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5" r:id="rId6"/>
    <p:sldMasterId id="2147483716" r:id="rId7"/>
  </p:sldMasterIdLst>
  <p:notesMasterIdLst>
    <p:notesMasterId r:id="rId48"/>
  </p:notesMasterIdLst>
  <p:sldIdLst>
    <p:sldId id="256" r:id="rId8"/>
    <p:sldId id="259" r:id="rId9"/>
    <p:sldId id="606" r:id="rId10"/>
    <p:sldId id="324" r:id="rId11"/>
    <p:sldId id="605" r:id="rId12"/>
    <p:sldId id="325" r:id="rId13"/>
    <p:sldId id="312" r:id="rId14"/>
    <p:sldId id="308" r:id="rId15"/>
    <p:sldId id="322" r:id="rId16"/>
    <p:sldId id="582" r:id="rId17"/>
    <p:sldId id="583" r:id="rId18"/>
    <p:sldId id="584" r:id="rId19"/>
    <p:sldId id="585" r:id="rId20"/>
    <p:sldId id="586" r:id="rId21"/>
    <p:sldId id="587" r:id="rId22"/>
    <p:sldId id="588" r:id="rId23"/>
    <p:sldId id="589" r:id="rId24"/>
    <p:sldId id="590" r:id="rId25"/>
    <p:sldId id="591" r:id="rId26"/>
    <p:sldId id="592" r:id="rId27"/>
    <p:sldId id="593" r:id="rId28"/>
    <p:sldId id="594" r:id="rId29"/>
    <p:sldId id="595" r:id="rId30"/>
    <p:sldId id="596" r:id="rId31"/>
    <p:sldId id="597" r:id="rId32"/>
    <p:sldId id="598" r:id="rId33"/>
    <p:sldId id="599" r:id="rId34"/>
    <p:sldId id="600" r:id="rId35"/>
    <p:sldId id="601" r:id="rId36"/>
    <p:sldId id="602" r:id="rId37"/>
    <p:sldId id="604" r:id="rId38"/>
    <p:sldId id="265" r:id="rId39"/>
    <p:sldId id="275" r:id="rId40"/>
    <p:sldId id="284" r:id="rId41"/>
    <p:sldId id="289" r:id="rId42"/>
    <p:sldId id="287" r:id="rId43"/>
    <p:sldId id="288" r:id="rId44"/>
    <p:sldId id="603" r:id="rId45"/>
    <p:sldId id="607" r:id="rId46"/>
    <p:sldId id="309"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515"/>
    <a:srgbClr val="FF9300"/>
    <a:srgbClr val="BEB9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E1F3AA-9E66-D340-A8A6-25C51264B594}" v="301" dt="2020-04-15T02:05:50.7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9"/>
    <p:restoredTop sz="86939"/>
  </p:normalViewPr>
  <p:slideViewPr>
    <p:cSldViewPr snapToGrid="0" snapToObjects="1">
      <p:cViewPr varScale="1">
        <p:scale>
          <a:sx n="91" d="100"/>
          <a:sy n="91" d="100"/>
        </p:scale>
        <p:origin x="832" y="176"/>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e Weine" userId="0d873126-e49c-4b84-ae24-26161450adc6" providerId="ADAL" clId="{4CE1F3AA-9E66-D340-A8A6-25C51264B594}"/>
    <pc:docChg chg="undo custSel mod addSld delSld modSld sldOrd">
      <pc:chgData name="louise Weine" userId="0d873126-e49c-4b84-ae24-26161450adc6" providerId="ADAL" clId="{4CE1F3AA-9E66-D340-A8A6-25C51264B594}" dt="2020-04-15T02:05:40.639" v="3524"/>
      <pc:docMkLst>
        <pc:docMk/>
      </pc:docMkLst>
      <pc:sldChg chg="modSp modNotesTx">
        <pc:chgData name="louise Weine" userId="0d873126-e49c-4b84-ae24-26161450adc6" providerId="ADAL" clId="{4CE1F3AA-9E66-D340-A8A6-25C51264B594}" dt="2020-04-09T00:54:46.473" v="2510" actId="20577"/>
        <pc:sldMkLst>
          <pc:docMk/>
          <pc:sldMk cId="442897525" sldId="256"/>
        </pc:sldMkLst>
        <pc:spChg chg="mod">
          <ac:chgData name="louise Weine" userId="0d873126-e49c-4b84-ae24-26161450adc6" providerId="ADAL" clId="{4CE1F3AA-9E66-D340-A8A6-25C51264B594}" dt="2020-04-08T01:36:02.044" v="1090" actId="255"/>
          <ac:spMkLst>
            <pc:docMk/>
            <pc:sldMk cId="442897525" sldId="256"/>
            <ac:spMk id="2" creationId="{E1316B1B-56B4-3345-94D5-9D0F88D14C46}"/>
          </ac:spMkLst>
        </pc:spChg>
        <pc:spChg chg="mod">
          <ac:chgData name="louise Weine" userId="0d873126-e49c-4b84-ae24-26161450adc6" providerId="ADAL" clId="{4CE1F3AA-9E66-D340-A8A6-25C51264B594}" dt="2020-04-08T12:29:31.209" v="1924" actId="27636"/>
          <ac:spMkLst>
            <pc:docMk/>
            <pc:sldMk cId="442897525" sldId="256"/>
            <ac:spMk id="3" creationId="{0BFCCD50-659A-2E40-A8FA-913A45474340}"/>
          </ac:spMkLst>
        </pc:spChg>
        <pc:spChg chg="mod">
          <ac:chgData name="louise Weine" userId="0d873126-e49c-4b84-ae24-26161450adc6" providerId="ADAL" clId="{4CE1F3AA-9E66-D340-A8A6-25C51264B594}" dt="2020-04-08T12:27:26.707" v="1757" actId="1076"/>
          <ac:spMkLst>
            <pc:docMk/>
            <pc:sldMk cId="442897525" sldId="256"/>
            <ac:spMk id="4" creationId="{A9CBE6B4-63C3-43E7-9206-38DCAA1BBCE7}"/>
          </ac:spMkLst>
        </pc:spChg>
      </pc:sldChg>
      <pc:sldChg chg="addSp delSp modSp modAnim modNotesTx">
        <pc:chgData name="louise Weine" userId="0d873126-e49c-4b84-ae24-26161450adc6" providerId="ADAL" clId="{4CE1F3AA-9E66-D340-A8A6-25C51264B594}" dt="2020-04-09T01:06:33.957" v="3480" actId="20577"/>
        <pc:sldMkLst>
          <pc:docMk/>
          <pc:sldMk cId="610646436" sldId="259"/>
        </pc:sldMkLst>
        <pc:spChg chg="mod">
          <ac:chgData name="louise Weine" userId="0d873126-e49c-4b84-ae24-26161450adc6" providerId="ADAL" clId="{4CE1F3AA-9E66-D340-A8A6-25C51264B594}" dt="2020-04-08T02:01:37.045" v="1306" actId="1076"/>
          <ac:spMkLst>
            <pc:docMk/>
            <pc:sldMk cId="610646436" sldId="259"/>
            <ac:spMk id="2" creationId="{28214BE7-5599-B948-B1E9-72D4BAFAA309}"/>
          </ac:spMkLst>
        </pc:spChg>
        <pc:spChg chg="add mod">
          <ac:chgData name="louise Weine" userId="0d873126-e49c-4b84-ae24-26161450adc6" providerId="ADAL" clId="{4CE1F3AA-9E66-D340-A8A6-25C51264B594}" dt="2020-04-08T12:20:06.837" v="1669" actId="5793"/>
          <ac:spMkLst>
            <pc:docMk/>
            <pc:sldMk cId="610646436" sldId="259"/>
            <ac:spMk id="3" creationId="{38630B54-F8FD-484C-8A6B-21C56403C1F4}"/>
          </ac:spMkLst>
        </pc:spChg>
        <pc:spChg chg="add del mod">
          <ac:chgData name="louise Weine" userId="0d873126-e49c-4b84-ae24-26161450adc6" providerId="ADAL" clId="{4CE1F3AA-9E66-D340-A8A6-25C51264B594}" dt="2020-04-08T02:12:59.956" v="1420" actId="478"/>
          <ac:spMkLst>
            <pc:docMk/>
            <pc:sldMk cId="610646436" sldId="259"/>
            <ac:spMk id="4" creationId="{4309BF52-46E8-8E4C-853F-77B40D82E215}"/>
          </ac:spMkLst>
        </pc:spChg>
        <pc:spChg chg="add mod">
          <ac:chgData name="louise Weine" userId="0d873126-e49c-4b84-ae24-26161450adc6" providerId="ADAL" clId="{4CE1F3AA-9E66-D340-A8A6-25C51264B594}" dt="2020-04-08T02:23:02.036" v="1452" actId="1076"/>
          <ac:spMkLst>
            <pc:docMk/>
            <pc:sldMk cId="610646436" sldId="259"/>
            <ac:spMk id="5" creationId="{640B50FD-C4B7-DE45-B88B-705B07C49888}"/>
          </ac:spMkLst>
        </pc:spChg>
        <pc:spChg chg="add mod">
          <ac:chgData name="louise Weine" userId="0d873126-e49c-4b84-ae24-26161450adc6" providerId="ADAL" clId="{4CE1F3AA-9E66-D340-A8A6-25C51264B594}" dt="2020-04-08T02:23:02.036" v="1452" actId="1076"/>
          <ac:spMkLst>
            <pc:docMk/>
            <pc:sldMk cId="610646436" sldId="259"/>
            <ac:spMk id="9" creationId="{51484846-5E87-414D-B6F1-0979AAA909C2}"/>
          </ac:spMkLst>
        </pc:spChg>
        <pc:spChg chg="mod">
          <ac:chgData name="louise Weine" userId="0d873126-e49c-4b84-ae24-26161450adc6" providerId="ADAL" clId="{4CE1F3AA-9E66-D340-A8A6-25C51264B594}" dt="2020-04-08T02:17:57.676" v="1430" actId="1076"/>
          <ac:spMkLst>
            <pc:docMk/>
            <pc:sldMk cId="610646436" sldId="259"/>
            <ac:spMk id="12" creationId="{2F58F109-375F-BA49-9618-E52CD37EC34B}"/>
          </ac:spMkLst>
        </pc:spChg>
        <pc:spChg chg="mod">
          <ac:chgData name="louise Weine" userId="0d873126-e49c-4b84-ae24-26161450adc6" providerId="ADAL" clId="{4CE1F3AA-9E66-D340-A8A6-25C51264B594}" dt="2020-04-08T02:10:19.088" v="1415" actId="20577"/>
          <ac:spMkLst>
            <pc:docMk/>
            <pc:sldMk cId="610646436" sldId="259"/>
            <ac:spMk id="16" creationId="{B73EAE04-C2B3-4743-A20B-507279C4135C}"/>
          </ac:spMkLst>
        </pc:spChg>
        <pc:spChg chg="mod">
          <ac:chgData name="louise Weine" userId="0d873126-e49c-4b84-ae24-26161450adc6" providerId="ADAL" clId="{4CE1F3AA-9E66-D340-A8A6-25C51264B594}" dt="2020-04-07T06:17:32.564" v="585" actId="20577"/>
          <ac:spMkLst>
            <pc:docMk/>
            <pc:sldMk cId="610646436" sldId="259"/>
            <ac:spMk id="17" creationId="{8738FD6A-A9B0-2144-8D27-B7CA67B47A1C}"/>
          </ac:spMkLst>
        </pc:spChg>
        <pc:spChg chg="mod">
          <ac:chgData name="louise Weine" userId="0d873126-e49c-4b84-ae24-26161450adc6" providerId="ADAL" clId="{4CE1F3AA-9E66-D340-A8A6-25C51264B594}" dt="2020-04-08T01:28:02.872" v="714" actId="20577"/>
          <ac:spMkLst>
            <pc:docMk/>
            <pc:sldMk cId="610646436" sldId="259"/>
            <ac:spMk id="18" creationId="{28805FAD-291F-3745-8AA4-6C31474E2C2A}"/>
          </ac:spMkLst>
        </pc:spChg>
        <pc:spChg chg="add mod">
          <ac:chgData name="louise Weine" userId="0d873126-e49c-4b84-ae24-26161450adc6" providerId="ADAL" clId="{4CE1F3AA-9E66-D340-A8A6-25C51264B594}" dt="2020-04-08T12:21:14.690" v="1673" actId="20577"/>
          <ac:spMkLst>
            <pc:docMk/>
            <pc:sldMk cId="610646436" sldId="259"/>
            <ac:spMk id="20" creationId="{75CB16CF-544A-4248-BA33-34946D7C4E45}"/>
          </ac:spMkLst>
        </pc:spChg>
        <pc:spChg chg="mod">
          <ac:chgData name="louise Weine" userId="0d873126-e49c-4b84-ae24-26161450adc6" providerId="ADAL" clId="{4CE1F3AA-9E66-D340-A8A6-25C51264B594}" dt="2020-04-08T01:27:53.338" v="711" actId="14100"/>
          <ac:spMkLst>
            <pc:docMk/>
            <pc:sldMk cId="610646436" sldId="259"/>
            <ac:spMk id="26" creationId="{638A7C6B-62C7-CE42-BE8E-4832918B2C56}"/>
          </ac:spMkLst>
        </pc:spChg>
        <pc:picChg chg="add del mod">
          <ac:chgData name="louise Weine" userId="0d873126-e49c-4b84-ae24-26161450adc6" providerId="ADAL" clId="{4CE1F3AA-9E66-D340-A8A6-25C51264B594}" dt="2020-04-08T02:00:55.154" v="1303" actId="478"/>
          <ac:picMkLst>
            <pc:docMk/>
            <pc:sldMk cId="610646436" sldId="259"/>
            <ac:picMk id="14" creationId="{F8EDFE01-863C-AB4F-ADC8-1BC9C908C943}"/>
          </ac:picMkLst>
        </pc:picChg>
        <pc:picChg chg="add mod">
          <ac:chgData name="louise Weine" userId="0d873126-e49c-4b84-ae24-26161450adc6" providerId="ADAL" clId="{4CE1F3AA-9E66-D340-A8A6-25C51264B594}" dt="2020-04-08T02:01:30" v="1305" actId="1076"/>
          <ac:picMkLst>
            <pc:docMk/>
            <pc:sldMk cId="610646436" sldId="259"/>
            <ac:picMk id="15" creationId="{BD301ECE-4F07-414A-B475-E83CCFC4D4B7}"/>
          </ac:picMkLst>
        </pc:picChg>
      </pc:sldChg>
      <pc:sldChg chg="del">
        <pc:chgData name="louise Weine" userId="0d873126-e49c-4b84-ae24-26161450adc6" providerId="ADAL" clId="{4CE1F3AA-9E66-D340-A8A6-25C51264B594}" dt="2020-04-06T05:10:12.038" v="344" actId="2696"/>
        <pc:sldMkLst>
          <pc:docMk/>
          <pc:sldMk cId="3596001739" sldId="262"/>
        </pc:sldMkLst>
      </pc:sldChg>
      <pc:sldChg chg="addSp delSp modSp add del">
        <pc:chgData name="louise Weine" userId="0d873126-e49c-4b84-ae24-26161450adc6" providerId="ADAL" clId="{4CE1F3AA-9E66-D340-A8A6-25C51264B594}" dt="2020-04-08T02:36:02.126" v="1582" actId="2696"/>
        <pc:sldMkLst>
          <pc:docMk/>
          <pc:sldMk cId="3386378319" sldId="264"/>
        </pc:sldMkLst>
        <pc:spChg chg="del">
          <ac:chgData name="louise Weine" userId="0d873126-e49c-4b84-ae24-26161450adc6" providerId="ADAL" clId="{4CE1F3AA-9E66-D340-A8A6-25C51264B594}" dt="2020-04-08T02:34:37.787" v="1539" actId="478"/>
          <ac:spMkLst>
            <pc:docMk/>
            <pc:sldMk cId="3386378319" sldId="264"/>
            <ac:spMk id="2" creationId="{72EC85AE-F58C-3140-B449-9BF98536FF1E}"/>
          </ac:spMkLst>
        </pc:spChg>
        <pc:spChg chg="del">
          <ac:chgData name="louise Weine" userId="0d873126-e49c-4b84-ae24-26161450adc6" providerId="ADAL" clId="{4CE1F3AA-9E66-D340-A8A6-25C51264B594}" dt="2020-04-08T02:34:44.071" v="1541" actId="478"/>
          <ac:spMkLst>
            <pc:docMk/>
            <pc:sldMk cId="3386378319" sldId="264"/>
            <ac:spMk id="3" creationId="{F215266A-89F1-024A-9A3A-A05224B6C7A9}"/>
          </ac:spMkLst>
        </pc:spChg>
        <pc:spChg chg="add del mod">
          <ac:chgData name="louise Weine" userId="0d873126-e49c-4b84-ae24-26161450adc6" providerId="ADAL" clId="{4CE1F3AA-9E66-D340-A8A6-25C51264B594}" dt="2020-04-08T02:34:41.350" v="1540" actId="478"/>
          <ac:spMkLst>
            <pc:docMk/>
            <pc:sldMk cId="3386378319" sldId="264"/>
            <ac:spMk id="5" creationId="{2396EC73-7E1C-5C45-A540-3A6F4236AE40}"/>
          </ac:spMkLst>
        </pc:spChg>
        <pc:spChg chg="add mod">
          <ac:chgData name="louise Weine" userId="0d873126-e49c-4b84-ae24-26161450adc6" providerId="ADAL" clId="{4CE1F3AA-9E66-D340-A8A6-25C51264B594}" dt="2020-04-08T02:35:40.006" v="1581" actId="1076"/>
          <ac:spMkLst>
            <pc:docMk/>
            <pc:sldMk cId="3386378319" sldId="264"/>
            <ac:spMk id="7" creationId="{C138391A-7F01-8D43-9D39-86F0A6F3ADAB}"/>
          </ac:spMkLst>
        </pc:spChg>
        <pc:picChg chg="add mod">
          <ac:chgData name="louise Weine" userId="0d873126-e49c-4b84-ae24-26161450adc6" providerId="ADAL" clId="{4CE1F3AA-9E66-D340-A8A6-25C51264B594}" dt="2020-04-08T02:35:14.726" v="1544" actId="1076"/>
          <ac:picMkLst>
            <pc:docMk/>
            <pc:sldMk cId="3386378319" sldId="264"/>
            <ac:picMk id="15" creationId="{5116F808-5D35-4440-8F34-792BDD185BA2}"/>
          </ac:picMkLst>
        </pc:picChg>
      </pc:sldChg>
      <pc:sldChg chg="add">
        <pc:chgData name="louise Weine" userId="0d873126-e49c-4b84-ae24-26161450adc6" providerId="ADAL" clId="{4CE1F3AA-9E66-D340-A8A6-25C51264B594}" dt="2020-04-08T02:31:46.010" v="1535"/>
        <pc:sldMkLst>
          <pc:docMk/>
          <pc:sldMk cId="643914126" sldId="265"/>
        </pc:sldMkLst>
      </pc:sldChg>
      <pc:sldChg chg="add del setBg">
        <pc:chgData name="louise Weine" userId="0d873126-e49c-4b84-ae24-26161450adc6" providerId="ADAL" clId="{4CE1F3AA-9E66-D340-A8A6-25C51264B594}" dt="2020-04-08T02:31:38.630" v="1534"/>
        <pc:sldMkLst>
          <pc:docMk/>
          <pc:sldMk cId="3318159494" sldId="265"/>
        </pc:sldMkLst>
      </pc:sldChg>
      <pc:sldChg chg="add del">
        <pc:chgData name="louise Weine" userId="0d873126-e49c-4b84-ae24-26161450adc6" providerId="ADAL" clId="{4CE1F3AA-9E66-D340-A8A6-25C51264B594}" dt="2020-04-08T01:47:12.808" v="1220"/>
        <pc:sldMkLst>
          <pc:docMk/>
          <pc:sldMk cId="1937745324" sldId="273"/>
        </pc:sldMkLst>
      </pc:sldChg>
      <pc:sldChg chg="add del">
        <pc:chgData name="louise Weine" userId="0d873126-e49c-4b84-ae24-26161450adc6" providerId="ADAL" clId="{4CE1F3AA-9E66-D340-A8A6-25C51264B594}" dt="2020-04-08T01:49:53.248" v="1226" actId="2696"/>
        <pc:sldMkLst>
          <pc:docMk/>
          <pc:sldMk cId="2616693771" sldId="273"/>
        </pc:sldMkLst>
      </pc:sldChg>
      <pc:sldChg chg="add">
        <pc:chgData name="louise Weine" userId="0d873126-e49c-4b84-ae24-26161450adc6" providerId="ADAL" clId="{4CE1F3AA-9E66-D340-A8A6-25C51264B594}" dt="2020-04-08T02:31:46.010" v="1535"/>
        <pc:sldMkLst>
          <pc:docMk/>
          <pc:sldMk cId="415725322" sldId="275"/>
        </pc:sldMkLst>
      </pc:sldChg>
      <pc:sldChg chg="addSp delSp add del setBg delDesignElem">
        <pc:chgData name="louise Weine" userId="0d873126-e49c-4b84-ae24-26161450adc6" providerId="ADAL" clId="{4CE1F3AA-9E66-D340-A8A6-25C51264B594}" dt="2020-04-08T02:31:38.630" v="1534"/>
        <pc:sldMkLst>
          <pc:docMk/>
          <pc:sldMk cId="3346778328" sldId="275"/>
        </pc:sldMkLst>
        <pc:cxnChg chg="add del">
          <ac:chgData name="louise Weine" userId="0d873126-e49c-4b84-ae24-26161450adc6" providerId="ADAL" clId="{4CE1F3AA-9E66-D340-A8A6-25C51264B594}" dt="2020-04-08T02:31:38.630" v="1534"/>
          <ac:cxnSpMkLst>
            <pc:docMk/>
            <pc:sldMk cId="3346778328" sldId="275"/>
            <ac:cxnSpMk id="11" creationId="{E4A809D5-3600-46D4-A466-67F2349A54FB}"/>
          </ac:cxnSpMkLst>
        </pc:cxnChg>
      </pc:sldChg>
      <pc:sldChg chg="addSp delSp modSp add del setBg delDesignElem">
        <pc:chgData name="louise Weine" userId="0d873126-e49c-4b84-ae24-26161450adc6" providerId="ADAL" clId="{4CE1F3AA-9E66-D340-A8A6-25C51264B594}" dt="2020-04-08T02:31:38.630" v="1534"/>
        <pc:sldMkLst>
          <pc:docMk/>
          <pc:sldMk cId="2830285445" sldId="284"/>
        </pc:sldMkLst>
        <pc:spChg chg="mod">
          <ac:chgData name="louise Weine" userId="0d873126-e49c-4b84-ae24-26161450adc6" providerId="ADAL" clId="{4CE1F3AA-9E66-D340-A8A6-25C51264B594}" dt="2020-04-08T02:31:38.630" v="1534"/>
          <ac:spMkLst>
            <pc:docMk/>
            <pc:sldMk cId="2830285445" sldId="284"/>
            <ac:spMk id="3" creationId="{00000000-0000-0000-0000-000000000000}"/>
          </ac:spMkLst>
        </pc:spChg>
        <pc:picChg chg="add del">
          <ac:chgData name="louise Weine" userId="0d873126-e49c-4b84-ae24-26161450adc6" providerId="ADAL" clId="{4CE1F3AA-9E66-D340-A8A6-25C51264B594}" dt="2020-04-08T02:31:38.630" v="1534"/>
          <ac:picMkLst>
            <pc:docMk/>
            <pc:sldMk cId="2830285445" sldId="284"/>
            <ac:picMk id="27" creationId="{54DDEBDD-D8BD-41A6-8A0D-B00E3768B0F9}"/>
          </ac:picMkLst>
        </pc:picChg>
      </pc:sldChg>
      <pc:sldChg chg="add">
        <pc:chgData name="louise Weine" userId="0d873126-e49c-4b84-ae24-26161450adc6" providerId="ADAL" clId="{4CE1F3AA-9E66-D340-A8A6-25C51264B594}" dt="2020-04-08T02:31:46.010" v="1535"/>
        <pc:sldMkLst>
          <pc:docMk/>
          <pc:sldMk cId="3713562984" sldId="284"/>
        </pc:sldMkLst>
      </pc:sldChg>
      <pc:sldChg chg="del">
        <pc:chgData name="louise Weine" userId="0d873126-e49c-4b84-ae24-26161450adc6" providerId="ADAL" clId="{4CE1F3AA-9E66-D340-A8A6-25C51264B594}" dt="2020-04-07T06:11:15.019" v="474" actId="2696"/>
        <pc:sldMkLst>
          <pc:docMk/>
          <pc:sldMk cId="1115259171" sldId="286"/>
        </pc:sldMkLst>
      </pc:sldChg>
      <pc:sldChg chg="addSp delSp add del setBg delDesignElem">
        <pc:chgData name="louise Weine" userId="0d873126-e49c-4b84-ae24-26161450adc6" providerId="ADAL" clId="{4CE1F3AA-9E66-D340-A8A6-25C51264B594}" dt="2020-04-08T02:31:38.630" v="1534"/>
        <pc:sldMkLst>
          <pc:docMk/>
          <pc:sldMk cId="2329363309" sldId="287"/>
        </pc:sldMkLst>
        <pc:spChg chg="add del">
          <ac:chgData name="louise Weine" userId="0d873126-e49c-4b84-ae24-26161450adc6" providerId="ADAL" clId="{4CE1F3AA-9E66-D340-A8A6-25C51264B594}" dt="2020-04-08T02:31:38.630" v="1534"/>
          <ac:spMkLst>
            <pc:docMk/>
            <pc:sldMk cId="2329363309" sldId="287"/>
            <ac:spMk id="21" creationId="{2A0E4E09-FC02-4ADC-951A-3FFA90B6FE39}"/>
          </ac:spMkLst>
        </pc:spChg>
        <pc:picChg chg="add del">
          <ac:chgData name="louise Weine" userId="0d873126-e49c-4b84-ae24-26161450adc6" providerId="ADAL" clId="{4CE1F3AA-9E66-D340-A8A6-25C51264B594}" dt="2020-04-08T02:31:38.630" v="1534"/>
          <ac:picMkLst>
            <pc:docMk/>
            <pc:sldMk cId="2329363309" sldId="287"/>
            <ac:picMk id="23" creationId="{24F266AD-725B-4A9D-B448-4C000F95CB47}"/>
          </ac:picMkLst>
        </pc:picChg>
      </pc:sldChg>
      <pc:sldChg chg="add">
        <pc:chgData name="louise Weine" userId="0d873126-e49c-4b84-ae24-26161450adc6" providerId="ADAL" clId="{4CE1F3AA-9E66-D340-A8A6-25C51264B594}" dt="2020-04-08T02:31:46.010" v="1535"/>
        <pc:sldMkLst>
          <pc:docMk/>
          <pc:sldMk cId="3864419690" sldId="287"/>
        </pc:sldMkLst>
      </pc:sldChg>
      <pc:sldChg chg="add del">
        <pc:chgData name="louise Weine" userId="0d873126-e49c-4b84-ae24-26161450adc6" providerId="ADAL" clId="{4CE1F3AA-9E66-D340-A8A6-25C51264B594}" dt="2020-04-08T02:31:38.630" v="1534"/>
        <pc:sldMkLst>
          <pc:docMk/>
          <pc:sldMk cId="58104301" sldId="288"/>
        </pc:sldMkLst>
      </pc:sldChg>
      <pc:sldChg chg="add">
        <pc:chgData name="louise Weine" userId="0d873126-e49c-4b84-ae24-26161450adc6" providerId="ADAL" clId="{4CE1F3AA-9E66-D340-A8A6-25C51264B594}" dt="2020-04-08T02:31:46.010" v="1535"/>
        <pc:sldMkLst>
          <pc:docMk/>
          <pc:sldMk cId="2321149209" sldId="288"/>
        </pc:sldMkLst>
      </pc:sldChg>
      <pc:sldChg chg="addSp delSp add del setBg delDesignElem">
        <pc:chgData name="louise Weine" userId="0d873126-e49c-4b84-ae24-26161450adc6" providerId="ADAL" clId="{4CE1F3AA-9E66-D340-A8A6-25C51264B594}" dt="2020-04-08T02:31:38.630" v="1534"/>
        <pc:sldMkLst>
          <pc:docMk/>
          <pc:sldMk cId="358441549" sldId="289"/>
        </pc:sldMkLst>
        <pc:cxnChg chg="add del">
          <ac:chgData name="louise Weine" userId="0d873126-e49c-4b84-ae24-26161450adc6" providerId="ADAL" clId="{4CE1F3AA-9E66-D340-A8A6-25C51264B594}" dt="2020-04-08T02:31:38.630" v="1534"/>
          <ac:cxnSpMkLst>
            <pc:docMk/>
            <pc:sldMk cId="358441549" sldId="289"/>
            <ac:cxnSpMk id="12" creationId="{E4A809D5-3600-46D4-A466-67F2349A54FB}"/>
          </ac:cxnSpMkLst>
        </pc:cxnChg>
      </pc:sldChg>
      <pc:sldChg chg="add">
        <pc:chgData name="louise Weine" userId="0d873126-e49c-4b84-ae24-26161450adc6" providerId="ADAL" clId="{4CE1F3AA-9E66-D340-A8A6-25C51264B594}" dt="2020-04-08T02:31:46.010" v="1535"/>
        <pc:sldMkLst>
          <pc:docMk/>
          <pc:sldMk cId="1354102472" sldId="289"/>
        </pc:sldMkLst>
      </pc:sldChg>
      <pc:sldChg chg="addSp delSp add del setBg delDesignElem">
        <pc:chgData name="louise Weine" userId="0d873126-e49c-4b84-ae24-26161450adc6" providerId="ADAL" clId="{4CE1F3AA-9E66-D340-A8A6-25C51264B594}" dt="2020-04-08T01:47:12.808" v="1220"/>
        <pc:sldMkLst>
          <pc:docMk/>
          <pc:sldMk cId="2725418372" sldId="307"/>
        </pc:sldMkLst>
        <pc:spChg chg="add del">
          <ac:chgData name="louise Weine" userId="0d873126-e49c-4b84-ae24-26161450adc6" providerId="ADAL" clId="{4CE1F3AA-9E66-D340-A8A6-25C51264B594}" dt="2020-04-08T01:47:12.808" v="1220"/>
          <ac:spMkLst>
            <pc:docMk/>
            <pc:sldMk cId="2725418372" sldId="307"/>
            <ac:spMk id="22" creationId="{12839A1C-34CB-4C3C-8531-CA67525FDE9E}"/>
          </ac:spMkLst>
        </pc:spChg>
        <pc:spChg chg="add del">
          <ac:chgData name="louise Weine" userId="0d873126-e49c-4b84-ae24-26161450adc6" providerId="ADAL" clId="{4CE1F3AA-9E66-D340-A8A6-25C51264B594}" dt="2020-04-08T01:47:12.808" v="1220"/>
          <ac:spMkLst>
            <pc:docMk/>
            <pc:sldMk cId="2725418372" sldId="307"/>
            <ac:spMk id="24" creationId="{FAC94EAF-F7F7-4727-AE69-A7036B4A5122}"/>
          </ac:spMkLst>
        </pc:spChg>
      </pc:sldChg>
      <pc:sldChg chg="delSp add del setBg delDesignElem">
        <pc:chgData name="louise Weine" userId="0d873126-e49c-4b84-ae24-26161450adc6" providerId="ADAL" clId="{4CE1F3AA-9E66-D340-A8A6-25C51264B594}" dt="2020-04-08T01:49:53.777" v="1247" actId="2696"/>
        <pc:sldMkLst>
          <pc:docMk/>
          <pc:sldMk cId="4212872270" sldId="307"/>
        </pc:sldMkLst>
        <pc:spChg chg="del">
          <ac:chgData name="louise Weine" userId="0d873126-e49c-4b84-ae24-26161450adc6" providerId="ADAL" clId="{4CE1F3AA-9E66-D340-A8A6-25C51264B594}" dt="2020-04-08T01:47:29.602" v="1223"/>
          <ac:spMkLst>
            <pc:docMk/>
            <pc:sldMk cId="4212872270" sldId="307"/>
            <ac:spMk id="22" creationId="{12839A1C-34CB-4C3C-8531-CA67525FDE9E}"/>
          </ac:spMkLst>
        </pc:spChg>
        <pc:spChg chg="del">
          <ac:chgData name="louise Weine" userId="0d873126-e49c-4b84-ae24-26161450adc6" providerId="ADAL" clId="{4CE1F3AA-9E66-D340-A8A6-25C51264B594}" dt="2020-04-08T01:47:29.602" v="1223"/>
          <ac:spMkLst>
            <pc:docMk/>
            <pc:sldMk cId="4212872270" sldId="307"/>
            <ac:spMk id="24" creationId="{FAC94EAF-F7F7-4727-AE69-A7036B4A5122}"/>
          </ac:spMkLst>
        </pc:spChg>
      </pc:sldChg>
      <pc:sldChg chg="addSp delSp modSp modNotesTx">
        <pc:chgData name="louise Weine" userId="0d873126-e49c-4b84-ae24-26161450adc6" providerId="ADAL" clId="{4CE1F3AA-9E66-D340-A8A6-25C51264B594}" dt="2020-04-09T01:10:41.315" v="3515" actId="20577"/>
        <pc:sldMkLst>
          <pc:docMk/>
          <pc:sldMk cId="1250720511" sldId="308"/>
        </pc:sldMkLst>
        <pc:spChg chg="mod">
          <ac:chgData name="louise Weine" userId="0d873126-e49c-4b84-ae24-26161450adc6" providerId="ADAL" clId="{4CE1F3AA-9E66-D340-A8A6-25C51264B594}" dt="2020-04-08T02:27:32.570" v="1518" actId="1076"/>
          <ac:spMkLst>
            <pc:docMk/>
            <pc:sldMk cId="1250720511" sldId="308"/>
            <ac:spMk id="2" creationId="{60792799-3156-CF47-9777-6B8C4B9F44F9}"/>
          </ac:spMkLst>
        </pc:spChg>
        <pc:spChg chg="add del mod">
          <ac:chgData name="louise Weine" userId="0d873126-e49c-4b84-ae24-26161450adc6" providerId="ADAL" clId="{4CE1F3AA-9E66-D340-A8A6-25C51264B594}" dt="2020-04-08T01:40:11.601" v="1202"/>
          <ac:spMkLst>
            <pc:docMk/>
            <pc:sldMk cId="1250720511" sldId="308"/>
            <ac:spMk id="3" creationId="{5A50B391-0ED3-3F49-B3D7-45535C4A8AE0}"/>
          </ac:spMkLst>
        </pc:spChg>
        <pc:spChg chg="add del">
          <ac:chgData name="louise Weine" userId="0d873126-e49c-4b84-ae24-26161450adc6" providerId="ADAL" clId="{4CE1F3AA-9E66-D340-A8A6-25C51264B594}" dt="2020-04-07T06:18:14.366" v="601" actId="478"/>
          <ac:spMkLst>
            <pc:docMk/>
            <pc:sldMk cId="1250720511" sldId="308"/>
            <ac:spMk id="3" creationId="{E0AAF8D5-8343-6E47-8D38-65124E64E088}"/>
          </ac:spMkLst>
        </pc:spChg>
        <pc:spChg chg="mod">
          <ac:chgData name="louise Weine" userId="0d873126-e49c-4b84-ae24-26161450adc6" providerId="ADAL" clId="{4CE1F3AA-9E66-D340-A8A6-25C51264B594}" dt="2020-04-08T01:39:44.126" v="1198" actId="20577"/>
          <ac:spMkLst>
            <pc:docMk/>
            <pc:sldMk cId="1250720511" sldId="308"/>
            <ac:spMk id="4" creationId="{93DA2C3A-3679-0947-91DF-EE276A96D21F}"/>
          </ac:spMkLst>
        </pc:spChg>
        <pc:spChg chg="add del mod">
          <ac:chgData name="louise Weine" userId="0d873126-e49c-4b84-ae24-26161450adc6" providerId="ADAL" clId="{4CE1F3AA-9E66-D340-A8A6-25C51264B594}" dt="2020-04-08T02:00:27.282" v="1300"/>
          <ac:spMkLst>
            <pc:docMk/>
            <pc:sldMk cId="1250720511" sldId="308"/>
            <ac:spMk id="5" creationId="{3B3E532B-5886-824F-9AE4-40479B90CF68}"/>
          </ac:spMkLst>
        </pc:spChg>
        <pc:spChg chg="add mod">
          <ac:chgData name="louise Weine" userId="0d873126-e49c-4b84-ae24-26161450adc6" providerId="ADAL" clId="{4CE1F3AA-9E66-D340-A8A6-25C51264B594}" dt="2020-04-08T02:27:45.848" v="1520" actId="1076"/>
          <ac:spMkLst>
            <pc:docMk/>
            <pc:sldMk cId="1250720511" sldId="308"/>
            <ac:spMk id="6" creationId="{4FAE3623-AA15-6147-9B76-D9A44C4EB068}"/>
          </ac:spMkLst>
        </pc:spChg>
        <pc:spChg chg="add del">
          <ac:chgData name="louise Weine" userId="0d873126-e49c-4b84-ae24-26161450adc6" providerId="ADAL" clId="{4CE1F3AA-9E66-D340-A8A6-25C51264B594}" dt="2020-04-06T05:04:33.024" v="18" actId="26606"/>
          <ac:spMkLst>
            <pc:docMk/>
            <pc:sldMk cId="1250720511" sldId="308"/>
            <ac:spMk id="79" creationId="{6BA198B2-A78E-4D9C-A9E4-B0ED42B2E8B7}"/>
          </ac:spMkLst>
        </pc:spChg>
        <pc:spChg chg="add del">
          <ac:chgData name="louise Weine" userId="0d873126-e49c-4b84-ae24-26161450adc6" providerId="ADAL" clId="{4CE1F3AA-9E66-D340-A8A6-25C51264B594}" dt="2020-04-06T05:04:33.008" v="17" actId="26606"/>
          <ac:spMkLst>
            <pc:docMk/>
            <pc:sldMk cId="1250720511" sldId="308"/>
            <ac:spMk id="151" creationId="{A81E7530-396C-45F0-92F4-A885648D1631}"/>
          </ac:spMkLst>
        </pc:spChg>
        <pc:spChg chg="add del">
          <ac:chgData name="louise Weine" userId="0d873126-e49c-4b84-ae24-26161450adc6" providerId="ADAL" clId="{4CE1F3AA-9E66-D340-A8A6-25C51264B594}" dt="2020-04-06T05:04:33.008" v="17" actId="26606"/>
          <ac:spMkLst>
            <pc:docMk/>
            <pc:sldMk cId="1250720511" sldId="308"/>
            <ac:spMk id="153" creationId="{7316481C-0A49-4796-812B-0D64F063B720}"/>
          </ac:spMkLst>
        </pc:spChg>
        <pc:spChg chg="add del">
          <ac:chgData name="louise Weine" userId="0d873126-e49c-4b84-ae24-26161450adc6" providerId="ADAL" clId="{4CE1F3AA-9E66-D340-A8A6-25C51264B594}" dt="2020-04-06T05:04:33.008" v="17" actId="26606"/>
          <ac:spMkLst>
            <pc:docMk/>
            <pc:sldMk cId="1250720511" sldId="308"/>
            <ac:spMk id="155" creationId="{A5271697-90F1-4A23-8EF2-0179F2EAFACB}"/>
          </ac:spMkLst>
        </pc:spChg>
        <pc:spChg chg="add del">
          <ac:chgData name="louise Weine" userId="0d873126-e49c-4b84-ae24-26161450adc6" providerId="ADAL" clId="{4CE1F3AA-9E66-D340-A8A6-25C51264B594}" dt="2020-04-06T05:04:33.008" v="17" actId="26606"/>
          <ac:spMkLst>
            <pc:docMk/>
            <pc:sldMk cId="1250720511" sldId="308"/>
            <ac:spMk id="179" creationId="{D9F5512A-48E1-4C07-B75E-3CCC517B6804}"/>
          </ac:spMkLst>
        </pc:spChg>
        <pc:spChg chg="add del">
          <ac:chgData name="louise Weine" userId="0d873126-e49c-4b84-ae24-26161450adc6" providerId="ADAL" clId="{4CE1F3AA-9E66-D340-A8A6-25C51264B594}" dt="2020-04-06T05:04:33.024" v="18" actId="26606"/>
          <ac:spMkLst>
            <pc:docMk/>
            <pc:sldMk cId="1250720511" sldId="308"/>
            <ac:spMk id="1039" creationId="{B1A4CC90-E81A-4B03-8C94-6821E5FDE5CC}"/>
          </ac:spMkLst>
        </pc:spChg>
        <pc:spChg chg="add del">
          <ac:chgData name="louise Weine" userId="0d873126-e49c-4b84-ae24-26161450adc6" providerId="ADAL" clId="{4CE1F3AA-9E66-D340-A8A6-25C51264B594}" dt="2020-04-06T05:04:33.024" v="18" actId="26606"/>
          <ac:spMkLst>
            <pc:docMk/>
            <pc:sldMk cId="1250720511" sldId="308"/>
            <ac:spMk id="1040" creationId="{38CD23D4-26BA-4E59-A55A-81578AFAAF46}"/>
          </ac:spMkLst>
        </pc:spChg>
        <pc:spChg chg="add del">
          <ac:chgData name="louise Weine" userId="0d873126-e49c-4b84-ae24-26161450adc6" providerId="ADAL" clId="{4CE1F3AA-9E66-D340-A8A6-25C51264B594}" dt="2020-04-06T05:04:33.024" v="18" actId="26606"/>
          <ac:spMkLst>
            <pc:docMk/>
            <pc:sldMk cId="1250720511" sldId="308"/>
            <ac:spMk id="1041" creationId="{6F059731-63E0-422B-B3AA-680FC080EF8A}"/>
          </ac:spMkLst>
        </pc:spChg>
        <pc:spChg chg="add del">
          <ac:chgData name="louise Weine" userId="0d873126-e49c-4b84-ae24-26161450adc6" providerId="ADAL" clId="{4CE1F3AA-9E66-D340-A8A6-25C51264B594}" dt="2020-04-06T05:04:33.024" v="18" actId="26606"/>
          <ac:spMkLst>
            <pc:docMk/>
            <pc:sldMk cId="1250720511" sldId="308"/>
            <ac:spMk id="1042" creationId="{D1A706C7-360D-4E89-98E4-289C5332F2C8}"/>
          </ac:spMkLst>
        </pc:spChg>
        <pc:spChg chg="add del">
          <ac:chgData name="louise Weine" userId="0d873126-e49c-4b84-ae24-26161450adc6" providerId="ADAL" clId="{4CE1F3AA-9E66-D340-A8A6-25C51264B594}" dt="2020-04-06T05:05:30.937" v="31" actId="26606"/>
          <ac:spMkLst>
            <pc:docMk/>
            <pc:sldMk cId="1250720511" sldId="308"/>
            <ac:spMk id="1044" creationId="{E862BE82-D00D-42C1-BF16-93AA37870C32}"/>
          </ac:spMkLst>
        </pc:spChg>
        <pc:spChg chg="add del">
          <ac:chgData name="louise Weine" userId="0d873126-e49c-4b84-ae24-26161450adc6" providerId="ADAL" clId="{4CE1F3AA-9E66-D340-A8A6-25C51264B594}" dt="2020-04-06T05:05:30.937" v="31" actId="26606"/>
          <ac:spMkLst>
            <pc:docMk/>
            <pc:sldMk cId="1250720511" sldId="308"/>
            <ac:spMk id="1045" creationId="{F6D92C2D-1D3D-4974-918C-06579FB354A9}"/>
          </ac:spMkLst>
        </pc:spChg>
        <pc:grpChg chg="add del">
          <ac:chgData name="louise Weine" userId="0d873126-e49c-4b84-ae24-26161450adc6" providerId="ADAL" clId="{4CE1F3AA-9E66-D340-A8A6-25C51264B594}" dt="2020-04-06T05:04:33.008" v="17" actId="26606"/>
          <ac:grpSpMkLst>
            <pc:docMk/>
            <pc:sldMk cId="1250720511" sldId="308"/>
            <ac:grpSpMk id="157" creationId="{81DE8B58-F373-409E-A253-4380A66091D4}"/>
          </ac:grpSpMkLst>
        </pc:grpChg>
        <pc:picChg chg="add mod">
          <ac:chgData name="louise Weine" userId="0d873126-e49c-4b84-ae24-26161450adc6" providerId="ADAL" clId="{4CE1F3AA-9E66-D340-A8A6-25C51264B594}" dt="2020-04-08T02:27:39.461" v="1519" actId="1076"/>
          <ac:picMkLst>
            <pc:docMk/>
            <pc:sldMk cId="1250720511" sldId="308"/>
            <ac:picMk id="8" creationId="{61C4FC4A-9567-ED44-983C-AEE3D739FFD7}"/>
          </ac:picMkLst>
        </pc:picChg>
        <pc:picChg chg="mod ord">
          <ac:chgData name="louise Weine" userId="0d873126-e49c-4b84-ae24-26161450adc6" providerId="ADAL" clId="{4CE1F3AA-9E66-D340-A8A6-25C51264B594}" dt="2020-04-06T05:05:30.937" v="31" actId="26606"/>
          <ac:picMkLst>
            <pc:docMk/>
            <pc:sldMk cId="1250720511" sldId="308"/>
            <ac:picMk id="1026" creationId="{D313D4D0-407E-44DD-A1A7-696BF3D38477}"/>
          </ac:picMkLst>
        </pc:picChg>
      </pc:sldChg>
      <pc:sldChg chg="modSp">
        <pc:chgData name="louise Weine" userId="0d873126-e49c-4b84-ae24-26161450adc6" providerId="ADAL" clId="{4CE1F3AA-9E66-D340-A8A6-25C51264B594}" dt="2020-04-08T14:11:32.864" v="1937" actId="20577"/>
        <pc:sldMkLst>
          <pc:docMk/>
          <pc:sldMk cId="946492145" sldId="309"/>
        </pc:sldMkLst>
        <pc:spChg chg="mod">
          <ac:chgData name="louise Weine" userId="0d873126-e49c-4b84-ae24-26161450adc6" providerId="ADAL" clId="{4CE1F3AA-9E66-D340-A8A6-25C51264B594}" dt="2020-04-08T14:11:32.864" v="1937" actId="20577"/>
          <ac:spMkLst>
            <pc:docMk/>
            <pc:sldMk cId="946492145" sldId="309"/>
            <ac:spMk id="4" creationId="{93DA2C3A-3679-0947-91DF-EE276A96D21F}"/>
          </ac:spMkLst>
        </pc:spChg>
      </pc:sldChg>
      <pc:sldChg chg="ord modNotesTx">
        <pc:chgData name="louise Weine" userId="0d873126-e49c-4b84-ae24-26161450adc6" providerId="ADAL" clId="{4CE1F3AA-9E66-D340-A8A6-25C51264B594}" dt="2020-04-09T01:09:51.891" v="3487" actId="20577"/>
        <pc:sldMkLst>
          <pc:docMk/>
          <pc:sldMk cId="3207155260" sldId="312"/>
        </pc:sldMkLst>
      </pc:sldChg>
      <pc:sldChg chg="add del">
        <pc:chgData name="louise Weine" userId="0d873126-e49c-4b84-ae24-26161450adc6" providerId="ADAL" clId="{4CE1F3AA-9E66-D340-A8A6-25C51264B594}" dt="2020-04-08T01:49:53.314" v="1229" actId="2696"/>
        <pc:sldMkLst>
          <pc:docMk/>
          <pc:sldMk cId="925584476" sldId="315"/>
        </pc:sldMkLst>
      </pc:sldChg>
      <pc:sldChg chg="add del">
        <pc:chgData name="louise Weine" userId="0d873126-e49c-4b84-ae24-26161450adc6" providerId="ADAL" clId="{4CE1F3AA-9E66-D340-A8A6-25C51264B594}" dt="2020-04-08T01:47:12.808" v="1220"/>
        <pc:sldMkLst>
          <pc:docMk/>
          <pc:sldMk cId="3546088611" sldId="315"/>
        </pc:sldMkLst>
      </pc:sldChg>
      <pc:sldChg chg="delSp modSp del ord delAnim modAnim">
        <pc:chgData name="louise Weine" userId="0d873126-e49c-4b84-ae24-26161450adc6" providerId="ADAL" clId="{4CE1F3AA-9E66-D340-A8A6-25C51264B594}" dt="2020-04-08T01:27:19.952" v="702" actId="2696"/>
        <pc:sldMkLst>
          <pc:docMk/>
          <pc:sldMk cId="417668442" sldId="317"/>
        </pc:sldMkLst>
        <pc:spChg chg="mod">
          <ac:chgData name="louise Weine" userId="0d873126-e49c-4b84-ae24-26161450adc6" providerId="ADAL" clId="{4CE1F3AA-9E66-D340-A8A6-25C51264B594}" dt="2020-04-07T06:13:05.315" v="534" actId="20577"/>
          <ac:spMkLst>
            <pc:docMk/>
            <pc:sldMk cId="417668442" sldId="317"/>
            <ac:spMk id="14" creationId="{926B252A-BFB6-9848-978D-DEFDD3BD05EF}"/>
          </ac:spMkLst>
        </pc:spChg>
        <pc:spChg chg="del">
          <ac:chgData name="louise Weine" userId="0d873126-e49c-4b84-ae24-26161450adc6" providerId="ADAL" clId="{4CE1F3AA-9E66-D340-A8A6-25C51264B594}" dt="2020-04-07T06:12:06.263" v="477" actId="478"/>
          <ac:spMkLst>
            <pc:docMk/>
            <pc:sldMk cId="417668442" sldId="317"/>
            <ac:spMk id="15" creationId="{1CF816B9-ED0D-2546-B1C3-CC090F42CD87}"/>
          </ac:spMkLst>
        </pc:spChg>
        <pc:spChg chg="del">
          <ac:chgData name="louise Weine" userId="0d873126-e49c-4b84-ae24-26161450adc6" providerId="ADAL" clId="{4CE1F3AA-9E66-D340-A8A6-25C51264B594}" dt="2020-04-07T06:11:58.032" v="476" actId="478"/>
          <ac:spMkLst>
            <pc:docMk/>
            <pc:sldMk cId="417668442" sldId="317"/>
            <ac:spMk id="16" creationId="{197888D0-226C-DD41-97F4-546E8F9B7896}"/>
          </ac:spMkLst>
        </pc:spChg>
        <pc:spChg chg="mod">
          <ac:chgData name="louise Weine" userId="0d873126-e49c-4b84-ae24-26161450adc6" providerId="ADAL" clId="{4CE1F3AA-9E66-D340-A8A6-25C51264B594}" dt="2020-04-07T06:12:24.725" v="502" actId="20577"/>
          <ac:spMkLst>
            <pc:docMk/>
            <pc:sldMk cId="417668442" sldId="317"/>
            <ac:spMk id="23" creationId="{9BD26D20-BBC6-6A4F-9571-2D587AADEC35}"/>
          </ac:spMkLst>
        </pc:spChg>
        <pc:spChg chg="del">
          <ac:chgData name="louise Weine" userId="0d873126-e49c-4b84-ae24-26161450adc6" providerId="ADAL" clId="{4CE1F3AA-9E66-D340-A8A6-25C51264B594}" dt="2020-04-07T06:12:06.263" v="477" actId="478"/>
          <ac:spMkLst>
            <pc:docMk/>
            <pc:sldMk cId="417668442" sldId="317"/>
            <ac:spMk id="26" creationId="{DE69E492-C4EC-704C-AA93-652F68E43862}"/>
          </ac:spMkLst>
        </pc:spChg>
        <pc:spChg chg="del">
          <ac:chgData name="louise Weine" userId="0d873126-e49c-4b84-ae24-26161450adc6" providerId="ADAL" clId="{4CE1F3AA-9E66-D340-A8A6-25C51264B594}" dt="2020-04-07T06:12:06.263" v="477" actId="478"/>
          <ac:spMkLst>
            <pc:docMk/>
            <pc:sldMk cId="417668442" sldId="317"/>
            <ac:spMk id="31" creationId="{3F9D39E7-D59A-8C42-9924-588508198EFE}"/>
          </ac:spMkLst>
        </pc:spChg>
        <pc:spChg chg="del">
          <ac:chgData name="louise Weine" userId="0d873126-e49c-4b84-ae24-26161450adc6" providerId="ADAL" clId="{4CE1F3AA-9E66-D340-A8A6-25C51264B594}" dt="2020-04-07T06:12:06.263" v="477" actId="478"/>
          <ac:spMkLst>
            <pc:docMk/>
            <pc:sldMk cId="417668442" sldId="317"/>
            <ac:spMk id="32" creationId="{3FD3A782-E141-DB44-BAEA-58467B82F954}"/>
          </ac:spMkLst>
        </pc:spChg>
        <pc:spChg chg="del mod">
          <ac:chgData name="louise Weine" userId="0d873126-e49c-4b84-ae24-26161450adc6" providerId="ADAL" clId="{4CE1F3AA-9E66-D340-A8A6-25C51264B594}" dt="2020-04-07T06:13:11.017" v="536"/>
          <ac:spMkLst>
            <pc:docMk/>
            <pc:sldMk cId="417668442" sldId="317"/>
            <ac:spMk id="37" creationId="{61BF3A22-84D8-5042-A9CE-718343FBEA9C}"/>
          </ac:spMkLst>
        </pc:spChg>
        <pc:picChg chg="mod">
          <ac:chgData name="louise Weine" userId="0d873126-e49c-4b84-ae24-26161450adc6" providerId="ADAL" clId="{4CE1F3AA-9E66-D340-A8A6-25C51264B594}" dt="2020-04-07T06:12:11.852" v="478" actId="1076"/>
          <ac:picMkLst>
            <pc:docMk/>
            <pc:sldMk cId="417668442" sldId="317"/>
            <ac:picMk id="34" creationId="{FF42DBCB-01A4-5643-AD89-724C050FAABA}"/>
          </ac:picMkLst>
        </pc:picChg>
      </pc:sldChg>
      <pc:sldChg chg="modSp del">
        <pc:chgData name="louise Weine" userId="0d873126-e49c-4b84-ae24-26161450adc6" providerId="ADAL" clId="{4CE1F3AA-9E66-D340-A8A6-25C51264B594}" dt="2020-04-07T06:11:47.003" v="475" actId="2696"/>
        <pc:sldMkLst>
          <pc:docMk/>
          <pc:sldMk cId="698870054" sldId="320"/>
        </pc:sldMkLst>
        <pc:spChg chg="mod">
          <ac:chgData name="louise Weine" userId="0d873126-e49c-4b84-ae24-26161450adc6" providerId="ADAL" clId="{4CE1F3AA-9E66-D340-A8A6-25C51264B594}" dt="2020-04-06T05:07:56.831" v="153" actId="20577"/>
          <ac:spMkLst>
            <pc:docMk/>
            <pc:sldMk cId="698870054" sldId="320"/>
            <ac:spMk id="23" creationId="{9BD26D20-BBC6-6A4F-9571-2D587AADEC35}"/>
          </ac:spMkLst>
        </pc:spChg>
        <pc:spChg chg="mod">
          <ac:chgData name="louise Weine" userId="0d873126-e49c-4b84-ae24-26161450adc6" providerId="ADAL" clId="{4CE1F3AA-9E66-D340-A8A6-25C51264B594}" dt="2020-04-06T05:08:32.050" v="329" actId="20577"/>
          <ac:spMkLst>
            <pc:docMk/>
            <pc:sldMk cId="698870054" sldId="320"/>
            <ac:spMk id="37" creationId="{61BF3A22-84D8-5042-A9CE-718343FBEA9C}"/>
          </ac:spMkLst>
        </pc:spChg>
      </pc:sldChg>
      <pc:sldChg chg="del">
        <pc:chgData name="louise Weine" userId="0d873126-e49c-4b84-ae24-26161450adc6" providerId="ADAL" clId="{4CE1F3AA-9E66-D340-A8A6-25C51264B594}" dt="2020-04-07T06:16:35.828" v="539" actId="2696"/>
        <pc:sldMkLst>
          <pc:docMk/>
          <pc:sldMk cId="103055127" sldId="321"/>
        </pc:sldMkLst>
      </pc:sldChg>
      <pc:sldChg chg="addSp delSp modSp mod ord setBg setClrOvrMap modNotesTx">
        <pc:chgData name="louise Weine" userId="0d873126-e49c-4b84-ae24-26161450adc6" providerId="ADAL" clId="{4CE1F3AA-9E66-D340-A8A6-25C51264B594}" dt="2020-04-09T01:11:36.514" v="3516" actId="20577"/>
        <pc:sldMkLst>
          <pc:docMk/>
          <pc:sldMk cId="235895325" sldId="322"/>
        </pc:sldMkLst>
        <pc:spChg chg="mod ord">
          <ac:chgData name="louise Weine" userId="0d873126-e49c-4b84-ae24-26161450adc6" providerId="ADAL" clId="{4CE1F3AA-9E66-D340-A8A6-25C51264B594}" dt="2020-04-08T11:55:54.085" v="1653" actId="1076"/>
          <ac:spMkLst>
            <pc:docMk/>
            <pc:sldMk cId="235895325" sldId="322"/>
            <ac:spMk id="2" creationId="{87769402-F3DE-9D49-8933-5EEC0EBAA58D}"/>
          </ac:spMkLst>
        </pc:spChg>
        <pc:spChg chg="mod ord">
          <ac:chgData name="louise Weine" userId="0d873126-e49c-4b84-ae24-26161450adc6" providerId="ADAL" clId="{4CE1F3AA-9E66-D340-A8A6-25C51264B594}" dt="2020-04-08T11:52:17.361" v="1619" actId="26606"/>
          <ac:spMkLst>
            <pc:docMk/>
            <pc:sldMk cId="235895325" sldId="322"/>
            <ac:spMk id="7" creationId="{9E6A1B1B-4252-A049-8CE0-71549E8E653A}"/>
          </ac:spMkLst>
        </pc:spChg>
        <pc:spChg chg="mod ord">
          <ac:chgData name="louise Weine" userId="0d873126-e49c-4b84-ae24-26161450adc6" providerId="ADAL" clId="{4CE1F3AA-9E66-D340-A8A6-25C51264B594}" dt="2020-04-08T11:51:35.404" v="1616" actId="26606"/>
          <ac:spMkLst>
            <pc:docMk/>
            <pc:sldMk cId="235895325" sldId="322"/>
            <ac:spMk id="8" creationId="{C7363B37-CD7C-AB44-B658-094BBFFDAB39}"/>
          </ac:spMkLst>
        </pc:spChg>
        <pc:spChg chg="add del">
          <ac:chgData name="louise Weine" userId="0d873126-e49c-4b84-ae24-26161450adc6" providerId="ADAL" clId="{4CE1F3AA-9E66-D340-A8A6-25C51264B594}" dt="2020-04-08T01:45:34.970" v="1213" actId="26606"/>
          <ac:spMkLst>
            <pc:docMk/>
            <pc:sldMk cId="235895325" sldId="322"/>
            <ac:spMk id="14" creationId="{231BF440-39FA-4087-84CC-2EEC0BBDAF29}"/>
          </ac:spMkLst>
        </pc:spChg>
        <pc:spChg chg="add del">
          <ac:chgData name="louise Weine" userId="0d873126-e49c-4b84-ae24-26161450adc6" providerId="ADAL" clId="{4CE1F3AA-9E66-D340-A8A6-25C51264B594}" dt="2020-04-08T01:45:34.970" v="1213" actId="26606"/>
          <ac:spMkLst>
            <pc:docMk/>
            <pc:sldMk cId="235895325" sldId="322"/>
            <ac:spMk id="16" creationId="{F04E4CBA-303B-48BD-8451-C2701CB0EEBF}"/>
          </ac:spMkLst>
        </pc:spChg>
        <pc:spChg chg="add del mod">
          <ac:chgData name="louise Weine" userId="0d873126-e49c-4b84-ae24-26161450adc6" providerId="ADAL" clId="{4CE1F3AA-9E66-D340-A8A6-25C51264B594}" dt="2020-04-08T01:58:10.255" v="1282"/>
          <ac:spMkLst>
            <pc:docMk/>
            <pc:sldMk cId="235895325" sldId="322"/>
            <ac:spMk id="17" creationId="{1E2BCB6C-8F36-C342-AFBD-DEB885FE1CD3}"/>
          </ac:spMkLst>
        </pc:spChg>
        <pc:spChg chg="add del">
          <ac:chgData name="louise Weine" userId="0d873126-e49c-4b84-ae24-26161450adc6" providerId="ADAL" clId="{4CE1F3AA-9E66-D340-A8A6-25C51264B594}" dt="2020-04-08T01:45:34.970" v="1213" actId="26606"/>
          <ac:spMkLst>
            <pc:docMk/>
            <pc:sldMk cId="235895325" sldId="322"/>
            <ac:spMk id="18" creationId="{F6CA58B3-AFCC-4A40-9882-50D5080879B0}"/>
          </ac:spMkLst>
        </pc:spChg>
        <pc:spChg chg="add del">
          <ac:chgData name="louise Weine" userId="0d873126-e49c-4b84-ae24-26161450adc6" providerId="ADAL" clId="{4CE1F3AA-9E66-D340-A8A6-25C51264B594}" dt="2020-04-08T01:45:34.970" v="1213" actId="26606"/>
          <ac:spMkLst>
            <pc:docMk/>
            <pc:sldMk cId="235895325" sldId="322"/>
            <ac:spMk id="20" creationId="{75C56826-D4E5-42ED-8529-079651CB3005}"/>
          </ac:spMkLst>
        </pc:spChg>
        <pc:spChg chg="add del">
          <ac:chgData name="louise Weine" userId="0d873126-e49c-4b84-ae24-26161450adc6" providerId="ADAL" clId="{4CE1F3AA-9E66-D340-A8A6-25C51264B594}" dt="2020-04-08T01:45:34.970" v="1213" actId="26606"/>
          <ac:spMkLst>
            <pc:docMk/>
            <pc:sldMk cId="235895325" sldId="322"/>
            <ac:spMk id="22" creationId="{82095FCE-EF05-4443-B97A-85DEE3A5CA17}"/>
          </ac:spMkLst>
        </pc:spChg>
        <pc:spChg chg="add del">
          <ac:chgData name="louise Weine" userId="0d873126-e49c-4b84-ae24-26161450adc6" providerId="ADAL" clId="{4CE1F3AA-9E66-D340-A8A6-25C51264B594}" dt="2020-04-08T01:45:34.970" v="1213" actId="26606"/>
          <ac:spMkLst>
            <pc:docMk/>
            <pc:sldMk cId="235895325" sldId="322"/>
            <ac:spMk id="24" creationId="{CA00AE6B-AA30-4CF8-BA6F-339B780AD76C}"/>
          </ac:spMkLst>
        </pc:spChg>
        <pc:spChg chg="add del">
          <ac:chgData name="louise Weine" userId="0d873126-e49c-4b84-ae24-26161450adc6" providerId="ADAL" clId="{4CE1F3AA-9E66-D340-A8A6-25C51264B594}" dt="2020-04-08T11:51:35.404" v="1616" actId="26606"/>
          <ac:spMkLst>
            <pc:docMk/>
            <pc:sldMk cId="235895325" sldId="322"/>
            <ac:spMk id="29" creationId="{231BF440-39FA-4087-84CC-2EEC0BBDAF29}"/>
          </ac:spMkLst>
        </pc:spChg>
        <pc:spChg chg="add del">
          <ac:chgData name="louise Weine" userId="0d873126-e49c-4b84-ae24-26161450adc6" providerId="ADAL" clId="{4CE1F3AA-9E66-D340-A8A6-25C51264B594}" dt="2020-04-08T11:51:35.404" v="1616" actId="26606"/>
          <ac:spMkLst>
            <pc:docMk/>
            <pc:sldMk cId="235895325" sldId="322"/>
            <ac:spMk id="31" creationId="{F04E4CBA-303B-48BD-8451-C2701CB0EEBF}"/>
          </ac:spMkLst>
        </pc:spChg>
        <pc:spChg chg="add del">
          <ac:chgData name="louise Weine" userId="0d873126-e49c-4b84-ae24-26161450adc6" providerId="ADAL" clId="{4CE1F3AA-9E66-D340-A8A6-25C51264B594}" dt="2020-04-08T11:51:35.404" v="1616" actId="26606"/>
          <ac:spMkLst>
            <pc:docMk/>
            <pc:sldMk cId="235895325" sldId="322"/>
            <ac:spMk id="33" creationId="{F6CA58B3-AFCC-4A40-9882-50D5080879B0}"/>
          </ac:spMkLst>
        </pc:spChg>
        <pc:spChg chg="add del">
          <ac:chgData name="louise Weine" userId="0d873126-e49c-4b84-ae24-26161450adc6" providerId="ADAL" clId="{4CE1F3AA-9E66-D340-A8A6-25C51264B594}" dt="2020-04-08T11:51:35.404" v="1616" actId="26606"/>
          <ac:spMkLst>
            <pc:docMk/>
            <pc:sldMk cId="235895325" sldId="322"/>
            <ac:spMk id="35" creationId="{75C56826-D4E5-42ED-8529-079651CB3005}"/>
          </ac:spMkLst>
        </pc:spChg>
        <pc:spChg chg="add del">
          <ac:chgData name="louise Weine" userId="0d873126-e49c-4b84-ae24-26161450adc6" providerId="ADAL" clId="{4CE1F3AA-9E66-D340-A8A6-25C51264B594}" dt="2020-04-08T11:51:35.404" v="1616" actId="26606"/>
          <ac:spMkLst>
            <pc:docMk/>
            <pc:sldMk cId="235895325" sldId="322"/>
            <ac:spMk id="37" creationId="{82095FCE-EF05-4443-B97A-85DEE3A5CA17}"/>
          </ac:spMkLst>
        </pc:spChg>
        <pc:spChg chg="add del">
          <ac:chgData name="louise Weine" userId="0d873126-e49c-4b84-ae24-26161450adc6" providerId="ADAL" clId="{4CE1F3AA-9E66-D340-A8A6-25C51264B594}" dt="2020-04-08T11:51:35.404" v="1616" actId="26606"/>
          <ac:spMkLst>
            <pc:docMk/>
            <pc:sldMk cId="235895325" sldId="322"/>
            <ac:spMk id="39" creationId="{CA00AE6B-AA30-4CF8-BA6F-339B780AD76C}"/>
          </ac:spMkLst>
        </pc:spChg>
        <pc:spChg chg="add del">
          <ac:chgData name="louise Weine" userId="0d873126-e49c-4b84-ae24-26161450adc6" providerId="ADAL" clId="{4CE1F3AA-9E66-D340-A8A6-25C51264B594}" dt="2020-04-08T11:51:21.161" v="1609" actId="26606"/>
          <ac:spMkLst>
            <pc:docMk/>
            <pc:sldMk cId="235895325" sldId="322"/>
            <ac:spMk id="44" creationId="{99CEE05D-F25C-4EC3-B527-D9C999E335CD}"/>
          </ac:spMkLst>
        </pc:spChg>
        <pc:spChg chg="add del">
          <ac:chgData name="louise Weine" userId="0d873126-e49c-4b84-ae24-26161450adc6" providerId="ADAL" clId="{4CE1F3AA-9E66-D340-A8A6-25C51264B594}" dt="2020-04-08T11:51:21.161" v="1609" actId="26606"/>
          <ac:spMkLst>
            <pc:docMk/>
            <pc:sldMk cId="235895325" sldId="322"/>
            <ac:spMk id="46" creationId="{4F036726-0C05-446E-91C3-B986EBEA055E}"/>
          </ac:spMkLst>
        </pc:spChg>
        <pc:spChg chg="add del">
          <ac:chgData name="louise Weine" userId="0d873126-e49c-4b84-ae24-26161450adc6" providerId="ADAL" clId="{4CE1F3AA-9E66-D340-A8A6-25C51264B594}" dt="2020-04-08T11:51:21.161" v="1609" actId="26606"/>
          <ac:spMkLst>
            <pc:docMk/>
            <pc:sldMk cId="235895325" sldId="322"/>
            <ac:spMk id="48" creationId="{A310ABCD-C34B-42D1-9BEB-47755A3EA36C}"/>
          </ac:spMkLst>
        </pc:spChg>
        <pc:spChg chg="add del">
          <ac:chgData name="louise Weine" userId="0d873126-e49c-4b84-ae24-26161450adc6" providerId="ADAL" clId="{4CE1F3AA-9E66-D340-A8A6-25C51264B594}" dt="2020-04-08T11:51:21.161" v="1609" actId="26606"/>
          <ac:spMkLst>
            <pc:docMk/>
            <pc:sldMk cId="235895325" sldId="322"/>
            <ac:spMk id="50" creationId="{F38AB6A2-89F7-43B5-B608-50DFC740DEBF}"/>
          </ac:spMkLst>
        </pc:spChg>
        <pc:spChg chg="add del">
          <ac:chgData name="louise Weine" userId="0d873126-e49c-4b84-ae24-26161450adc6" providerId="ADAL" clId="{4CE1F3AA-9E66-D340-A8A6-25C51264B594}" dt="2020-04-08T11:51:21.161" v="1609" actId="26606"/>
          <ac:spMkLst>
            <pc:docMk/>
            <pc:sldMk cId="235895325" sldId="322"/>
            <ac:spMk id="52" creationId="{06585B74-DAF6-470E-B2F3-B5530A709AAC}"/>
          </ac:spMkLst>
        </pc:spChg>
        <pc:spChg chg="add del">
          <ac:chgData name="louise Weine" userId="0d873126-e49c-4b84-ae24-26161450adc6" providerId="ADAL" clId="{4CE1F3AA-9E66-D340-A8A6-25C51264B594}" dt="2020-04-08T11:51:21.161" v="1609" actId="26606"/>
          <ac:spMkLst>
            <pc:docMk/>
            <pc:sldMk cId="235895325" sldId="322"/>
            <ac:spMk id="54" creationId="{30BAD96F-CE2F-4682-99B8-0DD9E6AE2BED}"/>
          </ac:spMkLst>
        </pc:spChg>
        <pc:spChg chg="add del">
          <ac:chgData name="louise Weine" userId="0d873126-e49c-4b84-ae24-26161450adc6" providerId="ADAL" clId="{4CE1F3AA-9E66-D340-A8A6-25C51264B594}" dt="2020-04-08T11:51:23.314" v="1611" actId="26606"/>
          <ac:spMkLst>
            <pc:docMk/>
            <pc:sldMk cId="235895325" sldId="322"/>
            <ac:spMk id="56" creationId="{E5C90410-A19D-4002-8B73-CD616E8E055F}"/>
          </ac:spMkLst>
        </pc:spChg>
        <pc:spChg chg="add del">
          <ac:chgData name="louise Weine" userId="0d873126-e49c-4b84-ae24-26161450adc6" providerId="ADAL" clId="{4CE1F3AA-9E66-D340-A8A6-25C51264B594}" dt="2020-04-08T11:51:30.123" v="1613" actId="26606"/>
          <ac:spMkLst>
            <pc:docMk/>
            <pc:sldMk cId="235895325" sldId="322"/>
            <ac:spMk id="59" creationId="{E17ACF44-3D86-445D-B968-A95E27441206}"/>
          </ac:spMkLst>
        </pc:spChg>
        <pc:spChg chg="add del">
          <ac:chgData name="louise Weine" userId="0d873126-e49c-4b84-ae24-26161450adc6" providerId="ADAL" clId="{4CE1F3AA-9E66-D340-A8A6-25C51264B594}" dt="2020-04-08T11:51:30.123" v="1613" actId="26606"/>
          <ac:spMkLst>
            <pc:docMk/>
            <pc:sldMk cId="235895325" sldId="322"/>
            <ac:spMk id="60" creationId="{5D99C11F-9B39-4C31-891D-AB9740CD39FB}"/>
          </ac:spMkLst>
        </pc:spChg>
        <pc:spChg chg="add del">
          <ac:chgData name="louise Weine" userId="0d873126-e49c-4b84-ae24-26161450adc6" providerId="ADAL" clId="{4CE1F3AA-9E66-D340-A8A6-25C51264B594}" dt="2020-04-08T11:51:30.123" v="1613" actId="26606"/>
          <ac:spMkLst>
            <pc:docMk/>
            <pc:sldMk cId="235895325" sldId="322"/>
            <ac:spMk id="61" creationId="{379A6E4F-520D-4C52-A635-ACC73C0969C3}"/>
          </ac:spMkLst>
        </pc:spChg>
        <pc:spChg chg="add del">
          <ac:chgData name="louise Weine" userId="0d873126-e49c-4b84-ae24-26161450adc6" providerId="ADAL" clId="{4CE1F3AA-9E66-D340-A8A6-25C51264B594}" dt="2020-04-08T11:51:30.123" v="1613" actId="26606"/>
          <ac:spMkLst>
            <pc:docMk/>
            <pc:sldMk cId="235895325" sldId="322"/>
            <ac:spMk id="62" creationId="{5D8DF252-F3BD-433C-B6C6-8C57E32E322F}"/>
          </ac:spMkLst>
        </pc:spChg>
        <pc:spChg chg="add del">
          <ac:chgData name="louise Weine" userId="0d873126-e49c-4b84-ae24-26161450adc6" providerId="ADAL" clId="{4CE1F3AA-9E66-D340-A8A6-25C51264B594}" dt="2020-04-08T11:51:30.123" v="1613" actId="26606"/>
          <ac:spMkLst>
            <pc:docMk/>
            <pc:sldMk cId="235895325" sldId="322"/>
            <ac:spMk id="63" creationId="{8B31F2C7-5103-4CFE-B52D-DEC0C13C5271}"/>
          </ac:spMkLst>
        </pc:spChg>
        <pc:spChg chg="add mod">
          <ac:chgData name="louise Weine" userId="0d873126-e49c-4b84-ae24-26161450adc6" providerId="ADAL" clId="{4CE1F3AA-9E66-D340-A8A6-25C51264B594}" dt="2020-04-08T11:55:59.819" v="1654" actId="1076"/>
          <ac:spMkLst>
            <pc:docMk/>
            <pc:sldMk cId="235895325" sldId="322"/>
            <ac:spMk id="64" creationId="{8A02BD6E-2D39-FA49-9829-F92CEF0EE103}"/>
          </ac:spMkLst>
        </pc:spChg>
        <pc:spChg chg="add del">
          <ac:chgData name="louise Weine" userId="0d873126-e49c-4b84-ae24-26161450adc6" providerId="ADAL" clId="{4CE1F3AA-9E66-D340-A8A6-25C51264B594}" dt="2020-04-08T11:51:35.384" v="1615" actId="26606"/>
          <ac:spMkLst>
            <pc:docMk/>
            <pc:sldMk cId="235895325" sldId="322"/>
            <ac:spMk id="65" creationId="{D1C26593-9A51-48FE-9FA2-A9052E57F390}"/>
          </ac:spMkLst>
        </pc:spChg>
        <pc:spChg chg="add del">
          <ac:chgData name="louise Weine" userId="0d873126-e49c-4b84-ae24-26161450adc6" providerId="ADAL" clId="{4CE1F3AA-9E66-D340-A8A6-25C51264B594}" dt="2020-04-08T11:51:35.384" v="1615" actId="26606"/>
          <ac:spMkLst>
            <pc:docMk/>
            <pc:sldMk cId="235895325" sldId="322"/>
            <ac:spMk id="66" creationId="{B9D473B1-934D-4F2D-AC4B-5BFB4BAC5DCD}"/>
          </ac:spMkLst>
        </pc:spChg>
        <pc:spChg chg="add del">
          <ac:chgData name="louise Weine" userId="0d873126-e49c-4b84-ae24-26161450adc6" providerId="ADAL" clId="{4CE1F3AA-9E66-D340-A8A6-25C51264B594}" dt="2020-04-08T11:51:35.384" v="1615" actId="26606"/>
          <ac:spMkLst>
            <pc:docMk/>
            <pc:sldMk cId="235895325" sldId="322"/>
            <ac:spMk id="67" creationId="{CDE3C03E-D949-4F50-AAFA-3278B2212124}"/>
          </ac:spMkLst>
        </pc:spChg>
        <pc:spChg chg="add del">
          <ac:chgData name="louise Weine" userId="0d873126-e49c-4b84-ae24-26161450adc6" providerId="ADAL" clId="{4CE1F3AA-9E66-D340-A8A6-25C51264B594}" dt="2020-04-08T11:52:17.361" v="1619" actId="26606"/>
          <ac:spMkLst>
            <pc:docMk/>
            <pc:sldMk cId="235895325" sldId="322"/>
            <ac:spMk id="69" creationId="{EBB6D9F6-3E47-45AD-8461-718A3C87E3E8}"/>
          </ac:spMkLst>
        </pc:spChg>
        <pc:spChg chg="add del">
          <ac:chgData name="louise Weine" userId="0d873126-e49c-4b84-ae24-26161450adc6" providerId="ADAL" clId="{4CE1F3AA-9E66-D340-A8A6-25C51264B594}" dt="2020-04-08T11:52:17.361" v="1619" actId="26606"/>
          <ac:spMkLst>
            <pc:docMk/>
            <pc:sldMk cId="235895325" sldId="322"/>
            <ac:spMk id="70" creationId="{A3B16A00-A549-4B07-B8C2-4B3A966D9E26}"/>
          </ac:spMkLst>
        </pc:spChg>
        <pc:spChg chg="add del">
          <ac:chgData name="louise Weine" userId="0d873126-e49c-4b84-ae24-26161450adc6" providerId="ADAL" clId="{4CE1F3AA-9E66-D340-A8A6-25C51264B594}" dt="2020-04-08T11:52:17.361" v="1619" actId="26606"/>
          <ac:spMkLst>
            <pc:docMk/>
            <pc:sldMk cId="235895325" sldId="322"/>
            <ac:spMk id="71" creationId="{33B86BAE-87B4-4192-ABB2-627FFC965AC7}"/>
          </ac:spMkLst>
        </pc:spChg>
        <pc:spChg chg="add del">
          <ac:chgData name="louise Weine" userId="0d873126-e49c-4b84-ae24-26161450adc6" providerId="ADAL" clId="{4CE1F3AA-9E66-D340-A8A6-25C51264B594}" dt="2020-04-08T11:52:17.361" v="1619" actId="26606"/>
          <ac:spMkLst>
            <pc:docMk/>
            <pc:sldMk cId="235895325" sldId="322"/>
            <ac:spMk id="72" creationId="{22BB4F03-4463-45CC-89A7-8E03412EDDBF}"/>
          </ac:spMkLst>
        </pc:spChg>
        <pc:spChg chg="add del">
          <ac:chgData name="louise Weine" userId="0d873126-e49c-4b84-ae24-26161450adc6" providerId="ADAL" clId="{4CE1F3AA-9E66-D340-A8A6-25C51264B594}" dt="2020-04-08T11:52:17.361" v="1619" actId="26606"/>
          <ac:spMkLst>
            <pc:docMk/>
            <pc:sldMk cId="235895325" sldId="322"/>
            <ac:spMk id="73" creationId="{80E1AEAE-1F52-4C29-925C-27738417E9F5}"/>
          </ac:spMkLst>
        </pc:spChg>
        <pc:spChg chg="add">
          <ac:chgData name="louise Weine" userId="0d873126-e49c-4b84-ae24-26161450adc6" providerId="ADAL" clId="{4CE1F3AA-9E66-D340-A8A6-25C51264B594}" dt="2020-04-08T11:52:17.361" v="1619" actId="26606"/>
          <ac:spMkLst>
            <pc:docMk/>
            <pc:sldMk cId="235895325" sldId="322"/>
            <ac:spMk id="78" creationId="{D1C26593-9A51-48FE-9FA2-A9052E57F390}"/>
          </ac:spMkLst>
        </pc:spChg>
        <pc:spChg chg="add">
          <ac:chgData name="louise Weine" userId="0d873126-e49c-4b84-ae24-26161450adc6" providerId="ADAL" clId="{4CE1F3AA-9E66-D340-A8A6-25C51264B594}" dt="2020-04-08T11:52:17.361" v="1619" actId="26606"/>
          <ac:spMkLst>
            <pc:docMk/>
            <pc:sldMk cId="235895325" sldId="322"/>
            <ac:spMk id="80" creationId="{B9D473B1-934D-4F2D-AC4B-5BFB4BAC5DCD}"/>
          </ac:spMkLst>
        </pc:spChg>
        <pc:spChg chg="add">
          <ac:chgData name="louise Weine" userId="0d873126-e49c-4b84-ae24-26161450adc6" providerId="ADAL" clId="{4CE1F3AA-9E66-D340-A8A6-25C51264B594}" dt="2020-04-08T11:52:17.361" v="1619" actId="26606"/>
          <ac:spMkLst>
            <pc:docMk/>
            <pc:sldMk cId="235895325" sldId="322"/>
            <ac:spMk id="82" creationId="{CDE3C03E-D949-4F50-AAFA-3278B2212124}"/>
          </ac:spMkLst>
        </pc:spChg>
        <pc:picChg chg="add del mod">
          <ac:chgData name="louise Weine" userId="0d873126-e49c-4b84-ae24-26161450adc6" providerId="ADAL" clId="{4CE1F3AA-9E66-D340-A8A6-25C51264B594}" dt="2020-04-08T05:06:43.038" v="1600" actId="478"/>
          <ac:picMkLst>
            <pc:docMk/>
            <pc:sldMk cId="235895325" sldId="322"/>
            <ac:picMk id="3" creationId="{A905CD40-E6DA-D140-BC9F-38209A0D76AB}"/>
          </ac:picMkLst>
        </pc:picChg>
        <pc:picChg chg="add del">
          <ac:chgData name="louise Weine" userId="0d873126-e49c-4b84-ae24-26161450adc6" providerId="ADAL" clId="{4CE1F3AA-9E66-D340-A8A6-25C51264B594}" dt="2020-04-08T01:46:46.594" v="1216"/>
          <ac:picMkLst>
            <pc:docMk/>
            <pc:sldMk cId="235895325" sldId="322"/>
            <ac:picMk id="4" creationId="{B4CBCB9C-E442-954B-8623-B9D5648E25EA}"/>
          </ac:picMkLst>
        </pc:picChg>
        <pc:picChg chg="del">
          <ac:chgData name="louise Weine" userId="0d873126-e49c-4b84-ae24-26161450adc6" providerId="ADAL" clId="{4CE1F3AA-9E66-D340-A8A6-25C51264B594}" dt="2020-04-08T01:40:20.704" v="1203" actId="478"/>
          <ac:picMkLst>
            <pc:docMk/>
            <pc:sldMk cId="235895325" sldId="322"/>
            <ac:picMk id="5" creationId="{B2C09920-A9FD-1648-9769-3AEBA1E0C359}"/>
          </ac:picMkLst>
        </pc:picChg>
        <pc:picChg chg="del">
          <ac:chgData name="louise Weine" userId="0d873126-e49c-4b84-ae24-26161450adc6" providerId="ADAL" clId="{4CE1F3AA-9E66-D340-A8A6-25C51264B594}" dt="2020-04-08T01:40:22.407" v="1204" actId="478"/>
          <ac:picMkLst>
            <pc:docMk/>
            <pc:sldMk cId="235895325" sldId="322"/>
            <ac:picMk id="6" creationId="{1A7A0042-B557-1340-9BB8-AD02945A4FE2}"/>
          </ac:picMkLst>
        </pc:picChg>
        <pc:picChg chg="add del mod">
          <ac:chgData name="louise Weine" userId="0d873126-e49c-4b84-ae24-26161450adc6" providerId="ADAL" clId="{4CE1F3AA-9E66-D340-A8A6-25C51264B594}" dt="2020-04-08T05:06:40.929" v="1599" actId="478"/>
          <ac:picMkLst>
            <pc:docMk/>
            <pc:sldMk cId="235895325" sldId="322"/>
            <ac:picMk id="9" creationId="{EF2184F0-200C-0940-BBCC-477FB5402DEA}"/>
          </ac:picMkLst>
        </pc:picChg>
        <pc:picChg chg="add del mod">
          <ac:chgData name="louise Weine" userId="0d873126-e49c-4b84-ae24-26161450adc6" providerId="ADAL" clId="{4CE1F3AA-9E66-D340-A8A6-25C51264B594}" dt="2020-04-08T01:59:35.193" v="1290"/>
          <ac:picMkLst>
            <pc:docMk/>
            <pc:sldMk cId="235895325" sldId="322"/>
            <ac:picMk id="10" creationId="{E1742833-66C6-D841-8DAF-A2978EC7EEB5}"/>
          </ac:picMkLst>
        </pc:picChg>
        <pc:picChg chg="add mod ord">
          <ac:chgData name="louise Weine" userId="0d873126-e49c-4b84-ae24-26161450adc6" providerId="ADAL" clId="{4CE1F3AA-9E66-D340-A8A6-25C51264B594}" dt="2020-04-08T11:56:46.838" v="1660" actId="1076"/>
          <ac:picMkLst>
            <pc:docMk/>
            <pc:sldMk cId="235895325" sldId="322"/>
            <ac:picMk id="12" creationId="{F110586C-358A-0244-B0DB-1CC1B1858260}"/>
          </ac:picMkLst>
        </pc:picChg>
        <pc:picChg chg="add mod ord">
          <ac:chgData name="louise Weine" userId="0d873126-e49c-4b84-ae24-26161450adc6" providerId="ADAL" clId="{4CE1F3AA-9E66-D340-A8A6-25C51264B594}" dt="2020-04-08T11:56:40.698" v="1659" actId="1076"/>
          <ac:picMkLst>
            <pc:docMk/>
            <pc:sldMk cId="235895325" sldId="322"/>
            <ac:picMk id="15" creationId="{B9127B49-B4E1-0242-A71B-487E0976A3A2}"/>
          </ac:picMkLst>
        </pc:picChg>
        <pc:picChg chg="add mod ord modCrop">
          <ac:chgData name="louise Weine" userId="0d873126-e49c-4b84-ae24-26161450adc6" providerId="ADAL" clId="{4CE1F3AA-9E66-D340-A8A6-25C51264B594}" dt="2020-04-08T11:55:43.775" v="1651" actId="1076"/>
          <ac:picMkLst>
            <pc:docMk/>
            <pc:sldMk cId="235895325" sldId="322"/>
            <ac:picMk id="21" creationId="{06F3F777-49FF-C04A-8132-B97CF4E6929C}"/>
          </ac:picMkLst>
        </pc:picChg>
        <pc:picChg chg="add del mod">
          <ac:chgData name="louise Weine" userId="0d873126-e49c-4b84-ae24-26161450adc6" providerId="ADAL" clId="{4CE1F3AA-9E66-D340-A8A6-25C51264B594}" dt="2020-04-08T01:57:21.550" v="1272" actId="478"/>
          <ac:picMkLst>
            <pc:docMk/>
            <pc:sldMk cId="235895325" sldId="322"/>
            <ac:picMk id="23" creationId="{499BB9E0-173A-4948-A79C-156E6A2166CE}"/>
          </ac:picMkLst>
        </pc:picChg>
        <pc:picChg chg="add del mod">
          <ac:chgData name="louise Weine" userId="0d873126-e49c-4b84-ae24-26161450adc6" providerId="ADAL" clId="{4CE1F3AA-9E66-D340-A8A6-25C51264B594}" dt="2020-04-08T01:53:49.039" v="1261" actId="478"/>
          <ac:picMkLst>
            <pc:docMk/>
            <pc:sldMk cId="235895325" sldId="322"/>
            <ac:picMk id="25" creationId="{AC97BFC5-27CA-324B-823E-B933F1ACC29D}"/>
          </ac:picMkLst>
        </pc:picChg>
        <pc:picChg chg="add mod ord">
          <ac:chgData name="louise Weine" userId="0d873126-e49c-4b84-ae24-26161450adc6" providerId="ADAL" clId="{4CE1F3AA-9E66-D340-A8A6-25C51264B594}" dt="2020-04-08T11:55:49.013" v="1652" actId="1076"/>
          <ac:picMkLst>
            <pc:docMk/>
            <pc:sldMk cId="235895325" sldId="322"/>
            <ac:picMk id="27" creationId="{B65CCF46-754D-FD4F-98B1-CB2439F49BDD}"/>
          </ac:picMkLst>
        </pc:picChg>
        <pc:picChg chg="add mod">
          <ac:chgData name="louise Weine" userId="0d873126-e49c-4b84-ae24-26161450adc6" providerId="ADAL" clId="{4CE1F3AA-9E66-D340-A8A6-25C51264B594}" dt="2020-04-08T11:56:29.875" v="1657" actId="1076"/>
          <ac:picMkLst>
            <pc:docMk/>
            <pc:sldMk cId="235895325" sldId="322"/>
            <ac:picMk id="68" creationId="{F6BFB8AC-62C1-6041-AE65-38EAB48C28FE}"/>
          </ac:picMkLst>
        </pc:picChg>
        <pc:cxnChg chg="add del">
          <ac:chgData name="louise Weine" userId="0d873126-e49c-4b84-ae24-26161450adc6" providerId="ADAL" clId="{4CE1F3AA-9E66-D340-A8A6-25C51264B594}" dt="2020-04-08T11:51:30.123" v="1613" actId="26606"/>
          <ac:cxnSpMkLst>
            <pc:docMk/>
            <pc:sldMk cId="235895325" sldId="322"/>
            <ac:cxnSpMk id="58" creationId="{78FCE516-86C6-42EC-9BC0-9EAE55544758}"/>
          </ac:cxnSpMkLst>
        </pc:cxnChg>
      </pc:sldChg>
      <pc:sldChg chg="ord modNotesTx">
        <pc:chgData name="louise Weine" userId="0d873126-e49c-4b84-ae24-26161450adc6" providerId="ADAL" clId="{4CE1F3AA-9E66-D340-A8A6-25C51264B594}" dt="2020-04-09T01:08:09.300" v="3485" actId="20577"/>
        <pc:sldMkLst>
          <pc:docMk/>
          <pc:sldMk cId="620339785" sldId="324"/>
        </pc:sldMkLst>
      </pc:sldChg>
      <pc:sldChg chg="addSp delSp modSp add mod ord setBg setClrOvrMap">
        <pc:chgData name="louise Weine" userId="0d873126-e49c-4b84-ae24-26161450adc6" providerId="ADAL" clId="{4CE1F3AA-9E66-D340-A8A6-25C51264B594}" dt="2020-04-08T02:27:03.698" v="1516" actId="113"/>
        <pc:sldMkLst>
          <pc:docMk/>
          <pc:sldMk cId="980408836" sldId="325"/>
        </pc:sldMkLst>
        <pc:spChg chg="mod">
          <ac:chgData name="louise Weine" userId="0d873126-e49c-4b84-ae24-26161450adc6" providerId="ADAL" clId="{4CE1F3AA-9E66-D340-A8A6-25C51264B594}" dt="2020-04-08T02:03:24.220" v="1319" actId="20577"/>
          <ac:spMkLst>
            <pc:docMk/>
            <pc:sldMk cId="980408836" sldId="325"/>
            <ac:spMk id="2" creationId="{29447436-1BB4-9C43-B7FE-EE6D8052616E}"/>
          </ac:spMkLst>
        </pc:spChg>
        <pc:spChg chg="mod ord">
          <ac:chgData name="louise Weine" userId="0d873126-e49c-4b84-ae24-26161450adc6" providerId="ADAL" clId="{4CE1F3AA-9E66-D340-A8A6-25C51264B594}" dt="2020-04-08T02:27:03.698" v="1516" actId="113"/>
          <ac:spMkLst>
            <pc:docMk/>
            <pc:sldMk cId="980408836" sldId="325"/>
            <ac:spMk id="3" creationId="{1C1AEDA7-93B9-5D4E-BB34-99AA62A8B0E0}"/>
          </ac:spMkLst>
        </pc:spChg>
        <pc:spChg chg="add del">
          <ac:chgData name="louise Weine" userId="0d873126-e49c-4b84-ae24-26161450adc6" providerId="ADAL" clId="{4CE1F3AA-9E66-D340-A8A6-25C51264B594}" dt="2020-04-08T01:26:44.017" v="698" actId="26606"/>
          <ac:spMkLst>
            <pc:docMk/>
            <pc:sldMk cId="980408836" sldId="325"/>
            <ac:spMk id="10" creationId="{CF62D2A7-8207-488C-9F46-316BA81A16C8}"/>
          </ac:spMkLst>
        </pc:spChg>
        <pc:spChg chg="add del">
          <ac:chgData name="louise Weine" userId="0d873126-e49c-4b84-ae24-26161450adc6" providerId="ADAL" clId="{4CE1F3AA-9E66-D340-A8A6-25C51264B594}" dt="2020-04-08T01:26:43.997" v="697" actId="26606"/>
          <ac:spMkLst>
            <pc:docMk/>
            <pc:sldMk cId="980408836" sldId="325"/>
            <ac:spMk id="15" creationId="{EF9B8DF2-C3F5-49A2-94D2-F7B65A0F1F15}"/>
          </ac:spMkLst>
        </pc:spChg>
        <pc:spChg chg="add">
          <ac:chgData name="louise Weine" userId="0d873126-e49c-4b84-ae24-26161450adc6" providerId="ADAL" clId="{4CE1F3AA-9E66-D340-A8A6-25C51264B594}" dt="2020-04-08T01:26:44.017" v="698" actId="26606"/>
          <ac:spMkLst>
            <pc:docMk/>
            <pc:sldMk cId="980408836" sldId="325"/>
            <ac:spMk id="17" creationId="{CF62D2A7-8207-488C-9F46-316BA81A16C8}"/>
          </ac:spMkLst>
        </pc:spChg>
        <pc:picChg chg="add mod">
          <ac:chgData name="louise Weine" userId="0d873126-e49c-4b84-ae24-26161450adc6" providerId="ADAL" clId="{4CE1F3AA-9E66-D340-A8A6-25C51264B594}" dt="2020-04-08T01:26:44.017" v="698" actId="26606"/>
          <ac:picMkLst>
            <pc:docMk/>
            <pc:sldMk cId="980408836" sldId="325"/>
            <ac:picMk id="5" creationId="{B23AF81B-4B70-3743-9ED2-7C800F195226}"/>
          </ac:picMkLst>
        </pc:picChg>
        <pc:picChg chg="add del mod">
          <ac:chgData name="louise Weine" userId="0d873126-e49c-4b84-ae24-26161450adc6" providerId="ADAL" clId="{4CE1F3AA-9E66-D340-A8A6-25C51264B594}" dt="2020-04-08T02:00:03.470" v="1293"/>
          <ac:picMkLst>
            <pc:docMk/>
            <pc:sldMk cId="980408836" sldId="325"/>
            <ac:picMk id="9" creationId="{8E48FEE5-9E80-6F46-BDFD-E252281E6D6C}"/>
          </ac:picMkLst>
        </pc:picChg>
        <pc:picChg chg="add mod">
          <ac:chgData name="louise Weine" userId="0d873126-e49c-4b84-ae24-26161450adc6" providerId="ADAL" clId="{4CE1F3AA-9E66-D340-A8A6-25C51264B594}" dt="2020-04-08T02:02:28.299" v="1310" actId="1076"/>
          <ac:picMkLst>
            <pc:docMk/>
            <pc:sldMk cId="980408836" sldId="325"/>
            <ac:picMk id="11" creationId="{D6C5D38B-986F-CF49-BCCF-D91C5921897E}"/>
          </ac:picMkLst>
        </pc:picChg>
      </pc:sldChg>
      <pc:sldChg chg="add del">
        <pc:chgData name="louise Weine" userId="0d873126-e49c-4b84-ae24-26161450adc6" providerId="ADAL" clId="{4CE1F3AA-9E66-D340-A8A6-25C51264B594}" dt="2020-04-06T05:12:32.803" v="473" actId="2696"/>
        <pc:sldMkLst>
          <pc:docMk/>
          <pc:sldMk cId="3709359865" sldId="325"/>
        </pc:sldMkLst>
      </pc:sldChg>
      <pc:sldChg chg="delSp add del setBg delDesignElem">
        <pc:chgData name="louise Weine" userId="0d873126-e49c-4b84-ae24-26161450adc6" providerId="ADAL" clId="{4CE1F3AA-9E66-D340-A8A6-25C51264B594}" dt="2020-04-08T01:49:53.220" v="1225" actId="2696"/>
        <pc:sldMkLst>
          <pc:docMk/>
          <pc:sldMk cId="503971044" sldId="326"/>
        </pc:sldMkLst>
        <pc:spChg chg="del">
          <ac:chgData name="louise Weine" userId="0d873126-e49c-4b84-ae24-26161450adc6" providerId="ADAL" clId="{4CE1F3AA-9E66-D340-A8A6-25C51264B594}" dt="2020-04-08T01:47:29.602" v="1223"/>
          <ac:spMkLst>
            <pc:docMk/>
            <pc:sldMk cId="503971044" sldId="326"/>
            <ac:spMk id="22" creationId="{12839A1C-34CB-4C3C-8531-CA67525FDE9E}"/>
          </ac:spMkLst>
        </pc:spChg>
        <pc:spChg chg="del">
          <ac:chgData name="louise Weine" userId="0d873126-e49c-4b84-ae24-26161450adc6" providerId="ADAL" clId="{4CE1F3AA-9E66-D340-A8A6-25C51264B594}" dt="2020-04-08T01:47:29.602" v="1223"/>
          <ac:spMkLst>
            <pc:docMk/>
            <pc:sldMk cId="503971044" sldId="326"/>
            <ac:spMk id="24" creationId="{FAC94EAF-F7F7-4727-AE69-A7036B4A5122}"/>
          </ac:spMkLst>
        </pc:spChg>
      </pc:sldChg>
      <pc:sldChg chg="addSp delSp add del setBg delDesignElem">
        <pc:chgData name="louise Weine" userId="0d873126-e49c-4b84-ae24-26161450adc6" providerId="ADAL" clId="{4CE1F3AA-9E66-D340-A8A6-25C51264B594}" dt="2020-04-08T01:47:12.808" v="1220"/>
        <pc:sldMkLst>
          <pc:docMk/>
          <pc:sldMk cId="1700641340" sldId="326"/>
        </pc:sldMkLst>
        <pc:spChg chg="add del">
          <ac:chgData name="louise Weine" userId="0d873126-e49c-4b84-ae24-26161450adc6" providerId="ADAL" clId="{4CE1F3AA-9E66-D340-A8A6-25C51264B594}" dt="2020-04-08T01:47:12.808" v="1220"/>
          <ac:spMkLst>
            <pc:docMk/>
            <pc:sldMk cId="1700641340" sldId="326"/>
            <ac:spMk id="22" creationId="{12839A1C-34CB-4C3C-8531-CA67525FDE9E}"/>
          </ac:spMkLst>
        </pc:spChg>
        <pc:spChg chg="add del">
          <ac:chgData name="louise Weine" userId="0d873126-e49c-4b84-ae24-26161450adc6" providerId="ADAL" clId="{4CE1F3AA-9E66-D340-A8A6-25C51264B594}" dt="2020-04-08T01:47:12.808" v="1220"/>
          <ac:spMkLst>
            <pc:docMk/>
            <pc:sldMk cId="1700641340" sldId="326"/>
            <ac:spMk id="24" creationId="{FAC94EAF-F7F7-4727-AE69-A7036B4A5122}"/>
          </ac:spMkLst>
        </pc:spChg>
      </pc:sldChg>
      <pc:sldChg chg="add del">
        <pc:chgData name="louise Weine" userId="0d873126-e49c-4b84-ae24-26161450adc6" providerId="ADAL" clId="{4CE1F3AA-9E66-D340-A8A6-25C51264B594}" dt="2020-04-08T01:47:12.808" v="1220"/>
        <pc:sldMkLst>
          <pc:docMk/>
          <pc:sldMk cId="1509384263" sldId="439"/>
        </pc:sldMkLst>
      </pc:sldChg>
      <pc:sldChg chg="add del">
        <pc:chgData name="louise Weine" userId="0d873126-e49c-4b84-ae24-26161450adc6" providerId="ADAL" clId="{4CE1F3AA-9E66-D340-A8A6-25C51264B594}" dt="2020-04-08T01:49:53.562" v="1239" actId="2696"/>
        <pc:sldMkLst>
          <pc:docMk/>
          <pc:sldMk cId="3488867683" sldId="439"/>
        </pc:sldMkLst>
      </pc:sldChg>
      <pc:sldChg chg="add del">
        <pc:chgData name="louise Weine" userId="0d873126-e49c-4b84-ae24-26161450adc6" providerId="ADAL" clId="{4CE1F3AA-9E66-D340-A8A6-25C51264B594}" dt="2020-04-08T01:49:53.576" v="1240" actId="2696"/>
        <pc:sldMkLst>
          <pc:docMk/>
          <pc:sldMk cId="1879828532" sldId="456"/>
        </pc:sldMkLst>
      </pc:sldChg>
      <pc:sldChg chg="add del">
        <pc:chgData name="louise Weine" userId="0d873126-e49c-4b84-ae24-26161450adc6" providerId="ADAL" clId="{4CE1F3AA-9E66-D340-A8A6-25C51264B594}" dt="2020-04-08T01:47:12.808" v="1220"/>
        <pc:sldMkLst>
          <pc:docMk/>
          <pc:sldMk cId="3130604079" sldId="456"/>
        </pc:sldMkLst>
      </pc:sldChg>
      <pc:sldChg chg="add del">
        <pc:chgData name="louise Weine" userId="0d873126-e49c-4b84-ae24-26161450adc6" providerId="ADAL" clId="{4CE1F3AA-9E66-D340-A8A6-25C51264B594}" dt="2020-04-08T01:49:53.720" v="1244" actId="2696"/>
        <pc:sldMkLst>
          <pc:docMk/>
          <pc:sldMk cId="317463098" sldId="457"/>
        </pc:sldMkLst>
      </pc:sldChg>
      <pc:sldChg chg="add del">
        <pc:chgData name="louise Weine" userId="0d873126-e49c-4b84-ae24-26161450adc6" providerId="ADAL" clId="{4CE1F3AA-9E66-D340-A8A6-25C51264B594}" dt="2020-04-08T01:47:12.808" v="1220"/>
        <pc:sldMkLst>
          <pc:docMk/>
          <pc:sldMk cId="2216366483" sldId="457"/>
        </pc:sldMkLst>
      </pc:sldChg>
      <pc:sldChg chg="add del">
        <pc:chgData name="louise Weine" userId="0d873126-e49c-4b84-ae24-26161450adc6" providerId="ADAL" clId="{4CE1F3AA-9E66-D340-A8A6-25C51264B594}" dt="2020-04-08T01:47:12.808" v="1220"/>
        <pc:sldMkLst>
          <pc:docMk/>
          <pc:sldMk cId="1100758680" sldId="459"/>
        </pc:sldMkLst>
      </pc:sldChg>
      <pc:sldChg chg="add del">
        <pc:chgData name="louise Weine" userId="0d873126-e49c-4b84-ae24-26161450adc6" providerId="ADAL" clId="{4CE1F3AA-9E66-D340-A8A6-25C51264B594}" dt="2020-04-08T01:49:53.678" v="1242" actId="2696"/>
        <pc:sldMkLst>
          <pc:docMk/>
          <pc:sldMk cId="1123313832" sldId="459"/>
        </pc:sldMkLst>
      </pc:sldChg>
      <pc:sldChg chg="add del">
        <pc:chgData name="louise Weine" userId="0d873126-e49c-4b84-ae24-26161450adc6" providerId="ADAL" clId="{4CE1F3AA-9E66-D340-A8A6-25C51264B594}" dt="2020-04-08T01:49:53.694" v="1243" actId="2696"/>
        <pc:sldMkLst>
          <pc:docMk/>
          <pc:sldMk cId="335404722" sldId="460"/>
        </pc:sldMkLst>
      </pc:sldChg>
      <pc:sldChg chg="add del">
        <pc:chgData name="louise Weine" userId="0d873126-e49c-4b84-ae24-26161450adc6" providerId="ADAL" clId="{4CE1F3AA-9E66-D340-A8A6-25C51264B594}" dt="2020-04-08T01:47:12.808" v="1220"/>
        <pc:sldMkLst>
          <pc:docMk/>
          <pc:sldMk cId="3104647654" sldId="460"/>
        </pc:sldMkLst>
      </pc:sldChg>
      <pc:sldChg chg="add del">
        <pc:chgData name="louise Weine" userId="0d873126-e49c-4b84-ae24-26161450adc6" providerId="ADAL" clId="{4CE1F3AA-9E66-D340-A8A6-25C51264B594}" dt="2020-04-08T01:47:12.808" v="1220"/>
        <pc:sldMkLst>
          <pc:docMk/>
          <pc:sldMk cId="549389873" sldId="473"/>
        </pc:sldMkLst>
      </pc:sldChg>
      <pc:sldChg chg="add del">
        <pc:chgData name="louise Weine" userId="0d873126-e49c-4b84-ae24-26161450adc6" providerId="ADAL" clId="{4CE1F3AA-9E66-D340-A8A6-25C51264B594}" dt="2020-04-08T01:49:53.613" v="1241" actId="2696"/>
        <pc:sldMkLst>
          <pc:docMk/>
          <pc:sldMk cId="613467887" sldId="473"/>
        </pc:sldMkLst>
      </pc:sldChg>
      <pc:sldChg chg="add del">
        <pc:chgData name="louise Weine" userId="0d873126-e49c-4b84-ae24-26161450adc6" providerId="ADAL" clId="{4CE1F3AA-9E66-D340-A8A6-25C51264B594}" dt="2020-04-08T01:49:53.298" v="1228" actId="2696"/>
        <pc:sldMkLst>
          <pc:docMk/>
          <pc:sldMk cId="1479288785" sldId="560"/>
        </pc:sldMkLst>
      </pc:sldChg>
      <pc:sldChg chg="add del">
        <pc:chgData name="louise Weine" userId="0d873126-e49c-4b84-ae24-26161450adc6" providerId="ADAL" clId="{4CE1F3AA-9E66-D340-A8A6-25C51264B594}" dt="2020-04-08T01:47:12.808" v="1220"/>
        <pc:sldMkLst>
          <pc:docMk/>
          <pc:sldMk cId="4196051185" sldId="560"/>
        </pc:sldMkLst>
      </pc:sldChg>
      <pc:sldChg chg="add del">
        <pc:chgData name="louise Weine" userId="0d873126-e49c-4b84-ae24-26161450adc6" providerId="ADAL" clId="{4CE1F3AA-9E66-D340-A8A6-25C51264B594}" dt="2020-04-08T01:49:53.751" v="1246" actId="2696"/>
        <pc:sldMkLst>
          <pc:docMk/>
          <pc:sldMk cId="2810166989" sldId="566"/>
        </pc:sldMkLst>
      </pc:sldChg>
      <pc:sldChg chg="add del">
        <pc:chgData name="louise Weine" userId="0d873126-e49c-4b84-ae24-26161450adc6" providerId="ADAL" clId="{4CE1F3AA-9E66-D340-A8A6-25C51264B594}" dt="2020-04-08T01:47:12.808" v="1220"/>
        <pc:sldMkLst>
          <pc:docMk/>
          <pc:sldMk cId="4191239667" sldId="566"/>
        </pc:sldMkLst>
      </pc:sldChg>
      <pc:sldChg chg="add del">
        <pc:chgData name="louise Weine" userId="0d873126-e49c-4b84-ae24-26161450adc6" providerId="ADAL" clId="{4CE1F3AA-9E66-D340-A8A6-25C51264B594}" dt="2020-04-08T01:49:53.331" v="1230" actId="2696"/>
        <pc:sldMkLst>
          <pc:docMk/>
          <pc:sldMk cId="2474878603" sldId="567"/>
        </pc:sldMkLst>
      </pc:sldChg>
      <pc:sldChg chg="add del">
        <pc:chgData name="louise Weine" userId="0d873126-e49c-4b84-ae24-26161450adc6" providerId="ADAL" clId="{4CE1F3AA-9E66-D340-A8A6-25C51264B594}" dt="2020-04-08T01:47:12.808" v="1220"/>
        <pc:sldMkLst>
          <pc:docMk/>
          <pc:sldMk cId="3029481495" sldId="567"/>
        </pc:sldMkLst>
      </pc:sldChg>
      <pc:sldChg chg="add del">
        <pc:chgData name="louise Weine" userId="0d873126-e49c-4b84-ae24-26161450adc6" providerId="ADAL" clId="{4CE1F3AA-9E66-D340-A8A6-25C51264B594}" dt="2020-04-08T01:47:12.808" v="1220"/>
        <pc:sldMkLst>
          <pc:docMk/>
          <pc:sldMk cId="1150465591" sldId="568"/>
        </pc:sldMkLst>
      </pc:sldChg>
      <pc:sldChg chg="add del">
        <pc:chgData name="louise Weine" userId="0d873126-e49c-4b84-ae24-26161450adc6" providerId="ADAL" clId="{4CE1F3AA-9E66-D340-A8A6-25C51264B594}" dt="2020-04-08T01:49:53.347" v="1231" actId="2696"/>
        <pc:sldMkLst>
          <pc:docMk/>
          <pc:sldMk cId="1957601135" sldId="568"/>
        </pc:sldMkLst>
      </pc:sldChg>
      <pc:sldChg chg="add del">
        <pc:chgData name="louise Weine" userId="0d873126-e49c-4b84-ae24-26161450adc6" providerId="ADAL" clId="{4CE1F3AA-9E66-D340-A8A6-25C51264B594}" dt="2020-04-08T01:49:53.364" v="1232" actId="2696"/>
        <pc:sldMkLst>
          <pc:docMk/>
          <pc:sldMk cId="1095169601" sldId="569"/>
        </pc:sldMkLst>
      </pc:sldChg>
      <pc:sldChg chg="add del">
        <pc:chgData name="louise Weine" userId="0d873126-e49c-4b84-ae24-26161450adc6" providerId="ADAL" clId="{4CE1F3AA-9E66-D340-A8A6-25C51264B594}" dt="2020-04-08T01:47:12.808" v="1220"/>
        <pc:sldMkLst>
          <pc:docMk/>
          <pc:sldMk cId="1498511071" sldId="569"/>
        </pc:sldMkLst>
      </pc:sldChg>
      <pc:sldChg chg="add del">
        <pc:chgData name="louise Weine" userId="0d873126-e49c-4b84-ae24-26161450adc6" providerId="ADAL" clId="{4CE1F3AA-9E66-D340-A8A6-25C51264B594}" dt="2020-04-08T01:47:12.808" v="1220"/>
        <pc:sldMkLst>
          <pc:docMk/>
          <pc:sldMk cId="1587984715" sldId="570"/>
        </pc:sldMkLst>
      </pc:sldChg>
      <pc:sldChg chg="add del">
        <pc:chgData name="louise Weine" userId="0d873126-e49c-4b84-ae24-26161450adc6" providerId="ADAL" clId="{4CE1F3AA-9E66-D340-A8A6-25C51264B594}" dt="2020-04-08T01:49:53.380" v="1233" actId="2696"/>
        <pc:sldMkLst>
          <pc:docMk/>
          <pc:sldMk cId="1906944810" sldId="570"/>
        </pc:sldMkLst>
      </pc:sldChg>
      <pc:sldChg chg="add del">
        <pc:chgData name="louise Weine" userId="0d873126-e49c-4b84-ae24-26161450adc6" providerId="ADAL" clId="{4CE1F3AA-9E66-D340-A8A6-25C51264B594}" dt="2020-04-08T01:47:12.808" v="1220"/>
        <pc:sldMkLst>
          <pc:docMk/>
          <pc:sldMk cId="1959200063" sldId="571"/>
        </pc:sldMkLst>
      </pc:sldChg>
      <pc:sldChg chg="add del">
        <pc:chgData name="louise Weine" userId="0d873126-e49c-4b84-ae24-26161450adc6" providerId="ADAL" clId="{4CE1F3AA-9E66-D340-A8A6-25C51264B594}" dt="2020-04-08T01:49:53.411" v="1234" actId="2696"/>
        <pc:sldMkLst>
          <pc:docMk/>
          <pc:sldMk cId="4167522281" sldId="571"/>
        </pc:sldMkLst>
      </pc:sldChg>
      <pc:sldChg chg="add del">
        <pc:chgData name="louise Weine" userId="0d873126-e49c-4b84-ae24-26161450adc6" providerId="ADAL" clId="{4CE1F3AA-9E66-D340-A8A6-25C51264B594}" dt="2020-04-08T01:47:12.808" v="1220"/>
        <pc:sldMkLst>
          <pc:docMk/>
          <pc:sldMk cId="2369321428" sldId="573"/>
        </pc:sldMkLst>
      </pc:sldChg>
      <pc:sldChg chg="add del">
        <pc:chgData name="louise Weine" userId="0d873126-e49c-4b84-ae24-26161450adc6" providerId="ADAL" clId="{4CE1F3AA-9E66-D340-A8A6-25C51264B594}" dt="2020-04-08T01:49:53.436" v="1235" actId="2696"/>
        <pc:sldMkLst>
          <pc:docMk/>
          <pc:sldMk cId="2789577119" sldId="573"/>
        </pc:sldMkLst>
      </pc:sldChg>
      <pc:sldChg chg="add del">
        <pc:chgData name="louise Weine" userId="0d873126-e49c-4b84-ae24-26161450adc6" providerId="ADAL" clId="{4CE1F3AA-9E66-D340-A8A6-25C51264B594}" dt="2020-04-08T01:49:53.506" v="1237" actId="2696"/>
        <pc:sldMkLst>
          <pc:docMk/>
          <pc:sldMk cId="1856537251" sldId="576"/>
        </pc:sldMkLst>
      </pc:sldChg>
      <pc:sldChg chg="add del">
        <pc:chgData name="louise Weine" userId="0d873126-e49c-4b84-ae24-26161450adc6" providerId="ADAL" clId="{4CE1F3AA-9E66-D340-A8A6-25C51264B594}" dt="2020-04-08T01:47:12.808" v="1220"/>
        <pc:sldMkLst>
          <pc:docMk/>
          <pc:sldMk cId="3879999201" sldId="576"/>
        </pc:sldMkLst>
      </pc:sldChg>
      <pc:sldChg chg="add del">
        <pc:chgData name="louise Weine" userId="0d873126-e49c-4b84-ae24-26161450adc6" providerId="ADAL" clId="{4CE1F3AA-9E66-D340-A8A6-25C51264B594}" dt="2020-04-08T01:47:12.808" v="1220"/>
        <pc:sldMkLst>
          <pc:docMk/>
          <pc:sldMk cId="1128873481" sldId="577"/>
        </pc:sldMkLst>
      </pc:sldChg>
      <pc:sldChg chg="add del">
        <pc:chgData name="louise Weine" userId="0d873126-e49c-4b84-ae24-26161450adc6" providerId="ADAL" clId="{4CE1F3AA-9E66-D340-A8A6-25C51264B594}" dt="2020-04-08T01:49:53.737" v="1245" actId="2696"/>
        <pc:sldMkLst>
          <pc:docMk/>
          <pc:sldMk cId="2060369684" sldId="577"/>
        </pc:sldMkLst>
      </pc:sldChg>
      <pc:sldChg chg="add del">
        <pc:chgData name="louise Weine" userId="0d873126-e49c-4b84-ae24-26161450adc6" providerId="ADAL" clId="{4CE1F3AA-9E66-D340-A8A6-25C51264B594}" dt="2020-04-08T01:47:12.808" v="1220"/>
        <pc:sldMkLst>
          <pc:docMk/>
          <pc:sldMk cId="1801819925" sldId="578"/>
        </pc:sldMkLst>
      </pc:sldChg>
      <pc:sldChg chg="add del">
        <pc:chgData name="louise Weine" userId="0d873126-e49c-4b84-ae24-26161450adc6" providerId="ADAL" clId="{4CE1F3AA-9E66-D340-A8A6-25C51264B594}" dt="2020-04-08T01:49:53.280" v="1227" actId="2696"/>
        <pc:sldMkLst>
          <pc:docMk/>
          <pc:sldMk cId="4291682180" sldId="578"/>
        </pc:sldMkLst>
      </pc:sldChg>
      <pc:sldChg chg="add del">
        <pc:chgData name="louise Weine" userId="0d873126-e49c-4b84-ae24-26161450adc6" providerId="ADAL" clId="{4CE1F3AA-9E66-D340-A8A6-25C51264B594}" dt="2020-04-08T01:47:12.808" v="1220"/>
        <pc:sldMkLst>
          <pc:docMk/>
          <pc:sldMk cId="1185537447" sldId="580"/>
        </pc:sldMkLst>
      </pc:sldChg>
      <pc:sldChg chg="add del">
        <pc:chgData name="louise Weine" userId="0d873126-e49c-4b84-ae24-26161450adc6" providerId="ADAL" clId="{4CE1F3AA-9E66-D340-A8A6-25C51264B594}" dt="2020-04-08T01:49:53.458" v="1236" actId="2696"/>
        <pc:sldMkLst>
          <pc:docMk/>
          <pc:sldMk cId="1223274409" sldId="580"/>
        </pc:sldMkLst>
      </pc:sldChg>
      <pc:sldChg chg="add del">
        <pc:chgData name="louise Weine" userId="0d873126-e49c-4b84-ae24-26161450adc6" providerId="ADAL" clId="{4CE1F3AA-9E66-D340-A8A6-25C51264B594}" dt="2020-04-08T01:49:53.549" v="1238" actId="2696"/>
        <pc:sldMkLst>
          <pc:docMk/>
          <pc:sldMk cId="1210122537" sldId="581"/>
        </pc:sldMkLst>
      </pc:sldChg>
      <pc:sldChg chg="add del">
        <pc:chgData name="louise Weine" userId="0d873126-e49c-4b84-ae24-26161450adc6" providerId="ADAL" clId="{4CE1F3AA-9E66-D340-A8A6-25C51264B594}" dt="2020-04-08T01:47:12.808" v="1220"/>
        <pc:sldMkLst>
          <pc:docMk/>
          <pc:sldMk cId="1719920475" sldId="581"/>
        </pc:sldMkLst>
      </pc:sldChg>
      <pc:sldChg chg="add">
        <pc:chgData name="louise Weine" userId="0d873126-e49c-4b84-ae24-26161450adc6" providerId="ADAL" clId="{4CE1F3AA-9E66-D340-A8A6-25C51264B594}" dt="2020-04-08T01:49:42.160" v="1224"/>
        <pc:sldMkLst>
          <pc:docMk/>
          <pc:sldMk cId="1529836600" sldId="582"/>
        </pc:sldMkLst>
      </pc:sldChg>
      <pc:sldChg chg="add">
        <pc:chgData name="louise Weine" userId="0d873126-e49c-4b84-ae24-26161450adc6" providerId="ADAL" clId="{4CE1F3AA-9E66-D340-A8A6-25C51264B594}" dt="2020-04-08T01:49:42.160" v="1224"/>
        <pc:sldMkLst>
          <pc:docMk/>
          <pc:sldMk cId="1999516331" sldId="583"/>
        </pc:sldMkLst>
      </pc:sldChg>
      <pc:sldChg chg="addSp modSp add">
        <pc:chgData name="louise Weine" userId="0d873126-e49c-4b84-ae24-26161450adc6" providerId="ADAL" clId="{4CE1F3AA-9E66-D340-A8A6-25C51264B594}" dt="2020-04-08T02:21:52.568" v="1451" actId="1076"/>
        <pc:sldMkLst>
          <pc:docMk/>
          <pc:sldMk cId="3841578085" sldId="584"/>
        </pc:sldMkLst>
        <pc:spChg chg="add mod">
          <ac:chgData name="louise Weine" userId="0d873126-e49c-4b84-ae24-26161450adc6" providerId="ADAL" clId="{4CE1F3AA-9E66-D340-A8A6-25C51264B594}" dt="2020-04-08T02:21:52.568" v="1451" actId="1076"/>
          <ac:spMkLst>
            <pc:docMk/>
            <pc:sldMk cId="3841578085" sldId="584"/>
            <ac:spMk id="28" creationId="{D90EC939-761D-AA4D-9E9F-8FBCDC59A804}"/>
          </ac:spMkLst>
        </pc:spChg>
        <pc:spChg chg="add mod">
          <ac:chgData name="louise Weine" userId="0d873126-e49c-4b84-ae24-26161450adc6" providerId="ADAL" clId="{4CE1F3AA-9E66-D340-A8A6-25C51264B594}" dt="2020-04-08T02:21:52.568" v="1451" actId="1076"/>
          <ac:spMkLst>
            <pc:docMk/>
            <pc:sldMk cId="3841578085" sldId="584"/>
            <ac:spMk id="30" creationId="{2CAFC079-0174-9B42-97EE-4E9A9B4E96B6}"/>
          </ac:spMkLst>
        </pc:spChg>
      </pc:sldChg>
      <pc:sldChg chg="add">
        <pc:chgData name="louise Weine" userId="0d873126-e49c-4b84-ae24-26161450adc6" providerId="ADAL" clId="{4CE1F3AA-9E66-D340-A8A6-25C51264B594}" dt="2020-04-08T01:49:42.160" v="1224"/>
        <pc:sldMkLst>
          <pc:docMk/>
          <pc:sldMk cId="2788354607" sldId="585"/>
        </pc:sldMkLst>
      </pc:sldChg>
      <pc:sldChg chg="add">
        <pc:chgData name="louise Weine" userId="0d873126-e49c-4b84-ae24-26161450adc6" providerId="ADAL" clId="{4CE1F3AA-9E66-D340-A8A6-25C51264B594}" dt="2020-04-08T01:49:42.160" v="1224"/>
        <pc:sldMkLst>
          <pc:docMk/>
          <pc:sldMk cId="11669524" sldId="586"/>
        </pc:sldMkLst>
      </pc:sldChg>
      <pc:sldChg chg="add">
        <pc:chgData name="louise Weine" userId="0d873126-e49c-4b84-ae24-26161450adc6" providerId="ADAL" clId="{4CE1F3AA-9E66-D340-A8A6-25C51264B594}" dt="2020-04-08T01:49:42.160" v="1224"/>
        <pc:sldMkLst>
          <pc:docMk/>
          <pc:sldMk cId="3305368720" sldId="587"/>
        </pc:sldMkLst>
      </pc:sldChg>
      <pc:sldChg chg="add">
        <pc:chgData name="louise Weine" userId="0d873126-e49c-4b84-ae24-26161450adc6" providerId="ADAL" clId="{4CE1F3AA-9E66-D340-A8A6-25C51264B594}" dt="2020-04-08T01:49:42.160" v="1224"/>
        <pc:sldMkLst>
          <pc:docMk/>
          <pc:sldMk cId="2910644294" sldId="588"/>
        </pc:sldMkLst>
      </pc:sldChg>
      <pc:sldChg chg="add">
        <pc:chgData name="louise Weine" userId="0d873126-e49c-4b84-ae24-26161450adc6" providerId="ADAL" clId="{4CE1F3AA-9E66-D340-A8A6-25C51264B594}" dt="2020-04-08T01:49:42.160" v="1224"/>
        <pc:sldMkLst>
          <pc:docMk/>
          <pc:sldMk cId="3256976589" sldId="589"/>
        </pc:sldMkLst>
      </pc:sldChg>
      <pc:sldChg chg="add">
        <pc:chgData name="louise Weine" userId="0d873126-e49c-4b84-ae24-26161450adc6" providerId="ADAL" clId="{4CE1F3AA-9E66-D340-A8A6-25C51264B594}" dt="2020-04-08T01:49:42.160" v="1224"/>
        <pc:sldMkLst>
          <pc:docMk/>
          <pc:sldMk cId="3440799876" sldId="590"/>
        </pc:sldMkLst>
      </pc:sldChg>
      <pc:sldChg chg="add">
        <pc:chgData name="louise Weine" userId="0d873126-e49c-4b84-ae24-26161450adc6" providerId="ADAL" clId="{4CE1F3AA-9E66-D340-A8A6-25C51264B594}" dt="2020-04-08T01:49:42.160" v="1224"/>
        <pc:sldMkLst>
          <pc:docMk/>
          <pc:sldMk cId="2407625304" sldId="591"/>
        </pc:sldMkLst>
      </pc:sldChg>
      <pc:sldChg chg="add">
        <pc:chgData name="louise Weine" userId="0d873126-e49c-4b84-ae24-26161450adc6" providerId="ADAL" clId="{4CE1F3AA-9E66-D340-A8A6-25C51264B594}" dt="2020-04-08T01:49:42.160" v="1224"/>
        <pc:sldMkLst>
          <pc:docMk/>
          <pc:sldMk cId="1621229636" sldId="592"/>
        </pc:sldMkLst>
      </pc:sldChg>
      <pc:sldChg chg="add">
        <pc:chgData name="louise Weine" userId="0d873126-e49c-4b84-ae24-26161450adc6" providerId="ADAL" clId="{4CE1F3AA-9E66-D340-A8A6-25C51264B594}" dt="2020-04-08T01:49:42.160" v="1224"/>
        <pc:sldMkLst>
          <pc:docMk/>
          <pc:sldMk cId="4008943462" sldId="593"/>
        </pc:sldMkLst>
      </pc:sldChg>
      <pc:sldChg chg="add">
        <pc:chgData name="louise Weine" userId="0d873126-e49c-4b84-ae24-26161450adc6" providerId="ADAL" clId="{4CE1F3AA-9E66-D340-A8A6-25C51264B594}" dt="2020-04-08T01:49:42.160" v="1224"/>
        <pc:sldMkLst>
          <pc:docMk/>
          <pc:sldMk cId="3794631224" sldId="594"/>
        </pc:sldMkLst>
      </pc:sldChg>
      <pc:sldChg chg="add">
        <pc:chgData name="louise Weine" userId="0d873126-e49c-4b84-ae24-26161450adc6" providerId="ADAL" clId="{4CE1F3AA-9E66-D340-A8A6-25C51264B594}" dt="2020-04-08T01:49:42.160" v="1224"/>
        <pc:sldMkLst>
          <pc:docMk/>
          <pc:sldMk cId="2002388113" sldId="595"/>
        </pc:sldMkLst>
      </pc:sldChg>
      <pc:sldChg chg="add">
        <pc:chgData name="louise Weine" userId="0d873126-e49c-4b84-ae24-26161450adc6" providerId="ADAL" clId="{4CE1F3AA-9E66-D340-A8A6-25C51264B594}" dt="2020-04-08T01:49:42.160" v="1224"/>
        <pc:sldMkLst>
          <pc:docMk/>
          <pc:sldMk cId="3332231496" sldId="596"/>
        </pc:sldMkLst>
      </pc:sldChg>
      <pc:sldChg chg="add">
        <pc:chgData name="louise Weine" userId="0d873126-e49c-4b84-ae24-26161450adc6" providerId="ADAL" clId="{4CE1F3AA-9E66-D340-A8A6-25C51264B594}" dt="2020-04-08T01:49:42.160" v="1224"/>
        <pc:sldMkLst>
          <pc:docMk/>
          <pc:sldMk cId="3076246013" sldId="597"/>
        </pc:sldMkLst>
      </pc:sldChg>
      <pc:sldChg chg="add">
        <pc:chgData name="louise Weine" userId="0d873126-e49c-4b84-ae24-26161450adc6" providerId="ADAL" clId="{4CE1F3AA-9E66-D340-A8A6-25C51264B594}" dt="2020-04-08T01:49:42.160" v="1224"/>
        <pc:sldMkLst>
          <pc:docMk/>
          <pc:sldMk cId="2258308005" sldId="598"/>
        </pc:sldMkLst>
      </pc:sldChg>
      <pc:sldChg chg="modSp add">
        <pc:chgData name="louise Weine" userId="0d873126-e49c-4b84-ae24-26161450adc6" providerId="ADAL" clId="{4CE1F3AA-9E66-D340-A8A6-25C51264B594}" dt="2020-04-08T04:52:44.170" v="1590" actId="20577"/>
        <pc:sldMkLst>
          <pc:docMk/>
          <pc:sldMk cId="4073015738" sldId="599"/>
        </pc:sldMkLst>
        <pc:spChg chg="mod">
          <ac:chgData name="louise Weine" userId="0d873126-e49c-4b84-ae24-26161450adc6" providerId="ADAL" clId="{4CE1F3AA-9E66-D340-A8A6-25C51264B594}" dt="2020-04-08T04:52:44.170" v="1590" actId="20577"/>
          <ac:spMkLst>
            <pc:docMk/>
            <pc:sldMk cId="4073015738" sldId="599"/>
            <ac:spMk id="2" creationId="{6C6BC4A7-A95D-48DA-8FF2-758D9013386A}"/>
          </ac:spMkLst>
        </pc:spChg>
      </pc:sldChg>
      <pc:sldChg chg="modSp add">
        <pc:chgData name="louise Weine" userId="0d873126-e49c-4b84-ae24-26161450adc6" providerId="ADAL" clId="{4CE1F3AA-9E66-D340-A8A6-25C51264B594}" dt="2020-04-08T14:16:35.582" v="1962" actId="1076"/>
        <pc:sldMkLst>
          <pc:docMk/>
          <pc:sldMk cId="809960591" sldId="600"/>
        </pc:sldMkLst>
        <pc:spChg chg="mod">
          <ac:chgData name="louise Weine" userId="0d873126-e49c-4b84-ae24-26161450adc6" providerId="ADAL" clId="{4CE1F3AA-9E66-D340-A8A6-25C51264B594}" dt="2020-04-08T14:16:35.582" v="1962" actId="1076"/>
          <ac:spMkLst>
            <pc:docMk/>
            <pc:sldMk cId="809960591" sldId="600"/>
            <ac:spMk id="47" creationId="{76AB3FF7-CBBC-4018-B1FA-BE03DF6C699A}"/>
          </ac:spMkLst>
        </pc:spChg>
        <pc:spChg chg="mod">
          <ac:chgData name="louise Weine" userId="0d873126-e49c-4b84-ae24-26161450adc6" providerId="ADAL" clId="{4CE1F3AA-9E66-D340-A8A6-25C51264B594}" dt="2020-04-08T14:16:35.180" v="1961" actId="1076"/>
          <ac:spMkLst>
            <pc:docMk/>
            <pc:sldMk cId="809960591" sldId="600"/>
            <ac:spMk id="48" creationId="{B70110E1-B376-4BEE-A576-5B9B6760FC45}"/>
          </ac:spMkLst>
        </pc:spChg>
      </pc:sldChg>
      <pc:sldChg chg="add">
        <pc:chgData name="louise Weine" userId="0d873126-e49c-4b84-ae24-26161450adc6" providerId="ADAL" clId="{4CE1F3AA-9E66-D340-A8A6-25C51264B594}" dt="2020-04-08T01:49:42.160" v="1224"/>
        <pc:sldMkLst>
          <pc:docMk/>
          <pc:sldMk cId="2241048854" sldId="601"/>
        </pc:sldMkLst>
      </pc:sldChg>
      <pc:sldChg chg="add">
        <pc:chgData name="louise Weine" userId="0d873126-e49c-4b84-ae24-26161450adc6" providerId="ADAL" clId="{4CE1F3AA-9E66-D340-A8A6-25C51264B594}" dt="2020-04-08T01:49:42.160" v="1224"/>
        <pc:sldMkLst>
          <pc:docMk/>
          <pc:sldMk cId="1713884863" sldId="602"/>
        </pc:sldMkLst>
      </pc:sldChg>
      <pc:sldChg chg="modSp add ord">
        <pc:chgData name="louise Weine" userId="0d873126-e49c-4b84-ae24-26161450adc6" providerId="ADAL" clId="{4CE1F3AA-9E66-D340-A8A6-25C51264B594}" dt="2020-04-09T01:27:42.317" v="3522" actId="207"/>
        <pc:sldMkLst>
          <pc:docMk/>
          <pc:sldMk cId="3679214177" sldId="603"/>
        </pc:sldMkLst>
        <pc:spChg chg="mod">
          <ac:chgData name="louise Weine" userId="0d873126-e49c-4b84-ae24-26161450adc6" providerId="ADAL" clId="{4CE1F3AA-9E66-D340-A8A6-25C51264B594}" dt="2020-04-08T02:36:49.982" v="1585" actId="208"/>
          <ac:spMkLst>
            <pc:docMk/>
            <pc:sldMk cId="3679214177" sldId="603"/>
            <ac:spMk id="20" creationId="{B10DE44E-E29E-4F15-95A3-19EC9804FAB8}"/>
          </ac:spMkLst>
        </pc:spChg>
        <pc:spChg chg="mod">
          <ac:chgData name="louise Weine" userId="0d873126-e49c-4b84-ae24-26161450adc6" providerId="ADAL" clId="{4CE1F3AA-9E66-D340-A8A6-25C51264B594}" dt="2020-04-08T02:36:49.982" v="1585" actId="208"/>
          <ac:spMkLst>
            <pc:docMk/>
            <pc:sldMk cId="3679214177" sldId="603"/>
            <ac:spMk id="21" creationId="{422EBC46-744A-4209-B1C9-EEE6FD5168A6}"/>
          </ac:spMkLst>
        </pc:spChg>
        <pc:spChg chg="mod">
          <ac:chgData name="louise Weine" userId="0d873126-e49c-4b84-ae24-26161450adc6" providerId="ADAL" clId="{4CE1F3AA-9E66-D340-A8A6-25C51264B594}" dt="2020-04-08T02:36:49.982" v="1585" actId="208"/>
          <ac:spMkLst>
            <pc:docMk/>
            <pc:sldMk cId="3679214177" sldId="603"/>
            <ac:spMk id="22" creationId="{2F91D40C-DA49-4A5D-90FF-A29E6A0B4421}"/>
          </ac:spMkLst>
        </pc:spChg>
        <pc:spChg chg="mod">
          <ac:chgData name="louise Weine" userId="0d873126-e49c-4b84-ae24-26161450adc6" providerId="ADAL" clId="{4CE1F3AA-9E66-D340-A8A6-25C51264B594}" dt="2020-04-08T02:36:49.982" v="1585" actId="208"/>
          <ac:spMkLst>
            <pc:docMk/>
            <pc:sldMk cId="3679214177" sldId="603"/>
            <ac:spMk id="23" creationId="{9540E708-00A6-42A4-9105-61614DA810BD}"/>
          </ac:spMkLst>
        </pc:spChg>
        <pc:spChg chg="mod">
          <ac:chgData name="louise Weine" userId="0d873126-e49c-4b84-ae24-26161450adc6" providerId="ADAL" clId="{4CE1F3AA-9E66-D340-A8A6-25C51264B594}" dt="2020-04-08T02:36:49.982" v="1585" actId="208"/>
          <ac:spMkLst>
            <pc:docMk/>
            <pc:sldMk cId="3679214177" sldId="603"/>
            <ac:spMk id="24" creationId="{33C2D6C8-AD8E-4BE4-8E2F-FFA21F1116B8}"/>
          </ac:spMkLst>
        </pc:spChg>
        <pc:spChg chg="mod">
          <ac:chgData name="louise Weine" userId="0d873126-e49c-4b84-ae24-26161450adc6" providerId="ADAL" clId="{4CE1F3AA-9E66-D340-A8A6-25C51264B594}" dt="2020-04-08T02:36:49.982" v="1585" actId="208"/>
          <ac:spMkLst>
            <pc:docMk/>
            <pc:sldMk cId="3679214177" sldId="603"/>
            <ac:spMk id="25" creationId="{A60D6EAE-F9DB-4E8B-B592-EB7B98B505B7}"/>
          </ac:spMkLst>
        </pc:spChg>
        <pc:spChg chg="mod">
          <ac:chgData name="louise Weine" userId="0d873126-e49c-4b84-ae24-26161450adc6" providerId="ADAL" clId="{4CE1F3AA-9E66-D340-A8A6-25C51264B594}" dt="2020-04-08T02:36:49.982" v="1585" actId="208"/>
          <ac:spMkLst>
            <pc:docMk/>
            <pc:sldMk cId="3679214177" sldId="603"/>
            <ac:spMk id="26" creationId="{9CFE4939-364C-4D98-A691-32446779D04A}"/>
          </ac:spMkLst>
        </pc:spChg>
        <pc:spChg chg="mod">
          <ac:chgData name="louise Weine" userId="0d873126-e49c-4b84-ae24-26161450adc6" providerId="ADAL" clId="{4CE1F3AA-9E66-D340-A8A6-25C51264B594}" dt="2020-04-08T02:36:49.982" v="1585" actId="208"/>
          <ac:spMkLst>
            <pc:docMk/>
            <pc:sldMk cId="3679214177" sldId="603"/>
            <ac:spMk id="27" creationId="{6A7E252C-E1F7-41C2-8E65-1EF3E59C695F}"/>
          </ac:spMkLst>
        </pc:spChg>
        <pc:spChg chg="mod">
          <ac:chgData name="louise Weine" userId="0d873126-e49c-4b84-ae24-26161450adc6" providerId="ADAL" clId="{4CE1F3AA-9E66-D340-A8A6-25C51264B594}" dt="2020-04-09T01:27:42.317" v="3522" actId="207"/>
          <ac:spMkLst>
            <pc:docMk/>
            <pc:sldMk cId="3679214177" sldId="603"/>
            <ac:spMk id="29" creationId="{D50DC278-FA10-4975-8F0D-CF5196790D5E}"/>
          </ac:spMkLst>
        </pc:spChg>
        <pc:spChg chg="mod">
          <ac:chgData name="louise Weine" userId="0d873126-e49c-4b84-ae24-26161450adc6" providerId="ADAL" clId="{4CE1F3AA-9E66-D340-A8A6-25C51264B594}" dt="2020-04-09T01:27:42.317" v="3522" actId="207"/>
          <ac:spMkLst>
            <pc:docMk/>
            <pc:sldMk cId="3679214177" sldId="603"/>
            <ac:spMk id="32" creationId="{F11406E4-0F88-4551-B86C-352C507B5DEE}"/>
          </ac:spMkLst>
        </pc:spChg>
        <pc:grpChg chg="mod">
          <ac:chgData name="louise Weine" userId="0d873126-e49c-4b84-ae24-26161450adc6" providerId="ADAL" clId="{4CE1F3AA-9E66-D340-A8A6-25C51264B594}" dt="2020-04-08T02:36:55.568" v="1586" actId="207"/>
          <ac:grpSpMkLst>
            <pc:docMk/>
            <pc:sldMk cId="3679214177" sldId="603"/>
            <ac:grpSpMk id="15" creationId="{A74603C5-1703-432D-99A9-D2A0E4448C6A}"/>
          </ac:grpSpMkLst>
        </pc:grpChg>
      </pc:sldChg>
      <pc:sldChg chg="add">
        <pc:chgData name="louise Weine" userId="0d873126-e49c-4b84-ae24-26161450adc6" providerId="ADAL" clId="{4CE1F3AA-9E66-D340-A8A6-25C51264B594}" dt="2020-04-08T01:49:42.160" v="1224"/>
        <pc:sldMkLst>
          <pc:docMk/>
          <pc:sldMk cId="1237834145" sldId="604"/>
        </pc:sldMkLst>
      </pc:sldChg>
      <pc:sldChg chg="add ord modNotesTx">
        <pc:chgData name="louise Weine" userId="0d873126-e49c-4b84-ae24-26161450adc6" providerId="ADAL" clId="{4CE1F3AA-9E66-D340-A8A6-25C51264B594}" dt="2020-04-09T01:09:03.371" v="3486" actId="20577"/>
        <pc:sldMkLst>
          <pc:docMk/>
          <pc:sldMk cId="1766727322" sldId="605"/>
        </pc:sldMkLst>
      </pc:sldChg>
      <pc:sldChg chg="add ord modNotesTx">
        <pc:chgData name="louise Weine" userId="0d873126-e49c-4b84-ae24-26161450adc6" providerId="ADAL" clId="{4CE1F3AA-9E66-D340-A8A6-25C51264B594}" dt="2020-04-15T02:05:40.639" v="3524"/>
        <pc:sldMkLst>
          <pc:docMk/>
          <pc:sldMk cId="558506358" sldId="606"/>
        </pc:sldMkLst>
      </pc:sldChg>
      <pc:sldChg chg="addSp delSp modSp add modTransition">
        <pc:chgData name="louise Weine" userId="0d873126-e49c-4b84-ae24-26161450adc6" providerId="ADAL" clId="{4CE1F3AA-9E66-D340-A8A6-25C51264B594}" dt="2020-04-09T01:29:07.115" v="3523"/>
        <pc:sldMkLst>
          <pc:docMk/>
          <pc:sldMk cId="2869797650" sldId="607"/>
        </pc:sldMkLst>
        <pc:spChg chg="add mod">
          <ac:chgData name="louise Weine" userId="0d873126-e49c-4b84-ae24-26161450adc6" providerId="ADAL" clId="{4CE1F3AA-9E66-D340-A8A6-25C51264B594}" dt="2020-04-08T14:23:19.298" v="2508" actId="14100"/>
          <ac:spMkLst>
            <pc:docMk/>
            <pc:sldMk cId="2869797650" sldId="607"/>
            <ac:spMk id="2" creationId="{1A768AE2-7AEF-C34C-A905-EFB62E44E5DF}"/>
          </ac:spMkLst>
        </pc:spChg>
        <pc:spChg chg="mod">
          <ac:chgData name="louise Weine" userId="0d873126-e49c-4b84-ae24-26161450adc6" providerId="ADAL" clId="{4CE1F3AA-9E66-D340-A8A6-25C51264B594}" dt="2020-04-09T01:27:25.949" v="3521" actId="207"/>
          <ac:spMkLst>
            <pc:docMk/>
            <pc:sldMk cId="2869797650" sldId="607"/>
            <ac:spMk id="29" creationId="{D50DC278-FA10-4975-8F0D-CF5196790D5E}"/>
          </ac:spMkLst>
        </pc:spChg>
        <pc:spChg chg="mod">
          <ac:chgData name="louise Weine" userId="0d873126-e49c-4b84-ae24-26161450adc6" providerId="ADAL" clId="{4CE1F3AA-9E66-D340-A8A6-25C51264B594}" dt="2020-04-09T01:27:25.949" v="3521" actId="207"/>
          <ac:spMkLst>
            <pc:docMk/>
            <pc:sldMk cId="2869797650" sldId="607"/>
            <ac:spMk id="32" creationId="{F11406E4-0F88-4551-B86C-352C507B5DEE}"/>
          </ac:spMkLst>
        </pc:spChg>
        <pc:picChg chg="del">
          <ac:chgData name="louise Weine" userId="0d873126-e49c-4b84-ae24-26161450adc6" providerId="ADAL" clId="{4CE1F3AA-9E66-D340-A8A6-25C51264B594}" dt="2020-04-08T14:15:27.131" v="1956" actId="478"/>
          <ac:picMkLst>
            <pc:docMk/>
            <pc:sldMk cId="2869797650" sldId="607"/>
            <ac:picMk id="30" creationId="{E887A898-07FC-4E66-AC26-2A044707B212}"/>
          </ac:picMkLst>
        </pc:picChg>
      </pc:sldChg>
    </pc:docChg>
  </pc:docChgLst>
  <pc:docChgLst>
    <pc:chgData name="louise Weine" userId="S::lweine@nawo.org.au::0d873126-e49c-4b84-ae24-26161450adc6" providerId="AD" clId="Web-{D05BA6DA-CC6B-9454-304C-6795814206E8}"/>
    <pc:docChg chg="modSld">
      <pc:chgData name="louise Weine" userId="S::lweine@nawo.org.au::0d873126-e49c-4b84-ae24-26161450adc6" providerId="AD" clId="Web-{D05BA6DA-CC6B-9454-304C-6795814206E8}" dt="2020-04-06T05:02:51.819" v="272" actId="20577"/>
      <pc:docMkLst>
        <pc:docMk/>
      </pc:docMkLst>
      <pc:sldChg chg="modSp">
        <pc:chgData name="louise Weine" userId="S::lweine@nawo.org.au::0d873126-e49c-4b84-ae24-26161450adc6" providerId="AD" clId="Web-{D05BA6DA-CC6B-9454-304C-6795814206E8}" dt="2020-04-06T04:55:48.051" v="57" actId="20577"/>
        <pc:sldMkLst>
          <pc:docMk/>
          <pc:sldMk cId="442897525" sldId="256"/>
        </pc:sldMkLst>
        <pc:spChg chg="mod">
          <ac:chgData name="louise Weine" userId="S::lweine@nawo.org.au::0d873126-e49c-4b84-ae24-26161450adc6" providerId="AD" clId="Web-{D05BA6DA-CC6B-9454-304C-6795814206E8}" dt="2020-04-06T04:55:38.878" v="48" actId="20577"/>
          <ac:spMkLst>
            <pc:docMk/>
            <pc:sldMk cId="442897525" sldId="256"/>
            <ac:spMk id="2" creationId="{E1316B1B-56B4-3345-94D5-9D0F88D14C46}"/>
          </ac:spMkLst>
        </pc:spChg>
        <pc:spChg chg="mod">
          <ac:chgData name="louise Weine" userId="S::lweine@nawo.org.au::0d873126-e49c-4b84-ae24-26161450adc6" providerId="AD" clId="Web-{D05BA6DA-CC6B-9454-304C-6795814206E8}" dt="2020-04-06T04:55:48.051" v="57" actId="20577"/>
          <ac:spMkLst>
            <pc:docMk/>
            <pc:sldMk cId="442897525" sldId="256"/>
            <ac:spMk id="4" creationId="{A9CBE6B4-63C3-43E7-9206-38DCAA1BBCE7}"/>
          </ac:spMkLst>
        </pc:spChg>
      </pc:sldChg>
      <pc:sldChg chg="addSp delSp modSp">
        <pc:chgData name="louise Weine" userId="S::lweine@nawo.org.au::0d873126-e49c-4b84-ae24-26161450adc6" providerId="AD" clId="Web-{D05BA6DA-CC6B-9454-304C-6795814206E8}" dt="2020-04-06T04:57:32.868" v="98" actId="20577"/>
        <pc:sldMkLst>
          <pc:docMk/>
          <pc:sldMk cId="610646436" sldId="259"/>
        </pc:sldMkLst>
        <pc:spChg chg="mod">
          <ac:chgData name="louise Weine" userId="S::lweine@nawo.org.au::0d873126-e49c-4b84-ae24-26161450adc6" providerId="AD" clId="Web-{D05BA6DA-CC6B-9454-304C-6795814206E8}" dt="2020-04-06T04:56:12.286" v="66" actId="20577"/>
          <ac:spMkLst>
            <pc:docMk/>
            <pc:sldMk cId="610646436" sldId="259"/>
            <ac:spMk id="16" creationId="{B73EAE04-C2B3-4743-A20B-507279C4135C}"/>
          </ac:spMkLst>
        </pc:spChg>
        <pc:spChg chg="mod">
          <ac:chgData name="louise Weine" userId="S::lweine@nawo.org.au::0d873126-e49c-4b84-ae24-26161450adc6" providerId="AD" clId="Web-{D05BA6DA-CC6B-9454-304C-6795814206E8}" dt="2020-04-06T04:57:19.601" v="95" actId="14100"/>
          <ac:spMkLst>
            <pc:docMk/>
            <pc:sldMk cId="610646436" sldId="259"/>
            <ac:spMk id="17" creationId="{8738FD6A-A9B0-2144-8D27-B7CA67B47A1C}"/>
          </ac:spMkLst>
        </pc:spChg>
        <pc:spChg chg="mod">
          <ac:chgData name="louise Weine" userId="S::lweine@nawo.org.au::0d873126-e49c-4b84-ae24-26161450adc6" providerId="AD" clId="Web-{D05BA6DA-CC6B-9454-304C-6795814206E8}" dt="2020-04-06T04:57:32.868" v="98" actId="20577"/>
          <ac:spMkLst>
            <pc:docMk/>
            <pc:sldMk cId="610646436" sldId="259"/>
            <ac:spMk id="18" creationId="{28805FAD-291F-3745-8AA4-6C31474E2C2A}"/>
          </ac:spMkLst>
        </pc:spChg>
        <pc:spChg chg="add del mod">
          <ac:chgData name="louise Weine" userId="S::lweine@nawo.org.au::0d873126-e49c-4b84-ae24-26161450adc6" providerId="AD" clId="Web-{D05BA6DA-CC6B-9454-304C-6795814206E8}" dt="2020-04-06T04:57:06.226" v="82" actId="20577"/>
          <ac:spMkLst>
            <pc:docMk/>
            <pc:sldMk cId="610646436" sldId="259"/>
            <ac:spMk id="27" creationId="{495BBFD3-C90F-DE45-9A56-443063A458EC}"/>
          </ac:spMkLst>
        </pc:spChg>
      </pc:sldChg>
      <pc:sldChg chg="modSp">
        <pc:chgData name="louise Weine" userId="S::lweine@nawo.org.au::0d873126-e49c-4b84-ae24-26161450adc6" providerId="AD" clId="Web-{D05BA6DA-CC6B-9454-304C-6795814206E8}" dt="2020-04-06T05:02:51.819" v="271" actId="20577"/>
        <pc:sldMkLst>
          <pc:docMk/>
          <pc:sldMk cId="1250720511" sldId="308"/>
        </pc:sldMkLst>
        <pc:spChg chg="mod">
          <ac:chgData name="louise Weine" userId="S::lweine@nawo.org.au::0d873126-e49c-4b84-ae24-26161450adc6" providerId="AD" clId="Web-{D05BA6DA-CC6B-9454-304C-6795814206E8}" dt="2020-04-06T05:02:51.819" v="271" actId="20577"/>
          <ac:spMkLst>
            <pc:docMk/>
            <pc:sldMk cId="1250720511" sldId="308"/>
            <ac:spMk id="4" creationId="{93DA2C3A-3679-0947-91DF-EE276A96D21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39CF97-507C-5C4D-800B-1122CE7526A6}" type="datetimeFigureOut">
              <a:rPr lang="en-US" smtClean="0"/>
              <a:t>4/15/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76892F-889D-9A48-A477-844709881A46}" type="slidenum">
              <a:rPr lang="en-US" smtClean="0"/>
              <a:t>‹#›</a:t>
            </a:fld>
            <a:endParaRPr lang="en-US"/>
          </a:p>
        </p:txBody>
      </p:sp>
    </p:spTree>
    <p:extLst>
      <p:ext uri="{BB962C8B-B14F-4D97-AF65-F5344CB8AC3E}">
        <p14:creationId xmlns:p14="http://schemas.microsoft.com/office/powerpoint/2010/main" val="14726803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dcp.wa.gov.au/CrisisAndEmergency/FDV/Documents/2015/FactSheet5Keyriskfactors.pdf"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1</a:t>
            </a:fld>
            <a:endParaRPr lang="en-US"/>
          </a:p>
        </p:txBody>
      </p:sp>
    </p:spTree>
    <p:extLst>
      <p:ext uri="{BB962C8B-B14F-4D97-AF65-F5344CB8AC3E}">
        <p14:creationId xmlns:p14="http://schemas.microsoft.com/office/powerpoint/2010/main" val="70851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498475"/>
            <a:ext cx="4870450" cy="2740025"/>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079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82588"/>
            <a:ext cx="3848100" cy="2165350"/>
          </a:xfrm>
        </p:spPr>
      </p:sp>
      <p:sp>
        <p:nvSpPr>
          <p:cNvPr id="3" name="Notes Placeholder 2"/>
          <p:cNvSpPr>
            <a:spLocks noGrp="1"/>
          </p:cNvSpPr>
          <p:nvPr>
            <p:ph type="body" idx="1"/>
          </p:nvPr>
        </p:nvSpPr>
        <p:spPr>
          <a:xfrm>
            <a:off x="252663" y="2653990"/>
            <a:ext cx="6103531" cy="6031818"/>
          </a:xfrm>
        </p:spPr>
        <p:txBody>
          <a:bodyPr/>
          <a:lstStyle/>
          <a:p>
            <a:endParaRPr lang="en-AU"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774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9250" y="131763"/>
            <a:ext cx="3500438" cy="1970087"/>
          </a:xfrm>
        </p:spPr>
      </p:sp>
      <p:sp>
        <p:nvSpPr>
          <p:cNvPr id="3" name="Notes Placeholder 2"/>
          <p:cNvSpPr>
            <a:spLocks noGrp="1"/>
          </p:cNvSpPr>
          <p:nvPr>
            <p:ph type="body" idx="1"/>
          </p:nvPr>
        </p:nvSpPr>
        <p:spPr>
          <a:xfrm>
            <a:off x="349249" y="2213811"/>
            <a:ext cx="6256087" cy="7375357"/>
          </a:xfrm>
        </p:spPr>
        <p:txBody>
          <a:bodyPr/>
          <a:lstStyle/>
          <a:p>
            <a:endParaRPr lang="en-AU" sz="105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15995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053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103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671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61793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1510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841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r>
              <a:rPr lang="en-AU" dirty="0"/>
              <a: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744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t>First and foremost self care and safety. </a:t>
            </a:r>
            <a:r>
              <a:rPr lang="en-US" dirty="0"/>
              <a:t>The content of this webinar may be triggering for some participa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Click to bullet poi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e 1800 respect number is shown here on the screen and we are providing a link to the website in the chat function right now.</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r>
              <a:rPr lang="en-AU" sz="1200" b="1" kern="1200" dirty="0">
                <a:solidFill>
                  <a:schemeClr val="tx1"/>
                </a:solidFill>
                <a:effectLst/>
                <a:latin typeface="+mn-lt"/>
                <a:ea typeface="+mn-ea"/>
                <a:cs typeface="+mn-cs"/>
              </a:rPr>
              <a:t>CLICK - Secondly online admin</a:t>
            </a:r>
            <a:endParaRPr lang="en-AU" sz="1200" kern="1200" dirty="0">
              <a:solidFill>
                <a:schemeClr val="tx1"/>
              </a:solidFill>
              <a:effectLst/>
              <a:latin typeface="+mn-lt"/>
              <a:ea typeface="+mn-ea"/>
              <a:cs typeface="+mn-cs"/>
            </a:endParaRPr>
          </a:p>
          <a:p>
            <a:pPr lvl="0"/>
            <a:r>
              <a:rPr lang="en-AU" sz="1200" kern="1200" dirty="0">
                <a:solidFill>
                  <a:schemeClr val="tx1"/>
                </a:solidFill>
                <a:effectLst/>
                <a:latin typeface="+mn-lt"/>
                <a:ea typeface="+mn-ea"/>
                <a:cs typeface="+mn-cs"/>
              </a:rPr>
              <a:t>If you have connectivity issues make sure you are not running additional applications, shut down any other internet windows you have open and log out and log back in again using the link.</a:t>
            </a:r>
          </a:p>
          <a:p>
            <a:pPr lvl="0"/>
            <a:r>
              <a:rPr lang="en-AU" sz="1200" kern="1200" dirty="0">
                <a:solidFill>
                  <a:schemeClr val="tx1"/>
                </a:solidFill>
                <a:effectLst/>
                <a:latin typeface="+mn-lt"/>
                <a:ea typeface="+mn-ea"/>
                <a:cs typeface="+mn-cs"/>
              </a:rPr>
              <a:t>We are recording the session so if you cannot get a good live connection you will still get access to the recording.</a:t>
            </a:r>
          </a:p>
          <a:p>
            <a:endParaRPr lang="en-AU" sz="1200" b="1"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Thirdly – your participation is encouraged today</a:t>
            </a:r>
            <a:endParaRPr lang="en-AU" sz="1200" kern="1200" dirty="0">
              <a:solidFill>
                <a:schemeClr val="tx1"/>
              </a:solidFill>
              <a:effectLst/>
              <a:latin typeface="+mn-lt"/>
              <a:ea typeface="+mn-ea"/>
              <a:cs typeface="+mn-cs"/>
            </a:endParaRPr>
          </a:p>
          <a:p>
            <a:pPr lvl="0"/>
            <a:r>
              <a:rPr lang="en-AU" sz="1200" kern="1200" dirty="0">
                <a:solidFill>
                  <a:schemeClr val="tx1"/>
                </a:solidFill>
                <a:effectLst/>
                <a:latin typeface="+mn-lt"/>
                <a:ea typeface="+mn-ea"/>
                <a:cs typeface="+mn-cs"/>
              </a:rPr>
              <a:t>We have three quick polls for you to participate in – please get involved!</a:t>
            </a:r>
          </a:p>
          <a:p>
            <a:pPr lvl="0"/>
            <a:r>
              <a:rPr lang="en-AU" sz="1200" kern="1200" dirty="0">
                <a:solidFill>
                  <a:schemeClr val="tx1"/>
                </a:solidFill>
                <a:effectLst/>
                <a:latin typeface="+mn-lt"/>
                <a:ea typeface="+mn-ea"/>
                <a:cs typeface="+mn-cs"/>
              </a:rPr>
              <a:t>Please log your questions as they arise for you using the Q&amp;A function in your toolbar. You can also vote for questions by clicking the thumbs up icon – this will push questions to the top of the list and given them more chance of being answered</a:t>
            </a:r>
          </a:p>
          <a:p>
            <a:pPr lvl="0"/>
            <a:r>
              <a:rPr lang="en-AU" sz="1200" kern="1200" dirty="0">
                <a:solidFill>
                  <a:schemeClr val="tx1"/>
                </a:solidFill>
                <a:effectLst/>
                <a:latin typeface="+mn-lt"/>
                <a:ea typeface="+mn-ea"/>
                <a:cs typeface="+mn-cs"/>
              </a:rPr>
              <a:t>CLICK We ask you to please Be aware and sensitive to others.</a:t>
            </a:r>
          </a:p>
          <a:p>
            <a:pPr lvl="0"/>
            <a:r>
              <a:rPr lang="en-AU" sz="1200" kern="1200" dirty="0">
                <a:solidFill>
                  <a:schemeClr val="tx1"/>
                </a:solidFill>
                <a:effectLst/>
                <a:latin typeface="+mn-lt"/>
                <a:ea typeface="+mn-ea"/>
                <a:cs typeface="+mn-cs"/>
              </a:rPr>
              <a:t>Be mindful of being non-judgemental in your comments and feedback.</a:t>
            </a:r>
          </a:p>
          <a:p>
            <a:pPr lvl="0"/>
            <a:r>
              <a:rPr lang="en-AU" sz="1200" kern="1200" dirty="0">
                <a:solidFill>
                  <a:schemeClr val="tx1"/>
                </a:solidFill>
                <a:effectLst/>
                <a:latin typeface="+mn-lt"/>
                <a:ea typeface="+mn-ea"/>
                <a:cs typeface="+mn-cs"/>
              </a:rPr>
              <a:t>Our guests will do their best to get to as many questions as possible live at the conclusion of Chantelle’s presentation at 12:40.</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2</a:t>
            </a:fld>
            <a:endParaRPr lang="en-US"/>
          </a:p>
        </p:txBody>
      </p:sp>
    </p:spTree>
    <p:extLst>
      <p:ext uri="{BB962C8B-B14F-4D97-AF65-F5344CB8AC3E}">
        <p14:creationId xmlns:p14="http://schemas.microsoft.com/office/powerpoint/2010/main" val="2383560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AU" sz="1100" b="1" dirty="0">
              <a:latin typeface="Ebrima" panose="02000000000000000000" pitchFamily="2" charset="0"/>
              <a:ea typeface="Ebrima" panose="02000000000000000000" pitchFamily="2" charset="0"/>
              <a:cs typeface="Ebrima"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91994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AU" sz="1100" b="1" dirty="0">
              <a:latin typeface="Ebrima" panose="02000000000000000000" pitchFamily="2" charset="0"/>
              <a:ea typeface="Ebrima" panose="02000000000000000000" pitchFamily="2" charset="0"/>
              <a:cs typeface="Ebrima"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204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AU" sz="1100" b="1" dirty="0">
              <a:latin typeface="Ebrima" panose="02000000000000000000" pitchFamily="2" charset="0"/>
              <a:ea typeface="Ebrima" panose="02000000000000000000" pitchFamily="2" charset="0"/>
              <a:cs typeface="Ebrima"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7970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pPr marL="0" indent="0">
              <a:buNone/>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We know that at times the behaviour might be for the PEV or PUV which makes identification even hard.</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Change in behaviour</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Withdrawn</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Not answering phone calls/Facetime/Zoom meetings etc</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Physical signs (injuries, change in appearance or clothing)</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Nervous</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Jumpy</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Change in productivity</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Conversation: ‘my partner won’t let me….’</a:t>
            </a:r>
          </a:p>
          <a:p>
            <a:endParaRPr lang="en-AU" sz="1100" b="1" dirty="0">
              <a:latin typeface="Ebrima" panose="02000000000000000000" pitchFamily="2" charset="0"/>
              <a:ea typeface="Ebrima" panose="02000000000000000000" pitchFamily="2" charset="0"/>
              <a:cs typeface="Ebrima"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0913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149225"/>
            <a:ext cx="2886075" cy="1624013"/>
          </a:xfrm>
        </p:spPr>
      </p:sp>
      <p:sp>
        <p:nvSpPr>
          <p:cNvPr id="3" name="Notes Placeholder 2"/>
          <p:cNvSpPr>
            <a:spLocks noGrp="1"/>
          </p:cNvSpPr>
          <p:nvPr>
            <p:ph type="body" idx="1"/>
          </p:nvPr>
        </p:nvSpPr>
        <p:spPr>
          <a:xfrm>
            <a:off x="409074" y="1773238"/>
            <a:ext cx="6003758" cy="7827961"/>
          </a:xfrm>
        </p:spPr>
        <p:txBody>
          <a:bodyPr/>
          <a:lstStyle/>
          <a:p>
            <a:r>
              <a:rPr lang="en-AU" sz="900" b="1" dirty="0">
                <a:latin typeface="Ebrima" panose="02000000000000000000" pitchFamily="2" charset="0"/>
                <a:ea typeface="Ebrima" panose="02000000000000000000" pitchFamily="2" charset="0"/>
                <a:cs typeface="Ebrima" panose="02000000000000000000" pitchFamily="2" charset="0"/>
              </a:rPr>
              <a:t>Time: 5min</a:t>
            </a:r>
          </a:p>
          <a:p>
            <a:pPr>
              <a:buClr>
                <a:schemeClr val="dk1"/>
              </a:buClr>
            </a:pPr>
            <a:r>
              <a:rPr lang="en-US" sz="900" dirty="0">
                <a:solidFill>
                  <a:schemeClr val="dk1"/>
                </a:solidFill>
                <a:latin typeface="Arial"/>
                <a:ea typeface="Arial"/>
                <a:cs typeface="Arial"/>
                <a:sym typeface="Arial"/>
              </a:rPr>
              <a:t>It is important to have an understanding of what some of the high risk/red flags times are so that you can assist the staff member to plan for safety.  Staff who are experiencing this are at an increased risk of being killed or almost killed.</a:t>
            </a:r>
          </a:p>
          <a:p>
            <a:pPr>
              <a:buClr>
                <a:schemeClr val="dk1"/>
              </a:buClr>
            </a:pPr>
            <a:endParaRPr lang="en-US" sz="900" dirty="0">
              <a:solidFill>
                <a:schemeClr val="dk1"/>
              </a:solidFill>
              <a:latin typeface="Arial"/>
              <a:ea typeface="Arial"/>
              <a:cs typeface="Arial"/>
              <a:sym typeface="Arial"/>
            </a:endParaRPr>
          </a:p>
          <a:p>
            <a:pPr>
              <a:buClr>
                <a:schemeClr val="dk1"/>
              </a:buClr>
            </a:pPr>
            <a:r>
              <a:rPr lang="en-US" sz="900" dirty="0">
                <a:solidFill>
                  <a:schemeClr val="dk1"/>
                </a:solidFill>
                <a:latin typeface="Arial"/>
                <a:ea typeface="Arial"/>
                <a:cs typeface="Arial"/>
                <a:sym typeface="Arial"/>
              </a:rPr>
              <a:t>If you notice these signs, as part of your RRR then you need to make sure that you are planning for this persons safety.</a:t>
            </a:r>
          </a:p>
          <a:p>
            <a:pPr>
              <a:buClr>
                <a:schemeClr val="dk1"/>
              </a:buClr>
            </a:pPr>
            <a:endParaRPr lang="en-US" sz="900" dirty="0">
              <a:solidFill>
                <a:schemeClr val="dk1"/>
              </a:solidFill>
              <a:latin typeface="Arial"/>
              <a:ea typeface="Arial"/>
              <a:cs typeface="Arial"/>
              <a:sym typeface="Arial"/>
            </a:endParaRPr>
          </a:p>
          <a:p>
            <a:pPr>
              <a:buClr>
                <a:schemeClr val="dk1"/>
              </a:buClr>
            </a:pPr>
            <a:r>
              <a:rPr lang="en-US" sz="900" dirty="0">
                <a:solidFill>
                  <a:schemeClr val="dk1"/>
                </a:solidFill>
                <a:latin typeface="Arial"/>
                <a:ea typeface="Arial"/>
                <a:cs typeface="Arial"/>
                <a:sym typeface="Arial"/>
              </a:rPr>
              <a:t>This was developed by the DV Resource Centre of Victoria based upon risk management and assessment research.</a:t>
            </a:r>
          </a:p>
          <a:p>
            <a:pPr>
              <a:buClr>
                <a:schemeClr val="dk1"/>
              </a:buClr>
            </a:pPr>
            <a:endParaRPr lang="en-US" sz="900" dirty="0">
              <a:solidFill>
                <a:schemeClr val="dk1"/>
              </a:solidFill>
              <a:latin typeface="Arial"/>
              <a:ea typeface="Arial"/>
              <a:cs typeface="Arial"/>
              <a:sym typeface="Arial"/>
            </a:endParaRPr>
          </a:p>
          <a:p>
            <a:pPr>
              <a:buClr>
                <a:schemeClr val="dk1"/>
              </a:buClr>
            </a:pPr>
            <a:r>
              <a:rPr lang="en-US" sz="900" dirty="0">
                <a:hlinkClick r:id="rId3"/>
              </a:rPr>
              <a:t>https://www.dcp.wa.gov.au/CrisisAndEmergency/FDV/Documents/2015/FactSheet5Keyriskfactors.pdf</a:t>
            </a:r>
            <a:endParaRPr lang="en-US" sz="900" dirty="0"/>
          </a:p>
          <a:p>
            <a:pPr>
              <a:buClr>
                <a:schemeClr val="dk1"/>
              </a:buClr>
            </a:pPr>
            <a:endParaRPr lang="en-US" sz="900" dirty="0">
              <a:solidFill>
                <a:schemeClr val="dk1"/>
              </a:solidFill>
              <a:latin typeface="Arial"/>
              <a:ea typeface="Arial"/>
              <a:cs typeface="Arial"/>
              <a:sym typeface="Arial"/>
            </a:endParaRPr>
          </a:p>
          <a:p>
            <a:pPr>
              <a:buClr>
                <a:schemeClr val="dk1"/>
              </a:buClr>
            </a:pPr>
            <a:r>
              <a:rPr lang="en-US" sz="900" b="1" dirty="0">
                <a:solidFill>
                  <a:schemeClr val="dk1"/>
                </a:solidFill>
                <a:latin typeface="Arial"/>
                <a:ea typeface="Arial"/>
                <a:cs typeface="Arial"/>
                <a:sym typeface="Arial"/>
              </a:rPr>
              <a:t>FYI:</a:t>
            </a:r>
          </a:p>
          <a:p>
            <a:pPr marL="171450" indent="-171450">
              <a:buClr>
                <a:schemeClr val="dk1"/>
              </a:buClr>
              <a:buFont typeface="Arial" panose="020B0604020202020204" pitchFamily="34" charset="0"/>
              <a:buChar char="•"/>
            </a:pPr>
            <a:r>
              <a:rPr lang="en-US" sz="900" dirty="0"/>
              <a:t>Threats or attempts to commit suicide have been found to be a risk factor for murder-suicide</a:t>
            </a:r>
          </a:p>
          <a:p>
            <a:pPr marL="171450" indent="-171450">
              <a:buClr>
                <a:schemeClr val="dk1"/>
              </a:buClr>
              <a:buFont typeface="Arial" panose="020B0604020202020204" pitchFamily="34" charset="0"/>
              <a:buChar char="•"/>
            </a:pPr>
            <a:r>
              <a:rPr lang="en-US" sz="900" dirty="0"/>
              <a:t>Unemployment is associated with an increased risk of lethal assault, and a sudden change in employment status – such as being terminated and/or retrenched – may be associated with increased risk.</a:t>
            </a:r>
          </a:p>
          <a:p>
            <a:pPr marL="171450" indent="-171450">
              <a:buClr>
                <a:schemeClr val="dk1"/>
              </a:buClr>
              <a:buFont typeface="Arial" panose="020B0604020202020204" pitchFamily="34" charset="0"/>
              <a:buChar char="•"/>
            </a:pPr>
            <a:r>
              <a:rPr lang="en-US" sz="900" dirty="0"/>
              <a:t>Perpetrators of family and domestic violence can be more dangerous when they are under the influence of alcohol and other drugs. </a:t>
            </a:r>
          </a:p>
          <a:p>
            <a:pPr marL="171450" indent="-171450">
              <a:buClr>
                <a:schemeClr val="dk1"/>
              </a:buClr>
              <a:buFont typeface="Arial" panose="020B0604020202020204" pitchFamily="34" charset="0"/>
              <a:buChar char="•"/>
            </a:pPr>
            <a:r>
              <a:rPr lang="en-US" sz="900" dirty="0"/>
              <a:t>Low income and financial stress, including a gambling addiction, may be associated with increased risk for victims of family and domestic violence.</a:t>
            </a:r>
          </a:p>
          <a:p>
            <a:pPr marL="171450" indent="-171450">
              <a:buClr>
                <a:schemeClr val="dk1"/>
              </a:buClr>
              <a:buFont typeface="Arial" panose="020B0604020202020204" pitchFamily="34" charset="0"/>
              <a:buChar char="•"/>
            </a:pPr>
            <a:r>
              <a:rPr lang="en-US" sz="900" dirty="0"/>
              <a:t>Breaching a DVO indicates the perpetrator is not willing to abide by the orders of a court. Such </a:t>
            </a:r>
            <a:r>
              <a:rPr lang="en-US" sz="900" dirty="0" err="1"/>
              <a:t>behaviour</a:t>
            </a:r>
            <a:r>
              <a:rPr lang="en-US" sz="900" dirty="0"/>
              <a:t> should be considered a serious indicator of increased risk of future violence.</a:t>
            </a:r>
          </a:p>
          <a:p>
            <a:pPr marL="171450" indent="-171450">
              <a:buClr>
                <a:schemeClr val="dk1"/>
              </a:buClr>
              <a:buFont typeface="Arial" panose="020B0604020202020204" pitchFamily="34" charset="0"/>
              <a:buChar char="•"/>
            </a:pPr>
            <a:r>
              <a:rPr lang="en-US" sz="900" dirty="0"/>
              <a:t>Family and domestic violence often commences or intensifies during pregnancy and is associated with increased rates of miscarriage, low birth weight, premature birth, </a:t>
            </a:r>
            <a:r>
              <a:rPr lang="en-US" sz="900" dirty="0" err="1"/>
              <a:t>foetal</a:t>
            </a:r>
            <a:r>
              <a:rPr lang="en-US" sz="900" dirty="0"/>
              <a:t> injury and </a:t>
            </a:r>
            <a:r>
              <a:rPr lang="en-US" sz="900" dirty="0" err="1"/>
              <a:t>foetal</a:t>
            </a:r>
            <a:r>
              <a:rPr lang="en-US" sz="900" dirty="0"/>
              <a:t> death. Family and domestic violence during pregnancy is regarded as a significant indicator of future harm to the woman and her child.</a:t>
            </a:r>
          </a:p>
          <a:p>
            <a:pPr marL="171450" indent="-171450">
              <a:buClr>
                <a:schemeClr val="dk1"/>
              </a:buClr>
              <a:buFont typeface="Arial" panose="020B0604020202020204" pitchFamily="34" charset="0"/>
              <a:buChar char="•"/>
            </a:pPr>
            <a:endParaRPr lang="en-US" sz="900" dirty="0">
              <a:solidFill>
                <a:schemeClr val="dk1"/>
              </a:solidFill>
              <a:latin typeface="Arial"/>
              <a:ea typeface="Arial"/>
              <a:cs typeface="Arial"/>
              <a:sym typeface="Arial"/>
            </a:endParaRPr>
          </a:p>
          <a:p>
            <a:pPr marL="171450" indent="-171450">
              <a:buClr>
                <a:schemeClr val="dk1"/>
              </a:buClr>
              <a:buFont typeface="Arial" panose="020B0604020202020204" pitchFamily="34" charset="0"/>
              <a:buChar char="•"/>
            </a:pPr>
            <a:r>
              <a:rPr lang="en-US" sz="900" b="1" dirty="0">
                <a:solidFill>
                  <a:schemeClr val="dk1"/>
                </a:solidFill>
                <a:latin typeface="Arial"/>
                <a:ea typeface="Arial"/>
                <a:cs typeface="Arial"/>
                <a:sym typeface="Arial"/>
              </a:rPr>
              <a:t>References:</a:t>
            </a:r>
          </a:p>
          <a:p>
            <a:pPr marL="171450" indent="-171450">
              <a:buClr>
                <a:schemeClr val="dk1"/>
              </a:buClr>
              <a:buFont typeface="Arial" panose="020B0604020202020204" pitchFamily="34" charset="0"/>
              <a:buChar char="•"/>
            </a:pPr>
            <a:r>
              <a:rPr lang="en-US" sz="900" dirty="0"/>
              <a:t>Campbell J 2003, ‘Risk factors for femicide in abusive relationships: Results from a multi-site case control study’, American Journal of Public Health, vol. 93, no. 7: 1089–1097. </a:t>
            </a:r>
          </a:p>
          <a:p>
            <a:pPr marL="171450" indent="-171450">
              <a:buClr>
                <a:schemeClr val="dk1"/>
              </a:buClr>
              <a:buFont typeface="Arial" panose="020B0604020202020204" pitchFamily="34" charset="0"/>
              <a:buChar char="•"/>
            </a:pPr>
            <a:r>
              <a:rPr lang="en-US" sz="900" dirty="0"/>
              <a:t>Campbell J 2004, ‘Helping women understand their risk in situations of intimate partner violence’, Journal of Interpersonal Violence, vol 19, no. 12: 1464-1477. </a:t>
            </a:r>
          </a:p>
          <a:p>
            <a:pPr marL="171450" indent="-171450">
              <a:buClr>
                <a:schemeClr val="dk1"/>
              </a:buClr>
              <a:buFont typeface="Arial" panose="020B0604020202020204" pitchFamily="34" charset="0"/>
              <a:buChar char="•"/>
            </a:pPr>
            <a:r>
              <a:rPr lang="en-US" sz="900" dirty="0"/>
              <a:t>Campbell J, O’Sullivan C, Roehl J &amp; Webster, D 2005, Intimate Partner Violence Risk Assessment Validation Study: The RAVE Study Practitioner Summary and Recommendations: Validation of Tools for Assessing Risk from Violent Intimate Partners. Retrieved 31/07/15 from https://www.ncjrs.gov/pdffiles1/nij/grants/209732.pdf </a:t>
            </a:r>
          </a:p>
          <a:p>
            <a:pPr marL="171450" indent="-171450">
              <a:buClr>
                <a:schemeClr val="dk1"/>
              </a:buClr>
              <a:buFont typeface="Arial" panose="020B0604020202020204" pitchFamily="34" charset="0"/>
              <a:buChar char="•"/>
            </a:pPr>
            <a:r>
              <a:rPr lang="en-US" sz="900" dirty="0"/>
              <a:t>Campbell J, Webster D, </a:t>
            </a:r>
            <a:r>
              <a:rPr lang="en-US" sz="900" dirty="0" err="1"/>
              <a:t>Koziol</a:t>
            </a:r>
            <a:r>
              <a:rPr lang="en-US" sz="900" dirty="0"/>
              <a:t>-McLain J, Block C, Campbell D, Curry M, Gary F, Glass N, McFarlane J, Sachs C, Sharps P, Ulrich Y, Wilt S, </a:t>
            </a:r>
            <a:r>
              <a:rPr lang="en-US" sz="900" dirty="0" err="1"/>
              <a:t>Mangello</a:t>
            </a:r>
            <a:r>
              <a:rPr lang="en-US" sz="900" dirty="0"/>
              <a:t> J, Xu X, </a:t>
            </a:r>
            <a:r>
              <a:rPr lang="en-US" sz="900" dirty="0" err="1"/>
              <a:t>Schollenberger</a:t>
            </a:r>
            <a:r>
              <a:rPr lang="en-US" sz="900" dirty="0"/>
              <a:t> J, Frye V &amp; Laughton K, 2003, ‘Risk factors for femicide in abusive relationships: Results from a multisite case control study’, American Journal of Public Health, vol 93, no. 7: 1089-97. </a:t>
            </a:r>
            <a:r>
              <a:rPr lang="en-US" sz="900" dirty="0" err="1"/>
              <a:t>Gondolf</a:t>
            </a:r>
            <a:r>
              <a:rPr lang="en-US" sz="900" dirty="0"/>
              <a:t> E 2002, Batterer Intervention Systems: Issues, Outcomes and Recommendations, Sage Publications, Thousand Oaks.</a:t>
            </a:r>
            <a:endParaRPr lang="en-US" sz="900" dirty="0">
              <a:solidFill>
                <a:schemeClr val="dk1"/>
              </a:solidFill>
              <a:latin typeface="Arial"/>
              <a:ea typeface="Arial"/>
              <a:cs typeface="Arial"/>
              <a:sym typeface="Aria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52555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5338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9250" y="131763"/>
            <a:ext cx="3500438" cy="1970087"/>
          </a:xfrm>
        </p:spPr>
      </p:sp>
      <p:sp>
        <p:nvSpPr>
          <p:cNvPr id="3" name="Notes Placeholder 2"/>
          <p:cNvSpPr>
            <a:spLocks noGrp="1"/>
          </p:cNvSpPr>
          <p:nvPr>
            <p:ph type="body" idx="1"/>
          </p:nvPr>
        </p:nvSpPr>
        <p:spPr>
          <a:xfrm>
            <a:off x="349249" y="2213811"/>
            <a:ext cx="6256087" cy="7375357"/>
          </a:xfrm>
        </p:spPr>
        <p:txBody>
          <a:bodyPr/>
          <a:lstStyle/>
          <a:p>
            <a:endParaRPr lang="en-AU" sz="105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30267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Find a safe way to communicate</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Keep lines of communication open - Schedule regular catch ups</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If you can communicate safely talk about a safety plan and set up a code word</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Be mindful that the person using maybe listening or reading emails and messages </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If you are concerned call 1800RESPECT for advice and to safety plan</a:t>
            </a:r>
          </a:p>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In an emergency call 000</a:t>
            </a:r>
          </a:p>
          <a:p>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499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3613" y="341313"/>
            <a:ext cx="4257675" cy="2395537"/>
          </a:xfrm>
        </p:spPr>
      </p:sp>
      <p:sp>
        <p:nvSpPr>
          <p:cNvPr id="3" name="Notes Placeholder 2"/>
          <p:cNvSpPr>
            <a:spLocks noGrp="1"/>
          </p:cNvSpPr>
          <p:nvPr>
            <p:ph type="body" idx="1"/>
          </p:nvPr>
        </p:nvSpPr>
        <p:spPr/>
        <p:txBody>
          <a:bodyPr/>
          <a:lstStyle/>
          <a:p>
            <a:pPr>
              <a:buBlip>
                <a:blip r:embed="rId3"/>
              </a:buBlip>
            </a:pPr>
            <a:r>
              <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rPr>
              <a:t>We know that you might not be able to have a face to face conversation right now, perhaps the only way might be via text.  A conversation to RRR could go something like this.</a:t>
            </a:r>
          </a:p>
          <a:p>
            <a:pPr>
              <a:buBlip>
                <a:blip r:embed="rId3"/>
              </a:buBlip>
            </a:pPr>
            <a:endParaRPr lang="en-AU" sz="1100" dirty="0">
              <a:solidFill>
                <a:srgbClr val="2E3192"/>
              </a:solidFill>
              <a:latin typeface="Tahoma" panose="020B0604030504040204" pitchFamily="34" charset="0"/>
              <a:ea typeface="Tahoma" panose="020B0604030504040204" pitchFamily="34" charset="0"/>
              <a:cs typeface="Tahoma" panose="020B0604030504040204" pitchFamily="34" charset="0"/>
            </a:endParaRPr>
          </a:p>
          <a:p>
            <a:r>
              <a:rPr lang="en-AU" sz="1200" b="1" kern="1200" dirty="0">
                <a:solidFill>
                  <a:schemeClr val="tx1"/>
                </a:solidFill>
                <a:effectLst/>
                <a:latin typeface="+mn-lt"/>
                <a:ea typeface="+mn-ea"/>
                <a:cs typeface="+mn-cs"/>
              </a:rPr>
              <a:t>Hey, I haven’t heard from you in a while, how are you?</a:t>
            </a:r>
          </a:p>
          <a:p>
            <a:r>
              <a:rPr lang="en-AU" sz="1200" kern="1200" dirty="0">
                <a:solidFill>
                  <a:schemeClr val="tx1"/>
                </a:solidFill>
                <a:effectLst/>
                <a:latin typeface="+mn-lt"/>
                <a:ea typeface="+mn-ea"/>
                <a:cs typeface="+mn-cs"/>
              </a:rPr>
              <a:t> I’m OK.  Things are tough at home at the moment and my partner and I keep arguing a lot.</a:t>
            </a:r>
          </a:p>
          <a:p>
            <a:r>
              <a:rPr lang="en-AU" sz="1200" b="1" kern="1200" dirty="0">
                <a:solidFill>
                  <a:schemeClr val="tx1"/>
                </a:solidFill>
                <a:effectLst/>
                <a:latin typeface="+mn-lt"/>
                <a:ea typeface="+mn-ea"/>
                <a:cs typeface="+mn-cs"/>
              </a:rPr>
              <a:t> That sounds really tough.  What happens when you argue?</a:t>
            </a:r>
          </a:p>
          <a:p>
            <a:r>
              <a:rPr lang="en-AU" sz="1200" b="0" kern="1200" dirty="0">
                <a:solidFill>
                  <a:schemeClr val="tx1"/>
                </a:solidFill>
                <a:effectLst/>
                <a:latin typeface="+mn-lt"/>
                <a:ea typeface="+mn-ea"/>
                <a:cs typeface="+mn-cs"/>
              </a:rPr>
              <a:t>Mainly yelling.   I try and move the kids away as I don’t want them to hear what is being said.  It starts off with us bickering and ends up with me being yelled out and trying to hide away.</a:t>
            </a:r>
          </a:p>
          <a:p>
            <a:r>
              <a:rPr lang="en-AU" sz="1200" b="1" kern="1200" dirty="0">
                <a:solidFill>
                  <a:schemeClr val="tx1"/>
                </a:solidFill>
                <a:effectLst/>
                <a:latin typeface="+mn-lt"/>
                <a:ea typeface="+mn-ea"/>
                <a:cs typeface="+mn-cs"/>
              </a:rPr>
              <a:t>That sounds scary for you and the kids.  Have you spoken to anyone else about this?</a:t>
            </a:r>
          </a:p>
          <a:p>
            <a:r>
              <a:rPr lang="en-AU" sz="1200" b="0" kern="1200" dirty="0">
                <a:solidFill>
                  <a:schemeClr val="tx1"/>
                </a:solidFill>
                <a:effectLst/>
                <a:latin typeface="+mn-lt"/>
                <a:ea typeface="+mn-ea"/>
                <a:cs typeface="+mn-cs"/>
              </a:rPr>
              <a:t>No.  It’s happened before but things are getting scarier now and it’s hard to keep the kids from seeing what is going on.</a:t>
            </a:r>
          </a:p>
          <a:p>
            <a:r>
              <a:rPr lang="en-AU" sz="1200" b="1" kern="1200" dirty="0">
                <a:solidFill>
                  <a:schemeClr val="tx1"/>
                </a:solidFill>
                <a:effectLst/>
                <a:latin typeface="+mn-lt"/>
                <a:ea typeface="+mn-ea"/>
                <a:cs typeface="+mn-cs"/>
              </a:rPr>
              <a:t>I believe you.  I want you to know that you deserve to be safe.  There are supports and people that you can talk to that can help.  Would you like their details?</a:t>
            </a:r>
          </a:p>
          <a:p>
            <a:r>
              <a:rPr lang="en-AU" sz="1200" b="0" kern="1200" dirty="0">
                <a:solidFill>
                  <a:schemeClr val="tx1"/>
                </a:solidFill>
                <a:effectLst/>
                <a:latin typeface="+mn-lt"/>
                <a:ea typeface="+mn-ea"/>
                <a:cs typeface="+mn-cs"/>
              </a:rPr>
              <a:t>Maybe.  Might be good to know who to call when I’m ready.</a:t>
            </a:r>
          </a:p>
          <a:p>
            <a:r>
              <a:rPr lang="en-AU" sz="1200" b="1" kern="1200" dirty="0">
                <a:solidFill>
                  <a:schemeClr val="tx1"/>
                </a:solidFill>
                <a:effectLst/>
                <a:latin typeface="+mn-lt"/>
                <a:ea typeface="+mn-ea"/>
                <a:cs typeface="+mn-cs"/>
              </a:rPr>
              <a:t>No worries.  Best contact is 1800 RESPECT for you (phone and web).  Would it be safe for you to use your own phone to contact them? </a:t>
            </a:r>
          </a:p>
          <a:p>
            <a:r>
              <a:rPr lang="en-AU" sz="1200" b="0" kern="1200" dirty="0">
                <a:solidFill>
                  <a:schemeClr val="tx1"/>
                </a:solidFill>
                <a:effectLst/>
                <a:latin typeface="+mn-lt"/>
                <a:ea typeface="+mn-ea"/>
                <a:cs typeface="+mn-cs"/>
              </a:rPr>
              <a:t>Yeah, that’s not a problem, my phone is safe.  Thank you.</a:t>
            </a:r>
          </a:p>
          <a:p>
            <a:r>
              <a:rPr lang="en-AU" sz="1200" b="1" kern="1200" dirty="0">
                <a:solidFill>
                  <a:schemeClr val="tx1"/>
                </a:solidFill>
                <a:effectLst/>
                <a:latin typeface="+mn-lt"/>
                <a:ea typeface="+mn-ea"/>
                <a:cs typeface="+mn-cs"/>
              </a:rPr>
              <a:t> No problem, let’s chat soon xx</a:t>
            </a:r>
          </a:p>
          <a:p>
            <a:pPr>
              <a:buBlip>
                <a:blip r:embed="rId3"/>
              </a:buBlip>
            </a:pPr>
            <a:endParaRPr lang="en-AU" sz="11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9643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510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llo and welcome to this NAWO webinar. I'm Louise Weine, NAWO's National Director and your MC for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behalf of all of us I wish to acknowledge the traditional owners of the land upon we which we all participate online today, I am </a:t>
            </a:r>
            <a:r>
              <a:rPr lang="en-US" dirty="0" err="1"/>
              <a:t>ont</a:t>
            </a:r>
            <a:r>
              <a:rPr lang="en-US" dirty="0"/>
              <a:t> he land of the </a:t>
            </a:r>
            <a:r>
              <a:rPr lang="en-US" dirty="0" err="1"/>
              <a:t>Wurundjeri</a:t>
            </a:r>
            <a:r>
              <a:rPr lang="en-US" dirty="0"/>
              <a:t> people and I pay my respects to their elders past present and emerg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fore we commence our important topic today I have some housekeeping to cover.</a:t>
            </a:r>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3</a:t>
            </a:fld>
            <a:endParaRPr lang="en-US"/>
          </a:p>
        </p:txBody>
      </p:sp>
    </p:spTree>
    <p:extLst>
      <p:ext uri="{BB962C8B-B14F-4D97-AF65-F5344CB8AC3E}">
        <p14:creationId xmlns:p14="http://schemas.microsoft.com/office/powerpoint/2010/main" val="36395049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4502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Thanks so much Jacque – a reminder that we will address your questions after Chantelle speaks.</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Before she does here is our second poll.</a:t>
            </a:r>
          </a:p>
          <a:p>
            <a:r>
              <a:rPr lang="en-AU" sz="1200" kern="1200" dirty="0">
                <a:solidFill>
                  <a:schemeClr val="tx1"/>
                </a:solidFill>
                <a:effectLst/>
                <a:latin typeface="+mn-lt"/>
                <a:ea typeface="+mn-ea"/>
                <a:cs typeface="+mn-cs"/>
              </a:rPr>
              <a:t>Interesting responses there. Over to you Chantelle.</a:t>
            </a:r>
            <a:r>
              <a:rPr lang="en-AU" dirty="0">
                <a:effectLst/>
              </a:rPr>
              <a:t> </a:t>
            </a:r>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6227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1" dirty="0"/>
              <a:t>Rachel</a:t>
            </a:r>
            <a:r>
              <a:rPr lang="en-AU" b="1" i="1" baseline="0" dirty="0"/>
              <a:t> to speak to</a:t>
            </a:r>
            <a:endParaRPr lang="en-AU" sz="1200" b="1" i="1" kern="1200" dirty="0">
              <a:solidFill>
                <a:schemeClr val="tx1"/>
              </a:solidFill>
              <a:effectLst/>
              <a:latin typeface="+mn-lt"/>
              <a:ea typeface="Geneva" pitchFamily="51" charset="-128"/>
              <a:cs typeface="Geneva" pitchFamily="51" charset="-128"/>
            </a:endParaRPr>
          </a:p>
          <a:p>
            <a:endParaRPr lang="en-AU"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B926E-92CD-284C-A7B6-4D16F0BFE7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9281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1" dirty="0"/>
              <a:t>Rachel</a:t>
            </a:r>
            <a:r>
              <a:rPr lang="en-AU" b="1" i="1" baseline="0" dirty="0"/>
              <a:t> to speak to</a:t>
            </a:r>
            <a:endParaRPr lang="en-AU" sz="1200" b="1" i="1" kern="1200" dirty="0">
              <a:solidFill>
                <a:schemeClr val="tx1"/>
              </a:solidFill>
              <a:effectLst/>
              <a:latin typeface="+mn-lt"/>
              <a:ea typeface="Geneva" pitchFamily="51" charset="-128"/>
              <a:cs typeface="Geneva" pitchFamily="51" charset="-128"/>
            </a:endParaRPr>
          </a:p>
          <a:p>
            <a:endParaRPr lang="en-AU"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B926E-92CD-284C-A7B6-4D16F0BFE7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95142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i="1" dirty="0"/>
              <a:t>Rachel</a:t>
            </a:r>
            <a:r>
              <a:rPr lang="en-AU" b="1" i="1" baseline="0" dirty="0"/>
              <a:t> to speak to</a:t>
            </a:r>
            <a:endParaRPr lang="en-AU" sz="1200" b="1" i="1" kern="1200" dirty="0">
              <a:solidFill>
                <a:schemeClr val="tx1"/>
              </a:solidFill>
              <a:effectLst/>
              <a:latin typeface="+mn-lt"/>
              <a:ea typeface="Geneva" pitchFamily="51" charset="-128"/>
              <a:cs typeface="Geneva" pitchFamily="51" charset="-128"/>
            </a:endParaRPr>
          </a:p>
          <a:p>
            <a:endParaRPr lang="en-AU" dirty="0"/>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EB926E-92CD-284C-A7B6-4D16F0BFE7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3272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r>
              <a:rPr lang="en-AU" b="1" dirty="0"/>
              <a:t>Time: 10min</a:t>
            </a:r>
          </a:p>
          <a:p>
            <a:endParaRPr lang="en-AU" b="1" dirty="0"/>
          </a:p>
          <a:p>
            <a:r>
              <a:rPr lang="en-AU" b="0" dirty="0"/>
              <a:t>There is now some time for any questions, feedback or comments before we finish the session.</a:t>
            </a:r>
          </a:p>
          <a:p>
            <a:endParaRPr lang="en-AU"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8546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522288"/>
            <a:ext cx="3176588" cy="1787525"/>
          </a:xfrm>
        </p:spPr>
      </p:sp>
      <p:sp>
        <p:nvSpPr>
          <p:cNvPr id="3" name="Notes Placeholder 2"/>
          <p:cNvSpPr>
            <a:spLocks noGrp="1"/>
          </p:cNvSpPr>
          <p:nvPr>
            <p:ph type="body" idx="1"/>
          </p:nvPr>
        </p:nvSpPr>
        <p:spPr/>
        <p:txBody>
          <a:bodyPr/>
          <a:lstStyle/>
          <a:p>
            <a:pPr lvl="0"/>
            <a:r>
              <a:rPr lang="en-AU" sz="1200" kern="1200" dirty="0">
                <a:solidFill>
                  <a:schemeClr val="tx1"/>
                </a:solidFill>
                <a:effectLst/>
                <a:latin typeface="+mn-lt"/>
                <a:ea typeface="+mn-ea"/>
                <a:cs typeface="+mn-cs"/>
              </a:rPr>
              <a:t>Key Takeaways – SLIDO?</a:t>
            </a:r>
          </a:p>
          <a:p>
            <a:pPr lvl="0"/>
            <a:r>
              <a:rPr lang="en-AU" sz="1200" kern="1200" dirty="0">
                <a:solidFill>
                  <a:schemeClr val="tx1"/>
                </a:solidFill>
                <a:effectLst/>
                <a:latin typeface="+mn-lt"/>
                <a:ea typeface="+mn-ea"/>
                <a:cs typeface="+mn-cs"/>
              </a:rPr>
              <a:t>Supporting ACC – Call out for sponsorship of 1800DFESUPPORT line specifically for workplaces – for HR and Managers to access advi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7732C3C-A191-48C2-A7E8-9C96AF841A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2722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AU" sz="1200" kern="1200" dirty="0">
                <a:solidFill>
                  <a:schemeClr val="tx1"/>
                </a:solidFill>
                <a:effectLst/>
                <a:latin typeface="+mn-lt"/>
                <a:ea typeface="+mn-ea"/>
                <a:cs typeface="+mn-cs"/>
              </a:rPr>
              <a:t>Please complete the feedback form that will be sent to you at the conclusion of this webinar.</a:t>
            </a:r>
          </a:p>
          <a:p>
            <a:pPr lvl="0"/>
            <a:r>
              <a:rPr lang="en-AU" sz="1200" kern="1200" dirty="0">
                <a:solidFill>
                  <a:schemeClr val="tx1"/>
                </a:solidFill>
                <a:effectLst/>
                <a:latin typeface="+mn-lt"/>
                <a:ea typeface="+mn-ea"/>
                <a:cs typeface="+mn-cs"/>
              </a:rPr>
              <a:t>If more Q&amp;A’s than we can handle – we will prepare a FAQ sheet that you can download from our website together with the slides from today’s event. </a:t>
            </a:r>
          </a:p>
          <a:p>
            <a:r>
              <a:rPr lang="en-AU" sz="1200" kern="1200" dirty="0">
                <a:solidFill>
                  <a:schemeClr val="tx1"/>
                </a:solidFill>
                <a:effectLst/>
                <a:latin typeface="+mn-lt"/>
                <a:ea typeface="+mn-ea"/>
                <a:cs typeface="+mn-cs"/>
              </a:rPr>
              <a:t>Thank you for joining us today. </a:t>
            </a:r>
            <a:r>
              <a:rPr lang="en-AU" sz="1200" kern="1200">
                <a:solidFill>
                  <a:schemeClr val="tx1"/>
                </a:solidFill>
                <a:effectLst/>
                <a:latin typeface="+mn-lt"/>
                <a:ea typeface="+mn-ea"/>
                <a:cs typeface="+mn-cs"/>
              </a:rPr>
              <a:t>Stay safe, and we will see you at another NAWO event soon!</a:t>
            </a:r>
            <a:r>
              <a:rPr lang="en-AU">
                <a:effectLst/>
              </a:rPr>
              <a:t> </a:t>
            </a:r>
            <a:endParaRPr lang="en-AU" b="1" dirty="0"/>
          </a:p>
        </p:txBody>
      </p:sp>
      <p:sp>
        <p:nvSpPr>
          <p:cNvPr id="4" name="Slide Number Placeholder 3"/>
          <p:cNvSpPr>
            <a:spLocks noGrp="1"/>
          </p:cNvSpPr>
          <p:nvPr>
            <p:ph type="sldNum" sz="quarter" idx="5"/>
          </p:nvPr>
        </p:nvSpPr>
        <p:spPr/>
        <p:txBody>
          <a:bodyPr/>
          <a:lstStyle/>
          <a:p>
            <a:fld id="{A376892F-889D-9A48-A477-844709881A46}" type="slidenum">
              <a:rPr lang="en-US" smtClean="0"/>
              <a:t>40</a:t>
            </a:fld>
            <a:endParaRPr lang="en-US"/>
          </a:p>
        </p:txBody>
      </p:sp>
    </p:spTree>
    <p:extLst>
      <p:ext uri="{BB962C8B-B14F-4D97-AF65-F5344CB8AC3E}">
        <p14:creationId xmlns:p14="http://schemas.microsoft.com/office/powerpoint/2010/main" val="4017610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WO is more than a membership association. It is a community of like-minded </a:t>
            </a:r>
            <a:r>
              <a:rPr lang="en-US" dirty="0" err="1"/>
              <a:t>organisations</a:t>
            </a:r>
            <a:r>
              <a:rPr lang="en-US" dirty="0"/>
              <a:t>, men and women, who want their operations to benefit from the full range of talent, both available and emerging.</a:t>
            </a:r>
          </a:p>
          <a:p>
            <a:endParaRPr lang="en-US" dirty="0"/>
          </a:p>
          <a:p>
            <a:r>
              <a:rPr lang="en-AU" sz="1200" kern="1200" dirty="0">
                <a:solidFill>
                  <a:schemeClr val="tx1"/>
                </a:solidFill>
                <a:effectLst/>
                <a:latin typeface="+mn-lt"/>
                <a:ea typeface="+mn-ea"/>
                <a:cs typeface="+mn-cs"/>
              </a:rPr>
              <a:t>NAWO has opened this webinar, on this very critical topic beyond our member network to reach as many people as possible. We thank our member companies for supporting NAWO and enabling events such as this to come to life.</a:t>
            </a:r>
          </a:p>
          <a:p>
            <a:r>
              <a:rPr lang="en-AU"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4</a:t>
            </a:fld>
            <a:endParaRPr lang="en-US"/>
          </a:p>
        </p:txBody>
      </p:sp>
    </p:spTree>
    <p:extLst>
      <p:ext uri="{BB962C8B-B14F-4D97-AF65-F5344CB8AC3E}">
        <p14:creationId xmlns:p14="http://schemas.microsoft.com/office/powerpoint/2010/main" val="825715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NAWO champions women from all disciplines and at all levels across multiple industries and connects organisations to share knowledge and initiatives that foster truly inclusive workplaces and drive greater gender balance.</a:t>
            </a:r>
          </a:p>
          <a:p>
            <a:endParaRPr lang="en-US" dirty="0"/>
          </a:p>
          <a:p>
            <a:endParaRPr lang="en-US" dirty="0"/>
          </a:p>
          <a:p>
            <a:r>
              <a:rPr lang="en-US" b="1" dirty="0"/>
              <a:t>NEXT SLID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76892F-889D-9A48-A477-844709881A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505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NAWO programs are events are going online! and I do want to take this opportunity to remind members that they can register for the highly successful professional development program </a:t>
            </a:r>
            <a:r>
              <a:rPr lang="en-AU" sz="1200" kern="1200" dirty="0" err="1">
                <a:solidFill>
                  <a:schemeClr val="tx1"/>
                </a:solidFill>
                <a:effectLst/>
                <a:latin typeface="+mn-lt"/>
                <a:ea typeface="+mn-ea"/>
                <a:cs typeface="+mn-cs"/>
              </a:rPr>
              <a:t>CwA</a:t>
            </a:r>
            <a:r>
              <a:rPr lang="en-AU" sz="1200" kern="1200" dirty="0">
                <a:solidFill>
                  <a:schemeClr val="tx1"/>
                </a:solidFill>
                <a:effectLst/>
                <a:latin typeface="+mn-lt"/>
                <a:ea typeface="+mn-ea"/>
                <a:cs typeface="+mn-cs"/>
              </a:rPr>
              <a:t> – now Future Fit Leaders – online in the week May 4-8. </a:t>
            </a:r>
          </a:p>
          <a:p>
            <a:r>
              <a:rPr lang="en-AU" sz="1200" kern="1200" dirty="0">
                <a:solidFill>
                  <a:schemeClr val="tx1"/>
                </a:solidFill>
                <a:effectLst/>
                <a:latin typeface="+mn-lt"/>
                <a:ea typeface="+mn-ea"/>
                <a:cs typeface="+mn-cs"/>
              </a:rPr>
              <a:t>All the information is on our website – or call us.</a:t>
            </a:r>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6</a:t>
            </a:fld>
            <a:endParaRPr lang="en-US"/>
          </a:p>
        </p:txBody>
      </p:sp>
    </p:spTree>
    <p:extLst>
      <p:ext uri="{BB962C8B-B14F-4D97-AF65-F5344CB8AC3E}">
        <p14:creationId xmlns:p14="http://schemas.microsoft.com/office/powerpoint/2010/main" val="1766962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You don’t have to be a member of NAWO to be part of the conversation. Join us on any one of the social media channels here to stay abreast of our activities and get involved. If you are interested in membership though please get in touch or go to our website for more information.</a:t>
            </a:r>
          </a:p>
          <a:p>
            <a:r>
              <a:rPr lang="en-AU"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7</a:t>
            </a:fld>
            <a:endParaRPr lang="en-US"/>
          </a:p>
        </p:txBody>
      </p:sp>
    </p:spTree>
    <p:extLst>
      <p:ext uri="{BB962C8B-B14F-4D97-AF65-F5344CB8AC3E}">
        <p14:creationId xmlns:p14="http://schemas.microsoft.com/office/powerpoint/2010/main" val="253491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Now to our topic and agenda for this webinar  -  Workplaces as the new frontline: Family and Domestic Violence with COVID-19</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As essential as it is that we all work together to #</a:t>
            </a:r>
            <a:r>
              <a:rPr lang="en-AU" sz="1200" kern="1200" dirty="0" err="1">
                <a:solidFill>
                  <a:schemeClr val="tx1"/>
                </a:solidFill>
                <a:effectLst/>
                <a:latin typeface="+mn-lt"/>
                <a:ea typeface="+mn-ea"/>
                <a:cs typeface="+mn-cs"/>
              </a:rPr>
              <a:t>staysafe</a:t>
            </a:r>
            <a:r>
              <a:rPr lang="en-AU" sz="1200" kern="1200" dirty="0">
                <a:solidFill>
                  <a:schemeClr val="tx1"/>
                </a:solidFill>
                <a:effectLst/>
                <a:latin typeface="+mn-lt"/>
                <a:ea typeface="+mn-ea"/>
                <a:cs typeface="+mn-cs"/>
              </a:rPr>
              <a:t> and ‘flatten the curve’ by #</a:t>
            </a:r>
            <a:r>
              <a:rPr lang="en-AU" sz="1200" kern="1200" dirty="0" err="1">
                <a:solidFill>
                  <a:schemeClr val="tx1"/>
                </a:solidFill>
                <a:effectLst/>
                <a:latin typeface="+mn-lt"/>
                <a:ea typeface="+mn-ea"/>
                <a:cs typeface="+mn-cs"/>
              </a:rPr>
              <a:t>stayingathome</a:t>
            </a:r>
            <a:r>
              <a:rPr lang="en-AU" sz="1200" kern="1200" dirty="0">
                <a:solidFill>
                  <a:schemeClr val="tx1"/>
                </a:solidFill>
                <a:effectLst/>
                <a:latin typeface="+mn-lt"/>
                <a:ea typeface="+mn-ea"/>
                <a:cs typeface="+mn-cs"/>
              </a:rPr>
              <a:t> as much as we can during this pandemic, it is critical to acknowledge that many people and families are in a situation where the home is not a safe place.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Places of work and education as well as social ,religious, sporting and community venues are often safe havens for those affected by family and domestic violence, and these are no longer open.</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Economic uncertainty, anxiety, increased pressure on support services (as they too adjust to the context of COVID-19), and the increased isolation created by increasing social distancing measures may culminate in the perfect storm for many people.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Women’s Safety NSW has reported an increase in overall client numbers of 50% with more extreme violence and abuse as well as cases where abuse is erupting in relationships for the first time.</a:t>
            </a:r>
          </a:p>
          <a:p>
            <a:r>
              <a:rPr lang="en-AU" sz="1200" kern="1200" dirty="0">
                <a:solidFill>
                  <a:schemeClr val="tx1"/>
                </a:solidFill>
                <a:effectLst/>
                <a:latin typeface="+mn-lt"/>
                <a:ea typeface="+mn-ea"/>
                <a:cs typeface="+mn-cs"/>
              </a:rPr>
              <a:t>Now more than ever is the time for us to look out for one another and our objective today is to better enable each and every one of us to support people who may be at risk and provide an example of how, as employers, we can ensure support is accessible to employees during these unprecedented times.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The number of you who have registered today sends a very uplifting message of hope  - as you are all demonstrating your intent to prepare yourselves to provide the best support you can to people you know.</a:t>
            </a:r>
          </a:p>
          <a:p>
            <a:r>
              <a:rPr lang="en-AU"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8</a:t>
            </a:fld>
            <a:endParaRPr lang="en-US"/>
          </a:p>
        </p:txBody>
      </p:sp>
    </p:spTree>
    <p:extLst>
      <p:ext uri="{BB962C8B-B14F-4D97-AF65-F5344CB8AC3E}">
        <p14:creationId xmlns:p14="http://schemas.microsoft.com/office/powerpoint/2010/main" val="8848329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We are delighted to have the support of Gold NAWO member company Rio Tinto and Australia’s CEO Challenge, an organisation delivering workplace training programs to address DFV Australia wide and as of 2019, internationally.</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And it is my pleasure to introduce our speakers to you.</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Jacque </a:t>
            </a:r>
            <a:r>
              <a:rPr lang="en-AU" sz="1200" kern="1200" dirty="0" err="1">
                <a:solidFill>
                  <a:schemeClr val="tx1"/>
                </a:solidFill>
                <a:effectLst/>
                <a:latin typeface="+mn-lt"/>
                <a:ea typeface="+mn-ea"/>
                <a:cs typeface="+mn-cs"/>
              </a:rPr>
              <a:t>Lachmund</a:t>
            </a:r>
            <a:r>
              <a:rPr lang="en-AU" sz="1200" kern="1200" dirty="0">
                <a:solidFill>
                  <a:schemeClr val="tx1"/>
                </a:solidFill>
                <a:effectLst/>
                <a:latin typeface="+mn-lt"/>
                <a:ea typeface="+mn-ea"/>
                <a:cs typeface="+mn-cs"/>
              </a:rPr>
              <a:t> was appointed Chief Executive Officer (CEO) of Australia’s CEO Challenge in May 2016 and is an ambassador for change. Jacque gained in-depth knowledge and experience from within the domestic and family violence (DFV) sector and as a survivor she brings a lived workplace experience to the table.  Jacque is dedicated to educating and supporting businesses to make workplaces safer environments, where conversations about DFV can take place, without creating further stigma, shame and fear. </a:t>
            </a:r>
          </a:p>
          <a:p>
            <a:r>
              <a:rPr lang="en-AU" sz="1200" kern="1200" dirty="0">
                <a:solidFill>
                  <a:schemeClr val="tx1"/>
                </a:solidFill>
                <a:effectLst/>
                <a:latin typeface="+mn-lt"/>
                <a:ea typeface="+mn-ea"/>
                <a:cs typeface="+mn-cs"/>
              </a:rPr>
              <a:t>Her motto is “Together we can make an impact that matters”</a:t>
            </a:r>
          </a:p>
          <a:p>
            <a:r>
              <a:rPr lang="en-AU" sz="1200" kern="1200" dirty="0">
                <a:solidFill>
                  <a:schemeClr val="tx1"/>
                </a:solidFill>
                <a:effectLst/>
                <a:latin typeface="+mn-lt"/>
                <a:ea typeface="+mn-ea"/>
                <a:cs typeface="+mn-cs"/>
              </a:rPr>
              <a:t>Jacque was the Coordinator of Chisholm Women’s Refuge and the Chairperson for the Combined Women’s Refuge Group of Queensland during 2014 – 2015. Jacque believes that it is only through the combined and respectful effort of communities, workplaces, men, women and children, that positive change can occur. </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Chantelle is the Principal Advisor - Inclusion &amp; Diversity for Rio Tinto. She is responsible for design and delivery of programs that help to drive an inclusive workplace across the company. </a:t>
            </a:r>
          </a:p>
          <a:p>
            <a:r>
              <a:rPr lang="en-AU" sz="1200" kern="1200" dirty="0">
                <a:solidFill>
                  <a:schemeClr val="tx1"/>
                </a:solidFill>
                <a:effectLst/>
                <a:latin typeface="+mn-lt"/>
                <a:ea typeface="+mn-ea"/>
                <a:cs typeface="+mn-cs"/>
              </a:rPr>
              <a:t>Chantelle was integral in ensuring Rio Tinto (Australia) achieved White Ribbon Accreditation. She sits on the company’s White Ribbon Working Group and plays a key role in implementing initiatives across their global operations that aim to eradicate family and domestic violence. </a:t>
            </a:r>
          </a:p>
          <a:p>
            <a:r>
              <a:rPr lang="en-AU" sz="1200" kern="1200" dirty="0">
                <a:solidFill>
                  <a:schemeClr val="tx1"/>
                </a:solidFill>
                <a:effectLst/>
                <a:latin typeface="+mn-lt"/>
                <a:ea typeface="+mn-ea"/>
                <a:cs typeface="+mn-cs"/>
              </a:rPr>
              <a:t>With a career in Human Resources spanning nearly 20 years, Chantelle has operational human resource experience as well as specialist expertise in inclusion and diversity, talent, recruitment, and employee relations. </a:t>
            </a:r>
          </a:p>
          <a:p>
            <a:r>
              <a:rPr lang="en-AU" sz="1200" kern="1200" dirty="0">
                <a:solidFill>
                  <a:schemeClr val="tx1"/>
                </a:solidFill>
                <a:effectLst/>
                <a:latin typeface="+mn-lt"/>
                <a:ea typeface="+mn-ea"/>
                <a:cs typeface="+mn-cs"/>
              </a:rPr>
              <a:t>Chantelle is the Western Australian State Committee Chair for the National Association of Women in Operations (NAWO), a not-for-profit organization who promotes diversity in the resources sector and works towards the vision where women and men can be equally represented at every level. </a:t>
            </a:r>
          </a:p>
          <a:p>
            <a:r>
              <a:rPr lang="en-AU" sz="1200" kern="1200" dirty="0">
                <a:solidFill>
                  <a:schemeClr val="tx1"/>
                </a:solidFill>
                <a:effectLst/>
                <a:latin typeface="+mn-lt"/>
                <a:ea typeface="+mn-ea"/>
                <a:cs typeface="+mn-cs"/>
              </a:rPr>
              <a:t>Chantelle is also an External Relations Sub-Committee Member and General Committee Member for the </a:t>
            </a:r>
            <a:r>
              <a:rPr lang="en-AU" sz="1200" kern="1200" dirty="0" err="1">
                <a:solidFill>
                  <a:schemeClr val="tx1"/>
                </a:solidFill>
                <a:effectLst/>
                <a:latin typeface="+mn-lt"/>
                <a:ea typeface="+mn-ea"/>
                <a:cs typeface="+mn-cs"/>
              </a:rPr>
              <a:t>Zonta</a:t>
            </a:r>
            <a:r>
              <a:rPr lang="en-AU" sz="1200" kern="1200" dirty="0">
                <a:solidFill>
                  <a:schemeClr val="tx1"/>
                </a:solidFill>
                <a:effectLst/>
                <a:latin typeface="+mn-lt"/>
                <a:ea typeface="+mn-ea"/>
                <a:cs typeface="+mn-cs"/>
              </a:rPr>
              <a:t> House Refuge Association, a not-for-profit who provides refuge and transitional accommodation, holistic support services and education to women who have experienced, or at risk of experiencing, family and domestic violence. </a:t>
            </a:r>
          </a:p>
          <a:p>
            <a:endParaRPr lang="en-US" dirty="0"/>
          </a:p>
          <a:p>
            <a:r>
              <a:rPr lang="en-AU" sz="1200" kern="1200" dirty="0">
                <a:solidFill>
                  <a:schemeClr val="tx1"/>
                </a:solidFill>
                <a:effectLst/>
                <a:latin typeface="+mn-lt"/>
                <a:ea typeface="+mn-ea"/>
                <a:cs typeface="+mn-cs"/>
              </a:rPr>
              <a:t>Before Jacque commences I would like to launch our first Poll</a:t>
            </a:r>
          </a:p>
          <a:p>
            <a:r>
              <a:rPr lang="en-AU" sz="1200" kern="1200" dirty="0">
                <a:solidFill>
                  <a:schemeClr val="tx1"/>
                </a:solidFill>
                <a:effectLst/>
                <a:latin typeface="+mn-lt"/>
                <a:ea typeface="+mn-ea"/>
                <a:cs typeface="+mn-cs"/>
              </a:rPr>
              <a:t> </a:t>
            </a:r>
          </a:p>
          <a:p>
            <a:r>
              <a:rPr lang="en-AU" sz="1200" kern="1200" dirty="0">
                <a:solidFill>
                  <a:schemeClr val="tx1"/>
                </a:solidFill>
                <a:effectLst/>
                <a:latin typeface="+mn-lt"/>
                <a:ea typeface="+mn-ea"/>
                <a:cs typeface="+mn-cs"/>
              </a:rPr>
              <a:t>I know you will all feel a lot more confident about addressing concerns after listening to Jacque – over to you Jacque.</a:t>
            </a:r>
          </a:p>
          <a:p>
            <a:endParaRPr lang="en-US" dirty="0"/>
          </a:p>
        </p:txBody>
      </p:sp>
      <p:sp>
        <p:nvSpPr>
          <p:cNvPr id="4" name="Slide Number Placeholder 3"/>
          <p:cNvSpPr>
            <a:spLocks noGrp="1"/>
          </p:cNvSpPr>
          <p:nvPr>
            <p:ph type="sldNum" sz="quarter" idx="5"/>
          </p:nvPr>
        </p:nvSpPr>
        <p:spPr/>
        <p:txBody>
          <a:bodyPr/>
          <a:lstStyle/>
          <a:p>
            <a:fld id="{A376892F-889D-9A48-A477-844709881A46}" type="slidenum">
              <a:rPr lang="en-US" smtClean="0"/>
              <a:t>9</a:t>
            </a:fld>
            <a:endParaRPr lang="en-US"/>
          </a:p>
        </p:txBody>
      </p:sp>
    </p:spTree>
    <p:extLst>
      <p:ext uri="{BB962C8B-B14F-4D97-AF65-F5344CB8AC3E}">
        <p14:creationId xmlns:p14="http://schemas.microsoft.com/office/powerpoint/2010/main" val="3728642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09643-3F7C-8742-A470-8A54B7430D9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286B68C3-D406-0D4B-9EAA-A3C4EEAED1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E71081B-18FA-A748-8580-95345562E424}"/>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EB813C9F-073E-7646-9A96-B75C7ACBB2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9A08A-BDE4-5A4E-BF20-821A691A13FA}"/>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10825587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0E38A-E1ED-254A-A253-6534A6E143E0}"/>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2666B71-A020-0749-9A7C-D99187C3827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22DFB43-2CC1-0443-8ED7-396BCC98FCF5}"/>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65C95DCD-DBF0-8243-8CCE-A44FBCC56B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64301F-C15D-A04B-A6A7-5CFA904BDF9B}"/>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3362265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Image &amp; Quotation">
    <p:spTree>
      <p:nvGrpSpPr>
        <p:cNvPr id="1" name=""/>
        <p:cNvGrpSpPr/>
        <p:nvPr/>
      </p:nvGrpSpPr>
      <p:grpSpPr>
        <a:xfrm>
          <a:off x="0" y="0"/>
          <a:ext cx="0" cy="0"/>
          <a:chOff x="0" y="0"/>
          <a:chExt cx="0" cy="0"/>
        </a:xfrm>
      </p:grpSpPr>
      <p:sp>
        <p:nvSpPr>
          <p:cNvPr id="10" name="Text Placeholder 17"/>
          <p:cNvSpPr>
            <a:spLocks noGrp="1"/>
          </p:cNvSpPr>
          <p:nvPr>
            <p:ph type="body" sz="quarter" idx="18"/>
          </p:nvPr>
        </p:nvSpPr>
        <p:spPr>
          <a:xfrm>
            <a:off x="334962" y="1657351"/>
            <a:ext cx="3752851" cy="4438650"/>
          </a:xfrm>
          <a:solidFill>
            <a:schemeClr val="accent4"/>
          </a:solidFill>
        </p:spPr>
        <p:txBody>
          <a:bodyPr lIns="684000" tIns="144000" rIns="54000" bIns="54000">
            <a:normAutofit/>
          </a:bodyPr>
          <a:lstStyle>
            <a:lvl1pPr>
              <a:defRPr sz="2800" b="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Picture Placeholder 14"/>
          <p:cNvSpPr>
            <a:spLocks noGrp="1"/>
          </p:cNvSpPr>
          <p:nvPr>
            <p:ph type="pic" sz="quarter" idx="11"/>
          </p:nvPr>
        </p:nvSpPr>
        <p:spPr>
          <a:xfrm>
            <a:off x="4260850" y="1657350"/>
            <a:ext cx="3654425" cy="4438650"/>
          </a:xfrm>
          <a:solidFill>
            <a:schemeClr val="bg1">
              <a:lumMod val="95000"/>
            </a:schemeClr>
          </a:solidFill>
        </p:spPr>
        <p:txBody>
          <a:bodyPr anchor="ctr"/>
          <a:lstStyle>
            <a:lvl1pPr algn="ctr">
              <a:defRPr>
                <a:solidFill>
                  <a:schemeClr val="tx1"/>
                </a:solidFill>
                <a:latin typeface="+mn-lt"/>
              </a:defRPr>
            </a:lvl1pPr>
          </a:lstStyle>
          <a:p>
            <a:endParaRPr lang="en-GB" dirty="0"/>
          </a:p>
        </p:txBody>
      </p:sp>
      <p:sp>
        <p:nvSpPr>
          <p:cNvPr id="2" name="Title 1"/>
          <p:cNvSpPr>
            <a:spLocks noGrp="1"/>
          </p:cNvSpPr>
          <p:nvPr>
            <p:ph type="title"/>
          </p:nvPr>
        </p:nvSpPr>
        <p:spPr/>
        <p:txBody>
          <a:bodyPr/>
          <a:lstStyle>
            <a:lvl1pPr>
              <a:defRPr>
                <a:latin typeface="+mn-lt"/>
              </a:defRPr>
            </a:lvl1pPr>
          </a:lstStyle>
          <a:p>
            <a:r>
              <a:rPr lang="en-US" dirty="0"/>
              <a:t>Click to edit Master title style</a:t>
            </a:r>
            <a:endParaRPr lang="en-GB" dirty="0"/>
          </a:p>
        </p:txBody>
      </p:sp>
      <p:sp>
        <p:nvSpPr>
          <p:cNvPr id="22" name="Content Placeholder 2"/>
          <p:cNvSpPr>
            <a:spLocks noGrp="1"/>
          </p:cNvSpPr>
          <p:nvPr>
            <p:ph idx="14"/>
          </p:nvPr>
        </p:nvSpPr>
        <p:spPr>
          <a:xfrm>
            <a:off x="8111506" y="1661686"/>
            <a:ext cx="3745532"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Content Placeholder 2"/>
          <p:cNvSpPr>
            <a:spLocks noGrp="1"/>
          </p:cNvSpPr>
          <p:nvPr>
            <p:ph idx="15"/>
          </p:nvPr>
        </p:nvSpPr>
        <p:spPr>
          <a:xfrm>
            <a:off x="8111506" y="3976261"/>
            <a:ext cx="3745532"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6"/>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9" name="Text Placeholder 6"/>
          <p:cNvSpPr>
            <a:spLocks noGrp="1"/>
          </p:cNvSpPr>
          <p:nvPr>
            <p:ph type="body" sz="quarter" idx="19"/>
          </p:nvPr>
        </p:nvSpPr>
        <p:spPr>
          <a:xfrm>
            <a:off x="4260849" y="6123760"/>
            <a:ext cx="3654425"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4" name="Date Placeholder 3"/>
          <p:cNvSpPr>
            <a:spLocks noGrp="1"/>
          </p:cNvSpPr>
          <p:nvPr>
            <p:ph type="dt" sz="half" idx="20"/>
          </p:nvPr>
        </p:nvSpPr>
        <p:spPr/>
        <p:txBody>
          <a:bodyPr/>
          <a:lstStyle/>
          <a:p>
            <a:fld id="{37121622-224F-4604-A649-8C2A91702D82}" type="datetime9">
              <a:rPr lang="en-GB" smtClean="0">
                <a:solidFill>
                  <a:srgbClr val="000000"/>
                </a:solidFill>
              </a:rPr>
              <a:pPr/>
              <a:t>15/04/2020 12:03:24</a:t>
            </a:fld>
            <a:endParaRPr lang="en-GB" dirty="0">
              <a:solidFill>
                <a:srgbClr val="000000"/>
              </a:solidFill>
            </a:endParaRPr>
          </a:p>
        </p:txBody>
      </p:sp>
    </p:spTree>
    <p:extLst>
      <p:ext uri="{BB962C8B-B14F-4D97-AF65-F5344CB8AC3E}">
        <p14:creationId xmlns:p14="http://schemas.microsoft.com/office/powerpoint/2010/main" val="344650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2"/>
          </p:nvPr>
        </p:nvSpPr>
        <p:spPr/>
        <p:txBody>
          <a:bodyPr/>
          <a:lstStyle/>
          <a:p>
            <a:fld id="{7D978D20-D3D9-46CE-9A79-0EA980CA8FF7}" type="datetime9">
              <a:rPr lang="en-GB" smtClean="0">
                <a:solidFill>
                  <a:srgbClr val="000000"/>
                </a:solidFill>
              </a:rPr>
              <a:pPr/>
              <a:t>15/04/2020 12:03:24</a:t>
            </a:fld>
            <a:endParaRPr lang="en-GB" dirty="0">
              <a:solidFill>
                <a:srgbClr val="000000"/>
              </a:solidFill>
            </a:endParaRPr>
          </a:p>
        </p:txBody>
      </p:sp>
    </p:spTree>
    <p:extLst>
      <p:ext uri="{BB962C8B-B14F-4D97-AF65-F5344CB8AC3E}">
        <p14:creationId xmlns:p14="http://schemas.microsoft.com/office/powerpoint/2010/main" val="17685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and Footer Only">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2"/>
          </p:nvPr>
        </p:nvSpPr>
        <p:spPr/>
        <p:txBody>
          <a:bodyPr/>
          <a:lstStyle/>
          <a:p>
            <a:fld id="{359E7212-0A09-42F7-A362-C10644E0B697}" type="datetime9">
              <a:rPr lang="en-GB" smtClean="0">
                <a:solidFill>
                  <a:srgbClr val="000000"/>
                </a:solidFill>
              </a:rPr>
              <a:pPr/>
              <a:t>15/04/2020 12:03:24</a:t>
            </a:fld>
            <a:endParaRPr lang="en-GB" dirty="0">
              <a:solidFill>
                <a:srgbClr val="000000"/>
              </a:solidFill>
            </a:endParaRPr>
          </a:p>
        </p:txBody>
      </p:sp>
    </p:spTree>
    <p:extLst>
      <p:ext uri="{BB962C8B-B14F-4D97-AF65-F5344CB8AC3E}">
        <p14:creationId xmlns:p14="http://schemas.microsoft.com/office/powerpoint/2010/main" val="52482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08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EE81FE-3913-924F-B4FE-87950A984F8B}"/>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DD2793C-4D7E-C641-B3AC-1B6B4714D35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C537740-06CB-0C48-9358-0113D89A3460}"/>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15AE40E1-FB6B-3C48-A5C8-46E4F2F234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62208B-BB59-5548-AA25-0CC1EC38AF7F}"/>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2038026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Freeform 6"/>
          <p:cNvSpPr/>
          <p:nvPr/>
        </p:nvSpPr>
        <p:spPr bwMode="auto">
          <a:xfrm>
            <a:off x="0" y="-3175"/>
            <a:ext cx="12192000" cy="5203825"/>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a:effectLst/>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810001" y="1449149"/>
            <a:ext cx="10572000" cy="2971051"/>
          </a:xfrm>
        </p:spPr>
        <p:txBody>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1EE9517-8E69-4FF1-9294-E1E54A394BAE}"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650395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1" y="447188"/>
            <a:ext cx="10571999" cy="970450"/>
          </a:xfrm>
        </p:spPr>
        <p:txBody>
          <a:bodyPr/>
          <a:lstStyle/>
          <a:p>
            <a:r>
              <a:rPr lang="en-US"/>
              <a:t>Click to edit Master title style</a:t>
            </a:r>
            <a:endParaRPr lang="en-US" dirty="0"/>
          </a:p>
        </p:txBody>
      </p:sp>
      <p:sp>
        <p:nvSpPr>
          <p:cNvPr id="3" name="Content Placeholder 2"/>
          <p:cNvSpPr>
            <a:spLocks noGrp="1"/>
          </p:cNvSpPr>
          <p:nvPr>
            <p:ph idx="1"/>
          </p:nvPr>
        </p:nvSpPr>
        <p:spPr>
          <a:xfrm>
            <a:off x="818713" y="2222287"/>
            <a:ext cx="10554575" cy="36365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C1A8E48-174D-4FEB-9E49-805E25B6E4DE}"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0873187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3"/>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9" cy="1468800"/>
          </a:xfrm>
        </p:spPr>
        <p:txBody>
          <a:bodyPr anchor="b"/>
          <a:lstStyle>
            <a:lvl1pPr algn="r">
              <a:defRPr sz="4800" b="1" cap="none"/>
            </a:lvl1pPr>
          </a:lstStyle>
          <a:p>
            <a:r>
              <a:rPr lang="en-US"/>
              <a:t>Click to edit Master title style</a:t>
            </a:r>
            <a:endParaRPr lang="en-US" dirty="0"/>
          </a:p>
        </p:txBody>
      </p:sp>
      <p:sp>
        <p:nvSpPr>
          <p:cNvPr id="3" name="Text Placeholder 2"/>
          <p:cNvSpPr>
            <a:spLocks noGrp="1"/>
          </p:cNvSpPr>
          <p:nvPr>
            <p:ph type="body" idx="1"/>
          </p:nvPr>
        </p:nvSpPr>
        <p:spPr>
          <a:xfrm>
            <a:off x="810000" y="5281203"/>
            <a:ext cx="10561419" cy="433955"/>
          </a:xfrm>
        </p:spPr>
        <p:txBody>
          <a:bodyPr anchor="t">
            <a:noAutofit/>
          </a:bodyPr>
          <a:lstStyle>
            <a:lvl1pPr marL="0" indent="0" algn="r">
              <a:buNone/>
              <a:defRPr sz="18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78E718-7869-4C6F-963F-37646651C408}"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5780932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18713" y="2222289"/>
            <a:ext cx="5185873" cy="363876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7417" y="2222287"/>
            <a:ext cx="5194583" cy="363876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BAC8F81-CFCC-4380-95A1-3EA40326D83F}" type="datetime1">
              <a:rPr lang="en-US" smtClean="0"/>
              <a:t>4/15/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458588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814729" y="2174875"/>
            <a:ext cx="5189857" cy="576262"/>
          </a:xfrm>
        </p:spPr>
        <p:txBody>
          <a:bodyPr anchor="b">
            <a:noAutofit/>
          </a:bodyPr>
          <a:lstStyle>
            <a:lvl1pPr marL="0" indent="0" algn="ctr">
              <a:buNone/>
              <a:defRPr sz="20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14729" y="2751140"/>
            <a:ext cx="5189856" cy="3109913"/>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7417" y="2174875"/>
            <a:ext cx="5194583" cy="576262"/>
          </a:xfrm>
        </p:spPr>
        <p:txBody>
          <a:bodyPr anchor="b">
            <a:noAutofit/>
          </a:bodyPr>
          <a:lstStyle>
            <a:lvl1pPr marL="0" indent="0" algn="ctr">
              <a:buNone/>
              <a:defRPr sz="20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7417" y="2751140"/>
            <a:ext cx="5194583" cy="3109913"/>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4F3D059-B916-4F7C-A4ED-4054F320AB5E}" type="datetime1">
              <a:rPr lang="en-US" smtClean="0"/>
              <a:t>4/15/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9256372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7DC09DA-8BB6-47A9-8041-F86B534ABC44}" type="datetime1">
              <a:rPr lang="en-US" smtClean="0"/>
              <a:t>4/15/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248080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AED52A-4DB9-477E-8FA6-EFA1723225C0}" type="datetime1">
              <a:rPr lang="en-US" smtClean="0"/>
              <a:t>4/1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488427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2" y="446089"/>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2" y="446088"/>
            <a:ext cx="3547533" cy="1618396"/>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855634" y="446090"/>
            <a:ext cx="6252633" cy="541496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73152" y="2260740"/>
            <a:ext cx="3547533" cy="3600311"/>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6395BC2-041D-4BFD-90E5-0281AA95C4F8}" type="datetime1">
              <a:rPr lang="en-US" smtClean="0"/>
              <a:t>4/15/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53187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7D2C9-25A4-2D42-A8E4-A81DF2515F6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A5DB201-535B-D947-B31C-9ECA3D28E41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82AE982-5640-1E49-BED1-67F55D970B72}"/>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DE54B752-4246-9F43-BADC-D2307F1A2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49CABC-7F9A-5E40-9835-91D067F5EA74}"/>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2333346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9" y="727524"/>
            <a:ext cx="4852988" cy="1617163"/>
          </a:xfrm>
        </p:spPr>
        <p:txBody>
          <a:bodyPr anchor="b">
            <a:normAutofit/>
          </a:bodyPr>
          <a:lstStyle>
            <a:lvl1pPr algn="l">
              <a:defRPr sz="2400" b="0"/>
            </a:lvl1pPr>
          </a:lstStyle>
          <a:p>
            <a:r>
              <a:rPr lang="en-US"/>
              <a:t>Click to edit Master title style</a:t>
            </a:r>
            <a:endParaRPr lang="en-US" dirty="0"/>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endParaRPr lang="en-US" dirty="0"/>
          </a:p>
        </p:txBody>
      </p:sp>
      <p:sp>
        <p:nvSpPr>
          <p:cNvPr id="4" name="Text Placeholder 3"/>
          <p:cNvSpPr>
            <a:spLocks noGrp="1"/>
          </p:cNvSpPr>
          <p:nvPr>
            <p:ph type="body" sz="half" idx="2"/>
          </p:nvPr>
        </p:nvSpPr>
        <p:spPr>
          <a:xfrm>
            <a:off x="814729" y="2344684"/>
            <a:ext cx="4852988" cy="3516365"/>
          </a:xfrm>
        </p:spPr>
        <p:txBody>
          <a:bodyPr anchor="t">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3885811" y="6041364"/>
            <a:ext cx="976879" cy="365125"/>
          </a:xfrm>
        </p:spPr>
        <p:txBody>
          <a:bodyPr/>
          <a:lstStyle/>
          <a:p>
            <a:fld id="{99882C83-E2E7-4E14-8989-44350B9DDE3D}" type="datetime1">
              <a:rPr lang="en-US" smtClean="0"/>
              <a:t>4/15/20</a:t>
            </a:fld>
            <a:endParaRPr lang="en-US" dirty="0"/>
          </a:p>
        </p:txBody>
      </p:sp>
      <p:sp>
        <p:nvSpPr>
          <p:cNvPr id="6" name="Footer Placeholder 5"/>
          <p:cNvSpPr>
            <a:spLocks noGrp="1"/>
          </p:cNvSpPr>
          <p:nvPr>
            <p:ph type="ftr" sz="quarter" idx="11"/>
          </p:nvPr>
        </p:nvSpPr>
        <p:spPr>
          <a:xfrm>
            <a:off x="590396" y="6041364"/>
            <a:ext cx="3295413" cy="365125"/>
          </a:xfrm>
        </p:spPr>
        <p:txBody>
          <a:bodyPr/>
          <a:lstStyle/>
          <a:p>
            <a:endParaRPr lang="en-US" dirty="0"/>
          </a:p>
        </p:txBody>
      </p:sp>
      <p:sp>
        <p:nvSpPr>
          <p:cNvPr id="7" name="Slide Number Placeholder 6"/>
          <p:cNvSpPr>
            <a:spLocks noGrp="1"/>
          </p:cNvSpPr>
          <p:nvPr>
            <p:ph type="sldNum" sz="quarter" idx="12"/>
          </p:nvPr>
        </p:nvSpPr>
        <p:spPr>
          <a:xfrm>
            <a:off x="4862689" y="5915890"/>
            <a:ext cx="1062155" cy="490599"/>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7906344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9" cy="566738"/>
          </a:xfrm>
        </p:spPr>
        <p:txBody>
          <a:bodyPr anchor="b">
            <a:normAutofit/>
          </a:bodyPr>
          <a:lstStyle>
            <a:lvl1pPr algn="l">
              <a:defRPr sz="2400" b="0"/>
            </a:lvl1pPr>
          </a:lstStyle>
          <a:p>
            <a:r>
              <a:rPr lang="en-US"/>
              <a:t>Click to edit Master title style</a:t>
            </a:r>
            <a:endParaRPr lang="en-US" dirty="0"/>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endParaRPr lang="en-US" dirty="0"/>
          </a:p>
        </p:txBody>
      </p:sp>
      <p:sp>
        <p:nvSpPr>
          <p:cNvPr id="4" name="Text Placeholder 3"/>
          <p:cNvSpPr>
            <a:spLocks noGrp="1"/>
          </p:cNvSpPr>
          <p:nvPr>
            <p:ph type="body" sz="half" idx="2"/>
          </p:nvPr>
        </p:nvSpPr>
        <p:spPr>
          <a:xfrm>
            <a:off x="810000" y="5367338"/>
            <a:ext cx="10561419" cy="493712"/>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02DEFFE-95A2-43FF-99D5-6E7D22FB0B88}" type="datetime1">
              <a:rPr lang="en-US" smtClean="0"/>
              <a:t>4/15/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4909200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endParaRPr lang="en-US" dirty="0"/>
          </a:p>
        </p:txBody>
      </p:sp>
      <p:sp>
        <p:nvSpPr>
          <p:cNvPr id="3" name="Text Placeholder 2"/>
          <p:cNvSpPr>
            <a:spLocks noGrp="1"/>
          </p:cNvSpPr>
          <p:nvPr>
            <p:ph type="body" idx="1"/>
          </p:nvPr>
        </p:nvSpPr>
        <p:spPr>
          <a:xfrm>
            <a:off x="853191" y="4443682"/>
            <a:ext cx="5891636" cy="713241"/>
          </a:xfrm>
        </p:spPr>
        <p:txBody>
          <a:bodyPr anchor="t">
            <a:noAutofit/>
          </a:bodyPr>
          <a:lstStyle>
            <a:lvl1pPr marL="0" indent="0" algn="l">
              <a:buNone/>
              <a:defRPr sz="18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9" name="Text Placeholder 5"/>
          <p:cNvSpPr>
            <a:spLocks noGrp="1"/>
          </p:cNvSpPr>
          <p:nvPr>
            <p:ph type="body" sz="quarter" idx="16"/>
          </p:nvPr>
        </p:nvSpPr>
        <p:spPr>
          <a:xfrm>
            <a:off x="7574644" y="1081458"/>
            <a:ext cx="3810001" cy="4075465"/>
          </a:xfrm>
        </p:spPr>
        <p:txBody>
          <a:bodyPr anchor="t"/>
          <a:lstStyle>
            <a:lvl1pPr marL="0" indent="0">
              <a:buFontTx/>
              <a:buNone/>
              <a:defRPr/>
            </a:lvl1pPr>
          </a:lstStyle>
          <a:p>
            <a:pPr lvl="0"/>
            <a:r>
              <a:rPr lang="en-US"/>
              <a:t>Click to edit Master text styles</a:t>
            </a:r>
          </a:p>
        </p:txBody>
      </p:sp>
      <p:sp>
        <p:nvSpPr>
          <p:cNvPr id="4" name="Date Placeholder 3"/>
          <p:cNvSpPr>
            <a:spLocks noGrp="1"/>
          </p:cNvSpPr>
          <p:nvPr>
            <p:ph type="dt" sz="half" idx="10"/>
          </p:nvPr>
        </p:nvSpPr>
        <p:spPr/>
        <p:txBody>
          <a:bodyPr/>
          <a:lstStyle/>
          <a:p>
            <a:fld id="{B028F6ED-3CC4-4AFC-845E-EA395F55A80F}"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552573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5"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90" y="2435959"/>
            <a:ext cx="4382521" cy="2007789"/>
          </a:xfrm>
        </p:spPr>
        <p:txBody>
          <a:bodyPr/>
          <a:lstStyle>
            <a:lvl1pPr>
              <a:defRPr sz="3200"/>
            </a:lvl1pPr>
          </a:lstStyle>
          <a:p>
            <a:r>
              <a:rPr lang="en-US"/>
              <a:t>Click to edit Master title style</a:t>
            </a:r>
            <a:endParaRPr lang="en-US" dirty="0"/>
          </a:p>
        </p:txBody>
      </p:sp>
      <p:sp>
        <p:nvSpPr>
          <p:cNvPr id="6" name="Text Placeholder 5"/>
          <p:cNvSpPr>
            <a:spLocks noGrp="1"/>
          </p:cNvSpPr>
          <p:nvPr>
            <p:ph type="body" sz="quarter" idx="16"/>
          </p:nvPr>
        </p:nvSpPr>
        <p:spPr>
          <a:xfrm>
            <a:off x="6156001" y="2286002"/>
            <a:ext cx="4880300" cy="2295525"/>
          </a:xfrm>
        </p:spPr>
        <p:txBody>
          <a:bodyPr anchor="t"/>
          <a:lstStyle>
            <a:lvl1pPr marL="0" indent="0">
              <a:buFontTx/>
              <a:buNone/>
              <a:defRPr/>
            </a:lvl1pPr>
          </a:lstStyle>
          <a:p>
            <a:pPr lvl="0"/>
            <a:r>
              <a:rPr lang="en-US"/>
              <a:t>Click to edit Master text styles</a:t>
            </a:r>
          </a:p>
        </p:txBody>
      </p:sp>
      <p:sp>
        <p:nvSpPr>
          <p:cNvPr id="2" name="Date Placeholder 1"/>
          <p:cNvSpPr>
            <a:spLocks noGrp="1"/>
          </p:cNvSpPr>
          <p:nvPr>
            <p:ph type="dt" sz="half" idx="10"/>
          </p:nvPr>
        </p:nvSpPr>
        <p:spPr/>
        <p:txBody>
          <a:bodyPr/>
          <a:lstStyle/>
          <a:p>
            <a:fld id="{2E898A29-D8FB-46E0-94ED-76B45654629F}" type="datetime1">
              <a:rPr lang="en-US" smtClean="0"/>
              <a:t>4/1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35447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A8BF942-E3E4-447D-BFAE-5B5B25F76F4C}"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70928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2"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2" y="586171"/>
            <a:ext cx="2494791" cy="51347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10002" y="446089"/>
            <a:ext cx="6611540" cy="5414962"/>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B54C4CE-C594-4506-B364-99EFEEFBB023}" type="datetime1">
              <a:rPr lang="en-US" smtClean="0"/>
              <a:t>4/15/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916252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236336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ong 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5"/>
            <a:ext cx="7240213" cy="3202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342858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88165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ng Title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5"/>
            <a:ext cx="7240213" cy="32024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375285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3E860-BE13-3246-B251-0648AE4894D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27CC537-7F49-9844-B4D1-84E82D45B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4E61215-BED1-7543-945E-7B2DC86762F5}"/>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BC2EC52F-DED0-054F-A7DB-CACEF333B9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955991-21CF-2C45-93BA-BC61F0BC8389}"/>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2471828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18376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ong Title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5"/>
            <a:ext cx="7240213" cy="32024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67149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268224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ong Title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5"/>
            <a:ext cx="7240213" cy="32024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248151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Rub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350159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ong Title Slide Rub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334964" y="756745"/>
            <a:ext cx="7240213" cy="32024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185221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4" y="756745"/>
            <a:ext cx="5267324" cy="32024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8" y="2940186"/>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8" y="1514751"/>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8"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24300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ong Title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5"/>
            <a:ext cx="7240213" cy="32024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6"/>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51"/>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4" y="756745"/>
            <a:ext cx="1930415" cy="705600"/>
          </a:xfrm>
          <a:prstGeom prst="rect">
            <a:avLst/>
          </a:prstGeom>
        </p:spPr>
      </p:pic>
    </p:spTree>
    <p:extLst>
      <p:ext uri="{BB962C8B-B14F-4D97-AF65-F5344CB8AC3E}">
        <p14:creationId xmlns:p14="http://schemas.microsoft.com/office/powerpoint/2010/main" val="206551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4" y="756749"/>
            <a:ext cx="7240213" cy="1433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4577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334964" y="756749"/>
            <a:ext cx="7240213" cy="1433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9"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95726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BC8B1-9FA3-A044-B973-B8AD9479E1D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D994562-6FAC-B64D-BA8D-B77A54C315E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2C609820-F279-7342-B376-32775901779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7BBB820-665F-C44A-AF7D-B5596BFA9715}"/>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6" name="Footer Placeholder 5">
            <a:extLst>
              <a:ext uri="{FF2B5EF4-FFF2-40B4-BE49-F238E27FC236}">
                <a16:creationId xmlns:a16="http://schemas.microsoft.com/office/drawing/2014/main" id="{0EE047F3-C937-1648-86A4-1D1EA27DA5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BA808-2F6B-C048-A1F0-EFEE565F1249}"/>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13117630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4" y="756749"/>
            <a:ext cx="7240213" cy="1433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143061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4" y="756749"/>
            <a:ext cx="7240213" cy="1433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07273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Rub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3" y="704598"/>
            <a:ext cx="4523640" cy="1433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4243019"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58910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4" y="756749"/>
            <a:ext cx="7240213" cy="143364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34743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a:t>Click to edit Master title style</a:t>
            </a:r>
            <a:endParaRPr lang="en-GB"/>
          </a:p>
        </p:txBody>
      </p:sp>
      <p:sp>
        <p:nvSpPr>
          <p:cNvPr id="8" name="Slide Number Placeholder 7"/>
          <p:cNvSpPr>
            <a:spLocks noGrp="1"/>
          </p:cNvSpPr>
          <p:nvPr>
            <p:ph type="sldNum" sz="quarter" idx="13"/>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7"/>
          </p:nvPr>
        </p:nvSpPr>
        <p:spPr/>
        <p:txBody>
          <a:bodyPr/>
          <a:lstStyle/>
          <a:p>
            <a:fld id="{F70290F4-3857-4872-8AE4-DA58ED8B3950}" type="datetime9">
              <a:rPr lang="en-GB" smtClean="0">
                <a:solidFill>
                  <a:srgbClr val="000000"/>
                </a:solidFill>
              </a:rPr>
              <a:pPr/>
              <a:t>15/04/2020 12:03:21</a:t>
            </a:fld>
            <a:endParaRPr lang="en-GB" dirty="0">
              <a:solidFill>
                <a:srgbClr val="000000"/>
              </a:solidFill>
            </a:endParaRPr>
          </a:p>
        </p:txBody>
      </p:sp>
      <p:sp>
        <p:nvSpPr>
          <p:cNvPr id="6" name="Content Placeholder 2"/>
          <p:cNvSpPr>
            <a:spLocks noGrp="1"/>
          </p:cNvSpPr>
          <p:nvPr>
            <p:ph sz="quarter" idx="16"/>
          </p:nvPr>
        </p:nvSpPr>
        <p:spPr>
          <a:xfrm>
            <a:off x="339111" y="1661686"/>
            <a:ext cx="11517931" cy="4438650"/>
          </a:xfrm>
        </p:spPr>
        <p:txBody>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091713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6" name="Content Placeholder 2"/>
          <p:cNvSpPr>
            <a:spLocks noGrp="1"/>
          </p:cNvSpPr>
          <p:nvPr>
            <p:ph idx="1"/>
          </p:nvPr>
        </p:nvSpPr>
        <p:spPr>
          <a:xfrm>
            <a:off x="339106" y="1661686"/>
            <a:ext cx="5671170" cy="443431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2"/>
          <p:cNvSpPr>
            <a:spLocks noGrp="1"/>
          </p:cNvSpPr>
          <p:nvPr>
            <p:ph idx="10"/>
          </p:nvPr>
        </p:nvSpPr>
        <p:spPr>
          <a:xfrm>
            <a:off x="6193059" y="1661686"/>
            <a:ext cx="5671170" cy="443431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1"/>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2"/>
          </p:nvPr>
        </p:nvSpPr>
        <p:spPr/>
        <p:txBody>
          <a:bodyPr/>
          <a:lstStyle/>
          <a:p>
            <a:fld id="{2060C962-51B4-4A11-8D76-DBDADE6EAB81}"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90728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8" name="Content Placeholder 2"/>
          <p:cNvSpPr>
            <a:spLocks noGrp="1"/>
          </p:cNvSpPr>
          <p:nvPr>
            <p:ph idx="1"/>
          </p:nvPr>
        </p:nvSpPr>
        <p:spPr>
          <a:xfrm>
            <a:off x="339106" y="1661690"/>
            <a:ext cx="5671170"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1"/>
          </p:nvPr>
        </p:nvSpPr>
        <p:spPr>
          <a:xfrm>
            <a:off x="339106" y="3974585"/>
            <a:ext cx="5671170"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idx="12"/>
          </p:nvPr>
        </p:nvSpPr>
        <p:spPr>
          <a:xfrm>
            <a:off x="6193059" y="1661686"/>
            <a:ext cx="5671170" cy="443263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3"/>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4"/>
          </p:nvPr>
        </p:nvSpPr>
        <p:spPr/>
        <p:txBody>
          <a:bodyPr/>
          <a:lstStyle/>
          <a:p>
            <a:fld id="{00FEB55F-AD44-4E77-ADD5-3355BF7AEF02}"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19951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Image and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37345" y="6123763"/>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9" name="Picture Placeholder 5"/>
          <p:cNvSpPr>
            <a:spLocks noGrp="1"/>
          </p:cNvSpPr>
          <p:nvPr>
            <p:ph type="pic" sz="quarter" idx="14"/>
          </p:nvPr>
        </p:nvSpPr>
        <p:spPr>
          <a:xfrm>
            <a:off x="33734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1" name="Content Placeholder 2"/>
          <p:cNvSpPr>
            <a:spLocks noGrp="1"/>
          </p:cNvSpPr>
          <p:nvPr>
            <p:ph idx="15"/>
          </p:nvPr>
        </p:nvSpPr>
        <p:spPr>
          <a:xfrm>
            <a:off x="4310396" y="1657350"/>
            <a:ext cx="7547589" cy="4438800"/>
          </a:xfrm>
        </p:spPr>
        <p:txBody>
          <a:bodyPr lIns="0" tIns="0" rIns="0" bIns="0"/>
          <a:lstStyle/>
          <a:p>
            <a:pPr lvl="0"/>
            <a:r>
              <a:rPr lang="en-US" dirty="0"/>
              <a:t>Click to edit Master text styles</a:t>
            </a:r>
          </a:p>
          <a:p>
            <a:pPr lvl="1"/>
            <a:r>
              <a:rPr lang="en-US" dirty="0"/>
              <a:t>Second level</a:t>
            </a:r>
          </a:p>
        </p:txBody>
      </p:sp>
      <p:sp>
        <p:nvSpPr>
          <p:cNvPr id="5" name="Title 4"/>
          <p:cNvSpPr>
            <a:spLocks noGrp="1"/>
          </p:cNvSpPr>
          <p:nvPr>
            <p:ph type="title"/>
          </p:nvPr>
        </p:nvSpPr>
        <p:spPr/>
        <p:txBody>
          <a:bodyPr/>
          <a:lstStyle/>
          <a:p>
            <a:r>
              <a:rPr lang="en-US"/>
              <a:t>Click to edit Master title style</a:t>
            </a:r>
            <a:endParaRPr lang="en-GB"/>
          </a:p>
        </p:txBody>
      </p:sp>
      <p:sp>
        <p:nvSpPr>
          <p:cNvPr id="8" name="Slide Number Placeholder 7"/>
          <p:cNvSpPr>
            <a:spLocks noGrp="1"/>
          </p:cNvSpPr>
          <p:nvPr>
            <p:ph type="sldNum" sz="quarter" idx="17"/>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8"/>
          </p:nvPr>
        </p:nvSpPr>
        <p:spPr/>
        <p:txBody>
          <a:bodyPr/>
          <a:lstStyle/>
          <a:p>
            <a:fld id="{C2BEB0C7-A088-444A-8603-5273A1429899}"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51095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4" name="Picture Placeholder 5"/>
          <p:cNvSpPr>
            <a:spLocks noGrp="1"/>
          </p:cNvSpPr>
          <p:nvPr>
            <p:ph type="pic" sz="quarter" idx="11"/>
          </p:nvPr>
        </p:nvSpPr>
        <p:spPr>
          <a:xfrm>
            <a:off x="337345" y="1657350"/>
            <a:ext cx="1152128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6" name="Title 5"/>
          <p:cNvSpPr>
            <a:spLocks noGrp="1"/>
          </p:cNvSpPr>
          <p:nvPr>
            <p:ph type="title"/>
          </p:nvPr>
        </p:nvSpPr>
        <p:spPr/>
        <p:txBody>
          <a:bodyPr/>
          <a:lstStyle/>
          <a:p>
            <a:r>
              <a:rPr lang="en-US"/>
              <a:t>Click to edit Master title style</a:t>
            </a:r>
            <a:endParaRPr lang="en-GB"/>
          </a:p>
        </p:txBody>
      </p:sp>
      <p:sp>
        <p:nvSpPr>
          <p:cNvPr id="9" name="Slide Number Placeholder 8"/>
          <p:cNvSpPr>
            <a:spLocks noGrp="1"/>
          </p:cNvSpPr>
          <p:nvPr>
            <p:ph type="sldNum" sz="quarter" idx="14"/>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0" name="Text Placeholder 6"/>
          <p:cNvSpPr>
            <a:spLocks noGrp="1"/>
          </p:cNvSpPr>
          <p:nvPr>
            <p:ph type="body" sz="quarter" idx="15"/>
          </p:nvPr>
        </p:nvSpPr>
        <p:spPr>
          <a:xfrm>
            <a:off x="337346" y="6123763"/>
            <a:ext cx="11519693"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16"/>
          </p:nvPr>
        </p:nvSpPr>
        <p:spPr/>
        <p:txBody>
          <a:bodyPr/>
          <a:lstStyle/>
          <a:p>
            <a:fld id="{51EDDCDD-B1CA-4788-A141-8B021EF4B5B0}"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62975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e Large &amp; Two Small Images">
    <p:spTree>
      <p:nvGrpSpPr>
        <p:cNvPr id="1" name=""/>
        <p:cNvGrpSpPr/>
        <p:nvPr/>
      </p:nvGrpSpPr>
      <p:grpSpPr>
        <a:xfrm>
          <a:off x="0" y="0"/>
          <a:ext cx="0" cy="0"/>
          <a:chOff x="0" y="0"/>
          <a:chExt cx="0" cy="0"/>
        </a:xfrm>
      </p:grpSpPr>
      <p:sp>
        <p:nvSpPr>
          <p:cNvPr id="8" name="Picture Placeholder 5"/>
          <p:cNvSpPr>
            <a:spLocks noGrp="1"/>
          </p:cNvSpPr>
          <p:nvPr>
            <p:ph type="pic" sz="quarter" idx="11"/>
          </p:nvPr>
        </p:nvSpPr>
        <p:spPr>
          <a:xfrm>
            <a:off x="337345" y="1657350"/>
            <a:ext cx="7661440" cy="4438650"/>
          </a:xfrm>
          <a:solidFill>
            <a:schemeClr val="tx2">
              <a:lumMod val="20000"/>
              <a:lumOff val="80000"/>
            </a:schemeClr>
          </a:solidFill>
        </p:spPr>
        <p:txBody>
          <a:bodyPr anchor="ctr"/>
          <a:lstStyle>
            <a:lvl1pPr algn="ctr">
              <a:defRPr>
                <a:solidFill>
                  <a:schemeClr val="tx1"/>
                </a:solidFill>
              </a:defRPr>
            </a:lvl1pPr>
          </a:lstStyle>
          <a:p>
            <a:endParaRPr lang="en-GB"/>
          </a:p>
        </p:txBody>
      </p:sp>
      <p:sp>
        <p:nvSpPr>
          <p:cNvPr id="10" name="Picture Placeholder 5"/>
          <p:cNvSpPr>
            <a:spLocks noGrp="1"/>
          </p:cNvSpPr>
          <p:nvPr>
            <p:ph type="pic" sz="quarter" idx="12"/>
          </p:nvPr>
        </p:nvSpPr>
        <p:spPr>
          <a:xfrm>
            <a:off x="8057025" y="1657350"/>
            <a:ext cx="3801600" cy="2192400"/>
          </a:xfrm>
          <a:solidFill>
            <a:schemeClr val="bg1">
              <a:lumMod val="95000"/>
            </a:schemeClr>
          </a:solidFill>
        </p:spPr>
        <p:txBody>
          <a:bodyPr anchor="ctr"/>
          <a:lstStyle>
            <a:lvl1pPr algn="ctr">
              <a:defRPr>
                <a:solidFill>
                  <a:schemeClr val="tx1"/>
                </a:solidFill>
              </a:defRPr>
            </a:lvl1pPr>
          </a:lstStyle>
          <a:p>
            <a:endParaRPr lang="en-GB"/>
          </a:p>
        </p:txBody>
      </p:sp>
      <p:sp>
        <p:nvSpPr>
          <p:cNvPr id="6" name="Picture Placeholder 5"/>
          <p:cNvSpPr>
            <a:spLocks noGrp="1"/>
          </p:cNvSpPr>
          <p:nvPr>
            <p:ph type="pic" sz="quarter" idx="13"/>
          </p:nvPr>
        </p:nvSpPr>
        <p:spPr>
          <a:xfrm>
            <a:off x="8057025" y="3903600"/>
            <a:ext cx="3801600" cy="2192400"/>
          </a:xfrm>
          <a:solidFill>
            <a:schemeClr val="bg1">
              <a:lumMod val="95000"/>
            </a:schemeClr>
          </a:solidFill>
        </p:spPr>
        <p:txBody>
          <a:bodyPr anchor="ctr"/>
          <a:lstStyle>
            <a:lvl1pPr algn="ctr">
              <a:defRPr>
                <a:solidFill>
                  <a:schemeClr val="tx1"/>
                </a:solidFill>
              </a:defRPr>
            </a:lvl1pPr>
          </a:lstStyle>
          <a:p>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11" name="Slide Number Placeholder 10"/>
          <p:cNvSpPr>
            <a:spLocks noGrp="1"/>
          </p:cNvSpPr>
          <p:nvPr>
            <p:ph type="sldNum" sz="quarter" idx="16"/>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3" name="Text Placeholder 6"/>
          <p:cNvSpPr>
            <a:spLocks noGrp="1"/>
          </p:cNvSpPr>
          <p:nvPr>
            <p:ph type="body" sz="quarter" idx="18"/>
          </p:nvPr>
        </p:nvSpPr>
        <p:spPr>
          <a:xfrm>
            <a:off x="337345" y="6123763"/>
            <a:ext cx="766144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4" name="Text Placeholder 6"/>
          <p:cNvSpPr>
            <a:spLocks noGrp="1"/>
          </p:cNvSpPr>
          <p:nvPr>
            <p:ph type="body" sz="quarter" idx="19"/>
          </p:nvPr>
        </p:nvSpPr>
        <p:spPr>
          <a:xfrm>
            <a:off x="8057025" y="6123763"/>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20"/>
          </p:nvPr>
        </p:nvSpPr>
        <p:spPr/>
        <p:txBody>
          <a:bodyPr/>
          <a:lstStyle/>
          <a:p>
            <a:fld id="{D6BCF9C2-3400-4F46-B176-9B86BCD4BE24}"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81060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547B9-2771-C84F-A42A-1EAB4B37DB2D}"/>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B5D5F48D-74F4-774F-9953-D5CC805C98F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9A90C45-BDDE-764A-8E0D-F185465CB0E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9E79CA6-0CDD-6C4A-8940-1C11B605D9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9D237C1-20F7-0443-B0D7-CA0AEFC9209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50F0C2C-430F-B146-B606-5284F948115B}"/>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8" name="Footer Placeholder 7">
            <a:extLst>
              <a:ext uri="{FF2B5EF4-FFF2-40B4-BE49-F238E27FC236}">
                <a16:creationId xmlns:a16="http://schemas.microsoft.com/office/drawing/2014/main" id="{E9EB807E-3332-914E-BAF9-44CB910532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0DE896D-6A73-AF4C-8235-F66CB873B578}"/>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15697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8" name="Picture Placeholder 5"/>
          <p:cNvSpPr>
            <a:spLocks noGrp="1"/>
          </p:cNvSpPr>
          <p:nvPr>
            <p:ph type="pic" sz="quarter" idx="11"/>
          </p:nvPr>
        </p:nvSpPr>
        <p:spPr>
          <a:xfrm>
            <a:off x="33734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0" name="Picture Placeholder 5"/>
          <p:cNvSpPr>
            <a:spLocks noGrp="1"/>
          </p:cNvSpPr>
          <p:nvPr>
            <p:ph type="pic" sz="quarter" idx="12"/>
          </p:nvPr>
        </p:nvSpPr>
        <p:spPr>
          <a:xfrm>
            <a:off x="805702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1" name="Picture Placeholder 5"/>
          <p:cNvSpPr>
            <a:spLocks noGrp="1"/>
          </p:cNvSpPr>
          <p:nvPr>
            <p:ph type="pic" sz="quarter" idx="13"/>
          </p:nvPr>
        </p:nvSpPr>
        <p:spPr>
          <a:xfrm>
            <a:off x="419718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6"/>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5" name="Text Placeholder 6"/>
          <p:cNvSpPr>
            <a:spLocks noGrp="1"/>
          </p:cNvSpPr>
          <p:nvPr>
            <p:ph type="body" sz="quarter" idx="18"/>
          </p:nvPr>
        </p:nvSpPr>
        <p:spPr>
          <a:xfrm>
            <a:off x="337345" y="6123763"/>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6" name="Text Placeholder 6"/>
          <p:cNvSpPr>
            <a:spLocks noGrp="1"/>
          </p:cNvSpPr>
          <p:nvPr>
            <p:ph type="body" sz="quarter" idx="19"/>
          </p:nvPr>
        </p:nvSpPr>
        <p:spPr>
          <a:xfrm>
            <a:off x="4197185" y="6123763"/>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7" name="Text Placeholder 6"/>
          <p:cNvSpPr>
            <a:spLocks noGrp="1"/>
          </p:cNvSpPr>
          <p:nvPr>
            <p:ph type="body" sz="quarter" idx="20"/>
          </p:nvPr>
        </p:nvSpPr>
        <p:spPr>
          <a:xfrm>
            <a:off x="8057025" y="6123763"/>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21"/>
          </p:nvPr>
        </p:nvSpPr>
        <p:spPr/>
        <p:txBody>
          <a:bodyPr/>
          <a:lstStyle/>
          <a:p>
            <a:fld id="{67BA9D25-5ECF-4C2B-9C26-5389D32E8784}"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89797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mp; Full Blee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6" name="Picture Placeholder 5"/>
          <p:cNvSpPr>
            <a:spLocks noGrp="1"/>
          </p:cNvSpPr>
          <p:nvPr>
            <p:ph type="pic" sz="quarter" idx="10"/>
          </p:nvPr>
        </p:nvSpPr>
        <p:spPr>
          <a:xfrm>
            <a:off x="0" y="3962400"/>
            <a:ext cx="12192000" cy="2311400"/>
          </a:xfrm>
          <a:solidFill>
            <a:schemeClr val="bg1">
              <a:lumMod val="95000"/>
            </a:schemeClr>
          </a:solidFill>
        </p:spPr>
        <p:txBody>
          <a:bodyPr anchor="ctr"/>
          <a:lstStyle>
            <a:lvl1pPr algn="ctr">
              <a:defRPr b="1">
                <a:solidFill>
                  <a:schemeClr val="tx1"/>
                </a:solidFill>
                <a:latin typeface="+mn-lt"/>
              </a:defRPr>
            </a:lvl1pPr>
          </a:lstStyle>
          <a:p>
            <a:endParaRPr lang="en-GB" dirty="0"/>
          </a:p>
        </p:txBody>
      </p:sp>
      <p:sp>
        <p:nvSpPr>
          <p:cNvPr id="8" name="Content Placeholder 2"/>
          <p:cNvSpPr>
            <a:spLocks noGrp="1"/>
          </p:cNvSpPr>
          <p:nvPr>
            <p:ph idx="1"/>
          </p:nvPr>
        </p:nvSpPr>
        <p:spPr>
          <a:xfrm>
            <a:off x="339111" y="1661690"/>
            <a:ext cx="11517931"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1"/>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2"/>
          </p:nvPr>
        </p:nvSpPr>
        <p:spPr/>
        <p:txBody>
          <a:bodyPr/>
          <a:lstStyle/>
          <a:p>
            <a:fld id="{CF77E624-35E7-4FF6-904F-8F0FA780148C}"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4292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Image &amp; Quotation">
    <p:spTree>
      <p:nvGrpSpPr>
        <p:cNvPr id="1" name=""/>
        <p:cNvGrpSpPr/>
        <p:nvPr/>
      </p:nvGrpSpPr>
      <p:grpSpPr>
        <a:xfrm>
          <a:off x="0" y="0"/>
          <a:ext cx="0" cy="0"/>
          <a:chOff x="0" y="0"/>
          <a:chExt cx="0" cy="0"/>
        </a:xfrm>
      </p:grpSpPr>
      <p:sp>
        <p:nvSpPr>
          <p:cNvPr id="10" name="Text Placeholder 17"/>
          <p:cNvSpPr>
            <a:spLocks noGrp="1"/>
          </p:cNvSpPr>
          <p:nvPr>
            <p:ph type="body" sz="quarter" idx="18"/>
          </p:nvPr>
        </p:nvSpPr>
        <p:spPr>
          <a:xfrm>
            <a:off x="334962" y="1657351"/>
            <a:ext cx="3752851" cy="4438650"/>
          </a:xfrm>
          <a:solidFill>
            <a:schemeClr val="accent4"/>
          </a:solidFill>
        </p:spPr>
        <p:txBody>
          <a:bodyPr lIns="684000" tIns="144000" rIns="54000" bIns="54000">
            <a:normAutofit/>
          </a:bodyPr>
          <a:lstStyle>
            <a:lvl1pPr>
              <a:defRPr sz="2800" b="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Picture Placeholder 14"/>
          <p:cNvSpPr>
            <a:spLocks noGrp="1"/>
          </p:cNvSpPr>
          <p:nvPr>
            <p:ph type="pic" sz="quarter" idx="11"/>
          </p:nvPr>
        </p:nvSpPr>
        <p:spPr>
          <a:xfrm>
            <a:off x="4260851" y="1657350"/>
            <a:ext cx="3654425" cy="4438650"/>
          </a:xfrm>
          <a:solidFill>
            <a:schemeClr val="bg1">
              <a:lumMod val="95000"/>
            </a:schemeClr>
          </a:solidFill>
        </p:spPr>
        <p:txBody>
          <a:bodyPr anchor="ctr"/>
          <a:lstStyle>
            <a:lvl1pPr algn="ctr">
              <a:defRPr>
                <a:solidFill>
                  <a:schemeClr val="tx1"/>
                </a:solidFill>
                <a:latin typeface="+mn-lt"/>
              </a:defRPr>
            </a:lvl1pPr>
          </a:lstStyle>
          <a:p>
            <a:endParaRPr lang="en-GB" dirty="0"/>
          </a:p>
        </p:txBody>
      </p:sp>
      <p:sp>
        <p:nvSpPr>
          <p:cNvPr id="2" name="Title 1"/>
          <p:cNvSpPr>
            <a:spLocks noGrp="1"/>
          </p:cNvSpPr>
          <p:nvPr>
            <p:ph type="title"/>
          </p:nvPr>
        </p:nvSpPr>
        <p:spPr/>
        <p:txBody>
          <a:bodyPr/>
          <a:lstStyle>
            <a:lvl1pPr>
              <a:defRPr>
                <a:latin typeface="+mn-lt"/>
              </a:defRPr>
            </a:lvl1pPr>
          </a:lstStyle>
          <a:p>
            <a:r>
              <a:rPr lang="en-US" dirty="0"/>
              <a:t>Click to edit Master title style</a:t>
            </a:r>
            <a:endParaRPr lang="en-GB" dirty="0"/>
          </a:p>
        </p:txBody>
      </p:sp>
      <p:sp>
        <p:nvSpPr>
          <p:cNvPr id="22" name="Content Placeholder 2"/>
          <p:cNvSpPr>
            <a:spLocks noGrp="1"/>
          </p:cNvSpPr>
          <p:nvPr>
            <p:ph idx="14"/>
          </p:nvPr>
        </p:nvSpPr>
        <p:spPr>
          <a:xfrm>
            <a:off x="8111506" y="1661690"/>
            <a:ext cx="3745531"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Content Placeholder 2"/>
          <p:cNvSpPr>
            <a:spLocks noGrp="1"/>
          </p:cNvSpPr>
          <p:nvPr>
            <p:ph idx="15"/>
          </p:nvPr>
        </p:nvSpPr>
        <p:spPr>
          <a:xfrm>
            <a:off x="8111506" y="3976265"/>
            <a:ext cx="3745531"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6"/>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9" name="Text Placeholder 6"/>
          <p:cNvSpPr>
            <a:spLocks noGrp="1"/>
          </p:cNvSpPr>
          <p:nvPr>
            <p:ph type="body" sz="quarter" idx="19"/>
          </p:nvPr>
        </p:nvSpPr>
        <p:spPr>
          <a:xfrm>
            <a:off x="4260851" y="6123763"/>
            <a:ext cx="3654425"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4" name="Date Placeholder 3"/>
          <p:cNvSpPr>
            <a:spLocks noGrp="1"/>
          </p:cNvSpPr>
          <p:nvPr>
            <p:ph type="dt" sz="half" idx="20"/>
          </p:nvPr>
        </p:nvSpPr>
        <p:spPr/>
        <p:txBody>
          <a:bodyPr/>
          <a:lstStyle/>
          <a:p>
            <a:fld id="{37121622-224F-4604-A649-8C2A91702D82}"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415175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2"/>
          </p:nvPr>
        </p:nvSpPr>
        <p:spPr/>
        <p:txBody>
          <a:bodyPr/>
          <a:lstStyle/>
          <a:p>
            <a:fld id="{7D978D20-D3D9-46CE-9A79-0EA980CA8FF7}"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92667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ogo and Footer Only">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2"/>
          </p:nvPr>
        </p:nvSpPr>
        <p:spPr/>
        <p:txBody>
          <a:bodyPr/>
          <a:lstStyle/>
          <a:p>
            <a:fld id="{359E7212-0A09-42F7-A362-C10644E0B697}"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32627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55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Placeholder 1"/>
          <p:cNvPicPr>
            <a:picLocks noChangeAspect="1"/>
          </p:cNvPicPr>
          <p:nvPr userDrawn="1"/>
        </p:nvPicPr>
        <p:blipFill>
          <a:blip r:embed="rId2" cstate="print"/>
          <a:srcRect t="633" b="-406"/>
          <a:stretch>
            <a:fillRect/>
          </a:stretch>
        </p:blipFill>
        <p:spPr bwMode="auto">
          <a:xfrm>
            <a:off x="512234" y="295280"/>
            <a:ext cx="546100" cy="1985963"/>
          </a:xfrm>
          <a:prstGeom prst="rect">
            <a:avLst/>
          </a:prstGeom>
          <a:noFill/>
          <a:ln w="9525">
            <a:noFill/>
            <a:miter lim="800000"/>
            <a:headEnd/>
            <a:tailEnd/>
          </a:ln>
        </p:spPr>
      </p:pic>
      <p:sp>
        <p:nvSpPr>
          <p:cNvPr id="6" name="TextBox 6"/>
          <p:cNvSpPr txBox="1"/>
          <p:nvPr userDrawn="1"/>
        </p:nvSpPr>
        <p:spPr>
          <a:xfrm>
            <a:off x="-662514" y="4016375"/>
            <a:ext cx="184731" cy="369332"/>
          </a:xfrm>
          <a:prstGeom prst="rect">
            <a:avLst/>
          </a:prstGeom>
          <a:noFill/>
        </p:spPr>
        <p:txBody>
          <a:bodyPr wrap="none">
            <a:spAutoFit/>
          </a:bodyPr>
          <a:lstStyle/>
          <a:p>
            <a:pPr>
              <a:defRPr/>
            </a:pPr>
            <a:endParaRPr lang="en-US">
              <a:solidFill>
                <a:srgbClr val="000000"/>
              </a:solidFill>
            </a:endParaRPr>
          </a:p>
        </p:txBody>
      </p:sp>
      <p:cxnSp>
        <p:nvCxnSpPr>
          <p:cNvPr id="7" name="Straight Connector 21"/>
          <p:cNvCxnSpPr/>
          <p:nvPr userDrawn="1"/>
        </p:nvCxnSpPr>
        <p:spPr>
          <a:xfrm>
            <a:off x="1619251" y="295275"/>
            <a:ext cx="0" cy="2846388"/>
          </a:xfrm>
          <a:prstGeom prst="line">
            <a:avLst/>
          </a:prstGeom>
          <a:ln w="15875">
            <a:solidFill>
              <a:srgbClr val="E60D2E"/>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TextBox 12"/>
          <p:cNvSpPr txBox="1"/>
          <p:nvPr userDrawn="1"/>
        </p:nvSpPr>
        <p:spPr>
          <a:xfrm>
            <a:off x="8661399" y="116632"/>
            <a:ext cx="3530601" cy="523220"/>
          </a:xfrm>
          <a:prstGeom prst="rect">
            <a:avLst/>
          </a:prstGeom>
          <a:noFill/>
        </p:spPr>
        <p:txBody>
          <a:bodyPr>
            <a:spAutoFit/>
          </a:bodyPr>
          <a:lstStyle/>
          <a:p>
            <a:pPr algn="ctr">
              <a:defRPr/>
            </a:pPr>
            <a:r>
              <a:rPr lang="en-GB" sz="1600" dirty="0">
                <a:solidFill>
                  <a:srgbClr val="665546"/>
                </a:solidFill>
                <a:latin typeface="Georgia" pitchFamily="18" charset="0"/>
              </a:rPr>
              <a:t>Rössing Uranium</a:t>
            </a:r>
          </a:p>
          <a:p>
            <a:pPr algn="ctr">
              <a:defRPr/>
            </a:pPr>
            <a:r>
              <a:rPr lang="en-GB" sz="1200" dirty="0">
                <a:solidFill>
                  <a:srgbClr val="665546"/>
                </a:solidFill>
                <a:latin typeface="Georgia" pitchFamily="18" charset="0"/>
              </a:rPr>
              <a:t>Working for Namibia</a:t>
            </a:r>
            <a:endParaRPr lang="en-ZA" sz="1200" dirty="0">
              <a:solidFill>
                <a:srgbClr val="665546"/>
              </a:solidFill>
              <a:latin typeface="Georgia" pitchFamily="18" charset="0"/>
            </a:endParaRPr>
          </a:p>
        </p:txBody>
      </p:sp>
      <p:sp>
        <p:nvSpPr>
          <p:cNvPr id="20" name="Picture Placeholder 19"/>
          <p:cNvSpPr>
            <a:spLocks noGrp="1"/>
          </p:cNvSpPr>
          <p:nvPr>
            <p:ph type="pic" sz="quarter" idx="11"/>
          </p:nvPr>
        </p:nvSpPr>
        <p:spPr>
          <a:xfrm>
            <a:off x="0" y="3430589"/>
            <a:ext cx="12192000" cy="3062286"/>
          </a:xfrm>
          <a:prstGeom prst="rect">
            <a:avLst/>
          </a:prstGeom>
        </p:spPr>
        <p:txBody>
          <a:bodyPr rtlCol="0">
            <a:normAutofit/>
          </a:bodyPr>
          <a:lstStyle>
            <a:lvl1pPr algn="ctr">
              <a:defRPr/>
            </a:lvl1pPr>
          </a:lstStyle>
          <a:p>
            <a:pPr lvl="0"/>
            <a:r>
              <a:rPr lang="en-US" noProof="0"/>
              <a:t>Click icon to add picture</a:t>
            </a:r>
            <a:endParaRPr lang="en-GB" noProof="0" dirty="0"/>
          </a:p>
        </p:txBody>
      </p:sp>
      <p:sp>
        <p:nvSpPr>
          <p:cNvPr id="9" name="Title 1"/>
          <p:cNvSpPr>
            <a:spLocks noGrp="1"/>
          </p:cNvSpPr>
          <p:nvPr>
            <p:ph type="ctrTitle"/>
          </p:nvPr>
        </p:nvSpPr>
        <p:spPr>
          <a:xfrm>
            <a:off x="2065867" y="692696"/>
            <a:ext cx="9159300" cy="1735774"/>
          </a:xfrm>
        </p:spPr>
        <p:txBody>
          <a:bodyPr bIns="36000">
            <a:noAutofit/>
          </a:bodyPr>
          <a:lstStyle>
            <a:lvl1pPr algn="l">
              <a:lnSpc>
                <a:spcPct val="90000"/>
              </a:lnSpc>
              <a:defRPr sz="4400">
                <a:solidFill>
                  <a:schemeClr val="tx1"/>
                </a:solidFill>
                <a:latin typeface="+mj-lt"/>
                <a:cs typeface="Georgia"/>
              </a:defRPr>
            </a:lvl1pPr>
          </a:lstStyle>
          <a:p>
            <a:r>
              <a:rPr lang="en-US" noProof="0" dirty="0"/>
              <a:t>Click to edit Master title style</a:t>
            </a:r>
            <a:endParaRPr lang="en-GB" noProof="0" dirty="0"/>
          </a:p>
        </p:txBody>
      </p:sp>
      <p:sp>
        <p:nvSpPr>
          <p:cNvPr id="10" name="Subtitle 2"/>
          <p:cNvSpPr>
            <a:spLocks noGrp="1"/>
          </p:cNvSpPr>
          <p:nvPr>
            <p:ph type="subTitle" idx="1"/>
          </p:nvPr>
        </p:nvSpPr>
        <p:spPr>
          <a:xfrm>
            <a:off x="2065866" y="2428475"/>
            <a:ext cx="9159300" cy="713193"/>
          </a:xfrm>
          <a:prstGeom prst="rect">
            <a:avLst/>
          </a:prstGeom>
        </p:spPr>
        <p:txBody>
          <a:bodyPr tIns="0">
            <a:normAutofit/>
          </a:bodyPr>
          <a:lstStyle>
            <a:lvl1pPr marL="0" indent="0" algn="l">
              <a:spcBef>
                <a:spcPts val="0"/>
              </a:spcBef>
              <a:buNone/>
              <a:defRPr sz="1800" b="0" baseline="0">
                <a:solidFill>
                  <a:schemeClr val="tx1"/>
                </a:solidFill>
                <a:latin typeface="Arial"/>
                <a:cs typeface="Arial"/>
              </a:defRPr>
            </a:lvl1pPr>
            <a:lvl2pPr marL="0" indent="0" algn="l">
              <a:spcBef>
                <a:spcPts val="0"/>
              </a:spcBef>
              <a:buNone/>
              <a:defRPr sz="1400" b="0">
                <a:solidFill>
                  <a:schemeClr val="tx2"/>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11" name="Date Placeholder 6"/>
          <p:cNvSpPr>
            <a:spLocks noGrp="1"/>
          </p:cNvSpPr>
          <p:nvPr>
            <p:ph type="dt" sz="half" idx="12"/>
          </p:nvPr>
        </p:nvSpPr>
        <p:spPr>
          <a:xfrm>
            <a:off x="2194985" y="203200"/>
            <a:ext cx="4176183" cy="342900"/>
          </a:xfrm>
        </p:spPr>
        <p:txBody>
          <a:bodyPr lIns="0" anchor="t" anchorCtr="0"/>
          <a:lstStyle>
            <a:lvl1pPr algn="l">
              <a:defRPr sz="1600" b="0" dirty="0">
                <a:solidFill>
                  <a:schemeClr val="tx1"/>
                </a:solidFill>
                <a:latin typeface="+mn-lt"/>
              </a:defRPr>
            </a:lvl1pPr>
          </a:lstStyle>
          <a:p>
            <a:pPr>
              <a:defRPr/>
            </a:pPr>
            <a:endParaRPr lang="en-GB">
              <a:solidFill>
                <a:srgbClr val="000000"/>
              </a:solidFill>
            </a:endParaRPr>
          </a:p>
        </p:txBody>
      </p:sp>
    </p:spTree>
    <p:extLst>
      <p:ext uri="{BB962C8B-B14F-4D97-AF65-F5344CB8AC3E}">
        <p14:creationId xmlns:p14="http://schemas.microsoft.com/office/powerpoint/2010/main" val="35746932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EO Br Title slide">
    <p:spTree>
      <p:nvGrpSpPr>
        <p:cNvPr id="1" name=""/>
        <p:cNvGrpSpPr/>
        <p:nvPr/>
      </p:nvGrpSpPr>
      <p:grpSpPr>
        <a:xfrm>
          <a:off x="0" y="0"/>
          <a:ext cx="0" cy="0"/>
          <a:chOff x="0" y="0"/>
          <a:chExt cx="0" cy="0"/>
        </a:xfrm>
      </p:grpSpPr>
      <p:sp>
        <p:nvSpPr>
          <p:cNvPr id="20" name="Picture Placeholder 19"/>
          <p:cNvSpPr>
            <a:spLocks noGrp="1"/>
          </p:cNvSpPr>
          <p:nvPr>
            <p:ph type="pic" sz="quarter" idx="11"/>
          </p:nvPr>
        </p:nvSpPr>
        <p:spPr>
          <a:xfrm>
            <a:off x="0" y="3430590"/>
            <a:ext cx="12192000" cy="3062286"/>
          </a:xfrm>
          <a:prstGeom prst="rect">
            <a:avLst/>
          </a:prstGeom>
        </p:spPr>
        <p:txBody>
          <a:bodyPr/>
          <a:lstStyle>
            <a:lvl1pPr algn="ctr">
              <a:defRPr/>
            </a:lvl1pPr>
          </a:lstStyle>
          <a:p>
            <a:r>
              <a:rPr lang="en-US" dirty="0"/>
              <a:t>Click icon to add picture</a:t>
            </a:r>
            <a:endParaRPr lang="en-GB" dirty="0"/>
          </a:p>
        </p:txBody>
      </p:sp>
      <p:sp>
        <p:nvSpPr>
          <p:cNvPr id="7" name="TextBox 6"/>
          <p:cNvSpPr txBox="1"/>
          <p:nvPr userDrawn="1"/>
        </p:nvSpPr>
        <p:spPr>
          <a:xfrm>
            <a:off x="-662475" y="4016997"/>
            <a:ext cx="192845" cy="388784"/>
          </a:xfrm>
          <a:prstGeom prst="rect">
            <a:avLst/>
          </a:prstGeom>
          <a:noFill/>
        </p:spPr>
        <p:txBody>
          <a:bodyPr wrap="none" lIns="95458" tIns="47732" rIns="95458" bIns="47732">
            <a:spAutoFit/>
          </a:bodyPr>
          <a:lstStyle/>
          <a:p>
            <a:pPr>
              <a:defRPr/>
            </a:pPr>
            <a:endParaRPr lang="en-US" sz="1900" dirty="0">
              <a:solidFill>
                <a:srgbClr val="000000"/>
              </a:solidFill>
            </a:endParaRPr>
          </a:p>
        </p:txBody>
      </p:sp>
      <p:cxnSp>
        <p:nvCxnSpPr>
          <p:cNvPr id="22" name="Straight Connector 21"/>
          <p:cNvCxnSpPr/>
          <p:nvPr userDrawn="1"/>
        </p:nvCxnSpPr>
        <p:spPr>
          <a:xfrm>
            <a:off x="1618358" y="295282"/>
            <a:ext cx="0" cy="2846387"/>
          </a:xfrm>
          <a:prstGeom prst="line">
            <a:avLst/>
          </a:prstGeom>
          <a:ln w="15875">
            <a:solidFill>
              <a:srgbClr val="E60D2E"/>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 name="Title 1"/>
          <p:cNvSpPr>
            <a:spLocks noGrp="1"/>
          </p:cNvSpPr>
          <p:nvPr>
            <p:ph type="ctrTitle"/>
          </p:nvPr>
        </p:nvSpPr>
        <p:spPr>
          <a:xfrm>
            <a:off x="2066007" y="545910"/>
            <a:ext cx="9159300" cy="1882560"/>
          </a:xfrm>
        </p:spPr>
        <p:txBody>
          <a:bodyPr bIns="37583">
            <a:noAutofit/>
          </a:bodyPr>
          <a:lstStyle>
            <a:lvl1pPr algn="l">
              <a:lnSpc>
                <a:spcPct val="90000"/>
              </a:lnSpc>
              <a:defRPr sz="4700">
                <a:solidFill>
                  <a:schemeClr val="tx1"/>
                </a:solidFill>
                <a:latin typeface="+mj-lt"/>
                <a:cs typeface="Georgia"/>
              </a:defRPr>
            </a:lvl1pPr>
          </a:lstStyle>
          <a:p>
            <a:r>
              <a:rPr lang="en-US" noProof="0"/>
              <a:t>Click to edit Master title style</a:t>
            </a:r>
            <a:endParaRPr lang="en-GB" noProof="0" dirty="0"/>
          </a:p>
        </p:txBody>
      </p:sp>
      <p:sp>
        <p:nvSpPr>
          <p:cNvPr id="10" name="Subtitle 2"/>
          <p:cNvSpPr>
            <a:spLocks noGrp="1"/>
          </p:cNvSpPr>
          <p:nvPr>
            <p:ph type="subTitle" idx="1"/>
          </p:nvPr>
        </p:nvSpPr>
        <p:spPr>
          <a:xfrm>
            <a:off x="2066007" y="2428621"/>
            <a:ext cx="9159300" cy="713193"/>
          </a:xfrm>
          <a:prstGeom prst="rect">
            <a:avLst/>
          </a:prstGeom>
        </p:spPr>
        <p:txBody>
          <a:bodyPr tIns="0">
            <a:normAutofit/>
          </a:bodyPr>
          <a:lstStyle>
            <a:lvl1pPr marL="0" indent="0" algn="l">
              <a:spcBef>
                <a:spcPts val="0"/>
              </a:spcBef>
              <a:buNone/>
              <a:defRPr sz="1900" b="0" baseline="0">
                <a:solidFill>
                  <a:schemeClr val="tx1"/>
                </a:solidFill>
                <a:latin typeface="Arial"/>
                <a:cs typeface="Arial"/>
              </a:defRPr>
            </a:lvl1pPr>
            <a:lvl2pPr marL="0" indent="0" algn="l">
              <a:spcBef>
                <a:spcPts val="0"/>
              </a:spcBef>
              <a:buNone/>
              <a:defRPr sz="1500" b="0">
                <a:solidFill>
                  <a:schemeClr val="tx2"/>
                </a:solidFill>
              </a:defRPr>
            </a:lvl2pPr>
            <a:lvl3pPr marL="954608" indent="0" algn="ctr">
              <a:buNone/>
              <a:defRPr>
                <a:solidFill>
                  <a:schemeClr val="tx1">
                    <a:tint val="75000"/>
                  </a:schemeClr>
                </a:solidFill>
              </a:defRPr>
            </a:lvl3pPr>
            <a:lvl4pPr marL="1431897" indent="0" algn="ctr">
              <a:buNone/>
              <a:defRPr>
                <a:solidFill>
                  <a:schemeClr val="tx1">
                    <a:tint val="75000"/>
                  </a:schemeClr>
                </a:solidFill>
              </a:defRPr>
            </a:lvl4pPr>
            <a:lvl5pPr marL="1909220" indent="0" algn="ctr">
              <a:buNone/>
              <a:defRPr>
                <a:solidFill>
                  <a:schemeClr val="tx1">
                    <a:tint val="75000"/>
                  </a:schemeClr>
                </a:solidFill>
              </a:defRPr>
            </a:lvl5pPr>
            <a:lvl6pPr marL="2386525" indent="0" algn="ctr">
              <a:buNone/>
              <a:defRPr>
                <a:solidFill>
                  <a:schemeClr val="tx1">
                    <a:tint val="75000"/>
                  </a:schemeClr>
                </a:solidFill>
              </a:defRPr>
            </a:lvl6pPr>
            <a:lvl7pPr marL="2863816" indent="0" algn="ctr">
              <a:buNone/>
              <a:defRPr>
                <a:solidFill>
                  <a:schemeClr val="tx1">
                    <a:tint val="75000"/>
                  </a:schemeClr>
                </a:solidFill>
              </a:defRPr>
            </a:lvl7pPr>
            <a:lvl8pPr marL="3341134" indent="0" algn="ctr">
              <a:buNone/>
              <a:defRPr>
                <a:solidFill>
                  <a:schemeClr val="tx1">
                    <a:tint val="75000"/>
                  </a:schemeClr>
                </a:solidFill>
              </a:defRPr>
            </a:lvl8pPr>
            <a:lvl9pPr marL="3818437" indent="0" algn="ctr">
              <a:buNone/>
              <a:defRPr>
                <a:solidFill>
                  <a:schemeClr val="tx1">
                    <a:tint val="75000"/>
                  </a:schemeClr>
                </a:solidFill>
              </a:defRPr>
            </a:lvl9pPr>
          </a:lstStyle>
          <a:p>
            <a:r>
              <a:rPr lang="en-US" noProof="0"/>
              <a:t>Click to edit Master subtitle style</a:t>
            </a:r>
            <a:endParaRPr lang="en-GB" noProof="0"/>
          </a:p>
        </p:txBody>
      </p:sp>
      <p:sp>
        <p:nvSpPr>
          <p:cNvPr id="11" name="Date Placeholder 6"/>
          <p:cNvSpPr>
            <a:spLocks noGrp="1"/>
          </p:cNvSpPr>
          <p:nvPr>
            <p:ph type="dt" sz="half" idx="10"/>
          </p:nvPr>
        </p:nvSpPr>
        <p:spPr>
          <a:xfrm>
            <a:off x="2194956" y="202950"/>
            <a:ext cx="4176213" cy="342976"/>
          </a:xfrm>
          <a:prstGeom prst="rect">
            <a:avLst/>
          </a:prstGeom>
        </p:spPr>
        <p:txBody>
          <a:bodyPr vert="horz" lIns="0" tIns="47732" rIns="95458" bIns="47732" rtlCol="0" anchor="t" anchorCtr="0"/>
          <a:lstStyle>
            <a:lvl1pPr algn="l">
              <a:defRPr sz="1700" b="0">
                <a:solidFill>
                  <a:schemeClr val="tx1"/>
                </a:solidFill>
                <a:latin typeface="+mn-lt"/>
              </a:defRPr>
            </a:lvl1pPr>
          </a:lstStyle>
          <a:p>
            <a:endParaRPr lang="en-GB" dirty="0">
              <a:solidFill>
                <a:srgbClr val="000000"/>
              </a:solidFill>
            </a:endParaRPr>
          </a:p>
        </p:txBody>
      </p:sp>
      <p:pic>
        <p:nvPicPr>
          <p:cNvPr id="12" name="Picture Placeholder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34" r="-406"/>
          <a:stretch/>
        </p:blipFill>
        <p:spPr>
          <a:xfrm rot="5400000">
            <a:off x="-207894" y="1015707"/>
            <a:ext cx="1986284" cy="545705"/>
          </a:xfrm>
          <a:prstGeom prst="rect">
            <a:avLst/>
          </a:prstGeom>
        </p:spPr>
      </p:pic>
    </p:spTree>
    <p:extLst>
      <p:ext uri="{BB962C8B-B14F-4D97-AF65-F5344CB8AC3E}">
        <p14:creationId xmlns:p14="http://schemas.microsoft.com/office/powerpoint/2010/main" val="30093898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4" name="Straight Connector 5"/>
          <p:cNvCxnSpPr/>
          <p:nvPr userDrawn="1"/>
        </p:nvCxnSpPr>
        <p:spPr>
          <a:xfrm flipH="1">
            <a:off x="1183218" y="1239838"/>
            <a:ext cx="11008782" cy="0"/>
          </a:xfrm>
          <a:prstGeom prst="line">
            <a:avLst/>
          </a:prstGeom>
          <a:ln>
            <a:solidFill>
              <a:srgbClr val="E60D2E"/>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5" name="Picture Placeholder 1"/>
          <p:cNvPicPr>
            <a:picLocks noChangeAspect="1"/>
          </p:cNvPicPr>
          <p:nvPr userDrawn="1"/>
        </p:nvPicPr>
        <p:blipFill>
          <a:blip r:embed="rId2" cstate="print"/>
          <a:srcRect b="-407"/>
          <a:stretch>
            <a:fillRect/>
          </a:stretch>
        </p:blipFill>
        <p:spPr bwMode="auto">
          <a:xfrm>
            <a:off x="256125" y="293695"/>
            <a:ext cx="226483" cy="820737"/>
          </a:xfrm>
          <a:prstGeom prst="rect">
            <a:avLst/>
          </a:prstGeom>
          <a:noFill/>
          <a:ln w="9525">
            <a:noFill/>
            <a:miter lim="800000"/>
            <a:headEnd/>
            <a:tailEnd/>
          </a:ln>
        </p:spPr>
      </p:pic>
      <p:sp>
        <p:nvSpPr>
          <p:cNvPr id="6" name="TextBox 7"/>
          <p:cNvSpPr txBox="1"/>
          <p:nvPr userDrawn="1"/>
        </p:nvSpPr>
        <p:spPr>
          <a:xfrm>
            <a:off x="9456373" y="0"/>
            <a:ext cx="2735627" cy="574660"/>
          </a:xfrm>
          <a:prstGeom prst="rect">
            <a:avLst/>
          </a:prstGeom>
          <a:noFill/>
        </p:spPr>
        <p:txBody>
          <a:bodyPr wrap="square" lIns="96661" tIns="48331" rIns="96661" bIns="48331">
            <a:spAutoFit/>
          </a:bodyPr>
          <a:lstStyle/>
          <a:p>
            <a:pPr>
              <a:defRPr/>
            </a:pPr>
            <a:r>
              <a:rPr lang="en-GB" sz="1700" dirty="0">
                <a:solidFill>
                  <a:srgbClr val="665546"/>
                </a:solidFill>
                <a:latin typeface="Georgia" pitchFamily="18" charset="0"/>
              </a:rPr>
              <a:t>Rössing Uranium </a:t>
            </a:r>
          </a:p>
          <a:p>
            <a:pPr>
              <a:defRPr/>
            </a:pPr>
            <a:r>
              <a:rPr lang="en-GB" sz="1400" dirty="0">
                <a:solidFill>
                  <a:srgbClr val="665546"/>
                </a:solidFill>
                <a:latin typeface="Georgia" pitchFamily="18" charset="0"/>
              </a:rPr>
              <a:t>Working for Namibia</a:t>
            </a:r>
            <a:endParaRPr lang="en-ZA" sz="1400" dirty="0">
              <a:solidFill>
                <a:srgbClr val="665546"/>
              </a:solidFill>
              <a:latin typeface="Georgia" pitchFamily="18" charset="0"/>
            </a:endParaRPr>
          </a:p>
        </p:txBody>
      </p:sp>
      <p:sp>
        <p:nvSpPr>
          <p:cNvPr id="2" name="Title 1"/>
          <p:cNvSpPr>
            <a:spLocks noGrp="1"/>
          </p:cNvSpPr>
          <p:nvPr>
            <p:ph type="title"/>
          </p:nvPr>
        </p:nvSpPr>
        <p:spPr>
          <a:xfrm>
            <a:off x="369359" y="277019"/>
            <a:ext cx="10972800" cy="1143000"/>
          </a:xfrm>
        </p:spPr>
        <p:txBody>
          <a:bodyPr/>
          <a:lstStyle>
            <a:lvl1pPr>
              <a:defRPr b="1"/>
            </a:lvl1pPr>
          </a:lstStyle>
          <a:p>
            <a:r>
              <a:rPr lang="en-US" dirty="0"/>
              <a:t>Click to edit Master title style</a:t>
            </a:r>
            <a:endParaRPr lang="en-ZA" dirty="0"/>
          </a:p>
        </p:txBody>
      </p:sp>
      <p:sp>
        <p:nvSpPr>
          <p:cNvPr id="9" name="Subtitle 2"/>
          <p:cNvSpPr>
            <a:spLocks noGrp="1"/>
          </p:cNvSpPr>
          <p:nvPr>
            <p:ph type="subTitle" idx="1"/>
          </p:nvPr>
        </p:nvSpPr>
        <p:spPr>
          <a:xfrm>
            <a:off x="1103447" y="1700808"/>
            <a:ext cx="9159300" cy="1251694"/>
          </a:xfrm>
          <a:prstGeom prst="rect">
            <a:avLst/>
          </a:prstGeom>
        </p:spPr>
        <p:txBody>
          <a:bodyPr tIns="0">
            <a:normAutofit/>
          </a:bodyPr>
          <a:lstStyle>
            <a:lvl1pPr marL="0" indent="0" algn="l">
              <a:spcBef>
                <a:spcPts val="0"/>
              </a:spcBef>
              <a:buNone/>
              <a:defRPr sz="1900" b="0" baseline="0">
                <a:solidFill>
                  <a:schemeClr val="tx1"/>
                </a:solidFill>
                <a:latin typeface="Arial"/>
                <a:cs typeface="Arial"/>
              </a:defRPr>
            </a:lvl1pPr>
            <a:lvl2pPr marL="0" indent="0" algn="l">
              <a:spcBef>
                <a:spcPts val="0"/>
              </a:spcBef>
              <a:buNone/>
              <a:defRPr sz="1500" b="0">
                <a:solidFill>
                  <a:schemeClr val="tx2"/>
                </a:solidFill>
              </a:defRPr>
            </a:lvl2pPr>
            <a:lvl3pPr marL="966612" indent="0" algn="ctr">
              <a:buNone/>
              <a:defRPr>
                <a:solidFill>
                  <a:schemeClr val="tx1">
                    <a:tint val="75000"/>
                  </a:schemeClr>
                </a:solidFill>
              </a:defRPr>
            </a:lvl3pPr>
            <a:lvl4pPr marL="1449918" indent="0" algn="ctr">
              <a:buNone/>
              <a:defRPr>
                <a:solidFill>
                  <a:schemeClr val="tx1">
                    <a:tint val="75000"/>
                  </a:schemeClr>
                </a:solidFill>
              </a:defRPr>
            </a:lvl4pPr>
            <a:lvl5pPr marL="1933224" indent="0" algn="ctr">
              <a:buNone/>
              <a:defRPr>
                <a:solidFill>
                  <a:schemeClr val="tx1">
                    <a:tint val="75000"/>
                  </a:schemeClr>
                </a:solidFill>
              </a:defRPr>
            </a:lvl5pPr>
            <a:lvl6pPr marL="2416531" indent="0" algn="ctr">
              <a:buNone/>
              <a:defRPr>
                <a:solidFill>
                  <a:schemeClr val="tx1">
                    <a:tint val="75000"/>
                  </a:schemeClr>
                </a:solidFill>
              </a:defRPr>
            </a:lvl6pPr>
            <a:lvl7pPr marL="2899837" indent="0" algn="ctr">
              <a:buNone/>
              <a:defRPr>
                <a:solidFill>
                  <a:schemeClr val="tx1">
                    <a:tint val="75000"/>
                  </a:schemeClr>
                </a:solidFill>
              </a:defRPr>
            </a:lvl7pPr>
            <a:lvl8pPr marL="3383143" indent="0" algn="ctr">
              <a:buNone/>
              <a:defRPr>
                <a:solidFill>
                  <a:schemeClr val="tx1">
                    <a:tint val="75000"/>
                  </a:schemeClr>
                </a:solidFill>
              </a:defRPr>
            </a:lvl8pPr>
            <a:lvl9pPr marL="3866449" indent="0" algn="ctr">
              <a:buNone/>
              <a:defRPr>
                <a:solidFill>
                  <a:schemeClr val="tx1">
                    <a:tint val="75000"/>
                  </a:schemeClr>
                </a:solidFill>
              </a:defRPr>
            </a:lvl9pPr>
          </a:lstStyle>
          <a:p>
            <a:r>
              <a:rPr lang="en-US" noProof="0"/>
              <a:t>Click to edit Master subtitle style</a:t>
            </a:r>
            <a:endParaRPr lang="en-GB" noProof="0"/>
          </a:p>
        </p:txBody>
      </p:sp>
      <p:sp>
        <p:nvSpPr>
          <p:cNvPr id="8" name="Footer Placeholder 3"/>
          <p:cNvSpPr>
            <a:spLocks noGrp="1"/>
          </p:cNvSpPr>
          <p:nvPr>
            <p:ph type="ftr" sz="quarter" idx="11"/>
          </p:nvPr>
        </p:nvSpPr>
        <p:spPr>
          <a:xfrm>
            <a:off x="4165600" y="6356357"/>
            <a:ext cx="3860800" cy="365125"/>
          </a:xfrm>
          <a:prstGeom prst="rect">
            <a:avLst/>
          </a:prstGeom>
        </p:spPr>
        <p:txBody>
          <a:bodyPr/>
          <a:lstStyle>
            <a:lvl1pPr>
              <a:defRPr/>
            </a:lvl1pPr>
          </a:lstStyle>
          <a:p>
            <a:pPr>
              <a:defRPr/>
            </a:pPr>
            <a:endParaRPr lang="en-ZA">
              <a:solidFill>
                <a:prstClr val="black">
                  <a:tint val="75000"/>
                </a:prstClr>
              </a:solidFill>
            </a:endParaRPr>
          </a:p>
        </p:txBody>
      </p:sp>
      <p:sp>
        <p:nvSpPr>
          <p:cNvPr id="10" name="Slide Number Placeholder 4"/>
          <p:cNvSpPr>
            <a:spLocks noGrp="1"/>
          </p:cNvSpPr>
          <p:nvPr>
            <p:ph type="sldNum" sz="quarter" idx="12"/>
          </p:nvPr>
        </p:nvSpPr>
        <p:spPr/>
        <p:txBody>
          <a:bodyPr/>
          <a:lstStyle>
            <a:lvl1pPr>
              <a:defRPr/>
            </a:lvl1pPr>
          </a:lstStyle>
          <a:p>
            <a:pPr>
              <a:defRPr/>
            </a:pPr>
            <a:fld id="{611A8D28-AFEA-4FE3-A505-0665B8F48D78}" type="slidenum">
              <a:rPr lang="en-ZA">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val="4336584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wo Content with Caption">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a:p>
        </p:txBody>
      </p:sp>
      <p:sp>
        <p:nvSpPr>
          <p:cNvPr id="9" name="Text Placeholder 8"/>
          <p:cNvSpPr>
            <a:spLocks noGrp="1"/>
          </p:cNvSpPr>
          <p:nvPr>
            <p:ph type="body" sz="quarter" idx="13"/>
          </p:nvPr>
        </p:nvSpPr>
        <p:spPr>
          <a:xfrm>
            <a:off x="1056220" y="6100764"/>
            <a:ext cx="5314950" cy="392113"/>
          </a:xfrm>
          <a:prstGeom prst="rect">
            <a:avLst/>
          </a:prstGeom>
        </p:spPr>
        <p:txBody>
          <a:bodyPr>
            <a:normAutofit/>
          </a:bodyPr>
          <a:lstStyle>
            <a:lvl1pPr>
              <a:spcBef>
                <a:spcPts val="634"/>
              </a:spcBef>
              <a:defRPr sz="1200">
                <a:solidFill>
                  <a:schemeClr val="tx1"/>
                </a:solidFill>
              </a:defRPr>
            </a:lvl1pPr>
            <a:lvl2pPr>
              <a:spcBef>
                <a:spcPts val="317"/>
              </a:spcBef>
              <a:defRPr sz="1200"/>
            </a:lvl2pPr>
            <a:lvl3pPr>
              <a:spcBef>
                <a:spcPts val="317"/>
              </a:spcBef>
              <a:defRPr sz="1200"/>
            </a:lvl3pPr>
            <a:lvl4pPr>
              <a:spcBef>
                <a:spcPts val="317"/>
              </a:spcBef>
              <a:defRPr sz="1200"/>
            </a:lvl4pPr>
            <a:lvl5pPr marL="181240" indent="-181240">
              <a:spcBef>
                <a:spcPts val="317"/>
              </a:spcBef>
              <a:buFont typeface="Arial" pitchFamily="34" charset="0"/>
              <a:buChar char="•"/>
              <a:defRPr sz="1200"/>
            </a:lvl5pPr>
            <a:lvl6pPr>
              <a:defRPr sz="1200"/>
            </a:lvl6pPr>
          </a:lstStyle>
          <a:p>
            <a:pPr lvl="0"/>
            <a:r>
              <a:rPr lang="en-US" noProof="0"/>
              <a:t>Click to edit Master text styles</a:t>
            </a:r>
          </a:p>
        </p:txBody>
      </p:sp>
      <p:sp>
        <p:nvSpPr>
          <p:cNvPr id="11" name="Text Placeholder 8"/>
          <p:cNvSpPr>
            <a:spLocks noGrp="1"/>
          </p:cNvSpPr>
          <p:nvPr>
            <p:ph type="body" sz="quarter" idx="14"/>
          </p:nvPr>
        </p:nvSpPr>
        <p:spPr>
          <a:xfrm>
            <a:off x="6567250" y="6100764"/>
            <a:ext cx="5314950" cy="392113"/>
          </a:xfrm>
          <a:prstGeom prst="rect">
            <a:avLst/>
          </a:prstGeom>
        </p:spPr>
        <p:txBody>
          <a:bodyPr>
            <a:normAutofit/>
          </a:bodyPr>
          <a:lstStyle>
            <a:lvl1pPr>
              <a:spcBef>
                <a:spcPts val="634"/>
              </a:spcBef>
              <a:defRPr sz="1200">
                <a:solidFill>
                  <a:schemeClr val="tx1"/>
                </a:solidFill>
              </a:defRPr>
            </a:lvl1pPr>
            <a:lvl2pPr>
              <a:spcBef>
                <a:spcPts val="317"/>
              </a:spcBef>
              <a:defRPr sz="1200"/>
            </a:lvl2pPr>
            <a:lvl3pPr>
              <a:spcBef>
                <a:spcPts val="317"/>
              </a:spcBef>
              <a:defRPr sz="1200"/>
            </a:lvl3pPr>
            <a:lvl4pPr>
              <a:spcBef>
                <a:spcPts val="317"/>
              </a:spcBef>
              <a:defRPr sz="1200"/>
            </a:lvl4pPr>
            <a:lvl5pPr marL="181240" indent="-181240">
              <a:spcBef>
                <a:spcPts val="317"/>
              </a:spcBef>
              <a:buFont typeface="Arial" pitchFamily="34" charset="0"/>
              <a:buChar char="•"/>
              <a:defRPr sz="1200"/>
            </a:lvl5pPr>
            <a:lvl6pPr>
              <a:defRPr sz="1200"/>
            </a:lvl6pPr>
          </a:lstStyle>
          <a:p>
            <a:pPr lvl="0"/>
            <a:r>
              <a:rPr lang="en-US" noProof="0"/>
              <a:t>Click to edit Master text styles</a:t>
            </a:r>
          </a:p>
        </p:txBody>
      </p:sp>
      <p:sp>
        <p:nvSpPr>
          <p:cNvPr id="12" name="Content Placeholder 8"/>
          <p:cNvSpPr>
            <a:spLocks noGrp="1"/>
          </p:cNvSpPr>
          <p:nvPr>
            <p:ph sz="quarter" idx="15"/>
          </p:nvPr>
        </p:nvSpPr>
        <p:spPr>
          <a:xfrm>
            <a:off x="1051200" y="1631957"/>
            <a:ext cx="5313600" cy="4473575"/>
          </a:xfrm>
          <a:prstGeom prst="rect">
            <a:avLst/>
          </a:prstGeom>
        </p:spPr>
        <p:txBody>
          <a:bodyPr>
            <a:normAutofit/>
          </a:bodyPr>
          <a:lstStyle>
            <a:lvl1pPr>
              <a:defRPr sz="1700">
                <a:solidFill>
                  <a:schemeClr val="tx1"/>
                </a:solidFill>
              </a:defRPr>
            </a:lvl1pPr>
            <a:lvl2pPr>
              <a:spcBef>
                <a:spcPts val="634"/>
              </a:spcBef>
              <a:defRPr sz="17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8"/>
          <p:cNvSpPr>
            <a:spLocks noGrp="1"/>
          </p:cNvSpPr>
          <p:nvPr>
            <p:ph sz="quarter" idx="16"/>
          </p:nvPr>
        </p:nvSpPr>
        <p:spPr>
          <a:xfrm>
            <a:off x="6563017" y="1631957"/>
            <a:ext cx="5313600" cy="4473575"/>
          </a:xfrm>
          <a:prstGeom prst="rect">
            <a:avLst/>
          </a:prstGeom>
        </p:spPr>
        <p:txBody>
          <a:bodyPr>
            <a:normAutofit/>
          </a:bodyPr>
          <a:lstStyle>
            <a:lvl1pPr>
              <a:defRPr sz="1700">
                <a:solidFill>
                  <a:schemeClr val="tx1"/>
                </a:solidFill>
              </a:defRPr>
            </a:lvl1pPr>
            <a:lvl2pPr>
              <a:spcBef>
                <a:spcPts val="634"/>
              </a:spcBef>
              <a:defRPr sz="17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Date Placeholder 9"/>
          <p:cNvSpPr>
            <a:spLocks noGrp="1"/>
          </p:cNvSpPr>
          <p:nvPr>
            <p:ph type="dt" sz="half" idx="17"/>
          </p:nvPr>
        </p:nvSpPr>
        <p:spPr>
          <a:xfrm>
            <a:off x="1049876" y="2"/>
            <a:ext cx="2417233" cy="298450"/>
          </a:xfrm>
          <a:prstGeom prst="rect">
            <a:avLst/>
          </a:prstGeom>
        </p:spPr>
        <p:txBody>
          <a:bodyPr lIns="96661" tIns="48331" rIns="96661" bIns="48331"/>
          <a:lstStyle>
            <a:lvl1pPr>
              <a:defRPr>
                <a:solidFill>
                  <a:schemeClr val="tx1"/>
                </a:solidFill>
              </a:defRPr>
            </a:lvl1pPr>
          </a:lstStyle>
          <a:p>
            <a:r>
              <a:rPr lang="en-US">
                <a:solidFill>
                  <a:srgbClr val="000000"/>
                </a:solidFill>
              </a:rPr>
              <a:t>15 June 2016</a:t>
            </a:r>
            <a:endParaRPr lang="en-GB">
              <a:solidFill>
                <a:srgbClr val="000000"/>
              </a:solidFill>
            </a:endParaRPr>
          </a:p>
        </p:txBody>
      </p:sp>
      <p:sp>
        <p:nvSpPr>
          <p:cNvPr id="14" name="Footer Placeholder 13"/>
          <p:cNvSpPr>
            <a:spLocks noGrp="1"/>
          </p:cNvSpPr>
          <p:nvPr>
            <p:ph type="ftr" sz="quarter" idx="18"/>
          </p:nvPr>
        </p:nvSpPr>
        <p:spPr>
          <a:xfrm>
            <a:off x="3530600" y="2"/>
            <a:ext cx="7145867" cy="298450"/>
          </a:xfrm>
          <a:prstGeom prst="rect">
            <a:avLst/>
          </a:prstGeom>
        </p:spPr>
        <p:txBody>
          <a:bodyPr lIns="96661" tIns="48331" rIns="96661" bIns="48331"/>
          <a:lstStyle>
            <a:lvl1pPr>
              <a:defRPr>
                <a:solidFill>
                  <a:schemeClr val="tx1"/>
                </a:solidFill>
              </a:defRPr>
            </a:lvl1pPr>
          </a:lstStyle>
          <a:p>
            <a:endParaRPr lang="en-GB">
              <a:solidFill>
                <a:srgbClr val="000000"/>
              </a:solidFill>
            </a:endParaRPr>
          </a:p>
        </p:txBody>
      </p:sp>
      <p:sp>
        <p:nvSpPr>
          <p:cNvPr id="15" name="Slide Number Placeholder 14"/>
          <p:cNvSpPr>
            <a:spLocks noGrp="1"/>
          </p:cNvSpPr>
          <p:nvPr>
            <p:ph type="sldNum" sz="quarter" idx="19"/>
          </p:nvPr>
        </p:nvSpPr>
        <p:spPr/>
        <p:txBody>
          <a:bodyPr/>
          <a:lstStyle>
            <a:lvl1pPr>
              <a:defRPr>
                <a:solidFill>
                  <a:schemeClr val="tx1"/>
                </a:solidFill>
              </a:defRPr>
            </a:lvl1pPr>
          </a:lstStyle>
          <a:p>
            <a:pPr>
              <a:defRPr/>
            </a:pPr>
            <a:fld id="{7141FCCF-8FC4-FD48-BC18-855ED9BEBE86}" type="slidenum">
              <a:rPr lang="en-GB" smtClean="0">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87994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05DC2-43CF-A54A-9A9B-6F72F65221E7}"/>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2496CDD-8057-F141-97F5-B3703165A0D1}"/>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4" name="Footer Placeholder 3">
            <a:extLst>
              <a:ext uri="{FF2B5EF4-FFF2-40B4-BE49-F238E27FC236}">
                <a16:creationId xmlns:a16="http://schemas.microsoft.com/office/drawing/2014/main" id="{3543C975-119B-2743-90E7-641E99E5F4C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625CE4-4323-D444-9F74-636342EFA0D5}"/>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3693074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10" name="Date Placeholder 9"/>
          <p:cNvSpPr>
            <a:spLocks noGrp="1"/>
          </p:cNvSpPr>
          <p:nvPr>
            <p:ph type="dt" sz="half" idx="10"/>
          </p:nvPr>
        </p:nvSpPr>
        <p:spPr/>
        <p:txBody>
          <a:bodyPr/>
          <a:lstStyle>
            <a:lvl1pPr>
              <a:defRPr>
                <a:solidFill>
                  <a:schemeClr val="tx1"/>
                </a:solidFill>
              </a:defRPr>
            </a:lvl1pPr>
          </a:lstStyle>
          <a:p>
            <a:fld id="{62853B32-1DD7-42EB-AEDE-E76B69B84912}" type="datetime4">
              <a:rPr lang="en-AU" smtClean="0">
                <a:solidFill>
                  <a:srgbClr val="646464"/>
                </a:solidFill>
              </a:rPr>
              <a:pPr/>
              <a:t>15 April 2020</a:t>
            </a:fld>
            <a:endParaRPr lang="en-GB" dirty="0">
              <a:solidFill>
                <a:srgbClr val="646464"/>
              </a:solidFill>
            </a:endParaRPr>
          </a:p>
        </p:txBody>
      </p:sp>
      <p:sp>
        <p:nvSpPr>
          <p:cNvPr id="12" name="Footer Placeholder 11"/>
          <p:cNvSpPr>
            <a:spLocks noGrp="1"/>
          </p:cNvSpPr>
          <p:nvPr>
            <p:ph type="ftr" sz="quarter" idx="11"/>
          </p:nvPr>
        </p:nvSpPr>
        <p:spPr>
          <a:xfrm>
            <a:off x="3530600" y="2"/>
            <a:ext cx="7145867" cy="298450"/>
          </a:xfrm>
          <a:prstGeom prst="rect">
            <a:avLst/>
          </a:prstGeom>
        </p:spPr>
        <p:txBody>
          <a:bodyPr/>
          <a:lstStyle>
            <a:lvl1pPr>
              <a:defRPr>
                <a:solidFill>
                  <a:schemeClr val="tx1"/>
                </a:solidFill>
              </a:defRPr>
            </a:lvl1pPr>
          </a:lstStyle>
          <a:p>
            <a:endParaRPr lang="en-GB" dirty="0">
              <a:solidFill>
                <a:srgbClr val="646464"/>
              </a:solidFill>
            </a:endParaRPr>
          </a:p>
        </p:txBody>
      </p:sp>
      <p:sp>
        <p:nvSpPr>
          <p:cNvPr id="18" name="Slide Number Placeholder 17"/>
          <p:cNvSpPr>
            <a:spLocks noGrp="1"/>
          </p:cNvSpPr>
          <p:nvPr>
            <p:ph type="sldNum" sz="quarter" idx="12"/>
          </p:nvPr>
        </p:nvSpPr>
        <p:spPr/>
        <p:txBody>
          <a:bodyPr/>
          <a:lstStyle>
            <a:lvl1pPr>
              <a:defRPr>
                <a:solidFill>
                  <a:schemeClr val="tx1"/>
                </a:solidFill>
              </a:defRPr>
            </a:lvl1pPr>
          </a:lstStyle>
          <a:p>
            <a:pPr>
              <a:defRPr/>
            </a:pPr>
            <a:fld id="{7141FCCF-8FC4-FD48-BC18-855ED9BEBE86}" type="slidenum">
              <a:rPr lang="en-US" smtClean="0">
                <a:solidFill>
                  <a:srgbClr val="646464"/>
                </a:solidFill>
              </a:rPr>
              <a:pPr>
                <a:defRPr/>
              </a:pPr>
              <a:t>‹#›</a:t>
            </a:fld>
            <a:endParaRPr lang="en-US" dirty="0">
              <a:solidFill>
                <a:srgbClr val="646464"/>
              </a:solidFill>
            </a:endParaRPr>
          </a:p>
        </p:txBody>
      </p:sp>
      <p:sp>
        <p:nvSpPr>
          <p:cNvPr id="9" name="Text Placeholder 6"/>
          <p:cNvSpPr>
            <a:spLocks noGrp="1"/>
          </p:cNvSpPr>
          <p:nvPr>
            <p:ph type="body" sz="quarter" idx="15"/>
          </p:nvPr>
        </p:nvSpPr>
        <p:spPr>
          <a:xfrm>
            <a:off x="1049887" y="1239846"/>
            <a:ext cx="10799233" cy="293127"/>
          </a:xfrm>
        </p:spPr>
        <p:txBody>
          <a:bodyPr/>
          <a:lstStyle>
            <a:lvl1pPr>
              <a:defRPr b="1">
                <a:solidFill>
                  <a:srgbClr val="FF0000"/>
                </a:solidFill>
              </a:defRPr>
            </a:lvl1pPr>
          </a:lstStyle>
          <a:p>
            <a:pPr lvl="0"/>
            <a:r>
              <a:rPr lang="en-US" dirty="0"/>
              <a:t>Click to edit Master text styles</a:t>
            </a:r>
            <a:endParaRPr lang="en-AU" dirty="0"/>
          </a:p>
        </p:txBody>
      </p:sp>
    </p:spTree>
    <p:extLst>
      <p:ext uri="{BB962C8B-B14F-4D97-AF65-F5344CB8AC3E}">
        <p14:creationId xmlns:p14="http://schemas.microsoft.com/office/powerpoint/2010/main" val="24704441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1596"/>
          <a:ext cx="2116" cy="1587"/>
        </p:xfrm>
        <a:graphic>
          <a:graphicData uri="http://schemas.openxmlformats.org/presentationml/2006/ole">
            <mc:AlternateContent xmlns:mc="http://schemas.openxmlformats.org/markup-compatibility/2006">
              <mc:Choice xmlns:v="urn:schemas-microsoft-com:vml" Requires="v">
                <p:oleObj spid="_x0000_s40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1596"/>
                        <a:ext cx="2116"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a:solidFill>
                  <a:schemeClr val="tx1"/>
                </a:solidFill>
              </a:defRPr>
            </a:lvl1pPr>
          </a:lstStyle>
          <a:p>
            <a:r>
              <a:rPr lang="en-US" noProof="0" dirty="0"/>
              <a:t>Click to edit Master title style</a:t>
            </a:r>
            <a:endParaRPr lang="en-GB" noProof="0" dirty="0"/>
          </a:p>
        </p:txBody>
      </p:sp>
      <p:sp>
        <p:nvSpPr>
          <p:cNvPr id="9" name="Slide Number Placeholder 7"/>
          <p:cNvSpPr txBox="1">
            <a:spLocks/>
          </p:cNvSpPr>
          <p:nvPr userDrawn="1"/>
        </p:nvSpPr>
        <p:spPr>
          <a:xfrm>
            <a:off x="9946228" y="6529428"/>
            <a:ext cx="1890183" cy="249237"/>
          </a:xfrm>
          <a:prstGeom prst="rect">
            <a:avLst/>
          </a:prstGeom>
        </p:spPr>
        <p:txBody>
          <a:bodyPr vert="horz" wrap="square" lIns="96325" tIns="48165" rIns="0" bIns="48165" numCol="1" anchor="b" anchorCtr="0" compatLnSpc="1">
            <a:prstTxWarp prst="textNoShape">
              <a:avLst/>
            </a:prstTxWarp>
          </a:bodyPr>
          <a:lstStyle>
            <a:defPPr>
              <a:defRPr lang="en-US"/>
            </a:defPPr>
            <a:lvl1pPr algn="r" defTabSz="457200" rtl="0" fontAlgn="base">
              <a:spcBef>
                <a:spcPct val="0"/>
              </a:spcBef>
              <a:spcAft>
                <a:spcPct val="0"/>
              </a:spcAft>
              <a:defRPr sz="900" kern="1200">
                <a:solidFill>
                  <a:schemeClr val="tx1"/>
                </a:solidFill>
                <a:latin typeface="Arial" pitchFamily="51" charset="0"/>
                <a:ea typeface="Arial" pitchFamily="51" charset="0"/>
                <a:cs typeface="Arial" pitchFamily="51"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r>
              <a:rPr lang="en-GB" dirty="0">
                <a:solidFill>
                  <a:srgbClr val="646464"/>
                </a:solidFill>
              </a:rPr>
              <a:t>  </a:t>
            </a:r>
            <a:fld id="{CFDA3E68-4875-4380-AADB-CEB97D15CBC5}" type="slidenum">
              <a:rPr lang="en-GB" smtClean="0">
                <a:solidFill>
                  <a:srgbClr val="646464"/>
                </a:solidFill>
              </a:rPr>
              <a:pPr/>
              <a:t>‹#›</a:t>
            </a:fld>
            <a:endParaRPr lang="en-GB" dirty="0">
              <a:solidFill>
                <a:srgbClr val="646464"/>
              </a:solidFill>
            </a:endParaRPr>
          </a:p>
        </p:txBody>
      </p:sp>
      <p:sp>
        <p:nvSpPr>
          <p:cNvPr id="13" name="Text Placeholder 12"/>
          <p:cNvSpPr>
            <a:spLocks noGrp="1"/>
          </p:cNvSpPr>
          <p:nvPr>
            <p:ph type="body" sz="quarter" idx="11" hasCustomPrompt="1"/>
          </p:nvPr>
        </p:nvSpPr>
        <p:spPr>
          <a:xfrm>
            <a:off x="1736039" y="1420058"/>
            <a:ext cx="3923012" cy="276225"/>
          </a:xfrm>
          <a:solidFill>
            <a:schemeClr val="bg1"/>
          </a:solidFill>
        </p:spPr>
        <p:txBody>
          <a:bodyPr>
            <a:noAutofit/>
          </a:bodyPr>
          <a:lstStyle>
            <a:lvl1pPr>
              <a:defRPr sz="1700"/>
            </a:lvl1pPr>
          </a:lstStyle>
          <a:p>
            <a:pPr lvl="0"/>
            <a:r>
              <a:rPr lang="en-US" dirty="0"/>
              <a:t>Click to edit text</a:t>
            </a:r>
            <a:endParaRPr lang="en-GB" dirty="0"/>
          </a:p>
        </p:txBody>
      </p:sp>
      <p:sp>
        <p:nvSpPr>
          <p:cNvPr id="16" name="Chart Placeholder 15"/>
          <p:cNvSpPr>
            <a:spLocks noGrp="1"/>
          </p:cNvSpPr>
          <p:nvPr>
            <p:ph type="chart" sz="quarter" idx="12"/>
          </p:nvPr>
        </p:nvSpPr>
        <p:spPr>
          <a:xfrm>
            <a:off x="6772138" y="1746741"/>
            <a:ext cx="5064262" cy="2128837"/>
          </a:xfrm>
        </p:spPr>
        <p:txBody>
          <a:bodyPr/>
          <a:lstStyle/>
          <a:p>
            <a:endParaRPr lang="en-GB"/>
          </a:p>
        </p:txBody>
      </p:sp>
      <p:sp>
        <p:nvSpPr>
          <p:cNvPr id="19" name="Rectangle 18"/>
          <p:cNvSpPr/>
          <p:nvPr userDrawn="1"/>
        </p:nvSpPr>
        <p:spPr>
          <a:xfrm>
            <a:off x="6679100" y="1633332"/>
            <a:ext cx="5300870" cy="4681331"/>
          </a:xfrm>
          <a:prstGeom prst="rect">
            <a:avLst/>
          </a:prstGeom>
          <a:no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lIns="96653" tIns="48326" rIns="96653" bIns="48326" rtlCol="0" anchor="ctr"/>
          <a:lstStyle/>
          <a:p>
            <a:pPr algn="ctr"/>
            <a:endParaRPr lang="en-GB">
              <a:solidFill>
                <a:prstClr val="white"/>
              </a:solidFill>
            </a:endParaRPr>
          </a:p>
        </p:txBody>
      </p:sp>
      <p:sp>
        <p:nvSpPr>
          <p:cNvPr id="21" name="Text Placeholder 20"/>
          <p:cNvSpPr>
            <a:spLocks noGrp="1"/>
          </p:cNvSpPr>
          <p:nvPr>
            <p:ph type="body" sz="quarter" idx="14" hasCustomPrompt="1"/>
          </p:nvPr>
        </p:nvSpPr>
        <p:spPr>
          <a:xfrm>
            <a:off x="7050167" y="1420813"/>
            <a:ext cx="4492949" cy="276225"/>
          </a:xfrm>
          <a:solidFill>
            <a:schemeClr val="bg1"/>
          </a:solidFill>
        </p:spPr>
        <p:txBody>
          <a:bodyPr>
            <a:noAutofit/>
          </a:bodyPr>
          <a:lstStyle>
            <a:lvl1pPr>
              <a:defRPr sz="1700"/>
            </a:lvl1pPr>
            <a:lvl2pPr>
              <a:defRPr sz="1500"/>
            </a:lvl2pPr>
            <a:lvl3pPr>
              <a:defRPr sz="1500"/>
            </a:lvl3pPr>
            <a:lvl4pPr>
              <a:defRPr sz="1500"/>
            </a:lvl4pPr>
            <a:lvl5pPr>
              <a:defRPr sz="1500"/>
            </a:lvl5pPr>
          </a:lstStyle>
          <a:p>
            <a:pPr lvl="0"/>
            <a:r>
              <a:rPr lang="en-US" dirty="0"/>
              <a:t>Click to edit text </a:t>
            </a:r>
            <a:endParaRPr lang="en-GB" dirty="0"/>
          </a:p>
        </p:txBody>
      </p:sp>
      <p:sp>
        <p:nvSpPr>
          <p:cNvPr id="23" name="Text Placeholder 22"/>
          <p:cNvSpPr>
            <a:spLocks noGrp="1"/>
          </p:cNvSpPr>
          <p:nvPr>
            <p:ph type="body" sz="quarter" idx="15"/>
          </p:nvPr>
        </p:nvSpPr>
        <p:spPr>
          <a:xfrm>
            <a:off x="925996" y="1063143"/>
            <a:ext cx="11106151" cy="417512"/>
          </a:xfrm>
        </p:spPr>
        <p:txBody>
          <a:bodyPr>
            <a:normAutofit/>
          </a:bodyPr>
          <a:lstStyle>
            <a:lvl1pPr>
              <a:defRPr sz="1500" i="1">
                <a:solidFill>
                  <a:schemeClr val="accent2"/>
                </a:solidFill>
              </a:defRPr>
            </a:lvl1pPr>
          </a:lstStyle>
          <a:p>
            <a:pPr lvl="0"/>
            <a:r>
              <a:rPr lang="en-US" dirty="0"/>
              <a:t>Click to edit Master text styles</a:t>
            </a:r>
            <a:endParaRPr lang="en-GB" dirty="0"/>
          </a:p>
        </p:txBody>
      </p:sp>
      <p:sp>
        <p:nvSpPr>
          <p:cNvPr id="12" name="Chart Placeholder 15"/>
          <p:cNvSpPr>
            <a:spLocks noGrp="1"/>
          </p:cNvSpPr>
          <p:nvPr>
            <p:ph type="chart" sz="quarter" idx="16"/>
          </p:nvPr>
        </p:nvSpPr>
        <p:spPr>
          <a:xfrm>
            <a:off x="1051694" y="1740117"/>
            <a:ext cx="5130062" cy="2128837"/>
          </a:xfrm>
        </p:spPr>
        <p:txBody>
          <a:bodyPr/>
          <a:lstStyle/>
          <a:p>
            <a:endParaRPr lang="en-GB"/>
          </a:p>
        </p:txBody>
      </p:sp>
      <p:sp>
        <p:nvSpPr>
          <p:cNvPr id="14" name="Text Placeholder 17"/>
          <p:cNvSpPr>
            <a:spLocks noGrp="1"/>
          </p:cNvSpPr>
          <p:nvPr>
            <p:ph type="body" sz="quarter" idx="17"/>
          </p:nvPr>
        </p:nvSpPr>
        <p:spPr>
          <a:xfrm>
            <a:off x="1051694" y="4019284"/>
            <a:ext cx="5130062" cy="2176463"/>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Rectangle 14"/>
          <p:cNvSpPr/>
          <p:nvPr userDrawn="1"/>
        </p:nvSpPr>
        <p:spPr>
          <a:xfrm>
            <a:off x="958653" y="1626715"/>
            <a:ext cx="5455398" cy="4681331"/>
          </a:xfrm>
          <a:prstGeom prst="rect">
            <a:avLst/>
          </a:prstGeom>
          <a:no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lIns="96653" tIns="48326" rIns="96653" bIns="48326" rtlCol="0" anchor="ctr"/>
          <a:lstStyle/>
          <a:p>
            <a:pPr algn="ctr"/>
            <a:endParaRPr lang="en-GB">
              <a:solidFill>
                <a:prstClr val="white"/>
              </a:solidFill>
            </a:endParaRPr>
          </a:p>
        </p:txBody>
      </p:sp>
      <p:sp>
        <p:nvSpPr>
          <p:cNvPr id="4" name="Content Placeholder 3"/>
          <p:cNvSpPr>
            <a:spLocks noGrp="1"/>
          </p:cNvSpPr>
          <p:nvPr>
            <p:ph sz="quarter" idx="18"/>
          </p:nvPr>
        </p:nvSpPr>
        <p:spPr>
          <a:xfrm>
            <a:off x="6771221" y="4019558"/>
            <a:ext cx="5065182" cy="217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17875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1"/>
          </p:nvPr>
        </p:nvSpPr>
        <p:spPr/>
        <p:txBody>
          <a:bodyPr/>
          <a:lstStyle/>
          <a:p>
            <a:fld id="{7AF248C6-2C41-44AA-BDC6-BEF6EA060CE1}"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00745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ontent &amp;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Picture Placeholder 5"/>
          <p:cNvSpPr>
            <a:spLocks noGrp="1"/>
          </p:cNvSpPr>
          <p:nvPr>
            <p:ph type="pic" sz="quarter" idx="10"/>
          </p:nvPr>
        </p:nvSpPr>
        <p:spPr>
          <a:xfrm>
            <a:off x="6191251" y="1657350"/>
            <a:ext cx="5665788" cy="4438650"/>
          </a:xfrm>
          <a:solidFill>
            <a:schemeClr val="bg1">
              <a:lumMod val="95000"/>
            </a:schemeClr>
          </a:solidFill>
        </p:spPr>
        <p:txBody>
          <a:bodyPr anchor="ctr"/>
          <a:lstStyle>
            <a:lvl1pPr algn="ctr">
              <a:defRPr>
                <a:solidFill>
                  <a:schemeClr val="tx1"/>
                </a:solidFill>
              </a:defRPr>
            </a:lvl1pPr>
          </a:lstStyle>
          <a:p>
            <a:endParaRPr lang="en-GB" dirty="0"/>
          </a:p>
        </p:txBody>
      </p:sp>
      <p:sp>
        <p:nvSpPr>
          <p:cNvPr id="7" name="Content Placeholder 2"/>
          <p:cNvSpPr>
            <a:spLocks noGrp="1"/>
          </p:cNvSpPr>
          <p:nvPr>
            <p:ph idx="1"/>
          </p:nvPr>
        </p:nvSpPr>
        <p:spPr>
          <a:xfrm>
            <a:off x="339105" y="1661686"/>
            <a:ext cx="5671171" cy="4434314"/>
          </a:xfrm>
        </p:spPr>
        <p:txBody>
          <a:bodyPr lIns="0" tIns="0" rIns="0" b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Slide Number Placeholder 6"/>
          <p:cNvSpPr>
            <a:spLocks noGrp="1"/>
          </p:cNvSpPr>
          <p:nvPr>
            <p:ph type="sldNum" sz="quarter" idx="12"/>
          </p:nvPr>
        </p:nvSpPr>
        <p:spPr>
          <a:xfrm>
            <a:off x="11378565" y="6453336"/>
            <a:ext cx="478473" cy="216024"/>
          </a:xfrm>
          <a:prstGeom prst="rect">
            <a:avLst/>
          </a:prstGeom>
        </p:spPr>
        <p:txBody>
          <a:bodyPr lIns="0" tIns="0" rIns="0" bIns="0" anchor="ctr" anchorCtr="0"/>
          <a:lstStyle>
            <a:lvl1pPr algn="r">
              <a:defRPr sz="750"/>
            </a:lvl1pPr>
          </a:lstStyle>
          <a:p>
            <a:pPr>
              <a:defRPr/>
            </a:pPr>
            <a:fld id="{9CCEE105-BF64-4091-81C0-CDA1A718C14A}" type="slidenum">
              <a:rPr lang="en-GB" smtClean="0">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39536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360" imgH="360" progId="TCLayout.ActiveDocument.1">
                  <p:embed/>
                </p:oleObj>
              </mc:Choice>
              <mc:Fallback>
                <p:oleObj name="think-cell Slide" r:id="rId4" imgW="360" imgH="360"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7"/>
          <p:cNvSpPr>
            <a:spLocks noGrp="1"/>
          </p:cNvSpPr>
          <p:nvPr>
            <p:ph type="ftr" sz="quarter" idx="10"/>
          </p:nvPr>
        </p:nvSpPr>
        <p:spPr>
          <a:xfrm>
            <a:off x="3530600" y="2"/>
            <a:ext cx="7145867" cy="298450"/>
          </a:xfrm>
          <a:prstGeom prst="rect">
            <a:avLst/>
          </a:prstGeom>
        </p:spPr>
        <p:txBody>
          <a:bodyPr lIns="86493" tIns="43247" rIns="86493" bIns="43247"/>
          <a:lstStyle>
            <a:lvl1pPr>
              <a:defRPr/>
            </a:lvl1pPr>
          </a:lstStyle>
          <a:p>
            <a:pPr>
              <a:defRPr/>
            </a:pPr>
            <a:endParaRPr lang="en-AU">
              <a:solidFill>
                <a:srgbClr val="646464"/>
              </a:solidFill>
            </a:endParaRPr>
          </a:p>
        </p:txBody>
      </p:sp>
      <p:sp>
        <p:nvSpPr>
          <p:cNvPr id="5" name="Slide Number Placeholder 5"/>
          <p:cNvSpPr>
            <a:spLocks noGrp="1"/>
          </p:cNvSpPr>
          <p:nvPr>
            <p:ph type="sldNum" sz="quarter" idx="11"/>
          </p:nvPr>
        </p:nvSpPr>
        <p:spPr>
          <a:xfrm>
            <a:off x="11049000" y="2"/>
            <a:ext cx="823384" cy="298450"/>
          </a:xfrm>
          <a:prstGeom prst="rect">
            <a:avLst/>
          </a:prstGeom>
        </p:spPr>
        <p:txBody>
          <a:bodyPr lIns="86493" tIns="43247" rIns="86493" bIns="43247"/>
          <a:lstStyle>
            <a:lvl1pPr>
              <a:defRPr/>
            </a:lvl1pPr>
          </a:lstStyle>
          <a:p>
            <a:pPr>
              <a:defRPr/>
            </a:pPr>
            <a:fld id="{C40FD238-5F1E-4BB7-8E3B-901AE7C27386}" type="slidenum">
              <a:rPr lang="en-GB">
                <a:solidFill>
                  <a:srgbClr val="646464"/>
                </a:solidFill>
              </a:rPr>
              <a:pPr>
                <a:defRPr/>
              </a:pPr>
              <a:t>‹#›</a:t>
            </a:fld>
            <a:endParaRPr lang="en-GB">
              <a:solidFill>
                <a:srgbClr val="646464"/>
              </a:solidFill>
            </a:endParaRPr>
          </a:p>
        </p:txBody>
      </p:sp>
      <p:sp>
        <p:nvSpPr>
          <p:cNvPr id="6" name="Date Placeholder 6"/>
          <p:cNvSpPr>
            <a:spLocks noGrp="1"/>
          </p:cNvSpPr>
          <p:nvPr>
            <p:ph type="dt" sz="half" idx="12"/>
          </p:nvPr>
        </p:nvSpPr>
        <p:spPr>
          <a:xfrm>
            <a:off x="1049870" y="2"/>
            <a:ext cx="2417233" cy="298450"/>
          </a:xfrm>
          <a:prstGeom prst="rect">
            <a:avLst/>
          </a:prstGeom>
        </p:spPr>
        <p:txBody>
          <a:bodyPr lIns="86493" tIns="43247" rIns="86493" bIns="43247"/>
          <a:lstStyle>
            <a:lvl1pPr>
              <a:defRPr/>
            </a:lvl1pPr>
          </a:lstStyle>
          <a:p>
            <a:pPr>
              <a:defRPr/>
            </a:pPr>
            <a:fld id="{65075492-C380-463B-BC1A-18970EE5E6B0}" type="datetime4">
              <a:rPr lang="en-AU" smtClean="0">
                <a:solidFill>
                  <a:srgbClr val="646464"/>
                </a:solidFill>
              </a:rPr>
              <a:pPr>
                <a:defRPr/>
              </a:pPr>
              <a:t>15 April 2020</a:t>
            </a:fld>
            <a:endParaRPr lang="en-AU">
              <a:solidFill>
                <a:srgbClr val="646464"/>
              </a:solidFill>
            </a:endParaRPr>
          </a:p>
        </p:txBody>
      </p:sp>
    </p:spTree>
    <p:extLst>
      <p:ext uri="{BB962C8B-B14F-4D97-AF65-F5344CB8AC3E}">
        <p14:creationId xmlns:p14="http://schemas.microsoft.com/office/powerpoint/2010/main" val="34749838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69"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3" descr="RT_logo_red"/>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70984" y="6473825"/>
            <a:ext cx="119168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txBox="1">
            <a:spLocks/>
          </p:cNvSpPr>
          <p:nvPr userDrawn="1"/>
        </p:nvSpPr>
        <p:spPr bwMode="auto">
          <a:xfrm>
            <a:off x="9599084" y="6570664"/>
            <a:ext cx="1921933"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38150">
              <a:tabLst>
                <a:tab pos="174625" algn="l"/>
              </a:tabLst>
              <a:defRPr>
                <a:solidFill>
                  <a:schemeClr val="tx1"/>
                </a:solidFill>
                <a:latin typeface="Calibri" pitchFamily="34" charset="0"/>
              </a:defRPr>
            </a:lvl1pPr>
            <a:lvl2pPr marL="742950" indent="-285750" defTabSz="438150">
              <a:tabLst>
                <a:tab pos="174625" algn="l"/>
              </a:tabLst>
              <a:defRPr>
                <a:solidFill>
                  <a:schemeClr val="tx1"/>
                </a:solidFill>
                <a:latin typeface="Calibri" pitchFamily="34" charset="0"/>
              </a:defRPr>
            </a:lvl2pPr>
            <a:lvl3pPr marL="1143000" indent="-228600" defTabSz="438150">
              <a:tabLst>
                <a:tab pos="174625" algn="l"/>
              </a:tabLst>
              <a:defRPr>
                <a:solidFill>
                  <a:schemeClr val="tx1"/>
                </a:solidFill>
                <a:latin typeface="Calibri" pitchFamily="34" charset="0"/>
              </a:defRPr>
            </a:lvl3pPr>
            <a:lvl4pPr marL="1600200" indent="-228600" defTabSz="438150">
              <a:tabLst>
                <a:tab pos="174625" algn="l"/>
              </a:tabLst>
              <a:defRPr>
                <a:solidFill>
                  <a:schemeClr val="tx1"/>
                </a:solidFill>
                <a:latin typeface="Calibri" pitchFamily="34" charset="0"/>
              </a:defRPr>
            </a:lvl4pPr>
            <a:lvl5pPr marL="2057400" indent="-228600" defTabSz="438150">
              <a:tabLst>
                <a:tab pos="174625" algn="l"/>
              </a:tabLst>
              <a:defRPr>
                <a:solidFill>
                  <a:schemeClr val="tx1"/>
                </a:solidFill>
                <a:latin typeface="Calibri" pitchFamily="34" charset="0"/>
              </a:defRPr>
            </a:lvl5pPr>
            <a:lvl6pPr marL="2514600" indent="-228600" defTabSz="438150" fontAlgn="base">
              <a:spcBef>
                <a:spcPct val="0"/>
              </a:spcBef>
              <a:spcAft>
                <a:spcPct val="0"/>
              </a:spcAft>
              <a:tabLst>
                <a:tab pos="174625" algn="l"/>
              </a:tabLst>
              <a:defRPr>
                <a:solidFill>
                  <a:schemeClr val="tx1"/>
                </a:solidFill>
                <a:latin typeface="Calibri" pitchFamily="34" charset="0"/>
              </a:defRPr>
            </a:lvl6pPr>
            <a:lvl7pPr marL="2971800" indent="-228600" defTabSz="438150" fontAlgn="base">
              <a:spcBef>
                <a:spcPct val="0"/>
              </a:spcBef>
              <a:spcAft>
                <a:spcPct val="0"/>
              </a:spcAft>
              <a:tabLst>
                <a:tab pos="174625" algn="l"/>
              </a:tabLst>
              <a:defRPr>
                <a:solidFill>
                  <a:schemeClr val="tx1"/>
                </a:solidFill>
                <a:latin typeface="Calibri" pitchFamily="34" charset="0"/>
              </a:defRPr>
            </a:lvl7pPr>
            <a:lvl8pPr marL="3429000" indent="-228600" defTabSz="438150" fontAlgn="base">
              <a:spcBef>
                <a:spcPct val="0"/>
              </a:spcBef>
              <a:spcAft>
                <a:spcPct val="0"/>
              </a:spcAft>
              <a:tabLst>
                <a:tab pos="174625" algn="l"/>
              </a:tabLst>
              <a:defRPr>
                <a:solidFill>
                  <a:schemeClr val="tx1"/>
                </a:solidFill>
                <a:latin typeface="Calibri" pitchFamily="34" charset="0"/>
              </a:defRPr>
            </a:lvl8pPr>
            <a:lvl9pPr marL="3886200" indent="-228600" defTabSz="438150" fontAlgn="base">
              <a:spcBef>
                <a:spcPct val="0"/>
              </a:spcBef>
              <a:spcAft>
                <a:spcPct val="0"/>
              </a:spcAft>
              <a:tabLst>
                <a:tab pos="174625" algn="l"/>
              </a:tabLst>
              <a:defRPr>
                <a:solidFill>
                  <a:schemeClr val="tx1"/>
                </a:solidFill>
                <a:latin typeface="Calibri" pitchFamily="34" charset="0"/>
              </a:defRPr>
            </a:lvl9pPr>
          </a:lstStyle>
          <a:p>
            <a:pPr algn="r" eaLnBrk="0" fontAlgn="base" hangingPunct="0">
              <a:lnSpc>
                <a:spcPct val="90000"/>
              </a:lnSpc>
              <a:spcBef>
                <a:spcPct val="0"/>
              </a:spcBef>
              <a:spcAft>
                <a:spcPct val="0"/>
              </a:spcAft>
              <a:buFont typeface="Arial" pitchFamily="34" charset="0"/>
              <a:buNone/>
              <a:defRPr/>
            </a:pPr>
            <a:r>
              <a:rPr lang="en-US" altLang="en-US" sz="600">
                <a:solidFill>
                  <a:srgbClr val="000000"/>
                </a:solidFill>
                <a:latin typeface="Arial" pitchFamily="34" charset="0"/>
                <a:ea typeface="Geneva"/>
                <a:cs typeface="Geneva"/>
              </a:rPr>
              <a:t>©2014, Rio Tinto, All Rights Reserved</a:t>
            </a:r>
            <a:endParaRPr lang="en-GB" altLang="en-US" sz="600">
              <a:solidFill>
                <a:srgbClr val="000000"/>
              </a:solidFill>
              <a:latin typeface="Arial" pitchFamily="34" charset="0"/>
              <a:ea typeface="Geneva"/>
              <a:cs typeface="Geneva"/>
            </a:endParaRPr>
          </a:p>
        </p:txBody>
      </p:sp>
      <p:cxnSp>
        <p:nvCxnSpPr>
          <p:cNvPr id="7" name="Straight Connector 6"/>
          <p:cNvCxnSpPr/>
          <p:nvPr userDrawn="1"/>
        </p:nvCxnSpPr>
        <p:spPr>
          <a:xfrm>
            <a:off x="673100" y="287339"/>
            <a:ext cx="10847917" cy="1587"/>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72004" y="432000"/>
            <a:ext cx="10846899" cy="864000"/>
          </a:xfrm>
        </p:spPr>
        <p:txBody>
          <a:bodyPr>
            <a:normAutofit/>
          </a:bodyPr>
          <a:lstStyle>
            <a:lvl1pPr>
              <a:defRPr>
                <a:solidFill>
                  <a:schemeClr val="tx1"/>
                </a:solidFill>
              </a:defRPr>
            </a:lvl1pPr>
          </a:lstStyle>
          <a:p>
            <a:r>
              <a:rPr lang="en-US"/>
              <a:t>Click to edit Master title style</a:t>
            </a:r>
            <a:endParaRPr lang="en-US" dirty="0"/>
          </a:p>
        </p:txBody>
      </p:sp>
      <p:sp>
        <p:nvSpPr>
          <p:cNvPr id="14" name="Text Placeholder 13"/>
          <p:cNvSpPr>
            <a:spLocks noGrp="1"/>
          </p:cNvSpPr>
          <p:nvPr>
            <p:ph type="body" sz="quarter" idx="10"/>
          </p:nvPr>
        </p:nvSpPr>
        <p:spPr>
          <a:xfrm>
            <a:off x="672459" y="1530001"/>
            <a:ext cx="10848000" cy="47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5"/>
          <p:cNvSpPr>
            <a:spLocks noGrp="1"/>
          </p:cNvSpPr>
          <p:nvPr>
            <p:ph type="sldNum" sz="quarter" idx="12"/>
          </p:nvPr>
        </p:nvSpPr>
        <p:spPr>
          <a:xfrm>
            <a:off x="10560051" y="288925"/>
            <a:ext cx="960967" cy="153988"/>
          </a:xfrm>
          <a:prstGeom prst="rect">
            <a:avLst/>
          </a:prstGeom>
        </p:spPr>
        <p:txBody>
          <a:bodyPr>
            <a:noAutofit/>
          </a:bodyPr>
          <a:lstStyle>
            <a:lvl1pPr algn="r" defTabSz="914400" fontAlgn="auto">
              <a:spcBef>
                <a:spcPts val="0"/>
              </a:spcBef>
              <a:spcAft>
                <a:spcPts val="0"/>
              </a:spcAft>
              <a:defRPr sz="800">
                <a:solidFill>
                  <a:srgbClr val="000000"/>
                </a:solidFill>
                <a:latin typeface="Arial" pitchFamily="51" charset="0"/>
                <a:ea typeface="Arial" pitchFamily="51" charset="0"/>
                <a:cs typeface="Arial" pitchFamily="51" charset="0"/>
              </a:defRPr>
            </a:lvl1pPr>
          </a:lstStyle>
          <a:p>
            <a:pPr>
              <a:defRPr/>
            </a:pPr>
            <a:fld id="{5B1F78CD-D51A-4ECB-9DEE-C50A68467FD7}" type="slidenum">
              <a:rPr lang="en-US"/>
              <a:pPr>
                <a:defRPr/>
              </a:pPr>
              <a:t>‹#›</a:t>
            </a:fld>
            <a:endParaRPr lang="en-US" dirty="0"/>
          </a:p>
        </p:txBody>
      </p:sp>
    </p:spTree>
    <p:extLst>
      <p:ext uri="{BB962C8B-B14F-4D97-AF65-F5344CB8AC3E}">
        <p14:creationId xmlns:p14="http://schemas.microsoft.com/office/powerpoint/2010/main" val="3047007535"/>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150421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ong 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18696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327294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ong Title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88233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8B5018-BEF2-9049-A352-98ACBA1E585C}"/>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3" name="Footer Placeholder 2">
            <a:extLst>
              <a:ext uri="{FF2B5EF4-FFF2-40B4-BE49-F238E27FC236}">
                <a16:creationId xmlns:a16="http://schemas.microsoft.com/office/drawing/2014/main" id="{5F829838-BDF7-7040-A6C6-5C5998C406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D183586-DED8-884B-A2A5-BCDC09DFE43E}"/>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23202108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161747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ong Title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59779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337448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ong Title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394894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Rub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312413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ong Title Slide Rub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386454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334963" y="756745"/>
            <a:ext cx="5267325" cy="32024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Subtitle 2"/>
          <p:cNvSpPr>
            <a:spLocks noGrp="1"/>
          </p:cNvSpPr>
          <p:nvPr userDrawn="1">
            <p:ph type="subTitle" idx="1"/>
          </p:nvPr>
        </p:nvSpPr>
        <p:spPr>
          <a:xfrm>
            <a:off x="615583" y="2940182"/>
            <a:ext cx="4745037"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6" name="Title 1"/>
          <p:cNvSpPr>
            <a:spLocks noGrp="1"/>
          </p:cNvSpPr>
          <p:nvPr>
            <p:ph type="ctrTitle"/>
          </p:nvPr>
        </p:nvSpPr>
        <p:spPr>
          <a:xfrm>
            <a:off x="615583" y="1514747"/>
            <a:ext cx="4745037"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9" name="Text Placeholder 18"/>
          <p:cNvSpPr>
            <a:spLocks noGrp="1"/>
          </p:cNvSpPr>
          <p:nvPr>
            <p:ph type="body" sz="quarter" idx="10" hasCustomPrompt="1"/>
          </p:nvPr>
        </p:nvSpPr>
        <p:spPr>
          <a:xfrm>
            <a:off x="615583" y="3416914"/>
            <a:ext cx="4745037"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62037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ong Title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32024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Subtitle 2"/>
          <p:cNvSpPr>
            <a:spLocks noGrp="1"/>
          </p:cNvSpPr>
          <p:nvPr>
            <p:ph type="subTitle" idx="1"/>
          </p:nvPr>
        </p:nvSpPr>
        <p:spPr>
          <a:xfrm>
            <a:off x="615584" y="2940182"/>
            <a:ext cx="6878910" cy="461665"/>
          </a:xfrm>
        </p:spPr>
        <p:txBody>
          <a:bodyPr anchor="ctr"/>
          <a:lstStyle>
            <a:lvl1pPr marL="0" indent="0" algn="l">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17" name="Title 1"/>
          <p:cNvSpPr>
            <a:spLocks noGrp="1"/>
          </p:cNvSpPr>
          <p:nvPr>
            <p:ph type="ctrTitle"/>
          </p:nvPr>
        </p:nvSpPr>
        <p:spPr>
          <a:xfrm>
            <a:off x="615584" y="1514747"/>
            <a:ext cx="6878910" cy="1323439"/>
          </a:xfrm>
        </p:spPr>
        <p:txBody>
          <a:bodyPr lIns="0" anchor="ctr">
            <a:normAutofit/>
          </a:bodyPr>
          <a:lstStyle>
            <a:lvl1pPr algn="l">
              <a:defRPr sz="4000">
                <a:solidFill>
                  <a:schemeClr val="bg1"/>
                </a:solidFill>
                <a:latin typeface="+mn-lt"/>
              </a:defRPr>
            </a:lvl1pPr>
          </a:lstStyle>
          <a:p>
            <a:r>
              <a:rPr lang="en-US" dirty="0"/>
              <a:t>Click to edit Master title style</a:t>
            </a:r>
            <a:endParaRPr lang="en-GB" dirty="0"/>
          </a:p>
        </p:txBody>
      </p:sp>
      <p:sp>
        <p:nvSpPr>
          <p:cNvPr id="18" name="Text Placeholder 18"/>
          <p:cNvSpPr>
            <a:spLocks noGrp="1"/>
          </p:cNvSpPr>
          <p:nvPr>
            <p:ph type="body" sz="quarter" idx="10" hasCustomPrompt="1"/>
          </p:nvPr>
        </p:nvSpPr>
        <p:spPr>
          <a:xfrm>
            <a:off x="615584" y="3416914"/>
            <a:ext cx="6878910" cy="369332"/>
          </a:xfrm>
        </p:spPr>
        <p:txBody>
          <a:bodyPr anchor="ctr">
            <a:normAutofit/>
          </a:bodyPr>
          <a:lstStyle>
            <a:lvl1pPr marL="0" indent="0">
              <a:buNone/>
              <a:defRPr sz="1800" b="0">
                <a:solidFill>
                  <a:schemeClr val="bg1"/>
                </a:solidFill>
                <a:latin typeface="+mn-lt"/>
              </a:defRPr>
            </a:lvl1pPr>
          </a:lstStyle>
          <a:p>
            <a:pPr lvl="0"/>
            <a:r>
              <a:rPr lang="en-US" dirty="0"/>
              <a:t>Click to edit 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4963" y="756745"/>
            <a:ext cx="1930415" cy="705600"/>
          </a:xfrm>
          <a:prstGeom prst="rect">
            <a:avLst/>
          </a:prstGeom>
        </p:spPr>
      </p:pic>
    </p:spTree>
    <p:extLst>
      <p:ext uri="{BB962C8B-B14F-4D97-AF65-F5344CB8AC3E}">
        <p14:creationId xmlns:p14="http://schemas.microsoft.com/office/powerpoint/2010/main" val="790196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3" y="756745"/>
            <a:ext cx="7240213" cy="14336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7958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334963" y="756745"/>
            <a:ext cx="7240213" cy="1433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9"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21253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E172D-4B06-9F49-AAC9-48DA665533E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C5B6FEA-0A2C-E344-9DA7-FAB022F13D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0D8AADE-6112-4F43-AABD-6F3400783D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7675D56-70BD-E14D-9139-FF8B88D54AF7}"/>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6" name="Footer Placeholder 5">
            <a:extLst>
              <a:ext uri="{FF2B5EF4-FFF2-40B4-BE49-F238E27FC236}">
                <a16:creationId xmlns:a16="http://schemas.microsoft.com/office/drawing/2014/main" id="{3312C5B8-C913-354B-A603-C13434E304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F569F7-E50E-FE45-AA38-B002B5301509}"/>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26397989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34963" y="756745"/>
            <a:ext cx="7240213" cy="1433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49457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lide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3" y="756745"/>
            <a:ext cx="7240213" cy="14336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65000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Slide Rub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3" y="756745"/>
            <a:ext cx="7240213" cy="143364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5396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334963" y="756745"/>
            <a:ext cx="7240213" cy="143364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ext Placeholder 14"/>
          <p:cNvSpPr>
            <a:spLocks noGrp="1"/>
          </p:cNvSpPr>
          <p:nvPr>
            <p:ph type="body" sz="quarter" idx="11"/>
          </p:nvPr>
        </p:nvSpPr>
        <p:spPr>
          <a:xfrm>
            <a:off x="615584" y="808891"/>
            <a:ext cx="6878910" cy="1329350"/>
          </a:xfrm>
          <a:noFill/>
        </p:spPr>
        <p:txBody>
          <a:bodyPr wrap="square" lIns="72000" tIns="36000" rIns="72000" bIns="36000" anchor="ctr">
            <a:noAutofit/>
          </a:bodyPr>
          <a:lstStyle>
            <a:lvl1pPr>
              <a:lnSpc>
                <a:spcPct val="90000"/>
              </a:lnSpc>
              <a:spcBef>
                <a:spcPts val="0"/>
              </a:spcBef>
              <a:defRPr sz="4000" b="0">
                <a:solidFill>
                  <a:schemeClr val="bg1"/>
                </a:solidFill>
              </a:defRPr>
            </a:lvl1pPr>
          </a:lstStyle>
          <a:p>
            <a:pPr lvl="0"/>
            <a:r>
              <a:rPr lang="en-US" dirty="0"/>
              <a:t>Click to edit Master text styles</a:t>
            </a:r>
          </a:p>
        </p:txBody>
      </p:sp>
      <p:grpSp>
        <p:nvGrpSpPr>
          <p:cNvPr id="5" name="Group 4"/>
          <p:cNvGrpSpPr>
            <a:grpSpLocks noChangeAspect="1"/>
          </p:cNvGrpSpPr>
          <p:nvPr userDrawn="1"/>
        </p:nvGrpSpPr>
        <p:grpSpPr bwMode="auto">
          <a:xfrm>
            <a:off x="334963" y="6396038"/>
            <a:ext cx="965200" cy="352425"/>
            <a:chOff x="211" y="4029"/>
            <a:chExt cx="608" cy="222"/>
          </a:xfrm>
        </p:grpSpPr>
        <p:sp>
          <p:nvSpPr>
            <p:cNvPr id="6"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84305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8" name="Slide Number Placeholder 7"/>
          <p:cNvSpPr>
            <a:spLocks noGrp="1"/>
          </p:cNvSpPr>
          <p:nvPr>
            <p:ph type="sldNum" sz="quarter" idx="13"/>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0" name="Content Placeholder 2"/>
          <p:cNvSpPr>
            <a:spLocks noGrp="1"/>
          </p:cNvSpPr>
          <p:nvPr>
            <p:ph sz="quarter" idx="16"/>
          </p:nvPr>
        </p:nvSpPr>
        <p:spPr>
          <a:xfrm>
            <a:off x="339106" y="1661686"/>
            <a:ext cx="11517932" cy="4438650"/>
          </a:xfrm>
        </p:spPr>
        <p:txBody>
          <a:bodyPr/>
          <a:lstStyle/>
          <a:p>
            <a:pPr lvl="0"/>
            <a:r>
              <a:rPr lang="en-US" dirty="0"/>
              <a:t>Click to edit Master text styles</a:t>
            </a:r>
          </a:p>
          <a:p>
            <a:pPr lvl="1"/>
            <a:r>
              <a:rPr lang="en-US" dirty="0"/>
              <a:t>Second level</a:t>
            </a:r>
          </a:p>
        </p:txBody>
      </p:sp>
      <p:sp>
        <p:nvSpPr>
          <p:cNvPr id="2" name="Date Placeholder 1"/>
          <p:cNvSpPr>
            <a:spLocks noGrp="1"/>
          </p:cNvSpPr>
          <p:nvPr>
            <p:ph type="dt" sz="half" idx="17"/>
          </p:nvPr>
        </p:nvSpPr>
        <p:spPr/>
        <p:txBody>
          <a:bodyPr/>
          <a:lstStyle/>
          <a:p>
            <a:fld id="{F70290F4-3857-4872-8AE4-DA58ED8B3950}"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75920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6" name="Content Placeholder 2"/>
          <p:cNvSpPr>
            <a:spLocks noGrp="1"/>
          </p:cNvSpPr>
          <p:nvPr>
            <p:ph idx="1"/>
          </p:nvPr>
        </p:nvSpPr>
        <p:spPr>
          <a:xfrm>
            <a:off x="339106" y="1661686"/>
            <a:ext cx="5671170" cy="443431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2"/>
          <p:cNvSpPr>
            <a:spLocks noGrp="1"/>
          </p:cNvSpPr>
          <p:nvPr>
            <p:ph idx="10"/>
          </p:nvPr>
        </p:nvSpPr>
        <p:spPr>
          <a:xfrm>
            <a:off x="6193059" y="1661686"/>
            <a:ext cx="5671170" cy="443431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1"/>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2"/>
          </p:nvPr>
        </p:nvSpPr>
        <p:spPr/>
        <p:txBody>
          <a:bodyPr/>
          <a:lstStyle/>
          <a:p>
            <a:fld id="{2060C962-51B4-4A11-8D76-DBDADE6EAB81}"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384353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8" name="Content Placeholder 2"/>
          <p:cNvSpPr>
            <a:spLocks noGrp="1"/>
          </p:cNvSpPr>
          <p:nvPr>
            <p:ph idx="1"/>
          </p:nvPr>
        </p:nvSpPr>
        <p:spPr>
          <a:xfrm>
            <a:off x="339106" y="1661686"/>
            <a:ext cx="5671170"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1"/>
          </p:nvPr>
        </p:nvSpPr>
        <p:spPr>
          <a:xfrm>
            <a:off x="339106" y="3974581"/>
            <a:ext cx="5671170"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idx="12"/>
          </p:nvPr>
        </p:nvSpPr>
        <p:spPr>
          <a:xfrm>
            <a:off x="6193059" y="1661686"/>
            <a:ext cx="5671170" cy="4432634"/>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3"/>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4"/>
          </p:nvPr>
        </p:nvSpPr>
        <p:spPr/>
        <p:txBody>
          <a:bodyPr/>
          <a:lstStyle/>
          <a:p>
            <a:fld id="{00FEB55F-AD44-4E77-ADD5-3355BF7AEF02}"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422012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ne Image and Conten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37345" y="6123760"/>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9" name="Picture Placeholder 5"/>
          <p:cNvSpPr>
            <a:spLocks noGrp="1"/>
          </p:cNvSpPr>
          <p:nvPr>
            <p:ph type="pic" sz="quarter" idx="14"/>
          </p:nvPr>
        </p:nvSpPr>
        <p:spPr>
          <a:xfrm>
            <a:off x="33734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1" name="Content Placeholder 2"/>
          <p:cNvSpPr>
            <a:spLocks noGrp="1"/>
          </p:cNvSpPr>
          <p:nvPr>
            <p:ph idx="15"/>
          </p:nvPr>
        </p:nvSpPr>
        <p:spPr>
          <a:xfrm>
            <a:off x="4310396" y="1657350"/>
            <a:ext cx="7547588" cy="4438800"/>
          </a:xfrm>
        </p:spPr>
        <p:txBody>
          <a:bodyPr lIns="0" tIns="0" rIns="0" bIns="0"/>
          <a:lstStyle/>
          <a:p>
            <a:pPr lvl="0"/>
            <a:r>
              <a:rPr lang="en-US" dirty="0"/>
              <a:t>Click to edit Master text styles</a:t>
            </a:r>
          </a:p>
          <a:p>
            <a:pPr lvl="1"/>
            <a:r>
              <a:rPr lang="en-US" dirty="0"/>
              <a:t>Second level</a:t>
            </a:r>
          </a:p>
        </p:txBody>
      </p:sp>
      <p:sp>
        <p:nvSpPr>
          <p:cNvPr id="5" name="Title 4"/>
          <p:cNvSpPr>
            <a:spLocks noGrp="1"/>
          </p:cNvSpPr>
          <p:nvPr>
            <p:ph type="title"/>
          </p:nvPr>
        </p:nvSpPr>
        <p:spPr/>
        <p:txBody>
          <a:bodyPr/>
          <a:lstStyle/>
          <a:p>
            <a:r>
              <a:rPr lang="en-US"/>
              <a:t>Click to edit Master title style</a:t>
            </a:r>
            <a:endParaRPr lang="en-GB"/>
          </a:p>
        </p:txBody>
      </p:sp>
      <p:sp>
        <p:nvSpPr>
          <p:cNvPr id="8" name="Slide Number Placeholder 7"/>
          <p:cNvSpPr>
            <a:spLocks noGrp="1"/>
          </p:cNvSpPr>
          <p:nvPr>
            <p:ph type="sldNum" sz="quarter" idx="17"/>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2" name="Date Placeholder 1"/>
          <p:cNvSpPr>
            <a:spLocks noGrp="1"/>
          </p:cNvSpPr>
          <p:nvPr>
            <p:ph type="dt" sz="half" idx="18"/>
          </p:nvPr>
        </p:nvSpPr>
        <p:spPr/>
        <p:txBody>
          <a:bodyPr/>
          <a:lstStyle/>
          <a:p>
            <a:fld id="{C2BEB0C7-A088-444A-8603-5273A1429899}"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06937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4" name="Picture Placeholder 5"/>
          <p:cNvSpPr>
            <a:spLocks noGrp="1"/>
          </p:cNvSpPr>
          <p:nvPr>
            <p:ph type="pic" sz="quarter" idx="11"/>
          </p:nvPr>
        </p:nvSpPr>
        <p:spPr>
          <a:xfrm>
            <a:off x="337345" y="1657350"/>
            <a:ext cx="1152128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6" name="Title 5"/>
          <p:cNvSpPr>
            <a:spLocks noGrp="1"/>
          </p:cNvSpPr>
          <p:nvPr>
            <p:ph type="title"/>
          </p:nvPr>
        </p:nvSpPr>
        <p:spPr/>
        <p:txBody>
          <a:bodyPr/>
          <a:lstStyle/>
          <a:p>
            <a:r>
              <a:rPr lang="en-US"/>
              <a:t>Click to edit Master title style</a:t>
            </a:r>
            <a:endParaRPr lang="en-GB"/>
          </a:p>
        </p:txBody>
      </p:sp>
      <p:sp>
        <p:nvSpPr>
          <p:cNvPr id="9" name="Slide Number Placeholder 8"/>
          <p:cNvSpPr>
            <a:spLocks noGrp="1"/>
          </p:cNvSpPr>
          <p:nvPr>
            <p:ph type="sldNum" sz="quarter" idx="14"/>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0" name="Text Placeholder 6"/>
          <p:cNvSpPr>
            <a:spLocks noGrp="1"/>
          </p:cNvSpPr>
          <p:nvPr>
            <p:ph type="body" sz="quarter" idx="15"/>
          </p:nvPr>
        </p:nvSpPr>
        <p:spPr>
          <a:xfrm>
            <a:off x="337344" y="6123760"/>
            <a:ext cx="11519693"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16"/>
          </p:nvPr>
        </p:nvSpPr>
        <p:spPr/>
        <p:txBody>
          <a:bodyPr/>
          <a:lstStyle/>
          <a:p>
            <a:fld id="{51EDDCDD-B1CA-4788-A141-8B021EF4B5B0}"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29751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ne Large &amp; Two Small Images">
    <p:spTree>
      <p:nvGrpSpPr>
        <p:cNvPr id="1" name=""/>
        <p:cNvGrpSpPr/>
        <p:nvPr/>
      </p:nvGrpSpPr>
      <p:grpSpPr>
        <a:xfrm>
          <a:off x="0" y="0"/>
          <a:ext cx="0" cy="0"/>
          <a:chOff x="0" y="0"/>
          <a:chExt cx="0" cy="0"/>
        </a:xfrm>
      </p:grpSpPr>
      <p:sp>
        <p:nvSpPr>
          <p:cNvPr id="8" name="Picture Placeholder 5"/>
          <p:cNvSpPr>
            <a:spLocks noGrp="1"/>
          </p:cNvSpPr>
          <p:nvPr>
            <p:ph type="pic" sz="quarter" idx="11"/>
          </p:nvPr>
        </p:nvSpPr>
        <p:spPr>
          <a:xfrm>
            <a:off x="337345" y="1657350"/>
            <a:ext cx="7661440" cy="4438650"/>
          </a:xfrm>
          <a:solidFill>
            <a:schemeClr val="tx2">
              <a:lumMod val="20000"/>
              <a:lumOff val="80000"/>
            </a:schemeClr>
          </a:solidFill>
        </p:spPr>
        <p:txBody>
          <a:bodyPr anchor="ctr"/>
          <a:lstStyle>
            <a:lvl1pPr algn="ctr">
              <a:defRPr>
                <a:solidFill>
                  <a:schemeClr val="tx1"/>
                </a:solidFill>
              </a:defRPr>
            </a:lvl1pPr>
          </a:lstStyle>
          <a:p>
            <a:endParaRPr lang="en-GB"/>
          </a:p>
        </p:txBody>
      </p:sp>
      <p:sp>
        <p:nvSpPr>
          <p:cNvPr id="10" name="Picture Placeholder 5"/>
          <p:cNvSpPr>
            <a:spLocks noGrp="1"/>
          </p:cNvSpPr>
          <p:nvPr>
            <p:ph type="pic" sz="quarter" idx="12"/>
          </p:nvPr>
        </p:nvSpPr>
        <p:spPr>
          <a:xfrm>
            <a:off x="8057025" y="1657350"/>
            <a:ext cx="3801600" cy="2192400"/>
          </a:xfrm>
          <a:solidFill>
            <a:schemeClr val="bg1">
              <a:lumMod val="95000"/>
            </a:schemeClr>
          </a:solidFill>
        </p:spPr>
        <p:txBody>
          <a:bodyPr anchor="ctr"/>
          <a:lstStyle>
            <a:lvl1pPr algn="ctr">
              <a:defRPr>
                <a:solidFill>
                  <a:schemeClr val="tx1"/>
                </a:solidFill>
              </a:defRPr>
            </a:lvl1pPr>
          </a:lstStyle>
          <a:p>
            <a:endParaRPr lang="en-GB"/>
          </a:p>
        </p:txBody>
      </p:sp>
      <p:sp>
        <p:nvSpPr>
          <p:cNvPr id="6" name="Picture Placeholder 5"/>
          <p:cNvSpPr>
            <a:spLocks noGrp="1"/>
          </p:cNvSpPr>
          <p:nvPr>
            <p:ph type="pic" sz="quarter" idx="13"/>
          </p:nvPr>
        </p:nvSpPr>
        <p:spPr>
          <a:xfrm>
            <a:off x="8057025" y="3903600"/>
            <a:ext cx="3801600" cy="2192400"/>
          </a:xfrm>
          <a:solidFill>
            <a:schemeClr val="bg1">
              <a:lumMod val="95000"/>
            </a:schemeClr>
          </a:solidFill>
        </p:spPr>
        <p:txBody>
          <a:bodyPr anchor="ctr"/>
          <a:lstStyle>
            <a:lvl1pPr algn="ctr">
              <a:defRPr>
                <a:solidFill>
                  <a:schemeClr val="tx1"/>
                </a:solidFill>
              </a:defRPr>
            </a:lvl1pPr>
          </a:lstStyle>
          <a:p>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11" name="Slide Number Placeholder 10"/>
          <p:cNvSpPr>
            <a:spLocks noGrp="1"/>
          </p:cNvSpPr>
          <p:nvPr>
            <p:ph type="sldNum" sz="quarter" idx="16"/>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3" name="Text Placeholder 6"/>
          <p:cNvSpPr>
            <a:spLocks noGrp="1"/>
          </p:cNvSpPr>
          <p:nvPr>
            <p:ph type="body" sz="quarter" idx="18"/>
          </p:nvPr>
        </p:nvSpPr>
        <p:spPr>
          <a:xfrm>
            <a:off x="337345" y="6123760"/>
            <a:ext cx="766144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4" name="Text Placeholder 6"/>
          <p:cNvSpPr>
            <a:spLocks noGrp="1"/>
          </p:cNvSpPr>
          <p:nvPr>
            <p:ph type="body" sz="quarter" idx="19"/>
          </p:nvPr>
        </p:nvSpPr>
        <p:spPr>
          <a:xfrm>
            <a:off x="8057025" y="6123760"/>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20"/>
          </p:nvPr>
        </p:nvSpPr>
        <p:spPr/>
        <p:txBody>
          <a:bodyPr/>
          <a:lstStyle/>
          <a:p>
            <a:fld id="{D6BCF9C2-3400-4F46-B176-9B86BCD4BE24}"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13767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594AF-D835-6C42-B61F-25F60C7AF9E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490B5317-8BE2-E840-B22A-472604E6B9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CEE071-28A9-C54A-AA8E-90B6DC4743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6D9E98B-D433-2D4E-907E-327F383C12E5}"/>
              </a:ext>
            </a:extLst>
          </p:cNvPr>
          <p:cNvSpPr>
            <a:spLocks noGrp="1"/>
          </p:cNvSpPr>
          <p:nvPr>
            <p:ph type="dt" sz="half" idx="10"/>
          </p:nvPr>
        </p:nvSpPr>
        <p:spPr/>
        <p:txBody>
          <a:bodyPr/>
          <a:lstStyle/>
          <a:p>
            <a:fld id="{AAA3A085-4476-BC4D-A375-5D90C1C144C4}" type="datetimeFigureOut">
              <a:rPr lang="en-US" smtClean="0"/>
              <a:t>4/15/20</a:t>
            </a:fld>
            <a:endParaRPr lang="en-US"/>
          </a:p>
        </p:txBody>
      </p:sp>
      <p:sp>
        <p:nvSpPr>
          <p:cNvPr id="6" name="Footer Placeholder 5">
            <a:extLst>
              <a:ext uri="{FF2B5EF4-FFF2-40B4-BE49-F238E27FC236}">
                <a16:creationId xmlns:a16="http://schemas.microsoft.com/office/drawing/2014/main" id="{34F264B6-12CE-B74D-ACE2-80ABA4C3CF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A61BA9-9878-AF4A-A7A4-909693649C36}"/>
              </a:ext>
            </a:extLst>
          </p:cNvPr>
          <p:cNvSpPr>
            <a:spLocks noGrp="1"/>
          </p:cNvSpPr>
          <p:nvPr>
            <p:ph type="sldNum" sz="quarter" idx="12"/>
          </p:nvPr>
        </p:nvSpPr>
        <p:spPr/>
        <p:txBody>
          <a:bodyPr/>
          <a:lstStyle/>
          <a:p>
            <a:fld id="{AA9DB153-63FC-5048-89E6-7CD0E7D9EE57}" type="slidenum">
              <a:rPr lang="en-US" smtClean="0"/>
              <a:t>‹#›</a:t>
            </a:fld>
            <a:endParaRPr lang="en-US"/>
          </a:p>
        </p:txBody>
      </p:sp>
    </p:spTree>
    <p:extLst>
      <p:ext uri="{BB962C8B-B14F-4D97-AF65-F5344CB8AC3E}">
        <p14:creationId xmlns:p14="http://schemas.microsoft.com/office/powerpoint/2010/main" val="173849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8" name="Picture Placeholder 5"/>
          <p:cNvSpPr>
            <a:spLocks noGrp="1"/>
          </p:cNvSpPr>
          <p:nvPr>
            <p:ph type="pic" sz="quarter" idx="11"/>
          </p:nvPr>
        </p:nvSpPr>
        <p:spPr>
          <a:xfrm>
            <a:off x="33734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0" name="Picture Placeholder 5"/>
          <p:cNvSpPr>
            <a:spLocks noGrp="1"/>
          </p:cNvSpPr>
          <p:nvPr>
            <p:ph type="pic" sz="quarter" idx="12"/>
          </p:nvPr>
        </p:nvSpPr>
        <p:spPr>
          <a:xfrm>
            <a:off x="805702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11" name="Picture Placeholder 5"/>
          <p:cNvSpPr>
            <a:spLocks noGrp="1"/>
          </p:cNvSpPr>
          <p:nvPr>
            <p:ph type="pic" sz="quarter" idx="13"/>
          </p:nvPr>
        </p:nvSpPr>
        <p:spPr>
          <a:xfrm>
            <a:off x="4197185" y="1657350"/>
            <a:ext cx="3801600" cy="4438650"/>
          </a:xfrm>
          <a:solidFill>
            <a:schemeClr val="bg1">
              <a:lumMod val="95000"/>
            </a:schemeClr>
          </a:solidFill>
        </p:spPr>
        <p:txBody>
          <a:bodyPr anchor="ctr"/>
          <a:lstStyle>
            <a:lvl1pPr algn="ctr">
              <a:defRPr>
                <a:solidFill>
                  <a:schemeClr val="tx1"/>
                </a:solidFill>
              </a:defRPr>
            </a:lvl1pPr>
          </a:lstStyle>
          <a:p>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7" name="Slide Number Placeholder 6"/>
          <p:cNvSpPr>
            <a:spLocks noGrp="1"/>
          </p:cNvSpPr>
          <p:nvPr>
            <p:ph type="sldNum" sz="quarter" idx="16"/>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
        <p:nvSpPr>
          <p:cNvPr id="15" name="Text Placeholder 6"/>
          <p:cNvSpPr>
            <a:spLocks noGrp="1"/>
          </p:cNvSpPr>
          <p:nvPr>
            <p:ph type="body" sz="quarter" idx="18"/>
          </p:nvPr>
        </p:nvSpPr>
        <p:spPr>
          <a:xfrm>
            <a:off x="337345" y="6123760"/>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6" name="Text Placeholder 6"/>
          <p:cNvSpPr>
            <a:spLocks noGrp="1"/>
          </p:cNvSpPr>
          <p:nvPr>
            <p:ph type="body" sz="quarter" idx="19"/>
          </p:nvPr>
        </p:nvSpPr>
        <p:spPr>
          <a:xfrm>
            <a:off x="4197185" y="6123760"/>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17" name="Text Placeholder 6"/>
          <p:cNvSpPr>
            <a:spLocks noGrp="1"/>
          </p:cNvSpPr>
          <p:nvPr>
            <p:ph type="body" sz="quarter" idx="20"/>
          </p:nvPr>
        </p:nvSpPr>
        <p:spPr>
          <a:xfrm>
            <a:off x="8057025" y="6123760"/>
            <a:ext cx="3801600" cy="269420"/>
          </a:xfrm>
        </p:spPr>
        <p:txBody>
          <a:bodyPr anchor="ctr">
            <a:noAutofit/>
          </a:bodyPr>
          <a:lstStyle>
            <a:lvl1pPr algn="r">
              <a:lnSpc>
                <a:spcPct val="85000"/>
              </a:lnSpc>
              <a:spcBef>
                <a:spcPts val="0"/>
              </a:spcBef>
              <a:defRPr sz="1000" b="0" baseline="0">
                <a:solidFill>
                  <a:schemeClr val="tx1"/>
                </a:solidFill>
              </a:defRPr>
            </a:lvl1pPr>
          </a:lstStyle>
          <a:p>
            <a:pPr lvl="0"/>
            <a:r>
              <a:rPr lang="en-US" dirty="0"/>
              <a:t>Click to edit Master text styles</a:t>
            </a:r>
          </a:p>
        </p:txBody>
      </p:sp>
      <p:sp>
        <p:nvSpPr>
          <p:cNvPr id="2" name="Date Placeholder 1"/>
          <p:cNvSpPr>
            <a:spLocks noGrp="1"/>
          </p:cNvSpPr>
          <p:nvPr>
            <p:ph type="dt" sz="half" idx="21"/>
          </p:nvPr>
        </p:nvSpPr>
        <p:spPr/>
        <p:txBody>
          <a:bodyPr/>
          <a:lstStyle/>
          <a:p>
            <a:fld id="{67BA9D25-5ECF-4C2B-9C26-5389D32E8784}"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95352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Map">
    <p:spTree>
      <p:nvGrpSpPr>
        <p:cNvPr id="1" name=""/>
        <p:cNvGrpSpPr/>
        <p:nvPr/>
      </p:nvGrpSpPr>
      <p:grpSpPr>
        <a:xfrm>
          <a:off x="0" y="0"/>
          <a:ext cx="0" cy="0"/>
          <a:chOff x="0" y="0"/>
          <a:chExt cx="0" cy="0"/>
        </a:xfrm>
      </p:grpSpPr>
      <p:grpSp>
        <p:nvGrpSpPr>
          <p:cNvPr id="4" name="Group 18"/>
          <p:cNvGrpSpPr/>
          <p:nvPr userDrawn="1"/>
        </p:nvGrpSpPr>
        <p:grpSpPr>
          <a:xfrm>
            <a:off x="2081589" y="1640981"/>
            <a:ext cx="8028823" cy="4485094"/>
            <a:chOff x="1" y="1196978"/>
            <a:chExt cx="9139240" cy="5105401"/>
          </a:xfrm>
          <a:solidFill>
            <a:srgbClr val="CCCCCC"/>
          </a:solidFill>
        </p:grpSpPr>
        <p:sp>
          <p:nvSpPr>
            <p:cNvPr id="5" name="Freeform 4"/>
            <p:cNvSpPr>
              <a:spLocks/>
            </p:cNvSpPr>
            <p:nvPr/>
          </p:nvSpPr>
          <p:spPr bwMode="auto">
            <a:xfrm>
              <a:off x="5432426" y="3886202"/>
              <a:ext cx="127000" cy="130175"/>
            </a:xfrm>
            <a:custGeom>
              <a:avLst/>
              <a:gdLst>
                <a:gd name="T0" fmla="*/ 2147483647 w 87"/>
                <a:gd name="T1" fmla="*/ 0 h 82"/>
                <a:gd name="T2" fmla="*/ 2147483647 w 87"/>
                <a:gd name="T3" fmla="*/ 2147483647 h 82"/>
                <a:gd name="T4" fmla="*/ 2147483647 w 87"/>
                <a:gd name="T5" fmla="*/ 0 h 82"/>
                <a:gd name="T6" fmla="*/ 2147483647 w 87"/>
                <a:gd name="T7" fmla="*/ 0 h 82"/>
                <a:gd name="T8" fmla="*/ 2147483647 w 87"/>
                <a:gd name="T9" fmla="*/ 2147483647 h 82"/>
                <a:gd name="T10" fmla="*/ 2147483647 w 87"/>
                <a:gd name="T11" fmla="*/ 2147483647 h 82"/>
                <a:gd name="T12" fmla="*/ 2147483647 w 87"/>
                <a:gd name="T13" fmla="*/ 2147483647 h 82"/>
                <a:gd name="T14" fmla="*/ 2147483647 w 87"/>
                <a:gd name="T15" fmla="*/ 2147483647 h 82"/>
                <a:gd name="T16" fmla="*/ 2147483647 w 87"/>
                <a:gd name="T17" fmla="*/ 2147483647 h 82"/>
                <a:gd name="T18" fmla="*/ 0 w 87"/>
                <a:gd name="T19" fmla="*/ 2147483647 h 82"/>
                <a:gd name="T20" fmla="*/ 2147483647 w 87"/>
                <a:gd name="T21" fmla="*/ 2147483647 h 82"/>
                <a:gd name="T22" fmla="*/ 2147483647 w 87"/>
                <a:gd name="T23" fmla="*/ 2147483647 h 82"/>
                <a:gd name="T24" fmla="*/ 2147483647 w 87"/>
                <a:gd name="T25" fmla="*/ 2147483647 h 82"/>
                <a:gd name="T26" fmla="*/ 2147483647 w 87"/>
                <a:gd name="T27" fmla="*/ 2147483647 h 82"/>
                <a:gd name="T28" fmla="*/ 2147483647 w 87"/>
                <a:gd name="T29" fmla="*/ 2147483647 h 82"/>
                <a:gd name="T30" fmla="*/ 2147483647 w 87"/>
                <a:gd name="T31" fmla="*/ 2147483647 h 82"/>
                <a:gd name="T32" fmla="*/ 2147483647 w 87"/>
                <a:gd name="T33" fmla="*/ 2147483647 h 82"/>
                <a:gd name="T34" fmla="*/ 2147483647 w 87"/>
                <a:gd name="T35" fmla="*/ 2147483647 h 82"/>
                <a:gd name="T36" fmla="*/ 2147483647 w 87"/>
                <a:gd name="T37" fmla="*/ 2147483647 h 82"/>
                <a:gd name="T38" fmla="*/ 2147483647 w 87"/>
                <a:gd name="T39" fmla="*/ 2147483647 h 82"/>
                <a:gd name="T40" fmla="*/ 2147483647 w 87"/>
                <a:gd name="T41" fmla="*/ 2147483647 h 82"/>
                <a:gd name="T42" fmla="*/ 2147483647 w 87"/>
                <a:gd name="T43" fmla="*/ 2147483647 h 82"/>
                <a:gd name="T44" fmla="*/ 2147483647 w 87"/>
                <a:gd name="T45" fmla="*/ 2147483647 h 82"/>
                <a:gd name="T46" fmla="*/ 2147483647 w 87"/>
                <a:gd name="T47" fmla="*/ 2147483647 h 82"/>
                <a:gd name="T48" fmla="*/ 2147483647 w 87"/>
                <a:gd name="T49" fmla="*/ 2147483647 h 82"/>
                <a:gd name="T50" fmla="*/ 2147483647 w 87"/>
                <a:gd name="T51" fmla="*/ 2147483647 h 82"/>
                <a:gd name="T52" fmla="*/ 2147483647 w 87"/>
                <a:gd name="T53" fmla="*/ 2147483647 h 82"/>
                <a:gd name="T54" fmla="*/ 2147483647 w 87"/>
                <a:gd name="T55" fmla="*/ 2147483647 h 82"/>
                <a:gd name="T56" fmla="*/ 2147483647 w 87"/>
                <a:gd name="T57" fmla="*/ 2147483647 h 82"/>
                <a:gd name="T58" fmla="*/ 2147483647 w 87"/>
                <a:gd name="T59" fmla="*/ 2147483647 h 82"/>
                <a:gd name="T60" fmla="*/ 2147483647 w 87"/>
                <a:gd name="T61" fmla="*/ 2147483647 h 82"/>
                <a:gd name="T62" fmla="*/ 2147483647 w 87"/>
                <a:gd name="T63" fmla="*/ 2147483647 h 82"/>
                <a:gd name="T64" fmla="*/ 2147483647 w 87"/>
                <a:gd name="T65" fmla="*/ 2147483647 h 82"/>
                <a:gd name="T66" fmla="*/ 2147483647 w 87"/>
                <a:gd name="T67" fmla="*/ 2147483647 h 82"/>
                <a:gd name="T68" fmla="*/ 2147483647 w 87"/>
                <a:gd name="T69" fmla="*/ 2147483647 h 82"/>
                <a:gd name="T70" fmla="*/ 2147483647 w 87"/>
                <a:gd name="T71" fmla="*/ 2147483647 h 82"/>
                <a:gd name="T72" fmla="*/ 2147483647 w 87"/>
                <a:gd name="T73" fmla="*/ 2147483647 h 82"/>
                <a:gd name="T74" fmla="*/ 2147483647 w 87"/>
                <a:gd name="T75" fmla="*/ 2147483647 h 82"/>
                <a:gd name="T76" fmla="*/ 2147483647 w 87"/>
                <a:gd name="T77" fmla="*/ 2147483647 h 82"/>
                <a:gd name="T78" fmla="*/ 2147483647 w 87"/>
                <a:gd name="T79" fmla="*/ 2147483647 h 82"/>
                <a:gd name="T80" fmla="*/ 2147483647 w 87"/>
                <a:gd name="T81" fmla="*/ 2147483647 h 82"/>
                <a:gd name="T82" fmla="*/ 2147483647 w 87"/>
                <a:gd name="T83" fmla="*/ 2147483647 h 82"/>
                <a:gd name="T84" fmla="*/ 2147483647 w 87"/>
                <a:gd name="T85" fmla="*/ 2147483647 h 82"/>
                <a:gd name="T86" fmla="*/ 2147483647 w 87"/>
                <a:gd name="T87" fmla="*/ 2147483647 h 82"/>
                <a:gd name="T88" fmla="*/ 2147483647 w 87"/>
                <a:gd name="T89" fmla="*/ 2147483647 h 82"/>
                <a:gd name="T90" fmla="*/ 2147483647 w 87"/>
                <a:gd name="T91" fmla="*/ 2147483647 h 82"/>
                <a:gd name="T92" fmla="*/ 2147483647 w 87"/>
                <a:gd name="T93" fmla="*/ 2147483647 h 82"/>
                <a:gd name="T94" fmla="*/ 2147483647 w 87"/>
                <a:gd name="T95" fmla="*/ 2147483647 h 82"/>
                <a:gd name="T96" fmla="*/ 2147483647 w 87"/>
                <a:gd name="T97" fmla="*/ 2147483647 h 82"/>
                <a:gd name="T98" fmla="*/ 2147483647 w 87"/>
                <a:gd name="T99" fmla="*/ 2147483647 h 82"/>
                <a:gd name="T100" fmla="*/ 2147483647 w 87"/>
                <a:gd name="T101" fmla="*/ 2147483647 h 82"/>
                <a:gd name="T102" fmla="*/ 2147483647 w 87"/>
                <a:gd name="T103" fmla="*/ 2147483647 h 82"/>
                <a:gd name="T104" fmla="*/ 2147483647 w 87"/>
                <a:gd name="T105" fmla="*/ 2147483647 h 82"/>
                <a:gd name="T106" fmla="*/ 2147483647 w 87"/>
                <a:gd name="T107" fmla="*/ 0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2"/>
                <a:gd name="T164" fmla="*/ 87 w 87"/>
                <a:gd name="T165" fmla="*/ 82 h 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2">
                  <a:moveTo>
                    <a:pt x="87" y="0"/>
                  </a:moveTo>
                  <a:lnTo>
                    <a:pt x="72" y="1"/>
                  </a:lnTo>
                  <a:lnTo>
                    <a:pt x="58" y="0"/>
                  </a:lnTo>
                  <a:lnTo>
                    <a:pt x="43" y="0"/>
                  </a:lnTo>
                  <a:lnTo>
                    <a:pt x="26" y="1"/>
                  </a:lnTo>
                  <a:lnTo>
                    <a:pt x="20" y="1"/>
                  </a:lnTo>
                  <a:lnTo>
                    <a:pt x="12" y="1"/>
                  </a:lnTo>
                  <a:lnTo>
                    <a:pt x="5" y="1"/>
                  </a:lnTo>
                  <a:lnTo>
                    <a:pt x="2" y="3"/>
                  </a:lnTo>
                  <a:lnTo>
                    <a:pt x="0" y="5"/>
                  </a:lnTo>
                  <a:lnTo>
                    <a:pt x="3" y="12"/>
                  </a:lnTo>
                  <a:lnTo>
                    <a:pt x="5" y="14"/>
                  </a:lnTo>
                  <a:lnTo>
                    <a:pt x="5" y="17"/>
                  </a:lnTo>
                  <a:lnTo>
                    <a:pt x="3" y="22"/>
                  </a:lnTo>
                  <a:lnTo>
                    <a:pt x="2" y="27"/>
                  </a:lnTo>
                  <a:lnTo>
                    <a:pt x="1" y="32"/>
                  </a:lnTo>
                  <a:lnTo>
                    <a:pt x="1" y="36"/>
                  </a:lnTo>
                  <a:lnTo>
                    <a:pt x="2" y="38"/>
                  </a:lnTo>
                  <a:lnTo>
                    <a:pt x="5" y="44"/>
                  </a:lnTo>
                  <a:lnTo>
                    <a:pt x="6" y="50"/>
                  </a:lnTo>
                  <a:lnTo>
                    <a:pt x="9" y="63"/>
                  </a:lnTo>
                  <a:lnTo>
                    <a:pt x="10" y="68"/>
                  </a:lnTo>
                  <a:lnTo>
                    <a:pt x="11" y="71"/>
                  </a:lnTo>
                  <a:lnTo>
                    <a:pt x="11" y="77"/>
                  </a:lnTo>
                  <a:lnTo>
                    <a:pt x="12" y="82"/>
                  </a:lnTo>
                  <a:lnTo>
                    <a:pt x="17" y="77"/>
                  </a:lnTo>
                  <a:lnTo>
                    <a:pt x="20" y="75"/>
                  </a:lnTo>
                  <a:lnTo>
                    <a:pt x="24" y="74"/>
                  </a:lnTo>
                  <a:lnTo>
                    <a:pt x="26" y="72"/>
                  </a:lnTo>
                  <a:lnTo>
                    <a:pt x="28" y="71"/>
                  </a:lnTo>
                  <a:lnTo>
                    <a:pt x="29" y="68"/>
                  </a:lnTo>
                  <a:lnTo>
                    <a:pt x="31" y="63"/>
                  </a:lnTo>
                  <a:lnTo>
                    <a:pt x="35" y="59"/>
                  </a:lnTo>
                  <a:lnTo>
                    <a:pt x="39" y="57"/>
                  </a:lnTo>
                  <a:lnTo>
                    <a:pt x="47" y="57"/>
                  </a:lnTo>
                  <a:lnTo>
                    <a:pt x="54" y="58"/>
                  </a:lnTo>
                  <a:lnTo>
                    <a:pt x="57" y="58"/>
                  </a:lnTo>
                  <a:lnTo>
                    <a:pt x="59" y="58"/>
                  </a:lnTo>
                  <a:lnTo>
                    <a:pt x="62" y="57"/>
                  </a:lnTo>
                  <a:lnTo>
                    <a:pt x="63" y="55"/>
                  </a:lnTo>
                  <a:lnTo>
                    <a:pt x="66" y="50"/>
                  </a:lnTo>
                  <a:lnTo>
                    <a:pt x="66" y="48"/>
                  </a:lnTo>
                  <a:lnTo>
                    <a:pt x="63" y="48"/>
                  </a:lnTo>
                  <a:lnTo>
                    <a:pt x="57" y="49"/>
                  </a:lnTo>
                  <a:lnTo>
                    <a:pt x="54" y="49"/>
                  </a:lnTo>
                  <a:lnTo>
                    <a:pt x="52" y="48"/>
                  </a:lnTo>
                  <a:lnTo>
                    <a:pt x="52" y="44"/>
                  </a:lnTo>
                  <a:lnTo>
                    <a:pt x="52" y="42"/>
                  </a:lnTo>
                  <a:lnTo>
                    <a:pt x="54" y="39"/>
                  </a:lnTo>
                  <a:lnTo>
                    <a:pt x="57" y="37"/>
                  </a:lnTo>
                  <a:lnTo>
                    <a:pt x="62" y="32"/>
                  </a:lnTo>
                  <a:lnTo>
                    <a:pt x="66" y="27"/>
                  </a:lnTo>
                  <a:lnTo>
                    <a:pt x="76" y="13"/>
                  </a:lnTo>
                  <a:lnTo>
                    <a:pt x="87"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 name="Freeform 5"/>
            <p:cNvSpPr>
              <a:spLocks/>
            </p:cNvSpPr>
            <p:nvPr/>
          </p:nvSpPr>
          <p:spPr bwMode="auto">
            <a:xfrm>
              <a:off x="5449889" y="3840163"/>
              <a:ext cx="233362" cy="187326"/>
            </a:xfrm>
            <a:custGeom>
              <a:avLst/>
              <a:gdLst>
                <a:gd name="T0" fmla="*/ 2147483647 w 159"/>
                <a:gd name="T1" fmla="*/ 2147483647 h 118"/>
                <a:gd name="T2" fmla="*/ 2147483647 w 159"/>
                <a:gd name="T3" fmla="*/ 2147483647 h 118"/>
                <a:gd name="T4" fmla="*/ 2147483647 w 159"/>
                <a:gd name="T5" fmla="*/ 2147483647 h 118"/>
                <a:gd name="T6" fmla="*/ 2147483647 w 159"/>
                <a:gd name="T7" fmla="*/ 0 h 118"/>
                <a:gd name="T8" fmla="*/ 2147483647 w 159"/>
                <a:gd name="T9" fmla="*/ 2147483647 h 118"/>
                <a:gd name="T10" fmla="*/ 2147483647 w 159"/>
                <a:gd name="T11" fmla="*/ 2147483647 h 118"/>
                <a:gd name="T12" fmla="*/ 2147483647 w 159"/>
                <a:gd name="T13" fmla="*/ 2147483647 h 118"/>
                <a:gd name="T14" fmla="*/ 2147483647 w 159"/>
                <a:gd name="T15" fmla="*/ 2147483647 h 118"/>
                <a:gd name="T16" fmla="*/ 2147483647 w 159"/>
                <a:gd name="T17" fmla="*/ 2147483647 h 118"/>
                <a:gd name="T18" fmla="*/ 2147483647 w 159"/>
                <a:gd name="T19" fmla="*/ 2147483647 h 118"/>
                <a:gd name="T20" fmla="*/ 2147483647 w 159"/>
                <a:gd name="T21" fmla="*/ 2147483647 h 118"/>
                <a:gd name="T22" fmla="*/ 2147483647 w 159"/>
                <a:gd name="T23" fmla="*/ 2147483647 h 118"/>
                <a:gd name="T24" fmla="*/ 2147483647 w 159"/>
                <a:gd name="T25" fmla="*/ 2147483647 h 118"/>
                <a:gd name="T26" fmla="*/ 2147483647 w 159"/>
                <a:gd name="T27" fmla="*/ 2147483647 h 118"/>
                <a:gd name="T28" fmla="*/ 2147483647 w 159"/>
                <a:gd name="T29" fmla="*/ 2147483647 h 118"/>
                <a:gd name="T30" fmla="*/ 2147483647 w 159"/>
                <a:gd name="T31" fmla="*/ 2147483647 h 118"/>
                <a:gd name="T32" fmla="*/ 2147483647 w 159"/>
                <a:gd name="T33" fmla="*/ 2147483647 h 118"/>
                <a:gd name="T34" fmla="*/ 2147483647 w 159"/>
                <a:gd name="T35" fmla="*/ 2147483647 h 118"/>
                <a:gd name="T36" fmla="*/ 0 w 159"/>
                <a:gd name="T37" fmla="*/ 2147483647 h 118"/>
                <a:gd name="T38" fmla="*/ 2147483647 w 159"/>
                <a:gd name="T39" fmla="*/ 2147483647 h 118"/>
                <a:gd name="T40" fmla="*/ 2147483647 w 159"/>
                <a:gd name="T41" fmla="*/ 2147483647 h 118"/>
                <a:gd name="T42" fmla="*/ 2147483647 w 159"/>
                <a:gd name="T43" fmla="*/ 2147483647 h 118"/>
                <a:gd name="T44" fmla="*/ 2147483647 w 159"/>
                <a:gd name="T45" fmla="*/ 2147483647 h 118"/>
                <a:gd name="T46" fmla="*/ 2147483647 w 159"/>
                <a:gd name="T47" fmla="*/ 2147483647 h 118"/>
                <a:gd name="T48" fmla="*/ 2147483647 w 159"/>
                <a:gd name="T49" fmla="*/ 2147483647 h 118"/>
                <a:gd name="T50" fmla="*/ 2147483647 w 159"/>
                <a:gd name="T51" fmla="*/ 2147483647 h 118"/>
                <a:gd name="T52" fmla="*/ 2147483647 w 159"/>
                <a:gd name="T53" fmla="*/ 2147483647 h 118"/>
                <a:gd name="T54" fmla="*/ 2147483647 w 159"/>
                <a:gd name="T55" fmla="*/ 2147483647 h 118"/>
                <a:gd name="T56" fmla="*/ 2147483647 w 159"/>
                <a:gd name="T57" fmla="*/ 2147483647 h 118"/>
                <a:gd name="T58" fmla="*/ 2147483647 w 159"/>
                <a:gd name="T59" fmla="*/ 2147483647 h 118"/>
                <a:gd name="T60" fmla="*/ 2147483647 w 159"/>
                <a:gd name="T61" fmla="*/ 2147483647 h 118"/>
                <a:gd name="T62" fmla="*/ 2147483647 w 159"/>
                <a:gd name="T63" fmla="*/ 2147483647 h 118"/>
                <a:gd name="T64" fmla="*/ 2147483647 w 159"/>
                <a:gd name="T65" fmla="*/ 2147483647 h 118"/>
                <a:gd name="T66" fmla="*/ 2147483647 w 159"/>
                <a:gd name="T67" fmla="*/ 2147483647 h 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8"/>
                <a:gd name="T104" fmla="*/ 159 w 159"/>
                <a:gd name="T105" fmla="*/ 118 h 1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8">
                  <a:moveTo>
                    <a:pt x="75" y="29"/>
                  </a:moveTo>
                  <a:lnTo>
                    <a:pt x="79" y="26"/>
                  </a:lnTo>
                  <a:lnTo>
                    <a:pt x="82" y="22"/>
                  </a:lnTo>
                  <a:lnTo>
                    <a:pt x="83" y="19"/>
                  </a:lnTo>
                  <a:lnTo>
                    <a:pt x="84" y="15"/>
                  </a:lnTo>
                  <a:lnTo>
                    <a:pt x="85" y="13"/>
                  </a:lnTo>
                  <a:lnTo>
                    <a:pt x="107" y="7"/>
                  </a:lnTo>
                  <a:lnTo>
                    <a:pt x="130" y="0"/>
                  </a:lnTo>
                  <a:lnTo>
                    <a:pt x="144" y="20"/>
                  </a:lnTo>
                  <a:lnTo>
                    <a:pt x="150" y="30"/>
                  </a:lnTo>
                  <a:lnTo>
                    <a:pt x="159" y="39"/>
                  </a:lnTo>
                  <a:lnTo>
                    <a:pt x="153" y="45"/>
                  </a:lnTo>
                  <a:lnTo>
                    <a:pt x="150" y="47"/>
                  </a:lnTo>
                  <a:lnTo>
                    <a:pt x="146" y="49"/>
                  </a:lnTo>
                  <a:lnTo>
                    <a:pt x="138" y="55"/>
                  </a:lnTo>
                  <a:lnTo>
                    <a:pt x="131" y="61"/>
                  </a:lnTo>
                  <a:lnTo>
                    <a:pt x="116" y="74"/>
                  </a:lnTo>
                  <a:lnTo>
                    <a:pt x="112" y="75"/>
                  </a:lnTo>
                  <a:lnTo>
                    <a:pt x="110" y="77"/>
                  </a:lnTo>
                  <a:lnTo>
                    <a:pt x="102" y="79"/>
                  </a:lnTo>
                  <a:lnTo>
                    <a:pt x="98" y="81"/>
                  </a:lnTo>
                  <a:lnTo>
                    <a:pt x="94" y="84"/>
                  </a:lnTo>
                  <a:lnTo>
                    <a:pt x="85" y="91"/>
                  </a:lnTo>
                  <a:lnTo>
                    <a:pt x="82" y="93"/>
                  </a:lnTo>
                  <a:lnTo>
                    <a:pt x="78" y="94"/>
                  </a:lnTo>
                  <a:lnTo>
                    <a:pt x="70" y="96"/>
                  </a:lnTo>
                  <a:lnTo>
                    <a:pt x="63" y="99"/>
                  </a:lnTo>
                  <a:lnTo>
                    <a:pt x="55" y="104"/>
                  </a:lnTo>
                  <a:lnTo>
                    <a:pt x="51" y="105"/>
                  </a:lnTo>
                  <a:lnTo>
                    <a:pt x="49" y="106"/>
                  </a:lnTo>
                  <a:lnTo>
                    <a:pt x="42" y="106"/>
                  </a:lnTo>
                  <a:lnTo>
                    <a:pt x="26" y="110"/>
                  </a:lnTo>
                  <a:lnTo>
                    <a:pt x="18" y="113"/>
                  </a:lnTo>
                  <a:lnTo>
                    <a:pt x="11" y="117"/>
                  </a:lnTo>
                  <a:lnTo>
                    <a:pt x="8" y="118"/>
                  </a:lnTo>
                  <a:lnTo>
                    <a:pt x="5" y="118"/>
                  </a:lnTo>
                  <a:lnTo>
                    <a:pt x="3" y="117"/>
                  </a:lnTo>
                  <a:lnTo>
                    <a:pt x="0" y="115"/>
                  </a:lnTo>
                  <a:lnTo>
                    <a:pt x="0" y="111"/>
                  </a:lnTo>
                  <a:lnTo>
                    <a:pt x="5" y="106"/>
                  </a:lnTo>
                  <a:lnTo>
                    <a:pt x="8" y="104"/>
                  </a:lnTo>
                  <a:lnTo>
                    <a:pt x="12" y="103"/>
                  </a:lnTo>
                  <a:lnTo>
                    <a:pt x="14" y="101"/>
                  </a:lnTo>
                  <a:lnTo>
                    <a:pt x="16" y="100"/>
                  </a:lnTo>
                  <a:lnTo>
                    <a:pt x="17" y="97"/>
                  </a:lnTo>
                  <a:lnTo>
                    <a:pt x="19" y="92"/>
                  </a:lnTo>
                  <a:lnTo>
                    <a:pt x="23" y="88"/>
                  </a:lnTo>
                  <a:lnTo>
                    <a:pt x="27" y="86"/>
                  </a:lnTo>
                  <a:lnTo>
                    <a:pt x="35" y="86"/>
                  </a:lnTo>
                  <a:lnTo>
                    <a:pt x="42" y="87"/>
                  </a:lnTo>
                  <a:lnTo>
                    <a:pt x="45" y="87"/>
                  </a:lnTo>
                  <a:lnTo>
                    <a:pt x="47" y="87"/>
                  </a:lnTo>
                  <a:lnTo>
                    <a:pt x="50" y="86"/>
                  </a:lnTo>
                  <a:lnTo>
                    <a:pt x="51" y="84"/>
                  </a:lnTo>
                  <a:lnTo>
                    <a:pt x="54" y="79"/>
                  </a:lnTo>
                  <a:lnTo>
                    <a:pt x="54" y="77"/>
                  </a:lnTo>
                  <a:lnTo>
                    <a:pt x="51" y="77"/>
                  </a:lnTo>
                  <a:lnTo>
                    <a:pt x="45" y="78"/>
                  </a:lnTo>
                  <a:lnTo>
                    <a:pt x="42" y="78"/>
                  </a:lnTo>
                  <a:lnTo>
                    <a:pt x="40" y="77"/>
                  </a:lnTo>
                  <a:lnTo>
                    <a:pt x="40" y="73"/>
                  </a:lnTo>
                  <a:lnTo>
                    <a:pt x="40" y="71"/>
                  </a:lnTo>
                  <a:lnTo>
                    <a:pt x="42" y="68"/>
                  </a:lnTo>
                  <a:lnTo>
                    <a:pt x="45" y="66"/>
                  </a:lnTo>
                  <a:lnTo>
                    <a:pt x="50" y="61"/>
                  </a:lnTo>
                  <a:lnTo>
                    <a:pt x="54" y="56"/>
                  </a:lnTo>
                  <a:lnTo>
                    <a:pt x="64" y="42"/>
                  </a:lnTo>
                  <a:lnTo>
                    <a:pt x="75" y="2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 name="Freeform 6"/>
            <p:cNvSpPr>
              <a:spLocks/>
            </p:cNvSpPr>
            <p:nvPr/>
          </p:nvSpPr>
          <p:spPr bwMode="auto">
            <a:xfrm>
              <a:off x="5180013" y="4706938"/>
              <a:ext cx="82550" cy="241300"/>
            </a:xfrm>
            <a:custGeom>
              <a:avLst/>
              <a:gdLst>
                <a:gd name="T0" fmla="*/ 2147483647 w 56"/>
                <a:gd name="T1" fmla="*/ 2147483647 h 152"/>
                <a:gd name="T2" fmla="*/ 2147483647 w 56"/>
                <a:gd name="T3" fmla="*/ 2147483647 h 152"/>
                <a:gd name="T4" fmla="*/ 2147483647 w 56"/>
                <a:gd name="T5" fmla="*/ 2147483647 h 152"/>
                <a:gd name="T6" fmla="*/ 2147483647 w 56"/>
                <a:gd name="T7" fmla="*/ 2147483647 h 152"/>
                <a:gd name="T8" fmla="*/ 2147483647 w 56"/>
                <a:gd name="T9" fmla="*/ 2147483647 h 152"/>
                <a:gd name="T10" fmla="*/ 2147483647 w 56"/>
                <a:gd name="T11" fmla="*/ 2147483647 h 152"/>
                <a:gd name="T12" fmla="*/ 2147483647 w 56"/>
                <a:gd name="T13" fmla="*/ 2147483647 h 152"/>
                <a:gd name="T14" fmla="*/ 2147483647 w 56"/>
                <a:gd name="T15" fmla="*/ 2147483647 h 152"/>
                <a:gd name="T16" fmla="*/ 2147483647 w 56"/>
                <a:gd name="T17" fmla="*/ 2147483647 h 152"/>
                <a:gd name="T18" fmla="*/ 2147483647 w 56"/>
                <a:gd name="T19" fmla="*/ 2147483647 h 152"/>
                <a:gd name="T20" fmla="*/ 2147483647 w 56"/>
                <a:gd name="T21" fmla="*/ 2147483647 h 152"/>
                <a:gd name="T22" fmla="*/ 2147483647 w 56"/>
                <a:gd name="T23" fmla="*/ 2147483647 h 152"/>
                <a:gd name="T24" fmla="*/ 2147483647 w 56"/>
                <a:gd name="T25" fmla="*/ 2147483647 h 152"/>
                <a:gd name="T26" fmla="*/ 2147483647 w 56"/>
                <a:gd name="T27" fmla="*/ 2147483647 h 152"/>
                <a:gd name="T28" fmla="*/ 2147483647 w 56"/>
                <a:gd name="T29" fmla="*/ 2147483647 h 152"/>
                <a:gd name="T30" fmla="*/ 2147483647 w 56"/>
                <a:gd name="T31" fmla="*/ 2147483647 h 152"/>
                <a:gd name="T32" fmla="*/ 2147483647 w 56"/>
                <a:gd name="T33" fmla="*/ 2147483647 h 152"/>
                <a:gd name="T34" fmla="*/ 2147483647 w 56"/>
                <a:gd name="T35" fmla="*/ 2147483647 h 152"/>
                <a:gd name="T36" fmla="*/ 2147483647 w 56"/>
                <a:gd name="T37" fmla="*/ 2147483647 h 152"/>
                <a:gd name="T38" fmla="*/ 0 w 56"/>
                <a:gd name="T39" fmla="*/ 2147483647 h 152"/>
                <a:gd name="T40" fmla="*/ 2147483647 w 56"/>
                <a:gd name="T41" fmla="*/ 2147483647 h 152"/>
                <a:gd name="T42" fmla="*/ 2147483647 w 56"/>
                <a:gd name="T43" fmla="*/ 2147483647 h 152"/>
                <a:gd name="T44" fmla="*/ 2147483647 w 56"/>
                <a:gd name="T45" fmla="*/ 2147483647 h 152"/>
                <a:gd name="T46" fmla="*/ 2147483647 w 56"/>
                <a:gd name="T47" fmla="*/ 2147483647 h 152"/>
                <a:gd name="T48" fmla="*/ 2147483647 w 56"/>
                <a:gd name="T49" fmla="*/ 2147483647 h 152"/>
                <a:gd name="T50" fmla="*/ 2147483647 w 56"/>
                <a:gd name="T51" fmla="*/ 2147483647 h 152"/>
                <a:gd name="T52" fmla="*/ 2147483647 w 56"/>
                <a:gd name="T53" fmla="*/ 0 h 152"/>
                <a:gd name="T54" fmla="*/ 2147483647 w 56"/>
                <a:gd name="T55" fmla="*/ 2147483647 h 152"/>
                <a:gd name="T56" fmla="*/ 2147483647 w 56"/>
                <a:gd name="T57" fmla="*/ 2147483647 h 152"/>
                <a:gd name="T58" fmla="*/ 2147483647 w 56"/>
                <a:gd name="T59" fmla="*/ 0 h 152"/>
                <a:gd name="T60" fmla="*/ 2147483647 w 56"/>
                <a:gd name="T61" fmla="*/ 2147483647 h 152"/>
                <a:gd name="T62" fmla="*/ 2147483647 w 56"/>
                <a:gd name="T63" fmla="*/ 2147483647 h 152"/>
                <a:gd name="T64" fmla="*/ 2147483647 w 56"/>
                <a:gd name="T65" fmla="*/ 2147483647 h 152"/>
                <a:gd name="T66" fmla="*/ 2147483647 w 56"/>
                <a:gd name="T67" fmla="*/ 2147483647 h 152"/>
                <a:gd name="T68" fmla="*/ 2147483647 w 56"/>
                <a:gd name="T69" fmla="*/ 2147483647 h 152"/>
                <a:gd name="T70" fmla="*/ 2147483647 w 56"/>
                <a:gd name="T71" fmla="*/ 2147483647 h 152"/>
                <a:gd name="T72" fmla="*/ 2147483647 w 56"/>
                <a:gd name="T73" fmla="*/ 2147483647 h 1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
                <a:gd name="T112" fmla="*/ 0 h 152"/>
                <a:gd name="T113" fmla="*/ 56 w 56"/>
                <a:gd name="T114" fmla="*/ 152 h 1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 h="152">
                  <a:moveTo>
                    <a:pt x="40" y="77"/>
                  </a:moveTo>
                  <a:lnTo>
                    <a:pt x="45" y="80"/>
                  </a:lnTo>
                  <a:lnTo>
                    <a:pt x="50" y="84"/>
                  </a:lnTo>
                  <a:lnTo>
                    <a:pt x="54" y="90"/>
                  </a:lnTo>
                  <a:lnTo>
                    <a:pt x="55" y="93"/>
                  </a:lnTo>
                  <a:lnTo>
                    <a:pt x="56" y="95"/>
                  </a:lnTo>
                  <a:lnTo>
                    <a:pt x="56" y="101"/>
                  </a:lnTo>
                  <a:lnTo>
                    <a:pt x="55" y="108"/>
                  </a:lnTo>
                  <a:lnTo>
                    <a:pt x="52" y="115"/>
                  </a:lnTo>
                  <a:lnTo>
                    <a:pt x="48" y="122"/>
                  </a:lnTo>
                  <a:lnTo>
                    <a:pt x="47" y="130"/>
                  </a:lnTo>
                  <a:lnTo>
                    <a:pt x="47" y="139"/>
                  </a:lnTo>
                  <a:lnTo>
                    <a:pt x="47" y="147"/>
                  </a:lnTo>
                  <a:lnTo>
                    <a:pt x="47" y="149"/>
                  </a:lnTo>
                  <a:lnTo>
                    <a:pt x="45" y="152"/>
                  </a:lnTo>
                  <a:lnTo>
                    <a:pt x="42" y="152"/>
                  </a:lnTo>
                  <a:lnTo>
                    <a:pt x="41" y="151"/>
                  </a:lnTo>
                  <a:lnTo>
                    <a:pt x="38" y="148"/>
                  </a:lnTo>
                  <a:lnTo>
                    <a:pt x="33" y="138"/>
                  </a:lnTo>
                  <a:lnTo>
                    <a:pt x="29" y="133"/>
                  </a:lnTo>
                  <a:lnTo>
                    <a:pt x="23" y="129"/>
                  </a:lnTo>
                  <a:lnTo>
                    <a:pt x="22" y="128"/>
                  </a:lnTo>
                  <a:lnTo>
                    <a:pt x="21" y="127"/>
                  </a:lnTo>
                  <a:lnTo>
                    <a:pt x="21" y="122"/>
                  </a:lnTo>
                  <a:lnTo>
                    <a:pt x="24" y="113"/>
                  </a:lnTo>
                  <a:lnTo>
                    <a:pt x="27" y="109"/>
                  </a:lnTo>
                  <a:lnTo>
                    <a:pt x="28" y="106"/>
                  </a:lnTo>
                  <a:lnTo>
                    <a:pt x="28" y="103"/>
                  </a:lnTo>
                  <a:lnTo>
                    <a:pt x="27" y="102"/>
                  </a:lnTo>
                  <a:lnTo>
                    <a:pt x="23" y="98"/>
                  </a:lnTo>
                  <a:lnTo>
                    <a:pt x="19" y="98"/>
                  </a:lnTo>
                  <a:lnTo>
                    <a:pt x="15" y="98"/>
                  </a:lnTo>
                  <a:lnTo>
                    <a:pt x="10" y="100"/>
                  </a:lnTo>
                  <a:lnTo>
                    <a:pt x="7" y="100"/>
                  </a:lnTo>
                  <a:lnTo>
                    <a:pt x="5" y="98"/>
                  </a:lnTo>
                  <a:lnTo>
                    <a:pt x="4" y="97"/>
                  </a:lnTo>
                  <a:lnTo>
                    <a:pt x="3" y="94"/>
                  </a:lnTo>
                  <a:lnTo>
                    <a:pt x="2" y="89"/>
                  </a:lnTo>
                  <a:lnTo>
                    <a:pt x="0" y="84"/>
                  </a:lnTo>
                  <a:lnTo>
                    <a:pt x="0" y="81"/>
                  </a:lnTo>
                  <a:lnTo>
                    <a:pt x="2" y="78"/>
                  </a:lnTo>
                  <a:lnTo>
                    <a:pt x="4" y="75"/>
                  </a:lnTo>
                  <a:lnTo>
                    <a:pt x="8" y="71"/>
                  </a:lnTo>
                  <a:lnTo>
                    <a:pt x="12" y="68"/>
                  </a:lnTo>
                  <a:lnTo>
                    <a:pt x="13" y="65"/>
                  </a:lnTo>
                  <a:lnTo>
                    <a:pt x="13" y="63"/>
                  </a:lnTo>
                  <a:lnTo>
                    <a:pt x="10" y="55"/>
                  </a:lnTo>
                  <a:lnTo>
                    <a:pt x="10" y="45"/>
                  </a:lnTo>
                  <a:lnTo>
                    <a:pt x="10" y="27"/>
                  </a:lnTo>
                  <a:lnTo>
                    <a:pt x="10" y="21"/>
                  </a:lnTo>
                  <a:lnTo>
                    <a:pt x="8" y="15"/>
                  </a:lnTo>
                  <a:lnTo>
                    <a:pt x="2" y="4"/>
                  </a:lnTo>
                  <a:lnTo>
                    <a:pt x="2" y="2"/>
                  </a:lnTo>
                  <a:lnTo>
                    <a:pt x="2" y="0"/>
                  </a:lnTo>
                  <a:lnTo>
                    <a:pt x="8" y="0"/>
                  </a:lnTo>
                  <a:lnTo>
                    <a:pt x="13" y="2"/>
                  </a:lnTo>
                  <a:lnTo>
                    <a:pt x="18" y="4"/>
                  </a:lnTo>
                  <a:lnTo>
                    <a:pt x="17" y="2"/>
                  </a:lnTo>
                  <a:lnTo>
                    <a:pt x="18" y="0"/>
                  </a:lnTo>
                  <a:lnTo>
                    <a:pt x="19" y="0"/>
                  </a:lnTo>
                  <a:lnTo>
                    <a:pt x="26" y="8"/>
                  </a:lnTo>
                  <a:lnTo>
                    <a:pt x="32" y="18"/>
                  </a:lnTo>
                  <a:lnTo>
                    <a:pt x="33" y="21"/>
                  </a:lnTo>
                  <a:lnTo>
                    <a:pt x="33" y="25"/>
                  </a:lnTo>
                  <a:lnTo>
                    <a:pt x="33" y="33"/>
                  </a:lnTo>
                  <a:lnTo>
                    <a:pt x="35" y="43"/>
                  </a:lnTo>
                  <a:lnTo>
                    <a:pt x="31" y="45"/>
                  </a:lnTo>
                  <a:lnTo>
                    <a:pt x="29" y="50"/>
                  </a:lnTo>
                  <a:lnTo>
                    <a:pt x="28" y="56"/>
                  </a:lnTo>
                  <a:lnTo>
                    <a:pt x="29" y="62"/>
                  </a:lnTo>
                  <a:lnTo>
                    <a:pt x="31" y="66"/>
                  </a:lnTo>
                  <a:lnTo>
                    <a:pt x="32" y="70"/>
                  </a:lnTo>
                  <a:lnTo>
                    <a:pt x="33" y="74"/>
                  </a:lnTo>
                  <a:lnTo>
                    <a:pt x="33" y="76"/>
                  </a:lnTo>
                  <a:lnTo>
                    <a:pt x="40" y="7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 name="Rectangle 7"/>
            <p:cNvSpPr>
              <a:spLocks noChangeArrowheads="1"/>
            </p:cNvSpPr>
            <p:nvPr/>
          </p:nvSpPr>
          <p:spPr bwMode="auto">
            <a:xfrm>
              <a:off x="5529264" y="2832101"/>
              <a:ext cx="274637" cy="417513"/>
            </a:xfrm>
            <a:prstGeom prst="rect">
              <a:avLst/>
            </a:prstGeom>
            <a:grpFill/>
            <a:ln w="9525">
              <a:noFill/>
              <a:miter lim="800000"/>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 name="Freeform 8"/>
            <p:cNvSpPr>
              <a:spLocks/>
            </p:cNvSpPr>
            <p:nvPr/>
          </p:nvSpPr>
          <p:spPr bwMode="auto">
            <a:xfrm>
              <a:off x="5178425" y="4705350"/>
              <a:ext cx="82550" cy="241300"/>
            </a:xfrm>
            <a:custGeom>
              <a:avLst/>
              <a:gdLst>
                <a:gd name="T0" fmla="*/ 2147483647 w 56"/>
                <a:gd name="T1" fmla="*/ 2147483647 h 152"/>
                <a:gd name="T2" fmla="*/ 2147483647 w 56"/>
                <a:gd name="T3" fmla="*/ 2147483647 h 152"/>
                <a:gd name="T4" fmla="*/ 2147483647 w 56"/>
                <a:gd name="T5" fmla="*/ 2147483647 h 152"/>
                <a:gd name="T6" fmla="*/ 2147483647 w 56"/>
                <a:gd name="T7" fmla="*/ 2147483647 h 152"/>
                <a:gd name="T8" fmla="*/ 2147483647 w 56"/>
                <a:gd name="T9" fmla="*/ 2147483647 h 152"/>
                <a:gd name="T10" fmla="*/ 2147483647 w 56"/>
                <a:gd name="T11" fmla="*/ 2147483647 h 152"/>
                <a:gd name="T12" fmla="*/ 2147483647 w 56"/>
                <a:gd name="T13" fmla="*/ 2147483647 h 152"/>
                <a:gd name="T14" fmla="*/ 2147483647 w 56"/>
                <a:gd name="T15" fmla="*/ 2147483647 h 152"/>
                <a:gd name="T16" fmla="*/ 2147483647 w 56"/>
                <a:gd name="T17" fmla="*/ 2147483647 h 152"/>
                <a:gd name="T18" fmla="*/ 2147483647 w 56"/>
                <a:gd name="T19" fmla="*/ 2147483647 h 152"/>
                <a:gd name="T20" fmla="*/ 2147483647 w 56"/>
                <a:gd name="T21" fmla="*/ 2147483647 h 152"/>
                <a:gd name="T22" fmla="*/ 2147483647 w 56"/>
                <a:gd name="T23" fmla="*/ 2147483647 h 152"/>
                <a:gd name="T24" fmla="*/ 2147483647 w 56"/>
                <a:gd name="T25" fmla="*/ 2147483647 h 152"/>
                <a:gd name="T26" fmla="*/ 2147483647 w 56"/>
                <a:gd name="T27" fmla="*/ 2147483647 h 152"/>
                <a:gd name="T28" fmla="*/ 2147483647 w 56"/>
                <a:gd name="T29" fmla="*/ 2147483647 h 152"/>
                <a:gd name="T30" fmla="*/ 2147483647 w 56"/>
                <a:gd name="T31" fmla="*/ 2147483647 h 152"/>
                <a:gd name="T32" fmla="*/ 2147483647 w 56"/>
                <a:gd name="T33" fmla="*/ 2147483647 h 152"/>
                <a:gd name="T34" fmla="*/ 2147483647 w 56"/>
                <a:gd name="T35" fmla="*/ 2147483647 h 152"/>
                <a:gd name="T36" fmla="*/ 2147483647 w 56"/>
                <a:gd name="T37" fmla="*/ 2147483647 h 152"/>
                <a:gd name="T38" fmla="*/ 2147483647 w 56"/>
                <a:gd name="T39" fmla="*/ 2147483647 h 152"/>
                <a:gd name="T40" fmla="*/ 2147483647 w 56"/>
                <a:gd name="T41" fmla="*/ 2147483647 h 152"/>
                <a:gd name="T42" fmla="*/ 2147483647 w 56"/>
                <a:gd name="T43" fmla="*/ 2147483647 h 152"/>
                <a:gd name="T44" fmla="*/ 2147483647 w 56"/>
                <a:gd name="T45" fmla="*/ 2147483647 h 152"/>
                <a:gd name="T46" fmla="*/ 2147483647 w 56"/>
                <a:gd name="T47" fmla="*/ 2147483647 h 152"/>
                <a:gd name="T48" fmla="*/ 2147483647 w 56"/>
                <a:gd name="T49" fmla="*/ 2147483647 h 152"/>
                <a:gd name="T50" fmla="*/ 2147483647 w 56"/>
                <a:gd name="T51" fmla="*/ 2147483647 h 152"/>
                <a:gd name="T52" fmla="*/ 2147483647 w 56"/>
                <a:gd name="T53" fmla="*/ 2147483647 h 152"/>
                <a:gd name="T54" fmla="*/ 0 w 56"/>
                <a:gd name="T55" fmla="*/ 2147483647 h 152"/>
                <a:gd name="T56" fmla="*/ 2147483647 w 56"/>
                <a:gd name="T57" fmla="*/ 2147483647 h 152"/>
                <a:gd name="T58" fmla="*/ 2147483647 w 56"/>
                <a:gd name="T59" fmla="*/ 2147483647 h 152"/>
                <a:gd name="T60" fmla="*/ 2147483647 w 56"/>
                <a:gd name="T61" fmla="*/ 2147483647 h 152"/>
                <a:gd name="T62" fmla="*/ 2147483647 w 56"/>
                <a:gd name="T63" fmla="*/ 2147483647 h 152"/>
                <a:gd name="T64" fmla="*/ 2147483647 w 56"/>
                <a:gd name="T65" fmla="*/ 2147483647 h 152"/>
                <a:gd name="T66" fmla="*/ 2147483647 w 56"/>
                <a:gd name="T67" fmla="*/ 2147483647 h 152"/>
                <a:gd name="T68" fmla="*/ 2147483647 w 56"/>
                <a:gd name="T69" fmla="*/ 2147483647 h 152"/>
                <a:gd name="T70" fmla="*/ 2147483647 w 56"/>
                <a:gd name="T71" fmla="*/ 2147483647 h 152"/>
                <a:gd name="T72" fmla="*/ 2147483647 w 56"/>
                <a:gd name="T73" fmla="*/ 2147483647 h 152"/>
                <a:gd name="T74" fmla="*/ 2147483647 w 56"/>
                <a:gd name="T75" fmla="*/ 0 h 152"/>
                <a:gd name="T76" fmla="*/ 2147483647 w 56"/>
                <a:gd name="T77" fmla="*/ 0 h 152"/>
                <a:gd name="T78" fmla="*/ 2147483647 w 56"/>
                <a:gd name="T79" fmla="*/ 2147483647 h 152"/>
                <a:gd name="T80" fmla="*/ 2147483647 w 56"/>
                <a:gd name="T81" fmla="*/ 2147483647 h 152"/>
                <a:gd name="T82" fmla="*/ 2147483647 w 56"/>
                <a:gd name="T83" fmla="*/ 0 h 152"/>
                <a:gd name="T84" fmla="*/ 2147483647 w 56"/>
                <a:gd name="T85" fmla="*/ 0 h 152"/>
                <a:gd name="T86" fmla="*/ 2147483647 w 56"/>
                <a:gd name="T87" fmla="*/ 2147483647 h 152"/>
                <a:gd name="T88" fmla="*/ 2147483647 w 56"/>
                <a:gd name="T89" fmla="*/ 2147483647 h 152"/>
                <a:gd name="T90" fmla="*/ 2147483647 w 56"/>
                <a:gd name="T91" fmla="*/ 2147483647 h 152"/>
                <a:gd name="T92" fmla="*/ 2147483647 w 56"/>
                <a:gd name="T93" fmla="*/ 2147483647 h 152"/>
                <a:gd name="T94" fmla="*/ 2147483647 w 56"/>
                <a:gd name="T95" fmla="*/ 2147483647 h 152"/>
                <a:gd name="T96" fmla="*/ 2147483647 w 56"/>
                <a:gd name="T97" fmla="*/ 2147483647 h 152"/>
                <a:gd name="T98" fmla="*/ 2147483647 w 56"/>
                <a:gd name="T99" fmla="*/ 2147483647 h 152"/>
                <a:gd name="T100" fmla="*/ 2147483647 w 56"/>
                <a:gd name="T101" fmla="*/ 2147483647 h 152"/>
                <a:gd name="T102" fmla="*/ 2147483647 w 56"/>
                <a:gd name="T103" fmla="*/ 2147483647 h 152"/>
                <a:gd name="T104" fmla="*/ 2147483647 w 56"/>
                <a:gd name="T105" fmla="*/ 2147483647 h 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
                <a:gd name="T160" fmla="*/ 0 h 152"/>
                <a:gd name="T161" fmla="*/ 56 w 56"/>
                <a:gd name="T162" fmla="*/ 152 h 1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6" h="152">
                  <a:moveTo>
                    <a:pt x="39" y="77"/>
                  </a:moveTo>
                  <a:lnTo>
                    <a:pt x="39" y="77"/>
                  </a:lnTo>
                  <a:lnTo>
                    <a:pt x="44" y="79"/>
                  </a:lnTo>
                  <a:lnTo>
                    <a:pt x="49" y="84"/>
                  </a:lnTo>
                  <a:lnTo>
                    <a:pt x="53" y="90"/>
                  </a:lnTo>
                  <a:lnTo>
                    <a:pt x="55" y="92"/>
                  </a:lnTo>
                  <a:lnTo>
                    <a:pt x="56" y="95"/>
                  </a:lnTo>
                  <a:lnTo>
                    <a:pt x="56" y="101"/>
                  </a:lnTo>
                  <a:lnTo>
                    <a:pt x="55" y="108"/>
                  </a:lnTo>
                  <a:lnTo>
                    <a:pt x="52" y="115"/>
                  </a:lnTo>
                  <a:lnTo>
                    <a:pt x="48" y="122"/>
                  </a:lnTo>
                  <a:lnTo>
                    <a:pt x="47" y="130"/>
                  </a:lnTo>
                  <a:lnTo>
                    <a:pt x="47" y="139"/>
                  </a:lnTo>
                  <a:lnTo>
                    <a:pt x="47" y="147"/>
                  </a:lnTo>
                  <a:lnTo>
                    <a:pt x="47" y="149"/>
                  </a:lnTo>
                  <a:lnTo>
                    <a:pt x="44" y="152"/>
                  </a:lnTo>
                  <a:lnTo>
                    <a:pt x="42" y="152"/>
                  </a:lnTo>
                  <a:lnTo>
                    <a:pt x="41" y="150"/>
                  </a:lnTo>
                  <a:lnTo>
                    <a:pt x="38" y="148"/>
                  </a:lnTo>
                  <a:lnTo>
                    <a:pt x="33" y="137"/>
                  </a:lnTo>
                  <a:lnTo>
                    <a:pt x="29" y="133"/>
                  </a:lnTo>
                  <a:lnTo>
                    <a:pt x="23" y="129"/>
                  </a:lnTo>
                  <a:lnTo>
                    <a:pt x="22" y="128"/>
                  </a:lnTo>
                  <a:lnTo>
                    <a:pt x="20" y="127"/>
                  </a:lnTo>
                  <a:lnTo>
                    <a:pt x="20" y="122"/>
                  </a:lnTo>
                  <a:lnTo>
                    <a:pt x="24" y="113"/>
                  </a:lnTo>
                  <a:lnTo>
                    <a:pt x="27" y="109"/>
                  </a:lnTo>
                  <a:lnTo>
                    <a:pt x="28" y="105"/>
                  </a:lnTo>
                  <a:lnTo>
                    <a:pt x="28" y="103"/>
                  </a:lnTo>
                  <a:lnTo>
                    <a:pt x="27" y="102"/>
                  </a:lnTo>
                  <a:lnTo>
                    <a:pt x="23" y="98"/>
                  </a:lnTo>
                  <a:lnTo>
                    <a:pt x="19" y="98"/>
                  </a:lnTo>
                  <a:lnTo>
                    <a:pt x="15" y="98"/>
                  </a:lnTo>
                  <a:lnTo>
                    <a:pt x="10" y="99"/>
                  </a:lnTo>
                  <a:lnTo>
                    <a:pt x="6" y="99"/>
                  </a:lnTo>
                  <a:lnTo>
                    <a:pt x="5" y="98"/>
                  </a:lnTo>
                  <a:lnTo>
                    <a:pt x="4" y="97"/>
                  </a:lnTo>
                  <a:lnTo>
                    <a:pt x="3" y="94"/>
                  </a:lnTo>
                  <a:lnTo>
                    <a:pt x="1" y="89"/>
                  </a:lnTo>
                  <a:lnTo>
                    <a:pt x="0" y="84"/>
                  </a:lnTo>
                  <a:lnTo>
                    <a:pt x="0" y="81"/>
                  </a:lnTo>
                  <a:lnTo>
                    <a:pt x="1" y="78"/>
                  </a:lnTo>
                  <a:lnTo>
                    <a:pt x="4" y="75"/>
                  </a:lnTo>
                  <a:lnTo>
                    <a:pt x="8" y="71"/>
                  </a:lnTo>
                  <a:lnTo>
                    <a:pt x="11" y="67"/>
                  </a:lnTo>
                  <a:lnTo>
                    <a:pt x="13" y="65"/>
                  </a:lnTo>
                  <a:lnTo>
                    <a:pt x="13" y="63"/>
                  </a:lnTo>
                  <a:lnTo>
                    <a:pt x="10" y="54"/>
                  </a:lnTo>
                  <a:lnTo>
                    <a:pt x="10" y="45"/>
                  </a:lnTo>
                  <a:lnTo>
                    <a:pt x="10" y="27"/>
                  </a:lnTo>
                  <a:lnTo>
                    <a:pt x="10" y="21"/>
                  </a:lnTo>
                  <a:lnTo>
                    <a:pt x="8" y="15"/>
                  </a:lnTo>
                  <a:lnTo>
                    <a:pt x="1" y="3"/>
                  </a:lnTo>
                  <a:lnTo>
                    <a:pt x="1" y="2"/>
                  </a:lnTo>
                  <a:lnTo>
                    <a:pt x="1" y="0"/>
                  </a:lnTo>
                  <a:lnTo>
                    <a:pt x="8" y="0"/>
                  </a:lnTo>
                  <a:lnTo>
                    <a:pt x="13" y="2"/>
                  </a:lnTo>
                  <a:lnTo>
                    <a:pt x="18" y="3"/>
                  </a:lnTo>
                  <a:lnTo>
                    <a:pt x="16" y="2"/>
                  </a:lnTo>
                  <a:lnTo>
                    <a:pt x="18" y="0"/>
                  </a:lnTo>
                  <a:lnTo>
                    <a:pt x="19" y="0"/>
                  </a:lnTo>
                  <a:lnTo>
                    <a:pt x="25" y="8"/>
                  </a:lnTo>
                  <a:lnTo>
                    <a:pt x="32" y="18"/>
                  </a:lnTo>
                  <a:lnTo>
                    <a:pt x="33" y="21"/>
                  </a:lnTo>
                  <a:lnTo>
                    <a:pt x="33" y="25"/>
                  </a:lnTo>
                  <a:lnTo>
                    <a:pt x="33" y="33"/>
                  </a:lnTo>
                  <a:lnTo>
                    <a:pt x="34" y="43"/>
                  </a:lnTo>
                  <a:lnTo>
                    <a:pt x="30" y="45"/>
                  </a:lnTo>
                  <a:lnTo>
                    <a:pt x="29" y="50"/>
                  </a:lnTo>
                  <a:lnTo>
                    <a:pt x="28" y="56"/>
                  </a:lnTo>
                  <a:lnTo>
                    <a:pt x="29" y="62"/>
                  </a:lnTo>
                  <a:lnTo>
                    <a:pt x="30" y="66"/>
                  </a:lnTo>
                  <a:lnTo>
                    <a:pt x="32" y="70"/>
                  </a:lnTo>
                  <a:lnTo>
                    <a:pt x="33" y="73"/>
                  </a:lnTo>
                  <a:lnTo>
                    <a:pt x="33" y="76"/>
                  </a:lnTo>
                  <a:lnTo>
                    <a:pt x="39" y="7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 name="Rectangle 9"/>
            <p:cNvSpPr>
              <a:spLocks noChangeArrowheads="1"/>
            </p:cNvSpPr>
            <p:nvPr/>
          </p:nvSpPr>
          <p:spPr bwMode="auto">
            <a:xfrm>
              <a:off x="5524504" y="2828927"/>
              <a:ext cx="276225" cy="417513"/>
            </a:xfrm>
            <a:prstGeom prst="rect">
              <a:avLst/>
            </a:prstGeom>
            <a:grpFill/>
            <a:ln w="7938">
              <a:noFill/>
              <a:miter lim="800000"/>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 name="Freeform 10"/>
            <p:cNvSpPr>
              <a:spLocks/>
            </p:cNvSpPr>
            <p:nvPr/>
          </p:nvSpPr>
          <p:spPr bwMode="auto">
            <a:xfrm>
              <a:off x="8461375" y="2366963"/>
              <a:ext cx="39688" cy="30162"/>
            </a:xfrm>
            <a:custGeom>
              <a:avLst/>
              <a:gdLst>
                <a:gd name="T0" fmla="*/ 2147483647 w 27"/>
                <a:gd name="T1" fmla="*/ 2147483647 h 19"/>
                <a:gd name="T2" fmla="*/ 2147483647 w 27"/>
                <a:gd name="T3" fmla="*/ 2147483647 h 19"/>
                <a:gd name="T4" fmla="*/ 2147483647 w 27"/>
                <a:gd name="T5" fmla="*/ 2147483647 h 19"/>
                <a:gd name="T6" fmla="*/ 2147483647 w 27"/>
                <a:gd name="T7" fmla="*/ 2147483647 h 19"/>
                <a:gd name="T8" fmla="*/ 2147483647 w 27"/>
                <a:gd name="T9" fmla="*/ 2147483647 h 19"/>
                <a:gd name="T10" fmla="*/ 2147483647 w 27"/>
                <a:gd name="T11" fmla="*/ 2147483647 h 19"/>
                <a:gd name="T12" fmla="*/ 2147483647 w 27"/>
                <a:gd name="T13" fmla="*/ 2147483647 h 19"/>
                <a:gd name="T14" fmla="*/ 2147483647 w 27"/>
                <a:gd name="T15" fmla="*/ 2147483647 h 19"/>
                <a:gd name="T16" fmla="*/ 2147483647 w 27"/>
                <a:gd name="T17" fmla="*/ 0 h 19"/>
                <a:gd name="T18" fmla="*/ 2147483647 w 27"/>
                <a:gd name="T19" fmla="*/ 2147483647 h 19"/>
                <a:gd name="T20" fmla="*/ 2147483647 w 27"/>
                <a:gd name="T21" fmla="*/ 2147483647 h 19"/>
                <a:gd name="T22" fmla="*/ 2147483647 w 27"/>
                <a:gd name="T23" fmla="*/ 2147483647 h 19"/>
                <a:gd name="T24" fmla="*/ 2147483647 w 27"/>
                <a:gd name="T25" fmla="*/ 2147483647 h 19"/>
                <a:gd name="T26" fmla="*/ 2147483647 w 27"/>
                <a:gd name="T27" fmla="*/ 2147483647 h 19"/>
                <a:gd name="T28" fmla="*/ 2147483647 w 27"/>
                <a:gd name="T29" fmla="*/ 2147483647 h 19"/>
                <a:gd name="T30" fmla="*/ 0 w 27"/>
                <a:gd name="T31" fmla="*/ 2147483647 h 19"/>
                <a:gd name="T32" fmla="*/ 0 w 27"/>
                <a:gd name="T33" fmla="*/ 2147483647 h 19"/>
                <a:gd name="T34" fmla="*/ 0 w 27"/>
                <a:gd name="T35" fmla="*/ 2147483647 h 19"/>
                <a:gd name="T36" fmla="*/ 2147483647 w 27"/>
                <a:gd name="T37" fmla="*/ 2147483647 h 19"/>
                <a:gd name="T38" fmla="*/ 2147483647 w 27"/>
                <a:gd name="T39" fmla="*/ 2147483647 h 19"/>
                <a:gd name="T40" fmla="*/ 2147483647 w 27"/>
                <a:gd name="T41" fmla="*/ 2147483647 h 19"/>
                <a:gd name="T42" fmla="*/ 2147483647 w 27"/>
                <a:gd name="T43" fmla="*/ 2147483647 h 19"/>
                <a:gd name="T44" fmla="*/ 2147483647 w 27"/>
                <a:gd name="T45" fmla="*/ 2147483647 h 19"/>
                <a:gd name="T46" fmla="*/ 2147483647 w 27"/>
                <a:gd name="T47" fmla="*/ 2147483647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19"/>
                <a:gd name="T74" fmla="*/ 27 w 27"/>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19">
                  <a:moveTo>
                    <a:pt x="16" y="12"/>
                  </a:moveTo>
                  <a:lnTo>
                    <a:pt x="20" y="11"/>
                  </a:lnTo>
                  <a:lnTo>
                    <a:pt x="24" y="11"/>
                  </a:lnTo>
                  <a:lnTo>
                    <a:pt x="27" y="10"/>
                  </a:lnTo>
                  <a:lnTo>
                    <a:pt x="27" y="8"/>
                  </a:lnTo>
                  <a:lnTo>
                    <a:pt x="25" y="5"/>
                  </a:lnTo>
                  <a:lnTo>
                    <a:pt x="24" y="3"/>
                  </a:lnTo>
                  <a:lnTo>
                    <a:pt x="19" y="2"/>
                  </a:lnTo>
                  <a:lnTo>
                    <a:pt x="13" y="0"/>
                  </a:lnTo>
                  <a:lnTo>
                    <a:pt x="9" y="2"/>
                  </a:lnTo>
                  <a:lnTo>
                    <a:pt x="6" y="3"/>
                  </a:lnTo>
                  <a:lnTo>
                    <a:pt x="6" y="5"/>
                  </a:lnTo>
                  <a:lnTo>
                    <a:pt x="5" y="9"/>
                  </a:lnTo>
                  <a:lnTo>
                    <a:pt x="4" y="11"/>
                  </a:lnTo>
                  <a:lnTo>
                    <a:pt x="1" y="13"/>
                  </a:lnTo>
                  <a:lnTo>
                    <a:pt x="0" y="16"/>
                  </a:lnTo>
                  <a:lnTo>
                    <a:pt x="0" y="17"/>
                  </a:lnTo>
                  <a:lnTo>
                    <a:pt x="0" y="19"/>
                  </a:lnTo>
                  <a:lnTo>
                    <a:pt x="3" y="19"/>
                  </a:lnTo>
                  <a:lnTo>
                    <a:pt x="5" y="19"/>
                  </a:lnTo>
                  <a:lnTo>
                    <a:pt x="9" y="17"/>
                  </a:lnTo>
                  <a:lnTo>
                    <a:pt x="11" y="16"/>
                  </a:lnTo>
                  <a:lnTo>
                    <a:pt x="13" y="15"/>
                  </a:lnTo>
                  <a:lnTo>
                    <a:pt x="16"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 name="Freeform 11"/>
            <p:cNvSpPr>
              <a:spLocks/>
            </p:cNvSpPr>
            <p:nvPr/>
          </p:nvSpPr>
          <p:spPr bwMode="auto">
            <a:xfrm>
              <a:off x="7789867" y="2527304"/>
              <a:ext cx="22225" cy="19050"/>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0 h 12"/>
                <a:gd name="T14" fmla="*/ 2147483647 w 15"/>
                <a:gd name="T15" fmla="*/ 2147483647 h 12"/>
                <a:gd name="T16" fmla="*/ 2147483647 w 15"/>
                <a:gd name="T17" fmla="*/ 2147483647 h 12"/>
                <a:gd name="T18" fmla="*/ 0 w 15"/>
                <a:gd name="T19" fmla="*/ 2147483647 h 12"/>
                <a:gd name="T20" fmla="*/ 0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2147483647 h 12"/>
                <a:gd name="T30" fmla="*/ 2147483647 w 15"/>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12"/>
                <a:gd name="T50" fmla="*/ 15 w 15"/>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12">
                  <a:moveTo>
                    <a:pt x="14" y="11"/>
                  </a:moveTo>
                  <a:lnTo>
                    <a:pt x="15" y="10"/>
                  </a:lnTo>
                  <a:lnTo>
                    <a:pt x="15" y="8"/>
                  </a:lnTo>
                  <a:lnTo>
                    <a:pt x="14" y="5"/>
                  </a:lnTo>
                  <a:lnTo>
                    <a:pt x="11" y="3"/>
                  </a:lnTo>
                  <a:lnTo>
                    <a:pt x="8" y="1"/>
                  </a:lnTo>
                  <a:lnTo>
                    <a:pt x="6" y="0"/>
                  </a:lnTo>
                  <a:lnTo>
                    <a:pt x="2" y="1"/>
                  </a:lnTo>
                  <a:lnTo>
                    <a:pt x="1" y="3"/>
                  </a:lnTo>
                  <a:lnTo>
                    <a:pt x="0" y="5"/>
                  </a:lnTo>
                  <a:lnTo>
                    <a:pt x="0" y="7"/>
                  </a:lnTo>
                  <a:lnTo>
                    <a:pt x="1" y="10"/>
                  </a:lnTo>
                  <a:lnTo>
                    <a:pt x="3" y="11"/>
                  </a:lnTo>
                  <a:lnTo>
                    <a:pt x="6" y="12"/>
                  </a:lnTo>
                  <a:lnTo>
                    <a:pt x="10" y="12"/>
                  </a:lnTo>
                  <a:lnTo>
                    <a:pt x="14"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 name="Freeform 12"/>
            <p:cNvSpPr>
              <a:spLocks/>
            </p:cNvSpPr>
            <p:nvPr/>
          </p:nvSpPr>
          <p:spPr bwMode="auto">
            <a:xfrm>
              <a:off x="8459789" y="2365379"/>
              <a:ext cx="38100" cy="30163"/>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0 h 19"/>
                <a:gd name="T22" fmla="*/ 2147483647 w 26"/>
                <a:gd name="T23" fmla="*/ 2147483647 h 19"/>
                <a:gd name="T24" fmla="*/ 2147483647 w 26"/>
                <a:gd name="T25" fmla="*/ 2147483647 h 19"/>
                <a:gd name="T26" fmla="*/ 2147483647 w 26"/>
                <a:gd name="T27" fmla="*/ 2147483647 h 19"/>
                <a:gd name="T28" fmla="*/ 2147483647 w 26"/>
                <a:gd name="T29" fmla="*/ 2147483647 h 19"/>
                <a:gd name="T30" fmla="*/ 2147483647 w 26"/>
                <a:gd name="T31" fmla="*/ 2147483647 h 19"/>
                <a:gd name="T32" fmla="*/ 2147483647 w 26"/>
                <a:gd name="T33" fmla="*/ 2147483647 h 19"/>
                <a:gd name="T34" fmla="*/ 2147483647 w 26"/>
                <a:gd name="T35" fmla="*/ 2147483647 h 19"/>
                <a:gd name="T36" fmla="*/ 2147483647 w 26"/>
                <a:gd name="T37" fmla="*/ 2147483647 h 19"/>
                <a:gd name="T38" fmla="*/ 0 w 26"/>
                <a:gd name="T39" fmla="*/ 2147483647 h 19"/>
                <a:gd name="T40" fmla="*/ 0 w 26"/>
                <a:gd name="T41" fmla="*/ 2147483647 h 19"/>
                <a:gd name="T42" fmla="*/ 0 w 26"/>
                <a:gd name="T43" fmla="*/ 2147483647 h 19"/>
                <a:gd name="T44" fmla="*/ 0 w 26"/>
                <a:gd name="T45" fmla="*/ 2147483647 h 19"/>
                <a:gd name="T46" fmla="*/ 2147483647 w 26"/>
                <a:gd name="T47" fmla="*/ 2147483647 h 19"/>
                <a:gd name="T48" fmla="*/ 2147483647 w 26"/>
                <a:gd name="T49" fmla="*/ 2147483647 h 19"/>
                <a:gd name="T50" fmla="*/ 2147483647 w 26"/>
                <a:gd name="T51" fmla="*/ 2147483647 h 19"/>
                <a:gd name="T52" fmla="*/ 2147483647 w 26"/>
                <a:gd name="T53" fmla="*/ 2147483647 h 19"/>
                <a:gd name="T54" fmla="*/ 2147483647 w 26"/>
                <a:gd name="T55" fmla="*/ 2147483647 h 19"/>
                <a:gd name="T56" fmla="*/ 2147483647 w 26"/>
                <a:gd name="T57" fmla="*/ 2147483647 h 19"/>
                <a:gd name="T58" fmla="*/ 2147483647 w 26"/>
                <a:gd name="T59" fmla="*/ 2147483647 h 19"/>
                <a:gd name="T60" fmla="*/ 2147483647 w 26"/>
                <a:gd name="T61" fmla="*/ 2147483647 h 1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
                <a:gd name="T94" fmla="*/ 0 h 19"/>
                <a:gd name="T95" fmla="*/ 26 w 26"/>
                <a:gd name="T96" fmla="*/ 19 h 1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 h="19">
                  <a:moveTo>
                    <a:pt x="16" y="12"/>
                  </a:moveTo>
                  <a:lnTo>
                    <a:pt x="16" y="12"/>
                  </a:lnTo>
                  <a:lnTo>
                    <a:pt x="20" y="11"/>
                  </a:lnTo>
                  <a:lnTo>
                    <a:pt x="24" y="11"/>
                  </a:lnTo>
                  <a:lnTo>
                    <a:pt x="26" y="10"/>
                  </a:lnTo>
                  <a:lnTo>
                    <a:pt x="26" y="7"/>
                  </a:lnTo>
                  <a:lnTo>
                    <a:pt x="25" y="5"/>
                  </a:lnTo>
                  <a:lnTo>
                    <a:pt x="24" y="3"/>
                  </a:lnTo>
                  <a:lnTo>
                    <a:pt x="19" y="1"/>
                  </a:lnTo>
                  <a:lnTo>
                    <a:pt x="12" y="0"/>
                  </a:lnTo>
                  <a:lnTo>
                    <a:pt x="9" y="1"/>
                  </a:lnTo>
                  <a:lnTo>
                    <a:pt x="6" y="3"/>
                  </a:lnTo>
                  <a:lnTo>
                    <a:pt x="6" y="5"/>
                  </a:lnTo>
                  <a:lnTo>
                    <a:pt x="5" y="9"/>
                  </a:lnTo>
                  <a:lnTo>
                    <a:pt x="4" y="11"/>
                  </a:lnTo>
                  <a:lnTo>
                    <a:pt x="1" y="13"/>
                  </a:lnTo>
                  <a:lnTo>
                    <a:pt x="0" y="16"/>
                  </a:lnTo>
                  <a:lnTo>
                    <a:pt x="0" y="17"/>
                  </a:lnTo>
                  <a:lnTo>
                    <a:pt x="0" y="19"/>
                  </a:lnTo>
                  <a:lnTo>
                    <a:pt x="2" y="19"/>
                  </a:lnTo>
                  <a:lnTo>
                    <a:pt x="5" y="19"/>
                  </a:lnTo>
                  <a:lnTo>
                    <a:pt x="9" y="17"/>
                  </a:lnTo>
                  <a:lnTo>
                    <a:pt x="11" y="16"/>
                  </a:lnTo>
                  <a:lnTo>
                    <a:pt x="12" y="14"/>
                  </a:lnTo>
                  <a:lnTo>
                    <a:pt x="16"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 name="Freeform 13"/>
            <p:cNvSpPr>
              <a:spLocks/>
            </p:cNvSpPr>
            <p:nvPr/>
          </p:nvSpPr>
          <p:spPr bwMode="auto">
            <a:xfrm>
              <a:off x="7786690" y="2525713"/>
              <a:ext cx="23812" cy="19050"/>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2147483647 w 16"/>
                <a:gd name="T17" fmla="*/ 0 h 12"/>
                <a:gd name="T18" fmla="*/ 2147483647 w 16"/>
                <a:gd name="T19" fmla="*/ 2147483647 h 12"/>
                <a:gd name="T20" fmla="*/ 2147483647 w 16"/>
                <a:gd name="T21" fmla="*/ 2147483647 h 12"/>
                <a:gd name="T22" fmla="*/ 2147483647 w 16"/>
                <a:gd name="T23" fmla="*/ 2147483647 h 12"/>
                <a:gd name="T24" fmla="*/ 0 w 16"/>
                <a:gd name="T25" fmla="*/ 2147483647 h 12"/>
                <a:gd name="T26" fmla="*/ 0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2147483647 h 12"/>
                <a:gd name="T40" fmla="*/ 2147483647 w 16"/>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2"/>
                <a:gd name="T65" fmla="*/ 16 w 16"/>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2">
                  <a:moveTo>
                    <a:pt x="14" y="11"/>
                  </a:moveTo>
                  <a:lnTo>
                    <a:pt x="14" y="11"/>
                  </a:lnTo>
                  <a:lnTo>
                    <a:pt x="16" y="9"/>
                  </a:lnTo>
                  <a:lnTo>
                    <a:pt x="16" y="8"/>
                  </a:lnTo>
                  <a:lnTo>
                    <a:pt x="14" y="5"/>
                  </a:lnTo>
                  <a:lnTo>
                    <a:pt x="12" y="2"/>
                  </a:lnTo>
                  <a:lnTo>
                    <a:pt x="9" y="1"/>
                  </a:lnTo>
                  <a:lnTo>
                    <a:pt x="7" y="0"/>
                  </a:lnTo>
                  <a:lnTo>
                    <a:pt x="3" y="1"/>
                  </a:lnTo>
                  <a:lnTo>
                    <a:pt x="2" y="2"/>
                  </a:lnTo>
                  <a:lnTo>
                    <a:pt x="0" y="5"/>
                  </a:lnTo>
                  <a:lnTo>
                    <a:pt x="0" y="7"/>
                  </a:lnTo>
                  <a:lnTo>
                    <a:pt x="2" y="9"/>
                  </a:lnTo>
                  <a:lnTo>
                    <a:pt x="4" y="11"/>
                  </a:lnTo>
                  <a:lnTo>
                    <a:pt x="7" y="12"/>
                  </a:lnTo>
                  <a:lnTo>
                    <a:pt x="10" y="12"/>
                  </a:lnTo>
                  <a:lnTo>
                    <a:pt x="14"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 name="Freeform 14"/>
            <p:cNvSpPr>
              <a:spLocks/>
            </p:cNvSpPr>
            <p:nvPr/>
          </p:nvSpPr>
          <p:spPr bwMode="auto">
            <a:xfrm>
              <a:off x="8250239" y="2701929"/>
              <a:ext cx="38100" cy="30163"/>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2147483647 h 19"/>
                <a:gd name="T22" fmla="*/ 2147483647 w 26"/>
                <a:gd name="T23" fmla="*/ 2147483647 h 19"/>
                <a:gd name="T24" fmla="*/ 2147483647 w 26"/>
                <a:gd name="T25" fmla="*/ 2147483647 h 19"/>
                <a:gd name="T26" fmla="*/ 2147483647 w 26"/>
                <a:gd name="T27" fmla="*/ 2147483647 h 19"/>
                <a:gd name="T28" fmla="*/ 2147483647 w 26"/>
                <a:gd name="T29" fmla="*/ 0 h 19"/>
                <a:gd name="T30" fmla="*/ 2147483647 w 26"/>
                <a:gd name="T31" fmla="*/ 0 h 19"/>
                <a:gd name="T32" fmla="*/ 2147483647 w 26"/>
                <a:gd name="T33" fmla="*/ 2147483647 h 19"/>
                <a:gd name="T34" fmla="*/ 2147483647 w 26"/>
                <a:gd name="T35" fmla="*/ 2147483647 h 19"/>
                <a:gd name="T36" fmla="*/ 2147483647 w 26"/>
                <a:gd name="T37" fmla="*/ 2147483647 h 19"/>
                <a:gd name="T38" fmla="*/ 0 w 26"/>
                <a:gd name="T39" fmla="*/ 2147483647 h 19"/>
                <a:gd name="T40" fmla="*/ 2147483647 w 26"/>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19"/>
                <a:gd name="T65" fmla="*/ 26 w 26"/>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19">
                  <a:moveTo>
                    <a:pt x="3" y="18"/>
                  </a:moveTo>
                  <a:lnTo>
                    <a:pt x="4" y="19"/>
                  </a:lnTo>
                  <a:lnTo>
                    <a:pt x="7" y="19"/>
                  </a:lnTo>
                  <a:lnTo>
                    <a:pt x="8" y="18"/>
                  </a:lnTo>
                  <a:lnTo>
                    <a:pt x="9" y="16"/>
                  </a:lnTo>
                  <a:lnTo>
                    <a:pt x="11" y="12"/>
                  </a:lnTo>
                  <a:lnTo>
                    <a:pt x="13" y="10"/>
                  </a:lnTo>
                  <a:lnTo>
                    <a:pt x="16" y="9"/>
                  </a:lnTo>
                  <a:lnTo>
                    <a:pt x="20" y="9"/>
                  </a:lnTo>
                  <a:lnTo>
                    <a:pt x="23" y="8"/>
                  </a:lnTo>
                  <a:lnTo>
                    <a:pt x="25" y="6"/>
                  </a:lnTo>
                  <a:lnTo>
                    <a:pt x="26" y="4"/>
                  </a:lnTo>
                  <a:lnTo>
                    <a:pt x="25" y="3"/>
                  </a:lnTo>
                  <a:lnTo>
                    <a:pt x="23" y="2"/>
                  </a:lnTo>
                  <a:lnTo>
                    <a:pt x="20" y="0"/>
                  </a:lnTo>
                  <a:lnTo>
                    <a:pt x="14" y="0"/>
                  </a:lnTo>
                  <a:lnTo>
                    <a:pt x="9" y="3"/>
                  </a:lnTo>
                  <a:lnTo>
                    <a:pt x="6" y="6"/>
                  </a:lnTo>
                  <a:lnTo>
                    <a:pt x="2" y="12"/>
                  </a:lnTo>
                  <a:lnTo>
                    <a:pt x="0" y="15"/>
                  </a:lnTo>
                  <a:lnTo>
                    <a:pt x="3" y="1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 name="Freeform 15"/>
            <p:cNvSpPr>
              <a:spLocks/>
            </p:cNvSpPr>
            <p:nvPr/>
          </p:nvSpPr>
          <p:spPr bwMode="auto">
            <a:xfrm>
              <a:off x="8234363" y="2747963"/>
              <a:ext cx="4762" cy="17462"/>
            </a:xfrm>
            <a:custGeom>
              <a:avLst/>
              <a:gdLst>
                <a:gd name="T0" fmla="*/ 2147483647 w 4"/>
                <a:gd name="T1" fmla="*/ 2147483647 h 11"/>
                <a:gd name="T2" fmla="*/ 2147483647 w 4"/>
                <a:gd name="T3" fmla="*/ 0 h 11"/>
                <a:gd name="T4" fmla="*/ 0 w 4"/>
                <a:gd name="T5" fmla="*/ 2147483647 h 11"/>
                <a:gd name="T6" fmla="*/ 0 w 4"/>
                <a:gd name="T7" fmla="*/ 2147483647 h 11"/>
                <a:gd name="T8" fmla="*/ 0 w 4"/>
                <a:gd name="T9" fmla="*/ 2147483647 h 11"/>
                <a:gd name="T10" fmla="*/ 0 w 4"/>
                <a:gd name="T11" fmla="*/ 2147483647 h 11"/>
                <a:gd name="T12" fmla="*/ 2147483647 w 4"/>
                <a:gd name="T13" fmla="*/ 2147483647 h 11"/>
                <a:gd name="T14" fmla="*/ 2147483647 w 4"/>
                <a:gd name="T15" fmla="*/ 2147483647 h 11"/>
                <a:gd name="T16" fmla="*/ 2147483647 w 4"/>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3" y="1"/>
                  </a:moveTo>
                  <a:lnTo>
                    <a:pt x="3" y="0"/>
                  </a:lnTo>
                  <a:lnTo>
                    <a:pt x="0" y="2"/>
                  </a:lnTo>
                  <a:lnTo>
                    <a:pt x="0" y="5"/>
                  </a:lnTo>
                  <a:lnTo>
                    <a:pt x="0" y="8"/>
                  </a:lnTo>
                  <a:lnTo>
                    <a:pt x="0" y="11"/>
                  </a:lnTo>
                  <a:lnTo>
                    <a:pt x="4" y="6"/>
                  </a:lnTo>
                  <a:lnTo>
                    <a:pt x="4" y="3"/>
                  </a:lnTo>
                  <a:lnTo>
                    <a:pt x="3"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 name="Freeform 16"/>
            <p:cNvSpPr>
              <a:spLocks/>
            </p:cNvSpPr>
            <p:nvPr/>
          </p:nvSpPr>
          <p:spPr bwMode="auto">
            <a:xfrm>
              <a:off x="8248651" y="2700338"/>
              <a:ext cx="38100" cy="30162"/>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2147483647 h 19"/>
                <a:gd name="T22" fmla="*/ 2147483647 w 26"/>
                <a:gd name="T23" fmla="*/ 2147483647 h 19"/>
                <a:gd name="T24" fmla="*/ 2147483647 w 26"/>
                <a:gd name="T25" fmla="*/ 2147483647 h 19"/>
                <a:gd name="T26" fmla="*/ 2147483647 w 26"/>
                <a:gd name="T27" fmla="*/ 2147483647 h 19"/>
                <a:gd name="T28" fmla="*/ 2147483647 w 26"/>
                <a:gd name="T29" fmla="*/ 2147483647 h 19"/>
                <a:gd name="T30" fmla="*/ 2147483647 w 26"/>
                <a:gd name="T31" fmla="*/ 2147483647 h 19"/>
                <a:gd name="T32" fmla="*/ 2147483647 w 26"/>
                <a:gd name="T33" fmla="*/ 2147483647 h 19"/>
                <a:gd name="T34" fmla="*/ 2147483647 w 26"/>
                <a:gd name="T35" fmla="*/ 2147483647 h 19"/>
                <a:gd name="T36" fmla="*/ 2147483647 w 26"/>
                <a:gd name="T37" fmla="*/ 2147483647 h 19"/>
                <a:gd name="T38" fmla="*/ 2147483647 w 26"/>
                <a:gd name="T39" fmla="*/ 0 h 19"/>
                <a:gd name="T40" fmla="*/ 2147483647 w 26"/>
                <a:gd name="T41" fmla="*/ 0 h 19"/>
                <a:gd name="T42" fmla="*/ 2147483647 w 26"/>
                <a:gd name="T43" fmla="*/ 2147483647 h 19"/>
                <a:gd name="T44" fmla="*/ 2147483647 w 26"/>
                <a:gd name="T45" fmla="*/ 2147483647 h 19"/>
                <a:gd name="T46" fmla="*/ 2147483647 w 26"/>
                <a:gd name="T47" fmla="*/ 2147483647 h 19"/>
                <a:gd name="T48" fmla="*/ 2147483647 w 26"/>
                <a:gd name="T49" fmla="*/ 2147483647 h 19"/>
                <a:gd name="T50" fmla="*/ 0 w 26"/>
                <a:gd name="T51" fmla="*/ 2147483647 h 19"/>
                <a:gd name="T52" fmla="*/ 2147483647 w 26"/>
                <a:gd name="T53" fmla="*/ 2147483647 h 19"/>
                <a:gd name="T54" fmla="*/ 2147483647 w 26"/>
                <a:gd name="T55" fmla="*/ 2147483647 h 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19"/>
                <a:gd name="T86" fmla="*/ 26 w 26"/>
                <a:gd name="T87" fmla="*/ 19 h 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19">
                  <a:moveTo>
                    <a:pt x="3" y="18"/>
                  </a:moveTo>
                  <a:lnTo>
                    <a:pt x="3" y="18"/>
                  </a:lnTo>
                  <a:lnTo>
                    <a:pt x="4" y="19"/>
                  </a:lnTo>
                  <a:lnTo>
                    <a:pt x="7" y="19"/>
                  </a:lnTo>
                  <a:lnTo>
                    <a:pt x="8" y="18"/>
                  </a:lnTo>
                  <a:lnTo>
                    <a:pt x="9" y="16"/>
                  </a:lnTo>
                  <a:lnTo>
                    <a:pt x="10" y="12"/>
                  </a:lnTo>
                  <a:lnTo>
                    <a:pt x="13" y="10"/>
                  </a:lnTo>
                  <a:lnTo>
                    <a:pt x="15" y="9"/>
                  </a:lnTo>
                  <a:lnTo>
                    <a:pt x="19" y="9"/>
                  </a:lnTo>
                  <a:lnTo>
                    <a:pt x="23" y="7"/>
                  </a:lnTo>
                  <a:lnTo>
                    <a:pt x="24" y="6"/>
                  </a:lnTo>
                  <a:lnTo>
                    <a:pt x="26" y="4"/>
                  </a:lnTo>
                  <a:lnTo>
                    <a:pt x="24" y="3"/>
                  </a:lnTo>
                  <a:lnTo>
                    <a:pt x="23" y="1"/>
                  </a:lnTo>
                  <a:lnTo>
                    <a:pt x="19" y="0"/>
                  </a:lnTo>
                  <a:lnTo>
                    <a:pt x="14" y="0"/>
                  </a:lnTo>
                  <a:lnTo>
                    <a:pt x="9" y="3"/>
                  </a:lnTo>
                  <a:lnTo>
                    <a:pt x="5" y="6"/>
                  </a:lnTo>
                  <a:lnTo>
                    <a:pt x="1" y="12"/>
                  </a:lnTo>
                  <a:lnTo>
                    <a:pt x="0" y="14"/>
                  </a:lnTo>
                  <a:lnTo>
                    <a:pt x="3" y="1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 name="Freeform 17"/>
            <p:cNvSpPr>
              <a:spLocks/>
            </p:cNvSpPr>
            <p:nvPr/>
          </p:nvSpPr>
          <p:spPr bwMode="auto">
            <a:xfrm>
              <a:off x="8232777" y="2746379"/>
              <a:ext cx="6350" cy="15875"/>
            </a:xfrm>
            <a:custGeom>
              <a:avLst/>
              <a:gdLst>
                <a:gd name="T0" fmla="*/ 2147483647 w 4"/>
                <a:gd name="T1" fmla="*/ 2147483647 h 10"/>
                <a:gd name="T2" fmla="*/ 2147483647 w 4"/>
                <a:gd name="T3" fmla="*/ 2147483647 h 10"/>
                <a:gd name="T4" fmla="*/ 2147483647 w 4"/>
                <a:gd name="T5" fmla="*/ 0 h 10"/>
                <a:gd name="T6" fmla="*/ 2147483647 w 4"/>
                <a:gd name="T7" fmla="*/ 0 h 10"/>
                <a:gd name="T8" fmla="*/ 2147483647 w 4"/>
                <a:gd name="T9" fmla="*/ 0 h 10"/>
                <a:gd name="T10" fmla="*/ 0 w 4"/>
                <a:gd name="T11" fmla="*/ 2147483647 h 10"/>
                <a:gd name="T12" fmla="*/ 0 w 4"/>
                <a:gd name="T13" fmla="*/ 2147483647 h 10"/>
                <a:gd name="T14" fmla="*/ 0 w 4"/>
                <a:gd name="T15" fmla="*/ 2147483647 h 10"/>
                <a:gd name="T16" fmla="*/ 0 w 4"/>
                <a:gd name="T17" fmla="*/ 2147483647 h 10"/>
                <a:gd name="T18" fmla="*/ 0 w 4"/>
                <a:gd name="T19" fmla="*/ 2147483647 h 10"/>
                <a:gd name="T20" fmla="*/ 2147483647 w 4"/>
                <a:gd name="T21" fmla="*/ 2147483647 h 10"/>
                <a:gd name="T22" fmla="*/ 2147483647 w 4"/>
                <a:gd name="T23" fmla="*/ 2147483647 h 10"/>
                <a:gd name="T24" fmla="*/ 2147483647 w 4"/>
                <a:gd name="T25" fmla="*/ 2147483647 h 10"/>
                <a:gd name="T26" fmla="*/ 2147483647 w 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10"/>
                <a:gd name="T44" fmla="*/ 4 w 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10">
                  <a:moveTo>
                    <a:pt x="2" y="1"/>
                  </a:moveTo>
                  <a:lnTo>
                    <a:pt x="2" y="1"/>
                  </a:lnTo>
                  <a:lnTo>
                    <a:pt x="2" y="0"/>
                  </a:lnTo>
                  <a:lnTo>
                    <a:pt x="0" y="2"/>
                  </a:lnTo>
                  <a:lnTo>
                    <a:pt x="0" y="4"/>
                  </a:lnTo>
                  <a:lnTo>
                    <a:pt x="0" y="8"/>
                  </a:lnTo>
                  <a:lnTo>
                    <a:pt x="0" y="10"/>
                  </a:lnTo>
                  <a:lnTo>
                    <a:pt x="4" y="6"/>
                  </a:lnTo>
                  <a:lnTo>
                    <a:pt x="4" y="3"/>
                  </a:lnTo>
                  <a:lnTo>
                    <a:pt x="2"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 name="Freeform 18"/>
            <p:cNvSpPr>
              <a:spLocks/>
            </p:cNvSpPr>
            <p:nvPr/>
          </p:nvSpPr>
          <p:spPr bwMode="auto">
            <a:xfrm>
              <a:off x="8212142" y="2778129"/>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2147483647 h 6"/>
                <a:gd name="T16" fmla="*/ 2147483647 w 6"/>
                <a:gd name="T17" fmla="*/ 0 h 6"/>
                <a:gd name="T18" fmla="*/ 2147483647 w 6"/>
                <a:gd name="T19" fmla="*/ 0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1"/>
                  </a:moveTo>
                  <a:lnTo>
                    <a:pt x="6" y="3"/>
                  </a:lnTo>
                  <a:lnTo>
                    <a:pt x="4" y="5"/>
                  </a:lnTo>
                  <a:lnTo>
                    <a:pt x="2" y="6"/>
                  </a:lnTo>
                  <a:lnTo>
                    <a:pt x="0" y="6"/>
                  </a:lnTo>
                  <a:lnTo>
                    <a:pt x="0" y="5"/>
                  </a:lnTo>
                  <a:lnTo>
                    <a:pt x="0" y="2"/>
                  </a:lnTo>
                  <a:lnTo>
                    <a:pt x="1" y="1"/>
                  </a:lnTo>
                  <a:lnTo>
                    <a:pt x="4" y="0"/>
                  </a:lnTo>
                  <a:lnTo>
                    <a:pt x="6" y="0"/>
                  </a:lnTo>
                  <a:lnTo>
                    <a:pt x="6"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 name="Freeform 19"/>
            <p:cNvSpPr>
              <a:spLocks/>
            </p:cNvSpPr>
            <p:nvPr/>
          </p:nvSpPr>
          <p:spPr bwMode="auto">
            <a:xfrm>
              <a:off x="8197853" y="2800354"/>
              <a:ext cx="3175" cy="9525"/>
            </a:xfrm>
            <a:custGeom>
              <a:avLst/>
              <a:gdLst>
                <a:gd name="T0" fmla="*/ 2147483647 w 2"/>
                <a:gd name="T1" fmla="*/ 2147483647 h 6"/>
                <a:gd name="T2" fmla="*/ 2147483647 w 2"/>
                <a:gd name="T3" fmla="*/ 2147483647 h 6"/>
                <a:gd name="T4" fmla="*/ 2147483647 w 2"/>
                <a:gd name="T5" fmla="*/ 0 h 6"/>
                <a:gd name="T6" fmla="*/ 0 w 2"/>
                <a:gd name="T7" fmla="*/ 2147483647 h 6"/>
                <a:gd name="T8" fmla="*/ 0 w 2"/>
                <a:gd name="T9" fmla="*/ 2147483647 h 6"/>
                <a:gd name="T10" fmla="*/ 0 w 2"/>
                <a:gd name="T11" fmla="*/ 2147483647 h 6"/>
                <a:gd name="T12" fmla="*/ 2147483647 w 2"/>
                <a:gd name="T13" fmla="*/ 2147483647 h 6"/>
                <a:gd name="T14" fmla="*/ 2147483647 w 2"/>
                <a:gd name="T15" fmla="*/ 2147483647 h 6"/>
                <a:gd name="T16" fmla="*/ 2147483647 w 2"/>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6"/>
                <a:gd name="T29" fmla="*/ 2 w 2"/>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6">
                  <a:moveTo>
                    <a:pt x="2" y="4"/>
                  </a:moveTo>
                  <a:lnTo>
                    <a:pt x="2" y="1"/>
                  </a:lnTo>
                  <a:lnTo>
                    <a:pt x="1" y="0"/>
                  </a:lnTo>
                  <a:lnTo>
                    <a:pt x="0" y="1"/>
                  </a:lnTo>
                  <a:lnTo>
                    <a:pt x="0" y="2"/>
                  </a:lnTo>
                  <a:lnTo>
                    <a:pt x="0" y="6"/>
                  </a:lnTo>
                  <a:lnTo>
                    <a:pt x="2" y="6"/>
                  </a:lnTo>
                  <a:lnTo>
                    <a:pt x="2" y="5"/>
                  </a:lnTo>
                  <a:lnTo>
                    <a:pt x="2"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 name="Freeform 20"/>
            <p:cNvSpPr>
              <a:spLocks/>
            </p:cNvSpPr>
            <p:nvPr/>
          </p:nvSpPr>
          <p:spPr bwMode="auto">
            <a:xfrm>
              <a:off x="8210551" y="2776542"/>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0 w 6"/>
                <a:gd name="T15" fmla="*/ 2147483647 h 6"/>
                <a:gd name="T16" fmla="*/ 0 w 6"/>
                <a:gd name="T17" fmla="*/ 2147483647 h 6"/>
                <a:gd name="T18" fmla="*/ 2147483647 w 6"/>
                <a:gd name="T19" fmla="*/ 2147483647 h 6"/>
                <a:gd name="T20" fmla="*/ 2147483647 w 6"/>
                <a:gd name="T21" fmla="*/ 0 h 6"/>
                <a:gd name="T22" fmla="*/ 2147483647 w 6"/>
                <a:gd name="T23" fmla="*/ 0 h 6"/>
                <a:gd name="T24" fmla="*/ 2147483647 w 6"/>
                <a:gd name="T25" fmla="*/ 0 h 6"/>
                <a:gd name="T26" fmla="*/ 2147483647 w 6"/>
                <a:gd name="T27" fmla="*/ 0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1"/>
                  </a:moveTo>
                  <a:lnTo>
                    <a:pt x="6" y="1"/>
                  </a:lnTo>
                  <a:lnTo>
                    <a:pt x="6" y="3"/>
                  </a:lnTo>
                  <a:lnTo>
                    <a:pt x="3" y="4"/>
                  </a:lnTo>
                  <a:lnTo>
                    <a:pt x="2" y="6"/>
                  </a:lnTo>
                  <a:lnTo>
                    <a:pt x="0" y="6"/>
                  </a:lnTo>
                  <a:lnTo>
                    <a:pt x="0" y="4"/>
                  </a:lnTo>
                  <a:lnTo>
                    <a:pt x="0" y="2"/>
                  </a:lnTo>
                  <a:lnTo>
                    <a:pt x="1" y="1"/>
                  </a:lnTo>
                  <a:lnTo>
                    <a:pt x="3" y="0"/>
                  </a:lnTo>
                  <a:lnTo>
                    <a:pt x="6" y="0"/>
                  </a:lnTo>
                  <a:lnTo>
                    <a:pt x="6"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 name="Freeform 21"/>
            <p:cNvSpPr>
              <a:spLocks/>
            </p:cNvSpPr>
            <p:nvPr/>
          </p:nvSpPr>
          <p:spPr bwMode="auto">
            <a:xfrm>
              <a:off x="8194676" y="2798767"/>
              <a:ext cx="4763" cy="9525"/>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2147483647 w 3"/>
                <a:gd name="T9" fmla="*/ 0 h 6"/>
                <a:gd name="T10" fmla="*/ 2147483647 w 3"/>
                <a:gd name="T11" fmla="*/ 0 h 6"/>
                <a:gd name="T12" fmla="*/ 0 w 3"/>
                <a:gd name="T13" fmla="*/ 2147483647 h 6"/>
                <a:gd name="T14" fmla="*/ 0 w 3"/>
                <a:gd name="T15" fmla="*/ 2147483647 h 6"/>
                <a:gd name="T16" fmla="*/ 0 w 3"/>
                <a:gd name="T17" fmla="*/ 2147483647 h 6"/>
                <a:gd name="T18" fmla="*/ 0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6"/>
                <a:gd name="T47" fmla="*/ 3 w 3"/>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6">
                  <a:moveTo>
                    <a:pt x="3" y="3"/>
                  </a:moveTo>
                  <a:lnTo>
                    <a:pt x="3" y="3"/>
                  </a:lnTo>
                  <a:lnTo>
                    <a:pt x="3" y="1"/>
                  </a:lnTo>
                  <a:lnTo>
                    <a:pt x="2" y="0"/>
                  </a:lnTo>
                  <a:lnTo>
                    <a:pt x="0" y="1"/>
                  </a:lnTo>
                  <a:lnTo>
                    <a:pt x="0" y="2"/>
                  </a:lnTo>
                  <a:lnTo>
                    <a:pt x="0" y="6"/>
                  </a:lnTo>
                  <a:lnTo>
                    <a:pt x="3" y="6"/>
                  </a:lnTo>
                  <a:lnTo>
                    <a:pt x="3" y="5"/>
                  </a:lnTo>
                  <a:lnTo>
                    <a:pt x="3"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 name="Freeform 22"/>
            <p:cNvSpPr>
              <a:spLocks/>
            </p:cNvSpPr>
            <p:nvPr/>
          </p:nvSpPr>
          <p:spPr bwMode="auto">
            <a:xfrm>
              <a:off x="8159753" y="2840042"/>
              <a:ext cx="9525" cy="9525"/>
            </a:xfrm>
            <a:custGeom>
              <a:avLst/>
              <a:gdLst>
                <a:gd name="T0" fmla="*/ 2147483647 w 7"/>
                <a:gd name="T1" fmla="*/ 2147483647 h 6"/>
                <a:gd name="T2" fmla="*/ 2147483647 w 7"/>
                <a:gd name="T3" fmla="*/ 2147483647 h 6"/>
                <a:gd name="T4" fmla="*/ 2147483647 w 7"/>
                <a:gd name="T5" fmla="*/ 0 h 6"/>
                <a:gd name="T6" fmla="*/ 2147483647 w 7"/>
                <a:gd name="T7" fmla="*/ 2147483647 h 6"/>
                <a:gd name="T8" fmla="*/ 2147483647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6"/>
                <a:gd name="T32" fmla="*/ 7 w 7"/>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6">
                  <a:moveTo>
                    <a:pt x="5" y="2"/>
                  </a:moveTo>
                  <a:lnTo>
                    <a:pt x="7" y="1"/>
                  </a:lnTo>
                  <a:lnTo>
                    <a:pt x="7" y="0"/>
                  </a:lnTo>
                  <a:lnTo>
                    <a:pt x="3" y="1"/>
                  </a:lnTo>
                  <a:lnTo>
                    <a:pt x="2" y="2"/>
                  </a:lnTo>
                  <a:lnTo>
                    <a:pt x="0" y="5"/>
                  </a:lnTo>
                  <a:lnTo>
                    <a:pt x="2" y="6"/>
                  </a:lnTo>
                  <a:lnTo>
                    <a:pt x="3" y="6"/>
                  </a:lnTo>
                  <a:lnTo>
                    <a:pt x="5" y="5"/>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 name="Freeform 23"/>
            <p:cNvSpPr>
              <a:spLocks/>
            </p:cNvSpPr>
            <p:nvPr/>
          </p:nvSpPr>
          <p:spPr bwMode="auto">
            <a:xfrm>
              <a:off x="8523292" y="2524127"/>
              <a:ext cx="22225" cy="31751"/>
            </a:xfrm>
            <a:custGeom>
              <a:avLst/>
              <a:gdLst>
                <a:gd name="T0" fmla="*/ 0 w 16"/>
                <a:gd name="T1" fmla="*/ 2147483647 h 20"/>
                <a:gd name="T2" fmla="*/ 0 w 16"/>
                <a:gd name="T3" fmla="*/ 2147483647 h 20"/>
                <a:gd name="T4" fmla="*/ 2147483647 w 16"/>
                <a:gd name="T5" fmla="*/ 2147483647 h 20"/>
                <a:gd name="T6" fmla="*/ 2147483647 w 16"/>
                <a:gd name="T7" fmla="*/ 2147483647 h 20"/>
                <a:gd name="T8" fmla="*/ 2147483647 w 16"/>
                <a:gd name="T9" fmla="*/ 2147483647 h 20"/>
                <a:gd name="T10" fmla="*/ 2147483647 w 16"/>
                <a:gd name="T11" fmla="*/ 2147483647 h 20"/>
                <a:gd name="T12" fmla="*/ 2147483647 w 16"/>
                <a:gd name="T13" fmla="*/ 2147483647 h 20"/>
                <a:gd name="T14" fmla="*/ 2147483647 w 16"/>
                <a:gd name="T15" fmla="*/ 2147483647 h 20"/>
                <a:gd name="T16" fmla="*/ 2147483647 w 16"/>
                <a:gd name="T17" fmla="*/ 2147483647 h 20"/>
                <a:gd name="T18" fmla="*/ 2147483647 w 16"/>
                <a:gd name="T19" fmla="*/ 2147483647 h 20"/>
                <a:gd name="T20" fmla="*/ 2147483647 w 16"/>
                <a:gd name="T21" fmla="*/ 2147483647 h 20"/>
                <a:gd name="T22" fmla="*/ 2147483647 w 16"/>
                <a:gd name="T23" fmla="*/ 2147483647 h 20"/>
                <a:gd name="T24" fmla="*/ 0 w 16"/>
                <a:gd name="T25" fmla="*/ 0 h 20"/>
                <a:gd name="T26" fmla="*/ 0 w 16"/>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0"/>
                <a:gd name="T44" fmla="*/ 16 w 1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0">
                  <a:moveTo>
                    <a:pt x="0" y="1"/>
                  </a:moveTo>
                  <a:lnTo>
                    <a:pt x="0" y="7"/>
                  </a:lnTo>
                  <a:lnTo>
                    <a:pt x="2" y="10"/>
                  </a:lnTo>
                  <a:lnTo>
                    <a:pt x="10" y="19"/>
                  </a:lnTo>
                  <a:lnTo>
                    <a:pt x="13" y="20"/>
                  </a:lnTo>
                  <a:lnTo>
                    <a:pt x="15" y="19"/>
                  </a:lnTo>
                  <a:lnTo>
                    <a:pt x="16" y="16"/>
                  </a:lnTo>
                  <a:lnTo>
                    <a:pt x="16" y="14"/>
                  </a:lnTo>
                  <a:lnTo>
                    <a:pt x="11" y="9"/>
                  </a:lnTo>
                  <a:lnTo>
                    <a:pt x="6" y="6"/>
                  </a:lnTo>
                  <a:lnTo>
                    <a:pt x="4" y="2"/>
                  </a:lnTo>
                  <a:lnTo>
                    <a:pt x="2" y="1"/>
                  </a:lnTo>
                  <a:lnTo>
                    <a:pt x="0" y="0"/>
                  </a:lnTo>
                  <a:lnTo>
                    <a:pt x="0"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 name="Freeform 24"/>
            <p:cNvSpPr>
              <a:spLocks/>
            </p:cNvSpPr>
            <p:nvPr/>
          </p:nvSpPr>
          <p:spPr bwMode="auto">
            <a:xfrm>
              <a:off x="8158167" y="2838455"/>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0 h 6"/>
                <a:gd name="T8" fmla="*/ 2147483647 w 6"/>
                <a:gd name="T9" fmla="*/ 0 h 6"/>
                <a:gd name="T10" fmla="*/ 2147483647 w 6"/>
                <a:gd name="T11" fmla="*/ 2147483647 h 6"/>
                <a:gd name="T12" fmla="*/ 2147483647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6"/>
                <a:gd name="T47" fmla="*/ 6 w 6"/>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6">
                  <a:moveTo>
                    <a:pt x="5" y="2"/>
                  </a:moveTo>
                  <a:lnTo>
                    <a:pt x="5" y="2"/>
                  </a:lnTo>
                  <a:lnTo>
                    <a:pt x="6" y="1"/>
                  </a:lnTo>
                  <a:lnTo>
                    <a:pt x="6" y="0"/>
                  </a:lnTo>
                  <a:lnTo>
                    <a:pt x="3" y="1"/>
                  </a:lnTo>
                  <a:lnTo>
                    <a:pt x="1" y="2"/>
                  </a:lnTo>
                  <a:lnTo>
                    <a:pt x="0" y="5"/>
                  </a:lnTo>
                  <a:lnTo>
                    <a:pt x="1" y="6"/>
                  </a:lnTo>
                  <a:lnTo>
                    <a:pt x="3" y="6"/>
                  </a:lnTo>
                  <a:lnTo>
                    <a:pt x="5" y="5"/>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 name="Freeform 25"/>
            <p:cNvSpPr>
              <a:spLocks/>
            </p:cNvSpPr>
            <p:nvPr/>
          </p:nvSpPr>
          <p:spPr bwMode="auto">
            <a:xfrm>
              <a:off x="8521704" y="2522537"/>
              <a:ext cx="22225" cy="31751"/>
            </a:xfrm>
            <a:custGeom>
              <a:avLst/>
              <a:gdLst>
                <a:gd name="T0" fmla="*/ 0 w 16"/>
                <a:gd name="T1" fmla="*/ 2147483647 h 20"/>
                <a:gd name="T2" fmla="*/ 0 w 16"/>
                <a:gd name="T3" fmla="*/ 2147483647 h 20"/>
                <a:gd name="T4" fmla="*/ 0 w 16"/>
                <a:gd name="T5" fmla="*/ 2147483647 h 20"/>
                <a:gd name="T6" fmla="*/ 2147483647 w 16"/>
                <a:gd name="T7" fmla="*/ 2147483647 h 20"/>
                <a:gd name="T8" fmla="*/ 2147483647 w 16"/>
                <a:gd name="T9" fmla="*/ 2147483647 h 20"/>
                <a:gd name="T10" fmla="*/ 2147483647 w 16"/>
                <a:gd name="T11" fmla="*/ 2147483647 h 20"/>
                <a:gd name="T12" fmla="*/ 2147483647 w 16"/>
                <a:gd name="T13" fmla="*/ 2147483647 h 20"/>
                <a:gd name="T14" fmla="*/ 2147483647 w 16"/>
                <a:gd name="T15" fmla="*/ 2147483647 h 20"/>
                <a:gd name="T16" fmla="*/ 2147483647 w 16"/>
                <a:gd name="T17" fmla="*/ 2147483647 h 20"/>
                <a:gd name="T18" fmla="*/ 2147483647 w 16"/>
                <a:gd name="T19" fmla="*/ 2147483647 h 20"/>
                <a:gd name="T20" fmla="*/ 2147483647 w 16"/>
                <a:gd name="T21" fmla="*/ 2147483647 h 20"/>
                <a:gd name="T22" fmla="*/ 2147483647 w 16"/>
                <a:gd name="T23" fmla="*/ 2147483647 h 20"/>
                <a:gd name="T24" fmla="*/ 2147483647 w 16"/>
                <a:gd name="T25" fmla="*/ 2147483647 h 20"/>
                <a:gd name="T26" fmla="*/ 2147483647 w 16"/>
                <a:gd name="T27" fmla="*/ 2147483647 h 20"/>
                <a:gd name="T28" fmla="*/ 2147483647 w 16"/>
                <a:gd name="T29" fmla="*/ 2147483647 h 20"/>
                <a:gd name="T30" fmla="*/ 2147483647 w 16"/>
                <a:gd name="T31" fmla="*/ 2147483647 h 20"/>
                <a:gd name="T32" fmla="*/ 2147483647 w 16"/>
                <a:gd name="T33" fmla="*/ 2147483647 h 20"/>
                <a:gd name="T34" fmla="*/ 0 w 16"/>
                <a:gd name="T35" fmla="*/ 0 h 20"/>
                <a:gd name="T36" fmla="*/ 0 w 16"/>
                <a:gd name="T37" fmla="*/ 0 h 20"/>
                <a:gd name="T38" fmla="*/ 0 w 16"/>
                <a:gd name="T39" fmla="*/ 2147483647 h 20"/>
                <a:gd name="T40" fmla="*/ 0 w 16"/>
                <a:gd name="T41" fmla="*/ 2147483647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20"/>
                <a:gd name="T65" fmla="*/ 16 w 16"/>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20">
                  <a:moveTo>
                    <a:pt x="0" y="1"/>
                  </a:moveTo>
                  <a:lnTo>
                    <a:pt x="0" y="1"/>
                  </a:lnTo>
                  <a:lnTo>
                    <a:pt x="0" y="7"/>
                  </a:lnTo>
                  <a:lnTo>
                    <a:pt x="2" y="10"/>
                  </a:lnTo>
                  <a:lnTo>
                    <a:pt x="10" y="19"/>
                  </a:lnTo>
                  <a:lnTo>
                    <a:pt x="12" y="20"/>
                  </a:lnTo>
                  <a:lnTo>
                    <a:pt x="15" y="19"/>
                  </a:lnTo>
                  <a:lnTo>
                    <a:pt x="16" y="16"/>
                  </a:lnTo>
                  <a:lnTo>
                    <a:pt x="16" y="14"/>
                  </a:lnTo>
                  <a:lnTo>
                    <a:pt x="11" y="9"/>
                  </a:lnTo>
                  <a:lnTo>
                    <a:pt x="6" y="6"/>
                  </a:lnTo>
                  <a:lnTo>
                    <a:pt x="3" y="2"/>
                  </a:lnTo>
                  <a:lnTo>
                    <a:pt x="2" y="1"/>
                  </a:lnTo>
                  <a:lnTo>
                    <a:pt x="0" y="0"/>
                  </a:lnTo>
                  <a:lnTo>
                    <a:pt x="0"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 name="Freeform 26"/>
            <p:cNvSpPr>
              <a:spLocks/>
            </p:cNvSpPr>
            <p:nvPr/>
          </p:nvSpPr>
          <p:spPr bwMode="auto">
            <a:xfrm>
              <a:off x="8591551" y="2546351"/>
              <a:ext cx="20638" cy="12700"/>
            </a:xfrm>
            <a:custGeom>
              <a:avLst/>
              <a:gdLst>
                <a:gd name="T0" fmla="*/ 2147483647 w 14"/>
                <a:gd name="T1" fmla="*/ 2147483647 h 8"/>
                <a:gd name="T2" fmla="*/ 2147483647 w 14"/>
                <a:gd name="T3" fmla="*/ 2147483647 h 8"/>
                <a:gd name="T4" fmla="*/ 2147483647 w 14"/>
                <a:gd name="T5" fmla="*/ 0 h 8"/>
                <a:gd name="T6" fmla="*/ 0 w 14"/>
                <a:gd name="T7" fmla="*/ 0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8"/>
                <a:gd name="T29" fmla="*/ 14 w 1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8">
                  <a:moveTo>
                    <a:pt x="14" y="6"/>
                  </a:moveTo>
                  <a:lnTo>
                    <a:pt x="7" y="1"/>
                  </a:lnTo>
                  <a:lnTo>
                    <a:pt x="4" y="0"/>
                  </a:lnTo>
                  <a:lnTo>
                    <a:pt x="0" y="0"/>
                  </a:lnTo>
                  <a:lnTo>
                    <a:pt x="6" y="7"/>
                  </a:lnTo>
                  <a:lnTo>
                    <a:pt x="9" y="8"/>
                  </a:lnTo>
                  <a:lnTo>
                    <a:pt x="11" y="8"/>
                  </a:lnTo>
                  <a:lnTo>
                    <a:pt x="14" y="7"/>
                  </a:lnTo>
                  <a:lnTo>
                    <a:pt x="14"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 name="Freeform 27"/>
            <p:cNvSpPr>
              <a:spLocks/>
            </p:cNvSpPr>
            <p:nvPr/>
          </p:nvSpPr>
          <p:spPr bwMode="auto">
            <a:xfrm>
              <a:off x="8686804" y="2614614"/>
              <a:ext cx="17463" cy="12700"/>
            </a:xfrm>
            <a:custGeom>
              <a:avLst/>
              <a:gdLst>
                <a:gd name="T0" fmla="*/ 2147483647 w 12"/>
                <a:gd name="T1" fmla="*/ 2147483647 h 8"/>
                <a:gd name="T2" fmla="*/ 2147483647 w 12"/>
                <a:gd name="T3" fmla="*/ 2147483647 h 8"/>
                <a:gd name="T4" fmla="*/ 2147483647 w 12"/>
                <a:gd name="T5" fmla="*/ 2147483647 h 8"/>
                <a:gd name="T6" fmla="*/ 2147483647 w 12"/>
                <a:gd name="T7" fmla="*/ 0 h 8"/>
                <a:gd name="T8" fmla="*/ 0 w 12"/>
                <a:gd name="T9" fmla="*/ 2147483647 h 8"/>
                <a:gd name="T10" fmla="*/ 0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8"/>
                <a:gd name="T32" fmla="*/ 12 w 12"/>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8">
                  <a:moveTo>
                    <a:pt x="12" y="7"/>
                  </a:moveTo>
                  <a:lnTo>
                    <a:pt x="11" y="3"/>
                  </a:lnTo>
                  <a:lnTo>
                    <a:pt x="7" y="1"/>
                  </a:lnTo>
                  <a:lnTo>
                    <a:pt x="3" y="0"/>
                  </a:lnTo>
                  <a:lnTo>
                    <a:pt x="0" y="2"/>
                  </a:lnTo>
                  <a:lnTo>
                    <a:pt x="0" y="3"/>
                  </a:lnTo>
                  <a:lnTo>
                    <a:pt x="1" y="4"/>
                  </a:lnTo>
                  <a:lnTo>
                    <a:pt x="9" y="8"/>
                  </a:lnTo>
                  <a:lnTo>
                    <a:pt x="11" y="8"/>
                  </a:lnTo>
                  <a:lnTo>
                    <a:pt x="12"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 name="Freeform 28"/>
            <p:cNvSpPr>
              <a:spLocks/>
            </p:cNvSpPr>
            <p:nvPr/>
          </p:nvSpPr>
          <p:spPr bwMode="auto">
            <a:xfrm>
              <a:off x="8589965" y="2544763"/>
              <a:ext cx="20637" cy="12700"/>
            </a:xfrm>
            <a:custGeom>
              <a:avLst/>
              <a:gdLst>
                <a:gd name="T0" fmla="*/ 2147483647 w 14"/>
                <a:gd name="T1" fmla="*/ 2147483647 h 8"/>
                <a:gd name="T2" fmla="*/ 2147483647 w 14"/>
                <a:gd name="T3" fmla="*/ 2147483647 h 8"/>
                <a:gd name="T4" fmla="*/ 2147483647 w 14"/>
                <a:gd name="T5" fmla="*/ 2147483647 h 8"/>
                <a:gd name="T6" fmla="*/ 2147483647 w 14"/>
                <a:gd name="T7" fmla="*/ 0 h 8"/>
                <a:gd name="T8" fmla="*/ 0 w 14"/>
                <a:gd name="T9" fmla="*/ 0 h 8"/>
                <a:gd name="T10" fmla="*/ 0 w 14"/>
                <a:gd name="T11" fmla="*/ 0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2147483647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4" y="6"/>
                  </a:moveTo>
                  <a:lnTo>
                    <a:pt x="14" y="6"/>
                  </a:lnTo>
                  <a:lnTo>
                    <a:pt x="7" y="1"/>
                  </a:lnTo>
                  <a:lnTo>
                    <a:pt x="3" y="0"/>
                  </a:lnTo>
                  <a:lnTo>
                    <a:pt x="0" y="0"/>
                  </a:lnTo>
                  <a:lnTo>
                    <a:pt x="6" y="7"/>
                  </a:lnTo>
                  <a:lnTo>
                    <a:pt x="8" y="8"/>
                  </a:lnTo>
                  <a:lnTo>
                    <a:pt x="11" y="8"/>
                  </a:lnTo>
                  <a:lnTo>
                    <a:pt x="14" y="7"/>
                  </a:lnTo>
                  <a:lnTo>
                    <a:pt x="14"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 name="Freeform 29"/>
            <p:cNvSpPr>
              <a:spLocks/>
            </p:cNvSpPr>
            <p:nvPr/>
          </p:nvSpPr>
          <p:spPr bwMode="auto">
            <a:xfrm>
              <a:off x="8683625" y="2613026"/>
              <a:ext cx="19050" cy="12700"/>
            </a:xfrm>
            <a:custGeom>
              <a:avLst/>
              <a:gdLst>
                <a:gd name="T0" fmla="*/ 2147483647 w 13"/>
                <a:gd name="T1" fmla="*/ 2147483647 h 8"/>
                <a:gd name="T2" fmla="*/ 2147483647 w 13"/>
                <a:gd name="T3" fmla="*/ 2147483647 h 8"/>
                <a:gd name="T4" fmla="*/ 2147483647 w 13"/>
                <a:gd name="T5" fmla="*/ 2147483647 h 8"/>
                <a:gd name="T6" fmla="*/ 2147483647 w 13"/>
                <a:gd name="T7" fmla="*/ 2147483647 h 8"/>
                <a:gd name="T8" fmla="*/ 2147483647 w 13"/>
                <a:gd name="T9" fmla="*/ 0 h 8"/>
                <a:gd name="T10" fmla="*/ 0 w 13"/>
                <a:gd name="T11" fmla="*/ 2147483647 h 8"/>
                <a:gd name="T12" fmla="*/ 0 w 13"/>
                <a:gd name="T13" fmla="*/ 2147483647 h 8"/>
                <a:gd name="T14" fmla="*/ 0 w 13"/>
                <a:gd name="T15" fmla="*/ 2147483647 h 8"/>
                <a:gd name="T16" fmla="*/ 2147483647 w 13"/>
                <a:gd name="T17" fmla="*/ 2147483647 h 8"/>
                <a:gd name="T18" fmla="*/ 2147483647 w 13"/>
                <a:gd name="T19" fmla="*/ 2147483647 h 8"/>
                <a:gd name="T20" fmla="*/ 2147483647 w 13"/>
                <a:gd name="T21" fmla="*/ 2147483647 h 8"/>
                <a:gd name="T22" fmla="*/ 2147483647 w 13"/>
                <a:gd name="T23" fmla="*/ 2147483647 h 8"/>
                <a:gd name="T24" fmla="*/ 2147483647 w 13"/>
                <a:gd name="T25" fmla="*/ 2147483647 h 8"/>
                <a:gd name="T26" fmla="*/ 2147483647 w 13"/>
                <a:gd name="T27" fmla="*/ 2147483647 h 8"/>
                <a:gd name="T28" fmla="*/ 2147483647 w 13"/>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8"/>
                <a:gd name="T47" fmla="*/ 13 w 1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8">
                  <a:moveTo>
                    <a:pt x="13" y="7"/>
                  </a:moveTo>
                  <a:lnTo>
                    <a:pt x="13" y="7"/>
                  </a:lnTo>
                  <a:lnTo>
                    <a:pt x="12" y="3"/>
                  </a:lnTo>
                  <a:lnTo>
                    <a:pt x="8" y="1"/>
                  </a:lnTo>
                  <a:lnTo>
                    <a:pt x="4" y="0"/>
                  </a:lnTo>
                  <a:lnTo>
                    <a:pt x="0" y="2"/>
                  </a:lnTo>
                  <a:lnTo>
                    <a:pt x="0" y="3"/>
                  </a:lnTo>
                  <a:lnTo>
                    <a:pt x="2" y="4"/>
                  </a:lnTo>
                  <a:lnTo>
                    <a:pt x="9" y="8"/>
                  </a:lnTo>
                  <a:lnTo>
                    <a:pt x="12" y="8"/>
                  </a:lnTo>
                  <a:lnTo>
                    <a:pt x="13"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 name="Freeform 30"/>
            <p:cNvSpPr>
              <a:spLocks/>
            </p:cNvSpPr>
            <p:nvPr/>
          </p:nvSpPr>
          <p:spPr bwMode="auto">
            <a:xfrm>
              <a:off x="8715375" y="2644778"/>
              <a:ext cx="14288" cy="6350"/>
            </a:xfrm>
            <a:custGeom>
              <a:avLst/>
              <a:gdLst>
                <a:gd name="T0" fmla="*/ 2147483647 w 9"/>
                <a:gd name="T1" fmla="*/ 2147483647 h 4"/>
                <a:gd name="T2" fmla="*/ 2147483647 w 9"/>
                <a:gd name="T3" fmla="*/ 0 h 4"/>
                <a:gd name="T4" fmla="*/ 2147483647 w 9"/>
                <a:gd name="T5" fmla="*/ 0 h 4"/>
                <a:gd name="T6" fmla="*/ 0 w 9"/>
                <a:gd name="T7" fmla="*/ 2147483647 h 4"/>
                <a:gd name="T8" fmla="*/ 0 w 9"/>
                <a:gd name="T9" fmla="*/ 2147483647 h 4"/>
                <a:gd name="T10" fmla="*/ 2147483647 w 9"/>
                <a:gd name="T11" fmla="*/ 2147483647 h 4"/>
                <a:gd name="T12" fmla="*/ 2147483647 w 9"/>
                <a:gd name="T13" fmla="*/ 2147483647 h 4"/>
                <a:gd name="T14" fmla="*/ 2147483647 w 9"/>
                <a:gd name="T15" fmla="*/ 2147483647 h 4"/>
                <a:gd name="T16" fmla="*/ 2147483647 w 9"/>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4"/>
                <a:gd name="T29" fmla="*/ 9 w 9"/>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4">
                  <a:moveTo>
                    <a:pt x="9" y="3"/>
                  </a:moveTo>
                  <a:lnTo>
                    <a:pt x="5" y="0"/>
                  </a:lnTo>
                  <a:lnTo>
                    <a:pt x="2" y="0"/>
                  </a:lnTo>
                  <a:lnTo>
                    <a:pt x="0" y="1"/>
                  </a:lnTo>
                  <a:lnTo>
                    <a:pt x="0" y="2"/>
                  </a:lnTo>
                  <a:lnTo>
                    <a:pt x="2" y="3"/>
                  </a:lnTo>
                  <a:lnTo>
                    <a:pt x="8" y="4"/>
                  </a:lnTo>
                  <a:lnTo>
                    <a:pt x="9" y="4"/>
                  </a:lnTo>
                  <a:lnTo>
                    <a:pt x="9"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 name="Freeform 31"/>
            <p:cNvSpPr>
              <a:spLocks/>
            </p:cNvSpPr>
            <p:nvPr/>
          </p:nvSpPr>
          <p:spPr bwMode="auto">
            <a:xfrm>
              <a:off x="8807452" y="2649539"/>
              <a:ext cx="12700" cy="15875"/>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0 w 9"/>
                <a:gd name="T9" fmla="*/ 2147483647 h 10"/>
                <a:gd name="T10" fmla="*/ 0 w 9"/>
                <a:gd name="T11" fmla="*/ 2147483647 h 10"/>
                <a:gd name="T12" fmla="*/ 2147483647 w 9"/>
                <a:gd name="T13" fmla="*/ 2147483647 h 10"/>
                <a:gd name="T14" fmla="*/ 2147483647 w 9"/>
                <a:gd name="T15" fmla="*/ 2147483647 h 10"/>
                <a:gd name="T16" fmla="*/ 2147483647 w 9"/>
                <a:gd name="T17" fmla="*/ 0 h 10"/>
                <a:gd name="T18" fmla="*/ 2147483647 w 9"/>
                <a:gd name="T19" fmla="*/ 2147483647 h 10"/>
                <a:gd name="T20" fmla="*/ 2147483647 w 9"/>
                <a:gd name="T21" fmla="*/ 2147483647 h 10"/>
                <a:gd name="T22" fmla="*/ 2147483647 w 9"/>
                <a:gd name="T23" fmla="*/ 2147483647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0"/>
                <a:gd name="T38" fmla="*/ 9 w 9"/>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0">
                  <a:moveTo>
                    <a:pt x="9" y="4"/>
                  </a:moveTo>
                  <a:lnTo>
                    <a:pt x="5" y="9"/>
                  </a:lnTo>
                  <a:lnTo>
                    <a:pt x="3" y="10"/>
                  </a:lnTo>
                  <a:lnTo>
                    <a:pt x="1" y="10"/>
                  </a:lnTo>
                  <a:lnTo>
                    <a:pt x="0" y="9"/>
                  </a:lnTo>
                  <a:lnTo>
                    <a:pt x="0" y="6"/>
                  </a:lnTo>
                  <a:lnTo>
                    <a:pt x="1" y="4"/>
                  </a:lnTo>
                  <a:lnTo>
                    <a:pt x="7" y="1"/>
                  </a:lnTo>
                  <a:lnTo>
                    <a:pt x="8" y="0"/>
                  </a:lnTo>
                  <a:lnTo>
                    <a:pt x="9" y="1"/>
                  </a:lnTo>
                  <a:lnTo>
                    <a:pt x="9" y="3"/>
                  </a:lnTo>
                  <a:lnTo>
                    <a:pt x="9"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 name="Freeform 32"/>
            <p:cNvSpPr>
              <a:spLocks/>
            </p:cNvSpPr>
            <p:nvPr/>
          </p:nvSpPr>
          <p:spPr bwMode="auto">
            <a:xfrm>
              <a:off x="8715376" y="2643191"/>
              <a:ext cx="12700" cy="6350"/>
            </a:xfrm>
            <a:custGeom>
              <a:avLst/>
              <a:gdLst>
                <a:gd name="T0" fmla="*/ 2147483647 w 9"/>
                <a:gd name="T1" fmla="*/ 2147483647 h 4"/>
                <a:gd name="T2" fmla="*/ 2147483647 w 9"/>
                <a:gd name="T3" fmla="*/ 2147483647 h 4"/>
                <a:gd name="T4" fmla="*/ 2147483647 w 9"/>
                <a:gd name="T5" fmla="*/ 0 h 4"/>
                <a:gd name="T6" fmla="*/ 2147483647 w 9"/>
                <a:gd name="T7" fmla="*/ 0 h 4"/>
                <a:gd name="T8" fmla="*/ 0 w 9"/>
                <a:gd name="T9" fmla="*/ 2147483647 h 4"/>
                <a:gd name="T10" fmla="*/ 0 w 9"/>
                <a:gd name="T11" fmla="*/ 2147483647 h 4"/>
                <a:gd name="T12" fmla="*/ 0 w 9"/>
                <a:gd name="T13" fmla="*/ 2147483647 h 4"/>
                <a:gd name="T14" fmla="*/ 2147483647 w 9"/>
                <a:gd name="T15" fmla="*/ 2147483647 h 4"/>
                <a:gd name="T16" fmla="*/ 2147483647 w 9"/>
                <a:gd name="T17" fmla="*/ 2147483647 h 4"/>
                <a:gd name="T18" fmla="*/ 2147483647 w 9"/>
                <a:gd name="T19" fmla="*/ 2147483647 h 4"/>
                <a:gd name="T20" fmla="*/ 2147483647 w 9"/>
                <a:gd name="T21" fmla="*/ 2147483647 h 4"/>
                <a:gd name="T22" fmla="*/ 2147483647 w 9"/>
                <a:gd name="T23" fmla="*/ 2147483647 h 4"/>
                <a:gd name="T24" fmla="*/ 2147483647 w 9"/>
                <a:gd name="T25" fmla="*/ 2147483647 h 4"/>
                <a:gd name="T26" fmla="*/ 2147483647 w 9"/>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4"/>
                <a:gd name="T44" fmla="*/ 9 w 9"/>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4">
                  <a:moveTo>
                    <a:pt x="9" y="3"/>
                  </a:moveTo>
                  <a:lnTo>
                    <a:pt x="9" y="3"/>
                  </a:lnTo>
                  <a:lnTo>
                    <a:pt x="5" y="0"/>
                  </a:lnTo>
                  <a:lnTo>
                    <a:pt x="2" y="0"/>
                  </a:lnTo>
                  <a:lnTo>
                    <a:pt x="0" y="1"/>
                  </a:lnTo>
                  <a:lnTo>
                    <a:pt x="0" y="2"/>
                  </a:lnTo>
                  <a:lnTo>
                    <a:pt x="2" y="3"/>
                  </a:lnTo>
                  <a:lnTo>
                    <a:pt x="7" y="4"/>
                  </a:lnTo>
                  <a:lnTo>
                    <a:pt x="9" y="4"/>
                  </a:lnTo>
                  <a:lnTo>
                    <a:pt x="9"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 name="Freeform 33"/>
            <p:cNvSpPr>
              <a:spLocks/>
            </p:cNvSpPr>
            <p:nvPr/>
          </p:nvSpPr>
          <p:spPr bwMode="auto">
            <a:xfrm>
              <a:off x="8805864" y="2647954"/>
              <a:ext cx="12700" cy="15875"/>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0 w 9"/>
                <a:gd name="T11" fmla="*/ 2147483647 h 10"/>
                <a:gd name="T12" fmla="*/ 0 w 9"/>
                <a:gd name="T13" fmla="*/ 2147483647 h 10"/>
                <a:gd name="T14" fmla="*/ 0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0 h 10"/>
                <a:gd name="T24" fmla="*/ 2147483647 w 9"/>
                <a:gd name="T25" fmla="*/ 2147483647 h 10"/>
                <a:gd name="T26" fmla="*/ 2147483647 w 9"/>
                <a:gd name="T27" fmla="*/ 2147483647 h 10"/>
                <a:gd name="T28" fmla="*/ 2147483647 w 9"/>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0"/>
                <a:gd name="T47" fmla="*/ 9 w 9"/>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0">
                  <a:moveTo>
                    <a:pt x="9" y="4"/>
                  </a:moveTo>
                  <a:lnTo>
                    <a:pt x="9" y="4"/>
                  </a:lnTo>
                  <a:lnTo>
                    <a:pt x="5" y="8"/>
                  </a:lnTo>
                  <a:lnTo>
                    <a:pt x="2" y="10"/>
                  </a:lnTo>
                  <a:lnTo>
                    <a:pt x="1" y="10"/>
                  </a:lnTo>
                  <a:lnTo>
                    <a:pt x="0" y="8"/>
                  </a:lnTo>
                  <a:lnTo>
                    <a:pt x="0" y="6"/>
                  </a:lnTo>
                  <a:lnTo>
                    <a:pt x="1" y="4"/>
                  </a:lnTo>
                  <a:lnTo>
                    <a:pt x="6" y="1"/>
                  </a:lnTo>
                  <a:lnTo>
                    <a:pt x="8" y="0"/>
                  </a:lnTo>
                  <a:lnTo>
                    <a:pt x="9" y="1"/>
                  </a:lnTo>
                  <a:lnTo>
                    <a:pt x="9" y="2"/>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 name="Freeform 34"/>
            <p:cNvSpPr>
              <a:spLocks/>
            </p:cNvSpPr>
            <p:nvPr/>
          </p:nvSpPr>
          <p:spPr bwMode="auto">
            <a:xfrm>
              <a:off x="8867775" y="2651125"/>
              <a:ext cx="7938" cy="7938"/>
            </a:xfrm>
            <a:custGeom>
              <a:avLst/>
              <a:gdLst>
                <a:gd name="T0" fmla="*/ 2147483647 w 6"/>
                <a:gd name="T1" fmla="*/ 2147483647 h 5"/>
                <a:gd name="T2" fmla="*/ 2147483647 w 6"/>
                <a:gd name="T3" fmla="*/ 2147483647 h 5"/>
                <a:gd name="T4" fmla="*/ 2147483647 w 6"/>
                <a:gd name="T5" fmla="*/ 0 h 5"/>
                <a:gd name="T6" fmla="*/ 2147483647 w 6"/>
                <a:gd name="T7" fmla="*/ 0 h 5"/>
                <a:gd name="T8" fmla="*/ 0 w 6"/>
                <a:gd name="T9" fmla="*/ 2147483647 h 5"/>
                <a:gd name="T10" fmla="*/ 2147483647 w 6"/>
                <a:gd name="T11" fmla="*/ 2147483647 h 5"/>
                <a:gd name="T12" fmla="*/ 2147483647 w 6"/>
                <a:gd name="T13" fmla="*/ 2147483647 h 5"/>
                <a:gd name="T14" fmla="*/ 2147483647 w 6"/>
                <a:gd name="T15" fmla="*/ 2147483647 h 5"/>
                <a:gd name="T16" fmla="*/ 2147483647 w 6"/>
                <a:gd name="T17" fmla="*/ 2147483647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3"/>
                  </a:moveTo>
                  <a:lnTo>
                    <a:pt x="5" y="2"/>
                  </a:lnTo>
                  <a:lnTo>
                    <a:pt x="4" y="0"/>
                  </a:lnTo>
                  <a:lnTo>
                    <a:pt x="1" y="0"/>
                  </a:lnTo>
                  <a:lnTo>
                    <a:pt x="0" y="2"/>
                  </a:lnTo>
                  <a:lnTo>
                    <a:pt x="1" y="4"/>
                  </a:lnTo>
                  <a:lnTo>
                    <a:pt x="2" y="5"/>
                  </a:lnTo>
                  <a:lnTo>
                    <a:pt x="4" y="5"/>
                  </a:lnTo>
                  <a:lnTo>
                    <a:pt x="5" y="5"/>
                  </a:lnTo>
                  <a:lnTo>
                    <a:pt x="6"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 name="Freeform 35"/>
            <p:cNvSpPr>
              <a:spLocks/>
            </p:cNvSpPr>
            <p:nvPr/>
          </p:nvSpPr>
          <p:spPr bwMode="auto">
            <a:xfrm>
              <a:off x="8845554" y="2674939"/>
              <a:ext cx="22225" cy="12700"/>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2147483647 w 16"/>
                <a:gd name="T9" fmla="*/ 0 h 8"/>
                <a:gd name="T10" fmla="*/ 0 w 16"/>
                <a:gd name="T11" fmla="*/ 0 h 8"/>
                <a:gd name="T12" fmla="*/ 0 w 16"/>
                <a:gd name="T13" fmla="*/ 2147483647 h 8"/>
                <a:gd name="T14" fmla="*/ 2147483647 w 16"/>
                <a:gd name="T15" fmla="*/ 2147483647 h 8"/>
                <a:gd name="T16" fmla="*/ 2147483647 w 16"/>
                <a:gd name="T17" fmla="*/ 2147483647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6" y="7"/>
                  </a:moveTo>
                  <a:lnTo>
                    <a:pt x="16" y="6"/>
                  </a:lnTo>
                  <a:lnTo>
                    <a:pt x="10" y="3"/>
                  </a:lnTo>
                  <a:lnTo>
                    <a:pt x="3" y="1"/>
                  </a:lnTo>
                  <a:lnTo>
                    <a:pt x="2" y="0"/>
                  </a:lnTo>
                  <a:lnTo>
                    <a:pt x="0" y="0"/>
                  </a:lnTo>
                  <a:lnTo>
                    <a:pt x="0" y="1"/>
                  </a:lnTo>
                  <a:lnTo>
                    <a:pt x="1" y="2"/>
                  </a:lnTo>
                  <a:lnTo>
                    <a:pt x="3" y="6"/>
                  </a:lnTo>
                  <a:lnTo>
                    <a:pt x="7" y="7"/>
                  </a:lnTo>
                  <a:lnTo>
                    <a:pt x="12" y="8"/>
                  </a:lnTo>
                  <a:lnTo>
                    <a:pt x="1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 name="Freeform 36"/>
            <p:cNvSpPr>
              <a:spLocks/>
            </p:cNvSpPr>
            <p:nvPr/>
          </p:nvSpPr>
          <p:spPr bwMode="auto">
            <a:xfrm>
              <a:off x="8866192" y="2649542"/>
              <a:ext cx="7937" cy="7937"/>
            </a:xfrm>
            <a:custGeom>
              <a:avLst/>
              <a:gdLst>
                <a:gd name="T0" fmla="*/ 2147483647 w 6"/>
                <a:gd name="T1" fmla="*/ 2147483647 h 5"/>
                <a:gd name="T2" fmla="*/ 2147483647 w 6"/>
                <a:gd name="T3" fmla="*/ 2147483647 h 5"/>
                <a:gd name="T4" fmla="*/ 2147483647 w 6"/>
                <a:gd name="T5" fmla="*/ 2147483647 h 5"/>
                <a:gd name="T6" fmla="*/ 2147483647 w 6"/>
                <a:gd name="T7" fmla="*/ 0 h 5"/>
                <a:gd name="T8" fmla="*/ 2147483647 w 6"/>
                <a:gd name="T9" fmla="*/ 0 h 5"/>
                <a:gd name="T10" fmla="*/ 2147483647 w 6"/>
                <a:gd name="T11" fmla="*/ 0 h 5"/>
                <a:gd name="T12" fmla="*/ 0 w 6"/>
                <a:gd name="T13" fmla="*/ 2147483647 h 5"/>
                <a:gd name="T14" fmla="*/ 0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6" y="3"/>
                  </a:moveTo>
                  <a:lnTo>
                    <a:pt x="6" y="3"/>
                  </a:lnTo>
                  <a:lnTo>
                    <a:pt x="5" y="1"/>
                  </a:lnTo>
                  <a:lnTo>
                    <a:pt x="3" y="0"/>
                  </a:lnTo>
                  <a:lnTo>
                    <a:pt x="1" y="0"/>
                  </a:lnTo>
                  <a:lnTo>
                    <a:pt x="0" y="1"/>
                  </a:lnTo>
                  <a:lnTo>
                    <a:pt x="1" y="4"/>
                  </a:lnTo>
                  <a:lnTo>
                    <a:pt x="2" y="5"/>
                  </a:lnTo>
                  <a:lnTo>
                    <a:pt x="3" y="5"/>
                  </a:lnTo>
                  <a:lnTo>
                    <a:pt x="5" y="5"/>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 name="Freeform 37"/>
            <p:cNvSpPr>
              <a:spLocks/>
            </p:cNvSpPr>
            <p:nvPr/>
          </p:nvSpPr>
          <p:spPr bwMode="auto">
            <a:xfrm>
              <a:off x="8842376" y="2671767"/>
              <a:ext cx="25400" cy="14288"/>
            </a:xfrm>
            <a:custGeom>
              <a:avLst/>
              <a:gdLst>
                <a:gd name="T0" fmla="*/ 2147483647 w 17"/>
                <a:gd name="T1" fmla="*/ 2147483647 h 9"/>
                <a:gd name="T2" fmla="*/ 2147483647 w 17"/>
                <a:gd name="T3" fmla="*/ 2147483647 h 9"/>
                <a:gd name="T4" fmla="*/ 2147483647 w 17"/>
                <a:gd name="T5" fmla="*/ 2147483647 h 9"/>
                <a:gd name="T6" fmla="*/ 2147483647 w 17"/>
                <a:gd name="T7" fmla="*/ 2147483647 h 9"/>
                <a:gd name="T8" fmla="*/ 2147483647 w 17"/>
                <a:gd name="T9" fmla="*/ 2147483647 h 9"/>
                <a:gd name="T10" fmla="*/ 2147483647 w 17"/>
                <a:gd name="T11" fmla="*/ 2147483647 h 9"/>
                <a:gd name="T12" fmla="*/ 2147483647 w 17"/>
                <a:gd name="T13" fmla="*/ 2147483647 h 9"/>
                <a:gd name="T14" fmla="*/ 2147483647 w 17"/>
                <a:gd name="T15" fmla="*/ 0 h 9"/>
                <a:gd name="T16" fmla="*/ 0 w 17"/>
                <a:gd name="T17" fmla="*/ 0 h 9"/>
                <a:gd name="T18" fmla="*/ 0 w 17"/>
                <a:gd name="T19" fmla="*/ 0 h 9"/>
                <a:gd name="T20" fmla="*/ 0 w 17"/>
                <a:gd name="T21" fmla="*/ 2147483647 h 9"/>
                <a:gd name="T22" fmla="*/ 0 w 17"/>
                <a:gd name="T23" fmla="*/ 2147483647 h 9"/>
                <a:gd name="T24" fmla="*/ 2147483647 w 17"/>
                <a:gd name="T25" fmla="*/ 2147483647 h 9"/>
                <a:gd name="T26" fmla="*/ 2147483647 w 17"/>
                <a:gd name="T27" fmla="*/ 2147483647 h 9"/>
                <a:gd name="T28" fmla="*/ 2147483647 w 17"/>
                <a:gd name="T29" fmla="*/ 2147483647 h 9"/>
                <a:gd name="T30" fmla="*/ 2147483647 w 17"/>
                <a:gd name="T31" fmla="*/ 2147483647 h 9"/>
                <a:gd name="T32" fmla="*/ 2147483647 w 17"/>
                <a:gd name="T33" fmla="*/ 2147483647 h 9"/>
                <a:gd name="T34" fmla="*/ 2147483647 w 17"/>
                <a:gd name="T35" fmla="*/ 2147483647 h 9"/>
                <a:gd name="T36" fmla="*/ 2147483647 w 17"/>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9"/>
                <a:gd name="T59" fmla="*/ 17 w 17"/>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9">
                  <a:moveTo>
                    <a:pt x="17" y="8"/>
                  </a:moveTo>
                  <a:lnTo>
                    <a:pt x="17" y="8"/>
                  </a:lnTo>
                  <a:lnTo>
                    <a:pt x="17" y="6"/>
                  </a:lnTo>
                  <a:lnTo>
                    <a:pt x="10" y="4"/>
                  </a:lnTo>
                  <a:lnTo>
                    <a:pt x="4" y="2"/>
                  </a:lnTo>
                  <a:lnTo>
                    <a:pt x="3" y="0"/>
                  </a:lnTo>
                  <a:lnTo>
                    <a:pt x="0" y="0"/>
                  </a:lnTo>
                  <a:lnTo>
                    <a:pt x="0" y="2"/>
                  </a:lnTo>
                  <a:lnTo>
                    <a:pt x="2" y="3"/>
                  </a:lnTo>
                  <a:lnTo>
                    <a:pt x="4" y="6"/>
                  </a:lnTo>
                  <a:lnTo>
                    <a:pt x="8" y="8"/>
                  </a:lnTo>
                  <a:lnTo>
                    <a:pt x="13" y="9"/>
                  </a:lnTo>
                  <a:lnTo>
                    <a:pt x="17"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 name="Freeform 38"/>
            <p:cNvSpPr>
              <a:spLocks/>
            </p:cNvSpPr>
            <p:nvPr/>
          </p:nvSpPr>
          <p:spPr bwMode="auto">
            <a:xfrm>
              <a:off x="8901117" y="2659062"/>
              <a:ext cx="7937" cy="12700"/>
            </a:xfrm>
            <a:custGeom>
              <a:avLst/>
              <a:gdLst>
                <a:gd name="T0" fmla="*/ 2147483647 w 6"/>
                <a:gd name="T1" fmla="*/ 2147483647 h 8"/>
                <a:gd name="T2" fmla="*/ 2147483647 w 6"/>
                <a:gd name="T3" fmla="*/ 0 h 8"/>
                <a:gd name="T4" fmla="*/ 2147483647 w 6"/>
                <a:gd name="T5" fmla="*/ 2147483647 h 8"/>
                <a:gd name="T6" fmla="*/ 2147483647 w 6"/>
                <a:gd name="T7" fmla="*/ 2147483647 h 8"/>
                <a:gd name="T8" fmla="*/ 0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6" y="1"/>
                  </a:moveTo>
                  <a:lnTo>
                    <a:pt x="5" y="0"/>
                  </a:lnTo>
                  <a:lnTo>
                    <a:pt x="3" y="1"/>
                  </a:lnTo>
                  <a:lnTo>
                    <a:pt x="1" y="4"/>
                  </a:lnTo>
                  <a:lnTo>
                    <a:pt x="0" y="7"/>
                  </a:lnTo>
                  <a:lnTo>
                    <a:pt x="1" y="8"/>
                  </a:lnTo>
                  <a:lnTo>
                    <a:pt x="2" y="8"/>
                  </a:lnTo>
                  <a:lnTo>
                    <a:pt x="3" y="7"/>
                  </a:lnTo>
                  <a:lnTo>
                    <a:pt x="5" y="5"/>
                  </a:lnTo>
                  <a:lnTo>
                    <a:pt x="6"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 name="Freeform 39"/>
            <p:cNvSpPr>
              <a:spLocks/>
            </p:cNvSpPr>
            <p:nvPr/>
          </p:nvSpPr>
          <p:spPr bwMode="auto">
            <a:xfrm>
              <a:off x="8923338" y="2660654"/>
              <a:ext cx="12700" cy="17463"/>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0 h 11"/>
                <a:gd name="T10" fmla="*/ 2147483647 w 9"/>
                <a:gd name="T11" fmla="*/ 0 h 11"/>
                <a:gd name="T12" fmla="*/ 2147483647 w 9"/>
                <a:gd name="T13" fmla="*/ 2147483647 h 11"/>
                <a:gd name="T14" fmla="*/ 0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1"/>
                <a:gd name="T44" fmla="*/ 9 w 9"/>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1">
                  <a:moveTo>
                    <a:pt x="8" y="10"/>
                  </a:moveTo>
                  <a:lnTo>
                    <a:pt x="9" y="7"/>
                  </a:lnTo>
                  <a:lnTo>
                    <a:pt x="8" y="6"/>
                  </a:lnTo>
                  <a:lnTo>
                    <a:pt x="6" y="3"/>
                  </a:lnTo>
                  <a:lnTo>
                    <a:pt x="5" y="0"/>
                  </a:lnTo>
                  <a:lnTo>
                    <a:pt x="2" y="0"/>
                  </a:lnTo>
                  <a:lnTo>
                    <a:pt x="1" y="3"/>
                  </a:lnTo>
                  <a:lnTo>
                    <a:pt x="0" y="4"/>
                  </a:lnTo>
                  <a:lnTo>
                    <a:pt x="0" y="5"/>
                  </a:lnTo>
                  <a:lnTo>
                    <a:pt x="2" y="9"/>
                  </a:lnTo>
                  <a:lnTo>
                    <a:pt x="4" y="11"/>
                  </a:lnTo>
                  <a:lnTo>
                    <a:pt x="5" y="11"/>
                  </a:lnTo>
                  <a:lnTo>
                    <a:pt x="6" y="11"/>
                  </a:lnTo>
                  <a:lnTo>
                    <a:pt x="8"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 name="Freeform 40"/>
            <p:cNvSpPr>
              <a:spLocks/>
            </p:cNvSpPr>
            <p:nvPr/>
          </p:nvSpPr>
          <p:spPr bwMode="auto">
            <a:xfrm>
              <a:off x="8897940" y="2657476"/>
              <a:ext cx="9525" cy="12700"/>
            </a:xfrm>
            <a:custGeom>
              <a:avLst/>
              <a:gdLst>
                <a:gd name="T0" fmla="*/ 2147483647 w 7"/>
                <a:gd name="T1" fmla="*/ 2147483647 h 8"/>
                <a:gd name="T2" fmla="*/ 2147483647 w 7"/>
                <a:gd name="T3" fmla="*/ 2147483647 h 8"/>
                <a:gd name="T4" fmla="*/ 2147483647 w 7"/>
                <a:gd name="T5" fmla="*/ 0 h 8"/>
                <a:gd name="T6" fmla="*/ 2147483647 w 7"/>
                <a:gd name="T7" fmla="*/ 0 h 8"/>
                <a:gd name="T8" fmla="*/ 2147483647 w 7"/>
                <a:gd name="T9" fmla="*/ 2147483647 h 8"/>
                <a:gd name="T10" fmla="*/ 2147483647 w 7"/>
                <a:gd name="T11" fmla="*/ 2147483647 h 8"/>
                <a:gd name="T12" fmla="*/ 2147483647 w 7"/>
                <a:gd name="T13" fmla="*/ 2147483647 h 8"/>
                <a:gd name="T14" fmla="*/ 0 w 7"/>
                <a:gd name="T15" fmla="*/ 2147483647 h 8"/>
                <a:gd name="T16" fmla="*/ 0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2147483647 w 7"/>
                <a:gd name="T33" fmla="*/ 2147483647 h 8"/>
                <a:gd name="T34" fmla="*/ 2147483647 w 7"/>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8"/>
                <a:gd name="T56" fmla="*/ 7 w 7"/>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8">
                  <a:moveTo>
                    <a:pt x="7" y="1"/>
                  </a:moveTo>
                  <a:lnTo>
                    <a:pt x="7" y="1"/>
                  </a:lnTo>
                  <a:lnTo>
                    <a:pt x="5" y="0"/>
                  </a:lnTo>
                  <a:lnTo>
                    <a:pt x="4" y="1"/>
                  </a:lnTo>
                  <a:lnTo>
                    <a:pt x="2" y="4"/>
                  </a:lnTo>
                  <a:lnTo>
                    <a:pt x="0" y="7"/>
                  </a:lnTo>
                  <a:lnTo>
                    <a:pt x="2" y="8"/>
                  </a:lnTo>
                  <a:lnTo>
                    <a:pt x="3" y="8"/>
                  </a:lnTo>
                  <a:lnTo>
                    <a:pt x="4" y="7"/>
                  </a:lnTo>
                  <a:lnTo>
                    <a:pt x="5" y="5"/>
                  </a:lnTo>
                  <a:lnTo>
                    <a:pt x="7"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 name="Freeform 41"/>
            <p:cNvSpPr>
              <a:spLocks/>
            </p:cNvSpPr>
            <p:nvPr/>
          </p:nvSpPr>
          <p:spPr bwMode="auto">
            <a:xfrm>
              <a:off x="8921749" y="2659063"/>
              <a:ext cx="12700" cy="17462"/>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2147483647 h 11"/>
                <a:gd name="T12" fmla="*/ 2147483647 w 9"/>
                <a:gd name="T13" fmla="*/ 0 h 11"/>
                <a:gd name="T14" fmla="*/ 2147483647 w 9"/>
                <a:gd name="T15" fmla="*/ 0 h 11"/>
                <a:gd name="T16" fmla="*/ 2147483647 w 9"/>
                <a:gd name="T17" fmla="*/ 0 h 11"/>
                <a:gd name="T18" fmla="*/ 2147483647 w 9"/>
                <a:gd name="T19" fmla="*/ 2147483647 h 11"/>
                <a:gd name="T20" fmla="*/ 0 w 9"/>
                <a:gd name="T21" fmla="*/ 2147483647 h 11"/>
                <a:gd name="T22" fmla="*/ 0 w 9"/>
                <a:gd name="T23" fmla="*/ 2147483647 h 11"/>
                <a:gd name="T24" fmla="*/ 0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1"/>
                <a:gd name="T62" fmla="*/ 9 w 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1">
                  <a:moveTo>
                    <a:pt x="7" y="10"/>
                  </a:moveTo>
                  <a:lnTo>
                    <a:pt x="7" y="10"/>
                  </a:lnTo>
                  <a:lnTo>
                    <a:pt x="9" y="7"/>
                  </a:lnTo>
                  <a:lnTo>
                    <a:pt x="7" y="6"/>
                  </a:lnTo>
                  <a:lnTo>
                    <a:pt x="6" y="3"/>
                  </a:lnTo>
                  <a:lnTo>
                    <a:pt x="5" y="0"/>
                  </a:lnTo>
                  <a:lnTo>
                    <a:pt x="2" y="0"/>
                  </a:lnTo>
                  <a:lnTo>
                    <a:pt x="1" y="3"/>
                  </a:lnTo>
                  <a:lnTo>
                    <a:pt x="0" y="4"/>
                  </a:lnTo>
                  <a:lnTo>
                    <a:pt x="0" y="5"/>
                  </a:lnTo>
                  <a:lnTo>
                    <a:pt x="2" y="8"/>
                  </a:lnTo>
                  <a:lnTo>
                    <a:pt x="3" y="11"/>
                  </a:lnTo>
                  <a:lnTo>
                    <a:pt x="5" y="11"/>
                  </a:lnTo>
                  <a:lnTo>
                    <a:pt x="6" y="11"/>
                  </a:lnTo>
                  <a:lnTo>
                    <a:pt x="7"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 name="Freeform 42"/>
            <p:cNvSpPr>
              <a:spLocks/>
            </p:cNvSpPr>
            <p:nvPr/>
          </p:nvSpPr>
          <p:spPr bwMode="auto">
            <a:xfrm>
              <a:off x="8943975" y="2657479"/>
              <a:ext cx="19050" cy="9525"/>
            </a:xfrm>
            <a:custGeom>
              <a:avLst/>
              <a:gdLst>
                <a:gd name="T0" fmla="*/ 2147483647 w 13"/>
                <a:gd name="T1" fmla="*/ 2147483647 h 6"/>
                <a:gd name="T2" fmla="*/ 2147483647 w 13"/>
                <a:gd name="T3" fmla="*/ 0 h 6"/>
                <a:gd name="T4" fmla="*/ 2147483647 w 13"/>
                <a:gd name="T5" fmla="*/ 0 h 6"/>
                <a:gd name="T6" fmla="*/ 2147483647 w 13"/>
                <a:gd name="T7" fmla="*/ 0 h 6"/>
                <a:gd name="T8" fmla="*/ 2147483647 w 13"/>
                <a:gd name="T9" fmla="*/ 0 h 6"/>
                <a:gd name="T10" fmla="*/ 0 w 13"/>
                <a:gd name="T11" fmla="*/ 2147483647 h 6"/>
                <a:gd name="T12" fmla="*/ 0 w 13"/>
                <a:gd name="T13" fmla="*/ 2147483647 h 6"/>
                <a:gd name="T14" fmla="*/ 2147483647 w 13"/>
                <a:gd name="T15" fmla="*/ 2147483647 h 6"/>
                <a:gd name="T16" fmla="*/ 2147483647 w 13"/>
                <a:gd name="T17" fmla="*/ 2147483647 h 6"/>
                <a:gd name="T18" fmla="*/ 2147483647 w 13"/>
                <a:gd name="T19" fmla="*/ 2147483647 h 6"/>
                <a:gd name="T20" fmla="*/ 2147483647 w 13"/>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6"/>
                <a:gd name="T35" fmla="*/ 13 w 13"/>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6">
                  <a:moveTo>
                    <a:pt x="13" y="1"/>
                  </a:moveTo>
                  <a:lnTo>
                    <a:pt x="13" y="0"/>
                  </a:lnTo>
                  <a:lnTo>
                    <a:pt x="12" y="0"/>
                  </a:lnTo>
                  <a:lnTo>
                    <a:pt x="8" y="0"/>
                  </a:lnTo>
                  <a:lnTo>
                    <a:pt x="4" y="0"/>
                  </a:lnTo>
                  <a:lnTo>
                    <a:pt x="0" y="2"/>
                  </a:lnTo>
                  <a:lnTo>
                    <a:pt x="0" y="5"/>
                  </a:lnTo>
                  <a:lnTo>
                    <a:pt x="1" y="6"/>
                  </a:lnTo>
                  <a:lnTo>
                    <a:pt x="8" y="5"/>
                  </a:lnTo>
                  <a:lnTo>
                    <a:pt x="10" y="4"/>
                  </a:lnTo>
                  <a:lnTo>
                    <a:pt x="13"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 name="Freeform 43"/>
            <p:cNvSpPr>
              <a:spLocks/>
            </p:cNvSpPr>
            <p:nvPr/>
          </p:nvSpPr>
          <p:spPr bwMode="auto">
            <a:xfrm>
              <a:off x="8994775" y="2630488"/>
              <a:ext cx="33338" cy="30162"/>
            </a:xfrm>
            <a:custGeom>
              <a:avLst/>
              <a:gdLst>
                <a:gd name="T0" fmla="*/ 2147483647 w 23"/>
                <a:gd name="T1" fmla="*/ 2147483647 h 19"/>
                <a:gd name="T2" fmla="*/ 2147483647 w 23"/>
                <a:gd name="T3" fmla="*/ 2147483647 h 19"/>
                <a:gd name="T4" fmla="*/ 2147483647 w 23"/>
                <a:gd name="T5" fmla="*/ 2147483647 h 19"/>
                <a:gd name="T6" fmla="*/ 2147483647 w 23"/>
                <a:gd name="T7" fmla="*/ 0 h 19"/>
                <a:gd name="T8" fmla="*/ 2147483647 w 23"/>
                <a:gd name="T9" fmla="*/ 0 h 19"/>
                <a:gd name="T10" fmla="*/ 2147483647 w 23"/>
                <a:gd name="T11" fmla="*/ 0 h 19"/>
                <a:gd name="T12" fmla="*/ 2147483647 w 23"/>
                <a:gd name="T13" fmla="*/ 2147483647 h 19"/>
                <a:gd name="T14" fmla="*/ 2147483647 w 23"/>
                <a:gd name="T15" fmla="*/ 2147483647 h 19"/>
                <a:gd name="T16" fmla="*/ 2147483647 w 23"/>
                <a:gd name="T17" fmla="*/ 2147483647 h 19"/>
                <a:gd name="T18" fmla="*/ 2147483647 w 23"/>
                <a:gd name="T19" fmla="*/ 2147483647 h 19"/>
                <a:gd name="T20" fmla="*/ 2147483647 w 23"/>
                <a:gd name="T21" fmla="*/ 2147483647 h 19"/>
                <a:gd name="T22" fmla="*/ 2147483647 w 23"/>
                <a:gd name="T23" fmla="*/ 2147483647 h 19"/>
                <a:gd name="T24" fmla="*/ 0 w 23"/>
                <a:gd name="T25" fmla="*/ 2147483647 h 19"/>
                <a:gd name="T26" fmla="*/ 0 w 23"/>
                <a:gd name="T27" fmla="*/ 2147483647 h 19"/>
                <a:gd name="T28" fmla="*/ 2147483647 w 23"/>
                <a:gd name="T29" fmla="*/ 2147483647 h 19"/>
                <a:gd name="T30" fmla="*/ 2147483647 w 23"/>
                <a:gd name="T31" fmla="*/ 2147483647 h 19"/>
                <a:gd name="T32" fmla="*/ 2147483647 w 23"/>
                <a:gd name="T33" fmla="*/ 2147483647 h 19"/>
                <a:gd name="T34" fmla="*/ 2147483647 w 23"/>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9"/>
                <a:gd name="T56" fmla="*/ 23 w 23"/>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9">
                  <a:moveTo>
                    <a:pt x="23" y="5"/>
                  </a:moveTo>
                  <a:lnTo>
                    <a:pt x="23" y="3"/>
                  </a:lnTo>
                  <a:lnTo>
                    <a:pt x="23" y="2"/>
                  </a:lnTo>
                  <a:lnTo>
                    <a:pt x="22" y="0"/>
                  </a:lnTo>
                  <a:lnTo>
                    <a:pt x="21" y="0"/>
                  </a:lnTo>
                  <a:lnTo>
                    <a:pt x="19" y="0"/>
                  </a:lnTo>
                  <a:lnTo>
                    <a:pt x="17" y="3"/>
                  </a:lnTo>
                  <a:lnTo>
                    <a:pt x="16" y="6"/>
                  </a:lnTo>
                  <a:lnTo>
                    <a:pt x="14" y="9"/>
                  </a:lnTo>
                  <a:lnTo>
                    <a:pt x="11" y="11"/>
                  </a:lnTo>
                  <a:lnTo>
                    <a:pt x="5" y="13"/>
                  </a:lnTo>
                  <a:lnTo>
                    <a:pt x="2" y="16"/>
                  </a:lnTo>
                  <a:lnTo>
                    <a:pt x="0" y="17"/>
                  </a:lnTo>
                  <a:lnTo>
                    <a:pt x="0" y="19"/>
                  </a:lnTo>
                  <a:lnTo>
                    <a:pt x="7" y="18"/>
                  </a:lnTo>
                  <a:lnTo>
                    <a:pt x="13" y="15"/>
                  </a:lnTo>
                  <a:lnTo>
                    <a:pt x="19" y="11"/>
                  </a:lnTo>
                  <a:lnTo>
                    <a:pt x="2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 name="Freeform 44"/>
            <p:cNvSpPr>
              <a:spLocks/>
            </p:cNvSpPr>
            <p:nvPr/>
          </p:nvSpPr>
          <p:spPr bwMode="auto">
            <a:xfrm>
              <a:off x="8943975" y="2655892"/>
              <a:ext cx="19050" cy="9525"/>
            </a:xfrm>
            <a:custGeom>
              <a:avLst/>
              <a:gdLst>
                <a:gd name="T0" fmla="*/ 2147483647 w 13"/>
                <a:gd name="T1" fmla="*/ 2147483647 h 6"/>
                <a:gd name="T2" fmla="*/ 2147483647 w 13"/>
                <a:gd name="T3" fmla="*/ 2147483647 h 6"/>
                <a:gd name="T4" fmla="*/ 2147483647 w 13"/>
                <a:gd name="T5" fmla="*/ 0 h 6"/>
                <a:gd name="T6" fmla="*/ 2147483647 w 13"/>
                <a:gd name="T7" fmla="*/ 0 h 6"/>
                <a:gd name="T8" fmla="*/ 2147483647 w 13"/>
                <a:gd name="T9" fmla="*/ 0 h 6"/>
                <a:gd name="T10" fmla="*/ 2147483647 w 13"/>
                <a:gd name="T11" fmla="*/ 0 h 6"/>
                <a:gd name="T12" fmla="*/ 2147483647 w 13"/>
                <a:gd name="T13" fmla="*/ 0 h 6"/>
                <a:gd name="T14" fmla="*/ 0 w 13"/>
                <a:gd name="T15" fmla="*/ 2147483647 h 6"/>
                <a:gd name="T16" fmla="*/ 0 w 13"/>
                <a:gd name="T17" fmla="*/ 2147483647 h 6"/>
                <a:gd name="T18" fmla="*/ 0 w 13"/>
                <a:gd name="T19" fmla="*/ 2147483647 h 6"/>
                <a:gd name="T20" fmla="*/ 2147483647 w 13"/>
                <a:gd name="T21" fmla="*/ 2147483647 h 6"/>
                <a:gd name="T22" fmla="*/ 2147483647 w 13"/>
                <a:gd name="T23" fmla="*/ 2147483647 h 6"/>
                <a:gd name="T24" fmla="*/ 2147483647 w 13"/>
                <a:gd name="T25" fmla="*/ 2147483647 h 6"/>
                <a:gd name="T26" fmla="*/ 2147483647 w 13"/>
                <a:gd name="T27" fmla="*/ 2147483647 h 6"/>
                <a:gd name="T28" fmla="*/ 2147483647 w 13"/>
                <a:gd name="T29" fmla="*/ 2147483647 h 6"/>
                <a:gd name="T30" fmla="*/ 2147483647 w 13"/>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6"/>
                <a:gd name="T50" fmla="*/ 13 w 13"/>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6">
                  <a:moveTo>
                    <a:pt x="13" y="1"/>
                  </a:moveTo>
                  <a:lnTo>
                    <a:pt x="13" y="1"/>
                  </a:lnTo>
                  <a:lnTo>
                    <a:pt x="13" y="0"/>
                  </a:lnTo>
                  <a:lnTo>
                    <a:pt x="11" y="0"/>
                  </a:lnTo>
                  <a:lnTo>
                    <a:pt x="7" y="0"/>
                  </a:lnTo>
                  <a:lnTo>
                    <a:pt x="4" y="0"/>
                  </a:lnTo>
                  <a:lnTo>
                    <a:pt x="0" y="2"/>
                  </a:lnTo>
                  <a:lnTo>
                    <a:pt x="0" y="5"/>
                  </a:lnTo>
                  <a:lnTo>
                    <a:pt x="1" y="6"/>
                  </a:lnTo>
                  <a:lnTo>
                    <a:pt x="7" y="5"/>
                  </a:lnTo>
                  <a:lnTo>
                    <a:pt x="10" y="3"/>
                  </a:lnTo>
                  <a:lnTo>
                    <a:pt x="13"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 name="Freeform 45"/>
            <p:cNvSpPr>
              <a:spLocks/>
            </p:cNvSpPr>
            <p:nvPr/>
          </p:nvSpPr>
          <p:spPr bwMode="auto">
            <a:xfrm>
              <a:off x="8993192" y="2628904"/>
              <a:ext cx="33337" cy="30163"/>
            </a:xfrm>
            <a:custGeom>
              <a:avLst/>
              <a:gdLst>
                <a:gd name="T0" fmla="*/ 2147483647 w 23"/>
                <a:gd name="T1" fmla="*/ 2147483647 h 19"/>
                <a:gd name="T2" fmla="*/ 2147483647 w 23"/>
                <a:gd name="T3" fmla="*/ 2147483647 h 19"/>
                <a:gd name="T4" fmla="*/ 2147483647 w 23"/>
                <a:gd name="T5" fmla="*/ 2147483647 h 19"/>
                <a:gd name="T6" fmla="*/ 2147483647 w 23"/>
                <a:gd name="T7" fmla="*/ 2147483647 h 19"/>
                <a:gd name="T8" fmla="*/ 2147483647 w 23"/>
                <a:gd name="T9" fmla="*/ 0 h 19"/>
                <a:gd name="T10" fmla="*/ 2147483647 w 23"/>
                <a:gd name="T11" fmla="*/ 0 h 19"/>
                <a:gd name="T12" fmla="*/ 2147483647 w 23"/>
                <a:gd name="T13" fmla="*/ 0 h 19"/>
                <a:gd name="T14" fmla="*/ 2147483647 w 23"/>
                <a:gd name="T15" fmla="*/ 0 h 19"/>
                <a:gd name="T16" fmla="*/ 2147483647 w 23"/>
                <a:gd name="T17" fmla="*/ 2147483647 h 19"/>
                <a:gd name="T18" fmla="*/ 2147483647 w 23"/>
                <a:gd name="T19" fmla="*/ 2147483647 h 19"/>
                <a:gd name="T20" fmla="*/ 2147483647 w 23"/>
                <a:gd name="T21" fmla="*/ 2147483647 h 19"/>
                <a:gd name="T22" fmla="*/ 2147483647 w 23"/>
                <a:gd name="T23" fmla="*/ 2147483647 h 19"/>
                <a:gd name="T24" fmla="*/ 2147483647 w 23"/>
                <a:gd name="T25" fmla="*/ 2147483647 h 19"/>
                <a:gd name="T26" fmla="*/ 2147483647 w 23"/>
                <a:gd name="T27" fmla="*/ 2147483647 h 19"/>
                <a:gd name="T28" fmla="*/ 2147483647 w 23"/>
                <a:gd name="T29" fmla="*/ 2147483647 h 19"/>
                <a:gd name="T30" fmla="*/ 0 w 23"/>
                <a:gd name="T31" fmla="*/ 2147483647 h 19"/>
                <a:gd name="T32" fmla="*/ 0 w 23"/>
                <a:gd name="T33" fmla="*/ 2147483647 h 19"/>
                <a:gd name="T34" fmla="*/ 0 w 23"/>
                <a:gd name="T35" fmla="*/ 2147483647 h 19"/>
                <a:gd name="T36" fmla="*/ 2147483647 w 23"/>
                <a:gd name="T37" fmla="*/ 2147483647 h 19"/>
                <a:gd name="T38" fmla="*/ 2147483647 w 23"/>
                <a:gd name="T39" fmla="*/ 2147483647 h 19"/>
                <a:gd name="T40" fmla="*/ 2147483647 w 23"/>
                <a:gd name="T41" fmla="*/ 2147483647 h 19"/>
                <a:gd name="T42" fmla="*/ 2147483647 w 23"/>
                <a:gd name="T43" fmla="*/ 2147483647 h 19"/>
                <a:gd name="T44" fmla="*/ 2147483647 w 23"/>
                <a:gd name="T45" fmla="*/ 2147483647 h 19"/>
                <a:gd name="T46" fmla="*/ 2147483647 w 23"/>
                <a:gd name="T47" fmla="*/ 2147483647 h 19"/>
                <a:gd name="T48" fmla="*/ 2147483647 w 23"/>
                <a:gd name="T49" fmla="*/ 2147483647 h 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19"/>
                <a:gd name="T77" fmla="*/ 23 w 23"/>
                <a:gd name="T78" fmla="*/ 19 h 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19">
                  <a:moveTo>
                    <a:pt x="23" y="5"/>
                  </a:moveTo>
                  <a:lnTo>
                    <a:pt x="23" y="5"/>
                  </a:lnTo>
                  <a:lnTo>
                    <a:pt x="23" y="3"/>
                  </a:lnTo>
                  <a:lnTo>
                    <a:pt x="23" y="1"/>
                  </a:lnTo>
                  <a:lnTo>
                    <a:pt x="22" y="0"/>
                  </a:lnTo>
                  <a:lnTo>
                    <a:pt x="20" y="0"/>
                  </a:lnTo>
                  <a:lnTo>
                    <a:pt x="19" y="0"/>
                  </a:lnTo>
                  <a:lnTo>
                    <a:pt x="17" y="3"/>
                  </a:lnTo>
                  <a:lnTo>
                    <a:pt x="15" y="6"/>
                  </a:lnTo>
                  <a:lnTo>
                    <a:pt x="14" y="9"/>
                  </a:lnTo>
                  <a:lnTo>
                    <a:pt x="10" y="11"/>
                  </a:lnTo>
                  <a:lnTo>
                    <a:pt x="5" y="13"/>
                  </a:lnTo>
                  <a:lnTo>
                    <a:pt x="1" y="16"/>
                  </a:lnTo>
                  <a:lnTo>
                    <a:pt x="0" y="17"/>
                  </a:lnTo>
                  <a:lnTo>
                    <a:pt x="0" y="19"/>
                  </a:lnTo>
                  <a:lnTo>
                    <a:pt x="6" y="18"/>
                  </a:lnTo>
                  <a:lnTo>
                    <a:pt x="13" y="14"/>
                  </a:lnTo>
                  <a:lnTo>
                    <a:pt x="19" y="11"/>
                  </a:lnTo>
                  <a:lnTo>
                    <a:pt x="2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 name="Freeform 46"/>
            <p:cNvSpPr>
              <a:spLocks/>
            </p:cNvSpPr>
            <p:nvPr/>
          </p:nvSpPr>
          <p:spPr bwMode="auto">
            <a:xfrm>
              <a:off x="9039227" y="2646367"/>
              <a:ext cx="15875" cy="7937"/>
            </a:xfrm>
            <a:custGeom>
              <a:avLst/>
              <a:gdLst>
                <a:gd name="T0" fmla="*/ 2147483647 w 10"/>
                <a:gd name="T1" fmla="*/ 2147483647 h 5"/>
                <a:gd name="T2" fmla="*/ 2147483647 w 10"/>
                <a:gd name="T3" fmla="*/ 0 h 5"/>
                <a:gd name="T4" fmla="*/ 2147483647 w 10"/>
                <a:gd name="T5" fmla="*/ 0 h 5"/>
                <a:gd name="T6" fmla="*/ 2147483647 w 10"/>
                <a:gd name="T7" fmla="*/ 2147483647 h 5"/>
                <a:gd name="T8" fmla="*/ 0 w 10"/>
                <a:gd name="T9" fmla="*/ 2147483647 h 5"/>
                <a:gd name="T10" fmla="*/ 2147483647 w 10"/>
                <a:gd name="T11" fmla="*/ 2147483647 h 5"/>
                <a:gd name="T12" fmla="*/ 2147483647 w 10"/>
                <a:gd name="T13" fmla="*/ 2147483647 h 5"/>
                <a:gd name="T14" fmla="*/ 2147483647 w 10"/>
                <a:gd name="T15" fmla="*/ 2147483647 h 5"/>
                <a:gd name="T16" fmla="*/ 2147483647 w 10"/>
                <a:gd name="T17" fmla="*/ 2147483647 h 5"/>
                <a:gd name="T18" fmla="*/ 2147483647 w 1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5"/>
                <a:gd name="T32" fmla="*/ 10 w 1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5">
                  <a:moveTo>
                    <a:pt x="10" y="2"/>
                  </a:moveTo>
                  <a:lnTo>
                    <a:pt x="9" y="0"/>
                  </a:lnTo>
                  <a:lnTo>
                    <a:pt x="6" y="0"/>
                  </a:lnTo>
                  <a:lnTo>
                    <a:pt x="1" y="1"/>
                  </a:lnTo>
                  <a:lnTo>
                    <a:pt x="0" y="2"/>
                  </a:lnTo>
                  <a:lnTo>
                    <a:pt x="1" y="5"/>
                  </a:lnTo>
                  <a:lnTo>
                    <a:pt x="4" y="5"/>
                  </a:lnTo>
                  <a:lnTo>
                    <a:pt x="6" y="5"/>
                  </a:lnTo>
                  <a:lnTo>
                    <a:pt x="9" y="3"/>
                  </a:lnTo>
                  <a:lnTo>
                    <a:pt x="10"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 name="Freeform 47"/>
            <p:cNvSpPr>
              <a:spLocks/>
            </p:cNvSpPr>
            <p:nvPr/>
          </p:nvSpPr>
          <p:spPr bwMode="auto">
            <a:xfrm>
              <a:off x="9069392" y="2640017"/>
              <a:ext cx="7937" cy="7937"/>
            </a:xfrm>
            <a:custGeom>
              <a:avLst/>
              <a:gdLst>
                <a:gd name="T0" fmla="*/ 2147483647 w 5"/>
                <a:gd name="T1" fmla="*/ 0 h 5"/>
                <a:gd name="T2" fmla="*/ 2147483647 w 5"/>
                <a:gd name="T3" fmla="*/ 0 h 5"/>
                <a:gd name="T4" fmla="*/ 2147483647 w 5"/>
                <a:gd name="T5" fmla="*/ 2147483647 h 5"/>
                <a:gd name="T6" fmla="*/ 0 w 5"/>
                <a:gd name="T7" fmla="*/ 2147483647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5"/>
                <a:gd name="T29" fmla="*/ 5 w 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5">
                  <a:moveTo>
                    <a:pt x="5" y="0"/>
                  </a:moveTo>
                  <a:lnTo>
                    <a:pt x="3" y="0"/>
                  </a:lnTo>
                  <a:lnTo>
                    <a:pt x="1" y="2"/>
                  </a:lnTo>
                  <a:lnTo>
                    <a:pt x="0" y="3"/>
                  </a:lnTo>
                  <a:lnTo>
                    <a:pt x="1" y="4"/>
                  </a:lnTo>
                  <a:lnTo>
                    <a:pt x="3" y="5"/>
                  </a:lnTo>
                  <a:lnTo>
                    <a:pt x="5" y="4"/>
                  </a:lnTo>
                  <a:lnTo>
                    <a:pt x="5" y="3"/>
                  </a:lnTo>
                  <a:lnTo>
                    <a:pt x="5"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 name="Freeform 48"/>
            <p:cNvSpPr>
              <a:spLocks/>
            </p:cNvSpPr>
            <p:nvPr/>
          </p:nvSpPr>
          <p:spPr bwMode="auto">
            <a:xfrm>
              <a:off x="9039226" y="2644778"/>
              <a:ext cx="14288" cy="6350"/>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2147483647 h 4"/>
                <a:gd name="T10" fmla="*/ 2147483647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2147483647 w 10"/>
                <a:gd name="T25" fmla="*/ 2147483647 h 4"/>
                <a:gd name="T26" fmla="*/ 2147483647 w 10"/>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10" y="2"/>
                  </a:moveTo>
                  <a:lnTo>
                    <a:pt x="10" y="2"/>
                  </a:lnTo>
                  <a:lnTo>
                    <a:pt x="9" y="0"/>
                  </a:lnTo>
                  <a:lnTo>
                    <a:pt x="6" y="0"/>
                  </a:lnTo>
                  <a:lnTo>
                    <a:pt x="1" y="1"/>
                  </a:lnTo>
                  <a:lnTo>
                    <a:pt x="0" y="2"/>
                  </a:lnTo>
                  <a:lnTo>
                    <a:pt x="1" y="4"/>
                  </a:lnTo>
                  <a:lnTo>
                    <a:pt x="3" y="4"/>
                  </a:lnTo>
                  <a:lnTo>
                    <a:pt x="6" y="4"/>
                  </a:lnTo>
                  <a:lnTo>
                    <a:pt x="9" y="3"/>
                  </a:lnTo>
                  <a:lnTo>
                    <a:pt x="10"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 name="Freeform 49"/>
            <p:cNvSpPr>
              <a:spLocks/>
            </p:cNvSpPr>
            <p:nvPr/>
          </p:nvSpPr>
          <p:spPr bwMode="auto">
            <a:xfrm>
              <a:off x="9067800" y="2638425"/>
              <a:ext cx="7938" cy="7938"/>
            </a:xfrm>
            <a:custGeom>
              <a:avLst/>
              <a:gdLst>
                <a:gd name="T0" fmla="*/ 2147483647 w 5"/>
                <a:gd name="T1" fmla="*/ 0 h 5"/>
                <a:gd name="T2" fmla="*/ 2147483647 w 5"/>
                <a:gd name="T3" fmla="*/ 0 h 5"/>
                <a:gd name="T4" fmla="*/ 2147483647 w 5"/>
                <a:gd name="T5" fmla="*/ 0 h 5"/>
                <a:gd name="T6" fmla="*/ 2147483647 w 5"/>
                <a:gd name="T7" fmla="*/ 2147483647 h 5"/>
                <a:gd name="T8" fmla="*/ 2147483647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0 h 5"/>
                <a:gd name="T24" fmla="*/ 2147483647 w 5"/>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5"/>
                <a:gd name="T41" fmla="*/ 5 w 5"/>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5">
                  <a:moveTo>
                    <a:pt x="5" y="0"/>
                  </a:moveTo>
                  <a:lnTo>
                    <a:pt x="5" y="0"/>
                  </a:lnTo>
                  <a:lnTo>
                    <a:pt x="2" y="0"/>
                  </a:lnTo>
                  <a:lnTo>
                    <a:pt x="1" y="1"/>
                  </a:lnTo>
                  <a:lnTo>
                    <a:pt x="0" y="3"/>
                  </a:lnTo>
                  <a:lnTo>
                    <a:pt x="1" y="4"/>
                  </a:lnTo>
                  <a:lnTo>
                    <a:pt x="2" y="5"/>
                  </a:lnTo>
                  <a:lnTo>
                    <a:pt x="5" y="4"/>
                  </a:lnTo>
                  <a:lnTo>
                    <a:pt x="5" y="3"/>
                  </a:lnTo>
                  <a:lnTo>
                    <a:pt x="5"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 name="Freeform 50"/>
            <p:cNvSpPr>
              <a:spLocks/>
            </p:cNvSpPr>
            <p:nvPr/>
          </p:nvSpPr>
          <p:spPr bwMode="auto">
            <a:xfrm>
              <a:off x="9096375" y="2630492"/>
              <a:ext cx="7938" cy="7937"/>
            </a:xfrm>
            <a:custGeom>
              <a:avLst/>
              <a:gdLst>
                <a:gd name="T0" fmla="*/ 2147483647 w 6"/>
                <a:gd name="T1" fmla="*/ 2147483647 h 5"/>
                <a:gd name="T2" fmla="*/ 2147483647 w 6"/>
                <a:gd name="T3" fmla="*/ 0 h 5"/>
                <a:gd name="T4" fmla="*/ 2147483647 w 6"/>
                <a:gd name="T5" fmla="*/ 2147483647 h 5"/>
                <a:gd name="T6" fmla="*/ 0 w 6"/>
                <a:gd name="T7" fmla="*/ 2147483647 h 5"/>
                <a:gd name="T8" fmla="*/ 0 w 6"/>
                <a:gd name="T9" fmla="*/ 2147483647 h 5"/>
                <a:gd name="T10" fmla="*/ 2147483647 w 6"/>
                <a:gd name="T11" fmla="*/ 2147483647 h 5"/>
                <a:gd name="T12" fmla="*/ 2147483647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5" y="2"/>
                  </a:moveTo>
                  <a:lnTo>
                    <a:pt x="4" y="0"/>
                  </a:lnTo>
                  <a:lnTo>
                    <a:pt x="1" y="2"/>
                  </a:lnTo>
                  <a:lnTo>
                    <a:pt x="0" y="3"/>
                  </a:lnTo>
                  <a:lnTo>
                    <a:pt x="0" y="5"/>
                  </a:lnTo>
                  <a:lnTo>
                    <a:pt x="1" y="5"/>
                  </a:lnTo>
                  <a:lnTo>
                    <a:pt x="3" y="5"/>
                  </a:lnTo>
                  <a:lnTo>
                    <a:pt x="3" y="4"/>
                  </a:lnTo>
                  <a:lnTo>
                    <a:pt x="5" y="3"/>
                  </a:lnTo>
                  <a:lnTo>
                    <a:pt x="6" y="2"/>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 name="Freeform 51"/>
            <p:cNvSpPr>
              <a:spLocks/>
            </p:cNvSpPr>
            <p:nvPr/>
          </p:nvSpPr>
          <p:spPr bwMode="auto">
            <a:xfrm>
              <a:off x="9132891" y="2617792"/>
              <a:ext cx="6350" cy="9525"/>
            </a:xfrm>
            <a:custGeom>
              <a:avLst/>
              <a:gdLst>
                <a:gd name="T0" fmla="*/ 2147483647 w 5"/>
                <a:gd name="T1" fmla="*/ 2147483647 h 6"/>
                <a:gd name="T2" fmla="*/ 2147483647 w 5"/>
                <a:gd name="T3" fmla="*/ 0 h 6"/>
                <a:gd name="T4" fmla="*/ 2147483647 w 5"/>
                <a:gd name="T5" fmla="*/ 2147483647 h 6"/>
                <a:gd name="T6" fmla="*/ 0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1"/>
                  </a:moveTo>
                  <a:lnTo>
                    <a:pt x="4" y="0"/>
                  </a:lnTo>
                  <a:lnTo>
                    <a:pt x="3" y="1"/>
                  </a:lnTo>
                  <a:lnTo>
                    <a:pt x="0" y="4"/>
                  </a:lnTo>
                  <a:lnTo>
                    <a:pt x="0" y="5"/>
                  </a:lnTo>
                  <a:lnTo>
                    <a:pt x="2" y="6"/>
                  </a:lnTo>
                  <a:lnTo>
                    <a:pt x="3" y="5"/>
                  </a:lnTo>
                  <a:lnTo>
                    <a:pt x="5" y="4"/>
                  </a:lnTo>
                  <a:lnTo>
                    <a:pt x="5" y="2"/>
                  </a:lnTo>
                  <a:lnTo>
                    <a:pt x="5"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 name="Freeform 52"/>
            <p:cNvSpPr>
              <a:spLocks/>
            </p:cNvSpPr>
            <p:nvPr/>
          </p:nvSpPr>
          <p:spPr bwMode="auto">
            <a:xfrm>
              <a:off x="9094792" y="2628900"/>
              <a:ext cx="7937" cy="7938"/>
            </a:xfrm>
            <a:custGeom>
              <a:avLst/>
              <a:gdLst>
                <a:gd name="T0" fmla="*/ 2147483647 w 6"/>
                <a:gd name="T1" fmla="*/ 2147483647 h 5"/>
                <a:gd name="T2" fmla="*/ 2147483647 w 6"/>
                <a:gd name="T3" fmla="*/ 2147483647 h 5"/>
                <a:gd name="T4" fmla="*/ 2147483647 w 6"/>
                <a:gd name="T5" fmla="*/ 0 h 5"/>
                <a:gd name="T6" fmla="*/ 2147483647 w 6"/>
                <a:gd name="T7" fmla="*/ 2147483647 h 5"/>
                <a:gd name="T8" fmla="*/ 0 w 6"/>
                <a:gd name="T9" fmla="*/ 2147483647 h 5"/>
                <a:gd name="T10" fmla="*/ 0 w 6"/>
                <a:gd name="T11" fmla="*/ 2147483647 h 5"/>
                <a:gd name="T12" fmla="*/ 0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2147483647 w 6"/>
                <a:gd name="T31" fmla="*/ 2147483647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5"/>
                <a:gd name="T50" fmla="*/ 6 w 6"/>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5">
                  <a:moveTo>
                    <a:pt x="5" y="1"/>
                  </a:moveTo>
                  <a:lnTo>
                    <a:pt x="5" y="1"/>
                  </a:lnTo>
                  <a:lnTo>
                    <a:pt x="4" y="0"/>
                  </a:lnTo>
                  <a:lnTo>
                    <a:pt x="1" y="1"/>
                  </a:lnTo>
                  <a:lnTo>
                    <a:pt x="0" y="3"/>
                  </a:lnTo>
                  <a:lnTo>
                    <a:pt x="0" y="5"/>
                  </a:lnTo>
                  <a:lnTo>
                    <a:pt x="1" y="5"/>
                  </a:lnTo>
                  <a:lnTo>
                    <a:pt x="2" y="5"/>
                  </a:lnTo>
                  <a:lnTo>
                    <a:pt x="2" y="4"/>
                  </a:lnTo>
                  <a:lnTo>
                    <a:pt x="5" y="3"/>
                  </a:lnTo>
                  <a:lnTo>
                    <a:pt x="6" y="1"/>
                  </a:lnTo>
                  <a:lnTo>
                    <a:pt x="5"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 name="Freeform 53"/>
            <p:cNvSpPr>
              <a:spLocks/>
            </p:cNvSpPr>
            <p:nvPr/>
          </p:nvSpPr>
          <p:spPr bwMode="auto">
            <a:xfrm>
              <a:off x="9131303" y="2616204"/>
              <a:ext cx="6350" cy="9525"/>
            </a:xfrm>
            <a:custGeom>
              <a:avLst/>
              <a:gdLst>
                <a:gd name="T0" fmla="*/ 2147483647 w 5"/>
                <a:gd name="T1" fmla="*/ 2147483647 h 6"/>
                <a:gd name="T2" fmla="*/ 2147483647 w 5"/>
                <a:gd name="T3" fmla="*/ 2147483647 h 6"/>
                <a:gd name="T4" fmla="*/ 2147483647 w 5"/>
                <a:gd name="T5" fmla="*/ 0 h 6"/>
                <a:gd name="T6" fmla="*/ 2147483647 w 5"/>
                <a:gd name="T7" fmla="*/ 2147483647 h 6"/>
                <a:gd name="T8" fmla="*/ 0 w 5"/>
                <a:gd name="T9" fmla="*/ 2147483647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1"/>
                  </a:moveTo>
                  <a:lnTo>
                    <a:pt x="5" y="1"/>
                  </a:lnTo>
                  <a:lnTo>
                    <a:pt x="4" y="0"/>
                  </a:lnTo>
                  <a:lnTo>
                    <a:pt x="3" y="1"/>
                  </a:lnTo>
                  <a:lnTo>
                    <a:pt x="0" y="3"/>
                  </a:lnTo>
                  <a:lnTo>
                    <a:pt x="0" y="5"/>
                  </a:lnTo>
                  <a:lnTo>
                    <a:pt x="1" y="6"/>
                  </a:lnTo>
                  <a:lnTo>
                    <a:pt x="3" y="5"/>
                  </a:lnTo>
                  <a:lnTo>
                    <a:pt x="5" y="3"/>
                  </a:lnTo>
                  <a:lnTo>
                    <a:pt x="5" y="2"/>
                  </a:lnTo>
                  <a:lnTo>
                    <a:pt x="5"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 name="Freeform 54"/>
            <p:cNvSpPr>
              <a:spLocks/>
            </p:cNvSpPr>
            <p:nvPr/>
          </p:nvSpPr>
          <p:spPr bwMode="auto">
            <a:xfrm>
              <a:off x="7593013" y="3495679"/>
              <a:ext cx="19050" cy="22225"/>
            </a:xfrm>
            <a:custGeom>
              <a:avLst/>
              <a:gdLst>
                <a:gd name="T0" fmla="*/ 2147483647 w 13"/>
                <a:gd name="T1" fmla="*/ 2147483647 h 14"/>
                <a:gd name="T2" fmla="*/ 2147483647 w 13"/>
                <a:gd name="T3" fmla="*/ 2147483647 h 14"/>
                <a:gd name="T4" fmla="*/ 2147483647 w 13"/>
                <a:gd name="T5" fmla="*/ 2147483647 h 14"/>
                <a:gd name="T6" fmla="*/ 2147483647 w 13"/>
                <a:gd name="T7" fmla="*/ 0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w 13"/>
                <a:gd name="T17" fmla="*/ 2147483647 h 14"/>
                <a:gd name="T18" fmla="*/ 2147483647 w 13"/>
                <a:gd name="T19" fmla="*/ 2147483647 h 14"/>
                <a:gd name="T20" fmla="*/ 2147483647 w 13"/>
                <a:gd name="T21" fmla="*/ 2147483647 h 14"/>
                <a:gd name="T22" fmla="*/ 2147483647 w 13"/>
                <a:gd name="T23" fmla="*/ 2147483647 h 14"/>
                <a:gd name="T24" fmla="*/ 2147483647 w 13"/>
                <a:gd name="T25" fmla="*/ 2147483647 h 14"/>
                <a:gd name="T26" fmla="*/ 2147483647 w 13"/>
                <a:gd name="T27" fmla="*/ 2147483647 h 14"/>
                <a:gd name="T28" fmla="*/ 2147483647 w 13"/>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4"/>
                <a:gd name="T47" fmla="*/ 13 w 13"/>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4">
                  <a:moveTo>
                    <a:pt x="9" y="7"/>
                  </a:moveTo>
                  <a:lnTo>
                    <a:pt x="13" y="3"/>
                  </a:lnTo>
                  <a:lnTo>
                    <a:pt x="13" y="1"/>
                  </a:lnTo>
                  <a:lnTo>
                    <a:pt x="12" y="0"/>
                  </a:lnTo>
                  <a:lnTo>
                    <a:pt x="8" y="1"/>
                  </a:lnTo>
                  <a:lnTo>
                    <a:pt x="5" y="1"/>
                  </a:lnTo>
                  <a:lnTo>
                    <a:pt x="3" y="2"/>
                  </a:lnTo>
                  <a:lnTo>
                    <a:pt x="1" y="4"/>
                  </a:lnTo>
                  <a:lnTo>
                    <a:pt x="0" y="9"/>
                  </a:lnTo>
                  <a:lnTo>
                    <a:pt x="1" y="11"/>
                  </a:lnTo>
                  <a:lnTo>
                    <a:pt x="3" y="14"/>
                  </a:lnTo>
                  <a:lnTo>
                    <a:pt x="4" y="14"/>
                  </a:lnTo>
                  <a:lnTo>
                    <a:pt x="5" y="11"/>
                  </a:lnTo>
                  <a:lnTo>
                    <a:pt x="8" y="9"/>
                  </a:lnTo>
                  <a:lnTo>
                    <a:pt x="9"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 name="Freeform 55"/>
            <p:cNvSpPr>
              <a:spLocks/>
            </p:cNvSpPr>
            <p:nvPr/>
          </p:nvSpPr>
          <p:spPr bwMode="auto">
            <a:xfrm>
              <a:off x="7558092" y="3549654"/>
              <a:ext cx="26987" cy="22225"/>
            </a:xfrm>
            <a:custGeom>
              <a:avLst/>
              <a:gdLst>
                <a:gd name="T0" fmla="*/ 2147483647 w 18"/>
                <a:gd name="T1" fmla="*/ 2147483647 h 14"/>
                <a:gd name="T2" fmla="*/ 2147483647 w 18"/>
                <a:gd name="T3" fmla="*/ 0 h 14"/>
                <a:gd name="T4" fmla="*/ 2147483647 w 18"/>
                <a:gd name="T5" fmla="*/ 0 h 14"/>
                <a:gd name="T6" fmla="*/ 2147483647 w 18"/>
                <a:gd name="T7" fmla="*/ 2147483647 h 14"/>
                <a:gd name="T8" fmla="*/ 2147483647 w 18"/>
                <a:gd name="T9" fmla="*/ 2147483647 h 14"/>
                <a:gd name="T10" fmla="*/ 2147483647 w 18"/>
                <a:gd name="T11" fmla="*/ 2147483647 h 14"/>
                <a:gd name="T12" fmla="*/ 0 w 18"/>
                <a:gd name="T13" fmla="*/ 2147483647 h 14"/>
                <a:gd name="T14" fmla="*/ 2147483647 w 18"/>
                <a:gd name="T15" fmla="*/ 2147483647 h 14"/>
                <a:gd name="T16" fmla="*/ 2147483647 w 18"/>
                <a:gd name="T17" fmla="*/ 2147483647 h 14"/>
                <a:gd name="T18" fmla="*/ 2147483647 w 18"/>
                <a:gd name="T19" fmla="*/ 2147483647 h 14"/>
                <a:gd name="T20" fmla="*/ 2147483647 w 18"/>
                <a:gd name="T21" fmla="*/ 2147483647 h 14"/>
                <a:gd name="T22" fmla="*/ 2147483647 w 18"/>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4"/>
                <a:gd name="T38" fmla="*/ 18 w 1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4">
                  <a:moveTo>
                    <a:pt x="13" y="7"/>
                  </a:moveTo>
                  <a:lnTo>
                    <a:pt x="18" y="0"/>
                  </a:lnTo>
                  <a:lnTo>
                    <a:pt x="12" y="0"/>
                  </a:lnTo>
                  <a:lnTo>
                    <a:pt x="5" y="4"/>
                  </a:lnTo>
                  <a:lnTo>
                    <a:pt x="3" y="5"/>
                  </a:lnTo>
                  <a:lnTo>
                    <a:pt x="1" y="7"/>
                  </a:lnTo>
                  <a:lnTo>
                    <a:pt x="0" y="9"/>
                  </a:lnTo>
                  <a:lnTo>
                    <a:pt x="1" y="12"/>
                  </a:lnTo>
                  <a:lnTo>
                    <a:pt x="4" y="14"/>
                  </a:lnTo>
                  <a:lnTo>
                    <a:pt x="6" y="13"/>
                  </a:lnTo>
                  <a:lnTo>
                    <a:pt x="9" y="9"/>
                  </a:lnTo>
                  <a:lnTo>
                    <a:pt x="13"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 name="Freeform 56"/>
            <p:cNvSpPr>
              <a:spLocks/>
            </p:cNvSpPr>
            <p:nvPr/>
          </p:nvSpPr>
          <p:spPr bwMode="auto">
            <a:xfrm>
              <a:off x="7591425" y="3492501"/>
              <a:ext cx="19050" cy="23813"/>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0 h 15"/>
                <a:gd name="T10" fmla="*/ 2147483647 w 13"/>
                <a:gd name="T11" fmla="*/ 0 h 15"/>
                <a:gd name="T12" fmla="*/ 2147483647 w 13"/>
                <a:gd name="T13" fmla="*/ 2147483647 h 15"/>
                <a:gd name="T14" fmla="*/ 2147483647 w 13"/>
                <a:gd name="T15" fmla="*/ 2147483647 h 15"/>
                <a:gd name="T16" fmla="*/ 2147483647 w 13"/>
                <a:gd name="T17" fmla="*/ 2147483647 h 15"/>
                <a:gd name="T18" fmla="*/ 2147483647 w 13"/>
                <a:gd name="T19" fmla="*/ 2147483647 h 15"/>
                <a:gd name="T20" fmla="*/ 0 w 13"/>
                <a:gd name="T21" fmla="*/ 2147483647 h 15"/>
                <a:gd name="T22" fmla="*/ 2147483647 w 13"/>
                <a:gd name="T23" fmla="*/ 2147483647 h 15"/>
                <a:gd name="T24" fmla="*/ 2147483647 w 13"/>
                <a:gd name="T25" fmla="*/ 2147483647 h 15"/>
                <a:gd name="T26" fmla="*/ 2147483647 w 13"/>
                <a:gd name="T27" fmla="*/ 2147483647 h 15"/>
                <a:gd name="T28" fmla="*/ 2147483647 w 13"/>
                <a:gd name="T29" fmla="*/ 2147483647 h 15"/>
                <a:gd name="T30" fmla="*/ 2147483647 w 13"/>
                <a:gd name="T31" fmla="*/ 2147483647 h 15"/>
                <a:gd name="T32" fmla="*/ 2147483647 w 13"/>
                <a:gd name="T33" fmla="*/ 2147483647 h 15"/>
                <a:gd name="T34" fmla="*/ 2147483647 w 13"/>
                <a:gd name="T35" fmla="*/ 2147483647 h 15"/>
                <a:gd name="T36" fmla="*/ 2147483647 w 13"/>
                <a:gd name="T37" fmla="*/ 2147483647 h 15"/>
                <a:gd name="T38" fmla="*/ 2147483647 w 13"/>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5"/>
                <a:gd name="T62" fmla="*/ 13 w 13"/>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5">
                  <a:moveTo>
                    <a:pt x="9" y="8"/>
                  </a:moveTo>
                  <a:lnTo>
                    <a:pt x="9" y="8"/>
                  </a:lnTo>
                  <a:lnTo>
                    <a:pt x="13" y="4"/>
                  </a:lnTo>
                  <a:lnTo>
                    <a:pt x="13" y="2"/>
                  </a:lnTo>
                  <a:lnTo>
                    <a:pt x="11" y="0"/>
                  </a:lnTo>
                  <a:lnTo>
                    <a:pt x="8" y="2"/>
                  </a:lnTo>
                  <a:lnTo>
                    <a:pt x="5" y="2"/>
                  </a:lnTo>
                  <a:lnTo>
                    <a:pt x="2" y="3"/>
                  </a:lnTo>
                  <a:lnTo>
                    <a:pt x="1" y="5"/>
                  </a:lnTo>
                  <a:lnTo>
                    <a:pt x="0" y="10"/>
                  </a:lnTo>
                  <a:lnTo>
                    <a:pt x="1" y="12"/>
                  </a:lnTo>
                  <a:lnTo>
                    <a:pt x="2" y="15"/>
                  </a:lnTo>
                  <a:lnTo>
                    <a:pt x="4" y="15"/>
                  </a:lnTo>
                  <a:lnTo>
                    <a:pt x="5" y="12"/>
                  </a:lnTo>
                  <a:lnTo>
                    <a:pt x="8" y="10"/>
                  </a:lnTo>
                  <a:lnTo>
                    <a:pt x="9"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 name="Freeform 57"/>
            <p:cNvSpPr>
              <a:spLocks/>
            </p:cNvSpPr>
            <p:nvPr/>
          </p:nvSpPr>
          <p:spPr bwMode="auto">
            <a:xfrm>
              <a:off x="7556501" y="3548067"/>
              <a:ext cx="26988" cy="22225"/>
            </a:xfrm>
            <a:custGeom>
              <a:avLst/>
              <a:gdLst>
                <a:gd name="T0" fmla="*/ 2147483647 w 18"/>
                <a:gd name="T1" fmla="*/ 2147483647 h 14"/>
                <a:gd name="T2" fmla="*/ 2147483647 w 18"/>
                <a:gd name="T3" fmla="*/ 2147483647 h 14"/>
                <a:gd name="T4" fmla="*/ 2147483647 w 18"/>
                <a:gd name="T5" fmla="*/ 0 h 14"/>
                <a:gd name="T6" fmla="*/ 2147483647 w 18"/>
                <a:gd name="T7" fmla="*/ 0 h 14"/>
                <a:gd name="T8" fmla="*/ 2147483647 w 18"/>
                <a:gd name="T9" fmla="*/ 0 h 14"/>
                <a:gd name="T10" fmla="*/ 2147483647 w 18"/>
                <a:gd name="T11" fmla="*/ 2147483647 h 14"/>
                <a:gd name="T12" fmla="*/ 2147483647 w 18"/>
                <a:gd name="T13" fmla="*/ 2147483647 h 14"/>
                <a:gd name="T14" fmla="*/ 2147483647 w 18"/>
                <a:gd name="T15" fmla="*/ 2147483647 h 14"/>
                <a:gd name="T16" fmla="*/ 0 w 18"/>
                <a:gd name="T17" fmla="*/ 2147483647 h 14"/>
                <a:gd name="T18" fmla="*/ 2147483647 w 18"/>
                <a:gd name="T19" fmla="*/ 2147483647 h 14"/>
                <a:gd name="T20" fmla="*/ 2147483647 w 18"/>
                <a:gd name="T21" fmla="*/ 2147483647 h 14"/>
                <a:gd name="T22" fmla="*/ 2147483647 w 18"/>
                <a:gd name="T23" fmla="*/ 2147483647 h 14"/>
                <a:gd name="T24" fmla="*/ 2147483647 w 18"/>
                <a:gd name="T25" fmla="*/ 2147483647 h 14"/>
                <a:gd name="T26" fmla="*/ 2147483647 w 18"/>
                <a:gd name="T27" fmla="*/ 2147483647 h 14"/>
                <a:gd name="T28" fmla="*/ 2147483647 w 18"/>
                <a:gd name="T29" fmla="*/ 2147483647 h 14"/>
                <a:gd name="T30" fmla="*/ 2147483647 w 18"/>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4"/>
                <a:gd name="T50" fmla="*/ 18 w 18"/>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4">
                  <a:moveTo>
                    <a:pt x="13" y="7"/>
                  </a:moveTo>
                  <a:lnTo>
                    <a:pt x="13" y="7"/>
                  </a:lnTo>
                  <a:lnTo>
                    <a:pt x="18" y="0"/>
                  </a:lnTo>
                  <a:lnTo>
                    <a:pt x="11" y="0"/>
                  </a:lnTo>
                  <a:lnTo>
                    <a:pt x="5" y="3"/>
                  </a:lnTo>
                  <a:lnTo>
                    <a:pt x="2" y="5"/>
                  </a:lnTo>
                  <a:lnTo>
                    <a:pt x="1" y="7"/>
                  </a:lnTo>
                  <a:lnTo>
                    <a:pt x="0" y="9"/>
                  </a:lnTo>
                  <a:lnTo>
                    <a:pt x="1" y="12"/>
                  </a:lnTo>
                  <a:lnTo>
                    <a:pt x="4" y="14"/>
                  </a:lnTo>
                  <a:lnTo>
                    <a:pt x="6" y="13"/>
                  </a:lnTo>
                  <a:lnTo>
                    <a:pt x="9" y="9"/>
                  </a:lnTo>
                  <a:lnTo>
                    <a:pt x="13"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 name="Freeform 58"/>
            <p:cNvSpPr>
              <a:spLocks/>
            </p:cNvSpPr>
            <p:nvPr/>
          </p:nvSpPr>
          <p:spPr bwMode="auto">
            <a:xfrm>
              <a:off x="7600950" y="3316292"/>
              <a:ext cx="58738" cy="92075"/>
            </a:xfrm>
            <a:custGeom>
              <a:avLst/>
              <a:gdLst>
                <a:gd name="T0" fmla="*/ 2147483647 w 40"/>
                <a:gd name="T1" fmla="*/ 2147483647 h 58"/>
                <a:gd name="T2" fmla="*/ 2147483647 w 40"/>
                <a:gd name="T3" fmla="*/ 2147483647 h 58"/>
                <a:gd name="T4" fmla="*/ 2147483647 w 40"/>
                <a:gd name="T5" fmla="*/ 2147483647 h 58"/>
                <a:gd name="T6" fmla="*/ 2147483647 w 40"/>
                <a:gd name="T7" fmla="*/ 2147483647 h 58"/>
                <a:gd name="T8" fmla="*/ 2147483647 w 40"/>
                <a:gd name="T9" fmla="*/ 2147483647 h 58"/>
                <a:gd name="T10" fmla="*/ 2147483647 w 40"/>
                <a:gd name="T11" fmla="*/ 2147483647 h 58"/>
                <a:gd name="T12" fmla="*/ 2147483647 w 40"/>
                <a:gd name="T13" fmla="*/ 2147483647 h 58"/>
                <a:gd name="T14" fmla="*/ 2147483647 w 40"/>
                <a:gd name="T15" fmla="*/ 2147483647 h 58"/>
                <a:gd name="T16" fmla="*/ 2147483647 w 40"/>
                <a:gd name="T17" fmla="*/ 2147483647 h 58"/>
                <a:gd name="T18" fmla="*/ 2147483647 w 40"/>
                <a:gd name="T19" fmla="*/ 2147483647 h 58"/>
                <a:gd name="T20" fmla="*/ 2147483647 w 40"/>
                <a:gd name="T21" fmla="*/ 2147483647 h 58"/>
                <a:gd name="T22" fmla="*/ 2147483647 w 40"/>
                <a:gd name="T23" fmla="*/ 2147483647 h 58"/>
                <a:gd name="T24" fmla="*/ 2147483647 w 40"/>
                <a:gd name="T25" fmla="*/ 2147483647 h 58"/>
                <a:gd name="T26" fmla="*/ 2147483647 w 40"/>
                <a:gd name="T27" fmla="*/ 2147483647 h 58"/>
                <a:gd name="T28" fmla="*/ 2147483647 w 40"/>
                <a:gd name="T29" fmla="*/ 2147483647 h 58"/>
                <a:gd name="T30" fmla="*/ 2147483647 w 40"/>
                <a:gd name="T31" fmla="*/ 2147483647 h 58"/>
                <a:gd name="T32" fmla="*/ 2147483647 w 40"/>
                <a:gd name="T33" fmla="*/ 2147483647 h 58"/>
                <a:gd name="T34" fmla="*/ 2147483647 w 40"/>
                <a:gd name="T35" fmla="*/ 2147483647 h 58"/>
                <a:gd name="T36" fmla="*/ 2147483647 w 40"/>
                <a:gd name="T37" fmla="*/ 2147483647 h 58"/>
                <a:gd name="T38" fmla="*/ 2147483647 w 40"/>
                <a:gd name="T39" fmla="*/ 2147483647 h 58"/>
                <a:gd name="T40" fmla="*/ 2147483647 w 40"/>
                <a:gd name="T41" fmla="*/ 2147483647 h 58"/>
                <a:gd name="T42" fmla="*/ 2147483647 w 40"/>
                <a:gd name="T43" fmla="*/ 2147483647 h 58"/>
                <a:gd name="T44" fmla="*/ 2147483647 w 40"/>
                <a:gd name="T45" fmla="*/ 2147483647 h 58"/>
                <a:gd name="T46" fmla="*/ 2147483647 w 40"/>
                <a:gd name="T47" fmla="*/ 2147483647 h 58"/>
                <a:gd name="T48" fmla="*/ 2147483647 w 40"/>
                <a:gd name="T49" fmla="*/ 2147483647 h 58"/>
                <a:gd name="T50" fmla="*/ 2147483647 w 40"/>
                <a:gd name="T51" fmla="*/ 2147483647 h 58"/>
                <a:gd name="T52" fmla="*/ 2147483647 w 40"/>
                <a:gd name="T53" fmla="*/ 2147483647 h 58"/>
                <a:gd name="T54" fmla="*/ 2147483647 w 40"/>
                <a:gd name="T55" fmla="*/ 2147483647 h 58"/>
                <a:gd name="T56" fmla="*/ 2147483647 w 40"/>
                <a:gd name="T57" fmla="*/ 2147483647 h 58"/>
                <a:gd name="T58" fmla="*/ 2147483647 w 40"/>
                <a:gd name="T59" fmla="*/ 2147483647 h 58"/>
                <a:gd name="T60" fmla="*/ 2147483647 w 40"/>
                <a:gd name="T61" fmla="*/ 2147483647 h 58"/>
                <a:gd name="T62" fmla="*/ 2147483647 w 40"/>
                <a:gd name="T63" fmla="*/ 2147483647 h 58"/>
                <a:gd name="T64" fmla="*/ 2147483647 w 40"/>
                <a:gd name="T65" fmla="*/ 2147483647 h 58"/>
                <a:gd name="T66" fmla="*/ 2147483647 w 40"/>
                <a:gd name="T67" fmla="*/ 2147483647 h 58"/>
                <a:gd name="T68" fmla="*/ 2147483647 w 40"/>
                <a:gd name="T69" fmla="*/ 2147483647 h 58"/>
                <a:gd name="T70" fmla="*/ 2147483647 w 40"/>
                <a:gd name="T71" fmla="*/ 2147483647 h 58"/>
                <a:gd name="T72" fmla="*/ 2147483647 w 40"/>
                <a:gd name="T73" fmla="*/ 2147483647 h 58"/>
                <a:gd name="T74" fmla="*/ 2147483647 w 40"/>
                <a:gd name="T75" fmla="*/ 2147483647 h 58"/>
                <a:gd name="T76" fmla="*/ 2147483647 w 40"/>
                <a:gd name="T77" fmla="*/ 2147483647 h 58"/>
                <a:gd name="T78" fmla="*/ 2147483647 w 40"/>
                <a:gd name="T79" fmla="*/ 2147483647 h 58"/>
                <a:gd name="T80" fmla="*/ 2147483647 w 40"/>
                <a:gd name="T81" fmla="*/ 2147483647 h 58"/>
                <a:gd name="T82" fmla="*/ 2147483647 w 40"/>
                <a:gd name="T83" fmla="*/ 2147483647 h 58"/>
                <a:gd name="T84" fmla="*/ 2147483647 w 40"/>
                <a:gd name="T85" fmla="*/ 2147483647 h 58"/>
                <a:gd name="T86" fmla="*/ 0 w 40"/>
                <a:gd name="T87" fmla="*/ 2147483647 h 58"/>
                <a:gd name="T88" fmla="*/ 2147483647 w 40"/>
                <a:gd name="T89" fmla="*/ 2147483647 h 58"/>
                <a:gd name="T90" fmla="*/ 2147483647 w 40"/>
                <a:gd name="T91" fmla="*/ 2147483647 h 58"/>
                <a:gd name="T92" fmla="*/ 2147483647 w 40"/>
                <a:gd name="T93" fmla="*/ 2147483647 h 58"/>
                <a:gd name="T94" fmla="*/ 2147483647 w 40"/>
                <a:gd name="T95" fmla="*/ 2147483647 h 58"/>
                <a:gd name="T96" fmla="*/ 2147483647 w 40"/>
                <a:gd name="T97" fmla="*/ 2147483647 h 58"/>
                <a:gd name="T98" fmla="*/ 2147483647 w 40"/>
                <a:gd name="T99" fmla="*/ 2147483647 h 58"/>
                <a:gd name="T100" fmla="*/ 2147483647 w 40"/>
                <a:gd name="T101" fmla="*/ 0 h 58"/>
                <a:gd name="T102" fmla="*/ 2147483647 w 40"/>
                <a:gd name="T103" fmla="*/ 0 h 58"/>
                <a:gd name="T104" fmla="*/ 2147483647 w 40"/>
                <a:gd name="T105" fmla="*/ 2147483647 h 58"/>
                <a:gd name="T106" fmla="*/ 2147483647 w 40"/>
                <a:gd name="T107" fmla="*/ 2147483647 h 58"/>
                <a:gd name="T108" fmla="*/ 2147483647 w 40"/>
                <a:gd name="T109" fmla="*/ 2147483647 h 58"/>
                <a:gd name="T110" fmla="*/ 2147483647 w 40"/>
                <a:gd name="T111" fmla="*/ 2147483647 h 58"/>
                <a:gd name="T112" fmla="*/ 2147483647 w 40"/>
                <a:gd name="T113" fmla="*/ 2147483647 h 58"/>
                <a:gd name="T114" fmla="*/ 2147483647 w 40"/>
                <a:gd name="T115" fmla="*/ 2147483647 h 58"/>
                <a:gd name="T116" fmla="*/ 2147483647 w 40"/>
                <a:gd name="T117" fmla="*/ 2147483647 h 58"/>
                <a:gd name="T118" fmla="*/ 2147483647 w 40"/>
                <a:gd name="T119" fmla="*/ 2147483647 h 58"/>
                <a:gd name="T120" fmla="*/ 2147483647 w 40"/>
                <a:gd name="T121" fmla="*/ 2147483647 h 58"/>
                <a:gd name="T122" fmla="*/ 2147483647 w 40"/>
                <a:gd name="T123" fmla="*/ 2147483647 h 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
                <a:gd name="T187" fmla="*/ 0 h 58"/>
                <a:gd name="T188" fmla="*/ 40 w 40"/>
                <a:gd name="T189" fmla="*/ 58 h 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 h="58">
                  <a:moveTo>
                    <a:pt x="40" y="26"/>
                  </a:moveTo>
                  <a:lnTo>
                    <a:pt x="32" y="38"/>
                  </a:lnTo>
                  <a:lnTo>
                    <a:pt x="31" y="41"/>
                  </a:lnTo>
                  <a:lnTo>
                    <a:pt x="31" y="45"/>
                  </a:lnTo>
                  <a:lnTo>
                    <a:pt x="32" y="49"/>
                  </a:lnTo>
                  <a:lnTo>
                    <a:pt x="31" y="50"/>
                  </a:lnTo>
                  <a:lnTo>
                    <a:pt x="30" y="52"/>
                  </a:lnTo>
                  <a:lnTo>
                    <a:pt x="26" y="56"/>
                  </a:lnTo>
                  <a:lnTo>
                    <a:pt x="23" y="56"/>
                  </a:lnTo>
                  <a:lnTo>
                    <a:pt x="21" y="56"/>
                  </a:lnTo>
                  <a:lnTo>
                    <a:pt x="19" y="53"/>
                  </a:lnTo>
                  <a:lnTo>
                    <a:pt x="19" y="52"/>
                  </a:lnTo>
                  <a:lnTo>
                    <a:pt x="19" y="50"/>
                  </a:lnTo>
                  <a:lnTo>
                    <a:pt x="17" y="49"/>
                  </a:lnTo>
                  <a:lnTo>
                    <a:pt x="16" y="49"/>
                  </a:lnTo>
                  <a:lnTo>
                    <a:pt x="16" y="50"/>
                  </a:lnTo>
                  <a:lnTo>
                    <a:pt x="14" y="56"/>
                  </a:lnTo>
                  <a:lnTo>
                    <a:pt x="13" y="57"/>
                  </a:lnTo>
                  <a:lnTo>
                    <a:pt x="10" y="58"/>
                  </a:lnTo>
                  <a:lnTo>
                    <a:pt x="7" y="57"/>
                  </a:lnTo>
                  <a:lnTo>
                    <a:pt x="5" y="53"/>
                  </a:lnTo>
                  <a:lnTo>
                    <a:pt x="5" y="51"/>
                  </a:lnTo>
                  <a:lnTo>
                    <a:pt x="5" y="49"/>
                  </a:lnTo>
                  <a:lnTo>
                    <a:pt x="9" y="45"/>
                  </a:lnTo>
                  <a:lnTo>
                    <a:pt x="10" y="41"/>
                  </a:lnTo>
                  <a:lnTo>
                    <a:pt x="12" y="33"/>
                  </a:lnTo>
                  <a:lnTo>
                    <a:pt x="12" y="32"/>
                  </a:lnTo>
                  <a:lnTo>
                    <a:pt x="12" y="31"/>
                  </a:lnTo>
                  <a:lnTo>
                    <a:pt x="14" y="31"/>
                  </a:lnTo>
                  <a:lnTo>
                    <a:pt x="18" y="31"/>
                  </a:lnTo>
                  <a:lnTo>
                    <a:pt x="19" y="30"/>
                  </a:lnTo>
                  <a:lnTo>
                    <a:pt x="19" y="26"/>
                  </a:lnTo>
                  <a:lnTo>
                    <a:pt x="19" y="21"/>
                  </a:lnTo>
                  <a:lnTo>
                    <a:pt x="18" y="17"/>
                  </a:lnTo>
                  <a:lnTo>
                    <a:pt x="17" y="17"/>
                  </a:lnTo>
                  <a:lnTo>
                    <a:pt x="14" y="17"/>
                  </a:lnTo>
                  <a:lnTo>
                    <a:pt x="13" y="18"/>
                  </a:lnTo>
                  <a:lnTo>
                    <a:pt x="12" y="20"/>
                  </a:lnTo>
                  <a:lnTo>
                    <a:pt x="12" y="22"/>
                  </a:lnTo>
                  <a:lnTo>
                    <a:pt x="9" y="25"/>
                  </a:lnTo>
                  <a:lnTo>
                    <a:pt x="7" y="26"/>
                  </a:lnTo>
                  <a:lnTo>
                    <a:pt x="4" y="26"/>
                  </a:lnTo>
                  <a:lnTo>
                    <a:pt x="2" y="22"/>
                  </a:lnTo>
                  <a:lnTo>
                    <a:pt x="0" y="21"/>
                  </a:lnTo>
                  <a:lnTo>
                    <a:pt x="2" y="20"/>
                  </a:lnTo>
                  <a:lnTo>
                    <a:pt x="4" y="17"/>
                  </a:lnTo>
                  <a:lnTo>
                    <a:pt x="7" y="13"/>
                  </a:lnTo>
                  <a:lnTo>
                    <a:pt x="9" y="9"/>
                  </a:lnTo>
                  <a:lnTo>
                    <a:pt x="9" y="5"/>
                  </a:lnTo>
                  <a:lnTo>
                    <a:pt x="14" y="4"/>
                  </a:lnTo>
                  <a:lnTo>
                    <a:pt x="18" y="0"/>
                  </a:lnTo>
                  <a:lnTo>
                    <a:pt x="19" y="0"/>
                  </a:lnTo>
                  <a:lnTo>
                    <a:pt x="22" y="1"/>
                  </a:lnTo>
                  <a:lnTo>
                    <a:pt x="24" y="4"/>
                  </a:lnTo>
                  <a:lnTo>
                    <a:pt x="27" y="5"/>
                  </a:lnTo>
                  <a:lnTo>
                    <a:pt x="30" y="6"/>
                  </a:lnTo>
                  <a:lnTo>
                    <a:pt x="31" y="8"/>
                  </a:lnTo>
                  <a:lnTo>
                    <a:pt x="33" y="15"/>
                  </a:lnTo>
                  <a:lnTo>
                    <a:pt x="36" y="19"/>
                  </a:lnTo>
                  <a:lnTo>
                    <a:pt x="40" y="21"/>
                  </a:lnTo>
                  <a:lnTo>
                    <a:pt x="40" y="24"/>
                  </a:lnTo>
                  <a:lnTo>
                    <a:pt x="40"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 name="Freeform 59"/>
            <p:cNvSpPr>
              <a:spLocks/>
            </p:cNvSpPr>
            <p:nvPr/>
          </p:nvSpPr>
          <p:spPr bwMode="auto">
            <a:xfrm>
              <a:off x="7669213" y="3298829"/>
              <a:ext cx="61912" cy="55563"/>
            </a:xfrm>
            <a:custGeom>
              <a:avLst/>
              <a:gdLst>
                <a:gd name="T0" fmla="*/ 2147483647 w 42"/>
                <a:gd name="T1" fmla="*/ 2147483647 h 35"/>
                <a:gd name="T2" fmla="*/ 2147483647 w 42"/>
                <a:gd name="T3" fmla="*/ 0 h 35"/>
                <a:gd name="T4" fmla="*/ 2147483647 w 42"/>
                <a:gd name="T5" fmla="*/ 0 h 35"/>
                <a:gd name="T6" fmla="*/ 2147483647 w 42"/>
                <a:gd name="T7" fmla="*/ 2147483647 h 35"/>
                <a:gd name="T8" fmla="*/ 2147483647 w 42"/>
                <a:gd name="T9" fmla="*/ 2147483647 h 35"/>
                <a:gd name="T10" fmla="*/ 2147483647 w 42"/>
                <a:gd name="T11" fmla="*/ 2147483647 h 35"/>
                <a:gd name="T12" fmla="*/ 2147483647 w 42"/>
                <a:gd name="T13" fmla="*/ 2147483647 h 35"/>
                <a:gd name="T14" fmla="*/ 2147483647 w 42"/>
                <a:gd name="T15" fmla="*/ 2147483647 h 35"/>
                <a:gd name="T16" fmla="*/ 2147483647 w 42"/>
                <a:gd name="T17" fmla="*/ 2147483647 h 35"/>
                <a:gd name="T18" fmla="*/ 2147483647 w 42"/>
                <a:gd name="T19" fmla="*/ 2147483647 h 35"/>
                <a:gd name="T20" fmla="*/ 2147483647 w 42"/>
                <a:gd name="T21" fmla="*/ 2147483647 h 35"/>
                <a:gd name="T22" fmla="*/ 2147483647 w 42"/>
                <a:gd name="T23" fmla="*/ 2147483647 h 35"/>
                <a:gd name="T24" fmla="*/ 2147483647 w 42"/>
                <a:gd name="T25" fmla="*/ 2147483647 h 35"/>
                <a:gd name="T26" fmla="*/ 0 w 42"/>
                <a:gd name="T27" fmla="*/ 2147483647 h 35"/>
                <a:gd name="T28" fmla="*/ 0 w 42"/>
                <a:gd name="T29" fmla="*/ 2147483647 h 35"/>
                <a:gd name="T30" fmla="*/ 0 w 42"/>
                <a:gd name="T31" fmla="*/ 2147483647 h 35"/>
                <a:gd name="T32" fmla="*/ 2147483647 w 42"/>
                <a:gd name="T33" fmla="*/ 2147483647 h 35"/>
                <a:gd name="T34" fmla="*/ 2147483647 w 42"/>
                <a:gd name="T35" fmla="*/ 2147483647 h 35"/>
                <a:gd name="T36" fmla="*/ 2147483647 w 42"/>
                <a:gd name="T37" fmla="*/ 2147483647 h 35"/>
                <a:gd name="T38" fmla="*/ 2147483647 w 42"/>
                <a:gd name="T39" fmla="*/ 2147483647 h 35"/>
                <a:gd name="T40" fmla="*/ 2147483647 w 42"/>
                <a:gd name="T41" fmla="*/ 2147483647 h 35"/>
                <a:gd name="T42" fmla="*/ 2147483647 w 42"/>
                <a:gd name="T43" fmla="*/ 2147483647 h 35"/>
                <a:gd name="T44" fmla="*/ 2147483647 w 42"/>
                <a:gd name="T45" fmla="*/ 2147483647 h 35"/>
                <a:gd name="T46" fmla="*/ 2147483647 w 42"/>
                <a:gd name="T47" fmla="*/ 2147483647 h 35"/>
                <a:gd name="T48" fmla="*/ 2147483647 w 42"/>
                <a:gd name="T49" fmla="*/ 2147483647 h 35"/>
                <a:gd name="T50" fmla="*/ 2147483647 w 42"/>
                <a:gd name="T51" fmla="*/ 2147483647 h 35"/>
                <a:gd name="T52" fmla="*/ 2147483647 w 42"/>
                <a:gd name="T53" fmla="*/ 2147483647 h 35"/>
                <a:gd name="T54" fmla="*/ 2147483647 w 42"/>
                <a:gd name="T55" fmla="*/ 2147483647 h 35"/>
                <a:gd name="T56" fmla="*/ 2147483647 w 42"/>
                <a:gd name="T57" fmla="*/ 2147483647 h 35"/>
                <a:gd name="T58" fmla="*/ 2147483647 w 42"/>
                <a:gd name="T59" fmla="*/ 2147483647 h 35"/>
                <a:gd name="T60" fmla="*/ 2147483647 w 42"/>
                <a:gd name="T61" fmla="*/ 2147483647 h 35"/>
                <a:gd name="T62" fmla="*/ 2147483647 w 42"/>
                <a:gd name="T63" fmla="*/ 2147483647 h 35"/>
                <a:gd name="T64" fmla="*/ 2147483647 w 42"/>
                <a:gd name="T65" fmla="*/ 2147483647 h 35"/>
                <a:gd name="T66" fmla="*/ 2147483647 w 42"/>
                <a:gd name="T67" fmla="*/ 2147483647 h 35"/>
                <a:gd name="T68" fmla="*/ 2147483647 w 42"/>
                <a:gd name="T69" fmla="*/ 2147483647 h 35"/>
                <a:gd name="T70" fmla="*/ 2147483647 w 42"/>
                <a:gd name="T71" fmla="*/ 2147483647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
                <a:gd name="T109" fmla="*/ 0 h 35"/>
                <a:gd name="T110" fmla="*/ 42 w 42"/>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 h="35">
                  <a:moveTo>
                    <a:pt x="41" y="3"/>
                  </a:moveTo>
                  <a:lnTo>
                    <a:pt x="37" y="0"/>
                  </a:lnTo>
                  <a:lnTo>
                    <a:pt x="32" y="0"/>
                  </a:lnTo>
                  <a:lnTo>
                    <a:pt x="28" y="3"/>
                  </a:lnTo>
                  <a:lnTo>
                    <a:pt x="24" y="6"/>
                  </a:lnTo>
                  <a:lnTo>
                    <a:pt x="23" y="7"/>
                  </a:lnTo>
                  <a:lnTo>
                    <a:pt x="21" y="9"/>
                  </a:lnTo>
                  <a:lnTo>
                    <a:pt x="17" y="9"/>
                  </a:lnTo>
                  <a:lnTo>
                    <a:pt x="14" y="9"/>
                  </a:lnTo>
                  <a:lnTo>
                    <a:pt x="13" y="9"/>
                  </a:lnTo>
                  <a:lnTo>
                    <a:pt x="10" y="13"/>
                  </a:lnTo>
                  <a:lnTo>
                    <a:pt x="8" y="16"/>
                  </a:lnTo>
                  <a:lnTo>
                    <a:pt x="4" y="17"/>
                  </a:lnTo>
                  <a:lnTo>
                    <a:pt x="0" y="17"/>
                  </a:lnTo>
                  <a:lnTo>
                    <a:pt x="0" y="18"/>
                  </a:lnTo>
                  <a:lnTo>
                    <a:pt x="0" y="20"/>
                  </a:lnTo>
                  <a:lnTo>
                    <a:pt x="3" y="22"/>
                  </a:lnTo>
                  <a:lnTo>
                    <a:pt x="4" y="23"/>
                  </a:lnTo>
                  <a:lnTo>
                    <a:pt x="7" y="26"/>
                  </a:lnTo>
                  <a:lnTo>
                    <a:pt x="8" y="31"/>
                  </a:lnTo>
                  <a:lnTo>
                    <a:pt x="10" y="33"/>
                  </a:lnTo>
                  <a:lnTo>
                    <a:pt x="12" y="35"/>
                  </a:lnTo>
                  <a:lnTo>
                    <a:pt x="13" y="35"/>
                  </a:lnTo>
                  <a:lnTo>
                    <a:pt x="14" y="32"/>
                  </a:lnTo>
                  <a:lnTo>
                    <a:pt x="18" y="26"/>
                  </a:lnTo>
                  <a:lnTo>
                    <a:pt x="21" y="23"/>
                  </a:lnTo>
                  <a:lnTo>
                    <a:pt x="24" y="22"/>
                  </a:lnTo>
                  <a:lnTo>
                    <a:pt x="29" y="22"/>
                  </a:lnTo>
                  <a:lnTo>
                    <a:pt x="33" y="23"/>
                  </a:lnTo>
                  <a:lnTo>
                    <a:pt x="35" y="22"/>
                  </a:lnTo>
                  <a:lnTo>
                    <a:pt x="36" y="20"/>
                  </a:lnTo>
                  <a:lnTo>
                    <a:pt x="37" y="13"/>
                  </a:lnTo>
                  <a:lnTo>
                    <a:pt x="38" y="11"/>
                  </a:lnTo>
                  <a:lnTo>
                    <a:pt x="41" y="7"/>
                  </a:lnTo>
                  <a:lnTo>
                    <a:pt x="42" y="5"/>
                  </a:lnTo>
                  <a:lnTo>
                    <a:pt x="41"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 name="Freeform 60"/>
            <p:cNvSpPr>
              <a:spLocks/>
            </p:cNvSpPr>
            <p:nvPr/>
          </p:nvSpPr>
          <p:spPr bwMode="auto">
            <a:xfrm>
              <a:off x="7599363" y="3314704"/>
              <a:ext cx="57150" cy="92075"/>
            </a:xfrm>
            <a:custGeom>
              <a:avLst/>
              <a:gdLst>
                <a:gd name="T0" fmla="*/ 2147483647 w 39"/>
                <a:gd name="T1" fmla="*/ 2147483647 h 58"/>
                <a:gd name="T2" fmla="*/ 2147483647 w 39"/>
                <a:gd name="T3" fmla="*/ 2147483647 h 58"/>
                <a:gd name="T4" fmla="*/ 2147483647 w 39"/>
                <a:gd name="T5" fmla="*/ 2147483647 h 58"/>
                <a:gd name="T6" fmla="*/ 2147483647 w 39"/>
                <a:gd name="T7" fmla="*/ 2147483647 h 58"/>
                <a:gd name="T8" fmla="*/ 2147483647 w 39"/>
                <a:gd name="T9" fmla="*/ 2147483647 h 58"/>
                <a:gd name="T10" fmla="*/ 2147483647 w 39"/>
                <a:gd name="T11" fmla="*/ 2147483647 h 58"/>
                <a:gd name="T12" fmla="*/ 2147483647 w 39"/>
                <a:gd name="T13" fmla="*/ 2147483647 h 58"/>
                <a:gd name="T14" fmla="*/ 2147483647 w 39"/>
                <a:gd name="T15" fmla="*/ 2147483647 h 58"/>
                <a:gd name="T16" fmla="*/ 2147483647 w 39"/>
                <a:gd name="T17" fmla="*/ 2147483647 h 58"/>
                <a:gd name="T18" fmla="*/ 2147483647 w 39"/>
                <a:gd name="T19" fmla="*/ 2147483647 h 58"/>
                <a:gd name="T20" fmla="*/ 2147483647 w 39"/>
                <a:gd name="T21" fmla="*/ 2147483647 h 58"/>
                <a:gd name="T22" fmla="*/ 2147483647 w 39"/>
                <a:gd name="T23" fmla="*/ 2147483647 h 58"/>
                <a:gd name="T24" fmla="*/ 2147483647 w 39"/>
                <a:gd name="T25" fmla="*/ 2147483647 h 58"/>
                <a:gd name="T26" fmla="*/ 2147483647 w 39"/>
                <a:gd name="T27" fmla="*/ 2147483647 h 58"/>
                <a:gd name="T28" fmla="*/ 2147483647 w 39"/>
                <a:gd name="T29" fmla="*/ 2147483647 h 58"/>
                <a:gd name="T30" fmla="*/ 2147483647 w 39"/>
                <a:gd name="T31" fmla="*/ 2147483647 h 58"/>
                <a:gd name="T32" fmla="*/ 2147483647 w 39"/>
                <a:gd name="T33" fmla="*/ 2147483647 h 58"/>
                <a:gd name="T34" fmla="*/ 2147483647 w 39"/>
                <a:gd name="T35" fmla="*/ 2147483647 h 58"/>
                <a:gd name="T36" fmla="*/ 2147483647 w 39"/>
                <a:gd name="T37" fmla="*/ 2147483647 h 58"/>
                <a:gd name="T38" fmla="*/ 2147483647 w 39"/>
                <a:gd name="T39" fmla="*/ 2147483647 h 58"/>
                <a:gd name="T40" fmla="*/ 2147483647 w 39"/>
                <a:gd name="T41" fmla="*/ 2147483647 h 58"/>
                <a:gd name="T42" fmla="*/ 2147483647 w 39"/>
                <a:gd name="T43" fmla="*/ 2147483647 h 58"/>
                <a:gd name="T44" fmla="*/ 2147483647 w 39"/>
                <a:gd name="T45" fmla="*/ 2147483647 h 58"/>
                <a:gd name="T46" fmla="*/ 2147483647 w 39"/>
                <a:gd name="T47" fmla="*/ 2147483647 h 58"/>
                <a:gd name="T48" fmla="*/ 2147483647 w 39"/>
                <a:gd name="T49" fmla="*/ 2147483647 h 58"/>
                <a:gd name="T50" fmla="*/ 2147483647 w 39"/>
                <a:gd name="T51" fmla="*/ 2147483647 h 58"/>
                <a:gd name="T52" fmla="*/ 2147483647 w 39"/>
                <a:gd name="T53" fmla="*/ 2147483647 h 58"/>
                <a:gd name="T54" fmla="*/ 2147483647 w 39"/>
                <a:gd name="T55" fmla="*/ 2147483647 h 58"/>
                <a:gd name="T56" fmla="*/ 2147483647 w 39"/>
                <a:gd name="T57" fmla="*/ 2147483647 h 58"/>
                <a:gd name="T58" fmla="*/ 2147483647 w 39"/>
                <a:gd name="T59" fmla="*/ 2147483647 h 58"/>
                <a:gd name="T60" fmla="*/ 2147483647 w 39"/>
                <a:gd name="T61" fmla="*/ 2147483647 h 58"/>
                <a:gd name="T62" fmla="*/ 2147483647 w 39"/>
                <a:gd name="T63" fmla="*/ 2147483647 h 58"/>
                <a:gd name="T64" fmla="*/ 2147483647 w 39"/>
                <a:gd name="T65" fmla="*/ 0 h 58"/>
                <a:gd name="T66" fmla="*/ 2147483647 w 39"/>
                <a:gd name="T67" fmla="*/ 0 h 58"/>
                <a:gd name="T68" fmla="*/ 2147483647 w 39"/>
                <a:gd name="T69" fmla="*/ 2147483647 h 58"/>
                <a:gd name="T70" fmla="*/ 2147483647 w 39"/>
                <a:gd name="T71" fmla="*/ 2147483647 h 58"/>
                <a:gd name="T72" fmla="*/ 2147483647 w 39"/>
                <a:gd name="T73" fmla="*/ 2147483647 h 58"/>
                <a:gd name="T74" fmla="*/ 2147483647 w 39"/>
                <a:gd name="T75" fmla="*/ 2147483647 h 58"/>
                <a:gd name="T76" fmla="*/ 2147483647 w 39"/>
                <a:gd name="T77" fmla="*/ 2147483647 h 58"/>
                <a:gd name="T78" fmla="*/ 2147483647 w 39"/>
                <a:gd name="T79" fmla="*/ 2147483647 h 58"/>
                <a:gd name="T80" fmla="*/ 2147483647 w 39"/>
                <a:gd name="T81" fmla="*/ 2147483647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9"/>
                <a:gd name="T124" fmla="*/ 0 h 58"/>
                <a:gd name="T125" fmla="*/ 39 w 39"/>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9" h="58">
                  <a:moveTo>
                    <a:pt x="39" y="26"/>
                  </a:moveTo>
                  <a:lnTo>
                    <a:pt x="39" y="26"/>
                  </a:lnTo>
                  <a:lnTo>
                    <a:pt x="32" y="38"/>
                  </a:lnTo>
                  <a:lnTo>
                    <a:pt x="31" y="41"/>
                  </a:lnTo>
                  <a:lnTo>
                    <a:pt x="31" y="45"/>
                  </a:lnTo>
                  <a:lnTo>
                    <a:pt x="32" y="48"/>
                  </a:lnTo>
                  <a:lnTo>
                    <a:pt x="31" y="50"/>
                  </a:lnTo>
                  <a:lnTo>
                    <a:pt x="29" y="52"/>
                  </a:lnTo>
                  <a:lnTo>
                    <a:pt x="25" y="55"/>
                  </a:lnTo>
                  <a:lnTo>
                    <a:pt x="23" y="55"/>
                  </a:lnTo>
                  <a:lnTo>
                    <a:pt x="20" y="55"/>
                  </a:lnTo>
                  <a:lnTo>
                    <a:pt x="19" y="53"/>
                  </a:lnTo>
                  <a:lnTo>
                    <a:pt x="19" y="52"/>
                  </a:lnTo>
                  <a:lnTo>
                    <a:pt x="19" y="50"/>
                  </a:lnTo>
                  <a:lnTo>
                    <a:pt x="17" y="48"/>
                  </a:lnTo>
                  <a:lnTo>
                    <a:pt x="15" y="48"/>
                  </a:lnTo>
                  <a:lnTo>
                    <a:pt x="15" y="50"/>
                  </a:lnTo>
                  <a:lnTo>
                    <a:pt x="14" y="55"/>
                  </a:lnTo>
                  <a:lnTo>
                    <a:pt x="13" y="57"/>
                  </a:lnTo>
                  <a:lnTo>
                    <a:pt x="10" y="58"/>
                  </a:lnTo>
                  <a:lnTo>
                    <a:pt x="6" y="57"/>
                  </a:lnTo>
                  <a:lnTo>
                    <a:pt x="5" y="53"/>
                  </a:lnTo>
                  <a:lnTo>
                    <a:pt x="5" y="51"/>
                  </a:lnTo>
                  <a:lnTo>
                    <a:pt x="5" y="48"/>
                  </a:lnTo>
                  <a:lnTo>
                    <a:pt x="9" y="45"/>
                  </a:lnTo>
                  <a:lnTo>
                    <a:pt x="10" y="41"/>
                  </a:lnTo>
                  <a:lnTo>
                    <a:pt x="11" y="33"/>
                  </a:lnTo>
                  <a:lnTo>
                    <a:pt x="11" y="32"/>
                  </a:lnTo>
                  <a:lnTo>
                    <a:pt x="11" y="31"/>
                  </a:lnTo>
                  <a:lnTo>
                    <a:pt x="14" y="31"/>
                  </a:lnTo>
                  <a:lnTo>
                    <a:pt x="18" y="31"/>
                  </a:lnTo>
                  <a:lnTo>
                    <a:pt x="19" y="29"/>
                  </a:lnTo>
                  <a:lnTo>
                    <a:pt x="19" y="26"/>
                  </a:lnTo>
                  <a:lnTo>
                    <a:pt x="19" y="21"/>
                  </a:lnTo>
                  <a:lnTo>
                    <a:pt x="18" y="16"/>
                  </a:lnTo>
                  <a:lnTo>
                    <a:pt x="17" y="16"/>
                  </a:lnTo>
                  <a:lnTo>
                    <a:pt x="14" y="16"/>
                  </a:lnTo>
                  <a:lnTo>
                    <a:pt x="13" y="18"/>
                  </a:lnTo>
                  <a:lnTo>
                    <a:pt x="11" y="20"/>
                  </a:lnTo>
                  <a:lnTo>
                    <a:pt x="11" y="22"/>
                  </a:lnTo>
                  <a:lnTo>
                    <a:pt x="9" y="25"/>
                  </a:lnTo>
                  <a:lnTo>
                    <a:pt x="6" y="26"/>
                  </a:lnTo>
                  <a:lnTo>
                    <a:pt x="4" y="26"/>
                  </a:lnTo>
                  <a:lnTo>
                    <a:pt x="1" y="22"/>
                  </a:lnTo>
                  <a:lnTo>
                    <a:pt x="0" y="21"/>
                  </a:lnTo>
                  <a:lnTo>
                    <a:pt x="1" y="20"/>
                  </a:lnTo>
                  <a:lnTo>
                    <a:pt x="4" y="16"/>
                  </a:lnTo>
                  <a:lnTo>
                    <a:pt x="6" y="13"/>
                  </a:lnTo>
                  <a:lnTo>
                    <a:pt x="9" y="9"/>
                  </a:lnTo>
                  <a:lnTo>
                    <a:pt x="9" y="5"/>
                  </a:lnTo>
                  <a:lnTo>
                    <a:pt x="14" y="3"/>
                  </a:lnTo>
                  <a:lnTo>
                    <a:pt x="18" y="0"/>
                  </a:lnTo>
                  <a:lnTo>
                    <a:pt x="19" y="0"/>
                  </a:lnTo>
                  <a:lnTo>
                    <a:pt x="22" y="1"/>
                  </a:lnTo>
                  <a:lnTo>
                    <a:pt x="24" y="3"/>
                  </a:lnTo>
                  <a:lnTo>
                    <a:pt x="27" y="5"/>
                  </a:lnTo>
                  <a:lnTo>
                    <a:pt x="29" y="6"/>
                  </a:lnTo>
                  <a:lnTo>
                    <a:pt x="31" y="8"/>
                  </a:lnTo>
                  <a:lnTo>
                    <a:pt x="33" y="15"/>
                  </a:lnTo>
                  <a:lnTo>
                    <a:pt x="36" y="19"/>
                  </a:lnTo>
                  <a:lnTo>
                    <a:pt x="39" y="21"/>
                  </a:lnTo>
                  <a:lnTo>
                    <a:pt x="39" y="23"/>
                  </a:lnTo>
                  <a:lnTo>
                    <a:pt x="39"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 name="Freeform 61"/>
            <p:cNvSpPr>
              <a:spLocks/>
            </p:cNvSpPr>
            <p:nvPr/>
          </p:nvSpPr>
          <p:spPr bwMode="auto">
            <a:xfrm>
              <a:off x="7667629" y="3297239"/>
              <a:ext cx="61913" cy="53974"/>
            </a:xfrm>
            <a:custGeom>
              <a:avLst/>
              <a:gdLst>
                <a:gd name="T0" fmla="*/ 2147483647 w 42"/>
                <a:gd name="T1" fmla="*/ 2147483647 h 34"/>
                <a:gd name="T2" fmla="*/ 2147483647 w 42"/>
                <a:gd name="T3" fmla="*/ 2147483647 h 34"/>
                <a:gd name="T4" fmla="*/ 2147483647 w 42"/>
                <a:gd name="T5" fmla="*/ 0 h 34"/>
                <a:gd name="T6" fmla="*/ 2147483647 w 42"/>
                <a:gd name="T7" fmla="*/ 0 h 34"/>
                <a:gd name="T8" fmla="*/ 2147483647 w 42"/>
                <a:gd name="T9" fmla="*/ 2147483647 h 34"/>
                <a:gd name="T10" fmla="*/ 2147483647 w 42"/>
                <a:gd name="T11" fmla="*/ 2147483647 h 34"/>
                <a:gd name="T12" fmla="*/ 2147483647 w 42"/>
                <a:gd name="T13" fmla="*/ 2147483647 h 34"/>
                <a:gd name="T14" fmla="*/ 2147483647 w 42"/>
                <a:gd name="T15" fmla="*/ 2147483647 h 34"/>
                <a:gd name="T16" fmla="*/ 2147483647 w 42"/>
                <a:gd name="T17" fmla="*/ 2147483647 h 34"/>
                <a:gd name="T18" fmla="*/ 2147483647 w 42"/>
                <a:gd name="T19" fmla="*/ 2147483647 h 34"/>
                <a:gd name="T20" fmla="*/ 2147483647 w 42"/>
                <a:gd name="T21" fmla="*/ 2147483647 h 34"/>
                <a:gd name="T22" fmla="*/ 2147483647 w 42"/>
                <a:gd name="T23" fmla="*/ 2147483647 h 34"/>
                <a:gd name="T24" fmla="*/ 2147483647 w 42"/>
                <a:gd name="T25" fmla="*/ 2147483647 h 34"/>
                <a:gd name="T26" fmla="*/ 2147483647 w 42"/>
                <a:gd name="T27" fmla="*/ 2147483647 h 34"/>
                <a:gd name="T28" fmla="*/ 2147483647 w 42"/>
                <a:gd name="T29" fmla="*/ 2147483647 h 34"/>
                <a:gd name="T30" fmla="*/ 2147483647 w 42"/>
                <a:gd name="T31" fmla="*/ 2147483647 h 34"/>
                <a:gd name="T32" fmla="*/ 2147483647 w 42"/>
                <a:gd name="T33" fmla="*/ 2147483647 h 34"/>
                <a:gd name="T34" fmla="*/ 0 w 42"/>
                <a:gd name="T35" fmla="*/ 2147483647 h 34"/>
                <a:gd name="T36" fmla="*/ 0 w 42"/>
                <a:gd name="T37" fmla="*/ 2147483647 h 34"/>
                <a:gd name="T38" fmla="*/ 0 w 42"/>
                <a:gd name="T39" fmla="*/ 2147483647 h 34"/>
                <a:gd name="T40" fmla="*/ 0 w 42"/>
                <a:gd name="T41" fmla="*/ 2147483647 h 34"/>
                <a:gd name="T42" fmla="*/ 0 w 42"/>
                <a:gd name="T43" fmla="*/ 2147483647 h 34"/>
                <a:gd name="T44" fmla="*/ 2147483647 w 42"/>
                <a:gd name="T45" fmla="*/ 2147483647 h 34"/>
                <a:gd name="T46" fmla="*/ 2147483647 w 42"/>
                <a:gd name="T47" fmla="*/ 2147483647 h 34"/>
                <a:gd name="T48" fmla="*/ 2147483647 w 42"/>
                <a:gd name="T49" fmla="*/ 2147483647 h 34"/>
                <a:gd name="T50" fmla="*/ 2147483647 w 42"/>
                <a:gd name="T51" fmla="*/ 2147483647 h 34"/>
                <a:gd name="T52" fmla="*/ 2147483647 w 42"/>
                <a:gd name="T53" fmla="*/ 2147483647 h 34"/>
                <a:gd name="T54" fmla="*/ 2147483647 w 42"/>
                <a:gd name="T55" fmla="*/ 2147483647 h 34"/>
                <a:gd name="T56" fmla="*/ 2147483647 w 42"/>
                <a:gd name="T57" fmla="*/ 2147483647 h 34"/>
                <a:gd name="T58" fmla="*/ 2147483647 w 42"/>
                <a:gd name="T59" fmla="*/ 2147483647 h 34"/>
                <a:gd name="T60" fmla="*/ 2147483647 w 42"/>
                <a:gd name="T61" fmla="*/ 2147483647 h 34"/>
                <a:gd name="T62" fmla="*/ 2147483647 w 42"/>
                <a:gd name="T63" fmla="*/ 2147483647 h 34"/>
                <a:gd name="T64" fmla="*/ 2147483647 w 42"/>
                <a:gd name="T65" fmla="*/ 2147483647 h 34"/>
                <a:gd name="T66" fmla="*/ 2147483647 w 42"/>
                <a:gd name="T67" fmla="*/ 2147483647 h 34"/>
                <a:gd name="T68" fmla="*/ 2147483647 w 42"/>
                <a:gd name="T69" fmla="*/ 2147483647 h 34"/>
                <a:gd name="T70" fmla="*/ 2147483647 w 42"/>
                <a:gd name="T71" fmla="*/ 2147483647 h 34"/>
                <a:gd name="T72" fmla="*/ 2147483647 w 42"/>
                <a:gd name="T73" fmla="*/ 2147483647 h 34"/>
                <a:gd name="T74" fmla="*/ 2147483647 w 42"/>
                <a:gd name="T75" fmla="*/ 2147483647 h 34"/>
                <a:gd name="T76" fmla="*/ 2147483647 w 42"/>
                <a:gd name="T77" fmla="*/ 2147483647 h 34"/>
                <a:gd name="T78" fmla="*/ 2147483647 w 42"/>
                <a:gd name="T79" fmla="*/ 2147483647 h 34"/>
                <a:gd name="T80" fmla="*/ 2147483647 w 42"/>
                <a:gd name="T81" fmla="*/ 2147483647 h 34"/>
                <a:gd name="T82" fmla="*/ 2147483647 w 42"/>
                <a:gd name="T83" fmla="*/ 2147483647 h 34"/>
                <a:gd name="T84" fmla="*/ 2147483647 w 42"/>
                <a:gd name="T85" fmla="*/ 2147483647 h 34"/>
                <a:gd name="T86" fmla="*/ 2147483647 w 42"/>
                <a:gd name="T87" fmla="*/ 2147483647 h 34"/>
                <a:gd name="T88" fmla="*/ 2147483647 w 42"/>
                <a:gd name="T89" fmla="*/ 2147483647 h 34"/>
                <a:gd name="T90" fmla="*/ 2147483647 w 42"/>
                <a:gd name="T91" fmla="*/ 2147483647 h 34"/>
                <a:gd name="T92" fmla="*/ 2147483647 w 42"/>
                <a:gd name="T93" fmla="*/ 2147483647 h 34"/>
                <a:gd name="T94" fmla="*/ 2147483647 w 42"/>
                <a:gd name="T95" fmla="*/ 2147483647 h 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
                <a:gd name="T145" fmla="*/ 0 h 34"/>
                <a:gd name="T146" fmla="*/ 42 w 42"/>
                <a:gd name="T147" fmla="*/ 34 h 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 h="34">
                  <a:moveTo>
                    <a:pt x="41" y="2"/>
                  </a:moveTo>
                  <a:lnTo>
                    <a:pt x="41" y="2"/>
                  </a:lnTo>
                  <a:lnTo>
                    <a:pt x="37" y="0"/>
                  </a:lnTo>
                  <a:lnTo>
                    <a:pt x="32" y="0"/>
                  </a:lnTo>
                  <a:lnTo>
                    <a:pt x="28" y="2"/>
                  </a:lnTo>
                  <a:lnTo>
                    <a:pt x="24" y="6"/>
                  </a:lnTo>
                  <a:lnTo>
                    <a:pt x="23" y="7"/>
                  </a:lnTo>
                  <a:lnTo>
                    <a:pt x="20" y="8"/>
                  </a:lnTo>
                  <a:lnTo>
                    <a:pt x="17" y="8"/>
                  </a:lnTo>
                  <a:lnTo>
                    <a:pt x="14" y="8"/>
                  </a:lnTo>
                  <a:lnTo>
                    <a:pt x="13" y="8"/>
                  </a:lnTo>
                  <a:lnTo>
                    <a:pt x="10" y="13"/>
                  </a:lnTo>
                  <a:lnTo>
                    <a:pt x="8" y="16"/>
                  </a:lnTo>
                  <a:lnTo>
                    <a:pt x="4" y="17"/>
                  </a:lnTo>
                  <a:lnTo>
                    <a:pt x="0" y="17"/>
                  </a:lnTo>
                  <a:lnTo>
                    <a:pt x="0" y="18"/>
                  </a:lnTo>
                  <a:lnTo>
                    <a:pt x="0" y="20"/>
                  </a:lnTo>
                  <a:lnTo>
                    <a:pt x="3" y="21"/>
                  </a:lnTo>
                  <a:lnTo>
                    <a:pt x="4" y="23"/>
                  </a:lnTo>
                  <a:lnTo>
                    <a:pt x="6" y="26"/>
                  </a:lnTo>
                  <a:lnTo>
                    <a:pt x="8" y="31"/>
                  </a:lnTo>
                  <a:lnTo>
                    <a:pt x="10" y="33"/>
                  </a:lnTo>
                  <a:lnTo>
                    <a:pt x="11" y="34"/>
                  </a:lnTo>
                  <a:lnTo>
                    <a:pt x="13" y="34"/>
                  </a:lnTo>
                  <a:lnTo>
                    <a:pt x="14" y="32"/>
                  </a:lnTo>
                  <a:lnTo>
                    <a:pt x="18" y="26"/>
                  </a:lnTo>
                  <a:lnTo>
                    <a:pt x="20" y="23"/>
                  </a:lnTo>
                  <a:lnTo>
                    <a:pt x="24" y="21"/>
                  </a:lnTo>
                  <a:lnTo>
                    <a:pt x="29" y="21"/>
                  </a:lnTo>
                  <a:lnTo>
                    <a:pt x="33" y="23"/>
                  </a:lnTo>
                  <a:lnTo>
                    <a:pt x="34" y="21"/>
                  </a:lnTo>
                  <a:lnTo>
                    <a:pt x="36" y="20"/>
                  </a:lnTo>
                  <a:lnTo>
                    <a:pt x="37" y="13"/>
                  </a:lnTo>
                  <a:lnTo>
                    <a:pt x="38" y="11"/>
                  </a:lnTo>
                  <a:lnTo>
                    <a:pt x="41" y="7"/>
                  </a:lnTo>
                  <a:lnTo>
                    <a:pt x="42" y="5"/>
                  </a:lnTo>
                  <a:lnTo>
                    <a:pt x="41"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 name="Freeform 62"/>
            <p:cNvSpPr>
              <a:spLocks/>
            </p:cNvSpPr>
            <p:nvPr/>
          </p:nvSpPr>
          <p:spPr bwMode="auto">
            <a:xfrm>
              <a:off x="7639051" y="3054350"/>
              <a:ext cx="279400" cy="273050"/>
            </a:xfrm>
            <a:custGeom>
              <a:avLst/>
              <a:gdLst>
                <a:gd name="T0" fmla="*/ 2147483647 w 191"/>
                <a:gd name="T1" fmla="*/ 2147483647 h 172"/>
                <a:gd name="T2" fmla="*/ 2147483647 w 191"/>
                <a:gd name="T3" fmla="*/ 2147483647 h 172"/>
                <a:gd name="T4" fmla="*/ 2147483647 w 191"/>
                <a:gd name="T5" fmla="*/ 2147483647 h 172"/>
                <a:gd name="T6" fmla="*/ 2147483647 w 191"/>
                <a:gd name="T7" fmla="*/ 2147483647 h 172"/>
                <a:gd name="T8" fmla="*/ 2147483647 w 191"/>
                <a:gd name="T9" fmla="*/ 2147483647 h 172"/>
                <a:gd name="T10" fmla="*/ 2147483647 w 191"/>
                <a:gd name="T11" fmla="*/ 2147483647 h 172"/>
                <a:gd name="T12" fmla="*/ 2147483647 w 191"/>
                <a:gd name="T13" fmla="*/ 2147483647 h 172"/>
                <a:gd name="T14" fmla="*/ 2147483647 w 191"/>
                <a:gd name="T15" fmla="*/ 2147483647 h 172"/>
                <a:gd name="T16" fmla="*/ 2147483647 w 191"/>
                <a:gd name="T17" fmla="*/ 2147483647 h 172"/>
                <a:gd name="T18" fmla="*/ 2147483647 w 191"/>
                <a:gd name="T19" fmla="*/ 2147483647 h 172"/>
                <a:gd name="T20" fmla="*/ 2147483647 w 191"/>
                <a:gd name="T21" fmla="*/ 2147483647 h 172"/>
                <a:gd name="T22" fmla="*/ 2147483647 w 191"/>
                <a:gd name="T23" fmla="*/ 2147483647 h 172"/>
                <a:gd name="T24" fmla="*/ 2147483647 w 191"/>
                <a:gd name="T25" fmla="*/ 2147483647 h 172"/>
                <a:gd name="T26" fmla="*/ 2147483647 w 191"/>
                <a:gd name="T27" fmla="*/ 2147483647 h 172"/>
                <a:gd name="T28" fmla="*/ 2147483647 w 191"/>
                <a:gd name="T29" fmla="*/ 2147483647 h 172"/>
                <a:gd name="T30" fmla="*/ 2147483647 w 191"/>
                <a:gd name="T31" fmla="*/ 2147483647 h 172"/>
                <a:gd name="T32" fmla="*/ 2147483647 w 191"/>
                <a:gd name="T33" fmla="*/ 2147483647 h 172"/>
                <a:gd name="T34" fmla="*/ 2147483647 w 191"/>
                <a:gd name="T35" fmla="*/ 2147483647 h 172"/>
                <a:gd name="T36" fmla="*/ 2147483647 w 191"/>
                <a:gd name="T37" fmla="*/ 2147483647 h 172"/>
                <a:gd name="T38" fmla="*/ 2147483647 w 191"/>
                <a:gd name="T39" fmla="*/ 2147483647 h 172"/>
                <a:gd name="T40" fmla="*/ 2147483647 w 191"/>
                <a:gd name="T41" fmla="*/ 2147483647 h 172"/>
                <a:gd name="T42" fmla="*/ 2147483647 w 191"/>
                <a:gd name="T43" fmla="*/ 2147483647 h 172"/>
                <a:gd name="T44" fmla="*/ 2147483647 w 191"/>
                <a:gd name="T45" fmla="*/ 2147483647 h 172"/>
                <a:gd name="T46" fmla="*/ 0 w 191"/>
                <a:gd name="T47" fmla="*/ 2147483647 h 172"/>
                <a:gd name="T48" fmla="*/ 2147483647 w 191"/>
                <a:gd name="T49" fmla="*/ 2147483647 h 172"/>
                <a:gd name="T50" fmla="*/ 2147483647 w 191"/>
                <a:gd name="T51" fmla="*/ 2147483647 h 172"/>
                <a:gd name="T52" fmla="*/ 2147483647 w 191"/>
                <a:gd name="T53" fmla="*/ 2147483647 h 172"/>
                <a:gd name="T54" fmla="*/ 2147483647 w 191"/>
                <a:gd name="T55" fmla="*/ 2147483647 h 172"/>
                <a:gd name="T56" fmla="*/ 2147483647 w 191"/>
                <a:gd name="T57" fmla="*/ 2147483647 h 172"/>
                <a:gd name="T58" fmla="*/ 2147483647 w 191"/>
                <a:gd name="T59" fmla="*/ 2147483647 h 172"/>
                <a:gd name="T60" fmla="*/ 2147483647 w 191"/>
                <a:gd name="T61" fmla="*/ 2147483647 h 172"/>
                <a:gd name="T62" fmla="*/ 2147483647 w 191"/>
                <a:gd name="T63" fmla="*/ 2147483647 h 172"/>
                <a:gd name="T64" fmla="*/ 2147483647 w 191"/>
                <a:gd name="T65" fmla="*/ 2147483647 h 172"/>
                <a:gd name="T66" fmla="*/ 2147483647 w 191"/>
                <a:gd name="T67" fmla="*/ 2147483647 h 172"/>
                <a:gd name="T68" fmla="*/ 2147483647 w 191"/>
                <a:gd name="T69" fmla="*/ 2147483647 h 172"/>
                <a:gd name="T70" fmla="*/ 2147483647 w 191"/>
                <a:gd name="T71" fmla="*/ 2147483647 h 172"/>
                <a:gd name="T72" fmla="*/ 2147483647 w 191"/>
                <a:gd name="T73" fmla="*/ 2147483647 h 172"/>
                <a:gd name="T74" fmla="*/ 2147483647 w 191"/>
                <a:gd name="T75" fmla="*/ 2147483647 h 172"/>
                <a:gd name="T76" fmla="*/ 2147483647 w 191"/>
                <a:gd name="T77" fmla="*/ 2147483647 h 172"/>
                <a:gd name="T78" fmla="*/ 2147483647 w 191"/>
                <a:gd name="T79" fmla="*/ 2147483647 h 172"/>
                <a:gd name="T80" fmla="*/ 2147483647 w 191"/>
                <a:gd name="T81" fmla="*/ 2147483647 h 172"/>
                <a:gd name="T82" fmla="*/ 2147483647 w 191"/>
                <a:gd name="T83" fmla="*/ 2147483647 h 172"/>
                <a:gd name="T84" fmla="*/ 2147483647 w 191"/>
                <a:gd name="T85" fmla="*/ 2147483647 h 172"/>
                <a:gd name="T86" fmla="*/ 2147483647 w 191"/>
                <a:gd name="T87" fmla="*/ 2147483647 h 172"/>
                <a:gd name="T88" fmla="*/ 2147483647 w 191"/>
                <a:gd name="T89" fmla="*/ 2147483647 h 172"/>
                <a:gd name="T90" fmla="*/ 2147483647 w 191"/>
                <a:gd name="T91" fmla="*/ 2147483647 h 172"/>
                <a:gd name="T92" fmla="*/ 2147483647 w 191"/>
                <a:gd name="T93" fmla="*/ 2147483647 h 172"/>
                <a:gd name="T94" fmla="*/ 2147483647 w 191"/>
                <a:gd name="T95" fmla="*/ 2147483647 h 172"/>
                <a:gd name="T96" fmla="*/ 2147483647 w 191"/>
                <a:gd name="T97" fmla="*/ 2147483647 h 172"/>
                <a:gd name="T98" fmla="*/ 2147483647 w 191"/>
                <a:gd name="T99" fmla="*/ 2147483647 h 172"/>
                <a:gd name="T100" fmla="*/ 2147483647 w 191"/>
                <a:gd name="T101" fmla="*/ 2147483647 h 172"/>
                <a:gd name="T102" fmla="*/ 2147483647 w 191"/>
                <a:gd name="T103" fmla="*/ 2147483647 h 172"/>
                <a:gd name="T104" fmla="*/ 2147483647 w 191"/>
                <a:gd name="T105" fmla="*/ 2147483647 h 172"/>
                <a:gd name="T106" fmla="*/ 2147483647 w 191"/>
                <a:gd name="T107" fmla="*/ 2147483647 h 172"/>
                <a:gd name="T108" fmla="*/ 2147483647 w 191"/>
                <a:gd name="T109" fmla="*/ 2147483647 h 172"/>
                <a:gd name="T110" fmla="*/ 2147483647 w 191"/>
                <a:gd name="T111" fmla="*/ 2147483647 h 172"/>
                <a:gd name="T112" fmla="*/ 2147483647 w 191"/>
                <a:gd name="T113" fmla="*/ 2147483647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
                <a:gd name="T172" fmla="*/ 0 h 172"/>
                <a:gd name="T173" fmla="*/ 191 w 191"/>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 h="172">
                  <a:moveTo>
                    <a:pt x="186" y="5"/>
                  </a:moveTo>
                  <a:lnTo>
                    <a:pt x="185" y="3"/>
                  </a:lnTo>
                  <a:lnTo>
                    <a:pt x="183" y="1"/>
                  </a:lnTo>
                  <a:lnTo>
                    <a:pt x="179" y="0"/>
                  </a:lnTo>
                  <a:lnTo>
                    <a:pt x="176" y="0"/>
                  </a:lnTo>
                  <a:lnTo>
                    <a:pt x="174" y="3"/>
                  </a:lnTo>
                  <a:lnTo>
                    <a:pt x="174" y="5"/>
                  </a:lnTo>
                  <a:lnTo>
                    <a:pt x="175" y="7"/>
                  </a:lnTo>
                  <a:lnTo>
                    <a:pt x="175" y="11"/>
                  </a:lnTo>
                  <a:lnTo>
                    <a:pt x="174" y="12"/>
                  </a:lnTo>
                  <a:lnTo>
                    <a:pt x="172" y="12"/>
                  </a:lnTo>
                  <a:lnTo>
                    <a:pt x="171" y="11"/>
                  </a:lnTo>
                  <a:lnTo>
                    <a:pt x="170" y="10"/>
                  </a:lnTo>
                  <a:lnTo>
                    <a:pt x="169" y="6"/>
                  </a:lnTo>
                  <a:lnTo>
                    <a:pt x="166" y="5"/>
                  </a:lnTo>
                  <a:lnTo>
                    <a:pt x="165" y="5"/>
                  </a:lnTo>
                  <a:lnTo>
                    <a:pt x="161" y="7"/>
                  </a:lnTo>
                  <a:lnTo>
                    <a:pt x="158" y="11"/>
                  </a:lnTo>
                  <a:lnTo>
                    <a:pt x="157" y="14"/>
                  </a:lnTo>
                  <a:lnTo>
                    <a:pt x="155" y="23"/>
                  </a:lnTo>
                  <a:lnTo>
                    <a:pt x="155" y="31"/>
                  </a:lnTo>
                  <a:lnTo>
                    <a:pt x="152" y="49"/>
                  </a:lnTo>
                  <a:lnTo>
                    <a:pt x="151" y="57"/>
                  </a:lnTo>
                  <a:lnTo>
                    <a:pt x="148" y="64"/>
                  </a:lnTo>
                  <a:lnTo>
                    <a:pt x="143" y="71"/>
                  </a:lnTo>
                  <a:lnTo>
                    <a:pt x="136" y="78"/>
                  </a:lnTo>
                  <a:lnTo>
                    <a:pt x="132" y="81"/>
                  </a:lnTo>
                  <a:lnTo>
                    <a:pt x="129" y="84"/>
                  </a:lnTo>
                  <a:lnTo>
                    <a:pt x="122" y="93"/>
                  </a:lnTo>
                  <a:lnTo>
                    <a:pt x="119" y="96"/>
                  </a:lnTo>
                  <a:lnTo>
                    <a:pt x="115" y="99"/>
                  </a:lnTo>
                  <a:lnTo>
                    <a:pt x="110" y="100"/>
                  </a:lnTo>
                  <a:lnTo>
                    <a:pt x="106" y="100"/>
                  </a:lnTo>
                  <a:lnTo>
                    <a:pt x="105" y="99"/>
                  </a:lnTo>
                  <a:lnTo>
                    <a:pt x="105" y="97"/>
                  </a:lnTo>
                  <a:lnTo>
                    <a:pt x="106" y="94"/>
                  </a:lnTo>
                  <a:lnTo>
                    <a:pt x="109" y="88"/>
                  </a:lnTo>
                  <a:lnTo>
                    <a:pt x="109" y="87"/>
                  </a:lnTo>
                  <a:lnTo>
                    <a:pt x="108" y="84"/>
                  </a:lnTo>
                  <a:lnTo>
                    <a:pt x="105" y="83"/>
                  </a:lnTo>
                  <a:lnTo>
                    <a:pt x="103" y="84"/>
                  </a:lnTo>
                  <a:lnTo>
                    <a:pt x="99" y="87"/>
                  </a:lnTo>
                  <a:lnTo>
                    <a:pt x="96" y="89"/>
                  </a:lnTo>
                  <a:lnTo>
                    <a:pt x="95" y="93"/>
                  </a:lnTo>
                  <a:lnTo>
                    <a:pt x="95" y="96"/>
                  </a:lnTo>
                  <a:lnTo>
                    <a:pt x="96" y="100"/>
                  </a:lnTo>
                  <a:lnTo>
                    <a:pt x="95" y="103"/>
                  </a:lnTo>
                  <a:lnTo>
                    <a:pt x="95" y="106"/>
                  </a:lnTo>
                  <a:lnTo>
                    <a:pt x="94" y="108"/>
                  </a:lnTo>
                  <a:lnTo>
                    <a:pt x="91" y="110"/>
                  </a:lnTo>
                  <a:lnTo>
                    <a:pt x="89" y="114"/>
                  </a:lnTo>
                  <a:lnTo>
                    <a:pt x="86" y="120"/>
                  </a:lnTo>
                  <a:lnTo>
                    <a:pt x="84" y="122"/>
                  </a:lnTo>
                  <a:lnTo>
                    <a:pt x="80" y="123"/>
                  </a:lnTo>
                  <a:lnTo>
                    <a:pt x="76" y="123"/>
                  </a:lnTo>
                  <a:lnTo>
                    <a:pt x="72" y="122"/>
                  </a:lnTo>
                  <a:lnTo>
                    <a:pt x="73" y="120"/>
                  </a:lnTo>
                  <a:lnTo>
                    <a:pt x="71" y="119"/>
                  </a:lnTo>
                  <a:lnTo>
                    <a:pt x="68" y="120"/>
                  </a:lnTo>
                  <a:lnTo>
                    <a:pt x="63" y="122"/>
                  </a:lnTo>
                  <a:lnTo>
                    <a:pt x="57" y="125"/>
                  </a:lnTo>
                  <a:lnTo>
                    <a:pt x="50" y="126"/>
                  </a:lnTo>
                  <a:lnTo>
                    <a:pt x="44" y="125"/>
                  </a:lnTo>
                  <a:lnTo>
                    <a:pt x="40" y="125"/>
                  </a:lnTo>
                  <a:lnTo>
                    <a:pt x="35" y="125"/>
                  </a:lnTo>
                  <a:lnTo>
                    <a:pt x="31" y="127"/>
                  </a:lnTo>
                  <a:lnTo>
                    <a:pt x="28" y="128"/>
                  </a:lnTo>
                  <a:lnTo>
                    <a:pt x="21" y="134"/>
                  </a:lnTo>
                  <a:lnTo>
                    <a:pt x="16" y="140"/>
                  </a:lnTo>
                  <a:lnTo>
                    <a:pt x="9" y="146"/>
                  </a:lnTo>
                  <a:lnTo>
                    <a:pt x="0" y="152"/>
                  </a:lnTo>
                  <a:lnTo>
                    <a:pt x="0" y="154"/>
                  </a:lnTo>
                  <a:lnTo>
                    <a:pt x="0" y="157"/>
                  </a:lnTo>
                  <a:lnTo>
                    <a:pt x="11" y="159"/>
                  </a:lnTo>
                  <a:lnTo>
                    <a:pt x="21" y="163"/>
                  </a:lnTo>
                  <a:lnTo>
                    <a:pt x="23" y="161"/>
                  </a:lnTo>
                  <a:lnTo>
                    <a:pt x="25" y="153"/>
                  </a:lnTo>
                  <a:lnTo>
                    <a:pt x="28" y="151"/>
                  </a:lnTo>
                  <a:lnTo>
                    <a:pt x="29" y="150"/>
                  </a:lnTo>
                  <a:lnTo>
                    <a:pt x="31" y="150"/>
                  </a:lnTo>
                  <a:lnTo>
                    <a:pt x="35" y="150"/>
                  </a:lnTo>
                  <a:lnTo>
                    <a:pt x="37" y="151"/>
                  </a:lnTo>
                  <a:lnTo>
                    <a:pt x="38" y="150"/>
                  </a:lnTo>
                  <a:lnTo>
                    <a:pt x="43" y="147"/>
                  </a:lnTo>
                  <a:lnTo>
                    <a:pt x="48" y="145"/>
                  </a:lnTo>
                  <a:lnTo>
                    <a:pt x="57" y="144"/>
                  </a:lnTo>
                  <a:lnTo>
                    <a:pt x="67" y="144"/>
                  </a:lnTo>
                  <a:lnTo>
                    <a:pt x="77" y="145"/>
                  </a:lnTo>
                  <a:lnTo>
                    <a:pt x="80" y="146"/>
                  </a:lnTo>
                  <a:lnTo>
                    <a:pt x="80" y="147"/>
                  </a:lnTo>
                  <a:lnTo>
                    <a:pt x="80" y="148"/>
                  </a:lnTo>
                  <a:lnTo>
                    <a:pt x="75" y="153"/>
                  </a:lnTo>
                  <a:lnTo>
                    <a:pt x="73" y="158"/>
                  </a:lnTo>
                  <a:lnTo>
                    <a:pt x="73" y="164"/>
                  </a:lnTo>
                  <a:lnTo>
                    <a:pt x="76" y="169"/>
                  </a:lnTo>
                  <a:lnTo>
                    <a:pt x="77" y="170"/>
                  </a:lnTo>
                  <a:lnTo>
                    <a:pt x="78" y="171"/>
                  </a:lnTo>
                  <a:lnTo>
                    <a:pt x="81" y="172"/>
                  </a:lnTo>
                  <a:lnTo>
                    <a:pt x="84" y="171"/>
                  </a:lnTo>
                  <a:lnTo>
                    <a:pt x="87" y="169"/>
                  </a:lnTo>
                  <a:lnTo>
                    <a:pt x="92" y="165"/>
                  </a:lnTo>
                  <a:lnTo>
                    <a:pt x="96" y="163"/>
                  </a:lnTo>
                  <a:lnTo>
                    <a:pt x="103" y="160"/>
                  </a:lnTo>
                  <a:lnTo>
                    <a:pt x="104" y="160"/>
                  </a:lnTo>
                  <a:lnTo>
                    <a:pt x="104" y="158"/>
                  </a:lnTo>
                  <a:lnTo>
                    <a:pt x="104" y="155"/>
                  </a:lnTo>
                  <a:lnTo>
                    <a:pt x="103" y="153"/>
                  </a:lnTo>
                  <a:lnTo>
                    <a:pt x="99" y="150"/>
                  </a:lnTo>
                  <a:lnTo>
                    <a:pt x="96" y="147"/>
                  </a:lnTo>
                  <a:lnTo>
                    <a:pt x="96" y="145"/>
                  </a:lnTo>
                  <a:lnTo>
                    <a:pt x="96" y="139"/>
                  </a:lnTo>
                  <a:lnTo>
                    <a:pt x="99" y="136"/>
                  </a:lnTo>
                  <a:lnTo>
                    <a:pt x="100" y="135"/>
                  </a:lnTo>
                  <a:lnTo>
                    <a:pt x="101" y="136"/>
                  </a:lnTo>
                  <a:lnTo>
                    <a:pt x="104" y="144"/>
                  </a:lnTo>
                  <a:lnTo>
                    <a:pt x="105" y="145"/>
                  </a:lnTo>
                  <a:lnTo>
                    <a:pt x="106" y="145"/>
                  </a:lnTo>
                  <a:lnTo>
                    <a:pt x="110" y="144"/>
                  </a:lnTo>
                  <a:lnTo>
                    <a:pt x="113" y="147"/>
                  </a:lnTo>
                  <a:lnTo>
                    <a:pt x="114" y="150"/>
                  </a:lnTo>
                  <a:lnTo>
                    <a:pt x="117" y="148"/>
                  </a:lnTo>
                  <a:lnTo>
                    <a:pt x="125" y="146"/>
                  </a:lnTo>
                  <a:lnTo>
                    <a:pt x="134" y="144"/>
                  </a:lnTo>
                  <a:lnTo>
                    <a:pt x="137" y="142"/>
                  </a:lnTo>
                  <a:lnTo>
                    <a:pt x="137" y="139"/>
                  </a:lnTo>
                  <a:lnTo>
                    <a:pt x="138" y="139"/>
                  </a:lnTo>
                  <a:lnTo>
                    <a:pt x="139" y="139"/>
                  </a:lnTo>
                  <a:lnTo>
                    <a:pt x="141" y="140"/>
                  </a:lnTo>
                  <a:lnTo>
                    <a:pt x="141" y="142"/>
                  </a:lnTo>
                  <a:lnTo>
                    <a:pt x="141" y="144"/>
                  </a:lnTo>
                  <a:lnTo>
                    <a:pt x="143" y="145"/>
                  </a:lnTo>
                  <a:lnTo>
                    <a:pt x="144" y="142"/>
                  </a:lnTo>
                  <a:lnTo>
                    <a:pt x="146" y="139"/>
                  </a:lnTo>
                  <a:lnTo>
                    <a:pt x="146" y="140"/>
                  </a:lnTo>
                  <a:lnTo>
                    <a:pt x="146" y="136"/>
                  </a:lnTo>
                  <a:lnTo>
                    <a:pt x="147" y="134"/>
                  </a:lnTo>
                  <a:lnTo>
                    <a:pt x="151" y="128"/>
                  </a:lnTo>
                  <a:lnTo>
                    <a:pt x="152" y="126"/>
                  </a:lnTo>
                  <a:lnTo>
                    <a:pt x="155" y="125"/>
                  </a:lnTo>
                  <a:lnTo>
                    <a:pt x="157" y="126"/>
                  </a:lnTo>
                  <a:lnTo>
                    <a:pt x="158" y="128"/>
                  </a:lnTo>
                  <a:lnTo>
                    <a:pt x="158" y="135"/>
                  </a:lnTo>
                  <a:lnTo>
                    <a:pt x="160" y="139"/>
                  </a:lnTo>
                  <a:lnTo>
                    <a:pt x="161" y="140"/>
                  </a:lnTo>
                  <a:lnTo>
                    <a:pt x="164" y="141"/>
                  </a:lnTo>
                  <a:lnTo>
                    <a:pt x="166" y="140"/>
                  </a:lnTo>
                  <a:lnTo>
                    <a:pt x="169" y="138"/>
                  </a:lnTo>
                  <a:lnTo>
                    <a:pt x="174" y="131"/>
                  </a:lnTo>
                  <a:lnTo>
                    <a:pt x="175" y="128"/>
                  </a:lnTo>
                  <a:lnTo>
                    <a:pt x="175" y="126"/>
                  </a:lnTo>
                  <a:lnTo>
                    <a:pt x="174" y="121"/>
                  </a:lnTo>
                  <a:lnTo>
                    <a:pt x="171" y="116"/>
                  </a:lnTo>
                  <a:lnTo>
                    <a:pt x="170" y="112"/>
                  </a:lnTo>
                  <a:lnTo>
                    <a:pt x="171" y="107"/>
                  </a:lnTo>
                  <a:lnTo>
                    <a:pt x="174" y="103"/>
                  </a:lnTo>
                  <a:lnTo>
                    <a:pt x="175" y="100"/>
                  </a:lnTo>
                  <a:lnTo>
                    <a:pt x="176" y="96"/>
                  </a:lnTo>
                  <a:lnTo>
                    <a:pt x="177" y="91"/>
                  </a:lnTo>
                  <a:lnTo>
                    <a:pt x="176" y="87"/>
                  </a:lnTo>
                  <a:lnTo>
                    <a:pt x="176" y="81"/>
                  </a:lnTo>
                  <a:lnTo>
                    <a:pt x="177" y="76"/>
                  </a:lnTo>
                  <a:lnTo>
                    <a:pt x="177" y="72"/>
                  </a:lnTo>
                  <a:lnTo>
                    <a:pt x="179" y="71"/>
                  </a:lnTo>
                  <a:lnTo>
                    <a:pt x="186" y="64"/>
                  </a:lnTo>
                  <a:lnTo>
                    <a:pt x="190" y="57"/>
                  </a:lnTo>
                  <a:lnTo>
                    <a:pt x="191" y="49"/>
                  </a:lnTo>
                  <a:lnTo>
                    <a:pt x="191" y="40"/>
                  </a:lnTo>
                  <a:lnTo>
                    <a:pt x="190" y="40"/>
                  </a:lnTo>
                  <a:lnTo>
                    <a:pt x="190" y="32"/>
                  </a:lnTo>
                  <a:lnTo>
                    <a:pt x="189" y="23"/>
                  </a:lnTo>
                  <a:lnTo>
                    <a:pt x="188" y="14"/>
                  </a:lnTo>
                  <a:lnTo>
                    <a:pt x="18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 name="Freeform 63"/>
            <p:cNvSpPr>
              <a:spLocks/>
            </p:cNvSpPr>
            <p:nvPr/>
          </p:nvSpPr>
          <p:spPr bwMode="auto">
            <a:xfrm>
              <a:off x="7820025" y="3155950"/>
              <a:ext cx="12700" cy="12700"/>
            </a:xfrm>
            <a:custGeom>
              <a:avLst/>
              <a:gdLst>
                <a:gd name="T0" fmla="*/ 2147483647 w 9"/>
                <a:gd name="T1" fmla="*/ 2147483647 h 8"/>
                <a:gd name="T2" fmla="*/ 2147483647 w 9"/>
                <a:gd name="T3" fmla="*/ 2147483647 h 8"/>
                <a:gd name="T4" fmla="*/ 2147483647 w 9"/>
                <a:gd name="T5" fmla="*/ 0 h 8"/>
                <a:gd name="T6" fmla="*/ 2147483647 w 9"/>
                <a:gd name="T7" fmla="*/ 0 h 8"/>
                <a:gd name="T8" fmla="*/ 2147483647 w 9"/>
                <a:gd name="T9" fmla="*/ 2147483647 h 8"/>
                <a:gd name="T10" fmla="*/ 0 w 9"/>
                <a:gd name="T11" fmla="*/ 2147483647 h 8"/>
                <a:gd name="T12" fmla="*/ 2147483647 w 9"/>
                <a:gd name="T13" fmla="*/ 2147483647 h 8"/>
                <a:gd name="T14" fmla="*/ 2147483647 w 9"/>
                <a:gd name="T15" fmla="*/ 2147483647 h 8"/>
                <a:gd name="T16" fmla="*/ 2147483647 w 9"/>
                <a:gd name="T17" fmla="*/ 2147483647 h 8"/>
                <a:gd name="T18" fmla="*/ 2147483647 w 9"/>
                <a:gd name="T19" fmla="*/ 2147483647 h 8"/>
                <a:gd name="T20" fmla="*/ 2147483647 w 9"/>
                <a:gd name="T21" fmla="*/ 2147483647 h 8"/>
                <a:gd name="T22" fmla="*/ 2147483647 w 9"/>
                <a:gd name="T23" fmla="*/ 2147483647 h 8"/>
                <a:gd name="T24" fmla="*/ 2147483647 w 9"/>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8"/>
                <a:gd name="T41" fmla="*/ 9 w 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8">
                  <a:moveTo>
                    <a:pt x="9" y="5"/>
                  </a:moveTo>
                  <a:lnTo>
                    <a:pt x="9" y="3"/>
                  </a:lnTo>
                  <a:lnTo>
                    <a:pt x="6" y="0"/>
                  </a:lnTo>
                  <a:lnTo>
                    <a:pt x="4" y="0"/>
                  </a:lnTo>
                  <a:lnTo>
                    <a:pt x="1" y="1"/>
                  </a:lnTo>
                  <a:lnTo>
                    <a:pt x="0" y="3"/>
                  </a:lnTo>
                  <a:lnTo>
                    <a:pt x="1" y="5"/>
                  </a:lnTo>
                  <a:lnTo>
                    <a:pt x="1" y="6"/>
                  </a:lnTo>
                  <a:lnTo>
                    <a:pt x="2" y="8"/>
                  </a:lnTo>
                  <a:lnTo>
                    <a:pt x="5" y="8"/>
                  </a:lnTo>
                  <a:lnTo>
                    <a:pt x="7" y="8"/>
                  </a:lnTo>
                  <a:lnTo>
                    <a:pt x="9" y="7"/>
                  </a:lnTo>
                  <a:lnTo>
                    <a:pt x="9"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 name="Freeform 64"/>
            <p:cNvSpPr>
              <a:spLocks/>
            </p:cNvSpPr>
            <p:nvPr/>
          </p:nvSpPr>
          <p:spPr bwMode="auto">
            <a:xfrm>
              <a:off x="7635875" y="3052766"/>
              <a:ext cx="280988" cy="273050"/>
            </a:xfrm>
            <a:custGeom>
              <a:avLst/>
              <a:gdLst>
                <a:gd name="T0" fmla="*/ 2147483647 w 192"/>
                <a:gd name="T1" fmla="*/ 2147483647 h 172"/>
                <a:gd name="T2" fmla="*/ 2147483647 w 192"/>
                <a:gd name="T3" fmla="*/ 2147483647 h 172"/>
                <a:gd name="T4" fmla="*/ 2147483647 w 192"/>
                <a:gd name="T5" fmla="*/ 2147483647 h 172"/>
                <a:gd name="T6" fmla="*/ 2147483647 w 192"/>
                <a:gd name="T7" fmla="*/ 2147483647 h 172"/>
                <a:gd name="T8" fmla="*/ 2147483647 w 192"/>
                <a:gd name="T9" fmla="*/ 2147483647 h 172"/>
                <a:gd name="T10" fmla="*/ 2147483647 w 192"/>
                <a:gd name="T11" fmla="*/ 2147483647 h 172"/>
                <a:gd name="T12" fmla="*/ 2147483647 w 192"/>
                <a:gd name="T13" fmla="*/ 2147483647 h 172"/>
                <a:gd name="T14" fmla="*/ 2147483647 w 192"/>
                <a:gd name="T15" fmla="*/ 2147483647 h 172"/>
                <a:gd name="T16" fmla="*/ 2147483647 w 192"/>
                <a:gd name="T17" fmla="*/ 2147483647 h 172"/>
                <a:gd name="T18" fmla="*/ 2147483647 w 192"/>
                <a:gd name="T19" fmla="*/ 2147483647 h 172"/>
                <a:gd name="T20" fmla="*/ 2147483647 w 192"/>
                <a:gd name="T21" fmla="*/ 2147483647 h 172"/>
                <a:gd name="T22" fmla="*/ 2147483647 w 192"/>
                <a:gd name="T23" fmla="*/ 2147483647 h 172"/>
                <a:gd name="T24" fmla="*/ 2147483647 w 192"/>
                <a:gd name="T25" fmla="*/ 2147483647 h 172"/>
                <a:gd name="T26" fmla="*/ 2147483647 w 192"/>
                <a:gd name="T27" fmla="*/ 2147483647 h 172"/>
                <a:gd name="T28" fmla="*/ 2147483647 w 192"/>
                <a:gd name="T29" fmla="*/ 2147483647 h 172"/>
                <a:gd name="T30" fmla="*/ 2147483647 w 192"/>
                <a:gd name="T31" fmla="*/ 2147483647 h 172"/>
                <a:gd name="T32" fmla="*/ 2147483647 w 192"/>
                <a:gd name="T33" fmla="*/ 2147483647 h 172"/>
                <a:gd name="T34" fmla="*/ 2147483647 w 192"/>
                <a:gd name="T35" fmla="*/ 2147483647 h 172"/>
                <a:gd name="T36" fmla="*/ 2147483647 w 192"/>
                <a:gd name="T37" fmla="*/ 2147483647 h 172"/>
                <a:gd name="T38" fmla="*/ 2147483647 w 192"/>
                <a:gd name="T39" fmla="*/ 2147483647 h 172"/>
                <a:gd name="T40" fmla="*/ 2147483647 w 192"/>
                <a:gd name="T41" fmla="*/ 2147483647 h 172"/>
                <a:gd name="T42" fmla="*/ 2147483647 w 192"/>
                <a:gd name="T43" fmla="*/ 2147483647 h 172"/>
                <a:gd name="T44" fmla="*/ 0 w 192"/>
                <a:gd name="T45" fmla="*/ 2147483647 h 172"/>
                <a:gd name="T46" fmla="*/ 2147483647 w 192"/>
                <a:gd name="T47" fmla="*/ 2147483647 h 172"/>
                <a:gd name="T48" fmla="*/ 2147483647 w 192"/>
                <a:gd name="T49" fmla="*/ 2147483647 h 172"/>
                <a:gd name="T50" fmla="*/ 2147483647 w 192"/>
                <a:gd name="T51" fmla="*/ 2147483647 h 172"/>
                <a:gd name="T52" fmla="*/ 2147483647 w 192"/>
                <a:gd name="T53" fmla="*/ 2147483647 h 172"/>
                <a:gd name="T54" fmla="*/ 2147483647 w 192"/>
                <a:gd name="T55" fmla="*/ 2147483647 h 172"/>
                <a:gd name="T56" fmla="*/ 2147483647 w 192"/>
                <a:gd name="T57" fmla="*/ 2147483647 h 172"/>
                <a:gd name="T58" fmla="*/ 2147483647 w 192"/>
                <a:gd name="T59" fmla="*/ 2147483647 h 172"/>
                <a:gd name="T60" fmla="*/ 2147483647 w 192"/>
                <a:gd name="T61" fmla="*/ 2147483647 h 172"/>
                <a:gd name="T62" fmla="*/ 2147483647 w 192"/>
                <a:gd name="T63" fmla="*/ 2147483647 h 172"/>
                <a:gd name="T64" fmla="*/ 2147483647 w 192"/>
                <a:gd name="T65" fmla="*/ 2147483647 h 172"/>
                <a:gd name="T66" fmla="*/ 2147483647 w 192"/>
                <a:gd name="T67" fmla="*/ 2147483647 h 172"/>
                <a:gd name="T68" fmla="*/ 2147483647 w 192"/>
                <a:gd name="T69" fmla="*/ 2147483647 h 172"/>
                <a:gd name="T70" fmla="*/ 2147483647 w 192"/>
                <a:gd name="T71" fmla="*/ 2147483647 h 172"/>
                <a:gd name="T72" fmla="*/ 2147483647 w 192"/>
                <a:gd name="T73" fmla="*/ 2147483647 h 172"/>
                <a:gd name="T74" fmla="*/ 2147483647 w 192"/>
                <a:gd name="T75" fmla="*/ 2147483647 h 172"/>
                <a:gd name="T76" fmla="*/ 2147483647 w 192"/>
                <a:gd name="T77" fmla="*/ 2147483647 h 172"/>
                <a:gd name="T78" fmla="*/ 2147483647 w 192"/>
                <a:gd name="T79" fmla="*/ 2147483647 h 172"/>
                <a:gd name="T80" fmla="*/ 2147483647 w 192"/>
                <a:gd name="T81" fmla="*/ 2147483647 h 172"/>
                <a:gd name="T82" fmla="*/ 2147483647 w 192"/>
                <a:gd name="T83" fmla="*/ 2147483647 h 172"/>
                <a:gd name="T84" fmla="*/ 2147483647 w 192"/>
                <a:gd name="T85" fmla="*/ 2147483647 h 172"/>
                <a:gd name="T86" fmla="*/ 2147483647 w 192"/>
                <a:gd name="T87" fmla="*/ 2147483647 h 172"/>
                <a:gd name="T88" fmla="*/ 2147483647 w 192"/>
                <a:gd name="T89" fmla="*/ 2147483647 h 172"/>
                <a:gd name="T90" fmla="*/ 2147483647 w 192"/>
                <a:gd name="T91" fmla="*/ 2147483647 h 172"/>
                <a:gd name="T92" fmla="*/ 2147483647 w 192"/>
                <a:gd name="T93" fmla="*/ 2147483647 h 172"/>
                <a:gd name="T94" fmla="*/ 2147483647 w 192"/>
                <a:gd name="T95" fmla="*/ 2147483647 h 172"/>
                <a:gd name="T96" fmla="*/ 2147483647 w 192"/>
                <a:gd name="T97" fmla="*/ 2147483647 h 172"/>
                <a:gd name="T98" fmla="*/ 2147483647 w 192"/>
                <a:gd name="T99" fmla="*/ 2147483647 h 172"/>
                <a:gd name="T100" fmla="*/ 2147483647 w 192"/>
                <a:gd name="T101" fmla="*/ 2147483647 h 172"/>
                <a:gd name="T102" fmla="*/ 2147483647 w 192"/>
                <a:gd name="T103" fmla="*/ 2147483647 h 172"/>
                <a:gd name="T104" fmla="*/ 2147483647 w 192"/>
                <a:gd name="T105" fmla="*/ 2147483647 h 172"/>
                <a:gd name="T106" fmla="*/ 2147483647 w 192"/>
                <a:gd name="T107" fmla="*/ 2147483647 h 172"/>
                <a:gd name="T108" fmla="*/ 2147483647 w 192"/>
                <a:gd name="T109" fmla="*/ 2147483647 h 172"/>
                <a:gd name="T110" fmla="*/ 2147483647 w 192"/>
                <a:gd name="T111" fmla="*/ 2147483647 h 17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2"/>
                <a:gd name="T169" fmla="*/ 0 h 172"/>
                <a:gd name="T170" fmla="*/ 192 w 192"/>
                <a:gd name="T171" fmla="*/ 172 h 17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2" h="172">
                  <a:moveTo>
                    <a:pt x="187" y="5"/>
                  </a:moveTo>
                  <a:lnTo>
                    <a:pt x="187" y="5"/>
                  </a:lnTo>
                  <a:lnTo>
                    <a:pt x="186" y="2"/>
                  </a:lnTo>
                  <a:lnTo>
                    <a:pt x="183" y="1"/>
                  </a:lnTo>
                  <a:lnTo>
                    <a:pt x="179" y="0"/>
                  </a:lnTo>
                  <a:lnTo>
                    <a:pt x="177" y="0"/>
                  </a:lnTo>
                  <a:lnTo>
                    <a:pt x="174" y="2"/>
                  </a:lnTo>
                  <a:lnTo>
                    <a:pt x="174" y="5"/>
                  </a:lnTo>
                  <a:lnTo>
                    <a:pt x="176" y="7"/>
                  </a:lnTo>
                  <a:lnTo>
                    <a:pt x="176" y="11"/>
                  </a:lnTo>
                  <a:lnTo>
                    <a:pt x="174" y="12"/>
                  </a:lnTo>
                  <a:lnTo>
                    <a:pt x="173" y="12"/>
                  </a:lnTo>
                  <a:lnTo>
                    <a:pt x="172" y="11"/>
                  </a:lnTo>
                  <a:lnTo>
                    <a:pt x="171" y="9"/>
                  </a:lnTo>
                  <a:lnTo>
                    <a:pt x="169" y="6"/>
                  </a:lnTo>
                  <a:lnTo>
                    <a:pt x="167" y="5"/>
                  </a:lnTo>
                  <a:lnTo>
                    <a:pt x="166" y="5"/>
                  </a:lnTo>
                  <a:lnTo>
                    <a:pt x="162" y="7"/>
                  </a:lnTo>
                  <a:lnTo>
                    <a:pt x="159" y="11"/>
                  </a:lnTo>
                  <a:lnTo>
                    <a:pt x="158" y="14"/>
                  </a:lnTo>
                  <a:lnTo>
                    <a:pt x="155" y="22"/>
                  </a:lnTo>
                  <a:lnTo>
                    <a:pt x="155" y="31"/>
                  </a:lnTo>
                  <a:lnTo>
                    <a:pt x="153" y="49"/>
                  </a:lnTo>
                  <a:lnTo>
                    <a:pt x="152" y="57"/>
                  </a:lnTo>
                  <a:lnTo>
                    <a:pt x="149" y="64"/>
                  </a:lnTo>
                  <a:lnTo>
                    <a:pt x="144" y="71"/>
                  </a:lnTo>
                  <a:lnTo>
                    <a:pt x="136" y="78"/>
                  </a:lnTo>
                  <a:lnTo>
                    <a:pt x="132" y="81"/>
                  </a:lnTo>
                  <a:lnTo>
                    <a:pt x="130" y="84"/>
                  </a:lnTo>
                  <a:lnTo>
                    <a:pt x="122" y="92"/>
                  </a:lnTo>
                  <a:lnTo>
                    <a:pt x="120" y="96"/>
                  </a:lnTo>
                  <a:lnTo>
                    <a:pt x="116" y="98"/>
                  </a:lnTo>
                  <a:lnTo>
                    <a:pt x="111" y="100"/>
                  </a:lnTo>
                  <a:lnTo>
                    <a:pt x="107" y="100"/>
                  </a:lnTo>
                  <a:lnTo>
                    <a:pt x="106" y="98"/>
                  </a:lnTo>
                  <a:lnTo>
                    <a:pt x="106" y="97"/>
                  </a:lnTo>
                  <a:lnTo>
                    <a:pt x="107" y="94"/>
                  </a:lnTo>
                  <a:lnTo>
                    <a:pt x="110" y="88"/>
                  </a:lnTo>
                  <a:lnTo>
                    <a:pt x="110" y="87"/>
                  </a:lnTo>
                  <a:lnTo>
                    <a:pt x="108" y="84"/>
                  </a:lnTo>
                  <a:lnTo>
                    <a:pt x="106" y="83"/>
                  </a:lnTo>
                  <a:lnTo>
                    <a:pt x="103" y="84"/>
                  </a:lnTo>
                  <a:lnTo>
                    <a:pt x="99" y="87"/>
                  </a:lnTo>
                  <a:lnTo>
                    <a:pt x="97" y="89"/>
                  </a:lnTo>
                  <a:lnTo>
                    <a:pt x="96" y="92"/>
                  </a:lnTo>
                  <a:lnTo>
                    <a:pt x="96" y="96"/>
                  </a:lnTo>
                  <a:lnTo>
                    <a:pt x="97" y="100"/>
                  </a:lnTo>
                  <a:lnTo>
                    <a:pt x="96" y="103"/>
                  </a:lnTo>
                  <a:lnTo>
                    <a:pt x="96" y="105"/>
                  </a:lnTo>
                  <a:lnTo>
                    <a:pt x="94" y="108"/>
                  </a:lnTo>
                  <a:lnTo>
                    <a:pt x="92" y="110"/>
                  </a:lnTo>
                  <a:lnTo>
                    <a:pt x="89" y="114"/>
                  </a:lnTo>
                  <a:lnTo>
                    <a:pt x="87" y="120"/>
                  </a:lnTo>
                  <a:lnTo>
                    <a:pt x="84" y="122"/>
                  </a:lnTo>
                  <a:lnTo>
                    <a:pt x="80" y="123"/>
                  </a:lnTo>
                  <a:lnTo>
                    <a:pt x="77" y="123"/>
                  </a:lnTo>
                  <a:lnTo>
                    <a:pt x="73" y="122"/>
                  </a:lnTo>
                  <a:lnTo>
                    <a:pt x="74" y="120"/>
                  </a:lnTo>
                  <a:lnTo>
                    <a:pt x="72" y="119"/>
                  </a:lnTo>
                  <a:lnTo>
                    <a:pt x="69" y="120"/>
                  </a:lnTo>
                  <a:lnTo>
                    <a:pt x="64" y="122"/>
                  </a:lnTo>
                  <a:lnTo>
                    <a:pt x="58" y="124"/>
                  </a:lnTo>
                  <a:lnTo>
                    <a:pt x="51" y="126"/>
                  </a:lnTo>
                  <a:lnTo>
                    <a:pt x="45" y="124"/>
                  </a:lnTo>
                  <a:lnTo>
                    <a:pt x="41" y="124"/>
                  </a:lnTo>
                  <a:lnTo>
                    <a:pt x="36" y="124"/>
                  </a:lnTo>
                  <a:lnTo>
                    <a:pt x="32" y="127"/>
                  </a:lnTo>
                  <a:lnTo>
                    <a:pt x="28" y="128"/>
                  </a:lnTo>
                  <a:lnTo>
                    <a:pt x="22" y="134"/>
                  </a:lnTo>
                  <a:lnTo>
                    <a:pt x="17" y="140"/>
                  </a:lnTo>
                  <a:lnTo>
                    <a:pt x="9" y="146"/>
                  </a:lnTo>
                  <a:lnTo>
                    <a:pt x="0" y="152"/>
                  </a:lnTo>
                  <a:lnTo>
                    <a:pt x="0" y="154"/>
                  </a:lnTo>
                  <a:lnTo>
                    <a:pt x="0" y="156"/>
                  </a:lnTo>
                  <a:lnTo>
                    <a:pt x="12" y="159"/>
                  </a:lnTo>
                  <a:lnTo>
                    <a:pt x="22" y="162"/>
                  </a:lnTo>
                  <a:lnTo>
                    <a:pt x="23" y="161"/>
                  </a:lnTo>
                  <a:lnTo>
                    <a:pt x="26" y="153"/>
                  </a:lnTo>
                  <a:lnTo>
                    <a:pt x="28" y="151"/>
                  </a:lnTo>
                  <a:lnTo>
                    <a:pt x="30" y="149"/>
                  </a:lnTo>
                  <a:lnTo>
                    <a:pt x="32" y="149"/>
                  </a:lnTo>
                  <a:lnTo>
                    <a:pt x="36" y="149"/>
                  </a:lnTo>
                  <a:lnTo>
                    <a:pt x="37" y="151"/>
                  </a:lnTo>
                  <a:lnTo>
                    <a:pt x="39" y="149"/>
                  </a:lnTo>
                  <a:lnTo>
                    <a:pt x="44" y="147"/>
                  </a:lnTo>
                  <a:lnTo>
                    <a:pt x="49" y="145"/>
                  </a:lnTo>
                  <a:lnTo>
                    <a:pt x="58" y="143"/>
                  </a:lnTo>
                  <a:lnTo>
                    <a:pt x="68" y="143"/>
                  </a:lnTo>
                  <a:lnTo>
                    <a:pt x="78" y="145"/>
                  </a:lnTo>
                  <a:lnTo>
                    <a:pt x="80" y="146"/>
                  </a:lnTo>
                  <a:lnTo>
                    <a:pt x="80" y="147"/>
                  </a:lnTo>
                  <a:lnTo>
                    <a:pt x="80" y="148"/>
                  </a:lnTo>
                  <a:lnTo>
                    <a:pt x="75" y="153"/>
                  </a:lnTo>
                  <a:lnTo>
                    <a:pt x="74" y="158"/>
                  </a:lnTo>
                  <a:lnTo>
                    <a:pt x="74" y="164"/>
                  </a:lnTo>
                  <a:lnTo>
                    <a:pt x="77" y="168"/>
                  </a:lnTo>
                  <a:lnTo>
                    <a:pt x="78" y="170"/>
                  </a:lnTo>
                  <a:lnTo>
                    <a:pt x="79" y="171"/>
                  </a:lnTo>
                  <a:lnTo>
                    <a:pt x="82" y="172"/>
                  </a:lnTo>
                  <a:lnTo>
                    <a:pt x="84" y="171"/>
                  </a:lnTo>
                  <a:lnTo>
                    <a:pt x="88" y="168"/>
                  </a:lnTo>
                  <a:lnTo>
                    <a:pt x="93" y="165"/>
                  </a:lnTo>
                  <a:lnTo>
                    <a:pt x="97" y="162"/>
                  </a:lnTo>
                  <a:lnTo>
                    <a:pt x="103" y="160"/>
                  </a:lnTo>
                  <a:lnTo>
                    <a:pt x="105" y="160"/>
                  </a:lnTo>
                  <a:lnTo>
                    <a:pt x="105" y="158"/>
                  </a:lnTo>
                  <a:lnTo>
                    <a:pt x="105" y="155"/>
                  </a:lnTo>
                  <a:lnTo>
                    <a:pt x="103" y="153"/>
                  </a:lnTo>
                  <a:lnTo>
                    <a:pt x="99" y="149"/>
                  </a:lnTo>
                  <a:lnTo>
                    <a:pt x="97" y="147"/>
                  </a:lnTo>
                  <a:lnTo>
                    <a:pt x="97" y="145"/>
                  </a:lnTo>
                  <a:lnTo>
                    <a:pt x="97" y="139"/>
                  </a:lnTo>
                  <a:lnTo>
                    <a:pt x="99" y="136"/>
                  </a:lnTo>
                  <a:lnTo>
                    <a:pt x="101" y="135"/>
                  </a:lnTo>
                  <a:lnTo>
                    <a:pt x="102" y="136"/>
                  </a:lnTo>
                  <a:lnTo>
                    <a:pt x="105" y="143"/>
                  </a:lnTo>
                  <a:lnTo>
                    <a:pt x="106" y="145"/>
                  </a:lnTo>
                  <a:lnTo>
                    <a:pt x="107" y="145"/>
                  </a:lnTo>
                  <a:lnTo>
                    <a:pt x="111" y="143"/>
                  </a:lnTo>
                  <a:lnTo>
                    <a:pt x="113" y="147"/>
                  </a:lnTo>
                  <a:lnTo>
                    <a:pt x="115" y="149"/>
                  </a:lnTo>
                  <a:lnTo>
                    <a:pt x="117" y="148"/>
                  </a:lnTo>
                  <a:lnTo>
                    <a:pt x="126" y="146"/>
                  </a:lnTo>
                  <a:lnTo>
                    <a:pt x="135" y="143"/>
                  </a:lnTo>
                  <a:lnTo>
                    <a:pt x="138" y="142"/>
                  </a:lnTo>
                  <a:lnTo>
                    <a:pt x="138" y="139"/>
                  </a:lnTo>
                  <a:lnTo>
                    <a:pt x="139" y="139"/>
                  </a:lnTo>
                  <a:lnTo>
                    <a:pt x="140" y="139"/>
                  </a:lnTo>
                  <a:lnTo>
                    <a:pt x="141" y="140"/>
                  </a:lnTo>
                  <a:lnTo>
                    <a:pt x="141" y="142"/>
                  </a:lnTo>
                  <a:lnTo>
                    <a:pt x="141" y="143"/>
                  </a:lnTo>
                  <a:lnTo>
                    <a:pt x="144" y="145"/>
                  </a:lnTo>
                  <a:lnTo>
                    <a:pt x="145" y="142"/>
                  </a:lnTo>
                  <a:lnTo>
                    <a:pt x="146" y="139"/>
                  </a:lnTo>
                  <a:lnTo>
                    <a:pt x="146" y="140"/>
                  </a:lnTo>
                  <a:lnTo>
                    <a:pt x="146" y="136"/>
                  </a:lnTo>
                  <a:lnTo>
                    <a:pt x="148" y="134"/>
                  </a:lnTo>
                  <a:lnTo>
                    <a:pt x="152" y="128"/>
                  </a:lnTo>
                  <a:lnTo>
                    <a:pt x="153" y="126"/>
                  </a:lnTo>
                  <a:lnTo>
                    <a:pt x="155" y="124"/>
                  </a:lnTo>
                  <a:lnTo>
                    <a:pt x="158" y="126"/>
                  </a:lnTo>
                  <a:lnTo>
                    <a:pt x="159" y="128"/>
                  </a:lnTo>
                  <a:lnTo>
                    <a:pt x="159" y="135"/>
                  </a:lnTo>
                  <a:lnTo>
                    <a:pt x="160" y="139"/>
                  </a:lnTo>
                  <a:lnTo>
                    <a:pt x="162" y="140"/>
                  </a:lnTo>
                  <a:lnTo>
                    <a:pt x="164" y="141"/>
                  </a:lnTo>
                  <a:lnTo>
                    <a:pt x="167" y="140"/>
                  </a:lnTo>
                  <a:lnTo>
                    <a:pt x="169" y="137"/>
                  </a:lnTo>
                  <a:lnTo>
                    <a:pt x="174" y="130"/>
                  </a:lnTo>
                  <a:lnTo>
                    <a:pt x="176" y="128"/>
                  </a:lnTo>
                  <a:lnTo>
                    <a:pt x="176" y="126"/>
                  </a:lnTo>
                  <a:lnTo>
                    <a:pt x="174" y="121"/>
                  </a:lnTo>
                  <a:lnTo>
                    <a:pt x="172" y="116"/>
                  </a:lnTo>
                  <a:lnTo>
                    <a:pt x="171" y="111"/>
                  </a:lnTo>
                  <a:lnTo>
                    <a:pt x="172" y="107"/>
                  </a:lnTo>
                  <a:lnTo>
                    <a:pt x="174" y="103"/>
                  </a:lnTo>
                  <a:lnTo>
                    <a:pt x="176" y="100"/>
                  </a:lnTo>
                  <a:lnTo>
                    <a:pt x="177" y="96"/>
                  </a:lnTo>
                  <a:lnTo>
                    <a:pt x="178" y="91"/>
                  </a:lnTo>
                  <a:lnTo>
                    <a:pt x="177" y="87"/>
                  </a:lnTo>
                  <a:lnTo>
                    <a:pt x="177" y="81"/>
                  </a:lnTo>
                  <a:lnTo>
                    <a:pt x="178" y="76"/>
                  </a:lnTo>
                  <a:lnTo>
                    <a:pt x="178" y="72"/>
                  </a:lnTo>
                  <a:lnTo>
                    <a:pt x="179" y="71"/>
                  </a:lnTo>
                  <a:lnTo>
                    <a:pt x="187" y="64"/>
                  </a:lnTo>
                  <a:lnTo>
                    <a:pt x="191" y="57"/>
                  </a:lnTo>
                  <a:lnTo>
                    <a:pt x="192" y="49"/>
                  </a:lnTo>
                  <a:lnTo>
                    <a:pt x="192" y="40"/>
                  </a:lnTo>
                  <a:lnTo>
                    <a:pt x="191" y="40"/>
                  </a:lnTo>
                  <a:lnTo>
                    <a:pt x="191" y="32"/>
                  </a:lnTo>
                  <a:lnTo>
                    <a:pt x="190" y="22"/>
                  </a:lnTo>
                  <a:lnTo>
                    <a:pt x="188" y="14"/>
                  </a:lnTo>
                  <a:lnTo>
                    <a:pt x="18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 name="Freeform 65"/>
            <p:cNvSpPr>
              <a:spLocks/>
            </p:cNvSpPr>
            <p:nvPr/>
          </p:nvSpPr>
          <p:spPr bwMode="auto">
            <a:xfrm>
              <a:off x="7818438" y="3154364"/>
              <a:ext cx="11112" cy="12700"/>
            </a:xfrm>
            <a:custGeom>
              <a:avLst/>
              <a:gdLst>
                <a:gd name="T0" fmla="*/ 2147483647 w 8"/>
                <a:gd name="T1" fmla="*/ 2147483647 h 8"/>
                <a:gd name="T2" fmla="*/ 2147483647 w 8"/>
                <a:gd name="T3" fmla="*/ 2147483647 h 8"/>
                <a:gd name="T4" fmla="*/ 2147483647 w 8"/>
                <a:gd name="T5" fmla="*/ 2147483647 h 8"/>
                <a:gd name="T6" fmla="*/ 2147483647 w 8"/>
                <a:gd name="T7" fmla="*/ 0 h 8"/>
                <a:gd name="T8" fmla="*/ 2147483647 w 8"/>
                <a:gd name="T9" fmla="*/ 0 h 8"/>
                <a:gd name="T10" fmla="*/ 2147483647 w 8"/>
                <a:gd name="T11" fmla="*/ 0 h 8"/>
                <a:gd name="T12" fmla="*/ 2147483647 w 8"/>
                <a:gd name="T13" fmla="*/ 2147483647 h 8"/>
                <a:gd name="T14" fmla="*/ 2147483647 w 8"/>
                <a:gd name="T15" fmla="*/ 2147483647 h 8"/>
                <a:gd name="T16" fmla="*/ 0 w 8"/>
                <a:gd name="T17" fmla="*/ 2147483647 h 8"/>
                <a:gd name="T18" fmla="*/ 2147483647 w 8"/>
                <a:gd name="T19" fmla="*/ 2147483647 h 8"/>
                <a:gd name="T20" fmla="*/ 2147483647 w 8"/>
                <a:gd name="T21" fmla="*/ 2147483647 h 8"/>
                <a:gd name="T22" fmla="*/ 2147483647 w 8"/>
                <a:gd name="T23" fmla="*/ 2147483647 h 8"/>
                <a:gd name="T24" fmla="*/ 2147483647 w 8"/>
                <a:gd name="T25" fmla="*/ 2147483647 h 8"/>
                <a:gd name="T26" fmla="*/ 2147483647 w 8"/>
                <a:gd name="T27" fmla="*/ 2147483647 h 8"/>
                <a:gd name="T28" fmla="*/ 2147483647 w 8"/>
                <a:gd name="T29" fmla="*/ 2147483647 h 8"/>
                <a:gd name="T30" fmla="*/ 2147483647 w 8"/>
                <a:gd name="T31" fmla="*/ 2147483647 h 8"/>
                <a:gd name="T32" fmla="*/ 2147483647 w 8"/>
                <a:gd name="T33" fmla="*/ 2147483647 h 8"/>
                <a:gd name="T34" fmla="*/ 2147483647 w 8"/>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8"/>
                <a:gd name="T56" fmla="*/ 8 w 8"/>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8">
                  <a:moveTo>
                    <a:pt x="8" y="5"/>
                  </a:moveTo>
                  <a:lnTo>
                    <a:pt x="8" y="5"/>
                  </a:lnTo>
                  <a:lnTo>
                    <a:pt x="8" y="2"/>
                  </a:lnTo>
                  <a:lnTo>
                    <a:pt x="6" y="0"/>
                  </a:lnTo>
                  <a:lnTo>
                    <a:pt x="3" y="0"/>
                  </a:lnTo>
                  <a:lnTo>
                    <a:pt x="1" y="1"/>
                  </a:lnTo>
                  <a:lnTo>
                    <a:pt x="0" y="2"/>
                  </a:lnTo>
                  <a:lnTo>
                    <a:pt x="1" y="5"/>
                  </a:lnTo>
                  <a:lnTo>
                    <a:pt x="1" y="6"/>
                  </a:lnTo>
                  <a:lnTo>
                    <a:pt x="2" y="8"/>
                  </a:lnTo>
                  <a:lnTo>
                    <a:pt x="5" y="8"/>
                  </a:lnTo>
                  <a:lnTo>
                    <a:pt x="7" y="8"/>
                  </a:lnTo>
                  <a:lnTo>
                    <a:pt x="8" y="7"/>
                  </a:lnTo>
                  <a:lnTo>
                    <a:pt x="8"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 name="Freeform 66"/>
            <p:cNvSpPr>
              <a:spLocks/>
            </p:cNvSpPr>
            <p:nvPr/>
          </p:nvSpPr>
          <p:spPr bwMode="auto">
            <a:xfrm>
              <a:off x="7632701" y="3421067"/>
              <a:ext cx="9525" cy="14288"/>
            </a:xfrm>
            <a:custGeom>
              <a:avLst/>
              <a:gdLst>
                <a:gd name="T0" fmla="*/ 2147483647 w 6"/>
                <a:gd name="T1" fmla="*/ 2147483647 h 9"/>
                <a:gd name="T2" fmla="*/ 2147483647 w 6"/>
                <a:gd name="T3" fmla="*/ 0 h 9"/>
                <a:gd name="T4" fmla="*/ 2147483647 w 6"/>
                <a:gd name="T5" fmla="*/ 0 h 9"/>
                <a:gd name="T6" fmla="*/ 2147483647 w 6"/>
                <a:gd name="T7" fmla="*/ 2147483647 h 9"/>
                <a:gd name="T8" fmla="*/ 0 w 6"/>
                <a:gd name="T9" fmla="*/ 2147483647 h 9"/>
                <a:gd name="T10" fmla="*/ 0 w 6"/>
                <a:gd name="T11" fmla="*/ 2147483647 h 9"/>
                <a:gd name="T12" fmla="*/ 2147483647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9"/>
                <a:gd name="T35" fmla="*/ 6 w 6"/>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9">
                  <a:moveTo>
                    <a:pt x="6" y="3"/>
                  </a:moveTo>
                  <a:lnTo>
                    <a:pt x="6" y="0"/>
                  </a:lnTo>
                  <a:lnTo>
                    <a:pt x="4" y="0"/>
                  </a:lnTo>
                  <a:lnTo>
                    <a:pt x="1" y="2"/>
                  </a:lnTo>
                  <a:lnTo>
                    <a:pt x="0" y="4"/>
                  </a:lnTo>
                  <a:lnTo>
                    <a:pt x="0" y="6"/>
                  </a:lnTo>
                  <a:lnTo>
                    <a:pt x="1" y="9"/>
                  </a:lnTo>
                  <a:lnTo>
                    <a:pt x="2" y="9"/>
                  </a:lnTo>
                  <a:lnTo>
                    <a:pt x="2" y="7"/>
                  </a:lnTo>
                  <a:lnTo>
                    <a:pt x="5" y="4"/>
                  </a:lnTo>
                  <a:lnTo>
                    <a:pt x="6"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 name="Freeform 67"/>
            <p:cNvSpPr>
              <a:spLocks/>
            </p:cNvSpPr>
            <p:nvPr/>
          </p:nvSpPr>
          <p:spPr bwMode="auto">
            <a:xfrm>
              <a:off x="7862889" y="2905130"/>
              <a:ext cx="150812" cy="144463"/>
            </a:xfrm>
            <a:custGeom>
              <a:avLst/>
              <a:gdLst>
                <a:gd name="T0" fmla="*/ 2147483647 w 103"/>
                <a:gd name="T1" fmla="*/ 0 h 91"/>
                <a:gd name="T2" fmla="*/ 2147483647 w 103"/>
                <a:gd name="T3" fmla="*/ 2147483647 h 91"/>
                <a:gd name="T4" fmla="*/ 2147483647 w 103"/>
                <a:gd name="T5" fmla="*/ 2147483647 h 91"/>
                <a:gd name="T6" fmla="*/ 2147483647 w 103"/>
                <a:gd name="T7" fmla="*/ 2147483647 h 91"/>
                <a:gd name="T8" fmla="*/ 2147483647 w 103"/>
                <a:gd name="T9" fmla="*/ 2147483647 h 91"/>
                <a:gd name="T10" fmla="*/ 2147483647 w 103"/>
                <a:gd name="T11" fmla="*/ 2147483647 h 91"/>
                <a:gd name="T12" fmla="*/ 2147483647 w 103"/>
                <a:gd name="T13" fmla="*/ 2147483647 h 91"/>
                <a:gd name="T14" fmla="*/ 2147483647 w 103"/>
                <a:gd name="T15" fmla="*/ 2147483647 h 91"/>
                <a:gd name="T16" fmla="*/ 2147483647 w 103"/>
                <a:gd name="T17" fmla="*/ 2147483647 h 91"/>
                <a:gd name="T18" fmla="*/ 2147483647 w 103"/>
                <a:gd name="T19" fmla="*/ 2147483647 h 91"/>
                <a:gd name="T20" fmla="*/ 2147483647 w 103"/>
                <a:gd name="T21" fmla="*/ 2147483647 h 91"/>
                <a:gd name="T22" fmla="*/ 2147483647 w 103"/>
                <a:gd name="T23" fmla="*/ 2147483647 h 91"/>
                <a:gd name="T24" fmla="*/ 0 w 103"/>
                <a:gd name="T25" fmla="*/ 2147483647 h 91"/>
                <a:gd name="T26" fmla="*/ 2147483647 w 103"/>
                <a:gd name="T27" fmla="*/ 2147483647 h 91"/>
                <a:gd name="T28" fmla="*/ 2147483647 w 103"/>
                <a:gd name="T29" fmla="*/ 2147483647 h 91"/>
                <a:gd name="T30" fmla="*/ 2147483647 w 103"/>
                <a:gd name="T31" fmla="*/ 2147483647 h 91"/>
                <a:gd name="T32" fmla="*/ 2147483647 w 103"/>
                <a:gd name="T33" fmla="*/ 2147483647 h 91"/>
                <a:gd name="T34" fmla="*/ 2147483647 w 103"/>
                <a:gd name="T35" fmla="*/ 2147483647 h 91"/>
                <a:gd name="T36" fmla="*/ 2147483647 w 103"/>
                <a:gd name="T37" fmla="*/ 2147483647 h 91"/>
                <a:gd name="T38" fmla="*/ 2147483647 w 103"/>
                <a:gd name="T39" fmla="*/ 2147483647 h 91"/>
                <a:gd name="T40" fmla="*/ 2147483647 w 103"/>
                <a:gd name="T41" fmla="*/ 2147483647 h 91"/>
                <a:gd name="T42" fmla="*/ 2147483647 w 103"/>
                <a:gd name="T43" fmla="*/ 2147483647 h 91"/>
                <a:gd name="T44" fmla="*/ 2147483647 w 103"/>
                <a:gd name="T45" fmla="*/ 2147483647 h 91"/>
                <a:gd name="T46" fmla="*/ 2147483647 w 103"/>
                <a:gd name="T47" fmla="*/ 2147483647 h 91"/>
                <a:gd name="T48" fmla="*/ 2147483647 w 103"/>
                <a:gd name="T49" fmla="*/ 2147483647 h 91"/>
                <a:gd name="T50" fmla="*/ 2147483647 w 103"/>
                <a:gd name="T51" fmla="*/ 2147483647 h 91"/>
                <a:gd name="T52" fmla="*/ 2147483647 w 103"/>
                <a:gd name="T53" fmla="*/ 2147483647 h 91"/>
                <a:gd name="T54" fmla="*/ 2147483647 w 103"/>
                <a:gd name="T55" fmla="*/ 2147483647 h 91"/>
                <a:gd name="T56" fmla="*/ 2147483647 w 103"/>
                <a:gd name="T57" fmla="*/ 2147483647 h 91"/>
                <a:gd name="T58" fmla="*/ 2147483647 w 103"/>
                <a:gd name="T59" fmla="*/ 2147483647 h 91"/>
                <a:gd name="T60" fmla="*/ 2147483647 w 103"/>
                <a:gd name="T61" fmla="*/ 2147483647 h 91"/>
                <a:gd name="T62" fmla="*/ 2147483647 w 103"/>
                <a:gd name="T63" fmla="*/ 2147483647 h 91"/>
                <a:gd name="T64" fmla="*/ 2147483647 w 103"/>
                <a:gd name="T65" fmla="*/ 2147483647 h 91"/>
                <a:gd name="T66" fmla="*/ 2147483647 w 103"/>
                <a:gd name="T67" fmla="*/ 2147483647 h 91"/>
                <a:gd name="T68" fmla="*/ 2147483647 w 103"/>
                <a:gd name="T69" fmla="*/ 2147483647 h 91"/>
                <a:gd name="T70" fmla="*/ 2147483647 w 103"/>
                <a:gd name="T71" fmla="*/ 2147483647 h 91"/>
                <a:gd name="T72" fmla="*/ 2147483647 w 103"/>
                <a:gd name="T73" fmla="*/ 2147483647 h 91"/>
                <a:gd name="T74" fmla="*/ 2147483647 w 103"/>
                <a:gd name="T75" fmla="*/ 2147483647 h 91"/>
                <a:gd name="T76" fmla="*/ 2147483647 w 103"/>
                <a:gd name="T77" fmla="*/ 2147483647 h 91"/>
                <a:gd name="T78" fmla="*/ 2147483647 w 103"/>
                <a:gd name="T79" fmla="*/ 2147483647 h 91"/>
                <a:gd name="T80" fmla="*/ 2147483647 w 103"/>
                <a:gd name="T81" fmla="*/ 2147483647 h 91"/>
                <a:gd name="T82" fmla="*/ 2147483647 w 103"/>
                <a:gd name="T83" fmla="*/ 2147483647 h 91"/>
                <a:gd name="T84" fmla="*/ 2147483647 w 103"/>
                <a:gd name="T85" fmla="*/ 2147483647 h 91"/>
                <a:gd name="T86" fmla="*/ 2147483647 w 103"/>
                <a:gd name="T87" fmla="*/ 2147483647 h 91"/>
                <a:gd name="T88" fmla="*/ 2147483647 w 103"/>
                <a:gd name="T89" fmla="*/ 2147483647 h 91"/>
                <a:gd name="T90" fmla="*/ 2147483647 w 103"/>
                <a:gd name="T91" fmla="*/ 2147483647 h 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
                <a:gd name="T139" fmla="*/ 0 h 91"/>
                <a:gd name="T140" fmla="*/ 103 w 103"/>
                <a:gd name="T141" fmla="*/ 91 h 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 h="91">
                  <a:moveTo>
                    <a:pt x="41" y="2"/>
                  </a:moveTo>
                  <a:lnTo>
                    <a:pt x="37" y="0"/>
                  </a:lnTo>
                  <a:lnTo>
                    <a:pt x="35" y="0"/>
                  </a:lnTo>
                  <a:lnTo>
                    <a:pt x="33" y="2"/>
                  </a:lnTo>
                  <a:lnTo>
                    <a:pt x="32" y="4"/>
                  </a:lnTo>
                  <a:lnTo>
                    <a:pt x="31" y="17"/>
                  </a:lnTo>
                  <a:lnTo>
                    <a:pt x="31" y="23"/>
                  </a:lnTo>
                  <a:lnTo>
                    <a:pt x="30" y="29"/>
                  </a:lnTo>
                  <a:lnTo>
                    <a:pt x="28" y="35"/>
                  </a:lnTo>
                  <a:lnTo>
                    <a:pt x="30" y="40"/>
                  </a:lnTo>
                  <a:lnTo>
                    <a:pt x="30" y="44"/>
                  </a:lnTo>
                  <a:lnTo>
                    <a:pt x="30" y="47"/>
                  </a:lnTo>
                  <a:lnTo>
                    <a:pt x="28" y="49"/>
                  </a:lnTo>
                  <a:lnTo>
                    <a:pt x="27" y="50"/>
                  </a:lnTo>
                  <a:lnTo>
                    <a:pt x="24" y="51"/>
                  </a:lnTo>
                  <a:lnTo>
                    <a:pt x="21" y="50"/>
                  </a:lnTo>
                  <a:lnTo>
                    <a:pt x="17" y="49"/>
                  </a:lnTo>
                  <a:lnTo>
                    <a:pt x="12" y="48"/>
                  </a:lnTo>
                  <a:lnTo>
                    <a:pt x="9" y="49"/>
                  </a:lnTo>
                  <a:lnTo>
                    <a:pt x="11" y="54"/>
                  </a:lnTo>
                  <a:lnTo>
                    <a:pt x="11" y="56"/>
                  </a:lnTo>
                  <a:lnTo>
                    <a:pt x="9" y="59"/>
                  </a:lnTo>
                  <a:lnTo>
                    <a:pt x="8" y="61"/>
                  </a:lnTo>
                  <a:lnTo>
                    <a:pt x="4" y="62"/>
                  </a:lnTo>
                  <a:lnTo>
                    <a:pt x="0" y="65"/>
                  </a:lnTo>
                  <a:lnTo>
                    <a:pt x="0" y="67"/>
                  </a:lnTo>
                  <a:lnTo>
                    <a:pt x="0" y="70"/>
                  </a:lnTo>
                  <a:lnTo>
                    <a:pt x="2" y="79"/>
                  </a:lnTo>
                  <a:lnTo>
                    <a:pt x="4" y="87"/>
                  </a:lnTo>
                  <a:lnTo>
                    <a:pt x="7" y="89"/>
                  </a:lnTo>
                  <a:lnTo>
                    <a:pt x="9" y="91"/>
                  </a:lnTo>
                  <a:lnTo>
                    <a:pt x="11" y="91"/>
                  </a:lnTo>
                  <a:lnTo>
                    <a:pt x="12" y="91"/>
                  </a:lnTo>
                  <a:lnTo>
                    <a:pt x="16" y="88"/>
                  </a:lnTo>
                  <a:lnTo>
                    <a:pt x="23" y="87"/>
                  </a:lnTo>
                  <a:lnTo>
                    <a:pt x="27" y="86"/>
                  </a:lnTo>
                  <a:lnTo>
                    <a:pt x="30" y="82"/>
                  </a:lnTo>
                  <a:lnTo>
                    <a:pt x="30" y="81"/>
                  </a:lnTo>
                  <a:lnTo>
                    <a:pt x="30" y="79"/>
                  </a:lnTo>
                  <a:lnTo>
                    <a:pt x="26" y="75"/>
                  </a:lnTo>
                  <a:lnTo>
                    <a:pt x="21" y="73"/>
                  </a:lnTo>
                  <a:lnTo>
                    <a:pt x="17" y="69"/>
                  </a:lnTo>
                  <a:lnTo>
                    <a:pt x="17" y="67"/>
                  </a:lnTo>
                  <a:lnTo>
                    <a:pt x="18" y="66"/>
                  </a:lnTo>
                  <a:lnTo>
                    <a:pt x="21" y="65"/>
                  </a:lnTo>
                  <a:lnTo>
                    <a:pt x="23" y="66"/>
                  </a:lnTo>
                  <a:lnTo>
                    <a:pt x="27" y="66"/>
                  </a:lnTo>
                  <a:lnTo>
                    <a:pt x="31" y="66"/>
                  </a:lnTo>
                  <a:lnTo>
                    <a:pt x="35" y="66"/>
                  </a:lnTo>
                  <a:lnTo>
                    <a:pt x="38" y="66"/>
                  </a:lnTo>
                  <a:lnTo>
                    <a:pt x="44" y="67"/>
                  </a:lnTo>
                  <a:lnTo>
                    <a:pt x="47" y="69"/>
                  </a:lnTo>
                  <a:lnTo>
                    <a:pt x="57" y="78"/>
                  </a:lnTo>
                  <a:lnTo>
                    <a:pt x="64" y="80"/>
                  </a:lnTo>
                  <a:lnTo>
                    <a:pt x="69" y="80"/>
                  </a:lnTo>
                  <a:lnTo>
                    <a:pt x="70" y="79"/>
                  </a:lnTo>
                  <a:lnTo>
                    <a:pt x="70" y="78"/>
                  </a:lnTo>
                  <a:lnTo>
                    <a:pt x="69" y="73"/>
                  </a:lnTo>
                  <a:lnTo>
                    <a:pt x="68" y="69"/>
                  </a:lnTo>
                  <a:lnTo>
                    <a:pt x="66" y="67"/>
                  </a:lnTo>
                  <a:lnTo>
                    <a:pt x="66" y="66"/>
                  </a:lnTo>
                  <a:lnTo>
                    <a:pt x="70" y="63"/>
                  </a:lnTo>
                  <a:lnTo>
                    <a:pt x="75" y="61"/>
                  </a:lnTo>
                  <a:lnTo>
                    <a:pt x="84" y="59"/>
                  </a:lnTo>
                  <a:lnTo>
                    <a:pt x="93" y="57"/>
                  </a:lnTo>
                  <a:lnTo>
                    <a:pt x="99" y="56"/>
                  </a:lnTo>
                  <a:lnTo>
                    <a:pt x="103" y="53"/>
                  </a:lnTo>
                  <a:lnTo>
                    <a:pt x="103" y="50"/>
                  </a:lnTo>
                  <a:lnTo>
                    <a:pt x="103" y="48"/>
                  </a:lnTo>
                  <a:lnTo>
                    <a:pt x="102" y="46"/>
                  </a:lnTo>
                  <a:lnTo>
                    <a:pt x="98" y="46"/>
                  </a:lnTo>
                  <a:lnTo>
                    <a:pt x="96" y="44"/>
                  </a:lnTo>
                  <a:lnTo>
                    <a:pt x="92" y="43"/>
                  </a:lnTo>
                  <a:lnTo>
                    <a:pt x="92" y="41"/>
                  </a:lnTo>
                  <a:lnTo>
                    <a:pt x="92" y="37"/>
                  </a:lnTo>
                  <a:lnTo>
                    <a:pt x="91" y="35"/>
                  </a:lnTo>
                  <a:lnTo>
                    <a:pt x="92" y="33"/>
                  </a:lnTo>
                  <a:lnTo>
                    <a:pt x="96" y="29"/>
                  </a:lnTo>
                  <a:lnTo>
                    <a:pt x="97" y="28"/>
                  </a:lnTo>
                  <a:lnTo>
                    <a:pt x="97" y="25"/>
                  </a:lnTo>
                  <a:lnTo>
                    <a:pt x="96" y="24"/>
                  </a:lnTo>
                  <a:lnTo>
                    <a:pt x="94" y="24"/>
                  </a:lnTo>
                  <a:lnTo>
                    <a:pt x="93" y="25"/>
                  </a:lnTo>
                  <a:lnTo>
                    <a:pt x="88" y="28"/>
                  </a:lnTo>
                  <a:lnTo>
                    <a:pt x="84" y="29"/>
                  </a:lnTo>
                  <a:lnTo>
                    <a:pt x="80" y="30"/>
                  </a:lnTo>
                  <a:lnTo>
                    <a:pt x="75" y="30"/>
                  </a:lnTo>
                  <a:lnTo>
                    <a:pt x="68" y="28"/>
                  </a:lnTo>
                  <a:lnTo>
                    <a:pt x="60" y="24"/>
                  </a:lnTo>
                  <a:lnTo>
                    <a:pt x="54" y="19"/>
                  </a:lnTo>
                  <a:lnTo>
                    <a:pt x="50" y="14"/>
                  </a:lnTo>
                  <a:lnTo>
                    <a:pt x="41"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 name="Freeform 68"/>
            <p:cNvSpPr>
              <a:spLocks/>
            </p:cNvSpPr>
            <p:nvPr/>
          </p:nvSpPr>
          <p:spPr bwMode="auto">
            <a:xfrm>
              <a:off x="7631114" y="3419475"/>
              <a:ext cx="9525" cy="12700"/>
            </a:xfrm>
            <a:custGeom>
              <a:avLst/>
              <a:gdLst>
                <a:gd name="T0" fmla="*/ 2147483647 w 6"/>
                <a:gd name="T1" fmla="*/ 2147483647 h 8"/>
                <a:gd name="T2" fmla="*/ 2147483647 w 6"/>
                <a:gd name="T3" fmla="*/ 2147483647 h 8"/>
                <a:gd name="T4" fmla="*/ 2147483647 w 6"/>
                <a:gd name="T5" fmla="*/ 0 h 8"/>
                <a:gd name="T6" fmla="*/ 2147483647 w 6"/>
                <a:gd name="T7" fmla="*/ 0 h 8"/>
                <a:gd name="T8" fmla="*/ 2147483647 w 6"/>
                <a:gd name="T9" fmla="*/ 0 h 8"/>
                <a:gd name="T10" fmla="*/ 2147483647 w 6"/>
                <a:gd name="T11" fmla="*/ 2147483647 h 8"/>
                <a:gd name="T12" fmla="*/ 0 w 6"/>
                <a:gd name="T13" fmla="*/ 2147483647 h 8"/>
                <a:gd name="T14" fmla="*/ 0 w 6"/>
                <a:gd name="T15" fmla="*/ 2147483647 h 8"/>
                <a:gd name="T16" fmla="*/ 2147483647 w 6"/>
                <a:gd name="T17" fmla="*/ 2147483647 h 8"/>
                <a:gd name="T18" fmla="*/ 2147483647 w 6"/>
                <a:gd name="T19" fmla="*/ 2147483647 h 8"/>
                <a:gd name="T20" fmla="*/ 2147483647 w 6"/>
                <a:gd name="T21" fmla="*/ 2147483647 h 8"/>
                <a:gd name="T22" fmla="*/ 2147483647 w 6"/>
                <a:gd name="T23" fmla="*/ 2147483647 h 8"/>
                <a:gd name="T24" fmla="*/ 2147483647 w 6"/>
                <a:gd name="T25" fmla="*/ 2147483647 h 8"/>
                <a:gd name="T26" fmla="*/ 2147483647 w 6"/>
                <a:gd name="T27" fmla="*/ 2147483647 h 8"/>
                <a:gd name="T28" fmla="*/ 2147483647 w 6"/>
                <a:gd name="T29" fmla="*/ 2147483647 h 8"/>
                <a:gd name="T30" fmla="*/ 2147483647 w 6"/>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8"/>
                <a:gd name="T50" fmla="*/ 6 w 6"/>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8">
                  <a:moveTo>
                    <a:pt x="6" y="3"/>
                  </a:moveTo>
                  <a:lnTo>
                    <a:pt x="6" y="3"/>
                  </a:lnTo>
                  <a:lnTo>
                    <a:pt x="6" y="0"/>
                  </a:lnTo>
                  <a:lnTo>
                    <a:pt x="3" y="0"/>
                  </a:lnTo>
                  <a:lnTo>
                    <a:pt x="1" y="1"/>
                  </a:lnTo>
                  <a:lnTo>
                    <a:pt x="0" y="4"/>
                  </a:lnTo>
                  <a:lnTo>
                    <a:pt x="0" y="6"/>
                  </a:lnTo>
                  <a:lnTo>
                    <a:pt x="1" y="8"/>
                  </a:lnTo>
                  <a:lnTo>
                    <a:pt x="2" y="8"/>
                  </a:lnTo>
                  <a:lnTo>
                    <a:pt x="2" y="7"/>
                  </a:lnTo>
                  <a:lnTo>
                    <a:pt x="5" y="4"/>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 name="Freeform 69"/>
            <p:cNvSpPr>
              <a:spLocks/>
            </p:cNvSpPr>
            <p:nvPr/>
          </p:nvSpPr>
          <p:spPr bwMode="auto">
            <a:xfrm>
              <a:off x="7861304" y="2903539"/>
              <a:ext cx="150813" cy="142875"/>
            </a:xfrm>
            <a:custGeom>
              <a:avLst/>
              <a:gdLst>
                <a:gd name="T0" fmla="*/ 2147483647 w 103"/>
                <a:gd name="T1" fmla="*/ 2147483647 h 90"/>
                <a:gd name="T2" fmla="*/ 2147483647 w 103"/>
                <a:gd name="T3" fmla="*/ 0 h 90"/>
                <a:gd name="T4" fmla="*/ 2147483647 w 103"/>
                <a:gd name="T5" fmla="*/ 2147483647 h 90"/>
                <a:gd name="T6" fmla="*/ 2147483647 w 103"/>
                <a:gd name="T7" fmla="*/ 2147483647 h 90"/>
                <a:gd name="T8" fmla="*/ 2147483647 w 103"/>
                <a:gd name="T9" fmla="*/ 2147483647 h 90"/>
                <a:gd name="T10" fmla="*/ 2147483647 w 103"/>
                <a:gd name="T11" fmla="*/ 2147483647 h 90"/>
                <a:gd name="T12" fmla="*/ 2147483647 w 103"/>
                <a:gd name="T13" fmla="*/ 2147483647 h 90"/>
                <a:gd name="T14" fmla="*/ 2147483647 w 103"/>
                <a:gd name="T15" fmla="*/ 2147483647 h 90"/>
                <a:gd name="T16" fmla="*/ 2147483647 w 103"/>
                <a:gd name="T17" fmla="*/ 2147483647 h 90"/>
                <a:gd name="T18" fmla="*/ 2147483647 w 103"/>
                <a:gd name="T19" fmla="*/ 2147483647 h 90"/>
                <a:gd name="T20" fmla="*/ 2147483647 w 103"/>
                <a:gd name="T21" fmla="*/ 2147483647 h 90"/>
                <a:gd name="T22" fmla="*/ 2147483647 w 103"/>
                <a:gd name="T23" fmla="*/ 2147483647 h 90"/>
                <a:gd name="T24" fmla="*/ 2147483647 w 103"/>
                <a:gd name="T25" fmla="*/ 2147483647 h 90"/>
                <a:gd name="T26" fmla="*/ 2147483647 w 103"/>
                <a:gd name="T27" fmla="*/ 2147483647 h 90"/>
                <a:gd name="T28" fmla="*/ 2147483647 w 103"/>
                <a:gd name="T29" fmla="*/ 2147483647 h 90"/>
                <a:gd name="T30" fmla="*/ 0 w 103"/>
                <a:gd name="T31" fmla="*/ 2147483647 h 90"/>
                <a:gd name="T32" fmla="*/ 0 w 103"/>
                <a:gd name="T33" fmla="*/ 2147483647 h 90"/>
                <a:gd name="T34" fmla="*/ 2147483647 w 103"/>
                <a:gd name="T35" fmla="*/ 2147483647 h 90"/>
                <a:gd name="T36" fmla="*/ 2147483647 w 103"/>
                <a:gd name="T37" fmla="*/ 2147483647 h 90"/>
                <a:gd name="T38" fmla="*/ 2147483647 w 103"/>
                <a:gd name="T39" fmla="*/ 2147483647 h 90"/>
                <a:gd name="T40" fmla="*/ 2147483647 w 103"/>
                <a:gd name="T41" fmla="*/ 2147483647 h 90"/>
                <a:gd name="T42" fmla="*/ 2147483647 w 103"/>
                <a:gd name="T43" fmla="*/ 2147483647 h 90"/>
                <a:gd name="T44" fmla="*/ 2147483647 w 103"/>
                <a:gd name="T45" fmla="*/ 2147483647 h 90"/>
                <a:gd name="T46" fmla="*/ 2147483647 w 103"/>
                <a:gd name="T47" fmla="*/ 2147483647 h 90"/>
                <a:gd name="T48" fmla="*/ 2147483647 w 103"/>
                <a:gd name="T49" fmla="*/ 2147483647 h 90"/>
                <a:gd name="T50" fmla="*/ 2147483647 w 103"/>
                <a:gd name="T51" fmla="*/ 2147483647 h 90"/>
                <a:gd name="T52" fmla="*/ 2147483647 w 103"/>
                <a:gd name="T53" fmla="*/ 2147483647 h 90"/>
                <a:gd name="T54" fmla="*/ 2147483647 w 103"/>
                <a:gd name="T55" fmla="*/ 2147483647 h 90"/>
                <a:gd name="T56" fmla="*/ 2147483647 w 103"/>
                <a:gd name="T57" fmla="*/ 2147483647 h 90"/>
                <a:gd name="T58" fmla="*/ 2147483647 w 103"/>
                <a:gd name="T59" fmla="*/ 2147483647 h 90"/>
                <a:gd name="T60" fmla="*/ 2147483647 w 103"/>
                <a:gd name="T61" fmla="*/ 2147483647 h 90"/>
                <a:gd name="T62" fmla="*/ 2147483647 w 103"/>
                <a:gd name="T63" fmla="*/ 2147483647 h 90"/>
                <a:gd name="T64" fmla="*/ 2147483647 w 103"/>
                <a:gd name="T65" fmla="*/ 2147483647 h 90"/>
                <a:gd name="T66" fmla="*/ 2147483647 w 103"/>
                <a:gd name="T67" fmla="*/ 2147483647 h 90"/>
                <a:gd name="T68" fmla="*/ 2147483647 w 103"/>
                <a:gd name="T69" fmla="*/ 2147483647 h 90"/>
                <a:gd name="T70" fmla="*/ 2147483647 w 103"/>
                <a:gd name="T71" fmla="*/ 2147483647 h 90"/>
                <a:gd name="T72" fmla="*/ 2147483647 w 103"/>
                <a:gd name="T73" fmla="*/ 2147483647 h 90"/>
                <a:gd name="T74" fmla="*/ 2147483647 w 103"/>
                <a:gd name="T75" fmla="*/ 2147483647 h 90"/>
                <a:gd name="T76" fmla="*/ 2147483647 w 103"/>
                <a:gd name="T77" fmla="*/ 2147483647 h 90"/>
                <a:gd name="T78" fmla="*/ 2147483647 w 103"/>
                <a:gd name="T79" fmla="*/ 2147483647 h 90"/>
                <a:gd name="T80" fmla="*/ 2147483647 w 103"/>
                <a:gd name="T81" fmla="*/ 2147483647 h 90"/>
                <a:gd name="T82" fmla="*/ 2147483647 w 103"/>
                <a:gd name="T83" fmla="*/ 2147483647 h 90"/>
                <a:gd name="T84" fmla="*/ 2147483647 w 103"/>
                <a:gd name="T85" fmla="*/ 2147483647 h 90"/>
                <a:gd name="T86" fmla="*/ 2147483647 w 103"/>
                <a:gd name="T87" fmla="*/ 2147483647 h 90"/>
                <a:gd name="T88" fmla="*/ 2147483647 w 103"/>
                <a:gd name="T89" fmla="*/ 2147483647 h 90"/>
                <a:gd name="T90" fmla="*/ 2147483647 w 103"/>
                <a:gd name="T91" fmla="*/ 2147483647 h 90"/>
                <a:gd name="T92" fmla="*/ 2147483647 w 103"/>
                <a:gd name="T93" fmla="*/ 2147483647 h 90"/>
                <a:gd name="T94" fmla="*/ 2147483647 w 103"/>
                <a:gd name="T95" fmla="*/ 2147483647 h 90"/>
                <a:gd name="T96" fmla="*/ 2147483647 w 103"/>
                <a:gd name="T97" fmla="*/ 2147483647 h 90"/>
                <a:gd name="T98" fmla="*/ 2147483647 w 103"/>
                <a:gd name="T99" fmla="*/ 2147483647 h 90"/>
                <a:gd name="T100" fmla="*/ 2147483647 w 103"/>
                <a:gd name="T101" fmla="*/ 2147483647 h 90"/>
                <a:gd name="T102" fmla="*/ 2147483647 w 103"/>
                <a:gd name="T103" fmla="*/ 2147483647 h 90"/>
                <a:gd name="T104" fmla="*/ 2147483647 w 103"/>
                <a:gd name="T105" fmla="*/ 2147483647 h 90"/>
                <a:gd name="T106" fmla="*/ 2147483647 w 103"/>
                <a:gd name="T107" fmla="*/ 2147483647 h 90"/>
                <a:gd name="T108" fmla="*/ 2147483647 w 103"/>
                <a:gd name="T109" fmla="*/ 2147483647 h 90"/>
                <a:gd name="T110" fmla="*/ 2147483647 w 103"/>
                <a:gd name="T111" fmla="*/ 2147483647 h 90"/>
                <a:gd name="T112" fmla="*/ 2147483647 w 103"/>
                <a:gd name="T113" fmla="*/ 2147483647 h 90"/>
                <a:gd name="T114" fmla="*/ 2147483647 w 103"/>
                <a:gd name="T115" fmla="*/ 2147483647 h 90"/>
                <a:gd name="T116" fmla="*/ 2147483647 w 103"/>
                <a:gd name="T117" fmla="*/ 2147483647 h 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3"/>
                <a:gd name="T178" fmla="*/ 0 h 90"/>
                <a:gd name="T179" fmla="*/ 103 w 103"/>
                <a:gd name="T180" fmla="*/ 90 h 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3" h="90">
                  <a:moveTo>
                    <a:pt x="41" y="1"/>
                  </a:moveTo>
                  <a:lnTo>
                    <a:pt x="41" y="1"/>
                  </a:lnTo>
                  <a:lnTo>
                    <a:pt x="37" y="0"/>
                  </a:lnTo>
                  <a:lnTo>
                    <a:pt x="34" y="0"/>
                  </a:lnTo>
                  <a:lnTo>
                    <a:pt x="33" y="1"/>
                  </a:lnTo>
                  <a:lnTo>
                    <a:pt x="32" y="4"/>
                  </a:lnTo>
                  <a:lnTo>
                    <a:pt x="31" y="17"/>
                  </a:lnTo>
                  <a:lnTo>
                    <a:pt x="31" y="23"/>
                  </a:lnTo>
                  <a:lnTo>
                    <a:pt x="29" y="29"/>
                  </a:lnTo>
                  <a:lnTo>
                    <a:pt x="28" y="35"/>
                  </a:lnTo>
                  <a:lnTo>
                    <a:pt x="29" y="39"/>
                  </a:lnTo>
                  <a:lnTo>
                    <a:pt x="29" y="44"/>
                  </a:lnTo>
                  <a:lnTo>
                    <a:pt x="29" y="47"/>
                  </a:lnTo>
                  <a:lnTo>
                    <a:pt x="28" y="49"/>
                  </a:lnTo>
                  <a:lnTo>
                    <a:pt x="27" y="50"/>
                  </a:lnTo>
                  <a:lnTo>
                    <a:pt x="24" y="51"/>
                  </a:lnTo>
                  <a:lnTo>
                    <a:pt x="20" y="50"/>
                  </a:lnTo>
                  <a:lnTo>
                    <a:pt x="17" y="49"/>
                  </a:lnTo>
                  <a:lnTo>
                    <a:pt x="12" y="48"/>
                  </a:lnTo>
                  <a:lnTo>
                    <a:pt x="9" y="49"/>
                  </a:lnTo>
                  <a:lnTo>
                    <a:pt x="10" y="54"/>
                  </a:lnTo>
                  <a:lnTo>
                    <a:pt x="10" y="56"/>
                  </a:lnTo>
                  <a:lnTo>
                    <a:pt x="9" y="58"/>
                  </a:lnTo>
                  <a:lnTo>
                    <a:pt x="8" y="61"/>
                  </a:lnTo>
                  <a:lnTo>
                    <a:pt x="4" y="62"/>
                  </a:lnTo>
                  <a:lnTo>
                    <a:pt x="0" y="64"/>
                  </a:lnTo>
                  <a:lnTo>
                    <a:pt x="0" y="67"/>
                  </a:lnTo>
                  <a:lnTo>
                    <a:pt x="0" y="70"/>
                  </a:lnTo>
                  <a:lnTo>
                    <a:pt x="1" y="79"/>
                  </a:lnTo>
                  <a:lnTo>
                    <a:pt x="4" y="87"/>
                  </a:lnTo>
                  <a:lnTo>
                    <a:pt x="6" y="89"/>
                  </a:lnTo>
                  <a:lnTo>
                    <a:pt x="9" y="90"/>
                  </a:lnTo>
                  <a:lnTo>
                    <a:pt x="10" y="90"/>
                  </a:lnTo>
                  <a:lnTo>
                    <a:pt x="12" y="90"/>
                  </a:lnTo>
                  <a:lnTo>
                    <a:pt x="15" y="88"/>
                  </a:lnTo>
                  <a:lnTo>
                    <a:pt x="23" y="87"/>
                  </a:lnTo>
                  <a:lnTo>
                    <a:pt x="27" y="86"/>
                  </a:lnTo>
                  <a:lnTo>
                    <a:pt x="29" y="82"/>
                  </a:lnTo>
                  <a:lnTo>
                    <a:pt x="29" y="81"/>
                  </a:lnTo>
                  <a:lnTo>
                    <a:pt x="29" y="79"/>
                  </a:lnTo>
                  <a:lnTo>
                    <a:pt x="25" y="75"/>
                  </a:lnTo>
                  <a:lnTo>
                    <a:pt x="20" y="73"/>
                  </a:lnTo>
                  <a:lnTo>
                    <a:pt x="17" y="69"/>
                  </a:lnTo>
                  <a:lnTo>
                    <a:pt x="17" y="67"/>
                  </a:lnTo>
                  <a:lnTo>
                    <a:pt x="18" y="66"/>
                  </a:lnTo>
                  <a:lnTo>
                    <a:pt x="20" y="64"/>
                  </a:lnTo>
                  <a:lnTo>
                    <a:pt x="23" y="66"/>
                  </a:lnTo>
                  <a:lnTo>
                    <a:pt x="27" y="66"/>
                  </a:lnTo>
                  <a:lnTo>
                    <a:pt x="31" y="66"/>
                  </a:lnTo>
                  <a:lnTo>
                    <a:pt x="34" y="66"/>
                  </a:lnTo>
                  <a:lnTo>
                    <a:pt x="38" y="66"/>
                  </a:lnTo>
                  <a:lnTo>
                    <a:pt x="43" y="67"/>
                  </a:lnTo>
                  <a:lnTo>
                    <a:pt x="47" y="69"/>
                  </a:lnTo>
                  <a:lnTo>
                    <a:pt x="57" y="77"/>
                  </a:lnTo>
                  <a:lnTo>
                    <a:pt x="64" y="80"/>
                  </a:lnTo>
                  <a:lnTo>
                    <a:pt x="69" y="80"/>
                  </a:lnTo>
                  <a:lnTo>
                    <a:pt x="70" y="79"/>
                  </a:lnTo>
                  <a:lnTo>
                    <a:pt x="70" y="77"/>
                  </a:lnTo>
                  <a:lnTo>
                    <a:pt x="69" y="73"/>
                  </a:lnTo>
                  <a:lnTo>
                    <a:pt x="67" y="69"/>
                  </a:lnTo>
                  <a:lnTo>
                    <a:pt x="66" y="67"/>
                  </a:lnTo>
                  <a:lnTo>
                    <a:pt x="66" y="66"/>
                  </a:lnTo>
                  <a:lnTo>
                    <a:pt x="70" y="63"/>
                  </a:lnTo>
                  <a:lnTo>
                    <a:pt x="75" y="61"/>
                  </a:lnTo>
                  <a:lnTo>
                    <a:pt x="84" y="58"/>
                  </a:lnTo>
                  <a:lnTo>
                    <a:pt x="93" y="57"/>
                  </a:lnTo>
                  <a:lnTo>
                    <a:pt x="99" y="56"/>
                  </a:lnTo>
                  <a:lnTo>
                    <a:pt x="103" y="52"/>
                  </a:lnTo>
                  <a:lnTo>
                    <a:pt x="103" y="50"/>
                  </a:lnTo>
                  <a:lnTo>
                    <a:pt x="103" y="48"/>
                  </a:lnTo>
                  <a:lnTo>
                    <a:pt x="102" y="45"/>
                  </a:lnTo>
                  <a:lnTo>
                    <a:pt x="98" y="45"/>
                  </a:lnTo>
                  <a:lnTo>
                    <a:pt x="95" y="44"/>
                  </a:lnTo>
                  <a:lnTo>
                    <a:pt x="92" y="43"/>
                  </a:lnTo>
                  <a:lnTo>
                    <a:pt x="92" y="41"/>
                  </a:lnTo>
                  <a:lnTo>
                    <a:pt x="92" y="37"/>
                  </a:lnTo>
                  <a:lnTo>
                    <a:pt x="90" y="35"/>
                  </a:lnTo>
                  <a:lnTo>
                    <a:pt x="92" y="32"/>
                  </a:lnTo>
                  <a:lnTo>
                    <a:pt x="95" y="29"/>
                  </a:lnTo>
                  <a:lnTo>
                    <a:pt x="97" y="28"/>
                  </a:lnTo>
                  <a:lnTo>
                    <a:pt x="97" y="25"/>
                  </a:lnTo>
                  <a:lnTo>
                    <a:pt x="95" y="24"/>
                  </a:lnTo>
                  <a:lnTo>
                    <a:pt x="94" y="24"/>
                  </a:lnTo>
                  <a:lnTo>
                    <a:pt x="93" y="25"/>
                  </a:lnTo>
                  <a:lnTo>
                    <a:pt x="88" y="28"/>
                  </a:lnTo>
                  <a:lnTo>
                    <a:pt x="84" y="29"/>
                  </a:lnTo>
                  <a:lnTo>
                    <a:pt x="80" y="30"/>
                  </a:lnTo>
                  <a:lnTo>
                    <a:pt x="75" y="30"/>
                  </a:lnTo>
                  <a:lnTo>
                    <a:pt x="67" y="28"/>
                  </a:lnTo>
                  <a:lnTo>
                    <a:pt x="60" y="24"/>
                  </a:lnTo>
                  <a:lnTo>
                    <a:pt x="53" y="19"/>
                  </a:lnTo>
                  <a:lnTo>
                    <a:pt x="50" y="13"/>
                  </a:lnTo>
                  <a:lnTo>
                    <a:pt x="41"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 name="Freeform 70"/>
            <p:cNvSpPr>
              <a:spLocks/>
            </p:cNvSpPr>
            <p:nvPr/>
          </p:nvSpPr>
          <p:spPr bwMode="auto">
            <a:xfrm>
              <a:off x="8008939" y="2938466"/>
              <a:ext cx="23812" cy="23812"/>
            </a:xfrm>
            <a:custGeom>
              <a:avLst/>
              <a:gdLst>
                <a:gd name="T0" fmla="*/ 2147483647 w 17"/>
                <a:gd name="T1" fmla="*/ 2147483647 h 15"/>
                <a:gd name="T2" fmla="*/ 2147483647 w 17"/>
                <a:gd name="T3" fmla="*/ 2147483647 h 15"/>
                <a:gd name="T4" fmla="*/ 2147483647 w 17"/>
                <a:gd name="T5" fmla="*/ 2147483647 h 15"/>
                <a:gd name="T6" fmla="*/ 2147483647 w 17"/>
                <a:gd name="T7" fmla="*/ 0 h 15"/>
                <a:gd name="T8" fmla="*/ 2147483647 w 17"/>
                <a:gd name="T9" fmla="*/ 0 h 15"/>
                <a:gd name="T10" fmla="*/ 2147483647 w 17"/>
                <a:gd name="T11" fmla="*/ 0 h 15"/>
                <a:gd name="T12" fmla="*/ 2147483647 w 17"/>
                <a:gd name="T13" fmla="*/ 2147483647 h 15"/>
                <a:gd name="T14" fmla="*/ 2147483647 w 17"/>
                <a:gd name="T15" fmla="*/ 2147483647 h 15"/>
                <a:gd name="T16" fmla="*/ 2147483647 w 17"/>
                <a:gd name="T17" fmla="*/ 2147483647 h 15"/>
                <a:gd name="T18" fmla="*/ 0 w 17"/>
                <a:gd name="T19" fmla="*/ 2147483647 h 15"/>
                <a:gd name="T20" fmla="*/ 0 w 17"/>
                <a:gd name="T21" fmla="*/ 2147483647 h 15"/>
                <a:gd name="T22" fmla="*/ 2147483647 w 17"/>
                <a:gd name="T23" fmla="*/ 2147483647 h 15"/>
                <a:gd name="T24" fmla="*/ 2147483647 w 17"/>
                <a:gd name="T25" fmla="*/ 2147483647 h 15"/>
                <a:gd name="T26" fmla="*/ 2147483647 w 17"/>
                <a:gd name="T27" fmla="*/ 2147483647 h 15"/>
                <a:gd name="T28" fmla="*/ 2147483647 w 17"/>
                <a:gd name="T29" fmla="*/ 2147483647 h 15"/>
                <a:gd name="T30" fmla="*/ 2147483647 w 17"/>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5"/>
                <a:gd name="T50" fmla="*/ 17 w 17"/>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5">
                  <a:moveTo>
                    <a:pt x="17" y="3"/>
                  </a:moveTo>
                  <a:lnTo>
                    <a:pt x="17" y="2"/>
                  </a:lnTo>
                  <a:lnTo>
                    <a:pt x="17" y="1"/>
                  </a:lnTo>
                  <a:lnTo>
                    <a:pt x="16" y="0"/>
                  </a:lnTo>
                  <a:lnTo>
                    <a:pt x="13" y="0"/>
                  </a:lnTo>
                  <a:lnTo>
                    <a:pt x="12" y="0"/>
                  </a:lnTo>
                  <a:lnTo>
                    <a:pt x="11" y="1"/>
                  </a:lnTo>
                  <a:lnTo>
                    <a:pt x="9" y="2"/>
                  </a:lnTo>
                  <a:lnTo>
                    <a:pt x="3" y="9"/>
                  </a:lnTo>
                  <a:lnTo>
                    <a:pt x="0" y="13"/>
                  </a:lnTo>
                  <a:lnTo>
                    <a:pt x="0" y="14"/>
                  </a:lnTo>
                  <a:lnTo>
                    <a:pt x="2" y="14"/>
                  </a:lnTo>
                  <a:lnTo>
                    <a:pt x="3" y="15"/>
                  </a:lnTo>
                  <a:lnTo>
                    <a:pt x="5" y="14"/>
                  </a:lnTo>
                  <a:lnTo>
                    <a:pt x="9" y="12"/>
                  </a:lnTo>
                  <a:lnTo>
                    <a:pt x="17"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 name="Freeform 71"/>
            <p:cNvSpPr>
              <a:spLocks/>
            </p:cNvSpPr>
            <p:nvPr/>
          </p:nvSpPr>
          <p:spPr bwMode="auto">
            <a:xfrm>
              <a:off x="8048629" y="2894017"/>
              <a:ext cx="47625" cy="41275"/>
            </a:xfrm>
            <a:custGeom>
              <a:avLst/>
              <a:gdLst>
                <a:gd name="T0" fmla="*/ 2147483647 w 33"/>
                <a:gd name="T1" fmla="*/ 2147483647 h 26"/>
                <a:gd name="T2" fmla="*/ 2147483647 w 33"/>
                <a:gd name="T3" fmla="*/ 0 h 26"/>
                <a:gd name="T4" fmla="*/ 2147483647 w 33"/>
                <a:gd name="T5" fmla="*/ 0 h 26"/>
                <a:gd name="T6" fmla="*/ 2147483647 w 33"/>
                <a:gd name="T7" fmla="*/ 2147483647 h 26"/>
                <a:gd name="T8" fmla="*/ 2147483647 w 33"/>
                <a:gd name="T9" fmla="*/ 2147483647 h 26"/>
                <a:gd name="T10" fmla="*/ 2147483647 w 33"/>
                <a:gd name="T11" fmla="*/ 2147483647 h 26"/>
                <a:gd name="T12" fmla="*/ 2147483647 w 33"/>
                <a:gd name="T13" fmla="*/ 2147483647 h 26"/>
                <a:gd name="T14" fmla="*/ 2147483647 w 33"/>
                <a:gd name="T15" fmla="*/ 2147483647 h 26"/>
                <a:gd name="T16" fmla="*/ 2147483647 w 33"/>
                <a:gd name="T17" fmla="*/ 2147483647 h 26"/>
                <a:gd name="T18" fmla="*/ 2147483647 w 33"/>
                <a:gd name="T19" fmla="*/ 2147483647 h 26"/>
                <a:gd name="T20" fmla="*/ 2147483647 w 33"/>
                <a:gd name="T21" fmla="*/ 2147483647 h 26"/>
                <a:gd name="T22" fmla="*/ 0 w 33"/>
                <a:gd name="T23" fmla="*/ 2147483647 h 26"/>
                <a:gd name="T24" fmla="*/ 0 w 33"/>
                <a:gd name="T25" fmla="*/ 2147483647 h 26"/>
                <a:gd name="T26" fmla="*/ 2147483647 w 33"/>
                <a:gd name="T27" fmla="*/ 2147483647 h 26"/>
                <a:gd name="T28" fmla="*/ 2147483647 w 33"/>
                <a:gd name="T29" fmla="*/ 2147483647 h 26"/>
                <a:gd name="T30" fmla="*/ 2147483647 w 33"/>
                <a:gd name="T31" fmla="*/ 2147483647 h 26"/>
                <a:gd name="T32" fmla="*/ 2147483647 w 33"/>
                <a:gd name="T33" fmla="*/ 2147483647 h 26"/>
                <a:gd name="T34" fmla="*/ 2147483647 w 33"/>
                <a:gd name="T35" fmla="*/ 2147483647 h 26"/>
                <a:gd name="T36" fmla="*/ 2147483647 w 33"/>
                <a:gd name="T37" fmla="*/ 2147483647 h 26"/>
                <a:gd name="T38" fmla="*/ 2147483647 w 33"/>
                <a:gd name="T39" fmla="*/ 2147483647 h 26"/>
                <a:gd name="T40" fmla="*/ 2147483647 w 33"/>
                <a:gd name="T41" fmla="*/ 2147483647 h 26"/>
                <a:gd name="T42" fmla="*/ 2147483647 w 33"/>
                <a:gd name="T43" fmla="*/ 2147483647 h 26"/>
                <a:gd name="T44" fmla="*/ 2147483647 w 33"/>
                <a:gd name="T45" fmla="*/ 2147483647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26"/>
                <a:gd name="T71" fmla="*/ 33 w 33"/>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26">
                  <a:moveTo>
                    <a:pt x="32" y="2"/>
                  </a:moveTo>
                  <a:lnTo>
                    <a:pt x="31" y="0"/>
                  </a:lnTo>
                  <a:lnTo>
                    <a:pt x="28" y="0"/>
                  </a:lnTo>
                  <a:lnTo>
                    <a:pt x="25" y="3"/>
                  </a:lnTo>
                  <a:lnTo>
                    <a:pt x="24" y="4"/>
                  </a:lnTo>
                  <a:lnTo>
                    <a:pt x="20" y="5"/>
                  </a:lnTo>
                  <a:lnTo>
                    <a:pt x="17" y="5"/>
                  </a:lnTo>
                  <a:lnTo>
                    <a:pt x="14" y="5"/>
                  </a:lnTo>
                  <a:lnTo>
                    <a:pt x="10" y="7"/>
                  </a:lnTo>
                  <a:lnTo>
                    <a:pt x="6" y="12"/>
                  </a:lnTo>
                  <a:lnTo>
                    <a:pt x="3" y="17"/>
                  </a:lnTo>
                  <a:lnTo>
                    <a:pt x="0" y="22"/>
                  </a:lnTo>
                  <a:lnTo>
                    <a:pt x="0" y="24"/>
                  </a:lnTo>
                  <a:lnTo>
                    <a:pt x="1" y="26"/>
                  </a:lnTo>
                  <a:lnTo>
                    <a:pt x="3" y="26"/>
                  </a:lnTo>
                  <a:lnTo>
                    <a:pt x="5" y="24"/>
                  </a:lnTo>
                  <a:lnTo>
                    <a:pt x="10" y="19"/>
                  </a:lnTo>
                  <a:lnTo>
                    <a:pt x="17" y="16"/>
                  </a:lnTo>
                  <a:lnTo>
                    <a:pt x="22" y="13"/>
                  </a:lnTo>
                  <a:lnTo>
                    <a:pt x="28" y="10"/>
                  </a:lnTo>
                  <a:lnTo>
                    <a:pt x="33" y="5"/>
                  </a:lnTo>
                  <a:lnTo>
                    <a:pt x="33" y="3"/>
                  </a:lnTo>
                  <a:lnTo>
                    <a:pt x="32"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 name="Freeform 72"/>
            <p:cNvSpPr>
              <a:spLocks/>
            </p:cNvSpPr>
            <p:nvPr/>
          </p:nvSpPr>
          <p:spPr bwMode="auto">
            <a:xfrm>
              <a:off x="8007352" y="2935289"/>
              <a:ext cx="23813" cy="25400"/>
            </a:xfrm>
            <a:custGeom>
              <a:avLst/>
              <a:gdLst>
                <a:gd name="T0" fmla="*/ 2147483647 w 17"/>
                <a:gd name="T1" fmla="*/ 2147483647 h 16"/>
                <a:gd name="T2" fmla="*/ 2147483647 w 17"/>
                <a:gd name="T3" fmla="*/ 2147483647 h 16"/>
                <a:gd name="T4" fmla="*/ 2147483647 w 17"/>
                <a:gd name="T5" fmla="*/ 2147483647 h 16"/>
                <a:gd name="T6" fmla="*/ 2147483647 w 17"/>
                <a:gd name="T7" fmla="*/ 2147483647 h 16"/>
                <a:gd name="T8" fmla="*/ 2147483647 w 17"/>
                <a:gd name="T9" fmla="*/ 0 h 16"/>
                <a:gd name="T10" fmla="*/ 2147483647 w 17"/>
                <a:gd name="T11" fmla="*/ 0 h 16"/>
                <a:gd name="T12" fmla="*/ 2147483647 w 17"/>
                <a:gd name="T13" fmla="*/ 0 h 16"/>
                <a:gd name="T14" fmla="*/ 2147483647 w 17"/>
                <a:gd name="T15" fmla="*/ 0 h 16"/>
                <a:gd name="T16" fmla="*/ 2147483647 w 17"/>
                <a:gd name="T17" fmla="*/ 2147483647 h 16"/>
                <a:gd name="T18" fmla="*/ 2147483647 w 17"/>
                <a:gd name="T19" fmla="*/ 2147483647 h 16"/>
                <a:gd name="T20" fmla="*/ 2147483647 w 17"/>
                <a:gd name="T21" fmla="*/ 2147483647 h 16"/>
                <a:gd name="T22" fmla="*/ 2147483647 w 17"/>
                <a:gd name="T23" fmla="*/ 2147483647 h 16"/>
                <a:gd name="T24" fmla="*/ 2147483647 w 17"/>
                <a:gd name="T25" fmla="*/ 2147483647 h 16"/>
                <a:gd name="T26" fmla="*/ 0 w 17"/>
                <a:gd name="T27" fmla="*/ 2147483647 h 16"/>
                <a:gd name="T28" fmla="*/ 0 w 17"/>
                <a:gd name="T29" fmla="*/ 2147483647 h 16"/>
                <a:gd name="T30" fmla="*/ 2147483647 w 17"/>
                <a:gd name="T31" fmla="*/ 2147483647 h 16"/>
                <a:gd name="T32" fmla="*/ 2147483647 w 17"/>
                <a:gd name="T33" fmla="*/ 2147483647 h 16"/>
                <a:gd name="T34" fmla="*/ 2147483647 w 17"/>
                <a:gd name="T35" fmla="*/ 2147483647 h 16"/>
                <a:gd name="T36" fmla="*/ 2147483647 w 17"/>
                <a:gd name="T37" fmla="*/ 2147483647 h 16"/>
                <a:gd name="T38" fmla="*/ 2147483647 w 17"/>
                <a:gd name="T39" fmla="*/ 2147483647 h 16"/>
                <a:gd name="T40" fmla="*/ 2147483647 w 17"/>
                <a:gd name="T41" fmla="*/ 2147483647 h 16"/>
                <a:gd name="T42" fmla="*/ 2147483647 w 17"/>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16"/>
                <a:gd name="T68" fmla="*/ 17 w 17"/>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16">
                  <a:moveTo>
                    <a:pt x="17" y="4"/>
                  </a:moveTo>
                  <a:lnTo>
                    <a:pt x="17" y="4"/>
                  </a:lnTo>
                  <a:lnTo>
                    <a:pt x="17" y="3"/>
                  </a:lnTo>
                  <a:lnTo>
                    <a:pt x="17" y="2"/>
                  </a:lnTo>
                  <a:lnTo>
                    <a:pt x="15" y="0"/>
                  </a:lnTo>
                  <a:lnTo>
                    <a:pt x="13" y="0"/>
                  </a:lnTo>
                  <a:lnTo>
                    <a:pt x="12" y="0"/>
                  </a:lnTo>
                  <a:lnTo>
                    <a:pt x="10" y="2"/>
                  </a:lnTo>
                  <a:lnTo>
                    <a:pt x="9" y="3"/>
                  </a:lnTo>
                  <a:lnTo>
                    <a:pt x="3" y="10"/>
                  </a:lnTo>
                  <a:lnTo>
                    <a:pt x="0" y="14"/>
                  </a:lnTo>
                  <a:lnTo>
                    <a:pt x="0" y="15"/>
                  </a:lnTo>
                  <a:lnTo>
                    <a:pt x="1" y="15"/>
                  </a:lnTo>
                  <a:lnTo>
                    <a:pt x="3" y="16"/>
                  </a:lnTo>
                  <a:lnTo>
                    <a:pt x="5" y="15"/>
                  </a:lnTo>
                  <a:lnTo>
                    <a:pt x="9" y="12"/>
                  </a:lnTo>
                  <a:lnTo>
                    <a:pt x="17"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 name="Freeform 73"/>
            <p:cNvSpPr>
              <a:spLocks/>
            </p:cNvSpPr>
            <p:nvPr/>
          </p:nvSpPr>
          <p:spPr bwMode="auto">
            <a:xfrm>
              <a:off x="8047042" y="2892426"/>
              <a:ext cx="47625" cy="41275"/>
            </a:xfrm>
            <a:custGeom>
              <a:avLst/>
              <a:gdLst>
                <a:gd name="T0" fmla="*/ 2147483647 w 33"/>
                <a:gd name="T1" fmla="*/ 2147483647 h 26"/>
                <a:gd name="T2" fmla="*/ 2147483647 w 33"/>
                <a:gd name="T3" fmla="*/ 2147483647 h 26"/>
                <a:gd name="T4" fmla="*/ 2147483647 w 33"/>
                <a:gd name="T5" fmla="*/ 0 h 26"/>
                <a:gd name="T6" fmla="*/ 2147483647 w 33"/>
                <a:gd name="T7" fmla="*/ 0 h 26"/>
                <a:gd name="T8" fmla="*/ 2147483647 w 33"/>
                <a:gd name="T9" fmla="*/ 0 h 26"/>
                <a:gd name="T10" fmla="*/ 2147483647 w 33"/>
                <a:gd name="T11" fmla="*/ 2147483647 h 26"/>
                <a:gd name="T12" fmla="*/ 2147483647 w 33"/>
                <a:gd name="T13" fmla="*/ 2147483647 h 26"/>
                <a:gd name="T14" fmla="*/ 2147483647 w 33"/>
                <a:gd name="T15" fmla="*/ 2147483647 h 26"/>
                <a:gd name="T16" fmla="*/ 2147483647 w 33"/>
                <a:gd name="T17" fmla="*/ 2147483647 h 26"/>
                <a:gd name="T18" fmla="*/ 2147483647 w 33"/>
                <a:gd name="T19" fmla="*/ 2147483647 h 26"/>
                <a:gd name="T20" fmla="*/ 2147483647 w 33"/>
                <a:gd name="T21" fmla="*/ 2147483647 h 26"/>
                <a:gd name="T22" fmla="*/ 2147483647 w 33"/>
                <a:gd name="T23" fmla="*/ 2147483647 h 26"/>
                <a:gd name="T24" fmla="*/ 2147483647 w 33"/>
                <a:gd name="T25" fmla="*/ 2147483647 h 26"/>
                <a:gd name="T26" fmla="*/ 2147483647 w 33"/>
                <a:gd name="T27" fmla="*/ 2147483647 h 26"/>
                <a:gd name="T28" fmla="*/ 2147483647 w 33"/>
                <a:gd name="T29" fmla="*/ 2147483647 h 26"/>
                <a:gd name="T30" fmla="*/ 0 w 33"/>
                <a:gd name="T31" fmla="*/ 2147483647 h 26"/>
                <a:gd name="T32" fmla="*/ 0 w 33"/>
                <a:gd name="T33" fmla="*/ 2147483647 h 26"/>
                <a:gd name="T34" fmla="*/ 2147483647 w 33"/>
                <a:gd name="T35" fmla="*/ 2147483647 h 26"/>
                <a:gd name="T36" fmla="*/ 2147483647 w 33"/>
                <a:gd name="T37" fmla="*/ 2147483647 h 26"/>
                <a:gd name="T38" fmla="*/ 2147483647 w 33"/>
                <a:gd name="T39" fmla="*/ 2147483647 h 26"/>
                <a:gd name="T40" fmla="*/ 2147483647 w 33"/>
                <a:gd name="T41" fmla="*/ 2147483647 h 26"/>
                <a:gd name="T42" fmla="*/ 2147483647 w 33"/>
                <a:gd name="T43" fmla="*/ 2147483647 h 26"/>
                <a:gd name="T44" fmla="*/ 2147483647 w 33"/>
                <a:gd name="T45" fmla="*/ 2147483647 h 26"/>
                <a:gd name="T46" fmla="*/ 2147483647 w 33"/>
                <a:gd name="T47" fmla="*/ 2147483647 h 26"/>
                <a:gd name="T48" fmla="*/ 2147483647 w 33"/>
                <a:gd name="T49" fmla="*/ 2147483647 h 26"/>
                <a:gd name="T50" fmla="*/ 2147483647 w 33"/>
                <a:gd name="T51" fmla="*/ 2147483647 h 26"/>
                <a:gd name="T52" fmla="*/ 2147483647 w 33"/>
                <a:gd name="T53" fmla="*/ 2147483647 h 26"/>
                <a:gd name="T54" fmla="*/ 2147483647 w 33"/>
                <a:gd name="T55" fmla="*/ 2147483647 h 26"/>
                <a:gd name="T56" fmla="*/ 2147483647 w 33"/>
                <a:gd name="T57" fmla="*/ 2147483647 h 26"/>
                <a:gd name="T58" fmla="*/ 2147483647 w 33"/>
                <a:gd name="T59" fmla="*/ 2147483647 h 26"/>
                <a:gd name="T60" fmla="*/ 2147483647 w 33"/>
                <a:gd name="T61" fmla="*/ 2147483647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26"/>
                <a:gd name="T95" fmla="*/ 33 w 33"/>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26">
                  <a:moveTo>
                    <a:pt x="32" y="1"/>
                  </a:moveTo>
                  <a:lnTo>
                    <a:pt x="32" y="1"/>
                  </a:lnTo>
                  <a:lnTo>
                    <a:pt x="30" y="0"/>
                  </a:lnTo>
                  <a:lnTo>
                    <a:pt x="28" y="0"/>
                  </a:lnTo>
                  <a:lnTo>
                    <a:pt x="25" y="3"/>
                  </a:lnTo>
                  <a:lnTo>
                    <a:pt x="24" y="4"/>
                  </a:lnTo>
                  <a:lnTo>
                    <a:pt x="20" y="5"/>
                  </a:lnTo>
                  <a:lnTo>
                    <a:pt x="16" y="5"/>
                  </a:lnTo>
                  <a:lnTo>
                    <a:pt x="14" y="5"/>
                  </a:lnTo>
                  <a:lnTo>
                    <a:pt x="10" y="7"/>
                  </a:lnTo>
                  <a:lnTo>
                    <a:pt x="6" y="12"/>
                  </a:lnTo>
                  <a:lnTo>
                    <a:pt x="2" y="17"/>
                  </a:lnTo>
                  <a:lnTo>
                    <a:pt x="0" y="22"/>
                  </a:lnTo>
                  <a:lnTo>
                    <a:pt x="0" y="24"/>
                  </a:lnTo>
                  <a:lnTo>
                    <a:pt x="1" y="26"/>
                  </a:lnTo>
                  <a:lnTo>
                    <a:pt x="2" y="26"/>
                  </a:lnTo>
                  <a:lnTo>
                    <a:pt x="5" y="24"/>
                  </a:lnTo>
                  <a:lnTo>
                    <a:pt x="10" y="19"/>
                  </a:lnTo>
                  <a:lnTo>
                    <a:pt x="16" y="16"/>
                  </a:lnTo>
                  <a:lnTo>
                    <a:pt x="21" y="13"/>
                  </a:lnTo>
                  <a:lnTo>
                    <a:pt x="28" y="10"/>
                  </a:lnTo>
                  <a:lnTo>
                    <a:pt x="33" y="5"/>
                  </a:lnTo>
                  <a:lnTo>
                    <a:pt x="33" y="3"/>
                  </a:lnTo>
                  <a:lnTo>
                    <a:pt x="32"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 name="Freeform 74"/>
            <p:cNvSpPr>
              <a:spLocks/>
            </p:cNvSpPr>
            <p:nvPr/>
          </p:nvSpPr>
          <p:spPr bwMode="auto">
            <a:xfrm>
              <a:off x="8113717" y="2870204"/>
              <a:ext cx="22225" cy="20638"/>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0 h 13"/>
                <a:gd name="T10" fmla="*/ 2147483647 w 15"/>
                <a:gd name="T11" fmla="*/ 2147483647 h 13"/>
                <a:gd name="T12" fmla="*/ 2147483647 w 15"/>
                <a:gd name="T13" fmla="*/ 2147483647 h 13"/>
                <a:gd name="T14" fmla="*/ 0 w 15"/>
                <a:gd name="T15" fmla="*/ 2147483647 h 13"/>
                <a:gd name="T16" fmla="*/ 0 w 15"/>
                <a:gd name="T17" fmla="*/ 2147483647 h 13"/>
                <a:gd name="T18" fmla="*/ 2147483647 w 15"/>
                <a:gd name="T19" fmla="*/ 2147483647 h 13"/>
                <a:gd name="T20" fmla="*/ 2147483647 w 15"/>
                <a:gd name="T21" fmla="*/ 2147483647 h 13"/>
                <a:gd name="T22" fmla="*/ 2147483647 w 15"/>
                <a:gd name="T23" fmla="*/ 2147483647 h 13"/>
                <a:gd name="T24" fmla="*/ 2147483647 w 15"/>
                <a:gd name="T25" fmla="*/ 2147483647 h 13"/>
                <a:gd name="T26" fmla="*/ 2147483647 w 15"/>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13" y="4"/>
                  </a:moveTo>
                  <a:lnTo>
                    <a:pt x="15" y="1"/>
                  </a:lnTo>
                  <a:lnTo>
                    <a:pt x="12" y="0"/>
                  </a:lnTo>
                  <a:lnTo>
                    <a:pt x="11" y="0"/>
                  </a:lnTo>
                  <a:lnTo>
                    <a:pt x="8" y="0"/>
                  </a:lnTo>
                  <a:lnTo>
                    <a:pt x="3" y="5"/>
                  </a:lnTo>
                  <a:lnTo>
                    <a:pt x="1" y="7"/>
                  </a:lnTo>
                  <a:lnTo>
                    <a:pt x="0" y="9"/>
                  </a:lnTo>
                  <a:lnTo>
                    <a:pt x="0" y="12"/>
                  </a:lnTo>
                  <a:lnTo>
                    <a:pt x="1" y="13"/>
                  </a:lnTo>
                  <a:lnTo>
                    <a:pt x="3" y="13"/>
                  </a:lnTo>
                  <a:lnTo>
                    <a:pt x="6" y="12"/>
                  </a:lnTo>
                  <a:lnTo>
                    <a:pt x="10" y="8"/>
                  </a:lnTo>
                  <a:lnTo>
                    <a:pt x="13"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 name="Freeform 75"/>
            <p:cNvSpPr>
              <a:spLocks/>
            </p:cNvSpPr>
            <p:nvPr/>
          </p:nvSpPr>
          <p:spPr bwMode="auto">
            <a:xfrm>
              <a:off x="7915276" y="2568579"/>
              <a:ext cx="69850" cy="320675"/>
            </a:xfrm>
            <a:custGeom>
              <a:avLst/>
              <a:gdLst>
                <a:gd name="T0" fmla="*/ 2147483647 w 48"/>
                <a:gd name="T1" fmla="*/ 2147483647 h 202"/>
                <a:gd name="T2" fmla="*/ 2147483647 w 48"/>
                <a:gd name="T3" fmla="*/ 2147483647 h 202"/>
                <a:gd name="T4" fmla="*/ 2147483647 w 48"/>
                <a:gd name="T5" fmla="*/ 2147483647 h 202"/>
                <a:gd name="T6" fmla="*/ 2147483647 w 48"/>
                <a:gd name="T7" fmla="*/ 2147483647 h 202"/>
                <a:gd name="T8" fmla="*/ 2147483647 w 48"/>
                <a:gd name="T9" fmla="*/ 2147483647 h 202"/>
                <a:gd name="T10" fmla="*/ 2147483647 w 48"/>
                <a:gd name="T11" fmla="*/ 2147483647 h 202"/>
                <a:gd name="T12" fmla="*/ 2147483647 w 48"/>
                <a:gd name="T13" fmla="*/ 2147483647 h 202"/>
                <a:gd name="T14" fmla="*/ 2147483647 w 48"/>
                <a:gd name="T15" fmla="*/ 2147483647 h 202"/>
                <a:gd name="T16" fmla="*/ 2147483647 w 48"/>
                <a:gd name="T17" fmla="*/ 2147483647 h 202"/>
                <a:gd name="T18" fmla="*/ 2147483647 w 48"/>
                <a:gd name="T19" fmla="*/ 2147483647 h 202"/>
                <a:gd name="T20" fmla="*/ 0 w 48"/>
                <a:gd name="T21" fmla="*/ 2147483647 h 202"/>
                <a:gd name="T22" fmla="*/ 2147483647 w 48"/>
                <a:gd name="T23" fmla="*/ 2147483647 h 202"/>
                <a:gd name="T24" fmla="*/ 2147483647 w 48"/>
                <a:gd name="T25" fmla="*/ 2147483647 h 202"/>
                <a:gd name="T26" fmla="*/ 2147483647 w 48"/>
                <a:gd name="T27" fmla="*/ 2147483647 h 202"/>
                <a:gd name="T28" fmla="*/ 2147483647 w 48"/>
                <a:gd name="T29" fmla="*/ 2147483647 h 202"/>
                <a:gd name="T30" fmla="*/ 2147483647 w 48"/>
                <a:gd name="T31" fmla="*/ 2147483647 h 202"/>
                <a:gd name="T32" fmla="*/ 2147483647 w 48"/>
                <a:gd name="T33" fmla="*/ 2147483647 h 202"/>
                <a:gd name="T34" fmla="*/ 2147483647 w 48"/>
                <a:gd name="T35" fmla="*/ 2147483647 h 202"/>
                <a:gd name="T36" fmla="*/ 2147483647 w 48"/>
                <a:gd name="T37" fmla="*/ 2147483647 h 202"/>
                <a:gd name="T38" fmla="*/ 2147483647 w 48"/>
                <a:gd name="T39" fmla="*/ 2147483647 h 202"/>
                <a:gd name="T40" fmla="*/ 2147483647 w 48"/>
                <a:gd name="T41" fmla="*/ 2147483647 h 202"/>
                <a:gd name="T42" fmla="*/ 2147483647 w 48"/>
                <a:gd name="T43" fmla="*/ 2147483647 h 202"/>
                <a:gd name="T44" fmla="*/ 2147483647 w 48"/>
                <a:gd name="T45" fmla="*/ 2147483647 h 202"/>
                <a:gd name="T46" fmla="*/ 2147483647 w 48"/>
                <a:gd name="T47" fmla="*/ 2147483647 h 202"/>
                <a:gd name="T48" fmla="*/ 2147483647 w 48"/>
                <a:gd name="T49" fmla="*/ 2147483647 h 202"/>
                <a:gd name="T50" fmla="*/ 2147483647 w 48"/>
                <a:gd name="T51" fmla="*/ 2147483647 h 202"/>
                <a:gd name="T52" fmla="*/ 2147483647 w 48"/>
                <a:gd name="T53" fmla="*/ 2147483647 h 202"/>
                <a:gd name="T54" fmla="*/ 2147483647 w 48"/>
                <a:gd name="T55" fmla="*/ 2147483647 h 202"/>
                <a:gd name="T56" fmla="*/ 2147483647 w 48"/>
                <a:gd name="T57" fmla="*/ 2147483647 h 202"/>
                <a:gd name="T58" fmla="*/ 2147483647 w 48"/>
                <a:gd name="T59" fmla="*/ 2147483647 h 202"/>
                <a:gd name="T60" fmla="*/ 2147483647 w 48"/>
                <a:gd name="T61" fmla="*/ 2147483647 h 202"/>
                <a:gd name="T62" fmla="*/ 2147483647 w 48"/>
                <a:gd name="T63" fmla="*/ 2147483647 h 202"/>
                <a:gd name="T64" fmla="*/ 2147483647 w 48"/>
                <a:gd name="T65" fmla="*/ 2147483647 h 202"/>
                <a:gd name="T66" fmla="*/ 2147483647 w 48"/>
                <a:gd name="T67" fmla="*/ 2147483647 h 202"/>
                <a:gd name="T68" fmla="*/ 2147483647 w 48"/>
                <a:gd name="T69" fmla="*/ 2147483647 h 202"/>
                <a:gd name="T70" fmla="*/ 2147483647 w 48"/>
                <a:gd name="T71" fmla="*/ 2147483647 h 202"/>
                <a:gd name="T72" fmla="*/ 2147483647 w 48"/>
                <a:gd name="T73" fmla="*/ 2147483647 h 202"/>
                <a:gd name="T74" fmla="*/ 2147483647 w 48"/>
                <a:gd name="T75" fmla="*/ 2147483647 h 202"/>
                <a:gd name="T76" fmla="*/ 2147483647 w 48"/>
                <a:gd name="T77" fmla="*/ 2147483647 h 202"/>
                <a:gd name="T78" fmla="*/ 2147483647 w 48"/>
                <a:gd name="T79" fmla="*/ 2147483647 h 202"/>
                <a:gd name="T80" fmla="*/ 2147483647 w 48"/>
                <a:gd name="T81" fmla="*/ 2147483647 h 202"/>
                <a:gd name="T82" fmla="*/ 2147483647 w 48"/>
                <a:gd name="T83" fmla="*/ 2147483647 h 202"/>
                <a:gd name="T84" fmla="*/ 2147483647 w 48"/>
                <a:gd name="T85" fmla="*/ 2147483647 h 202"/>
                <a:gd name="T86" fmla="*/ 2147483647 w 48"/>
                <a:gd name="T87" fmla="*/ 2147483647 h 202"/>
                <a:gd name="T88" fmla="*/ 2147483647 w 48"/>
                <a:gd name="T89" fmla="*/ 2147483647 h 202"/>
                <a:gd name="T90" fmla="*/ 2147483647 w 48"/>
                <a:gd name="T91" fmla="*/ 2147483647 h 202"/>
                <a:gd name="T92" fmla="*/ 2147483647 w 48"/>
                <a:gd name="T93" fmla="*/ 2147483647 h 202"/>
                <a:gd name="T94" fmla="*/ 2147483647 w 48"/>
                <a:gd name="T95" fmla="*/ 2147483647 h 202"/>
                <a:gd name="T96" fmla="*/ 2147483647 w 48"/>
                <a:gd name="T97" fmla="*/ 2147483647 h 202"/>
                <a:gd name="T98" fmla="*/ 2147483647 w 48"/>
                <a:gd name="T99" fmla="*/ 2147483647 h 202"/>
                <a:gd name="T100" fmla="*/ 2147483647 w 48"/>
                <a:gd name="T101" fmla="*/ 2147483647 h 202"/>
                <a:gd name="T102" fmla="*/ 2147483647 w 48"/>
                <a:gd name="T103" fmla="*/ 2147483647 h 202"/>
                <a:gd name="T104" fmla="*/ 2147483647 w 48"/>
                <a:gd name="T105" fmla="*/ 2147483647 h 202"/>
                <a:gd name="T106" fmla="*/ 2147483647 w 48"/>
                <a:gd name="T107" fmla="*/ 2147483647 h 202"/>
                <a:gd name="T108" fmla="*/ 2147483647 w 48"/>
                <a:gd name="T109" fmla="*/ 2147483647 h 202"/>
                <a:gd name="T110" fmla="*/ 2147483647 w 48"/>
                <a:gd name="T111" fmla="*/ 2147483647 h 2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8"/>
                <a:gd name="T169" fmla="*/ 0 h 202"/>
                <a:gd name="T170" fmla="*/ 48 w 48"/>
                <a:gd name="T171" fmla="*/ 202 h 2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8" h="202">
                  <a:moveTo>
                    <a:pt x="30" y="184"/>
                  </a:moveTo>
                  <a:lnTo>
                    <a:pt x="29" y="188"/>
                  </a:lnTo>
                  <a:lnTo>
                    <a:pt x="28" y="194"/>
                  </a:lnTo>
                  <a:lnTo>
                    <a:pt x="28" y="198"/>
                  </a:lnTo>
                  <a:lnTo>
                    <a:pt x="26" y="199"/>
                  </a:lnTo>
                  <a:lnTo>
                    <a:pt x="24" y="199"/>
                  </a:lnTo>
                  <a:lnTo>
                    <a:pt x="22" y="199"/>
                  </a:lnTo>
                  <a:lnTo>
                    <a:pt x="21" y="198"/>
                  </a:lnTo>
                  <a:lnTo>
                    <a:pt x="21" y="195"/>
                  </a:lnTo>
                  <a:lnTo>
                    <a:pt x="21" y="190"/>
                  </a:lnTo>
                  <a:lnTo>
                    <a:pt x="20" y="188"/>
                  </a:lnTo>
                  <a:lnTo>
                    <a:pt x="19" y="186"/>
                  </a:lnTo>
                  <a:lnTo>
                    <a:pt x="16" y="185"/>
                  </a:lnTo>
                  <a:lnTo>
                    <a:pt x="15" y="185"/>
                  </a:lnTo>
                  <a:lnTo>
                    <a:pt x="12" y="190"/>
                  </a:lnTo>
                  <a:lnTo>
                    <a:pt x="10" y="194"/>
                  </a:lnTo>
                  <a:lnTo>
                    <a:pt x="9" y="197"/>
                  </a:lnTo>
                  <a:lnTo>
                    <a:pt x="6" y="201"/>
                  </a:lnTo>
                  <a:lnTo>
                    <a:pt x="5" y="202"/>
                  </a:lnTo>
                  <a:lnTo>
                    <a:pt x="3" y="202"/>
                  </a:lnTo>
                  <a:lnTo>
                    <a:pt x="1" y="199"/>
                  </a:lnTo>
                  <a:lnTo>
                    <a:pt x="0" y="195"/>
                  </a:lnTo>
                  <a:lnTo>
                    <a:pt x="0" y="191"/>
                  </a:lnTo>
                  <a:lnTo>
                    <a:pt x="1" y="183"/>
                  </a:lnTo>
                  <a:lnTo>
                    <a:pt x="1" y="171"/>
                  </a:lnTo>
                  <a:lnTo>
                    <a:pt x="2" y="160"/>
                  </a:lnTo>
                  <a:lnTo>
                    <a:pt x="3" y="137"/>
                  </a:lnTo>
                  <a:lnTo>
                    <a:pt x="3" y="135"/>
                  </a:lnTo>
                  <a:lnTo>
                    <a:pt x="2" y="133"/>
                  </a:lnTo>
                  <a:lnTo>
                    <a:pt x="1" y="131"/>
                  </a:lnTo>
                  <a:lnTo>
                    <a:pt x="1" y="128"/>
                  </a:lnTo>
                  <a:lnTo>
                    <a:pt x="2" y="126"/>
                  </a:lnTo>
                  <a:lnTo>
                    <a:pt x="3" y="124"/>
                  </a:lnTo>
                  <a:lnTo>
                    <a:pt x="5" y="122"/>
                  </a:lnTo>
                  <a:lnTo>
                    <a:pt x="6" y="120"/>
                  </a:lnTo>
                  <a:lnTo>
                    <a:pt x="6" y="111"/>
                  </a:lnTo>
                  <a:lnTo>
                    <a:pt x="7" y="101"/>
                  </a:lnTo>
                  <a:lnTo>
                    <a:pt x="6" y="86"/>
                  </a:lnTo>
                  <a:lnTo>
                    <a:pt x="3" y="70"/>
                  </a:lnTo>
                  <a:lnTo>
                    <a:pt x="1" y="57"/>
                  </a:lnTo>
                  <a:lnTo>
                    <a:pt x="1" y="45"/>
                  </a:lnTo>
                  <a:lnTo>
                    <a:pt x="3" y="32"/>
                  </a:lnTo>
                  <a:lnTo>
                    <a:pt x="7" y="19"/>
                  </a:lnTo>
                  <a:lnTo>
                    <a:pt x="9" y="18"/>
                  </a:lnTo>
                  <a:lnTo>
                    <a:pt x="10" y="16"/>
                  </a:lnTo>
                  <a:lnTo>
                    <a:pt x="14" y="15"/>
                  </a:lnTo>
                  <a:lnTo>
                    <a:pt x="16" y="13"/>
                  </a:lnTo>
                  <a:lnTo>
                    <a:pt x="16" y="12"/>
                  </a:lnTo>
                  <a:lnTo>
                    <a:pt x="16" y="9"/>
                  </a:lnTo>
                  <a:lnTo>
                    <a:pt x="15" y="4"/>
                  </a:lnTo>
                  <a:lnTo>
                    <a:pt x="15" y="0"/>
                  </a:lnTo>
                  <a:lnTo>
                    <a:pt x="17" y="1"/>
                  </a:lnTo>
                  <a:lnTo>
                    <a:pt x="20" y="4"/>
                  </a:lnTo>
                  <a:lnTo>
                    <a:pt x="22" y="10"/>
                  </a:lnTo>
                  <a:lnTo>
                    <a:pt x="25" y="16"/>
                  </a:lnTo>
                  <a:lnTo>
                    <a:pt x="25" y="20"/>
                  </a:lnTo>
                  <a:lnTo>
                    <a:pt x="22" y="26"/>
                  </a:lnTo>
                  <a:lnTo>
                    <a:pt x="21" y="29"/>
                  </a:lnTo>
                  <a:lnTo>
                    <a:pt x="21" y="32"/>
                  </a:lnTo>
                  <a:lnTo>
                    <a:pt x="24" y="36"/>
                  </a:lnTo>
                  <a:lnTo>
                    <a:pt x="28" y="39"/>
                  </a:lnTo>
                  <a:lnTo>
                    <a:pt x="29" y="41"/>
                  </a:lnTo>
                  <a:lnTo>
                    <a:pt x="29" y="42"/>
                  </a:lnTo>
                  <a:lnTo>
                    <a:pt x="29" y="43"/>
                  </a:lnTo>
                  <a:lnTo>
                    <a:pt x="25" y="48"/>
                  </a:lnTo>
                  <a:lnTo>
                    <a:pt x="21" y="54"/>
                  </a:lnTo>
                  <a:lnTo>
                    <a:pt x="21" y="60"/>
                  </a:lnTo>
                  <a:lnTo>
                    <a:pt x="21" y="65"/>
                  </a:lnTo>
                  <a:lnTo>
                    <a:pt x="24" y="67"/>
                  </a:lnTo>
                  <a:lnTo>
                    <a:pt x="26" y="68"/>
                  </a:lnTo>
                  <a:lnTo>
                    <a:pt x="26" y="71"/>
                  </a:lnTo>
                  <a:lnTo>
                    <a:pt x="28" y="75"/>
                  </a:lnTo>
                  <a:lnTo>
                    <a:pt x="33" y="82"/>
                  </a:lnTo>
                  <a:lnTo>
                    <a:pt x="33" y="86"/>
                  </a:lnTo>
                  <a:lnTo>
                    <a:pt x="33" y="89"/>
                  </a:lnTo>
                  <a:lnTo>
                    <a:pt x="31" y="93"/>
                  </a:lnTo>
                  <a:lnTo>
                    <a:pt x="33" y="96"/>
                  </a:lnTo>
                  <a:lnTo>
                    <a:pt x="38" y="106"/>
                  </a:lnTo>
                  <a:lnTo>
                    <a:pt x="44" y="114"/>
                  </a:lnTo>
                  <a:lnTo>
                    <a:pt x="47" y="119"/>
                  </a:lnTo>
                  <a:lnTo>
                    <a:pt x="48" y="122"/>
                  </a:lnTo>
                  <a:lnTo>
                    <a:pt x="48" y="127"/>
                  </a:lnTo>
                  <a:lnTo>
                    <a:pt x="47" y="132"/>
                  </a:lnTo>
                  <a:lnTo>
                    <a:pt x="38" y="124"/>
                  </a:lnTo>
                  <a:lnTo>
                    <a:pt x="33" y="120"/>
                  </a:lnTo>
                  <a:lnTo>
                    <a:pt x="29" y="120"/>
                  </a:lnTo>
                  <a:lnTo>
                    <a:pt x="26" y="120"/>
                  </a:lnTo>
                  <a:lnTo>
                    <a:pt x="22" y="121"/>
                  </a:lnTo>
                  <a:lnTo>
                    <a:pt x="20" y="124"/>
                  </a:lnTo>
                  <a:lnTo>
                    <a:pt x="19" y="126"/>
                  </a:lnTo>
                  <a:lnTo>
                    <a:pt x="17" y="128"/>
                  </a:lnTo>
                  <a:lnTo>
                    <a:pt x="17" y="135"/>
                  </a:lnTo>
                  <a:lnTo>
                    <a:pt x="19" y="141"/>
                  </a:lnTo>
                  <a:lnTo>
                    <a:pt x="19" y="145"/>
                  </a:lnTo>
                  <a:lnTo>
                    <a:pt x="17" y="147"/>
                  </a:lnTo>
                  <a:lnTo>
                    <a:pt x="16" y="151"/>
                  </a:lnTo>
                  <a:lnTo>
                    <a:pt x="17" y="154"/>
                  </a:lnTo>
                  <a:lnTo>
                    <a:pt x="16" y="157"/>
                  </a:lnTo>
                  <a:lnTo>
                    <a:pt x="15" y="160"/>
                  </a:lnTo>
                  <a:lnTo>
                    <a:pt x="14" y="163"/>
                  </a:lnTo>
                  <a:lnTo>
                    <a:pt x="12" y="166"/>
                  </a:lnTo>
                  <a:lnTo>
                    <a:pt x="15" y="169"/>
                  </a:lnTo>
                  <a:lnTo>
                    <a:pt x="16" y="169"/>
                  </a:lnTo>
                  <a:lnTo>
                    <a:pt x="19" y="169"/>
                  </a:lnTo>
                  <a:lnTo>
                    <a:pt x="20" y="170"/>
                  </a:lnTo>
                  <a:lnTo>
                    <a:pt x="20" y="171"/>
                  </a:lnTo>
                  <a:lnTo>
                    <a:pt x="20" y="175"/>
                  </a:lnTo>
                  <a:lnTo>
                    <a:pt x="21" y="176"/>
                  </a:lnTo>
                  <a:lnTo>
                    <a:pt x="29" y="177"/>
                  </a:lnTo>
                  <a:lnTo>
                    <a:pt x="30" y="178"/>
                  </a:lnTo>
                  <a:lnTo>
                    <a:pt x="31" y="179"/>
                  </a:lnTo>
                  <a:lnTo>
                    <a:pt x="31" y="182"/>
                  </a:lnTo>
                  <a:lnTo>
                    <a:pt x="30" y="18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 name="Freeform 76"/>
            <p:cNvSpPr>
              <a:spLocks/>
            </p:cNvSpPr>
            <p:nvPr/>
          </p:nvSpPr>
          <p:spPr bwMode="auto">
            <a:xfrm>
              <a:off x="8110542" y="2868617"/>
              <a:ext cx="22225" cy="20637"/>
            </a:xfrm>
            <a:custGeom>
              <a:avLst/>
              <a:gdLst>
                <a:gd name="T0" fmla="*/ 2147483647 w 15"/>
                <a:gd name="T1" fmla="*/ 2147483647 h 13"/>
                <a:gd name="T2" fmla="*/ 2147483647 w 15"/>
                <a:gd name="T3" fmla="*/ 2147483647 h 13"/>
                <a:gd name="T4" fmla="*/ 2147483647 w 15"/>
                <a:gd name="T5" fmla="*/ 2147483647 h 13"/>
                <a:gd name="T6" fmla="*/ 2147483647 w 15"/>
                <a:gd name="T7" fmla="*/ 0 h 13"/>
                <a:gd name="T8" fmla="*/ 2147483647 w 15"/>
                <a:gd name="T9" fmla="*/ 0 h 13"/>
                <a:gd name="T10" fmla="*/ 2147483647 w 15"/>
                <a:gd name="T11" fmla="*/ 0 h 13"/>
                <a:gd name="T12" fmla="*/ 2147483647 w 15"/>
                <a:gd name="T13" fmla="*/ 0 h 13"/>
                <a:gd name="T14" fmla="*/ 2147483647 w 15"/>
                <a:gd name="T15" fmla="*/ 2147483647 h 13"/>
                <a:gd name="T16" fmla="*/ 2147483647 w 15"/>
                <a:gd name="T17" fmla="*/ 2147483647 h 13"/>
                <a:gd name="T18" fmla="*/ 0 w 15"/>
                <a:gd name="T19" fmla="*/ 2147483647 h 13"/>
                <a:gd name="T20" fmla="*/ 0 w 15"/>
                <a:gd name="T21" fmla="*/ 2147483647 h 13"/>
                <a:gd name="T22" fmla="*/ 0 w 15"/>
                <a:gd name="T23" fmla="*/ 2147483647 h 13"/>
                <a:gd name="T24" fmla="*/ 2147483647 w 15"/>
                <a:gd name="T25" fmla="*/ 2147483647 h 13"/>
                <a:gd name="T26" fmla="*/ 2147483647 w 15"/>
                <a:gd name="T27" fmla="*/ 2147483647 h 13"/>
                <a:gd name="T28" fmla="*/ 2147483647 w 15"/>
                <a:gd name="T29" fmla="*/ 2147483647 h 13"/>
                <a:gd name="T30" fmla="*/ 2147483647 w 15"/>
                <a:gd name="T31" fmla="*/ 2147483647 h 13"/>
                <a:gd name="T32" fmla="*/ 2147483647 w 15"/>
                <a:gd name="T33" fmla="*/ 2147483647 h 13"/>
                <a:gd name="T34" fmla="*/ 2147483647 w 15"/>
                <a:gd name="T35" fmla="*/ 2147483647 h 13"/>
                <a:gd name="T36" fmla="*/ 2147483647 w 15"/>
                <a:gd name="T37" fmla="*/ 2147483647 h 13"/>
                <a:gd name="T38" fmla="*/ 2147483647 w 15"/>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3"/>
                <a:gd name="T62" fmla="*/ 15 w 1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3">
                  <a:moveTo>
                    <a:pt x="14" y="3"/>
                  </a:moveTo>
                  <a:lnTo>
                    <a:pt x="14" y="3"/>
                  </a:lnTo>
                  <a:lnTo>
                    <a:pt x="15" y="1"/>
                  </a:lnTo>
                  <a:lnTo>
                    <a:pt x="13" y="0"/>
                  </a:lnTo>
                  <a:lnTo>
                    <a:pt x="12" y="0"/>
                  </a:lnTo>
                  <a:lnTo>
                    <a:pt x="9" y="0"/>
                  </a:lnTo>
                  <a:lnTo>
                    <a:pt x="4" y="5"/>
                  </a:lnTo>
                  <a:lnTo>
                    <a:pt x="2" y="7"/>
                  </a:lnTo>
                  <a:lnTo>
                    <a:pt x="0" y="9"/>
                  </a:lnTo>
                  <a:lnTo>
                    <a:pt x="0" y="12"/>
                  </a:lnTo>
                  <a:lnTo>
                    <a:pt x="2" y="13"/>
                  </a:lnTo>
                  <a:lnTo>
                    <a:pt x="4" y="13"/>
                  </a:lnTo>
                  <a:lnTo>
                    <a:pt x="7" y="12"/>
                  </a:lnTo>
                  <a:lnTo>
                    <a:pt x="10" y="8"/>
                  </a:lnTo>
                  <a:lnTo>
                    <a:pt x="14"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 name="Freeform 77"/>
            <p:cNvSpPr>
              <a:spLocks/>
            </p:cNvSpPr>
            <p:nvPr/>
          </p:nvSpPr>
          <p:spPr bwMode="auto">
            <a:xfrm>
              <a:off x="7912100" y="2566994"/>
              <a:ext cx="71438" cy="320675"/>
            </a:xfrm>
            <a:custGeom>
              <a:avLst/>
              <a:gdLst>
                <a:gd name="T0" fmla="*/ 2147483647 w 49"/>
                <a:gd name="T1" fmla="*/ 2147483647 h 202"/>
                <a:gd name="T2" fmla="*/ 2147483647 w 49"/>
                <a:gd name="T3" fmla="*/ 2147483647 h 202"/>
                <a:gd name="T4" fmla="*/ 2147483647 w 49"/>
                <a:gd name="T5" fmla="*/ 2147483647 h 202"/>
                <a:gd name="T6" fmla="*/ 2147483647 w 49"/>
                <a:gd name="T7" fmla="*/ 2147483647 h 202"/>
                <a:gd name="T8" fmla="*/ 2147483647 w 49"/>
                <a:gd name="T9" fmla="*/ 2147483647 h 202"/>
                <a:gd name="T10" fmla="*/ 2147483647 w 49"/>
                <a:gd name="T11" fmla="*/ 2147483647 h 202"/>
                <a:gd name="T12" fmla="*/ 2147483647 w 49"/>
                <a:gd name="T13" fmla="*/ 2147483647 h 202"/>
                <a:gd name="T14" fmla="*/ 2147483647 w 49"/>
                <a:gd name="T15" fmla="*/ 2147483647 h 202"/>
                <a:gd name="T16" fmla="*/ 2147483647 w 49"/>
                <a:gd name="T17" fmla="*/ 2147483647 h 202"/>
                <a:gd name="T18" fmla="*/ 0 w 49"/>
                <a:gd name="T19" fmla="*/ 2147483647 h 202"/>
                <a:gd name="T20" fmla="*/ 2147483647 w 49"/>
                <a:gd name="T21" fmla="*/ 2147483647 h 202"/>
                <a:gd name="T22" fmla="*/ 2147483647 w 49"/>
                <a:gd name="T23" fmla="*/ 2147483647 h 202"/>
                <a:gd name="T24" fmla="*/ 2147483647 w 49"/>
                <a:gd name="T25" fmla="*/ 2147483647 h 202"/>
                <a:gd name="T26" fmla="*/ 2147483647 w 49"/>
                <a:gd name="T27" fmla="*/ 2147483647 h 202"/>
                <a:gd name="T28" fmla="*/ 2147483647 w 49"/>
                <a:gd name="T29" fmla="*/ 2147483647 h 202"/>
                <a:gd name="T30" fmla="*/ 2147483647 w 49"/>
                <a:gd name="T31" fmla="*/ 2147483647 h 202"/>
                <a:gd name="T32" fmla="*/ 2147483647 w 49"/>
                <a:gd name="T33" fmla="*/ 2147483647 h 202"/>
                <a:gd name="T34" fmla="*/ 2147483647 w 49"/>
                <a:gd name="T35" fmla="*/ 2147483647 h 202"/>
                <a:gd name="T36" fmla="*/ 2147483647 w 49"/>
                <a:gd name="T37" fmla="*/ 2147483647 h 202"/>
                <a:gd name="T38" fmla="*/ 2147483647 w 49"/>
                <a:gd name="T39" fmla="*/ 2147483647 h 202"/>
                <a:gd name="T40" fmla="*/ 2147483647 w 49"/>
                <a:gd name="T41" fmla="*/ 2147483647 h 202"/>
                <a:gd name="T42" fmla="*/ 2147483647 w 49"/>
                <a:gd name="T43" fmla="*/ 0 h 202"/>
                <a:gd name="T44" fmla="*/ 2147483647 w 49"/>
                <a:gd name="T45" fmla="*/ 2147483647 h 202"/>
                <a:gd name="T46" fmla="*/ 2147483647 w 49"/>
                <a:gd name="T47" fmla="*/ 2147483647 h 202"/>
                <a:gd name="T48" fmla="*/ 2147483647 w 49"/>
                <a:gd name="T49" fmla="*/ 2147483647 h 202"/>
                <a:gd name="T50" fmla="*/ 2147483647 w 49"/>
                <a:gd name="T51" fmla="*/ 2147483647 h 202"/>
                <a:gd name="T52" fmla="*/ 2147483647 w 49"/>
                <a:gd name="T53" fmla="*/ 2147483647 h 202"/>
                <a:gd name="T54" fmla="*/ 2147483647 w 49"/>
                <a:gd name="T55" fmla="*/ 2147483647 h 202"/>
                <a:gd name="T56" fmla="*/ 2147483647 w 49"/>
                <a:gd name="T57" fmla="*/ 2147483647 h 202"/>
                <a:gd name="T58" fmla="*/ 2147483647 w 49"/>
                <a:gd name="T59" fmla="*/ 2147483647 h 202"/>
                <a:gd name="T60" fmla="*/ 2147483647 w 49"/>
                <a:gd name="T61" fmla="*/ 2147483647 h 202"/>
                <a:gd name="T62" fmla="*/ 2147483647 w 49"/>
                <a:gd name="T63" fmla="*/ 2147483647 h 202"/>
                <a:gd name="T64" fmla="*/ 2147483647 w 49"/>
                <a:gd name="T65" fmla="*/ 2147483647 h 202"/>
                <a:gd name="T66" fmla="*/ 2147483647 w 49"/>
                <a:gd name="T67" fmla="*/ 2147483647 h 202"/>
                <a:gd name="T68" fmla="*/ 2147483647 w 49"/>
                <a:gd name="T69" fmla="*/ 2147483647 h 202"/>
                <a:gd name="T70" fmla="*/ 2147483647 w 49"/>
                <a:gd name="T71" fmla="*/ 2147483647 h 202"/>
                <a:gd name="T72" fmla="*/ 2147483647 w 49"/>
                <a:gd name="T73" fmla="*/ 2147483647 h 202"/>
                <a:gd name="T74" fmla="*/ 2147483647 w 49"/>
                <a:gd name="T75" fmla="*/ 2147483647 h 202"/>
                <a:gd name="T76" fmla="*/ 2147483647 w 49"/>
                <a:gd name="T77" fmla="*/ 2147483647 h 202"/>
                <a:gd name="T78" fmla="*/ 2147483647 w 49"/>
                <a:gd name="T79" fmla="*/ 2147483647 h 202"/>
                <a:gd name="T80" fmla="*/ 2147483647 w 49"/>
                <a:gd name="T81" fmla="*/ 2147483647 h 202"/>
                <a:gd name="T82" fmla="*/ 2147483647 w 49"/>
                <a:gd name="T83" fmla="*/ 2147483647 h 202"/>
                <a:gd name="T84" fmla="*/ 2147483647 w 49"/>
                <a:gd name="T85" fmla="*/ 2147483647 h 202"/>
                <a:gd name="T86" fmla="*/ 2147483647 w 49"/>
                <a:gd name="T87" fmla="*/ 2147483647 h 202"/>
                <a:gd name="T88" fmla="*/ 2147483647 w 49"/>
                <a:gd name="T89" fmla="*/ 2147483647 h 202"/>
                <a:gd name="T90" fmla="*/ 2147483647 w 49"/>
                <a:gd name="T91" fmla="*/ 2147483647 h 202"/>
                <a:gd name="T92" fmla="*/ 2147483647 w 49"/>
                <a:gd name="T93" fmla="*/ 2147483647 h 202"/>
                <a:gd name="T94" fmla="*/ 2147483647 w 49"/>
                <a:gd name="T95" fmla="*/ 2147483647 h 202"/>
                <a:gd name="T96" fmla="*/ 2147483647 w 4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9"/>
                <a:gd name="T148" fmla="*/ 0 h 202"/>
                <a:gd name="T149" fmla="*/ 49 w 4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9" h="202">
                  <a:moveTo>
                    <a:pt x="31" y="184"/>
                  </a:moveTo>
                  <a:lnTo>
                    <a:pt x="31" y="184"/>
                  </a:lnTo>
                  <a:lnTo>
                    <a:pt x="30" y="187"/>
                  </a:lnTo>
                  <a:lnTo>
                    <a:pt x="28" y="193"/>
                  </a:lnTo>
                  <a:lnTo>
                    <a:pt x="28" y="198"/>
                  </a:lnTo>
                  <a:lnTo>
                    <a:pt x="27" y="199"/>
                  </a:lnTo>
                  <a:lnTo>
                    <a:pt x="24" y="199"/>
                  </a:lnTo>
                  <a:lnTo>
                    <a:pt x="23" y="199"/>
                  </a:lnTo>
                  <a:lnTo>
                    <a:pt x="22" y="198"/>
                  </a:lnTo>
                  <a:lnTo>
                    <a:pt x="22" y="195"/>
                  </a:lnTo>
                  <a:lnTo>
                    <a:pt x="22" y="190"/>
                  </a:lnTo>
                  <a:lnTo>
                    <a:pt x="21" y="187"/>
                  </a:lnTo>
                  <a:lnTo>
                    <a:pt x="19" y="186"/>
                  </a:lnTo>
                  <a:lnTo>
                    <a:pt x="17" y="185"/>
                  </a:lnTo>
                  <a:lnTo>
                    <a:pt x="16" y="185"/>
                  </a:lnTo>
                  <a:lnTo>
                    <a:pt x="13" y="190"/>
                  </a:lnTo>
                  <a:lnTo>
                    <a:pt x="11" y="193"/>
                  </a:lnTo>
                  <a:lnTo>
                    <a:pt x="9" y="197"/>
                  </a:lnTo>
                  <a:lnTo>
                    <a:pt x="7" y="200"/>
                  </a:lnTo>
                  <a:lnTo>
                    <a:pt x="5" y="202"/>
                  </a:lnTo>
                  <a:lnTo>
                    <a:pt x="4" y="202"/>
                  </a:lnTo>
                  <a:lnTo>
                    <a:pt x="2" y="199"/>
                  </a:lnTo>
                  <a:lnTo>
                    <a:pt x="0" y="195"/>
                  </a:lnTo>
                  <a:lnTo>
                    <a:pt x="0" y="191"/>
                  </a:lnTo>
                  <a:lnTo>
                    <a:pt x="2" y="183"/>
                  </a:lnTo>
                  <a:lnTo>
                    <a:pt x="2" y="171"/>
                  </a:lnTo>
                  <a:lnTo>
                    <a:pt x="3" y="160"/>
                  </a:lnTo>
                  <a:lnTo>
                    <a:pt x="4" y="136"/>
                  </a:lnTo>
                  <a:lnTo>
                    <a:pt x="4" y="135"/>
                  </a:lnTo>
                  <a:lnTo>
                    <a:pt x="3" y="133"/>
                  </a:lnTo>
                  <a:lnTo>
                    <a:pt x="2" y="131"/>
                  </a:lnTo>
                  <a:lnTo>
                    <a:pt x="2" y="128"/>
                  </a:lnTo>
                  <a:lnTo>
                    <a:pt x="3" y="126"/>
                  </a:lnTo>
                  <a:lnTo>
                    <a:pt x="4" y="123"/>
                  </a:lnTo>
                  <a:lnTo>
                    <a:pt x="5" y="122"/>
                  </a:lnTo>
                  <a:lnTo>
                    <a:pt x="7" y="120"/>
                  </a:lnTo>
                  <a:lnTo>
                    <a:pt x="7" y="110"/>
                  </a:lnTo>
                  <a:lnTo>
                    <a:pt x="8" y="101"/>
                  </a:lnTo>
                  <a:lnTo>
                    <a:pt x="7" y="85"/>
                  </a:lnTo>
                  <a:lnTo>
                    <a:pt x="4" y="70"/>
                  </a:lnTo>
                  <a:lnTo>
                    <a:pt x="2" y="57"/>
                  </a:lnTo>
                  <a:lnTo>
                    <a:pt x="2" y="45"/>
                  </a:lnTo>
                  <a:lnTo>
                    <a:pt x="4" y="32"/>
                  </a:lnTo>
                  <a:lnTo>
                    <a:pt x="8" y="19"/>
                  </a:lnTo>
                  <a:lnTo>
                    <a:pt x="9" y="18"/>
                  </a:lnTo>
                  <a:lnTo>
                    <a:pt x="11" y="16"/>
                  </a:lnTo>
                  <a:lnTo>
                    <a:pt x="14" y="14"/>
                  </a:lnTo>
                  <a:lnTo>
                    <a:pt x="17" y="13"/>
                  </a:lnTo>
                  <a:lnTo>
                    <a:pt x="17" y="12"/>
                  </a:lnTo>
                  <a:lnTo>
                    <a:pt x="17" y="8"/>
                  </a:lnTo>
                  <a:lnTo>
                    <a:pt x="16" y="4"/>
                  </a:lnTo>
                  <a:lnTo>
                    <a:pt x="16" y="0"/>
                  </a:lnTo>
                  <a:lnTo>
                    <a:pt x="18" y="1"/>
                  </a:lnTo>
                  <a:lnTo>
                    <a:pt x="21" y="4"/>
                  </a:lnTo>
                  <a:lnTo>
                    <a:pt x="23" y="10"/>
                  </a:lnTo>
                  <a:lnTo>
                    <a:pt x="26" y="16"/>
                  </a:lnTo>
                  <a:lnTo>
                    <a:pt x="26" y="20"/>
                  </a:lnTo>
                  <a:lnTo>
                    <a:pt x="23" y="26"/>
                  </a:lnTo>
                  <a:lnTo>
                    <a:pt x="22" y="29"/>
                  </a:lnTo>
                  <a:lnTo>
                    <a:pt x="22" y="32"/>
                  </a:lnTo>
                  <a:lnTo>
                    <a:pt x="24" y="36"/>
                  </a:lnTo>
                  <a:lnTo>
                    <a:pt x="28" y="39"/>
                  </a:lnTo>
                  <a:lnTo>
                    <a:pt x="30" y="40"/>
                  </a:lnTo>
                  <a:lnTo>
                    <a:pt x="30" y="42"/>
                  </a:lnTo>
                  <a:lnTo>
                    <a:pt x="30" y="43"/>
                  </a:lnTo>
                  <a:lnTo>
                    <a:pt x="26" y="48"/>
                  </a:lnTo>
                  <a:lnTo>
                    <a:pt x="22" y="53"/>
                  </a:lnTo>
                  <a:lnTo>
                    <a:pt x="22" y="59"/>
                  </a:lnTo>
                  <a:lnTo>
                    <a:pt x="22" y="65"/>
                  </a:lnTo>
                  <a:lnTo>
                    <a:pt x="24" y="66"/>
                  </a:lnTo>
                  <a:lnTo>
                    <a:pt x="27" y="68"/>
                  </a:lnTo>
                  <a:lnTo>
                    <a:pt x="27" y="71"/>
                  </a:lnTo>
                  <a:lnTo>
                    <a:pt x="28" y="75"/>
                  </a:lnTo>
                  <a:lnTo>
                    <a:pt x="33" y="82"/>
                  </a:lnTo>
                  <a:lnTo>
                    <a:pt x="33" y="85"/>
                  </a:lnTo>
                  <a:lnTo>
                    <a:pt x="33" y="89"/>
                  </a:lnTo>
                  <a:lnTo>
                    <a:pt x="32" y="93"/>
                  </a:lnTo>
                  <a:lnTo>
                    <a:pt x="33" y="96"/>
                  </a:lnTo>
                  <a:lnTo>
                    <a:pt x="38" y="106"/>
                  </a:lnTo>
                  <a:lnTo>
                    <a:pt x="45" y="114"/>
                  </a:lnTo>
                  <a:lnTo>
                    <a:pt x="47" y="119"/>
                  </a:lnTo>
                  <a:lnTo>
                    <a:pt x="49" y="122"/>
                  </a:lnTo>
                  <a:lnTo>
                    <a:pt x="49" y="127"/>
                  </a:lnTo>
                  <a:lnTo>
                    <a:pt x="47" y="132"/>
                  </a:lnTo>
                  <a:lnTo>
                    <a:pt x="38" y="123"/>
                  </a:lnTo>
                  <a:lnTo>
                    <a:pt x="33" y="120"/>
                  </a:lnTo>
                  <a:lnTo>
                    <a:pt x="30" y="120"/>
                  </a:lnTo>
                  <a:lnTo>
                    <a:pt x="27" y="120"/>
                  </a:lnTo>
                  <a:lnTo>
                    <a:pt x="23" y="121"/>
                  </a:lnTo>
                  <a:lnTo>
                    <a:pt x="21" y="123"/>
                  </a:lnTo>
                  <a:lnTo>
                    <a:pt x="19" y="126"/>
                  </a:lnTo>
                  <a:lnTo>
                    <a:pt x="18" y="128"/>
                  </a:lnTo>
                  <a:lnTo>
                    <a:pt x="18" y="135"/>
                  </a:lnTo>
                  <a:lnTo>
                    <a:pt x="19" y="141"/>
                  </a:lnTo>
                  <a:lnTo>
                    <a:pt x="19" y="145"/>
                  </a:lnTo>
                  <a:lnTo>
                    <a:pt x="18" y="147"/>
                  </a:lnTo>
                  <a:lnTo>
                    <a:pt x="17" y="151"/>
                  </a:lnTo>
                  <a:lnTo>
                    <a:pt x="18" y="154"/>
                  </a:lnTo>
                  <a:lnTo>
                    <a:pt x="17" y="157"/>
                  </a:lnTo>
                  <a:lnTo>
                    <a:pt x="16" y="160"/>
                  </a:lnTo>
                  <a:lnTo>
                    <a:pt x="14" y="163"/>
                  </a:lnTo>
                  <a:lnTo>
                    <a:pt x="13" y="166"/>
                  </a:lnTo>
                  <a:lnTo>
                    <a:pt x="16" y="168"/>
                  </a:lnTo>
                  <a:lnTo>
                    <a:pt x="17" y="168"/>
                  </a:lnTo>
                  <a:lnTo>
                    <a:pt x="19" y="168"/>
                  </a:lnTo>
                  <a:lnTo>
                    <a:pt x="21" y="170"/>
                  </a:lnTo>
                  <a:lnTo>
                    <a:pt x="21" y="171"/>
                  </a:lnTo>
                  <a:lnTo>
                    <a:pt x="21" y="174"/>
                  </a:lnTo>
                  <a:lnTo>
                    <a:pt x="22" y="176"/>
                  </a:lnTo>
                  <a:lnTo>
                    <a:pt x="30" y="177"/>
                  </a:lnTo>
                  <a:lnTo>
                    <a:pt x="31" y="178"/>
                  </a:lnTo>
                  <a:lnTo>
                    <a:pt x="32" y="179"/>
                  </a:lnTo>
                  <a:lnTo>
                    <a:pt x="32" y="181"/>
                  </a:lnTo>
                  <a:lnTo>
                    <a:pt x="31" y="18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 name="Freeform 78"/>
            <p:cNvSpPr>
              <a:spLocks/>
            </p:cNvSpPr>
            <p:nvPr/>
          </p:nvSpPr>
          <p:spPr bwMode="auto">
            <a:xfrm>
              <a:off x="8624892" y="4044954"/>
              <a:ext cx="7937" cy="9525"/>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5"/>
                  </a:moveTo>
                  <a:lnTo>
                    <a:pt x="5" y="2"/>
                  </a:lnTo>
                  <a:lnTo>
                    <a:pt x="4" y="1"/>
                  </a:lnTo>
                  <a:lnTo>
                    <a:pt x="2" y="0"/>
                  </a:lnTo>
                  <a:lnTo>
                    <a:pt x="1" y="0"/>
                  </a:lnTo>
                  <a:lnTo>
                    <a:pt x="0" y="2"/>
                  </a:lnTo>
                  <a:lnTo>
                    <a:pt x="0" y="3"/>
                  </a:lnTo>
                  <a:lnTo>
                    <a:pt x="1" y="6"/>
                  </a:lnTo>
                  <a:lnTo>
                    <a:pt x="2" y="6"/>
                  </a:lnTo>
                  <a:lnTo>
                    <a:pt x="4" y="6"/>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 name="Freeform 79"/>
            <p:cNvSpPr>
              <a:spLocks/>
            </p:cNvSpPr>
            <p:nvPr/>
          </p:nvSpPr>
          <p:spPr bwMode="auto">
            <a:xfrm>
              <a:off x="8610600" y="4079879"/>
              <a:ext cx="7938" cy="9525"/>
            </a:xfrm>
            <a:custGeom>
              <a:avLst/>
              <a:gdLst>
                <a:gd name="T0" fmla="*/ 2147483647 w 5"/>
                <a:gd name="T1" fmla="*/ 2147483647 h 6"/>
                <a:gd name="T2" fmla="*/ 2147483647 w 5"/>
                <a:gd name="T3" fmla="*/ 0 h 6"/>
                <a:gd name="T4" fmla="*/ 2147483647 w 5"/>
                <a:gd name="T5" fmla="*/ 0 h 6"/>
                <a:gd name="T6" fmla="*/ 2147483647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3"/>
                  </a:moveTo>
                  <a:lnTo>
                    <a:pt x="5" y="0"/>
                  </a:lnTo>
                  <a:lnTo>
                    <a:pt x="2" y="0"/>
                  </a:lnTo>
                  <a:lnTo>
                    <a:pt x="1" y="1"/>
                  </a:lnTo>
                  <a:lnTo>
                    <a:pt x="0" y="4"/>
                  </a:lnTo>
                  <a:lnTo>
                    <a:pt x="1" y="5"/>
                  </a:lnTo>
                  <a:lnTo>
                    <a:pt x="2" y="6"/>
                  </a:lnTo>
                  <a:lnTo>
                    <a:pt x="3" y="6"/>
                  </a:lnTo>
                  <a:lnTo>
                    <a:pt x="5" y="5"/>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 name="Freeform 80"/>
            <p:cNvSpPr>
              <a:spLocks/>
            </p:cNvSpPr>
            <p:nvPr/>
          </p:nvSpPr>
          <p:spPr bwMode="auto">
            <a:xfrm>
              <a:off x="8621714" y="4043367"/>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0 h 6"/>
                <a:gd name="T12" fmla="*/ 2147483647 w 6"/>
                <a:gd name="T13" fmla="*/ 0 h 6"/>
                <a:gd name="T14" fmla="*/ 0 w 6"/>
                <a:gd name="T15" fmla="*/ 2147483647 h 6"/>
                <a:gd name="T16" fmla="*/ 0 w 6"/>
                <a:gd name="T17" fmla="*/ 2147483647 h 6"/>
                <a:gd name="T18" fmla="*/ 0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2147483647 w 6"/>
                <a:gd name="T31" fmla="*/ 2147483647 h 6"/>
                <a:gd name="T32" fmla="*/ 2147483647 w 6"/>
                <a:gd name="T33" fmla="*/ 2147483647 h 6"/>
                <a:gd name="T34" fmla="*/ 2147483647 w 6"/>
                <a:gd name="T35" fmla="*/ 2147483647 h 6"/>
                <a:gd name="T36" fmla="*/ 2147483647 w 6"/>
                <a:gd name="T37" fmla="*/ 2147483647 h 6"/>
                <a:gd name="T38" fmla="*/ 2147483647 w 6"/>
                <a:gd name="T39" fmla="*/ 2147483647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6"/>
                <a:gd name="T62" fmla="*/ 6 w 6"/>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6">
                  <a:moveTo>
                    <a:pt x="6" y="4"/>
                  </a:moveTo>
                  <a:lnTo>
                    <a:pt x="6" y="4"/>
                  </a:lnTo>
                  <a:lnTo>
                    <a:pt x="6" y="2"/>
                  </a:lnTo>
                  <a:lnTo>
                    <a:pt x="4" y="1"/>
                  </a:lnTo>
                  <a:lnTo>
                    <a:pt x="3" y="0"/>
                  </a:lnTo>
                  <a:lnTo>
                    <a:pt x="2" y="0"/>
                  </a:lnTo>
                  <a:lnTo>
                    <a:pt x="0" y="2"/>
                  </a:lnTo>
                  <a:lnTo>
                    <a:pt x="0" y="3"/>
                  </a:lnTo>
                  <a:lnTo>
                    <a:pt x="2" y="6"/>
                  </a:lnTo>
                  <a:lnTo>
                    <a:pt x="3" y="6"/>
                  </a:lnTo>
                  <a:lnTo>
                    <a:pt x="4" y="6"/>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 name="Freeform 81"/>
            <p:cNvSpPr>
              <a:spLocks/>
            </p:cNvSpPr>
            <p:nvPr/>
          </p:nvSpPr>
          <p:spPr bwMode="auto">
            <a:xfrm>
              <a:off x="8607425" y="4078292"/>
              <a:ext cx="7938" cy="9525"/>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2147483647 w 5"/>
                <a:gd name="T11" fmla="*/ 2147483647 h 6"/>
                <a:gd name="T12" fmla="*/ 2147483647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2"/>
                  </a:moveTo>
                  <a:lnTo>
                    <a:pt x="5" y="2"/>
                  </a:lnTo>
                  <a:lnTo>
                    <a:pt x="5" y="0"/>
                  </a:lnTo>
                  <a:lnTo>
                    <a:pt x="3" y="0"/>
                  </a:lnTo>
                  <a:lnTo>
                    <a:pt x="2" y="1"/>
                  </a:lnTo>
                  <a:lnTo>
                    <a:pt x="0" y="4"/>
                  </a:lnTo>
                  <a:lnTo>
                    <a:pt x="2" y="5"/>
                  </a:lnTo>
                  <a:lnTo>
                    <a:pt x="3" y="6"/>
                  </a:lnTo>
                  <a:lnTo>
                    <a:pt x="4" y="6"/>
                  </a:lnTo>
                  <a:lnTo>
                    <a:pt x="5" y="5"/>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 name="Freeform 82"/>
            <p:cNvSpPr>
              <a:spLocks/>
            </p:cNvSpPr>
            <p:nvPr/>
          </p:nvSpPr>
          <p:spPr bwMode="auto">
            <a:xfrm>
              <a:off x="8634413" y="4100517"/>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0 w 5"/>
                <a:gd name="T9" fmla="*/ 2147483647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4"/>
                  </a:moveTo>
                  <a:lnTo>
                    <a:pt x="5" y="3"/>
                  </a:lnTo>
                  <a:lnTo>
                    <a:pt x="4" y="2"/>
                  </a:lnTo>
                  <a:lnTo>
                    <a:pt x="1" y="0"/>
                  </a:lnTo>
                  <a:lnTo>
                    <a:pt x="0" y="2"/>
                  </a:lnTo>
                  <a:lnTo>
                    <a:pt x="0" y="4"/>
                  </a:lnTo>
                  <a:lnTo>
                    <a:pt x="0" y="5"/>
                  </a:lnTo>
                  <a:lnTo>
                    <a:pt x="1" y="6"/>
                  </a:lnTo>
                  <a:lnTo>
                    <a:pt x="3" y="6"/>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 name="Freeform 83"/>
            <p:cNvSpPr>
              <a:spLocks/>
            </p:cNvSpPr>
            <p:nvPr/>
          </p:nvSpPr>
          <p:spPr bwMode="auto">
            <a:xfrm>
              <a:off x="8661400" y="4125916"/>
              <a:ext cx="7938" cy="6350"/>
            </a:xfrm>
            <a:custGeom>
              <a:avLst/>
              <a:gdLst>
                <a:gd name="T0" fmla="*/ 2147483647 w 5"/>
                <a:gd name="T1" fmla="*/ 2147483647 h 4"/>
                <a:gd name="T2" fmla="*/ 2147483647 w 5"/>
                <a:gd name="T3" fmla="*/ 2147483647 h 4"/>
                <a:gd name="T4" fmla="*/ 2147483647 w 5"/>
                <a:gd name="T5" fmla="*/ 0 h 4"/>
                <a:gd name="T6" fmla="*/ 2147483647 w 5"/>
                <a:gd name="T7" fmla="*/ 0 h 4"/>
                <a:gd name="T8" fmla="*/ 0 w 5"/>
                <a:gd name="T9" fmla="*/ 2147483647 h 4"/>
                <a:gd name="T10" fmla="*/ 0 w 5"/>
                <a:gd name="T11" fmla="*/ 2147483647 h 4"/>
                <a:gd name="T12" fmla="*/ 2147483647 w 5"/>
                <a:gd name="T13" fmla="*/ 2147483647 h 4"/>
                <a:gd name="T14" fmla="*/ 2147483647 w 5"/>
                <a:gd name="T15" fmla="*/ 2147483647 h 4"/>
                <a:gd name="T16" fmla="*/ 2147483647 w 5"/>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5" y="1"/>
                  </a:lnTo>
                  <a:lnTo>
                    <a:pt x="4" y="0"/>
                  </a:lnTo>
                  <a:lnTo>
                    <a:pt x="1" y="0"/>
                  </a:lnTo>
                  <a:lnTo>
                    <a:pt x="0" y="1"/>
                  </a:lnTo>
                  <a:lnTo>
                    <a:pt x="0" y="2"/>
                  </a:lnTo>
                  <a:lnTo>
                    <a:pt x="1" y="3"/>
                  </a:lnTo>
                  <a:lnTo>
                    <a:pt x="4" y="4"/>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 name="Freeform 84"/>
            <p:cNvSpPr>
              <a:spLocks/>
            </p:cNvSpPr>
            <p:nvPr/>
          </p:nvSpPr>
          <p:spPr bwMode="auto">
            <a:xfrm>
              <a:off x="8632826" y="4098929"/>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0 h 6"/>
                <a:gd name="T12" fmla="*/ 0 w 5"/>
                <a:gd name="T13" fmla="*/ 2147483647 h 6"/>
                <a:gd name="T14" fmla="*/ 0 w 5"/>
                <a:gd name="T15" fmla="*/ 2147483647 h 6"/>
                <a:gd name="T16" fmla="*/ 0 w 5"/>
                <a:gd name="T17" fmla="*/ 2147483647 h 6"/>
                <a:gd name="T18" fmla="*/ 0 w 5"/>
                <a:gd name="T19" fmla="*/ 2147483647 h 6"/>
                <a:gd name="T20" fmla="*/ 0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4"/>
                  </a:moveTo>
                  <a:lnTo>
                    <a:pt x="5" y="4"/>
                  </a:lnTo>
                  <a:lnTo>
                    <a:pt x="5" y="3"/>
                  </a:lnTo>
                  <a:lnTo>
                    <a:pt x="4" y="1"/>
                  </a:lnTo>
                  <a:lnTo>
                    <a:pt x="1" y="0"/>
                  </a:lnTo>
                  <a:lnTo>
                    <a:pt x="0" y="1"/>
                  </a:lnTo>
                  <a:lnTo>
                    <a:pt x="0" y="4"/>
                  </a:lnTo>
                  <a:lnTo>
                    <a:pt x="0" y="5"/>
                  </a:lnTo>
                  <a:lnTo>
                    <a:pt x="1" y="6"/>
                  </a:lnTo>
                  <a:lnTo>
                    <a:pt x="2" y="6"/>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 name="Freeform 85"/>
            <p:cNvSpPr>
              <a:spLocks/>
            </p:cNvSpPr>
            <p:nvPr/>
          </p:nvSpPr>
          <p:spPr bwMode="auto">
            <a:xfrm>
              <a:off x="8659817" y="4124328"/>
              <a:ext cx="7937" cy="6350"/>
            </a:xfrm>
            <a:custGeom>
              <a:avLst/>
              <a:gdLst>
                <a:gd name="T0" fmla="*/ 2147483647 w 5"/>
                <a:gd name="T1" fmla="*/ 2147483647 h 4"/>
                <a:gd name="T2" fmla="*/ 2147483647 w 5"/>
                <a:gd name="T3" fmla="*/ 2147483647 h 4"/>
                <a:gd name="T4" fmla="*/ 2147483647 w 5"/>
                <a:gd name="T5" fmla="*/ 2147483647 h 4"/>
                <a:gd name="T6" fmla="*/ 2147483647 w 5"/>
                <a:gd name="T7" fmla="*/ 0 h 4"/>
                <a:gd name="T8" fmla="*/ 2147483647 w 5"/>
                <a:gd name="T9" fmla="*/ 0 h 4"/>
                <a:gd name="T10" fmla="*/ 2147483647 w 5"/>
                <a:gd name="T11" fmla="*/ 0 h 4"/>
                <a:gd name="T12" fmla="*/ 0 w 5"/>
                <a:gd name="T13" fmla="*/ 2147483647 h 4"/>
                <a:gd name="T14" fmla="*/ 0 w 5"/>
                <a:gd name="T15" fmla="*/ 2147483647 h 4"/>
                <a:gd name="T16" fmla="*/ 0 w 5"/>
                <a:gd name="T17" fmla="*/ 2147483647 h 4"/>
                <a:gd name="T18" fmla="*/ 2147483647 w 5"/>
                <a:gd name="T19" fmla="*/ 2147483647 h 4"/>
                <a:gd name="T20" fmla="*/ 2147483647 w 5"/>
                <a:gd name="T21" fmla="*/ 2147483647 h 4"/>
                <a:gd name="T22" fmla="*/ 2147483647 w 5"/>
                <a:gd name="T23" fmla="*/ 2147483647 h 4"/>
                <a:gd name="T24" fmla="*/ 2147483647 w 5"/>
                <a:gd name="T25" fmla="*/ 2147483647 h 4"/>
                <a:gd name="T26" fmla="*/ 2147483647 w 5"/>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4"/>
                <a:gd name="T44" fmla="*/ 5 w 5"/>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4">
                  <a:moveTo>
                    <a:pt x="5" y="2"/>
                  </a:moveTo>
                  <a:lnTo>
                    <a:pt x="5" y="2"/>
                  </a:lnTo>
                  <a:lnTo>
                    <a:pt x="5" y="1"/>
                  </a:lnTo>
                  <a:lnTo>
                    <a:pt x="4" y="0"/>
                  </a:lnTo>
                  <a:lnTo>
                    <a:pt x="1" y="0"/>
                  </a:lnTo>
                  <a:lnTo>
                    <a:pt x="0" y="1"/>
                  </a:lnTo>
                  <a:lnTo>
                    <a:pt x="0" y="2"/>
                  </a:lnTo>
                  <a:lnTo>
                    <a:pt x="1" y="3"/>
                  </a:lnTo>
                  <a:lnTo>
                    <a:pt x="4" y="4"/>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 name="Freeform 86"/>
            <p:cNvSpPr>
              <a:spLocks/>
            </p:cNvSpPr>
            <p:nvPr/>
          </p:nvSpPr>
          <p:spPr bwMode="auto">
            <a:xfrm>
              <a:off x="8585200" y="4146550"/>
              <a:ext cx="7938" cy="12700"/>
            </a:xfrm>
            <a:custGeom>
              <a:avLst/>
              <a:gdLst>
                <a:gd name="T0" fmla="*/ 2147483647 w 5"/>
                <a:gd name="T1" fmla="*/ 2147483647 h 8"/>
                <a:gd name="T2" fmla="*/ 2147483647 w 5"/>
                <a:gd name="T3" fmla="*/ 2147483647 h 8"/>
                <a:gd name="T4" fmla="*/ 2147483647 w 5"/>
                <a:gd name="T5" fmla="*/ 0 h 8"/>
                <a:gd name="T6" fmla="*/ 2147483647 w 5"/>
                <a:gd name="T7" fmla="*/ 0 h 8"/>
                <a:gd name="T8" fmla="*/ 2147483647 w 5"/>
                <a:gd name="T9" fmla="*/ 2147483647 h 8"/>
                <a:gd name="T10" fmla="*/ 0 w 5"/>
                <a:gd name="T11" fmla="*/ 2147483647 h 8"/>
                <a:gd name="T12" fmla="*/ 2147483647 w 5"/>
                <a:gd name="T13" fmla="*/ 2147483647 h 8"/>
                <a:gd name="T14" fmla="*/ 2147483647 w 5"/>
                <a:gd name="T15" fmla="*/ 2147483647 h 8"/>
                <a:gd name="T16" fmla="*/ 2147483647 w 5"/>
                <a:gd name="T17" fmla="*/ 2147483647 h 8"/>
                <a:gd name="T18" fmla="*/ 2147483647 w 5"/>
                <a:gd name="T19" fmla="*/ 2147483647 h 8"/>
                <a:gd name="T20" fmla="*/ 2147483647 w 5"/>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8"/>
                <a:gd name="T35" fmla="*/ 5 w 5"/>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8">
                  <a:moveTo>
                    <a:pt x="5" y="5"/>
                  </a:moveTo>
                  <a:lnTo>
                    <a:pt x="5" y="1"/>
                  </a:lnTo>
                  <a:lnTo>
                    <a:pt x="4" y="0"/>
                  </a:lnTo>
                  <a:lnTo>
                    <a:pt x="3" y="0"/>
                  </a:lnTo>
                  <a:lnTo>
                    <a:pt x="1" y="1"/>
                  </a:lnTo>
                  <a:lnTo>
                    <a:pt x="0" y="3"/>
                  </a:lnTo>
                  <a:lnTo>
                    <a:pt x="1" y="6"/>
                  </a:lnTo>
                  <a:lnTo>
                    <a:pt x="3" y="8"/>
                  </a:lnTo>
                  <a:lnTo>
                    <a:pt x="4" y="8"/>
                  </a:lnTo>
                  <a:lnTo>
                    <a:pt x="4" y="7"/>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 name="Freeform 87"/>
            <p:cNvSpPr>
              <a:spLocks/>
            </p:cNvSpPr>
            <p:nvPr/>
          </p:nvSpPr>
          <p:spPr bwMode="auto">
            <a:xfrm>
              <a:off x="8659816" y="4171951"/>
              <a:ext cx="9525" cy="11113"/>
            </a:xfrm>
            <a:custGeom>
              <a:avLst/>
              <a:gdLst>
                <a:gd name="T0" fmla="*/ 2147483647 w 6"/>
                <a:gd name="T1" fmla="*/ 2147483647 h 7"/>
                <a:gd name="T2" fmla="*/ 2147483647 w 6"/>
                <a:gd name="T3" fmla="*/ 2147483647 h 7"/>
                <a:gd name="T4" fmla="*/ 2147483647 w 6"/>
                <a:gd name="T5" fmla="*/ 0 h 7"/>
                <a:gd name="T6" fmla="*/ 0 w 6"/>
                <a:gd name="T7" fmla="*/ 0 h 7"/>
                <a:gd name="T8" fmla="*/ 0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6"/>
                  </a:moveTo>
                  <a:lnTo>
                    <a:pt x="4" y="3"/>
                  </a:lnTo>
                  <a:lnTo>
                    <a:pt x="1" y="0"/>
                  </a:lnTo>
                  <a:lnTo>
                    <a:pt x="0" y="0"/>
                  </a:lnTo>
                  <a:lnTo>
                    <a:pt x="0" y="3"/>
                  </a:lnTo>
                  <a:lnTo>
                    <a:pt x="1" y="6"/>
                  </a:lnTo>
                  <a:lnTo>
                    <a:pt x="2" y="7"/>
                  </a:lnTo>
                  <a:lnTo>
                    <a:pt x="5" y="7"/>
                  </a:lnTo>
                  <a:lnTo>
                    <a:pt x="6" y="6"/>
                  </a:lnTo>
                  <a:lnTo>
                    <a:pt x="6" y="5"/>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 name="Freeform 88"/>
            <p:cNvSpPr>
              <a:spLocks/>
            </p:cNvSpPr>
            <p:nvPr/>
          </p:nvSpPr>
          <p:spPr bwMode="auto">
            <a:xfrm>
              <a:off x="8583618" y="4144964"/>
              <a:ext cx="7937" cy="12700"/>
            </a:xfrm>
            <a:custGeom>
              <a:avLst/>
              <a:gdLst>
                <a:gd name="T0" fmla="*/ 2147483647 w 5"/>
                <a:gd name="T1" fmla="*/ 2147483647 h 8"/>
                <a:gd name="T2" fmla="*/ 2147483647 w 5"/>
                <a:gd name="T3" fmla="*/ 2147483647 h 8"/>
                <a:gd name="T4" fmla="*/ 2147483647 w 5"/>
                <a:gd name="T5" fmla="*/ 2147483647 h 8"/>
                <a:gd name="T6" fmla="*/ 2147483647 w 5"/>
                <a:gd name="T7" fmla="*/ 0 h 8"/>
                <a:gd name="T8" fmla="*/ 2147483647 w 5"/>
                <a:gd name="T9" fmla="*/ 0 h 8"/>
                <a:gd name="T10" fmla="*/ 2147483647 w 5"/>
                <a:gd name="T11" fmla="*/ 0 h 8"/>
                <a:gd name="T12" fmla="*/ 2147483647 w 5"/>
                <a:gd name="T13" fmla="*/ 2147483647 h 8"/>
                <a:gd name="T14" fmla="*/ 0 w 5"/>
                <a:gd name="T15" fmla="*/ 2147483647 h 8"/>
                <a:gd name="T16" fmla="*/ 2147483647 w 5"/>
                <a:gd name="T17" fmla="*/ 2147483647 h 8"/>
                <a:gd name="T18" fmla="*/ 2147483647 w 5"/>
                <a:gd name="T19" fmla="*/ 2147483647 h 8"/>
                <a:gd name="T20" fmla="*/ 2147483647 w 5"/>
                <a:gd name="T21" fmla="*/ 2147483647 h 8"/>
                <a:gd name="T22" fmla="*/ 2147483647 w 5"/>
                <a:gd name="T23" fmla="*/ 2147483647 h 8"/>
                <a:gd name="T24" fmla="*/ 2147483647 w 5"/>
                <a:gd name="T25" fmla="*/ 2147483647 h 8"/>
                <a:gd name="T26" fmla="*/ 2147483647 w 5"/>
                <a:gd name="T27" fmla="*/ 2147483647 h 8"/>
                <a:gd name="T28" fmla="*/ 2147483647 w 5"/>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5" y="4"/>
                  </a:moveTo>
                  <a:lnTo>
                    <a:pt x="5" y="4"/>
                  </a:lnTo>
                  <a:lnTo>
                    <a:pt x="5" y="1"/>
                  </a:lnTo>
                  <a:lnTo>
                    <a:pt x="4" y="0"/>
                  </a:lnTo>
                  <a:lnTo>
                    <a:pt x="2" y="0"/>
                  </a:lnTo>
                  <a:lnTo>
                    <a:pt x="1" y="1"/>
                  </a:lnTo>
                  <a:lnTo>
                    <a:pt x="0" y="3"/>
                  </a:lnTo>
                  <a:lnTo>
                    <a:pt x="1" y="6"/>
                  </a:lnTo>
                  <a:lnTo>
                    <a:pt x="2" y="8"/>
                  </a:lnTo>
                  <a:lnTo>
                    <a:pt x="4" y="8"/>
                  </a:lnTo>
                  <a:lnTo>
                    <a:pt x="4" y="7"/>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 name="Freeform 89"/>
            <p:cNvSpPr>
              <a:spLocks/>
            </p:cNvSpPr>
            <p:nvPr/>
          </p:nvSpPr>
          <p:spPr bwMode="auto">
            <a:xfrm>
              <a:off x="8658228" y="4170365"/>
              <a:ext cx="9525" cy="11112"/>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2147483647 w 6"/>
                <a:gd name="T9" fmla="*/ 0 h 7"/>
                <a:gd name="T10" fmla="*/ 0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2147483647 w 6"/>
                <a:gd name="T31" fmla="*/ 2147483647 h 7"/>
                <a:gd name="T32" fmla="*/ 2147483647 w 6"/>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7"/>
                <a:gd name="T53" fmla="*/ 6 w 6"/>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7">
                  <a:moveTo>
                    <a:pt x="6" y="6"/>
                  </a:moveTo>
                  <a:lnTo>
                    <a:pt x="6" y="6"/>
                  </a:lnTo>
                  <a:lnTo>
                    <a:pt x="3" y="3"/>
                  </a:lnTo>
                  <a:lnTo>
                    <a:pt x="1" y="0"/>
                  </a:lnTo>
                  <a:lnTo>
                    <a:pt x="0" y="0"/>
                  </a:lnTo>
                  <a:lnTo>
                    <a:pt x="0" y="3"/>
                  </a:lnTo>
                  <a:lnTo>
                    <a:pt x="1" y="6"/>
                  </a:lnTo>
                  <a:lnTo>
                    <a:pt x="2" y="7"/>
                  </a:lnTo>
                  <a:lnTo>
                    <a:pt x="5" y="7"/>
                  </a:lnTo>
                  <a:lnTo>
                    <a:pt x="6" y="6"/>
                  </a:lnTo>
                  <a:lnTo>
                    <a:pt x="6" y="5"/>
                  </a:lnTo>
                  <a:lnTo>
                    <a:pt x="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 name="Freeform 90"/>
            <p:cNvSpPr>
              <a:spLocks/>
            </p:cNvSpPr>
            <p:nvPr/>
          </p:nvSpPr>
          <p:spPr bwMode="auto">
            <a:xfrm>
              <a:off x="8621713" y="4198942"/>
              <a:ext cx="11112" cy="9525"/>
            </a:xfrm>
            <a:custGeom>
              <a:avLst/>
              <a:gdLst>
                <a:gd name="T0" fmla="*/ 2147483647 w 7"/>
                <a:gd name="T1" fmla="*/ 2147483647 h 6"/>
                <a:gd name="T2" fmla="*/ 2147483647 w 7"/>
                <a:gd name="T3" fmla="*/ 2147483647 h 6"/>
                <a:gd name="T4" fmla="*/ 2147483647 w 7"/>
                <a:gd name="T5" fmla="*/ 0 h 6"/>
                <a:gd name="T6" fmla="*/ 2147483647 w 7"/>
                <a:gd name="T7" fmla="*/ 0 h 6"/>
                <a:gd name="T8" fmla="*/ 0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6"/>
                <a:gd name="T32" fmla="*/ 7 w 7"/>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6">
                  <a:moveTo>
                    <a:pt x="7" y="5"/>
                  </a:moveTo>
                  <a:lnTo>
                    <a:pt x="4" y="1"/>
                  </a:lnTo>
                  <a:lnTo>
                    <a:pt x="3" y="0"/>
                  </a:lnTo>
                  <a:lnTo>
                    <a:pt x="2" y="0"/>
                  </a:lnTo>
                  <a:lnTo>
                    <a:pt x="0" y="2"/>
                  </a:lnTo>
                  <a:lnTo>
                    <a:pt x="0" y="4"/>
                  </a:lnTo>
                  <a:lnTo>
                    <a:pt x="2" y="5"/>
                  </a:lnTo>
                  <a:lnTo>
                    <a:pt x="3" y="6"/>
                  </a:lnTo>
                  <a:lnTo>
                    <a:pt x="6" y="6"/>
                  </a:lnTo>
                  <a:lnTo>
                    <a:pt x="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 name="Freeform 91"/>
            <p:cNvSpPr>
              <a:spLocks/>
            </p:cNvSpPr>
            <p:nvPr/>
          </p:nvSpPr>
          <p:spPr bwMode="auto">
            <a:xfrm>
              <a:off x="8678864" y="4197355"/>
              <a:ext cx="9525" cy="9525"/>
            </a:xfrm>
            <a:custGeom>
              <a:avLst/>
              <a:gdLst>
                <a:gd name="T0" fmla="*/ 2147483647 w 6"/>
                <a:gd name="T1" fmla="*/ 2147483647 h 6"/>
                <a:gd name="T2" fmla="*/ 2147483647 w 6"/>
                <a:gd name="T3" fmla="*/ 2147483647 h 6"/>
                <a:gd name="T4" fmla="*/ 2147483647 w 6"/>
                <a:gd name="T5" fmla="*/ 0 h 6"/>
                <a:gd name="T6" fmla="*/ 2147483647 w 6"/>
                <a:gd name="T7" fmla="*/ 0 h 6"/>
                <a:gd name="T8" fmla="*/ 0 w 6"/>
                <a:gd name="T9" fmla="*/ 2147483647 h 6"/>
                <a:gd name="T10" fmla="*/ 0 w 6"/>
                <a:gd name="T11" fmla="*/ 2147483647 h 6"/>
                <a:gd name="T12" fmla="*/ 0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3"/>
                  </a:moveTo>
                  <a:lnTo>
                    <a:pt x="6" y="1"/>
                  </a:lnTo>
                  <a:lnTo>
                    <a:pt x="5" y="0"/>
                  </a:lnTo>
                  <a:lnTo>
                    <a:pt x="2" y="0"/>
                  </a:lnTo>
                  <a:lnTo>
                    <a:pt x="0" y="1"/>
                  </a:lnTo>
                  <a:lnTo>
                    <a:pt x="0" y="2"/>
                  </a:lnTo>
                  <a:lnTo>
                    <a:pt x="0" y="3"/>
                  </a:lnTo>
                  <a:lnTo>
                    <a:pt x="3" y="6"/>
                  </a:lnTo>
                  <a:lnTo>
                    <a:pt x="5" y="6"/>
                  </a:lnTo>
                  <a:lnTo>
                    <a:pt x="6" y="6"/>
                  </a:lnTo>
                  <a:lnTo>
                    <a:pt x="6"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 name="Freeform 92"/>
            <p:cNvSpPr>
              <a:spLocks/>
            </p:cNvSpPr>
            <p:nvPr/>
          </p:nvSpPr>
          <p:spPr bwMode="auto">
            <a:xfrm>
              <a:off x="8620129" y="4197355"/>
              <a:ext cx="11113" cy="9525"/>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0 h 6"/>
                <a:gd name="T10" fmla="*/ 2147483647 w 7"/>
                <a:gd name="T11" fmla="*/ 0 h 6"/>
                <a:gd name="T12" fmla="*/ 0 w 7"/>
                <a:gd name="T13" fmla="*/ 2147483647 h 6"/>
                <a:gd name="T14" fmla="*/ 0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7" y="5"/>
                  </a:moveTo>
                  <a:lnTo>
                    <a:pt x="7" y="5"/>
                  </a:lnTo>
                  <a:lnTo>
                    <a:pt x="4" y="1"/>
                  </a:lnTo>
                  <a:lnTo>
                    <a:pt x="3" y="0"/>
                  </a:lnTo>
                  <a:lnTo>
                    <a:pt x="1" y="0"/>
                  </a:lnTo>
                  <a:lnTo>
                    <a:pt x="0" y="2"/>
                  </a:lnTo>
                  <a:lnTo>
                    <a:pt x="0" y="3"/>
                  </a:lnTo>
                  <a:lnTo>
                    <a:pt x="1" y="5"/>
                  </a:lnTo>
                  <a:lnTo>
                    <a:pt x="3" y="6"/>
                  </a:lnTo>
                  <a:lnTo>
                    <a:pt x="5" y="6"/>
                  </a:lnTo>
                  <a:lnTo>
                    <a:pt x="7"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 name="Freeform 93"/>
            <p:cNvSpPr>
              <a:spLocks/>
            </p:cNvSpPr>
            <p:nvPr/>
          </p:nvSpPr>
          <p:spPr bwMode="auto">
            <a:xfrm>
              <a:off x="8677276" y="4195767"/>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0 h 6"/>
                <a:gd name="T10" fmla="*/ 2147483647 w 7"/>
                <a:gd name="T11" fmla="*/ 0 h 6"/>
                <a:gd name="T12" fmla="*/ 0 w 7"/>
                <a:gd name="T13" fmla="*/ 2147483647 h 6"/>
                <a:gd name="T14" fmla="*/ 0 w 7"/>
                <a:gd name="T15" fmla="*/ 2147483647 h 6"/>
                <a:gd name="T16" fmla="*/ 0 w 7"/>
                <a:gd name="T17" fmla="*/ 2147483647 h 6"/>
                <a:gd name="T18" fmla="*/ 0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2147483647 w 7"/>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6"/>
                <a:gd name="T50" fmla="*/ 7 w 7"/>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6">
                  <a:moveTo>
                    <a:pt x="7" y="3"/>
                  </a:moveTo>
                  <a:lnTo>
                    <a:pt x="7" y="3"/>
                  </a:lnTo>
                  <a:lnTo>
                    <a:pt x="7" y="1"/>
                  </a:lnTo>
                  <a:lnTo>
                    <a:pt x="5" y="0"/>
                  </a:lnTo>
                  <a:lnTo>
                    <a:pt x="3" y="0"/>
                  </a:lnTo>
                  <a:lnTo>
                    <a:pt x="0" y="1"/>
                  </a:lnTo>
                  <a:lnTo>
                    <a:pt x="0" y="2"/>
                  </a:lnTo>
                  <a:lnTo>
                    <a:pt x="0" y="3"/>
                  </a:lnTo>
                  <a:lnTo>
                    <a:pt x="4" y="6"/>
                  </a:lnTo>
                  <a:lnTo>
                    <a:pt x="5" y="6"/>
                  </a:lnTo>
                  <a:lnTo>
                    <a:pt x="7" y="6"/>
                  </a:lnTo>
                  <a:lnTo>
                    <a:pt x="7"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 name="Freeform 94"/>
            <p:cNvSpPr>
              <a:spLocks/>
            </p:cNvSpPr>
            <p:nvPr/>
          </p:nvSpPr>
          <p:spPr bwMode="auto">
            <a:xfrm>
              <a:off x="8529642" y="4078289"/>
              <a:ext cx="7937"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2147483647 w 5"/>
                <a:gd name="T11" fmla="*/ 0 h 8"/>
                <a:gd name="T12" fmla="*/ 0 w 5"/>
                <a:gd name="T13" fmla="*/ 2147483647 h 8"/>
                <a:gd name="T14" fmla="*/ 0 w 5"/>
                <a:gd name="T15" fmla="*/ 2147483647 h 8"/>
                <a:gd name="T16" fmla="*/ 0 w 5"/>
                <a:gd name="T17" fmla="*/ 2147483647 h 8"/>
                <a:gd name="T18" fmla="*/ 2147483647 w 5"/>
                <a:gd name="T19" fmla="*/ 2147483647 h 8"/>
                <a:gd name="T20" fmla="*/ 2147483647 w 5"/>
                <a:gd name="T21" fmla="*/ 2147483647 h 8"/>
                <a:gd name="T22" fmla="*/ 2147483647 w 5"/>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8"/>
                <a:gd name="T38" fmla="*/ 5 w 5"/>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8">
                  <a:moveTo>
                    <a:pt x="5" y="5"/>
                  </a:moveTo>
                  <a:lnTo>
                    <a:pt x="4" y="2"/>
                  </a:lnTo>
                  <a:lnTo>
                    <a:pt x="4" y="1"/>
                  </a:lnTo>
                  <a:lnTo>
                    <a:pt x="2" y="1"/>
                  </a:lnTo>
                  <a:lnTo>
                    <a:pt x="2" y="0"/>
                  </a:lnTo>
                  <a:lnTo>
                    <a:pt x="1" y="0"/>
                  </a:lnTo>
                  <a:lnTo>
                    <a:pt x="0" y="1"/>
                  </a:lnTo>
                  <a:lnTo>
                    <a:pt x="0" y="2"/>
                  </a:lnTo>
                  <a:lnTo>
                    <a:pt x="0" y="5"/>
                  </a:lnTo>
                  <a:lnTo>
                    <a:pt x="4" y="8"/>
                  </a:lnTo>
                  <a:lnTo>
                    <a:pt x="5" y="7"/>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 name="Freeform 95"/>
            <p:cNvSpPr>
              <a:spLocks/>
            </p:cNvSpPr>
            <p:nvPr/>
          </p:nvSpPr>
          <p:spPr bwMode="auto">
            <a:xfrm>
              <a:off x="7983538" y="3968753"/>
              <a:ext cx="12700" cy="19050"/>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0 w 9"/>
                <a:gd name="T9" fmla="*/ 2147483647 h 12"/>
                <a:gd name="T10" fmla="*/ 0 w 9"/>
                <a:gd name="T11" fmla="*/ 2147483647 h 12"/>
                <a:gd name="T12" fmla="*/ 2147483647 w 9"/>
                <a:gd name="T13" fmla="*/ 2147483647 h 12"/>
                <a:gd name="T14" fmla="*/ 2147483647 w 9"/>
                <a:gd name="T15" fmla="*/ 0 h 12"/>
                <a:gd name="T16" fmla="*/ 2147483647 w 9"/>
                <a:gd name="T17" fmla="*/ 0 h 12"/>
                <a:gd name="T18" fmla="*/ 2147483647 w 9"/>
                <a:gd name="T19" fmla="*/ 0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2"/>
                <a:gd name="T44" fmla="*/ 9 w 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2">
                  <a:moveTo>
                    <a:pt x="6" y="7"/>
                  </a:moveTo>
                  <a:lnTo>
                    <a:pt x="3" y="11"/>
                  </a:lnTo>
                  <a:lnTo>
                    <a:pt x="2" y="12"/>
                  </a:lnTo>
                  <a:lnTo>
                    <a:pt x="1" y="12"/>
                  </a:lnTo>
                  <a:lnTo>
                    <a:pt x="0" y="10"/>
                  </a:lnTo>
                  <a:lnTo>
                    <a:pt x="0" y="6"/>
                  </a:lnTo>
                  <a:lnTo>
                    <a:pt x="1" y="4"/>
                  </a:lnTo>
                  <a:lnTo>
                    <a:pt x="3" y="0"/>
                  </a:lnTo>
                  <a:lnTo>
                    <a:pt x="6" y="0"/>
                  </a:lnTo>
                  <a:lnTo>
                    <a:pt x="7" y="0"/>
                  </a:lnTo>
                  <a:lnTo>
                    <a:pt x="9" y="2"/>
                  </a:lnTo>
                  <a:lnTo>
                    <a:pt x="9" y="4"/>
                  </a:lnTo>
                  <a:lnTo>
                    <a:pt x="7" y="5"/>
                  </a:lnTo>
                  <a:lnTo>
                    <a:pt x="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 name="Freeform 96"/>
            <p:cNvSpPr>
              <a:spLocks/>
            </p:cNvSpPr>
            <p:nvPr/>
          </p:nvSpPr>
          <p:spPr bwMode="auto">
            <a:xfrm>
              <a:off x="8528050" y="4076701"/>
              <a:ext cx="7938"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2147483647 w 5"/>
                <a:gd name="T11" fmla="*/ 2147483647 h 8"/>
                <a:gd name="T12" fmla="*/ 2147483647 w 5"/>
                <a:gd name="T13" fmla="*/ 0 h 8"/>
                <a:gd name="T14" fmla="*/ 2147483647 w 5"/>
                <a:gd name="T15" fmla="*/ 0 h 8"/>
                <a:gd name="T16" fmla="*/ 2147483647 w 5"/>
                <a:gd name="T17" fmla="*/ 0 h 8"/>
                <a:gd name="T18" fmla="*/ 0 w 5"/>
                <a:gd name="T19" fmla="*/ 2147483647 h 8"/>
                <a:gd name="T20" fmla="*/ 0 w 5"/>
                <a:gd name="T21" fmla="*/ 2147483647 h 8"/>
                <a:gd name="T22" fmla="*/ 0 w 5"/>
                <a:gd name="T23" fmla="*/ 2147483647 h 8"/>
                <a:gd name="T24" fmla="*/ 0 w 5"/>
                <a:gd name="T25" fmla="*/ 2147483647 h 8"/>
                <a:gd name="T26" fmla="*/ 2147483647 w 5"/>
                <a:gd name="T27" fmla="*/ 2147483647 h 8"/>
                <a:gd name="T28" fmla="*/ 2147483647 w 5"/>
                <a:gd name="T29" fmla="*/ 2147483647 h 8"/>
                <a:gd name="T30" fmla="*/ 2147483647 w 5"/>
                <a:gd name="T31" fmla="*/ 2147483647 h 8"/>
                <a:gd name="T32" fmla="*/ 2147483647 w 5"/>
                <a:gd name="T33" fmla="*/ 2147483647 h 8"/>
                <a:gd name="T34" fmla="*/ 2147483647 w 5"/>
                <a:gd name="T35" fmla="*/ 2147483647 h 8"/>
                <a:gd name="T36" fmla="*/ 2147483647 w 5"/>
                <a:gd name="T37" fmla="*/ 2147483647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
                <a:gd name="T58" fmla="*/ 0 h 8"/>
                <a:gd name="T59" fmla="*/ 5 w 5"/>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 h="8">
                  <a:moveTo>
                    <a:pt x="5" y="5"/>
                  </a:moveTo>
                  <a:lnTo>
                    <a:pt x="5" y="5"/>
                  </a:lnTo>
                  <a:lnTo>
                    <a:pt x="3" y="2"/>
                  </a:lnTo>
                  <a:lnTo>
                    <a:pt x="3" y="1"/>
                  </a:lnTo>
                  <a:lnTo>
                    <a:pt x="2" y="1"/>
                  </a:lnTo>
                  <a:lnTo>
                    <a:pt x="2" y="0"/>
                  </a:lnTo>
                  <a:lnTo>
                    <a:pt x="1" y="0"/>
                  </a:lnTo>
                  <a:lnTo>
                    <a:pt x="0" y="1"/>
                  </a:lnTo>
                  <a:lnTo>
                    <a:pt x="0" y="2"/>
                  </a:lnTo>
                  <a:lnTo>
                    <a:pt x="0" y="5"/>
                  </a:lnTo>
                  <a:lnTo>
                    <a:pt x="3" y="8"/>
                  </a:lnTo>
                  <a:lnTo>
                    <a:pt x="5" y="7"/>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 name="Freeform 97"/>
            <p:cNvSpPr>
              <a:spLocks/>
            </p:cNvSpPr>
            <p:nvPr/>
          </p:nvSpPr>
          <p:spPr bwMode="auto">
            <a:xfrm>
              <a:off x="7980362" y="3967164"/>
              <a:ext cx="12700" cy="19050"/>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2147483647 h 12"/>
                <a:gd name="T12" fmla="*/ 0 w 9"/>
                <a:gd name="T13" fmla="*/ 2147483647 h 12"/>
                <a:gd name="T14" fmla="*/ 0 w 9"/>
                <a:gd name="T15" fmla="*/ 2147483647 h 12"/>
                <a:gd name="T16" fmla="*/ 2147483647 w 9"/>
                <a:gd name="T17" fmla="*/ 2147483647 h 12"/>
                <a:gd name="T18" fmla="*/ 2147483647 w 9"/>
                <a:gd name="T19" fmla="*/ 0 h 12"/>
                <a:gd name="T20" fmla="*/ 2147483647 w 9"/>
                <a:gd name="T21" fmla="*/ 0 h 12"/>
                <a:gd name="T22" fmla="*/ 2147483647 w 9"/>
                <a:gd name="T23" fmla="*/ 0 h 12"/>
                <a:gd name="T24" fmla="*/ 2147483647 w 9"/>
                <a:gd name="T25" fmla="*/ 0 h 12"/>
                <a:gd name="T26" fmla="*/ 2147483647 w 9"/>
                <a:gd name="T27" fmla="*/ 2147483647 h 12"/>
                <a:gd name="T28" fmla="*/ 2147483647 w 9"/>
                <a:gd name="T29" fmla="*/ 2147483647 h 12"/>
                <a:gd name="T30" fmla="*/ 2147483647 w 9"/>
                <a:gd name="T31" fmla="*/ 2147483647 h 12"/>
                <a:gd name="T32" fmla="*/ 2147483647 w 9"/>
                <a:gd name="T33" fmla="*/ 2147483647 h 12"/>
                <a:gd name="T34" fmla="*/ 2147483647 w 9"/>
                <a:gd name="T35" fmla="*/ 2147483647 h 12"/>
                <a:gd name="T36" fmla="*/ 2147483647 w 9"/>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2"/>
                <a:gd name="T59" fmla="*/ 9 w 9"/>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2">
                  <a:moveTo>
                    <a:pt x="7" y="7"/>
                  </a:moveTo>
                  <a:lnTo>
                    <a:pt x="7" y="7"/>
                  </a:lnTo>
                  <a:lnTo>
                    <a:pt x="4" y="11"/>
                  </a:lnTo>
                  <a:lnTo>
                    <a:pt x="3" y="12"/>
                  </a:lnTo>
                  <a:lnTo>
                    <a:pt x="2" y="12"/>
                  </a:lnTo>
                  <a:lnTo>
                    <a:pt x="0" y="10"/>
                  </a:lnTo>
                  <a:lnTo>
                    <a:pt x="0" y="6"/>
                  </a:lnTo>
                  <a:lnTo>
                    <a:pt x="2" y="4"/>
                  </a:lnTo>
                  <a:lnTo>
                    <a:pt x="4" y="0"/>
                  </a:lnTo>
                  <a:lnTo>
                    <a:pt x="7" y="0"/>
                  </a:lnTo>
                  <a:lnTo>
                    <a:pt x="8" y="0"/>
                  </a:lnTo>
                  <a:lnTo>
                    <a:pt x="9" y="1"/>
                  </a:lnTo>
                  <a:lnTo>
                    <a:pt x="9" y="4"/>
                  </a:lnTo>
                  <a:lnTo>
                    <a:pt x="8" y="5"/>
                  </a:lnTo>
                  <a:lnTo>
                    <a:pt x="7"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 name="Freeform 98"/>
            <p:cNvSpPr>
              <a:spLocks/>
            </p:cNvSpPr>
            <p:nvPr/>
          </p:nvSpPr>
          <p:spPr bwMode="auto">
            <a:xfrm>
              <a:off x="8008941" y="3927475"/>
              <a:ext cx="6350" cy="7938"/>
            </a:xfrm>
            <a:custGeom>
              <a:avLst/>
              <a:gdLst>
                <a:gd name="T0" fmla="*/ 2147483647 w 5"/>
                <a:gd name="T1" fmla="*/ 2147483647 h 5"/>
                <a:gd name="T2" fmla="*/ 2147483647 w 5"/>
                <a:gd name="T3" fmla="*/ 0 h 5"/>
                <a:gd name="T4" fmla="*/ 2147483647 w 5"/>
                <a:gd name="T5" fmla="*/ 0 h 5"/>
                <a:gd name="T6" fmla="*/ 2147483647 w 5"/>
                <a:gd name="T7" fmla="*/ 0 h 5"/>
                <a:gd name="T8" fmla="*/ 0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5" y="3"/>
                  </a:moveTo>
                  <a:lnTo>
                    <a:pt x="4" y="0"/>
                  </a:lnTo>
                  <a:lnTo>
                    <a:pt x="3" y="0"/>
                  </a:lnTo>
                  <a:lnTo>
                    <a:pt x="2" y="0"/>
                  </a:lnTo>
                  <a:lnTo>
                    <a:pt x="0" y="1"/>
                  </a:lnTo>
                  <a:lnTo>
                    <a:pt x="0" y="3"/>
                  </a:lnTo>
                  <a:lnTo>
                    <a:pt x="3" y="5"/>
                  </a:lnTo>
                  <a:lnTo>
                    <a:pt x="4" y="5"/>
                  </a:lnTo>
                  <a:lnTo>
                    <a:pt x="5" y="4"/>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 name="Freeform 99"/>
            <p:cNvSpPr>
              <a:spLocks/>
            </p:cNvSpPr>
            <p:nvPr/>
          </p:nvSpPr>
          <p:spPr bwMode="auto">
            <a:xfrm>
              <a:off x="8005763" y="3876679"/>
              <a:ext cx="4762" cy="9525"/>
            </a:xfrm>
            <a:custGeom>
              <a:avLst/>
              <a:gdLst>
                <a:gd name="T0" fmla="*/ 2147483647 w 4"/>
                <a:gd name="T1" fmla="*/ 2147483647 h 6"/>
                <a:gd name="T2" fmla="*/ 2147483647 w 4"/>
                <a:gd name="T3" fmla="*/ 2147483647 h 6"/>
                <a:gd name="T4" fmla="*/ 2147483647 w 4"/>
                <a:gd name="T5" fmla="*/ 0 h 6"/>
                <a:gd name="T6" fmla="*/ 0 w 4"/>
                <a:gd name="T7" fmla="*/ 0 h 6"/>
                <a:gd name="T8" fmla="*/ 0 w 4"/>
                <a:gd name="T9" fmla="*/ 2147483647 h 6"/>
                <a:gd name="T10" fmla="*/ 0 w 4"/>
                <a:gd name="T11" fmla="*/ 2147483647 h 6"/>
                <a:gd name="T12" fmla="*/ 2147483647 w 4"/>
                <a:gd name="T13" fmla="*/ 2147483647 h 6"/>
                <a:gd name="T14" fmla="*/ 2147483647 w 4"/>
                <a:gd name="T15" fmla="*/ 2147483647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5"/>
                  </a:moveTo>
                  <a:lnTo>
                    <a:pt x="4" y="1"/>
                  </a:lnTo>
                  <a:lnTo>
                    <a:pt x="2" y="0"/>
                  </a:lnTo>
                  <a:lnTo>
                    <a:pt x="0" y="0"/>
                  </a:lnTo>
                  <a:lnTo>
                    <a:pt x="0" y="3"/>
                  </a:lnTo>
                  <a:lnTo>
                    <a:pt x="0" y="5"/>
                  </a:lnTo>
                  <a:lnTo>
                    <a:pt x="1" y="6"/>
                  </a:lnTo>
                  <a:lnTo>
                    <a:pt x="2" y="6"/>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 name="Freeform 100"/>
            <p:cNvSpPr>
              <a:spLocks/>
            </p:cNvSpPr>
            <p:nvPr/>
          </p:nvSpPr>
          <p:spPr bwMode="auto">
            <a:xfrm>
              <a:off x="8007353" y="3925892"/>
              <a:ext cx="6350" cy="7937"/>
            </a:xfrm>
            <a:custGeom>
              <a:avLst/>
              <a:gdLst>
                <a:gd name="T0" fmla="*/ 2147483647 w 5"/>
                <a:gd name="T1" fmla="*/ 2147483647 h 5"/>
                <a:gd name="T2" fmla="*/ 2147483647 w 5"/>
                <a:gd name="T3" fmla="*/ 2147483647 h 5"/>
                <a:gd name="T4" fmla="*/ 2147483647 w 5"/>
                <a:gd name="T5" fmla="*/ 0 h 5"/>
                <a:gd name="T6" fmla="*/ 2147483647 w 5"/>
                <a:gd name="T7" fmla="*/ 0 h 5"/>
                <a:gd name="T8" fmla="*/ 2147483647 w 5"/>
                <a:gd name="T9" fmla="*/ 0 h 5"/>
                <a:gd name="T10" fmla="*/ 2147483647 w 5"/>
                <a:gd name="T11" fmla="*/ 0 h 5"/>
                <a:gd name="T12" fmla="*/ 0 w 5"/>
                <a:gd name="T13" fmla="*/ 2147483647 h 5"/>
                <a:gd name="T14" fmla="*/ 0 w 5"/>
                <a:gd name="T15" fmla="*/ 2147483647 h 5"/>
                <a:gd name="T16" fmla="*/ 2147483647 w 5"/>
                <a:gd name="T17" fmla="*/ 2147483647 h 5"/>
                <a:gd name="T18" fmla="*/ 2147483647 w 5"/>
                <a:gd name="T19" fmla="*/ 2147483647 h 5"/>
                <a:gd name="T20" fmla="*/ 2147483647 w 5"/>
                <a:gd name="T21" fmla="*/ 2147483647 h 5"/>
                <a:gd name="T22" fmla="*/ 2147483647 w 5"/>
                <a:gd name="T23" fmla="*/ 2147483647 h 5"/>
                <a:gd name="T24" fmla="*/ 2147483647 w 5"/>
                <a:gd name="T25" fmla="*/ 2147483647 h 5"/>
                <a:gd name="T26" fmla="*/ 2147483647 w 5"/>
                <a:gd name="T27" fmla="*/ 2147483647 h 5"/>
                <a:gd name="T28" fmla="*/ 2147483647 w 5"/>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5"/>
                <a:gd name="T47" fmla="*/ 5 w 5"/>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5">
                  <a:moveTo>
                    <a:pt x="5" y="2"/>
                  </a:moveTo>
                  <a:lnTo>
                    <a:pt x="5" y="2"/>
                  </a:lnTo>
                  <a:lnTo>
                    <a:pt x="4" y="0"/>
                  </a:lnTo>
                  <a:lnTo>
                    <a:pt x="3" y="0"/>
                  </a:lnTo>
                  <a:lnTo>
                    <a:pt x="1" y="0"/>
                  </a:lnTo>
                  <a:lnTo>
                    <a:pt x="0" y="1"/>
                  </a:lnTo>
                  <a:lnTo>
                    <a:pt x="0" y="2"/>
                  </a:lnTo>
                  <a:lnTo>
                    <a:pt x="3" y="5"/>
                  </a:lnTo>
                  <a:lnTo>
                    <a:pt x="4" y="5"/>
                  </a:lnTo>
                  <a:lnTo>
                    <a:pt x="5" y="4"/>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 name="Freeform 101"/>
            <p:cNvSpPr>
              <a:spLocks/>
            </p:cNvSpPr>
            <p:nvPr/>
          </p:nvSpPr>
          <p:spPr bwMode="auto">
            <a:xfrm>
              <a:off x="8004176" y="3875093"/>
              <a:ext cx="4763" cy="9525"/>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2147483647 w 3"/>
                <a:gd name="T9" fmla="*/ 0 h 6"/>
                <a:gd name="T10" fmla="*/ 0 w 3"/>
                <a:gd name="T11" fmla="*/ 0 h 6"/>
                <a:gd name="T12" fmla="*/ 0 w 3"/>
                <a:gd name="T13" fmla="*/ 0 h 6"/>
                <a:gd name="T14" fmla="*/ 0 w 3"/>
                <a:gd name="T15" fmla="*/ 2147483647 h 6"/>
                <a:gd name="T16" fmla="*/ 0 w 3"/>
                <a:gd name="T17" fmla="*/ 2147483647 h 6"/>
                <a:gd name="T18" fmla="*/ 0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6"/>
                <a:gd name="T47" fmla="*/ 3 w 3"/>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6">
                  <a:moveTo>
                    <a:pt x="3" y="5"/>
                  </a:moveTo>
                  <a:lnTo>
                    <a:pt x="3" y="5"/>
                  </a:lnTo>
                  <a:lnTo>
                    <a:pt x="3" y="1"/>
                  </a:lnTo>
                  <a:lnTo>
                    <a:pt x="2" y="0"/>
                  </a:lnTo>
                  <a:lnTo>
                    <a:pt x="0" y="0"/>
                  </a:lnTo>
                  <a:lnTo>
                    <a:pt x="0" y="2"/>
                  </a:lnTo>
                  <a:lnTo>
                    <a:pt x="0" y="5"/>
                  </a:lnTo>
                  <a:lnTo>
                    <a:pt x="1" y="6"/>
                  </a:lnTo>
                  <a:lnTo>
                    <a:pt x="2" y="6"/>
                  </a:lnTo>
                  <a:lnTo>
                    <a:pt x="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 name="Freeform 102"/>
            <p:cNvSpPr>
              <a:spLocks/>
            </p:cNvSpPr>
            <p:nvPr/>
          </p:nvSpPr>
          <p:spPr bwMode="auto">
            <a:xfrm>
              <a:off x="8005767" y="3811588"/>
              <a:ext cx="7937" cy="11112"/>
            </a:xfrm>
            <a:custGeom>
              <a:avLst/>
              <a:gdLst>
                <a:gd name="T0" fmla="*/ 2147483647 w 6"/>
                <a:gd name="T1" fmla="*/ 2147483647 h 7"/>
                <a:gd name="T2" fmla="*/ 2147483647 w 6"/>
                <a:gd name="T3" fmla="*/ 2147483647 h 7"/>
                <a:gd name="T4" fmla="*/ 2147483647 w 6"/>
                <a:gd name="T5" fmla="*/ 0 h 7"/>
                <a:gd name="T6" fmla="*/ 2147483647 w 6"/>
                <a:gd name="T7" fmla="*/ 0 h 7"/>
                <a:gd name="T8" fmla="*/ 0 w 6"/>
                <a:gd name="T9" fmla="*/ 2147483647 h 7"/>
                <a:gd name="T10" fmla="*/ 0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7"/>
                <a:gd name="T38" fmla="*/ 6 w 6"/>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7">
                  <a:moveTo>
                    <a:pt x="6" y="4"/>
                  </a:moveTo>
                  <a:lnTo>
                    <a:pt x="5" y="1"/>
                  </a:lnTo>
                  <a:lnTo>
                    <a:pt x="4" y="0"/>
                  </a:lnTo>
                  <a:lnTo>
                    <a:pt x="1" y="0"/>
                  </a:lnTo>
                  <a:lnTo>
                    <a:pt x="0" y="1"/>
                  </a:lnTo>
                  <a:lnTo>
                    <a:pt x="0" y="2"/>
                  </a:lnTo>
                  <a:lnTo>
                    <a:pt x="1" y="6"/>
                  </a:lnTo>
                  <a:lnTo>
                    <a:pt x="2" y="7"/>
                  </a:lnTo>
                  <a:lnTo>
                    <a:pt x="4" y="7"/>
                  </a:lnTo>
                  <a:lnTo>
                    <a:pt x="5" y="6"/>
                  </a:lnTo>
                  <a:lnTo>
                    <a:pt x="6" y="3"/>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 name="Freeform 103"/>
            <p:cNvSpPr>
              <a:spLocks/>
            </p:cNvSpPr>
            <p:nvPr/>
          </p:nvSpPr>
          <p:spPr bwMode="auto">
            <a:xfrm>
              <a:off x="7991475" y="3751267"/>
              <a:ext cx="7938" cy="9525"/>
            </a:xfrm>
            <a:custGeom>
              <a:avLst/>
              <a:gdLst>
                <a:gd name="T0" fmla="*/ 2147483647 w 6"/>
                <a:gd name="T1" fmla="*/ 2147483647 h 6"/>
                <a:gd name="T2" fmla="*/ 2147483647 w 6"/>
                <a:gd name="T3" fmla="*/ 0 h 6"/>
                <a:gd name="T4" fmla="*/ 2147483647 w 6"/>
                <a:gd name="T5" fmla="*/ 0 h 6"/>
                <a:gd name="T6" fmla="*/ 2147483647 w 6"/>
                <a:gd name="T7" fmla="*/ 0 h 6"/>
                <a:gd name="T8" fmla="*/ 2147483647 w 6"/>
                <a:gd name="T9" fmla="*/ 0 h 6"/>
                <a:gd name="T10" fmla="*/ 0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3"/>
                  </a:moveTo>
                  <a:lnTo>
                    <a:pt x="5" y="0"/>
                  </a:lnTo>
                  <a:lnTo>
                    <a:pt x="4" y="0"/>
                  </a:lnTo>
                  <a:lnTo>
                    <a:pt x="2" y="0"/>
                  </a:lnTo>
                  <a:lnTo>
                    <a:pt x="1" y="0"/>
                  </a:lnTo>
                  <a:lnTo>
                    <a:pt x="0" y="1"/>
                  </a:lnTo>
                  <a:lnTo>
                    <a:pt x="1" y="5"/>
                  </a:lnTo>
                  <a:lnTo>
                    <a:pt x="2" y="6"/>
                  </a:lnTo>
                  <a:lnTo>
                    <a:pt x="5" y="6"/>
                  </a:lnTo>
                  <a:lnTo>
                    <a:pt x="5" y="5"/>
                  </a:lnTo>
                  <a:lnTo>
                    <a:pt x="6"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 name="Freeform 104"/>
            <p:cNvSpPr>
              <a:spLocks/>
            </p:cNvSpPr>
            <p:nvPr/>
          </p:nvSpPr>
          <p:spPr bwMode="auto">
            <a:xfrm>
              <a:off x="8004175" y="3810001"/>
              <a:ext cx="7938" cy="11113"/>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2147483647 w 6"/>
                <a:gd name="T9" fmla="*/ 0 h 7"/>
                <a:gd name="T10" fmla="*/ 2147483647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2147483647 w 6"/>
                <a:gd name="T31" fmla="*/ 2147483647 h 7"/>
                <a:gd name="T32" fmla="*/ 2147483647 w 6"/>
                <a:gd name="T33" fmla="*/ 2147483647 h 7"/>
                <a:gd name="T34" fmla="*/ 2147483647 w 6"/>
                <a:gd name="T35" fmla="*/ 2147483647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7"/>
                <a:gd name="T56" fmla="*/ 6 w 6"/>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7">
                  <a:moveTo>
                    <a:pt x="6" y="4"/>
                  </a:moveTo>
                  <a:lnTo>
                    <a:pt x="6" y="4"/>
                  </a:lnTo>
                  <a:lnTo>
                    <a:pt x="5" y="1"/>
                  </a:lnTo>
                  <a:lnTo>
                    <a:pt x="3" y="0"/>
                  </a:lnTo>
                  <a:lnTo>
                    <a:pt x="1" y="0"/>
                  </a:lnTo>
                  <a:lnTo>
                    <a:pt x="0" y="1"/>
                  </a:lnTo>
                  <a:lnTo>
                    <a:pt x="0" y="2"/>
                  </a:lnTo>
                  <a:lnTo>
                    <a:pt x="1" y="5"/>
                  </a:lnTo>
                  <a:lnTo>
                    <a:pt x="2" y="7"/>
                  </a:lnTo>
                  <a:lnTo>
                    <a:pt x="3" y="7"/>
                  </a:lnTo>
                  <a:lnTo>
                    <a:pt x="5" y="5"/>
                  </a:lnTo>
                  <a:lnTo>
                    <a:pt x="6" y="3"/>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 name="Freeform 105"/>
            <p:cNvSpPr>
              <a:spLocks/>
            </p:cNvSpPr>
            <p:nvPr/>
          </p:nvSpPr>
          <p:spPr bwMode="auto">
            <a:xfrm>
              <a:off x="7988303" y="3749679"/>
              <a:ext cx="9525" cy="9525"/>
            </a:xfrm>
            <a:custGeom>
              <a:avLst/>
              <a:gdLst>
                <a:gd name="T0" fmla="*/ 2147483647 w 7"/>
                <a:gd name="T1" fmla="*/ 2147483647 h 6"/>
                <a:gd name="T2" fmla="*/ 2147483647 w 7"/>
                <a:gd name="T3" fmla="*/ 2147483647 h 6"/>
                <a:gd name="T4" fmla="*/ 2147483647 w 7"/>
                <a:gd name="T5" fmla="*/ 0 h 6"/>
                <a:gd name="T6" fmla="*/ 2147483647 w 7"/>
                <a:gd name="T7" fmla="*/ 0 h 6"/>
                <a:gd name="T8" fmla="*/ 2147483647 w 7"/>
                <a:gd name="T9" fmla="*/ 0 h 6"/>
                <a:gd name="T10" fmla="*/ 2147483647 w 7"/>
                <a:gd name="T11" fmla="*/ 0 h 6"/>
                <a:gd name="T12" fmla="*/ 2147483647 w 7"/>
                <a:gd name="T13" fmla="*/ 0 h 6"/>
                <a:gd name="T14" fmla="*/ 0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2147483647 w 7"/>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6"/>
                <a:gd name="T50" fmla="*/ 7 w 7"/>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6">
                  <a:moveTo>
                    <a:pt x="7" y="3"/>
                  </a:moveTo>
                  <a:lnTo>
                    <a:pt x="7" y="3"/>
                  </a:lnTo>
                  <a:lnTo>
                    <a:pt x="6" y="0"/>
                  </a:lnTo>
                  <a:lnTo>
                    <a:pt x="4" y="0"/>
                  </a:lnTo>
                  <a:lnTo>
                    <a:pt x="3" y="0"/>
                  </a:lnTo>
                  <a:lnTo>
                    <a:pt x="2" y="0"/>
                  </a:lnTo>
                  <a:lnTo>
                    <a:pt x="0" y="1"/>
                  </a:lnTo>
                  <a:lnTo>
                    <a:pt x="2" y="4"/>
                  </a:lnTo>
                  <a:lnTo>
                    <a:pt x="3" y="6"/>
                  </a:lnTo>
                  <a:lnTo>
                    <a:pt x="6" y="6"/>
                  </a:lnTo>
                  <a:lnTo>
                    <a:pt x="6" y="4"/>
                  </a:lnTo>
                  <a:lnTo>
                    <a:pt x="7"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 name="Freeform 106"/>
            <p:cNvSpPr>
              <a:spLocks/>
            </p:cNvSpPr>
            <p:nvPr/>
          </p:nvSpPr>
          <p:spPr bwMode="auto">
            <a:xfrm>
              <a:off x="8220077" y="3630617"/>
              <a:ext cx="6350" cy="9525"/>
            </a:xfrm>
            <a:custGeom>
              <a:avLst/>
              <a:gdLst>
                <a:gd name="T0" fmla="*/ 2147483647 w 5"/>
                <a:gd name="T1" fmla="*/ 2147483647 h 6"/>
                <a:gd name="T2" fmla="*/ 2147483647 w 5"/>
                <a:gd name="T3" fmla="*/ 0 h 6"/>
                <a:gd name="T4" fmla="*/ 2147483647 w 5"/>
                <a:gd name="T5" fmla="*/ 0 h 6"/>
                <a:gd name="T6" fmla="*/ 2147483647 w 5"/>
                <a:gd name="T7" fmla="*/ 0 h 6"/>
                <a:gd name="T8" fmla="*/ 2147483647 w 5"/>
                <a:gd name="T9" fmla="*/ 2147483647 h 6"/>
                <a:gd name="T10" fmla="*/ 0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3"/>
                  </a:moveTo>
                  <a:lnTo>
                    <a:pt x="5" y="0"/>
                  </a:lnTo>
                  <a:lnTo>
                    <a:pt x="4" y="0"/>
                  </a:lnTo>
                  <a:lnTo>
                    <a:pt x="2" y="0"/>
                  </a:lnTo>
                  <a:lnTo>
                    <a:pt x="1" y="1"/>
                  </a:lnTo>
                  <a:lnTo>
                    <a:pt x="0" y="2"/>
                  </a:lnTo>
                  <a:lnTo>
                    <a:pt x="1" y="5"/>
                  </a:lnTo>
                  <a:lnTo>
                    <a:pt x="2" y="6"/>
                  </a:lnTo>
                  <a:lnTo>
                    <a:pt x="4" y="6"/>
                  </a:lnTo>
                  <a:lnTo>
                    <a:pt x="5" y="5"/>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 name="Freeform 107"/>
            <p:cNvSpPr>
              <a:spLocks/>
            </p:cNvSpPr>
            <p:nvPr/>
          </p:nvSpPr>
          <p:spPr bwMode="auto">
            <a:xfrm>
              <a:off x="7820028" y="4098928"/>
              <a:ext cx="9525"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0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5" y="6"/>
                  </a:moveTo>
                  <a:lnTo>
                    <a:pt x="6" y="4"/>
                  </a:lnTo>
                  <a:lnTo>
                    <a:pt x="6" y="3"/>
                  </a:lnTo>
                  <a:lnTo>
                    <a:pt x="5" y="1"/>
                  </a:lnTo>
                  <a:lnTo>
                    <a:pt x="4" y="0"/>
                  </a:lnTo>
                  <a:lnTo>
                    <a:pt x="3" y="1"/>
                  </a:lnTo>
                  <a:lnTo>
                    <a:pt x="0" y="4"/>
                  </a:lnTo>
                  <a:lnTo>
                    <a:pt x="0" y="5"/>
                  </a:lnTo>
                  <a:lnTo>
                    <a:pt x="1" y="6"/>
                  </a:lnTo>
                  <a:lnTo>
                    <a:pt x="4" y="7"/>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 name="Freeform 108"/>
            <p:cNvSpPr>
              <a:spLocks/>
            </p:cNvSpPr>
            <p:nvPr/>
          </p:nvSpPr>
          <p:spPr bwMode="auto">
            <a:xfrm>
              <a:off x="8218489" y="3629029"/>
              <a:ext cx="6350" cy="9525"/>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2147483647 w 5"/>
                <a:gd name="T11" fmla="*/ 0 h 6"/>
                <a:gd name="T12" fmla="*/ 2147483647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3"/>
                  </a:moveTo>
                  <a:lnTo>
                    <a:pt x="5" y="3"/>
                  </a:lnTo>
                  <a:lnTo>
                    <a:pt x="5" y="0"/>
                  </a:lnTo>
                  <a:lnTo>
                    <a:pt x="3" y="0"/>
                  </a:lnTo>
                  <a:lnTo>
                    <a:pt x="2" y="0"/>
                  </a:lnTo>
                  <a:lnTo>
                    <a:pt x="1" y="1"/>
                  </a:lnTo>
                  <a:lnTo>
                    <a:pt x="0" y="2"/>
                  </a:lnTo>
                  <a:lnTo>
                    <a:pt x="1" y="4"/>
                  </a:lnTo>
                  <a:lnTo>
                    <a:pt x="2" y="6"/>
                  </a:lnTo>
                  <a:lnTo>
                    <a:pt x="3" y="6"/>
                  </a:lnTo>
                  <a:lnTo>
                    <a:pt x="5" y="4"/>
                  </a:lnTo>
                  <a:lnTo>
                    <a:pt x="5"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 name="Freeform 109"/>
            <p:cNvSpPr>
              <a:spLocks/>
            </p:cNvSpPr>
            <p:nvPr/>
          </p:nvSpPr>
          <p:spPr bwMode="auto">
            <a:xfrm>
              <a:off x="7820025" y="4097342"/>
              <a:ext cx="7938"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0 h 7"/>
                <a:gd name="T14" fmla="*/ 2147483647 w 6"/>
                <a:gd name="T15" fmla="*/ 2147483647 h 7"/>
                <a:gd name="T16" fmla="*/ 0 w 6"/>
                <a:gd name="T17" fmla="*/ 2147483647 h 7"/>
                <a:gd name="T18" fmla="*/ 0 w 6"/>
                <a:gd name="T19" fmla="*/ 2147483647 h 7"/>
                <a:gd name="T20" fmla="*/ 0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5" y="6"/>
                  </a:moveTo>
                  <a:lnTo>
                    <a:pt x="5" y="6"/>
                  </a:lnTo>
                  <a:lnTo>
                    <a:pt x="6" y="4"/>
                  </a:lnTo>
                  <a:lnTo>
                    <a:pt x="6" y="2"/>
                  </a:lnTo>
                  <a:lnTo>
                    <a:pt x="5" y="1"/>
                  </a:lnTo>
                  <a:lnTo>
                    <a:pt x="4" y="0"/>
                  </a:lnTo>
                  <a:lnTo>
                    <a:pt x="2" y="1"/>
                  </a:lnTo>
                  <a:lnTo>
                    <a:pt x="0" y="4"/>
                  </a:lnTo>
                  <a:lnTo>
                    <a:pt x="0" y="5"/>
                  </a:lnTo>
                  <a:lnTo>
                    <a:pt x="1" y="6"/>
                  </a:lnTo>
                  <a:lnTo>
                    <a:pt x="4" y="7"/>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 name="Freeform 110"/>
            <p:cNvSpPr>
              <a:spLocks/>
            </p:cNvSpPr>
            <p:nvPr/>
          </p:nvSpPr>
          <p:spPr bwMode="auto">
            <a:xfrm>
              <a:off x="7731129" y="4156076"/>
              <a:ext cx="11113" cy="15875"/>
            </a:xfrm>
            <a:custGeom>
              <a:avLst/>
              <a:gdLst>
                <a:gd name="T0" fmla="*/ 2147483647 w 7"/>
                <a:gd name="T1" fmla="*/ 2147483647 h 10"/>
                <a:gd name="T2" fmla="*/ 2147483647 w 7"/>
                <a:gd name="T3" fmla="*/ 2147483647 h 10"/>
                <a:gd name="T4" fmla="*/ 2147483647 w 7"/>
                <a:gd name="T5" fmla="*/ 0 h 10"/>
                <a:gd name="T6" fmla="*/ 2147483647 w 7"/>
                <a:gd name="T7" fmla="*/ 0 h 10"/>
                <a:gd name="T8" fmla="*/ 2147483647 w 7"/>
                <a:gd name="T9" fmla="*/ 2147483647 h 10"/>
                <a:gd name="T10" fmla="*/ 0 w 7"/>
                <a:gd name="T11" fmla="*/ 2147483647 h 10"/>
                <a:gd name="T12" fmla="*/ 0 w 7"/>
                <a:gd name="T13" fmla="*/ 2147483647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0"/>
                <a:gd name="T41" fmla="*/ 7 w 7"/>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0">
                  <a:moveTo>
                    <a:pt x="7" y="7"/>
                  </a:moveTo>
                  <a:lnTo>
                    <a:pt x="7" y="1"/>
                  </a:lnTo>
                  <a:lnTo>
                    <a:pt x="5" y="0"/>
                  </a:lnTo>
                  <a:lnTo>
                    <a:pt x="3" y="0"/>
                  </a:lnTo>
                  <a:lnTo>
                    <a:pt x="1" y="1"/>
                  </a:lnTo>
                  <a:lnTo>
                    <a:pt x="0" y="4"/>
                  </a:lnTo>
                  <a:lnTo>
                    <a:pt x="0" y="7"/>
                  </a:lnTo>
                  <a:lnTo>
                    <a:pt x="1" y="10"/>
                  </a:lnTo>
                  <a:lnTo>
                    <a:pt x="3" y="10"/>
                  </a:lnTo>
                  <a:lnTo>
                    <a:pt x="5" y="9"/>
                  </a:lnTo>
                  <a:lnTo>
                    <a:pt x="7" y="8"/>
                  </a:lnTo>
                  <a:lnTo>
                    <a:pt x="7" y="6"/>
                  </a:lnTo>
                  <a:lnTo>
                    <a:pt x="7"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 name="Freeform 111"/>
            <p:cNvSpPr>
              <a:spLocks/>
            </p:cNvSpPr>
            <p:nvPr/>
          </p:nvSpPr>
          <p:spPr bwMode="auto">
            <a:xfrm>
              <a:off x="8035925" y="4460875"/>
              <a:ext cx="26988" cy="14288"/>
            </a:xfrm>
            <a:custGeom>
              <a:avLst/>
              <a:gdLst>
                <a:gd name="T0" fmla="*/ 2147483647 w 18"/>
                <a:gd name="T1" fmla="*/ 2147483647 h 9"/>
                <a:gd name="T2" fmla="*/ 0 w 18"/>
                <a:gd name="T3" fmla="*/ 2147483647 h 9"/>
                <a:gd name="T4" fmla="*/ 0 w 18"/>
                <a:gd name="T5" fmla="*/ 2147483647 h 9"/>
                <a:gd name="T6" fmla="*/ 2147483647 w 18"/>
                <a:gd name="T7" fmla="*/ 0 h 9"/>
                <a:gd name="T8" fmla="*/ 2147483647 w 18"/>
                <a:gd name="T9" fmla="*/ 0 h 9"/>
                <a:gd name="T10" fmla="*/ 2147483647 w 18"/>
                <a:gd name="T11" fmla="*/ 2147483647 h 9"/>
                <a:gd name="T12" fmla="*/ 2147483647 w 18"/>
                <a:gd name="T13" fmla="*/ 2147483647 h 9"/>
                <a:gd name="T14" fmla="*/ 2147483647 w 18"/>
                <a:gd name="T15" fmla="*/ 2147483647 h 9"/>
                <a:gd name="T16" fmla="*/ 2147483647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9"/>
                <a:gd name="T50" fmla="*/ 18 w 18"/>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9">
                  <a:moveTo>
                    <a:pt x="2" y="7"/>
                  </a:moveTo>
                  <a:lnTo>
                    <a:pt x="0" y="6"/>
                  </a:lnTo>
                  <a:lnTo>
                    <a:pt x="0" y="3"/>
                  </a:lnTo>
                  <a:lnTo>
                    <a:pt x="3" y="0"/>
                  </a:lnTo>
                  <a:lnTo>
                    <a:pt x="4" y="0"/>
                  </a:lnTo>
                  <a:lnTo>
                    <a:pt x="7" y="1"/>
                  </a:lnTo>
                  <a:lnTo>
                    <a:pt x="8" y="1"/>
                  </a:lnTo>
                  <a:lnTo>
                    <a:pt x="16" y="3"/>
                  </a:lnTo>
                  <a:lnTo>
                    <a:pt x="18" y="6"/>
                  </a:lnTo>
                  <a:lnTo>
                    <a:pt x="18" y="7"/>
                  </a:lnTo>
                  <a:lnTo>
                    <a:pt x="18" y="8"/>
                  </a:lnTo>
                  <a:lnTo>
                    <a:pt x="17" y="9"/>
                  </a:lnTo>
                  <a:lnTo>
                    <a:pt x="16" y="9"/>
                  </a:lnTo>
                  <a:lnTo>
                    <a:pt x="13" y="8"/>
                  </a:lnTo>
                  <a:lnTo>
                    <a:pt x="8" y="8"/>
                  </a:lnTo>
                  <a:lnTo>
                    <a:pt x="2"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 name="Freeform 112"/>
            <p:cNvSpPr>
              <a:spLocks/>
            </p:cNvSpPr>
            <p:nvPr/>
          </p:nvSpPr>
          <p:spPr bwMode="auto">
            <a:xfrm>
              <a:off x="7729541" y="4154489"/>
              <a:ext cx="9525" cy="15875"/>
            </a:xfrm>
            <a:custGeom>
              <a:avLst/>
              <a:gdLst>
                <a:gd name="T0" fmla="*/ 2147483647 w 6"/>
                <a:gd name="T1" fmla="*/ 2147483647 h 10"/>
                <a:gd name="T2" fmla="*/ 2147483647 w 6"/>
                <a:gd name="T3" fmla="*/ 2147483647 h 10"/>
                <a:gd name="T4" fmla="*/ 2147483647 w 6"/>
                <a:gd name="T5" fmla="*/ 2147483647 h 10"/>
                <a:gd name="T6" fmla="*/ 2147483647 w 6"/>
                <a:gd name="T7" fmla="*/ 0 h 10"/>
                <a:gd name="T8" fmla="*/ 2147483647 w 6"/>
                <a:gd name="T9" fmla="*/ 0 h 10"/>
                <a:gd name="T10" fmla="*/ 2147483647 w 6"/>
                <a:gd name="T11" fmla="*/ 0 h 10"/>
                <a:gd name="T12" fmla="*/ 2147483647 w 6"/>
                <a:gd name="T13" fmla="*/ 2147483647 h 10"/>
                <a:gd name="T14" fmla="*/ 0 w 6"/>
                <a:gd name="T15" fmla="*/ 2147483647 h 10"/>
                <a:gd name="T16" fmla="*/ 0 w 6"/>
                <a:gd name="T17" fmla="*/ 2147483647 h 10"/>
                <a:gd name="T18" fmla="*/ 2147483647 w 6"/>
                <a:gd name="T19" fmla="*/ 2147483647 h 10"/>
                <a:gd name="T20" fmla="*/ 2147483647 w 6"/>
                <a:gd name="T21" fmla="*/ 2147483647 h 10"/>
                <a:gd name="T22" fmla="*/ 2147483647 w 6"/>
                <a:gd name="T23" fmla="*/ 2147483647 h 10"/>
                <a:gd name="T24" fmla="*/ 2147483647 w 6"/>
                <a:gd name="T25" fmla="*/ 2147483647 h 10"/>
                <a:gd name="T26" fmla="*/ 2147483647 w 6"/>
                <a:gd name="T27" fmla="*/ 2147483647 h 10"/>
                <a:gd name="T28" fmla="*/ 2147483647 w 6"/>
                <a:gd name="T29" fmla="*/ 2147483647 h 10"/>
                <a:gd name="T30" fmla="*/ 2147483647 w 6"/>
                <a:gd name="T31" fmla="*/ 2147483647 h 10"/>
                <a:gd name="T32" fmla="*/ 2147483647 w 6"/>
                <a:gd name="T33" fmla="*/ 2147483647 h 10"/>
                <a:gd name="T34" fmla="*/ 2147483647 w 6"/>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10"/>
                <a:gd name="T56" fmla="*/ 6 w 6"/>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10">
                  <a:moveTo>
                    <a:pt x="6" y="7"/>
                  </a:moveTo>
                  <a:lnTo>
                    <a:pt x="6" y="7"/>
                  </a:lnTo>
                  <a:lnTo>
                    <a:pt x="6" y="1"/>
                  </a:lnTo>
                  <a:lnTo>
                    <a:pt x="5" y="0"/>
                  </a:lnTo>
                  <a:lnTo>
                    <a:pt x="2" y="0"/>
                  </a:lnTo>
                  <a:lnTo>
                    <a:pt x="1" y="1"/>
                  </a:lnTo>
                  <a:lnTo>
                    <a:pt x="0" y="4"/>
                  </a:lnTo>
                  <a:lnTo>
                    <a:pt x="0" y="7"/>
                  </a:lnTo>
                  <a:lnTo>
                    <a:pt x="1" y="10"/>
                  </a:lnTo>
                  <a:lnTo>
                    <a:pt x="2" y="10"/>
                  </a:lnTo>
                  <a:lnTo>
                    <a:pt x="5" y="9"/>
                  </a:lnTo>
                  <a:lnTo>
                    <a:pt x="6" y="8"/>
                  </a:lnTo>
                  <a:lnTo>
                    <a:pt x="6" y="5"/>
                  </a:lnTo>
                  <a:lnTo>
                    <a:pt x="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 name="Freeform 113"/>
            <p:cNvSpPr>
              <a:spLocks/>
            </p:cNvSpPr>
            <p:nvPr/>
          </p:nvSpPr>
          <p:spPr bwMode="auto">
            <a:xfrm>
              <a:off x="8034341" y="4459292"/>
              <a:ext cx="26987" cy="14288"/>
            </a:xfrm>
            <a:custGeom>
              <a:avLst/>
              <a:gdLst>
                <a:gd name="T0" fmla="*/ 2147483647 w 18"/>
                <a:gd name="T1" fmla="*/ 2147483647 h 9"/>
                <a:gd name="T2" fmla="*/ 2147483647 w 18"/>
                <a:gd name="T3" fmla="*/ 2147483647 h 9"/>
                <a:gd name="T4" fmla="*/ 0 w 18"/>
                <a:gd name="T5" fmla="*/ 2147483647 h 9"/>
                <a:gd name="T6" fmla="*/ 0 w 18"/>
                <a:gd name="T7" fmla="*/ 2147483647 h 9"/>
                <a:gd name="T8" fmla="*/ 2147483647 w 18"/>
                <a:gd name="T9" fmla="*/ 0 h 9"/>
                <a:gd name="T10" fmla="*/ 2147483647 w 18"/>
                <a:gd name="T11" fmla="*/ 0 h 9"/>
                <a:gd name="T12" fmla="*/ 2147483647 w 18"/>
                <a:gd name="T13" fmla="*/ 0 h 9"/>
                <a:gd name="T14" fmla="*/ 2147483647 w 18"/>
                <a:gd name="T15" fmla="*/ 0 h 9"/>
                <a:gd name="T16" fmla="*/ 2147483647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2147483647 w 18"/>
                <a:gd name="T33" fmla="*/ 2147483647 h 9"/>
                <a:gd name="T34" fmla="*/ 2147483647 w 18"/>
                <a:gd name="T35" fmla="*/ 2147483647 h 9"/>
                <a:gd name="T36" fmla="*/ 2147483647 w 18"/>
                <a:gd name="T37" fmla="*/ 2147483647 h 9"/>
                <a:gd name="T38" fmla="*/ 2147483647 w 18"/>
                <a:gd name="T39" fmla="*/ 2147483647 h 9"/>
                <a:gd name="T40" fmla="*/ 2147483647 w 18"/>
                <a:gd name="T41" fmla="*/ 2147483647 h 9"/>
                <a:gd name="T42" fmla="*/ 2147483647 w 18"/>
                <a:gd name="T43" fmla="*/ 2147483647 h 9"/>
                <a:gd name="T44" fmla="*/ 2147483647 w 18"/>
                <a:gd name="T45" fmla="*/ 2147483647 h 9"/>
                <a:gd name="T46" fmla="*/ 2147483647 w 18"/>
                <a:gd name="T47" fmla="*/ 2147483647 h 9"/>
                <a:gd name="T48" fmla="*/ 2147483647 w 18"/>
                <a:gd name="T49" fmla="*/ 2147483647 h 9"/>
                <a:gd name="T50" fmla="*/ 2147483647 w 18"/>
                <a:gd name="T51" fmla="*/ 2147483647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
                <a:gd name="T79" fmla="*/ 0 h 9"/>
                <a:gd name="T80" fmla="*/ 18 w 18"/>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 h="9">
                  <a:moveTo>
                    <a:pt x="1" y="7"/>
                  </a:moveTo>
                  <a:lnTo>
                    <a:pt x="1" y="7"/>
                  </a:lnTo>
                  <a:lnTo>
                    <a:pt x="0" y="6"/>
                  </a:lnTo>
                  <a:lnTo>
                    <a:pt x="0" y="3"/>
                  </a:lnTo>
                  <a:lnTo>
                    <a:pt x="3" y="0"/>
                  </a:lnTo>
                  <a:lnTo>
                    <a:pt x="4" y="0"/>
                  </a:lnTo>
                  <a:lnTo>
                    <a:pt x="7" y="1"/>
                  </a:lnTo>
                  <a:lnTo>
                    <a:pt x="8" y="1"/>
                  </a:lnTo>
                  <a:lnTo>
                    <a:pt x="15" y="3"/>
                  </a:lnTo>
                  <a:lnTo>
                    <a:pt x="18" y="6"/>
                  </a:lnTo>
                  <a:lnTo>
                    <a:pt x="18" y="7"/>
                  </a:lnTo>
                  <a:lnTo>
                    <a:pt x="18" y="8"/>
                  </a:lnTo>
                  <a:lnTo>
                    <a:pt x="17" y="9"/>
                  </a:lnTo>
                  <a:lnTo>
                    <a:pt x="15" y="9"/>
                  </a:lnTo>
                  <a:lnTo>
                    <a:pt x="13" y="8"/>
                  </a:lnTo>
                  <a:lnTo>
                    <a:pt x="8" y="8"/>
                  </a:lnTo>
                  <a:lnTo>
                    <a:pt x="1"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 name="Freeform 114"/>
            <p:cNvSpPr>
              <a:spLocks/>
            </p:cNvSpPr>
            <p:nvPr/>
          </p:nvSpPr>
          <p:spPr bwMode="auto">
            <a:xfrm>
              <a:off x="8118477" y="4451354"/>
              <a:ext cx="6350" cy="4763"/>
            </a:xfrm>
            <a:custGeom>
              <a:avLst/>
              <a:gdLst>
                <a:gd name="T0" fmla="*/ 2147483647 w 4"/>
                <a:gd name="T1" fmla="*/ 2147483647 h 3"/>
                <a:gd name="T2" fmla="*/ 2147483647 w 4"/>
                <a:gd name="T3" fmla="*/ 0 h 3"/>
                <a:gd name="T4" fmla="*/ 2147483647 w 4"/>
                <a:gd name="T5" fmla="*/ 0 h 3"/>
                <a:gd name="T6" fmla="*/ 2147483647 w 4"/>
                <a:gd name="T7" fmla="*/ 0 h 3"/>
                <a:gd name="T8" fmla="*/ 0 w 4"/>
                <a:gd name="T9" fmla="*/ 2147483647 h 3"/>
                <a:gd name="T10" fmla="*/ 0 w 4"/>
                <a:gd name="T11" fmla="*/ 2147483647 h 3"/>
                <a:gd name="T12" fmla="*/ 0 w 4"/>
                <a:gd name="T13" fmla="*/ 2147483647 h 3"/>
                <a:gd name="T14" fmla="*/ 2147483647 w 4"/>
                <a:gd name="T15" fmla="*/ 2147483647 h 3"/>
                <a:gd name="T16" fmla="*/ 2147483647 w 4"/>
                <a:gd name="T17" fmla="*/ 2147483647 h 3"/>
                <a:gd name="T18" fmla="*/ 2147483647 w 4"/>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4" y="2"/>
                  </a:moveTo>
                  <a:lnTo>
                    <a:pt x="4" y="0"/>
                  </a:lnTo>
                  <a:lnTo>
                    <a:pt x="3" y="0"/>
                  </a:lnTo>
                  <a:lnTo>
                    <a:pt x="2" y="0"/>
                  </a:lnTo>
                  <a:lnTo>
                    <a:pt x="0" y="1"/>
                  </a:lnTo>
                  <a:lnTo>
                    <a:pt x="0" y="2"/>
                  </a:lnTo>
                  <a:lnTo>
                    <a:pt x="0" y="3"/>
                  </a:lnTo>
                  <a:lnTo>
                    <a:pt x="2" y="3"/>
                  </a:lnTo>
                  <a:lnTo>
                    <a:pt x="3" y="3"/>
                  </a:lnTo>
                  <a:lnTo>
                    <a:pt x="4"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 name="Freeform 115"/>
            <p:cNvSpPr>
              <a:spLocks/>
            </p:cNvSpPr>
            <p:nvPr/>
          </p:nvSpPr>
          <p:spPr bwMode="auto">
            <a:xfrm>
              <a:off x="8128001" y="4475167"/>
              <a:ext cx="14288" cy="15875"/>
            </a:xfrm>
            <a:custGeom>
              <a:avLst/>
              <a:gdLst>
                <a:gd name="T0" fmla="*/ 2147483647 w 9"/>
                <a:gd name="T1" fmla="*/ 2147483647 h 10"/>
                <a:gd name="T2" fmla="*/ 2147483647 w 9"/>
                <a:gd name="T3" fmla="*/ 2147483647 h 10"/>
                <a:gd name="T4" fmla="*/ 2147483647 w 9"/>
                <a:gd name="T5" fmla="*/ 2147483647 h 10"/>
                <a:gd name="T6" fmla="*/ 2147483647 w 9"/>
                <a:gd name="T7" fmla="*/ 0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0"/>
                <a:gd name="T35" fmla="*/ 9 w 9"/>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0">
                  <a:moveTo>
                    <a:pt x="9" y="6"/>
                  </a:moveTo>
                  <a:lnTo>
                    <a:pt x="9" y="4"/>
                  </a:lnTo>
                  <a:lnTo>
                    <a:pt x="7" y="1"/>
                  </a:lnTo>
                  <a:lnTo>
                    <a:pt x="5" y="0"/>
                  </a:lnTo>
                  <a:lnTo>
                    <a:pt x="1" y="1"/>
                  </a:lnTo>
                  <a:lnTo>
                    <a:pt x="0" y="3"/>
                  </a:lnTo>
                  <a:lnTo>
                    <a:pt x="0" y="5"/>
                  </a:lnTo>
                  <a:lnTo>
                    <a:pt x="2" y="7"/>
                  </a:lnTo>
                  <a:lnTo>
                    <a:pt x="3" y="10"/>
                  </a:lnTo>
                  <a:lnTo>
                    <a:pt x="6" y="9"/>
                  </a:lnTo>
                  <a:lnTo>
                    <a:pt x="9"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 name="Freeform 116"/>
            <p:cNvSpPr>
              <a:spLocks/>
            </p:cNvSpPr>
            <p:nvPr/>
          </p:nvSpPr>
          <p:spPr bwMode="auto">
            <a:xfrm>
              <a:off x="8116889" y="4449764"/>
              <a:ext cx="6350" cy="4762"/>
            </a:xfrm>
            <a:custGeom>
              <a:avLst/>
              <a:gdLst>
                <a:gd name="T0" fmla="*/ 2147483647 w 4"/>
                <a:gd name="T1" fmla="*/ 2147483647 h 3"/>
                <a:gd name="T2" fmla="*/ 2147483647 w 4"/>
                <a:gd name="T3" fmla="*/ 2147483647 h 3"/>
                <a:gd name="T4" fmla="*/ 2147483647 w 4"/>
                <a:gd name="T5" fmla="*/ 0 h 3"/>
                <a:gd name="T6" fmla="*/ 2147483647 w 4"/>
                <a:gd name="T7" fmla="*/ 0 h 3"/>
                <a:gd name="T8" fmla="*/ 2147483647 w 4"/>
                <a:gd name="T9" fmla="*/ 0 h 3"/>
                <a:gd name="T10" fmla="*/ 2147483647 w 4"/>
                <a:gd name="T11" fmla="*/ 0 h 3"/>
                <a:gd name="T12" fmla="*/ 0 w 4"/>
                <a:gd name="T13" fmla="*/ 2147483647 h 3"/>
                <a:gd name="T14" fmla="*/ 0 w 4"/>
                <a:gd name="T15" fmla="*/ 2147483647 h 3"/>
                <a:gd name="T16" fmla="*/ 0 w 4"/>
                <a:gd name="T17" fmla="*/ 2147483647 h 3"/>
                <a:gd name="T18" fmla="*/ 0 w 4"/>
                <a:gd name="T19" fmla="*/ 2147483647 h 3"/>
                <a:gd name="T20" fmla="*/ 2147483647 w 4"/>
                <a:gd name="T21" fmla="*/ 2147483647 h 3"/>
                <a:gd name="T22" fmla="*/ 2147483647 w 4"/>
                <a:gd name="T23" fmla="*/ 2147483647 h 3"/>
                <a:gd name="T24" fmla="*/ 2147483647 w 4"/>
                <a:gd name="T25" fmla="*/ 2147483647 h 3"/>
                <a:gd name="T26" fmla="*/ 2147483647 w 4"/>
                <a:gd name="T27" fmla="*/ 2147483647 h 3"/>
                <a:gd name="T28" fmla="*/ 2147483647 w 4"/>
                <a:gd name="T29" fmla="*/ 2147483647 h 3"/>
                <a:gd name="T30" fmla="*/ 2147483647 w 4"/>
                <a:gd name="T31" fmla="*/ 2147483647 h 3"/>
                <a:gd name="T32" fmla="*/ 2147483647 w 4"/>
                <a:gd name="T33" fmla="*/ 2147483647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3"/>
                <a:gd name="T53" fmla="*/ 4 w 4"/>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3">
                  <a:moveTo>
                    <a:pt x="4" y="2"/>
                  </a:moveTo>
                  <a:lnTo>
                    <a:pt x="4" y="2"/>
                  </a:lnTo>
                  <a:lnTo>
                    <a:pt x="4" y="0"/>
                  </a:lnTo>
                  <a:lnTo>
                    <a:pt x="3" y="0"/>
                  </a:lnTo>
                  <a:lnTo>
                    <a:pt x="1" y="0"/>
                  </a:lnTo>
                  <a:lnTo>
                    <a:pt x="0" y="1"/>
                  </a:lnTo>
                  <a:lnTo>
                    <a:pt x="0" y="2"/>
                  </a:lnTo>
                  <a:lnTo>
                    <a:pt x="0" y="3"/>
                  </a:lnTo>
                  <a:lnTo>
                    <a:pt x="1" y="3"/>
                  </a:lnTo>
                  <a:lnTo>
                    <a:pt x="3" y="3"/>
                  </a:lnTo>
                  <a:lnTo>
                    <a:pt x="4"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 name="Freeform 117"/>
            <p:cNvSpPr>
              <a:spLocks/>
            </p:cNvSpPr>
            <p:nvPr/>
          </p:nvSpPr>
          <p:spPr bwMode="auto">
            <a:xfrm>
              <a:off x="8124826" y="4473577"/>
              <a:ext cx="14288" cy="15875"/>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0 h 10"/>
                <a:gd name="T10" fmla="*/ 2147483647 w 9"/>
                <a:gd name="T11" fmla="*/ 2147483647 h 10"/>
                <a:gd name="T12" fmla="*/ 2147483647 w 9"/>
                <a:gd name="T13" fmla="*/ 2147483647 h 10"/>
                <a:gd name="T14" fmla="*/ 0 w 9"/>
                <a:gd name="T15" fmla="*/ 2147483647 h 10"/>
                <a:gd name="T16" fmla="*/ 0 w 9"/>
                <a:gd name="T17" fmla="*/ 2147483647 h 10"/>
                <a:gd name="T18" fmla="*/ 0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2147483647 w 9"/>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0"/>
                <a:gd name="T47" fmla="*/ 9 w 9"/>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0">
                  <a:moveTo>
                    <a:pt x="9" y="6"/>
                  </a:moveTo>
                  <a:lnTo>
                    <a:pt x="9" y="6"/>
                  </a:lnTo>
                  <a:lnTo>
                    <a:pt x="9" y="4"/>
                  </a:lnTo>
                  <a:lnTo>
                    <a:pt x="8" y="1"/>
                  </a:lnTo>
                  <a:lnTo>
                    <a:pt x="5" y="0"/>
                  </a:lnTo>
                  <a:lnTo>
                    <a:pt x="2" y="1"/>
                  </a:lnTo>
                  <a:lnTo>
                    <a:pt x="0" y="2"/>
                  </a:lnTo>
                  <a:lnTo>
                    <a:pt x="0" y="5"/>
                  </a:lnTo>
                  <a:lnTo>
                    <a:pt x="3" y="7"/>
                  </a:lnTo>
                  <a:lnTo>
                    <a:pt x="4" y="10"/>
                  </a:lnTo>
                  <a:lnTo>
                    <a:pt x="7" y="8"/>
                  </a:lnTo>
                  <a:lnTo>
                    <a:pt x="9"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 name="Freeform 118"/>
            <p:cNvSpPr>
              <a:spLocks/>
            </p:cNvSpPr>
            <p:nvPr/>
          </p:nvSpPr>
          <p:spPr bwMode="auto">
            <a:xfrm>
              <a:off x="8542339" y="4421192"/>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2147483647 h 6"/>
                <a:gd name="T10" fmla="*/ 0 w 7"/>
                <a:gd name="T11" fmla="*/ 2147483647 h 6"/>
                <a:gd name="T12" fmla="*/ 0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5"/>
                  </a:moveTo>
                  <a:lnTo>
                    <a:pt x="7" y="2"/>
                  </a:lnTo>
                  <a:lnTo>
                    <a:pt x="5" y="1"/>
                  </a:lnTo>
                  <a:lnTo>
                    <a:pt x="3" y="0"/>
                  </a:lnTo>
                  <a:lnTo>
                    <a:pt x="1" y="1"/>
                  </a:lnTo>
                  <a:lnTo>
                    <a:pt x="0" y="1"/>
                  </a:lnTo>
                  <a:lnTo>
                    <a:pt x="0" y="2"/>
                  </a:lnTo>
                  <a:lnTo>
                    <a:pt x="2" y="5"/>
                  </a:lnTo>
                  <a:lnTo>
                    <a:pt x="5" y="6"/>
                  </a:lnTo>
                  <a:lnTo>
                    <a:pt x="6" y="6"/>
                  </a:lnTo>
                  <a:lnTo>
                    <a:pt x="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 name="Freeform 119"/>
            <p:cNvSpPr>
              <a:spLocks/>
            </p:cNvSpPr>
            <p:nvPr/>
          </p:nvSpPr>
          <p:spPr bwMode="auto">
            <a:xfrm>
              <a:off x="8716966" y="4387849"/>
              <a:ext cx="14287" cy="12700"/>
            </a:xfrm>
            <a:custGeom>
              <a:avLst/>
              <a:gdLst>
                <a:gd name="T0" fmla="*/ 2147483647 w 9"/>
                <a:gd name="T1" fmla="*/ 2147483647 h 8"/>
                <a:gd name="T2" fmla="*/ 2147483647 w 9"/>
                <a:gd name="T3" fmla="*/ 2147483647 h 8"/>
                <a:gd name="T4" fmla="*/ 2147483647 w 9"/>
                <a:gd name="T5" fmla="*/ 2147483647 h 8"/>
                <a:gd name="T6" fmla="*/ 2147483647 w 9"/>
                <a:gd name="T7" fmla="*/ 0 h 8"/>
                <a:gd name="T8" fmla="*/ 2147483647 w 9"/>
                <a:gd name="T9" fmla="*/ 0 h 8"/>
                <a:gd name="T10" fmla="*/ 2147483647 w 9"/>
                <a:gd name="T11" fmla="*/ 0 h 8"/>
                <a:gd name="T12" fmla="*/ 0 w 9"/>
                <a:gd name="T13" fmla="*/ 2147483647 h 8"/>
                <a:gd name="T14" fmla="*/ 2147483647 w 9"/>
                <a:gd name="T15" fmla="*/ 2147483647 h 8"/>
                <a:gd name="T16" fmla="*/ 2147483647 w 9"/>
                <a:gd name="T17" fmla="*/ 2147483647 h 8"/>
                <a:gd name="T18" fmla="*/ 2147483647 w 9"/>
                <a:gd name="T19" fmla="*/ 2147483647 h 8"/>
                <a:gd name="T20" fmla="*/ 2147483647 w 9"/>
                <a:gd name="T21" fmla="*/ 2147483647 h 8"/>
                <a:gd name="T22" fmla="*/ 2147483647 w 9"/>
                <a:gd name="T23" fmla="*/ 2147483647 h 8"/>
                <a:gd name="T24" fmla="*/ 2147483647 w 9"/>
                <a:gd name="T25" fmla="*/ 2147483647 h 8"/>
                <a:gd name="T26" fmla="*/ 2147483647 w 9"/>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8"/>
                <a:gd name="T44" fmla="*/ 9 w 9"/>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8">
                  <a:moveTo>
                    <a:pt x="8" y="4"/>
                  </a:moveTo>
                  <a:lnTo>
                    <a:pt x="7" y="3"/>
                  </a:lnTo>
                  <a:lnTo>
                    <a:pt x="5" y="2"/>
                  </a:lnTo>
                  <a:lnTo>
                    <a:pt x="4" y="0"/>
                  </a:lnTo>
                  <a:lnTo>
                    <a:pt x="3" y="0"/>
                  </a:lnTo>
                  <a:lnTo>
                    <a:pt x="1" y="0"/>
                  </a:lnTo>
                  <a:lnTo>
                    <a:pt x="0" y="2"/>
                  </a:lnTo>
                  <a:lnTo>
                    <a:pt x="1" y="4"/>
                  </a:lnTo>
                  <a:lnTo>
                    <a:pt x="1" y="5"/>
                  </a:lnTo>
                  <a:lnTo>
                    <a:pt x="5" y="8"/>
                  </a:lnTo>
                  <a:lnTo>
                    <a:pt x="7" y="8"/>
                  </a:lnTo>
                  <a:lnTo>
                    <a:pt x="9" y="7"/>
                  </a:lnTo>
                  <a:lnTo>
                    <a:pt x="8" y="5"/>
                  </a:lnTo>
                  <a:lnTo>
                    <a:pt x="8"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 name="Freeform 120"/>
            <p:cNvSpPr>
              <a:spLocks/>
            </p:cNvSpPr>
            <p:nvPr/>
          </p:nvSpPr>
          <p:spPr bwMode="auto">
            <a:xfrm>
              <a:off x="8539163" y="4419604"/>
              <a:ext cx="11112" cy="9525"/>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0 h 6"/>
                <a:gd name="T10" fmla="*/ 2147483647 w 8"/>
                <a:gd name="T11" fmla="*/ 2147483647 h 6"/>
                <a:gd name="T12" fmla="*/ 2147483647 w 8"/>
                <a:gd name="T13" fmla="*/ 2147483647 h 6"/>
                <a:gd name="T14" fmla="*/ 0 w 8"/>
                <a:gd name="T15" fmla="*/ 2147483647 h 6"/>
                <a:gd name="T16" fmla="*/ 0 w 8"/>
                <a:gd name="T17" fmla="*/ 2147483647 h 6"/>
                <a:gd name="T18" fmla="*/ 0 w 8"/>
                <a:gd name="T19" fmla="*/ 2147483647 h 6"/>
                <a:gd name="T20" fmla="*/ 2147483647 w 8"/>
                <a:gd name="T21" fmla="*/ 2147483647 h 6"/>
                <a:gd name="T22" fmla="*/ 2147483647 w 8"/>
                <a:gd name="T23" fmla="*/ 2147483647 h 6"/>
                <a:gd name="T24" fmla="*/ 2147483647 w 8"/>
                <a:gd name="T25" fmla="*/ 2147483647 h 6"/>
                <a:gd name="T26" fmla="*/ 2147483647 w 8"/>
                <a:gd name="T27" fmla="*/ 2147483647 h 6"/>
                <a:gd name="T28" fmla="*/ 2147483647 w 8"/>
                <a:gd name="T29" fmla="*/ 2147483647 h 6"/>
                <a:gd name="T30" fmla="*/ 2147483647 w 8"/>
                <a:gd name="T31" fmla="*/ 2147483647 h 6"/>
                <a:gd name="T32" fmla="*/ 2147483647 w 8"/>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6"/>
                <a:gd name="T53" fmla="*/ 8 w 8"/>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6">
                  <a:moveTo>
                    <a:pt x="8" y="4"/>
                  </a:moveTo>
                  <a:lnTo>
                    <a:pt x="8" y="4"/>
                  </a:lnTo>
                  <a:lnTo>
                    <a:pt x="8" y="2"/>
                  </a:lnTo>
                  <a:lnTo>
                    <a:pt x="5" y="1"/>
                  </a:lnTo>
                  <a:lnTo>
                    <a:pt x="4" y="0"/>
                  </a:lnTo>
                  <a:lnTo>
                    <a:pt x="2" y="1"/>
                  </a:lnTo>
                  <a:lnTo>
                    <a:pt x="0" y="1"/>
                  </a:lnTo>
                  <a:lnTo>
                    <a:pt x="0" y="2"/>
                  </a:lnTo>
                  <a:lnTo>
                    <a:pt x="3" y="4"/>
                  </a:lnTo>
                  <a:lnTo>
                    <a:pt x="5" y="6"/>
                  </a:lnTo>
                  <a:lnTo>
                    <a:pt x="7" y="6"/>
                  </a:lnTo>
                  <a:lnTo>
                    <a:pt x="8"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 name="Freeform 121"/>
            <p:cNvSpPr>
              <a:spLocks/>
            </p:cNvSpPr>
            <p:nvPr/>
          </p:nvSpPr>
          <p:spPr bwMode="auto">
            <a:xfrm>
              <a:off x="8715375" y="4384675"/>
              <a:ext cx="14288" cy="14288"/>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0 h 9"/>
                <a:gd name="T10" fmla="*/ 2147483647 w 9"/>
                <a:gd name="T11" fmla="*/ 0 h 9"/>
                <a:gd name="T12" fmla="*/ 2147483647 w 9"/>
                <a:gd name="T13" fmla="*/ 0 h 9"/>
                <a:gd name="T14" fmla="*/ 2147483647 w 9"/>
                <a:gd name="T15" fmla="*/ 0 h 9"/>
                <a:gd name="T16" fmla="*/ 0 w 9"/>
                <a:gd name="T17" fmla="*/ 2147483647 h 9"/>
                <a:gd name="T18" fmla="*/ 2147483647 w 9"/>
                <a:gd name="T19" fmla="*/ 2147483647 h 9"/>
                <a:gd name="T20" fmla="*/ 2147483647 w 9"/>
                <a:gd name="T21" fmla="*/ 2147483647 h 9"/>
                <a:gd name="T22" fmla="*/ 2147483647 w 9"/>
                <a:gd name="T23" fmla="*/ 2147483647 h 9"/>
                <a:gd name="T24" fmla="*/ 2147483647 w 9"/>
                <a:gd name="T25" fmla="*/ 2147483647 h 9"/>
                <a:gd name="T26" fmla="*/ 2147483647 w 9"/>
                <a:gd name="T27" fmla="*/ 2147483647 h 9"/>
                <a:gd name="T28" fmla="*/ 2147483647 w 9"/>
                <a:gd name="T29" fmla="*/ 2147483647 h 9"/>
                <a:gd name="T30" fmla="*/ 2147483647 w 9"/>
                <a:gd name="T31" fmla="*/ 2147483647 h 9"/>
                <a:gd name="T32" fmla="*/ 2147483647 w 9"/>
                <a:gd name="T33" fmla="*/ 2147483647 h 9"/>
                <a:gd name="T34" fmla="*/ 2147483647 w 9"/>
                <a:gd name="T35" fmla="*/ 2147483647 h 9"/>
                <a:gd name="T36" fmla="*/ 2147483647 w 9"/>
                <a:gd name="T37" fmla="*/ 2147483647 h 9"/>
                <a:gd name="T38" fmla="*/ 2147483647 w 9"/>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9"/>
                <a:gd name="T62" fmla="*/ 9 w 9"/>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9">
                  <a:moveTo>
                    <a:pt x="8" y="5"/>
                  </a:moveTo>
                  <a:lnTo>
                    <a:pt x="8" y="5"/>
                  </a:lnTo>
                  <a:lnTo>
                    <a:pt x="6" y="4"/>
                  </a:lnTo>
                  <a:lnTo>
                    <a:pt x="5" y="3"/>
                  </a:lnTo>
                  <a:lnTo>
                    <a:pt x="4" y="0"/>
                  </a:lnTo>
                  <a:lnTo>
                    <a:pt x="2" y="0"/>
                  </a:lnTo>
                  <a:lnTo>
                    <a:pt x="1" y="0"/>
                  </a:lnTo>
                  <a:lnTo>
                    <a:pt x="0" y="3"/>
                  </a:lnTo>
                  <a:lnTo>
                    <a:pt x="1" y="5"/>
                  </a:lnTo>
                  <a:lnTo>
                    <a:pt x="1" y="6"/>
                  </a:lnTo>
                  <a:lnTo>
                    <a:pt x="5" y="9"/>
                  </a:lnTo>
                  <a:lnTo>
                    <a:pt x="6" y="9"/>
                  </a:lnTo>
                  <a:lnTo>
                    <a:pt x="9" y="7"/>
                  </a:lnTo>
                  <a:lnTo>
                    <a:pt x="8" y="6"/>
                  </a:lnTo>
                  <a:lnTo>
                    <a:pt x="8"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 name="Freeform 122"/>
            <p:cNvSpPr>
              <a:spLocks/>
            </p:cNvSpPr>
            <p:nvPr/>
          </p:nvSpPr>
          <p:spPr bwMode="auto">
            <a:xfrm>
              <a:off x="8758242" y="4443417"/>
              <a:ext cx="7937" cy="9525"/>
            </a:xfrm>
            <a:custGeom>
              <a:avLst/>
              <a:gdLst>
                <a:gd name="T0" fmla="*/ 2147483647 w 5"/>
                <a:gd name="T1" fmla="*/ 2147483647 h 6"/>
                <a:gd name="T2" fmla="*/ 2147483647 w 5"/>
                <a:gd name="T3" fmla="*/ 2147483647 h 6"/>
                <a:gd name="T4" fmla="*/ 2147483647 w 5"/>
                <a:gd name="T5" fmla="*/ 0 h 6"/>
                <a:gd name="T6" fmla="*/ 0 w 5"/>
                <a:gd name="T7" fmla="*/ 2147483647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4"/>
                  </a:moveTo>
                  <a:lnTo>
                    <a:pt x="3" y="1"/>
                  </a:lnTo>
                  <a:lnTo>
                    <a:pt x="1" y="0"/>
                  </a:lnTo>
                  <a:lnTo>
                    <a:pt x="0" y="1"/>
                  </a:lnTo>
                  <a:lnTo>
                    <a:pt x="1" y="5"/>
                  </a:lnTo>
                  <a:lnTo>
                    <a:pt x="1" y="6"/>
                  </a:lnTo>
                  <a:lnTo>
                    <a:pt x="3" y="6"/>
                  </a:lnTo>
                  <a:lnTo>
                    <a:pt x="5" y="6"/>
                  </a:lnTo>
                  <a:lnTo>
                    <a:pt x="5" y="5"/>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 name="Freeform 123"/>
            <p:cNvSpPr>
              <a:spLocks/>
            </p:cNvSpPr>
            <p:nvPr/>
          </p:nvSpPr>
          <p:spPr bwMode="auto">
            <a:xfrm>
              <a:off x="8801100" y="4438650"/>
              <a:ext cx="6350" cy="7938"/>
            </a:xfrm>
            <a:custGeom>
              <a:avLst/>
              <a:gdLst>
                <a:gd name="T0" fmla="*/ 2147483647 w 4"/>
                <a:gd name="T1" fmla="*/ 2147483647 h 5"/>
                <a:gd name="T2" fmla="*/ 2147483647 w 4"/>
                <a:gd name="T3" fmla="*/ 2147483647 h 5"/>
                <a:gd name="T4" fmla="*/ 2147483647 w 4"/>
                <a:gd name="T5" fmla="*/ 0 h 5"/>
                <a:gd name="T6" fmla="*/ 2147483647 w 4"/>
                <a:gd name="T7" fmla="*/ 2147483647 h 5"/>
                <a:gd name="T8" fmla="*/ 0 w 4"/>
                <a:gd name="T9" fmla="*/ 2147483647 h 5"/>
                <a:gd name="T10" fmla="*/ 2147483647 w 4"/>
                <a:gd name="T11" fmla="*/ 2147483647 h 5"/>
                <a:gd name="T12" fmla="*/ 2147483647 w 4"/>
                <a:gd name="T13" fmla="*/ 2147483647 h 5"/>
                <a:gd name="T14" fmla="*/ 2147483647 w 4"/>
                <a:gd name="T15" fmla="*/ 2147483647 h 5"/>
                <a:gd name="T16" fmla="*/ 2147483647 w 4"/>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4" y="3"/>
                  </a:moveTo>
                  <a:lnTo>
                    <a:pt x="4" y="1"/>
                  </a:lnTo>
                  <a:lnTo>
                    <a:pt x="3" y="0"/>
                  </a:lnTo>
                  <a:lnTo>
                    <a:pt x="2" y="1"/>
                  </a:lnTo>
                  <a:lnTo>
                    <a:pt x="0" y="2"/>
                  </a:lnTo>
                  <a:lnTo>
                    <a:pt x="2" y="5"/>
                  </a:lnTo>
                  <a:lnTo>
                    <a:pt x="3" y="5"/>
                  </a:lnTo>
                  <a:lnTo>
                    <a:pt x="4" y="4"/>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 name="Freeform 124"/>
            <p:cNvSpPr>
              <a:spLocks/>
            </p:cNvSpPr>
            <p:nvPr/>
          </p:nvSpPr>
          <p:spPr bwMode="auto">
            <a:xfrm>
              <a:off x="8756650" y="4441829"/>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3"/>
                  </a:moveTo>
                  <a:lnTo>
                    <a:pt x="5" y="3"/>
                  </a:lnTo>
                  <a:lnTo>
                    <a:pt x="2" y="1"/>
                  </a:lnTo>
                  <a:lnTo>
                    <a:pt x="1" y="0"/>
                  </a:lnTo>
                  <a:lnTo>
                    <a:pt x="0" y="1"/>
                  </a:lnTo>
                  <a:lnTo>
                    <a:pt x="1" y="5"/>
                  </a:lnTo>
                  <a:lnTo>
                    <a:pt x="1" y="6"/>
                  </a:lnTo>
                  <a:lnTo>
                    <a:pt x="2" y="6"/>
                  </a:lnTo>
                  <a:lnTo>
                    <a:pt x="5" y="6"/>
                  </a:lnTo>
                  <a:lnTo>
                    <a:pt x="5" y="5"/>
                  </a:lnTo>
                  <a:lnTo>
                    <a:pt x="5"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 name="Freeform 125"/>
            <p:cNvSpPr>
              <a:spLocks/>
            </p:cNvSpPr>
            <p:nvPr/>
          </p:nvSpPr>
          <p:spPr bwMode="auto">
            <a:xfrm>
              <a:off x="8799514" y="4435479"/>
              <a:ext cx="6350" cy="9525"/>
            </a:xfrm>
            <a:custGeom>
              <a:avLst/>
              <a:gdLst>
                <a:gd name="T0" fmla="*/ 2147483647 w 4"/>
                <a:gd name="T1" fmla="*/ 2147483647 h 6"/>
                <a:gd name="T2" fmla="*/ 2147483647 w 4"/>
                <a:gd name="T3" fmla="*/ 2147483647 h 6"/>
                <a:gd name="T4" fmla="*/ 2147483647 w 4"/>
                <a:gd name="T5" fmla="*/ 2147483647 h 6"/>
                <a:gd name="T6" fmla="*/ 2147483647 w 4"/>
                <a:gd name="T7" fmla="*/ 0 h 6"/>
                <a:gd name="T8" fmla="*/ 2147483647 w 4"/>
                <a:gd name="T9" fmla="*/ 0 h 6"/>
                <a:gd name="T10" fmla="*/ 2147483647 w 4"/>
                <a:gd name="T11" fmla="*/ 0 h 6"/>
                <a:gd name="T12" fmla="*/ 2147483647 w 4"/>
                <a:gd name="T13" fmla="*/ 2147483647 h 6"/>
                <a:gd name="T14" fmla="*/ 0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2147483647 w 4"/>
                <a:gd name="T27" fmla="*/ 2147483647 h 6"/>
                <a:gd name="T28" fmla="*/ 2147483647 w 4"/>
                <a:gd name="T29" fmla="*/ 2147483647 h 6"/>
                <a:gd name="T30" fmla="*/ 2147483647 w 4"/>
                <a:gd name="T31" fmla="*/ 2147483647 h 6"/>
                <a:gd name="T32" fmla="*/ 2147483647 w 4"/>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6"/>
                <a:gd name="T53" fmla="*/ 4 w 4"/>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6">
                  <a:moveTo>
                    <a:pt x="4" y="4"/>
                  </a:moveTo>
                  <a:lnTo>
                    <a:pt x="4" y="4"/>
                  </a:lnTo>
                  <a:lnTo>
                    <a:pt x="4" y="2"/>
                  </a:lnTo>
                  <a:lnTo>
                    <a:pt x="3" y="0"/>
                  </a:lnTo>
                  <a:lnTo>
                    <a:pt x="1" y="2"/>
                  </a:lnTo>
                  <a:lnTo>
                    <a:pt x="0" y="3"/>
                  </a:lnTo>
                  <a:lnTo>
                    <a:pt x="1" y="6"/>
                  </a:lnTo>
                  <a:lnTo>
                    <a:pt x="3" y="6"/>
                  </a:lnTo>
                  <a:lnTo>
                    <a:pt x="4" y="5"/>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 name="Freeform 126"/>
            <p:cNvSpPr>
              <a:spLocks/>
            </p:cNvSpPr>
            <p:nvPr/>
          </p:nvSpPr>
          <p:spPr bwMode="auto">
            <a:xfrm>
              <a:off x="8797925" y="4456117"/>
              <a:ext cx="7938" cy="9525"/>
            </a:xfrm>
            <a:custGeom>
              <a:avLst/>
              <a:gdLst>
                <a:gd name="T0" fmla="*/ 2147483647 w 5"/>
                <a:gd name="T1" fmla="*/ 2147483647 h 6"/>
                <a:gd name="T2" fmla="*/ 0 w 5"/>
                <a:gd name="T3" fmla="*/ 2147483647 h 6"/>
                <a:gd name="T4" fmla="*/ 0 w 5"/>
                <a:gd name="T5" fmla="*/ 2147483647 h 6"/>
                <a:gd name="T6" fmla="*/ 0 w 5"/>
                <a:gd name="T7" fmla="*/ 2147483647 h 6"/>
                <a:gd name="T8" fmla="*/ 2147483647 w 5"/>
                <a:gd name="T9" fmla="*/ 2147483647 h 6"/>
                <a:gd name="T10" fmla="*/ 2147483647 w 5"/>
                <a:gd name="T11" fmla="*/ 0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1" y="6"/>
                  </a:moveTo>
                  <a:lnTo>
                    <a:pt x="0" y="5"/>
                  </a:lnTo>
                  <a:lnTo>
                    <a:pt x="0" y="3"/>
                  </a:lnTo>
                  <a:lnTo>
                    <a:pt x="0" y="2"/>
                  </a:lnTo>
                  <a:lnTo>
                    <a:pt x="1" y="2"/>
                  </a:lnTo>
                  <a:lnTo>
                    <a:pt x="2" y="0"/>
                  </a:lnTo>
                  <a:lnTo>
                    <a:pt x="4" y="2"/>
                  </a:lnTo>
                  <a:lnTo>
                    <a:pt x="5" y="3"/>
                  </a:lnTo>
                  <a:lnTo>
                    <a:pt x="5" y="5"/>
                  </a:lnTo>
                  <a:lnTo>
                    <a:pt x="4" y="6"/>
                  </a:lnTo>
                  <a:lnTo>
                    <a:pt x="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 name="Freeform 127"/>
            <p:cNvSpPr>
              <a:spLocks/>
            </p:cNvSpPr>
            <p:nvPr/>
          </p:nvSpPr>
          <p:spPr bwMode="auto">
            <a:xfrm>
              <a:off x="8804275" y="4479925"/>
              <a:ext cx="4763" cy="6350"/>
            </a:xfrm>
            <a:custGeom>
              <a:avLst/>
              <a:gdLst>
                <a:gd name="T0" fmla="*/ 2147483647 w 3"/>
                <a:gd name="T1" fmla="*/ 2147483647 h 4"/>
                <a:gd name="T2" fmla="*/ 2147483647 w 3"/>
                <a:gd name="T3" fmla="*/ 2147483647 h 4"/>
                <a:gd name="T4" fmla="*/ 2147483647 w 3"/>
                <a:gd name="T5" fmla="*/ 0 h 4"/>
                <a:gd name="T6" fmla="*/ 0 w 3"/>
                <a:gd name="T7" fmla="*/ 2147483647 h 4"/>
                <a:gd name="T8" fmla="*/ 0 w 3"/>
                <a:gd name="T9" fmla="*/ 2147483647 h 4"/>
                <a:gd name="T10" fmla="*/ 2147483647 w 3"/>
                <a:gd name="T11" fmla="*/ 2147483647 h 4"/>
                <a:gd name="T12" fmla="*/ 2147483647 w 3"/>
                <a:gd name="T13" fmla="*/ 2147483647 h 4"/>
                <a:gd name="T14" fmla="*/ 2147483647 w 3"/>
                <a:gd name="T15" fmla="*/ 2147483647 h 4"/>
                <a:gd name="T16" fmla="*/ 2147483647 w 3"/>
                <a:gd name="T17" fmla="*/ 2147483647 h 4"/>
                <a:gd name="T18" fmla="*/ 2147483647 w 3"/>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3"/>
                  </a:moveTo>
                  <a:lnTo>
                    <a:pt x="2" y="1"/>
                  </a:lnTo>
                  <a:lnTo>
                    <a:pt x="1" y="0"/>
                  </a:lnTo>
                  <a:lnTo>
                    <a:pt x="0" y="1"/>
                  </a:lnTo>
                  <a:lnTo>
                    <a:pt x="0" y="3"/>
                  </a:lnTo>
                  <a:lnTo>
                    <a:pt x="1" y="4"/>
                  </a:lnTo>
                  <a:lnTo>
                    <a:pt x="2" y="4"/>
                  </a:lnTo>
                  <a:lnTo>
                    <a:pt x="3" y="4"/>
                  </a:lnTo>
                  <a:lnTo>
                    <a:pt x="3" y="2"/>
                  </a:lnTo>
                  <a:lnTo>
                    <a:pt x="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 name="Freeform 128"/>
            <p:cNvSpPr>
              <a:spLocks/>
            </p:cNvSpPr>
            <p:nvPr/>
          </p:nvSpPr>
          <p:spPr bwMode="auto">
            <a:xfrm>
              <a:off x="8796342" y="4454529"/>
              <a:ext cx="7937" cy="9525"/>
            </a:xfrm>
            <a:custGeom>
              <a:avLst/>
              <a:gdLst>
                <a:gd name="T0" fmla="*/ 2147483647 w 5"/>
                <a:gd name="T1" fmla="*/ 2147483647 h 6"/>
                <a:gd name="T2" fmla="*/ 2147483647 w 5"/>
                <a:gd name="T3" fmla="*/ 2147483647 h 6"/>
                <a:gd name="T4" fmla="*/ 0 w 5"/>
                <a:gd name="T5" fmla="*/ 2147483647 h 6"/>
                <a:gd name="T6" fmla="*/ 0 w 5"/>
                <a:gd name="T7" fmla="*/ 2147483647 h 6"/>
                <a:gd name="T8" fmla="*/ 0 w 5"/>
                <a:gd name="T9" fmla="*/ 2147483647 h 6"/>
                <a:gd name="T10" fmla="*/ 0 w 5"/>
                <a:gd name="T11" fmla="*/ 2147483647 h 6"/>
                <a:gd name="T12" fmla="*/ 2147483647 w 5"/>
                <a:gd name="T13" fmla="*/ 2147483647 h 6"/>
                <a:gd name="T14" fmla="*/ 2147483647 w 5"/>
                <a:gd name="T15" fmla="*/ 0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2147483647 w 5"/>
                <a:gd name="T31" fmla="*/ 2147483647 h 6"/>
                <a:gd name="T32" fmla="*/ 2147483647 w 5"/>
                <a:gd name="T33" fmla="*/ 2147483647 h 6"/>
                <a:gd name="T34" fmla="*/ 2147483647 w 5"/>
                <a:gd name="T35" fmla="*/ 2147483647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
                <a:gd name="T55" fmla="*/ 0 h 6"/>
                <a:gd name="T56" fmla="*/ 5 w 5"/>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 h="6">
                  <a:moveTo>
                    <a:pt x="1" y="6"/>
                  </a:moveTo>
                  <a:lnTo>
                    <a:pt x="1" y="6"/>
                  </a:lnTo>
                  <a:lnTo>
                    <a:pt x="0" y="5"/>
                  </a:lnTo>
                  <a:lnTo>
                    <a:pt x="0" y="3"/>
                  </a:lnTo>
                  <a:lnTo>
                    <a:pt x="0" y="1"/>
                  </a:lnTo>
                  <a:lnTo>
                    <a:pt x="1" y="1"/>
                  </a:lnTo>
                  <a:lnTo>
                    <a:pt x="2" y="0"/>
                  </a:lnTo>
                  <a:lnTo>
                    <a:pt x="3" y="1"/>
                  </a:lnTo>
                  <a:lnTo>
                    <a:pt x="5" y="3"/>
                  </a:lnTo>
                  <a:lnTo>
                    <a:pt x="5" y="5"/>
                  </a:lnTo>
                  <a:lnTo>
                    <a:pt x="3" y="6"/>
                  </a:lnTo>
                  <a:lnTo>
                    <a:pt x="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 name="Freeform 129"/>
            <p:cNvSpPr>
              <a:spLocks/>
            </p:cNvSpPr>
            <p:nvPr/>
          </p:nvSpPr>
          <p:spPr bwMode="auto">
            <a:xfrm>
              <a:off x="8801100" y="4476751"/>
              <a:ext cx="6350" cy="7938"/>
            </a:xfrm>
            <a:custGeom>
              <a:avLst/>
              <a:gdLst>
                <a:gd name="T0" fmla="*/ 2147483647 w 4"/>
                <a:gd name="T1" fmla="*/ 2147483647 h 5"/>
                <a:gd name="T2" fmla="*/ 2147483647 w 4"/>
                <a:gd name="T3" fmla="*/ 2147483647 h 5"/>
                <a:gd name="T4" fmla="*/ 2147483647 w 4"/>
                <a:gd name="T5" fmla="*/ 2147483647 h 5"/>
                <a:gd name="T6" fmla="*/ 2147483647 w 4"/>
                <a:gd name="T7" fmla="*/ 0 h 5"/>
                <a:gd name="T8" fmla="*/ 0 w 4"/>
                <a:gd name="T9" fmla="*/ 2147483647 h 5"/>
                <a:gd name="T10" fmla="*/ 0 w 4"/>
                <a:gd name="T11" fmla="*/ 2147483647 h 5"/>
                <a:gd name="T12" fmla="*/ 0 w 4"/>
                <a:gd name="T13" fmla="*/ 2147483647 h 5"/>
                <a:gd name="T14" fmla="*/ 0 w 4"/>
                <a:gd name="T15" fmla="*/ 2147483647 h 5"/>
                <a:gd name="T16" fmla="*/ 2147483647 w 4"/>
                <a:gd name="T17" fmla="*/ 2147483647 h 5"/>
                <a:gd name="T18" fmla="*/ 2147483647 w 4"/>
                <a:gd name="T19" fmla="*/ 2147483647 h 5"/>
                <a:gd name="T20" fmla="*/ 2147483647 w 4"/>
                <a:gd name="T21" fmla="*/ 2147483647 h 5"/>
                <a:gd name="T22" fmla="*/ 2147483647 w 4"/>
                <a:gd name="T23" fmla="*/ 2147483647 h 5"/>
                <a:gd name="T24" fmla="*/ 2147483647 w 4"/>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5"/>
                <a:gd name="T41" fmla="*/ 4 w 4"/>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5">
                  <a:moveTo>
                    <a:pt x="4" y="4"/>
                  </a:moveTo>
                  <a:lnTo>
                    <a:pt x="4" y="4"/>
                  </a:lnTo>
                  <a:lnTo>
                    <a:pt x="3" y="2"/>
                  </a:lnTo>
                  <a:lnTo>
                    <a:pt x="2" y="0"/>
                  </a:lnTo>
                  <a:lnTo>
                    <a:pt x="0" y="2"/>
                  </a:lnTo>
                  <a:lnTo>
                    <a:pt x="0" y="4"/>
                  </a:lnTo>
                  <a:lnTo>
                    <a:pt x="2" y="5"/>
                  </a:lnTo>
                  <a:lnTo>
                    <a:pt x="3" y="5"/>
                  </a:lnTo>
                  <a:lnTo>
                    <a:pt x="4" y="5"/>
                  </a:lnTo>
                  <a:lnTo>
                    <a:pt x="4" y="3"/>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 name="Freeform 130"/>
            <p:cNvSpPr>
              <a:spLocks/>
            </p:cNvSpPr>
            <p:nvPr/>
          </p:nvSpPr>
          <p:spPr bwMode="auto">
            <a:xfrm>
              <a:off x="8785225" y="4576763"/>
              <a:ext cx="7938" cy="11112"/>
            </a:xfrm>
            <a:custGeom>
              <a:avLst/>
              <a:gdLst>
                <a:gd name="T0" fmla="*/ 2147483647 w 6"/>
                <a:gd name="T1" fmla="*/ 2147483647 h 7"/>
                <a:gd name="T2" fmla="*/ 2147483647 w 6"/>
                <a:gd name="T3" fmla="*/ 2147483647 h 7"/>
                <a:gd name="T4" fmla="*/ 2147483647 w 6"/>
                <a:gd name="T5" fmla="*/ 0 h 7"/>
                <a:gd name="T6" fmla="*/ 0 w 6"/>
                <a:gd name="T7" fmla="*/ 0 h 7"/>
                <a:gd name="T8" fmla="*/ 0 w 6"/>
                <a:gd name="T9" fmla="*/ 2147483647 h 7"/>
                <a:gd name="T10" fmla="*/ 0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5" y="4"/>
                  </a:moveTo>
                  <a:lnTo>
                    <a:pt x="2" y="1"/>
                  </a:lnTo>
                  <a:lnTo>
                    <a:pt x="1" y="0"/>
                  </a:lnTo>
                  <a:lnTo>
                    <a:pt x="0" y="0"/>
                  </a:lnTo>
                  <a:lnTo>
                    <a:pt x="0" y="3"/>
                  </a:lnTo>
                  <a:lnTo>
                    <a:pt x="0" y="5"/>
                  </a:lnTo>
                  <a:lnTo>
                    <a:pt x="2" y="7"/>
                  </a:lnTo>
                  <a:lnTo>
                    <a:pt x="5" y="7"/>
                  </a:lnTo>
                  <a:lnTo>
                    <a:pt x="6" y="6"/>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 name="Freeform 131"/>
            <p:cNvSpPr>
              <a:spLocks/>
            </p:cNvSpPr>
            <p:nvPr/>
          </p:nvSpPr>
          <p:spPr bwMode="auto">
            <a:xfrm>
              <a:off x="9028113" y="4513267"/>
              <a:ext cx="11112" cy="7937"/>
            </a:xfrm>
            <a:custGeom>
              <a:avLst/>
              <a:gdLst>
                <a:gd name="T0" fmla="*/ 2147483647 w 7"/>
                <a:gd name="T1" fmla="*/ 2147483647 h 5"/>
                <a:gd name="T2" fmla="*/ 2147483647 w 7"/>
                <a:gd name="T3" fmla="*/ 0 h 5"/>
                <a:gd name="T4" fmla="*/ 2147483647 w 7"/>
                <a:gd name="T5" fmla="*/ 0 h 5"/>
                <a:gd name="T6" fmla="*/ 0 w 7"/>
                <a:gd name="T7" fmla="*/ 2147483647 h 5"/>
                <a:gd name="T8" fmla="*/ 0 w 7"/>
                <a:gd name="T9" fmla="*/ 2147483647 h 5"/>
                <a:gd name="T10" fmla="*/ 2147483647 w 7"/>
                <a:gd name="T11" fmla="*/ 2147483647 h 5"/>
                <a:gd name="T12" fmla="*/ 2147483647 w 7"/>
                <a:gd name="T13" fmla="*/ 2147483647 h 5"/>
                <a:gd name="T14" fmla="*/ 2147483647 w 7"/>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5"/>
                <a:gd name="T26" fmla="*/ 7 w 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5">
                  <a:moveTo>
                    <a:pt x="7" y="4"/>
                  </a:moveTo>
                  <a:lnTo>
                    <a:pt x="3" y="0"/>
                  </a:lnTo>
                  <a:lnTo>
                    <a:pt x="2" y="0"/>
                  </a:lnTo>
                  <a:lnTo>
                    <a:pt x="0" y="1"/>
                  </a:lnTo>
                  <a:lnTo>
                    <a:pt x="0" y="4"/>
                  </a:lnTo>
                  <a:lnTo>
                    <a:pt x="2" y="5"/>
                  </a:lnTo>
                  <a:lnTo>
                    <a:pt x="5" y="5"/>
                  </a:lnTo>
                  <a:lnTo>
                    <a:pt x="7"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 name="Freeform 132"/>
            <p:cNvSpPr>
              <a:spLocks/>
            </p:cNvSpPr>
            <p:nvPr/>
          </p:nvSpPr>
          <p:spPr bwMode="auto">
            <a:xfrm>
              <a:off x="8783642" y="4575176"/>
              <a:ext cx="7937" cy="11113"/>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0 w 6"/>
                <a:gd name="T9" fmla="*/ 0 h 7"/>
                <a:gd name="T10" fmla="*/ 0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5" y="4"/>
                  </a:moveTo>
                  <a:lnTo>
                    <a:pt x="5" y="4"/>
                  </a:lnTo>
                  <a:lnTo>
                    <a:pt x="2" y="1"/>
                  </a:lnTo>
                  <a:lnTo>
                    <a:pt x="1" y="0"/>
                  </a:lnTo>
                  <a:lnTo>
                    <a:pt x="0" y="0"/>
                  </a:lnTo>
                  <a:lnTo>
                    <a:pt x="0" y="2"/>
                  </a:lnTo>
                  <a:lnTo>
                    <a:pt x="0" y="5"/>
                  </a:lnTo>
                  <a:lnTo>
                    <a:pt x="2" y="7"/>
                  </a:lnTo>
                  <a:lnTo>
                    <a:pt x="5" y="7"/>
                  </a:lnTo>
                  <a:lnTo>
                    <a:pt x="6" y="6"/>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 name="Freeform 133"/>
            <p:cNvSpPr>
              <a:spLocks/>
            </p:cNvSpPr>
            <p:nvPr/>
          </p:nvSpPr>
          <p:spPr bwMode="auto">
            <a:xfrm>
              <a:off x="9026526" y="4511675"/>
              <a:ext cx="9525" cy="7938"/>
            </a:xfrm>
            <a:custGeom>
              <a:avLst/>
              <a:gdLst>
                <a:gd name="T0" fmla="*/ 2147483647 w 6"/>
                <a:gd name="T1" fmla="*/ 2147483647 h 5"/>
                <a:gd name="T2" fmla="*/ 2147483647 w 6"/>
                <a:gd name="T3" fmla="*/ 2147483647 h 5"/>
                <a:gd name="T4" fmla="*/ 2147483647 w 6"/>
                <a:gd name="T5" fmla="*/ 0 h 5"/>
                <a:gd name="T6" fmla="*/ 2147483647 w 6"/>
                <a:gd name="T7" fmla="*/ 0 h 5"/>
                <a:gd name="T8" fmla="*/ 0 w 6"/>
                <a:gd name="T9" fmla="*/ 2147483647 h 5"/>
                <a:gd name="T10" fmla="*/ 0 w 6"/>
                <a:gd name="T11" fmla="*/ 2147483647 h 5"/>
                <a:gd name="T12" fmla="*/ 0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6" y="3"/>
                  </a:moveTo>
                  <a:lnTo>
                    <a:pt x="6" y="3"/>
                  </a:lnTo>
                  <a:lnTo>
                    <a:pt x="3" y="0"/>
                  </a:lnTo>
                  <a:lnTo>
                    <a:pt x="1" y="0"/>
                  </a:lnTo>
                  <a:lnTo>
                    <a:pt x="0" y="1"/>
                  </a:lnTo>
                  <a:lnTo>
                    <a:pt x="0" y="3"/>
                  </a:lnTo>
                  <a:lnTo>
                    <a:pt x="1" y="5"/>
                  </a:lnTo>
                  <a:lnTo>
                    <a:pt x="5" y="5"/>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5" name="Freeform 134"/>
            <p:cNvSpPr>
              <a:spLocks/>
            </p:cNvSpPr>
            <p:nvPr/>
          </p:nvSpPr>
          <p:spPr bwMode="auto">
            <a:xfrm>
              <a:off x="9075742" y="4537080"/>
              <a:ext cx="7937" cy="9525"/>
            </a:xfrm>
            <a:custGeom>
              <a:avLst/>
              <a:gdLst>
                <a:gd name="T0" fmla="*/ 2147483647 w 6"/>
                <a:gd name="T1" fmla="*/ 2147483647 h 6"/>
                <a:gd name="T2" fmla="*/ 2147483647 w 6"/>
                <a:gd name="T3" fmla="*/ 2147483647 h 6"/>
                <a:gd name="T4" fmla="*/ 2147483647 w 6"/>
                <a:gd name="T5" fmla="*/ 0 h 6"/>
                <a:gd name="T6" fmla="*/ 2147483647 w 6"/>
                <a:gd name="T7" fmla="*/ 0 h 6"/>
                <a:gd name="T8" fmla="*/ 0 w 6"/>
                <a:gd name="T9" fmla="*/ 0 h 6"/>
                <a:gd name="T10" fmla="*/ 0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5"/>
                  </a:moveTo>
                  <a:lnTo>
                    <a:pt x="6" y="3"/>
                  </a:lnTo>
                  <a:lnTo>
                    <a:pt x="4" y="0"/>
                  </a:lnTo>
                  <a:lnTo>
                    <a:pt x="3" y="0"/>
                  </a:lnTo>
                  <a:lnTo>
                    <a:pt x="0" y="0"/>
                  </a:lnTo>
                  <a:lnTo>
                    <a:pt x="0" y="3"/>
                  </a:lnTo>
                  <a:lnTo>
                    <a:pt x="1" y="4"/>
                  </a:lnTo>
                  <a:lnTo>
                    <a:pt x="4" y="6"/>
                  </a:lnTo>
                  <a:lnTo>
                    <a:pt x="5" y="6"/>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6" name="Freeform 135"/>
            <p:cNvSpPr>
              <a:spLocks/>
            </p:cNvSpPr>
            <p:nvPr/>
          </p:nvSpPr>
          <p:spPr bwMode="auto">
            <a:xfrm>
              <a:off x="9104317" y="4532318"/>
              <a:ext cx="7937" cy="9525"/>
            </a:xfrm>
            <a:custGeom>
              <a:avLst/>
              <a:gdLst>
                <a:gd name="T0" fmla="*/ 2147483647 w 5"/>
                <a:gd name="T1" fmla="*/ 2147483647 h 6"/>
                <a:gd name="T2" fmla="*/ 2147483647 w 5"/>
                <a:gd name="T3" fmla="*/ 2147483647 h 6"/>
                <a:gd name="T4" fmla="*/ 2147483647 w 5"/>
                <a:gd name="T5" fmla="*/ 0 h 6"/>
                <a:gd name="T6" fmla="*/ 2147483647 w 5"/>
                <a:gd name="T7" fmla="*/ 0 h 6"/>
                <a:gd name="T8" fmla="*/ 0 w 5"/>
                <a:gd name="T9" fmla="*/ 2147483647 h 6"/>
                <a:gd name="T10" fmla="*/ 0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5"/>
                  </a:moveTo>
                  <a:lnTo>
                    <a:pt x="5" y="1"/>
                  </a:lnTo>
                  <a:lnTo>
                    <a:pt x="4" y="0"/>
                  </a:lnTo>
                  <a:lnTo>
                    <a:pt x="2" y="0"/>
                  </a:lnTo>
                  <a:lnTo>
                    <a:pt x="0" y="1"/>
                  </a:lnTo>
                  <a:lnTo>
                    <a:pt x="0" y="2"/>
                  </a:lnTo>
                  <a:lnTo>
                    <a:pt x="2" y="6"/>
                  </a:lnTo>
                  <a:lnTo>
                    <a:pt x="4" y="6"/>
                  </a:lnTo>
                  <a:lnTo>
                    <a:pt x="5" y="6"/>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7" name="Freeform 136"/>
            <p:cNvSpPr>
              <a:spLocks/>
            </p:cNvSpPr>
            <p:nvPr/>
          </p:nvSpPr>
          <p:spPr bwMode="auto">
            <a:xfrm>
              <a:off x="9074150" y="4535492"/>
              <a:ext cx="7938" cy="9525"/>
            </a:xfrm>
            <a:custGeom>
              <a:avLst/>
              <a:gdLst>
                <a:gd name="T0" fmla="*/ 2147483647 w 6"/>
                <a:gd name="T1" fmla="*/ 2147483647 h 6"/>
                <a:gd name="T2" fmla="*/ 2147483647 w 6"/>
                <a:gd name="T3" fmla="*/ 2147483647 h 6"/>
                <a:gd name="T4" fmla="*/ 2147483647 w 6"/>
                <a:gd name="T5" fmla="*/ 2147483647 h 6"/>
                <a:gd name="T6" fmla="*/ 2147483647 w 6"/>
                <a:gd name="T7" fmla="*/ 0 h 6"/>
                <a:gd name="T8" fmla="*/ 2147483647 w 6"/>
                <a:gd name="T9" fmla="*/ 0 h 6"/>
                <a:gd name="T10" fmla="*/ 0 w 6"/>
                <a:gd name="T11" fmla="*/ 0 h 6"/>
                <a:gd name="T12" fmla="*/ 0 w 6"/>
                <a:gd name="T13" fmla="*/ 0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6" y="5"/>
                  </a:moveTo>
                  <a:lnTo>
                    <a:pt x="6" y="5"/>
                  </a:lnTo>
                  <a:lnTo>
                    <a:pt x="6" y="3"/>
                  </a:lnTo>
                  <a:lnTo>
                    <a:pt x="4" y="0"/>
                  </a:lnTo>
                  <a:lnTo>
                    <a:pt x="2" y="0"/>
                  </a:lnTo>
                  <a:lnTo>
                    <a:pt x="0" y="0"/>
                  </a:lnTo>
                  <a:lnTo>
                    <a:pt x="0" y="3"/>
                  </a:lnTo>
                  <a:lnTo>
                    <a:pt x="1" y="4"/>
                  </a:lnTo>
                  <a:lnTo>
                    <a:pt x="4" y="6"/>
                  </a:lnTo>
                  <a:lnTo>
                    <a:pt x="5" y="6"/>
                  </a:lnTo>
                  <a:lnTo>
                    <a:pt x="6"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8" name="Freeform 137"/>
            <p:cNvSpPr>
              <a:spLocks/>
            </p:cNvSpPr>
            <p:nvPr/>
          </p:nvSpPr>
          <p:spPr bwMode="auto">
            <a:xfrm>
              <a:off x="9102725" y="4530729"/>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2147483647 w 5"/>
                <a:gd name="T11" fmla="*/ 0 h 6"/>
                <a:gd name="T12" fmla="*/ 0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4"/>
                  </a:moveTo>
                  <a:lnTo>
                    <a:pt x="5" y="4"/>
                  </a:lnTo>
                  <a:lnTo>
                    <a:pt x="5" y="1"/>
                  </a:lnTo>
                  <a:lnTo>
                    <a:pt x="4" y="0"/>
                  </a:lnTo>
                  <a:lnTo>
                    <a:pt x="1" y="0"/>
                  </a:lnTo>
                  <a:lnTo>
                    <a:pt x="0" y="1"/>
                  </a:lnTo>
                  <a:lnTo>
                    <a:pt x="0" y="2"/>
                  </a:lnTo>
                  <a:lnTo>
                    <a:pt x="1" y="6"/>
                  </a:lnTo>
                  <a:lnTo>
                    <a:pt x="4" y="6"/>
                  </a:lnTo>
                  <a:lnTo>
                    <a:pt x="5" y="6"/>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9" name="Freeform 138"/>
            <p:cNvSpPr>
              <a:spLocks/>
            </p:cNvSpPr>
            <p:nvPr/>
          </p:nvSpPr>
          <p:spPr bwMode="auto">
            <a:xfrm>
              <a:off x="9101142" y="4481517"/>
              <a:ext cx="7937" cy="9525"/>
            </a:xfrm>
            <a:custGeom>
              <a:avLst/>
              <a:gdLst>
                <a:gd name="T0" fmla="*/ 2147483647 w 5"/>
                <a:gd name="T1" fmla="*/ 2147483647 h 6"/>
                <a:gd name="T2" fmla="*/ 2147483647 w 5"/>
                <a:gd name="T3" fmla="*/ 0 h 6"/>
                <a:gd name="T4" fmla="*/ 2147483647 w 5"/>
                <a:gd name="T5" fmla="*/ 0 h 6"/>
                <a:gd name="T6" fmla="*/ 0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4" y="2"/>
                  </a:moveTo>
                  <a:lnTo>
                    <a:pt x="2" y="0"/>
                  </a:lnTo>
                  <a:lnTo>
                    <a:pt x="1" y="0"/>
                  </a:lnTo>
                  <a:lnTo>
                    <a:pt x="0" y="1"/>
                  </a:lnTo>
                  <a:lnTo>
                    <a:pt x="0" y="3"/>
                  </a:lnTo>
                  <a:lnTo>
                    <a:pt x="2" y="6"/>
                  </a:lnTo>
                  <a:lnTo>
                    <a:pt x="4" y="6"/>
                  </a:lnTo>
                  <a:lnTo>
                    <a:pt x="5" y="5"/>
                  </a:lnTo>
                  <a:lnTo>
                    <a:pt x="4"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0" name="Freeform 139"/>
            <p:cNvSpPr>
              <a:spLocks/>
            </p:cNvSpPr>
            <p:nvPr/>
          </p:nvSpPr>
          <p:spPr bwMode="auto">
            <a:xfrm>
              <a:off x="8942388" y="3487739"/>
              <a:ext cx="11112" cy="14288"/>
            </a:xfrm>
            <a:custGeom>
              <a:avLst/>
              <a:gdLst>
                <a:gd name="T0" fmla="*/ 2147483647 w 8"/>
                <a:gd name="T1" fmla="*/ 2147483647 h 9"/>
                <a:gd name="T2" fmla="*/ 2147483647 w 8"/>
                <a:gd name="T3" fmla="*/ 2147483647 h 9"/>
                <a:gd name="T4" fmla="*/ 2147483647 w 8"/>
                <a:gd name="T5" fmla="*/ 0 h 9"/>
                <a:gd name="T6" fmla="*/ 2147483647 w 8"/>
                <a:gd name="T7" fmla="*/ 0 h 9"/>
                <a:gd name="T8" fmla="*/ 2147483647 w 8"/>
                <a:gd name="T9" fmla="*/ 0 h 9"/>
                <a:gd name="T10" fmla="*/ 2147483647 w 8"/>
                <a:gd name="T11" fmla="*/ 2147483647 h 9"/>
                <a:gd name="T12" fmla="*/ 0 w 8"/>
                <a:gd name="T13" fmla="*/ 2147483647 h 9"/>
                <a:gd name="T14" fmla="*/ 2147483647 w 8"/>
                <a:gd name="T15" fmla="*/ 2147483647 h 9"/>
                <a:gd name="T16" fmla="*/ 2147483647 w 8"/>
                <a:gd name="T17" fmla="*/ 2147483647 h 9"/>
                <a:gd name="T18" fmla="*/ 2147483647 w 8"/>
                <a:gd name="T19" fmla="*/ 2147483647 h 9"/>
                <a:gd name="T20" fmla="*/ 2147483647 w 8"/>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9"/>
                <a:gd name="T35" fmla="*/ 8 w 8"/>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9">
                  <a:moveTo>
                    <a:pt x="6" y="7"/>
                  </a:moveTo>
                  <a:lnTo>
                    <a:pt x="8" y="3"/>
                  </a:lnTo>
                  <a:lnTo>
                    <a:pt x="8" y="0"/>
                  </a:lnTo>
                  <a:lnTo>
                    <a:pt x="6" y="0"/>
                  </a:lnTo>
                  <a:lnTo>
                    <a:pt x="5" y="0"/>
                  </a:lnTo>
                  <a:lnTo>
                    <a:pt x="1" y="5"/>
                  </a:lnTo>
                  <a:lnTo>
                    <a:pt x="0" y="7"/>
                  </a:lnTo>
                  <a:lnTo>
                    <a:pt x="1" y="9"/>
                  </a:lnTo>
                  <a:lnTo>
                    <a:pt x="2" y="9"/>
                  </a:lnTo>
                  <a:lnTo>
                    <a:pt x="3" y="9"/>
                  </a:lnTo>
                  <a:lnTo>
                    <a:pt x="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1" name="Freeform 140"/>
            <p:cNvSpPr>
              <a:spLocks/>
            </p:cNvSpPr>
            <p:nvPr/>
          </p:nvSpPr>
          <p:spPr bwMode="auto">
            <a:xfrm>
              <a:off x="9099550" y="4479930"/>
              <a:ext cx="7938" cy="9525"/>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6"/>
                <a:gd name="T41" fmla="*/ 5 w 5"/>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6">
                  <a:moveTo>
                    <a:pt x="3" y="2"/>
                  </a:moveTo>
                  <a:lnTo>
                    <a:pt x="3" y="2"/>
                  </a:lnTo>
                  <a:lnTo>
                    <a:pt x="2" y="0"/>
                  </a:lnTo>
                  <a:lnTo>
                    <a:pt x="1" y="0"/>
                  </a:lnTo>
                  <a:lnTo>
                    <a:pt x="0" y="1"/>
                  </a:lnTo>
                  <a:lnTo>
                    <a:pt x="0" y="3"/>
                  </a:lnTo>
                  <a:lnTo>
                    <a:pt x="2" y="6"/>
                  </a:lnTo>
                  <a:lnTo>
                    <a:pt x="3" y="6"/>
                  </a:lnTo>
                  <a:lnTo>
                    <a:pt x="5" y="4"/>
                  </a:lnTo>
                  <a:lnTo>
                    <a:pt x="3"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2" name="Freeform 141"/>
            <p:cNvSpPr>
              <a:spLocks/>
            </p:cNvSpPr>
            <p:nvPr/>
          </p:nvSpPr>
          <p:spPr bwMode="auto">
            <a:xfrm>
              <a:off x="8939213" y="3486150"/>
              <a:ext cx="12700" cy="14288"/>
            </a:xfrm>
            <a:custGeom>
              <a:avLst/>
              <a:gdLst>
                <a:gd name="T0" fmla="*/ 2147483647 w 9"/>
                <a:gd name="T1" fmla="*/ 2147483647 h 9"/>
                <a:gd name="T2" fmla="*/ 2147483647 w 9"/>
                <a:gd name="T3" fmla="*/ 2147483647 h 9"/>
                <a:gd name="T4" fmla="*/ 2147483647 w 9"/>
                <a:gd name="T5" fmla="*/ 2147483647 h 9"/>
                <a:gd name="T6" fmla="*/ 2147483647 w 9"/>
                <a:gd name="T7" fmla="*/ 0 h 9"/>
                <a:gd name="T8" fmla="*/ 2147483647 w 9"/>
                <a:gd name="T9" fmla="*/ 0 h 9"/>
                <a:gd name="T10" fmla="*/ 2147483647 w 9"/>
                <a:gd name="T11" fmla="*/ 0 h 9"/>
                <a:gd name="T12" fmla="*/ 2147483647 w 9"/>
                <a:gd name="T13" fmla="*/ 0 h 9"/>
                <a:gd name="T14" fmla="*/ 2147483647 w 9"/>
                <a:gd name="T15" fmla="*/ 0 h 9"/>
                <a:gd name="T16" fmla="*/ 2147483647 w 9"/>
                <a:gd name="T17" fmla="*/ 2147483647 h 9"/>
                <a:gd name="T18" fmla="*/ 0 w 9"/>
                <a:gd name="T19" fmla="*/ 2147483647 h 9"/>
                <a:gd name="T20" fmla="*/ 2147483647 w 9"/>
                <a:gd name="T21" fmla="*/ 2147483647 h 9"/>
                <a:gd name="T22" fmla="*/ 2147483647 w 9"/>
                <a:gd name="T23" fmla="*/ 2147483647 h 9"/>
                <a:gd name="T24" fmla="*/ 2147483647 w 9"/>
                <a:gd name="T25" fmla="*/ 2147483647 h 9"/>
                <a:gd name="T26" fmla="*/ 2147483647 w 9"/>
                <a:gd name="T27" fmla="*/ 2147483647 h 9"/>
                <a:gd name="T28" fmla="*/ 2147483647 w 9"/>
                <a:gd name="T29" fmla="*/ 2147483647 h 9"/>
                <a:gd name="T30" fmla="*/ 2147483647 w 9"/>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7" y="7"/>
                  </a:moveTo>
                  <a:lnTo>
                    <a:pt x="7" y="7"/>
                  </a:lnTo>
                  <a:lnTo>
                    <a:pt x="9" y="3"/>
                  </a:lnTo>
                  <a:lnTo>
                    <a:pt x="9" y="0"/>
                  </a:lnTo>
                  <a:lnTo>
                    <a:pt x="7" y="0"/>
                  </a:lnTo>
                  <a:lnTo>
                    <a:pt x="5" y="0"/>
                  </a:lnTo>
                  <a:lnTo>
                    <a:pt x="2" y="4"/>
                  </a:lnTo>
                  <a:lnTo>
                    <a:pt x="0" y="7"/>
                  </a:lnTo>
                  <a:lnTo>
                    <a:pt x="2" y="9"/>
                  </a:lnTo>
                  <a:lnTo>
                    <a:pt x="3" y="9"/>
                  </a:lnTo>
                  <a:lnTo>
                    <a:pt x="4" y="9"/>
                  </a:lnTo>
                  <a:lnTo>
                    <a:pt x="7"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3" name="Freeform 142"/>
            <p:cNvSpPr>
              <a:spLocks/>
            </p:cNvSpPr>
            <p:nvPr/>
          </p:nvSpPr>
          <p:spPr bwMode="auto">
            <a:xfrm>
              <a:off x="8780463" y="3478217"/>
              <a:ext cx="11112" cy="14288"/>
            </a:xfrm>
            <a:custGeom>
              <a:avLst/>
              <a:gdLst>
                <a:gd name="T0" fmla="*/ 2147483647 w 7"/>
                <a:gd name="T1" fmla="*/ 2147483647 h 9"/>
                <a:gd name="T2" fmla="*/ 2147483647 w 7"/>
                <a:gd name="T3" fmla="*/ 2147483647 h 9"/>
                <a:gd name="T4" fmla="*/ 2147483647 w 7"/>
                <a:gd name="T5" fmla="*/ 2147483647 h 9"/>
                <a:gd name="T6" fmla="*/ 2147483647 w 7"/>
                <a:gd name="T7" fmla="*/ 0 h 9"/>
                <a:gd name="T8" fmla="*/ 2147483647 w 7"/>
                <a:gd name="T9" fmla="*/ 2147483647 h 9"/>
                <a:gd name="T10" fmla="*/ 2147483647 w 7"/>
                <a:gd name="T11" fmla="*/ 2147483647 h 9"/>
                <a:gd name="T12" fmla="*/ 0 w 7"/>
                <a:gd name="T13" fmla="*/ 2147483647 h 9"/>
                <a:gd name="T14" fmla="*/ 2147483647 w 7"/>
                <a:gd name="T15" fmla="*/ 2147483647 h 9"/>
                <a:gd name="T16" fmla="*/ 2147483647 w 7"/>
                <a:gd name="T17" fmla="*/ 2147483647 h 9"/>
                <a:gd name="T18" fmla="*/ 2147483647 w 7"/>
                <a:gd name="T19" fmla="*/ 2147483647 h 9"/>
                <a:gd name="T20" fmla="*/ 2147483647 w 7"/>
                <a:gd name="T21" fmla="*/ 2147483647 h 9"/>
                <a:gd name="T22" fmla="*/ 2147483647 w 7"/>
                <a:gd name="T23" fmla="*/ 2147483647 h 9"/>
                <a:gd name="T24" fmla="*/ 2147483647 w 7"/>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9"/>
                <a:gd name="T41" fmla="*/ 7 w 7"/>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9">
                  <a:moveTo>
                    <a:pt x="7" y="6"/>
                  </a:moveTo>
                  <a:lnTo>
                    <a:pt x="7" y="3"/>
                  </a:lnTo>
                  <a:lnTo>
                    <a:pt x="7" y="2"/>
                  </a:lnTo>
                  <a:lnTo>
                    <a:pt x="4" y="0"/>
                  </a:lnTo>
                  <a:lnTo>
                    <a:pt x="3" y="1"/>
                  </a:lnTo>
                  <a:lnTo>
                    <a:pt x="2" y="2"/>
                  </a:lnTo>
                  <a:lnTo>
                    <a:pt x="0" y="5"/>
                  </a:lnTo>
                  <a:lnTo>
                    <a:pt x="2" y="7"/>
                  </a:lnTo>
                  <a:lnTo>
                    <a:pt x="3" y="9"/>
                  </a:lnTo>
                  <a:lnTo>
                    <a:pt x="4" y="9"/>
                  </a:lnTo>
                  <a:lnTo>
                    <a:pt x="5" y="9"/>
                  </a:lnTo>
                  <a:lnTo>
                    <a:pt x="7" y="7"/>
                  </a:lnTo>
                  <a:lnTo>
                    <a:pt x="7"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4" name="Freeform 143"/>
            <p:cNvSpPr>
              <a:spLocks/>
            </p:cNvSpPr>
            <p:nvPr/>
          </p:nvSpPr>
          <p:spPr bwMode="auto">
            <a:xfrm>
              <a:off x="8739188" y="3438526"/>
              <a:ext cx="11112" cy="12700"/>
            </a:xfrm>
            <a:custGeom>
              <a:avLst/>
              <a:gdLst>
                <a:gd name="T0" fmla="*/ 2147483647 w 7"/>
                <a:gd name="T1" fmla="*/ 2147483647 h 8"/>
                <a:gd name="T2" fmla="*/ 2147483647 w 7"/>
                <a:gd name="T3" fmla="*/ 2147483647 h 8"/>
                <a:gd name="T4" fmla="*/ 2147483647 w 7"/>
                <a:gd name="T5" fmla="*/ 0 h 8"/>
                <a:gd name="T6" fmla="*/ 2147483647 w 7"/>
                <a:gd name="T7" fmla="*/ 0 h 8"/>
                <a:gd name="T8" fmla="*/ 2147483647 w 7"/>
                <a:gd name="T9" fmla="*/ 0 h 8"/>
                <a:gd name="T10" fmla="*/ 0 w 7"/>
                <a:gd name="T11" fmla="*/ 2147483647 h 8"/>
                <a:gd name="T12" fmla="*/ 0 w 7"/>
                <a:gd name="T13" fmla="*/ 2147483647 h 8"/>
                <a:gd name="T14" fmla="*/ 2147483647 w 7"/>
                <a:gd name="T15" fmla="*/ 2147483647 h 8"/>
                <a:gd name="T16" fmla="*/ 2147483647 w 7"/>
                <a:gd name="T17" fmla="*/ 2147483647 h 8"/>
                <a:gd name="T18" fmla="*/ 2147483647 w 7"/>
                <a:gd name="T19" fmla="*/ 2147483647 h 8"/>
                <a:gd name="T20" fmla="*/ 2147483647 w 7"/>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8"/>
                <a:gd name="T35" fmla="*/ 7 w 7"/>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8">
                  <a:moveTo>
                    <a:pt x="7" y="5"/>
                  </a:moveTo>
                  <a:lnTo>
                    <a:pt x="6" y="1"/>
                  </a:lnTo>
                  <a:lnTo>
                    <a:pt x="4" y="0"/>
                  </a:lnTo>
                  <a:lnTo>
                    <a:pt x="3" y="0"/>
                  </a:lnTo>
                  <a:lnTo>
                    <a:pt x="2" y="0"/>
                  </a:lnTo>
                  <a:lnTo>
                    <a:pt x="0" y="1"/>
                  </a:lnTo>
                  <a:lnTo>
                    <a:pt x="0" y="5"/>
                  </a:lnTo>
                  <a:lnTo>
                    <a:pt x="3" y="7"/>
                  </a:lnTo>
                  <a:lnTo>
                    <a:pt x="4" y="8"/>
                  </a:lnTo>
                  <a:lnTo>
                    <a:pt x="7" y="7"/>
                  </a:lnTo>
                  <a:lnTo>
                    <a:pt x="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5" name="Freeform 144"/>
            <p:cNvSpPr>
              <a:spLocks/>
            </p:cNvSpPr>
            <p:nvPr/>
          </p:nvSpPr>
          <p:spPr bwMode="auto">
            <a:xfrm>
              <a:off x="8778876" y="3476625"/>
              <a:ext cx="9525" cy="14288"/>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0 h 9"/>
                <a:gd name="T12" fmla="*/ 2147483647 w 6"/>
                <a:gd name="T13" fmla="*/ 2147483647 h 9"/>
                <a:gd name="T14" fmla="*/ 2147483647 w 6"/>
                <a:gd name="T15" fmla="*/ 2147483647 h 9"/>
                <a:gd name="T16" fmla="*/ 2147483647 w 6"/>
                <a:gd name="T17" fmla="*/ 2147483647 h 9"/>
                <a:gd name="T18" fmla="*/ 0 w 6"/>
                <a:gd name="T19" fmla="*/ 2147483647 h 9"/>
                <a:gd name="T20" fmla="*/ 2147483647 w 6"/>
                <a:gd name="T21" fmla="*/ 2147483647 h 9"/>
                <a:gd name="T22" fmla="*/ 2147483647 w 6"/>
                <a:gd name="T23" fmla="*/ 2147483647 h 9"/>
                <a:gd name="T24" fmla="*/ 2147483647 w 6"/>
                <a:gd name="T25" fmla="*/ 2147483647 h 9"/>
                <a:gd name="T26" fmla="*/ 2147483647 w 6"/>
                <a:gd name="T27" fmla="*/ 2147483647 h 9"/>
                <a:gd name="T28" fmla="*/ 2147483647 w 6"/>
                <a:gd name="T29" fmla="*/ 2147483647 h 9"/>
                <a:gd name="T30" fmla="*/ 2147483647 w 6"/>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9"/>
                <a:gd name="T50" fmla="*/ 6 w 6"/>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9">
                  <a:moveTo>
                    <a:pt x="6" y="6"/>
                  </a:moveTo>
                  <a:lnTo>
                    <a:pt x="6" y="6"/>
                  </a:lnTo>
                  <a:lnTo>
                    <a:pt x="6" y="3"/>
                  </a:lnTo>
                  <a:lnTo>
                    <a:pt x="6" y="2"/>
                  </a:lnTo>
                  <a:lnTo>
                    <a:pt x="4" y="0"/>
                  </a:lnTo>
                  <a:lnTo>
                    <a:pt x="3" y="1"/>
                  </a:lnTo>
                  <a:lnTo>
                    <a:pt x="1" y="2"/>
                  </a:lnTo>
                  <a:lnTo>
                    <a:pt x="0" y="4"/>
                  </a:lnTo>
                  <a:lnTo>
                    <a:pt x="1" y="7"/>
                  </a:lnTo>
                  <a:lnTo>
                    <a:pt x="3" y="9"/>
                  </a:lnTo>
                  <a:lnTo>
                    <a:pt x="4" y="9"/>
                  </a:lnTo>
                  <a:lnTo>
                    <a:pt x="5" y="9"/>
                  </a:lnTo>
                  <a:lnTo>
                    <a:pt x="6" y="7"/>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6" name="Freeform 145"/>
            <p:cNvSpPr>
              <a:spLocks/>
            </p:cNvSpPr>
            <p:nvPr/>
          </p:nvSpPr>
          <p:spPr bwMode="auto">
            <a:xfrm>
              <a:off x="8737604" y="3436939"/>
              <a:ext cx="11113" cy="12700"/>
            </a:xfrm>
            <a:custGeom>
              <a:avLst/>
              <a:gdLst>
                <a:gd name="T0" fmla="*/ 2147483647 w 7"/>
                <a:gd name="T1" fmla="*/ 2147483647 h 8"/>
                <a:gd name="T2" fmla="*/ 2147483647 w 7"/>
                <a:gd name="T3" fmla="*/ 2147483647 h 8"/>
                <a:gd name="T4" fmla="*/ 2147483647 w 7"/>
                <a:gd name="T5" fmla="*/ 2147483647 h 8"/>
                <a:gd name="T6" fmla="*/ 2147483647 w 7"/>
                <a:gd name="T7" fmla="*/ 0 h 8"/>
                <a:gd name="T8" fmla="*/ 2147483647 w 7"/>
                <a:gd name="T9" fmla="*/ 0 h 8"/>
                <a:gd name="T10" fmla="*/ 2147483647 w 7"/>
                <a:gd name="T11" fmla="*/ 0 h 8"/>
                <a:gd name="T12" fmla="*/ 2147483647 w 7"/>
                <a:gd name="T13" fmla="*/ 0 h 8"/>
                <a:gd name="T14" fmla="*/ 0 w 7"/>
                <a:gd name="T15" fmla="*/ 2147483647 h 8"/>
                <a:gd name="T16" fmla="*/ 0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7" y="5"/>
                  </a:moveTo>
                  <a:lnTo>
                    <a:pt x="7" y="5"/>
                  </a:lnTo>
                  <a:lnTo>
                    <a:pt x="5" y="1"/>
                  </a:lnTo>
                  <a:lnTo>
                    <a:pt x="4" y="0"/>
                  </a:lnTo>
                  <a:lnTo>
                    <a:pt x="3" y="0"/>
                  </a:lnTo>
                  <a:lnTo>
                    <a:pt x="1" y="0"/>
                  </a:lnTo>
                  <a:lnTo>
                    <a:pt x="0" y="1"/>
                  </a:lnTo>
                  <a:lnTo>
                    <a:pt x="0" y="5"/>
                  </a:lnTo>
                  <a:lnTo>
                    <a:pt x="3" y="7"/>
                  </a:lnTo>
                  <a:lnTo>
                    <a:pt x="4" y="8"/>
                  </a:lnTo>
                  <a:lnTo>
                    <a:pt x="7" y="7"/>
                  </a:lnTo>
                  <a:lnTo>
                    <a:pt x="7"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7" name="Freeform 146"/>
            <p:cNvSpPr>
              <a:spLocks/>
            </p:cNvSpPr>
            <p:nvPr/>
          </p:nvSpPr>
          <p:spPr bwMode="auto">
            <a:xfrm>
              <a:off x="8069263" y="4148141"/>
              <a:ext cx="11112" cy="11112"/>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0 w 7"/>
                <a:gd name="T9" fmla="*/ 2147483647 h 7"/>
                <a:gd name="T10" fmla="*/ 0 w 7"/>
                <a:gd name="T11" fmla="*/ 2147483647 h 7"/>
                <a:gd name="T12" fmla="*/ 2147483647 w 7"/>
                <a:gd name="T13" fmla="*/ 0 h 7"/>
                <a:gd name="T14" fmla="*/ 2147483647 w 7"/>
                <a:gd name="T15" fmla="*/ 0 h 7"/>
                <a:gd name="T16" fmla="*/ 2147483647 w 7"/>
                <a:gd name="T17" fmla="*/ 0 h 7"/>
                <a:gd name="T18" fmla="*/ 2147483647 w 7"/>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4"/>
                  </a:moveTo>
                  <a:lnTo>
                    <a:pt x="7" y="6"/>
                  </a:lnTo>
                  <a:lnTo>
                    <a:pt x="5" y="7"/>
                  </a:lnTo>
                  <a:lnTo>
                    <a:pt x="3" y="6"/>
                  </a:lnTo>
                  <a:lnTo>
                    <a:pt x="0" y="5"/>
                  </a:lnTo>
                  <a:lnTo>
                    <a:pt x="0" y="2"/>
                  </a:lnTo>
                  <a:lnTo>
                    <a:pt x="2" y="0"/>
                  </a:lnTo>
                  <a:lnTo>
                    <a:pt x="3" y="0"/>
                  </a:lnTo>
                  <a:lnTo>
                    <a:pt x="4" y="0"/>
                  </a:lnTo>
                  <a:lnTo>
                    <a:pt x="7"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8" name="Freeform 147"/>
            <p:cNvSpPr>
              <a:spLocks/>
            </p:cNvSpPr>
            <p:nvPr/>
          </p:nvSpPr>
          <p:spPr bwMode="auto">
            <a:xfrm>
              <a:off x="8107364" y="4160843"/>
              <a:ext cx="9525" cy="7937"/>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0 w 6"/>
                <a:gd name="T9" fmla="*/ 2147483647 h 5"/>
                <a:gd name="T10" fmla="*/ 2147483647 w 6"/>
                <a:gd name="T11" fmla="*/ 0 h 5"/>
                <a:gd name="T12" fmla="*/ 2147483647 w 6"/>
                <a:gd name="T13" fmla="*/ 0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5"/>
                  </a:moveTo>
                  <a:lnTo>
                    <a:pt x="4" y="5"/>
                  </a:lnTo>
                  <a:lnTo>
                    <a:pt x="1" y="5"/>
                  </a:lnTo>
                  <a:lnTo>
                    <a:pt x="0" y="3"/>
                  </a:lnTo>
                  <a:lnTo>
                    <a:pt x="0" y="1"/>
                  </a:lnTo>
                  <a:lnTo>
                    <a:pt x="2" y="0"/>
                  </a:lnTo>
                  <a:lnTo>
                    <a:pt x="4" y="0"/>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49" name="Freeform 148"/>
            <p:cNvSpPr>
              <a:spLocks/>
            </p:cNvSpPr>
            <p:nvPr/>
          </p:nvSpPr>
          <p:spPr bwMode="auto">
            <a:xfrm>
              <a:off x="8067678" y="4146553"/>
              <a:ext cx="9525"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0 w 6"/>
                <a:gd name="T17" fmla="*/ 2147483647 h 7"/>
                <a:gd name="T18" fmla="*/ 2147483647 w 6"/>
                <a:gd name="T19" fmla="*/ 0 h 7"/>
                <a:gd name="T20" fmla="*/ 2147483647 w 6"/>
                <a:gd name="T21" fmla="*/ 0 h 7"/>
                <a:gd name="T22" fmla="*/ 2147483647 w 6"/>
                <a:gd name="T23" fmla="*/ 0 h 7"/>
                <a:gd name="T24" fmla="*/ 2147483647 w 6"/>
                <a:gd name="T25" fmla="*/ 0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3"/>
                  </a:moveTo>
                  <a:lnTo>
                    <a:pt x="6" y="3"/>
                  </a:lnTo>
                  <a:lnTo>
                    <a:pt x="6" y="6"/>
                  </a:lnTo>
                  <a:lnTo>
                    <a:pt x="5" y="7"/>
                  </a:lnTo>
                  <a:lnTo>
                    <a:pt x="3" y="6"/>
                  </a:lnTo>
                  <a:lnTo>
                    <a:pt x="0" y="5"/>
                  </a:lnTo>
                  <a:lnTo>
                    <a:pt x="0" y="2"/>
                  </a:lnTo>
                  <a:lnTo>
                    <a:pt x="1" y="0"/>
                  </a:lnTo>
                  <a:lnTo>
                    <a:pt x="3" y="0"/>
                  </a:lnTo>
                  <a:lnTo>
                    <a:pt x="4" y="0"/>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0" name="Freeform 149"/>
            <p:cNvSpPr>
              <a:spLocks/>
            </p:cNvSpPr>
            <p:nvPr/>
          </p:nvSpPr>
          <p:spPr bwMode="auto">
            <a:xfrm>
              <a:off x="8105776" y="4159250"/>
              <a:ext cx="9525" cy="7938"/>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0 w 7"/>
                <a:gd name="T9" fmla="*/ 2147483647 h 5"/>
                <a:gd name="T10" fmla="*/ 0 w 7"/>
                <a:gd name="T11" fmla="*/ 2147483647 h 5"/>
                <a:gd name="T12" fmla="*/ 0 w 7"/>
                <a:gd name="T13" fmla="*/ 2147483647 h 5"/>
                <a:gd name="T14" fmla="*/ 2147483647 w 7"/>
                <a:gd name="T15" fmla="*/ 0 h 5"/>
                <a:gd name="T16" fmla="*/ 2147483647 w 7"/>
                <a:gd name="T17" fmla="*/ 0 h 5"/>
                <a:gd name="T18" fmla="*/ 2147483647 w 7"/>
                <a:gd name="T19" fmla="*/ 2147483647 h 5"/>
                <a:gd name="T20" fmla="*/ 2147483647 w 7"/>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5"/>
                <a:gd name="T35" fmla="*/ 7 w 7"/>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5">
                  <a:moveTo>
                    <a:pt x="7" y="5"/>
                  </a:moveTo>
                  <a:lnTo>
                    <a:pt x="7" y="5"/>
                  </a:lnTo>
                  <a:lnTo>
                    <a:pt x="4" y="5"/>
                  </a:lnTo>
                  <a:lnTo>
                    <a:pt x="2" y="5"/>
                  </a:lnTo>
                  <a:lnTo>
                    <a:pt x="0" y="2"/>
                  </a:lnTo>
                  <a:lnTo>
                    <a:pt x="0" y="1"/>
                  </a:lnTo>
                  <a:lnTo>
                    <a:pt x="3" y="0"/>
                  </a:lnTo>
                  <a:lnTo>
                    <a:pt x="4" y="0"/>
                  </a:lnTo>
                  <a:lnTo>
                    <a:pt x="7"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1" name="Freeform 150"/>
            <p:cNvSpPr>
              <a:spLocks/>
            </p:cNvSpPr>
            <p:nvPr/>
          </p:nvSpPr>
          <p:spPr bwMode="auto">
            <a:xfrm>
              <a:off x="8121650" y="4129092"/>
              <a:ext cx="7938" cy="7937"/>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0 w 6"/>
                <a:gd name="T9" fmla="*/ 2147483647 h 5"/>
                <a:gd name="T10" fmla="*/ 2147483647 w 6"/>
                <a:gd name="T11" fmla="*/ 0 h 5"/>
                <a:gd name="T12" fmla="*/ 2147483647 w 6"/>
                <a:gd name="T13" fmla="*/ 0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4"/>
                  </a:moveTo>
                  <a:lnTo>
                    <a:pt x="5" y="5"/>
                  </a:lnTo>
                  <a:lnTo>
                    <a:pt x="2" y="5"/>
                  </a:lnTo>
                  <a:lnTo>
                    <a:pt x="1" y="5"/>
                  </a:lnTo>
                  <a:lnTo>
                    <a:pt x="0" y="1"/>
                  </a:lnTo>
                  <a:lnTo>
                    <a:pt x="1" y="0"/>
                  </a:lnTo>
                  <a:lnTo>
                    <a:pt x="2" y="0"/>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2" name="Freeform 151"/>
            <p:cNvSpPr>
              <a:spLocks/>
            </p:cNvSpPr>
            <p:nvPr/>
          </p:nvSpPr>
          <p:spPr bwMode="auto">
            <a:xfrm>
              <a:off x="8162925" y="4159254"/>
              <a:ext cx="7938" cy="9525"/>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2147483647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4" y="6"/>
                  </a:lnTo>
                  <a:lnTo>
                    <a:pt x="1" y="6"/>
                  </a:lnTo>
                  <a:lnTo>
                    <a:pt x="0" y="4"/>
                  </a:lnTo>
                  <a:lnTo>
                    <a:pt x="1" y="1"/>
                  </a:lnTo>
                  <a:lnTo>
                    <a:pt x="2" y="0"/>
                  </a:lnTo>
                  <a:lnTo>
                    <a:pt x="4" y="0"/>
                  </a:lnTo>
                  <a:lnTo>
                    <a:pt x="5" y="2"/>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3" name="Freeform 152"/>
            <p:cNvSpPr>
              <a:spLocks/>
            </p:cNvSpPr>
            <p:nvPr/>
          </p:nvSpPr>
          <p:spPr bwMode="auto">
            <a:xfrm>
              <a:off x="8118476" y="4127500"/>
              <a:ext cx="9525" cy="7938"/>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0 w 7"/>
                <a:gd name="T17" fmla="*/ 2147483647 h 5"/>
                <a:gd name="T18" fmla="*/ 2147483647 w 7"/>
                <a:gd name="T19" fmla="*/ 0 h 5"/>
                <a:gd name="T20" fmla="*/ 2147483647 w 7"/>
                <a:gd name="T21" fmla="*/ 0 h 5"/>
                <a:gd name="T22" fmla="*/ 2147483647 w 7"/>
                <a:gd name="T23" fmla="*/ 2147483647 h 5"/>
                <a:gd name="T24" fmla="*/ 2147483647 w 7"/>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
                <a:gd name="T41" fmla="*/ 7 w 7"/>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
                  <a:moveTo>
                    <a:pt x="7" y="3"/>
                  </a:moveTo>
                  <a:lnTo>
                    <a:pt x="7" y="3"/>
                  </a:lnTo>
                  <a:lnTo>
                    <a:pt x="5" y="5"/>
                  </a:lnTo>
                  <a:lnTo>
                    <a:pt x="3" y="5"/>
                  </a:lnTo>
                  <a:lnTo>
                    <a:pt x="2" y="5"/>
                  </a:lnTo>
                  <a:lnTo>
                    <a:pt x="0" y="1"/>
                  </a:lnTo>
                  <a:lnTo>
                    <a:pt x="2" y="0"/>
                  </a:lnTo>
                  <a:lnTo>
                    <a:pt x="3" y="0"/>
                  </a:lnTo>
                  <a:lnTo>
                    <a:pt x="7"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4" name="Freeform 153"/>
            <p:cNvSpPr>
              <a:spLocks/>
            </p:cNvSpPr>
            <p:nvPr/>
          </p:nvSpPr>
          <p:spPr bwMode="auto">
            <a:xfrm>
              <a:off x="8162927" y="4157668"/>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2147483647 w 5"/>
                <a:gd name="T13" fmla="*/ 2147483647 h 6"/>
                <a:gd name="T14" fmla="*/ 2147483647 w 5"/>
                <a:gd name="T15" fmla="*/ 2147483647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3" y="6"/>
                  </a:lnTo>
                  <a:lnTo>
                    <a:pt x="1" y="6"/>
                  </a:lnTo>
                  <a:lnTo>
                    <a:pt x="0" y="3"/>
                  </a:lnTo>
                  <a:lnTo>
                    <a:pt x="1" y="1"/>
                  </a:lnTo>
                  <a:lnTo>
                    <a:pt x="2" y="0"/>
                  </a:lnTo>
                  <a:lnTo>
                    <a:pt x="3" y="0"/>
                  </a:lnTo>
                  <a:lnTo>
                    <a:pt x="5" y="2"/>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5" name="Freeform 154"/>
            <p:cNvSpPr>
              <a:spLocks/>
            </p:cNvSpPr>
            <p:nvPr/>
          </p:nvSpPr>
          <p:spPr bwMode="auto">
            <a:xfrm>
              <a:off x="8185151" y="4129092"/>
              <a:ext cx="6350" cy="7937"/>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0 w 4"/>
                <a:gd name="T13" fmla="*/ 0 h 5"/>
                <a:gd name="T14" fmla="*/ 2147483647 w 4"/>
                <a:gd name="T15" fmla="*/ 0 h 5"/>
                <a:gd name="T16" fmla="*/ 2147483647 w 4"/>
                <a:gd name="T17" fmla="*/ 0 h 5"/>
                <a:gd name="T18" fmla="*/ 2147483647 w 4"/>
                <a:gd name="T19" fmla="*/ 2147483647 h 5"/>
                <a:gd name="T20" fmla="*/ 2147483647 w 4"/>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4" y="2"/>
                  </a:moveTo>
                  <a:lnTo>
                    <a:pt x="4" y="4"/>
                  </a:lnTo>
                  <a:lnTo>
                    <a:pt x="3" y="5"/>
                  </a:lnTo>
                  <a:lnTo>
                    <a:pt x="1" y="5"/>
                  </a:lnTo>
                  <a:lnTo>
                    <a:pt x="0" y="4"/>
                  </a:lnTo>
                  <a:lnTo>
                    <a:pt x="0" y="1"/>
                  </a:lnTo>
                  <a:lnTo>
                    <a:pt x="0" y="0"/>
                  </a:lnTo>
                  <a:lnTo>
                    <a:pt x="1" y="0"/>
                  </a:lnTo>
                  <a:lnTo>
                    <a:pt x="3" y="0"/>
                  </a:lnTo>
                  <a:lnTo>
                    <a:pt x="4" y="1"/>
                  </a:lnTo>
                  <a:lnTo>
                    <a:pt x="4"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6" name="Freeform 155"/>
            <p:cNvSpPr>
              <a:spLocks/>
            </p:cNvSpPr>
            <p:nvPr/>
          </p:nvSpPr>
          <p:spPr bwMode="auto">
            <a:xfrm>
              <a:off x="8220075" y="4221166"/>
              <a:ext cx="7938" cy="14288"/>
            </a:xfrm>
            <a:custGeom>
              <a:avLst/>
              <a:gdLst>
                <a:gd name="T0" fmla="*/ 2147483647 w 5"/>
                <a:gd name="T1" fmla="*/ 2147483647 h 9"/>
                <a:gd name="T2" fmla="*/ 2147483647 w 5"/>
                <a:gd name="T3" fmla="*/ 2147483647 h 9"/>
                <a:gd name="T4" fmla="*/ 2147483647 w 5"/>
                <a:gd name="T5" fmla="*/ 2147483647 h 9"/>
                <a:gd name="T6" fmla="*/ 0 w 5"/>
                <a:gd name="T7" fmla="*/ 2147483647 h 9"/>
                <a:gd name="T8" fmla="*/ 0 w 5"/>
                <a:gd name="T9" fmla="*/ 2147483647 h 9"/>
                <a:gd name="T10" fmla="*/ 0 w 5"/>
                <a:gd name="T11" fmla="*/ 0 h 9"/>
                <a:gd name="T12" fmla="*/ 2147483647 w 5"/>
                <a:gd name="T13" fmla="*/ 0 h 9"/>
                <a:gd name="T14" fmla="*/ 2147483647 w 5"/>
                <a:gd name="T15" fmla="*/ 2147483647 h 9"/>
                <a:gd name="T16" fmla="*/ 2147483647 w 5"/>
                <a:gd name="T17" fmla="*/ 2147483647 h 9"/>
                <a:gd name="T18" fmla="*/ 2147483647 w 5"/>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9"/>
                <a:gd name="T32" fmla="*/ 5 w 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9">
                  <a:moveTo>
                    <a:pt x="5" y="9"/>
                  </a:moveTo>
                  <a:lnTo>
                    <a:pt x="4" y="9"/>
                  </a:lnTo>
                  <a:lnTo>
                    <a:pt x="3" y="9"/>
                  </a:lnTo>
                  <a:lnTo>
                    <a:pt x="0" y="4"/>
                  </a:lnTo>
                  <a:lnTo>
                    <a:pt x="0" y="1"/>
                  </a:lnTo>
                  <a:lnTo>
                    <a:pt x="0" y="0"/>
                  </a:lnTo>
                  <a:lnTo>
                    <a:pt x="1" y="0"/>
                  </a:lnTo>
                  <a:lnTo>
                    <a:pt x="4" y="1"/>
                  </a:lnTo>
                  <a:lnTo>
                    <a:pt x="5" y="3"/>
                  </a:lnTo>
                  <a:lnTo>
                    <a:pt x="5"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7" name="Freeform 156"/>
            <p:cNvSpPr>
              <a:spLocks/>
            </p:cNvSpPr>
            <p:nvPr/>
          </p:nvSpPr>
          <p:spPr bwMode="auto">
            <a:xfrm>
              <a:off x="8183563" y="4127500"/>
              <a:ext cx="6350" cy="7938"/>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2147483647 w 4"/>
                <a:gd name="T9" fmla="*/ 2147483647 h 5"/>
                <a:gd name="T10" fmla="*/ 0 w 4"/>
                <a:gd name="T11" fmla="*/ 2147483647 h 5"/>
                <a:gd name="T12" fmla="*/ 0 w 4"/>
                <a:gd name="T13" fmla="*/ 2147483647 h 5"/>
                <a:gd name="T14" fmla="*/ 0 w 4"/>
                <a:gd name="T15" fmla="*/ 2147483647 h 5"/>
                <a:gd name="T16" fmla="*/ 0 w 4"/>
                <a:gd name="T17" fmla="*/ 0 h 5"/>
                <a:gd name="T18" fmla="*/ 0 w 4"/>
                <a:gd name="T19" fmla="*/ 0 h 5"/>
                <a:gd name="T20" fmla="*/ 2147483647 w 4"/>
                <a:gd name="T21" fmla="*/ 0 h 5"/>
                <a:gd name="T22" fmla="*/ 2147483647 w 4"/>
                <a:gd name="T23" fmla="*/ 0 h 5"/>
                <a:gd name="T24" fmla="*/ 2147483647 w 4"/>
                <a:gd name="T25" fmla="*/ 2147483647 h 5"/>
                <a:gd name="T26" fmla="*/ 2147483647 w 4"/>
                <a:gd name="T27" fmla="*/ 2147483647 h 5"/>
                <a:gd name="T28" fmla="*/ 2147483647 w 4"/>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5"/>
                <a:gd name="T47" fmla="*/ 4 w 4"/>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5">
                  <a:moveTo>
                    <a:pt x="4" y="2"/>
                  </a:moveTo>
                  <a:lnTo>
                    <a:pt x="4" y="2"/>
                  </a:lnTo>
                  <a:lnTo>
                    <a:pt x="4" y="3"/>
                  </a:lnTo>
                  <a:lnTo>
                    <a:pt x="2" y="5"/>
                  </a:lnTo>
                  <a:lnTo>
                    <a:pt x="1" y="5"/>
                  </a:lnTo>
                  <a:lnTo>
                    <a:pt x="0" y="3"/>
                  </a:lnTo>
                  <a:lnTo>
                    <a:pt x="0" y="1"/>
                  </a:lnTo>
                  <a:lnTo>
                    <a:pt x="0" y="0"/>
                  </a:lnTo>
                  <a:lnTo>
                    <a:pt x="1" y="0"/>
                  </a:lnTo>
                  <a:lnTo>
                    <a:pt x="2" y="0"/>
                  </a:lnTo>
                  <a:lnTo>
                    <a:pt x="4" y="1"/>
                  </a:lnTo>
                  <a:lnTo>
                    <a:pt x="4"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8" name="Freeform 157"/>
            <p:cNvSpPr>
              <a:spLocks/>
            </p:cNvSpPr>
            <p:nvPr/>
          </p:nvSpPr>
          <p:spPr bwMode="auto">
            <a:xfrm>
              <a:off x="8220077" y="4219575"/>
              <a:ext cx="6350"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0 w 5"/>
                <a:gd name="T11" fmla="*/ 2147483647 h 8"/>
                <a:gd name="T12" fmla="*/ 0 w 5"/>
                <a:gd name="T13" fmla="*/ 2147483647 h 8"/>
                <a:gd name="T14" fmla="*/ 0 w 5"/>
                <a:gd name="T15" fmla="*/ 0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2147483647 w 5"/>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8"/>
                <a:gd name="T44" fmla="*/ 5 w 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8">
                  <a:moveTo>
                    <a:pt x="5" y="8"/>
                  </a:moveTo>
                  <a:lnTo>
                    <a:pt x="5" y="8"/>
                  </a:lnTo>
                  <a:lnTo>
                    <a:pt x="4" y="8"/>
                  </a:lnTo>
                  <a:lnTo>
                    <a:pt x="2" y="8"/>
                  </a:lnTo>
                  <a:lnTo>
                    <a:pt x="0" y="4"/>
                  </a:lnTo>
                  <a:lnTo>
                    <a:pt x="0" y="1"/>
                  </a:lnTo>
                  <a:lnTo>
                    <a:pt x="0" y="0"/>
                  </a:lnTo>
                  <a:lnTo>
                    <a:pt x="1" y="0"/>
                  </a:lnTo>
                  <a:lnTo>
                    <a:pt x="4" y="1"/>
                  </a:lnTo>
                  <a:lnTo>
                    <a:pt x="5" y="2"/>
                  </a:lnTo>
                  <a:lnTo>
                    <a:pt x="5"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59" name="Freeform 158"/>
            <p:cNvSpPr>
              <a:spLocks/>
            </p:cNvSpPr>
            <p:nvPr/>
          </p:nvSpPr>
          <p:spPr bwMode="auto">
            <a:xfrm>
              <a:off x="8259765" y="4159254"/>
              <a:ext cx="9525" cy="9525"/>
            </a:xfrm>
            <a:custGeom>
              <a:avLst/>
              <a:gdLst>
                <a:gd name="T0" fmla="*/ 2147483647 w 6"/>
                <a:gd name="T1" fmla="*/ 2147483647 h 6"/>
                <a:gd name="T2" fmla="*/ 2147483647 w 6"/>
                <a:gd name="T3" fmla="*/ 2147483647 h 6"/>
                <a:gd name="T4" fmla="*/ 2147483647 w 6"/>
                <a:gd name="T5" fmla="*/ 2147483647 h 6"/>
                <a:gd name="T6" fmla="*/ 0 w 6"/>
                <a:gd name="T7" fmla="*/ 2147483647 h 6"/>
                <a:gd name="T8" fmla="*/ 0 w 6"/>
                <a:gd name="T9" fmla="*/ 2147483647 h 6"/>
                <a:gd name="T10" fmla="*/ 2147483647 w 6"/>
                <a:gd name="T11" fmla="*/ 0 h 6"/>
                <a:gd name="T12" fmla="*/ 2147483647 w 6"/>
                <a:gd name="T13" fmla="*/ 0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5" y="5"/>
                  </a:moveTo>
                  <a:lnTo>
                    <a:pt x="2" y="6"/>
                  </a:lnTo>
                  <a:lnTo>
                    <a:pt x="1" y="5"/>
                  </a:lnTo>
                  <a:lnTo>
                    <a:pt x="0" y="4"/>
                  </a:lnTo>
                  <a:lnTo>
                    <a:pt x="0" y="2"/>
                  </a:lnTo>
                  <a:lnTo>
                    <a:pt x="2" y="0"/>
                  </a:lnTo>
                  <a:lnTo>
                    <a:pt x="5" y="0"/>
                  </a:lnTo>
                  <a:lnTo>
                    <a:pt x="6" y="1"/>
                  </a:lnTo>
                  <a:lnTo>
                    <a:pt x="6" y="2"/>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0" name="Freeform 159"/>
            <p:cNvSpPr>
              <a:spLocks/>
            </p:cNvSpPr>
            <p:nvPr/>
          </p:nvSpPr>
          <p:spPr bwMode="auto">
            <a:xfrm>
              <a:off x="8339140" y="4181479"/>
              <a:ext cx="9525" cy="9525"/>
            </a:xfrm>
            <a:custGeom>
              <a:avLst/>
              <a:gdLst>
                <a:gd name="T0" fmla="*/ 2147483647 w 6"/>
                <a:gd name="T1" fmla="*/ 2147483647 h 6"/>
                <a:gd name="T2" fmla="*/ 2147483647 w 6"/>
                <a:gd name="T3" fmla="*/ 2147483647 h 6"/>
                <a:gd name="T4" fmla="*/ 2147483647 w 6"/>
                <a:gd name="T5" fmla="*/ 2147483647 h 6"/>
                <a:gd name="T6" fmla="*/ 0 w 6"/>
                <a:gd name="T7" fmla="*/ 2147483647 h 6"/>
                <a:gd name="T8" fmla="*/ 0 w 6"/>
                <a:gd name="T9" fmla="*/ 2147483647 h 6"/>
                <a:gd name="T10" fmla="*/ 0 w 6"/>
                <a:gd name="T11" fmla="*/ 0 h 6"/>
                <a:gd name="T12" fmla="*/ 2147483647 w 6"/>
                <a:gd name="T13" fmla="*/ 0 h 6"/>
                <a:gd name="T14" fmla="*/ 2147483647 w 6"/>
                <a:gd name="T15" fmla="*/ 0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5"/>
                  </a:moveTo>
                  <a:lnTo>
                    <a:pt x="6" y="6"/>
                  </a:lnTo>
                  <a:lnTo>
                    <a:pt x="3" y="6"/>
                  </a:lnTo>
                  <a:lnTo>
                    <a:pt x="0" y="4"/>
                  </a:lnTo>
                  <a:lnTo>
                    <a:pt x="0" y="1"/>
                  </a:lnTo>
                  <a:lnTo>
                    <a:pt x="0" y="0"/>
                  </a:lnTo>
                  <a:lnTo>
                    <a:pt x="2" y="0"/>
                  </a:lnTo>
                  <a:lnTo>
                    <a:pt x="3" y="0"/>
                  </a:lnTo>
                  <a:lnTo>
                    <a:pt x="4" y="1"/>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1" name="Freeform 160"/>
            <p:cNvSpPr>
              <a:spLocks/>
            </p:cNvSpPr>
            <p:nvPr/>
          </p:nvSpPr>
          <p:spPr bwMode="auto">
            <a:xfrm>
              <a:off x="8258177" y="4157668"/>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2147483647 w 6"/>
                <a:gd name="T15" fmla="*/ 0 h 6"/>
                <a:gd name="T16" fmla="*/ 2147483647 w 6"/>
                <a:gd name="T17" fmla="*/ 0 h 6"/>
                <a:gd name="T18" fmla="*/ 2147483647 w 6"/>
                <a:gd name="T19" fmla="*/ 0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6"/>
                <a:gd name="T47" fmla="*/ 6 w 6"/>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6">
                  <a:moveTo>
                    <a:pt x="5" y="5"/>
                  </a:moveTo>
                  <a:lnTo>
                    <a:pt x="5" y="5"/>
                  </a:lnTo>
                  <a:lnTo>
                    <a:pt x="2" y="6"/>
                  </a:lnTo>
                  <a:lnTo>
                    <a:pt x="1" y="5"/>
                  </a:lnTo>
                  <a:lnTo>
                    <a:pt x="0" y="3"/>
                  </a:lnTo>
                  <a:lnTo>
                    <a:pt x="0" y="2"/>
                  </a:lnTo>
                  <a:lnTo>
                    <a:pt x="2" y="0"/>
                  </a:lnTo>
                  <a:lnTo>
                    <a:pt x="5" y="0"/>
                  </a:lnTo>
                  <a:lnTo>
                    <a:pt x="6" y="1"/>
                  </a:lnTo>
                  <a:lnTo>
                    <a:pt x="6" y="2"/>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2" name="Freeform 161"/>
            <p:cNvSpPr>
              <a:spLocks/>
            </p:cNvSpPr>
            <p:nvPr/>
          </p:nvSpPr>
          <p:spPr bwMode="auto">
            <a:xfrm>
              <a:off x="8337550" y="4179893"/>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0 w 5"/>
                <a:gd name="T17" fmla="*/ 0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5"/>
                  </a:moveTo>
                  <a:lnTo>
                    <a:pt x="5" y="5"/>
                  </a:lnTo>
                  <a:lnTo>
                    <a:pt x="5" y="6"/>
                  </a:lnTo>
                  <a:lnTo>
                    <a:pt x="3" y="6"/>
                  </a:lnTo>
                  <a:lnTo>
                    <a:pt x="0" y="4"/>
                  </a:lnTo>
                  <a:lnTo>
                    <a:pt x="0" y="1"/>
                  </a:lnTo>
                  <a:lnTo>
                    <a:pt x="0" y="0"/>
                  </a:lnTo>
                  <a:lnTo>
                    <a:pt x="1" y="0"/>
                  </a:lnTo>
                  <a:lnTo>
                    <a:pt x="3" y="0"/>
                  </a:lnTo>
                  <a:lnTo>
                    <a:pt x="4" y="1"/>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3" name="Freeform 162"/>
            <p:cNvSpPr>
              <a:spLocks/>
            </p:cNvSpPr>
            <p:nvPr/>
          </p:nvSpPr>
          <p:spPr bwMode="auto">
            <a:xfrm>
              <a:off x="8248654" y="4575175"/>
              <a:ext cx="30163" cy="46039"/>
            </a:xfrm>
            <a:custGeom>
              <a:avLst/>
              <a:gdLst>
                <a:gd name="T0" fmla="*/ 2147483647 w 21"/>
                <a:gd name="T1" fmla="*/ 2147483647 h 29"/>
                <a:gd name="T2" fmla="*/ 2147483647 w 21"/>
                <a:gd name="T3" fmla="*/ 2147483647 h 29"/>
                <a:gd name="T4" fmla="*/ 2147483647 w 21"/>
                <a:gd name="T5" fmla="*/ 2147483647 h 29"/>
                <a:gd name="T6" fmla="*/ 2147483647 w 21"/>
                <a:gd name="T7" fmla="*/ 2147483647 h 29"/>
                <a:gd name="T8" fmla="*/ 2147483647 w 21"/>
                <a:gd name="T9" fmla="*/ 2147483647 h 29"/>
                <a:gd name="T10" fmla="*/ 2147483647 w 21"/>
                <a:gd name="T11" fmla="*/ 2147483647 h 29"/>
                <a:gd name="T12" fmla="*/ 2147483647 w 21"/>
                <a:gd name="T13" fmla="*/ 2147483647 h 29"/>
                <a:gd name="T14" fmla="*/ 2147483647 w 21"/>
                <a:gd name="T15" fmla="*/ 2147483647 h 29"/>
                <a:gd name="T16" fmla="*/ 2147483647 w 21"/>
                <a:gd name="T17" fmla="*/ 2147483647 h 29"/>
                <a:gd name="T18" fmla="*/ 2147483647 w 21"/>
                <a:gd name="T19" fmla="*/ 2147483647 h 29"/>
                <a:gd name="T20" fmla="*/ 2147483647 w 21"/>
                <a:gd name="T21" fmla="*/ 2147483647 h 29"/>
                <a:gd name="T22" fmla="*/ 2147483647 w 21"/>
                <a:gd name="T23" fmla="*/ 2147483647 h 29"/>
                <a:gd name="T24" fmla="*/ 2147483647 w 21"/>
                <a:gd name="T25" fmla="*/ 2147483647 h 29"/>
                <a:gd name="T26" fmla="*/ 2147483647 w 21"/>
                <a:gd name="T27" fmla="*/ 2147483647 h 29"/>
                <a:gd name="T28" fmla="*/ 0 w 21"/>
                <a:gd name="T29" fmla="*/ 2147483647 h 29"/>
                <a:gd name="T30" fmla="*/ 0 w 21"/>
                <a:gd name="T31" fmla="*/ 2147483647 h 29"/>
                <a:gd name="T32" fmla="*/ 2147483647 w 21"/>
                <a:gd name="T33" fmla="*/ 2147483647 h 29"/>
                <a:gd name="T34" fmla="*/ 2147483647 w 21"/>
                <a:gd name="T35" fmla="*/ 0 h 29"/>
                <a:gd name="T36" fmla="*/ 2147483647 w 21"/>
                <a:gd name="T37" fmla="*/ 0 h 29"/>
                <a:gd name="T38" fmla="*/ 2147483647 w 21"/>
                <a:gd name="T39" fmla="*/ 2147483647 h 29"/>
                <a:gd name="T40" fmla="*/ 2147483647 w 21"/>
                <a:gd name="T41" fmla="*/ 2147483647 h 29"/>
                <a:gd name="T42" fmla="*/ 2147483647 w 21"/>
                <a:gd name="T43" fmla="*/ 2147483647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29"/>
                <a:gd name="T68" fmla="*/ 21 w 21"/>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29">
                  <a:moveTo>
                    <a:pt x="15" y="16"/>
                  </a:moveTo>
                  <a:lnTo>
                    <a:pt x="17" y="18"/>
                  </a:lnTo>
                  <a:lnTo>
                    <a:pt x="19" y="20"/>
                  </a:lnTo>
                  <a:lnTo>
                    <a:pt x="21" y="23"/>
                  </a:lnTo>
                  <a:lnTo>
                    <a:pt x="21" y="25"/>
                  </a:lnTo>
                  <a:lnTo>
                    <a:pt x="19" y="27"/>
                  </a:lnTo>
                  <a:lnTo>
                    <a:pt x="17" y="29"/>
                  </a:lnTo>
                  <a:lnTo>
                    <a:pt x="14" y="29"/>
                  </a:lnTo>
                  <a:lnTo>
                    <a:pt x="10" y="27"/>
                  </a:lnTo>
                  <a:lnTo>
                    <a:pt x="8" y="25"/>
                  </a:lnTo>
                  <a:lnTo>
                    <a:pt x="7" y="21"/>
                  </a:lnTo>
                  <a:lnTo>
                    <a:pt x="4" y="18"/>
                  </a:lnTo>
                  <a:lnTo>
                    <a:pt x="1" y="16"/>
                  </a:lnTo>
                  <a:lnTo>
                    <a:pt x="1" y="11"/>
                  </a:lnTo>
                  <a:lnTo>
                    <a:pt x="0" y="7"/>
                  </a:lnTo>
                  <a:lnTo>
                    <a:pt x="0" y="4"/>
                  </a:lnTo>
                  <a:lnTo>
                    <a:pt x="3" y="1"/>
                  </a:lnTo>
                  <a:lnTo>
                    <a:pt x="5" y="0"/>
                  </a:lnTo>
                  <a:lnTo>
                    <a:pt x="7" y="0"/>
                  </a:lnTo>
                  <a:lnTo>
                    <a:pt x="7" y="1"/>
                  </a:lnTo>
                  <a:lnTo>
                    <a:pt x="10" y="8"/>
                  </a:lnTo>
                  <a:lnTo>
                    <a:pt x="15"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4" name="Freeform 163"/>
            <p:cNvSpPr>
              <a:spLocks/>
            </p:cNvSpPr>
            <p:nvPr/>
          </p:nvSpPr>
          <p:spPr bwMode="auto">
            <a:xfrm>
              <a:off x="8296275" y="4611690"/>
              <a:ext cx="33338" cy="31751"/>
            </a:xfrm>
            <a:custGeom>
              <a:avLst/>
              <a:gdLst>
                <a:gd name="T0" fmla="*/ 2147483647 w 23"/>
                <a:gd name="T1" fmla="*/ 2147483647 h 20"/>
                <a:gd name="T2" fmla="*/ 2147483647 w 23"/>
                <a:gd name="T3" fmla="*/ 2147483647 h 20"/>
                <a:gd name="T4" fmla="*/ 2147483647 w 23"/>
                <a:gd name="T5" fmla="*/ 2147483647 h 20"/>
                <a:gd name="T6" fmla="*/ 2147483647 w 23"/>
                <a:gd name="T7" fmla="*/ 2147483647 h 20"/>
                <a:gd name="T8" fmla="*/ 2147483647 w 23"/>
                <a:gd name="T9" fmla="*/ 2147483647 h 20"/>
                <a:gd name="T10" fmla="*/ 2147483647 w 23"/>
                <a:gd name="T11" fmla="*/ 2147483647 h 20"/>
                <a:gd name="T12" fmla="*/ 2147483647 w 23"/>
                <a:gd name="T13" fmla="*/ 2147483647 h 20"/>
                <a:gd name="T14" fmla="*/ 2147483647 w 23"/>
                <a:gd name="T15" fmla="*/ 2147483647 h 20"/>
                <a:gd name="T16" fmla="*/ 0 w 23"/>
                <a:gd name="T17" fmla="*/ 2147483647 h 20"/>
                <a:gd name="T18" fmla="*/ 0 w 23"/>
                <a:gd name="T19" fmla="*/ 2147483647 h 20"/>
                <a:gd name="T20" fmla="*/ 2147483647 w 23"/>
                <a:gd name="T21" fmla="*/ 2147483647 h 20"/>
                <a:gd name="T22" fmla="*/ 2147483647 w 23"/>
                <a:gd name="T23" fmla="*/ 0 h 20"/>
                <a:gd name="T24" fmla="*/ 2147483647 w 23"/>
                <a:gd name="T25" fmla="*/ 0 h 20"/>
                <a:gd name="T26" fmla="*/ 2147483647 w 23"/>
                <a:gd name="T27" fmla="*/ 2147483647 h 20"/>
                <a:gd name="T28" fmla="*/ 2147483647 w 23"/>
                <a:gd name="T29" fmla="*/ 2147483647 h 20"/>
                <a:gd name="T30" fmla="*/ 2147483647 w 23"/>
                <a:gd name="T31" fmla="*/ 2147483647 h 20"/>
                <a:gd name="T32" fmla="*/ 2147483647 w 23"/>
                <a:gd name="T33" fmla="*/ 2147483647 h 20"/>
                <a:gd name="T34" fmla="*/ 2147483647 w 23"/>
                <a:gd name="T35" fmla="*/ 2147483647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20"/>
                <a:gd name="T56" fmla="*/ 23 w 2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20">
                  <a:moveTo>
                    <a:pt x="19" y="11"/>
                  </a:moveTo>
                  <a:lnTo>
                    <a:pt x="23" y="16"/>
                  </a:lnTo>
                  <a:lnTo>
                    <a:pt x="23" y="19"/>
                  </a:lnTo>
                  <a:lnTo>
                    <a:pt x="22" y="20"/>
                  </a:lnTo>
                  <a:lnTo>
                    <a:pt x="15" y="20"/>
                  </a:lnTo>
                  <a:lnTo>
                    <a:pt x="10" y="19"/>
                  </a:lnTo>
                  <a:lnTo>
                    <a:pt x="5" y="16"/>
                  </a:lnTo>
                  <a:lnTo>
                    <a:pt x="1" y="11"/>
                  </a:lnTo>
                  <a:lnTo>
                    <a:pt x="0" y="6"/>
                  </a:lnTo>
                  <a:lnTo>
                    <a:pt x="0" y="2"/>
                  </a:lnTo>
                  <a:lnTo>
                    <a:pt x="1" y="1"/>
                  </a:lnTo>
                  <a:lnTo>
                    <a:pt x="4" y="0"/>
                  </a:lnTo>
                  <a:lnTo>
                    <a:pt x="6" y="0"/>
                  </a:lnTo>
                  <a:lnTo>
                    <a:pt x="9" y="3"/>
                  </a:lnTo>
                  <a:lnTo>
                    <a:pt x="11" y="8"/>
                  </a:lnTo>
                  <a:lnTo>
                    <a:pt x="15" y="11"/>
                  </a:lnTo>
                  <a:lnTo>
                    <a:pt x="16" y="11"/>
                  </a:lnTo>
                  <a:lnTo>
                    <a:pt x="19"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5" name="Freeform 164"/>
            <p:cNvSpPr>
              <a:spLocks/>
            </p:cNvSpPr>
            <p:nvPr/>
          </p:nvSpPr>
          <p:spPr bwMode="auto">
            <a:xfrm>
              <a:off x="8247063" y="4573589"/>
              <a:ext cx="30162" cy="44450"/>
            </a:xfrm>
            <a:custGeom>
              <a:avLst/>
              <a:gdLst>
                <a:gd name="T0" fmla="*/ 2147483647 w 20"/>
                <a:gd name="T1" fmla="*/ 2147483647 h 28"/>
                <a:gd name="T2" fmla="*/ 2147483647 w 20"/>
                <a:gd name="T3" fmla="*/ 2147483647 h 28"/>
                <a:gd name="T4" fmla="*/ 2147483647 w 20"/>
                <a:gd name="T5" fmla="*/ 2147483647 h 28"/>
                <a:gd name="T6" fmla="*/ 2147483647 w 20"/>
                <a:gd name="T7" fmla="*/ 2147483647 h 28"/>
                <a:gd name="T8" fmla="*/ 2147483647 w 20"/>
                <a:gd name="T9" fmla="*/ 2147483647 h 28"/>
                <a:gd name="T10" fmla="*/ 2147483647 w 20"/>
                <a:gd name="T11" fmla="*/ 2147483647 h 28"/>
                <a:gd name="T12" fmla="*/ 2147483647 w 20"/>
                <a:gd name="T13" fmla="*/ 2147483647 h 28"/>
                <a:gd name="T14" fmla="*/ 2147483647 w 20"/>
                <a:gd name="T15" fmla="*/ 2147483647 h 28"/>
                <a:gd name="T16" fmla="*/ 2147483647 w 20"/>
                <a:gd name="T17" fmla="*/ 2147483647 h 28"/>
                <a:gd name="T18" fmla="*/ 2147483647 w 20"/>
                <a:gd name="T19" fmla="*/ 2147483647 h 28"/>
                <a:gd name="T20" fmla="*/ 2147483647 w 20"/>
                <a:gd name="T21" fmla="*/ 2147483647 h 28"/>
                <a:gd name="T22" fmla="*/ 2147483647 w 20"/>
                <a:gd name="T23" fmla="*/ 2147483647 h 28"/>
                <a:gd name="T24" fmla="*/ 2147483647 w 20"/>
                <a:gd name="T25" fmla="*/ 2147483647 h 28"/>
                <a:gd name="T26" fmla="*/ 2147483647 w 20"/>
                <a:gd name="T27" fmla="*/ 2147483647 h 28"/>
                <a:gd name="T28" fmla="*/ 2147483647 w 20"/>
                <a:gd name="T29" fmla="*/ 2147483647 h 28"/>
                <a:gd name="T30" fmla="*/ 2147483647 w 20"/>
                <a:gd name="T31" fmla="*/ 2147483647 h 28"/>
                <a:gd name="T32" fmla="*/ 2147483647 w 20"/>
                <a:gd name="T33" fmla="*/ 2147483647 h 28"/>
                <a:gd name="T34" fmla="*/ 2147483647 w 20"/>
                <a:gd name="T35" fmla="*/ 2147483647 h 28"/>
                <a:gd name="T36" fmla="*/ 0 w 20"/>
                <a:gd name="T37" fmla="*/ 2147483647 h 28"/>
                <a:gd name="T38" fmla="*/ 0 w 20"/>
                <a:gd name="T39" fmla="*/ 2147483647 h 28"/>
                <a:gd name="T40" fmla="*/ 0 w 20"/>
                <a:gd name="T41" fmla="*/ 2147483647 h 28"/>
                <a:gd name="T42" fmla="*/ 2147483647 w 20"/>
                <a:gd name="T43" fmla="*/ 2147483647 h 28"/>
                <a:gd name="T44" fmla="*/ 2147483647 w 20"/>
                <a:gd name="T45" fmla="*/ 0 h 28"/>
                <a:gd name="T46" fmla="*/ 2147483647 w 20"/>
                <a:gd name="T47" fmla="*/ 0 h 28"/>
                <a:gd name="T48" fmla="*/ 2147483647 w 20"/>
                <a:gd name="T49" fmla="*/ 2147483647 h 28"/>
                <a:gd name="T50" fmla="*/ 2147483647 w 20"/>
                <a:gd name="T51" fmla="*/ 2147483647 h 28"/>
                <a:gd name="T52" fmla="*/ 2147483647 w 20"/>
                <a:gd name="T53" fmla="*/ 2147483647 h 28"/>
                <a:gd name="T54" fmla="*/ 2147483647 w 20"/>
                <a:gd name="T55" fmla="*/ 2147483647 h 28"/>
                <a:gd name="T56" fmla="*/ 2147483647 w 20"/>
                <a:gd name="T57" fmla="*/ 2147483647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8"/>
                <a:gd name="T89" fmla="*/ 20 w 20"/>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8">
                  <a:moveTo>
                    <a:pt x="15" y="15"/>
                  </a:moveTo>
                  <a:lnTo>
                    <a:pt x="15" y="15"/>
                  </a:lnTo>
                  <a:lnTo>
                    <a:pt x="16" y="18"/>
                  </a:lnTo>
                  <a:lnTo>
                    <a:pt x="19" y="20"/>
                  </a:lnTo>
                  <a:lnTo>
                    <a:pt x="20" y="22"/>
                  </a:lnTo>
                  <a:lnTo>
                    <a:pt x="20" y="25"/>
                  </a:lnTo>
                  <a:lnTo>
                    <a:pt x="19" y="27"/>
                  </a:lnTo>
                  <a:lnTo>
                    <a:pt x="16" y="28"/>
                  </a:lnTo>
                  <a:lnTo>
                    <a:pt x="14" y="28"/>
                  </a:lnTo>
                  <a:lnTo>
                    <a:pt x="10" y="27"/>
                  </a:lnTo>
                  <a:lnTo>
                    <a:pt x="8" y="25"/>
                  </a:lnTo>
                  <a:lnTo>
                    <a:pt x="6" y="21"/>
                  </a:lnTo>
                  <a:lnTo>
                    <a:pt x="4" y="18"/>
                  </a:lnTo>
                  <a:lnTo>
                    <a:pt x="1" y="15"/>
                  </a:lnTo>
                  <a:lnTo>
                    <a:pt x="1" y="11"/>
                  </a:lnTo>
                  <a:lnTo>
                    <a:pt x="0" y="7"/>
                  </a:lnTo>
                  <a:lnTo>
                    <a:pt x="0" y="3"/>
                  </a:lnTo>
                  <a:lnTo>
                    <a:pt x="2" y="1"/>
                  </a:lnTo>
                  <a:lnTo>
                    <a:pt x="5" y="0"/>
                  </a:lnTo>
                  <a:lnTo>
                    <a:pt x="6" y="0"/>
                  </a:lnTo>
                  <a:lnTo>
                    <a:pt x="6" y="1"/>
                  </a:lnTo>
                  <a:lnTo>
                    <a:pt x="10" y="8"/>
                  </a:lnTo>
                  <a:lnTo>
                    <a:pt x="15"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6" name="Freeform 165"/>
            <p:cNvSpPr>
              <a:spLocks/>
            </p:cNvSpPr>
            <p:nvPr/>
          </p:nvSpPr>
          <p:spPr bwMode="auto">
            <a:xfrm>
              <a:off x="8294692" y="4608517"/>
              <a:ext cx="33337" cy="33337"/>
            </a:xfrm>
            <a:custGeom>
              <a:avLst/>
              <a:gdLst>
                <a:gd name="T0" fmla="*/ 2147483647 w 23"/>
                <a:gd name="T1" fmla="*/ 2147483647 h 21"/>
                <a:gd name="T2" fmla="*/ 2147483647 w 23"/>
                <a:gd name="T3" fmla="*/ 2147483647 h 21"/>
                <a:gd name="T4" fmla="*/ 2147483647 w 23"/>
                <a:gd name="T5" fmla="*/ 2147483647 h 21"/>
                <a:gd name="T6" fmla="*/ 2147483647 w 23"/>
                <a:gd name="T7" fmla="*/ 2147483647 h 21"/>
                <a:gd name="T8" fmla="*/ 2147483647 w 23"/>
                <a:gd name="T9" fmla="*/ 2147483647 h 21"/>
                <a:gd name="T10" fmla="*/ 2147483647 w 23"/>
                <a:gd name="T11" fmla="*/ 2147483647 h 21"/>
                <a:gd name="T12" fmla="*/ 2147483647 w 23"/>
                <a:gd name="T13" fmla="*/ 2147483647 h 21"/>
                <a:gd name="T14" fmla="*/ 2147483647 w 23"/>
                <a:gd name="T15" fmla="*/ 2147483647 h 21"/>
                <a:gd name="T16" fmla="*/ 2147483647 w 23"/>
                <a:gd name="T17" fmla="*/ 2147483647 h 21"/>
                <a:gd name="T18" fmla="*/ 2147483647 w 23"/>
                <a:gd name="T19" fmla="*/ 2147483647 h 21"/>
                <a:gd name="T20" fmla="*/ 2147483647 w 23"/>
                <a:gd name="T21" fmla="*/ 2147483647 h 21"/>
                <a:gd name="T22" fmla="*/ 0 w 23"/>
                <a:gd name="T23" fmla="*/ 2147483647 h 21"/>
                <a:gd name="T24" fmla="*/ 0 w 23"/>
                <a:gd name="T25" fmla="*/ 2147483647 h 21"/>
                <a:gd name="T26" fmla="*/ 2147483647 w 23"/>
                <a:gd name="T27" fmla="*/ 2147483647 h 21"/>
                <a:gd name="T28" fmla="*/ 2147483647 w 23"/>
                <a:gd name="T29" fmla="*/ 2147483647 h 21"/>
                <a:gd name="T30" fmla="*/ 2147483647 w 23"/>
                <a:gd name="T31" fmla="*/ 0 h 21"/>
                <a:gd name="T32" fmla="*/ 2147483647 w 23"/>
                <a:gd name="T33" fmla="*/ 0 h 21"/>
                <a:gd name="T34" fmla="*/ 2147483647 w 23"/>
                <a:gd name="T35" fmla="*/ 2147483647 h 21"/>
                <a:gd name="T36" fmla="*/ 2147483647 w 23"/>
                <a:gd name="T37" fmla="*/ 2147483647 h 21"/>
                <a:gd name="T38" fmla="*/ 2147483647 w 23"/>
                <a:gd name="T39" fmla="*/ 2147483647 h 21"/>
                <a:gd name="T40" fmla="*/ 2147483647 w 23"/>
                <a:gd name="T41" fmla="*/ 2147483647 h 21"/>
                <a:gd name="T42" fmla="*/ 2147483647 w 23"/>
                <a:gd name="T43" fmla="*/ 2147483647 h 21"/>
                <a:gd name="T44" fmla="*/ 2147483647 w 23"/>
                <a:gd name="T45" fmla="*/ 2147483647 h 21"/>
                <a:gd name="T46" fmla="*/ 2147483647 w 23"/>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21"/>
                <a:gd name="T74" fmla="*/ 23 w 23"/>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21">
                  <a:moveTo>
                    <a:pt x="19" y="12"/>
                  </a:moveTo>
                  <a:lnTo>
                    <a:pt x="19" y="12"/>
                  </a:lnTo>
                  <a:lnTo>
                    <a:pt x="23" y="17"/>
                  </a:lnTo>
                  <a:lnTo>
                    <a:pt x="23" y="19"/>
                  </a:lnTo>
                  <a:lnTo>
                    <a:pt x="21" y="21"/>
                  </a:lnTo>
                  <a:lnTo>
                    <a:pt x="15" y="21"/>
                  </a:lnTo>
                  <a:lnTo>
                    <a:pt x="10" y="19"/>
                  </a:lnTo>
                  <a:lnTo>
                    <a:pt x="5" y="17"/>
                  </a:lnTo>
                  <a:lnTo>
                    <a:pt x="1" y="12"/>
                  </a:lnTo>
                  <a:lnTo>
                    <a:pt x="0" y="6"/>
                  </a:lnTo>
                  <a:lnTo>
                    <a:pt x="0" y="3"/>
                  </a:lnTo>
                  <a:lnTo>
                    <a:pt x="1" y="2"/>
                  </a:lnTo>
                  <a:lnTo>
                    <a:pt x="3" y="0"/>
                  </a:lnTo>
                  <a:lnTo>
                    <a:pt x="6" y="0"/>
                  </a:lnTo>
                  <a:lnTo>
                    <a:pt x="9" y="4"/>
                  </a:lnTo>
                  <a:lnTo>
                    <a:pt x="11" y="9"/>
                  </a:lnTo>
                  <a:lnTo>
                    <a:pt x="15" y="12"/>
                  </a:lnTo>
                  <a:lnTo>
                    <a:pt x="16" y="12"/>
                  </a:lnTo>
                  <a:lnTo>
                    <a:pt x="19"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7" name="Freeform 166"/>
            <p:cNvSpPr>
              <a:spLocks/>
            </p:cNvSpPr>
            <p:nvPr/>
          </p:nvSpPr>
          <p:spPr bwMode="auto">
            <a:xfrm>
              <a:off x="8286754" y="4637088"/>
              <a:ext cx="11113" cy="17462"/>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0 w 8"/>
                <a:gd name="T9" fmla="*/ 2147483647 h 11"/>
                <a:gd name="T10" fmla="*/ 0 w 8"/>
                <a:gd name="T11" fmla="*/ 2147483647 h 11"/>
                <a:gd name="T12" fmla="*/ 0 w 8"/>
                <a:gd name="T13" fmla="*/ 2147483647 h 11"/>
                <a:gd name="T14" fmla="*/ 2147483647 w 8"/>
                <a:gd name="T15" fmla="*/ 2147483647 h 11"/>
                <a:gd name="T16" fmla="*/ 2147483647 w 8"/>
                <a:gd name="T17" fmla="*/ 0 h 11"/>
                <a:gd name="T18" fmla="*/ 2147483647 w 8"/>
                <a:gd name="T19" fmla="*/ 0 h 11"/>
                <a:gd name="T20" fmla="*/ 2147483647 w 8"/>
                <a:gd name="T21" fmla="*/ 2147483647 h 11"/>
                <a:gd name="T22" fmla="*/ 2147483647 w 8"/>
                <a:gd name="T23" fmla="*/ 2147483647 h 11"/>
                <a:gd name="T24" fmla="*/ 2147483647 w 8"/>
                <a:gd name="T25" fmla="*/ 2147483647 h 11"/>
                <a:gd name="T26" fmla="*/ 2147483647 w 8"/>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1"/>
                <a:gd name="T44" fmla="*/ 8 w 8"/>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1">
                  <a:moveTo>
                    <a:pt x="7" y="10"/>
                  </a:moveTo>
                  <a:lnTo>
                    <a:pt x="5" y="11"/>
                  </a:lnTo>
                  <a:lnTo>
                    <a:pt x="3" y="11"/>
                  </a:lnTo>
                  <a:lnTo>
                    <a:pt x="1" y="10"/>
                  </a:lnTo>
                  <a:lnTo>
                    <a:pt x="0" y="9"/>
                  </a:lnTo>
                  <a:lnTo>
                    <a:pt x="0" y="4"/>
                  </a:lnTo>
                  <a:lnTo>
                    <a:pt x="0" y="3"/>
                  </a:lnTo>
                  <a:lnTo>
                    <a:pt x="1" y="1"/>
                  </a:lnTo>
                  <a:lnTo>
                    <a:pt x="2" y="0"/>
                  </a:lnTo>
                  <a:lnTo>
                    <a:pt x="5" y="0"/>
                  </a:lnTo>
                  <a:lnTo>
                    <a:pt x="7" y="3"/>
                  </a:lnTo>
                  <a:lnTo>
                    <a:pt x="8" y="6"/>
                  </a:lnTo>
                  <a:lnTo>
                    <a:pt x="8" y="7"/>
                  </a:lnTo>
                  <a:lnTo>
                    <a:pt x="7"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8" name="Freeform 167"/>
            <p:cNvSpPr>
              <a:spLocks/>
            </p:cNvSpPr>
            <p:nvPr/>
          </p:nvSpPr>
          <p:spPr bwMode="auto">
            <a:xfrm>
              <a:off x="8307389" y="4654551"/>
              <a:ext cx="23812" cy="23813"/>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0 w 16"/>
                <a:gd name="T15" fmla="*/ 2147483647 h 15"/>
                <a:gd name="T16" fmla="*/ 0 w 16"/>
                <a:gd name="T17" fmla="*/ 2147483647 h 15"/>
                <a:gd name="T18" fmla="*/ 0 w 16"/>
                <a:gd name="T19" fmla="*/ 2147483647 h 15"/>
                <a:gd name="T20" fmla="*/ 2147483647 w 16"/>
                <a:gd name="T21" fmla="*/ 2147483647 h 15"/>
                <a:gd name="T22" fmla="*/ 2147483647 w 16"/>
                <a:gd name="T23" fmla="*/ 0 h 15"/>
                <a:gd name="T24" fmla="*/ 2147483647 w 16"/>
                <a:gd name="T25" fmla="*/ 0 h 15"/>
                <a:gd name="T26" fmla="*/ 2147483647 w 16"/>
                <a:gd name="T27" fmla="*/ 0 h 15"/>
                <a:gd name="T28" fmla="*/ 2147483647 w 16"/>
                <a:gd name="T29" fmla="*/ 2147483647 h 15"/>
                <a:gd name="T30" fmla="*/ 2147483647 w 16"/>
                <a:gd name="T31" fmla="*/ 2147483647 h 15"/>
                <a:gd name="T32" fmla="*/ 2147483647 w 16"/>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5"/>
                <a:gd name="T53" fmla="*/ 16 w 16"/>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5">
                  <a:moveTo>
                    <a:pt x="15" y="8"/>
                  </a:moveTo>
                  <a:lnTo>
                    <a:pt x="16" y="13"/>
                  </a:lnTo>
                  <a:lnTo>
                    <a:pt x="16" y="14"/>
                  </a:lnTo>
                  <a:lnTo>
                    <a:pt x="15" y="15"/>
                  </a:lnTo>
                  <a:lnTo>
                    <a:pt x="10" y="15"/>
                  </a:lnTo>
                  <a:lnTo>
                    <a:pt x="5" y="14"/>
                  </a:lnTo>
                  <a:lnTo>
                    <a:pt x="1" y="12"/>
                  </a:lnTo>
                  <a:lnTo>
                    <a:pt x="0" y="11"/>
                  </a:lnTo>
                  <a:lnTo>
                    <a:pt x="0" y="8"/>
                  </a:lnTo>
                  <a:lnTo>
                    <a:pt x="0" y="6"/>
                  </a:lnTo>
                  <a:lnTo>
                    <a:pt x="2" y="3"/>
                  </a:lnTo>
                  <a:lnTo>
                    <a:pt x="8" y="0"/>
                  </a:lnTo>
                  <a:lnTo>
                    <a:pt x="10" y="0"/>
                  </a:lnTo>
                  <a:lnTo>
                    <a:pt x="11" y="0"/>
                  </a:lnTo>
                  <a:lnTo>
                    <a:pt x="14" y="2"/>
                  </a:lnTo>
                  <a:lnTo>
                    <a:pt x="15" y="5"/>
                  </a:lnTo>
                  <a:lnTo>
                    <a:pt x="15"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69" name="Freeform 168"/>
            <p:cNvSpPr>
              <a:spLocks/>
            </p:cNvSpPr>
            <p:nvPr/>
          </p:nvSpPr>
          <p:spPr bwMode="auto">
            <a:xfrm>
              <a:off x="8283576" y="4635504"/>
              <a:ext cx="12700" cy="17463"/>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0 w 9"/>
                <a:gd name="T11" fmla="*/ 2147483647 h 11"/>
                <a:gd name="T12" fmla="*/ 0 w 9"/>
                <a:gd name="T13" fmla="*/ 2147483647 h 11"/>
                <a:gd name="T14" fmla="*/ 0 w 9"/>
                <a:gd name="T15" fmla="*/ 2147483647 h 11"/>
                <a:gd name="T16" fmla="*/ 2147483647 w 9"/>
                <a:gd name="T17" fmla="*/ 2147483647 h 11"/>
                <a:gd name="T18" fmla="*/ 2147483647 w 9"/>
                <a:gd name="T19" fmla="*/ 2147483647 h 11"/>
                <a:gd name="T20" fmla="*/ 2147483647 w 9"/>
                <a:gd name="T21" fmla="*/ 0 h 11"/>
                <a:gd name="T22" fmla="*/ 2147483647 w 9"/>
                <a:gd name="T23" fmla="*/ 0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11"/>
                <a:gd name="T53" fmla="*/ 9 w 9"/>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11">
                  <a:moveTo>
                    <a:pt x="8" y="10"/>
                  </a:moveTo>
                  <a:lnTo>
                    <a:pt x="8" y="10"/>
                  </a:lnTo>
                  <a:lnTo>
                    <a:pt x="5" y="11"/>
                  </a:lnTo>
                  <a:lnTo>
                    <a:pt x="4" y="11"/>
                  </a:lnTo>
                  <a:lnTo>
                    <a:pt x="2" y="10"/>
                  </a:lnTo>
                  <a:lnTo>
                    <a:pt x="0" y="8"/>
                  </a:lnTo>
                  <a:lnTo>
                    <a:pt x="0" y="4"/>
                  </a:lnTo>
                  <a:lnTo>
                    <a:pt x="0" y="2"/>
                  </a:lnTo>
                  <a:lnTo>
                    <a:pt x="2" y="1"/>
                  </a:lnTo>
                  <a:lnTo>
                    <a:pt x="3" y="0"/>
                  </a:lnTo>
                  <a:lnTo>
                    <a:pt x="5" y="0"/>
                  </a:lnTo>
                  <a:lnTo>
                    <a:pt x="8" y="2"/>
                  </a:lnTo>
                  <a:lnTo>
                    <a:pt x="9" y="6"/>
                  </a:lnTo>
                  <a:lnTo>
                    <a:pt x="9" y="7"/>
                  </a:lnTo>
                  <a:lnTo>
                    <a:pt x="8"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0" name="Freeform 169"/>
            <p:cNvSpPr>
              <a:spLocks/>
            </p:cNvSpPr>
            <p:nvPr/>
          </p:nvSpPr>
          <p:spPr bwMode="auto">
            <a:xfrm>
              <a:off x="8304213" y="4652963"/>
              <a:ext cx="25400" cy="23812"/>
            </a:xfrm>
            <a:custGeom>
              <a:avLst/>
              <a:gdLst>
                <a:gd name="T0" fmla="*/ 2147483647 w 17"/>
                <a:gd name="T1" fmla="*/ 2147483647 h 15"/>
                <a:gd name="T2" fmla="*/ 2147483647 w 17"/>
                <a:gd name="T3" fmla="*/ 2147483647 h 15"/>
                <a:gd name="T4" fmla="*/ 2147483647 w 17"/>
                <a:gd name="T5" fmla="*/ 2147483647 h 15"/>
                <a:gd name="T6" fmla="*/ 2147483647 w 17"/>
                <a:gd name="T7" fmla="*/ 2147483647 h 15"/>
                <a:gd name="T8" fmla="*/ 2147483647 w 17"/>
                <a:gd name="T9" fmla="*/ 2147483647 h 15"/>
                <a:gd name="T10" fmla="*/ 2147483647 w 17"/>
                <a:gd name="T11" fmla="*/ 2147483647 h 15"/>
                <a:gd name="T12" fmla="*/ 2147483647 w 17"/>
                <a:gd name="T13" fmla="*/ 2147483647 h 15"/>
                <a:gd name="T14" fmla="*/ 2147483647 w 17"/>
                <a:gd name="T15" fmla="*/ 2147483647 h 15"/>
                <a:gd name="T16" fmla="*/ 2147483647 w 17"/>
                <a:gd name="T17" fmla="*/ 2147483647 h 15"/>
                <a:gd name="T18" fmla="*/ 0 w 17"/>
                <a:gd name="T19" fmla="*/ 2147483647 h 15"/>
                <a:gd name="T20" fmla="*/ 0 w 17"/>
                <a:gd name="T21" fmla="*/ 2147483647 h 15"/>
                <a:gd name="T22" fmla="*/ 0 w 17"/>
                <a:gd name="T23" fmla="*/ 2147483647 h 15"/>
                <a:gd name="T24" fmla="*/ 0 w 17"/>
                <a:gd name="T25" fmla="*/ 2147483647 h 15"/>
                <a:gd name="T26" fmla="*/ 2147483647 w 17"/>
                <a:gd name="T27" fmla="*/ 2147483647 h 15"/>
                <a:gd name="T28" fmla="*/ 2147483647 w 17"/>
                <a:gd name="T29" fmla="*/ 0 h 15"/>
                <a:gd name="T30" fmla="*/ 2147483647 w 17"/>
                <a:gd name="T31" fmla="*/ 0 h 15"/>
                <a:gd name="T32" fmla="*/ 2147483647 w 17"/>
                <a:gd name="T33" fmla="*/ 0 h 15"/>
                <a:gd name="T34" fmla="*/ 2147483647 w 17"/>
                <a:gd name="T35" fmla="*/ 0 h 15"/>
                <a:gd name="T36" fmla="*/ 2147483647 w 17"/>
                <a:gd name="T37" fmla="*/ 2147483647 h 15"/>
                <a:gd name="T38" fmla="*/ 2147483647 w 17"/>
                <a:gd name="T39" fmla="*/ 2147483647 h 15"/>
                <a:gd name="T40" fmla="*/ 2147483647 w 17"/>
                <a:gd name="T41" fmla="*/ 2147483647 h 15"/>
                <a:gd name="T42" fmla="*/ 2147483647 w 17"/>
                <a:gd name="T43" fmla="*/ 2147483647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15"/>
                <a:gd name="T68" fmla="*/ 17 w 17"/>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15">
                  <a:moveTo>
                    <a:pt x="16" y="8"/>
                  </a:moveTo>
                  <a:lnTo>
                    <a:pt x="16" y="8"/>
                  </a:lnTo>
                  <a:lnTo>
                    <a:pt x="17" y="13"/>
                  </a:lnTo>
                  <a:lnTo>
                    <a:pt x="17" y="14"/>
                  </a:lnTo>
                  <a:lnTo>
                    <a:pt x="16" y="15"/>
                  </a:lnTo>
                  <a:lnTo>
                    <a:pt x="10" y="15"/>
                  </a:lnTo>
                  <a:lnTo>
                    <a:pt x="5" y="14"/>
                  </a:lnTo>
                  <a:lnTo>
                    <a:pt x="2" y="12"/>
                  </a:lnTo>
                  <a:lnTo>
                    <a:pt x="0" y="10"/>
                  </a:lnTo>
                  <a:lnTo>
                    <a:pt x="0" y="8"/>
                  </a:lnTo>
                  <a:lnTo>
                    <a:pt x="0" y="6"/>
                  </a:lnTo>
                  <a:lnTo>
                    <a:pt x="3" y="3"/>
                  </a:lnTo>
                  <a:lnTo>
                    <a:pt x="9" y="0"/>
                  </a:lnTo>
                  <a:lnTo>
                    <a:pt x="10" y="0"/>
                  </a:lnTo>
                  <a:lnTo>
                    <a:pt x="12" y="0"/>
                  </a:lnTo>
                  <a:lnTo>
                    <a:pt x="14" y="2"/>
                  </a:lnTo>
                  <a:lnTo>
                    <a:pt x="16" y="4"/>
                  </a:lnTo>
                  <a:lnTo>
                    <a:pt x="1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1" name="Freeform 170"/>
            <p:cNvSpPr>
              <a:spLocks/>
            </p:cNvSpPr>
            <p:nvPr/>
          </p:nvSpPr>
          <p:spPr bwMode="auto">
            <a:xfrm>
              <a:off x="8342314" y="4643439"/>
              <a:ext cx="28574" cy="33337"/>
            </a:xfrm>
            <a:custGeom>
              <a:avLst/>
              <a:gdLst>
                <a:gd name="T0" fmla="*/ 2147483647 w 19"/>
                <a:gd name="T1" fmla="*/ 2147483647 h 21"/>
                <a:gd name="T2" fmla="*/ 2147483647 w 19"/>
                <a:gd name="T3" fmla="*/ 2147483647 h 21"/>
                <a:gd name="T4" fmla="*/ 2147483647 w 19"/>
                <a:gd name="T5" fmla="*/ 2147483647 h 21"/>
                <a:gd name="T6" fmla="*/ 2147483647 w 19"/>
                <a:gd name="T7" fmla="*/ 2147483647 h 21"/>
                <a:gd name="T8" fmla="*/ 2147483647 w 19"/>
                <a:gd name="T9" fmla="*/ 2147483647 h 21"/>
                <a:gd name="T10" fmla="*/ 2147483647 w 19"/>
                <a:gd name="T11" fmla="*/ 2147483647 h 21"/>
                <a:gd name="T12" fmla="*/ 2147483647 w 19"/>
                <a:gd name="T13" fmla="*/ 2147483647 h 21"/>
                <a:gd name="T14" fmla="*/ 0 w 19"/>
                <a:gd name="T15" fmla="*/ 2147483647 h 21"/>
                <a:gd name="T16" fmla="*/ 0 w 19"/>
                <a:gd name="T17" fmla="*/ 0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1"/>
                <a:gd name="T41" fmla="*/ 19 w 19"/>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1">
                  <a:moveTo>
                    <a:pt x="19" y="19"/>
                  </a:moveTo>
                  <a:lnTo>
                    <a:pt x="19" y="21"/>
                  </a:lnTo>
                  <a:lnTo>
                    <a:pt x="17" y="21"/>
                  </a:lnTo>
                  <a:lnTo>
                    <a:pt x="16" y="21"/>
                  </a:lnTo>
                  <a:lnTo>
                    <a:pt x="10" y="16"/>
                  </a:lnTo>
                  <a:lnTo>
                    <a:pt x="5" y="12"/>
                  </a:lnTo>
                  <a:lnTo>
                    <a:pt x="1" y="6"/>
                  </a:lnTo>
                  <a:lnTo>
                    <a:pt x="0" y="3"/>
                  </a:lnTo>
                  <a:lnTo>
                    <a:pt x="0" y="0"/>
                  </a:lnTo>
                  <a:lnTo>
                    <a:pt x="6" y="3"/>
                  </a:lnTo>
                  <a:lnTo>
                    <a:pt x="11" y="8"/>
                  </a:lnTo>
                  <a:lnTo>
                    <a:pt x="16" y="13"/>
                  </a:lnTo>
                  <a:lnTo>
                    <a:pt x="19" y="1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2" name="Freeform 171"/>
            <p:cNvSpPr>
              <a:spLocks/>
            </p:cNvSpPr>
            <p:nvPr/>
          </p:nvSpPr>
          <p:spPr bwMode="auto">
            <a:xfrm>
              <a:off x="8396288" y="4664079"/>
              <a:ext cx="30162" cy="42863"/>
            </a:xfrm>
            <a:custGeom>
              <a:avLst/>
              <a:gdLst>
                <a:gd name="T0" fmla="*/ 2147483647 w 20"/>
                <a:gd name="T1" fmla="*/ 2147483647 h 27"/>
                <a:gd name="T2" fmla="*/ 2147483647 w 20"/>
                <a:gd name="T3" fmla="*/ 2147483647 h 27"/>
                <a:gd name="T4" fmla="*/ 2147483647 w 20"/>
                <a:gd name="T5" fmla="*/ 2147483647 h 27"/>
                <a:gd name="T6" fmla="*/ 2147483647 w 20"/>
                <a:gd name="T7" fmla="*/ 2147483647 h 27"/>
                <a:gd name="T8" fmla="*/ 2147483647 w 20"/>
                <a:gd name="T9" fmla="*/ 2147483647 h 27"/>
                <a:gd name="T10" fmla="*/ 2147483647 w 20"/>
                <a:gd name="T11" fmla="*/ 2147483647 h 27"/>
                <a:gd name="T12" fmla="*/ 2147483647 w 20"/>
                <a:gd name="T13" fmla="*/ 2147483647 h 27"/>
                <a:gd name="T14" fmla="*/ 2147483647 w 20"/>
                <a:gd name="T15" fmla="*/ 2147483647 h 27"/>
                <a:gd name="T16" fmla="*/ 2147483647 w 20"/>
                <a:gd name="T17" fmla="*/ 2147483647 h 27"/>
                <a:gd name="T18" fmla="*/ 2147483647 w 20"/>
                <a:gd name="T19" fmla="*/ 2147483647 h 27"/>
                <a:gd name="T20" fmla="*/ 2147483647 w 20"/>
                <a:gd name="T21" fmla="*/ 2147483647 h 27"/>
                <a:gd name="T22" fmla="*/ 2147483647 w 20"/>
                <a:gd name="T23" fmla="*/ 2147483647 h 27"/>
                <a:gd name="T24" fmla="*/ 0 w 20"/>
                <a:gd name="T25" fmla="*/ 2147483647 h 27"/>
                <a:gd name="T26" fmla="*/ 2147483647 w 20"/>
                <a:gd name="T27" fmla="*/ 2147483647 h 27"/>
                <a:gd name="T28" fmla="*/ 2147483647 w 20"/>
                <a:gd name="T29" fmla="*/ 0 h 27"/>
                <a:gd name="T30" fmla="*/ 2147483647 w 20"/>
                <a:gd name="T31" fmla="*/ 0 h 27"/>
                <a:gd name="T32" fmla="*/ 2147483647 w 20"/>
                <a:gd name="T33" fmla="*/ 0 h 27"/>
                <a:gd name="T34" fmla="*/ 2147483647 w 20"/>
                <a:gd name="T35" fmla="*/ 2147483647 h 27"/>
                <a:gd name="T36" fmla="*/ 2147483647 w 20"/>
                <a:gd name="T37" fmla="*/ 2147483647 h 27"/>
                <a:gd name="T38" fmla="*/ 2147483647 w 20"/>
                <a:gd name="T39" fmla="*/ 2147483647 h 27"/>
                <a:gd name="T40" fmla="*/ 2147483647 w 20"/>
                <a:gd name="T41" fmla="*/ 2147483647 h 27"/>
                <a:gd name="T42" fmla="*/ 2147483647 w 20"/>
                <a:gd name="T43" fmla="*/ 2147483647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27"/>
                <a:gd name="T68" fmla="*/ 20 w 20"/>
                <a:gd name="T69" fmla="*/ 27 h 2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27">
                  <a:moveTo>
                    <a:pt x="17" y="18"/>
                  </a:moveTo>
                  <a:lnTo>
                    <a:pt x="20" y="21"/>
                  </a:lnTo>
                  <a:lnTo>
                    <a:pt x="20" y="22"/>
                  </a:lnTo>
                  <a:lnTo>
                    <a:pt x="20" y="24"/>
                  </a:lnTo>
                  <a:lnTo>
                    <a:pt x="17" y="26"/>
                  </a:lnTo>
                  <a:lnTo>
                    <a:pt x="15" y="27"/>
                  </a:lnTo>
                  <a:lnTo>
                    <a:pt x="12" y="27"/>
                  </a:lnTo>
                  <a:lnTo>
                    <a:pt x="10" y="25"/>
                  </a:lnTo>
                  <a:lnTo>
                    <a:pt x="5" y="20"/>
                  </a:lnTo>
                  <a:lnTo>
                    <a:pt x="3" y="15"/>
                  </a:lnTo>
                  <a:lnTo>
                    <a:pt x="1" y="9"/>
                  </a:lnTo>
                  <a:lnTo>
                    <a:pt x="1" y="6"/>
                  </a:lnTo>
                  <a:lnTo>
                    <a:pt x="0" y="2"/>
                  </a:lnTo>
                  <a:lnTo>
                    <a:pt x="1" y="1"/>
                  </a:lnTo>
                  <a:lnTo>
                    <a:pt x="2" y="0"/>
                  </a:lnTo>
                  <a:lnTo>
                    <a:pt x="3" y="0"/>
                  </a:lnTo>
                  <a:lnTo>
                    <a:pt x="5" y="0"/>
                  </a:lnTo>
                  <a:lnTo>
                    <a:pt x="8" y="3"/>
                  </a:lnTo>
                  <a:lnTo>
                    <a:pt x="11" y="7"/>
                  </a:lnTo>
                  <a:lnTo>
                    <a:pt x="13" y="14"/>
                  </a:lnTo>
                  <a:lnTo>
                    <a:pt x="15" y="15"/>
                  </a:lnTo>
                  <a:lnTo>
                    <a:pt x="17" y="1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3" name="Freeform 172"/>
            <p:cNvSpPr>
              <a:spLocks/>
            </p:cNvSpPr>
            <p:nvPr/>
          </p:nvSpPr>
          <p:spPr bwMode="auto">
            <a:xfrm>
              <a:off x="8339139" y="4641850"/>
              <a:ext cx="28574" cy="33338"/>
            </a:xfrm>
            <a:custGeom>
              <a:avLst/>
              <a:gdLst>
                <a:gd name="T0" fmla="*/ 2147483647 w 19"/>
                <a:gd name="T1" fmla="*/ 2147483647 h 21"/>
                <a:gd name="T2" fmla="*/ 2147483647 w 19"/>
                <a:gd name="T3" fmla="*/ 2147483647 h 21"/>
                <a:gd name="T4" fmla="*/ 2147483647 w 19"/>
                <a:gd name="T5" fmla="*/ 2147483647 h 21"/>
                <a:gd name="T6" fmla="*/ 2147483647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2147483647 h 21"/>
                <a:gd name="T16" fmla="*/ 2147483647 w 19"/>
                <a:gd name="T17" fmla="*/ 2147483647 h 21"/>
                <a:gd name="T18" fmla="*/ 0 w 19"/>
                <a:gd name="T19" fmla="*/ 2147483647 h 21"/>
                <a:gd name="T20" fmla="*/ 0 w 19"/>
                <a:gd name="T21" fmla="*/ 0 h 21"/>
                <a:gd name="T22" fmla="*/ 0 w 19"/>
                <a:gd name="T23" fmla="*/ 0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2147483647 w 19"/>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1"/>
                <a:gd name="T53" fmla="*/ 19 w 19"/>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1">
                  <a:moveTo>
                    <a:pt x="19" y="19"/>
                  </a:moveTo>
                  <a:lnTo>
                    <a:pt x="19" y="19"/>
                  </a:lnTo>
                  <a:lnTo>
                    <a:pt x="19" y="21"/>
                  </a:lnTo>
                  <a:lnTo>
                    <a:pt x="18" y="21"/>
                  </a:lnTo>
                  <a:lnTo>
                    <a:pt x="17" y="21"/>
                  </a:lnTo>
                  <a:lnTo>
                    <a:pt x="11" y="16"/>
                  </a:lnTo>
                  <a:lnTo>
                    <a:pt x="6" y="11"/>
                  </a:lnTo>
                  <a:lnTo>
                    <a:pt x="2" y="6"/>
                  </a:lnTo>
                  <a:lnTo>
                    <a:pt x="0" y="3"/>
                  </a:lnTo>
                  <a:lnTo>
                    <a:pt x="0" y="0"/>
                  </a:lnTo>
                  <a:lnTo>
                    <a:pt x="7" y="3"/>
                  </a:lnTo>
                  <a:lnTo>
                    <a:pt x="12" y="8"/>
                  </a:lnTo>
                  <a:lnTo>
                    <a:pt x="17" y="13"/>
                  </a:lnTo>
                  <a:lnTo>
                    <a:pt x="19" y="1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4" name="Freeform 173"/>
            <p:cNvSpPr>
              <a:spLocks/>
            </p:cNvSpPr>
            <p:nvPr/>
          </p:nvSpPr>
          <p:spPr bwMode="auto">
            <a:xfrm>
              <a:off x="8393113" y="4662489"/>
              <a:ext cx="31750" cy="42862"/>
            </a:xfrm>
            <a:custGeom>
              <a:avLst/>
              <a:gdLst>
                <a:gd name="T0" fmla="*/ 2147483647 w 21"/>
                <a:gd name="T1" fmla="*/ 2147483647 h 27"/>
                <a:gd name="T2" fmla="*/ 2147483647 w 21"/>
                <a:gd name="T3" fmla="*/ 2147483647 h 27"/>
                <a:gd name="T4" fmla="*/ 2147483647 w 21"/>
                <a:gd name="T5" fmla="*/ 2147483647 h 27"/>
                <a:gd name="T6" fmla="*/ 2147483647 w 21"/>
                <a:gd name="T7" fmla="*/ 2147483647 h 27"/>
                <a:gd name="T8" fmla="*/ 2147483647 w 21"/>
                <a:gd name="T9" fmla="*/ 2147483647 h 27"/>
                <a:gd name="T10" fmla="*/ 2147483647 w 21"/>
                <a:gd name="T11" fmla="*/ 2147483647 h 27"/>
                <a:gd name="T12" fmla="*/ 2147483647 w 21"/>
                <a:gd name="T13" fmla="*/ 2147483647 h 27"/>
                <a:gd name="T14" fmla="*/ 2147483647 w 21"/>
                <a:gd name="T15" fmla="*/ 2147483647 h 27"/>
                <a:gd name="T16" fmla="*/ 2147483647 w 21"/>
                <a:gd name="T17" fmla="*/ 2147483647 h 27"/>
                <a:gd name="T18" fmla="*/ 2147483647 w 21"/>
                <a:gd name="T19" fmla="*/ 2147483647 h 27"/>
                <a:gd name="T20" fmla="*/ 2147483647 w 21"/>
                <a:gd name="T21" fmla="*/ 2147483647 h 27"/>
                <a:gd name="T22" fmla="*/ 2147483647 w 21"/>
                <a:gd name="T23" fmla="*/ 2147483647 h 27"/>
                <a:gd name="T24" fmla="*/ 2147483647 w 21"/>
                <a:gd name="T25" fmla="*/ 2147483647 h 27"/>
                <a:gd name="T26" fmla="*/ 2147483647 w 21"/>
                <a:gd name="T27" fmla="*/ 2147483647 h 27"/>
                <a:gd name="T28" fmla="*/ 2147483647 w 21"/>
                <a:gd name="T29" fmla="*/ 2147483647 h 27"/>
                <a:gd name="T30" fmla="*/ 0 w 21"/>
                <a:gd name="T31" fmla="*/ 2147483647 h 27"/>
                <a:gd name="T32" fmla="*/ 0 w 21"/>
                <a:gd name="T33" fmla="*/ 2147483647 h 27"/>
                <a:gd name="T34" fmla="*/ 2147483647 w 21"/>
                <a:gd name="T35" fmla="*/ 2147483647 h 27"/>
                <a:gd name="T36" fmla="*/ 2147483647 w 21"/>
                <a:gd name="T37" fmla="*/ 0 h 27"/>
                <a:gd name="T38" fmla="*/ 2147483647 w 21"/>
                <a:gd name="T39" fmla="*/ 0 h 27"/>
                <a:gd name="T40" fmla="*/ 2147483647 w 21"/>
                <a:gd name="T41" fmla="*/ 0 h 27"/>
                <a:gd name="T42" fmla="*/ 2147483647 w 21"/>
                <a:gd name="T43" fmla="*/ 0 h 27"/>
                <a:gd name="T44" fmla="*/ 2147483647 w 21"/>
                <a:gd name="T45" fmla="*/ 2147483647 h 27"/>
                <a:gd name="T46" fmla="*/ 2147483647 w 21"/>
                <a:gd name="T47" fmla="*/ 2147483647 h 27"/>
                <a:gd name="T48" fmla="*/ 2147483647 w 21"/>
                <a:gd name="T49" fmla="*/ 2147483647 h 27"/>
                <a:gd name="T50" fmla="*/ 2147483647 w 21"/>
                <a:gd name="T51" fmla="*/ 2147483647 h 27"/>
                <a:gd name="T52" fmla="*/ 2147483647 w 21"/>
                <a:gd name="T53" fmla="*/ 2147483647 h 27"/>
                <a:gd name="T54" fmla="*/ 2147483647 w 21"/>
                <a:gd name="T55" fmla="*/ 2147483647 h 27"/>
                <a:gd name="T56" fmla="*/ 2147483647 w 21"/>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27"/>
                <a:gd name="T89" fmla="*/ 21 w 21"/>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27">
                  <a:moveTo>
                    <a:pt x="18" y="17"/>
                  </a:moveTo>
                  <a:lnTo>
                    <a:pt x="18" y="17"/>
                  </a:lnTo>
                  <a:lnTo>
                    <a:pt x="21" y="21"/>
                  </a:lnTo>
                  <a:lnTo>
                    <a:pt x="21" y="22"/>
                  </a:lnTo>
                  <a:lnTo>
                    <a:pt x="21" y="23"/>
                  </a:lnTo>
                  <a:lnTo>
                    <a:pt x="18" y="26"/>
                  </a:lnTo>
                  <a:lnTo>
                    <a:pt x="15" y="27"/>
                  </a:lnTo>
                  <a:lnTo>
                    <a:pt x="13" y="27"/>
                  </a:lnTo>
                  <a:lnTo>
                    <a:pt x="10" y="25"/>
                  </a:lnTo>
                  <a:lnTo>
                    <a:pt x="5" y="20"/>
                  </a:lnTo>
                  <a:lnTo>
                    <a:pt x="4" y="15"/>
                  </a:lnTo>
                  <a:lnTo>
                    <a:pt x="2" y="9"/>
                  </a:lnTo>
                  <a:lnTo>
                    <a:pt x="2" y="6"/>
                  </a:lnTo>
                  <a:lnTo>
                    <a:pt x="0" y="2"/>
                  </a:lnTo>
                  <a:lnTo>
                    <a:pt x="2" y="1"/>
                  </a:lnTo>
                  <a:lnTo>
                    <a:pt x="3" y="0"/>
                  </a:lnTo>
                  <a:lnTo>
                    <a:pt x="4" y="0"/>
                  </a:lnTo>
                  <a:lnTo>
                    <a:pt x="5" y="0"/>
                  </a:lnTo>
                  <a:lnTo>
                    <a:pt x="9" y="3"/>
                  </a:lnTo>
                  <a:lnTo>
                    <a:pt x="12" y="7"/>
                  </a:lnTo>
                  <a:lnTo>
                    <a:pt x="14" y="14"/>
                  </a:lnTo>
                  <a:lnTo>
                    <a:pt x="15" y="15"/>
                  </a:lnTo>
                  <a:lnTo>
                    <a:pt x="18"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5" name="Freeform 174"/>
            <p:cNvSpPr>
              <a:spLocks/>
            </p:cNvSpPr>
            <p:nvPr/>
          </p:nvSpPr>
          <p:spPr bwMode="auto">
            <a:xfrm>
              <a:off x="8366126" y="4692654"/>
              <a:ext cx="34925" cy="23813"/>
            </a:xfrm>
            <a:custGeom>
              <a:avLst/>
              <a:gdLst>
                <a:gd name="T0" fmla="*/ 2147483647 w 24"/>
                <a:gd name="T1" fmla="*/ 2147483647 h 15"/>
                <a:gd name="T2" fmla="*/ 2147483647 w 24"/>
                <a:gd name="T3" fmla="*/ 2147483647 h 15"/>
                <a:gd name="T4" fmla="*/ 2147483647 w 24"/>
                <a:gd name="T5" fmla="*/ 2147483647 h 15"/>
                <a:gd name="T6" fmla="*/ 2147483647 w 24"/>
                <a:gd name="T7" fmla="*/ 2147483647 h 15"/>
                <a:gd name="T8" fmla="*/ 2147483647 w 24"/>
                <a:gd name="T9" fmla="*/ 2147483647 h 15"/>
                <a:gd name="T10" fmla="*/ 2147483647 w 24"/>
                <a:gd name="T11" fmla="*/ 2147483647 h 15"/>
                <a:gd name="T12" fmla="*/ 2147483647 w 24"/>
                <a:gd name="T13" fmla="*/ 2147483647 h 15"/>
                <a:gd name="T14" fmla="*/ 2147483647 w 24"/>
                <a:gd name="T15" fmla="*/ 2147483647 h 15"/>
                <a:gd name="T16" fmla="*/ 0 w 24"/>
                <a:gd name="T17" fmla="*/ 2147483647 h 15"/>
                <a:gd name="T18" fmla="*/ 0 w 24"/>
                <a:gd name="T19" fmla="*/ 2147483647 h 15"/>
                <a:gd name="T20" fmla="*/ 2147483647 w 24"/>
                <a:gd name="T21" fmla="*/ 0 h 15"/>
                <a:gd name="T22" fmla="*/ 2147483647 w 24"/>
                <a:gd name="T23" fmla="*/ 0 h 15"/>
                <a:gd name="T24" fmla="*/ 2147483647 w 24"/>
                <a:gd name="T25" fmla="*/ 2147483647 h 15"/>
                <a:gd name="T26" fmla="*/ 2147483647 w 24"/>
                <a:gd name="T27" fmla="*/ 2147483647 h 15"/>
                <a:gd name="T28" fmla="*/ 2147483647 w 24"/>
                <a:gd name="T29" fmla="*/ 2147483647 h 15"/>
                <a:gd name="T30" fmla="*/ 2147483647 w 24"/>
                <a:gd name="T31" fmla="*/ 2147483647 h 15"/>
                <a:gd name="T32" fmla="*/ 2147483647 w 2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5"/>
                <a:gd name="T53" fmla="*/ 24 w 2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5">
                  <a:moveTo>
                    <a:pt x="24" y="11"/>
                  </a:moveTo>
                  <a:lnTo>
                    <a:pt x="24" y="14"/>
                  </a:lnTo>
                  <a:lnTo>
                    <a:pt x="23" y="15"/>
                  </a:lnTo>
                  <a:lnTo>
                    <a:pt x="18" y="13"/>
                  </a:lnTo>
                  <a:lnTo>
                    <a:pt x="14" y="10"/>
                  </a:lnTo>
                  <a:lnTo>
                    <a:pt x="9" y="8"/>
                  </a:lnTo>
                  <a:lnTo>
                    <a:pt x="4" y="8"/>
                  </a:lnTo>
                  <a:lnTo>
                    <a:pt x="1" y="7"/>
                  </a:lnTo>
                  <a:lnTo>
                    <a:pt x="0" y="4"/>
                  </a:lnTo>
                  <a:lnTo>
                    <a:pt x="0" y="1"/>
                  </a:lnTo>
                  <a:lnTo>
                    <a:pt x="1" y="0"/>
                  </a:lnTo>
                  <a:lnTo>
                    <a:pt x="9" y="0"/>
                  </a:lnTo>
                  <a:lnTo>
                    <a:pt x="15" y="1"/>
                  </a:lnTo>
                  <a:lnTo>
                    <a:pt x="19" y="3"/>
                  </a:lnTo>
                  <a:lnTo>
                    <a:pt x="22" y="4"/>
                  </a:lnTo>
                  <a:lnTo>
                    <a:pt x="23" y="8"/>
                  </a:lnTo>
                  <a:lnTo>
                    <a:pt x="24"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6" name="Freeform 175"/>
            <p:cNvSpPr>
              <a:spLocks/>
            </p:cNvSpPr>
            <p:nvPr/>
          </p:nvSpPr>
          <p:spPr bwMode="auto">
            <a:xfrm>
              <a:off x="8410575" y="4718050"/>
              <a:ext cx="38100" cy="28575"/>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2147483647 w 26"/>
                <a:gd name="T15" fmla="*/ 2147483647 h 18"/>
                <a:gd name="T16" fmla="*/ 2147483647 w 26"/>
                <a:gd name="T17" fmla="*/ 2147483647 h 18"/>
                <a:gd name="T18" fmla="*/ 2147483647 w 26"/>
                <a:gd name="T19" fmla="*/ 2147483647 h 18"/>
                <a:gd name="T20" fmla="*/ 0 w 26"/>
                <a:gd name="T21" fmla="*/ 2147483647 h 18"/>
                <a:gd name="T22" fmla="*/ 0 w 26"/>
                <a:gd name="T23" fmla="*/ 2147483647 h 18"/>
                <a:gd name="T24" fmla="*/ 2147483647 w 26"/>
                <a:gd name="T25" fmla="*/ 2147483647 h 18"/>
                <a:gd name="T26" fmla="*/ 2147483647 w 26"/>
                <a:gd name="T27" fmla="*/ 0 h 18"/>
                <a:gd name="T28" fmla="*/ 2147483647 w 26"/>
                <a:gd name="T29" fmla="*/ 0 h 18"/>
                <a:gd name="T30" fmla="*/ 2147483647 w 26"/>
                <a:gd name="T31" fmla="*/ 0 h 18"/>
                <a:gd name="T32" fmla="*/ 2147483647 w 26"/>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18"/>
                <a:gd name="T53" fmla="*/ 26 w 26"/>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18">
                  <a:moveTo>
                    <a:pt x="20" y="6"/>
                  </a:moveTo>
                  <a:lnTo>
                    <a:pt x="24" y="8"/>
                  </a:lnTo>
                  <a:lnTo>
                    <a:pt x="25" y="13"/>
                  </a:lnTo>
                  <a:lnTo>
                    <a:pt x="26" y="14"/>
                  </a:lnTo>
                  <a:lnTo>
                    <a:pt x="25" y="17"/>
                  </a:lnTo>
                  <a:lnTo>
                    <a:pt x="24" y="18"/>
                  </a:lnTo>
                  <a:lnTo>
                    <a:pt x="21" y="18"/>
                  </a:lnTo>
                  <a:lnTo>
                    <a:pt x="15" y="16"/>
                  </a:lnTo>
                  <a:lnTo>
                    <a:pt x="7" y="12"/>
                  </a:lnTo>
                  <a:lnTo>
                    <a:pt x="1" y="7"/>
                  </a:lnTo>
                  <a:lnTo>
                    <a:pt x="0" y="5"/>
                  </a:lnTo>
                  <a:lnTo>
                    <a:pt x="0" y="4"/>
                  </a:lnTo>
                  <a:lnTo>
                    <a:pt x="1" y="1"/>
                  </a:lnTo>
                  <a:lnTo>
                    <a:pt x="2" y="0"/>
                  </a:lnTo>
                  <a:lnTo>
                    <a:pt x="5" y="0"/>
                  </a:lnTo>
                  <a:lnTo>
                    <a:pt x="9" y="0"/>
                  </a:lnTo>
                  <a:lnTo>
                    <a:pt x="2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7" name="Freeform 176"/>
            <p:cNvSpPr>
              <a:spLocks/>
            </p:cNvSpPr>
            <p:nvPr/>
          </p:nvSpPr>
          <p:spPr bwMode="auto">
            <a:xfrm>
              <a:off x="8364538" y="4689475"/>
              <a:ext cx="34925" cy="25400"/>
            </a:xfrm>
            <a:custGeom>
              <a:avLst/>
              <a:gdLst>
                <a:gd name="T0" fmla="*/ 2147483647 w 24"/>
                <a:gd name="T1" fmla="*/ 2147483647 h 16"/>
                <a:gd name="T2" fmla="*/ 2147483647 w 24"/>
                <a:gd name="T3" fmla="*/ 2147483647 h 16"/>
                <a:gd name="T4" fmla="*/ 2147483647 w 24"/>
                <a:gd name="T5" fmla="*/ 2147483647 h 16"/>
                <a:gd name="T6" fmla="*/ 2147483647 w 24"/>
                <a:gd name="T7" fmla="*/ 2147483647 h 16"/>
                <a:gd name="T8" fmla="*/ 2147483647 w 24"/>
                <a:gd name="T9" fmla="*/ 2147483647 h 16"/>
                <a:gd name="T10" fmla="*/ 2147483647 w 24"/>
                <a:gd name="T11" fmla="*/ 2147483647 h 16"/>
                <a:gd name="T12" fmla="*/ 2147483647 w 24"/>
                <a:gd name="T13" fmla="*/ 2147483647 h 16"/>
                <a:gd name="T14" fmla="*/ 2147483647 w 24"/>
                <a:gd name="T15" fmla="*/ 2147483647 h 16"/>
                <a:gd name="T16" fmla="*/ 2147483647 w 24"/>
                <a:gd name="T17" fmla="*/ 2147483647 h 16"/>
                <a:gd name="T18" fmla="*/ 2147483647 w 24"/>
                <a:gd name="T19" fmla="*/ 2147483647 h 16"/>
                <a:gd name="T20" fmla="*/ 2147483647 w 24"/>
                <a:gd name="T21" fmla="*/ 2147483647 h 16"/>
                <a:gd name="T22" fmla="*/ 0 w 24"/>
                <a:gd name="T23" fmla="*/ 2147483647 h 16"/>
                <a:gd name="T24" fmla="*/ 0 w 24"/>
                <a:gd name="T25" fmla="*/ 2147483647 h 16"/>
                <a:gd name="T26" fmla="*/ 0 w 24"/>
                <a:gd name="T27" fmla="*/ 2147483647 h 16"/>
                <a:gd name="T28" fmla="*/ 2147483647 w 24"/>
                <a:gd name="T29" fmla="*/ 0 h 16"/>
                <a:gd name="T30" fmla="*/ 2147483647 w 24"/>
                <a:gd name="T31" fmla="*/ 0 h 16"/>
                <a:gd name="T32" fmla="*/ 2147483647 w 24"/>
                <a:gd name="T33" fmla="*/ 0 h 16"/>
                <a:gd name="T34" fmla="*/ 2147483647 w 24"/>
                <a:gd name="T35" fmla="*/ 2147483647 h 16"/>
                <a:gd name="T36" fmla="*/ 2147483647 w 24"/>
                <a:gd name="T37" fmla="*/ 2147483647 h 16"/>
                <a:gd name="T38" fmla="*/ 2147483647 w 24"/>
                <a:gd name="T39" fmla="*/ 2147483647 h 16"/>
                <a:gd name="T40" fmla="*/ 2147483647 w 24"/>
                <a:gd name="T41" fmla="*/ 2147483647 h 16"/>
                <a:gd name="T42" fmla="*/ 2147483647 w 24"/>
                <a:gd name="T43" fmla="*/ 2147483647 h 16"/>
                <a:gd name="T44" fmla="*/ 2147483647 w 24"/>
                <a:gd name="T45" fmla="*/ 2147483647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
                <a:gd name="T70" fmla="*/ 0 h 16"/>
                <a:gd name="T71" fmla="*/ 24 w 24"/>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 h="16">
                  <a:moveTo>
                    <a:pt x="24" y="12"/>
                  </a:moveTo>
                  <a:lnTo>
                    <a:pt x="24" y="12"/>
                  </a:lnTo>
                  <a:lnTo>
                    <a:pt x="24" y="15"/>
                  </a:lnTo>
                  <a:lnTo>
                    <a:pt x="23" y="16"/>
                  </a:lnTo>
                  <a:lnTo>
                    <a:pt x="18" y="13"/>
                  </a:lnTo>
                  <a:lnTo>
                    <a:pt x="14" y="11"/>
                  </a:lnTo>
                  <a:lnTo>
                    <a:pt x="9" y="9"/>
                  </a:lnTo>
                  <a:lnTo>
                    <a:pt x="4" y="9"/>
                  </a:lnTo>
                  <a:lnTo>
                    <a:pt x="1" y="8"/>
                  </a:lnTo>
                  <a:lnTo>
                    <a:pt x="0" y="5"/>
                  </a:lnTo>
                  <a:lnTo>
                    <a:pt x="0" y="2"/>
                  </a:lnTo>
                  <a:lnTo>
                    <a:pt x="1" y="0"/>
                  </a:lnTo>
                  <a:lnTo>
                    <a:pt x="9" y="0"/>
                  </a:lnTo>
                  <a:lnTo>
                    <a:pt x="15" y="2"/>
                  </a:lnTo>
                  <a:lnTo>
                    <a:pt x="19" y="4"/>
                  </a:lnTo>
                  <a:lnTo>
                    <a:pt x="22" y="5"/>
                  </a:lnTo>
                  <a:lnTo>
                    <a:pt x="23" y="9"/>
                  </a:lnTo>
                  <a:lnTo>
                    <a:pt x="2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8" name="Freeform 177"/>
            <p:cNvSpPr>
              <a:spLocks/>
            </p:cNvSpPr>
            <p:nvPr/>
          </p:nvSpPr>
          <p:spPr bwMode="auto">
            <a:xfrm>
              <a:off x="8408990" y="4716466"/>
              <a:ext cx="39687" cy="28575"/>
            </a:xfrm>
            <a:custGeom>
              <a:avLst/>
              <a:gdLst>
                <a:gd name="T0" fmla="*/ 2147483647 w 27"/>
                <a:gd name="T1" fmla="*/ 2147483647 h 18"/>
                <a:gd name="T2" fmla="*/ 2147483647 w 27"/>
                <a:gd name="T3" fmla="*/ 2147483647 h 18"/>
                <a:gd name="T4" fmla="*/ 2147483647 w 27"/>
                <a:gd name="T5" fmla="*/ 2147483647 h 18"/>
                <a:gd name="T6" fmla="*/ 2147483647 w 27"/>
                <a:gd name="T7" fmla="*/ 2147483647 h 18"/>
                <a:gd name="T8" fmla="*/ 2147483647 w 27"/>
                <a:gd name="T9" fmla="*/ 2147483647 h 18"/>
                <a:gd name="T10" fmla="*/ 2147483647 w 27"/>
                <a:gd name="T11" fmla="*/ 2147483647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2147483647 w 27"/>
                <a:gd name="T23" fmla="*/ 2147483647 h 18"/>
                <a:gd name="T24" fmla="*/ 0 w 27"/>
                <a:gd name="T25" fmla="*/ 2147483647 h 18"/>
                <a:gd name="T26" fmla="*/ 0 w 27"/>
                <a:gd name="T27" fmla="*/ 2147483647 h 18"/>
                <a:gd name="T28" fmla="*/ 0 w 27"/>
                <a:gd name="T29" fmla="*/ 2147483647 h 18"/>
                <a:gd name="T30" fmla="*/ 2147483647 w 27"/>
                <a:gd name="T31" fmla="*/ 2147483647 h 18"/>
                <a:gd name="T32" fmla="*/ 2147483647 w 27"/>
                <a:gd name="T33" fmla="*/ 0 h 18"/>
                <a:gd name="T34" fmla="*/ 2147483647 w 27"/>
                <a:gd name="T35" fmla="*/ 0 h 18"/>
                <a:gd name="T36" fmla="*/ 2147483647 w 27"/>
                <a:gd name="T37" fmla="*/ 0 h 18"/>
                <a:gd name="T38" fmla="*/ 2147483647 w 27"/>
                <a:gd name="T39" fmla="*/ 2147483647 h 18"/>
                <a:gd name="T40" fmla="*/ 2147483647 w 27"/>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8"/>
                <a:gd name="T65" fmla="*/ 27 w 27"/>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8">
                  <a:moveTo>
                    <a:pt x="21" y="6"/>
                  </a:moveTo>
                  <a:lnTo>
                    <a:pt x="21" y="6"/>
                  </a:lnTo>
                  <a:lnTo>
                    <a:pt x="25" y="8"/>
                  </a:lnTo>
                  <a:lnTo>
                    <a:pt x="26" y="13"/>
                  </a:lnTo>
                  <a:lnTo>
                    <a:pt x="27" y="14"/>
                  </a:lnTo>
                  <a:lnTo>
                    <a:pt x="26" y="17"/>
                  </a:lnTo>
                  <a:lnTo>
                    <a:pt x="25" y="18"/>
                  </a:lnTo>
                  <a:lnTo>
                    <a:pt x="22" y="18"/>
                  </a:lnTo>
                  <a:lnTo>
                    <a:pt x="16" y="15"/>
                  </a:lnTo>
                  <a:lnTo>
                    <a:pt x="8" y="12"/>
                  </a:lnTo>
                  <a:lnTo>
                    <a:pt x="2" y="7"/>
                  </a:lnTo>
                  <a:lnTo>
                    <a:pt x="0" y="5"/>
                  </a:lnTo>
                  <a:lnTo>
                    <a:pt x="0" y="4"/>
                  </a:lnTo>
                  <a:lnTo>
                    <a:pt x="2" y="1"/>
                  </a:lnTo>
                  <a:lnTo>
                    <a:pt x="3" y="0"/>
                  </a:lnTo>
                  <a:lnTo>
                    <a:pt x="5" y="0"/>
                  </a:lnTo>
                  <a:lnTo>
                    <a:pt x="9" y="0"/>
                  </a:lnTo>
                  <a:lnTo>
                    <a:pt x="2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79" name="Freeform 178"/>
            <p:cNvSpPr>
              <a:spLocks/>
            </p:cNvSpPr>
            <p:nvPr/>
          </p:nvSpPr>
          <p:spPr bwMode="auto">
            <a:xfrm>
              <a:off x="8553454" y="4710117"/>
              <a:ext cx="11113" cy="7937"/>
            </a:xfrm>
            <a:custGeom>
              <a:avLst/>
              <a:gdLst>
                <a:gd name="T0" fmla="*/ 2147483647 w 8"/>
                <a:gd name="T1" fmla="*/ 0 h 5"/>
                <a:gd name="T2" fmla="*/ 2147483647 w 8"/>
                <a:gd name="T3" fmla="*/ 2147483647 h 5"/>
                <a:gd name="T4" fmla="*/ 2147483647 w 8"/>
                <a:gd name="T5" fmla="*/ 2147483647 h 5"/>
                <a:gd name="T6" fmla="*/ 2147483647 w 8"/>
                <a:gd name="T7" fmla="*/ 2147483647 h 5"/>
                <a:gd name="T8" fmla="*/ 2147483647 w 8"/>
                <a:gd name="T9" fmla="*/ 2147483647 h 5"/>
                <a:gd name="T10" fmla="*/ 0 w 8"/>
                <a:gd name="T11" fmla="*/ 2147483647 h 5"/>
                <a:gd name="T12" fmla="*/ 0 w 8"/>
                <a:gd name="T13" fmla="*/ 2147483647 h 5"/>
                <a:gd name="T14" fmla="*/ 2147483647 w 8"/>
                <a:gd name="T15" fmla="*/ 0 h 5"/>
                <a:gd name="T16" fmla="*/ 2147483647 w 8"/>
                <a:gd name="T17" fmla="*/ 0 h 5"/>
                <a:gd name="T18" fmla="*/ 2147483647 w 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7" y="0"/>
                  </a:moveTo>
                  <a:lnTo>
                    <a:pt x="8" y="2"/>
                  </a:lnTo>
                  <a:lnTo>
                    <a:pt x="8" y="3"/>
                  </a:lnTo>
                  <a:lnTo>
                    <a:pt x="6" y="5"/>
                  </a:lnTo>
                  <a:lnTo>
                    <a:pt x="3" y="5"/>
                  </a:lnTo>
                  <a:lnTo>
                    <a:pt x="0" y="3"/>
                  </a:lnTo>
                  <a:lnTo>
                    <a:pt x="0" y="2"/>
                  </a:lnTo>
                  <a:lnTo>
                    <a:pt x="2" y="0"/>
                  </a:lnTo>
                  <a:lnTo>
                    <a:pt x="4" y="0"/>
                  </a:lnTo>
                  <a:lnTo>
                    <a:pt x="7"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0" name="Freeform 179"/>
            <p:cNvSpPr>
              <a:spLocks/>
            </p:cNvSpPr>
            <p:nvPr/>
          </p:nvSpPr>
          <p:spPr bwMode="auto">
            <a:xfrm>
              <a:off x="8529641" y="4735517"/>
              <a:ext cx="14287" cy="9525"/>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2147483647 h 6"/>
                <a:gd name="T12" fmla="*/ 0 w 9"/>
                <a:gd name="T13" fmla="*/ 2147483647 h 6"/>
                <a:gd name="T14" fmla="*/ 2147483647 w 9"/>
                <a:gd name="T15" fmla="*/ 0 h 6"/>
                <a:gd name="T16" fmla="*/ 2147483647 w 9"/>
                <a:gd name="T17" fmla="*/ 0 h 6"/>
                <a:gd name="T18" fmla="*/ 2147483647 w 9"/>
                <a:gd name="T19" fmla="*/ 2147483647 h 6"/>
                <a:gd name="T20" fmla="*/ 2147483647 w 9"/>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9" y="2"/>
                  </a:moveTo>
                  <a:lnTo>
                    <a:pt x="9" y="3"/>
                  </a:lnTo>
                  <a:lnTo>
                    <a:pt x="8" y="5"/>
                  </a:lnTo>
                  <a:lnTo>
                    <a:pt x="5" y="6"/>
                  </a:lnTo>
                  <a:lnTo>
                    <a:pt x="2" y="5"/>
                  </a:lnTo>
                  <a:lnTo>
                    <a:pt x="0" y="2"/>
                  </a:lnTo>
                  <a:lnTo>
                    <a:pt x="0" y="1"/>
                  </a:lnTo>
                  <a:lnTo>
                    <a:pt x="1" y="0"/>
                  </a:lnTo>
                  <a:lnTo>
                    <a:pt x="6" y="0"/>
                  </a:lnTo>
                  <a:lnTo>
                    <a:pt x="8" y="1"/>
                  </a:lnTo>
                  <a:lnTo>
                    <a:pt x="9"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1" name="Freeform 180"/>
            <p:cNvSpPr>
              <a:spLocks/>
            </p:cNvSpPr>
            <p:nvPr/>
          </p:nvSpPr>
          <p:spPr bwMode="auto">
            <a:xfrm>
              <a:off x="8551863" y="4708525"/>
              <a:ext cx="11112" cy="7938"/>
            </a:xfrm>
            <a:custGeom>
              <a:avLst/>
              <a:gdLst>
                <a:gd name="T0" fmla="*/ 2147483647 w 8"/>
                <a:gd name="T1" fmla="*/ 0 h 5"/>
                <a:gd name="T2" fmla="*/ 2147483647 w 8"/>
                <a:gd name="T3" fmla="*/ 0 h 5"/>
                <a:gd name="T4" fmla="*/ 2147483647 w 8"/>
                <a:gd name="T5" fmla="*/ 2147483647 h 5"/>
                <a:gd name="T6" fmla="*/ 2147483647 w 8"/>
                <a:gd name="T7" fmla="*/ 2147483647 h 5"/>
                <a:gd name="T8" fmla="*/ 2147483647 w 8"/>
                <a:gd name="T9" fmla="*/ 2147483647 h 5"/>
                <a:gd name="T10" fmla="*/ 2147483647 w 8"/>
                <a:gd name="T11" fmla="*/ 2147483647 h 5"/>
                <a:gd name="T12" fmla="*/ 2147483647 w 8"/>
                <a:gd name="T13" fmla="*/ 2147483647 h 5"/>
                <a:gd name="T14" fmla="*/ 0 w 8"/>
                <a:gd name="T15" fmla="*/ 2147483647 h 5"/>
                <a:gd name="T16" fmla="*/ 0 w 8"/>
                <a:gd name="T17" fmla="*/ 2147483647 h 5"/>
                <a:gd name="T18" fmla="*/ 0 w 8"/>
                <a:gd name="T19" fmla="*/ 2147483647 h 5"/>
                <a:gd name="T20" fmla="*/ 2147483647 w 8"/>
                <a:gd name="T21" fmla="*/ 0 h 5"/>
                <a:gd name="T22" fmla="*/ 2147483647 w 8"/>
                <a:gd name="T23" fmla="*/ 0 h 5"/>
                <a:gd name="T24" fmla="*/ 2147483647 w 8"/>
                <a:gd name="T25" fmla="*/ 0 h 5"/>
                <a:gd name="T26" fmla="*/ 2147483647 w 8"/>
                <a:gd name="T27" fmla="*/ 0 h 5"/>
                <a:gd name="T28" fmla="*/ 2147483647 w 8"/>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5"/>
                <a:gd name="T47" fmla="*/ 8 w 8"/>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5">
                  <a:moveTo>
                    <a:pt x="7" y="0"/>
                  </a:moveTo>
                  <a:lnTo>
                    <a:pt x="7" y="0"/>
                  </a:lnTo>
                  <a:lnTo>
                    <a:pt x="8" y="1"/>
                  </a:lnTo>
                  <a:lnTo>
                    <a:pt x="8" y="3"/>
                  </a:lnTo>
                  <a:lnTo>
                    <a:pt x="5" y="5"/>
                  </a:lnTo>
                  <a:lnTo>
                    <a:pt x="3" y="5"/>
                  </a:lnTo>
                  <a:lnTo>
                    <a:pt x="0" y="3"/>
                  </a:lnTo>
                  <a:lnTo>
                    <a:pt x="0" y="1"/>
                  </a:lnTo>
                  <a:lnTo>
                    <a:pt x="1" y="0"/>
                  </a:lnTo>
                  <a:lnTo>
                    <a:pt x="4" y="0"/>
                  </a:lnTo>
                  <a:lnTo>
                    <a:pt x="7"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2" name="Freeform 181"/>
            <p:cNvSpPr>
              <a:spLocks/>
            </p:cNvSpPr>
            <p:nvPr/>
          </p:nvSpPr>
          <p:spPr bwMode="auto">
            <a:xfrm>
              <a:off x="8528050" y="4733931"/>
              <a:ext cx="14288" cy="9525"/>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0 w 9"/>
                <a:gd name="T13" fmla="*/ 2147483647 h 6"/>
                <a:gd name="T14" fmla="*/ 0 w 9"/>
                <a:gd name="T15" fmla="*/ 2147483647 h 6"/>
                <a:gd name="T16" fmla="*/ 0 w 9"/>
                <a:gd name="T17" fmla="*/ 2147483647 h 6"/>
                <a:gd name="T18" fmla="*/ 2147483647 w 9"/>
                <a:gd name="T19" fmla="*/ 0 h 6"/>
                <a:gd name="T20" fmla="*/ 2147483647 w 9"/>
                <a:gd name="T21" fmla="*/ 0 h 6"/>
                <a:gd name="T22" fmla="*/ 2147483647 w 9"/>
                <a:gd name="T23" fmla="*/ 0 h 6"/>
                <a:gd name="T24" fmla="*/ 2147483647 w 9"/>
                <a:gd name="T25" fmla="*/ 2147483647 h 6"/>
                <a:gd name="T26" fmla="*/ 2147483647 w 9"/>
                <a:gd name="T27" fmla="*/ 2147483647 h 6"/>
                <a:gd name="T28" fmla="*/ 2147483647 w 9"/>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6"/>
                <a:gd name="T47" fmla="*/ 9 w 9"/>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6">
                  <a:moveTo>
                    <a:pt x="9" y="2"/>
                  </a:moveTo>
                  <a:lnTo>
                    <a:pt x="9" y="2"/>
                  </a:lnTo>
                  <a:lnTo>
                    <a:pt x="9" y="3"/>
                  </a:lnTo>
                  <a:lnTo>
                    <a:pt x="7" y="4"/>
                  </a:lnTo>
                  <a:lnTo>
                    <a:pt x="5" y="6"/>
                  </a:lnTo>
                  <a:lnTo>
                    <a:pt x="2" y="4"/>
                  </a:lnTo>
                  <a:lnTo>
                    <a:pt x="0" y="2"/>
                  </a:lnTo>
                  <a:lnTo>
                    <a:pt x="0" y="1"/>
                  </a:lnTo>
                  <a:lnTo>
                    <a:pt x="1" y="0"/>
                  </a:lnTo>
                  <a:lnTo>
                    <a:pt x="6" y="0"/>
                  </a:lnTo>
                  <a:lnTo>
                    <a:pt x="7" y="1"/>
                  </a:lnTo>
                  <a:lnTo>
                    <a:pt x="9"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3" name="Freeform 182"/>
            <p:cNvSpPr>
              <a:spLocks/>
            </p:cNvSpPr>
            <p:nvPr/>
          </p:nvSpPr>
          <p:spPr bwMode="auto">
            <a:xfrm>
              <a:off x="8542342" y="4756150"/>
              <a:ext cx="7937" cy="7938"/>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0 w 6"/>
                <a:gd name="T9" fmla="*/ 2147483647 h 5"/>
                <a:gd name="T10" fmla="*/ 0 w 6"/>
                <a:gd name="T11" fmla="*/ 2147483647 h 5"/>
                <a:gd name="T12" fmla="*/ 0 w 6"/>
                <a:gd name="T13" fmla="*/ 2147483647 h 5"/>
                <a:gd name="T14" fmla="*/ 2147483647 w 6"/>
                <a:gd name="T15" fmla="*/ 0 h 5"/>
                <a:gd name="T16" fmla="*/ 2147483647 w 6"/>
                <a:gd name="T17" fmla="*/ 0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2"/>
                  </a:moveTo>
                  <a:lnTo>
                    <a:pt x="6" y="3"/>
                  </a:lnTo>
                  <a:lnTo>
                    <a:pt x="5" y="5"/>
                  </a:lnTo>
                  <a:lnTo>
                    <a:pt x="1" y="3"/>
                  </a:lnTo>
                  <a:lnTo>
                    <a:pt x="0" y="3"/>
                  </a:lnTo>
                  <a:lnTo>
                    <a:pt x="0" y="2"/>
                  </a:lnTo>
                  <a:lnTo>
                    <a:pt x="0" y="1"/>
                  </a:lnTo>
                  <a:lnTo>
                    <a:pt x="1" y="0"/>
                  </a:lnTo>
                  <a:lnTo>
                    <a:pt x="3" y="0"/>
                  </a:lnTo>
                  <a:lnTo>
                    <a:pt x="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4" name="Freeform 183"/>
            <p:cNvSpPr>
              <a:spLocks/>
            </p:cNvSpPr>
            <p:nvPr/>
          </p:nvSpPr>
          <p:spPr bwMode="auto">
            <a:xfrm>
              <a:off x="8566151" y="4840292"/>
              <a:ext cx="14288" cy="9525"/>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2147483647 h 6"/>
                <a:gd name="T12" fmla="*/ 2147483647 w 9"/>
                <a:gd name="T13" fmla="*/ 2147483647 h 6"/>
                <a:gd name="T14" fmla="*/ 2147483647 w 9"/>
                <a:gd name="T15" fmla="*/ 0 h 6"/>
                <a:gd name="T16" fmla="*/ 2147483647 w 9"/>
                <a:gd name="T17" fmla="*/ 0 h 6"/>
                <a:gd name="T18" fmla="*/ 2147483647 w 9"/>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6"/>
                <a:gd name="T32" fmla="*/ 9 w 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6">
                  <a:moveTo>
                    <a:pt x="9" y="3"/>
                  </a:moveTo>
                  <a:lnTo>
                    <a:pt x="9" y="4"/>
                  </a:lnTo>
                  <a:lnTo>
                    <a:pt x="9" y="5"/>
                  </a:lnTo>
                  <a:lnTo>
                    <a:pt x="7" y="6"/>
                  </a:lnTo>
                  <a:lnTo>
                    <a:pt x="2" y="5"/>
                  </a:lnTo>
                  <a:lnTo>
                    <a:pt x="0" y="3"/>
                  </a:lnTo>
                  <a:lnTo>
                    <a:pt x="2" y="1"/>
                  </a:lnTo>
                  <a:lnTo>
                    <a:pt x="3" y="0"/>
                  </a:lnTo>
                  <a:lnTo>
                    <a:pt x="4" y="0"/>
                  </a:lnTo>
                  <a:lnTo>
                    <a:pt x="9"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5" name="Freeform 184"/>
            <p:cNvSpPr>
              <a:spLocks/>
            </p:cNvSpPr>
            <p:nvPr/>
          </p:nvSpPr>
          <p:spPr bwMode="auto">
            <a:xfrm>
              <a:off x="8539164" y="4754563"/>
              <a:ext cx="9525" cy="6350"/>
            </a:xfrm>
            <a:custGeom>
              <a:avLst/>
              <a:gdLst>
                <a:gd name="T0" fmla="*/ 2147483647 w 7"/>
                <a:gd name="T1" fmla="*/ 2147483647 h 4"/>
                <a:gd name="T2" fmla="*/ 2147483647 w 7"/>
                <a:gd name="T3" fmla="*/ 2147483647 h 4"/>
                <a:gd name="T4" fmla="*/ 2147483647 w 7"/>
                <a:gd name="T5" fmla="*/ 2147483647 h 4"/>
                <a:gd name="T6" fmla="*/ 2147483647 w 7"/>
                <a:gd name="T7" fmla="*/ 2147483647 h 4"/>
                <a:gd name="T8" fmla="*/ 2147483647 w 7"/>
                <a:gd name="T9" fmla="*/ 2147483647 h 4"/>
                <a:gd name="T10" fmla="*/ 2147483647 w 7"/>
                <a:gd name="T11" fmla="*/ 2147483647 h 4"/>
                <a:gd name="T12" fmla="*/ 0 w 7"/>
                <a:gd name="T13" fmla="*/ 2147483647 h 4"/>
                <a:gd name="T14" fmla="*/ 0 w 7"/>
                <a:gd name="T15" fmla="*/ 2147483647 h 4"/>
                <a:gd name="T16" fmla="*/ 0 w 7"/>
                <a:gd name="T17" fmla="*/ 2147483647 h 4"/>
                <a:gd name="T18" fmla="*/ 2147483647 w 7"/>
                <a:gd name="T19" fmla="*/ 0 h 4"/>
                <a:gd name="T20" fmla="*/ 2147483647 w 7"/>
                <a:gd name="T21" fmla="*/ 0 h 4"/>
                <a:gd name="T22" fmla="*/ 2147483647 w 7"/>
                <a:gd name="T23" fmla="*/ 0 h 4"/>
                <a:gd name="T24" fmla="*/ 2147483647 w 7"/>
                <a:gd name="T25" fmla="*/ 2147483647 h 4"/>
                <a:gd name="T26" fmla="*/ 2147483647 w 7"/>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7" y="2"/>
                  </a:moveTo>
                  <a:lnTo>
                    <a:pt x="7" y="2"/>
                  </a:lnTo>
                  <a:lnTo>
                    <a:pt x="7" y="3"/>
                  </a:lnTo>
                  <a:lnTo>
                    <a:pt x="5" y="4"/>
                  </a:lnTo>
                  <a:lnTo>
                    <a:pt x="2" y="3"/>
                  </a:lnTo>
                  <a:lnTo>
                    <a:pt x="0" y="3"/>
                  </a:lnTo>
                  <a:lnTo>
                    <a:pt x="0" y="2"/>
                  </a:lnTo>
                  <a:lnTo>
                    <a:pt x="0" y="1"/>
                  </a:lnTo>
                  <a:lnTo>
                    <a:pt x="2" y="0"/>
                  </a:lnTo>
                  <a:lnTo>
                    <a:pt x="4" y="0"/>
                  </a:lnTo>
                  <a:lnTo>
                    <a:pt x="7"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6" name="Freeform 185"/>
            <p:cNvSpPr>
              <a:spLocks/>
            </p:cNvSpPr>
            <p:nvPr/>
          </p:nvSpPr>
          <p:spPr bwMode="auto">
            <a:xfrm>
              <a:off x="8564567" y="4838704"/>
              <a:ext cx="14287" cy="9525"/>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2147483647 w 9"/>
                <a:gd name="T13" fmla="*/ 2147483647 h 6"/>
                <a:gd name="T14" fmla="*/ 0 w 9"/>
                <a:gd name="T15" fmla="*/ 2147483647 h 6"/>
                <a:gd name="T16" fmla="*/ 2147483647 w 9"/>
                <a:gd name="T17" fmla="*/ 2147483647 h 6"/>
                <a:gd name="T18" fmla="*/ 2147483647 w 9"/>
                <a:gd name="T19" fmla="*/ 2147483647 h 6"/>
                <a:gd name="T20" fmla="*/ 2147483647 w 9"/>
                <a:gd name="T21" fmla="*/ 0 h 6"/>
                <a:gd name="T22" fmla="*/ 2147483647 w 9"/>
                <a:gd name="T23" fmla="*/ 0 h 6"/>
                <a:gd name="T24" fmla="*/ 2147483647 w 9"/>
                <a:gd name="T25" fmla="*/ 2147483647 h 6"/>
                <a:gd name="T26" fmla="*/ 2147483647 w 9"/>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6"/>
                <a:gd name="T44" fmla="*/ 9 w 9"/>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6">
                  <a:moveTo>
                    <a:pt x="9" y="2"/>
                  </a:moveTo>
                  <a:lnTo>
                    <a:pt x="9" y="2"/>
                  </a:lnTo>
                  <a:lnTo>
                    <a:pt x="9" y="4"/>
                  </a:lnTo>
                  <a:lnTo>
                    <a:pt x="9" y="5"/>
                  </a:lnTo>
                  <a:lnTo>
                    <a:pt x="6" y="6"/>
                  </a:lnTo>
                  <a:lnTo>
                    <a:pt x="1" y="5"/>
                  </a:lnTo>
                  <a:lnTo>
                    <a:pt x="0" y="2"/>
                  </a:lnTo>
                  <a:lnTo>
                    <a:pt x="1" y="1"/>
                  </a:lnTo>
                  <a:lnTo>
                    <a:pt x="3" y="0"/>
                  </a:lnTo>
                  <a:lnTo>
                    <a:pt x="4" y="0"/>
                  </a:lnTo>
                  <a:lnTo>
                    <a:pt x="9"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7" name="Freeform 186"/>
            <p:cNvSpPr>
              <a:spLocks/>
            </p:cNvSpPr>
            <p:nvPr/>
          </p:nvSpPr>
          <p:spPr bwMode="auto">
            <a:xfrm>
              <a:off x="8548692" y="4859338"/>
              <a:ext cx="22225" cy="36512"/>
            </a:xfrm>
            <a:custGeom>
              <a:avLst/>
              <a:gdLst>
                <a:gd name="T0" fmla="*/ 2147483647 w 15"/>
                <a:gd name="T1" fmla="*/ 2147483647 h 23"/>
                <a:gd name="T2" fmla="*/ 2147483647 w 15"/>
                <a:gd name="T3" fmla="*/ 2147483647 h 23"/>
                <a:gd name="T4" fmla="*/ 2147483647 w 15"/>
                <a:gd name="T5" fmla="*/ 2147483647 h 23"/>
                <a:gd name="T6" fmla="*/ 2147483647 w 15"/>
                <a:gd name="T7" fmla="*/ 2147483647 h 23"/>
                <a:gd name="T8" fmla="*/ 2147483647 w 15"/>
                <a:gd name="T9" fmla="*/ 2147483647 h 23"/>
                <a:gd name="T10" fmla="*/ 2147483647 w 15"/>
                <a:gd name="T11" fmla="*/ 2147483647 h 23"/>
                <a:gd name="T12" fmla="*/ 2147483647 w 15"/>
                <a:gd name="T13" fmla="*/ 2147483647 h 23"/>
                <a:gd name="T14" fmla="*/ 2147483647 w 15"/>
                <a:gd name="T15" fmla="*/ 2147483647 h 23"/>
                <a:gd name="T16" fmla="*/ 2147483647 w 15"/>
                <a:gd name="T17" fmla="*/ 2147483647 h 23"/>
                <a:gd name="T18" fmla="*/ 2147483647 w 15"/>
                <a:gd name="T19" fmla="*/ 2147483647 h 23"/>
                <a:gd name="T20" fmla="*/ 0 w 15"/>
                <a:gd name="T21" fmla="*/ 2147483647 h 23"/>
                <a:gd name="T22" fmla="*/ 0 w 15"/>
                <a:gd name="T23" fmla="*/ 2147483647 h 23"/>
                <a:gd name="T24" fmla="*/ 2147483647 w 15"/>
                <a:gd name="T25" fmla="*/ 2147483647 h 23"/>
                <a:gd name="T26" fmla="*/ 2147483647 w 15"/>
                <a:gd name="T27" fmla="*/ 2147483647 h 23"/>
                <a:gd name="T28" fmla="*/ 2147483647 w 15"/>
                <a:gd name="T29" fmla="*/ 0 h 23"/>
                <a:gd name="T30" fmla="*/ 2147483647 w 15"/>
                <a:gd name="T31" fmla="*/ 2147483647 h 23"/>
                <a:gd name="T32" fmla="*/ 2147483647 w 15"/>
                <a:gd name="T33" fmla="*/ 2147483647 h 23"/>
                <a:gd name="T34" fmla="*/ 2147483647 w 15"/>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23"/>
                <a:gd name="T56" fmla="*/ 15 w 15"/>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23">
                  <a:moveTo>
                    <a:pt x="11" y="6"/>
                  </a:moveTo>
                  <a:lnTo>
                    <a:pt x="12" y="10"/>
                  </a:lnTo>
                  <a:lnTo>
                    <a:pt x="14" y="12"/>
                  </a:lnTo>
                  <a:lnTo>
                    <a:pt x="15" y="16"/>
                  </a:lnTo>
                  <a:lnTo>
                    <a:pt x="14" y="19"/>
                  </a:lnTo>
                  <a:lnTo>
                    <a:pt x="11" y="21"/>
                  </a:lnTo>
                  <a:lnTo>
                    <a:pt x="10" y="23"/>
                  </a:lnTo>
                  <a:lnTo>
                    <a:pt x="7" y="21"/>
                  </a:lnTo>
                  <a:lnTo>
                    <a:pt x="5" y="20"/>
                  </a:lnTo>
                  <a:lnTo>
                    <a:pt x="3" y="18"/>
                  </a:lnTo>
                  <a:lnTo>
                    <a:pt x="0" y="12"/>
                  </a:lnTo>
                  <a:lnTo>
                    <a:pt x="0" y="6"/>
                  </a:lnTo>
                  <a:lnTo>
                    <a:pt x="1" y="4"/>
                  </a:lnTo>
                  <a:lnTo>
                    <a:pt x="2" y="1"/>
                  </a:lnTo>
                  <a:lnTo>
                    <a:pt x="5" y="0"/>
                  </a:lnTo>
                  <a:lnTo>
                    <a:pt x="7" y="1"/>
                  </a:lnTo>
                  <a:lnTo>
                    <a:pt x="10" y="4"/>
                  </a:lnTo>
                  <a:lnTo>
                    <a:pt x="1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8" name="Freeform 187"/>
            <p:cNvSpPr>
              <a:spLocks/>
            </p:cNvSpPr>
            <p:nvPr/>
          </p:nvSpPr>
          <p:spPr bwMode="auto">
            <a:xfrm>
              <a:off x="8580438" y="4870454"/>
              <a:ext cx="19050" cy="36513"/>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2147483647 w 13"/>
                <a:gd name="T17" fmla="*/ 2147483647 h 23"/>
                <a:gd name="T18" fmla="*/ 0 w 13"/>
                <a:gd name="T19" fmla="*/ 2147483647 h 23"/>
                <a:gd name="T20" fmla="*/ 2147483647 w 13"/>
                <a:gd name="T21" fmla="*/ 0 h 23"/>
                <a:gd name="T22" fmla="*/ 2147483647 w 13"/>
                <a:gd name="T23" fmla="*/ 0 h 23"/>
                <a:gd name="T24" fmla="*/ 2147483647 w 13"/>
                <a:gd name="T25" fmla="*/ 2147483647 h 23"/>
                <a:gd name="T26" fmla="*/ 2147483647 w 13"/>
                <a:gd name="T27" fmla="*/ 2147483647 h 23"/>
                <a:gd name="T28" fmla="*/ 2147483647 w 13"/>
                <a:gd name="T29" fmla="*/ 2147483647 h 23"/>
                <a:gd name="T30" fmla="*/ 2147483647 w 13"/>
                <a:gd name="T31" fmla="*/ 2147483647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23"/>
                <a:gd name="T50" fmla="*/ 13 w 13"/>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23">
                  <a:moveTo>
                    <a:pt x="12" y="13"/>
                  </a:moveTo>
                  <a:lnTo>
                    <a:pt x="13" y="19"/>
                  </a:lnTo>
                  <a:lnTo>
                    <a:pt x="12" y="22"/>
                  </a:lnTo>
                  <a:lnTo>
                    <a:pt x="10" y="23"/>
                  </a:lnTo>
                  <a:lnTo>
                    <a:pt x="9" y="23"/>
                  </a:lnTo>
                  <a:lnTo>
                    <a:pt x="7" y="20"/>
                  </a:lnTo>
                  <a:lnTo>
                    <a:pt x="4" y="18"/>
                  </a:lnTo>
                  <a:lnTo>
                    <a:pt x="4" y="11"/>
                  </a:lnTo>
                  <a:lnTo>
                    <a:pt x="2" y="5"/>
                  </a:lnTo>
                  <a:lnTo>
                    <a:pt x="0" y="1"/>
                  </a:lnTo>
                  <a:lnTo>
                    <a:pt x="2" y="0"/>
                  </a:lnTo>
                  <a:lnTo>
                    <a:pt x="4" y="0"/>
                  </a:lnTo>
                  <a:lnTo>
                    <a:pt x="7" y="1"/>
                  </a:lnTo>
                  <a:lnTo>
                    <a:pt x="9" y="4"/>
                  </a:lnTo>
                  <a:lnTo>
                    <a:pt x="12" y="9"/>
                  </a:lnTo>
                  <a:lnTo>
                    <a:pt x="12"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89" name="Freeform 188"/>
            <p:cNvSpPr>
              <a:spLocks/>
            </p:cNvSpPr>
            <p:nvPr/>
          </p:nvSpPr>
          <p:spPr bwMode="auto">
            <a:xfrm>
              <a:off x="8545514" y="4857753"/>
              <a:ext cx="23812" cy="34925"/>
            </a:xfrm>
            <a:custGeom>
              <a:avLst/>
              <a:gdLst>
                <a:gd name="T0" fmla="*/ 2147483647 w 16"/>
                <a:gd name="T1" fmla="*/ 2147483647 h 22"/>
                <a:gd name="T2" fmla="*/ 2147483647 w 16"/>
                <a:gd name="T3" fmla="*/ 2147483647 h 22"/>
                <a:gd name="T4" fmla="*/ 2147483647 w 16"/>
                <a:gd name="T5" fmla="*/ 2147483647 h 22"/>
                <a:gd name="T6" fmla="*/ 2147483647 w 16"/>
                <a:gd name="T7" fmla="*/ 2147483647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2147483647 w 16"/>
                <a:gd name="T25" fmla="*/ 2147483647 h 22"/>
                <a:gd name="T26" fmla="*/ 0 w 16"/>
                <a:gd name="T27" fmla="*/ 2147483647 h 22"/>
                <a:gd name="T28" fmla="*/ 0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0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22"/>
                <a:gd name="T71" fmla="*/ 16 w 16"/>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22">
                  <a:moveTo>
                    <a:pt x="12" y="6"/>
                  </a:moveTo>
                  <a:lnTo>
                    <a:pt x="12" y="6"/>
                  </a:lnTo>
                  <a:lnTo>
                    <a:pt x="13" y="9"/>
                  </a:lnTo>
                  <a:lnTo>
                    <a:pt x="14" y="12"/>
                  </a:lnTo>
                  <a:lnTo>
                    <a:pt x="16" y="15"/>
                  </a:lnTo>
                  <a:lnTo>
                    <a:pt x="14" y="19"/>
                  </a:lnTo>
                  <a:lnTo>
                    <a:pt x="12" y="21"/>
                  </a:lnTo>
                  <a:lnTo>
                    <a:pt x="11" y="22"/>
                  </a:lnTo>
                  <a:lnTo>
                    <a:pt x="8" y="21"/>
                  </a:lnTo>
                  <a:lnTo>
                    <a:pt x="5" y="20"/>
                  </a:lnTo>
                  <a:lnTo>
                    <a:pt x="4" y="18"/>
                  </a:lnTo>
                  <a:lnTo>
                    <a:pt x="0" y="12"/>
                  </a:lnTo>
                  <a:lnTo>
                    <a:pt x="0" y="6"/>
                  </a:lnTo>
                  <a:lnTo>
                    <a:pt x="2" y="3"/>
                  </a:lnTo>
                  <a:lnTo>
                    <a:pt x="3" y="1"/>
                  </a:lnTo>
                  <a:lnTo>
                    <a:pt x="5" y="0"/>
                  </a:lnTo>
                  <a:lnTo>
                    <a:pt x="8" y="1"/>
                  </a:lnTo>
                  <a:lnTo>
                    <a:pt x="11" y="3"/>
                  </a:lnTo>
                  <a:lnTo>
                    <a:pt x="12"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0" name="Freeform 189"/>
            <p:cNvSpPr>
              <a:spLocks/>
            </p:cNvSpPr>
            <p:nvPr/>
          </p:nvSpPr>
          <p:spPr bwMode="auto">
            <a:xfrm>
              <a:off x="8578850" y="4868867"/>
              <a:ext cx="19050" cy="36512"/>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2147483647 w 13"/>
                <a:gd name="T17" fmla="*/ 2147483647 h 23"/>
                <a:gd name="T18" fmla="*/ 2147483647 w 13"/>
                <a:gd name="T19" fmla="*/ 2147483647 h 23"/>
                <a:gd name="T20" fmla="*/ 2147483647 w 13"/>
                <a:gd name="T21" fmla="*/ 2147483647 h 23"/>
                <a:gd name="T22" fmla="*/ 2147483647 w 13"/>
                <a:gd name="T23" fmla="*/ 2147483647 h 23"/>
                <a:gd name="T24" fmla="*/ 2147483647 w 13"/>
                <a:gd name="T25" fmla="*/ 2147483647 h 23"/>
                <a:gd name="T26" fmla="*/ 0 w 13"/>
                <a:gd name="T27" fmla="*/ 2147483647 h 23"/>
                <a:gd name="T28" fmla="*/ 2147483647 w 13"/>
                <a:gd name="T29" fmla="*/ 0 h 23"/>
                <a:gd name="T30" fmla="*/ 2147483647 w 13"/>
                <a:gd name="T31" fmla="*/ 0 h 23"/>
                <a:gd name="T32" fmla="*/ 2147483647 w 13"/>
                <a:gd name="T33" fmla="*/ 0 h 23"/>
                <a:gd name="T34" fmla="*/ 2147483647 w 13"/>
                <a:gd name="T35" fmla="*/ 0 h 23"/>
                <a:gd name="T36" fmla="*/ 2147483647 w 13"/>
                <a:gd name="T37" fmla="*/ 2147483647 h 23"/>
                <a:gd name="T38" fmla="*/ 2147483647 w 13"/>
                <a:gd name="T39" fmla="*/ 2147483647 h 23"/>
                <a:gd name="T40" fmla="*/ 2147483647 w 13"/>
                <a:gd name="T41" fmla="*/ 2147483647 h 23"/>
                <a:gd name="T42" fmla="*/ 2147483647 w 13"/>
                <a:gd name="T43" fmla="*/ 2147483647 h 23"/>
                <a:gd name="T44" fmla="*/ 2147483647 w 13"/>
                <a:gd name="T45" fmla="*/ 2147483647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
                <a:gd name="T70" fmla="*/ 0 h 23"/>
                <a:gd name="T71" fmla="*/ 13 w 13"/>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 h="23">
                  <a:moveTo>
                    <a:pt x="11" y="13"/>
                  </a:moveTo>
                  <a:lnTo>
                    <a:pt x="11" y="13"/>
                  </a:lnTo>
                  <a:lnTo>
                    <a:pt x="13" y="19"/>
                  </a:lnTo>
                  <a:lnTo>
                    <a:pt x="11" y="21"/>
                  </a:lnTo>
                  <a:lnTo>
                    <a:pt x="10" y="23"/>
                  </a:lnTo>
                  <a:lnTo>
                    <a:pt x="9" y="23"/>
                  </a:lnTo>
                  <a:lnTo>
                    <a:pt x="6" y="20"/>
                  </a:lnTo>
                  <a:lnTo>
                    <a:pt x="4" y="18"/>
                  </a:lnTo>
                  <a:lnTo>
                    <a:pt x="4" y="11"/>
                  </a:lnTo>
                  <a:lnTo>
                    <a:pt x="1" y="5"/>
                  </a:lnTo>
                  <a:lnTo>
                    <a:pt x="0" y="1"/>
                  </a:lnTo>
                  <a:lnTo>
                    <a:pt x="1" y="0"/>
                  </a:lnTo>
                  <a:lnTo>
                    <a:pt x="4" y="0"/>
                  </a:lnTo>
                  <a:lnTo>
                    <a:pt x="6" y="1"/>
                  </a:lnTo>
                  <a:lnTo>
                    <a:pt x="9" y="4"/>
                  </a:lnTo>
                  <a:lnTo>
                    <a:pt x="11" y="8"/>
                  </a:lnTo>
                  <a:lnTo>
                    <a:pt x="11"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1" name="Freeform 190"/>
            <p:cNvSpPr>
              <a:spLocks/>
            </p:cNvSpPr>
            <p:nvPr/>
          </p:nvSpPr>
          <p:spPr bwMode="auto">
            <a:xfrm>
              <a:off x="8586788" y="4911726"/>
              <a:ext cx="12700" cy="14288"/>
            </a:xfrm>
            <a:custGeom>
              <a:avLst/>
              <a:gdLst>
                <a:gd name="T0" fmla="*/ 2147483647 w 8"/>
                <a:gd name="T1" fmla="*/ 2147483647 h 9"/>
                <a:gd name="T2" fmla="*/ 2147483647 w 8"/>
                <a:gd name="T3" fmla="*/ 2147483647 h 9"/>
                <a:gd name="T4" fmla="*/ 2147483647 w 8"/>
                <a:gd name="T5" fmla="*/ 2147483647 h 9"/>
                <a:gd name="T6" fmla="*/ 2147483647 w 8"/>
                <a:gd name="T7" fmla="*/ 2147483647 h 9"/>
                <a:gd name="T8" fmla="*/ 0 w 8"/>
                <a:gd name="T9" fmla="*/ 2147483647 h 9"/>
                <a:gd name="T10" fmla="*/ 2147483647 w 8"/>
                <a:gd name="T11" fmla="*/ 2147483647 h 9"/>
                <a:gd name="T12" fmla="*/ 2147483647 w 8"/>
                <a:gd name="T13" fmla="*/ 0 h 9"/>
                <a:gd name="T14" fmla="*/ 2147483647 w 8"/>
                <a:gd name="T15" fmla="*/ 2147483647 h 9"/>
                <a:gd name="T16" fmla="*/ 2147483647 w 8"/>
                <a:gd name="T17" fmla="*/ 2147483647 h 9"/>
                <a:gd name="T18" fmla="*/ 2147483647 w 8"/>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9"/>
                <a:gd name="T32" fmla="*/ 8 w 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9">
                  <a:moveTo>
                    <a:pt x="8" y="7"/>
                  </a:moveTo>
                  <a:lnTo>
                    <a:pt x="7" y="9"/>
                  </a:lnTo>
                  <a:lnTo>
                    <a:pt x="4" y="9"/>
                  </a:lnTo>
                  <a:lnTo>
                    <a:pt x="2" y="6"/>
                  </a:lnTo>
                  <a:lnTo>
                    <a:pt x="0" y="3"/>
                  </a:lnTo>
                  <a:lnTo>
                    <a:pt x="2" y="1"/>
                  </a:lnTo>
                  <a:lnTo>
                    <a:pt x="3" y="0"/>
                  </a:lnTo>
                  <a:lnTo>
                    <a:pt x="5" y="1"/>
                  </a:lnTo>
                  <a:lnTo>
                    <a:pt x="7" y="4"/>
                  </a:lnTo>
                  <a:lnTo>
                    <a:pt x="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2" name="Freeform 191"/>
            <p:cNvSpPr>
              <a:spLocks/>
            </p:cNvSpPr>
            <p:nvPr/>
          </p:nvSpPr>
          <p:spPr bwMode="auto">
            <a:xfrm>
              <a:off x="8594729" y="4946650"/>
              <a:ext cx="11113" cy="6350"/>
            </a:xfrm>
            <a:custGeom>
              <a:avLst/>
              <a:gdLst>
                <a:gd name="T0" fmla="*/ 2147483647 w 8"/>
                <a:gd name="T1" fmla="*/ 2147483647 h 4"/>
                <a:gd name="T2" fmla="*/ 2147483647 w 8"/>
                <a:gd name="T3" fmla="*/ 2147483647 h 4"/>
                <a:gd name="T4" fmla="*/ 2147483647 w 8"/>
                <a:gd name="T5" fmla="*/ 2147483647 h 4"/>
                <a:gd name="T6" fmla="*/ 2147483647 w 8"/>
                <a:gd name="T7" fmla="*/ 2147483647 h 4"/>
                <a:gd name="T8" fmla="*/ 0 w 8"/>
                <a:gd name="T9" fmla="*/ 2147483647 h 4"/>
                <a:gd name="T10" fmla="*/ 0 w 8"/>
                <a:gd name="T11" fmla="*/ 2147483647 h 4"/>
                <a:gd name="T12" fmla="*/ 2147483647 w 8"/>
                <a:gd name="T13" fmla="*/ 0 h 4"/>
                <a:gd name="T14" fmla="*/ 2147483647 w 8"/>
                <a:gd name="T15" fmla="*/ 2147483647 h 4"/>
                <a:gd name="T16" fmla="*/ 2147483647 w 8"/>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7" y="2"/>
                  </a:moveTo>
                  <a:lnTo>
                    <a:pt x="8" y="3"/>
                  </a:lnTo>
                  <a:lnTo>
                    <a:pt x="4" y="4"/>
                  </a:lnTo>
                  <a:lnTo>
                    <a:pt x="2" y="4"/>
                  </a:lnTo>
                  <a:lnTo>
                    <a:pt x="0" y="2"/>
                  </a:lnTo>
                  <a:lnTo>
                    <a:pt x="0" y="1"/>
                  </a:lnTo>
                  <a:lnTo>
                    <a:pt x="2" y="0"/>
                  </a:lnTo>
                  <a:lnTo>
                    <a:pt x="3" y="1"/>
                  </a:lnTo>
                  <a:lnTo>
                    <a:pt x="7"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3" name="Freeform 192"/>
            <p:cNvSpPr>
              <a:spLocks/>
            </p:cNvSpPr>
            <p:nvPr/>
          </p:nvSpPr>
          <p:spPr bwMode="auto">
            <a:xfrm>
              <a:off x="8585200" y="4910139"/>
              <a:ext cx="12700" cy="12700"/>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2147483647 w 8"/>
                <a:gd name="T9" fmla="*/ 2147483647 h 8"/>
                <a:gd name="T10" fmla="*/ 2147483647 w 8"/>
                <a:gd name="T11" fmla="*/ 2147483647 h 8"/>
                <a:gd name="T12" fmla="*/ 2147483647 w 8"/>
                <a:gd name="T13" fmla="*/ 2147483647 h 8"/>
                <a:gd name="T14" fmla="*/ 0 w 8"/>
                <a:gd name="T15" fmla="*/ 2147483647 h 8"/>
                <a:gd name="T16" fmla="*/ 0 w 8"/>
                <a:gd name="T17" fmla="*/ 2147483647 h 8"/>
                <a:gd name="T18" fmla="*/ 2147483647 w 8"/>
                <a:gd name="T19" fmla="*/ 2147483647 h 8"/>
                <a:gd name="T20" fmla="*/ 2147483647 w 8"/>
                <a:gd name="T21" fmla="*/ 0 h 8"/>
                <a:gd name="T22" fmla="*/ 2147483647 w 8"/>
                <a:gd name="T23" fmla="*/ 2147483647 h 8"/>
                <a:gd name="T24" fmla="*/ 2147483647 w 8"/>
                <a:gd name="T25" fmla="*/ 2147483647 h 8"/>
                <a:gd name="T26" fmla="*/ 2147483647 w 8"/>
                <a:gd name="T27" fmla="*/ 2147483647 h 8"/>
                <a:gd name="T28" fmla="*/ 2147483647 w 8"/>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8" y="7"/>
                  </a:moveTo>
                  <a:lnTo>
                    <a:pt x="8" y="7"/>
                  </a:lnTo>
                  <a:lnTo>
                    <a:pt x="6" y="8"/>
                  </a:lnTo>
                  <a:lnTo>
                    <a:pt x="4" y="8"/>
                  </a:lnTo>
                  <a:lnTo>
                    <a:pt x="1" y="6"/>
                  </a:lnTo>
                  <a:lnTo>
                    <a:pt x="0" y="2"/>
                  </a:lnTo>
                  <a:lnTo>
                    <a:pt x="1" y="1"/>
                  </a:lnTo>
                  <a:lnTo>
                    <a:pt x="3" y="0"/>
                  </a:lnTo>
                  <a:lnTo>
                    <a:pt x="5" y="1"/>
                  </a:lnTo>
                  <a:lnTo>
                    <a:pt x="6" y="4"/>
                  </a:lnTo>
                  <a:lnTo>
                    <a:pt x="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4" name="Freeform 193"/>
            <p:cNvSpPr>
              <a:spLocks/>
            </p:cNvSpPr>
            <p:nvPr/>
          </p:nvSpPr>
          <p:spPr bwMode="auto">
            <a:xfrm>
              <a:off x="8593138" y="4943475"/>
              <a:ext cx="11112" cy="7938"/>
            </a:xfrm>
            <a:custGeom>
              <a:avLst/>
              <a:gdLst>
                <a:gd name="T0" fmla="*/ 2147483647 w 8"/>
                <a:gd name="T1" fmla="*/ 2147483647 h 5"/>
                <a:gd name="T2" fmla="*/ 2147483647 w 8"/>
                <a:gd name="T3" fmla="*/ 2147483647 h 5"/>
                <a:gd name="T4" fmla="*/ 2147483647 w 8"/>
                <a:gd name="T5" fmla="*/ 2147483647 h 5"/>
                <a:gd name="T6" fmla="*/ 2147483647 w 8"/>
                <a:gd name="T7" fmla="*/ 2147483647 h 5"/>
                <a:gd name="T8" fmla="*/ 2147483647 w 8"/>
                <a:gd name="T9" fmla="*/ 2147483647 h 5"/>
                <a:gd name="T10" fmla="*/ 2147483647 w 8"/>
                <a:gd name="T11" fmla="*/ 2147483647 h 5"/>
                <a:gd name="T12" fmla="*/ 0 w 8"/>
                <a:gd name="T13" fmla="*/ 2147483647 h 5"/>
                <a:gd name="T14" fmla="*/ 0 w 8"/>
                <a:gd name="T15" fmla="*/ 2147483647 h 5"/>
                <a:gd name="T16" fmla="*/ 0 w 8"/>
                <a:gd name="T17" fmla="*/ 2147483647 h 5"/>
                <a:gd name="T18" fmla="*/ 2147483647 w 8"/>
                <a:gd name="T19" fmla="*/ 0 h 5"/>
                <a:gd name="T20" fmla="*/ 2147483647 w 8"/>
                <a:gd name="T21" fmla="*/ 2147483647 h 5"/>
                <a:gd name="T22" fmla="*/ 2147483647 w 8"/>
                <a:gd name="T23" fmla="*/ 2147483647 h 5"/>
                <a:gd name="T24" fmla="*/ 2147483647 w 8"/>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5"/>
                <a:gd name="T41" fmla="*/ 8 w 8"/>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5">
                  <a:moveTo>
                    <a:pt x="6" y="3"/>
                  </a:moveTo>
                  <a:lnTo>
                    <a:pt x="6" y="3"/>
                  </a:lnTo>
                  <a:lnTo>
                    <a:pt x="8" y="4"/>
                  </a:lnTo>
                  <a:lnTo>
                    <a:pt x="4" y="5"/>
                  </a:lnTo>
                  <a:lnTo>
                    <a:pt x="1" y="5"/>
                  </a:lnTo>
                  <a:lnTo>
                    <a:pt x="0" y="3"/>
                  </a:lnTo>
                  <a:lnTo>
                    <a:pt x="0" y="2"/>
                  </a:lnTo>
                  <a:lnTo>
                    <a:pt x="1" y="0"/>
                  </a:lnTo>
                  <a:lnTo>
                    <a:pt x="3" y="2"/>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5" name="Freeform 194"/>
            <p:cNvSpPr>
              <a:spLocks/>
            </p:cNvSpPr>
            <p:nvPr/>
          </p:nvSpPr>
          <p:spPr bwMode="auto">
            <a:xfrm>
              <a:off x="8613775" y="4976817"/>
              <a:ext cx="7938"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0 w 6"/>
                <a:gd name="T15" fmla="*/ 2147483647 h 6"/>
                <a:gd name="T16" fmla="*/ 2147483647 w 6"/>
                <a:gd name="T17" fmla="*/ 0 h 6"/>
                <a:gd name="T18" fmla="*/ 2147483647 w 6"/>
                <a:gd name="T19" fmla="*/ 0 h 6"/>
                <a:gd name="T20" fmla="*/ 2147483647 w 6"/>
                <a:gd name="T21" fmla="*/ 2147483647 h 6"/>
                <a:gd name="T22" fmla="*/ 2147483647 w 6"/>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6"/>
                <a:gd name="T38" fmla="*/ 6 w 6"/>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6">
                  <a:moveTo>
                    <a:pt x="6" y="3"/>
                  </a:moveTo>
                  <a:lnTo>
                    <a:pt x="6" y="4"/>
                  </a:lnTo>
                  <a:lnTo>
                    <a:pt x="6" y="6"/>
                  </a:lnTo>
                  <a:lnTo>
                    <a:pt x="4" y="6"/>
                  </a:lnTo>
                  <a:lnTo>
                    <a:pt x="1" y="4"/>
                  </a:lnTo>
                  <a:lnTo>
                    <a:pt x="0" y="3"/>
                  </a:lnTo>
                  <a:lnTo>
                    <a:pt x="0" y="2"/>
                  </a:lnTo>
                  <a:lnTo>
                    <a:pt x="0" y="1"/>
                  </a:lnTo>
                  <a:lnTo>
                    <a:pt x="1" y="0"/>
                  </a:lnTo>
                  <a:lnTo>
                    <a:pt x="4" y="0"/>
                  </a:lnTo>
                  <a:lnTo>
                    <a:pt x="5" y="2"/>
                  </a:lnTo>
                  <a:lnTo>
                    <a:pt x="6"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6" name="Freeform 195"/>
            <p:cNvSpPr>
              <a:spLocks/>
            </p:cNvSpPr>
            <p:nvPr/>
          </p:nvSpPr>
          <p:spPr bwMode="auto">
            <a:xfrm>
              <a:off x="8618539" y="4999039"/>
              <a:ext cx="6350" cy="11112"/>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0 w 5"/>
                <a:gd name="T9" fmla="*/ 2147483647 h 7"/>
                <a:gd name="T10" fmla="*/ 2147483647 w 5"/>
                <a:gd name="T11" fmla="*/ 2147483647 h 7"/>
                <a:gd name="T12" fmla="*/ 2147483647 w 5"/>
                <a:gd name="T13" fmla="*/ 0 h 7"/>
                <a:gd name="T14" fmla="*/ 2147483647 w 5"/>
                <a:gd name="T15" fmla="*/ 0 h 7"/>
                <a:gd name="T16" fmla="*/ 2147483647 w 5"/>
                <a:gd name="T17" fmla="*/ 2147483647 h 7"/>
                <a:gd name="T18" fmla="*/ 2147483647 w 5"/>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7"/>
                <a:gd name="T32" fmla="*/ 5 w 5"/>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7">
                  <a:moveTo>
                    <a:pt x="5" y="6"/>
                  </a:moveTo>
                  <a:lnTo>
                    <a:pt x="5" y="7"/>
                  </a:lnTo>
                  <a:lnTo>
                    <a:pt x="3" y="7"/>
                  </a:lnTo>
                  <a:lnTo>
                    <a:pt x="1" y="7"/>
                  </a:lnTo>
                  <a:lnTo>
                    <a:pt x="0" y="3"/>
                  </a:lnTo>
                  <a:lnTo>
                    <a:pt x="1" y="1"/>
                  </a:lnTo>
                  <a:lnTo>
                    <a:pt x="2" y="0"/>
                  </a:lnTo>
                  <a:lnTo>
                    <a:pt x="3" y="0"/>
                  </a:lnTo>
                  <a:lnTo>
                    <a:pt x="5" y="1"/>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7" name="Freeform 196"/>
            <p:cNvSpPr>
              <a:spLocks/>
            </p:cNvSpPr>
            <p:nvPr/>
          </p:nvSpPr>
          <p:spPr bwMode="auto">
            <a:xfrm>
              <a:off x="8612192" y="4973642"/>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0 w 6"/>
                <a:gd name="T21" fmla="*/ 2147483647 h 6"/>
                <a:gd name="T22" fmla="*/ 2147483647 w 6"/>
                <a:gd name="T23" fmla="*/ 0 h 6"/>
                <a:gd name="T24" fmla="*/ 2147483647 w 6"/>
                <a:gd name="T25" fmla="*/ 0 h 6"/>
                <a:gd name="T26" fmla="*/ 2147483647 w 6"/>
                <a:gd name="T27" fmla="*/ 2147483647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4"/>
                  </a:moveTo>
                  <a:lnTo>
                    <a:pt x="6" y="4"/>
                  </a:lnTo>
                  <a:lnTo>
                    <a:pt x="6" y="5"/>
                  </a:lnTo>
                  <a:lnTo>
                    <a:pt x="6" y="6"/>
                  </a:lnTo>
                  <a:lnTo>
                    <a:pt x="4" y="6"/>
                  </a:lnTo>
                  <a:lnTo>
                    <a:pt x="1" y="5"/>
                  </a:lnTo>
                  <a:lnTo>
                    <a:pt x="0" y="4"/>
                  </a:lnTo>
                  <a:lnTo>
                    <a:pt x="0" y="3"/>
                  </a:lnTo>
                  <a:lnTo>
                    <a:pt x="0" y="2"/>
                  </a:lnTo>
                  <a:lnTo>
                    <a:pt x="1" y="0"/>
                  </a:lnTo>
                  <a:lnTo>
                    <a:pt x="4" y="0"/>
                  </a:lnTo>
                  <a:lnTo>
                    <a:pt x="5" y="3"/>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8" name="Freeform 197"/>
            <p:cNvSpPr>
              <a:spLocks/>
            </p:cNvSpPr>
            <p:nvPr/>
          </p:nvSpPr>
          <p:spPr bwMode="auto">
            <a:xfrm>
              <a:off x="8615363" y="4997452"/>
              <a:ext cx="6350" cy="11113"/>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2147483647 w 5"/>
                <a:gd name="T15" fmla="*/ 2147483647 h 7"/>
                <a:gd name="T16" fmla="*/ 2147483647 w 5"/>
                <a:gd name="T17" fmla="*/ 2147483647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2147483647 w 5"/>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7"/>
                <a:gd name="T47" fmla="*/ 5 w 5"/>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7">
                  <a:moveTo>
                    <a:pt x="5" y="6"/>
                  </a:moveTo>
                  <a:lnTo>
                    <a:pt x="5" y="6"/>
                  </a:lnTo>
                  <a:lnTo>
                    <a:pt x="5" y="7"/>
                  </a:lnTo>
                  <a:lnTo>
                    <a:pt x="4" y="7"/>
                  </a:lnTo>
                  <a:lnTo>
                    <a:pt x="2" y="7"/>
                  </a:lnTo>
                  <a:lnTo>
                    <a:pt x="0" y="3"/>
                  </a:lnTo>
                  <a:lnTo>
                    <a:pt x="2" y="1"/>
                  </a:lnTo>
                  <a:lnTo>
                    <a:pt x="3" y="0"/>
                  </a:lnTo>
                  <a:lnTo>
                    <a:pt x="4" y="0"/>
                  </a:lnTo>
                  <a:lnTo>
                    <a:pt x="5" y="1"/>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99" name="Freeform 198"/>
            <p:cNvSpPr>
              <a:spLocks/>
            </p:cNvSpPr>
            <p:nvPr/>
          </p:nvSpPr>
          <p:spPr bwMode="auto">
            <a:xfrm>
              <a:off x="8631242" y="5022850"/>
              <a:ext cx="7937" cy="7938"/>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2147483647 w 6"/>
                <a:gd name="T9" fmla="*/ 2147483647 h 5"/>
                <a:gd name="T10" fmla="*/ 2147483647 w 6"/>
                <a:gd name="T11" fmla="*/ 0 h 5"/>
                <a:gd name="T12" fmla="*/ 2147483647 w 6"/>
                <a:gd name="T13" fmla="*/ 2147483647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4"/>
                  </a:moveTo>
                  <a:lnTo>
                    <a:pt x="5" y="5"/>
                  </a:lnTo>
                  <a:lnTo>
                    <a:pt x="2" y="4"/>
                  </a:lnTo>
                  <a:lnTo>
                    <a:pt x="0" y="3"/>
                  </a:lnTo>
                  <a:lnTo>
                    <a:pt x="1" y="1"/>
                  </a:lnTo>
                  <a:lnTo>
                    <a:pt x="5" y="0"/>
                  </a:lnTo>
                  <a:lnTo>
                    <a:pt x="6"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0" name="Freeform 199"/>
            <p:cNvSpPr>
              <a:spLocks/>
            </p:cNvSpPr>
            <p:nvPr/>
          </p:nvSpPr>
          <p:spPr bwMode="auto">
            <a:xfrm>
              <a:off x="8845551" y="4987929"/>
              <a:ext cx="9525" cy="9525"/>
            </a:xfrm>
            <a:custGeom>
              <a:avLst/>
              <a:gdLst>
                <a:gd name="T0" fmla="*/ 2147483647 w 7"/>
                <a:gd name="T1" fmla="*/ 0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0 w 7"/>
                <a:gd name="T15" fmla="*/ 2147483647 h 6"/>
                <a:gd name="T16" fmla="*/ 0 w 7"/>
                <a:gd name="T17" fmla="*/ 2147483647 h 6"/>
                <a:gd name="T18" fmla="*/ 2147483647 w 7"/>
                <a:gd name="T19" fmla="*/ 2147483647 h 6"/>
                <a:gd name="T20" fmla="*/ 2147483647 w 7"/>
                <a:gd name="T21" fmla="*/ 0 h 6"/>
                <a:gd name="T22" fmla="*/ 2147483647 w 7"/>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6"/>
                <a:gd name="T38" fmla="*/ 7 w 7"/>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6">
                  <a:moveTo>
                    <a:pt x="6" y="0"/>
                  </a:moveTo>
                  <a:lnTo>
                    <a:pt x="7" y="1"/>
                  </a:lnTo>
                  <a:lnTo>
                    <a:pt x="7" y="2"/>
                  </a:lnTo>
                  <a:lnTo>
                    <a:pt x="7" y="3"/>
                  </a:lnTo>
                  <a:lnTo>
                    <a:pt x="6" y="4"/>
                  </a:lnTo>
                  <a:lnTo>
                    <a:pt x="3" y="6"/>
                  </a:lnTo>
                  <a:lnTo>
                    <a:pt x="2" y="6"/>
                  </a:lnTo>
                  <a:lnTo>
                    <a:pt x="0" y="4"/>
                  </a:lnTo>
                  <a:lnTo>
                    <a:pt x="0" y="2"/>
                  </a:lnTo>
                  <a:lnTo>
                    <a:pt x="1" y="1"/>
                  </a:lnTo>
                  <a:lnTo>
                    <a:pt x="3" y="0"/>
                  </a:lnTo>
                  <a:lnTo>
                    <a:pt x="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1" name="Freeform 200"/>
            <p:cNvSpPr>
              <a:spLocks/>
            </p:cNvSpPr>
            <p:nvPr/>
          </p:nvSpPr>
          <p:spPr bwMode="auto">
            <a:xfrm>
              <a:off x="8628063" y="5021267"/>
              <a:ext cx="11112" cy="7937"/>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0 w 7"/>
                <a:gd name="T9" fmla="*/ 2147483647 h 5"/>
                <a:gd name="T10" fmla="*/ 0 w 7"/>
                <a:gd name="T11" fmla="*/ 2147483647 h 5"/>
                <a:gd name="T12" fmla="*/ 2147483647 w 7"/>
                <a:gd name="T13" fmla="*/ 2147483647 h 5"/>
                <a:gd name="T14" fmla="*/ 2147483647 w 7"/>
                <a:gd name="T15" fmla="*/ 2147483647 h 5"/>
                <a:gd name="T16" fmla="*/ 2147483647 w 7"/>
                <a:gd name="T17" fmla="*/ 0 h 5"/>
                <a:gd name="T18" fmla="*/ 2147483647 w 7"/>
                <a:gd name="T19" fmla="*/ 2147483647 h 5"/>
                <a:gd name="T20" fmla="*/ 2147483647 w 7"/>
                <a:gd name="T21" fmla="*/ 2147483647 h 5"/>
                <a:gd name="T22" fmla="*/ 2147483647 w 7"/>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5"/>
                <a:gd name="T38" fmla="*/ 7 w 7"/>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5">
                  <a:moveTo>
                    <a:pt x="7" y="4"/>
                  </a:moveTo>
                  <a:lnTo>
                    <a:pt x="7" y="4"/>
                  </a:lnTo>
                  <a:lnTo>
                    <a:pt x="5" y="5"/>
                  </a:lnTo>
                  <a:lnTo>
                    <a:pt x="3" y="4"/>
                  </a:lnTo>
                  <a:lnTo>
                    <a:pt x="0" y="2"/>
                  </a:lnTo>
                  <a:lnTo>
                    <a:pt x="2" y="1"/>
                  </a:lnTo>
                  <a:lnTo>
                    <a:pt x="5" y="0"/>
                  </a:lnTo>
                  <a:lnTo>
                    <a:pt x="7" y="1"/>
                  </a:lnTo>
                  <a:lnTo>
                    <a:pt x="7"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2" name="Freeform 201"/>
            <p:cNvSpPr>
              <a:spLocks/>
            </p:cNvSpPr>
            <p:nvPr/>
          </p:nvSpPr>
          <p:spPr bwMode="auto">
            <a:xfrm>
              <a:off x="8842379" y="4986342"/>
              <a:ext cx="11113" cy="7937"/>
            </a:xfrm>
            <a:custGeom>
              <a:avLst/>
              <a:gdLst>
                <a:gd name="T0" fmla="*/ 2147483647 w 8"/>
                <a:gd name="T1" fmla="*/ 0 h 5"/>
                <a:gd name="T2" fmla="*/ 2147483647 w 8"/>
                <a:gd name="T3" fmla="*/ 0 h 5"/>
                <a:gd name="T4" fmla="*/ 2147483647 w 8"/>
                <a:gd name="T5" fmla="*/ 2147483647 h 5"/>
                <a:gd name="T6" fmla="*/ 2147483647 w 8"/>
                <a:gd name="T7" fmla="*/ 2147483647 h 5"/>
                <a:gd name="T8" fmla="*/ 2147483647 w 8"/>
                <a:gd name="T9" fmla="*/ 2147483647 h 5"/>
                <a:gd name="T10" fmla="*/ 2147483647 w 8"/>
                <a:gd name="T11" fmla="*/ 2147483647 h 5"/>
                <a:gd name="T12" fmla="*/ 2147483647 w 8"/>
                <a:gd name="T13" fmla="*/ 2147483647 h 5"/>
                <a:gd name="T14" fmla="*/ 2147483647 w 8"/>
                <a:gd name="T15" fmla="*/ 2147483647 h 5"/>
                <a:gd name="T16" fmla="*/ 2147483647 w 8"/>
                <a:gd name="T17" fmla="*/ 2147483647 h 5"/>
                <a:gd name="T18" fmla="*/ 0 w 8"/>
                <a:gd name="T19" fmla="*/ 2147483647 h 5"/>
                <a:gd name="T20" fmla="*/ 0 w 8"/>
                <a:gd name="T21" fmla="*/ 2147483647 h 5"/>
                <a:gd name="T22" fmla="*/ 0 w 8"/>
                <a:gd name="T23" fmla="*/ 2147483647 h 5"/>
                <a:gd name="T24" fmla="*/ 2147483647 w 8"/>
                <a:gd name="T25" fmla="*/ 2147483647 h 5"/>
                <a:gd name="T26" fmla="*/ 2147483647 w 8"/>
                <a:gd name="T27" fmla="*/ 0 h 5"/>
                <a:gd name="T28" fmla="*/ 2147483647 w 8"/>
                <a:gd name="T29" fmla="*/ 0 h 5"/>
                <a:gd name="T30" fmla="*/ 2147483647 w 8"/>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7" y="0"/>
                  </a:moveTo>
                  <a:lnTo>
                    <a:pt x="7" y="0"/>
                  </a:lnTo>
                  <a:lnTo>
                    <a:pt x="8" y="1"/>
                  </a:lnTo>
                  <a:lnTo>
                    <a:pt x="8" y="2"/>
                  </a:lnTo>
                  <a:lnTo>
                    <a:pt x="8" y="3"/>
                  </a:lnTo>
                  <a:lnTo>
                    <a:pt x="7" y="4"/>
                  </a:lnTo>
                  <a:lnTo>
                    <a:pt x="4" y="5"/>
                  </a:lnTo>
                  <a:lnTo>
                    <a:pt x="3" y="5"/>
                  </a:lnTo>
                  <a:lnTo>
                    <a:pt x="0" y="4"/>
                  </a:lnTo>
                  <a:lnTo>
                    <a:pt x="0" y="2"/>
                  </a:lnTo>
                  <a:lnTo>
                    <a:pt x="2" y="1"/>
                  </a:lnTo>
                  <a:lnTo>
                    <a:pt x="4" y="0"/>
                  </a:lnTo>
                  <a:lnTo>
                    <a:pt x="7"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3" name="Freeform 202"/>
            <p:cNvSpPr>
              <a:spLocks/>
            </p:cNvSpPr>
            <p:nvPr/>
          </p:nvSpPr>
          <p:spPr bwMode="auto">
            <a:xfrm>
              <a:off x="8558213" y="5041904"/>
              <a:ext cx="19050" cy="22225"/>
            </a:xfrm>
            <a:custGeom>
              <a:avLst/>
              <a:gdLst>
                <a:gd name="T0" fmla="*/ 2147483647 w 13"/>
                <a:gd name="T1" fmla="*/ 2147483647 h 14"/>
                <a:gd name="T2" fmla="*/ 2147483647 w 13"/>
                <a:gd name="T3" fmla="*/ 2147483647 h 14"/>
                <a:gd name="T4" fmla="*/ 2147483647 w 13"/>
                <a:gd name="T5" fmla="*/ 2147483647 h 14"/>
                <a:gd name="T6" fmla="*/ 2147483647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w 13"/>
                <a:gd name="T17" fmla="*/ 2147483647 h 14"/>
                <a:gd name="T18" fmla="*/ 0 w 13"/>
                <a:gd name="T19" fmla="*/ 2147483647 h 14"/>
                <a:gd name="T20" fmla="*/ 0 w 13"/>
                <a:gd name="T21" fmla="*/ 2147483647 h 14"/>
                <a:gd name="T22" fmla="*/ 2147483647 w 13"/>
                <a:gd name="T23" fmla="*/ 2147483647 h 14"/>
                <a:gd name="T24" fmla="*/ 2147483647 w 13"/>
                <a:gd name="T25" fmla="*/ 0 h 14"/>
                <a:gd name="T26" fmla="*/ 2147483647 w 13"/>
                <a:gd name="T27" fmla="*/ 0 h 14"/>
                <a:gd name="T28" fmla="*/ 2147483647 w 13"/>
                <a:gd name="T29" fmla="*/ 2147483647 h 14"/>
                <a:gd name="T30" fmla="*/ 2147483647 w 13"/>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14"/>
                <a:gd name="T50" fmla="*/ 13 w 13"/>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14">
                  <a:moveTo>
                    <a:pt x="10" y="7"/>
                  </a:moveTo>
                  <a:lnTo>
                    <a:pt x="11" y="8"/>
                  </a:lnTo>
                  <a:lnTo>
                    <a:pt x="13" y="10"/>
                  </a:lnTo>
                  <a:lnTo>
                    <a:pt x="11" y="11"/>
                  </a:lnTo>
                  <a:lnTo>
                    <a:pt x="9" y="13"/>
                  </a:lnTo>
                  <a:lnTo>
                    <a:pt x="5" y="14"/>
                  </a:lnTo>
                  <a:lnTo>
                    <a:pt x="3" y="14"/>
                  </a:lnTo>
                  <a:lnTo>
                    <a:pt x="1" y="13"/>
                  </a:lnTo>
                  <a:lnTo>
                    <a:pt x="0" y="11"/>
                  </a:lnTo>
                  <a:lnTo>
                    <a:pt x="0" y="7"/>
                  </a:lnTo>
                  <a:lnTo>
                    <a:pt x="0" y="4"/>
                  </a:lnTo>
                  <a:lnTo>
                    <a:pt x="1" y="1"/>
                  </a:lnTo>
                  <a:lnTo>
                    <a:pt x="5" y="0"/>
                  </a:lnTo>
                  <a:lnTo>
                    <a:pt x="6" y="0"/>
                  </a:lnTo>
                  <a:lnTo>
                    <a:pt x="8" y="2"/>
                  </a:lnTo>
                  <a:lnTo>
                    <a:pt x="10"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4" name="Freeform 203"/>
            <p:cNvSpPr>
              <a:spLocks/>
            </p:cNvSpPr>
            <p:nvPr/>
          </p:nvSpPr>
          <p:spPr bwMode="auto">
            <a:xfrm>
              <a:off x="8582026" y="5062542"/>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0 h 6"/>
                <a:gd name="T14" fmla="*/ 2147483647 w 6"/>
                <a:gd name="T15" fmla="*/ 0 h 6"/>
                <a:gd name="T16" fmla="*/ 2147483647 w 6"/>
                <a:gd name="T17" fmla="*/ 0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4"/>
                  </a:moveTo>
                  <a:lnTo>
                    <a:pt x="6" y="6"/>
                  </a:lnTo>
                  <a:lnTo>
                    <a:pt x="3" y="6"/>
                  </a:lnTo>
                  <a:lnTo>
                    <a:pt x="1" y="5"/>
                  </a:lnTo>
                  <a:lnTo>
                    <a:pt x="0" y="3"/>
                  </a:lnTo>
                  <a:lnTo>
                    <a:pt x="0" y="1"/>
                  </a:lnTo>
                  <a:lnTo>
                    <a:pt x="0" y="0"/>
                  </a:lnTo>
                  <a:lnTo>
                    <a:pt x="2" y="0"/>
                  </a:lnTo>
                  <a:lnTo>
                    <a:pt x="3" y="0"/>
                  </a:lnTo>
                  <a:lnTo>
                    <a:pt x="5"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5" name="Freeform 204"/>
            <p:cNvSpPr>
              <a:spLocks/>
            </p:cNvSpPr>
            <p:nvPr/>
          </p:nvSpPr>
          <p:spPr bwMode="auto">
            <a:xfrm>
              <a:off x="8556629" y="5040317"/>
              <a:ext cx="17463" cy="22225"/>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2147483647 w 12"/>
                <a:gd name="T15" fmla="*/ 2147483647 h 14"/>
                <a:gd name="T16" fmla="*/ 2147483647 w 12"/>
                <a:gd name="T17" fmla="*/ 2147483647 h 14"/>
                <a:gd name="T18" fmla="*/ 2147483647 w 12"/>
                <a:gd name="T19" fmla="*/ 2147483647 h 14"/>
                <a:gd name="T20" fmla="*/ 0 w 12"/>
                <a:gd name="T21" fmla="*/ 2147483647 h 14"/>
                <a:gd name="T22" fmla="*/ 0 w 12"/>
                <a:gd name="T23" fmla="*/ 2147483647 h 14"/>
                <a:gd name="T24" fmla="*/ 0 w 12"/>
                <a:gd name="T25" fmla="*/ 2147483647 h 14"/>
                <a:gd name="T26" fmla="*/ 0 w 12"/>
                <a:gd name="T27" fmla="*/ 2147483647 h 14"/>
                <a:gd name="T28" fmla="*/ 2147483647 w 12"/>
                <a:gd name="T29" fmla="*/ 2147483647 h 14"/>
                <a:gd name="T30" fmla="*/ 2147483647 w 12"/>
                <a:gd name="T31" fmla="*/ 0 h 14"/>
                <a:gd name="T32" fmla="*/ 2147483647 w 12"/>
                <a:gd name="T33" fmla="*/ 0 h 14"/>
                <a:gd name="T34" fmla="*/ 2147483647 w 12"/>
                <a:gd name="T35" fmla="*/ 0 h 14"/>
                <a:gd name="T36" fmla="*/ 2147483647 w 12"/>
                <a:gd name="T37" fmla="*/ 2147483647 h 14"/>
                <a:gd name="T38" fmla="*/ 2147483647 w 12"/>
                <a:gd name="T39" fmla="*/ 2147483647 h 14"/>
                <a:gd name="T40" fmla="*/ 2147483647 w 12"/>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14"/>
                <a:gd name="T65" fmla="*/ 12 w 12"/>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14">
                  <a:moveTo>
                    <a:pt x="10" y="7"/>
                  </a:moveTo>
                  <a:lnTo>
                    <a:pt x="10" y="7"/>
                  </a:lnTo>
                  <a:lnTo>
                    <a:pt x="11" y="8"/>
                  </a:lnTo>
                  <a:lnTo>
                    <a:pt x="12" y="9"/>
                  </a:lnTo>
                  <a:lnTo>
                    <a:pt x="11" y="11"/>
                  </a:lnTo>
                  <a:lnTo>
                    <a:pt x="9" y="13"/>
                  </a:lnTo>
                  <a:lnTo>
                    <a:pt x="5" y="14"/>
                  </a:lnTo>
                  <a:lnTo>
                    <a:pt x="2" y="14"/>
                  </a:lnTo>
                  <a:lnTo>
                    <a:pt x="1" y="13"/>
                  </a:lnTo>
                  <a:lnTo>
                    <a:pt x="0" y="11"/>
                  </a:lnTo>
                  <a:lnTo>
                    <a:pt x="0" y="7"/>
                  </a:lnTo>
                  <a:lnTo>
                    <a:pt x="0" y="3"/>
                  </a:lnTo>
                  <a:lnTo>
                    <a:pt x="1" y="1"/>
                  </a:lnTo>
                  <a:lnTo>
                    <a:pt x="5" y="0"/>
                  </a:lnTo>
                  <a:lnTo>
                    <a:pt x="6" y="0"/>
                  </a:lnTo>
                  <a:lnTo>
                    <a:pt x="7" y="2"/>
                  </a:lnTo>
                  <a:lnTo>
                    <a:pt x="10"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6" name="Freeform 205"/>
            <p:cNvSpPr>
              <a:spLocks/>
            </p:cNvSpPr>
            <p:nvPr/>
          </p:nvSpPr>
          <p:spPr bwMode="auto">
            <a:xfrm>
              <a:off x="8580441" y="5060954"/>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0 w 7"/>
                <a:gd name="T15" fmla="*/ 2147483647 h 6"/>
                <a:gd name="T16" fmla="*/ 0 w 7"/>
                <a:gd name="T17" fmla="*/ 2147483647 h 6"/>
                <a:gd name="T18" fmla="*/ 0 w 7"/>
                <a:gd name="T19" fmla="*/ 2147483647 h 6"/>
                <a:gd name="T20" fmla="*/ 0 w 7"/>
                <a:gd name="T21" fmla="*/ 0 h 6"/>
                <a:gd name="T22" fmla="*/ 0 w 7"/>
                <a:gd name="T23" fmla="*/ 0 h 6"/>
                <a:gd name="T24" fmla="*/ 2147483647 w 7"/>
                <a:gd name="T25" fmla="*/ 0 h 6"/>
                <a:gd name="T26" fmla="*/ 2147483647 w 7"/>
                <a:gd name="T27" fmla="*/ 0 h 6"/>
                <a:gd name="T28" fmla="*/ 2147483647 w 7"/>
                <a:gd name="T29" fmla="*/ 2147483647 h 6"/>
                <a:gd name="T30" fmla="*/ 2147483647 w 7"/>
                <a:gd name="T31" fmla="*/ 2147483647 h 6"/>
                <a:gd name="T32" fmla="*/ 2147483647 w 7"/>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6"/>
                <a:gd name="T53" fmla="*/ 7 w 7"/>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6">
                  <a:moveTo>
                    <a:pt x="7" y="4"/>
                  </a:moveTo>
                  <a:lnTo>
                    <a:pt x="7" y="4"/>
                  </a:lnTo>
                  <a:lnTo>
                    <a:pt x="7" y="6"/>
                  </a:lnTo>
                  <a:lnTo>
                    <a:pt x="4" y="6"/>
                  </a:lnTo>
                  <a:lnTo>
                    <a:pt x="2" y="5"/>
                  </a:lnTo>
                  <a:lnTo>
                    <a:pt x="0" y="2"/>
                  </a:lnTo>
                  <a:lnTo>
                    <a:pt x="0" y="1"/>
                  </a:lnTo>
                  <a:lnTo>
                    <a:pt x="0" y="0"/>
                  </a:lnTo>
                  <a:lnTo>
                    <a:pt x="3" y="0"/>
                  </a:lnTo>
                  <a:lnTo>
                    <a:pt x="4" y="0"/>
                  </a:lnTo>
                  <a:lnTo>
                    <a:pt x="5" y="1"/>
                  </a:lnTo>
                  <a:lnTo>
                    <a:pt x="7"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7" name="Freeform 206"/>
            <p:cNvSpPr>
              <a:spLocks/>
            </p:cNvSpPr>
            <p:nvPr/>
          </p:nvSpPr>
          <p:spPr bwMode="auto">
            <a:xfrm>
              <a:off x="8543926" y="5033967"/>
              <a:ext cx="6350" cy="7937"/>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2147483647 w 4"/>
                <a:gd name="T13" fmla="*/ 0 h 5"/>
                <a:gd name="T14" fmla="*/ 2147483647 w 4"/>
                <a:gd name="T15" fmla="*/ 0 h 5"/>
                <a:gd name="T16" fmla="*/ 2147483647 w 4"/>
                <a:gd name="T17" fmla="*/ 0 h 5"/>
                <a:gd name="T18" fmla="*/ 2147483647 w 4"/>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4" y="4"/>
                  </a:moveTo>
                  <a:lnTo>
                    <a:pt x="4" y="5"/>
                  </a:lnTo>
                  <a:lnTo>
                    <a:pt x="3" y="5"/>
                  </a:lnTo>
                  <a:lnTo>
                    <a:pt x="1" y="5"/>
                  </a:lnTo>
                  <a:lnTo>
                    <a:pt x="0" y="3"/>
                  </a:lnTo>
                  <a:lnTo>
                    <a:pt x="0" y="2"/>
                  </a:lnTo>
                  <a:lnTo>
                    <a:pt x="1" y="0"/>
                  </a:lnTo>
                  <a:lnTo>
                    <a:pt x="3" y="0"/>
                  </a:lnTo>
                  <a:lnTo>
                    <a:pt x="4" y="0"/>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8" name="Freeform 207"/>
            <p:cNvSpPr>
              <a:spLocks/>
            </p:cNvSpPr>
            <p:nvPr/>
          </p:nvSpPr>
          <p:spPr bwMode="auto">
            <a:xfrm>
              <a:off x="8486775" y="5022853"/>
              <a:ext cx="79375" cy="76200"/>
            </a:xfrm>
            <a:custGeom>
              <a:avLst/>
              <a:gdLst>
                <a:gd name="T0" fmla="*/ 2147483647 w 54"/>
                <a:gd name="T1" fmla="*/ 2147483647 h 48"/>
                <a:gd name="T2" fmla="*/ 2147483647 w 54"/>
                <a:gd name="T3" fmla="*/ 2147483647 h 48"/>
                <a:gd name="T4" fmla="*/ 2147483647 w 54"/>
                <a:gd name="T5" fmla="*/ 2147483647 h 48"/>
                <a:gd name="T6" fmla="*/ 2147483647 w 54"/>
                <a:gd name="T7" fmla="*/ 2147483647 h 48"/>
                <a:gd name="T8" fmla="*/ 2147483647 w 54"/>
                <a:gd name="T9" fmla="*/ 2147483647 h 48"/>
                <a:gd name="T10" fmla="*/ 2147483647 w 54"/>
                <a:gd name="T11" fmla="*/ 2147483647 h 48"/>
                <a:gd name="T12" fmla="*/ 2147483647 w 54"/>
                <a:gd name="T13" fmla="*/ 2147483647 h 48"/>
                <a:gd name="T14" fmla="*/ 2147483647 w 54"/>
                <a:gd name="T15" fmla="*/ 2147483647 h 48"/>
                <a:gd name="T16" fmla="*/ 2147483647 w 54"/>
                <a:gd name="T17" fmla="*/ 2147483647 h 48"/>
                <a:gd name="T18" fmla="*/ 2147483647 w 54"/>
                <a:gd name="T19" fmla="*/ 2147483647 h 48"/>
                <a:gd name="T20" fmla="*/ 2147483647 w 54"/>
                <a:gd name="T21" fmla="*/ 2147483647 h 48"/>
                <a:gd name="T22" fmla="*/ 2147483647 w 54"/>
                <a:gd name="T23" fmla="*/ 2147483647 h 48"/>
                <a:gd name="T24" fmla="*/ 2147483647 w 54"/>
                <a:gd name="T25" fmla="*/ 2147483647 h 48"/>
                <a:gd name="T26" fmla="*/ 2147483647 w 54"/>
                <a:gd name="T27" fmla="*/ 2147483647 h 48"/>
                <a:gd name="T28" fmla="*/ 0 w 54"/>
                <a:gd name="T29" fmla="*/ 2147483647 h 48"/>
                <a:gd name="T30" fmla="*/ 0 w 54"/>
                <a:gd name="T31" fmla="*/ 2147483647 h 48"/>
                <a:gd name="T32" fmla="*/ 2147483647 w 54"/>
                <a:gd name="T33" fmla="*/ 0 h 48"/>
                <a:gd name="T34" fmla="*/ 2147483647 w 54"/>
                <a:gd name="T35" fmla="*/ 0 h 48"/>
                <a:gd name="T36" fmla="*/ 2147483647 w 54"/>
                <a:gd name="T37" fmla="*/ 0 h 48"/>
                <a:gd name="T38" fmla="*/ 2147483647 w 54"/>
                <a:gd name="T39" fmla="*/ 2147483647 h 48"/>
                <a:gd name="T40" fmla="*/ 2147483647 w 54"/>
                <a:gd name="T41" fmla="*/ 2147483647 h 48"/>
                <a:gd name="T42" fmla="*/ 2147483647 w 54"/>
                <a:gd name="T43" fmla="*/ 2147483647 h 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48"/>
                <a:gd name="T68" fmla="*/ 54 w 54"/>
                <a:gd name="T69" fmla="*/ 48 h 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48">
                  <a:moveTo>
                    <a:pt x="37" y="28"/>
                  </a:moveTo>
                  <a:lnTo>
                    <a:pt x="51" y="39"/>
                  </a:lnTo>
                  <a:lnTo>
                    <a:pt x="54" y="45"/>
                  </a:lnTo>
                  <a:lnTo>
                    <a:pt x="54" y="46"/>
                  </a:lnTo>
                  <a:lnTo>
                    <a:pt x="53" y="48"/>
                  </a:lnTo>
                  <a:lnTo>
                    <a:pt x="49" y="48"/>
                  </a:lnTo>
                  <a:lnTo>
                    <a:pt x="45" y="46"/>
                  </a:lnTo>
                  <a:lnTo>
                    <a:pt x="38" y="42"/>
                  </a:lnTo>
                  <a:lnTo>
                    <a:pt x="28" y="37"/>
                  </a:lnTo>
                  <a:lnTo>
                    <a:pt x="19" y="32"/>
                  </a:lnTo>
                  <a:lnTo>
                    <a:pt x="14" y="26"/>
                  </a:lnTo>
                  <a:lnTo>
                    <a:pt x="9" y="17"/>
                  </a:lnTo>
                  <a:lnTo>
                    <a:pt x="6" y="13"/>
                  </a:lnTo>
                  <a:lnTo>
                    <a:pt x="2" y="10"/>
                  </a:lnTo>
                  <a:lnTo>
                    <a:pt x="0" y="6"/>
                  </a:lnTo>
                  <a:lnTo>
                    <a:pt x="0" y="3"/>
                  </a:lnTo>
                  <a:lnTo>
                    <a:pt x="2" y="0"/>
                  </a:lnTo>
                  <a:lnTo>
                    <a:pt x="4" y="0"/>
                  </a:lnTo>
                  <a:lnTo>
                    <a:pt x="6" y="0"/>
                  </a:lnTo>
                  <a:lnTo>
                    <a:pt x="14" y="5"/>
                  </a:lnTo>
                  <a:lnTo>
                    <a:pt x="23" y="13"/>
                  </a:lnTo>
                  <a:lnTo>
                    <a:pt x="37"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09" name="Freeform 208"/>
            <p:cNvSpPr>
              <a:spLocks/>
            </p:cNvSpPr>
            <p:nvPr/>
          </p:nvSpPr>
          <p:spPr bwMode="auto">
            <a:xfrm>
              <a:off x="8543925" y="5032375"/>
              <a:ext cx="4763" cy="7938"/>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0 w 4"/>
                <a:gd name="T13" fmla="*/ 2147483647 h 5"/>
                <a:gd name="T14" fmla="*/ 0 w 4"/>
                <a:gd name="T15" fmla="*/ 2147483647 h 5"/>
                <a:gd name="T16" fmla="*/ 2147483647 w 4"/>
                <a:gd name="T17" fmla="*/ 0 h 5"/>
                <a:gd name="T18" fmla="*/ 2147483647 w 4"/>
                <a:gd name="T19" fmla="*/ 0 h 5"/>
                <a:gd name="T20" fmla="*/ 2147483647 w 4"/>
                <a:gd name="T21" fmla="*/ 0 h 5"/>
                <a:gd name="T22" fmla="*/ 2147483647 w 4"/>
                <a:gd name="T23" fmla="*/ 0 h 5"/>
                <a:gd name="T24" fmla="*/ 2147483647 w 4"/>
                <a:gd name="T25" fmla="*/ 2147483647 h 5"/>
                <a:gd name="T26" fmla="*/ 2147483647 w 4"/>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5"/>
                <a:gd name="T44" fmla="*/ 4 w 4"/>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5">
                  <a:moveTo>
                    <a:pt x="4" y="4"/>
                  </a:moveTo>
                  <a:lnTo>
                    <a:pt x="4" y="4"/>
                  </a:lnTo>
                  <a:lnTo>
                    <a:pt x="4" y="5"/>
                  </a:lnTo>
                  <a:lnTo>
                    <a:pt x="2" y="5"/>
                  </a:lnTo>
                  <a:lnTo>
                    <a:pt x="1" y="5"/>
                  </a:lnTo>
                  <a:lnTo>
                    <a:pt x="0" y="3"/>
                  </a:lnTo>
                  <a:lnTo>
                    <a:pt x="0" y="1"/>
                  </a:lnTo>
                  <a:lnTo>
                    <a:pt x="1" y="0"/>
                  </a:lnTo>
                  <a:lnTo>
                    <a:pt x="2" y="0"/>
                  </a:lnTo>
                  <a:lnTo>
                    <a:pt x="4" y="0"/>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0" name="Freeform 209"/>
            <p:cNvSpPr>
              <a:spLocks/>
            </p:cNvSpPr>
            <p:nvPr/>
          </p:nvSpPr>
          <p:spPr bwMode="auto">
            <a:xfrm>
              <a:off x="8485189" y="5021264"/>
              <a:ext cx="79375" cy="74612"/>
            </a:xfrm>
            <a:custGeom>
              <a:avLst/>
              <a:gdLst>
                <a:gd name="T0" fmla="*/ 2147483647 w 55"/>
                <a:gd name="T1" fmla="*/ 2147483647 h 47"/>
                <a:gd name="T2" fmla="*/ 2147483647 w 55"/>
                <a:gd name="T3" fmla="*/ 2147483647 h 47"/>
                <a:gd name="T4" fmla="*/ 2147483647 w 55"/>
                <a:gd name="T5" fmla="*/ 2147483647 h 47"/>
                <a:gd name="T6" fmla="*/ 2147483647 w 55"/>
                <a:gd name="T7" fmla="*/ 2147483647 h 47"/>
                <a:gd name="T8" fmla="*/ 2147483647 w 55"/>
                <a:gd name="T9" fmla="*/ 2147483647 h 47"/>
                <a:gd name="T10" fmla="*/ 2147483647 w 55"/>
                <a:gd name="T11" fmla="*/ 2147483647 h 47"/>
                <a:gd name="T12" fmla="*/ 2147483647 w 55"/>
                <a:gd name="T13" fmla="*/ 2147483647 h 47"/>
                <a:gd name="T14" fmla="*/ 2147483647 w 55"/>
                <a:gd name="T15" fmla="*/ 2147483647 h 47"/>
                <a:gd name="T16" fmla="*/ 2147483647 w 55"/>
                <a:gd name="T17" fmla="*/ 2147483647 h 47"/>
                <a:gd name="T18" fmla="*/ 2147483647 w 55"/>
                <a:gd name="T19" fmla="*/ 2147483647 h 47"/>
                <a:gd name="T20" fmla="*/ 2147483647 w 55"/>
                <a:gd name="T21" fmla="*/ 2147483647 h 47"/>
                <a:gd name="T22" fmla="*/ 2147483647 w 55"/>
                <a:gd name="T23" fmla="*/ 2147483647 h 47"/>
                <a:gd name="T24" fmla="*/ 2147483647 w 55"/>
                <a:gd name="T25" fmla="*/ 2147483647 h 47"/>
                <a:gd name="T26" fmla="*/ 2147483647 w 55"/>
                <a:gd name="T27" fmla="*/ 2147483647 h 47"/>
                <a:gd name="T28" fmla="*/ 2147483647 w 55"/>
                <a:gd name="T29" fmla="*/ 2147483647 h 47"/>
                <a:gd name="T30" fmla="*/ 2147483647 w 55"/>
                <a:gd name="T31" fmla="*/ 2147483647 h 47"/>
                <a:gd name="T32" fmla="*/ 2147483647 w 55"/>
                <a:gd name="T33" fmla="*/ 2147483647 h 47"/>
                <a:gd name="T34" fmla="*/ 2147483647 w 55"/>
                <a:gd name="T35" fmla="*/ 2147483647 h 47"/>
                <a:gd name="T36" fmla="*/ 2147483647 w 55"/>
                <a:gd name="T37" fmla="*/ 2147483647 h 47"/>
                <a:gd name="T38" fmla="*/ 0 w 55"/>
                <a:gd name="T39" fmla="*/ 2147483647 h 47"/>
                <a:gd name="T40" fmla="*/ 0 w 55"/>
                <a:gd name="T41" fmla="*/ 2147483647 h 47"/>
                <a:gd name="T42" fmla="*/ 2147483647 w 55"/>
                <a:gd name="T43" fmla="*/ 0 h 47"/>
                <a:gd name="T44" fmla="*/ 2147483647 w 55"/>
                <a:gd name="T45" fmla="*/ 0 h 47"/>
                <a:gd name="T46" fmla="*/ 2147483647 w 55"/>
                <a:gd name="T47" fmla="*/ 0 h 47"/>
                <a:gd name="T48" fmla="*/ 2147483647 w 55"/>
                <a:gd name="T49" fmla="*/ 0 h 47"/>
                <a:gd name="T50" fmla="*/ 2147483647 w 55"/>
                <a:gd name="T51" fmla="*/ 2147483647 h 47"/>
                <a:gd name="T52" fmla="*/ 2147483647 w 55"/>
                <a:gd name="T53" fmla="*/ 2147483647 h 47"/>
                <a:gd name="T54" fmla="*/ 2147483647 w 55"/>
                <a:gd name="T55" fmla="*/ 2147483647 h 47"/>
                <a:gd name="T56" fmla="*/ 2147483647 w 55"/>
                <a:gd name="T57" fmla="*/ 214748364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5"/>
                <a:gd name="T88" fmla="*/ 0 h 47"/>
                <a:gd name="T89" fmla="*/ 55 w 55"/>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5" h="47">
                  <a:moveTo>
                    <a:pt x="37" y="27"/>
                  </a:moveTo>
                  <a:lnTo>
                    <a:pt x="37" y="27"/>
                  </a:lnTo>
                  <a:lnTo>
                    <a:pt x="51" y="39"/>
                  </a:lnTo>
                  <a:lnTo>
                    <a:pt x="55" y="45"/>
                  </a:lnTo>
                  <a:lnTo>
                    <a:pt x="55" y="46"/>
                  </a:lnTo>
                  <a:lnTo>
                    <a:pt x="54" y="47"/>
                  </a:lnTo>
                  <a:lnTo>
                    <a:pt x="50" y="47"/>
                  </a:lnTo>
                  <a:lnTo>
                    <a:pt x="46" y="46"/>
                  </a:lnTo>
                  <a:lnTo>
                    <a:pt x="39" y="42"/>
                  </a:lnTo>
                  <a:lnTo>
                    <a:pt x="28" y="37"/>
                  </a:lnTo>
                  <a:lnTo>
                    <a:pt x="20" y="32"/>
                  </a:lnTo>
                  <a:lnTo>
                    <a:pt x="14" y="26"/>
                  </a:lnTo>
                  <a:lnTo>
                    <a:pt x="9" y="17"/>
                  </a:lnTo>
                  <a:lnTo>
                    <a:pt x="7" y="13"/>
                  </a:lnTo>
                  <a:lnTo>
                    <a:pt x="3" y="10"/>
                  </a:lnTo>
                  <a:lnTo>
                    <a:pt x="0" y="6"/>
                  </a:lnTo>
                  <a:lnTo>
                    <a:pt x="0" y="2"/>
                  </a:lnTo>
                  <a:lnTo>
                    <a:pt x="3" y="0"/>
                  </a:lnTo>
                  <a:lnTo>
                    <a:pt x="4" y="0"/>
                  </a:lnTo>
                  <a:lnTo>
                    <a:pt x="7" y="0"/>
                  </a:lnTo>
                  <a:lnTo>
                    <a:pt x="14" y="5"/>
                  </a:lnTo>
                  <a:lnTo>
                    <a:pt x="23" y="13"/>
                  </a:lnTo>
                  <a:lnTo>
                    <a:pt x="37" y="2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1" name="Freeform 210"/>
            <p:cNvSpPr>
              <a:spLocks/>
            </p:cNvSpPr>
            <p:nvPr/>
          </p:nvSpPr>
          <p:spPr bwMode="auto">
            <a:xfrm>
              <a:off x="8813802" y="4937125"/>
              <a:ext cx="49213" cy="39688"/>
            </a:xfrm>
            <a:custGeom>
              <a:avLst/>
              <a:gdLst>
                <a:gd name="T0" fmla="*/ 2147483647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0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0 h 25"/>
                <a:gd name="T20" fmla="*/ 2147483647 w 33"/>
                <a:gd name="T21" fmla="*/ 0 h 25"/>
                <a:gd name="T22" fmla="*/ 2147483647 w 33"/>
                <a:gd name="T23" fmla="*/ 2147483647 h 25"/>
                <a:gd name="T24" fmla="*/ 2147483647 w 33"/>
                <a:gd name="T25" fmla="*/ 2147483647 h 25"/>
                <a:gd name="T26" fmla="*/ 2147483647 w 33"/>
                <a:gd name="T27" fmla="*/ 2147483647 h 25"/>
                <a:gd name="T28" fmla="*/ 2147483647 w 33"/>
                <a:gd name="T29" fmla="*/ 2147483647 h 25"/>
                <a:gd name="T30" fmla="*/ 2147483647 w 33"/>
                <a:gd name="T31" fmla="*/ 2147483647 h 25"/>
                <a:gd name="T32" fmla="*/ 2147483647 w 33"/>
                <a:gd name="T33" fmla="*/ 2147483647 h 25"/>
                <a:gd name="T34" fmla="*/ 2147483647 w 33"/>
                <a:gd name="T35" fmla="*/ 2147483647 h 25"/>
                <a:gd name="T36" fmla="*/ 2147483647 w 33"/>
                <a:gd name="T37" fmla="*/ 2147483647 h 25"/>
                <a:gd name="T38" fmla="*/ 2147483647 w 33"/>
                <a:gd name="T39" fmla="*/ 2147483647 h 25"/>
                <a:gd name="T40" fmla="*/ 2147483647 w 33"/>
                <a:gd name="T41" fmla="*/ 2147483647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25"/>
                <a:gd name="T65" fmla="*/ 33 w 3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25">
                  <a:moveTo>
                    <a:pt x="14" y="22"/>
                  </a:moveTo>
                  <a:lnTo>
                    <a:pt x="8" y="22"/>
                  </a:lnTo>
                  <a:lnTo>
                    <a:pt x="5" y="21"/>
                  </a:lnTo>
                  <a:lnTo>
                    <a:pt x="4" y="20"/>
                  </a:lnTo>
                  <a:lnTo>
                    <a:pt x="2" y="16"/>
                  </a:lnTo>
                  <a:lnTo>
                    <a:pt x="0" y="13"/>
                  </a:lnTo>
                  <a:lnTo>
                    <a:pt x="2" y="8"/>
                  </a:lnTo>
                  <a:lnTo>
                    <a:pt x="4" y="4"/>
                  </a:lnTo>
                  <a:lnTo>
                    <a:pt x="8" y="2"/>
                  </a:lnTo>
                  <a:lnTo>
                    <a:pt x="13" y="0"/>
                  </a:lnTo>
                  <a:lnTo>
                    <a:pt x="17" y="0"/>
                  </a:lnTo>
                  <a:lnTo>
                    <a:pt x="22" y="1"/>
                  </a:lnTo>
                  <a:lnTo>
                    <a:pt x="26" y="2"/>
                  </a:lnTo>
                  <a:lnTo>
                    <a:pt x="29" y="6"/>
                  </a:lnTo>
                  <a:lnTo>
                    <a:pt x="32" y="9"/>
                  </a:lnTo>
                  <a:lnTo>
                    <a:pt x="33" y="14"/>
                  </a:lnTo>
                  <a:lnTo>
                    <a:pt x="33" y="19"/>
                  </a:lnTo>
                  <a:lnTo>
                    <a:pt x="29" y="22"/>
                  </a:lnTo>
                  <a:lnTo>
                    <a:pt x="26" y="25"/>
                  </a:lnTo>
                  <a:lnTo>
                    <a:pt x="19" y="25"/>
                  </a:lnTo>
                  <a:lnTo>
                    <a:pt x="14"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2" name="Freeform 211"/>
            <p:cNvSpPr>
              <a:spLocks/>
            </p:cNvSpPr>
            <p:nvPr/>
          </p:nvSpPr>
          <p:spPr bwMode="auto">
            <a:xfrm>
              <a:off x="8848726" y="4897441"/>
              <a:ext cx="53975" cy="34925"/>
            </a:xfrm>
            <a:custGeom>
              <a:avLst/>
              <a:gdLst>
                <a:gd name="T0" fmla="*/ 2147483647 w 37"/>
                <a:gd name="T1" fmla="*/ 2147483647 h 22"/>
                <a:gd name="T2" fmla="*/ 2147483647 w 37"/>
                <a:gd name="T3" fmla="*/ 2147483647 h 22"/>
                <a:gd name="T4" fmla="*/ 2147483647 w 37"/>
                <a:gd name="T5" fmla="*/ 2147483647 h 22"/>
                <a:gd name="T6" fmla="*/ 2147483647 w 37"/>
                <a:gd name="T7" fmla="*/ 2147483647 h 22"/>
                <a:gd name="T8" fmla="*/ 2147483647 w 37"/>
                <a:gd name="T9" fmla="*/ 2147483647 h 22"/>
                <a:gd name="T10" fmla="*/ 2147483647 w 37"/>
                <a:gd name="T11" fmla="*/ 2147483647 h 22"/>
                <a:gd name="T12" fmla="*/ 2147483647 w 37"/>
                <a:gd name="T13" fmla="*/ 2147483647 h 22"/>
                <a:gd name="T14" fmla="*/ 2147483647 w 37"/>
                <a:gd name="T15" fmla="*/ 2147483647 h 22"/>
                <a:gd name="T16" fmla="*/ 2147483647 w 37"/>
                <a:gd name="T17" fmla="*/ 2147483647 h 22"/>
                <a:gd name="T18" fmla="*/ 2147483647 w 37"/>
                <a:gd name="T19" fmla="*/ 2147483647 h 22"/>
                <a:gd name="T20" fmla="*/ 2147483647 w 37"/>
                <a:gd name="T21" fmla="*/ 2147483647 h 22"/>
                <a:gd name="T22" fmla="*/ 2147483647 w 37"/>
                <a:gd name="T23" fmla="*/ 2147483647 h 22"/>
                <a:gd name="T24" fmla="*/ 2147483647 w 37"/>
                <a:gd name="T25" fmla="*/ 2147483647 h 22"/>
                <a:gd name="T26" fmla="*/ 2147483647 w 37"/>
                <a:gd name="T27" fmla="*/ 2147483647 h 22"/>
                <a:gd name="T28" fmla="*/ 2147483647 w 37"/>
                <a:gd name="T29" fmla="*/ 2147483647 h 22"/>
                <a:gd name="T30" fmla="*/ 2147483647 w 37"/>
                <a:gd name="T31" fmla="*/ 2147483647 h 22"/>
                <a:gd name="T32" fmla="*/ 0 w 37"/>
                <a:gd name="T33" fmla="*/ 2147483647 h 22"/>
                <a:gd name="T34" fmla="*/ 0 w 37"/>
                <a:gd name="T35" fmla="*/ 2147483647 h 22"/>
                <a:gd name="T36" fmla="*/ 0 w 37"/>
                <a:gd name="T37" fmla="*/ 2147483647 h 22"/>
                <a:gd name="T38" fmla="*/ 2147483647 w 37"/>
                <a:gd name="T39" fmla="*/ 2147483647 h 22"/>
                <a:gd name="T40" fmla="*/ 2147483647 w 37"/>
                <a:gd name="T41" fmla="*/ 2147483647 h 22"/>
                <a:gd name="T42" fmla="*/ 2147483647 w 37"/>
                <a:gd name="T43" fmla="*/ 2147483647 h 22"/>
                <a:gd name="T44" fmla="*/ 2147483647 w 37"/>
                <a:gd name="T45" fmla="*/ 2147483647 h 22"/>
                <a:gd name="T46" fmla="*/ 2147483647 w 37"/>
                <a:gd name="T47" fmla="*/ 0 h 22"/>
                <a:gd name="T48" fmla="*/ 2147483647 w 37"/>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7"/>
                <a:gd name="T76" fmla="*/ 0 h 22"/>
                <a:gd name="T77" fmla="*/ 37 w 37"/>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7" h="22">
                  <a:moveTo>
                    <a:pt x="31" y="1"/>
                  </a:moveTo>
                  <a:lnTo>
                    <a:pt x="36" y="3"/>
                  </a:lnTo>
                  <a:lnTo>
                    <a:pt x="36" y="5"/>
                  </a:lnTo>
                  <a:lnTo>
                    <a:pt x="37" y="6"/>
                  </a:lnTo>
                  <a:lnTo>
                    <a:pt x="34" y="12"/>
                  </a:lnTo>
                  <a:lnTo>
                    <a:pt x="34" y="15"/>
                  </a:lnTo>
                  <a:lnTo>
                    <a:pt x="33" y="18"/>
                  </a:lnTo>
                  <a:lnTo>
                    <a:pt x="32" y="18"/>
                  </a:lnTo>
                  <a:lnTo>
                    <a:pt x="24" y="18"/>
                  </a:lnTo>
                  <a:lnTo>
                    <a:pt x="20" y="16"/>
                  </a:lnTo>
                  <a:lnTo>
                    <a:pt x="17" y="16"/>
                  </a:lnTo>
                  <a:lnTo>
                    <a:pt x="14" y="18"/>
                  </a:lnTo>
                  <a:lnTo>
                    <a:pt x="12" y="20"/>
                  </a:lnTo>
                  <a:lnTo>
                    <a:pt x="9" y="21"/>
                  </a:lnTo>
                  <a:lnTo>
                    <a:pt x="5" y="22"/>
                  </a:lnTo>
                  <a:lnTo>
                    <a:pt x="3" y="20"/>
                  </a:lnTo>
                  <a:lnTo>
                    <a:pt x="0" y="16"/>
                  </a:lnTo>
                  <a:lnTo>
                    <a:pt x="0" y="13"/>
                  </a:lnTo>
                  <a:lnTo>
                    <a:pt x="0" y="12"/>
                  </a:lnTo>
                  <a:lnTo>
                    <a:pt x="3" y="10"/>
                  </a:lnTo>
                  <a:lnTo>
                    <a:pt x="9" y="7"/>
                  </a:lnTo>
                  <a:lnTo>
                    <a:pt x="17" y="3"/>
                  </a:lnTo>
                  <a:lnTo>
                    <a:pt x="23" y="1"/>
                  </a:lnTo>
                  <a:lnTo>
                    <a:pt x="27" y="0"/>
                  </a:lnTo>
                  <a:lnTo>
                    <a:pt x="31"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3" name="Freeform 212"/>
            <p:cNvSpPr>
              <a:spLocks/>
            </p:cNvSpPr>
            <p:nvPr/>
          </p:nvSpPr>
          <p:spPr bwMode="auto">
            <a:xfrm>
              <a:off x="8812213" y="4935538"/>
              <a:ext cx="49212" cy="38100"/>
            </a:xfrm>
            <a:custGeom>
              <a:avLst/>
              <a:gdLst>
                <a:gd name="T0" fmla="*/ 2147483647 w 33"/>
                <a:gd name="T1" fmla="*/ 2147483647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0 w 33"/>
                <a:gd name="T15" fmla="*/ 2147483647 h 24"/>
                <a:gd name="T16" fmla="*/ 2147483647 w 33"/>
                <a:gd name="T17" fmla="*/ 2147483647 h 24"/>
                <a:gd name="T18" fmla="*/ 2147483647 w 33"/>
                <a:gd name="T19" fmla="*/ 2147483647 h 24"/>
                <a:gd name="T20" fmla="*/ 2147483647 w 33"/>
                <a:gd name="T21" fmla="*/ 2147483647 h 24"/>
                <a:gd name="T22" fmla="*/ 2147483647 w 33"/>
                <a:gd name="T23" fmla="*/ 2147483647 h 24"/>
                <a:gd name="T24" fmla="*/ 2147483647 w 33"/>
                <a:gd name="T25" fmla="*/ 0 h 24"/>
                <a:gd name="T26" fmla="*/ 2147483647 w 33"/>
                <a:gd name="T27" fmla="*/ 0 h 24"/>
                <a:gd name="T28" fmla="*/ 2147483647 w 33"/>
                <a:gd name="T29" fmla="*/ 2147483647 h 24"/>
                <a:gd name="T30" fmla="*/ 2147483647 w 33"/>
                <a:gd name="T31" fmla="*/ 2147483647 h 24"/>
                <a:gd name="T32" fmla="*/ 2147483647 w 33"/>
                <a:gd name="T33" fmla="*/ 2147483647 h 24"/>
                <a:gd name="T34" fmla="*/ 2147483647 w 33"/>
                <a:gd name="T35" fmla="*/ 2147483647 h 24"/>
                <a:gd name="T36" fmla="*/ 2147483647 w 33"/>
                <a:gd name="T37" fmla="*/ 2147483647 h 24"/>
                <a:gd name="T38" fmla="*/ 2147483647 w 33"/>
                <a:gd name="T39" fmla="*/ 2147483647 h 24"/>
                <a:gd name="T40" fmla="*/ 2147483647 w 33"/>
                <a:gd name="T41" fmla="*/ 2147483647 h 24"/>
                <a:gd name="T42" fmla="*/ 2147483647 w 33"/>
                <a:gd name="T43" fmla="*/ 2147483647 h 24"/>
                <a:gd name="T44" fmla="*/ 2147483647 w 33"/>
                <a:gd name="T45" fmla="*/ 2147483647 h 24"/>
                <a:gd name="T46" fmla="*/ 2147483647 w 33"/>
                <a:gd name="T47" fmla="*/ 2147483647 h 24"/>
                <a:gd name="T48" fmla="*/ 2147483647 w 33"/>
                <a:gd name="T49" fmla="*/ 2147483647 h 24"/>
                <a:gd name="T50" fmla="*/ 2147483647 w 33"/>
                <a:gd name="T51" fmla="*/ 2147483647 h 24"/>
                <a:gd name="T52" fmla="*/ 2147483647 w 33"/>
                <a:gd name="T53" fmla="*/ 2147483647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24"/>
                <a:gd name="T83" fmla="*/ 33 w 33"/>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24">
                  <a:moveTo>
                    <a:pt x="14" y="22"/>
                  </a:moveTo>
                  <a:lnTo>
                    <a:pt x="14" y="22"/>
                  </a:lnTo>
                  <a:lnTo>
                    <a:pt x="8" y="22"/>
                  </a:lnTo>
                  <a:lnTo>
                    <a:pt x="5" y="21"/>
                  </a:lnTo>
                  <a:lnTo>
                    <a:pt x="4" y="20"/>
                  </a:lnTo>
                  <a:lnTo>
                    <a:pt x="1" y="16"/>
                  </a:lnTo>
                  <a:lnTo>
                    <a:pt x="0" y="13"/>
                  </a:lnTo>
                  <a:lnTo>
                    <a:pt x="1" y="8"/>
                  </a:lnTo>
                  <a:lnTo>
                    <a:pt x="4" y="4"/>
                  </a:lnTo>
                  <a:lnTo>
                    <a:pt x="8" y="2"/>
                  </a:lnTo>
                  <a:lnTo>
                    <a:pt x="13" y="0"/>
                  </a:lnTo>
                  <a:lnTo>
                    <a:pt x="16" y="0"/>
                  </a:lnTo>
                  <a:lnTo>
                    <a:pt x="22" y="1"/>
                  </a:lnTo>
                  <a:lnTo>
                    <a:pt x="25" y="2"/>
                  </a:lnTo>
                  <a:lnTo>
                    <a:pt x="29" y="5"/>
                  </a:lnTo>
                  <a:lnTo>
                    <a:pt x="32" y="9"/>
                  </a:lnTo>
                  <a:lnTo>
                    <a:pt x="33" y="14"/>
                  </a:lnTo>
                  <a:lnTo>
                    <a:pt x="33" y="19"/>
                  </a:lnTo>
                  <a:lnTo>
                    <a:pt x="29" y="22"/>
                  </a:lnTo>
                  <a:lnTo>
                    <a:pt x="25" y="24"/>
                  </a:lnTo>
                  <a:lnTo>
                    <a:pt x="19" y="24"/>
                  </a:lnTo>
                  <a:lnTo>
                    <a:pt x="14" y="2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4" name="Freeform 213"/>
            <p:cNvSpPr>
              <a:spLocks/>
            </p:cNvSpPr>
            <p:nvPr/>
          </p:nvSpPr>
          <p:spPr bwMode="auto">
            <a:xfrm>
              <a:off x="8847139" y="4895854"/>
              <a:ext cx="53975" cy="34925"/>
            </a:xfrm>
            <a:custGeom>
              <a:avLst/>
              <a:gdLst>
                <a:gd name="T0" fmla="*/ 2147483647 w 37"/>
                <a:gd name="T1" fmla="*/ 2147483647 h 22"/>
                <a:gd name="T2" fmla="*/ 2147483647 w 37"/>
                <a:gd name="T3" fmla="*/ 2147483647 h 22"/>
                <a:gd name="T4" fmla="*/ 2147483647 w 37"/>
                <a:gd name="T5" fmla="*/ 2147483647 h 22"/>
                <a:gd name="T6" fmla="*/ 2147483647 w 37"/>
                <a:gd name="T7" fmla="*/ 2147483647 h 22"/>
                <a:gd name="T8" fmla="*/ 2147483647 w 37"/>
                <a:gd name="T9" fmla="*/ 2147483647 h 22"/>
                <a:gd name="T10" fmla="*/ 2147483647 w 37"/>
                <a:gd name="T11" fmla="*/ 2147483647 h 22"/>
                <a:gd name="T12" fmla="*/ 2147483647 w 37"/>
                <a:gd name="T13" fmla="*/ 2147483647 h 22"/>
                <a:gd name="T14" fmla="*/ 2147483647 w 37"/>
                <a:gd name="T15" fmla="*/ 2147483647 h 22"/>
                <a:gd name="T16" fmla="*/ 2147483647 w 37"/>
                <a:gd name="T17" fmla="*/ 2147483647 h 22"/>
                <a:gd name="T18" fmla="*/ 2147483647 w 37"/>
                <a:gd name="T19" fmla="*/ 2147483647 h 22"/>
                <a:gd name="T20" fmla="*/ 2147483647 w 37"/>
                <a:gd name="T21" fmla="*/ 2147483647 h 22"/>
                <a:gd name="T22" fmla="*/ 2147483647 w 37"/>
                <a:gd name="T23" fmla="*/ 2147483647 h 22"/>
                <a:gd name="T24" fmla="*/ 2147483647 w 37"/>
                <a:gd name="T25" fmla="*/ 2147483647 h 22"/>
                <a:gd name="T26" fmla="*/ 2147483647 w 37"/>
                <a:gd name="T27" fmla="*/ 2147483647 h 22"/>
                <a:gd name="T28" fmla="*/ 2147483647 w 37"/>
                <a:gd name="T29" fmla="*/ 2147483647 h 22"/>
                <a:gd name="T30" fmla="*/ 2147483647 w 37"/>
                <a:gd name="T31" fmla="*/ 2147483647 h 22"/>
                <a:gd name="T32" fmla="*/ 2147483647 w 37"/>
                <a:gd name="T33" fmla="*/ 2147483647 h 22"/>
                <a:gd name="T34" fmla="*/ 2147483647 w 37"/>
                <a:gd name="T35" fmla="*/ 2147483647 h 22"/>
                <a:gd name="T36" fmla="*/ 2147483647 w 37"/>
                <a:gd name="T37" fmla="*/ 2147483647 h 22"/>
                <a:gd name="T38" fmla="*/ 2147483647 w 37"/>
                <a:gd name="T39" fmla="*/ 2147483647 h 22"/>
                <a:gd name="T40" fmla="*/ 2147483647 w 37"/>
                <a:gd name="T41" fmla="*/ 2147483647 h 22"/>
                <a:gd name="T42" fmla="*/ 0 w 37"/>
                <a:gd name="T43" fmla="*/ 2147483647 h 22"/>
                <a:gd name="T44" fmla="*/ 0 w 37"/>
                <a:gd name="T45" fmla="*/ 2147483647 h 22"/>
                <a:gd name="T46" fmla="*/ 0 w 37"/>
                <a:gd name="T47" fmla="*/ 2147483647 h 22"/>
                <a:gd name="T48" fmla="*/ 2147483647 w 37"/>
                <a:gd name="T49" fmla="*/ 2147483647 h 22"/>
                <a:gd name="T50" fmla="*/ 2147483647 w 37"/>
                <a:gd name="T51" fmla="*/ 2147483647 h 22"/>
                <a:gd name="T52" fmla="*/ 2147483647 w 37"/>
                <a:gd name="T53" fmla="*/ 2147483647 h 22"/>
                <a:gd name="T54" fmla="*/ 2147483647 w 37"/>
                <a:gd name="T55" fmla="*/ 2147483647 h 22"/>
                <a:gd name="T56" fmla="*/ 2147483647 w 37"/>
                <a:gd name="T57" fmla="*/ 2147483647 h 22"/>
                <a:gd name="T58" fmla="*/ 2147483647 w 37"/>
                <a:gd name="T59" fmla="*/ 0 h 22"/>
                <a:gd name="T60" fmla="*/ 2147483647 w 37"/>
                <a:gd name="T61" fmla="*/ 2147483647 h 22"/>
                <a:gd name="T62" fmla="*/ 2147483647 w 37"/>
                <a:gd name="T63" fmla="*/ 2147483647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2"/>
                <a:gd name="T98" fmla="*/ 37 w 37"/>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2">
                  <a:moveTo>
                    <a:pt x="30" y="1"/>
                  </a:moveTo>
                  <a:lnTo>
                    <a:pt x="30" y="1"/>
                  </a:lnTo>
                  <a:lnTo>
                    <a:pt x="35" y="3"/>
                  </a:lnTo>
                  <a:lnTo>
                    <a:pt x="35" y="4"/>
                  </a:lnTo>
                  <a:lnTo>
                    <a:pt x="37" y="6"/>
                  </a:lnTo>
                  <a:lnTo>
                    <a:pt x="34" y="11"/>
                  </a:lnTo>
                  <a:lnTo>
                    <a:pt x="34" y="15"/>
                  </a:lnTo>
                  <a:lnTo>
                    <a:pt x="33" y="17"/>
                  </a:lnTo>
                  <a:lnTo>
                    <a:pt x="32" y="17"/>
                  </a:lnTo>
                  <a:lnTo>
                    <a:pt x="24" y="17"/>
                  </a:lnTo>
                  <a:lnTo>
                    <a:pt x="20" y="16"/>
                  </a:lnTo>
                  <a:lnTo>
                    <a:pt x="16" y="16"/>
                  </a:lnTo>
                  <a:lnTo>
                    <a:pt x="14" y="17"/>
                  </a:lnTo>
                  <a:lnTo>
                    <a:pt x="11" y="20"/>
                  </a:lnTo>
                  <a:lnTo>
                    <a:pt x="9" y="21"/>
                  </a:lnTo>
                  <a:lnTo>
                    <a:pt x="5" y="22"/>
                  </a:lnTo>
                  <a:lnTo>
                    <a:pt x="2" y="20"/>
                  </a:lnTo>
                  <a:lnTo>
                    <a:pt x="0" y="16"/>
                  </a:lnTo>
                  <a:lnTo>
                    <a:pt x="0" y="13"/>
                  </a:lnTo>
                  <a:lnTo>
                    <a:pt x="0" y="11"/>
                  </a:lnTo>
                  <a:lnTo>
                    <a:pt x="2" y="10"/>
                  </a:lnTo>
                  <a:lnTo>
                    <a:pt x="9" y="7"/>
                  </a:lnTo>
                  <a:lnTo>
                    <a:pt x="16" y="3"/>
                  </a:lnTo>
                  <a:lnTo>
                    <a:pt x="23" y="1"/>
                  </a:lnTo>
                  <a:lnTo>
                    <a:pt x="26" y="0"/>
                  </a:lnTo>
                  <a:lnTo>
                    <a:pt x="30"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5" name="Freeform 214"/>
            <p:cNvSpPr>
              <a:spLocks/>
            </p:cNvSpPr>
            <p:nvPr/>
          </p:nvSpPr>
          <p:spPr bwMode="auto">
            <a:xfrm>
              <a:off x="8923339" y="4949829"/>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0 w 5"/>
                <a:gd name="T13" fmla="*/ 2147483647 h 6"/>
                <a:gd name="T14" fmla="*/ 2147483647 w 5"/>
                <a:gd name="T15" fmla="*/ 0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2"/>
                  </a:moveTo>
                  <a:lnTo>
                    <a:pt x="5" y="4"/>
                  </a:lnTo>
                  <a:lnTo>
                    <a:pt x="5" y="6"/>
                  </a:lnTo>
                  <a:lnTo>
                    <a:pt x="4" y="5"/>
                  </a:lnTo>
                  <a:lnTo>
                    <a:pt x="1" y="5"/>
                  </a:lnTo>
                  <a:lnTo>
                    <a:pt x="0" y="4"/>
                  </a:lnTo>
                  <a:lnTo>
                    <a:pt x="0" y="2"/>
                  </a:lnTo>
                  <a:lnTo>
                    <a:pt x="1" y="0"/>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6" name="Freeform 215"/>
            <p:cNvSpPr>
              <a:spLocks/>
            </p:cNvSpPr>
            <p:nvPr/>
          </p:nvSpPr>
          <p:spPr bwMode="auto">
            <a:xfrm>
              <a:off x="8902702" y="4991100"/>
              <a:ext cx="6350" cy="7938"/>
            </a:xfrm>
            <a:custGeom>
              <a:avLst/>
              <a:gdLst>
                <a:gd name="T0" fmla="*/ 2147483647 w 5"/>
                <a:gd name="T1" fmla="*/ 2147483647 h 5"/>
                <a:gd name="T2" fmla="*/ 2147483647 w 5"/>
                <a:gd name="T3" fmla="*/ 2147483647 h 5"/>
                <a:gd name="T4" fmla="*/ 0 w 5"/>
                <a:gd name="T5" fmla="*/ 2147483647 h 5"/>
                <a:gd name="T6" fmla="*/ 0 w 5"/>
                <a:gd name="T7" fmla="*/ 2147483647 h 5"/>
                <a:gd name="T8" fmla="*/ 2147483647 w 5"/>
                <a:gd name="T9" fmla="*/ 0 h 5"/>
                <a:gd name="T10" fmla="*/ 2147483647 w 5"/>
                <a:gd name="T11" fmla="*/ 0 h 5"/>
                <a:gd name="T12" fmla="*/ 2147483647 w 5"/>
                <a:gd name="T13" fmla="*/ 2147483647 h 5"/>
                <a:gd name="T14" fmla="*/ 2147483647 w 5"/>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4" y="5"/>
                  </a:moveTo>
                  <a:lnTo>
                    <a:pt x="1" y="5"/>
                  </a:lnTo>
                  <a:lnTo>
                    <a:pt x="0" y="2"/>
                  </a:lnTo>
                  <a:lnTo>
                    <a:pt x="0" y="1"/>
                  </a:lnTo>
                  <a:lnTo>
                    <a:pt x="1" y="0"/>
                  </a:lnTo>
                  <a:lnTo>
                    <a:pt x="5" y="0"/>
                  </a:lnTo>
                  <a:lnTo>
                    <a:pt x="5" y="2"/>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7" name="Freeform 216"/>
            <p:cNvSpPr>
              <a:spLocks/>
            </p:cNvSpPr>
            <p:nvPr/>
          </p:nvSpPr>
          <p:spPr bwMode="auto">
            <a:xfrm>
              <a:off x="8921751" y="4948242"/>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0 w 5"/>
                <a:gd name="T15" fmla="*/ 2147483647 h 6"/>
                <a:gd name="T16" fmla="*/ 0 w 5"/>
                <a:gd name="T17" fmla="*/ 2147483647 h 6"/>
                <a:gd name="T18" fmla="*/ 0 w 5"/>
                <a:gd name="T19" fmla="*/ 2147483647 h 6"/>
                <a:gd name="T20" fmla="*/ 2147483647 w 5"/>
                <a:gd name="T21" fmla="*/ 0 h 6"/>
                <a:gd name="T22" fmla="*/ 2147483647 w 5"/>
                <a:gd name="T23" fmla="*/ 0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2"/>
                  </a:moveTo>
                  <a:lnTo>
                    <a:pt x="5" y="2"/>
                  </a:lnTo>
                  <a:lnTo>
                    <a:pt x="5" y="3"/>
                  </a:lnTo>
                  <a:lnTo>
                    <a:pt x="5" y="6"/>
                  </a:lnTo>
                  <a:lnTo>
                    <a:pt x="3" y="5"/>
                  </a:lnTo>
                  <a:lnTo>
                    <a:pt x="1" y="5"/>
                  </a:lnTo>
                  <a:lnTo>
                    <a:pt x="0" y="3"/>
                  </a:lnTo>
                  <a:lnTo>
                    <a:pt x="0" y="2"/>
                  </a:lnTo>
                  <a:lnTo>
                    <a:pt x="1" y="0"/>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8" name="Freeform 217"/>
            <p:cNvSpPr>
              <a:spLocks/>
            </p:cNvSpPr>
            <p:nvPr/>
          </p:nvSpPr>
          <p:spPr bwMode="auto">
            <a:xfrm>
              <a:off x="8901114" y="4989517"/>
              <a:ext cx="6350" cy="7937"/>
            </a:xfrm>
            <a:custGeom>
              <a:avLst/>
              <a:gdLst>
                <a:gd name="T0" fmla="*/ 2147483647 w 5"/>
                <a:gd name="T1" fmla="*/ 2147483647 h 5"/>
                <a:gd name="T2" fmla="*/ 2147483647 w 5"/>
                <a:gd name="T3" fmla="*/ 2147483647 h 5"/>
                <a:gd name="T4" fmla="*/ 2147483647 w 5"/>
                <a:gd name="T5" fmla="*/ 2147483647 h 5"/>
                <a:gd name="T6" fmla="*/ 0 w 5"/>
                <a:gd name="T7" fmla="*/ 2147483647 h 5"/>
                <a:gd name="T8" fmla="*/ 0 w 5"/>
                <a:gd name="T9" fmla="*/ 2147483647 h 5"/>
                <a:gd name="T10" fmla="*/ 0 w 5"/>
                <a:gd name="T11" fmla="*/ 2147483647 h 5"/>
                <a:gd name="T12" fmla="*/ 2147483647 w 5"/>
                <a:gd name="T13" fmla="*/ 0 h 5"/>
                <a:gd name="T14" fmla="*/ 2147483647 w 5"/>
                <a:gd name="T15" fmla="*/ 0 h 5"/>
                <a:gd name="T16" fmla="*/ 2147483647 w 5"/>
                <a:gd name="T17" fmla="*/ 0 h 5"/>
                <a:gd name="T18" fmla="*/ 2147483647 w 5"/>
                <a:gd name="T19" fmla="*/ 2147483647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3" y="5"/>
                  </a:moveTo>
                  <a:lnTo>
                    <a:pt x="3" y="5"/>
                  </a:lnTo>
                  <a:lnTo>
                    <a:pt x="1" y="5"/>
                  </a:lnTo>
                  <a:lnTo>
                    <a:pt x="0" y="2"/>
                  </a:lnTo>
                  <a:lnTo>
                    <a:pt x="0" y="1"/>
                  </a:lnTo>
                  <a:lnTo>
                    <a:pt x="1" y="0"/>
                  </a:lnTo>
                  <a:lnTo>
                    <a:pt x="5" y="0"/>
                  </a:lnTo>
                  <a:lnTo>
                    <a:pt x="5" y="2"/>
                  </a:lnTo>
                  <a:lnTo>
                    <a:pt x="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19" name="Freeform 218"/>
            <p:cNvSpPr>
              <a:spLocks/>
            </p:cNvSpPr>
            <p:nvPr/>
          </p:nvSpPr>
          <p:spPr bwMode="auto">
            <a:xfrm>
              <a:off x="9026525" y="5010155"/>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0 w 5"/>
                <a:gd name="T11" fmla="*/ 2147483647 h 6"/>
                <a:gd name="T12" fmla="*/ 2147483647 w 5"/>
                <a:gd name="T13" fmla="*/ 0 h 6"/>
                <a:gd name="T14" fmla="*/ 2147483647 w 5"/>
                <a:gd name="T15" fmla="*/ 0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2"/>
                  </a:moveTo>
                  <a:lnTo>
                    <a:pt x="5" y="5"/>
                  </a:lnTo>
                  <a:lnTo>
                    <a:pt x="3" y="6"/>
                  </a:lnTo>
                  <a:lnTo>
                    <a:pt x="1" y="5"/>
                  </a:lnTo>
                  <a:lnTo>
                    <a:pt x="0" y="4"/>
                  </a:lnTo>
                  <a:lnTo>
                    <a:pt x="0" y="1"/>
                  </a:lnTo>
                  <a:lnTo>
                    <a:pt x="1" y="0"/>
                  </a:lnTo>
                  <a:lnTo>
                    <a:pt x="4" y="0"/>
                  </a:lnTo>
                  <a:lnTo>
                    <a:pt x="5" y="1"/>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0" name="Freeform 219"/>
            <p:cNvSpPr>
              <a:spLocks/>
            </p:cNvSpPr>
            <p:nvPr/>
          </p:nvSpPr>
          <p:spPr bwMode="auto">
            <a:xfrm>
              <a:off x="9012242" y="5059366"/>
              <a:ext cx="7937"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2147483647 w 6"/>
                <a:gd name="T11" fmla="*/ 2147483647 h 7"/>
                <a:gd name="T12" fmla="*/ 2147483647 w 6"/>
                <a:gd name="T13" fmla="*/ 0 h 7"/>
                <a:gd name="T14" fmla="*/ 2147483647 w 6"/>
                <a:gd name="T15" fmla="*/ 2147483647 h 7"/>
                <a:gd name="T16" fmla="*/ 2147483647 w 6"/>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6" y="5"/>
                  </a:moveTo>
                  <a:lnTo>
                    <a:pt x="5" y="7"/>
                  </a:lnTo>
                  <a:lnTo>
                    <a:pt x="4" y="7"/>
                  </a:lnTo>
                  <a:lnTo>
                    <a:pt x="1" y="3"/>
                  </a:lnTo>
                  <a:lnTo>
                    <a:pt x="0" y="2"/>
                  </a:lnTo>
                  <a:lnTo>
                    <a:pt x="1" y="1"/>
                  </a:lnTo>
                  <a:lnTo>
                    <a:pt x="4" y="0"/>
                  </a:lnTo>
                  <a:lnTo>
                    <a:pt x="4" y="1"/>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1" name="Freeform 220"/>
            <p:cNvSpPr>
              <a:spLocks/>
            </p:cNvSpPr>
            <p:nvPr/>
          </p:nvSpPr>
          <p:spPr bwMode="auto">
            <a:xfrm>
              <a:off x="9024942" y="5008567"/>
              <a:ext cx="7937"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0 w 5"/>
                <a:gd name="T17" fmla="*/ 2147483647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2"/>
                  </a:moveTo>
                  <a:lnTo>
                    <a:pt x="5" y="2"/>
                  </a:lnTo>
                  <a:lnTo>
                    <a:pt x="5" y="5"/>
                  </a:lnTo>
                  <a:lnTo>
                    <a:pt x="2" y="6"/>
                  </a:lnTo>
                  <a:lnTo>
                    <a:pt x="1" y="5"/>
                  </a:lnTo>
                  <a:lnTo>
                    <a:pt x="0" y="3"/>
                  </a:lnTo>
                  <a:lnTo>
                    <a:pt x="0" y="1"/>
                  </a:lnTo>
                  <a:lnTo>
                    <a:pt x="1" y="0"/>
                  </a:lnTo>
                  <a:lnTo>
                    <a:pt x="4" y="0"/>
                  </a:lnTo>
                  <a:lnTo>
                    <a:pt x="5" y="1"/>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2" name="Freeform 221"/>
            <p:cNvSpPr>
              <a:spLocks/>
            </p:cNvSpPr>
            <p:nvPr/>
          </p:nvSpPr>
          <p:spPr bwMode="auto">
            <a:xfrm>
              <a:off x="9010653" y="5057775"/>
              <a:ext cx="9525"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2147483647 w 6"/>
                <a:gd name="T17" fmla="*/ 2147483647 h 7"/>
                <a:gd name="T18" fmla="*/ 2147483647 w 6"/>
                <a:gd name="T19" fmla="*/ 2147483647 h 7"/>
                <a:gd name="T20" fmla="*/ 2147483647 w 6"/>
                <a:gd name="T21" fmla="*/ 0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6" y="4"/>
                  </a:moveTo>
                  <a:lnTo>
                    <a:pt x="6" y="4"/>
                  </a:lnTo>
                  <a:lnTo>
                    <a:pt x="5" y="7"/>
                  </a:lnTo>
                  <a:lnTo>
                    <a:pt x="3" y="7"/>
                  </a:lnTo>
                  <a:lnTo>
                    <a:pt x="1" y="3"/>
                  </a:lnTo>
                  <a:lnTo>
                    <a:pt x="0" y="2"/>
                  </a:lnTo>
                  <a:lnTo>
                    <a:pt x="1" y="1"/>
                  </a:lnTo>
                  <a:lnTo>
                    <a:pt x="3" y="0"/>
                  </a:lnTo>
                  <a:lnTo>
                    <a:pt x="3" y="1"/>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3" name="Freeform 222"/>
            <p:cNvSpPr>
              <a:spLocks/>
            </p:cNvSpPr>
            <p:nvPr/>
          </p:nvSpPr>
          <p:spPr bwMode="auto">
            <a:xfrm>
              <a:off x="9121776" y="4835525"/>
              <a:ext cx="14288" cy="14288"/>
            </a:xfrm>
            <a:custGeom>
              <a:avLst/>
              <a:gdLst>
                <a:gd name="T0" fmla="*/ 2147483647 w 10"/>
                <a:gd name="T1" fmla="*/ 0 h 9"/>
                <a:gd name="T2" fmla="*/ 2147483647 w 10"/>
                <a:gd name="T3" fmla="*/ 0 h 9"/>
                <a:gd name="T4" fmla="*/ 2147483647 w 10"/>
                <a:gd name="T5" fmla="*/ 0 h 9"/>
                <a:gd name="T6" fmla="*/ 2147483647 w 10"/>
                <a:gd name="T7" fmla="*/ 2147483647 h 9"/>
                <a:gd name="T8" fmla="*/ 2147483647 w 10"/>
                <a:gd name="T9" fmla="*/ 2147483647 h 9"/>
                <a:gd name="T10" fmla="*/ 2147483647 w 10"/>
                <a:gd name="T11" fmla="*/ 2147483647 h 9"/>
                <a:gd name="T12" fmla="*/ 2147483647 w 10"/>
                <a:gd name="T13" fmla="*/ 2147483647 h 9"/>
                <a:gd name="T14" fmla="*/ 0 w 10"/>
                <a:gd name="T15" fmla="*/ 2147483647 h 9"/>
                <a:gd name="T16" fmla="*/ 2147483647 w 10"/>
                <a:gd name="T17" fmla="*/ 2147483647 h 9"/>
                <a:gd name="T18" fmla="*/ 2147483647 w 10"/>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9"/>
                <a:gd name="T32" fmla="*/ 10 w 10"/>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9">
                  <a:moveTo>
                    <a:pt x="6" y="0"/>
                  </a:moveTo>
                  <a:lnTo>
                    <a:pt x="9" y="0"/>
                  </a:lnTo>
                  <a:lnTo>
                    <a:pt x="10" y="0"/>
                  </a:lnTo>
                  <a:lnTo>
                    <a:pt x="10" y="1"/>
                  </a:lnTo>
                  <a:lnTo>
                    <a:pt x="10" y="4"/>
                  </a:lnTo>
                  <a:lnTo>
                    <a:pt x="7" y="7"/>
                  </a:lnTo>
                  <a:lnTo>
                    <a:pt x="4" y="9"/>
                  </a:lnTo>
                  <a:lnTo>
                    <a:pt x="0" y="9"/>
                  </a:lnTo>
                  <a:lnTo>
                    <a:pt x="2" y="4"/>
                  </a:lnTo>
                  <a:lnTo>
                    <a:pt x="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4" name="Freeform 223"/>
            <p:cNvSpPr>
              <a:spLocks/>
            </p:cNvSpPr>
            <p:nvPr/>
          </p:nvSpPr>
          <p:spPr bwMode="auto">
            <a:xfrm>
              <a:off x="9091614" y="4818063"/>
              <a:ext cx="23812" cy="23812"/>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0 w 16"/>
                <a:gd name="T15" fmla="*/ 2147483647 h 15"/>
                <a:gd name="T16" fmla="*/ 0 w 16"/>
                <a:gd name="T17" fmla="*/ 2147483647 h 15"/>
                <a:gd name="T18" fmla="*/ 2147483647 w 16"/>
                <a:gd name="T19" fmla="*/ 2147483647 h 15"/>
                <a:gd name="T20" fmla="*/ 2147483647 w 16"/>
                <a:gd name="T21" fmla="*/ 2147483647 h 15"/>
                <a:gd name="T22" fmla="*/ 2147483647 w 16"/>
                <a:gd name="T23" fmla="*/ 0 h 15"/>
                <a:gd name="T24" fmla="*/ 2147483647 w 16"/>
                <a:gd name="T25" fmla="*/ 2147483647 h 15"/>
                <a:gd name="T26" fmla="*/ 2147483647 w 16"/>
                <a:gd name="T27" fmla="*/ 2147483647 h 15"/>
                <a:gd name="T28" fmla="*/ 2147483647 w 16"/>
                <a:gd name="T29" fmla="*/ 2147483647 h 15"/>
                <a:gd name="T30" fmla="*/ 2147483647 w 16"/>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5"/>
                <a:gd name="T50" fmla="*/ 16 w 16"/>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5">
                  <a:moveTo>
                    <a:pt x="14" y="10"/>
                  </a:moveTo>
                  <a:lnTo>
                    <a:pt x="16" y="12"/>
                  </a:lnTo>
                  <a:lnTo>
                    <a:pt x="16" y="13"/>
                  </a:lnTo>
                  <a:lnTo>
                    <a:pt x="14" y="14"/>
                  </a:lnTo>
                  <a:lnTo>
                    <a:pt x="12" y="15"/>
                  </a:lnTo>
                  <a:lnTo>
                    <a:pt x="8" y="14"/>
                  </a:lnTo>
                  <a:lnTo>
                    <a:pt x="4" y="13"/>
                  </a:lnTo>
                  <a:lnTo>
                    <a:pt x="0" y="10"/>
                  </a:lnTo>
                  <a:lnTo>
                    <a:pt x="0" y="7"/>
                  </a:lnTo>
                  <a:lnTo>
                    <a:pt x="2" y="4"/>
                  </a:lnTo>
                  <a:lnTo>
                    <a:pt x="3" y="1"/>
                  </a:lnTo>
                  <a:lnTo>
                    <a:pt x="6" y="0"/>
                  </a:lnTo>
                  <a:lnTo>
                    <a:pt x="7" y="1"/>
                  </a:lnTo>
                  <a:lnTo>
                    <a:pt x="12" y="4"/>
                  </a:lnTo>
                  <a:lnTo>
                    <a:pt x="14" y="7"/>
                  </a:lnTo>
                  <a:lnTo>
                    <a:pt x="14"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5" name="Freeform 224"/>
            <p:cNvSpPr>
              <a:spLocks/>
            </p:cNvSpPr>
            <p:nvPr/>
          </p:nvSpPr>
          <p:spPr bwMode="auto">
            <a:xfrm>
              <a:off x="9118602" y="4833942"/>
              <a:ext cx="15875" cy="14288"/>
            </a:xfrm>
            <a:custGeom>
              <a:avLst/>
              <a:gdLst>
                <a:gd name="T0" fmla="*/ 2147483647 w 11"/>
                <a:gd name="T1" fmla="*/ 0 h 9"/>
                <a:gd name="T2" fmla="*/ 2147483647 w 11"/>
                <a:gd name="T3" fmla="*/ 0 h 9"/>
                <a:gd name="T4" fmla="*/ 2147483647 w 11"/>
                <a:gd name="T5" fmla="*/ 0 h 9"/>
                <a:gd name="T6" fmla="*/ 2147483647 w 11"/>
                <a:gd name="T7" fmla="*/ 0 h 9"/>
                <a:gd name="T8" fmla="*/ 2147483647 w 11"/>
                <a:gd name="T9" fmla="*/ 2147483647 h 9"/>
                <a:gd name="T10" fmla="*/ 2147483647 w 11"/>
                <a:gd name="T11" fmla="*/ 2147483647 h 9"/>
                <a:gd name="T12" fmla="*/ 2147483647 w 11"/>
                <a:gd name="T13" fmla="*/ 2147483647 h 9"/>
                <a:gd name="T14" fmla="*/ 2147483647 w 11"/>
                <a:gd name="T15" fmla="*/ 2147483647 h 9"/>
                <a:gd name="T16" fmla="*/ 2147483647 w 11"/>
                <a:gd name="T17" fmla="*/ 2147483647 h 9"/>
                <a:gd name="T18" fmla="*/ 0 w 11"/>
                <a:gd name="T19" fmla="*/ 2147483647 h 9"/>
                <a:gd name="T20" fmla="*/ 0 w 11"/>
                <a:gd name="T21" fmla="*/ 2147483647 h 9"/>
                <a:gd name="T22" fmla="*/ 2147483647 w 11"/>
                <a:gd name="T23" fmla="*/ 2147483647 h 9"/>
                <a:gd name="T24" fmla="*/ 2147483647 w 11"/>
                <a:gd name="T25" fmla="*/ 0 h 9"/>
                <a:gd name="T26" fmla="*/ 2147483647 w 11"/>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9"/>
                <a:gd name="T44" fmla="*/ 11 w 11"/>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9">
                  <a:moveTo>
                    <a:pt x="7" y="0"/>
                  </a:moveTo>
                  <a:lnTo>
                    <a:pt x="7" y="0"/>
                  </a:lnTo>
                  <a:lnTo>
                    <a:pt x="9" y="0"/>
                  </a:lnTo>
                  <a:lnTo>
                    <a:pt x="11" y="0"/>
                  </a:lnTo>
                  <a:lnTo>
                    <a:pt x="11" y="1"/>
                  </a:lnTo>
                  <a:lnTo>
                    <a:pt x="11" y="4"/>
                  </a:lnTo>
                  <a:lnTo>
                    <a:pt x="8" y="7"/>
                  </a:lnTo>
                  <a:lnTo>
                    <a:pt x="4" y="9"/>
                  </a:lnTo>
                  <a:lnTo>
                    <a:pt x="0" y="9"/>
                  </a:lnTo>
                  <a:lnTo>
                    <a:pt x="3" y="4"/>
                  </a:lnTo>
                  <a:lnTo>
                    <a:pt x="7"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6" name="Freeform 225"/>
            <p:cNvSpPr>
              <a:spLocks/>
            </p:cNvSpPr>
            <p:nvPr/>
          </p:nvSpPr>
          <p:spPr bwMode="auto">
            <a:xfrm>
              <a:off x="9090029" y="4816476"/>
              <a:ext cx="22225" cy="23813"/>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0 w 15"/>
                <a:gd name="T19" fmla="*/ 2147483647 h 15"/>
                <a:gd name="T20" fmla="*/ 0 w 15"/>
                <a:gd name="T21" fmla="*/ 2147483647 h 15"/>
                <a:gd name="T22" fmla="*/ 0 w 15"/>
                <a:gd name="T23" fmla="*/ 2147483647 h 15"/>
                <a:gd name="T24" fmla="*/ 2147483647 w 15"/>
                <a:gd name="T25" fmla="*/ 2147483647 h 15"/>
                <a:gd name="T26" fmla="*/ 2147483647 w 15"/>
                <a:gd name="T27" fmla="*/ 2147483647 h 15"/>
                <a:gd name="T28" fmla="*/ 2147483647 w 15"/>
                <a:gd name="T29" fmla="*/ 0 h 15"/>
                <a:gd name="T30" fmla="*/ 2147483647 w 15"/>
                <a:gd name="T31" fmla="*/ 2147483647 h 15"/>
                <a:gd name="T32" fmla="*/ 2147483647 w 15"/>
                <a:gd name="T33" fmla="*/ 2147483647 h 15"/>
                <a:gd name="T34" fmla="*/ 2147483647 w 15"/>
                <a:gd name="T35" fmla="*/ 2147483647 h 15"/>
                <a:gd name="T36" fmla="*/ 2147483647 w 15"/>
                <a:gd name="T37" fmla="*/ 2147483647 h 15"/>
                <a:gd name="T38" fmla="*/ 2147483647 w 15"/>
                <a:gd name="T39" fmla="*/ 2147483647 h 15"/>
                <a:gd name="T40" fmla="*/ 2147483647 w 15"/>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5"/>
                <a:gd name="T65" fmla="*/ 15 w 1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5">
                  <a:moveTo>
                    <a:pt x="14" y="9"/>
                  </a:moveTo>
                  <a:lnTo>
                    <a:pt x="14" y="9"/>
                  </a:lnTo>
                  <a:lnTo>
                    <a:pt x="15" y="12"/>
                  </a:lnTo>
                  <a:lnTo>
                    <a:pt x="15" y="13"/>
                  </a:lnTo>
                  <a:lnTo>
                    <a:pt x="14" y="14"/>
                  </a:lnTo>
                  <a:lnTo>
                    <a:pt x="12" y="15"/>
                  </a:lnTo>
                  <a:lnTo>
                    <a:pt x="8" y="14"/>
                  </a:lnTo>
                  <a:lnTo>
                    <a:pt x="4" y="13"/>
                  </a:lnTo>
                  <a:lnTo>
                    <a:pt x="0" y="9"/>
                  </a:lnTo>
                  <a:lnTo>
                    <a:pt x="0" y="7"/>
                  </a:lnTo>
                  <a:lnTo>
                    <a:pt x="1" y="3"/>
                  </a:lnTo>
                  <a:lnTo>
                    <a:pt x="3" y="1"/>
                  </a:lnTo>
                  <a:lnTo>
                    <a:pt x="5" y="0"/>
                  </a:lnTo>
                  <a:lnTo>
                    <a:pt x="7" y="1"/>
                  </a:lnTo>
                  <a:lnTo>
                    <a:pt x="12" y="3"/>
                  </a:lnTo>
                  <a:lnTo>
                    <a:pt x="14" y="7"/>
                  </a:lnTo>
                  <a:lnTo>
                    <a:pt x="14"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7" name="Freeform 226"/>
            <p:cNvSpPr>
              <a:spLocks/>
            </p:cNvSpPr>
            <p:nvPr/>
          </p:nvSpPr>
          <p:spPr bwMode="auto">
            <a:xfrm>
              <a:off x="9067801" y="4806954"/>
              <a:ext cx="20638" cy="22225"/>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2147483647 h 14"/>
                <a:gd name="T12" fmla="*/ 2147483647 w 14"/>
                <a:gd name="T13" fmla="*/ 2147483647 h 14"/>
                <a:gd name="T14" fmla="*/ 2147483647 w 14"/>
                <a:gd name="T15" fmla="*/ 2147483647 h 14"/>
                <a:gd name="T16" fmla="*/ 0 w 14"/>
                <a:gd name="T17" fmla="*/ 2147483647 h 14"/>
                <a:gd name="T18" fmla="*/ 0 w 14"/>
                <a:gd name="T19" fmla="*/ 2147483647 h 14"/>
                <a:gd name="T20" fmla="*/ 0 w 14"/>
                <a:gd name="T21" fmla="*/ 2147483647 h 14"/>
                <a:gd name="T22" fmla="*/ 2147483647 w 14"/>
                <a:gd name="T23" fmla="*/ 2147483647 h 14"/>
                <a:gd name="T24" fmla="*/ 2147483647 w 14"/>
                <a:gd name="T25" fmla="*/ 0 h 14"/>
                <a:gd name="T26" fmla="*/ 2147483647 w 14"/>
                <a:gd name="T27" fmla="*/ 0 h 14"/>
                <a:gd name="T28" fmla="*/ 2147483647 w 14"/>
                <a:gd name="T29" fmla="*/ 2147483647 h 14"/>
                <a:gd name="T30" fmla="*/ 2147483647 w 14"/>
                <a:gd name="T31" fmla="*/ 2147483647 h 14"/>
                <a:gd name="T32" fmla="*/ 2147483647 w 14"/>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4"/>
                <a:gd name="T53" fmla="*/ 14 w 1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4">
                  <a:moveTo>
                    <a:pt x="13" y="9"/>
                  </a:moveTo>
                  <a:lnTo>
                    <a:pt x="13" y="11"/>
                  </a:lnTo>
                  <a:lnTo>
                    <a:pt x="14" y="12"/>
                  </a:lnTo>
                  <a:lnTo>
                    <a:pt x="10" y="13"/>
                  </a:lnTo>
                  <a:lnTo>
                    <a:pt x="8" y="13"/>
                  </a:lnTo>
                  <a:lnTo>
                    <a:pt x="4" y="14"/>
                  </a:lnTo>
                  <a:lnTo>
                    <a:pt x="2" y="14"/>
                  </a:lnTo>
                  <a:lnTo>
                    <a:pt x="2" y="13"/>
                  </a:lnTo>
                  <a:lnTo>
                    <a:pt x="0" y="11"/>
                  </a:lnTo>
                  <a:lnTo>
                    <a:pt x="0" y="7"/>
                  </a:lnTo>
                  <a:lnTo>
                    <a:pt x="0" y="3"/>
                  </a:lnTo>
                  <a:lnTo>
                    <a:pt x="1" y="1"/>
                  </a:lnTo>
                  <a:lnTo>
                    <a:pt x="4" y="0"/>
                  </a:lnTo>
                  <a:lnTo>
                    <a:pt x="5" y="0"/>
                  </a:lnTo>
                  <a:lnTo>
                    <a:pt x="9" y="1"/>
                  </a:lnTo>
                  <a:lnTo>
                    <a:pt x="11" y="5"/>
                  </a:lnTo>
                  <a:lnTo>
                    <a:pt x="13"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8" name="Freeform 227"/>
            <p:cNvSpPr>
              <a:spLocks/>
            </p:cNvSpPr>
            <p:nvPr/>
          </p:nvSpPr>
          <p:spPr bwMode="auto">
            <a:xfrm>
              <a:off x="8872542" y="4737100"/>
              <a:ext cx="7937" cy="7938"/>
            </a:xfrm>
            <a:custGeom>
              <a:avLst/>
              <a:gdLst>
                <a:gd name="T0" fmla="*/ 2147483647 w 5"/>
                <a:gd name="T1" fmla="*/ 2147483647 h 5"/>
                <a:gd name="T2" fmla="*/ 2147483647 w 5"/>
                <a:gd name="T3" fmla="*/ 2147483647 h 5"/>
                <a:gd name="T4" fmla="*/ 2147483647 w 5"/>
                <a:gd name="T5" fmla="*/ 2147483647 h 5"/>
                <a:gd name="T6" fmla="*/ 0 w 5"/>
                <a:gd name="T7" fmla="*/ 2147483647 h 5"/>
                <a:gd name="T8" fmla="*/ 0 w 5"/>
                <a:gd name="T9" fmla="*/ 2147483647 h 5"/>
                <a:gd name="T10" fmla="*/ 2147483647 w 5"/>
                <a:gd name="T11" fmla="*/ 0 h 5"/>
                <a:gd name="T12" fmla="*/ 2147483647 w 5"/>
                <a:gd name="T13" fmla="*/ 0 h 5"/>
                <a:gd name="T14" fmla="*/ 2147483647 w 5"/>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1"/>
                  </a:moveTo>
                  <a:lnTo>
                    <a:pt x="5" y="4"/>
                  </a:lnTo>
                  <a:lnTo>
                    <a:pt x="3" y="5"/>
                  </a:lnTo>
                  <a:lnTo>
                    <a:pt x="0" y="2"/>
                  </a:lnTo>
                  <a:lnTo>
                    <a:pt x="0" y="1"/>
                  </a:lnTo>
                  <a:lnTo>
                    <a:pt x="1" y="0"/>
                  </a:lnTo>
                  <a:lnTo>
                    <a:pt x="3" y="0"/>
                  </a:lnTo>
                  <a:lnTo>
                    <a:pt x="5"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29" name="Freeform 228"/>
            <p:cNvSpPr>
              <a:spLocks/>
            </p:cNvSpPr>
            <p:nvPr/>
          </p:nvSpPr>
          <p:spPr bwMode="auto">
            <a:xfrm>
              <a:off x="9066215" y="4805367"/>
              <a:ext cx="20637" cy="22225"/>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2147483647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2147483647 w 14"/>
                <a:gd name="T21" fmla="*/ 2147483647 h 14"/>
                <a:gd name="T22" fmla="*/ 2147483647 w 14"/>
                <a:gd name="T23" fmla="*/ 2147483647 h 14"/>
                <a:gd name="T24" fmla="*/ 0 w 14"/>
                <a:gd name="T25" fmla="*/ 2147483647 h 14"/>
                <a:gd name="T26" fmla="*/ 0 w 14"/>
                <a:gd name="T27" fmla="*/ 2147483647 h 14"/>
                <a:gd name="T28" fmla="*/ 0 w 14"/>
                <a:gd name="T29" fmla="*/ 2147483647 h 14"/>
                <a:gd name="T30" fmla="*/ 2147483647 w 14"/>
                <a:gd name="T31" fmla="*/ 2147483647 h 14"/>
                <a:gd name="T32" fmla="*/ 2147483647 w 14"/>
                <a:gd name="T33" fmla="*/ 2147483647 h 14"/>
                <a:gd name="T34" fmla="*/ 2147483647 w 14"/>
                <a:gd name="T35" fmla="*/ 0 h 14"/>
                <a:gd name="T36" fmla="*/ 2147483647 w 14"/>
                <a:gd name="T37" fmla="*/ 0 h 14"/>
                <a:gd name="T38" fmla="*/ 2147483647 w 14"/>
                <a:gd name="T39" fmla="*/ 2147483647 h 14"/>
                <a:gd name="T40" fmla="*/ 2147483647 w 14"/>
                <a:gd name="T41" fmla="*/ 2147483647 h 14"/>
                <a:gd name="T42" fmla="*/ 2147483647 w 14"/>
                <a:gd name="T43" fmla="*/ 2147483647 h 14"/>
                <a:gd name="T44" fmla="*/ 2147483647 w 14"/>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12" y="9"/>
                  </a:moveTo>
                  <a:lnTo>
                    <a:pt x="12" y="9"/>
                  </a:lnTo>
                  <a:lnTo>
                    <a:pt x="12" y="10"/>
                  </a:lnTo>
                  <a:lnTo>
                    <a:pt x="14" y="12"/>
                  </a:lnTo>
                  <a:lnTo>
                    <a:pt x="10" y="13"/>
                  </a:lnTo>
                  <a:lnTo>
                    <a:pt x="7" y="13"/>
                  </a:lnTo>
                  <a:lnTo>
                    <a:pt x="3" y="14"/>
                  </a:lnTo>
                  <a:lnTo>
                    <a:pt x="2" y="14"/>
                  </a:lnTo>
                  <a:lnTo>
                    <a:pt x="2" y="13"/>
                  </a:lnTo>
                  <a:lnTo>
                    <a:pt x="0" y="10"/>
                  </a:lnTo>
                  <a:lnTo>
                    <a:pt x="0" y="7"/>
                  </a:lnTo>
                  <a:lnTo>
                    <a:pt x="0" y="3"/>
                  </a:lnTo>
                  <a:lnTo>
                    <a:pt x="1" y="1"/>
                  </a:lnTo>
                  <a:lnTo>
                    <a:pt x="3" y="0"/>
                  </a:lnTo>
                  <a:lnTo>
                    <a:pt x="5" y="0"/>
                  </a:lnTo>
                  <a:lnTo>
                    <a:pt x="9" y="1"/>
                  </a:lnTo>
                  <a:lnTo>
                    <a:pt x="11" y="4"/>
                  </a:lnTo>
                  <a:lnTo>
                    <a:pt x="12"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0" name="Freeform 229"/>
            <p:cNvSpPr>
              <a:spLocks/>
            </p:cNvSpPr>
            <p:nvPr/>
          </p:nvSpPr>
          <p:spPr bwMode="auto">
            <a:xfrm>
              <a:off x="8869367" y="4735517"/>
              <a:ext cx="7937" cy="7937"/>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2147483647 w 5"/>
                <a:gd name="T9" fmla="*/ 2147483647 h 5"/>
                <a:gd name="T10" fmla="*/ 0 w 5"/>
                <a:gd name="T11" fmla="*/ 2147483647 h 5"/>
                <a:gd name="T12" fmla="*/ 0 w 5"/>
                <a:gd name="T13" fmla="*/ 2147483647 h 5"/>
                <a:gd name="T14" fmla="*/ 2147483647 w 5"/>
                <a:gd name="T15" fmla="*/ 0 h 5"/>
                <a:gd name="T16" fmla="*/ 2147483647 w 5"/>
                <a:gd name="T17" fmla="*/ 0 h 5"/>
                <a:gd name="T18" fmla="*/ 2147483647 w 5"/>
                <a:gd name="T19" fmla="*/ 0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5" y="1"/>
                  </a:moveTo>
                  <a:lnTo>
                    <a:pt x="5" y="1"/>
                  </a:lnTo>
                  <a:lnTo>
                    <a:pt x="5" y="3"/>
                  </a:lnTo>
                  <a:lnTo>
                    <a:pt x="4" y="5"/>
                  </a:lnTo>
                  <a:lnTo>
                    <a:pt x="0" y="2"/>
                  </a:lnTo>
                  <a:lnTo>
                    <a:pt x="0" y="1"/>
                  </a:lnTo>
                  <a:lnTo>
                    <a:pt x="2" y="0"/>
                  </a:lnTo>
                  <a:lnTo>
                    <a:pt x="4" y="0"/>
                  </a:lnTo>
                  <a:lnTo>
                    <a:pt x="5"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1" name="Freeform 230"/>
            <p:cNvSpPr>
              <a:spLocks/>
            </p:cNvSpPr>
            <p:nvPr/>
          </p:nvSpPr>
          <p:spPr bwMode="auto">
            <a:xfrm>
              <a:off x="8907464" y="4810129"/>
              <a:ext cx="6350" cy="9525"/>
            </a:xfrm>
            <a:custGeom>
              <a:avLst/>
              <a:gdLst>
                <a:gd name="T0" fmla="*/ 2147483647 w 4"/>
                <a:gd name="T1" fmla="*/ 2147483647 h 6"/>
                <a:gd name="T2" fmla="*/ 2147483647 w 4"/>
                <a:gd name="T3" fmla="*/ 2147483647 h 6"/>
                <a:gd name="T4" fmla="*/ 2147483647 w 4"/>
                <a:gd name="T5" fmla="*/ 2147483647 h 6"/>
                <a:gd name="T6" fmla="*/ 0 w 4"/>
                <a:gd name="T7" fmla="*/ 2147483647 h 6"/>
                <a:gd name="T8" fmla="*/ 0 w 4"/>
                <a:gd name="T9" fmla="*/ 2147483647 h 6"/>
                <a:gd name="T10" fmla="*/ 0 w 4"/>
                <a:gd name="T11" fmla="*/ 0 h 6"/>
                <a:gd name="T12" fmla="*/ 2147483647 w 4"/>
                <a:gd name="T13" fmla="*/ 0 h 6"/>
                <a:gd name="T14" fmla="*/ 2147483647 w 4"/>
                <a:gd name="T15" fmla="*/ 0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4"/>
                  </a:moveTo>
                  <a:lnTo>
                    <a:pt x="2" y="5"/>
                  </a:lnTo>
                  <a:lnTo>
                    <a:pt x="2" y="6"/>
                  </a:lnTo>
                  <a:lnTo>
                    <a:pt x="0" y="5"/>
                  </a:lnTo>
                  <a:lnTo>
                    <a:pt x="0" y="4"/>
                  </a:lnTo>
                  <a:lnTo>
                    <a:pt x="0" y="0"/>
                  </a:lnTo>
                  <a:lnTo>
                    <a:pt x="1" y="0"/>
                  </a:lnTo>
                  <a:lnTo>
                    <a:pt x="2" y="0"/>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2" name="Freeform 231"/>
            <p:cNvSpPr>
              <a:spLocks/>
            </p:cNvSpPr>
            <p:nvPr/>
          </p:nvSpPr>
          <p:spPr bwMode="auto">
            <a:xfrm>
              <a:off x="9107492" y="4687888"/>
              <a:ext cx="7937"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2147483647 w 6"/>
                <a:gd name="T15" fmla="*/ 2147483647 h 7"/>
                <a:gd name="T16" fmla="*/ 2147483647 w 6"/>
                <a:gd name="T17" fmla="*/ 0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5" y="4"/>
                  </a:moveTo>
                  <a:lnTo>
                    <a:pt x="6" y="5"/>
                  </a:lnTo>
                  <a:lnTo>
                    <a:pt x="5" y="6"/>
                  </a:lnTo>
                  <a:lnTo>
                    <a:pt x="5" y="7"/>
                  </a:lnTo>
                  <a:lnTo>
                    <a:pt x="2" y="6"/>
                  </a:lnTo>
                  <a:lnTo>
                    <a:pt x="1" y="5"/>
                  </a:lnTo>
                  <a:lnTo>
                    <a:pt x="0" y="3"/>
                  </a:lnTo>
                  <a:lnTo>
                    <a:pt x="1" y="1"/>
                  </a:lnTo>
                  <a:lnTo>
                    <a:pt x="2" y="0"/>
                  </a:lnTo>
                  <a:lnTo>
                    <a:pt x="3" y="1"/>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3" name="Freeform 232"/>
            <p:cNvSpPr>
              <a:spLocks/>
            </p:cNvSpPr>
            <p:nvPr/>
          </p:nvSpPr>
          <p:spPr bwMode="auto">
            <a:xfrm>
              <a:off x="8905878" y="4808543"/>
              <a:ext cx="4763" cy="9525"/>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0 w 4"/>
                <a:gd name="T11" fmla="*/ 2147483647 h 6"/>
                <a:gd name="T12" fmla="*/ 0 w 4"/>
                <a:gd name="T13" fmla="*/ 2147483647 h 6"/>
                <a:gd name="T14" fmla="*/ 0 w 4"/>
                <a:gd name="T15" fmla="*/ 0 h 6"/>
                <a:gd name="T16" fmla="*/ 0 w 4"/>
                <a:gd name="T17" fmla="*/ 0 h 6"/>
                <a:gd name="T18" fmla="*/ 2147483647 w 4"/>
                <a:gd name="T19" fmla="*/ 0 h 6"/>
                <a:gd name="T20" fmla="*/ 2147483647 w 4"/>
                <a:gd name="T21" fmla="*/ 0 h 6"/>
                <a:gd name="T22" fmla="*/ 2147483647 w 4"/>
                <a:gd name="T23" fmla="*/ 2147483647 h 6"/>
                <a:gd name="T24" fmla="*/ 2147483647 w 4"/>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4" y="4"/>
                  </a:moveTo>
                  <a:lnTo>
                    <a:pt x="4" y="4"/>
                  </a:lnTo>
                  <a:lnTo>
                    <a:pt x="3" y="5"/>
                  </a:lnTo>
                  <a:lnTo>
                    <a:pt x="3" y="6"/>
                  </a:lnTo>
                  <a:lnTo>
                    <a:pt x="0" y="5"/>
                  </a:lnTo>
                  <a:lnTo>
                    <a:pt x="0" y="4"/>
                  </a:lnTo>
                  <a:lnTo>
                    <a:pt x="0" y="0"/>
                  </a:lnTo>
                  <a:lnTo>
                    <a:pt x="2" y="0"/>
                  </a:lnTo>
                  <a:lnTo>
                    <a:pt x="3" y="0"/>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4" name="Freeform 233"/>
            <p:cNvSpPr>
              <a:spLocks/>
            </p:cNvSpPr>
            <p:nvPr/>
          </p:nvSpPr>
          <p:spPr bwMode="auto">
            <a:xfrm>
              <a:off x="9104313" y="4686302"/>
              <a:ext cx="11112" cy="11113"/>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2147483647 w 7"/>
                <a:gd name="T9" fmla="*/ 2147483647 h 7"/>
                <a:gd name="T10" fmla="*/ 2147483647 w 7"/>
                <a:gd name="T11" fmla="*/ 2147483647 h 7"/>
                <a:gd name="T12" fmla="*/ 2147483647 w 7"/>
                <a:gd name="T13" fmla="*/ 2147483647 h 7"/>
                <a:gd name="T14" fmla="*/ 2147483647 w 7"/>
                <a:gd name="T15" fmla="*/ 2147483647 h 7"/>
                <a:gd name="T16" fmla="*/ 2147483647 w 7"/>
                <a:gd name="T17" fmla="*/ 2147483647 h 7"/>
                <a:gd name="T18" fmla="*/ 0 w 7"/>
                <a:gd name="T19" fmla="*/ 2147483647 h 7"/>
                <a:gd name="T20" fmla="*/ 2147483647 w 7"/>
                <a:gd name="T21" fmla="*/ 2147483647 h 7"/>
                <a:gd name="T22" fmla="*/ 2147483647 w 7"/>
                <a:gd name="T23" fmla="*/ 2147483647 h 7"/>
                <a:gd name="T24" fmla="*/ 2147483647 w 7"/>
                <a:gd name="T25" fmla="*/ 0 h 7"/>
                <a:gd name="T26" fmla="*/ 2147483647 w 7"/>
                <a:gd name="T27" fmla="*/ 2147483647 h 7"/>
                <a:gd name="T28" fmla="*/ 2147483647 w 7"/>
                <a:gd name="T29" fmla="*/ 2147483647 h 7"/>
                <a:gd name="T30" fmla="*/ 2147483647 w 7"/>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7"/>
                <a:gd name="T50" fmla="*/ 7 w 7"/>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7">
                  <a:moveTo>
                    <a:pt x="5" y="4"/>
                  </a:moveTo>
                  <a:lnTo>
                    <a:pt x="5" y="4"/>
                  </a:lnTo>
                  <a:lnTo>
                    <a:pt x="7" y="5"/>
                  </a:lnTo>
                  <a:lnTo>
                    <a:pt x="5" y="6"/>
                  </a:lnTo>
                  <a:lnTo>
                    <a:pt x="5" y="7"/>
                  </a:lnTo>
                  <a:lnTo>
                    <a:pt x="3" y="6"/>
                  </a:lnTo>
                  <a:lnTo>
                    <a:pt x="2" y="5"/>
                  </a:lnTo>
                  <a:lnTo>
                    <a:pt x="0" y="2"/>
                  </a:lnTo>
                  <a:lnTo>
                    <a:pt x="2" y="1"/>
                  </a:lnTo>
                  <a:lnTo>
                    <a:pt x="3" y="0"/>
                  </a:lnTo>
                  <a:lnTo>
                    <a:pt x="4" y="1"/>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5" name="Freeform 234"/>
            <p:cNvSpPr>
              <a:spLocks/>
            </p:cNvSpPr>
            <p:nvPr/>
          </p:nvSpPr>
          <p:spPr bwMode="auto">
            <a:xfrm>
              <a:off x="9080500" y="4665667"/>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5" y="6"/>
                  </a:lnTo>
                  <a:lnTo>
                    <a:pt x="4" y="6"/>
                  </a:lnTo>
                  <a:lnTo>
                    <a:pt x="2" y="6"/>
                  </a:lnTo>
                  <a:lnTo>
                    <a:pt x="0" y="2"/>
                  </a:lnTo>
                  <a:lnTo>
                    <a:pt x="1" y="0"/>
                  </a:lnTo>
                  <a:lnTo>
                    <a:pt x="4" y="0"/>
                  </a:lnTo>
                  <a:lnTo>
                    <a:pt x="5" y="1"/>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6" name="Freeform 235"/>
            <p:cNvSpPr>
              <a:spLocks/>
            </p:cNvSpPr>
            <p:nvPr/>
          </p:nvSpPr>
          <p:spPr bwMode="auto">
            <a:xfrm>
              <a:off x="8793167" y="4600575"/>
              <a:ext cx="7937" cy="6350"/>
            </a:xfrm>
            <a:custGeom>
              <a:avLst/>
              <a:gdLst>
                <a:gd name="T0" fmla="*/ 2147483647 w 5"/>
                <a:gd name="T1" fmla="*/ 2147483647 h 4"/>
                <a:gd name="T2" fmla="*/ 2147483647 w 5"/>
                <a:gd name="T3" fmla="*/ 2147483647 h 4"/>
                <a:gd name="T4" fmla="*/ 2147483647 w 5"/>
                <a:gd name="T5" fmla="*/ 2147483647 h 4"/>
                <a:gd name="T6" fmla="*/ 0 w 5"/>
                <a:gd name="T7" fmla="*/ 2147483647 h 4"/>
                <a:gd name="T8" fmla="*/ 0 w 5"/>
                <a:gd name="T9" fmla="*/ 2147483647 h 4"/>
                <a:gd name="T10" fmla="*/ 2147483647 w 5"/>
                <a:gd name="T11" fmla="*/ 0 h 4"/>
                <a:gd name="T12" fmla="*/ 2147483647 w 5"/>
                <a:gd name="T13" fmla="*/ 0 h 4"/>
                <a:gd name="T14" fmla="*/ 2147483647 w 5"/>
                <a:gd name="T15" fmla="*/ 2147483647 h 4"/>
                <a:gd name="T16" fmla="*/ 2147483647 w 5"/>
                <a:gd name="T17" fmla="*/ 2147483647 h 4"/>
                <a:gd name="T18" fmla="*/ 2147483647 w 5"/>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4"/>
                <a:gd name="T32" fmla="*/ 5 w 5"/>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4">
                  <a:moveTo>
                    <a:pt x="4" y="3"/>
                  </a:moveTo>
                  <a:lnTo>
                    <a:pt x="3" y="4"/>
                  </a:lnTo>
                  <a:lnTo>
                    <a:pt x="2" y="4"/>
                  </a:lnTo>
                  <a:lnTo>
                    <a:pt x="0" y="2"/>
                  </a:lnTo>
                  <a:lnTo>
                    <a:pt x="0" y="1"/>
                  </a:lnTo>
                  <a:lnTo>
                    <a:pt x="2" y="0"/>
                  </a:lnTo>
                  <a:lnTo>
                    <a:pt x="3" y="0"/>
                  </a:lnTo>
                  <a:lnTo>
                    <a:pt x="5" y="2"/>
                  </a:lnTo>
                  <a:lnTo>
                    <a:pt x="5" y="3"/>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7" name="Freeform 236"/>
            <p:cNvSpPr>
              <a:spLocks/>
            </p:cNvSpPr>
            <p:nvPr/>
          </p:nvSpPr>
          <p:spPr bwMode="auto">
            <a:xfrm>
              <a:off x="9078917" y="4664080"/>
              <a:ext cx="7937"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2147483647 w 5"/>
                <a:gd name="T15" fmla="*/ 0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5" y="6"/>
                  </a:lnTo>
                  <a:lnTo>
                    <a:pt x="3" y="6"/>
                  </a:lnTo>
                  <a:lnTo>
                    <a:pt x="2" y="6"/>
                  </a:lnTo>
                  <a:lnTo>
                    <a:pt x="0" y="2"/>
                  </a:lnTo>
                  <a:lnTo>
                    <a:pt x="1" y="0"/>
                  </a:lnTo>
                  <a:lnTo>
                    <a:pt x="3" y="0"/>
                  </a:lnTo>
                  <a:lnTo>
                    <a:pt x="5" y="1"/>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8" name="Freeform 237"/>
            <p:cNvSpPr>
              <a:spLocks/>
            </p:cNvSpPr>
            <p:nvPr/>
          </p:nvSpPr>
          <p:spPr bwMode="auto">
            <a:xfrm>
              <a:off x="8791575" y="4597400"/>
              <a:ext cx="7938" cy="7938"/>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0 w 5"/>
                <a:gd name="T9" fmla="*/ 2147483647 h 5"/>
                <a:gd name="T10" fmla="*/ 0 w 5"/>
                <a:gd name="T11" fmla="*/ 2147483647 h 5"/>
                <a:gd name="T12" fmla="*/ 0 w 5"/>
                <a:gd name="T13" fmla="*/ 2147483647 h 5"/>
                <a:gd name="T14" fmla="*/ 2147483647 w 5"/>
                <a:gd name="T15" fmla="*/ 0 h 5"/>
                <a:gd name="T16" fmla="*/ 2147483647 w 5"/>
                <a:gd name="T17" fmla="*/ 0 h 5"/>
                <a:gd name="T18" fmla="*/ 2147483647 w 5"/>
                <a:gd name="T19" fmla="*/ 0 h 5"/>
                <a:gd name="T20" fmla="*/ 2147483647 w 5"/>
                <a:gd name="T21" fmla="*/ 2147483647 h 5"/>
                <a:gd name="T22" fmla="*/ 2147483647 w 5"/>
                <a:gd name="T23" fmla="*/ 2147483647 h 5"/>
                <a:gd name="T24" fmla="*/ 2147483647 w 5"/>
                <a:gd name="T25" fmla="*/ 2147483647 h 5"/>
                <a:gd name="T26" fmla="*/ 2147483647 w 5"/>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5"/>
                <a:gd name="T44" fmla="*/ 5 w 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5">
                  <a:moveTo>
                    <a:pt x="4" y="4"/>
                  </a:moveTo>
                  <a:lnTo>
                    <a:pt x="4" y="4"/>
                  </a:lnTo>
                  <a:lnTo>
                    <a:pt x="3" y="5"/>
                  </a:lnTo>
                  <a:lnTo>
                    <a:pt x="1" y="5"/>
                  </a:lnTo>
                  <a:lnTo>
                    <a:pt x="0" y="3"/>
                  </a:lnTo>
                  <a:lnTo>
                    <a:pt x="0" y="2"/>
                  </a:lnTo>
                  <a:lnTo>
                    <a:pt x="1" y="0"/>
                  </a:lnTo>
                  <a:lnTo>
                    <a:pt x="3" y="0"/>
                  </a:lnTo>
                  <a:lnTo>
                    <a:pt x="5" y="3"/>
                  </a:lnTo>
                  <a:lnTo>
                    <a:pt x="5" y="4"/>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39" name="Freeform 238"/>
            <p:cNvSpPr>
              <a:spLocks/>
            </p:cNvSpPr>
            <p:nvPr/>
          </p:nvSpPr>
          <p:spPr bwMode="auto">
            <a:xfrm>
              <a:off x="8809041" y="4622804"/>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0 w 7"/>
                <a:gd name="T11" fmla="*/ 2147483647 h 6"/>
                <a:gd name="T12" fmla="*/ 0 w 7"/>
                <a:gd name="T13" fmla="*/ 2147483647 h 6"/>
                <a:gd name="T14" fmla="*/ 2147483647 w 7"/>
                <a:gd name="T15" fmla="*/ 0 h 6"/>
                <a:gd name="T16" fmla="*/ 2147483647 w 7"/>
                <a:gd name="T17" fmla="*/ 0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6" y="2"/>
                  </a:moveTo>
                  <a:lnTo>
                    <a:pt x="7" y="3"/>
                  </a:lnTo>
                  <a:lnTo>
                    <a:pt x="6" y="4"/>
                  </a:lnTo>
                  <a:lnTo>
                    <a:pt x="3" y="6"/>
                  </a:lnTo>
                  <a:lnTo>
                    <a:pt x="2" y="4"/>
                  </a:lnTo>
                  <a:lnTo>
                    <a:pt x="0" y="2"/>
                  </a:lnTo>
                  <a:lnTo>
                    <a:pt x="0" y="1"/>
                  </a:lnTo>
                  <a:lnTo>
                    <a:pt x="3" y="0"/>
                  </a:lnTo>
                  <a:lnTo>
                    <a:pt x="4" y="0"/>
                  </a:lnTo>
                  <a:lnTo>
                    <a:pt x="4" y="1"/>
                  </a:lnTo>
                  <a:lnTo>
                    <a:pt x="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0" name="Freeform 239"/>
            <p:cNvSpPr>
              <a:spLocks/>
            </p:cNvSpPr>
            <p:nvPr/>
          </p:nvSpPr>
          <p:spPr bwMode="auto">
            <a:xfrm>
              <a:off x="8848725" y="4625980"/>
              <a:ext cx="6350" cy="9525"/>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4" y="6"/>
                  </a:lnTo>
                  <a:lnTo>
                    <a:pt x="1" y="6"/>
                  </a:lnTo>
                  <a:lnTo>
                    <a:pt x="0" y="4"/>
                  </a:lnTo>
                  <a:lnTo>
                    <a:pt x="0" y="2"/>
                  </a:lnTo>
                  <a:lnTo>
                    <a:pt x="1" y="0"/>
                  </a:lnTo>
                  <a:lnTo>
                    <a:pt x="3" y="0"/>
                  </a:lnTo>
                  <a:lnTo>
                    <a:pt x="5" y="1"/>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1" name="Freeform 240"/>
            <p:cNvSpPr>
              <a:spLocks/>
            </p:cNvSpPr>
            <p:nvPr/>
          </p:nvSpPr>
          <p:spPr bwMode="auto">
            <a:xfrm>
              <a:off x="8807453" y="4621217"/>
              <a:ext cx="9525" cy="7937"/>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0 w 7"/>
                <a:gd name="T17" fmla="*/ 2147483647 h 5"/>
                <a:gd name="T18" fmla="*/ 0 w 7"/>
                <a:gd name="T19" fmla="*/ 2147483647 h 5"/>
                <a:gd name="T20" fmla="*/ 0 w 7"/>
                <a:gd name="T21" fmla="*/ 2147483647 h 5"/>
                <a:gd name="T22" fmla="*/ 2147483647 w 7"/>
                <a:gd name="T23" fmla="*/ 0 h 5"/>
                <a:gd name="T24" fmla="*/ 2147483647 w 7"/>
                <a:gd name="T25" fmla="*/ 0 h 5"/>
                <a:gd name="T26" fmla="*/ 2147483647 w 7"/>
                <a:gd name="T27" fmla="*/ 0 h 5"/>
                <a:gd name="T28" fmla="*/ 2147483647 w 7"/>
                <a:gd name="T29" fmla="*/ 2147483647 h 5"/>
                <a:gd name="T30" fmla="*/ 2147483647 w 7"/>
                <a:gd name="T31" fmla="*/ 2147483647 h 5"/>
                <a:gd name="T32" fmla="*/ 2147483647 w 7"/>
                <a:gd name="T33" fmla="*/ 2147483647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5"/>
                <a:gd name="T53" fmla="*/ 7 w 7"/>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5">
                  <a:moveTo>
                    <a:pt x="5" y="2"/>
                  </a:moveTo>
                  <a:lnTo>
                    <a:pt x="5" y="2"/>
                  </a:lnTo>
                  <a:lnTo>
                    <a:pt x="7" y="3"/>
                  </a:lnTo>
                  <a:lnTo>
                    <a:pt x="5" y="4"/>
                  </a:lnTo>
                  <a:lnTo>
                    <a:pt x="3" y="5"/>
                  </a:lnTo>
                  <a:lnTo>
                    <a:pt x="1" y="4"/>
                  </a:lnTo>
                  <a:lnTo>
                    <a:pt x="0" y="2"/>
                  </a:lnTo>
                  <a:lnTo>
                    <a:pt x="0" y="1"/>
                  </a:lnTo>
                  <a:lnTo>
                    <a:pt x="3" y="0"/>
                  </a:lnTo>
                  <a:lnTo>
                    <a:pt x="4" y="0"/>
                  </a:lnTo>
                  <a:lnTo>
                    <a:pt x="4" y="1"/>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2" name="Freeform 241"/>
            <p:cNvSpPr>
              <a:spLocks/>
            </p:cNvSpPr>
            <p:nvPr/>
          </p:nvSpPr>
          <p:spPr bwMode="auto">
            <a:xfrm>
              <a:off x="8847138" y="4624393"/>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4" y="6"/>
                  </a:lnTo>
                  <a:lnTo>
                    <a:pt x="1" y="6"/>
                  </a:lnTo>
                  <a:lnTo>
                    <a:pt x="0" y="3"/>
                  </a:lnTo>
                  <a:lnTo>
                    <a:pt x="0" y="2"/>
                  </a:lnTo>
                  <a:lnTo>
                    <a:pt x="1" y="0"/>
                  </a:lnTo>
                  <a:lnTo>
                    <a:pt x="2" y="0"/>
                  </a:lnTo>
                  <a:lnTo>
                    <a:pt x="5" y="1"/>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3" name="Freeform 242"/>
            <p:cNvSpPr>
              <a:spLocks/>
            </p:cNvSpPr>
            <p:nvPr/>
          </p:nvSpPr>
          <p:spPr bwMode="auto">
            <a:xfrm>
              <a:off x="8848725" y="4646617"/>
              <a:ext cx="6350" cy="7937"/>
            </a:xfrm>
            <a:custGeom>
              <a:avLst/>
              <a:gdLst>
                <a:gd name="T0" fmla="*/ 2147483647 w 4"/>
                <a:gd name="T1" fmla="*/ 2147483647 h 5"/>
                <a:gd name="T2" fmla="*/ 2147483647 w 4"/>
                <a:gd name="T3" fmla="*/ 2147483647 h 5"/>
                <a:gd name="T4" fmla="*/ 2147483647 w 4"/>
                <a:gd name="T5" fmla="*/ 2147483647 h 5"/>
                <a:gd name="T6" fmla="*/ 0 w 4"/>
                <a:gd name="T7" fmla="*/ 2147483647 h 5"/>
                <a:gd name="T8" fmla="*/ 0 w 4"/>
                <a:gd name="T9" fmla="*/ 2147483647 h 5"/>
                <a:gd name="T10" fmla="*/ 2147483647 w 4"/>
                <a:gd name="T11" fmla="*/ 0 h 5"/>
                <a:gd name="T12" fmla="*/ 2147483647 w 4"/>
                <a:gd name="T13" fmla="*/ 2147483647 h 5"/>
                <a:gd name="T14" fmla="*/ 2147483647 w 4"/>
                <a:gd name="T15" fmla="*/ 2147483647 h 5"/>
                <a:gd name="T16" fmla="*/ 2147483647 w 4"/>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4" y="4"/>
                  </a:moveTo>
                  <a:lnTo>
                    <a:pt x="3" y="5"/>
                  </a:lnTo>
                  <a:lnTo>
                    <a:pt x="2" y="4"/>
                  </a:lnTo>
                  <a:lnTo>
                    <a:pt x="0" y="3"/>
                  </a:lnTo>
                  <a:lnTo>
                    <a:pt x="0" y="1"/>
                  </a:lnTo>
                  <a:lnTo>
                    <a:pt x="2" y="0"/>
                  </a:lnTo>
                  <a:lnTo>
                    <a:pt x="3" y="1"/>
                  </a:lnTo>
                  <a:lnTo>
                    <a:pt x="4" y="3"/>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4" name="Freeform 243"/>
            <p:cNvSpPr>
              <a:spLocks/>
            </p:cNvSpPr>
            <p:nvPr/>
          </p:nvSpPr>
          <p:spPr bwMode="auto">
            <a:xfrm>
              <a:off x="8866189" y="4664075"/>
              <a:ext cx="6350" cy="12700"/>
            </a:xfrm>
            <a:custGeom>
              <a:avLst/>
              <a:gdLst>
                <a:gd name="T0" fmla="*/ 2147483647 w 5"/>
                <a:gd name="T1" fmla="*/ 2147483647 h 8"/>
                <a:gd name="T2" fmla="*/ 2147483647 w 5"/>
                <a:gd name="T3" fmla="*/ 2147483647 h 8"/>
                <a:gd name="T4" fmla="*/ 2147483647 w 5"/>
                <a:gd name="T5" fmla="*/ 2147483647 h 8"/>
                <a:gd name="T6" fmla="*/ 0 w 5"/>
                <a:gd name="T7" fmla="*/ 2147483647 h 8"/>
                <a:gd name="T8" fmla="*/ 0 w 5"/>
                <a:gd name="T9" fmla="*/ 2147483647 h 8"/>
                <a:gd name="T10" fmla="*/ 2147483647 w 5"/>
                <a:gd name="T11" fmla="*/ 0 h 8"/>
                <a:gd name="T12" fmla="*/ 2147483647 w 5"/>
                <a:gd name="T13" fmla="*/ 0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6"/>
                  </a:moveTo>
                  <a:lnTo>
                    <a:pt x="3" y="7"/>
                  </a:lnTo>
                  <a:lnTo>
                    <a:pt x="2" y="8"/>
                  </a:lnTo>
                  <a:lnTo>
                    <a:pt x="0" y="3"/>
                  </a:lnTo>
                  <a:lnTo>
                    <a:pt x="0" y="1"/>
                  </a:lnTo>
                  <a:lnTo>
                    <a:pt x="2" y="0"/>
                  </a:lnTo>
                  <a:lnTo>
                    <a:pt x="3" y="0"/>
                  </a:lnTo>
                  <a:lnTo>
                    <a:pt x="3" y="1"/>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5" name="Freeform 244"/>
            <p:cNvSpPr>
              <a:spLocks/>
            </p:cNvSpPr>
            <p:nvPr/>
          </p:nvSpPr>
          <p:spPr bwMode="auto">
            <a:xfrm>
              <a:off x="8848727" y="4645025"/>
              <a:ext cx="4763" cy="7938"/>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0 w 4"/>
                <a:gd name="T13" fmla="*/ 2147483647 h 5"/>
                <a:gd name="T14" fmla="*/ 2147483647 w 4"/>
                <a:gd name="T15" fmla="*/ 0 h 5"/>
                <a:gd name="T16" fmla="*/ 2147483647 w 4"/>
                <a:gd name="T17" fmla="*/ 2147483647 h 5"/>
                <a:gd name="T18" fmla="*/ 2147483647 w 4"/>
                <a:gd name="T19" fmla="*/ 2147483647 h 5"/>
                <a:gd name="T20" fmla="*/ 2147483647 w 4"/>
                <a:gd name="T21" fmla="*/ 2147483647 h 5"/>
                <a:gd name="T22" fmla="*/ 2147483647 w 4"/>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4" y="4"/>
                  </a:moveTo>
                  <a:lnTo>
                    <a:pt x="4" y="4"/>
                  </a:lnTo>
                  <a:lnTo>
                    <a:pt x="3" y="5"/>
                  </a:lnTo>
                  <a:lnTo>
                    <a:pt x="1" y="4"/>
                  </a:lnTo>
                  <a:lnTo>
                    <a:pt x="0" y="2"/>
                  </a:lnTo>
                  <a:lnTo>
                    <a:pt x="0" y="1"/>
                  </a:lnTo>
                  <a:lnTo>
                    <a:pt x="1" y="0"/>
                  </a:lnTo>
                  <a:lnTo>
                    <a:pt x="3" y="1"/>
                  </a:lnTo>
                  <a:lnTo>
                    <a:pt x="4" y="2"/>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6" name="Freeform 245"/>
            <p:cNvSpPr>
              <a:spLocks/>
            </p:cNvSpPr>
            <p:nvPr/>
          </p:nvSpPr>
          <p:spPr bwMode="auto">
            <a:xfrm>
              <a:off x="8863013" y="4662488"/>
              <a:ext cx="6350"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0 w 5"/>
                <a:gd name="T11" fmla="*/ 2147483647 h 8"/>
                <a:gd name="T12" fmla="*/ 0 w 5"/>
                <a:gd name="T13" fmla="*/ 2147483647 h 8"/>
                <a:gd name="T14" fmla="*/ 2147483647 w 5"/>
                <a:gd name="T15" fmla="*/ 0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8"/>
                <a:gd name="T41" fmla="*/ 5 w 5"/>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8">
                  <a:moveTo>
                    <a:pt x="5" y="6"/>
                  </a:moveTo>
                  <a:lnTo>
                    <a:pt x="5" y="6"/>
                  </a:lnTo>
                  <a:lnTo>
                    <a:pt x="4" y="7"/>
                  </a:lnTo>
                  <a:lnTo>
                    <a:pt x="3" y="8"/>
                  </a:lnTo>
                  <a:lnTo>
                    <a:pt x="0" y="3"/>
                  </a:lnTo>
                  <a:lnTo>
                    <a:pt x="0" y="1"/>
                  </a:lnTo>
                  <a:lnTo>
                    <a:pt x="3" y="0"/>
                  </a:lnTo>
                  <a:lnTo>
                    <a:pt x="4" y="0"/>
                  </a:lnTo>
                  <a:lnTo>
                    <a:pt x="4" y="1"/>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7" name="Freeform 246"/>
            <p:cNvSpPr>
              <a:spLocks/>
            </p:cNvSpPr>
            <p:nvPr/>
          </p:nvSpPr>
          <p:spPr bwMode="auto">
            <a:xfrm>
              <a:off x="8159750" y="4491043"/>
              <a:ext cx="50800" cy="61911"/>
            </a:xfrm>
            <a:custGeom>
              <a:avLst/>
              <a:gdLst>
                <a:gd name="T0" fmla="*/ 2147483647 w 35"/>
                <a:gd name="T1" fmla="*/ 2147483647 h 39"/>
                <a:gd name="T2" fmla="*/ 2147483647 w 35"/>
                <a:gd name="T3" fmla="*/ 2147483647 h 39"/>
                <a:gd name="T4" fmla="*/ 2147483647 w 35"/>
                <a:gd name="T5" fmla="*/ 2147483647 h 39"/>
                <a:gd name="T6" fmla="*/ 2147483647 w 35"/>
                <a:gd name="T7" fmla="*/ 2147483647 h 39"/>
                <a:gd name="T8" fmla="*/ 2147483647 w 35"/>
                <a:gd name="T9" fmla="*/ 2147483647 h 39"/>
                <a:gd name="T10" fmla="*/ 2147483647 w 35"/>
                <a:gd name="T11" fmla="*/ 2147483647 h 39"/>
                <a:gd name="T12" fmla="*/ 2147483647 w 35"/>
                <a:gd name="T13" fmla="*/ 2147483647 h 39"/>
                <a:gd name="T14" fmla="*/ 2147483647 w 35"/>
                <a:gd name="T15" fmla="*/ 2147483647 h 39"/>
                <a:gd name="T16" fmla="*/ 2147483647 w 35"/>
                <a:gd name="T17" fmla="*/ 2147483647 h 39"/>
                <a:gd name="T18" fmla="*/ 2147483647 w 35"/>
                <a:gd name="T19" fmla="*/ 2147483647 h 39"/>
                <a:gd name="T20" fmla="*/ 2147483647 w 35"/>
                <a:gd name="T21" fmla="*/ 2147483647 h 39"/>
                <a:gd name="T22" fmla="*/ 2147483647 w 35"/>
                <a:gd name="T23" fmla="*/ 0 h 39"/>
                <a:gd name="T24" fmla="*/ 2147483647 w 35"/>
                <a:gd name="T25" fmla="*/ 2147483647 h 39"/>
                <a:gd name="T26" fmla="*/ 0 w 35"/>
                <a:gd name="T27" fmla="*/ 2147483647 h 39"/>
                <a:gd name="T28" fmla="*/ 2147483647 w 35"/>
                <a:gd name="T29" fmla="*/ 2147483647 h 39"/>
                <a:gd name="T30" fmla="*/ 2147483647 w 35"/>
                <a:gd name="T31" fmla="*/ 2147483647 h 39"/>
                <a:gd name="T32" fmla="*/ 2147483647 w 35"/>
                <a:gd name="T33" fmla="*/ 2147483647 h 39"/>
                <a:gd name="T34" fmla="*/ 2147483647 w 35"/>
                <a:gd name="T35" fmla="*/ 2147483647 h 39"/>
                <a:gd name="T36" fmla="*/ 2147483647 w 35"/>
                <a:gd name="T37" fmla="*/ 2147483647 h 39"/>
                <a:gd name="T38" fmla="*/ 2147483647 w 35"/>
                <a:gd name="T39" fmla="*/ 2147483647 h 39"/>
                <a:gd name="T40" fmla="*/ 2147483647 w 35"/>
                <a:gd name="T41" fmla="*/ 2147483647 h 39"/>
                <a:gd name="T42" fmla="*/ 2147483647 w 35"/>
                <a:gd name="T43" fmla="*/ 2147483647 h 39"/>
                <a:gd name="T44" fmla="*/ 2147483647 w 35"/>
                <a:gd name="T45" fmla="*/ 2147483647 h 39"/>
                <a:gd name="T46" fmla="*/ 2147483647 w 35"/>
                <a:gd name="T47" fmla="*/ 2147483647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9"/>
                <a:gd name="T74" fmla="*/ 35 w 35"/>
                <a:gd name="T75" fmla="*/ 39 h 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9">
                  <a:moveTo>
                    <a:pt x="35" y="35"/>
                  </a:moveTo>
                  <a:lnTo>
                    <a:pt x="35" y="31"/>
                  </a:lnTo>
                  <a:lnTo>
                    <a:pt x="33" y="26"/>
                  </a:lnTo>
                  <a:lnTo>
                    <a:pt x="31" y="22"/>
                  </a:lnTo>
                  <a:lnTo>
                    <a:pt x="28" y="19"/>
                  </a:lnTo>
                  <a:lnTo>
                    <a:pt x="21" y="13"/>
                  </a:lnTo>
                  <a:lnTo>
                    <a:pt x="12" y="8"/>
                  </a:lnTo>
                  <a:lnTo>
                    <a:pt x="10" y="7"/>
                  </a:lnTo>
                  <a:lnTo>
                    <a:pt x="9" y="6"/>
                  </a:lnTo>
                  <a:lnTo>
                    <a:pt x="5" y="2"/>
                  </a:lnTo>
                  <a:lnTo>
                    <a:pt x="4" y="1"/>
                  </a:lnTo>
                  <a:lnTo>
                    <a:pt x="3" y="0"/>
                  </a:lnTo>
                  <a:lnTo>
                    <a:pt x="2" y="1"/>
                  </a:lnTo>
                  <a:lnTo>
                    <a:pt x="0" y="3"/>
                  </a:lnTo>
                  <a:lnTo>
                    <a:pt x="2" y="6"/>
                  </a:lnTo>
                  <a:lnTo>
                    <a:pt x="3" y="7"/>
                  </a:lnTo>
                  <a:lnTo>
                    <a:pt x="5" y="8"/>
                  </a:lnTo>
                  <a:lnTo>
                    <a:pt x="10" y="10"/>
                  </a:lnTo>
                  <a:lnTo>
                    <a:pt x="14" y="14"/>
                  </a:lnTo>
                  <a:lnTo>
                    <a:pt x="21" y="21"/>
                  </a:lnTo>
                  <a:lnTo>
                    <a:pt x="31" y="39"/>
                  </a:lnTo>
                  <a:lnTo>
                    <a:pt x="32" y="39"/>
                  </a:lnTo>
                  <a:lnTo>
                    <a:pt x="33" y="39"/>
                  </a:lnTo>
                  <a:lnTo>
                    <a:pt x="35" y="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8" name="Freeform 247"/>
            <p:cNvSpPr>
              <a:spLocks/>
            </p:cNvSpPr>
            <p:nvPr/>
          </p:nvSpPr>
          <p:spPr bwMode="auto">
            <a:xfrm>
              <a:off x="8137525" y="4695829"/>
              <a:ext cx="7938"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4" y="1"/>
                  </a:moveTo>
                  <a:lnTo>
                    <a:pt x="6" y="4"/>
                  </a:lnTo>
                  <a:lnTo>
                    <a:pt x="5" y="5"/>
                  </a:lnTo>
                  <a:lnTo>
                    <a:pt x="1" y="6"/>
                  </a:lnTo>
                  <a:lnTo>
                    <a:pt x="0" y="5"/>
                  </a:lnTo>
                  <a:lnTo>
                    <a:pt x="0" y="4"/>
                  </a:lnTo>
                  <a:lnTo>
                    <a:pt x="0" y="1"/>
                  </a:lnTo>
                  <a:lnTo>
                    <a:pt x="1" y="0"/>
                  </a:lnTo>
                  <a:lnTo>
                    <a:pt x="4"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49" name="Freeform 248"/>
            <p:cNvSpPr>
              <a:spLocks/>
            </p:cNvSpPr>
            <p:nvPr/>
          </p:nvSpPr>
          <p:spPr bwMode="auto">
            <a:xfrm>
              <a:off x="8158164" y="4489453"/>
              <a:ext cx="49212" cy="61913"/>
            </a:xfrm>
            <a:custGeom>
              <a:avLst/>
              <a:gdLst>
                <a:gd name="T0" fmla="*/ 2147483647 w 34"/>
                <a:gd name="T1" fmla="*/ 2147483647 h 39"/>
                <a:gd name="T2" fmla="*/ 2147483647 w 34"/>
                <a:gd name="T3" fmla="*/ 2147483647 h 39"/>
                <a:gd name="T4" fmla="*/ 2147483647 w 34"/>
                <a:gd name="T5" fmla="*/ 2147483647 h 39"/>
                <a:gd name="T6" fmla="*/ 2147483647 w 34"/>
                <a:gd name="T7" fmla="*/ 2147483647 h 39"/>
                <a:gd name="T8" fmla="*/ 2147483647 w 34"/>
                <a:gd name="T9" fmla="*/ 2147483647 h 39"/>
                <a:gd name="T10" fmla="*/ 2147483647 w 34"/>
                <a:gd name="T11" fmla="*/ 2147483647 h 39"/>
                <a:gd name="T12" fmla="*/ 2147483647 w 34"/>
                <a:gd name="T13" fmla="*/ 2147483647 h 39"/>
                <a:gd name="T14" fmla="*/ 2147483647 w 34"/>
                <a:gd name="T15" fmla="*/ 2147483647 h 39"/>
                <a:gd name="T16" fmla="*/ 2147483647 w 34"/>
                <a:gd name="T17" fmla="*/ 2147483647 h 39"/>
                <a:gd name="T18" fmla="*/ 2147483647 w 34"/>
                <a:gd name="T19" fmla="*/ 2147483647 h 39"/>
                <a:gd name="T20" fmla="*/ 2147483647 w 34"/>
                <a:gd name="T21" fmla="*/ 2147483647 h 39"/>
                <a:gd name="T22" fmla="*/ 2147483647 w 34"/>
                <a:gd name="T23" fmla="*/ 2147483647 h 39"/>
                <a:gd name="T24" fmla="*/ 2147483647 w 34"/>
                <a:gd name="T25" fmla="*/ 2147483647 h 39"/>
                <a:gd name="T26" fmla="*/ 2147483647 w 34"/>
                <a:gd name="T27" fmla="*/ 2147483647 h 39"/>
                <a:gd name="T28" fmla="*/ 2147483647 w 34"/>
                <a:gd name="T29" fmla="*/ 0 h 39"/>
                <a:gd name="T30" fmla="*/ 2147483647 w 34"/>
                <a:gd name="T31" fmla="*/ 2147483647 h 39"/>
                <a:gd name="T32" fmla="*/ 2147483647 w 34"/>
                <a:gd name="T33" fmla="*/ 2147483647 h 39"/>
                <a:gd name="T34" fmla="*/ 0 w 34"/>
                <a:gd name="T35" fmla="*/ 2147483647 h 39"/>
                <a:gd name="T36" fmla="*/ 2147483647 w 34"/>
                <a:gd name="T37" fmla="*/ 2147483647 h 39"/>
                <a:gd name="T38" fmla="*/ 2147483647 w 34"/>
                <a:gd name="T39" fmla="*/ 2147483647 h 39"/>
                <a:gd name="T40" fmla="*/ 2147483647 w 34"/>
                <a:gd name="T41" fmla="*/ 2147483647 h 39"/>
                <a:gd name="T42" fmla="*/ 2147483647 w 34"/>
                <a:gd name="T43" fmla="*/ 2147483647 h 39"/>
                <a:gd name="T44" fmla="*/ 2147483647 w 34"/>
                <a:gd name="T45" fmla="*/ 2147483647 h 39"/>
                <a:gd name="T46" fmla="*/ 2147483647 w 34"/>
                <a:gd name="T47" fmla="*/ 2147483647 h 39"/>
                <a:gd name="T48" fmla="*/ 2147483647 w 34"/>
                <a:gd name="T49" fmla="*/ 2147483647 h 39"/>
                <a:gd name="T50" fmla="*/ 2147483647 w 34"/>
                <a:gd name="T51" fmla="*/ 2147483647 h 39"/>
                <a:gd name="T52" fmla="*/ 2147483647 w 34"/>
                <a:gd name="T53" fmla="*/ 2147483647 h 39"/>
                <a:gd name="T54" fmla="*/ 2147483647 w 34"/>
                <a:gd name="T55" fmla="*/ 2147483647 h 39"/>
                <a:gd name="T56" fmla="*/ 2147483647 w 34"/>
                <a:gd name="T57" fmla="*/ 2147483647 h 39"/>
                <a:gd name="T58" fmla="*/ 2147483647 w 34"/>
                <a:gd name="T59" fmla="*/ 2147483647 h 39"/>
                <a:gd name="T60" fmla="*/ 2147483647 w 34"/>
                <a:gd name="T61" fmla="*/ 2147483647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9"/>
                <a:gd name="T95" fmla="*/ 34 w 3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9">
                  <a:moveTo>
                    <a:pt x="34" y="35"/>
                  </a:moveTo>
                  <a:lnTo>
                    <a:pt x="34" y="35"/>
                  </a:lnTo>
                  <a:lnTo>
                    <a:pt x="34" y="30"/>
                  </a:lnTo>
                  <a:lnTo>
                    <a:pt x="33" y="26"/>
                  </a:lnTo>
                  <a:lnTo>
                    <a:pt x="30" y="22"/>
                  </a:lnTo>
                  <a:lnTo>
                    <a:pt x="28" y="19"/>
                  </a:lnTo>
                  <a:lnTo>
                    <a:pt x="20" y="13"/>
                  </a:lnTo>
                  <a:lnTo>
                    <a:pt x="11" y="8"/>
                  </a:lnTo>
                  <a:lnTo>
                    <a:pt x="10" y="7"/>
                  </a:lnTo>
                  <a:lnTo>
                    <a:pt x="9" y="5"/>
                  </a:lnTo>
                  <a:lnTo>
                    <a:pt x="5" y="2"/>
                  </a:lnTo>
                  <a:lnTo>
                    <a:pt x="4" y="1"/>
                  </a:lnTo>
                  <a:lnTo>
                    <a:pt x="3" y="0"/>
                  </a:lnTo>
                  <a:lnTo>
                    <a:pt x="1" y="1"/>
                  </a:lnTo>
                  <a:lnTo>
                    <a:pt x="0" y="3"/>
                  </a:lnTo>
                  <a:lnTo>
                    <a:pt x="1" y="5"/>
                  </a:lnTo>
                  <a:lnTo>
                    <a:pt x="3" y="7"/>
                  </a:lnTo>
                  <a:lnTo>
                    <a:pt x="5" y="8"/>
                  </a:lnTo>
                  <a:lnTo>
                    <a:pt x="10" y="10"/>
                  </a:lnTo>
                  <a:lnTo>
                    <a:pt x="14" y="14"/>
                  </a:lnTo>
                  <a:lnTo>
                    <a:pt x="20" y="21"/>
                  </a:lnTo>
                  <a:lnTo>
                    <a:pt x="30" y="39"/>
                  </a:lnTo>
                  <a:lnTo>
                    <a:pt x="32" y="39"/>
                  </a:lnTo>
                  <a:lnTo>
                    <a:pt x="33" y="39"/>
                  </a:lnTo>
                  <a:lnTo>
                    <a:pt x="34" y="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0" name="Freeform 249"/>
            <p:cNvSpPr>
              <a:spLocks/>
            </p:cNvSpPr>
            <p:nvPr/>
          </p:nvSpPr>
          <p:spPr bwMode="auto">
            <a:xfrm>
              <a:off x="8135942" y="4694242"/>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0 w 6"/>
                <a:gd name="T21" fmla="*/ 2147483647 h 6"/>
                <a:gd name="T22" fmla="*/ 2147483647 w 6"/>
                <a:gd name="T23" fmla="*/ 0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4" y="1"/>
                  </a:moveTo>
                  <a:lnTo>
                    <a:pt x="4" y="1"/>
                  </a:lnTo>
                  <a:lnTo>
                    <a:pt x="6" y="3"/>
                  </a:lnTo>
                  <a:lnTo>
                    <a:pt x="5" y="5"/>
                  </a:lnTo>
                  <a:lnTo>
                    <a:pt x="1" y="6"/>
                  </a:lnTo>
                  <a:lnTo>
                    <a:pt x="0" y="5"/>
                  </a:lnTo>
                  <a:lnTo>
                    <a:pt x="0" y="3"/>
                  </a:lnTo>
                  <a:lnTo>
                    <a:pt x="0" y="1"/>
                  </a:lnTo>
                  <a:lnTo>
                    <a:pt x="1" y="0"/>
                  </a:lnTo>
                  <a:lnTo>
                    <a:pt x="4"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1" name="Freeform 250"/>
            <p:cNvSpPr>
              <a:spLocks/>
            </p:cNvSpPr>
            <p:nvPr/>
          </p:nvSpPr>
          <p:spPr bwMode="auto">
            <a:xfrm>
              <a:off x="8148639" y="4702176"/>
              <a:ext cx="17462" cy="15875"/>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2147483647 w 12"/>
                <a:gd name="T11" fmla="*/ 2147483647 h 10"/>
                <a:gd name="T12" fmla="*/ 0 w 12"/>
                <a:gd name="T13" fmla="*/ 2147483647 h 10"/>
                <a:gd name="T14" fmla="*/ 0 w 12"/>
                <a:gd name="T15" fmla="*/ 2147483647 h 10"/>
                <a:gd name="T16" fmla="*/ 0 w 12"/>
                <a:gd name="T17" fmla="*/ 2147483647 h 10"/>
                <a:gd name="T18" fmla="*/ 2147483647 w 12"/>
                <a:gd name="T19" fmla="*/ 2147483647 h 10"/>
                <a:gd name="T20" fmla="*/ 2147483647 w 12"/>
                <a:gd name="T21" fmla="*/ 0 h 10"/>
                <a:gd name="T22" fmla="*/ 2147483647 w 12"/>
                <a:gd name="T23" fmla="*/ 0 h 10"/>
                <a:gd name="T24" fmla="*/ 2147483647 w 12"/>
                <a:gd name="T25" fmla="*/ 2147483647 h 10"/>
                <a:gd name="T26" fmla="*/ 2147483647 w 12"/>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0"/>
                <a:gd name="T44" fmla="*/ 12 w 12"/>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0">
                  <a:moveTo>
                    <a:pt x="11" y="5"/>
                  </a:moveTo>
                  <a:lnTo>
                    <a:pt x="12" y="9"/>
                  </a:lnTo>
                  <a:lnTo>
                    <a:pt x="11" y="10"/>
                  </a:lnTo>
                  <a:lnTo>
                    <a:pt x="10" y="10"/>
                  </a:lnTo>
                  <a:lnTo>
                    <a:pt x="5" y="10"/>
                  </a:lnTo>
                  <a:lnTo>
                    <a:pt x="2" y="9"/>
                  </a:lnTo>
                  <a:lnTo>
                    <a:pt x="0" y="7"/>
                  </a:lnTo>
                  <a:lnTo>
                    <a:pt x="0" y="5"/>
                  </a:lnTo>
                  <a:lnTo>
                    <a:pt x="0" y="3"/>
                  </a:lnTo>
                  <a:lnTo>
                    <a:pt x="2" y="1"/>
                  </a:lnTo>
                  <a:lnTo>
                    <a:pt x="3" y="0"/>
                  </a:lnTo>
                  <a:lnTo>
                    <a:pt x="6" y="0"/>
                  </a:lnTo>
                  <a:lnTo>
                    <a:pt x="9" y="1"/>
                  </a:lnTo>
                  <a:lnTo>
                    <a:pt x="1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2" name="Freeform 251"/>
            <p:cNvSpPr>
              <a:spLocks/>
            </p:cNvSpPr>
            <p:nvPr/>
          </p:nvSpPr>
          <p:spPr bwMode="auto">
            <a:xfrm>
              <a:off x="8201027" y="4706942"/>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0 w 7"/>
                <a:gd name="T9" fmla="*/ 2147483647 h 6"/>
                <a:gd name="T10" fmla="*/ 0 w 7"/>
                <a:gd name="T11" fmla="*/ 2147483647 h 6"/>
                <a:gd name="T12" fmla="*/ 2147483647 w 7"/>
                <a:gd name="T13" fmla="*/ 0 h 6"/>
                <a:gd name="T14" fmla="*/ 2147483647 w 7"/>
                <a:gd name="T15" fmla="*/ 0 h 6"/>
                <a:gd name="T16" fmla="*/ 2147483647 w 7"/>
                <a:gd name="T17" fmla="*/ 0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4"/>
                  </a:moveTo>
                  <a:lnTo>
                    <a:pt x="5" y="5"/>
                  </a:lnTo>
                  <a:lnTo>
                    <a:pt x="4" y="6"/>
                  </a:lnTo>
                  <a:lnTo>
                    <a:pt x="1" y="5"/>
                  </a:lnTo>
                  <a:lnTo>
                    <a:pt x="0" y="2"/>
                  </a:lnTo>
                  <a:lnTo>
                    <a:pt x="0" y="1"/>
                  </a:lnTo>
                  <a:lnTo>
                    <a:pt x="1" y="0"/>
                  </a:lnTo>
                  <a:lnTo>
                    <a:pt x="3" y="0"/>
                  </a:lnTo>
                  <a:lnTo>
                    <a:pt x="5" y="0"/>
                  </a:lnTo>
                  <a:lnTo>
                    <a:pt x="7" y="2"/>
                  </a:lnTo>
                  <a:lnTo>
                    <a:pt x="7"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3" name="Freeform 252"/>
            <p:cNvSpPr>
              <a:spLocks/>
            </p:cNvSpPr>
            <p:nvPr/>
          </p:nvSpPr>
          <p:spPr bwMode="auto">
            <a:xfrm>
              <a:off x="8145463" y="4699004"/>
              <a:ext cx="19050" cy="17463"/>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2147483647 h 11"/>
                <a:gd name="T14" fmla="*/ 2147483647 w 13"/>
                <a:gd name="T15" fmla="*/ 2147483647 h 11"/>
                <a:gd name="T16" fmla="*/ 0 w 13"/>
                <a:gd name="T17" fmla="*/ 2147483647 h 11"/>
                <a:gd name="T18" fmla="*/ 0 w 13"/>
                <a:gd name="T19" fmla="*/ 2147483647 h 11"/>
                <a:gd name="T20" fmla="*/ 0 w 13"/>
                <a:gd name="T21" fmla="*/ 2147483647 h 11"/>
                <a:gd name="T22" fmla="*/ 0 w 13"/>
                <a:gd name="T23" fmla="*/ 2147483647 h 11"/>
                <a:gd name="T24" fmla="*/ 2147483647 w 13"/>
                <a:gd name="T25" fmla="*/ 2147483647 h 11"/>
                <a:gd name="T26" fmla="*/ 2147483647 w 13"/>
                <a:gd name="T27" fmla="*/ 0 h 11"/>
                <a:gd name="T28" fmla="*/ 2147483647 w 13"/>
                <a:gd name="T29" fmla="*/ 0 h 11"/>
                <a:gd name="T30" fmla="*/ 2147483647 w 13"/>
                <a:gd name="T31" fmla="*/ 0 h 11"/>
                <a:gd name="T32" fmla="*/ 2147483647 w 13"/>
                <a:gd name="T33" fmla="*/ 2147483647 h 11"/>
                <a:gd name="T34" fmla="*/ 2147483647 w 13"/>
                <a:gd name="T35" fmla="*/ 2147483647 h 11"/>
                <a:gd name="T36" fmla="*/ 2147483647 w 13"/>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1"/>
                <a:gd name="T59" fmla="*/ 13 w 13"/>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1">
                  <a:moveTo>
                    <a:pt x="12" y="6"/>
                  </a:moveTo>
                  <a:lnTo>
                    <a:pt x="12" y="6"/>
                  </a:lnTo>
                  <a:lnTo>
                    <a:pt x="13" y="10"/>
                  </a:lnTo>
                  <a:lnTo>
                    <a:pt x="12" y="11"/>
                  </a:lnTo>
                  <a:lnTo>
                    <a:pt x="11" y="11"/>
                  </a:lnTo>
                  <a:lnTo>
                    <a:pt x="5" y="11"/>
                  </a:lnTo>
                  <a:lnTo>
                    <a:pt x="3" y="10"/>
                  </a:lnTo>
                  <a:lnTo>
                    <a:pt x="0" y="7"/>
                  </a:lnTo>
                  <a:lnTo>
                    <a:pt x="0" y="6"/>
                  </a:lnTo>
                  <a:lnTo>
                    <a:pt x="0" y="4"/>
                  </a:lnTo>
                  <a:lnTo>
                    <a:pt x="3" y="2"/>
                  </a:lnTo>
                  <a:lnTo>
                    <a:pt x="4" y="0"/>
                  </a:lnTo>
                  <a:lnTo>
                    <a:pt x="7" y="0"/>
                  </a:lnTo>
                  <a:lnTo>
                    <a:pt x="9" y="2"/>
                  </a:lnTo>
                  <a:lnTo>
                    <a:pt x="12"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4" name="Freeform 253"/>
            <p:cNvSpPr>
              <a:spLocks/>
            </p:cNvSpPr>
            <p:nvPr/>
          </p:nvSpPr>
          <p:spPr bwMode="auto">
            <a:xfrm>
              <a:off x="8199442" y="4705354"/>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2147483647 w 6"/>
                <a:gd name="T15" fmla="*/ 0 h 6"/>
                <a:gd name="T16" fmla="*/ 2147483647 w 6"/>
                <a:gd name="T17" fmla="*/ 0 h 6"/>
                <a:gd name="T18" fmla="*/ 2147483647 w 6"/>
                <a:gd name="T19" fmla="*/ 0 h 6"/>
                <a:gd name="T20" fmla="*/ 2147483647 w 6"/>
                <a:gd name="T21" fmla="*/ 0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6" y="3"/>
                  </a:moveTo>
                  <a:lnTo>
                    <a:pt x="6" y="3"/>
                  </a:lnTo>
                  <a:lnTo>
                    <a:pt x="5" y="5"/>
                  </a:lnTo>
                  <a:lnTo>
                    <a:pt x="4" y="6"/>
                  </a:lnTo>
                  <a:lnTo>
                    <a:pt x="1" y="5"/>
                  </a:lnTo>
                  <a:lnTo>
                    <a:pt x="0" y="2"/>
                  </a:lnTo>
                  <a:lnTo>
                    <a:pt x="0" y="1"/>
                  </a:lnTo>
                  <a:lnTo>
                    <a:pt x="1" y="0"/>
                  </a:lnTo>
                  <a:lnTo>
                    <a:pt x="2" y="0"/>
                  </a:lnTo>
                  <a:lnTo>
                    <a:pt x="5" y="0"/>
                  </a:lnTo>
                  <a:lnTo>
                    <a:pt x="6" y="2"/>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5" name="Freeform 254"/>
            <p:cNvSpPr>
              <a:spLocks/>
            </p:cNvSpPr>
            <p:nvPr/>
          </p:nvSpPr>
          <p:spPr bwMode="auto">
            <a:xfrm>
              <a:off x="8212138" y="4764092"/>
              <a:ext cx="12700" cy="9525"/>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0 h 6"/>
                <a:gd name="T12" fmla="*/ 2147483647 w 9"/>
                <a:gd name="T13" fmla="*/ 0 h 6"/>
                <a:gd name="T14" fmla="*/ 2147483647 w 9"/>
                <a:gd name="T15" fmla="*/ 0 h 6"/>
                <a:gd name="T16" fmla="*/ 2147483647 w 9"/>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6"/>
                <a:gd name="T29" fmla="*/ 9 w 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6">
                  <a:moveTo>
                    <a:pt x="9" y="3"/>
                  </a:moveTo>
                  <a:lnTo>
                    <a:pt x="9" y="4"/>
                  </a:lnTo>
                  <a:lnTo>
                    <a:pt x="7" y="6"/>
                  </a:lnTo>
                  <a:lnTo>
                    <a:pt x="5" y="4"/>
                  </a:lnTo>
                  <a:lnTo>
                    <a:pt x="4" y="3"/>
                  </a:lnTo>
                  <a:lnTo>
                    <a:pt x="0" y="0"/>
                  </a:lnTo>
                  <a:lnTo>
                    <a:pt x="4" y="0"/>
                  </a:lnTo>
                  <a:lnTo>
                    <a:pt x="5" y="0"/>
                  </a:lnTo>
                  <a:lnTo>
                    <a:pt x="9"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6" name="Freeform 255"/>
            <p:cNvSpPr>
              <a:spLocks/>
            </p:cNvSpPr>
            <p:nvPr/>
          </p:nvSpPr>
          <p:spPr bwMode="auto">
            <a:xfrm>
              <a:off x="8089899" y="4535491"/>
              <a:ext cx="95250" cy="68262"/>
            </a:xfrm>
            <a:custGeom>
              <a:avLst/>
              <a:gdLst>
                <a:gd name="T0" fmla="*/ 2147483647 w 65"/>
                <a:gd name="T1" fmla="*/ 2147483647 h 43"/>
                <a:gd name="T2" fmla="*/ 2147483647 w 65"/>
                <a:gd name="T3" fmla="*/ 2147483647 h 43"/>
                <a:gd name="T4" fmla="*/ 2147483647 w 65"/>
                <a:gd name="T5" fmla="*/ 2147483647 h 43"/>
                <a:gd name="T6" fmla="*/ 2147483647 w 65"/>
                <a:gd name="T7" fmla="*/ 2147483647 h 43"/>
                <a:gd name="T8" fmla="*/ 2147483647 w 65"/>
                <a:gd name="T9" fmla="*/ 2147483647 h 43"/>
                <a:gd name="T10" fmla="*/ 2147483647 w 65"/>
                <a:gd name="T11" fmla="*/ 2147483647 h 43"/>
                <a:gd name="T12" fmla="*/ 2147483647 w 65"/>
                <a:gd name="T13" fmla="*/ 2147483647 h 43"/>
                <a:gd name="T14" fmla="*/ 2147483647 w 65"/>
                <a:gd name="T15" fmla="*/ 2147483647 h 43"/>
                <a:gd name="T16" fmla="*/ 2147483647 w 65"/>
                <a:gd name="T17" fmla="*/ 2147483647 h 43"/>
                <a:gd name="T18" fmla="*/ 0 w 65"/>
                <a:gd name="T19" fmla="*/ 2147483647 h 43"/>
                <a:gd name="T20" fmla="*/ 2147483647 w 65"/>
                <a:gd name="T21" fmla="*/ 2147483647 h 43"/>
                <a:gd name="T22" fmla="*/ 2147483647 w 65"/>
                <a:gd name="T23" fmla="*/ 2147483647 h 43"/>
                <a:gd name="T24" fmla="*/ 2147483647 w 65"/>
                <a:gd name="T25" fmla="*/ 2147483647 h 43"/>
                <a:gd name="T26" fmla="*/ 2147483647 w 65"/>
                <a:gd name="T27" fmla="*/ 2147483647 h 43"/>
                <a:gd name="T28" fmla="*/ 2147483647 w 65"/>
                <a:gd name="T29" fmla="*/ 2147483647 h 43"/>
                <a:gd name="T30" fmla="*/ 2147483647 w 65"/>
                <a:gd name="T31" fmla="*/ 2147483647 h 43"/>
                <a:gd name="T32" fmla="*/ 2147483647 w 65"/>
                <a:gd name="T33" fmla="*/ 2147483647 h 43"/>
                <a:gd name="T34" fmla="*/ 2147483647 w 65"/>
                <a:gd name="T35" fmla="*/ 2147483647 h 43"/>
                <a:gd name="T36" fmla="*/ 2147483647 w 65"/>
                <a:gd name="T37" fmla="*/ 2147483647 h 43"/>
                <a:gd name="T38" fmla="*/ 2147483647 w 65"/>
                <a:gd name="T39" fmla="*/ 2147483647 h 43"/>
                <a:gd name="T40" fmla="*/ 2147483647 w 65"/>
                <a:gd name="T41" fmla="*/ 2147483647 h 43"/>
                <a:gd name="T42" fmla="*/ 2147483647 w 65"/>
                <a:gd name="T43" fmla="*/ 2147483647 h 43"/>
                <a:gd name="T44" fmla="*/ 2147483647 w 65"/>
                <a:gd name="T45" fmla="*/ 2147483647 h 43"/>
                <a:gd name="T46" fmla="*/ 2147483647 w 65"/>
                <a:gd name="T47" fmla="*/ 2147483647 h 43"/>
                <a:gd name="T48" fmla="*/ 2147483647 w 65"/>
                <a:gd name="T49" fmla="*/ 2147483647 h 43"/>
                <a:gd name="T50" fmla="*/ 2147483647 w 65"/>
                <a:gd name="T51" fmla="*/ 2147483647 h 43"/>
                <a:gd name="T52" fmla="*/ 2147483647 w 65"/>
                <a:gd name="T53" fmla="*/ 2147483647 h 43"/>
                <a:gd name="T54" fmla="*/ 2147483647 w 65"/>
                <a:gd name="T55" fmla="*/ 2147483647 h 43"/>
                <a:gd name="T56" fmla="*/ 2147483647 w 65"/>
                <a:gd name="T57" fmla="*/ 2147483647 h 43"/>
                <a:gd name="T58" fmla="*/ 2147483647 w 65"/>
                <a:gd name="T59" fmla="*/ 2147483647 h 43"/>
                <a:gd name="T60" fmla="*/ 2147483647 w 65"/>
                <a:gd name="T61" fmla="*/ 2147483647 h 43"/>
                <a:gd name="T62" fmla="*/ 2147483647 w 65"/>
                <a:gd name="T63" fmla="*/ 2147483647 h 43"/>
                <a:gd name="T64" fmla="*/ 2147483647 w 65"/>
                <a:gd name="T65" fmla="*/ 2147483647 h 43"/>
                <a:gd name="T66" fmla="*/ 2147483647 w 65"/>
                <a:gd name="T67" fmla="*/ 0 h 43"/>
                <a:gd name="T68" fmla="*/ 2147483647 w 65"/>
                <a:gd name="T69" fmla="*/ 2147483647 h 43"/>
                <a:gd name="T70" fmla="*/ 2147483647 w 65"/>
                <a:gd name="T71" fmla="*/ 2147483647 h 43"/>
                <a:gd name="T72" fmla="*/ 2147483647 w 65"/>
                <a:gd name="T73" fmla="*/ 2147483647 h 43"/>
                <a:gd name="T74" fmla="*/ 2147483647 w 65"/>
                <a:gd name="T75" fmla="*/ 2147483647 h 43"/>
                <a:gd name="T76" fmla="*/ 2147483647 w 65"/>
                <a:gd name="T77" fmla="*/ 2147483647 h 43"/>
                <a:gd name="T78" fmla="*/ 2147483647 w 65"/>
                <a:gd name="T79" fmla="*/ 2147483647 h 43"/>
                <a:gd name="T80" fmla="*/ 2147483647 w 65"/>
                <a:gd name="T81" fmla="*/ 2147483647 h 43"/>
                <a:gd name="T82" fmla="*/ 2147483647 w 65"/>
                <a:gd name="T83" fmla="*/ 2147483647 h 43"/>
                <a:gd name="T84" fmla="*/ 2147483647 w 65"/>
                <a:gd name="T85" fmla="*/ 2147483647 h 43"/>
                <a:gd name="T86" fmla="*/ 2147483647 w 65"/>
                <a:gd name="T87" fmla="*/ 2147483647 h 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
                <a:gd name="T133" fmla="*/ 0 h 43"/>
                <a:gd name="T134" fmla="*/ 65 w 65"/>
                <a:gd name="T135" fmla="*/ 43 h 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 h="43">
                  <a:moveTo>
                    <a:pt x="37" y="43"/>
                  </a:moveTo>
                  <a:lnTo>
                    <a:pt x="29" y="42"/>
                  </a:lnTo>
                  <a:lnTo>
                    <a:pt x="23" y="41"/>
                  </a:lnTo>
                  <a:lnTo>
                    <a:pt x="16" y="42"/>
                  </a:lnTo>
                  <a:lnTo>
                    <a:pt x="9" y="43"/>
                  </a:lnTo>
                  <a:lnTo>
                    <a:pt x="8" y="43"/>
                  </a:lnTo>
                  <a:lnTo>
                    <a:pt x="7" y="41"/>
                  </a:lnTo>
                  <a:lnTo>
                    <a:pt x="7" y="38"/>
                  </a:lnTo>
                  <a:lnTo>
                    <a:pt x="2" y="35"/>
                  </a:lnTo>
                  <a:lnTo>
                    <a:pt x="0" y="32"/>
                  </a:lnTo>
                  <a:lnTo>
                    <a:pt x="2" y="30"/>
                  </a:lnTo>
                  <a:lnTo>
                    <a:pt x="3" y="30"/>
                  </a:lnTo>
                  <a:lnTo>
                    <a:pt x="4" y="30"/>
                  </a:lnTo>
                  <a:lnTo>
                    <a:pt x="9" y="32"/>
                  </a:lnTo>
                  <a:lnTo>
                    <a:pt x="14" y="32"/>
                  </a:lnTo>
                  <a:lnTo>
                    <a:pt x="21" y="30"/>
                  </a:lnTo>
                  <a:lnTo>
                    <a:pt x="24" y="27"/>
                  </a:lnTo>
                  <a:lnTo>
                    <a:pt x="28" y="23"/>
                  </a:lnTo>
                  <a:lnTo>
                    <a:pt x="29" y="22"/>
                  </a:lnTo>
                  <a:lnTo>
                    <a:pt x="31" y="22"/>
                  </a:lnTo>
                  <a:lnTo>
                    <a:pt x="37" y="27"/>
                  </a:lnTo>
                  <a:lnTo>
                    <a:pt x="40" y="29"/>
                  </a:lnTo>
                  <a:lnTo>
                    <a:pt x="41" y="29"/>
                  </a:lnTo>
                  <a:lnTo>
                    <a:pt x="42" y="29"/>
                  </a:lnTo>
                  <a:lnTo>
                    <a:pt x="45" y="26"/>
                  </a:lnTo>
                  <a:lnTo>
                    <a:pt x="45" y="24"/>
                  </a:lnTo>
                  <a:lnTo>
                    <a:pt x="46" y="22"/>
                  </a:lnTo>
                  <a:lnTo>
                    <a:pt x="50" y="17"/>
                  </a:lnTo>
                  <a:lnTo>
                    <a:pt x="54" y="13"/>
                  </a:lnTo>
                  <a:lnTo>
                    <a:pt x="55" y="8"/>
                  </a:lnTo>
                  <a:lnTo>
                    <a:pt x="55" y="5"/>
                  </a:lnTo>
                  <a:lnTo>
                    <a:pt x="54" y="3"/>
                  </a:lnTo>
                  <a:lnTo>
                    <a:pt x="55" y="1"/>
                  </a:lnTo>
                  <a:lnTo>
                    <a:pt x="57" y="0"/>
                  </a:lnTo>
                  <a:lnTo>
                    <a:pt x="59" y="1"/>
                  </a:lnTo>
                  <a:lnTo>
                    <a:pt x="61" y="4"/>
                  </a:lnTo>
                  <a:lnTo>
                    <a:pt x="64" y="10"/>
                  </a:lnTo>
                  <a:lnTo>
                    <a:pt x="65" y="14"/>
                  </a:lnTo>
                  <a:lnTo>
                    <a:pt x="65" y="19"/>
                  </a:lnTo>
                  <a:lnTo>
                    <a:pt x="62" y="24"/>
                  </a:lnTo>
                  <a:lnTo>
                    <a:pt x="51" y="35"/>
                  </a:lnTo>
                  <a:lnTo>
                    <a:pt x="49" y="37"/>
                  </a:lnTo>
                  <a:lnTo>
                    <a:pt x="45" y="38"/>
                  </a:lnTo>
                  <a:lnTo>
                    <a:pt x="37" y="4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7" name="Freeform 256"/>
            <p:cNvSpPr>
              <a:spLocks/>
            </p:cNvSpPr>
            <p:nvPr/>
          </p:nvSpPr>
          <p:spPr bwMode="auto">
            <a:xfrm>
              <a:off x="8210554" y="4760917"/>
              <a:ext cx="11113" cy="9525"/>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0 w 8"/>
                <a:gd name="T15" fmla="*/ 0 h 6"/>
                <a:gd name="T16" fmla="*/ 0 w 8"/>
                <a:gd name="T17" fmla="*/ 0 h 6"/>
                <a:gd name="T18" fmla="*/ 2147483647 w 8"/>
                <a:gd name="T19" fmla="*/ 0 h 6"/>
                <a:gd name="T20" fmla="*/ 2147483647 w 8"/>
                <a:gd name="T21" fmla="*/ 0 h 6"/>
                <a:gd name="T22" fmla="*/ 2147483647 w 8"/>
                <a:gd name="T23" fmla="*/ 2147483647 h 6"/>
                <a:gd name="T24" fmla="*/ 2147483647 w 8"/>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6"/>
                <a:gd name="T41" fmla="*/ 8 w 8"/>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6">
                  <a:moveTo>
                    <a:pt x="8" y="4"/>
                  </a:moveTo>
                  <a:lnTo>
                    <a:pt x="8" y="4"/>
                  </a:lnTo>
                  <a:lnTo>
                    <a:pt x="8" y="5"/>
                  </a:lnTo>
                  <a:lnTo>
                    <a:pt x="7" y="6"/>
                  </a:lnTo>
                  <a:lnTo>
                    <a:pt x="5" y="5"/>
                  </a:lnTo>
                  <a:lnTo>
                    <a:pt x="3" y="4"/>
                  </a:lnTo>
                  <a:lnTo>
                    <a:pt x="0" y="0"/>
                  </a:lnTo>
                  <a:lnTo>
                    <a:pt x="3" y="0"/>
                  </a:lnTo>
                  <a:lnTo>
                    <a:pt x="5" y="0"/>
                  </a:lnTo>
                  <a:lnTo>
                    <a:pt x="8"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8" name="Freeform 257"/>
            <p:cNvSpPr>
              <a:spLocks/>
            </p:cNvSpPr>
            <p:nvPr/>
          </p:nvSpPr>
          <p:spPr bwMode="auto">
            <a:xfrm>
              <a:off x="8088313" y="4533900"/>
              <a:ext cx="95250" cy="68263"/>
            </a:xfrm>
            <a:custGeom>
              <a:avLst/>
              <a:gdLst>
                <a:gd name="T0" fmla="*/ 2147483647 w 65"/>
                <a:gd name="T1" fmla="*/ 2147483647 h 43"/>
                <a:gd name="T2" fmla="*/ 2147483647 w 65"/>
                <a:gd name="T3" fmla="*/ 2147483647 h 43"/>
                <a:gd name="T4" fmla="*/ 2147483647 w 65"/>
                <a:gd name="T5" fmla="*/ 2147483647 h 43"/>
                <a:gd name="T6" fmla="*/ 2147483647 w 65"/>
                <a:gd name="T7" fmla="*/ 2147483647 h 43"/>
                <a:gd name="T8" fmla="*/ 2147483647 w 65"/>
                <a:gd name="T9" fmla="*/ 2147483647 h 43"/>
                <a:gd name="T10" fmla="*/ 2147483647 w 65"/>
                <a:gd name="T11" fmla="*/ 2147483647 h 43"/>
                <a:gd name="T12" fmla="*/ 2147483647 w 65"/>
                <a:gd name="T13" fmla="*/ 2147483647 h 43"/>
                <a:gd name="T14" fmla="*/ 2147483647 w 65"/>
                <a:gd name="T15" fmla="*/ 2147483647 h 43"/>
                <a:gd name="T16" fmla="*/ 2147483647 w 65"/>
                <a:gd name="T17" fmla="*/ 2147483647 h 43"/>
                <a:gd name="T18" fmla="*/ 2147483647 w 65"/>
                <a:gd name="T19" fmla="*/ 2147483647 h 43"/>
                <a:gd name="T20" fmla="*/ 2147483647 w 65"/>
                <a:gd name="T21" fmla="*/ 2147483647 h 43"/>
                <a:gd name="T22" fmla="*/ 2147483647 w 65"/>
                <a:gd name="T23" fmla="*/ 2147483647 h 43"/>
                <a:gd name="T24" fmla="*/ 2147483647 w 65"/>
                <a:gd name="T25" fmla="*/ 2147483647 h 43"/>
                <a:gd name="T26" fmla="*/ 0 w 65"/>
                <a:gd name="T27" fmla="*/ 2147483647 h 43"/>
                <a:gd name="T28" fmla="*/ 2147483647 w 65"/>
                <a:gd name="T29" fmla="*/ 2147483647 h 43"/>
                <a:gd name="T30" fmla="*/ 2147483647 w 65"/>
                <a:gd name="T31" fmla="*/ 2147483647 h 43"/>
                <a:gd name="T32" fmla="*/ 2147483647 w 65"/>
                <a:gd name="T33" fmla="*/ 2147483647 h 43"/>
                <a:gd name="T34" fmla="*/ 2147483647 w 65"/>
                <a:gd name="T35" fmla="*/ 2147483647 h 43"/>
                <a:gd name="T36" fmla="*/ 2147483647 w 65"/>
                <a:gd name="T37" fmla="*/ 2147483647 h 43"/>
                <a:gd name="T38" fmla="*/ 2147483647 w 65"/>
                <a:gd name="T39" fmla="*/ 2147483647 h 43"/>
                <a:gd name="T40" fmla="*/ 2147483647 w 65"/>
                <a:gd name="T41" fmla="*/ 2147483647 h 43"/>
                <a:gd name="T42" fmla="*/ 2147483647 w 65"/>
                <a:gd name="T43" fmla="*/ 2147483647 h 43"/>
                <a:gd name="T44" fmla="*/ 2147483647 w 65"/>
                <a:gd name="T45" fmla="*/ 2147483647 h 43"/>
                <a:gd name="T46" fmla="*/ 2147483647 w 65"/>
                <a:gd name="T47" fmla="*/ 2147483647 h 43"/>
                <a:gd name="T48" fmla="*/ 2147483647 w 65"/>
                <a:gd name="T49" fmla="*/ 2147483647 h 43"/>
                <a:gd name="T50" fmla="*/ 2147483647 w 65"/>
                <a:gd name="T51" fmla="*/ 2147483647 h 43"/>
                <a:gd name="T52" fmla="*/ 2147483647 w 65"/>
                <a:gd name="T53" fmla="*/ 2147483647 h 43"/>
                <a:gd name="T54" fmla="*/ 2147483647 w 65"/>
                <a:gd name="T55" fmla="*/ 2147483647 h 43"/>
                <a:gd name="T56" fmla="*/ 2147483647 w 65"/>
                <a:gd name="T57" fmla="*/ 2147483647 h 43"/>
                <a:gd name="T58" fmla="*/ 2147483647 w 65"/>
                <a:gd name="T59" fmla="*/ 2147483647 h 43"/>
                <a:gd name="T60" fmla="*/ 2147483647 w 65"/>
                <a:gd name="T61" fmla="*/ 2147483647 h 43"/>
                <a:gd name="T62" fmla="*/ 2147483647 w 65"/>
                <a:gd name="T63" fmla="*/ 2147483647 h 43"/>
                <a:gd name="T64" fmla="*/ 2147483647 w 65"/>
                <a:gd name="T65" fmla="*/ 2147483647 h 43"/>
                <a:gd name="T66" fmla="*/ 2147483647 w 65"/>
                <a:gd name="T67" fmla="*/ 2147483647 h 43"/>
                <a:gd name="T68" fmla="*/ 2147483647 w 65"/>
                <a:gd name="T69" fmla="*/ 2147483647 h 43"/>
                <a:gd name="T70" fmla="*/ 2147483647 w 65"/>
                <a:gd name="T71" fmla="*/ 2147483647 h 43"/>
                <a:gd name="T72" fmla="*/ 2147483647 w 65"/>
                <a:gd name="T73" fmla="*/ 2147483647 h 43"/>
                <a:gd name="T74" fmla="*/ 2147483647 w 65"/>
                <a:gd name="T75" fmla="*/ 2147483647 h 43"/>
                <a:gd name="T76" fmla="*/ 2147483647 w 65"/>
                <a:gd name="T77" fmla="*/ 2147483647 h 43"/>
                <a:gd name="T78" fmla="*/ 2147483647 w 65"/>
                <a:gd name="T79" fmla="*/ 2147483647 h 43"/>
                <a:gd name="T80" fmla="*/ 2147483647 w 65"/>
                <a:gd name="T81" fmla="*/ 2147483647 h 43"/>
                <a:gd name="T82" fmla="*/ 2147483647 w 65"/>
                <a:gd name="T83" fmla="*/ 2147483647 h 43"/>
                <a:gd name="T84" fmla="*/ 2147483647 w 65"/>
                <a:gd name="T85" fmla="*/ 2147483647 h 43"/>
                <a:gd name="T86" fmla="*/ 2147483647 w 65"/>
                <a:gd name="T87" fmla="*/ 2147483647 h 43"/>
                <a:gd name="T88" fmla="*/ 2147483647 w 65"/>
                <a:gd name="T89" fmla="*/ 2147483647 h 43"/>
                <a:gd name="T90" fmla="*/ 2147483647 w 65"/>
                <a:gd name="T91" fmla="*/ 0 h 43"/>
                <a:gd name="T92" fmla="*/ 2147483647 w 65"/>
                <a:gd name="T93" fmla="*/ 2147483647 h 43"/>
                <a:gd name="T94" fmla="*/ 2147483647 w 65"/>
                <a:gd name="T95" fmla="*/ 2147483647 h 43"/>
                <a:gd name="T96" fmla="*/ 2147483647 w 65"/>
                <a:gd name="T97" fmla="*/ 2147483647 h 43"/>
                <a:gd name="T98" fmla="*/ 2147483647 w 65"/>
                <a:gd name="T99" fmla="*/ 2147483647 h 43"/>
                <a:gd name="T100" fmla="*/ 2147483647 w 65"/>
                <a:gd name="T101" fmla="*/ 2147483647 h 43"/>
                <a:gd name="T102" fmla="*/ 2147483647 w 65"/>
                <a:gd name="T103" fmla="*/ 2147483647 h 43"/>
                <a:gd name="T104" fmla="*/ 2147483647 w 65"/>
                <a:gd name="T105" fmla="*/ 2147483647 h 43"/>
                <a:gd name="T106" fmla="*/ 2147483647 w 65"/>
                <a:gd name="T107" fmla="*/ 2147483647 h 43"/>
                <a:gd name="T108" fmla="*/ 2147483647 w 65"/>
                <a:gd name="T109" fmla="*/ 2147483647 h 43"/>
                <a:gd name="T110" fmla="*/ 2147483647 w 65"/>
                <a:gd name="T111" fmla="*/ 2147483647 h 43"/>
                <a:gd name="T112" fmla="*/ 2147483647 w 65"/>
                <a:gd name="T113" fmla="*/ 2147483647 h 43"/>
                <a:gd name="T114" fmla="*/ 2147483647 w 65"/>
                <a:gd name="T115" fmla="*/ 2147483647 h 43"/>
                <a:gd name="T116" fmla="*/ 2147483647 w 65"/>
                <a:gd name="T117" fmla="*/ 2147483647 h 43"/>
                <a:gd name="T118" fmla="*/ 2147483647 w 65"/>
                <a:gd name="T119" fmla="*/ 2147483647 h 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
                <a:gd name="T181" fmla="*/ 0 h 43"/>
                <a:gd name="T182" fmla="*/ 65 w 65"/>
                <a:gd name="T183" fmla="*/ 43 h 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 h="43">
                  <a:moveTo>
                    <a:pt x="37" y="43"/>
                  </a:moveTo>
                  <a:lnTo>
                    <a:pt x="37" y="43"/>
                  </a:lnTo>
                  <a:lnTo>
                    <a:pt x="29" y="42"/>
                  </a:lnTo>
                  <a:lnTo>
                    <a:pt x="23" y="40"/>
                  </a:lnTo>
                  <a:lnTo>
                    <a:pt x="15" y="42"/>
                  </a:lnTo>
                  <a:lnTo>
                    <a:pt x="9" y="43"/>
                  </a:lnTo>
                  <a:lnTo>
                    <a:pt x="8" y="43"/>
                  </a:lnTo>
                  <a:lnTo>
                    <a:pt x="6" y="40"/>
                  </a:lnTo>
                  <a:lnTo>
                    <a:pt x="6" y="38"/>
                  </a:lnTo>
                  <a:lnTo>
                    <a:pt x="1" y="34"/>
                  </a:lnTo>
                  <a:lnTo>
                    <a:pt x="0" y="32"/>
                  </a:lnTo>
                  <a:lnTo>
                    <a:pt x="1" y="30"/>
                  </a:lnTo>
                  <a:lnTo>
                    <a:pt x="3" y="30"/>
                  </a:lnTo>
                  <a:lnTo>
                    <a:pt x="4" y="30"/>
                  </a:lnTo>
                  <a:lnTo>
                    <a:pt x="9" y="32"/>
                  </a:lnTo>
                  <a:lnTo>
                    <a:pt x="14" y="32"/>
                  </a:lnTo>
                  <a:lnTo>
                    <a:pt x="20" y="30"/>
                  </a:lnTo>
                  <a:lnTo>
                    <a:pt x="24" y="27"/>
                  </a:lnTo>
                  <a:lnTo>
                    <a:pt x="28" y="23"/>
                  </a:lnTo>
                  <a:lnTo>
                    <a:pt x="29" y="21"/>
                  </a:lnTo>
                  <a:lnTo>
                    <a:pt x="30" y="21"/>
                  </a:lnTo>
                  <a:lnTo>
                    <a:pt x="37" y="27"/>
                  </a:lnTo>
                  <a:lnTo>
                    <a:pt x="39" y="28"/>
                  </a:lnTo>
                  <a:lnTo>
                    <a:pt x="41" y="28"/>
                  </a:lnTo>
                  <a:lnTo>
                    <a:pt x="42" y="28"/>
                  </a:lnTo>
                  <a:lnTo>
                    <a:pt x="44" y="26"/>
                  </a:lnTo>
                  <a:lnTo>
                    <a:pt x="44" y="24"/>
                  </a:lnTo>
                  <a:lnTo>
                    <a:pt x="46" y="21"/>
                  </a:lnTo>
                  <a:lnTo>
                    <a:pt x="50" y="17"/>
                  </a:lnTo>
                  <a:lnTo>
                    <a:pt x="53" y="13"/>
                  </a:lnTo>
                  <a:lnTo>
                    <a:pt x="55" y="8"/>
                  </a:lnTo>
                  <a:lnTo>
                    <a:pt x="55" y="5"/>
                  </a:lnTo>
                  <a:lnTo>
                    <a:pt x="53" y="2"/>
                  </a:lnTo>
                  <a:lnTo>
                    <a:pt x="55" y="1"/>
                  </a:lnTo>
                  <a:lnTo>
                    <a:pt x="57" y="0"/>
                  </a:lnTo>
                  <a:lnTo>
                    <a:pt x="58" y="1"/>
                  </a:lnTo>
                  <a:lnTo>
                    <a:pt x="61" y="4"/>
                  </a:lnTo>
                  <a:lnTo>
                    <a:pt x="63" y="9"/>
                  </a:lnTo>
                  <a:lnTo>
                    <a:pt x="65" y="14"/>
                  </a:lnTo>
                  <a:lnTo>
                    <a:pt x="65" y="19"/>
                  </a:lnTo>
                  <a:lnTo>
                    <a:pt x="62" y="24"/>
                  </a:lnTo>
                  <a:lnTo>
                    <a:pt x="51" y="34"/>
                  </a:lnTo>
                  <a:lnTo>
                    <a:pt x="48" y="37"/>
                  </a:lnTo>
                  <a:lnTo>
                    <a:pt x="44" y="38"/>
                  </a:lnTo>
                  <a:lnTo>
                    <a:pt x="37" y="4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59" name="Freeform 258"/>
            <p:cNvSpPr>
              <a:spLocks/>
            </p:cNvSpPr>
            <p:nvPr/>
          </p:nvSpPr>
          <p:spPr bwMode="auto">
            <a:xfrm>
              <a:off x="7897814" y="4483100"/>
              <a:ext cx="252412" cy="250826"/>
            </a:xfrm>
            <a:custGeom>
              <a:avLst/>
              <a:gdLst>
                <a:gd name="T0" fmla="*/ 2147483647 w 172"/>
                <a:gd name="T1" fmla="*/ 2147483647 h 158"/>
                <a:gd name="T2" fmla="*/ 2147483647 w 172"/>
                <a:gd name="T3" fmla="*/ 2147483647 h 158"/>
                <a:gd name="T4" fmla="*/ 2147483647 w 172"/>
                <a:gd name="T5" fmla="*/ 2147483647 h 158"/>
                <a:gd name="T6" fmla="*/ 2147483647 w 172"/>
                <a:gd name="T7" fmla="*/ 2147483647 h 158"/>
                <a:gd name="T8" fmla="*/ 2147483647 w 172"/>
                <a:gd name="T9" fmla="*/ 2147483647 h 158"/>
                <a:gd name="T10" fmla="*/ 2147483647 w 172"/>
                <a:gd name="T11" fmla="*/ 2147483647 h 158"/>
                <a:gd name="T12" fmla="*/ 2147483647 w 172"/>
                <a:gd name="T13" fmla="*/ 2147483647 h 158"/>
                <a:gd name="T14" fmla="*/ 2147483647 w 172"/>
                <a:gd name="T15" fmla="*/ 2147483647 h 158"/>
                <a:gd name="T16" fmla="*/ 2147483647 w 172"/>
                <a:gd name="T17" fmla="*/ 2147483647 h 158"/>
                <a:gd name="T18" fmla="*/ 2147483647 w 172"/>
                <a:gd name="T19" fmla="*/ 2147483647 h 158"/>
                <a:gd name="T20" fmla="*/ 2147483647 w 172"/>
                <a:gd name="T21" fmla="*/ 2147483647 h 158"/>
                <a:gd name="T22" fmla="*/ 2147483647 w 172"/>
                <a:gd name="T23" fmla="*/ 2147483647 h 158"/>
                <a:gd name="T24" fmla="*/ 2147483647 w 172"/>
                <a:gd name="T25" fmla="*/ 2147483647 h 158"/>
                <a:gd name="T26" fmla="*/ 2147483647 w 172"/>
                <a:gd name="T27" fmla="*/ 2147483647 h 158"/>
                <a:gd name="T28" fmla="*/ 2147483647 w 172"/>
                <a:gd name="T29" fmla="*/ 2147483647 h 158"/>
                <a:gd name="T30" fmla="*/ 2147483647 w 172"/>
                <a:gd name="T31" fmla="*/ 2147483647 h 158"/>
                <a:gd name="T32" fmla="*/ 2147483647 w 172"/>
                <a:gd name="T33" fmla="*/ 2147483647 h 158"/>
                <a:gd name="T34" fmla="*/ 2147483647 w 172"/>
                <a:gd name="T35" fmla="*/ 2147483647 h 158"/>
                <a:gd name="T36" fmla="*/ 2147483647 w 172"/>
                <a:gd name="T37" fmla="*/ 2147483647 h 158"/>
                <a:gd name="T38" fmla="*/ 2147483647 w 172"/>
                <a:gd name="T39" fmla="*/ 2147483647 h 158"/>
                <a:gd name="T40" fmla="*/ 2147483647 w 172"/>
                <a:gd name="T41" fmla="*/ 2147483647 h 158"/>
                <a:gd name="T42" fmla="*/ 2147483647 w 172"/>
                <a:gd name="T43" fmla="*/ 2147483647 h 158"/>
                <a:gd name="T44" fmla="*/ 2147483647 w 172"/>
                <a:gd name="T45" fmla="*/ 2147483647 h 158"/>
                <a:gd name="T46" fmla="*/ 2147483647 w 172"/>
                <a:gd name="T47" fmla="*/ 2147483647 h 158"/>
                <a:gd name="T48" fmla="*/ 2147483647 w 172"/>
                <a:gd name="T49" fmla="*/ 2147483647 h 158"/>
                <a:gd name="T50" fmla="*/ 2147483647 w 172"/>
                <a:gd name="T51" fmla="*/ 2147483647 h 158"/>
                <a:gd name="T52" fmla="*/ 2147483647 w 172"/>
                <a:gd name="T53" fmla="*/ 2147483647 h 158"/>
                <a:gd name="T54" fmla="*/ 2147483647 w 172"/>
                <a:gd name="T55" fmla="*/ 2147483647 h 158"/>
                <a:gd name="T56" fmla="*/ 2147483647 w 172"/>
                <a:gd name="T57" fmla="*/ 2147483647 h 158"/>
                <a:gd name="T58" fmla="*/ 2147483647 w 172"/>
                <a:gd name="T59" fmla="*/ 2147483647 h 158"/>
                <a:gd name="T60" fmla="*/ 2147483647 w 172"/>
                <a:gd name="T61" fmla="*/ 2147483647 h 158"/>
                <a:gd name="T62" fmla="*/ 2147483647 w 172"/>
                <a:gd name="T63" fmla="*/ 2147483647 h 158"/>
                <a:gd name="T64" fmla="*/ 2147483647 w 172"/>
                <a:gd name="T65" fmla="*/ 2147483647 h 158"/>
                <a:gd name="T66" fmla="*/ 2147483647 w 172"/>
                <a:gd name="T67" fmla="*/ 2147483647 h 158"/>
                <a:gd name="T68" fmla="*/ 2147483647 w 172"/>
                <a:gd name="T69" fmla="*/ 2147483647 h 158"/>
                <a:gd name="T70" fmla="*/ 2147483647 w 172"/>
                <a:gd name="T71" fmla="*/ 2147483647 h 158"/>
                <a:gd name="T72" fmla="*/ 2147483647 w 172"/>
                <a:gd name="T73" fmla="*/ 2147483647 h 158"/>
                <a:gd name="T74" fmla="*/ 2147483647 w 172"/>
                <a:gd name="T75" fmla="*/ 2147483647 h 158"/>
                <a:gd name="T76" fmla="*/ 2147483647 w 172"/>
                <a:gd name="T77" fmla="*/ 2147483647 h 158"/>
                <a:gd name="T78" fmla="*/ 2147483647 w 172"/>
                <a:gd name="T79" fmla="*/ 2147483647 h 158"/>
                <a:gd name="T80" fmla="*/ 2147483647 w 172"/>
                <a:gd name="T81" fmla="*/ 2147483647 h 158"/>
                <a:gd name="T82" fmla="*/ 2147483647 w 172"/>
                <a:gd name="T83" fmla="*/ 2147483647 h 158"/>
                <a:gd name="T84" fmla="*/ 2147483647 w 172"/>
                <a:gd name="T85" fmla="*/ 2147483647 h 158"/>
                <a:gd name="T86" fmla="*/ 2147483647 w 172"/>
                <a:gd name="T87" fmla="*/ 2147483647 h 158"/>
                <a:gd name="T88" fmla="*/ 2147483647 w 172"/>
                <a:gd name="T89" fmla="*/ 2147483647 h 158"/>
                <a:gd name="T90" fmla="*/ 2147483647 w 172"/>
                <a:gd name="T91" fmla="*/ 2147483647 h 158"/>
                <a:gd name="T92" fmla="*/ 2147483647 w 172"/>
                <a:gd name="T93" fmla="*/ 2147483647 h 158"/>
                <a:gd name="T94" fmla="*/ 2147483647 w 172"/>
                <a:gd name="T95" fmla="*/ 2147483647 h 158"/>
                <a:gd name="T96" fmla="*/ 2147483647 w 172"/>
                <a:gd name="T97" fmla="*/ 2147483647 h 158"/>
                <a:gd name="T98" fmla="*/ 2147483647 w 172"/>
                <a:gd name="T99" fmla="*/ 2147483647 h 158"/>
                <a:gd name="T100" fmla="*/ 2147483647 w 172"/>
                <a:gd name="T101" fmla="*/ 2147483647 h 158"/>
                <a:gd name="T102" fmla="*/ 2147483647 w 172"/>
                <a:gd name="T103" fmla="*/ 2147483647 h 158"/>
                <a:gd name="T104" fmla="*/ 2147483647 w 172"/>
                <a:gd name="T105" fmla="*/ 2147483647 h 158"/>
                <a:gd name="T106" fmla="*/ 0 w 172"/>
                <a:gd name="T107" fmla="*/ 0 h 158"/>
                <a:gd name="T108" fmla="*/ 0 w 172"/>
                <a:gd name="T109" fmla="*/ 2147483647 h 158"/>
                <a:gd name="T110" fmla="*/ 2147483647 w 172"/>
                <a:gd name="T111" fmla="*/ 2147483647 h 1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2"/>
                <a:gd name="T169" fmla="*/ 0 h 158"/>
                <a:gd name="T170" fmla="*/ 172 w 172"/>
                <a:gd name="T171" fmla="*/ 158 h 1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2" h="158">
                  <a:moveTo>
                    <a:pt x="3" y="129"/>
                  </a:moveTo>
                  <a:lnTo>
                    <a:pt x="14" y="133"/>
                  </a:lnTo>
                  <a:lnTo>
                    <a:pt x="21" y="134"/>
                  </a:lnTo>
                  <a:lnTo>
                    <a:pt x="27" y="134"/>
                  </a:lnTo>
                  <a:lnTo>
                    <a:pt x="31" y="134"/>
                  </a:lnTo>
                  <a:lnTo>
                    <a:pt x="33" y="135"/>
                  </a:lnTo>
                  <a:lnTo>
                    <a:pt x="36" y="134"/>
                  </a:lnTo>
                  <a:lnTo>
                    <a:pt x="39" y="132"/>
                  </a:lnTo>
                  <a:lnTo>
                    <a:pt x="39" y="129"/>
                  </a:lnTo>
                  <a:lnTo>
                    <a:pt x="33" y="126"/>
                  </a:lnTo>
                  <a:lnTo>
                    <a:pt x="30" y="122"/>
                  </a:lnTo>
                  <a:lnTo>
                    <a:pt x="31" y="121"/>
                  </a:lnTo>
                  <a:lnTo>
                    <a:pt x="32" y="121"/>
                  </a:lnTo>
                  <a:lnTo>
                    <a:pt x="33" y="121"/>
                  </a:lnTo>
                  <a:lnTo>
                    <a:pt x="36" y="121"/>
                  </a:lnTo>
                  <a:lnTo>
                    <a:pt x="37" y="120"/>
                  </a:lnTo>
                  <a:lnTo>
                    <a:pt x="37" y="117"/>
                  </a:lnTo>
                  <a:lnTo>
                    <a:pt x="37" y="113"/>
                  </a:lnTo>
                  <a:lnTo>
                    <a:pt x="37" y="110"/>
                  </a:lnTo>
                  <a:lnTo>
                    <a:pt x="40" y="109"/>
                  </a:lnTo>
                  <a:lnTo>
                    <a:pt x="46" y="107"/>
                  </a:lnTo>
                  <a:lnTo>
                    <a:pt x="49" y="106"/>
                  </a:lnTo>
                  <a:lnTo>
                    <a:pt x="51" y="102"/>
                  </a:lnTo>
                  <a:lnTo>
                    <a:pt x="54" y="101"/>
                  </a:lnTo>
                  <a:lnTo>
                    <a:pt x="55" y="100"/>
                  </a:lnTo>
                  <a:lnTo>
                    <a:pt x="58" y="103"/>
                  </a:lnTo>
                  <a:lnTo>
                    <a:pt x="60" y="106"/>
                  </a:lnTo>
                  <a:lnTo>
                    <a:pt x="61" y="106"/>
                  </a:lnTo>
                  <a:lnTo>
                    <a:pt x="67" y="106"/>
                  </a:lnTo>
                  <a:lnTo>
                    <a:pt x="75" y="106"/>
                  </a:lnTo>
                  <a:lnTo>
                    <a:pt x="78" y="107"/>
                  </a:lnTo>
                  <a:lnTo>
                    <a:pt x="80" y="108"/>
                  </a:lnTo>
                  <a:lnTo>
                    <a:pt x="87" y="111"/>
                  </a:lnTo>
                  <a:lnTo>
                    <a:pt x="92" y="117"/>
                  </a:lnTo>
                  <a:lnTo>
                    <a:pt x="98" y="126"/>
                  </a:lnTo>
                  <a:lnTo>
                    <a:pt x="110" y="140"/>
                  </a:lnTo>
                  <a:lnTo>
                    <a:pt x="116" y="148"/>
                  </a:lnTo>
                  <a:lnTo>
                    <a:pt x="117" y="149"/>
                  </a:lnTo>
                  <a:lnTo>
                    <a:pt x="119" y="149"/>
                  </a:lnTo>
                  <a:lnTo>
                    <a:pt x="124" y="148"/>
                  </a:lnTo>
                  <a:lnTo>
                    <a:pt x="127" y="148"/>
                  </a:lnTo>
                  <a:lnTo>
                    <a:pt x="131" y="149"/>
                  </a:lnTo>
                  <a:lnTo>
                    <a:pt x="135" y="152"/>
                  </a:lnTo>
                  <a:lnTo>
                    <a:pt x="143" y="155"/>
                  </a:lnTo>
                  <a:lnTo>
                    <a:pt x="147" y="156"/>
                  </a:lnTo>
                  <a:lnTo>
                    <a:pt x="150" y="158"/>
                  </a:lnTo>
                  <a:lnTo>
                    <a:pt x="155" y="158"/>
                  </a:lnTo>
                  <a:lnTo>
                    <a:pt x="162" y="158"/>
                  </a:lnTo>
                  <a:lnTo>
                    <a:pt x="167" y="156"/>
                  </a:lnTo>
                  <a:lnTo>
                    <a:pt x="172" y="154"/>
                  </a:lnTo>
                  <a:lnTo>
                    <a:pt x="167" y="151"/>
                  </a:lnTo>
                  <a:lnTo>
                    <a:pt x="163" y="149"/>
                  </a:lnTo>
                  <a:lnTo>
                    <a:pt x="158" y="147"/>
                  </a:lnTo>
                  <a:lnTo>
                    <a:pt x="157" y="145"/>
                  </a:lnTo>
                  <a:lnTo>
                    <a:pt x="154" y="142"/>
                  </a:lnTo>
                  <a:lnTo>
                    <a:pt x="153" y="141"/>
                  </a:lnTo>
                  <a:lnTo>
                    <a:pt x="150" y="140"/>
                  </a:lnTo>
                  <a:lnTo>
                    <a:pt x="148" y="138"/>
                  </a:lnTo>
                  <a:lnTo>
                    <a:pt x="147" y="135"/>
                  </a:lnTo>
                  <a:lnTo>
                    <a:pt x="147" y="133"/>
                  </a:lnTo>
                  <a:lnTo>
                    <a:pt x="147" y="132"/>
                  </a:lnTo>
                  <a:lnTo>
                    <a:pt x="148" y="130"/>
                  </a:lnTo>
                  <a:lnTo>
                    <a:pt x="148" y="129"/>
                  </a:lnTo>
                  <a:lnTo>
                    <a:pt x="145" y="128"/>
                  </a:lnTo>
                  <a:lnTo>
                    <a:pt x="144" y="127"/>
                  </a:lnTo>
                  <a:lnTo>
                    <a:pt x="141" y="127"/>
                  </a:lnTo>
                  <a:lnTo>
                    <a:pt x="139" y="126"/>
                  </a:lnTo>
                  <a:lnTo>
                    <a:pt x="133" y="119"/>
                  </a:lnTo>
                  <a:lnTo>
                    <a:pt x="129" y="116"/>
                  </a:lnTo>
                  <a:lnTo>
                    <a:pt x="124" y="114"/>
                  </a:lnTo>
                  <a:lnTo>
                    <a:pt x="122" y="114"/>
                  </a:lnTo>
                  <a:lnTo>
                    <a:pt x="121" y="111"/>
                  </a:lnTo>
                  <a:lnTo>
                    <a:pt x="121" y="108"/>
                  </a:lnTo>
                  <a:lnTo>
                    <a:pt x="120" y="107"/>
                  </a:lnTo>
                  <a:lnTo>
                    <a:pt x="120" y="106"/>
                  </a:lnTo>
                  <a:lnTo>
                    <a:pt x="115" y="103"/>
                  </a:lnTo>
                  <a:lnTo>
                    <a:pt x="111" y="100"/>
                  </a:lnTo>
                  <a:lnTo>
                    <a:pt x="110" y="95"/>
                  </a:lnTo>
                  <a:lnTo>
                    <a:pt x="108" y="90"/>
                  </a:lnTo>
                  <a:lnTo>
                    <a:pt x="110" y="87"/>
                  </a:lnTo>
                  <a:lnTo>
                    <a:pt x="112" y="82"/>
                  </a:lnTo>
                  <a:lnTo>
                    <a:pt x="113" y="77"/>
                  </a:lnTo>
                  <a:lnTo>
                    <a:pt x="113" y="75"/>
                  </a:lnTo>
                  <a:lnTo>
                    <a:pt x="111" y="72"/>
                  </a:lnTo>
                  <a:lnTo>
                    <a:pt x="106" y="71"/>
                  </a:lnTo>
                  <a:lnTo>
                    <a:pt x="101" y="69"/>
                  </a:lnTo>
                  <a:lnTo>
                    <a:pt x="97" y="66"/>
                  </a:lnTo>
                  <a:lnTo>
                    <a:pt x="93" y="63"/>
                  </a:lnTo>
                  <a:lnTo>
                    <a:pt x="87" y="55"/>
                  </a:lnTo>
                  <a:lnTo>
                    <a:pt x="82" y="46"/>
                  </a:lnTo>
                  <a:lnTo>
                    <a:pt x="80" y="45"/>
                  </a:lnTo>
                  <a:lnTo>
                    <a:pt x="78" y="45"/>
                  </a:lnTo>
                  <a:lnTo>
                    <a:pt x="74" y="45"/>
                  </a:lnTo>
                  <a:lnTo>
                    <a:pt x="72" y="44"/>
                  </a:lnTo>
                  <a:lnTo>
                    <a:pt x="70" y="43"/>
                  </a:lnTo>
                  <a:lnTo>
                    <a:pt x="70" y="39"/>
                  </a:lnTo>
                  <a:lnTo>
                    <a:pt x="70" y="36"/>
                  </a:lnTo>
                  <a:lnTo>
                    <a:pt x="70" y="33"/>
                  </a:lnTo>
                  <a:lnTo>
                    <a:pt x="61" y="28"/>
                  </a:lnTo>
                  <a:lnTo>
                    <a:pt x="53" y="24"/>
                  </a:lnTo>
                  <a:lnTo>
                    <a:pt x="44" y="19"/>
                  </a:lnTo>
                  <a:lnTo>
                    <a:pt x="35" y="13"/>
                  </a:lnTo>
                  <a:lnTo>
                    <a:pt x="32" y="12"/>
                  </a:lnTo>
                  <a:lnTo>
                    <a:pt x="28" y="12"/>
                  </a:lnTo>
                  <a:lnTo>
                    <a:pt x="26" y="12"/>
                  </a:lnTo>
                  <a:lnTo>
                    <a:pt x="22" y="11"/>
                  </a:lnTo>
                  <a:lnTo>
                    <a:pt x="12" y="5"/>
                  </a:lnTo>
                  <a:lnTo>
                    <a:pt x="0" y="0"/>
                  </a:lnTo>
                  <a:lnTo>
                    <a:pt x="2" y="74"/>
                  </a:lnTo>
                  <a:lnTo>
                    <a:pt x="0" y="88"/>
                  </a:lnTo>
                  <a:lnTo>
                    <a:pt x="0" y="102"/>
                  </a:lnTo>
                  <a:lnTo>
                    <a:pt x="3" y="12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0" name="Freeform 259"/>
            <p:cNvSpPr>
              <a:spLocks/>
            </p:cNvSpPr>
            <p:nvPr/>
          </p:nvSpPr>
          <p:spPr bwMode="auto">
            <a:xfrm>
              <a:off x="8334379" y="6221417"/>
              <a:ext cx="11113" cy="22225"/>
            </a:xfrm>
            <a:custGeom>
              <a:avLst/>
              <a:gdLst>
                <a:gd name="T0" fmla="*/ 2147483647 w 7"/>
                <a:gd name="T1" fmla="*/ 2147483647 h 14"/>
                <a:gd name="T2" fmla="*/ 2147483647 w 7"/>
                <a:gd name="T3" fmla="*/ 2147483647 h 14"/>
                <a:gd name="T4" fmla="*/ 2147483647 w 7"/>
                <a:gd name="T5" fmla="*/ 2147483647 h 14"/>
                <a:gd name="T6" fmla="*/ 2147483647 w 7"/>
                <a:gd name="T7" fmla="*/ 2147483647 h 14"/>
                <a:gd name="T8" fmla="*/ 2147483647 w 7"/>
                <a:gd name="T9" fmla="*/ 2147483647 h 14"/>
                <a:gd name="T10" fmla="*/ 0 w 7"/>
                <a:gd name="T11" fmla="*/ 2147483647 h 14"/>
                <a:gd name="T12" fmla="*/ 2147483647 w 7"/>
                <a:gd name="T13" fmla="*/ 2147483647 h 14"/>
                <a:gd name="T14" fmla="*/ 2147483647 w 7"/>
                <a:gd name="T15" fmla="*/ 0 h 14"/>
                <a:gd name="T16" fmla="*/ 2147483647 w 7"/>
                <a:gd name="T17" fmla="*/ 0 h 14"/>
                <a:gd name="T18" fmla="*/ 2147483647 w 7"/>
                <a:gd name="T19" fmla="*/ 2147483647 h 14"/>
                <a:gd name="T20" fmla="*/ 2147483647 w 7"/>
                <a:gd name="T21" fmla="*/ 2147483647 h 14"/>
                <a:gd name="T22" fmla="*/ 2147483647 w 7"/>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14"/>
                <a:gd name="T38" fmla="*/ 7 w 7"/>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14">
                  <a:moveTo>
                    <a:pt x="7" y="8"/>
                  </a:moveTo>
                  <a:lnTo>
                    <a:pt x="6" y="11"/>
                  </a:lnTo>
                  <a:lnTo>
                    <a:pt x="5" y="12"/>
                  </a:lnTo>
                  <a:lnTo>
                    <a:pt x="3" y="14"/>
                  </a:lnTo>
                  <a:lnTo>
                    <a:pt x="1" y="12"/>
                  </a:lnTo>
                  <a:lnTo>
                    <a:pt x="0" y="9"/>
                  </a:lnTo>
                  <a:lnTo>
                    <a:pt x="1" y="3"/>
                  </a:lnTo>
                  <a:lnTo>
                    <a:pt x="2" y="0"/>
                  </a:lnTo>
                  <a:lnTo>
                    <a:pt x="3" y="0"/>
                  </a:lnTo>
                  <a:lnTo>
                    <a:pt x="6" y="2"/>
                  </a:lnTo>
                  <a:lnTo>
                    <a:pt x="7" y="3"/>
                  </a:lnTo>
                  <a:lnTo>
                    <a:pt x="7"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1" name="Freeform 260"/>
            <p:cNvSpPr>
              <a:spLocks/>
            </p:cNvSpPr>
            <p:nvPr/>
          </p:nvSpPr>
          <p:spPr bwMode="auto">
            <a:xfrm>
              <a:off x="7896225" y="4481517"/>
              <a:ext cx="252413" cy="249237"/>
            </a:xfrm>
            <a:custGeom>
              <a:avLst/>
              <a:gdLst>
                <a:gd name="T0" fmla="*/ 2147483647 w 172"/>
                <a:gd name="T1" fmla="*/ 2147483647 h 157"/>
                <a:gd name="T2" fmla="*/ 2147483647 w 172"/>
                <a:gd name="T3" fmla="*/ 2147483647 h 157"/>
                <a:gd name="T4" fmla="*/ 2147483647 w 172"/>
                <a:gd name="T5" fmla="*/ 2147483647 h 157"/>
                <a:gd name="T6" fmla="*/ 2147483647 w 172"/>
                <a:gd name="T7" fmla="*/ 2147483647 h 157"/>
                <a:gd name="T8" fmla="*/ 2147483647 w 172"/>
                <a:gd name="T9" fmla="*/ 2147483647 h 157"/>
                <a:gd name="T10" fmla="*/ 2147483647 w 172"/>
                <a:gd name="T11" fmla="*/ 2147483647 h 157"/>
                <a:gd name="T12" fmla="*/ 2147483647 w 172"/>
                <a:gd name="T13" fmla="*/ 2147483647 h 157"/>
                <a:gd name="T14" fmla="*/ 2147483647 w 172"/>
                <a:gd name="T15" fmla="*/ 2147483647 h 157"/>
                <a:gd name="T16" fmla="*/ 2147483647 w 172"/>
                <a:gd name="T17" fmla="*/ 2147483647 h 157"/>
                <a:gd name="T18" fmla="*/ 2147483647 w 172"/>
                <a:gd name="T19" fmla="*/ 2147483647 h 157"/>
                <a:gd name="T20" fmla="*/ 2147483647 w 172"/>
                <a:gd name="T21" fmla="*/ 2147483647 h 157"/>
                <a:gd name="T22" fmla="*/ 2147483647 w 172"/>
                <a:gd name="T23" fmla="*/ 2147483647 h 157"/>
                <a:gd name="T24" fmla="*/ 2147483647 w 172"/>
                <a:gd name="T25" fmla="*/ 2147483647 h 157"/>
                <a:gd name="T26" fmla="*/ 2147483647 w 172"/>
                <a:gd name="T27" fmla="*/ 2147483647 h 157"/>
                <a:gd name="T28" fmla="*/ 2147483647 w 172"/>
                <a:gd name="T29" fmla="*/ 2147483647 h 157"/>
                <a:gd name="T30" fmla="*/ 2147483647 w 172"/>
                <a:gd name="T31" fmla="*/ 2147483647 h 157"/>
                <a:gd name="T32" fmla="*/ 2147483647 w 172"/>
                <a:gd name="T33" fmla="*/ 2147483647 h 157"/>
                <a:gd name="T34" fmla="*/ 2147483647 w 172"/>
                <a:gd name="T35" fmla="*/ 2147483647 h 157"/>
                <a:gd name="T36" fmla="*/ 2147483647 w 172"/>
                <a:gd name="T37" fmla="*/ 2147483647 h 157"/>
                <a:gd name="T38" fmla="*/ 2147483647 w 172"/>
                <a:gd name="T39" fmla="*/ 2147483647 h 157"/>
                <a:gd name="T40" fmla="*/ 2147483647 w 172"/>
                <a:gd name="T41" fmla="*/ 2147483647 h 157"/>
                <a:gd name="T42" fmla="*/ 2147483647 w 172"/>
                <a:gd name="T43" fmla="*/ 2147483647 h 157"/>
                <a:gd name="T44" fmla="*/ 2147483647 w 172"/>
                <a:gd name="T45" fmla="*/ 2147483647 h 157"/>
                <a:gd name="T46" fmla="*/ 2147483647 w 172"/>
                <a:gd name="T47" fmla="*/ 2147483647 h 157"/>
                <a:gd name="T48" fmla="*/ 2147483647 w 172"/>
                <a:gd name="T49" fmla="*/ 2147483647 h 157"/>
                <a:gd name="T50" fmla="*/ 2147483647 w 172"/>
                <a:gd name="T51" fmla="*/ 2147483647 h 157"/>
                <a:gd name="T52" fmla="*/ 2147483647 w 172"/>
                <a:gd name="T53" fmla="*/ 2147483647 h 157"/>
                <a:gd name="T54" fmla="*/ 2147483647 w 172"/>
                <a:gd name="T55" fmla="*/ 2147483647 h 157"/>
                <a:gd name="T56" fmla="*/ 2147483647 w 172"/>
                <a:gd name="T57" fmla="*/ 2147483647 h 157"/>
                <a:gd name="T58" fmla="*/ 2147483647 w 172"/>
                <a:gd name="T59" fmla="*/ 2147483647 h 157"/>
                <a:gd name="T60" fmla="*/ 2147483647 w 172"/>
                <a:gd name="T61" fmla="*/ 2147483647 h 157"/>
                <a:gd name="T62" fmla="*/ 2147483647 w 172"/>
                <a:gd name="T63" fmla="*/ 2147483647 h 157"/>
                <a:gd name="T64" fmla="*/ 2147483647 w 172"/>
                <a:gd name="T65" fmla="*/ 2147483647 h 157"/>
                <a:gd name="T66" fmla="*/ 2147483647 w 172"/>
                <a:gd name="T67" fmla="*/ 2147483647 h 157"/>
                <a:gd name="T68" fmla="*/ 2147483647 w 172"/>
                <a:gd name="T69" fmla="*/ 2147483647 h 157"/>
                <a:gd name="T70" fmla="*/ 2147483647 w 172"/>
                <a:gd name="T71" fmla="*/ 2147483647 h 157"/>
                <a:gd name="T72" fmla="*/ 2147483647 w 172"/>
                <a:gd name="T73" fmla="*/ 2147483647 h 157"/>
                <a:gd name="T74" fmla="*/ 2147483647 w 172"/>
                <a:gd name="T75" fmla="*/ 2147483647 h 157"/>
                <a:gd name="T76" fmla="*/ 2147483647 w 172"/>
                <a:gd name="T77" fmla="*/ 2147483647 h 157"/>
                <a:gd name="T78" fmla="*/ 2147483647 w 172"/>
                <a:gd name="T79" fmla="*/ 2147483647 h 157"/>
                <a:gd name="T80" fmla="*/ 2147483647 w 172"/>
                <a:gd name="T81" fmla="*/ 2147483647 h 157"/>
                <a:gd name="T82" fmla="*/ 2147483647 w 172"/>
                <a:gd name="T83" fmla="*/ 2147483647 h 157"/>
                <a:gd name="T84" fmla="*/ 2147483647 w 172"/>
                <a:gd name="T85" fmla="*/ 2147483647 h 157"/>
                <a:gd name="T86" fmla="*/ 2147483647 w 172"/>
                <a:gd name="T87" fmla="*/ 2147483647 h 157"/>
                <a:gd name="T88" fmla="*/ 2147483647 w 172"/>
                <a:gd name="T89" fmla="*/ 2147483647 h 157"/>
                <a:gd name="T90" fmla="*/ 2147483647 w 172"/>
                <a:gd name="T91" fmla="*/ 2147483647 h 157"/>
                <a:gd name="T92" fmla="*/ 2147483647 w 172"/>
                <a:gd name="T93" fmla="*/ 2147483647 h 157"/>
                <a:gd name="T94" fmla="*/ 2147483647 w 172"/>
                <a:gd name="T95" fmla="*/ 2147483647 h 157"/>
                <a:gd name="T96" fmla="*/ 0 w 172"/>
                <a:gd name="T97" fmla="*/ 2147483647 h 1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2"/>
                <a:gd name="T148" fmla="*/ 0 h 157"/>
                <a:gd name="T149" fmla="*/ 172 w 172"/>
                <a:gd name="T150" fmla="*/ 157 h 1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2" h="157">
                  <a:moveTo>
                    <a:pt x="3" y="129"/>
                  </a:moveTo>
                  <a:lnTo>
                    <a:pt x="3" y="129"/>
                  </a:lnTo>
                  <a:lnTo>
                    <a:pt x="14" y="133"/>
                  </a:lnTo>
                  <a:lnTo>
                    <a:pt x="21" y="134"/>
                  </a:lnTo>
                  <a:lnTo>
                    <a:pt x="27" y="134"/>
                  </a:lnTo>
                  <a:lnTo>
                    <a:pt x="31" y="134"/>
                  </a:lnTo>
                  <a:lnTo>
                    <a:pt x="33" y="135"/>
                  </a:lnTo>
                  <a:lnTo>
                    <a:pt x="36" y="134"/>
                  </a:lnTo>
                  <a:lnTo>
                    <a:pt x="38" y="131"/>
                  </a:lnTo>
                  <a:lnTo>
                    <a:pt x="38" y="129"/>
                  </a:lnTo>
                  <a:lnTo>
                    <a:pt x="33" y="125"/>
                  </a:lnTo>
                  <a:lnTo>
                    <a:pt x="29" y="122"/>
                  </a:lnTo>
                  <a:lnTo>
                    <a:pt x="31" y="121"/>
                  </a:lnTo>
                  <a:lnTo>
                    <a:pt x="32" y="121"/>
                  </a:lnTo>
                  <a:lnTo>
                    <a:pt x="33" y="121"/>
                  </a:lnTo>
                  <a:lnTo>
                    <a:pt x="36" y="121"/>
                  </a:lnTo>
                  <a:lnTo>
                    <a:pt x="37" y="120"/>
                  </a:lnTo>
                  <a:lnTo>
                    <a:pt x="37" y="117"/>
                  </a:lnTo>
                  <a:lnTo>
                    <a:pt x="37" y="112"/>
                  </a:lnTo>
                  <a:lnTo>
                    <a:pt x="37" y="110"/>
                  </a:lnTo>
                  <a:lnTo>
                    <a:pt x="40" y="109"/>
                  </a:lnTo>
                  <a:lnTo>
                    <a:pt x="46" y="107"/>
                  </a:lnTo>
                  <a:lnTo>
                    <a:pt x="48" y="105"/>
                  </a:lnTo>
                  <a:lnTo>
                    <a:pt x="51" y="102"/>
                  </a:lnTo>
                  <a:lnTo>
                    <a:pt x="54" y="101"/>
                  </a:lnTo>
                  <a:lnTo>
                    <a:pt x="55" y="99"/>
                  </a:lnTo>
                  <a:lnTo>
                    <a:pt x="57" y="103"/>
                  </a:lnTo>
                  <a:lnTo>
                    <a:pt x="60" y="105"/>
                  </a:lnTo>
                  <a:lnTo>
                    <a:pt x="61" y="105"/>
                  </a:lnTo>
                  <a:lnTo>
                    <a:pt x="66" y="105"/>
                  </a:lnTo>
                  <a:lnTo>
                    <a:pt x="75" y="105"/>
                  </a:lnTo>
                  <a:lnTo>
                    <a:pt x="78" y="107"/>
                  </a:lnTo>
                  <a:lnTo>
                    <a:pt x="80" y="108"/>
                  </a:lnTo>
                  <a:lnTo>
                    <a:pt x="87" y="111"/>
                  </a:lnTo>
                  <a:lnTo>
                    <a:pt x="92" y="117"/>
                  </a:lnTo>
                  <a:lnTo>
                    <a:pt x="98" y="125"/>
                  </a:lnTo>
                  <a:lnTo>
                    <a:pt x="109" y="140"/>
                  </a:lnTo>
                  <a:lnTo>
                    <a:pt x="116" y="148"/>
                  </a:lnTo>
                  <a:lnTo>
                    <a:pt x="117" y="149"/>
                  </a:lnTo>
                  <a:lnTo>
                    <a:pt x="118" y="149"/>
                  </a:lnTo>
                  <a:lnTo>
                    <a:pt x="123" y="148"/>
                  </a:lnTo>
                  <a:lnTo>
                    <a:pt x="127" y="148"/>
                  </a:lnTo>
                  <a:lnTo>
                    <a:pt x="131" y="149"/>
                  </a:lnTo>
                  <a:lnTo>
                    <a:pt x="135" y="152"/>
                  </a:lnTo>
                  <a:lnTo>
                    <a:pt x="142" y="155"/>
                  </a:lnTo>
                  <a:lnTo>
                    <a:pt x="146" y="156"/>
                  </a:lnTo>
                  <a:lnTo>
                    <a:pt x="150" y="157"/>
                  </a:lnTo>
                  <a:lnTo>
                    <a:pt x="155" y="157"/>
                  </a:lnTo>
                  <a:lnTo>
                    <a:pt x="161" y="157"/>
                  </a:lnTo>
                  <a:lnTo>
                    <a:pt x="167" y="156"/>
                  </a:lnTo>
                  <a:lnTo>
                    <a:pt x="172" y="154"/>
                  </a:lnTo>
                  <a:lnTo>
                    <a:pt x="167" y="150"/>
                  </a:lnTo>
                  <a:lnTo>
                    <a:pt x="163" y="149"/>
                  </a:lnTo>
                  <a:lnTo>
                    <a:pt x="158" y="147"/>
                  </a:lnTo>
                  <a:lnTo>
                    <a:pt x="156" y="144"/>
                  </a:lnTo>
                  <a:lnTo>
                    <a:pt x="154" y="142"/>
                  </a:lnTo>
                  <a:lnTo>
                    <a:pt x="153" y="141"/>
                  </a:lnTo>
                  <a:lnTo>
                    <a:pt x="150" y="140"/>
                  </a:lnTo>
                  <a:lnTo>
                    <a:pt x="148" y="137"/>
                  </a:lnTo>
                  <a:lnTo>
                    <a:pt x="146" y="135"/>
                  </a:lnTo>
                  <a:lnTo>
                    <a:pt x="146" y="133"/>
                  </a:lnTo>
                  <a:lnTo>
                    <a:pt x="146" y="131"/>
                  </a:lnTo>
                  <a:lnTo>
                    <a:pt x="148" y="130"/>
                  </a:lnTo>
                  <a:lnTo>
                    <a:pt x="148" y="129"/>
                  </a:lnTo>
                  <a:lnTo>
                    <a:pt x="145" y="128"/>
                  </a:lnTo>
                  <a:lnTo>
                    <a:pt x="144" y="127"/>
                  </a:lnTo>
                  <a:lnTo>
                    <a:pt x="141" y="127"/>
                  </a:lnTo>
                  <a:lnTo>
                    <a:pt x="139" y="125"/>
                  </a:lnTo>
                  <a:lnTo>
                    <a:pt x="132" y="118"/>
                  </a:lnTo>
                  <a:lnTo>
                    <a:pt x="128" y="116"/>
                  </a:lnTo>
                  <a:lnTo>
                    <a:pt x="123" y="114"/>
                  </a:lnTo>
                  <a:lnTo>
                    <a:pt x="122" y="114"/>
                  </a:lnTo>
                  <a:lnTo>
                    <a:pt x="121" y="111"/>
                  </a:lnTo>
                  <a:lnTo>
                    <a:pt x="121" y="108"/>
                  </a:lnTo>
                  <a:lnTo>
                    <a:pt x="120" y="107"/>
                  </a:lnTo>
                  <a:lnTo>
                    <a:pt x="120" y="105"/>
                  </a:lnTo>
                  <a:lnTo>
                    <a:pt x="114" y="103"/>
                  </a:lnTo>
                  <a:lnTo>
                    <a:pt x="111" y="99"/>
                  </a:lnTo>
                  <a:lnTo>
                    <a:pt x="109" y="95"/>
                  </a:lnTo>
                  <a:lnTo>
                    <a:pt x="108" y="90"/>
                  </a:lnTo>
                  <a:lnTo>
                    <a:pt x="109" y="86"/>
                  </a:lnTo>
                  <a:lnTo>
                    <a:pt x="112" y="82"/>
                  </a:lnTo>
                  <a:lnTo>
                    <a:pt x="113" y="77"/>
                  </a:lnTo>
                  <a:lnTo>
                    <a:pt x="113" y="75"/>
                  </a:lnTo>
                  <a:lnTo>
                    <a:pt x="111" y="72"/>
                  </a:lnTo>
                  <a:lnTo>
                    <a:pt x="106" y="71"/>
                  </a:lnTo>
                  <a:lnTo>
                    <a:pt x="101" y="69"/>
                  </a:lnTo>
                  <a:lnTo>
                    <a:pt x="97" y="66"/>
                  </a:lnTo>
                  <a:lnTo>
                    <a:pt x="93" y="63"/>
                  </a:lnTo>
                  <a:lnTo>
                    <a:pt x="87" y="54"/>
                  </a:lnTo>
                  <a:lnTo>
                    <a:pt x="81" y="46"/>
                  </a:lnTo>
                  <a:lnTo>
                    <a:pt x="80" y="45"/>
                  </a:lnTo>
                  <a:lnTo>
                    <a:pt x="78" y="45"/>
                  </a:lnTo>
                  <a:lnTo>
                    <a:pt x="74" y="45"/>
                  </a:lnTo>
                  <a:lnTo>
                    <a:pt x="71" y="44"/>
                  </a:lnTo>
                  <a:lnTo>
                    <a:pt x="70" y="42"/>
                  </a:lnTo>
                  <a:lnTo>
                    <a:pt x="70" y="39"/>
                  </a:lnTo>
                  <a:lnTo>
                    <a:pt x="70" y="35"/>
                  </a:lnTo>
                  <a:lnTo>
                    <a:pt x="70" y="33"/>
                  </a:lnTo>
                  <a:lnTo>
                    <a:pt x="61" y="28"/>
                  </a:lnTo>
                  <a:lnTo>
                    <a:pt x="52" y="24"/>
                  </a:lnTo>
                  <a:lnTo>
                    <a:pt x="43" y="19"/>
                  </a:lnTo>
                  <a:lnTo>
                    <a:pt x="34" y="13"/>
                  </a:lnTo>
                  <a:lnTo>
                    <a:pt x="32" y="12"/>
                  </a:lnTo>
                  <a:lnTo>
                    <a:pt x="28" y="12"/>
                  </a:lnTo>
                  <a:lnTo>
                    <a:pt x="26" y="12"/>
                  </a:lnTo>
                  <a:lnTo>
                    <a:pt x="22" y="10"/>
                  </a:lnTo>
                  <a:lnTo>
                    <a:pt x="12" y="5"/>
                  </a:lnTo>
                  <a:lnTo>
                    <a:pt x="0" y="0"/>
                  </a:lnTo>
                  <a:lnTo>
                    <a:pt x="1" y="73"/>
                  </a:lnTo>
                  <a:lnTo>
                    <a:pt x="0" y="88"/>
                  </a:lnTo>
                  <a:lnTo>
                    <a:pt x="0" y="102"/>
                  </a:lnTo>
                  <a:lnTo>
                    <a:pt x="3" y="12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2" name="Freeform 261"/>
            <p:cNvSpPr>
              <a:spLocks/>
            </p:cNvSpPr>
            <p:nvPr/>
          </p:nvSpPr>
          <p:spPr bwMode="auto">
            <a:xfrm>
              <a:off x="8332788" y="6219825"/>
              <a:ext cx="11112" cy="20638"/>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2147483647 w 8"/>
                <a:gd name="T9" fmla="*/ 2147483647 h 13"/>
                <a:gd name="T10" fmla="*/ 2147483647 w 8"/>
                <a:gd name="T11" fmla="*/ 2147483647 h 13"/>
                <a:gd name="T12" fmla="*/ 2147483647 w 8"/>
                <a:gd name="T13" fmla="*/ 2147483647 h 13"/>
                <a:gd name="T14" fmla="*/ 0 w 8"/>
                <a:gd name="T15" fmla="*/ 2147483647 h 13"/>
                <a:gd name="T16" fmla="*/ 2147483647 w 8"/>
                <a:gd name="T17" fmla="*/ 2147483647 h 13"/>
                <a:gd name="T18" fmla="*/ 2147483647 w 8"/>
                <a:gd name="T19" fmla="*/ 2147483647 h 13"/>
                <a:gd name="T20" fmla="*/ 2147483647 w 8"/>
                <a:gd name="T21" fmla="*/ 0 h 13"/>
                <a:gd name="T22" fmla="*/ 2147483647 w 8"/>
                <a:gd name="T23" fmla="*/ 0 h 13"/>
                <a:gd name="T24" fmla="*/ 2147483647 w 8"/>
                <a:gd name="T25" fmla="*/ 0 h 13"/>
                <a:gd name="T26" fmla="*/ 2147483647 w 8"/>
                <a:gd name="T27" fmla="*/ 2147483647 h 13"/>
                <a:gd name="T28" fmla="*/ 2147483647 w 8"/>
                <a:gd name="T29" fmla="*/ 2147483647 h 13"/>
                <a:gd name="T30" fmla="*/ 2147483647 w 8"/>
                <a:gd name="T31" fmla="*/ 2147483647 h 13"/>
                <a:gd name="T32" fmla="*/ 2147483647 w 8"/>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3"/>
                <a:gd name="T53" fmla="*/ 8 w 8"/>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3">
                  <a:moveTo>
                    <a:pt x="8" y="7"/>
                  </a:moveTo>
                  <a:lnTo>
                    <a:pt x="8" y="7"/>
                  </a:lnTo>
                  <a:lnTo>
                    <a:pt x="7" y="11"/>
                  </a:lnTo>
                  <a:lnTo>
                    <a:pt x="5" y="12"/>
                  </a:lnTo>
                  <a:lnTo>
                    <a:pt x="4" y="13"/>
                  </a:lnTo>
                  <a:lnTo>
                    <a:pt x="2" y="12"/>
                  </a:lnTo>
                  <a:lnTo>
                    <a:pt x="0" y="9"/>
                  </a:lnTo>
                  <a:lnTo>
                    <a:pt x="2" y="3"/>
                  </a:lnTo>
                  <a:lnTo>
                    <a:pt x="3" y="0"/>
                  </a:lnTo>
                  <a:lnTo>
                    <a:pt x="4" y="0"/>
                  </a:lnTo>
                  <a:lnTo>
                    <a:pt x="7" y="1"/>
                  </a:lnTo>
                  <a:lnTo>
                    <a:pt x="8" y="3"/>
                  </a:lnTo>
                  <a:lnTo>
                    <a:pt x="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3" name="Freeform 262"/>
            <p:cNvSpPr>
              <a:spLocks/>
            </p:cNvSpPr>
            <p:nvPr/>
          </p:nvSpPr>
          <p:spPr bwMode="auto">
            <a:xfrm>
              <a:off x="8597900" y="6143625"/>
              <a:ext cx="12700" cy="12700"/>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2147483647 w 9"/>
                <a:gd name="T13" fmla="*/ 2147483647 h 8"/>
                <a:gd name="T14" fmla="*/ 0 w 9"/>
                <a:gd name="T15" fmla="*/ 2147483647 h 8"/>
                <a:gd name="T16" fmla="*/ 0 w 9"/>
                <a:gd name="T17" fmla="*/ 2147483647 h 8"/>
                <a:gd name="T18" fmla="*/ 2147483647 w 9"/>
                <a:gd name="T19" fmla="*/ 2147483647 h 8"/>
                <a:gd name="T20" fmla="*/ 2147483647 w 9"/>
                <a:gd name="T21" fmla="*/ 0 h 8"/>
                <a:gd name="T22" fmla="*/ 2147483647 w 9"/>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7" y="1"/>
                  </a:moveTo>
                  <a:lnTo>
                    <a:pt x="9" y="2"/>
                  </a:lnTo>
                  <a:lnTo>
                    <a:pt x="9" y="3"/>
                  </a:lnTo>
                  <a:lnTo>
                    <a:pt x="9" y="6"/>
                  </a:lnTo>
                  <a:lnTo>
                    <a:pt x="6" y="7"/>
                  </a:lnTo>
                  <a:lnTo>
                    <a:pt x="5" y="8"/>
                  </a:lnTo>
                  <a:lnTo>
                    <a:pt x="2" y="8"/>
                  </a:lnTo>
                  <a:lnTo>
                    <a:pt x="0" y="6"/>
                  </a:lnTo>
                  <a:lnTo>
                    <a:pt x="0" y="2"/>
                  </a:lnTo>
                  <a:lnTo>
                    <a:pt x="1" y="1"/>
                  </a:lnTo>
                  <a:lnTo>
                    <a:pt x="3" y="0"/>
                  </a:lnTo>
                  <a:lnTo>
                    <a:pt x="7"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4" name="Freeform 263"/>
            <p:cNvSpPr>
              <a:spLocks/>
            </p:cNvSpPr>
            <p:nvPr/>
          </p:nvSpPr>
          <p:spPr bwMode="auto">
            <a:xfrm>
              <a:off x="8528053" y="6072191"/>
              <a:ext cx="17463" cy="23812"/>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2147483647 w 12"/>
                <a:gd name="T13" fmla="*/ 2147483647 h 15"/>
                <a:gd name="T14" fmla="*/ 2147483647 w 12"/>
                <a:gd name="T15" fmla="*/ 2147483647 h 15"/>
                <a:gd name="T16" fmla="*/ 0 w 12"/>
                <a:gd name="T17" fmla="*/ 2147483647 h 15"/>
                <a:gd name="T18" fmla="*/ 0 w 12"/>
                <a:gd name="T19" fmla="*/ 2147483647 h 15"/>
                <a:gd name="T20" fmla="*/ 2147483647 w 12"/>
                <a:gd name="T21" fmla="*/ 2147483647 h 15"/>
                <a:gd name="T22" fmla="*/ 2147483647 w 12"/>
                <a:gd name="T23" fmla="*/ 2147483647 h 15"/>
                <a:gd name="T24" fmla="*/ 2147483647 w 12"/>
                <a:gd name="T25" fmla="*/ 0 h 15"/>
                <a:gd name="T26" fmla="*/ 2147483647 w 12"/>
                <a:gd name="T27" fmla="*/ 0 h 15"/>
                <a:gd name="T28" fmla="*/ 2147483647 w 12"/>
                <a:gd name="T29" fmla="*/ 2147483647 h 15"/>
                <a:gd name="T30" fmla="*/ 2147483647 w 12"/>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5"/>
                <a:gd name="T50" fmla="*/ 12 w 12"/>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5">
                  <a:moveTo>
                    <a:pt x="10" y="6"/>
                  </a:moveTo>
                  <a:lnTo>
                    <a:pt x="11" y="8"/>
                  </a:lnTo>
                  <a:lnTo>
                    <a:pt x="12" y="9"/>
                  </a:lnTo>
                  <a:lnTo>
                    <a:pt x="12" y="11"/>
                  </a:lnTo>
                  <a:lnTo>
                    <a:pt x="11" y="14"/>
                  </a:lnTo>
                  <a:lnTo>
                    <a:pt x="9" y="15"/>
                  </a:lnTo>
                  <a:lnTo>
                    <a:pt x="5" y="15"/>
                  </a:lnTo>
                  <a:lnTo>
                    <a:pt x="2" y="14"/>
                  </a:lnTo>
                  <a:lnTo>
                    <a:pt x="0" y="11"/>
                  </a:lnTo>
                  <a:lnTo>
                    <a:pt x="0" y="8"/>
                  </a:lnTo>
                  <a:lnTo>
                    <a:pt x="1" y="4"/>
                  </a:lnTo>
                  <a:lnTo>
                    <a:pt x="3" y="1"/>
                  </a:lnTo>
                  <a:lnTo>
                    <a:pt x="7" y="0"/>
                  </a:lnTo>
                  <a:lnTo>
                    <a:pt x="9" y="0"/>
                  </a:lnTo>
                  <a:lnTo>
                    <a:pt x="10" y="1"/>
                  </a:lnTo>
                  <a:lnTo>
                    <a:pt x="1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5" name="Freeform 264"/>
            <p:cNvSpPr>
              <a:spLocks/>
            </p:cNvSpPr>
            <p:nvPr/>
          </p:nvSpPr>
          <p:spPr bwMode="auto">
            <a:xfrm>
              <a:off x="8594725" y="6140453"/>
              <a:ext cx="12700" cy="14288"/>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2147483647 w 9"/>
                <a:gd name="T17" fmla="*/ 2147483647 h 9"/>
                <a:gd name="T18" fmla="*/ 0 w 9"/>
                <a:gd name="T19" fmla="*/ 2147483647 h 9"/>
                <a:gd name="T20" fmla="*/ 0 w 9"/>
                <a:gd name="T21" fmla="*/ 2147483647 h 9"/>
                <a:gd name="T22" fmla="*/ 0 w 9"/>
                <a:gd name="T23" fmla="*/ 2147483647 h 9"/>
                <a:gd name="T24" fmla="*/ 2147483647 w 9"/>
                <a:gd name="T25" fmla="*/ 2147483647 h 9"/>
                <a:gd name="T26" fmla="*/ 2147483647 w 9"/>
                <a:gd name="T27" fmla="*/ 0 h 9"/>
                <a:gd name="T28" fmla="*/ 2147483647 w 9"/>
                <a:gd name="T29" fmla="*/ 2147483647 h 9"/>
                <a:gd name="T30" fmla="*/ 2147483647 w 9"/>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8" y="2"/>
                  </a:moveTo>
                  <a:lnTo>
                    <a:pt x="8" y="2"/>
                  </a:lnTo>
                  <a:lnTo>
                    <a:pt x="9" y="3"/>
                  </a:lnTo>
                  <a:lnTo>
                    <a:pt x="9" y="4"/>
                  </a:lnTo>
                  <a:lnTo>
                    <a:pt x="9" y="6"/>
                  </a:lnTo>
                  <a:lnTo>
                    <a:pt x="7" y="8"/>
                  </a:lnTo>
                  <a:lnTo>
                    <a:pt x="5" y="9"/>
                  </a:lnTo>
                  <a:lnTo>
                    <a:pt x="3" y="9"/>
                  </a:lnTo>
                  <a:lnTo>
                    <a:pt x="0" y="6"/>
                  </a:lnTo>
                  <a:lnTo>
                    <a:pt x="0" y="3"/>
                  </a:lnTo>
                  <a:lnTo>
                    <a:pt x="2" y="2"/>
                  </a:lnTo>
                  <a:lnTo>
                    <a:pt x="4" y="0"/>
                  </a:lnTo>
                  <a:lnTo>
                    <a:pt x="8"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6" name="Freeform 265"/>
            <p:cNvSpPr>
              <a:spLocks/>
            </p:cNvSpPr>
            <p:nvPr/>
          </p:nvSpPr>
          <p:spPr bwMode="auto">
            <a:xfrm>
              <a:off x="8524875" y="6069013"/>
              <a:ext cx="19050" cy="25400"/>
            </a:xfrm>
            <a:custGeom>
              <a:avLst/>
              <a:gdLst>
                <a:gd name="T0" fmla="*/ 2147483647 w 13"/>
                <a:gd name="T1" fmla="*/ 2147483647 h 16"/>
                <a:gd name="T2" fmla="*/ 2147483647 w 13"/>
                <a:gd name="T3" fmla="*/ 2147483647 h 16"/>
                <a:gd name="T4" fmla="*/ 2147483647 w 13"/>
                <a:gd name="T5" fmla="*/ 2147483647 h 16"/>
                <a:gd name="T6" fmla="*/ 2147483647 w 13"/>
                <a:gd name="T7" fmla="*/ 2147483647 h 16"/>
                <a:gd name="T8" fmla="*/ 2147483647 w 13"/>
                <a:gd name="T9" fmla="*/ 2147483647 h 16"/>
                <a:gd name="T10" fmla="*/ 2147483647 w 13"/>
                <a:gd name="T11" fmla="*/ 2147483647 h 16"/>
                <a:gd name="T12" fmla="*/ 2147483647 w 13"/>
                <a:gd name="T13" fmla="*/ 2147483647 h 16"/>
                <a:gd name="T14" fmla="*/ 2147483647 w 13"/>
                <a:gd name="T15" fmla="*/ 2147483647 h 16"/>
                <a:gd name="T16" fmla="*/ 2147483647 w 13"/>
                <a:gd name="T17" fmla="*/ 2147483647 h 16"/>
                <a:gd name="T18" fmla="*/ 2147483647 w 13"/>
                <a:gd name="T19" fmla="*/ 2147483647 h 16"/>
                <a:gd name="T20" fmla="*/ 2147483647 w 13"/>
                <a:gd name="T21" fmla="*/ 2147483647 h 16"/>
                <a:gd name="T22" fmla="*/ 0 w 13"/>
                <a:gd name="T23" fmla="*/ 2147483647 h 16"/>
                <a:gd name="T24" fmla="*/ 0 w 13"/>
                <a:gd name="T25" fmla="*/ 2147483647 h 16"/>
                <a:gd name="T26" fmla="*/ 0 w 13"/>
                <a:gd name="T27" fmla="*/ 2147483647 h 16"/>
                <a:gd name="T28" fmla="*/ 2147483647 w 13"/>
                <a:gd name="T29" fmla="*/ 2147483647 h 16"/>
                <a:gd name="T30" fmla="*/ 2147483647 w 13"/>
                <a:gd name="T31" fmla="*/ 2147483647 h 16"/>
                <a:gd name="T32" fmla="*/ 2147483647 w 13"/>
                <a:gd name="T33" fmla="*/ 0 h 16"/>
                <a:gd name="T34" fmla="*/ 2147483647 w 13"/>
                <a:gd name="T35" fmla="*/ 0 h 16"/>
                <a:gd name="T36" fmla="*/ 2147483647 w 13"/>
                <a:gd name="T37" fmla="*/ 0 h 16"/>
                <a:gd name="T38" fmla="*/ 2147483647 w 13"/>
                <a:gd name="T39" fmla="*/ 2147483647 h 16"/>
                <a:gd name="T40" fmla="*/ 2147483647 w 13"/>
                <a:gd name="T41" fmla="*/ 2147483647 h 16"/>
                <a:gd name="T42" fmla="*/ 2147483647 w 13"/>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16"/>
                <a:gd name="T68" fmla="*/ 13 w 13"/>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16">
                  <a:moveTo>
                    <a:pt x="11" y="6"/>
                  </a:moveTo>
                  <a:lnTo>
                    <a:pt x="11" y="6"/>
                  </a:lnTo>
                  <a:lnTo>
                    <a:pt x="12" y="9"/>
                  </a:lnTo>
                  <a:lnTo>
                    <a:pt x="13" y="10"/>
                  </a:lnTo>
                  <a:lnTo>
                    <a:pt x="13" y="12"/>
                  </a:lnTo>
                  <a:lnTo>
                    <a:pt x="12" y="15"/>
                  </a:lnTo>
                  <a:lnTo>
                    <a:pt x="9" y="16"/>
                  </a:lnTo>
                  <a:lnTo>
                    <a:pt x="5" y="16"/>
                  </a:lnTo>
                  <a:lnTo>
                    <a:pt x="3" y="15"/>
                  </a:lnTo>
                  <a:lnTo>
                    <a:pt x="0" y="12"/>
                  </a:lnTo>
                  <a:lnTo>
                    <a:pt x="0" y="9"/>
                  </a:lnTo>
                  <a:lnTo>
                    <a:pt x="2" y="5"/>
                  </a:lnTo>
                  <a:lnTo>
                    <a:pt x="4" y="2"/>
                  </a:lnTo>
                  <a:lnTo>
                    <a:pt x="8" y="0"/>
                  </a:lnTo>
                  <a:lnTo>
                    <a:pt x="9" y="0"/>
                  </a:lnTo>
                  <a:lnTo>
                    <a:pt x="11" y="2"/>
                  </a:lnTo>
                  <a:lnTo>
                    <a:pt x="1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7" name="Freeform 266"/>
            <p:cNvSpPr>
              <a:spLocks/>
            </p:cNvSpPr>
            <p:nvPr/>
          </p:nvSpPr>
          <p:spPr bwMode="auto">
            <a:xfrm>
              <a:off x="8569326" y="5930904"/>
              <a:ext cx="23813" cy="22225"/>
            </a:xfrm>
            <a:custGeom>
              <a:avLst/>
              <a:gdLst>
                <a:gd name="T0" fmla="*/ 2147483647 w 16"/>
                <a:gd name="T1" fmla="*/ 2147483647 h 14"/>
                <a:gd name="T2" fmla="*/ 2147483647 w 16"/>
                <a:gd name="T3" fmla="*/ 2147483647 h 14"/>
                <a:gd name="T4" fmla="*/ 2147483647 w 16"/>
                <a:gd name="T5" fmla="*/ 2147483647 h 14"/>
                <a:gd name="T6" fmla="*/ 2147483647 w 16"/>
                <a:gd name="T7" fmla="*/ 0 h 14"/>
                <a:gd name="T8" fmla="*/ 2147483647 w 16"/>
                <a:gd name="T9" fmla="*/ 2147483647 h 14"/>
                <a:gd name="T10" fmla="*/ 2147483647 w 16"/>
                <a:gd name="T11" fmla="*/ 2147483647 h 14"/>
                <a:gd name="T12" fmla="*/ 2147483647 w 16"/>
                <a:gd name="T13" fmla="*/ 2147483647 h 14"/>
                <a:gd name="T14" fmla="*/ 0 w 16"/>
                <a:gd name="T15" fmla="*/ 2147483647 h 14"/>
                <a:gd name="T16" fmla="*/ 2147483647 w 16"/>
                <a:gd name="T17" fmla="*/ 2147483647 h 14"/>
                <a:gd name="T18" fmla="*/ 2147483647 w 16"/>
                <a:gd name="T19" fmla="*/ 2147483647 h 14"/>
                <a:gd name="T20" fmla="*/ 2147483647 w 16"/>
                <a:gd name="T21" fmla="*/ 2147483647 h 14"/>
                <a:gd name="T22" fmla="*/ 2147483647 w 16"/>
                <a:gd name="T23" fmla="*/ 2147483647 h 14"/>
                <a:gd name="T24" fmla="*/ 2147483647 w 16"/>
                <a:gd name="T25" fmla="*/ 2147483647 h 14"/>
                <a:gd name="T26" fmla="*/ 2147483647 w 16"/>
                <a:gd name="T27" fmla="*/ 2147483647 h 14"/>
                <a:gd name="T28" fmla="*/ 2147483647 w 16"/>
                <a:gd name="T29" fmla="*/ 2147483647 h 14"/>
                <a:gd name="T30" fmla="*/ 2147483647 w 16"/>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4"/>
                <a:gd name="T50" fmla="*/ 16 w 16"/>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4">
                  <a:moveTo>
                    <a:pt x="16" y="7"/>
                  </a:moveTo>
                  <a:lnTo>
                    <a:pt x="11" y="2"/>
                  </a:lnTo>
                  <a:lnTo>
                    <a:pt x="10" y="1"/>
                  </a:lnTo>
                  <a:lnTo>
                    <a:pt x="9" y="0"/>
                  </a:lnTo>
                  <a:lnTo>
                    <a:pt x="9" y="1"/>
                  </a:lnTo>
                  <a:lnTo>
                    <a:pt x="5" y="6"/>
                  </a:lnTo>
                  <a:lnTo>
                    <a:pt x="1" y="10"/>
                  </a:lnTo>
                  <a:lnTo>
                    <a:pt x="0" y="13"/>
                  </a:lnTo>
                  <a:lnTo>
                    <a:pt x="1" y="14"/>
                  </a:lnTo>
                  <a:lnTo>
                    <a:pt x="2" y="14"/>
                  </a:lnTo>
                  <a:lnTo>
                    <a:pt x="3" y="14"/>
                  </a:lnTo>
                  <a:lnTo>
                    <a:pt x="9" y="12"/>
                  </a:lnTo>
                  <a:lnTo>
                    <a:pt x="14" y="10"/>
                  </a:lnTo>
                  <a:lnTo>
                    <a:pt x="16" y="9"/>
                  </a:lnTo>
                  <a:lnTo>
                    <a:pt x="16" y="8"/>
                  </a:lnTo>
                  <a:lnTo>
                    <a:pt x="1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8" name="Freeform 267"/>
            <p:cNvSpPr>
              <a:spLocks/>
            </p:cNvSpPr>
            <p:nvPr/>
          </p:nvSpPr>
          <p:spPr bwMode="auto">
            <a:xfrm>
              <a:off x="8543927" y="5708650"/>
              <a:ext cx="201613" cy="223838"/>
            </a:xfrm>
            <a:custGeom>
              <a:avLst/>
              <a:gdLst>
                <a:gd name="T0" fmla="*/ 2147483647 w 137"/>
                <a:gd name="T1" fmla="*/ 2147483647 h 141"/>
                <a:gd name="T2" fmla="*/ 2147483647 w 137"/>
                <a:gd name="T3" fmla="*/ 2147483647 h 141"/>
                <a:gd name="T4" fmla="*/ 2147483647 w 137"/>
                <a:gd name="T5" fmla="*/ 2147483647 h 141"/>
                <a:gd name="T6" fmla="*/ 2147483647 w 137"/>
                <a:gd name="T7" fmla="*/ 2147483647 h 141"/>
                <a:gd name="T8" fmla="*/ 2147483647 w 137"/>
                <a:gd name="T9" fmla="*/ 2147483647 h 141"/>
                <a:gd name="T10" fmla="*/ 2147483647 w 137"/>
                <a:gd name="T11" fmla="*/ 2147483647 h 141"/>
                <a:gd name="T12" fmla="*/ 2147483647 w 137"/>
                <a:gd name="T13" fmla="*/ 2147483647 h 141"/>
                <a:gd name="T14" fmla="*/ 2147483647 w 137"/>
                <a:gd name="T15" fmla="*/ 2147483647 h 141"/>
                <a:gd name="T16" fmla="*/ 2147483647 w 137"/>
                <a:gd name="T17" fmla="*/ 2147483647 h 141"/>
                <a:gd name="T18" fmla="*/ 2147483647 w 137"/>
                <a:gd name="T19" fmla="*/ 2147483647 h 141"/>
                <a:gd name="T20" fmla="*/ 2147483647 w 137"/>
                <a:gd name="T21" fmla="*/ 2147483647 h 141"/>
                <a:gd name="T22" fmla="*/ 2147483647 w 137"/>
                <a:gd name="T23" fmla="*/ 2147483647 h 141"/>
                <a:gd name="T24" fmla="*/ 2147483647 w 137"/>
                <a:gd name="T25" fmla="*/ 2147483647 h 141"/>
                <a:gd name="T26" fmla="*/ 2147483647 w 137"/>
                <a:gd name="T27" fmla="*/ 2147483647 h 141"/>
                <a:gd name="T28" fmla="*/ 2147483647 w 137"/>
                <a:gd name="T29" fmla="*/ 2147483647 h 141"/>
                <a:gd name="T30" fmla="*/ 2147483647 w 137"/>
                <a:gd name="T31" fmla="*/ 2147483647 h 141"/>
                <a:gd name="T32" fmla="*/ 2147483647 w 137"/>
                <a:gd name="T33" fmla="*/ 2147483647 h 141"/>
                <a:gd name="T34" fmla="*/ 2147483647 w 137"/>
                <a:gd name="T35" fmla="*/ 2147483647 h 141"/>
                <a:gd name="T36" fmla="*/ 2147483647 w 137"/>
                <a:gd name="T37" fmla="*/ 2147483647 h 141"/>
                <a:gd name="T38" fmla="*/ 0 w 137"/>
                <a:gd name="T39" fmla="*/ 2147483647 h 141"/>
                <a:gd name="T40" fmla="*/ 2147483647 w 137"/>
                <a:gd name="T41" fmla="*/ 2147483647 h 141"/>
                <a:gd name="T42" fmla="*/ 2147483647 w 137"/>
                <a:gd name="T43" fmla="*/ 2147483647 h 141"/>
                <a:gd name="T44" fmla="*/ 2147483647 w 137"/>
                <a:gd name="T45" fmla="*/ 2147483647 h 141"/>
                <a:gd name="T46" fmla="*/ 2147483647 w 137"/>
                <a:gd name="T47" fmla="*/ 2147483647 h 141"/>
                <a:gd name="T48" fmla="*/ 2147483647 w 137"/>
                <a:gd name="T49" fmla="*/ 2147483647 h 141"/>
                <a:gd name="T50" fmla="*/ 2147483647 w 137"/>
                <a:gd name="T51" fmla="*/ 2147483647 h 141"/>
                <a:gd name="T52" fmla="*/ 2147483647 w 137"/>
                <a:gd name="T53" fmla="*/ 2147483647 h 141"/>
                <a:gd name="T54" fmla="*/ 2147483647 w 137"/>
                <a:gd name="T55" fmla="*/ 2147483647 h 141"/>
                <a:gd name="T56" fmla="*/ 2147483647 w 137"/>
                <a:gd name="T57" fmla="*/ 2147483647 h 141"/>
                <a:gd name="T58" fmla="*/ 2147483647 w 137"/>
                <a:gd name="T59" fmla="*/ 2147483647 h 141"/>
                <a:gd name="T60" fmla="*/ 2147483647 w 137"/>
                <a:gd name="T61" fmla="*/ 2147483647 h 141"/>
                <a:gd name="T62" fmla="*/ 2147483647 w 137"/>
                <a:gd name="T63" fmla="*/ 2147483647 h 141"/>
                <a:gd name="T64" fmla="*/ 2147483647 w 137"/>
                <a:gd name="T65" fmla="*/ 2147483647 h 141"/>
                <a:gd name="T66" fmla="*/ 2147483647 w 137"/>
                <a:gd name="T67" fmla="*/ 2147483647 h 141"/>
                <a:gd name="T68" fmla="*/ 2147483647 w 137"/>
                <a:gd name="T69" fmla="*/ 2147483647 h 141"/>
                <a:gd name="T70" fmla="*/ 2147483647 w 137"/>
                <a:gd name="T71" fmla="*/ 2147483647 h 141"/>
                <a:gd name="T72" fmla="*/ 2147483647 w 137"/>
                <a:gd name="T73" fmla="*/ 2147483647 h 141"/>
                <a:gd name="T74" fmla="*/ 2147483647 w 137"/>
                <a:gd name="T75" fmla="*/ 2147483647 h 141"/>
                <a:gd name="T76" fmla="*/ 2147483647 w 137"/>
                <a:gd name="T77" fmla="*/ 2147483647 h 141"/>
                <a:gd name="T78" fmla="*/ 2147483647 w 137"/>
                <a:gd name="T79" fmla="*/ 2147483647 h 141"/>
                <a:gd name="T80" fmla="*/ 2147483647 w 137"/>
                <a:gd name="T81" fmla="*/ 2147483647 h 141"/>
                <a:gd name="T82" fmla="*/ 2147483647 w 137"/>
                <a:gd name="T83" fmla="*/ 2147483647 h 141"/>
                <a:gd name="T84" fmla="*/ 2147483647 w 137"/>
                <a:gd name="T85" fmla="*/ 2147483647 h 141"/>
                <a:gd name="T86" fmla="*/ 2147483647 w 137"/>
                <a:gd name="T87" fmla="*/ 2147483647 h 1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7"/>
                <a:gd name="T133" fmla="*/ 0 h 141"/>
                <a:gd name="T134" fmla="*/ 137 w 137"/>
                <a:gd name="T135" fmla="*/ 141 h 1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7" h="141">
                  <a:moveTo>
                    <a:pt x="136" y="26"/>
                  </a:moveTo>
                  <a:lnTo>
                    <a:pt x="131" y="31"/>
                  </a:lnTo>
                  <a:lnTo>
                    <a:pt x="128" y="35"/>
                  </a:lnTo>
                  <a:lnTo>
                    <a:pt x="125" y="46"/>
                  </a:lnTo>
                  <a:lnTo>
                    <a:pt x="122" y="51"/>
                  </a:lnTo>
                  <a:lnTo>
                    <a:pt x="118" y="56"/>
                  </a:lnTo>
                  <a:lnTo>
                    <a:pt x="116" y="59"/>
                  </a:lnTo>
                  <a:lnTo>
                    <a:pt x="113" y="64"/>
                  </a:lnTo>
                  <a:lnTo>
                    <a:pt x="113" y="66"/>
                  </a:lnTo>
                  <a:lnTo>
                    <a:pt x="113" y="69"/>
                  </a:lnTo>
                  <a:lnTo>
                    <a:pt x="114" y="71"/>
                  </a:lnTo>
                  <a:lnTo>
                    <a:pt x="116" y="74"/>
                  </a:lnTo>
                  <a:lnTo>
                    <a:pt x="114" y="76"/>
                  </a:lnTo>
                  <a:lnTo>
                    <a:pt x="113" y="77"/>
                  </a:lnTo>
                  <a:lnTo>
                    <a:pt x="107" y="76"/>
                  </a:lnTo>
                  <a:lnTo>
                    <a:pt x="104" y="77"/>
                  </a:lnTo>
                  <a:lnTo>
                    <a:pt x="100" y="78"/>
                  </a:lnTo>
                  <a:lnTo>
                    <a:pt x="97" y="82"/>
                  </a:lnTo>
                  <a:lnTo>
                    <a:pt x="92" y="85"/>
                  </a:lnTo>
                  <a:lnTo>
                    <a:pt x="88" y="90"/>
                  </a:lnTo>
                  <a:lnTo>
                    <a:pt x="85" y="91"/>
                  </a:lnTo>
                  <a:lnTo>
                    <a:pt x="85" y="92"/>
                  </a:lnTo>
                  <a:lnTo>
                    <a:pt x="84" y="99"/>
                  </a:lnTo>
                  <a:lnTo>
                    <a:pt x="81" y="107"/>
                  </a:lnTo>
                  <a:lnTo>
                    <a:pt x="78" y="112"/>
                  </a:lnTo>
                  <a:lnTo>
                    <a:pt x="74" y="118"/>
                  </a:lnTo>
                  <a:lnTo>
                    <a:pt x="65" y="128"/>
                  </a:lnTo>
                  <a:lnTo>
                    <a:pt x="56" y="137"/>
                  </a:lnTo>
                  <a:lnTo>
                    <a:pt x="52" y="140"/>
                  </a:lnTo>
                  <a:lnTo>
                    <a:pt x="48" y="141"/>
                  </a:lnTo>
                  <a:lnTo>
                    <a:pt x="43" y="141"/>
                  </a:lnTo>
                  <a:lnTo>
                    <a:pt x="39" y="141"/>
                  </a:lnTo>
                  <a:lnTo>
                    <a:pt x="29" y="135"/>
                  </a:lnTo>
                  <a:lnTo>
                    <a:pt x="18" y="129"/>
                  </a:lnTo>
                  <a:lnTo>
                    <a:pt x="14" y="129"/>
                  </a:lnTo>
                  <a:lnTo>
                    <a:pt x="10" y="129"/>
                  </a:lnTo>
                  <a:lnTo>
                    <a:pt x="6" y="128"/>
                  </a:lnTo>
                  <a:lnTo>
                    <a:pt x="3" y="125"/>
                  </a:lnTo>
                  <a:lnTo>
                    <a:pt x="1" y="123"/>
                  </a:lnTo>
                  <a:lnTo>
                    <a:pt x="0" y="122"/>
                  </a:lnTo>
                  <a:lnTo>
                    <a:pt x="1" y="117"/>
                  </a:lnTo>
                  <a:lnTo>
                    <a:pt x="4" y="112"/>
                  </a:lnTo>
                  <a:lnTo>
                    <a:pt x="8" y="109"/>
                  </a:lnTo>
                  <a:lnTo>
                    <a:pt x="19" y="97"/>
                  </a:lnTo>
                  <a:lnTo>
                    <a:pt x="26" y="91"/>
                  </a:lnTo>
                  <a:lnTo>
                    <a:pt x="31" y="84"/>
                  </a:lnTo>
                  <a:lnTo>
                    <a:pt x="33" y="80"/>
                  </a:lnTo>
                  <a:lnTo>
                    <a:pt x="37" y="78"/>
                  </a:lnTo>
                  <a:lnTo>
                    <a:pt x="45" y="76"/>
                  </a:lnTo>
                  <a:lnTo>
                    <a:pt x="53" y="74"/>
                  </a:lnTo>
                  <a:lnTo>
                    <a:pt x="57" y="73"/>
                  </a:lnTo>
                  <a:lnTo>
                    <a:pt x="62" y="70"/>
                  </a:lnTo>
                  <a:lnTo>
                    <a:pt x="67" y="66"/>
                  </a:lnTo>
                  <a:lnTo>
                    <a:pt x="72" y="60"/>
                  </a:lnTo>
                  <a:lnTo>
                    <a:pt x="78" y="54"/>
                  </a:lnTo>
                  <a:lnTo>
                    <a:pt x="80" y="47"/>
                  </a:lnTo>
                  <a:lnTo>
                    <a:pt x="83" y="41"/>
                  </a:lnTo>
                  <a:lnTo>
                    <a:pt x="86" y="37"/>
                  </a:lnTo>
                  <a:lnTo>
                    <a:pt x="97" y="27"/>
                  </a:lnTo>
                  <a:lnTo>
                    <a:pt x="98" y="25"/>
                  </a:lnTo>
                  <a:lnTo>
                    <a:pt x="98" y="22"/>
                  </a:lnTo>
                  <a:lnTo>
                    <a:pt x="99" y="15"/>
                  </a:lnTo>
                  <a:lnTo>
                    <a:pt x="100" y="12"/>
                  </a:lnTo>
                  <a:lnTo>
                    <a:pt x="103" y="9"/>
                  </a:lnTo>
                  <a:lnTo>
                    <a:pt x="111" y="3"/>
                  </a:lnTo>
                  <a:lnTo>
                    <a:pt x="114" y="1"/>
                  </a:lnTo>
                  <a:lnTo>
                    <a:pt x="117" y="0"/>
                  </a:lnTo>
                  <a:lnTo>
                    <a:pt x="118" y="1"/>
                  </a:lnTo>
                  <a:lnTo>
                    <a:pt x="118" y="3"/>
                  </a:lnTo>
                  <a:lnTo>
                    <a:pt x="116" y="5"/>
                  </a:lnTo>
                  <a:lnTo>
                    <a:pt x="114" y="6"/>
                  </a:lnTo>
                  <a:lnTo>
                    <a:pt x="112" y="7"/>
                  </a:lnTo>
                  <a:lnTo>
                    <a:pt x="112" y="8"/>
                  </a:lnTo>
                  <a:lnTo>
                    <a:pt x="114" y="13"/>
                  </a:lnTo>
                  <a:lnTo>
                    <a:pt x="114" y="16"/>
                  </a:lnTo>
                  <a:lnTo>
                    <a:pt x="116" y="19"/>
                  </a:lnTo>
                  <a:lnTo>
                    <a:pt x="119" y="18"/>
                  </a:lnTo>
                  <a:lnTo>
                    <a:pt x="122" y="16"/>
                  </a:lnTo>
                  <a:lnTo>
                    <a:pt x="125" y="14"/>
                  </a:lnTo>
                  <a:lnTo>
                    <a:pt x="128" y="13"/>
                  </a:lnTo>
                  <a:lnTo>
                    <a:pt x="131" y="13"/>
                  </a:lnTo>
                  <a:lnTo>
                    <a:pt x="135" y="14"/>
                  </a:lnTo>
                  <a:lnTo>
                    <a:pt x="137" y="16"/>
                  </a:lnTo>
                  <a:lnTo>
                    <a:pt x="137" y="18"/>
                  </a:lnTo>
                  <a:lnTo>
                    <a:pt x="137" y="19"/>
                  </a:lnTo>
                  <a:lnTo>
                    <a:pt x="137" y="22"/>
                  </a:lnTo>
                  <a:lnTo>
                    <a:pt x="137" y="25"/>
                  </a:lnTo>
                  <a:lnTo>
                    <a:pt x="136"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69" name="Freeform 268"/>
            <p:cNvSpPr>
              <a:spLocks/>
            </p:cNvSpPr>
            <p:nvPr/>
          </p:nvSpPr>
          <p:spPr bwMode="auto">
            <a:xfrm>
              <a:off x="8566151" y="5929317"/>
              <a:ext cx="25400" cy="22225"/>
            </a:xfrm>
            <a:custGeom>
              <a:avLst/>
              <a:gdLst>
                <a:gd name="T0" fmla="*/ 2147483647 w 17"/>
                <a:gd name="T1" fmla="*/ 2147483647 h 14"/>
                <a:gd name="T2" fmla="*/ 2147483647 w 17"/>
                <a:gd name="T3" fmla="*/ 2147483647 h 14"/>
                <a:gd name="T4" fmla="*/ 2147483647 w 17"/>
                <a:gd name="T5" fmla="*/ 2147483647 h 14"/>
                <a:gd name="T6" fmla="*/ 2147483647 w 17"/>
                <a:gd name="T7" fmla="*/ 2147483647 h 14"/>
                <a:gd name="T8" fmla="*/ 2147483647 w 17"/>
                <a:gd name="T9" fmla="*/ 0 h 14"/>
                <a:gd name="T10" fmla="*/ 2147483647 w 17"/>
                <a:gd name="T11" fmla="*/ 2147483647 h 14"/>
                <a:gd name="T12" fmla="*/ 2147483647 w 17"/>
                <a:gd name="T13" fmla="*/ 2147483647 h 14"/>
                <a:gd name="T14" fmla="*/ 2147483647 w 17"/>
                <a:gd name="T15" fmla="*/ 2147483647 h 14"/>
                <a:gd name="T16" fmla="*/ 2147483647 w 17"/>
                <a:gd name="T17" fmla="*/ 2147483647 h 14"/>
                <a:gd name="T18" fmla="*/ 2147483647 w 17"/>
                <a:gd name="T19" fmla="*/ 2147483647 h 14"/>
                <a:gd name="T20" fmla="*/ 0 w 17"/>
                <a:gd name="T21" fmla="*/ 2147483647 h 14"/>
                <a:gd name="T22" fmla="*/ 2147483647 w 17"/>
                <a:gd name="T23" fmla="*/ 2147483647 h 14"/>
                <a:gd name="T24" fmla="*/ 2147483647 w 17"/>
                <a:gd name="T25" fmla="*/ 2147483647 h 14"/>
                <a:gd name="T26" fmla="*/ 2147483647 w 17"/>
                <a:gd name="T27" fmla="*/ 2147483647 h 14"/>
                <a:gd name="T28" fmla="*/ 2147483647 w 17"/>
                <a:gd name="T29" fmla="*/ 2147483647 h 14"/>
                <a:gd name="T30" fmla="*/ 2147483647 w 17"/>
                <a:gd name="T31" fmla="*/ 2147483647 h 14"/>
                <a:gd name="T32" fmla="*/ 2147483647 w 17"/>
                <a:gd name="T33" fmla="*/ 2147483647 h 14"/>
                <a:gd name="T34" fmla="*/ 2147483647 w 17"/>
                <a:gd name="T35" fmla="*/ 2147483647 h 14"/>
                <a:gd name="T36" fmla="*/ 2147483647 w 17"/>
                <a:gd name="T37" fmla="*/ 2147483647 h 14"/>
                <a:gd name="T38" fmla="*/ 2147483647 w 17"/>
                <a:gd name="T39" fmla="*/ 2147483647 h 14"/>
                <a:gd name="T40" fmla="*/ 2147483647 w 17"/>
                <a:gd name="T41" fmla="*/ 2147483647 h 14"/>
                <a:gd name="T42" fmla="*/ 2147483647 w 17"/>
                <a:gd name="T43" fmla="*/ 2147483647 h 14"/>
                <a:gd name="T44" fmla="*/ 2147483647 w 17"/>
                <a:gd name="T45" fmla="*/ 2147483647 h 14"/>
                <a:gd name="T46" fmla="*/ 2147483647 w 17"/>
                <a:gd name="T47" fmla="*/ 2147483647 h 14"/>
                <a:gd name="T48" fmla="*/ 2147483647 w 17"/>
                <a:gd name="T49" fmla="*/ 2147483647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
                <a:gd name="T76" fmla="*/ 0 h 14"/>
                <a:gd name="T77" fmla="*/ 17 w 17"/>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 h="14">
                  <a:moveTo>
                    <a:pt x="17" y="7"/>
                  </a:moveTo>
                  <a:lnTo>
                    <a:pt x="17" y="7"/>
                  </a:lnTo>
                  <a:lnTo>
                    <a:pt x="12" y="2"/>
                  </a:lnTo>
                  <a:lnTo>
                    <a:pt x="11" y="1"/>
                  </a:lnTo>
                  <a:lnTo>
                    <a:pt x="9" y="0"/>
                  </a:lnTo>
                  <a:lnTo>
                    <a:pt x="9" y="1"/>
                  </a:lnTo>
                  <a:lnTo>
                    <a:pt x="5" y="5"/>
                  </a:lnTo>
                  <a:lnTo>
                    <a:pt x="2" y="10"/>
                  </a:lnTo>
                  <a:lnTo>
                    <a:pt x="0" y="13"/>
                  </a:lnTo>
                  <a:lnTo>
                    <a:pt x="2" y="14"/>
                  </a:lnTo>
                  <a:lnTo>
                    <a:pt x="3" y="14"/>
                  </a:lnTo>
                  <a:lnTo>
                    <a:pt x="4" y="14"/>
                  </a:lnTo>
                  <a:lnTo>
                    <a:pt x="9" y="11"/>
                  </a:lnTo>
                  <a:lnTo>
                    <a:pt x="14" y="10"/>
                  </a:lnTo>
                  <a:lnTo>
                    <a:pt x="17" y="9"/>
                  </a:lnTo>
                  <a:lnTo>
                    <a:pt x="17" y="8"/>
                  </a:lnTo>
                  <a:lnTo>
                    <a:pt x="17"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0" name="Freeform 269"/>
            <p:cNvSpPr>
              <a:spLocks/>
            </p:cNvSpPr>
            <p:nvPr/>
          </p:nvSpPr>
          <p:spPr bwMode="auto">
            <a:xfrm>
              <a:off x="8543929" y="5707068"/>
              <a:ext cx="200025" cy="223837"/>
            </a:xfrm>
            <a:custGeom>
              <a:avLst/>
              <a:gdLst>
                <a:gd name="T0" fmla="*/ 2147483647 w 137"/>
                <a:gd name="T1" fmla="*/ 2147483647 h 141"/>
                <a:gd name="T2" fmla="*/ 2147483647 w 137"/>
                <a:gd name="T3" fmla="*/ 2147483647 h 141"/>
                <a:gd name="T4" fmla="*/ 2147483647 w 137"/>
                <a:gd name="T5" fmla="*/ 2147483647 h 141"/>
                <a:gd name="T6" fmla="*/ 2147483647 w 137"/>
                <a:gd name="T7" fmla="*/ 2147483647 h 141"/>
                <a:gd name="T8" fmla="*/ 2147483647 w 137"/>
                <a:gd name="T9" fmla="*/ 2147483647 h 141"/>
                <a:gd name="T10" fmla="*/ 2147483647 w 137"/>
                <a:gd name="T11" fmla="*/ 2147483647 h 141"/>
                <a:gd name="T12" fmla="*/ 2147483647 w 137"/>
                <a:gd name="T13" fmla="*/ 2147483647 h 141"/>
                <a:gd name="T14" fmla="*/ 2147483647 w 137"/>
                <a:gd name="T15" fmla="*/ 2147483647 h 141"/>
                <a:gd name="T16" fmla="*/ 2147483647 w 137"/>
                <a:gd name="T17" fmla="*/ 2147483647 h 141"/>
                <a:gd name="T18" fmla="*/ 2147483647 w 137"/>
                <a:gd name="T19" fmla="*/ 2147483647 h 141"/>
                <a:gd name="T20" fmla="*/ 2147483647 w 137"/>
                <a:gd name="T21" fmla="*/ 2147483647 h 141"/>
                <a:gd name="T22" fmla="*/ 2147483647 w 137"/>
                <a:gd name="T23" fmla="*/ 2147483647 h 141"/>
                <a:gd name="T24" fmla="*/ 2147483647 w 137"/>
                <a:gd name="T25" fmla="*/ 2147483647 h 141"/>
                <a:gd name="T26" fmla="*/ 2147483647 w 137"/>
                <a:gd name="T27" fmla="*/ 2147483647 h 141"/>
                <a:gd name="T28" fmla="*/ 2147483647 w 137"/>
                <a:gd name="T29" fmla="*/ 2147483647 h 141"/>
                <a:gd name="T30" fmla="*/ 2147483647 w 137"/>
                <a:gd name="T31" fmla="*/ 2147483647 h 141"/>
                <a:gd name="T32" fmla="*/ 2147483647 w 137"/>
                <a:gd name="T33" fmla="*/ 2147483647 h 141"/>
                <a:gd name="T34" fmla="*/ 2147483647 w 137"/>
                <a:gd name="T35" fmla="*/ 2147483647 h 141"/>
                <a:gd name="T36" fmla="*/ 2147483647 w 137"/>
                <a:gd name="T37" fmla="*/ 2147483647 h 141"/>
                <a:gd name="T38" fmla="*/ 2147483647 w 137"/>
                <a:gd name="T39" fmla="*/ 2147483647 h 141"/>
                <a:gd name="T40" fmla="*/ 2147483647 w 137"/>
                <a:gd name="T41" fmla="*/ 2147483647 h 141"/>
                <a:gd name="T42" fmla="*/ 2147483647 w 137"/>
                <a:gd name="T43" fmla="*/ 2147483647 h 141"/>
                <a:gd name="T44" fmla="*/ 2147483647 w 137"/>
                <a:gd name="T45" fmla="*/ 2147483647 h 141"/>
                <a:gd name="T46" fmla="*/ 2147483647 w 137"/>
                <a:gd name="T47" fmla="*/ 2147483647 h 141"/>
                <a:gd name="T48" fmla="*/ 2147483647 w 137"/>
                <a:gd name="T49" fmla="*/ 2147483647 h 141"/>
                <a:gd name="T50" fmla="*/ 0 w 137"/>
                <a:gd name="T51" fmla="*/ 2147483647 h 141"/>
                <a:gd name="T52" fmla="*/ 2147483647 w 137"/>
                <a:gd name="T53" fmla="*/ 2147483647 h 141"/>
                <a:gd name="T54" fmla="*/ 2147483647 w 137"/>
                <a:gd name="T55" fmla="*/ 2147483647 h 141"/>
                <a:gd name="T56" fmla="*/ 2147483647 w 137"/>
                <a:gd name="T57" fmla="*/ 2147483647 h 141"/>
                <a:gd name="T58" fmla="*/ 2147483647 w 137"/>
                <a:gd name="T59" fmla="*/ 2147483647 h 141"/>
                <a:gd name="T60" fmla="*/ 2147483647 w 137"/>
                <a:gd name="T61" fmla="*/ 2147483647 h 141"/>
                <a:gd name="T62" fmla="*/ 2147483647 w 137"/>
                <a:gd name="T63" fmla="*/ 2147483647 h 141"/>
                <a:gd name="T64" fmla="*/ 2147483647 w 137"/>
                <a:gd name="T65" fmla="*/ 2147483647 h 141"/>
                <a:gd name="T66" fmla="*/ 2147483647 w 137"/>
                <a:gd name="T67" fmla="*/ 2147483647 h 141"/>
                <a:gd name="T68" fmla="*/ 2147483647 w 137"/>
                <a:gd name="T69" fmla="*/ 2147483647 h 141"/>
                <a:gd name="T70" fmla="*/ 2147483647 w 137"/>
                <a:gd name="T71" fmla="*/ 2147483647 h 141"/>
                <a:gd name="T72" fmla="*/ 2147483647 w 137"/>
                <a:gd name="T73" fmla="*/ 2147483647 h 141"/>
                <a:gd name="T74" fmla="*/ 2147483647 w 137"/>
                <a:gd name="T75" fmla="*/ 2147483647 h 141"/>
                <a:gd name="T76" fmla="*/ 2147483647 w 137"/>
                <a:gd name="T77" fmla="*/ 2147483647 h 141"/>
                <a:gd name="T78" fmla="*/ 2147483647 w 137"/>
                <a:gd name="T79" fmla="*/ 2147483647 h 141"/>
                <a:gd name="T80" fmla="*/ 2147483647 w 137"/>
                <a:gd name="T81" fmla="*/ 2147483647 h 141"/>
                <a:gd name="T82" fmla="*/ 2147483647 w 137"/>
                <a:gd name="T83" fmla="*/ 2147483647 h 141"/>
                <a:gd name="T84" fmla="*/ 2147483647 w 137"/>
                <a:gd name="T85" fmla="*/ 2147483647 h 141"/>
                <a:gd name="T86" fmla="*/ 2147483647 w 137"/>
                <a:gd name="T87" fmla="*/ 2147483647 h 141"/>
                <a:gd name="T88" fmla="*/ 2147483647 w 137"/>
                <a:gd name="T89" fmla="*/ 2147483647 h 141"/>
                <a:gd name="T90" fmla="*/ 2147483647 w 137"/>
                <a:gd name="T91" fmla="*/ 2147483647 h 141"/>
                <a:gd name="T92" fmla="*/ 2147483647 w 137"/>
                <a:gd name="T93" fmla="*/ 2147483647 h 141"/>
                <a:gd name="T94" fmla="*/ 2147483647 w 137"/>
                <a:gd name="T95" fmla="*/ 2147483647 h 141"/>
                <a:gd name="T96" fmla="*/ 2147483647 w 137"/>
                <a:gd name="T97" fmla="*/ 2147483647 h 141"/>
                <a:gd name="T98" fmla="*/ 2147483647 w 137"/>
                <a:gd name="T99" fmla="*/ 2147483647 h 141"/>
                <a:gd name="T100" fmla="*/ 2147483647 w 137"/>
                <a:gd name="T101" fmla="*/ 2147483647 h 141"/>
                <a:gd name="T102" fmla="*/ 2147483647 w 137"/>
                <a:gd name="T103" fmla="*/ 2147483647 h 141"/>
                <a:gd name="T104" fmla="*/ 2147483647 w 137"/>
                <a:gd name="T105" fmla="*/ 2147483647 h 141"/>
                <a:gd name="T106" fmla="*/ 2147483647 w 137"/>
                <a:gd name="T107" fmla="*/ 2147483647 h 141"/>
                <a:gd name="T108" fmla="*/ 2147483647 w 137"/>
                <a:gd name="T109" fmla="*/ 2147483647 h 141"/>
                <a:gd name="T110" fmla="*/ 2147483647 w 137"/>
                <a:gd name="T111" fmla="*/ 2147483647 h 141"/>
                <a:gd name="T112" fmla="*/ 2147483647 w 137"/>
                <a:gd name="T113" fmla="*/ 2147483647 h 141"/>
                <a:gd name="T114" fmla="*/ 2147483647 w 137"/>
                <a:gd name="T115" fmla="*/ 2147483647 h 14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7"/>
                <a:gd name="T175" fmla="*/ 0 h 141"/>
                <a:gd name="T176" fmla="*/ 137 w 137"/>
                <a:gd name="T177" fmla="*/ 141 h 14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7" h="141">
                  <a:moveTo>
                    <a:pt x="136" y="26"/>
                  </a:moveTo>
                  <a:lnTo>
                    <a:pt x="136" y="26"/>
                  </a:lnTo>
                  <a:lnTo>
                    <a:pt x="131" y="30"/>
                  </a:lnTo>
                  <a:lnTo>
                    <a:pt x="128" y="35"/>
                  </a:lnTo>
                  <a:lnTo>
                    <a:pt x="124" y="46"/>
                  </a:lnTo>
                  <a:lnTo>
                    <a:pt x="122" y="51"/>
                  </a:lnTo>
                  <a:lnTo>
                    <a:pt x="118" y="55"/>
                  </a:lnTo>
                  <a:lnTo>
                    <a:pt x="115" y="59"/>
                  </a:lnTo>
                  <a:lnTo>
                    <a:pt x="113" y="64"/>
                  </a:lnTo>
                  <a:lnTo>
                    <a:pt x="113" y="66"/>
                  </a:lnTo>
                  <a:lnTo>
                    <a:pt x="113" y="68"/>
                  </a:lnTo>
                  <a:lnTo>
                    <a:pt x="114" y="71"/>
                  </a:lnTo>
                  <a:lnTo>
                    <a:pt x="115" y="74"/>
                  </a:lnTo>
                  <a:lnTo>
                    <a:pt x="114" y="75"/>
                  </a:lnTo>
                  <a:lnTo>
                    <a:pt x="113" y="77"/>
                  </a:lnTo>
                  <a:lnTo>
                    <a:pt x="107" y="75"/>
                  </a:lnTo>
                  <a:lnTo>
                    <a:pt x="104" y="77"/>
                  </a:lnTo>
                  <a:lnTo>
                    <a:pt x="100" y="78"/>
                  </a:lnTo>
                  <a:lnTo>
                    <a:pt x="96" y="81"/>
                  </a:lnTo>
                  <a:lnTo>
                    <a:pt x="91" y="85"/>
                  </a:lnTo>
                  <a:lnTo>
                    <a:pt x="87" y="90"/>
                  </a:lnTo>
                  <a:lnTo>
                    <a:pt x="85" y="91"/>
                  </a:lnTo>
                  <a:lnTo>
                    <a:pt x="85" y="92"/>
                  </a:lnTo>
                  <a:lnTo>
                    <a:pt x="84" y="99"/>
                  </a:lnTo>
                  <a:lnTo>
                    <a:pt x="81" y="106"/>
                  </a:lnTo>
                  <a:lnTo>
                    <a:pt x="77" y="112"/>
                  </a:lnTo>
                  <a:lnTo>
                    <a:pt x="73" y="118"/>
                  </a:lnTo>
                  <a:lnTo>
                    <a:pt x="65" y="128"/>
                  </a:lnTo>
                  <a:lnTo>
                    <a:pt x="56" y="137"/>
                  </a:lnTo>
                  <a:lnTo>
                    <a:pt x="52" y="140"/>
                  </a:lnTo>
                  <a:lnTo>
                    <a:pt x="48" y="141"/>
                  </a:lnTo>
                  <a:lnTo>
                    <a:pt x="43" y="141"/>
                  </a:lnTo>
                  <a:lnTo>
                    <a:pt x="39" y="141"/>
                  </a:lnTo>
                  <a:lnTo>
                    <a:pt x="29" y="135"/>
                  </a:lnTo>
                  <a:lnTo>
                    <a:pt x="18" y="129"/>
                  </a:lnTo>
                  <a:lnTo>
                    <a:pt x="14" y="129"/>
                  </a:lnTo>
                  <a:lnTo>
                    <a:pt x="10" y="129"/>
                  </a:lnTo>
                  <a:lnTo>
                    <a:pt x="6" y="128"/>
                  </a:lnTo>
                  <a:lnTo>
                    <a:pt x="2" y="125"/>
                  </a:lnTo>
                  <a:lnTo>
                    <a:pt x="1" y="123"/>
                  </a:lnTo>
                  <a:lnTo>
                    <a:pt x="0" y="122"/>
                  </a:lnTo>
                  <a:lnTo>
                    <a:pt x="1" y="117"/>
                  </a:lnTo>
                  <a:lnTo>
                    <a:pt x="4" y="112"/>
                  </a:lnTo>
                  <a:lnTo>
                    <a:pt x="7" y="109"/>
                  </a:lnTo>
                  <a:lnTo>
                    <a:pt x="19" y="97"/>
                  </a:lnTo>
                  <a:lnTo>
                    <a:pt x="25" y="91"/>
                  </a:lnTo>
                  <a:lnTo>
                    <a:pt x="30" y="84"/>
                  </a:lnTo>
                  <a:lnTo>
                    <a:pt x="33" y="80"/>
                  </a:lnTo>
                  <a:lnTo>
                    <a:pt x="37" y="78"/>
                  </a:lnTo>
                  <a:lnTo>
                    <a:pt x="44" y="75"/>
                  </a:lnTo>
                  <a:lnTo>
                    <a:pt x="53" y="74"/>
                  </a:lnTo>
                  <a:lnTo>
                    <a:pt x="57" y="73"/>
                  </a:lnTo>
                  <a:lnTo>
                    <a:pt x="62" y="70"/>
                  </a:lnTo>
                  <a:lnTo>
                    <a:pt x="67" y="66"/>
                  </a:lnTo>
                  <a:lnTo>
                    <a:pt x="72" y="60"/>
                  </a:lnTo>
                  <a:lnTo>
                    <a:pt x="77" y="54"/>
                  </a:lnTo>
                  <a:lnTo>
                    <a:pt x="80" y="47"/>
                  </a:lnTo>
                  <a:lnTo>
                    <a:pt x="82" y="41"/>
                  </a:lnTo>
                  <a:lnTo>
                    <a:pt x="86" y="36"/>
                  </a:lnTo>
                  <a:lnTo>
                    <a:pt x="96" y="27"/>
                  </a:lnTo>
                  <a:lnTo>
                    <a:pt x="98" y="25"/>
                  </a:lnTo>
                  <a:lnTo>
                    <a:pt x="98" y="22"/>
                  </a:lnTo>
                  <a:lnTo>
                    <a:pt x="99" y="15"/>
                  </a:lnTo>
                  <a:lnTo>
                    <a:pt x="100" y="11"/>
                  </a:lnTo>
                  <a:lnTo>
                    <a:pt x="103" y="9"/>
                  </a:lnTo>
                  <a:lnTo>
                    <a:pt x="110" y="3"/>
                  </a:lnTo>
                  <a:lnTo>
                    <a:pt x="114" y="1"/>
                  </a:lnTo>
                  <a:lnTo>
                    <a:pt x="117" y="0"/>
                  </a:lnTo>
                  <a:lnTo>
                    <a:pt x="118" y="1"/>
                  </a:lnTo>
                  <a:lnTo>
                    <a:pt x="118" y="3"/>
                  </a:lnTo>
                  <a:lnTo>
                    <a:pt x="115" y="4"/>
                  </a:lnTo>
                  <a:lnTo>
                    <a:pt x="114" y="6"/>
                  </a:lnTo>
                  <a:lnTo>
                    <a:pt x="112" y="7"/>
                  </a:lnTo>
                  <a:lnTo>
                    <a:pt x="112" y="8"/>
                  </a:lnTo>
                  <a:lnTo>
                    <a:pt x="114" y="13"/>
                  </a:lnTo>
                  <a:lnTo>
                    <a:pt x="114" y="16"/>
                  </a:lnTo>
                  <a:lnTo>
                    <a:pt x="115" y="19"/>
                  </a:lnTo>
                  <a:lnTo>
                    <a:pt x="119" y="17"/>
                  </a:lnTo>
                  <a:lnTo>
                    <a:pt x="122" y="16"/>
                  </a:lnTo>
                  <a:lnTo>
                    <a:pt x="124" y="14"/>
                  </a:lnTo>
                  <a:lnTo>
                    <a:pt x="128" y="13"/>
                  </a:lnTo>
                  <a:lnTo>
                    <a:pt x="131" y="13"/>
                  </a:lnTo>
                  <a:lnTo>
                    <a:pt x="134" y="14"/>
                  </a:lnTo>
                  <a:lnTo>
                    <a:pt x="137" y="16"/>
                  </a:lnTo>
                  <a:lnTo>
                    <a:pt x="137" y="17"/>
                  </a:lnTo>
                  <a:lnTo>
                    <a:pt x="137" y="19"/>
                  </a:lnTo>
                  <a:lnTo>
                    <a:pt x="137" y="22"/>
                  </a:lnTo>
                  <a:lnTo>
                    <a:pt x="137" y="25"/>
                  </a:lnTo>
                  <a:lnTo>
                    <a:pt x="136" y="2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1" name="Freeform 270"/>
            <p:cNvSpPr>
              <a:spLocks/>
            </p:cNvSpPr>
            <p:nvPr/>
          </p:nvSpPr>
          <p:spPr bwMode="auto">
            <a:xfrm>
              <a:off x="8704267" y="5495928"/>
              <a:ext cx="155575" cy="242888"/>
            </a:xfrm>
            <a:custGeom>
              <a:avLst/>
              <a:gdLst>
                <a:gd name="T0" fmla="*/ 2147483647 w 106"/>
                <a:gd name="T1" fmla="*/ 2147483647 h 153"/>
                <a:gd name="T2" fmla="*/ 2147483647 w 106"/>
                <a:gd name="T3" fmla="*/ 2147483647 h 153"/>
                <a:gd name="T4" fmla="*/ 2147483647 w 106"/>
                <a:gd name="T5" fmla="*/ 2147483647 h 153"/>
                <a:gd name="T6" fmla="*/ 2147483647 w 106"/>
                <a:gd name="T7" fmla="*/ 2147483647 h 153"/>
                <a:gd name="T8" fmla="*/ 2147483647 w 106"/>
                <a:gd name="T9" fmla="*/ 2147483647 h 153"/>
                <a:gd name="T10" fmla="*/ 2147483647 w 106"/>
                <a:gd name="T11" fmla="*/ 2147483647 h 153"/>
                <a:gd name="T12" fmla="*/ 2147483647 w 106"/>
                <a:gd name="T13" fmla="*/ 2147483647 h 153"/>
                <a:gd name="T14" fmla="*/ 2147483647 w 106"/>
                <a:gd name="T15" fmla="*/ 2147483647 h 153"/>
                <a:gd name="T16" fmla="*/ 2147483647 w 106"/>
                <a:gd name="T17" fmla="*/ 2147483647 h 153"/>
                <a:gd name="T18" fmla="*/ 2147483647 w 106"/>
                <a:gd name="T19" fmla="*/ 2147483647 h 153"/>
                <a:gd name="T20" fmla="*/ 2147483647 w 106"/>
                <a:gd name="T21" fmla="*/ 2147483647 h 153"/>
                <a:gd name="T22" fmla="*/ 2147483647 w 106"/>
                <a:gd name="T23" fmla="*/ 2147483647 h 153"/>
                <a:gd name="T24" fmla="*/ 2147483647 w 106"/>
                <a:gd name="T25" fmla="*/ 2147483647 h 153"/>
                <a:gd name="T26" fmla="*/ 2147483647 w 106"/>
                <a:gd name="T27" fmla="*/ 2147483647 h 153"/>
                <a:gd name="T28" fmla="*/ 2147483647 w 106"/>
                <a:gd name="T29" fmla="*/ 2147483647 h 153"/>
                <a:gd name="T30" fmla="*/ 2147483647 w 106"/>
                <a:gd name="T31" fmla="*/ 2147483647 h 153"/>
                <a:gd name="T32" fmla="*/ 2147483647 w 106"/>
                <a:gd name="T33" fmla="*/ 2147483647 h 153"/>
                <a:gd name="T34" fmla="*/ 2147483647 w 106"/>
                <a:gd name="T35" fmla="*/ 2147483647 h 153"/>
                <a:gd name="T36" fmla="*/ 2147483647 w 106"/>
                <a:gd name="T37" fmla="*/ 2147483647 h 153"/>
                <a:gd name="T38" fmla="*/ 2147483647 w 106"/>
                <a:gd name="T39" fmla="*/ 2147483647 h 153"/>
                <a:gd name="T40" fmla="*/ 2147483647 w 106"/>
                <a:gd name="T41" fmla="*/ 2147483647 h 153"/>
                <a:gd name="T42" fmla="*/ 2147483647 w 106"/>
                <a:gd name="T43" fmla="*/ 0 h 153"/>
                <a:gd name="T44" fmla="*/ 0 w 106"/>
                <a:gd name="T45" fmla="*/ 2147483647 h 153"/>
                <a:gd name="T46" fmla="*/ 2147483647 w 106"/>
                <a:gd name="T47" fmla="*/ 2147483647 h 153"/>
                <a:gd name="T48" fmla="*/ 2147483647 w 106"/>
                <a:gd name="T49" fmla="*/ 2147483647 h 153"/>
                <a:gd name="T50" fmla="*/ 2147483647 w 106"/>
                <a:gd name="T51" fmla="*/ 2147483647 h 153"/>
                <a:gd name="T52" fmla="*/ 2147483647 w 106"/>
                <a:gd name="T53" fmla="*/ 2147483647 h 153"/>
                <a:gd name="T54" fmla="*/ 2147483647 w 106"/>
                <a:gd name="T55" fmla="*/ 2147483647 h 153"/>
                <a:gd name="T56" fmla="*/ 2147483647 w 106"/>
                <a:gd name="T57" fmla="*/ 2147483647 h 153"/>
                <a:gd name="T58" fmla="*/ 2147483647 w 106"/>
                <a:gd name="T59" fmla="*/ 2147483647 h 153"/>
                <a:gd name="T60" fmla="*/ 2147483647 w 106"/>
                <a:gd name="T61" fmla="*/ 2147483647 h 153"/>
                <a:gd name="T62" fmla="*/ 2147483647 w 106"/>
                <a:gd name="T63" fmla="*/ 2147483647 h 153"/>
                <a:gd name="T64" fmla="*/ 2147483647 w 106"/>
                <a:gd name="T65" fmla="*/ 2147483647 h 153"/>
                <a:gd name="T66" fmla="*/ 2147483647 w 106"/>
                <a:gd name="T67" fmla="*/ 2147483647 h 153"/>
                <a:gd name="T68" fmla="*/ 2147483647 w 106"/>
                <a:gd name="T69" fmla="*/ 2147483647 h 153"/>
                <a:gd name="T70" fmla="*/ 2147483647 w 106"/>
                <a:gd name="T71" fmla="*/ 2147483647 h 153"/>
                <a:gd name="T72" fmla="*/ 2147483647 w 106"/>
                <a:gd name="T73" fmla="*/ 2147483647 h 153"/>
                <a:gd name="T74" fmla="*/ 2147483647 w 106"/>
                <a:gd name="T75" fmla="*/ 2147483647 h 153"/>
                <a:gd name="T76" fmla="*/ 2147483647 w 106"/>
                <a:gd name="T77" fmla="*/ 2147483647 h 153"/>
                <a:gd name="T78" fmla="*/ 2147483647 w 106"/>
                <a:gd name="T79" fmla="*/ 2147483647 h 153"/>
                <a:gd name="T80" fmla="*/ 2147483647 w 106"/>
                <a:gd name="T81" fmla="*/ 2147483647 h 153"/>
                <a:gd name="T82" fmla="*/ 2147483647 w 106"/>
                <a:gd name="T83" fmla="*/ 2147483647 h 153"/>
                <a:gd name="T84" fmla="*/ 2147483647 w 106"/>
                <a:gd name="T85" fmla="*/ 2147483647 h 153"/>
                <a:gd name="T86" fmla="*/ 2147483647 w 106"/>
                <a:gd name="T87" fmla="*/ 2147483647 h 153"/>
                <a:gd name="T88" fmla="*/ 2147483647 w 106"/>
                <a:gd name="T89" fmla="*/ 2147483647 h 153"/>
                <a:gd name="T90" fmla="*/ 2147483647 w 106"/>
                <a:gd name="T91" fmla="*/ 2147483647 h 153"/>
                <a:gd name="T92" fmla="*/ 2147483647 w 106"/>
                <a:gd name="T93" fmla="*/ 2147483647 h 153"/>
                <a:gd name="T94" fmla="*/ 2147483647 w 106"/>
                <a:gd name="T95" fmla="*/ 2147483647 h 153"/>
                <a:gd name="T96" fmla="*/ 2147483647 w 106"/>
                <a:gd name="T97" fmla="*/ 2147483647 h 153"/>
                <a:gd name="T98" fmla="*/ 2147483647 w 106"/>
                <a:gd name="T99" fmla="*/ 2147483647 h 153"/>
                <a:gd name="T100" fmla="*/ 2147483647 w 106"/>
                <a:gd name="T101" fmla="*/ 2147483647 h 153"/>
                <a:gd name="T102" fmla="*/ 2147483647 w 106"/>
                <a:gd name="T103" fmla="*/ 2147483647 h 153"/>
                <a:gd name="T104" fmla="*/ 2147483647 w 106"/>
                <a:gd name="T105" fmla="*/ 2147483647 h 153"/>
                <a:gd name="T106" fmla="*/ 2147483647 w 106"/>
                <a:gd name="T107" fmla="*/ 2147483647 h 153"/>
                <a:gd name="T108" fmla="*/ 2147483647 w 106"/>
                <a:gd name="T109" fmla="*/ 2147483647 h 153"/>
                <a:gd name="T110" fmla="*/ 2147483647 w 106"/>
                <a:gd name="T111" fmla="*/ 2147483647 h 153"/>
                <a:gd name="T112" fmla="*/ 2147483647 w 106"/>
                <a:gd name="T113" fmla="*/ 2147483647 h 153"/>
                <a:gd name="T114" fmla="*/ 2147483647 w 106"/>
                <a:gd name="T115" fmla="*/ 2147483647 h 153"/>
                <a:gd name="T116" fmla="*/ 2147483647 w 106"/>
                <a:gd name="T117" fmla="*/ 2147483647 h 153"/>
                <a:gd name="T118" fmla="*/ 2147483647 w 106"/>
                <a:gd name="T119" fmla="*/ 2147483647 h 153"/>
                <a:gd name="T120" fmla="*/ 2147483647 w 106"/>
                <a:gd name="T121" fmla="*/ 2147483647 h 1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6"/>
                <a:gd name="T184" fmla="*/ 0 h 153"/>
                <a:gd name="T185" fmla="*/ 106 w 106"/>
                <a:gd name="T186" fmla="*/ 153 h 1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6" h="153">
                  <a:moveTo>
                    <a:pt x="104" y="76"/>
                  </a:moveTo>
                  <a:lnTo>
                    <a:pt x="106" y="75"/>
                  </a:lnTo>
                  <a:lnTo>
                    <a:pt x="106" y="73"/>
                  </a:lnTo>
                  <a:lnTo>
                    <a:pt x="104" y="72"/>
                  </a:lnTo>
                  <a:lnTo>
                    <a:pt x="103" y="71"/>
                  </a:lnTo>
                  <a:lnTo>
                    <a:pt x="97" y="71"/>
                  </a:lnTo>
                  <a:lnTo>
                    <a:pt x="93" y="72"/>
                  </a:lnTo>
                  <a:lnTo>
                    <a:pt x="90" y="73"/>
                  </a:lnTo>
                  <a:lnTo>
                    <a:pt x="88" y="78"/>
                  </a:lnTo>
                  <a:lnTo>
                    <a:pt x="87" y="79"/>
                  </a:lnTo>
                  <a:lnTo>
                    <a:pt x="84" y="80"/>
                  </a:lnTo>
                  <a:lnTo>
                    <a:pt x="78" y="80"/>
                  </a:lnTo>
                  <a:lnTo>
                    <a:pt x="70" y="79"/>
                  </a:lnTo>
                  <a:lnTo>
                    <a:pt x="65" y="77"/>
                  </a:lnTo>
                  <a:lnTo>
                    <a:pt x="63" y="75"/>
                  </a:lnTo>
                  <a:lnTo>
                    <a:pt x="61" y="72"/>
                  </a:lnTo>
                  <a:lnTo>
                    <a:pt x="56" y="61"/>
                  </a:lnTo>
                  <a:lnTo>
                    <a:pt x="50" y="51"/>
                  </a:lnTo>
                  <a:lnTo>
                    <a:pt x="50" y="46"/>
                  </a:lnTo>
                  <a:lnTo>
                    <a:pt x="50" y="44"/>
                  </a:lnTo>
                  <a:lnTo>
                    <a:pt x="49" y="43"/>
                  </a:lnTo>
                  <a:lnTo>
                    <a:pt x="47" y="44"/>
                  </a:lnTo>
                  <a:lnTo>
                    <a:pt x="47" y="45"/>
                  </a:lnTo>
                  <a:lnTo>
                    <a:pt x="46" y="47"/>
                  </a:lnTo>
                  <a:lnTo>
                    <a:pt x="46" y="50"/>
                  </a:lnTo>
                  <a:lnTo>
                    <a:pt x="45" y="50"/>
                  </a:lnTo>
                  <a:lnTo>
                    <a:pt x="43" y="50"/>
                  </a:lnTo>
                  <a:lnTo>
                    <a:pt x="42" y="47"/>
                  </a:lnTo>
                  <a:lnTo>
                    <a:pt x="41" y="43"/>
                  </a:lnTo>
                  <a:lnTo>
                    <a:pt x="40" y="38"/>
                  </a:lnTo>
                  <a:lnTo>
                    <a:pt x="33" y="28"/>
                  </a:lnTo>
                  <a:lnTo>
                    <a:pt x="32" y="26"/>
                  </a:lnTo>
                  <a:lnTo>
                    <a:pt x="32" y="25"/>
                  </a:lnTo>
                  <a:lnTo>
                    <a:pt x="32" y="22"/>
                  </a:lnTo>
                  <a:lnTo>
                    <a:pt x="31" y="21"/>
                  </a:lnTo>
                  <a:lnTo>
                    <a:pt x="28" y="20"/>
                  </a:lnTo>
                  <a:lnTo>
                    <a:pt x="24" y="19"/>
                  </a:lnTo>
                  <a:lnTo>
                    <a:pt x="22" y="18"/>
                  </a:lnTo>
                  <a:lnTo>
                    <a:pt x="19" y="15"/>
                  </a:lnTo>
                  <a:lnTo>
                    <a:pt x="17" y="9"/>
                  </a:lnTo>
                  <a:lnTo>
                    <a:pt x="12" y="3"/>
                  </a:lnTo>
                  <a:lnTo>
                    <a:pt x="10" y="1"/>
                  </a:lnTo>
                  <a:lnTo>
                    <a:pt x="7" y="0"/>
                  </a:lnTo>
                  <a:lnTo>
                    <a:pt x="4" y="0"/>
                  </a:lnTo>
                  <a:lnTo>
                    <a:pt x="0" y="0"/>
                  </a:lnTo>
                  <a:lnTo>
                    <a:pt x="0" y="2"/>
                  </a:lnTo>
                  <a:lnTo>
                    <a:pt x="2" y="5"/>
                  </a:lnTo>
                  <a:lnTo>
                    <a:pt x="8" y="8"/>
                  </a:lnTo>
                  <a:lnTo>
                    <a:pt x="9" y="9"/>
                  </a:lnTo>
                  <a:lnTo>
                    <a:pt x="8" y="12"/>
                  </a:lnTo>
                  <a:lnTo>
                    <a:pt x="8" y="19"/>
                  </a:lnTo>
                  <a:lnTo>
                    <a:pt x="9" y="24"/>
                  </a:lnTo>
                  <a:lnTo>
                    <a:pt x="14" y="28"/>
                  </a:lnTo>
                  <a:lnTo>
                    <a:pt x="18" y="32"/>
                  </a:lnTo>
                  <a:lnTo>
                    <a:pt x="21" y="34"/>
                  </a:lnTo>
                  <a:lnTo>
                    <a:pt x="22" y="33"/>
                  </a:lnTo>
                  <a:lnTo>
                    <a:pt x="23" y="33"/>
                  </a:lnTo>
                  <a:lnTo>
                    <a:pt x="24" y="31"/>
                  </a:lnTo>
                  <a:lnTo>
                    <a:pt x="24" y="29"/>
                  </a:lnTo>
                  <a:lnTo>
                    <a:pt x="26" y="31"/>
                  </a:lnTo>
                  <a:lnTo>
                    <a:pt x="30" y="35"/>
                  </a:lnTo>
                  <a:lnTo>
                    <a:pt x="31" y="38"/>
                  </a:lnTo>
                  <a:lnTo>
                    <a:pt x="32" y="41"/>
                  </a:lnTo>
                  <a:lnTo>
                    <a:pt x="32" y="48"/>
                  </a:lnTo>
                  <a:lnTo>
                    <a:pt x="32" y="56"/>
                  </a:lnTo>
                  <a:lnTo>
                    <a:pt x="32" y="58"/>
                  </a:lnTo>
                  <a:lnTo>
                    <a:pt x="33" y="61"/>
                  </a:lnTo>
                  <a:lnTo>
                    <a:pt x="36" y="66"/>
                  </a:lnTo>
                  <a:lnTo>
                    <a:pt x="37" y="71"/>
                  </a:lnTo>
                  <a:lnTo>
                    <a:pt x="37" y="82"/>
                  </a:lnTo>
                  <a:lnTo>
                    <a:pt x="37" y="85"/>
                  </a:lnTo>
                  <a:lnTo>
                    <a:pt x="37" y="89"/>
                  </a:lnTo>
                  <a:lnTo>
                    <a:pt x="37" y="92"/>
                  </a:lnTo>
                  <a:lnTo>
                    <a:pt x="36" y="95"/>
                  </a:lnTo>
                  <a:lnTo>
                    <a:pt x="33" y="97"/>
                  </a:lnTo>
                  <a:lnTo>
                    <a:pt x="28" y="101"/>
                  </a:lnTo>
                  <a:lnTo>
                    <a:pt x="23" y="103"/>
                  </a:lnTo>
                  <a:lnTo>
                    <a:pt x="22" y="104"/>
                  </a:lnTo>
                  <a:lnTo>
                    <a:pt x="22" y="107"/>
                  </a:lnTo>
                  <a:lnTo>
                    <a:pt x="22" y="109"/>
                  </a:lnTo>
                  <a:lnTo>
                    <a:pt x="23" y="112"/>
                  </a:lnTo>
                  <a:lnTo>
                    <a:pt x="24" y="114"/>
                  </a:lnTo>
                  <a:lnTo>
                    <a:pt x="26" y="114"/>
                  </a:lnTo>
                  <a:lnTo>
                    <a:pt x="28" y="115"/>
                  </a:lnTo>
                  <a:lnTo>
                    <a:pt x="28" y="116"/>
                  </a:lnTo>
                  <a:lnTo>
                    <a:pt x="31" y="118"/>
                  </a:lnTo>
                  <a:lnTo>
                    <a:pt x="37" y="123"/>
                  </a:lnTo>
                  <a:lnTo>
                    <a:pt x="42" y="129"/>
                  </a:lnTo>
                  <a:lnTo>
                    <a:pt x="43" y="131"/>
                  </a:lnTo>
                  <a:lnTo>
                    <a:pt x="43" y="135"/>
                  </a:lnTo>
                  <a:lnTo>
                    <a:pt x="43" y="139"/>
                  </a:lnTo>
                  <a:lnTo>
                    <a:pt x="40" y="143"/>
                  </a:lnTo>
                  <a:lnTo>
                    <a:pt x="40" y="144"/>
                  </a:lnTo>
                  <a:lnTo>
                    <a:pt x="40" y="147"/>
                  </a:lnTo>
                  <a:lnTo>
                    <a:pt x="42" y="150"/>
                  </a:lnTo>
                  <a:lnTo>
                    <a:pt x="47" y="153"/>
                  </a:lnTo>
                  <a:lnTo>
                    <a:pt x="51" y="153"/>
                  </a:lnTo>
                  <a:lnTo>
                    <a:pt x="57" y="150"/>
                  </a:lnTo>
                  <a:lnTo>
                    <a:pt x="63" y="147"/>
                  </a:lnTo>
                  <a:lnTo>
                    <a:pt x="66" y="142"/>
                  </a:lnTo>
                  <a:lnTo>
                    <a:pt x="70" y="137"/>
                  </a:lnTo>
                  <a:lnTo>
                    <a:pt x="77" y="128"/>
                  </a:lnTo>
                  <a:lnTo>
                    <a:pt x="79" y="116"/>
                  </a:lnTo>
                  <a:lnTo>
                    <a:pt x="79" y="110"/>
                  </a:lnTo>
                  <a:lnTo>
                    <a:pt x="79" y="107"/>
                  </a:lnTo>
                  <a:lnTo>
                    <a:pt x="82" y="104"/>
                  </a:lnTo>
                  <a:lnTo>
                    <a:pt x="84" y="104"/>
                  </a:lnTo>
                  <a:lnTo>
                    <a:pt x="87" y="105"/>
                  </a:lnTo>
                  <a:lnTo>
                    <a:pt x="88" y="107"/>
                  </a:lnTo>
                  <a:lnTo>
                    <a:pt x="90" y="107"/>
                  </a:lnTo>
                  <a:lnTo>
                    <a:pt x="92" y="104"/>
                  </a:lnTo>
                  <a:lnTo>
                    <a:pt x="92" y="102"/>
                  </a:lnTo>
                  <a:lnTo>
                    <a:pt x="92" y="99"/>
                  </a:lnTo>
                  <a:lnTo>
                    <a:pt x="93" y="97"/>
                  </a:lnTo>
                  <a:lnTo>
                    <a:pt x="99" y="91"/>
                  </a:lnTo>
                  <a:lnTo>
                    <a:pt x="102" y="88"/>
                  </a:lnTo>
                  <a:lnTo>
                    <a:pt x="103" y="84"/>
                  </a:lnTo>
                  <a:lnTo>
                    <a:pt x="102" y="83"/>
                  </a:lnTo>
                  <a:lnTo>
                    <a:pt x="101" y="82"/>
                  </a:lnTo>
                  <a:lnTo>
                    <a:pt x="99" y="80"/>
                  </a:lnTo>
                  <a:lnTo>
                    <a:pt x="99" y="79"/>
                  </a:lnTo>
                  <a:lnTo>
                    <a:pt x="101" y="77"/>
                  </a:lnTo>
                  <a:lnTo>
                    <a:pt x="104" y="7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2" name="Freeform 271"/>
            <p:cNvSpPr>
              <a:spLocks/>
            </p:cNvSpPr>
            <p:nvPr/>
          </p:nvSpPr>
          <p:spPr bwMode="auto">
            <a:xfrm>
              <a:off x="8969378" y="5818188"/>
              <a:ext cx="17463" cy="30162"/>
            </a:xfrm>
            <a:custGeom>
              <a:avLst/>
              <a:gdLst>
                <a:gd name="T0" fmla="*/ 2147483647 w 12"/>
                <a:gd name="T1" fmla="*/ 2147483647 h 19"/>
                <a:gd name="T2" fmla="*/ 2147483647 w 12"/>
                <a:gd name="T3" fmla="*/ 2147483647 h 19"/>
                <a:gd name="T4" fmla="*/ 2147483647 w 12"/>
                <a:gd name="T5" fmla="*/ 2147483647 h 19"/>
                <a:gd name="T6" fmla="*/ 2147483647 w 12"/>
                <a:gd name="T7" fmla="*/ 2147483647 h 19"/>
                <a:gd name="T8" fmla="*/ 2147483647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0 w 12"/>
                <a:gd name="T19" fmla="*/ 2147483647 h 19"/>
                <a:gd name="T20" fmla="*/ 2147483647 w 12"/>
                <a:gd name="T21" fmla="*/ 2147483647 h 19"/>
                <a:gd name="T22" fmla="*/ 2147483647 w 12"/>
                <a:gd name="T23" fmla="*/ 2147483647 h 19"/>
                <a:gd name="T24" fmla="*/ 2147483647 w 12"/>
                <a:gd name="T25" fmla="*/ 0 h 19"/>
                <a:gd name="T26" fmla="*/ 2147483647 w 12"/>
                <a:gd name="T27" fmla="*/ 2147483647 h 19"/>
                <a:gd name="T28" fmla="*/ 2147483647 w 12"/>
                <a:gd name="T29" fmla="*/ 2147483647 h 19"/>
                <a:gd name="T30" fmla="*/ 2147483647 w 12"/>
                <a:gd name="T31" fmla="*/ 2147483647 h 19"/>
                <a:gd name="T32" fmla="*/ 2147483647 w 12"/>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9"/>
                <a:gd name="T53" fmla="*/ 12 w 12"/>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9">
                  <a:moveTo>
                    <a:pt x="11" y="7"/>
                  </a:moveTo>
                  <a:lnTo>
                    <a:pt x="11" y="9"/>
                  </a:lnTo>
                  <a:lnTo>
                    <a:pt x="11" y="10"/>
                  </a:lnTo>
                  <a:lnTo>
                    <a:pt x="12" y="15"/>
                  </a:lnTo>
                  <a:lnTo>
                    <a:pt x="12" y="17"/>
                  </a:lnTo>
                  <a:lnTo>
                    <a:pt x="12" y="19"/>
                  </a:lnTo>
                  <a:lnTo>
                    <a:pt x="10" y="19"/>
                  </a:lnTo>
                  <a:lnTo>
                    <a:pt x="6" y="17"/>
                  </a:lnTo>
                  <a:lnTo>
                    <a:pt x="2" y="13"/>
                  </a:lnTo>
                  <a:lnTo>
                    <a:pt x="0" y="8"/>
                  </a:lnTo>
                  <a:lnTo>
                    <a:pt x="1" y="3"/>
                  </a:lnTo>
                  <a:lnTo>
                    <a:pt x="2" y="1"/>
                  </a:lnTo>
                  <a:lnTo>
                    <a:pt x="5" y="0"/>
                  </a:lnTo>
                  <a:lnTo>
                    <a:pt x="9" y="1"/>
                  </a:lnTo>
                  <a:lnTo>
                    <a:pt x="12" y="3"/>
                  </a:lnTo>
                  <a:lnTo>
                    <a:pt x="12" y="4"/>
                  </a:lnTo>
                  <a:lnTo>
                    <a:pt x="11"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3" name="Freeform 272"/>
            <p:cNvSpPr>
              <a:spLocks/>
            </p:cNvSpPr>
            <p:nvPr/>
          </p:nvSpPr>
          <p:spPr bwMode="auto">
            <a:xfrm>
              <a:off x="8702675" y="5494341"/>
              <a:ext cx="153988" cy="242887"/>
            </a:xfrm>
            <a:custGeom>
              <a:avLst/>
              <a:gdLst>
                <a:gd name="T0" fmla="*/ 2147483647 w 105"/>
                <a:gd name="T1" fmla="*/ 2147483647 h 153"/>
                <a:gd name="T2" fmla="*/ 2147483647 w 105"/>
                <a:gd name="T3" fmla="*/ 2147483647 h 153"/>
                <a:gd name="T4" fmla="*/ 2147483647 w 105"/>
                <a:gd name="T5" fmla="*/ 2147483647 h 153"/>
                <a:gd name="T6" fmla="*/ 2147483647 w 105"/>
                <a:gd name="T7" fmla="*/ 2147483647 h 153"/>
                <a:gd name="T8" fmla="*/ 2147483647 w 105"/>
                <a:gd name="T9" fmla="*/ 2147483647 h 153"/>
                <a:gd name="T10" fmla="*/ 2147483647 w 105"/>
                <a:gd name="T11" fmla="*/ 2147483647 h 153"/>
                <a:gd name="T12" fmla="*/ 2147483647 w 105"/>
                <a:gd name="T13" fmla="*/ 2147483647 h 153"/>
                <a:gd name="T14" fmla="*/ 2147483647 w 105"/>
                <a:gd name="T15" fmla="*/ 2147483647 h 153"/>
                <a:gd name="T16" fmla="*/ 2147483647 w 105"/>
                <a:gd name="T17" fmla="*/ 2147483647 h 153"/>
                <a:gd name="T18" fmla="*/ 2147483647 w 105"/>
                <a:gd name="T19" fmla="*/ 2147483647 h 153"/>
                <a:gd name="T20" fmla="*/ 2147483647 w 105"/>
                <a:gd name="T21" fmla="*/ 2147483647 h 153"/>
                <a:gd name="T22" fmla="*/ 2147483647 w 105"/>
                <a:gd name="T23" fmla="*/ 2147483647 h 153"/>
                <a:gd name="T24" fmla="*/ 2147483647 w 105"/>
                <a:gd name="T25" fmla="*/ 2147483647 h 153"/>
                <a:gd name="T26" fmla="*/ 2147483647 w 105"/>
                <a:gd name="T27" fmla="*/ 2147483647 h 153"/>
                <a:gd name="T28" fmla="*/ 2147483647 w 105"/>
                <a:gd name="T29" fmla="*/ 2147483647 h 153"/>
                <a:gd name="T30" fmla="*/ 2147483647 w 105"/>
                <a:gd name="T31" fmla="*/ 2147483647 h 153"/>
                <a:gd name="T32" fmla="*/ 2147483647 w 105"/>
                <a:gd name="T33" fmla="*/ 2147483647 h 153"/>
                <a:gd name="T34" fmla="*/ 2147483647 w 105"/>
                <a:gd name="T35" fmla="*/ 2147483647 h 153"/>
                <a:gd name="T36" fmla="*/ 0 w 105"/>
                <a:gd name="T37" fmla="*/ 0 h 153"/>
                <a:gd name="T38" fmla="*/ 2147483647 w 105"/>
                <a:gd name="T39" fmla="*/ 2147483647 h 153"/>
                <a:gd name="T40" fmla="*/ 2147483647 w 105"/>
                <a:gd name="T41" fmla="*/ 2147483647 h 153"/>
                <a:gd name="T42" fmla="*/ 2147483647 w 105"/>
                <a:gd name="T43" fmla="*/ 2147483647 h 153"/>
                <a:gd name="T44" fmla="*/ 2147483647 w 105"/>
                <a:gd name="T45" fmla="*/ 2147483647 h 153"/>
                <a:gd name="T46" fmla="*/ 2147483647 w 105"/>
                <a:gd name="T47" fmla="*/ 2147483647 h 153"/>
                <a:gd name="T48" fmla="*/ 2147483647 w 105"/>
                <a:gd name="T49" fmla="*/ 2147483647 h 153"/>
                <a:gd name="T50" fmla="*/ 2147483647 w 105"/>
                <a:gd name="T51" fmla="*/ 2147483647 h 153"/>
                <a:gd name="T52" fmla="*/ 2147483647 w 105"/>
                <a:gd name="T53" fmla="*/ 2147483647 h 153"/>
                <a:gd name="T54" fmla="*/ 2147483647 w 105"/>
                <a:gd name="T55" fmla="*/ 2147483647 h 153"/>
                <a:gd name="T56" fmla="*/ 2147483647 w 105"/>
                <a:gd name="T57" fmla="*/ 2147483647 h 153"/>
                <a:gd name="T58" fmla="*/ 2147483647 w 105"/>
                <a:gd name="T59" fmla="*/ 2147483647 h 153"/>
                <a:gd name="T60" fmla="*/ 2147483647 w 105"/>
                <a:gd name="T61" fmla="*/ 2147483647 h 153"/>
                <a:gd name="T62" fmla="*/ 2147483647 w 105"/>
                <a:gd name="T63" fmla="*/ 2147483647 h 153"/>
                <a:gd name="T64" fmla="*/ 2147483647 w 105"/>
                <a:gd name="T65" fmla="*/ 2147483647 h 153"/>
                <a:gd name="T66" fmla="*/ 2147483647 w 105"/>
                <a:gd name="T67" fmla="*/ 2147483647 h 153"/>
                <a:gd name="T68" fmla="*/ 2147483647 w 105"/>
                <a:gd name="T69" fmla="*/ 2147483647 h 153"/>
                <a:gd name="T70" fmla="*/ 2147483647 w 105"/>
                <a:gd name="T71" fmla="*/ 2147483647 h 153"/>
                <a:gd name="T72" fmla="*/ 2147483647 w 105"/>
                <a:gd name="T73" fmla="*/ 2147483647 h 153"/>
                <a:gd name="T74" fmla="*/ 2147483647 w 105"/>
                <a:gd name="T75" fmla="*/ 2147483647 h 153"/>
                <a:gd name="T76" fmla="*/ 2147483647 w 105"/>
                <a:gd name="T77" fmla="*/ 2147483647 h 153"/>
                <a:gd name="T78" fmla="*/ 2147483647 w 105"/>
                <a:gd name="T79" fmla="*/ 2147483647 h 153"/>
                <a:gd name="T80" fmla="*/ 2147483647 w 105"/>
                <a:gd name="T81" fmla="*/ 2147483647 h 153"/>
                <a:gd name="T82" fmla="*/ 2147483647 w 105"/>
                <a:gd name="T83" fmla="*/ 2147483647 h 153"/>
                <a:gd name="T84" fmla="*/ 2147483647 w 105"/>
                <a:gd name="T85" fmla="*/ 2147483647 h 153"/>
                <a:gd name="T86" fmla="*/ 2147483647 w 105"/>
                <a:gd name="T87" fmla="*/ 2147483647 h 153"/>
                <a:gd name="T88" fmla="*/ 2147483647 w 105"/>
                <a:gd name="T89" fmla="*/ 2147483647 h 153"/>
                <a:gd name="T90" fmla="*/ 2147483647 w 105"/>
                <a:gd name="T91" fmla="*/ 2147483647 h 153"/>
                <a:gd name="T92" fmla="*/ 2147483647 w 105"/>
                <a:gd name="T93" fmla="*/ 2147483647 h 153"/>
                <a:gd name="T94" fmla="*/ 2147483647 w 105"/>
                <a:gd name="T95" fmla="*/ 2147483647 h 153"/>
                <a:gd name="T96" fmla="*/ 2147483647 w 105"/>
                <a:gd name="T97" fmla="*/ 2147483647 h 153"/>
                <a:gd name="T98" fmla="*/ 2147483647 w 105"/>
                <a:gd name="T99" fmla="*/ 2147483647 h 153"/>
                <a:gd name="T100" fmla="*/ 2147483647 w 105"/>
                <a:gd name="T101" fmla="*/ 2147483647 h 153"/>
                <a:gd name="T102" fmla="*/ 2147483647 w 105"/>
                <a:gd name="T103" fmla="*/ 2147483647 h 1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5"/>
                <a:gd name="T157" fmla="*/ 0 h 153"/>
                <a:gd name="T158" fmla="*/ 105 w 105"/>
                <a:gd name="T159" fmla="*/ 153 h 1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5" h="153">
                  <a:moveTo>
                    <a:pt x="104" y="76"/>
                  </a:moveTo>
                  <a:lnTo>
                    <a:pt x="104" y="76"/>
                  </a:lnTo>
                  <a:lnTo>
                    <a:pt x="105" y="74"/>
                  </a:lnTo>
                  <a:lnTo>
                    <a:pt x="105" y="73"/>
                  </a:lnTo>
                  <a:lnTo>
                    <a:pt x="104" y="72"/>
                  </a:lnTo>
                  <a:lnTo>
                    <a:pt x="103" y="71"/>
                  </a:lnTo>
                  <a:lnTo>
                    <a:pt x="97" y="71"/>
                  </a:lnTo>
                  <a:lnTo>
                    <a:pt x="93" y="72"/>
                  </a:lnTo>
                  <a:lnTo>
                    <a:pt x="90" y="73"/>
                  </a:lnTo>
                  <a:lnTo>
                    <a:pt x="88" y="78"/>
                  </a:lnTo>
                  <a:lnTo>
                    <a:pt x="86" y="79"/>
                  </a:lnTo>
                  <a:lnTo>
                    <a:pt x="84" y="80"/>
                  </a:lnTo>
                  <a:lnTo>
                    <a:pt x="78" y="80"/>
                  </a:lnTo>
                  <a:lnTo>
                    <a:pt x="70" y="79"/>
                  </a:lnTo>
                  <a:lnTo>
                    <a:pt x="65" y="77"/>
                  </a:lnTo>
                  <a:lnTo>
                    <a:pt x="62" y="74"/>
                  </a:lnTo>
                  <a:lnTo>
                    <a:pt x="61" y="72"/>
                  </a:lnTo>
                  <a:lnTo>
                    <a:pt x="56" y="61"/>
                  </a:lnTo>
                  <a:lnTo>
                    <a:pt x="50" y="51"/>
                  </a:lnTo>
                  <a:lnTo>
                    <a:pt x="50" y="46"/>
                  </a:lnTo>
                  <a:lnTo>
                    <a:pt x="50" y="44"/>
                  </a:lnTo>
                  <a:lnTo>
                    <a:pt x="48" y="42"/>
                  </a:lnTo>
                  <a:lnTo>
                    <a:pt x="47" y="44"/>
                  </a:lnTo>
                  <a:lnTo>
                    <a:pt x="47" y="45"/>
                  </a:lnTo>
                  <a:lnTo>
                    <a:pt x="46" y="47"/>
                  </a:lnTo>
                  <a:lnTo>
                    <a:pt x="46" y="49"/>
                  </a:lnTo>
                  <a:lnTo>
                    <a:pt x="44" y="49"/>
                  </a:lnTo>
                  <a:lnTo>
                    <a:pt x="43" y="49"/>
                  </a:lnTo>
                  <a:lnTo>
                    <a:pt x="42" y="47"/>
                  </a:lnTo>
                  <a:lnTo>
                    <a:pt x="41" y="42"/>
                  </a:lnTo>
                  <a:lnTo>
                    <a:pt x="39" y="38"/>
                  </a:lnTo>
                  <a:lnTo>
                    <a:pt x="33" y="28"/>
                  </a:lnTo>
                  <a:lnTo>
                    <a:pt x="32" y="26"/>
                  </a:lnTo>
                  <a:lnTo>
                    <a:pt x="32" y="25"/>
                  </a:lnTo>
                  <a:lnTo>
                    <a:pt x="32" y="22"/>
                  </a:lnTo>
                  <a:lnTo>
                    <a:pt x="31" y="21"/>
                  </a:lnTo>
                  <a:lnTo>
                    <a:pt x="28" y="20"/>
                  </a:lnTo>
                  <a:lnTo>
                    <a:pt x="24" y="19"/>
                  </a:lnTo>
                  <a:lnTo>
                    <a:pt x="22" y="17"/>
                  </a:lnTo>
                  <a:lnTo>
                    <a:pt x="19" y="15"/>
                  </a:lnTo>
                  <a:lnTo>
                    <a:pt x="17" y="9"/>
                  </a:lnTo>
                  <a:lnTo>
                    <a:pt x="11" y="3"/>
                  </a:lnTo>
                  <a:lnTo>
                    <a:pt x="10" y="1"/>
                  </a:lnTo>
                  <a:lnTo>
                    <a:pt x="6" y="0"/>
                  </a:lnTo>
                  <a:lnTo>
                    <a:pt x="4" y="0"/>
                  </a:lnTo>
                  <a:lnTo>
                    <a:pt x="0" y="0"/>
                  </a:lnTo>
                  <a:lnTo>
                    <a:pt x="0" y="2"/>
                  </a:lnTo>
                  <a:lnTo>
                    <a:pt x="1" y="4"/>
                  </a:lnTo>
                  <a:lnTo>
                    <a:pt x="8" y="8"/>
                  </a:lnTo>
                  <a:lnTo>
                    <a:pt x="9" y="9"/>
                  </a:lnTo>
                  <a:lnTo>
                    <a:pt x="8" y="12"/>
                  </a:lnTo>
                  <a:lnTo>
                    <a:pt x="8" y="19"/>
                  </a:lnTo>
                  <a:lnTo>
                    <a:pt x="9" y="23"/>
                  </a:lnTo>
                  <a:lnTo>
                    <a:pt x="14" y="28"/>
                  </a:lnTo>
                  <a:lnTo>
                    <a:pt x="18" y="32"/>
                  </a:lnTo>
                  <a:lnTo>
                    <a:pt x="20" y="34"/>
                  </a:lnTo>
                  <a:lnTo>
                    <a:pt x="22" y="33"/>
                  </a:lnTo>
                  <a:lnTo>
                    <a:pt x="23" y="33"/>
                  </a:lnTo>
                  <a:lnTo>
                    <a:pt x="24" y="30"/>
                  </a:lnTo>
                  <a:lnTo>
                    <a:pt x="24" y="29"/>
                  </a:lnTo>
                  <a:lnTo>
                    <a:pt x="25" y="30"/>
                  </a:lnTo>
                  <a:lnTo>
                    <a:pt x="29" y="35"/>
                  </a:lnTo>
                  <a:lnTo>
                    <a:pt x="31" y="38"/>
                  </a:lnTo>
                  <a:lnTo>
                    <a:pt x="32" y="41"/>
                  </a:lnTo>
                  <a:lnTo>
                    <a:pt x="32" y="48"/>
                  </a:lnTo>
                  <a:lnTo>
                    <a:pt x="32" y="55"/>
                  </a:lnTo>
                  <a:lnTo>
                    <a:pt x="32" y="58"/>
                  </a:lnTo>
                  <a:lnTo>
                    <a:pt x="33" y="61"/>
                  </a:lnTo>
                  <a:lnTo>
                    <a:pt x="36" y="66"/>
                  </a:lnTo>
                  <a:lnTo>
                    <a:pt x="37" y="71"/>
                  </a:lnTo>
                  <a:lnTo>
                    <a:pt x="37" y="81"/>
                  </a:lnTo>
                  <a:lnTo>
                    <a:pt x="37" y="85"/>
                  </a:lnTo>
                  <a:lnTo>
                    <a:pt x="37" y="89"/>
                  </a:lnTo>
                  <a:lnTo>
                    <a:pt x="37" y="92"/>
                  </a:lnTo>
                  <a:lnTo>
                    <a:pt x="36" y="94"/>
                  </a:lnTo>
                  <a:lnTo>
                    <a:pt x="33" y="97"/>
                  </a:lnTo>
                  <a:lnTo>
                    <a:pt x="28" y="100"/>
                  </a:lnTo>
                  <a:lnTo>
                    <a:pt x="23" y="103"/>
                  </a:lnTo>
                  <a:lnTo>
                    <a:pt x="22" y="104"/>
                  </a:lnTo>
                  <a:lnTo>
                    <a:pt x="22" y="106"/>
                  </a:lnTo>
                  <a:lnTo>
                    <a:pt x="22" y="109"/>
                  </a:lnTo>
                  <a:lnTo>
                    <a:pt x="23" y="112"/>
                  </a:lnTo>
                  <a:lnTo>
                    <a:pt x="24" y="113"/>
                  </a:lnTo>
                  <a:lnTo>
                    <a:pt x="25" y="113"/>
                  </a:lnTo>
                  <a:lnTo>
                    <a:pt x="28" y="115"/>
                  </a:lnTo>
                  <a:lnTo>
                    <a:pt x="28" y="116"/>
                  </a:lnTo>
                  <a:lnTo>
                    <a:pt x="31" y="118"/>
                  </a:lnTo>
                  <a:lnTo>
                    <a:pt x="37" y="123"/>
                  </a:lnTo>
                  <a:lnTo>
                    <a:pt x="42" y="129"/>
                  </a:lnTo>
                  <a:lnTo>
                    <a:pt x="43" y="131"/>
                  </a:lnTo>
                  <a:lnTo>
                    <a:pt x="43" y="135"/>
                  </a:lnTo>
                  <a:lnTo>
                    <a:pt x="43" y="138"/>
                  </a:lnTo>
                  <a:lnTo>
                    <a:pt x="39" y="143"/>
                  </a:lnTo>
                  <a:lnTo>
                    <a:pt x="39" y="144"/>
                  </a:lnTo>
                  <a:lnTo>
                    <a:pt x="39" y="147"/>
                  </a:lnTo>
                  <a:lnTo>
                    <a:pt x="42" y="150"/>
                  </a:lnTo>
                  <a:lnTo>
                    <a:pt x="47" y="153"/>
                  </a:lnTo>
                  <a:lnTo>
                    <a:pt x="51" y="153"/>
                  </a:lnTo>
                  <a:lnTo>
                    <a:pt x="57" y="150"/>
                  </a:lnTo>
                  <a:lnTo>
                    <a:pt x="62" y="147"/>
                  </a:lnTo>
                  <a:lnTo>
                    <a:pt x="66" y="142"/>
                  </a:lnTo>
                  <a:lnTo>
                    <a:pt x="70" y="137"/>
                  </a:lnTo>
                  <a:lnTo>
                    <a:pt x="76" y="128"/>
                  </a:lnTo>
                  <a:lnTo>
                    <a:pt x="79" y="116"/>
                  </a:lnTo>
                  <a:lnTo>
                    <a:pt x="79" y="110"/>
                  </a:lnTo>
                  <a:lnTo>
                    <a:pt x="79" y="106"/>
                  </a:lnTo>
                  <a:lnTo>
                    <a:pt x="81" y="104"/>
                  </a:lnTo>
                  <a:lnTo>
                    <a:pt x="84" y="104"/>
                  </a:lnTo>
                  <a:lnTo>
                    <a:pt x="86" y="105"/>
                  </a:lnTo>
                  <a:lnTo>
                    <a:pt x="88" y="106"/>
                  </a:lnTo>
                  <a:lnTo>
                    <a:pt x="90" y="106"/>
                  </a:lnTo>
                  <a:lnTo>
                    <a:pt x="91" y="104"/>
                  </a:lnTo>
                  <a:lnTo>
                    <a:pt x="91" y="102"/>
                  </a:lnTo>
                  <a:lnTo>
                    <a:pt x="91" y="99"/>
                  </a:lnTo>
                  <a:lnTo>
                    <a:pt x="93" y="97"/>
                  </a:lnTo>
                  <a:lnTo>
                    <a:pt x="99" y="91"/>
                  </a:lnTo>
                  <a:lnTo>
                    <a:pt x="102" y="87"/>
                  </a:lnTo>
                  <a:lnTo>
                    <a:pt x="103" y="84"/>
                  </a:lnTo>
                  <a:lnTo>
                    <a:pt x="102" y="83"/>
                  </a:lnTo>
                  <a:lnTo>
                    <a:pt x="100" y="81"/>
                  </a:lnTo>
                  <a:lnTo>
                    <a:pt x="99" y="80"/>
                  </a:lnTo>
                  <a:lnTo>
                    <a:pt x="99" y="79"/>
                  </a:lnTo>
                  <a:lnTo>
                    <a:pt x="100" y="77"/>
                  </a:lnTo>
                  <a:lnTo>
                    <a:pt x="104" y="7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4" name="Freeform 273"/>
            <p:cNvSpPr>
              <a:spLocks/>
            </p:cNvSpPr>
            <p:nvPr/>
          </p:nvSpPr>
          <p:spPr bwMode="auto">
            <a:xfrm>
              <a:off x="8966200" y="5815013"/>
              <a:ext cx="19050" cy="30162"/>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2147483647 h 19"/>
                <a:gd name="T14" fmla="*/ 2147483647 w 13"/>
                <a:gd name="T15" fmla="*/ 2147483647 h 19"/>
                <a:gd name="T16" fmla="*/ 2147483647 w 13"/>
                <a:gd name="T17" fmla="*/ 2147483647 h 19"/>
                <a:gd name="T18" fmla="*/ 2147483647 w 13"/>
                <a:gd name="T19" fmla="*/ 2147483647 h 19"/>
                <a:gd name="T20" fmla="*/ 2147483647 w 13"/>
                <a:gd name="T21" fmla="*/ 2147483647 h 19"/>
                <a:gd name="T22" fmla="*/ 0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0 h 19"/>
                <a:gd name="T32" fmla="*/ 2147483647 w 13"/>
                <a:gd name="T33" fmla="*/ 2147483647 h 19"/>
                <a:gd name="T34" fmla="*/ 2147483647 w 13"/>
                <a:gd name="T35" fmla="*/ 2147483647 h 19"/>
                <a:gd name="T36" fmla="*/ 2147483647 w 13"/>
                <a:gd name="T37" fmla="*/ 2147483647 h 19"/>
                <a:gd name="T38" fmla="*/ 2147483647 w 13"/>
                <a:gd name="T39" fmla="*/ 2147483647 h 19"/>
                <a:gd name="T40" fmla="*/ 2147483647 w 13"/>
                <a:gd name="T41" fmla="*/ 2147483647 h 19"/>
                <a:gd name="T42" fmla="*/ 2147483647 w 13"/>
                <a:gd name="T43" fmla="*/ 2147483647 h 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19"/>
                <a:gd name="T68" fmla="*/ 13 w 13"/>
                <a:gd name="T69" fmla="*/ 19 h 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19">
                  <a:moveTo>
                    <a:pt x="12" y="7"/>
                  </a:moveTo>
                  <a:lnTo>
                    <a:pt x="12" y="7"/>
                  </a:lnTo>
                  <a:lnTo>
                    <a:pt x="12" y="10"/>
                  </a:lnTo>
                  <a:lnTo>
                    <a:pt x="12" y="11"/>
                  </a:lnTo>
                  <a:lnTo>
                    <a:pt x="13" y="16"/>
                  </a:lnTo>
                  <a:lnTo>
                    <a:pt x="13" y="18"/>
                  </a:lnTo>
                  <a:lnTo>
                    <a:pt x="13" y="19"/>
                  </a:lnTo>
                  <a:lnTo>
                    <a:pt x="11" y="19"/>
                  </a:lnTo>
                  <a:lnTo>
                    <a:pt x="7" y="18"/>
                  </a:lnTo>
                  <a:lnTo>
                    <a:pt x="3" y="13"/>
                  </a:lnTo>
                  <a:lnTo>
                    <a:pt x="0" y="9"/>
                  </a:lnTo>
                  <a:lnTo>
                    <a:pt x="2" y="4"/>
                  </a:lnTo>
                  <a:lnTo>
                    <a:pt x="3" y="2"/>
                  </a:lnTo>
                  <a:lnTo>
                    <a:pt x="5" y="0"/>
                  </a:lnTo>
                  <a:lnTo>
                    <a:pt x="9" y="2"/>
                  </a:lnTo>
                  <a:lnTo>
                    <a:pt x="13" y="4"/>
                  </a:lnTo>
                  <a:lnTo>
                    <a:pt x="13" y="5"/>
                  </a:lnTo>
                  <a:lnTo>
                    <a:pt x="12"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5" name="Freeform 274"/>
            <p:cNvSpPr>
              <a:spLocks/>
            </p:cNvSpPr>
            <p:nvPr/>
          </p:nvSpPr>
          <p:spPr bwMode="auto">
            <a:xfrm>
              <a:off x="8923339" y="5392742"/>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3"/>
                  </a:moveTo>
                  <a:lnTo>
                    <a:pt x="4" y="6"/>
                  </a:lnTo>
                  <a:lnTo>
                    <a:pt x="2" y="6"/>
                  </a:lnTo>
                  <a:lnTo>
                    <a:pt x="1" y="3"/>
                  </a:lnTo>
                  <a:lnTo>
                    <a:pt x="0" y="1"/>
                  </a:lnTo>
                  <a:lnTo>
                    <a:pt x="1" y="0"/>
                  </a:lnTo>
                  <a:lnTo>
                    <a:pt x="2" y="0"/>
                  </a:lnTo>
                  <a:lnTo>
                    <a:pt x="2" y="1"/>
                  </a:lnTo>
                  <a:lnTo>
                    <a:pt x="4" y="1"/>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6" name="Freeform 275"/>
            <p:cNvSpPr>
              <a:spLocks/>
            </p:cNvSpPr>
            <p:nvPr/>
          </p:nvSpPr>
          <p:spPr bwMode="auto">
            <a:xfrm>
              <a:off x="8928102" y="5353051"/>
              <a:ext cx="9525"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0 w 6"/>
                <a:gd name="T9" fmla="*/ 2147483647 h 8"/>
                <a:gd name="T10" fmla="*/ 0 w 6"/>
                <a:gd name="T11" fmla="*/ 2147483647 h 8"/>
                <a:gd name="T12" fmla="*/ 2147483647 w 6"/>
                <a:gd name="T13" fmla="*/ 0 h 8"/>
                <a:gd name="T14" fmla="*/ 2147483647 w 6"/>
                <a:gd name="T15" fmla="*/ 2147483647 h 8"/>
                <a:gd name="T16" fmla="*/ 2147483647 w 6"/>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6"/>
                  </a:moveTo>
                  <a:lnTo>
                    <a:pt x="6" y="8"/>
                  </a:lnTo>
                  <a:lnTo>
                    <a:pt x="5" y="8"/>
                  </a:lnTo>
                  <a:lnTo>
                    <a:pt x="2" y="7"/>
                  </a:lnTo>
                  <a:lnTo>
                    <a:pt x="0" y="4"/>
                  </a:lnTo>
                  <a:lnTo>
                    <a:pt x="0" y="2"/>
                  </a:lnTo>
                  <a:lnTo>
                    <a:pt x="1" y="0"/>
                  </a:lnTo>
                  <a:lnTo>
                    <a:pt x="4" y="2"/>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7" name="Freeform 276"/>
            <p:cNvSpPr>
              <a:spLocks/>
            </p:cNvSpPr>
            <p:nvPr/>
          </p:nvSpPr>
          <p:spPr bwMode="auto">
            <a:xfrm>
              <a:off x="8921751" y="5389567"/>
              <a:ext cx="6350"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2147483647 w 5"/>
                <a:gd name="T15" fmla="*/ 0 h 6"/>
                <a:gd name="T16" fmla="*/ 2147483647 w 5"/>
                <a:gd name="T17" fmla="*/ 0 h 6"/>
                <a:gd name="T18" fmla="*/ 2147483647 w 5"/>
                <a:gd name="T19" fmla="*/ 0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4"/>
                  </a:moveTo>
                  <a:lnTo>
                    <a:pt x="5" y="4"/>
                  </a:lnTo>
                  <a:lnTo>
                    <a:pt x="3" y="6"/>
                  </a:lnTo>
                  <a:lnTo>
                    <a:pt x="2" y="6"/>
                  </a:lnTo>
                  <a:lnTo>
                    <a:pt x="1" y="4"/>
                  </a:lnTo>
                  <a:lnTo>
                    <a:pt x="0" y="2"/>
                  </a:lnTo>
                  <a:lnTo>
                    <a:pt x="1" y="0"/>
                  </a:lnTo>
                  <a:lnTo>
                    <a:pt x="2" y="0"/>
                  </a:lnTo>
                  <a:lnTo>
                    <a:pt x="2" y="2"/>
                  </a:lnTo>
                  <a:lnTo>
                    <a:pt x="3" y="2"/>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8" name="Freeform 277"/>
            <p:cNvSpPr>
              <a:spLocks/>
            </p:cNvSpPr>
            <p:nvPr/>
          </p:nvSpPr>
          <p:spPr bwMode="auto">
            <a:xfrm>
              <a:off x="8924929" y="5351463"/>
              <a:ext cx="11113" cy="12700"/>
            </a:xfrm>
            <a:custGeom>
              <a:avLst/>
              <a:gdLst>
                <a:gd name="T0" fmla="*/ 2147483647 w 7"/>
                <a:gd name="T1" fmla="*/ 2147483647 h 8"/>
                <a:gd name="T2" fmla="*/ 2147483647 w 7"/>
                <a:gd name="T3" fmla="*/ 2147483647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0 w 7"/>
                <a:gd name="T15" fmla="*/ 2147483647 h 8"/>
                <a:gd name="T16" fmla="*/ 0 w 7"/>
                <a:gd name="T17" fmla="*/ 2147483647 h 8"/>
                <a:gd name="T18" fmla="*/ 2147483647 w 7"/>
                <a:gd name="T19" fmla="*/ 0 h 8"/>
                <a:gd name="T20" fmla="*/ 2147483647 w 7"/>
                <a:gd name="T21" fmla="*/ 0 h 8"/>
                <a:gd name="T22" fmla="*/ 2147483647 w 7"/>
                <a:gd name="T23" fmla="*/ 2147483647 h 8"/>
                <a:gd name="T24" fmla="*/ 2147483647 w 7"/>
                <a:gd name="T25" fmla="*/ 2147483647 h 8"/>
                <a:gd name="T26" fmla="*/ 2147483647 w 7"/>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8"/>
                <a:gd name="T44" fmla="*/ 7 w 7"/>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8">
                  <a:moveTo>
                    <a:pt x="7" y="5"/>
                  </a:moveTo>
                  <a:lnTo>
                    <a:pt x="7" y="5"/>
                  </a:lnTo>
                  <a:lnTo>
                    <a:pt x="7" y="8"/>
                  </a:lnTo>
                  <a:lnTo>
                    <a:pt x="6" y="8"/>
                  </a:lnTo>
                  <a:lnTo>
                    <a:pt x="3" y="7"/>
                  </a:lnTo>
                  <a:lnTo>
                    <a:pt x="0" y="4"/>
                  </a:lnTo>
                  <a:lnTo>
                    <a:pt x="0" y="2"/>
                  </a:lnTo>
                  <a:lnTo>
                    <a:pt x="2" y="0"/>
                  </a:lnTo>
                  <a:lnTo>
                    <a:pt x="4" y="2"/>
                  </a:lnTo>
                  <a:lnTo>
                    <a:pt x="7"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79" name="Freeform 278"/>
            <p:cNvSpPr>
              <a:spLocks/>
            </p:cNvSpPr>
            <p:nvPr/>
          </p:nvSpPr>
          <p:spPr bwMode="auto">
            <a:xfrm>
              <a:off x="7213604" y="3690942"/>
              <a:ext cx="11113" cy="9525"/>
            </a:xfrm>
            <a:custGeom>
              <a:avLst/>
              <a:gdLst>
                <a:gd name="T0" fmla="*/ 2147483647 w 7"/>
                <a:gd name="T1" fmla="*/ 2147483647 h 6"/>
                <a:gd name="T2" fmla="*/ 2147483647 w 7"/>
                <a:gd name="T3" fmla="*/ 0 h 6"/>
                <a:gd name="T4" fmla="*/ 2147483647 w 7"/>
                <a:gd name="T5" fmla="*/ 0 h 6"/>
                <a:gd name="T6" fmla="*/ 2147483647 w 7"/>
                <a:gd name="T7" fmla="*/ 0 h 6"/>
                <a:gd name="T8" fmla="*/ 0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2"/>
                  </a:moveTo>
                  <a:lnTo>
                    <a:pt x="4" y="0"/>
                  </a:lnTo>
                  <a:lnTo>
                    <a:pt x="3" y="0"/>
                  </a:lnTo>
                  <a:lnTo>
                    <a:pt x="1" y="0"/>
                  </a:lnTo>
                  <a:lnTo>
                    <a:pt x="0" y="2"/>
                  </a:lnTo>
                  <a:lnTo>
                    <a:pt x="0" y="5"/>
                  </a:lnTo>
                  <a:lnTo>
                    <a:pt x="1" y="6"/>
                  </a:lnTo>
                  <a:lnTo>
                    <a:pt x="5" y="6"/>
                  </a:lnTo>
                  <a:lnTo>
                    <a:pt x="5" y="5"/>
                  </a:lnTo>
                  <a:lnTo>
                    <a:pt x="7" y="3"/>
                  </a:lnTo>
                  <a:lnTo>
                    <a:pt x="7"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0" name="Freeform 279"/>
            <p:cNvSpPr>
              <a:spLocks/>
            </p:cNvSpPr>
            <p:nvPr/>
          </p:nvSpPr>
          <p:spPr bwMode="auto">
            <a:xfrm>
              <a:off x="6186489" y="4064004"/>
              <a:ext cx="6350" cy="9525"/>
            </a:xfrm>
            <a:custGeom>
              <a:avLst/>
              <a:gdLst>
                <a:gd name="T0" fmla="*/ 2147483647 w 4"/>
                <a:gd name="T1" fmla="*/ 2147483647 h 6"/>
                <a:gd name="T2" fmla="*/ 2147483647 w 4"/>
                <a:gd name="T3" fmla="*/ 2147483647 h 6"/>
                <a:gd name="T4" fmla="*/ 2147483647 w 4"/>
                <a:gd name="T5" fmla="*/ 2147483647 h 6"/>
                <a:gd name="T6" fmla="*/ 0 w 4"/>
                <a:gd name="T7" fmla="*/ 2147483647 h 6"/>
                <a:gd name="T8" fmla="*/ 0 w 4"/>
                <a:gd name="T9" fmla="*/ 2147483647 h 6"/>
                <a:gd name="T10" fmla="*/ 2147483647 w 4"/>
                <a:gd name="T11" fmla="*/ 0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3"/>
                  </a:moveTo>
                  <a:lnTo>
                    <a:pt x="4" y="6"/>
                  </a:lnTo>
                  <a:lnTo>
                    <a:pt x="1" y="6"/>
                  </a:lnTo>
                  <a:lnTo>
                    <a:pt x="0" y="3"/>
                  </a:lnTo>
                  <a:lnTo>
                    <a:pt x="0" y="1"/>
                  </a:lnTo>
                  <a:lnTo>
                    <a:pt x="1" y="0"/>
                  </a:lnTo>
                  <a:lnTo>
                    <a:pt x="3" y="1"/>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1" name="Freeform 280"/>
            <p:cNvSpPr>
              <a:spLocks/>
            </p:cNvSpPr>
            <p:nvPr/>
          </p:nvSpPr>
          <p:spPr bwMode="auto">
            <a:xfrm>
              <a:off x="7212014" y="3689354"/>
              <a:ext cx="9525" cy="9525"/>
            </a:xfrm>
            <a:custGeom>
              <a:avLst/>
              <a:gdLst>
                <a:gd name="T0" fmla="*/ 2147483647 w 6"/>
                <a:gd name="T1" fmla="*/ 2147483647 h 6"/>
                <a:gd name="T2" fmla="*/ 2147483647 w 6"/>
                <a:gd name="T3" fmla="*/ 2147483647 h 6"/>
                <a:gd name="T4" fmla="*/ 2147483647 w 6"/>
                <a:gd name="T5" fmla="*/ 0 h 6"/>
                <a:gd name="T6" fmla="*/ 2147483647 w 6"/>
                <a:gd name="T7" fmla="*/ 0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2"/>
                  </a:moveTo>
                  <a:lnTo>
                    <a:pt x="6" y="2"/>
                  </a:lnTo>
                  <a:lnTo>
                    <a:pt x="4" y="0"/>
                  </a:lnTo>
                  <a:lnTo>
                    <a:pt x="2" y="0"/>
                  </a:lnTo>
                  <a:lnTo>
                    <a:pt x="1" y="0"/>
                  </a:lnTo>
                  <a:lnTo>
                    <a:pt x="0" y="2"/>
                  </a:lnTo>
                  <a:lnTo>
                    <a:pt x="0" y="4"/>
                  </a:lnTo>
                  <a:lnTo>
                    <a:pt x="1" y="6"/>
                  </a:lnTo>
                  <a:lnTo>
                    <a:pt x="5" y="6"/>
                  </a:lnTo>
                  <a:lnTo>
                    <a:pt x="5" y="4"/>
                  </a:lnTo>
                  <a:lnTo>
                    <a:pt x="6" y="3"/>
                  </a:lnTo>
                  <a:lnTo>
                    <a:pt x="6"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2" name="Freeform 281"/>
            <p:cNvSpPr>
              <a:spLocks/>
            </p:cNvSpPr>
            <p:nvPr/>
          </p:nvSpPr>
          <p:spPr bwMode="auto">
            <a:xfrm>
              <a:off x="6184901" y="4060829"/>
              <a:ext cx="6350" cy="9525"/>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2147483647 w 4"/>
                <a:gd name="T11" fmla="*/ 2147483647 h 6"/>
                <a:gd name="T12" fmla="*/ 0 w 4"/>
                <a:gd name="T13" fmla="*/ 2147483647 h 6"/>
                <a:gd name="T14" fmla="*/ 0 w 4"/>
                <a:gd name="T15" fmla="*/ 2147483647 h 6"/>
                <a:gd name="T16" fmla="*/ 0 w 4"/>
                <a:gd name="T17" fmla="*/ 2147483647 h 6"/>
                <a:gd name="T18" fmla="*/ 2147483647 w 4"/>
                <a:gd name="T19" fmla="*/ 0 h 6"/>
                <a:gd name="T20" fmla="*/ 2147483647 w 4"/>
                <a:gd name="T21" fmla="*/ 2147483647 h 6"/>
                <a:gd name="T22" fmla="*/ 2147483647 w 4"/>
                <a:gd name="T23" fmla="*/ 2147483647 h 6"/>
                <a:gd name="T24" fmla="*/ 2147483647 w 4"/>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4" y="4"/>
                  </a:moveTo>
                  <a:lnTo>
                    <a:pt x="4" y="4"/>
                  </a:lnTo>
                  <a:lnTo>
                    <a:pt x="4" y="6"/>
                  </a:lnTo>
                  <a:lnTo>
                    <a:pt x="1" y="6"/>
                  </a:lnTo>
                  <a:lnTo>
                    <a:pt x="0" y="4"/>
                  </a:lnTo>
                  <a:lnTo>
                    <a:pt x="0" y="2"/>
                  </a:lnTo>
                  <a:lnTo>
                    <a:pt x="1" y="0"/>
                  </a:lnTo>
                  <a:lnTo>
                    <a:pt x="2" y="2"/>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3" name="Freeform 282"/>
            <p:cNvSpPr>
              <a:spLocks/>
            </p:cNvSpPr>
            <p:nvPr/>
          </p:nvSpPr>
          <p:spPr bwMode="auto">
            <a:xfrm>
              <a:off x="6357938" y="4111625"/>
              <a:ext cx="63500" cy="120650"/>
            </a:xfrm>
            <a:custGeom>
              <a:avLst/>
              <a:gdLst>
                <a:gd name="T0" fmla="*/ 2147483647 w 43"/>
                <a:gd name="T1" fmla="*/ 2147483647 h 76"/>
                <a:gd name="T2" fmla="*/ 2147483647 w 43"/>
                <a:gd name="T3" fmla="*/ 2147483647 h 76"/>
                <a:gd name="T4" fmla="*/ 2147483647 w 43"/>
                <a:gd name="T5" fmla="*/ 2147483647 h 76"/>
                <a:gd name="T6" fmla="*/ 2147483647 w 43"/>
                <a:gd name="T7" fmla="*/ 2147483647 h 76"/>
                <a:gd name="T8" fmla="*/ 2147483647 w 43"/>
                <a:gd name="T9" fmla="*/ 2147483647 h 76"/>
                <a:gd name="T10" fmla="*/ 2147483647 w 43"/>
                <a:gd name="T11" fmla="*/ 2147483647 h 76"/>
                <a:gd name="T12" fmla="*/ 2147483647 w 43"/>
                <a:gd name="T13" fmla="*/ 2147483647 h 76"/>
                <a:gd name="T14" fmla="*/ 2147483647 w 43"/>
                <a:gd name="T15" fmla="*/ 2147483647 h 76"/>
                <a:gd name="T16" fmla="*/ 2147483647 w 43"/>
                <a:gd name="T17" fmla="*/ 2147483647 h 76"/>
                <a:gd name="T18" fmla="*/ 2147483647 w 43"/>
                <a:gd name="T19" fmla="*/ 2147483647 h 76"/>
                <a:gd name="T20" fmla="*/ 2147483647 w 43"/>
                <a:gd name="T21" fmla="*/ 2147483647 h 76"/>
                <a:gd name="T22" fmla="*/ 2147483647 w 43"/>
                <a:gd name="T23" fmla="*/ 0 h 76"/>
                <a:gd name="T24" fmla="*/ 2147483647 w 43"/>
                <a:gd name="T25" fmla="*/ 2147483647 h 76"/>
                <a:gd name="T26" fmla="*/ 2147483647 w 43"/>
                <a:gd name="T27" fmla="*/ 2147483647 h 76"/>
                <a:gd name="T28" fmla="*/ 2147483647 w 43"/>
                <a:gd name="T29" fmla="*/ 2147483647 h 76"/>
                <a:gd name="T30" fmla="*/ 2147483647 w 43"/>
                <a:gd name="T31" fmla="*/ 2147483647 h 76"/>
                <a:gd name="T32" fmla="*/ 2147483647 w 43"/>
                <a:gd name="T33" fmla="*/ 2147483647 h 76"/>
                <a:gd name="T34" fmla="*/ 2147483647 w 43"/>
                <a:gd name="T35" fmla="*/ 2147483647 h 76"/>
                <a:gd name="T36" fmla="*/ 2147483647 w 43"/>
                <a:gd name="T37" fmla="*/ 2147483647 h 76"/>
                <a:gd name="T38" fmla="*/ 2147483647 w 43"/>
                <a:gd name="T39" fmla="*/ 2147483647 h 76"/>
                <a:gd name="T40" fmla="*/ 2147483647 w 43"/>
                <a:gd name="T41" fmla="*/ 2147483647 h 76"/>
                <a:gd name="T42" fmla="*/ 2147483647 w 43"/>
                <a:gd name="T43" fmla="*/ 2147483647 h 76"/>
                <a:gd name="T44" fmla="*/ 0 w 43"/>
                <a:gd name="T45" fmla="*/ 2147483647 h 76"/>
                <a:gd name="T46" fmla="*/ 0 w 43"/>
                <a:gd name="T47" fmla="*/ 2147483647 h 76"/>
                <a:gd name="T48" fmla="*/ 2147483647 w 43"/>
                <a:gd name="T49" fmla="*/ 2147483647 h 76"/>
                <a:gd name="T50" fmla="*/ 2147483647 w 43"/>
                <a:gd name="T51" fmla="*/ 2147483647 h 76"/>
                <a:gd name="T52" fmla="*/ 2147483647 w 43"/>
                <a:gd name="T53" fmla="*/ 2147483647 h 76"/>
                <a:gd name="T54" fmla="*/ 2147483647 w 43"/>
                <a:gd name="T55" fmla="*/ 2147483647 h 76"/>
                <a:gd name="T56" fmla="*/ 2147483647 w 43"/>
                <a:gd name="T57" fmla="*/ 2147483647 h 76"/>
                <a:gd name="T58" fmla="*/ 2147483647 w 43"/>
                <a:gd name="T59" fmla="*/ 2147483647 h 76"/>
                <a:gd name="T60" fmla="*/ 2147483647 w 43"/>
                <a:gd name="T61" fmla="*/ 2147483647 h 76"/>
                <a:gd name="T62" fmla="*/ 2147483647 w 43"/>
                <a:gd name="T63" fmla="*/ 2147483647 h 76"/>
                <a:gd name="T64" fmla="*/ 2147483647 w 43"/>
                <a:gd name="T65" fmla="*/ 2147483647 h 76"/>
                <a:gd name="T66" fmla="*/ 2147483647 w 43"/>
                <a:gd name="T67" fmla="*/ 2147483647 h 76"/>
                <a:gd name="T68" fmla="*/ 2147483647 w 43"/>
                <a:gd name="T69" fmla="*/ 2147483647 h 76"/>
                <a:gd name="T70" fmla="*/ 2147483647 w 43"/>
                <a:gd name="T71" fmla="*/ 2147483647 h 76"/>
                <a:gd name="T72" fmla="*/ 2147483647 w 43"/>
                <a:gd name="T73" fmla="*/ 2147483647 h 76"/>
                <a:gd name="T74" fmla="*/ 2147483647 w 43"/>
                <a:gd name="T75" fmla="*/ 2147483647 h 76"/>
                <a:gd name="T76" fmla="*/ 2147483647 w 43"/>
                <a:gd name="T77" fmla="*/ 2147483647 h 76"/>
                <a:gd name="T78" fmla="*/ 2147483647 w 43"/>
                <a:gd name="T79" fmla="*/ 2147483647 h 76"/>
                <a:gd name="T80" fmla="*/ 2147483647 w 43"/>
                <a:gd name="T81" fmla="*/ 2147483647 h 76"/>
                <a:gd name="T82" fmla="*/ 2147483647 w 43"/>
                <a:gd name="T83" fmla="*/ 2147483647 h 76"/>
                <a:gd name="T84" fmla="*/ 2147483647 w 43"/>
                <a:gd name="T85" fmla="*/ 2147483647 h 76"/>
                <a:gd name="T86" fmla="*/ 2147483647 w 43"/>
                <a:gd name="T87" fmla="*/ 2147483647 h 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
                <a:gd name="T133" fmla="*/ 0 h 76"/>
                <a:gd name="T134" fmla="*/ 43 w 43"/>
                <a:gd name="T135" fmla="*/ 76 h 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 h="76">
                  <a:moveTo>
                    <a:pt x="42" y="47"/>
                  </a:moveTo>
                  <a:lnTo>
                    <a:pt x="37" y="41"/>
                  </a:lnTo>
                  <a:lnTo>
                    <a:pt x="33" y="34"/>
                  </a:lnTo>
                  <a:lnTo>
                    <a:pt x="27" y="21"/>
                  </a:lnTo>
                  <a:lnTo>
                    <a:pt x="25" y="18"/>
                  </a:lnTo>
                  <a:lnTo>
                    <a:pt x="23" y="17"/>
                  </a:lnTo>
                  <a:lnTo>
                    <a:pt x="19" y="13"/>
                  </a:lnTo>
                  <a:lnTo>
                    <a:pt x="18" y="12"/>
                  </a:lnTo>
                  <a:lnTo>
                    <a:pt x="18" y="10"/>
                  </a:lnTo>
                  <a:lnTo>
                    <a:pt x="17" y="5"/>
                  </a:lnTo>
                  <a:lnTo>
                    <a:pt x="13" y="2"/>
                  </a:lnTo>
                  <a:lnTo>
                    <a:pt x="10" y="0"/>
                  </a:lnTo>
                  <a:lnTo>
                    <a:pt x="9" y="2"/>
                  </a:lnTo>
                  <a:lnTo>
                    <a:pt x="9" y="4"/>
                  </a:lnTo>
                  <a:lnTo>
                    <a:pt x="10" y="6"/>
                  </a:lnTo>
                  <a:lnTo>
                    <a:pt x="11" y="9"/>
                  </a:lnTo>
                  <a:lnTo>
                    <a:pt x="10" y="10"/>
                  </a:lnTo>
                  <a:lnTo>
                    <a:pt x="6" y="13"/>
                  </a:lnTo>
                  <a:lnTo>
                    <a:pt x="5" y="18"/>
                  </a:lnTo>
                  <a:lnTo>
                    <a:pt x="4" y="19"/>
                  </a:lnTo>
                  <a:lnTo>
                    <a:pt x="3" y="21"/>
                  </a:lnTo>
                  <a:lnTo>
                    <a:pt x="1" y="22"/>
                  </a:lnTo>
                  <a:lnTo>
                    <a:pt x="0" y="24"/>
                  </a:lnTo>
                  <a:lnTo>
                    <a:pt x="0" y="30"/>
                  </a:lnTo>
                  <a:lnTo>
                    <a:pt x="1" y="36"/>
                  </a:lnTo>
                  <a:lnTo>
                    <a:pt x="1" y="42"/>
                  </a:lnTo>
                  <a:lnTo>
                    <a:pt x="1" y="48"/>
                  </a:lnTo>
                  <a:lnTo>
                    <a:pt x="1" y="53"/>
                  </a:lnTo>
                  <a:lnTo>
                    <a:pt x="1" y="59"/>
                  </a:lnTo>
                  <a:lnTo>
                    <a:pt x="3" y="63"/>
                  </a:lnTo>
                  <a:lnTo>
                    <a:pt x="5" y="69"/>
                  </a:lnTo>
                  <a:lnTo>
                    <a:pt x="8" y="73"/>
                  </a:lnTo>
                  <a:lnTo>
                    <a:pt x="11" y="76"/>
                  </a:lnTo>
                  <a:lnTo>
                    <a:pt x="15" y="76"/>
                  </a:lnTo>
                  <a:lnTo>
                    <a:pt x="22" y="75"/>
                  </a:lnTo>
                  <a:lnTo>
                    <a:pt x="25" y="73"/>
                  </a:lnTo>
                  <a:lnTo>
                    <a:pt x="29" y="69"/>
                  </a:lnTo>
                  <a:lnTo>
                    <a:pt x="32" y="66"/>
                  </a:lnTo>
                  <a:lnTo>
                    <a:pt x="37" y="62"/>
                  </a:lnTo>
                  <a:lnTo>
                    <a:pt x="39" y="59"/>
                  </a:lnTo>
                  <a:lnTo>
                    <a:pt x="42" y="54"/>
                  </a:lnTo>
                  <a:lnTo>
                    <a:pt x="43" y="50"/>
                  </a:lnTo>
                  <a:lnTo>
                    <a:pt x="42" y="48"/>
                  </a:lnTo>
                  <a:lnTo>
                    <a:pt x="42" y="4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4" name="Freeform 283"/>
            <p:cNvSpPr>
              <a:spLocks/>
            </p:cNvSpPr>
            <p:nvPr/>
          </p:nvSpPr>
          <p:spPr bwMode="auto">
            <a:xfrm>
              <a:off x="6681789" y="3989389"/>
              <a:ext cx="12700" cy="36512"/>
            </a:xfrm>
            <a:custGeom>
              <a:avLst/>
              <a:gdLst>
                <a:gd name="T0" fmla="*/ 2147483647 w 8"/>
                <a:gd name="T1" fmla="*/ 2147483647 h 23"/>
                <a:gd name="T2" fmla="*/ 2147483647 w 8"/>
                <a:gd name="T3" fmla="*/ 2147483647 h 23"/>
                <a:gd name="T4" fmla="*/ 2147483647 w 8"/>
                <a:gd name="T5" fmla="*/ 2147483647 h 23"/>
                <a:gd name="T6" fmla="*/ 2147483647 w 8"/>
                <a:gd name="T7" fmla="*/ 2147483647 h 23"/>
                <a:gd name="T8" fmla="*/ 2147483647 w 8"/>
                <a:gd name="T9" fmla="*/ 2147483647 h 23"/>
                <a:gd name="T10" fmla="*/ 2147483647 w 8"/>
                <a:gd name="T11" fmla="*/ 2147483647 h 23"/>
                <a:gd name="T12" fmla="*/ 2147483647 w 8"/>
                <a:gd name="T13" fmla="*/ 2147483647 h 23"/>
                <a:gd name="T14" fmla="*/ 0 w 8"/>
                <a:gd name="T15" fmla="*/ 2147483647 h 23"/>
                <a:gd name="T16" fmla="*/ 2147483647 w 8"/>
                <a:gd name="T17" fmla="*/ 2147483647 h 23"/>
                <a:gd name="T18" fmla="*/ 2147483647 w 8"/>
                <a:gd name="T19" fmla="*/ 2147483647 h 23"/>
                <a:gd name="T20" fmla="*/ 2147483647 w 8"/>
                <a:gd name="T21" fmla="*/ 0 h 23"/>
                <a:gd name="T22" fmla="*/ 2147483647 w 8"/>
                <a:gd name="T23" fmla="*/ 0 h 23"/>
                <a:gd name="T24" fmla="*/ 2147483647 w 8"/>
                <a:gd name="T25" fmla="*/ 2147483647 h 23"/>
                <a:gd name="T26" fmla="*/ 2147483647 w 8"/>
                <a:gd name="T27" fmla="*/ 2147483647 h 23"/>
                <a:gd name="T28" fmla="*/ 2147483647 w 8"/>
                <a:gd name="T29" fmla="*/ 2147483647 h 23"/>
                <a:gd name="T30" fmla="*/ 2147483647 w 8"/>
                <a:gd name="T31" fmla="*/ 2147483647 h 23"/>
                <a:gd name="T32" fmla="*/ 2147483647 w 8"/>
                <a:gd name="T33" fmla="*/ 2147483647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23"/>
                <a:gd name="T53" fmla="*/ 8 w 8"/>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23">
                  <a:moveTo>
                    <a:pt x="6" y="16"/>
                  </a:moveTo>
                  <a:lnTo>
                    <a:pt x="8" y="19"/>
                  </a:lnTo>
                  <a:lnTo>
                    <a:pt x="8" y="22"/>
                  </a:lnTo>
                  <a:lnTo>
                    <a:pt x="6" y="23"/>
                  </a:lnTo>
                  <a:lnTo>
                    <a:pt x="4" y="23"/>
                  </a:lnTo>
                  <a:lnTo>
                    <a:pt x="3" y="22"/>
                  </a:lnTo>
                  <a:lnTo>
                    <a:pt x="1" y="16"/>
                  </a:lnTo>
                  <a:lnTo>
                    <a:pt x="0" y="9"/>
                  </a:lnTo>
                  <a:lnTo>
                    <a:pt x="1" y="3"/>
                  </a:lnTo>
                  <a:lnTo>
                    <a:pt x="3" y="2"/>
                  </a:lnTo>
                  <a:lnTo>
                    <a:pt x="5" y="0"/>
                  </a:lnTo>
                  <a:lnTo>
                    <a:pt x="6" y="0"/>
                  </a:lnTo>
                  <a:lnTo>
                    <a:pt x="8" y="2"/>
                  </a:lnTo>
                  <a:lnTo>
                    <a:pt x="8" y="5"/>
                  </a:lnTo>
                  <a:lnTo>
                    <a:pt x="6" y="11"/>
                  </a:lnTo>
                  <a:lnTo>
                    <a:pt x="5" y="13"/>
                  </a:lnTo>
                  <a:lnTo>
                    <a:pt x="6"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5" name="Freeform 284"/>
            <p:cNvSpPr>
              <a:spLocks/>
            </p:cNvSpPr>
            <p:nvPr/>
          </p:nvSpPr>
          <p:spPr bwMode="auto">
            <a:xfrm>
              <a:off x="6356350" y="4110038"/>
              <a:ext cx="63500" cy="120650"/>
            </a:xfrm>
            <a:custGeom>
              <a:avLst/>
              <a:gdLst>
                <a:gd name="T0" fmla="*/ 2147483647 w 43"/>
                <a:gd name="T1" fmla="*/ 2147483647 h 76"/>
                <a:gd name="T2" fmla="*/ 2147483647 w 43"/>
                <a:gd name="T3" fmla="*/ 2147483647 h 76"/>
                <a:gd name="T4" fmla="*/ 2147483647 w 43"/>
                <a:gd name="T5" fmla="*/ 2147483647 h 76"/>
                <a:gd name="T6" fmla="*/ 2147483647 w 43"/>
                <a:gd name="T7" fmla="*/ 2147483647 h 76"/>
                <a:gd name="T8" fmla="*/ 2147483647 w 43"/>
                <a:gd name="T9" fmla="*/ 2147483647 h 76"/>
                <a:gd name="T10" fmla="*/ 2147483647 w 43"/>
                <a:gd name="T11" fmla="*/ 2147483647 h 76"/>
                <a:gd name="T12" fmla="*/ 2147483647 w 43"/>
                <a:gd name="T13" fmla="*/ 2147483647 h 76"/>
                <a:gd name="T14" fmla="*/ 2147483647 w 43"/>
                <a:gd name="T15" fmla="*/ 2147483647 h 76"/>
                <a:gd name="T16" fmla="*/ 2147483647 w 43"/>
                <a:gd name="T17" fmla="*/ 2147483647 h 76"/>
                <a:gd name="T18" fmla="*/ 2147483647 w 43"/>
                <a:gd name="T19" fmla="*/ 2147483647 h 76"/>
                <a:gd name="T20" fmla="*/ 2147483647 w 43"/>
                <a:gd name="T21" fmla="*/ 2147483647 h 76"/>
                <a:gd name="T22" fmla="*/ 2147483647 w 43"/>
                <a:gd name="T23" fmla="*/ 2147483647 h 76"/>
                <a:gd name="T24" fmla="*/ 2147483647 w 43"/>
                <a:gd name="T25" fmla="*/ 2147483647 h 76"/>
                <a:gd name="T26" fmla="*/ 2147483647 w 43"/>
                <a:gd name="T27" fmla="*/ 2147483647 h 76"/>
                <a:gd name="T28" fmla="*/ 2147483647 w 43"/>
                <a:gd name="T29" fmla="*/ 2147483647 h 76"/>
                <a:gd name="T30" fmla="*/ 2147483647 w 43"/>
                <a:gd name="T31" fmla="*/ 0 h 76"/>
                <a:gd name="T32" fmla="*/ 2147483647 w 43"/>
                <a:gd name="T33" fmla="*/ 2147483647 h 76"/>
                <a:gd name="T34" fmla="*/ 2147483647 w 43"/>
                <a:gd name="T35" fmla="*/ 2147483647 h 76"/>
                <a:gd name="T36" fmla="*/ 2147483647 w 43"/>
                <a:gd name="T37" fmla="*/ 2147483647 h 76"/>
                <a:gd name="T38" fmla="*/ 2147483647 w 43"/>
                <a:gd name="T39" fmla="*/ 2147483647 h 76"/>
                <a:gd name="T40" fmla="*/ 2147483647 w 43"/>
                <a:gd name="T41" fmla="*/ 2147483647 h 76"/>
                <a:gd name="T42" fmla="*/ 2147483647 w 43"/>
                <a:gd name="T43" fmla="*/ 2147483647 h 76"/>
                <a:gd name="T44" fmla="*/ 2147483647 w 43"/>
                <a:gd name="T45" fmla="*/ 2147483647 h 76"/>
                <a:gd name="T46" fmla="*/ 2147483647 w 43"/>
                <a:gd name="T47" fmla="*/ 2147483647 h 76"/>
                <a:gd name="T48" fmla="*/ 2147483647 w 43"/>
                <a:gd name="T49" fmla="*/ 2147483647 h 76"/>
                <a:gd name="T50" fmla="*/ 2147483647 w 43"/>
                <a:gd name="T51" fmla="*/ 2147483647 h 76"/>
                <a:gd name="T52" fmla="*/ 2147483647 w 43"/>
                <a:gd name="T53" fmla="*/ 2147483647 h 76"/>
                <a:gd name="T54" fmla="*/ 2147483647 w 43"/>
                <a:gd name="T55" fmla="*/ 2147483647 h 76"/>
                <a:gd name="T56" fmla="*/ 2147483647 w 43"/>
                <a:gd name="T57" fmla="*/ 2147483647 h 76"/>
                <a:gd name="T58" fmla="*/ 0 w 43"/>
                <a:gd name="T59" fmla="*/ 2147483647 h 76"/>
                <a:gd name="T60" fmla="*/ 0 w 43"/>
                <a:gd name="T61" fmla="*/ 2147483647 h 76"/>
                <a:gd name="T62" fmla="*/ 0 w 43"/>
                <a:gd name="T63" fmla="*/ 2147483647 h 76"/>
                <a:gd name="T64" fmla="*/ 2147483647 w 43"/>
                <a:gd name="T65" fmla="*/ 2147483647 h 76"/>
                <a:gd name="T66" fmla="*/ 2147483647 w 43"/>
                <a:gd name="T67" fmla="*/ 2147483647 h 76"/>
                <a:gd name="T68" fmla="*/ 2147483647 w 43"/>
                <a:gd name="T69" fmla="*/ 2147483647 h 76"/>
                <a:gd name="T70" fmla="*/ 2147483647 w 43"/>
                <a:gd name="T71" fmla="*/ 2147483647 h 76"/>
                <a:gd name="T72" fmla="*/ 2147483647 w 43"/>
                <a:gd name="T73" fmla="*/ 2147483647 h 76"/>
                <a:gd name="T74" fmla="*/ 2147483647 w 43"/>
                <a:gd name="T75" fmla="*/ 2147483647 h 76"/>
                <a:gd name="T76" fmla="*/ 2147483647 w 43"/>
                <a:gd name="T77" fmla="*/ 2147483647 h 76"/>
                <a:gd name="T78" fmla="*/ 2147483647 w 43"/>
                <a:gd name="T79" fmla="*/ 2147483647 h 76"/>
                <a:gd name="T80" fmla="*/ 2147483647 w 43"/>
                <a:gd name="T81" fmla="*/ 2147483647 h 76"/>
                <a:gd name="T82" fmla="*/ 2147483647 w 43"/>
                <a:gd name="T83" fmla="*/ 2147483647 h 76"/>
                <a:gd name="T84" fmla="*/ 2147483647 w 43"/>
                <a:gd name="T85" fmla="*/ 2147483647 h 76"/>
                <a:gd name="T86" fmla="*/ 2147483647 w 43"/>
                <a:gd name="T87" fmla="*/ 2147483647 h 76"/>
                <a:gd name="T88" fmla="*/ 2147483647 w 43"/>
                <a:gd name="T89" fmla="*/ 2147483647 h 76"/>
                <a:gd name="T90" fmla="*/ 2147483647 w 43"/>
                <a:gd name="T91" fmla="*/ 2147483647 h 76"/>
                <a:gd name="T92" fmla="*/ 2147483647 w 43"/>
                <a:gd name="T93" fmla="*/ 2147483647 h 76"/>
                <a:gd name="T94" fmla="*/ 2147483647 w 43"/>
                <a:gd name="T95" fmla="*/ 2147483647 h 76"/>
                <a:gd name="T96" fmla="*/ 2147483647 w 43"/>
                <a:gd name="T97" fmla="*/ 2147483647 h 76"/>
                <a:gd name="T98" fmla="*/ 2147483647 w 43"/>
                <a:gd name="T99" fmla="*/ 2147483647 h 76"/>
                <a:gd name="T100" fmla="*/ 2147483647 w 43"/>
                <a:gd name="T101" fmla="*/ 2147483647 h 76"/>
                <a:gd name="T102" fmla="*/ 2147483647 w 43"/>
                <a:gd name="T103" fmla="*/ 2147483647 h 76"/>
                <a:gd name="T104" fmla="*/ 2147483647 w 43"/>
                <a:gd name="T105" fmla="*/ 2147483647 h 76"/>
                <a:gd name="T106" fmla="*/ 2147483647 w 43"/>
                <a:gd name="T107" fmla="*/ 2147483647 h 76"/>
                <a:gd name="T108" fmla="*/ 2147483647 w 43"/>
                <a:gd name="T109" fmla="*/ 2147483647 h 76"/>
                <a:gd name="T110" fmla="*/ 2147483647 w 43"/>
                <a:gd name="T111" fmla="*/ 2147483647 h 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3"/>
                <a:gd name="T169" fmla="*/ 0 h 76"/>
                <a:gd name="T170" fmla="*/ 43 w 43"/>
                <a:gd name="T171" fmla="*/ 76 h 7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3" h="76">
                  <a:moveTo>
                    <a:pt x="42" y="46"/>
                  </a:moveTo>
                  <a:lnTo>
                    <a:pt x="42" y="46"/>
                  </a:lnTo>
                  <a:lnTo>
                    <a:pt x="37" y="41"/>
                  </a:lnTo>
                  <a:lnTo>
                    <a:pt x="33" y="33"/>
                  </a:lnTo>
                  <a:lnTo>
                    <a:pt x="26" y="20"/>
                  </a:lnTo>
                  <a:lnTo>
                    <a:pt x="25" y="18"/>
                  </a:lnTo>
                  <a:lnTo>
                    <a:pt x="23" y="17"/>
                  </a:lnTo>
                  <a:lnTo>
                    <a:pt x="19" y="13"/>
                  </a:lnTo>
                  <a:lnTo>
                    <a:pt x="18" y="12"/>
                  </a:lnTo>
                  <a:lnTo>
                    <a:pt x="18" y="10"/>
                  </a:lnTo>
                  <a:lnTo>
                    <a:pt x="16" y="5"/>
                  </a:lnTo>
                  <a:lnTo>
                    <a:pt x="12" y="1"/>
                  </a:lnTo>
                  <a:lnTo>
                    <a:pt x="10" y="0"/>
                  </a:lnTo>
                  <a:lnTo>
                    <a:pt x="9" y="1"/>
                  </a:lnTo>
                  <a:lnTo>
                    <a:pt x="9" y="4"/>
                  </a:lnTo>
                  <a:lnTo>
                    <a:pt x="10" y="6"/>
                  </a:lnTo>
                  <a:lnTo>
                    <a:pt x="11" y="9"/>
                  </a:lnTo>
                  <a:lnTo>
                    <a:pt x="10" y="10"/>
                  </a:lnTo>
                  <a:lnTo>
                    <a:pt x="6" y="13"/>
                  </a:lnTo>
                  <a:lnTo>
                    <a:pt x="5" y="18"/>
                  </a:lnTo>
                  <a:lnTo>
                    <a:pt x="4" y="19"/>
                  </a:lnTo>
                  <a:lnTo>
                    <a:pt x="2" y="20"/>
                  </a:lnTo>
                  <a:lnTo>
                    <a:pt x="1" y="22"/>
                  </a:lnTo>
                  <a:lnTo>
                    <a:pt x="0" y="24"/>
                  </a:lnTo>
                  <a:lnTo>
                    <a:pt x="0" y="30"/>
                  </a:lnTo>
                  <a:lnTo>
                    <a:pt x="1" y="36"/>
                  </a:lnTo>
                  <a:lnTo>
                    <a:pt x="1" y="42"/>
                  </a:lnTo>
                  <a:lnTo>
                    <a:pt x="1" y="48"/>
                  </a:lnTo>
                  <a:lnTo>
                    <a:pt x="1" y="52"/>
                  </a:lnTo>
                  <a:lnTo>
                    <a:pt x="1" y="58"/>
                  </a:lnTo>
                  <a:lnTo>
                    <a:pt x="2" y="63"/>
                  </a:lnTo>
                  <a:lnTo>
                    <a:pt x="5" y="69"/>
                  </a:lnTo>
                  <a:lnTo>
                    <a:pt x="7" y="73"/>
                  </a:lnTo>
                  <a:lnTo>
                    <a:pt x="11" y="76"/>
                  </a:lnTo>
                  <a:lnTo>
                    <a:pt x="15" y="76"/>
                  </a:lnTo>
                  <a:lnTo>
                    <a:pt x="21" y="75"/>
                  </a:lnTo>
                  <a:lnTo>
                    <a:pt x="25" y="73"/>
                  </a:lnTo>
                  <a:lnTo>
                    <a:pt x="29" y="69"/>
                  </a:lnTo>
                  <a:lnTo>
                    <a:pt x="32" y="65"/>
                  </a:lnTo>
                  <a:lnTo>
                    <a:pt x="37" y="62"/>
                  </a:lnTo>
                  <a:lnTo>
                    <a:pt x="39" y="58"/>
                  </a:lnTo>
                  <a:lnTo>
                    <a:pt x="42" y="54"/>
                  </a:lnTo>
                  <a:lnTo>
                    <a:pt x="43" y="50"/>
                  </a:lnTo>
                  <a:lnTo>
                    <a:pt x="42" y="48"/>
                  </a:lnTo>
                  <a:lnTo>
                    <a:pt x="42" y="4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6" name="Freeform 285"/>
            <p:cNvSpPr>
              <a:spLocks/>
            </p:cNvSpPr>
            <p:nvPr/>
          </p:nvSpPr>
          <p:spPr bwMode="auto">
            <a:xfrm>
              <a:off x="6680204" y="3987802"/>
              <a:ext cx="11113" cy="36513"/>
            </a:xfrm>
            <a:custGeom>
              <a:avLst/>
              <a:gdLst>
                <a:gd name="T0" fmla="*/ 2147483647 w 7"/>
                <a:gd name="T1" fmla="*/ 2147483647 h 23"/>
                <a:gd name="T2" fmla="*/ 2147483647 w 7"/>
                <a:gd name="T3" fmla="*/ 2147483647 h 23"/>
                <a:gd name="T4" fmla="*/ 2147483647 w 7"/>
                <a:gd name="T5" fmla="*/ 2147483647 h 23"/>
                <a:gd name="T6" fmla="*/ 2147483647 w 7"/>
                <a:gd name="T7" fmla="*/ 2147483647 h 23"/>
                <a:gd name="T8" fmla="*/ 2147483647 w 7"/>
                <a:gd name="T9" fmla="*/ 2147483647 h 23"/>
                <a:gd name="T10" fmla="*/ 2147483647 w 7"/>
                <a:gd name="T11" fmla="*/ 2147483647 h 23"/>
                <a:gd name="T12" fmla="*/ 2147483647 w 7"/>
                <a:gd name="T13" fmla="*/ 2147483647 h 23"/>
                <a:gd name="T14" fmla="*/ 2147483647 w 7"/>
                <a:gd name="T15" fmla="*/ 2147483647 h 23"/>
                <a:gd name="T16" fmla="*/ 2147483647 w 7"/>
                <a:gd name="T17" fmla="*/ 2147483647 h 23"/>
                <a:gd name="T18" fmla="*/ 2147483647 w 7"/>
                <a:gd name="T19" fmla="*/ 2147483647 h 23"/>
                <a:gd name="T20" fmla="*/ 2147483647 w 7"/>
                <a:gd name="T21" fmla="*/ 2147483647 h 23"/>
                <a:gd name="T22" fmla="*/ 0 w 7"/>
                <a:gd name="T23" fmla="*/ 2147483647 h 23"/>
                <a:gd name="T24" fmla="*/ 2147483647 w 7"/>
                <a:gd name="T25" fmla="*/ 2147483647 h 23"/>
                <a:gd name="T26" fmla="*/ 2147483647 w 7"/>
                <a:gd name="T27" fmla="*/ 2147483647 h 23"/>
                <a:gd name="T28" fmla="*/ 2147483647 w 7"/>
                <a:gd name="T29" fmla="*/ 0 h 23"/>
                <a:gd name="T30" fmla="*/ 2147483647 w 7"/>
                <a:gd name="T31" fmla="*/ 0 h 23"/>
                <a:gd name="T32" fmla="*/ 2147483647 w 7"/>
                <a:gd name="T33" fmla="*/ 0 h 23"/>
                <a:gd name="T34" fmla="*/ 2147483647 w 7"/>
                <a:gd name="T35" fmla="*/ 2147483647 h 23"/>
                <a:gd name="T36" fmla="*/ 2147483647 w 7"/>
                <a:gd name="T37" fmla="*/ 2147483647 h 23"/>
                <a:gd name="T38" fmla="*/ 2147483647 w 7"/>
                <a:gd name="T39" fmla="*/ 2147483647 h 23"/>
                <a:gd name="T40" fmla="*/ 2147483647 w 7"/>
                <a:gd name="T41" fmla="*/ 2147483647 h 23"/>
                <a:gd name="T42" fmla="*/ 2147483647 w 7"/>
                <a:gd name="T43" fmla="*/ 2147483647 h 23"/>
                <a:gd name="T44" fmla="*/ 2147483647 w 7"/>
                <a:gd name="T45" fmla="*/ 2147483647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23"/>
                <a:gd name="T71" fmla="*/ 7 w 7"/>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23">
                  <a:moveTo>
                    <a:pt x="6" y="16"/>
                  </a:moveTo>
                  <a:lnTo>
                    <a:pt x="6" y="16"/>
                  </a:lnTo>
                  <a:lnTo>
                    <a:pt x="7" y="19"/>
                  </a:lnTo>
                  <a:lnTo>
                    <a:pt x="7" y="22"/>
                  </a:lnTo>
                  <a:lnTo>
                    <a:pt x="6" y="23"/>
                  </a:lnTo>
                  <a:lnTo>
                    <a:pt x="4" y="23"/>
                  </a:lnTo>
                  <a:lnTo>
                    <a:pt x="2" y="22"/>
                  </a:lnTo>
                  <a:lnTo>
                    <a:pt x="1" y="16"/>
                  </a:lnTo>
                  <a:lnTo>
                    <a:pt x="0" y="8"/>
                  </a:lnTo>
                  <a:lnTo>
                    <a:pt x="1" y="3"/>
                  </a:lnTo>
                  <a:lnTo>
                    <a:pt x="2" y="1"/>
                  </a:lnTo>
                  <a:lnTo>
                    <a:pt x="5" y="0"/>
                  </a:lnTo>
                  <a:lnTo>
                    <a:pt x="6" y="0"/>
                  </a:lnTo>
                  <a:lnTo>
                    <a:pt x="7" y="1"/>
                  </a:lnTo>
                  <a:lnTo>
                    <a:pt x="7" y="5"/>
                  </a:lnTo>
                  <a:lnTo>
                    <a:pt x="6" y="11"/>
                  </a:lnTo>
                  <a:lnTo>
                    <a:pt x="5" y="13"/>
                  </a:lnTo>
                  <a:lnTo>
                    <a:pt x="6"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7" name="Freeform 286"/>
            <p:cNvSpPr>
              <a:spLocks/>
            </p:cNvSpPr>
            <p:nvPr/>
          </p:nvSpPr>
          <p:spPr bwMode="auto">
            <a:xfrm>
              <a:off x="6680200" y="4037016"/>
              <a:ext cx="7938" cy="20637"/>
            </a:xfrm>
            <a:custGeom>
              <a:avLst/>
              <a:gdLst>
                <a:gd name="T0" fmla="*/ 2147483647 w 5"/>
                <a:gd name="T1" fmla="*/ 2147483647 h 13"/>
                <a:gd name="T2" fmla="*/ 2147483647 w 5"/>
                <a:gd name="T3" fmla="*/ 2147483647 h 13"/>
                <a:gd name="T4" fmla="*/ 2147483647 w 5"/>
                <a:gd name="T5" fmla="*/ 2147483647 h 13"/>
                <a:gd name="T6" fmla="*/ 2147483647 w 5"/>
                <a:gd name="T7" fmla="*/ 2147483647 h 13"/>
                <a:gd name="T8" fmla="*/ 0 w 5"/>
                <a:gd name="T9" fmla="*/ 2147483647 h 13"/>
                <a:gd name="T10" fmla="*/ 0 w 5"/>
                <a:gd name="T11" fmla="*/ 2147483647 h 13"/>
                <a:gd name="T12" fmla="*/ 2147483647 w 5"/>
                <a:gd name="T13" fmla="*/ 2147483647 h 13"/>
                <a:gd name="T14" fmla="*/ 2147483647 w 5"/>
                <a:gd name="T15" fmla="*/ 2147483647 h 13"/>
                <a:gd name="T16" fmla="*/ 2147483647 w 5"/>
                <a:gd name="T17" fmla="*/ 0 h 13"/>
                <a:gd name="T18" fmla="*/ 2147483647 w 5"/>
                <a:gd name="T19" fmla="*/ 2147483647 h 13"/>
                <a:gd name="T20" fmla="*/ 2147483647 w 5"/>
                <a:gd name="T21" fmla="*/ 2147483647 h 13"/>
                <a:gd name="T22" fmla="*/ 2147483647 w 5"/>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13"/>
                <a:gd name="T38" fmla="*/ 5 w 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13">
                  <a:moveTo>
                    <a:pt x="5" y="7"/>
                  </a:moveTo>
                  <a:lnTo>
                    <a:pt x="5" y="11"/>
                  </a:lnTo>
                  <a:lnTo>
                    <a:pt x="2" y="13"/>
                  </a:lnTo>
                  <a:lnTo>
                    <a:pt x="1" y="13"/>
                  </a:lnTo>
                  <a:lnTo>
                    <a:pt x="0" y="12"/>
                  </a:lnTo>
                  <a:lnTo>
                    <a:pt x="0" y="5"/>
                  </a:lnTo>
                  <a:lnTo>
                    <a:pt x="1" y="1"/>
                  </a:lnTo>
                  <a:lnTo>
                    <a:pt x="2" y="1"/>
                  </a:lnTo>
                  <a:lnTo>
                    <a:pt x="4" y="0"/>
                  </a:lnTo>
                  <a:lnTo>
                    <a:pt x="5" y="1"/>
                  </a:lnTo>
                  <a:lnTo>
                    <a:pt x="5" y="2"/>
                  </a:lnTo>
                  <a:lnTo>
                    <a:pt x="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8" name="Freeform 287"/>
            <p:cNvSpPr>
              <a:spLocks/>
            </p:cNvSpPr>
            <p:nvPr/>
          </p:nvSpPr>
          <p:spPr bwMode="auto">
            <a:xfrm>
              <a:off x="6677026" y="4068763"/>
              <a:ext cx="9525" cy="19050"/>
            </a:xfrm>
            <a:custGeom>
              <a:avLst/>
              <a:gdLst>
                <a:gd name="T0" fmla="*/ 2147483647 w 7"/>
                <a:gd name="T1" fmla="*/ 2147483647 h 12"/>
                <a:gd name="T2" fmla="*/ 2147483647 w 7"/>
                <a:gd name="T3" fmla="*/ 2147483647 h 12"/>
                <a:gd name="T4" fmla="*/ 2147483647 w 7"/>
                <a:gd name="T5" fmla="*/ 2147483647 h 12"/>
                <a:gd name="T6" fmla="*/ 0 w 7"/>
                <a:gd name="T7" fmla="*/ 2147483647 h 12"/>
                <a:gd name="T8" fmla="*/ 0 w 7"/>
                <a:gd name="T9" fmla="*/ 2147483647 h 12"/>
                <a:gd name="T10" fmla="*/ 2147483647 w 7"/>
                <a:gd name="T11" fmla="*/ 2147483647 h 12"/>
                <a:gd name="T12" fmla="*/ 2147483647 w 7"/>
                <a:gd name="T13" fmla="*/ 0 h 12"/>
                <a:gd name="T14" fmla="*/ 2147483647 w 7"/>
                <a:gd name="T15" fmla="*/ 0 h 12"/>
                <a:gd name="T16" fmla="*/ 2147483647 w 7"/>
                <a:gd name="T17" fmla="*/ 2147483647 h 12"/>
                <a:gd name="T18" fmla="*/ 2147483647 w 7"/>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12"/>
                <a:gd name="T32" fmla="*/ 7 w 7"/>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12">
                  <a:moveTo>
                    <a:pt x="7" y="6"/>
                  </a:moveTo>
                  <a:lnTo>
                    <a:pt x="5" y="10"/>
                  </a:lnTo>
                  <a:lnTo>
                    <a:pt x="3" y="12"/>
                  </a:lnTo>
                  <a:lnTo>
                    <a:pt x="0" y="8"/>
                  </a:lnTo>
                  <a:lnTo>
                    <a:pt x="0" y="6"/>
                  </a:lnTo>
                  <a:lnTo>
                    <a:pt x="1" y="3"/>
                  </a:lnTo>
                  <a:lnTo>
                    <a:pt x="3" y="0"/>
                  </a:lnTo>
                  <a:lnTo>
                    <a:pt x="5" y="0"/>
                  </a:lnTo>
                  <a:lnTo>
                    <a:pt x="7" y="3"/>
                  </a:lnTo>
                  <a:lnTo>
                    <a:pt x="7"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89" name="Freeform 288"/>
            <p:cNvSpPr>
              <a:spLocks/>
            </p:cNvSpPr>
            <p:nvPr/>
          </p:nvSpPr>
          <p:spPr bwMode="auto">
            <a:xfrm>
              <a:off x="6677026" y="4035428"/>
              <a:ext cx="9525" cy="20638"/>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2147483647 w 6"/>
                <a:gd name="T11" fmla="*/ 2147483647 h 13"/>
                <a:gd name="T12" fmla="*/ 0 w 6"/>
                <a:gd name="T13" fmla="*/ 2147483647 h 13"/>
                <a:gd name="T14" fmla="*/ 0 w 6"/>
                <a:gd name="T15" fmla="*/ 2147483647 h 13"/>
                <a:gd name="T16" fmla="*/ 0 w 6"/>
                <a:gd name="T17" fmla="*/ 2147483647 h 13"/>
                <a:gd name="T18" fmla="*/ 2147483647 w 6"/>
                <a:gd name="T19" fmla="*/ 2147483647 h 13"/>
                <a:gd name="T20" fmla="*/ 2147483647 w 6"/>
                <a:gd name="T21" fmla="*/ 2147483647 h 13"/>
                <a:gd name="T22" fmla="*/ 2147483647 w 6"/>
                <a:gd name="T23" fmla="*/ 0 h 13"/>
                <a:gd name="T24" fmla="*/ 2147483647 w 6"/>
                <a:gd name="T25" fmla="*/ 0 h 13"/>
                <a:gd name="T26" fmla="*/ 2147483647 w 6"/>
                <a:gd name="T27" fmla="*/ 2147483647 h 13"/>
                <a:gd name="T28" fmla="*/ 2147483647 w 6"/>
                <a:gd name="T29" fmla="*/ 2147483647 h 13"/>
                <a:gd name="T30" fmla="*/ 2147483647 w 6"/>
                <a:gd name="T31" fmla="*/ 2147483647 h 13"/>
                <a:gd name="T32" fmla="*/ 2147483647 w 6"/>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13"/>
                <a:gd name="T53" fmla="*/ 6 w 6"/>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13">
                  <a:moveTo>
                    <a:pt x="6" y="7"/>
                  </a:moveTo>
                  <a:lnTo>
                    <a:pt x="6" y="7"/>
                  </a:lnTo>
                  <a:lnTo>
                    <a:pt x="6" y="11"/>
                  </a:lnTo>
                  <a:lnTo>
                    <a:pt x="3" y="13"/>
                  </a:lnTo>
                  <a:lnTo>
                    <a:pt x="2" y="13"/>
                  </a:lnTo>
                  <a:lnTo>
                    <a:pt x="0" y="12"/>
                  </a:lnTo>
                  <a:lnTo>
                    <a:pt x="0" y="5"/>
                  </a:lnTo>
                  <a:lnTo>
                    <a:pt x="2" y="1"/>
                  </a:lnTo>
                  <a:lnTo>
                    <a:pt x="3" y="1"/>
                  </a:lnTo>
                  <a:lnTo>
                    <a:pt x="4" y="0"/>
                  </a:lnTo>
                  <a:lnTo>
                    <a:pt x="6" y="1"/>
                  </a:lnTo>
                  <a:lnTo>
                    <a:pt x="6" y="2"/>
                  </a:lnTo>
                  <a:lnTo>
                    <a:pt x="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0" name="Freeform 289"/>
            <p:cNvSpPr>
              <a:spLocks/>
            </p:cNvSpPr>
            <p:nvPr/>
          </p:nvSpPr>
          <p:spPr bwMode="auto">
            <a:xfrm>
              <a:off x="6675442" y="4067179"/>
              <a:ext cx="7937" cy="19050"/>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0 w 6"/>
                <a:gd name="T11" fmla="*/ 2147483647 h 12"/>
                <a:gd name="T12" fmla="*/ 0 w 6"/>
                <a:gd name="T13" fmla="*/ 2147483647 h 12"/>
                <a:gd name="T14" fmla="*/ 2147483647 w 6"/>
                <a:gd name="T15" fmla="*/ 2147483647 h 12"/>
                <a:gd name="T16" fmla="*/ 2147483647 w 6"/>
                <a:gd name="T17" fmla="*/ 0 h 12"/>
                <a:gd name="T18" fmla="*/ 2147483647 w 6"/>
                <a:gd name="T19" fmla="*/ 0 h 12"/>
                <a:gd name="T20" fmla="*/ 2147483647 w 6"/>
                <a:gd name="T21" fmla="*/ 0 h 12"/>
                <a:gd name="T22" fmla="*/ 2147483647 w 6"/>
                <a:gd name="T23" fmla="*/ 0 h 12"/>
                <a:gd name="T24" fmla="*/ 2147483647 w 6"/>
                <a:gd name="T25" fmla="*/ 2147483647 h 12"/>
                <a:gd name="T26" fmla="*/ 2147483647 w 6"/>
                <a:gd name="T27" fmla="*/ 2147483647 h 12"/>
                <a:gd name="T28" fmla="*/ 2147483647 w 6"/>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12"/>
                <a:gd name="T47" fmla="*/ 6 w 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12">
                  <a:moveTo>
                    <a:pt x="6" y="6"/>
                  </a:moveTo>
                  <a:lnTo>
                    <a:pt x="6" y="6"/>
                  </a:lnTo>
                  <a:lnTo>
                    <a:pt x="5" y="9"/>
                  </a:lnTo>
                  <a:lnTo>
                    <a:pt x="2" y="12"/>
                  </a:lnTo>
                  <a:lnTo>
                    <a:pt x="0" y="8"/>
                  </a:lnTo>
                  <a:lnTo>
                    <a:pt x="0" y="6"/>
                  </a:lnTo>
                  <a:lnTo>
                    <a:pt x="1" y="2"/>
                  </a:lnTo>
                  <a:lnTo>
                    <a:pt x="2" y="0"/>
                  </a:lnTo>
                  <a:lnTo>
                    <a:pt x="5" y="0"/>
                  </a:lnTo>
                  <a:lnTo>
                    <a:pt x="6" y="2"/>
                  </a:lnTo>
                  <a:lnTo>
                    <a:pt x="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1" name="Freeform 290"/>
            <p:cNvSpPr>
              <a:spLocks/>
            </p:cNvSpPr>
            <p:nvPr/>
          </p:nvSpPr>
          <p:spPr bwMode="auto">
            <a:xfrm>
              <a:off x="6704014" y="4146550"/>
              <a:ext cx="6350" cy="12700"/>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0 w 4"/>
                <a:gd name="T9" fmla="*/ 2147483647 h 8"/>
                <a:gd name="T10" fmla="*/ 0 w 4"/>
                <a:gd name="T11" fmla="*/ 2147483647 h 8"/>
                <a:gd name="T12" fmla="*/ 0 w 4"/>
                <a:gd name="T13" fmla="*/ 0 h 8"/>
                <a:gd name="T14" fmla="*/ 2147483647 w 4"/>
                <a:gd name="T15" fmla="*/ 0 h 8"/>
                <a:gd name="T16" fmla="*/ 2147483647 w 4"/>
                <a:gd name="T17" fmla="*/ 2147483647 h 8"/>
                <a:gd name="T18" fmla="*/ 2147483647 w 4"/>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4" y="5"/>
                  </a:moveTo>
                  <a:lnTo>
                    <a:pt x="4" y="7"/>
                  </a:lnTo>
                  <a:lnTo>
                    <a:pt x="4" y="8"/>
                  </a:lnTo>
                  <a:lnTo>
                    <a:pt x="3" y="7"/>
                  </a:lnTo>
                  <a:lnTo>
                    <a:pt x="0" y="6"/>
                  </a:lnTo>
                  <a:lnTo>
                    <a:pt x="0" y="5"/>
                  </a:lnTo>
                  <a:lnTo>
                    <a:pt x="0" y="0"/>
                  </a:lnTo>
                  <a:lnTo>
                    <a:pt x="2" y="0"/>
                  </a:lnTo>
                  <a:lnTo>
                    <a:pt x="3" y="1"/>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2" name="Freeform 291"/>
            <p:cNvSpPr>
              <a:spLocks/>
            </p:cNvSpPr>
            <p:nvPr/>
          </p:nvSpPr>
          <p:spPr bwMode="auto">
            <a:xfrm>
              <a:off x="6708775" y="4186242"/>
              <a:ext cx="12700" cy="15875"/>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0 h 10"/>
                <a:gd name="T18" fmla="*/ 2147483647 w 9"/>
                <a:gd name="T19" fmla="*/ 0 h 10"/>
                <a:gd name="T20" fmla="*/ 2147483647 w 9"/>
                <a:gd name="T21" fmla="*/ 2147483647 h 10"/>
                <a:gd name="T22" fmla="*/ 2147483647 w 9"/>
                <a:gd name="T23" fmla="*/ 2147483647 h 10"/>
                <a:gd name="T24" fmla="*/ 2147483647 w 9"/>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0"/>
                <a:gd name="T41" fmla="*/ 9 w 9"/>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0">
                  <a:moveTo>
                    <a:pt x="9" y="7"/>
                  </a:moveTo>
                  <a:lnTo>
                    <a:pt x="9" y="9"/>
                  </a:lnTo>
                  <a:lnTo>
                    <a:pt x="7" y="10"/>
                  </a:lnTo>
                  <a:lnTo>
                    <a:pt x="5" y="9"/>
                  </a:lnTo>
                  <a:lnTo>
                    <a:pt x="2" y="9"/>
                  </a:lnTo>
                  <a:lnTo>
                    <a:pt x="0" y="6"/>
                  </a:lnTo>
                  <a:lnTo>
                    <a:pt x="0" y="3"/>
                  </a:lnTo>
                  <a:lnTo>
                    <a:pt x="2" y="1"/>
                  </a:lnTo>
                  <a:lnTo>
                    <a:pt x="4" y="0"/>
                  </a:lnTo>
                  <a:lnTo>
                    <a:pt x="6" y="0"/>
                  </a:lnTo>
                  <a:lnTo>
                    <a:pt x="7" y="1"/>
                  </a:lnTo>
                  <a:lnTo>
                    <a:pt x="7" y="3"/>
                  </a:lnTo>
                  <a:lnTo>
                    <a:pt x="9"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3" name="Freeform 292"/>
            <p:cNvSpPr>
              <a:spLocks/>
            </p:cNvSpPr>
            <p:nvPr/>
          </p:nvSpPr>
          <p:spPr bwMode="auto">
            <a:xfrm>
              <a:off x="6702426" y="4144964"/>
              <a:ext cx="6350" cy="12700"/>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0 w 4"/>
                <a:gd name="T13" fmla="*/ 2147483647 h 8"/>
                <a:gd name="T14" fmla="*/ 0 w 4"/>
                <a:gd name="T15" fmla="*/ 2147483647 h 8"/>
                <a:gd name="T16" fmla="*/ 0 w 4"/>
                <a:gd name="T17" fmla="*/ 0 h 8"/>
                <a:gd name="T18" fmla="*/ 0 w 4"/>
                <a:gd name="T19" fmla="*/ 0 h 8"/>
                <a:gd name="T20" fmla="*/ 2147483647 w 4"/>
                <a:gd name="T21" fmla="*/ 0 h 8"/>
                <a:gd name="T22" fmla="*/ 2147483647 w 4"/>
                <a:gd name="T23" fmla="*/ 2147483647 h 8"/>
                <a:gd name="T24" fmla="*/ 2147483647 w 4"/>
                <a:gd name="T25" fmla="*/ 2147483647 h 8"/>
                <a:gd name="T26" fmla="*/ 2147483647 w 4"/>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8"/>
                <a:gd name="T44" fmla="*/ 4 w 4"/>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8">
                  <a:moveTo>
                    <a:pt x="4" y="4"/>
                  </a:moveTo>
                  <a:lnTo>
                    <a:pt x="4" y="4"/>
                  </a:lnTo>
                  <a:lnTo>
                    <a:pt x="4" y="7"/>
                  </a:lnTo>
                  <a:lnTo>
                    <a:pt x="4" y="8"/>
                  </a:lnTo>
                  <a:lnTo>
                    <a:pt x="3" y="7"/>
                  </a:lnTo>
                  <a:lnTo>
                    <a:pt x="0" y="6"/>
                  </a:lnTo>
                  <a:lnTo>
                    <a:pt x="0" y="4"/>
                  </a:lnTo>
                  <a:lnTo>
                    <a:pt x="0" y="0"/>
                  </a:lnTo>
                  <a:lnTo>
                    <a:pt x="1" y="0"/>
                  </a:lnTo>
                  <a:lnTo>
                    <a:pt x="3" y="1"/>
                  </a:lnTo>
                  <a:lnTo>
                    <a:pt x="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4" name="Freeform 293"/>
            <p:cNvSpPr>
              <a:spLocks/>
            </p:cNvSpPr>
            <p:nvPr/>
          </p:nvSpPr>
          <p:spPr bwMode="auto">
            <a:xfrm>
              <a:off x="6707188" y="4183063"/>
              <a:ext cx="11112" cy="17462"/>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0 w 8"/>
                <a:gd name="T19" fmla="*/ 2147483647 h 11"/>
                <a:gd name="T20" fmla="*/ 2147483647 w 8"/>
                <a:gd name="T21" fmla="*/ 2147483647 h 11"/>
                <a:gd name="T22" fmla="*/ 2147483647 w 8"/>
                <a:gd name="T23" fmla="*/ 0 h 11"/>
                <a:gd name="T24" fmla="*/ 2147483647 w 8"/>
                <a:gd name="T25" fmla="*/ 0 h 11"/>
                <a:gd name="T26" fmla="*/ 2147483647 w 8"/>
                <a:gd name="T27" fmla="*/ 0 h 11"/>
                <a:gd name="T28" fmla="*/ 2147483647 w 8"/>
                <a:gd name="T29" fmla="*/ 2147483647 h 11"/>
                <a:gd name="T30" fmla="*/ 2147483647 w 8"/>
                <a:gd name="T31" fmla="*/ 2147483647 h 11"/>
                <a:gd name="T32" fmla="*/ 2147483647 w 8"/>
                <a:gd name="T33" fmla="*/ 2147483647 h 11"/>
                <a:gd name="T34" fmla="*/ 2147483647 w 8"/>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11"/>
                <a:gd name="T56" fmla="*/ 8 w 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11">
                  <a:moveTo>
                    <a:pt x="8" y="8"/>
                  </a:moveTo>
                  <a:lnTo>
                    <a:pt x="8" y="8"/>
                  </a:lnTo>
                  <a:lnTo>
                    <a:pt x="8" y="10"/>
                  </a:lnTo>
                  <a:lnTo>
                    <a:pt x="7" y="11"/>
                  </a:lnTo>
                  <a:lnTo>
                    <a:pt x="5" y="10"/>
                  </a:lnTo>
                  <a:lnTo>
                    <a:pt x="2" y="10"/>
                  </a:lnTo>
                  <a:lnTo>
                    <a:pt x="0" y="6"/>
                  </a:lnTo>
                  <a:lnTo>
                    <a:pt x="0" y="4"/>
                  </a:lnTo>
                  <a:lnTo>
                    <a:pt x="2" y="2"/>
                  </a:lnTo>
                  <a:lnTo>
                    <a:pt x="3" y="0"/>
                  </a:lnTo>
                  <a:lnTo>
                    <a:pt x="6" y="0"/>
                  </a:lnTo>
                  <a:lnTo>
                    <a:pt x="7" y="2"/>
                  </a:lnTo>
                  <a:lnTo>
                    <a:pt x="7" y="4"/>
                  </a:lnTo>
                  <a:lnTo>
                    <a:pt x="8"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5" name="Freeform 294"/>
            <p:cNvSpPr>
              <a:spLocks/>
            </p:cNvSpPr>
            <p:nvPr/>
          </p:nvSpPr>
          <p:spPr bwMode="auto">
            <a:xfrm>
              <a:off x="6969126" y="4370389"/>
              <a:ext cx="14288" cy="11112"/>
            </a:xfrm>
            <a:custGeom>
              <a:avLst/>
              <a:gdLst>
                <a:gd name="T0" fmla="*/ 2147483647 w 10"/>
                <a:gd name="T1" fmla="*/ 2147483647 h 7"/>
                <a:gd name="T2" fmla="*/ 2147483647 w 10"/>
                <a:gd name="T3" fmla="*/ 2147483647 h 7"/>
                <a:gd name="T4" fmla="*/ 2147483647 w 10"/>
                <a:gd name="T5" fmla="*/ 2147483647 h 7"/>
                <a:gd name="T6" fmla="*/ 0 w 10"/>
                <a:gd name="T7" fmla="*/ 2147483647 h 7"/>
                <a:gd name="T8" fmla="*/ 0 w 10"/>
                <a:gd name="T9" fmla="*/ 2147483647 h 7"/>
                <a:gd name="T10" fmla="*/ 2147483647 w 10"/>
                <a:gd name="T11" fmla="*/ 2147483647 h 7"/>
                <a:gd name="T12" fmla="*/ 2147483647 w 10"/>
                <a:gd name="T13" fmla="*/ 0 h 7"/>
                <a:gd name="T14" fmla="*/ 2147483647 w 10"/>
                <a:gd name="T15" fmla="*/ 0 h 7"/>
                <a:gd name="T16" fmla="*/ 2147483647 w 10"/>
                <a:gd name="T17" fmla="*/ 2147483647 h 7"/>
                <a:gd name="T18" fmla="*/ 2147483647 w 10"/>
                <a:gd name="T19" fmla="*/ 2147483647 h 7"/>
                <a:gd name="T20" fmla="*/ 2147483647 w 10"/>
                <a:gd name="T21" fmla="*/ 2147483647 h 7"/>
                <a:gd name="T22" fmla="*/ 2147483647 w 10"/>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7"/>
                <a:gd name="T38" fmla="*/ 10 w 10"/>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7">
                  <a:moveTo>
                    <a:pt x="6" y="6"/>
                  </a:moveTo>
                  <a:lnTo>
                    <a:pt x="3" y="7"/>
                  </a:lnTo>
                  <a:lnTo>
                    <a:pt x="2" y="7"/>
                  </a:lnTo>
                  <a:lnTo>
                    <a:pt x="0" y="5"/>
                  </a:lnTo>
                  <a:lnTo>
                    <a:pt x="0" y="2"/>
                  </a:lnTo>
                  <a:lnTo>
                    <a:pt x="1" y="1"/>
                  </a:lnTo>
                  <a:lnTo>
                    <a:pt x="5" y="0"/>
                  </a:lnTo>
                  <a:lnTo>
                    <a:pt x="7" y="0"/>
                  </a:lnTo>
                  <a:lnTo>
                    <a:pt x="8" y="2"/>
                  </a:lnTo>
                  <a:lnTo>
                    <a:pt x="10" y="3"/>
                  </a:lnTo>
                  <a:lnTo>
                    <a:pt x="8" y="5"/>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6" name="Freeform 295"/>
            <p:cNvSpPr>
              <a:spLocks/>
            </p:cNvSpPr>
            <p:nvPr/>
          </p:nvSpPr>
          <p:spPr bwMode="auto">
            <a:xfrm>
              <a:off x="7383464" y="4208463"/>
              <a:ext cx="20637" cy="17462"/>
            </a:xfrm>
            <a:custGeom>
              <a:avLst/>
              <a:gdLst>
                <a:gd name="T0" fmla="*/ 2147483647 w 14"/>
                <a:gd name="T1" fmla="*/ 2147483647 h 11"/>
                <a:gd name="T2" fmla="*/ 2147483647 w 14"/>
                <a:gd name="T3" fmla="*/ 2147483647 h 11"/>
                <a:gd name="T4" fmla="*/ 2147483647 w 14"/>
                <a:gd name="T5" fmla="*/ 2147483647 h 11"/>
                <a:gd name="T6" fmla="*/ 0 w 14"/>
                <a:gd name="T7" fmla="*/ 2147483647 h 11"/>
                <a:gd name="T8" fmla="*/ 2147483647 w 14"/>
                <a:gd name="T9" fmla="*/ 2147483647 h 11"/>
                <a:gd name="T10" fmla="*/ 2147483647 w 14"/>
                <a:gd name="T11" fmla="*/ 2147483647 h 11"/>
                <a:gd name="T12" fmla="*/ 2147483647 w 14"/>
                <a:gd name="T13" fmla="*/ 0 h 11"/>
                <a:gd name="T14" fmla="*/ 2147483647 w 14"/>
                <a:gd name="T15" fmla="*/ 0 h 11"/>
                <a:gd name="T16" fmla="*/ 2147483647 w 14"/>
                <a:gd name="T17" fmla="*/ 2147483647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2147483647 w 14"/>
                <a:gd name="T29" fmla="*/ 2147483647 h 11"/>
                <a:gd name="T30" fmla="*/ 2147483647 w 14"/>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1"/>
                <a:gd name="T50" fmla="*/ 14 w 14"/>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1">
                  <a:moveTo>
                    <a:pt x="5" y="8"/>
                  </a:moveTo>
                  <a:lnTo>
                    <a:pt x="2" y="8"/>
                  </a:lnTo>
                  <a:lnTo>
                    <a:pt x="1" y="7"/>
                  </a:lnTo>
                  <a:lnTo>
                    <a:pt x="0" y="5"/>
                  </a:lnTo>
                  <a:lnTo>
                    <a:pt x="1" y="3"/>
                  </a:lnTo>
                  <a:lnTo>
                    <a:pt x="4" y="1"/>
                  </a:lnTo>
                  <a:lnTo>
                    <a:pt x="5" y="0"/>
                  </a:lnTo>
                  <a:lnTo>
                    <a:pt x="7" y="0"/>
                  </a:lnTo>
                  <a:lnTo>
                    <a:pt x="10" y="1"/>
                  </a:lnTo>
                  <a:lnTo>
                    <a:pt x="12" y="2"/>
                  </a:lnTo>
                  <a:lnTo>
                    <a:pt x="14" y="5"/>
                  </a:lnTo>
                  <a:lnTo>
                    <a:pt x="14" y="6"/>
                  </a:lnTo>
                  <a:lnTo>
                    <a:pt x="14" y="9"/>
                  </a:lnTo>
                  <a:lnTo>
                    <a:pt x="12" y="11"/>
                  </a:lnTo>
                  <a:lnTo>
                    <a:pt x="10" y="11"/>
                  </a:lnTo>
                  <a:lnTo>
                    <a:pt x="5"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7" name="Freeform 296"/>
            <p:cNvSpPr>
              <a:spLocks/>
            </p:cNvSpPr>
            <p:nvPr/>
          </p:nvSpPr>
          <p:spPr bwMode="auto">
            <a:xfrm>
              <a:off x="6965951" y="4368801"/>
              <a:ext cx="15875" cy="11113"/>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0 w 10"/>
                <a:gd name="T11" fmla="*/ 2147483647 h 7"/>
                <a:gd name="T12" fmla="*/ 0 w 10"/>
                <a:gd name="T13" fmla="*/ 2147483647 h 7"/>
                <a:gd name="T14" fmla="*/ 2147483647 w 10"/>
                <a:gd name="T15" fmla="*/ 2147483647 h 7"/>
                <a:gd name="T16" fmla="*/ 2147483647 w 10"/>
                <a:gd name="T17" fmla="*/ 2147483647 h 7"/>
                <a:gd name="T18" fmla="*/ 2147483647 w 10"/>
                <a:gd name="T19" fmla="*/ 0 h 7"/>
                <a:gd name="T20" fmla="*/ 2147483647 w 10"/>
                <a:gd name="T21" fmla="*/ 0 h 7"/>
                <a:gd name="T22" fmla="*/ 2147483647 w 10"/>
                <a:gd name="T23" fmla="*/ 2147483647 h 7"/>
                <a:gd name="T24" fmla="*/ 2147483647 w 10"/>
                <a:gd name="T25" fmla="*/ 2147483647 h 7"/>
                <a:gd name="T26" fmla="*/ 2147483647 w 10"/>
                <a:gd name="T27" fmla="*/ 2147483647 h 7"/>
                <a:gd name="T28" fmla="*/ 2147483647 w 10"/>
                <a:gd name="T29" fmla="*/ 2147483647 h 7"/>
                <a:gd name="T30" fmla="*/ 2147483647 w 10"/>
                <a:gd name="T31" fmla="*/ 2147483647 h 7"/>
                <a:gd name="T32" fmla="*/ 2147483647 w 10"/>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7"/>
                <a:gd name="T53" fmla="*/ 10 w 10"/>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7">
                  <a:moveTo>
                    <a:pt x="7" y="6"/>
                  </a:moveTo>
                  <a:lnTo>
                    <a:pt x="7" y="6"/>
                  </a:lnTo>
                  <a:lnTo>
                    <a:pt x="4" y="7"/>
                  </a:lnTo>
                  <a:lnTo>
                    <a:pt x="3" y="7"/>
                  </a:lnTo>
                  <a:lnTo>
                    <a:pt x="0" y="4"/>
                  </a:lnTo>
                  <a:lnTo>
                    <a:pt x="0" y="2"/>
                  </a:lnTo>
                  <a:lnTo>
                    <a:pt x="2" y="1"/>
                  </a:lnTo>
                  <a:lnTo>
                    <a:pt x="5" y="0"/>
                  </a:lnTo>
                  <a:lnTo>
                    <a:pt x="8" y="0"/>
                  </a:lnTo>
                  <a:lnTo>
                    <a:pt x="9" y="2"/>
                  </a:lnTo>
                  <a:lnTo>
                    <a:pt x="10" y="3"/>
                  </a:lnTo>
                  <a:lnTo>
                    <a:pt x="9" y="4"/>
                  </a:lnTo>
                  <a:lnTo>
                    <a:pt x="7"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8" name="Freeform 297"/>
            <p:cNvSpPr>
              <a:spLocks/>
            </p:cNvSpPr>
            <p:nvPr/>
          </p:nvSpPr>
          <p:spPr bwMode="auto">
            <a:xfrm>
              <a:off x="7381875" y="4206877"/>
              <a:ext cx="19050" cy="15875"/>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0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0 h 10"/>
                <a:gd name="T18" fmla="*/ 2147483647 w 14"/>
                <a:gd name="T19" fmla="*/ 0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2147483647 w 14"/>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
                <a:gd name="T61" fmla="*/ 0 h 10"/>
                <a:gd name="T62" fmla="*/ 14 w 14"/>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 h="10">
                  <a:moveTo>
                    <a:pt x="6" y="8"/>
                  </a:moveTo>
                  <a:lnTo>
                    <a:pt x="6" y="8"/>
                  </a:lnTo>
                  <a:lnTo>
                    <a:pt x="3" y="8"/>
                  </a:lnTo>
                  <a:lnTo>
                    <a:pt x="2" y="7"/>
                  </a:lnTo>
                  <a:lnTo>
                    <a:pt x="0" y="4"/>
                  </a:lnTo>
                  <a:lnTo>
                    <a:pt x="2" y="3"/>
                  </a:lnTo>
                  <a:lnTo>
                    <a:pt x="4" y="1"/>
                  </a:lnTo>
                  <a:lnTo>
                    <a:pt x="6" y="0"/>
                  </a:lnTo>
                  <a:lnTo>
                    <a:pt x="8" y="0"/>
                  </a:lnTo>
                  <a:lnTo>
                    <a:pt x="11" y="1"/>
                  </a:lnTo>
                  <a:lnTo>
                    <a:pt x="13" y="2"/>
                  </a:lnTo>
                  <a:lnTo>
                    <a:pt x="14" y="4"/>
                  </a:lnTo>
                  <a:lnTo>
                    <a:pt x="14" y="6"/>
                  </a:lnTo>
                  <a:lnTo>
                    <a:pt x="14" y="9"/>
                  </a:lnTo>
                  <a:lnTo>
                    <a:pt x="13" y="10"/>
                  </a:lnTo>
                  <a:lnTo>
                    <a:pt x="11" y="10"/>
                  </a:lnTo>
                  <a:lnTo>
                    <a:pt x="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299" name="Freeform 298"/>
            <p:cNvSpPr>
              <a:spLocks/>
            </p:cNvSpPr>
            <p:nvPr/>
          </p:nvSpPr>
          <p:spPr bwMode="auto">
            <a:xfrm>
              <a:off x="7418392" y="4192592"/>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5" y="3"/>
                  </a:moveTo>
                  <a:lnTo>
                    <a:pt x="6" y="4"/>
                  </a:lnTo>
                  <a:lnTo>
                    <a:pt x="5" y="5"/>
                  </a:lnTo>
                  <a:lnTo>
                    <a:pt x="1" y="6"/>
                  </a:lnTo>
                  <a:lnTo>
                    <a:pt x="0" y="5"/>
                  </a:lnTo>
                  <a:lnTo>
                    <a:pt x="0" y="4"/>
                  </a:lnTo>
                  <a:lnTo>
                    <a:pt x="0" y="2"/>
                  </a:lnTo>
                  <a:lnTo>
                    <a:pt x="1" y="0"/>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0" name="Freeform 299"/>
            <p:cNvSpPr>
              <a:spLocks/>
            </p:cNvSpPr>
            <p:nvPr/>
          </p:nvSpPr>
          <p:spPr bwMode="auto">
            <a:xfrm>
              <a:off x="7488238" y="4060825"/>
              <a:ext cx="19050" cy="28575"/>
            </a:xfrm>
            <a:custGeom>
              <a:avLst/>
              <a:gdLst>
                <a:gd name="T0" fmla="*/ 2147483647 w 13"/>
                <a:gd name="T1" fmla="*/ 2147483647 h 18"/>
                <a:gd name="T2" fmla="*/ 2147483647 w 13"/>
                <a:gd name="T3" fmla="*/ 2147483647 h 18"/>
                <a:gd name="T4" fmla="*/ 2147483647 w 13"/>
                <a:gd name="T5" fmla="*/ 2147483647 h 18"/>
                <a:gd name="T6" fmla="*/ 2147483647 w 13"/>
                <a:gd name="T7" fmla="*/ 2147483647 h 18"/>
                <a:gd name="T8" fmla="*/ 2147483647 w 13"/>
                <a:gd name="T9" fmla="*/ 2147483647 h 18"/>
                <a:gd name="T10" fmla="*/ 2147483647 w 13"/>
                <a:gd name="T11" fmla="*/ 2147483647 h 18"/>
                <a:gd name="T12" fmla="*/ 2147483647 w 13"/>
                <a:gd name="T13" fmla="*/ 2147483647 h 18"/>
                <a:gd name="T14" fmla="*/ 2147483647 w 13"/>
                <a:gd name="T15" fmla="*/ 2147483647 h 18"/>
                <a:gd name="T16" fmla="*/ 0 w 13"/>
                <a:gd name="T17" fmla="*/ 2147483647 h 18"/>
                <a:gd name="T18" fmla="*/ 2147483647 w 13"/>
                <a:gd name="T19" fmla="*/ 2147483647 h 18"/>
                <a:gd name="T20" fmla="*/ 2147483647 w 13"/>
                <a:gd name="T21" fmla="*/ 2147483647 h 18"/>
                <a:gd name="T22" fmla="*/ 2147483647 w 13"/>
                <a:gd name="T23" fmla="*/ 0 h 18"/>
                <a:gd name="T24" fmla="*/ 2147483647 w 13"/>
                <a:gd name="T25" fmla="*/ 2147483647 h 18"/>
                <a:gd name="T26" fmla="*/ 2147483647 w 13"/>
                <a:gd name="T27" fmla="*/ 2147483647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8"/>
                <a:gd name="T44" fmla="*/ 13 w 13"/>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8">
                  <a:moveTo>
                    <a:pt x="13" y="8"/>
                  </a:moveTo>
                  <a:lnTo>
                    <a:pt x="13" y="10"/>
                  </a:lnTo>
                  <a:lnTo>
                    <a:pt x="13" y="12"/>
                  </a:lnTo>
                  <a:lnTo>
                    <a:pt x="10" y="16"/>
                  </a:lnTo>
                  <a:lnTo>
                    <a:pt x="6" y="18"/>
                  </a:lnTo>
                  <a:lnTo>
                    <a:pt x="4" y="18"/>
                  </a:lnTo>
                  <a:lnTo>
                    <a:pt x="2" y="17"/>
                  </a:lnTo>
                  <a:lnTo>
                    <a:pt x="1" y="13"/>
                  </a:lnTo>
                  <a:lnTo>
                    <a:pt x="0" y="9"/>
                  </a:lnTo>
                  <a:lnTo>
                    <a:pt x="2" y="4"/>
                  </a:lnTo>
                  <a:lnTo>
                    <a:pt x="5" y="2"/>
                  </a:lnTo>
                  <a:lnTo>
                    <a:pt x="7" y="0"/>
                  </a:lnTo>
                  <a:lnTo>
                    <a:pt x="9" y="2"/>
                  </a:lnTo>
                  <a:lnTo>
                    <a:pt x="13"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1" name="Freeform 300"/>
            <p:cNvSpPr>
              <a:spLocks/>
            </p:cNvSpPr>
            <p:nvPr/>
          </p:nvSpPr>
          <p:spPr bwMode="auto">
            <a:xfrm>
              <a:off x="7415214" y="4191004"/>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0 w 7"/>
                <a:gd name="T15" fmla="*/ 2147483647 h 6"/>
                <a:gd name="T16" fmla="*/ 0 w 7"/>
                <a:gd name="T17" fmla="*/ 2147483647 h 6"/>
                <a:gd name="T18" fmla="*/ 0 w 7"/>
                <a:gd name="T19" fmla="*/ 2147483647 h 6"/>
                <a:gd name="T20" fmla="*/ 2147483647 w 7"/>
                <a:gd name="T21" fmla="*/ 0 h 6"/>
                <a:gd name="T22" fmla="*/ 2147483647 w 7"/>
                <a:gd name="T23" fmla="*/ 2147483647 h 6"/>
                <a:gd name="T24" fmla="*/ 2147483647 w 7"/>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5" y="3"/>
                  </a:moveTo>
                  <a:lnTo>
                    <a:pt x="5" y="3"/>
                  </a:lnTo>
                  <a:lnTo>
                    <a:pt x="7" y="4"/>
                  </a:lnTo>
                  <a:lnTo>
                    <a:pt x="5" y="5"/>
                  </a:lnTo>
                  <a:lnTo>
                    <a:pt x="2" y="6"/>
                  </a:lnTo>
                  <a:lnTo>
                    <a:pt x="0" y="5"/>
                  </a:lnTo>
                  <a:lnTo>
                    <a:pt x="0" y="4"/>
                  </a:lnTo>
                  <a:lnTo>
                    <a:pt x="0" y="1"/>
                  </a:lnTo>
                  <a:lnTo>
                    <a:pt x="2" y="0"/>
                  </a:lnTo>
                  <a:lnTo>
                    <a:pt x="5"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2" name="Freeform 301"/>
            <p:cNvSpPr>
              <a:spLocks/>
            </p:cNvSpPr>
            <p:nvPr/>
          </p:nvSpPr>
          <p:spPr bwMode="auto">
            <a:xfrm>
              <a:off x="7486653" y="4059242"/>
              <a:ext cx="17463" cy="28575"/>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0 w 12"/>
                <a:gd name="T21" fmla="*/ 2147483647 h 18"/>
                <a:gd name="T22" fmla="*/ 2147483647 w 12"/>
                <a:gd name="T23" fmla="*/ 2147483647 h 18"/>
                <a:gd name="T24" fmla="*/ 2147483647 w 12"/>
                <a:gd name="T25" fmla="*/ 2147483647 h 18"/>
                <a:gd name="T26" fmla="*/ 2147483647 w 12"/>
                <a:gd name="T27" fmla="*/ 2147483647 h 18"/>
                <a:gd name="T28" fmla="*/ 2147483647 w 12"/>
                <a:gd name="T29" fmla="*/ 0 h 18"/>
                <a:gd name="T30" fmla="*/ 2147483647 w 12"/>
                <a:gd name="T31" fmla="*/ 2147483647 h 18"/>
                <a:gd name="T32" fmla="*/ 2147483647 w 12"/>
                <a:gd name="T33" fmla="*/ 2147483647 h 18"/>
                <a:gd name="T34" fmla="*/ 2147483647 w 12"/>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8"/>
                <a:gd name="T56" fmla="*/ 12 w 12"/>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8">
                  <a:moveTo>
                    <a:pt x="12" y="7"/>
                  </a:moveTo>
                  <a:lnTo>
                    <a:pt x="12" y="7"/>
                  </a:lnTo>
                  <a:lnTo>
                    <a:pt x="12" y="10"/>
                  </a:lnTo>
                  <a:lnTo>
                    <a:pt x="12" y="12"/>
                  </a:lnTo>
                  <a:lnTo>
                    <a:pt x="10" y="16"/>
                  </a:lnTo>
                  <a:lnTo>
                    <a:pt x="6" y="18"/>
                  </a:lnTo>
                  <a:lnTo>
                    <a:pt x="3" y="18"/>
                  </a:lnTo>
                  <a:lnTo>
                    <a:pt x="2" y="17"/>
                  </a:lnTo>
                  <a:lnTo>
                    <a:pt x="1" y="13"/>
                  </a:lnTo>
                  <a:lnTo>
                    <a:pt x="0" y="9"/>
                  </a:lnTo>
                  <a:lnTo>
                    <a:pt x="2" y="4"/>
                  </a:lnTo>
                  <a:lnTo>
                    <a:pt x="5" y="1"/>
                  </a:lnTo>
                  <a:lnTo>
                    <a:pt x="7" y="0"/>
                  </a:lnTo>
                  <a:lnTo>
                    <a:pt x="8" y="1"/>
                  </a:lnTo>
                  <a:lnTo>
                    <a:pt x="12"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3" name="Freeform 302"/>
            <p:cNvSpPr>
              <a:spLocks/>
            </p:cNvSpPr>
            <p:nvPr/>
          </p:nvSpPr>
          <p:spPr bwMode="auto">
            <a:xfrm>
              <a:off x="7469188" y="4086229"/>
              <a:ext cx="19050" cy="17463"/>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2147483647 h 11"/>
                <a:gd name="T14" fmla="*/ 2147483647 w 13"/>
                <a:gd name="T15" fmla="*/ 2147483647 h 11"/>
                <a:gd name="T16" fmla="*/ 2147483647 w 13"/>
                <a:gd name="T17" fmla="*/ 2147483647 h 11"/>
                <a:gd name="T18" fmla="*/ 0 w 13"/>
                <a:gd name="T19" fmla="*/ 2147483647 h 11"/>
                <a:gd name="T20" fmla="*/ 2147483647 w 13"/>
                <a:gd name="T21" fmla="*/ 2147483647 h 11"/>
                <a:gd name="T22" fmla="*/ 2147483647 w 13"/>
                <a:gd name="T23" fmla="*/ 0 h 11"/>
                <a:gd name="T24" fmla="*/ 2147483647 w 13"/>
                <a:gd name="T25" fmla="*/ 0 h 11"/>
                <a:gd name="T26" fmla="*/ 2147483647 w 13"/>
                <a:gd name="T27" fmla="*/ 2147483647 h 11"/>
                <a:gd name="T28" fmla="*/ 2147483647 w 13"/>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1"/>
                <a:gd name="T47" fmla="*/ 13 w 13"/>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1">
                  <a:moveTo>
                    <a:pt x="9" y="2"/>
                  </a:moveTo>
                  <a:lnTo>
                    <a:pt x="12" y="3"/>
                  </a:lnTo>
                  <a:lnTo>
                    <a:pt x="13" y="6"/>
                  </a:lnTo>
                  <a:lnTo>
                    <a:pt x="13" y="7"/>
                  </a:lnTo>
                  <a:lnTo>
                    <a:pt x="12" y="9"/>
                  </a:lnTo>
                  <a:lnTo>
                    <a:pt x="10" y="11"/>
                  </a:lnTo>
                  <a:lnTo>
                    <a:pt x="8" y="11"/>
                  </a:lnTo>
                  <a:lnTo>
                    <a:pt x="3" y="9"/>
                  </a:lnTo>
                  <a:lnTo>
                    <a:pt x="1" y="7"/>
                  </a:lnTo>
                  <a:lnTo>
                    <a:pt x="0" y="5"/>
                  </a:lnTo>
                  <a:lnTo>
                    <a:pt x="1" y="2"/>
                  </a:lnTo>
                  <a:lnTo>
                    <a:pt x="3" y="0"/>
                  </a:lnTo>
                  <a:lnTo>
                    <a:pt x="5" y="0"/>
                  </a:lnTo>
                  <a:lnTo>
                    <a:pt x="6" y="1"/>
                  </a:lnTo>
                  <a:lnTo>
                    <a:pt x="9"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4" name="Freeform 303"/>
            <p:cNvSpPr>
              <a:spLocks/>
            </p:cNvSpPr>
            <p:nvPr/>
          </p:nvSpPr>
          <p:spPr bwMode="auto">
            <a:xfrm>
              <a:off x="7477129" y="4040189"/>
              <a:ext cx="11113" cy="20637"/>
            </a:xfrm>
            <a:custGeom>
              <a:avLst/>
              <a:gdLst>
                <a:gd name="T0" fmla="*/ 0 w 7"/>
                <a:gd name="T1" fmla="*/ 2147483647 h 13"/>
                <a:gd name="T2" fmla="*/ 0 w 7"/>
                <a:gd name="T3" fmla="*/ 2147483647 h 13"/>
                <a:gd name="T4" fmla="*/ 2147483647 w 7"/>
                <a:gd name="T5" fmla="*/ 0 h 13"/>
                <a:gd name="T6" fmla="*/ 2147483647 w 7"/>
                <a:gd name="T7" fmla="*/ 0 h 13"/>
                <a:gd name="T8" fmla="*/ 2147483647 w 7"/>
                <a:gd name="T9" fmla="*/ 2147483647 h 13"/>
                <a:gd name="T10" fmla="*/ 2147483647 w 7"/>
                <a:gd name="T11" fmla="*/ 2147483647 h 13"/>
                <a:gd name="T12" fmla="*/ 2147483647 w 7"/>
                <a:gd name="T13" fmla="*/ 2147483647 h 13"/>
                <a:gd name="T14" fmla="*/ 2147483647 w 7"/>
                <a:gd name="T15" fmla="*/ 2147483647 h 13"/>
                <a:gd name="T16" fmla="*/ 2147483647 w 7"/>
                <a:gd name="T17" fmla="*/ 2147483647 h 13"/>
                <a:gd name="T18" fmla="*/ 2147483647 w 7"/>
                <a:gd name="T19" fmla="*/ 2147483647 h 13"/>
                <a:gd name="T20" fmla="*/ 0 w 7"/>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3"/>
                <a:gd name="T35" fmla="*/ 7 w 7"/>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3">
                  <a:moveTo>
                    <a:pt x="0" y="9"/>
                  </a:moveTo>
                  <a:lnTo>
                    <a:pt x="0" y="3"/>
                  </a:lnTo>
                  <a:lnTo>
                    <a:pt x="2" y="0"/>
                  </a:lnTo>
                  <a:lnTo>
                    <a:pt x="3" y="0"/>
                  </a:lnTo>
                  <a:lnTo>
                    <a:pt x="6" y="4"/>
                  </a:lnTo>
                  <a:lnTo>
                    <a:pt x="7" y="8"/>
                  </a:lnTo>
                  <a:lnTo>
                    <a:pt x="7" y="11"/>
                  </a:lnTo>
                  <a:lnTo>
                    <a:pt x="6" y="13"/>
                  </a:lnTo>
                  <a:lnTo>
                    <a:pt x="4" y="13"/>
                  </a:lnTo>
                  <a:lnTo>
                    <a:pt x="2" y="12"/>
                  </a:lnTo>
                  <a:lnTo>
                    <a:pt x="0"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5" name="Freeform 304"/>
            <p:cNvSpPr>
              <a:spLocks/>
            </p:cNvSpPr>
            <p:nvPr/>
          </p:nvSpPr>
          <p:spPr bwMode="auto">
            <a:xfrm>
              <a:off x="7467600" y="4084639"/>
              <a:ext cx="19050" cy="15875"/>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2147483647 w 13"/>
                <a:gd name="T15" fmla="*/ 2147483647 h 10"/>
                <a:gd name="T16" fmla="*/ 2147483647 w 13"/>
                <a:gd name="T17" fmla="*/ 2147483647 h 10"/>
                <a:gd name="T18" fmla="*/ 2147483647 w 13"/>
                <a:gd name="T19" fmla="*/ 2147483647 h 10"/>
                <a:gd name="T20" fmla="*/ 2147483647 w 13"/>
                <a:gd name="T21" fmla="*/ 2147483647 h 10"/>
                <a:gd name="T22" fmla="*/ 2147483647 w 13"/>
                <a:gd name="T23" fmla="*/ 2147483647 h 10"/>
                <a:gd name="T24" fmla="*/ 0 w 13"/>
                <a:gd name="T25" fmla="*/ 2147483647 h 10"/>
                <a:gd name="T26" fmla="*/ 2147483647 w 13"/>
                <a:gd name="T27" fmla="*/ 2147483647 h 10"/>
                <a:gd name="T28" fmla="*/ 2147483647 w 13"/>
                <a:gd name="T29" fmla="*/ 0 h 10"/>
                <a:gd name="T30" fmla="*/ 2147483647 w 13"/>
                <a:gd name="T31" fmla="*/ 0 h 10"/>
                <a:gd name="T32" fmla="*/ 2147483647 w 13"/>
                <a:gd name="T33" fmla="*/ 0 h 10"/>
                <a:gd name="T34" fmla="*/ 2147483647 w 13"/>
                <a:gd name="T35" fmla="*/ 2147483647 h 10"/>
                <a:gd name="T36" fmla="*/ 2147483647 w 13"/>
                <a:gd name="T37" fmla="*/ 2147483647 h 10"/>
                <a:gd name="T38" fmla="*/ 2147483647 w 13"/>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0"/>
                <a:gd name="T62" fmla="*/ 13 w 13"/>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0">
                  <a:moveTo>
                    <a:pt x="9" y="2"/>
                  </a:moveTo>
                  <a:lnTo>
                    <a:pt x="9" y="2"/>
                  </a:lnTo>
                  <a:lnTo>
                    <a:pt x="11" y="3"/>
                  </a:lnTo>
                  <a:lnTo>
                    <a:pt x="13" y="6"/>
                  </a:lnTo>
                  <a:lnTo>
                    <a:pt x="13" y="7"/>
                  </a:lnTo>
                  <a:lnTo>
                    <a:pt x="11" y="9"/>
                  </a:lnTo>
                  <a:lnTo>
                    <a:pt x="10" y="10"/>
                  </a:lnTo>
                  <a:lnTo>
                    <a:pt x="7" y="10"/>
                  </a:lnTo>
                  <a:lnTo>
                    <a:pt x="2" y="9"/>
                  </a:lnTo>
                  <a:lnTo>
                    <a:pt x="1" y="7"/>
                  </a:lnTo>
                  <a:lnTo>
                    <a:pt x="0" y="4"/>
                  </a:lnTo>
                  <a:lnTo>
                    <a:pt x="1" y="2"/>
                  </a:lnTo>
                  <a:lnTo>
                    <a:pt x="2" y="0"/>
                  </a:lnTo>
                  <a:lnTo>
                    <a:pt x="5" y="0"/>
                  </a:lnTo>
                  <a:lnTo>
                    <a:pt x="6" y="1"/>
                  </a:lnTo>
                  <a:lnTo>
                    <a:pt x="9"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6" name="Freeform 305"/>
            <p:cNvSpPr>
              <a:spLocks/>
            </p:cNvSpPr>
            <p:nvPr/>
          </p:nvSpPr>
          <p:spPr bwMode="auto">
            <a:xfrm>
              <a:off x="7477128" y="4038602"/>
              <a:ext cx="9525" cy="20638"/>
            </a:xfrm>
            <a:custGeom>
              <a:avLst/>
              <a:gdLst>
                <a:gd name="T0" fmla="*/ 0 w 7"/>
                <a:gd name="T1" fmla="*/ 2147483647 h 13"/>
                <a:gd name="T2" fmla="*/ 0 w 7"/>
                <a:gd name="T3" fmla="*/ 2147483647 h 13"/>
                <a:gd name="T4" fmla="*/ 0 w 7"/>
                <a:gd name="T5" fmla="*/ 2147483647 h 13"/>
                <a:gd name="T6" fmla="*/ 2147483647 w 7"/>
                <a:gd name="T7" fmla="*/ 0 h 13"/>
                <a:gd name="T8" fmla="*/ 2147483647 w 7"/>
                <a:gd name="T9" fmla="*/ 0 h 13"/>
                <a:gd name="T10" fmla="*/ 2147483647 w 7"/>
                <a:gd name="T11" fmla="*/ 0 h 13"/>
                <a:gd name="T12" fmla="*/ 2147483647 w 7"/>
                <a:gd name="T13" fmla="*/ 0 h 13"/>
                <a:gd name="T14" fmla="*/ 2147483647 w 7"/>
                <a:gd name="T15" fmla="*/ 2147483647 h 13"/>
                <a:gd name="T16" fmla="*/ 2147483647 w 7"/>
                <a:gd name="T17" fmla="*/ 2147483647 h 13"/>
                <a:gd name="T18" fmla="*/ 2147483647 w 7"/>
                <a:gd name="T19" fmla="*/ 2147483647 h 13"/>
                <a:gd name="T20" fmla="*/ 2147483647 w 7"/>
                <a:gd name="T21" fmla="*/ 2147483647 h 13"/>
                <a:gd name="T22" fmla="*/ 2147483647 w 7"/>
                <a:gd name="T23" fmla="*/ 2147483647 h 13"/>
                <a:gd name="T24" fmla="*/ 2147483647 w 7"/>
                <a:gd name="T25" fmla="*/ 2147483647 h 13"/>
                <a:gd name="T26" fmla="*/ 2147483647 w 7"/>
                <a:gd name="T27" fmla="*/ 2147483647 h 13"/>
                <a:gd name="T28" fmla="*/ 0 w 7"/>
                <a:gd name="T29" fmla="*/ 2147483647 h 13"/>
                <a:gd name="T30" fmla="*/ 0 w 7"/>
                <a:gd name="T31" fmla="*/ 2147483647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13"/>
                <a:gd name="T50" fmla="*/ 7 w 7"/>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13">
                  <a:moveTo>
                    <a:pt x="0" y="9"/>
                  </a:moveTo>
                  <a:lnTo>
                    <a:pt x="0" y="9"/>
                  </a:lnTo>
                  <a:lnTo>
                    <a:pt x="0" y="3"/>
                  </a:lnTo>
                  <a:lnTo>
                    <a:pt x="1" y="0"/>
                  </a:lnTo>
                  <a:lnTo>
                    <a:pt x="3" y="0"/>
                  </a:lnTo>
                  <a:lnTo>
                    <a:pt x="5" y="4"/>
                  </a:lnTo>
                  <a:lnTo>
                    <a:pt x="7" y="7"/>
                  </a:lnTo>
                  <a:lnTo>
                    <a:pt x="7" y="11"/>
                  </a:lnTo>
                  <a:lnTo>
                    <a:pt x="5" y="13"/>
                  </a:lnTo>
                  <a:lnTo>
                    <a:pt x="4" y="13"/>
                  </a:lnTo>
                  <a:lnTo>
                    <a:pt x="1" y="12"/>
                  </a:lnTo>
                  <a:lnTo>
                    <a:pt x="0"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7" name="Freeform 306"/>
            <p:cNvSpPr>
              <a:spLocks/>
            </p:cNvSpPr>
            <p:nvPr/>
          </p:nvSpPr>
          <p:spPr bwMode="auto">
            <a:xfrm>
              <a:off x="7300914" y="4046538"/>
              <a:ext cx="60325" cy="93662"/>
            </a:xfrm>
            <a:custGeom>
              <a:avLst/>
              <a:gdLst>
                <a:gd name="T0" fmla="*/ 2147483647 w 41"/>
                <a:gd name="T1" fmla="*/ 2147483647 h 59"/>
                <a:gd name="T2" fmla="*/ 2147483647 w 41"/>
                <a:gd name="T3" fmla="*/ 2147483647 h 59"/>
                <a:gd name="T4" fmla="*/ 2147483647 w 41"/>
                <a:gd name="T5" fmla="*/ 0 h 59"/>
                <a:gd name="T6" fmla="*/ 2147483647 w 41"/>
                <a:gd name="T7" fmla="*/ 2147483647 h 59"/>
                <a:gd name="T8" fmla="*/ 2147483647 w 41"/>
                <a:gd name="T9" fmla="*/ 2147483647 h 59"/>
                <a:gd name="T10" fmla="*/ 2147483647 w 41"/>
                <a:gd name="T11" fmla="*/ 2147483647 h 59"/>
                <a:gd name="T12" fmla="*/ 2147483647 w 41"/>
                <a:gd name="T13" fmla="*/ 2147483647 h 59"/>
                <a:gd name="T14" fmla="*/ 2147483647 w 41"/>
                <a:gd name="T15" fmla="*/ 2147483647 h 59"/>
                <a:gd name="T16" fmla="*/ 2147483647 w 41"/>
                <a:gd name="T17" fmla="*/ 2147483647 h 59"/>
                <a:gd name="T18" fmla="*/ 2147483647 w 41"/>
                <a:gd name="T19" fmla="*/ 2147483647 h 59"/>
                <a:gd name="T20" fmla="*/ 2147483647 w 41"/>
                <a:gd name="T21" fmla="*/ 2147483647 h 59"/>
                <a:gd name="T22" fmla="*/ 2147483647 w 41"/>
                <a:gd name="T23" fmla="*/ 2147483647 h 59"/>
                <a:gd name="T24" fmla="*/ 2147483647 w 41"/>
                <a:gd name="T25" fmla="*/ 2147483647 h 59"/>
                <a:gd name="T26" fmla="*/ 0 w 41"/>
                <a:gd name="T27" fmla="*/ 2147483647 h 59"/>
                <a:gd name="T28" fmla="*/ 0 w 41"/>
                <a:gd name="T29" fmla="*/ 2147483647 h 59"/>
                <a:gd name="T30" fmla="*/ 2147483647 w 41"/>
                <a:gd name="T31" fmla="*/ 2147483647 h 59"/>
                <a:gd name="T32" fmla="*/ 2147483647 w 41"/>
                <a:gd name="T33" fmla="*/ 2147483647 h 59"/>
                <a:gd name="T34" fmla="*/ 2147483647 w 41"/>
                <a:gd name="T35" fmla="*/ 2147483647 h 59"/>
                <a:gd name="T36" fmla="*/ 2147483647 w 41"/>
                <a:gd name="T37" fmla="*/ 2147483647 h 59"/>
                <a:gd name="T38" fmla="*/ 2147483647 w 41"/>
                <a:gd name="T39" fmla="*/ 2147483647 h 59"/>
                <a:gd name="T40" fmla="*/ 2147483647 w 41"/>
                <a:gd name="T41" fmla="*/ 2147483647 h 59"/>
                <a:gd name="T42" fmla="*/ 2147483647 w 41"/>
                <a:gd name="T43" fmla="*/ 2147483647 h 59"/>
                <a:gd name="T44" fmla="*/ 2147483647 w 41"/>
                <a:gd name="T45" fmla="*/ 2147483647 h 59"/>
                <a:gd name="T46" fmla="*/ 2147483647 w 41"/>
                <a:gd name="T47" fmla="*/ 2147483647 h 59"/>
                <a:gd name="T48" fmla="*/ 2147483647 w 41"/>
                <a:gd name="T49" fmla="*/ 2147483647 h 59"/>
                <a:gd name="T50" fmla="*/ 2147483647 w 41"/>
                <a:gd name="T51" fmla="*/ 2147483647 h 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9"/>
                <a:gd name="T80" fmla="*/ 41 w 41"/>
                <a:gd name="T81" fmla="*/ 59 h 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9">
                  <a:moveTo>
                    <a:pt x="40" y="5"/>
                  </a:moveTo>
                  <a:lnTo>
                    <a:pt x="39" y="2"/>
                  </a:lnTo>
                  <a:lnTo>
                    <a:pt x="38" y="0"/>
                  </a:lnTo>
                  <a:lnTo>
                    <a:pt x="34" y="5"/>
                  </a:lnTo>
                  <a:lnTo>
                    <a:pt x="31" y="8"/>
                  </a:lnTo>
                  <a:lnTo>
                    <a:pt x="30" y="11"/>
                  </a:lnTo>
                  <a:lnTo>
                    <a:pt x="29" y="18"/>
                  </a:lnTo>
                  <a:lnTo>
                    <a:pt x="28" y="20"/>
                  </a:lnTo>
                  <a:lnTo>
                    <a:pt x="25" y="22"/>
                  </a:lnTo>
                  <a:lnTo>
                    <a:pt x="24" y="27"/>
                  </a:lnTo>
                  <a:lnTo>
                    <a:pt x="17" y="34"/>
                  </a:lnTo>
                  <a:lnTo>
                    <a:pt x="11" y="41"/>
                  </a:lnTo>
                  <a:lnTo>
                    <a:pt x="1" y="53"/>
                  </a:lnTo>
                  <a:lnTo>
                    <a:pt x="0" y="57"/>
                  </a:lnTo>
                  <a:lnTo>
                    <a:pt x="0" y="58"/>
                  </a:lnTo>
                  <a:lnTo>
                    <a:pt x="1" y="59"/>
                  </a:lnTo>
                  <a:lnTo>
                    <a:pt x="6" y="58"/>
                  </a:lnTo>
                  <a:lnTo>
                    <a:pt x="11" y="57"/>
                  </a:lnTo>
                  <a:lnTo>
                    <a:pt x="15" y="53"/>
                  </a:lnTo>
                  <a:lnTo>
                    <a:pt x="17" y="50"/>
                  </a:lnTo>
                  <a:lnTo>
                    <a:pt x="29" y="32"/>
                  </a:lnTo>
                  <a:lnTo>
                    <a:pt x="34" y="25"/>
                  </a:lnTo>
                  <a:lnTo>
                    <a:pt x="38" y="18"/>
                  </a:lnTo>
                  <a:lnTo>
                    <a:pt x="40" y="12"/>
                  </a:lnTo>
                  <a:lnTo>
                    <a:pt x="41" y="8"/>
                  </a:lnTo>
                  <a:lnTo>
                    <a:pt x="40"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8" name="Freeform 307"/>
            <p:cNvSpPr>
              <a:spLocks/>
            </p:cNvSpPr>
            <p:nvPr/>
          </p:nvSpPr>
          <p:spPr bwMode="auto">
            <a:xfrm>
              <a:off x="7415214" y="4106863"/>
              <a:ext cx="123825" cy="125412"/>
            </a:xfrm>
            <a:custGeom>
              <a:avLst/>
              <a:gdLst>
                <a:gd name="T0" fmla="*/ 2147483647 w 85"/>
                <a:gd name="T1" fmla="*/ 2147483647 h 79"/>
                <a:gd name="T2" fmla="*/ 2147483647 w 85"/>
                <a:gd name="T3" fmla="*/ 2147483647 h 79"/>
                <a:gd name="T4" fmla="*/ 2147483647 w 85"/>
                <a:gd name="T5" fmla="*/ 2147483647 h 79"/>
                <a:gd name="T6" fmla="*/ 2147483647 w 85"/>
                <a:gd name="T7" fmla="*/ 2147483647 h 79"/>
                <a:gd name="T8" fmla="*/ 2147483647 w 85"/>
                <a:gd name="T9" fmla="*/ 2147483647 h 79"/>
                <a:gd name="T10" fmla="*/ 2147483647 w 85"/>
                <a:gd name="T11" fmla="*/ 2147483647 h 79"/>
                <a:gd name="T12" fmla="*/ 2147483647 w 85"/>
                <a:gd name="T13" fmla="*/ 2147483647 h 79"/>
                <a:gd name="T14" fmla="*/ 2147483647 w 85"/>
                <a:gd name="T15" fmla="*/ 2147483647 h 79"/>
                <a:gd name="T16" fmla="*/ 2147483647 w 85"/>
                <a:gd name="T17" fmla="*/ 2147483647 h 79"/>
                <a:gd name="T18" fmla="*/ 2147483647 w 85"/>
                <a:gd name="T19" fmla="*/ 2147483647 h 79"/>
                <a:gd name="T20" fmla="*/ 2147483647 w 85"/>
                <a:gd name="T21" fmla="*/ 2147483647 h 79"/>
                <a:gd name="T22" fmla="*/ 2147483647 w 85"/>
                <a:gd name="T23" fmla="*/ 2147483647 h 79"/>
                <a:gd name="T24" fmla="*/ 2147483647 w 85"/>
                <a:gd name="T25" fmla="*/ 2147483647 h 79"/>
                <a:gd name="T26" fmla="*/ 2147483647 w 85"/>
                <a:gd name="T27" fmla="*/ 2147483647 h 79"/>
                <a:gd name="T28" fmla="*/ 2147483647 w 85"/>
                <a:gd name="T29" fmla="*/ 2147483647 h 79"/>
                <a:gd name="T30" fmla="*/ 2147483647 w 85"/>
                <a:gd name="T31" fmla="*/ 2147483647 h 79"/>
                <a:gd name="T32" fmla="*/ 2147483647 w 85"/>
                <a:gd name="T33" fmla="*/ 2147483647 h 79"/>
                <a:gd name="T34" fmla="*/ 2147483647 w 85"/>
                <a:gd name="T35" fmla="*/ 2147483647 h 79"/>
                <a:gd name="T36" fmla="*/ 2147483647 w 85"/>
                <a:gd name="T37" fmla="*/ 2147483647 h 79"/>
                <a:gd name="T38" fmla="*/ 2147483647 w 85"/>
                <a:gd name="T39" fmla="*/ 2147483647 h 79"/>
                <a:gd name="T40" fmla="*/ 2147483647 w 85"/>
                <a:gd name="T41" fmla="*/ 2147483647 h 79"/>
                <a:gd name="T42" fmla="*/ 2147483647 w 85"/>
                <a:gd name="T43" fmla="*/ 2147483647 h 79"/>
                <a:gd name="T44" fmla="*/ 2147483647 w 85"/>
                <a:gd name="T45" fmla="*/ 2147483647 h 79"/>
                <a:gd name="T46" fmla="*/ 2147483647 w 85"/>
                <a:gd name="T47" fmla="*/ 2147483647 h 79"/>
                <a:gd name="T48" fmla="*/ 2147483647 w 85"/>
                <a:gd name="T49" fmla="*/ 2147483647 h 79"/>
                <a:gd name="T50" fmla="*/ 2147483647 w 85"/>
                <a:gd name="T51" fmla="*/ 2147483647 h 79"/>
                <a:gd name="T52" fmla="*/ 2147483647 w 85"/>
                <a:gd name="T53" fmla="*/ 2147483647 h 79"/>
                <a:gd name="T54" fmla="*/ 2147483647 w 85"/>
                <a:gd name="T55" fmla="*/ 2147483647 h 79"/>
                <a:gd name="T56" fmla="*/ 0 w 85"/>
                <a:gd name="T57" fmla="*/ 2147483647 h 79"/>
                <a:gd name="T58" fmla="*/ 2147483647 w 85"/>
                <a:gd name="T59" fmla="*/ 2147483647 h 79"/>
                <a:gd name="T60" fmla="*/ 2147483647 w 85"/>
                <a:gd name="T61" fmla="*/ 2147483647 h 79"/>
                <a:gd name="T62" fmla="*/ 2147483647 w 85"/>
                <a:gd name="T63" fmla="*/ 2147483647 h 79"/>
                <a:gd name="T64" fmla="*/ 2147483647 w 85"/>
                <a:gd name="T65" fmla="*/ 2147483647 h 79"/>
                <a:gd name="T66" fmla="*/ 2147483647 w 85"/>
                <a:gd name="T67" fmla="*/ 2147483647 h 79"/>
                <a:gd name="T68" fmla="*/ 2147483647 w 85"/>
                <a:gd name="T69" fmla="*/ 2147483647 h 79"/>
                <a:gd name="T70" fmla="*/ 2147483647 w 85"/>
                <a:gd name="T71" fmla="*/ 2147483647 h 79"/>
                <a:gd name="T72" fmla="*/ 2147483647 w 85"/>
                <a:gd name="T73" fmla="*/ 2147483647 h 79"/>
                <a:gd name="T74" fmla="*/ 2147483647 w 85"/>
                <a:gd name="T75" fmla="*/ 2147483647 h 79"/>
                <a:gd name="T76" fmla="*/ 2147483647 w 85"/>
                <a:gd name="T77" fmla="*/ 2147483647 h 79"/>
                <a:gd name="T78" fmla="*/ 2147483647 w 85"/>
                <a:gd name="T79" fmla="*/ 2147483647 h 79"/>
                <a:gd name="T80" fmla="*/ 2147483647 w 85"/>
                <a:gd name="T81" fmla="*/ 2147483647 h 79"/>
                <a:gd name="T82" fmla="*/ 2147483647 w 85"/>
                <a:gd name="T83" fmla="*/ 2147483647 h 79"/>
                <a:gd name="T84" fmla="*/ 2147483647 w 85"/>
                <a:gd name="T85" fmla="*/ 2147483647 h 79"/>
                <a:gd name="T86" fmla="*/ 2147483647 w 85"/>
                <a:gd name="T87" fmla="*/ 0 h 79"/>
                <a:gd name="T88" fmla="*/ 2147483647 w 85"/>
                <a:gd name="T89" fmla="*/ 0 h 79"/>
                <a:gd name="T90" fmla="*/ 2147483647 w 85"/>
                <a:gd name="T91" fmla="*/ 2147483647 h 79"/>
                <a:gd name="T92" fmla="*/ 2147483647 w 85"/>
                <a:gd name="T93" fmla="*/ 2147483647 h 79"/>
                <a:gd name="T94" fmla="*/ 2147483647 w 85"/>
                <a:gd name="T95" fmla="*/ 2147483647 h 79"/>
                <a:gd name="T96" fmla="*/ 2147483647 w 85"/>
                <a:gd name="T97" fmla="*/ 2147483647 h 79"/>
                <a:gd name="T98" fmla="*/ 2147483647 w 85"/>
                <a:gd name="T99" fmla="*/ 2147483647 h 79"/>
                <a:gd name="T100" fmla="*/ 2147483647 w 85"/>
                <a:gd name="T101" fmla="*/ 2147483647 h 79"/>
                <a:gd name="T102" fmla="*/ 2147483647 w 85"/>
                <a:gd name="T103" fmla="*/ 2147483647 h 79"/>
                <a:gd name="T104" fmla="*/ 2147483647 w 85"/>
                <a:gd name="T105" fmla="*/ 2147483647 h 79"/>
                <a:gd name="T106" fmla="*/ 2147483647 w 85"/>
                <a:gd name="T107" fmla="*/ 2147483647 h 79"/>
                <a:gd name="T108" fmla="*/ 2147483647 w 85"/>
                <a:gd name="T109" fmla="*/ 2147483647 h 79"/>
                <a:gd name="T110" fmla="*/ 2147483647 w 85"/>
                <a:gd name="T111" fmla="*/ 2147483647 h 79"/>
                <a:gd name="T112" fmla="*/ 2147483647 w 85"/>
                <a:gd name="T113" fmla="*/ 2147483647 h 79"/>
                <a:gd name="T114" fmla="*/ 2147483647 w 8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5"/>
                <a:gd name="T175" fmla="*/ 0 h 79"/>
                <a:gd name="T176" fmla="*/ 85 w 85"/>
                <a:gd name="T177" fmla="*/ 79 h 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5" h="79">
                  <a:moveTo>
                    <a:pt x="70" y="54"/>
                  </a:moveTo>
                  <a:lnTo>
                    <a:pt x="69" y="53"/>
                  </a:lnTo>
                  <a:lnTo>
                    <a:pt x="69" y="50"/>
                  </a:lnTo>
                  <a:lnTo>
                    <a:pt x="68" y="48"/>
                  </a:lnTo>
                  <a:lnTo>
                    <a:pt x="66" y="47"/>
                  </a:lnTo>
                  <a:lnTo>
                    <a:pt x="64" y="50"/>
                  </a:lnTo>
                  <a:lnTo>
                    <a:pt x="63" y="53"/>
                  </a:lnTo>
                  <a:lnTo>
                    <a:pt x="61" y="56"/>
                  </a:lnTo>
                  <a:lnTo>
                    <a:pt x="63" y="59"/>
                  </a:lnTo>
                  <a:lnTo>
                    <a:pt x="65" y="66"/>
                  </a:lnTo>
                  <a:lnTo>
                    <a:pt x="68" y="72"/>
                  </a:lnTo>
                  <a:lnTo>
                    <a:pt x="68" y="75"/>
                  </a:lnTo>
                  <a:lnTo>
                    <a:pt x="68" y="76"/>
                  </a:lnTo>
                  <a:lnTo>
                    <a:pt x="64" y="79"/>
                  </a:lnTo>
                  <a:lnTo>
                    <a:pt x="61" y="79"/>
                  </a:lnTo>
                  <a:lnTo>
                    <a:pt x="60" y="78"/>
                  </a:lnTo>
                  <a:lnTo>
                    <a:pt x="59" y="77"/>
                  </a:lnTo>
                  <a:lnTo>
                    <a:pt x="60" y="75"/>
                  </a:lnTo>
                  <a:lnTo>
                    <a:pt x="61" y="71"/>
                  </a:lnTo>
                  <a:lnTo>
                    <a:pt x="61" y="70"/>
                  </a:lnTo>
                  <a:lnTo>
                    <a:pt x="60" y="67"/>
                  </a:lnTo>
                  <a:lnTo>
                    <a:pt x="59" y="66"/>
                  </a:lnTo>
                  <a:lnTo>
                    <a:pt x="57" y="66"/>
                  </a:lnTo>
                  <a:lnTo>
                    <a:pt x="51" y="67"/>
                  </a:lnTo>
                  <a:lnTo>
                    <a:pt x="47" y="67"/>
                  </a:lnTo>
                  <a:lnTo>
                    <a:pt x="45" y="66"/>
                  </a:lnTo>
                  <a:lnTo>
                    <a:pt x="40" y="62"/>
                  </a:lnTo>
                  <a:lnTo>
                    <a:pt x="36" y="54"/>
                  </a:lnTo>
                  <a:lnTo>
                    <a:pt x="36" y="51"/>
                  </a:lnTo>
                  <a:lnTo>
                    <a:pt x="36" y="46"/>
                  </a:lnTo>
                  <a:lnTo>
                    <a:pt x="37" y="43"/>
                  </a:lnTo>
                  <a:lnTo>
                    <a:pt x="40" y="39"/>
                  </a:lnTo>
                  <a:lnTo>
                    <a:pt x="40" y="37"/>
                  </a:lnTo>
                  <a:lnTo>
                    <a:pt x="38" y="34"/>
                  </a:lnTo>
                  <a:lnTo>
                    <a:pt x="37" y="33"/>
                  </a:lnTo>
                  <a:lnTo>
                    <a:pt x="35" y="33"/>
                  </a:lnTo>
                  <a:lnTo>
                    <a:pt x="32" y="34"/>
                  </a:lnTo>
                  <a:lnTo>
                    <a:pt x="32" y="37"/>
                  </a:lnTo>
                  <a:lnTo>
                    <a:pt x="32" y="39"/>
                  </a:lnTo>
                  <a:lnTo>
                    <a:pt x="31" y="40"/>
                  </a:lnTo>
                  <a:lnTo>
                    <a:pt x="27" y="43"/>
                  </a:lnTo>
                  <a:lnTo>
                    <a:pt x="26" y="43"/>
                  </a:lnTo>
                  <a:lnTo>
                    <a:pt x="24" y="43"/>
                  </a:lnTo>
                  <a:lnTo>
                    <a:pt x="22" y="39"/>
                  </a:lnTo>
                  <a:lnTo>
                    <a:pt x="21" y="35"/>
                  </a:lnTo>
                  <a:lnTo>
                    <a:pt x="19" y="32"/>
                  </a:lnTo>
                  <a:lnTo>
                    <a:pt x="18" y="32"/>
                  </a:lnTo>
                  <a:lnTo>
                    <a:pt x="16" y="32"/>
                  </a:lnTo>
                  <a:lnTo>
                    <a:pt x="13" y="33"/>
                  </a:lnTo>
                  <a:lnTo>
                    <a:pt x="12" y="34"/>
                  </a:lnTo>
                  <a:lnTo>
                    <a:pt x="10" y="38"/>
                  </a:lnTo>
                  <a:lnTo>
                    <a:pt x="9" y="43"/>
                  </a:lnTo>
                  <a:lnTo>
                    <a:pt x="8" y="46"/>
                  </a:lnTo>
                  <a:lnTo>
                    <a:pt x="7" y="47"/>
                  </a:lnTo>
                  <a:lnTo>
                    <a:pt x="4" y="50"/>
                  </a:lnTo>
                  <a:lnTo>
                    <a:pt x="2" y="50"/>
                  </a:lnTo>
                  <a:lnTo>
                    <a:pt x="0" y="48"/>
                  </a:lnTo>
                  <a:lnTo>
                    <a:pt x="0" y="44"/>
                  </a:lnTo>
                  <a:lnTo>
                    <a:pt x="0" y="39"/>
                  </a:lnTo>
                  <a:lnTo>
                    <a:pt x="5" y="30"/>
                  </a:lnTo>
                  <a:lnTo>
                    <a:pt x="7" y="27"/>
                  </a:lnTo>
                  <a:lnTo>
                    <a:pt x="8" y="26"/>
                  </a:lnTo>
                  <a:lnTo>
                    <a:pt x="13" y="26"/>
                  </a:lnTo>
                  <a:lnTo>
                    <a:pt x="18" y="26"/>
                  </a:lnTo>
                  <a:lnTo>
                    <a:pt x="21" y="25"/>
                  </a:lnTo>
                  <a:lnTo>
                    <a:pt x="23" y="24"/>
                  </a:lnTo>
                  <a:lnTo>
                    <a:pt x="23" y="21"/>
                  </a:lnTo>
                  <a:lnTo>
                    <a:pt x="23" y="20"/>
                  </a:lnTo>
                  <a:lnTo>
                    <a:pt x="24" y="19"/>
                  </a:lnTo>
                  <a:lnTo>
                    <a:pt x="32" y="18"/>
                  </a:lnTo>
                  <a:lnTo>
                    <a:pt x="35" y="16"/>
                  </a:lnTo>
                  <a:lnTo>
                    <a:pt x="36" y="19"/>
                  </a:lnTo>
                  <a:lnTo>
                    <a:pt x="38" y="24"/>
                  </a:lnTo>
                  <a:lnTo>
                    <a:pt x="40" y="26"/>
                  </a:lnTo>
                  <a:lnTo>
                    <a:pt x="41" y="26"/>
                  </a:lnTo>
                  <a:lnTo>
                    <a:pt x="43" y="25"/>
                  </a:lnTo>
                  <a:lnTo>
                    <a:pt x="45" y="22"/>
                  </a:lnTo>
                  <a:lnTo>
                    <a:pt x="46" y="19"/>
                  </a:lnTo>
                  <a:lnTo>
                    <a:pt x="49" y="15"/>
                  </a:lnTo>
                  <a:lnTo>
                    <a:pt x="50" y="15"/>
                  </a:lnTo>
                  <a:lnTo>
                    <a:pt x="52" y="16"/>
                  </a:lnTo>
                  <a:lnTo>
                    <a:pt x="55" y="16"/>
                  </a:lnTo>
                  <a:lnTo>
                    <a:pt x="57" y="12"/>
                  </a:lnTo>
                  <a:lnTo>
                    <a:pt x="60" y="11"/>
                  </a:lnTo>
                  <a:lnTo>
                    <a:pt x="63" y="11"/>
                  </a:lnTo>
                  <a:lnTo>
                    <a:pt x="64" y="5"/>
                  </a:lnTo>
                  <a:lnTo>
                    <a:pt x="65" y="2"/>
                  </a:lnTo>
                  <a:lnTo>
                    <a:pt x="66" y="0"/>
                  </a:lnTo>
                  <a:lnTo>
                    <a:pt x="68" y="0"/>
                  </a:lnTo>
                  <a:lnTo>
                    <a:pt x="69" y="0"/>
                  </a:lnTo>
                  <a:lnTo>
                    <a:pt x="70" y="3"/>
                  </a:lnTo>
                  <a:lnTo>
                    <a:pt x="71" y="5"/>
                  </a:lnTo>
                  <a:lnTo>
                    <a:pt x="73" y="6"/>
                  </a:lnTo>
                  <a:lnTo>
                    <a:pt x="78" y="8"/>
                  </a:lnTo>
                  <a:lnTo>
                    <a:pt x="77" y="12"/>
                  </a:lnTo>
                  <a:lnTo>
                    <a:pt x="77" y="14"/>
                  </a:lnTo>
                  <a:lnTo>
                    <a:pt x="79" y="19"/>
                  </a:lnTo>
                  <a:lnTo>
                    <a:pt x="79" y="21"/>
                  </a:lnTo>
                  <a:lnTo>
                    <a:pt x="78" y="22"/>
                  </a:lnTo>
                  <a:lnTo>
                    <a:pt x="74" y="25"/>
                  </a:lnTo>
                  <a:lnTo>
                    <a:pt x="73" y="27"/>
                  </a:lnTo>
                  <a:lnTo>
                    <a:pt x="75" y="27"/>
                  </a:lnTo>
                  <a:lnTo>
                    <a:pt x="79" y="28"/>
                  </a:lnTo>
                  <a:lnTo>
                    <a:pt x="80" y="28"/>
                  </a:lnTo>
                  <a:lnTo>
                    <a:pt x="82" y="30"/>
                  </a:lnTo>
                  <a:lnTo>
                    <a:pt x="80" y="33"/>
                  </a:lnTo>
                  <a:lnTo>
                    <a:pt x="82" y="37"/>
                  </a:lnTo>
                  <a:lnTo>
                    <a:pt x="85" y="43"/>
                  </a:lnTo>
                  <a:lnTo>
                    <a:pt x="85" y="47"/>
                  </a:lnTo>
                  <a:lnTo>
                    <a:pt x="85" y="52"/>
                  </a:lnTo>
                  <a:lnTo>
                    <a:pt x="83" y="57"/>
                  </a:lnTo>
                  <a:lnTo>
                    <a:pt x="79" y="60"/>
                  </a:lnTo>
                  <a:lnTo>
                    <a:pt x="78" y="62"/>
                  </a:lnTo>
                  <a:lnTo>
                    <a:pt x="77" y="62"/>
                  </a:lnTo>
                  <a:lnTo>
                    <a:pt x="74" y="59"/>
                  </a:lnTo>
                  <a:lnTo>
                    <a:pt x="73" y="57"/>
                  </a:lnTo>
                  <a:lnTo>
                    <a:pt x="70" y="5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09" name="Freeform 308"/>
            <p:cNvSpPr>
              <a:spLocks/>
            </p:cNvSpPr>
            <p:nvPr/>
          </p:nvSpPr>
          <p:spPr bwMode="auto">
            <a:xfrm>
              <a:off x="7297738" y="4044950"/>
              <a:ext cx="61912" cy="93663"/>
            </a:xfrm>
            <a:custGeom>
              <a:avLst/>
              <a:gdLst>
                <a:gd name="T0" fmla="*/ 2147483647 w 42"/>
                <a:gd name="T1" fmla="*/ 2147483647 h 59"/>
                <a:gd name="T2" fmla="*/ 2147483647 w 42"/>
                <a:gd name="T3" fmla="*/ 2147483647 h 59"/>
                <a:gd name="T4" fmla="*/ 2147483647 w 42"/>
                <a:gd name="T5" fmla="*/ 2147483647 h 59"/>
                <a:gd name="T6" fmla="*/ 2147483647 w 42"/>
                <a:gd name="T7" fmla="*/ 0 h 59"/>
                <a:gd name="T8" fmla="*/ 2147483647 w 42"/>
                <a:gd name="T9" fmla="*/ 0 h 59"/>
                <a:gd name="T10" fmla="*/ 2147483647 w 42"/>
                <a:gd name="T11" fmla="*/ 2147483647 h 59"/>
                <a:gd name="T12" fmla="*/ 2147483647 w 42"/>
                <a:gd name="T13" fmla="*/ 2147483647 h 59"/>
                <a:gd name="T14" fmla="*/ 2147483647 w 42"/>
                <a:gd name="T15" fmla="*/ 2147483647 h 59"/>
                <a:gd name="T16" fmla="*/ 2147483647 w 42"/>
                <a:gd name="T17" fmla="*/ 2147483647 h 59"/>
                <a:gd name="T18" fmla="*/ 2147483647 w 42"/>
                <a:gd name="T19" fmla="*/ 2147483647 h 59"/>
                <a:gd name="T20" fmla="*/ 2147483647 w 42"/>
                <a:gd name="T21" fmla="*/ 2147483647 h 59"/>
                <a:gd name="T22" fmla="*/ 2147483647 w 42"/>
                <a:gd name="T23" fmla="*/ 2147483647 h 59"/>
                <a:gd name="T24" fmla="*/ 2147483647 w 42"/>
                <a:gd name="T25" fmla="*/ 2147483647 h 59"/>
                <a:gd name="T26" fmla="*/ 2147483647 w 42"/>
                <a:gd name="T27" fmla="*/ 2147483647 h 59"/>
                <a:gd name="T28" fmla="*/ 2147483647 w 42"/>
                <a:gd name="T29" fmla="*/ 2147483647 h 59"/>
                <a:gd name="T30" fmla="*/ 2147483647 w 42"/>
                <a:gd name="T31" fmla="*/ 2147483647 h 59"/>
                <a:gd name="T32" fmla="*/ 2147483647 w 42"/>
                <a:gd name="T33" fmla="*/ 2147483647 h 59"/>
                <a:gd name="T34" fmla="*/ 2147483647 w 42"/>
                <a:gd name="T35" fmla="*/ 2147483647 h 59"/>
                <a:gd name="T36" fmla="*/ 2147483647 w 42"/>
                <a:gd name="T37" fmla="*/ 2147483647 h 59"/>
                <a:gd name="T38" fmla="*/ 2147483647 w 42"/>
                <a:gd name="T39" fmla="*/ 2147483647 h 59"/>
                <a:gd name="T40" fmla="*/ 2147483647 w 42"/>
                <a:gd name="T41" fmla="*/ 2147483647 h 59"/>
                <a:gd name="T42" fmla="*/ 0 w 42"/>
                <a:gd name="T43" fmla="*/ 2147483647 h 59"/>
                <a:gd name="T44" fmla="*/ 0 w 42"/>
                <a:gd name="T45" fmla="*/ 2147483647 h 59"/>
                <a:gd name="T46" fmla="*/ 2147483647 w 42"/>
                <a:gd name="T47" fmla="*/ 2147483647 h 59"/>
                <a:gd name="T48" fmla="*/ 2147483647 w 42"/>
                <a:gd name="T49" fmla="*/ 2147483647 h 59"/>
                <a:gd name="T50" fmla="*/ 2147483647 w 42"/>
                <a:gd name="T51" fmla="*/ 2147483647 h 59"/>
                <a:gd name="T52" fmla="*/ 2147483647 w 42"/>
                <a:gd name="T53" fmla="*/ 2147483647 h 59"/>
                <a:gd name="T54" fmla="*/ 2147483647 w 42"/>
                <a:gd name="T55" fmla="*/ 2147483647 h 59"/>
                <a:gd name="T56" fmla="*/ 2147483647 w 42"/>
                <a:gd name="T57" fmla="*/ 2147483647 h 59"/>
                <a:gd name="T58" fmla="*/ 2147483647 w 42"/>
                <a:gd name="T59" fmla="*/ 2147483647 h 59"/>
                <a:gd name="T60" fmla="*/ 2147483647 w 42"/>
                <a:gd name="T61" fmla="*/ 2147483647 h 59"/>
                <a:gd name="T62" fmla="*/ 2147483647 w 42"/>
                <a:gd name="T63" fmla="*/ 2147483647 h 59"/>
                <a:gd name="T64" fmla="*/ 2147483647 w 42"/>
                <a:gd name="T65" fmla="*/ 2147483647 h 59"/>
                <a:gd name="T66" fmla="*/ 2147483647 w 42"/>
                <a:gd name="T67" fmla="*/ 2147483647 h 59"/>
                <a:gd name="T68" fmla="*/ 2147483647 w 42"/>
                <a:gd name="T69" fmla="*/ 2147483647 h 59"/>
                <a:gd name="T70" fmla="*/ 2147483647 w 42"/>
                <a:gd name="T71" fmla="*/ 2147483647 h 59"/>
                <a:gd name="T72" fmla="*/ 2147483647 w 42"/>
                <a:gd name="T73" fmla="*/ 2147483647 h 59"/>
                <a:gd name="T74" fmla="*/ 2147483647 w 42"/>
                <a:gd name="T75" fmla="*/ 2147483647 h 59"/>
                <a:gd name="T76" fmla="*/ 2147483647 w 42"/>
                <a:gd name="T77" fmla="*/ 2147483647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59"/>
                <a:gd name="T119" fmla="*/ 42 w 4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59">
                  <a:moveTo>
                    <a:pt x="41" y="5"/>
                  </a:moveTo>
                  <a:lnTo>
                    <a:pt x="41" y="5"/>
                  </a:lnTo>
                  <a:lnTo>
                    <a:pt x="40" y="2"/>
                  </a:lnTo>
                  <a:lnTo>
                    <a:pt x="38" y="0"/>
                  </a:lnTo>
                  <a:lnTo>
                    <a:pt x="35" y="5"/>
                  </a:lnTo>
                  <a:lnTo>
                    <a:pt x="32" y="8"/>
                  </a:lnTo>
                  <a:lnTo>
                    <a:pt x="31" y="10"/>
                  </a:lnTo>
                  <a:lnTo>
                    <a:pt x="30" y="18"/>
                  </a:lnTo>
                  <a:lnTo>
                    <a:pt x="28" y="20"/>
                  </a:lnTo>
                  <a:lnTo>
                    <a:pt x="26" y="22"/>
                  </a:lnTo>
                  <a:lnTo>
                    <a:pt x="24" y="27"/>
                  </a:lnTo>
                  <a:lnTo>
                    <a:pt x="18" y="34"/>
                  </a:lnTo>
                  <a:lnTo>
                    <a:pt x="12" y="41"/>
                  </a:lnTo>
                  <a:lnTo>
                    <a:pt x="2" y="53"/>
                  </a:lnTo>
                  <a:lnTo>
                    <a:pt x="0" y="57"/>
                  </a:lnTo>
                  <a:lnTo>
                    <a:pt x="0" y="58"/>
                  </a:lnTo>
                  <a:lnTo>
                    <a:pt x="2" y="59"/>
                  </a:lnTo>
                  <a:lnTo>
                    <a:pt x="7" y="58"/>
                  </a:lnTo>
                  <a:lnTo>
                    <a:pt x="12" y="57"/>
                  </a:lnTo>
                  <a:lnTo>
                    <a:pt x="16" y="53"/>
                  </a:lnTo>
                  <a:lnTo>
                    <a:pt x="18" y="50"/>
                  </a:lnTo>
                  <a:lnTo>
                    <a:pt x="30" y="32"/>
                  </a:lnTo>
                  <a:lnTo>
                    <a:pt x="35" y="25"/>
                  </a:lnTo>
                  <a:lnTo>
                    <a:pt x="38" y="18"/>
                  </a:lnTo>
                  <a:lnTo>
                    <a:pt x="41" y="12"/>
                  </a:lnTo>
                  <a:lnTo>
                    <a:pt x="42" y="8"/>
                  </a:lnTo>
                  <a:lnTo>
                    <a:pt x="4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0" name="Freeform 309"/>
            <p:cNvSpPr>
              <a:spLocks/>
            </p:cNvSpPr>
            <p:nvPr/>
          </p:nvSpPr>
          <p:spPr bwMode="auto">
            <a:xfrm>
              <a:off x="7413626" y="4105278"/>
              <a:ext cx="123825" cy="125413"/>
            </a:xfrm>
            <a:custGeom>
              <a:avLst/>
              <a:gdLst>
                <a:gd name="T0" fmla="*/ 2147483647 w 85"/>
                <a:gd name="T1" fmla="*/ 2147483647 h 79"/>
                <a:gd name="T2" fmla="*/ 2147483647 w 85"/>
                <a:gd name="T3" fmla="*/ 2147483647 h 79"/>
                <a:gd name="T4" fmla="*/ 2147483647 w 85"/>
                <a:gd name="T5" fmla="*/ 2147483647 h 79"/>
                <a:gd name="T6" fmla="*/ 2147483647 w 85"/>
                <a:gd name="T7" fmla="*/ 2147483647 h 79"/>
                <a:gd name="T8" fmla="*/ 2147483647 w 85"/>
                <a:gd name="T9" fmla="*/ 2147483647 h 79"/>
                <a:gd name="T10" fmla="*/ 2147483647 w 85"/>
                <a:gd name="T11" fmla="*/ 2147483647 h 79"/>
                <a:gd name="T12" fmla="*/ 2147483647 w 85"/>
                <a:gd name="T13" fmla="*/ 2147483647 h 79"/>
                <a:gd name="T14" fmla="*/ 2147483647 w 85"/>
                <a:gd name="T15" fmla="*/ 2147483647 h 79"/>
                <a:gd name="T16" fmla="*/ 2147483647 w 85"/>
                <a:gd name="T17" fmla="*/ 2147483647 h 79"/>
                <a:gd name="T18" fmla="*/ 2147483647 w 85"/>
                <a:gd name="T19" fmla="*/ 2147483647 h 79"/>
                <a:gd name="T20" fmla="*/ 2147483647 w 85"/>
                <a:gd name="T21" fmla="*/ 2147483647 h 79"/>
                <a:gd name="T22" fmla="*/ 2147483647 w 85"/>
                <a:gd name="T23" fmla="*/ 2147483647 h 79"/>
                <a:gd name="T24" fmla="*/ 2147483647 w 85"/>
                <a:gd name="T25" fmla="*/ 2147483647 h 79"/>
                <a:gd name="T26" fmla="*/ 2147483647 w 85"/>
                <a:gd name="T27" fmla="*/ 2147483647 h 79"/>
                <a:gd name="T28" fmla="*/ 2147483647 w 85"/>
                <a:gd name="T29" fmla="*/ 2147483647 h 79"/>
                <a:gd name="T30" fmla="*/ 2147483647 w 85"/>
                <a:gd name="T31" fmla="*/ 2147483647 h 79"/>
                <a:gd name="T32" fmla="*/ 2147483647 w 85"/>
                <a:gd name="T33" fmla="*/ 2147483647 h 79"/>
                <a:gd name="T34" fmla="*/ 2147483647 w 85"/>
                <a:gd name="T35" fmla="*/ 2147483647 h 79"/>
                <a:gd name="T36" fmla="*/ 2147483647 w 85"/>
                <a:gd name="T37" fmla="*/ 2147483647 h 79"/>
                <a:gd name="T38" fmla="*/ 2147483647 w 85"/>
                <a:gd name="T39" fmla="*/ 2147483647 h 79"/>
                <a:gd name="T40" fmla="*/ 2147483647 w 85"/>
                <a:gd name="T41" fmla="*/ 2147483647 h 79"/>
                <a:gd name="T42" fmla="*/ 2147483647 w 85"/>
                <a:gd name="T43" fmla="*/ 2147483647 h 79"/>
                <a:gd name="T44" fmla="*/ 2147483647 w 85"/>
                <a:gd name="T45" fmla="*/ 2147483647 h 79"/>
                <a:gd name="T46" fmla="*/ 0 w 85"/>
                <a:gd name="T47" fmla="*/ 2147483647 h 79"/>
                <a:gd name="T48" fmla="*/ 2147483647 w 85"/>
                <a:gd name="T49" fmla="*/ 2147483647 h 79"/>
                <a:gd name="T50" fmla="*/ 2147483647 w 85"/>
                <a:gd name="T51" fmla="*/ 2147483647 h 79"/>
                <a:gd name="T52" fmla="*/ 2147483647 w 85"/>
                <a:gd name="T53" fmla="*/ 2147483647 h 79"/>
                <a:gd name="T54" fmla="*/ 2147483647 w 85"/>
                <a:gd name="T55" fmla="*/ 2147483647 h 79"/>
                <a:gd name="T56" fmla="*/ 2147483647 w 85"/>
                <a:gd name="T57" fmla="*/ 2147483647 h 79"/>
                <a:gd name="T58" fmla="*/ 2147483647 w 85"/>
                <a:gd name="T59" fmla="*/ 2147483647 h 79"/>
                <a:gd name="T60" fmla="*/ 2147483647 w 85"/>
                <a:gd name="T61" fmla="*/ 2147483647 h 79"/>
                <a:gd name="T62" fmla="*/ 2147483647 w 85"/>
                <a:gd name="T63" fmla="*/ 2147483647 h 79"/>
                <a:gd name="T64" fmla="*/ 2147483647 w 85"/>
                <a:gd name="T65" fmla="*/ 2147483647 h 79"/>
                <a:gd name="T66" fmla="*/ 2147483647 w 85"/>
                <a:gd name="T67" fmla="*/ 2147483647 h 79"/>
                <a:gd name="T68" fmla="*/ 2147483647 w 85"/>
                <a:gd name="T69" fmla="*/ 2147483647 h 79"/>
                <a:gd name="T70" fmla="*/ 2147483647 w 85"/>
                <a:gd name="T71" fmla="*/ 2147483647 h 79"/>
                <a:gd name="T72" fmla="*/ 2147483647 w 85"/>
                <a:gd name="T73" fmla="*/ 2147483647 h 79"/>
                <a:gd name="T74" fmla="*/ 2147483647 w 85"/>
                <a:gd name="T75" fmla="*/ 0 h 79"/>
                <a:gd name="T76" fmla="*/ 2147483647 w 85"/>
                <a:gd name="T77" fmla="*/ 2147483647 h 79"/>
                <a:gd name="T78" fmla="*/ 2147483647 w 85"/>
                <a:gd name="T79" fmla="*/ 2147483647 h 79"/>
                <a:gd name="T80" fmla="*/ 2147483647 w 85"/>
                <a:gd name="T81" fmla="*/ 2147483647 h 79"/>
                <a:gd name="T82" fmla="*/ 2147483647 w 85"/>
                <a:gd name="T83" fmla="*/ 2147483647 h 79"/>
                <a:gd name="T84" fmla="*/ 2147483647 w 85"/>
                <a:gd name="T85" fmla="*/ 2147483647 h 79"/>
                <a:gd name="T86" fmla="*/ 2147483647 w 85"/>
                <a:gd name="T87" fmla="*/ 2147483647 h 79"/>
                <a:gd name="T88" fmla="*/ 2147483647 w 85"/>
                <a:gd name="T89" fmla="*/ 2147483647 h 79"/>
                <a:gd name="T90" fmla="*/ 2147483647 w 85"/>
                <a:gd name="T91" fmla="*/ 2147483647 h 79"/>
                <a:gd name="T92" fmla="*/ 2147483647 w 85"/>
                <a:gd name="T93" fmla="*/ 2147483647 h 79"/>
                <a:gd name="T94" fmla="*/ 2147483647 w 85"/>
                <a:gd name="T95" fmla="*/ 2147483647 h 79"/>
                <a:gd name="T96" fmla="*/ 2147483647 w 85"/>
                <a:gd name="T97" fmla="*/ 2147483647 h 79"/>
                <a:gd name="T98" fmla="*/ 2147483647 w 85"/>
                <a:gd name="T99" fmla="*/ 2147483647 h 79"/>
                <a:gd name="T100" fmla="*/ 2147483647 w 85"/>
                <a:gd name="T101" fmla="*/ 2147483647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5"/>
                <a:gd name="T154" fmla="*/ 0 h 79"/>
                <a:gd name="T155" fmla="*/ 85 w 85"/>
                <a:gd name="T156" fmla="*/ 79 h 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5" h="79">
                  <a:moveTo>
                    <a:pt x="70" y="54"/>
                  </a:moveTo>
                  <a:lnTo>
                    <a:pt x="70" y="54"/>
                  </a:lnTo>
                  <a:lnTo>
                    <a:pt x="69" y="53"/>
                  </a:lnTo>
                  <a:lnTo>
                    <a:pt x="69" y="49"/>
                  </a:lnTo>
                  <a:lnTo>
                    <a:pt x="67" y="48"/>
                  </a:lnTo>
                  <a:lnTo>
                    <a:pt x="66" y="47"/>
                  </a:lnTo>
                  <a:lnTo>
                    <a:pt x="64" y="49"/>
                  </a:lnTo>
                  <a:lnTo>
                    <a:pt x="62" y="53"/>
                  </a:lnTo>
                  <a:lnTo>
                    <a:pt x="61" y="55"/>
                  </a:lnTo>
                  <a:lnTo>
                    <a:pt x="62" y="59"/>
                  </a:lnTo>
                  <a:lnTo>
                    <a:pt x="65" y="66"/>
                  </a:lnTo>
                  <a:lnTo>
                    <a:pt x="67" y="72"/>
                  </a:lnTo>
                  <a:lnTo>
                    <a:pt x="67" y="74"/>
                  </a:lnTo>
                  <a:lnTo>
                    <a:pt x="67" y="76"/>
                  </a:lnTo>
                  <a:lnTo>
                    <a:pt x="64" y="79"/>
                  </a:lnTo>
                  <a:lnTo>
                    <a:pt x="61" y="79"/>
                  </a:lnTo>
                  <a:lnTo>
                    <a:pt x="60" y="78"/>
                  </a:lnTo>
                  <a:lnTo>
                    <a:pt x="58" y="77"/>
                  </a:lnTo>
                  <a:lnTo>
                    <a:pt x="60" y="74"/>
                  </a:lnTo>
                  <a:lnTo>
                    <a:pt x="61" y="71"/>
                  </a:lnTo>
                  <a:lnTo>
                    <a:pt x="61" y="70"/>
                  </a:lnTo>
                  <a:lnTo>
                    <a:pt x="60" y="67"/>
                  </a:lnTo>
                  <a:lnTo>
                    <a:pt x="58" y="66"/>
                  </a:lnTo>
                  <a:lnTo>
                    <a:pt x="57" y="66"/>
                  </a:lnTo>
                  <a:lnTo>
                    <a:pt x="51" y="67"/>
                  </a:lnTo>
                  <a:lnTo>
                    <a:pt x="47" y="67"/>
                  </a:lnTo>
                  <a:lnTo>
                    <a:pt x="44" y="66"/>
                  </a:lnTo>
                  <a:lnTo>
                    <a:pt x="39" y="61"/>
                  </a:lnTo>
                  <a:lnTo>
                    <a:pt x="36" y="54"/>
                  </a:lnTo>
                  <a:lnTo>
                    <a:pt x="36" y="51"/>
                  </a:lnTo>
                  <a:lnTo>
                    <a:pt x="36" y="46"/>
                  </a:lnTo>
                  <a:lnTo>
                    <a:pt x="37" y="42"/>
                  </a:lnTo>
                  <a:lnTo>
                    <a:pt x="39" y="39"/>
                  </a:lnTo>
                  <a:lnTo>
                    <a:pt x="39" y="36"/>
                  </a:lnTo>
                  <a:lnTo>
                    <a:pt x="38" y="34"/>
                  </a:lnTo>
                  <a:lnTo>
                    <a:pt x="37" y="33"/>
                  </a:lnTo>
                  <a:lnTo>
                    <a:pt x="34" y="33"/>
                  </a:lnTo>
                  <a:lnTo>
                    <a:pt x="32" y="34"/>
                  </a:lnTo>
                  <a:lnTo>
                    <a:pt x="32" y="36"/>
                  </a:lnTo>
                  <a:lnTo>
                    <a:pt x="32" y="39"/>
                  </a:lnTo>
                  <a:lnTo>
                    <a:pt x="31" y="40"/>
                  </a:lnTo>
                  <a:lnTo>
                    <a:pt x="27" y="42"/>
                  </a:lnTo>
                  <a:lnTo>
                    <a:pt x="25" y="42"/>
                  </a:lnTo>
                  <a:lnTo>
                    <a:pt x="24" y="42"/>
                  </a:lnTo>
                  <a:lnTo>
                    <a:pt x="22" y="39"/>
                  </a:lnTo>
                  <a:lnTo>
                    <a:pt x="20" y="35"/>
                  </a:lnTo>
                  <a:lnTo>
                    <a:pt x="19" y="32"/>
                  </a:lnTo>
                  <a:lnTo>
                    <a:pt x="18" y="32"/>
                  </a:lnTo>
                  <a:lnTo>
                    <a:pt x="15" y="32"/>
                  </a:lnTo>
                  <a:lnTo>
                    <a:pt x="13" y="33"/>
                  </a:lnTo>
                  <a:lnTo>
                    <a:pt x="11" y="34"/>
                  </a:lnTo>
                  <a:lnTo>
                    <a:pt x="10" y="38"/>
                  </a:lnTo>
                  <a:lnTo>
                    <a:pt x="9" y="42"/>
                  </a:lnTo>
                  <a:lnTo>
                    <a:pt x="8" y="46"/>
                  </a:lnTo>
                  <a:lnTo>
                    <a:pt x="6" y="47"/>
                  </a:lnTo>
                  <a:lnTo>
                    <a:pt x="4" y="49"/>
                  </a:lnTo>
                  <a:lnTo>
                    <a:pt x="1" y="49"/>
                  </a:lnTo>
                  <a:lnTo>
                    <a:pt x="0" y="48"/>
                  </a:lnTo>
                  <a:lnTo>
                    <a:pt x="0" y="44"/>
                  </a:lnTo>
                  <a:lnTo>
                    <a:pt x="0" y="39"/>
                  </a:lnTo>
                  <a:lnTo>
                    <a:pt x="5" y="29"/>
                  </a:lnTo>
                  <a:lnTo>
                    <a:pt x="6" y="27"/>
                  </a:lnTo>
                  <a:lnTo>
                    <a:pt x="8" y="26"/>
                  </a:lnTo>
                  <a:lnTo>
                    <a:pt x="13" y="26"/>
                  </a:lnTo>
                  <a:lnTo>
                    <a:pt x="18" y="26"/>
                  </a:lnTo>
                  <a:lnTo>
                    <a:pt x="20" y="25"/>
                  </a:lnTo>
                  <a:lnTo>
                    <a:pt x="23" y="23"/>
                  </a:lnTo>
                  <a:lnTo>
                    <a:pt x="23" y="21"/>
                  </a:lnTo>
                  <a:lnTo>
                    <a:pt x="23" y="20"/>
                  </a:lnTo>
                  <a:lnTo>
                    <a:pt x="24" y="19"/>
                  </a:lnTo>
                  <a:lnTo>
                    <a:pt x="32" y="17"/>
                  </a:lnTo>
                  <a:lnTo>
                    <a:pt x="34" y="16"/>
                  </a:lnTo>
                  <a:lnTo>
                    <a:pt x="36" y="19"/>
                  </a:lnTo>
                  <a:lnTo>
                    <a:pt x="38" y="23"/>
                  </a:lnTo>
                  <a:lnTo>
                    <a:pt x="39" y="26"/>
                  </a:lnTo>
                  <a:lnTo>
                    <a:pt x="41" y="26"/>
                  </a:lnTo>
                  <a:lnTo>
                    <a:pt x="43" y="25"/>
                  </a:lnTo>
                  <a:lnTo>
                    <a:pt x="44" y="22"/>
                  </a:lnTo>
                  <a:lnTo>
                    <a:pt x="46" y="19"/>
                  </a:lnTo>
                  <a:lnTo>
                    <a:pt x="48" y="15"/>
                  </a:lnTo>
                  <a:lnTo>
                    <a:pt x="50" y="15"/>
                  </a:lnTo>
                  <a:lnTo>
                    <a:pt x="52" y="16"/>
                  </a:lnTo>
                  <a:lnTo>
                    <a:pt x="55" y="16"/>
                  </a:lnTo>
                  <a:lnTo>
                    <a:pt x="57" y="12"/>
                  </a:lnTo>
                  <a:lnTo>
                    <a:pt x="60" y="10"/>
                  </a:lnTo>
                  <a:lnTo>
                    <a:pt x="62" y="10"/>
                  </a:lnTo>
                  <a:lnTo>
                    <a:pt x="64" y="4"/>
                  </a:lnTo>
                  <a:lnTo>
                    <a:pt x="65" y="2"/>
                  </a:lnTo>
                  <a:lnTo>
                    <a:pt x="66" y="0"/>
                  </a:lnTo>
                  <a:lnTo>
                    <a:pt x="67" y="0"/>
                  </a:lnTo>
                  <a:lnTo>
                    <a:pt x="69" y="0"/>
                  </a:lnTo>
                  <a:lnTo>
                    <a:pt x="70" y="3"/>
                  </a:lnTo>
                  <a:lnTo>
                    <a:pt x="71" y="4"/>
                  </a:lnTo>
                  <a:lnTo>
                    <a:pt x="72" y="6"/>
                  </a:lnTo>
                  <a:lnTo>
                    <a:pt x="78" y="8"/>
                  </a:lnTo>
                  <a:lnTo>
                    <a:pt x="76" y="12"/>
                  </a:lnTo>
                  <a:lnTo>
                    <a:pt x="76" y="14"/>
                  </a:lnTo>
                  <a:lnTo>
                    <a:pt x="79" y="19"/>
                  </a:lnTo>
                  <a:lnTo>
                    <a:pt x="79" y="21"/>
                  </a:lnTo>
                  <a:lnTo>
                    <a:pt x="78" y="22"/>
                  </a:lnTo>
                  <a:lnTo>
                    <a:pt x="74" y="25"/>
                  </a:lnTo>
                  <a:lnTo>
                    <a:pt x="72" y="27"/>
                  </a:lnTo>
                  <a:lnTo>
                    <a:pt x="75" y="27"/>
                  </a:lnTo>
                  <a:lnTo>
                    <a:pt x="79" y="28"/>
                  </a:lnTo>
                  <a:lnTo>
                    <a:pt x="80" y="28"/>
                  </a:lnTo>
                  <a:lnTo>
                    <a:pt x="81" y="29"/>
                  </a:lnTo>
                  <a:lnTo>
                    <a:pt x="80" y="33"/>
                  </a:lnTo>
                  <a:lnTo>
                    <a:pt x="81" y="36"/>
                  </a:lnTo>
                  <a:lnTo>
                    <a:pt x="85" y="42"/>
                  </a:lnTo>
                  <a:lnTo>
                    <a:pt x="85" y="47"/>
                  </a:lnTo>
                  <a:lnTo>
                    <a:pt x="85" y="52"/>
                  </a:lnTo>
                  <a:lnTo>
                    <a:pt x="83" y="57"/>
                  </a:lnTo>
                  <a:lnTo>
                    <a:pt x="79" y="60"/>
                  </a:lnTo>
                  <a:lnTo>
                    <a:pt x="78" y="61"/>
                  </a:lnTo>
                  <a:lnTo>
                    <a:pt x="76" y="61"/>
                  </a:lnTo>
                  <a:lnTo>
                    <a:pt x="74" y="59"/>
                  </a:lnTo>
                  <a:lnTo>
                    <a:pt x="72" y="57"/>
                  </a:lnTo>
                  <a:lnTo>
                    <a:pt x="70" y="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1" name="Freeform 310"/>
            <p:cNvSpPr>
              <a:spLocks/>
            </p:cNvSpPr>
            <p:nvPr/>
          </p:nvSpPr>
          <p:spPr bwMode="auto">
            <a:xfrm>
              <a:off x="7486654" y="4013200"/>
              <a:ext cx="36513" cy="50800"/>
            </a:xfrm>
            <a:custGeom>
              <a:avLst/>
              <a:gdLst>
                <a:gd name="T0" fmla="*/ 2147483647 w 25"/>
                <a:gd name="T1" fmla="*/ 2147483647 h 32"/>
                <a:gd name="T2" fmla="*/ 2147483647 w 25"/>
                <a:gd name="T3" fmla="*/ 2147483647 h 32"/>
                <a:gd name="T4" fmla="*/ 2147483647 w 25"/>
                <a:gd name="T5" fmla="*/ 2147483647 h 32"/>
                <a:gd name="T6" fmla="*/ 2147483647 w 25"/>
                <a:gd name="T7" fmla="*/ 2147483647 h 32"/>
                <a:gd name="T8" fmla="*/ 2147483647 w 25"/>
                <a:gd name="T9" fmla="*/ 2147483647 h 32"/>
                <a:gd name="T10" fmla="*/ 2147483647 w 25"/>
                <a:gd name="T11" fmla="*/ 2147483647 h 32"/>
                <a:gd name="T12" fmla="*/ 0 w 25"/>
                <a:gd name="T13" fmla="*/ 2147483647 h 32"/>
                <a:gd name="T14" fmla="*/ 2147483647 w 25"/>
                <a:gd name="T15" fmla="*/ 2147483647 h 32"/>
                <a:gd name="T16" fmla="*/ 2147483647 w 25"/>
                <a:gd name="T17" fmla="*/ 2147483647 h 32"/>
                <a:gd name="T18" fmla="*/ 2147483647 w 25"/>
                <a:gd name="T19" fmla="*/ 0 h 32"/>
                <a:gd name="T20" fmla="*/ 2147483647 w 25"/>
                <a:gd name="T21" fmla="*/ 0 h 32"/>
                <a:gd name="T22" fmla="*/ 2147483647 w 25"/>
                <a:gd name="T23" fmla="*/ 0 h 32"/>
                <a:gd name="T24" fmla="*/ 2147483647 w 25"/>
                <a:gd name="T25" fmla="*/ 2147483647 h 32"/>
                <a:gd name="T26" fmla="*/ 2147483647 w 25"/>
                <a:gd name="T27" fmla="*/ 2147483647 h 32"/>
                <a:gd name="T28" fmla="*/ 2147483647 w 25"/>
                <a:gd name="T29" fmla="*/ 2147483647 h 32"/>
                <a:gd name="T30" fmla="*/ 2147483647 w 25"/>
                <a:gd name="T31" fmla="*/ 2147483647 h 32"/>
                <a:gd name="T32" fmla="*/ 2147483647 w 25"/>
                <a:gd name="T33" fmla="*/ 2147483647 h 32"/>
                <a:gd name="T34" fmla="*/ 2147483647 w 25"/>
                <a:gd name="T35" fmla="*/ 2147483647 h 32"/>
                <a:gd name="T36" fmla="*/ 2147483647 w 25"/>
                <a:gd name="T37" fmla="*/ 2147483647 h 32"/>
                <a:gd name="T38" fmla="*/ 2147483647 w 25"/>
                <a:gd name="T39" fmla="*/ 2147483647 h 32"/>
                <a:gd name="T40" fmla="*/ 2147483647 w 25"/>
                <a:gd name="T41" fmla="*/ 2147483647 h 32"/>
                <a:gd name="T42" fmla="*/ 2147483647 w 25"/>
                <a:gd name="T43" fmla="*/ 2147483647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32"/>
                <a:gd name="T68" fmla="*/ 25 w 25"/>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32">
                  <a:moveTo>
                    <a:pt x="22" y="30"/>
                  </a:moveTo>
                  <a:lnTo>
                    <a:pt x="19" y="30"/>
                  </a:lnTo>
                  <a:lnTo>
                    <a:pt x="16" y="29"/>
                  </a:lnTo>
                  <a:lnTo>
                    <a:pt x="11" y="26"/>
                  </a:lnTo>
                  <a:lnTo>
                    <a:pt x="5" y="17"/>
                  </a:lnTo>
                  <a:lnTo>
                    <a:pt x="1" y="9"/>
                  </a:lnTo>
                  <a:lnTo>
                    <a:pt x="0" y="4"/>
                  </a:lnTo>
                  <a:lnTo>
                    <a:pt x="1" y="2"/>
                  </a:lnTo>
                  <a:lnTo>
                    <a:pt x="2" y="1"/>
                  </a:lnTo>
                  <a:lnTo>
                    <a:pt x="3" y="0"/>
                  </a:lnTo>
                  <a:lnTo>
                    <a:pt x="5" y="0"/>
                  </a:lnTo>
                  <a:lnTo>
                    <a:pt x="8" y="0"/>
                  </a:lnTo>
                  <a:lnTo>
                    <a:pt x="12" y="1"/>
                  </a:lnTo>
                  <a:lnTo>
                    <a:pt x="16" y="1"/>
                  </a:lnTo>
                  <a:lnTo>
                    <a:pt x="19" y="11"/>
                  </a:lnTo>
                  <a:lnTo>
                    <a:pt x="20" y="17"/>
                  </a:lnTo>
                  <a:lnTo>
                    <a:pt x="22" y="22"/>
                  </a:lnTo>
                  <a:lnTo>
                    <a:pt x="25" y="27"/>
                  </a:lnTo>
                  <a:lnTo>
                    <a:pt x="25" y="29"/>
                  </a:lnTo>
                  <a:lnTo>
                    <a:pt x="25" y="30"/>
                  </a:lnTo>
                  <a:lnTo>
                    <a:pt x="24" y="32"/>
                  </a:lnTo>
                  <a:lnTo>
                    <a:pt x="22"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2" name="Freeform 311"/>
            <p:cNvSpPr>
              <a:spLocks/>
            </p:cNvSpPr>
            <p:nvPr/>
          </p:nvSpPr>
          <p:spPr bwMode="auto">
            <a:xfrm>
              <a:off x="7426325" y="4056067"/>
              <a:ext cx="33338" cy="61911"/>
            </a:xfrm>
            <a:custGeom>
              <a:avLst/>
              <a:gdLst>
                <a:gd name="T0" fmla="*/ 2147483647 w 23"/>
                <a:gd name="T1" fmla="*/ 2147483647 h 39"/>
                <a:gd name="T2" fmla="*/ 2147483647 w 23"/>
                <a:gd name="T3" fmla="*/ 2147483647 h 39"/>
                <a:gd name="T4" fmla="*/ 2147483647 w 23"/>
                <a:gd name="T5" fmla="*/ 2147483647 h 39"/>
                <a:gd name="T6" fmla="*/ 2147483647 w 23"/>
                <a:gd name="T7" fmla="*/ 2147483647 h 39"/>
                <a:gd name="T8" fmla="*/ 2147483647 w 23"/>
                <a:gd name="T9" fmla="*/ 2147483647 h 39"/>
                <a:gd name="T10" fmla="*/ 2147483647 w 23"/>
                <a:gd name="T11" fmla="*/ 2147483647 h 39"/>
                <a:gd name="T12" fmla="*/ 2147483647 w 23"/>
                <a:gd name="T13" fmla="*/ 2147483647 h 39"/>
                <a:gd name="T14" fmla="*/ 2147483647 w 23"/>
                <a:gd name="T15" fmla="*/ 0 h 39"/>
                <a:gd name="T16" fmla="*/ 2147483647 w 23"/>
                <a:gd name="T17" fmla="*/ 2147483647 h 39"/>
                <a:gd name="T18" fmla="*/ 2147483647 w 23"/>
                <a:gd name="T19" fmla="*/ 2147483647 h 39"/>
                <a:gd name="T20" fmla="*/ 2147483647 w 23"/>
                <a:gd name="T21" fmla="*/ 2147483647 h 39"/>
                <a:gd name="T22" fmla="*/ 2147483647 w 23"/>
                <a:gd name="T23" fmla="*/ 2147483647 h 39"/>
                <a:gd name="T24" fmla="*/ 2147483647 w 23"/>
                <a:gd name="T25" fmla="*/ 2147483647 h 39"/>
                <a:gd name="T26" fmla="*/ 2147483647 w 23"/>
                <a:gd name="T27" fmla="*/ 2147483647 h 39"/>
                <a:gd name="T28" fmla="*/ 0 w 23"/>
                <a:gd name="T29" fmla="*/ 2147483647 h 39"/>
                <a:gd name="T30" fmla="*/ 0 w 23"/>
                <a:gd name="T31" fmla="*/ 2147483647 h 39"/>
                <a:gd name="T32" fmla="*/ 2147483647 w 23"/>
                <a:gd name="T33" fmla="*/ 2147483647 h 39"/>
                <a:gd name="T34" fmla="*/ 2147483647 w 23"/>
                <a:gd name="T35" fmla="*/ 2147483647 h 39"/>
                <a:gd name="T36" fmla="*/ 2147483647 w 23"/>
                <a:gd name="T37" fmla="*/ 2147483647 h 39"/>
                <a:gd name="T38" fmla="*/ 2147483647 w 23"/>
                <a:gd name="T39" fmla="*/ 2147483647 h 39"/>
                <a:gd name="T40" fmla="*/ 2147483647 w 23"/>
                <a:gd name="T41" fmla="*/ 2147483647 h 39"/>
                <a:gd name="T42" fmla="*/ 2147483647 w 23"/>
                <a:gd name="T43" fmla="*/ 2147483647 h 39"/>
                <a:gd name="T44" fmla="*/ 2147483647 w 23"/>
                <a:gd name="T45" fmla="*/ 2147483647 h 39"/>
                <a:gd name="T46" fmla="*/ 2147483647 w 23"/>
                <a:gd name="T47" fmla="*/ 2147483647 h 39"/>
                <a:gd name="T48" fmla="*/ 2147483647 w 23"/>
                <a:gd name="T49" fmla="*/ 2147483647 h 39"/>
                <a:gd name="T50" fmla="*/ 2147483647 w 23"/>
                <a:gd name="T51" fmla="*/ 2147483647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39"/>
                <a:gd name="T80" fmla="*/ 23 w 23"/>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39">
                  <a:moveTo>
                    <a:pt x="20" y="32"/>
                  </a:moveTo>
                  <a:lnTo>
                    <a:pt x="18" y="28"/>
                  </a:lnTo>
                  <a:lnTo>
                    <a:pt x="18" y="25"/>
                  </a:lnTo>
                  <a:lnTo>
                    <a:pt x="18" y="18"/>
                  </a:lnTo>
                  <a:lnTo>
                    <a:pt x="23" y="5"/>
                  </a:lnTo>
                  <a:lnTo>
                    <a:pt x="23" y="2"/>
                  </a:lnTo>
                  <a:lnTo>
                    <a:pt x="22" y="1"/>
                  </a:lnTo>
                  <a:lnTo>
                    <a:pt x="20" y="0"/>
                  </a:lnTo>
                  <a:lnTo>
                    <a:pt x="19" y="1"/>
                  </a:lnTo>
                  <a:lnTo>
                    <a:pt x="15" y="7"/>
                  </a:lnTo>
                  <a:lnTo>
                    <a:pt x="13" y="14"/>
                  </a:lnTo>
                  <a:lnTo>
                    <a:pt x="10" y="18"/>
                  </a:lnTo>
                  <a:lnTo>
                    <a:pt x="8" y="20"/>
                  </a:lnTo>
                  <a:lnTo>
                    <a:pt x="5" y="21"/>
                  </a:lnTo>
                  <a:lnTo>
                    <a:pt x="0" y="21"/>
                  </a:lnTo>
                  <a:lnTo>
                    <a:pt x="0" y="25"/>
                  </a:lnTo>
                  <a:lnTo>
                    <a:pt x="1" y="27"/>
                  </a:lnTo>
                  <a:lnTo>
                    <a:pt x="2" y="31"/>
                  </a:lnTo>
                  <a:lnTo>
                    <a:pt x="5" y="33"/>
                  </a:lnTo>
                  <a:lnTo>
                    <a:pt x="11" y="38"/>
                  </a:lnTo>
                  <a:lnTo>
                    <a:pt x="15" y="39"/>
                  </a:lnTo>
                  <a:lnTo>
                    <a:pt x="19" y="39"/>
                  </a:lnTo>
                  <a:lnTo>
                    <a:pt x="20" y="39"/>
                  </a:lnTo>
                  <a:lnTo>
                    <a:pt x="20" y="37"/>
                  </a:lnTo>
                  <a:lnTo>
                    <a:pt x="20" y="34"/>
                  </a:lnTo>
                  <a:lnTo>
                    <a:pt x="20"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3" name="Freeform 312"/>
            <p:cNvSpPr>
              <a:spLocks/>
            </p:cNvSpPr>
            <p:nvPr/>
          </p:nvSpPr>
          <p:spPr bwMode="auto">
            <a:xfrm>
              <a:off x="7483476" y="4010029"/>
              <a:ext cx="38100" cy="50800"/>
            </a:xfrm>
            <a:custGeom>
              <a:avLst/>
              <a:gdLst>
                <a:gd name="T0" fmla="*/ 2147483647 w 26"/>
                <a:gd name="T1" fmla="*/ 2147483647 h 32"/>
                <a:gd name="T2" fmla="*/ 2147483647 w 26"/>
                <a:gd name="T3" fmla="*/ 2147483647 h 32"/>
                <a:gd name="T4" fmla="*/ 2147483647 w 26"/>
                <a:gd name="T5" fmla="*/ 2147483647 h 32"/>
                <a:gd name="T6" fmla="*/ 2147483647 w 26"/>
                <a:gd name="T7" fmla="*/ 2147483647 h 32"/>
                <a:gd name="T8" fmla="*/ 2147483647 w 26"/>
                <a:gd name="T9" fmla="*/ 2147483647 h 32"/>
                <a:gd name="T10" fmla="*/ 2147483647 w 26"/>
                <a:gd name="T11" fmla="*/ 2147483647 h 32"/>
                <a:gd name="T12" fmla="*/ 2147483647 w 26"/>
                <a:gd name="T13" fmla="*/ 2147483647 h 32"/>
                <a:gd name="T14" fmla="*/ 2147483647 w 26"/>
                <a:gd name="T15" fmla="*/ 2147483647 h 32"/>
                <a:gd name="T16" fmla="*/ 2147483647 w 26"/>
                <a:gd name="T17" fmla="*/ 2147483647 h 32"/>
                <a:gd name="T18" fmla="*/ 0 w 26"/>
                <a:gd name="T19" fmla="*/ 2147483647 h 32"/>
                <a:gd name="T20" fmla="*/ 2147483647 w 26"/>
                <a:gd name="T21" fmla="*/ 2147483647 h 32"/>
                <a:gd name="T22" fmla="*/ 2147483647 w 26"/>
                <a:gd name="T23" fmla="*/ 2147483647 h 32"/>
                <a:gd name="T24" fmla="*/ 2147483647 w 26"/>
                <a:gd name="T25" fmla="*/ 2147483647 h 32"/>
                <a:gd name="T26" fmla="*/ 2147483647 w 26"/>
                <a:gd name="T27" fmla="*/ 0 h 32"/>
                <a:gd name="T28" fmla="*/ 2147483647 w 26"/>
                <a:gd name="T29" fmla="*/ 0 h 32"/>
                <a:gd name="T30" fmla="*/ 2147483647 w 26"/>
                <a:gd name="T31" fmla="*/ 0 h 32"/>
                <a:gd name="T32" fmla="*/ 2147483647 w 26"/>
                <a:gd name="T33" fmla="*/ 2147483647 h 32"/>
                <a:gd name="T34" fmla="*/ 2147483647 w 26"/>
                <a:gd name="T35" fmla="*/ 2147483647 h 32"/>
                <a:gd name="T36" fmla="*/ 2147483647 w 26"/>
                <a:gd name="T37" fmla="*/ 2147483647 h 32"/>
                <a:gd name="T38" fmla="*/ 2147483647 w 26"/>
                <a:gd name="T39" fmla="*/ 2147483647 h 32"/>
                <a:gd name="T40" fmla="*/ 2147483647 w 26"/>
                <a:gd name="T41" fmla="*/ 2147483647 h 32"/>
                <a:gd name="T42" fmla="*/ 2147483647 w 26"/>
                <a:gd name="T43" fmla="*/ 2147483647 h 32"/>
                <a:gd name="T44" fmla="*/ 2147483647 w 26"/>
                <a:gd name="T45" fmla="*/ 2147483647 h 32"/>
                <a:gd name="T46" fmla="*/ 2147483647 w 26"/>
                <a:gd name="T47" fmla="*/ 2147483647 h 32"/>
                <a:gd name="T48" fmla="*/ 2147483647 w 26"/>
                <a:gd name="T49" fmla="*/ 2147483647 h 32"/>
                <a:gd name="T50" fmla="*/ 2147483647 w 26"/>
                <a:gd name="T51" fmla="*/ 2147483647 h 32"/>
                <a:gd name="T52" fmla="*/ 2147483647 w 26"/>
                <a:gd name="T53" fmla="*/ 2147483647 h 32"/>
                <a:gd name="T54" fmla="*/ 2147483647 w 26"/>
                <a:gd name="T55" fmla="*/ 2147483647 h 32"/>
                <a:gd name="T56" fmla="*/ 2147483647 w 26"/>
                <a:gd name="T57" fmla="*/ 2147483647 h 32"/>
                <a:gd name="T58" fmla="*/ 2147483647 w 26"/>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32"/>
                <a:gd name="T92" fmla="*/ 26 w 26"/>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32">
                  <a:moveTo>
                    <a:pt x="23" y="31"/>
                  </a:moveTo>
                  <a:lnTo>
                    <a:pt x="23" y="31"/>
                  </a:lnTo>
                  <a:lnTo>
                    <a:pt x="19" y="31"/>
                  </a:lnTo>
                  <a:lnTo>
                    <a:pt x="17" y="30"/>
                  </a:lnTo>
                  <a:lnTo>
                    <a:pt x="12" y="27"/>
                  </a:lnTo>
                  <a:lnTo>
                    <a:pt x="5" y="18"/>
                  </a:lnTo>
                  <a:lnTo>
                    <a:pt x="2" y="10"/>
                  </a:lnTo>
                  <a:lnTo>
                    <a:pt x="0" y="5"/>
                  </a:lnTo>
                  <a:lnTo>
                    <a:pt x="2" y="3"/>
                  </a:lnTo>
                  <a:lnTo>
                    <a:pt x="3" y="2"/>
                  </a:lnTo>
                  <a:lnTo>
                    <a:pt x="4" y="0"/>
                  </a:lnTo>
                  <a:lnTo>
                    <a:pt x="5" y="0"/>
                  </a:lnTo>
                  <a:lnTo>
                    <a:pt x="9" y="0"/>
                  </a:lnTo>
                  <a:lnTo>
                    <a:pt x="13" y="2"/>
                  </a:lnTo>
                  <a:lnTo>
                    <a:pt x="17" y="2"/>
                  </a:lnTo>
                  <a:lnTo>
                    <a:pt x="19" y="12"/>
                  </a:lnTo>
                  <a:lnTo>
                    <a:pt x="21" y="18"/>
                  </a:lnTo>
                  <a:lnTo>
                    <a:pt x="23" y="23"/>
                  </a:lnTo>
                  <a:lnTo>
                    <a:pt x="26" y="28"/>
                  </a:lnTo>
                  <a:lnTo>
                    <a:pt x="26" y="30"/>
                  </a:lnTo>
                  <a:lnTo>
                    <a:pt x="26" y="31"/>
                  </a:lnTo>
                  <a:lnTo>
                    <a:pt x="24" y="32"/>
                  </a:lnTo>
                  <a:lnTo>
                    <a:pt x="23" y="3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4" name="Freeform 313"/>
            <p:cNvSpPr>
              <a:spLocks/>
            </p:cNvSpPr>
            <p:nvPr/>
          </p:nvSpPr>
          <p:spPr bwMode="auto">
            <a:xfrm>
              <a:off x="7424742" y="4054479"/>
              <a:ext cx="33337" cy="61913"/>
            </a:xfrm>
            <a:custGeom>
              <a:avLst/>
              <a:gdLst>
                <a:gd name="T0" fmla="*/ 2147483647 w 23"/>
                <a:gd name="T1" fmla="*/ 2147483647 h 39"/>
                <a:gd name="T2" fmla="*/ 2147483647 w 23"/>
                <a:gd name="T3" fmla="*/ 2147483647 h 39"/>
                <a:gd name="T4" fmla="*/ 2147483647 w 23"/>
                <a:gd name="T5" fmla="*/ 2147483647 h 39"/>
                <a:gd name="T6" fmla="*/ 2147483647 w 23"/>
                <a:gd name="T7" fmla="*/ 2147483647 h 39"/>
                <a:gd name="T8" fmla="*/ 2147483647 w 23"/>
                <a:gd name="T9" fmla="*/ 2147483647 h 39"/>
                <a:gd name="T10" fmla="*/ 2147483647 w 23"/>
                <a:gd name="T11" fmla="*/ 2147483647 h 39"/>
                <a:gd name="T12" fmla="*/ 2147483647 w 23"/>
                <a:gd name="T13" fmla="*/ 2147483647 h 39"/>
                <a:gd name="T14" fmla="*/ 2147483647 w 23"/>
                <a:gd name="T15" fmla="*/ 2147483647 h 39"/>
                <a:gd name="T16" fmla="*/ 2147483647 w 23"/>
                <a:gd name="T17" fmla="*/ 2147483647 h 39"/>
                <a:gd name="T18" fmla="*/ 2147483647 w 23"/>
                <a:gd name="T19" fmla="*/ 0 h 39"/>
                <a:gd name="T20" fmla="*/ 2147483647 w 23"/>
                <a:gd name="T21" fmla="*/ 2147483647 h 39"/>
                <a:gd name="T22" fmla="*/ 2147483647 w 23"/>
                <a:gd name="T23" fmla="*/ 2147483647 h 39"/>
                <a:gd name="T24" fmla="*/ 2147483647 w 23"/>
                <a:gd name="T25" fmla="*/ 2147483647 h 39"/>
                <a:gd name="T26" fmla="*/ 2147483647 w 23"/>
                <a:gd name="T27" fmla="*/ 2147483647 h 39"/>
                <a:gd name="T28" fmla="*/ 2147483647 w 23"/>
                <a:gd name="T29" fmla="*/ 2147483647 h 39"/>
                <a:gd name="T30" fmla="*/ 2147483647 w 23"/>
                <a:gd name="T31" fmla="*/ 2147483647 h 39"/>
                <a:gd name="T32" fmla="*/ 2147483647 w 23"/>
                <a:gd name="T33" fmla="*/ 2147483647 h 39"/>
                <a:gd name="T34" fmla="*/ 0 w 23"/>
                <a:gd name="T35" fmla="*/ 2147483647 h 39"/>
                <a:gd name="T36" fmla="*/ 0 w 23"/>
                <a:gd name="T37" fmla="*/ 2147483647 h 39"/>
                <a:gd name="T38" fmla="*/ 0 w 23"/>
                <a:gd name="T39" fmla="*/ 2147483647 h 39"/>
                <a:gd name="T40" fmla="*/ 2147483647 w 23"/>
                <a:gd name="T41" fmla="*/ 2147483647 h 39"/>
                <a:gd name="T42" fmla="*/ 2147483647 w 23"/>
                <a:gd name="T43" fmla="*/ 2147483647 h 39"/>
                <a:gd name="T44" fmla="*/ 2147483647 w 23"/>
                <a:gd name="T45" fmla="*/ 2147483647 h 39"/>
                <a:gd name="T46" fmla="*/ 2147483647 w 23"/>
                <a:gd name="T47" fmla="*/ 2147483647 h 39"/>
                <a:gd name="T48" fmla="*/ 2147483647 w 23"/>
                <a:gd name="T49" fmla="*/ 2147483647 h 39"/>
                <a:gd name="T50" fmla="*/ 2147483647 w 23"/>
                <a:gd name="T51" fmla="*/ 2147483647 h 39"/>
                <a:gd name="T52" fmla="*/ 2147483647 w 23"/>
                <a:gd name="T53" fmla="*/ 2147483647 h 39"/>
                <a:gd name="T54" fmla="*/ 2147483647 w 23"/>
                <a:gd name="T55" fmla="*/ 2147483647 h 39"/>
                <a:gd name="T56" fmla="*/ 2147483647 w 23"/>
                <a:gd name="T57" fmla="*/ 2147483647 h 39"/>
                <a:gd name="T58" fmla="*/ 2147483647 w 23"/>
                <a:gd name="T59" fmla="*/ 2147483647 h 39"/>
                <a:gd name="T60" fmla="*/ 2147483647 w 23"/>
                <a:gd name="T61" fmla="*/ 2147483647 h 39"/>
                <a:gd name="T62" fmla="*/ 2147483647 w 23"/>
                <a:gd name="T63" fmla="*/ 2147483647 h 3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39"/>
                <a:gd name="T98" fmla="*/ 23 w 23"/>
                <a:gd name="T99" fmla="*/ 39 h 3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39">
                  <a:moveTo>
                    <a:pt x="20" y="32"/>
                  </a:moveTo>
                  <a:lnTo>
                    <a:pt x="20" y="32"/>
                  </a:lnTo>
                  <a:lnTo>
                    <a:pt x="17" y="28"/>
                  </a:lnTo>
                  <a:lnTo>
                    <a:pt x="17" y="25"/>
                  </a:lnTo>
                  <a:lnTo>
                    <a:pt x="17" y="17"/>
                  </a:lnTo>
                  <a:lnTo>
                    <a:pt x="23" y="4"/>
                  </a:lnTo>
                  <a:lnTo>
                    <a:pt x="23" y="2"/>
                  </a:lnTo>
                  <a:lnTo>
                    <a:pt x="21" y="1"/>
                  </a:lnTo>
                  <a:lnTo>
                    <a:pt x="20" y="0"/>
                  </a:lnTo>
                  <a:lnTo>
                    <a:pt x="19" y="1"/>
                  </a:lnTo>
                  <a:lnTo>
                    <a:pt x="15" y="7"/>
                  </a:lnTo>
                  <a:lnTo>
                    <a:pt x="12" y="14"/>
                  </a:lnTo>
                  <a:lnTo>
                    <a:pt x="10" y="17"/>
                  </a:lnTo>
                  <a:lnTo>
                    <a:pt x="7" y="20"/>
                  </a:lnTo>
                  <a:lnTo>
                    <a:pt x="5" y="21"/>
                  </a:lnTo>
                  <a:lnTo>
                    <a:pt x="0" y="21"/>
                  </a:lnTo>
                  <a:lnTo>
                    <a:pt x="0" y="25"/>
                  </a:lnTo>
                  <a:lnTo>
                    <a:pt x="1" y="27"/>
                  </a:lnTo>
                  <a:lnTo>
                    <a:pt x="2" y="31"/>
                  </a:lnTo>
                  <a:lnTo>
                    <a:pt x="5" y="33"/>
                  </a:lnTo>
                  <a:lnTo>
                    <a:pt x="11" y="38"/>
                  </a:lnTo>
                  <a:lnTo>
                    <a:pt x="15" y="39"/>
                  </a:lnTo>
                  <a:lnTo>
                    <a:pt x="19" y="39"/>
                  </a:lnTo>
                  <a:lnTo>
                    <a:pt x="20" y="39"/>
                  </a:lnTo>
                  <a:lnTo>
                    <a:pt x="20" y="36"/>
                  </a:lnTo>
                  <a:lnTo>
                    <a:pt x="20" y="34"/>
                  </a:lnTo>
                  <a:lnTo>
                    <a:pt x="20"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5" name="Freeform 314"/>
            <p:cNvSpPr>
              <a:spLocks/>
            </p:cNvSpPr>
            <p:nvPr/>
          </p:nvSpPr>
          <p:spPr bwMode="auto">
            <a:xfrm>
              <a:off x="7458075" y="4060825"/>
              <a:ext cx="12700" cy="28575"/>
            </a:xfrm>
            <a:custGeom>
              <a:avLst/>
              <a:gdLst>
                <a:gd name="T0" fmla="*/ 2147483647 w 8"/>
                <a:gd name="T1" fmla="*/ 2147483647 h 18"/>
                <a:gd name="T2" fmla="*/ 2147483647 w 8"/>
                <a:gd name="T3" fmla="*/ 2147483647 h 18"/>
                <a:gd name="T4" fmla="*/ 2147483647 w 8"/>
                <a:gd name="T5" fmla="*/ 2147483647 h 18"/>
                <a:gd name="T6" fmla="*/ 2147483647 w 8"/>
                <a:gd name="T7" fmla="*/ 0 h 18"/>
                <a:gd name="T8" fmla="*/ 2147483647 w 8"/>
                <a:gd name="T9" fmla="*/ 2147483647 h 18"/>
                <a:gd name="T10" fmla="*/ 2147483647 w 8"/>
                <a:gd name="T11" fmla="*/ 2147483647 h 18"/>
                <a:gd name="T12" fmla="*/ 2147483647 w 8"/>
                <a:gd name="T13" fmla="*/ 2147483647 h 18"/>
                <a:gd name="T14" fmla="*/ 2147483647 w 8"/>
                <a:gd name="T15" fmla="*/ 2147483647 h 18"/>
                <a:gd name="T16" fmla="*/ 0 w 8"/>
                <a:gd name="T17" fmla="*/ 2147483647 h 18"/>
                <a:gd name="T18" fmla="*/ 2147483647 w 8"/>
                <a:gd name="T19" fmla="*/ 2147483647 h 18"/>
                <a:gd name="T20" fmla="*/ 2147483647 w 8"/>
                <a:gd name="T21" fmla="*/ 2147483647 h 18"/>
                <a:gd name="T22" fmla="*/ 2147483647 w 8"/>
                <a:gd name="T23" fmla="*/ 2147483647 h 18"/>
                <a:gd name="T24" fmla="*/ 2147483647 w 8"/>
                <a:gd name="T25" fmla="*/ 2147483647 h 18"/>
                <a:gd name="T26" fmla="*/ 2147483647 w 8"/>
                <a:gd name="T27" fmla="*/ 2147483647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8"/>
                <a:gd name="T44" fmla="*/ 8 w 8"/>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8">
                  <a:moveTo>
                    <a:pt x="6" y="11"/>
                  </a:moveTo>
                  <a:lnTo>
                    <a:pt x="8" y="3"/>
                  </a:lnTo>
                  <a:lnTo>
                    <a:pt x="8" y="2"/>
                  </a:lnTo>
                  <a:lnTo>
                    <a:pt x="7" y="0"/>
                  </a:lnTo>
                  <a:lnTo>
                    <a:pt x="6" y="2"/>
                  </a:lnTo>
                  <a:lnTo>
                    <a:pt x="5" y="2"/>
                  </a:lnTo>
                  <a:lnTo>
                    <a:pt x="3" y="6"/>
                  </a:lnTo>
                  <a:lnTo>
                    <a:pt x="1" y="11"/>
                  </a:lnTo>
                  <a:lnTo>
                    <a:pt x="0" y="16"/>
                  </a:lnTo>
                  <a:lnTo>
                    <a:pt x="1" y="18"/>
                  </a:lnTo>
                  <a:lnTo>
                    <a:pt x="3" y="18"/>
                  </a:lnTo>
                  <a:lnTo>
                    <a:pt x="5" y="17"/>
                  </a:lnTo>
                  <a:lnTo>
                    <a:pt x="5" y="15"/>
                  </a:lnTo>
                  <a:lnTo>
                    <a:pt x="6"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6" name="Freeform 315"/>
            <p:cNvSpPr>
              <a:spLocks/>
            </p:cNvSpPr>
            <p:nvPr/>
          </p:nvSpPr>
          <p:spPr bwMode="auto">
            <a:xfrm>
              <a:off x="7373939" y="3984626"/>
              <a:ext cx="36512" cy="44450"/>
            </a:xfrm>
            <a:custGeom>
              <a:avLst/>
              <a:gdLst>
                <a:gd name="T0" fmla="*/ 2147483647 w 25"/>
                <a:gd name="T1" fmla="*/ 2147483647 h 28"/>
                <a:gd name="T2" fmla="*/ 2147483647 w 25"/>
                <a:gd name="T3" fmla="*/ 2147483647 h 28"/>
                <a:gd name="T4" fmla="*/ 2147483647 w 25"/>
                <a:gd name="T5" fmla="*/ 2147483647 h 28"/>
                <a:gd name="T6" fmla="*/ 2147483647 w 25"/>
                <a:gd name="T7" fmla="*/ 2147483647 h 28"/>
                <a:gd name="T8" fmla="*/ 0 w 25"/>
                <a:gd name="T9" fmla="*/ 2147483647 h 28"/>
                <a:gd name="T10" fmla="*/ 0 w 25"/>
                <a:gd name="T11" fmla="*/ 2147483647 h 28"/>
                <a:gd name="T12" fmla="*/ 2147483647 w 25"/>
                <a:gd name="T13" fmla="*/ 0 h 28"/>
                <a:gd name="T14" fmla="*/ 2147483647 w 25"/>
                <a:gd name="T15" fmla="*/ 0 h 28"/>
                <a:gd name="T16" fmla="*/ 2147483647 w 25"/>
                <a:gd name="T17" fmla="*/ 2147483647 h 28"/>
                <a:gd name="T18" fmla="*/ 2147483647 w 25"/>
                <a:gd name="T19" fmla="*/ 2147483647 h 28"/>
                <a:gd name="T20" fmla="*/ 2147483647 w 25"/>
                <a:gd name="T21" fmla="*/ 2147483647 h 28"/>
                <a:gd name="T22" fmla="*/ 2147483647 w 25"/>
                <a:gd name="T23" fmla="*/ 2147483647 h 28"/>
                <a:gd name="T24" fmla="*/ 2147483647 w 25"/>
                <a:gd name="T25" fmla="*/ 2147483647 h 28"/>
                <a:gd name="T26" fmla="*/ 2147483647 w 25"/>
                <a:gd name="T27" fmla="*/ 2147483647 h 28"/>
                <a:gd name="T28" fmla="*/ 2147483647 w 25"/>
                <a:gd name="T29" fmla="*/ 2147483647 h 28"/>
                <a:gd name="T30" fmla="*/ 2147483647 w 25"/>
                <a:gd name="T31" fmla="*/ 2147483647 h 28"/>
                <a:gd name="T32" fmla="*/ 2147483647 w 25"/>
                <a:gd name="T33" fmla="*/ 2147483647 h 28"/>
                <a:gd name="T34" fmla="*/ 2147483647 w 25"/>
                <a:gd name="T35" fmla="*/ 2147483647 h 28"/>
                <a:gd name="T36" fmla="*/ 2147483647 w 25"/>
                <a:gd name="T37" fmla="*/ 2147483647 h 28"/>
                <a:gd name="T38" fmla="*/ 2147483647 w 25"/>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8"/>
                <a:gd name="T62" fmla="*/ 25 w 25"/>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8">
                  <a:moveTo>
                    <a:pt x="9" y="15"/>
                  </a:moveTo>
                  <a:lnTo>
                    <a:pt x="8" y="13"/>
                  </a:lnTo>
                  <a:lnTo>
                    <a:pt x="5" y="10"/>
                  </a:lnTo>
                  <a:lnTo>
                    <a:pt x="2" y="6"/>
                  </a:lnTo>
                  <a:lnTo>
                    <a:pt x="0" y="3"/>
                  </a:lnTo>
                  <a:lnTo>
                    <a:pt x="0" y="1"/>
                  </a:lnTo>
                  <a:lnTo>
                    <a:pt x="2" y="0"/>
                  </a:lnTo>
                  <a:lnTo>
                    <a:pt x="9" y="0"/>
                  </a:lnTo>
                  <a:lnTo>
                    <a:pt x="16" y="2"/>
                  </a:lnTo>
                  <a:lnTo>
                    <a:pt x="21" y="7"/>
                  </a:lnTo>
                  <a:lnTo>
                    <a:pt x="25" y="13"/>
                  </a:lnTo>
                  <a:lnTo>
                    <a:pt x="25" y="18"/>
                  </a:lnTo>
                  <a:lnTo>
                    <a:pt x="23" y="21"/>
                  </a:lnTo>
                  <a:lnTo>
                    <a:pt x="22" y="26"/>
                  </a:lnTo>
                  <a:lnTo>
                    <a:pt x="18" y="28"/>
                  </a:lnTo>
                  <a:lnTo>
                    <a:pt x="16" y="28"/>
                  </a:lnTo>
                  <a:lnTo>
                    <a:pt x="13" y="28"/>
                  </a:lnTo>
                  <a:lnTo>
                    <a:pt x="12" y="27"/>
                  </a:lnTo>
                  <a:lnTo>
                    <a:pt x="11" y="25"/>
                  </a:lnTo>
                  <a:lnTo>
                    <a:pt x="9"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7" name="Freeform 316"/>
            <p:cNvSpPr>
              <a:spLocks/>
            </p:cNvSpPr>
            <p:nvPr/>
          </p:nvSpPr>
          <p:spPr bwMode="auto">
            <a:xfrm>
              <a:off x="7456489" y="4059242"/>
              <a:ext cx="12700" cy="28575"/>
            </a:xfrm>
            <a:custGeom>
              <a:avLst/>
              <a:gdLst>
                <a:gd name="T0" fmla="*/ 2147483647 w 9"/>
                <a:gd name="T1" fmla="*/ 2147483647 h 18"/>
                <a:gd name="T2" fmla="*/ 2147483647 w 9"/>
                <a:gd name="T3" fmla="*/ 2147483647 h 18"/>
                <a:gd name="T4" fmla="*/ 2147483647 w 9"/>
                <a:gd name="T5" fmla="*/ 2147483647 h 18"/>
                <a:gd name="T6" fmla="*/ 2147483647 w 9"/>
                <a:gd name="T7" fmla="*/ 2147483647 h 18"/>
                <a:gd name="T8" fmla="*/ 2147483647 w 9"/>
                <a:gd name="T9" fmla="*/ 2147483647 h 18"/>
                <a:gd name="T10" fmla="*/ 2147483647 w 9"/>
                <a:gd name="T11" fmla="*/ 0 h 18"/>
                <a:gd name="T12" fmla="*/ 2147483647 w 9"/>
                <a:gd name="T13" fmla="*/ 2147483647 h 18"/>
                <a:gd name="T14" fmla="*/ 2147483647 w 9"/>
                <a:gd name="T15" fmla="*/ 2147483647 h 18"/>
                <a:gd name="T16" fmla="*/ 2147483647 w 9"/>
                <a:gd name="T17" fmla="*/ 2147483647 h 18"/>
                <a:gd name="T18" fmla="*/ 2147483647 w 9"/>
                <a:gd name="T19" fmla="*/ 2147483647 h 18"/>
                <a:gd name="T20" fmla="*/ 2147483647 w 9"/>
                <a:gd name="T21" fmla="*/ 2147483647 h 18"/>
                <a:gd name="T22" fmla="*/ 2147483647 w 9"/>
                <a:gd name="T23" fmla="*/ 2147483647 h 18"/>
                <a:gd name="T24" fmla="*/ 0 w 9"/>
                <a:gd name="T25" fmla="*/ 2147483647 h 18"/>
                <a:gd name="T26" fmla="*/ 2147483647 w 9"/>
                <a:gd name="T27" fmla="*/ 2147483647 h 18"/>
                <a:gd name="T28" fmla="*/ 2147483647 w 9"/>
                <a:gd name="T29" fmla="*/ 2147483647 h 18"/>
                <a:gd name="T30" fmla="*/ 2147483647 w 9"/>
                <a:gd name="T31" fmla="*/ 2147483647 h 18"/>
                <a:gd name="T32" fmla="*/ 2147483647 w 9"/>
                <a:gd name="T33" fmla="*/ 2147483647 h 18"/>
                <a:gd name="T34" fmla="*/ 2147483647 w 9"/>
                <a:gd name="T35" fmla="*/ 2147483647 h 18"/>
                <a:gd name="T36" fmla="*/ 2147483647 w 9"/>
                <a:gd name="T37" fmla="*/ 2147483647 h 18"/>
                <a:gd name="T38" fmla="*/ 2147483647 w 9"/>
                <a:gd name="T39" fmla="*/ 2147483647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8"/>
                <a:gd name="T62" fmla="*/ 9 w 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8">
                  <a:moveTo>
                    <a:pt x="7" y="11"/>
                  </a:moveTo>
                  <a:lnTo>
                    <a:pt x="7" y="11"/>
                  </a:lnTo>
                  <a:lnTo>
                    <a:pt x="9" y="3"/>
                  </a:lnTo>
                  <a:lnTo>
                    <a:pt x="9" y="1"/>
                  </a:lnTo>
                  <a:lnTo>
                    <a:pt x="8" y="0"/>
                  </a:lnTo>
                  <a:lnTo>
                    <a:pt x="7" y="1"/>
                  </a:lnTo>
                  <a:lnTo>
                    <a:pt x="5" y="1"/>
                  </a:lnTo>
                  <a:lnTo>
                    <a:pt x="4" y="6"/>
                  </a:lnTo>
                  <a:lnTo>
                    <a:pt x="2" y="11"/>
                  </a:lnTo>
                  <a:lnTo>
                    <a:pt x="0" y="16"/>
                  </a:lnTo>
                  <a:lnTo>
                    <a:pt x="2" y="18"/>
                  </a:lnTo>
                  <a:lnTo>
                    <a:pt x="4" y="18"/>
                  </a:lnTo>
                  <a:lnTo>
                    <a:pt x="5" y="17"/>
                  </a:lnTo>
                  <a:lnTo>
                    <a:pt x="5" y="14"/>
                  </a:lnTo>
                  <a:lnTo>
                    <a:pt x="7"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8" name="Freeform 317"/>
            <p:cNvSpPr>
              <a:spLocks/>
            </p:cNvSpPr>
            <p:nvPr/>
          </p:nvSpPr>
          <p:spPr bwMode="auto">
            <a:xfrm>
              <a:off x="7372352" y="3983038"/>
              <a:ext cx="34925" cy="44450"/>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2147483647 h 28"/>
                <a:gd name="T12" fmla="*/ 0 w 24"/>
                <a:gd name="T13" fmla="*/ 2147483647 h 28"/>
                <a:gd name="T14" fmla="*/ 0 w 24"/>
                <a:gd name="T15" fmla="*/ 2147483647 h 28"/>
                <a:gd name="T16" fmla="*/ 2147483647 w 24"/>
                <a:gd name="T17" fmla="*/ 0 h 28"/>
                <a:gd name="T18" fmla="*/ 2147483647 w 24"/>
                <a:gd name="T19" fmla="*/ 0 h 28"/>
                <a:gd name="T20" fmla="*/ 2147483647 w 24"/>
                <a:gd name="T21" fmla="*/ 0 h 28"/>
                <a:gd name="T22" fmla="*/ 2147483647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2147483647 w 24"/>
                <a:gd name="T43" fmla="*/ 2147483647 h 28"/>
                <a:gd name="T44" fmla="*/ 2147483647 w 24"/>
                <a:gd name="T45" fmla="*/ 2147483647 h 28"/>
                <a:gd name="T46" fmla="*/ 2147483647 w 24"/>
                <a:gd name="T47" fmla="*/ 2147483647 h 28"/>
                <a:gd name="T48" fmla="*/ 2147483647 w 24"/>
                <a:gd name="T49" fmla="*/ 2147483647 h 28"/>
                <a:gd name="T50" fmla="*/ 2147483647 w 24"/>
                <a:gd name="T51" fmla="*/ 2147483647 h 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28"/>
                <a:gd name="T80" fmla="*/ 24 w 24"/>
                <a:gd name="T81" fmla="*/ 28 h 2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28">
                  <a:moveTo>
                    <a:pt x="9" y="15"/>
                  </a:moveTo>
                  <a:lnTo>
                    <a:pt x="9" y="15"/>
                  </a:lnTo>
                  <a:lnTo>
                    <a:pt x="8" y="13"/>
                  </a:lnTo>
                  <a:lnTo>
                    <a:pt x="5" y="10"/>
                  </a:lnTo>
                  <a:lnTo>
                    <a:pt x="1" y="6"/>
                  </a:lnTo>
                  <a:lnTo>
                    <a:pt x="0" y="3"/>
                  </a:lnTo>
                  <a:lnTo>
                    <a:pt x="0" y="1"/>
                  </a:lnTo>
                  <a:lnTo>
                    <a:pt x="1" y="0"/>
                  </a:lnTo>
                  <a:lnTo>
                    <a:pt x="9" y="0"/>
                  </a:lnTo>
                  <a:lnTo>
                    <a:pt x="15" y="2"/>
                  </a:lnTo>
                  <a:lnTo>
                    <a:pt x="20" y="7"/>
                  </a:lnTo>
                  <a:lnTo>
                    <a:pt x="24" y="13"/>
                  </a:lnTo>
                  <a:lnTo>
                    <a:pt x="24" y="17"/>
                  </a:lnTo>
                  <a:lnTo>
                    <a:pt x="23" y="21"/>
                  </a:lnTo>
                  <a:lnTo>
                    <a:pt x="22" y="26"/>
                  </a:lnTo>
                  <a:lnTo>
                    <a:pt x="18" y="28"/>
                  </a:lnTo>
                  <a:lnTo>
                    <a:pt x="15" y="28"/>
                  </a:lnTo>
                  <a:lnTo>
                    <a:pt x="13" y="28"/>
                  </a:lnTo>
                  <a:lnTo>
                    <a:pt x="12" y="27"/>
                  </a:lnTo>
                  <a:lnTo>
                    <a:pt x="10" y="25"/>
                  </a:lnTo>
                  <a:lnTo>
                    <a:pt x="9"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19" name="Freeform 318"/>
            <p:cNvSpPr>
              <a:spLocks/>
            </p:cNvSpPr>
            <p:nvPr/>
          </p:nvSpPr>
          <p:spPr bwMode="auto">
            <a:xfrm>
              <a:off x="7412042" y="4030664"/>
              <a:ext cx="41275" cy="42862"/>
            </a:xfrm>
            <a:custGeom>
              <a:avLst/>
              <a:gdLst>
                <a:gd name="T0" fmla="*/ 2147483647 w 28"/>
                <a:gd name="T1" fmla="*/ 2147483647 h 27"/>
                <a:gd name="T2" fmla="*/ 0 w 28"/>
                <a:gd name="T3" fmla="*/ 2147483647 h 27"/>
                <a:gd name="T4" fmla="*/ 0 w 28"/>
                <a:gd name="T5" fmla="*/ 2147483647 h 27"/>
                <a:gd name="T6" fmla="*/ 2147483647 w 28"/>
                <a:gd name="T7" fmla="*/ 2147483647 h 27"/>
                <a:gd name="T8" fmla="*/ 2147483647 w 28"/>
                <a:gd name="T9" fmla="*/ 0 h 27"/>
                <a:gd name="T10" fmla="*/ 2147483647 w 28"/>
                <a:gd name="T11" fmla="*/ 0 h 27"/>
                <a:gd name="T12" fmla="*/ 2147483647 w 28"/>
                <a:gd name="T13" fmla="*/ 2147483647 h 27"/>
                <a:gd name="T14" fmla="*/ 2147483647 w 28"/>
                <a:gd name="T15" fmla="*/ 2147483647 h 27"/>
                <a:gd name="T16" fmla="*/ 2147483647 w 28"/>
                <a:gd name="T17" fmla="*/ 2147483647 h 27"/>
                <a:gd name="T18" fmla="*/ 2147483647 w 28"/>
                <a:gd name="T19" fmla="*/ 2147483647 h 27"/>
                <a:gd name="T20" fmla="*/ 2147483647 w 28"/>
                <a:gd name="T21" fmla="*/ 2147483647 h 27"/>
                <a:gd name="T22" fmla="*/ 2147483647 w 28"/>
                <a:gd name="T23" fmla="*/ 2147483647 h 27"/>
                <a:gd name="T24" fmla="*/ 2147483647 w 28"/>
                <a:gd name="T25" fmla="*/ 2147483647 h 27"/>
                <a:gd name="T26" fmla="*/ 2147483647 w 28"/>
                <a:gd name="T27" fmla="*/ 2147483647 h 27"/>
                <a:gd name="T28" fmla="*/ 2147483647 w 28"/>
                <a:gd name="T29" fmla="*/ 2147483647 h 27"/>
                <a:gd name="T30" fmla="*/ 2147483647 w 28"/>
                <a:gd name="T31" fmla="*/ 2147483647 h 27"/>
                <a:gd name="T32" fmla="*/ 2147483647 w 28"/>
                <a:gd name="T33" fmla="*/ 2147483647 h 27"/>
                <a:gd name="T34" fmla="*/ 2147483647 w 28"/>
                <a:gd name="T35" fmla="*/ 2147483647 h 27"/>
                <a:gd name="T36" fmla="*/ 2147483647 w 28"/>
                <a:gd name="T37" fmla="*/ 2147483647 h 27"/>
                <a:gd name="T38" fmla="*/ 2147483647 w 28"/>
                <a:gd name="T39" fmla="*/ 2147483647 h 27"/>
                <a:gd name="T40" fmla="*/ 2147483647 w 28"/>
                <a:gd name="T41" fmla="*/ 2147483647 h 27"/>
                <a:gd name="T42" fmla="*/ 2147483647 w 28"/>
                <a:gd name="T43" fmla="*/ 2147483647 h 27"/>
                <a:gd name="T44" fmla="*/ 2147483647 w 28"/>
                <a:gd name="T45" fmla="*/ 214748364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27"/>
                <a:gd name="T71" fmla="*/ 28 w 28"/>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27">
                  <a:moveTo>
                    <a:pt x="4" y="12"/>
                  </a:moveTo>
                  <a:lnTo>
                    <a:pt x="0" y="6"/>
                  </a:lnTo>
                  <a:lnTo>
                    <a:pt x="0" y="4"/>
                  </a:lnTo>
                  <a:lnTo>
                    <a:pt x="2" y="2"/>
                  </a:lnTo>
                  <a:lnTo>
                    <a:pt x="6" y="0"/>
                  </a:lnTo>
                  <a:lnTo>
                    <a:pt x="10" y="0"/>
                  </a:lnTo>
                  <a:lnTo>
                    <a:pt x="19" y="2"/>
                  </a:lnTo>
                  <a:lnTo>
                    <a:pt x="23" y="3"/>
                  </a:lnTo>
                  <a:lnTo>
                    <a:pt x="25" y="4"/>
                  </a:lnTo>
                  <a:lnTo>
                    <a:pt x="28" y="6"/>
                  </a:lnTo>
                  <a:lnTo>
                    <a:pt x="26" y="9"/>
                  </a:lnTo>
                  <a:lnTo>
                    <a:pt x="25" y="11"/>
                  </a:lnTo>
                  <a:lnTo>
                    <a:pt x="23" y="12"/>
                  </a:lnTo>
                  <a:lnTo>
                    <a:pt x="16" y="15"/>
                  </a:lnTo>
                  <a:lnTo>
                    <a:pt x="12" y="19"/>
                  </a:lnTo>
                  <a:lnTo>
                    <a:pt x="9" y="24"/>
                  </a:lnTo>
                  <a:lnTo>
                    <a:pt x="6" y="25"/>
                  </a:lnTo>
                  <a:lnTo>
                    <a:pt x="5" y="27"/>
                  </a:lnTo>
                  <a:lnTo>
                    <a:pt x="4" y="24"/>
                  </a:lnTo>
                  <a:lnTo>
                    <a:pt x="2" y="22"/>
                  </a:lnTo>
                  <a:lnTo>
                    <a:pt x="2" y="18"/>
                  </a:lnTo>
                  <a:lnTo>
                    <a:pt x="4" y="16"/>
                  </a:lnTo>
                  <a:lnTo>
                    <a:pt x="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0" name="Freeform 319"/>
            <p:cNvSpPr>
              <a:spLocks/>
            </p:cNvSpPr>
            <p:nvPr/>
          </p:nvSpPr>
          <p:spPr bwMode="auto">
            <a:xfrm>
              <a:off x="7448551" y="4010025"/>
              <a:ext cx="25400" cy="25400"/>
            </a:xfrm>
            <a:custGeom>
              <a:avLst/>
              <a:gdLst>
                <a:gd name="T0" fmla="*/ 2147483647 w 17"/>
                <a:gd name="T1" fmla="*/ 2147483647 h 16"/>
                <a:gd name="T2" fmla="*/ 2147483647 w 17"/>
                <a:gd name="T3" fmla="*/ 2147483647 h 16"/>
                <a:gd name="T4" fmla="*/ 0 w 17"/>
                <a:gd name="T5" fmla="*/ 2147483647 h 16"/>
                <a:gd name="T6" fmla="*/ 0 w 17"/>
                <a:gd name="T7" fmla="*/ 2147483647 h 16"/>
                <a:gd name="T8" fmla="*/ 2147483647 w 17"/>
                <a:gd name="T9" fmla="*/ 2147483647 h 16"/>
                <a:gd name="T10" fmla="*/ 2147483647 w 17"/>
                <a:gd name="T11" fmla="*/ 2147483647 h 16"/>
                <a:gd name="T12" fmla="*/ 2147483647 w 17"/>
                <a:gd name="T13" fmla="*/ 0 h 16"/>
                <a:gd name="T14" fmla="*/ 2147483647 w 17"/>
                <a:gd name="T15" fmla="*/ 0 h 16"/>
                <a:gd name="T16" fmla="*/ 2147483647 w 17"/>
                <a:gd name="T17" fmla="*/ 2147483647 h 16"/>
                <a:gd name="T18" fmla="*/ 2147483647 w 17"/>
                <a:gd name="T19" fmla="*/ 2147483647 h 16"/>
                <a:gd name="T20" fmla="*/ 2147483647 w 17"/>
                <a:gd name="T21" fmla="*/ 2147483647 h 16"/>
                <a:gd name="T22" fmla="*/ 2147483647 w 17"/>
                <a:gd name="T23" fmla="*/ 2147483647 h 16"/>
                <a:gd name="T24" fmla="*/ 2147483647 w 17"/>
                <a:gd name="T25" fmla="*/ 2147483647 h 16"/>
                <a:gd name="T26" fmla="*/ 2147483647 w 17"/>
                <a:gd name="T27" fmla="*/ 2147483647 h 16"/>
                <a:gd name="T28" fmla="*/ 2147483647 w 17"/>
                <a:gd name="T29" fmla="*/ 2147483647 h 16"/>
                <a:gd name="T30" fmla="*/ 2147483647 w 17"/>
                <a:gd name="T31" fmla="*/ 2147483647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6"/>
                <a:gd name="T50" fmla="*/ 17 w 17"/>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6">
                  <a:moveTo>
                    <a:pt x="5" y="12"/>
                  </a:moveTo>
                  <a:lnTo>
                    <a:pt x="3" y="11"/>
                  </a:lnTo>
                  <a:lnTo>
                    <a:pt x="0" y="10"/>
                  </a:lnTo>
                  <a:lnTo>
                    <a:pt x="0" y="9"/>
                  </a:lnTo>
                  <a:lnTo>
                    <a:pt x="1" y="5"/>
                  </a:lnTo>
                  <a:lnTo>
                    <a:pt x="3" y="3"/>
                  </a:lnTo>
                  <a:lnTo>
                    <a:pt x="5" y="0"/>
                  </a:lnTo>
                  <a:lnTo>
                    <a:pt x="9" y="0"/>
                  </a:lnTo>
                  <a:lnTo>
                    <a:pt x="13" y="3"/>
                  </a:lnTo>
                  <a:lnTo>
                    <a:pt x="15" y="6"/>
                  </a:lnTo>
                  <a:lnTo>
                    <a:pt x="17" y="11"/>
                  </a:lnTo>
                  <a:lnTo>
                    <a:pt x="15" y="13"/>
                  </a:lnTo>
                  <a:lnTo>
                    <a:pt x="14" y="15"/>
                  </a:lnTo>
                  <a:lnTo>
                    <a:pt x="12" y="16"/>
                  </a:lnTo>
                  <a:lnTo>
                    <a:pt x="10" y="15"/>
                  </a:lnTo>
                  <a:lnTo>
                    <a:pt x="5"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1" name="Freeform 320"/>
            <p:cNvSpPr>
              <a:spLocks/>
            </p:cNvSpPr>
            <p:nvPr/>
          </p:nvSpPr>
          <p:spPr bwMode="auto">
            <a:xfrm>
              <a:off x="7410450" y="4029079"/>
              <a:ext cx="39688" cy="41275"/>
            </a:xfrm>
            <a:custGeom>
              <a:avLst/>
              <a:gdLst>
                <a:gd name="T0" fmla="*/ 2147483647 w 27"/>
                <a:gd name="T1" fmla="*/ 2147483647 h 26"/>
                <a:gd name="T2" fmla="*/ 2147483647 w 27"/>
                <a:gd name="T3" fmla="*/ 2147483647 h 26"/>
                <a:gd name="T4" fmla="*/ 0 w 27"/>
                <a:gd name="T5" fmla="*/ 2147483647 h 26"/>
                <a:gd name="T6" fmla="*/ 0 w 27"/>
                <a:gd name="T7" fmla="*/ 2147483647 h 26"/>
                <a:gd name="T8" fmla="*/ 2147483647 w 27"/>
                <a:gd name="T9" fmla="*/ 2147483647 h 26"/>
                <a:gd name="T10" fmla="*/ 2147483647 w 27"/>
                <a:gd name="T11" fmla="*/ 2147483647 h 26"/>
                <a:gd name="T12" fmla="*/ 2147483647 w 27"/>
                <a:gd name="T13" fmla="*/ 0 h 26"/>
                <a:gd name="T14" fmla="*/ 2147483647 w 27"/>
                <a:gd name="T15" fmla="*/ 0 h 26"/>
                <a:gd name="T16" fmla="*/ 2147483647 w 27"/>
                <a:gd name="T17" fmla="*/ 2147483647 h 26"/>
                <a:gd name="T18" fmla="*/ 2147483647 w 27"/>
                <a:gd name="T19" fmla="*/ 2147483647 h 26"/>
                <a:gd name="T20" fmla="*/ 2147483647 w 27"/>
                <a:gd name="T21" fmla="*/ 2147483647 h 26"/>
                <a:gd name="T22" fmla="*/ 2147483647 w 27"/>
                <a:gd name="T23" fmla="*/ 2147483647 h 26"/>
                <a:gd name="T24" fmla="*/ 2147483647 w 27"/>
                <a:gd name="T25" fmla="*/ 2147483647 h 26"/>
                <a:gd name="T26" fmla="*/ 2147483647 w 27"/>
                <a:gd name="T27" fmla="*/ 2147483647 h 26"/>
                <a:gd name="T28" fmla="*/ 2147483647 w 27"/>
                <a:gd name="T29" fmla="*/ 2147483647 h 26"/>
                <a:gd name="T30" fmla="*/ 2147483647 w 27"/>
                <a:gd name="T31" fmla="*/ 2147483647 h 26"/>
                <a:gd name="T32" fmla="*/ 2147483647 w 27"/>
                <a:gd name="T33" fmla="*/ 2147483647 h 26"/>
                <a:gd name="T34" fmla="*/ 2147483647 w 27"/>
                <a:gd name="T35" fmla="*/ 2147483647 h 26"/>
                <a:gd name="T36" fmla="*/ 2147483647 w 27"/>
                <a:gd name="T37" fmla="*/ 2147483647 h 26"/>
                <a:gd name="T38" fmla="*/ 2147483647 w 27"/>
                <a:gd name="T39" fmla="*/ 2147483647 h 26"/>
                <a:gd name="T40" fmla="*/ 2147483647 w 27"/>
                <a:gd name="T41" fmla="*/ 2147483647 h 26"/>
                <a:gd name="T42" fmla="*/ 2147483647 w 27"/>
                <a:gd name="T43" fmla="*/ 2147483647 h 26"/>
                <a:gd name="T44" fmla="*/ 2147483647 w 27"/>
                <a:gd name="T45" fmla="*/ 2147483647 h 26"/>
                <a:gd name="T46" fmla="*/ 2147483647 w 27"/>
                <a:gd name="T47" fmla="*/ 2147483647 h 26"/>
                <a:gd name="T48" fmla="*/ 2147483647 w 27"/>
                <a:gd name="T49" fmla="*/ 2147483647 h 26"/>
                <a:gd name="T50" fmla="*/ 2147483647 w 27"/>
                <a:gd name="T51" fmla="*/ 2147483647 h 26"/>
                <a:gd name="T52" fmla="*/ 2147483647 w 27"/>
                <a:gd name="T53" fmla="*/ 2147483647 h 26"/>
                <a:gd name="T54" fmla="*/ 2147483647 w 27"/>
                <a:gd name="T55" fmla="*/ 2147483647 h 26"/>
                <a:gd name="T56" fmla="*/ 2147483647 w 27"/>
                <a:gd name="T57" fmla="*/ 2147483647 h 26"/>
                <a:gd name="T58" fmla="*/ 2147483647 w 27"/>
                <a:gd name="T59" fmla="*/ 2147483647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
                <a:gd name="T91" fmla="*/ 0 h 26"/>
                <a:gd name="T92" fmla="*/ 27 w 2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 h="26">
                  <a:moveTo>
                    <a:pt x="3" y="12"/>
                  </a:moveTo>
                  <a:lnTo>
                    <a:pt x="3" y="12"/>
                  </a:lnTo>
                  <a:lnTo>
                    <a:pt x="0" y="6"/>
                  </a:lnTo>
                  <a:lnTo>
                    <a:pt x="0" y="4"/>
                  </a:lnTo>
                  <a:lnTo>
                    <a:pt x="2" y="1"/>
                  </a:lnTo>
                  <a:lnTo>
                    <a:pt x="6" y="0"/>
                  </a:lnTo>
                  <a:lnTo>
                    <a:pt x="10" y="0"/>
                  </a:lnTo>
                  <a:lnTo>
                    <a:pt x="19" y="1"/>
                  </a:lnTo>
                  <a:lnTo>
                    <a:pt x="22" y="3"/>
                  </a:lnTo>
                  <a:lnTo>
                    <a:pt x="25" y="4"/>
                  </a:lnTo>
                  <a:lnTo>
                    <a:pt x="27" y="6"/>
                  </a:lnTo>
                  <a:lnTo>
                    <a:pt x="26" y="9"/>
                  </a:lnTo>
                  <a:lnTo>
                    <a:pt x="25" y="11"/>
                  </a:lnTo>
                  <a:lnTo>
                    <a:pt x="22" y="12"/>
                  </a:lnTo>
                  <a:lnTo>
                    <a:pt x="16" y="15"/>
                  </a:lnTo>
                  <a:lnTo>
                    <a:pt x="12" y="19"/>
                  </a:lnTo>
                  <a:lnTo>
                    <a:pt x="8" y="24"/>
                  </a:lnTo>
                  <a:lnTo>
                    <a:pt x="6" y="25"/>
                  </a:lnTo>
                  <a:lnTo>
                    <a:pt x="5" y="26"/>
                  </a:lnTo>
                  <a:lnTo>
                    <a:pt x="3" y="24"/>
                  </a:lnTo>
                  <a:lnTo>
                    <a:pt x="2" y="22"/>
                  </a:lnTo>
                  <a:lnTo>
                    <a:pt x="2" y="18"/>
                  </a:lnTo>
                  <a:lnTo>
                    <a:pt x="3" y="16"/>
                  </a:lnTo>
                  <a:lnTo>
                    <a:pt x="3"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2" name="Freeform 321"/>
            <p:cNvSpPr>
              <a:spLocks/>
            </p:cNvSpPr>
            <p:nvPr/>
          </p:nvSpPr>
          <p:spPr bwMode="auto">
            <a:xfrm>
              <a:off x="7446965" y="4008438"/>
              <a:ext cx="23812" cy="25400"/>
            </a:xfrm>
            <a:custGeom>
              <a:avLst/>
              <a:gdLst>
                <a:gd name="T0" fmla="*/ 2147483647 w 16"/>
                <a:gd name="T1" fmla="*/ 2147483647 h 16"/>
                <a:gd name="T2" fmla="*/ 2147483647 w 16"/>
                <a:gd name="T3" fmla="*/ 2147483647 h 16"/>
                <a:gd name="T4" fmla="*/ 2147483647 w 16"/>
                <a:gd name="T5" fmla="*/ 2147483647 h 16"/>
                <a:gd name="T6" fmla="*/ 0 w 16"/>
                <a:gd name="T7" fmla="*/ 2147483647 h 16"/>
                <a:gd name="T8" fmla="*/ 0 w 16"/>
                <a:gd name="T9" fmla="*/ 2147483647 h 16"/>
                <a:gd name="T10" fmla="*/ 0 w 16"/>
                <a:gd name="T11" fmla="*/ 2147483647 h 16"/>
                <a:gd name="T12" fmla="*/ 2147483647 w 16"/>
                <a:gd name="T13" fmla="*/ 2147483647 h 16"/>
                <a:gd name="T14" fmla="*/ 2147483647 w 16"/>
                <a:gd name="T15" fmla="*/ 2147483647 h 16"/>
                <a:gd name="T16" fmla="*/ 2147483647 w 16"/>
                <a:gd name="T17" fmla="*/ 0 h 16"/>
                <a:gd name="T18" fmla="*/ 2147483647 w 16"/>
                <a:gd name="T19" fmla="*/ 0 h 16"/>
                <a:gd name="T20" fmla="*/ 2147483647 w 16"/>
                <a:gd name="T21" fmla="*/ 0 h 16"/>
                <a:gd name="T22" fmla="*/ 2147483647 w 16"/>
                <a:gd name="T23" fmla="*/ 2147483647 h 16"/>
                <a:gd name="T24" fmla="*/ 2147483647 w 16"/>
                <a:gd name="T25" fmla="*/ 2147483647 h 16"/>
                <a:gd name="T26" fmla="*/ 2147483647 w 16"/>
                <a:gd name="T27" fmla="*/ 2147483647 h 16"/>
                <a:gd name="T28" fmla="*/ 2147483647 w 16"/>
                <a:gd name="T29" fmla="*/ 2147483647 h 16"/>
                <a:gd name="T30" fmla="*/ 2147483647 w 16"/>
                <a:gd name="T31" fmla="*/ 2147483647 h 16"/>
                <a:gd name="T32" fmla="*/ 2147483647 w 16"/>
                <a:gd name="T33" fmla="*/ 2147483647 h 16"/>
                <a:gd name="T34" fmla="*/ 2147483647 w 16"/>
                <a:gd name="T35" fmla="*/ 2147483647 h 16"/>
                <a:gd name="T36" fmla="*/ 2147483647 w 16"/>
                <a:gd name="T37" fmla="*/ 2147483647 h 16"/>
                <a:gd name="T38" fmla="*/ 2147483647 w 16"/>
                <a:gd name="T39" fmla="*/ 2147483647 h 16"/>
                <a:gd name="T40" fmla="*/ 2147483647 w 16"/>
                <a:gd name="T41" fmla="*/ 2147483647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6"/>
                <a:gd name="T65" fmla="*/ 16 w 16"/>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6">
                  <a:moveTo>
                    <a:pt x="5" y="12"/>
                  </a:moveTo>
                  <a:lnTo>
                    <a:pt x="5" y="12"/>
                  </a:lnTo>
                  <a:lnTo>
                    <a:pt x="2" y="11"/>
                  </a:lnTo>
                  <a:lnTo>
                    <a:pt x="0" y="10"/>
                  </a:lnTo>
                  <a:lnTo>
                    <a:pt x="0" y="9"/>
                  </a:lnTo>
                  <a:lnTo>
                    <a:pt x="1" y="5"/>
                  </a:lnTo>
                  <a:lnTo>
                    <a:pt x="2" y="3"/>
                  </a:lnTo>
                  <a:lnTo>
                    <a:pt x="5" y="0"/>
                  </a:lnTo>
                  <a:lnTo>
                    <a:pt x="9" y="0"/>
                  </a:lnTo>
                  <a:lnTo>
                    <a:pt x="13" y="3"/>
                  </a:lnTo>
                  <a:lnTo>
                    <a:pt x="15" y="6"/>
                  </a:lnTo>
                  <a:lnTo>
                    <a:pt x="16" y="11"/>
                  </a:lnTo>
                  <a:lnTo>
                    <a:pt x="15" y="13"/>
                  </a:lnTo>
                  <a:lnTo>
                    <a:pt x="14" y="14"/>
                  </a:lnTo>
                  <a:lnTo>
                    <a:pt x="11" y="16"/>
                  </a:lnTo>
                  <a:lnTo>
                    <a:pt x="10" y="14"/>
                  </a:lnTo>
                  <a:lnTo>
                    <a:pt x="5"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3" name="Freeform 322"/>
            <p:cNvSpPr>
              <a:spLocks/>
            </p:cNvSpPr>
            <p:nvPr/>
          </p:nvSpPr>
          <p:spPr bwMode="auto">
            <a:xfrm>
              <a:off x="7496175" y="3946526"/>
              <a:ext cx="19050" cy="31751"/>
            </a:xfrm>
            <a:custGeom>
              <a:avLst/>
              <a:gdLst>
                <a:gd name="T0" fmla="*/ 2147483647 w 13"/>
                <a:gd name="T1" fmla="*/ 2147483647 h 20"/>
                <a:gd name="T2" fmla="*/ 0 w 13"/>
                <a:gd name="T3" fmla="*/ 2147483647 h 20"/>
                <a:gd name="T4" fmla="*/ 0 w 13"/>
                <a:gd name="T5" fmla="*/ 2147483647 h 20"/>
                <a:gd name="T6" fmla="*/ 2147483647 w 13"/>
                <a:gd name="T7" fmla="*/ 0 h 20"/>
                <a:gd name="T8" fmla="*/ 2147483647 w 13"/>
                <a:gd name="T9" fmla="*/ 0 h 20"/>
                <a:gd name="T10" fmla="*/ 2147483647 w 13"/>
                <a:gd name="T11" fmla="*/ 2147483647 h 20"/>
                <a:gd name="T12" fmla="*/ 2147483647 w 13"/>
                <a:gd name="T13" fmla="*/ 2147483647 h 20"/>
                <a:gd name="T14" fmla="*/ 2147483647 w 13"/>
                <a:gd name="T15" fmla="*/ 2147483647 h 20"/>
                <a:gd name="T16" fmla="*/ 2147483647 w 13"/>
                <a:gd name="T17" fmla="*/ 2147483647 h 20"/>
                <a:gd name="T18" fmla="*/ 2147483647 w 13"/>
                <a:gd name="T19" fmla="*/ 2147483647 h 20"/>
                <a:gd name="T20" fmla="*/ 2147483647 w 13"/>
                <a:gd name="T21" fmla="*/ 2147483647 h 20"/>
                <a:gd name="T22" fmla="*/ 2147483647 w 13"/>
                <a:gd name="T23" fmla="*/ 2147483647 h 20"/>
                <a:gd name="T24" fmla="*/ 2147483647 w 13"/>
                <a:gd name="T25" fmla="*/ 2147483647 h 20"/>
                <a:gd name="T26" fmla="*/ 0 w 13"/>
                <a:gd name="T27" fmla="*/ 2147483647 h 20"/>
                <a:gd name="T28" fmla="*/ 0 w 13"/>
                <a:gd name="T29" fmla="*/ 2147483647 h 20"/>
                <a:gd name="T30" fmla="*/ 2147483647 w 13"/>
                <a:gd name="T31" fmla="*/ 2147483647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20"/>
                <a:gd name="T50" fmla="*/ 13 w 13"/>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20">
                  <a:moveTo>
                    <a:pt x="1" y="11"/>
                  </a:moveTo>
                  <a:lnTo>
                    <a:pt x="0" y="5"/>
                  </a:lnTo>
                  <a:lnTo>
                    <a:pt x="0" y="2"/>
                  </a:lnTo>
                  <a:lnTo>
                    <a:pt x="1" y="0"/>
                  </a:lnTo>
                  <a:lnTo>
                    <a:pt x="4" y="0"/>
                  </a:lnTo>
                  <a:lnTo>
                    <a:pt x="6" y="1"/>
                  </a:lnTo>
                  <a:lnTo>
                    <a:pt x="11" y="5"/>
                  </a:lnTo>
                  <a:lnTo>
                    <a:pt x="13" y="10"/>
                  </a:lnTo>
                  <a:lnTo>
                    <a:pt x="11" y="13"/>
                  </a:lnTo>
                  <a:lnTo>
                    <a:pt x="10" y="17"/>
                  </a:lnTo>
                  <a:lnTo>
                    <a:pt x="6" y="20"/>
                  </a:lnTo>
                  <a:lnTo>
                    <a:pt x="4" y="20"/>
                  </a:lnTo>
                  <a:lnTo>
                    <a:pt x="1" y="20"/>
                  </a:lnTo>
                  <a:lnTo>
                    <a:pt x="0" y="18"/>
                  </a:lnTo>
                  <a:lnTo>
                    <a:pt x="0" y="16"/>
                  </a:lnTo>
                  <a:lnTo>
                    <a:pt x="1"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4" name="Freeform 323"/>
            <p:cNvSpPr>
              <a:spLocks/>
            </p:cNvSpPr>
            <p:nvPr/>
          </p:nvSpPr>
          <p:spPr bwMode="auto">
            <a:xfrm>
              <a:off x="7359651" y="3817938"/>
              <a:ext cx="123825" cy="190500"/>
            </a:xfrm>
            <a:custGeom>
              <a:avLst/>
              <a:gdLst>
                <a:gd name="T0" fmla="*/ 2147483647 w 85"/>
                <a:gd name="T1" fmla="*/ 2147483647 h 120"/>
                <a:gd name="T2" fmla="*/ 2147483647 w 85"/>
                <a:gd name="T3" fmla="*/ 2147483647 h 120"/>
                <a:gd name="T4" fmla="*/ 2147483647 w 85"/>
                <a:gd name="T5" fmla="*/ 2147483647 h 120"/>
                <a:gd name="T6" fmla="*/ 2147483647 w 85"/>
                <a:gd name="T7" fmla="*/ 2147483647 h 120"/>
                <a:gd name="T8" fmla="*/ 2147483647 w 85"/>
                <a:gd name="T9" fmla="*/ 2147483647 h 120"/>
                <a:gd name="T10" fmla="*/ 2147483647 w 85"/>
                <a:gd name="T11" fmla="*/ 2147483647 h 120"/>
                <a:gd name="T12" fmla="*/ 2147483647 w 85"/>
                <a:gd name="T13" fmla="*/ 2147483647 h 120"/>
                <a:gd name="T14" fmla="*/ 2147483647 w 85"/>
                <a:gd name="T15" fmla="*/ 2147483647 h 120"/>
                <a:gd name="T16" fmla="*/ 2147483647 w 85"/>
                <a:gd name="T17" fmla="*/ 2147483647 h 120"/>
                <a:gd name="T18" fmla="*/ 2147483647 w 85"/>
                <a:gd name="T19" fmla="*/ 2147483647 h 120"/>
                <a:gd name="T20" fmla="*/ 2147483647 w 85"/>
                <a:gd name="T21" fmla="*/ 2147483647 h 120"/>
                <a:gd name="T22" fmla="*/ 2147483647 w 85"/>
                <a:gd name="T23" fmla="*/ 2147483647 h 120"/>
                <a:gd name="T24" fmla="*/ 2147483647 w 85"/>
                <a:gd name="T25" fmla="*/ 2147483647 h 120"/>
                <a:gd name="T26" fmla="*/ 2147483647 w 85"/>
                <a:gd name="T27" fmla="*/ 2147483647 h 120"/>
                <a:gd name="T28" fmla="*/ 2147483647 w 85"/>
                <a:gd name="T29" fmla="*/ 2147483647 h 120"/>
                <a:gd name="T30" fmla="*/ 2147483647 w 85"/>
                <a:gd name="T31" fmla="*/ 2147483647 h 120"/>
                <a:gd name="T32" fmla="*/ 2147483647 w 85"/>
                <a:gd name="T33" fmla="*/ 2147483647 h 120"/>
                <a:gd name="T34" fmla="*/ 2147483647 w 85"/>
                <a:gd name="T35" fmla="*/ 2147483647 h 120"/>
                <a:gd name="T36" fmla="*/ 2147483647 w 85"/>
                <a:gd name="T37" fmla="*/ 2147483647 h 120"/>
                <a:gd name="T38" fmla="*/ 2147483647 w 85"/>
                <a:gd name="T39" fmla="*/ 2147483647 h 120"/>
                <a:gd name="T40" fmla="*/ 2147483647 w 85"/>
                <a:gd name="T41" fmla="*/ 2147483647 h 120"/>
                <a:gd name="T42" fmla="*/ 2147483647 w 85"/>
                <a:gd name="T43" fmla="*/ 2147483647 h 120"/>
                <a:gd name="T44" fmla="*/ 2147483647 w 85"/>
                <a:gd name="T45" fmla="*/ 2147483647 h 120"/>
                <a:gd name="T46" fmla="*/ 2147483647 w 85"/>
                <a:gd name="T47" fmla="*/ 2147483647 h 120"/>
                <a:gd name="T48" fmla="*/ 2147483647 w 85"/>
                <a:gd name="T49" fmla="*/ 2147483647 h 120"/>
                <a:gd name="T50" fmla="*/ 2147483647 w 85"/>
                <a:gd name="T51" fmla="*/ 2147483647 h 120"/>
                <a:gd name="T52" fmla="*/ 2147483647 w 85"/>
                <a:gd name="T53" fmla="*/ 2147483647 h 120"/>
                <a:gd name="T54" fmla="*/ 2147483647 w 85"/>
                <a:gd name="T55" fmla="*/ 2147483647 h 120"/>
                <a:gd name="T56" fmla="*/ 2147483647 w 85"/>
                <a:gd name="T57" fmla="*/ 2147483647 h 120"/>
                <a:gd name="T58" fmla="*/ 2147483647 w 85"/>
                <a:gd name="T59" fmla="*/ 2147483647 h 120"/>
                <a:gd name="T60" fmla="*/ 2147483647 w 85"/>
                <a:gd name="T61" fmla="*/ 2147483647 h 120"/>
                <a:gd name="T62" fmla="*/ 2147483647 w 85"/>
                <a:gd name="T63" fmla="*/ 2147483647 h 120"/>
                <a:gd name="T64" fmla="*/ 2147483647 w 85"/>
                <a:gd name="T65" fmla="*/ 2147483647 h 120"/>
                <a:gd name="T66" fmla="*/ 2147483647 w 85"/>
                <a:gd name="T67" fmla="*/ 2147483647 h 120"/>
                <a:gd name="T68" fmla="*/ 2147483647 w 85"/>
                <a:gd name="T69" fmla="*/ 2147483647 h 120"/>
                <a:gd name="T70" fmla="*/ 2147483647 w 85"/>
                <a:gd name="T71" fmla="*/ 2147483647 h 120"/>
                <a:gd name="T72" fmla="*/ 2147483647 w 85"/>
                <a:gd name="T73" fmla="*/ 2147483647 h 120"/>
                <a:gd name="T74" fmla="*/ 2147483647 w 85"/>
                <a:gd name="T75" fmla="*/ 2147483647 h 120"/>
                <a:gd name="T76" fmla="*/ 2147483647 w 85"/>
                <a:gd name="T77" fmla="*/ 2147483647 h 120"/>
                <a:gd name="T78" fmla="*/ 2147483647 w 85"/>
                <a:gd name="T79" fmla="*/ 2147483647 h 120"/>
                <a:gd name="T80" fmla="*/ 2147483647 w 85"/>
                <a:gd name="T81" fmla="*/ 2147483647 h 120"/>
                <a:gd name="T82" fmla="*/ 2147483647 w 85"/>
                <a:gd name="T83" fmla="*/ 2147483647 h 120"/>
                <a:gd name="T84" fmla="*/ 2147483647 w 85"/>
                <a:gd name="T85" fmla="*/ 2147483647 h 120"/>
                <a:gd name="T86" fmla="*/ 2147483647 w 85"/>
                <a:gd name="T87" fmla="*/ 2147483647 h 120"/>
                <a:gd name="T88" fmla="*/ 2147483647 w 85"/>
                <a:gd name="T89" fmla="*/ 2147483647 h 1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
                <a:gd name="T136" fmla="*/ 0 h 120"/>
                <a:gd name="T137" fmla="*/ 85 w 85"/>
                <a:gd name="T138" fmla="*/ 120 h 1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 h="120">
                  <a:moveTo>
                    <a:pt x="68" y="91"/>
                  </a:moveTo>
                  <a:lnTo>
                    <a:pt x="66" y="88"/>
                  </a:lnTo>
                  <a:lnTo>
                    <a:pt x="64" y="87"/>
                  </a:lnTo>
                  <a:lnTo>
                    <a:pt x="59" y="85"/>
                  </a:lnTo>
                  <a:lnTo>
                    <a:pt x="54" y="85"/>
                  </a:lnTo>
                  <a:lnTo>
                    <a:pt x="52" y="85"/>
                  </a:lnTo>
                  <a:lnTo>
                    <a:pt x="51" y="87"/>
                  </a:lnTo>
                  <a:lnTo>
                    <a:pt x="51" y="89"/>
                  </a:lnTo>
                  <a:lnTo>
                    <a:pt x="50" y="91"/>
                  </a:lnTo>
                  <a:lnTo>
                    <a:pt x="47" y="91"/>
                  </a:lnTo>
                  <a:lnTo>
                    <a:pt x="45" y="89"/>
                  </a:lnTo>
                  <a:lnTo>
                    <a:pt x="38" y="86"/>
                  </a:lnTo>
                  <a:lnTo>
                    <a:pt x="38" y="85"/>
                  </a:lnTo>
                  <a:lnTo>
                    <a:pt x="38" y="83"/>
                  </a:lnTo>
                  <a:lnTo>
                    <a:pt x="38" y="81"/>
                  </a:lnTo>
                  <a:lnTo>
                    <a:pt x="37" y="79"/>
                  </a:lnTo>
                  <a:lnTo>
                    <a:pt x="36" y="76"/>
                  </a:lnTo>
                  <a:lnTo>
                    <a:pt x="35" y="75"/>
                  </a:lnTo>
                  <a:lnTo>
                    <a:pt x="35" y="74"/>
                  </a:lnTo>
                  <a:lnTo>
                    <a:pt x="37" y="69"/>
                  </a:lnTo>
                  <a:lnTo>
                    <a:pt x="37" y="63"/>
                  </a:lnTo>
                  <a:lnTo>
                    <a:pt x="38" y="53"/>
                  </a:lnTo>
                  <a:lnTo>
                    <a:pt x="40" y="51"/>
                  </a:lnTo>
                  <a:lnTo>
                    <a:pt x="41" y="50"/>
                  </a:lnTo>
                  <a:lnTo>
                    <a:pt x="43" y="50"/>
                  </a:lnTo>
                  <a:lnTo>
                    <a:pt x="46" y="49"/>
                  </a:lnTo>
                  <a:lnTo>
                    <a:pt x="47" y="44"/>
                  </a:lnTo>
                  <a:lnTo>
                    <a:pt x="48" y="40"/>
                  </a:lnTo>
                  <a:lnTo>
                    <a:pt x="48" y="35"/>
                  </a:lnTo>
                  <a:lnTo>
                    <a:pt x="51" y="30"/>
                  </a:lnTo>
                  <a:lnTo>
                    <a:pt x="52" y="28"/>
                  </a:lnTo>
                  <a:lnTo>
                    <a:pt x="51" y="25"/>
                  </a:lnTo>
                  <a:lnTo>
                    <a:pt x="48" y="22"/>
                  </a:lnTo>
                  <a:lnTo>
                    <a:pt x="46" y="18"/>
                  </a:lnTo>
                  <a:lnTo>
                    <a:pt x="46" y="15"/>
                  </a:lnTo>
                  <a:lnTo>
                    <a:pt x="48" y="10"/>
                  </a:lnTo>
                  <a:lnTo>
                    <a:pt x="50" y="5"/>
                  </a:lnTo>
                  <a:lnTo>
                    <a:pt x="50" y="3"/>
                  </a:lnTo>
                  <a:lnTo>
                    <a:pt x="48" y="2"/>
                  </a:lnTo>
                  <a:lnTo>
                    <a:pt x="46" y="0"/>
                  </a:lnTo>
                  <a:lnTo>
                    <a:pt x="45" y="0"/>
                  </a:lnTo>
                  <a:lnTo>
                    <a:pt x="42" y="2"/>
                  </a:lnTo>
                  <a:lnTo>
                    <a:pt x="41" y="4"/>
                  </a:lnTo>
                  <a:lnTo>
                    <a:pt x="37" y="5"/>
                  </a:lnTo>
                  <a:lnTo>
                    <a:pt x="36" y="6"/>
                  </a:lnTo>
                  <a:lnTo>
                    <a:pt x="35" y="8"/>
                  </a:lnTo>
                  <a:lnTo>
                    <a:pt x="29" y="4"/>
                  </a:lnTo>
                  <a:lnTo>
                    <a:pt x="23" y="4"/>
                  </a:lnTo>
                  <a:lnTo>
                    <a:pt x="21" y="4"/>
                  </a:lnTo>
                  <a:lnTo>
                    <a:pt x="18" y="5"/>
                  </a:lnTo>
                  <a:lnTo>
                    <a:pt x="17" y="8"/>
                  </a:lnTo>
                  <a:lnTo>
                    <a:pt x="14" y="10"/>
                  </a:lnTo>
                  <a:lnTo>
                    <a:pt x="13" y="18"/>
                  </a:lnTo>
                  <a:lnTo>
                    <a:pt x="12" y="28"/>
                  </a:lnTo>
                  <a:lnTo>
                    <a:pt x="10" y="29"/>
                  </a:lnTo>
                  <a:lnTo>
                    <a:pt x="10" y="34"/>
                  </a:lnTo>
                  <a:lnTo>
                    <a:pt x="12" y="40"/>
                  </a:lnTo>
                  <a:lnTo>
                    <a:pt x="13" y="46"/>
                  </a:lnTo>
                  <a:lnTo>
                    <a:pt x="13" y="51"/>
                  </a:lnTo>
                  <a:lnTo>
                    <a:pt x="10" y="49"/>
                  </a:lnTo>
                  <a:lnTo>
                    <a:pt x="9" y="48"/>
                  </a:lnTo>
                  <a:lnTo>
                    <a:pt x="7" y="46"/>
                  </a:lnTo>
                  <a:lnTo>
                    <a:pt x="5" y="43"/>
                  </a:lnTo>
                  <a:lnTo>
                    <a:pt x="4" y="43"/>
                  </a:lnTo>
                  <a:lnTo>
                    <a:pt x="3" y="43"/>
                  </a:lnTo>
                  <a:lnTo>
                    <a:pt x="1" y="46"/>
                  </a:lnTo>
                  <a:lnTo>
                    <a:pt x="1" y="48"/>
                  </a:lnTo>
                  <a:lnTo>
                    <a:pt x="1" y="50"/>
                  </a:lnTo>
                  <a:lnTo>
                    <a:pt x="1" y="51"/>
                  </a:lnTo>
                  <a:lnTo>
                    <a:pt x="0" y="53"/>
                  </a:lnTo>
                  <a:lnTo>
                    <a:pt x="7" y="69"/>
                  </a:lnTo>
                  <a:lnTo>
                    <a:pt x="14" y="85"/>
                  </a:lnTo>
                  <a:lnTo>
                    <a:pt x="14" y="86"/>
                  </a:lnTo>
                  <a:lnTo>
                    <a:pt x="15" y="85"/>
                  </a:lnTo>
                  <a:lnTo>
                    <a:pt x="15" y="83"/>
                  </a:lnTo>
                  <a:lnTo>
                    <a:pt x="17" y="80"/>
                  </a:lnTo>
                  <a:lnTo>
                    <a:pt x="17" y="78"/>
                  </a:lnTo>
                  <a:lnTo>
                    <a:pt x="19" y="75"/>
                  </a:lnTo>
                  <a:lnTo>
                    <a:pt x="21" y="75"/>
                  </a:lnTo>
                  <a:lnTo>
                    <a:pt x="23" y="75"/>
                  </a:lnTo>
                  <a:lnTo>
                    <a:pt x="26" y="75"/>
                  </a:lnTo>
                  <a:lnTo>
                    <a:pt x="27" y="78"/>
                  </a:lnTo>
                  <a:lnTo>
                    <a:pt x="27" y="80"/>
                  </a:lnTo>
                  <a:lnTo>
                    <a:pt x="26" y="83"/>
                  </a:lnTo>
                  <a:lnTo>
                    <a:pt x="24" y="87"/>
                  </a:lnTo>
                  <a:lnTo>
                    <a:pt x="22" y="91"/>
                  </a:lnTo>
                  <a:lnTo>
                    <a:pt x="21" y="95"/>
                  </a:lnTo>
                  <a:lnTo>
                    <a:pt x="21" y="97"/>
                  </a:lnTo>
                  <a:lnTo>
                    <a:pt x="22" y="99"/>
                  </a:lnTo>
                  <a:lnTo>
                    <a:pt x="23" y="99"/>
                  </a:lnTo>
                  <a:lnTo>
                    <a:pt x="24" y="99"/>
                  </a:lnTo>
                  <a:lnTo>
                    <a:pt x="27" y="98"/>
                  </a:lnTo>
                  <a:lnTo>
                    <a:pt x="28" y="98"/>
                  </a:lnTo>
                  <a:lnTo>
                    <a:pt x="29" y="99"/>
                  </a:lnTo>
                  <a:lnTo>
                    <a:pt x="31" y="100"/>
                  </a:lnTo>
                  <a:lnTo>
                    <a:pt x="32" y="99"/>
                  </a:lnTo>
                  <a:lnTo>
                    <a:pt x="36" y="98"/>
                  </a:lnTo>
                  <a:lnTo>
                    <a:pt x="38" y="98"/>
                  </a:lnTo>
                  <a:lnTo>
                    <a:pt x="42" y="98"/>
                  </a:lnTo>
                  <a:lnTo>
                    <a:pt x="46" y="99"/>
                  </a:lnTo>
                  <a:lnTo>
                    <a:pt x="52" y="102"/>
                  </a:lnTo>
                  <a:lnTo>
                    <a:pt x="54" y="105"/>
                  </a:lnTo>
                  <a:lnTo>
                    <a:pt x="55" y="108"/>
                  </a:lnTo>
                  <a:lnTo>
                    <a:pt x="57" y="106"/>
                  </a:lnTo>
                  <a:lnTo>
                    <a:pt x="59" y="104"/>
                  </a:lnTo>
                  <a:lnTo>
                    <a:pt x="57" y="98"/>
                  </a:lnTo>
                  <a:lnTo>
                    <a:pt x="61" y="100"/>
                  </a:lnTo>
                  <a:lnTo>
                    <a:pt x="62" y="104"/>
                  </a:lnTo>
                  <a:lnTo>
                    <a:pt x="68" y="112"/>
                  </a:lnTo>
                  <a:lnTo>
                    <a:pt x="69" y="113"/>
                  </a:lnTo>
                  <a:lnTo>
                    <a:pt x="70" y="113"/>
                  </a:lnTo>
                  <a:lnTo>
                    <a:pt x="71" y="114"/>
                  </a:lnTo>
                  <a:lnTo>
                    <a:pt x="74" y="114"/>
                  </a:lnTo>
                  <a:lnTo>
                    <a:pt x="74" y="117"/>
                  </a:lnTo>
                  <a:lnTo>
                    <a:pt x="75" y="119"/>
                  </a:lnTo>
                  <a:lnTo>
                    <a:pt x="78" y="120"/>
                  </a:lnTo>
                  <a:lnTo>
                    <a:pt x="79" y="120"/>
                  </a:lnTo>
                  <a:lnTo>
                    <a:pt x="81" y="118"/>
                  </a:lnTo>
                  <a:lnTo>
                    <a:pt x="83" y="117"/>
                  </a:lnTo>
                  <a:lnTo>
                    <a:pt x="83" y="114"/>
                  </a:lnTo>
                  <a:lnTo>
                    <a:pt x="81" y="113"/>
                  </a:lnTo>
                  <a:lnTo>
                    <a:pt x="79" y="111"/>
                  </a:lnTo>
                  <a:lnTo>
                    <a:pt x="76" y="107"/>
                  </a:lnTo>
                  <a:lnTo>
                    <a:pt x="75" y="104"/>
                  </a:lnTo>
                  <a:lnTo>
                    <a:pt x="75" y="100"/>
                  </a:lnTo>
                  <a:lnTo>
                    <a:pt x="78" y="98"/>
                  </a:lnTo>
                  <a:lnTo>
                    <a:pt x="80" y="97"/>
                  </a:lnTo>
                  <a:lnTo>
                    <a:pt x="85" y="95"/>
                  </a:lnTo>
                  <a:lnTo>
                    <a:pt x="85" y="94"/>
                  </a:lnTo>
                  <a:lnTo>
                    <a:pt x="84" y="92"/>
                  </a:lnTo>
                  <a:lnTo>
                    <a:pt x="80" y="91"/>
                  </a:lnTo>
                  <a:lnTo>
                    <a:pt x="78" y="92"/>
                  </a:lnTo>
                  <a:lnTo>
                    <a:pt x="74" y="93"/>
                  </a:lnTo>
                  <a:lnTo>
                    <a:pt x="70" y="93"/>
                  </a:lnTo>
                  <a:lnTo>
                    <a:pt x="69" y="93"/>
                  </a:lnTo>
                  <a:lnTo>
                    <a:pt x="68" y="9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5" name="Freeform 324"/>
            <p:cNvSpPr>
              <a:spLocks/>
            </p:cNvSpPr>
            <p:nvPr/>
          </p:nvSpPr>
          <p:spPr bwMode="auto">
            <a:xfrm>
              <a:off x="7494590" y="3944937"/>
              <a:ext cx="17462" cy="31751"/>
            </a:xfrm>
            <a:custGeom>
              <a:avLst/>
              <a:gdLst>
                <a:gd name="T0" fmla="*/ 2147483647 w 12"/>
                <a:gd name="T1" fmla="*/ 2147483647 h 20"/>
                <a:gd name="T2" fmla="*/ 2147483647 w 12"/>
                <a:gd name="T3" fmla="*/ 2147483647 h 20"/>
                <a:gd name="T4" fmla="*/ 0 w 12"/>
                <a:gd name="T5" fmla="*/ 2147483647 h 20"/>
                <a:gd name="T6" fmla="*/ 0 w 12"/>
                <a:gd name="T7" fmla="*/ 2147483647 h 20"/>
                <a:gd name="T8" fmla="*/ 2147483647 w 12"/>
                <a:gd name="T9" fmla="*/ 0 h 20"/>
                <a:gd name="T10" fmla="*/ 2147483647 w 12"/>
                <a:gd name="T11" fmla="*/ 0 h 20"/>
                <a:gd name="T12" fmla="*/ 2147483647 w 12"/>
                <a:gd name="T13" fmla="*/ 0 h 20"/>
                <a:gd name="T14" fmla="*/ 2147483647 w 12"/>
                <a:gd name="T15" fmla="*/ 2147483647 h 20"/>
                <a:gd name="T16" fmla="*/ 2147483647 w 12"/>
                <a:gd name="T17" fmla="*/ 2147483647 h 20"/>
                <a:gd name="T18" fmla="*/ 2147483647 w 12"/>
                <a:gd name="T19" fmla="*/ 2147483647 h 20"/>
                <a:gd name="T20" fmla="*/ 2147483647 w 12"/>
                <a:gd name="T21" fmla="*/ 2147483647 h 20"/>
                <a:gd name="T22" fmla="*/ 2147483647 w 12"/>
                <a:gd name="T23" fmla="*/ 2147483647 h 20"/>
                <a:gd name="T24" fmla="*/ 2147483647 w 12"/>
                <a:gd name="T25" fmla="*/ 2147483647 h 20"/>
                <a:gd name="T26" fmla="*/ 2147483647 w 12"/>
                <a:gd name="T27" fmla="*/ 2147483647 h 20"/>
                <a:gd name="T28" fmla="*/ 2147483647 w 12"/>
                <a:gd name="T29" fmla="*/ 2147483647 h 20"/>
                <a:gd name="T30" fmla="*/ 2147483647 w 12"/>
                <a:gd name="T31" fmla="*/ 2147483647 h 20"/>
                <a:gd name="T32" fmla="*/ 2147483647 w 12"/>
                <a:gd name="T33" fmla="*/ 2147483647 h 20"/>
                <a:gd name="T34" fmla="*/ 2147483647 w 12"/>
                <a:gd name="T35" fmla="*/ 2147483647 h 20"/>
                <a:gd name="T36" fmla="*/ 0 w 12"/>
                <a:gd name="T37" fmla="*/ 2147483647 h 20"/>
                <a:gd name="T38" fmla="*/ 0 w 12"/>
                <a:gd name="T39" fmla="*/ 2147483647 h 20"/>
                <a:gd name="T40" fmla="*/ 2147483647 w 12"/>
                <a:gd name="T41" fmla="*/ 2147483647 h 20"/>
                <a:gd name="T42" fmla="*/ 2147483647 w 12"/>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20"/>
                <a:gd name="T68" fmla="*/ 12 w 12"/>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20">
                  <a:moveTo>
                    <a:pt x="1" y="11"/>
                  </a:moveTo>
                  <a:lnTo>
                    <a:pt x="1" y="11"/>
                  </a:lnTo>
                  <a:lnTo>
                    <a:pt x="0" y="5"/>
                  </a:lnTo>
                  <a:lnTo>
                    <a:pt x="0" y="2"/>
                  </a:lnTo>
                  <a:lnTo>
                    <a:pt x="1" y="0"/>
                  </a:lnTo>
                  <a:lnTo>
                    <a:pt x="3" y="0"/>
                  </a:lnTo>
                  <a:lnTo>
                    <a:pt x="6" y="1"/>
                  </a:lnTo>
                  <a:lnTo>
                    <a:pt x="11" y="5"/>
                  </a:lnTo>
                  <a:lnTo>
                    <a:pt x="12" y="9"/>
                  </a:lnTo>
                  <a:lnTo>
                    <a:pt x="11" y="13"/>
                  </a:lnTo>
                  <a:lnTo>
                    <a:pt x="10" y="17"/>
                  </a:lnTo>
                  <a:lnTo>
                    <a:pt x="6" y="20"/>
                  </a:lnTo>
                  <a:lnTo>
                    <a:pt x="3" y="20"/>
                  </a:lnTo>
                  <a:lnTo>
                    <a:pt x="1" y="20"/>
                  </a:lnTo>
                  <a:lnTo>
                    <a:pt x="0" y="18"/>
                  </a:lnTo>
                  <a:lnTo>
                    <a:pt x="0" y="15"/>
                  </a:lnTo>
                  <a:lnTo>
                    <a:pt x="1"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6" name="Freeform 325"/>
            <p:cNvSpPr>
              <a:spLocks/>
            </p:cNvSpPr>
            <p:nvPr/>
          </p:nvSpPr>
          <p:spPr bwMode="auto">
            <a:xfrm>
              <a:off x="7358064" y="3816350"/>
              <a:ext cx="123825" cy="190500"/>
            </a:xfrm>
            <a:custGeom>
              <a:avLst/>
              <a:gdLst>
                <a:gd name="T0" fmla="*/ 2147483647 w 85"/>
                <a:gd name="T1" fmla="*/ 2147483647 h 120"/>
                <a:gd name="T2" fmla="*/ 2147483647 w 85"/>
                <a:gd name="T3" fmla="*/ 2147483647 h 120"/>
                <a:gd name="T4" fmla="*/ 2147483647 w 85"/>
                <a:gd name="T5" fmla="*/ 2147483647 h 120"/>
                <a:gd name="T6" fmla="*/ 2147483647 w 85"/>
                <a:gd name="T7" fmla="*/ 2147483647 h 120"/>
                <a:gd name="T8" fmla="*/ 2147483647 w 85"/>
                <a:gd name="T9" fmla="*/ 2147483647 h 120"/>
                <a:gd name="T10" fmla="*/ 2147483647 w 85"/>
                <a:gd name="T11" fmla="*/ 2147483647 h 120"/>
                <a:gd name="T12" fmla="*/ 2147483647 w 85"/>
                <a:gd name="T13" fmla="*/ 2147483647 h 120"/>
                <a:gd name="T14" fmla="*/ 2147483647 w 85"/>
                <a:gd name="T15" fmla="*/ 2147483647 h 120"/>
                <a:gd name="T16" fmla="*/ 2147483647 w 85"/>
                <a:gd name="T17" fmla="*/ 2147483647 h 120"/>
                <a:gd name="T18" fmla="*/ 2147483647 w 85"/>
                <a:gd name="T19" fmla="*/ 2147483647 h 120"/>
                <a:gd name="T20" fmla="*/ 2147483647 w 85"/>
                <a:gd name="T21" fmla="*/ 2147483647 h 120"/>
                <a:gd name="T22" fmla="*/ 2147483647 w 85"/>
                <a:gd name="T23" fmla="*/ 2147483647 h 120"/>
                <a:gd name="T24" fmla="*/ 2147483647 w 85"/>
                <a:gd name="T25" fmla="*/ 2147483647 h 120"/>
                <a:gd name="T26" fmla="*/ 2147483647 w 85"/>
                <a:gd name="T27" fmla="*/ 2147483647 h 120"/>
                <a:gd name="T28" fmla="*/ 2147483647 w 85"/>
                <a:gd name="T29" fmla="*/ 2147483647 h 120"/>
                <a:gd name="T30" fmla="*/ 2147483647 w 85"/>
                <a:gd name="T31" fmla="*/ 2147483647 h 120"/>
                <a:gd name="T32" fmla="*/ 2147483647 w 85"/>
                <a:gd name="T33" fmla="*/ 2147483647 h 120"/>
                <a:gd name="T34" fmla="*/ 2147483647 w 85"/>
                <a:gd name="T35" fmla="*/ 0 h 120"/>
                <a:gd name="T36" fmla="*/ 2147483647 w 85"/>
                <a:gd name="T37" fmla="*/ 2147483647 h 120"/>
                <a:gd name="T38" fmla="*/ 2147483647 w 85"/>
                <a:gd name="T39" fmla="*/ 2147483647 h 120"/>
                <a:gd name="T40" fmla="*/ 2147483647 w 85"/>
                <a:gd name="T41" fmla="*/ 2147483647 h 120"/>
                <a:gd name="T42" fmla="*/ 2147483647 w 85"/>
                <a:gd name="T43" fmla="*/ 2147483647 h 120"/>
                <a:gd name="T44" fmla="*/ 2147483647 w 85"/>
                <a:gd name="T45" fmla="*/ 2147483647 h 120"/>
                <a:gd name="T46" fmla="*/ 2147483647 w 85"/>
                <a:gd name="T47" fmla="*/ 2147483647 h 120"/>
                <a:gd name="T48" fmla="*/ 2147483647 w 85"/>
                <a:gd name="T49" fmla="*/ 2147483647 h 120"/>
                <a:gd name="T50" fmla="*/ 2147483647 w 85"/>
                <a:gd name="T51" fmla="*/ 2147483647 h 120"/>
                <a:gd name="T52" fmla="*/ 2147483647 w 85"/>
                <a:gd name="T53" fmla="*/ 2147483647 h 120"/>
                <a:gd name="T54" fmla="*/ 2147483647 w 85"/>
                <a:gd name="T55" fmla="*/ 2147483647 h 120"/>
                <a:gd name="T56" fmla="*/ 2147483647 w 85"/>
                <a:gd name="T57" fmla="*/ 2147483647 h 120"/>
                <a:gd name="T58" fmla="*/ 2147483647 w 85"/>
                <a:gd name="T59" fmla="*/ 2147483647 h 120"/>
                <a:gd name="T60" fmla="*/ 0 w 85"/>
                <a:gd name="T61" fmla="*/ 2147483647 h 120"/>
                <a:gd name="T62" fmla="*/ 2147483647 w 85"/>
                <a:gd name="T63" fmla="*/ 2147483647 h 120"/>
                <a:gd name="T64" fmla="*/ 2147483647 w 85"/>
                <a:gd name="T65" fmla="*/ 2147483647 h 120"/>
                <a:gd name="T66" fmla="*/ 2147483647 w 85"/>
                <a:gd name="T67" fmla="*/ 2147483647 h 120"/>
                <a:gd name="T68" fmla="*/ 2147483647 w 85"/>
                <a:gd name="T69" fmla="*/ 2147483647 h 120"/>
                <a:gd name="T70" fmla="*/ 2147483647 w 85"/>
                <a:gd name="T71" fmla="*/ 2147483647 h 120"/>
                <a:gd name="T72" fmla="*/ 2147483647 w 85"/>
                <a:gd name="T73" fmla="*/ 2147483647 h 120"/>
                <a:gd name="T74" fmla="*/ 2147483647 w 85"/>
                <a:gd name="T75" fmla="*/ 2147483647 h 120"/>
                <a:gd name="T76" fmla="*/ 2147483647 w 85"/>
                <a:gd name="T77" fmla="*/ 2147483647 h 120"/>
                <a:gd name="T78" fmla="*/ 2147483647 w 85"/>
                <a:gd name="T79" fmla="*/ 2147483647 h 120"/>
                <a:gd name="T80" fmla="*/ 2147483647 w 85"/>
                <a:gd name="T81" fmla="*/ 2147483647 h 120"/>
                <a:gd name="T82" fmla="*/ 2147483647 w 85"/>
                <a:gd name="T83" fmla="*/ 2147483647 h 120"/>
                <a:gd name="T84" fmla="*/ 2147483647 w 85"/>
                <a:gd name="T85" fmla="*/ 2147483647 h 120"/>
                <a:gd name="T86" fmla="*/ 2147483647 w 85"/>
                <a:gd name="T87" fmla="*/ 2147483647 h 120"/>
                <a:gd name="T88" fmla="*/ 2147483647 w 85"/>
                <a:gd name="T89" fmla="*/ 2147483647 h 120"/>
                <a:gd name="T90" fmla="*/ 2147483647 w 85"/>
                <a:gd name="T91" fmla="*/ 2147483647 h 120"/>
                <a:gd name="T92" fmla="*/ 2147483647 w 85"/>
                <a:gd name="T93" fmla="*/ 2147483647 h 120"/>
                <a:gd name="T94" fmla="*/ 2147483647 w 85"/>
                <a:gd name="T95" fmla="*/ 2147483647 h 120"/>
                <a:gd name="T96" fmla="*/ 2147483647 w 85"/>
                <a:gd name="T97" fmla="*/ 2147483647 h 120"/>
                <a:gd name="T98" fmla="*/ 2147483647 w 85"/>
                <a:gd name="T99" fmla="*/ 2147483647 h 120"/>
                <a:gd name="T100" fmla="*/ 2147483647 w 85"/>
                <a:gd name="T101" fmla="*/ 2147483647 h 120"/>
                <a:gd name="T102" fmla="*/ 2147483647 w 85"/>
                <a:gd name="T103" fmla="*/ 2147483647 h 120"/>
                <a:gd name="T104" fmla="*/ 2147483647 w 85"/>
                <a:gd name="T105" fmla="*/ 2147483647 h 120"/>
                <a:gd name="T106" fmla="*/ 2147483647 w 85"/>
                <a:gd name="T107" fmla="*/ 2147483647 h 120"/>
                <a:gd name="T108" fmla="*/ 2147483647 w 85"/>
                <a:gd name="T109" fmla="*/ 2147483647 h 120"/>
                <a:gd name="T110" fmla="*/ 2147483647 w 85"/>
                <a:gd name="T111" fmla="*/ 2147483647 h 120"/>
                <a:gd name="T112" fmla="*/ 2147483647 w 85"/>
                <a:gd name="T113" fmla="*/ 2147483647 h 120"/>
                <a:gd name="T114" fmla="*/ 2147483647 w 85"/>
                <a:gd name="T115" fmla="*/ 2147483647 h 120"/>
                <a:gd name="T116" fmla="*/ 2147483647 w 85"/>
                <a:gd name="T117" fmla="*/ 2147483647 h 120"/>
                <a:gd name="T118" fmla="*/ 2147483647 w 85"/>
                <a:gd name="T119" fmla="*/ 2147483647 h 1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5"/>
                <a:gd name="T181" fmla="*/ 0 h 120"/>
                <a:gd name="T182" fmla="*/ 85 w 85"/>
                <a:gd name="T183" fmla="*/ 120 h 1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5" h="120">
                  <a:moveTo>
                    <a:pt x="67" y="90"/>
                  </a:moveTo>
                  <a:lnTo>
                    <a:pt x="67" y="90"/>
                  </a:lnTo>
                  <a:lnTo>
                    <a:pt x="66" y="88"/>
                  </a:lnTo>
                  <a:lnTo>
                    <a:pt x="63" y="87"/>
                  </a:lnTo>
                  <a:lnTo>
                    <a:pt x="58" y="84"/>
                  </a:lnTo>
                  <a:lnTo>
                    <a:pt x="53" y="84"/>
                  </a:lnTo>
                  <a:lnTo>
                    <a:pt x="52" y="84"/>
                  </a:lnTo>
                  <a:lnTo>
                    <a:pt x="51" y="87"/>
                  </a:lnTo>
                  <a:lnTo>
                    <a:pt x="51" y="89"/>
                  </a:lnTo>
                  <a:lnTo>
                    <a:pt x="49" y="90"/>
                  </a:lnTo>
                  <a:lnTo>
                    <a:pt x="47" y="90"/>
                  </a:lnTo>
                  <a:lnTo>
                    <a:pt x="44" y="89"/>
                  </a:lnTo>
                  <a:lnTo>
                    <a:pt x="38" y="86"/>
                  </a:lnTo>
                  <a:lnTo>
                    <a:pt x="38" y="84"/>
                  </a:lnTo>
                  <a:lnTo>
                    <a:pt x="38" y="83"/>
                  </a:lnTo>
                  <a:lnTo>
                    <a:pt x="38" y="81"/>
                  </a:lnTo>
                  <a:lnTo>
                    <a:pt x="37" y="79"/>
                  </a:lnTo>
                  <a:lnTo>
                    <a:pt x="36" y="76"/>
                  </a:lnTo>
                  <a:lnTo>
                    <a:pt x="34" y="75"/>
                  </a:lnTo>
                  <a:lnTo>
                    <a:pt x="34" y="74"/>
                  </a:lnTo>
                  <a:lnTo>
                    <a:pt x="37" y="69"/>
                  </a:lnTo>
                  <a:lnTo>
                    <a:pt x="37" y="63"/>
                  </a:lnTo>
                  <a:lnTo>
                    <a:pt x="38" y="52"/>
                  </a:lnTo>
                  <a:lnTo>
                    <a:pt x="39" y="51"/>
                  </a:lnTo>
                  <a:lnTo>
                    <a:pt x="41" y="50"/>
                  </a:lnTo>
                  <a:lnTo>
                    <a:pt x="43" y="50"/>
                  </a:lnTo>
                  <a:lnTo>
                    <a:pt x="46" y="49"/>
                  </a:lnTo>
                  <a:lnTo>
                    <a:pt x="47" y="44"/>
                  </a:lnTo>
                  <a:lnTo>
                    <a:pt x="48" y="39"/>
                  </a:lnTo>
                  <a:lnTo>
                    <a:pt x="48" y="35"/>
                  </a:lnTo>
                  <a:lnTo>
                    <a:pt x="51" y="30"/>
                  </a:lnTo>
                  <a:lnTo>
                    <a:pt x="52" y="28"/>
                  </a:lnTo>
                  <a:lnTo>
                    <a:pt x="51" y="25"/>
                  </a:lnTo>
                  <a:lnTo>
                    <a:pt x="48" y="22"/>
                  </a:lnTo>
                  <a:lnTo>
                    <a:pt x="46" y="18"/>
                  </a:lnTo>
                  <a:lnTo>
                    <a:pt x="46" y="15"/>
                  </a:lnTo>
                  <a:lnTo>
                    <a:pt x="48" y="10"/>
                  </a:lnTo>
                  <a:lnTo>
                    <a:pt x="49" y="5"/>
                  </a:lnTo>
                  <a:lnTo>
                    <a:pt x="49" y="3"/>
                  </a:lnTo>
                  <a:lnTo>
                    <a:pt x="48" y="1"/>
                  </a:lnTo>
                  <a:lnTo>
                    <a:pt x="46" y="0"/>
                  </a:lnTo>
                  <a:lnTo>
                    <a:pt x="44" y="0"/>
                  </a:lnTo>
                  <a:lnTo>
                    <a:pt x="42" y="1"/>
                  </a:lnTo>
                  <a:lnTo>
                    <a:pt x="41" y="4"/>
                  </a:lnTo>
                  <a:lnTo>
                    <a:pt x="37" y="5"/>
                  </a:lnTo>
                  <a:lnTo>
                    <a:pt x="36" y="6"/>
                  </a:lnTo>
                  <a:lnTo>
                    <a:pt x="34" y="7"/>
                  </a:lnTo>
                  <a:lnTo>
                    <a:pt x="29" y="4"/>
                  </a:lnTo>
                  <a:lnTo>
                    <a:pt x="23" y="4"/>
                  </a:lnTo>
                  <a:lnTo>
                    <a:pt x="20" y="4"/>
                  </a:lnTo>
                  <a:lnTo>
                    <a:pt x="18" y="5"/>
                  </a:lnTo>
                  <a:lnTo>
                    <a:pt x="16" y="7"/>
                  </a:lnTo>
                  <a:lnTo>
                    <a:pt x="14" y="10"/>
                  </a:lnTo>
                  <a:lnTo>
                    <a:pt x="13" y="18"/>
                  </a:lnTo>
                  <a:lnTo>
                    <a:pt x="11" y="28"/>
                  </a:lnTo>
                  <a:lnTo>
                    <a:pt x="10" y="29"/>
                  </a:lnTo>
                  <a:lnTo>
                    <a:pt x="10" y="34"/>
                  </a:lnTo>
                  <a:lnTo>
                    <a:pt x="11" y="39"/>
                  </a:lnTo>
                  <a:lnTo>
                    <a:pt x="13" y="45"/>
                  </a:lnTo>
                  <a:lnTo>
                    <a:pt x="13" y="51"/>
                  </a:lnTo>
                  <a:lnTo>
                    <a:pt x="10" y="49"/>
                  </a:lnTo>
                  <a:lnTo>
                    <a:pt x="9" y="48"/>
                  </a:lnTo>
                  <a:lnTo>
                    <a:pt x="6" y="45"/>
                  </a:lnTo>
                  <a:lnTo>
                    <a:pt x="5" y="43"/>
                  </a:lnTo>
                  <a:lnTo>
                    <a:pt x="4" y="43"/>
                  </a:lnTo>
                  <a:lnTo>
                    <a:pt x="2" y="43"/>
                  </a:lnTo>
                  <a:lnTo>
                    <a:pt x="1" y="45"/>
                  </a:lnTo>
                  <a:lnTo>
                    <a:pt x="1" y="48"/>
                  </a:lnTo>
                  <a:lnTo>
                    <a:pt x="1" y="50"/>
                  </a:lnTo>
                  <a:lnTo>
                    <a:pt x="1" y="51"/>
                  </a:lnTo>
                  <a:lnTo>
                    <a:pt x="0" y="52"/>
                  </a:lnTo>
                  <a:lnTo>
                    <a:pt x="6" y="69"/>
                  </a:lnTo>
                  <a:lnTo>
                    <a:pt x="14" y="84"/>
                  </a:lnTo>
                  <a:lnTo>
                    <a:pt x="14" y="86"/>
                  </a:lnTo>
                  <a:lnTo>
                    <a:pt x="15" y="84"/>
                  </a:lnTo>
                  <a:lnTo>
                    <a:pt x="15" y="83"/>
                  </a:lnTo>
                  <a:lnTo>
                    <a:pt x="16" y="80"/>
                  </a:lnTo>
                  <a:lnTo>
                    <a:pt x="16" y="77"/>
                  </a:lnTo>
                  <a:lnTo>
                    <a:pt x="19" y="75"/>
                  </a:lnTo>
                  <a:lnTo>
                    <a:pt x="20" y="75"/>
                  </a:lnTo>
                  <a:lnTo>
                    <a:pt x="23" y="75"/>
                  </a:lnTo>
                  <a:lnTo>
                    <a:pt x="25" y="75"/>
                  </a:lnTo>
                  <a:lnTo>
                    <a:pt x="27" y="77"/>
                  </a:lnTo>
                  <a:lnTo>
                    <a:pt x="27" y="80"/>
                  </a:lnTo>
                  <a:lnTo>
                    <a:pt x="25" y="83"/>
                  </a:lnTo>
                  <a:lnTo>
                    <a:pt x="24" y="87"/>
                  </a:lnTo>
                  <a:lnTo>
                    <a:pt x="22" y="90"/>
                  </a:lnTo>
                  <a:lnTo>
                    <a:pt x="20" y="95"/>
                  </a:lnTo>
                  <a:lnTo>
                    <a:pt x="20" y="96"/>
                  </a:lnTo>
                  <a:lnTo>
                    <a:pt x="22" y="99"/>
                  </a:lnTo>
                  <a:lnTo>
                    <a:pt x="23" y="99"/>
                  </a:lnTo>
                  <a:lnTo>
                    <a:pt x="24" y="99"/>
                  </a:lnTo>
                  <a:lnTo>
                    <a:pt x="27" y="98"/>
                  </a:lnTo>
                  <a:lnTo>
                    <a:pt x="28" y="98"/>
                  </a:lnTo>
                  <a:lnTo>
                    <a:pt x="29" y="99"/>
                  </a:lnTo>
                  <a:lnTo>
                    <a:pt x="30" y="100"/>
                  </a:lnTo>
                  <a:lnTo>
                    <a:pt x="32" y="99"/>
                  </a:lnTo>
                  <a:lnTo>
                    <a:pt x="36" y="98"/>
                  </a:lnTo>
                  <a:lnTo>
                    <a:pt x="38" y="98"/>
                  </a:lnTo>
                  <a:lnTo>
                    <a:pt x="42" y="98"/>
                  </a:lnTo>
                  <a:lnTo>
                    <a:pt x="46" y="99"/>
                  </a:lnTo>
                  <a:lnTo>
                    <a:pt x="52" y="102"/>
                  </a:lnTo>
                  <a:lnTo>
                    <a:pt x="53" y="105"/>
                  </a:lnTo>
                  <a:lnTo>
                    <a:pt x="55" y="108"/>
                  </a:lnTo>
                  <a:lnTo>
                    <a:pt x="57" y="106"/>
                  </a:lnTo>
                  <a:lnTo>
                    <a:pt x="58" y="103"/>
                  </a:lnTo>
                  <a:lnTo>
                    <a:pt x="57" y="98"/>
                  </a:lnTo>
                  <a:lnTo>
                    <a:pt x="61" y="100"/>
                  </a:lnTo>
                  <a:lnTo>
                    <a:pt x="62" y="103"/>
                  </a:lnTo>
                  <a:lnTo>
                    <a:pt x="67" y="112"/>
                  </a:lnTo>
                  <a:lnTo>
                    <a:pt x="69" y="113"/>
                  </a:lnTo>
                  <a:lnTo>
                    <a:pt x="70" y="113"/>
                  </a:lnTo>
                  <a:lnTo>
                    <a:pt x="71" y="114"/>
                  </a:lnTo>
                  <a:lnTo>
                    <a:pt x="74" y="114"/>
                  </a:lnTo>
                  <a:lnTo>
                    <a:pt x="74" y="116"/>
                  </a:lnTo>
                  <a:lnTo>
                    <a:pt x="75" y="119"/>
                  </a:lnTo>
                  <a:lnTo>
                    <a:pt x="77" y="120"/>
                  </a:lnTo>
                  <a:lnTo>
                    <a:pt x="79" y="120"/>
                  </a:lnTo>
                  <a:lnTo>
                    <a:pt x="81" y="118"/>
                  </a:lnTo>
                  <a:lnTo>
                    <a:pt x="82" y="116"/>
                  </a:lnTo>
                  <a:lnTo>
                    <a:pt x="82" y="114"/>
                  </a:lnTo>
                  <a:lnTo>
                    <a:pt x="81" y="113"/>
                  </a:lnTo>
                  <a:lnTo>
                    <a:pt x="79" y="111"/>
                  </a:lnTo>
                  <a:lnTo>
                    <a:pt x="76" y="107"/>
                  </a:lnTo>
                  <a:lnTo>
                    <a:pt x="75" y="103"/>
                  </a:lnTo>
                  <a:lnTo>
                    <a:pt x="75" y="100"/>
                  </a:lnTo>
                  <a:lnTo>
                    <a:pt x="77" y="98"/>
                  </a:lnTo>
                  <a:lnTo>
                    <a:pt x="80" y="96"/>
                  </a:lnTo>
                  <a:lnTo>
                    <a:pt x="85" y="95"/>
                  </a:lnTo>
                  <a:lnTo>
                    <a:pt x="85" y="94"/>
                  </a:lnTo>
                  <a:lnTo>
                    <a:pt x="84" y="92"/>
                  </a:lnTo>
                  <a:lnTo>
                    <a:pt x="80" y="90"/>
                  </a:lnTo>
                  <a:lnTo>
                    <a:pt x="77" y="92"/>
                  </a:lnTo>
                  <a:lnTo>
                    <a:pt x="74" y="93"/>
                  </a:lnTo>
                  <a:lnTo>
                    <a:pt x="70" y="93"/>
                  </a:lnTo>
                  <a:lnTo>
                    <a:pt x="69" y="93"/>
                  </a:lnTo>
                  <a:lnTo>
                    <a:pt x="67" y="9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7" name="Freeform 326"/>
            <p:cNvSpPr>
              <a:spLocks/>
            </p:cNvSpPr>
            <p:nvPr/>
          </p:nvSpPr>
          <p:spPr bwMode="auto">
            <a:xfrm>
              <a:off x="7361242" y="3600452"/>
              <a:ext cx="58737" cy="123824"/>
            </a:xfrm>
            <a:custGeom>
              <a:avLst/>
              <a:gdLst>
                <a:gd name="T0" fmla="*/ 2147483647 w 40"/>
                <a:gd name="T1" fmla="*/ 2147483647 h 78"/>
                <a:gd name="T2" fmla="*/ 2147483647 w 40"/>
                <a:gd name="T3" fmla="*/ 2147483647 h 78"/>
                <a:gd name="T4" fmla="*/ 2147483647 w 40"/>
                <a:gd name="T5" fmla="*/ 2147483647 h 78"/>
                <a:gd name="T6" fmla="*/ 2147483647 w 40"/>
                <a:gd name="T7" fmla="*/ 2147483647 h 78"/>
                <a:gd name="T8" fmla="*/ 2147483647 w 40"/>
                <a:gd name="T9" fmla="*/ 0 h 78"/>
                <a:gd name="T10" fmla="*/ 2147483647 w 40"/>
                <a:gd name="T11" fmla="*/ 0 h 78"/>
                <a:gd name="T12" fmla="*/ 2147483647 w 40"/>
                <a:gd name="T13" fmla="*/ 0 h 78"/>
                <a:gd name="T14" fmla="*/ 2147483647 w 40"/>
                <a:gd name="T15" fmla="*/ 2147483647 h 78"/>
                <a:gd name="T16" fmla="*/ 2147483647 w 40"/>
                <a:gd name="T17" fmla="*/ 2147483647 h 78"/>
                <a:gd name="T18" fmla="*/ 2147483647 w 40"/>
                <a:gd name="T19" fmla="*/ 2147483647 h 78"/>
                <a:gd name="T20" fmla="*/ 2147483647 w 40"/>
                <a:gd name="T21" fmla="*/ 2147483647 h 78"/>
                <a:gd name="T22" fmla="*/ 2147483647 w 40"/>
                <a:gd name="T23" fmla="*/ 2147483647 h 78"/>
                <a:gd name="T24" fmla="*/ 2147483647 w 40"/>
                <a:gd name="T25" fmla="*/ 2147483647 h 78"/>
                <a:gd name="T26" fmla="*/ 0 w 40"/>
                <a:gd name="T27" fmla="*/ 2147483647 h 78"/>
                <a:gd name="T28" fmla="*/ 2147483647 w 40"/>
                <a:gd name="T29" fmla="*/ 2147483647 h 78"/>
                <a:gd name="T30" fmla="*/ 2147483647 w 40"/>
                <a:gd name="T31" fmla="*/ 2147483647 h 78"/>
                <a:gd name="T32" fmla="*/ 2147483647 w 40"/>
                <a:gd name="T33" fmla="*/ 2147483647 h 78"/>
                <a:gd name="T34" fmla="*/ 2147483647 w 40"/>
                <a:gd name="T35" fmla="*/ 2147483647 h 78"/>
                <a:gd name="T36" fmla="*/ 2147483647 w 40"/>
                <a:gd name="T37" fmla="*/ 2147483647 h 78"/>
                <a:gd name="T38" fmla="*/ 2147483647 w 40"/>
                <a:gd name="T39" fmla="*/ 2147483647 h 78"/>
                <a:gd name="T40" fmla="*/ 2147483647 w 40"/>
                <a:gd name="T41" fmla="*/ 2147483647 h 78"/>
                <a:gd name="T42" fmla="*/ 2147483647 w 40"/>
                <a:gd name="T43" fmla="*/ 2147483647 h 78"/>
                <a:gd name="T44" fmla="*/ 2147483647 w 40"/>
                <a:gd name="T45" fmla="*/ 2147483647 h 78"/>
                <a:gd name="T46" fmla="*/ 2147483647 w 40"/>
                <a:gd name="T47" fmla="*/ 2147483647 h 78"/>
                <a:gd name="T48" fmla="*/ 2147483647 w 40"/>
                <a:gd name="T49" fmla="*/ 2147483647 h 78"/>
                <a:gd name="T50" fmla="*/ 2147483647 w 40"/>
                <a:gd name="T51" fmla="*/ 2147483647 h 78"/>
                <a:gd name="T52" fmla="*/ 2147483647 w 40"/>
                <a:gd name="T53" fmla="*/ 2147483647 h 78"/>
                <a:gd name="T54" fmla="*/ 2147483647 w 40"/>
                <a:gd name="T55" fmla="*/ 2147483647 h 78"/>
                <a:gd name="T56" fmla="*/ 2147483647 w 40"/>
                <a:gd name="T57" fmla="*/ 2147483647 h 78"/>
                <a:gd name="T58" fmla="*/ 2147483647 w 40"/>
                <a:gd name="T59" fmla="*/ 2147483647 h 78"/>
                <a:gd name="T60" fmla="*/ 2147483647 w 40"/>
                <a:gd name="T61" fmla="*/ 2147483647 h 78"/>
                <a:gd name="T62" fmla="*/ 2147483647 w 40"/>
                <a:gd name="T63" fmla="*/ 2147483647 h 78"/>
                <a:gd name="T64" fmla="*/ 2147483647 w 40"/>
                <a:gd name="T65" fmla="*/ 2147483647 h 78"/>
                <a:gd name="T66" fmla="*/ 2147483647 w 40"/>
                <a:gd name="T67" fmla="*/ 2147483647 h 78"/>
                <a:gd name="T68" fmla="*/ 2147483647 w 40"/>
                <a:gd name="T69" fmla="*/ 2147483647 h 78"/>
                <a:gd name="T70" fmla="*/ 2147483647 w 40"/>
                <a:gd name="T71" fmla="*/ 2147483647 h 78"/>
                <a:gd name="T72" fmla="*/ 2147483647 w 40"/>
                <a:gd name="T73" fmla="*/ 2147483647 h 78"/>
                <a:gd name="T74" fmla="*/ 2147483647 w 40"/>
                <a:gd name="T75" fmla="*/ 2147483647 h 78"/>
                <a:gd name="T76" fmla="*/ 2147483647 w 40"/>
                <a:gd name="T77" fmla="*/ 2147483647 h 78"/>
                <a:gd name="T78" fmla="*/ 2147483647 w 40"/>
                <a:gd name="T79" fmla="*/ 2147483647 h 78"/>
                <a:gd name="T80" fmla="*/ 2147483647 w 40"/>
                <a:gd name="T81" fmla="*/ 2147483647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78"/>
                <a:gd name="T125" fmla="*/ 40 w 40"/>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78">
                  <a:moveTo>
                    <a:pt x="37" y="12"/>
                  </a:moveTo>
                  <a:lnTo>
                    <a:pt x="40" y="6"/>
                  </a:lnTo>
                  <a:lnTo>
                    <a:pt x="40" y="4"/>
                  </a:lnTo>
                  <a:lnTo>
                    <a:pt x="39" y="1"/>
                  </a:lnTo>
                  <a:lnTo>
                    <a:pt x="36" y="0"/>
                  </a:lnTo>
                  <a:lnTo>
                    <a:pt x="34" y="0"/>
                  </a:lnTo>
                  <a:lnTo>
                    <a:pt x="27" y="0"/>
                  </a:lnTo>
                  <a:lnTo>
                    <a:pt x="22" y="2"/>
                  </a:lnTo>
                  <a:lnTo>
                    <a:pt x="18" y="6"/>
                  </a:lnTo>
                  <a:lnTo>
                    <a:pt x="14" y="13"/>
                  </a:lnTo>
                  <a:lnTo>
                    <a:pt x="11" y="20"/>
                  </a:lnTo>
                  <a:lnTo>
                    <a:pt x="6" y="34"/>
                  </a:lnTo>
                  <a:lnTo>
                    <a:pt x="2" y="40"/>
                  </a:lnTo>
                  <a:lnTo>
                    <a:pt x="0" y="44"/>
                  </a:lnTo>
                  <a:lnTo>
                    <a:pt x="2" y="46"/>
                  </a:lnTo>
                  <a:lnTo>
                    <a:pt x="4" y="52"/>
                  </a:lnTo>
                  <a:lnTo>
                    <a:pt x="6" y="56"/>
                  </a:lnTo>
                  <a:lnTo>
                    <a:pt x="6" y="59"/>
                  </a:lnTo>
                  <a:lnTo>
                    <a:pt x="7" y="60"/>
                  </a:lnTo>
                  <a:lnTo>
                    <a:pt x="8" y="62"/>
                  </a:lnTo>
                  <a:lnTo>
                    <a:pt x="9" y="63"/>
                  </a:lnTo>
                  <a:lnTo>
                    <a:pt x="11" y="65"/>
                  </a:lnTo>
                  <a:lnTo>
                    <a:pt x="12" y="66"/>
                  </a:lnTo>
                  <a:lnTo>
                    <a:pt x="11" y="69"/>
                  </a:lnTo>
                  <a:lnTo>
                    <a:pt x="9" y="72"/>
                  </a:lnTo>
                  <a:lnTo>
                    <a:pt x="11" y="76"/>
                  </a:lnTo>
                  <a:lnTo>
                    <a:pt x="12" y="77"/>
                  </a:lnTo>
                  <a:lnTo>
                    <a:pt x="13" y="78"/>
                  </a:lnTo>
                  <a:lnTo>
                    <a:pt x="14" y="77"/>
                  </a:lnTo>
                  <a:lnTo>
                    <a:pt x="17" y="75"/>
                  </a:lnTo>
                  <a:lnTo>
                    <a:pt x="17" y="71"/>
                  </a:lnTo>
                  <a:lnTo>
                    <a:pt x="17" y="69"/>
                  </a:lnTo>
                  <a:lnTo>
                    <a:pt x="18" y="65"/>
                  </a:lnTo>
                  <a:lnTo>
                    <a:pt x="23" y="58"/>
                  </a:lnTo>
                  <a:lnTo>
                    <a:pt x="27" y="51"/>
                  </a:lnTo>
                  <a:lnTo>
                    <a:pt x="32" y="34"/>
                  </a:lnTo>
                  <a:lnTo>
                    <a:pt x="34" y="30"/>
                  </a:lnTo>
                  <a:lnTo>
                    <a:pt x="35" y="25"/>
                  </a:lnTo>
                  <a:lnTo>
                    <a:pt x="34" y="14"/>
                  </a:lnTo>
                  <a:lnTo>
                    <a:pt x="35" y="13"/>
                  </a:lnTo>
                  <a:lnTo>
                    <a:pt x="37"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8" name="Freeform 327"/>
            <p:cNvSpPr>
              <a:spLocks/>
            </p:cNvSpPr>
            <p:nvPr/>
          </p:nvSpPr>
          <p:spPr bwMode="auto">
            <a:xfrm>
              <a:off x="7783517" y="4833939"/>
              <a:ext cx="14287" cy="12700"/>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0 w 9"/>
                <a:gd name="T13" fmla="*/ 2147483647 h 8"/>
                <a:gd name="T14" fmla="*/ 0 w 9"/>
                <a:gd name="T15" fmla="*/ 2147483647 h 8"/>
                <a:gd name="T16" fmla="*/ 2147483647 w 9"/>
                <a:gd name="T17" fmla="*/ 2147483647 h 8"/>
                <a:gd name="T18" fmla="*/ 2147483647 w 9"/>
                <a:gd name="T19" fmla="*/ 0 h 8"/>
                <a:gd name="T20" fmla="*/ 2147483647 w 9"/>
                <a:gd name="T21" fmla="*/ 0 h 8"/>
                <a:gd name="T22" fmla="*/ 2147483647 w 9"/>
                <a:gd name="T23" fmla="*/ 2147483647 h 8"/>
                <a:gd name="T24" fmla="*/ 2147483647 w 9"/>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8"/>
                <a:gd name="T41" fmla="*/ 9 w 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8">
                  <a:moveTo>
                    <a:pt x="9" y="4"/>
                  </a:moveTo>
                  <a:lnTo>
                    <a:pt x="9" y="7"/>
                  </a:lnTo>
                  <a:lnTo>
                    <a:pt x="9" y="8"/>
                  </a:lnTo>
                  <a:lnTo>
                    <a:pt x="7" y="8"/>
                  </a:lnTo>
                  <a:lnTo>
                    <a:pt x="4" y="8"/>
                  </a:lnTo>
                  <a:lnTo>
                    <a:pt x="1" y="7"/>
                  </a:lnTo>
                  <a:lnTo>
                    <a:pt x="0" y="5"/>
                  </a:lnTo>
                  <a:lnTo>
                    <a:pt x="0" y="3"/>
                  </a:lnTo>
                  <a:lnTo>
                    <a:pt x="1" y="2"/>
                  </a:lnTo>
                  <a:lnTo>
                    <a:pt x="5" y="0"/>
                  </a:lnTo>
                  <a:lnTo>
                    <a:pt x="6" y="0"/>
                  </a:lnTo>
                  <a:lnTo>
                    <a:pt x="7" y="1"/>
                  </a:lnTo>
                  <a:lnTo>
                    <a:pt x="9"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29" name="Freeform 328"/>
            <p:cNvSpPr>
              <a:spLocks/>
            </p:cNvSpPr>
            <p:nvPr/>
          </p:nvSpPr>
          <p:spPr bwMode="auto">
            <a:xfrm>
              <a:off x="7359650" y="3598864"/>
              <a:ext cx="58738" cy="123824"/>
            </a:xfrm>
            <a:custGeom>
              <a:avLst/>
              <a:gdLst>
                <a:gd name="T0" fmla="*/ 2147483647 w 40"/>
                <a:gd name="T1" fmla="*/ 2147483647 h 78"/>
                <a:gd name="T2" fmla="*/ 2147483647 w 40"/>
                <a:gd name="T3" fmla="*/ 2147483647 h 78"/>
                <a:gd name="T4" fmla="*/ 2147483647 w 40"/>
                <a:gd name="T5" fmla="*/ 2147483647 h 78"/>
                <a:gd name="T6" fmla="*/ 2147483647 w 40"/>
                <a:gd name="T7" fmla="*/ 2147483647 h 78"/>
                <a:gd name="T8" fmla="*/ 2147483647 w 40"/>
                <a:gd name="T9" fmla="*/ 2147483647 h 78"/>
                <a:gd name="T10" fmla="*/ 2147483647 w 40"/>
                <a:gd name="T11" fmla="*/ 2147483647 h 78"/>
                <a:gd name="T12" fmla="*/ 2147483647 w 40"/>
                <a:gd name="T13" fmla="*/ 0 h 78"/>
                <a:gd name="T14" fmla="*/ 2147483647 w 40"/>
                <a:gd name="T15" fmla="*/ 0 h 78"/>
                <a:gd name="T16" fmla="*/ 2147483647 w 40"/>
                <a:gd name="T17" fmla="*/ 0 h 78"/>
                <a:gd name="T18" fmla="*/ 2147483647 w 40"/>
                <a:gd name="T19" fmla="*/ 2147483647 h 78"/>
                <a:gd name="T20" fmla="*/ 2147483647 w 40"/>
                <a:gd name="T21" fmla="*/ 2147483647 h 78"/>
                <a:gd name="T22" fmla="*/ 2147483647 w 40"/>
                <a:gd name="T23" fmla="*/ 2147483647 h 78"/>
                <a:gd name="T24" fmla="*/ 2147483647 w 40"/>
                <a:gd name="T25" fmla="*/ 2147483647 h 78"/>
                <a:gd name="T26" fmla="*/ 2147483647 w 40"/>
                <a:gd name="T27" fmla="*/ 2147483647 h 78"/>
                <a:gd name="T28" fmla="*/ 2147483647 w 40"/>
                <a:gd name="T29" fmla="*/ 2147483647 h 78"/>
                <a:gd name="T30" fmla="*/ 2147483647 w 40"/>
                <a:gd name="T31" fmla="*/ 2147483647 h 78"/>
                <a:gd name="T32" fmla="*/ 2147483647 w 40"/>
                <a:gd name="T33" fmla="*/ 2147483647 h 78"/>
                <a:gd name="T34" fmla="*/ 0 w 40"/>
                <a:gd name="T35" fmla="*/ 2147483647 h 78"/>
                <a:gd name="T36" fmla="*/ 2147483647 w 40"/>
                <a:gd name="T37" fmla="*/ 2147483647 h 78"/>
                <a:gd name="T38" fmla="*/ 2147483647 w 40"/>
                <a:gd name="T39" fmla="*/ 2147483647 h 78"/>
                <a:gd name="T40" fmla="*/ 2147483647 w 40"/>
                <a:gd name="T41" fmla="*/ 2147483647 h 78"/>
                <a:gd name="T42" fmla="*/ 2147483647 w 40"/>
                <a:gd name="T43" fmla="*/ 2147483647 h 78"/>
                <a:gd name="T44" fmla="*/ 2147483647 w 40"/>
                <a:gd name="T45" fmla="*/ 2147483647 h 78"/>
                <a:gd name="T46" fmla="*/ 2147483647 w 40"/>
                <a:gd name="T47" fmla="*/ 2147483647 h 78"/>
                <a:gd name="T48" fmla="*/ 2147483647 w 40"/>
                <a:gd name="T49" fmla="*/ 2147483647 h 78"/>
                <a:gd name="T50" fmla="*/ 2147483647 w 40"/>
                <a:gd name="T51" fmla="*/ 2147483647 h 78"/>
                <a:gd name="T52" fmla="*/ 2147483647 w 40"/>
                <a:gd name="T53" fmla="*/ 2147483647 h 78"/>
                <a:gd name="T54" fmla="*/ 2147483647 w 40"/>
                <a:gd name="T55" fmla="*/ 2147483647 h 78"/>
                <a:gd name="T56" fmla="*/ 2147483647 w 40"/>
                <a:gd name="T57" fmla="*/ 2147483647 h 78"/>
                <a:gd name="T58" fmla="*/ 2147483647 w 40"/>
                <a:gd name="T59" fmla="*/ 2147483647 h 78"/>
                <a:gd name="T60" fmla="*/ 2147483647 w 40"/>
                <a:gd name="T61" fmla="*/ 2147483647 h 78"/>
                <a:gd name="T62" fmla="*/ 2147483647 w 40"/>
                <a:gd name="T63" fmla="*/ 2147483647 h 78"/>
                <a:gd name="T64" fmla="*/ 2147483647 w 40"/>
                <a:gd name="T65" fmla="*/ 2147483647 h 78"/>
                <a:gd name="T66" fmla="*/ 2147483647 w 40"/>
                <a:gd name="T67" fmla="*/ 2147483647 h 78"/>
                <a:gd name="T68" fmla="*/ 2147483647 w 40"/>
                <a:gd name="T69" fmla="*/ 2147483647 h 78"/>
                <a:gd name="T70" fmla="*/ 2147483647 w 40"/>
                <a:gd name="T71" fmla="*/ 2147483647 h 78"/>
                <a:gd name="T72" fmla="*/ 2147483647 w 40"/>
                <a:gd name="T73" fmla="*/ 2147483647 h 78"/>
                <a:gd name="T74" fmla="*/ 2147483647 w 40"/>
                <a:gd name="T75" fmla="*/ 2147483647 h 78"/>
                <a:gd name="T76" fmla="*/ 2147483647 w 40"/>
                <a:gd name="T77" fmla="*/ 2147483647 h 78"/>
                <a:gd name="T78" fmla="*/ 2147483647 w 40"/>
                <a:gd name="T79" fmla="*/ 2147483647 h 78"/>
                <a:gd name="T80" fmla="*/ 2147483647 w 40"/>
                <a:gd name="T81" fmla="*/ 2147483647 h 78"/>
                <a:gd name="T82" fmla="*/ 2147483647 w 40"/>
                <a:gd name="T83" fmla="*/ 2147483647 h 78"/>
                <a:gd name="T84" fmla="*/ 2147483647 w 40"/>
                <a:gd name="T85" fmla="*/ 2147483647 h 78"/>
                <a:gd name="T86" fmla="*/ 2147483647 w 40"/>
                <a:gd name="T87" fmla="*/ 2147483647 h 78"/>
                <a:gd name="T88" fmla="*/ 2147483647 w 40"/>
                <a:gd name="T89" fmla="*/ 2147483647 h 78"/>
                <a:gd name="T90" fmla="*/ 2147483647 w 40"/>
                <a:gd name="T91" fmla="*/ 2147483647 h 78"/>
                <a:gd name="T92" fmla="*/ 2147483647 w 40"/>
                <a:gd name="T93" fmla="*/ 2147483647 h 78"/>
                <a:gd name="T94" fmla="*/ 2147483647 w 40"/>
                <a:gd name="T95" fmla="*/ 2147483647 h 78"/>
                <a:gd name="T96" fmla="*/ 2147483647 w 40"/>
                <a:gd name="T97" fmla="*/ 2147483647 h 78"/>
                <a:gd name="T98" fmla="*/ 2147483647 w 40"/>
                <a:gd name="T99" fmla="*/ 2147483647 h 78"/>
                <a:gd name="T100" fmla="*/ 2147483647 w 40"/>
                <a:gd name="T101" fmla="*/ 2147483647 h 78"/>
                <a:gd name="T102" fmla="*/ 2147483647 w 40"/>
                <a:gd name="T103" fmla="*/ 2147483647 h 78"/>
                <a:gd name="T104" fmla="*/ 2147483647 w 40"/>
                <a:gd name="T105" fmla="*/ 2147483647 h 78"/>
                <a:gd name="T106" fmla="*/ 2147483647 w 40"/>
                <a:gd name="T107" fmla="*/ 2147483647 h 78"/>
                <a:gd name="T108" fmla="*/ 2147483647 w 40"/>
                <a:gd name="T109" fmla="*/ 2147483647 h 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
                <a:gd name="T166" fmla="*/ 0 h 78"/>
                <a:gd name="T167" fmla="*/ 40 w 40"/>
                <a:gd name="T168" fmla="*/ 78 h 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 h="78">
                  <a:moveTo>
                    <a:pt x="37" y="12"/>
                  </a:moveTo>
                  <a:lnTo>
                    <a:pt x="37" y="12"/>
                  </a:lnTo>
                  <a:lnTo>
                    <a:pt x="40" y="6"/>
                  </a:lnTo>
                  <a:lnTo>
                    <a:pt x="40" y="3"/>
                  </a:lnTo>
                  <a:lnTo>
                    <a:pt x="38" y="1"/>
                  </a:lnTo>
                  <a:lnTo>
                    <a:pt x="36" y="0"/>
                  </a:lnTo>
                  <a:lnTo>
                    <a:pt x="33" y="0"/>
                  </a:lnTo>
                  <a:lnTo>
                    <a:pt x="27" y="0"/>
                  </a:lnTo>
                  <a:lnTo>
                    <a:pt x="22" y="2"/>
                  </a:lnTo>
                  <a:lnTo>
                    <a:pt x="18" y="6"/>
                  </a:lnTo>
                  <a:lnTo>
                    <a:pt x="14" y="13"/>
                  </a:lnTo>
                  <a:lnTo>
                    <a:pt x="10" y="20"/>
                  </a:lnTo>
                  <a:lnTo>
                    <a:pt x="5" y="34"/>
                  </a:lnTo>
                  <a:lnTo>
                    <a:pt x="1" y="40"/>
                  </a:lnTo>
                  <a:lnTo>
                    <a:pt x="0" y="44"/>
                  </a:lnTo>
                  <a:lnTo>
                    <a:pt x="1" y="46"/>
                  </a:lnTo>
                  <a:lnTo>
                    <a:pt x="4" y="52"/>
                  </a:lnTo>
                  <a:lnTo>
                    <a:pt x="5" y="56"/>
                  </a:lnTo>
                  <a:lnTo>
                    <a:pt x="5" y="59"/>
                  </a:lnTo>
                  <a:lnTo>
                    <a:pt x="7" y="60"/>
                  </a:lnTo>
                  <a:lnTo>
                    <a:pt x="8" y="61"/>
                  </a:lnTo>
                  <a:lnTo>
                    <a:pt x="9" y="63"/>
                  </a:lnTo>
                  <a:lnTo>
                    <a:pt x="10" y="65"/>
                  </a:lnTo>
                  <a:lnTo>
                    <a:pt x="12" y="66"/>
                  </a:lnTo>
                  <a:lnTo>
                    <a:pt x="10" y="69"/>
                  </a:lnTo>
                  <a:lnTo>
                    <a:pt x="9" y="72"/>
                  </a:lnTo>
                  <a:lnTo>
                    <a:pt x="10" y="76"/>
                  </a:lnTo>
                  <a:lnTo>
                    <a:pt x="12" y="77"/>
                  </a:lnTo>
                  <a:lnTo>
                    <a:pt x="13" y="78"/>
                  </a:lnTo>
                  <a:lnTo>
                    <a:pt x="14" y="77"/>
                  </a:lnTo>
                  <a:lnTo>
                    <a:pt x="17" y="74"/>
                  </a:lnTo>
                  <a:lnTo>
                    <a:pt x="17" y="71"/>
                  </a:lnTo>
                  <a:lnTo>
                    <a:pt x="17" y="69"/>
                  </a:lnTo>
                  <a:lnTo>
                    <a:pt x="18" y="65"/>
                  </a:lnTo>
                  <a:lnTo>
                    <a:pt x="23" y="58"/>
                  </a:lnTo>
                  <a:lnTo>
                    <a:pt x="27" y="51"/>
                  </a:lnTo>
                  <a:lnTo>
                    <a:pt x="32" y="34"/>
                  </a:lnTo>
                  <a:lnTo>
                    <a:pt x="33" y="29"/>
                  </a:lnTo>
                  <a:lnTo>
                    <a:pt x="35" y="25"/>
                  </a:lnTo>
                  <a:lnTo>
                    <a:pt x="33" y="14"/>
                  </a:lnTo>
                  <a:lnTo>
                    <a:pt x="35" y="13"/>
                  </a:lnTo>
                  <a:lnTo>
                    <a:pt x="37"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0" name="Freeform 329"/>
            <p:cNvSpPr>
              <a:spLocks/>
            </p:cNvSpPr>
            <p:nvPr/>
          </p:nvSpPr>
          <p:spPr bwMode="auto">
            <a:xfrm>
              <a:off x="7781926" y="4830764"/>
              <a:ext cx="12700" cy="14288"/>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0 w 9"/>
                <a:gd name="T17" fmla="*/ 2147483647 h 9"/>
                <a:gd name="T18" fmla="*/ 0 w 9"/>
                <a:gd name="T19" fmla="*/ 2147483647 h 9"/>
                <a:gd name="T20" fmla="*/ 0 w 9"/>
                <a:gd name="T21" fmla="*/ 2147483647 h 9"/>
                <a:gd name="T22" fmla="*/ 2147483647 w 9"/>
                <a:gd name="T23" fmla="*/ 2147483647 h 9"/>
                <a:gd name="T24" fmla="*/ 2147483647 w 9"/>
                <a:gd name="T25" fmla="*/ 0 h 9"/>
                <a:gd name="T26" fmla="*/ 2147483647 w 9"/>
                <a:gd name="T27" fmla="*/ 0 h 9"/>
                <a:gd name="T28" fmla="*/ 2147483647 w 9"/>
                <a:gd name="T29" fmla="*/ 0 h 9"/>
                <a:gd name="T30" fmla="*/ 2147483647 w 9"/>
                <a:gd name="T31" fmla="*/ 2147483647 h 9"/>
                <a:gd name="T32" fmla="*/ 2147483647 w 9"/>
                <a:gd name="T33" fmla="*/ 2147483647 h 9"/>
                <a:gd name="T34" fmla="*/ 2147483647 w 9"/>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9"/>
                <a:gd name="T56" fmla="*/ 9 w 9"/>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9">
                  <a:moveTo>
                    <a:pt x="9" y="5"/>
                  </a:moveTo>
                  <a:lnTo>
                    <a:pt x="9" y="5"/>
                  </a:lnTo>
                  <a:lnTo>
                    <a:pt x="9" y="7"/>
                  </a:lnTo>
                  <a:lnTo>
                    <a:pt x="9" y="9"/>
                  </a:lnTo>
                  <a:lnTo>
                    <a:pt x="8" y="9"/>
                  </a:lnTo>
                  <a:lnTo>
                    <a:pt x="4" y="9"/>
                  </a:lnTo>
                  <a:lnTo>
                    <a:pt x="2" y="7"/>
                  </a:lnTo>
                  <a:lnTo>
                    <a:pt x="0" y="6"/>
                  </a:lnTo>
                  <a:lnTo>
                    <a:pt x="0" y="4"/>
                  </a:lnTo>
                  <a:lnTo>
                    <a:pt x="2" y="3"/>
                  </a:lnTo>
                  <a:lnTo>
                    <a:pt x="6" y="0"/>
                  </a:lnTo>
                  <a:lnTo>
                    <a:pt x="7" y="0"/>
                  </a:lnTo>
                  <a:lnTo>
                    <a:pt x="8" y="2"/>
                  </a:lnTo>
                  <a:lnTo>
                    <a:pt x="9"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1" name="Freeform 330"/>
            <p:cNvSpPr>
              <a:spLocks/>
            </p:cNvSpPr>
            <p:nvPr/>
          </p:nvSpPr>
          <p:spPr bwMode="auto">
            <a:xfrm>
              <a:off x="7618417" y="4749800"/>
              <a:ext cx="41275" cy="25400"/>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2147483647 w 28"/>
                <a:gd name="T13" fmla="*/ 2147483647 h 16"/>
                <a:gd name="T14" fmla="*/ 2147483647 w 28"/>
                <a:gd name="T15" fmla="*/ 2147483647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w 28"/>
                <a:gd name="T25" fmla="*/ 2147483647 h 16"/>
                <a:gd name="T26" fmla="*/ 0 w 28"/>
                <a:gd name="T27" fmla="*/ 2147483647 h 16"/>
                <a:gd name="T28" fmla="*/ 2147483647 w 28"/>
                <a:gd name="T29" fmla="*/ 2147483647 h 16"/>
                <a:gd name="T30" fmla="*/ 2147483647 w 28"/>
                <a:gd name="T31" fmla="*/ 2147483647 h 16"/>
                <a:gd name="T32" fmla="*/ 2147483647 w 28"/>
                <a:gd name="T33" fmla="*/ 2147483647 h 16"/>
                <a:gd name="T34" fmla="*/ 2147483647 w 28"/>
                <a:gd name="T35" fmla="*/ 0 h 16"/>
                <a:gd name="T36" fmla="*/ 2147483647 w 28"/>
                <a:gd name="T37" fmla="*/ 0 h 16"/>
                <a:gd name="T38" fmla="*/ 2147483647 w 28"/>
                <a:gd name="T39" fmla="*/ 2147483647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
                <a:gd name="T61" fmla="*/ 0 h 16"/>
                <a:gd name="T62" fmla="*/ 28 w 28"/>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 h="16">
                  <a:moveTo>
                    <a:pt x="24" y="4"/>
                  </a:moveTo>
                  <a:lnTo>
                    <a:pt x="26" y="5"/>
                  </a:lnTo>
                  <a:lnTo>
                    <a:pt x="28" y="6"/>
                  </a:lnTo>
                  <a:lnTo>
                    <a:pt x="28" y="9"/>
                  </a:lnTo>
                  <a:lnTo>
                    <a:pt x="26" y="10"/>
                  </a:lnTo>
                  <a:lnTo>
                    <a:pt x="23" y="11"/>
                  </a:lnTo>
                  <a:lnTo>
                    <a:pt x="20" y="11"/>
                  </a:lnTo>
                  <a:lnTo>
                    <a:pt x="18" y="11"/>
                  </a:lnTo>
                  <a:lnTo>
                    <a:pt x="14" y="11"/>
                  </a:lnTo>
                  <a:lnTo>
                    <a:pt x="7" y="15"/>
                  </a:lnTo>
                  <a:lnTo>
                    <a:pt x="5" y="16"/>
                  </a:lnTo>
                  <a:lnTo>
                    <a:pt x="2" y="15"/>
                  </a:lnTo>
                  <a:lnTo>
                    <a:pt x="0" y="13"/>
                  </a:lnTo>
                  <a:lnTo>
                    <a:pt x="0" y="10"/>
                  </a:lnTo>
                  <a:lnTo>
                    <a:pt x="1" y="6"/>
                  </a:lnTo>
                  <a:lnTo>
                    <a:pt x="2" y="3"/>
                  </a:lnTo>
                  <a:lnTo>
                    <a:pt x="5" y="2"/>
                  </a:lnTo>
                  <a:lnTo>
                    <a:pt x="7" y="0"/>
                  </a:lnTo>
                  <a:lnTo>
                    <a:pt x="12" y="0"/>
                  </a:lnTo>
                  <a:lnTo>
                    <a:pt x="2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2" name="Freeform 331"/>
            <p:cNvSpPr>
              <a:spLocks/>
            </p:cNvSpPr>
            <p:nvPr/>
          </p:nvSpPr>
          <p:spPr bwMode="auto">
            <a:xfrm>
              <a:off x="7988302" y="5716589"/>
              <a:ext cx="98425" cy="103187"/>
            </a:xfrm>
            <a:custGeom>
              <a:avLst/>
              <a:gdLst>
                <a:gd name="T0" fmla="*/ 2147483647 w 68"/>
                <a:gd name="T1" fmla="*/ 2147483647 h 65"/>
                <a:gd name="T2" fmla="*/ 2147483647 w 68"/>
                <a:gd name="T3" fmla="*/ 2147483647 h 65"/>
                <a:gd name="T4" fmla="*/ 2147483647 w 68"/>
                <a:gd name="T5" fmla="*/ 2147483647 h 65"/>
                <a:gd name="T6" fmla="*/ 2147483647 w 68"/>
                <a:gd name="T7" fmla="*/ 2147483647 h 65"/>
                <a:gd name="T8" fmla="*/ 2147483647 w 68"/>
                <a:gd name="T9" fmla="*/ 2147483647 h 65"/>
                <a:gd name="T10" fmla="*/ 2147483647 w 68"/>
                <a:gd name="T11" fmla="*/ 2147483647 h 65"/>
                <a:gd name="T12" fmla="*/ 2147483647 w 68"/>
                <a:gd name="T13" fmla="*/ 2147483647 h 65"/>
                <a:gd name="T14" fmla="*/ 2147483647 w 68"/>
                <a:gd name="T15" fmla="*/ 2147483647 h 65"/>
                <a:gd name="T16" fmla="*/ 2147483647 w 68"/>
                <a:gd name="T17" fmla="*/ 2147483647 h 65"/>
                <a:gd name="T18" fmla="*/ 2147483647 w 68"/>
                <a:gd name="T19" fmla="*/ 0 h 65"/>
                <a:gd name="T20" fmla="*/ 2147483647 w 68"/>
                <a:gd name="T21" fmla="*/ 0 h 65"/>
                <a:gd name="T22" fmla="*/ 0 w 68"/>
                <a:gd name="T23" fmla="*/ 2147483647 h 65"/>
                <a:gd name="T24" fmla="*/ 0 w 68"/>
                <a:gd name="T25" fmla="*/ 2147483647 h 65"/>
                <a:gd name="T26" fmla="*/ 0 w 68"/>
                <a:gd name="T27" fmla="*/ 2147483647 h 65"/>
                <a:gd name="T28" fmla="*/ 2147483647 w 68"/>
                <a:gd name="T29" fmla="*/ 2147483647 h 65"/>
                <a:gd name="T30" fmla="*/ 2147483647 w 68"/>
                <a:gd name="T31" fmla="*/ 2147483647 h 65"/>
                <a:gd name="T32" fmla="*/ 2147483647 w 68"/>
                <a:gd name="T33" fmla="*/ 2147483647 h 65"/>
                <a:gd name="T34" fmla="*/ 2147483647 w 68"/>
                <a:gd name="T35" fmla="*/ 2147483647 h 65"/>
                <a:gd name="T36" fmla="*/ 2147483647 w 68"/>
                <a:gd name="T37" fmla="*/ 2147483647 h 65"/>
                <a:gd name="T38" fmla="*/ 2147483647 w 68"/>
                <a:gd name="T39" fmla="*/ 2147483647 h 65"/>
                <a:gd name="T40" fmla="*/ 2147483647 w 68"/>
                <a:gd name="T41" fmla="*/ 2147483647 h 65"/>
                <a:gd name="T42" fmla="*/ 2147483647 w 68"/>
                <a:gd name="T43" fmla="*/ 2147483647 h 65"/>
                <a:gd name="T44" fmla="*/ 2147483647 w 68"/>
                <a:gd name="T45" fmla="*/ 2147483647 h 65"/>
                <a:gd name="T46" fmla="*/ 2147483647 w 68"/>
                <a:gd name="T47" fmla="*/ 2147483647 h 65"/>
                <a:gd name="T48" fmla="*/ 2147483647 w 68"/>
                <a:gd name="T49" fmla="*/ 2147483647 h 65"/>
                <a:gd name="T50" fmla="*/ 2147483647 w 68"/>
                <a:gd name="T51" fmla="*/ 2147483647 h 65"/>
                <a:gd name="T52" fmla="*/ 2147483647 w 68"/>
                <a:gd name="T53" fmla="*/ 2147483647 h 65"/>
                <a:gd name="T54" fmla="*/ 2147483647 w 68"/>
                <a:gd name="T55" fmla="*/ 2147483647 h 65"/>
                <a:gd name="T56" fmla="*/ 2147483647 w 68"/>
                <a:gd name="T57" fmla="*/ 2147483647 h 65"/>
                <a:gd name="T58" fmla="*/ 2147483647 w 68"/>
                <a:gd name="T59" fmla="*/ 2147483647 h 65"/>
                <a:gd name="T60" fmla="*/ 2147483647 w 68"/>
                <a:gd name="T61" fmla="*/ 2147483647 h 65"/>
                <a:gd name="T62" fmla="*/ 2147483647 w 68"/>
                <a:gd name="T63" fmla="*/ 2147483647 h 65"/>
                <a:gd name="T64" fmla="*/ 2147483647 w 68"/>
                <a:gd name="T65" fmla="*/ 2147483647 h 65"/>
                <a:gd name="T66" fmla="*/ 2147483647 w 68"/>
                <a:gd name="T67" fmla="*/ 2147483647 h 65"/>
                <a:gd name="T68" fmla="*/ 2147483647 w 68"/>
                <a:gd name="T69" fmla="*/ 2147483647 h 65"/>
                <a:gd name="T70" fmla="*/ 2147483647 w 68"/>
                <a:gd name="T71" fmla="*/ 2147483647 h 65"/>
                <a:gd name="T72" fmla="*/ 2147483647 w 68"/>
                <a:gd name="T73" fmla="*/ 2147483647 h 65"/>
                <a:gd name="T74" fmla="*/ 2147483647 w 68"/>
                <a:gd name="T75" fmla="*/ 2147483647 h 65"/>
                <a:gd name="T76" fmla="*/ 2147483647 w 68"/>
                <a:gd name="T77" fmla="*/ 2147483647 h 65"/>
                <a:gd name="T78" fmla="*/ 2147483647 w 68"/>
                <a:gd name="T79" fmla="*/ 2147483647 h 65"/>
                <a:gd name="T80" fmla="*/ 2147483647 w 68"/>
                <a:gd name="T81" fmla="*/ 2147483647 h 65"/>
                <a:gd name="T82" fmla="*/ 2147483647 w 68"/>
                <a:gd name="T83" fmla="*/ 2147483647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
                <a:gd name="T127" fmla="*/ 0 h 65"/>
                <a:gd name="T128" fmla="*/ 68 w 68"/>
                <a:gd name="T129" fmla="*/ 65 h 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 h="65">
                  <a:moveTo>
                    <a:pt x="61" y="4"/>
                  </a:moveTo>
                  <a:lnTo>
                    <a:pt x="55" y="5"/>
                  </a:lnTo>
                  <a:lnTo>
                    <a:pt x="50" y="7"/>
                  </a:lnTo>
                  <a:lnTo>
                    <a:pt x="46" y="8"/>
                  </a:lnTo>
                  <a:lnTo>
                    <a:pt x="40" y="11"/>
                  </a:lnTo>
                  <a:lnTo>
                    <a:pt x="35" y="13"/>
                  </a:lnTo>
                  <a:lnTo>
                    <a:pt x="30" y="13"/>
                  </a:lnTo>
                  <a:lnTo>
                    <a:pt x="25" y="11"/>
                  </a:lnTo>
                  <a:lnTo>
                    <a:pt x="16" y="5"/>
                  </a:lnTo>
                  <a:lnTo>
                    <a:pt x="3" y="0"/>
                  </a:lnTo>
                  <a:lnTo>
                    <a:pt x="2" y="0"/>
                  </a:lnTo>
                  <a:lnTo>
                    <a:pt x="0" y="1"/>
                  </a:lnTo>
                  <a:lnTo>
                    <a:pt x="0" y="4"/>
                  </a:lnTo>
                  <a:lnTo>
                    <a:pt x="0" y="9"/>
                  </a:lnTo>
                  <a:lnTo>
                    <a:pt x="2" y="13"/>
                  </a:lnTo>
                  <a:lnTo>
                    <a:pt x="11" y="29"/>
                  </a:lnTo>
                  <a:lnTo>
                    <a:pt x="17" y="46"/>
                  </a:lnTo>
                  <a:lnTo>
                    <a:pt x="19" y="52"/>
                  </a:lnTo>
                  <a:lnTo>
                    <a:pt x="25" y="59"/>
                  </a:lnTo>
                  <a:lnTo>
                    <a:pt x="27" y="61"/>
                  </a:lnTo>
                  <a:lnTo>
                    <a:pt x="30" y="64"/>
                  </a:lnTo>
                  <a:lnTo>
                    <a:pt x="33" y="65"/>
                  </a:lnTo>
                  <a:lnTo>
                    <a:pt x="37" y="65"/>
                  </a:lnTo>
                  <a:lnTo>
                    <a:pt x="40" y="64"/>
                  </a:lnTo>
                  <a:lnTo>
                    <a:pt x="42" y="61"/>
                  </a:lnTo>
                  <a:lnTo>
                    <a:pt x="47" y="55"/>
                  </a:lnTo>
                  <a:lnTo>
                    <a:pt x="52" y="49"/>
                  </a:lnTo>
                  <a:lnTo>
                    <a:pt x="56" y="46"/>
                  </a:lnTo>
                  <a:lnTo>
                    <a:pt x="58" y="46"/>
                  </a:lnTo>
                  <a:lnTo>
                    <a:pt x="59" y="46"/>
                  </a:lnTo>
                  <a:lnTo>
                    <a:pt x="60" y="49"/>
                  </a:lnTo>
                  <a:lnTo>
                    <a:pt x="61" y="52"/>
                  </a:lnTo>
                  <a:lnTo>
                    <a:pt x="63" y="53"/>
                  </a:lnTo>
                  <a:lnTo>
                    <a:pt x="65" y="54"/>
                  </a:lnTo>
                  <a:lnTo>
                    <a:pt x="64" y="47"/>
                  </a:lnTo>
                  <a:lnTo>
                    <a:pt x="63" y="42"/>
                  </a:lnTo>
                  <a:lnTo>
                    <a:pt x="63" y="37"/>
                  </a:lnTo>
                  <a:lnTo>
                    <a:pt x="66" y="24"/>
                  </a:lnTo>
                  <a:lnTo>
                    <a:pt x="68" y="19"/>
                  </a:lnTo>
                  <a:lnTo>
                    <a:pt x="66" y="13"/>
                  </a:lnTo>
                  <a:lnTo>
                    <a:pt x="65" y="8"/>
                  </a:lnTo>
                  <a:lnTo>
                    <a:pt x="61"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3" name="Freeform 332"/>
            <p:cNvSpPr>
              <a:spLocks/>
            </p:cNvSpPr>
            <p:nvPr/>
          </p:nvSpPr>
          <p:spPr bwMode="auto">
            <a:xfrm>
              <a:off x="7615242" y="4748213"/>
              <a:ext cx="41275" cy="25400"/>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2147483647 w 28"/>
                <a:gd name="T13" fmla="*/ 2147483647 h 16"/>
                <a:gd name="T14" fmla="*/ 2147483647 w 28"/>
                <a:gd name="T15" fmla="*/ 2147483647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2147483647 w 28"/>
                <a:gd name="T25" fmla="*/ 2147483647 h 16"/>
                <a:gd name="T26" fmla="*/ 2147483647 w 28"/>
                <a:gd name="T27" fmla="*/ 2147483647 h 16"/>
                <a:gd name="T28" fmla="*/ 2147483647 w 28"/>
                <a:gd name="T29" fmla="*/ 2147483647 h 16"/>
                <a:gd name="T30" fmla="*/ 2147483647 w 28"/>
                <a:gd name="T31" fmla="*/ 2147483647 h 16"/>
                <a:gd name="T32" fmla="*/ 0 w 28"/>
                <a:gd name="T33" fmla="*/ 2147483647 h 16"/>
                <a:gd name="T34" fmla="*/ 0 w 28"/>
                <a:gd name="T35" fmla="*/ 2147483647 h 16"/>
                <a:gd name="T36" fmla="*/ 2147483647 w 28"/>
                <a:gd name="T37" fmla="*/ 2147483647 h 16"/>
                <a:gd name="T38" fmla="*/ 2147483647 w 28"/>
                <a:gd name="T39" fmla="*/ 2147483647 h 16"/>
                <a:gd name="T40" fmla="*/ 2147483647 w 28"/>
                <a:gd name="T41" fmla="*/ 2147483647 h 16"/>
                <a:gd name="T42" fmla="*/ 2147483647 w 28"/>
                <a:gd name="T43" fmla="*/ 2147483647 h 16"/>
                <a:gd name="T44" fmla="*/ 2147483647 w 28"/>
                <a:gd name="T45" fmla="*/ 0 h 16"/>
                <a:gd name="T46" fmla="*/ 2147483647 w 28"/>
                <a:gd name="T47" fmla="*/ 0 h 16"/>
                <a:gd name="T48" fmla="*/ 2147483647 w 28"/>
                <a:gd name="T49" fmla="*/ 2147483647 h 16"/>
                <a:gd name="T50" fmla="*/ 2147483647 w 28"/>
                <a:gd name="T51" fmla="*/ 2147483647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
                <a:gd name="T79" fmla="*/ 0 h 16"/>
                <a:gd name="T80" fmla="*/ 28 w 28"/>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 h="16">
                  <a:moveTo>
                    <a:pt x="25" y="4"/>
                  </a:moveTo>
                  <a:lnTo>
                    <a:pt x="25" y="4"/>
                  </a:lnTo>
                  <a:lnTo>
                    <a:pt x="27" y="5"/>
                  </a:lnTo>
                  <a:lnTo>
                    <a:pt x="28" y="6"/>
                  </a:lnTo>
                  <a:lnTo>
                    <a:pt x="28" y="8"/>
                  </a:lnTo>
                  <a:lnTo>
                    <a:pt x="27" y="10"/>
                  </a:lnTo>
                  <a:lnTo>
                    <a:pt x="23" y="11"/>
                  </a:lnTo>
                  <a:lnTo>
                    <a:pt x="21" y="11"/>
                  </a:lnTo>
                  <a:lnTo>
                    <a:pt x="18" y="11"/>
                  </a:lnTo>
                  <a:lnTo>
                    <a:pt x="14" y="11"/>
                  </a:lnTo>
                  <a:lnTo>
                    <a:pt x="8" y="14"/>
                  </a:lnTo>
                  <a:lnTo>
                    <a:pt x="6" y="16"/>
                  </a:lnTo>
                  <a:lnTo>
                    <a:pt x="3" y="14"/>
                  </a:lnTo>
                  <a:lnTo>
                    <a:pt x="0" y="13"/>
                  </a:lnTo>
                  <a:lnTo>
                    <a:pt x="0" y="10"/>
                  </a:lnTo>
                  <a:lnTo>
                    <a:pt x="2" y="6"/>
                  </a:lnTo>
                  <a:lnTo>
                    <a:pt x="3" y="3"/>
                  </a:lnTo>
                  <a:lnTo>
                    <a:pt x="6" y="1"/>
                  </a:lnTo>
                  <a:lnTo>
                    <a:pt x="8" y="0"/>
                  </a:lnTo>
                  <a:lnTo>
                    <a:pt x="13" y="0"/>
                  </a:lnTo>
                  <a:lnTo>
                    <a:pt x="2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4" name="Freeform 333"/>
            <p:cNvSpPr>
              <a:spLocks/>
            </p:cNvSpPr>
            <p:nvPr/>
          </p:nvSpPr>
          <p:spPr bwMode="auto">
            <a:xfrm>
              <a:off x="7986714" y="5713417"/>
              <a:ext cx="98425" cy="104775"/>
            </a:xfrm>
            <a:custGeom>
              <a:avLst/>
              <a:gdLst>
                <a:gd name="T0" fmla="*/ 2147483647 w 67"/>
                <a:gd name="T1" fmla="*/ 2147483647 h 66"/>
                <a:gd name="T2" fmla="*/ 2147483647 w 67"/>
                <a:gd name="T3" fmla="*/ 2147483647 h 66"/>
                <a:gd name="T4" fmla="*/ 2147483647 w 67"/>
                <a:gd name="T5" fmla="*/ 2147483647 h 66"/>
                <a:gd name="T6" fmla="*/ 2147483647 w 67"/>
                <a:gd name="T7" fmla="*/ 2147483647 h 66"/>
                <a:gd name="T8" fmla="*/ 2147483647 w 67"/>
                <a:gd name="T9" fmla="*/ 2147483647 h 66"/>
                <a:gd name="T10" fmla="*/ 2147483647 w 67"/>
                <a:gd name="T11" fmla="*/ 2147483647 h 66"/>
                <a:gd name="T12" fmla="*/ 2147483647 w 67"/>
                <a:gd name="T13" fmla="*/ 2147483647 h 66"/>
                <a:gd name="T14" fmla="*/ 2147483647 w 67"/>
                <a:gd name="T15" fmla="*/ 2147483647 h 66"/>
                <a:gd name="T16" fmla="*/ 2147483647 w 67"/>
                <a:gd name="T17" fmla="*/ 2147483647 h 66"/>
                <a:gd name="T18" fmla="*/ 2147483647 w 67"/>
                <a:gd name="T19" fmla="*/ 2147483647 h 66"/>
                <a:gd name="T20" fmla="*/ 2147483647 w 67"/>
                <a:gd name="T21" fmla="*/ 2147483647 h 66"/>
                <a:gd name="T22" fmla="*/ 2147483647 w 67"/>
                <a:gd name="T23" fmla="*/ 0 h 66"/>
                <a:gd name="T24" fmla="*/ 2147483647 w 67"/>
                <a:gd name="T25" fmla="*/ 0 h 66"/>
                <a:gd name="T26" fmla="*/ 2147483647 w 67"/>
                <a:gd name="T27" fmla="*/ 0 h 66"/>
                <a:gd name="T28" fmla="*/ 0 w 67"/>
                <a:gd name="T29" fmla="*/ 2147483647 h 66"/>
                <a:gd name="T30" fmla="*/ 0 w 67"/>
                <a:gd name="T31" fmla="*/ 2147483647 h 66"/>
                <a:gd name="T32" fmla="*/ 0 w 67"/>
                <a:gd name="T33" fmla="*/ 2147483647 h 66"/>
                <a:gd name="T34" fmla="*/ 2147483647 w 67"/>
                <a:gd name="T35" fmla="*/ 2147483647 h 66"/>
                <a:gd name="T36" fmla="*/ 2147483647 w 67"/>
                <a:gd name="T37" fmla="*/ 2147483647 h 66"/>
                <a:gd name="T38" fmla="*/ 2147483647 w 67"/>
                <a:gd name="T39" fmla="*/ 2147483647 h 66"/>
                <a:gd name="T40" fmla="*/ 2147483647 w 67"/>
                <a:gd name="T41" fmla="*/ 2147483647 h 66"/>
                <a:gd name="T42" fmla="*/ 2147483647 w 67"/>
                <a:gd name="T43" fmla="*/ 2147483647 h 66"/>
                <a:gd name="T44" fmla="*/ 2147483647 w 67"/>
                <a:gd name="T45" fmla="*/ 2147483647 h 66"/>
                <a:gd name="T46" fmla="*/ 2147483647 w 67"/>
                <a:gd name="T47" fmla="*/ 2147483647 h 66"/>
                <a:gd name="T48" fmla="*/ 2147483647 w 67"/>
                <a:gd name="T49" fmla="*/ 2147483647 h 66"/>
                <a:gd name="T50" fmla="*/ 2147483647 w 67"/>
                <a:gd name="T51" fmla="*/ 2147483647 h 66"/>
                <a:gd name="T52" fmla="*/ 2147483647 w 67"/>
                <a:gd name="T53" fmla="*/ 2147483647 h 66"/>
                <a:gd name="T54" fmla="*/ 2147483647 w 67"/>
                <a:gd name="T55" fmla="*/ 2147483647 h 66"/>
                <a:gd name="T56" fmla="*/ 2147483647 w 67"/>
                <a:gd name="T57" fmla="*/ 2147483647 h 66"/>
                <a:gd name="T58" fmla="*/ 2147483647 w 67"/>
                <a:gd name="T59" fmla="*/ 2147483647 h 66"/>
                <a:gd name="T60" fmla="*/ 2147483647 w 67"/>
                <a:gd name="T61" fmla="*/ 2147483647 h 66"/>
                <a:gd name="T62" fmla="*/ 2147483647 w 67"/>
                <a:gd name="T63" fmla="*/ 2147483647 h 66"/>
                <a:gd name="T64" fmla="*/ 2147483647 w 67"/>
                <a:gd name="T65" fmla="*/ 2147483647 h 66"/>
                <a:gd name="T66" fmla="*/ 2147483647 w 67"/>
                <a:gd name="T67" fmla="*/ 2147483647 h 66"/>
                <a:gd name="T68" fmla="*/ 2147483647 w 67"/>
                <a:gd name="T69" fmla="*/ 2147483647 h 66"/>
                <a:gd name="T70" fmla="*/ 2147483647 w 67"/>
                <a:gd name="T71" fmla="*/ 2147483647 h 66"/>
                <a:gd name="T72" fmla="*/ 2147483647 w 67"/>
                <a:gd name="T73" fmla="*/ 2147483647 h 66"/>
                <a:gd name="T74" fmla="*/ 2147483647 w 67"/>
                <a:gd name="T75" fmla="*/ 2147483647 h 66"/>
                <a:gd name="T76" fmla="*/ 2147483647 w 67"/>
                <a:gd name="T77" fmla="*/ 2147483647 h 66"/>
                <a:gd name="T78" fmla="*/ 2147483647 w 67"/>
                <a:gd name="T79" fmla="*/ 2147483647 h 66"/>
                <a:gd name="T80" fmla="*/ 2147483647 w 67"/>
                <a:gd name="T81" fmla="*/ 2147483647 h 66"/>
                <a:gd name="T82" fmla="*/ 2147483647 w 67"/>
                <a:gd name="T83" fmla="*/ 2147483647 h 66"/>
                <a:gd name="T84" fmla="*/ 2147483647 w 67"/>
                <a:gd name="T85" fmla="*/ 2147483647 h 66"/>
                <a:gd name="T86" fmla="*/ 2147483647 w 67"/>
                <a:gd name="T87" fmla="*/ 2147483647 h 66"/>
                <a:gd name="T88" fmla="*/ 2147483647 w 67"/>
                <a:gd name="T89" fmla="*/ 2147483647 h 66"/>
                <a:gd name="T90" fmla="*/ 2147483647 w 67"/>
                <a:gd name="T91" fmla="*/ 2147483647 h 66"/>
                <a:gd name="T92" fmla="*/ 2147483647 w 67"/>
                <a:gd name="T93" fmla="*/ 2147483647 h 66"/>
                <a:gd name="T94" fmla="*/ 2147483647 w 67"/>
                <a:gd name="T95" fmla="*/ 2147483647 h 66"/>
                <a:gd name="T96" fmla="*/ 2147483647 w 67"/>
                <a:gd name="T97" fmla="*/ 2147483647 h 66"/>
                <a:gd name="T98" fmla="*/ 2147483647 w 67"/>
                <a:gd name="T99" fmla="*/ 2147483647 h 66"/>
                <a:gd name="T100" fmla="*/ 2147483647 w 67"/>
                <a:gd name="T101" fmla="*/ 2147483647 h 66"/>
                <a:gd name="T102" fmla="*/ 2147483647 w 67"/>
                <a:gd name="T103" fmla="*/ 2147483647 h 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7"/>
                <a:gd name="T157" fmla="*/ 0 h 66"/>
                <a:gd name="T158" fmla="*/ 67 w 67"/>
                <a:gd name="T159" fmla="*/ 66 h 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7" h="66">
                  <a:moveTo>
                    <a:pt x="61" y="5"/>
                  </a:moveTo>
                  <a:lnTo>
                    <a:pt x="61" y="5"/>
                  </a:lnTo>
                  <a:lnTo>
                    <a:pt x="55" y="6"/>
                  </a:lnTo>
                  <a:lnTo>
                    <a:pt x="50" y="7"/>
                  </a:lnTo>
                  <a:lnTo>
                    <a:pt x="46" y="9"/>
                  </a:lnTo>
                  <a:lnTo>
                    <a:pt x="40" y="12"/>
                  </a:lnTo>
                  <a:lnTo>
                    <a:pt x="34" y="13"/>
                  </a:lnTo>
                  <a:lnTo>
                    <a:pt x="29" y="13"/>
                  </a:lnTo>
                  <a:lnTo>
                    <a:pt x="24" y="12"/>
                  </a:lnTo>
                  <a:lnTo>
                    <a:pt x="15" y="6"/>
                  </a:lnTo>
                  <a:lnTo>
                    <a:pt x="3" y="0"/>
                  </a:lnTo>
                  <a:lnTo>
                    <a:pt x="1" y="0"/>
                  </a:lnTo>
                  <a:lnTo>
                    <a:pt x="0" y="2"/>
                  </a:lnTo>
                  <a:lnTo>
                    <a:pt x="0" y="5"/>
                  </a:lnTo>
                  <a:lnTo>
                    <a:pt x="0" y="10"/>
                  </a:lnTo>
                  <a:lnTo>
                    <a:pt x="1" y="13"/>
                  </a:lnTo>
                  <a:lnTo>
                    <a:pt x="10" y="30"/>
                  </a:lnTo>
                  <a:lnTo>
                    <a:pt x="17" y="47"/>
                  </a:lnTo>
                  <a:lnTo>
                    <a:pt x="19" y="53"/>
                  </a:lnTo>
                  <a:lnTo>
                    <a:pt x="24" y="60"/>
                  </a:lnTo>
                  <a:lnTo>
                    <a:pt x="27" y="62"/>
                  </a:lnTo>
                  <a:lnTo>
                    <a:pt x="29" y="64"/>
                  </a:lnTo>
                  <a:lnTo>
                    <a:pt x="33" y="66"/>
                  </a:lnTo>
                  <a:lnTo>
                    <a:pt x="37" y="66"/>
                  </a:lnTo>
                  <a:lnTo>
                    <a:pt x="40" y="64"/>
                  </a:lnTo>
                  <a:lnTo>
                    <a:pt x="42" y="62"/>
                  </a:lnTo>
                  <a:lnTo>
                    <a:pt x="47" y="56"/>
                  </a:lnTo>
                  <a:lnTo>
                    <a:pt x="52" y="50"/>
                  </a:lnTo>
                  <a:lnTo>
                    <a:pt x="56" y="47"/>
                  </a:lnTo>
                  <a:lnTo>
                    <a:pt x="57" y="47"/>
                  </a:lnTo>
                  <a:lnTo>
                    <a:pt x="59" y="47"/>
                  </a:lnTo>
                  <a:lnTo>
                    <a:pt x="60" y="50"/>
                  </a:lnTo>
                  <a:lnTo>
                    <a:pt x="61" y="53"/>
                  </a:lnTo>
                  <a:lnTo>
                    <a:pt x="62" y="54"/>
                  </a:lnTo>
                  <a:lnTo>
                    <a:pt x="65" y="55"/>
                  </a:lnTo>
                  <a:lnTo>
                    <a:pt x="64" y="48"/>
                  </a:lnTo>
                  <a:lnTo>
                    <a:pt x="62" y="43"/>
                  </a:lnTo>
                  <a:lnTo>
                    <a:pt x="62" y="38"/>
                  </a:lnTo>
                  <a:lnTo>
                    <a:pt x="66" y="25"/>
                  </a:lnTo>
                  <a:lnTo>
                    <a:pt x="67" y="19"/>
                  </a:lnTo>
                  <a:lnTo>
                    <a:pt x="66" y="13"/>
                  </a:lnTo>
                  <a:lnTo>
                    <a:pt x="65" y="9"/>
                  </a:lnTo>
                  <a:lnTo>
                    <a:pt x="6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5" name="Freeform 334"/>
            <p:cNvSpPr>
              <a:spLocks/>
            </p:cNvSpPr>
            <p:nvPr/>
          </p:nvSpPr>
          <p:spPr bwMode="auto">
            <a:xfrm>
              <a:off x="8056564" y="5803905"/>
              <a:ext cx="12700" cy="17463"/>
            </a:xfrm>
            <a:custGeom>
              <a:avLst/>
              <a:gdLst>
                <a:gd name="T0" fmla="*/ 2147483647 w 9"/>
                <a:gd name="T1" fmla="*/ 2147483647 h 11"/>
                <a:gd name="T2" fmla="*/ 2147483647 w 9"/>
                <a:gd name="T3" fmla="*/ 2147483647 h 11"/>
                <a:gd name="T4" fmla="*/ 2147483647 w 9"/>
                <a:gd name="T5" fmla="*/ 0 h 11"/>
                <a:gd name="T6" fmla="*/ 2147483647 w 9"/>
                <a:gd name="T7" fmla="*/ 0 h 11"/>
                <a:gd name="T8" fmla="*/ 2147483647 w 9"/>
                <a:gd name="T9" fmla="*/ 2147483647 h 11"/>
                <a:gd name="T10" fmla="*/ 2147483647 w 9"/>
                <a:gd name="T11" fmla="*/ 2147483647 h 11"/>
                <a:gd name="T12" fmla="*/ 0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1"/>
                <a:gd name="T38" fmla="*/ 9 w 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1">
                  <a:moveTo>
                    <a:pt x="9" y="5"/>
                  </a:moveTo>
                  <a:lnTo>
                    <a:pt x="9" y="1"/>
                  </a:lnTo>
                  <a:lnTo>
                    <a:pt x="8" y="0"/>
                  </a:lnTo>
                  <a:lnTo>
                    <a:pt x="7" y="0"/>
                  </a:lnTo>
                  <a:lnTo>
                    <a:pt x="4" y="1"/>
                  </a:lnTo>
                  <a:lnTo>
                    <a:pt x="2" y="4"/>
                  </a:lnTo>
                  <a:lnTo>
                    <a:pt x="0" y="6"/>
                  </a:lnTo>
                  <a:lnTo>
                    <a:pt x="2" y="10"/>
                  </a:lnTo>
                  <a:lnTo>
                    <a:pt x="4" y="11"/>
                  </a:lnTo>
                  <a:lnTo>
                    <a:pt x="7" y="10"/>
                  </a:lnTo>
                  <a:lnTo>
                    <a:pt x="8" y="7"/>
                  </a:lnTo>
                  <a:lnTo>
                    <a:pt x="9"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6" name="Freeform 335"/>
            <p:cNvSpPr>
              <a:spLocks/>
            </p:cNvSpPr>
            <p:nvPr/>
          </p:nvSpPr>
          <p:spPr bwMode="auto">
            <a:xfrm>
              <a:off x="7966078" y="5681666"/>
              <a:ext cx="17463" cy="26987"/>
            </a:xfrm>
            <a:custGeom>
              <a:avLst/>
              <a:gdLst>
                <a:gd name="T0" fmla="*/ 2147483647 w 12"/>
                <a:gd name="T1" fmla="*/ 2147483647 h 17"/>
                <a:gd name="T2" fmla="*/ 2147483647 w 12"/>
                <a:gd name="T3" fmla="*/ 2147483647 h 17"/>
                <a:gd name="T4" fmla="*/ 2147483647 w 12"/>
                <a:gd name="T5" fmla="*/ 2147483647 h 17"/>
                <a:gd name="T6" fmla="*/ 2147483647 w 12"/>
                <a:gd name="T7" fmla="*/ 2147483647 h 17"/>
                <a:gd name="T8" fmla="*/ 2147483647 w 12"/>
                <a:gd name="T9" fmla="*/ 2147483647 h 17"/>
                <a:gd name="T10" fmla="*/ 2147483647 w 12"/>
                <a:gd name="T11" fmla="*/ 2147483647 h 17"/>
                <a:gd name="T12" fmla="*/ 2147483647 w 12"/>
                <a:gd name="T13" fmla="*/ 2147483647 h 17"/>
                <a:gd name="T14" fmla="*/ 0 w 12"/>
                <a:gd name="T15" fmla="*/ 2147483647 h 17"/>
                <a:gd name="T16" fmla="*/ 0 w 12"/>
                <a:gd name="T17" fmla="*/ 2147483647 h 17"/>
                <a:gd name="T18" fmla="*/ 0 w 12"/>
                <a:gd name="T19" fmla="*/ 2147483647 h 17"/>
                <a:gd name="T20" fmla="*/ 2147483647 w 12"/>
                <a:gd name="T21" fmla="*/ 0 h 17"/>
                <a:gd name="T22" fmla="*/ 2147483647 w 12"/>
                <a:gd name="T23" fmla="*/ 0 h 17"/>
                <a:gd name="T24" fmla="*/ 2147483647 w 12"/>
                <a:gd name="T25" fmla="*/ 2147483647 h 17"/>
                <a:gd name="T26" fmla="*/ 2147483647 w 12"/>
                <a:gd name="T27" fmla="*/ 2147483647 h 17"/>
                <a:gd name="T28" fmla="*/ 2147483647 w 12"/>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7"/>
                <a:gd name="T47" fmla="*/ 12 w 12"/>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7">
                  <a:moveTo>
                    <a:pt x="10" y="6"/>
                  </a:moveTo>
                  <a:lnTo>
                    <a:pt x="12" y="11"/>
                  </a:lnTo>
                  <a:lnTo>
                    <a:pt x="12" y="13"/>
                  </a:lnTo>
                  <a:lnTo>
                    <a:pt x="10" y="16"/>
                  </a:lnTo>
                  <a:lnTo>
                    <a:pt x="8" y="17"/>
                  </a:lnTo>
                  <a:lnTo>
                    <a:pt x="4" y="17"/>
                  </a:lnTo>
                  <a:lnTo>
                    <a:pt x="1" y="14"/>
                  </a:lnTo>
                  <a:lnTo>
                    <a:pt x="0" y="12"/>
                  </a:lnTo>
                  <a:lnTo>
                    <a:pt x="0" y="6"/>
                  </a:lnTo>
                  <a:lnTo>
                    <a:pt x="0" y="3"/>
                  </a:lnTo>
                  <a:lnTo>
                    <a:pt x="3" y="0"/>
                  </a:lnTo>
                  <a:lnTo>
                    <a:pt x="5" y="0"/>
                  </a:lnTo>
                  <a:lnTo>
                    <a:pt x="8" y="1"/>
                  </a:lnTo>
                  <a:lnTo>
                    <a:pt x="9" y="4"/>
                  </a:lnTo>
                  <a:lnTo>
                    <a:pt x="1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7" name="Freeform 336"/>
            <p:cNvSpPr>
              <a:spLocks/>
            </p:cNvSpPr>
            <p:nvPr/>
          </p:nvSpPr>
          <p:spPr bwMode="auto">
            <a:xfrm>
              <a:off x="8054976" y="5802313"/>
              <a:ext cx="12700" cy="17462"/>
            </a:xfrm>
            <a:custGeom>
              <a:avLst/>
              <a:gdLst>
                <a:gd name="T0" fmla="*/ 2147483647 w 9"/>
                <a:gd name="T1" fmla="*/ 2147483647 h 11"/>
                <a:gd name="T2" fmla="*/ 2147483647 w 9"/>
                <a:gd name="T3" fmla="*/ 2147483647 h 11"/>
                <a:gd name="T4" fmla="*/ 2147483647 w 9"/>
                <a:gd name="T5" fmla="*/ 2147483647 h 11"/>
                <a:gd name="T6" fmla="*/ 2147483647 w 9"/>
                <a:gd name="T7" fmla="*/ 0 h 11"/>
                <a:gd name="T8" fmla="*/ 2147483647 w 9"/>
                <a:gd name="T9" fmla="*/ 0 h 11"/>
                <a:gd name="T10" fmla="*/ 2147483647 w 9"/>
                <a:gd name="T11" fmla="*/ 0 h 11"/>
                <a:gd name="T12" fmla="*/ 2147483647 w 9"/>
                <a:gd name="T13" fmla="*/ 2147483647 h 11"/>
                <a:gd name="T14" fmla="*/ 2147483647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1"/>
                <a:gd name="T50" fmla="*/ 9 w 9"/>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1">
                  <a:moveTo>
                    <a:pt x="9" y="5"/>
                  </a:moveTo>
                  <a:lnTo>
                    <a:pt x="9" y="5"/>
                  </a:lnTo>
                  <a:lnTo>
                    <a:pt x="9" y="1"/>
                  </a:lnTo>
                  <a:lnTo>
                    <a:pt x="8" y="0"/>
                  </a:lnTo>
                  <a:lnTo>
                    <a:pt x="6" y="0"/>
                  </a:lnTo>
                  <a:lnTo>
                    <a:pt x="4" y="1"/>
                  </a:lnTo>
                  <a:lnTo>
                    <a:pt x="1" y="4"/>
                  </a:lnTo>
                  <a:lnTo>
                    <a:pt x="0" y="6"/>
                  </a:lnTo>
                  <a:lnTo>
                    <a:pt x="1" y="10"/>
                  </a:lnTo>
                  <a:lnTo>
                    <a:pt x="4" y="11"/>
                  </a:lnTo>
                  <a:lnTo>
                    <a:pt x="6" y="10"/>
                  </a:lnTo>
                  <a:lnTo>
                    <a:pt x="8" y="7"/>
                  </a:lnTo>
                  <a:lnTo>
                    <a:pt x="9"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8" name="Freeform 337"/>
            <p:cNvSpPr>
              <a:spLocks/>
            </p:cNvSpPr>
            <p:nvPr/>
          </p:nvSpPr>
          <p:spPr bwMode="auto">
            <a:xfrm>
              <a:off x="7964491" y="5680075"/>
              <a:ext cx="15875" cy="26988"/>
            </a:xfrm>
            <a:custGeom>
              <a:avLst/>
              <a:gdLst>
                <a:gd name="T0" fmla="*/ 2147483647 w 11"/>
                <a:gd name="T1" fmla="*/ 2147483647 h 17"/>
                <a:gd name="T2" fmla="*/ 2147483647 w 11"/>
                <a:gd name="T3" fmla="*/ 2147483647 h 17"/>
                <a:gd name="T4" fmla="*/ 2147483647 w 11"/>
                <a:gd name="T5" fmla="*/ 2147483647 h 17"/>
                <a:gd name="T6" fmla="*/ 2147483647 w 11"/>
                <a:gd name="T7" fmla="*/ 2147483647 h 17"/>
                <a:gd name="T8" fmla="*/ 2147483647 w 11"/>
                <a:gd name="T9" fmla="*/ 2147483647 h 17"/>
                <a:gd name="T10" fmla="*/ 2147483647 w 11"/>
                <a:gd name="T11" fmla="*/ 2147483647 h 17"/>
                <a:gd name="T12" fmla="*/ 2147483647 w 11"/>
                <a:gd name="T13" fmla="*/ 2147483647 h 17"/>
                <a:gd name="T14" fmla="*/ 2147483647 w 11"/>
                <a:gd name="T15" fmla="*/ 2147483647 h 17"/>
                <a:gd name="T16" fmla="*/ 2147483647 w 11"/>
                <a:gd name="T17" fmla="*/ 2147483647 h 17"/>
                <a:gd name="T18" fmla="*/ 0 w 11"/>
                <a:gd name="T19" fmla="*/ 2147483647 h 17"/>
                <a:gd name="T20" fmla="*/ 0 w 11"/>
                <a:gd name="T21" fmla="*/ 2147483647 h 17"/>
                <a:gd name="T22" fmla="*/ 0 w 11"/>
                <a:gd name="T23" fmla="*/ 2147483647 h 17"/>
                <a:gd name="T24" fmla="*/ 0 w 11"/>
                <a:gd name="T25" fmla="*/ 2147483647 h 17"/>
                <a:gd name="T26" fmla="*/ 2147483647 w 11"/>
                <a:gd name="T27" fmla="*/ 0 h 17"/>
                <a:gd name="T28" fmla="*/ 2147483647 w 11"/>
                <a:gd name="T29" fmla="*/ 0 h 17"/>
                <a:gd name="T30" fmla="*/ 2147483647 w 11"/>
                <a:gd name="T31" fmla="*/ 0 h 17"/>
                <a:gd name="T32" fmla="*/ 2147483647 w 11"/>
                <a:gd name="T33" fmla="*/ 2147483647 h 17"/>
                <a:gd name="T34" fmla="*/ 2147483647 w 11"/>
                <a:gd name="T35" fmla="*/ 2147483647 h 17"/>
                <a:gd name="T36" fmla="*/ 2147483647 w 11"/>
                <a:gd name="T37" fmla="*/ 2147483647 h 17"/>
                <a:gd name="T38" fmla="*/ 2147483647 w 11"/>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
                <a:gd name="T61" fmla="*/ 0 h 17"/>
                <a:gd name="T62" fmla="*/ 11 w 11"/>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 h="17">
                  <a:moveTo>
                    <a:pt x="10" y="6"/>
                  </a:moveTo>
                  <a:lnTo>
                    <a:pt x="10" y="6"/>
                  </a:lnTo>
                  <a:lnTo>
                    <a:pt x="11" y="11"/>
                  </a:lnTo>
                  <a:lnTo>
                    <a:pt x="11" y="13"/>
                  </a:lnTo>
                  <a:lnTo>
                    <a:pt x="10" y="15"/>
                  </a:lnTo>
                  <a:lnTo>
                    <a:pt x="8" y="17"/>
                  </a:lnTo>
                  <a:lnTo>
                    <a:pt x="4" y="17"/>
                  </a:lnTo>
                  <a:lnTo>
                    <a:pt x="1" y="14"/>
                  </a:lnTo>
                  <a:lnTo>
                    <a:pt x="0" y="12"/>
                  </a:lnTo>
                  <a:lnTo>
                    <a:pt x="0" y="6"/>
                  </a:lnTo>
                  <a:lnTo>
                    <a:pt x="0" y="2"/>
                  </a:lnTo>
                  <a:lnTo>
                    <a:pt x="2" y="0"/>
                  </a:lnTo>
                  <a:lnTo>
                    <a:pt x="5" y="0"/>
                  </a:lnTo>
                  <a:lnTo>
                    <a:pt x="8" y="1"/>
                  </a:lnTo>
                  <a:lnTo>
                    <a:pt x="9" y="4"/>
                  </a:lnTo>
                  <a:lnTo>
                    <a:pt x="10"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39" name="Freeform 338"/>
            <p:cNvSpPr>
              <a:spLocks/>
            </p:cNvSpPr>
            <p:nvPr/>
          </p:nvSpPr>
          <p:spPr bwMode="auto">
            <a:xfrm>
              <a:off x="8075616" y="5689603"/>
              <a:ext cx="26987" cy="28575"/>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0 w 18"/>
                <a:gd name="T19" fmla="*/ 2147483647 h 18"/>
                <a:gd name="T20" fmla="*/ 0 w 18"/>
                <a:gd name="T21" fmla="*/ 2147483647 h 18"/>
                <a:gd name="T22" fmla="*/ 2147483647 w 18"/>
                <a:gd name="T23" fmla="*/ 2147483647 h 18"/>
                <a:gd name="T24" fmla="*/ 2147483647 w 18"/>
                <a:gd name="T25" fmla="*/ 0 h 18"/>
                <a:gd name="T26" fmla="*/ 2147483647 w 18"/>
                <a:gd name="T27" fmla="*/ 0 h 18"/>
                <a:gd name="T28" fmla="*/ 2147483647 w 18"/>
                <a:gd name="T29" fmla="*/ 2147483647 h 18"/>
                <a:gd name="T30" fmla="*/ 2147483647 w 18"/>
                <a:gd name="T31" fmla="*/ 2147483647 h 18"/>
                <a:gd name="T32" fmla="*/ 2147483647 w 18"/>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8"/>
                <a:gd name="T53" fmla="*/ 18 w 18"/>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8">
                  <a:moveTo>
                    <a:pt x="13" y="9"/>
                  </a:moveTo>
                  <a:lnTo>
                    <a:pt x="17" y="13"/>
                  </a:lnTo>
                  <a:lnTo>
                    <a:pt x="18" y="14"/>
                  </a:lnTo>
                  <a:lnTo>
                    <a:pt x="17" y="17"/>
                  </a:lnTo>
                  <a:lnTo>
                    <a:pt x="13" y="18"/>
                  </a:lnTo>
                  <a:lnTo>
                    <a:pt x="9" y="17"/>
                  </a:lnTo>
                  <a:lnTo>
                    <a:pt x="6" y="15"/>
                  </a:lnTo>
                  <a:lnTo>
                    <a:pt x="3" y="13"/>
                  </a:lnTo>
                  <a:lnTo>
                    <a:pt x="1" y="11"/>
                  </a:lnTo>
                  <a:lnTo>
                    <a:pt x="0" y="7"/>
                  </a:lnTo>
                  <a:lnTo>
                    <a:pt x="0" y="5"/>
                  </a:lnTo>
                  <a:lnTo>
                    <a:pt x="1" y="2"/>
                  </a:lnTo>
                  <a:lnTo>
                    <a:pt x="3" y="0"/>
                  </a:lnTo>
                  <a:lnTo>
                    <a:pt x="4" y="0"/>
                  </a:lnTo>
                  <a:lnTo>
                    <a:pt x="6" y="2"/>
                  </a:lnTo>
                  <a:lnTo>
                    <a:pt x="10" y="7"/>
                  </a:lnTo>
                  <a:lnTo>
                    <a:pt x="13"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0" name="Freeform 339"/>
            <p:cNvSpPr>
              <a:spLocks/>
            </p:cNvSpPr>
            <p:nvPr/>
          </p:nvSpPr>
          <p:spPr bwMode="auto">
            <a:xfrm>
              <a:off x="7786689" y="5541963"/>
              <a:ext cx="42862" cy="17462"/>
            </a:xfrm>
            <a:custGeom>
              <a:avLst/>
              <a:gdLst>
                <a:gd name="T0" fmla="*/ 2147483647 w 29"/>
                <a:gd name="T1" fmla="*/ 0 h 11"/>
                <a:gd name="T2" fmla="*/ 2147483647 w 29"/>
                <a:gd name="T3" fmla="*/ 0 h 11"/>
                <a:gd name="T4" fmla="*/ 2147483647 w 29"/>
                <a:gd name="T5" fmla="*/ 2147483647 h 11"/>
                <a:gd name="T6" fmla="*/ 2147483647 w 29"/>
                <a:gd name="T7" fmla="*/ 2147483647 h 11"/>
                <a:gd name="T8" fmla="*/ 2147483647 w 29"/>
                <a:gd name="T9" fmla="*/ 2147483647 h 11"/>
                <a:gd name="T10" fmla="*/ 2147483647 w 29"/>
                <a:gd name="T11" fmla="*/ 2147483647 h 11"/>
                <a:gd name="T12" fmla="*/ 2147483647 w 29"/>
                <a:gd name="T13" fmla="*/ 2147483647 h 11"/>
                <a:gd name="T14" fmla="*/ 2147483647 w 29"/>
                <a:gd name="T15" fmla="*/ 2147483647 h 11"/>
                <a:gd name="T16" fmla="*/ 2147483647 w 29"/>
                <a:gd name="T17" fmla="*/ 2147483647 h 11"/>
                <a:gd name="T18" fmla="*/ 2147483647 w 29"/>
                <a:gd name="T19" fmla="*/ 2147483647 h 11"/>
                <a:gd name="T20" fmla="*/ 2147483647 w 29"/>
                <a:gd name="T21" fmla="*/ 2147483647 h 11"/>
                <a:gd name="T22" fmla="*/ 2147483647 w 29"/>
                <a:gd name="T23" fmla="*/ 2147483647 h 11"/>
                <a:gd name="T24" fmla="*/ 0 w 29"/>
                <a:gd name="T25" fmla="*/ 2147483647 h 11"/>
                <a:gd name="T26" fmla="*/ 2147483647 w 29"/>
                <a:gd name="T27" fmla="*/ 2147483647 h 11"/>
                <a:gd name="T28" fmla="*/ 2147483647 w 29"/>
                <a:gd name="T29" fmla="*/ 2147483647 h 11"/>
                <a:gd name="T30" fmla="*/ 2147483647 w 29"/>
                <a:gd name="T31" fmla="*/ 0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11"/>
                <a:gd name="T50" fmla="*/ 29 w 29"/>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11">
                  <a:moveTo>
                    <a:pt x="16" y="0"/>
                  </a:moveTo>
                  <a:lnTo>
                    <a:pt x="26" y="0"/>
                  </a:lnTo>
                  <a:lnTo>
                    <a:pt x="28" y="2"/>
                  </a:lnTo>
                  <a:lnTo>
                    <a:pt x="29" y="3"/>
                  </a:lnTo>
                  <a:lnTo>
                    <a:pt x="29" y="4"/>
                  </a:lnTo>
                  <a:lnTo>
                    <a:pt x="28" y="6"/>
                  </a:lnTo>
                  <a:lnTo>
                    <a:pt x="27" y="9"/>
                  </a:lnTo>
                  <a:lnTo>
                    <a:pt x="23" y="10"/>
                  </a:lnTo>
                  <a:lnTo>
                    <a:pt x="16" y="11"/>
                  </a:lnTo>
                  <a:lnTo>
                    <a:pt x="8" y="9"/>
                  </a:lnTo>
                  <a:lnTo>
                    <a:pt x="4" y="8"/>
                  </a:lnTo>
                  <a:lnTo>
                    <a:pt x="2" y="5"/>
                  </a:lnTo>
                  <a:lnTo>
                    <a:pt x="0" y="4"/>
                  </a:lnTo>
                  <a:lnTo>
                    <a:pt x="2" y="3"/>
                  </a:lnTo>
                  <a:lnTo>
                    <a:pt x="5" y="2"/>
                  </a:lnTo>
                  <a:lnTo>
                    <a:pt x="1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1" name="Freeform 340"/>
            <p:cNvSpPr>
              <a:spLocks/>
            </p:cNvSpPr>
            <p:nvPr/>
          </p:nvSpPr>
          <p:spPr bwMode="auto">
            <a:xfrm>
              <a:off x="8074025" y="5688014"/>
              <a:ext cx="26988" cy="28575"/>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0 w 18"/>
                <a:gd name="T23" fmla="*/ 2147483647 h 18"/>
                <a:gd name="T24" fmla="*/ 0 w 18"/>
                <a:gd name="T25" fmla="*/ 2147483647 h 18"/>
                <a:gd name="T26" fmla="*/ 2147483647 w 18"/>
                <a:gd name="T27" fmla="*/ 2147483647 h 18"/>
                <a:gd name="T28" fmla="*/ 2147483647 w 18"/>
                <a:gd name="T29" fmla="*/ 2147483647 h 18"/>
                <a:gd name="T30" fmla="*/ 2147483647 w 18"/>
                <a:gd name="T31" fmla="*/ 0 h 18"/>
                <a:gd name="T32" fmla="*/ 2147483647 w 18"/>
                <a:gd name="T33" fmla="*/ 0 h 18"/>
                <a:gd name="T34" fmla="*/ 2147483647 w 18"/>
                <a:gd name="T35" fmla="*/ 2147483647 h 18"/>
                <a:gd name="T36" fmla="*/ 2147483647 w 18"/>
                <a:gd name="T37" fmla="*/ 2147483647 h 18"/>
                <a:gd name="T38" fmla="*/ 2147483647 w 18"/>
                <a:gd name="T39" fmla="*/ 2147483647 h 18"/>
                <a:gd name="T40" fmla="*/ 2147483647 w 18"/>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8"/>
                <a:gd name="T65" fmla="*/ 18 w 18"/>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8">
                  <a:moveTo>
                    <a:pt x="13" y="9"/>
                  </a:moveTo>
                  <a:lnTo>
                    <a:pt x="13" y="9"/>
                  </a:lnTo>
                  <a:lnTo>
                    <a:pt x="16" y="13"/>
                  </a:lnTo>
                  <a:lnTo>
                    <a:pt x="18" y="14"/>
                  </a:lnTo>
                  <a:lnTo>
                    <a:pt x="16" y="16"/>
                  </a:lnTo>
                  <a:lnTo>
                    <a:pt x="13" y="18"/>
                  </a:lnTo>
                  <a:lnTo>
                    <a:pt x="9" y="16"/>
                  </a:lnTo>
                  <a:lnTo>
                    <a:pt x="6" y="15"/>
                  </a:lnTo>
                  <a:lnTo>
                    <a:pt x="2" y="13"/>
                  </a:lnTo>
                  <a:lnTo>
                    <a:pt x="1" y="10"/>
                  </a:lnTo>
                  <a:lnTo>
                    <a:pt x="0" y="7"/>
                  </a:lnTo>
                  <a:lnTo>
                    <a:pt x="0" y="5"/>
                  </a:lnTo>
                  <a:lnTo>
                    <a:pt x="1" y="2"/>
                  </a:lnTo>
                  <a:lnTo>
                    <a:pt x="2" y="0"/>
                  </a:lnTo>
                  <a:lnTo>
                    <a:pt x="4" y="0"/>
                  </a:lnTo>
                  <a:lnTo>
                    <a:pt x="6" y="2"/>
                  </a:lnTo>
                  <a:lnTo>
                    <a:pt x="10" y="7"/>
                  </a:lnTo>
                  <a:lnTo>
                    <a:pt x="13"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2" name="Freeform 341"/>
            <p:cNvSpPr>
              <a:spLocks/>
            </p:cNvSpPr>
            <p:nvPr/>
          </p:nvSpPr>
          <p:spPr bwMode="auto">
            <a:xfrm>
              <a:off x="7785103" y="5540379"/>
              <a:ext cx="42863" cy="17463"/>
            </a:xfrm>
            <a:custGeom>
              <a:avLst/>
              <a:gdLst>
                <a:gd name="T0" fmla="*/ 2147483647 w 29"/>
                <a:gd name="T1" fmla="*/ 0 h 11"/>
                <a:gd name="T2" fmla="*/ 2147483647 w 29"/>
                <a:gd name="T3" fmla="*/ 0 h 11"/>
                <a:gd name="T4" fmla="*/ 2147483647 w 29"/>
                <a:gd name="T5" fmla="*/ 0 h 11"/>
                <a:gd name="T6" fmla="*/ 2147483647 w 29"/>
                <a:gd name="T7" fmla="*/ 2147483647 h 11"/>
                <a:gd name="T8" fmla="*/ 2147483647 w 29"/>
                <a:gd name="T9" fmla="*/ 2147483647 h 11"/>
                <a:gd name="T10" fmla="*/ 2147483647 w 29"/>
                <a:gd name="T11" fmla="*/ 2147483647 h 11"/>
                <a:gd name="T12" fmla="*/ 2147483647 w 29"/>
                <a:gd name="T13" fmla="*/ 2147483647 h 11"/>
                <a:gd name="T14" fmla="*/ 2147483647 w 29"/>
                <a:gd name="T15" fmla="*/ 2147483647 h 11"/>
                <a:gd name="T16" fmla="*/ 2147483647 w 29"/>
                <a:gd name="T17" fmla="*/ 2147483647 h 11"/>
                <a:gd name="T18" fmla="*/ 2147483647 w 29"/>
                <a:gd name="T19" fmla="*/ 2147483647 h 11"/>
                <a:gd name="T20" fmla="*/ 2147483647 w 29"/>
                <a:gd name="T21" fmla="*/ 2147483647 h 11"/>
                <a:gd name="T22" fmla="*/ 2147483647 w 29"/>
                <a:gd name="T23" fmla="*/ 2147483647 h 11"/>
                <a:gd name="T24" fmla="*/ 2147483647 w 29"/>
                <a:gd name="T25" fmla="*/ 2147483647 h 11"/>
                <a:gd name="T26" fmla="*/ 2147483647 w 29"/>
                <a:gd name="T27" fmla="*/ 2147483647 h 11"/>
                <a:gd name="T28" fmla="*/ 2147483647 w 29"/>
                <a:gd name="T29" fmla="*/ 2147483647 h 11"/>
                <a:gd name="T30" fmla="*/ 0 w 29"/>
                <a:gd name="T31" fmla="*/ 2147483647 h 11"/>
                <a:gd name="T32" fmla="*/ 2147483647 w 29"/>
                <a:gd name="T33" fmla="*/ 2147483647 h 11"/>
                <a:gd name="T34" fmla="*/ 2147483647 w 29"/>
                <a:gd name="T35" fmla="*/ 2147483647 h 11"/>
                <a:gd name="T36" fmla="*/ 2147483647 w 29"/>
                <a:gd name="T37" fmla="*/ 0 h 11"/>
                <a:gd name="T38" fmla="*/ 2147483647 w 29"/>
                <a:gd name="T39" fmla="*/ 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
                <a:gd name="T61" fmla="*/ 0 h 11"/>
                <a:gd name="T62" fmla="*/ 29 w 2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 h="11">
                  <a:moveTo>
                    <a:pt x="15" y="0"/>
                  </a:moveTo>
                  <a:lnTo>
                    <a:pt x="15" y="0"/>
                  </a:lnTo>
                  <a:lnTo>
                    <a:pt x="25" y="0"/>
                  </a:lnTo>
                  <a:lnTo>
                    <a:pt x="28" y="1"/>
                  </a:lnTo>
                  <a:lnTo>
                    <a:pt x="29" y="3"/>
                  </a:lnTo>
                  <a:lnTo>
                    <a:pt x="29" y="4"/>
                  </a:lnTo>
                  <a:lnTo>
                    <a:pt x="28" y="6"/>
                  </a:lnTo>
                  <a:lnTo>
                    <a:pt x="27" y="9"/>
                  </a:lnTo>
                  <a:lnTo>
                    <a:pt x="23" y="10"/>
                  </a:lnTo>
                  <a:lnTo>
                    <a:pt x="15" y="11"/>
                  </a:lnTo>
                  <a:lnTo>
                    <a:pt x="8" y="9"/>
                  </a:lnTo>
                  <a:lnTo>
                    <a:pt x="4" y="7"/>
                  </a:lnTo>
                  <a:lnTo>
                    <a:pt x="1" y="5"/>
                  </a:lnTo>
                  <a:lnTo>
                    <a:pt x="0" y="4"/>
                  </a:lnTo>
                  <a:lnTo>
                    <a:pt x="1" y="3"/>
                  </a:lnTo>
                  <a:lnTo>
                    <a:pt x="5" y="1"/>
                  </a:lnTo>
                  <a:lnTo>
                    <a:pt x="15"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3" name="Freeform 342"/>
            <p:cNvSpPr>
              <a:spLocks/>
            </p:cNvSpPr>
            <p:nvPr/>
          </p:nvSpPr>
          <p:spPr bwMode="auto">
            <a:xfrm>
              <a:off x="7188201" y="4740275"/>
              <a:ext cx="1031875" cy="927100"/>
            </a:xfrm>
            <a:custGeom>
              <a:avLst/>
              <a:gdLst>
                <a:gd name="T0" fmla="*/ 2147483647 w 705"/>
                <a:gd name="T1" fmla="*/ 2147483647 h 584"/>
                <a:gd name="T2" fmla="*/ 2147483647 w 705"/>
                <a:gd name="T3" fmla="*/ 2147483647 h 584"/>
                <a:gd name="T4" fmla="*/ 2147483647 w 705"/>
                <a:gd name="T5" fmla="*/ 2147483647 h 584"/>
                <a:gd name="T6" fmla="*/ 2147483647 w 705"/>
                <a:gd name="T7" fmla="*/ 2147483647 h 584"/>
                <a:gd name="T8" fmla="*/ 2147483647 w 705"/>
                <a:gd name="T9" fmla="*/ 2147483647 h 584"/>
                <a:gd name="T10" fmla="*/ 2147483647 w 705"/>
                <a:gd name="T11" fmla="*/ 2147483647 h 584"/>
                <a:gd name="T12" fmla="*/ 2147483647 w 705"/>
                <a:gd name="T13" fmla="*/ 2147483647 h 584"/>
                <a:gd name="T14" fmla="*/ 2147483647 w 705"/>
                <a:gd name="T15" fmla="*/ 2147483647 h 584"/>
                <a:gd name="T16" fmla="*/ 2147483647 w 705"/>
                <a:gd name="T17" fmla="*/ 2147483647 h 584"/>
                <a:gd name="T18" fmla="*/ 2147483647 w 705"/>
                <a:gd name="T19" fmla="*/ 2147483647 h 584"/>
                <a:gd name="T20" fmla="*/ 2147483647 w 705"/>
                <a:gd name="T21" fmla="*/ 2147483647 h 584"/>
                <a:gd name="T22" fmla="*/ 2147483647 w 705"/>
                <a:gd name="T23" fmla="*/ 2147483647 h 584"/>
                <a:gd name="T24" fmla="*/ 2147483647 w 705"/>
                <a:gd name="T25" fmla="*/ 2147483647 h 584"/>
                <a:gd name="T26" fmla="*/ 2147483647 w 705"/>
                <a:gd name="T27" fmla="*/ 2147483647 h 584"/>
                <a:gd name="T28" fmla="*/ 2147483647 w 705"/>
                <a:gd name="T29" fmla="*/ 2147483647 h 584"/>
                <a:gd name="T30" fmla="*/ 2147483647 w 705"/>
                <a:gd name="T31" fmla="*/ 2147483647 h 584"/>
                <a:gd name="T32" fmla="*/ 2147483647 w 705"/>
                <a:gd name="T33" fmla="*/ 2147483647 h 584"/>
                <a:gd name="T34" fmla="*/ 2147483647 w 705"/>
                <a:gd name="T35" fmla="*/ 2147483647 h 584"/>
                <a:gd name="T36" fmla="*/ 2147483647 w 705"/>
                <a:gd name="T37" fmla="*/ 2147483647 h 584"/>
                <a:gd name="T38" fmla="*/ 2147483647 w 705"/>
                <a:gd name="T39" fmla="*/ 2147483647 h 584"/>
                <a:gd name="T40" fmla="*/ 2147483647 w 705"/>
                <a:gd name="T41" fmla="*/ 2147483647 h 584"/>
                <a:gd name="T42" fmla="*/ 2147483647 w 705"/>
                <a:gd name="T43" fmla="*/ 2147483647 h 584"/>
                <a:gd name="T44" fmla="*/ 2147483647 w 705"/>
                <a:gd name="T45" fmla="*/ 2147483647 h 584"/>
                <a:gd name="T46" fmla="*/ 2147483647 w 705"/>
                <a:gd name="T47" fmla="*/ 2147483647 h 584"/>
                <a:gd name="T48" fmla="*/ 2147483647 w 705"/>
                <a:gd name="T49" fmla="*/ 2147483647 h 584"/>
                <a:gd name="T50" fmla="*/ 2147483647 w 705"/>
                <a:gd name="T51" fmla="*/ 2147483647 h 584"/>
                <a:gd name="T52" fmla="*/ 2147483647 w 705"/>
                <a:gd name="T53" fmla="*/ 2147483647 h 584"/>
                <a:gd name="T54" fmla="*/ 2147483647 w 705"/>
                <a:gd name="T55" fmla="*/ 2147483647 h 584"/>
                <a:gd name="T56" fmla="*/ 2147483647 w 705"/>
                <a:gd name="T57" fmla="*/ 2147483647 h 584"/>
                <a:gd name="T58" fmla="*/ 2147483647 w 705"/>
                <a:gd name="T59" fmla="*/ 2147483647 h 584"/>
                <a:gd name="T60" fmla="*/ 2147483647 w 705"/>
                <a:gd name="T61" fmla="*/ 2147483647 h 584"/>
                <a:gd name="T62" fmla="*/ 2147483647 w 705"/>
                <a:gd name="T63" fmla="*/ 2147483647 h 584"/>
                <a:gd name="T64" fmla="*/ 2147483647 w 705"/>
                <a:gd name="T65" fmla="*/ 2147483647 h 584"/>
                <a:gd name="T66" fmla="*/ 2147483647 w 705"/>
                <a:gd name="T67" fmla="*/ 2147483647 h 584"/>
                <a:gd name="T68" fmla="*/ 2147483647 w 705"/>
                <a:gd name="T69" fmla="*/ 2147483647 h 584"/>
                <a:gd name="T70" fmla="*/ 2147483647 w 705"/>
                <a:gd name="T71" fmla="*/ 2147483647 h 584"/>
                <a:gd name="T72" fmla="*/ 2147483647 w 705"/>
                <a:gd name="T73" fmla="*/ 2147483647 h 584"/>
                <a:gd name="T74" fmla="*/ 2147483647 w 705"/>
                <a:gd name="T75" fmla="*/ 2147483647 h 584"/>
                <a:gd name="T76" fmla="*/ 2147483647 w 705"/>
                <a:gd name="T77" fmla="*/ 2147483647 h 584"/>
                <a:gd name="T78" fmla="*/ 2147483647 w 705"/>
                <a:gd name="T79" fmla="*/ 2147483647 h 584"/>
                <a:gd name="T80" fmla="*/ 2147483647 w 705"/>
                <a:gd name="T81" fmla="*/ 2147483647 h 584"/>
                <a:gd name="T82" fmla="*/ 2147483647 w 705"/>
                <a:gd name="T83" fmla="*/ 2147483647 h 584"/>
                <a:gd name="T84" fmla="*/ 2147483647 w 705"/>
                <a:gd name="T85" fmla="*/ 2147483647 h 584"/>
                <a:gd name="T86" fmla="*/ 2147483647 w 705"/>
                <a:gd name="T87" fmla="*/ 2147483647 h 584"/>
                <a:gd name="T88" fmla="*/ 2147483647 w 705"/>
                <a:gd name="T89" fmla="*/ 2147483647 h 584"/>
                <a:gd name="T90" fmla="*/ 2147483647 w 705"/>
                <a:gd name="T91" fmla="*/ 2147483647 h 584"/>
                <a:gd name="T92" fmla="*/ 2147483647 w 705"/>
                <a:gd name="T93" fmla="*/ 2147483647 h 584"/>
                <a:gd name="T94" fmla="*/ 2147483647 w 705"/>
                <a:gd name="T95" fmla="*/ 2147483647 h 584"/>
                <a:gd name="T96" fmla="*/ 2147483647 w 705"/>
                <a:gd name="T97" fmla="*/ 2147483647 h 584"/>
                <a:gd name="T98" fmla="*/ 2147483647 w 705"/>
                <a:gd name="T99" fmla="*/ 2147483647 h 584"/>
                <a:gd name="T100" fmla="*/ 2147483647 w 705"/>
                <a:gd name="T101" fmla="*/ 2147483647 h 584"/>
                <a:gd name="T102" fmla="*/ 2147483647 w 705"/>
                <a:gd name="T103" fmla="*/ 2147483647 h 584"/>
                <a:gd name="T104" fmla="*/ 2147483647 w 705"/>
                <a:gd name="T105" fmla="*/ 2147483647 h 584"/>
                <a:gd name="T106" fmla="*/ 2147483647 w 705"/>
                <a:gd name="T107" fmla="*/ 2147483647 h 584"/>
                <a:gd name="T108" fmla="*/ 2147483647 w 705"/>
                <a:gd name="T109" fmla="*/ 2147483647 h 584"/>
                <a:gd name="T110" fmla="*/ 2147483647 w 705"/>
                <a:gd name="T111" fmla="*/ 2147483647 h 584"/>
                <a:gd name="T112" fmla="*/ 2147483647 w 705"/>
                <a:gd name="T113" fmla="*/ 2147483647 h 584"/>
                <a:gd name="T114" fmla="*/ 2147483647 w 705"/>
                <a:gd name="T115" fmla="*/ 2147483647 h 584"/>
                <a:gd name="T116" fmla="*/ 2147483647 w 705"/>
                <a:gd name="T117" fmla="*/ 2147483647 h 584"/>
                <a:gd name="T118" fmla="*/ 2147483647 w 705"/>
                <a:gd name="T119" fmla="*/ 214748364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5"/>
                <a:gd name="T181" fmla="*/ 0 h 584"/>
                <a:gd name="T182" fmla="*/ 705 w 705"/>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5" h="584">
                  <a:moveTo>
                    <a:pt x="216" y="440"/>
                  </a:moveTo>
                  <a:lnTo>
                    <a:pt x="212" y="444"/>
                  </a:lnTo>
                  <a:lnTo>
                    <a:pt x="209" y="447"/>
                  </a:lnTo>
                  <a:lnTo>
                    <a:pt x="204" y="449"/>
                  </a:lnTo>
                  <a:lnTo>
                    <a:pt x="197" y="449"/>
                  </a:lnTo>
                  <a:lnTo>
                    <a:pt x="193" y="450"/>
                  </a:lnTo>
                  <a:lnTo>
                    <a:pt x="191" y="451"/>
                  </a:lnTo>
                  <a:lnTo>
                    <a:pt x="188" y="452"/>
                  </a:lnTo>
                  <a:lnTo>
                    <a:pt x="187" y="454"/>
                  </a:lnTo>
                  <a:lnTo>
                    <a:pt x="186" y="460"/>
                  </a:lnTo>
                  <a:lnTo>
                    <a:pt x="183" y="466"/>
                  </a:lnTo>
                  <a:lnTo>
                    <a:pt x="181" y="469"/>
                  </a:lnTo>
                  <a:lnTo>
                    <a:pt x="176" y="470"/>
                  </a:lnTo>
                  <a:lnTo>
                    <a:pt x="165" y="472"/>
                  </a:lnTo>
                  <a:lnTo>
                    <a:pt x="163" y="472"/>
                  </a:lnTo>
                  <a:lnTo>
                    <a:pt x="160" y="471"/>
                  </a:lnTo>
                  <a:lnTo>
                    <a:pt x="157" y="469"/>
                  </a:lnTo>
                  <a:lnTo>
                    <a:pt x="152" y="469"/>
                  </a:lnTo>
                  <a:lnTo>
                    <a:pt x="148" y="471"/>
                  </a:lnTo>
                  <a:lnTo>
                    <a:pt x="143" y="472"/>
                  </a:lnTo>
                  <a:lnTo>
                    <a:pt x="139" y="472"/>
                  </a:lnTo>
                  <a:lnTo>
                    <a:pt x="132" y="471"/>
                  </a:lnTo>
                  <a:lnTo>
                    <a:pt x="125" y="471"/>
                  </a:lnTo>
                  <a:lnTo>
                    <a:pt x="117" y="473"/>
                  </a:lnTo>
                  <a:lnTo>
                    <a:pt x="111" y="476"/>
                  </a:lnTo>
                  <a:lnTo>
                    <a:pt x="110" y="478"/>
                  </a:lnTo>
                  <a:lnTo>
                    <a:pt x="108" y="482"/>
                  </a:lnTo>
                  <a:lnTo>
                    <a:pt x="108" y="484"/>
                  </a:lnTo>
                  <a:lnTo>
                    <a:pt x="106" y="485"/>
                  </a:lnTo>
                  <a:lnTo>
                    <a:pt x="103" y="487"/>
                  </a:lnTo>
                  <a:lnTo>
                    <a:pt x="101" y="487"/>
                  </a:lnTo>
                  <a:lnTo>
                    <a:pt x="98" y="490"/>
                  </a:lnTo>
                  <a:lnTo>
                    <a:pt x="94" y="492"/>
                  </a:lnTo>
                  <a:lnTo>
                    <a:pt x="91" y="494"/>
                  </a:lnTo>
                  <a:lnTo>
                    <a:pt x="87" y="494"/>
                  </a:lnTo>
                  <a:lnTo>
                    <a:pt x="78" y="492"/>
                  </a:lnTo>
                  <a:lnTo>
                    <a:pt x="70" y="490"/>
                  </a:lnTo>
                  <a:lnTo>
                    <a:pt x="66" y="490"/>
                  </a:lnTo>
                  <a:lnTo>
                    <a:pt x="64" y="491"/>
                  </a:lnTo>
                  <a:lnTo>
                    <a:pt x="60" y="491"/>
                  </a:lnTo>
                  <a:lnTo>
                    <a:pt x="56" y="491"/>
                  </a:lnTo>
                  <a:lnTo>
                    <a:pt x="51" y="490"/>
                  </a:lnTo>
                  <a:lnTo>
                    <a:pt x="47" y="488"/>
                  </a:lnTo>
                  <a:lnTo>
                    <a:pt x="41" y="481"/>
                  </a:lnTo>
                  <a:lnTo>
                    <a:pt x="40" y="481"/>
                  </a:lnTo>
                  <a:lnTo>
                    <a:pt x="37" y="479"/>
                  </a:lnTo>
                  <a:lnTo>
                    <a:pt x="36" y="479"/>
                  </a:lnTo>
                  <a:lnTo>
                    <a:pt x="35" y="479"/>
                  </a:lnTo>
                  <a:lnTo>
                    <a:pt x="35" y="477"/>
                  </a:lnTo>
                  <a:lnTo>
                    <a:pt x="35" y="476"/>
                  </a:lnTo>
                  <a:lnTo>
                    <a:pt x="37" y="473"/>
                  </a:lnTo>
                  <a:lnTo>
                    <a:pt x="37" y="470"/>
                  </a:lnTo>
                  <a:lnTo>
                    <a:pt x="37" y="468"/>
                  </a:lnTo>
                  <a:lnTo>
                    <a:pt x="37" y="464"/>
                  </a:lnTo>
                  <a:lnTo>
                    <a:pt x="37" y="462"/>
                  </a:lnTo>
                  <a:lnTo>
                    <a:pt x="40" y="460"/>
                  </a:lnTo>
                  <a:lnTo>
                    <a:pt x="41" y="462"/>
                  </a:lnTo>
                  <a:lnTo>
                    <a:pt x="44" y="462"/>
                  </a:lnTo>
                  <a:lnTo>
                    <a:pt x="46" y="462"/>
                  </a:lnTo>
                  <a:lnTo>
                    <a:pt x="47" y="462"/>
                  </a:lnTo>
                  <a:lnTo>
                    <a:pt x="49" y="459"/>
                  </a:lnTo>
                  <a:lnTo>
                    <a:pt x="47" y="452"/>
                  </a:lnTo>
                  <a:lnTo>
                    <a:pt x="49" y="445"/>
                  </a:lnTo>
                  <a:lnTo>
                    <a:pt x="47" y="438"/>
                  </a:lnTo>
                  <a:lnTo>
                    <a:pt x="46" y="433"/>
                  </a:lnTo>
                  <a:lnTo>
                    <a:pt x="45" y="430"/>
                  </a:lnTo>
                  <a:lnTo>
                    <a:pt x="44" y="427"/>
                  </a:lnTo>
                  <a:lnTo>
                    <a:pt x="45" y="425"/>
                  </a:lnTo>
                  <a:lnTo>
                    <a:pt x="46" y="421"/>
                  </a:lnTo>
                  <a:lnTo>
                    <a:pt x="46" y="419"/>
                  </a:lnTo>
                  <a:lnTo>
                    <a:pt x="44" y="414"/>
                  </a:lnTo>
                  <a:lnTo>
                    <a:pt x="40" y="411"/>
                  </a:lnTo>
                  <a:lnTo>
                    <a:pt x="37" y="406"/>
                  </a:lnTo>
                  <a:lnTo>
                    <a:pt x="36" y="400"/>
                  </a:lnTo>
                  <a:lnTo>
                    <a:pt x="35" y="390"/>
                  </a:lnTo>
                  <a:lnTo>
                    <a:pt x="36" y="381"/>
                  </a:lnTo>
                  <a:lnTo>
                    <a:pt x="36" y="377"/>
                  </a:lnTo>
                  <a:lnTo>
                    <a:pt x="33" y="374"/>
                  </a:lnTo>
                  <a:lnTo>
                    <a:pt x="31" y="370"/>
                  </a:lnTo>
                  <a:lnTo>
                    <a:pt x="30" y="367"/>
                  </a:lnTo>
                  <a:lnTo>
                    <a:pt x="30" y="364"/>
                  </a:lnTo>
                  <a:lnTo>
                    <a:pt x="30" y="362"/>
                  </a:lnTo>
                  <a:lnTo>
                    <a:pt x="30" y="360"/>
                  </a:lnTo>
                  <a:lnTo>
                    <a:pt x="30" y="357"/>
                  </a:lnTo>
                  <a:lnTo>
                    <a:pt x="27" y="355"/>
                  </a:lnTo>
                  <a:lnTo>
                    <a:pt x="25" y="353"/>
                  </a:lnTo>
                  <a:lnTo>
                    <a:pt x="25" y="350"/>
                  </a:lnTo>
                  <a:lnTo>
                    <a:pt x="22" y="345"/>
                  </a:lnTo>
                  <a:lnTo>
                    <a:pt x="19" y="342"/>
                  </a:lnTo>
                  <a:lnTo>
                    <a:pt x="17" y="332"/>
                  </a:lnTo>
                  <a:lnTo>
                    <a:pt x="13" y="324"/>
                  </a:lnTo>
                  <a:lnTo>
                    <a:pt x="7" y="317"/>
                  </a:lnTo>
                  <a:lnTo>
                    <a:pt x="2" y="310"/>
                  </a:lnTo>
                  <a:lnTo>
                    <a:pt x="0" y="309"/>
                  </a:lnTo>
                  <a:lnTo>
                    <a:pt x="0" y="307"/>
                  </a:lnTo>
                  <a:lnTo>
                    <a:pt x="2" y="307"/>
                  </a:lnTo>
                  <a:lnTo>
                    <a:pt x="4" y="309"/>
                  </a:lnTo>
                  <a:lnTo>
                    <a:pt x="5" y="310"/>
                  </a:lnTo>
                  <a:lnTo>
                    <a:pt x="9" y="315"/>
                  </a:lnTo>
                  <a:lnTo>
                    <a:pt x="12" y="316"/>
                  </a:lnTo>
                  <a:lnTo>
                    <a:pt x="13" y="315"/>
                  </a:lnTo>
                  <a:lnTo>
                    <a:pt x="14" y="312"/>
                  </a:lnTo>
                  <a:lnTo>
                    <a:pt x="13" y="310"/>
                  </a:lnTo>
                  <a:lnTo>
                    <a:pt x="11" y="305"/>
                  </a:lnTo>
                  <a:lnTo>
                    <a:pt x="11" y="304"/>
                  </a:lnTo>
                  <a:lnTo>
                    <a:pt x="14" y="306"/>
                  </a:lnTo>
                  <a:lnTo>
                    <a:pt x="17" y="310"/>
                  </a:lnTo>
                  <a:lnTo>
                    <a:pt x="19" y="312"/>
                  </a:lnTo>
                  <a:lnTo>
                    <a:pt x="21" y="311"/>
                  </a:lnTo>
                  <a:lnTo>
                    <a:pt x="23" y="310"/>
                  </a:lnTo>
                  <a:lnTo>
                    <a:pt x="23" y="307"/>
                  </a:lnTo>
                  <a:lnTo>
                    <a:pt x="23" y="302"/>
                  </a:lnTo>
                  <a:lnTo>
                    <a:pt x="19" y="291"/>
                  </a:lnTo>
                  <a:lnTo>
                    <a:pt x="17" y="290"/>
                  </a:lnTo>
                  <a:lnTo>
                    <a:pt x="12" y="279"/>
                  </a:lnTo>
                  <a:lnTo>
                    <a:pt x="12" y="278"/>
                  </a:lnTo>
                  <a:lnTo>
                    <a:pt x="12" y="277"/>
                  </a:lnTo>
                  <a:lnTo>
                    <a:pt x="13" y="275"/>
                  </a:lnTo>
                  <a:lnTo>
                    <a:pt x="13" y="274"/>
                  </a:lnTo>
                  <a:lnTo>
                    <a:pt x="11" y="272"/>
                  </a:lnTo>
                  <a:lnTo>
                    <a:pt x="11" y="268"/>
                  </a:lnTo>
                  <a:lnTo>
                    <a:pt x="11" y="265"/>
                  </a:lnTo>
                  <a:lnTo>
                    <a:pt x="13" y="258"/>
                  </a:lnTo>
                  <a:lnTo>
                    <a:pt x="16" y="252"/>
                  </a:lnTo>
                  <a:lnTo>
                    <a:pt x="17" y="248"/>
                  </a:lnTo>
                  <a:lnTo>
                    <a:pt x="13" y="241"/>
                  </a:lnTo>
                  <a:lnTo>
                    <a:pt x="12" y="234"/>
                  </a:lnTo>
                  <a:lnTo>
                    <a:pt x="13" y="227"/>
                  </a:lnTo>
                  <a:lnTo>
                    <a:pt x="16" y="223"/>
                  </a:lnTo>
                  <a:lnTo>
                    <a:pt x="18" y="220"/>
                  </a:lnTo>
                  <a:lnTo>
                    <a:pt x="19" y="220"/>
                  </a:lnTo>
                  <a:lnTo>
                    <a:pt x="21" y="221"/>
                  </a:lnTo>
                  <a:lnTo>
                    <a:pt x="22" y="223"/>
                  </a:lnTo>
                  <a:lnTo>
                    <a:pt x="23" y="224"/>
                  </a:lnTo>
                  <a:lnTo>
                    <a:pt x="25" y="226"/>
                  </a:lnTo>
                  <a:lnTo>
                    <a:pt x="27" y="226"/>
                  </a:lnTo>
                  <a:lnTo>
                    <a:pt x="30" y="224"/>
                  </a:lnTo>
                  <a:lnTo>
                    <a:pt x="31" y="222"/>
                  </a:lnTo>
                  <a:lnTo>
                    <a:pt x="33" y="217"/>
                  </a:lnTo>
                  <a:lnTo>
                    <a:pt x="40" y="211"/>
                  </a:lnTo>
                  <a:lnTo>
                    <a:pt x="47" y="207"/>
                  </a:lnTo>
                  <a:lnTo>
                    <a:pt x="61" y="197"/>
                  </a:lnTo>
                  <a:lnTo>
                    <a:pt x="64" y="195"/>
                  </a:lnTo>
                  <a:lnTo>
                    <a:pt x="68" y="194"/>
                  </a:lnTo>
                  <a:lnTo>
                    <a:pt x="75" y="195"/>
                  </a:lnTo>
                  <a:lnTo>
                    <a:pt x="79" y="195"/>
                  </a:lnTo>
                  <a:lnTo>
                    <a:pt x="83" y="192"/>
                  </a:lnTo>
                  <a:lnTo>
                    <a:pt x="92" y="188"/>
                  </a:lnTo>
                  <a:lnTo>
                    <a:pt x="101" y="184"/>
                  </a:lnTo>
                  <a:lnTo>
                    <a:pt x="111" y="183"/>
                  </a:lnTo>
                  <a:lnTo>
                    <a:pt x="121" y="183"/>
                  </a:lnTo>
                  <a:lnTo>
                    <a:pt x="124" y="182"/>
                  </a:lnTo>
                  <a:lnTo>
                    <a:pt x="126" y="181"/>
                  </a:lnTo>
                  <a:lnTo>
                    <a:pt x="131" y="176"/>
                  </a:lnTo>
                  <a:lnTo>
                    <a:pt x="136" y="175"/>
                  </a:lnTo>
                  <a:lnTo>
                    <a:pt x="141" y="174"/>
                  </a:lnTo>
                  <a:lnTo>
                    <a:pt x="143" y="172"/>
                  </a:lnTo>
                  <a:lnTo>
                    <a:pt x="144" y="171"/>
                  </a:lnTo>
                  <a:lnTo>
                    <a:pt x="145" y="164"/>
                  </a:lnTo>
                  <a:lnTo>
                    <a:pt x="148" y="158"/>
                  </a:lnTo>
                  <a:lnTo>
                    <a:pt x="149" y="156"/>
                  </a:lnTo>
                  <a:lnTo>
                    <a:pt x="152" y="153"/>
                  </a:lnTo>
                  <a:lnTo>
                    <a:pt x="155" y="152"/>
                  </a:lnTo>
                  <a:lnTo>
                    <a:pt x="159" y="152"/>
                  </a:lnTo>
                  <a:lnTo>
                    <a:pt x="160" y="151"/>
                  </a:lnTo>
                  <a:lnTo>
                    <a:pt x="162" y="150"/>
                  </a:lnTo>
                  <a:lnTo>
                    <a:pt x="163" y="147"/>
                  </a:lnTo>
                  <a:lnTo>
                    <a:pt x="163" y="138"/>
                  </a:lnTo>
                  <a:lnTo>
                    <a:pt x="164" y="126"/>
                  </a:lnTo>
                  <a:lnTo>
                    <a:pt x="165" y="118"/>
                  </a:lnTo>
                  <a:lnTo>
                    <a:pt x="167" y="114"/>
                  </a:lnTo>
                  <a:lnTo>
                    <a:pt x="169" y="113"/>
                  </a:lnTo>
                  <a:lnTo>
                    <a:pt x="172" y="114"/>
                  </a:lnTo>
                  <a:lnTo>
                    <a:pt x="174" y="115"/>
                  </a:lnTo>
                  <a:lnTo>
                    <a:pt x="176" y="117"/>
                  </a:lnTo>
                  <a:lnTo>
                    <a:pt x="177" y="119"/>
                  </a:lnTo>
                  <a:lnTo>
                    <a:pt x="178" y="125"/>
                  </a:lnTo>
                  <a:lnTo>
                    <a:pt x="179" y="130"/>
                  </a:lnTo>
                  <a:lnTo>
                    <a:pt x="182" y="132"/>
                  </a:lnTo>
                  <a:lnTo>
                    <a:pt x="183" y="132"/>
                  </a:lnTo>
                  <a:lnTo>
                    <a:pt x="185" y="131"/>
                  </a:lnTo>
                  <a:lnTo>
                    <a:pt x="183" y="125"/>
                  </a:lnTo>
                  <a:lnTo>
                    <a:pt x="183" y="119"/>
                  </a:lnTo>
                  <a:lnTo>
                    <a:pt x="183" y="117"/>
                  </a:lnTo>
                  <a:lnTo>
                    <a:pt x="183" y="114"/>
                  </a:lnTo>
                  <a:lnTo>
                    <a:pt x="185" y="112"/>
                  </a:lnTo>
                  <a:lnTo>
                    <a:pt x="188" y="111"/>
                  </a:lnTo>
                  <a:lnTo>
                    <a:pt x="190" y="111"/>
                  </a:lnTo>
                  <a:lnTo>
                    <a:pt x="192" y="112"/>
                  </a:lnTo>
                  <a:lnTo>
                    <a:pt x="193" y="112"/>
                  </a:lnTo>
                  <a:lnTo>
                    <a:pt x="195" y="113"/>
                  </a:lnTo>
                  <a:lnTo>
                    <a:pt x="198" y="111"/>
                  </a:lnTo>
                  <a:lnTo>
                    <a:pt x="200" y="107"/>
                  </a:lnTo>
                  <a:lnTo>
                    <a:pt x="201" y="102"/>
                  </a:lnTo>
                  <a:lnTo>
                    <a:pt x="201" y="99"/>
                  </a:lnTo>
                  <a:lnTo>
                    <a:pt x="198" y="98"/>
                  </a:lnTo>
                  <a:lnTo>
                    <a:pt x="196" y="96"/>
                  </a:lnTo>
                  <a:lnTo>
                    <a:pt x="195" y="95"/>
                  </a:lnTo>
                  <a:lnTo>
                    <a:pt x="196" y="94"/>
                  </a:lnTo>
                  <a:lnTo>
                    <a:pt x="197" y="93"/>
                  </a:lnTo>
                  <a:lnTo>
                    <a:pt x="201" y="92"/>
                  </a:lnTo>
                  <a:lnTo>
                    <a:pt x="206" y="92"/>
                  </a:lnTo>
                  <a:lnTo>
                    <a:pt x="210" y="91"/>
                  </a:lnTo>
                  <a:lnTo>
                    <a:pt x="211" y="89"/>
                  </a:lnTo>
                  <a:lnTo>
                    <a:pt x="212" y="87"/>
                  </a:lnTo>
                  <a:lnTo>
                    <a:pt x="212" y="83"/>
                  </a:lnTo>
                  <a:lnTo>
                    <a:pt x="212" y="79"/>
                  </a:lnTo>
                  <a:lnTo>
                    <a:pt x="212" y="75"/>
                  </a:lnTo>
                  <a:lnTo>
                    <a:pt x="215" y="74"/>
                  </a:lnTo>
                  <a:lnTo>
                    <a:pt x="218" y="73"/>
                  </a:lnTo>
                  <a:lnTo>
                    <a:pt x="219" y="74"/>
                  </a:lnTo>
                  <a:lnTo>
                    <a:pt x="220" y="75"/>
                  </a:lnTo>
                  <a:lnTo>
                    <a:pt x="221" y="77"/>
                  </a:lnTo>
                  <a:lnTo>
                    <a:pt x="223" y="77"/>
                  </a:lnTo>
                  <a:lnTo>
                    <a:pt x="225" y="76"/>
                  </a:lnTo>
                  <a:lnTo>
                    <a:pt x="226" y="74"/>
                  </a:lnTo>
                  <a:lnTo>
                    <a:pt x="228" y="69"/>
                  </a:lnTo>
                  <a:lnTo>
                    <a:pt x="228" y="64"/>
                  </a:lnTo>
                  <a:lnTo>
                    <a:pt x="226" y="59"/>
                  </a:lnTo>
                  <a:lnTo>
                    <a:pt x="228" y="59"/>
                  </a:lnTo>
                  <a:lnTo>
                    <a:pt x="229" y="59"/>
                  </a:lnTo>
                  <a:lnTo>
                    <a:pt x="230" y="60"/>
                  </a:lnTo>
                  <a:lnTo>
                    <a:pt x="230" y="62"/>
                  </a:lnTo>
                  <a:lnTo>
                    <a:pt x="232" y="63"/>
                  </a:lnTo>
                  <a:lnTo>
                    <a:pt x="233" y="64"/>
                  </a:lnTo>
                  <a:lnTo>
                    <a:pt x="234" y="64"/>
                  </a:lnTo>
                  <a:lnTo>
                    <a:pt x="237" y="63"/>
                  </a:lnTo>
                  <a:lnTo>
                    <a:pt x="238" y="63"/>
                  </a:lnTo>
                  <a:lnTo>
                    <a:pt x="239" y="63"/>
                  </a:lnTo>
                  <a:lnTo>
                    <a:pt x="245" y="66"/>
                  </a:lnTo>
                  <a:lnTo>
                    <a:pt x="252" y="66"/>
                  </a:lnTo>
                  <a:lnTo>
                    <a:pt x="252" y="67"/>
                  </a:lnTo>
                  <a:lnTo>
                    <a:pt x="253" y="67"/>
                  </a:lnTo>
                  <a:lnTo>
                    <a:pt x="253" y="72"/>
                  </a:lnTo>
                  <a:lnTo>
                    <a:pt x="256" y="75"/>
                  </a:lnTo>
                  <a:lnTo>
                    <a:pt x="258" y="79"/>
                  </a:lnTo>
                  <a:lnTo>
                    <a:pt x="261" y="82"/>
                  </a:lnTo>
                  <a:lnTo>
                    <a:pt x="261" y="85"/>
                  </a:lnTo>
                  <a:lnTo>
                    <a:pt x="261" y="87"/>
                  </a:lnTo>
                  <a:lnTo>
                    <a:pt x="257" y="92"/>
                  </a:lnTo>
                  <a:lnTo>
                    <a:pt x="256" y="94"/>
                  </a:lnTo>
                  <a:lnTo>
                    <a:pt x="256" y="96"/>
                  </a:lnTo>
                  <a:lnTo>
                    <a:pt x="257" y="98"/>
                  </a:lnTo>
                  <a:lnTo>
                    <a:pt x="258" y="98"/>
                  </a:lnTo>
                  <a:lnTo>
                    <a:pt x="263" y="93"/>
                  </a:lnTo>
                  <a:lnTo>
                    <a:pt x="267" y="88"/>
                  </a:lnTo>
                  <a:lnTo>
                    <a:pt x="270" y="83"/>
                  </a:lnTo>
                  <a:lnTo>
                    <a:pt x="273" y="79"/>
                  </a:lnTo>
                  <a:lnTo>
                    <a:pt x="275" y="77"/>
                  </a:lnTo>
                  <a:lnTo>
                    <a:pt x="277" y="77"/>
                  </a:lnTo>
                  <a:lnTo>
                    <a:pt x="280" y="79"/>
                  </a:lnTo>
                  <a:lnTo>
                    <a:pt x="285" y="80"/>
                  </a:lnTo>
                  <a:lnTo>
                    <a:pt x="289" y="81"/>
                  </a:lnTo>
                  <a:lnTo>
                    <a:pt x="289" y="79"/>
                  </a:lnTo>
                  <a:lnTo>
                    <a:pt x="289" y="77"/>
                  </a:lnTo>
                  <a:lnTo>
                    <a:pt x="286" y="74"/>
                  </a:lnTo>
                  <a:lnTo>
                    <a:pt x="285" y="70"/>
                  </a:lnTo>
                  <a:lnTo>
                    <a:pt x="286" y="67"/>
                  </a:lnTo>
                  <a:lnTo>
                    <a:pt x="286" y="64"/>
                  </a:lnTo>
                  <a:lnTo>
                    <a:pt x="290" y="59"/>
                  </a:lnTo>
                  <a:lnTo>
                    <a:pt x="296" y="54"/>
                  </a:lnTo>
                  <a:lnTo>
                    <a:pt x="299" y="51"/>
                  </a:lnTo>
                  <a:lnTo>
                    <a:pt x="299" y="48"/>
                  </a:lnTo>
                  <a:lnTo>
                    <a:pt x="298" y="43"/>
                  </a:lnTo>
                  <a:lnTo>
                    <a:pt x="298" y="40"/>
                  </a:lnTo>
                  <a:lnTo>
                    <a:pt x="300" y="38"/>
                  </a:lnTo>
                  <a:lnTo>
                    <a:pt x="305" y="35"/>
                  </a:lnTo>
                  <a:lnTo>
                    <a:pt x="310" y="31"/>
                  </a:lnTo>
                  <a:lnTo>
                    <a:pt x="317" y="29"/>
                  </a:lnTo>
                  <a:lnTo>
                    <a:pt x="322" y="28"/>
                  </a:lnTo>
                  <a:lnTo>
                    <a:pt x="328" y="28"/>
                  </a:lnTo>
                  <a:lnTo>
                    <a:pt x="332" y="28"/>
                  </a:lnTo>
                  <a:lnTo>
                    <a:pt x="336" y="25"/>
                  </a:lnTo>
                  <a:lnTo>
                    <a:pt x="338" y="22"/>
                  </a:lnTo>
                  <a:lnTo>
                    <a:pt x="338" y="18"/>
                  </a:lnTo>
                  <a:lnTo>
                    <a:pt x="336" y="16"/>
                  </a:lnTo>
                  <a:lnTo>
                    <a:pt x="333" y="13"/>
                  </a:lnTo>
                  <a:lnTo>
                    <a:pt x="333" y="11"/>
                  </a:lnTo>
                  <a:lnTo>
                    <a:pt x="336" y="10"/>
                  </a:lnTo>
                  <a:lnTo>
                    <a:pt x="338" y="10"/>
                  </a:lnTo>
                  <a:lnTo>
                    <a:pt x="341" y="11"/>
                  </a:lnTo>
                  <a:lnTo>
                    <a:pt x="348" y="16"/>
                  </a:lnTo>
                  <a:lnTo>
                    <a:pt x="356" y="18"/>
                  </a:lnTo>
                  <a:lnTo>
                    <a:pt x="372" y="22"/>
                  </a:lnTo>
                  <a:lnTo>
                    <a:pt x="398" y="27"/>
                  </a:lnTo>
                  <a:lnTo>
                    <a:pt x="399" y="29"/>
                  </a:lnTo>
                  <a:lnTo>
                    <a:pt x="400" y="29"/>
                  </a:lnTo>
                  <a:lnTo>
                    <a:pt x="402" y="29"/>
                  </a:lnTo>
                  <a:lnTo>
                    <a:pt x="404" y="28"/>
                  </a:lnTo>
                  <a:lnTo>
                    <a:pt x="405" y="27"/>
                  </a:lnTo>
                  <a:lnTo>
                    <a:pt x="407" y="24"/>
                  </a:lnTo>
                  <a:lnTo>
                    <a:pt x="408" y="23"/>
                  </a:lnTo>
                  <a:lnTo>
                    <a:pt x="411" y="23"/>
                  </a:lnTo>
                  <a:lnTo>
                    <a:pt x="413" y="24"/>
                  </a:lnTo>
                  <a:lnTo>
                    <a:pt x="413" y="27"/>
                  </a:lnTo>
                  <a:lnTo>
                    <a:pt x="413" y="29"/>
                  </a:lnTo>
                  <a:lnTo>
                    <a:pt x="411" y="35"/>
                  </a:lnTo>
                  <a:lnTo>
                    <a:pt x="409" y="41"/>
                  </a:lnTo>
                  <a:lnTo>
                    <a:pt x="408" y="42"/>
                  </a:lnTo>
                  <a:lnTo>
                    <a:pt x="407" y="43"/>
                  </a:lnTo>
                  <a:lnTo>
                    <a:pt x="402" y="43"/>
                  </a:lnTo>
                  <a:lnTo>
                    <a:pt x="402" y="44"/>
                  </a:lnTo>
                  <a:lnTo>
                    <a:pt x="402" y="45"/>
                  </a:lnTo>
                  <a:lnTo>
                    <a:pt x="405" y="49"/>
                  </a:lnTo>
                  <a:lnTo>
                    <a:pt x="407" y="50"/>
                  </a:lnTo>
                  <a:lnTo>
                    <a:pt x="405" y="54"/>
                  </a:lnTo>
                  <a:lnTo>
                    <a:pt x="402" y="56"/>
                  </a:lnTo>
                  <a:lnTo>
                    <a:pt x="399" y="57"/>
                  </a:lnTo>
                  <a:lnTo>
                    <a:pt x="399" y="60"/>
                  </a:lnTo>
                  <a:lnTo>
                    <a:pt x="398" y="64"/>
                  </a:lnTo>
                  <a:lnTo>
                    <a:pt x="397" y="69"/>
                  </a:lnTo>
                  <a:lnTo>
                    <a:pt x="395" y="74"/>
                  </a:lnTo>
                  <a:lnTo>
                    <a:pt x="395" y="79"/>
                  </a:lnTo>
                  <a:lnTo>
                    <a:pt x="398" y="85"/>
                  </a:lnTo>
                  <a:lnTo>
                    <a:pt x="400" y="89"/>
                  </a:lnTo>
                  <a:lnTo>
                    <a:pt x="405" y="93"/>
                  </a:lnTo>
                  <a:lnTo>
                    <a:pt x="408" y="94"/>
                  </a:lnTo>
                  <a:lnTo>
                    <a:pt x="411" y="94"/>
                  </a:lnTo>
                  <a:lnTo>
                    <a:pt x="413" y="93"/>
                  </a:lnTo>
                  <a:lnTo>
                    <a:pt x="416" y="92"/>
                  </a:lnTo>
                  <a:lnTo>
                    <a:pt x="417" y="93"/>
                  </a:lnTo>
                  <a:lnTo>
                    <a:pt x="418" y="93"/>
                  </a:lnTo>
                  <a:lnTo>
                    <a:pt x="422" y="100"/>
                  </a:lnTo>
                  <a:lnTo>
                    <a:pt x="427" y="106"/>
                  </a:lnTo>
                  <a:lnTo>
                    <a:pt x="433" y="111"/>
                  </a:lnTo>
                  <a:lnTo>
                    <a:pt x="440" y="114"/>
                  </a:lnTo>
                  <a:lnTo>
                    <a:pt x="445" y="115"/>
                  </a:lnTo>
                  <a:lnTo>
                    <a:pt x="446" y="117"/>
                  </a:lnTo>
                  <a:lnTo>
                    <a:pt x="447" y="118"/>
                  </a:lnTo>
                  <a:lnTo>
                    <a:pt x="449" y="121"/>
                  </a:lnTo>
                  <a:lnTo>
                    <a:pt x="450" y="123"/>
                  </a:lnTo>
                  <a:lnTo>
                    <a:pt x="455" y="124"/>
                  </a:lnTo>
                  <a:lnTo>
                    <a:pt x="458" y="125"/>
                  </a:lnTo>
                  <a:lnTo>
                    <a:pt x="463" y="130"/>
                  </a:lnTo>
                  <a:lnTo>
                    <a:pt x="466" y="134"/>
                  </a:lnTo>
                  <a:lnTo>
                    <a:pt x="469" y="137"/>
                  </a:lnTo>
                  <a:lnTo>
                    <a:pt x="472" y="138"/>
                  </a:lnTo>
                  <a:lnTo>
                    <a:pt x="474" y="138"/>
                  </a:lnTo>
                  <a:lnTo>
                    <a:pt x="475" y="138"/>
                  </a:lnTo>
                  <a:lnTo>
                    <a:pt x="479" y="134"/>
                  </a:lnTo>
                  <a:lnTo>
                    <a:pt x="484" y="124"/>
                  </a:lnTo>
                  <a:lnTo>
                    <a:pt x="496" y="93"/>
                  </a:lnTo>
                  <a:lnTo>
                    <a:pt x="496" y="87"/>
                  </a:lnTo>
                  <a:lnTo>
                    <a:pt x="496" y="81"/>
                  </a:lnTo>
                  <a:lnTo>
                    <a:pt x="493" y="76"/>
                  </a:lnTo>
                  <a:lnTo>
                    <a:pt x="493" y="73"/>
                  </a:lnTo>
                  <a:lnTo>
                    <a:pt x="493" y="70"/>
                  </a:lnTo>
                  <a:lnTo>
                    <a:pt x="496" y="64"/>
                  </a:lnTo>
                  <a:lnTo>
                    <a:pt x="496" y="62"/>
                  </a:lnTo>
                  <a:lnTo>
                    <a:pt x="496" y="59"/>
                  </a:lnTo>
                  <a:lnTo>
                    <a:pt x="496" y="54"/>
                  </a:lnTo>
                  <a:lnTo>
                    <a:pt x="496" y="49"/>
                  </a:lnTo>
                  <a:lnTo>
                    <a:pt x="497" y="38"/>
                  </a:lnTo>
                  <a:lnTo>
                    <a:pt x="497" y="28"/>
                  </a:lnTo>
                  <a:lnTo>
                    <a:pt x="498" y="24"/>
                  </a:lnTo>
                  <a:lnTo>
                    <a:pt x="501" y="22"/>
                  </a:lnTo>
                  <a:lnTo>
                    <a:pt x="505" y="19"/>
                  </a:lnTo>
                  <a:lnTo>
                    <a:pt x="506" y="19"/>
                  </a:lnTo>
                  <a:lnTo>
                    <a:pt x="507" y="18"/>
                  </a:lnTo>
                  <a:lnTo>
                    <a:pt x="507" y="12"/>
                  </a:lnTo>
                  <a:lnTo>
                    <a:pt x="506" y="5"/>
                  </a:lnTo>
                  <a:lnTo>
                    <a:pt x="506" y="3"/>
                  </a:lnTo>
                  <a:lnTo>
                    <a:pt x="507" y="0"/>
                  </a:lnTo>
                  <a:lnTo>
                    <a:pt x="508" y="0"/>
                  </a:lnTo>
                  <a:lnTo>
                    <a:pt x="511" y="0"/>
                  </a:lnTo>
                  <a:lnTo>
                    <a:pt x="515" y="3"/>
                  </a:lnTo>
                  <a:lnTo>
                    <a:pt x="516" y="5"/>
                  </a:lnTo>
                  <a:lnTo>
                    <a:pt x="518" y="12"/>
                  </a:lnTo>
                  <a:lnTo>
                    <a:pt x="520" y="22"/>
                  </a:lnTo>
                  <a:lnTo>
                    <a:pt x="522" y="29"/>
                  </a:lnTo>
                  <a:lnTo>
                    <a:pt x="527" y="38"/>
                  </a:lnTo>
                  <a:lnTo>
                    <a:pt x="529" y="43"/>
                  </a:lnTo>
                  <a:lnTo>
                    <a:pt x="530" y="49"/>
                  </a:lnTo>
                  <a:lnTo>
                    <a:pt x="531" y="55"/>
                  </a:lnTo>
                  <a:lnTo>
                    <a:pt x="531" y="61"/>
                  </a:lnTo>
                  <a:lnTo>
                    <a:pt x="532" y="66"/>
                  </a:lnTo>
                  <a:lnTo>
                    <a:pt x="535" y="72"/>
                  </a:lnTo>
                  <a:lnTo>
                    <a:pt x="536" y="72"/>
                  </a:lnTo>
                  <a:lnTo>
                    <a:pt x="538" y="73"/>
                  </a:lnTo>
                  <a:lnTo>
                    <a:pt x="541" y="72"/>
                  </a:lnTo>
                  <a:lnTo>
                    <a:pt x="544" y="69"/>
                  </a:lnTo>
                  <a:lnTo>
                    <a:pt x="546" y="69"/>
                  </a:lnTo>
                  <a:lnTo>
                    <a:pt x="550" y="70"/>
                  </a:lnTo>
                  <a:lnTo>
                    <a:pt x="553" y="74"/>
                  </a:lnTo>
                  <a:lnTo>
                    <a:pt x="557" y="83"/>
                  </a:lnTo>
                  <a:lnTo>
                    <a:pt x="567" y="106"/>
                  </a:lnTo>
                  <a:lnTo>
                    <a:pt x="577" y="128"/>
                  </a:lnTo>
                  <a:lnTo>
                    <a:pt x="578" y="132"/>
                  </a:lnTo>
                  <a:lnTo>
                    <a:pt x="578" y="136"/>
                  </a:lnTo>
                  <a:lnTo>
                    <a:pt x="576" y="143"/>
                  </a:lnTo>
                  <a:lnTo>
                    <a:pt x="576" y="149"/>
                  </a:lnTo>
                  <a:lnTo>
                    <a:pt x="577" y="155"/>
                  </a:lnTo>
                  <a:lnTo>
                    <a:pt x="581" y="160"/>
                  </a:lnTo>
                  <a:lnTo>
                    <a:pt x="585" y="165"/>
                  </a:lnTo>
                  <a:lnTo>
                    <a:pt x="590" y="170"/>
                  </a:lnTo>
                  <a:lnTo>
                    <a:pt x="596" y="174"/>
                  </a:lnTo>
                  <a:lnTo>
                    <a:pt x="602" y="175"/>
                  </a:lnTo>
                  <a:lnTo>
                    <a:pt x="610" y="177"/>
                  </a:lnTo>
                  <a:lnTo>
                    <a:pt x="612" y="178"/>
                  </a:lnTo>
                  <a:lnTo>
                    <a:pt x="616" y="181"/>
                  </a:lnTo>
                  <a:lnTo>
                    <a:pt x="619" y="184"/>
                  </a:lnTo>
                  <a:lnTo>
                    <a:pt x="620" y="188"/>
                  </a:lnTo>
                  <a:lnTo>
                    <a:pt x="620" y="196"/>
                  </a:lnTo>
                  <a:lnTo>
                    <a:pt x="621" y="197"/>
                  </a:lnTo>
                  <a:lnTo>
                    <a:pt x="621" y="198"/>
                  </a:lnTo>
                  <a:lnTo>
                    <a:pt x="625" y="201"/>
                  </a:lnTo>
                  <a:lnTo>
                    <a:pt x="629" y="204"/>
                  </a:lnTo>
                  <a:lnTo>
                    <a:pt x="633" y="211"/>
                  </a:lnTo>
                  <a:lnTo>
                    <a:pt x="638" y="217"/>
                  </a:lnTo>
                  <a:lnTo>
                    <a:pt x="639" y="221"/>
                  </a:lnTo>
                  <a:lnTo>
                    <a:pt x="642" y="222"/>
                  </a:lnTo>
                  <a:lnTo>
                    <a:pt x="649" y="228"/>
                  </a:lnTo>
                  <a:lnTo>
                    <a:pt x="654" y="234"/>
                  </a:lnTo>
                  <a:lnTo>
                    <a:pt x="656" y="241"/>
                  </a:lnTo>
                  <a:lnTo>
                    <a:pt x="656" y="249"/>
                  </a:lnTo>
                  <a:lnTo>
                    <a:pt x="657" y="254"/>
                  </a:lnTo>
                  <a:lnTo>
                    <a:pt x="659" y="259"/>
                  </a:lnTo>
                  <a:lnTo>
                    <a:pt x="663" y="262"/>
                  </a:lnTo>
                  <a:lnTo>
                    <a:pt x="668" y="266"/>
                  </a:lnTo>
                  <a:lnTo>
                    <a:pt x="670" y="266"/>
                  </a:lnTo>
                  <a:lnTo>
                    <a:pt x="670" y="267"/>
                  </a:lnTo>
                  <a:lnTo>
                    <a:pt x="671" y="268"/>
                  </a:lnTo>
                  <a:lnTo>
                    <a:pt x="676" y="270"/>
                  </a:lnTo>
                  <a:lnTo>
                    <a:pt x="681" y="273"/>
                  </a:lnTo>
                  <a:lnTo>
                    <a:pt x="684" y="277"/>
                  </a:lnTo>
                  <a:lnTo>
                    <a:pt x="686" y="281"/>
                  </a:lnTo>
                  <a:lnTo>
                    <a:pt x="695" y="302"/>
                  </a:lnTo>
                  <a:lnTo>
                    <a:pt x="696" y="309"/>
                  </a:lnTo>
                  <a:lnTo>
                    <a:pt x="698" y="313"/>
                  </a:lnTo>
                  <a:lnTo>
                    <a:pt x="700" y="316"/>
                  </a:lnTo>
                  <a:lnTo>
                    <a:pt x="701" y="319"/>
                  </a:lnTo>
                  <a:lnTo>
                    <a:pt x="703" y="322"/>
                  </a:lnTo>
                  <a:lnTo>
                    <a:pt x="705" y="364"/>
                  </a:lnTo>
                  <a:lnTo>
                    <a:pt x="704" y="376"/>
                  </a:lnTo>
                  <a:lnTo>
                    <a:pt x="701" y="388"/>
                  </a:lnTo>
                  <a:lnTo>
                    <a:pt x="694" y="413"/>
                  </a:lnTo>
                  <a:lnTo>
                    <a:pt x="690" y="421"/>
                  </a:lnTo>
                  <a:lnTo>
                    <a:pt x="684" y="432"/>
                  </a:lnTo>
                  <a:lnTo>
                    <a:pt x="671" y="449"/>
                  </a:lnTo>
                  <a:lnTo>
                    <a:pt x="668" y="453"/>
                  </a:lnTo>
                  <a:lnTo>
                    <a:pt x="666" y="457"/>
                  </a:lnTo>
                  <a:lnTo>
                    <a:pt x="665" y="460"/>
                  </a:lnTo>
                  <a:lnTo>
                    <a:pt x="665" y="463"/>
                  </a:lnTo>
                  <a:lnTo>
                    <a:pt x="657" y="476"/>
                  </a:lnTo>
                  <a:lnTo>
                    <a:pt x="652" y="490"/>
                  </a:lnTo>
                  <a:lnTo>
                    <a:pt x="651" y="492"/>
                  </a:lnTo>
                  <a:lnTo>
                    <a:pt x="647" y="495"/>
                  </a:lnTo>
                  <a:lnTo>
                    <a:pt x="645" y="496"/>
                  </a:lnTo>
                  <a:lnTo>
                    <a:pt x="645" y="497"/>
                  </a:lnTo>
                  <a:lnTo>
                    <a:pt x="649" y="503"/>
                  </a:lnTo>
                  <a:lnTo>
                    <a:pt x="649" y="507"/>
                  </a:lnTo>
                  <a:lnTo>
                    <a:pt x="648" y="509"/>
                  </a:lnTo>
                  <a:lnTo>
                    <a:pt x="645" y="520"/>
                  </a:lnTo>
                  <a:lnTo>
                    <a:pt x="644" y="524"/>
                  </a:lnTo>
                  <a:lnTo>
                    <a:pt x="645" y="530"/>
                  </a:lnTo>
                  <a:lnTo>
                    <a:pt x="647" y="534"/>
                  </a:lnTo>
                  <a:lnTo>
                    <a:pt x="647" y="536"/>
                  </a:lnTo>
                  <a:lnTo>
                    <a:pt x="645" y="537"/>
                  </a:lnTo>
                  <a:lnTo>
                    <a:pt x="643" y="542"/>
                  </a:lnTo>
                  <a:lnTo>
                    <a:pt x="640" y="547"/>
                  </a:lnTo>
                  <a:lnTo>
                    <a:pt x="638" y="551"/>
                  </a:lnTo>
                  <a:lnTo>
                    <a:pt x="634" y="554"/>
                  </a:lnTo>
                  <a:lnTo>
                    <a:pt x="629" y="556"/>
                  </a:lnTo>
                  <a:lnTo>
                    <a:pt x="623" y="558"/>
                  </a:lnTo>
                  <a:lnTo>
                    <a:pt x="610" y="558"/>
                  </a:lnTo>
                  <a:lnTo>
                    <a:pt x="610" y="559"/>
                  </a:lnTo>
                  <a:lnTo>
                    <a:pt x="604" y="560"/>
                  </a:lnTo>
                  <a:lnTo>
                    <a:pt x="598" y="562"/>
                  </a:lnTo>
                  <a:lnTo>
                    <a:pt x="593" y="567"/>
                  </a:lnTo>
                  <a:lnTo>
                    <a:pt x="590" y="571"/>
                  </a:lnTo>
                  <a:lnTo>
                    <a:pt x="587" y="572"/>
                  </a:lnTo>
                  <a:lnTo>
                    <a:pt x="583" y="573"/>
                  </a:lnTo>
                  <a:lnTo>
                    <a:pt x="579" y="573"/>
                  </a:lnTo>
                  <a:lnTo>
                    <a:pt x="577" y="575"/>
                  </a:lnTo>
                  <a:lnTo>
                    <a:pt x="577" y="577"/>
                  </a:lnTo>
                  <a:lnTo>
                    <a:pt x="578" y="579"/>
                  </a:lnTo>
                  <a:lnTo>
                    <a:pt x="579" y="581"/>
                  </a:lnTo>
                  <a:lnTo>
                    <a:pt x="579" y="583"/>
                  </a:lnTo>
                  <a:lnTo>
                    <a:pt x="578" y="584"/>
                  </a:lnTo>
                  <a:lnTo>
                    <a:pt x="577" y="583"/>
                  </a:lnTo>
                  <a:lnTo>
                    <a:pt x="576" y="580"/>
                  </a:lnTo>
                  <a:lnTo>
                    <a:pt x="571" y="577"/>
                  </a:lnTo>
                  <a:lnTo>
                    <a:pt x="567" y="572"/>
                  </a:lnTo>
                  <a:lnTo>
                    <a:pt x="563" y="571"/>
                  </a:lnTo>
                  <a:lnTo>
                    <a:pt x="557" y="571"/>
                  </a:lnTo>
                  <a:lnTo>
                    <a:pt x="562" y="567"/>
                  </a:lnTo>
                  <a:lnTo>
                    <a:pt x="563" y="565"/>
                  </a:lnTo>
                  <a:lnTo>
                    <a:pt x="564" y="562"/>
                  </a:lnTo>
                  <a:lnTo>
                    <a:pt x="563" y="559"/>
                  </a:lnTo>
                  <a:lnTo>
                    <a:pt x="560" y="556"/>
                  </a:lnTo>
                  <a:lnTo>
                    <a:pt x="557" y="555"/>
                  </a:lnTo>
                  <a:lnTo>
                    <a:pt x="553" y="554"/>
                  </a:lnTo>
                  <a:lnTo>
                    <a:pt x="552" y="555"/>
                  </a:lnTo>
                  <a:lnTo>
                    <a:pt x="550" y="558"/>
                  </a:lnTo>
                  <a:lnTo>
                    <a:pt x="549" y="560"/>
                  </a:lnTo>
                  <a:lnTo>
                    <a:pt x="550" y="562"/>
                  </a:lnTo>
                  <a:lnTo>
                    <a:pt x="552" y="565"/>
                  </a:lnTo>
                  <a:lnTo>
                    <a:pt x="552" y="566"/>
                  </a:lnTo>
                  <a:lnTo>
                    <a:pt x="552" y="567"/>
                  </a:lnTo>
                  <a:lnTo>
                    <a:pt x="550" y="567"/>
                  </a:lnTo>
                  <a:lnTo>
                    <a:pt x="549" y="567"/>
                  </a:lnTo>
                  <a:lnTo>
                    <a:pt x="546" y="566"/>
                  </a:lnTo>
                  <a:lnTo>
                    <a:pt x="540" y="567"/>
                  </a:lnTo>
                  <a:lnTo>
                    <a:pt x="535" y="568"/>
                  </a:lnTo>
                  <a:lnTo>
                    <a:pt x="531" y="569"/>
                  </a:lnTo>
                  <a:lnTo>
                    <a:pt x="529" y="572"/>
                  </a:lnTo>
                  <a:lnTo>
                    <a:pt x="525" y="573"/>
                  </a:lnTo>
                  <a:lnTo>
                    <a:pt x="522" y="573"/>
                  </a:lnTo>
                  <a:lnTo>
                    <a:pt x="520" y="573"/>
                  </a:lnTo>
                  <a:lnTo>
                    <a:pt x="515" y="569"/>
                  </a:lnTo>
                  <a:lnTo>
                    <a:pt x="508" y="566"/>
                  </a:lnTo>
                  <a:lnTo>
                    <a:pt x="506" y="566"/>
                  </a:lnTo>
                  <a:lnTo>
                    <a:pt x="503" y="565"/>
                  </a:lnTo>
                  <a:lnTo>
                    <a:pt x="501" y="566"/>
                  </a:lnTo>
                  <a:lnTo>
                    <a:pt x="497" y="568"/>
                  </a:lnTo>
                  <a:lnTo>
                    <a:pt x="496" y="568"/>
                  </a:lnTo>
                  <a:lnTo>
                    <a:pt x="494" y="568"/>
                  </a:lnTo>
                  <a:lnTo>
                    <a:pt x="492" y="567"/>
                  </a:lnTo>
                  <a:lnTo>
                    <a:pt x="491" y="566"/>
                  </a:lnTo>
                  <a:lnTo>
                    <a:pt x="489" y="564"/>
                  </a:lnTo>
                  <a:lnTo>
                    <a:pt x="488" y="564"/>
                  </a:lnTo>
                  <a:lnTo>
                    <a:pt x="483" y="562"/>
                  </a:lnTo>
                  <a:lnTo>
                    <a:pt x="480" y="562"/>
                  </a:lnTo>
                  <a:lnTo>
                    <a:pt x="479" y="560"/>
                  </a:lnTo>
                  <a:lnTo>
                    <a:pt x="469" y="543"/>
                  </a:lnTo>
                  <a:lnTo>
                    <a:pt x="466" y="534"/>
                  </a:lnTo>
                  <a:lnTo>
                    <a:pt x="465" y="529"/>
                  </a:lnTo>
                  <a:lnTo>
                    <a:pt x="465" y="524"/>
                  </a:lnTo>
                  <a:lnTo>
                    <a:pt x="465" y="521"/>
                  </a:lnTo>
                  <a:lnTo>
                    <a:pt x="463" y="517"/>
                  </a:lnTo>
                  <a:lnTo>
                    <a:pt x="458" y="509"/>
                  </a:lnTo>
                  <a:lnTo>
                    <a:pt x="450" y="503"/>
                  </a:lnTo>
                  <a:lnTo>
                    <a:pt x="441" y="498"/>
                  </a:lnTo>
                  <a:lnTo>
                    <a:pt x="441" y="497"/>
                  </a:lnTo>
                  <a:lnTo>
                    <a:pt x="441" y="496"/>
                  </a:lnTo>
                  <a:lnTo>
                    <a:pt x="442" y="492"/>
                  </a:lnTo>
                  <a:lnTo>
                    <a:pt x="444" y="488"/>
                  </a:lnTo>
                  <a:lnTo>
                    <a:pt x="444" y="485"/>
                  </a:lnTo>
                  <a:lnTo>
                    <a:pt x="442" y="483"/>
                  </a:lnTo>
                  <a:lnTo>
                    <a:pt x="438" y="478"/>
                  </a:lnTo>
                  <a:lnTo>
                    <a:pt x="437" y="476"/>
                  </a:lnTo>
                  <a:lnTo>
                    <a:pt x="435" y="476"/>
                  </a:lnTo>
                  <a:lnTo>
                    <a:pt x="433" y="478"/>
                  </a:lnTo>
                  <a:lnTo>
                    <a:pt x="432" y="479"/>
                  </a:lnTo>
                  <a:lnTo>
                    <a:pt x="431" y="484"/>
                  </a:lnTo>
                  <a:lnTo>
                    <a:pt x="431" y="488"/>
                  </a:lnTo>
                  <a:lnTo>
                    <a:pt x="430" y="492"/>
                  </a:lnTo>
                  <a:lnTo>
                    <a:pt x="426" y="494"/>
                  </a:lnTo>
                  <a:lnTo>
                    <a:pt x="421" y="495"/>
                  </a:lnTo>
                  <a:lnTo>
                    <a:pt x="417" y="495"/>
                  </a:lnTo>
                  <a:lnTo>
                    <a:pt x="416" y="495"/>
                  </a:lnTo>
                  <a:lnTo>
                    <a:pt x="416" y="494"/>
                  </a:lnTo>
                  <a:lnTo>
                    <a:pt x="422" y="488"/>
                  </a:lnTo>
                  <a:lnTo>
                    <a:pt x="425" y="481"/>
                  </a:lnTo>
                  <a:lnTo>
                    <a:pt x="426" y="473"/>
                  </a:lnTo>
                  <a:lnTo>
                    <a:pt x="426" y="466"/>
                  </a:lnTo>
                  <a:lnTo>
                    <a:pt x="426" y="464"/>
                  </a:lnTo>
                  <a:lnTo>
                    <a:pt x="427" y="463"/>
                  </a:lnTo>
                  <a:lnTo>
                    <a:pt x="431" y="459"/>
                  </a:lnTo>
                  <a:lnTo>
                    <a:pt x="433" y="453"/>
                  </a:lnTo>
                  <a:lnTo>
                    <a:pt x="433" y="449"/>
                  </a:lnTo>
                  <a:lnTo>
                    <a:pt x="432" y="443"/>
                  </a:lnTo>
                  <a:lnTo>
                    <a:pt x="431" y="438"/>
                  </a:lnTo>
                  <a:lnTo>
                    <a:pt x="430" y="437"/>
                  </a:lnTo>
                  <a:lnTo>
                    <a:pt x="428" y="438"/>
                  </a:lnTo>
                  <a:lnTo>
                    <a:pt x="426" y="439"/>
                  </a:lnTo>
                  <a:lnTo>
                    <a:pt x="418" y="454"/>
                  </a:lnTo>
                  <a:lnTo>
                    <a:pt x="413" y="462"/>
                  </a:lnTo>
                  <a:lnTo>
                    <a:pt x="409" y="464"/>
                  </a:lnTo>
                  <a:lnTo>
                    <a:pt x="405" y="466"/>
                  </a:lnTo>
                  <a:lnTo>
                    <a:pt x="403" y="468"/>
                  </a:lnTo>
                  <a:lnTo>
                    <a:pt x="402" y="470"/>
                  </a:lnTo>
                  <a:lnTo>
                    <a:pt x="399" y="476"/>
                  </a:lnTo>
                  <a:lnTo>
                    <a:pt x="399" y="482"/>
                  </a:lnTo>
                  <a:lnTo>
                    <a:pt x="400" y="488"/>
                  </a:lnTo>
                  <a:lnTo>
                    <a:pt x="397" y="488"/>
                  </a:lnTo>
                  <a:lnTo>
                    <a:pt x="393" y="487"/>
                  </a:lnTo>
                  <a:lnTo>
                    <a:pt x="390" y="484"/>
                  </a:lnTo>
                  <a:lnTo>
                    <a:pt x="389" y="481"/>
                  </a:lnTo>
                  <a:lnTo>
                    <a:pt x="388" y="472"/>
                  </a:lnTo>
                  <a:lnTo>
                    <a:pt x="384" y="465"/>
                  </a:lnTo>
                  <a:lnTo>
                    <a:pt x="380" y="458"/>
                  </a:lnTo>
                  <a:lnTo>
                    <a:pt x="375" y="451"/>
                  </a:lnTo>
                  <a:lnTo>
                    <a:pt x="370" y="444"/>
                  </a:lnTo>
                  <a:lnTo>
                    <a:pt x="364" y="437"/>
                  </a:lnTo>
                  <a:lnTo>
                    <a:pt x="361" y="434"/>
                  </a:lnTo>
                  <a:lnTo>
                    <a:pt x="358" y="434"/>
                  </a:lnTo>
                  <a:lnTo>
                    <a:pt x="351" y="433"/>
                  </a:lnTo>
                  <a:lnTo>
                    <a:pt x="342" y="431"/>
                  </a:lnTo>
                  <a:lnTo>
                    <a:pt x="332" y="427"/>
                  </a:lnTo>
                  <a:lnTo>
                    <a:pt x="322" y="421"/>
                  </a:lnTo>
                  <a:lnTo>
                    <a:pt x="317" y="420"/>
                  </a:lnTo>
                  <a:lnTo>
                    <a:pt x="312" y="418"/>
                  </a:lnTo>
                  <a:lnTo>
                    <a:pt x="306" y="418"/>
                  </a:lnTo>
                  <a:lnTo>
                    <a:pt x="300" y="418"/>
                  </a:lnTo>
                  <a:lnTo>
                    <a:pt x="287" y="421"/>
                  </a:lnTo>
                  <a:lnTo>
                    <a:pt x="280" y="422"/>
                  </a:lnTo>
                  <a:lnTo>
                    <a:pt x="275" y="425"/>
                  </a:lnTo>
                  <a:lnTo>
                    <a:pt x="259" y="433"/>
                  </a:lnTo>
                  <a:lnTo>
                    <a:pt x="254" y="434"/>
                  </a:lnTo>
                  <a:lnTo>
                    <a:pt x="249" y="434"/>
                  </a:lnTo>
                  <a:lnTo>
                    <a:pt x="237" y="433"/>
                  </a:lnTo>
                  <a:lnTo>
                    <a:pt x="232" y="433"/>
                  </a:lnTo>
                  <a:lnTo>
                    <a:pt x="225" y="434"/>
                  </a:lnTo>
                  <a:lnTo>
                    <a:pt x="220" y="437"/>
                  </a:lnTo>
                  <a:lnTo>
                    <a:pt x="216" y="44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4" name="Freeform 343"/>
            <p:cNvSpPr>
              <a:spLocks/>
            </p:cNvSpPr>
            <p:nvPr/>
          </p:nvSpPr>
          <p:spPr bwMode="auto">
            <a:xfrm>
              <a:off x="6164266" y="6132513"/>
              <a:ext cx="23812" cy="25400"/>
            </a:xfrm>
            <a:custGeom>
              <a:avLst/>
              <a:gdLst>
                <a:gd name="T0" fmla="*/ 2147483647 w 16"/>
                <a:gd name="T1" fmla="*/ 2147483647 h 16"/>
                <a:gd name="T2" fmla="*/ 2147483647 w 16"/>
                <a:gd name="T3" fmla="*/ 2147483647 h 16"/>
                <a:gd name="T4" fmla="*/ 0 w 16"/>
                <a:gd name="T5" fmla="*/ 2147483647 h 16"/>
                <a:gd name="T6" fmla="*/ 2147483647 w 16"/>
                <a:gd name="T7" fmla="*/ 2147483647 h 16"/>
                <a:gd name="T8" fmla="*/ 2147483647 w 16"/>
                <a:gd name="T9" fmla="*/ 0 h 16"/>
                <a:gd name="T10" fmla="*/ 2147483647 w 16"/>
                <a:gd name="T11" fmla="*/ 0 h 16"/>
                <a:gd name="T12" fmla="*/ 2147483647 w 16"/>
                <a:gd name="T13" fmla="*/ 2147483647 h 16"/>
                <a:gd name="T14" fmla="*/ 2147483647 w 16"/>
                <a:gd name="T15" fmla="*/ 2147483647 h 16"/>
                <a:gd name="T16" fmla="*/ 2147483647 w 16"/>
                <a:gd name="T17" fmla="*/ 2147483647 h 16"/>
                <a:gd name="T18" fmla="*/ 2147483647 w 16"/>
                <a:gd name="T19" fmla="*/ 2147483647 h 16"/>
                <a:gd name="T20" fmla="*/ 2147483647 w 16"/>
                <a:gd name="T21" fmla="*/ 2147483647 h 16"/>
                <a:gd name="T22" fmla="*/ 2147483647 w 16"/>
                <a:gd name="T23" fmla="*/ 2147483647 h 16"/>
                <a:gd name="T24" fmla="*/ 2147483647 w 16"/>
                <a:gd name="T25" fmla="*/ 2147483647 h 16"/>
                <a:gd name="T26" fmla="*/ 2147483647 w 1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5" y="10"/>
                  </a:moveTo>
                  <a:lnTo>
                    <a:pt x="1" y="4"/>
                  </a:lnTo>
                  <a:lnTo>
                    <a:pt x="0" y="2"/>
                  </a:lnTo>
                  <a:lnTo>
                    <a:pt x="1" y="1"/>
                  </a:lnTo>
                  <a:lnTo>
                    <a:pt x="3" y="0"/>
                  </a:lnTo>
                  <a:lnTo>
                    <a:pt x="6" y="0"/>
                  </a:lnTo>
                  <a:lnTo>
                    <a:pt x="9" y="1"/>
                  </a:lnTo>
                  <a:lnTo>
                    <a:pt x="14" y="4"/>
                  </a:lnTo>
                  <a:lnTo>
                    <a:pt x="16" y="10"/>
                  </a:lnTo>
                  <a:lnTo>
                    <a:pt x="16" y="13"/>
                  </a:lnTo>
                  <a:lnTo>
                    <a:pt x="16" y="15"/>
                  </a:lnTo>
                  <a:lnTo>
                    <a:pt x="14" y="16"/>
                  </a:lnTo>
                  <a:lnTo>
                    <a:pt x="11" y="15"/>
                  </a:lnTo>
                  <a:lnTo>
                    <a:pt x="5"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5" name="Freeform 344"/>
            <p:cNvSpPr>
              <a:spLocks/>
            </p:cNvSpPr>
            <p:nvPr/>
          </p:nvSpPr>
          <p:spPr bwMode="auto">
            <a:xfrm>
              <a:off x="7186614" y="4738688"/>
              <a:ext cx="1033462" cy="927100"/>
            </a:xfrm>
            <a:custGeom>
              <a:avLst/>
              <a:gdLst>
                <a:gd name="T0" fmla="*/ 2147483647 w 705"/>
                <a:gd name="T1" fmla="*/ 2147483647 h 584"/>
                <a:gd name="T2" fmla="*/ 2147483647 w 705"/>
                <a:gd name="T3" fmla="*/ 2147483647 h 584"/>
                <a:gd name="T4" fmla="*/ 2147483647 w 705"/>
                <a:gd name="T5" fmla="*/ 2147483647 h 584"/>
                <a:gd name="T6" fmla="*/ 2147483647 w 705"/>
                <a:gd name="T7" fmla="*/ 2147483647 h 584"/>
                <a:gd name="T8" fmla="*/ 2147483647 w 705"/>
                <a:gd name="T9" fmla="*/ 2147483647 h 584"/>
                <a:gd name="T10" fmla="*/ 2147483647 w 705"/>
                <a:gd name="T11" fmla="*/ 2147483647 h 584"/>
                <a:gd name="T12" fmla="*/ 2147483647 w 705"/>
                <a:gd name="T13" fmla="*/ 2147483647 h 584"/>
                <a:gd name="T14" fmla="*/ 2147483647 w 705"/>
                <a:gd name="T15" fmla="*/ 2147483647 h 584"/>
                <a:gd name="T16" fmla="*/ 2147483647 w 705"/>
                <a:gd name="T17" fmla="*/ 2147483647 h 584"/>
                <a:gd name="T18" fmla="*/ 2147483647 w 705"/>
                <a:gd name="T19" fmla="*/ 2147483647 h 584"/>
                <a:gd name="T20" fmla="*/ 2147483647 w 705"/>
                <a:gd name="T21" fmla="*/ 2147483647 h 584"/>
                <a:gd name="T22" fmla="*/ 2147483647 w 705"/>
                <a:gd name="T23" fmla="*/ 2147483647 h 584"/>
                <a:gd name="T24" fmla="*/ 2147483647 w 705"/>
                <a:gd name="T25" fmla="*/ 2147483647 h 584"/>
                <a:gd name="T26" fmla="*/ 2147483647 w 705"/>
                <a:gd name="T27" fmla="*/ 2147483647 h 584"/>
                <a:gd name="T28" fmla="*/ 2147483647 w 705"/>
                <a:gd name="T29" fmla="*/ 2147483647 h 584"/>
                <a:gd name="T30" fmla="*/ 2147483647 w 705"/>
                <a:gd name="T31" fmla="*/ 2147483647 h 584"/>
                <a:gd name="T32" fmla="*/ 2147483647 w 705"/>
                <a:gd name="T33" fmla="*/ 2147483647 h 584"/>
                <a:gd name="T34" fmla="*/ 2147483647 w 705"/>
                <a:gd name="T35" fmla="*/ 2147483647 h 584"/>
                <a:gd name="T36" fmla="*/ 2147483647 w 705"/>
                <a:gd name="T37" fmla="*/ 2147483647 h 584"/>
                <a:gd name="T38" fmla="*/ 2147483647 w 705"/>
                <a:gd name="T39" fmla="*/ 2147483647 h 584"/>
                <a:gd name="T40" fmla="*/ 2147483647 w 705"/>
                <a:gd name="T41" fmla="*/ 2147483647 h 584"/>
                <a:gd name="T42" fmla="*/ 2147483647 w 705"/>
                <a:gd name="T43" fmla="*/ 2147483647 h 584"/>
                <a:gd name="T44" fmla="*/ 2147483647 w 705"/>
                <a:gd name="T45" fmla="*/ 2147483647 h 584"/>
                <a:gd name="T46" fmla="*/ 2147483647 w 705"/>
                <a:gd name="T47" fmla="*/ 2147483647 h 584"/>
                <a:gd name="T48" fmla="*/ 2147483647 w 705"/>
                <a:gd name="T49" fmla="*/ 2147483647 h 584"/>
                <a:gd name="T50" fmla="*/ 2147483647 w 705"/>
                <a:gd name="T51" fmla="*/ 2147483647 h 584"/>
                <a:gd name="T52" fmla="*/ 2147483647 w 705"/>
                <a:gd name="T53" fmla="*/ 2147483647 h 584"/>
                <a:gd name="T54" fmla="*/ 2147483647 w 705"/>
                <a:gd name="T55" fmla="*/ 2147483647 h 584"/>
                <a:gd name="T56" fmla="*/ 2147483647 w 705"/>
                <a:gd name="T57" fmla="*/ 2147483647 h 584"/>
                <a:gd name="T58" fmla="*/ 2147483647 w 705"/>
                <a:gd name="T59" fmla="*/ 2147483647 h 584"/>
                <a:gd name="T60" fmla="*/ 2147483647 w 705"/>
                <a:gd name="T61" fmla="*/ 2147483647 h 584"/>
                <a:gd name="T62" fmla="*/ 2147483647 w 705"/>
                <a:gd name="T63" fmla="*/ 2147483647 h 584"/>
                <a:gd name="T64" fmla="*/ 2147483647 w 705"/>
                <a:gd name="T65" fmla="*/ 2147483647 h 584"/>
                <a:gd name="T66" fmla="*/ 2147483647 w 705"/>
                <a:gd name="T67" fmla="*/ 2147483647 h 584"/>
                <a:gd name="T68" fmla="*/ 2147483647 w 705"/>
                <a:gd name="T69" fmla="*/ 2147483647 h 584"/>
                <a:gd name="T70" fmla="*/ 2147483647 w 705"/>
                <a:gd name="T71" fmla="*/ 2147483647 h 584"/>
                <a:gd name="T72" fmla="*/ 2147483647 w 705"/>
                <a:gd name="T73" fmla="*/ 2147483647 h 584"/>
                <a:gd name="T74" fmla="*/ 2147483647 w 705"/>
                <a:gd name="T75" fmla="*/ 2147483647 h 584"/>
                <a:gd name="T76" fmla="*/ 2147483647 w 705"/>
                <a:gd name="T77" fmla="*/ 2147483647 h 584"/>
                <a:gd name="T78" fmla="*/ 2147483647 w 705"/>
                <a:gd name="T79" fmla="*/ 2147483647 h 584"/>
                <a:gd name="T80" fmla="*/ 2147483647 w 705"/>
                <a:gd name="T81" fmla="*/ 2147483647 h 584"/>
                <a:gd name="T82" fmla="*/ 2147483647 w 705"/>
                <a:gd name="T83" fmla="*/ 2147483647 h 584"/>
                <a:gd name="T84" fmla="*/ 2147483647 w 705"/>
                <a:gd name="T85" fmla="*/ 2147483647 h 584"/>
                <a:gd name="T86" fmla="*/ 2147483647 w 705"/>
                <a:gd name="T87" fmla="*/ 2147483647 h 584"/>
                <a:gd name="T88" fmla="*/ 2147483647 w 705"/>
                <a:gd name="T89" fmla="*/ 2147483647 h 584"/>
                <a:gd name="T90" fmla="*/ 2147483647 w 705"/>
                <a:gd name="T91" fmla="*/ 2147483647 h 584"/>
                <a:gd name="T92" fmla="*/ 2147483647 w 705"/>
                <a:gd name="T93" fmla="*/ 2147483647 h 584"/>
                <a:gd name="T94" fmla="*/ 2147483647 w 705"/>
                <a:gd name="T95" fmla="*/ 2147483647 h 584"/>
                <a:gd name="T96" fmla="*/ 2147483647 w 705"/>
                <a:gd name="T97" fmla="*/ 2147483647 h 584"/>
                <a:gd name="T98" fmla="*/ 2147483647 w 705"/>
                <a:gd name="T99" fmla="*/ 2147483647 h 584"/>
                <a:gd name="T100" fmla="*/ 2147483647 w 705"/>
                <a:gd name="T101" fmla="*/ 2147483647 h 584"/>
                <a:gd name="T102" fmla="*/ 2147483647 w 705"/>
                <a:gd name="T103" fmla="*/ 2147483647 h 584"/>
                <a:gd name="T104" fmla="*/ 2147483647 w 705"/>
                <a:gd name="T105" fmla="*/ 2147483647 h 584"/>
                <a:gd name="T106" fmla="*/ 2147483647 w 705"/>
                <a:gd name="T107" fmla="*/ 2147483647 h 584"/>
                <a:gd name="T108" fmla="*/ 2147483647 w 705"/>
                <a:gd name="T109" fmla="*/ 2147483647 h 584"/>
                <a:gd name="T110" fmla="*/ 2147483647 w 705"/>
                <a:gd name="T111" fmla="*/ 2147483647 h 584"/>
                <a:gd name="T112" fmla="*/ 2147483647 w 705"/>
                <a:gd name="T113" fmla="*/ 2147483647 h 584"/>
                <a:gd name="T114" fmla="*/ 2147483647 w 705"/>
                <a:gd name="T115" fmla="*/ 2147483647 h 584"/>
                <a:gd name="T116" fmla="*/ 2147483647 w 705"/>
                <a:gd name="T117" fmla="*/ 2147483647 h 584"/>
                <a:gd name="T118" fmla="*/ 2147483647 w 705"/>
                <a:gd name="T119" fmla="*/ 2147483647 h 584"/>
                <a:gd name="T120" fmla="*/ 2147483647 w 705"/>
                <a:gd name="T121" fmla="*/ 2147483647 h 5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05"/>
                <a:gd name="T184" fmla="*/ 0 h 584"/>
                <a:gd name="T185" fmla="*/ 705 w 705"/>
                <a:gd name="T186" fmla="*/ 584 h 5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05" h="584">
                  <a:moveTo>
                    <a:pt x="216" y="440"/>
                  </a:moveTo>
                  <a:lnTo>
                    <a:pt x="216" y="440"/>
                  </a:lnTo>
                  <a:lnTo>
                    <a:pt x="212" y="444"/>
                  </a:lnTo>
                  <a:lnTo>
                    <a:pt x="208" y="447"/>
                  </a:lnTo>
                  <a:lnTo>
                    <a:pt x="203" y="448"/>
                  </a:lnTo>
                  <a:lnTo>
                    <a:pt x="197" y="448"/>
                  </a:lnTo>
                  <a:lnTo>
                    <a:pt x="193" y="450"/>
                  </a:lnTo>
                  <a:lnTo>
                    <a:pt x="191" y="451"/>
                  </a:lnTo>
                  <a:lnTo>
                    <a:pt x="188" y="452"/>
                  </a:lnTo>
                  <a:lnTo>
                    <a:pt x="187" y="454"/>
                  </a:lnTo>
                  <a:lnTo>
                    <a:pt x="186" y="460"/>
                  </a:lnTo>
                  <a:lnTo>
                    <a:pt x="183" y="466"/>
                  </a:lnTo>
                  <a:lnTo>
                    <a:pt x="180" y="469"/>
                  </a:lnTo>
                  <a:lnTo>
                    <a:pt x="175" y="470"/>
                  </a:lnTo>
                  <a:lnTo>
                    <a:pt x="165" y="472"/>
                  </a:lnTo>
                  <a:lnTo>
                    <a:pt x="163" y="472"/>
                  </a:lnTo>
                  <a:lnTo>
                    <a:pt x="160" y="471"/>
                  </a:lnTo>
                  <a:lnTo>
                    <a:pt x="156" y="469"/>
                  </a:lnTo>
                  <a:lnTo>
                    <a:pt x="151" y="469"/>
                  </a:lnTo>
                  <a:lnTo>
                    <a:pt x="147" y="471"/>
                  </a:lnTo>
                  <a:lnTo>
                    <a:pt x="142" y="472"/>
                  </a:lnTo>
                  <a:lnTo>
                    <a:pt x="139" y="472"/>
                  </a:lnTo>
                  <a:lnTo>
                    <a:pt x="132" y="471"/>
                  </a:lnTo>
                  <a:lnTo>
                    <a:pt x="125" y="471"/>
                  </a:lnTo>
                  <a:lnTo>
                    <a:pt x="117" y="473"/>
                  </a:lnTo>
                  <a:lnTo>
                    <a:pt x="111" y="476"/>
                  </a:lnTo>
                  <a:lnTo>
                    <a:pt x="109" y="478"/>
                  </a:lnTo>
                  <a:lnTo>
                    <a:pt x="108" y="482"/>
                  </a:lnTo>
                  <a:lnTo>
                    <a:pt x="108" y="484"/>
                  </a:lnTo>
                  <a:lnTo>
                    <a:pt x="106" y="485"/>
                  </a:lnTo>
                  <a:lnTo>
                    <a:pt x="103" y="486"/>
                  </a:lnTo>
                  <a:lnTo>
                    <a:pt x="100" y="486"/>
                  </a:lnTo>
                  <a:lnTo>
                    <a:pt x="98" y="490"/>
                  </a:lnTo>
                  <a:lnTo>
                    <a:pt x="94" y="492"/>
                  </a:lnTo>
                  <a:lnTo>
                    <a:pt x="90" y="493"/>
                  </a:lnTo>
                  <a:lnTo>
                    <a:pt x="86" y="493"/>
                  </a:lnTo>
                  <a:lnTo>
                    <a:pt x="78" y="492"/>
                  </a:lnTo>
                  <a:lnTo>
                    <a:pt x="70" y="490"/>
                  </a:lnTo>
                  <a:lnTo>
                    <a:pt x="66" y="490"/>
                  </a:lnTo>
                  <a:lnTo>
                    <a:pt x="64" y="491"/>
                  </a:lnTo>
                  <a:lnTo>
                    <a:pt x="60" y="491"/>
                  </a:lnTo>
                  <a:lnTo>
                    <a:pt x="56" y="491"/>
                  </a:lnTo>
                  <a:lnTo>
                    <a:pt x="51" y="490"/>
                  </a:lnTo>
                  <a:lnTo>
                    <a:pt x="47" y="488"/>
                  </a:lnTo>
                  <a:lnTo>
                    <a:pt x="41" y="480"/>
                  </a:lnTo>
                  <a:lnTo>
                    <a:pt x="39" y="480"/>
                  </a:lnTo>
                  <a:lnTo>
                    <a:pt x="37" y="479"/>
                  </a:lnTo>
                  <a:lnTo>
                    <a:pt x="36" y="479"/>
                  </a:lnTo>
                  <a:lnTo>
                    <a:pt x="34" y="479"/>
                  </a:lnTo>
                  <a:lnTo>
                    <a:pt x="34" y="477"/>
                  </a:lnTo>
                  <a:lnTo>
                    <a:pt x="34" y="476"/>
                  </a:lnTo>
                  <a:lnTo>
                    <a:pt x="37" y="473"/>
                  </a:lnTo>
                  <a:lnTo>
                    <a:pt x="37" y="470"/>
                  </a:lnTo>
                  <a:lnTo>
                    <a:pt x="37" y="467"/>
                  </a:lnTo>
                  <a:lnTo>
                    <a:pt x="37" y="464"/>
                  </a:lnTo>
                  <a:lnTo>
                    <a:pt x="37" y="461"/>
                  </a:lnTo>
                  <a:lnTo>
                    <a:pt x="39" y="460"/>
                  </a:lnTo>
                  <a:lnTo>
                    <a:pt x="41" y="461"/>
                  </a:lnTo>
                  <a:lnTo>
                    <a:pt x="43" y="461"/>
                  </a:lnTo>
                  <a:lnTo>
                    <a:pt x="46" y="461"/>
                  </a:lnTo>
                  <a:lnTo>
                    <a:pt x="47" y="461"/>
                  </a:lnTo>
                  <a:lnTo>
                    <a:pt x="48" y="459"/>
                  </a:lnTo>
                  <a:lnTo>
                    <a:pt x="47" y="452"/>
                  </a:lnTo>
                  <a:lnTo>
                    <a:pt x="48" y="445"/>
                  </a:lnTo>
                  <a:lnTo>
                    <a:pt x="47" y="438"/>
                  </a:lnTo>
                  <a:lnTo>
                    <a:pt x="46" y="433"/>
                  </a:lnTo>
                  <a:lnTo>
                    <a:pt x="45" y="429"/>
                  </a:lnTo>
                  <a:lnTo>
                    <a:pt x="43" y="427"/>
                  </a:lnTo>
                  <a:lnTo>
                    <a:pt x="45" y="425"/>
                  </a:lnTo>
                  <a:lnTo>
                    <a:pt x="46" y="421"/>
                  </a:lnTo>
                  <a:lnTo>
                    <a:pt x="46" y="419"/>
                  </a:lnTo>
                  <a:lnTo>
                    <a:pt x="43" y="414"/>
                  </a:lnTo>
                  <a:lnTo>
                    <a:pt x="39" y="410"/>
                  </a:lnTo>
                  <a:lnTo>
                    <a:pt x="37" y="406"/>
                  </a:lnTo>
                  <a:lnTo>
                    <a:pt x="36" y="400"/>
                  </a:lnTo>
                  <a:lnTo>
                    <a:pt x="34" y="390"/>
                  </a:lnTo>
                  <a:lnTo>
                    <a:pt x="36" y="381"/>
                  </a:lnTo>
                  <a:lnTo>
                    <a:pt x="36" y="377"/>
                  </a:lnTo>
                  <a:lnTo>
                    <a:pt x="33" y="374"/>
                  </a:lnTo>
                  <a:lnTo>
                    <a:pt x="31" y="370"/>
                  </a:lnTo>
                  <a:lnTo>
                    <a:pt x="29" y="367"/>
                  </a:lnTo>
                  <a:lnTo>
                    <a:pt x="29" y="364"/>
                  </a:lnTo>
                  <a:lnTo>
                    <a:pt x="29" y="362"/>
                  </a:lnTo>
                  <a:lnTo>
                    <a:pt x="29" y="359"/>
                  </a:lnTo>
                  <a:lnTo>
                    <a:pt x="29" y="357"/>
                  </a:lnTo>
                  <a:lnTo>
                    <a:pt x="27" y="355"/>
                  </a:lnTo>
                  <a:lnTo>
                    <a:pt x="24" y="352"/>
                  </a:lnTo>
                  <a:lnTo>
                    <a:pt x="24" y="350"/>
                  </a:lnTo>
                  <a:lnTo>
                    <a:pt x="22" y="345"/>
                  </a:lnTo>
                  <a:lnTo>
                    <a:pt x="19" y="342"/>
                  </a:lnTo>
                  <a:lnTo>
                    <a:pt x="17" y="332"/>
                  </a:lnTo>
                  <a:lnTo>
                    <a:pt x="13" y="324"/>
                  </a:lnTo>
                  <a:lnTo>
                    <a:pt x="6" y="317"/>
                  </a:lnTo>
                  <a:lnTo>
                    <a:pt x="1" y="310"/>
                  </a:lnTo>
                  <a:lnTo>
                    <a:pt x="0" y="308"/>
                  </a:lnTo>
                  <a:lnTo>
                    <a:pt x="0" y="307"/>
                  </a:lnTo>
                  <a:lnTo>
                    <a:pt x="1" y="307"/>
                  </a:lnTo>
                  <a:lnTo>
                    <a:pt x="4" y="308"/>
                  </a:lnTo>
                  <a:lnTo>
                    <a:pt x="5" y="310"/>
                  </a:lnTo>
                  <a:lnTo>
                    <a:pt x="9" y="314"/>
                  </a:lnTo>
                  <a:lnTo>
                    <a:pt x="12" y="316"/>
                  </a:lnTo>
                  <a:lnTo>
                    <a:pt x="13" y="314"/>
                  </a:lnTo>
                  <a:lnTo>
                    <a:pt x="14" y="312"/>
                  </a:lnTo>
                  <a:lnTo>
                    <a:pt x="13" y="310"/>
                  </a:lnTo>
                  <a:lnTo>
                    <a:pt x="10" y="305"/>
                  </a:lnTo>
                  <a:lnTo>
                    <a:pt x="10" y="304"/>
                  </a:lnTo>
                  <a:lnTo>
                    <a:pt x="14" y="306"/>
                  </a:lnTo>
                  <a:lnTo>
                    <a:pt x="17" y="310"/>
                  </a:lnTo>
                  <a:lnTo>
                    <a:pt x="19" y="312"/>
                  </a:lnTo>
                  <a:lnTo>
                    <a:pt x="20" y="311"/>
                  </a:lnTo>
                  <a:lnTo>
                    <a:pt x="23" y="310"/>
                  </a:lnTo>
                  <a:lnTo>
                    <a:pt x="23" y="307"/>
                  </a:lnTo>
                  <a:lnTo>
                    <a:pt x="23" y="301"/>
                  </a:lnTo>
                  <a:lnTo>
                    <a:pt x="19" y="291"/>
                  </a:lnTo>
                  <a:lnTo>
                    <a:pt x="17" y="290"/>
                  </a:lnTo>
                  <a:lnTo>
                    <a:pt x="12" y="279"/>
                  </a:lnTo>
                  <a:lnTo>
                    <a:pt x="12" y="278"/>
                  </a:lnTo>
                  <a:lnTo>
                    <a:pt x="12" y="276"/>
                  </a:lnTo>
                  <a:lnTo>
                    <a:pt x="13" y="275"/>
                  </a:lnTo>
                  <a:lnTo>
                    <a:pt x="13" y="274"/>
                  </a:lnTo>
                  <a:lnTo>
                    <a:pt x="10" y="272"/>
                  </a:lnTo>
                  <a:lnTo>
                    <a:pt x="10" y="268"/>
                  </a:lnTo>
                  <a:lnTo>
                    <a:pt x="10" y="265"/>
                  </a:lnTo>
                  <a:lnTo>
                    <a:pt x="13" y="258"/>
                  </a:lnTo>
                  <a:lnTo>
                    <a:pt x="15" y="252"/>
                  </a:lnTo>
                  <a:lnTo>
                    <a:pt x="17" y="248"/>
                  </a:lnTo>
                  <a:lnTo>
                    <a:pt x="13" y="241"/>
                  </a:lnTo>
                  <a:lnTo>
                    <a:pt x="12" y="234"/>
                  </a:lnTo>
                  <a:lnTo>
                    <a:pt x="13" y="227"/>
                  </a:lnTo>
                  <a:lnTo>
                    <a:pt x="15" y="223"/>
                  </a:lnTo>
                  <a:lnTo>
                    <a:pt x="18" y="220"/>
                  </a:lnTo>
                  <a:lnTo>
                    <a:pt x="19" y="220"/>
                  </a:lnTo>
                  <a:lnTo>
                    <a:pt x="20" y="221"/>
                  </a:lnTo>
                  <a:lnTo>
                    <a:pt x="22" y="223"/>
                  </a:lnTo>
                  <a:lnTo>
                    <a:pt x="23" y="224"/>
                  </a:lnTo>
                  <a:lnTo>
                    <a:pt x="24" y="225"/>
                  </a:lnTo>
                  <a:lnTo>
                    <a:pt x="27" y="225"/>
                  </a:lnTo>
                  <a:lnTo>
                    <a:pt x="29" y="224"/>
                  </a:lnTo>
                  <a:lnTo>
                    <a:pt x="31" y="222"/>
                  </a:lnTo>
                  <a:lnTo>
                    <a:pt x="33" y="217"/>
                  </a:lnTo>
                  <a:lnTo>
                    <a:pt x="39" y="211"/>
                  </a:lnTo>
                  <a:lnTo>
                    <a:pt x="47" y="207"/>
                  </a:lnTo>
                  <a:lnTo>
                    <a:pt x="61" y="197"/>
                  </a:lnTo>
                  <a:lnTo>
                    <a:pt x="64" y="195"/>
                  </a:lnTo>
                  <a:lnTo>
                    <a:pt x="67" y="193"/>
                  </a:lnTo>
                  <a:lnTo>
                    <a:pt x="75" y="195"/>
                  </a:lnTo>
                  <a:lnTo>
                    <a:pt x="79" y="195"/>
                  </a:lnTo>
                  <a:lnTo>
                    <a:pt x="83" y="192"/>
                  </a:lnTo>
                  <a:lnTo>
                    <a:pt x="92" y="188"/>
                  </a:lnTo>
                  <a:lnTo>
                    <a:pt x="100" y="184"/>
                  </a:lnTo>
                  <a:lnTo>
                    <a:pt x="111" y="183"/>
                  </a:lnTo>
                  <a:lnTo>
                    <a:pt x="121" y="183"/>
                  </a:lnTo>
                  <a:lnTo>
                    <a:pt x="123" y="182"/>
                  </a:lnTo>
                  <a:lnTo>
                    <a:pt x="126" y="180"/>
                  </a:lnTo>
                  <a:lnTo>
                    <a:pt x="131" y="176"/>
                  </a:lnTo>
                  <a:lnTo>
                    <a:pt x="136" y="175"/>
                  </a:lnTo>
                  <a:lnTo>
                    <a:pt x="141" y="173"/>
                  </a:lnTo>
                  <a:lnTo>
                    <a:pt x="142" y="172"/>
                  </a:lnTo>
                  <a:lnTo>
                    <a:pt x="144" y="171"/>
                  </a:lnTo>
                  <a:lnTo>
                    <a:pt x="145" y="164"/>
                  </a:lnTo>
                  <a:lnTo>
                    <a:pt x="147" y="158"/>
                  </a:lnTo>
                  <a:lnTo>
                    <a:pt x="149" y="156"/>
                  </a:lnTo>
                  <a:lnTo>
                    <a:pt x="151" y="153"/>
                  </a:lnTo>
                  <a:lnTo>
                    <a:pt x="155" y="152"/>
                  </a:lnTo>
                  <a:lnTo>
                    <a:pt x="159" y="152"/>
                  </a:lnTo>
                  <a:lnTo>
                    <a:pt x="160" y="151"/>
                  </a:lnTo>
                  <a:lnTo>
                    <a:pt x="161" y="150"/>
                  </a:lnTo>
                  <a:lnTo>
                    <a:pt x="163" y="147"/>
                  </a:lnTo>
                  <a:lnTo>
                    <a:pt x="163" y="138"/>
                  </a:lnTo>
                  <a:lnTo>
                    <a:pt x="164" y="126"/>
                  </a:lnTo>
                  <a:lnTo>
                    <a:pt x="165" y="118"/>
                  </a:lnTo>
                  <a:lnTo>
                    <a:pt x="166" y="114"/>
                  </a:lnTo>
                  <a:lnTo>
                    <a:pt x="169" y="113"/>
                  </a:lnTo>
                  <a:lnTo>
                    <a:pt x="172" y="114"/>
                  </a:lnTo>
                  <a:lnTo>
                    <a:pt x="174" y="115"/>
                  </a:lnTo>
                  <a:lnTo>
                    <a:pt x="175" y="116"/>
                  </a:lnTo>
                  <a:lnTo>
                    <a:pt x="177" y="119"/>
                  </a:lnTo>
                  <a:lnTo>
                    <a:pt x="178" y="125"/>
                  </a:lnTo>
                  <a:lnTo>
                    <a:pt x="179" y="129"/>
                  </a:lnTo>
                  <a:lnTo>
                    <a:pt x="182" y="132"/>
                  </a:lnTo>
                  <a:lnTo>
                    <a:pt x="183" y="132"/>
                  </a:lnTo>
                  <a:lnTo>
                    <a:pt x="184" y="131"/>
                  </a:lnTo>
                  <a:lnTo>
                    <a:pt x="183" y="125"/>
                  </a:lnTo>
                  <a:lnTo>
                    <a:pt x="183" y="119"/>
                  </a:lnTo>
                  <a:lnTo>
                    <a:pt x="183" y="116"/>
                  </a:lnTo>
                  <a:lnTo>
                    <a:pt x="183" y="114"/>
                  </a:lnTo>
                  <a:lnTo>
                    <a:pt x="184" y="112"/>
                  </a:lnTo>
                  <a:lnTo>
                    <a:pt x="188" y="110"/>
                  </a:lnTo>
                  <a:lnTo>
                    <a:pt x="189" y="110"/>
                  </a:lnTo>
                  <a:lnTo>
                    <a:pt x="192" y="112"/>
                  </a:lnTo>
                  <a:lnTo>
                    <a:pt x="193" y="112"/>
                  </a:lnTo>
                  <a:lnTo>
                    <a:pt x="194" y="113"/>
                  </a:lnTo>
                  <a:lnTo>
                    <a:pt x="198" y="110"/>
                  </a:lnTo>
                  <a:lnTo>
                    <a:pt x="199" y="107"/>
                  </a:lnTo>
                  <a:lnTo>
                    <a:pt x="201" y="102"/>
                  </a:lnTo>
                  <a:lnTo>
                    <a:pt x="201" y="99"/>
                  </a:lnTo>
                  <a:lnTo>
                    <a:pt x="198" y="97"/>
                  </a:lnTo>
                  <a:lnTo>
                    <a:pt x="196" y="96"/>
                  </a:lnTo>
                  <a:lnTo>
                    <a:pt x="194" y="95"/>
                  </a:lnTo>
                  <a:lnTo>
                    <a:pt x="196" y="94"/>
                  </a:lnTo>
                  <a:lnTo>
                    <a:pt x="197" y="93"/>
                  </a:lnTo>
                  <a:lnTo>
                    <a:pt x="201" y="92"/>
                  </a:lnTo>
                  <a:lnTo>
                    <a:pt x="206" y="92"/>
                  </a:lnTo>
                  <a:lnTo>
                    <a:pt x="210" y="90"/>
                  </a:lnTo>
                  <a:lnTo>
                    <a:pt x="211" y="89"/>
                  </a:lnTo>
                  <a:lnTo>
                    <a:pt x="212" y="87"/>
                  </a:lnTo>
                  <a:lnTo>
                    <a:pt x="212" y="83"/>
                  </a:lnTo>
                  <a:lnTo>
                    <a:pt x="212" y="78"/>
                  </a:lnTo>
                  <a:lnTo>
                    <a:pt x="212" y="75"/>
                  </a:lnTo>
                  <a:lnTo>
                    <a:pt x="215" y="74"/>
                  </a:lnTo>
                  <a:lnTo>
                    <a:pt x="217" y="73"/>
                  </a:lnTo>
                  <a:lnTo>
                    <a:pt x="219" y="74"/>
                  </a:lnTo>
                  <a:lnTo>
                    <a:pt x="220" y="75"/>
                  </a:lnTo>
                  <a:lnTo>
                    <a:pt x="221" y="77"/>
                  </a:lnTo>
                  <a:lnTo>
                    <a:pt x="222" y="77"/>
                  </a:lnTo>
                  <a:lnTo>
                    <a:pt x="225" y="76"/>
                  </a:lnTo>
                  <a:lnTo>
                    <a:pt x="226" y="74"/>
                  </a:lnTo>
                  <a:lnTo>
                    <a:pt x="227" y="69"/>
                  </a:lnTo>
                  <a:lnTo>
                    <a:pt x="227" y="64"/>
                  </a:lnTo>
                  <a:lnTo>
                    <a:pt x="226" y="58"/>
                  </a:lnTo>
                  <a:lnTo>
                    <a:pt x="227" y="58"/>
                  </a:lnTo>
                  <a:lnTo>
                    <a:pt x="229" y="58"/>
                  </a:lnTo>
                  <a:lnTo>
                    <a:pt x="230" y="60"/>
                  </a:lnTo>
                  <a:lnTo>
                    <a:pt x="230" y="62"/>
                  </a:lnTo>
                  <a:lnTo>
                    <a:pt x="231" y="63"/>
                  </a:lnTo>
                  <a:lnTo>
                    <a:pt x="233" y="64"/>
                  </a:lnTo>
                  <a:lnTo>
                    <a:pt x="234" y="64"/>
                  </a:lnTo>
                  <a:lnTo>
                    <a:pt x="236" y="63"/>
                  </a:lnTo>
                  <a:lnTo>
                    <a:pt x="238" y="63"/>
                  </a:lnTo>
                  <a:lnTo>
                    <a:pt x="239" y="63"/>
                  </a:lnTo>
                  <a:lnTo>
                    <a:pt x="245" y="65"/>
                  </a:lnTo>
                  <a:lnTo>
                    <a:pt x="252" y="65"/>
                  </a:lnTo>
                  <a:lnTo>
                    <a:pt x="252" y="67"/>
                  </a:lnTo>
                  <a:lnTo>
                    <a:pt x="253" y="67"/>
                  </a:lnTo>
                  <a:lnTo>
                    <a:pt x="253" y="71"/>
                  </a:lnTo>
                  <a:lnTo>
                    <a:pt x="255" y="75"/>
                  </a:lnTo>
                  <a:lnTo>
                    <a:pt x="258" y="78"/>
                  </a:lnTo>
                  <a:lnTo>
                    <a:pt x="260" y="82"/>
                  </a:lnTo>
                  <a:lnTo>
                    <a:pt x="260" y="84"/>
                  </a:lnTo>
                  <a:lnTo>
                    <a:pt x="260" y="87"/>
                  </a:lnTo>
                  <a:lnTo>
                    <a:pt x="257" y="92"/>
                  </a:lnTo>
                  <a:lnTo>
                    <a:pt x="255" y="94"/>
                  </a:lnTo>
                  <a:lnTo>
                    <a:pt x="255" y="96"/>
                  </a:lnTo>
                  <a:lnTo>
                    <a:pt x="257" y="97"/>
                  </a:lnTo>
                  <a:lnTo>
                    <a:pt x="258" y="97"/>
                  </a:lnTo>
                  <a:lnTo>
                    <a:pt x="263" y="93"/>
                  </a:lnTo>
                  <a:lnTo>
                    <a:pt x="267" y="88"/>
                  </a:lnTo>
                  <a:lnTo>
                    <a:pt x="269" y="83"/>
                  </a:lnTo>
                  <a:lnTo>
                    <a:pt x="273" y="78"/>
                  </a:lnTo>
                  <a:lnTo>
                    <a:pt x="274" y="77"/>
                  </a:lnTo>
                  <a:lnTo>
                    <a:pt x="277" y="77"/>
                  </a:lnTo>
                  <a:lnTo>
                    <a:pt x="279" y="78"/>
                  </a:lnTo>
                  <a:lnTo>
                    <a:pt x="285" y="80"/>
                  </a:lnTo>
                  <a:lnTo>
                    <a:pt x="288" y="81"/>
                  </a:lnTo>
                  <a:lnTo>
                    <a:pt x="288" y="78"/>
                  </a:lnTo>
                  <a:lnTo>
                    <a:pt x="288" y="77"/>
                  </a:lnTo>
                  <a:lnTo>
                    <a:pt x="286" y="74"/>
                  </a:lnTo>
                  <a:lnTo>
                    <a:pt x="285" y="70"/>
                  </a:lnTo>
                  <a:lnTo>
                    <a:pt x="286" y="67"/>
                  </a:lnTo>
                  <a:lnTo>
                    <a:pt x="286" y="64"/>
                  </a:lnTo>
                  <a:lnTo>
                    <a:pt x="290" y="58"/>
                  </a:lnTo>
                  <a:lnTo>
                    <a:pt x="296" y="54"/>
                  </a:lnTo>
                  <a:lnTo>
                    <a:pt x="299" y="51"/>
                  </a:lnTo>
                  <a:lnTo>
                    <a:pt x="299" y="48"/>
                  </a:lnTo>
                  <a:lnTo>
                    <a:pt x="297" y="43"/>
                  </a:lnTo>
                  <a:lnTo>
                    <a:pt x="297" y="39"/>
                  </a:lnTo>
                  <a:lnTo>
                    <a:pt x="300" y="38"/>
                  </a:lnTo>
                  <a:lnTo>
                    <a:pt x="305" y="35"/>
                  </a:lnTo>
                  <a:lnTo>
                    <a:pt x="310" y="31"/>
                  </a:lnTo>
                  <a:lnTo>
                    <a:pt x="316" y="29"/>
                  </a:lnTo>
                  <a:lnTo>
                    <a:pt x="321" y="28"/>
                  </a:lnTo>
                  <a:lnTo>
                    <a:pt x="328" y="28"/>
                  </a:lnTo>
                  <a:lnTo>
                    <a:pt x="332" y="28"/>
                  </a:lnTo>
                  <a:lnTo>
                    <a:pt x="335" y="25"/>
                  </a:lnTo>
                  <a:lnTo>
                    <a:pt x="338" y="22"/>
                  </a:lnTo>
                  <a:lnTo>
                    <a:pt x="338" y="18"/>
                  </a:lnTo>
                  <a:lnTo>
                    <a:pt x="335" y="16"/>
                  </a:lnTo>
                  <a:lnTo>
                    <a:pt x="333" y="13"/>
                  </a:lnTo>
                  <a:lnTo>
                    <a:pt x="333" y="11"/>
                  </a:lnTo>
                  <a:lnTo>
                    <a:pt x="335" y="10"/>
                  </a:lnTo>
                  <a:lnTo>
                    <a:pt x="338" y="10"/>
                  </a:lnTo>
                  <a:lnTo>
                    <a:pt x="340" y="11"/>
                  </a:lnTo>
                  <a:lnTo>
                    <a:pt x="348" y="16"/>
                  </a:lnTo>
                  <a:lnTo>
                    <a:pt x="356" y="18"/>
                  </a:lnTo>
                  <a:lnTo>
                    <a:pt x="372" y="22"/>
                  </a:lnTo>
                  <a:lnTo>
                    <a:pt x="398" y="26"/>
                  </a:lnTo>
                  <a:lnTo>
                    <a:pt x="399" y="29"/>
                  </a:lnTo>
                  <a:lnTo>
                    <a:pt x="400" y="29"/>
                  </a:lnTo>
                  <a:lnTo>
                    <a:pt x="401" y="29"/>
                  </a:lnTo>
                  <a:lnTo>
                    <a:pt x="404" y="28"/>
                  </a:lnTo>
                  <a:lnTo>
                    <a:pt x="405" y="26"/>
                  </a:lnTo>
                  <a:lnTo>
                    <a:pt x="406" y="24"/>
                  </a:lnTo>
                  <a:lnTo>
                    <a:pt x="408" y="23"/>
                  </a:lnTo>
                  <a:lnTo>
                    <a:pt x="410" y="23"/>
                  </a:lnTo>
                  <a:lnTo>
                    <a:pt x="413" y="24"/>
                  </a:lnTo>
                  <a:lnTo>
                    <a:pt x="413" y="26"/>
                  </a:lnTo>
                  <a:lnTo>
                    <a:pt x="413" y="29"/>
                  </a:lnTo>
                  <a:lnTo>
                    <a:pt x="410" y="35"/>
                  </a:lnTo>
                  <a:lnTo>
                    <a:pt x="409" y="41"/>
                  </a:lnTo>
                  <a:lnTo>
                    <a:pt x="408" y="42"/>
                  </a:lnTo>
                  <a:lnTo>
                    <a:pt x="406" y="43"/>
                  </a:lnTo>
                  <a:lnTo>
                    <a:pt x="401" y="43"/>
                  </a:lnTo>
                  <a:lnTo>
                    <a:pt x="401" y="44"/>
                  </a:lnTo>
                  <a:lnTo>
                    <a:pt x="401" y="45"/>
                  </a:lnTo>
                  <a:lnTo>
                    <a:pt x="405" y="49"/>
                  </a:lnTo>
                  <a:lnTo>
                    <a:pt x="406" y="50"/>
                  </a:lnTo>
                  <a:lnTo>
                    <a:pt x="405" y="54"/>
                  </a:lnTo>
                  <a:lnTo>
                    <a:pt x="401" y="56"/>
                  </a:lnTo>
                  <a:lnTo>
                    <a:pt x="399" y="57"/>
                  </a:lnTo>
                  <a:lnTo>
                    <a:pt x="399" y="60"/>
                  </a:lnTo>
                  <a:lnTo>
                    <a:pt x="398" y="64"/>
                  </a:lnTo>
                  <a:lnTo>
                    <a:pt x="396" y="69"/>
                  </a:lnTo>
                  <a:lnTo>
                    <a:pt x="395" y="74"/>
                  </a:lnTo>
                  <a:lnTo>
                    <a:pt x="395" y="78"/>
                  </a:lnTo>
                  <a:lnTo>
                    <a:pt x="398" y="84"/>
                  </a:lnTo>
                  <a:lnTo>
                    <a:pt x="400" y="89"/>
                  </a:lnTo>
                  <a:lnTo>
                    <a:pt x="405" y="93"/>
                  </a:lnTo>
                  <a:lnTo>
                    <a:pt x="408" y="94"/>
                  </a:lnTo>
                  <a:lnTo>
                    <a:pt x="410" y="94"/>
                  </a:lnTo>
                  <a:lnTo>
                    <a:pt x="413" y="93"/>
                  </a:lnTo>
                  <a:lnTo>
                    <a:pt x="415" y="92"/>
                  </a:lnTo>
                  <a:lnTo>
                    <a:pt x="417" y="93"/>
                  </a:lnTo>
                  <a:lnTo>
                    <a:pt x="418" y="93"/>
                  </a:lnTo>
                  <a:lnTo>
                    <a:pt x="422" y="100"/>
                  </a:lnTo>
                  <a:lnTo>
                    <a:pt x="427" y="106"/>
                  </a:lnTo>
                  <a:lnTo>
                    <a:pt x="433" y="110"/>
                  </a:lnTo>
                  <a:lnTo>
                    <a:pt x="439" y="114"/>
                  </a:lnTo>
                  <a:lnTo>
                    <a:pt x="445" y="115"/>
                  </a:lnTo>
                  <a:lnTo>
                    <a:pt x="446" y="116"/>
                  </a:lnTo>
                  <a:lnTo>
                    <a:pt x="447" y="118"/>
                  </a:lnTo>
                  <a:lnTo>
                    <a:pt x="448" y="121"/>
                  </a:lnTo>
                  <a:lnTo>
                    <a:pt x="450" y="122"/>
                  </a:lnTo>
                  <a:lnTo>
                    <a:pt x="455" y="124"/>
                  </a:lnTo>
                  <a:lnTo>
                    <a:pt x="457" y="125"/>
                  </a:lnTo>
                  <a:lnTo>
                    <a:pt x="462" y="129"/>
                  </a:lnTo>
                  <a:lnTo>
                    <a:pt x="466" y="134"/>
                  </a:lnTo>
                  <a:lnTo>
                    <a:pt x="469" y="137"/>
                  </a:lnTo>
                  <a:lnTo>
                    <a:pt x="471" y="138"/>
                  </a:lnTo>
                  <a:lnTo>
                    <a:pt x="474" y="138"/>
                  </a:lnTo>
                  <a:lnTo>
                    <a:pt x="475" y="138"/>
                  </a:lnTo>
                  <a:lnTo>
                    <a:pt x="479" y="134"/>
                  </a:lnTo>
                  <a:lnTo>
                    <a:pt x="484" y="124"/>
                  </a:lnTo>
                  <a:lnTo>
                    <a:pt x="495" y="93"/>
                  </a:lnTo>
                  <a:lnTo>
                    <a:pt x="495" y="87"/>
                  </a:lnTo>
                  <a:lnTo>
                    <a:pt x="495" y="81"/>
                  </a:lnTo>
                  <a:lnTo>
                    <a:pt x="493" y="76"/>
                  </a:lnTo>
                  <a:lnTo>
                    <a:pt x="493" y="73"/>
                  </a:lnTo>
                  <a:lnTo>
                    <a:pt x="493" y="70"/>
                  </a:lnTo>
                  <a:lnTo>
                    <a:pt x="495" y="64"/>
                  </a:lnTo>
                  <a:lnTo>
                    <a:pt x="495" y="62"/>
                  </a:lnTo>
                  <a:lnTo>
                    <a:pt x="495" y="58"/>
                  </a:lnTo>
                  <a:lnTo>
                    <a:pt x="495" y="54"/>
                  </a:lnTo>
                  <a:lnTo>
                    <a:pt x="495" y="49"/>
                  </a:lnTo>
                  <a:lnTo>
                    <a:pt x="497" y="38"/>
                  </a:lnTo>
                  <a:lnTo>
                    <a:pt x="497" y="28"/>
                  </a:lnTo>
                  <a:lnTo>
                    <a:pt x="498" y="24"/>
                  </a:lnTo>
                  <a:lnTo>
                    <a:pt x="500" y="22"/>
                  </a:lnTo>
                  <a:lnTo>
                    <a:pt x="504" y="19"/>
                  </a:lnTo>
                  <a:lnTo>
                    <a:pt x="506" y="19"/>
                  </a:lnTo>
                  <a:lnTo>
                    <a:pt x="507" y="18"/>
                  </a:lnTo>
                  <a:lnTo>
                    <a:pt x="507" y="12"/>
                  </a:lnTo>
                  <a:lnTo>
                    <a:pt x="506" y="5"/>
                  </a:lnTo>
                  <a:lnTo>
                    <a:pt x="506" y="3"/>
                  </a:lnTo>
                  <a:lnTo>
                    <a:pt x="507" y="0"/>
                  </a:lnTo>
                  <a:lnTo>
                    <a:pt x="508" y="0"/>
                  </a:lnTo>
                  <a:lnTo>
                    <a:pt x="511" y="0"/>
                  </a:lnTo>
                  <a:lnTo>
                    <a:pt x="514" y="3"/>
                  </a:lnTo>
                  <a:lnTo>
                    <a:pt x="516" y="5"/>
                  </a:lnTo>
                  <a:lnTo>
                    <a:pt x="518" y="12"/>
                  </a:lnTo>
                  <a:lnTo>
                    <a:pt x="519" y="22"/>
                  </a:lnTo>
                  <a:lnTo>
                    <a:pt x="522" y="29"/>
                  </a:lnTo>
                  <a:lnTo>
                    <a:pt x="527" y="38"/>
                  </a:lnTo>
                  <a:lnTo>
                    <a:pt x="528" y="43"/>
                  </a:lnTo>
                  <a:lnTo>
                    <a:pt x="530" y="49"/>
                  </a:lnTo>
                  <a:lnTo>
                    <a:pt x="531" y="55"/>
                  </a:lnTo>
                  <a:lnTo>
                    <a:pt x="531" y="61"/>
                  </a:lnTo>
                  <a:lnTo>
                    <a:pt x="532" y="65"/>
                  </a:lnTo>
                  <a:lnTo>
                    <a:pt x="535" y="71"/>
                  </a:lnTo>
                  <a:lnTo>
                    <a:pt x="536" y="71"/>
                  </a:lnTo>
                  <a:lnTo>
                    <a:pt x="537" y="73"/>
                  </a:lnTo>
                  <a:lnTo>
                    <a:pt x="541" y="71"/>
                  </a:lnTo>
                  <a:lnTo>
                    <a:pt x="544" y="69"/>
                  </a:lnTo>
                  <a:lnTo>
                    <a:pt x="546" y="69"/>
                  </a:lnTo>
                  <a:lnTo>
                    <a:pt x="550" y="70"/>
                  </a:lnTo>
                  <a:lnTo>
                    <a:pt x="553" y="74"/>
                  </a:lnTo>
                  <a:lnTo>
                    <a:pt x="556" y="83"/>
                  </a:lnTo>
                  <a:lnTo>
                    <a:pt x="566" y="106"/>
                  </a:lnTo>
                  <a:lnTo>
                    <a:pt x="577" y="128"/>
                  </a:lnTo>
                  <a:lnTo>
                    <a:pt x="578" y="132"/>
                  </a:lnTo>
                  <a:lnTo>
                    <a:pt x="578" y="135"/>
                  </a:lnTo>
                  <a:lnTo>
                    <a:pt x="575" y="143"/>
                  </a:lnTo>
                  <a:lnTo>
                    <a:pt x="575" y="148"/>
                  </a:lnTo>
                  <a:lnTo>
                    <a:pt x="577" y="154"/>
                  </a:lnTo>
                  <a:lnTo>
                    <a:pt x="580" y="160"/>
                  </a:lnTo>
                  <a:lnTo>
                    <a:pt x="584" y="165"/>
                  </a:lnTo>
                  <a:lnTo>
                    <a:pt x="589" y="170"/>
                  </a:lnTo>
                  <a:lnTo>
                    <a:pt x="596" y="173"/>
                  </a:lnTo>
                  <a:lnTo>
                    <a:pt x="602" y="175"/>
                  </a:lnTo>
                  <a:lnTo>
                    <a:pt x="610" y="177"/>
                  </a:lnTo>
                  <a:lnTo>
                    <a:pt x="612" y="178"/>
                  </a:lnTo>
                  <a:lnTo>
                    <a:pt x="616" y="180"/>
                  </a:lnTo>
                  <a:lnTo>
                    <a:pt x="619" y="184"/>
                  </a:lnTo>
                  <a:lnTo>
                    <a:pt x="620" y="188"/>
                  </a:lnTo>
                  <a:lnTo>
                    <a:pt x="620" y="196"/>
                  </a:lnTo>
                  <a:lnTo>
                    <a:pt x="621" y="197"/>
                  </a:lnTo>
                  <a:lnTo>
                    <a:pt x="621" y="198"/>
                  </a:lnTo>
                  <a:lnTo>
                    <a:pt x="625" y="201"/>
                  </a:lnTo>
                  <a:lnTo>
                    <a:pt x="629" y="204"/>
                  </a:lnTo>
                  <a:lnTo>
                    <a:pt x="633" y="211"/>
                  </a:lnTo>
                  <a:lnTo>
                    <a:pt x="638" y="217"/>
                  </a:lnTo>
                  <a:lnTo>
                    <a:pt x="639" y="221"/>
                  </a:lnTo>
                  <a:lnTo>
                    <a:pt x="641" y="222"/>
                  </a:lnTo>
                  <a:lnTo>
                    <a:pt x="649" y="228"/>
                  </a:lnTo>
                  <a:lnTo>
                    <a:pt x="654" y="234"/>
                  </a:lnTo>
                  <a:lnTo>
                    <a:pt x="655" y="241"/>
                  </a:lnTo>
                  <a:lnTo>
                    <a:pt x="655" y="249"/>
                  </a:lnTo>
                  <a:lnTo>
                    <a:pt x="657" y="254"/>
                  </a:lnTo>
                  <a:lnTo>
                    <a:pt x="659" y="259"/>
                  </a:lnTo>
                  <a:lnTo>
                    <a:pt x="663" y="262"/>
                  </a:lnTo>
                  <a:lnTo>
                    <a:pt x="668" y="266"/>
                  </a:lnTo>
                  <a:lnTo>
                    <a:pt x="669" y="266"/>
                  </a:lnTo>
                  <a:lnTo>
                    <a:pt x="669" y="267"/>
                  </a:lnTo>
                  <a:lnTo>
                    <a:pt x="671" y="268"/>
                  </a:lnTo>
                  <a:lnTo>
                    <a:pt x="676" y="269"/>
                  </a:lnTo>
                  <a:lnTo>
                    <a:pt x="681" y="273"/>
                  </a:lnTo>
                  <a:lnTo>
                    <a:pt x="683" y="276"/>
                  </a:lnTo>
                  <a:lnTo>
                    <a:pt x="686" y="281"/>
                  </a:lnTo>
                  <a:lnTo>
                    <a:pt x="695" y="301"/>
                  </a:lnTo>
                  <a:lnTo>
                    <a:pt x="696" y="308"/>
                  </a:lnTo>
                  <a:lnTo>
                    <a:pt x="697" y="313"/>
                  </a:lnTo>
                  <a:lnTo>
                    <a:pt x="700" y="316"/>
                  </a:lnTo>
                  <a:lnTo>
                    <a:pt x="701" y="319"/>
                  </a:lnTo>
                  <a:lnTo>
                    <a:pt x="702" y="322"/>
                  </a:lnTo>
                  <a:lnTo>
                    <a:pt x="705" y="364"/>
                  </a:lnTo>
                  <a:lnTo>
                    <a:pt x="704" y="376"/>
                  </a:lnTo>
                  <a:lnTo>
                    <a:pt x="701" y="388"/>
                  </a:lnTo>
                  <a:lnTo>
                    <a:pt x="693" y="413"/>
                  </a:lnTo>
                  <a:lnTo>
                    <a:pt x="690" y="421"/>
                  </a:lnTo>
                  <a:lnTo>
                    <a:pt x="683" y="432"/>
                  </a:lnTo>
                  <a:lnTo>
                    <a:pt x="671" y="448"/>
                  </a:lnTo>
                  <a:lnTo>
                    <a:pt x="668" y="453"/>
                  </a:lnTo>
                  <a:lnTo>
                    <a:pt x="666" y="457"/>
                  </a:lnTo>
                  <a:lnTo>
                    <a:pt x="664" y="460"/>
                  </a:lnTo>
                  <a:lnTo>
                    <a:pt x="664" y="463"/>
                  </a:lnTo>
                  <a:lnTo>
                    <a:pt x="657" y="476"/>
                  </a:lnTo>
                  <a:lnTo>
                    <a:pt x="652" y="490"/>
                  </a:lnTo>
                  <a:lnTo>
                    <a:pt x="650" y="492"/>
                  </a:lnTo>
                  <a:lnTo>
                    <a:pt x="646" y="495"/>
                  </a:lnTo>
                  <a:lnTo>
                    <a:pt x="645" y="496"/>
                  </a:lnTo>
                  <a:lnTo>
                    <a:pt x="645" y="497"/>
                  </a:lnTo>
                  <a:lnTo>
                    <a:pt x="649" y="503"/>
                  </a:lnTo>
                  <a:lnTo>
                    <a:pt x="649" y="506"/>
                  </a:lnTo>
                  <a:lnTo>
                    <a:pt x="648" y="509"/>
                  </a:lnTo>
                  <a:lnTo>
                    <a:pt x="645" y="520"/>
                  </a:lnTo>
                  <a:lnTo>
                    <a:pt x="644" y="524"/>
                  </a:lnTo>
                  <a:lnTo>
                    <a:pt x="645" y="530"/>
                  </a:lnTo>
                  <a:lnTo>
                    <a:pt x="646" y="534"/>
                  </a:lnTo>
                  <a:lnTo>
                    <a:pt x="646" y="536"/>
                  </a:lnTo>
                  <a:lnTo>
                    <a:pt x="645" y="537"/>
                  </a:lnTo>
                  <a:lnTo>
                    <a:pt x="643" y="542"/>
                  </a:lnTo>
                  <a:lnTo>
                    <a:pt x="640" y="547"/>
                  </a:lnTo>
                  <a:lnTo>
                    <a:pt x="638" y="550"/>
                  </a:lnTo>
                  <a:lnTo>
                    <a:pt x="634" y="554"/>
                  </a:lnTo>
                  <a:lnTo>
                    <a:pt x="629" y="556"/>
                  </a:lnTo>
                  <a:lnTo>
                    <a:pt x="622" y="557"/>
                  </a:lnTo>
                  <a:lnTo>
                    <a:pt x="610" y="557"/>
                  </a:lnTo>
                  <a:lnTo>
                    <a:pt x="610" y="559"/>
                  </a:lnTo>
                  <a:lnTo>
                    <a:pt x="603" y="560"/>
                  </a:lnTo>
                  <a:lnTo>
                    <a:pt x="598" y="562"/>
                  </a:lnTo>
                  <a:lnTo>
                    <a:pt x="593" y="567"/>
                  </a:lnTo>
                  <a:lnTo>
                    <a:pt x="589" y="570"/>
                  </a:lnTo>
                  <a:lnTo>
                    <a:pt x="587" y="572"/>
                  </a:lnTo>
                  <a:lnTo>
                    <a:pt x="583" y="573"/>
                  </a:lnTo>
                  <a:lnTo>
                    <a:pt x="579" y="573"/>
                  </a:lnTo>
                  <a:lnTo>
                    <a:pt x="577" y="575"/>
                  </a:lnTo>
                  <a:lnTo>
                    <a:pt x="577" y="576"/>
                  </a:lnTo>
                  <a:lnTo>
                    <a:pt x="578" y="579"/>
                  </a:lnTo>
                  <a:lnTo>
                    <a:pt x="579" y="581"/>
                  </a:lnTo>
                  <a:lnTo>
                    <a:pt x="579" y="582"/>
                  </a:lnTo>
                  <a:lnTo>
                    <a:pt x="578" y="584"/>
                  </a:lnTo>
                  <a:lnTo>
                    <a:pt x="577" y="582"/>
                  </a:lnTo>
                  <a:lnTo>
                    <a:pt x="575" y="580"/>
                  </a:lnTo>
                  <a:lnTo>
                    <a:pt x="570" y="576"/>
                  </a:lnTo>
                  <a:lnTo>
                    <a:pt x="566" y="572"/>
                  </a:lnTo>
                  <a:lnTo>
                    <a:pt x="563" y="570"/>
                  </a:lnTo>
                  <a:lnTo>
                    <a:pt x="556" y="570"/>
                  </a:lnTo>
                  <a:lnTo>
                    <a:pt x="561" y="567"/>
                  </a:lnTo>
                  <a:lnTo>
                    <a:pt x="563" y="565"/>
                  </a:lnTo>
                  <a:lnTo>
                    <a:pt x="564" y="562"/>
                  </a:lnTo>
                  <a:lnTo>
                    <a:pt x="563" y="559"/>
                  </a:lnTo>
                  <a:lnTo>
                    <a:pt x="560" y="556"/>
                  </a:lnTo>
                  <a:lnTo>
                    <a:pt x="556" y="555"/>
                  </a:lnTo>
                  <a:lnTo>
                    <a:pt x="553" y="554"/>
                  </a:lnTo>
                  <a:lnTo>
                    <a:pt x="551" y="555"/>
                  </a:lnTo>
                  <a:lnTo>
                    <a:pt x="550" y="557"/>
                  </a:lnTo>
                  <a:lnTo>
                    <a:pt x="549" y="560"/>
                  </a:lnTo>
                  <a:lnTo>
                    <a:pt x="550" y="562"/>
                  </a:lnTo>
                  <a:lnTo>
                    <a:pt x="551" y="565"/>
                  </a:lnTo>
                  <a:lnTo>
                    <a:pt x="551" y="566"/>
                  </a:lnTo>
                  <a:lnTo>
                    <a:pt x="551" y="567"/>
                  </a:lnTo>
                  <a:lnTo>
                    <a:pt x="550" y="567"/>
                  </a:lnTo>
                  <a:lnTo>
                    <a:pt x="549" y="567"/>
                  </a:lnTo>
                  <a:lnTo>
                    <a:pt x="546" y="566"/>
                  </a:lnTo>
                  <a:lnTo>
                    <a:pt x="540" y="567"/>
                  </a:lnTo>
                  <a:lnTo>
                    <a:pt x="535" y="568"/>
                  </a:lnTo>
                  <a:lnTo>
                    <a:pt x="531" y="569"/>
                  </a:lnTo>
                  <a:lnTo>
                    <a:pt x="528" y="572"/>
                  </a:lnTo>
                  <a:lnTo>
                    <a:pt x="525" y="573"/>
                  </a:lnTo>
                  <a:lnTo>
                    <a:pt x="522" y="573"/>
                  </a:lnTo>
                  <a:lnTo>
                    <a:pt x="519" y="573"/>
                  </a:lnTo>
                  <a:lnTo>
                    <a:pt x="514" y="569"/>
                  </a:lnTo>
                  <a:lnTo>
                    <a:pt x="508" y="566"/>
                  </a:lnTo>
                  <a:lnTo>
                    <a:pt x="506" y="566"/>
                  </a:lnTo>
                  <a:lnTo>
                    <a:pt x="503" y="565"/>
                  </a:lnTo>
                  <a:lnTo>
                    <a:pt x="500" y="566"/>
                  </a:lnTo>
                  <a:lnTo>
                    <a:pt x="497" y="568"/>
                  </a:lnTo>
                  <a:lnTo>
                    <a:pt x="495" y="568"/>
                  </a:lnTo>
                  <a:lnTo>
                    <a:pt x="494" y="568"/>
                  </a:lnTo>
                  <a:lnTo>
                    <a:pt x="492" y="567"/>
                  </a:lnTo>
                  <a:lnTo>
                    <a:pt x="490" y="566"/>
                  </a:lnTo>
                  <a:lnTo>
                    <a:pt x="489" y="563"/>
                  </a:lnTo>
                  <a:lnTo>
                    <a:pt x="488" y="563"/>
                  </a:lnTo>
                  <a:lnTo>
                    <a:pt x="483" y="562"/>
                  </a:lnTo>
                  <a:lnTo>
                    <a:pt x="480" y="562"/>
                  </a:lnTo>
                  <a:lnTo>
                    <a:pt x="479" y="560"/>
                  </a:lnTo>
                  <a:lnTo>
                    <a:pt x="469" y="543"/>
                  </a:lnTo>
                  <a:lnTo>
                    <a:pt x="466" y="534"/>
                  </a:lnTo>
                  <a:lnTo>
                    <a:pt x="465" y="529"/>
                  </a:lnTo>
                  <a:lnTo>
                    <a:pt x="465" y="524"/>
                  </a:lnTo>
                  <a:lnTo>
                    <a:pt x="465" y="521"/>
                  </a:lnTo>
                  <a:lnTo>
                    <a:pt x="462" y="517"/>
                  </a:lnTo>
                  <a:lnTo>
                    <a:pt x="457" y="509"/>
                  </a:lnTo>
                  <a:lnTo>
                    <a:pt x="450" y="503"/>
                  </a:lnTo>
                  <a:lnTo>
                    <a:pt x="441" y="498"/>
                  </a:lnTo>
                  <a:lnTo>
                    <a:pt x="441" y="497"/>
                  </a:lnTo>
                  <a:lnTo>
                    <a:pt x="441" y="496"/>
                  </a:lnTo>
                  <a:lnTo>
                    <a:pt x="442" y="492"/>
                  </a:lnTo>
                  <a:lnTo>
                    <a:pt x="443" y="488"/>
                  </a:lnTo>
                  <a:lnTo>
                    <a:pt x="443" y="485"/>
                  </a:lnTo>
                  <a:lnTo>
                    <a:pt x="442" y="483"/>
                  </a:lnTo>
                  <a:lnTo>
                    <a:pt x="438" y="478"/>
                  </a:lnTo>
                  <a:lnTo>
                    <a:pt x="437" y="476"/>
                  </a:lnTo>
                  <a:lnTo>
                    <a:pt x="434" y="476"/>
                  </a:lnTo>
                  <a:lnTo>
                    <a:pt x="433" y="478"/>
                  </a:lnTo>
                  <a:lnTo>
                    <a:pt x="432" y="479"/>
                  </a:lnTo>
                  <a:lnTo>
                    <a:pt x="431" y="484"/>
                  </a:lnTo>
                  <a:lnTo>
                    <a:pt x="431" y="488"/>
                  </a:lnTo>
                  <a:lnTo>
                    <a:pt x="429" y="492"/>
                  </a:lnTo>
                  <a:lnTo>
                    <a:pt x="426" y="493"/>
                  </a:lnTo>
                  <a:lnTo>
                    <a:pt x="420" y="495"/>
                  </a:lnTo>
                  <a:lnTo>
                    <a:pt x="417" y="495"/>
                  </a:lnTo>
                  <a:lnTo>
                    <a:pt x="415" y="495"/>
                  </a:lnTo>
                  <a:lnTo>
                    <a:pt x="415" y="493"/>
                  </a:lnTo>
                  <a:lnTo>
                    <a:pt x="422" y="488"/>
                  </a:lnTo>
                  <a:lnTo>
                    <a:pt x="424" y="480"/>
                  </a:lnTo>
                  <a:lnTo>
                    <a:pt x="426" y="473"/>
                  </a:lnTo>
                  <a:lnTo>
                    <a:pt x="426" y="466"/>
                  </a:lnTo>
                  <a:lnTo>
                    <a:pt x="426" y="464"/>
                  </a:lnTo>
                  <a:lnTo>
                    <a:pt x="427" y="463"/>
                  </a:lnTo>
                  <a:lnTo>
                    <a:pt x="431" y="459"/>
                  </a:lnTo>
                  <a:lnTo>
                    <a:pt x="433" y="453"/>
                  </a:lnTo>
                  <a:lnTo>
                    <a:pt x="433" y="448"/>
                  </a:lnTo>
                  <a:lnTo>
                    <a:pt x="432" y="442"/>
                  </a:lnTo>
                  <a:lnTo>
                    <a:pt x="431" y="438"/>
                  </a:lnTo>
                  <a:lnTo>
                    <a:pt x="429" y="437"/>
                  </a:lnTo>
                  <a:lnTo>
                    <a:pt x="428" y="438"/>
                  </a:lnTo>
                  <a:lnTo>
                    <a:pt x="426" y="439"/>
                  </a:lnTo>
                  <a:lnTo>
                    <a:pt x="418" y="454"/>
                  </a:lnTo>
                  <a:lnTo>
                    <a:pt x="413" y="461"/>
                  </a:lnTo>
                  <a:lnTo>
                    <a:pt x="409" y="464"/>
                  </a:lnTo>
                  <a:lnTo>
                    <a:pt x="405" y="466"/>
                  </a:lnTo>
                  <a:lnTo>
                    <a:pt x="403" y="467"/>
                  </a:lnTo>
                  <a:lnTo>
                    <a:pt x="401" y="470"/>
                  </a:lnTo>
                  <a:lnTo>
                    <a:pt x="399" y="476"/>
                  </a:lnTo>
                  <a:lnTo>
                    <a:pt x="399" y="482"/>
                  </a:lnTo>
                  <a:lnTo>
                    <a:pt x="400" y="488"/>
                  </a:lnTo>
                  <a:lnTo>
                    <a:pt x="396" y="488"/>
                  </a:lnTo>
                  <a:lnTo>
                    <a:pt x="393" y="486"/>
                  </a:lnTo>
                  <a:lnTo>
                    <a:pt x="390" y="484"/>
                  </a:lnTo>
                  <a:lnTo>
                    <a:pt x="389" y="480"/>
                  </a:lnTo>
                  <a:lnTo>
                    <a:pt x="387" y="472"/>
                  </a:lnTo>
                  <a:lnTo>
                    <a:pt x="384" y="465"/>
                  </a:lnTo>
                  <a:lnTo>
                    <a:pt x="380" y="458"/>
                  </a:lnTo>
                  <a:lnTo>
                    <a:pt x="375" y="451"/>
                  </a:lnTo>
                  <a:lnTo>
                    <a:pt x="370" y="444"/>
                  </a:lnTo>
                  <a:lnTo>
                    <a:pt x="363" y="437"/>
                  </a:lnTo>
                  <a:lnTo>
                    <a:pt x="361" y="434"/>
                  </a:lnTo>
                  <a:lnTo>
                    <a:pt x="358" y="434"/>
                  </a:lnTo>
                  <a:lnTo>
                    <a:pt x="351" y="433"/>
                  </a:lnTo>
                  <a:lnTo>
                    <a:pt x="342" y="431"/>
                  </a:lnTo>
                  <a:lnTo>
                    <a:pt x="332" y="427"/>
                  </a:lnTo>
                  <a:lnTo>
                    <a:pt x="321" y="421"/>
                  </a:lnTo>
                  <a:lnTo>
                    <a:pt x="316" y="420"/>
                  </a:lnTo>
                  <a:lnTo>
                    <a:pt x="311" y="418"/>
                  </a:lnTo>
                  <a:lnTo>
                    <a:pt x="306" y="418"/>
                  </a:lnTo>
                  <a:lnTo>
                    <a:pt x="300" y="418"/>
                  </a:lnTo>
                  <a:lnTo>
                    <a:pt x="287" y="421"/>
                  </a:lnTo>
                  <a:lnTo>
                    <a:pt x="279" y="422"/>
                  </a:lnTo>
                  <a:lnTo>
                    <a:pt x="274" y="425"/>
                  </a:lnTo>
                  <a:lnTo>
                    <a:pt x="259" y="433"/>
                  </a:lnTo>
                  <a:lnTo>
                    <a:pt x="254" y="434"/>
                  </a:lnTo>
                  <a:lnTo>
                    <a:pt x="249" y="434"/>
                  </a:lnTo>
                  <a:lnTo>
                    <a:pt x="236" y="433"/>
                  </a:lnTo>
                  <a:lnTo>
                    <a:pt x="231" y="433"/>
                  </a:lnTo>
                  <a:lnTo>
                    <a:pt x="225" y="434"/>
                  </a:lnTo>
                  <a:lnTo>
                    <a:pt x="220" y="437"/>
                  </a:lnTo>
                  <a:lnTo>
                    <a:pt x="216" y="44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6" name="Freeform 345"/>
            <p:cNvSpPr>
              <a:spLocks/>
            </p:cNvSpPr>
            <p:nvPr/>
          </p:nvSpPr>
          <p:spPr bwMode="auto">
            <a:xfrm>
              <a:off x="6162675" y="6129341"/>
              <a:ext cx="23813" cy="26987"/>
            </a:xfrm>
            <a:custGeom>
              <a:avLst/>
              <a:gdLst>
                <a:gd name="T0" fmla="*/ 2147483647 w 16"/>
                <a:gd name="T1" fmla="*/ 2147483647 h 17"/>
                <a:gd name="T2" fmla="*/ 2147483647 w 16"/>
                <a:gd name="T3" fmla="*/ 2147483647 h 17"/>
                <a:gd name="T4" fmla="*/ 2147483647 w 16"/>
                <a:gd name="T5" fmla="*/ 2147483647 h 17"/>
                <a:gd name="T6" fmla="*/ 0 w 16"/>
                <a:gd name="T7" fmla="*/ 2147483647 h 17"/>
                <a:gd name="T8" fmla="*/ 2147483647 w 16"/>
                <a:gd name="T9" fmla="*/ 2147483647 h 17"/>
                <a:gd name="T10" fmla="*/ 2147483647 w 16"/>
                <a:gd name="T11" fmla="*/ 0 h 17"/>
                <a:gd name="T12" fmla="*/ 2147483647 w 16"/>
                <a:gd name="T13" fmla="*/ 0 h 17"/>
                <a:gd name="T14" fmla="*/ 2147483647 w 16"/>
                <a:gd name="T15" fmla="*/ 0 h 17"/>
                <a:gd name="T16" fmla="*/ 2147483647 w 16"/>
                <a:gd name="T17" fmla="*/ 2147483647 h 17"/>
                <a:gd name="T18" fmla="*/ 2147483647 w 16"/>
                <a:gd name="T19" fmla="*/ 2147483647 h 17"/>
                <a:gd name="T20" fmla="*/ 2147483647 w 16"/>
                <a:gd name="T21" fmla="*/ 2147483647 h 17"/>
                <a:gd name="T22" fmla="*/ 2147483647 w 16"/>
                <a:gd name="T23" fmla="*/ 2147483647 h 17"/>
                <a:gd name="T24" fmla="*/ 2147483647 w 16"/>
                <a:gd name="T25" fmla="*/ 2147483647 h 17"/>
                <a:gd name="T26" fmla="*/ 2147483647 w 16"/>
                <a:gd name="T27" fmla="*/ 2147483647 h 17"/>
                <a:gd name="T28" fmla="*/ 2147483647 w 16"/>
                <a:gd name="T29" fmla="*/ 2147483647 h 17"/>
                <a:gd name="T30" fmla="*/ 2147483647 w 16"/>
                <a:gd name="T31" fmla="*/ 2147483647 h 17"/>
                <a:gd name="T32" fmla="*/ 2147483647 w 16"/>
                <a:gd name="T33" fmla="*/ 2147483647 h 17"/>
                <a:gd name="T34" fmla="*/ 2147483647 w 16"/>
                <a:gd name="T35" fmla="*/ 214748364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17"/>
                <a:gd name="T56" fmla="*/ 16 w 16"/>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17">
                  <a:moveTo>
                    <a:pt x="5" y="11"/>
                  </a:moveTo>
                  <a:lnTo>
                    <a:pt x="5" y="11"/>
                  </a:lnTo>
                  <a:lnTo>
                    <a:pt x="1" y="5"/>
                  </a:lnTo>
                  <a:lnTo>
                    <a:pt x="0" y="3"/>
                  </a:lnTo>
                  <a:lnTo>
                    <a:pt x="1" y="2"/>
                  </a:lnTo>
                  <a:lnTo>
                    <a:pt x="2" y="0"/>
                  </a:lnTo>
                  <a:lnTo>
                    <a:pt x="6" y="0"/>
                  </a:lnTo>
                  <a:lnTo>
                    <a:pt x="9" y="2"/>
                  </a:lnTo>
                  <a:lnTo>
                    <a:pt x="14" y="5"/>
                  </a:lnTo>
                  <a:lnTo>
                    <a:pt x="16" y="11"/>
                  </a:lnTo>
                  <a:lnTo>
                    <a:pt x="16" y="13"/>
                  </a:lnTo>
                  <a:lnTo>
                    <a:pt x="16" y="16"/>
                  </a:lnTo>
                  <a:lnTo>
                    <a:pt x="14" y="17"/>
                  </a:lnTo>
                  <a:lnTo>
                    <a:pt x="11" y="16"/>
                  </a:lnTo>
                  <a:lnTo>
                    <a:pt x="5"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7" name="Freeform 346"/>
            <p:cNvSpPr>
              <a:spLocks/>
            </p:cNvSpPr>
            <p:nvPr/>
          </p:nvSpPr>
          <p:spPr bwMode="auto">
            <a:xfrm>
              <a:off x="6069015" y="6018216"/>
              <a:ext cx="49212" cy="34925"/>
            </a:xfrm>
            <a:custGeom>
              <a:avLst/>
              <a:gdLst>
                <a:gd name="T0" fmla="*/ 2147483647 w 33"/>
                <a:gd name="T1" fmla="*/ 2147483647 h 22"/>
                <a:gd name="T2" fmla="*/ 2147483647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2147483647 w 33"/>
                <a:gd name="T13" fmla="*/ 2147483647 h 22"/>
                <a:gd name="T14" fmla="*/ 2147483647 w 33"/>
                <a:gd name="T15" fmla="*/ 2147483647 h 22"/>
                <a:gd name="T16" fmla="*/ 2147483647 w 33"/>
                <a:gd name="T17" fmla="*/ 2147483647 h 22"/>
                <a:gd name="T18" fmla="*/ 2147483647 w 33"/>
                <a:gd name="T19" fmla="*/ 2147483647 h 22"/>
                <a:gd name="T20" fmla="*/ 2147483647 w 33"/>
                <a:gd name="T21" fmla="*/ 2147483647 h 22"/>
                <a:gd name="T22" fmla="*/ 2147483647 w 33"/>
                <a:gd name="T23" fmla="*/ 2147483647 h 22"/>
                <a:gd name="T24" fmla="*/ 2147483647 w 33"/>
                <a:gd name="T25" fmla="*/ 0 h 22"/>
                <a:gd name="T26" fmla="*/ 2147483647 w 33"/>
                <a:gd name="T27" fmla="*/ 2147483647 h 22"/>
                <a:gd name="T28" fmla="*/ 2147483647 w 33"/>
                <a:gd name="T29" fmla="*/ 2147483647 h 22"/>
                <a:gd name="T30" fmla="*/ 2147483647 w 33"/>
                <a:gd name="T31" fmla="*/ 2147483647 h 22"/>
                <a:gd name="T32" fmla="*/ 2147483647 w 33"/>
                <a:gd name="T33" fmla="*/ 2147483647 h 22"/>
                <a:gd name="T34" fmla="*/ 2147483647 w 33"/>
                <a:gd name="T35" fmla="*/ 2147483647 h 22"/>
                <a:gd name="T36" fmla="*/ 2147483647 w 33"/>
                <a:gd name="T37" fmla="*/ 2147483647 h 22"/>
                <a:gd name="T38" fmla="*/ 2147483647 w 33"/>
                <a:gd name="T39" fmla="*/ 2147483647 h 22"/>
                <a:gd name="T40" fmla="*/ 2147483647 w 33"/>
                <a:gd name="T41" fmla="*/ 2147483647 h 22"/>
                <a:gd name="T42" fmla="*/ 0 w 33"/>
                <a:gd name="T43" fmla="*/ 2147483647 h 22"/>
                <a:gd name="T44" fmla="*/ 0 w 33"/>
                <a:gd name="T45" fmla="*/ 2147483647 h 22"/>
                <a:gd name="T46" fmla="*/ 2147483647 w 33"/>
                <a:gd name="T47" fmla="*/ 2147483647 h 22"/>
                <a:gd name="T48" fmla="*/ 2147483647 w 33"/>
                <a:gd name="T49" fmla="*/ 2147483647 h 22"/>
                <a:gd name="T50" fmla="*/ 2147483647 w 33"/>
                <a:gd name="T51" fmla="*/ 2147483647 h 22"/>
                <a:gd name="T52" fmla="*/ 2147483647 w 33"/>
                <a:gd name="T53" fmla="*/ 2147483647 h 22"/>
                <a:gd name="T54" fmla="*/ 2147483647 w 33"/>
                <a:gd name="T55" fmla="*/ 2147483647 h 22"/>
                <a:gd name="T56" fmla="*/ 2147483647 w 33"/>
                <a:gd name="T57" fmla="*/ 2147483647 h 22"/>
                <a:gd name="T58" fmla="*/ 2147483647 w 33"/>
                <a:gd name="T59" fmla="*/ 2147483647 h 22"/>
                <a:gd name="T60" fmla="*/ 2147483647 w 33"/>
                <a:gd name="T61" fmla="*/ 2147483647 h 22"/>
                <a:gd name="T62" fmla="*/ 2147483647 w 33"/>
                <a:gd name="T63" fmla="*/ 2147483647 h 22"/>
                <a:gd name="T64" fmla="*/ 2147483647 w 33"/>
                <a:gd name="T65" fmla="*/ 2147483647 h 22"/>
                <a:gd name="T66" fmla="*/ 2147483647 w 33"/>
                <a:gd name="T67" fmla="*/ 2147483647 h 22"/>
                <a:gd name="T68" fmla="*/ 2147483647 w 33"/>
                <a:gd name="T69" fmla="*/ 2147483647 h 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
                <a:gd name="T106" fmla="*/ 0 h 22"/>
                <a:gd name="T107" fmla="*/ 33 w 33"/>
                <a:gd name="T108" fmla="*/ 22 h 2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 h="22">
                  <a:moveTo>
                    <a:pt x="29" y="13"/>
                  </a:moveTo>
                  <a:lnTo>
                    <a:pt x="32" y="12"/>
                  </a:lnTo>
                  <a:lnTo>
                    <a:pt x="33" y="11"/>
                  </a:lnTo>
                  <a:lnTo>
                    <a:pt x="32" y="10"/>
                  </a:lnTo>
                  <a:lnTo>
                    <a:pt x="24" y="8"/>
                  </a:lnTo>
                  <a:lnTo>
                    <a:pt x="22" y="5"/>
                  </a:lnTo>
                  <a:lnTo>
                    <a:pt x="18" y="2"/>
                  </a:lnTo>
                  <a:lnTo>
                    <a:pt x="17" y="2"/>
                  </a:lnTo>
                  <a:lnTo>
                    <a:pt x="14" y="3"/>
                  </a:lnTo>
                  <a:lnTo>
                    <a:pt x="13" y="3"/>
                  </a:lnTo>
                  <a:lnTo>
                    <a:pt x="12" y="3"/>
                  </a:lnTo>
                  <a:lnTo>
                    <a:pt x="8" y="2"/>
                  </a:lnTo>
                  <a:lnTo>
                    <a:pt x="7" y="0"/>
                  </a:lnTo>
                  <a:lnTo>
                    <a:pt x="5" y="2"/>
                  </a:lnTo>
                  <a:lnTo>
                    <a:pt x="4" y="3"/>
                  </a:lnTo>
                  <a:lnTo>
                    <a:pt x="5" y="5"/>
                  </a:lnTo>
                  <a:lnTo>
                    <a:pt x="7" y="8"/>
                  </a:lnTo>
                  <a:lnTo>
                    <a:pt x="7" y="9"/>
                  </a:lnTo>
                  <a:lnTo>
                    <a:pt x="5" y="10"/>
                  </a:lnTo>
                  <a:lnTo>
                    <a:pt x="4" y="10"/>
                  </a:lnTo>
                  <a:lnTo>
                    <a:pt x="1" y="11"/>
                  </a:lnTo>
                  <a:lnTo>
                    <a:pt x="0" y="12"/>
                  </a:lnTo>
                  <a:lnTo>
                    <a:pt x="0" y="13"/>
                  </a:lnTo>
                  <a:lnTo>
                    <a:pt x="4" y="16"/>
                  </a:lnTo>
                  <a:lnTo>
                    <a:pt x="8" y="21"/>
                  </a:lnTo>
                  <a:lnTo>
                    <a:pt x="9" y="22"/>
                  </a:lnTo>
                  <a:lnTo>
                    <a:pt x="10" y="22"/>
                  </a:lnTo>
                  <a:lnTo>
                    <a:pt x="15" y="21"/>
                  </a:lnTo>
                  <a:lnTo>
                    <a:pt x="19" y="21"/>
                  </a:lnTo>
                  <a:lnTo>
                    <a:pt x="23" y="22"/>
                  </a:lnTo>
                  <a:lnTo>
                    <a:pt x="27" y="22"/>
                  </a:lnTo>
                  <a:lnTo>
                    <a:pt x="28" y="22"/>
                  </a:lnTo>
                  <a:lnTo>
                    <a:pt x="28" y="19"/>
                  </a:lnTo>
                  <a:lnTo>
                    <a:pt x="27" y="15"/>
                  </a:lnTo>
                  <a:lnTo>
                    <a:pt x="29"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8" name="Freeform 347"/>
            <p:cNvSpPr>
              <a:spLocks/>
            </p:cNvSpPr>
            <p:nvPr/>
          </p:nvSpPr>
          <p:spPr bwMode="auto">
            <a:xfrm>
              <a:off x="6176964" y="4291014"/>
              <a:ext cx="4762" cy="11112"/>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0 w 3"/>
                <a:gd name="T9" fmla="*/ 2147483647 h 7"/>
                <a:gd name="T10" fmla="*/ 0 w 3"/>
                <a:gd name="T11" fmla="*/ 2147483647 h 7"/>
                <a:gd name="T12" fmla="*/ 2147483647 w 3"/>
                <a:gd name="T13" fmla="*/ 0 h 7"/>
                <a:gd name="T14" fmla="*/ 2147483647 w 3"/>
                <a:gd name="T15" fmla="*/ 0 h 7"/>
                <a:gd name="T16" fmla="*/ 2147483647 w 3"/>
                <a:gd name="T17" fmla="*/ 2147483647 h 7"/>
                <a:gd name="T18" fmla="*/ 2147483647 w 3"/>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7"/>
                <a:gd name="T32" fmla="*/ 3 w 3"/>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7">
                  <a:moveTo>
                    <a:pt x="3" y="5"/>
                  </a:moveTo>
                  <a:lnTo>
                    <a:pt x="3" y="7"/>
                  </a:lnTo>
                  <a:lnTo>
                    <a:pt x="2" y="7"/>
                  </a:lnTo>
                  <a:lnTo>
                    <a:pt x="1" y="7"/>
                  </a:lnTo>
                  <a:lnTo>
                    <a:pt x="0" y="6"/>
                  </a:lnTo>
                  <a:lnTo>
                    <a:pt x="0" y="2"/>
                  </a:lnTo>
                  <a:lnTo>
                    <a:pt x="1" y="0"/>
                  </a:lnTo>
                  <a:lnTo>
                    <a:pt x="2" y="0"/>
                  </a:lnTo>
                  <a:lnTo>
                    <a:pt x="3" y="1"/>
                  </a:lnTo>
                  <a:lnTo>
                    <a:pt x="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49" name="Freeform 348"/>
            <p:cNvSpPr>
              <a:spLocks/>
            </p:cNvSpPr>
            <p:nvPr/>
          </p:nvSpPr>
          <p:spPr bwMode="auto">
            <a:xfrm>
              <a:off x="6067425" y="6016629"/>
              <a:ext cx="49213" cy="34925"/>
            </a:xfrm>
            <a:custGeom>
              <a:avLst/>
              <a:gdLst>
                <a:gd name="T0" fmla="*/ 2147483647 w 33"/>
                <a:gd name="T1" fmla="*/ 2147483647 h 22"/>
                <a:gd name="T2" fmla="*/ 2147483647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2147483647 w 33"/>
                <a:gd name="T13" fmla="*/ 2147483647 h 22"/>
                <a:gd name="T14" fmla="*/ 2147483647 w 33"/>
                <a:gd name="T15" fmla="*/ 2147483647 h 22"/>
                <a:gd name="T16" fmla="*/ 2147483647 w 33"/>
                <a:gd name="T17" fmla="*/ 2147483647 h 22"/>
                <a:gd name="T18" fmla="*/ 2147483647 w 33"/>
                <a:gd name="T19" fmla="*/ 2147483647 h 22"/>
                <a:gd name="T20" fmla="*/ 2147483647 w 33"/>
                <a:gd name="T21" fmla="*/ 2147483647 h 22"/>
                <a:gd name="T22" fmla="*/ 2147483647 w 33"/>
                <a:gd name="T23" fmla="*/ 2147483647 h 22"/>
                <a:gd name="T24" fmla="*/ 2147483647 w 33"/>
                <a:gd name="T25" fmla="*/ 2147483647 h 22"/>
                <a:gd name="T26" fmla="*/ 2147483647 w 33"/>
                <a:gd name="T27" fmla="*/ 2147483647 h 22"/>
                <a:gd name="T28" fmla="*/ 2147483647 w 33"/>
                <a:gd name="T29" fmla="*/ 2147483647 h 22"/>
                <a:gd name="T30" fmla="*/ 2147483647 w 33"/>
                <a:gd name="T31" fmla="*/ 2147483647 h 22"/>
                <a:gd name="T32" fmla="*/ 2147483647 w 33"/>
                <a:gd name="T33" fmla="*/ 2147483647 h 22"/>
                <a:gd name="T34" fmla="*/ 2147483647 w 33"/>
                <a:gd name="T35" fmla="*/ 0 h 22"/>
                <a:gd name="T36" fmla="*/ 2147483647 w 33"/>
                <a:gd name="T37" fmla="*/ 2147483647 h 22"/>
                <a:gd name="T38" fmla="*/ 2147483647 w 33"/>
                <a:gd name="T39" fmla="*/ 2147483647 h 22"/>
                <a:gd name="T40" fmla="*/ 2147483647 w 33"/>
                <a:gd name="T41" fmla="*/ 2147483647 h 22"/>
                <a:gd name="T42" fmla="*/ 2147483647 w 33"/>
                <a:gd name="T43" fmla="*/ 2147483647 h 22"/>
                <a:gd name="T44" fmla="*/ 2147483647 w 33"/>
                <a:gd name="T45" fmla="*/ 2147483647 h 22"/>
                <a:gd name="T46" fmla="*/ 2147483647 w 33"/>
                <a:gd name="T47" fmla="*/ 2147483647 h 22"/>
                <a:gd name="T48" fmla="*/ 2147483647 w 33"/>
                <a:gd name="T49" fmla="*/ 2147483647 h 22"/>
                <a:gd name="T50" fmla="*/ 2147483647 w 33"/>
                <a:gd name="T51" fmla="*/ 2147483647 h 22"/>
                <a:gd name="T52" fmla="*/ 2147483647 w 33"/>
                <a:gd name="T53" fmla="*/ 2147483647 h 22"/>
                <a:gd name="T54" fmla="*/ 2147483647 w 33"/>
                <a:gd name="T55" fmla="*/ 2147483647 h 22"/>
                <a:gd name="T56" fmla="*/ 2147483647 w 33"/>
                <a:gd name="T57" fmla="*/ 2147483647 h 22"/>
                <a:gd name="T58" fmla="*/ 0 w 33"/>
                <a:gd name="T59" fmla="*/ 2147483647 h 22"/>
                <a:gd name="T60" fmla="*/ 0 w 33"/>
                <a:gd name="T61" fmla="*/ 2147483647 h 22"/>
                <a:gd name="T62" fmla="*/ 0 w 33"/>
                <a:gd name="T63" fmla="*/ 2147483647 h 22"/>
                <a:gd name="T64" fmla="*/ 2147483647 w 33"/>
                <a:gd name="T65" fmla="*/ 2147483647 h 22"/>
                <a:gd name="T66" fmla="*/ 2147483647 w 33"/>
                <a:gd name="T67" fmla="*/ 2147483647 h 22"/>
                <a:gd name="T68" fmla="*/ 2147483647 w 33"/>
                <a:gd name="T69" fmla="*/ 2147483647 h 22"/>
                <a:gd name="T70" fmla="*/ 2147483647 w 33"/>
                <a:gd name="T71" fmla="*/ 2147483647 h 22"/>
                <a:gd name="T72" fmla="*/ 2147483647 w 33"/>
                <a:gd name="T73" fmla="*/ 2147483647 h 22"/>
                <a:gd name="T74" fmla="*/ 2147483647 w 33"/>
                <a:gd name="T75" fmla="*/ 2147483647 h 22"/>
                <a:gd name="T76" fmla="*/ 2147483647 w 33"/>
                <a:gd name="T77" fmla="*/ 2147483647 h 22"/>
                <a:gd name="T78" fmla="*/ 2147483647 w 33"/>
                <a:gd name="T79" fmla="*/ 2147483647 h 22"/>
                <a:gd name="T80" fmla="*/ 2147483647 w 33"/>
                <a:gd name="T81" fmla="*/ 2147483647 h 22"/>
                <a:gd name="T82" fmla="*/ 2147483647 w 33"/>
                <a:gd name="T83" fmla="*/ 2147483647 h 22"/>
                <a:gd name="T84" fmla="*/ 2147483647 w 33"/>
                <a:gd name="T85" fmla="*/ 2147483647 h 22"/>
                <a:gd name="T86" fmla="*/ 2147483647 w 33"/>
                <a:gd name="T87" fmla="*/ 2147483647 h 22"/>
                <a:gd name="T88" fmla="*/ 2147483647 w 33"/>
                <a:gd name="T89" fmla="*/ 2147483647 h 22"/>
                <a:gd name="T90" fmla="*/ 2147483647 w 33"/>
                <a:gd name="T91" fmla="*/ 2147483647 h 22"/>
                <a:gd name="T92" fmla="*/ 2147483647 w 33"/>
                <a:gd name="T93" fmla="*/ 2147483647 h 22"/>
                <a:gd name="T94" fmla="*/ 2147483647 w 33"/>
                <a:gd name="T95" fmla="*/ 2147483647 h 22"/>
                <a:gd name="T96" fmla="*/ 2147483647 w 33"/>
                <a:gd name="T97" fmla="*/ 2147483647 h 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
                <a:gd name="T148" fmla="*/ 0 h 22"/>
                <a:gd name="T149" fmla="*/ 33 w 33"/>
                <a:gd name="T150" fmla="*/ 22 h 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 h="22">
                  <a:moveTo>
                    <a:pt x="29" y="13"/>
                  </a:moveTo>
                  <a:lnTo>
                    <a:pt x="29" y="13"/>
                  </a:lnTo>
                  <a:lnTo>
                    <a:pt x="32" y="12"/>
                  </a:lnTo>
                  <a:lnTo>
                    <a:pt x="33" y="11"/>
                  </a:lnTo>
                  <a:lnTo>
                    <a:pt x="32" y="10"/>
                  </a:lnTo>
                  <a:lnTo>
                    <a:pt x="24" y="7"/>
                  </a:lnTo>
                  <a:lnTo>
                    <a:pt x="22" y="5"/>
                  </a:lnTo>
                  <a:lnTo>
                    <a:pt x="18" y="1"/>
                  </a:lnTo>
                  <a:lnTo>
                    <a:pt x="16" y="1"/>
                  </a:lnTo>
                  <a:lnTo>
                    <a:pt x="14" y="3"/>
                  </a:lnTo>
                  <a:lnTo>
                    <a:pt x="13" y="3"/>
                  </a:lnTo>
                  <a:lnTo>
                    <a:pt x="11" y="3"/>
                  </a:lnTo>
                  <a:lnTo>
                    <a:pt x="8" y="1"/>
                  </a:lnTo>
                  <a:lnTo>
                    <a:pt x="6" y="0"/>
                  </a:lnTo>
                  <a:lnTo>
                    <a:pt x="5" y="1"/>
                  </a:lnTo>
                  <a:lnTo>
                    <a:pt x="4" y="3"/>
                  </a:lnTo>
                  <a:lnTo>
                    <a:pt x="5" y="5"/>
                  </a:lnTo>
                  <a:lnTo>
                    <a:pt x="6" y="7"/>
                  </a:lnTo>
                  <a:lnTo>
                    <a:pt x="6" y="9"/>
                  </a:lnTo>
                  <a:lnTo>
                    <a:pt x="5" y="10"/>
                  </a:lnTo>
                  <a:lnTo>
                    <a:pt x="4" y="10"/>
                  </a:lnTo>
                  <a:lnTo>
                    <a:pt x="1" y="11"/>
                  </a:lnTo>
                  <a:lnTo>
                    <a:pt x="0" y="12"/>
                  </a:lnTo>
                  <a:lnTo>
                    <a:pt x="0" y="13"/>
                  </a:lnTo>
                  <a:lnTo>
                    <a:pt x="4" y="16"/>
                  </a:lnTo>
                  <a:lnTo>
                    <a:pt x="8" y="20"/>
                  </a:lnTo>
                  <a:lnTo>
                    <a:pt x="9" y="22"/>
                  </a:lnTo>
                  <a:lnTo>
                    <a:pt x="10" y="22"/>
                  </a:lnTo>
                  <a:lnTo>
                    <a:pt x="15" y="20"/>
                  </a:lnTo>
                  <a:lnTo>
                    <a:pt x="19" y="20"/>
                  </a:lnTo>
                  <a:lnTo>
                    <a:pt x="23" y="22"/>
                  </a:lnTo>
                  <a:lnTo>
                    <a:pt x="27" y="22"/>
                  </a:lnTo>
                  <a:lnTo>
                    <a:pt x="28" y="22"/>
                  </a:lnTo>
                  <a:lnTo>
                    <a:pt x="28" y="19"/>
                  </a:lnTo>
                  <a:lnTo>
                    <a:pt x="27" y="14"/>
                  </a:lnTo>
                  <a:lnTo>
                    <a:pt x="29"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0" name="Freeform 349"/>
            <p:cNvSpPr>
              <a:spLocks/>
            </p:cNvSpPr>
            <p:nvPr/>
          </p:nvSpPr>
          <p:spPr bwMode="auto">
            <a:xfrm>
              <a:off x="6173789" y="4289428"/>
              <a:ext cx="6350" cy="11113"/>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2147483647 w 4"/>
                <a:gd name="T9" fmla="*/ 2147483647 h 7"/>
                <a:gd name="T10" fmla="*/ 2147483647 w 4"/>
                <a:gd name="T11" fmla="*/ 2147483647 h 7"/>
                <a:gd name="T12" fmla="*/ 0 w 4"/>
                <a:gd name="T13" fmla="*/ 2147483647 h 7"/>
                <a:gd name="T14" fmla="*/ 0 w 4"/>
                <a:gd name="T15" fmla="*/ 2147483647 h 7"/>
                <a:gd name="T16" fmla="*/ 0 w 4"/>
                <a:gd name="T17" fmla="*/ 2147483647 h 7"/>
                <a:gd name="T18" fmla="*/ 2147483647 w 4"/>
                <a:gd name="T19" fmla="*/ 0 h 7"/>
                <a:gd name="T20" fmla="*/ 2147483647 w 4"/>
                <a:gd name="T21" fmla="*/ 0 h 7"/>
                <a:gd name="T22" fmla="*/ 2147483647 w 4"/>
                <a:gd name="T23" fmla="*/ 2147483647 h 7"/>
                <a:gd name="T24" fmla="*/ 2147483647 w 4"/>
                <a:gd name="T25" fmla="*/ 2147483647 h 7"/>
                <a:gd name="T26" fmla="*/ 2147483647 w 4"/>
                <a:gd name="T27" fmla="*/ 2147483647 h 7"/>
                <a:gd name="T28" fmla="*/ 2147483647 w 4"/>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7"/>
                <a:gd name="T47" fmla="*/ 4 w 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7">
                  <a:moveTo>
                    <a:pt x="4" y="5"/>
                  </a:moveTo>
                  <a:lnTo>
                    <a:pt x="4" y="5"/>
                  </a:lnTo>
                  <a:lnTo>
                    <a:pt x="4" y="7"/>
                  </a:lnTo>
                  <a:lnTo>
                    <a:pt x="3" y="7"/>
                  </a:lnTo>
                  <a:lnTo>
                    <a:pt x="2" y="7"/>
                  </a:lnTo>
                  <a:lnTo>
                    <a:pt x="0" y="6"/>
                  </a:lnTo>
                  <a:lnTo>
                    <a:pt x="0" y="2"/>
                  </a:lnTo>
                  <a:lnTo>
                    <a:pt x="2" y="0"/>
                  </a:lnTo>
                  <a:lnTo>
                    <a:pt x="3" y="0"/>
                  </a:lnTo>
                  <a:lnTo>
                    <a:pt x="4" y="1"/>
                  </a:lnTo>
                  <a:lnTo>
                    <a:pt x="4"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1" name="Freeform 350"/>
            <p:cNvSpPr>
              <a:spLocks/>
            </p:cNvSpPr>
            <p:nvPr/>
          </p:nvSpPr>
          <p:spPr bwMode="auto">
            <a:xfrm>
              <a:off x="6197604" y="4375154"/>
              <a:ext cx="3175" cy="9525"/>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0 w 3"/>
                <a:gd name="T9" fmla="*/ 2147483647 h 6"/>
                <a:gd name="T10" fmla="*/ 0 w 3"/>
                <a:gd name="T11" fmla="*/ 2147483647 h 6"/>
                <a:gd name="T12" fmla="*/ 0 w 3"/>
                <a:gd name="T13" fmla="*/ 2147483647 h 6"/>
                <a:gd name="T14" fmla="*/ 0 w 3"/>
                <a:gd name="T15" fmla="*/ 0 h 6"/>
                <a:gd name="T16" fmla="*/ 2147483647 w 3"/>
                <a:gd name="T17" fmla="*/ 0 h 6"/>
                <a:gd name="T18" fmla="*/ 2147483647 w 3"/>
                <a:gd name="T19" fmla="*/ 2147483647 h 6"/>
                <a:gd name="T20" fmla="*/ 2147483647 w 3"/>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6"/>
                <a:gd name="T35" fmla="*/ 3 w 3"/>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6">
                  <a:moveTo>
                    <a:pt x="3" y="5"/>
                  </a:moveTo>
                  <a:lnTo>
                    <a:pt x="3" y="6"/>
                  </a:lnTo>
                  <a:lnTo>
                    <a:pt x="2" y="6"/>
                  </a:lnTo>
                  <a:lnTo>
                    <a:pt x="1" y="6"/>
                  </a:lnTo>
                  <a:lnTo>
                    <a:pt x="0" y="6"/>
                  </a:lnTo>
                  <a:lnTo>
                    <a:pt x="0" y="3"/>
                  </a:lnTo>
                  <a:lnTo>
                    <a:pt x="0" y="2"/>
                  </a:lnTo>
                  <a:lnTo>
                    <a:pt x="0" y="0"/>
                  </a:lnTo>
                  <a:lnTo>
                    <a:pt x="2" y="0"/>
                  </a:lnTo>
                  <a:lnTo>
                    <a:pt x="3" y="3"/>
                  </a:lnTo>
                  <a:lnTo>
                    <a:pt x="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2" name="Freeform 351"/>
            <p:cNvSpPr>
              <a:spLocks/>
            </p:cNvSpPr>
            <p:nvPr/>
          </p:nvSpPr>
          <p:spPr bwMode="auto">
            <a:xfrm>
              <a:off x="6172201" y="4567242"/>
              <a:ext cx="6350" cy="7937"/>
            </a:xfrm>
            <a:custGeom>
              <a:avLst/>
              <a:gdLst>
                <a:gd name="T0" fmla="*/ 2147483647 w 4"/>
                <a:gd name="T1" fmla="*/ 2147483647 h 5"/>
                <a:gd name="T2" fmla="*/ 2147483647 w 4"/>
                <a:gd name="T3" fmla="*/ 2147483647 h 5"/>
                <a:gd name="T4" fmla="*/ 0 w 4"/>
                <a:gd name="T5" fmla="*/ 2147483647 h 5"/>
                <a:gd name="T6" fmla="*/ 2147483647 w 4"/>
                <a:gd name="T7" fmla="*/ 2147483647 h 5"/>
                <a:gd name="T8" fmla="*/ 2147483647 w 4"/>
                <a:gd name="T9" fmla="*/ 0 h 5"/>
                <a:gd name="T10" fmla="*/ 2147483647 w 4"/>
                <a:gd name="T11" fmla="*/ 0 h 5"/>
                <a:gd name="T12" fmla="*/ 2147483647 w 4"/>
                <a:gd name="T13" fmla="*/ 2147483647 h 5"/>
                <a:gd name="T14" fmla="*/ 2147483647 w 4"/>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4" y="5"/>
                  </a:moveTo>
                  <a:lnTo>
                    <a:pt x="3" y="5"/>
                  </a:lnTo>
                  <a:lnTo>
                    <a:pt x="0" y="5"/>
                  </a:lnTo>
                  <a:lnTo>
                    <a:pt x="1" y="3"/>
                  </a:lnTo>
                  <a:lnTo>
                    <a:pt x="1" y="0"/>
                  </a:lnTo>
                  <a:lnTo>
                    <a:pt x="4" y="0"/>
                  </a:lnTo>
                  <a:lnTo>
                    <a:pt x="4" y="3"/>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3" name="Freeform 352"/>
            <p:cNvSpPr>
              <a:spLocks/>
            </p:cNvSpPr>
            <p:nvPr/>
          </p:nvSpPr>
          <p:spPr bwMode="auto">
            <a:xfrm>
              <a:off x="6194425" y="4373567"/>
              <a:ext cx="6350" cy="9525"/>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2147483647 w 4"/>
                <a:gd name="T11" fmla="*/ 2147483647 h 6"/>
                <a:gd name="T12" fmla="*/ 0 w 4"/>
                <a:gd name="T13" fmla="*/ 2147483647 h 6"/>
                <a:gd name="T14" fmla="*/ 0 w 4"/>
                <a:gd name="T15" fmla="*/ 2147483647 h 6"/>
                <a:gd name="T16" fmla="*/ 0 w 4"/>
                <a:gd name="T17" fmla="*/ 2147483647 h 6"/>
                <a:gd name="T18" fmla="*/ 0 w 4"/>
                <a:gd name="T19" fmla="*/ 2147483647 h 6"/>
                <a:gd name="T20" fmla="*/ 0 w 4"/>
                <a:gd name="T21" fmla="*/ 0 h 6"/>
                <a:gd name="T22" fmla="*/ 2147483647 w 4"/>
                <a:gd name="T23" fmla="*/ 0 h 6"/>
                <a:gd name="T24" fmla="*/ 2147483647 w 4"/>
                <a:gd name="T25" fmla="*/ 0 h 6"/>
                <a:gd name="T26" fmla="*/ 2147483647 w 4"/>
                <a:gd name="T27" fmla="*/ 2147483647 h 6"/>
                <a:gd name="T28" fmla="*/ 2147483647 w 4"/>
                <a:gd name="T29" fmla="*/ 2147483647 h 6"/>
                <a:gd name="T30" fmla="*/ 2147483647 w 4"/>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6"/>
                <a:gd name="T50" fmla="*/ 4 w 4"/>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6">
                  <a:moveTo>
                    <a:pt x="4" y="5"/>
                  </a:moveTo>
                  <a:lnTo>
                    <a:pt x="4" y="5"/>
                  </a:lnTo>
                  <a:lnTo>
                    <a:pt x="4" y="6"/>
                  </a:lnTo>
                  <a:lnTo>
                    <a:pt x="3" y="6"/>
                  </a:lnTo>
                  <a:lnTo>
                    <a:pt x="2" y="6"/>
                  </a:lnTo>
                  <a:lnTo>
                    <a:pt x="0" y="6"/>
                  </a:lnTo>
                  <a:lnTo>
                    <a:pt x="0" y="3"/>
                  </a:lnTo>
                  <a:lnTo>
                    <a:pt x="0" y="1"/>
                  </a:lnTo>
                  <a:lnTo>
                    <a:pt x="0" y="0"/>
                  </a:lnTo>
                  <a:lnTo>
                    <a:pt x="3" y="0"/>
                  </a:lnTo>
                  <a:lnTo>
                    <a:pt x="4" y="3"/>
                  </a:lnTo>
                  <a:lnTo>
                    <a:pt x="4"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4" name="Freeform 353"/>
            <p:cNvSpPr>
              <a:spLocks/>
            </p:cNvSpPr>
            <p:nvPr/>
          </p:nvSpPr>
          <p:spPr bwMode="auto">
            <a:xfrm>
              <a:off x="6170613" y="4565650"/>
              <a:ext cx="6350" cy="7938"/>
            </a:xfrm>
            <a:custGeom>
              <a:avLst/>
              <a:gdLst>
                <a:gd name="T0" fmla="*/ 2147483647 w 4"/>
                <a:gd name="T1" fmla="*/ 2147483647 h 5"/>
                <a:gd name="T2" fmla="*/ 2147483647 w 4"/>
                <a:gd name="T3" fmla="*/ 2147483647 h 5"/>
                <a:gd name="T4" fmla="*/ 2147483647 w 4"/>
                <a:gd name="T5" fmla="*/ 2147483647 h 5"/>
                <a:gd name="T6" fmla="*/ 0 w 4"/>
                <a:gd name="T7" fmla="*/ 2147483647 h 5"/>
                <a:gd name="T8" fmla="*/ 0 w 4"/>
                <a:gd name="T9" fmla="*/ 2147483647 h 5"/>
                <a:gd name="T10" fmla="*/ 2147483647 w 4"/>
                <a:gd name="T11" fmla="*/ 2147483647 h 5"/>
                <a:gd name="T12" fmla="*/ 2147483647 w 4"/>
                <a:gd name="T13" fmla="*/ 0 h 5"/>
                <a:gd name="T14" fmla="*/ 2147483647 w 4"/>
                <a:gd name="T15" fmla="*/ 0 h 5"/>
                <a:gd name="T16" fmla="*/ 2147483647 w 4"/>
                <a:gd name="T17" fmla="*/ 0 h 5"/>
                <a:gd name="T18" fmla="*/ 2147483647 w 4"/>
                <a:gd name="T19" fmla="*/ 0 h 5"/>
                <a:gd name="T20" fmla="*/ 2147483647 w 4"/>
                <a:gd name="T21" fmla="*/ 2147483647 h 5"/>
                <a:gd name="T22" fmla="*/ 2147483647 w 4"/>
                <a:gd name="T23" fmla="*/ 2147483647 h 5"/>
                <a:gd name="T24" fmla="*/ 2147483647 w 4"/>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5"/>
                <a:gd name="T41" fmla="*/ 4 w 4"/>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5">
                  <a:moveTo>
                    <a:pt x="4" y="5"/>
                  </a:moveTo>
                  <a:lnTo>
                    <a:pt x="4" y="5"/>
                  </a:lnTo>
                  <a:lnTo>
                    <a:pt x="2" y="5"/>
                  </a:lnTo>
                  <a:lnTo>
                    <a:pt x="0" y="5"/>
                  </a:lnTo>
                  <a:lnTo>
                    <a:pt x="1" y="3"/>
                  </a:lnTo>
                  <a:lnTo>
                    <a:pt x="1" y="0"/>
                  </a:lnTo>
                  <a:lnTo>
                    <a:pt x="4" y="0"/>
                  </a:lnTo>
                  <a:lnTo>
                    <a:pt x="4" y="3"/>
                  </a:lnTo>
                  <a:lnTo>
                    <a:pt x="4"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5" name="Freeform 354"/>
            <p:cNvSpPr>
              <a:spLocks/>
            </p:cNvSpPr>
            <p:nvPr/>
          </p:nvSpPr>
          <p:spPr bwMode="auto">
            <a:xfrm>
              <a:off x="6178552" y="4638675"/>
              <a:ext cx="4763" cy="12700"/>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0 w 4"/>
                <a:gd name="T9" fmla="*/ 2147483647 h 8"/>
                <a:gd name="T10" fmla="*/ 2147483647 w 4"/>
                <a:gd name="T11" fmla="*/ 2147483647 h 8"/>
                <a:gd name="T12" fmla="*/ 2147483647 w 4"/>
                <a:gd name="T13" fmla="*/ 0 h 8"/>
                <a:gd name="T14" fmla="*/ 2147483647 w 4"/>
                <a:gd name="T15" fmla="*/ 2147483647 h 8"/>
                <a:gd name="T16" fmla="*/ 2147483647 w 4"/>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4" y="5"/>
                  </a:moveTo>
                  <a:lnTo>
                    <a:pt x="4" y="6"/>
                  </a:lnTo>
                  <a:lnTo>
                    <a:pt x="2" y="8"/>
                  </a:lnTo>
                  <a:lnTo>
                    <a:pt x="1" y="6"/>
                  </a:lnTo>
                  <a:lnTo>
                    <a:pt x="0" y="3"/>
                  </a:lnTo>
                  <a:lnTo>
                    <a:pt x="1" y="2"/>
                  </a:lnTo>
                  <a:lnTo>
                    <a:pt x="2" y="0"/>
                  </a:lnTo>
                  <a:lnTo>
                    <a:pt x="4" y="2"/>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6" name="Freeform 355"/>
            <p:cNvSpPr>
              <a:spLocks/>
            </p:cNvSpPr>
            <p:nvPr/>
          </p:nvSpPr>
          <p:spPr bwMode="auto">
            <a:xfrm>
              <a:off x="5924550" y="1220791"/>
              <a:ext cx="84138" cy="93662"/>
            </a:xfrm>
            <a:custGeom>
              <a:avLst/>
              <a:gdLst>
                <a:gd name="T0" fmla="*/ 2147483647 w 57"/>
                <a:gd name="T1" fmla="*/ 2147483647 h 59"/>
                <a:gd name="T2" fmla="*/ 2147483647 w 57"/>
                <a:gd name="T3" fmla="*/ 2147483647 h 59"/>
                <a:gd name="T4" fmla="*/ 2147483647 w 57"/>
                <a:gd name="T5" fmla="*/ 2147483647 h 59"/>
                <a:gd name="T6" fmla="*/ 2147483647 w 57"/>
                <a:gd name="T7" fmla="*/ 2147483647 h 59"/>
                <a:gd name="T8" fmla="*/ 2147483647 w 57"/>
                <a:gd name="T9" fmla="*/ 2147483647 h 59"/>
                <a:gd name="T10" fmla="*/ 2147483647 w 57"/>
                <a:gd name="T11" fmla="*/ 2147483647 h 59"/>
                <a:gd name="T12" fmla="*/ 2147483647 w 57"/>
                <a:gd name="T13" fmla="*/ 2147483647 h 59"/>
                <a:gd name="T14" fmla="*/ 2147483647 w 57"/>
                <a:gd name="T15" fmla="*/ 2147483647 h 59"/>
                <a:gd name="T16" fmla="*/ 2147483647 w 57"/>
                <a:gd name="T17" fmla="*/ 2147483647 h 59"/>
                <a:gd name="T18" fmla="*/ 2147483647 w 57"/>
                <a:gd name="T19" fmla="*/ 2147483647 h 59"/>
                <a:gd name="T20" fmla="*/ 2147483647 w 57"/>
                <a:gd name="T21" fmla="*/ 2147483647 h 59"/>
                <a:gd name="T22" fmla="*/ 2147483647 w 57"/>
                <a:gd name="T23" fmla="*/ 0 h 59"/>
                <a:gd name="T24" fmla="*/ 2147483647 w 57"/>
                <a:gd name="T25" fmla="*/ 2147483647 h 59"/>
                <a:gd name="T26" fmla="*/ 2147483647 w 57"/>
                <a:gd name="T27" fmla="*/ 2147483647 h 59"/>
                <a:gd name="T28" fmla="*/ 2147483647 w 57"/>
                <a:gd name="T29" fmla="*/ 2147483647 h 59"/>
                <a:gd name="T30" fmla="*/ 2147483647 w 57"/>
                <a:gd name="T31" fmla="*/ 2147483647 h 59"/>
                <a:gd name="T32" fmla="*/ 2147483647 w 57"/>
                <a:gd name="T33" fmla="*/ 2147483647 h 59"/>
                <a:gd name="T34" fmla="*/ 2147483647 w 57"/>
                <a:gd name="T35" fmla="*/ 2147483647 h 59"/>
                <a:gd name="T36" fmla="*/ 2147483647 w 57"/>
                <a:gd name="T37" fmla="*/ 2147483647 h 59"/>
                <a:gd name="T38" fmla="*/ 2147483647 w 57"/>
                <a:gd name="T39" fmla="*/ 2147483647 h 59"/>
                <a:gd name="T40" fmla="*/ 2147483647 w 57"/>
                <a:gd name="T41" fmla="*/ 2147483647 h 59"/>
                <a:gd name="T42" fmla="*/ 2147483647 w 57"/>
                <a:gd name="T43" fmla="*/ 2147483647 h 59"/>
                <a:gd name="T44" fmla="*/ 2147483647 w 57"/>
                <a:gd name="T45" fmla="*/ 2147483647 h 59"/>
                <a:gd name="T46" fmla="*/ 0 w 57"/>
                <a:gd name="T47" fmla="*/ 2147483647 h 59"/>
                <a:gd name="T48" fmla="*/ 0 w 57"/>
                <a:gd name="T49" fmla="*/ 2147483647 h 59"/>
                <a:gd name="T50" fmla="*/ 2147483647 w 57"/>
                <a:gd name="T51" fmla="*/ 2147483647 h 59"/>
                <a:gd name="T52" fmla="*/ 2147483647 w 57"/>
                <a:gd name="T53" fmla="*/ 2147483647 h 59"/>
                <a:gd name="T54" fmla="*/ 2147483647 w 57"/>
                <a:gd name="T55" fmla="*/ 2147483647 h 59"/>
                <a:gd name="T56" fmla="*/ 2147483647 w 57"/>
                <a:gd name="T57" fmla="*/ 2147483647 h 59"/>
                <a:gd name="T58" fmla="*/ 2147483647 w 57"/>
                <a:gd name="T59" fmla="*/ 2147483647 h 59"/>
                <a:gd name="T60" fmla="*/ 2147483647 w 57"/>
                <a:gd name="T61" fmla="*/ 2147483647 h 59"/>
                <a:gd name="T62" fmla="*/ 2147483647 w 57"/>
                <a:gd name="T63" fmla="*/ 2147483647 h 59"/>
                <a:gd name="T64" fmla="*/ 2147483647 w 57"/>
                <a:gd name="T65" fmla="*/ 2147483647 h 59"/>
                <a:gd name="T66" fmla="*/ 2147483647 w 57"/>
                <a:gd name="T67" fmla="*/ 2147483647 h 59"/>
                <a:gd name="T68" fmla="*/ 2147483647 w 57"/>
                <a:gd name="T69" fmla="*/ 2147483647 h 59"/>
                <a:gd name="T70" fmla="*/ 2147483647 w 57"/>
                <a:gd name="T71" fmla="*/ 2147483647 h 59"/>
                <a:gd name="T72" fmla="*/ 2147483647 w 57"/>
                <a:gd name="T73" fmla="*/ 2147483647 h 59"/>
                <a:gd name="T74" fmla="*/ 2147483647 w 57"/>
                <a:gd name="T75" fmla="*/ 2147483647 h 59"/>
                <a:gd name="T76" fmla="*/ 2147483647 w 57"/>
                <a:gd name="T77" fmla="*/ 2147483647 h 59"/>
                <a:gd name="T78" fmla="*/ 2147483647 w 57"/>
                <a:gd name="T79" fmla="*/ 2147483647 h 59"/>
                <a:gd name="T80" fmla="*/ 2147483647 w 57"/>
                <a:gd name="T81" fmla="*/ 2147483647 h 59"/>
                <a:gd name="T82" fmla="*/ 2147483647 w 57"/>
                <a:gd name="T83" fmla="*/ 2147483647 h 59"/>
                <a:gd name="T84" fmla="*/ 2147483647 w 57"/>
                <a:gd name="T85" fmla="*/ 2147483647 h 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
                <a:gd name="T130" fmla="*/ 0 h 59"/>
                <a:gd name="T131" fmla="*/ 57 w 57"/>
                <a:gd name="T132" fmla="*/ 59 h 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 h="59">
                  <a:moveTo>
                    <a:pt x="56" y="38"/>
                  </a:moveTo>
                  <a:lnTo>
                    <a:pt x="51" y="37"/>
                  </a:lnTo>
                  <a:lnTo>
                    <a:pt x="48" y="34"/>
                  </a:lnTo>
                  <a:lnTo>
                    <a:pt x="41" y="29"/>
                  </a:lnTo>
                  <a:lnTo>
                    <a:pt x="41" y="28"/>
                  </a:lnTo>
                  <a:lnTo>
                    <a:pt x="43" y="26"/>
                  </a:lnTo>
                  <a:lnTo>
                    <a:pt x="48" y="24"/>
                  </a:lnTo>
                  <a:lnTo>
                    <a:pt x="46" y="16"/>
                  </a:lnTo>
                  <a:lnTo>
                    <a:pt x="42" y="8"/>
                  </a:lnTo>
                  <a:lnTo>
                    <a:pt x="40" y="4"/>
                  </a:lnTo>
                  <a:lnTo>
                    <a:pt x="37" y="2"/>
                  </a:lnTo>
                  <a:lnTo>
                    <a:pt x="34" y="0"/>
                  </a:lnTo>
                  <a:lnTo>
                    <a:pt x="32" y="2"/>
                  </a:lnTo>
                  <a:lnTo>
                    <a:pt x="22" y="10"/>
                  </a:lnTo>
                  <a:lnTo>
                    <a:pt x="9" y="16"/>
                  </a:lnTo>
                  <a:lnTo>
                    <a:pt x="8" y="17"/>
                  </a:lnTo>
                  <a:lnTo>
                    <a:pt x="8" y="18"/>
                  </a:lnTo>
                  <a:lnTo>
                    <a:pt x="8" y="22"/>
                  </a:lnTo>
                  <a:lnTo>
                    <a:pt x="8" y="26"/>
                  </a:lnTo>
                  <a:lnTo>
                    <a:pt x="8" y="30"/>
                  </a:lnTo>
                  <a:lnTo>
                    <a:pt x="4" y="32"/>
                  </a:lnTo>
                  <a:lnTo>
                    <a:pt x="3" y="34"/>
                  </a:lnTo>
                  <a:lnTo>
                    <a:pt x="1" y="36"/>
                  </a:lnTo>
                  <a:lnTo>
                    <a:pt x="0" y="38"/>
                  </a:lnTo>
                  <a:lnTo>
                    <a:pt x="0" y="42"/>
                  </a:lnTo>
                  <a:lnTo>
                    <a:pt x="1" y="44"/>
                  </a:lnTo>
                  <a:lnTo>
                    <a:pt x="3" y="45"/>
                  </a:lnTo>
                  <a:lnTo>
                    <a:pt x="9" y="48"/>
                  </a:lnTo>
                  <a:lnTo>
                    <a:pt x="14" y="51"/>
                  </a:lnTo>
                  <a:lnTo>
                    <a:pt x="18" y="55"/>
                  </a:lnTo>
                  <a:lnTo>
                    <a:pt x="23" y="59"/>
                  </a:lnTo>
                  <a:lnTo>
                    <a:pt x="24" y="59"/>
                  </a:lnTo>
                  <a:lnTo>
                    <a:pt x="26" y="59"/>
                  </a:lnTo>
                  <a:lnTo>
                    <a:pt x="28" y="56"/>
                  </a:lnTo>
                  <a:lnTo>
                    <a:pt x="32" y="50"/>
                  </a:lnTo>
                  <a:lnTo>
                    <a:pt x="34" y="48"/>
                  </a:lnTo>
                  <a:lnTo>
                    <a:pt x="36" y="47"/>
                  </a:lnTo>
                  <a:lnTo>
                    <a:pt x="42" y="44"/>
                  </a:lnTo>
                  <a:lnTo>
                    <a:pt x="55" y="43"/>
                  </a:lnTo>
                  <a:lnTo>
                    <a:pt x="56" y="43"/>
                  </a:lnTo>
                  <a:lnTo>
                    <a:pt x="57" y="42"/>
                  </a:lnTo>
                  <a:lnTo>
                    <a:pt x="57" y="40"/>
                  </a:lnTo>
                  <a:lnTo>
                    <a:pt x="56" y="3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7" name="Freeform 356"/>
            <p:cNvSpPr>
              <a:spLocks/>
            </p:cNvSpPr>
            <p:nvPr/>
          </p:nvSpPr>
          <p:spPr bwMode="auto">
            <a:xfrm>
              <a:off x="6176964" y="4637090"/>
              <a:ext cx="4762" cy="11112"/>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2147483647 w 3"/>
                <a:gd name="T13" fmla="*/ 2147483647 h 7"/>
                <a:gd name="T14" fmla="*/ 0 w 3"/>
                <a:gd name="T15" fmla="*/ 2147483647 h 7"/>
                <a:gd name="T16" fmla="*/ 2147483647 w 3"/>
                <a:gd name="T17" fmla="*/ 2147483647 h 7"/>
                <a:gd name="T18" fmla="*/ 2147483647 w 3"/>
                <a:gd name="T19" fmla="*/ 2147483647 h 7"/>
                <a:gd name="T20" fmla="*/ 2147483647 w 3"/>
                <a:gd name="T21" fmla="*/ 0 h 7"/>
                <a:gd name="T22" fmla="*/ 2147483647 w 3"/>
                <a:gd name="T23" fmla="*/ 2147483647 h 7"/>
                <a:gd name="T24" fmla="*/ 2147483647 w 3"/>
                <a:gd name="T25" fmla="*/ 2147483647 h 7"/>
                <a:gd name="T26" fmla="*/ 2147483647 w 3"/>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7"/>
                <a:gd name="T44" fmla="*/ 3 w 3"/>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7">
                  <a:moveTo>
                    <a:pt x="3" y="5"/>
                  </a:moveTo>
                  <a:lnTo>
                    <a:pt x="3" y="5"/>
                  </a:lnTo>
                  <a:lnTo>
                    <a:pt x="3" y="6"/>
                  </a:lnTo>
                  <a:lnTo>
                    <a:pt x="2" y="7"/>
                  </a:lnTo>
                  <a:lnTo>
                    <a:pt x="1" y="6"/>
                  </a:lnTo>
                  <a:lnTo>
                    <a:pt x="0" y="3"/>
                  </a:lnTo>
                  <a:lnTo>
                    <a:pt x="1" y="1"/>
                  </a:lnTo>
                  <a:lnTo>
                    <a:pt x="2" y="0"/>
                  </a:lnTo>
                  <a:lnTo>
                    <a:pt x="3" y="1"/>
                  </a:lnTo>
                  <a:lnTo>
                    <a:pt x="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8" name="Freeform 357"/>
            <p:cNvSpPr>
              <a:spLocks/>
            </p:cNvSpPr>
            <p:nvPr/>
          </p:nvSpPr>
          <p:spPr bwMode="auto">
            <a:xfrm>
              <a:off x="5922965" y="1219203"/>
              <a:ext cx="84137" cy="92075"/>
            </a:xfrm>
            <a:custGeom>
              <a:avLst/>
              <a:gdLst>
                <a:gd name="T0" fmla="*/ 2147483647 w 57"/>
                <a:gd name="T1" fmla="*/ 2147483647 h 58"/>
                <a:gd name="T2" fmla="*/ 2147483647 w 57"/>
                <a:gd name="T3" fmla="*/ 2147483647 h 58"/>
                <a:gd name="T4" fmla="*/ 2147483647 w 57"/>
                <a:gd name="T5" fmla="*/ 2147483647 h 58"/>
                <a:gd name="T6" fmla="*/ 2147483647 w 57"/>
                <a:gd name="T7" fmla="*/ 2147483647 h 58"/>
                <a:gd name="T8" fmla="*/ 2147483647 w 57"/>
                <a:gd name="T9" fmla="*/ 2147483647 h 58"/>
                <a:gd name="T10" fmla="*/ 2147483647 w 57"/>
                <a:gd name="T11" fmla="*/ 2147483647 h 58"/>
                <a:gd name="T12" fmla="*/ 2147483647 w 57"/>
                <a:gd name="T13" fmla="*/ 2147483647 h 58"/>
                <a:gd name="T14" fmla="*/ 2147483647 w 57"/>
                <a:gd name="T15" fmla="*/ 2147483647 h 58"/>
                <a:gd name="T16" fmla="*/ 2147483647 w 57"/>
                <a:gd name="T17" fmla="*/ 2147483647 h 58"/>
                <a:gd name="T18" fmla="*/ 2147483647 w 57"/>
                <a:gd name="T19" fmla="*/ 2147483647 h 58"/>
                <a:gd name="T20" fmla="*/ 2147483647 w 57"/>
                <a:gd name="T21" fmla="*/ 2147483647 h 58"/>
                <a:gd name="T22" fmla="*/ 2147483647 w 57"/>
                <a:gd name="T23" fmla="*/ 2147483647 h 58"/>
                <a:gd name="T24" fmla="*/ 2147483647 w 57"/>
                <a:gd name="T25" fmla="*/ 2147483647 h 58"/>
                <a:gd name="T26" fmla="*/ 2147483647 w 57"/>
                <a:gd name="T27" fmla="*/ 2147483647 h 58"/>
                <a:gd name="T28" fmla="*/ 2147483647 w 57"/>
                <a:gd name="T29" fmla="*/ 0 h 58"/>
                <a:gd name="T30" fmla="*/ 2147483647 w 57"/>
                <a:gd name="T31" fmla="*/ 2147483647 h 58"/>
                <a:gd name="T32" fmla="*/ 2147483647 w 57"/>
                <a:gd name="T33" fmla="*/ 2147483647 h 58"/>
                <a:gd name="T34" fmla="*/ 2147483647 w 57"/>
                <a:gd name="T35" fmla="*/ 2147483647 h 58"/>
                <a:gd name="T36" fmla="*/ 2147483647 w 57"/>
                <a:gd name="T37" fmla="*/ 2147483647 h 58"/>
                <a:gd name="T38" fmla="*/ 2147483647 w 57"/>
                <a:gd name="T39" fmla="*/ 2147483647 h 58"/>
                <a:gd name="T40" fmla="*/ 2147483647 w 57"/>
                <a:gd name="T41" fmla="*/ 2147483647 h 58"/>
                <a:gd name="T42" fmla="*/ 2147483647 w 57"/>
                <a:gd name="T43" fmla="*/ 2147483647 h 58"/>
                <a:gd name="T44" fmla="*/ 2147483647 w 57"/>
                <a:gd name="T45" fmla="*/ 2147483647 h 58"/>
                <a:gd name="T46" fmla="*/ 2147483647 w 57"/>
                <a:gd name="T47" fmla="*/ 2147483647 h 58"/>
                <a:gd name="T48" fmla="*/ 2147483647 w 57"/>
                <a:gd name="T49" fmla="*/ 2147483647 h 58"/>
                <a:gd name="T50" fmla="*/ 2147483647 w 57"/>
                <a:gd name="T51" fmla="*/ 2147483647 h 58"/>
                <a:gd name="T52" fmla="*/ 2147483647 w 57"/>
                <a:gd name="T53" fmla="*/ 2147483647 h 58"/>
                <a:gd name="T54" fmla="*/ 2147483647 w 57"/>
                <a:gd name="T55" fmla="*/ 2147483647 h 58"/>
                <a:gd name="T56" fmla="*/ 2147483647 w 57"/>
                <a:gd name="T57" fmla="*/ 2147483647 h 58"/>
                <a:gd name="T58" fmla="*/ 2147483647 w 57"/>
                <a:gd name="T59" fmla="*/ 2147483647 h 58"/>
                <a:gd name="T60" fmla="*/ 0 w 57"/>
                <a:gd name="T61" fmla="*/ 2147483647 h 58"/>
                <a:gd name="T62" fmla="*/ 0 w 57"/>
                <a:gd name="T63" fmla="*/ 2147483647 h 58"/>
                <a:gd name="T64" fmla="*/ 2147483647 w 57"/>
                <a:gd name="T65" fmla="*/ 2147483647 h 58"/>
                <a:gd name="T66" fmla="*/ 2147483647 w 57"/>
                <a:gd name="T67" fmla="*/ 2147483647 h 58"/>
                <a:gd name="T68" fmla="*/ 2147483647 w 57"/>
                <a:gd name="T69" fmla="*/ 2147483647 h 58"/>
                <a:gd name="T70" fmla="*/ 2147483647 w 57"/>
                <a:gd name="T71" fmla="*/ 2147483647 h 58"/>
                <a:gd name="T72" fmla="*/ 2147483647 w 57"/>
                <a:gd name="T73" fmla="*/ 2147483647 h 58"/>
                <a:gd name="T74" fmla="*/ 2147483647 w 57"/>
                <a:gd name="T75" fmla="*/ 2147483647 h 58"/>
                <a:gd name="T76" fmla="*/ 2147483647 w 57"/>
                <a:gd name="T77" fmla="*/ 2147483647 h 58"/>
                <a:gd name="T78" fmla="*/ 2147483647 w 57"/>
                <a:gd name="T79" fmla="*/ 2147483647 h 58"/>
                <a:gd name="T80" fmla="*/ 2147483647 w 57"/>
                <a:gd name="T81" fmla="*/ 2147483647 h 58"/>
                <a:gd name="T82" fmla="*/ 2147483647 w 57"/>
                <a:gd name="T83" fmla="*/ 2147483647 h 58"/>
                <a:gd name="T84" fmla="*/ 2147483647 w 57"/>
                <a:gd name="T85" fmla="*/ 2147483647 h 58"/>
                <a:gd name="T86" fmla="*/ 2147483647 w 57"/>
                <a:gd name="T87" fmla="*/ 2147483647 h 58"/>
                <a:gd name="T88" fmla="*/ 2147483647 w 57"/>
                <a:gd name="T89" fmla="*/ 2147483647 h 58"/>
                <a:gd name="T90" fmla="*/ 2147483647 w 57"/>
                <a:gd name="T91" fmla="*/ 2147483647 h 58"/>
                <a:gd name="T92" fmla="*/ 2147483647 w 57"/>
                <a:gd name="T93" fmla="*/ 2147483647 h 58"/>
                <a:gd name="T94" fmla="*/ 2147483647 w 57"/>
                <a:gd name="T95" fmla="*/ 2147483647 h 58"/>
                <a:gd name="T96" fmla="*/ 2147483647 w 57"/>
                <a:gd name="T97" fmla="*/ 2147483647 h 58"/>
                <a:gd name="T98" fmla="*/ 2147483647 w 57"/>
                <a:gd name="T99" fmla="*/ 2147483647 h 58"/>
                <a:gd name="T100" fmla="*/ 2147483647 w 57"/>
                <a:gd name="T101" fmla="*/ 2147483647 h 58"/>
                <a:gd name="T102" fmla="*/ 2147483647 w 57"/>
                <a:gd name="T103" fmla="*/ 2147483647 h 58"/>
                <a:gd name="T104" fmla="*/ 2147483647 w 57"/>
                <a:gd name="T105" fmla="*/ 2147483647 h 58"/>
                <a:gd name="T106" fmla="*/ 2147483647 w 57"/>
                <a:gd name="T107" fmla="*/ 2147483647 h 58"/>
                <a:gd name="T108" fmla="*/ 2147483647 w 57"/>
                <a:gd name="T109" fmla="*/ 2147483647 h 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7"/>
                <a:gd name="T166" fmla="*/ 0 h 58"/>
                <a:gd name="T167" fmla="*/ 57 w 57"/>
                <a:gd name="T168" fmla="*/ 58 h 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7" h="58">
                  <a:moveTo>
                    <a:pt x="56" y="38"/>
                  </a:moveTo>
                  <a:lnTo>
                    <a:pt x="56" y="38"/>
                  </a:lnTo>
                  <a:lnTo>
                    <a:pt x="51" y="37"/>
                  </a:lnTo>
                  <a:lnTo>
                    <a:pt x="48" y="33"/>
                  </a:lnTo>
                  <a:lnTo>
                    <a:pt x="41" y="29"/>
                  </a:lnTo>
                  <a:lnTo>
                    <a:pt x="41" y="27"/>
                  </a:lnTo>
                  <a:lnTo>
                    <a:pt x="43" y="26"/>
                  </a:lnTo>
                  <a:lnTo>
                    <a:pt x="48" y="24"/>
                  </a:lnTo>
                  <a:lnTo>
                    <a:pt x="46" y="16"/>
                  </a:lnTo>
                  <a:lnTo>
                    <a:pt x="42" y="7"/>
                  </a:lnTo>
                  <a:lnTo>
                    <a:pt x="39" y="4"/>
                  </a:lnTo>
                  <a:lnTo>
                    <a:pt x="37" y="1"/>
                  </a:lnTo>
                  <a:lnTo>
                    <a:pt x="34" y="0"/>
                  </a:lnTo>
                  <a:lnTo>
                    <a:pt x="32" y="1"/>
                  </a:lnTo>
                  <a:lnTo>
                    <a:pt x="21" y="10"/>
                  </a:lnTo>
                  <a:lnTo>
                    <a:pt x="9" y="16"/>
                  </a:lnTo>
                  <a:lnTo>
                    <a:pt x="8" y="17"/>
                  </a:lnTo>
                  <a:lnTo>
                    <a:pt x="8" y="18"/>
                  </a:lnTo>
                  <a:lnTo>
                    <a:pt x="8" y="22"/>
                  </a:lnTo>
                  <a:lnTo>
                    <a:pt x="8" y="26"/>
                  </a:lnTo>
                  <a:lnTo>
                    <a:pt x="8" y="30"/>
                  </a:lnTo>
                  <a:lnTo>
                    <a:pt x="4" y="32"/>
                  </a:lnTo>
                  <a:lnTo>
                    <a:pt x="2" y="33"/>
                  </a:lnTo>
                  <a:lnTo>
                    <a:pt x="1" y="36"/>
                  </a:lnTo>
                  <a:lnTo>
                    <a:pt x="0" y="38"/>
                  </a:lnTo>
                  <a:lnTo>
                    <a:pt x="0" y="42"/>
                  </a:lnTo>
                  <a:lnTo>
                    <a:pt x="1" y="44"/>
                  </a:lnTo>
                  <a:lnTo>
                    <a:pt x="2" y="45"/>
                  </a:lnTo>
                  <a:lnTo>
                    <a:pt x="9" y="48"/>
                  </a:lnTo>
                  <a:lnTo>
                    <a:pt x="14" y="51"/>
                  </a:lnTo>
                  <a:lnTo>
                    <a:pt x="18" y="55"/>
                  </a:lnTo>
                  <a:lnTo>
                    <a:pt x="23" y="58"/>
                  </a:lnTo>
                  <a:lnTo>
                    <a:pt x="24" y="58"/>
                  </a:lnTo>
                  <a:lnTo>
                    <a:pt x="25" y="58"/>
                  </a:lnTo>
                  <a:lnTo>
                    <a:pt x="28" y="56"/>
                  </a:lnTo>
                  <a:lnTo>
                    <a:pt x="32" y="50"/>
                  </a:lnTo>
                  <a:lnTo>
                    <a:pt x="34" y="48"/>
                  </a:lnTo>
                  <a:lnTo>
                    <a:pt x="35" y="46"/>
                  </a:lnTo>
                  <a:lnTo>
                    <a:pt x="42" y="44"/>
                  </a:lnTo>
                  <a:lnTo>
                    <a:pt x="55" y="43"/>
                  </a:lnTo>
                  <a:lnTo>
                    <a:pt x="56" y="43"/>
                  </a:lnTo>
                  <a:lnTo>
                    <a:pt x="57" y="42"/>
                  </a:lnTo>
                  <a:lnTo>
                    <a:pt x="57" y="39"/>
                  </a:lnTo>
                  <a:lnTo>
                    <a:pt x="56" y="3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59" name="Freeform 358"/>
            <p:cNvSpPr>
              <a:spLocks/>
            </p:cNvSpPr>
            <p:nvPr/>
          </p:nvSpPr>
          <p:spPr bwMode="auto">
            <a:xfrm>
              <a:off x="5819775" y="1198564"/>
              <a:ext cx="39688" cy="19050"/>
            </a:xfrm>
            <a:custGeom>
              <a:avLst/>
              <a:gdLst>
                <a:gd name="T0" fmla="*/ 2147483647 w 28"/>
                <a:gd name="T1" fmla="*/ 0 h 12"/>
                <a:gd name="T2" fmla="*/ 2147483647 w 28"/>
                <a:gd name="T3" fmla="*/ 2147483647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2147483647 w 28"/>
                <a:gd name="T17" fmla="*/ 2147483647 h 12"/>
                <a:gd name="T18" fmla="*/ 2147483647 w 28"/>
                <a:gd name="T19" fmla="*/ 2147483647 h 12"/>
                <a:gd name="T20" fmla="*/ 2147483647 w 28"/>
                <a:gd name="T21" fmla="*/ 2147483647 h 12"/>
                <a:gd name="T22" fmla="*/ 0 w 28"/>
                <a:gd name="T23" fmla="*/ 2147483647 h 12"/>
                <a:gd name="T24" fmla="*/ 0 w 28"/>
                <a:gd name="T25" fmla="*/ 2147483647 h 12"/>
                <a:gd name="T26" fmla="*/ 2147483647 w 28"/>
                <a:gd name="T27" fmla="*/ 2147483647 h 12"/>
                <a:gd name="T28" fmla="*/ 2147483647 w 28"/>
                <a:gd name="T29" fmla="*/ 2147483647 h 12"/>
                <a:gd name="T30" fmla="*/ 2147483647 w 28"/>
                <a:gd name="T31" fmla="*/ 2147483647 h 12"/>
                <a:gd name="T32" fmla="*/ 2147483647 w 28"/>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12"/>
                <a:gd name="T53" fmla="*/ 28 w 28"/>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12">
                  <a:moveTo>
                    <a:pt x="14" y="0"/>
                  </a:moveTo>
                  <a:lnTo>
                    <a:pt x="19" y="1"/>
                  </a:lnTo>
                  <a:lnTo>
                    <a:pt x="24" y="3"/>
                  </a:lnTo>
                  <a:lnTo>
                    <a:pt x="28" y="5"/>
                  </a:lnTo>
                  <a:lnTo>
                    <a:pt x="28" y="6"/>
                  </a:lnTo>
                  <a:lnTo>
                    <a:pt x="26" y="7"/>
                  </a:lnTo>
                  <a:lnTo>
                    <a:pt x="21" y="10"/>
                  </a:lnTo>
                  <a:lnTo>
                    <a:pt x="14" y="12"/>
                  </a:lnTo>
                  <a:lnTo>
                    <a:pt x="6" y="12"/>
                  </a:lnTo>
                  <a:lnTo>
                    <a:pt x="4" y="11"/>
                  </a:lnTo>
                  <a:lnTo>
                    <a:pt x="1" y="10"/>
                  </a:lnTo>
                  <a:lnTo>
                    <a:pt x="0" y="7"/>
                  </a:lnTo>
                  <a:lnTo>
                    <a:pt x="0" y="6"/>
                  </a:lnTo>
                  <a:lnTo>
                    <a:pt x="1" y="5"/>
                  </a:lnTo>
                  <a:lnTo>
                    <a:pt x="4" y="4"/>
                  </a:lnTo>
                  <a:lnTo>
                    <a:pt x="9" y="1"/>
                  </a:lnTo>
                  <a:lnTo>
                    <a:pt x="14"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0" name="Freeform 359"/>
            <p:cNvSpPr>
              <a:spLocks/>
            </p:cNvSpPr>
            <p:nvPr/>
          </p:nvSpPr>
          <p:spPr bwMode="auto">
            <a:xfrm>
              <a:off x="5875339" y="1255714"/>
              <a:ext cx="36512" cy="28575"/>
            </a:xfrm>
            <a:custGeom>
              <a:avLst/>
              <a:gdLst>
                <a:gd name="T0" fmla="*/ 2147483647 w 25"/>
                <a:gd name="T1" fmla="*/ 2147483647 h 18"/>
                <a:gd name="T2" fmla="*/ 2147483647 w 25"/>
                <a:gd name="T3" fmla="*/ 0 h 18"/>
                <a:gd name="T4" fmla="*/ 2147483647 w 25"/>
                <a:gd name="T5" fmla="*/ 0 h 18"/>
                <a:gd name="T6" fmla="*/ 2147483647 w 25"/>
                <a:gd name="T7" fmla="*/ 2147483647 h 18"/>
                <a:gd name="T8" fmla="*/ 2147483647 w 25"/>
                <a:gd name="T9" fmla="*/ 2147483647 h 18"/>
                <a:gd name="T10" fmla="*/ 2147483647 w 25"/>
                <a:gd name="T11" fmla="*/ 2147483647 h 18"/>
                <a:gd name="T12" fmla="*/ 2147483647 w 25"/>
                <a:gd name="T13" fmla="*/ 2147483647 h 18"/>
                <a:gd name="T14" fmla="*/ 2147483647 w 25"/>
                <a:gd name="T15" fmla="*/ 2147483647 h 18"/>
                <a:gd name="T16" fmla="*/ 2147483647 w 25"/>
                <a:gd name="T17" fmla="*/ 2147483647 h 18"/>
                <a:gd name="T18" fmla="*/ 2147483647 w 25"/>
                <a:gd name="T19" fmla="*/ 2147483647 h 18"/>
                <a:gd name="T20" fmla="*/ 2147483647 w 25"/>
                <a:gd name="T21" fmla="*/ 2147483647 h 18"/>
                <a:gd name="T22" fmla="*/ 2147483647 w 25"/>
                <a:gd name="T23" fmla="*/ 2147483647 h 18"/>
                <a:gd name="T24" fmla="*/ 2147483647 w 25"/>
                <a:gd name="T25" fmla="*/ 2147483647 h 18"/>
                <a:gd name="T26" fmla="*/ 0 w 25"/>
                <a:gd name="T27" fmla="*/ 2147483647 h 18"/>
                <a:gd name="T28" fmla="*/ 2147483647 w 25"/>
                <a:gd name="T29" fmla="*/ 2147483647 h 18"/>
                <a:gd name="T30" fmla="*/ 2147483647 w 25"/>
                <a:gd name="T31" fmla="*/ 2147483647 h 18"/>
                <a:gd name="T32" fmla="*/ 2147483647 w 25"/>
                <a:gd name="T33" fmla="*/ 2147483647 h 18"/>
                <a:gd name="T34" fmla="*/ 2147483647 w 25"/>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
                <a:gd name="T55" fmla="*/ 0 h 18"/>
                <a:gd name="T56" fmla="*/ 25 w 25"/>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 h="18">
                  <a:moveTo>
                    <a:pt x="13" y="1"/>
                  </a:moveTo>
                  <a:lnTo>
                    <a:pt x="18" y="0"/>
                  </a:lnTo>
                  <a:lnTo>
                    <a:pt x="20" y="0"/>
                  </a:lnTo>
                  <a:lnTo>
                    <a:pt x="23" y="1"/>
                  </a:lnTo>
                  <a:lnTo>
                    <a:pt x="25" y="3"/>
                  </a:lnTo>
                  <a:lnTo>
                    <a:pt x="24" y="6"/>
                  </a:lnTo>
                  <a:lnTo>
                    <a:pt x="21" y="9"/>
                  </a:lnTo>
                  <a:lnTo>
                    <a:pt x="19" y="12"/>
                  </a:lnTo>
                  <a:lnTo>
                    <a:pt x="13" y="15"/>
                  </a:lnTo>
                  <a:lnTo>
                    <a:pt x="6" y="18"/>
                  </a:lnTo>
                  <a:lnTo>
                    <a:pt x="4" y="18"/>
                  </a:lnTo>
                  <a:lnTo>
                    <a:pt x="2" y="16"/>
                  </a:lnTo>
                  <a:lnTo>
                    <a:pt x="1" y="14"/>
                  </a:lnTo>
                  <a:lnTo>
                    <a:pt x="0" y="12"/>
                  </a:lnTo>
                  <a:lnTo>
                    <a:pt x="1" y="4"/>
                  </a:lnTo>
                  <a:lnTo>
                    <a:pt x="2" y="2"/>
                  </a:lnTo>
                  <a:lnTo>
                    <a:pt x="6" y="2"/>
                  </a:lnTo>
                  <a:lnTo>
                    <a:pt x="13"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1" name="Freeform 360"/>
            <p:cNvSpPr>
              <a:spLocks/>
            </p:cNvSpPr>
            <p:nvPr/>
          </p:nvSpPr>
          <p:spPr bwMode="auto">
            <a:xfrm>
              <a:off x="5818190" y="1196978"/>
              <a:ext cx="39687" cy="19050"/>
            </a:xfrm>
            <a:custGeom>
              <a:avLst/>
              <a:gdLst>
                <a:gd name="T0" fmla="*/ 2147483647 w 27"/>
                <a:gd name="T1" fmla="*/ 0 h 12"/>
                <a:gd name="T2" fmla="*/ 2147483647 w 27"/>
                <a:gd name="T3" fmla="*/ 0 h 12"/>
                <a:gd name="T4" fmla="*/ 2147483647 w 27"/>
                <a:gd name="T5" fmla="*/ 2147483647 h 12"/>
                <a:gd name="T6" fmla="*/ 2147483647 w 27"/>
                <a:gd name="T7" fmla="*/ 2147483647 h 12"/>
                <a:gd name="T8" fmla="*/ 2147483647 w 27"/>
                <a:gd name="T9" fmla="*/ 2147483647 h 12"/>
                <a:gd name="T10" fmla="*/ 2147483647 w 27"/>
                <a:gd name="T11" fmla="*/ 2147483647 h 12"/>
                <a:gd name="T12" fmla="*/ 2147483647 w 27"/>
                <a:gd name="T13" fmla="*/ 2147483647 h 12"/>
                <a:gd name="T14" fmla="*/ 2147483647 w 27"/>
                <a:gd name="T15" fmla="*/ 2147483647 h 12"/>
                <a:gd name="T16" fmla="*/ 2147483647 w 27"/>
                <a:gd name="T17" fmla="*/ 2147483647 h 12"/>
                <a:gd name="T18" fmla="*/ 2147483647 w 27"/>
                <a:gd name="T19" fmla="*/ 2147483647 h 12"/>
                <a:gd name="T20" fmla="*/ 2147483647 w 27"/>
                <a:gd name="T21" fmla="*/ 2147483647 h 12"/>
                <a:gd name="T22" fmla="*/ 2147483647 w 27"/>
                <a:gd name="T23" fmla="*/ 2147483647 h 12"/>
                <a:gd name="T24" fmla="*/ 2147483647 w 27"/>
                <a:gd name="T25" fmla="*/ 2147483647 h 12"/>
                <a:gd name="T26" fmla="*/ 2147483647 w 27"/>
                <a:gd name="T27" fmla="*/ 2147483647 h 12"/>
                <a:gd name="T28" fmla="*/ 0 w 27"/>
                <a:gd name="T29" fmla="*/ 2147483647 h 12"/>
                <a:gd name="T30" fmla="*/ 0 w 27"/>
                <a:gd name="T31" fmla="*/ 2147483647 h 12"/>
                <a:gd name="T32" fmla="*/ 2147483647 w 27"/>
                <a:gd name="T33" fmla="*/ 2147483647 h 12"/>
                <a:gd name="T34" fmla="*/ 2147483647 w 27"/>
                <a:gd name="T35" fmla="*/ 2147483647 h 12"/>
                <a:gd name="T36" fmla="*/ 2147483647 w 27"/>
                <a:gd name="T37" fmla="*/ 2147483647 h 12"/>
                <a:gd name="T38" fmla="*/ 2147483647 w 27"/>
                <a:gd name="T39" fmla="*/ 0 h 12"/>
                <a:gd name="T40" fmla="*/ 2147483647 w 27"/>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2"/>
                <a:gd name="T65" fmla="*/ 27 w 27"/>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2">
                  <a:moveTo>
                    <a:pt x="13" y="0"/>
                  </a:moveTo>
                  <a:lnTo>
                    <a:pt x="13" y="0"/>
                  </a:lnTo>
                  <a:lnTo>
                    <a:pt x="19" y="1"/>
                  </a:lnTo>
                  <a:lnTo>
                    <a:pt x="24" y="2"/>
                  </a:lnTo>
                  <a:lnTo>
                    <a:pt x="27" y="5"/>
                  </a:lnTo>
                  <a:lnTo>
                    <a:pt x="27" y="6"/>
                  </a:lnTo>
                  <a:lnTo>
                    <a:pt x="26" y="7"/>
                  </a:lnTo>
                  <a:lnTo>
                    <a:pt x="21" y="9"/>
                  </a:lnTo>
                  <a:lnTo>
                    <a:pt x="13" y="12"/>
                  </a:lnTo>
                  <a:lnTo>
                    <a:pt x="6" y="12"/>
                  </a:lnTo>
                  <a:lnTo>
                    <a:pt x="3" y="11"/>
                  </a:lnTo>
                  <a:lnTo>
                    <a:pt x="1" y="9"/>
                  </a:lnTo>
                  <a:lnTo>
                    <a:pt x="0" y="7"/>
                  </a:lnTo>
                  <a:lnTo>
                    <a:pt x="0" y="6"/>
                  </a:lnTo>
                  <a:lnTo>
                    <a:pt x="1" y="5"/>
                  </a:lnTo>
                  <a:lnTo>
                    <a:pt x="3" y="4"/>
                  </a:lnTo>
                  <a:lnTo>
                    <a:pt x="8" y="1"/>
                  </a:lnTo>
                  <a:lnTo>
                    <a:pt x="1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2" name="Freeform 361"/>
            <p:cNvSpPr>
              <a:spLocks/>
            </p:cNvSpPr>
            <p:nvPr/>
          </p:nvSpPr>
          <p:spPr bwMode="auto">
            <a:xfrm>
              <a:off x="5873754" y="1254125"/>
              <a:ext cx="36513" cy="26988"/>
            </a:xfrm>
            <a:custGeom>
              <a:avLst/>
              <a:gdLst>
                <a:gd name="T0" fmla="*/ 2147483647 w 25"/>
                <a:gd name="T1" fmla="*/ 2147483647 h 17"/>
                <a:gd name="T2" fmla="*/ 2147483647 w 25"/>
                <a:gd name="T3" fmla="*/ 2147483647 h 17"/>
                <a:gd name="T4" fmla="*/ 2147483647 w 25"/>
                <a:gd name="T5" fmla="*/ 0 h 17"/>
                <a:gd name="T6" fmla="*/ 2147483647 w 25"/>
                <a:gd name="T7" fmla="*/ 0 h 17"/>
                <a:gd name="T8" fmla="*/ 2147483647 w 25"/>
                <a:gd name="T9" fmla="*/ 2147483647 h 17"/>
                <a:gd name="T10" fmla="*/ 2147483647 w 25"/>
                <a:gd name="T11" fmla="*/ 2147483647 h 17"/>
                <a:gd name="T12" fmla="*/ 2147483647 w 25"/>
                <a:gd name="T13" fmla="*/ 2147483647 h 17"/>
                <a:gd name="T14" fmla="*/ 2147483647 w 25"/>
                <a:gd name="T15" fmla="*/ 2147483647 h 17"/>
                <a:gd name="T16" fmla="*/ 2147483647 w 25"/>
                <a:gd name="T17" fmla="*/ 2147483647 h 17"/>
                <a:gd name="T18" fmla="*/ 2147483647 w 25"/>
                <a:gd name="T19" fmla="*/ 2147483647 h 17"/>
                <a:gd name="T20" fmla="*/ 2147483647 w 25"/>
                <a:gd name="T21" fmla="*/ 2147483647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0 w 25"/>
                <a:gd name="T35" fmla="*/ 2147483647 h 17"/>
                <a:gd name="T36" fmla="*/ 2147483647 w 25"/>
                <a:gd name="T37" fmla="*/ 2147483647 h 17"/>
                <a:gd name="T38" fmla="*/ 2147483647 w 25"/>
                <a:gd name="T39" fmla="*/ 2147483647 h 17"/>
                <a:gd name="T40" fmla="*/ 2147483647 w 25"/>
                <a:gd name="T41" fmla="*/ 2147483647 h 17"/>
                <a:gd name="T42" fmla="*/ 2147483647 w 25"/>
                <a:gd name="T43" fmla="*/ 2147483647 h 17"/>
                <a:gd name="T44" fmla="*/ 2147483647 w 25"/>
                <a:gd name="T45" fmla="*/ 2147483647 h 17"/>
                <a:gd name="T46" fmla="*/ 2147483647 w 25"/>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
                <a:gd name="T73" fmla="*/ 0 h 17"/>
                <a:gd name="T74" fmla="*/ 25 w 25"/>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 h="17">
                  <a:moveTo>
                    <a:pt x="12" y="1"/>
                  </a:moveTo>
                  <a:lnTo>
                    <a:pt x="12" y="1"/>
                  </a:lnTo>
                  <a:lnTo>
                    <a:pt x="17" y="0"/>
                  </a:lnTo>
                  <a:lnTo>
                    <a:pt x="20" y="0"/>
                  </a:lnTo>
                  <a:lnTo>
                    <a:pt x="22" y="1"/>
                  </a:lnTo>
                  <a:lnTo>
                    <a:pt x="25" y="3"/>
                  </a:lnTo>
                  <a:lnTo>
                    <a:pt x="24" y="5"/>
                  </a:lnTo>
                  <a:lnTo>
                    <a:pt x="21" y="9"/>
                  </a:lnTo>
                  <a:lnTo>
                    <a:pt x="19" y="11"/>
                  </a:lnTo>
                  <a:lnTo>
                    <a:pt x="12" y="15"/>
                  </a:lnTo>
                  <a:lnTo>
                    <a:pt x="6" y="17"/>
                  </a:lnTo>
                  <a:lnTo>
                    <a:pt x="3" y="17"/>
                  </a:lnTo>
                  <a:lnTo>
                    <a:pt x="2" y="16"/>
                  </a:lnTo>
                  <a:lnTo>
                    <a:pt x="1" y="14"/>
                  </a:lnTo>
                  <a:lnTo>
                    <a:pt x="0" y="11"/>
                  </a:lnTo>
                  <a:lnTo>
                    <a:pt x="1" y="4"/>
                  </a:lnTo>
                  <a:lnTo>
                    <a:pt x="2" y="2"/>
                  </a:lnTo>
                  <a:lnTo>
                    <a:pt x="6" y="2"/>
                  </a:lnTo>
                  <a:lnTo>
                    <a:pt x="12"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3" name="Freeform 362"/>
            <p:cNvSpPr>
              <a:spLocks/>
            </p:cNvSpPr>
            <p:nvPr/>
          </p:nvSpPr>
          <p:spPr bwMode="auto">
            <a:xfrm>
              <a:off x="5792788" y="1233492"/>
              <a:ext cx="31750" cy="26987"/>
            </a:xfrm>
            <a:custGeom>
              <a:avLst/>
              <a:gdLst>
                <a:gd name="T0" fmla="*/ 2147483647 w 22"/>
                <a:gd name="T1" fmla="*/ 2147483647 h 17"/>
                <a:gd name="T2" fmla="*/ 2147483647 w 22"/>
                <a:gd name="T3" fmla="*/ 2147483647 h 17"/>
                <a:gd name="T4" fmla="*/ 2147483647 w 22"/>
                <a:gd name="T5" fmla="*/ 2147483647 h 17"/>
                <a:gd name="T6" fmla="*/ 2147483647 w 22"/>
                <a:gd name="T7" fmla="*/ 2147483647 h 17"/>
                <a:gd name="T8" fmla="*/ 2147483647 w 22"/>
                <a:gd name="T9" fmla="*/ 2147483647 h 17"/>
                <a:gd name="T10" fmla="*/ 2147483647 w 22"/>
                <a:gd name="T11" fmla="*/ 2147483647 h 17"/>
                <a:gd name="T12" fmla="*/ 2147483647 w 22"/>
                <a:gd name="T13" fmla="*/ 2147483647 h 17"/>
                <a:gd name="T14" fmla="*/ 2147483647 w 22"/>
                <a:gd name="T15" fmla="*/ 2147483647 h 17"/>
                <a:gd name="T16" fmla="*/ 2147483647 w 22"/>
                <a:gd name="T17" fmla="*/ 2147483647 h 17"/>
                <a:gd name="T18" fmla="*/ 0 w 22"/>
                <a:gd name="T19" fmla="*/ 2147483647 h 17"/>
                <a:gd name="T20" fmla="*/ 2147483647 w 22"/>
                <a:gd name="T21" fmla="*/ 2147483647 h 17"/>
                <a:gd name="T22" fmla="*/ 2147483647 w 22"/>
                <a:gd name="T23" fmla="*/ 2147483647 h 17"/>
                <a:gd name="T24" fmla="*/ 2147483647 w 22"/>
                <a:gd name="T25" fmla="*/ 0 h 17"/>
                <a:gd name="T26" fmla="*/ 2147483647 w 22"/>
                <a:gd name="T27" fmla="*/ 0 h 17"/>
                <a:gd name="T28" fmla="*/ 2147483647 w 22"/>
                <a:gd name="T29" fmla="*/ 2147483647 h 17"/>
                <a:gd name="T30" fmla="*/ 2147483647 w 22"/>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17"/>
                <a:gd name="T50" fmla="*/ 22 w 22"/>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17">
                  <a:moveTo>
                    <a:pt x="18" y="7"/>
                  </a:moveTo>
                  <a:lnTo>
                    <a:pt x="20" y="9"/>
                  </a:lnTo>
                  <a:lnTo>
                    <a:pt x="22" y="13"/>
                  </a:lnTo>
                  <a:lnTo>
                    <a:pt x="20" y="15"/>
                  </a:lnTo>
                  <a:lnTo>
                    <a:pt x="18" y="17"/>
                  </a:lnTo>
                  <a:lnTo>
                    <a:pt x="14" y="17"/>
                  </a:lnTo>
                  <a:lnTo>
                    <a:pt x="8" y="15"/>
                  </a:lnTo>
                  <a:lnTo>
                    <a:pt x="4" y="13"/>
                  </a:lnTo>
                  <a:lnTo>
                    <a:pt x="1" y="10"/>
                  </a:lnTo>
                  <a:lnTo>
                    <a:pt x="0" y="8"/>
                  </a:lnTo>
                  <a:lnTo>
                    <a:pt x="1" y="4"/>
                  </a:lnTo>
                  <a:lnTo>
                    <a:pt x="4" y="2"/>
                  </a:lnTo>
                  <a:lnTo>
                    <a:pt x="8" y="0"/>
                  </a:lnTo>
                  <a:lnTo>
                    <a:pt x="10" y="0"/>
                  </a:lnTo>
                  <a:lnTo>
                    <a:pt x="13" y="1"/>
                  </a:lnTo>
                  <a:lnTo>
                    <a:pt x="1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4" name="Freeform 363"/>
            <p:cNvSpPr>
              <a:spLocks/>
            </p:cNvSpPr>
            <p:nvPr/>
          </p:nvSpPr>
          <p:spPr bwMode="auto">
            <a:xfrm>
              <a:off x="5842001" y="1393825"/>
              <a:ext cx="31750" cy="26988"/>
            </a:xfrm>
            <a:custGeom>
              <a:avLst/>
              <a:gdLst>
                <a:gd name="T0" fmla="*/ 2147483647 w 21"/>
                <a:gd name="T1" fmla="*/ 2147483647 h 17"/>
                <a:gd name="T2" fmla="*/ 2147483647 w 21"/>
                <a:gd name="T3" fmla="*/ 2147483647 h 17"/>
                <a:gd name="T4" fmla="*/ 2147483647 w 21"/>
                <a:gd name="T5" fmla="*/ 2147483647 h 17"/>
                <a:gd name="T6" fmla="*/ 2147483647 w 21"/>
                <a:gd name="T7" fmla="*/ 2147483647 h 17"/>
                <a:gd name="T8" fmla="*/ 2147483647 w 21"/>
                <a:gd name="T9" fmla="*/ 0 h 17"/>
                <a:gd name="T10" fmla="*/ 2147483647 w 21"/>
                <a:gd name="T11" fmla="*/ 0 h 17"/>
                <a:gd name="T12" fmla="*/ 2147483647 w 21"/>
                <a:gd name="T13" fmla="*/ 2147483647 h 17"/>
                <a:gd name="T14" fmla="*/ 2147483647 w 21"/>
                <a:gd name="T15" fmla="*/ 2147483647 h 17"/>
                <a:gd name="T16" fmla="*/ 0 w 21"/>
                <a:gd name="T17" fmla="*/ 2147483647 h 17"/>
                <a:gd name="T18" fmla="*/ 0 w 21"/>
                <a:gd name="T19" fmla="*/ 2147483647 h 17"/>
                <a:gd name="T20" fmla="*/ 0 w 21"/>
                <a:gd name="T21" fmla="*/ 2147483647 h 17"/>
                <a:gd name="T22" fmla="*/ 2147483647 w 21"/>
                <a:gd name="T23" fmla="*/ 2147483647 h 17"/>
                <a:gd name="T24" fmla="*/ 2147483647 w 21"/>
                <a:gd name="T25" fmla="*/ 2147483647 h 17"/>
                <a:gd name="T26" fmla="*/ 2147483647 w 21"/>
                <a:gd name="T27" fmla="*/ 2147483647 h 17"/>
                <a:gd name="T28" fmla="*/ 2147483647 w 21"/>
                <a:gd name="T29" fmla="*/ 2147483647 h 17"/>
                <a:gd name="T30" fmla="*/ 2147483647 w 21"/>
                <a:gd name="T31" fmla="*/ 2147483647 h 17"/>
                <a:gd name="T32" fmla="*/ 2147483647 w 21"/>
                <a:gd name="T33" fmla="*/ 2147483647 h 17"/>
                <a:gd name="T34" fmla="*/ 2147483647 w 21"/>
                <a:gd name="T35" fmla="*/ 2147483647 h 17"/>
                <a:gd name="T36" fmla="*/ 2147483647 w 21"/>
                <a:gd name="T37" fmla="*/ 2147483647 h 17"/>
                <a:gd name="T38" fmla="*/ 2147483647 w 21"/>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7"/>
                <a:gd name="T62" fmla="*/ 21 w 21"/>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7">
                  <a:moveTo>
                    <a:pt x="21" y="15"/>
                  </a:moveTo>
                  <a:lnTo>
                    <a:pt x="18" y="8"/>
                  </a:lnTo>
                  <a:lnTo>
                    <a:pt x="17" y="4"/>
                  </a:lnTo>
                  <a:lnTo>
                    <a:pt x="16" y="2"/>
                  </a:lnTo>
                  <a:lnTo>
                    <a:pt x="14" y="0"/>
                  </a:lnTo>
                  <a:lnTo>
                    <a:pt x="12" y="0"/>
                  </a:lnTo>
                  <a:lnTo>
                    <a:pt x="7" y="3"/>
                  </a:lnTo>
                  <a:lnTo>
                    <a:pt x="3" y="3"/>
                  </a:lnTo>
                  <a:lnTo>
                    <a:pt x="0" y="3"/>
                  </a:lnTo>
                  <a:lnTo>
                    <a:pt x="0" y="4"/>
                  </a:lnTo>
                  <a:lnTo>
                    <a:pt x="0" y="8"/>
                  </a:lnTo>
                  <a:lnTo>
                    <a:pt x="2" y="11"/>
                  </a:lnTo>
                  <a:lnTo>
                    <a:pt x="3" y="14"/>
                  </a:lnTo>
                  <a:lnTo>
                    <a:pt x="7" y="16"/>
                  </a:lnTo>
                  <a:lnTo>
                    <a:pt x="9" y="17"/>
                  </a:lnTo>
                  <a:lnTo>
                    <a:pt x="13" y="17"/>
                  </a:lnTo>
                  <a:lnTo>
                    <a:pt x="17" y="16"/>
                  </a:lnTo>
                  <a:lnTo>
                    <a:pt x="21" y="14"/>
                  </a:lnTo>
                  <a:lnTo>
                    <a:pt x="19" y="15"/>
                  </a:lnTo>
                  <a:lnTo>
                    <a:pt x="21"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5" name="Freeform 364"/>
            <p:cNvSpPr>
              <a:spLocks/>
            </p:cNvSpPr>
            <p:nvPr/>
          </p:nvSpPr>
          <p:spPr bwMode="auto">
            <a:xfrm>
              <a:off x="5791204" y="1230316"/>
              <a:ext cx="30163" cy="28575"/>
            </a:xfrm>
            <a:custGeom>
              <a:avLst/>
              <a:gdLst>
                <a:gd name="T0" fmla="*/ 2147483647 w 21"/>
                <a:gd name="T1" fmla="*/ 2147483647 h 18"/>
                <a:gd name="T2" fmla="*/ 2147483647 w 21"/>
                <a:gd name="T3" fmla="*/ 2147483647 h 18"/>
                <a:gd name="T4" fmla="*/ 2147483647 w 21"/>
                <a:gd name="T5" fmla="*/ 2147483647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0 w 21"/>
                <a:gd name="T25" fmla="*/ 2147483647 h 18"/>
                <a:gd name="T26" fmla="*/ 2147483647 w 21"/>
                <a:gd name="T27" fmla="*/ 2147483647 h 18"/>
                <a:gd name="T28" fmla="*/ 2147483647 w 21"/>
                <a:gd name="T29" fmla="*/ 2147483647 h 18"/>
                <a:gd name="T30" fmla="*/ 2147483647 w 21"/>
                <a:gd name="T31" fmla="*/ 0 h 18"/>
                <a:gd name="T32" fmla="*/ 2147483647 w 21"/>
                <a:gd name="T33" fmla="*/ 0 h 18"/>
                <a:gd name="T34" fmla="*/ 2147483647 w 21"/>
                <a:gd name="T35" fmla="*/ 0 h 18"/>
                <a:gd name="T36" fmla="*/ 2147483647 w 21"/>
                <a:gd name="T37" fmla="*/ 2147483647 h 18"/>
                <a:gd name="T38" fmla="*/ 2147483647 w 21"/>
                <a:gd name="T39" fmla="*/ 2147483647 h 18"/>
                <a:gd name="T40" fmla="*/ 2147483647 w 21"/>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8"/>
                <a:gd name="T65" fmla="*/ 21 w 21"/>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8">
                  <a:moveTo>
                    <a:pt x="18" y="7"/>
                  </a:moveTo>
                  <a:lnTo>
                    <a:pt x="18" y="7"/>
                  </a:lnTo>
                  <a:lnTo>
                    <a:pt x="20" y="10"/>
                  </a:lnTo>
                  <a:lnTo>
                    <a:pt x="21" y="13"/>
                  </a:lnTo>
                  <a:lnTo>
                    <a:pt x="20" y="16"/>
                  </a:lnTo>
                  <a:lnTo>
                    <a:pt x="18" y="18"/>
                  </a:lnTo>
                  <a:lnTo>
                    <a:pt x="14" y="18"/>
                  </a:lnTo>
                  <a:lnTo>
                    <a:pt x="7" y="16"/>
                  </a:lnTo>
                  <a:lnTo>
                    <a:pt x="4" y="13"/>
                  </a:lnTo>
                  <a:lnTo>
                    <a:pt x="1" y="11"/>
                  </a:lnTo>
                  <a:lnTo>
                    <a:pt x="0" y="9"/>
                  </a:lnTo>
                  <a:lnTo>
                    <a:pt x="1" y="5"/>
                  </a:lnTo>
                  <a:lnTo>
                    <a:pt x="4" y="3"/>
                  </a:lnTo>
                  <a:lnTo>
                    <a:pt x="7" y="0"/>
                  </a:lnTo>
                  <a:lnTo>
                    <a:pt x="10" y="0"/>
                  </a:lnTo>
                  <a:lnTo>
                    <a:pt x="12" y="2"/>
                  </a:lnTo>
                  <a:lnTo>
                    <a:pt x="1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6" name="Freeform 365"/>
            <p:cNvSpPr>
              <a:spLocks/>
            </p:cNvSpPr>
            <p:nvPr/>
          </p:nvSpPr>
          <p:spPr bwMode="auto">
            <a:xfrm>
              <a:off x="5840413" y="1392242"/>
              <a:ext cx="30162" cy="26987"/>
            </a:xfrm>
            <a:custGeom>
              <a:avLst/>
              <a:gdLst>
                <a:gd name="T0" fmla="*/ 2147483647 w 20"/>
                <a:gd name="T1" fmla="*/ 2147483647 h 17"/>
                <a:gd name="T2" fmla="*/ 2147483647 w 20"/>
                <a:gd name="T3" fmla="*/ 2147483647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0 h 17"/>
                <a:gd name="T14" fmla="*/ 2147483647 w 20"/>
                <a:gd name="T15" fmla="*/ 0 h 17"/>
                <a:gd name="T16" fmla="*/ 2147483647 w 20"/>
                <a:gd name="T17" fmla="*/ 2147483647 h 17"/>
                <a:gd name="T18" fmla="*/ 2147483647 w 20"/>
                <a:gd name="T19" fmla="*/ 2147483647 h 17"/>
                <a:gd name="T20" fmla="*/ 2147483647 w 20"/>
                <a:gd name="T21" fmla="*/ 2147483647 h 17"/>
                <a:gd name="T22" fmla="*/ 0 w 20"/>
                <a:gd name="T23" fmla="*/ 2147483647 h 17"/>
                <a:gd name="T24" fmla="*/ 0 w 20"/>
                <a:gd name="T25" fmla="*/ 2147483647 h 17"/>
                <a:gd name="T26" fmla="*/ 0 w 20"/>
                <a:gd name="T27" fmla="*/ 2147483647 h 17"/>
                <a:gd name="T28" fmla="*/ 0 w 20"/>
                <a:gd name="T29" fmla="*/ 2147483647 h 17"/>
                <a:gd name="T30" fmla="*/ 2147483647 w 20"/>
                <a:gd name="T31" fmla="*/ 2147483647 h 17"/>
                <a:gd name="T32" fmla="*/ 2147483647 w 20"/>
                <a:gd name="T33" fmla="*/ 2147483647 h 17"/>
                <a:gd name="T34" fmla="*/ 2147483647 w 20"/>
                <a:gd name="T35" fmla="*/ 2147483647 h 17"/>
                <a:gd name="T36" fmla="*/ 2147483647 w 20"/>
                <a:gd name="T37" fmla="*/ 2147483647 h 17"/>
                <a:gd name="T38" fmla="*/ 2147483647 w 20"/>
                <a:gd name="T39" fmla="*/ 2147483647 h 17"/>
                <a:gd name="T40" fmla="*/ 2147483647 w 20"/>
                <a:gd name="T41" fmla="*/ 2147483647 h 17"/>
                <a:gd name="T42" fmla="*/ 2147483647 w 20"/>
                <a:gd name="T43" fmla="*/ 2147483647 h 17"/>
                <a:gd name="T44" fmla="*/ 2147483647 w 20"/>
                <a:gd name="T45" fmla="*/ 2147483647 h 17"/>
                <a:gd name="T46" fmla="*/ 2147483647 w 20"/>
                <a:gd name="T47" fmla="*/ 2147483647 h 17"/>
                <a:gd name="T48" fmla="*/ 2147483647 w 20"/>
                <a:gd name="T49" fmla="*/ 2147483647 h 17"/>
                <a:gd name="T50" fmla="*/ 2147483647 w 20"/>
                <a:gd name="T51" fmla="*/ 2147483647 h 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
                <a:gd name="T79" fmla="*/ 0 h 17"/>
                <a:gd name="T80" fmla="*/ 20 w 20"/>
                <a:gd name="T81" fmla="*/ 17 h 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 h="17">
                  <a:moveTo>
                    <a:pt x="20" y="15"/>
                  </a:moveTo>
                  <a:lnTo>
                    <a:pt x="20" y="15"/>
                  </a:lnTo>
                  <a:lnTo>
                    <a:pt x="18" y="7"/>
                  </a:lnTo>
                  <a:lnTo>
                    <a:pt x="17" y="4"/>
                  </a:lnTo>
                  <a:lnTo>
                    <a:pt x="15" y="1"/>
                  </a:lnTo>
                  <a:lnTo>
                    <a:pt x="14" y="0"/>
                  </a:lnTo>
                  <a:lnTo>
                    <a:pt x="11" y="0"/>
                  </a:lnTo>
                  <a:lnTo>
                    <a:pt x="6" y="3"/>
                  </a:lnTo>
                  <a:lnTo>
                    <a:pt x="3" y="3"/>
                  </a:lnTo>
                  <a:lnTo>
                    <a:pt x="0" y="3"/>
                  </a:lnTo>
                  <a:lnTo>
                    <a:pt x="0" y="4"/>
                  </a:lnTo>
                  <a:lnTo>
                    <a:pt x="0" y="7"/>
                  </a:lnTo>
                  <a:lnTo>
                    <a:pt x="1" y="11"/>
                  </a:lnTo>
                  <a:lnTo>
                    <a:pt x="3" y="13"/>
                  </a:lnTo>
                  <a:lnTo>
                    <a:pt x="6" y="16"/>
                  </a:lnTo>
                  <a:lnTo>
                    <a:pt x="9" y="17"/>
                  </a:lnTo>
                  <a:lnTo>
                    <a:pt x="13" y="17"/>
                  </a:lnTo>
                  <a:lnTo>
                    <a:pt x="17" y="16"/>
                  </a:lnTo>
                  <a:lnTo>
                    <a:pt x="20" y="13"/>
                  </a:lnTo>
                  <a:lnTo>
                    <a:pt x="19" y="15"/>
                  </a:lnTo>
                  <a:lnTo>
                    <a:pt x="20"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7" name="Freeform 366"/>
            <p:cNvSpPr>
              <a:spLocks/>
            </p:cNvSpPr>
            <p:nvPr/>
          </p:nvSpPr>
          <p:spPr bwMode="auto">
            <a:xfrm>
              <a:off x="5853117" y="1285879"/>
              <a:ext cx="73025" cy="79375"/>
            </a:xfrm>
            <a:custGeom>
              <a:avLst/>
              <a:gdLst>
                <a:gd name="T0" fmla="*/ 2147483647 w 50"/>
                <a:gd name="T1" fmla="*/ 2147483647 h 50"/>
                <a:gd name="T2" fmla="*/ 2147483647 w 50"/>
                <a:gd name="T3" fmla="*/ 2147483647 h 50"/>
                <a:gd name="T4" fmla="*/ 2147483647 w 50"/>
                <a:gd name="T5" fmla="*/ 2147483647 h 50"/>
                <a:gd name="T6" fmla="*/ 2147483647 w 50"/>
                <a:gd name="T7" fmla="*/ 2147483647 h 50"/>
                <a:gd name="T8" fmla="*/ 2147483647 w 50"/>
                <a:gd name="T9" fmla="*/ 2147483647 h 50"/>
                <a:gd name="T10" fmla="*/ 2147483647 w 50"/>
                <a:gd name="T11" fmla="*/ 2147483647 h 50"/>
                <a:gd name="T12" fmla="*/ 2147483647 w 50"/>
                <a:gd name="T13" fmla="*/ 2147483647 h 50"/>
                <a:gd name="T14" fmla="*/ 2147483647 w 50"/>
                <a:gd name="T15" fmla="*/ 2147483647 h 50"/>
                <a:gd name="T16" fmla="*/ 2147483647 w 50"/>
                <a:gd name="T17" fmla="*/ 2147483647 h 50"/>
                <a:gd name="T18" fmla="*/ 2147483647 w 50"/>
                <a:gd name="T19" fmla="*/ 2147483647 h 50"/>
                <a:gd name="T20" fmla="*/ 2147483647 w 50"/>
                <a:gd name="T21" fmla="*/ 2147483647 h 50"/>
                <a:gd name="T22" fmla="*/ 2147483647 w 50"/>
                <a:gd name="T23" fmla="*/ 2147483647 h 50"/>
                <a:gd name="T24" fmla="*/ 2147483647 w 50"/>
                <a:gd name="T25" fmla="*/ 2147483647 h 50"/>
                <a:gd name="T26" fmla="*/ 2147483647 w 50"/>
                <a:gd name="T27" fmla="*/ 2147483647 h 50"/>
                <a:gd name="T28" fmla="*/ 2147483647 w 50"/>
                <a:gd name="T29" fmla="*/ 2147483647 h 50"/>
                <a:gd name="T30" fmla="*/ 2147483647 w 50"/>
                <a:gd name="T31" fmla="*/ 2147483647 h 50"/>
                <a:gd name="T32" fmla="*/ 2147483647 w 50"/>
                <a:gd name="T33" fmla="*/ 2147483647 h 50"/>
                <a:gd name="T34" fmla="*/ 2147483647 w 50"/>
                <a:gd name="T35" fmla="*/ 2147483647 h 50"/>
                <a:gd name="T36" fmla="*/ 2147483647 w 50"/>
                <a:gd name="T37" fmla="*/ 2147483647 h 50"/>
                <a:gd name="T38" fmla="*/ 2147483647 w 50"/>
                <a:gd name="T39" fmla="*/ 2147483647 h 50"/>
                <a:gd name="T40" fmla="*/ 2147483647 w 50"/>
                <a:gd name="T41" fmla="*/ 2147483647 h 50"/>
                <a:gd name="T42" fmla="*/ 2147483647 w 50"/>
                <a:gd name="T43" fmla="*/ 2147483647 h 50"/>
                <a:gd name="T44" fmla="*/ 2147483647 w 50"/>
                <a:gd name="T45" fmla="*/ 0 h 50"/>
                <a:gd name="T46" fmla="*/ 2147483647 w 50"/>
                <a:gd name="T47" fmla="*/ 2147483647 h 50"/>
                <a:gd name="T48" fmla="*/ 2147483647 w 50"/>
                <a:gd name="T49" fmla="*/ 2147483647 h 50"/>
                <a:gd name="T50" fmla="*/ 2147483647 w 50"/>
                <a:gd name="T51" fmla="*/ 2147483647 h 50"/>
                <a:gd name="T52" fmla="*/ 2147483647 w 50"/>
                <a:gd name="T53" fmla="*/ 2147483647 h 50"/>
                <a:gd name="T54" fmla="*/ 2147483647 w 50"/>
                <a:gd name="T55" fmla="*/ 2147483647 h 50"/>
                <a:gd name="T56" fmla="*/ 2147483647 w 50"/>
                <a:gd name="T57" fmla="*/ 2147483647 h 50"/>
                <a:gd name="T58" fmla="*/ 2147483647 w 50"/>
                <a:gd name="T59" fmla="*/ 2147483647 h 50"/>
                <a:gd name="T60" fmla="*/ 2147483647 w 50"/>
                <a:gd name="T61" fmla="*/ 2147483647 h 50"/>
                <a:gd name="T62" fmla="*/ 2147483647 w 50"/>
                <a:gd name="T63" fmla="*/ 2147483647 h 50"/>
                <a:gd name="T64" fmla="*/ 2147483647 w 50"/>
                <a:gd name="T65" fmla="*/ 2147483647 h 50"/>
                <a:gd name="T66" fmla="*/ 2147483647 w 50"/>
                <a:gd name="T67" fmla="*/ 2147483647 h 50"/>
                <a:gd name="T68" fmla="*/ 2147483647 w 50"/>
                <a:gd name="T69" fmla="*/ 2147483647 h 50"/>
                <a:gd name="T70" fmla="*/ 2147483647 w 50"/>
                <a:gd name="T71" fmla="*/ 2147483647 h 50"/>
                <a:gd name="T72" fmla="*/ 2147483647 w 50"/>
                <a:gd name="T73" fmla="*/ 2147483647 h 50"/>
                <a:gd name="T74" fmla="*/ 0 w 50"/>
                <a:gd name="T75" fmla="*/ 2147483647 h 50"/>
                <a:gd name="T76" fmla="*/ 0 w 50"/>
                <a:gd name="T77" fmla="*/ 2147483647 h 50"/>
                <a:gd name="T78" fmla="*/ 2147483647 w 50"/>
                <a:gd name="T79" fmla="*/ 2147483647 h 50"/>
                <a:gd name="T80" fmla="*/ 2147483647 w 50"/>
                <a:gd name="T81" fmla="*/ 2147483647 h 50"/>
                <a:gd name="T82" fmla="*/ 2147483647 w 50"/>
                <a:gd name="T83" fmla="*/ 2147483647 h 50"/>
                <a:gd name="T84" fmla="*/ 2147483647 w 50"/>
                <a:gd name="T85" fmla="*/ 2147483647 h 50"/>
                <a:gd name="T86" fmla="*/ 2147483647 w 50"/>
                <a:gd name="T87" fmla="*/ 2147483647 h 50"/>
                <a:gd name="T88" fmla="*/ 2147483647 w 50"/>
                <a:gd name="T89" fmla="*/ 2147483647 h 50"/>
                <a:gd name="T90" fmla="*/ 2147483647 w 50"/>
                <a:gd name="T91" fmla="*/ 2147483647 h 50"/>
                <a:gd name="T92" fmla="*/ 2147483647 w 50"/>
                <a:gd name="T93" fmla="*/ 2147483647 h 50"/>
                <a:gd name="T94" fmla="*/ 2147483647 w 50"/>
                <a:gd name="T95" fmla="*/ 2147483647 h 50"/>
                <a:gd name="T96" fmla="*/ 2147483647 w 50"/>
                <a:gd name="T97" fmla="*/ 2147483647 h 50"/>
                <a:gd name="T98" fmla="*/ 2147483647 w 50"/>
                <a:gd name="T99" fmla="*/ 2147483647 h 50"/>
                <a:gd name="T100" fmla="*/ 2147483647 w 50"/>
                <a:gd name="T101" fmla="*/ 2147483647 h 50"/>
                <a:gd name="T102" fmla="*/ 2147483647 w 50"/>
                <a:gd name="T103" fmla="*/ 2147483647 h 50"/>
                <a:gd name="T104" fmla="*/ 2147483647 w 50"/>
                <a:gd name="T105" fmla="*/ 2147483647 h 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
                <a:gd name="T160" fmla="*/ 0 h 50"/>
                <a:gd name="T161" fmla="*/ 50 w 50"/>
                <a:gd name="T162" fmla="*/ 50 h 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 h="50">
                  <a:moveTo>
                    <a:pt x="45" y="45"/>
                  </a:moveTo>
                  <a:lnTo>
                    <a:pt x="44" y="41"/>
                  </a:lnTo>
                  <a:lnTo>
                    <a:pt x="44" y="36"/>
                  </a:lnTo>
                  <a:lnTo>
                    <a:pt x="44" y="33"/>
                  </a:lnTo>
                  <a:lnTo>
                    <a:pt x="44" y="29"/>
                  </a:lnTo>
                  <a:lnTo>
                    <a:pt x="43" y="26"/>
                  </a:lnTo>
                  <a:lnTo>
                    <a:pt x="40" y="23"/>
                  </a:lnTo>
                  <a:lnTo>
                    <a:pt x="38" y="21"/>
                  </a:lnTo>
                  <a:lnTo>
                    <a:pt x="38" y="20"/>
                  </a:lnTo>
                  <a:lnTo>
                    <a:pt x="39" y="18"/>
                  </a:lnTo>
                  <a:lnTo>
                    <a:pt x="40" y="18"/>
                  </a:lnTo>
                  <a:lnTo>
                    <a:pt x="42" y="18"/>
                  </a:lnTo>
                  <a:lnTo>
                    <a:pt x="44" y="19"/>
                  </a:lnTo>
                  <a:lnTo>
                    <a:pt x="47" y="19"/>
                  </a:lnTo>
                  <a:lnTo>
                    <a:pt x="50" y="16"/>
                  </a:lnTo>
                  <a:lnTo>
                    <a:pt x="50" y="15"/>
                  </a:lnTo>
                  <a:lnTo>
                    <a:pt x="50" y="13"/>
                  </a:lnTo>
                  <a:lnTo>
                    <a:pt x="48" y="10"/>
                  </a:lnTo>
                  <a:lnTo>
                    <a:pt x="44" y="9"/>
                  </a:lnTo>
                  <a:lnTo>
                    <a:pt x="42" y="7"/>
                  </a:lnTo>
                  <a:lnTo>
                    <a:pt x="40" y="3"/>
                  </a:lnTo>
                  <a:lnTo>
                    <a:pt x="39" y="1"/>
                  </a:lnTo>
                  <a:lnTo>
                    <a:pt x="38" y="0"/>
                  </a:lnTo>
                  <a:lnTo>
                    <a:pt x="36" y="1"/>
                  </a:lnTo>
                  <a:lnTo>
                    <a:pt x="26" y="7"/>
                  </a:lnTo>
                  <a:lnTo>
                    <a:pt x="20" y="8"/>
                  </a:lnTo>
                  <a:lnTo>
                    <a:pt x="14" y="9"/>
                  </a:lnTo>
                  <a:lnTo>
                    <a:pt x="11" y="10"/>
                  </a:lnTo>
                  <a:lnTo>
                    <a:pt x="9" y="12"/>
                  </a:lnTo>
                  <a:lnTo>
                    <a:pt x="9" y="18"/>
                  </a:lnTo>
                  <a:lnTo>
                    <a:pt x="7" y="22"/>
                  </a:lnTo>
                  <a:lnTo>
                    <a:pt x="5" y="27"/>
                  </a:lnTo>
                  <a:lnTo>
                    <a:pt x="1" y="31"/>
                  </a:lnTo>
                  <a:lnTo>
                    <a:pt x="1" y="33"/>
                  </a:lnTo>
                  <a:lnTo>
                    <a:pt x="2" y="34"/>
                  </a:lnTo>
                  <a:lnTo>
                    <a:pt x="2" y="36"/>
                  </a:lnTo>
                  <a:lnTo>
                    <a:pt x="2" y="39"/>
                  </a:lnTo>
                  <a:lnTo>
                    <a:pt x="0" y="42"/>
                  </a:lnTo>
                  <a:lnTo>
                    <a:pt x="0" y="45"/>
                  </a:lnTo>
                  <a:lnTo>
                    <a:pt x="1" y="47"/>
                  </a:lnTo>
                  <a:lnTo>
                    <a:pt x="3" y="50"/>
                  </a:lnTo>
                  <a:lnTo>
                    <a:pt x="7" y="50"/>
                  </a:lnTo>
                  <a:lnTo>
                    <a:pt x="11" y="50"/>
                  </a:lnTo>
                  <a:lnTo>
                    <a:pt x="16" y="47"/>
                  </a:lnTo>
                  <a:lnTo>
                    <a:pt x="17" y="47"/>
                  </a:lnTo>
                  <a:lnTo>
                    <a:pt x="20" y="48"/>
                  </a:lnTo>
                  <a:lnTo>
                    <a:pt x="25" y="50"/>
                  </a:lnTo>
                  <a:lnTo>
                    <a:pt x="29" y="50"/>
                  </a:lnTo>
                  <a:lnTo>
                    <a:pt x="33" y="48"/>
                  </a:lnTo>
                  <a:lnTo>
                    <a:pt x="38" y="47"/>
                  </a:lnTo>
                  <a:lnTo>
                    <a:pt x="42" y="48"/>
                  </a:lnTo>
                  <a:lnTo>
                    <a:pt x="45" y="47"/>
                  </a:lnTo>
                  <a:lnTo>
                    <a:pt x="45" y="4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8" name="Freeform 367"/>
            <p:cNvSpPr>
              <a:spLocks/>
            </p:cNvSpPr>
            <p:nvPr/>
          </p:nvSpPr>
          <p:spPr bwMode="auto">
            <a:xfrm>
              <a:off x="5786438" y="1339851"/>
              <a:ext cx="55562" cy="50800"/>
            </a:xfrm>
            <a:custGeom>
              <a:avLst/>
              <a:gdLst>
                <a:gd name="T0" fmla="*/ 2147483647 w 38"/>
                <a:gd name="T1" fmla="*/ 2147483647 h 32"/>
                <a:gd name="T2" fmla="*/ 2147483647 w 38"/>
                <a:gd name="T3" fmla="*/ 2147483647 h 32"/>
                <a:gd name="T4" fmla="*/ 2147483647 w 38"/>
                <a:gd name="T5" fmla="*/ 2147483647 h 32"/>
                <a:gd name="T6" fmla="*/ 2147483647 w 38"/>
                <a:gd name="T7" fmla="*/ 2147483647 h 32"/>
                <a:gd name="T8" fmla="*/ 2147483647 w 38"/>
                <a:gd name="T9" fmla="*/ 2147483647 h 32"/>
                <a:gd name="T10" fmla="*/ 2147483647 w 38"/>
                <a:gd name="T11" fmla="*/ 2147483647 h 32"/>
                <a:gd name="T12" fmla="*/ 2147483647 w 38"/>
                <a:gd name="T13" fmla="*/ 2147483647 h 32"/>
                <a:gd name="T14" fmla="*/ 2147483647 w 38"/>
                <a:gd name="T15" fmla="*/ 0 h 32"/>
                <a:gd name="T16" fmla="*/ 2147483647 w 38"/>
                <a:gd name="T17" fmla="*/ 2147483647 h 32"/>
                <a:gd name="T18" fmla="*/ 2147483647 w 38"/>
                <a:gd name="T19" fmla="*/ 2147483647 h 32"/>
                <a:gd name="T20" fmla="*/ 0 w 38"/>
                <a:gd name="T21" fmla="*/ 2147483647 h 32"/>
                <a:gd name="T22" fmla="*/ 2147483647 w 38"/>
                <a:gd name="T23" fmla="*/ 2147483647 h 32"/>
                <a:gd name="T24" fmla="*/ 2147483647 w 38"/>
                <a:gd name="T25" fmla="*/ 2147483647 h 32"/>
                <a:gd name="T26" fmla="*/ 2147483647 w 38"/>
                <a:gd name="T27" fmla="*/ 2147483647 h 32"/>
                <a:gd name="T28" fmla="*/ 2147483647 w 38"/>
                <a:gd name="T29" fmla="*/ 2147483647 h 32"/>
                <a:gd name="T30" fmla="*/ 2147483647 w 38"/>
                <a:gd name="T31" fmla="*/ 2147483647 h 32"/>
                <a:gd name="T32" fmla="*/ 2147483647 w 38"/>
                <a:gd name="T33" fmla="*/ 2147483647 h 32"/>
                <a:gd name="T34" fmla="*/ 2147483647 w 38"/>
                <a:gd name="T35" fmla="*/ 2147483647 h 32"/>
                <a:gd name="T36" fmla="*/ 2147483647 w 38"/>
                <a:gd name="T37" fmla="*/ 2147483647 h 32"/>
                <a:gd name="T38" fmla="*/ 2147483647 w 38"/>
                <a:gd name="T39" fmla="*/ 2147483647 h 32"/>
                <a:gd name="T40" fmla="*/ 2147483647 w 38"/>
                <a:gd name="T41" fmla="*/ 2147483647 h 32"/>
                <a:gd name="T42" fmla="*/ 2147483647 w 38"/>
                <a:gd name="T43" fmla="*/ 2147483647 h 32"/>
                <a:gd name="T44" fmla="*/ 2147483647 w 38"/>
                <a:gd name="T45" fmla="*/ 2147483647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32"/>
                <a:gd name="T71" fmla="*/ 38 w 38"/>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32">
                  <a:moveTo>
                    <a:pt x="36" y="18"/>
                  </a:moveTo>
                  <a:lnTo>
                    <a:pt x="37" y="17"/>
                  </a:lnTo>
                  <a:lnTo>
                    <a:pt x="38" y="16"/>
                  </a:lnTo>
                  <a:lnTo>
                    <a:pt x="38" y="13"/>
                  </a:lnTo>
                  <a:lnTo>
                    <a:pt x="27" y="6"/>
                  </a:lnTo>
                  <a:lnTo>
                    <a:pt x="22" y="4"/>
                  </a:lnTo>
                  <a:lnTo>
                    <a:pt x="17" y="1"/>
                  </a:lnTo>
                  <a:lnTo>
                    <a:pt x="13" y="0"/>
                  </a:lnTo>
                  <a:lnTo>
                    <a:pt x="9" y="1"/>
                  </a:lnTo>
                  <a:lnTo>
                    <a:pt x="1" y="5"/>
                  </a:lnTo>
                  <a:lnTo>
                    <a:pt x="0" y="6"/>
                  </a:lnTo>
                  <a:lnTo>
                    <a:pt x="1" y="7"/>
                  </a:lnTo>
                  <a:lnTo>
                    <a:pt x="4" y="11"/>
                  </a:lnTo>
                  <a:lnTo>
                    <a:pt x="4" y="17"/>
                  </a:lnTo>
                  <a:lnTo>
                    <a:pt x="4" y="24"/>
                  </a:lnTo>
                  <a:lnTo>
                    <a:pt x="7" y="29"/>
                  </a:lnTo>
                  <a:lnTo>
                    <a:pt x="8" y="31"/>
                  </a:lnTo>
                  <a:lnTo>
                    <a:pt x="12" y="32"/>
                  </a:lnTo>
                  <a:lnTo>
                    <a:pt x="13" y="32"/>
                  </a:lnTo>
                  <a:lnTo>
                    <a:pt x="15" y="32"/>
                  </a:lnTo>
                  <a:lnTo>
                    <a:pt x="24" y="23"/>
                  </a:lnTo>
                  <a:lnTo>
                    <a:pt x="29" y="20"/>
                  </a:lnTo>
                  <a:lnTo>
                    <a:pt x="36" y="1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69" name="Freeform 368"/>
            <p:cNvSpPr>
              <a:spLocks/>
            </p:cNvSpPr>
            <p:nvPr/>
          </p:nvSpPr>
          <p:spPr bwMode="auto">
            <a:xfrm>
              <a:off x="5849938" y="1284289"/>
              <a:ext cx="74612" cy="77788"/>
            </a:xfrm>
            <a:custGeom>
              <a:avLst/>
              <a:gdLst>
                <a:gd name="T0" fmla="*/ 2147483647 w 51"/>
                <a:gd name="T1" fmla="*/ 2147483647 h 49"/>
                <a:gd name="T2" fmla="*/ 2147483647 w 51"/>
                <a:gd name="T3" fmla="*/ 2147483647 h 49"/>
                <a:gd name="T4" fmla="*/ 2147483647 w 51"/>
                <a:gd name="T5" fmla="*/ 2147483647 h 49"/>
                <a:gd name="T6" fmla="*/ 2147483647 w 51"/>
                <a:gd name="T7" fmla="*/ 2147483647 h 49"/>
                <a:gd name="T8" fmla="*/ 2147483647 w 51"/>
                <a:gd name="T9" fmla="*/ 2147483647 h 49"/>
                <a:gd name="T10" fmla="*/ 2147483647 w 51"/>
                <a:gd name="T11" fmla="*/ 2147483647 h 49"/>
                <a:gd name="T12" fmla="*/ 2147483647 w 51"/>
                <a:gd name="T13" fmla="*/ 2147483647 h 49"/>
                <a:gd name="T14" fmla="*/ 2147483647 w 51"/>
                <a:gd name="T15" fmla="*/ 2147483647 h 49"/>
                <a:gd name="T16" fmla="*/ 2147483647 w 51"/>
                <a:gd name="T17" fmla="*/ 2147483647 h 49"/>
                <a:gd name="T18" fmla="*/ 2147483647 w 51"/>
                <a:gd name="T19" fmla="*/ 2147483647 h 49"/>
                <a:gd name="T20" fmla="*/ 2147483647 w 51"/>
                <a:gd name="T21" fmla="*/ 2147483647 h 49"/>
                <a:gd name="T22" fmla="*/ 2147483647 w 51"/>
                <a:gd name="T23" fmla="*/ 2147483647 h 49"/>
                <a:gd name="T24" fmla="*/ 2147483647 w 51"/>
                <a:gd name="T25" fmla="*/ 2147483647 h 49"/>
                <a:gd name="T26" fmla="*/ 2147483647 w 51"/>
                <a:gd name="T27" fmla="*/ 2147483647 h 49"/>
                <a:gd name="T28" fmla="*/ 2147483647 w 51"/>
                <a:gd name="T29" fmla="*/ 0 h 49"/>
                <a:gd name="T30" fmla="*/ 2147483647 w 51"/>
                <a:gd name="T31" fmla="*/ 2147483647 h 49"/>
                <a:gd name="T32" fmla="*/ 2147483647 w 51"/>
                <a:gd name="T33" fmla="*/ 2147483647 h 49"/>
                <a:gd name="T34" fmla="*/ 2147483647 w 51"/>
                <a:gd name="T35" fmla="*/ 2147483647 h 49"/>
                <a:gd name="T36" fmla="*/ 2147483647 w 51"/>
                <a:gd name="T37" fmla="*/ 2147483647 h 49"/>
                <a:gd name="T38" fmla="*/ 2147483647 w 51"/>
                <a:gd name="T39" fmla="*/ 2147483647 h 49"/>
                <a:gd name="T40" fmla="*/ 2147483647 w 51"/>
                <a:gd name="T41" fmla="*/ 2147483647 h 49"/>
                <a:gd name="T42" fmla="*/ 2147483647 w 51"/>
                <a:gd name="T43" fmla="*/ 2147483647 h 49"/>
                <a:gd name="T44" fmla="*/ 2147483647 w 51"/>
                <a:gd name="T45" fmla="*/ 2147483647 h 49"/>
                <a:gd name="T46" fmla="*/ 2147483647 w 51"/>
                <a:gd name="T47" fmla="*/ 2147483647 h 49"/>
                <a:gd name="T48" fmla="*/ 0 w 51"/>
                <a:gd name="T49" fmla="*/ 2147483647 h 49"/>
                <a:gd name="T50" fmla="*/ 2147483647 w 51"/>
                <a:gd name="T51" fmla="*/ 2147483647 h 49"/>
                <a:gd name="T52" fmla="*/ 2147483647 w 51"/>
                <a:gd name="T53" fmla="*/ 2147483647 h 49"/>
                <a:gd name="T54" fmla="*/ 2147483647 w 51"/>
                <a:gd name="T55" fmla="*/ 2147483647 h 49"/>
                <a:gd name="T56" fmla="*/ 2147483647 w 51"/>
                <a:gd name="T57" fmla="*/ 2147483647 h 49"/>
                <a:gd name="T58" fmla="*/ 2147483647 w 51"/>
                <a:gd name="T59" fmla="*/ 2147483647 h 49"/>
                <a:gd name="T60" fmla="*/ 2147483647 w 51"/>
                <a:gd name="T61" fmla="*/ 2147483647 h 49"/>
                <a:gd name="T62" fmla="*/ 2147483647 w 51"/>
                <a:gd name="T63" fmla="*/ 2147483647 h 49"/>
                <a:gd name="T64" fmla="*/ 2147483647 w 51"/>
                <a:gd name="T65" fmla="*/ 2147483647 h 49"/>
                <a:gd name="T66" fmla="*/ 2147483647 w 51"/>
                <a:gd name="T67" fmla="*/ 2147483647 h 49"/>
                <a:gd name="T68" fmla="*/ 2147483647 w 51"/>
                <a:gd name="T69" fmla="*/ 2147483647 h 49"/>
                <a:gd name="T70" fmla="*/ 2147483647 w 51"/>
                <a:gd name="T71" fmla="*/ 2147483647 h 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
                <a:gd name="T109" fmla="*/ 0 h 49"/>
                <a:gd name="T110" fmla="*/ 51 w 51"/>
                <a:gd name="T111" fmla="*/ 49 h 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 h="49">
                  <a:moveTo>
                    <a:pt x="46" y="45"/>
                  </a:moveTo>
                  <a:lnTo>
                    <a:pt x="46" y="45"/>
                  </a:lnTo>
                  <a:lnTo>
                    <a:pt x="45" y="41"/>
                  </a:lnTo>
                  <a:lnTo>
                    <a:pt x="45" y="36"/>
                  </a:lnTo>
                  <a:lnTo>
                    <a:pt x="45" y="33"/>
                  </a:lnTo>
                  <a:lnTo>
                    <a:pt x="45" y="29"/>
                  </a:lnTo>
                  <a:lnTo>
                    <a:pt x="44" y="26"/>
                  </a:lnTo>
                  <a:lnTo>
                    <a:pt x="41" y="23"/>
                  </a:lnTo>
                  <a:lnTo>
                    <a:pt x="38" y="21"/>
                  </a:lnTo>
                  <a:lnTo>
                    <a:pt x="38" y="20"/>
                  </a:lnTo>
                  <a:lnTo>
                    <a:pt x="40" y="17"/>
                  </a:lnTo>
                  <a:lnTo>
                    <a:pt x="41" y="17"/>
                  </a:lnTo>
                  <a:lnTo>
                    <a:pt x="42" y="17"/>
                  </a:lnTo>
                  <a:lnTo>
                    <a:pt x="45" y="19"/>
                  </a:lnTo>
                  <a:lnTo>
                    <a:pt x="47" y="19"/>
                  </a:lnTo>
                  <a:lnTo>
                    <a:pt x="51" y="16"/>
                  </a:lnTo>
                  <a:lnTo>
                    <a:pt x="51" y="15"/>
                  </a:lnTo>
                  <a:lnTo>
                    <a:pt x="51" y="13"/>
                  </a:lnTo>
                  <a:lnTo>
                    <a:pt x="49" y="10"/>
                  </a:lnTo>
                  <a:lnTo>
                    <a:pt x="45" y="9"/>
                  </a:lnTo>
                  <a:lnTo>
                    <a:pt x="42" y="7"/>
                  </a:lnTo>
                  <a:lnTo>
                    <a:pt x="41" y="3"/>
                  </a:lnTo>
                  <a:lnTo>
                    <a:pt x="40" y="1"/>
                  </a:lnTo>
                  <a:lnTo>
                    <a:pt x="38" y="0"/>
                  </a:lnTo>
                  <a:lnTo>
                    <a:pt x="37" y="1"/>
                  </a:lnTo>
                  <a:lnTo>
                    <a:pt x="27" y="7"/>
                  </a:lnTo>
                  <a:lnTo>
                    <a:pt x="21" y="8"/>
                  </a:lnTo>
                  <a:lnTo>
                    <a:pt x="14" y="9"/>
                  </a:lnTo>
                  <a:lnTo>
                    <a:pt x="12" y="10"/>
                  </a:lnTo>
                  <a:lnTo>
                    <a:pt x="9" y="11"/>
                  </a:lnTo>
                  <a:lnTo>
                    <a:pt x="9" y="17"/>
                  </a:lnTo>
                  <a:lnTo>
                    <a:pt x="8" y="22"/>
                  </a:lnTo>
                  <a:lnTo>
                    <a:pt x="5" y="27"/>
                  </a:lnTo>
                  <a:lnTo>
                    <a:pt x="2" y="30"/>
                  </a:lnTo>
                  <a:lnTo>
                    <a:pt x="2" y="33"/>
                  </a:lnTo>
                  <a:lnTo>
                    <a:pt x="3" y="34"/>
                  </a:lnTo>
                  <a:lnTo>
                    <a:pt x="3" y="36"/>
                  </a:lnTo>
                  <a:lnTo>
                    <a:pt x="3" y="39"/>
                  </a:lnTo>
                  <a:lnTo>
                    <a:pt x="0" y="42"/>
                  </a:lnTo>
                  <a:lnTo>
                    <a:pt x="0" y="45"/>
                  </a:lnTo>
                  <a:lnTo>
                    <a:pt x="2" y="47"/>
                  </a:lnTo>
                  <a:lnTo>
                    <a:pt x="4" y="49"/>
                  </a:lnTo>
                  <a:lnTo>
                    <a:pt x="8" y="49"/>
                  </a:lnTo>
                  <a:lnTo>
                    <a:pt x="12" y="49"/>
                  </a:lnTo>
                  <a:lnTo>
                    <a:pt x="17" y="47"/>
                  </a:lnTo>
                  <a:lnTo>
                    <a:pt x="18" y="47"/>
                  </a:lnTo>
                  <a:lnTo>
                    <a:pt x="21" y="48"/>
                  </a:lnTo>
                  <a:lnTo>
                    <a:pt x="26" y="49"/>
                  </a:lnTo>
                  <a:lnTo>
                    <a:pt x="30" y="49"/>
                  </a:lnTo>
                  <a:lnTo>
                    <a:pt x="33" y="48"/>
                  </a:lnTo>
                  <a:lnTo>
                    <a:pt x="38" y="47"/>
                  </a:lnTo>
                  <a:lnTo>
                    <a:pt x="42" y="48"/>
                  </a:lnTo>
                  <a:lnTo>
                    <a:pt x="46" y="47"/>
                  </a:lnTo>
                  <a:lnTo>
                    <a:pt x="46" y="4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0" name="Freeform 369"/>
            <p:cNvSpPr>
              <a:spLocks/>
            </p:cNvSpPr>
            <p:nvPr/>
          </p:nvSpPr>
          <p:spPr bwMode="auto">
            <a:xfrm>
              <a:off x="5784854" y="1338264"/>
              <a:ext cx="55563" cy="50800"/>
            </a:xfrm>
            <a:custGeom>
              <a:avLst/>
              <a:gdLst>
                <a:gd name="T0" fmla="*/ 2147483647 w 38"/>
                <a:gd name="T1" fmla="*/ 2147483647 h 32"/>
                <a:gd name="T2" fmla="*/ 2147483647 w 38"/>
                <a:gd name="T3" fmla="*/ 2147483647 h 32"/>
                <a:gd name="T4" fmla="*/ 2147483647 w 38"/>
                <a:gd name="T5" fmla="*/ 2147483647 h 32"/>
                <a:gd name="T6" fmla="*/ 2147483647 w 38"/>
                <a:gd name="T7" fmla="*/ 2147483647 h 32"/>
                <a:gd name="T8" fmla="*/ 2147483647 w 38"/>
                <a:gd name="T9" fmla="*/ 2147483647 h 32"/>
                <a:gd name="T10" fmla="*/ 2147483647 w 38"/>
                <a:gd name="T11" fmla="*/ 2147483647 h 32"/>
                <a:gd name="T12" fmla="*/ 2147483647 w 38"/>
                <a:gd name="T13" fmla="*/ 2147483647 h 32"/>
                <a:gd name="T14" fmla="*/ 2147483647 w 38"/>
                <a:gd name="T15" fmla="*/ 2147483647 h 32"/>
                <a:gd name="T16" fmla="*/ 2147483647 w 38"/>
                <a:gd name="T17" fmla="*/ 2147483647 h 32"/>
                <a:gd name="T18" fmla="*/ 2147483647 w 38"/>
                <a:gd name="T19" fmla="*/ 2147483647 h 32"/>
                <a:gd name="T20" fmla="*/ 2147483647 w 38"/>
                <a:gd name="T21" fmla="*/ 2147483647 h 32"/>
                <a:gd name="T22" fmla="*/ 2147483647 w 38"/>
                <a:gd name="T23" fmla="*/ 0 h 32"/>
                <a:gd name="T24" fmla="*/ 2147483647 w 38"/>
                <a:gd name="T25" fmla="*/ 2147483647 h 32"/>
                <a:gd name="T26" fmla="*/ 2147483647 w 38"/>
                <a:gd name="T27" fmla="*/ 2147483647 h 32"/>
                <a:gd name="T28" fmla="*/ 2147483647 w 38"/>
                <a:gd name="T29" fmla="*/ 2147483647 h 32"/>
                <a:gd name="T30" fmla="*/ 0 w 38"/>
                <a:gd name="T31" fmla="*/ 2147483647 h 32"/>
                <a:gd name="T32" fmla="*/ 2147483647 w 38"/>
                <a:gd name="T33" fmla="*/ 2147483647 h 32"/>
                <a:gd name="T34" fmla="*/ 2147483647 w 38"/>
                <a:gd name="T35" fmla="*/ 2147483647 h 32"/>
                <a:gd name="T36" fmla="*/ 2147483647 w 38"/>
                <a:gd name="T37" fmla="*/ 2147483647 h 32"/>
                <a:gd name="T38" fmla="*/ 2147483647 w 38"/>
                <a:gd name="T39" fmla="*/ 2147483647 h 32"/>
                <a:gd name="T40" fmla="*/ 2147483647 w 38"/>
                <a:gd name="T41" fmla="*/ 2147483647 h 32"/>
                <a:gd name="T42" fmla="*/ 2147483647 w 38"/>
                <a:gd name="T43" fmla="*/ 2147483647 h 32"/>
                <a:gd name="T44" fmla="*/ 2147483647 w 38"/>
                <a:gd name="T45" fmla="*/ 2147483647 h 32"/>
                <a:gd name="T46" fmla="*/ 2147483647 w 38"/>
                <a:gd name="T47" fmla="*/ 2147483647 h 32"/>
                <a:gd name="T48" fmla="*/ 2147483647 w 38"/>
                <a:gd name="T49" fmla="*/ 2147483647 h 32"/>
                <a:gd name="T50" fmla="*/ 2147483647 w 38"/>
                <a:gd name="T51" fmla="*/ 2147483647 h 32"/>
                <a:gd name="T52" fmla="*/ 2147483647 w 38"/>
                <a:gd name="T53" fmla="*/ 2147483647 h 32"/>
                <a:gd name="T54" fmla="*/ 2147483647 w 38"/>
                <a:gd name="T55" fmla="*/ 2147483647 h 32"/>
                <a:gd name="T56" fmla="*/ 2147483647 w 38"/>
                <a:gd name="T57" fmla="*/ 2147483647 h 32"/>
                <a:gd name="T58" fmla="*/ 2147483647 w 38"/>
                <a:gd name="T59" fmla="*/ 2147483647 h 32"/>
                <a:gd name="T60" fmla="*/ 2147483647 w 38"/>
                <a:gd name="T61" fmla="*/ 2147483647 h 32"/>
                <a:gd name="T62" fmla="*/ 2147483647 w 38"/>
                <a:gd name="T63" fmla="*/ 2147483647 h 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32"/>
                <a:gd name="T98" fmla="*/ 38 w 38"/>
                <a:gd name="T99" fmla="*/ 32 h 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32">
                  <a:moveTo>
                    <a:pt x="35" y="18"/>
                  </a:moveTo>
                  <a:lnTo>
                    <a:pt x="35" y="18"/>
                  </a:lnTo>
                  <a:lnTo>
                    <a:pt x="37" y="17"/>
                  </a:lnTo>
                  <a:lnTo>
                    <a:pt x="38" y="15"/>
                  </a:lnTo>
                  <a:lnTo>
                    <a:pt x="38" y="13"/>
                  </a:lnTo>
                  <a:lnTo>
                    <a:pt x="27" y="6"/>
                  </a:lnTo>
                  <a:lnTo>
                    <a:pt x="22" y="3"/>
                  </a:lnTo>
                  <a:lnTo>
                    <a:pt x="16" y="1"/>
                  </a:lnTo>
                  <a:lnTo>
                    <a:pt x="13" y="0"/>
                  </a:lnTo>
                  <a:lnTo>
                    <a:pt x="9" y="1"/>
                  </a:lnTo>
                  <a:lnTo>
                    <a:pt x="1" y="5"/>
                  </a:lnTo>
                  <a:lnTo>
                    <a:pt x="0" y="6"/>
                  </a:lnTo>
                  <a:lnTo>
                    <a:pt x="1" y="7"/>
                  </a:lnTo>
                  <a:lnTo>
                    <a:pt x="4" y="11"/>
                  </a:lnTo>
                  <a:lnTo>
                    <a:pt x="4" y="17"/>
                  </a:lnTo>
                  <a:lnTo>
                    <a:pt x="4" y="24"/>
                  </a:lnTo>
                  <a:lnTo>
                    <a:pt x="6" y="28"/>
                  </a:lnTo>
                  <a:lnTo>
                    <a:pt x="8" y="31"/>
                  </a:lnTo>
                  <a:lnTo>
                    <a:pt x="11" y="32"/>
                  </a:lnTo>
                  <a:lnTo>
                    <a:pt x="13" y="32"/>
                  </a:lnTo>
                  <a:lnTo>
                    <a:pt x="15" y="32"/>
                  </a:lnTo>
                  <a:lnTo>
                    <a:pt x="24" y="22"/>
                  </a:lnTo>
                  <a:lnTo>
                    <a:pt x="29" y="20"/>
                  </a:lnTo>
                  <a:lnTo>
                    <a:pt x="35" y="1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1" name="Freeform 370"/>
            <p:cNvSpPr>
              <a:spLocks/>
            </p:cNvSpPr>
            <p:nvPr/>
          </p:nvSpPr>
          <p:spPr bwMode="auto">
            <a:xfrm>
              <a:off x="5753104" y="1357317"/>
              <a:ext cx="30163" cy="41275"/>
            </a:xfrm>
            <a:custGeom>
              <a:avLst/>
              <a:gdLst>
                <a:gd name="T0" fmla="*/ 2147483647 w 21"/>
                <a:gd name="T1" fmla="*/ 2147483647 h 26"/>
                <a:gd name="T2" fmla="*/ 2147483647 w 21"/>
                <a:gd name="T3" fmla="*/ 2147483647 h 26"/>
                <a:gd name="T4" fmla="*/ 2147483647 w 21"/>
                <a:gd name="T5" fmla="*/ 2147483647 h 26"/>
                <a:gd name="T6" fmla="*/ 2147483647 w 21"/>
                <a:gd name="T7" fmla="*/ 2147483647 h 26"/>
                <a:gd name="T8" fmla="*/ 2147483647 w 21"/>
                <a:gd name="T9" fmla="*/ 2147483647 h 26"/>
                <a:gd name="T10" fmla="*/ 2147483647 w 21"/>
                <a:gd name="T11" fmla="*/ 2147483647 h 26"/>
                <a:gd name="T12" fmla="*/ 2147483647 w 21"/>
                <a:gd name="T13" fmla="*/ 0 h 26"/>
                <a:gd name="T14" fmla="*/ 2147483647 w 21"/>
                <a:gd name="T15" fmla="*/ 0 h 26"/>
                <a:gd name="T16" fmla="*/ 2147483647 w 21"/>
                <a:gd name="T17" fmla="*/ 0 h 26"/>
                <a:gd name="T18" fmla="*/ 2147483647 w 21"/>
                <a:gd name="T19" fmla="*/ 0 h 26"/>
                <a:gd name="T20" fmla="*/ 0 w 21"/>
                <a:gd name="T21" fmla="*/ 2147483647 h 26"/>
                <a:gd name="T22" fmla="*/ 0 w 21"/>
                <a:gd name="T23" fmla="*/ 2147483647 h 26"/>
                <a:gd name="T24" fmla="*/ 2147483647 w 21"/>
                <a:gd name="T25" fmla="*/ 2147483647 h 26"/>
                <a:gd name="T26" fmla="*/ 2147483647 w 21"/>
                <a:gd name="T27" fmla="*/ 2147483647 h 26"/>
                <a:gd name="T28" fmla="*/ 2147483647 w 21"/>
                <a:gd name="T29" fmla="*/ 2147483647 h 26"/>
                <a:gd name="T30" fmla="*/ 2147483647 w 21"/>
                <a:gd name="T31" fmla="*/ 2147483647 h 26"/>
                <a:gd name="T32" fmla="*/ 0 w 21"/>
                <a:gd name="T33" fmla="*/ 2147483647 h 26"/>
                <a:gd name="T34" fmla="*/ 2147483647 w 21"/>
                <a:gd name="T35" fmla="*/ 2147483647 h 26"/>
                <a:gd name="T36" fmla="*/ 2147483647 w 21"/>
                <a:gd name="T37" fmla="*/ 2147483647 h 26"/>
                <a:gd name="T38" fmla="*/ 2147483647 w 21"/>
                <a:gd name="T39" fmla="*/ 2147483647 h 26"/>
                <a:gd name="T40" fmla="*/ 2147483647 w 21"/>
                <a:gd name="T41" fmla="*/ 2147483647 h 26"/>
                <a:gd name="T42" fmla="*/ 2147483647 w 21"/>
                <a:gd name="T43" fmla="*/ 2147483647 h 26"/>
                <a:gd name="T44" fmla="*/ 2147483647 w 21"/>
                <a:gd name="T45" fmla="*/ 2147483647 h 26"/>
                <a:gd name="T46" fmla="*/ 2147483647 w 21"/>
                <a:gd name="T47" fmla="*/ 2147483647 h 26"/>
                <a:gd name="T48" fmla="*/ 2147483647 w 21"/>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26"/>
                <a:gd name="T77" fmla="*/ 21 w 21"/>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26">
                  <a:moveTo>
                    <a:pt x="21" y="21"/>
                  </a:moveTo>
                  <a:lnTo>
                    <a:pt x="19" y="19"/>
                  </a:lnTo>
                  <a:lnTo>
                    <a:pt x="19" y="18"/>
                  </a:lnTo>
                  <a:lnTo>
                    <a:pt x="17" y="15"/>
                  </a:lnTo>
                  <a:lnTo>
                    <a:pt x="16" y="14"/>
                  </a:lnTo>
                  <a:lnTo>
                    <a:pt x="14" y="9"/>
                  </a:lnTo>
                  <a:lnTo>
                    <a:pt x="16" y="0"/>
                  </a:lnTo>
                  <a:lnTo>
                    <a:pt x="8" y="0"/>
                  </a:lnTo>
                  <a:lnTo>
                    <a:pt x="5" y="0"/>
                  </a:lnTo>
                  <a:lnTo>
                    <a:pt x="2" y="0"/>
                  </a:lnTo>
                  <a:lnTo>
                    <a:pt x="0" y="1"/>
                  </a:lnTo>
                  <a:lnTo>
                    <a:pt x="0" y="3"/>
                  </a:lnTo>
                  <a:lnTo>
                    <a:pt x="2" y="6"/>
                  </a:lnTo>
                  <a:lnTo>
                    <a:pt x="4" y="9"/>
                  </a:lnTo>
                  <a:lnTo>
                    <a:pt x="3" y="14"/>
                  </a:lnTo>
                  <a:lnTo>
                    <a:pt x="2" y="18"/>
                  </a:lnTo>
                  <a:lnTo>
                    <a:pt x="0" y="21"/>
                  </a:lnTo>
                  <a:lnTo>
                    <a:pt x="2" y="22"/>
                  </a:lnTo>
                  <a:lnTo>
                    <a:pt x="3" y="23"/>
                  </a:lnTo>
                  <a:lnTo>
                    <a:pt x="5" y="25"/>
                  </a:lnTo>
                  <a:lnTo>
                    <a:pt x="9" y="25"/>
                  </a:lnTo>
                  <a:lnTo>
                    <a:pt x="16" y="26"/>
                  </a:lnTo>
                  <a:lnTo>
                    <a:pt x="18" y="25"/>
                  </a:lnTo>
                  <a:lnTo>
                    <a:pt x="19" y="25"/>
                  </a:lnTo>
                  <a:lnTo>
                    <a:pt x="21" y="2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2" name="Freeform 371"/>
            <p:cNvSpPr>
              <a:spLocks/>
            </p:cNvSpPr>
            <p:nvPr/>
          </p:nvSpPr>
          <p:spPr bwMode="auto">
            <a:xfrm>
              <a:off x="5826125" y="1254126"/>
              <a:ext cx="31750" cy="12700"/>
            </a:xfrm>
            <a:custGeom>
              <a:avLst/>
              <a:gdLst>
                <a:gd name="T0" fmla="*/ 2147483647 w 21"/>
                <a:gd name="T1" fmla="*/ 2147483647 h 8"/>
                <a:gd name="T2" fmla="*/ 2147483647 w 21"/>
                <a:gd name="T3" fmla="*/ 2147483647 h 8"/>
                <a:gd name="T4" fmla="*/ 2147483647 w 21"/>
                <a:gd name="T5" fmla="*/ 0 h 8"/>
                <a:gd name="T6" fmla="*/ 2147483647 w 21"/>
                <a:gd name="T7" fmla="*/ 2147483647 h 8"/>
                <a:gd name="T8" fmla="*/ 2147483647 w 21"/>
                <a:gd name="T9" fmla="*/ 2147483647 h 8"/>
                <a:gd name="T10" fmla="*/ 2147483647 w 21"/>
                <a:gd name="T11" fmla="*/ 2147483647 h 8"/>
                <a:gd name="T12" fmla="*/ 0 w 21"/>
                <a:gd name="T13" fmla="*/ 2147483647 h 8"/>
                <a:gd name="T14" fmla="*/ 2147483647 w 21"/>
                <a:gd name="T15" fmla="*/ 2147483647 h 8"/>
                <a:gd name="T16" fmla="*/ 2147483647 w 21"/>
                <a:gd name="T17" fmla="*/ 2147483647 h 8"/>
                <a:gd name="T18" fmla="*/ 2147483647 w 21"/>
                <a:gd name="T19" fmla="*/ 2147483647 h 8"/>
                <a:gd name="T20" fmla="*/ 2147483647 w 21"/>
                <a:gd name="T21" fmla="*/ 2147483647 h 8"/>
                <a:gd name="T22" fmla="*/ 2147483647 w 21"/>
                <a:gd name="T23" fmla="*/ 2147483647 h 8"/>
                <a:gd name="T24" fmla="*/ 2147483647 w 21"/>
                <a:gd name="T25" fmla="*/ 2147483647 h 8"/>
                <a:gd name="T26" fmla="*/ 2147483647 w 21"/>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8"/>
                <a:gd name="T44" fmla="*/ 21 w 21"/>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8">
                  <a:moveTo>
                    <a:pt x="21" y="2"/>
                  </a:moveTo>
                  <a:lnTo>
                    <a:pt x="21" y="1"/>
                  </a:lnTo>
                  <a:lnTo>
                    <a:pt x="20" y="0"/>
                  </a:lnTo>
                  <a:lnTo>
                    <a:pt x="9" y="1"/>
                  </a:lnTo>
                  <a:lnTo>
                    <a:pt x="4" y="3"/>
                  </a:lnTo>
                  <a:lnTo>
                    <a:pt x="1" y="5"/>
                  </a:lnTo>
                  <a:lnTo>
                    <a:pt x="0" y="8"/>
                  </a:lnTo>
                  <a:lnTo>
                    <a:pt x="5" y="7"/>
                  </a:lnTo>
                  <a:lnTo>
                    <a:pt x="7" y="5"/>
                  </a:lnTo>
                  <a:lnTo>
                    <a:pt x="11" y="5"/>
                  </a:lnTo>
                  <a:lnTo>
                    <a:pt x="15" y="5"/>
                  </a:lnTo>
                  <a:lnTo>
                    <a:pt x="19" y="5"/>
                  </a:lnTo>
                  <a:lnTo>
                    <a:pt x="20" y="4"/>
                  </a:lnTo>
                  <a:lnTo>
                    <a:pt x="21"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3" name="Freeform 372"/>
            <p:cNvSpPr>
              <a:spLocks/>
            </p:cNvSpPr>
            <p:nvPr/>
          </p:nvSpPr>
          <p:spPr bwMode="auto">
            <a:xfrm>
              <a:off x="5751513" y="1355729"/>
              <a:ext cx="30162" cy="41275"/>
            </a:xfrm>
            <a:custGeom>
              <a:avLst/>
              <a:gdLst>
                <a:gd name="T0" fmla="*/ 2147483647 w 20"/>
                <a:gd name="T1" fmla="*/ 2147483647 h 26"/>
                <a:gd name="T2" fmla="*/ 2147483647 w 20"/>
                <a:gd name="T3" fmla="*/ 2147483647 h 26"/>
                <a:gd name="T4" fmla="*/ 2147483647 w 20"/>
                <a:gd name="T5" fmla="*/ 2147483647 h 26"/>
                <a:gd name="T6" fmla="*/ 2147483647 w 20"/>
                <a:gd name="T7" fmla="*/ 2147483647 h 26"/>
                <a:gd name="T8" fmla="*/ 2147483647 w 20"/>
                <a:gd name="T9" fmla="*/ 2147483647 h 26"/>
                <a:gd name="T10" fmla="*/ 2147483647 w 20"/>
                <a:gd name="T11" fmla="*/ 2147483647 h 26"/>
                <a:gd name="T12" fmla="*/ 2147483647 w 20"/>
                <a:gd name="T13" fmla="*/ 2147483647 h 26"/>
                <a:gd name="T14" fmla="*/ 2147483647 w 20"/>
                <a:gd name="T15" fmla="*/ 2147483647 h 26"/>
                <a:gd name="T16" fmla="*/ 2147483647 w 20"/>
                <a:gd name="T17" fmla="*/ 0 h 26"/>
                <a:gd name="T18" fmla="*/ 2147483647 w 20"/>
                <a:gd name="T19" fmla="*/ 0 h 26"/>
                <a:gd name="T20" fmla="*/ 2147483647 w 20"/>
                <a:gd name="T21" fmla="*/ 0 h 26"/>
                <a:gd name="T22" fmla="*/ 2147483647 w 20"/>
                <a:gd name="T23" fmla="*/ 0 h 26"/>
                <a:gd name="T24" fmla="*/ 2147483647 w 20"/>
                <a:gd name="T25" fmla="*/ 0 h 26"/>
                <a:gd name="T26" fmla="*/ 2147483647 w 20"/>
                <a:gd name="T27" fmla="*/ 0 h 26"/>
                <a:gd name="T28" fmla="*/ 0 w 20"/>
                <a:gd name="T29" fmla="*/ 2147483647 h 26"/>
                <a:gd name="T30" fmla="*/ 0 w 20"/>
                <a:gd name="T31" fmla="*/ 2147483647 h 26"/>
                <a:gd name="T32" fmla="*/ 0 w 20"/>
                <a:gd name="T33" fmla="*/ 2147483647 h 26"/>
                <a:gd name="T34" fmla="*/ 2147483647 w 20"/>
                <a:gd name="T35" fmla="*/ 2147483647 h 26"/>
                <a:gd name="T36" fmla="*/ 2147483647 w 20"/>
                <a:gd name="T37" fmla="*/ 2147483647 h 26"/>
                <a:gd name="T38" fmla="*/ 2147483647 w 20"/>
                <a:gd name="T39" fmla="*/ 2147483647 h 26"/>
                <a:gd name="T40" fmla="*/ 2147483647 w 20"/>
                <a:gd name="T41" fmla="*/ 2147483647 h 26"/>
                <a:gd name="T42" fmla="*/ 2147483647 w 20"/>
                <a:gd name="T43" fmla="*/ 2147483647 h 26"/>
                <a:gd name="T44" fmla="*/ 0 w 20"/>
                <a:gd name="T45" fmla="*/ 2147483647 h 26"/>
                <a:gd name="T46" fmla="*/ 2147483647 w 20"/>
                <a:gd name="T47" fmla="*/ 2147483647 h 26"/>
                <a:gd name="T48" fmla="*/ 2147483647 w 20"/>
                <a:gd name="T49" fmla="*/ 2147483647 h 26"/>
                <a:gd name="T50" fmla="*/ 2147483647 w 20"/>
                <a:gd name="T51" fmla="*/ 2147483647 h 26"/>
                <a:gd name="T52" fmla="*/ 2147483647 w 20"/>
                <a:gd name="T53" fmla="*/ 2147483647 h 26"/>
                <a:gd name="T54" fmla="*/ 2147483647 w 20"/>
                <a:gd name="T55" fmla="*/ 2147483647 h 26"/>
                <a:gd name="T56" fmla="*/ 2147483647 w 20"/>
                <a:gd name="T57" fmla="*/ 2147483647 h 26"/>
                <a:gd name="T58" fmla="*/ 2147483647 w 20"/>
                <a:gd name="T59" fmla="*/ 2147483647 h 26"/>
                <a:gd name="T60" fmla="*/ 2147483647 w 20"/>
                <a:gd name="T61" fmla="*/ 2147483647 h 26"/>
                <a:gd name="T62" fmla="*/ 2147483647 w 20"/>
                <a:gd name="T63" fmla="*/ 2147483647 h 26"/>
                <a:gd name="T64" fmla="*/ 2147483647 w 20"/>
                <a:gd name="T65" fmla="*/ 2147483647 h 26"/>
                <a:gd name="T66" fmla="*/ 2147483647 w 20"/>
                <a:gd name="T67" fmla="*/ 2147483647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26"/>
                <a:gd name="T104" fmla="*/ 20 w 20"/>
                <a:gd name="T105" fmla="*/ 26 h 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26">
                  <a:moveTo>
                    <a:pt x="20" y="21"/>
                  </a:moveTo>
                  <a:lnTo>
                    <a:pt x="20" y="21"/>
                  </a:lnTo>
                  <a:lnTo>
                    <a:pt x="19" y="19"/>
                  </a:lnTo>
                  <a:lnTo>
                    <a:pt x="19" y="17"/>
                  </a:lnTo>
                  <a:lnTo>
                    <a:pt x="17" y="15"/>
                  </a:lnTo>
                  <a:lnTo>
                    <a:pt x="15" y="14"/>
                  </a:lnTo>
                  <a:lnTo>
                    <a:pt x="14" y="9"/>
                  </a:lnTo>
                  <a:lnTo>
                    <a:pt x="15" y="0"/>
                  </a:lnTo>
                  <a:lnTo>
                    <a:pt x="8" y="0"/>
                  </a:lnTo>
                  <a:lnTo>
                    <a:pt x="5" y="0"/>
                  </a:lnTo>
                  <a:lnTo>
                    <a:pt x="1" y="0"/>
                  </a:lnTo>
                  <a:lnTo>
                    <a:pt x="0" y="1"/>
                  </a:lnTo>
                  <a:lnTo>
                    <a:pt x="0" y="3"/>
                  </a:lnTo>
                  <a:lnTo>
                    <a:pt x="1" y="6"/>
                  </a:lnTo>
                  <a:lnTo>
                    <a:pt x="4" y="9"/>
                  </a:lnTo>
                  <a:lnTo>
                    <a:pt x="3" y="14"/>
                  </a:lnTo>
                  <a:lnTo>
                    <a:pt x="1" y="17"/>
                  </a:lnTo>
                  <a:lnTo>
                    <a:pt x="0" y="21"/>
                  </a:lnTo>
                  <a:lnTo>
                    <a:pt x="1" y="22"/>
                  </a:lnTo>
                  <a:lnTo>
                    <a:pt x="3" y="23"/>
                  </a:lnTo>
                  <a:lnTo>
                    <a:pt x="5" y="24"/>
                  </a:lnTo>
                  <a:lnTo>
                    <a:pt x="9" y="24"/>
                  </a:lnTo>
                  <a:lnTo>
                    <a:pt x="15" y="26"/>
                  </a:lnTo>
                  <a:lnTo>
                    <a:pt x="18" y="24"/>
                  </a:lnTo>
                  <a:lnTo>
                    <a:pt x="19" y="24"/>
                  </a:lnTo>
                  <a:lnTo>
                    <a:pt x="20" y="2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4" name="Freeform 373"/>
            <p:cNvSpPr>
              <a:spLocks/>
            </p:cNvSpPr>
            <p:nvPr/>
          </p:nvSpPr>
          <p:spPr bwMode="auto">
            <a:xfrm>
              <a:off x="5824538" y="1250950"/>
              <a:ext cx="31750" cy="14288"/>
            </a:xfrm>
            <a:custGeom>
              <a:avLst/>
              <a:gdLst>
                <a:gd name="T0" fmla="*/ 2147483647 w 21"/>
                <a:gd name="T1" fmla="*/ 2147483647 h 9"/>
                <a:gd name="T2" fmla="*/ 2147483647 w 21"/>
                <a:gd name="T3" fmla="*/ 2147483647 h 9"/>
                <a:gd name="T4" fmla="*/ 2147483647 w 21"/>
                <a:gd name="T5" fmla="*/ 2147483647 h 9"/>
                <a:gd name="T6" fmla="*/ 2147483647 w 21"/>
                <a:gd name="T7" fmla="*/ 0 h 9"/>
                <a:gd name="T8" fmla="*/ 2147483647 w 21"/>
                <a:gd name="T9" fmla="*/ 0 h 9"/>
                <a:gd name="T10" fmla="*/ 2147483647 w 21"/>
                <a:gd name="T11" fmla="*/ 2147483647 h 9"/>
                <a:gd name="T12" fmla="*/ 2147483647 w 21"/>
                <a:gd name="T13" fmla="*/ 2147483647 h 9"/>
                <a:gd name="T14" fmla="*/ 2147483647 w 21"/>
                <a:gd name="T15" fmla="*/ 2147483647 h 9"/>
                <a:gd name="T16" fmla="*/ 0 w 21"/>
                <a:gd name="T17" fmla="*/ 2147483647 h 9"/>
                <a:gd name="T18" fmla="*/ 0 w 21"/>
                <a:gd name="T19" fmla="*/ 2147483647 h 9"/>
                <a:gd name="T20" fmla="*/ 2147483647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2147483647 h 9"/>
                <a:gd name="T36" fmla="*/ 2147483647 w 21"/>
                <a:gd name="T37" fmla="*/ 2147483647 h 9"/>
                <a:gd name="T38" fmla="*/ 2147483647 w 21"/>
                <a:gd name="T39" fmla="*/ 2147483647 h 9"/>
                <a:gd name="T40" fmla="*/ 2147483647 w 21"/>
                <a:gd name="T41" fmla="*/ 2147483647 h 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9"/>
                <a:gd name="T65" fmla="*/ 21 w 21"/>
                <a:gd name="T66" fmla="*/ 9 h 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9">
                  <a:moveTo>
                    <a:pt x="21" y="3"/>
                  </a:moveTo>
                  <a:lnTo>
                    <a:pt x="21" y="3"/>
                  </a:lnTo>
                  <a:lnTo>
                    <a:pt x="21" y="2"/>
                  </a:lnTo>
                  <a:lnTo>
                    <a:pt x="20" y="0"/>
                  </a:lnTo>
                  <a:lnTo>
                    <a:pt x="8" y="2"/>
                  </a:lnTo>
                  <a:lnTo>
                    <a:pt x="3" y="4"/>
                  </a:lnTo>
                  <a:lnTo>
                    <a:pt x="1" y="6"/>
                  </a:lnTo>
                  <a:lnTo>
                    <a:pt x="0" y="9"/>
                  </a:lnTo>
                  <a:lnTo>
                    <a:pt x="5" y="7"/>
                  </a:lnTo>
                  <a:lnTo>
                    <a:pt x="7" y="6"/>
                  </a:lnTo>
                  <a:lnTo>
                    <a:pt x="11" y="6"/>
                  </a:lnTo>
                  <a:lnTo>
                    <a:pt x="15" y="6"/>
                  </a:lnTo>
                  <a:lnTo>
                    <a:pt x="19" y="6"/>
                  </a:lnTo>
                  <a:lnTo>
                    <a:pt x="20" y="5"/>
                  </a:lnTo>
                  <a:lnTo>
                    <a:pt x="21"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5" name="Freeform 374"/>
            <p:cNvSpPr>
              <a:spLocks/>
            </p:cNvSpPr>
            <p:nvPr/>
          </p:nvSpPr>
          <p:spPr bwMode="auto">
            <a:xfrm>
              <a:off x="5815016" y="1284289"/>
              <a:ext cx="14287" cy="15875"/>
            </a:xfrm>
            <a:custGeom>
              <a:avLst/>
              <a:gdLst>
                <a:gd name="T0" fmla="*/ 2147483647 w 10"/>
                <a:gd name="T1" fmla="*/ 2147483647 h 10"/>
                <a:gd name="T2" fmla="*/ 2147483647 w 10"/>
                <a:gd name="T3" fmla="*/ 2147483647 h 10"/>
                <a:gd name="T4" fmla="*/ 2147483647 w 10"/>
                <a:gd name="T5" fmla="*/ 2147483647 h 10"/>
                <a:gd name="T6" fmla="*/ 2147483647 w 10"/>
                <a:gd name="T7" fmla="*/ 0 h 10"/>
                <a:gd name="T8" fmla="*/ 2147483647 w 10"/>
                <a:gd name="T9" fmla="*/ 0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0"/>
                <a:gd name="T41" fmla="*/ 10 w 10"/>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0">
                  <a:moveTo>
                    <a:pt x="10" y="5"/>
                  </a:moveTo>
                  <a:lnTo>
                    <a:pt x="9" y="3"/>
                  </a:lnTo>
                  <a:lnTo>
                    <a:pt x="7" y="1"/>
                  </a:lnTo>
                  <a:lnTo>
                    <a:pt x="5" y="0"/>
                  </a:lnTo>
                  <a:lnTo>
                    <a:pt x="3" y="0"/>
                  </a:lnTo>
                  <a:lnTo>
                    <a:pt x="0" y="2"/>
                  </a:lnTo>
                  <a:lnTo>
                    <a:pt x="0" y="3"/>
                  </a:lnTo>
                  <a:lnTo>
                    <a:pt x="2" y="5"/>
                  </a:lnTo>
                  <a:lnTo>
                    <a:pt x="5" y="8"/>
                  </a:lnTo>
                  <a:lnTo>
                    <a:pt x="8" y="10"/>
                  </a:lnTo>
                  <a:lnTo>
                    <a:pt x="9" y="10"/>
                  </a:lnTo>
                  <a:lnTo>
                    <a:pt x="10" y="9"/>
                  </a:lnTo>
                  <a:lnTo>
                    <a:pt x="10"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6" name="Freeform 375"/>
            <p:cNvSpPr>
              <a:spLocks/>
            </p:cNvSpPr>
            <p:nvPr/>
          </p:nvSpPr>
          <p:spPr bwMode="auto">
            <a:xfrm>
              <a:off x="5783267" y="1292225"/>
              <a:ext cx="22225" cy="19050"/>
            </a:xfrm>
            <a:custGeom>
              <a:avLst/>
              <a:gdLst>
                <a:gd name="T0" fmla="*/ 2147483647 w 15"/>
                <a:gd name="T1" fmla="*/ 0 h 12"/>
                <a:gd name="T2" fmla="*/ 2147483647 w 15"/>
                <a:gd name="T3" fmla="*/ 0 h 12"/>
                <a:gd name="T4" fmla="*/ 0 w 15"/>
                <a:gd name="T5" fmla="*/ 0 h 12"/>
                <a:gd name="T6" fmla="*/ 2147483647 w 15"/>
                <a:gd name="T7" fmla="*/ 2147483647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2"/>
                <a:gd name="T35" fmla="*/ 15 w 15"/>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2">
                  <a:moveTo>
                    <a:pt x="2" y="0"/>
                  </a:moveTo>
                  <a:lnTo>
                    <a:pt x="1" y="0"/>
                  </a:lnTo>
                  <a:lnTo>
                    <a:pt x="0" y="0"/>
                  </a:lnTo>
                  <a:lnTo>
                    <a:pt x="1" y="4"/>
                  </a:lnTo>
                  <a:lnTo>
                    <a:pt x="5" y="6"/>
                  </a:lnTo>
                  <a:lnTo>
                    <a:pt x="12" y="12"/>
                  </a:lnTo>
                  <a:lnTo>
                    <a:pt x="14" y="11"/>
                  </a:lnTo>
                  <a:lnTo>
                    <a:pt x="15" y="9"/>
                  </a:lnTo>
                  <a:lnTo>
                    <a:pt x="14" y="8"/>
                  </a:lnTo>
                  <a:lnTo>
                    <a:pt x="11" y="5"/>
                  </a:lnTo>
                  <a:lnTo>
                    <a:pt x="2"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7" name="Freeform 376"/>
            <p:cNvSpPr>
              <a:spLocks/>
            </p:cNvSpPr>
            <p:nvPr/>
          </p:nvSpPr>
          <p:spPr bwMode="auto">
            <a:xfrm>
              <a:off x="5813426" y="1281113"/>
              <a:ext cx="14288" cy="17462"/>
            </a:xfrm>
            <a:custGeom>
              <a:avLst/>
              <a:gdLst>
                <a:gd name="T0" fmla="*/ 2147483647 w 10"/>
                <a:gd name="T1" fmla="*/ 2147483647 h 11"/>
                <a:gd name="T2" fmla="*/ 2147483647 w 10"/>
                <a:gd name="T3" fmla="*/ 2147483647 h 11"/>
                <a:gd name="T4" fmla="*/ 2147483647 w 10"/>
                <a:gd name="T5" fmla="*/ 2147483647 h 11"/>
                <a:gd name="T6" fmla="*/ 2147483647 w 10"/>
                <a:gd name="T7" fmla="*/ 2147483647 h 11"/>
                <a:gd name="T8" fmla="*/ 2147483647 w 10"/>
                <a:gd name="T9" fmla="*/ 0 h 11"/>
                <a:gd name="T10" fmla="*/ 2147483647 w 10"/>
                <a:gd name="T11" fmla="*/ 0 h 11"/>
                <a:gd name="T12" fmla="*/ 2147483647 w 10"/>
                <a:gd name="T13" fmla="*/ 0 h 11"/>
                <a:gd name="T14" fmla="*/ 0 w 10"/>
                <a:gd name="T15" fmla="*/ 2147483647 h 11"/>
                <a:gd name="T16" fmla="*/ 0 w 10"/>
                <a:gd name="T17" fmla="*/ 2147483647 h 11"/>
                <a:gd name="T18" fmla="*/ 2147483647 w 10"/>
                <a:gd name="T19" fmla="*/ 2147483647 h 11"/>
                <a:gd name="T20" fmla="*/ 2147483647 w 10"/>
                <a:gd name="T21" fmla="*/ 2147483647 h 11"/>
                <a:gd name="T22" fmla="*/ 2147483647 w 10"/>
                <a:gd name="T23" fmla="*/ 2147483647 h 11"/>
                <a:gd name="T24" fmla="*/ 2147483647 w 10"/>
                <a:gd name="T25" fmla="*/ 2147483647 h 11"/>
                <a:gd name="T26" fmla="*/ 2147483647 w 10"/>
                <a:gd name="T27" fmla="*/ 2147483647 h 11"/>
                <a:gd name="T28" fmla="*/ 2147483647 w 10"/>
                <a:gd name="T29" fmla="*/ 2147483647 h 11"/>
                <a:gd name="T30" fmla="*/ 2147483647 w 10"/>
                <a:gd name="T31" fmla="*/ 2147483647 h 11"/>
                <a:gd name="T32" fmla="*/ 2147483647 w 10"/>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1"/>
                <a:gd name="T53" fmla="*/ 10 w 10"/>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1">
                  <a:moveTo>
                    <a:pt x="10" y="6"/>
                  </a:moveTo>
                  <a:lnTo>
                    <a:pt x="10" y="6"/>
                  </a:lnTo>
                  <a:lnTo>
                    <a:pt x="9" y="4"/>
                  </a:lnTo>
                  <a:lnTo>
                    <a:pt x="6" y="2"/>
                  </a:lnTo>
                  <a:lnTo>
                    <a:pt x="5" y="0"/>
                  </a:lnTo>
                  <a:lnTo>
                    <a:pt x="3" y="0"/>
                  </a:lnTo>
                  <a:lnTo>
                    <a:pt x="0" y="3"/>
                  </a:lnTo>
                  <a:lnTo>
                    <a:pt x="0" y="4"/>
                  </a:lnTo>
                  <a:lnTo>
                    <a:pt x="1" y="6"/>
                  </a:lnTo>
                  <a:lnTo>
                    <a:pt x="5" y="9"/>
                  </a:lnTo>
                  <a:lnTo>
                    <a:pt x="8" y="11"/>
                  </a:lnTo>
                  <a:lnTo>
                    <a:pt x="9" y="11"/>
                  </a:lnTo>
                  <a:lnTo>
                    <a:pt x="10" y="10"/>
                  </a:lnTo>
                  <a:lnTo>
                    <a:pt x="10"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8" name="Freeform 377"/>
            <p:cNvSpPr>
              <a:spLocks/>
            </p:cNvSpPr>
            <p:nvPr/>
          </p:nvSpPr>
          <p:spPr bwMode="auto">
            <a:xfrm>
              <a:off x="5781679" y="1290642"/>
              <a:ext cx="22225" cy="19050"/>
            </a:xfrm>
            <a:custGeom>
              <a:avLst/>
              <a:gdLst>
                <a:gd name="T0" fmla="*/ 2147483647 w 16"/>
                <a:gd name="T1" fmla="*/ 0 h 12"/>
                <a:gd name="T2" fmla="*/ 2147483647 w 16"/>
                <a:gd name="T3" fmla="*/ 0 h 12"/>
                <a:gd name="T4" fmla="*/ 2147483647 w 16"/>
                <a:gd name="T5" fmla="*/ 0 h 12"/>
                <a:gd name="T6" fmla="*/ 0 w 16"/>
                <a:gd name="T7" fmla="*/ 0 h 12"/>
                <a:gd name="T8" fmla="*/ 0 w 16"/>
                <a:gd name="T9" fmla="*/ 0 h 12"/>
                <a:gd name="T10" fmla="*/ 2147483647 w 16"/>
                <a:gd name="T11" fmla="*/ 2147483647 h 12"/>
                <a:gd name="T12" fmla="*/ 2147483647 w 16"/>
                <a:gd name="T13" fmla="*/ 2147483647 h 12"/>
                <a:gd name="T14" fmla="*/ 2147483647 w 16"/>
                <a:gd name="T15" fmla="*/ 2147483647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0 h 12"/>
                <a:gd name="T32" fmla="*/ 2147483647 w 16"/>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2"/>
                <a:gd name="T53" fmla="*/ 16 w 16"/>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2">
                  <a:moveTo>
                    <a:pt x="3" y="0"/>
                  </a:moveTo>
                  <a:lnTo>
                    <a:pt x="3" y="0"/>
                  </a:lnTo>
                  <a:lnTo>
                    <a:pt x="2" y="0"/>
                  </a:lnTo>
                  <a:lnTo>
                    <a:pt x="0" y="0"/>
                  </a:lnTo>
                  <a:lnTo>
                    <a:pt x="2" y="4"/>
                  </a:lnTo>
                  <a:lnTo>
                    <a:pt x="5" y="6"/>
                  </a:lnTo>
                  <a:lnTo>
                    <a:pt x="13" y="12"/>
                  </a:lnTo>
                  <a:lnTo>
                    <a:pt x="14" y="11"/>
                  </a:lnTo>
                  <a:lnTo>
                    <a:pt x="16" y="9"/>
                  </a:lnTo>
                  <a:lnTo>
                    <a:pt x="14" y="7"/>
                  </a:lnTo>
                  <a:lnTo>
                    <a:pt x="12" y="5"/>
                  </a:lnTo>
                  <a:lnTo>
                    <a:pt x="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79" name="Freeform 378"/>
            <p:cNvSpPr>
              <a:spLocks/>
            </p:cNvSpPr>
            <p:nvPr/>
          </p:nvSpPr>
          <p:spPr bwMode="auto">
            <a:xfrm>
              <a:off x="5808664" y="1311279"/>
              <a:ext cx="17462" cy="15875"/>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0 w 12"/>
                <a:gd name="T9" fmla="*/ 2147483647 h 10"/>
                <a:gd name="T10" fmla="*/ 2147483647 w 12"/>
                <a:gd name="T11" fmla="*/ 2147483647 h 10"/>
                <a:gd name="T12" fmla="*/ 2147483647 w 12"/>
                <a:gd name="T13" fmla="*/ 2147483647 h 10"/>
                <a:gd name="T14" fmla="*/ 2147483647 w 12"/>
                <a:gd name="T15" fmla="*/ 0 h 10"/>
                <a:gd name="T16" fmla="*/ 2147483647 w 12"/>
                <a:gd name="T17" fmla="*/ 0 h 10"/>
                <a:gd name="T18" fmla="*/ 2147483647 w 12"/>
                <a:gd name="T19" fmla="*/ 2147483647 h 10"/>
                <a:gd name="T20" fmla="*/ 2147483647 w 12"/>
                <a:gd name="T21" fmla="*/ 2147483647 h 10"/>
                <a:gd name="T22" fmla="*/ 2147483647 w 12"/>
                <a:gd name="T23" fmla="*/ 2147483647 h 10"/>
                <a:gd name="T24" fmla="*/ 2147483647 w 12"/>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0"/>
                <a:gd name="T41" fmla="*/ 12 w 12"/>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0">
                  <a:moveTo>
                    <a:pt x="8" y="9"/>
                  </a:moveTo>
                  <a:lnTo>
                    <a:pt x="6" y="10"/>
                  </a:lnTo>
                  <a:lnTo>
                    <a:pt x="3" y="10"/>
                  </a:lnTo>
                  <a:lnTo>
                    <a:pt x="2" y="10"/>
                  </a:lnTo>
                  <a:lnTo>
                    <a:pt x="0" y="7"/>
                  </a:lnTo>
                  <a:lnTo>
                    <a:pt x="2" y="5"/>
                  </a:lnTo>
                  <a:lnTo>
                    <a:pt x="4" y="2"/>
                  </a:lnTo>
                  <a:lnTo>
                    <a:pt x="7" y="0"/>
                  </a:lnTo>
                  <a:lnTo>
                    <a:pt x="8" y="0"/>
                  </a:lnTo>
                  <a:lnTo>
                    <a:pt x="11" y="2"/>
                  </a:lnTo>
                  <a:lnTo>
                    <a:pt x="12" y="5"/>
                  </a:lnTo>
                  <a:lnTo>
                    <a:pt x="11" y="7"/>
                  </a:lnTo>
                  <a:lnTo>
                    <a:pt x="8"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0" name="Freeform 379"/>
            <p:cNvSpPr>
              <a:spLocks/>
            </p:cNvSpPr>
            <p:nvPr/>
          </p:nvSpPr>
          <p:spPr bwMode="auto">
            <a:xfrm>
              <a:off x="5740400" y="1325567"/>
              <a:ext cx="33338" cy="22225"/>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2147483647 w 23"/>
                <a:gd name="T17" fmla="*/ 2147483647 h 14"/>
                <a:gd name="T18" fmla="*/ 2147483647 w 23"/>
                <a:gd name="T19" fmla="*/ 2147483647 h 14"/>
                <a:gd name="T20" fmla="*/ 0 w 23"/>
                <a:gd name="T21" fmla="*/ 2147483647 h 14"/>
                <a:gd name="T22" fmla="*/ 0 w 23"/>
                <a:gd name="T23" fmla="*/ 2147483647 h 14"/>
                <a:gd name="T24" fmla="*/ 0 w 23"/>
                <a:gd name="T25" fmla="*/ 2147483647 h 14"/>
                <a:gd name="T26" fmla="*/ 2147483647 w 23"/>
                <a:gd name="T27" fmla="*/ 2147483647 h 14"/>
                <a:gd name="T28" fmla="*/ 2147483647 w 23"/>
                <a:gd name="T29" fmla="*/ 0 h 14"/>
                <a:gd name="T30" fmla="*/ 2147483647 w 23"/>
                <a:gd name="T31" fmla="*/ 0 h 14"/>
                <a:gd name="T32" fmla="*/ 2147483647 w 23"/>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4"/>
                <a:gd name="T53" fmla="*/ 23 w 23"/>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4">
                  <a:moveTo>
                    <a:pt x="18" y="2"/>
                  </a:moveTo>
                  <a:lnTo>
                    <a:pt x="21" y="3"/>
                  </a:lnTo>
                  <a:lnTo>
                    <a:pt x="23" y="4"/>
                  </a:lnTo>
                  <a:lnTo>
                    <a:pt x="23" y="7"/>
                  </a:lnTo>
                  <a:lnTo>
                    <a:pt x="23" y="9"/>
                  </a:lnTo>
                  <a:lnTo>
                    <a:pt x="22" y="11"/>
                  </a:lnTo>
                  <a:lnTo>
                    <a:pt x="20" y="11"/>
                  </a:lnTo>
                  <a:lnTo>
                    <a:pt x="11" y="14"/>
                  </a:lnTo>
                  <a:lnTo>
                    <a:pt x="7" y="13"/>
                  </a:lnTo>
                  <a:lnTo>
                    <a:pt x="3" y="11"/>
                  </a:lnTo>
                  <a:lnTo>
                    <a:pt x="0" y="9"/>
                  </a:lnTo>
                  <a:lnTo>
                    <a:pt x="0" y="7"/>
                  </a:lnTo>
                  <a:lnTo>
                    <a:pt x="0" y="3"/>
                  </a:lnTo>
                  <a:lnTo>
                    <a:pt x="3" y="1"/>
                  </a:lnTo>
                  <a:lnTo>
                    <a:pt x="7" y="0"/>
                  </a:lnTo>
                  <a:lnTo>
                    <a:pt x="11" y="0"/>
                  </a:lnTo>
                  <a:lnTo>
                    <a:pt x="18"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1" name="Freeform 380"/>
            <p:cNvSpPr>
              <a:spLocks/>
            </p:cNvSpPr>
            <p:nvPr/>
          </p:nvSpPr>
          <p:spPr bwMode="auto">
            <a:xfrm>
              <a:off x="5807078" y="1309690"/>
              <a:ext cx="17463" cy="15875"/>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0 w 12"/>
                <a:gd name="T13" fmla="*/ 2147483647 h 10"/>
                <a:gd name="T14" fmla="*/ 2147483647 w 12"/>
                <a:gd name="T15" fmla="*/ 2147483647 h 10"/>
                <a:gd name="T16" fmla="*/ 2147483647 w 12"/>
                <a:gd name="T17" fmla="*/ 2147483647 h 10"/>
                <a:gd name="T18" fmla="*/ 2147483647 w 12"/>
                <a:gd name="T19" fmla="*/ 0 h 10"/>
                <a:gd name="T20" fmla="*/ 2147483647 w 12"/>
                <a:gd name="T21" fmla="*/ 0 h 10"/>
                <a:gd name="T22" fmla="*/ 2147483647 w 12"/>
                <a:gd name="T23" fmla="*/ 2147483647 h 10"/>
                <a:gd name="T24" fmla="*/ 2147483647 w 12"/>
                <a:gd name="T25" fmla="*/ 2147483647 h 10"/>
                <a:gd name="T26" fmla="*/ 2147483647 w 12"/>
                <a:gd name="T27" fmla="*/ 2147483647 h 10"/>
                <a:gd name="T28" fmla="*/ 2147483647 w 12"/>
                <a:gd name="T29" fmla="*/ 2147483647 h 10"/>
                <a:gd name="T30" fmla="*/ 2147483647 w 12"/>
                <a:gd name="T31" fmla="*/ 2147483647 h 10"/>
                <a:gd name="T32" fmla="*/ 2147483647 w 12"/>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0"/>
                <a:gd name="T53" fmla="*/ 12 w 12"/>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0">
                  <a:moveTo>
                    <a:pt x="8" y="8"/>
                  </a:moveTo>
                  <a:lnTo>
                    <a:pt x="8" y="8"/>
                  </a:lnTo>
                  <a:lnTo>
                    <a:pt x="5" y="10"/>
                  </a:lnTo>
                  <a:lnTo>
                    <a:pt x="3" y="10"/>
                  </a:lnTo>
                  <a:lnTo>
                    <a:pt x="1" y="10"/>
                  </a:lnTo>
                  <a:lnTo>
                    <a:pt x="0" y="7"/>
                  </a:lnTo>
                  <a:lnTo>
                    <a:pt x="1" y="5"/>
                  </a:lnTo>
                  <a:lnTo>
                    <a:pt x="4" y="1"/>
                  </a:lnTo>
                  <a:lnTo>
                    <a:pt x="7" y="0"/>
                  </a:lnTo>
                  <a:lnTo>
                    <a:pt x="8" y="0"/>
                  </a:lnTo>
                  <a:lnTo>
                    <a:pt x="10" y="1"/>
                  </a:lnTo>
                  <a:lnTo>
                    <a:pt x="12" y="5"/>
                  </a:lnTo>
                  <a:lnTo>
                    <a:pt x="10" y="7"/>
                  </a:lnTo>
                  <a:lnTo>
                    <a:pt x="8"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2" name="Freeform 381"/>
            <p:cNvSpPr>
              <a:spLocks/>
            </p:cNvSpPr>
            <p:nvPr/>
          </p:nvSpPr>
          <p:spPr bwMode="auto">
            <a:xfrm>
              <a:off x="5738817" y="1322389"/>
              <a:ext cx="33337" cy="23812"/>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2147483647 h 15"/>
                <a:gd name="T10" fmla="*/ 2147483647 w 23"/>
                <a:gd name="T11" fmla="*/ 2147483647 h 15"/>
                <a:gd name="T12" fmla="*/ 2147483647 w 23"/>
                <a:gd name="T13" fmla="*/ 2147483647 h 15"/>
                <a:gd name="T14" fmla="*/ 2147483647 w 23"/>
                <a:gd name="T15" fmla="*/ 2147483647 h 15"/>
                <a:gd name="T16" fmla="*/ 2147483647 w 23"/>
                <a:gd name="T17" fmla="*/ 2147483647 h 15"/>
                <a:gd name="T18" fmla="*/ 2147483647 w 23"/>
                <a:gd name="T19" fmla="*/ 2147483647 h 15"/>
                <a:gd name="T20" fmla="*/ 2147483647 w 23"/>
                <a:gd name="T21" fmla="*/ 2147483647 h 15"/>
                <a:gd name="T22" fmla="*/ 2147483647 w 23"/>
                <a:gd name="T23" fmla="*/ 2147483647 h 15"/>
                <a:gd name="T24" fmla="*/ 2147483647 w 23"/>
                <a:gd name="T25" fmla="*/ 2147483647 h 15"/>
                <a:gd name="T26" fmla="*/ 2147483647 w 23"/>
                <a:gd name="T27" fmla="*/ 2147483647 h 15"/>
                <a:gd name="T28" fmla="*/ 0 w 23"/>
                <a:gd name="T29" fmla="*/ 2147483647 h 15"/>
                <a:gd name="T30" fmla="*/ 0 w 23"/>
                <a:gd name="T31" fmla="*/ 2147483647 h 15"/>
                <a:gd name="T32" fmla="*/ 0 w 23"/>
                <a:gd name="T33" fmla="*/ 2147483647 h 15"/>
                <a:gd name="T34" fmla="*/ 2147483647 w 23"/>
                <a:gd name="T35" fmla="*/ 2147483647 h 15"/>
                <a:gd name="T36" fmla="*/ 2147483647 w 23"/>
                <a:gd name="T37" fmla="*/ 2147483647 h 15"/>
                <a:gd name="T38" fmla="*/ 2147483647 w 23"/>
                <a:gd name="T39" fmla="*/ 0 h 15"/>
                <a:gd name="T40" fmla="*/ 2147483647 w 23"/>
                <a:gd name="T41" fmla="*/ 0 h 15"/>
                <a:gd name="T42" fmla="*/ 2147483647 w 23"/>
                <a:gd name="T43" fmla="*/ 2147483647 h 15"/>
                <a:gd name="T44" fmla="*/ 2147483647 w 23"/>
                <a:gd name="T45" fmla="*/ 2147483647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5"/>
                <a:gd name="T71" fmla="*/ 23 w 23"/>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5">
                  <a:moveTo>
                    <a:pt x="18" y="3"/>
                  </a:moveTo>
                  <a:lnTo>
                    <a:pt x="18" y="3"/>
                  </a:lnTo>
                  <a:lnTo>
                    <a:pt x="21" y="4"/>
                  </a:lnTo>
                  <a:lnTo>
                    <a:pt x="23" y="5"/>
                  </a:lnTo>
                  <a:lnTo>
                    <a:pt x="23" y="8"/>
                  </a:lnTo>
                  <a:lnTo>
                    <a:pt x="23" y="10"/>
                  </a:lnTo>
                  <a:lnTo>
                    <a:pt x="22" y="12"/>
                  </a:lnTo>
                  <a:lnTo>
                    <a:pt x="19" y="12"/>
                  </a:lnTo>
                  <a:lnTo>
                    <a:pt x="10" y="15"/>
                  </a:lnTo>
                  <a:lnTo>
                    <a:pt x="7" y="13"/>
                  </a:lnTo>
                  <a:lnTo>
                    <a:pt x="3" y="12"/>
                  </a:lnTo>
                  <a:lnTo>
                    <a:pt x="0" y="10"/>
                  </a:lnTo>
                  <a:lnTo>
                    <a:pt x="0" y="8"/>
                  </a:lnTo>
                  <a:lnTo>
                    <a:pt x="0" y="4"/>
                  </a:lnTo>
                  <a:lnTo>
                    <a:pt x="3" y="2"/>
                  </a:lnTo>
                  <a:lnTo>
                    <a:pt x="7" y="0"/>
                  </a:lnTo>
                  <a:lnTo>
                    <a:pt x="10" y="0"/>
                  </a:lnTo>
                  <a:lnTo>
                    <a:pt x="18"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3" name="Freeform 382"/>
            <p:cNvSpPr>
              <a:spLocks/>
            </p:cNvSpPr>
            <p:nvPr/>
          </p:nvSpPr>
          <p:spPr bwMode="auto">
            <a:xfrm>
              <a:off x="5600704" y="1377950"/>
              <a:ext cx="11113" cy="19050"/>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2147483647 w 8"/>
                <a:gd name="T11" fmla="*/ 2147483647 h 12"/>
                <a:gd name="T12" fmla="*/ 0 w 8"/>
                <a:gd name="T13" fmla="*/ 2147483647 h 12"/>
                <a:gd name="T14" fmla="*/ 2147483647 w 8"/>
                <a:gd name="T15" fmla="*/ 2147483647 h 12"/>
                <a:gd name="T16" fmla="*/ 2147483647 w 8"/>
                <a:gd name="T17" fmla="*/ 0 h 12"/>
                <a:gd name="T18" fmla="*/ 2147483647 w 8"/>
                <a:gd name="T19" fmla="*/ 0 h 12"/>
                <a:gd name="T20" fmla="*/ 2147483647 w 8"/>
                <a:gd name="T21" fmla="*/ 2147483647 h 12"/>
                <a:gd name="T22" fmla="*/ 2147483647 w 8"/>
                <a:gd name="T23" fmla="*/ 2147483647 h 12"/>
                <a:gd name="T24" fmla="*/ 2147483647 w 8"/>
                <a:gd name="T25" fmla="*/ 2147483647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8" y="7"/>
                  </a:moveTo>
                  <a:lnTo>
                    <a:pt x="7" y="10"/>
                  </a:lnTo>
                  <a:lnTo>
                    <a:pt x="5" y="12"/>
                  </a:lnTo>
                  <a:lnTo>
                    <a:pt x="4" y="12"/>
                  </a:lnTo>
                  <a:lnTo>
                    <a:pt x="3" y="10"/>
                  </a:lnTo>
                  <a:lnTo>
                    <a:pt x="1" y="9"/>
                  </a:lnTo>
                  <a:lnTo>
                    <a:pt x="0" y="6"/>
                  </a:lnTo>
                  <a:lnTo>
                    <a:pt x="1" y="2"/>
                  </a:lnTo>
                  <a:lnTo>
                    <a:pt x="4" y="0"/>
                  </a:lnTo>
                  <a:lnTo>
                    <a:pt x="7" y="0"/>
                  </a:lnTo>
                  <a:lnTo>
                    <a:pt x="8" y="1"/>
                  </a:lnTo>
                  <a:lnTo>
                    <a:pt x="8" y="5"/>
                  </a:lnTo>
                  <a:lnTo>
                    <a:pt x="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4" name="Freeform 383"/>
            <p:cNvSpPr>
              <a:spLocks/>
            </p:cNvSpPr>
            <p:nvPr/>
          </p:nvSpPr>
          <p:spPr bwMode="auto">
            <a:xfrm>
              <a:off x="5715001" y="1279525"/>
              <a:ext cx="69850" cy="46039"/>
            </a:xfrm>
            <a:custGeom>
              <a:avLst/>
              <a:gdLst>
                <a:gd name="T0" fmla="*/ 2147483647 w 48"/>
                <a:gd name="T1" fmla="*/ 2147483647 h 29"/>
                <a:gd name="T2" fmla="*/ 2147483647 w 48"/>
                <a:gd name="T3" fmla="*/ 2147483647 h 29"/>
                <a:gd name="T4" fmla="*/ 2147483647 w 48"/>
                <a:gd name="T5" fmla="*/ 2147483647 h 29"/>
                <a:gd name="T6" fmla="*/ 2147483647 w 48"/>
                <a:gd name="T7" fmla="*/ 2147483647 h 29"/>
                <a:gd name="T8" fmla="*/ 2147483647 w 48"/>
                <a:gd name="T9" fmla="*/ 2147483647 h 29"/>
                <a:gd name="T10" fmla="*/ 2147483647 w 48"/>
                <a:gd name="T11" fmla="*/ 2147483647 h 29"/>
                <a:gd name="T12" fmla="*/ 2147483647 w 48"/>
                <a:gd name="T13" fmla="*/ 2147483647 h 29"/>
                <a:gd name="T14" fmla="*/ 2147483647 w 48"/>
                <a:gd name="T15" fmla="*/ 0 h 29"/>
                <a:gd name="T16" fmla="*/ 2147483647 w 48"/>
                <a:gd name="T17" fmla="*/ 2147483647 h 29"/>
                <a:gd name="T18" fmla="*/ 2147483647 w 48"/>
                <a:gd name="T19" fmla="*/ 2147483647 h 29"/>
                <a:gd name="T20" fmla="*/ 0 w 48"/>
                <a:gd name="T21" fmla="*/ 2147483647 h 29"/>
                <a:gd name="T22" fmla="*/ 0 w 48"/>
                <a:gd name="T23" fmla="*/ 2147483647 h 29"/>
                <a:gd name="T24" fmla="*/ 2147483647 w 48"/>
                <a:gd name="T25" fmla="*/ 2147483647 h 29"/>
                <a:gd name="T26" fmla="*/ 2147483647 w 48"/>
                <a:gd name="T27" fmla="*/ 2147483647 h 29"/>
                <a:gd name="T28" fmla="*/ 2147483647 w 48"/>
                <a:gd name="T29" fmla="*/ 2147483647 h 29"/>
                <a:gd name="T30" fmla="*/ 2147483647 w 48"/>
                <a:gd name="T31" fmla="*/ 2147483647 h 29"/>
                <a:gd name="T32" fmla="*/ 2147483647 w 48"/>
                <a:gd name="T33" fmla="*/ 2147483647 h 29"/>
                <a:gd name="T34" fmla="*/ 2147483647 w 48"/>
                <a:gd name="T35" fmla="*/ 2147483647 h 29"/>
                <a:gd name="T36" fmla="*/ 2147483647 w 48"/>
                <a:gd name="T37" fmla="*/ 2147483647 h 29"/>
                <a:gd name="T38" fmla="*/ 2147483647 w 48"/>
                <a:gd name="T39" fmla="*/ 2147483647 h 29"/>
                <a:gd name="T40" fmla="*/ 2147483647 w 48"/>
                <a:gd name="T41" fmla="*/ 2147483647 h 29"/>
                <a:gd name="T42" fmla="*/ 2147483647 w 48"/>
                <a:gd name="T43" fmla="*/ 2147483647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9"/>
                <a:gd name="T68" fmla="*/ 48 w 48"/>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9">
                  <a:moveTo>
                    <a:pt x="48" y="23"/>
                  </a:moveTo>
                  <a:lnTo>
                    <a:pt x="47" y="22"/>
                  </a:lnTo>
                  <a:lnTo>
                    <a:pt x="43" y="19"/>
                  </a:lnTo>
                  <a:lnTo>
                    <a:pt x="38" y="14"/>
                  </a:lnTo>
                  <a:lnTo>
                    <a:pt x="34" y="11"/>
                  </a:lnTo>
                  <a:lnTo>
                    <a:pt x="23" y="5"/>
                  </a:lnTo>
                  <a:lnTo>
                    <a:pt x="10" y="1"/>
                  </a:lnTo>
                  <a:lnTo>
                    <a:pt x="5" y="0"/>
                  </a:lnTo>
                  <a:lnTo>
                    <a:pt x="2" y="1"/>
                  </a:lnTo>
                  <a:lnTo>
                    <a:pt x="1" y="3"/>
                  </a:lnTo>
                  <a:lnTo>
                    <a:pt x="0" y="6"/>
                  </a:lnTo>
                  <a:lnTo>
                    <a:pt x="0" y="10"/>
                  </a:lnTo>
                  <a:lnTo>
                    <a:pt x="1" y="12"/>
                  </a:lnTo>
                  <a:lnTo>
                    <a:pt x="3" y="12"/>
                  </a:lnTo>
                  <a:lnTo>
                    <a:pt x="14" y="13"/>
                  </a:lnTo>
                  <a:lnTo>
                    <a:pt x="24" y="16"/>
                  </a:lnTo>
                  <a:lnTo>
                    <a:pt x="33" y="20"/>
                  </a:lnTo>
                  <a:lnTo>
                    <a:pt x="40" y="27"/>
                  </a:lnTo>
                  <a:lnTo>
                    <a:pt x="43" y="29"/>
                  </a:lnTo>
                  <a:lnTo>
                    <a:pt x="45" y="27"/>
                  </a:lnTo>
                  <a:lnTo>
                    <a:pt x="48" y="26"/>
                  </a:lnTo>
                  <a:lnTo>
                    <a:pt x="48" y="2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5" name="Freeform 384"/>
            <p:cNvSpPr>
              <a:spLocks/>
            </p:cNvSpPr>
            <p:nvPr/>
          </p:nvSpPr>
          <p:spPr bwMode="auto">
            <a:xfrm>
              <a:off x="5599113" y="1376363"/>
              <a:ext cx="11112" cy="17462"/>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2147483647 w 8"/>
                <a:gd name="T19" fmla="*/ 2147483647 h 11"/>
                <a:gd name="T20" fmla="*/ 2147483647 w 8"/>
                <a:gd name="T21" fmla="*/ 0 h 11"/>
                <a:gd name="T22" fmla="*/ 2147483647 w 8"/>
                <a:gd name="T23" fmla="*/ 0 h 11"/>
                <a:gd name="T24" fmla="*/ 2147483647 w 8"/>
                <a:gd name="T25" fmla="*/ 0 h 11"/>
                <a:gd name="T26" fmla="*/ 2147483647 w 8"/>
                <a:gd name="T27" fmla="*/ 2147483647 h 11"/>
                <a:gd name="T28" fmla="*/ 2147483647 w 8"/>
                <a:gd name="T29" fmla="*/ 2147483647 h 11"/>
                <a:gd name="T30" fmla="*/ 2147483647 w 8"/>
                <a:gd name="T31" fmla="*/ 2147483647 h 11"/>
                <a:gd name="T32" fmla="*/ 2147483647 w 8"/>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1"/>
                <a:gd name="T53" fmla="*/ 8 w 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1">
                  <a:moveTo>
                    <a:pt x="8" y="7"/>
                  </a:moveTo>
                  <a:lnTo>
                    <a:pt x="8" y="7"/>
                  </a:lnTo>
                  <a:lnTo>
                    <a:pt x="6" y="10"/>
                  </a:lnTo>
                  <a:lnTo>
                    <a:pt x="5" y="11"/>
                  </a:lnTo>
                  <a:lnTo>
                    <a:pt x="4" y="11"/>
                  </a:lnTo>
                  <a:lnTo>
                    <a:pt x="2" y="10"/>
                  </a:lnTo>
                  <a:lnTo>
                    <a:pt x="1" y="9"/>
                  </a:lnTo>
                  <a:lnTo>
                    <a:pt x="0" y="6"/>
                  </a:lnTo>
                  <a:lnTo>
                    <a:pt x="1" y="2"/>
                  </a:lnTo>
                  <a:lnTo>
                    <a:pt x="4" y="0"/>
                  </a:lnTo>
                  <a:lnTo>
                    <a:pt x="6" y="0"/>
                  </a:lnTo>
                  <a:lnTo>
                    <a:pt x="8" y="1"/>
                  </a:lnTo>
                  <a:lnTo>
                    <a:pt x="8" y="4"/>
                  </a:lnTo>
                  <a:lnTo>
                    <a:pt x="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6" name="Freeform 385"/>
            <p:cNvSpPr>
              <a:spLocks/>
            </p:cNvSpPr>
            <p:nvPr/>
          </p:nvSpPr>
          <p:spPr bwMode="auto">
            <a:xfrm>
              <a:off x="5711825" y="1277940"/>
              <a:ext cx="71438" cy="44450"/>
            </a:xfrm>
            <a:custGeom>
              <a:avLst/>
              <a:gdLst>
                <a:gd name="T0" fmla="*/ 2147483647 w 49"/>
                <a:gd name="T1" fmla="*/ 2147483647 h 28"/>
                <a:gd name="T2" fmla="*/ 2147483647 w 49"/>
                <a:gd name="T3" fmla="*/ 2147483647 h 28"/>
                <a:gd name="T4" fmla="*/ 2147483647 w 49"/>
                <a:gd name="T5" fmla="*/ 2147483647 h 28"/>
                <a:gd name="T6" fmla="*/ 2147483647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2147483647 w 49"/>
                <a:gd name="T17" fmla="*/ 2147483647 h 28"/>
                <a:gd name="T18" fmla="*/ 2147483647 w 49"/>
                <a:gd name="T19" fmla="*/ 2147483647 h 28"/>
                <a:gd name="T20" fmla="*/ 2147483647 w 49"/>
                <a:gd name="T21" fmla="*/ 2147483647 h 28"/>
                <a:gd name="T22" fmla="*/ 2147483647 w 49"/>
                <a:gd name="T23" fmla="*/ 0 h 28"/>
                <a:gd name="T24" fmla="*/ 2147483647 w 49"/>
                <a:gd name="T25" fmla="*/ 2147483647 h 28"/>
                <a:gd name="T26" fmla="*/ 2147483647 w 49"/>
                <a:gd name="T27" fmla="*/ 2147483647 h 28"/>
                <a:gd name="T28" fmla="*/ 2147483647 w 49"/>
                <a:gd name="T29" fmla="*/ 2147483647 h 28"/>
                <a:gd name="T30" fmla="*/ 0 w 49"/>
                <a:gd name="T31" fmla="*/ 2147483647 h 28"/>
                <a:gd name="T32" fmla="*/ 0 w 49"/>
                <a:gd name="T33" fmla="*/ 2147483647 h 28"/>
                <a:gd name="T34" fmla="*/ 2147483647 w 49"/>
                <a:gd name="T35" fmla="*/ 2147483647 h 28"/>
                <a:gd name="T36" fmla="*/ 2147483647 w 49"/>
                <a:gd name="T37" fmla="*/ 2147483647 h 28"/>
                <a:gd name="T38" fmla="*/ 2147483647 w 49"/>
                <a:gd name="T39" fmla="*/ 2147483647 h 28"/>
                <a:gd name="T40" fmla="*/ 2147483647 w 49"/>
                <a:gd name="T41" fmla="*/ 2147483647 h 28"/>
                <a:gd name="T42" fmla="*/ 2147483647 w 49"/>
                <a:gd name="T43" fmla="*/ 2147483647 h 28"/>
                <a:gd name="T44" fmla="*/ 2147483647 w 49"/>
                <a:gd name="T45" fmla="*/ 2147483647 h 28"/>
                <a:gd name="T46" fmla="*/ 2147483647 w 49"/>
                <a:gd name="T47" fmla="*/ 2147483647 h 28"/>
                <a:gd name="T48" fmla="*/ 2147483647 w 49"/>
                <a:gd name="T49" fmla="*/ 2147483647 h 28"/>
                <a:gd name="T50" fmla="*/ 2147483647 w 49"/>
                <a:gd name="T51" fmla="*/ 2147483647 h 28"/>
                <a:gd name="T52" fmla="*/ 2147483647 w 49"/>
                <a:gd name="T53" fmla="*/ 2147483647 h 28"/>
                <a:gd name="T54" fmla="*/ 2147483647 w 49"/>
                <a:gd name="T55" fmla="*/ 2147483647 h 28"/>
                <a:gd name="T56" fmla="*/ 2147483647 w 49"/>
                <a:gd name="T57" fmla="*/ 2147483647 h 28"/>
                <a:gd name="T58" fmla="*/ 2147483647 w 49"/>
                <a:gd name="T59" fmla="*/ 2147483647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28"/>
                <a:gd name="T92" fmla="*/ 49 w 4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28">
                  <a:moveTo>
                    <a:pt x="49" y="23"/>
                  </a:moveTo>
                  <a:lnTo>
                    <a:pt x="49" y="23"/>
                  </a:lnTo>
                  <a:lnTo>
                    <a:pt x="47" y="21"/>
                  </a:lnTo>
                  <a:lnTo>
                    <a:pt x="44" y="19"/>
                  </a:lnTo>
                  <a:lnTo>
                    <a:pt x="39" y="14"/>
                  </a:lnTo>
                  <a:lnTo>
                    <a:pt x="35" y="11"/>
                  </a:lnTo>
                  <a:lnTo>
                    <a:pt x="23" y="5"/>
                  </a:lnTo>
                  <a:lnTo>
                    <a:pt x="11" y="1"/>
                  </a:lnTo>
                  <a:lnTo>
                    <a:pt x="5" y="0"/>
                  </a:lnTo>
                  <a:lnTo>
                    <a:pt x="3" y="1"/>
                  </a:lnTo>
                  <a:lnTo>
                    <a:pt x="2" y="2"/>
                  </a:lnTo>
                  <a:lnTo>
                    <a:pt x="0" y="6"/>
                  </a:lnTo>
                  <a:lnTo>
                    <a:pt x="0" y="9"/>
                  </a:lnTo>
                  <a:lnTo>
                    <a:pt x="2" y="12"/>
                  </a:lnTo>
                  <a:lnTo>
                    <a:pt x="4" y="12"/>
                  </a:lnTo>
                  <a:lnTo>
                    <a:pt x="14" y="13"/>
                  </a:lnTo>
                  <a:lnTo>
                    <a:pt x="25" y="15"/>
                  </a:lnTo>
                  <a:lnTo>
                    <a:pt x="33" y="20"/>
                  </a:lnTo>
                  <a:lnTo>
                    <a:pt x="41" y="27"/>
                  </a:lnTo>
                  <a:lnTo>
                    <a:pt x="44" y="28"/>
                  </a:lnTo>
                  <a:lnTo>
                    <a:pt x="46" y="27"/>
                  </a:lnTo>
                  <a:lnTo>
                    <a:pt x="49" y="26"/>
                  </a:lnTo>
                  <a:lnTo>
                    <a:pt x="49" y="2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7" name="Freeform 386"/>
            <p:cNvSpPr>
              <a:spLocks/>
            </p:cNvSpPr>
            <p:nvPr/>
          </p:nvSpPr>
          <p:spPr bwMode="auto">
            <a:xfrm>
              <a:off x="5708654" y="1308101"/>
              <a:ext cx="30163" cy="190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0 h 12"/>
                <a:gd name="T10" fmla="*/ 2147483647 w 20"/>
                <a:gd name="T11" fmla="*/ 0 h 12"/>
                <a:gd name="T12" fmla="*/ 2147483647 w 20"/>
                <a:gd name="T13" fmla="*/ 2147483647 h 12"/>
                <a:gd name="T14" fmla="*/ 2147483647 w 20"/>
                <a:gd name="T15" fmla="*/ 2147483647 h 12"/>
                <a:gd name="T16" fmla="*/ 0 w 20"/>
                <a:gd name="T17" fmla="*/ 2147483647 h 12"/>
                <a:gd name="T18" fmla="*/ 0 w 20"/>
                <a:gd name="T19" fmla="*/ 2147483647 h 12"/>
                <a:gd name="T20" fmla="*/ 2147483647 w 20"/>
                <a:gd name="T21" fmla="*/ 2147483647 h 12"/>
                <a:gd name="T22" fmla="*/ 2147483647 w 20"/>
                <a:gd name="T23" fmla="*/ 2147483647 h 12"/>
                <a:gd name="T24" fmla="*/ 2147483647 w 20"/>
                <a:gd name="T25" fmla="*/ 2147483647 h 12"/>
                <a:gd name="T26" fmla="*/ 2147483647 w 20"/>
                <a:gd name="T27" fmla="*/ 2147483647 h 12"/>
                <a:gd name="T28" fmla="*/ 2147483647 w 20"/>
                <a:gd name="T29" fmla="*/ 2147483647 h 12"/>
                <a:gd name="T30" fmla="*/ 2147483647 w 20"/>
                <a:gd name="T31" fmla="*/ 2147483647 h 12"/>
                <a:gd name="T32" fmla="*/ 2147483647 w 20"/>
                <a:gd name="T33" fmla="*/ 2147483647 h 12"/>
                <a:gd name="T34" fmla="*/ 2147483647 w 20"/>
                <a:gd name="T35" fmla="*/ 2147483647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12"/>
                <a:gd name="T56" fmla="*/ 20 w 20"/>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12">
                  <a:moveTo>
                    <a:pt x="20" y="7"/>
                  </a:moveTo>
                  <a:lnTo>
                    <a:pt x="20" y="4"/>
                  </a:lnTo>
                  <a:lnTo>
                    <a:pt x="19" y="2"/>
                  </a:lnTo>
                  <a:lnTo>
                    <a:pt x="18" y="1"/>
                  </a:lnTo>
                  <a:lnTo>
                    <a:pt x="13" y="0"/>
                  </a:lnTo>
                  <a:lnTo>
                    <a:pt x="7" y="0"/>
                  </a:lnTo>
                  <a:lnTo>
                    <a:pt x="2" y="1"/>
                  </a:lnTo>
                  <a:lnTo>
                    <a:pt x="1" y="2"/>
                  </a:lnTo>
                  <a:lnTo>
                    <a:pt x="0" y="4"/>
                  </a:lnTo>
                  <a:lnTo>
                    <a:pt x="0" y="6"/>
                  </a:lnTo>
                  <a:lnTo>
                    <a:pt x="2" y="7"/>
                  </a:lnTo>
                  <a:lnTo>
                    <a:pt x="5" y="8"/>
                  </a:lnTo>
                  <a:lnTo>
                    <a:pt x="7" y="8"/>
                  </a:lnTo>
                  <a:lnTo>
                    <a:pt x="13" y="12"/>
                  </a:lnTo>
                  <a:lnTo>
                    <a:pt x="15" y="12"/>
                  </a:lnTo>
                  <a:lnTo>
                    <a:pt x="18" y="12"/>
                  </a:lnTo>
                  <a:lnTo>
                    <a:pt x="19" y="9"/>
                  </a:lnTo>
                  <a:lnTo>
                    <a:pt x="20"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8" name="Freeform 387"/>
            <p:cNvSpPr>
              <a:spLocks/>
            </p:cNvSpPr>
            <p:nvPr/>
          </p:nvSpPr>
          <p:spPr bwMode="auto">
            <a:xfrm>
              <a:off x="5667376" y="1358900"/>
              <a:ext cx="28574" cy="31751"/>
            </a:xfrm>
            <a:custGeom>
              <a:avLst/>
              <a:gdLst>
                <a:gd name="T0" fmla="*/ 2147483647 w 19"/>
                <a:gd name="T1" fmla="*/ 2147483647 h 20"/>
                <a:gd name="T2" fmla="*/ 2147483647 w 19"/>
                <a:gd name="T3" fmla="*/ 2147483647 h 20"/>
                <a:gd name="T4" fmla="*/ 2147483647 w 19"/>
                <a:gd name="T5" fmla="*/ 0 h 20"/>
                <a:gd name="T6" fmla="*/ 2147483647 w 19"/>
                <a:gd name="T7" fmla="*/ 0 h 20"/>
                <a:gd name="T8" fmla="*/ 2147483647 w 19"/>
                <a:gd name="T9" fmla="*/ 2147483647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2147483647 w 19"/>
                <a:gd name="T35" fmla="*/ 2147483647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20"/>
                <a:gd name="T56" fmla="*/ 19 w 19"/>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20">
                  <a:moveTo>
                    <a:pt x="16" y="5"/>
                  </a:moveTo>
                  <a:lnTo>
                    <a:pt x="14" y="1"/>
                  </a:lnTo>
                  <a:lnTo>
                    <a:pt x="11" y="0"/>
                  </a:lnTo>
                  <a:lnTo>
                    <a:pt x="10" y="0"/>
                  </a:lnTo>
                  <a:lnTo>
                    <a:pt x="6" y="5"/>
                  </a:lnTo>
                  <a:lnTo>
                    <a:pt x="5" y="7"/>
                  </a:lnTo>
                  <a:lnTo>
                    <a:pt x="2" y="9"/>
                  </a:lnTo>
                  <a:lnTo>
                    <a:pt x="1" y="11"/>
                  </a:lnTo>
                  <a:lnTo>
                    <a:pt x="0" y="12"/>
                  </a:lnTo>
                  <a:lnTo>
                    <a:pt x="1" y="15"/>
                  </a:lnTo>
                  <a:lnTo>
                    <a:pt x="4" y="18"/>
                  </a:lnTo>
                  <a:lnTo>
                    <a:pt x="6" y="20"/>
                  </a:lnTo>
                  <a:lnTo>
                    <a:pt x="10" y="20"/>
                  </a:lnTo>
                  <a:lnTo>
                    <a:pt x="14" y="19"/>
                  </a:lnTo>
                  <a:lnTo>
                    <a:pt x="16" y="17"/>
                  </a:lnTo>
                  <a:lnTo>
                    <a:pt x="19" y="13"/>
                  </a:lnTo>
                  <a:lnTo>
                    <a:pt x="19" y="8"/>
                  </a:lnTo>
                  <a:lnTo>
                    <a:pt x="1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89" name="Freeform 388"/>
            <p:cNvSpPr>
              <a:spLocks/>
            </p:cNvSpPr>
            <p:nvPr/>
          </p:nvSpPr>
          <p:spPr bwMode="auto">
            <a:xfrm>
              <a:off x="5707063" y="1306517"/>
              <a:ext cx="30162" cy="190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2147483647 h 12"/>
                <a:gd name="T12" fmla="*/ 2147483647 w 20"/>
                <a:gd name="T13" fmla="*/ 0 h 12"/>
                <a:gd name="T14" fmla="*/ 2147483647 w 20"/>
                <a:gd name="T15" fmla="*/ 0 h 12"/>
                <a:gd name="T16" fmla="*/ 2147483647 w 20"/>
                <a:gd name="T17" fmla="*/ 2147483647 h 12"/>
                <a:gd name="T18" fmla="*/ 2147483647 w 20"/>
                <a:gd name="T19" fmla="*/ 2147483647 h 12"/>
                <a:gd name="T20" fmla="*/ 0 w 20"/>
                <a:gd name="T21" fmla="*/ 2147483647 h 12"/>
                <a:gd name="T22" fmla="*/ 0 w 20"/>
                <a:gd name="T23" fmla="*/ 2147483647 h 12"/>
                <a:gd name="T24" fmla="*/ 0 w 20"/>
                <a:gd name="T25" fmla="*/ 2147483647 h 12"/>
                <a:gd name="T26" fmla="*/ 2147483647 w 20"/>
                <a:gd name="T27" fmla="*/ 2147483647 h 12"/>
                <a:gd name="T28" fmla="*/ 2147483647 w 20"/>
                <a:gd name="T29" fmla="*/ 2147483647 h 12"/>
                <a:gd name="T30" fmla="*/ 2147483647 w 20"/>
                <a:gd name="T31" fmla="*/ 2147483647 h 12"/>
                <a:gd name="T32" fmla="*/ 2147483647 w 20"/>
                <a:gd name="T33" fmla="*/ 2147483647 h 12"/>
                <a:gd name="T34" fmla="*/ 2147483647 w 20"/>
                <a:gd name="T35" fmla="*/ 2147483647 h 12"/>
                <a:gd name="T36" fmla="*/ 2147483647 w 20"/>
                <a:gd name="T37" fmla="*/ 2147483647 h 12"/>
                <a:gd name="T38" fmla="*/ 2147483647 w 20"/>
                <a:gd name="T39" fmla="*/ 2147483647 h 12"/>
                <a:gd name="T40" fmla="*/ 2147483647 w 20"/>
                <a:gd name="T41" fmla="*/ 2147483647 h 12"/>
                <a:gd name="T42" fmla="*/ 2147483647 w 20"/>
                <a:gd name="T43" fmla="*/ 2147483647 h 12"/>
                <a:gd name="T44" fmla="*/ 2147483647 w 20"/>
                <a:gd name="T45" fmla="*/ 2147483647 h 12"/>
                <a:gd name="T46" fmla="*/ 2147483647 w 20"/>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12"/>
                <a:gd name="T74" fmla="*/ 20 w 20"/>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12">
                  <a:moveTo>
                    <a:pt x="20" y="7"/>
                  </a:moveTo>
                  <a:lnTo>
                    <a:pt x="20" y="7"/>
                  </a:lnTo>
                  <a:lnTo>
                    <a:pt x="20" y="3"/>
                  </a:lnTo>
                  <a:lnTo>
                    <a:pt x="19" y="2"/>
                  </a:lnTo>
                  <a:lnTo>
                    <a:pt x="17" y="1"/>
                  </a:lnTo>
                  <a:lnTo>
                    <a:pt x="12" y="0"/>
                  </a:lnTo>
                  <a:lnTo>
                    <a:pt x="7" y="0"/>
                  </a:lnTo>
                  <a:lnTo>
                    <a:pt x="2" y="1"/>
                  </a:lnTo>
                  <a:lnTo>
                    <a:pt x="1" y="2"/>
                  </a:lnTo>
                  <a:lnTo>
                    <a:pt x="0" y="3"/>
                  </a:lnTo>
                  <a:lnTo>
                    <a:pt x="0" y="6"/>
                  </a:lnTo>
                  <a:lnTo>
                    <a:pt x="2" y="7"/>
                  </a:lnTo>
                  <a:lnTo>
                    <a:pt x="5" y="8"/>
                  </a:lnTo>
                  <a:lnTo>
                    <a:pt x="7" y="8"/>
                  </a:lnTo>
                  <a:lnTo>
                    <a:pt x="12" y="12"/>
                  </a:lnTo>
                  <a:lnTo>
                    <a:pt x="15" y="12"/>
                  </a:lnTo>
                  <a:lnTo>
                    <a:pt x="17" y="12"/>
                  </a:lnTo>
                  <a:lnTo>
                    <a:pt x="19" y="9"/>
                  </a:lnTo>
                  <a:lnTo>
                    <a:pt x="20"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0" name="Freeform 389"/>
            <p:cNvSpPr>
              <a:spLocks/>
            </p:cNvSpPr>
            <p:nvPr/>
          </p:nvSpPr>
          <p:spPr bwMode="auto">
            <a:xfrm>
              <a:off x="5667376" y="1357312"/>
              <a:ext cx="26988" cy="31751"/>
            </a:xfrm>
            <a:custGeom>
              <a:avLst/>
              <a:gdLst>
                <a:gd name="T0" fmla="*/ 2147483647 w 19"/>
                <a:gd name="T1" fmla="*/ 2147483647 h 20"/>
                <a:gd name="T2" fmla="*/ 2147483647 w 19"/>
                <a:gd name="T3" fmla="*/ 2147483647 h 20"/>
                <a:gd name="T4" fmla="*/ 2147483647 w 19"/>
                <a:gd name="T5" fmla="*/ 2147483647 h 20"/>
                <a:gd name="T6" fmla="*/ 2147483647 w 19"/>
                <a:gd name="T7" fmla="*/ 0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2147483647 w 19"/>
                <a:gd name="T19" fmla="*/ 2147483647 h 20"/>
                <a:gd name="T20" fmla="*/ 2147483647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2147483647 w 19"/>
                <a:gd name="T35" fmla="*/ 2147483647 h 20"/>
                <a:gd name="T36" fmla="*/ 2147483647 w 19"/>
                <a:gd name="T37" fmla="*/ 2147483647 h 20"/>
                <a:gd name="T38" fmla="*/ 2147483647 w 19"/>
                <a:gd name="T39" fmla="*/ 2147483647 h 20"/>
                <a:gd name="T40" fmla="*/ 2147483647 w 19"/>
                <a:gd name="T41" fmla="*/ 2147483647 h 20"/>
                <a:gd name="T42" fmla="*/ 2147483647 w 19"/>
                <a:gd name="T43" fmla="*/ 2147483647 h 20"/>
                <a:gd name="T44" fmla="*/ 2147483647 w 19"/>
                <a:gd name="T45" fmla="*/ 2147483647 h 20"/>
                <a:gd name="T46" fmla="*/ 2147483647 w 19"/>
                <a:gd name="T47" fmla="*/ 2147483647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20"/>
                <a:gd name="T74" fmla="*/ 19 w 19"/>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20">
                  <a:moveTo>
                    <a:pt x="16" y="5"/>
                  </a:moveTo>
                  <a:lnTo>
                    <a:pt x="16" y="5"/>
                  </a:lnTo>
                  <a:lnTo>
                    <a:pt x="14" y="1"/>
                  </a:lnTo>
                  <a:lnTo>
                    <a:pt x="11" y="0"/>
                  </a:lnTo>
                  <a:lnTo>
                    <a:pt x="10" y="0"/>
                  </a:lnTo>
                  <a:lnTo>
                    <a:pt x="6" y="5"/>
                  </a:lnTo>
                  <a:lnTo>
                    <a:pt x="5" y="7"/>
                  </a:lnTo>
                  <a:lnTo>
                    <a:pt x="2" y="9"/>
                  </a:lnTo>
                  <a:lnTo>
                    <a:pt x="1" y="10"/>
                  </a:lnTo>
                  <a:lnTo>
                    <a:pt x="0" y="12"/>
                  </a:lnTo>
                  <a:lnTo>
                    <a:pt x="1" y="15"/>
                  </a:lnTo>
                  <a:lnTo>
                    <a:pt x="3" y="18"/>
                  </a:lnTo>
                  <a:lnTo>
                    <a:pt x="6" y="20"/>
                  </a:lnTo>
                  <a:lnTo>
                    <a:pt x="10" y="20"/>
                  </a:lnTo>
                  <a:lnTo>
                    <a:pt x="14" y="19"/>
                  </a:lnTo>
                  <a:lnTo>
                    <a:pt x="16" y="16"/>
                  </a:lnTo>
                  <a:lnTo>
                    <a:pt x="19" y="13"/>
                  </a:lnTo>
                  <a:lnTo>
                    <a:pt x="19" y="8"/>
                  </a:lnTo>
                  <a:lnTo>
                    <a:pt x="16"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1" name="Freeform 390"/>
            <p:cNvSpPr>
              <a:spLocks/>
            </p:cNvSpPr>
            <p:nvPr/>
          </p:nvSpPr>
          <p:spPr bwMode="auto">
            <a:xfrm>
              <a:off x="5607051" y="1390653"/>
              <a:ext cx="34925" cy="28575"/>
            </a:xfrm>
            <a:custGeom>
              <a:avLst/>
              <a:gdLst>
                <a:gd name="T0" fmla="*/ 2147483647 w 24"/>
                <a:gd name="T1" fmla="*/ 2147483647 h 18"/>
                <a:gd name="T2" fmla="*/ 2147483647 w 24"/>
                <a:gd name="T3" fmla="*/ 2147483647 h 18"/>
                <a:gd name="T4" fmla="*/ 2147483647 w 24"/>
                <a:gd name="T5" fmla="*/ 2147483647 h 18"/>
                <a:gd name="T6" fmla="*/ 2147483647 w 24"/>
                <a:gd name="T7" fmla="*/ 0 h 18"/>
                <a:gd name="T8" fmla="*/ 2147483647 w 24"/>
                <a:gd name="T9" fmla="*/ 0 h 18"/>
                <a:gd name="T10" fmla="*/ 2147483647 w 24"/>
                <a:gd name="T11" fmla="*/ 0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0 w 24"/>
                <a:gd name="T25" fmla="*/ 2147483647 h 18"/>
                <a:gd name="T26" fmla="*/ 0 w 24"/>
                <a:gd name="T27" fmla="*/ 2147483647 h 18"/>
                <a:gd name="T28" fmla="*/ 2147483647 w 24"/>
                <a:gd name="T29" fmla="*/ 2147483647 h 18"/>
                <a:gd name="T30" fmla="*/ 2147483647 w 24"/>
                <a:gd name="T31" fmla="*/ 2147483647 h 18"/>
                <a:gd name="T32" fmla="*/ 2147483647 w 24"/>
                <a:gd name="T33" fmla="*/ 2147483647 h 18"/>
                <a:gd name="T34" fmla="*/ 2147483647 w 24"/>
                <a:gd name="T35" fmla="*/ 2147483647 h 18"/>
                <a:gd name="T36" fmla="*/ 2147483647 w 24"/>
                <a:gd name="T37" fmla="*/ 2147483647 h 18"/>
                <a:gd name="T38" fmla="*/ 2147483647 w 24"/>
                <a:gd name="T39" fmla="*/ 2147483647 h 18"/>
                <a:gd name="T40" fmla="*/ 2147483647 w 24"/>
                <a:gd name="T41" fmla="*/ 2147483647 h 18"/>
                <a:gd name="T42" fmla="*/ 2147483647 w 24"/>
                <a:gd name="T43" fmla="*/ 2147483647 h 18"/>
                <a:gd name="T44" fmla="*/ 2147483647 w 24"/>
                <a:gd name="T45" fmla="*/ 2147483647 h 18"/>
                <a:gd name="T46" fmla="*/ 2147483647 w 24"/>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18"/>
                <a:gd name="T74" fmla="*/ 24 w 24"/>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18">
                  <a:moveTo>
                    <a:pt x="23" y="11"/>
                  </a:moveTo>
                  <a:lnTo>
                    <a:pt x="20" y="8"/>
                  </a:lnTo>
                  <a:lnTo>
                    <a:pt x="20" y="5"/>
                  </a:lnTo>
                  <a:lnTo>
                    <a:pt x="20" y="0"/>
                  </a:lnTo>
                  <a:lnTo>
                    <a:pt x="19" y="0"/>
                  </a:lnTo>
                  <a:lnTo>
                    <a:pt x="18" y="0"/>
                  </a:lnTo>
                  <a:lnTo>
                    <a:pt x="18" y="4"/>
                  </a:lnTo>
                  <a:lnTo>
                    <a:pt x="17" y="5"/>
                  </a:lnTo>
                  <a:lnTo>
                    <a:pt x="14" y="7"/>
                  </a:lnTo>
                  <a:lnTo>
                    <a:pt x="4" y="8"/>
                  </a:lnTo>
                  <a:lnTo>
                    <a:pt x="3" y="10"/>
                  </a:lnTo>
                  <a:lnTo>
                    <a:pt x="1" y="11"/>
                  </a:lnTo>
                  <a:lnTo>
                    <a:pt x="0" y="13"/>
                  </a:lnTo>
                  <a:lnTo>
                    <a:pt x="0" y="16"/>
                  </a:lnTo>
                  <a:lnTo>
                    <a:pt x="3" y="18"/>
                  </a:lnTo>
                  <a:lnTo>
                    <a:pt x="5" y="18"/>
                  </a:lnTo>
                  <a:lnTo>
                    <a:pt x="8" y="17"/>
                  </a:lnTo>
                  <a:lnTo>
                    <a:pt x="10" y="16"/>
                  </a:lnTo>
                  <a:lnTo>
                    <a:pt x="13" y="14"/>
                  </a:lnTo>
                  <a:lnTo>
                    <a:pt x="17" y="14"/>
                  </a:lnTo>
                  <a:lnTo>
                    <a:pt x="20" y="14"/>
                  </a:lnTo>
                  <a:lnTo>
                    <a:pt x="23" y="13"/>
                  </a:lnTo>
                  <a:lnTo>
                    <a:pt x="24" y="12"/>
                  </a:lnTo>
                  <a:lnTo>
                    <a:pt x="23"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2" name="Freeform 391"/>
            <p:cNvSpPr>
              <a:spLocks/>
            </p:cNvSpPr>
            <p:nvPr/>
          </p:nvSpPr>
          <p:spPr bwMode="auto">
            <a:xfrm>
              <a:off x="5753104" y="1257300"/>
              <a:ext cx="47625" cy="26988"/>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0 h 17"/>
                <a:gd name="T12" fmla="*/ 2147483647 w 33"/>
                <a:gd name="T13" fmla="*/ 0 h 17"/>
                <a:gd name="T14" fmla="*/ 2147483647 w 33"/>
                <a:gd name="T15" fmla="*/ 2147483647 h 17"/>
                <a:gd name="T16" fmla="*/ 2147483647 w 33"/>
                <a:gd name="T17" fmla="*/ 2147483647 h 17"/>
                <a:gd name="T18" fmla="*/ 2147483647 w 33"/>
                <a:gd name="T19" fmla="*/ 2147483647 h 17"/>
                <a:gd name="T20" fmla="*/ 2147483647 w 33"/>
                <a:gd name="T21" fmla="*/ 2147483647 h 17"/>
                <a:gd name="T22" fmla="*/ 2147483647 w 33"/>
                <a:gd name="T23" fmla="*/ 2147483647 h 17"/>
                <a:gd name="T24" fmla="*/ 0 w 33"/>
                <a:gd name="T25" fmla="*/ 2147483647 h 17"/>
                <a:gd name="T26" fmla="*/ 0 w 33"/>
                <a:gd name="T27" fmla="*/ 2147483647 h 17"/>
                <a:gd name="T28" fmla="*/ 2147483647 w 33"/>
                <a:gd name="T29" fmla="*/ 2147483647 h 17"/>
                <a:gd name="T30" fmla="*/ 2147483647 w 33"/>
                <a:gd name="T31" fmla="*/ 2147483647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17"/>
                <a:gd name="T74" fmla="*/ 33 w 33"/>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17">
                  <a:moveTo>
                    <a:pt x="33" y="7"/>
                  </a:moveTo>
                  <a:lnTo>
                    <a:pt x="32" y="6"/>
                  </a:lnTo>
                  <a:lnTo>
                    <a:pt x="31" y="5"/>
                  </a:lnTo>
                  <a:lnTo>
                    <a:pt x="27" y="3"/>
                  </a:lnTo>
                  <a:lnTo>
                    <a:pt x="23" y="2"/>
                  </a:lnTo>
                  <a:lnTo>
                    <a:pt x="21" y="0"/>
                  </a:lnTo>
                  <a:lnTo>
                    <a:pt x="19" y="0"/>
                  </a:lnTo>
                  <a:lnTo>
                    <a:pt x="17" y="2"/>
                  </a:lnTo>
                  <a:lnTo>
                    <a:pt x="14" y="3"/>
                  </a:lnTo>
                  <a:lnTo>
                    <a:pt x="9" y="5"/>
                  </a:lnTo>
                  <a:lnTo>
                    <a:pt x="4" y="6"/>
                  </a:lnTo>
                  <a:lnTo>
                    <a:pt x="2" y="7"/>
                  </a:lnTo>
                  <a:lnTo>
                    <a:pt x="0" y="8"/>
                  </a:lnTo>
                  <a:lnTo>
                    <a:pt x="0" y="11"/>
                  </a:lnTo>
                  <a:lnTo>
                    <a:pt x="2" y="12"/>
                  </a:lnTo>
                  <a:lnTo>
                    <a:pt x="4" y="14"/>
                  </a:lnTo>
                  <a:lnTo>
                    <a:pt x="9" y="15"/>
                  </a:lnTo>
                  <a:lnTo>
                    <a:pt x="14" y="17"/>
                  </a:lnTo>
                  <a:lnTo>
                    <a:pt x="21" y="17"/>
                  </a:lnTo>
                  <a:lnTo>
                    <a:pt x="27" y="15"/>
                  </a:lnTo>
                  <a:lnTo>
                    <a:pt x="30" y="14"/>
                  </a:lnTo>
                  <a:lnTo>
                    <a:pt x="32" y="13"/>
                  </a:lnTo>
                  <a:lnTo>
                    <a:pt x="33" y="11"/>
                  </a:lnTo>
                  <a:lnTo>
                    <a:pt x="33"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3" name="Freeform 392"/>
            <p:cNvSpPr>
              <a:spLocks/>
            </p:cNvSpPr>
            <p:nvPr/>
          </p:nvSpPr>
          <p:spPr bwMode="auto">
            <a:xfrm>
              <a:off x="5605463" y="1389064"/>
              <a:ext cx="34925" cy="28575"/>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0 h 18"/>
                <a:gd name="T10" fmla="*/ 2147483647 w 24"/>
                <a:gd name="T11" fmla="*/ 0 h 18"/>
                <a:gd name="T12" fmla="*/ 2147483647 w 24"/>
                <a:gd name="T13" fmla="*/ 0 h 18"/>
                <a:gd name="T14" fmla="*/ 2147483647 w 24"/>
                <a:gd name="T15" fmla="*/ 0 h 18"/>
                <a:gd name="T16" fmla="*/ 2147483647 w 24"/>
                <a:gd name="T17" fmla="*/ 0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0 w 24"/>
                <a:gd name="T33" fmla="*/ 2147483647 h 18"/>
                <a:gd name="T34" fmla="*/ 0 w 24"/>
                <a:gd name="T35" fmla="*/ 2147483647 h 18"/>
                <a:gd name="T36" fmla="*/ 0 w 24"/>
                <a:gd name="T37" fmla="*/ 2147483647 h 18"/>
                <a:gd name="T38" fmla="*/ 2147483647 w 24"/>
                <a:gd name="T39" fmla="*/ 2147483647 h 18"/>
                <a:gd name="T40" fmla="*/ 2147483647 w 24"/>
                <a:gd name="T41" fmla="*/ 2147483647 h 18"/>
                <a:gd name="T42" fmla="*/ 2147483647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2147483647 w 24"/>
                <a:gd name="T53" fmla="*/ 2147483647 h 18"/>
                <a:gd name="T54" fmla="*/ 2147483647 w 24"/>
                <a:gd name="T55" fmla="*/ 2147483647 h 18"/>
                <a:gd name="T56" fmla="*/ 2147483647 w 24"/>
                <a:gd name="T57" fmla="*/ 2147483647 h 18"/>
                <a:gd name="T58" fmla="*/ 2147483647 w 24"/>
                <a:gd name="T59" fmla="*/ 2147483647 h 18"/>
                <a:gd name="T60" fmla="*/ 2147483647 w 24"/>
                <a:gd name="T61" fmla="*/ 2147483647 h 18"/>
                <a:gd name="T62" fmla="*/ 2147483647 w 24"/>
                <a:gd name="T63" fmla="*/ 2147483647 h 18"/>
                <a:gd name="T64" fmla="*/ 2147483647 w 24"/>
                <a:gd name="T65" fmla="*/ 2147483647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18"/>
                <a:gd name="T101" fmla="*/ 24 w 24"/>
                <a:gd name="T102" fmla="*/ 18 h 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18">
                  <a:moveTo>
                    <a:pt x="23" y="11"/>
                  </a:moveTo>
                  <a:lnTo>
                    <a:pt x="23" y="11"/>
                  </a:lnTo>
                  <a:lnTo>
                    <a:pt x="20" y="8"/>
                  </a:lnTo>
                  <a:lnTo>
                    <a:pt x="20" y="5"/>
                  </a:lnTo>
                  <a:lnTo>
                    <a:pt x="20" y="0"/>
                  </a:lnTo>
                  <a:lnTo>
                    <a:pt x="19" y="0"/>
                  </a:lnTo>
                  <a:lnTo>
                    <a:pt x="18" y="0"/>
                  </a:lnTo>
                  <a:lnTo>
                    <a:pt x="18" y="3"/>
                  </a:lnTo>
                  <a:lnTo>
                    <a:pt x="16" y="5"/>
                  </a:lnTo>
                  <a:lnTo>
                    <a:pt x="14" y="7"/>
                  </a:lnTo>
                  <a:lnTo>
                    <a:pt x="4" y="8"/>
                  </a:lnTo>
                  <a:lnTo>
                    <a:pt x="2" y="9"/>
                  </a:lnTo>
                  <a:lnTo>
                    <a:pt x="1" y="11"/>
                  </a:lnTo>
                  <a:lnTo>
                    <a:pt x="0" y="13"/>
                  </a:lnTo>
                  <a:lnTo>
                    <a:pt x="0" y="15"/>
                  </a:lnTo>
                  <a:lnTo>
                    <a:pt x="2" y="18"/>
                  </a:lnTo>
                  <a:lnTo>
                    <a:pt x="5" y="18"/>
                  </a:lnTo>
                  <a:lnTo>
                    <a:pt x="7" y="17"/>
                  </a:lnTo>
                  <a:lnTo>
                    <a:pt x="10" y="15"/>
                  </a:lnTo>
                  <a:lnTo>
                    <a:pt x="12" y="14"/>
                  </a:lnTo>
                  <a:lnTo>
                    <a:pt x="16" y="14"/>
                  </a:lnTo>
                  <a:lnTo>
                    <a:pt x="20" y="14"/>
                  </a:lnTo>
                  <a:lnTo>
                    <a:pt x="23" y="13"/>
                  </a:lnTo>
                  <a:lnTo>
                    <a:pt x="24" y="12"/>
                  </a:lnTo>
                  <a:lnTo>
                    <a:pt x="23"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4" name="Freeform 393"/>
            <p:cNvSpPr>
              <a:spLocks/>
            </p:cNvSpPr>
            <p:nvPr/>
          </p:nvSpPr>
          <p:spPr bwMode="auto">
            <a:xfrm>
              <a:off x="5751515" y="1255713"/>
              <a:ext cx="49212" cy="25400"/>
            </a:xfrm>
            <a:custGeom>
              <a:avLst/>
              <a:gdLst>
                <a:gd name="T0" fmla="*/ 2147483647 w 33"/>
                <a:gd name="T1" fmla="*/ 2147483647 h 16"/>
                <a:gd name="T2" fmla="*/ 2147483647 w 33"/>
                <a:gd name="T3" fmla="*/ 2147483647 h 16"/>
                <a:gd name="T4" fmla="*/ 2147483647 w 33"/>
                <a:gd name="T5" fmla="*/ 2147483647 h 16"/>
                <a:gd name="T6" fmla="*/ 2147483647 w 33"/>
                <a:gd name="T7" fmla="*/ 2147483647 h 16"/>
                <a:gd name="T8" fmla="*/ 2147483647 w 33"/>
                <a:gd name="T9" fmla="*/ 2147483647 h 16"/>
                <a:gd name="T10" fmla="*/ 2147483647 w 33"/>
                <a:gd name="T11" fmla="*/ 2147483647 h 16"/>
                <a:gd name="T12" fmla="*/ 2147483647 w 33"/>
                <a:gd name="T13" fmla="*/ 2147483647 h 16"/>
                <a:gd name="T14" fmla="*/ 2147483647 w 33"/>
                <a:gd name="T15" fmla="*/ 0 h 16"/>
                <a:gd name="T16" fmla="*/ 2147483647 w 33"/>
                <a:gd name="T17" fmla="*/ 0 h 16"/>
                <a:gd name="T18" fmla="*/ 2147483647 w 33"/>
                <a:gd name="T19" fmla="*/ 0 h 16"/>
                <a:gd name="T20" fmla="*/ 2147483647 w 33"/>
                <a:gd name="T21" fmla="*/ 2147483647 h 16"/>
                <a:gd name="T22" fmla="*/ 2147483647 w 33"/>
                <a:gd name="T23" fmla="*/ 2147483647 h 16"/>
                <a:gd name="T24" fmla="*/ 2147483647 w 33"/>
                <a:gd name="T25" fmla="*/ 2147483647 h 16"/>
                <a:gd name="T26" fmla="*/ 2147483647 w 33"/>
                <a:gd name="T27" fmla="*/ 2147483647 h 16"/>
                <a:gd name="T28" fmla="*/ 2147483647 w 33"/>
                <a:gd name="T29" fmla="*/ 2147483647 h 16"/>
                <a:gd name="T30" fmla="*/ 0 w 33"/>
                <a:gd name="T31" fmla="*/ 2147483647 h 16"/>
                <a:gd name="T32" fmla="*/ 0 w 33"/>
                <a:gd name="T33" fmla="*/ 2147483647 h 16"/>
                <a:gd name="T34" fmla="*/ 0 w 33"/>
                <a:gd name="T35" fmla="*/ 2147483647 h 16"/>
                <a:gd name="T36" fmla="*/ 2147483647 w 33"/>
                <a:gd name="T37" fmla="*/ 2147483647 h 16"/>
                <a:gd name="T38" fmla="*/ 2147483647 w 33"/>
                <a:gd name="T39" fmla="*/ 2147483647 h 16"/>
                <a:gd name="T40" fmla="*/ 2147483647 w 33"/>
                <a:gd name="T41" fmla="*/ 2147483647 h 16"/>
                <a:gd name="T42" fmla="*/ 2147483647 w 33"/>
                <a:gd name="T43" fmla="*/ 2147483647 h 16"/>
                <a:gd name="T44" fmla="*/ 2147483647 w 33"/>
                <a:gd name="T45" fmla="*/ 2147483647 h 16"/>
                <a:gd name="T46" fmla="*/ 2147483647 w 33"/>
                <a:gd name="T47" fmla="*/ 2147483647 h 16"/>
                <a:gd name="T48" fmla="*/ 2147483647 w 33"/>
                <a:gd name="T49" fmla="*/ 2147483647 h 16"/>
                <a:gd name="T50" fmla="*/ 2147483647 w 33"/>
                <a:gd name="T51" fmla="*/ 2147483647 h 16"/>
                <a:gd name="T52" fmla="*/ 2147483647 w 33"/>
                <a:gd name="T53" fmla="*/ 2147483647 h 16"/>
                <a:gd name="T54" fmla="*/ 2147483647 w 33"/>
                <a:gd name="T55" fmla="*/ 2147483647 h 16"/>
                <a:gd name="T56" fmla="*/ 2147483647 w 33"/>
                <a:gd name="T57" fmla="*/ 2147483647 h 16"/>
                <a:gd name="T58" fmla="*/ 2147483647 w 33"/>
                <a:gd name="T59" fmla="*/ 2147483647 h 16"/>
                <a:gd name="T60" fmla="*/ 2147483647 w 33"/>
                <a:gd name="T61" fmla="*/ 2147483647 h 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6"/>
                <a:gd name="T95" fmla="*/ 33 w 33"/>
                <a:gd name="T96" fmla="*/ 16 h 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6">
                  <a:moveTo>
                    <a:pt x="33" y="7"/>
                  </a:moveTo>
                  <a:lnTo>
                    <a:pt x="33" y="7"/>
                  </a:lnTo>
                  <a:lnTo>
                    <a:pt x="32" y="6"/>
                  </a:lnTo>
                  <a:lnTo>
                    <a:pt x="31" y="4"/>
                  </a:lnTo>
                  <a:lnTo>
                    <a:pt x="27" y="3"/>
                  </a:lnTo>
                  <a:lnTo>
                    <a:pt x="23" y="2"/>
                  </a:lnTo>
                  <a:lnTo>
                    <a:pt x="20" y="0"/>
                  </a:lnTo>
                  <a:lnTo>
                    <a:pt x="19" y="0"/>
                  </a:lnTo>
                  <a:lnTo>
                    <a:pt x="17" y="2"/>
                  </a:lnTo>
                  <a:lnTo>
                    <a:pt x="14" y="3"/>
                  </a:lnTo>
                  <a:lnTo>
                    <a:pt x="9" y="4"/>
                  </a:lnTo>
                  <a:lnTo>
                    <a:pt x="4" y="6"/>
                  </a:lnTo>
                  <a:lnTo>
                    <a:pt x="1" y="7"/>
                  </a:lnTo>
                  <a:lnTo>
                    <a:pt x="0" y="8"/>
                  </a:lnTo>
                  <a:lnTo>
                    <a:pt x="0" y="10"/>
                  </a:lnTo>
                  <a:lnTo>
                    <a:pt x="1" y="12"/>
                  </a:lnTo>
                  <a:lnTo>
                    <a:pt x="4" y="14"/>
                  </a:lnTo>
                  <a:lnTo>
                    <a:pt x="9" y="15"/>
                  </a:lnTo>
                  <a:lnTo>
                    <a:pt x="14" y="16"/>
                  </a:lnTo>
                  <a:lnTo>
                    <a:pt x="20" y="16"/>
                  </a:lnTo>
                  <a:lnTo>
                    <a:pt x="27" y="15"/>
                  </a:lnTo>
                  <a:lnTo>
                    <a:pt x="29" y="14"/>
                  </a:lnTo>
                  <a:lnTo>
                    <a:pt x="32" y="13"/>
                  </a:lnTo>
                  <a:lnTo>
                    <a:pt x="33" y="10"/>
                  </a:lnTo>
                  <a:lnTo>
                    <a:pt x="33"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5" name="Freeform 394"/>
            <p:cNvSpPr>
              <a:spLocks/>
            </p:cNvSpPr>
            <p:nvPr/>
          </p:nvSpPr>
          <p:spPr bwMode="auto">
            <a:xfrm>
              <a:off x="5526089" y="1296992"/>
              <a:ext cx="120650" cy="96837"/>
            </a:xfrm>
            <a:custGeom>
              <a:avLst/>
              <a:gdLst>
                <a:gd name="T0" fmla="*/ 2147483647 w 82"/>
                <a:gd name="T1" fmla="*/ 2147483647 h 61"/>
                <a:gd name="T2" fmla="*/ 2147483647 w 82"/>
                <a:gd name="T3" fmla="*/ 2147483647 h 61"/>
                <a:gd name="T4" fmla="*/ 2147483647 w 82"/>
                <a:gd name="T5" fmla="*/ 2147483647 h 61"/>
                <a:gd name="T6" fmla="*/ 2147483647 w 82"/>
                <a:gd name="T7" fmla="*/ 2147483647 h 61"/>
                <a:gd name="T8" fmla="*/ 2147483647 w 82"/>
                <a:gd name="T9" fmla="*/ 2147483647 h 61"/>
                <a:gd name="T10" fmla="*/ 2147483647 w 82"/>
                <a:gd name="T11" fmla="*/ 2147483647 h 61"/>
                <a:gd name="T12" fmla="*/ 2147483647 w 82"/>
                <a:gd name="T13" fmla="*/ 2147483647 h 61"/>
                <a:gd name="T14" fmla="*/ 2147483647 w 82"/>
                <a:gd name="T15" fmla="*/ 0 h 61"/>
                <a:gd name="T16" fmla="*/ 2147483647 w 82"/>
                <a:gd name="T17" fmla="*/ 2147483647 h 61"/>
                <a:gd name="T18" fmla="*/ 2147483647 w 82"/>
                <a:gd name="T19" fmla="*/ 2147483647 h 61"/>
                <a:gd name="T20" fmla="*/ 2147483647 w 82"/>
                <a:gd name="T21" fmla="*/ 2147483647 h 61"/>
                <a:gd name="T22" fmla="*/ 2147483647 w 82"/>
                <a:gd name="T23" fmla="*/ 2147483647 h 61"/>
                <a:gd name="T24" fmla="*/ 2147483647 w 82"/>
                <a:gd name="T25" fmla="*/ 2147483647 h 61"/>
                <a:gd name="T26" fmla="*/ 2147483647 w 82"/>
                <a:gd name="T27" fmla="*/ 2147483647 h 61"/>
                <a:gd name="T28" fmla="*/ 2147483647 w 82"/>
                <a:gd name="T29" fmla="*/ 2147483647 h 61"/>
                <a:gd name="T30" fmla="*/ 2147483647 w 82"/>
                <a:gd name="T31" fmla="*/ 2147483647 h 61"/>
                <a:gd name="T32" fmla="*/ 2147483647 w 82"/>
                <a:gd name="T33" fmla="*/ 2147483647 h 61"/>
                <a:gd name="T34" fmla="*/ 2147483647 w 82"/>
                <a:gd name="T35" fmla="*/ 2147483647 h 61"/>
                <a:gd name="T36" fmla="*/ 2147483647 w 82"/>
                <a:gd name="T37" fmla="*/ 2147483647 h 61"/>
                <a:gd name="T38" fmla="*/ 2147483647 w 82"/>
                <a:gd name="T39" fmla="*/ 2147483647 h 61"/>
                <a:gd name="T40" fmla="*/ 2147483647 w 82"/>
                <a:gd name="T41" fmla="*/ 2147483647 h 61"/>
                <a:gd name="T42" fmla="*/ 2147483647 w 82"/>
                <a:gd name="T43" fmla="*/ 2147483647 h 61"/>
                <a:gd name="T44" fmla="*/ 2147483647 w 82"/>
                <a:gd name="T45" fmla="*/ 2147483647 h 61"/>
                <a:gd name="T46" fmla="*/ 2147483647 w 82"/>
                <a:gd name="T47" fmla="*/ 2147483647 h 61"/>
                <a:gd name="T48" fmla="*/ 2147483647 w 82"/>
                <a:gd name="T49" fmla="*/ 2147483647 h 61"/>
                <a:gd name="T50" fmla="*/ 2147483647 w 82"/>
                <a:gd name="T51" fmla="*/ 2147483647 h 61"/>
                <a:gd name="T52" fmla="*/ 2147483647 w 82"/>
                <a:gd name="T53" fmla="*/ 2147483647 h 61"/>
                <a:gd name="T54" fmla="*/ 2147483647 w 82"/>
                <a:gd name="T55" fmla="*/ 2147483647 h 61"/>
                <a:gd name="T56" fmla="*/ 2147483647 w 82"/>
                <a:gd name="T57" fmla="*/ 2147483647 h 61"/>
                <a:gd name="T58" fmla="*/ 2147483647 w 82"/>
                <a:gd name="T59" fmla="*/ 2147483647 h 61"/>
                <a:gd name="T60" fmla="*/ 2147483647 w 82"/>
                <a:gd name="T61" fmla="*/ 2147483647 h 61"/>
                <a:gd name="T62" fmla="*/ 2147483647 w 82"/>
                <a:gd name="T63" fmla="*/ 2147483647 h 61"/>
                <a:gd name="T64" fmla="*/ 2147483647 w 82"/>
                <a:gd name="T65" fmla="*/ 2147483647 h 61"/>
                <a:gd name="T66" fmla="*/ 2147483647 w 82"/>
                <a:gd name="T67" fmla="*/ 2147483647 h 61"/>
                <a:gd name="T68" fmla="*/ 2147483647 w 82"/>
                <a:gd name="T69" fmla="*/ 2147483647 h 61"/>
                <a:gd name="T70" fmla="*/ 2147483647 w 82"/>
                <a:gd name="T71" fmla="*/ 2147483647 h 61"/>
                <a:gd name="T72" fmla="*/ 2147483647 w 82"/>
                <a:gd name="T73" fmla="*/ 2147483647 h 61"/>
                <a:gd name="T74" fmla="*/ 2147483647 w 82"/>
                <a:gd name="T75" fmla="*/ 2147483647 h 61"/>
                <a:gd name="T76" fmla="*/ 2147483647 w 82"/>
                <a:gd name="T77" fmla="*/ 2147483647 h 61"/>
                <a:gd name="T78" fmla="*/ 2147483647 w 82"/>
                <a:gd name="T79" fmla="*/ 2147483647 h 61"/>
                <a:gd name="T80" fmla="*/ 2147483647 w 82"/>
                <a:gd name="T81" fmla="*/ 2147483647 h 61"/>
                <a:gd name="T82" fmla="*/ 2147483647 w 82"/>
                <a:gd name="T83" fmla="*/ 2147483647 h 61"/>
                <a:gd name="T84" fmla="*/ 2147483647 w 82"/>
                <a:gd name="T85" fmla="*/ 2147483647 h 61"/>
                <a:gd name="T86" fmla="*/ 2147483647 w 82"/>
                <a:gd name="T87" fmla="*/ 2147483647 h 61"/>
                <a:gd name="T88" fmla="*/ 2147483647 w 82"/>
                <a:gd name="T89" fmla="*/ 2147483647 h 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2"/>
                <a:gd name="T136" fmla="*/ 0 h 61"/>
                <a:gd name="T137" fmla="*/ 82 w 82"/>
                <a:gd name="T138" fmla="*/ 61 h 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2" h="61">
                  <a:moveTo>
                    <a:pt x="80" y="26"/>
                  </a:moveTo>
                  <a:lnTo>
                    <a:pt x="79" y="24"/>
                  </a:lnTo>
                  <a:lnTo>
                    <a:pt x="78" y="22"/>
                  </a:lnTo>
                  <a:lnTo>
                    <a:pt x="75" y="22"/>
                  </a:lnTo>
                  <a:lnTo>
                    <a:pt x="72" y="24"/>
                  </a:lnTo>
                  <a:lnTo>
                    <a:pt x="68" y="24"/>
                  </a:lnTo>
                  <a:lnTo>
                    <a:pt x="66" y="22"/>
                  </a:lnTo>
                  <a:lnTo>
                    <a:pt x="66" y="20"/>
                  </a:lnTo>
                  <a:lnTo>
                    <a:pt x="69" y="18"/>
                  </a:lnTo>
                  <a:lnTo>
                    <a:pt x="70" y="15"/>
                  </a:lnTo>
                  <a:lnTo>
                    <a:pt x="74" y="9"/>
                  </a:lnTo>
                  <a:lnTo>
                    <a:pt x="78" y="3"/>
                  </a:lnTo>
                  <a:lnTo>
                    <a:pt x="78" y="2"/>
                  </a:lnTo>
                  <a:lnTo>
                    <a:pt x="78" y="1"/>
                  </a:lnTo>
                  <a:lnTo>
                    <a:pt x="77" y="0"/>
                  </a:lnTo>
                  <a:lnTo>
                    <a:pt x="75" y="0"/>
                  </a:lnTo>
                  <a:lnTo>
                    <a:pt x="73" y="2"/>
                  </a:lnTo>
                  <a:lnTo>
                    <a:pt x="72" y="5"/>
                  </a:lnTo>
                  <a:lnTo>
                    <a:pt x="69" y="6"/>
                  </a:lnTo>
                  <a:lnTo>
                    <a:pt x="68" y="5"/>
                  </a:lnTo>
                  <a:lnTo>
                    <a:pt x="66" y="3"/>
                  </a:lnTo>
                  <a:lnTo>
                    <a:pt x="65" y="3"/>
                  </a:lnTo>
                  <a:lnTo>
                    <a:pt x="63" y="3"/>
                  </a:lnTo>
                  <a:lnTo>
                    <a:pt x="61" y="5"/>
                  </a:lnTo>
                  <a:lnTo>
                    <a:pt x="59" y="9"/>
                  </a:lnTo>
                  <a:lnTo>
                    <a:pt x="58" y="9"/>
                  </a:lnTo>
                  <a:lnTo>
                    <a:pt x="56" y="9"/>
                  </a:lnTo>
                  <a:lnTo>
                    <a:pt x="54" y="8"/>
                  </a:lnTo>
                  <a:lnTo>
                    <a:pt x="52" y="8"/>
                  </a:lnTo>
                  <a:lnTo>
                    <a:pt x="51" y="11"/>
                  </a:lnTo>
                  <a:lnTo>
                    <a:pt x="51" y="13"/>
                  </a:lnTo>
                  <a:lnTo>
                    <a:pt x="51" y="15"/>
                  </a:lnTo>
                  <a:lnTo>
                    <a:pt x="51" y="16"/>
                  </a:lnTo>
                  <a:lnTo>
                    <a:pt x="46" y="19"/>
                  </a:lnTo>
                  <a:lnTo>
                    <a:pt x="40" y="21"/>
                  </a:lnTo>
                  <a:lnTo>
                    <a:pt x="33" y="22"/>
                  </a:lnTo>
                  <a:lnTo>
                    <a:pt x="27" y="25"/>
                  </a:lnTo>
                  <a:lnTo>
                    <a:pt x="22" y="26"/>
                  </a:lnTo>
                  <a:lnTo>
                    <a:pt x="17" y="25"/>
                  </a:lnTo>
                  <a:lnTo>
                    <a:pt x="12" y="24"/>
                  </a:lnTo>
                  <a:lnTo>
                    <a:pt x="7" y="25"/>
                  </a:lnTo>
                  <a:lnTo>
                    <a:pt x="2" y="27"/>
                  </a:lnTo>
                  <a:lnTo>
                    <a:pt x="0" y="28"/>
                  </a:lnTo>
                  <a:lnTo>
                    <a:pt x="2" y="29"/>
                  </a:lnTo>
                  <a:lnTo>
                    <a:pt x="4" y="31"/>
                  </a:lnTo>
                  <a:lnTo>
                    <a:pt x="9" y="31"/>
                  </a:lnTo>
                  <a:lnTo>
                    <a:pt x="11" y="33"/>
                  </a:lnTo>
                  <a:lnTo>
                    <a:pt x="12" y="34"/>
                  </a:lnTo>
                  <a:lnTo>
                    <a:pt x="11" y="41"/>
                  </a:lnTo>
                  <a:lnTo>
                    <a:pt x="8" y="47"/>
                  </a:lnTo>
                  <a:lnTo>
                    <a:pt x="7" y="53"/>
                  </a:lnTo>
                  <a:lnTo>
                    <a:pt x="7" y="57"/>
                  </a:lnTo>
                  <a:lnTo>
                    <a:pt x="8" y="60"/>
                  </a:lnTo>
                  <a:lnTo>
                    <a:pt x="9" y="61"/>
                  </a:lnTo>
                  <a:lnTo>
                    <a:pt x="11" y="60"/>
                  </a:lnTo>
                  <a:lnTo>
                    <a:pt x="13" y="58"/>
                  </a:lnTo>
                  <a:lnTo>
                    <a:pt x="14" y="58"/>
                  </a:lnTo>
                  <a:lnTo>
                    <a:pt x="16" y="58"/>
                  </a:lnTo>
                  <a:lnTo>
                    <a:pt x="17" y="59"/>
                  </a:lnTo>
                  <a:lnTo>
                    <a:pt x="17" y="61"/>
                  </a:lnTo>
                  <a:lnTo>
                    <a:pt x="19" y="61"/>
                  </a:lnTo>
                  <a:lnTo>
                    <a:pt x="22" y="59"/>
                  </a:lnTo>
                  <a:lnTo>
                    <a:pt x="26" y="58"/>
                  </a:lnTo>
                  <a:lnTo>
                    <a:pt x="35" y="57"/>
                  </a:lnTo>
                  <a:lnTo>
                    <a:pt x="37" y="56"/>
                  </a:lnTo>
                  <a:lnTo>
                    <a:pt x="39" y="54"/>
                  </a:lnTo>
                  <a:lnTo>
                    <a:pt x="39" y="51"/>
                  </a:lnTo>
                  <a:lnTo>
                    <a:pt x="39" y="47"/>
                  </a:lnTo>
                  <a:lnTo>
                    <a:pt x="39" y="44"/>
                  </a:lnTo>
                  <a:lnTo>
                    <a:pt x="40" y="43"/>
                  </a:lnTo>
                  <a:lnTo>
                    <a:pt x="42" y="44"/>
                  </a:lnTo>
                  <a:lnTo>
                    <a:pt x="45" y="47"/>
                  </a:lnTo>
                  <a:lnTo>
                    <a:pt x="46" y="48"/>
                  </a:lnTo>
                  <a:lnTo>
                    <a:pt x="47" y="48"/>
                  </a:lnTo>
                  <a:lnTo>
                    <a:pt x="54" y="46"/>
                  </a:lnTo>
                  <a:lnTo>
                    <a:pt x="60" y="45"/>
                  </a:lnTo>
                  <a:lnTo>
                    <a:pt x="65" y="45"/>
                  </a:lnTo>
                  <a:lnTo>
                    <a:pt x="70" y="43"/>
                  </a:lnTo>
                  <a:lnTo>
                    <a:pt x="70" y="41"/>
                  </a:lnTo>
                  <a:lnTo>
                    <a:pt x="70" y="40"/>
                  </a:lnTo>
                  <a:lnTo>
                    <a:pt x="68" y="37"/>
                  </a:lnTo>
                  <a:lnTo>
                    <a:pt x="68" y="34"/>
                  </a:lnTo>
                  <a:lnTo>
                    <a:pt x="68" y="32"/>
                  </a:lnTo>
                  <a:lnTo>
                    <a:pt x="69" y="32"/>
                  </a:lnTo>
                  <a:lnTo>
                    <a:pt x="72" y="32"/>
                  </a:lnTo>
                  <a:lnTo>
                    <a:pt x="74" y="33"/>
                  </a:lnTo>
                  <a:lnTo>
                    <a:pt x="77" y="33"/>
                  </a:lnTo>
                  <a:lnTo>
                    <a:pt x="79" y="33"/>
                  </a:lnTo>
                  <a:lnTo>
                    <a:pt x="82" y="31"/>
                  </a:lnTo>
                  <a:lnTo>
                    <a:pt x="82" y="29"/>
                  </a:lnTo>
                  <a:lnTo>
                    <a:pt x="80"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6" name="Freeform 395"/>
            <p:cNvSpPr>
              <a:spLocks/>
            </p:cNvSpPr>
            <p:nvPr/>
          </p:nvSpPr>
          <p:spPr bwMode="auto">
            <a:xfrm>
              <a:off x="5418138" y="1306517"/>
              <a:ext cx="138112" cy="65087"/>
            </a:xfrm>
            <a:custGeom>
              <a:avLst/>
              <a:gdLst>
                <a:gd name="T0" fmla="*/ 2147483647 w 95"/>
                <a:gd name="T1" fmla="*/ 2147483647 h 41"/>
                <a:gd name="T2" fmla="*/ 2147483647 w 95"/>
                <a:gd name="T3" fmla="*/ 2147483647 h 41"/>
                <a:gd name="T4" fmla="*/ 2147483647 w 95"/>
                <a:gd name="T5" fmla="*/ 2147483647 h 41"/>
                <a:gd name="T6" fmla="*/ 2147483647 w 95"/>
                <a:gd name="T7" fmla="*/ 2147483647 h 41"/>
                <a:gd name="T8" fmla="*/ 2147483647 w 95"/>
                <a:gd name="T9" fmla="*/ 2147483647 h 41"/>
                <a:gd name="T10" fmla="*/ 2147483647 w 95"/>
                <a:gd name="T11" fmla="*/ 0 h 41"/>
                <a:gd name="T12" fmla="*/ 2147483647 w 95"/>
                <a:gd name="T13" fmla="*/ 0 h 41"/>
                <a:gd name="T14" fmla="*/ 2147483647 w 95"/>
                <a:gd name="T15" fmla="*/ 2147483647 h 41"/>
                <a:gd name="T16" fmla="*/ 2147483647 w 95"/>
                <a:gd name="T17" fmla="*/ 2147483647 h 41"/>
                <a:gd name="T18" fmla="*/ 2147483647 w 95"/>
                <a:gd name="T19" fmla="*/ 2147483647 h 41"/>
                <a:gd name="T20" fmla="*/ 2147483647 w 95"/>
                <a:gd name="T21" fmla="*/ 2147483647 h 41"/>
                <a:gd name="T22" fmla="*/ 2147483647 w 95"/>
                <a:gd name="T23" fmla="*/ 2147483647 h 41"/>
                <a:gd name="T24" fmla="*/ 0 w 95"/>
                <a:gd name="T25" fmla="*/ 2147483647 h 41"/>
                <a:gd name="T26" fmla="*/ 0 w 95"/>
                <a:gd name="T27" fmla="*/ 2147483647 h 41"/>
                <a:gd name="T28" fmla="*/ 2147483647 w 95"/>
                <a:gd name="T29" fmla="*/ 2147483647 h 41"/>
                <a:gd name="T30" fmla="*/ 2147483647 w 95"/>
                <a:gd name="T31" fmla="*/ 2147483647 h 41"/>
                <a:gd name="T32" fmla="*/ 2147483647 w 95"/>
                <a:gd name="T33" fmla="*/ 2147483647 h 41"/>
                <a:gd name="T34" fmla="*/ 2147483647 w 95"/>
                <a:gd name="T35" fmla="*/ 2147483647 h 41"/>
                <a:gd name="T36" fmla="*/ 2147483647 w 95"/>
                <a:gd name="T37" fmla="*/ 2147483647 h 41"/>
                <a:gd name="T38" fmla="*/ 2147483647 w 95"/>
                <a:gd name="T39" fmla="*/ 2147483647 h 41"/>
                <a:gd name="T40" fmla="*/ 2147483647 w 95"/>
                <a:gd name="T41" fmla="*/ 2147483647 h 41"/>
                <a:gd name="T42" fmla="*/ 2147483647 w 95"/>
                <a:gd name="T43" fmla="*/ 2147483647 h 41"/>
                <a:gd name="T44" fmla="*/ 2147483647 w 95"/>
                <a:gd name="T45" fmla="*/ 2147483647 h 41"/>
                <a:gd name="T46" fmla="*/ 2147483647 w 95"/>
                <a:gd name="T47" fmla="*/ 2147483647 h 41"/>
                <a:gd name="T48" fmla="*/ 2147483647 w 95"/>
                <a:gd name="T49" fmla="*/ 2147483647 h 41"/>
                <a:gd name="T50" fmla="*/ 2147483647 w 95"/>
                <a:gd name="T51" fmla="*/ 2147483647 h 41"/>
                <a:gd name="T52" fmla="*/ 2147483647 w 95"/>
                <a:gd name="T53" fmla="*/ 2147483647 h 41"/>
                <a:gd name="T54" fmla="*/ 2147483647 w 95"/>
                <a:gd name="T55" fmla="*/ 2147483647 h 41"/>
                <a:gd name="T56" fmla="*/ 2147483647 w 95"/>
                <a:gd name="T57" fmla="*/ 2147483647 h 41"/>
                <a:gd name="T58" fmla="*/ 2147483647 w 95"/>
                <a:gd name="T59" fmla="*/ 2147483647 h 41"/>
                <a:gd name="T60" fmla="*/ 2147483647 w 95"/>
                <a:gd name="T61" fmla="*/ 2147483647 h 41"/>
                <a:gd name="T62" fmla="*/ 2147483647 w 95"/>
                <a:gd name="T63" fmla="*/ 2147483647 h 41"/>
                <a:gd name="T64" fmla="*/ 2147483647 w 95"/>
                <a:gd name="T65" fmla="*/ 2147483647 h 41"/>
                <a:gd name="T66" fmla="*/ 2147483647 w 95"/>
                <a:gd name="T67" fmla="*/ 2147483647 h 41"/>
                <a:gd name="T68" fmla="*/ 2147483647 w 95"/>
                <a:gd name="T69" fmla="*/ 2147483647 h 41"/>
                <a:gd name="T70" fmla="*/ 2147483647 w 95"/>
                <a:gd name="T71" fmla="*/ 2147483647 h 41"/>
                <a:gd name="T72" fmla="*/ 2147483647 w 95"/>
                <a:gd name="T73" fmla="*/ 2147483647 h 41"/>
                <a:gd name="T74" fmla="*/ 2147483647 w 95"/>
                <a:gd name="T75" fmla="*/ 2147483647 h 41"/>
                <a:gd name="T76" fmla="*/ 2147483647 w 95"/>
                <a:gd name="T77" fmla="*/ 2147483647 h 41"/>
                <a:gd name="T78" fmla="*/ 2147483647 w 95"/>
                <a:gd name="T79" fmla="*/ 2147483647 h 41"/>
                <a:gd name="T80" fmla="*/ 2147483647 w 95"/>
                <a:gd name="T81" fmla="*/ 2147483647 h 41"/>
                <a:gd name="T82" fmla="*/ 2147483647 w 95"/>
                <a:gd name="T83" fmla="*/ 2147483647 h 41"/>
                <a:gd name="T84" fmla="*/ 2147483647 w 95"/>
                <a:gd name="T85" fmla="*/ 2147483647 h 41"/>
                <a:gd name="T86" fmla="*/ 2147483647 w 95"/>
                <a:gd name="T87" fmla="*/ 2147483647 h 41"/>
                <a:gd name="T88" fmla="*/ 2147483647 w 95"/>
                <a:gd name="T89" fmla="*/ 2147483647 h 41"/>
                <a:gd name="T90" fmla="*/ 2147483647 w 95"/>
                <a:gd name="T91" fmla="*/ 2147483647 h 41"/>
                <a:gd name="T92" fmla="*/ 2147483647 w 95"/>
                <a:gd name="T93" fmla="*/ 2147483647 h 41"/>
                <a:gd name="T94" fmla="*/ 2147483647 w 95"/>
                <a:gd name="T95" fmla="*/ 2147483647 h 41"/>
                <a:gd name="T96" fmla="*/ 2147483647 w 95"/>
                <a:gd name="T97" fmla="*/ 2147483647 h 41"/>
                <a:gd name="T98" fmla="*/ 2147483647 w 95"/>
                <a:gd name="T99" fmla="*/ 2147483647 h 41"/>
                <a:gd name="T100" fmla="*/ 2147483647 w 95"/>
                <a:gd name="T101" fmla="*/ 2147483647 h 41"/>
                <a:gd name="T102" fmla="*/ 2147483647 w 95"/>
                <a:gd name="T103" fmla="*/ 2147483647 h 41"/>
                <a:gd name="T104" fmla="*/ 2147483647 w 95"/>
                <a:gd name="T105" fmla="*/ 2147483647 h 41"/>
                <a:gd name="T106" fmla="*/ 2147483647 w 95"/>
                <a:gd name="T107" fmla="*/ 2147483647 h 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5"/>
                <a:gd name="T163" fmla="*/ 0 h 41"/>
                <a:gd name="T164" fmla="*/ 95 w 95"/>
                <a:gd name="T165" fmla="*/ 41 h 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5" h="41">
                  <a:moveTo>
                    <a:pt x="91" y="7"/>
                  </a:moveTo>
                  <a:lnTo>
                    <a:pt x="88" y="5"/>
                  </a:lnTo>
                  <a:lnTo>
                    <a:pt x="85" y="3"/>
                  </a:lnTo>
                  <a:lnTo>
                    <a:pt x="73" y="2"/>
                  </a:lnTo>
                  <a:lnTo>
                    <a:pt x="63" y="1"/>
                  </a:lnTo>
                  <a:lnTo>
                    <a:pt x="55" y="0"/>
                  </a:lnTo>
                  <a:lnTo>
                    <a:pt x="52" y="0"/>
                  </a:lnTo>
                  <a:lnTo>
                    <a:pt x="49" y="1"/>
                  </a:lnTo>
                  <a:lnTo>
                    <a:pt x="38" y="8"/>
                  </a:lnTo>
                  <a:lnTo>
                    <a:pt x="25" y="13"/>
                  </a:lnTo>
                  <a:lnTo>
                    <a:pt x="13" y="18"/>
                  </a:lnTo>
                  <a:lnTo>
                    <a:pt x="1" y="20"/>
                  </a:lnTo>
                  <a:lnTo>
                    <a:pt x="0" y="21"/>
                  </a:lnTo>
                  <a:lnTo>
                    <a:pt x="0" y="22"/>
                  </a:lnTo>
                  <a:lnTo>
                    <a:pt x="1" y="25"/>
                  </a:lnTo>
                  <a:lnTo>
                    <a:pt x="3" y="28"/>
                  </a:lnTo>
                  <a:lnTo>
                    <a:pt x="6" y="31"/>
                  </a:lnTo>
                  <a:lnTo>
                    <a:pt x="8" y="32"/>
                  </a:lnTo>
                  <a:lnTo>
                    <a:pt x="10" y="32"/>
                  </a:lnTo>
                  <a:lnTo>
                    <a:pt x="13" y="29"/>
                  </a:lnTo>
                  <a:lnTo>
                    <a:pt x="19" y="34"/>
                  </a:lnTo>
                  <a:lnTo>
                    <a:pt x="21" y="35"/>
                  </a:lnTo>
                  <a:lnTo>
                    <a:pt x="25" y="35"/>
                  </a:lnTo>
                  <a:lnTo>
                    <a:pt x="26" y="37"/>
                  </a:lnTo>
                  <a:lnTo>
                    <a:pt x="27" y="37"/>
                  </a:lnTo>
                  <a:lnTo>
                    <a:pt x="34" y="35"/>
                  </a:lnTo>
                  <a:lnTo>
                    <a:pt x="36" y="34"/>
                  </a:lnTo>
                  <a:lnTo>
                    <a:pt x="40" y="34"/>
                  </a:lnTo>
                  <a:lnTo>
                    <a:pt x="44" y="37"/>
                  </a:lnTo>
                  <a:lnTo>
                    <a:pt x="46" y="40"/>
                  </a:lnTo>
                  <a:lnTo>
                    <a:pt x="48" y="41"/>
                  </a:lnTo>
                  <a:lnTo>
                    <a:pt x="50" y="41"/>
                  </a:lnTo>
                  <a:lnTo>
                    <a:pt x="52" y="40"/>
                  </a:lnTo>
                  <a:lnTo>
                    <a:pt x="53" y="38"/>
                  </a:lnTo>
                  <a:lnTo>
                    <a:pt x="52" y="33"/>
                  </a:lnTo>
                  <a:lnTo>
                    <a:pt x="52" y="31"/>
                  </a:lnTo>
                  <a:lnTo>
                    <a:pt x="52" y="28"/>
                  </a:lnTo>
                  <a:lnTo>
                    <a:pt x="55" y="19"/>
                  </a:lnTo>
                  <a:lnTo>
                    <a:pt x="57" y="19"/>
                  </a:lnTo>
                  <a:lnTo>
                    <a:pt x="59" y="19"/>
                  </a:lnTo>
                  <a:lnTo>
                    <a:pt x="62" y="19"/>
                  </a:lnTo>
                  <a:lnTo>
                    <a:pt x="64" y="18"/>
                  </a:lnTo>
                  <a:lnTo>
                    <a:pt x="66" y="14"/>
                  </a:lnTo>
                  <a:lnTo>
                    <a:pt x="67" y="13"/>
                  </a:lnTo>
                  <a:lnTo>
                    <a:pt x="68" y="13"/>
                  </a:lnTo>
                  <a:lnTo>
                    <a:pt x="73" y="15"/>
                  </a:lnTo>
                  <a:lnTo>
                    <a:pt x="74" y="15"/>
                  </a:lnTo>
                  <a:lnTo>
                    <a:pt x="77" y="15"/>
                  </a:lnTo>
                  <a:lnTo>
                    <a:pt x="82" y="13"/>
                  </a:lnTo>
                  <a:lnTo>
                    <a:pt x="86" y="13"/>
                  </a:lnTo>
                  <a:lnTo>
                    <a:pt x="91" y="12"/>
                  </a:lnTo>
                  <a:lnTo>
                    <a:pt x="95" y="9"/>
                  </a:lnTo>
                  <a:lnTo>
                    <a:pt x="93" y="8"/>
                  </a:lnTo>
                  <a:lnTo>
                    <a:pt x="91"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7" name="Freeform 396"/>
            <p:cNvSpPr>
              <a:spLocks/>
            </p:cNvSpPr>
            <p:nvPr/>
          </p:nvSpPr>
          <p:spPr bwMode="auto">
            <a:xfrm>
              <a:off x="5524501" y="1295400"/>
              <a:ext cx="119063" cy="96838"/>
            </a:xfrm>
            <a:custGeom>
              <a:avLst/>
              <a:gdLst>
                <a:gd name="T0" fmla="*/ 2147483647 w 81"/>
                <a:gd name="T1" fmla="*/ 2147483647 h 61"/>
                <a:gd name="T2" fmla="*/ 2147483647 w 81"/>
                <a:gd name="T3" fmla="*/ 2147483647 h 61"/>
                <a:gd name="T4" fmla="*/ 2147483647 w 81"/>
                <a:gd name="T5" fmla="*/ 2147483647 h 61"/>
                <a:gd name="T6" fmla="*/ 2147483647 w 81"/>
                <a:gd name="T7" fmla="*/ 2147483647 h 61"/>
                <a:gd name="T8" fmla="*/ 2147483647 w 81"/>
                <a:gd name="T9" fmla="*/ 2147483647 h 61"/>
                <a:gd name="T10" fmla="*/ 2147483647 w 81"/>
                <a:gd name="T11" fmla="*/ 2147483647 h 61"/>
                <a:gd name="T12" fmla="*/ 2147483647 w 81"/>
                <a:gd name="T13" fmla="*/ 2147483647 h 61"/>
                <a:gd name="T14" fmla="*/ 2147483647 w 81"/>
                <a:gd name="T15" fmla="*/ 2147483647 h 61"/>
                <a:gd name="T16" fmla="*/ 2147483647 w 81"/>
                <a:gd name="T17" fmla="*/ 2147483647 h 61"/>
                <a:gd name="T18" fmla="*/ 2147483647 w 81"/>
                <a:gd name="T19" fmla="*/ 2147483647 h 61"/>
                <a:gd name="T20" fmla="*/ 2147483647 w 81"/>
                <a:gd name="T21" fmla="*/ 0 h 61"/>
                <a:gd name="T22" fmla="*/ 2147483647 w 81"/>
                <a:gd name="T23" fmla="*/ 2147483647 h 61"/>
                <a:gd name="T24" fmla="*/ 2147483647 w 81"/>
                <a:gd name="T25" fmla="*/ 2147483647 h 61"/>
                <a:gd name="T26" fmla="*/ 2147483647 w 81"/>
                <a:gd name="T27" fmla="*/ 2147483647 h 61"/>
                <a:gd name="T28" fmla="*/ 2147483647 w 81"/>
                <a:gd name="T29" fmla="*/ 2147483647 h 61"/>
                <a:gd name="T30" fmla="*/ 2147483647 w 81"/>
                <a:gd name="T31" fmla="*/ 2147483647 h 61"/>
                <a:gd name="T32" fmla="*/ 2147483647 w 81"/>
                <a:gd name="T33" fmla="*/ 2147483647 h 61"/>
                <a:gd name="T34" fmla="*/ 2147483647 w 81"/>
                <a:gd name="T35" fmla="*/ 2147483647 h 61"/>
                <a:gd name="T36" fmla="*/ 2147483647 w 81"/>
                <a:gd name="T37" fmla="*/ 2147483647 h 61"/>
                <a:gd name="T38" fmla="*/ 2147483647 w 81"/>
                <a:gd name="T39" fmla="*/ 2147483647 h 61"/>
                <a:gd name="T40" fmla="*/ 2147483647 w 81"/>
                <a:gd name="T41" fmla="*/ 2147483647 h 61"/>
                <a:gd name="T42" fmla="*/ 2147483647 w 81"/>
                <a:gd name="T43" fmla="*/ 2147483647 h 61"/>
                <a:gd name="T44" fmla="*/ 2147483647 w 81"/>
                <a:gd name="T45" fmla="*/ 2147483647 h 61"/>
                <a:gd name="T46" fmla="*/ 2147483647 w 81"/>
                <a:gd name="T47" fmla="*/ 2147483647 h 61"/>
                <a:gd name="T48" fmla="*/ 2147483647 w 81"/>
                <a:gd name="T49" fmla="*/ 2147483647 h 61"/>
                <a:gd name="T50" fmla="*/ 2147483647 w 81"/>
                <a:gd name="T51" fmla="*/ 2147483647 h 61"/>
                <a:gd name="T52" fmla="*/ 2147483647 w 81"/>
                <a:gd name="T53" fmla="*/ 2147483647 h 61"/>
                <a:gd name="T54" fmla="*/ 2147483647 w 81"/>
                <a:gd name="T55" fmla="*/ 2147483647 h 61"/>
                <a:gd name="T56" fmla="*/ 2147483647 w 81"/>
                <a:gd name="T57" fmla="*/ 2147483647 h 61"/>
                <a:gd name="T58" fmla="*/ 2147483647 w 81"/>
                <a:gd name="T59" fmla="*/ 2147483647 h 61"/>
                <a:gd name="T60" fmla="*/ 2147483647 w 81"/>
                <a:gd name="T61" fmla="*/ 2147483647 h 61"/>
                <a:gd name="T62" fmla="*/ 2147483647 w 81"/>
                <a:gd name="T63" fmla="*/ 2147483647 h 61"/>
                <a:gd name="T64" fmla="*/ 2147483647 w 81"/>
                <a:gd name="T65" fmla="*/ 2147483647 h 61"/>
                <a:gd name="T66" fmla="*/ 2147483647 w 81"/>
                <a:gd name="T67" fmla="*/ 2147483647 h 61"/>
                <a:gd name="T68" fmla="*/ 2147483647 w 81"/>
                <a:gd name="T69" fmla="*/ 2147483647 h 61"/>
                <a:gd name="T70" fmla="*/ 2147483647 w 81"/>
                <a:gd name="T71" fmla="*/ 2147483647 h 61"/>
                <a:gd name="T72" fmla="*/ 2147483647 w 81"/>
                <a:gd name="T73" fmla="*/ 2147483647 h 61"/>
                <a:gd name="T74" fmla="*/ 2147483647 w 81"/>
                <a:gd name="T75" fmla="*/ 2147483647 h 61"/>
                <a:gd name="T76" fmla="*/ 2147483647 w 81"/>
                <a:gd name="T77" fmla="*/ 2147483647 h 61"/>
                <a:gd name="T78" fmla="*/ 2147483647 w 81"/>
                <a:gd name="T79" fmla="*/ 2147483647 h 61"/>
                <a:gd name="T80" fmla="*/ 2147483647 w 81"/>
                <a:gd name="T81" fmla="*/ 2147483647 h 61"/>
                <a:gd name="T82" fmla="*/ 2147483647 w 81"/>
                <a:gd name="T83" fmla="*/ 2147483647 h 61"/>
                <a:gd name="T84" fmla="*/ 2147483647 w 81"/>
                <a:gd name="T85" fmla="*/ 2147483647 h 61"/>
                <a:gd name="T86" fmla="*/ 2147483647 w 81"/>
                <a:gd name="T87" fmla="*/ 2147483647 h 61"/>
                <a:gd name="T88" fmla="*/ 2147483647 w 81"/>
                <a:gd name="T89" fmla="*/ 2147483647 h 61"/>
                <a:gd name="T90" fmla="*/ 2147483647 w 81"/>
                <a:gd name="T91" fmla="*/ 2147483647 h 61"/>
                <a:gd name="T92" fmla="*/ 2147483647 w 81"/>
                <a:gd name="T93" fmla="*/ 2147483647 h 61"/>
                <a:gd name="T94" fmla="*/ 2147483647 w 81"/>
                <a:gd name="T95" fmla="*/ 2147483647 h 61"/>
                <a:gd name="T96" fmla="*/ 2147483647 w 81"/>
                <a:gd name="T97" fmla="*/ 2147483647 h 61"/>
                <a:gd name="T98" fmla="*/ 2147483647 w 81"/>
                <a:gd name="T99" fmla="*/ 2147483647 h 61"/>
                <a:gd name="T100" fmla="*/ 2147483647 w 81"/>
                <a:gd name="T101" fmla="*/ 2147483647 h 61"/>
                <a:gd name="T102" fmla="*/ 2147483647 w 81"/>
                <a:gd name="T103" fmla="*/ 2147483647 h 61"/>
                <a:gd name="T104" fmla="*/ 2147483647 w 81"/>
                <a:gd name="T105" fmla="*/ 2147483647 h 61"/>
                <a:gd name="T106" fmla="*/ 2147483647 w 81"/>
                <a:gd name="T107" fmla="*/ 2147483647 h 61"/>
                <a:gd name="T108" fmla="*/ 2147483647 w 81"/>
                <a:gd name="T109" fmla="*/ 2147483647 h 61"/>
                <a:gd name="T110" fmla="*/ 2147483647 w 81"/>
                <a:gd name="T111" fmla="*/ 2147483647 h 61"/>
                <a:gd name="T112" fmla="*/ 2147483647 w 81"/>
                <a:gd name="T113" fmla="*/ 2147483647 h 61"/>
                <a:gd name="T114" fmla="*/ 2147483647 w 81"/>
                <a:gd name="T115" fmla="*/ 2147483647 h 61"/>
                <a:gd name="T116" fmla="*/ 2147483647 w 81"/>
                <a:gd name="T117" fmla="*/ 2147483647 h 61"/>
                <a:gd name="T118" fmla="*/ 2147483647 w 81"/>
                <a:gd name="T119" fmla="*/ 2147483647 h 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1"/>
                <a:gd name="T181" fmla="*/ 0 h 61"/>
                <a:gd name="T182" fmla="*/ 81 w 81"/>
                <a:gd name="T183" fmla="*/ 61 h 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1" h="61">
                  <a:moveTo>
                    <a:pt x="80" y="26"/>
                  </a:moveTo>
                  <a:lnTo>
                    <a:pt x="80" y="26"/>
                  </a:lnTo>
                  <a:lnTo>
                    <a:pt x="79" y="23"/>
                  </a:lnTo>
                  <a:lnTo>
                    <a:pt x="78" y="22"/>
                  </a:lnTo>
                  <a:lnTo>
                    <a:pt x="75" y="22"/>
                  </a:lnTo>
                  <a:lnTo>
                    <a:pt x="71" y="23"/>
                  </a:lnTo>
                  <a:lnTo>
                    <a:pt x="67" y="23"/>
                  </a:lnTo>
                  <a:lnTo>
                    <a:pt x="66" y="22"/>
                  </a:lnTo>
                  <a:lnTo>
                    <a:pt x="66" y="20"/>
                  </a:lnTo>
                  <a:lnTo>
                    <a:pt x="69" y="17"/>
                  </a:lnTo>
                  <a:lnTo>
                    <a:pt x="70" y="15"/>
                  </a:lnTo>
                  <a:lnTo>
                    <a:pt x="74" y="9"/>
                  </a:lnTo>
                  <a:lnTo>
                    <a:pt x="78" y="3"/>
                  </a:lnTo>
                  <a:lnTo>
                    <a:pt x="78" y="2"/>
                  </a:lnTo>
                  <a:lnTo>
                    <a:pt x="78" y="1"/>
                  </a:lnTo>
                  <a:lnTo>
                    <a:pt x="76" y="0"/>
                  </a:lnTo>
                  <a:lnTo>
                    <a:pt x="75" y="0"/>
                  </a:lnTo>
                  <a:lnTo>
                    <a:pt x="73" y="2"/>
                  </a:lnTo>
                  <a:lnTo>
                    <a:pt x="71" y="4"/>
                  </a:lnTo>
                  <a:lnTo>
                    <a:pt x="69" y="6"/>
                  </a:lnTo>
                  <a:lnTo>
                    <a:pt x="67" y="4"/>
                  </a:lnTo>
                  <a:lnTo>
                    <a:pt x="66" y="3"/>
                  </a:lnTo>
                  <a:lnTo>
                    <a:pt x="65" y="3"/>
                  </a:lnTo>
                  <a:lnTo>
                    <a:pt x="62" y="3"/>
                  </a:lnTo>
                  <a:lnTo>
                    <a:pt x="61" y="4"/>
                  </a:lnTo>
                  <a:lnTo>
                    <a:pt x="59" y="9"/>
                  </a:lnTo>
                  <a:lnTo>
                    <a:pt x="57" y="9"/>
                  </a:lnTo>
                  <a:lnTo>
                    <a:pt x="56" y="9"/>
                  </a:lnTo>
                  <a:lnTo>
                    <a:pt x="53" y="8"/>
                  </a:lnTo>
                  <a:lnTo>
                    <a:pt x="52" y="8"/>
                  </a:lnTo>
                  <a:lnTo>
                    <a:pt x="51" y="10"/>
                  </a:lnTo>
                  <a:lnTo>
                    <a:pt x="51" y="13"/>
                  </a:lnTo>
                  <a:lnTo>
                    <a:pt x="51" y="15"/>
                  </a:lnTo>
                  <a:lnTo>
                    <a:pt x="51" y="16"/>
                  </a:lnTo>
                  <a:lnTo>
                    <a:pt x="46" y="19"/>
                  </a:lnTo>
                  <a:lnTo>
                    <a:pt x="40" y="21"/>
                  </a:lnTo>
                  <a:lnTo>
                    <a:pt x="33" y="22"/>
                  </a:lnTo>
                  <a:lnTo>
                    <a:pt x="27" y="25"/>
                  </a:lnTo>
                  <a:lnTo>
                    <a:pt x="22" y="26"/>
                  </a:lnTo>
                  <a:lnTo>
                    <a:pt x="17" y="25"/>
                  </a:lnTo>
                  <a:lnTo>
                    <a:pt x="12" y="23"/>
                  </a:lnTo>
                  <a:lnTo>
                    <a:pt x="7" y="25"/>
                  </a:lnTo>
                  <a:lnTo>
                    <a:pt x="1" y="27"/>
                  </a:lnTo>
                  <a:lnTo>
                    <a:pt x="0" y="28"/>
                  </a:lnTo>
                  <a:lnTo>
                    <a:pt x="1" y="29"/>
                  </a:lnTo>
                  <a:lnTo>
                    <a:pt x="4" y="30"/>
                  </a:lnTo>
                  <a:lnTo>
                    <a:pt x="9" y="30"/>
                  </a:lnTo>
                  <a:lnTo>
                    <a:pt x="10" y="33"/>
                  </a:lnTo>
                  <a:lnTo>
                    <a:pt x="12" y="34"/>
                  </a:lnTo>
                  <a:lnTo>
                    <a:pt x="10" y="41"/>
                  </a:lnTo>
                  <a:lnTo>
                    <a:pt x="8" y="47"/>
                  </a:lnTo>
                  <a:lnTo>
                    <a:pt x="7" y="53"/>
                  </a:lnTo>
                  <a:lnTo>
                    <a:pt x="7" y="57"/>
                  </a:lnTo>
                  <a:lnTo>
                    <a:pt x="8" y="60"/>
                  </a:lnTo>
                  <a:lnTo>
                    <a:pt x="9" y="61"/>
                  </a:lnTo>
                  <a:lnTo>
                    <a:pt x="10" y="60"/>
                  </a:lnTo>
                  <a:lnTo>
                    <a:pt x="13" y="58"/>
                  </a:lnTo>
                  <a:lnTo>
                    <a:pt x="14" y="58"/>
                  </a:lnTo>
                  <a:lnTo>
                    <a:pt x="15" y="58"/>
                  </a:lnTo>
                  <a:lnTo>
                    <a:pt x="17" y="59"/>
                  </a:lnTo>
                  <a:lnTo>
                    <a:pt x="17" y="61"/>
                  </a:lnTo>
                  <a:lnTo>
                    <a:pt x="19" y="61"/>
                  </a:lnTo>
                  <a:lnTo>
                    <a:pt x="22" y="59"/>
                  </a:lnTo>
                  <a:lnTo>
                    <a:pt x="26" y="58"/>
                  </a:lnTo>
                  <a:lnTo>
                    <a:pt x="34" y="57"/>
                  </a:lnTo>
                  <a:lnTo>
                    <a:pt x="37" y="55"/>
                  </a:lnTo>
                  <a:lnTo>
                    <a:pt x="38" y="54"/>
                  </a:lnTo>
                  <a:lnTo>
                    <a:pt x="38" y="51"/>
                  </a:lnTo>
                  <a:lnTo>
                    <a:pt x="38" y="47"/>
                  </a:lnTo>
                  <a:lnTo>
                    <a:pt x="38" y="44"/>
                  </a:lnTo>
                  <a:lnTo>
                    <a:pt x="40" y="42"/>
                  </a:lnTo>
                  <a:lnTo>
                    <a:pt x="42" y="44"/>
                  </a:lnTo>
                  <a:lnTo>
                    <a:pt x="45" y="47"/>
                  </a:lnTo>
                  <a:lnTo>
                    <a:pt x="46" y="48"/>
                  </a:lnTo>
                  <a:lnTo>
                    <a:pt x="47" y="48"/>
                  </a:lnTo>
                  <a:lnTo>
                    <a:pt x="53" y="46"/>
                  </a:lnTo>
                  <a:lnTo>
                    <a:pt x="60" y="45"/>
                  </a:lnTo>
                  <a:lnTo>
                    <a:pt x="65" y="45"/>
                  </a:lnTo>
                  <a:lnTo>
                    <a:pt x="70" y="42"/>
                  </a:lnTo>
                  <a:lnTo>
                    <a:pt x="70" y="41"/>
                  </a:lnTo>
                  <a:lnTo>
                    <a:pt x="70" y="40"/>
                  </a:lnTo>
                  <a:lnTo>
                    <a:pt x="67" y="36"/>
                  </a:lnTo>
                  <a:lnTo>
                    <a:pt x="67" y="34"/>
                  </a:lnTo>
                  <a:lnTo>
                    <a:pt x="67" y="32"/>
                  </a:lnTo>
                  <a:lnTo>
                    <a:pt x="69" y="32"/>
                  </a:lnTo>
                  <a:lnTo>
                    <a:pt x="71" y="32"/>
                  </a:lnTo>
                  <a:lnTo>
                    <a:pt x="74" y="33"/>
                  </a:lnTo>
                  <a:lnTo>
                    <a:pt x="76" y="33"/>
                  </a:lnTo>
                  <a:lnTo>
                    <a:pt x="79" y="33"/>
                  </a:lnTo>
                  <a:lnTo>
                    <a:pt x="81" y="30"/>
                  </a:lnTo>
                  <a:lnTo>
                    <a:pt x="81" y="29"/>
                  </a:lnTo>
                  <a:lnTo>
                    <a:pt x="80" y="2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8" name="Freeform 397"/>
            <p:cNvSpPr>
              <a:spLocks/>
            </p:cNvSpPr>
            <p:nvPr/>
          </p:nvSpPr>
          <p:spPr bwMode="auto">
            <a:xfrm>
              <a:off x="5414966" y="1304925"/>
              <a:ext cx="138112" cy="65088"/>
            </a:xfrm>
            <a:custGeom>
              <a:avLst/>
              <a:gdLst>
                <a:gd name="T0" fmla="*/ 2147483647 w 95"/>
                <a:gd name="T1" fmla="*/ 2147483647 h 41"/>
                <a:gd name="T2" fmla="*/ 2147483647 w 95"/>
                <a:gd name="T3" fmla="*/ 2147483647 h 41"/>
                <a:gd name="T4" fmla="*/ 2147483647 w 95"/>
                <a:gd name="T5" fmla="*/ 2147483647 h 41"/>
                <a:gd name="T6" fmla="*/ 2147483647 w 95"/>
                <a:gd name="T7" fmla="*/ 2147483647 h 41"/>
                <a:gd name="T8" fmla="*/ 2147483647 w 95"/>
                <a:gd name="T9" fmla="*/ 0 h 41"/>
                <a:gd name="T10" fmla="*/ 2147483647 w 95"/>
                <a:gd name="T11" fmla="*/ 2147483647 h 41"/>
                <a:gd name="T12" fmla="*/ 2147483647 w 95"/>
                <a:gd name="T13" fmla="*/ 2147483647 h 41"/>
                <a:gd name="T14" fmla="*/ 2147483647 w 95"/>
                <a:gd name="T15" fmla="*/ 2147483647 h 41"/>
                <a:gd name="T16" fmla="*/ 0 w 95"/>
                <a:gd name="T17" fmla="*/ 2147483647 h 41"/>
                <a:gd name="T18" fmla="*/ 2147483647 w 95"/>
                <a:gd name="T19" fmla="*/ 2147483647 h 41"/>
                <a:gd name="T20" fmla="*/ 2147483647 w 95"/>
                <a:gd name="T21" fmla="*/ 2147483647 h 41"/>
                <a:gd name="T22" fmla="*/ 2147483647 w 95"/>
                <a:gd name="T23" fmla="*/ 2147483647 h 41"/>
                <a:gd name="T24" fmla="*/ 2147483647 w 95"/>
                <a:gd name="T25" fmla="*/ 2147483647 h 41"/>
                <a:gd name="T26" fmla="*/ 2147483647 w 95"/>
                <a:gd name="T27" fmla="*/ 2147483647 h 41"/>
                <a:gd name="T28" fmla="*/ 2147483647 w 95"/>
                <a:gd name="T29" fmla="*/ 2147483647 h 41"/>
                <a:gd name="T30" fmla="*/ 2147483647 w 95"/>
                <a:gd name="T31" fmla="*/ 2147483647 h 41"/>
                <a:gd name="T32" fmla="*/ 2147483647 w 95"/>
                <a:gd name="T33" fmla="*/ 2147483647 h 41"/>
                <a:gd name="T34" fmla="*/ 2147483647 w 95"/>
                <a:gd name="T35" fmla="*/ 2147483647 h 41"/>
                <a:gd name="T36" fmla="*/ 2147483647 w 95"/>
                <a:gd name="T37" fmla="*/ 2147483647 h 41"/>
                <a:gd name="T38" fmla="*/ 2147483647 w 95"/>
                <a:gd name="T39" fmla="*/ 2147483647 h 41"/>
                <a:gd name="T40" fmla="*/ 2147483647 w 95"/>
                <a:gd name="T41" fmla="*/ 2147483647 h 41"/>
                <a:gd name="T42" fmla="*/ 2147483647 w 95"/>
                <a:gd name="T43" fmla="*/ 2147483647 h 41"/>
                <a:gd name="T44" fmla="*/ 2147483647 w 95"/>
                <a:gd name="T45" fmla="*/ 2147483647 h 41"/>
                <a:gd name="T46" fmla="*/ 2147483647 w 95"/>
                <a:gd name="T47" fmla="*/ 2147483647 h 41"/>
                <a:gd name="T48" fmla="*/ 2147483647 w 95"/>
                <a:gd name="T49" fmla="*/ 2147483647 h 41"/>
                <a:gd name="T50" fmla="*/ 2147483647 w 95"/>
                <a:gd name="T51" fmla="*/ 2147483647 h 41"/>
                <a:gd name="T52" fmla="*/ 2147483647 w 95"/>
                <a:gd name="T53" fmla="*/ 2147483647 h 41"/>
                <a:gd name="T54" fmla="*/ 2147483647 w 95"/>
                <a:gd name="T55" fmla="*/ 2147483647 h 41"/>
                <a:gd name="T56" fmla="*/ 2147483647 w 95"/>
                <a:gd name="T57" fmla="*/ 2147483647 h 41"/>
                <a:gd name="T58" fmla="*/ 2147483647 w 95"/>
                <a:gd name="T59" fmla="*/ 2147483647 h 41"/>
                <a:gd name="T60" fmla="*/ 2147483647 w 95"/>
                <a:gd name="T61" fmla="*/ 2147483647 h 41"/>
                <a:gd name="T62" fmla="*/ 2147483647 w 95"/>
                <a:gd name="T63" fmla="*/ 2147483647 h 41"/>
                <a:gd name="T64" fmla="*/ 2147483647 w 95"/>
                <a:gd name="T65" fmla="*/ 2147483647 h 41"/>
                <a:gd name="T66" fmla="*/ 2147483647 w 95"/>
                <a:gd name="T67" fmla="*/ 2147483647 h 41"/>
                <a:gd name="T68" fmla="*/ 2147483647 w 95"/>
                <a:gd name="T69" fmla="*/ 2147483647 h 41"/>
                <a:gd name="T70" fmla="*/ 2147483647 w 95"/>
                <a:gd name="T71" fmla="*/ 2147483647 h 41"/>
                <a:gd name="T72" fmla="*/ 2147483647 w 95"/>
                <a:gd name="T73" fmla="*/ 2147483647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5"/>
                <a:gd name="T112" fmla="*/ 0 h 41"/>
                <a:gd name="T113" fmla="*/ 95 w 95"/>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5" h="41">
                  <a:moveTo>
                    <a:pt x="92" y="7"/>
                  </a:moveTo>
                  <a:lnTo>
                    <a:pt x="92" y="7"/>
                  </a:lnTo>
                  <a:lnTo>
                    <a:pt x="89" y="4"/>
                  </a:lnTo>
                  <a:lnTo>
                    <a:pt x="85" y="3"/>
                  </a:lnTo>
                  <a:lnTo>
                    <a:pt x="74" y="2"/>
                  </a:lnTo>
                  <a:lnTo>
                    <a:pt x="64" y="1"/>
                  </a:lnTo>
                  <a:lnTo>
                    <a:pt x="56" y="0"/>
                  </a:lnTo>
                  <a:lnTo>
                    <a:pt x="52" y="0"/>
                  </a:lnTo>
                  <a:lnTo>
                    <a:pt x="50" y="1"/>
                  </a:lnTo>
                  <a:lnTo>
                    <a:pt x="38" y="8"/>
                  </a:lnTo>
                  <a:lnTo>
                    <a:pt x="26" y="13"/>
                  </a:lnTo>
                  <a:lnTo>
                    <a:pt x="14" y="17"/>
                  </a:lnTo>
                  <a:lnTo>
                    <a:pt x="2" y="20"/>
                  </a:lnTo>
                  <a:lnTo>
                    <a:pt x="0" y="21"/>
                  </a:lnTo>
                  <a:lnTo>
                    <a:pt x="0" y="22"/>
                  </a:lnTo>
                  <a:lnTo>
                    <a:pt x="2" y="24"/>
                  </a:lnTo>
                  <a:lnTo>
                    <a:pt x="4" y="28"/>
                  </a:lnTo>
                  <a:lnTo>
                    <a:pt x="7" y="30"/>
                  </a:lnTo>
                  <a:lnTo>
                    <a:pt x="9" y="32"/>
                  </a:lnTo>
                  <a:lnTo>
                    <a:pt x="10" y="32"/>
                  </a:lnTo>
                  <a:lnTo>
                    <a:pt x="14" y="29"/>
                  </a:lnTo>
                  <a:lnTo>
                    <a:pt x="19" y="34"/>
                  </a:lnTo>
                  <a:lnTo>
                    <a:pt x="22" y="35"/>
                  </a:lnTo>
                  <a:lnTo>
                    <a:pt x="26" y="35"/>
                  </a:lnTo>
                  <a:lnTo>
                    <a:pt x="27" y="36"/>
                  </a:lnTo>
                  <a:lnTo>
                    <a:pt x="28" y="36"/>
                  </a:lnTo>
                  <a:lnTo>
                    <a:pt x="35" y="35"/>
                  </a:lnTo>
                  <a:lnTo>
                    <a:pt x="37" y="34"/>
                  </a:lnTo>
                  <a:lnTo>
                    <a:pt x="41" y="34"/>
                  </a:lnTo>
                  <a:lnTo>
                    <a:pt x="45" y="36"/>
                  </a:lnTo>
                  <a:lnTo>
                    <a:pt x="47" y="40"/>
                  </a:lnTo>
                  <a:lnTo>
                    <a:pt x="48" y="41"/>
                  </a:lnTo>
                  <a:lnTo>
                    <a:pt x="51" y="41"/>
                  </a:lnTo>
                  <a:lnTo>
                    <a:pt x="52" y="40"/>
                  </a:lnTo>
                  <a:lnTo>
                    <a:pt x="54" y="38"/>
                  </a:lnTo>
                  <a:lnTo>
                    <a:pt x="52" y="33"/>
                  </a:lnTo>
                  <a:lnTo>
                    <a:pt x="52" y="30"/>
                  </a:lnTo>
                  <a:lnTo>
                    <a:pt x="52" y="28"/>
                  </a:lnTo>
                  <a:lnTo>
                    <a:pt x="56" y="19"/>
                  </a:lnTo>
                  <a:lnTo>
                    <a:pt x="57" y="19"/>
                  </a:lnTo>
                  <a:lnTo>
                    <a:pt x="60" y="19"/>
                  </a:lnTo>
                  <a:lnTo>
                    <a:pt x="62" y="19"/>
                  </a:lnTo>
                  <a:lnTo>
                    <a:pt x="65" y="17"/>
                  </a:lnTo>
                  <a:lnTo>
                    <a:pt x="66" y="14"/>
                  </a:lnTo>
                  <a:lnTo>
                    <a:pt x="68" y="13"/>
                  </a:lnTo>
                  <a:lnTo>
                    <a:pt x="69" y="13"/>
                  </a:lnTo>
                  <a:lnTo>
                    <a:pt x="74" y="15"/>
                  </a:lnTo>
                  <a:lnTo>
                    <a:pt x="75" y="15"/>
                  </a:lnTo>
                  <a:lnTo>
                    <a:pt x="78" y="15"/>
                  </a:lnTo>
                  <a:lnTo>
                    <a:pt x="83" y="13"/>
                  </a:lnTo>
                  <a:lnTo>
                    <a:pt x="87" y="13"/>
                  </a:lnTo>
                  <a:lnTo>
                    <a:pt x="92" y="11"/>
                  </a:lnTo>
                  <a:lnTo>
                    <a:pt x="95" y="9"/>
                  </a:lnTo>
                  <a:lnTo>
                    <a:pt x="94" y="8"/>
                  </a:lnTo>
                  <a:lnTo>
                    <a:pt x="92"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399" name="Freeform 398"/>
            <p:cNvSpPr>
              <a:spLocks/>
            </p:cNvSpPr>
            <p:nvPr/>
          </p:nvSpPr>
          <p:spPr bwMode="auto">
            <a:xfrm>
              <a:off x="5164142" y="1371604"/>
              <a:ext cx="41275" cy="22225"/>
            </a:xfrm>
            <a:custGeom>
              <a:avLst/>
              <a:gdLst>
                <a:gd name="T0" fmla="*/ 2147483647 w 28"/>
                <a:gd name="T1" fmla="*/ 0 h 14"/>
                <a:gd name="T2" fmla="*/ 2147483647 w 28"/>
                <a:gd name="T3" fmla="*/ 0 h 14"/>
                <a:gd name="T4" fmla="*/ 2147483647 w 28"/>
                <a:gd name="T5" fmla="*/ 2147483647 h 14"/>
                <a:gd name="T6" fmla="*/ 2147483647 w 28"/>
                <a:gd name="T7" fmla="*/ 2147483647 h 14"/>
                <a:gd name="T8" fmla="*/ 2147483647 w 28"/>
                <a:gd name="T9" fmla="*/ 2147483647 h 14"/>
                <a:gd name="T10" fmla="*/ 0 w 28"/>
                <a:gd name="T11" fmla="*/ 2147483647 h 14"/>
                <a:gd name="T12" fmla="*/ 2147483647 w 28"/>
                <a:gd name="T13" fmla="*/ 2147483647 h 14"/>
                <a:gd name="T14" fmla="*/ 2147483647 w 28"/>
                <a:gd name="T15" fmla="*/ 2147483647 h 14"/>
                <a:gd name="T16" fmla="*/ 2147483647 w 28"/>
                <a:gd name="T17" fmla="*/ 2147483647 h 14"/>
                <a:gd name="T18" fmla="*/ 2147483647 w 28"/>
                <a:gd name="T19" fmla="*/ 2147483647 h 14"/>
                <a:gd name="T20" fmla="*/ 2147483647 w 28"/>
                <a:gd name="T21" fmla="*/ 2147483647 h 14"/>
                <a:gd name="T22" fmla="*/ 2147483647 w 28"/>
                <a:gd name="T23" fmla="*/ 2147483647 h 14"/>
                <a:gd name="T24" fmla="*/ 2147483647 w 28"/>
                <a:gd name="T25" fmla="*/ 2147483647 h 14"/>
                <a:gd name="T26" fmla="*/ 2147483647 w 28"/>
                <a:gd name="T27" fmla="*/ 2147483647 h 14"/>
                <a:gd name="T28" fmla="*/ 2147483647 w 28"/>
                <a:gd name="T29" fmla="*/ 2147483647 h 14"/>
                <a:gd name="T30" fmla="*/ 2147483647 w 28"/>
                <a:gd name="T31" fmla="*/ 0 h 14"/>
                <a:gd name="T32" fmla="*/ 2147483647 w 28"/>
                <a:gd name="T33" fmla="*/ 0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14"/>
                <a:gd name="T53" fmla="*/ 28 w 28"/>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14">
                  <a:moveTo>
                    <a:pt x="26" y="0"/>
                  </a:moveTo>
                  <a:lnTo>
                    <a:pt x="20" y="0"/>
                  </a:lnTo>
                  <a:lnTo>
                    <a:pt x="13" y="3"/>
                  </a:lnTo>
                  <a:lnTo>
                    <a:pt x="7" y="5"/>
                  </a:lnTo>
                  <a:lnTo>
                    <a:pt x="1" y="9"/>
                  </a:lnTo>
                  <a:lnTo>
                    <a:pt x="0" y="11"/>
                  </a:lnTo>
                  <a:lnTo>
                    <a:pt x="1" y="13"/>
                  </a:lnTo>
                  <a:lnTo>
                    <a:pt x="2" y="14"/>
                  </a:lnTo>
                  <a:lnTo>
                    <a:pt x="4" y="14"/>
                  </a:lnTo>
                  <a:lnTo>
                    <a:pt x="6" y="13"/>
                  </a:lnTo>
                  <a:lnTo>
                    <a:pt x="10" y="11"/>
                  </a:lnTo>
                  <a:lnTo>
                    <a:pt x="14" y="10"/>
                  </a:lnTo>
                  <a:lnTo>
                    <a:pt x="23" y="9"/>
                  </a:lnTo>
                  <a:lnTo>
                    <a:pt x="25" y="7"/>
                  </a:lnTo>
                  <a:lnTo>
                    <a:pt x="26" y="5"/>
                  </a:lnTo>
                  <a:lnTo>
                    <a:pt x="28" y="0"/>
                  </a:lnTo>
                  <a:lnTo>
                    <a:pt x="2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0" name="Freeform 399"/>
            <p:cNvSpPr>
              <a:spLocks/>
            </p:cNvSpPr>
            <p:nvPr/>
          </p:nvSpPr>
          <p:spPr bwMode="auto">
            <a:xfrm>
              <a:off x="5067301" y="1462089"/>
              <a:ext cx="28574" cy="12700"/>
            </a:xfrm>
            <a:custGeom>
              <a:avLst/>
              <a:gdLst>
                <a:gd name="T0" fmla="*/ 2147483647 w 19"/>
                <a:gd name="T1" fmla="*/ 2147483647 h 8"/>
                <a:gd name="T2" fmla="*/ 2147483647 w 19"/>
                <a:gd name="T3" fmla="*/ 0 h 8"/>
                <a:gd name="T4" fmla="*/ 2147483647 w 19"/>
                <a:gd name="T5" fmla="*/ 0 h 8"/>
                <a:gd name="T6" fmla="*/ 2147483647 w 19"/>
                <a:gd name="T7" fmla="*/ 0 h 8"/>
                <a:gd name="T8" fmla="*/ 2147483647 w 19"/>
                <a:gd name="T9" fmla="*/ 2147483647 h 8"/>
                <a:gd name="T10" fmla="*/ 0 w 19"/>
                <a:gd name="T11" fmla="*/ 2147483647 h 8"/>
                <a:gd name="T12" fmla="*/ 0 w 19"/>
                <a:gd name="T13" fmla="*/ 2147483647 h 8"/>
                <a:gd name="T14" fmla="*/ 0 w 19"/>
                <a:gd name="T15" fmla="*/ 2147483647 h 8"/>
                <a:gd name="T16" fmla="*/ 2147483647 w 19"/>
                <a:gd name="T17" fmla="*/ 2147483647 h 8"/>
                <a:gd name="T18" fmla="*/ 2147483647 w 19"/>
                <a:gd name="T19" fmla="*/ 2147483647 h 8"/>
                <a:gd name="T20" fmla="*/ 2147483647 w 19"/>
                <a:gd name="T21" fmla="*/ 2147483647 h 8"/>
                <a:gd name="T22" fmla="*/ 2147483647 w 19"/>
                <a:gd name="T23" fmla="*/ 2147483647 h 8"/>
                <a:gd name="T24" fmla="*/ 2147483647 w 19"/>
                <a:gd name="T25" fmla="*/ 2147483647 h 8"/>
                <a:gd name="T26" fmla="*/ 2147483647 w 19"/>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8"/>
                <a:gd name="T44" fmla="*/ 19 w 19"/>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8">
                  <a:moveTo>
                    <a:pt x="16" y="1"/>
                  </a:moveTo>
                  <a:lnTo>
                    <a:pt x="12" y="0"/>
                  </a:lnTo>
                  <a:lnTo>
                    <a:pt x="9" y="0"/>
                  </a:lnTo>
                  <a:lnTo>
                    <a:pt x="5" y="0"/>
                  </a:lnTo>
                  <a:lnTo>
                    <a:pt x="1" y="1"/>
                  </a:lnTo>
                  <a:lnTo>
                    <a:pt x="0" y="4"/>
                  </a:lnTo>
                  <a:lnTo>
                    <a:pt x="0" y="6"/>
                  </a:lnTo>
                  <a:lnTo>
                    <a:pt x="0" y="7"/>
                  </a:lnTo>
                  <a:lnTo>
                    <a:pt x="1" y="8"/>
                  </a:lnTo>
                  <a:lnTo>
                    <a:pt x="11" y="7"/>
                  </a:lnTo>
                  <a:lnTo>
                    <a:pt x="16" y="6"/>
                  </a:lnTo>
                  <a:lnTo>
                    <a:pt x="18" y="5"/>
                  </a:lnTo>
                  <a:lnTo>
                    <a:pt x="19" y="4"/>
                  </a:lnTo>
                  <a:lnTo>
                    <a:pt x="16"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1" name="Freeform 400"/>
            <p:cNvSpPr>
              <a:spLocks/>
            </p:cNvSpPr>
            <p:nvPr/>
          </p:nvSpPr>
          <p:spPr bwMode="auto">
            <a:xfrm>
              <a:off x="5162550" y="1370017"/>
              <a:ext cx="39688" cy="22225"/>
            </a:xfrm>
            <a:custGeom>
              <a:avLst/>
              <a:gdLst>
                <a:gd name="T0" fmla="*/ 2147483647 w 27"/>
                <a:gd name="T1" fmla="*/ 0 h 14"/>
                <a:gd name="T2" fmla="*/ 2147483647 w 27"/>
                <a:gd name="T3" fmla="*/ 0 h 14"/>
                <a:gd name="T4" fmla="*/ 2147483647 w 27"/>
                <a:gd name="T5" fmla="*/ 0 h 14"/>
                <a:gd name="T6" fmla="*/ 2147483647 w 27"/>
                <a:gd name="T7" fmla="*/ 2147483647 h 14"/>
                <a:gd name="T8" fmla="*/ 2147483647 w 27"/>
                <a:gd name="T9" fmla="*/ 2147483647 h 14"/>
                <a:gd name="T10" fmla="*/ 2147483647 w 27"/>
                <a:gd name="T11" fmla="*/ 2147483647 h 14"/>
                <a:gd name="T12" fmla="*/ 2147483647 w 27"/>
                <a:gd name="T13" fmla="*/ 2147483647 h 14"/>
                <a:gd name="T14" fmla="*/ 0 w 27"/>
                <a:gd name="T15" fmla="*/ 2147483647 h 14"/>
                <a:gd name="T16" fmla="*/ 2147483647 w 27"/>
                <a:gd name="T17" fmla="*/ 2147483647 h 14"/>
                <a:gd name="T18" fmla="*/ 2147483647 w 27"/>
                <a:gd name="T19" fmla="*/ 2147483647 h 14"/>
                <a:gd name="T20" fmla="*/ 2147483647 w 27"/>
                <a:gd name="T21" fmla="*/ 2147483647 h 14"/>
                <a:gd name="T22" fmla="*/ 2147483647 w 27"/>
                <a:gd name="T23" fmla="*/ 2147483647 h 14"/>
                <a:gd name="T24" fmla="*/ 2147483647 w 27"/>
                <a:gd name="T25" fmla="*/ 2147483647 h 14"/>
                <a:gd name="T26" fmla="*/ 2147483647 w 27"/>
                <a:gd name="T27" fmla="*/ 2147483647 h 14"/>
                <a:gd name="T28" fmla="*/ 2147483647 w 27"/>
                <a:gd name="T29" fmla="*/ 2147483647 h 14"/>
                <a:gd name="T30" fmla="*/ 2147483647 w 27"/>
                <a:gd name="T31" fmla="*/ 2147483647 h 14"/>
                <a:gd name="T32" fmla="*/ 2147483647 w 27"/>
                <a:gd name="T33" fmla="*/ 2147483647 h 14"/>
                <a:gd name="T34" fmla="*/ 2147483647 w 27"/>
                <a:gd name="T35" fmla="*/ 2147483647 h 14"/>
                <a:gd name="T36" fmla="*/ 2147483647 w 27"/>
                <a:gd name="T37" fmla="*/ 2147483647 h 14"/>
                <a:gd name="T38" fmla="*/ 2147483647 w 27"/>
                <a:gd name="T39" fmla="*/ 2147483647 h 14"/>
                <a:gd name="T40" fmla="*/ 2147483647 w 27"/>
                <a:gd name="T41" fmla="*/ 0 h 14"/>
                <a:gd name="T42" fmla="*/ 2147483647 w 27"/>
                <a:gd name="T43" fmla="*/ 0 h 14"/>
                <a:gd name="T44" fmla="*/ 2147483647 w 27"/>
                <a:gd name="T45" fmla="*/ 0 h 14"/>
                <a:gd name="T46" fmla="*/ 2147483647 w 27"/>
                <a:gd name="T47" fmla="*/ 0 h 14"/>
                <a:gd name="T48" fmla="*/ 2147483647 w 27"/>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14"/>
                <a:gd name="T77" fmla="*/ 27 w 27"/>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14">
                  <a:moveTo>
                    <a:pt x="26" y="0"/>
                  </a:moveTo>
                  <a:lnTo>
                    <a:pt x="26" y="0"/>
                  </a:lnTo>
                  <a:lnTo>
                    <a:pt x="20" y="0"/>
                  </a:lnTo>
                  <a:lnTo>
                    <a:pt x="12" y="2"/>
                  </a:lnTo>
                  <a:lnTo>
                    <a:pt x="7" y="5"/>
                  </a:lnTo>
                  <a:lnTo>
                    <a:pt x="1" y="8"/>
                  </a:lnTo>
                  <a:lnTo>
                    <a:pt x="0" y="11"/>
                  </a:lnTo>
                  <a:lnTo>
                    <a:pt x="1" y="13"/>
                  </a:lnTo>
                  <a:lnTo>
                    <a:pt x="2" y="14"/>
                  </a:lnTo>
                  <a:lnTo>
                    <a:pt x="3" y="14"/>
                  </a:lnTo>
                  <a:lnTo>
                    <a:pt x="6" y="13"/>
                  </a:lnTo>
                  <a:lnTo>
                    <a:pt x="10" y="11"/>
                  </a:lnTo>
                  <a:lnTo>
                    <a:pt x="14" y="10"/>
                  </a:lnTo>
                  <a:lnTo>
                    <a:pt x="22" y="8"/>
                  </a:lnTo>
                  <a:lnTo>
                    <a:pt x="25" y="7"/>
                  </a:lnTo>
                  <a:lnTo>
                    <a:pt x="26" y="5"/>
                  </a:lnTo>
                  <a:lnTo>
                    <a:pt x="27" y="0"/>
                  </a:lnTo>
                  <a:lnTo>
                    <a:pt x="26"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2" name="Freeform 401"/>
            <p:cNvSpPr>
              <a:spLocks/>
            </p:cNvSpPr>
            <p:nvPr/>
          </p:nvSpPr>
          <p:spPr bwMode="auto">
            <a:xfrm>
              <a:off x="5065716" y="1460500"/>
              <a:ext cx="28574" cy="12700"/>
            </a:xfrm>
            <a:custGeom>
              <a:avLst/>
              <a:gdLst>
                <a:gd name="T0" fmla="*/ 2147483647 w 19"/>
                <a:gd name="T1" fmla="*/ 2147483647 h 8"/>
                <a:gd name="T2" fmla="*/ 2147483647 w 19"/>
                <a:gd name="T3" fmla="*/ 2147483647 h 8"/>
                <a:gd name="T4" fmla="*/ 2147483647 w 19"/>
                <a:gd name="T5" fmla="*/ 0 h 8"/>
                <a:gd name="T6" fmla="*/ 2147483647 w 19"/>
                <a:gd name="T7" fmla="*/ 0 h 8"/>
                <a:gd name="T8" fmla="*/ 2147483647 w 19"/>
                <a:gd name="T9" fmla="*/ 0 h 8"/>
                <a:gd name="T10" fmla="*/ 2147483647 w 19"/>
                <a:gd name="T11" fmla="*/ 2147483647 h 8"/>
                <a:gd name="T12" fmla="*/ 2147483647 w 19"/>
                <a:gd name="T13" fmla="*/ 2147483647 h 8"/>
                <a:gd name="T14" fmla="*/ 0 w 19"/>
                <a:gd name="T15" fmla="*/ 2147483647 h 8"/>
                <a:gd name="T16" fmla="*/ 0 w 19"/>
                <a:gd name="T17" fmla="*/ 2147483647 h 8"/>
                <a:gd name="T18" fmla="*/ 0 w 19"/>
                <a:gd name="T19" fmla="*/ 2147483647 h 8"/>
                <a:gd name="T20" fmla="*/ 2147483647 w 19"/>
                <a:gd name="T21" fmla="*/ 2147483647 h 8"/>
                <a:gd name="T22" fmla="*/ 2147483647 w 19"/>
                <a:gd name="T23" fmla="*/ 2147483647 h 8"/>
                <a:gd name="T24" fmla="*/ 2147483647 w 19"/>
                <a:gd name="T25" fmla="*/ 2147483647 h 8"/>
                <a:gd name="T26" fmla="*/ 2147483647 w 19"/>
                <a:gd name="T27" fmla="*/ 2147483647 h 8"/>
                <a:gd name="T28" fmla="*/ 2147483647 w 19"/>
                <a:gd name="T29" fmla="*/ 2147483647 h 8"/>
                <a:gd name="T30" fmla="*/ 2147483647 w 19"/>
                <a:gd name="T31" fmla="*/ 2147483647 h 8"/>
                <a:gd name="T32" fmla="*/ 2147483647 w 19"/>
                <a:gd name="T33" fmla="*/ 2147483647 h 8"/>
                <a:gd name="T34" fmla="*/ 2147483647 w 19"/>
                <a:gd name="T35" fmla="*/ 2147483647 h 8"/>
                <a:gd name="T36" fmla="*/ 2147483647 w 19"/>
                <a:gd name="T37" fmla="*/ 2147483647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8"/>
                <a:gd name="T59" fmla="*/ 19 w 19"/>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8">
                  <a:moveTo>
                    <a:pt x="16" y="1"/>
                  </a:moveTo>
                  <a:lnTo>
                    <a:pt x="16" y="1"/>
                  </a:lnTo>
                  <a:lnTo>
                    <a:pt x="12" y="0"/>
                  </a:lnTo>
                  <a:lnTo>
                    <a:pt x="8" y="0"/>
                  </a:lnTo>
                  <a:lnTo>
                    <a:pt x="5" y="0"/>
                  </a:lnTo>
                  <a:lnTo>
                    <a:pt x="1" y="1"/>
                  </a:lnTo>
                  <a:lnTo>
                    <a:pt x="0" y="4"/>
                  </a:lnTo>
                  <a:lnTo>
                    <a:pt x="0" y="6"/>
                  </a:lnTo>
                  <a:lnTo>
                    <a:pt x="0" y="7"/>
                  </a:lnTo>
                  <a:lnTo>
                    <a:pt x="1" y="8"/>
                  </a:lnTo>
                  <a:lnTo>
                    <a:pt x="11" y="7"/>
                  </a:lnTo>
                  <a:lnTo>
                    <a:pt x="16" y="6"/>
                  </a:lnTo>
                  <a:lnTo>
                    <a:pt x="17" y="5"/>
                  </a:lnTo>
                  <a:lnTo>
                    <a:pt x="19" y="4"/>
                  </a:lnTo>
                  <a:lnTo>
                    <a:pt x="16"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3" name="Freeform 402"/>
            <p:cNvSpPr>
              <a:spLocks/>
            </p:cNvSpPr>
            <p:nvPr/>
          </p:nvSpPr>
          <p:spPr bwMode="auto">
            <a:xfrm>
              <a:off x="4987925" y="1571629"/>
              <a:ext cx="19050" cy="30163"/>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0 w 13"/>
                <a:gd name="T9" fmla="*/ 2147483647 h 19"/>
                <a:gd name="T10" fmla="*/ 2147483647 w 13"/>
                <a:gd name="T11" fmla="*/ 2147483647 h 19"/>
                <a:gd name="T12" fmla="*/ 2147483647 w 13"/>
                <a:gd name="T13" fmla="*/ 2147483647 h 19"/>
                <a:gd name="T14" fmla="*/ 2147483647 w 13"/>
                <a:gd name="T15" fmla="*/ 0 h 19"/>
                <a:gd name="T16" fmla="*/ 2147483647 w 13"/>
                <a:gd name="T17" fmla="*/ 0 h 19"/>
                <a:gd name="T18" fmla="*/ 2147483647 w 13"/>
                <a:gd name="T19" fmla="*/ 0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9"/>
                <a:gd name="T44" fmla="*/ 13 w 13"/>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9">
                  <a:moveTo>
                    <a:pt x="8" y="13"/>
                  </a:moveTo>
                  <a:lnTo>
                    <a:pt x="4" y="18"/>
                  </a:lnTo>
                  <a:lnTo>
                    <a:pt x="3" y="19"/>
                  </a:lnTo>
                  <a:lnTo>
                    <a:pt x="2" y="18"/>
                  </a:lnTo>
                  <a:lnTo>
                    <a:pt x="0" y="13"/>
                  </a:lnTo>
                  <a:lnTo>
                    <a:pt x="2" y="9"/>
                  </a:lnTo>
                  <a:lnTo>
                    <a:pt x="6" y="5"/>
                  </a:lnTo>
                  <a:lnTo>
                    <a:pt x="9" y="0"/>
                  </a:lnTo>
                  <a:lnTo>
                    <a:pt x="11" y="0"/>
                  </a:lnTo>
                  <a:lnTo>
                    <a:pt x="12" y="0"/>
                  </a:lnTo>
                  <a:lnTo>
                    <a:pt x="13" y="1"/>
                  </a:lnTo>
                  <a:lnTo>
                    <a:pt x="13" y="5"/>
                  </a:lnTo>
                  <a:lnTo>
                    <a:pt x="12" y="7"/>
                  </a:lnTo>
                  <a:lnTo>
                    <a:pt x="8"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4" name="Freeform 403"/>
            <p:cNvSpPr>
              <a:spLocks/>
            </p:cNvSpPr>
            <p:nvPr/>
          </p:nvSpPr>
          <p:spPr bwMode="auto">
            <a:xfrm>
              <a:off x="4805364" y="1358901"/>
              <a:ext cx="242887" cy="93663"/>
            </a:xfrm>
            <a:custGeom>
              <a:avLst/>
              <a:gdLst>
                <a:gd name="T0" fmla="*/ 2147483647 w 166"/>
                <a:gd name="T1" fmla="*/ 2147483647 h 59"/>
                <a:gd name="T2" fmla="*/ 2147483647 w 166"/>
                <a:gd name="T3" fmla="*/ 2147483647 h 59"/>
                <a:gd name="T4" fmla="*/ 2147483647 w 166"/>
                <a:gd name="T5" fmla="*/ 2147483647 h 59"/>
                <a:gd name="T6" fmla="*/ 2147483647 w 166"/>
                <a:gd name="T7" fmla="*/ 2147483647 h 59"/>
                <a:gd name="T8" fmla="*/ 2147483647 w 166"/>
                <a:gd name="T9" fmla="*/ 2147483647 h 59"/>
                <a:gd name="T10" fmla="*/ 2147483647 w 166"/>
                <a:gd name="T11" fmla="*/ 2147483647 h 59"/>
                <a:gd name="T12" fmla="*/ 2147483647 w 166"/>
                <a:gd name="T13" fmla="*/ 2147483647 h 59"/>
                <a:gd name="T14" fmla="*/ 2147483647 w 166"/>
                <a:gd name="T15" fmla="*/ 2147483647 h 59"/>
                <a:gd name="T16" fmla="*/ 2147483647 w 166"/>
                <a:gd name="T17" fmla="*/ 0 h 59"/>
                <a:gd name="T18" fmla="*/ 2147483647 w 166"/>
                <a:gd name="T19" fmla="*/ 2147483647 h 59"/>
                <a:gd name="T20" fmla="*/ 2147483647 w 166"/>
                <a:gd name="T21" fmla="*/ 2147483647 h 59"/>
                <a:gd name="T22" fmla="*/ 2147483647 w 166"/>
                <a:gd name="T23" fmla="*/ 2147483647 h 59"/>
                <a:gd name="T24" fmla="*/ 2147483647 w 166"/>
                <a:gd name="T25" fmla="*/ 2147483647 h 59"/>
                <a:gd name="T26" fmla="*/ 2147483647 w 166"/>
                <a:gd name="T27" fmla="*/ 2147483647 h 59"/>
                <a:gd name="T28" fmla="*/ 2147483647 w 166"/>
                <a:gd name="T29" fmla="*/ 2147483647 h 59"/>
                <a:gd name="T30" fmla="*/ 2147483647 w 166"/>
                <a:gd name="T31" fmla="*/ 2147483647 h 59"/>
                <a:gd name="T32" fmla="*/ 2147483647 w 166"/>
                <a:gd name="T33" fmla="*/ 2147483647 h 59"/>
                <a:gd name="T34" fmla="*/ 2147483647 w 166"/>
                <a:gd name="T35" fmla="*/ 2147483647 h 59"/>
                <a:gd name="T36" fmla="*/ 0 w 166"/>
                <a:gd name="T37" fmla="*/ 2147483647 h 59"/>
                <a:gd name="T38" fmla="*/ 2147483647 w 166"/>
                <a:gd name="T39" fmla="*/ 2147483647 h 59"/>
                <a:gd name="T40" fmla="*/ 2147483647 w 166"/>
                <a:gd name="T41" fmla="*/ 2147483647 h 59"/>
                <a:gd name="T42" fmla="*/ 2147483647 w 166"/>
                <a:gd name="T43" fmla="*/ 2147483647 h 59"/>
                <a:gd name="T44" fmla="*/ 2147483647 w 166"/>
                <a:gd name="T45" fmla="*/ 2147483647 h 59"/>
                <a:gd name="T46" fmla="*/ 2147483647 w 166"/>
                <a:gd name="T47" fmla="*/ 2147483647 h 59"/>
                <a:gd name="T48" fmla="*/ 2147483647 w 166"/>
                <a:gd name="T49" fmla="*/ 2147483647 h 59"/>
                <a:gd name="T50" fmla="*/ 2147483647 w 166"/>
                <a:gd name="T51" fmla="*/ 2147483647 h 59"/>
                <a:gd name="T52" fmla="*/ 2147483647 w 166"/>
                <a:gd name="T53" fmla="*/ 2147483647 h 59"/>
                <a:gd name="T54" fmla="*/ 2147483647 w 166"/>
                <a:gd name="T55" fmla="*/ 2147483647 h 59"/>
                <a:gd name="T56" fmla="*/ 2147483647 w 166"/>
                <a:gd name="T57" fmla="*/ 2147483647 h 59"/>
                <a:gd name="T58" fmla="*/ 2147483647 w 166"/>
                <a:gd name="T59" fmla="*/ 2147483647 h 59"/>
                <a:gd name="T60" fmla="*/ 2147483647 w 166"/>
                <a:gd name="T61" fmla="*/ 2147483647 h 59"/>
                <a:gd name="T62" fmla="*/ 2147483647 w 166"/>
                <a:gd name="T63" fmla="*/ 2147483647 h 59"/>
                <a:gd name="T64" fmla="*/ 2147483647 w 166"/>
                <a:gd name="T65" fmla="*/ 2147483647 h 59"/>
                <a:gd name="T66" fmla="*/ 2147483647 w 166"/>
                <a:gd name="T67" fmla="*/ 2147483647 h 59"/>
                <a:gd name="T68" fmla="*/ 2147483647 w 166"/>
                <a:gd name="T69" fmla="*/ 2147483647 h 59"/>
                <a:gd name="T70" fmla="*/ 2147483647 w 166"/>
                <a:gd name="T71" fmla="*/ 2147483647 h 59"/>
                <a:gd name="T72" fmla="*/ 2147483647 w 166"/>
                <a:gd name="T73" fmla="*/ 2147483647 h 59"/>
                <a:gd name="T74" fmla="*/ 2147483647 w 166"/>
                <a:gd name="T75" fmla="*/ 2147483647 h 59"/>
                <a:gd name="T76" fmla="*/ 2147483647 w 166"/>
                <a:gd name="T77" fmla="*/ 2147483647 h 59"/>
                <a:gd name="T78" fmla="*/ 2147483647 w 166"/>
                <a:gd name="T79" fmla="*/ 2147483647 h 59"/>
                <a:gd name="T80" fmla="*/ 2147483647 w 166"/>
                <a:gd name="T81" fmla="*/ 2147483647 h 59"/>
                <a:gd name="T82" fmla="*/ 2147483647 w 166"/>
                <a:gd name="T83" fmla="*/ 2147483647 h 59"/>
                <a:gd name="T84" fmla="*/ 2147483647 w 166"/>
                <a:gd name="T85" fmla="*/ 2147483647 h 59"/>
                <a:gd name="T86" fmla="*/ 2147483647 w 166"/>
                <a:gd name="T87" fmla="*/ 2147483647 h 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6"/>
                <a:gd name="T133" fmla="*/ 0 h 59"/>
                <a:gd name="T134" fmla="*/ 166 w 166"/>
                <a:gd name="T135" fmla="*/ 59 h 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6" h="59">
                  <a:moveTo>
                    <a:pt x="162" y="13"/>
                  </a:moveTo>
                  <a:lnTo>
                    <a:pt x="160" y="12"/>
                  </a:lnTo>
                  <a:lnTo>
                    <a:pt x="157" y="11"/>
                  </a:lnTo>
                  <a:lnTo>
                    <a:pt x="152" y="12"/>
                  </a:lnTo>
                  <a:lnTo>
                    <a:pt x="147" y="12"/>
                  </a:lnTo>
                  <a:lnTo>
                    <a:pt x="132" y="7"/>
                  </a:lnTo>
                  <a:lnTo>
                    <a:pt x="124" y="5"/>
                  </a:lnTo>
                  <a:lnTo>
                    <a:pt x="117" y="5"/>
                  </a:lnTo>
                  <a:lnTo>
                    <a:pt x="111" y="6"/>
                  </a:lnTo>
                  <a:lnTo>
                    <a:pt x="108" y="8"/>
                  </a:lnTo>
                  <a:lnTo>
                    <a:pt x="104" y="9"/>
                  </a:lnTo>
                  <a:lnTo>
                    <a:pt x="99" y="9"/>
                  </a:lnTo>
                  <a:lnTo>
                    <a:pt x="94" y="7"/>
                  </a:lnTo>
                  <a:lnTo>
                    <a:pt x="90" y="5"/>
                  </a:lnTo>
                  <a:lnTo>
                    <a:pt x="89" y="4"/>
                  </a:lnTo>
                  <a:lnTo>
                    <a:pt x="87" y="2"/>
                  </a:lnTo>
                  <a:lnTo>
                    <a:pt x="86" y="1"/>
                  </a:lnTo>
                  <a:lnTo>
                    <a:pt x="85" y="0"/>
                  </a:lnTo>
                  <a:lnTo>
                    <a:pt x="82" y="0"/>
                  </a:lnTo>
                  <a:lnTo>
                    <a:pt x="80" y="1"/>
                  </a:lnTo>
                  <a:lnTo>
                    <a:pt x="76" y="4"/>
                  </a:lnTo>
                  <a:lnTo>
                    <a:pt x="73" y="11"/>
                  </a:lnTo>
                  <a:lnTo>
                    <a:pt x="71" y="14"/>
                  </a:lnTo>
                  <a:lnTo>
                    <a:pt x="67" y="15"/>
                  </a:lnTo>
                  <a:lnTo>
                    <a:pt x="62" y="15"/>
                  </a:lnTo>
                  <a:lnTo>
                    <a:pt x="57" y="14"/>
                  </a:lnTo>
                  <a:lnTo>
                    <a:pt x="49" y="12"/>
                  </a:lnTo>
                  <a:lnTo>
                    <a:pt x="33" y="2"/>
                  </a:lnTo>
                  <a:lnTo>
                    <a:pt x="31" y="2"/>
                  </a:lnTo>
                  <a:lnTo>
                    <a:pt x="30" y="4"/>
                  </a:lnTo>
                  <a:lnTo>
                    <a:pt x="25" y="7"/>
                  </a:lnTo>
                  <a:lnTo>
                    <a:pt x="20" y="11"/>
                  </a:lnTo>
                  <a:lnTo>
                    <a:pt x="16" y="13"/>
                  </a:lnTo>
                  <a:lnTo>
                    <a:pt x="12" y="15"/>
                  </a:lnTo>
                  <a:lnTo>
                    <a:pt x="2" y="20"/>
                  </a:lnTo>
                  <a:lnTo>
                    <a:pt x="1" y="21"/>
                  </a:lnTo>
                  <a:lnTo>
                    <a:pt x="0" y="22"/>
                  </a:lnTo>
                  <a:lnTo>
                    <a:pt x="0" y="26"/>
                  </a:lnTo>
                  <a:lnTo>
                    <a:pt x="1" y="28"/>
                  </a:lnTo>
                  <a:lnTo>
                    <a:pt x="5" y="28"/>
                  </a:lnTo>
                  <a:lnTo>
                    <a:pt x="7" y="30"/>
                  </a:lnTo>
                  <a:lnTo>
                    <a:pt x="10" y="30"/>
                  </a:lnTo>
                  <a:lnTo>
                    <a:pt x="11" y="31"/>
                  </a:lnTo>
                  <a:lnTo>
                    <a:pt x="10" y="32"/>
                  </a:lnTo>
                  <a:lnTo>
                    <a:pt x="9" y="34"/>
                  </a:lnTo>
                  <a:lnTo>
                    <a:pt x="6" y="36"/>
                  </a:lnTo>
                  <a:lnTo>
                    <a:pt x="5" y="37"/>
                  </a:lnTo>
                  <a:lnTo>
                    <a:pt x="4" y="38"/>
                  </a:lnTo>
                  <a:lnTo>
                    <a:pt x="2" y="39"/>
                  </a:lnTo>
                  <a:lnTo>
                    <a:pt x="4" y="40"/>
                  </a:lnTo>
                  <a:lnTo>
                    <a:pt x="6" y="41"/>
                  </a:lnTo>
                  <a:lnTo>
                    <a:pt x="10" y="41"/>
                  </a:lnTo>
                  <a:lnTo>
                    <a:pt x="12" y="41"/>
                  </a:lnTo>
                  <a:lnTo>
                    <a:pt x="16" y="44"/>
                  </a:lnTo>
                  <a:lnTo>
                    <a:pt x="20" y="45"/>
                  </a:lnTo>
                  <a:lnTo>
                    <a:pt x="26" y="44"/>
                  </a:lnTo>
                  <a:lnTo>
                    <a:pt x="34" y="41"/>
                  </a:lnTo>
                  <a:lnTo>
                    <a:pt x="42" y="40"/>
                  </a:lnTo>
                  <a:lnTo>
                    <a:pt x="43" y="41"/>
                  </a:lnTo>
                  <a:lnTo>
                    <a:pt x="42" y="44"/>
                  </a:lnTo>
                  <a:lnTo>
                    <a:pt x="38" y="45"/>
                  </a:lnTo>
                  <a:lnTo>
                    <a:pt x="35" y="46"/>
                  </a:lnTo>
                  <a:lnTo>
                    <a:pt x="33" y="49"/>
                  </a:lnTo>
                  <a:lnTo>
                    <a:pt x="33" y="51"/>
                  </a:lnTo>
                  <a:lnTo>
                    <a:pt x="35" y="52"/>
                  </a:lnTo>
                  <a:lnTo>
                    <a:pt x="42" y="54"/>
                  </a:lnTo>
                  <a:lnTo>
                    <a:pt x="45" y="54"/>
                  </a:lnTo>
                  <a:lnTo>
                    <a:pt x="49" y="54"/>
                  </a:lnTo>
                  <a:lnTo>
                    <a:pt x="58" y="54"/>
                  </a:lnTo>
                  <a:lnTo>
                    <a:pt x="67" y="56"/>
                  </a:lnTo>
                  <a:lnTo>
                    <a:pt x="75" y="57"/>
                  </a:lnTo>
                  <a:lnTo>
                    <a:pt x="84" y="57"/>
                  </a:lnTo>
                  <a:lnTo>
                    <a:pt x="96" y="57"/>
                  </a:lnTo>
                  <a:lnTo>
                    <a:pt x="108" y="58"/>
                  </a:lnTo>
                  <a:lnTo>
                    <a:pt x="120" y="59"/>
                  </a:lnTo>
                  <a:lnTo>
                    <a:pt x="132" y="59"/>
                  </a:lnTo>
                  <a:lnTo>
                    <a:pt x="138" y="58"/>
                  </a:lnTo>
                  <a:lnTo>
                    <a:pt x="142" y="56"/>
                  </a:lnTo>
                  <a:lnTo>
                    <a:pt x="146" y="52"/>
                  </a:lnTo>
                  <a:lnTo>
                    <a:pt x="150" y="47"/>
                  </a:lnTo>
                  <a:lnTo>
                    <a:pt x="156" y="38"/>
                  </a:lnTo>
                  <a:lnTo>
                    <a:pt x="162" y="27"/>
                  </a:lnTo>
                  <a:lnTo>
                    <a:pt x="165" y="24"/>
                  </a:lnTo>
                  <a:lnTo>
                    <a:pt x="166" y="22"/>
                  </a:lnTo>
                  <a:lnTo>
                    <a:pt x="166" y="20"/>
                  </a:lnTo>
                  <a:lnTo>
                    <a:pt x="165" y="17"/>
                  </a:lnTo>
                  <a:lnTo>
                    <a:pt x="164" y="14"/>
                  </a:lnTo>
                  <a:lnTo>
                    <a:pt x="162"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5" name="Freeform 404"/>
            <p:cNvSpPr>
              <a:spLocks/>
            </p:cNvSpPr>
            <p:nvPr/>
          </p:nvSpPr>
          <p:spPr bwMode="auto">
            <a:xfrm>
              <a:off x="4986338" y="1570038"/>
              <a:ext cx="19050" cy="30162"/>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0 w 13"/>
                <a:gd name="T13" fmla="*/ 2147483647 h 19"/>
                <a:gd name="T14" fmla="*/ 2147483647 w 13"/>
                <a:gd name="T15" fmla="*/ 2147483647 h 19"/>
                <a:gd name="T16" fmla="*/ 2147483647 w 13"/>
                <a:gd name="T17" fmla="*/ 2147483647 h 19"/>
                <a:gd name="T18" fmla="*/ 2147483647 w 13"/>
                <a:gd name="T19" fmla="*/ 0 h 19"/>
                <a:gd name="T20" fmla="*/ 2147483647 w 13"/>
                <a:gd name="T21" fmla="*/ 0 h 19"/>
                <a:gd name="T22" fmla="*/ 2147483647 w 13"/>
                <a:gd name="T23" fmla="*/ 0 h 19"/>
                <a:gd name="T24" fmla="*/ 2147483647 w 13"/>
                <a:gd name="T25" fmla="*/ 0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9"/>
                <a:gd name="T59" fmla="*/ 13 w 13"/>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9">
                  <a:moveTo>
                    <a:pt x="8" y="13"/>
                  </a:moveTo>
                  <a:lnTo>
                    <a:pt x="8" y="13"/>
                  </a:lnTo>
                  <a:lnTo>
                    <a:pt x="4" y="18"/>
                  </a:lnTo>
                  <a:lnTo>
                    <a:pt x="3" y="19"/>
                  </a:lnTo>
                  <a:lnTo>
                    <a:pt x="1" y="18"/>
                  </a:lnTo>
                  <a:lnTo>
                    <a:pt x="0" y="13"/>
                  </a:lnTo>
                  <a:lnTo>
                    <a:pt x="1" y="9"/>
                  </a:lnTo>
                  <a:lnTo>
                    <a:pt x="5" y="4"/>
                  </a:lnTo>
                  <a:lnTo>
                    <a:pt x="9" y="0"/>
                  </a:lnTo>
                  <a:lnTo>
                    <a:pt x="10" y="0"/>
                  </a:lnTo>
                  <a:lnTo>
                    <a:pt x="12" y="0"/>
                  </a:lnTo>
                  <a:lnTo>
                    <a:pt x="13" y="1"/>
                  </a:lnTo>
                  <a:lnTo>
                    <a:pt x="13" y="4"/>
                  </a:lnTo>
                  <a:lnTo>
                    <a:pt x="12" y="7"/>
                  </a:lnTo>
                  <a:lnTo>
                    <a:pt x="8"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6" name="Freeform 405"/>
            <p:cNvSpPr>
              <a:spLocks/>
            </p:cNvSpPr>
            <p:nvPr/>
          </p:nvSpPr>
          <p:spPr bwMode="auto">
            <a:xfrm>
              <a:off x="4802192" y="1357316"/>
              <a:ext cx="244475" cy="93662"/>
            </a:xfrm>
            <a:custGeom>
              <a:avLst/>
              <a:gdLst>
                <a:gd name="T0" fmla="*/ 2147483647 w 167"/>
                <a:gd name="T1" fmla="*/ 2147483647 h 59"/>
                <a:gd name="T2" fmla="*/ 2147483647 w 167"/>
                <a:gd name="T3" fmla="*/ 2147483647 h 59"/>
                <a:gd name="T4" fmla="*/ 2147483647 w 167"/>
                <a:gd name="T5" fmla="*/ 2147483647 h 59"/>
                <a:gd name="T6" fmla="*/ 2147483647 w 167"/>
                <a:gd name="T7" fmla="*/ 2147483647 h 59"/>
                <a:gd name="T8" fmla="*/ 2147483647 w 167"/>
                <a:gd name="T9" fmla="*/ 2147483647 h 59"/>
                <a:gd name="T10" fmla="*/ 2147483647 w 167"/>
                <a:gd name="T11" fmla="*/ 2147483647 h 59"/>
                <a:gd name="T12" fmla="*/ 2147483647 w 167"/>
                <a:gd name="T13" fmla="*/ 2147483647 h 59"/>
                <a:gd name="T14" fmla="*/ 2147483647 w 167"/>
                <a:gd name="T15" fmla="*/ 2147483647 h 59"/>
                <a:gd name="T16" fmla="*/ 2147483647 w 167"/>
                <a:gd name="T17" fmla="*/ 2147483647 h 59"/>
                <a:gd name="T18" fmla="*/ 2147483647 w 167"/>
                <a:gd name="T19" fmla="*/ 2147483647 h 59"/>
                <a:gd name="T20" fmla="*/ 2147483647 w 167"/>
                <a:gd name="T21" fmla="*/ 2147483647 h 59"/>
                <a:gd name="T22" fmla="*/ 2147483647 w 167"/>
                <a:gd name="T23" fmla="*/ 0 h 59"/>
                <a:gd name="T24" fmla="*/ 2147483647 w 167"/>
                <a:gd name="T25" fmla="*/ 0 h 59"/>
                <a:gd name="T26" fmla="*/ 2147483647 w 167"/>
                <a:gd name="T27" fmla="*/ 2147483647 h 59"/>
                <a:gd name="T28" fmla="*/ 2147483647 w 167"/>
                <a:gd name="T29" fmla="*/ 2147483647 h 59"/>
                <a:gd name="T30" fmla="*/ 2147483647 w 167"/>
                <a:gd name="T31" fmla="*/ 2147483647 h 59"/>
                <a:gd name="T32" fmla="*/ 2147483647 w 167"/>
                <a:gd name="T33" fmla="*/ 2147483647 h 59"/>
                <a:gd name="T34" fmla="*/ 2147483647 w 167"/>
                <a:gd name="T35" fmla="*/ 2147483647 h 59"/>
                <a:gd name="T36" fmla="*/ 2147483647 w 167"/>
                <a:gd name="T37" fmla="*/ 2147483647 h 59"/>
                <a:gd name="T38" fmla="*/ 2147483647 w 167"/>
                <a:gd name="T39" fmla="*/ 2147483647 h 59"/>
                <a:gd name="T40" fmla="*/ 2147483647 w 167"/>
                <a:gd name="T41" fmla="*/ 2147483647 h 59"/>
                <a:gd name="T42" fmla="*/ 2147483647 w 167"/>
                <a:gd name="T43" fmla="*/ 2147483647 h 59"/>
                <a:gd name="T44" fmla="*/ 2147483647 w 167"/>
                <a:gd name="T45" fmla="*/ 2147483647 h 59"/>
                <a:gd name="T46" fmla="*/ 2147483647 w 167"/>
                <a:gd name="T47" fmla="*/ 2147483647 h 59"/>
                <a:gd name="T48" fmla="*/ 0 w 167"/>
                <a:gd name="T49" fmla="*/ 2147483647 h 59"/>
                <a:gd name="T50" fmla="*/ 0 w 167"/>
                <a:gd name="T51" fmla="*/ 2147483647 h 59"/>
                <a:gd name="T52" fmla="*/ 2147483647 w 167"/>
                <a:gd name="T53" fmla="*/ 2147483647 h 59"/>
                <a:gd name="T54" fmla="*/ 2147483647 w 167"/>
                <a:gd name="T55" fmla="*/ 2147483647 h 59"/>
                <a:gd name="T56" fmla="*/ 2147483647 w 167"/>
                <a:gd name="T57" fmla="*/ 2147483647 h 59"/>
                <a:gd name="T58" fmla="*/ 2147483647 w 167"/>
                <a:gd name="T59" fmla="*/ 2147483647 h 59"/>
                <a:gd name="T60" fmla="*/ 2147483647 w 167"/>
                <a:gd name="T61" fmla="*/ 2147483647 h 59"/>
                <a:gd name="T62" fmla="*/ 2147483647 w 167"/>
                <a:gd name="T63" fmla="*/ 2147483647 h 59"/>
                <a:gd name="T64" fmla="*/ 2147483647 w 167"/>
                <a:gd name="T65" fmla="*/ 2147483647 h 59"/>
                <a:gd name="T66" fmla="*/ 2147483647 w 167"/>
                <a:gd name="T67" fmla="*/ 2147483647 h 59"/>
                <a:gd name="T68" fmla="*/ 2147483647 w 167"/>
                <a:gd name="T69" fmla="*/ 2147483647 h 59"/>
                <a:gd name="T70" fmla="*/ 2147483647 w 167"/>
                <a:gd name="T71" fmla="*/ 2147483647 h 59"/>
                <a:gd name="T72" fmla="*/ 2147483647 w 167"/>
                <a:gd name="T73" fmla="*/ 2147483647 h 59"/>
                <a:gd name="T74" fmla="*/ 2147483647 w 167"/>
                <a:gd name="T75" fmla="*/ 2147483647 h 59"/>
                <a:gd name="T76" fmla="*/ 2147483647 w 167"/>
                <a:gd name="T77" fmla="*/ 2147483647 h 59"/>
                <a:gd name="T78" fmla="*/ 2147483647 w 167"/>
                <a:gd name="T79" fmla="*/ 2147483647 h 59"/>
                <a:gd name="T80" fmla="*/ 2147483647 w 167"/>
                <a:gd name="T81" fmla="*/ 2147483647 h 59"/>
                <a:gd name="T82" fmla="*/ 2147483647 w 167"/>
                <a:gd name="T83" fmla="*/ 2147483647 h 59"/>
                <a:gd name="T84" fmla="*/ 2147483647 w 167"/>
                <a:gd name="T85" fmla="*/ 2147483647 h 59"/>
                <a:gd name="T86" fmla="*/ 2147483647 w 167"/>
                <a:gd name="T87" fmla="*/ 2147483647 h 59"/>
                <a:gd name="T88" fmla="*/ 2147483647 w 167"/>
                <a:gd name="T89" fmla="*/ 2147483647 h 59"/>
                <a:gd name="T90" fmla="*/ 2147483647 w 167"/>
                <a:gd name="T91" fmla="*/ 2147483647 h 59"/>
                <a:gd name="T92" fmla="*/ 2147483647 w 167"/>
                <a:gd name="T93" fmla="*/ 2147483647 h 59"/>
                <a:gd name="T94" fmla="*/ 2147483647 w 167"/>
                <a:gd name="T95" fmla="*/ 2147483647 h 59"/>
                <a:gd name="T96" fmla="*/ 2147483647 w 167"/>
                <a:gd name="T97" fmla="*/ 2147483647 h 59"/>
                <a:gd name="T98" fmla="*/ 2147483647 w 167"/>
                <a:gd name="T99" fmla="*/ 2147483647 h 59"/>
                <a:gd name="T100" fmla="*/ 2147483647 w 167"/>
                <a:gd name="T101" fmla="*/ 2147483647 h 59"/>
                <a:gd name="T102" fmla="*/ 2147483647 w 167"/>
                <a:gd name="T103" fmla="*/ 2147483647 h 59"/>
                <a:gd name="T104" fmla="*/ 2147483647 w 167"/>
                <a:gd name="T105" fmla="*/ 2147483647 h 59"/>
                <a:gd name="T106" fmla="*/ 2147483647 w 167"/>
                <a:gd name="T107" fmla="*/ 2147483647 h 59"/>
                <a:gd name="T108" fmla="*/ 2147483647 w 167"/>
                <a:gd name="T109" fmla="*/ 2147483647 h 59"/>
                <a:gd name="T110" fmla="*/ 2147483647 w 167"/>
                <a:gd name="T111" fmla="*/ 2147483647 h 59"/>
                <a:gd name="T112" fmla="*/ 2147483647 w 167"/>
                <a:gd name="T113" fmla="*/ 2147483647 h 59"/>
                <a:gd name="T114" fmla="*/ 2147483647 w 167"/>
                <a:gd name="T115" fmla="*/ 2147483647 h 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7"/>
                <a:gd name="T175" fmla="*/ 0 h 59"/>
                <a:gd name="T176" fmla="*/ 167 w 167"/>
                <a:gd name="T177" fmla="*/ 59 h 5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7" h="59">
                  <a:moveTo>
                    <a:pt x="163" y="13"/>
                  </a:moveTo>
                  <a:lnTo>
                    <a:pt x="163" y="13"/>
                  </a:lnTo>
                  <a:lnTo>
                    <a:pt x="160" y="12"/>
                  </a:lnTo>
                  <a:lnTo>
                    <a:pt x="158" y="10"/>
                  </a:lnTo>
                  <a:lnTo>
                    <a:pt x="153" y="12"/>
                  </a:lnTo>
                  <a:lnTo>
                    <a:pt x="148" y="12"/>
                  </a:lnTo>
                  <a:lnTo>
                    <a:pt x="133" y="7"/>
                  </a:lnTo>
                  <a:lnTo>
                    <a:pt x="125" y="5"/>
                  </a:lnTo>
                  <a:lnTo>
                    <a:pt x="117" y="5"/>
                  </a:lnTo>
                  <a:lnTo>
                    <a:pt x="112" y="6"/>
                  </a:lnTo>
                  <a:lnTo>
                    <a:pt x="108" y="8"/>
                  </a:lnTo>
                  <a:lnTo>
                    <a:pt x="105" y="9"/>
                  </a:lnTo>
                  <a:lnTo>
                    <a:pt x="100" y="9"/>
                  </a:lnTo>
                  <a:lnTo>
                    <a:pt x="94" y="7"/>
                  </a:lnTo>
                  <a:lnTo>
                    <a:pt x="91" y="5"/>
                  </a:lnTo>
                  <a:lnTo>
                    <a:pt x="89" y="3"/>
                  </a:lnTo>
                  <a:lnTo>
                    <a:pt x="88" y="2"/>
                  </a:lnTo>
                  <a:lnTo>
                    <a:pt x="87" y="1"/>
                  </a:lnTo>
                  <a:lnTo>
                    <a:pt x="86" y="0"/>
                  </a:lnTo>
                  <a:lnTo>
                    <a:pt x="83" y="0"/>
                  </a:lnTo>
                  <a:lnTo>
                    <a:pt x="80" y="1"/>
                  </a:lnTo>
                  <a:lnTo>
                    <a:pt x="77" y="3"/>
                  </a:lnTo>
                  <a:lnTo>
                    <a:pt x="74" y="10"/>
                  </a:lnTo>
                  <a:lnTo>
                    <a:pt x="72" y="14"/>
                  </a:lnTo>
                  <a:lnTo>
                    <a:pt x="68" y="15"/>
                  </a:lnTo>
                  <a:lnTo>
                    <a:pt x="63" y="15"/>
                  </a:lnTo>
                  <a:lnTo>
                    <a:pt x="58" y="14"/>
                  </a:lnTo>
                  <a:lnTo>
                    <a:pt x="50" y="12"/>
                  </a:lnTo>
                  <a:lnTo>
                    <a:pt x="33" y="2"/>
                  </a:lnTo>
                  <a:lnTo>
                    <a:pt x="32" y="2"/>
                  </a:lnTo>
                  <a:lnTo>
                    <a:pt x="31" y="3"/>
                  </a:lnTo>
                  <a:lnTo>
                    <a:pt x="26" y="7"/>
                  </a:lnTo>
                  <a:lnTo>
                    <a:pt x="21" y="10"/>
                  </a:lnTo>
                  <a:lnTo>
                    <a:pt x="17" y="13"/>
                  </a:lnTo>
                  <a:lnTo>
                    <a:pt x="13" y="15"/>
                  </a:lnTo>
                  <a:lnTo>
                    <a:pt x="3" y="20"/>
                  </a:lnTo>
                  <a:lnTo>
                    <a:pt x="2" y="21"/>
                  </a:lnTo>
                  <a:lnTo>
                    <a:pt x="0" y="22"/>
                  </a:lnTo>
                  <a:lnTo>
                    <a:pt x="0" y="26"/>
                  </a:lnTo>
                  <a:lnTo>
                    <a:pt x="2" y="28"/>
                  </a:lnTo>
                  <a:lnTo>
                    <a:pt x="6" y="28"/>
                  </a:lnTo>
                  <a:lnTo>
                    <a:pt x="8" y="29"/>
                  </a:lnTo>
                  <a:lnTo>
                    <a:pt x="11" y="29"/>
                  </a:lnTo>
                  <a:lnTo>
                    <a:pt x="12" y="31"/>
                  </a:lnTo>
                  <a:lnTo>
                    <a:pt x="11" y="32"/>
                  </a:lnTo>
                  <a:lnTo>
                    <a:pt x="9" y="34"/>
                  </a:lnTo>
                  <a:lnTo>
                    <a:pt x="7" y="35"/>
                  </a:lnTo>
                  <a:lnTo>
                    <a:pt x="6" y="37"/>
                  </a:lnTo>
                  <a:lnTo>
                    <a:pt x="4" y="38"/>
                  </a:lnTo>
                  <a:lnTo>
                    <a:pt x="3" y="39"/>
                  </a:lnTo>
                  <a:lnTo>
                    <a:pt x="4" y="40"/>
                  </a:lnTo>
                  <a:lnTo>
                    <a:pt x="7" y="41"/>
                  </a:lnTo>
                  <a:lnTo>
                    <a:pt x="11" y="41"/>
                  </a:lnTo>
                  <a:lnTo>
                    <a:pt x="13" y="41"/>
                  </a:lnTo>
                  <a:lnTo>
                    <a:pt x="17" y="44"/>
                  </a:lnTo>
                  <a:lnTo>
                    <a:pt x="21" y="45"/>
                  </a:lnTo>
                  <a:lnTo>
                    <a:pt x="27" y="44"/>
                  </a:lnTo>
                  <a:lnTo>
                    <a:pt x="35" y="41"/>
                  </a:lnTo>
                  <a:lnTo>
                    <a:pt x="42" y="40"/>
                  </a:lnTo>
                  <a:lnTo>
                    <a:pt x="44" y="41"/>
                  </a:lnTo>
                  <a:lnTo>
                    <a:pt x="42" y="44"/>
                  </a:lnTo>
                  <a:lnTo>
                    <a:pt x="39" y="45"/>
                  </a:lnTo>
                  <a:lnTo>
                    <a:pt x="36" y="46"/>
                  </a:lnTo>
                  <a:lnTo>
                    <a:pt x="33" y="48"/>
                  </a:lnTo>
                  <a:lnTo>
                    <a:pt x="33" y="51"/>
                  </a:lnTo>
                  <a:lnTo>
                    <a:pt x="36" y="52"/>
                  </a:lnTo>
                  <a:lnTo>
                    <a:pt x="42" y="54"/>
                  </a:lnTo>
                  <a:lnTo>
                    <a:pt x="46" y="54"/>
                  </a:lnTo>
                  <a:lnTo>
                    <a:pt x="50" y="54"/>
                  </a:lnTo>
                  <a:lnTo>
                    <a:pt x="59" y="54"/>
                  </a:lnTo>
                  <a:lnTo>
                    <a:pt x="68" y="55"/>
                  </a:lnTo>
                  <a:lnTo>
                    <a:pt x="75" y="57"/>
                  </a:lnTo>
                  <a:lnTo>
                    <a:pt x="84" y="57"/>
                  </a:lnTo>
                  <a:lnTo>
                    <a:pt x="97" y="57"/>
                  </a:lnTo>
                  <a:lnTo>
                    <a:pt x="108" y="58"/>
                  </a:lnTo>
                  <a:lnTo>
                    <a:pt x="121" y="59"/>
                  </a:lnTo>
                  <a:lnTo>
                    <a:pt x="133" y="59"/>
                  </a:lnTo>
                  <a:lnTo>
                    <a:pt x="139" y="58"/>
                  </a:lnTo>
                  <a:lnTo>
                    <a:pt x="143" y="55"/>
                  </a:lnTo>
                  <a:lnTo>
                    <a:pt x="146" y="52"/>
                  </a:lnTo>
                  <a:lnTo>
                    <a:pt x="150" y="47"/>
                  </a:lnTo>
                  <a:lnTo>
                    <a:pt x="157" y="38"/>
                  </a:lnTo>
                  <a:lnTo>
                    <a:pt x="163" y="27"/>
                  </a:lnTo>
                  <a:lnTo>
                    <a:pt x="166" y="23"/>
                  </a:lnTo>
                  <a:lnTo>
                    <a:pt x="167" y="22"/>
                  </a:lnTo>
                  <a:lnTo>
                    <a:pt x="167" y="20"/>
                  </a:lnTo>
                  <a:lnTo>
                    <a:pt x="166" y="16"/>
                  </a:lnTo>
                  <a:lnTo>
                    <a:pt x="164" y="14"/>
                  </a:lnTo>
                  <a:lnTo>
                    <a:pt x="163"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7" name="Freeform 406"/>
            <p:cNvSpPr>
              <a:spLocks/>
            </p:cNvSpPr>
            <p:nvPr/>
          </p:nvSpPr>
          <p:spPr bwMode="auto">
            <a:xfrm>
              <a:off x="4875217" y="1501775"/>
              <a:ext cx="96837" cy="50800"/>
            </a:xfrm>
            <a:custGeom>
              <a:avLst/>
              <a:gdLst>
                <a:gd name="T0" fmla="*/ 2147483647 w 66"/>
                <a:gd name="T1" fmla="*/ 2147483647 h 32"/>
                <a:gd name="T2" fmla="*/ 2147483647 w 66"/>
                <a:gd name="T3" fmla="*/ 2147483647 h 32"/>
                <a:gd name="T4" fmla="*/ 2147483647 w 66"/>
                <a:gd name="T5" fmla="*/ 2147483647 h 32"/>
                <a:gd name="T6" fmla="*/ 2147483647 w 66"/>
                <a:gd name="T7" fmla="*/ 2147483647 h 32"/>
                <a:gd name="T8" fmla="*/ 2147483647 w 66"/>
                <a:gd name="T9" fmla="*/ 2147483647 h 32"/>
                <a:gd name="T10" fmla="*/ 2147483647 w 66"/>
                <a:gd name="T11" fmla="*/ 2147483647 h 32"/>
                <a:gd name="T12" fmla="*/ 2147483647 w 66"/>
                <a:gd name="T13" fmla="*/ 2147483647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2147483647 w 66"/>
                <a:gd name="T25" fmla="*/ 2147483647 h 32"/>
                <a:gd name="T26" fmla="*/ 2147483647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0 h 32"/>
                <a:gd name="T40" fmla="*/ 2147483647 w 66"/>
                <a:gd name="T41" fmla="*/ 0 h 32"/>
                <a:gd name="T42" fmla="*/ 2147483647 w 66"/>
                <a:gd name="T43" fmla="*/ 0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0 w 66"/>
                <a:gd name="T59" fmla="*/ 2147483647 h 32"/>
                <a:gd name="T60" fmla="*/ 0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2147483647 w 66"/>
                <a:gd name="T73" fmla="*/ 2147483647 h 32"/>
                <a:gd name="T74" fmla="*/ 2147483647 w 66"/>
                <a:gd name="T75" fmla="*/ 2147483647 h 32"/>
                <a:gd name="T76" fmla="*/ 2147483647 w 66"/>
                <a:gd name="T77" fmla="*/ 2147483647 h 32"/>
                <a:gd name="T78" fmla="*/ 2147483647 w 66"/>
                <a:gd name="T79" fmla="*/ 2147483647 h 32"/>
                <a:gd name="T80" fmla="*/ 2147483647 w 66"/>
                <a:gd name="T81" fmla="*/ 2147483647 h 32"/>
                <a:gd name="T82" fmla="*/ 2147483647 w 66"/>
                <a:gd name="T83" fmla="*/ 2147483647 h 32"/>
                <a:gd name="T84" fmla="*/ 2147483647 w 66"/>
                <a:gd name="T85" fmla="*/ 2147483647 h 32"/>
                <a:gd name="T86" fmla="*/ 2147483647 w 66"/>
                <a:gd name="T87" fmla="*/ 2147483647 h 32"/>
                <a:gd name="T88" fmla="*/ 2147483647 w 66"/>
                <a:gd name="T89" fmla="*/ 2147483647 h 32"/>
                <a:gd name="T90" fmla="*/ 2147483647 w 66"/>
                <a:gd name="T91" fmla="*/ 2147483647 h 32"/>
                <a:gd name="T92" fmla="*/ 2147483647 w 66"/>
                <a:gd name="T93" fmla="*/ 2147483647 h 32"/>
                <a:gd name="T94" fmla="*/ 2147483647 w 66"/>
                <a:gd name="T95" fmla="*/ 2147483647 h 32"/>
                <a:gd name="T96" fmla="*/ 2147483647 w 66"/>
                <a:gd name="T97" fmla="*/ 2147483647 h 32"/>
                <a:gd name="T98" fmla="*/ 2147483647 w 66"/>
                <a:gd name="T99" fmla="*/ 2147483647 h 32"/>
                <a:gd name="T100" fmla="*/ 2147483647 w 66"/>
                <a:gd name="T101" fmla="*/ 2147483647 h 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6"/>
                <a:gd name="T154" fmla="*/ 0 h 32"/>
                <a:gd name="T155" fmla="*/ 66 w 66"/>
                <a:gd name="T156" fmla="*/ 32 h 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6" h="32">
                  <a:moveTo>
                    <a:pt x="65" y="19"/>
                  </a:moveTo>
                  <a:lnTo>
                    <a:pt x="66" y="18"/>
                  </a:lnTo>
                  <a:lnTo>
                    <a:pt x="66" y="17"/>
                  </a:lnTo>
                  <a:lnTo>
                    <a:pt x="66" y="14"/>
                  </a:lnTo>
                  <a:lnTo>
                    <a:pt x="65" y="13"/>
                  </a:lnTo>
                  <a:lnTo>
                    <a:pt x="63" y="13"/>
                  </a:lnTo>
                  <a:lnTo>
                    <a:pt x="62" y="12"/>
                  </a:lnTo>
                  <a:lnTo>
                    <a:pt x="58" y="11"/>
                  </a:lnTo>
                  <a:lnTo>
                    <a:pt x="55" y="11"/>
                  </a:lnTo>
                  <a:lnTo>
                    <a:pt x="52" y="12"/>
                  </a:lnTo>
                  <a:lnTo>
                    <a:pt x="50" y="14"/>
                  </a:lnTo>
                  <a:lnTo>
                    <a:pt x="48" y="12"/>
                  </a:lnTo>
                  <a:lnTo>
                    <a:pt x="47" y="10"/>
                  </a:lnTo>
                  <a:lnTo>
                    <a:pt x="46" y="8"/>
                  </a:lnTo>
                  <a:lnTo>
                    <a:pt x="44" y="10"/>
                  </a:lnTo>
                  <a:lnTo>
                    <a:pt x="42" y="10"/>
                  </a:lnTo>
                  <a:lnTo>
                    <a:pt x="39" y="10"/>
                  </a:lnTo>
                  <a:lnTo>
                    <a:pt x="38" y="10"/>
                  </a:lnTo>
                  <a:lnTo>
                    <a:pt x="36" y="2"/>
                  </a:lnTo>
                  <a:lnTo>
                    <a:pt x="33" y="0"/>
                  </a:lnTo>
                  <a:lnTo>
                    <a:pt x="32" y="0"/>
                  </a:lnTo>
                  <a:lnTo>
                    <a:pt x="30" y="0"/>
                  </a:lnTo>
                  <a:lnTo>
                    <a:pt x="27" y="2"/>
                  </a:lnTo>
                  <a:lnTo>
                    <a:pt x="23" y="2"/>
                  </a:lnTo>
                  <a:lnTo>
                    <a:pt x="16" y="2"/>
                  </a:lnTo>
                  <a:lnTo>
                    <a:pt x="9" y="5"/>
                  </a:lnTo>
                  <a:lnTo>
                    <a:pt x="5" y="7"/>
                  </a:lnTo>
                  <a:lnTo>
                    <a:pt x="4" y="10"/>
                  </a:lnTo>
                  <a:lnTo>
                    <a:pt x="1" y="14"/>
                  </a:lnTo>
                  <a:lnTo>
                    <a:pt x="0" y="20"/>
                  </a:lnTo>
                  <a:lnTo>
                    <a:pt x="0" y="26"/>
                  </a:lnTo>
                  <a:lnTo>
                    <a:pt x="1" y="31"/>
                  </a:lnTo>
                  <a:lnTo>
                    <a:pt x="3" y="32"/>
                  </a:lnTo>
                  <a:lnTo>
                    <a:pt x="5" y="31"/>
                  </a:lnTo>
                  <a:lnTo>
                    <a:pt x="8" y="26"/>
                  </a:lnTo>
                  <a:lnTo>
                    <a:pt x="11" y="24"/>
                  </a:lnTo>
                  <a:lnTo>
                    <a:pt x="16" y="24"/>
                  </a:lnTo>
                  <a:lnTo>
                    <a:pt x="23" y="25"/>
                  </a:lnTo>
                  <a:lnTo>
                    <a:pt x="27" y="24"/>
                  </a:lnTo>
                  <a:lnTo>
                    <a:pt x="28" y="23"/>
                  </a:lnTo>
                  <a:lnTo>
                    <a:pt x="29" y="23"/>
                  </a:lnTo>
                  <a:lnTo>
                    <a:pt x="30" y="24"/>
                  </a:lnTo>
                  <a:lnTo>
                    <a:pt x="29" y="26"/>
                  </a:lnTo>
                  <a:lnTo>
                    <a:pt x="28" y="30"/>
                  </a:lnTo>
                  <a:lnTo>
                    <a:pt x="29" y="30"/>
                  </a:lnTo>
                  <a:lnTo>
                    <a:pt x="30" y="31"/>
                  </a:lnTo>
                  <a:lnTo>
                    <a:pt x="33" y="30"/>
                  </a:lnTo>
                  <a:lnTo>
                    <a:pt x="41" y="26"/>
                  </a:lnTo>
                  <a:lnTo>
                    <a:pt x="48" y="24"/>
                  </a:lnTo>
                  <a:lnTo>
                    <a:pt x="57" y="23"/>
                  </a:lnTo>
                  <a:lnTo>
                    <a:pt x="65" y="1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8" name="Freeform 407"/>
            <p:cNvSpPr>
              <a:spLocks/>
            </p:cNvSpPr>
            <p:nvPr/>
          </p:nvSpPr>
          <p:spPr bwMode="auto">
            <a:xfrm>
              <a:off x="4854575" y="1473200"/>
              <a:ext cx="52388" cy="38100"/>
            </a:xfrm>
            <a:custGeom>
              <a:avLst/>
              <a:gdLst>
                <a:gd name="T0" fmla="*/ 2147483647 w 36"/>
                <a:gd name="T1" fmla="*/ 2147483647 h 24"/>
                <a:gd name="T2" fmla="*/ 2147483647 w 36"/>
                <a:gd name="T3" fmla="*/ 2147483647 h 24"/>
                <a:gd name="T4" fmla="*/ 2147483647 w 36"/>
                <a:gd name="T5" fmla="*/ 2147483647 h 24"/>
                <a:gd name="T6" fmla="*/ 2147483647 w 36"/>
                <a:gd name="T7" fmla="*/ 0 h 24"/>
                <a:gd name="T8" fmla="*/ 2147483647 w 36"/>
                <a:gd name="T9" fmla="*/ 0 h 24"/>
                <a:gd name="T10" fmla="*/ 2147483647 w 36"/>
                <a:gd name="T11" fmla="*/ 2147483647 h 24"/>
                <a:gd name="T12" fmla="*/ 2147483647 w 36"/>
                <a:gd name="T13" fmla="*/ 2147483647 h 24"/>
                <a:gd name="T14" fmla="*/ 2147483647 w 36"/>
                <a:gd name="T15" fmla="*/ 2147483647 h 24"/>
                <a:gd name="T16" fmla="*/ 2147483647 w 36"/>
                <a:gd name="T17" fmla="*/ 2147483647 h 24"/>
                <a:gd name="T18" fmla="*/ 2147483647 w 36"/>
                <a:gd name="T19" fmla="*/ 2147483647 h 24"/>
                <a:gd name="T20" fmla="*/ 2147483647 w 36"/>
                <a:gd name="T21" fmla="*/ 2147483647 h 24"/>
                <a:gd name="T22" fmla="*/ 2147483647 w 36"/>
                <a:gd name="T23" fmla="*/ 2147483647 h 24"/>
                <a:gd name="T24" fmla="*/ 2147483647 w 36"/>
                <a:gd name="T25" fmla="*/ 2147483647 h 24"/>
                <a:gd name="T26" fmla="*/ 2147483647 w 36"/>
                <a:gd name="T27" fmla="*/ 2147483647 h 24"/>
                <a:gd name="T28" fmla="*/ 0 w 36"/>
                <a:gd name="T29" fmla="*/ 2147483647 h 24"/>
                <a:gd name="T30" fmla="*/ 0 w 36"/>
                <a:gd name="T31" fmla="*/ 2147483647 h 24"/>
                <a:gd name="T32" fmla="*/ 0 w 36"/>
                <a:gd name="T33" fmla="*/ 2147483647 h 24"/>
                <a:gd name="T34" fmla="*/ 2147483647 w 36"/>
                <a:gd name="T35" fmla="*/ 2147483647 h 24"/>
                <a:gd name="T36" fmla="*/ 2147483647 w 36"/>
                <a:gd name="T37" fmla="*/ 2147483647 h 24"/>
                <a:gd name="T38" fmla="*/ 2147483647 w 36"/>
                <a:gd name="T39" fmla="*/ 2147483647 h 24"/>
                <a:gd name="T40" fmla="*/ 2147483647 w 36"/>
                <a:gd name="T41" fmla="*/ 2147483647 h 24"/>
                <a:gd name="T42" fmla="*/ 2147483647 w 36"/>
                <a:gd name="T43" fmla="*/ 2147483647 h 24"/>
                <a:gd name="T44" fmla="*/ 2147483647 w 36"/>
                <a:gd name="T45" fmla="*/ 2147483647 h 24"/>
                <a:gd name="T46" fmla="*/ 2147483647 w 36"/>
                <a:gd name="T47" fmla="*/ 2147483647 h 24"/>
                <a:gd name="T48" fmla="*/ 2147483647 w 36"/>
                <a:gd name="T49" fmla="*/ 2147483647 h 24"/>
                <a:gd name="T50" fmla="*/ 2147483647 w 36"/>
                <a:gd name="T51" fmla="*/ 2147483647 h 24"/>
                <a:gd name="T52" fmla="*/ 2147483647 w 36"/>
                <a:gd name="T53" fmla="*/ 2147483647 h 24"/>
                <a:gd name="T54" fmla="*/ 2147483647 w 36"/>
                <a:gd name="T55" fmla="*/ 2147483647 h 24"/>
                <a:gd name="T56" fmla="*/ 2147483647 w 36"/>
                <a:gd name="T57" fmla="*/ 2147483647 h 24"/>
                <a:gd name="T58" fmla="*/ 2147483647 w 36"/>
                <a:gd name="T59" fmla="*/ 2147483647 h 24"/>
                <a:gd name="T60" fmla="*/ 2147483647 w 36"/>
                <a:gd name="T61" fmla="*/ 2147483647 h 2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
                <a:gd name="T94" fmla="*/ 0 h 24"/>
                <a:gd name="T95" fmla="*/ 36 w 36"/>
                <a:gd name="T96" fmla="*/ 24 h 2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 h="24">
                  <a:moveTo>
                    <a:pt x="36" y="10"/>
                  </a:moveTo>
                  <a:lnTo>
                    <a:pt x="36" y="6"/>
                  </a:lnTo>
                  <a:lnTo>
                    <a:pt x="34" y="3"/>
                  </a:lnTo>
                  <a:lnTo>
                    <a:pt x="33" y="0"/>
                  </a:lnTo>
                  <a:lnTo>
                    <a:pt x="30" y="0"/>
                  </a:lnTo>
                  <a:lnTo>
                    <a:pt x="29" y="1"/>
                  </a:lnTo>
                  <a:lnTo>
                    <a:pt x="27" y="3"/>
                  </a:lnTo>
                  <a:lnTo>
                    <a:pt x="24" y="5"/>
                  </a:lnTo>
                  <a:lnTo>
                    <a:pt x="23" y="6"/>
                  </a:lnTo>
                  <a:lnTo>
                    <a:pt x="20" y="7"/>
                  </a:lnTo>
                  <a:lnTo>
                    <a:pt x="15" y="9"/>
                  </a:lnTo>
                  <a:lnTo>
                    <a:pt x="11" y="9"/>
                  </a:lnTo>
                  <a:lnTo>
                    <a:pt x="6" y="9"/>
                  </a:lnTo>
                  <a:lnTo>
                    <a:pt x="3" y="11"/>
                  </a:lnTo>
                  <a:lnTo>
                    <a:pt x="0" y="13"/>
                  </a:lnTo>
                  <a:lnTo>
                    <a:pt x="0" y="16"/>
                  </a:lnTo>
                  <a:lnTo>
                    <a:pt x="0" y="17"/>
                  </a:lnTo>
                  <a:lnTo>
                    <a:pt x="3" y="18"/>
                  </a:lnTo>
                  <a:lnTo>
                    <a:pt x="3" y="20"/>
                  </a:lnTo>
                  <a:lnTo>
                    <a:pt x="4" y="22"/>
                  </a:lnTo>
                  <a:lnTo>
                    <a:pt x="4" y="24"/>
                  </a:lnTo>
                  <a:lnTo>
                    <a:pt x="6" y="24"/>
                  </a:lnTo>
                  <a:lnTo>
                    <a:pt x="9" y="23"/>
                  </a:lnTo>
                  <a:lnTo>
                    <a:pt x="10" y="20"/>
                  </a:lnTo>
                  <a:lnTo>
                    <a:pt x="13" y="19"/>
                  </a:lnTo>
                  <a:lnTo>
                    <a:pt x="18" y="17"/>
                  </a:lnTo>
                  <a:lnTo>
                    <a:pt x="28" y="17"/>
                  </a:lnTo>
                  <a:lnTo>
                    <a:pt x="30" y="17"/>
                  </a:lnTo>
                  <a:lnTo>
                    <a:pt x="33" y="15"/>
                  </a:lnTo>
                  <a:lnTo>
                    <a:pt x="34" y="13"/>
                  </a:lnTo>
                  <a:lnTo>
                    <a:pt x="36"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09" name="Freeform 408"/>
            <p:cNvSpPr>
              <a:spLocks/>
            </p:cNvSpPr>
            <p:nvPr/>
          </p:nvSpPr>
          <p:spPr bwMode="auto">
            <a:xfrm>
              <a:off x="4873626" y="1500189"/>
              <a:ext cx="96838" cy="50800"/>
            </a:xfrm>
            <a:custGeom>
              <a:avLst/>
              <a:gdLst>
                <a:gd name="T0" fmla="*/ 2147483647 w 66"/>
                <a:gd name="T1" fmla="*/ 2147483647 h 32"/>
                <a:gd name="T2" fmla="*/ 2147483647 w 66"/>
                <a:gd name="T3" fmla="*/ 2147483647 h 32"/>
                <a:gd name="T4" fmla="*/ 2147483647 w 66"/>
                <a:gd name="T5" fmla="*/ 2147483647 h 32"/>
                <a:gd name="T6" fmla="*/ 2147483647 w 66"/>
                <a:gd name="T7" fmla="*/ 2147483647 h 32"/>
                <a:gd name="T8" fmla="*/ 2147483647 w 66"/>
                <a:gd name="T9" fmla="*/ 2147483647 h 32"/>
                <a:gd name="T10" fmla="*/ 2147483647 w 66"/>
                <a:gd name="T11" fmla="*/ 2147483647 h 32"/>
                <a:gd name="T12" fmla="*/ 2147483647 w 66"/>
                <a:gd name="T13" fmla="*/ 2147483647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2147483647 w 66"/>
                <a:gd name="T25" fmla="*/ 2147483647 h 32"/>
                <a:gd name="T26" fmla="*/ 2147483647 w 66"/>
                <a:gd name="T27" fmla="*/ 0 h 32"/>
                <a:gd name="T28" fmla="*/ 2147483647 w 66"/>
                <a:gd name="T29" fmla="*/ 0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0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32"/>
                <a:gd name="T104" fmla="*/ 66 w 66"/>
                <a:gd name="T105" fmla="*/ 32 h 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32">
                  <a:moveTo>
                    <a:pt x="64" y="19"/>
                  </a:moveTo>
                  <a:lnTo>
                    <a:pt x="64" y="19"/>
                  </a:lnTo>
                  <a:lnTo>
                    <a:pt x="66" y="18"/>
                  </a:lnTo>
                  <a:lnTo>
                    <a:pt x="66" y="16"/>
                  </a:lnTo>
                  <a:lnTo>
                    <a:pt x="66" y="14"/>
                  </a:lnTo>
                  <a:lnTo>
                    <a:pt x="64" y="13"/>
                  </a:lnTo>
                  <a:lnTo>
                    <a:pt x="63" y="13"/>
                  </a:lnTo>
                  <a:lnTo>
                    <a:pt x="62" y="12"/>
                  </a:lnTo>
                  <a:lnTo>
                    <a:pt x="58" y="11"/>
                  </a:lnTo>
                  <a:lnTo>
                    <a:pt x="54" y="11"/>
                  </a:lnTo>
                  <a:lnTo>
                    <a:pt x="52" y="12"/>
                  </a:lnTo>
                  <a:lnTo>
                    <a:pt x="49" y="14"/>
                  </a:lnTo>
                  <a:lnTo>
                    <a:pt x="48" y="12"/>
                  </a:lnTo>
                  <a:lnTo>
                    <a:pt x="47" y="9"/>
                  </a:lnTo>
                  <a:lnTo>
                    <a:pt x="45" y="8"/>
                  </a:lnTo>
                  <a:lnTo>
                    <a:pt x="44" y="9"/>
                  </a:lnTo>
                  <a:lnTo>
                    <a:pt x="42" y="9"/>
                  </a:lnTo>
                  <a:lnTo>
                    <a:pt x="39" y="9"/>
                  </a:lnTo>
                  <a:lnTo>
                    <a:pt x="38" y="9"/>
                  </a:lnTo>
                  <a:lnTo>
                    <a:pt x="35" y="2"/>
                  </a:lnTo>
                  <a:lnTo>
                    <a:pt x="33" y="0"/>
                  </a:lnTo>
                  <a:lnTo>
                    <a:pt x="31" y="0"/>
                  </a:lnTo>
                  <a:lnTo>
                    <a:pt x="30" y="0"/>
                  </a:lnTo>
                  <a:lnTo>
                    <a:pt x="26" y="2"/>
                  </a:lnTo>
                  <a:lnTo>
                    <a:pt x="23" y="2"/>
                  </a:lnTo>
                  <a:lnTo>
                    <a:pt x="16" y="2"/>
                  </a:lnTo>
                  <a:lnTo>
                    <a:pt x="9" y="5"/>
                  </a:lnTo>
                  <a:lnTo>
                    <a:pt x="5" y="7"/>
                  </a:lnTo>
                  <a:lnTo>
                    <a:pt x="4" y="9"/>
                  </a:lnTo>
                  <a:lnTo>
                    <a:pt x="1" y="14"/>
                  </a:lnTo>
                  <a:lnTo>
                    <a:pt x="0" y="20"/>
                  </a:lnTo>
                  <a:lnTo>
                    <a:pt x="0" y="26"/>
                  </a:lnTo>
                  <a:lnTo>
                    <a:pt x="1" y="31"/>
                  </a:lnTo>
                  <a:lnTo>
                    <a:pt x="2" y="32"/>
                  </a:lnTo>
                  <a:lnTo>
                    <a:pt x="5" y="31"/>
                  </a:lnTo>
                  <a:lnTo>
                    <a:pt x="7" y="26"/>
                  </a:lnTo>
                  <a:lnTo>
                    <a:pt x="11" y="24"/>
                  </a:lnTo>
                  <a:lnTo>
                    <a:pt x="16" y="24"/>
                  </a:lnTo>
                  <a:lnTo>
                    <a:pt x="23" y="25"/>
                  </a:lnTo>
                  <a:lnTo>
                    <a:pt x="26" y="24"/>
                  </a:lnTo>
                  <a:lnTo>
                    <a:pt x="28" y="22"/>
                  </a:lnTo>
                  <a:lnTo>
                    <a:pt x="29" y="22"/>
                  </a:lnTo>
                  <a:lnTo>
                    <a:pt x="30" y="24"/>
                  </a:lnTo>
                  <a:lnTo>
                    <a:pt x="29" y="26"/>
                  </a:lnTo>
                  <a:lnTo>
                    <a:pt x="28" y="30"/>
                  </a:lnTo>
                  <a:lnTo>
                    <a:pt x="29" y="30"/>
                  </a:lnTo>
                  <a:lnTo>
                    <a:pt x="30" y="31"/>
                  </a:lnTo>
                  <a:lnTo>
                    <a:pt x="33" y="30"/>
                  </a:lnTo>
                  <a:lnTo>
                    <a:pt x="40" y="26"/>
                  </a:lnTo>
                  <a:lnTo>
                    <a:pt x="48" y="24"/>
                  </a:lnTo>
                  <a:lnTo>
                    <a:pt x="57" y="22"/>
                  </a:lnTo>
                  <a:lnTo>
                    <a:pt x="64" y="1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0" name="Freeform 409"/>
            <p:cNvSpPr>
              <a:spLocks/>
            </p:cNvSpPr>
            <p:nvPr/>
          </p:nvSpPr>
          <p:spPr bwMode="auto">
            <a:xfrm>
              <a:off x="4852992" y="1471613"/>
              <a:ext cx="52387" cy="38100"/>
            </a:xfrm>
            <a:custGeom>
              <a:avLst/>
              <a:gdLst>
                <a:gd name="T0" fmla="*/ 2147483647 w 35"/>
                <a:gd name="T1" fmla="*/ 2147483647 h 24"/>
                <a:gd name="T2" fmla="*/ 2147483647 w 35"/>
                <a:gd name="T3" fmla="*/ 2147483647 h 24"/>
                <a:gd name="T4" fmla="*/ 2147483647 w 35"/>
                <a:gd name="T5" fmla="*/ 2147483647 h 24"/>
                <a:gd name="T6" fmla="*/ 2147483647 w 35"/>
                <a:gd name="T7" fmla="*/ 2147483647 h 24"/>
                <a:gd name="T8" fmla="*/ 2147483647 w 35"/>
                <a:gd name="T9" fmla="*/ 0 h 24"/>
                <a:gd name="T10" fmla="*/ 2147483647 w 35"/>
                <a:gd name="T11" fmla="*/ 0 h 24"/>
                <a:gd name="T12" fmla="*/ 2147483647 w 35"/>
                <a:gd name="T13" fmla="*/ 2147483647 h 24"/>
                <a:gd name="T14" fmla="*/ 2147483647 w 35"/>
                <a:gd name="T15" fmla="*/ 2147483647 h 24"/>
                <a:gd name="T16" fmla="*/ 2147483647 w 35"/>
                <a:gd name="T17" fmla="*/ 2147483647 h 24"/>
                <a:gd name="T18" fmla="*/ 2147483647 w 35"/>
                <a:gd name="T19" fmla="*/ 2147483647 h 24"/>
                <a:gd name="T20" fmla="*/ 2147483647 w 35"/>
                <a:gd name="T21" fmla="*/ 2147483647 h 24"/>
                <a:gd name="T22" fmla="*/ 2147483647 w 35"/>
                <a:gd name="T23" fmla="*/ 2147483647 h 24"/>
                <a:gd name="T24" fmla="*/ 2147483647 w 35"/>
                <a:gd name="T25" fmla="*/ 2147483647 h 24"/>
                <a:gd name="T26" fmla="*/ 2147483647 w 35"/>
                <a:gd name="T27" fmla="*/ 2147483647 h 24"/>
                <a:gd name="T28" fmla="*/ 2147483647 w 35"/>
                <a:gd name="T29" fmla="*/ 2147483647 h 24"/>
                <a:gd name="T30" fmla="*/ 2147483647 w 35"/>
                <a:gd name="T31" fmla="*/ 2147483647 h 24"/>
                <a:gd name="T32" fmla="*/ 2147483647 w 35"/>
                <a:gd name="T33" fmla="*/ 2147483647 h 24"/>
                <a:gd name="T34" fmla="*/ 2147483647 w 35"/>
                <a:gd name="T35" fmla="*/ 2147483647 h 24"/>
                <a:gd name="T36" fmla="*/ 0 w 35"/>
                <a:gd name="T37" fmla="*/ 2147483647 h 24"/>
                <a:gd name="T38" fmla="*/ 0 w 35"/>
                <a:gd name="T39" fmla="*/ 2147483647 h 24"/>
                <a:gd name="T40" fmla="*/ 0 w 35"/>
                <a:gd name="T41" fmla="*/ 2147483647 h 24"/>
                <a:gd name="T42" fmla="*/ 0 w 35"/>
                <a:gd name="T43" fmla="*/ 2147483647 h 24"/>
                <a:gd name="T44" fmla="*/ 2147483647 w 35"/>
                <a:gd name="T45" fmla="*/ 2147483647 h 24"/>
                <a:gd name="T46" fmla="*/ 2147483647 w 35"/>
                <a:gd name="T47" fmla="*/ 2147483647 h 24"/>
                <a:gd name="T48" fmla="*/ 2147483647 w 35"/>
                <a:gd name="T49" fmla="*/ 2147483647 h 24"/>
                <a:gd name="T50" fmla="*/ 2147483647 w 35"/>
                <a:gd name="T51" fmla="*/ 2147483647 h 24"/>
                <a:gd name="T52" fmla="*/ 2147483647 w 35"/>
                <a:gd name="T53" fmla="*/ 2147483647 h 24"/>
                <a:gd name="T54" fmla="*/ 2147483647 w 35"/>
                <a:gd name="T55" fmla="*/ 2147483647 h 24"/>
                <a:gd name="T56" fmla="*/ 2147483647 w 35"/>
                <a:gd name="T57" fmla="*/ 2147483647 h 24"/>
                <a:gd name="T58" fmla="*/ 2147483647 w 35"/>
                <a:gd name="T59" fmla="*/ 2147483647 h 24"/>
                <a:gd name="T60" fmla="*/ 2147483647 w 35"/>
                <a:gd name="T61" fmla="*/ 2147483647 h 24"/>
                <a:gd name="T62" fmla="*/ 2147483647 w 35"/>
                <a:gd name="T63" fmla="*/ 2147483647 h 24"/>
                <a:gd name="T64" fmla="*/ 2147483647 w 35"/>
                <a:gd name="T65" fmla="*/ 2147483647 h 24"/>
                <a:gd name="T66" fmla="*/ 2147483647 w 35"/>
                <a:gd name="T67" fmla="*/ 2147483647 h 24"/>
                <a:gd name="T68" fmla="*/ 2147483647 w 35"/>
                <a:gd name="T69" fmla="*/ 2147483647 h 24"/>
                <a:gd name="T70" fmla="*/ 2147483647 w 35"/>
                <a:gd name="T71" fmla="*/ 2147483647 h 24"/>
                <a:gd name="T72" fmla="*/ 2147483647 w 35"/>
                <a:gd name="T73" fmla="*/ 2147483647 h 24"/>
                <a:gd name="T74" fmla="*/ 2147483647 w 35"/>
                <a:gd name="T75" fmla="*/ 2147483647 h 24"/>
                <a:gd name="T76" fmla="*/ 2147483647 w 35"/>
                <a:gd name="T77" fmla="*/ 2147483647 h 24"/>
                <a:gd name="T78" fmla="*/ 2147483647 w 35"/>
                <a:gd name="T79" fmla="*/ 2147483647 h 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
                <a:gd name="T121" fmla="*/ 0 h 24"/>
                <a:gd name="T122" fmla="*/ 35 w 35"/>
                <a:gd name="T123" fmla="*/ 24 h 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 h="24">
                  <a:moveTo>
                    <a:pt x="35" y="10"/>
                  </a:moveTo>
                  <a:lnTo>
                    <a:pt x="35" y="10"/>
                  </a:lnTo>
                  <a:lnTo>
                    <a:pt x="35" y="6"/>
                  </a:lnTo>
                  <a:lnTo>
                    <a:pt x="34" y="2"/>
                  </a:lnTo>
                  <a:lnTo>
                    <a:pt x="33" y="0"/>
                  </a:lnTo>
                  <a:lnTo>
                    <a:pt x="30" y="0"/>
                  </a:lnTo>
                  <a:lnTo>
                    <a:pt x="29" y="1"/>
                  </a:lnTo>
                  <a:lnTo>
                    <a:pt x="26" y="2"/>
                  </a:lnTo>
                  <a:lnTo>
                    <a:pt x="24" y="5"/>
                  </a:lnTo>
                  <a:lnTo>
                    <a:pt x="23" y="6"/>
                  </a:lnTo>
                  <a:lnTo>
                    <a:pt x="20" y="7"/>
                  </a:lnTo>
                  <a:lnTo>
                    <a:pt x="15" y="8"/>
                  </a:lnTo>
                  <a:lnTo>
                    <a:pt x="11" y="8"/>
                  </a:lnTo>
                  <a:lnTo>
                    <a:pt x="6" y="8"/>
                  </a:lnTo>
                  <a:lnTo>
                    <a:pt x="2" y="11"/>
                  </a:lnTo>
                  <a:lnTo>
                    <a:pt x="0" y="13"/>
                  </a:lnTo>
                  <a:lnTo>
                    <a:pt x="0" y="16"/>
                  </a:lnTo>
                  <a:lnTo>
                    <a:pt x="0" y="17"/>
                  </a:lnTo>
                  <a:lnTo>
                    <a:pt x="2" y="18"/>
                  </a:lnTo>
                  <a:lnTo>
                    <a:pt x="2" y="20"/>
                  </a:lnTo>
                  <a:lnTo>
                    <a:pt x="4" y="21"/>
                  </a:lnTo>
                  <a:lnTo>
                    <a:pt x="4" y="24"/>
                  </a:lnTo>
                  <a:lnTo>
                    <a:pt x="6" y="24"/>
                  </a:lnTo>
                  <a:lnTo>
                    <a:pt x="9" y="23"/>
                  </a:lnTo>
                  <a:lnTo>
                    <a:pt x="10" y="20"/>
                  </a:lnTo>
                  <a:lnTo>
                    <a:pt x="12" y="19"/>
                  </a:lnTo>
                  <a:lnTo>
                    <a:pt x="18" y="17"/>
                  </a:lnTo>
                  <a:lnTo>
                    <a:pt x="28" y="17"/>
                  </a:lnTo>
                  <a:lnTo>
                    <a:pt x="30" y="17"/>
                  </a:lnTo>
                  <a:lnTo>
                    <a:pt x="33" y="14"/>
                  </a:lnTo>
                  <a:lnTo>
                    <a:pt x="34" y="13"/>
                  </a:lnTo>
                  <a:lnTo>
                    <a:pt x="35"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1" name="Freeform 410"/>
            <p:cNvSpPr>
              <a:spLocks/>
            </p:cNvSpPr>
            <p:nvPr/>
          </p:nvSpPr>
          <p:spPr bwMode="auto">
            <a:xfrm>
              <a:off x="4619625" y="1408117"/>
              <a:ext cx="261938" cy="192087"/>
            </a:xfrm>
            <a:custGeom>
              <a:avLst/>
              <a:gdLst>
                <a:gd name="T0" fmla="*/ 2147483647 w 179"/>
                <a:gd name="T1" fmla="*/ 2147483647 h 121"/>
                <a:gd name="T2" fmla="*/ 2147483647 w 179"/>
                <a:gd name="T3" fmla="*/ 2147483647 h 121"/>
                <a:gd name="T4" fmla="*/ 2147483647 w 179"/>
                <a:gd name="T5" fmla="*/ 2147483647 h 121"/>
                <a:gd name="T6" fmla="*/ 2147483647 w 179"/>
                <a:gd name="T7" fmla="*/ 2147483647 h 121"/>
                <a:gd name="T8" fmla="*/ 2147483647 w 179"/>
                <a:gd name="T9" fmla="*/ 2147483647 h 121"/>
                <a:gd name="T10" fmla="*/ 2147483647 w 179"/>
                <a:gd name="T11" fmla="*/ 2147483647 h 121"/>
                <a:gd name="T12" fmla="*/ 2147483647 w 179"/>
                <a:gd name="T13" fmla="*/ 2147483647 h 121"/>
                <a:gd name="T14" fmla="*/ 2147483647 w 179"/>
                <a:gd name="T15" fmla="*/ 2147483647 h 121"/>
                <a:gd name="T16" fmla="*/ 2147483647 w 179"/>
                <a:gd name="T17" fmla="*/ 2147483647 h 121"/>
                <a:gd name="T18" fmla="*/ 2147483647 w 179"/>
                <a:gd name="T19" fmla="*/ 2147483647 h 121"/>
                <a:gd name="T20" fmla="*/ 2147483647 w 179"/>
                <a:gd name="T21" fmla="*/ 2147483647 h 121"/>
                <a:gd name="T22" fmla="*/ 2147483647 w 179"/>
                <a:gd name="T23" fmla="*/ 2147483647 h 121"/>
                <a:gd name="T24" fmla="*/ 2147483647 w 179"/>
                <a:gd name="T25" fmla="*/ 2147483647 h 121"/>
                <a:gd name="T26" fmla="*/ 2147483647 w 179"/>
                <a:gd name="T27" fmla="*/ 2147483647 h 121"/>
                <a:gd name="T28" fmla="*/ 2147483647 w 179"/>
                <a:gd name="T29" fmla="*/ 2147483647 h 121"/>
                <a:gd name="T30" fmla="*/ 2147483647 w 179"/>
                <a:gd name="T31" fmla="*/ 2147483647 h 121"/>
                <a:gd name="T32" fmla="*/ 2147483647 w 179"/>
                <a:gd name="T33" fmla="*/ 2147483647 h 121"/>
                <a:gd name="T34" fmla="*/ 2147483647 w 179"/>
                <a:gd name="T35" fmla="*/ 2147483647 h 121"/>
                <a:gd name="T36" fmla="*/ 2147483647 w 179"/>
                <a:gd name="T37" fmla="*/ 2147483647 h 121"/>
                <a:gd name="T38" fmla="*/ 2147483647 w 179"/>
                <a:gd name="T39" fmla="*/ 2147483647 h 121"/>
                <a:gd name="T40" fmla="*/ 2147483647 w 179"/>
                <a:gd name="T41" fmla="*/ 2147483647 h 121"/>
                <a:gd name="T42" fmla="*/ 0 w 179"/>
                <a:gd name="T43" fmla="*/ 2147483647 h 121"/>
                <a:gd name="T44" fmla="*/ 2147483647 w 179"/>
                <a:gd name="T45" fmla="*/ 2147483647 h 121"/>
                <a:gd name="T46" fmla="*/ 2147483647 w 179"/>
                <a:gd name="T47" fmla="*/ 2147483647 h 121"/>
                <a:gd name="T48" fmla="*/ 2147483647 w 179"/>
                <a:gd name="T49" fmla="*/ 2147483647 h 121"/>
                <a:gd name="T50" fmla="*/ 2147483647 w 179"/>
                <a:gd name="T51" fmla="*/ 2147483647 h 121"/>
                <a:gd name="T52" fmla="*/ 2147483647 w 179"/>
                <a:gd name="T53" fmla="*/ 2147483647 h 121"/>
                <a:gd name="T54" fmla="*/ 2147483647 w 179"/>
                <a:gd name="T55" fmla="*/ 2147483647 h 121"/>
                <a:gd name="T56" fmla="*/ 2147483647 w 179"/>
                <a:gd name="T57" fmla="*/ 2147483647 h 121"/>
                <a:gd name="T58" fmla="*/ 2147483647 w 179"/>
                <a:gd name="T59" fmla="*/ 2147483647 h 121"/>
                <a:gd name="T60" fmla="*/ 2147483647 w 179"/>
                <a:gd name="T61" fmla="*/ 2147483647 h 121"/>
                <a:gd name="T62" fmla="*/ 2147483647 w 179"/>
                <a:gd name="T63" fmla="*/ 2147483647 h 121"/>
                <a:gd name="T64" fmla="*/ 2147483647 w 179"/>
                <a:gd name="T65" fmla="*/ 2147483647 h 121"/>
                <a:gd name="T66" fmla="*/ 2147483647 w 179"/>
                <a:gd name="T67" fmla="*/ 2147483647 h 121"/>
                <a:gd name="T68" fmla="*/ 2147483647 w 179"/>
                <a:gd name="T69" fmla="*/ 2147483647 h 121"/>
                <a:gd name="T70" fmla="*/ 2147483647 w 179"/>
                <a:gd name="T71" fmla="*/ 2147483647 h 121"/>
                <a:gd name="T72" fmla="*/ 2147483647 w 179"/>
                <a:gd name="T73" fmla="*/ 2147483647 h 121"/>
                <a:gd name="T74" fmla="*/ 2147483647 w 179"/>
                <a:gd name="T75" fmla="*/ 2147483647 h 121"/>
                <a:gd name="T76" fmla="*/ 2147483647 w 179"/>
                <a:gd name="T77" fmla="*/ 2147483647 h 121"/>
                <a:gd name="T78" fmla="*/ 2147483647 w 179"/>
                <a:gd name="T79" fmla="*/ 2147483647 h 121"/>
                <a:gd name="T80" fmla="*/ 2147483647 w 179"/>
                <a:gd name="T81" fmla="*/ 2147483647 h 121"/>
                <a:gd name="T82" fmla="*/ 2147483647 w 179"/>
                <a:gd name="T83" fmla="*/ 2147483647 h 121"/>
                <a:gd name="T84" fmla="*/ 2147483647 w 179"/>
                <a:gd name="T85" fmla="*/ 2147483647 h 121"/>
                <a:gd name="T86" fmla="*/ 2147483647 w 179"/>
                <a:gd name="T87" fmla="*/ 2147483647 h 121"/>
                <a:gd name="T88" fmla="*/ 2147483647 w 179"/>
                <a:gd name="T89" fmla="*/ 2147483647 h 121"/>
                <a:gd name="T90" fmla="*/ 2147483647 w 179"/>
                <a:gd name="T91" fmla="*/ 2147483647 h 121"/>
                <a:gd name="T92" fmla="*/ 2147483647 w 179"/>
                <a:gd name="T93" fmla="*/ 2147483647 h 121"/>
                <a:gd name="T94" fmla="*/ 2147483647 w 179"/>
                <a:gd name="T95" fmla="*/ 2147483647 h 121"/>
                <a:gd name="T96" fmla="*/ 2147483647 w 179"/>
                <a:gd name="T97" fmla="*/ 2147483647 h 121"/>
                <a:gd name="T98" fmla="*/ 2147483647 w 179"/>
                <a:gd name="T99" fmla="*/ 2147483647 h 121"/>
                <a:gd name="T100" fmla="*/ 2147483647 w 179"/>
                <a:gd name="T101" fmla="*/ 2147483647 h 121"/>
                <a:gd name="T102" fmla="*/ 2147483647 w 179"/>
                <a:gd name="T103" fmla="*/ 2147483647 h 121"/>
                <a:gd name="T104" fmla="*/ 2147483647 w 179"/>
                <a:gd name="T105" fmla="*/ 2147483647 h 121"/>
                <a:gd name="T106" fmla="*/ 2147483647 w 179"/>
                <a:gd name="T107" fmla="*/ 2147483647 h 121"/>
                <a:gd name="T108" fmla="*/ 2147483647 w 179"/>
                <a:gd name="T109" fmla="*/ 2147483647 h 121"/>
                <a:gd name="T110" fmla="*/ 2147483647 w 179"/>
                <a:gd name="T111" fmla="*/ 2147483647 h 121"/>
                <a:gd name="T112" fmla="*/ 2147483647 w 179"/>
                <a:gd name="T113" fmla="*/ 2147483647 h 121"/>
                <a:gd name="T114" fmla="*/ 2147483647 w 179"/>
                <a:gd name="T115" fmla="*/ 2147483647 h 121"/>
                <a:gd name="T116" fmla="*/ 2147483647 w 179"/>
                <a:gd name="T117" fmla="*/ 2147483647 h 121"/>
                <a:gd name="T118" fmla="*/ 2147483647 w 179"/>
                <a:gd name="T119" fmla="*/ 2147483647 h 1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9"/>
                <a:gd name="T181" fmla="*/ 0 h 121"/>
                <a:gd name="T182" fmla="*/ 179 w 179"/>
                <a:gd name="T183" fmla="*/ 121 h 1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9" h="121">
                  <a:moveTo>
                    <a:pt x="158" y="31"/>
                  </a:moveTo>
                  <a:lnTo>
                    <a:pt x="152" y="31"/>
                  </a:lnTo>
                  <a:lnTo>
                    <a:pt x="147" y="31"/>
                  </a:lnTo>
                  <a:lnTo>
                    <a:pt x="142" y="29"/>
                  </a:lnTo>
                  <a:lnTo>
                    <a:pt x="137" y="27"/>
                  </a:lnTo>
                  <a:lnTo>
                    <a:pt x="133" y="23"/>
                  </a:lnTo>
                  <a:lnTo>
                    <a:pt x="129" y="21"/>
                  </a:lnTo>
                  <a:lnTo>
                    <a:pt x="127" y="21"/>
                  </a:lnTo>
                  <a:lnTo>
                    <a:pt x="124" y="21"/>
                  </a:lnTo>
                  <a:lnTo>
                    <a:pt x="123" y="21"/>
                  </a:lnTo>
                  <a:lnTo>
                    <a:pt x="119" y="20"/>
                  </a:lnTo>
                  <a:lnTo>
                    <a:pt x="117" y="19"/>
                  </a:lnTo>
                  <a:lnTo>
                    <a:pt x="115" y="18"/>
                  </a:lnTo>
                  <a:lnTo>
                    <a:pt x="114" y="13"/>
                  </a:lnTo>
                  <a:lnTo>
                    <a:pt x="113" y="8"/>
                  </a:lnTo>
                  <a:lnTo>
                    <a:pt x="113" y="7"/>
                  </a:lnTo>
                  <a:lnTo>
                    <a:pt x="110" y="6"/>
                  </a:lnTo>
                  <a:lnTo>
                    <a:pt x="103" y="2"/>
                  </a:lnTo>
                  <a:lnTo>
                    <a:pt x="99" y="1"/>
                  </a:lnTo>
                  <a:lnTo>
                    <a:pt x="95" y="0"/>
                  </a:lnTo>
                  <a:lnTo>
                    <a:pt x="92" y="1"/>
                  </a:lnTo>
                  <a:lnTo>
                    <a:pt x="91" y="1"/>
                  </a:lnTo>
                  <a:lnTo>
                    <a:pt x="87" y="5"/>
                  </a:lnTo>
                  <a:lnTo>
                    <a:pt x="85" y="9"/>
                  </a:lnTo>
                  <a:lnTo>
                    <a:pt x="85" y="14"/>
                  </a:lnTo>
                  <a:lnTo>
                    <a:pt x="87" y="19"/>
                  </a:lnTo>
                  <a:lnTo>
                    <a:pt x="91" y="22"/>
                  </a:lnTo>
                  <a:lnTo>
                    <a:pt x="95" y="27"/>
                  </a:lnTo>
                  <a:lnTo>
                    <a:pt x="95" y="28"/>
                  </a:lnTo>
                  <a:lnTo>
                    <a:pt x="94" y="31"/>
                  </a:lnTo>
                  <a:lnTo>
                    <a:pt x="91" y="32"/>
                  </a:lnTo>
                  <a:lnTo>
                    <a:pt x="87" y="32"/>
                  </a:lnTo>
                  <a:lnTo>
                    <a:pt x="84" y="31"/>
                  </a:lnTo>
                  <a:lnTo>
                    <a:pt x="82" y="29"/>
                  </a:lnTo>
                  <a:lnTo>
                    <a:pt x="78" y="18"/>
                  </a:lnTo>
                  <a:lnTo>
                    <a:pt x="76" y="13"/>
                  </a:lnTo>
                  <a:lnTo>
                    <a:pt x="72" y="8"/>
                  </a:lnTo>
                  <a:lnTo>
                    <a:pt x="70" y="8"/>
                  </a:lnTo>
                  <a:lnTo>
                    <a:pt x="68" y="9"/>
                  </a:lnTo>
                  <a:lnTo>
                    <a:pt x="65" y="14"/>
                  </a:lnTo>
                  <a:lnTo>
                    <a:pt x="63" y="14"/>
                  </a:lnTo>
                  <a:lnTo>
                    <a:pt x="62" y="14"/>
                  </a:lnTo>
                  <a:lnTo>
                    <a:pt x="58" y="14"/>
                  </a:lnTo>
                  <a:lnTo>
                    <a:pt x="57" y="15"/>
                  </a:lnTo>
                  <a:lnTo>
                    <a:pt x="56" y="18"/>
                  </a:lnTo>
                  <a:lnTo>
                    <a:pt x="56" y="20"/>
                  </a:lnTo>
                  <a:lnTo>
                    <a:pt x="54" y="21"/>
                  </a:lnTo>
                  <a:lnTo>
                    <a:pt x="51" y="21"/>
                  </a:lnTo>
                  <a:lnTo>
                    <a:pt x="48" y="21"/>
                  </a:lnTo>
                  <a:lnTo>
                    <a:pt x="44" y="19"/>
                  </a:lnTo>
                  <a:lnTo>
                    <a:pt x="42" y="16"/>
                  </a:lnTo>
                  <a:lnTo>
                    <a:pt x="40" y="15"/>
                  </a:lnTo>
                  <a:lnTo>
                    <a:pt x="40" y="14"/>
                  </a:lnTo>
                  <a:lnTo>
                    <a:pt x="43" y="12"/>
                  </a:lnTo>
                  <a:lnTo>
                    <a:pt x="49" y="10"/>
                  </a:lnTo>
                  <a:lnTo>
                    <a:pt x="49" y="9"/>
                  </a:lnTo>
                  <a:lnTo>
                    <a:pt x="49" y="8"/>
                  </a:lnTo>
                  <a:lnTo>
                    <a:pt x="48" y="7"/>
                  </a:lnTo>
                  <a:lnTo>
                    <a:pt x="35" y="8"/>
                  </a:lnTo>
                  <a:lnTo>
                    <a:pt x="23" y="8"/>
                  </a:lnTo>
                  <a:lnTo>
                    <a:pt x="12" y="6"/>
                  </a:lnTo>
                  <a:lnTo>
                    <a:pt x="7" y="6"/>
                  </a:lnTo>
                  <a:lnTo>
                    <a:pt x="4" y="7"/>
                  </a:lnTo>
                  <a:lnTo>
                    <a:pt x="1" y="8"/>
                  </a:lnTo>
                  <a:lnTo>
                    <a:pt x="0" y="12"/>
                  </a:lnTo>
                  <a:lnTo>
                    <a:pt x="0" y="19"/>
                  </a:lnTo>
                  <a:lnTo>
                    <a:pt x="2" y="27"/>
                  </a:lnTo>
                  <a:lnTo>
                    <a:pt x="5" y="34"/>
                  </a:lnTo>
                  <a:lnTo>
                    <a:pt x="6" y="34"/>
                  </a:lnTo>
                  <a:lnTo>
                    <a:pt x="7" y="33"/>
                  </a:lnTo>
                  <a:lnTo>
                    <a:pt x="9" y="31"/>
                  </a:lnTo>
                  <a:lnTo>
                    <a:pt x="11" y="29"/>
                  </a:lnTo>
                  <a:lnTo>
                    <a:pt x="12" y="29"/>
                  </a:lnTo>
                  <a:lnTo>
                    <a:pt x="14" y="31"/>
                  </a:lnTo>
                  <a:lnTo>
                    <a:pt x="15" y="34"/>
                  </a:lnTo>
                  <a:lnTo>
                    <a:pt x="15" y="45"/>
                  </a:lnTo>
                  <a:lnTo>
                    <a:pt x="15" y="47"/>
                  </a:lnTo>
                  <a:lnTo>
                    <a:pt x="16" y="50"/>
                  </a:lnTo>
                  <a:lnTo>
                    <a:pt x="21" y="51"/>
                  </a:lnTo>
                  <a:lnTo>
                    <a:pt x="26" y="52"/>
                  </a:lnTo>
                  <a:lnTo>
                    <a:pt x="30" y="53"/>
                  </a:lnTo>
                  <a:lnTo>
                    <a:pt x="31" y="56"/>
                  </a:lnTo>
                  <a:lnTo>
                    <a:pt x="34" y="57"/>
                  </a:lnTo>
                  <a:lnTo>
                    <a:pt x="44" y="60"/>
                  </a:lnTo>
                  <a:lnTo>
                    <a:pt x="49" y="61"/>
                  </a:lnTo>
                  <a:lnTo>
                    <a:pt x="54" y="60"/>
                  </a:lnTo>
                  <a:lnTo>
                    <a:pt x="56" y="59"/>
                  </a:lnTo>
                  <a:lnTo>
                    <a:pt x="57" y="56"/>
                  </a:lnTo>
                  <a:lnTo>
                    <a:pt x="59" y="48"/>
                  </a:lnTo>
                  <a:lnTo>
                    <a:pt x="59" y="46"/>
                  </a:lnTo>
                  <a:lnTo>
                    <a:pt x="61" y="46"/>
                  </a:lnTo>
                  <a:lnTo>
                    <a:pt x="65" y="45"/>
                  </a:lnTo>
                  <a:lnTo>
                    <a:pt x="67" y="44"/>
                  </a:lnTo>
                  <a:lnTo>
                    <a:pt x="70" y="42"/>
                  </a:lnTo>
                  <a:lnTo>
                    <a:pt x="71" y="39"/>
                  </a:lnTo>
                  <a:lnTo>
                    <a:pt x="75" y="38"/>
                  </a:lnTo>
                  <a:lnTo>
                    <a:pt x="76" y="38"/>
                  </a:lnTo>
                  <a:lnTo>
                    <a:pt x="78" y="38"/>
                  </a:lnTo>
                  <a:lnTo>
                    <a:pt x="80" y="40"/>
                  </a:lnTo>
                  <a:lnTo>
                    <a:pt x="80" y="42"/>
                  </a:lnTo>
                  <a:lnTo>
                    <a:pt x="78" y="44"/>
                  </a:lnTo>
                  <a:lnTo>
                    <a:pt x="77" y="46"/>
                  </a:lnTo>
                  <a:lnTo>
                    <a:pt x="76" y="47"/>
                  </a:lnTo>
                  <a:lnTo>
                    <a:pt x="76" y="48"/>
                  </a:lnTo>
                  <a:lnTo>
                    <a:pt x="77" y="51"/>
                  </a:lnTo>
                  <a:lnTo>
                    <a:pt x="80" y="52"/>
                  </a:lnTo>
                  <a:lnTo>
                    <a:pt x="85" y="52"/>
                  </a:lnTo>
                  <a:lnTo>
                    <a:pt x="90" y="52"/>
                  </a:lnTo>
                  <a:lnTo>
                    <a:pt x="92" y="52"/>
                  </a:lnTo>
                  <a:lnTo>
                    <a:pt x="92" y="53"/>
                  </a:lnTo>
                  <a:lnTo>
                    <a:pt x="91" y="57"/>
                  </a:lnTo>
                  <a:lnTo>
                    <a:pt x="89" y="59"/>
                  </a:lnTo>
                  <a:lnTo>
                    <a:pt x="86" y="61"/>
                  </a:lnTo>
                  <a:lnTo>
                    <a:pt x="81" y="63"/>
                  </a:lnTo>
                  <a:lnTo>
                    <a:pt x="70" y="65"/>
                  </a:lnTo>
                  <a:lnTo>
                    <a:pt x="57" y="66"/>
                  </a:lnTo>
                  <a:lnTo>
                    <a:pt x="53" y="69"/>
                  </a:lnTo>
                  <a:lnTo>
                    <a:pt x="53" y="70"/>
                  </a:lnTo>
                  <a:lnTo>
                    <a:pt x="53" y="71"/>
                  </a:lnTo>
                  <a:lnTo>
                    <a:pt x="57" y="73"/>
                  </a:lnTo>
                  <a:lnTo>
                    <a:pt x="61" y="73"/>
                  </a:lnTo>
                  <a:lnTo>
                    <a:pt x="68" y="73"/>
                  </a:lnTo>
                  <a:lnTo>
                    <a:pt x="84" y="71"/>
                  </a:lnTo>
                  <a:lnTo>
                    <a:pt x="89" y="71"/>
                  </a:lnTo>
                  <a:lnTo>
                    <a:pt x="92" y="72"/>
                  </a:lnTo>
                  <a:lnTo>
                    <a:pt x="92" y="73"/>
                  </a:lnTo>
                  <a:lnTo>
                    <a:pt x="90" y="74"/>
                  </a:lnTo>
                  <a:lnTo>
                    <a:pt x="85" y="74"/>
                  </a:lnTo>
                  <a:lnTo>
                    <a:pt x="82" y="74"/>
                  </a:lnTo>
                  <a:lnTo>
                    <a:pt x="81" y="76"/>
                  </a:lnTo>
                  <a:lnTo>
                    <a:pt x="81" y="77"/>
                  </a:lnTo>
                  <a:lnTo>
                    <a:pt x="82" y="79"/>
                  </a:lnTo>
                  <a:lnTo>
                    <a:pt x="85" y="79"/>
                  </a:lnTo>
                  <a:lnTo>
                    <a:pt x="86" y="80"/>
                  </a:lnTo>
                  <a:lnTo>
                    <a:pt x="86" y="82"/>
                  </a:lnTo>
                  <a:lnTo>
                    <a:pt x="81" y="85"/>
                  </a:lnTo>
                  <a:lnTo>
                    <a:pt x="76" y="86"/>
                  </a:lnTo>
                  <a:lnTo>
                    <a:pt x="70" y="86"/>
                  </a:lnTo>
                  <a:lnTo>
                    <a:pt x="63" y="85"/>
                  </a:lnTo>
                  <a:lnTo>
                    <a:pt x="61" y="86"/>
                  </a:lnTo>
                  <a:lnTo>
                    <a:pt x="59" y="89"/>
                  </a:lnTo>
                  <a:lnTo>
                    <a:pt x="59" y="91"/>
                  </a:lnTo>
                  <a:lnTo>
                    <a:pt x="61" y="93"/>
                  </a:lnTo>
                  <a:lnTo>
                    <a:pt x="70" y="98"/>
                  </a:lnTo>
                  <a:lnTo>
                    <a:pt x="77" y="102"/>
                  </a:lnTo>
                  <a:lnTo>
                    <a:pt x="85" y="108"/>
                  </a:lnTo>
                  <a:lnTo>
                    <a:pt x="92" y="115"/>
                  </a:lnTo>
                  <a:lnTo>
                    <a:pt x="98" y="120"/>
                  </a:lnTo>
                  <a:lnTo>
                    <a:pt x="100" y="121"/>
                  </a:lnTo>
                  <a:lnTo>
                    <a:pt x="104" y="121"/>
                  </a:lnTo>
                  <a:lnTo>
                    <a:pt x="105" y="120"/>
                  </a:lnTo>
                  <a:lnTo>
                    <a:pt x="106" y="116"/>
                  </a:lnTo>
                  <a:lnTo>
                    <a:pt x="106" y="112"/>
                  </a:lnTo>
                  <a:lnTo>
                    <a:pt x="108" y="110"/>
                  </a:lnTo>
                  <a:lnTo>
                    <a:pt x="115" y="99"/>
                  </a:lnTo>
                  <a:lnTo>
                    <a:pt x="122" y="91"/>
                  </a:lnTo>
                  <a:lnTo>
                    <a:pt x="127" y="82"/>
                  </a:lnTo>
                  <a:lnTo>
                    <a:pt x="132" y="69"/>
                  </a:lnTo>
                  <a:lnTo>
                    <a:pt x="134" y="67"/>
                  </a:lnTo>
                  <a:lnTo>
                    <a:pt x="137" y="67"/>
                  </a:lnTo>
                  <a:lnTo>
                    <a:pt x="138" y="66"/>
                  </a:lnTo>
                  <a:lnTo>
                    <a:pt x="141" y="65"/>
                  </a:lnTo>
                  <a:lnTo>
                    <a:pt x="142" y="59"/>
                  </a:lnTo>
                  <a:lnTo>
                    <a:pt x="142" y="57"/>
                  </a:lnTo>
                  <a:lnTo>
                    <a:pt x="143" y="54"/>
                  </a:lnTo>
                  <a:lnTo>
                    <a:pt x="147" y="52"/>
                  </a:lnTo>
                  <a:lnTo>
                    <a:pt x="152" y="52"/>
                  </a:lnTo>
                  <a:lnTo>
                    <a:pt x="157" y="51"/>
                  </a:lnTo>
                  <a:lnTo>
                    <a:pt x="161" y="50"/>
                  </a:lnTo>
                  <a:lnTo>
                    <a:pt x="169" y="45"/>
                  </a:lnTo>
                  <a:lnTo>
                    <a:pt x="176" y="42"/>
                  </a:lnTo>
                  <a:lnTo>
                    <a:pt x="178" y="41"/>
                  </a:lnTo>
                  <a:lnTo>
                    <a:pt x="179" y="40"/>
                  </a:lnTo>
                  <a:lnTo>
                    <a:pt x="172" y="39"/>
                  </a:lnTo>
                  <a:lnTo>
                    <a:pt x="167" y="38"/>
                  </a:lnTo>
                  <a:lnTo>
                    <a:pt x="166" y="37"/>
                  </a:lnTo>
                  <a:lnTo>
                    <a:pt x="167" y="35"/>
                  </a:lnTo>
                  <a:lnTo>
                    <a:pt x="169" y="33"/>
                  </a:lnTo>
                  <a:lnTo>
                    <a:pt x="167" y="32"/>
                  </a:lnTo>
                  <a:lnTo>
                    <a:pt x="164" y="32"/>
                  </a:lnTo>
                  <a:lnTo>
                    <a:pt x="158" y="3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2" name="Freeform 411"/>
            <p:cNvSpPr>
              <a:spLocks/>
            </p:cNvSpPr>
            <p:nvPr/>
          </p:nvSpPr>
          <p:spPr bwMode="auto">
            <a:xfrm>
              <a:off x="5811838" y="1692274"/>
              <a:ext cx="30162" cy="31751"/>
            </a:xfrm>
            <a:custGeom>
              <a:avLst/>
              <a:gdLst>
                <a:gd name="T0" fmla="*/ 2147483647 w 21"/>
                <a:gd name="T1" fmla="*/ 2147483647 h 20"/>
                <a:gd name="T2" fmla="*/ 2147483647 w 21"/>
                <a:gd name="T3" fmla="*/ 2147483647 h 20"/>
                <a:gd name="T4" fmla="*/ 2147483647 w 21"/>
                <a:gd name="T5" fmla="*/ 2147483647 h 20"/>
                <a:gd name="T6" fmla="*/ 2147483647 w 21"/>
                <a:gd name="T7" fmla="*/ 2147483647 h 20"/>
                <a:gd name="T8" fmla="*/ 2147483647 w 21"/>
                <a:gd name="T9" fmla="*/ 2147483647 h 20"/>
                <a:gd name="T10" fmla="*/ 2147483647 w 21"/>
                <a:gd name="T11" fmla="*/ 2147483647 h 20"/>
                <a:gd name="T12" fmla="*/ 2147483647 w 21"/>
                <a:gd name="T13" fmla="*/ 2147483647 h 20"/>
                <a:gd name="T14" fmla="*/ 2147483647 w 21"/>
                <a:gd name="T15" fmla="*/ 2147483647 h 20"/>
                <a:gd name="T16" fmla="*/ 2147483647 w 21"/>
                <a:gd name="T17" fmla="*/ 2147483647 h 20"/>
                <a:gd name="T18" fmla="*/ 2147483647 w 21"/>
                <a:gd name="T19" fmla="*/ 2147483647 h 20"/>
                <a:gd name="T20" fmla="*/ 2147483647 w 21"/>
                <a:gd name="T21" fmla="*/ 2147483647 h 20"/>
                <a:gd name="T22" fmla="*/ 0 w 21"/>
                <a:gd name="T23" fmla="*/ 2147483647 h 20"/>
                <a:gd name="T24" fmla="*/ 2147483647 w 21"/>
                <a:gd name="T25" fmla="*/ 2147483647 h 20"/>
                <a:gd name="T26" fmla="*/ 2147483647 w 21"/>
                <a:gd name="T27" fmla="*/ 2147483647 h 20"/>
                <a:gd name="T28" fmla="*/ 2147483647 w 21"/>
                <a:gd name="T29" fmla="*/ 2147483647 h 20"/>
                <a:gd name="T30" fmla="*/ 2147483647 w 21"/>
                <a:gd name="T31" fmla="*/ 2147483647 h 20"/>
                <a:gd name="T32" fmla="*/ 2147483647 w 21"/>
                <a:gd name="T33" fmla="*/ 0 h 20"/>
                <a:gd name="T34" fmla="*/ 2147483647 w 21"/>
                <a:gd name="T35" fmla="*/ 2147483647 h 20"/>
                <a:gd name="T36" fmla="*/ 2147483647 w 21"/>
                <a:gd name="T37" fmla="*/ 2147483647 h 20"/>
                <a:gd name="T38" fmla="*/ 2147483647 w 21"/>
                <a:gd name="T39" fmla="*/ 2147483647 h 20"/>
                <a:gd name="T40" fmla="*/ 2147483647 w 21"/>
                <a:gd name="T41" fmla="*/ 2147483647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0"/>
                <a:gd name="T65" fmla="*/ 21 w 21"/>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0">
                  <a:moveTo>
                    <a:pt x="17" y="8"/>
                  </a:moveTo>
                  <a:lnTo>
                    <a:pt x="16" y="9"/>
                  </a:lnTo>
                  <a:lnTo>
                    <a:pt x="16" y="12"/>
                  </a:lnTo>
                  <a:lnTo>
                    <a:pt x="16" y="14"/>
                  </a:lnTo>
                  <a:lnTo>
                    <a:pt x="15" y="16"/>
                  </a:lnTo>
                  <a:lnTo>
                    <a:pt x="12" y="16"/>
                  </a:lnTo>
                  <a:lnTo>
                    <a:pt x="10" y="16"/>
                  </a:lnTo>
                  <a:lnTo>
                    <a:pt x="6" y="19"/>
                  </a:lnTo>
                  <a:lnTo>
                    <a:pt x="4" y="20"/>
                  </a:lnTo>
                  <a:lnTo>
                    <a:pt x="2" y="19"/>
                  </a:lnTo>
                  <a:lnTo>
                    <a:pt x="1" y="18"/>
                  </a:lnTo>
                  <a:lnTo>
                    <a:pt x="0" y="15"/>
                  </a:lnTo>
                  <a:lnTo>
                    <a:pt x="1" y="10"/>
                  </a:lnTo>
                  <a:lnTo>
                    <a:pt x="5" y="7"/>
                  </a:lnTo>
                  <a:lnTo>
                    <a:pt x="9" y="3"/>
                  </a:lnTo>
                  <a:lnTo>
                    <a:pt x="14" y="1"/>
                  </a:lnTo>
                  <a:lnTo>
                    <a:pt x="17" y="0"/>
                  </a:lnTo>
                  <a:lnTo>
                    <a:pt x="20" y="1"/>
                  </a:lnTo>
                  <a:lnTo>
                    <a:pt x="21" y="2"/>
                  </a:lnTo>
                  <a:lnTo>
                    <a:pt x="20" y="5"/>
                  </a:lnTo>
                  <a:lnTo>
                    <a:pt x="17"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3" name="Freeform 412"/>
            <p:cNvSpPr>
              <a:spLocks/>
            </p:cNvSpPr>
            <p:nvPr/>
          </p:nvSpPr>
          <p:spPr bwMode="auto">
            <a:xfrm>
              <a:off x="4616451" y="1406525"/>
              <a:ext cx="263525" cy="192088"/>
            </a:xfrm>
            <a:custGeom>
              <a:avLst/>
              <a:gdLst>
                <a:gd name="T0" fmla="*/ 2147483647 w 180"/>
                <a:gd name="T1" fmla="*/ 2147483647 h 121"/>
                <a:gd name="T2" fmla="*/ 2147483647 w 180"/>
                <a:gd name="T3" fmla="*/ 2147483647 h 121"/>
                <a:gd name="T4" fmla="*/ 2147483647 w 180"/>
                <a:gd name="T5" fmla="*/ 2147483647 h 121"/>
                <a:gd name="T6" fmla="*/ 2147483647 w 180"/>
                <a:gd name="T7" fmla="*/ 2147483647 h 121"/>
                <a:gd name="T8" fmla="*/ 2147483647 w 180"/>
                <a:gd name="T9" fmla="*/ 2147483647 h 121"/>
                <a:gd name="T10" fmla="*/ 2147483647 w 180"/>
                <a:gd name="T11" fmla="*/ 2147483647 h 121"/>
                <a:gd name="T12" fmla="*/ 2147483647 w 180"/>
                <a:gd name="T13" fmla="*/ 2147483647 h 121"/>
                <a:gd name="T14" fmla="*/ 2147483647 w 180"/>
                <a:gd name="T15" fmla="*/ 2147483647 h 121"/>
                <a:gd name="T16" fmla="*/ 2147483647 w 180"/>
                <a:gd name="T17" fmla="*/ 2147483647 h 121"/>
                <a:gd name="T18" fmla="*/ 2147483647 w 180"/>
                <a:gd name="T19" fmla="*/ 2147483647 h 121"/>
                <a:gd name="T20" fmla="*/ 2147483647 w 180"/>
                <a:gd name="T21" fmla="*/ 2147483647 h 121"/>
                <a:gd name="T22" fmla="*/ 2147483647 w 180"/>
                <a:gd name="T23" fmla="*/ 2147483647 h 121"/>
                <a:gd name="T24" fmla="*/ 2147483647 w 180"/>
                <a:gd name="T25" fmla="*/ 2147483647 h 121"/>
                <a:gd name="T26" fmla="*/ 2147483647 w 180"/>
                <a:gd name="T27" fmla="*/ 2147483647 h 121"/>
                <a:gd name="T28" fmla="*/ 2147483647 w 180"/>
                <a:gd name="T29" fmla="*/ 2147483647 h 121"/>
                <a:gd name="T30" fmla="*/ 2147483647 w 180"/>
                <a:gd name="T31" fmla="*/ 2147483647 h 121"/>
                <a:gd name="T32" fmla="*/ 2147483647 w 180"/>
                <a:gd name="T33" fmla="*/ 2147483647 h 121"/>
                <a:gd name="T34" fmla="*/ 2147483647 w 180"/>
                <a:gd name="T35" fmla="*/ 2147483647 h 121"/>
                <a:gd name="T36" fmla="*/ 2147483647 w 180"/>
                <a:gd name="T37" fmla="*/ 2147483647 h 121"/>
                <a:gd name="T38" fmla="*/ 2147483647 w 180"/>
                <a:gd name="T39" fmla="*/ 2147483647 h 121"/>
                <a:gd name="T40" fmla="*/ 0 w 180"/>
                <a:gd name="T41" fmla="*/ 2147483647 h 121"/>
                <a:gd name="T42" fmla="*/ 2147483647 w 180"/>
                <a:gd name="T43" fmla="*/ 2147483647 h 121"/>
                <a:gd name="T44" fmla="*/ 2147483647 w 180"/>
                <a:gd name="T45" fmla="*/ 2147483647 h 121"/>
                <a:gd name="T46" fmla="*/ 2147483647 w 180"/>
                <a:gd name="T47" fmla="*/ 2147483647 h 121"/>
                <a:gd name="T48" fmla="*/ 2147483647 w 180"/>
                <a:gd name="T49" fmla="*/ 2147483647 h 121"/>
                <a:gd name="T50" fmla="*/ 2147483647 w 180"/>
                <a:gd name="T51" fmla="*/ 2147483647 h 121"/>
                <a:gd name="T52" fmla="*/ 2147483647 w 180"/>
                <a:gd name="T53" fmla="*/ 2147483647 h 121"/>
                <a:gd name="T54" fmla="*/ 2147483647 w 180"/>
                <a:gd name="T55" fmla="*/ 2147483647 h 121"/>
                <a:gd name="T56" fmla="*/ 2147483647 w 180"/>
                <a:gd name="T57" fmla="*/ 2147483647 h 121"/>
                <a:gd name="T58" fmla="*/ 2147483647 w 180"/>
                <a:gd name="T59" fmla="*/ 2147483647 h 121"/>
                <a:gd name="T60" fmla="*/ 2147483647 w 180"/>
                <a:gd name="T61" fmla="*/ 2147483647 h 121"/>
                <a:gd name="T62" fmla="*/ 2147483647 w 180"/>
                <a:gd name="T63" fmla="*/ 2147483647 h 121"/>
                <a:gd name="T64" fmla="*/ 2147483647 w 180"/>
                <a:gd name="T65" fmla="*/ 2147483647 h 121"/>
                <a:gd name="T66" fmla="*/ 2147483647 w 180"/>
                <a:gd name="T67" fmla="*/ 2147483647 h 121"/>
                <a:gd name="T68" fmla="*/ 2147483647 w 180"/>
                <a:gd name="T69" fmla="*/ 2147483647 h 121"/>
                <a:gd name="T70" fmla="*/ 2147483647 w 180"/>
                <a:gd name="T71" fmla="*/ 2147483647 h 121"/>
                <a:gd name="T72" fmla="*/ 2147483647 w 180"/>
                <a:gd name="T73" fmla="*/ 2147483647 h 121"/>
                <a:gd name="T74" fmla="*/ 2147483647 w 180"/>
                <a:gd name="T75" fmla="*/ 2147483647 h 121"/>
                <a:gd name="T76" fmla="*/ 2147483647 w 180"/>
                <a:gd name="T77" fmla="*/ 2147483647 h 121"/>
                <a:gd name="T78" fmla="*/ 2147483647 w 180"/>
                <a:gd name="T79" fmla="*/ 2147483647 h 121"/>
                <a:gd name="T80" fmla="*/ 2147483647 w 180"/>
                <a:gd name="T81" fmla="*/ 2147483647 h 121"/>
                <a:gd name="T82" fmla="*/ 2147483647 w 180"/>
                <a:gd name="T83" fmla="*/ 2147483647 h 121"/>
                <a:gd name="T84" fmla="*/ 2147483647 w 180"/>
                <a:gd name="T85" fmla="*/ 2147483647 h 121"/>
                <a:gd name="T86" fmla="*/ 2147483647 w 180"/>
                <a:gd name="T87" fmla="*/ 2147483647 h 121"/>
                <a:gd name="T88" fmla="*/ 2147483647 w 180"/>
                <a:gd name="T89" fmla="*/ 2147483647 h 121"/>
                <a:gd name="T90" fmla="*/ 2147483647 w 180"/>
                <a:gd name="T91" fmla="*/ 2147483647 h 121"/>
                <a:gd name="T92" fmla="*/ 2147483647 w 180"/>
                <a:gd name="T93" fmla="*/ 2147483647 h 121"/>
                <a:gd name="T94" fmla="*/ 2147483647 w 180"/>
                <a:gd name="T95" fmla="*/ 2147483647 h 121"/>
                <a:gd name="T96" fmla="*/ 2147483647 w 180"/>
                <a:gd name="T97" fmla="*/ 2147483647 h 121"/>
                <a:gd name="T98" fmla="*/ 2147483647 w 180"/>
                <a:gd name="T99" fmla="*/ 2147483647 h 121"/>
                <a:gd name="T100" fmla="*/ 2147483647 w 180"/>
                <a:gd name="T101" fmla="*/ 2147483647 h 121"/>
                <a:gd name="T102" fmla="*/ 2147483647 w 180"/>
                <a:gd name="T103" fmla="*/ 2147483647 h 121"/>
                <a:gd name="T104" fmla="*/ 2147483647 w 180"/>
                <a:gd name="T105" fmla="*/ 2147483647 h 121"/>
                <a:gd name="T106" fmla="*/ 2147483647 w 180"/>
                <a:gd name="T107" fmla="*/ 2147483647 h 121"/>
                <a:gd name="T108" fmla="*/ 2147483647 w 180"/>
                <a:gd name="T109" fmla="*/ 2147483647 h 121"/>
                <a:gd name="T110" fmla="*/ 2147483647 w 180"/>
                <a:gd name="T111" fmla="*/ 2147483647 h 121"/>
                <a:gd name="T112" fmla="*/ 2147483647 w 180"/>
                <a:gd name="T113" fmla="*/ 2147483647 h 121"/>
                <a:gd name="T114" fmla="*/ 2147483647 w 180"/>
                <a:gd name="T115" fmla="*/ 2147483647 h 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
                <a:gd name="T175" fmla="*/ 0 h 121"/>
                <a:gd name="T176" fmla="*/ 180 w 180"/>
                <a:gd name="T177" fmla="*/ 121 h 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 h="121">
                  <a:moveTo>
                    <a:pt x="159" y="30"/>
                  </a:moveTo>
                  <a:lnTo>
                    <a:pt x="159" y="30"/>
                  </a:lnTo>
                  <a:lnTo>
                    <a:pt x="153" y="30"/>
                  </a:lnTo>
                  <a:lnTo>
                    <a:pt x="148" y="30"/>
                  </a:lnTo>
                  <a:lnTo>
                    <a:pt x="143" y="29"/>
                  </a:lnTo>
                  <a:lnTo>
                    <a:pt x="138" y="27"/>
                  </a:lnTo>
                  <a:lnTo>
                    <a:pt x="134" y="23"/>
                  </a:lnTo>
                  <a:lnTo>
                    <a:pt x="130" y="21"/>
                  </a:lnTo>
                  <a:lnTo>
                    <a:pt x="127" y="21"/>
                  </a:lnTo>
                  <a:lnTo>
                    <a:pt x="125" y="21"/>
                  </a:lnTo>
                  <a:lnTo>
                    <a:pt x="124" y="21"/>
                  </a:lnTo>
                  <a:lnTo>
                    <a:pt x="120" y="20"/>
                  </a:lnTo>
                  <a:lnTo>
                    <a:pt x="117" y="19"/>
                  </a:lnTo>
                  <a:lnTo>
                    <a:pt x="116" y="17"/>
                  </a:lnTo>
                  <a:lnTo>
                    <a:pt x="115" y="13"/>
                  </a:lnTo>
                  <a:lnTo>
                    <a:pt x="113" y="8"/>
                  </a:lnTo>
                  <a:lnTo>
                    <a:pt x="113" y="7"/>
                  </a:lnTo>
                  <a:lnTo>
                    <a:pt x="111" y="6"/>
                  </a:lnTo>
                  <a:lnTo>
                    <a:pt x="103" y="2"/>
                  </a:lnTo>
                  <a:lnTo>
                    <a:pt x="100" y="1"/>
                  </a:lnTo>
                  <a:lnTo>
                    <a:pt x="96" y="0"/>
                  </a:lnTo>
                  <a:lnTo>
                    <a:pt x="93" y="1"/>
                  </a:lnTo>
                  <a:lnTo>
                    <a:pt x="92" y="1"/>
                  </a:lnTo>
                  <a:lnTo>
                    <a:pt x="88" y="4"/>
                  </a:lnTo>
                  <a:lnTo>
                    <a:pt x="86" y="9"/>
                  </a:lnTo>
                  <a:lnTo>
                    <a:pt x="86" y="14"/>
                  </a:lnTo>
                  <a:lnTo>
                    <a:pt x="88" y="19"/>
                  </a:lnTo>
                  <a:lnTo>
                    <a:pt x="92" y="22"/>
                  </a:lnTo>
                  <a:lnTo>
                    <a:pt x="96" y="27"/>
                  </a:lnTo>
                  <a:lnTo>
                    <a:pt x="96" y="28"/>
                  </a:lnTo>
                  <a:lnTo>
                    <a:pt x="94" y="30"/>
                  </a:lnTo>
                  <a:lnTo>
                    <a:pt x="92" y="32"/>
                  </a:lnTo>
                  <a:lnTo>
                    <a:pt x="88" y="32"/>
                  </a:lnTo>
                  <a:lnTo>
                    <a:pt x="84" y="30"/>
                  </a:lnTo>
                  <a:lnTo>
                    <a:pt x="83" y="29"/>
                  </a:lnTo>
                  <a:lnTo>
                    <a:pt x="79" y="17"/>
                  </a:lnTo>
                  <a:lnTo>
                    <a:pt x="77" y="13"/>
                  </a:lnTo>
                  <a:lnTo>
                    <a:pt x="73" y="8"/>
                  </a:lnTo>
                  <a:lnTo>
                    <a:pt x="70" y="8"/>
                  </a:lnTo>
                  <a:lnTo>
                    <a:pt x="69" y="9"/>
                  </a:lnTo>
                  <a:lnTo>
                    <a:pt x="65" y="14"/>
                  </a:lnTo>
                  <a:lnTo>
                    <a:pt x="64" y="14"/>
                  </a:lnTo>
                  <a:lnTo>
                    <a:pt x="63" y="14"/>
                  </a:lnTo>
                  <a:lnTo>
                    <a:pt x="59" y="14"/>
                  </a:lnTo>
                  <a:lnTo>
                    <a:pt x="58" y="15"/>
                  </a:lnTo>
                  <a:lnTo>
                    <a:pt x="56" y="17"/>
                  </a:lnTo>
                  <a:lnTo>
                    <a:pt x="56" y="20"/>
                  </a:lnTo>
                  <a:lnTo>
                    <a:pt x="55" y="21"/>
                  </a:lnTo>
                  <a:lnTo>
                    <a:pt x="51" y="21"/>
                  </a:lnTo>
                  <a:lnTo>
                    <a:pt x="49" y="21"/>
                  </a:lnTo>
                  <a:lnTo>
                    <a:pt x="45" y="19"/>
                  </a:lnTo>
                  <a:lnTo>
                    <a:pt x="42" y="16"/>
                  </a:lnTo>
                  <a:lnTo>
                    <a:pt x="41" y="15"/>
                  </a:lnTo>
                  <a:lnTo>
                    <a:pt x="41" y="14"/>
                  </a:lnTo>
                  <a:lnTo>
                    <a:pt x="44" y="11"/>
                  </a:lnTo>
                  <a:lnTo>
                    <a:pt x="50" y="10"/>
                  </a:lnTo>
                  <a:lnTo>
                    <a:pt x="50" y="9"/>
                  </a:lnTo>
                  <a:lnTo>
                    <a:pt x="50" y="8"/>
                  </a:lnTo>
                  <a:lnTo>
                    <a:pt x="49" y="7"/>
                  </a:lnTo>
                  <a:lnTo>
                    <a:pt x="36" y="8"/>
                  </a:lnTo>
                  <a:lnTo>
                    <a:pt x="23" y="8"/>
                  </a:lnTo>
                  <a:lnTo>
                    <a:pt x="13" y="6"/>
                  </a:lnTo>
                  <a:lnTo>
                    <a:pt x="8" y="6"/>
                  </a:lnTo>
                  <a:lnTo>
                    <a:pt x="4" y="7"/>
                  </a:lnTo>
                  <a:lnTo>
                    <a:pt x="2" y="8"/>
                  </a:lnTo>
                  <a:lnTo>
                    <a:pt x="0" y="11"/>
                  </a:lnTo>
                  <a:lnTo>
                    <a:pt x="0" y="19"/>
                  </a:lnTo>
                  <a:lnTo>
                    <a:pt x="3" y="27"/>
                  </a:lnTo>
                  <a:lnTo>
                    <a:pt x="6" y="34"/>
                  </a:lnTo>
                  <a:lnTo>
                    <a:pt x="7" y="34"/>
                  </a:lnTo>
                  <a:lnTo>
                    <a:pt x="8" y="33"/>
                  </a:lnTo>
                  <a:lnTo>
                    <a:pt x="9" y="30"/>
                  </a:lnTo>
                  <a:lnTo>
                    <a:pt x="12" y="29"/>
                  </a:lnTo>
                  <a:lnTo>
                    <a:pt x="13" y="29"/>
                  </a:lnTo>
                  <a:lnTo>
                    <a:pt x="14" y="30"/>
                  </a:lnTo>
                  <a:lnTo>
                    <a:pt x="16" y="34"/>
                  </a:lnTo>
                  <a:lnTo>
                    <a:pt x="16" y="45"/>
                  </a:lnTo>
                  <a:lnTo>
                    <a:pt x="16" y="47"/>
                  </a:lnTo>
                  <a:lnTo>
                    <a:pt x="17" y="49"/>
                  </a:lnTo>
                  <a:lnTo>
                    <a:pt x="22" y="51"/>
                  </a:lnTo>
                  <a:lnTo>
                    <a:pt x="27" y="52"/>
                  </a:lnTo>
                  <a:lnTo>
                    <a:pt x="31" y="53"/>
                  </a:lnTo>
                  <a:lnTo>
                    <a:pt x="32" y="55"/>
                  </a:lnTo>
                  <a:lnTo>
                    <a:pt x="35" y="57"/>
                  </a:lnTo>
                  <a:lnTo>
                    <a:pt x="45" y="60"/>
                  </a:lnTo>
                  <a:lnTo>
                    <a:pt x="50" y="61"/>
                  </a:lnTo>
                  <a:lnTo>
                    <a:pt x="55" y="60"/>
                  </a:lnTo>
                  <a:lnTo>
                    <a:pt x="56" y="59"/>
                  </a:lnTo>
                  <a:lnTo>
                    <a:pt x="58" y="55"/>
                  </a:lnTo>
                  <a:lnTo>
                    <a:pt x="60" y="48"/>
                  </a:lnTo>
                  <a:lnTo>
                    <a:pt x="60" y="46"/>
                  </a:lnTo>
                  <a:lnTo>
                    <a:pt x="61" y="46"/>
                  </a:lnTo>
                  <a:lnTo>
                    <a:pt x="65" y="45"/>
                  </a:lnTo>
                  <a:lnTo>
                    <a:pt x="68" y="43"/>
                  </a:lnTo>
                  <a:lnTo>
                    <a:pt x="70" y="42"/>
                  </a:lnTo>
                  <a:lnTo>
                    <a:pt x="72" y="39"/>
                  </a:lnTo>
                  <a:lnTo>
                    <a:pt x="75" y="38"/>
                  </a:lnTo>
                  <a:lnTo>
                    <a:pt x="77" y="38"/>
                  </a:lnTo>
                  <a:lnTo>
                    <a:pt x="79" y="38"/>
                  </a:lnTo>
                  <a:lnTo>
                    <a:pt x="80" y="40"/>
                  </a:lnTo>
                  <a:lnTo>
                    <a:pt x="80" y="42"/>
                  </a:lnTo>
                  <a:lnTo>
                    <a:pt x="79" y="43"/>
                  </a:lnTo>
                  <a:lnTo>
                    <a:pt x="78" y="46"/>
                  </a:lnTo>
                  <a:lnTo>
                    <a:pt x="77" y="47"/>
                  </a:lnTo>
                  <a:lnTo>
                    <a:pt x="77" y="48"/>
                  </a:lnTo>
                  <a:lnTo>
                    <a:pt x="78" y="51"/>
                  </a:lnTo>
                  <a:lnTo>
                    <a:pt x="80" y="52"/>
                  </a:lnTo>
                  <a:lnTo>
                    <a:pt x="86" y="52"/>
                  </a:lnTo>
                  <a:lnTo>
                    <a:pt x="91" y="52"/>
                  </a:lnTo>
                  <a:lnTo>
                    <a:pt x="93" y="52"/>
                  </a:lnTo>
                  <a:lnTo>
                    <a:pt x="93" y="53"/>
                  </a:lnTo>
                  <a:lnTo>
                    <a:pt x="92" y="57"/>
                  </a:lnTo>
                  <a:lnTo>
                    <a:pt x="89" y="59"/>
                  </a:lnTo>
                  <a:lnTo>
                    <a:pt x="87" y="61"/>
                  </a:lnTo>
                  <a:lnTo>
                    <a:pt x="82" y="62"/>
                  </a:lnTo>
                  <a:lnTo>
                    <a:pt x="70" y="65"/>
                  </a:lnTo>
                  <a:lnTo>
                    <a:pt x="58" y="66"/>
                  </a:lnTo>
                  <a:lnTo>
                    <a:pt x="54" y="68"/>
                  </a:lnTo>
                  <a:lnTo>
                    <a:pt x="54" y="70"/>
                  </a:lnTo>
                  <a:lnTo>
                    <a:pt x="54" y="71"/>
                  </a:lnTo>
                  <a:lnTo>
                    <a:pt x="58" y="73"/>
                  </a:lnTo>
                  <a:lnTo>
                    <a:pt x="61" y="73"/>
                  </a:lnTo>
                  <a:lnTo>
                    <a:pt x="69" y="73"/>
                  </a:lnTo>
                  <a:lnTo>
                    <a:pt x="84" y="71"/>
                  </a:lnTo>
                  <a:lnTo>
                    <a:pt x="89" y="71"/>
                  </a:lnTo>
                  <a:lnTo>
                    <a:pt x="93" y="72"/>
                  </a:lnTo>
                  <a:lnTo>
                    <a:pt x="93" y="73"/>
                  </a:lnTo>
                  <a:lnTo>
                    <a:pt x="91" y="74"/>
                  </a:lnTo>
                  <a:lnTo>
                    <a:pt x="86" y="74"/>
                  </a:lnTo>
                  <a:lnTo>
                    <a:pt x="83" y="74"/>
                  </a:lnTo>
                  <a:lnTo>
                    <a:pt x="82" y="75"/>
                  </a:lnTo>
                  <a:lnTo>
                    <a:pt x="82" y="77"/>
                  </a:lnTo>
                  <a:lnTo>
                    <a:pt x="83" y="79"/>
                  </a:lnTo>
                  <a:lnTo>
                    <a:pt x="86" y="79"/>
                  </a:lnTo>
                  <a:lnTo>
                    <a:pt x="87" y="80"/>
                  </a:lnTo>
                  <a:lnTo>
                    <a:pt x="87" y="81"/>
                  </a:lnTo>
                  <a:lnTo>
                    <a:pt x="82" y="85"/>
                  </a:lnTo>
                  <a:lnTo>
                    <a:pt x="77" y="86"/>
                  </a:lnTo>
                  <a:lnTo>
                    <a:pt x="70" y="86"/>
                  </a:lnTo>
                  <a:lnTo>
                    <a:pt x="64" y="85"/>
                  </a:lnTo>
                  <a:lnTo>
                    <a:pt x="61" y="86"/>
                  </a:lnTo>
                  <a:lnTo>
                    <a:pt x="60" y="89"/>
                  </a:lnTo>
                  <a:lnTo>
                    <a:pt x="60" y="91"/>
                  </a:lnTo>
                  <a:lnTo>
                    <a:pt x="61" y="93"/>
                  </a:lnTo>
                  <a:lnTo>
                    <a:pt x="70" y="98"/>
                  </a:lnTo>
                  <a:lnTo>
                    <a:pt x="78" y="102"/>
                  </a:lnTo>
                  <a:lnTo>
                    <a:pt x="86" y="107"/>
                  </a:lnTo>
                  <a:lnTo>
                    <a:pt x="93" y="115"/>
                  </a:lnTo>
                  <a:lnTo>
                    <a:pt x="98" y="119"/>
                  </a:lnTo>
                  <a:lnTo>
                    <a:pt x="101" y="121"/>
                  </a:lnTo>
                  <a:lnTo>
                    <a:pt x="105" y="121"/>
                  </a:lnTo>
                  <a:lnTo>
                    <a:pt x="106" y="119"/>
                  </a:lnTo>
                  <a:lnTo>
                    <a:pt x="107" y="116"/>
                  </a:lnTo>
                  <a:lnTo>
                    <a:pt x="107" y="112"/>
                  </a:lnTo>
                  <a:lnTo>
                    <a:pt x="108" y="110"/>
                  </a:lnTo>
                  <a:lnTo>
                    <a:pt x="116" y="99"/>
                  </a:lnTo>
                  <a:lnTo>
                    <a:pt x="122" y="91"/>
                  </a:lnTo>
                  <a:lnTo>
                    <a:pt x="127" y="81"/>
                  </a:lnTo>
                  <a:lnTo>
                    <a:pt x="133" y="68"/>
                  </a:lnTo>
                  <a:lnTo>
                    <a:pt x="135" y="67"/>
                  </a:lnTo>
                  <a:lnTo>
                    <a:pt x="138" y="67"/>
                  </a:lnTo>
                  <a:lnTo>
                    <a:pt x="139" y="66"/>
                  </a:lnTo>
                  <a:lnTo>
                    <a:pt x="141" y="65"/>
                  </a:lnTo>
                  <a:lnTo>
                    <a:pt x="143" y="59"/>
                  </a:lnTo>
                  <a:lnTo>
                    <a:pt x="143" y="57"/>
                  </a:lnTo>
                  <a:lnTo>
                    <a:pt x="144" y="54"/>
                  </a:lnTo>
                  <a:lnTo>
                    <a:pt x="148" y="52"/>
                  </a:lnTo>
                  <a:lnTo>
                    <a:pt x="153" y="52"/>
                  </a:lnTo>
                  <a:lnTo>
                    <a:pt x="158" y="51"/>
                  </a:lnTo>
                  <a:lnTo>
                    <a:pt x="162" y="49"/>
                  </a:lnTo>
                  <a:lnTo>
                    <a:pt x="169" y="45"/>
                  </a:lnTo>
                  <a:lnTo>
                    <a:pt x="177" y="42"/>
                  </a:lnTo>
                  <a:lnTo>
                    <a:pt x="178" y="41"/>
                  </a:lnTo>
                  <a:lnTo>
                    <a:pt x="180" y="40"/>
                  </a:lnTo>
                  <a:lnTo>
                    <a:pt x="173" y="39"/>
                  </a:lnTo>
                  <a:lnTo>
                    <a:pt x="168" y="38"/>
                  </a:lnTo>
                  <a:lnTo>
                    <a:pt x="167" y="36"/>
                  </a:lnTo>
                  <a:lnTo>
                    <a:pt x="168" y="35"/>
                  </a:lnTo>
                  <a:lnTo>
                    <a:pt x="169" y="33"/>
                  </a:lnTo>
                  <a:lnTo>
                    <a:pt x="168" y="32"/>
                  </a:lnTo>
                  <a:lnTo>
                    <a:pt x="164" y="32"/>
                  </a:lnTo>
                  <a:lnTo>
                    <a:pt x="159" y="3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4" name="Freeform 413"/>
            <p:cNvSpPr>
              <a:spLocks/>
            </p:cNvSpPr>
            <p:nvPr/>
          </p:nvSpPr>
          <p:spPr bwMode="auto">
            <a:xfrm>
              <a:off x="5808664" y="1690687"/>
              <a:ext cx="31750" cy="31751"/>
            </a:xfrm>
            <a:custGeom>
              <a:avLst/>
              <a:gdLst>
                <a:gd name="T0" fmla="*/ 2147483647 w 22"/>
                <a:gd name="T1" fmla="*/ 2147483647 h 20"/>
                <a:gd name="T2" fmla="*/ 2147483647 w 22"/>
                <a:gd name="T3" fmla="*/ 2147483647 h 20"/>
                <a:gd name="T4" fmla="*/ 2147483647 w 22"/>
                <a:gd name="T5" fmla="*/ 2147483647 h 20"/>
                <a:gd name="T6" fmla="*/ 2147483647 w 22"/>
                <a:gd name="T7" fmla="*/ 2147483647 h 20"/>
                <a:gd name="T8" fmla="*/ 2147483647 w 22"/>
                <a:gd name="T9" fmla="*/ 2147483647 h 20"/>
                <a:gd name="T10" fmla="*/ 2147483647 w 22"/>
                <a:gd name="T11" fmla="*/ 2147483647 h 20"/>
                <a:gd name="T12" fmla="*/ 2147483647 w 22"/>
                <a:gd name="T13" fmla="*/ 2147483647 h 20"/>
                <a:gd name="T14" fmla="*/ 2147483647 w 22"/>
                <a:gd name="T15" fmla="*/ 2147483647 h 20"/>
                <a:gd name="T16" fmla="*/ 2147483647 w 22"/>
                <a:gd name="T17" fmla="*/ 2147483647 h 20"/>
                <a:gd name="T18" fmla="*/ 2147483647 w 22"/>
                <a:gd name="T19" fmla="*/ 2147483647 h 20"/>
                <a:gd name="T20" fmla="*/ 2147483647 w 22"/>
                <a:gd name="T21" fmla="*/ 2147483647 h 20"/>
                <a:gd name="T22" fmla="*/ 2147483647 w 22"/>
                <a:gd name="T23" fmla="*/ 2147483647 h 20"/>
                <a:gd name="T24" fmla="*/ 2147483647 w 22"/>
                <a:gd name="T25" fmla="*/ 2147483647 h 20"/>
                <a:gd name="T26" fmla="*/ 2147483647 w 22"/>
                <a:gd name="T27" fmla="*/ 2147483647 h 20"/>
                <a:gd name="T28" fmla="*/ 2147483647 w 22"/>
                <a:gd name="T29" fmla="*/ 2147483647 h 20"/>
                <a:gd name="T30" fmla="*/ 0 w 22"/>
                <a:gd name="T31" fmla="*/ 2147483647 h 20"/>
                <a:gd name="T32" fmla="*/ 2147483647 w 22"/>
                <a:gd name="T33" fmla="*/ 2147483647 h 20"/>
                <a:gd name="T34" fmla="*/ 2147483647 w 22"/>
                <a:gd name="T35" fmla="*/ 2147483647 h 20"/>
                <a:gd name="T36" fmla="*/ 2147483647 w 22"/>
                <a:gd name="T37" fmla="*/ 2147483647 h 20"/>
                <a:gd name="T38" fmla="*/ 2147483647 w 22"/>
                <a:gd name="T39" fmla="*/ 2147483647 h 20"/>
                <a:gd name="T40" fmla="*/ 2147483647 w 22"/>
                <a:gd name="T41" fmla="*/ 2147483647 h 20"/>
                <a:gd name="T42" fmla="*/ 2147483647 w 22"/>
                <a:gd name="T43" fmla="*/ 0 h 20"/>
                <a:gd name="T44" fmla="*/ 2147483647 w 22"/>
                <a:gd name="T45" fmla="*/ 2147483647 h 20"/>
                <a:gd name="T46" fmla="*/ 2147483647 w 22"/>
                <a:gd name="T47" fmla="*/ 2147483647 h 20"/>
                <a:gd name="T48" fmla="*/ 2147483647 w 22"/>
                <a:gd name="T49" fmla="*/ 2147483647 h 20"/>
                <a:gd name="T50" fmla="*/ 2147483647 w 22"/>
                <a:gd name="T51" fmla="*/ 2147483647 h 20"/>
                <a:gd name="T52" fmla="*/ 2147483647 w 22"/>
                <a:gd name="T53" fmla="*/ 2147483647 h 20"/>
                <a:gd name="T54" fmla="*/ 2147483647 w 22"/>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
                <a:gd name="T85" fmla="*/ 0 h 20"/>
                <a:gd name="T86" fmla="*/ 22 w 22"/>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 h="20">
                  <a:moveTo>
                    <a:pt x="18" y="8"/>
                  </a:moveTo>
                  <a:lnTo>
                    <a:pt x="18" y="8"/>
                  </a:lnTo>
                  <a:lnTo>
                    <a:pt x="17" y="9"/>
                  </a:lnTo>
                  <a:lnTo>
                    <a:pt x="17" y="11"/>
                  </a:lnTo>
                  <a:lnTo>
                    <a:pt x="17" y="14"/>
                  </a:lnTo>
                  <a:lnTo>
                    <a:pt x="16" y="16"/>
                  </a:lnTo>
                  <a:lnTo>
                    <a:pt x="13" y="16"/>
                  </a:lnTo>
                  <a:lnTo>
                    <a:pt x="11" y="16"/>
                  </a:lnTo>
                  <a:lnTo>
                    <a:pt x="7" y="19"/>
                  </a:lnTo>
                  <a:lnTo>
                    <a:pt x="4" y="20"/>
                  </a:lnTo>
                  <a:lnTo>
                    <a:pt x="3" y="19"/>
                  </a:lnTo>
                  <a:lnTo>
                    <a:pt x="2" y="17"/>
                  </a:lnTo>
                  <a:lnTo>
                    <a:pt x="0" y="15"/>
                  </a:lnTo>
                  <a:lnTo>
                    <a:pt x="2" y="10"/>
                  </a:lnTo>
                  <a:lnTo>
                    <a:pt x="6" y="7"/>
                  </a:lnTo>
                  <a:lnTo>
                    <a:pt x="9" y="3"/>
                  </a:lnTo>
                  <a:lnTo>
                    <a:pt x="14" y="1"/>
                  </a:lnTo>
                  <a:lnTo>
                    <a:pt x="18" y="0"/>
                  </a:lnTo>
                  <a:lnTo>
                    <a:pt x="21" y="1"/>
                  </a:lnTo>
                  <a:lnTo>
                    <a:pt x="22" y="2"/>
                  </a:lnTo>
                  <a:lnTo>
                    <a:pt x="21" y="4"/>
                  </a:lnTo>
                  <a:lnTo>
                    <a:pt x="18"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5" name="Freeform 414"/>
            <p:cNvSpPr>
              <a:spLocks/>
            </p:cNvSpPr>
            <p:nvPr/>
          </p:nvSpPr>
          <p:spPr bwMode="auto">
            <a:xfrm>
              <a:off x="5832478" y="1885950"/>
              <a:ext cx="42863" cy="33338"/>
            </a:xfrm>
            <a:custGeom>
              <a:avLst/>
              <a:gdLst>
                <a:gd name="T0" fmla="*/ 2147483647 w 29"/>
                <a:gd name="T1" fmla="*/ 2147483647 h 21"/>
                <a:gd name="T2" fmla="*/ 2147483647 w 29"/>
                <a:gd name="T3" fmla="*/ 2147483647 h 21"/>
                <a:gd name="T4" fmla="*/ 2147483647 w 29"/>
                <a:gd name="T5" fmla="*/ 2147483647 h 21"/>
                <a:gd name="T6" fmla="*/ 2147483647 w 29"/>
                <a:gd name="T7" fmla="*/ 2147483647 h 21"/>
                <a:gd name="T8" fmla="*/ 2147483647 w 29"/>
                <a:gd name="T9" fmla="*/ 0 h 21"/>
                <a:gd name="T10" fmla="*/ 2147483647 w 29"/>
                <a:gd name="T11" fmla="*/ 0 h 21"/>
                <a:gd name="T12" fmla="*/ 2147483647 w 29"/>
                <a:gd name="T13" fmla="*/ 2147483647 h 21"/>
                <a:gd name="T14" fmla="*/ 2147483647 w 29"/>
                <a:gd name="T15" fmla="*/ 2147483647 h 21"/>
                <a:gd name="T16" fmla="*/ 2147483647 w 29"/>
                <a:gd name="T17" fmla="*/ 2147483647 h 21"/>
                <a:gd name="T18" fmla="*/ 0 w 29"/>
                <a:gd name="T19" fmla="*/ 2147483647 h 21"/>
                <a:gd name="T20" fmla="*/ 2147483647 w 29"/>
                <a:gd name="T21" fmla="*/ 2147483647 h 21"/>
                <a:gd name="T22" fmla="*/ 2147483647 w 29"/>
                <a:gd name="T23" fmla="*/ 2147483647 h 21"/>
                <a:gd name="T24" fmla="*/ 2147483647 w 29"/>
                <a:gd name="T25" fmla="*/ 2147483647 h 21"/>
                <a:gd name="T26" fmla="*/ 2147483647 w 29"/>
                <a:gd name="T27" fmla="*/ 2147483647 h 21"/>
                <a:gd name="T28" fmla="*/ 2147483647 w 29"/>
                <a:gd name="T29" fmla="*/ 2147483647 h 21"/>
                <a:gd name="T30" fmla="*/ 2147483647 w 29"/>
                <a:gd name="T31" fmla="*/ 2147483647 h 21"/>
                <a:gd name="T32" fmla="*/ 2147483647 w 29"/>
                <a:gd name="T33" fmla="*/ 2147483647 h 21"/>
                <a:gd name="T34" fmla="*/ 2147483647 w 29"/>
                <a:gd name="T35" fmla="*/ 2147483647 h 21"/>
                <a:gd name="T36" fmla="*/ 2147483647 w 29"/>
                <a:gd name="T37" fmla="*/ 2147483647 h 21"/>
                <a:gd name="T38" fmla="*/ 2147483647 w 29"/>
                <a:gd name="T39" fmla="*/ 2147483647 h 21"/>
                <a:gd name="T40" fmla="*/ 2147483647 w 29"/>
                <a:gd name="T41" fmla="*/ 2147483647 h 21"/>
                <a:gd name="T42" fmla="*/ 2147483647 w 29"/>
                <a:gd name="T43" fmla="*/ 2147483647 h 21"/>
                <a:gd name="T44" fmla="*/ 2147483647 w 29"/>
                <a:gd name="T45" fmla="*/ 2147483647 h 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
                <a:gd name="T70" fmla="*/ 0 h 21"/>
                <a:gd name="T71" fmla="*/ 29 w 29"/>
                <a:gd name="T72" fmla="*/ 21 h 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 h="21">
                  <a:moveTo>
                    <a:pt x="28" y="11"/>
                  </a:moveTo>
                  <a:lnTo>
                    <a:pt x="24" y="9"/>
                  </a:lnTo>
                  <a:lnTo>
                    <a:pt x="21" y="8"/>
                  </a:lnTo>
                  <a:lnTo>
                    <a:pt x="12" y="2"/>
                  </a:lnTo>
                  <a:lnTo>
                    <a:pt x="7" y="0"/>
                  </a:lnTo>
                  <a:lnTo>
                    <a:pt x="6" y="0"/>
                  </a:lnTo>
                  <a:lnTo>
                    <a:pt x="3" y="1"/>
                  </a:lnTo>
                  <a:lnTo>
                    <a:pt x="2" y="3"/>
                  </a:lnTo>
                  <a:lnTo>
                    <a:pt x="1" y="7"/>
                  </a:lnTo>
                  <a:lnTo>
                    <a:pt x="0" y="11"/>
                  </a:lnTo>
                  <a:lnTo>
                    <a:pt x="1" y="12"/>
                  </a:lnTo>
                  <a:lnTo>
                    <a:pt x="2" y="12"/>
                  </a:lnTo>
                  <a:lnTo>
                    <a:pt x="7" y="13"/>
                  </a:lnTo>
                  <a:lnTo>
                    <a:pt x="11" y="15"/>
                  </a:lnTo>
                  <a:lnTo>
                    <a:pt x="14" y="18"/>
                  </a:lnTo>
                  <a:lnTo>
                    <a:pt x="17" y="21"/>
                  </a:lnTo>
                  <a:lnTo>
                    <a:pt x="19" y="21"/>
                  </a:lnTo>
                  <a:lnTo>
                    <a:pt x="20" y="20"/>
                  </a:lnTo>
                  <a:lnTo>
                    <a:pt x="24" y="17"/>
                  </a:lnTo>
                  <a:lnTo>
                    <a:pt x="29" y="13"/>
                  </a:lnTo>
                  <a:lnTo>
                    <a:pt x="29" y="12"/>
                  </a:lnTo>
                  <a:lnTo>
                    <a:pt x="29" y="11"/>
                  </a:lnTo>
                  <a:lnTo>
                    <a:pt x="28"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6" name="Freeform 415"/>
            <p:cNvSpPr>
              <a:spLocks/>
            </p:cNvSpPr>
            <p:nvPr/>
          </p:nvSpPr>
          <p:spPr bwMode="auto">
            <a:xfrm>
              <a:off x="6124575" y="1731965"/>
              <a:ext cx="31750" cy="23812"/>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0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0 h 15"/>
                <a:gd name="T18" fmla="*/ 2147483647 w 22"/>
                <a:gd name="T19" fmla="*/ 2147483647 h 15"/>
                <a:gd name="T20" fmla="*/ 2147483647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2147483647 w 22"/>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15"/>
                <a:gd name="T50" fmla="*/ 22 w 22"/>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15">
                  <a:moveTo>
                    <a:pt x="14" y="15"/>
                  </a:moveTo>
                  <a:lnTo>
                    <a:pt x="9" y="14"/>
                  </a:lnTo>
                  <a:lnTo>
                    <a:pt x="5" y="14"/>
                  </a:lnTo>
                  <a:lnTo>
                    <a:pt x="1" y="14"/>
                  </a:lnTo>
                  <a:lnTo>
                    <a:pt x="0" y="14"/>
                  </a:lnTo>
                  <a:lnTo>
                    <a:pt x="1" y="13"/>
                  </a:lnTo>
                  <a:lnTo>
                    <a:pt x="5" y="4"/>
                  </a:lnTo>
                  <a:lnTo>
                    <a:pt x="9" y="1"/>
                  </a:lnTo>
                  <a:lnTo>
                    <a:pt x="14" y="0"/>
                  </a:lnTo>
                  <a:lnTo>
                    <a:pt x="17" y="1"/>
                  </a:lnTo>
                  <a:lnTo>
                    <a:pt x="20" y="4"/>
                  </a:lnTo>
                  <a:lnTo>
                    <a:pt x="22" y="9"/>
                  </a:lnTo>
                  <a:lnTo>
                    <a:pt x="20" y="14"/>
                  </a:lnTo>
                  <a:lnTo>
                    <a:pt x="19" y="15"/>
                  </a:lnTo>
                  <a:lnTo>
                    <a:pt x="18" y="15"/>
                  </a:lnTo>
                  <a:lnTo>
                    <a:pt x="14"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7" name="Freeform 416"/>
            <p:cNvSpPr>
              <a:spLocks/>
            </p:cNvSpPr>
            <p:nvPr/>
          </p:nvSpPr>
          <p:spPr bwMode="auto">
            <a:xfrm>
              <a:off x="5829300" y="1884364"/>
              <a:ext cx="44450" cy="33337"/>
            </a:xfrm>
            <a:custGeom>
              <a:avLst/>
              <a:gdLst>
                <a:gd name="T0" fmla="*/ 2147483647 w 30"/>
                <a:gd name="T1" fmla="*/ 2147483647 h 21"/>
                <a:gd name="T2" fmla="*/ 2147483647 w 30"/>
                <a:gd name="T3" fmla="*/ 2147483647 h 21"/>
                <a:gd name="T4" fmla="*/ 2147483647 w 30"/>
                <a:gd name="T5" fmla="*/ 2147483647 h 21"/>
                <a:gd name="T6" fmla="*/ 2147483647 w 30"/>
                <a:gd name="T7" fmla="*/ 2147483647 h 21"/>
                <a:gd name="T8" fmla="*/ 2147483647 w 30"/>
                <a:gd name="T9" fmla="*/ 2147483647 h 21"/>
                <a:gd name="T10" fmla="*/ 2147483647 w 30"/>
                <a:gd name="T11" fmla="*/ 2147483647 h 21"/>
                <a:gd name="T12" fmla="*/ 2147483647 w 30"/>
                <a:gd name="T13" fmla="*/ 0 h 21"/>
                <a:gd name="T14" fmla="*/ 2147483647 w 30"/>
                <a:gd name="T15" fmla="*/ 0 h 21"/>
                <a:gd name="T16" fmla="*/ 2147483647 w 30"/>
                <a:gd name="T17" fmla="*/ 2147483647 h 21"/>
                <a:gd name="T18" fmla="*/ 2147483647 w 30"/>
                <a:gd name="T19" fmla="*/ 2147483647 h 21"/>
                <a:gd name="T20" fmla="*/ 2147483647 w 30"/>
                <a:gd name="T21" fmla="*/ 2147483647 h 21"/>
                <a:gd name="T22" fmla="*/ 2147483647 w 30"/>
                <a:gd name="T23" fmla="*/ 2147483647 h 21"/>
                <a:gd name="T24" fmla="*/ 0 w 30"/>
                <a:gd name="T25" fmla="*/ 2147483647 h 21"/>
                <a:gd name="T26" fmla="*/ 2147483647 w 30"/>
                <a:gd name="T27" fmla="*/ 2147483647 h 21"/>
                <a:gd name="T28" fmla="*/ 2147483647 w 30"/>
                <a:gd name="T29" fmla="*/ 2147483647 h 21"/>
                <a:gd name="T30" fmla="*/ 2147483647 w 30"/>
                <a:gd name="T31" fmla="*/ 2147483647 h 21"/>
                <a:gd name="T32" fmla="*/ 2147483647 w 30"/>
                <a:gd name="T33" fmla="*/ 2147483647 h 21"/>
                <a:gd name="T34" fmla="*/ 2147483647 w 30"/>
                <a:gd name="T35" fmla="*/ 2147483647 h 21"/>
                <a:gd name="T36" fmla="*/ 2147483647 w 30"/>
                <a:gd name="T37" fmla="*/ 2147483647 h 21"/>
                <a:gd name="T38" fmla="*/ 2147483647 w 30"/>
                <a:gd name="T39" fmla="*/ 2147483647 h 21"/>
                <a:gd name="T40" fmla="*/ 2147483647 w 30"/>
                <a:gd name="T41" fmla="*/ 2147483647 h 21"/>
                <a:gd name="T42" fmla="*/ 2147483647 w 30"/>
                <a:gd name="T43" fmla="*/ 2147483647 h 21"/>
                <a:gd name="T44" fmla="*/ 2147483647 w 30"/>
                <a:gd name="T45" fmla="*/ 2147483647 h 21"/>
                <a:gd name="T46" fmla="*/ 2147483647 w 30"/>
                <a:gd name="T47" fmla="*/ 2147483647 h 21"/>
                <a:gd name="T48" fmla="*/ 2147483647 w 30"/>
                <a:gd name="T49" fmla="*/ 2147483647 h 21"/>
                <a:gd name="T50" fmla="*/ 2147483647 w 30"/>
                <a:gd name="T51" fmla="*/ 2147483647 h 21"/>
                <a:gd name="T52" fmla="*/ 2147483647 w 30"/>
                <a:gd name="T53" fmla="*/ 2147483647 h 21"/>
                <a:gd name="T54" fmla="*/ 2147483647 w 30"/>
                <a:gd name="T55" fmla="*/ 2147483647 h 21"/>
                <a:gd name="T56" fmla="*/ 2147483647 w 30"/>
                <a:gd name="T57" fmla="*/ 2147483647 h 21"/>
                <a:gd name="T58" fmla="*/ 2147483647 w 30"/>
                <a:gd name="T59" fmla="*/ 2147483647 h 21"/>
                <a:gd name="T60" fmla="*/ 2147483647 w 30"/>
                <a:gd name="T61" fmla="*/ 2147483647 h 21"/>
                <a:gd name="T62" fmla="*/ 2147483647 w 30"/>
                <a:gd name="T63" fmla="*/ 2147483647 h 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
                <a:gd name="T97" fmla="*/ 0 h 21"/>
                <a:gd name="T98" fmla="*/ 30 w 30"/>
                <a:gd name="T99" fmla="*/ 21 h 2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 h="21">
                  <a:moveTo>
                    <a:pt x="28" y="10"/>
                  </a:moveTo>
                  <a:lnTo>
                    <a:pt x="28" y="10"/>
                  </a:lnTo>
                  <a:lnTo>
                    <a:pt x="25" y="9"/>
                  </a:lnTo>
                  <a:lnTo>
                    <a:pt x="22" y="8"/>
                  </a:lnTo>
                  <a:lnTo>
                    <a:pt x="13" y="2"/>
                  </a:lnTo>
                  <a:lnTo>
                    <a:pt x="8" y="0"/>
                  </a:lnTo>
                  <a:lnTo>
                    <a:pt x="7" y="0"/>
                  </a:lnTo>
                  <a:lnTo>
                    <a:pt x="4" y="1"/>
                  </a:lnTo>
                  <a:lnTo>
                    <a:pt x="3" y="3"/>
                  </a:lnTo>
                  <a:lnTo>
                    <a:pt x="2" y="7"/>
                  </a:lnTo>
                  <a:lnTo>
                    <a:pt x="0" y="10"/>
                  </a:lnTo>
                  <a:lnTo>
                    <a:pt x="2" y="12"/>
                  </a:lnTo>
                  <a:lnTo>
                    <a:pt x="3" y="12"/>
                  </a:lnTo>
                  <a:lnTo>
                    <a:pt x="8" y="13"/>
                  </a:lnTo>
                  <a:lnTo>
                    <a:pt x="12" y="15"/>
                  </a:lnTo>
                  <a:lnTo>
                    <a:pt x="14" y="18"/>
                  </a:lnTo>
                  <a:lnTo>
                    <a:pt x="18" y="21"/>
                  </a:lnTo>
                  <a:lnTo>
                    <a:pt x="19" y="21"/>
                  </a:lnTo>
                  <a:lnTo>
                    <a:pt x="21" y="20"/>
                  </a:lnTo>
                  <a:lnTo>
                    <a:pt x="25" y="16"/>
                  </a:lnTo>
                  <a:lnTo>
                    <a:pt x="30" y="13"/>
                  </a:lnTo>
                  <a:lnTo>
                    <a:pt x="30" y="12"/>
                  </a:lnTo>
                  <a:lnTo>
                    <a:pt x="30" y="10"/>
                  </a:lnTo>
                  <a:lnTo>
                    <a:pt x="28"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8" name="Freeform 417"/>
            <p:cNvSpPr>
              <a:spLocks/>
            </p:cNvSpPr>
            <p:nvPr/>
          </p:nvSpPr>
          <p:spPr bwMode="auto">
            <a:xfrm>
              <a:off x="6122988" y="1730379"/>
              <a:ext cx="30162" cy="23813"/>
            </a:xfrm>
            <a:custGeom>
              <a:avLst/>
              <a:gdLst>
                <a:gd name="T0" fmla="*/ 2147483647 w 21"/>
                <a:gd name="T1" fmla="*/ 2147483647 h 15"/>
                <a:gd name="T2" fmla="*/ 2147483647 w 21"/>
                <a:gd name="T3" fmla="*/ 2147483647 h 15"/>
                <a:gd name="T4" fmla="*/ 2147483647 w 21"/>
                <a:gd name="T5" fmla="*/ 2147483647 h 15"/>
                <a:gd name="T6" fmla="*/ 2147483647 w 21"/>
                <a:gd name="T7" fmla="*/ 2147483647 h 15"/>
                <a:gd name="T8" fmla="*/ 2147483647 w 21"/>
                <a:gd name="T9" fmla="*/ 2147483647 h 15"/>
                <a:gd name="T10" fmla="*/ 0 w 21"/>
                <a:gd name="T11" fmla="*/ 2147483647 h 15"/>
                <a:gd name="T12" fmla="*/ 2147483647 w 21"/>
                <a:gd name="T13" fmla="*/ 2147483647 h 15"/>
                <a:gd name="T14" fmla="*/ 2147483647 w 21"/>
                <a:gd name="T15" fmla="*/ 2147483647 h 15"/>
                <a:gd name="T16" fmla="*/ 2147483647 w 21"/>
                <a:gd name="T17" fmla="*/ 2147483647 h 15"/>
                <a:gd name="T18" fmla="*/ 2147483647 w 21"/>
                <a:gd name="T19" fmla="*/ 2147483647 h 15"/>
                <a:gd name="T20" fmla="*/ 2147483647 w 21"/>
                <a:gd name="T21" fmla="*/ 0 h 15"/>
                <a:gd name="T22" fmla="*/ 2147483647 w 21"/>
                <a:gd name="T23" fmla="*/ 0 h 15"/>
                <a:gd name="T24" fmla="*/ 2147483647 w 21"/>
                <a:gd name="T25" fmla="*/ 2147483647 h 15"/>
                <a:gd name="T26" fmla="*/ 2147483647 w 21"/>
                <a:gd name="T27" fmla="*/ 2147483647 h 15"/>
                <a:gd name="T28" fmla="*/ 2147483647 w 21"/>
                <a:gd name="T29" fmla="*/ 2147483647 h 15"/>
                <a:gd name="T30" fmla="*/ 2147483647 w 21"/>
                <a:gd name="T31" fmla="*/ 2147483647 h 15"/>
                <a:gd name="T32" fmla="*/ 2147483647 w 21"/>
                <a:gd name="T33" fmla="*/ 2147483647 h 15"/>
                <a:gd name="T34" fmla="*/ 2147483647 w 21"/>
                <a:gd name="T35" fmla="*/ 2147483647 h 15"/>
                <a:gd name="T36" fmla="*/ 2147483647 w 21"/>
                <a:gd name="T37" fmla="*/ 2147483647 h 15"/>
                <a:gd name="T38" fmla="*/ 2147483647 w 21"/>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5"/>
                <a:gd name="T62" fmla="*/ 21 w 21"/>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5">
                  <a:moveTo>
                    <a:pt x="14" y="15"/>
                  </a:moveTo>
                  <a:lnTo>
                    <a:pt x="14" y="15"/>
                  </a:lnTo>
                  <a:lnTo>
                    <a:pt x="9" y="14"/>
                  </a:lnTo>
                  <a:lnTo>
                    <a:pt x="5" y="14"/>
                  </a:lnTo>
                  <a:lnTo>
                    <a:pt x="1" y="14"/>
                  </a:lnTo>
                  <a:lnTo>
                    <a:pt x="0" y="14"/>
                  </a:lnTo>
                  <a:lnTo>
                    <a:pt x="1" y="13"/>
                  </a:lnTo>
                  <a:lnTo>
                    <a:pt x="5" y="4"/>
                  </a:lnTo>
                  <a:lnTo>
                    <a:pt x="9" y="1"/>
                  </a:lnTo>
                  <a:lnTo>
                    <a:pt x="14" y="0"/>
                  </a:lnTo>
                  <a:lnTo>
                    <a:pt x="16" y="1"/>
                  </a:lnTo>
                  <a:lnTo>
                    <a:pt x="20" y="4"/>
                  </a:lnTo>
                  <a:lnTo>
                    <a:pt x="21" y="9"/>
                  </a:lnTo>
                  <a:lnTo>
                    <a:pt x="20" y="14"/>
                  </a:lnTo>
                  <a:lnTo>
                    <a:pt x="19" y="15"/>
                  </a:lnTo>
                  <a:lnTo>
                    <a:pt x="18" y="15"/>
                  </a:lnTo>
                  <a:lnTo>
                    <a:pt x="14"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19" name="Freeform 418"/>
            <p:cNvSpPr>
              <a:spLocks/>
            </p:cNvSpPr>
            <p:nvPr/>
          </p:nvSpPr>
          <p:spPr bwMode="auto">
            <a:xfrm>
              <a:off x="5703888" y="4013201"/>
              <a:ext cx="31750" cy="20638"/>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0 w 22"/>
                <a:gd name="T21" fmla="*/ 2147483647 h 13"/>
                <a:gd name="T22" fmla="*/ 0 w 22"/>
                <a:gd name="T23" fmla="*/ 2147483647 h 13"/>
                <a:gd name="T24" fmla="*/ 2147483647 w 22"/>
                <a:gd name="T25" fmla="*/ 2147483647 h 13"/>
                <a:gd name="T26" fmla="*/ 2147483647 w 22"/>
                <a:gd name="T27" fmla="*/ 2147483647 h 13"/>
                <a:gd name="T28" fmla="*/ 2147483647 w 22"/>
                <a:gd name="T29" fmla="*/ 0 h 13"/>
                <a:gd name="T30" fmla="*/ 2147483647 w 22"/>
                <a:gd name="T31" fmla="*/ 2147483647 h 13"/>
                <a:gd name="T32" fmla="*/ 2147483647 w 22"/>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3"/>
                <a:gd name="T53" fmla="*/ 22 w 2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3">
                  <a:moveTo>
                    <a:pt x="17" y="2"/>
                  </a:moveTo>
                  <a:lnTo>
                    <a:pt x="19" y="3"/>
                  </a:lnTo>
                  <a:lnTo>
                    <a:pt x="22" y="3"/>
                  </a:lnTo>
                  <a:lnTo>
                    <a:pt x="22" y="6"/>
                  </a:lnTo>
                  <a:lnTo>
                    <a:pt x="22" y="7"/>
                  </a:lnTo>
                  <a:lnTo>
                    <a:pt x="22" y="8"/>
                  </a:lnTo>
                  <a:lnTo>
                    <a:pt x="19" y="10"/>
                  </a:lnTo>
                  <a:lnTo>
                    <a:pt x="15" y="11"/>
                  </a:lnTo>
                  <a:lnTo>
                    <a:pt x="10" y="13"/>
                  </a:lnTo>
                  <a:lnTo>
                    <a:pt x="3" y="10"/>
                  </a:lnTo>
                  <a:lnTo>
                    <a:pt x="0" y="8"/>
                  </a:lnTo>
                  <a:lnTo>
                    <a:pt x="0" y="6"/>
                  </a:lnTo>
                  <a:lnTo>
                    <a:pt x="1" y="2"/>
                  </a:lnTo>
                  <a:lnTo>
                    <a:pt x="4" y="1"/>
                  </a:lnTo>
                  <a:lnTo>
                    <a:pt x="6" y="0"/>
                  </a:lnTo>
                  <a:lnTo>
                    <a:pt x="10" y="1"/>
                  </a:lnTo>
                  <a:lnTo>
                    <a:pt x="17"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0" name="Freeform 419"/>
            <p:cNvSpPr>
              <a:spLocks/>
            </p:cNvSpPr>
            <p:nvPr/>
          </p:nvSpPr>
          <p:spPr bwMode="auto">
            <a:xfrm>
              <a:off x="4711700" y="3275017"/>
              <a:ext cx="12700" cy="7937"/>
            </a:xfrm>
            <a:custGeom>
              <a:avLst/>
              <a:gdLst>
                <a:gd name="T0" fmla="*/ 2147483647 w 9"/>
                <a:gd name="T1" fmla="*/ 0 h 5"/>
                <a:gd name="T2" fmla="*/ 2147483647 w 9"/>
                <a:gd name="T3" fmla="*/ 2147483647 h 5"/>
                <a:gd name="T4" fmla="*/ 2147483647 w 9"/>
                <a:gd name="T5" fmla="*/ 2147483647 h 5"/>
                <a:gd name="T6" fmla="*/ 2147483647 w 9"/>
                <a:gd name="T7" fmla="*/ 2147483647 h 5"/>
                <a:gd name="T8" fmla="*/ 2147483647 w 9"/>
                <a:gd name="T9" fmla="*/ 2147483647 h 5"/>
                <a:gd name="T10" fmla="*/ 2147483647 w 9"/>
                <a:gd name="T11" fmla="*/ 2147483647 h 5"/>
                <a:gd name="T12" fmla="*/ 2147483647 w 9"/>
                <a:gd name="T13" fmla="*/ 2147483647 h 5"/>
                <a:gd name="T14" fmla="*/ 0 w 9"/>
                <a:gd name="T15" fmla="*/ 2147483647 h 5"/>
                <a:gd name="T16" fmla="*/ 2147483647 w 9"/>
                <a:gd name="T17" fmla="*/ 0 h 5"/>
                <a:gd name="T18" fmla="*/ 2147483647 w 9"/>
                <a:gd name="T19" fmla="*/ 0 h 5"/>
                <a:gd name="T20" fmla="*/ 2147483647 w 9"/>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5"/>
                <a:gd name="T35" fmla="*/ 9 w 9"/>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5">
                  <a:moveTo>
                    <a:pt x="7" y="0"/>
                  </a:moveTo>
                  <a:lnTo>
                    <a:pt x="8" y="1"/>
                  </a:lnTo>
                  <a:lnTo>
                    <a:pt x="9" y="1"/>
                  </a:lnTo>
                  <a:lnTo>
                    <a:pt x="8" y="2"/>
                  </a:lnTo>
                  <a:lnTo>
                    <a:pt x="7" y="3"/>
                  </a:lnTo>
                  <a:lnTo>
                    <a:pt x="4" y="5"/>
                  </a:lnTo>
                  <a:lnTo>
                    <a:pt x="2" y="3"/>
                  </a:lnTo>
                  <a:lnTo>
                    <a:pt x="0" y="1"/>
                  </a:lnTo>
                  <a:lnTo>
                    <a:pt x="2" y="0"/>
                  </a:lnTo>
                  <a:lnTo>
                    <a:pt x="3" y="0"/>
                  </a:lnTo>
                  <a:lnTo>
                    <a:pt x="7"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1" name="Freeform 420"/>
            <p:cNvSpPr>
              <a:spLocks/>
            </p:cNvSpPr>
            <p:nvPr/>
          </p:nvSpPr>
          <p:spPr bwMode="auto">
            <a:xfrm>
              <a:off x="5702304" y="4010027"/>
              <a:ext cx="30163" cy="20638"/>
            </a:xfrm>
            <a:custGeom>
              <a:avLst/>
              <a:gdLst>
                <a:gd name="T0" fmla="*/ 2147483647 w 21"/>
                <a:gd name="T1" fmla="*/ 2147483647 h 13"/>
                <a:gd name="T2" fmla="*/ 2147483647 w 21"/>
                <a:gd name="T3" fmla="*/ 2147483647 h 13"/>
                <a:gd name="T4" fmla="*/ 2147483647 w 21"/>
                <a:gd name="T5" fmla="*/ 2147483647 h 13"/>
                <a:gd name="T6" fmla="*/ 2147483647 w 21"/>
                <a:gd name="T7" fmla="*/ 2147483647 h 13"/>
                <a:gd name="T8" fmla="*/ 2147483647 w 21"/>
                <a:gd name="T9" fmla="*/ 2147483647 h 13"/>
                <a:gd name="T10" fmla="*/ 2147483647 w 21"/>
                <a:gd name="T11" fmla="*/ 2147483647 h 13"/>
                <a:gd name="T12" fmla="*/ 2147483647 w 21"/>
                <a:gd name="T13" fmla="*/ 2147483647 h 13"/>
                <a:gd name="T14" fmla="*/ 2147483647 w 21"/>
                <a:gd name="T15" fmla="*/ 2147483647 h 13"/>
                <a:gd name="T16" fmla="*/ 2147483647 w 21"/>
                <a:gd name="T17" fmla="*/ 2147483647 h 13"/>
                <a:gd name="T18" fmla="*/ 2147483647 w 21"/>
                <a:gd name="T19" fmla="*/ 2147483647 h 13"/>
                <a:gd name="T20" fmla="*/ 2147483647 w 21"/>
                <a:gd name="T21" fmla="*/ 2147483647 h 13"/>
                <a:gd name="T22" fmla="*/ 2147483647 w 21"/>
                <a:gd name="T23" fmla="*/ 2147483647 h 13"/>
                <a:gd name="T24" fmla="*/ 2147483647 w 21"/>
                <a:gd name="T25" fmla="*/ 2147483647 h 13"/>
                <a:gd name="T26" fmla="*/ 2147483647 w 21"/>
                <a:gd name="T27" fmla="*/ 2147483647 h 13"/>
                <a:gd name="T28" fmla="*/ 0 w 21"/>
                <a:gd name="T29" fmla="*/ 2147483647 h 13"/>
                <a:gd name="T30" fmla="*/ 0 w 21"/>
                <a:gd name="T31" fmla="*/ 2147483647 h 13"/>
                <a:gd name="T32" fmla="*/ 2147483647 w 21"/>
                <a:gd name="T33" fmla="*/ 2147483647 h 13"/>
                <a:gd name="T34" fmla="*/ 2147483647 w 21"/>
                <a:gd name="T35" fmla="*/ 2147483647 h 13"/>
                <a:gd name="T36" fmla="*/ 2147483647 w 21"/>
                <a:gd name="T37" fmla="*/ 2147483647 h 13"/>
                <a:gd name="T38" fmla="*/ 2147483647 w 21"/>
                <a:gd name="T39" fmla="*/ 0 h 13"/>
                <a:gd name="T40" fmla="*/ 2147483647 w 21"/>
                <a:gd name="T41" fmla="*/ 2147483647 h 13"/>
                <a:gd name="T42" fmla="*/ 2147483647 w 21"/>
                <a:gd name="T43" fmla="*/ 2147483647 h 13"/>
                <a:gd name="T44" fmla="*/ 2147483647 w 21"/>
                <a:gd name="T45" fmla="*/ 21474836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13"/>
                <a:gd name="T71" fmla="*/ 21 w 21"/>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13">
                  <a:moveTo>
                    <a:pt x="16" y="3"/>
                  </a:moveTo>
                  <a:lnTo>
                    <a:pt x="16" y="3"/>
                  </a:lnTo>
                  <a:lnTo>
                    <a:pt x="19" y="4"/>
                  </a:lnTo>
                  <a:lnTo>
                    <a:pt x="21" y="4"/>
                  </a:lnTo>
                  <a:lnTo>
                    <a:pt x="21" y="6"/>
                  </a:lnTo>
                  <a:lnTo>
                    <a:pt x="21" y="8"/>
                  </a:lnTo>
                  <a:lnTo>
                    <a:pt x="21" y="9"/>
                  </a:lnTo>
                  <a:lnTo>
                    <a:pt x="19" y="11"/>
                  </a:lnTo>
                  <a:lnTo>
                    <a:pt x="15" y="12"/>
                  </a:lnTo>
                  <a:lnTo>
                    <a:pt x="10" y="13"/>
                  </a:lnTo>
                  <a:lnTo>
                    <a:pt x="2" y="11"/>
                  </a:lnTo>
                  <a:lnTo>
                    <a:pt x="0" y="9"/>
                  </a:lnTo>
                  <a:lnTo>
                    <a:pt x="0" y="6"/>
                  </a:lnTo>
                  <a:lnTo>
                    <a:pt x="1" y="3"/>
                  </a:lnTo>
                  <a:lnTo>
                    <a:pt x="4" y="2"/>
                  </a:lnTo>
                  <a:lnTo>
                    <a:pt x="6" y="0"/>
                  </a:lnTo>
                  <a:lnTo>
                    <a:pt x="10" y="2"/>
                  </a:lnTo>
                  <a:lnTo>
                    <a:pt x="1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2" name="Freeform 421"/>
            <p:cNvSpPr>
              <a:spLocks/>
            </p:cNvSpPr>
            <p:nvPr/>
          </p:nvSpPr>
          <p:spPr bwMode="auto">
            <a:xfrm>
              <a:off x="4710113" y="3273425"/>
              <a:ext cx="12700" cy="6350"/>
            </a:xfrm>
            <a:custGeom>
              <a:avLst/>
              <a:gdLst>
                <a:gd name="T0" fmla="*/ 2147483647 w 9"/>
                <a:gd name="T1" fmla="*/ 0 h 4"/>
                <a:gd name="T2" fmla="*/ 2147483647 w 9"/>
                <a:gd name="T3" fmla="*/ 0 h 4"/>
                <a:gd name="T4" fmla="*/ 2147483647 w 9"/>
                <a:gd name="T5" fmla="*/ 2147483647 h 4"/>
                <a:gd name="T6" fmla="*/ 2147483647 w 9"/>
                <a:gd name="T7" fmla="*/ 2147483647 h 4"/>
                <a:gd name="T8" fmla="*/ 2147483647 w 9"/>
                <a:gd name="T9" fmla="*/ 2147483647 h 4"/>
                <a:gd name="T10" fmla="*/ 2147483647 w 9"/>
                <a:gd name="T11" fmla="*/ 2147483647 h 4"/>
                <a:gd name="T12" fmla="*/ 2147483647 w 9"/>
                <a:gd name="T13" fmla="*/ 2147483647 h 4"/>
                <a:gd name="T14" fmla="*/ 2147483647 w 9"/>
                <a:gd name="T15" fmla="*/ 2147483647 h 4"/>
                <a:gd name="T16" fmla="*/ 2147483647 w 9"/>
                <a:gd name="T17" fmla="*/ 2147483647 h 4"/>
                <a:gd name="T18" fmla="*/ 0 w 9"/>
                <a:gd name="T19" fmla="*/ 2147483647 h 4"/>
                <a:gd name="T20" fmla="*/ 0 w 9"/>
                <a:gd name="T21" fmla="*/ 2147483647 h 4"/>
                <a:gd name="T22" fmla="*/ 2147483647 w 9"/>
                <a:gd name="T23" fmla="*/ 0 h 4"/>
                <a:gd name="T24" fmla="*/ 2147483647 w 9"/>
                <a:gd name="T25" fmla="*/ 0 h 4"/>
                <a:gd name="T26" fmla="*/ 2147483647 w 9"/>
                <a:gd name="T27" fmla="*/ 0 h 4"/>
                <a:gd name="T28" fmla="*/ 2147483647 w 9"/>
                <a:gd name="T29" fmla="*/ 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4"/>
                <a:gd name="T47" fmla="*/ 9 w 9"/>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4">
                  <a:moveTo>
                    <a:pt x="6" y="0"/>
                  </a:moveTo>
                  <a:lnTo>
                    <a:pt x="6" y="0"/>
                  </a:lnTo>
                  <a:lnTo>
                    <a:pt x="8" y="1"/>
                  </a:lnTo>
                  <a:lnTo>
                    <a:pt x="9" y="1"/>
                  </a:lnTo>
                  <a:lnTo>
                    <a:pt x="8" y="2"/>
                  </a:lnTo>
                  <a:lnTo>
                    <a:pt x="6" y="3"/>
                  </a:lnTo>
                  <a:lnTo>
                    <a:pt x="4" y="4"/>
                  </a:lnTo>
                  <a:lnTo>
                    <a:pt x="1" y="3"/>
                  </a:lnTo>
                  <a:lnTo>
                    <a:pt x="0" y="1"/>
                  </a:lnTo>
                  <a:lnTo>
                    <a:pt x="1" y="0"/>
                  </a:lnTo>
                  <a:lnTo>
                    <a:pt x="3" y="0"/>
                  </a:lnTo>
                  <a:lnTo>
                    <a:pt x="6"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3" name="Freeform 422"/>
            <p:cNvSpPr>
              <a:spLocks/>
            </p:cNvSpPr>
            <p:nvPr/>
          </p:nvSpPr>
          <p:spPr bwMode="auto">
            <a:xfrm>
              <a:off x="5157789" y="3268666"/>
              <a:ext cx="69850" cy="46037"/>
            </a:xfrm>
            <a:custGeom>
              <a:avLst/>
              <a:gdLst>
                <a:gd name="T0" fmla="*/ 2147483647 w 47"/>
                <a:gd name="T1" fmla="*/ 2147483647 h 29"/>
                <a:gd name="T2" fmla="*/ 2147483647 w 47"/>
                <a:gd name="T3" fmla="*/ 2147483647 h 29"/>
                <a:gd name="T4" fmla="*/ 2147483647 w 47"/>
                <a:gd name="T5" fmla="*/ 2147483647 h 29"/>
                <a:gd name="T6" fmla="*/ 2147483647 w 47"/>
                <a:gd name="T7" fmla="*/ 2147483647 h 29"/>
                <a:gd name="T8" fmla="*/ 2147483647 w 47"/>
                <a:gd name="T9" fmla="*/ 2147483647 h 29"/>
                <a:gd name="T10" fmla="*/ 2147483647 w 47"/>
                <a:gd name="T11" fmla="*/ 2147483647 h 29"/>
                <a:gd name="T12" fmla="*/ 2147483647 w 47"/>
                <a:gd name="T13" fmla="*/ 2147483647 h 29"/>
                <a:gd name="T14" fmla="*/ 2147483647 w 47"/>
                <a:gd name="T15" fmla="*/ 2147483647 h 29"/>
                <a:gd name="T16" fmla="*/ 2147483647 w 47"/>
                <a:gd name="T17" fmla="*/ 2147483647 h 29"/>
                <a:gd name="T18" fmla="*/ 2147483647 w 47"/>
                <a:gd name="T19" fmla="*/ 2147483647 h 29"/>
                <a:gd name="T20" fmla="*/ 2147483647 w 47"/>
                <a:gd name="T21" fmla="*/ 2147483647 h 29"/>
                <a:gd name="T22" fmla="*/ 2147483647 w 47"/>
                <a:gd name="T23" fmla="*/ 2147483647 h 29"/>
                <a:gd name="T24" fmla="*/ 2147483647 w 47"/>
                <a:gd name="T25" fmla="*/ 2147483647 h 29"/>
                <a:gd name="T26" fmla="*/ 2147483647 w 47"/>
                <a:gd name="T27" fmla="*/ 2147483647 h 29"/>
                <a:gd name="T28" fmla="*/ 0 w 47"/>
                <a:gd name="T29" fmla="*/ 2147483647 h 29"/>
                <a:gd name="T30" fmla="*/ 2147483647 w 47"/>
                <a:gd name="T31" fmla="*/ 2147483647 h 29"/>
                <a:gd name="T32" fmla="*/ 2147483647 w 47"/>
                <a:gd name="T33" fmla="*/ 2147483647 h 29"/>
                <a:gd name="T34" fmla="*/ 2147483647 w 47"/>
                <a:gd name="T35" fmla="*/ 2147483647 h 29"/>
                <a:gd name="T36" fmla="*/ 2147483647 w 47"/>
                <a:gd name="T37" fmla="*/ 2147483647 h 29"/>
                <a:gd name="T38" fmla="*/ 2147483647 w 47"/>
                <a:gd name="T39" fmla="*/ 2147483647 h 29"/>
                <a:gd name="T40" fmla="*/ 2147483647 w 47"/>
                <a:gd name="T41" fmla="*/ 2147483647 h 29"/>
                <a:gd name="T42" fmla="*/ 2147483647 w 47"/>
                <a:gd name="T43" fmla="*/ 2147483647 h 29"/>
                <a:gd name="T44" fmla="*/ 2147483647 w 47"/>
                <a:gd name="T45" fmla="*/ 2147483647 h 29"/>
                <a:gd name="T46" fmla="*/ 2147483647 w 47"/>
                <a:gd name="T47" fmla="*/ 2147483647 h 29"/>
                <a:gd name="T48" fmla="*/ 2147483647 w 47"/>
                <a:gd name="T49" fmla="*/ 2147483647 h 29"/>
                <a:gd name="T50" fmla="*/ 2147483647 w 47"/>
                <a:gd name="T51" fmla="*/ 0 h 29"/>
                <a:gd name="T52" fmla="*/ 2147483647 w 47"/>
                <a:gd name="T53" fmla="*/ 0 h 29"/>
                <a:gd name="T54" fmla="*/ 2147483647 w 47"/>
                <a:gd name="T55" fmla="*/ 2147483647 h 29"/>
                <a:gd name="T56" fmla="*/ 2147483647 w 47"/>
                <a:gd name="T57" fmla="*/ 2147483647 h 29"/>
                <a:gd name="T58" fmla="*/ 2147483647 w 47"/>
                <a:gd name="T59" fmla="*/ 2147483647 h 29"/>
                <a:gd name="T60" fmla="*/ 2147483647 w 47"/>
                <a:gd name="T61" fmla="*/ 2147483647 h 29"/>
                <a:gd name="T62" fmla="*/ 2147483647 w 47"/>
                <a:gd name="T63" fmla="*/ 2147483647 h 29"/>
                <a:gd name="T64" fmla="*/ 2147483647 w 47"/>
                <a:gd name="T65" fmla="*/ 2147483647 h 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
                <a:gd name="T100" fmla="*/ 0 h 29"/>
                <a:gd name="T101" fmla="*/ 47 w 47"/>
                <a:gd name="T102" fmla="*/ 29 h 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 h="29">
                  <a:moveTo>
                    <a:pt x="32" y="22"/>
                  </a:moveTo>
                  <a:lnTo>
                    <a:pt x="30" y="23"/>
                  </a:lnTo>
                  <a:lnTo>
                    <a:pt x="29" y="23"/>
                  </a:lnTo>
                  <a:lnTo>
                    <a:pt x="25" y="23"/>
                  </a:lnTo>
                  <a:lnTo>
                    <a:pt x="24" y="24"/>
                  </a:lnTo>
                  <a:lnTo>
                    <a:pt x="23" y="24"/>
                  </a:lnTo>
                  <a:lnTo>
                    <a:pt x="20" y="28"/>
                  </a:lnTo>
                  <a:lnTo>
                    <a:pt x="17" y="29"/>
                  </a:lnTo>
                  <a:lnTo>
                    <a:pt x="13" y="29"/>
                  </a:lnTo>
                  <a:lnTo>
                    <a:pt x="10" y="26"/>
                  </a:lnTo>
                  <a:lnTo>
                    <a:pt x="8" y="23"/>
                  </a:lnTo>
                  <a:lnTo>
                    <a:pt x="6" y="20"/>
                  </a:lnTo>
                  <a:lnTo>
                    <a:pt x="4" y="17"/>
                  </a:lnTo>
                  <a:lnTo>
                    <a:pt x="1" y="13"/>
                  </a:lnTo>
                  <a:lnTo>
                    <a:pt x="0" y="12"/>
                  </a:lnTo>
                  <a:lnTo>
                    <a:pt x="1" y="11"/>
                  </a:lnTo>
                  <a:lnTo>
                    <a:pt x="5" y="10"/>
                  </a:lnTo>
                  <a:lnTo>
                    <a:pt x="10" y="11"/>
                  </a:lnTo>
                  <a:lnTo>
                    <a:pt x="15" y="12"/>
                  </a:lnTo>
                  <a:lnTo>
                    <a:pt x="20" y="11"/>
                  </a:lnTo>
                  <a:lnTo>
                    <a:pt x="27" y="10"/>
                  </a:lnTo>
                  <a:lnTo>
                    <a:pt x="34" y="9"/>
                  </a:lnTo>
                  <a:lnTo>
                    <a:pt x="37" y="7"/>
                  </a:lnTo>
                  <a:lnTo>
                    <a:pt x="39" y="6"/>
                  </a:lnTo>
                  <a:lnTo>
                    <a:pt x="42" y="1"/>
                  </a:lnTo>
                  <a:lnTo>
                    <a:pt x="44" y="0"/>
                  </a:lnTo>
                  <a:lnTo>
                    <a:pt x="47" y="0"/>
                  </a:lnTo>
                  <a:lnTo>
                    <a:pt x="46" y="4"/>
                  </a:lnTo>
                  <a:lnTo>
                    <a:pt x="43" y="7"/>
                  </a:lnTo>
                  <a:lnTo>
                    <a:pt x="39" y="13"/>
                  </a:lnTo>
                  <a:lnTo>
                    <a:pt x="36" y="17"/>
                  </a:lnTo>
                  <a:lnTo>
                    <a:pt x="33" y="19"/>
                  </a:lnTo>
                  <a:lnTo>
                    <a:pt x="32"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4" name="Freeform 423"/>
            <p:cNvSpPr>
              <a:spLocks/>
            </p:cNvSpPr>
            <p:nvPr/>
          </p:nvSpPr>
          <p:spPr bwMode="auto">
            <a:xfrm>
              <a:off x="5749926" y="4554541"/>
              <a:ext cx="12700" cy="15875"/>
            </a:xfrm>
            <a:custGeom>
              <a:avLst/>
              <a:gdLst>
                <a:gd name="T0" fmla="*/ 2147483647 w 9"/>
                <a:gd name="T1" fmla="*/ 2147483647 h 10"/>
                <a:gd name="T2" fmla="*/ 2147483647 w 9"/>
                <a:gd name="T3" fmla="*/ 2147483647 h 10"/>
                <a:gd name="T4" fmla="*/ 0 w 9"/>
                <a:gd name="T5" fmla="*/ 2147483647 h 10"/>
                <a:gd name="T6" fmla="*/ 2147483647 w 9"/>
                <a:gd name="T7" fmla="*/ 0 h 10"/>
                <a:gd name="T8" fmla="*/ 2147483647 w 9"/>
                <a:gd name="T9" fmla="*/ 0 h 10"/>
                <a:gd name="T10" fmla="*/ 2147483647 w 9"/>
                <a:gd name="T11" fmla="*/ 0 h 10"/>
                <a:gd name="T12" fmla="*/ 2147483647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2147483647 w 9"/>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0"/>
                <a:gd name="T41" fmla="*/ 9 w 9"/>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0">
                  <a:moveTo>
                    <a:pt x="2" y="5"/>
                  </a:moveTo>
                  <a:lnTo>
                    <a:pt x="1" y="2"/>
                  </a:lnTo>
                  <a:lnTo>
                    <a:pt x="0" y="1"/>
                  </a:lnTo>
                  <a:lnTo>
                    <a:pt x="1" y="0"/>
                  </a:lnTo>
                  <a:lnTo>
                    <a:pt x="2" y="0"/>
                  </a:lnTo>
                  <a:lnTo>
                    <a:pt x="5" y="0"/>
                  </a:lnTo>
                  <a:lnTo>
                    <a:pt x="7" y="2"/>
                  </a:lnTo>
                  <a:lnTo>
                    <a:pt x="9" y="5"/>
                  </a:lnTo>
                  <a:lnTo>
                    <a:pt x="9" y="8"/>
                  </a:lnTo>
                  <a:lnTo>
                    <a:pt x="6" y="10"/>
                  </a:lnTo>
                  <a:lnTo>
                    <a:pt x="2" y="8"/>
                  </a:lnTo>
                  <a:lnTo>
                    <a:pt x="2" y="7"/>
                  </a:lnTo>
                  <a:lnTo>
                    <a:pt x="2"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5" name="Freeform 424"/>
            <p:cNvSpPr>
              <a:spLocks/>
            </p:cNvSpPr>
            <p:nvPr/>
          </p:nvSpPr>
          <p:spPr bwMode="auto">
            <a:xfrm>
              <a:off x="5156201" y="3267075"/>
              <a:ext cx="69850" cy="46039"/>
            </a:xfrm>
            <a:custGeom>
              <a:avLst/>
              <a:gdLst>
                <a:gd name="T0" fmla="*/ 2147483647 w 47"/>
                <a:gd name="T1" fmla="*/ 2147483647 h 29"/>
                <a:gd name="T2" fmla="*/ 2147483647 w 47"/>
                <a:gd name="T3" fmla="*/ 2147483647 h 29"/>
                <a:gd name="T4" fmla="*/ 2147483647 w 47"/>
                <a:gd name="T5" fmla="*/ 2147483647 h 29"/>
                <a:gd name="T6" fmla="*/ 2147483647 w 47"/>
                <a:gd name="T7" fmla="*/ 2147483647 h 29"/>
                <a:gd name="T8" fmla="*/ 2147483647 w 47"/>
                <a:gd name="T9" fmla="*/ 2147483647 h 29"/>
                <a:gd name="T10" fmla="*/ 2147483647 w 47"/>
                <a:gd name="T11" fmla="*/ 2147483647 h 29"/>
                <a:gd name="T12" fmla="*/ 2147483647 w 47"/>
                <a:gd name="T13" fmla="*/ 2147483647 h 29"/>
                <a:gd name="T14" fmla="*/ 2147483647 w 47"/>
                <a:gd name="T15" fmla="*/ 2147483647 h 29"/>
                <a:gd name="T16" fmla="*/ 2147483647 w 47"/>
                <a:gd name="T17" fmla="*/ 2147483647 h 29"/>
                <a:gd name="T18" fmla="*/ 2147483647 w 47"/>
                <a:gd name="T19" fmla="*/ 2147483647 h 29"/>
                <a:gd name="T20" fmla="*/ 2147483647 w 47"/>
                <a:gd name="T21" fmla="*/ 2147483647 h 29"/>
                <a:gd name="T22" fmla="*/ 2147483647 w 47"/>
                <a:gd name="T23" fmla="*/ 2147483647 h 29"/>
                <a:gd name="T24" fmla="*/ 2147483647 w 47"/>
                <a:gd name="T25" fmla="*/ 2147483647 h 29"/>
                <a:gd name="T26" fmla="*/ 2147483647 w 47"/>
                <a:gd name="T27" fmla="*/ 2147483647 h 29"/>
                <a:gd name="T28" fmla="*/ 2147483647 w 47"/>
                <a:gd name="T29" fmla="*/ 2147483647 h 29"/>
                <a:gd name="T30" fmla="*/ 2147483647 w 47"/>
                <a:gd name="T31" fmla="*/ 2147483647 h 29"/>
                <a:gd name="T32" fmla="*/ 2147483647 w 47"/>
                <a:gd name="T33" fmla="*/ 2147483647 h 29"/>
                <a:gd name="T34" fmla="*/ 2147483647 w 47"/>
                <a:gd name="T35" fmla="*/ 2147483647 h 29"/>
                <a:gd name="T36" fmla="*/ 2147483647 w 47"/>
                <a:gd name="T37" fmla="*/ 2147483647 h 29"/>
                <a:gd name="T38" fmla="*/ 0 w 47"/>
                <a:gd name="T39" fmla="*/ 2147483647 h 29"/>
                <a:gd name="T40" fmla="*/ 2147483647 w 47"/>
                <a:gd name="T41" fmla="*/ 2147483647 h 29"/>
                <a:gd name="T42" fmla="*/ 2147483647 w 47"/>
                <a:gd name="T43" fmla="*/ 2147483647 h 29"/>
                <a:gd name="T44" fmla="*/ 2147483647 w 47"/>
                <a:gd name="T45" fmla="*/ 2147483647 h 29"/>
                <a:gd name="T46" fmla="*/ 2147483647 w 47"/>
                <a:gd name="T47" fmla="*/ 2147483647 h 29"/>
                <a:gd name="T48" fmla="*/ 2147483647 w 47"/>
                <a:gd name="T49" fmla="*/ 2147483647 h 29"/>
                <a:gd name="T50" fmla="*/ 2147483647 w 47"/>
                <a:gd name="T51" fmla="*/ 2147483647 h 29"/>
                <a:gd name="T52" fmla="*/ 2147483647 w 47"/>
                <a:gd name="T53" fmla="*/ 2147483647 h 29"/>
                <a:gd name="T54" fmla="*/ 2147483647 w 47"/>
                <a:gd name="T55" fmla="*/ 2147483647 h 29"/>
                <a:gd name="T56" fmla="*/ 2147483647 w 47"/>
                <a:gd name="T57" fmla="*/ 2147483647 h 29"/>
                <a:gd name="T58" fmla="*/ 2147483647 w 47"/>
                <a:gd name="T59" fmla="*/ 2147483647 h 29"/>
                <a:gd name="T60" fmla="*/ 2147483647 w 47"/>
                <a:gd name="T61" fmla="*/ 2147483647 h 29"/>
                <a:gd name="T62" fmla="*/ 2147483647 w 47"/>
                <a:gd name="T63" fmla="*/ 2147483647 h 29"/>
                <a:gd name="T64" fmla="*/ 2147483647 w 47"/>
                <a:gd name="T65" fmla="*/ 2147483647 h 29"/>
                <a:gd name="T66" fmla="*/ 2147483647 w 47"/>
                <a:gd name="T67" fmla="*/ 2147483647 h 29"/>
                <a:gd name="T68" fmla="*/ 2147483647 w 47"/>
                <a:gd name="T69" fmla="*/ 0 h 29"/>
                <a:gd name="T70" fmla="*/ 2147483647 w 47"/>
                <a:gd name="T71" fmla="*/ 0 h 29"/>
                <a:gd name="T72" fmla="*/ 2147483647 w 47"/>
                <a:gd name="T73" fmla="*/ 0 h 29"/>
                <a:gd name="T74" fmla="*/ 2147483647 w 47"/>
                <a:gd name="T75" fmla="*/ 2147483647 h 29"/>
                <a:gd name="T76" fmla="*/ 2147483647 w 47"/>
                <a:gd name="T77" fmla="*/ 2147483647 h 29"/>
                <a:gd name="T78" fmla="*/ 2147483647 w 47"/>
                <a:gd name="T79" fmla="*/ 2147483647 h 29"/>
                <a:gd name="T80" fmla="*/ 2147483647 w 47"/>
                <a:gd name="T81" fmla="*/ 2147483647 h 29"/>
                <a:gd name="T82" fmla="*/ 2147483647 w 47"/>
                <a:gd name="T83" fmla="*/ 2147483647 h 29"/>
                <a:gd name="T84" fmla="*/ 2147483647 w 47"/>
                <a:gd name="T85" fmla="*/ 2147483647 h 29"/>
                <a:gd name="T86" fmla="*/ 2147483647 w 47"/>
                <a:gd name="T87" fmla="*/ 2147483647 h 29"/>
                <a:gd name="T88" fmla="*/ 2147483647 w 47"/>
                <a:gd name="T89" fmla="*/ 2147483647 h 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
                <a:gd name="T136" fmla="*/ 0 h 29"/>
                <a:gd name="T137" fmla="*/ 47 w 47"/>
                <a:gd name="T138" fmla="*/ 29 h 2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 h="29">
                  <a:moveTo>
                    <a:pt x="31" y="21"/>
                  </a:moveTo>
                  <a:lnTo>
                    <a:pt x="31" y="21"/>
                  </a:lnTo>
                  <a:lnTo>
                    <a:pt x="30" y="23"/>
                  </a:lnTo>
                  <a:lnTo>
                    <a:pt x="29" y="23"/>
                  </a:lnTo>
                  <a:lnTo>
                    <a:pt x="25" y="23"/>
                  </a:lnTo>
                  <a:lnTo>
                    <a:pt x="24" y="24"/>
                  </a:lnTo>
                  <a:lnTo>
                    <a:pt x="23" y="24"/>
                  </a:lnTo>
                  <a:lnTo>
                    <a:pt x="20" y="27"/>
                  </a:lnTo>
                  <a:lnTo>
                    <a:pt x="16" y="29"/>
                  </a:lnTo>
                  <a:lnTo>
                    <a:pt x="12" y="29"/>
                  </a:lnTo>
                  <a:lnTo>
                    <a:pt x="10" y="26"/>
                  </a:lnTo>
                  <a:lnTo>
                    <a:pt x="7" y="23"/>
                  </a:lnTo>
                  <a:lnTo>
                    <a:pt x="6" y="20"/>
                  </a:lnTo>
                  <a:lnTo>
                    <a:pt x="4" y="17"/>
                  </a:lnTo>
                  <a:lnTo>
                    <a:pt x="1" y="13"/>
                  </a:lnTo>
                  <a:lnTo>
                    <a:pt x="0" y="12"/>
                  </a:lnTo>
                  <a:lnTo>
                    <a:pt x="1" y="11"/>
                  </a:lnTo>
                  <a:lnTo>
                    <a:pt x="5" y="10"/>
                  </a:lnTo>
                  <a:lnTo>
                    <a:pt x="10" y="11"/>
                  </a:lnTo>
                  <a:lnTo>
                    <a:pt x="15" y="12"/>
                  </a:lnTo>
                  <a:lnTo>
                    <a:pt x="20" y="11"/>
                  </a:lnTo>
                  <a:lnTo>
                    <a:pt x="26" y="10"/>
                  </a:lnTo>
                  <a:lnTo>
                    <a:pt x="34" y="8"/>
                  </a:lnTo>
                  <a:lnTo>
                    <a:pt x="37" y="7"/>
                  </a:lnTo>
                  <a:lnTo>
                    <a:pt x="39" y="6"/>
                  </a:lnTo>
                  <a:lnTo>
                    <a:pt x="42" y="1"/>
                  </a:lnTo>
                  <a:lnTo>
                    <a:pt x="44" y="0"/>
                  </a:lnTo>
                  <a:lnTo>
                    <a:pt x="47" y="0"/>
                  </a:lnTo>
                  <a:lnTo>
                    <a:pt x="45" y="4"/>
                  </a:lnTo>
                  <a:lnTo>
                    <a:pt x="43" y="7"/>
                  </a:lnTo>
                  <a:lnTo>
                    <a:pt x="39" y="13"/>
                  </a:lnTo>
                  <a:lnTo>
                    <a:pt x="35" y="17"/>
                  </a:lnTo>
                  <a:lnTo>
                    <a:pt x="33" y="19"/>
                  </a:lnTo>
                  <a:lnTo>
                    <a:pt x="31" y="2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6" name="Freeform 425"/>
            <p:cNvSpPr>
              <a:spLocks/>
            </p:cNvSpPr>
            <p:nvPr/>
          </p:nvSpPr>
          <p:spPr bwMode="auto">
            <a:xfrm>
              <a:off x="5748338" y="4552950"/>
              <a:ext cx="12700" cy="14288"/>
            </a:xfrm>
            <a:custGeom>
              <a:avLst/>
              <a:gdLst>
                <a:gd name="T0" fmla="*/ 2147483647 w 8"/>
                <a:gd name="T1" fmla="*/ 2147483647 h 9"/>
                <a:gd name="T2" fmla="*/ 2147483647 w 8"/>
                <a:gd name="T3" fmla="*/ 2147483647 h 9"/>
                <a:gd name="T4" fmla="*/ 2147483647 w 8"/>
                <a:gd name="T5" fmla="*/ 2147483647 h 9"/>
                <a:gd name="T6" fmla="*/ 0 w 8"/>
                <a:gd name="T7" fmla="*/ 2147483647 h 9"/>
                <a:gd name="T8" fmla="*/ 2147483647 w 8"/>
                <a:gd name="T9" fmla="*/ 0 h 9"/>
                <a:gd name="T10" fmla="*/ 2147483647 w 8"/>
                <a:gd name="T11" fmla="*/ 0 h 9"/>
                <a:gd name="T12" fmla="*/ 2147483647 w 8"/>
                <a:gd name="T13" fmla="*/ 0 h 9"/>
                <a:gd name="T14" fmla="*/ 2147483647 w 8"/>
                <a:gd name="T15" fmla="*/ 0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2147483647 w 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9"/>
                <a:gd name="T56" fmla="*/ 8 w 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9">
                  <a:moveTo>
                    <a:pt x="2" y="5"/>
                  </a:moveTo>
                  <a:lnTo>
                    <a:pt x="2" y="5"/>
                  </a:lnTo>
                  <a:lnTo>
                    <a:pt x="1" y="2"/>
                  </a:lnTo>
                  <a:lnTo>
                    <a:pt x="0" y="1"/>
                  </a:lnTo>
                  <a:lnTo>
                    <a:pt x="1" y="0"/>
                  </a:lnTo>
                  <a:lnTo>
                    <a:pt x="2" y="0"/>
                  </a:lnTo>
                  <a:lnTo>
                    <a:pt x="5" y="0"/>
                  </a:lnTo>
                  <a:lnTo>
                    <a:pt x="7" y="2"/>
                  </a:lnTo>
                  <a:lnTo>
                    <a:pt x="8" y="5"/>
                  </a:lnTo>
                  <a:lnTo>
                    <a:pt x="8" y="8"/>
                  </a:lnTo>
                  <a:lnTo>
                    <a:pt x="6" y="9"/>
                  </a:lnTo>
                  <a:lnTo>
                    <a:pt x="2" y="8"/>
                  </a:lnTo>
                  <a:lnTo>
                    <a:pt x="2" y="7"/>
                  </a:lnTo>
                  <a:lnTo>
                    <a:pt x="2"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7" name="Freeform 426"/>
            <p:cNvSpPr>
              <a:spLocks/>
            </p:cNvSpPr>
            <p:nvPr/>
          </p:nvSpPr>
          <p:spPr bwMode="auto">
            <a:xfrm>
              <a:off x="5764213" y="4552953"/>
              <a:ext cx="6350" cy="4763"/>
            </a:xfrm>
            <a:custGeom>
              <a:avLst/>
              <a:gdLst>
                <a:gd name="T0" fmla="*/ 2147483647 w 4"/>
                <a:gd name="T1" fmla="*/ 2147483647 h 3"/>
                <a:gd name="T2" fmla="*/ 2147483647 w 4"/>
                <a:gd name="T3" fmla="*/ 2147483647 h 3"/>
                <a:gd name="T4" fmla="*/ 2147483647 w 4"/>
                <a:gd name="T5" fmla="*/ 2147483647 h 3"/>
                <a:gd name="T6" fmla="*/ 0 w 4"/>
                <a:gd name="T7" fmla="*/ 2147483647 h 3"/>
                <a:gd name="T8" fmla="*/ 2147483647 w 4"/>
                <a:gd name="T9" fmla="*/ 0 h 3"/>
                <a:gd name="T10" fmla="*/ 2147483647 w 4"/>
                <a:gd name="T11" fmla="*/ 0 h 3"/>
                <a:gd name="T12" fmla="*/ 2147483647 w 4"/>
                <a:gd name="T13" fmla="*/ 2147483647 h 3"/>
                <a:gd name="T14" fmla="*/ 2147483647 w 4"/>
                <a:gd name="T15" fmla="*/ 2147483647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3" y="3"/>
                  </a:moveTo>
                  <a:lnTo>
                    <a:pt x="1" y="3"/>
                  </a:lnTo>
                  <a:lnTo>
                    <a:pt x="1" y="2"/>
                  </a:lnTo>
                  <a:lnTo>
                    <a:pt x="0" y="1"/>
                  </a:lnTo>
                  <a:lnTo>
                    <a:pt x="1" y="0"/>
                  </a:lnTo>
                  <a:lnTo>
                    <a:pt x="3" y="0"/>
                  </a:lnTo>
                  <a:lnTo>
                    <a:pt x="4" y="1"/>
                  </a:lnTo>
                  <a:lnTo>
                    <a:pt x="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8" name="Freeform 427"/>
            <p:cNvSpPr>
              <a:spLocks/>
            </p:cNvSpPr>
            <p:nvPr/>
          </p:nvSpPr>
          <p:spPr bwMode="auto">
            <a:xfrm>
              <a:off x="4543425" y="4603754"/>
              <a:ext cx="7938" cy="4763"/>
            </a:xfrm>
            <a:custGeom>
              <a:avLst/>
              <a:gdLst>
                <a:gd name="T0" fmla="*/ 2147483647 w 5"/>
                <a:gd name="T1" fmla="*/ 0 h 3"/>
                <a:gd name="T2" fmla="*/ 2147483647 w 5"/>
                <a:gd name="T3" fmla="*/ 2147483647 h 3"/>
                <a:gd name="T4" fmla="*/ 2147483647 w 5"/>
                <a:gd name="T5" fmla="*/ 2147483647 h 3"/>
                <a:gd name="T6" fmla="*/ 2147483647 w 5"/>
                <a:gd name="T7" fmla="*/ 2147483647 h 3"/>
                <a:gd name="T8" fmla="*/ 0 w 5"/>
                <a:gd name="T9" fmla="*/ 2147483647 h 3"/>
                <a:gd name="T10" fmla="*/ 0 w 5"/>
                <a:gd name="T11" fmla="*/ 2147483647 h 3"/>
                <a:gd name="T12" fmla="*/ 0 w 5"/>
                <a:gd name="T13" fmla="*/ 0 h 3"/>
                <a:gd name="T14" fmla="*/ 2147483647 w 5"/>
                <a:gd name="T15" fmla="*/ 0 h 3"/>
                <a:gd name="T16" fmla="*/ 2147483647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4" y="0"/>
                  </a:moveTo>
                  <a:lnTo>
                    <a:pt x="5" y="1"/>
                  </a:lnTo>
                  <a:lnTo>
                    <a:pt x="5" y="3"/>
                  </a:lnTo>
                  <a:lnTo>
                    <a:pt x="2" y="3"/>
                  </a:lnTo>
                  <a:lnTo>
                    <a:pt x="0" y="3"/>
                  </a:lnTo>
                  <a:lnTo>
                    <a:pt x="0" y="2"/>
                  </a:lnTo>
                  <a:lnTo>
                    <a:pt x="0" y="0"/>
                  </a:lnTo>
                  <a:lnTo>
                    <a:pt x="1" y="0"/>
                  </a:lnTo>
                  <a:lnTo>
                    <a:pt x="4"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29" name="Freeform 428"/>
            <p:cNvSpPr>
              <a:spLocks/>
            </p:cNvSpPr>
            <p:nvPr/>
          </p:nvSpPr>
          <p:spPr bwMode="auto">
            <a:xfrm>
              <a:off x="5762625" y="4551363"/>
              <a:ext cx="6350" cy="4762"/>
            </a:xfrm>
            <a:custGeom>
              <a:avLst/>
              <a:gdLst>
                <a:gd name="T0" fmla="*/ 2147483647 w 4"/>
                <a:gd name="T1" fmla="*/ 2147483647 h 3"/>
                <a:gd name="T2" fmla="*/ 2147483647 w 4"/>
                <a:gd name="T3" fmla="*/ 2147483647 h 3"/>
                <a:gd name="T4" fmla="*/ 2147483647 w 4"/>
                <a:gd name="T5" fmla="*/ 2147483647 h 3"/>
                <a:gd name="T6" fmla="*/ 2147483647 w 4"/>
                <a:gd name="T7" fmla="*/ 2147483647 h 3"/>
                <a:gd name="T8" fmla="*/ 0 w 4"/>
                <a:gd name="T9" fmla="*/ 2147483647 h 3"/>
                <a:gd name="T10" fmla="*/ 0 w 4"/>
                <a:gd name="T11" fmla="*/ 2147483647 h 3"/>
                <a:gd name="T12" fmla="*/ 2147483647 w 4"/>
                <a:gd name="T13" fmla="*/ 0 h 3"/>
                <a:gd name="T14" fmla="*/ 2147483647 w 4"/>
                <a:gd name="T15" fmla="*/ 0 h 3"/>
                <a:gd name="T16" fmla="*/ 2147483647 w 4"/>
                <a:gd name="T17" fmla="*/ 0 h 3"/>
                <a:gd name="T18" fmla="*/ 2147483647 w 4"/>
                <a:gd name="T19" fmla="*/ 2147483647 h 3"/>
                <a:gd name="T20" fmla="*/ 2147483647 w 4"/>
                <a:gd name="T21" fmla="*/ 2147483647 h 3"/>
                <a:gd name="T22" fmla="*/ 2147483647 w 4"/>
                <a:gd name="T23" fmla="*/ 2147483647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2" y="3"/>
                  </a:moveTo>
                  <a:lnTo>
                    <a:pt x="2" y="3"/>
                  </a:lnTo>
                  <a:lnTo>
                    <a:pt x="1" y="3"/>
                  </a:lnTo>
                  <a:lnTo>
                    <a:pt x="1" y="2"/>
                  </a:lnTo>
                  <a:lnTo>
                    <a:pt x="0" y="1"/>
                  </a:lnTo>
                  <a:lnTo>
                    <a:pt x="1" y="0"/>
                  </a:lnTo>
                  <a:lnTo>
                    <a:pt x="2" y="0"/>
                  </a:lnTo>
                  <a:lnTo>
                    <a:pt x="4" y="1"/>
                  </a:lnTo>
                  <a:lnTo>
                    <a:pt x="2"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0" name="Freeform 429"/>
            <p:cNvSpPr>
              <a:spLocks/>
            </p:cNvSpPr>
            <p:nvPr/>
          </p:nvSpPr>
          <p:spPr bwMode="auto">
            <a:xfrm>
              <a:off x="4543426" y="4602164"/>
              <a:ext cx="6350" cy="4762"/>
            </a:xfrm>
            <a:custGeom>
              <a:avLst/>
              <a:gdLst>
                <a:gd name="T0" fmla="*/ 2147483647 w 5"/>
                <a:gd name="T1" fmla="*/ 0 h 3"/>
                <a:gd name="T2" fmla="*/ 2147483647 w 5"/>
                <a:gd name="T3" fmla="*/ 0 h 3"/>
                <a:gd name="T4" fmla="*/ 2147483647 w 5"/>
                <a:gd name="T5" fmla="*/ 2147483647 h 3"/>
                <a:gd name="T6" fmla="*/ 2147483647 w 5"/>
                <a:gd name="T7" fmla="*/ 2147483647 h 3"/>
                <a:gd name="T8" fmla="*/ 2147483647 w 5"/>
                <a:gd name="T9" fmla="*/ 2147483647 h 3"/>
                <a:gd name="T10" fmla="*/ 2147483647 w 5"/>
                <a:gd name="T11" fmla="*/ 2147483647 h 3"/>
                <a:gd name="T12" fmla="*/ 2147483647 w 5"/>
                <a:gd name="T13" fmla="*/ 2147483647 h 3"/>
                <a:gd name="T14" fmla="*/ 0 w 5"/>
                <a:gd name="T15" fmla="*/ 2147483647 h 3"/>
                <a:gd name="T16" fmla="*/ 0 w 5"/>
                <a:gd name="T17" fmla="*/ 2147483647 h 3"/>
                <a:gd name="T18" fmla="*/ 0 w 5"/>
                <a:gd name="T19" fmla="*/ 2147483647 h 3"/>
                <a:gd name="T20" fmla="*/ 0 w 5"/>
                <a:gd name="T21" fmla="*/ 0 h 3"/>
                <a:gd name="T22" fmla="*/ 0 w 5"/>
                <a:gd name="T23" fmla="*/ 0 h 3"/>
                <a:gd name="T24" fmla="*/ 2147483647 w 5"/>
                <a:gd name="T25" fmla="*/ 0 h 3"/>
                <a:gd name="T26" fmla="*/ 2147483647 w 5"/>
                <a:gd name="T27" fmla="*/ 0 h 3"/>
                <a:gd name="T28" fmla="*/ 2147483647 w 5"/>
                <a:gd name="T29" fmla="*/ 0 h 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3"/>
                <a:gd name="T47" fmla="*/ 5 w 5"/>
                <a:gd name="T48" fmla="*/ 3 h 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3">
                  <a:moveTo>
                    <a:pt x="3" y="0"/>
                  </a:moveTo>
                  <a:lnTo>
                    <a:pt x="3" y="0"/>
                  </a:lnTo>
                  <a:lnTo>
                    <a:pt x="5" y="1"/>
                  </a:lnTo>
                  <a:lnTo>
                    <a:pt x="5" y="3"/>
                  </a:lnTo>
                  <a:lnTo>
                    <a:pt x="2" y="3"/>
                  </a:lnTo>
                  <a:lnTo>
                    <a:pt x="0" y="3"/>
                  </a:lnTo>
                  <a:lnTo>
                    <a:pt x="0" y="2"/>
                  </a:lnTo>
                  <a:lnTo>
                    <a:pt x="0" y="0"/>
                  </a:lnTo>
                  <a:lnTo>
                    <a:pt x="1" y="0"/>
                  </a:lnTo>
                  <a:lnTo>
                    <a:pt x="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1" name="Freeform 430"/>
            <p:cNvSpPr>
              <a:spLocks/>
            </p:cNvSpPr>
            <p:nvPr/>
          </p:nvSpPr>
          <p:spPr bwMode="auto">
            <a:xfrm>
              <a:off x="4552953" y="4302129"/>
              <a:ext cx="17463" cy="22225"/>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0 w 12"/>
                <a:gd name="T15" fmla="*/ 2147483647 h 14"/>
                <a:gd name="T16" fmla="*/ 2147483647 w 12"/>
                <a:gd name="T17" fmla="*/ 2147483647 h 14"/>
                <a:gd name="T18" fmla="*/ 2147483647 w 12"/>
                <a:gd name="T19" fmla="*/ 2147483647 h 14"/>
                <a:gd name="T20" fmla="*/ 2147483647 w 12"/>
                <a:gd name="T21" fmla="*/ 0 h 14"/>
                <a:gd name="T22" fmla="*/ 2147483647 w 12"/>
                <a:gd name="T23" fmla="*/ 0 h 14"/>
                <a:gd name="T24" fmla="*/ 2147483647 w 12"/>
                <a:gd name="T25" fmla="*/ 0 h 14"/>
                <a:gd name="T26" fmla="*/ 2147483647 w 12"/>
                <a:gd name="T27" fmla="*/ 2147483647 h 14"/>
                <a:gd name="T28" fmla="*/ 2147483647 w 12"/>
                <a:gd name="T29" fmla="*/ 2147483647 h 14"/>
                <a:gd name="T30" fmla="*/ 2147483647 w 12"/>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4"/>
                <a:gd name="T50" fmla="*/ 12 w 12"/>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4">
                  <a:moveTo>
                    <a:pt x="12" y="7"/>
                  </a:moveTo>
                  <a:lnTo>
                    <a:pt x="12" y="10"/>
                  </a:lnTo>
                  <a:lnTo>
                    <a:pt x="12" y="11"/>
                  </a:lnTo>
                  <a:lnTo>
                    <a:pt x="9" y="13"/>
                  </a:lnTo>
                  <a:lnTo>
                    <a:pt x="5" y="14"/>
                  </a:lnTo>
                  <a:lnTo>
                    <a:pt x="3" y="13"/>
                  </a:lnTo>
                  <a:lnTo>
                    <a:pt x="2" y="11"/>
                  </a:lnTo>
                  <a:lnTo>
                    <a:pt x="0" y="8"/>
                  </a:lnTo>
                  <a:lnTo>
                    <a:pt x="2" y="4"/>
                  </a:lnTo>
                  <a:lnTo>
                    <a:pt x="3" y="1"/>
                  </a:lnTo>
                  <a:lnTo>
                    <a:pt x="4" y="0"/>
                  </a:lnTo>
                  <a:lnTo>
                    <a:pt x="7" y="0"/>
                  </a:lnTo>
                  <a:lnTo>
                    <a:pt x="9" y="0"/>
                  </a:lnTo>
                  <a:lnTo>
                    <a:pt x="10" y="1"/>
                  </a:lnTo>
                  <a:lnTo>
                    <a:pt x="10" y="4"/>
                  </a:lnTo>
                  <a:lnTo>
                    <a:pt x="12"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2" name="Freeform 431"/>
            <p:cNvSpPr>
              <a:spLocks/>
            </p:cNvSpPr>
            <p:nvPr/>
          </p:nvSpPr>
          <p:spPr bwMode="auto">
            <a:xfrm>
              <a:off x="4497391" y="4394201"/>
              <a:ext cx="14287" cy="20638"/>
            </a:xfrm>
            <a:custGeom>
              <a:avLst/>
              <a:gdLst>
                <a:gd name="T0" fmla="*/ 2147483647 w 10"/>
                <a:gd name="T1" fmla="*/ 2147483647 h 13"/>
                <a:gd name="T2" fmla="*/ 2147483647 w 10"/>
                <a:gd name="T3" fmla="*/ 2147483647 h 13"/>
                <a:gd name="T4" fmla="*/ 2147483647 w 10"/>
                <a:gd name="T5" fmla="*/ 2147483647 h 13"/>
                <a:gd name="T6" fmla="*/ 2147483647 w 10"/>
                <a:gd name="T7" fmla="*/ 0 h 13"/>
                <a:gd name="T8" fmla="*/ 2147483647 w 10"/>
                <a:gd name="T9" fmla="*/ 0 h 13"/>
                <a:gd name="T10" fmla="*/ 0 w 10"/>
                <a:gd name="T11" fmla="*/ 2147483647 h 13"/>
                <a:gd name="T12" fmla="*/ 0 w 10"/>
                <a:gd name="T13" fmla="*/ 2147483647 h 13"/>
                <a:gd name="T14" fmla="*/ 0 w 10"/>
                <a:gd name="T15" fmla="*/ 2147483647 h 13"/>
                <a:gd name="T16" fmla="*/ 2147483647 w 10"/>
                <a:gd name="T17" fmla="*/ 2147483647 h 13"/>
                <a:gd name="T18" fmla="*/ 2147483647 w 10"/>
                <a:gd name="T19" fmla="*/ 2147483647 h 13"/>
                <a:gd name="T20" fmla="*/ 2147483647 w 10"/>
                <a:gd name="T21" fmla="*/ 2147483647 h 13"/>
                <a:gd name="T22" fmla="*/ 2147483647 w 10"/>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9" y="7"/>
                  </a:moveTo>
                  <a:lnTo>
                    <a:pt x="10" y="5"/>
                  </a:lnTo>
                  <a:lnTo>
                    <a:pt x="9" y="1"/>
                  </a:lnTo>
                  <a:lnTo>
                    <a:pt x="7" y="0"/>
                  </a:lnTo>
                  <a:lnTo>
                    <a:pt x="3" y="0"/>
                  </a:lnTo>
                  <a:lnTo>
                    <a:pt x="0" y="3"/>
                  </a:lnTo>
                  <a:lnTo>
                    <a:pt x="0" y="6"/>
                  </a:lnTo>
                  <a:lnTo>
                    <a:pt x="0" y="10"/>
                  </a:lnTo>
                  <a:lnTo>
                    <a:pt x="1" y="12"/>
                  </a:lnTo>
                  <a:lnTo>
                    <a:pt x="3" y="13"/>
                  </a:lnTo>
                  <a:lnTo>
                    <a:pt x="5" y="12"/>
                  </a:lnTo>
                  <a:lnTo>
                    <a:pt x="9"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3" name="Freeform 432"/>
            <p:cNvSpPr>
              <a:spLocks/>
            </p:cNvSpPr>
            <p:nvPr/>
          </p:nvSpPr>
          <p:spPr bwMode="auto">
            <a:xfrm>
              <a:off x="4551364" y="4300543"/>
              <a:ext cx="15875" cy="22225"/>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2147483647 w 11"/>
                <a:gd name="T9" fmla="*/ 2147483647 h 14"/>
                <a:gd name="T10" fmla="*/ 2147483647 w 11"/>
                <a:gd name="T11" fmla="*/ 2147483647 h 14"/>
                <a:gd name="T12" fmla="*/ 2147483647 w 11"/>
                <a:gd name="T13" fmla="*/ 2147483647 h 14"/>
                <a:gd name="T14" fmla="*/ 2147483647 w 11"/>
                <a:gd name="T15" fmla="*/ 2147483647 h 14"/>
                <a:gd name="T16" fmla="*/ 2147483647 w 11"/>
                <a:gd name="T17" fmla="*/ 2147483647 h 14"/>
                <a:gd name="T18" fmla="*/ 0 w 11"/>
                <a:gd name="T19" fmla="*/ 2147483647 h 14"/>
                <a:gd name="T20" fmla="*/ 2147483647 w 11"/>
                <a:gd name="T21" fmla="*/ 2147483647 h 14"/>
                <a:gd name="T22" fmla="*/ 2147483647 w 11"/>
                <a:gd name="T23" fmla="*/ 2147483647 h 14"/>
                <a:gd name="T24" fmla="*/ 2147483647 w 11"/>
                <a:gd name="T25" fmla="*/ 0 h 14"/>
                <a:gd name="T26" fmla="*/ 2147483647 w 11"/>
                <a:gd name="T27" fmla="*/ 0 h 14"/>
                <a:gd name="T28" fmla="*/ 2147483647 w 11"/>
                <a:gd name="T29" fmla="*/ 0 h 14"/>
                <a:gd name="T30" fmla="*/ 2147483647 w 11"/>
                <a:gd name="T31" fmla="*/ 0 h 14"/>
                <a:gd name="T32" fmla="*/ 2147483647 w 11"/>
                <a:gd name="T33" fmla="*/ 2147483647 h 14"/>
                <a:gd name="T34" fmla="*/ 2147483647 w 11"/>
                <a:gd name="T35" fmla="*/ 2147483647 h 14"/>
                <a:gd name="T36" fmla="*/ 2147483647 w 11"/>
                <a:gd name="T37" fmla="*/ 2147483647 h 14"/>
                <a:gd name="T38" fmla="*/ 2147483647 w 11"/>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
                <a:gd name="T61" fmla="*/ 0 h 14"/>
                <a:gd name="T62" fmla="*/ 11 w 11"/>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 h="14">
                  <a:moveTo>
                    <a:pt x="11" y="7"/>
                  </a:moveTo>
                  <a:lnTo>
                    <a:pt x="11" y="7"/>
                  </a:lnTo>
                  <a:lnTo>
                    <a:pt x="11" y="9"/>
                  </a:lnTo>
                  <a:lnTo>
                    <a:pt x="11" y="11"/>
                  </a:lnTo>
                  <a:lnTo>
                    <a:pt x="9" y="13"/>
                  </a:lnTo>
                  <a:lnTo>
                    <a:pt x="5" y="14"/>
                  </a:lnTo>
                  <a:lnTo>
                    <a:pt x="3" y="13"/>
                  </a:lnTo>
                  <a:lnTo>
                    <a:pt x="1" y="11"/>
                  </a:lnTo>
                  <a:lnTo>
                    <a:pt x="0" y="8"/>
                  </a:lnTo>
                  <a:lnTo>
                    <a:pt x="1" y="4"/>
                  </a:lnTo>
                  <a:lnTo>
                    <a:pt x="3" y="1"/>
                  </a:lnTo>
                  <a:lnTo>
                    <a:pt x="4" y="0"/>
                  </a:lnTo>
                  <a:lnTo>
                    <a:pt x="6" y="0"/>
                  </a:lnTo>
                  <a:lnTo>
                    <a:pt x="9" y="0"/>
                  </a:lnTo>
                  <a:lnTo>
                    <a:pt x="10" y="1"/>
                  </a:lnTo>
                  <a:lnTo>
                    <a:pt x="10" y="4"/>
                  </a:lnTo>
                  <a:lnTo>
                    <a:pt x="11"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4" name="Freeform 433"/>
            <p:cNvSpPr>
              <a:spLocks/>
            </p:cNvSpPr>
            <p:nvPr/>
          </p:nvSpPr>
          <p:spPr bwMode="auto">
            <a:xfrm>
              <a:off x="4495800" y="4392613"/>
              <a:ext cx="14288" cy="20637"/>
            </a:xfrm>
            <a:custGeom>
              <a:avLst/>
              <a:gdLst>
                <a:gd name="T0" fmla="*/ 2147483647 w 10"/>
                <a:gd name="T1" fmla="*/ 2147483647 h 13"/>
                <a:gd name="T2" fmla="*/ 2147483647 w 10"/>
                <a:gd name="T3" fmla="*/ 2147483647 h 13"/>
                <a:gd name="T4" fmla="*/ 2147483647 w 10"/>
                <a:gd name="T5" fmla="*/ 2147483647 h 13"/>
                <a:gd name="T6" fmla="*/ 2147483647 w 10"/>
                <a:gd name="T7" fmla="*/ 2147483647 h 13"/>
                <a:gd name="T8" fmla="*/ 2147483647 w 10"/>
                <a:gd name="T9" fmla="*/ 0 h 13"/>
                <a:gd name="T10" fmla="*/ 2147483647 w 10"/>
                <a:gd name="T11" fmla="*/ 0 h 13"/>
                <a:gd name="T12" fmla="*/ 2147483647 w 10"/>
                <a:gd name="T13" fmla="*/ 0 h 13"/>
                <a:gd name="T14" fmla="*/ 0 w 10"/>
                <a:gd name="T15" fmla="*/ 2147483647 h 13"/>
                <a:gd name="T16" fmla="*/ 0 w 10"/>
                <a:gd name="T17" fmla="*/ 2147483647 h 13"/>
                <a:gd name="T18" fmla="*/ 0 w 10"/>
                <a:gd name="T19" fmla="*/ 2147483647 h 13"/>
                <a:gd name="T20" fmla="*/ 2147483647 w 10"/>
                <a:gd name="T21" fmla="*/ 2147483647 h 13"/>
                <a:gd name="T22" fmla="*/ 2147483647 w 10"/>
                <a:gd name="T23" fmla="*/ 2147483647 h 13"/>
                <a:gd name="T24" fmla="*/ 2147483647 w 10"/>
                <a:gd name="T25" fmla="*/ 2147483647 h 13"/>
                <a:gd name="T26" fmla="*/ 2147483647 w 10"/>
                <a:gd name="T27" fmla="*/ 2147483647 h 13"/>
                <a:gd name="T28" fmla="*/ 2147483647 w 10"/>
                <a:gd name="T29" fmla="*/ 2147483647 h 13"/>
                <a:gd name="T30" fmla="*/ 2147483647 w 10"/>
                <a:gd name="T31" fmla="*/ 2147483647 h 13"/>
                <a:gd name="T32" fmla="*/ 2147483647 w 10"/>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3"/>
                <a:gd name="T53" fmla="*/ 10 w 10"/>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3">
                  <a:moveTo>
                    <a:pt x="9" y="7"/>
                  </a:moveTo>
                  <a:lnTo>
                    <a:pt x="9" y="7"/>
                  </a:lnTo>
                  <a:lnTo>
                    <a:pt x="10" y="5"/>
                  </a:lnTo>
                  <a:lnTo>
                    <a:pt x="9" y="1"/>
                  </a:lnTo>
                  <a:lnTo>
                    <a:pt x="6" y="0"/>
                  </a:lnTo>
                  <a:lnTo>
                    <a:pt x="2" y="0"/>
                  </a:lnTo>
                  <a:lnTo>
                    <a:pt x="0" y="2"/>
                  </a:lnTo>
                  <a:lnTo>
                    <a:pt x="0" y="6"/>
                  </a:lnTo>
                  <a:lnTo>
                    <a:pt x="0" y="10"/>
                  </a:lnTo>
                  <a:lnTo>
                    <a:pt x="1" y="12"/>
                  </a:lnTo>
                  <a:lnTo>
                    <a:pt x="2" y="13"/>
                  </a:lnTo>
                  <a:lnTo>
                    <a:pt x="5" y="12"/>
                  </a:lnTo>
                  <a:lnTo>
                    <a:pt x="9"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5" name="Freeform 434"/>
            <p:cNvSpPr>
              <a:spLocks/>
            </p:cNvSpPr>
            <p:nvPr/>
          </p:nvSpPr>
          <p:spPr bwMode="auto">
            <a:xfrm>
              <a:off x="5522915" y="4702175"/>
              <a:ext cx="9525" cy="7938"/>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0 w 6"/>
                <a:gd name="T11" fmla="*/ 2147483647 h 5"/>
                <a:gd name="T12" fmla="*/ 0 w 6"/>
                <a:gd name="T13" fmla="*/ 2147483647 h 5"/>
                <a:gd name="T14" fmla="*/ 2147483647 w 6"/>
                <a:gd name="T15" fmla="*/ 0 h 5"/>
                <a:gd name="T16" fmla="*/ 2147483647 w 6"/>
                <a:gd name="T17" fmla="*/ 0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5" y="1"/>
                  </a:moveTo>
                  <a:lnTo>
                    <a:pt x="6" y="3"/>
                  </a:lnTo>
                  <a:lnTo>
                    <a:pt x="5" y="4"/>
                  </a:lnTo>
                  <a:lnTo>
                    <a:pt x="2" y="5"/>
                  </a:lnTo>
                  <a:lnTo>
                    <a:pt x="1" y="4"/>
                  </a:lnTo>
                  <a:lnTo>
                    <a:pt x="0" y="3"/>
                  </a:lnTo>
                  <a:lnTo>
                    <a:pt x="0" y="1"/>
                  </a:lnTo>
                  <a:lnTo>
                    <a:pt x="1" y="0"/>
                  </a:lnTo>
                  <a:lnTo>
                    <a:pt x="2" y="0"/>
                  </a:lnTo>
                  <a:lnTo>
                    <a:pt x="5"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6" name="Freeform 435"/>
            <p:cNvSpPr>
              <a:spLocks/>
            </p:cNvSpPr>
            <p:nvPr/>
          </p:nvSpPr>
          <p:spPr bwMode="auto">
            <a:xfrm>
              <a:off x="5470526" y="4791075"/>
              <a:ext cx="6350"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0 w 5"/>
                <a:gd name="T9" fmla="*/ 2147483647 h 8"/>
                <a:gd name="T10" fmla="*/ 0 w 5"/>
                <a:gd name="T11" fmla="*/ 2147483647 h 8"/>
                <a:gd name="T12" fmla="*/ 2147483647 w 5"/>
                <a:gd name="T13" fmla="*/ 0 h 8"/>
                <a:gd name="T14" fmla="*/ 2147483647 w 5"/>
                <a:gd name="T15" fmla="*/ 0 h 8"/>
                <a:gd name="T16" fmla="*/ 2147483647 w 5"/>
                <a:gd name="T17" fmla="*/ 2147483647 h 8"/>
                <a:gd name="T18" fmla="*/ 2147483647 w 5"/>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8"/>
                <a:gd name="T32" fmla="*/ 5 w 5"/>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8">
                  <a:moveTo>
                    <a:pt x="5" y="4"/>
                  </a:moveTo>
                  <a:lnTo>
                    <a:pt x="5" y="6"/>
                  </a:lnTo>
                  <a:lnTo>
                    <a:pt x="4" y="8"/>
                  </a:lnTo>
                  <a:lnTo>
                    <a:pt x="2" y="6"/>
                  </a:lnTo>
                  <a:lnTo>
                    <a:pt x="0" y="5"/>
                  </a:lnTo>
                  <a:lnTo>
                    <a:pt x="0" y="3"/>
                  </a:lnTo>
                  <a:lnTo>
                    <a:pt x="2" y="0"/>
                  </a:lnTo>
                  <a:lnTo>
                    <a:pt x="3" y="0"/>
                  </a:lnTo>
                  <a:lnTo>
                    <a:pt x="3" y="2"/>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7" name="Freeform 436"/>
            <p:cNvSpPr>
              <a:spLocks/>
            </p:cNvSpPr>
            <p:nvPr/>
          </p:nvSpPr>
          <p:spPr bwMode="auto">
            <a:xfrm>
              <a:off x="5521327" y="4699005"/>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2147483647 w 6"/>
                <a:gd name="T21" fmla="*/ 0 h 6"/>
                <a:gd name="T22" fmla="*/ 2147483647 w 6"/>
                <a:gd name="T23" fmla="*/ 0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5" y="2"/>
                  </a:moveTo>
                  <a:lnTo>
                    <a:pt x="5" y="2"/>
                  </a:lnTo>
                  <a:lnTo>
                    <a:pt x="6" y="4"/>
                  </a:lnTo>
                  <a:lnTo>
                    <a:pt x="5" y="5"/>
                  </a:lnTo>
                  <a:lnTo>
                    <a:pt x="2" y="6"/>
                  </a:lnTo>
                  <a:lnTo>
                    <a:pt x="1" y="5"/>
                  </a:lnTo>
                  <a:lnTo>
                    <a:pt x="0" y="4"/>
                  </a:lnTo>
                  <a:lnTo>
                    <a:pt x="0" y="2"/>
                  </a:lnTo>
                  <a:lnTo>
                    <a:pt x="1" y="0"/>
                  </a:lnTo>
                  <a:lnTo>
                    <a:pt x="2" y="0"/>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8" name="Freeform 437"/>
            <p:cNvSpPr>
              <a:spLocks/>
            </p:cNvSpPr>
            <p:nvPr/>
          </p:nvSpPr>
          <p:spPr bwMode="auto">
            <a:xfrm>
              <a:off x="5468942" y="4789492"/>
              <a:ext cx="7937" cy="11112"/>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0 w 5"/>
                <a:gd name="T15" fmla="*/ 2147483647 h 7"/>
                <a:gd name="T16" fmla="*/ 2147483647 w 5"/>
                <a:gd name="T17" fmla="*/ 0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7"/>
                <a:gd name="T44" fmla="*/ 5 w 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7">
                  <a:moveTo>
                    <a:pt x="5" y="4"/>
                  </a:moveTo>
                  <a:lnTo>
                    <a:pt x="5" y="4"/>
                  </a:lnTo>
                  <a:lnTo>
                    <a:pt x="5" y="6"/>
                  </a:lnTo>
                  <a:lnTo>
                    <a:pt x="4" y="7"/>
                  </a:lnTo>
                  <a:lnTo>
                    <a:pt x="1" y="6"/>
                  </a:lnTo>
                  <a:lnTo>
                    <a:pt x="0" y="5"/>
                  </a:lnTo>
                  <a:lnTo>
                    <a:pt x="0" y="3"/>
                  </a:lnTo>
                  <a:lnTo>
                    <a:pt x="1" y="0"/>
                  </a:lnTo>
                  <a:lnTo>
                    <a:pt x="3" y="0"/>
                  </a:lnTo>
                  <a:lnTo>
                    <a:pt x="3" y="1"/>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39" name="Freeform 438"/>
            <p:cNvSpPr>
              <a:spLocks/>
            </p:cNvSpPr>
            <p:nvPr/>
          </p:nvSpPr>
          <p:spPr bwMode="auto">
            <a:xfrm>
              <a:off x="5448300" y="4765675"/>
              <a:ext cx="7938" cy="14288"/>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0 h 9"/>
                <a:gd name="T10" fmla="*/ 2147483647 w 5"/>
                <a:gd name="T11" fmla="*/ 2147483647 h 9"/>
                <a:gd name="T12" fmla="*/ 0 w 5"/>
                <a:gd name="T13" fmla="*/ 2147483647 h 9"/>
                <a:gd name="T14" fmla="*/ 0 w 5"/>
                <a:gd name="T15" fmla="*/ 2147483647 h 9"/>
                <a:gd name="T16" fmla="*/ 2147483647 w 5"/>
                <a:gd name="T17" fmla="*/ 2147483647 h 9"/>
                <a:gd name="T18" fmla="*/ 2147483647 w 5"/>
                <a:gd name="T19" fmla="*/ 2147483647 h 9"/>
                <a:gd name="T20" fmla="*/ 2147483647 w 5"/>
                <a:gd name="T21" fmla="*/ 2147483647 h 9"/>
                <a:gd name="T22" fmla="*/ 2147483647 w 5"/>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9"/>
                <a:gd name="T38" fmla="*/ 5 w 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9">
                  <a:moveTo>
                    <a:pt x="4" y="6"/>
                  </a:moveTo>
                  <a:lnTo>
                    <a:pt x="3" y="3"/>
                  </a:lnTo>
                  <a:lnTo>
                    <a:pt x="3" y="2"/>
                  </a:lnTo>
                  <a:lnTo>
                    <a:pt x="4" y="1"/>
                  </a:lnTo>
                  <a:lnTo>
                    <a:pt x="4" y="0"/>
                  </a:lnTo>
                  <a:lnTo>
                    <a:pt x="1" y="1"/>
                  </a:lnTo>
                  <a:lnTo>
                    <a:pt x="0" y="3"/>
                  </a:lnTo>
                  <a:lnTo>
                    <a:pt x="0" y="8"/>
                  </a:lnTo>
                  <a:lnTo>
                    <a:pt x="3" y="9"/>
                  </a:lnTo>
                  <a:lnTo>
                    <a:pt x="4" y="9"/>
                  </a:lnTo>
                  <a:lnTo>
                    <a:pt x="5" y="7"/>
                  </a:lnTo>
                  <a:lnTo>
                    <a:pt x="4"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0" name="Freeform 439"/>
            <p:cNvSpPr>
              <a:spLocks/>
            </p:cNvSpPr>
            <p:nvPr/>
          </p:nvSpPr>
          <p:spPr bwMode="auto">
            <a:xfrm>
              <a:off x="5745164" y="5067301"/>
              <a:ext cx="20637" cy="14288"/>
            </a:xfrm>
            <a:custGeom>
              <a:avLst/>
              <a:gdLst>
                <a:gd name="T0" fmla="*/ 2147483647 w 14"/>
                <a:gd name="T1" fmla="*/ 2147483647 h 9"/>
                <a:gd name="T2" fmla="*/ 2147483647 w 14"/>
                <a:gd name="T3" fmla="*/ 2147483647 h 9"/>
                <a:gd name="T4" fmla="*/ 2147483647 w 14"/>
                <a:gd name="T5" fmla="*/ 2147483647 h 9"/>
                <a:gd name="T6" fmla="*/ 2147483647 w 14"/>
                <a:gd name="T7" fmla="*/ 2147483647 h 9"/>
                <a:gd name="T8" fmla="*/ 2147483647 w 14"/>
                <a:gd name="T9" fmla="*/ 2147483647 h 9"/>
                <a:gd name="T10" fmla="*/ 2147483647 w 14"/>
                <a:gd name="T11" fmla="*/ 2147483647 h 9"/>
                <a:gd name="T12" fmla="*/ 2147483647 w 14"/>
                <a:gd name="T13" fmla="*/ 2147483647 h 9"/>
                <a:gd name="T14" fmla="*/ 2147483647 w 14"/>
                <a:gd name="T15" fmla="*/ 2147483647 h 9"/>
                <a:gd name="T16" fmla="*/ 0 w 14"/>
                <a:gd name="T17" fmla="*/ 2147483647 h 9"/>
                <a:gd name="T18" fmla="*/ 0 w 14"/>
                <a:gd name="T19" fmla="*/ 2147483647 h 9"/>
                <a:gd name="T20" fmla="*/ 2147483647 w 14"/>
                <a:gd name="T21" fmla="*/ 0 h 9"/>
                <a:gd name="T22" fmla="*/ 2147483647 w 14"/>
                <a:gd name="T23" fmla="*/ 0 h 9"/>
                <a:gd name="T24" fmla="*/ 2147483647 w 14"/>
                <a:gd name="T25" fmla="*/ 0 h 9"/>
                <a:gd name="T26" fmla="*/ 2147483647 w 14"/>
                <a:gd name="T27" fmla="*/ 2147483647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9"/>
                <a:gd name="T44" fmla="*/ 14 w 14"/>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9">
                  <a:moveTo>
                    <a:pt x="12" y="3"/>
                  </a:moveTo>
                  <a:lnTo>
                    <a:pt x="14" y="5"/>
                  </a:lnTo>
                  <a:lnTo>
                    <a:pt x="14" y="7"/>
                  </a:lnTo>
                  <a:lnTo>
                    <a:pt x="14" y="8"/>
                  </a:lnTo>
                  <a:lnTo>
                    <a:pt x="12" y="9"/>
                  </a:lnTo>
                  <a:lnTo>
                    <a:pt x="9" y="9"/>
                  </a:lnTo>
                  <a:lnTo>
                    <a:pt x="5" y="9"/>
                  </a:lnTo>
                  <a:lnTo>
                    <a:pt x="3" y="8"/>
                  </a:lnTo>
                  <a:lnTo>
                    <a:pt x="0" y="5"/>
                  </a:lnTo>
                  <a:lnTo>
                    <a:pt x="0" y="2"/>
                  </a:lnTo>
                  <a:lnTo>
                    <a:pt x="2" y="0"/>
                  </a:lnTo>
                  <a:lnTo>
                    <a:pt x="4" y="0"/>
                  </a:lnTo>
                  <a:lnTo>
                    <a:pt x="7" y="0"/>
                  </a:lnTo>
                  <a:lnTo>
                    <a:pt x="12"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1" name="Freeform 440"/>
            <p:cNvSpPr>
              <a:spLocks/>
            </p:cNvSpPr>
            <p:nvPr/>
          </p:nvSpPr>
          <p:spPr bwMode="auto">
            <a:xfrm>
              <a:off x="5446717" y="4764092"/>
              <a:ext cx="7937" cy="14288"/>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2147483647 h 9"/>
                <a:gd name="T10" fmla="*/ 2147483647 w 5"/>
                <a:gd name="T11" fmla="*/ 2147483647 h 9"/>
                <a:gd name="T12" fmla="*/ 2147483647 w 5"/>
                <a:gd name="T13" fmla="*/ 2147483647 h 9"/>
                <a:gd name="T14" fmla="*/ 2147483647 w 5"/>
                <a:gd name="T15" fmla="*/ 0 h 9"/>
                <a:gd name="T16" fmla="*/ 2147483647 w 5"/>
                <a:gd name="T17" fmla="*/ 0 h 9"/>
                <a:gd name="T18" fmla="*/ 2147483647 w 5"/>
                <a:gd name="T19" fmla="*/ 2147483647 h 9"/>
                <a:gd name="T20" fmla="*/ 0 w 5"/>
                <a:gd name="T21" fmla="*/ 2147483647 h 9"/>
                <a:gd name="T22" fmla="*/ 0 w 5"/>
                <a:gd name="T23" fmla="*/ 2147483647 h 9"/>
                <a:gd name="T24" fmla="*/ 0 w 5"/>
                <a:gd name="T25" fmla="*/ 2147483647 h 9"/>
                <a:gd name="T26" fmla="*/ 2147483647 w 5"/>
                <a:gd name="T27" fmla="*/ 2147483647 h 9"/>
                <a:gd name="T28" fmla="*/ 2147483647 w 5"/>
                <a:gd name="T29" fmla="*/ 2147483647 h 9"/>
                <a:gd name="T30" fmla="*/ 2147483647 w 5"/>
                <a:gd name="T31" fmla="*/ 2147483647 h 9"/>
                <a:gd name="T32" fmla="*/ 2147483647 w 5"/>
                <a:gd name="T33" fmla="*/ 2147483647 h 9"/>
                <a:gd name="T34" fmla="*/ 2147483647 w 5"/>
                <a:gd name="T35" fmla="*/ 2147483647 h 9"/>
                <a:gd name="T36" fmla="*/ 2147483647 w 5"/>
                <a:gd name="T37" fmla="*/ 2147483647 h 9"/>
                <a:gd name="T38" fmla="*/ 2147483647 w 5"/>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
                <a:gd name="T61" fmla="*/ 0 h 9"/>
                <a:gd name="T62" fmla="*/ 5 w 5"/>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 h="9">
                  <a:moveTo>
                    <a:pt x="4" y="6"/>
                  </a:moveTo>
                  <a:lnTo>
                    <a:pt x="4" y="6"/>
                  </a:lnTo>
                  <a:lnTo>
                    <a:pt x="2" y="3"/>
                  </a:lnTo>
                  <a:lnTo>
                    <a:pt x="2" y="2"/>
                  </a:lnTo>
                  <a:lnTo>
                    <a:pt x="4" y="1"/>
                  </a:lnTo>
                  <a:lnTo>
                    <a:pt x="4" y="0"/>
                  </a:lnTo>
                  <a:lnTo>
                    <a:pt x="1" y="1"/>
                  </a:lnTo>
                  <a:lnTo>
                    <a:pt x="0" y="3"/>
                  </a:lnTo>
                  <a:lnTo>
                    <a:pt x="0" y="8"/>
                  </a:lnTo>
                  <a:lnTo>
                    <a:pt x="2" y="9"/>
                  </a:lnTo>
                  <a:lnTo>
                    <a:pt x="4" y="9"/>
                  </a:lnTo>
                  <a:lnTo>
                    <a:pt x="5" y="7"/>
                  </a:lnTo>
                  <a:lnTo>
                    <a:pt x="4"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2" name="Freeform 441"/>
            <p:cNvSpPr>
              <a:spLocks/>
            </p:cNvSpPr>
            <p:nvPr/>
          </p:nvSpPr>
          <p:spPr bwMode="auto">
            <a:xfrm>
              <a:off x="5743577" y="5064126"/>
              <a:ext cx="20638" cy="15875"/>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2147483647 w 14"/>
                <a:gd name="T21" fmla="*/ 2147483647 h 10"/>
                <a:gd name="T22" fmla="*/ 0 w 14"/>
                <a:gd name="T23" fmla="*/ 2147483647 h 10"/>
                <a:gd name="T24" fmla="*/ 0 w 14"/>
                <a:gd name="T25" fmla="*/ 2147483647 h 10"/>
                <a:gd name="T26" fmla="*/ 2147483647 w 14"/>
                <a:gd name="T27" fmla="*/ 0 h 10"/>
                <a:gd name="T28" fmla="*/ 2147483647 w 14"/>
                <a:gd name="T29" fmla="*/ 0 h 10"/>
                <a:gd name="T30" fmla="*/ 2147483647 w 14"/>
                <a:gd name="T31" fmla="*/ 0 h 10"/>
                <a:gd name="T32" fmla="*/ 2147483647 w 14"/>
                <a:gd name="T33" fmla="*/ 0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11" y="4"/>
                  </a:moveTo>
                  <a:lnTo>
                    <a:pt x="11" y="4"/>
                  </a:lnTo>
                  <a:lnTo>
                    <a:pt x="14" y="6"/>
                  </a:lnTo>
                  <a:lnTo>
                    <a:pt x="14" y="7"/>
                  </a:lnTo>
                  <a:lnTo>
                    <a:pt x="14" y="9"/>
                  </a:lnTo>
                  <a:lnTo>
                    <a:pt x="11" y="10"/>
                  </a:lnTo>
                  <a:lnTo>
                    <a:pt x="9" y="10"/>
                  </a:lnTo>
                  <a:lnTo>
                    <a:pt x="5" y="10"/>
                  </a:lnTo>
                  <a:lnTo>
                    <a:pt x="3" y="9"/>
                  </a:lnTo>
                  <a:lnTo>
                    <a:pt x="0" y="6"/>
                  </a:lnTo>
                  <a:lnTo>
                    <a:pt x="0" y="3"/>
                  </a:lnTo>
                  <a:lnTo>
                    <a:pt x="1" y="0"/>
                  </a:lnTo>
                  <a:lnTo>
                    <a:pt x="4" y="0"/>
                  </a:lnTo>
                  <a:lnTo>
                    <a:pt x="6" y="0"/>
                  </a:lnTo>
                  <a:lnTo>
                    <a:pt x="1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3" name="Freeform 442"/>
            <p:cNvSpPr>
              <a:spLocks/>
            </p:cNvSpPr>
            <p:nvPr/>
          </p:nvSpPr>
          <p:spPr bwMode="auto">
            <a:xfrm>
              <a:off x="5791203" y="5038729"/>
              <a:ext cx="17463" cy="15875"/>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2147483647 h 10"/>
                <a:gd name="T16" fmla="*/ 2147483647 w 12"/>
                <a:gd name="T17" fmla="*/ 0 h 10"/>
                <a:gd name="T18" fmla="*/ 2147483647 w 12"/>
                <a:gd name="T19" fmla="*/ 0 h 10"/>
                <a:gd name="T20" fmla="*/ 2147483647 w 12"/>
                <a:gd name="T21" fmla="*/ 0 h 10"/>
                <a:gd name="T22" fmla="*/ 2147483647 w 12"/>
                <a:gd name="T23" fmla="*/ 2147483647 h 10"/>
                <a:gd name="T24" fmla="*/ 2147483647 w 12"/>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0"/>
                <a:gd name="T41" fmla="*/ 12 w 12"/>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0">
                  <a:moveTo>
                    <a:pt x="12" y="4"/>
                  </a:moveTo>
                  <a:lnTo>
                    <a:pt x="11" y="8"/>
                  </a:lnTo>
                  <a:lnTo>
                    <a:pt x="7" y="10"/>
                  </a:lnTo>
                  <a:lnTo>
                    <a:pt x="4" y="10"/>
                  </a:lnTo>
                  <a:lnTo>
                    <a:pt x="1" y="8"/>
                  </a:lnTo>
                  <a:lnTo>
                    <a:pt x="0" y="6"/>
                  </a:lnTo>
                  <a:lnTo>
                    <a:pt x="1" y="3"/>
                  </a:lnTo>
                  <a:lnTo>
                    <a:pt x="2" y="1"/>
                  </a:lnTo>
                  <a:lnTo>
                    <a:pt x="5" y="0"/>
                  </a:lnTo>
                  <a:lnTo>
                    <a:pt x="7" y="0"/>
                  </a:lnTo>
                  <a:lnTo>
                    <a:pt x="10" y="0"/>
                  </a:lnTo>
                  <a:lnTo>
                    <a:pt x="11" y="2"/>
                  </a:lnTo>
                  <a:lnTo>
                    <a:pt x="12"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4" name="Freeform 443"/>
            <p:cNvSpPr>
              <a:spLocks/>
            </p:cNvSpPr>
            <p:nvPr/>
          </p:nvSpPr>
          <p:spPr bwMode="auto">
            <a:xfrm>
              <a:off x="5446717" y="4789491"/>
              <a:ext cx="187325" cy="431800"/>
            </a:xfrm>
            <a:custGeom>
              <a:avLst/>
              <a:gdLst>
                <a:gd name="T0" fmla="*/ 2147483647 w 128"/>
                <a:gd name="T1" fmla="*/ 2147483647 h 272"/>
                <a:gd name="T2" fmla="*/ 2147483647 w 128"/>
                <a:gd name="T3" fmla="*/ 2147483647 h 272"/>
                <a:gd name="T4" fmla="*/ 2147483647 w 128"/>
                <a:gd name="T5" fmla="*/ 2147483647 h 272"/>
                <a:gd name="T6" fmla="*/ 2147483647 w 128"/>
                <a:gd name="T7" fmla="*/ 2147483647 h 272"/>
                <a:gd name="T8" fmla="*/ 2147483647 w 128"/>
                <a:gd name="T9" fmla="*/ 2147483647 h 272"/>
                <a:gd name="T10" fmla="*/ 2147483647 w 128"/>
                <a:gd name="T11" fmla="*/ 2147483647 h 272"/>
                <a:gd name="T12" fmla="*/ 2147483647 w 128"/>
                <a:gd name="T13" fmla="*/ 2147483647 h 272"/>
                <a:gd name="T14" fmla="*/ 2147483647 w 128"/>
                <a:gd name="T15" fmla="*/ 2147483647 h 272"/>
                <a:gd name="T16" fmla="*/ 2147483647 w 128"/>
                <a:gd name="T17" fmla="*/ 0 h 272"/>
                <a:gd name="T18" fmla="*/ 2147483647 w 128"/>
                <a:gd name="T19" fmla="*/ 2147483647 h 272"/>
                <a:gd name="T20" fmla="*/ 2147483647 w 128"/>
                <a:gd name="T21" fmla="*/ 2147483647 h 272"/>
                <a:gd name="T22" fmla="*/ 2147483647 w 128"/>
                <a:gd name="T23" fmla="*/ 2147483647 h 272"/>
                <a:gd name="T24" fmla="*/ 2147483647 w 128"/>
                <a:gd name="T25" fmla="*/ 2147483647 h 272"/>
                <a:gd name="T26" fmla="*/ 2147483647 w 128"/>
                <a:gd name="T27" fmla="*/ 2147483647 h 272"/>
                <a:gd name="T28" fmla="*/ 2147483647 w 128"/>
                <a:gd name="T29" fmla="*/ 2147483647 h 272"/>
                <a:gd name="T30" fmla="*/ 2147483647 w 128"/>
                <a:gd name="T31" fmla="*/ 2147483647 h 272"/>
                <a:gd name="T32" fmla="*/ 2147483647 w 128"/>
                <a:gd name="T33" fmla="*/ 2147483647 h 272"/>
                <a:gd name="T34" fmla="*/ 2147483647 w 128"/>
                <a:gd name="T35" fmla="*/ 2147483647 h 272"/>
                <a:gd name="T36" fmla="*/ 2147483647 w 128"/>
                <a:gd name="T37" fmla="*/ 2147483647 h 272"/>
                <a:gd name="T38" fmla="*/ 2147483647 w 128"/>
                <a:gd name="T39" fmla="*/ 2147483647 h 272"/>
                <a:gd name="T40" fmla="*/ 2147483647 w 128"/>
                <a:gd name="T41" fmla="*/ 2147483647 h 272"/>
                <a:gd name="T42" fmla="*/ 2147483647 w 128"/>
                <a:gd name="T43" fmla="*/ 2147483647 h 272"/>
                <a:gd name="T44" fmla="*/ 2147483647 w 128"/>
                <a:gd name="T45" fmla="*/ 2147483647 h 272"/>
                <a:gd name="T46" fmla="*/ 2147483647 w 128"/>
                <a:gd name="T47" fmla="*/ 2147483647 h 272"/>
                <a:gd name="T48" fmla="*/ 0 w 128"/>
                <a:gd name="T49" fmla="*/ 2147483647 h 272"/>
                <a:gd name="T50" fmla="*/ 2147483647 w 128"/>
                <a:gd name="T51" fmla="*/ 2147483647 h 272"/>
                <a:gd name="T52" fmla="*/ 2147483647 w 128"/>
                <a:gd name="T53" fmla="*/ 2147483647 h 272"/>
                <a:gd name="T54" fmla="*/ 2147483647 w 128"/>
                <a:gd name="T55" fmla="*/ 2147483647 h 272"/>
                <a:gd name="T56" fmla="*/ 2147483647 w 128"/>
                <a:gd name="T57" fmla="*/ 2147483647 h 272"/>
                <a:gd name="T58" fmla="*/ 2147483647 w 128"/>
                <a:gd name="T59" fmla="*/ 2147483647 h 272"/>
                <a:gd name="T60" fmla="*/ 2147483647 w 128"/>
                <a:gd name="T61" fmla="*/ 2147483647 h 272"/>
                <a:gd name="T62" fmla="*/ 2147483647 w 128"/>
                <a:gd name="T63" fmla="*/ 2147483647 h 272"/>
                <a:gd name="T64" fmla="*/ 2147483647 w 128"/>
                <a:gd name="T65" fmla="*/ 2147483647 h 272"/>
                <a:gd name="T66" fmla="*/ 2147483647 w 128"/>
                <a:gd name="T67" fmla="*/ 2147483647 h 272"/>
                <a:gd name="T68" fmla="*/ 2147483647 w 128"/>
                <a:gd name="T69" fmla="*/ 2147483647 h 272"/>
                <a:gd name="T70" fmla="*/ 2147483647 w 128"/>
                <a:gd name="T71" fmla="*/ 2147483647 h 272"/>
                <a:gd name="T72" fmla="*/ 2147483647 w 128"/>
                <a:gd name="T73" fmla="*/ 2147483647 h 272"/>
                <a:gd name="T74" fmla="*/ 2147483647 w 128"/>
                <a:gd name="T75" fmla="*/ 2147483647 h 272"/>
                <a:gd name="T76" fmla="*/ 2147483647 w 128"/>
                <a:gd name="T77" fmla="*/ 2147483647 h 272"/>
                <a:gd name="T78" fmla="*/ 2147483647 w 128"/>
                <a:gd name="T79" fmla="*/ 2147483647 h 272"/>
                <a:gd name="T80" fmla="*/ 2147483647 w 128"/>
                <a:gd name="T81" fmla="*/ 2147483647 h 272"/>
                <a:gd name="T82" fmla="*/ 2147483647 w 128"/>
                <a:gd name="T83" fmla="*/ 2147483647 h 272"/>
                <a:gd name="T84" fmla="*/ 2147483647 w 128"/>
                <a:gd name="T85" fmla="*/ 2147483647 h 2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272"/>
                <a:gd name="T131" fmla="*/ 128 w 128"/>
                <a:gd name="T132" fmla="*/ 272 h 2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272">
                  <a:moveTo>
                    <a:pt x="110" y="95"/>
                  </a:moveTo>
                  <a:lnTo>
                    <a:pt x="113" y="92"/>
                  </a:lnTo>
                  <a:lnTo>
                    <a:pt x="113" y="88"/>
                  </a:lnTo>
                  <a:lnTo>
                    <a:pt x="113" y="82"/>
                  </a:lnTo>
                  <a:lnTo>
                    <a:pt x="109" y="69"/>
                  </a:lnTo>
                  <a:lnTo>
                    <a:pt x="109" y="64"/>
                  </a:lnTo>
                  <a:lnTo>
                    <a:pt x="109" y="62"/>
                  </a:lnTo>
                  <a:lnTo>
                    <a:pt x="112" y="63"/>
                  </a:lnTo>
                  <a:lnTo>
                    <a:pt x="113" y="65"/>
                  </a:lnTo>
                  <a:lnTo>
                    <a:pt x="114" y="69"/>
                  </a:lnTo>
                  <a:lnTo>
                    <a:pt x="115" y="76"/>
                  </a:lnTo>
                  <a:lnTo>
                    <a:pt x="117" y="78"/>
                  </a:lnTo>
                  <a:lnTo>
                    <a:pt x="119" y="80"/>
                  </a:lnTo>
                  <a:lnTo>
                    <a:pt x="122" y="78"/>
                  </a:lnTo>
                  <a:lnTo>
                    <a:pt x="123" y="77"/>
                  </a:lnTo>
                  <a:lnTo>
                    <a:pt x="127" y="68"/>
                  </a:lnTo>
                  <a:lnTo>
                    <a:pt x="128" y="58"/>
                  </a:lnTo>
                  <a:lnTo>
                    <a:pt x="127" y="49"/>
                  </a:lnTo>
                  <a:lnTo>
                    <a:pt x="123" y="39"/>
                  </a:lnTo>
                  <a:lnTo>
                    <a:pt x="117" y="28"/>
                  </a:lnTo>
                  <a:lnTo>
                    <a:pt x="112" y="16"/>
                  </a:lnTo>
                  <a:lnTo>
                    <a:pt x="109" y="13"/>
                  </a:lnTo>
                  <a:lnTo>
                    <a:pt x="109" y="10"/>
                  </a:lnTo>
                  <a:lnTo>
                    <a:pt x="109" y="7"/>
                  </a:lnTo>
                  <a:lnTo>
                    <a:pt x="110" y="4"/>
                  </a:lnTo>
                  <a:lnTo>
                    <a:pt x="109" y="1"/>
                  </a:lnTo>
                  <a:lnTo>
                    <a:pt x="106" y="0"/>
                  </a:lnTo>
                  <a:lnTo>
                    <a:pt x="104" y="3"/>
                  </a:lnTo>
                  <a:lnTo>
                    <a:pt x="103" y="5"/>
                  </a:lnTo>
                  <a:lnTo>
                    <a:pt x="101" y="7"/>
                  </a:lnTo>
                  <a:lnTo>
                    <a:pt x="99" y="16"/>
                  </a:lnTo>
                  <a:lnTo>
                    <a:pt x="96" y="24"/>
                  </a:lnTo>
                  <a:lnTo>
                    <a:pt x="93" y="30"/>
                  </a:lnTo>
                  <a:lnTo>
                    <a:pt x="90" y="33"/>
                  </a:lnTo>
                  <a:lnTo>
                    <a:pt x="86" y="35"/>
                  </a:lnTo>
                  <a:lnTo>
                    <a:pt x="85" y="36"/>
                  </a:lnTo>
                  <a:lnTo>
                    <a:pt x="85" y="38"/>
                  </a:lnTo>
                  <a:lnTo>
                    <a:pt x="85" y="42"/>
                  </a:lnTo>
                  <a:lnTo>
                    <a:pt x="85" y="43"/>
                  </a:lnTo>
                  <a:lnTo>
                    <a:pt x="79" y="52"/>
                  </a:lnTo>
                  <a:lnTo>
                    <a:pt x="72" y="60"/>
                  </a:lnTo>
                  <a:lnTo>
                    <a:pt x="57" y="74"/>
                  </a:lnTo>
                  <a:lnTo>
                    <a:pt x="54" y="75"/>
                  </a:lnTo>
                  <a:lnTo>
                    <a:pt x="51" y="75"/>
                  </a:lnTo>
                  <a:lnTo>
                    <a:pt x="47" y="75"/>
                  </a:lnTo>
                  <a:lnTo>
                    <a:pt x="42" y="75"/>
                  </a:lnTo>
                  <a:lnTo>
                    <a:pt x="37" y="78"/>
                  </a:lnTo>
                  <a:lnTo>
                    <a:pt x="26" y="81"/>
                  </a:lnTo>
                  <a:lnTo>
                    <a:pt x="23" y="83"/>
                  </a:lnTo>
                  <a:lnTo>
                    <a:pt x="20" y="87"/>
                  </a:lnTo>
                  <a:lnTo>
                    <a:pt x="16" y="95"/>
                  </a:lnTo>
                  <a:lnTo>
                    <a:pt x="11" y="102"/>
                  </a:lnTo>
                  <a:lnTo>
                    <a:pt x="10" y="105"/>
                  </a:lnTo>
                  <a:lnTo>
                    <a:pt x="10" y="106"/>
                  </a:lnTo>
                  <a:lnTo>
                    <a:pt x="13" y="111"/>
                  </a:lnTo>
                  <a:lnTo>
                    <a:pt x="14" y="114"/>
                  </a:lnTo>
                  <a:lnTo>
                    <a:pt x="15" y="116"/>
                  </a:lnTo>
                  <a:lnTo>
                    <a:pt x="14" y="118"/>
                  </a:lnTo>
                  <a:lnTo>
                    <a:pt x="14" y="122"/>
                  </a:lnTo>
                  <a:lnTo>
                    <a:pt x="14" y="126"/>
                  </a:lnTo>
                  <a:lnTo>
                    <a:pt x="15" y="133"/>
                  </a:lnTo>
                  <a:lnTo>
                    <a:pt x="19" y="140"/>
                  </a:lnTo>
                  <a:lnTo>
                    <a:pt x="23" y="147"/>
                  </a:lnTo>
                  <a:lnTo>
                    <a:pt x="24" y="151"/>
                  </a:lnTo>
                  <a:lnTo>
                    <a:pt x="24" y="154"/>
                  </a:lnTo>
                  <a:lnTo>
                    <a:pt x="24" y="158"/>
                  </a:lnTo>
                  <a:lnTo>
                    <a:pt x="21" y="161"/>
                  </a:lnTo>
                  <a:lnTo>
                    <a:pt x="15" y="169"/>
                  </a:lnTo>
                  <a:lnTo>
                    <a:pt x="10" y="176"/>
                  </a:lnTo>
                  <a:lnTo>
                    <a:pt x="10" y="178"/>
                  </a:lnTo>
                  <a:lnTo>
                    <a:pt x="9" y="182"/>
                  </a:lnTo>
                  <a:lnTo>
                    <a:pt x="4" y="189"/>
                  </a:lnTo>
                  <a:lnTo>
                    <a:pt x="1" y="192"/>
                  </a:lnTo>
                  <a:lnTo>
                    <a:pt x="0" y="198"/>
                  </a:lnTo>
                  <a:lnTo>
                    <a:pt x="0" y="201"/>
                  </a:lnTo>
                  <a:lnTo>
                    <a:pt x="0" y="203"/>
                  </a:lnTo>
                  <a:lnTo>
                    <a:pt x="6" y="216"/>
                  </a:lnTo>
                  <a:lnTo>
                    <a:pt x="7" y="218"/>
                  </a:lnTo>
                  <a:lnTo>
                    <a:pt x="6" y="221"/>
                  </a:lnTo>
                  <a:lnTo>
                    <a:pt x="5" y="223"/>
                  </a:lnTo>
                  <a:lnTo>
                    <a:pt x="5" y="226"/>
                  </a:lnTo>
                  <a:lnTo>
                    <a:pt x="4" y="231"/>
                  </a:lnTo>
                  <a:lnTo>
                    <a:pt x="5" y="241"/>
                  </a:lnTo>
                  <a:lnTo>
                    <a:pt x="6" y="247"/>
                  </a:lnTo>
                  <a:lnTo>
                    <a:pt x="10" y="252"/>
                  </a:lnTo>
                  <a:lnTo>
                    <a:pt x="14" y="256"/>
                  </a:lnTo>
                  <a:lnTo>
                    <a:pt x="19" y="260"/>
                  </a:lnTo>
                  <a:lnTo>
                    <a:pt x="24" y="263"/>
                  </a:lnTo>
                  <a:lnTo>
                    <a:pt x="28" y="268"/>
                  </a:lnTo>
                  <a:lnTo>
                    <a:pt x="30" y="271"/>
                  </a:lnTo>
                  <a:lnTo>
                    <a:pt x="34" y="272"/>
                  </a:lnTo>
                  <a:lnTo>
                    <a:pt x="37" y="272"/>
                  </a:lnTo>
                  <a:lnTo>
                    <a:pt x="40" y="271"/>
                  </a:lnTo>
                  <a:lnTo>
                    <a:pt x="47" y="267"/>
                  </a:lnTo>
                  <a:lnTo>
                    <a:pt x="52" y="262"/>
                  </a:lnTo>
                  <a:lnTo>
                    <a:pt x="54" y="261"/>
                  </a:lnTo>
                  <a:lnTo>
                    <a:pt x="56" y="261"/>
                  </a:lnTo>
                  <a:lnTo>
                    <a:pt x="58" y="262"/>
                  </a:lnTo>
                  <a:lnTo>
                    <a:pt x="61" y="261"/>
                  </a:lnTo>
                  <a:lnTo>
                    <a:pt x="68" y="256"/>
                  </a:lnTo>
                  <a:lnTo>
                    <a:pt x="72" y="254"/>
                  </a:lnTo>
                  <a:lnTo>
                    <a:pt x="75" y="250"/>
                  </a:lnTo>
                  <a:lnTo>
                    <a:pt x="75" y="247"/>
                  </a:lnTo>
                  <a:lnTo>
                    <a:pt x="73" y="243"/>
                  </a:lnTo>
                  <a:lnTo>
                    <a:pt x="73" y="241"/>
                  </a:lnTo>
                  <a:lnTo>
                    <a:pt x="73" y="239"/>
                  </a:lnTo>
                  <a:lnTo>
                    <a:pt x="77" y="235"/>
                  </a:lnTo>
                  <a:lnTo>
                    <a:pt x="80" y="231"/>
                  </a:lnTo>
                  <a:lnTo>
                    <a:pt x="82" y="223"/>
                  </a:lnTo>
                  <a:lnTo>
                    <a:pt x="85" y="207"/>
                  </a:lnTo>
                  <a:lnTo>
                    <a:pt x="87" y="202"/>
                  </a:lnTo>
                  <a:lnTo>
                    <a:pt x="86" y="198"/>
                  </a:lnTo>
                  <a:lnTo>
                    <a:pt x="86" y="197"/>
                  </a:lnTo>
                  <a:lnTo>
                    <a:pt x="90" y="192"/>
                  </a:lnTo>
                  <a:lnTo>
                    <a:pt x="93" y="189"/>
                  </a:lnTo>
                  <a:lnTo>
                    <a:pt x="93" y="184"/>
                  </a:lnTo>
                  <a:lnTo>
                    <a:pt x="93" y="178"/>
                  </a:lnTo>
                  <a:lnTo>
                    <a:pt x="93" y="169"/>
                  </a:lnTo>
                  <a:lnTo>
                    <a:pt x="93" y="163"/>
                  </a:lnTo>
                  <a:lnTo>
                    <a:pt x="94" y="159"/>
                  </a:lnTo>
                  <a:lnTo>
                    <a:pt x="99" y="151"/>
                  </a:lnTo>
                  <a:lnTo>
                    <a:pt x="101" y="143"/>
                  </a:lnTo>
                  <a:lnTo>
                    <a:pt x="105" y="132"/>
                  </a:lnTo>
                  <a:lnTo>
                    <a:pt x="106" y="121"/>
                  </a:lnTo>
                  <a:lnTo>
                    <a:pt x="106" y="113"/>
                  </a:lnTo>
                  <a:lnTo>
                    <a:pt x="106" y="108"/>
                  </a:lnTo>
                  <a:lnTo>
                    <a:pt x="108" y="105"/>
                  </a:lnTo>
                  <a:lnTo>
                    <a:pt x="109" y="100"/>
                  </a:lnTo>
                  <a:lnTo>
                    <a:pt x="110" y="97"/>
                  </a:lnTo>
                  <a:lnTo>
                    <a:pt x="112" y="96"/>
                  </a:lnTo>
                  <a:lnTo>
                    <a:pt x="110" y="9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5" name="Freeform 444"/>
            <p:cNvSpPr>
              <a:spLocks/>
            </p:cNvSpPr>
            <p:nvPr/>
          </p:nvSpPr>
          <p:spPr bwMode="auto">
            <a:xfrm>
              <a:off x="5788025" y="5037139"/>
              <a:ext cx="19050" cy="15875"/>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0 w 13"/>
                <a:gd name="T15" fmla="*/ 2147483647 h 10"/>
                <a:gd name="T16" fmla="*/ 2147483647 w 13"/>
                <a:gd name="T17" fmla="*/ 2147483647 h 10"/>
                <a:gd name="T18" fmla="*/ 2147483647 w 13"/>
                <a:gd name="T19" fmla="*/ 2147483647 h 10"/>
                <a:gd name="T20" fmla="*/ 2147483647 w 13"/>
                <a:gd name="T21" fmla="*/ 2147483647 h 10"/>
                <a:gd name="T22" fmla="*/ 2147483647 w 13"/>
                <a:gd name="T23" fmla="*/ 0 h 10"/>
                <a:gd name="T24" fmla="*/ 2147483647 w 13"/>
                <a:gd name="T25" fmla="*/ 0 h 10"/>
                <a:gd name="T26" fmla="*/ 2147483647 w 13"/>
                <a:gd name="T27" fmla="*/ 0 h 10"/>
                <a:gd name="T28" fmla="*/ 2147483647 w 13"/>
                <a:gd name="T29" fmla="*/ 0 h 10"/>
                <a:gd name="T30" fmla="*/ 2147483647 w 13"/>
                <a:gd name="T31" fmla="*/ 2147483647 h 10"/>
                <a:gd name="T32" fmla="*/ 2147483647 w 13"/>
                <a:gd name="T33" fmla="*/ 2147483647 h 10"/>
                <a:gd name="T34" fmla="*/ 2147483647 w 13"/>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0"/>
                <a:gd name="T56" fmla="*/ 13 w 13"/>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0">
                  <a:moveTo>
                    <a:pt x="13" y="4"/>
                  </a:moveTo>
                  <a:lnTo>
                    <a:pt x="13" y="4"/>
                  </a:lnTo>
                  <a:lnTo>
                    <a:pt x="12" y="8"/>
                  </a:lnTo>
                  <a:lnTo>
                    <a:pt x="8" y="10"/>
                  </a:lnTo>
                  <a:lnTo>
                    <a:pt x="4" y="10"/>
                  </a:lnTo>
                  <a:lnTo>
                    <a:pt x="2" y="8"/>
                  </a:lnTo>
                  <a:lnTo>
                    <a:pt x="0" y="5"/>
                  </a:lnTo>
                  <a:lnTo>
                    <a:pt x="2" y="3"/>
                  </a:lnTo>
                  <a:lnTo>
                    <a:pt x="3" y="1"/>
                  </a:lnTo>
                  <a:lnTo>
                    <a:pt x="6" y="0"/>
                  </a:lnTo>
                  <a:lnTo>
                    <a:pt x="8" y="0"/>
                  </a:lnTo>
                  <a:lnTo>
                    <a:pt x="11" y="0"/>
                  </a:lnTo>
                  <a:lnTo>
                    <a:pt x="12" y="2"/>
                  </a:lnTo>
                  <a:lnTo>
                    <a:pt x="13"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6" name="Freeform 445"/>
            <p:cNvSpPr>
              <a:spLocks/>
            </p:cNvSpPr>
            <p:nvPr/>
          </p:nvSpPr>
          <p:spPr bwMode="auto">
            <a:xfrm>
              <a:off x="5445129" y="4787903"/>
              <a:ext cx="187325" cy="431800"/>
            </a:xfrm>
            <a:custGeom>
              <a:avLst/>
              <a:gdLst>
                <a:gd name="T0" fmla="*/ 2147483647 w 128"/>
                <a:gd name="T1" fmla="*/ 2147483647 h 272"/>
                <a:gd name="T2" fmla="*/ 2147483647 w 128"/>
                <a:gd name="T3" fmla="*/ 2147483647 h 272"/>
                <a:gd name="T4" fmla="*/ 2147483647 w 128"/>
                <a:gd name="T5" fmla="*/ 2147483647 h 272"/>
                <a:gd name="T6" fmla="*/ 2147483647 w 128"/>
                <a:gd name="T7" fmla="*/ 2147483647 h 272"/>
                <a:gd name="T8" fmla="*/ 2147483647 w 128"/>
                <a:gd name="T9" fmla="*/ 2147483647 h 272"/>
                <a:gd name="T10" fmla="*/ 2147483647 w 128"/>
                <a:gd name="T11" fmla="*/ 2147483647 h 272"/>
                <a:gd name="T12" fmla="*/ 2147483647 w 128"/>
                <a:gd name="T13" fmla="*/ 2147483647 h 272"/>
                <a:gd name="T14" fmla="*/ 2147483647 w 128"/>
                <a:gd name="T15" fmla="*/ 2147483647 h 272"/>
                <a:gd name="T16" fmla="*/ 2147483647 w 128"/>
                <a:gd name="T17" fmla="*/ 2147483647 h 272"/>
                <a:gd name="T18" fmla="*/ 2147483647 w 128"/>
                <a:gd name="T19" fmla="*/ 2147483647 h 272"/>
                <a:gd name="T20" fmla="*/ 2147483647 w 128"/>
                <a:gd name="T21" fmla="*/ 2147483647 h 272"/>
                <a:gd name="T22" fmla="*/ 2147483647 w 128"/>
                <a:gd name="T23" fmla="*/ 0 h 272"/>
                <a:gd name="T24" fmla="*/ 2147483647 w 128"/>
                <a:gd name="T25" fmla="*/ 2147483647 h 272"/>
                <a:gd name="T26" fmla="*/ 2147483647 w 128"/>
                <a:gd name="T27" fmla="*/ 2147483647 h 272"/>
                <a:gd name="T28" fmla="*/ 2147483647 w 128"/>
                <a:gd name="T29" fmla="*/ 2147483647 h 272"/>
                <a:gd name="T30" fmla="*/ 2147483647 w 128"/>
                <a:gd name="T31" fmla="*/ 2147483647 h 272"/>
                <a:gd name="T32" fmla="*/ 2147483647 w 128"/>
                <a:gd name="T33" fmla="*/ 2147483647 h 272"/>
                <a:gd name="T34" fmla="*/ 2147483647 w 128"/>
                <a:gd name="T35" fmla="*/ 2147483647 h 272"/>
                <a:gd name="T36" fmla="*/ 2147483647 w 128"/>
                <a:gd name="T37" fmla="*/ 2147483647 h 272"/>
                <a:gd name="T38" fmla="*/ 2147483647 w 128"/>
                <a:gd name="T39" fmla="*/ 2147483647 h 272"/>
                <a:gd name="T40" fmla="*/ 2147483647 w 128"/>
                <a:gd name="T41" fmla="*/ 2147483647 h 272"/>
                <a:gd name="T42" fmla="*/ 2147483647 w 128"/>
                <a:gd name="T43" fmla="*/ 2147483647 h 272"/>
                <a:gd name="T44" fmla="*/ 2147483647 w 128"/>
                <a:gd name="T45" fmla="*/ 2147483647 h 272"/>
                <a:gd name="T46" fmla="*/ 2147483647 w 128"/>
                <a:gd name="T47" fmla="*/ 2147483647 h 272"/>
                <a:gd name="T48" fmla="*/ 2147483647 w 128"/>
                <a:gd name="T49" fmla="*/ 2147483647 h 272"/>
                <a:gd name="T50" fmla="*/ 2147483647 w 128"/>
                <a:gd name="T51" fmla="*/ 2147483647 h 272"/>
                <a:gd name="T52" fmla="*/ 2147483647 w 128"/>
                <a:gd name="T53" fmla="*/ 2147483647 h 272"/>
                <a:gd name="T54" fmla="*/ 2147483647 w 128"/>
                <a:gd name="T55" fmla="*/ 2147483647 h 272"/>
                <a:gd name="T56" fmla="*/ 2147483647 w 128"/>
                <a:gd name="T57" fmla="*/ 2147483647 h 272"/>
                <a:gd name="T58" fmla="*/ 2147483647 w 128"/>
                <a:gd name="T59" fmla="*/ 2147483647 h 272"/>
                <a:gd name="T60" fmla="*/ 2147483647 w 128"/>
                <a:gd name="T61" fmla="*/ 2147483647 h 272"/>
                <a:gd name="T62" fmla="*/ 0 w 128"/>
                <a:gd name="T63" fmla="*/ 2147483647 h 272"/>
                <a:gd name="T64" fmla="*/ 0 w 128"/>
                <a:gd name="T65" fmla="*/ 2147483647 h 272"/>
                <a:gd name="T66" fmla="*/ 2147483647 w 128"/>
                <a:gd name="T67" fmla="*/ 2147483647 h 272"/>
                <a:gd name="T68" fmla="*/ 2147483647 w 128"/>
                <a:gd name="T69" fmla="*/ 2147483647 h 272"/>
                <a:gd name="T70" fmla="*/ 2147483647 w 128"/>
                <a:gd name="T71" fmla="*/ 2147483647 h 272"/>
                <a:gd name="T72" fmla="*/ 2147483647 w 128"/>
                <a:gd name="T73" fmla="*/ 2147483647 h 272"/>
                <a:gd name="T74" fmla="*/ 2147483647 w 128"/>
                <a:gd name="T75" fmla="*/ 2147483647 h 272"/>
                <a:gd name="T76" fmla="*/ 2147483647 w 128"/>
                <a:gd name="T77" fmla="*/ 2147483647 h 272"/>
                <a:gd name="T78" fmla="*/ 2147483647 w 128"/>
                <a:gd name="T79" fmla="*/ 2147483647 h 272"/>
                <a:gd name="T80" fmla="*/ 2147483647 w 128"/>
                <a:gd name="T81" fmla="*/ 2147483647 h 272"/>
                <a:gd name="T82" fmla="*/ 2147483647 w 128"/>
                <a:gd name="T83" fmla="*/ 2147483647 h 272"/>
                <a:gd name="T84" fmla="*/ 2147483647 w 128"/>
                <a:gd name="T85" fmla="*/ 2147483647 h 272"/>
                <a:gd name="T86" fmla="*/ 2147483647 w 128"/>
                <a:gd name="T87" fmla="*/ 2147483647 h 272"/>
                <a:gd name="T88" fmla="*/ 2147483647 w 128"/>
                <a:gd name="T89" fmla="*/ 2147483647 h 272"/>
                <a:gd name="T90" fmla="*/ 2147483647 w 128"/>
                <a:gd name="T91" fmla="*/ 2147483647 h 272"/>
                <a:gd name="T92" fmla="*/ 2147483647 w 128"/>
                <a:gd name="T93" fmla="*/ 2147483647 h 272"/>
                <a:gd name="T94" fmla="*/ 2147483647 w 128"/>
                <a:gd name="T95" fmla="*/ 2147483647 h 272"/>
                <a:gd name="T96" fmla="*/ 2147483647 w 128"/>
                <a:gd name="T97" fmla="*/ 2147483647 h 272"/>
                <a:gd name="T98" fmla="*/ 2147483647 w 128"/>
                <a:gd name="T99" fmla="*/ 2147483647 h 272"/>
                <a:gd name="T100" fmla="*/ 2147483647 w 128"/>
                <a:gd name="T101" fmla="*/ 2147483647 h 272"/>
                <a:gd name="T102" fmla="*/ 2147483647 w 128"/>
                <a:gd name="T103" fmla="*/ 2147483647 h 272"/>
                <a:gd name="T104" fmla="*/ 2147483647 w 128"/>
                <a:gd name="T105" fmla="*/ 2147483647 h 272"/>
                <a:gd name="T106" fmla="*/ 2147483647 w 128"/>
                <a:gd name="T107" fmla="*/ 2147483647 h 272"/>
                <a:gd name="T108" fmla="*/ 2147483647 w 128"/>
                <a:gd name="T109" fmla="*/ 2147483647 h 2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8"/>
                <a:gd name="T166" fmla="*/ 0 h 272"/>
                <a:gd name="T167" fmla="*/ 128 w 128"/>
                <a:gd name="T168" fmla="*/ 272 h 2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8" h="272">
                  <a:moveTo>
                    <a:pt x="110" y="95"/>
                  </a:moveTo>
                  <a:lnTo>
                    <a:pt x="110" y="95"/>
                  </a:lnTo>
                  <a:lnTo>
                    <a:pt x="113" y="91"/>
                  </a:lnTo>
                  <a:lnTo>
                    <a:pt x="113" y="88"/>
                  </a:lnTo>
                  <a:lnTo>
                    <a:pt x="113" y="82"/>
                  </a:lnTo>
                  <a:lnTo>
                    <a:pt x="109" y="69"/>
                  </a:lnTo>
                  <a:lnTo>
                    <a:pt x="109" y="64"/>
                  </a:lnTo>
                  <a:lnTo>
                    <a:pt x="109" y="62"/>
                  </a:lnTo>
                  <a:lnTo>
                    <a:pt x="111" y="63"/>
                  </a:lnTo>
                  <a:lnTo>
                    <a:pt x="113" y="65"/>
                  </a:lnTo>
                  <a:lnTo>
                    <a:pt x="114" y="69"/>
                  </a:lnTo>
                  <a:lnTo>
                    <a:pt x="115" y="76"/>
                  </a:lnTo>
                  <a:lnTo>
                    <a:pt x="116" y="78"/>
                  </a:lnTo>
                  <a:lnTo>
                    <a:pt x="119" y="79"/>
                  </a:lnTo>
                  <a:lnTo>
                    <a:pt x="121" y="78"/>
                  </a:lnTo>
                  <a:lnTo>
                    <a:pt x="123" y="77"/>
                  </a:lnTo>
                  <a:lnTo>
                    <a:pt x="127" y="68"/>
                  </a:lnTo>
                  <a:lnTo>
                    <a:pt x="128" y="58"/>
                  </a:lnTo>
                  <a:lnTo>
                    <a:pt x="127" y="49"/>
                  </a:lnTo>
                  <a:lnTo>
                    <a:pt x="123" y="39"/>
                  </a:lnTo>
                  <a:lnTo>
                    <a:pt x="116" y="27"/>
                  </a:lnTo>
                  <a:lnTo>
                    <a:pt x="111" y="15"/>
                  </a:lnTo>
                  <a:lnTo>
                    <a:pt x="109" y="13"/>
                  </a:lnTo>
                  <a:lnTo>
                    <a:pt x="109" y="10"/>
                  </a:lnTo>
                  <a:lnTo>
                    <a:pt x="109" y="7"/>
                  </a:lnTo>
                  <a:lnTo>
                    <a:pt x="110" y="4"/>
                  </a:lnTo>
                  <a:lnTo>
                    <a:pt x="109" y="1"/>
                  </a:lnTo>
                  <a:lnTo>
                    <a:pt x="106" y="0"/>
                  </a:lnTo>
                  <a:lnTo>
                    <a:pt x="104" y="2"/>
                  </a:lnTo>
                  <a:lnTo>
                    <a:pt x="102" y="5"/>
                  </a:lnTo>
                  <a:lnTo>
                    <a:pt x="101" y="7"/>
                  </a:lnTo>
                  <a:lnTo>
                    <a:pt x="99" y="15"/>
                  </a:lnTo>
                  <a:lnTo>
                    <a:pt x="96" y="24"/>
                  </a:lnTo>
                  <a:lnTo>
                    <a:pt x="92" y="30"/>
                  </a:lnTo>
                  <a:lnTo>
                    <a:pt x="90" y="33"/>
                  </a:lnTo>
                  <a:lnTo>
                    <a:pt x="86" y="34"/>
                  </a:lnTo>
                  <a:lnTo>
                    <a:pt x="85" y="36"/>
                  </a:lnTo>
                  <a:lnTo>
                    <a:pt x="85" y="38"/>
                  </a:lnTo>
                  <a:lnTo>
                    <a:pt x="85" y="42"/>
                  </a:lnTo>
                  <a:lnTo>
                    <a:pt x="85" y="43"/>
                  </a:lnTo>
                  <a:lnTo>
                    <a:pt x="78" y="52"/>
                  </a:lnTo>
                  <a:lnTo>
                    <a:pt x="72" y="59"/>
                  </a:lnTo>
                  <a:lnTo>
                    <a:pt x="57" y="74"/>
                  </a:lnTo>
                  <a:lnTo>
                    <a:pt x="54" y="75"/>
                  </a:lnTo>
                  <a:lnTo>
                    <a:pt x="50" y="75"/>
                  </a:lnTo>
                  <a:lnTo>
                    <a:pt x="47" y="75"/>
                  </a:lnTo>
                  <a:lnTo>
                    <a:pt x="41" y="75"/>
                  </a:lnTo>
                  <a:lnTo>
                    <a:pt x="36" y="78"/>
                  </a:lnTo>
                  <a:lnTo>
                    <a:pt x="26" y="81"/>
                  </a:lnTo>
                  <a:lnTo>
                    <a:pt x="22" y="83"/>
                  </a:lnTo>
                  <a:lnTo>
                    <a:pt x="20" y="87"/>
                  </a:lnTo>
                  <a:lnTo>
                    <a:pt x="16" y="95"/>
                  </a:lnTo>
                  <a:lnTo>
                    <a:pt x="11" y="102"/>
                  </a:lnTo>
                  <a:lnTo>
                    <a:pt x="10" y="104"/>
                  </a:lnTo>
                  <a:lnTo>
                    <a:pt x="10" y="106"/>
                  </a:lnTo>
                  <a:lnTo>
                    <a:pt x="12" y="110"/>
                  </a:lnTo>
                  <a:lnTo>
                    <a:pt x="14" y="114"/>
                  </a:lnTo>
                  <a:lnTo>
                    <a:pt x="15" y="116"/>
                  </a:lnTo>
                  <a:lnTo>
                    <a:pt x="14" y="117"/>
                  </a:lnTo>
                  <a:lnTo>
                    <a:pt x="14" y="122"/>
                  </a:lnTo>
                  <a:lnTo>
                    <a:pt x="14" y="126"/>
                  </a:lnTo>
                  <a:lnTo>
                    <a:pt x="15" y="133"/>
                  </a:lnTo>
                  <a:lnTo>
                    <a:pt x="19" y="140"/>
                  </a:lnTo>
                  <a:lnTo>
                    <a:pt x="22" y="147"/>
                  </a:lnTo>
                  <a:lnTo>
                    <a:pt x="24" y="151"/>
                  </a:lnTo>
                  <a:lnTo>
                    <a:pt x="24" y="154"/>
                  </a:lnTo>
                  <a:lnTo>
                    <a:pt x="24" y="158"/>
                  </a:lnTo>
                  <a:lnTo>
                    <a:pt x="21" y="161"/>
                  </a:lnTo>
                  <a:lnTo>
                    <a:pt x="15" y="168"/>
                  </a:lnTo>
                  <a:lnTo>
                    <a:pt x="10" y="176"/>
                  </a:lnTo>
                  <a:lnTo>
                    <a:pt x="10" y="178"/>
                  </a:lnTo>
                  <a:lnTo>
                    <a:pt x="8" y="181"/>
                  </a:lnTo>
                  <a:lnTo>
                    <a:pt x="3" y="189"/>
                  </a:lnTo>
                  <a:lnTo>
                    <a:pt x="1" y="192"/>
                  </a:lnTo>
                  <a:lnTo>
                    <a:pt x="0" y="198"/>
                  </a:lnTo>
                  <a:lnTo>
                    <a:pt x="0" y="200"/>
                  </a:lnTo>
                  <a:lnTo>
                    <a:pt x="0" y="203"/>
                  </a:lnTo>
                  <a:lnTo>
                    <a:pt x="6" y="216"/>
                  </a:lnTo>
                  <a:lnTo>
                    <a:pt x="7" y="218"/>
                  </a:lnTo>
                  <a:lnTo>
                    <a:pt x="6" y="221"/>
                  </a:lnTo>
                  <a:lnTo>
                    <a:pt x="5" y="223"/>
                  </a:lnTo>
                  <a:lnTo>
                    <a:pt x="5" y="225"/>
                  </a:lnTo>
                  <a:lnTo>
                    <a:pt x="3" y="231"/>
                  </a:lnTo>
                  <a:lnTo>
                    <a:pt x="5" y="241"/>
                  </a:lnTo>
                  <a:lnTo>
                    <a:pt x="6" y="247"/>
                  </a:lnTo>
                  <a:lnTo>
                    <a:pt x="10" y="251"/>
                  </a:lnTo>
                  <a:lnTo>
                    <a:pt x="14" y="256"/>
                  </a:lnTo>
                  <a:lnTo>
                    <a:pt x="19" y="260"/>
                  </a:lnTo>
                  <a:lnTo>
                    <a:pt x="24" y="263"/>
                  </a:lnTo>
                  <a:lnTo>
                    <a:pt x="27" y="268"/>
                  </a:lnTo>
                  <a:lnTo>
                    <a:pt x="30" y="270"/>
                  </a:lnTo>
                  <a:lnTo>
                    <a:pt x="34" y="272"/>
                  </a:lnTo>
                  <a:lnTo>
                    <a:pt x="36" y="272"/>
                  </a:lnTo>
                  <a:lnTo>
                    <a:pt x="40" y="270"/>
                  </a:lnTo>
                  <a:lnTo>
                    <a:pt x="47" y="267"/>
                  </a:lnTo>
                  <a:lnTo>
                    <a:pt x="52" y="262"/>
                  </a:lnTo>
                  <a:lnTo>
                    <a:pt x="54" y="261"/>
                  </a:lnTo>
                  <a:lnTo>
                    <a:pt x="55" y="261"/>
                  </a:lnTo>
                  <a:lnTo>
                    <a:pt x="58" y="262"/>
                  </a:lnTo>
                  <a:lnTo>
                    <a:pt x="61" y="261"/>
                  </a:lnTo>
                  <a:lnTo>
                    <a:pt x="68" y="256"/>
                  </a:lnTo>
                  <a:lnTo>
                    <a:pt x="72" y="254"/>
                  </a:lnTo>
                  <a:lnTo>
                    <a:pt x="74" y="250"/>
                  </a:lnTo>
                  <a:lnTo>
                    <a:pt x="74" y="247"/>
                  </a:lnTo>
                  <a:lnTo>
                    <a:pt x="73" y="243"/>
                  </a:lnTo>
                  <a:lnTo>
                    <a:pt x="73" y="241"/>
                  </a:lnTo>
                  <a:lnTo>
                    <a:pt x="73" y="238"/>
                  </a:lnTo>
                  <a:lnTo>
                    <a:pt x="77" y="235"/>
                  </a:lnTo>
                  <a:lnTo>
                    <a:pt x="80" y="231"/>
                  </a:lnTo>
                  <a:lnTo>
                    <a:pt x="82" y="223"/>
                  </a:lnTo>
                  <a:lnTo>
                    <a:pt x="85" y="206"/>
                  </a:lnTo>
                  <a:lnTo>
                    <a:pt x="87" y="202"/>
                  </a:lnTo>
                  <a:lnTo>
                    <a:pt x="86" y="198"/>
                  </a:lnTo>
                  <a:lnTo>
                    <a:pt x="86" y="197"/>
                  </a:lnTo>
                  <a:lnTo>
                    <a:pt x="90" y="192"/>
                  </a:lnTo>
                  <a:lnTo>
                    <a:pt x="92" y="189"/>
                  </a:lnTo>
                  <a:lnTo>
                    <a:pt x="92" y="184"/>
                  </a:lnTo>
                  <a:lnTo>
                    <a:pt x="92" y="178"/>
                  </a:lnTo>
                  <a:lnTo>
                    <a:pt x="92" y="168"/>
                  </a:lnTo>
                  <a:lnTo>
                    <a:pt x="92" y="162"/>
                  </a:lnTo>
                  <a:lnTo>
                    <a:pt x="94" y="159"/>
                  </a:lnTo>
                  <a:lnTo>
                    <a:pt x="99" y="151"/>
                  </a:lnTo>
                  <a:lnTo>
                    <a:pt x="101" y="142"/>
                  </a:lnTo>
                  <a:lnTo>
                    <a:pt x="105" y="132"/>
                  </a:lnTo>
                  <a:lnTo>
                    <a:pt x="106" y="121"/>
                  </a:lnTo>
                  <a:lnTo>
                    <a:pt x="106" y="113"/>
                  </a:lnTo>
                  <a:lnTo>
                    <a:pt x="106" y="108"/>
                  </a:lnTo>
                  <a:lnTo>
                    <a:pt x="107" y="104"/>
                  </a:lnTo>
                  <a:lnTo>
                    <a:pt x="109" y="100"/>
                  </a:lnTo>
                  <a:lnTo>
                    <a:pt x="110" y="97"/>
                  </a:lnTo>
                  <a:lnTo>
                    <a:pt x="111" y="96"/>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7" name="Freeform 446"/>
            <p:cNvSpPr>
              <a:spLocks/>
            </p:cNvSpPr>
            <p:nvPr/>
          </p:nvSpPr>
          <p:spPr bwMode="auto">
            <a:xfrm>
              <a:off x="5040314" y="5324476"/>
              <a:ext cx="53975" cy="53974"/>
            </a:xfrm>
            <a:custGeom>
              <a:avLst/>
              <a:gdLst>
                <a:gd name="T0" fmla="*/ 2147483647 w 36"/>
                <a:gd name="T1" fmla="*/ 2147483647 h 34"/>
                <a:gd name="T2" fmla="*/ 2147483647 w 36"/>
                <a:gd name="T3" fmla="*/ 2147483647 h 34"/>
                <a:gd name="T4" fmla="*/ 2147483647 w 36"/>
                <a:gd name="T5" fmla="*/ 2147483647 h 34"/>
                <a:gd name="T6" fmla="*/ 2147483647 w 36"/>
                <a:gd name="T7" fmla="*/ 2147483647 h 34"/>
                <a:gd name="T8" fmla="*/ 2147483647 w 36"/>
                <a:gd name="T9" fmla="*/ 2147483647 h 34"/>
                <a:gd name="T10" fmla="*/ 2147483647 w 36"/>
                <a:gd name="T11" fmla="*/ 2147483647 h 34"/>
                <a:gd name="T12" fmla="*/ 2147483647 w 36"/>
                <a:gd name="T13" fmla="*/ 2147483647 h 34"/>
                <a:gd name="T14" fmla="*/ 2147483647 w 36"/>
                <a:gd name="T15" fmla="*/ 0 h 34"/>
                <a:gd name="T16" fmla="*/ 2147483647 w 36"/>
                <a:gd name="T17" fmla="*/ 2147483647 h 34"/>
                <a:gd name="T18" fmla="*/ 2147483647 w 36"/>
                <a:gd name="T19" fmla="*/ 2147483647 h 34"/>
                <a:gd name="T20" fmla="*/ 2147483647 w 36"/>
                <a:gd name="T21" fmla="*/ 2147483647 h 34"/>
                <a:gd name="T22" fmla="*/ 2147483647 w 36"/>
                <a:gd name="T23" fmla="*/ 2147483647 h 34"/>
                <a:gd name="T24" fmla="*/ 0 w 36"/>
                <a:gd name="T25" fmla="*/ 2147483647 h 34"/>
                <a:gd name="T26" fmla="*/ 0 w 36"/>
                <a:gd name="T27" fmla="*/ 2147483647 h 34"/>
                <a:gd name="T28" fmla="*/ 0 w 36"/>
                <a:gd name="T29" fmla="*/ 2147483647 h 34"/>
                <a:gd name="T30" fmla="*/ 2147483647 w 36"/>
                <a:gd name="T31" fmla="*/ 2147483647 h 34"/>
                <a:gd name="T32" fmla="*/ 2147483647 w 36"/>
                <a:gd name="T33" fmla="*/ 2147483647 h 34"/>
                <a:gd name="T34" fmla="*/ 2147483647 w 36"/>
                <a:gd name="T35" fmla="*/ 2147483647 h 34"/>
                <a:gd name="T36" fmla="*/ 2147483647 w 36"/>
                <a:gd name="T37" fmla="*/ 2147483647 h 34"/>
                <a:gd name="T38" fmla="*/ 2147483647 w 36"/>
                <a:gd name="T39" fmla="*/ 2147483647 h 34"/>
                <a:gd name="T40" fmla="*/ 2147483647 w 36"/>
                <a:gd name="T41" fmla="*/ 2147483647 h 34"/>
                <a:gd name="T42" fmla="*/ 2147483647 w 36"/>
                <a:gd name="T43" fmla="*/ 2147483647 h 34"/>
                <a:gd name="T44" fmla="*/ 2147483647 w 36"/>
                <a:gd name="T45" fmla="*/ 2147483647 h 34"/>
                <a:gd name="T46" fmla="*/ 2147483647 w 36"/>
                <a:gd name="T47" fmla="*/ 2147483647 h 34"/>
                <a:gd name="T48" fmla="*/ 2147483647 w 36"/>
                <a:gd name="T49" fmla="*/ 2147483647 h 34"/>
                <a:gd name="T50" fmla="*/ 2147483647 w 36"/>
                <a:gd name="T51" fmla="*/ 2147483647 h 34"/>
                <a:gd name="T52" fmla="*/ 2147483647 w 36"/>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
                <a:gd name="T82" fmla="*/ 0 h 34"/>
                <a:gd name="T83" fmla="*/ 36 w 36"/>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 h="34">
                  <a:moveTo>
                    <a:pt x="30" y="14"/>
                  </a:moveTo>
                  <a:lnTo>
                    <a:pt x="33" y="13"/>
                  </a:lnTo>
                  <a:lnTo>
                    <a:pt x="36" y="11"/>
                  </a:lnTo>
                  <a:lnTo>
                    <a:pt x="36" y="9"/>
                  </a:lnTo>
                  <a:lnTo>
                    <a:pt x="36" y="8"/>
                  </a:lnTo>
                  <a:lnTo>
                    <a:pt x="33" y="6"/>
                  </a:lnTo>
                  <a:lnTo>
                    <a:pt x="27" y="1"/>
                  </a:lnTo>
                  <a:lnTo>
                    <a:pt x="24" y="0"/>
                  </a:lnTo>
                  <a:lnTo>
                    <a:pt x="20" y="1"/>
                  </a:lnTo>
                  <a:lnTo>
                    <a:pt x="15" y="6"/>
                  </a:lnTo>
                  <a:lnTo>
                    <a:pt x="9" y="8"/>
                  </a:lnTo>
                  <a:lnTo>
                    <a:pt x="4" y="12"/>
                  </a:lnTo>
                  <a:lnTo>
                    <a:pt x="0" y="17"/>
                  </a:lnTo>
                  <a:lnTo>
                    <a:pt x="0" y="19"/>
                  </a:lnTo>
                  <a:lnTo>
                    <a:pt x="0" y="22"/>
                  </a:lnTo>
                  <a:lnTo>
                    <a:pt x="1" y="28"/>
                  </a:lnTo>
                  <a:lnTo>
                    <a:pt x="4" y="31"/>
                  </a:lnTo>
                  <a:lnTo>
                    <a:pt x="5" y="33"/>
                  </a:lnTo>
                  <a:lnTo>
                    <a:pt x="8" y="34"/>
                  </a:lnTo>
                  <a:lnTo>
                    <a:pt x="11" y="34"/>
                  </a:lnTo>
                  <a:lnTo>
                    <a:pt x="15" y="32"/>
                  </a:lnTo>
                  <a:lnTo>
                    <a:pt x="18" y="30"/>
                  </a:lnTo>
                  <a:lnTo>
                    <a:pt x="24" y="25"/>
                  </a:lnTo>
                  <a:lnTo>
                    <a:pt x="25" y="22"/>
                  </a:lnTo>
                  <a:lnTo>
                    <a:pt x="27" y="20"/>
                  </a:lnTo>
                  <a:lnTo>
                    <a:pt x="28" y="17"/>
                  </a:lnTo>
                  <a:lnTo>
                    <a:pt x="30"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8" name="Freeform 447"/>
            <p:cNvSpPr>
              <a:spLocks/>
            </p:cNvSpPr>
            <p:nvPr/>
          </p:nvSpPr>
          <p:spPr bwMode="auto">
            <a:xfrm>
              <a:off x="5202238" y="4713292"/>
              <a:ext cx="50800" cy="153987"/>
            </a:xfrm>
            <a:custGeom>
              <a:avLst/>
              <a:gdLst>
                <a:gd name="T0" fmla="*/ 2147483647 w 35"/>
                <a:gd name="T1" fmla="*/ 0 h 97"/>
                <a:gd name="T2" fmla="*/ 0 w 35"/>
                <a:gd name="T3" fmla="*/ 2147483647 h 97"/>
                <a:gd name="T4" fmla="*/ 0 w 35"/>
                <a:gd name="T5" fmla="*/ 2147483647 h 97"/>
                <a:gd name="T6" fmla="*/ 0 w 35"/>
                <a:gd name="T7" fmla="*/ 2147483647 h 97"/>
                <a:gd name="T8" fmla="*/ 2147483647 w 35"/>
                <a:gd name="T9" fmla="*/ 2147483647 h 97"/>
                <a:gd name="T10" fmla="*/ 2147483647 w 35"/>
                <a:gd name="T11" fmla="*/ 2147483647 h 97"/>
                <a:gd name="T12" fmla="*/ 2147483647 w 35"/>
                <a:gd name="T13" fmla="*/ 2147483647 h 97"/>
                <a:gd name="T14" fmla="*/ 2147483647 w 35"/>
                <a:gd name="T15" fmla="*/ 2147483647 h 97"/>
                <a:gd name="T16" fmla="*/ 2147483647 w 35"/>
                <a:gd name="T17" fmla="*/ 2147483647 h 97"/>
                <a:gd name="T18" fmla="*/ 2147483647 w 35"/>
                <a:gd name="T19" fmla="*/ 2147483647 h 97"/>
                <a:gd name="T20" fmla="*/ 2147483647 w 35"/>
                <a:gd name="T21" fmla="*/ 2147483647 h 97"/>
                <a:gd name="T22" fmla="*/ 2147483647 w 35"/>
                <a:gd name="T23" fmla="*/ 2147483647 h 97"/>
                <a:gd name="T24" fmla="*/ 2147483647 w 35"/>
                <a:gd name="T25" fmla="*/ 2147483647 h 97"/>
                <a:gd name="T26" fmla="*/ 2147483647 w 35"/>
                <a:gd name="T27" fmla="*/ 2147483647 h 97"/>
                <a:gd name="T28" fmla="*/ 2147483647 w 35"/>
                <a:gd name="T29" fmla="*/ 2147483647 h 97"/>
                <a:gd name="T30" fmla="*/ 2147483647 w 35"/>
                <a:gd name="T31" fmla="*/ 2147483647 h 97"/>
                <a:gd name="T32" fmla="*/ 2147483647 w 35"/>
                <a:gd name="T33" fmla="*/ 2147483647 h 97"/>
                <a:gd name="T34" fmla="*/ 2147483647 w 35"/>
                <a:gd name="T35" fmla="*/ 2147483647 h 97"/>
                <a:gd name="T36" fmla="*/ 2147483647 w 35"/>
                <a:gd name="T37" fmla="*/ 2147483647 h 97"/>
                <a:gd name="T38" fmla="*/ 2147483647 w 35"/>
                <a:gd name="T39" fmla="*/ 2147483647 h 97"/>
                <a:gd name="T40" fmla="*/ 2147483647 w 35"/>
                <a:gd name="T41" fmla="*/ 2147483647 h 97"/>
                <a:gd name="T42" fmla="*/ 2147483647 w 35"/>
                <a:gd name="T43" fmla="*/ 2147483647 h 97"/>
                <a:gd name="T44" fmla="*/ 2147483647 w 35"/>
                <a:gd name="T45" fmla="*/ 2147483647 h 97"/>
                <a:gd name="T46" fmla="*/ 2147483647 w 35"/>
                <a:gd name="T47" fmla="*/ 2147483647 h 97"/>
                <a:gd name="T48" fmla="*/ 2147483647 w 35"/>
                <a:gd name="T49" fmla="*/ 2147483647 h 97"/>
                <a:gd name="T50" fmla="*/ 2147483647 w 35"/>
                <a:gd name="T51" fmla="*/ 2147483647 h 97"/>
                <a:gd name="T52" fmla="*/ 2147483647 w 35"/>
                <a:gd name="T53" fmla="*/ 2147483647 h 97"/>
                <a:gd name="T54" fmla="*/ 2147483647 w 35"/>
                <a:gd name="T55" fmla="*/ 2147483647 h 97"/>
                <a:gd name="T56" fmla="*/ 2147483647 w 35"/>
                <a:gd name="T57" fmla="*/ 2147483647 h 97"/>
                <a:gd name="T58" fmla="*/ 2147483647 w 35"/>
                <a:gd name="T59" fmla="*/ 2147483647 h 97"/>
                <a:gd name="T60" fmla="*/ 2147483647 w 35"/>
                <a:gd name="T61" fmla="*/ 2147483647 h 97"/>
                <a:gd name="T62" fmla="*/ 2147483647 w 35"/>
                <a:gd name="T63" fmla="*/ 2147483647 h 97"/>
                <a:gd name="T64" fmla="*/ 2147483647 w 35"/>
                <a:gd name="T65" fmla="*/ 0 h 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
                <a:gd name="T100" fmla="*/ 0 h 97"/>
                <a:gd name="T101" fmla="*/ 35 w 35"/>
                <a:gd name="T102" fmla="*/ 97 h 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 h="97">
                  <a:moveTo>
                    <a:pt x="3" y="0"/>
                  </a:moveTo>
                  <a:lnTo>
                    <a:pt x="0" y="6"/>
                  </a:lnTo>
                  <a:lnTo>
                    <a:pt x="0" y="7"/>
                  </a:lnTo>
                  <a:lnTo>
                    <a:pt x="0" y="8"/>
                  </a:lnTo>
                  <a:lnTo>
                    <a:pt x="4" y="13"/>
                  </a:lnTo>
                  <a:lnTo>
                    <a:pt x="7" y="17"/>
                  </a:lnTo>
                  <a:lnTo>
                    <a:pt x="9" y="22"/>
                  </a:lnTo>
                  <a:lnTo>
                    <a:pt x="11" y="27"/>
                  </a:lnTo>
                  <a:lnTo>
                    <a:pt x="11" y="33"/>
                  </a:lnTo>
                  <a:lnTo>
                    <a:pt x="9" y="38"/>
                  </a:lnTo>
                  <a:lnTo>
                    <a:pt x="8" y="42"/>
                  </a:lnTo>
                  <a:lnTo>
                    <a:pt x="6" y="47"/>
                  </a:lnTo>
                  <a:lnTo>
                    <a:pt x="4" y="49"/>
                  </a:lnTo>
                  <a:lnTo>
                    <a:pt x="4" y="52"/>
                  </a:lnTo>
                  <a:lnTo>
                    <a:pt x="7" y="57"/>
                  </a:lnTo>
                  <a:lnTo>
                    <a:pt x="11" y="65"/>
                  </a:lnTo>
                  <a:lnTo>
                    <a:pt x="13" y="73"/>
                  </a:lnTo>
                  <a:lnTo>
                    <a:pt x="16" y="83"/>
                  </a:lnTo>
                  <a:lnTo>
                    <a:pt x="18" y="91"/>
                  </a:lnTo>
                  <a:lnTo>
                    <a:pt x="20" y="93"/>
                  </a:lnTo>
                  <a:lnTo>
                    <a:pt x="22" y="96"/>
                  </a:lnTo>
                  <a:lnTo>
                    <a:pt x="25" y="97"/>
                  </a:lnTo>
                  <a:lnTo>
                    <a:pt x="28" y="97"/>
                  </a:lnTo>
                  <a:lnTo>
                    <a:pt x="31" y="94"/>
                  </a:lnTo>
                  <a:lnTo>
                    <a:pt x="33" y="92"/>
                  </a:lnTo>
                  <a:lnTo>
                    <a:pt x="35" y="89"/>
                  </a:lnTo>
                  <a:lnTo>
                    <a:pt x="35" y="86"/>
                  </a:lnTo>
                  <a:lnTo>
                    <a:pt x="33" y="83"/>
                  </a:lnTo>
                  <a:lnTo>
                    <a:pt x="30" y="81"/>
                  </a:lnTo>
                  <a:lnTo>
                    <a:pt x="27" y="79"/>
                  </a:lnTo>
                  <a:lnTo>
                    <a:pt x="26" y="76"/>
                  </a:lnTo>
                  <a:lnTo>
                    <a:pt x="25" y="73"/>
                  </a:lnTo>
                  <a:lnTo>
                    <a:pt x="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49" name="Freeform 448"/>
            <p:cNvSpPr>
              <a:spLocks/>
            </p:cNvSpPr>
            <p:nvPr/>
          </p:nvSpPr>
          <p:spPr bwMode="auto">
            <a:xfrm>
              <a:off x="5226051" y="4775204"/>
              <a:ext cx="12700" cy="53974"/>
            </a:xfrm>
            <a:custGeom>
              <a:avLst/>
              <a:gdLst>
                <a:gd name="T0" fmla="*/ 2147483647 w 9"/>
                <a:gd name="T1" fmla="*/ 2147483647 h 34"/>
                <a:gd name="T2" fmla="*/ 2147483647 w 9"/>
                <a:gd name="T3" fmla="*/ 2147483647 h 34"/>
                <a:gd name="T4" fmla="*/ 2147483647 w 9"/>
                <a:gd name="T5" fmla="*/ 2147483647 h 34"/>
                <a:gd name="T6" fmla="*/ 0 w 9"/>
                <a:gd name="T7" fmla="*/ 2147483647 h 34"/>
                <a:gd name="T8" fmla="*/ 2147483647 w 9"/>
                <a:gd name="T9" fmla="*/ 2147483647 h 34"/>
                <a:gd name="T10" fmla="*/ 2147483647 w 9"/>
                <a:gd name="T11" fmla="*/ 2147483647 h 34"/>
                <a:gd name="T12" fmla="*/ 2147483647 w 9"/>
                <a:gd name="T13" fmla="*/ 2147483647 h 34"/>
                <a:gd name="T14" fmla="*/ 2147483647 w 9"/>
                <a:gd name="T15" fmla="*/ 2147483647 h 34"/>
                <a:gd name="T16" fmla="*/ 2147483647 w 9"/>
                <a:gd name="T17" fmla="*/ 0 h 34"/>
                <a:gd name="T18" fmla="*/ 2147483647 w 9"/>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34"/>
                <a:gd name="T32" fmla="*/ 9 w 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34">
                  <a:moveTo>
                    <a:pt x="9" y="34"/>
                  </a:moveTo>
                  <a:lnTo>
                    <a:pt x="6" y="27"/>
                  </a:lnTo>
                  <a:lnTo>
                    <a:pt x="1" y="20"/>
                  </a:lnTo>
                  <a:lnTo>
                    <a:pt x="0" y="18"/>
                  </a:lnTo>
                  <a:lnTo>
                    <a:pt x="1" y="15"/>
                  </a:lnTo>
                  <a:lnTo>
                    <a:pt x="4" y="10"/>
                  </a:lnTo>
                  <a:lnTo>
                    <a:pt x="5" y="7"/>
                  </a:lnTo>
                  <a:lnTo>
                    <a:pt x="4" y="3"/>
                  </a:lnTo>
                  <a:lnTo>
                    <a:pt x="4" y="0"/>
                  </a:lnTo>
                  <a:lnTo>
                    <a:pt x="9" y="3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0" name="Freeform 449"/>
            <p:cNvSpPr>
              <a:spLocks/>
            </p:cNvSpPr>
            <p:nvPr/>
          </p:nvSpPr>
          <p:spPr bwMode="auto">
            <a:xfrm>
              <a:off x="5038725" y="5322892"/>
              <a:ext cx="52388" cy="53974"/>
            </a:xfrm>
            <a:custGeom>
              <a:avLst/>
              <a:gdLst>
                <a:gd name="T0" fmla="*/ 2147483647 w 35"/>
                <a:gd name="T1" fmla="*/ 2147483647 h 34"/>
                <a:gd name="T2" fmla="*/ 2147483647 w 35"/>
                <a:gd name="T3" fmla="*/ 2147483647 h 34"/>
                <a:gd name="T4" fmla="*/ 2147483647 w 35"/>
                <a:gd name="T5" fmla="*/ 2147483647 h 34"/>
                <a:gd name="T6" fmla="*/ 2147483647 w 35"/>
                <a:gd name="T7" fmla="*/ 2147483647 h 34"/>
                <a:gd name="T8" fmla="*/ 2147483647 w 35"/>
                <a:gd name="T9" fmla="*/ 2147483647 h 34"/>
                <a:gd name="T10" fmla="*/ 2147483647 w 35"/>
                <a:gd name="T11" fmla="*/ 2147483647 h 34"/>
                <a:gd name="T12" fmla="*/ 2147483647 w 35"/>
                <a:gd name="T13" fmla="*/ 2147483647 h 34"/>
                <a:gd name="T14" fmla="*/ 2147483647 w 35"/>
                <a:gd name="T15" fmla="*/ 2147483647 h 34"/>
                <a:gd name="T16" fmla="*/ 2147483647 w 35"/>
                <a:gd name="T17" fmla="*/ 2147483647 h 34"/>
                <a:gd name="T18" fmla="*/ 2147483647 w 35"/>
                <a:gd name="T19" fmla="*/ 2147483647 h 34"/>
                <a:gd name="T20" fmla="*/ 2147483647 w 35"/>
                <a:gd name="T21" fmla="*/ 0 h 34"/>
                <a:gd name="T22" fmla="*/ 2147483647 w 35"/>
                <a:gd name="T23" fmla="*/ 2147483647 h 34"/>
                <a:gd name="T24" fmla="*/ 2147483647 w 35"/>
                <a:gd name="T25" fmla="*/ 2147483647 h 34"/>
                <a:gd name="T26" fmla="*/ 2147483647 w 35"/>
                <a:gd name="T27" fmla="*/ 2147483647 h 34"/>
                <a:gd name="T28" fmla="*/ 2147483647 w 35"/>
                <a:gd name="T29" fmla="*/ 2147483647 h 34"/>
                <a:gd name="T30" fmla="*/ 2147483647 w 35"/>
                <a:gd name="T31" fmla="*/ 2147483647 h 34"/>
                <a:gd name="T32" fmla="*/ 0 w 35"/>
                <a:gd name="T33" fmla="*/ 2147483647 h 34"/>
                <a:gd name="T34" fmla="*/ 0 w 35"/>
                <a:gd name="T35" fmla="*/ 2147483647 h 34"/>
                <a:gd name="T36" fmla="*/ 0 w 35"/>
                <a:gd name="T37" fmla="*/ 2147483647 h 34"/>
                <a:gd name="T38" fmla="*/ 0 w 35"/>
                <a:gd name="T39" fmla="*/ 2147483647 h 34"/>
                <a:gd name="T40" fmla="*/ 2147483647 w 35"/>
                <a:gd name="T41" fmla="*/ 2147483647 h 34"/>
                <a:gd name="T42" fmla="*/ 2147483647 w 35"/>
                <a:gd name="T43" fmla="*/ 2147483647 h 34"/>
                <a:gd name="T44" fmla="*/ 2147483647 w 35"/>
                <a:gd name="T45" fmla="*/ 2147483647 h 34"/>
                <a:gd name="T46" fmla="*/ 2147483647 w 35"/>
                <a:gd name="T47" fmla="*/ 2147483647 h 34"/>
                <a:gd name="T48" fmla="*/ 2147483647 w 35"/>
                <a:gd name="T49" fmla="*/ 2147483647 h 34"/>
                <a:gd name="T50" fmla="*/ 2147483647 w 35"/>
                <a:gd name="T51" fmla="*/ 2147483647 h 34"/>
                <a:gd name="T52" fmla="*/ 2147483647 w 35"/>
                <a:gd name="T53" fmla="*/ 2147483647 h 34"/>
                <a:gd name="T54" fmla="*/ 2147483647 w 35"/>
                <a:gd name="T55" fmla="*/ 2147483647 h 34"/>
                <a:gd name="T56" fmla="*/ 2147483647 w 35"/>
                <a:gd name="T57" fmla="*/ 2147483647 h 34"/>
                <a:gd name="T58" fmla="*/ 2147483647 w 35"/>
                <a:gd name="T59" fmla="*/ 2147483647 h 34"/>
                <a:gd name="T60" fmla="*/ 2147483647 w 35"/>
                <a:gd name="T61" fmla="*/ 2147483647 h 34"/>
                <a:gd name="T62" fmla="*/ 2147483647 w 35"/>
                <a:gd name="T63" fmla="*/ 2147483647 h 34"/>
                <a:gd name="T64" fmla="*/ 2147483647 w 35"/>
                <a:gd name="T65" fmla="*/ 2147483647 h 34"/>
                <a:gd name="T66" fmla="*/ 2147483647 w 35"/>
                <a:gd name="T67" fmla="*/ 2147483647 h 34"/>
                <a:gd name="T68" fmla="*/ 2147483647 w 35"/>
                <a:gd name="T69" fmla="*/ 2147483647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34"/>
                <a:gd name="T107" fmla="*/ 35 w 35"/>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34">
                  <a:moveTo>
                    <a:pt x="30" y="14"/>
                  </a:moveTo>
                  <a:lnTo>
                    <a:pt x="30" y="14"/>
                  </a:lnTo>
                  <a:lnTo>
                    <a:pt x="33" y="13"/>
                  </a:lnTo>
                  <a:lnTo>
                    <a:pt x="35" y="10"/>
                  </a:lnTo>
                  <a:lnTo>
                    <a:pt x="35" y="9"/>
                  </a:lnTo>
                  <a:lnTo>
                    <a:pt x="35" y="8"/>
                  </a:lnTo>
                  <a:lnTo>
                    <a:pt x="33" y="6"/>
                  </a:lnTo>
                  <a:lnTo>
                    <a:pt x="26" y="1"/>
                  </a:lnTo>
                  <a:lnTo>
                    <a:pt x="24" y="0"/>
                  </a:lnTo>
                  <a:lnTo>
                    <a:pt x="20" y="1"/>
                  </a:lnTo>
                  <a:lnTo>
                    <a:pt x="15" y="6"/>
                  </a:lnTo>
                  <a:lnTo>
                    <a:pt x="9" y="8"/>
                  </a:lnTo>
                  <a:lnTo>
                    <a:pt x="4" y="12"/>
                  </a:lnTo>
                  <a:lnTo>
                    <a:pt x="0" y="16"/>
                  </a:lnTo>
                  <a:lnTo>
                    <a:pt x="0" y="19"/>
                  </a:lnTo>
                  <a:lnTo>
                    <a:pt x="0" y="22"/>
                  </a:lnTo>
                  <a:lnTo>
                    <a:pt x="1" y="28"/>
                  </a:lnTo>
                  <a:lnTo>
                    <a:pt x="4" y="31"/>
                  </a:lnTo>
                  <a:lnTo>
                    <a:pt x="5" y="33"/>
                  </a:lnTo>
                  <a:lnTo>
                    <a:pt x="7" y="34"/>
                  </a:lnTo>
                  <a:lnTo>
                    <a:pt x="11" y="34"/>
                  </a:lnTo>
                  <a:lnTo>
                    <a:pt x="15" y="32"/>
                  </a:lnTo>
                  <a:lnTo>
                    <a:pt x="18" y="29"/>
                  </a:lnTo>
                  <a:lnTo>
                    <a:pt x="24" y="25"/>
                  </a:lnTo>
                  <a:lnTo>
                    <a:pt x="25" y="22"/>
                  </a:lnTo>
                  <a:lnTo>
                    <a:pt x="26" y="20"/>
                  </a:lnTo>
                  <a:lnTo>
                    <a:pt x="28" y="16"/>
                  </a:lnTo>
                  <a:lnTo>
                    <a:pt x="30"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1" name="Freeform 450"/>
            <p:cNvSpPr>
              <a:spLocks/>
            </p:cNvSpPr>
            <p:nvPr/>
          </p:nvSpPr>
          <p:spPr bwMode="auto">
            <a:xfrm>
              <a:off x="5222875" y="4773614"/>
              <a:ext cx="12700" cy="53974"/>
            </a:xfrm>
            <a:custGeom>
              <a:avLst/>
              <a:gdLst>
                <a:gd name="T0" fmla="*/ 2147483647 w 9"/>
                <a:gd name="T1" fmla="*/ 2147483647 h 34"/>
                <a:gd name="T2" fmla="*/ 2147483647 w 9"/>
                <a:gd name="T3" fmla="*/ 2147483647 h 34"/>
                <a:gd name="T4" fmla="*/ 2147483647 w 9"/>
                <a:gd name="T5" fmla="*/ 2147483647 h 34"/>
                <a:gd name="T6" fmla="*/ 2147483647 w 9"/>
                <a:gd name="T7" fmla="*/ 2147483647 h 34"/>
                <a:gd name="T8" fmla="*/ 2147483647 w 9"/>
                <a:gd name="T9" fmla="*/ 2147483647 h 34"/>
                <a:gd name="T10" fmla="*/ 0 w 9"/>
                <a:gd name="T11" fmla="*/ 2147483647 h 34"/>
                <a:gd name="T12" fmla="*/ 2147483647 w 9"/>
                <a:gd name="T13" fmla="*/ 2147483647 h 34"/>
                <a:gd name="T14" fmla="*/ 2147483647 w 9"/>
                <a:gd name="T15" fmla="*/ 2147483647 h 34"/>
                <a:gd name="T16" fmla="*/ 2147483647 w 9"/>
                <a:gd name="T17" fmla="*/ 2147483647 h 34"/>
                <a:gd name="T18" fmla="*/ 2147483647 w 9"/>
                <a:gd name="T19" fmla="*/ 2147483647 h 34"/>
                <a:gd name="T20" fmla="*/ 2147483647 w 9"/>
                <a:gd name="T21" fmla="*/ 2147483647 h 34"/>
                <a:gd name="T22" fmla="*/ 2147483647 w 9"/>
                <a:gd name="T23" fmla="*/ 2147483647 h 34"/>
                <a:gd name="T24" fmla="*/ 2147483647 w 9"/>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4"/>
                <a:gd name="T41" fmla="*/ 9 w 9"/>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4">
                  <a:moveTo>
                    <a:pt x="9" y="34"/>
                  </a:moveTo>
                  <a:lnTo>
                    <a:pt x="9" y="34"/>
                  </a:lnTo>
                  <a:lnTo>
                    <a:pt x="7" y="27"/>
                  </a:lnTo>
                  <a:lnTo>
                    <a:pt x="2" y="20"/>
                  </a:lnTo>
                  <a:lnTo>
                    <a:pt x="0" y="17"/>
                  </a:lnTo>
                  <a:lnTo>
                    <a:pt x="2" y="15"/>
                  </a:lnTo>
                  <a:lnTo>
                    <a:pt x="4" y="10"/>
                  </a:lnTo>
                  <a:lnTo>
                    <a:pt x="6" y="7"/>
                  </a:lnTo>
                  <a:lnTo>
                    <a:pt x="4" y="3"/>
                  </a:lnTo>
                  <a:lnTo>
                    <a:pt x="4"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2" name="Freeform 451"/>
            <p:cNvSpPr>
              <a:spLocks/>
            </p:cNvSpPr>
            <p:nvPr/>
          </p:nvSpPr>
          <p:spPr bwMode="auto">
            <a:xfrm>
              <a:off x="5962651" y="5018089"/>
              <a:ext cx="28574" cy="15875"/>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0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0 h 10"/>
                <a:gd name="T18" fmla="*/ 2147483647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0"/>
                <a:gd name="T50" fmla="*/ 20 w 20"/>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0">
                  <a:moveTo>
                    <a:pt x="11" y="9"/>
                  </a:moveTo>
                  <a:lnTo>
                    <a:pt x="7" y="10"/>
                  </a:lnTo>
                  <a:lnTo>
                    <a:pt x="3" y="9"/>
                  </a:lnTo>
                  <a:lnTo>
                    <a:pt x="1" y="8"/>
                  </a:lnTo>
                  <a:lnTo>
                    <a:pt x="0" y="7"/>
                  </a:lnTo>
                  <a:lnTo>
                    <a:pt x="1" y="4"/>
                  </a:lnTo>
                  <a:lnTo>
                    <a:pt x="2" y="3"/>
                  </a:lnTo>
                  <a:lnTo>
                    <a:pt x="3" y="1"/>
                  </a:lnTo>
                  <a:lnTo>
                    <a:pt x="10" y="0"/>
                  </a:lnTo>
                  <a:lnTo>
                    <a:pt x="15" y="1"/>
                  </a:lnTo>
                  <a:lnTo>
                    <a:pt x="17" y="2"/>
                  </a:lnTo>
                  <a:lnTo>
                    <a:pt x="19" y="4"/>
                  </a:lnTo>
                  <a:lnTo>
                    <a:pt x="20" y="6"/>
                  </a:lnTo>
                  <a:lnTo>
                    <a:pt x="20" y="7"/>
                  </a:lnTo>
                  <a:lnTo>
                    <a:pt x="17" y="8"/>
                  </a:lnTo>
                  <a:lnTo>
                    <a:pt x="11"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3" name="Freeform 452"/>
            <p:cNvSpPr>
              <a:spLocks/>
            </p:cNvSpPr>
            <p:nvPr/>
          </p:nvSpPr>
          <p:spPr bwMode="auto">
            <a:xfrm>
              <a:off x="3890964" y="3359152"/>
              <a:ext cx="25400" cy="15875"/>
            </a:xfrm>
            <a:custGeom>
              <a:avLst/>
              <a:gdLst>
                <a:gd name="T0" fmla="*/ 2147483647 w 18"/>
                <a:gd name="T1" fmla="*/ 2147483647 h 10"/>
                <a:gd name="T2" fmla="*/ 2147483647 w 18"/>
                <a:gd name="T3" fmla="*/ 2147483647 h 10"/>
                <a:gd name="T4" fmla="*/ 2147483647 w 18"/>
                <a:gd name="T5" fmla="*/ 2147483647 h 10"/>
                <a:gd name="T6" fmla="*/ 2147483647 w 18"/>
                <a:gd name="T7" fmla="*/ 2147483647 h 10"/>
                <a:gd name="T8" fmla="*/ 2147483647 w 18"/>
                <a:gd name="T9" fmla="*/ 2147483647 h 10"/>
                <a:gd name="T10" fmla="*/ 2147483647 w 18"/>
                <a:gd name="T11" fmla="*/ 2147483647 h 10"/>
                <a:gd name="T12" fmla="*/ 2147483647 w 18"/>
                <a:gd name="T13" fmla="*/ 2147483647 h 10"/>
                <a:gd name="T14" fmla="*/ 2147483647 w 18"/>
                <a:gd name="T15" fmla="*/ 2147483647 h 10"/>
                <a:gd name="T16" fmla="*/ 2147483647 w 18"/>
                <a:gd name="T17" fmla="*/ 2147483647 h 10"/>
                <a:gd name="T18" fmla="*/ 0 w 18"/>
                <a:gd name="T19" fmla="*/ 2147483647 h 10"/>
                <a:gd name="T20" fmla="*/ 0 w 18"/>
                <a:gd name="T21" fmla="*/ 2147483647 h 10"/>
                <a:gd name="T22" fmla="*/ 0 w 18"/>
                <a:gd name="T23" fmla="*/ 2147483647 h 10"/>
                <a:gd name="T24" fmla="*/ 2147483647 w 18"/>
                <a:gd name="T25" fmla="*/ 0 h 10"/>
                <a:gd name="T26" fmla="*/ 2147483647 w 18"/>
                <a:gd name="T27" fmla="*/ 0 h 10"/>
                <a:gd name="T28" fmla="*/ 2147483647 w 18"/>
                <a:gd name="T29" fmla="*/ 2147483647 h 10"/>
                <a:gd name="T30" fmla="*/ 2147483647 w 18"/>
                <a:gd name="T31" fmla="*/ 2147483647 h 10"/>
                <a:gd name="T32" fmla="*/ 2147483647 w 18"/>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0"/>
                <a:gd name="T53" fmla="*/ 18 w 18"/>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0">
                  <a:moveTo>
                    <a:pt x="12" y="4"/>
                  </a:moveTo>
                  <a:lnTo>
                    <a:pt x="17" y="4"/>
                  </a:lnTo>
                  <a:lnTo>
                    <a:pt x="18" y="4"/>
                  </a:lnTo>
                  <a:lnTo>
                    <a:pt x="18" y="6"/>
                  </a:lnTo>
                  <a:lnTo>
                    <a:pt x="17" y="7"/>
                  </a:lnTo>
                  <a:lnTo>
                    <a:pt x="15" y="10"/>
                  </a:lnTo>
                  <a:lnTo>
                    <a:pt x="10" y="10"/>
                  </a:lnTo>
                  <a:lnTo>
                    <a:pt x="5" y="10"/>
                  </a:lnTo>
                  <a:lnTo>
                    <a:pt x="2" y="9"/>
                  </a:lnTo>
                  <a:lnTo>
                    <a:pt x="0" y="7"/>
                  </a:lnTo>
                  <a:lnTo>
                    <a:pt x="0" y="5"/>
                  </a:lnTo>
                  <a:lnTo>
                    <a:pt x="0" y="1"/>
                  </a:lnTo>
                  <a:lnTo>
                    <a:pt x="2" y="0"/>
                  </a:lnTo>
                  <a:lnTo>
                    <a:pt x="3" y="0"/>
                  </a:lnTo>
                  <a:lnTo>
                    <a:pt x="5" y="1"/>
                  </a:lnTo>
                  <a:lnTo>
                    <a:pt x="9" y="3"/>
                  </a:lnTo>
                  <a:lnTo>
                    <a:pt x="12"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4" name="Freeform 453"/>
            <p:cNvSpPr>
              <a:spLocks/>
            </p:cNvSpPr>
            <p:nvPr/>
          </p:nvSpPr>
          <p:spPr bwMode="auto">
            <a:xfrm>
              <a:off x="5959475" y="5016504"/>
              <a:ext cx="31750" cy="15875"/>
            </a:xfrm>
            <a:custGeom>
              <a:avLst/>
              <a:gdLst>
                <a:gd name="T0" fmla="*/ 2147483647 w 21"/>
                <a:gd name="T1" fmla="*/ 2147483647 h 10"/>
                <a:gd name="T2" fmla="*/ 2147483647 w 21"/>
                <a:gd name="T3" fmla="*/ 2147483647 h 10"/>
                <a:gd name="T4" fmla="*/ 2147483647 w 21"/>
                <a:gd name="T5" fmla="*/ 2147483647 h 10"/>
                <a:gd name="T6" fmla="*/ 2147483647 w 21"/>
                <a:gd name="T7" fmla="*/ 2147483647 h 10"/>
                <a:gd name="T8" fmla="*/ 2147483647 w 21"/>
                <a:gd name="T9" fmla="*/ 2147483647 h 10"/>
                <a:gd name="T10" fmla="*/ 0 w 21"/>
                <a:gd name="T11" fmla="*/ 2147483647 h 10"/>
                <a:gd name="T12" fmla="*/ 2147483647 w 21"/>
                <a:gd name="T13" fmla="*/ 2147483647 h 10"/>
                <a:gd name="T14" fmla="*/ 2147483647 w 21"/>
                <a:gd name="T15" fmla="*/ 2147483647 h 10"/>
                <a:gd name="T16" fmla="*/ 2147483647 w 21"/>
                <a:gd name="T17" fmla="*/ 2147483647 h 10"/>
                <a:gd name="T18" fmla="*/ 2147483647 w 21"/>
                <a:gd name="T19" fmla="*/ 2147483647 h 10"/>
                <a:gd name="T20" fmla="*/ 2147483647 w 21"/>
                <a:gd name="T21" fmla="*/ 0 h 10"/>
                <a:gd name="T22" fmla="*/ 2147483647 w 21"/>
                <a:gd name="T23" fmla="*/ 2147483647 h 10"/>
                <a:gd name="T24" fmla="*/ 2147483647 w 21"/>
                <a:gd name="T25" fmla="*/ 2147483647 h 10"/>
                <a:gd name="T26" fmla="*/ 2147483647 w 21"/>
                <a:gd name="T27" fmla="*/ 2147483647 h 10"/>
                <a:gd name="T28" fmla="*/ 2147483647 w 21"/>
                <a:gd name="T29" fmla="*/ 2147483647 h 10"/>
                <a:gd name="T30" fmla="*/ 2147483647 w 21"/>
                <a:gd name="T31" fmla="*/ 2147483647 h 10"/>
                <a:gd name="T32" fmla="*/ 2147483647 w 21"/>
                <a:gd name="T33" fmla="*/ 2147483647 h 10"/>
                <a:gd name="T34" fmla="*/ 2147483647 w 21"/>
                <a:gd name="T35" fmla="*/ 2147483647 h 10"/>
                <a:gd name="T36" fmla="*/ 2147483647 w 21"/>
                <a:gd name="T37" fmla="*/ 2147483647 h 10"/>
                <a:gd name="T38" fmla="*/ 2147483647 w 21"/>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0"/>
                <a:gd name="T62" fmla="*/ 21 w 21"/>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0">
                  <a:moveTo>
                    <a:pt x="12" y="9"/>
                  </a:moveTo>
                  <a:lnTo>
                    <a:pt x="12" y="9"/>
                  </a:lnTo>
                  <a:lnTo>
                    <a:pt x="8" y="10"/>
                  </a:lnTo>
                  <a:lnTo>
                    <a:pt x="4" y="9"/>
                  </a:lnTo>
                  <a:lnTo>
                    <a:pt x="2" y="8"/>
                  </a:lnTo>
                  <a:lnTo>
                    <a:pt x="0" y="7"/>
                  </a:lnTo>
                  <a:lnTo>
                    <a:pt x="2" y="4"/>
                  </a:lnTo>
                  <a:lnTo>
                    <a:pt x="3" y="3"/>
                  </a:lnTo>
                  <a:lnTo>
                    <a:pt x="4" y="1"/>
                  </a:lnTo>
                  <a:lnTo>
                    <a:pt x="10" y="0"/>
                  </a:lnTo>
                  <a:lnTo>
                    <a:pt x="16" y="1"/>
                  </a:lnTo>
                  <a:lnTo>
                    <a:pt x="18" y="2"/>
                  </a:lnTo>
                  <a:lnTo>
                    <a:pt x="19" y="4"/>
                  </a:lnTo>
                  <a:lnTo>
                    <a:pt x="21" y="5"/>
                  </a:lnTo>
                  <a:lnTo>
                    <a:pt x="21" y="7"/>
                  </a:lnTo>
                  <a:lnTo>
                    <a:pt x="18" y="8"/>
                  </a:lnTo>
                  <a:lnTo>
                    <a:pt x="12"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5" name="Freeform 454"/>
            <p:cNvSpPr>
              <a:spLocks/>
            </p:cNvSpPr>
            <p:nvPr/>
          </p:nvSpPr>
          <p:spPr bwMode="auto">
            <a:xfrm>
              <a:off x="3889376" y="3357567"/>
              <a:ext cx="25400" cy="15875"/>
            </a:xfrm>
            <a:custGeom>
              <a:avLst/>
              <a:gdLst>
                <a:gd name="T0" fmla="*/ 2147483647 w 18"/>
                <a:gd name="T1" fmla="*/ 2147483647 h 10"/>
                <a:gd name="T2" fmla="*/ 2147483647 w 18"/>
                <a:gd name="T3" fmla="*/ 2147483647 h 10"/>
                <a:gd name="T4" fmla="*/ 2147483647 w 18"/>
                <a:gd name="T5" fmla="*/ 2147483647 h 10"/>
                <a:gd name="T6" fmla="*/ 2147483647 w 18"/>
                <a:gd name="T7" fmla="*/ 2147483647 h 10"/>
                <a:gd name="T8" fmla="*/ 2147483647 w 18"/>
                <a:gd name="T9" fmla="*/ 2147483647 h 10"/>
                <a:gd name="T10" fmla="*/ 2147483647 w 18"/>
                <a:gd name="T11" fmla="*/ 2147483647 h 10"/>
                <a:gd name="T12" fmla="*/ 2147483647 w 18"/>
                <a:gd name="T13" fmla="*/ 2147483647 h 10"/>
                <a:gd name="T14" fmla="*/ 2147483647 w 18"/>
                <a:gd name="T15" fmla="*/ 2147483647 h 10"/>
                <a:gd name="T16" fmla="*/ 2147483647 w 18"/>
                <a:gd name="T17" fmla="*/ 2147483647 h 10"/>
                <a:gd name="T18" fmla="*/ 2147483647 w 18"/>
                <a:gd name="T19" fmla="*/ 2147483647 h 10"/>
                <a:gd name="T20" fmla="*/ 2147483647 w 18"/>
                <a:gd name="T21" fmla="*/ 2147483647 h 10"/>
                <a:gd name="T22" fmla="*/ 2147483647 w 18"/>
                <a:gd name="T23" fmla="*/ 2147483647 h 10"/>
                <a:gd name="T24" fmla="*/ 0 w 18"/>
                <a:gd name="T25" fmla="*/ 2147483647 h 10"/>
                <a:gd name="T26" fmla="*/ 0 w 18"/>
                <a:gd name="T27" fmla="*/ 2147483647 h 10"/>
                <a:gd name="T28" fmla="*/ 0 w 18"/>
                <a:gd name="T29" fmla="*/ 2147483647 h 10"/>
                <a:gd name="T30" fmla="*/ 0 w 18"/>
                <a:gd name="T31" fmla="*/ 2147483647 h 10"/>
                <a:gd name="T32" fmla="*/ 2147483647 w 18"/>
                <a:gd name="T33" fmla="*/ 0 h 10"/>
                <a:gd name="T34" fmla="*/ 2147483647 w 18"/>
                <a:gd name="T35" fmla="*/ 0 h 10"/>
                <a:gd name="T36" fmla="*/ 2147483647 w 18"/>
                <a:gd name="T37" fmla="*/ 2147483647 h 10"/>
                <a:gd name="T38" fmla="*/ 2147483647 w 18"/>
                <a:gd name="T39" fmla="*/ 2147483647 h 10"/>
                <a:gd name="T40" fmla="*/ 2147483647 w 18"/>
                <a:gd name="T41" fmla="*/ 2147483647 h 10"/>
                <a:gd name="T42" fmla="*/ 2147483647 w 18"/>
                <a:gd name="T43" fmla="*/ 2147483647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10"/>
                <a:gd name="T68" fmla="*/ 18 w 18"/>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10">
                  <a:moveTo>
                    <a:pt x="11" y="4"/>
                  </a:moveTo>
                  <a:lnTo>
                    <a:pt x="11" y="4"/>
                  </a:lnTo>
                  <a:lnTo>
                    <a:pt x="16" y="4"/>
                  </a:lnTo>
                  <a:lnTo>
                    <a:pt x="18" y="4"/>
                  </a:lnTo>
                  <a:lnTo>
                    <a:pt x="18" y="6"/>
                  </a:lnTo>
                  <a:lnTo>
                    <a:pt x="16" y="7"/>
                  </a:lnTo>
                  <a:lnTo>
                    <a:pt x="15" y="10"/>
                  </a:lnTo>
                  <a:lnTo>
                    <a:pt x="10" y="10"/>
                  </a:lnTo>
                  <a:lnTo>
                    <a:pt x="5" y="10"/>
                  </a:lnTo>
                  <a:lnTo>
                    <a:pt x="1" y="8"/>
                  </a:lnTo>
                  <a:lnTo>
                    <a:pt x="0" y="7"/>
                  </a:lnTo>
                  <a:lnTo>
                    <a:pt x="0" y="5"/>
                  </a:lnTo>
                  <a:lnTo>
                    <a:pt x="0" y="1"/>
                  </a:lnTo>
                  <a:lnTo>
                    <a:pt x="1" y="0"/>
                  </a:lnTo>
                  <a:lnTo>
                    <a:pt x="3" y="0"/>
                  </a:lnTo>
                  <a:lnTo>
                    <a:pt x="5" y="1"/>
                  </a:lnTo>
                  <a:lnTo>
                    <a:pt x="9" y="2"/>
                  </a:lnTo>
                  <a:lnTo>
                    <a:pt x="1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6" name="Freeform 455"/>
            <p:cNvSpPr>
              <a:spLocks/>
            </p:cNvSpPr>
            <p:nvPr/>
          </p:nvSpPr>
          <p:spPr bwMode="auto">
            <a:xfrm>
              <a:off x="3990976" y="3482977"/>
              <a:ext cx="15875" cy="14288"/>
            </a:xfrm>
            <a:custGeom>
              <a:avLst/>
              <a:gdLst>
                <a:gd name="T0" fmla="*/ 2147483647 w 10"/>
                <a:gd name="T1" fmla="*/ 2147483647 h 9"/>
                <a:gd name="T2" fmla="*/ 2147483647 w 10"/>
                <a:gd name="T3" fmla="*/ 0 h 9"/>
                <a:gd name="T4" fmla="*/ 2147483647 w 10"/>
                <a:gd name="T5" fmla="*/ 0 h 9"/>
                <a:gd name="T6" fmla="*/ 2147483647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0 w 10"/>
                <a:gd name="T17" fmla="*/ 2147483647 h 9"/>
                <a:gd name="T18" fmla="*/ 0 w 10"/>
                <a:gd name="T19" fmla="*/ 2147483647 h 9"/>
                <a:gd name="T20" fmla="*/ 2147483647 w 10"/>
                <a:gd name="T21" fmla="*/ 2147483647 h 9"/>
                <a:gd name="T22" fmla="*/ 2147483647 w 10"/>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9"/>
                <a:gd name="T38" fmla="*/ 10 w 10"/>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9">
                  <a:moveTo>
                    <a:pt x="5" y="2"/>
                  </a:moveTo>
                  <a:lnTo>
                    <a:pt x="6" y="0"/>
                  </a:lnTo>
                  <a:lnTo>
                    <a:pt x="7" y="0"/>
                  </a:lnTo>
                  <a:lnTo>
                    <a:pt x="9" y="2"/>
                  </a:lnTo>
                  <a:lnTo>
                    <a:pt x="10" y="3"/>
                  </a:lnTo>
                  <a:lnTo>
                    <a:pt x="9" y="4"/>
                  </a:lnTo>
                  <a:lnTo>
                    <a:pt x="5" y="8"/>
                  </a:lnTo>
                  <a:lnTo>
                    <a:pt x="2" y="9"/>
                  </a:lnTo>
                  <a:lnTo>
                    <a:pt x="0" y="8"/>
                  </a:lnTo>
                  <a:lnTo>
                    <a:pt x="0" y="6"/>
                  </a:lnTo>
                  <a:lnTo>
                    <a:pt x="1" y="4"/>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7" name="Freeform 456"/>
            <p:cNvSpPr>
              <a:spLocks/>
            </p:cNvSpPr>
            <p:nvPr/>
          </p:nvSpPr>
          <p:spPr bwMode="auto">
            <a:xfrm>
              <a:off x="3963989" y="3506789"/>
              <a:ext cx="20637" cy="23812"/>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2147483647 w 14"/>
                <a:gd name="T19" fmla="*/ 0 h 15"/>
                <a:gd name="T20" fmla="*/ 2147483647 w 14"/>
                <a:gd name="T21" fmla="*/ 0 h 15"/>
                <a:gd name="T22" fmla="*/ 2147483647 w 14"/>
                <a:gd name="T23" fmla="*/ 2147483647 h 15"/>
                <a:gd name="T24" fmla="*/ 2147483647 w 14"/>
                <a:gd name="T25" fmla="*/ 2147483647 h 15"/>
                <a:gd name="T26" fmla="*/ 2147483647 w 14"/>
                <a:gd name="T27" fmla="*/ 2147483647 h 15"/>
                <a:gd name="T28" fmla="*/ 2147483647 w 14"/>
                <a:gd name="T29" fmla="*/ 2147483647 h 15"/>
                <a:gd name="T30" fmla="*/ 2147483647 w 14"/>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5"/>
                <a:gd name="T50" fmla="*/ 14 w 14"/>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5">
                  <a:moveTo>
                    <a:pt x="10" y="10"/>
                  </a:moveTo>
                  <a:lnTo>
                    <a:pt x="7" y="14"/>
                  </a:lnTo>
                  <a:lnTo>
                    <a:pt x="5" y="15"/>
                  </a:lnTo>
                  <a:lnTo>
                    <a:pt x="2" y="15"/>
                  </a:lnTo>
                  <a:lnTo>
                    <a:pt x="0" y="13"/>
                  </a:lnTo>
                  <a:lnTo>
                    <a:pt x="0" y="12"/>
                  </a:lnTo>
                  <a:lnTo>
                    <a:pt x="0" y="10"/>
                  </a:lnTo>
                  <a:lnTo>
                    <a:pt x="4" y="7"/>
                  </a:lnTo>
                  <a:lnTo>
                    <a:pt x="6" y="2"/>
                  </a:lnTo>
                  <a:lnTo>
                    <a:pt x="9" y="0"/>
                  </a:lnTo>
                  <a:lnTo>
                    <a:pt x="11" y="0"/>
                  </a:lnTo>
                  <a:lnTo>
                    <a:pt x="14" y="1"/>
                  </a:lnTo>
                  <a:lnTo>
                    <a:pt x="14" y="2"/>
                  </a:lnTo>
                  <a:lnTo>
                    <a:pt x="12" y="4"/>
                  </a:lnTo>
                  <a:lnTo>
                    <a:pt x="10" y="8"/>
                  </a:lnTo>
                  <a:lnTo>
                    <a:pt x="10"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8" name="Freeform 457"/>
            <p:cNvSpPr>
              <a:spLocks/>
            </p:cNvSpPr>
            <p:nvPr/>
          </p:nvSpPr>
          <p:spPr bwMode="auto">
            <a:xfrm>
              <a:off x="3990975" y="3481389"/>
              <a:ext cx="14288" cy="14288"/>
            </a:xfrm>
            <a:custGeom>
              <a:avLst/>
              <a:gdLst>
                <a:gd name="T0" fmla="*/ 2147483647 w 10"/>
                <a:gd name="T1" fmla="*/ 2147483647 h 9"/>
                <a:gd name="T2" fmla="*/ 2147483647 w 10"/>
                <a:gd name="T3" fmla="*/ 2147483647 h 9"/>
                <a:gd name="T4" fmla="*/ 2147483647 w 10"/>
                <a:gd name="T5" fmla="*/ 0 h 9"/>
                <a:gd name="T6" fmla="*/ 2147483647 w 10"/>
                <a:gd name="T7" fmla="*/ 0 h 9"/>
                <a:gd name="T8" fmla="*/ 2147483647 w 10"/>
                <a:gd name="T9" fmla="*/ 0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2147483647 w 10"/>
                <a:gd name="T19" fmla="*/ 2147483647 h 9"/>
                <a:gd name="T20" fmla="*/ 2147483647 w 10"/>
                <a:gd name="T21" fmla="*/ 2147483647 h 9"/>
                <a:gd name="T22" fmla="*/ 0 w 10"/>
                <a:gd name="T23" fmla="*/ 2147483647 h 9"/>
                <a:gd name="T24" fmla="*/ 0 w 10"/>
                <a:gd name="T25" fmla="*/ 2147483647 h 9"/>
                <a:gd name="T26" fmla="*/ 0 w 10"/>
                <a:gd name="T27" fmla="*/ 2147483647 h 9"/>
                <a:gd name="T28" fmla="*/ 2147483647 w 10"/>
                <a:gd name="T29" fmla="*/ 2147483647 h 9"/>
                <a:gd name="T30" fmla="*/ 2147483647 w 10"/>
                <a:gd name="T31" fmla="*/ 2147483647 h 9"/>
                <a:gd name="T32" fmla="*/ 2147483647 w 10"/>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9"/>
                <a:gd name="T53" fmla="*/ 10 w 10"/>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9">
                  <a:moveTo>
                    <a:pt x="5" y="1"/>
                  </a:moveTo>
                  <a:lnTo>
                    <a:pt x="5" y="1"/>
                  </a:lnTo>
                  <a:lnTo>
                    <a:pt x="6" y="0"/>
                  </a:lnTo>
                  <a:lnTo>
                    <a:pt x="7" y="0"/>
                  </a:lnTo>
                  <a:lnTo>
                    <a:pt x="8" y="1"/>
                  </a:lnTo>
                  <a:lnTo>
                    <a:pt x="10" y="3"/>
                  </a:lnTo>
                  <a:lnTo>
                    <a:pt x="8" y="4"/>
                  </a:lnTo>
                  <a:lnTo>
                    <a:pt x="5" y="7"/>
                  </a:lnTo>
                  <a:lnTo>
                    <a:pt x="2" y="9"/>
                  </a:lnTo>
                  <a:lnTo>
                    <a:pt x="0" y="7"/>
                  </a:lnTo>
                  <a:lnTo>
                    <a:pt x="0" y="6"/>
                  </a:lnTo>
                  <a:lnTo>
                    <a:pt x="1" y="4"/>
                  </a:lnTo>
                  <a:lnTo>
                    <a:pt x="5"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59" name="Freeform 458"/>
            <p:cNvSpPr>
              <a:spLocks/>
            </p:cNvSpPr>
            <p:nvPr/>
          </p:nvSpPr>
          <p:spPr bwMode="auto">
            <a:xfrm>
              <a:off x="3960814" y="3505204"/>
              <a:ext cx="20637" cy="23813"/>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0 w 14"/>
                <a:gd name="T11" fmla="*/ 2147483647 h 15"/>
                <a:gd name="T12" fmla="*/ 0 w 14"/>
                <a:gd name="T13" fmla="*/ 2147483647 h 15"/>
                <a:gd name="T14" fmla="*/ 0 w 14"/>
                <a:gd name="T15" fmla="*/ 2147483647 h 15"/>
                <a:gd name="T16" fmla="*/ 0 w 14"/>
                <a:gd name="T17" fmla="*/ 2147483647 h 15"/>
                <a:gd name="T18" fmla="*/ 0 w 14"/>
                <a:gd name="T19" fmla="*/ 2147483647 h 15"/>
                <a:gd name="T20" fmla="*/ 2147483647 w 14"/>
                <a:gd name="T21" fmla="*/ 2147483647 h 15"/>
                <a:gd name="T22" fmla="*/ 2147483647 w 14"/>
                <a:gd name="T23" fmla="*/ 2147483647 h 15"/>
                <a:gd name="T24" fmla="*/ 2147483647 w 14"/>
                <a:gd name="T25" fmla="*/ 0 h 15"/>
                <a:gd name="T26" fmla="*/ 2147483647 w 14"/>
                <a:gd name="T27" fmla="*/ 0 h 15"/>
                <a:gd name="T28" fmla="*/ 2147483647 w 14"/>
                <a:gd name="T29" fmla="*/ 2147483647 h 15"/>
                <a:gd name="T30" fmla="*/ 2147483647 w 14"/>
                <a:gd name="T31" fmla="*/ 2147483647 h 15"/>
                <a:gd name="T32" fmla="*/ 2147483647 w 14"/>
                <a:gd name="T33" fmla="*/ 2147483647 h 15"/>
                <a:gd name="T34" fmla="*/ 2147483647 w 14"/>
                <a:gd name="T35" fmla="*/ 2147483647 h 15"/>
                <a:gd name="T36" fmla="*/ 2147483647 w 14"/>
                <a:gd name="T37" fmla="*/ 2147483647 h 15"/>
                <a:gd name="T38" fmla="*/ 2147483647 w 14"/>
                <a:gd name="T39" fmla="*/ 2147483647 h 15"/>
                <a:gd name="T40" fmla="*/ 2147483647 w 14"/>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
                <a:gd name="T64" fmla="*/ 0 h 15"/>
                <a:gd name="T65" fmla="*/ 14 w 14"/>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 h="15">
                  <a:moveTo>
                    <a:pt x="11" y="10"/>
                  </a:moveTo>
                  <a:lnTo>
                    <a:pt x="11" y="10"/>
                  </a:lnTo>
                  <a:lnTo>
                    <a:pt x="8" y="14"/>
                  </a:lnTo>
                  <a:lnTo>
                    <a:pt x="6" y="15"/>
                  </a:lnTo>
                  <a:lnTo>
                    <a:pt x="3" y="15"/>
                  </a:lnTo>
                  <a:lnTo>
                    <a:pt x="0" y="13"/>
                  </a:lnTo>
                  <a:lnTo>
                    <a:pt x="0" y="11"/>
                  </a:lnTo>
                  <a:lnTo>
                    <a:pt x="0" y="10"/>
                  </a:lnTo>
                  <a:lnTo>
                    <a:pt x="4" y="7"/>
                  </a:lnTo>
                  <a:lnTo>
                    <a:pt x="7" y="2"/>
                  </a:lnTo>
                  <a:lnTo>
                    <a:pt x="9" y="0"/>
                  </a:lnTo>
                  <a:lnTo>
                    <a:pt x="12" y="0"/>
                  </a:lnTo>
                  <a:lnTo>
                    <a:pt x="14" y="1"/>
                  </a:lnTo>
                  <a:lnTo>
                    <a:pt x="14" y="2"/>
                  </a:lnTo>
                  <a:lnTo>
                    <a:pt x="13" y="4"/>
                  </a:lnTo>
                  <a:lnTo>
                    <a:pt x="11" y="8"/>
                  </a:lnTo>
                  <a:lnTo>
                    <a:pt x="11"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0" name="Freeform 459"/>
            <p:cNvSpPr>
              <a:spLocks/>
            </p:cNvSpPr>
            <p:nvPr/>
          </p:nvSpPr>
          <p:spPr bwMode="auto">
            <a:xfrm>
              <a:off x="3875092" y="3498851"/>
              <a:ext cx="7937"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0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5"/>
                  </a:moveTo>
                  <a:lnTo>
                    <a:pt x="6" y="6"/>
                  </a:lnTo>
                  <a:lnTo>
                    <a:pt x="5" y="7"/>
                  </a:lnTo>
                  <a:lnTo>
                    <a:pt x="2" y="7"/>
                  </a:lnTo>
                  <a:lnTo>
                    <a:pt x="1" y="5"/>
                  </a:lnTo>
                  <a:lnTo>
                    <a:pt x="0" y="2"/>
                  </a:lnTo>
                  <a:lnTo>
                    <a:pt x="1" y="0"/>
                  </a:lnTo>
                  <a:lnTo>
                    <a:pt x="4" y="0"/>
                  </a:lnTo>
                  <a:lnTo>
                    <a:pt x="5" y="1"/>
                  </a:lnTo>
                  <a:lnTo>
                    <a:pt x="6" y="2"/>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1" name="Freeform 460"/>
            <p:cNvSpPr>
              <a:spLocks/>
            </p:cNvSpPr>
            <p:nvPr/>
          </p:nvSpPr>
          <p:spPr bwMode="auto">
            <a:xfrm>
              <a:off x="3932238" y="3521079"/>
              <a:ext cx="19050" cy="20638"/>
            </a:xfrm>
            <a:custGeom>
              <a:avLst/>
              <a:gdLst>
                <a:gd name="T0" fmla="*/ 2147483647 w 13"/>
                <a:gd name="T1" fmla="*/ 2147483647 h 13"/>
                <a:gd name="T2" fmla="*/ 2147483647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2147483647 h 13"/>
                <a:gd name="T12" fmla="*/ 0 w 13"/>
                <a:gd name="T13" fmla="*/ 2147483647 h 13"/>
                <a:gd name="T14" fmla="*/ 0 w 13"/>
                <a:gd name="T15" fmla="*/ 2147483647 h 13"/>
                <a:gd name="T16" fmla="*/ 2147483647 w 13"/>
                <a:gd name="T17" fmla="*/ 2147483647 h 13"/>
                <a:gd name="T18" fmla="*/ 2147483647 w 13"/>
                <a:gd name="T19" fmla="*/ 2147483647 h 13"/>
                <a:gd name="T20" fmla="*/ 2147483647 w 13"/>
                <a:gd name="T21" fmla="*/ 0 h 13"/>
                <a:gd name="T22" fmla="*/ 2147483647 w 13"/>
                <a:gd name="T23" fmla="*/ 0 h 13"/>
                <a:gd name="T24" fmla="*/ 2147483647 w 13"/>
                <a:gd name="T25" fmla="*/ 2147483647 h 13"/>
                <a:gd name="T26" fmla="*/ 2147483647 w 13"/>
                <a:gd name="T27" fmla="*/ 2147483647 h 13"/>
                <a:gd name="T28" fmla="*/ 2147483647 w 13"/>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3"/>
                <a:gd name="T47" fmla="*/ 13 w 13"/>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3">
                  <a:moveTo>
                    <a:pt x="12" y="10"/>
                  </a:moveTo>
                  <a:lnTo>
                    <a:pt x="10" y="12"/>
                  </a:lnTo>
                  <a:lnTo>
                    <a:pt x="8" y="13"/>
                  </a:lnTo>
                  <a:lnTo>
                    <a:pt x="5" y="13"/>
                  </a:lnTo>
                  <a:lnTo>
                    <a:pt x="3" y="12"/>
                  </a:lnTo>
                  <a:lnTo>
                    <a:pt x="1" y="11"/>
                  </a:lnTo>
                  <a:lnTo>
                    <a:pt x="0" y="8"/>
                  </a:lnTo>
                  <a:lnTo>
                    <a:pt x="0" y="6"/>
                  </a:lnTo>
                  <a:lnTo>
                    <a:pt x="1" y="4"/>
                  </a:lnTo>
                  <a:lnTo>
                    <a:pt x="5" y="1"/>
                  </a:lnTo>
                  <a:lnTo>
                    <a:pt x="8" y="0"/>
                  </a:lnTo>
                  <a:lnTo>
                    <a:pt x="10" y="0"/>
                  </a:lnTo>
                  <a:lnTo>
                    <a:pt x="13" y="1"/>
                  </a:lnTo>
                  <a:lnTo>
                    <a:pt x="13" y="4"/>
                  </a:lnTo>
                  <a:lnTo>
                    <a:pt x="12"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2" name="Freeform 461"/>
            <p:cNvSpPr>
              <a:spLocks/>
            </p:cNvSpPr>
            <p:nvPr/>
          </p:nvSpPr>
          <p:spPr bwMode="auto">
            <a:xfrm>
              <a:off x="3873500" y="3497266"/>
              <a:ext cx="7938"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5"/>
                  </a:moveTo>
                  <a:lnTo>
                    <a:pt x="6" y="5"/>
                  </a:lnTo>
                  <a:lnTo>
                    <a:pt x="6" y="6"/>
                  </a:lnTo>
                  <a:lnTo>
                    <a:pt x="5" y="7"/>
                  </a:lnTo>
                  <a:lnTo>
                    <a:pt x="2" y="7"/>
                  </a:lnTo>
                  <a:lnTo>
                    <a:pt x="1" y="5"/>
                  </a:lnTo>
                  <a:lnTo>
                    <a:pt x="0" y="2"/>
                  </a:lnTo>
                  <a:lnTo>
                    <a:pt x="1" y="0"/>
                  </a:lnTo>
                  <a:lnTo>
                    <a:pt x="3" y="0"/>
                  </a:lnTo>
                  <a:lnTo>
                    <a:pt x="5" y="1"/>
                  </a:lnTo>
                  <a:lnTo>
                    <a:pt x="6" y="2"/>
                  </a:lnTo>
                  <a:lnTo>
                    <a:pt x="6"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3" name="Freeform 462"/>
            <p:cNvSpPr>
              <a:spLocks/>
            </p:cNvSpPr>
            <p:nvPr/>
          </p:nvSpPr>
          <p:spPr bwMode="auto">
            <a:xfrm>
              <a:off x="3930650" y="3519492"/>
              <a:ext cx="19050" cy="20637"/>
            </a:xfrm>
            <a:custGeom>
              <a:avLst/>
              <a:gdLst>
                <a:gd name="T0" fmla="*/ 2147483647 w 13"/>
                <a:gd name="T1" fmla="*/ 2147483647 h 13"/>
                <a:gd name="T2" fmla="*/ 2147483647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2147483647 h 13"/>
                <a:gd name="T12" fmla="*/ 2147483647 w 13"/>
                <a:gd name="T13" fmla="*/ 2147483647 h 13"/>
                <a:gd name="T14" fmla="*/ 2147483647 w 13"/>
                <a:gd name="T15" fmla="*/ 2147483647 h 13"/>
                <a:gd name="T16" fmla="*/ 0 w 13"/>
                <a:gd name="T17" fmla="*/ 2147483647 h 13"/>
                <a:gd name="T18" fmla="*/ 0 w 13"/>
                <a:gd name="T19" fmla="*/ 2147483647 h 13"/>
                <a:gd name="T20" fmla="*/ 2147483647 w 13"/>
                <a:gd name="T21" fmla="*/ 2147483647 h 13"/>
                <a:gd name="T22" fmla="*/ 2147483647 w 13"/>
                <a:gd name="T23" fmla="*/ 2147483647 h 13"/>
                <a:gd name="T24" fmla="*/ 2147483647 w 13"/>
                <a:gd name="T25" fmla="*/ 0 h 13"/>
                <a:gd name="T26" fmla="*/ 2147483647 w 13"/>
                <a:gd name="T27" fmla="*/ 0 h 13"/>
                <a:gd name="T28" fmla="*/ 2147483647 w 13"/>
                <a:gd name="T29" fmla="*/ 0 h 13"/>
                <a:gd name="T30" fmla="*/ 2147483647 w 13"/>
                <a:gd name="T31" fmla="*/ 2147483647 h 13"/>
                <a:gd name="T32" fmla="*/ 2147483647 w 13"/>
                <a:gd name="T33" fmla="*/ 2147483647 h 13"/>
                <a:gd name="T34" fmla="*/ 2147483647 w 13"/>
                <a:gd name="T35" fmla="*/ 2147483647 h 13"/>
                <a:gd name="T36" fmla="*/ 2147483647 w 13"/>
                <a:gd name="T37" fmla="*/ 2147483647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1" y="9"/>
                  </a:moveTo>
                  <a:lnTo>
                    <a:pt x="11" y="9"/>
                  </a:lnTo>
                  <a:lnTo>
                    <a:pt x="10" y="12"/>
                  </a:lnTo>
                  <a:lnTo>
                    <a:pt x="8" y="13"/>
                  </a:lnTo>
                  <a:lnTo>
                    <a:pt x="5" y="13"/>
                  </a:lnTo>
                  <a:lnTo>
                    <a:pt x="2" y="12"/>
                  </a:lnTo>
                  <a:lnTo>
                    <a:pt x="1" y="11"/>
                  </a:lnTo>
                  <a:lnTo>
                    <a:pt x="0" y="8"/>
                  </a:lnTo>
                  <a:lnTo>
                    <a:pt x="0" y="6"/>
                  </a:lnTo>
                  <a:lnTo>
                    <a:pt x="1" y="4"/>
                  </a:lnTo>
                  <a:lnTo>
                    <a:pt x="5" y="1"/>
                  </a:lnTo>
                  <a:lnTo>
                    <a:pt x="8" y="0"/>
                  </a:lnTo>
                  <a:lnTo>
                    <a:pt x="10" y="0"/>
                  </a:lnTo>
                  <a:lnTo>
                    <a:pt x="13" y="1"/>
                  </a:lnTo>
                  <a:lnTo>
                    <a:pt x="13" y="4"/>
                  </a:lnTo>
                  <a:lnTo>
                    <a:pt x="11"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4" name="Freeform 463"/>
            <p:cNvSpPr>
              <a:spLocks/>
            </p:cNvSpPr>
            <p:nvPr/>
          </p:nvSpPr>
          <p:spPr bwMode="auto">
            <a:xfrm>
              <a:off x="3900488" y="3505200"/>
              <a:ext cx="30162" cy="26988"/>
            </a:xfrm>
            <a:custGeom>
              <a:avLst/>
              <a:gdLst>
                <a:gd name="T0" fmla="*/ 2147483647 w 20"/>
                <a:gd name="T1" fmla="*/ 2147483647 h 17"/>
                <a:gd name="T2" fmla="*/ 2147483647 w 20"/>
                <a:gd name="T3" fmla="*/ 0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2147483647 h 17"/>
                <a:gd name="T14" fmla="*/ 2147483647 w 20"/>
                <a:gd name="T15" fmla="*/ 2147483647 h 17"/>
                <a:gd name="T16" fmla="*/ 2147483647 w 20"/>
                <a:gd name="T17" fmla="*/ 2147483647 h 17"/>
                <a:gd name="T18" fmla="*/ 2147483647 w 20"/>
                <a:gd name="T19" fmla="*/ 2147483647 h 17"/>
                <a:gd name="T20" fmla="*/ 2147483647 w 20"/>
                <a:gd name="T21" fmla="*/ 2147483647 h 17"/>
                <a:gd name="T22" fmla="*/ 2147483647 w 20"/>
                <a:gd name="T23" fmla="*/ 2147483647 h 17"/>
                <a:gd name="T24" fmla="*/ 0 w 20"/>
                <a:gd name="T25" fmla="*/ 2147483647 h 17"/>
                <a:gd name="T26" fmla="*/ 0 w 20"/>
                <a:gd name="T27" fmla="*/ 2147483647 h 17"/>
                <a:gd name="T28" fmla="*/ 2147483647 w 20"/>
                <a:gd name="T29" fmla="*/ 2147483647 h 17"/>
                <a:gd name="T30" fmla="*/ 2147483647 w 20"/>
                <a:gd name="T31" fmla="*/ 2147483647 h 17"/>
                <a:gd name="T32" fmla="*/ 2147483647 w 20"/>
                <a:gd name="T33" fmla="*/ 2147483647 h 17"/>
                <a:gd name="T34" fmla="*/ 2147483647 w 20"/>
                <a:gd name="T35" fmla="*/ 2147483647 h 17"/>
                <a:gd name="T36" fmla="*/ 2147483647 w 20"/>
                <a:gd name="T37" fmla="*/ 2147483647 h 17"/>
                <a:gd name="T38" fmla="*/ 2147483647 w 20"/>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7"/>
                <a:gd name="T62" fmla="*/ 20 w 20"/>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7">
                  <a:moveTo>
                    <a:pt x="11" y="1"/>
                  </a:moveTo>
                  <a:lnTo>
                    <a:pt x="17" y="0"/>
                  </a:lnTo>
                  <a:lnTo>
                    <a:pt x="20" y="1"/>
                  </a:lnTo>
                  <a:lnTo>
                    <a:pt x="20" y="2"/>
                  </a:lnTo>
                  <a:lnTo>
                    <a:pt x="20" y="3"/>
                  </a:lnTo>
                  <a:lnTo>
                    <a:pt x="19" y="5"/>
                  </a:lnTo>
                  <a:lnTo>
                    <a:pt x="16" y="8"/>
                  </a:lnTo>
                  <a:lnTo>
                    <a:pt x="14" y="9"/>
                  </a:lnTo>
                  <a:lnTo>
                    <a:pt x="11" y="10"/>
                  </a:lnTo>
                  <a:lnTo>
                    <a:pt x="7" y="15"/>
                  </a:lnTo>
                  <a:lnTo>
                    <a:pt x="5" y="16"/>
                  </a:lnTo>
                  <a:lnTo>
                    <a:pt x="3" y="17"/>
                  </a:lnTo>
                  <a:lnTo>
                    <a:pt x="0" y="16"/>
                  </a:lnTo>
                  <a:lnTo>
                    <a:pt x="0" y="13"/>
                  </a:lnTo>
                  <a:lnTo>
                    <a:pt x="1" y="5"/>
                  </a:lnTo>
                  <a:lnTo>
                    <a:pt x="1" y="3"/>
                  </a:lnTo>
                  <a:lnTo>
                    <a:pt x="2" y="1"/>
                  </a:lnTo>
                  <a:lnTo>
                    <a:pt x="5" y="1"/>
                  </a:lnTo>
                  <a:lnTo>
                    <a:pt x="8" y="1"/>
                  </a:lnTo>
                  <a:lnTo>
                    <a:pt x="11"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5" name="Freeform 464"/>
            <p:cNvSpPr>
              <a:spLocks/>
            </p:cNvSpPr>
            <p:nvPr/>
          </p:nvSpPr>
          <p:spPr bwMode="auto">
            <a:xfrm>
              <a:off x="3689354" y="3198813"/>
              <a:ext cx="22225" cy="12700"/>
            </a:xfrm>
            <a:custGeom>
              <a:avLst/>
              <a:gdLst>
                <a:gd name="T0" fmla="*/ 2147483647 w 15"/>
                <a:gd name="T1" fmla="*/ 0 h 8"/>
                <a:gd name="T2" fmla="*/ 2147483647 w 15"/>
                <a:gd name="T3" fmla="*/ 0 h 8"/>
                <a:gd name="T4" fmla="*/ 2147483647 w 15"/>
                <a:gd name="T5" fmla="*/ 2147483647 h 8"/>
                <a:gd name="T6" fmla="*/ 2147483647 w 15"/>
                <a:gd name="T7" fmla="*/ 2147483647 h 8"/>
                <a:gd name="T8" fmla="*/ 2147483647 w 15"/>
                <a:gd name="T9" fmla="*/ 2147483647 h 8"/>
                <a:gd name="T10" fmla="*/ 2147483647 w 15"/>
                <a:gd name="T11" fmla="*/ 2147483647 h 8"/>
                <a:gd name="T12" fmla="*/ 2147483647 w 15"/>
                <a:gd name="T13" fmla="*/ 2147483647 h 8"/>
                <a:gd name="T14" fmla="*/ 2147483647 w 15"/>
                <a:gd name="T15" fmla="*/ 2147483647 h 8"/>
                <a:gd name="T16" fmla="*/ 0 w 15"/>
                <a:gd name="T17" fmla="*/ 2147483647 h 8"/>
                <a:gd name="T18" fmla="*/ 0 w 15"/>
                <a:gd name="T19" fmla="*/ 2147483647 h 8"/>
                <a:gd name="T20" fmla="*/ 0 w 15"/>
                <a:gd name="T21" fmla="*/ 2147483647 h 8"/>
                <a:gd name="T22" fmla="*/ 2147483647 w 15"/>
                <a:gd name="T23" fmla="*/ 0 h 8"/>
                <a:gd name="T24" fmla="*/ 2147483647 w 15"/>
                <a:gd name="T25" fmla="*/ 0 h 8"/>
                <a:gd name="T26" fmla="*/ 2147483647 w 15"/>
                <a:gd name="T27" fmla="*/ 2147483647 h 8"/>
                <a:gd name="T28" fmla="*/ 2147483647 w 15"/>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8"/>
                <a:gd name="T47" fmla="*/ 15 w 1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8">
                  <a:moveTo>
                    <a:pt x="10" y="0"/>
                  </a:moveTo>
                  <a:lnTo>
                    <a:pt x="13" y="0"/>
                  </a:lnTo>
                  <a:lnTo>
                    <a:pt x="15" y="3"/>
                  </a:lnTo>
                  <a:lnTo>
                    <a:pt x="15" y="5"/>
                  </a:lnTo>
                  <a:lnTo>
                    <a:pt x="14" y="6"/>
                  </a:lnTo>
                  <a:lnTo>
                    <a:pt x="9" y="8"/>
                  </a:lnTo>
                  <a:lnTo>
                    <a:pt x="4" y="8"/>
                  </a:lnTo>
                  <a:lnTo>
                    <a:pt x="1" y="6"/>
                  </a:lnTo>
                  <a:lnTo>
                    <a:pt x="0" y="5"/>
                  </a:lnTo>
                  <a:lnTo>
                    <a:pt x="0" y="4"/>
                  </a:lnTo>
                  <a:lnTo>
                    <a:pt x="0" y="2"/>
                  </a:lnTo>
                  <a:lnTo>
                    <a:pt x="1" y="0"/>
                  </a:lnTo>
                  <a:lnTo>
                    <a:pt x="4" y="0"/>
                  </a:lnTo>
                  <a:lnTo>
                    <a:pt x="8" y="2"/>
                  </a:lnTo>
                  <a:lnTo>
                    <a:pt x="10"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6" name="Freeform 465"/>
            <p:cNvSpPr>
              <a:spLocks/>
            </p:cNvSpPr>
            <p:nvPr/>
          </p:nvSpPr>
          <p:spPr bwMode="auto">
            <a:xfrm>
              <a:off x="3897313" y="3502025"/>
              <a:ext cx="31750" cy="28575"/>
            </a:xfrm>
            <a:custGeom>
              <a:avLst/>
              <a:gdLst>
                <a:gd name="T0" fmla="*/ 2147483647 w 21"/>
                <a:gd name="T1" fmla="*/ 2147483647 h 18"/>
                <a:gd name="T2" fmla="*/ 2147483647 w 21"/>
                <a:gd name="T3" fmla="*/ 2147483647 h 18"/>
                <a:gd name="T4" fmla="*/ 2147483647 w 21"/>
                <a:gd name="T5" fmla="*/ 0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0 w 21"/>
                <a:gd name="T35" fmla="*/ 2147483647 h 18"/>
                <a:gd name="T36" fmla="*/ 0 w 21"/>
                <a:gd name="T37" fmla="*/ 2147483647 h 18"/>
                <a:gd name="T38" fmla="*/ 2147483647 w 21"/>
                <a:gd name="T39" fmla="*/ 2147483647 h 18"/>
                <a:gd name="T40" fmla="*/ 2147483647 w 21"/>
                <a:gd name="T41" fmla="*/ 2147483647 h 18"/>
                <a:gd name="T42" fmla="*/ 2147483647 w 21"/>
                <a:gd name="T43" fmla="*/ 2147483647 h 18"/>
                <a:gd name="T44" fmla="*/ 2147483647 w 21"/>
                <a:gd name="T45" fmla="*/ 2147483647 h 18"/>
                <a:gd name="T46" fmla="*/ 2147483647 w 21"/>
                <a:gd name="T47" fmla="*/ 2147483647 h 18"/>
                <a:gd name="T48" fmla="*/ 2147483647 w 21"/>
                <a:gd name="T49" fmla="*/ 2147483647 h 18"/>
                <a:gd name="T50" fmla="*/ 2147483647 w 21"/>
                <a:gd name="T51" fmla="*/ 2147483647 h 18"/>
                <a:gd name="T52" fmla="*/ 2147483647 w 21"/>
                <a:gd name="T53" fmla="*/ 2147483647 h 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18"/>
                <a:gd name="T83" fmla="*/ 21 w 21"/>
                <a:gd name="T84" fmla="*/ 18 h 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18">
                  <a:moveTo>
                    <a:pt x="12" y="2"/>
                  </a:moveTo>
                  <a:lnTo>
                    <a:pt x="12" y="2"/>
                  </a:lnTo>
                  <a:lnTo>
                    <a:pt x="18" y="0"/>
                  </a:lnTo>
                  <a:lnTo>
                    <a:pt x="21" y="2"/>
                  </a:lnTo>
                  <a:lnTo>
                    <a:pt x="21" y="3"/>
                  </a:lnTo>
                  <a:lnTo>
                    <a:pt x="21" y="4"/>
                  </a:lnTo>
                  <a:lnTo>
                    <a:pt x="19" y="6"/>
                  </a:lnTo>
                  <a:lnTo>
                    <a:pt x="17" y="9"/>
                  </a:lnTo>
                  <a:lnTo>
                    <a:pt x="14" y="10"/>
                  </a:lnTo>
                  <a:lnTo>
                    <a:pt x="12" y="11"/>
                  </a:lnTo>
                  <a:lnTo>
                    <a:pt x="8" y="16"/>
                  </a:lnTo>
                  <a:lnTo>
                    <a:pt x="5" y="17"/>
                  </a:lnTo>
                  <a:lnTo>
                    <a:pt x="4" y="18"/>
                  </a:lnTo>
                  <a:lnTo>
                    <a:pt x="0" y="17"/>
                  </a:lnTo>
                  <a:lnTo>
                    <a:pt x="0" y="13"/>
                  </a:lnTo>
                  <a:lnTo>
                    <a:pt x="2" y="6"/>
                  </a:lnTo>
                  <a:lnTo>
                    <a:pt x="2" y="4"/>
                  </a:lnTo>
                  <a:lnTo>
                    <a:pt x="3" y="2"/>
                  </a:lnTo>
                  <a:lnTo>
                    <a:pt x="5" y="2"/>
                  </a:lnTo>
                  <a:lnTo>
                    <a:pt x="9" y="2"/>
                  </a:lnTo>
                  <a:lnTo>
                    <a:pt x="12"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7" name="Freeform 466"/>
            <p:cNvSpPr>
              <a:spLocks/>
            </p:cNvSpPr>
            <p:nvPr/>
          </p:nvSpPr>
          <p:spPr bwMode="auto">
            <a:xfrm>
              <a:off x="3687767" y="3197226"/>
              <a:ext cx="22225" cy="11113"/>
            </a:xfrm>
            <a:custGeom>
              <a:avLst/>
              <a:gdLst>
                <a:gd name="T0" fmla="*/ 2147483647 w 15"/>
                <a:gd name="T1" fmla="*/ 0 h 7"/>
                <a:gd name="T2" fmla="*/ 2147483647 w 15"/>
                <a:gd name="T3" fmla="*/ 0 h 7"/>
                <a:gd name="T4" fmla="*/ 2147483647 w 15"/>
                <a:gd name="T5" fmla="*/ 0 h 7"/>
                <a:gd name="T6" fmla="*/ 2147483647 w 15"/>
                <a:gd name="T7" fmla="*/ 2147483647 h 7"/>
                <a:gd name="T8" fmla="*/ 2147483647 w 15"/>
                <a:gd name="T9" fmla="*/ 2147483647 h 7"/>
                <a:gd name="T10" fmla="*/ 2147483647 w 15"/>
                <a:gd name="T11" fmla="*/ 2147483647 h 7"/>
                <a:gd name="T12" fmla="*/ 2147483647 w 15"/>
                <a:gd name="T13" fmla="*/ 2147483647 h 7"/>
                <a:gd name="T14" fmla="*/ 2147483647 w 15"/>
                <a:gd name="T15" fmla="*/ 2147483647 h 7"/>
                <a:gd name="T16" fmla="*/ 2147483647 w 15"/>
                <a:gd name="T17" fmla="*/ 2147483647 h 7"/>
                <a:gd name="T18" fmla="*/ 2147483647 w 15"/>
                <a:gd name="T19" fmla="*/ 2147483647 h 7"/>
                <a:gd name="T20" fmla="*/ 0 w 15"/>
                <a:gd name="T21" fmla="*/ 2147483647 h 7"/>
                <a:gd name="T22" fmla="*/ 0 w 15"/>
                <a:gd name="T23" fmla="*/ 2147483647 h 7"/>
                <a:gd name="T24" fmla="*/ 0 w 15"/>
                <a:gd name="T25" fmla="*/ 2147483647 h 7"/>
                <a:gd name="T26" fmla="*/ 0 w 15"/>
                <a:gd name="T27" fmla="*/ 2147483647 h 7"/>
                <a:gd name="T28" fmla="*/ 2147483647 w 15"/>
                <a:gd name="T29" fmla="*/ 0 h 7"/>
                <a:gd name="T30" fmla="*/ 2147483647 w 15"/>
                <a:gd name="T31" fmla="*/ 0 h 7"/>
                <a:gd name="T32" fmla="*/ 2147483647 w 15"/>
                <a:gd name="T33" fmla="*/ 2147483647 h 7"/>
                <a:gd name="T34" fmla="*/ 2147483647 w 15"/>
                <a:gd name="T35" fmla="*/ 0 h 7"/>
                <a:gd name="T36" fmla="*/ 2147483647 w 15"/>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7"/>
                <a:gd name="T59" fmla="*/ 15 w 15"/>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7">
                  <a:moveTo>
                    <a:pt x="10" y="0"/>
                  </a:moveTo>
                  <a:lnTo>
                    <a:pt x="10" y="0"/>
                  </a:lnTo>
                  <a:lnTo>
                    <a:pt x="13" y="0"/>
                  </a:lnTo>
                  <a:lnTo>
                    <a:pt x="15" y="3"/>
                  </a:lnTo>
                  <a:lnTo>
                    <a:pt x="15" y="5"/>
                  </a:lnTo>
                  <a:lnTo>
                    <a:pt x="14" y="6"/>
                  </a:lnTo>
                  <a:lnTo>
                    <a:pt x="9" y="7"/>
                  </a:lnTo>
                  <a:lnTo>
                    <a:pt x="4" y="7"/>
                  </a:lnTo>
                  <a:lnTo>
                    <a:pt x="1" y="6"/>
                  </a:lnTo>
                  <a:lnTo>
                    <a:pt x="0" y="5"/>
                  </a:lnTo>
                  <a:lnTo>
                    <a:pt x="0" y="4"/>
                  </a:lnTo>
                  <a:lnTo>
                    <a:pt x="0" y="1"/>
                  </a:lnTo>
                  <a:lnTo>
                    <a:pt x="1" y="0"/>
                  </a:lnTo>
                  <a:lnTo>
                    <a:pt x="4" y="0"/>
                  </a:lnTo>
                  <a:lnTo>
                    <a:pt x="7" y="1"/>
                  </a:lnTo>
                  <a:lnTo>
                    <a:pt x="10"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8" name="Freeform 467"/>
            <p:cNvSpPr>
              <a:spLocks/>
            </p:cNvSpPr>
            <p:nvPr/>
          </p:nvSpPr>
          <p:spPr bwMode="auto">
            <a:xfrm>
              <a:off x="3648075" y="3163892"/>
              <a:ext cx="7938" cy="9525"/>
            </a:xfrm>
            <a:custGeom>
              <a:avLst/>
              <a:gdLst>
                <a:gd name="T0" fmla="*/ 2147483647 w 6"/>
                <a:gd name="T1" fmla="*/ 2147483647 h 6"/>
                <a:gd name="T2" fmla="*/ 0 w 6"/>
                <a:gd name="T3" fmla="*/ 2147483647 h 6"/>
                <a:gd name="T4" fmla="*/ 0 w 6"/>
                <a:gd name="T5" fmla="*/ 0 h 6"/>
                <a:gd name="T6" fmla="*/ 2147483647 w 6"/>
                <a:gd name="T7" fmla="*/ 0 h 6"/>
                <a:gd name="T8" fmla="*/ 2147483647 w 6"/>
                <a:gd name="T9" fmla="*/ 2147483647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1" y="3"/>
                  </a:moveTo>
                  <a:lnTo>
                    <a:pt x="0" y="2"/>
                  </a:lnTo>
                  <a:lnTo>
                    <a:pt x="0" y="0"/>
                  </a:lnTo>
                  <a:lnTo>
                    <a:pt x="2" y="0"/>
                  </a:lnTo>
                  <a:lnTo>
                    <a:pt x="5" y="1"/>
                  </a:lnTo>
                  <a:lnTo>
                    <a:pt x="6" y="3"/>
                  </a:lnTo>
                  <a:lnTo>
                    <a:pt x="5" y="6"/>
                  </a:lnTo>
                  <a:lnTo>
                    <a:pt x="4" y="6"/>
                  </a:lnTo>
                  <a:lnTo>
                    <a:pt x="2" y="5"/>
                  </a:lnTo>
                  <a:lnTo>
                    <a:pt x="1"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69" name="Freeform 468"/>
            <p:cNvSpPr>
              <a:spLocks/>
            </p:cNvSpPr>
            <p:nvPr/>
          </p:nvSpPr>
          <p:spPr bwMode="auto">
            <a:xfrm>
              <a:off x="3627442" y="3167064"/>
              <a:ext cx="7937" cy="11112"/>
            </a:xfrm>
            <a:custGeom>
              <a:avLst/>
              <a:gdLst>
                <a:gd name="T0" fmla="*/ 0 w 6"/>
                <a:gd name="T1" fmla="*/ 2147483647 h 7"/>
                <a:gd name="T2" fmla="*/ 0 w 6"/>
                <a:gd name="T3" fmla="*/ 2147483647 h 7"/>
                <a:gd name="T4" fmla="*/ 0 w 6"/>
                <a:gd name="T5" fmla="*/ 0 h 7"/>
                <a:gd name="T6" fmla="*/ 2147483647 w 6"/>
                <a:gd name="T7" fmla="*/ 0 h 7"/>
                <a:gd name="T8" fmla="*/ 2147483647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0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0" y="5"/>
                  </a:moveTo>
                  <a:lnTo>
                    <a:pt x="0" y="3"/>
                  </a:lnTo>
                  <a:lnTo>
                    <a:pt x="0" y="0"/>
                  </a:lnTo>
                  <a:lnTo>
                    <a:pt x="2" y="0"/>
                  </a:lnTo>
                  <a:lnTo>
                    <a:pt x="5" y="3"/>
                  </a:lnTo>
                  <a:lnTo>
                    <a:pt x="6" y="5"/>
                  </a:lnTo>
                  <a:lnTo>
                    <a:pt x="5" y="7"/>
                  </a:lnTo>
                  <a:lnTo>
                    <a:pt x="4" y="7"/>
                  </a:lnTo>
                  <a:lnTo>
                    <a:pt x="2" y="7"/>
                  </a:lnTo>
                  <a:lnTo>
                    <a:pt x="0"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0" name="Freeform 469"/>
            <p:cNvSpPr>
              <a:spLocks/>
            </p:cNvSpPr>
            <p:nvPr/>
          </p:nvSpPr>
          <p:spPr bwMode="auto">
            <a:xfrm>
              <a:off x="3646492" y="3162304"/>
              <a:ext cx="7937" cy="9525"/>
            </a:xfrm>
            <a:custGeom>
              <a:avLst/>
              <a:gdLst>
                <a:gd name="T0" fmla="*/ 2147483647 w 6"/>
                <a:gd name="T1" fmla="*/ 2147483647 h 6"/>
                <a:gd name="T2" fmla="*/ 2147483647 w 6"/>
                <a:gd name="T3" fmla="*/ 2147483647 h 6"/>
                <a:gd name="T4" fmla="*/ 0 w 6"/>
                <a:gd name="T5" fmla="*/ 2147483647 h 6"/>
                <a:gd name="T6" fmla="*/ 0 w 6"/>
                <a:gd name="T7" fmla="*/ 0 h 6"/>
                <a:gd name="T8" fmla="*/ 0 w 6"/>
                <a:gd name="T9" fmla="*/ 0 h 6"/>
                <a:gd name="T10" fmla="*/ 2147483647 w 6"/>
                <a:gd name="T11" fmla="*/ 0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1" y="3"/>
                  </a:moveTo>
                  <a:lnTo>
                    <a:pt x="1" y="3"/>
                  </a:lnTo>
                  <a:lnTo>
                    <a:pt x="0" y="2"/>
                  </a:lnTo>
                  <a:lnTo>
                    <a:pt x="0" y="0"/>
                  </a:lnTo>
                  <a:lnTo>
                    <a:pt x="2" y="0"/>
                  </a:lnTo>
                  <a:lnTo>
                    <a:pt x="5" y="1"/>
                  </a:lnTo>
                  <a:lnTo>
                    <a:pt x="6" y="3"/>
                  </a:lnTo>
                  <a:lnTo>
                    <a:pt x="5" y="6"/>
                  </a:lnTo>
                  <a:lnTo>
                    <a:pt x="3" y="6"/>
                  </a:lnTo>
                  <a:lnTo>
                    <a:pt x="2" y="4"/>
                  </a:lnTo>
                  <a:lnTo>
                    <a:pt x="1"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1" name="Freeform 470"/>
            <p:cNvSpPr>
              <a:spLocks/>
            </p:cNvSpPr>
            <p:nvPr/>
          </p:nvSpPr>
          <p:spPr bwMode="auto">
            <a:xfrm>
              <a:off x="3625850" y="3165479"/>
              <a:ext cx="7938" cy="11113"/>
            </a:xfrm>
            <a:custGeom>
              <a:avLst/>
              <a:gdLst>
                <a:gd name="T0" fmla="*/ 0 w 6"/>
                <a:gd name="T1" fmla="*/ 2147483647 h 7"/>
                <a:gd name="T2" fmla="*/ 0 w 6"/>
                <a:gd name="T3" fmla="*/ 2147483647 h 7"/>
                <a:gd name="T4" fmla="*/ 0 w 6"/>
                <a:gd name="T5" fmla="*/ 2147483647 h 7"/>
                <a:gd name="T6" fmla="*/ 0 w 6"/>
                <a:gd name="T7" fmla="*/ 0 h 7"/>
                <a:gd name="T8" fmla="*/ 0 w 6"/>
                <a:gd name="T9" fmla="*/ 0 h 7"/>
                <a:gd name="T10" fmla="*/ 2147483647 w 6"/>
                <a:gd name="T11" fmla="*/ 0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w 6"/>
                <a:gd name="T25" fmla="*/ 2147483647 h 7"/>
                <a:gd name="T26" fmla="*/ 0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0" y="5"/>
                  </a:moveTo>
                  <a:lnTo>
                    <a:pt x="0" y="5"/>
                  </a:lnTo>
                  <a:lnTo>
                    <a:pt x="0" y="2"/>
                  </a:lnTo>
                  <a:lnTo>
                    <a:pt x="0" y="0"/>
                  </a:lnTo>
                  <a:lnTo>
                    <a:pt x="2" y="0"/>
                  </a:lnTo>
                  <a:lnTo>
                    <a:pt x="5" y="2"/>
                  </a:lnTo>
                  <a:lnTo>
                    <a:pt x="6" y="5"/>
                  </a:lnTo>
                  <a:lnTo>
                    <a:pt x="5" y="7"/>
                  </a:lnTo>
                  <a:lnTo>
                    <a:pt x="3" y="7"/>
                  </a:lnTo>
                  <a:lnTo>
                    <a:pt x="2" y="7"/>
                  </a:lnTo>
                  <a:lnTo>
                    <a:pt x="0"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2" name="Freeform 471"/>
            <p:cNvSpPr>
              <a:spLocks/>
            </p:cNvSpPr>
            <p:nvPr/>
          </p:nvSpPr>
          <p:spPr bwMode="auto">
            <a:xfrm>
              <a:off x="3606801" y="3173414"/>
              <a:ext cx="20638" cy="12700"/>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0 w 14"/>
                <a:gd name="T17" fmla="*/ 2147483647 h 8"/>
                <a:gd name="T18" fmla="*/ 0 w 14"/>
                <a:gd name="T19" fmla="*/ 2147483647 h 8"/>
                <a:gd name="T20" fmla="*/ 2147483647 w 14"/>
                <a:gd name="T21" fmla="*/ 0 h 8"/>
                <a:gd name="T22" fmla="*/ 2147483647 w 14"/>
                <a:gd name="T23" fmla="*/ 0 h 8"/>
                <a:gd name="T24" fmla="*/ 2147483647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9" y="1"/>
                  </a:moveTo>
                  <a:lnTo>
                    <a:pt x="11" y="2"/>
                  </a:lnTo>
                  <a:lnTo>
                    <a:pt x="14" y="5"/>
                  </a:lnTo>
                  <a:lnTo>
                    <a:pt x="14" y="6"/>
                  </a:lnTo>
                  <a:lnTo>
                    <a:pt x="13" y="8"/>
                  </a:lnTo>
                  <a:lnTo>
                    <a:pt x="9" y="8"/>
                  </a:lnTo>
                  <a:lnTo>
                    <a:pt x="4" y="7"/>
                  </a:lnTo>
                  <a:lnTo>
                    <a:pt x="1" y="5"/>
                  </a:lnTo>
                  <a:lnTo>
                    <a:pt x="0" y="2"/>
                  </a:lnTo>
                  <a:lnTo>
                    <a:pt x="0" y="1"/>
                  </a:lnTo>
                  <a:lnTo>
                    <a:pt x="1" y="0"/>
                  </a:lnTo>
                  <a:lnTo>
                    <a:pt x="4" y="0"/>
                  </a:lnTo>
                  <a:lnTo>
                    <a:pt x="9"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3" name="Freeform 472"/>
            <p:cNvSpPr>
              <a:spLocks/>
            </p:cNvSpPr>
            <p:nvPr/>
          </p:nvSpPr>
          <p:spPr bwMode="auto">
            <a:xfrm>
              <a:off x="3690938" y="3873501"/>
              <a:ext cx="11112" cy="11113"/>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0 w 7"/>
                <a:gd name="T9" fmla="*/ 2147483647 h 7"/>
                <a:gd name="T10" fmla="*/ 0 w 7"/>
                <a:gd name="T11" fmla="*/ 2147483647 h 7"/>
                <a:gd name="T12" fmla="*/ 2147483647 w 7"/>
                <a:gd name="T13" fmla="*/ 2147483647 h 7"/>
                <a:gd name="T14" fmla="*/ 2147483647 w 7"/>
                <a:gd name="T15" fmla="*/ 0 h 7"/>
                <a:gd name="T16" fmla="*/ 2147483647 w 7"/>
                <a:gd name="T17" fmla="*/ 2147483647 h 7"/>
                <a:gd name="T18" fmla="*/ 2147483647 w 7"/>
                <a:gd name="T19" fmla="*/ 2147483647 h 7"/>
                <a:gd name="T20" fmla="*/ 2147483647 w 7"/>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5"/>
                  </a:moveTo>
                  <a:lnTo>
                    <a:pt x="5" y="7"/>
                  </a:lnTo>
                  <a:lnTo>
                    <a:pt x="4" y="7"/>
                  </a:lnTo>
                  <a:lnTo>
                    <a:pt x="2" y="7"/>
                  </a:lnTo>
                  <a:lnTo>
                    <a:pt x="0" y="6"/>
                  </a:lnTo>
                  <a:lnTo>
                    <a:pt x="0" y="3"/>
                  </a:lnTo>
                  <a:lnTo>
                    <a:pt x="2" y="1"/>
                  </a:lnTo>
                  <a:lnTo>
                    <a:pt x="4" y="0"/>
                  </a:lnTo>
                  <a:lnTo>
                    <a:pt x="5" y="1"/>
                  </a:lnTo>
                  <a:lnTo>
                    <a:pt x="7" y="1"/>
                  </a:lnTo>
                  <a:lnTo>
                    <a:pt x="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4" name="Freeform 473"/>
            <p:cNvSpPr>
              <a:spLocks/>
            </p:cNvSpPr>
            <p:nvPr/>
          </p:nvSpPr>
          <p:spPr bwMode="auto">
            <a:xfrm>
              <a:off x="3605216" y="3171824"/>
              <a:ext cx="20637" cy="12700"/>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0 w 14"/>
                <a:gd name="T23" fmla="*/ 2147483647 h 8"/>
                <a:gd name="T24" fmla="*/ 0 w 14"/>
                <a:gd name="T25" fmla="*/ 2147483647 h 8"/>
                <a:gd name="T26" fmla="*/ 2147483647 w 14"/>
                <a:gd name="T27" fmla="*/ 0 h 8"/>
                <a:gd name="T28" fmla="*/ 2147483647 w 14"/>
                <a:gd name="T29" fmla="*/ 0 h 8"/>
                <a:gd name="T30" fmla="*/ 2147483647 w 14"/>
                <a:gd name="T31" fmla="*/ 2147483647 h 8"/>
                <a:gd name="T32" fmla="*/ 2147483647 w 14"/>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8"/>
                <a:gd name="T53" fmla="*/ 14 w 1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8">
                  <a:moveTo>
                    <a:pt x="9" y="1"/>
                  </a:moveTo>
                  <a:lnTo>
                    <a:pt x="9" y="1"/>
                  </a:lnTo>
                  <a:lnTo>
                    <a:pt x="11" y="2"/>
                  </a:lnTo>
                  <a:lnTo>
                    <a:pt x="14" y="4"/>
                  </a:lnTo>
                  <a:lnTo>
                    <a:pt x="14" y="6"/>
                  </a:lnTo>
                  <a:lnTo>
                    <a:pt x="12" y="8"/>
                  </a:lnTo>
                  <a:lnTo>
                    <a:pt x="9" y="8"/>
                  </a:lnTo>
                  <a:lnTo>
                    <a:pt x="3" y="7"/>
                  </a:lnTo>
                  <a:lnTo>
                    <a:pt x="1" y="4"/>
                  </a:lnTo>
                  <a:lnTo>
                    <a:pt x="0" y="2"/>
                  </a:lnTo>
                  <a:lnTo>
                    <a:pt x="0" y="1"/>
                  </a:lnTo>
                  <a:lnTo>
                    <a:pt x="1" y="0"/>
                  </a:lnTo>
                  <a:lnTo>
                    <a:pt x="3" y="0"/>
                  </a:lnTo>
                  <a:lnTo>
                    <a:pt x="9"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5" name="Freeform 474"/>
            <p:cNvSpPr>
              <a:spLocks/>
            </p:cNvSpPr>
            <p:nvPr/>
          </p:nvSpPr>
          <p:spPr bwMode="auto">
            <a:xfrm>
              <a:off x="3689351" y="3871916"/>
              <a:ext cx="9525"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4"/>
                  </a:moveTo>
                  <a:lnTo>
                    <a:pt x="6" y="4"/>
                  </a:lnTo>
                  <a:lnTo>
                    <a:pt x="5" y="7"/>
                  </a:lnTo>
                  <a:lnTo>
                    <a:pt x="4" y="7"/>
                  </a:lnTo>
                  <a:lnTo>
                    <a:pt x="1" y="7"/>
                  </a:lnTo>
                  <a:lnTo>
                    <a:pt x="0" y="6"/>
                  </a:lnTo>
                  <a:lnTo>
                    <a:pt x="0" y="3"/>
                  </a:lnTo>
                  <a:lnTo>
                    <a:pt x="1" y="1"/>
                  </a:lnTo>
                  <a:lnTo>
                    <a:pt x="4" y="0"/>
                  </a:lnTo>
                  <a:lnTo>
                    <a:pt x="5" y="1"/>
                  </a:lnTo>
                  <a:lnTo>
                    <a:pt x="6" y="1"/>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6" name="Freeform 475"/>
            <p:cNvSpPr>
              <a:spLocks/>
            </p:cNvSpPr>
            <p:nvPr/>
          </p:nvSpPr>
          <p:spPr bwMode="auto">
            <a:xfrm>
              <a:off x="3716340" y="3894142"/>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2147483647 w 7"/>
                <a:gd name="T15" fmla="*/ 0 h 6"/>
                <a:gd name="T16" fmla="*/ 2147483647 w 7"/>
                <a:gd name="T17" fmla="*/ 0 h 6"/>
                <a:gd name="T18" fmla="*/ 2147483647 w 7"/>
                <a:gd name="T19" fmla="*/ 0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1"/>
                  </a:moveTo>
                  <a:lnTo>
                    <a:pt x="7" y="3"/>
                  </a:lnTo>
                  <a:lnTo>
                    <a:pt x="6" y="5"/>
                  </a:lnTo>
                  <a:lnTo>
                    <a:pt x="5" y="6"/>
                  </a:lnTo>
                  <a:lnTo>
                    <a:pt x="2" y="6"/>
                  </a:lnTo>
                  <a:lnTo>
                    <a:pt x="1" y="5"/>
                  </a:lnTo>
                  <a:lnTo>
                    <a:pt x="0" y="2"/>
                  </a:lnTo>
                  <a:lnTo>
                    <a:pt x="1" y="0"/>
                  </a:lnTo>
                  <a:lnTo>
                    <a:pt x="4" y="0"/>
                  </a:lnTo>
                  <a:lnTo>
                    <a:pt x="6" y="0"/>
                  </a:lnTo>
                  <a:lnTo>
                    <a:pt x="7"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7" name="Freeform 476"/>
            <p:cNvSpPr>
              <a:spLocks/>
            </p:cNvSpPr>
            <p:nvPr/>
          </p:nvSpPr>
          <p:spPr bwMode="auto">
            <a:xfrm>
              <a:off x="3751267" y="3886206"/>
              <a:ext cx="7937" cy="9525"/>
            </a:xfrm>
            <a:custGeom>
              <a:avLst/>
              <a:gdLst>
                <a:gd name="T0" fmla="*/ 2147483647 w 5"/>
                <a:gd name="T1" fmla="*/ 2147483647 h 6"/>
                <a:gd name="T2" fmla="*/ 0 w 5"/>
                <a:gd name="T3" fmla="*/ 2147483647 h 6"/>
                <a:gd name="T4" fmla="*/ 2147483647 w 5"/>
                <a:gd name="T5" fmla="*/ 2147483647 h 6"/>
                <a:gd name="T6" fmla="*/ 2147483647 w 5"/>
                <a:gd name="T7" fmla="*/ 0 h 6"/>
                <a:gd name="T8" fmla="*/ 2147483647 w 5"/>
                <a:gd name="T9" fmla="*/ 0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1" y="4"/>
                  </a:moveTo>
                  <a:lnTo>
                    <a:pt x="0" y="1"/>
                  </a:lnTo>
                  <a:lnTo>
                    <a:pt x="1" y="1"/>
                  </a:lnTo>
                  <a:lnTo>
                    <a:pt x="1" y="0"/>
                  </a:lnTo>
                  <a:lnTo>
                    <a:pt x="4" y="0"/>
                  </a:lnTo>
                  <a:lnTo>
                    <a:pt x="5" y="3"/>
                  </a:lnTo>
                  <a:lnTo>
                    <a:pt x="5" y="4"/>
                  </a:lnTo>
                  <a:lnTo>
                    <a:pt x="4" y="5"/>
                  </a:lnTo>
                  <a:lnTo>
                    <a:pt x="3" y="6"/>
                  </a:lnTo>
                  <a:lnTo>
                    <a:pt x="1"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8" name="Freeform 477"/>
            <p:cNvSpPr>
              <a:spLocks/>
            </p:cNvSpPr>
            <p:nvPr/>
          </p:nvSpPr>
          <p:spPr bwMode="auto">
            <a:xfrm>
              <a:off x="3714752" y="3892554"/>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2147483647 w 7"/>
                <a:gd name="T15" fmla="*/ 2147483647 h 6"/>
                <a:gd name="T16" fmla="*/ 0 w 7"/>
                <a:gd name="T17" fmla="*/ 2147483647 h 6"/>
                <a:gd name="T18" fmla="*/ 2147483647 w 7"/>
                <a:gd name="T19" fmla="*/ 0 h 6"/>
                <a:gd name="T20" fmla="*/ 2147483647 w 7"/>
                <a:gd name="T21" fmla="*/ 0 h 6"/>
                <a:gd name="T22" fmla="*/ 2147483647 w 7"/>
                <a:gd name="T23" fmla="*/ 0 h 6"/>
                <a:gd name="T24" fmla="*/ 2147483647 w 7"/>
                <a:gd name="T25" fmla="*/ 0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7" y="1"/>
                  </a:moveTo>
                  <a:lnTo>
                    <a:pt x="7" y="1"/>
                  </a:lnTo>
                  <a:lnTo>
                    <a:pt x="7" y="3"/>
                  </a:lnTo>
                  <a:lnTo>
                    <a:pt x="6" y="4"/>
                  </a:lnTo>
                  <a:lnTo>
                    <a:pt x="5" y="6"/>
                  </a:lnTo>
                  <a:lnTo>
                    <a:pt x="2" y="6"/>
                  </a:lnTo>
                  <a:lnTo>
                    <a:pt x="1" y="4"/>
                  </a:lnTo>
                  <a:lnTo>
                    <a:pt x="0" y="2"/>
                  </a:lnTo>
                  <a:lnTo>
                    <a:pt x="1" y="0"/>
                  </a:lnTo>
                  <a:lnTo>
                    <a:pt x="3" y="0"/>
                  </a:lnTo>
                  <a:lnTo>
                    <a:pt x="6" y="0"/>
                  </a:lnTo>
                  <a:lnTo>
                    <a:pt x="7"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79" name="Freeform 478"/>
            <p:cNvSpPr>
              <a:spLocks/>
            </p:cNvSpPr>
            <p:nvPr/>
          </p:nvSpPr>
          <p:spPr bwMode="auto">
            <a:xfrm>
              <a:off x="3749675" y="3884617"/>
              <a:ext cx="7938" cy="9525"/>
            </a:xfrm>
            <a:custGeom>
              <a:avLst/>
              <a:gdLst>
                <a:gd name="T0" fmla="*/ 2147483647 w 5"/>
                <a:gd name="T1" fmla="*/ 2147483647 h 6"/>
                <a:gd name="T2" fmla="*/ 2147483647 w 5"/>
                <a:gd name="T3" fmla="*/ 2147483647 h 6"/>
                <a:gd name="T4" fmla="*/ 0 w 5"/>
                <a:gd name="T5" fmla="*/ 2147483647 h 6"/>
                <a:gd name="T6" fmla="*/ 2147483647 w 5"/>
                <a:gd name="T7" fmla="*/ 2147483647 h 6"/>
                <a:gd name="T8" fmla="*/ 2147483647 w 5"/>
                <a:gd name="T9" fmla="*/ 0 h 6"/>
                <a:gd name="T10" fmla="*/ 2147483647 w 5"/>
                <a:gd name="T11" fmla="*/ 0 h 6"/>
                <a:gd name="T12" fmla="*/ 2147483647 w 5"/>
                <a:gd name="T13" fmla="*/ 0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1" y="4"/>
                  </a:moveTo>
                  <a:lnTo>
                    <a:pt x="1" y="4"/>
                  </a:lnTo>
                  <a:lnTo>
                    <a:pt x="0" y="1"/>
                  </a:lnTo>
                  <a:lnTo>
                    <a:pt x="1" y="1"/>
                  </a:lnTo>
                  <a:lnTo>
                    <a:pt x="1" y="0"/>
                  </a:lnTo>
                  <a:lnTo>
                    <a:pt x="4" y="0"/>
                  </a:lnTo>
                  <a:lnTo>
                    <a:pt x="5" y="2"/>
                  </a:lnTo>
                  <a:lnTo>
                    <a:pt x="5" y="4"/>
                  </a:lnTo>
                  <a:lnTo>
                    <a:pt x="4" y="5"/>
                  </a:lnTo>
                  <a:lnTo>
                    <a:pt x="2" y="6"/>
                  </a:lnTo>
                  <a:lnTo>
                    <a:pt x="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0" name="Freeform 479"/>
            <p:cNvSpPr>
              <a:spLocks/>
            </p:cNvSpPr>
            <p:nvPr/>
          </p:nvSpPr>
          <p:spPr bwMode="auto">
            <a:xfrm>
              <a:off x="3752853" y="3908429"/>
              <a:ext cx="9525" cy="9525"/>
            </a:xfrm>
            <a:custGeom>
              <a:avLst/>
              <a:gdLst>
                <a:gd name="T0" fmla="*/ 0 w 7"/>
                <a:gd name="T1" fmla="*/ 2147483647 h 6"/>
                <a:gd name="T2" fmla="*/ 2147483647 w 7"/>
                <a:gd name="T3" fmla="*/ 0 h 6"/>
                <a:gd name="T4" fmla="*/ 2147483647 w 7"/>
                <a:gd name="T5" fmla="*/ 0 h 6"/>
                <a:gd name="T6" fmla="*/ 2147483647 w 7"/>
                <a:gd name="T7" fmla="*/ 2147483647 h 6"/>
                <a:gd name="T8" fmla="*/ 2147483647 w 7"/>
                <a:gd name="T9" fmla="*/ 2147483647 h 6"/>
                <a:gd name="T10" fmla="*/ 2147483647 w 7"/>
                <a:gd name="T11" fmla="*/ 2147483647 h 6"/>
                <a:gd name="T12" fmla="*/ 2147483647 w 7"/>
                <a:gd name="T13" fmla="*/ 2147483647 h 6"/>
                <a:gd name="T14" fmla="*/ 0 w 7"/>
                <a:gd name="T15" fmla="*/ 2147483647 h 6"/>
                <a:gd name="T16" fmla="*/ 0 w 7"/>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0" y="2"/>
                  </a:moveTo>
                  <a:lnTo>
                    <a:pt x="3" y="0"/>
                  </a:lnTo>
                  <a:lnTo>
                    <a:pt x="5" y="0"/>
                  </a:lnTo>
                  <a:lnTo>
                    <a:pt x="7" y="2"/>
                  </a:lnTo>
                  <a:lnTo>
                    <a:pt x="7" y="4"/>
                  </a:lnTo>
                  <a:lnTo>
                    <a:pt x="4" y="6"/>
                  </a:lnTo>
                  <a:lnTo>
                    <a:pt x="2" y="6"/>
                  </a:lnTo>
                  <a:lnTo>
                    <a:pt x="0" y="4"/>
                  </a:lnTo>
                  <a:lnTo>
                    <a:pt x="0"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1" name="Freeform 480"/>
            <p:cNvSpPr>
              <a:spLocks/>
            </p:cNvSpPr>
            <p:nvPr/>
          </p:nvSpPr>
          <p:spPr bwMode="auto">
            <a:xfrm>
              <a:off x="3735389" y="3941764"/>
              <a:ext cx="9525" cy="14288"/>
            </a:xfrm>
            <a:custGeom>
              <a:avLst/>
              <a:gdLst>
                <a:gd name="T0" fmla="*/ 0 w 7"/>
                <a:gd name="T1" fmla="*/ 2147483647 h 9"/>
                <a:gd name="T2" fmla="*/ 0 w 7"/>
                <a:gd name="T3" fmla="*/ 0 h 9"/>
                <a:gd name="T4" fmla="*/ 2147483647 w 7"/>
                <a:gd name="T5" fmla="*/ 0 h 9"/>
                <a:gd name="T6" fmla="*/ 2147483647 w 7"/>
                <a:gd name="T7" fmla="*/ 0 h 9"/>
                <a:gd name="T8" fmla="*/ 2147483647 w 7"/>
                <a:gd name="T9" fmla="*/ 2147483647 h 9"/>
                <a:gd name="T10" fmla="*/ 2147483647 w 7"/>
                <a:gd name="T11" fmla="*/ 2147483647 h 9"/>
                <a:gd name="T12" fmla="*/ 2147483647 w 7"/>
                <a:gd name="T13" fmla="*/ 2147483647 h 9"/>
                <a:gd name="T14" fmla="*/ 2147483647 w 7"/>
                <a:gd name="T15" fmla="*/ 2147483647 h 9"/>
                <a:gd name="T16" fmla="*/ 2147483647 w 7"/>
                <a:gd name="T17" fmla="*/ 2147483647 h 9"/>
                <a:gd name="T18" fmla="*/ 0 w 7"/>
                <a:gd name="T19" fmla="*/ 2147483647 h 9"/>
                <a:gd name="T20" fmla="*/ 0 w 7"/>
                <a:gd name="T21" fmla="*/ 2147483647 h 9"/>
                <a:gd name="T22" fmla="*/ 0 w 7"/>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9"/>
                <a:gd name="T38" fmla="*/ 7 w 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9">
                  <a:moveTo>
                    <a:pt x="0" y="2"/>
                  </a:moveTo>
                  <a:lnTo>
                    <a:pt x="0" y="0"/>
                  </a:lnTo>
                  <a:lnTo>
                    <a:pt x="1" y="0"/>
                  </a:lnTo>
                  <a:lnTo>
                    <a:pt x="3" y="0"/>
                  </a:lnTo>
                  <a:lnTo>
                    <a:pt x="6" y="2"/>
                  </a:lnTo>
                  <a:lnTo>
                    <a:pt x="7" y="5"/>
                  </a:lnTo>
                  <a:lnTo>
                    <a:pt x="6" y="7"/>
                  </a:lnTo>
                  <a:lnTo>
                    <a:pt x="5" y="8"/>
                  </a:lnTo>
                  <a:lnTo>
                    <a:pt x="2" y="9"/>
                  </a:lnTo>
                  <a:lnTo>
                    <a:pt x="0" y="8"/>
                  </a:lnTo>
                  <a:lnTo>
                    <a:pt x="0" y="5"/>
                  </a:lnTo>
                  <a:lnTo>
                    <a:pt x="0"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2" name="Freeform 481"/>
            <p:cNvSpPr>
              <a:spLocks/>
            </p:cNvSpPr>
            <p:nvPr/>
          </p:nvSpPr>
          <p:spPr bwMode="auto">
            <a:xfrm>
              <a:off x="3751265" y="3906842"/>
              <a:ext cx="9525" cy="9525"/>
            </a:xfrm>
            <a:custGeom>
              <a:avLst/>
              <a:gdLst>
                <a:gd name="T0" fmla="*/ 0 w 6"/>
                <a:gd name="T1" fmla="*/ 2147483647 h 6"/>
                <a:gd name="T2" fmla="*/ 0 w 6"/>
                <a:gd name="T3" fmla="*/ 2147483647 h 6"/>
                <a:gd name="T4" fmla="*/ 2147483647 w 6"/>
                <a:gd name="T5" fmla="*/ 0 h 6"/>
                <a:gd name="T6" fmla="*/ 2147483647 w 6"/>
                <a:gd name="T7" fmla="*/ 0 h 6"/>
                <a:gd name="T8" fmla="*/ 2147483647 w 6"/>
                <a:gd name="T9" fmla="*/ 0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w 6"/>
                <a:gd name="T21" fmla="*/ 2147483647 h 6"/>
                <a:gd name="T22" fmla="*/ 0 w 6"/>
                <a:gd name="T23" fmla="*/ 2147483647 h 6"/>
                <a:gd name="T24" fmla="*/ 0 w 6"/>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6"/>
                <a:gd name="T41" fmla="*/ 6 w 6"/>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6">
                  <a:moveTo>
                    <a:pt x="0" y="1"/>
                  </a:moveTo>
                  <a:lnTo>
                    <a:pt x="0" y="1"/>
                  </a:lnTo>
                  <a:lnTo>
                    <a:pt x="3" y="0"/>
                  </a:lnTo>
                  <a:lnTo>
                    <a:pt x="5" y="0"/>
                  </a:lnTo>
                  <a:lnTo>
                    <a:pt x="6" y="1"/>
                  </a:lnTo>
                  <a:lnTo>
                    <a:pt x="6" y="4"/>
                  </a:lnTo>
                  <a:lnTo>
                    <a:pt x="4" y="6"/>
                  </a:lnTo>
                  <a:lnTo>
                    <a:pt x="1" y="6"/>
                  </a:lnTo>
                  <a:lnTo>
                    <a:pt x="0" y="4"/>
                  </a:lnTo>
                  <a:lnTo>
                    <a:pt x="0"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3" name="Freeform 482"/>
            <p:cNvSpPr>
              <a:spLocks/>
            </p:cNvSpPr>
            <p:nvPr/>
          </p:nvSpPr>
          <p:spPr bwMode="auto">
            <a:xfrm>
              <a:off x="3732213" y="3938592"/>
              <a:ext cx="11112" cy="15875"/>
            </a:xfrm>
            <a:custGeom>
              <a:avLst/>
              <a:gdLst>
                <a:gd name="T0" fmla="*/ 0 w 8"/>
                <a:gd name="T1" fmla="*/ 2147483647 h 10"/>
                <a:gd name="T2" fmla="*/ 0 w 8"/>
                <a:gd name="T3" fmla="*/ 2147483647 h 10"/>
                <a:gd name="T4" fmla="*/ 0 w 8"/>
                <a:gd name="T5" fmla="*/ 0 h 10"/>
                <a:gd name="T6" fmla="*/ 0 w 8"/>
                <a:gd name="T7" fmla="*/ 0 h 10"/>
                <a:gd name="T8" fmla="*/ 2147483647 w 8"/>
                <a:gd name="T9" fmla="*/ 0 h 10"/>
                <a:gd name="T10" fmla="*/ 2147483647 w 8"/>
                <a:gd name="T11" fmla="*/ 0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0 w 8"/>
                <a:gd name="T25" fmla="*/ 2147483647 h 10"/>
                <a:gd name="T26" fmla="*/ 0 w 8"/>
                <a:gd name="T27" fmla="*/ 2147483647 h 10"/>
                <a:gd name="T28" fmla="*/ 0 w 8"/>
                <a:gd name="T29" fmla="*/ 2147483647 h 10"/>
                <a:gd name="T30" fmla="*/ 0 w 8"/>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10"/>
                <a:gd name="T50" fmla="*/ 8 w 8"/>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10">
                  <a:moveTo>
                    <a:pt x="0" y="3"/>
                  </a:moveTo>
                  <a:lnTo>
                    <a:pt x="0" y="3"/>
                  </a:lnTo>
                  <a:lnTo>
                    <a:pt x="0" y="0"/>
                  </a:lnTo>
                  <a:lnTo>
                    <a:pt x="2" y="0"/>
                  </a:lnTo>
                  <a:lnTo>
                    <a:pt x="4" y="0"/>
                  </a:lnTo>
                  <a:lnTo>
                    <a:pt x="7" y="3"/>
                  </a:lnTo>
                  <a:lnTo>
                    <a:pt x="8" y="6"/>
                  </a:lnTo>
                  <a:lnTo>
                    <a:pt x="7" y="7"/>
                  </a:lnTo>
                  <a:lnTo>
                    <a:pt x="5" y="9"/>
                  </a:lnTo>
                  <a:lnTo>
                    <a:pt x="3" y="10"/>
                  </a:lnTo>
                  <a:lnTo>
                    <a:pt x="0" y="9"/>
                  </a:lnTo>
                  <a:lnTo>
                    <a:pt x="0" y="6"/>
                  </a:lnTo>
                  <a:lnTo>
                    <a:pt x="0"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4" name="Freeform 483"/>
            <p:cNvSpPr>
              <a:spLocks/>
            </p:cNvSpPr>
            <p:nvPr/>
          </p:nvSpPr>
          <p:spPr bwMode="auto">
            <a:xfrm>
              <a:off x="3714750" y="3952876"/>
              <a:ext cx="7938"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0 w 5"/>
                <a:gd name="T9" fmla="*/ 2147483647 h 8"/>
                <a:gd name="T10" fmla="*/ 2147483647 w 5"/>
                <a:gd name="T11" fmla="*/ 2147483647 h 8"/>
                <a:gd name="T12" fmla="*/ 2147483647 w 5"/>
                <a:gd name="T13" fmla="*/ 0 h 8"/>
                <a:gd name="T14" fmla="*/ 2147483647 w 5"/>
                <a:gd name="T15" fmla="*/ 0 h 8"/>
                <a:gd name="T16" fmla="*/ 2147483647 w 5"/>
                <a:gd name="T17" fmla="*/ 2147483647 h 8"/>
                <a:gd name="T18" fmla="*/ 2147483647 w 5"/>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8"/>
                <a:gd name="T32" fmla="*/ 5 w 5"/>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8">
                  <a:moveTo>
                    <a:pt x="5" y="6"/>
                  </a:moveTo>
                  <a:lnTo>
                    <a:pt x="3" y="8"/>
                  </a:lnTo>
                  <a:lnTo>
                    <a:pt x="2" y="8"/>
                  </a:lnTo>
                  <a:lnTo>
                    <a:pt x="1" y="7"/>
                  </a:lnTo>
                  <a:lnTo>
                    <a:pt x="0" y="3"/>
                  </a:lnTo>
                  <a:lnTo>
                    <a:pt x="1" y="1"/>
                  </a:lnTo>
                  <a:lnTo>
                    <a:pt x="2" y="0"/>
                  </a:lnTo>
                  <a:lnTo>
                    <a:pt x="5" y="0"/>
                  </a:lnTo>
                  <a:lnTo>
                    <a:pt x="5" y="1"/>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5" name="Freeform 484"/>
            <p:cNvSpPr>
              <a:spLocks/>
            </p:cNvSpPr>
            <p:nvPr/>
          </p:nvSpPr>
          <p:spPr bwMode="auto">
            <a:xfrm>
              <a:off x="2751142" y="3878264"/>
              <a:ext cx="7937" cy="12700"/>
            </a:xfrm>
            <a:custGeom>
              <a:avLst/>
              <a:gdLst>
                <a:gd name="T0" fmla="*/ 2147483647 w 6"/>
                <a:gd name="T1" fmla="*/ 2147483647 h 8"/>
                <a:gd name="T2" fmla="*/ 0 w 6"/>
                <a:gd name="T3" fmla="*/ 2147483647 h 8"/>
                <a:gd name="T4" fmla="*/ 0 w 6"/>
                <a:gd name="T5" fmla="*/ 2147483647 h 8"/>
                <a:gd name="T6" fmla="*/ 0 w 6"/>
                <a:gd name="T7" fmla="*/ 0 h 8"/>
                <a:gd name="T8" fmla="*/ 2147483647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1" y="6"/>
                  </a:moveTo>
                  <a:lnTo>
                    <a:pt x="0" y="5"/>
                  </a:lnTo>
                  <a:lnTo>
                    <a:pt x="0" y="4"/>
                  </a:lnTo>
                  <a:lnTo>
                    <a:pt x="0" y="0"/>
                  </a:lnTo>
                  <a:lnTo>
                    <a:pt x="4" y="3"/>
                  </a:lnTo>
                  <a:lnTo>
                    <a:pt x="5" y="4"/>
                  </a:lnTo>
                  <a:lnTo>
                    <a:pt x="6" y="5"/>
                  </a:lnTo>
                  <a:lnTo>
                    <a:pt x="4" y="8"/>
                  </a:lnTo>
                  <a:lnTo>
                    <a:pt x="2" y="8"/>
                  </a:lnTo>
                  <a:lnTo>
                    <a:pt x="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6" name="Freeform 485"/>
            <p:cNvSpPr>
              <a:spLocks/>
            </p:cNvSpPr>
            <p:nvPr/>
          </p:nvSpPr>
          <p:spPr bwMode="auto">
            <a:xfrm>
              <a:off x="3711575" y="3949702"/>
              <a:ext cx="7938" cy="14288"/>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2147483647 h 9"/>
                <a:gd name="T10" fmla="*/ 2147483647 w 5"/>
                <a:gd name="T11" fmla="*/ 2147483647 h 9"/>
                <a:gd name="T12" fmla="*/ 0 w 5"/>
                <a:gd name="T13" fmla="*/ 2147483647 h 9"/>
                <a:gd name="T14" fmla="*/ 2147483647 w 5"/>
                <a:gd name="T15" fmla="*/ 2147483647 h 9"/>
                <a:gd name="T16" fmla="*/ 2147483647 w 5"/>
                <a:gd name="T17" fmla="*/ 0 h 9"/>
                <a:gd name="T18" fmla="*/ 2147483647 w 5"/>
                <a:gd name="T19" fmla="*/ 0 h 9"/>
                <a:gd name="T20" fmla="*/ 2147483647 w 5"/>
                <a:gd name="T21" fmla="*/ 0 h 9"/>
                <a:gd name="T22" fmla="*/ 2147483647 w 5"/>
                <a:gd name="T23" fmla="*/ 2147483647 h 9"/>
                <a:gd name="T24" fmla="*/ 2147483647 w 5"/>
                <a:gd name="T25" fmla="*/ 2147483647 h 9"/>
                <a:gd name="T26" fmla="*/ 2147483647 w 5"/>
                <a:gd name="T27" fmla="*/ 2147483647 h 9"/>
                <a:gd name="T28" fmla="*/ 2147483647 w 5"/>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9"/>
                <a:gd name="T47" fmla="*/ 5 w 5"/>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9">
                  <a:moveTo>
                    <a:pt x="5" y="6"/>
                  </a:moveTo>
                  <a:lnTo>
                    <a:pt x="5" y="6"/>
                  </a:lnTo>
                  <a:lnTo>
                    <a:pt x="4" y="9"/>
                  </a:lnTo>
                  <a:lnTo>
                    <a:pt x="3" y="9"/>
                  </a:lnTo>
                  <a:lnTo>
                    <a:pt x="2" y="8"/>
                  </a:lnTo>
                  <a:lnTo>
                    <a:pt x="0" y="4"/>
                  </a:lnTo>
                  <a:lnTo>
                    <a:pt x="2" y="2"/>
                  </a:lnTo>
                  <a:lnTo>
                    <a:pt x="3" y="0"/>
                  </a:lnTo>
                  <a:lnTo>
                    <a:pt x="5" y="0"/>
                  </a:lnTo>
                  <a:lnTo>
                    <a:pt x="5" y="2"/>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7" name="Freeform 486"/>
            <p:cNvSpPr>
              <a:spLocks/>
            </p:cNvSpPr>
            <p:nvPr/>
          </p:nvSpPr>
          <p:spPr bwMode="auto">
            <a:xfrm>
              <a:off x="2749550" y="3876676"/>
              <a:ext cx="7938" cy="11113"/>
            </a:xfrm>
            <a:custGeom>
              <a:avLst/>
              <a:gdLst>
                <a:gd name="T0" fmla="*/ 2147483647 w 6"/>
                <a:gd name="T1" fmla="*/ 2147483647 h 7"/>
                <a:gd name="T2" fmla="*/ 2147483647 w 6"/>
                <a:gd name="T3" fmla="*/ 2147483647 h 7"/>
                <a:gd name="T4" fmla="*/ 0 w 6"/>
                <a:gd name="T5" fmla="*/ 2147483647 h 7"/>
                <a:gd name="T6" fmla="*/ 0 w 6"/>
                <a:gd name="T7" fmla="*/ 2147483647 h 7"/>
                <a:gd name="T8" fmla="*/ 0 w 6"/>
                <a:gd name="T9" fmla="*/ 0 h 7"/>
                <a:gd name="T10" fmla="*/ 0 w 6"/>
                <a:gd name="T11" fmla="*/ 0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1" y="6"/>
                  </a:moveTo>
                  <a:lnTo>
                    <a:pt x="1" y="6"/>
                  </a:lnTo>
                  <a:lnTo>
                    <a:pt x="0" y="5"/>
                  </a:lnTo>
                  <a:lnTo>
                    <a:pt x="0" y="4"/>
                  </a:lnTo>
                  <a:lnTo>
                    <a:pt x="0" y="0"/>
                  </a:lnTo>
                  <a:lnTo>
                    <a:pt x="3" y="3"/>
                  </a:lnTo>
                  <a:lnTo>
                    <a:pt x="5" y="4"/>
                  </a:lnTo>
                  <a:lnTo>
                    <a:pt x="6" y="5"/>
                  </a:lnTo>
                  <a:lnTo>
                    <a:pt x="3" y="7"/>
                  </a:lnTo>
                  <a:lnTo>
                    <a:pt x="2" y="7"/>
                  </a:lnTo>
                  <a:lnTo>
                    <a:pt x="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8" name="Freeform 487"/>
            <p:cNvSpPr>
              <a:spLocks/>
            </p:cNvSpPr>
            <p:nvPr/>
          </p:nvSpPr>
          <p:spPr bwMode="auto">
            <a:xfrm>
              <a:off x="2781301" y="3908430"/>
              <a:ext cx="26988" cy="17463"/>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0 w 18"/>
                <a:gd name="T9" fmla="*/ 2147483647 h 11"/>
                <a:gd name="T10" fmla="*/ 0 w 18"/>
                <a:gd name="T11" fmla="*/ 2147483647 h 11"/>
                <a:gd name="T12" fmla="*/ 2147483647 w 18"/>
                <a:gd name="T13" fmla="*/ 2147483647 h 11"/>
                <a:gd name="T14" fmla="*/ 2147483647 w 18"/>
                <a:gd name="T15" fmla="*/ 2147483647 h 11"/>
                <a:gd name="T16" fmla="*/ 2147483647 w 18"/>
                <a:gd name="T17" fmla="*/ 2147483647 h 11"/>
                <a:gd name="T18" fmla="*/ 2147483647 w 18"/>
                <a:gd name="T19" fmla="*/ 0 h 11"/>
                <a:gd name="T20" fmla="*/ 2147483647 w 18"/>
                <a:gd name="T21" fmla="*/ 2147483647 h 11"/>
                <a:gd name="T22" fmla="*/ 2147483647 w 18"/>
                <a:gd name="T23" fmla="*/ 2147483647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1"/>
                <a:gd name="T53" fmla="*/ 18 w 1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1">
                  <a:moveTo>
                    <a:pt x="12" y="9"/>
                  </a:moveTo>
                  <a:lnTo>
                    <a:pt x="8" y="11"/>
                  </a:lnTo>
                  <a:lnTo>
                    <a:pt x="3" y="11"/>
                  </a:lnTo>
                  <a:lnTo>
                    <a:pt x="2" y="10"/>
                  </a:lnTo>
                  <a:lnTo>
                    <a:pt x="0" y="9"/>
                  </a:lnTo>
                  <a:lnTo>
                    <a:pt x="0" y="6"/>
                  </a:lnTo>
                  <a:lnTo>
                    <a:pt x="2" y="4"/>
                  </a:lnTo>
                  <a:lnTo>
                    <a:pt x="3" y="3"/>
                  </a:lnTo>
                  <a:lnTo>
                    <a:pt x="5" y="2"/>
                  </a:lnTo>
                  <a:lnTo>
                    <a:pt x="11" y="0"/>
                  </a:lnTo>
                  <a:lnTo>
                    <a:pt x="16" y="2"/>
                  </a:lnTo>
                  <a:lnTo>
                    <a:pt x="17" y="3"/>
                  </a:lnTo>
                  <a:lnTo>
                    <a:pt x="18" y="5"/>
                  </a:lnTo>
                  <a:lnTo>
                    <a:pt x="18" y="8"/>
                  </a:lnTo>
                  <a:lnTo>
                    <a:pt x="17" y="8"/>
                  </a:lnTo>
                  <a:lnTo>
                    <a:pt x="14" y="9"/>
                  </a:lnTo>
                  <a:lnTo>
                    <a:pt x="12"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89" name="Freeform 488"/>
            <p:cNvSpPr>
              <a:spLocks/>
            </p:cNvSpPr>
            <p:nvPr/>
          </p:nvSpPr>
          <p:spPr bwMode="auto">
            <a:xfrm>
              <a:off x="2787651" y="3938589"/>
              <a:ext cx="6350" cy="11112"/>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0 w 5"/>
                <a:gd name="T9" fmla="*/ 2147483647 h 7"/>
                <a:gd name="T10" fmla="*/ 0 w 5"/>
                <a:gd name="T11" fmla="*/ 0 h 7"/>
                <a:gd name="T12" fmla="*/ 2147483647 w 5"/>
                <a:gd name="T13" fmla="*/ 0 h 7"/>
                <a:gd name="T14" fmla="*/ 2147483647 w 5"/>
                <a:gd name="T15" fmla="*/ 2147483647 h 7"/>
                <a:gd name="T16" fmla="*/ 2147483647 w 5"/>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7"/>
                <a:gd name="T29" fmla="*/ 5 w 5"/>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7">
                  <a:moveTo>
                    <a:pt x="5" y="5"/>
                  </a:moveTo>
                  <a:lnTo>
                    <a:pt x="5" y="7"/>
                  </a:lnTo>
                  <a:lnTo>
                    <a:pt x="4" y="7"/>
                  </a:lnTo>
                  <a:lnTo>
                    <a:pt x="3" y="6"/>
                  </a:lnTo>
                  <a:lnTo>
                    <a:pt x="0" y="4"/>
                  </a:lnTo>
                  <a:lnTo>
                    <a:pt x="0" y="0"/>
                  </a:lnTo>
                  <a:lnTo>
                    <a:pt x="3" y="0"/>
                  </a:lnTo>
                  <a:lnTo>
                    <a:pt x="4" y="3"/>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0" name="Freeform 489"/>
            <p:cNvSpPr>
              <a:spLocks/>
            </p:cNvSpPr>
            <p:nvPr/>
          </p:nvSpPr>
          <p:spPr bwMode="auto">
            <a:xfrm>
              <a:off x="2779717" y="3906838"/>
              <a:ext cx="26987" cy="17462"/>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2147483647 w 18"/>
                <a:gd name="T9" fmla="*/ 2147483647 h 11"/>
                <a:gd name="T10" fmla="*/ 0 w 18"/>
                <a:gd name="T11" fmla="*/ 2147483647 h 11"/>
                <a:gd name="T12" fmla="*/ 0 w 18"/>
                <a:gd name="T13" fmla="*/ 2147483647 h 11"/>
                <a:gd name="T14" fmla="*/ 2147483647 w 18"/>
                <a:gd name="T15" fmla="*/ 2147483647 h 11"/>
                <a:gd name="T16" fmla="*/ 2147483647 w 18"/>
                <a:gd name="T17" fmla="*/ 2147483647 h 11"/>
                <a:gd name="T18" fmla="*/ 2147483647 w 18"/>
                <a:gd name="T19" fmla="*/ 2147483647 h 11"/>
                <a:gd name="T20" fmla="*/ 2147483647 w 18"/>
                <a:gd name="T21" fmla="*/ 2147483647 h 11"/>
                <a:gd name="T22" fmla="*/ 2147483647 w 18"/>
                <a:gd name="T23" fmla="*/ 0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2147483647 w 18"/>
                <a:gd name="T35" fmla="*/ 2147483647 h 11"/>
                <a:gd name="T36" fmla="*/ 2147483647 w 18"/>
                <a:gd name="T37" fmla="*/ 2147483647 h 11"/>
                <a:gd name="T38" fmla="*/ 2147483647 w 18"/>
                <a:gd name="T39" fmla="*/ 2147483647 h 11"/>
                <a:gd name="T40" fmla="*/ 2147483647 w 18"/>
                <a:gd name="T41" fmla="*/ 2147483647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1"/>
                <a:gd name="T65" fmla="*/ 18 w 18"/>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1">
                  <a:moveTo>
                    <a:pt x="12" y="9"/>
                  </a:moveTo>
                  <a:lnTo>
                    <a:pt x="12" y="9"/>
                  </a:lnTo>
                  <a:lnTo>
                    <a:pt x="8" y="11"/>
                  </a:lnTo>
                  <a:lnTo>
                    <a:pt x="3" y="11"/>
                  </a:lnTo>
                  <a:lnTo>
                    <a:pt x="1" y="10"/>
                  </a:lnTo>
                  <a:lnTo>
                    <a:pt x="0" y="9"/>
                  </a:lnTo>
                  <a:lnTo>
                    <a:pt x="0" y="6"/>
                  </a:lnTo>
                  <a:lnTo>
                    <a:pt x="1" y="4"/>
                  </a:lnTo>
                  <a:lnTo>
                    <a:pt x="3" y="3"/>
                  </a:lnTo>
                  <a:lnTo>
                    <a:pt x="5" y="1"/>
                  </a:lnTo>
                  <a:lnTo>
                    <a:pt x="10" y="0"/>
                  </a:lnTo>
                  <a:lnTo>
                    <a:pt x="15" y="1"/>
                  </a:lnTo>
                  <a:lnTo>
                    <a:pt x="17" y="3"/>
                  </a:lnTo>
                  <a:lnTo>
                    <a:pt x="18" y="5"/>
                  </a:lnTo>
                  <a:lnTo>
                    <a:pt x="18" y="7"/>
                  </a:lnTo>
                  <a:lnTo>
                    <a:pt x="17" y="7"/>
                  </a:lnTo>
                  <a:lnTo>
                    <a:pt x="14" y="9"/>
                  </a:lnTo>
                  <a:lnTo>
                    <a:pt x="12"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1" name="Freeform 490"/>
            <p:cNvSpPr>
              <a:spLocks/>
            </p:cNvSpPr>
            <p:nvPr/>
          </p:nvSpPr>
          <p:spPr bwMode="auto">
            <a:xfrm>
              <a:off x="2786064" y="3937002"/>
              <a:ext cx="6350" cy="11113"/>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0 w 5"/>
                <a:gd name="T15" fmla="*/ 0 h 7"/>
                <a:gd name="T16" fmla="*/ 0 w 5"/>
                <a:gd name="T17" fmla="*/ 0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7"/>
                <a:gd name="T44" fmla="*/ 5 w 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7">
                  <a:moveTo>
                    <a:pt x="5" y="5"/>
                  </a:moveTo>
                  <a:lnTo>
                    <a:pt x="5" y="5"/>
                  </a:lnTo>
                  <a:lnTo>
                    <a:pt x="5" y="7"/>
                  </a:lnTo>
                  <a:lnTo>
                    <a:pt x="4" y="7"/>
                  </a:lnTo>
                  <a:lnTo>
                    <a:pt x="2" y="6"/>
                  </a:lnTo>
                  <a:lnTo>
                    <a:pt x="0" y="4"/>
                  </a:lnTo>
                  <a:lnTo>
                    <a:pt x="0" y="0"/>
                  </a:lnTo>
                  <a:lnTo>
                    <a:pt x="2" y="0"/>
                  </a:lnTo>
                  <a:lnTo>
                    <a:pt x="4" y="3"/>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2" name="Freeform 491"/>
            <p:cNvSpPr>
              <a:spLocks/>
            </p:cNvSpPr>
            <p:nvPr/>
          </p:nvSpPr>
          <p:spPr bwMode="auto">
            <a:xfrm>
              <a:off x="2800351" y="3965576"/>
              <a:ext cx="9525" cy="12700"/>
            </a:xfrm>
            <a:custGeom>
              <a:avLst/>
              <a:gdLst>
                <a:gd name="T0" fmla="*/ 2147483647 w 6"/>
                <a:gd name="T1" fmla="*/ 2147483647 h 8"/>
                <a:gd name="T2" fmla="*/ 2147483647 w 6"/>
                <a:gd name="T3" fmla="*/ 2147483647 h 8"/>
                <a:gd name="T4" fmla="*/ 2147483647 w 6"/>
                <a:gd name="T5" fmla="*/ 2147483647 h 8"/>
                <a:gd name="T6" fmla="*/ 0 w 6"/>
                <a:gd name="T7" fmla="*/ 2147483647 h 8"/>
                <a:gd name="T8" fmla="*/ 0 w 6"/>
                <a:gd name="T9" fmla="*/ 2147483647 h 8"/>
                <a:gd name="T10" fmla="*/ 2147483647 w 6"/>
                <a:gd name="T11" fmla="*/ 0 h 8"/>
                <a:gd name="T12" fmla="*/ 2147483647 w 6"/>
                <a:gd name="T13" fmla="*/ 0 h 8"/>
                <a:gd name="T14" fmla="*/ 2147483647 w 6"/>
                <a:gd name="T15" fmla="*/ 2147483647 h 8"/>
                <a:gd name="T16" fmla="*/ 2147483647 w 6"/>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6"/>
                  </a:moveTo>
                  <a:lnTo>
                    <a:pt x="5" y="7"/>
                  </a:lnTo>
                  <a:lnTo>
                    <a:pt x="4" y="8"/>
                  </a:lnTo>
                  <a:lnTo>
                    <a:pt x="0" y="5"/>
                  </a:lnTo>
                  <a:lnTo>
                    <a:pt x="0" y="2"/>
                  </a:lnTo>
                  <a:lnTo>
                    <a:pt x="1" y="0"/>
                  </a:lnTo>
                  <a:lnTo>
                    <a:pt x="4" y="0"/>
                  </a:lnTo>
                  <a:lnTo>
                    <a:pt x="5" y="1"/>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3" name="Freeform 492"/>
            <p:cNvSpPr>
              <a:spLocks/>
            </p:cNvSpPr>
            <p:nvPr/>
          </p:nvSpPr>
          <p:spPr bwMode="auto">
            <a:xfrm>
              <a:off x="2801939" y="3984628"/>
              <a:ext cx="9525" cy="14288"/>
            </a:xfrm>
            <a:custGeom>
              <a:avLst/>
              <a:gdLst>
                <a:gd name="T0" fmla="*/ 2147483647 w 7"/>
                <a:gd name="T1" fmla="*/ 2147483647 h 9"/>
                <a:gd name="T2" fmla="*/ 2147483647 w 7"/>
                <a:gd name="T3" fmla="*/ 2147483647 h 9"/>
                <a:gd name="T4" fmla="*/ 2147483647 w 7"/>
                <a:gd name="T5" fmla="*/ 2147483647 h 9"/>
                <a:gd name="T6" fmla="*/ 2147483647 w 7"/>
                <a:gd name="T7" fmla="*/ 2147483647 h 9"/>
                <a:gd name="T8" fmla="*/ 0 w 7"/>
                <a:gd name="T9" fmla="*/ 2147483647 h 9"/>
                <a:gd name="T10" fmla="*/ 0 w 7"/>
                <a:gd name="T11" fmla="*/ 2147483647 h 9"/>
                <a:gd name="T12" fmla="*/ 0 w 7"/>
                <a:gd name="T13" fmla="*/ 2147483647 h 9"/>
                <a:gd name="T14" fmla="*/ 2147483647 w 7"/>
                <a:gd name="T15" fmla="*/ 0 h 9"/>
                <a:gd name="T16" fmla="*/ 2147483647 w 7"/>
                <a:gd name="T17" fmla="*/ 0 h 9"/>
                <a:gd name="T18" fmla="*/ 2147483647 w 7"/>
                <a:gd name="T19" fmla="*/ 2147483647 h 9"/>
                <a:gd name="T20" fmla="*/ 2147483647 w 7"/>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9"/>
                <a:gd name="T35" fmla="*/ 7 w 7"/>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9">
                  <a:moveTo>
                    <a:pt x="5" y="6"/>
                  </a:moveTo>
                  <a:lnTo>
                    <a:pt x="7" y="7"/>
                  </a:lnTo>
                  <a:lnTo>
                    <a:pt x="4" y="9"/>
                  </a:lnTo>
                  <a:lnTo>
                    <a:pt x="2" y="8"/>
                  </a:lnTo>
                  <a:lnTo>
                    <a:pt x="0" y="5"/>
                  </a:lnTo>
                  <a:lnTo>
                    <a:pt x="0" y="2"/>
                  </a:lnTo>
                  <a:lnTo>
                    <a:pt x="0" y="1"/>
                  </a:lnTo>
                  <a:lnTo>
                    <a:pt x="2" y="0"/>
                  </a:lnTo>
                  <a:lnTo>
                    <a:pt x="4" y="0"/>
                  </a:lnTo>
                  <a:lnTo>
                    <a:pt x="4" y="3"/>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4" name="Freeform 493"/>
            <p:cNvSpPr>
              <a:spLocks/>
            </p:cNvSpPr>
            <p:nvPr/>
          </p:nvSpPr>
          <p:spPr bwMode="auto">
            <a:xfrm>
              <a:off x="2798766" y="3963988"/>
              <a:ext cx="9525"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0 w 6"/>
                <a:gd name="T11" fmla="*/ 2147483647 h 8"/>
                <a:gd name="T12" fmla="*/ 0 w 6"/>
                <a:gd name="T13" fmla="*/ 2147483647 h 8"/>
                <a:gd name="T14" fmla="*/ 2147483647 w 6"/>
                <a:gd name="T15" fmla="*/ 0 h 8"/>
                <a:gd name="T16" fmla="*/ 2147483647 w 6"/>
                <a:gd name="T17" fmla="*/ 0 h 8"/>
                <a:gd name="T18" fmla="*/ 2147483647 w 6"/>
                <a:gd name="T19" fmla="*/ 0 h 8"/>
                <a:gd name="T20" fmla="*/ 2147483647 w 6"/>
                <a:gd name="T21" fmla="*/ 2147483647 h 8"/>
                <a:gd name="T22" fmla="*/ 2147483647 w 6"/>
                <a:gd name="T23" fmla="*/ 2147483647 h 8"/>
                <a:gd name="T24" fmla="*/ 2147483647 w 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6" y="6"/>
                  </a:moveTo>
                  <a:lnTo>
                    <a:pt x="6" y="6"/>
                  </a:lnTo>
                  <a:lnTo>
                    <a:pt x="5" y="7"/>
                  </a:lnTo>
                  <a:lnTo>
                    <a:pt x="4" y="8"/>
                  </a:lnTo>
                  <a:lnTo>
                    <a:pt x="0" y="5"/>
                  </a:lnTo>
                  <a:lnTo>
                    <a:pt x="0" y="2"/>
                  </a:lnTo>
                  <a:lnTo>
                    <a:pt x="1" y="0"/>
                  </a:lnTo>
                  <a:lnTo>
                    <a:pt x="4" y="0"/>
                  </a:lnTo>
                  <a:lnTo>
                    <a:pt x="5" y="1"/>
                  </a:lnTo>
                  <a:lnTo>
                    <a:pt x="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5" name="Freeform 494"/>
            <p:cNvSpPr>
              <a:spLocks/>
            </p:cNvSpPr>
            <p:nvPr/>
          </p:nvSpPr>
          <p:spPr bwMode="auto">
            <a:xfrm>
              <a:off x="2800351" y="3983039"/>
              <a:ext cx="9525" cy="14288"/>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0 w 6"/>
                <a:gd name="T15" fmla="*/ 2147483647 h 9"/>
                <a:gd name="T16" fmla="*/ 0 w 6"/>
                <a:gd name="T17" fmla="*/ 2147483647 h 9"/>
                <a:gd name="T18" fmla="*/ 0 w 6"/>
                <a:gd name="T19" fmla="*/ 2147483647 h 9"/>
                <a:gd name="T20" fmla="*/ 0 w 6"/>
                <a:gd name="T21" fmla="*/ 2147483647 h 9"/>
                <a:gd name="T22" fmla="*/ 2147483647 w 6"/>
                <a:gd name="T23" fmla="*/ 0 h 9"/>
                <a:gd name="T24" fmla="*/ 2147483647 w 6"/>
                <a:gd name="T25" fmla="*/ 0 h 9"/>
                <a:gd name="T26" fmla="*/ 2147483647 w 6"/>
                <a:gd name="T27" fmla="*/ 0 h 9"/>
                <a:gd name="T28" fmla="*/ 2147483647 w 6"/>
                <a:gd name="T29" fmla="*/ 2147483647 h 9"/>
                <a:gd name="T30" fmla="*/ 2147483647 w 6"/>
                <a:gd name="T31" fmla="*/ 2147483647 h 9"/>
                <a:gd name="T32" fmla="*/ 2147483647 w 6"/>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9"/>
                <a:gd name="T53" fmla="*/ 6 w 6"/>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9">
                  <a:moveTo>
                    <a:pt x="5" y="6"/>
                  </a:moveTo>
                  <a:lnTo>
                    <a:pt x="5" y="6"/>
                  </a:lnTo>
                  <a:lnTo>
                    <a:pt x="6" y="7"/>
                  </a:lnTo>
                  <a:lnTo>
                    <a:pt x="4" y="9"/>
                  </a:lnTo>
                  <a:lnTo>
                    <a:pt x="1" y="8"/>
                  </a:lnTo>
                  <a:lnTo>
                    <a:pt x="0" y="4"/>
                  </a:lnTo>
                  <a:lnTo>
                    <a:pt x="0" y="2"/>
                  </a:lnTo>
                  <a:lnTo>
                    <a:pt x="0" y="1"/>
                  </a:lnTo>
                  <a:lnTo>
                    <a:pt x="1" y="0"/>
                  </a:lnTo>
                  <a:lnTo>
                    <a:pt x="4" y="0"/>
                  </a:lnTo>
                  <a:lnTo>
                    <a:pt x="4" y="3"/>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6" name="Freeform 495"/>
            <p:cNvSpPr>
              <a:spLocks/>
            </p:cNvSpPr>
            <p:nvPr/>
          </p:nvSpPr>
          <p:spPr bwMode="auto">
            <a:xfrm>
              <a:off x="2797175" y="4017964"/>
              <a:ext cx="4763" cy="15875"/>
            </a:xfrm>
            <a:custGeom>
              <a:avLst/>
              <a:gdLst>
                <a:gd name="T0" fmla="*/ 0 w 3"/>
                <a:gd name="T1" fmla="*/ 2147483647 h 10"/>
                <a:gd name="T2" fmla="*/ 0 w 3"/>
                <a:gd name="T3" fmla="*/ 2147483647 h 10"/>
                <a:gd name="T4" fmla="*/ 0 w 3"/>
                <a:gd name="T5" fmla="*/ 0 h 10"/>
                <a:gd name="T6" fmla="*/ 2147483647 w 3"/>
                <a:gd name="T7" fmla="*/ 0 h 10"/>
                <a:gd name="T8" fmla="*/ 2147483647 w 3"/>
                <a:gd name="T9" fmla="*/ 2147483647 h 10"/>
                <a:gd name="T10" fmla="*/ 2147483647 w 3"/>
                <a:gd name="T11" fmla="*/ 2147483647 h 10"/>
                <a:gd name="T12" fmla="*/ 2147483647 w 3"/>
                <a:gd name="T13" fmla="*/ 2147483647 h 10"/>
                <a:gd name="T14" fmla="*/ 0 w 3"/>
                <a:gd name="T15" fmla="*/ 2147483647 h 10"/>
                <a:gd name="T16" fmla="*/ 0 w 3"/>
                <a:gd name="T17" fmla="*/ 2147483647 h 10"/>
                <a:gd name="T18" fmla="*/ 0 w 3"/>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0"/>
                <a:gd name="T32" fmla="*/ 3 w 3"/>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0">
                  <a:moveTo>
                    <a:pt x="0" y="5"/>
                  </a:moveTo>
                  <a:lnTo>
                    <a:pt x="0" y="1"/>
                  </a:lnTo>
                  <a:lnTo>
                    <a:pt x="0" y="0"/>
                  </a:lnTo>
                  <a:lnTo>
                    <a:pt x="2" y="0"/>
                  </a:lnTo>
                  <a:lnTo>
                    <a:pt x="3" y="3"/>
                  </a:lnTo>
                  <a:lnTo>
                    <a:pt x="3" y="6"/>
                  </a:lnTo>
                  <a:lnTo>
                    <a:pt x="3" y="8"/>
                  </a:lnTo>
                  <a:lnTo>
                    <a:pt x="0" y="10"/>
                  </a:lnTo>
                  <a:lnTo>
                    <a:pt x="0" y="8"/>
                  </a:lnTo>
                  <a:lnTo>
                    <a:pt x="0"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7" name="Freeform 496"/>
            <p:cNvSpPr>
              <a:spLocks/>
            </p:cNvSpPr>
            <p:nvPr/>
          </p:nvSpPr>
          <p:spPr bwMode="auto">
            <a:xfrm>
              <a:off x="2841629" y="4006850"/>
              <a:ext cx="11113" cy="12700"/>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2147483647 w 8"/>
                <a:gd name="T9" fmla="*/ 2147483647 h 8"/>
                <a:gd name="T10" fmla="*/ 2147483647 w 8"/>
                <a:gd name="T11" fmla="*/ 2147483647 h 8"/>
                <a:gd name="T12" fmla="*/ 0 w 8"/>
                <a:gd name="T13" fmla="*/ 2147483647 h 8"/>
                <a:gd name="T14" fmla="*/ 0 w 8"/>
                <a:gd name="T15" fmla="*/ 2147483647 h 8"/>
                <a:gd name="T16" fmla="*/ 2147483647 w 8"/>
                <a:gd name="T17" fmla="*/ 0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6" y="4"/>
                  </a:moveTo>
                  <a:lnTo>
                    <a:pt x="8" y="6"/>
                  </a:lnTo>
                  <a:lnTo>
                    <a:pt x="8" y="7"/>
                  </a:lnTo>
                  <a:lnTo>
                    <a:pt x="6" y="8"/>
                  </a:lnTo>
                  <a:lnTo>
                    <a:pt x="4" y="8"/>
                  </a:lnTo>
                  <a:lnTo>
                    <a:pt x="1" y="7"/>
                  </a:lnTo>
                  <a:lnTo>
                    <a:pt x="0" y="4"/>
                  </a:lnTo>
                  <a:lnTo>
                    <a:pt x="0" y="1"/>
                  </a:lnTo>
                  <a:lnTo>
                    <a:pt x="1" y="0"/>
                  </a:lnTo>
                  <a:lnTo>
                    <a:pt x="3"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8" name="Freeform 497"/>
            <p:cNvSpPr>
              <a:spLocks/>
            </p:cNvSpPr>
            <p:nvPr/>
          </p:nvSpPr>
          <p:spPr bwMode="auto">
            <a:xfrm>
              <a:off x="2794000" y="4016375"/>
              <a:ext cx="6350" cy="14288"/>
            </a:xfrm>
            <a:custGeom>
              <a:avLst/>
              <a:gdLst>
                <a:gd name="T0" fmla="*/ 0 w 4"/>
                <a:gd name="T1" fmla="*/ 2147483647 h 9"/>
                <a:gd name="T2" fmla="*/ 0 w 4"/>
                <a:gd name="T3" fmla="*/ 2147483647 h 9"/>
                <a:gd name="T4" fmla="*/ 0 w 4"/>
                <a:gd name="T5" fmla="*/ 2147483647 h 9"/>
                <a:gd name="T6" fmla="*/ 0 w 4"/>
                <a:gd name="T7" fmla="*/ 0 h 9"/>
                <a:gd name="T8" fmla="*/ 2147483647 w 4"/>
                <a:gd name="T9" fmla="*/ 0 h 9"/>
                <a:gd name="T10" fmla="*/ 2147483647 w 4"/>
                <a:gd name="T11" fmla="*/ 0 h 9"/>
                <a:gd name="T12" fmla="*/ 2147483647 w 4"/>
                <a:gd name="T13" fmla="*/ 2147483647 h 9"/>
                <a:gd name="T14" fmla="*/ 2147483647 w 4"/>
                <a:gd name="T15" fmla="*/ 2147483647 h 9"/>
                <a:gd name="T16" fmla="*/ 2147483647 w 4"/>
                <a:gd name="T17" fmla="*/ 2147483647 h 9"/>
                <a:gd name="T18" fmla="*/ 0 w 4"/>
                <a:gd name="T19" fmla="*/ 2147483647 h 9"/>
                <a:gd name="T20" fmla="*/ 0 w 4"/>
                <a:gd name="T21" fmla="*/ 2147483647 h 9"/>
                <a:gd name="T22" fmla="*/ 0 w 4"/>
                <a:gd name="T23" fmla="*/ 2147483647 h 9"/>
                <a:gd name="T24" fmla="*/ 0 w 4"/>
                <a:gd name="T25" fmla="*/ 2147483647 h 9"/>
                <a:gd name="T26" fmla="*/ 0 w 4"/>
                <a:gd name="T27" fmla="*/ 2147483647 h 9"/>
                <a:gd name="T28" fmla="*/ 0 w 4"/>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0" y="5"/>
                  </a:moveTo>
                  <a:lnTo>
                    <a:pt x="0" y="5"/>
                  </a:lnTo>
                  <a:lnTo>
                    <a:pt x="0" y="1"/>
                  </a:lnTo>
                  <a:lnTo>
                    <a:pt x="0" y="0"/>
                  </a:lnTo>
                  <a:lnTo>
                    <a:pt x="3" y="0"/>
                  </a:lnTo>
                  <a:lnTo>
                    <a:pt x="4" y="2"/>
                  </a:lnTo>
                  <a:lnTo>
                    <a:pt x="4" y="6"/>
                  </a:lnTo>
                  <a:lnTo>
                    <a:pt x="4" y="8"/>
                  </a:lnTo>
                  <a:lnTo>
                    <a:pt x="0" y="9"/>
                  </a:lnTo>
                  <a:lnTo>
                    <a:pt x="0" y="8"/>
                  </a:lnTo>
                  <a:lnTo>
                    <a:pt x="0"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499" name="Freeform 498"/>
            <p:cNvSpPr>
              <a:spLocks/>
            </p:cNvSpPr>
            <p:nvPr/>
          </p:nvSpPr>
          <p:spPr bwMode="auto">
            <a:xfrm>
              <a:off x="2840039" y="4005264"/>
              <a:ext cx="9525" cy="12700"/>
            </a:xfrm>
            <a:custGeom>
              <a:avLst/>
              <a:gdLst>
                <a:gd name="T0" fmla="*/ 2147483647 w 7"/>
                <a:gd name="T1" fmla="*/ 2147483647 h 8"/>
                <a:gd name="T2" fmla="*/ 2147483647 w 7"/>
                <a:gd name="T3" fmla="*/ 2147483647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2147483647 w 7"/>
                <a:gd name="T15" fmla="*/ 2147483647 h 8"/>
                <a:gd name="T16" fmla="*/ 2147483647 w 7"/>
                <a:gd name="T17" fmla="*/ 2147483647 h 8"/>
                <a:gd name="T18" fmla="*/ 0 w 7"/>
                <a:gd name="T19" fmla="*/ 2147483647 h 8"/>
                <a:gd name="T20" fmla="*/ 0 w 7"/>
                <a:gd name="T21" fmla="*/ 2147483647 h 8"/>
                <a:gd name="T22" fmla="*/ 0 w 7"/>
                <a:gd name="T23" fmla="*/ 2147483647 h 8"/>
                <a:gd name="T24" fmla="*/ 2147483647 w 7"/>
                <a:gd name="T25" fmla="*/ 0 h 8"/>
                <a:gd name="T26" fmla="*/ 2147483647 w 7"/>
                <a:gd name="T27" fmla="*/ 2147483647 h 8"/>
                <a:gd name="T28" fmla="*/ 2147483647 w 7"/>
                <a:gd name="T29" fmla="*/ 2147483647 h 8"/>
                <a:gd name="T30" fmla="*/ 2147483647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6" y="3"/>
                  </a:moveTo>
                  <a:lnTo>
                    <a:pt x="6" y="3"/>
                  </a:lnTo>
                  <a:lnTo>
                    <a:pt x="7" y="6"/>
                  </a:lnTo>
                  <a:lnTo>
                    <a:pt x="7" y="7"/>
                  </a:lnTo>
                  <a:lnTo>
                    <a:pt x="6" y="8"/>
                  </a:lnTo>
                  <a:lnTo>
                    <a:pt x="4" y="8"/>
                  </a:lnTo>
                  <a:lnTo>
                    <a:pt x="1" y="7"/>
                  </a:lnTo>
                  <a:lnTo>
                    <a:pt x="0" y="3"/>
                  </a:lnTo>
                  <a:lnTo>
                    <a:pt x="0" y="1"/>
                  </a:lnTo>
                  <a:lnTo>
                    <a:pt x="1" y="0"/>
                  </a:lnTo>
                  <a:lnTo>
                    <a:pt x="2" y="1"/>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0" name="Freeform 499"/>
            <p:cNvSpPr>
              <a:spLocks/>
            </p:cNvSpPr>
            <p:nvPr/>
          </p:nvSpPr>
          <p:spPr bwMode="auto">
            <a:xfrm>
              <a:off x="2781300" y="4043367"/>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0 w 5"/>
                <a:gd name="T13" fmla="*/ 2147483647 h 6"/>
                <a:gd name="T14" fmla="*/ 2147483647 w 5"/>
                <a:gd name="T15" fmla="*/ 0 h 6"/>
                <a:gd name="T16" fmla="*/ 2147483647 w 5"/>
                <a:gd name="T17" fmla="*/ 0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3"/>
                  </a:moveTo>
                  <a:lnTo>
                    <a:pt x="5" y="4"/>
                  </a:lnTo>
                  <a:lnTo>
                    <a:pt x="5" y="6"/>
                  </a:lnTo>
                  <a:lnTo>
                    <a:pt x="3" y="4"/>
                  </a:lnTo>
                  <a:lnTo>
                    <a:pt x="2" y="3"/>
                  </a:lnTo>
                  <a:lnTo>
                    <a:pt x="0" y="2"/>
                  </a:lnTo>
                  <a:lnTo>
                    <a:pt x="0" y="1"/>
                  </a:lnTo>
                  <a:lnTo>
                    <a:pt x="2" y="0"/>
                  </a:lnTo>
                  <a:lnTo>
                    <a:pt x="3" y="0"/>
                  </a:lnTo>
                  <a:lnTo>
                    <a:pt x="4" y="1"/>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1" name="Freeform 500"/>
            <p:cNvSpPr>
              <a:spLocks/>
            </p:cNvSpPr>
            <p:nvPr/>
          </p:nvSpPr>
          <p:spPr bwMode="auto">
            <a:xfrm>
              <a:off x="2787654" y="4078291"/>
              <a:ext cx="22225" cy="26987"/>
            </a:xfrm>
            <a:custGeom>
              <a:avLst/>
              <a:gdLst>
                <a:gd name="T0" fmla="*/ 2147483647 w 15"/>
                <a:gd name="T1" fmla="*/ 2147483647 h 17"/>
                <a:gd name="T2" fmla="*/ 2147483647 w 15"/>
                <a:gd name="T3" fmla="*/ 2147483647 h 17"/>
                <a:gd name="T4" fmla="*/ 2147483647 w 15"/>
                <a:gd name="T5" fmla="*/ 2147483647 h 17"/>
                <a:gd name="T6" fmla="*/ 2147483647 w 15"/>
                <a:gd name="T7" fmla="*/ 2147483647 h 17"/>
                <a:gd name="T8" fmla="*/ 2147483647 w 15"/>
                <a:gd name="T9" fmla="*/ 0 h 17"/>
                <a:gd name="T10" fmla="*/ 2147483647 w 15"/>
                <a:gd name="T11" fmla="*/ 2147483647 h 17"/>
                <a:gd name="T12" fmla="*/ 2147483647 w 15"/>
                <a:gd name="T13" fmla="*/ 2147483647 h 17"/>
                <a:gd name="T14" fmla="*/ 2147483647 w 15"/>
                <a:gd name="T15" fmla="*/ 2147483647 h 17"/>
                <a:gd name="T16" fmla="*/ 2147483647 w 15"/>
                <a:gd name="T17" fmla="*/ 2147483647 h 17"/>
                <a:gd name="T18" fmla="*/ 2147483647 w 15"/>
                <a:gd name="T19" fmla="*/ 2147483647 h 17"/>
                <a:gd name="T20" fmla="*/ 0 w 15"/>
                <a:gd name="T21" fmla="*/ 2147483647 h 17"/>
                <a:gd name="T22" fmla="*/ 0 w 15"/>
                <a:gd name="T23" fmla="*/ 2147483647 h 17"/>
                <a:gd name="T24" fmla="*/ 0 w 15"/>
                <a:gd name="T25" fmla="*/ 2147483647 h 17"/>
                <a:gd name="T26" fmla="*/ 2147483647 w 15"/>
                <a:gd name="T27" fmla="*/ 2147483647 h 17"/>
                <a:gd name="T28" fmla="*/ 2147483647 w 15"/>
                <a:gd name="T29" fmla="*/ 2147483647 h 17"/>
                <a:gd name="T30" fmla="*/ 2147483647 w 15"/>
                <a:gd name="T31" fmla="*/ 2147483647 h 17"/>
                <a:gd name="T32" fmla="*/ 2147483647 w 15"/>
                <a:gd name="T33" fmla="*/ 2147483647 h 17"/>
                <a:gd name="T34" fmla="*/ 2147483647 w 15"/>
                <a:gd name="T35" fmla="*/ 2147483647 h 17"/>
                <a:gd name="T36" fmla="*/ 2147483647 w 15"/>
                <a:gd name="T37" fmla="*/ 2147483647 h 17"/>
                <a:gd name="T38" fmla="*/ 2147483647 w 15"/>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7"/>
                <a:gd name="T62" fmla="*/ 15 w 15"/>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7">
                  <a:moveTo>
                    <a:pt x="12" y="10"/>
                  </a:moveTo>
                  <a:lnTo>
                    <a:pt x="12" y="7"/>
                  </a:lnTo>
                  <a:lnTo>
                    <a:pt x="13" y="5"/>
                  </a:lnTo>
                  <a:lnTo>
                    <a:pt x="14" y="2"/>
                  </a:lnTo>
                  <a:lnTo>
                    <a:pt x="15" y="0"/>
                  </a:lnTo>
                  <a:lnTo>
                    <a:pt x="13" y="2"/>
                  </a:lnTo>
                  <a:lnTo>
                    <a:pt x="9" y="2"/>
                  </a:lnTo>
                  <a:lnTo>
                    <a:pt x="7" y="4"/>
                  </a:lnTo>
                  <a:lnTo>
                    <a:pt x="4" y="4"/>
                  </a:lnTo>
                  <a:lnTo>
                    <a:pt x="1" y="6"/>
                  </a:lnTo>
                  <a:lnTo>
                    <a:pt x="0" y="8"/>
                  </a:lnTo>
                  <a:lnTo>
                    <a:pt x="0" y="11"/>
                  </a:lnTo>
                  <a:lnTo>
                    <a:pt x="0" y="13"/>
                  </a:lnTo>
                  <a:lnTo>
                    <a:pt x="1" y="16"/>
                  </a:lnTo>
                  <a:lnTo>
                    <a:pt x="4" y="17"/>
                  </a:lnTo>
                  <a:lnTo>
                    <a:pt x="7" y="17"/>
                  </a:lnTo>
                  <a:lnTo>
                    <a:pt x="9" y="16"/>
                  </a:lnTo>
                  <a:lnTo>
                    <a:pt x="10" y="12"/>
                  </a:lnTo>
                  <a:lnTo>
                    <a:pt x="12" y="8"/>
                  </a:lnTo>
                  <a:lnTo>
                    <a:pt x="12"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2" name="Freeform 501"/>
            <p:cNvSpPr>
              <a:spLocks/>
            </p:cNvSpPr>
            <p:nvPr/>
          </p:nvSpPr>
          <p:spPr bwMode="auto">
            <a:xfrm>
              <a:off x="2779717" y="4040192"/>
              <a:ext cx="7937" cy="9525"/>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0 w 5"/>
                <a:gd name="T15" fmla="*/ 2147483647 h 6"/>
                <a:gd name="T16" fmla="*/ 0 w 5"/>
                <a:gd name="T17" fmla="*/ 2147483647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4"/>
                  </a:moveTo>
                  <a:lnTo>
                    <a:pt x="5" y="4"/>
                  </a:lnTo>
                  <a:lnTo>
                    <a:pt x="5" y="5"/>
                  </a:lnTo>
                  <a:lnTo>
                    <a:pt x="5" y="6"/>
                  </a:lnTo>
                  <a:lnTo>
                    <a:pt x="3" y="5"/>
                  </a:lnTo>
                  <a:lnTo>
                    <a:pt x="1" y="4"/>
                  </a:lnTo>
                  <a:lnTo>
                    <a:pt x="0" y="3"/>
                  </a:lnTo>
                  <a:lnTo>
                    <a:pt x="0" y="2"/>
                  </a:lnTo>
                  <a:lnTo>
                    <a:pt x="1" y="0"/>
                  </a:lnTo>
                  <a:lnTo>
                    <a:pt x="3" y="0"/>
                  </a:lnTo>
                  <a:lnTo>
                    <a:pt x="4" y="2"/>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3" name="Freeform 502"/>
            <p:cNvSpPr>
              <a:spLocks/>
            </p:cNvSpPr>
            <p:nvPr/>
          </p:nvSpPr>
          <p:spPr bwMode="auto">
            <a:xfrm>
              <a:off x="2786067" y="4076700"/>
              <a:ext cx="22225" cy="26988"/>
            </a:xfrm>
            <a:custGeom>
              <a:avLst/>
              <a:gdLst>
                <a:gd name="T0" fmla="*/ 2147483647 w 15"/>
                <a:gd name="T1" fmla="*/ 2147483647 h 17"/>
                <a:gd name="T2" fmla="*/ 2147483647 w 15"/>
                <a:gd name="T3" fmla="*/ 2147483647 h 17"/>
                <a:gd name="T4" fmla="*/ 2147483647 w 15"/>
                <a:gd name="T5" fmla="*/ 2147483647 h 17"/>
                <a:gd name="T6" fmla="*/ 2147483647 w 15"/>
                <a:gd name="T7" fmla="*/ 2147483647 h 17"/>
                <a:gd name="T8" fmla="*/ 2147483647 w 15"/>
                <a:gd name="T9" fmla="*/ 2147483647 h 17"/>
                <a:gd name="T10" fmla="*/ 2147483647 w 15"/>
                <a:gd name="T11" fmla="*/ 0 h 17"/>
                <a:gd name="T12" fmla="*/ 2147483647 w 15"/>
                <a:gd name="T13" fmla="*/ 0 h 17"/>
                <a:gd name="T14" fmla="*/ 2147483647 w 15"/>
                <a:gd name="T15" fmla="*/ 2147483647 h 17"/>
                <a:gd name="T16" fmla="*/ 2147483647 w 15"/>
                <a:gd name="T17" fmla="*/ 2147483647 h 17"/>
                <a:gd name="T18" fmla="*/ 2147483647 w 15"/>
                <a:gd name="T19" fmla="*/ 2147483647 h 17"/>
                <a:gd name="T20" fmla="*/ 2147483647 w 15"/>
                <a:gd name="T21" fmla="*/ 2147483647 h 17"/>
                <a:gd name="T22" fmla="*/ 2147483647 w 15"/>
                <a:gd name="T23" fmla="*/ 2147483647 h 17"/>
                <a:gd name="T24" fmla="*/ 2147483647 w 15"/>
                <a:gd name="T25" fmla="*/ 2147483647 h 17"/>
                <a:gd name="T26" fmla="*/ 0 w 15"/>
                <a:gd name="T27" fmla="*/ 2147483647 h 17"/>
                <a:gd name="T28" fmla="*/ 0 w 15"/>
                <a:gd name="T29" fmla="*/ 2147483647 h 17"/>
                <a:gd name="T30" fmla="*/ 0 w 15"/>
                <a:gd name="T31" fmla="*/ 2147483647 h 17"/>
                <a:gd name="T32" fmla="*/ 0 w 15"/>
                <a:gd name="T33" fmla="*/ 2147483647 h 17"/>
                <a:gd name="T34" fmla="*/ 2147483647 w 15"/>
                <a:gd name="T35" fmla="*/ 2147483647 h 17"/>
                <a:gd name="T36" fmla="*/ 2147483647 w 15"/>
                <a:gd name="T37" fmla="*/ 2147483647 h 17"/>
                <a:gd name="T38" fmla="*/ 2147483647 w 15"/>
                <a:gd name="T39" fmla="*/ 2147483647 h 17"/>
                <a:gd name="T40" fmla="*/ 2147483647 w 15"/>
                <a:gd name="T41" fmla="*/ 2147483647 h 17"/>
                <a:gd name="T42" fmla="*/ 2147483647 w 15"/>
                <a:gd name="T43" fmla="*/ 2147483647 h 17"/>
                <a:gd name="T44" fmla="*/ 2147483647 w 15"/>
                <a:gd name="T45" fmla="*/ 2147483647 h 17"/>
                <a:gd name="T46" fmla="*/ 2147483647 w 15"/>
                <a:gd name="T47" fmla="*/ 2147483647 h 17"/>
                <a:gd name="T48" fmla="*/ 2147483647 w 15"/>
                <a:gd name="T49" fmla="*/ 2147483647 h 17"/>
                <a:gd name="T50" fmla="*/ 2147483647 w 15"/>
                <a:gd name="T51" fmla="*/ 2147483647 h 17"/>
                <a:gd name="T52" fmla="*/ 2147483647 w 15"/>
                <a:gd name="T53" fmla="*/ 2147483647 h 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
                <a:gd name="T82" fmla="*/ 0 h 17"/>
                <a:gd name="T83" fmla="*/ 15 w 15"/>
                <a:gd name="T84" fmla="*/ 17 h 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 h="17">
                  <a:moveTo>
                    <a:pt x="11" y="9"/>
                  </a:moveTo>
                  <a:lnTo>
                    <a:pt x="11" y="9"/>
                  </a:lnTo>
                  <a:lnTo>
                    <a:pt x="11" y="7"/>
                  </a:lnTo>
                  <a:lnTo>
                    <a:pt x="13" y="5"/>
                  </a:lnTo>
                  <a:lnTo>
                    <a:pt x="14" y="2"/>
                  </a:lnTo>
                  <a:lnTo>
                    <a:pt x="15" y="0"/>
                  </a:lnTo>
                  <a:lnTo>
                    <a:pt x="13" y="2"/>
                  </a:lnTo>
                  <a:lnTo>
                    <a:pt x="9" y="2"/>
                  </a:lnTo>
                  <a:lnTo>
                    <a:pt x="6" y="3"/>
                  </a:lnTo>
                  <a:lnTo>
                    <a:pt x="4" y="3"/>
                  </a:lnTo>
                  <a:lnTo>
                    <a:pt x="1" y="6"/>
                  </a:lnTo>
                  <a:lnTo>
                    <a:pt x="0" y="8"/>
                  </a:lnTo>
                  <a:lnTo>
                    <a:pt x="0" y="11"/>
                  </a:lnTo>
                  <a:lnTo>
                    <a:pt x="0" y="13"/>
                  </a:lnTo>
                  <a:lnTo>
                    <a:pt x="1" y="15"/>
                  </a:lnTo>
                  <a:lnTo>
                    <a:pt x="4" y="17"/>
                  </a:lnTo>
                  <a:lnTo>
                    <a:pt x="6" y="17"/>
                  </a:lnTo>
                  <a:lnTo>
                    <a:pt x="9" y="15"/>
                  </a:lnTo>
                  <a:lnTo>
                    <a:pt x="10" y="12"/>
                  </a:lnTo>
                  <a:lnTo>
                    <a:pt x="11" y="8"/>
                  </a:lnTo>
                  <a:lnTo>
                    <a:pt x="11"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4" name="Freeform 503"/>
            <p:cNvSpPr>
              <a:spLocks/>
            </p:cNvSpPr>
            <p:nvPr/>
          </p:nvSpPr>
          <p:spPr bwMode="auto">
            <a:xfrm>
              <a:off x="3970338" y="4672013"/>
              <a:ext cx="11112" cy="12700"/>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0 w 8"/>
                <a:gd name="T9" fmla="*/ 2147483647 h 8"/>
                <a:gd name="T10" fmla="*/ 2147483647 w 8"/>
                <a:gd name="T11" fmla="*/ 2147483647 h 8"/>
                <a:gd name="T12" fmla="*/ 2147483647 w 8"/>
                <a:gd name="T13" fmla="*/ 0 h 8"/>
                <a:gd name="T14" fmla="*/ 2147483647 w 8"/>
                <a:gd name="T15" fmla="*/ 0 h 8"/>
                <a:gd name="T16" fmla="*/ 2147483647 w 8"/>
                <a:gd name="T17" fmla="*/ 0 h 8"/>
                <a:gd name="T18" fmla="*/ 2147483647 w 8"/>
                <a:gd name="T19" fmla="*/ 2147483647 h 8"/>
                <a:gd name="T20" fmla="*/ 2147483647 w 8"/>
                <a:gd name="T21" fmla="*/ 2147483647 h 8"/>
                <a:gd name="T22" fmla="*/ 2147483647 w 8"/>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7"/>
                  </a:moveTo>
                  <a:lnTo>
                    <a:pt x="3" y="8"/>
                  </a:lnTo>
                  <a:lnTo>
                    <a:pt x="2" y="8"/>
                  </a:lnTo>
                  <a:lnTo>
                    <a:pt x="1" y="7"/>
                  </a:lnTo>
                  <a:lnTo>
                    <a:pt x="0" y="5"/>
                  </a:lnTo>
                  <a:lnTo>
                    <a:pt x="1" y="3"/>
                  </a:lnTo>
                  <a:lnTo>
                    <a:pt x="5" y="0"/>
                  </a:lnTo>
                  <a:lnTo>
                    <a:pt x="6" y="0"/>
                  </a:lnTo>
                  <a:lnTo>
                    <a:pt x="7" y="0"/>
                  </a:lnTo>
                  <a:lnTo>
                    <a:pt x="8" y="3"/>
                  </a:lnTo>
                  <a:lnTo>
                    <a:pt x="8" y="5"/>
                  </a:lnTo>
                  <a:lnTo>
                    <a:pt x="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5" name="Freeform 504"/>
            <p:cNvSpPr>
              <a:spLocks/>
            </p:cNvSpPr>
            <p:nvPr/>
          </p:nvSpPr>
          <p:spPr bwMode="auto">
            <a:xfrm>
              <a:off x="4194176" y="4916489"/>
              <a:ext cx="12700" cy="12700"/>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0 w 9"/>
                <a:gd name="T13" fmla="*/ 2147483647 h 8"/>
                <a:gd name="T14" fmla="*/ 2147483647 w 9"/>
                <a:gd name="T15" fmla="*/ 2147483647 h 8"/>
                <a:gd name="T16" fmla="*/ 2147483647 w 9"/>
                <a:gd name="T17" fmla="*/ 0 h 8"/>
                <a:gd name="T18" fmla="*/ 2147483647 w 9"/>
                <a:gd name="T19" fmla="*/ 0 h 8"/>
                <a:gd name="T20" fmla="*/ 2147483647 w 9"/>
                <a:gd name="T21" fmla="*/ 2147483647 h 8"/>
                <a:gd name="T22" fmla="*/ 2147483647 w 9"/>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9" y="3"/>
                  </a:moveTo>
                  <a:lnTo>
                    <a:pt x="9" y="6"/>
                  </a:lnTo>
                  <a:lnTo>
                    <a:pt x="9" y="7"/>
                  </a:lnTo>
                  <a:lnTo>
                    <a:pt x="7" y="8"/>
                  </a:lnTo>
                  <a:lnTo>
                    <a:pt x="4" y="8"/>
                  </a:lnTo>
                  <a:lnTo>
                    <a:pt x="1" y="7"/>
                  </a:lnTo>
                  <a:lnTo>
                    <a:pt x="0" y="4"/>
                  </a:lnTo>
                  <a:lnTo>
                    <a:pt x="1" y="1"/>
                  </a:lnTo>
                  <a:lnTo>
                    <a:pt x="3" y="0"/>
                  </a:lnTo>
                  <a:lnTo>
                    <a:pt x="4" y="0"/>
                  </a:lnTo>
                  <a:lnTo>
                    <a:pt x="7" y="1"/>
                  </a:lnTo>
                  <a:lnTo>
                    <a:pt x="9"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6" name="Freeform 505"/>
            <p:cNvSpPr>
              <a:spLocks/>
            </p:cNvSpPr>
            <p:nvPr/>
          </p:nvSpPr>
          <p:spPr bwMode="auto">
            <a:xfrm>
              <a:off x="3967164" y="4668839"/>
              <a:ext cx="12700" cy="14288"/>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0 w 9"/>
                <a:gd name="T13" fmla="*/ 2147483647 h 9"/>
                <a:gd name="T14" fmla="*/ 2147483647 w 9"/>
                <a:gd name="T15" fmla="*/ 2147483647 h 9"/>
                <a:gd name="T16" fmla="*/ 2147483647 w 9"/>
                <a:gd name="T17" fmla="*/ 0 h 9"/>
                <a:gd name="T18" fmla="*/ 2147483647 w 9"/>
                <a:gd name="T19" fmla="*/ 0 h 9"/>
                <a:gd name="T20" fmla="*/ 2147483647 w 9"/>
                <a:gd name="T21" fmla="*/ 0 h 9"/>
                <a:gd name="T22" fmla="*/ 2147483647 w 9"/>
                <a:gd name="T23" fmla="*/ 0 h 9"/>
                <a:gd name="T24" fmla="*/ 2147483647 w 9"/>
                <a:gd name="T25" fmla="*/ 2147483647 h 9"/>
                <a:gd name="T26" fmla="*/ 2147483647 w 9"/>
                <a:gd name="T27" fmla="*/ 2147483647 h 9"/>
                <a:gd name="T28" fmla="*/ 2147483647 w 9"/>
                <a:gd name="T29" fmla="*/ 2147483647 h 9"/>
                <a:gd name="T30" fmla="*/ 2147483647 w 9"/>
                <a:gd name="T31" fmla="*/ 2147483647 h 9"/>
                <a:gd name="T32" fmla="*/ 2147483647 w 9"/>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9"/>
                <a:gd name="T53" fmla="*/ 9 w 9"/>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9">
                  <a:moveTo>
                    <a:pt x="7" y="7"/>
                  </a:moveTo>
                  <a:lnTo>
                    <a:pt x="7" y="7"/>
                  </a:lnTo>
                  <a:lnTo>
                    <a:pt x="4" y="9"/>
                  </a:lnTo>
                  <a:lnTo>
                    <a:pt x="3" y="9"/>
                  </a:lnTo>
                  <a:lnTo>
                    <a:pt x="2" y="7"/>
                  </a:lnTo>
                  <a:lnTo>
                    <a:pt x="0" y="6"/>
                  </a:lnTo>
                  <a:lnTo>
                    <a:pt x="2" y="4"/>
                  </a:lnTo>
                  <a:lnTo>
                    <a:pt x="5" y="0"/>
                  </a:lnTo>
                  <a:lnTo>
                    <a:pt x="7" y="0"/>
                  </a:lnTo>
                  <a:lnTo>
                    <a:pt x="8" y="0"/>
                  </a:lnTo>
                  <a:lnTo>
                    <a:pt x="9" y="4"/>
                  </a:lnTo>
                  <a:lnTo>
                    <a:pt x="9" y="6"/>
                  </a:lnTo>
                  <a:lnTo>
                    <a:pt x="7"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7" name="Freeform 506"/>
            <p:cNvSpPr>
              <a:spLocks/>
            </p:cNvSpPr>
            <p:nvPr/>
          </p:nvSpPr>
          <p:spPr bwMode="auto">
            <a:xfrm>
              <a:off x="4192588" y="4913317"/>
              <a:ext cx="12700" cy="14288"/>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0 w 9"/>
                <a:gd name="T17" fmla="*/ 2147483647 h 9"/>
                <a:gd name="T18" fmla="*/ 0 w 9"/>
                <a:gd name="T19" fmla="*/ 2147483647 h 9"/>
                <a:gd name="T20" fmla="*/ 2147483647 w 9"/>
                <a:gd name="T21" fmla="*/ 2147483647 h 9"/>
                <a:gd name="T22" fmla="*/ 2147483647 w 9"/>
                <a:gd name="T23" fmla="*/ 0 h 9"/>
                <a:gd name="T24" fmla="*/ 2147483647 w 9"/>
                <a:gd name="T25" fmla="*/ 0 h 9"/>
                <a:gd name="T26" fmla="*/ 2147483647 w 9"/>
                <a:gd name="T27" fmla="*/ 0 h 9"/>
                <a:gd name="T28" fmla="*/ 2147483647 w 9"/>
                <a:gd name="T29" fmla="*/ 2147483647 h 9"/>
                <a:gd name="T30" fmla="*/ 2147483647 w 9"/>
                <a:gd name="T31" fmla="*/ 2147483647 h 9"/>
                <a:gd name="T32" fmla="*/ 2147483647 w 9"/>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9"/>
                <a:gd name="T53" fmla="*/ 9 w 9"/>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9">
                  <a:moveTo>
                    <a:pt x="9" y="4"/>
                  </a:moveTo>
                  <a:lnTo>
                    <a:pt x="9" y="4"/>
                  </a:lnTo>
                  <a:lnTo>
                    <a:pt x="9" y="6"/>
                  </a:lnTo>
                  <a:lnTo>
                    <a:pt x="9" y="8"/>
                  </a:lnTo>
                  <a:lnTo>
                    <a:pt x="6" y="9"/>
                  </a:lnTo>
                  <a:lnTo>
                    <a:pt x="4" y="9"/>
                  </a:lnTo>
                  <a:lnTo>
                    <a:pt x="1" y="8"/>
                  </a:lnTo>
                  <a:lnTo>
                    <a:pt x="0" y="5"/>
                  </a:lnTo>
                  <a:lnTo>
                    <a:pt x="1" y="2"/>
                  </a:lnTo>
                  <a:lnTo>
                    <a:pt x="2" y="0"/>
                  </a:lnTo>
                  <a:lnTo>
                    <a:pt x="4" y="0"/>
                  </a:lnTo>
                  <a:lnTo>
                    <a:pt x="6" y="2"/>
                  </a:lnTo>
                  <a:lnTo>
                    <a:pt x="9"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8" name="Freeform 507"/>
            <p:cNvSpPr>
              <a:spLocks/>
            </p:cNvSpPr>
            <p:nvPr/>
          </p:nvSpPr>
          <p:spPr bwMode="auto">
            <a:xfrm>
              <a:off x="4017967" y="5641975"/>
              <a:ext cx="7937" cy="11113"/>
            </a:xfrm>
            <a:custGeom>
              <a:avLst/>
              <a:gdLst>
                <a:gd name="T0" fmla="*/ 0 w 5"/>
                <a:gd name="T1" fmla="*/ 2147483647 h 7"/>
                <a:gd name="T2" fmla="*/ 0 w 5"/>
                <a:gd name="T3" fmla="*/ 2147483647 h 7"/>
                <a:gd name="T4" fmla="*/ 2147483647 w 5"/>
                <a:gd name="T5" fmla="*/ 0 h 7"/>
                <a:gd name="T6" fmla="*/ 2147483647 w 5"/>
                <a:gd name="T7" fmla="*/ 0 h 7"/>
                <a:gd name="T8" fmla="*/ 2147483647 w 5"/>
                <a:gd name="T9" fmla="*/ 2147483647 h 7"/>
                <a:gd name="T10" fmla="*/ 2147483647 w 5"/>
                <a:gd name="T11" fmla="*/ 2147483647 h 7"/>
                <a:gd name="T12" fmla="*/ 2147483647 w 5"/>
                <a:gd name="T13" fmla="*/ 2147483647 h 7"/>
                <a:gd name="T14" fmla="*/ 2147483647 w 5"/>
                <a:gd name="T15" fmla="*/ 2147483647 h 7"/>
                <a:gd name="T16" fmla="*/ 0 w 5"/>
                <a:gd name="T17" fmla="*/ 2147483647 h 7"/>
                <a:gd name="T18" fmla="*/ 0 w 5"/>
                <a:gd name="T19" fmla="*/ 2147483647 h 7"/>
                <a:gd name="T20" fmla="*/ 0 w 5"/>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0" y="3"/>
                  </a:moveTo>
                  <a:lnTo>
                    <a:pt x="0" y="1"/>
                  </a:lnTo>
                  <a:lnTo>
                    <a:pt x="2" y="0"/>
                  </a:lnTo>
                  <a:lnTo>
                    <a:pt x="3" y="0"/>
                  </a:lnTo>
                  <a:lnTo>
                    <a:pt x="5" y="1"/>
                  </a:lnTo>
                  <a:lnTo>
                    <a:pt x="5" y="5"/>
                  </a:lnTo>
                  <a:lnTo>
                    <a:pt x="5" y="6"/>
                  </a:lnTo>
                  <a:lnTo>
                    <a:pt x="3" y="7"/>
                  </a:lnTo>
                  <a:lnTo>
                    <a:pt x="0" y="7"/>
                  </a:lnTo>
                  <a:lnTo>
                    <a:pt x="0" y="5"/>
                  </a:lnTo>
                  <a:lnTo>
                    <a:pt x="0"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09" name="Freeform 508"/>
            <p:cNvSpPr>
              <a:spLocks/>
            </p:cNvSpPr>
            <p:nvPr/>
          </p:nvSpPr>
          <p:spPr bwMode="auto">
            <a:xfrm>
              <a:off x="3386138" y="6240467"/>
              <a:ext cx="61912" cy="36512"/>
            </a:xfrm>
            <a:custGeom>
              <a:avLst/>
              <a:gdLst>
                <a:gd name="T0" fmla="*/ 2147483647 w 42"/>
                <a:gd name="T1" fmla="*/ 2147483647 h 23"/>
                <a:gd name="T2" fmla="*/ 2147483647 w 42"/>
                <a:gd name="T3" fmla="*/ 2147483647 h 23"/>
                <a:gd name="T4" fmla="*/ 2147483647 w 42"/>
                <a:gd name="T5" fmla="*/ 2147483647 h 23"/>
                <a:gd name="T6" fmla="*/ 0 w 42"/>
                <a:gd name="T7" fmla="*/ 2147483647 h 23"/>
                <a:gd name="T8" fmla="*/ 0 w 42"/>
                <a:gd name="T9" fmla="*/ 2147483647 h 23"/>
                <a:gd name="T10" fmla="*/ 0 w 42"/>
                <a:gd name="T11" fmla="*/ 2147483647 h 23"/>
                <a:gd name="T12" fmla="*/ 2147483647 w 42"/>
                <a:gd name="T13" fmla="*/ 2147483647 h 23"/>
                <a:gd name="T14" fmla="*/ 2147483647 w 42"/>
                <a:gd name="T15" fmla="*/ 2147483647 h 23"/>
                <a:gd name="T16" fmla="*/ 2147483647 w 42"/>
                <a:gd name="T17" fmla="*/ 0 h 23"/>
                <a:gd name="T18" fmla="*/ 2147483647 w 42"/>
                <a:gd name="T19" fmla="*/ 0 h 23"/>
                <a:gd name="T20" fmla="*/ 2147483647 w 42"/>
                <a:gd name="T21" fmla="*/ 2147483647 h 23"/>
                <a:gd name="T22" fmla="*/ 2147483647 w 42"/>
                <a:gd name="T23" fmla="*/ 2147483647 h 23"/>
                <a:gd name="T24" fmla="*/ 2147483647 w 42"/>
                <a:gd name="T25" fmla="*/ 2147483647 h 23"/>
                <a:gd name="T26" fmla="*/ 2147483647 w 42"/>
                <a:gd name="T27" fmla="*/ 2147483647 h 23"/>
                <a:gd name="T28" fmla="*/ 2147483647 w 42"/>
                <a:gd name="T29" fmla="*/ 2147483647 h 23"/>
                <a:gd name="T30" fmla="*/ 2147483647 w 42"/>
                <a:gd name="T31" fmla="*/ 2147483647 h 23"/>
                <a:gd name="T32" fmla="*/ 2147483647 w 42"/>
                <a:gd name="T33" fmla="*/ 2147483647 h 23"/>
                <a:gd name="T34" fmla="*/ 2147483647 w 42"/>
                <a:gd name="T35" fmla="*/ 2147483647 h 23"/>
                <a:gd name="T36" fmla="*/ 2147483647 w 42"/>
                <a:gd name="T37" fmla="*/ 2147483647 h 23"/>
                <a:gd name="T38" fmla="*/ 2147483647 w 42"/>
                <a:gd name="T39" fmla="*/ 2147483647 h 23"/>
                <a:gd name="T40" fmla="*/ 2147483647 w 42"/>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23"/>
                <a:gd name="T65" fmla="*/ 42 w 42"/>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23">
                  <a:moveTo>
                    <a:pt x="17" y="11"/>
                  </a:moveTo>
                  <a:lnTo>
                    <a:pt x="10" y="10"/>
                  </a:lnTo>
                  <a:lnTo>
                    <a:pt x="4" y="9"/>
                  </a:lnTo>
                  <a:lnTo>
                    <a:pt x="0" y="7"/>
                  </a:lnTo>
                  <a:lnTo>
                    <a:pt x="0" y="6"/>
                  </a:lnTo>
                  <a:lnTo>
                    <a:pt x="0" y="4"/>
                  </a:lnTo>
                  <a:lnTo>
                    <a:pt x="1" y="3"/>
                  </a:lnTo>
                  <a:lnTo>
                    <a:pt x="4" y="2"/>
                  </a:lnTo>
                  <a:lnTo>
                    <a:pt x="10" y="0"/>
                  </a:lnTo>
                  <a:lnTo>
                    <a:pt x="15" y="0"/>
                  </a:lnTo>
                  <a:lnTo>
                    <a:pt x="20" y="2"/>
                  </a:lnTo>
                  <a:lnTo>
                    <a:pt x="27" y="3"/>
                  </a:lnTo>
                  <a:lnTo>
                    <a:pt x="33" y="6"/>
                  </a:lnTo>
                  <a:lnTo>
                    <a:pt x="37" y="11"/>
                  </a:lnTo>
                  <a:lnTo>
                    <a:pt x="41" y="16"/>
                  </a:lnTo>
                  <a:lnTo>
                    <a:pt x="42" y="19"/>
                  </a:lnTo>
                  <a:lnTo>
                    <a:pt x="41" y="22"/>
                  </a:lnTo>
                  <a:lnTo>
                    <a:pt x="39" y="23"/>
                  </a:lnTo>
                  <a:lnTo>
                    <a:pt x="37" y="22"/>
                  </a:lnTo>
                  <a:lnTo>
                    <a:pt x="27" y="15"/>
                  </a:lnTo>
                  <a:lnTo>
                    <a:pt x="17"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0" name="Freeform 509"/>
            <p:cNvSpPr>
              <a:spLocks/>
            </p:cNvSpPr>
            <p:nvPr/>
          </p:nvSpPr>
          <p:spPr bwMode="auto">
            <a:xfrm>
              <a:off x="4014792" y="5640391"/>
              <a:ext cx="7937" cy="11112"/>
            </a:xfrm>
            <a:custGeom>
              <a:avLst/>
              <a:gdLst>
                <a:gd name="T0" fmla="*/ 0 w 5"/>
                <a:gd name="T1" fmla="*/ 2147483647 h 7"/>
                <a:gd name="T2" fmla="*/ 0 w 5"/>
                <a:gd name="T3" fmla="*/ 2147483647 h 7"/>
                <a:gd name="T4" fmla="*/ 0 w 5"/>
                <a:gd name="T5" fmla="*/ 2147483647 h 7"/>
                <a:gd name="T6" fmla="*/ 2147483647 w 5"/>
                <a:gd name="T7" fmla="*/ 0 h 7"/>
                <a:gd name="T8" fmla="*/ 2147483647 w 5"/>
                <a:gd name="T9" fmla="*/ 0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0 w 5"/>
                <a:gd name="T23" fmla="*/ 2147483647 h 7"/>
                <a:gd name="T24" fmla="*/ 0 w 5"/>
                <a:gd name="T25" fmla="*/ 2147483647 h 7"/>
                <a:gd name="T26" fmla="*/ 0 w 5"/>
                <a:gd name="T27" fmla="*/ 2147483647 h 7"/>
                <a:gd name="T28" fmla="*/ 0 w 5"/>
                <a:gd name="T29" fmla="*/ 2147483647 h 7"/>
                <a:gd name="T30" fmla="*/ 0 w 5"/>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7"/>
                <a:gd name="T50" fmla="*/ 5 w 5"/>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7">
                  <a:moveTo>
                    <a:pt x="0" y="2"/>
                  </a:moveTo>
                  <a:lnTo>
                    <a:pt x="0" y="2"/>
                  </a:lnTo>
                  <a:lnTo>
                    <a:pt x="0" y="1"/>
                  </a:lnTo>
                  <a:lnTo>
                    <a:pt x="3" y="0"/>
                  </a:lnTo>
                  <a:lnTo>
                    <a:pt x="4" y="0"/>
                  </a:lnTo>
                  <a:lnTo>
                    <a:pt x="5" y="1"/>
                  </a:lnTo>
                  <a:lnTo>
                    <a:pt x="5" y="5"/>
                  </a:lnTo>
                  <a:lnTo>
                    <a:pt x="5" y="6"/>
                  </a:lnTo>
                  <a:lnTo>
                    <a:pt x="4" y="7"/>
                  </a:lnTo>
                  <a:lnTo>
                    <a:pt x="0" y="7"/>
                  </a:lnTo>
                  <a:lnTo>
                    <a:pt x="0" y="5"/>
                  </a:lnTo>
                  <a:lnTo>
                    <a:pt x="0"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1" name="Freeform 510"/>
            <p:cNvSpPr>
              <a:spLocks/>
            </p:cNvSpPr>
            <p:nvPr/>
          </p:nvSpPr>
          <p:spPr bwMode="auto">
            <a:xfrm>
              <a:off x="3384554" y="6238876"/>
              <a:ext cx="61913" cy="36513"/>
            </a:xfrm>
            <a:custGeom>
              <a:avLst/>
              <a:gdLst>
                <a:gd name="T0" fmla="*/ 2147483647 w 42"/>
                <a:gd name="T1" fmla="*/ 2147483647 h 23"/>
                <a:gd name="T2" fmla="*/ 2147483647 w 42"/>
                <a:gd name="T3" fmla="*/ 2147483647 h 23"/>
                <a:gd name="T4" fmla="*/ 2147483647 w 42"/>
                <a:gd name="T5" fmla="*/ 2147483647 h 23"/>
                <a:gd name="T6" fmla="*/ 2147483647 w 42"/>
                <a:gd name="T7" fmla="*/ 2147483647 h 23"/>
                <a:gd name="T8" fmla="*/ 0 w 42"/>
                <a:gd name="T9" fmla="*/ 2147483647 h 23"/>
                <a:gd name="T10" fmla="*/ 0 w 42"/>
                <a:gd name="T11" fmla="*/ 2147483647 h 23"/>
                <a:gd name="T12" fmla="*/ 0 w 42"/>
                <a:gd name="T13" fmla="*/ 2147483647 h 23"/>
                <a:gd name="T14" fmla="*/ 0 w 42"/>
                <a:gd name="T15" fmla="*/ 2147483647 h 23"/>
                <a:gd name="T16" fmla="*/ 2147483647 w 42"/>
                <a:gd name="T17" fmla="*/ 2147483647 h 23"/>
                <a:gd name="T18" fmla="*/ 2147483647 w 42"/>
                <a:gd name="T19" fmla="*/ 2147483647 h 23"/>
                <a:gd name="T20" fmla="*/ 2147483647 w 42"/>
                <a:gd name="T21" fmla="*/ 0 h 23"/>
                <a:gd name="T22" fmla="*/ 2147483647 w 42"/>
                <a:gd name="T23" fmla="*/ 0 h 23"/>
                <a:gd name="T24" fmla="*/ 2147483647 w 42"/>
                <a:gd name="T25" fmla="*/ 2147483647 h 23"/>
                <a:gd name="T26" fmla="*/ 2147483647 w 42"/>
                <a:gd name="T27" fmla="*/ 2147483647 h 23"/>
                <a:gd name="T28" fmla="*/ 2147483647 w 42"/>
                <a:gd name="T29" fmla="*/ 2147483647 h 23"/>
                <a:gd name="T30" fmla="*/ 2147483647 w 42"/>
                <a:gd name="T31" fmla="*/ 2147483647 h 23"/>
                <a:gd name="T32" fmla="*/ 2147483647 w 42"/>
                <a:gd name="T33" fmla="*/ 2147483647 h 23"/>
                <a:gd name="T34" fmla="*/ 2147483647 w 42"/>
                <a:gd name="T35" fmla="*/ 2147483647 h 23"/>
                <a:gd name="T36" fmla="*/ 2147483647 w 42"/>
                <a:gd name="T37" fmla="*/ 2147483647 h 23"/>
                <a:gd name="T38" fmla="*/ 2147483647 w 42"/>
                <a:gd name="T39" fmla="*/ 2147483647 h 23"/>
                <a:gd name="T40" fmla="*/ 2147483647 w 42"/>
                <a:gd name="T41" fmla="*/ 2147483647 h 23"/>
                <a:gd name="T42" fmla="*/ 2147483647 w 42"/>
                <a:gd name="T43" fmla="*/ 2147483647 h 23"/>
                <a:gd name="T44" fmla="*/ 2147483647 w 42"/>
                <a:gd name="T45" fmla="*/ 2147483647 h 23"/>
                <a:gd name="T46" fmla="*/ 2147483647 w 42"/>
                <a:gd name="T47" fmla="*/ 2147483647 h 23"/>
                <a:gd name="T48" fmla="*/ 2147483647 w 42"/>
                <a:gd name="T49" fmla="*/ 2147483647 h 23"/>
                <a:gd name="T50" fmla="*/ 2147483647 w 42"/>
                <a:gd name="T51" fmla="*/ 2147483647 h 23"/>
                <a:gd name="T52" fmla="*/ 2147483647 w 42"/>
                <a:gd name="T53" fmla="*/ 2147483647 h 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23"/>
                <a:gd name="T83" fmla="*/ 42 w 42"/>
                <a:gd name="T84" fmla="*/ 23 h 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23">
                  <a:moveTo>
                    <a:pt x="16" y="11"/>
                  </a:moveTo>
                  <a:lnTo>
                    <a:pt x="16" y="11"/>
                  </a:lnTo>
                  <a:lnTo>
                    <a:pt x="10" y="10"/>
                  </a:lnTo>
                  <a:lnTo>
                    <a:pt x="4" y="8"/>
                  </a:lnTo>
                  <a:lnTo>
                    <a:pt x="0" y="7"/>
                  </a:lnTo>
                  <a:lnTo>
                    <a:pt x="0" y="6"/>
                  </a:lnTo>
                  <a:lnTo>
                    <a:pt x="0" y="4"/>
                  </a:lnTo>
                  <a:lnTo>
                    <a:pt x="1" y="3"/>
                  </a:lnTo>
                  <a:lnTo>
                    <a:pt x="4" y="1"/>
                  </a:lnTo>
                  <a:lnTo>
                    <a:pt x="10" y="0"/>
                  </a:lnTo>
                  <a:lnTo>
                    <a:pt x="15" y="0"/>
                  </a:lnTo>
                  <a:lnTo>
                    <a:pt x="20" y="1"/>
                  </a:lnTo>
                  <a:lnTo>
                    <a:pt x="27" y="3"/>
                  </a:lnTo>
                  <a:lnTo>
                    <a:pt x="33" y="6"/>
                  </a:lnTo>
                  <a:lnTo>
                    <a:pt x="37" y="11"/>
                  </a:lnTo>
                  <a:lnTo>
                    <a:pt x="40" y="16"/>
                  </a:lnTo>
                  <a:lnTo>
                    <a:pt x="42" y="19"/>
                  </a:lnTo>
                  <a:lnTo>
                    <a:pt x="40" y="21"/>
                  </a:lnTo>
                  <a:lnTo>
                    <a:pt x="39" y="23"/>
                  </a:lnTo>
                  <a:lnTo>
                    <a:pt x="37" y="21"/>
                  </a:lnTo>
                  <a:lnTo>
                    <a:pt x="27" y="14"/>
                  </a:lnTo>
                  <a:lnTo>
                    <a:pt x="16"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2" name="Freeform 511"/>
            <p:cNvSpPr>
              <a:spLocks/>
            </p:cNvSpPr>
            <p:nvPr/>
          </p:nvSpPr>
          <p:spPr bwMode="auto">
            <a:xfrm>
              <a:off x="3663950" y="1874837"/>
              <a:ext cx="44450" cy="25400"/>
            </a:xfrm>
            <a:custGeom>
              <a:avLst/>
              <a:gdLst>
                <a:gd name="T0" fmla="*/ 2147483647 w 31"/>
                <a:gd name="T1" fmla="*/ 2147483647 h 16"/>
                <a:gd name="T2" fmla="*/ 2147483647 w 31"/>
                <a:gd name="T3" fmla="*/ 2147483647 h 16"/>
                <a:gd name="T4" fmla="*/ 2147483647 w 31"/>
                <a:gd name="T5" fmla="*/ 2147483647 h 16"/>
                <a:gd name="T6" fmla="*/ 2147483647 w 31"/>
                <a:gd name="T7" fmla="*/ 2147483647 h 16"/>
                <a:gd name="T8" fmla="*/ 2147483647 w 31"/>
                <a:gd name="T9" fmla="*/ 2147483647 h 16"/>
                <a:gd name="T10" fmla="*/ 0 w 31"/>
                <a:gd name="T11" fmla="*/ 2147483647 h 16"/>
                <a:gd name="T12" fmla="*/ 0 w 31"/>
                <a:gd name="T13" fmla="*/ 2147483647 h 16"/>
                <a:gd name="T14" fmla="*/ 2147483647 w 31"/>
                <a:gd name="T15" fmla="*/ 2147483647 h 16"/>
                <a:gd name="T16" fmla="*/ 2147483647 w 31"/>
                <a:gd name="T17" fmla="*/ 2147483647 h 16"/>
                <a:gd name="T18" fmla="*/ 2147483647 w 31"/>
                <a:gd name="T19" fmla="*/ 0 h 16"/>
                <a:gd name="T20" fmla="*/ 2147483647 w 31"/>
                <a:gd name="T21" fmla="*/ 0 h 16"/>
                <a:gd name="T22" fmla="*/ 2147483647 w 31"/>
                <a:gd name="T23" fmla="*/ 2147483647 h 16"/>
                <a:gd name="T24" fmla="*/ 2147483647 w 31"/>
                <a:gd name="T25" fmla="*/ 2147483647 h 16"/>
                <a:gd name="T26" fmla="*/ 2147483647 w 31"/>
                <a:gd name="T27" fmla="*/ 2147483647 h 16"/>
                <a:gd name="T28" fmla="*/ 2147483647 w 31"/>
                <a:gd name="T29" fmla="*/ 2147483647 h 16"/>
                <a:gd name="T30" fmla="*/ 2147483647 w 31"/>
                <a:gd name="T31" fmla="*/ 2147483647 h 16"/>
                <a:gd name="T32" fmla="*/ 2147483647 w 31"/>
                <a:gd name="T33" fmla="*/ 2147483647 h 16"/>
                <a:gd name="T34" fmla="*/ 2147483647 w 31"/>
                <a:gd name="T35" fmla="*/ 2147483647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6"/>
                <a:gd name="T56" fmla="*/ 31 w 31"/>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6">
                  <a:moveTo>
                    <a:pt x="19" y="14"/>
                  </a:moveTo>
                  <a:lnTo>
                    <a:pt x="12" y="15"/>
                  </a:lnTo>
                  <a:lnTo>
                    <a:pt x="5" y="16"/>
                  </a:lnTo>
                  <a:lnTo>
                    <a:pt x="3" y="15"/>
                  </a:lnTo>
                  <a:lnTo>
                    <a:pt x="2" y="14"/>
                  </a:lnTo>
                  <a:lnTo>
                    <a:pt x="0" y="12"/>
                  </a:lnTo>
                  <a:lnTo>
                    <a:pt x="0" y="8"/>
                  </a:lnTo>
                  <a:lnTo>
                    <a:pt x="3" y="6"/>
                  </a:lnTo>
                  <a:lnTo>
                    <a:pt x="7" y="3"/>
                  </a:lnTo>
                  <a:lnTo>
                    <a:pt x="17" y="0"/>
                  </a:lnTo>
                  <a:lnTo>
                    <a:pt x="22" y="0"/>
                  </a:lnTo>
                  <a:lnTo>
                    <a:pt x="27" y="1"/>
                  </a:lnTo>
                  <a:lnTo>
                    <a:pt x="31" y="3"/>
                  </a:lnTo>
                  <a:lnTo>
                    <a:pt x="31" y="6"/>
                  </a:lnTo>
                  <a:lnTo>
                    <a:pt x="31" y="8"/>
                  </a:lnTo>
                  <a:lnTo>
                    <a:pt x="28" y="10"/>
                  </a:lnTo>
                  <a:lnTo>
                    <a:pt x="26" y="12"/>
                  </a:lnTo>
                  <a:lnTo>
                    <a:pt x="19"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3" name="Freeform 512"/>
            <p:cNvSpPr>
              <a:spLocks/>
            </p:cNvSpPr>
            <p:nvPr/>
          </p:nvSpPr>
          <p:spPr bwMode="auto">
            <a:xfrm>
              <a:off x="3729039" y="1781175"/>
              <a:ext cx="36512" cy="26988"/>
            </a:xfrm>
            <a:custGeom>
              <a:avLst/>
              <a:gdLst>
                <a:gd name="T0" fmla="*/ 2147483647 w 25"/>
                <a:gd name="T1" fmla="*/ 2147483647 h 17"/>
                <a:gd name="T2" fmla="*/ 2147483647 w 25"/>
                <a:gd name="T3" fmla="*/ 2147483647 h 17"/>
                <a:gd name="T4" fmla="*/ 2147483647 w 25"/>
                <a:gd name="T5" fmla="*/ 2147483647 h 17"/>
                <a:gd name="T6" fmla="*/ 2147483647 w 25"/>
                <a:gd name="T7" fmla="*/ 2147483647 h 17"/>
                <a:gd name="T8" fmla="*/ 2147483647 w 25"/>
                <a:gd name="T9" fmla="*/ 2147483647 h 17"/>
                <a:gd name="T10" fmla="*/ 2147483647 w 25"/>
                <a:gd name="T11" fmla="*/ 0 h 17"/>
                <a:gd name="T12" fmla="*/ 2147483647 w 25"/>
                <a:gd name="T13" fmla="*/ 0 h 17"/>
                <a:gd name="T14" fmla="*/ 2147483647 w 25"/>
                <a:gd name="T15" fmla="*/ 2147483647 h 17"/>
                <a:gd name="T16" fmla="*/ 0 w 25"/>
                <a:gd name="T17" fmla="*/ 2147483647 h 17"/>
                <a:gd name="T18" fmla="*/ 0 w 25"/>
                <a:gd name="T19" fmla="*/ 2147483647 h 17"/>
                <a:gd name="T20" fmla="*/ 0 w 25"/>
                <a:gd name="T21" fmla="*/ 2147483647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2147483647 w 25"/>
                <a:gd name="T35" fmla="*/ 2147483647 h 17"/>
                <a:gd name="T36" fmla="*/ 2147483647 w 25"/>
                <a:gd name="T37" fmla="*/ 2147483647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17"/>
                <a:gd name="T59" fmla="*/ 25 w 25"/>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17">
                  <a:moveTo>
                    <a:pt x="25" y="14"/>
                  </a:moveTo>
                  <a:lnTo>
                    <a:pt x="24" y="9"/>
                  </a:lnTo>
                  <a:lnTo>
                    <a:pt x="21" y="5"/>
                  </a:lnTo>
                  <a:lnTo>
                    <a:pt x="18" y="2"/>
                  </a:lnTo>
                  <a:lnTo>
                    <a:pt x="12" y="1"/>
                  </a:lnTo>
                  <a:lnTo>
                    <a:pt x="9" y="0"/>
                  </a:lnTo>
                  <a:lnTo>
                    <a:pt x="5" y="0"/>
                  </a:lnTo>
                  <a:lnTo>
                    <a:pt x="2" y="1"/>
                  </a:lnTo>
                  <a:lnTo>
                    <a:pt x="0" y="3"/>
                  </a:lnTo>
                  <a:lnTo>
                    <a:pt x="0" y="7"/>
                  </a:lnTo>
                  <a:lnTo>
                    <a:pt x="0" y="9"/>
                  </a:lnTo>
                  <a:lnTo>
                    <a:pt x="2" y="10"/>
                  </a:lnTo>
                  <a:lnTo>
                    <a:pt x="5" y="13"/>
                  </a:lnTo>
                  <a:lnTo>
                    <a:pt x="11" y="15"/>
                  </a:lnTo>
                  <a:lnTo>
                    <a:pt x="18" y="17"/>
                  </a:lnTo>
                  <a:lnTo>
                    <a:pt x="20" y="17"/>
                  </a:lnTo>
                  <a:lnTo>
                    <a:pt x="23" y="17"/>
                  </a:lnTo>
                  <a:lnTo>
                    <a:pt x="24" y="16"/>
                  </a:lnTo>
                  <a:lnTo>
                    <a:pt x="25"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4" name="Freeform 513"/>
            <p:cNvSpPr>
              <a:spLocks/>
            </p:cNvSpPr>
            <p:nvPr/>
          </p:nvSpPr>
          <p:spPr bwMode="auto">
            <a:xfrm>
              <a:off x="3662364" y="1873250"/>
              <a:ext cx="44450" cy="25400"/>
            </a:xfrm>
            <a:custGeom>
              <a:avLst/>
              <a:gdLst>
                <a:gd name="T0" fmla="*/ 2147483647 w 31"/>
                <a:gd name="T1" fmla="*/ 2147483647 h 16"/>
                <a:gd name="T2" fmla="*/ 2147483647 w 31"/>
                <a:gd name="T3" fmla="*/ 2147483647 h 16"/>
                <a:gd name="T4" fmla="*/ 2147483647 w 31"/>
                <a:gd name="T5" fmla="*/ 2147483647 h 16"/>
                <a:gd name="T6" fmla="*/ 2147483647 w 31"/>
                <a:gd name="T7" fmla="*/ 2147483647 h 16"/>
                <a:gd name="T8" fmla="*/ 2147483647 w 31"/>
                <a:gd name="T9" fmla="*/ 2147483647 h 16"/>
                <a:gd name="T10" fmla="*/ 2147483647 w 31"/>
                <a:gd name="T11" fmla="*/ 2147483647 h 16"/>
                <a:gd name="T12" fmla="*/ 0 w 31"/>
                <a:gd name="T13" fmla="*/ 2147483647 h 16"/>
                <a:gd name="T14" fmla="*/ 0 w 31"/>
                <a:gd name="T15" fmla="*/ 2147483647 h 16"/>
                <a:gd name="T16" fmla="*/ 0 w 31"/>
                <a:gd name="T17" fmla="*/ 2147483647 h 16"/>
                <a:gd name="T18" fmla="*/ 2147483647 w 31"/>
                <a:gd name="T19" fmla="*/ 2147483647 h 16"/>
                <a:gd name="T20" fmla="*/ 2147483647 w 31"/>
                <a:gd name="T21" fmla="*/ 2147483647 h 16"/>
                <a:gd name="T22" fmla="*/ 2147483647 w 31"/>
                <a:gd name="T23" fmla="*/ 0 h 16"/>
                <a:gd name="T24" fmla="*/ 2147483647 w 31"/>
                <a:gd name="T25" fmla="*/ 0 h 16"/>
                <a:gd name="T26" fmla="*/ 2147483647 w 31"/>
                <a:gd name="T27" fmla="*/ 0 h 16"/>
                <a:gd name="T28" fmla="*/ 2147483647 w 31"/>
                <a:gd name="T29" fmla="*/ 2147483647 h 16"/>
                <a:gd name="T30" fmla="*/ 2147483647 w 31"/>
                <a:gd name="T31" fmla="*/ 2147483647 h 16"/>
                <a:gd name="T32" fmla="*/ 2147483647 w 31"/>
                <a:gd name="T33" fmla="*/ 2147483647 h 16"/>
                <a:gd name="T34" fmla="*/ 2147483647 w 31"/>
                <a:gd name="T35" fmla="*/ 2147483647 h 16"/>
                <a:gd name="T36" fmla="*/ 2147483647 w 31"/>
                <a:gd name="T37" fmla="*/ 2147483647 h 16"/>
                <a:gd name="T38" fmla="*/ 2147483647 w 31"/>
                <a:gd name="T39" fmla="*/ 2147483647 h 16"/>
                <a:gd name="T40" fmla="*/ 2147483647 w 31"/>
                <a:gd name="T41" fmla="*/ 2147483647 h 16"/>
                <a:gd name="T42" fmla="*/ 2147483647 w 31"/>
                <a:gd name="T43" fmla="*/ 2147483647 h 16"/>
                <a:gd name="T44" fmla="*/ 2147483647 w 31"/>
                <a:gd name="T45" fmla="*/ 2147483647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16"/>
                <a:gd name="T71" fmla="*/ 31 w 31"/>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16">
                  <a:moveTo>
                    <a:pt x="19" y="14"/>
                  </a:moveTo>
                  <a:lnTo>
                    <a:pt x="19" y="14"/>
                  </a:lnTo>
                  <a:lnTo>
                    <a:pt x="11" y="15"/>
                  </a:lnTo>
                  <a:lnTo>
                    <a:pt x="5" y="16"/>
                  </a:lnTo>
                  <a:lnTo>
                    <a:pt x="3" y="15"/>
                  </a:lnTo>
                  <a:lnTo>
                    <a:pt x="1" y="14"/>
                  </a:lnTo>
                  <a:lnTo>
                    <a:pt x="0" y="11"/>
                  </a:lnTo>
                  <a:lnTo>
                    <a:pt x="0" y="8"/>
                  </a:lnTo>
                  <a:lnTo>
                    <a:pt x="3" y="6"/>
                  </a:lnTo>
                  <a:lnTo>
                    <a:pt x="6" y="3"/>
                  </a:lnTo>
                  <a:lnTo>
                    <a:pt x="17" y="0"/>
                  </a:lnTo>
                  <a:lnTo>
                    <a:pt x="22" y="0"/>
                  </a:lnTo>
                  <a:lnTo>
                    <a:pt x="27" y="1"/>
                  </a:lnTo>
                  <a:lnTo>
                    <a:pt x="31" y="3"/>
                  </a:lnTo>
                  <a:lnTo>
                    <a:pt x="31" y="6"/>
                  </a:lnTo>
                  <a:lnTo>
                    <a:pt x="31" y="8"/>
                  </a:lnTo>
                  <a:lnTo>
                    <a:pt x="28" y="10"/>
                  </a:lnTo>
                  <a:lnTo>
                    <a:pt x="25" y="11"/>
                  </a:lnTo>
                  <a:lnTo>
                    <a:pt x="19"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5" name="Freeform 514"/>
            <p:cNvSpPr>
              <a:spLocks/>
            </p:cNvSpPr>
            <p:nvPr/>
          </p:nvSpPr>
          <p:spPr bwMode="auto">
            <a:xfrm>
              <a:off x="3725863" y="1778003"/>
              <a:ext cx="38100" cy="28575"/>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2147483647 w 26"/>
                <a:gd name="T15" fmla="*/ 0 h 18"/>
                <a:gd name="T16" fmla="*/ 2147483647 w 26"/>
                <a:gd name="T17" fmla="*/ 0 h 18"/>
                <a:gd name="T18" fmla="*/ 2147483647 w 26"/>
                <a:gd name="T19" fmla="*/ 2147483647 h 18"/>
                <a:gd name="T20" fmla="*/ 0 w 26"/>
                <a:gd name="T21" fmla="*/ 2147483647 h 18"/>
                <a:gd name="T22" fmla="*/ 0 w 26"/>
                <a:gd name="T23" fmla="*/ 2147483647 h 18"/>
                <a:gd name="T24" fmla="*/ 0 w 26"/>
                <a:gd name="T25" fmla="*/ 2147483647 h 18"/>
                <a:gd name="T26" fmla="*/ 0 w 26"/>
                <a:gd name="T27" fmla="*/ 2147483647 h 18"/>
                <a:gd name="T28" fmla="*/ 2147483647 w 26"/>
                <a:gd name="T29" fmla="*/ 2147483647 h 18"/>
                <a:gd name="T30" fmla="*/ 2147483647 w 26"/>
                <a:gd name="T31" fmla="*/ 2147483647 h 18"/>
                <a:gd name="T32" fmla="*/ 2147483647 w 26"/>
                <a:gd name="T33" fmla="*/ 2147483647 h 18"/>
                <a:gd name="T34" fmla="*/ 2147483647 w 26"/>
                <a:gd name="T35" fmla="*/ 2147483647 h 18"/>
                <a:gd name="T36" fmla="*/ 2147483647 w 26"/>
                <a:gd name="T37" fmla="*/ 2147483647 h 18"/>
                <a:gd name="T38" fmla="*/ 2147483647 w 26"/>
                <a:gd name="T39" fmla="*/ 2147483647 h 18"/>
                <a:gd name="T40" fmla="*/ 2147483647 w 26"/>
                <a:gd name="T41" fmla="*/ 2147483647 h 18"/>
                <a:gd name="T42" fmla="*/ 2147483647 w 26"/>
                <a:gd name="T43" fmla="*/ 2147483647 h 18"/>
                <a:gd name="T44" fmla="*/ 2147483647 w 26"/>
                <a:gd name="T45" fmla="*/ 2147483647 h 18"/>
                <a:gd name="T46" fmla="*/ 2147483647 w 26"/>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8"/>
                <a:gd name="T74" fmla="*/ 26 w 26"/>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8">
                  <a:moveTo>
                    <a:pt x="26" y="15"/>
                  </a:moveTo>
                  <a:lnTo>
                    <a:pt x="26" y="15"/>
                  </a:lnTo>
                  <a:lnTo>
                    <a:pt x="25" y="10"/>
                  </a:lnTo>
                  <a:lnTo>
                    <a:pt x="22" y="6"/>
                  </a:lnTo>
                  <a:lnTo>
                    <a:pt x="18" y="3"/>
                  </a:lnTo>
                  <a:lnTo>
                    <a:pt x="13" y="2"/>
                  </a:lnTo>
                  <a:lnTo>
                    <a:pt x="9" y="0"/>
                  </a:lnTo>
                  <a:lnTo>
                    <a:pt x="6" y="0"/>
                  </a:lnTo>
                  <a:lnTo>
                    <a:pt x="3" y="2"/>
                  </a:lnTo>
                  <a:lnTo>
                    <a:pt x="0" y="4"/>
                  </a:lnTo>
                  <a:lnTo>
                    <a:pt x="0" y="7"/>
                  </a:lnTo>
                  <a:lnTo>
                    <a:pt x="0" y="10"/>
                  </a:lnTo>
                  <a:lnTo>
                    <a:pt x="3" y="11"/>
                  </a:lnTo>
                  <a:lnTo>
                    <a:pt x="6" y="13"/>
                  </a:lnTo>
                  <a:lnTo>
                    <a:pt x="12" y="16"/>
                  </a:lnTo>
                  <a:lnTo>
                    <a:pt x="18" y="18"/>
                  </a:lnTo>
                  <a:lnTo>
                    <a:pt x="21" y="18"/>
                  </a:lnTo>
                  <a:lnTo>
                    <a:pt x="23" y="18"/>
                  </a:lnTo>
                  <a:lnTo>
                    <a:pt x="25" y="17"/>
                  </a:lnTo>
                  <a:lnTo>
                    <a:pt x="26"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6" name="Freeform 515"/>
            <p:cNvSpPr>
              <a:spLocks/>
            </p:cNvSpPr>
            <p:nvPr/>
          </p:nvSpPr>
          <p:spPr bwMode="auto">
            <a:xfrm>
              <a:off x="3740151" y="1766891"/>
              <a:ext cx="31750" cy="20637"/>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2147483647 w 22"/>
                <a:gd name="T21" fmla="*/ 2147483647 h 13"/>
                <a:gd name="T22" fmla="*/ 2147483647 w 22"/>
                <a:gd name="T23" fmla="*/ 0 h 13"/>
                <a:gd name="T24" fmla="*/ 2147483647 w 22"/>
                <a:gd name="T25" fmla="*/ 0 h 13"/>
                <a:gd name="T26" fmla="*/ 2147483647 w 22"/>
                <a:gd name="T27" fmla="*/ 2147483647 h 13"/>
                <a:gd name="T28" fmla="*/ 0 w 22"/>
                <a:gd name="T29" fmla="*/ 2147483647 h 13"/>
                <a:gd name="T30" fmla="*/ 0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2147483647 w 22"/>
                <a:gd name="T43" fmla="*/ 2147483647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13"/>
                <a:gd name="T68" fmla="*/ 22 w 22"/>
                <a:gd name="T69" fmla="*/ 13 h 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13">
                  <a:moveTo>
                    <a:pt x="11" y="5"/>
                  </a:moveTo>
                  <a:lnTo>
                    <a:pt x="12" y="6"/>
                  </a:lnTo>
                  <a:lnTo>
                    <a:pt x="14" y="9"/>
                  </a:lnTo>
                  <a:lnTo>
                    <a:pt x="16" y="11"/>
                  </a:lnTo>
                  <a:lnTo>
                    <a:pt x="17" y="12"/>
                  </a:lnTo>
                  <a:lnTo>
                    <a:pt x="18" y="13"/>
                  </a:lnTo>
                  <a:lnTo>
                    <a:pt x="19" y="13"/>
                  </a:lnTo>
                  <a:lnTo>
                    <a:pt x="22" y="11"/>
                  </a:lnTo>
                  <a:lnTo>
                    <a:pt x="22" y="9"/>
                  </a:lnTo>
                  <a:lnTo>
                    <a:pt x="18" y="4"/>
                  </a:lnTo>
                  <a:lnTo>
                    <a:pt x="12" y="1"/>
                  </a:lnTo>
                  <a:lnTo>
                    <a:pt x="9" y="0"/>
                  </a:lnTo>
                  <a:lnTo>
                    <a:pt x="5" y="0"/>
                  </a:lnTo>
                  <a:lnTo>
                    <a:pt x="3" y="1"/>
                  </a:lnTo>
                  <a:lnTo>
                    <a:pt x="0" y="4"/>
                  </a:lnTo>
                  <a:lnTo>
                    <a:pt x="0" y="5"/>
                  </a:lnTo>
                  <a:lnTo>
                    <a:pt x="5" y="6"/>
                  </a:lnTo>
                  <a:lnTo>
                    <a:pt x="8" y="6"/>
                  </a:lnTo>
                  <a:lnTo>
                    <a:pt x="11" y="5"/>
                  </a:lnTo>
                  <a:lnTo>
                    <a:pt x="12" y="6"/>
                  </a:lnTo>
                  <a:lnTo>
                    <a:pt x="12" y="7"/>
                  </a:lnTo>
                  <a:lnTo>
                    <a:pt x="1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7" name="Freeform 516"/>
            <p:cNvSpPr>
              <a:spLocks/>
            </p:cNvSpPr>
            <p:nvPr/>
          </p:nvSpPr>
          <p:spPr bwMode="auto">
            <a:xfrm>
              <a:off x="3709989" y="1747839"/>
              <a:ext cx="34925" cy="19050"/>
            </a:xfrm>
            <a:custGeom>
              <a:avLst/>
              <a:gdLst>
                <a:gd name="T0" fmla="*/ 2147483647 w 24"/>
                <a:gd name="T1" fmla="*/ 2147483647 h 12"/>
                <a:gd name="T2" fmla="*/ 2147483647 w 24"/>
                <a:gd name="T3" fmla="*/ 2147483647 h 12"/>
                <a:gd name="T4" fmla="*/ 2147483647 w 24"/>
                <a:gd name="T5" fmla="*/ 2147483647 h 12"/>
                <a:gd name="T6" fmla="*/ 0 w 24"/>
                <a:gd name="T7" fmla="*/ 2147483647 h 12"/>
                <a:gd name="T8" fmla="*/ 0 w 24"/>
                <a:gd name="T9" fmla="*/ 2147483647 h 12"/>
                <a:gd name="T10" fmla="*/ 2147483647 w 24"/>
                <a:gd name="T11" fmla="*/ 2147483647 h 12"/>
                <a:gd name="T12" fmla="*/ 2147483647 w 24"/>
                <a:gd name="T13" fmla="*/ 2147483647 h 12"/>
                <a:gd name="T14" fmla="*/ 2147483647 w 24"/>
                <a:gd name="T15" fmla="*/ 0 h 12"/>
                <a:gd name="T16" fmla="*/ 2147483647 w 24"/>
                <a:gd name="T17" fmla="*/ 0 h 12"/>
                <a:gd name="T18" fmla="*/ 2147483647 w 24"/>
                <a:gd name="T19" fmla="*/ 2147483647 h 12"/>
                <a:gd name="T20" fmla="*/ 2147483647 w 24"/>
                <a:gd name="T21" fmla="*/ 2147483647 h 12"/>
                <a:gd name="T22" fmla="*/ 2147483647 w 24"/>
                <a:gd name="T23" fmla="*/ 2147483647 h 12"/>
                <a:gd name="T24" fmla="*/ 2147483647 w 24"/>
                <a:gd name="T25" fmla="*/ 2147483647 h 12"/>
                <a:gd name="T26" fmla="*/ 2147483647 w 24"/>
                <a:gd name="T27" fmla="*/ 2147483647 h 12"/>
                <a:gd name="T28" fmla="*/ 2147483647 w 24"/>
                <a:gd name="T29" fmla="*/ 2147483647 h 12"/>
                <a:gd name="T30" fmla="*/ 2147483647 w 24"/>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2"/>
                <a:gd name="T50" fmla="*/ 24 w 24"/>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2">
                  <a:moveTo>
                    <a:pt x="10" y="11"/>
                  </a:moveTo>
                  <a:lnTo>
                    <a:pt x="4" y="12"/>
                  </a:lnTo>
                  <a:lnTo>
                    <a:pt x="1" y="12"/>
                  </a:lnTo>
                  <a:lnTo>
                    <a:pt x="0" y="10"/>
                  </a:lnTo>
                  <a:lnTo>
                    <a:pt x="0" y="6"/>
                  </a:lnTo>
                  <a:lnTo>
                    <a:pt x="3" y="3"/>
                  </a:lnTo>
                  <a:lnTo>
                    <a:pt x="5" y="2"/>
                  </a:lnTo>
                  <a:lnTo>
                    <a:pt x="9" y="0"/>
                  </a:lnTo>
                  <a:lnTo>
                    <a:pt x="14" y="0"/>
                  </a:lnTo>
                  <a:lnTo>
                    <a:pt x="18" y="2"/>
                  </a:lnTo>
                  <a:lnTo>
                    <a:pt x="22" y="3"/>
                  </a:lnTo>
                  <a:lnTo>
                    <a:pt x="24" y="5"/>
                  </a:lnTo>
                  <a:lnTo>
                    <a:pt x="24" y="7"/>
                  </a:lnTo>
                  <a:lnTo>
                    <a:pt x="24" y="9"/>
                  </a:lnTo>
                  <a:lnTo>
                    <a:pt x="20" y="10"/>
                  </a:lnTo>
                  <a:lnTo>
                    <a:pt x="10"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8" name="Freeform 517"/>
            <p:cNvSpPr>
              <a:spLocks/>
            </p:cNvSpPr>
            <p:nvPr/>
          </p:nvSpPr>
          <p:spPr bwMode="auto">
            <a:xfrm>
              <a:off x="3738563" y="1765301"/>
              <a:ext cx="31750" cy="20638"/>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2147483647 w 22"/>
                <a:gd name="T21" fmla="*/ 2147483647 h 13"/>
                <a:gd name="T22" fmla="*/ 2147483647 w 22"/>
                <a:gd name="T23" fmla="*/ 2147483647 h 13"/>
                <a:gd name="T24" fmla="*/ 2147483647 w 22"/>
                <a:gd name="T25" fmla="*/ 2147483647 h 13"/>
                <a:gd name="T26" fmla="*/ 2147483647 w 22"/>
                <a:gd name="T27" fmla="*/ 2147483647 h 13"/>
                <a:gd name="T28" fmla="*/ 2147483647 w 22"/>
                <a:gd name="T29" fmla="*/ 2147483647 h 13"/>
                <a:gd name="T30" fmla="*/ 2147483647 w 22"/>
                <a:gd name="T31" fmla="*/ 0 h 13"/>
                <a:gd name="T32" fmla="*/ 2147483647 w 22"/>
                <a:gd name="T33" fmla="*/ 0 h 13"/>
                <a:gd name="T34" fmla="*/ 2147483647 w 22"/>
                <a:gd name="T35" fmla="*/ 2147483647 h 13"/>
                <a:gd name="T36" fmla="*/ 0 w 22"/>
                <a:gd name="T37" fmla="*/ 2147483647 h 13"/>
                <a:gd name="T38" fmla="*/ 0 w 22"/>
                <a:gd name="T39" fmla="*/ 2147483647 h 13"/>
                <a:gd name="T40" fmla="*/ 0 w 22"/>
                <a:gd name="T41" fmla="*/ 2147483647 h 13"/>
                <a:gd name="T42" fmla="*/ 0 w 22"/>
                <a:gd name="T43" fmla="*/ 2147483647 h 13"/>
                <a:gd name="T44" fmla="*/ 0 w 22"/>
                <a:gd name="T45" fmla="*/ 2147483647 h 13"/>
                <a:gd name="T46" fmla="*/ 2147483647 w 22"/>
                <a:gd name="T47" fmla="*/ 2147483647 h 13"/>
                <a:gd name="T48" fmla="*/ 2147483647 w 22"/>
                <a:gd name="T49" fmla="*/ 2147483647 h 13"/>
                <a:gd name="T50" fmla="*/ 2147483647 w 22"/>
                <a:gd name="T51" fmla="*/ 2147483647 h 13"/>
                <a:gd name="T52" fmla="*/ 2147483647 w 22"/>
                <a:gd name="T53" fmla="*/ 2147483647 h 13"/>
                <a:gd name="T54" fmla="*/ 2147483647 w 22"/>
                <a:gd name="T55" fmla="*/ 2147483647 h 13"/>
                <a:gd name="T56" fmla="*/ 2147483647 w 22"/>
                <a:gd name="T57" fmla="*/ 2147483647 h 13"/>
                <a:gd name="T58" fmla="*/ 2147483647 w 22"/>
                <a:gd name="T59" fmla="*/ 2147483647 h 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
                <a:gd name="T91" fmla="*/ 0 h 13"/>
                <a:gd name="T92" fmla="*/ 22 w 22"/>
                <a:gd name="T93" fmla="*/ 13 h 1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 h="13">
                  <a:moveTo>
                    <a:pt x="10" y="5"/>
                  </a:moveTo>
                  <a:lnTo>
                    <a:pt x="10" y="5"/>
                  </a:lnTo>
                  <a:lnTo>
                    <a:pt x="12" y="6"/>
                  </a:lnTo>
                  <a:lnTo>
                    <a:pt x="14" y="8"/>
                  </a:lnTo>
                  <a:lnTo>
                    <a:pt x="15" y="11"/>
                  </a:lnTo>
                  <a:lnTo>
                    <a:pt x="17" y="12"/>
                  </a:lnTo>
                  <a:lnTo>
                    <a:pt x="18" y="13"/>
                  </a:lnTo>
                  <a:lnTo>
                    <a:pt x="19" y="13"/>
                  </a:lnTo>
                  <a:lnTo>
                    <a:pt x="22" y="11"/>
                  </a:lnTo>
                  <a:lnTo>
                    <a:pt x="22" y="8"/>
                  </a:lnTo>
                  <a:lnTo>
                    <a:pt x="18" y="4"/>
                  </a:lnTo>
                  <a:lnTo>
                    <a:pt x="12" y="1"/>
                  </a:lnTo>
                  <a:lnTo>
                    <a:pt x="9" y="0"/>
                  </a:lnTo>
                  <a:lnTo>
                    <a:pt x="5" y="0"/>
                  </a:lnTo>
                  <a:lnTo>
                    <a:pt x="3" y="1"/>
                  </a:lnTo>
                  <a:lnTo>
                    <a:pt x="0" y="4"/>
                  </a:lnTo>
                  <a:lnTo>
                    <a:pt x="0" y="5"/>
                  </a:lnTo>
                  <a:lnTo>
                    <a:pt x="5" y="6"/>
                  </a:lnTo>
                  <a:lnTo>
                    <a:pt x="8" y="6"/>
                  </a:lnTo>
                  <a:lnTo>
                    <a:pt x="10" y="5"/>
                  </a:lnTo>
                  <a:lnTo>
                    <a:pt x="12" y="6"/>
                  </a:lnTo>
                  <a:lnTo>
                    <a:pt x="12" y="7"/>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19" name="Freeform 518"/>
            <p:cNvSpPr>
              <a:spLocks/>
            </p:cNvSpPr>
            <p:nvPr/>
          </p:nvSpPr>
          <p:spPr bwMode="auto">
            <a:xfrm>
              <a:off x="3708400" y="1746251"/>
              <a:ext cx="34925" cy="19050"/>
            </a:xfrm>
            <a:custGeom>
              <a:avLst/>
              <a:gdLst>
                <a:gd name="T0" fmla="*/ 2147483647 w 24"/>
                <a:gd name="T1" fmla="*/ 2147483647 h 12"/>
                <a:gd name="T2" fmla="*/ 2147483647 w 24"/>
                <a:gd name="T3" fmla="*/ 2147483647 h 12"/>
                <a:gd name="T4" fmla="*/ 2147483647 w 24"/>
                <a:gd name="T5" fmla="*/ 2147483647 h 12"/>
                <a:gd name="T6" fmla="*/ 2147483647 w 24"/>
                <a:gd name="T7" fmla="*/ 2147483647 h 12"/>
                <a:gd name="T8" fmla="*/ 0 w 24"/>
                <a:gd name="T9" fmla="*/ 2147483647 h 12"/>
                <a:gd name="T10" fmla="*/ 0 w 24"/>
                <a:gd name="T11" fmla="*/ 2147483647 h 12"/>
                <a:gd name="T12" fmla="*/ 0 w 24"/>
                <a:gd name="T13" fmla="*/ 2147483647 h 12"/>
                <a:gd name="T14" fmla="*/ 2147483647 w 24"/>
                <a:gd name="T15" fmla="*/ 2147483647 h 12"/>
                <a:gd name="T16" fmla="*/ 2147483647 w 24"/>
                <a:gd name="T17" fmla="*/ 2147483647 h 12"/>
                <a:gd name="T18" fmla="*/ 2147483647 w 24"/>
                <a:gd name="T19" fmla="*/ 0 h 12"/>
                <a:gd name="T20" fmla="*/ 2147483647 w 24"/>
                <a:gd name="T21" fmla="*/ 0 h 12"/>
                <a:gd name="T22" fmla="*/ 2147483647 w 24"/>
                <a:gd name="T23" fmla="*/ 2147483647 h 12"/>
                <a:gd name="T24" fmla="*/ 2147483647 w 24"/>
                <a:gd name="T25" fmla="*/ 2147483647 h 12"/>
                <a:gd name="T26" fmla="*/ 2147483647 w 24"/>
                <a:gd name="T27" fmla="*/ 2147483647 h 12"/>
                <a:gd name="T28" fmla="*/ 2147483647 w 24"/>
                <a:gd name="T29" fmla="*/ 2147483647 h 12"/>
                <a:gd name="T30" fmla="*/ 2147483647 w 24"/>
                <a:gd name="T31" fmla="*/ 2147483647 h 12"/>
                <a:gd name="T32" fmla="*/ 2147483647 w 24"/>
                <a:gd name="T33" fmla="*/ 2147483647 h 12"/>
                <a:gd name="T34" fmla="*/ 2147483647 w 24"/>
                <a:gd name="T35" fmla="*/ 2147483647 h 12"/>
                <a:gd name="T36" fmla="*/ 2147483647 w 24"/>
                <a:gd name="T37" fmla="*/ 2147483647 h 12"/>
                <a:gd name="T38" fmla="*/ 2147483647 w 24"/>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12"/>
                <a:gd name="T62" fmla="*/ 24 w 24"/>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12">
                  <a:moveTo>
                    <a:pt x="10" y="11"/>
                  </a:moveTo>
                  <a:lnTo>
                    <a:pt x="10" y="11"/>
                  </a:lnTo>
                  <a:lnTo>
                    <a:pt x="4" y="12"/>
                  </a:lnTo>
                  <a:lnTo>
                    <a:pt x="1" y="12"/>
                  </a:lnTo>
                  <a:lnTo>
                    <a:pt x="0" y="10"/>
                  </a:lnTo>
                  <a:lnTo>
                    <a:pt x="0" y="6"/>
                  </a:lnTo>
                  <a:lnTo>
                    <a:pt x="2" y="3"/>
                  </a:lnTo>
                  <a:lnTo>
                    <a:pt x="5" y="1"/>
                  </a:lnTo>
                  <a:lnTo>
                    <a:pt x="9" y="0"/>
                  </a:lnTo>
                  <a:lnTo>
                    <a:pt x="14" y="0"/>
                  </a:lnTo>
                  <a:lnTo>
                    <a:pt x="18" y="1"/>
                  </a:lnTo>
                  <a:lnTo>
                    <a:pt x="21" y="3"/>
                  </a:lnTo>
                  <a:lnTo>
                    <a:pt x="24" y="5"/>
                  </a:lnTo>
                  <a:lnTo>
                    <a:pt x="24" y="7"/>
                  </a:lnTo>
                  <a:lnTo>
                    <a:pt x="24" y="8"/>
                  </a:lnTo>
                  <a:lnTo>
                    <a:pt x="20" y="10"/>
                  </a:lnTo>
                  <a:lnTo>
                    <a:pt x="10"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0" name="Freeform 519"/>
            <p:cNvSpPr>
              <a:spLocks/>
            </p:cNvSpPr>
            <p:nvPr/>
          </p:nvSpPr>
          <p:spPr bwMode="auto">
            <a:xfrm>
              <a:off x="3819528" y="1714504"/>
              <a:ext cx="23813" cy="17463"/>
            </a:xfrm>
            <a:custGeom>
              <a:avLst/>
              <a:gdLst>
                <a:gd name="T0" fmla="*/ 2147483647 w 17"/>
                <a:gd name="T1" fmla="*/ 2147483647 h 11"/>
                <a:gd name="T2" fmla="*/ 2147483647 w 17"/>
                <a:gd name="T3" fmla="*/ 2147483647 h 11"/>
                <a:gd name="T4" fmla="*/ 0 w 17"/>
                <a:gd name="T5" fmla="*/ 2147483647 h 11"/>
                <a:gd name="T6" fmla="*/ 2147483647 w 17"/>
                <a:gd name="T7" fmla="*/ 2147483647 h 11"/>
                <a:gd name="T8" fmla="*/ 2147483647 w 17"/>
                <a:gd name="T9" fmla="*/ 2147483647 h 11"/>
                <a:gd name="T10" fmla="*/ 2147483647 w 17"/>
                <a:gd name="T11" fmla="*/ 0 h 11"/>
                <a:gd name="T12" fmla="*/ 2147483647 w 17"/>
                <a:gd name="T13" fmla="*/ 0 h 11"/>
                <a:gd name="T14" fmla="*/ 2147483647 w 17"/>
                <a:gd name="T15" fmla="*/ 2147483647 h 11"/>
                <a:gd name="T16" fmla="*/ 2147483647 w 17"/>
                <a:gd name="T17" fmla="*/ 2147483647 h 11"/>
                <a:gd name="T18" fmla="*/ 2147483647 w 17"/>
                <a:gd name="T19" fmla="*/ 2147483647 h 11"/>
                <a:gd name="T20" fmla="*/ 2147483647 w 17"/>
                <a:gd name="T21" fmla="*/ 2147483647 h 11"/>
                <a:gd name="T22" fmla="*/ 2147483647 w 17"/>
                <a:gd name="T23" fmla="*/ 2147483647 h 11"/>
                <a:gd name="T24" fmla="*/ 2147483647 w 17"/>
                <a:gd name="T25" fmla="*/ 2147483647 h 11"/>
                <a:gd name="T26" fmla="*/ 2147483647 w 17"/>
                <a:gd name="T27" fmla="*/ 2147483647 h 11"/>
                <a:gd name="T28" fmla="*/ 2147483647 w 17"/>
                <a:gd name="T29" fmla="*/ 2147483647 h 11"/>
                <a:gd name="T30" fmla="*/ 2147483647 w 17"/>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1"/>
                <a:gd name="T50" fmla="*/ 17 w 17"/>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1">
                  <a:moveTo>
                    <a:pt x="5" y="8"/>
                  </a:moveTo>
                  <a:lnTo>
                    <a:pt x="1" y="6"/>
                  </a:lnTo>
                  <a:lnTo>
                    <a:pt x="0" y="5"/>
                  </a:lnTo>
                  <a:lnTo>
                    <a:pt x="1" y="2"/>
                  </a:lnTo>
                  <a:lnTo>
                    <a:pt x="4" y="1"/>
                  </a:lnTo>
                  <a:lnTo>
                    <a:pt x="6" y="0"/>
                  </a:lnTo>
                  <a:lnTo>
                    <a:pt x="9" y="0"/>
                  </a:lnTo>
                  <a:lnTo>
                    <a:pt x="14" y="1"/>
                  </a:lnTo>
                  <a:lnTo>
                    <a:pt x="16" y="2"/>
                  </a:lnTo>
                  <a:lnTo>
                    <a:pt x="17" y="5"/>
                  </a:lnTo>
                  <a:lnTo>
                    <a:pt x="17" y="7"/>
                  </a:lnTo>
                  <a:lnTo>
                    <a:pt x="17" y="10"/>
                  </a:lnTo>
                  <a:lnTo>
                    <a:pt x="16" y="11"/>
                  </a:lnTo>
                  <a:lnTo>
                    <a:pt x="14" y="11"/>
                  </a:lnTo>
                  <a:lnTo>
                    <a:pt x="9" y="11"/>
                  </a:lnTo>
                  <a:lnTo>
                    <a:pt x="5"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1" name="Freeform 520"/>
            <p:cNvSpPr>
              <a:spLocks/>
            </p:cNvSpPr>
            <p:nvPr/>
          </p:nvSpPr>
          <p:spPr bwMode="auto">
            <a:xfrm>
              <a:off x="2979738" y="1884364"/>
              <a:ext cx="95250" cy="41275"/>
            </a:xfrm>
            <a:custGeom>
              <a:avLst/>
              <a:gdLst>
                <a:gd name="T0" fmla="*/ 2147483647 w 65"/>
                <a:gd name="T1" fmla="*/ 2147483647 h 26"/>
                <a:gd name="T2" fmla="*/ 2147483647 w 65"/>
                <a:gd name="T3" fmla="*/ 2147483647 h 26"/>
                <a:gd name="T4" fmla="*/ 2147483647 w 65"/>
                <a:gd name="T5" fmla="*/ 2147483647 h 26"/>
                <a:gd name="T6" fmla="*/ 2147483647 w 65"/>
                <a:gd name="T7" fmla="*/ 2147483647 h 26"/>
                <a:gd name="T8" fmla="*/ 2147483647 w 65"/>
                <a:gd name="T9" fmla="*/ 2147483647 h 26"/>
                <a:gd name="T10" fmla="*/ 2147483647 w 65"/>
                <a:gd name="T11" fmla="*/ 2147483647 h 26"/>
                <a:gd name="T12" fmla="*/ 2147483647 w 65"/>
                <a:gd name="T13" fmla="*/ 2147483647 h 26"/>
                <a:gd name="T14" fmla="*/ 2147483647 w 65"/>
                <a:gd name="T15" fmla="*/ 2147483647 h 26"/>
                <a:gd name="T16" fmla="*/ 2147483647 w 65"/>
                <a:gd name="T17" fmla="*/ 2147483647 h 26"/>
                <a:gd name="T18" fmla="*/ 2147483647 w 65"/>
                <a:gd name="T19" fmla="*/ 2147483647 h 26"/>
                <a:gd name="T20" fmla="*/ 2147483647 w 65"/>
                <a:gd name="T21" fmla="*/ 2147483647 h 26"/>
                <a:gd name="T22" fmla="*/ 2147483647 w 65"/>
                <a:gd name="T23" fmla="*/ 2147483647 h 26"/>
                <a:gd name="T24" fmla="*/ 2147483647 w 65"/>
                <a:gd name="T25" fmla="*/ 2147483647 h 26"/>
                <a:gd name="T26" fmla="*/ 2147483647 w 65"/>
                <a:gd name="T27" fmla="*/ 2147483647 h 26"/>
                <a:gd name="T28" fmla="*/ 2147483647 w 65"/>
                <a:gd name="T29" fmla="*/ 2147483647 h 26"/>
                <a:gd name="T30" fmla="*/ 2147483647 w 65"/>
                <a:gd name="T31" fmla="*/ 2147483647 h 26"/>
                <a:gd name="T32" fmla="*/ 2147483647 w 65"/>
                <a:gd name="T33" fmla="*/ 2147483647 h 26"/>
                <a:gd name="T34" fmla="*/ 0 w 65"/>
                <a:gd name="T35" fmla="*/ 2147483647 h 26"/>
                <a:gd name="T36" fmla="*/ 2147483647 w 65"/>
                <a:gd name="T37" fmla="*/ 2147483647 h 26"/>
                <a:gd name="T38" fmla="*/ 2147483647 w 65"/>
                <a:gd name="T39" fmla="*/ 2147483647 h 26"/>
                <a:gd name="T40" fmla="*/ 2147483647 w 65"/>
                <a:gd name="T41" fmla="*/ 2147483647 h 26"/>
                <a:gd name="T42" fmla="*/ 2147483647 w 65"/>
                <a:gd name="T43" fmla="*/ 2147483647 h 26"/>
                <a:gd name="T44" fmla="*/ 2147483647 w 65"/>
                <a:gd name="T45" fmla="*/ 2147483647 h 26"/>
                <a:gd name="T46" fmla="*/ 2147483647 w 65"/>
                <a:gd name="T47" fmla="*/ 2147483647 h 26"/>
                <a:gd name="T48" fmla="*/ 2147483647 w 65"/>
                <a:gd name="T49" fmla="*/ 2147483647 h 26"/>
                <a:gd name="T50" fmla="*/ 2147483647 w 65"/>
                <a:gd name="T51" fmla="*/ 2147483647 h 26"/>
                <a:gd name="T52" fmla="*/ 2147483647 w 65"/>
                <a:gd name="T53" fmla="*/ 0 h 26"/>
                <a:gd name="T54" fmla="*/ 2147483647 w 65"/>
                <a:gd name="T55" fmla="*/ 2147483647 h 26"/>
                <a:gd name="T56" fmla="*/ 2147483647 w 65"/>
                <a:gd name="T57" fmla="*/ 2147483647 h 26"/>
                <a:gd name="T58" fmla="*/ 2147483647 w 65"/>
                <a:gd name="T59" fmla="*/ 2147483647 h 26"/>
                <a:gd name="T60" fmla="*/ 2147483647 w 65"/>
                <a:gd name="T61" fmla="*/ 2147483647 h 26"/>
                <a:gd name="T62" fmla="*/ 2147483647 w 65"/>
                <a:gd name="T63" fmla="*/ 2147483647 h 26"/>
                <a:gd name="T64" fmla="*/ 2147483647 w 65"/>
                <a:gd name="T65" fmla="*/ 2147483647 h 26"/>
                <a:gd name="T66" fmla="*/ 2147483647 w 65"/>
                <a:gd name="T67" fmla="*/ 2147483647 h 26"/>
                <a:gd name="T68" fmla="*/ 2147483647 w 65"/>
                <a:gd name="T69" fmla="*/ 2147483647 h 26"/>
                <a:gd name="T70" fmla="*/ 2147483647 w 65"/>
                <a:gd name="T71" fmla="*/ 2147483647 h 26"/>
                <a:gd name="T72" fmla="*/ 2147483647 w 65"/>
                <a:gd name="T73" fmla="*/ 2147483647 h 2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26"/>
                <a:gd name="T113" fmla="*/ 65 w 65"/>
                <a:gd name="T114" fmla="*/ 26 h 2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26">
                  <a:moveTo>
                    <a:pt x="65" y="22"/>
                  </a:moveTo>
                  <a:lnTo>
                    <a:pt x="65" y="23"/>
                  </a:lnTo>
                  <a:lnTo>
                    <a:pt x="64" y="25"/>
                  </a:lnTo>
                  <a:lnTo>
                    <a:pt x="61" y="26"/>
                  </a:lnTo>
                  <a:lnTo>
                    <a:pt x="60" y="26"/>
                  </a:lnTo>
                  <a:lnTo>
                    <a:pt x="55" y="25"/>
                  </a:lnTo>
                  <a:lnTo>
                    <a:pt x="51" y="25"/>
                  </a:lnTo>
                  <a:lnTo>
                    <a:pt x="47" y="25"/>
                  </a:lnTo>
                  <a:lnTo>
                    <a:pt x="43" y="25"/>
                  </a:lnTo>
                  <a:lnTo>
                    <a:pt x="42" y="23"/>
                  </a:lnTo>
                  <a:lnTo>
                    <a:pt x="39" y="21"/>
                  </a:lnTo>
                  <a:lnTo>
                    <a:pt x="37" y="20"/>
                  </a:lnTo>
                  <a:lnTo>
                    <a:pt x="34" y="18"/>
                  </a:lnTo>
                  <a:lnTo>
                    <a:pt x="27" y="14"/>
                  </a:lnTo>
                  <a:lnTo>
                    <a:pt x="19" y="10"/>
                  </a:lnTo>
                  <a:lnTo>
                    <a:pt x="3" y="6"/>
                  </a:lnTo>
                  <a:lnTo>
                    <a:pt x="1" y="4"/>
                  </a:lnTo>
                  <a:lnTo>
                    <a:pt x="0" y="3"/>
                  </a:lnTo>
                  <a:lnTo>
                    <a:pt x="1" y="2"/>
                  </a:lnTo>
                  <a:lnTo>
                    <a:pt x="4" y="1"/>
                  </a:lnTo>
                  <a:lnTo>
                    <a:pt x="6" y="1"/>
                  </a:lnTo>
                  <a:lnTo>
                    <a:pt x="13" y="1"/>
                  </a:lnTo>
                  <a:lnTo>
                    <a:pt x="19" y="2"/>
                  </a:lnTo>
                  <a:lnTo>
                    <a:pt x="22" y="3"/>
                  </a:lnTo>
                  <a:lnTo>
                    <a:pt x="25" y="2"/>
                  </a:lnTo>
                  <a:lnTo>
                    <a:pt x="28" y="1"/>
                  </a:lnTo>
                  <a:lnTo>
                    <a:pt x="30" y="0"/>
                  </a:lnTo>
                  <a:lnTo>
                    <a:pt x="32" y="1"/>
                  </a:lnTo>
                  <a:lnTo>
                    <a:pt x="42" y="8"/>
                  </a:lnTo>
                  <a:lnTo>
                    <a:pt x="48" y="10"/>
                  </a:lnTo>
                  <a:lnTo>
                    <a:pt x="55" y="10"/>
                  </a:lnTo>
                  <a:lnTo>
                    <a:pt x="56" y="12"/>
                  </a:lnTo>
                  <a:lnTo>
                    <a:pt x="57" y="13"/>
                  </a:lnTo>
                  <a:lnTo>
                    <a:pt x="58" y="16"/>
                  </a:lnTo>
                  <a:lnTo>
                    <a:pt x="60" y="19"/>
                  </a:lnTo>
                  <a:lnTo>
                    <a:pt x="61" y="20"/>
                  </a:lnTo>
                  <a:lnTo>
                    <a:pt x="65"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2" name="Freeform 521"/>
            <p:cNvSpPr>
              <a:spLocks/>
            </p:cNvSpPr>
            <p:nvPr/>
          </p:nvSpPr>
          <p:spPr bwMode="auto">
            <a:xfrm>
              <a:off x="3816351" y="1712913"/>
              <a:ext cx="25400" cy="17462"/>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0 w 18"/>
                <a:gd name="T9" fmla="*/ 2147483647 h 11"/>
                <a:gd name="T10" fmla="*/ 0 w 18"/>
                <a:gd name="T11" fmla="*/ 2147483647 h 11"/>
                <a:gd name="T12" fmla="*/ 2147483647 w 18"/>
                <a:gd name="T13" fmla="*/ 2147483647 h 11"/>
                <a:gd name="T14" fmla="*/ 2147483647 w 18"/>
                <a:gd name="T15" fmla="*/ 2147483647 h 11"/>
                <a:gd name="T16" fmla="*/ 2147483647 w 18"/>
                <a:gd name="T17" fmla="*/ 0 h 11"/>
                <a:gd name="T18" fmla="*/ 2147483647 w 18"/>
                <a:gd name="T19" fmla="*/ 0 h 11"/>
                <a:gd name="T20" fmla="*/ 2147483647 w 18"/>
                <a:gd name="T21" fmla="*/ 2147483647 h 11"/>
                <a:gd name="T22" fmla="*/ 2147483647 w 18"/>
                <a:gd name="T23" fmla="*/ 2147483647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2147483647 w 18"/>
                <a:gd name="T35" fmla="*/ 2147483647 h 11"/>
                <a:gd name="T36" fmla="*/ 2147483647 w 18"/>
                <a:gd name="T37" fmla="*/ 2147483647 h 11"/>
                <a:gd name="T38" fmla="*/ 2147483647 w 18"/>
                <a:gd name="T39" fmla="*/ 2147483647 h 11"/>
                <a:gd name="T40" fmla="*/ 2147483647 w 18"/>
                <a:gd name="T41" fmla="*/ 2147483647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1"/>
                <a:gd name="T65" fmla="*/ 18 w 18"/>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1">
                  <a:moveTo>
                    <a:pt x="6" y="8"/>
                  </a:moveTo>
                  <a:lnTo>
                    <a:pt x="6" y="8"/>
                  </a:lnTo>
                  <a:lnTo>
                    <a:pt x="2" y="6"/>
                  </a:lnTo>
                  <a:lnTo>
                    <a:pt x="0" y="5"/>
                  </a:lnTo>
                  <a:lnTo>
                    <a:pt x="2" y="2"/>
                  </a:lnTo>
                  <a:lnTo>
                    <a:pt x="4" y="1"/>
                  </a:lnTo>
                  <a:lnTo>
                    <a:pt x="7" y="0"/>
                  </a:lnTo>
                  <a:lnTo>
                    <a:pt x="9" y="0"/>
                  </a:lnTo>
                  <a:lnTo>
                    <a:pt x="14" y="1"/>
                  </a:lnTo>
                  <a:lnTo>
                    <a:pt x="17" y="2"/>
                  </a:lnTo>
                  <a:lnTo>
                    <a:pt x="18" y="5"/>
                  </a:lnTo>
                  <a:lnTo>
                    <a:pt x="18" y="7"/>
                  </a:lnTo>
                  <a:lnTo>
                    <a:pt x="18" y="9"/>
                  </a:lnTo>
                  <a:lnTo>
                    <a:pt x="17" y="11"/>
                  </a:lnTo>
                  <a:lnTo>
                    <a:pt x="14" y="11"/>
                  </a:lnTo>
                  <a:lnTo>
                    <a:pt x="9" y="11"/>
                  </a:lnTo>
                  <a:lnTo>
                    <a:pt x="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3" name="Freeform 522"/>
            <p:cNvSpPr>
              <a:spLocks/>
            </p:cNvSpPr>
            <p:nvPr/>
          </p:nvSpPr>
          <p:spPr bwMode="auto">
            <a:xfrm>
              <a:off x="2978150" y="1882776"/>
              <a:ext cx="95250" cy="41275"/>
            </a:xfrm>
            <a:custGeom>
              <a:avLst/>
              <a:gdLst>
                <a:gd name="T0" fmla="*/ 2147483647 w 65"/>
                <a:gd name="T1" fmla="*/ 2147483647 h 26"/>
                <a:gd name="T2" fmla="*/ 2147483647 w 65"/>
                <a:gd name="T3" fmla="*/ 2147483647 h 26"/>
                <a:gd name="T4" fmla="*/ 2147483647 w 65"/>
                <a:gd name="T5" fmla="*/ 2147483647 h 26"/>
                <a:gd name="T6" fmla="*/ 2147483647 w 65"/>
                <a:gd name="T7" fmla="*/ 2147483647 h 26"/>
                <a:gd name="T8" fmla="*/ 2147483647 w 65"/>
                <a:gd name="T9" fmla="*/ 2147483647 h 26"/>
                <a:gd name="T10" fmla="*/ 2147483647 w 65"/>
                <a:gd name="T11" fmla="*/ 2147483647 h 26"/>
                <a:gd name="T12" fmla="*/ 2147483647 w 65"/>
                <a:gd name="T13" fmla="*/ 2147483647 h 26"/>
                <a:gd name="T14" fmla="*/ 2147483647 w 65"/>
                <a:gd name="T15" fmla="*/ 2147483647 h 26"/>
                <a:gd name="T16" fmla="*/ 2147483647 w 65"/>
                <a:gd name="T17" fmla="*/ 2147483647 h 26"/>
                <a:gd name="T18" fmla="*/ 2147483647 w 65"/>
                <a:gd name="T19" fmla="*/ 2147483647 h 26"/>
                <a:gd name="T20" fmla="*/ 2147483647 w 65"/>
                <a:gd name="T21" fmla="*/ 2147483647 h 26"/>
                <a:gd name="T22" fmla="*/ 2147483647 w 65"/>
                <a:gd name="T23" fmla="*/ 2147483647 h 26"/>
                <a:gd name="T24" fmla="*/ 2147483647 w 65"/>
                <a:gd name="T25" fmla="*/ 2147483647 h 26"/>
                <a:gd name="T26" fmla="*/ 2147483647 w 65"/>
                <a:gd name="T27" fmla="*/ 2147483647 h 26"/>
                <a:gd name="T28" fmla="*/ 2147483647 w 65"/>
                <a:gd name="T29" fmla="*/ 2147483647 h 26"/>
                <a:gd name="T30" fmla="*/ 2147483647 w 65"/>
                <a:gd name="T31" fmla="*/ 2147483647 h 26"/>
                <a:gd name="T32" fmla="*/ 2147483647 w 65"/>
                <a:gd name="T33" fmla="*/ 2147483647 h 26"/>
                <a:gd name="T34" fmla="*/ 2147483647 w 65"/>
                <a:gd name="T35" fmla="*/ 2147483647 h 26"/>
                <a:gd name="T36" fmla="*/ 2147483647 w 65"/>
                <a:gd name="T37" fmla="*/ 2147483647 h 26"/>
                <a:gd name="T38" fmla="*/ 2147483647 w 65"/>
                <a:gd name="T39" fmla="*/ 2147483647 h 26"/>
                <a:gd name="T40" fmla="*/ 2147483647 w 65"/>
                <a:gd name="T41" fmla="*/ 2147483647 h 26"/>
                <a:gd name="T42" fmla="*/ 2147483647 w 65"/>
                <a:gd name="T43" fmla="*/ 2147483647 h 26"/>
                <a:gd name="T44" fmla="*/ 2147483647 w 65"/>
                <a:gd name="T45" fmla="*/ 2147483647 h 26"/>
                <a:gd name="T46" fmla="*/ 0 w 65"/>
                <a:gd name="T47" fmla="*/ 2147483647 h 26"/>
                <a:gd name="T48" fmla="*/ 2147483647 w 65"/>
                <a:gd name="T49" fmla="*/ 2147483647 h 26"/>
                <a:gd name="T50" fmla="*/ 2147483647 w 65"/>
                <a:gd name="T51" fmla="*/ 2147483647 h 26"/>
                <a:gd name="T52" fmla="*/ 2147483647 w 65"/>
                <a:gd name="T53" fmla="*/ 2147483647 h 26"/>
                <a:gd name="T54" fmla="*/ 2147483647 w 65"/>
                <a:gd name="T55" fmla="*/ 2147483647 h 26"/>
                <a:gd name="T56" fmla="*/ 2147483647 w 65"/>
                <a:gd name="T57" fmla="*/ 2147483647 h 26"/>
                <a:gd name="T58" fmla="*/ 2147483647 w 65"/>
                <a:gd name="T59" fmla="*/ 2147483647 h 26"/>
                <a:gd name="T60" fmla="*/ 2147483647 w 65"/>
                <a:gd name="T61" fmla="*/ 2147483647 h 26"/>
                <a:gd name="T62" fmla="*/ 2147483647 w 65"/>
                <a:gd name="T63" fmla="*/ 2147483647 h 26"/>
                <a:gd name="T64" fmla="*/ 2147483647 w 65"/>
                <a:gd name="T65" fmla="*/ 2147483647 h 26"/>
                <a:gd name="T66" fmla="*/ 2147483647 w 65"/>
                <a:gd name="T67" fmla="*/ 2147483647 h 26"/>
                <a:gd name="T68" fmla="*/ 2147483647 w 65"/>
                <a:gd name="T69" fmla="*/ 2147483647 h 26"/>
                <a:gd name="T70" fmla="*/ 2147483647 w 65"/>
                <a:gd name="T71" fmla="*/ 0 h 26"/>
                <a:gd name="T72" fmla="*/ 2147483647 w 65"/>
                <a:gd name="T73" fmla="*/ 2147483647 h 26"/>
                <a:gd name="T74" fmla="*/ 2147483647 w 65"/>
                <a:gd name="T75" fmla="*/ 2147483647 h 26"/>
                <a:gd name="T76" fmla="*/ 2147483647 w 65"/>
                <a:gd name="T77" fmla="*/ 2147483647 h 26"/>
                <a:gd name="T78" fmla="*/ 2147483647 w 65"/>
                <a:gd name="T79" fmla="*/ 2147483647 h 26"/>
                <a:gd name="T80" fmla="*/ 2147483647 w 65"/>
                <a:gd name="T81" fmla="*/ 2147483647 h 26"/>
                <a:gd name="T82" fmla="*/ 2147483647 w 65"/>
                <a:gd name="T83" fmla="*/ 2147483647 h 26"/>
                <a:gd name="T84" fmla="*/ 2147483647 w 65"/>
                <a:gd name="T85" fmla="*/ 2147483647 h 26"/>
                <a:gd name="T86" fmla="*/ 2147483647 w 65"/>
                <a:gd name="T87" fmla="*/ 2147483647 h 26"/>
                <a:gd name="T88" fmla="*/ 2147483647 w 65"/>
                <a:gd name="T89" fmla="*/ 2147483647 h 26"/>
                <a:gd name="T90" fmla="*/ 2147483647 w 65"/>
                <a:gd name="T91" fmla="*/ 2147483647 h 26"/>
                <a:gd name="T92" fmla="*/ 2147483647 w 65"/>
                <a:gd name="T93" fmla="*/ 2147483647 h 26"/>
                <a:gd name="T94" fmla="*/ 2147483647 w 65"/>
                <a:gd name="T95" fmla="*/ 2147483647 h 26"/>
                <a:gd name="T96" fmla="*/ 2147483647 w 65"/>
                <a:gd name="T97" fmla="*/ 2147483647 h 26"/>
                <a:gd name="T98" fmla="*/ 2147483647 w 65"/>
                <a:gd name="T99" fmla="*/ 2147483647 h 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5"/>
                <a:gd name="T151" fmla="*/ 0 h 26"/>
                <a:gd name="T152" fmla="*/ 65 w 65"/>
                <a:gd name="T153" fmla="*/ 26 h 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5" h="26">
                  <a:moveTo>
                    <a:pt x="65" y="22"/>
                  </a:moveTo>
                  <a:lnTo>
                    <a:pt x="65" y="22"/>
                  </a:lnTo>
                  <a:lnTo>
                    <a:pt x="65" y="23"/>
                  </a:lnTo>
                  <a:lnTo>
                    <a:pt x="63" y="24"/>
                  </a:lnTo>
                  <a:lnTo>
                    <a:pt x="61" y="26"/>
                  </a:lnTo>
                  <a:lnTo>
                    <a:pt x="59" y="26"/>
                  </a:lnTo>
                  <a:lnTo>
                    <a:pt x="54" y="24"/>
                  </a:lnTo>
                  <a:lnTo>
                    <a:pt x="51" y="24"/>
                  </a:lnTo>
                  <a:lnTo>
                    <a:pt x="47" y="24"/>
                  </a:lnTo>
                  <a:lnTo>
                    <a:pt x="43" y="24"/>
                  </a:lnTo>
                  <a:lnTo>
                    <a:pt x="42" y="23"/>
                  </a:lnTo>
                  <a:lnTo>
                    <a:pt x="39" y="21"/>
                  </a:lnTo>
                  <a:lnTo>
                    <a:pt x="37" y="20"/>
                  </a:lnTo>
                  <a:lnTo>
                    <a:pt x="34" y="17"/>
                  </a:lnTo>
                  <a:lnTo>
                    <a:pt x="26" y="14"/>
                  </a:lnTo>
                  <a:lnTo>
                    <a:pt x="19" y="10"/>
                  </a:lnTo>
                  <a:lnTo>
                    <a:pt x="2" y="5"/>
                  </a:lnTo>
                  <a:lnTo>
                    <a:pt x="1" y="4"/>
                  </a:lnTo>
                  <a:lnTo>
                    <a:pt x="0" y="3"/>
                  </a:lnTo>
                  <a:lnTo>
                    <a:pt x="1" y="2"/>
                  </a:lnTo>
                  <a:lnTo>
                    <a:pt x="4" y="1"/>
                  </a:lnTo>
                  <a:lnTo>
                    <a:pt x="6" y="1"/>
                  </a:lnTo>
                  <a:lnTo>
                    <a:pt x="12" y="1"/>
                  </a:lnTo>
                  <a:lnTo>
                    <a:pt x="19" y="2"/>
                  </a:lnTo>
                  <a:lnTo>
                    <a:pt x="21" y="3"/>
                  </a:lnTo>
                  <a:lnTo>
                    <a:pt x="25" y="2"/>
                  </a:lnTo>
                  <a:lnTo>
                    <a:pt x="28" y="1"/>
                  </a:lnTo>
                  <a:lnTo>
                    <a:pt x="30" y="0"/>
                  </a:lnTo>
                  <a:lnTo>
                    <a:pt x="31" y="1"/>
                  </a:lnTo>
                  <a:lnTo>
                    <a:pt x="42" y="8"/>
                  </a:lnTo>
                  <a:lnTo>
                    <a:pt x="48" y="10"/>
                  </a:lnTo>
                  <a:lnTo>
                    <a:pt x="54" y="10"/>
                  </a:lnTo>
                  <a:lnTo>
                    <a:pt x="56" y="11"/>
                  </a:lnTo>
                  <a:lnTo>
                    <a:pt x="57" y="13"/>
                  </a:lnTo>
                  <a:lnTo>
                    <a:pt x="58" y="16"/>
                  </a:lnTo>
                  <a:lnTo>
                    <a:pt x="59" y="19"/>
                  </a:lnTo>
                  <a:lnTo>
                    <a:pt x="61" y="20"/>
                  </a:lnTo>
                  <a:lnTo>
                    <a:pt x="65" y="2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4" name="Freeform 523"/>
            <p:cNvSpPr>
              <a:spLocks/>
            </p:cNvSpPr>
            <p:nvPr/>
          </p:nvSpPr>
          <p:spPr bwMode="auto">
            <a:xfrm>
              <a:off x="2973391" y="1909767"/>
              <a:ext cx="68262" cy="47625"/>
            </a:xfrm>
            <a:custGeom>
              <a:avLst/>
              <a:gdLst>
                <a:gd name="T0" fmla="*/ 2147483647 w 47"/>
                <a:gd name="T1" fmla="*/ 2147483647 h 30"/>
                <a:gd name="T2" fmla="*/ 2147483647 w 47"/>
                <a:gd name="T3" fmla="*/ 2147483647 h 30"/>
                <a:gd name="T4" fmla="*/ 2147483647 w 47"/>
                <a:gd name="T5" fmla="*/ 2147483647 h 30"/>
                <a:gd name="T6" fmla="*/ 2147483647 w 47"/>
                <a:gd name="T7" fmla="*/ 2147483647 h 30"/>
                <a:gd name="T8" fmla="*/ 2147483647 w 47"/>
                <a:gd name="T9" fmla="*/ 2147483647 h 30"/>
                <a:gd name="T10" fmla="*/ 2147483647 w 47"/>
                <a:gd name="T11" fmla="*/ 2147483647 h 30"/>
                <a:gd name="T12" fmla="*/ 2147483647 w 47"/>
                <a:gd name="T13" fmla="*/ 2147483647 h 30"/>
                <a:gd name="T14" fmla="*/ 2147483647 w 47"/>
                <a:gd name="T15" fmla="*/ 2147483647 h 30"/>
                <a:gd name="T16" fmla="*/ 2147483647 w 47"/>
                <a:gd name="T17" fmla="*/ 2147483647 h 30"/>
                <a:gd name="T18" fmla="*/ 2147483647 w 47"/>
                <a:gd name="T19" fmla="*/ 0 h 30"/>
                <a:gd name="T20" fmla="*/ 2147483647 w 47"/>
                <a:gd name="T21" fmla="*/ 0 h 30"/>
                <a:gd name="T22" fmla="*/ 2147483647 w 47"/>
                <a:gd name="T23" fmla="*/ 2147483647 h 30"/>
                <a:gd name="T24" fmla="*/ 2147483647 w 47"/>
                <a:gd name="T25" fmla="*/ 2147483647 h 30"/>
                <a:gd name="T26" fmla="*/ 2147483647 w 47"/>
                <a:gd name="T27" fmla="*/ 2147483647 h 30"/>
                <a:gd name="T28" fmla="*/ 2147483647 w 47"/>
                <a:gd name="T29" fmla="*/ 2147483647 h 30"/>
                <a:gd name="T30" fmla="*/ 2147483647 w 47"/>
                <a:gd name="T31" fmla="*/ 2147483647 h 30"/>
                <a:gd name="T32" fmla="*/ 0 w 47"/>
                <a:gd name="T33" fmla="*/ 2147483647 h 30"/>
                <a:gd name="T34" fmla="*/ 2147483647 w 47"/>
                <a:gd name="T35" fmla="*/ 2147483647 h 30"/>
                <a:gd name="T36" fmla="*/ 2147483647 w 47"/>
                <a:gd name="T37" fmla="*/ 2147483647 h 30"/>
                <a:gd name="T38" fmla="*/ 2147483647 w 47"/>
                <a:gd name="T39" fmla="*/ 2147483647 h 30"/>
                <a:gd name="T40" fmla="*/ 2147483647 w 47"/>
                <a:gd name="T41" fmla="*/ 2147483647 h 30"/>
                <a:gd name="T42" fmla="*/ 2147483647 w 47"/>
                <a:gd name="T43" fmla="*/ 2147483647 h 30"/>
                <a:gd name="T44" fmla="*/ 2147483647 w 47"/>
                <a:gd name="T45" fmla="*/ 2147483647 h 30"/>
                <a:gd name="T46" fmla="*/ 2147483647 w 47"/>
                <a:gd name="T47" fmla="*/ 2147483647 h 30"/>
                <a:gd name="T48" fmla="*/ 2147483647 w 47"/>
                <a:gd name="T49" fmla="*/ 2147483647 h 30"/>
                <a:gd name="T50" fmla="*/ 2147483647 w 47"/>
                <a:gd name="T51" fmla="*/ 2147483647 h 30"/>
                <a:gd name="T52" fmla="*/ 2147483647 w 47"/>
                <a:gd name="T53" fmla="*/ 2147483647 h 30"/>
                <a:gd name="T54" fmla="*/ 2147483647 w 47"/>
                <a:gd name="T55" fmla="*/ 2147483647 h 30"/>
                <a:gd name="T56" fmla="*/ 2147483647 w 47"/>
                <a:gd name="T57" fmla="*/ 2147483647 h 30"/>
                <a:gd name="T58" fmla="*/ 2147483647 w 47"/>
                <a:gd name="T59" fmla="*/ 2147483647 h 30"/>
                <a:gd name="T60" fmla="*/ 2147483647 w 47"/>
                <a:gd name="T61" fmla="*/ 2147483647 h 30"/>
                <a:gd name="T62" fmla="*/ 2147483647 w 47"/>
                <a:gd name="T63" fmla="*/ 2147483647 h 30"/>
                <a:gd name="T64" fmla="*/ 2147483647 w 47"/>
                <a:gd name="T65" fmla="*/ 2147483647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
                <a:gd name="T100" fmla="*/ 0 h 30"/>
                <a:gd name="T101" fmla="*/ 47 w 47"/>
                <a:gd name="T102" fmla="*/ 30 h 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 h="30">
                  <a:moveTo>
                    <a:pt x="45" y="19"/>
                  </a:moveTo>
                  <a:lnTo>
                    <a:pt x="40" y="17"/>
                  </a:lnTo>
                  <a:lnTo>
                    <a:pt x="34" y="12"/>
                  </a:lnTo>
                  <a:lnTo>
                    <a:pt x="27" y="5"/>
                  </a:lnTo>
                  <a:lnTo>
                    <a:pt x="24" y="4"/>
                  </a:lnTo>
                  <a:lnTo>
                    <a:pt x="22" y="4"/>
                  </a:lnTo>
                  <a:lnTo>
                    <a:pt x="15" y="4"/>
                  </a:lnTo>
                  <a:lnTo>
                    <a:pt x="14" y="4"/>
                  </a:lnTo>
                  <a:lnTo>
                    <a:pt x="13" y="3"/>
                  </a:lnTo>
                  <a:lnTo>
                    <a:pt x="10" y="0"/>
                  </a:lnTo>
                  <a:lnTo>
                    <a:pt x="8" y="0"/>
                  </a:lnTo>
                  <a:lnTo>
                    <a:pt x="7" y="3"/>
                  </a:lnTo>
                  <a:lnTo>
                    <a:pt x="7" y="5"/>
                  </a:lnTo>
                  <a:lnTo>
                    <a:pt x="7" y="7"/>
                  </a:lnTo>
                  <a:lnTo>
                    <a:pt x="3" y="10"/>
                  </a:lnTo>
                  <a:lnTo>
                    <a:pt x="1" y="11"/>
                  </a:lnTo>
                  <a:lnTo>
                    <a:pt x="0" y="13"/>
                  </a:lnTo>
                  <a:lnTo>
                    <a:pt x="1" y="15"/>
                  </a:lnTo>
                  <a:lnTo>
                    <a:pt x="3" y="16"/>
                  </a:lnTo>
                  <a:lnTo>
                    <a:pt x="4" y="18"/>
                  </a:lnTo>
                  <a:lnTo>
                    <a:pt x="7" y="22"/>
                  </a:lnTo>
                  <a:lnTo>
                    <a:pt x="8" y="24"/>
                  </a:lnTo>
                  <a:lnTo>
                    <a:pt x="10" y="25"/>
                  </a:lnTo>
                  <a:lnTo>
                    <a:pt x="22" y="29"/>
                  </a:lnTo>
                  <a:lnTo>
                    <a:pt x="26" y="30"/>
                  </a:lnTo>
                  <a:lnTo>
                    <a:pt x="31" y="30"/>
                  </a:lnTo>
                  <a:lnTo>
                    <a:pt x="40" y="29"/>
                  </a:lnTo>
                  <a:lnTo>
                    <a:pt x="42" y="29"/>
                  </a:lnTo>
                  <a:lnTo>
                    <a:pt x="45" y="26"/>
                  </a:lnTo>
                  <a:lnTo>
                    <a:pt x="47" y="23"/>
                  </a:lnTo>
                  <a:lnTo>
                    <a:pt x="47" y="22"/>
                  </a:lnTo>
                  <a:lnTo>
                    <a:pt x="46" y="20"/>
                  </a:lnTo>
                  <a:lnTo>
                    <a:pt x="45" y="1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5" name="Freeform 524"/>
            <p:cNvSpPr>
              <a:spLocks/>
            </p:cNvSpPr>
            <p:nvPr/>
          </p:nvSpPr>
          <p:spPr bwMode="auto">
            <a:xfrm>
              <a:off x="2517775" y="1219203"/>
              <a:ext cx="1525588" cy="1146175"/>
            </a:xfrm>
            <a:custGeom>
              <a:avLst/>
              <a:gdLst>
                <a:gd name="T0" fmla="*/ 2147483647 w 1041"/>
                <a:gd name="T1" fmla="*/ 2147483647 h 722"/>
                <a:gd name="T2" fmla="*/ 2147483647 w 1041"/>
                <a:gd name="T3" fmla="*/ 2147483647 h 722"/>
                <a:gd name="T4" fmla="*/ 2147483647 w 1041"/>
                <a:gd name="T5" fmla="*/ 2147483647 h 722"/>
                <a:gd name="T6" fmla="*/ 2147483647 w 1041"/>
                <a:gd name="T7" fmla="*/ 2147483647 h 722"/>
                <a:gd name="T8" fmla="*/ 2147483647 w 1041"/>
                <a:gd name="T9" fmla="*/ 2147483647 h 722"/>
                <a:gd name="T10" fmla="*/ 2147483647 w 1041"/>
                <a:gd name="T11" fmla="*/ 2147483647 h 722"/>
                <a:gd name="T12" fmla="*/ 2147483647 w 1041"/>
                <a:gd name="T13" fmla="*/ 2147483647 h 722"/>
                <a:gd name="T14" fmla="*/ 2147483647 w 1041"/>
                <a:gd name="T15" fmla="*/ 2147483647 h 722"/>
                <a:gd name="T16" fmla="*/ 2147483647 w 1041"/>
                <a:gd name="T17" fmla="*/ 2147483647 h 722"/>
                <a:gd name="T18" fmla="*/ 2147483647 w 1041"/>
                <a:gd name="T19" fmla="*/ 2147483647 h 722"/>
                <a:gd name="T20" fmla="*/ 2147483647 w 1041"/>
                <a:gd name="T21" fmla="*/ 2147483647 h 722"/>
                <a:gd name="T22" fmla="*/ 2147483647 w 1041"/>
                <a:gd name="T23" fmla="*/ 2147483647 h 722"/>
                <a:gd name="T24" fmla="*/ 2147483647 w 1041"/>
                <a:gd name="T25" fmla="*/ 2147483647 h 722"/>
                <a:gd name="T26" fmla="*/ 2147483647 w 1041"/>
                <a:gd name="T27" fmla="*/ 2147483647 h 722"/>
                <a:gd name="T28" fmla="*/ 2147483647 w 1041"/>
                <a:gd name="T29" fmla="*/ 2147483647 h 722"/>
                <a:gd name="T30" fmla="*/ 2147483647 w 1041"/>
                <a:gd name="T31" fmla="*/ 2147483647 h 722"/>
                <a:gd name="T32" fmla="*/ 2147483647 w 1041"/>
                <a:gd name="T33" fmla="*/ 2147483647 h 722"/>
                <a:gd name="T34" fmla="*/ 2147483647 w 1041"/>
                <a:gd name="T35" fmla="*/ 2147483647 h 722"/>
                <a:gd name="T36" fmla="*/ 2147483647 w 1041"/>
                <a:gd name="T37" fmla="*/ 2147483647 h 722"/>
                <a:gd name="T38" fmla="*/ 2147483647 w 1041"/>
                <a:gd name="T39" fmla="*/ 2147483647 h 722"/>
                <a:gd name="T40" fmla="*/ 2147483647 w 1041"/>
                <a:gd name="T41" fmla="*/ 2147483647 h 722"/>
                <a:gd name="T42" fmla="*/ 2147483647 w 1041"/>
                <a:gd name="T43" fmla="*/ 2147483647 h 722"/>
                <a:gd name="T44" fmla="*/ 2147483647 w 1041"/>
                <a:gd name="T45" fmla="*/ 2147483647 h 722"/>
                <a:gd name="T46" fmla="*/ 2147483647 w 1041"/>
                <a:gd name="T47" fmla="*/ 2147483647 h 722"/>
                <a:gd name="T48" fmla="*/ 2147483647 w 1041"/>
                <a:gd name="T49" fmla="*/ 2147483647 h 722"/>
                <a:gd name="T50" fmla="*/ 2147483647 w 1041"/>
                <a:gd name="T51" fmla="*/ 2147483647 h 722"/>
                <a:gd name="T52" fmla="*/ 2147483647 w 1041"/>
                <a:gd name="T53" fmla="*/ 2147483647 h 722"/>
                <a:gd name="T54" fmla="*/ 2147483647 w 1041"/>
                <a:gd name="T55" fmla="*/ 2147483647 h 722"/>
                <a:gd name="T56" fmla="*/ 2147483647 w 1041"/>
                <a:gd name="T57" fmla="*/ 2147483647 h 722"/>
                <a:gd name="T58" fmla="*/ 2147483647 w 1041"/>
                <a:gd name="T59" fmla="*/ 2147483647 h 722"/>
                <a:gd name="T60" fmla="*/ 2147483647 w 1041"/>
                <a:gd name="T61" fmla="*/ 2147483647 h 722"/>
                <a:gd name="T62" fmla="*/ 2147483647 w 1041"/>
                <a:gd name="T63" fmla="*/ 2147483647 h 722"/>
                <a:gd name="T64" fmla="*/ 2147483647 w 1041"/>
                <a:gd name="T65" fmla="*/ 2147483647 h 722"/>
                <a:gd name="T66" fmla="*/ 2147483647 w 1041"/>
                <a:gd name="T67" fmla="*/ 2147483647 h 722"/>
                <a:gd name="T68" fmla="*/ 2147483647 w 1041"/>
                <a:gd name="T69" fmla="*/ 2147483647 h 722"/>
                <a:gd name="T70" fmla="*/ 2147483647 w 1041"/>
                <a:gd name="T71" fmla="*/ 2147483647 h 722"/>
                <a:gd name="T72" fmla="*/ 2147483647 w 1041"/>
                <a:gd name="T73" fmla="*/ 2147483647 h 722"/>
                <a:gd name="T74" fmla="*/ 2147483647 w 1041"/>
                <a:gd name="T75" fmla="*/ 2147483647 h 722"/>
                <a:gd name="T76" fmla="*/ 2147483647 w 1041"/>
                <a:gd name="T77" fmla="*/ 2147483647 h 722"/>
                <a:gd name="T78" fmla="*/ 2147483647 w 1041"/>
                <a:gd name="T79" fmla="*/ 2147483647 h 722"/>
                <a:gd name="T80" fmla="*/ 2147483647 w 1041"/>
                <a:gd name="T81" fmla="*/ 2147483647 h 722"/>
                <a:gd name="T82" fmla="*/ 2147483647 w 1041"/>
                <a:gd name="T83" fmla="*/ 2147483647 h 722"/>
                <a:gd name="T84" fmla="*/ 2147483647 w 1041"/>
                <a:gd name="T85" fmla="*/ 2147483647 h 722"/>
                <a:gd name="T86" fmla="*/ 2147483647 w 1041"/>
                <a:gd name="T87" fmla="*/ 2147483647 h 722"/>
                <a:gd name="T88" fmla="*/ 2147483647 w 1041"/>
                <a:gd name="T89" fmla="*/ 2147483647 h 722"/>
                <a:gd name="T90" fmla="*/ 2147483647 w 1041"/>
                <a:gd name="T91" fmla="*/ 2147483647 h 722"/>
                <a:gd name="T92" fmla="*/ 2147483647 w 1041"/>
                <a:gd name="T93" fmla="*/ 2147483647 h 722"/>
                <a:gd name="T94" fmla="*/ 2147483647 w 1041"/>
                <a:gd name="T95" fmla="*/ 2147483647 h 722"/>
                <a:gd name="T96" fmla="*/ 2147483647 w 1041"/>
                <a:gd name="T97" fmla="*/ 2147483647 h 722"/>
                <a:gd name="T98" fmla="*/ 2147483647 w 1041"/>
                <a:gd name="T99" fmla="*/ 2147483647 h 722"/>
                <a:gd name="T100" fmla="*/ 2147483647 w 1041"/>
                <a:gd name="T101" fmla="*/ 2147483647 h 722"/>
                <a:gd name="T102" fmla="*/ 2147483647 w 1041"/>
                <a:gd name="T103" fmla="*/ 2147483647 h 722"/>
                <a:gd name="T104" fmla="*/ 2147483647 w 1041"/>
                <a:gd name="T105" fmla="*/ 2147483647 h 722"/>
                <a:gd name="T106" fmla="*/ 2147483647 w 1041"/>
                <a:gd name="T107" fmla="*/ 2147483647 h 722"/>
                <a:gd name="T108" fmla="*/ 2147483647 w 1041"/>
                <a:gd name="T109" fmla="*/ 2147483647 h 722"/>
                <a:gd name="T110" fmla="*/ 2147483647 w 1041"/>
                <a:gd name="T111" fmla="*/ 2147483647 h 722"/>
                <a:gd name="T112" fmla="*/ 2147483647 w 1041"/>
                <a:gd name="T113" fmla="*/ 2147483647 h 722"/>
                <a:gd name="T114" fmla="*/ 2147483647 w 1041"/>
                <a:gd name="T115" fmla="*/ 2147483647 h 722"/>
                <a:gd name="T116" fmla="*/ 2147483647 w 1041"/>
                <a:gd name="T117" fmla="*/ 2147483647 h 722"/>
                <a:gd name="T118" fmla="*/ 2147483647 w 1041"/>
                <a:gd name="T119" fmla="*/ 2147483647 h 722"/>
                <a:gd name="T120" fmla="*/ 2147483647 w 1041"/>
                <a:gd name="T121" fmla="*/ 2147483647 h 722"/>
                <a:gd name="T122" fmla="*/ 2147483647 w 1041"/>
                <a:gd name="T123" fmla="*/ 2147483647 h 722"/>
                <a:gd name="T124" fmla="*/ 2147483647 w 1041"/>
                <a:gd name="T125" fmla="*/ 2147483647 h 7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1"/>
                <a:gd name="T190" fmla="*/ 0 h 722"/>
                <a:gd name="T191" fmla="*/ 1041 w 1041"/>
                <a:gd name="T192" fmla="*/ 722 h 7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1" h="722">
                  <a:moveTo>
                    <a:pt x="145" y="255"/>
                  </a:moveTo>
                  <a:lnTo>
                    <a:pt x="140" y="259"/>
                  </a:lnTo>
                  <a:lnTo>
                    <a:pt x="137" y="261"/>
                  </a:lnTo>
                  <a:lnTo>
                    <a:pt x="135" y="261"/>
                  </a:lnTo>
                  <a:lnTo>
                    <a:pt x="132" y="260"/>
                  </a:lnTo>
                  <a:lnTo>
                    <a:pt x="131" y="257"/>
                  </a:lnTo>
                  <a:lnTo>
                    <a:pt x="130" y="256"/>
                  </a:lnTo>
                  <a:lnTo>
                    <a:pt x="127" y="255"/>
                  </a:lnTo>
                  <a:lnTo>
                    <a:pt x="123" y="254"/>
                  </a:lnTo>
                  <a:lnTo>
                    <a:pt x="121" y="255"/>
                  </a:lnTo>
                  <a:lnTo>
                    <a:pt x="114" y="259"/>
                  </a:lnTo>
                  <a:lnTo>
                    <a:pt x="113" y="259"/>
                  </a:lnTo>
                  <a:lnTo>
                    <a:pt x="112" y="259"/>
                  </a:lnTo>
                  <a:lnTo>
                    <a:pt x="111" y="257"/>
                  </a:lnTo>
                  <a:lnTo>
                    <a:pt x="109" y="257"/>
                  </a:lnTo>
                  <a:lnTo>
                    <a:pt x="107" y="257"/>
                  </a:lnTo>
                  <a:lnTo>
                    <a:pt x="105" y="259"/>
                  </a:lnTo>
                  <a:lnTo>
                    <a:pt x="105" y="261"/>
                  </a:lnTo>
                  <a:lnTo>
                    <a:pt x="107" y="265"/>
                  </a:lnTo>
                  <a:lnTo>
                    <a:pt x="107" y="267"/>
                  </a:lnTo>
                  <a:lnTo>
                    <a:pt x="107" y="269"/>
                  </a:lnTo>
                  <a:lnTo>
                    <a:pt x="105" y="272"/>
                  </a:lnTo>
                  <a:lnTo>
                    <a:pt x="104" y="273"/>
                  </a:lnTo>
                  <a:lnTo>
                    <a:pt x="100" y="273"/>
                  </a:lnTo>
                  <a:lnTo>
                    <a:pt x="97" y="273"/>
                  </a:lnTo>
                  <a:lnTo>
                    <a:pt x="93" y="269"/>
                  </a:lnTo>
                  <a:lnTo>
                    <a:pt x="90" y="266"/>
                  </a:lnTo>
                  <a:lnTo>
                    <a:pt x="86" y="262"/>
                  </a:lnTo>
                  <a:lnTo>
                    <a:pt x="79" y="256"/>
                  </a:lnTo>
                  <a:lnTo>
                    <a:pt x="69" y="252"/>
                  </a:lnTo>
                  <a:lnTo>
                    <a:pt x="60" y="247"/>
                  </a:lnTo>
                  <a:lnTo>
                    <a:pt x="62" y="244"/>
                  </a:lnTo>
                  <a:lnTo>
                    <a:pt x="65" y="242"/>
                  </a:lnTo>
                  <a:lnTo>
                    <a:pt x="65" y="240"/>
                  </a:lnTo>
                  <a:lnTo>
                    <a:pt x="64" y="237"/>
                  </a:lnTo>
                  <a:lnTo>
                    <a:pt x="61" y="235"/>
                  </a:lnTo>
                  <a:lnTo>
                    <a:pt x="57" y="235"/>
                  </a:lnTo>
                  <a:lnTo>
                    <a:pt x="53" y="235"/>
                  </a:lnTo>
                  <a:lnTo>
                    <a:pt x="50" y="235"/>
                  </a:lnTo>
                  <a:lnTo>
                    <a:pt x="50" y="234"/>
                  </a:lnTo>
                  <a:lnTo>
                    <a:pt x="41" y="230"/>
                  </a:lnTo>
                  <a:lnTo>
                    <a:pt x="33" y="227"/>
                  </a:lnTo>
                  <a:lnTo>
                    <a:pt x="32" y="225"/>
                  </a:lnTo>
                  <a:lnTo>
                    <a:pt x="31" y="224"/>
                  </a:lnTo>
                  <a:lnTo>
                    <a:pt x="31" y="223"/>
                  </a:lnTo>
                  <a:lnTo>
                    <a:pt x="32" y="222"/>
                  </a:lnTo>
                  <a:lnTo>
                    <a:pt x="42" y="220"/>
                  </a:lnTo>
                  <a:lnTo>
                    <a:pt x="52" y="220"/>
                  </a:lnTo>
                  <a:lnTo>
                    <a:pt x="64" y="221"/>
                  </a:lnTo>
                  <a:lnTo>
                    <a:pt x="74" y="223"/>
                  </a:lnTo>
                  <a:lnTo>
                    <a:pt x="76" y="224"/>
                  </a:lnTo>
                  <a:lnTo>
                    <a:pt x="79" y="224"/>
                  </a:lnTo>
                  <a:lnTo>
                    <a:pt x="80" y="223"/>
                  </a:lnTo>
                  <a:lnTo>
                    <a:pt x="80" y="222"/>
                  </a:lnTo>
                  <a:lnTo>
                    <a:pt x="79" y="221"/>
                  </a:lnTo>
                  <a:lnTo>
                    <a:pt x="74" y="221"/>
                  </a:lnTo>
                  <a:lnTo>
                    <a:pt x="69" y="220"/>
                  </a:lnTo>
                  <a:lnTo>
                    <a:pt x="67" y="217"/>
                  </a:lnTo>
                  <a:lnTo>
                    <a:pt x="66" y="216"/>
                  </a:lnTo>
                  <a:lnTo>
                    <a:pt x="67" y="215"/>
                  </a:lnTo>
                  <a:lnTo>
                    <a:pt x="70" y="215"/>
                  </a:lnTo>
                  <a:lnTo>
                    <a:pt x="72" y="214"/>
                  </a:lnTo>
                  <a:lnTo>
                    <a:pt x="78" y="215"/>
                  </a:lnTo>
                  <a:lnTo>
                    <a:pt x="88" y="218"/>
                  </a:lnTo>
                  <a:lnTo>
                    <a:pt x="94" y="221"/>
                  </a:lnTo>
                  <a:lnTo>
                    <a:pt x="99" y="222"/>
                  </a:lnTo>
                  <a:lnTo>
                    <a:pt x="102" y="222"/>
                  </a:lnTo>
                  <a:lnTo>
                    <a:pt x="104" y="224"/>
                  </a:lnTo>
                  <a:lnTo>
                    <a:pt x="105" y="225"/>
                  </a:lnTo>
                  <a:lnTo>
                    <a:pt x="108" y="225"/>
                  </a:lnTo>
                  <a:lnTo>
                    <a:pt x="111" y="225"/>
                  </a:lnTo>
                  <a:lnTo>
                    <a:pt x="112" y="224"/>
                  </a:lnTo>
                  <a:lnTo>
                    <a:pt x="111" y="222"/>
                  </a:lnTo>
                  <a:lnTo>
                    <a:pt x="108" y="217"/>
                  </a:lnTo>
                  <a:lnTo>
                    <a:pt x="105" y="212"/>
                  </a:lnTo>
                  <a:lnTo>
                    <a:pt x="104" y="211"/>
                  </a:lnTo>
                  <a:lnTo>
                    <a:pt x="103" y="210"/>
                  </a:lnTo>
                  <a:lnTo>
                    <a:pt x="98" y="209"/>
                  </a:lnTo>
                  <a:lnTo>
                    <a:pt x="94" y="208"/>
                  </a:lnTo>
                  <a:lnTo>
                    <a:pt x="90" y="204"/>
                  </a:lnTo>
                  <a:lnTo>
                    <a:pt x="89" y="199"/>
                  </a:lnTo>
                  <a:lnTo>
                    <a:pt x="88" y="199"/>
                  </a:lnTo>
                  <a:lnTo>
                    <a:pt x="85" y="199"/>
                  </a:lnTo>
                  <a:lnTo>
                    <a:pt x="83" y="201"/>
                  </a:lnTo>
                  <a:lnTo>
                    <a:pt x="81" y="202"/>
                  </a:lnTo>
                  <a:lnTo>
                    <a:pt x="81" y="205"/>
                  </a:lnTo>
                  <a:lnTo>
                    <a:pt x="80" y="208"/>
                  </a:lnTo>
                  <a:lnTo>
                    <a:pt x="78" y="210"/>
                  </a:lnTo>
                  <a:lnTo>
                    <a:pt x="74" y="209"/>
                  </a:lnTo>
                  <a:lnTo>
                    <a:pt x="71" y="208"/>
                  </a:lnTo>
                  <a:lnTo>
                    <a:pt x="70" y="205"/>
                  </a:lnTo>
                  <a:lnTo>
                    <a:pt x="69" y="203"/>
                  </a:lnTo>
                  <a:lnTo>
                    <a:pt x="66" y="201"/>
                  </a:lnTo>
                  <a:lnTo>
                    <a:pt x="65" y="201"/>
                  </a:lnTo>
                  <a:lnTo>
                    <a:pt x="61" y="204"/>
                  </a:lnTo>
                  <a:lnTo>
                    <a:pt x="59" y="207"/>
                  </a:lnTo>
                  <a:lnTo>
                    <a:pt x="57" y="210"/>
                  </a:lnTo>
                  <a:lnTo>
                    <a:pt x="53" y="214"/>
                  </a:lnTo>
                  <a:lnTo>
                    <a:pt x="51" y="215"/>
                  </a:lnTo>
                  <a:lnTo>
                    <a:pt x="50" y="215"/>
                  </a:lnTo>
                  <a:lnTo>
                    <a:pt x="45" y="214"/>
                  </a:lnTo>
                  <a:lnTo>
                    <a:pt x="36" y="208"/>
                  </a:lnTo>
                  <a:lnTo>
                    <a:pt x="31" y="207"/>
                  </a:lnTo>
                  <a:lnTo>
                    <a:pt x="25" y="204"/>
                  </a:lnTo>
                  <a:lnTo>
                    <a:pt x="24" y="204"/>
                  </a:lnTo>
                  <a:lnTo>
                    <a:pt x="23" y="205"/>
                  </a:lnTo>
                  <a:lnTo>
                    <a:pt x="20" y="207"/>
                  </a:lnTo>
                  <a:lnTo>
                    <a:pt x="18" y="207"/>
                  </a:lnTo>
                  <a:lnTo>
                    <a:pt x="17" y="207"/>
                  </a:lnTo>
                  <a:lnTo>
                    <a:pt x="14" y="204"/>
                  </a:lnTo>
                  <a:lnTo>
                    <a:pt x="13" y="201"/>
                  </a:lnTo>
                  <a:lnTo>
                    <a:pt x="10" y="197"/>
                  </a:lnTo>
                  <a:lnTo>
                    <a:pt x="6" y="197"/>
                  </a:lnTo>
                  <a:lnTo>
                    <a:pt x="4" y="193"/>
                  </a:lnTo>
                  <a:lnTo>
                    <a:pt x="1" y="190"/>
                  </a:lnTo>
                  <a:lnTo>
                    <a:pt x="0" y="186"/>
                  </a:lnTo>
                  <a:lnTo>
                    <a:pt x="0" y="184"/>
                  </a:lnTo>
                  <a:lnTo>
                    <a:pt x="3" y="183"/>
                  </a:lnTo>
                  <a:lnTo>
                    <a:pt x="5" y="183"/>
                  </a:lnTo>
                  <a:lnTo>
                    <a:pt x="8" y="183"/>
                  </a:lnTo>
                  <a:lnTo>
                    <a:pt x="12" y="183"/>
                  </a:lnTo>
                  <a:lnTo>
                    <a:pt x="14" y="182"/>
                  </a:lnTo>
                  <a:lnTo>
                    <a:pt x="17" y="180"/>
                  </a:lnTo>
                  <a:lnTo>
                    <a:pt x="19" y="179"/>
                  </a:lnTo>
                  <a:lnTo>
                    <a:pt x="22" y="179"/>
                  </a:lnTo>
                  <a:lnTo>
                    <a:pt x="23" y="179"/>
                  </a:lnTo>
                  <a:lnTo>
                    <a:pt x="25" y="179"/>
                  </a:lnTo>
                  <a:lnTo>
                    <a:pt x="28" y="179"/>
                  </a:lnTo>
                  <a:lnTo>
                    <a:pt x="32" y="179"/>
                  </a:lnTo>
                  <a:lnTo>
                    <a:pt x="36" y="178"/>
                  </a:lnTo>
                  <a:lnTo>
                    <a:pt x="36" y="177"/>
                  </a:lnTo>
                  <a:lnTo>
                    <a:pt x="37" y="176"/>
                  </a:lnTo>
                  <a:lnTo>
                    <a:pt x="39" y="175"/>
                  </a:lnTo>
                  <a:lnTo>
                    <a:pt x="43" y="172"/>
                  </a:lnTo>
                  <a:lnTo>
                    <a:pt x="48" y="172"/>
                  </a:lnTo>
                  <a:lnTo>
                    <a:pt x="59" y="171"/>
                  </a:lnTo>
                  <a:lnTo>
                    <a:pt x="69" y="169"/>
                  </a:lnTo>
                  <a:lnTo>
                    <a:pt x="75" y="167"/>
                  </a:lnTo>
                  <a:lnTo>
                    <a:pt x="81" y="164"/>
                  </a:lnTo>
                  <a:lnTo>
                    <a:pt x="84" y="161"/>
                  </a:lnTo>
                  <a:lnTo>
                    <a:pt x="86" y="161"/>
                  </a:lnTo>
                  <a:lnTo>
                    <a:pt x="94" y="163"/>
                  </a:lnTo>
                  <a:lnTo>
                    <a:pt x="100" y="164"/>
                  </a:lnTo>
                  <a:lnTo>
                    <a:pt x="103" y="164"/>
                  </a:lnTo>
                  <a:lnTo>
                    <a:pt x="105" y="163"/>
                  </a:lnTo>
                  <a:lnTo>
                    <a:pt x="109" y="160"/>
                  </a:lnTo>
                  <a:lnTo>
                    <a:pt x="114" y="159"/>
                  </a:lnTo>
                  <a:lnTo>
                    <a:pt x="125" y="157"/>
                  </a:lnTo>
                  <a:lnTo>
                    <a:pt x="127" y="156"/>
                  </a:lnTo>
                  <a:lnTo>
                    <a:pt x="128" y="153"/>
                  </a:lnTo>
                  <a:lnTo>
                    <a:pt x="130" y="150"/>
                  </a:lnTo>
                  <a:lnTo>
                    <a:pt x="132" y="145"/>
                  </a:lnTo>
                  <a:lnTo>
                    <a:pt x="133" y="144"/>
                  </a:lnTo>
                  <a:lnTo>
                    <a:pt x="136" y="142"/>
                  </a:lnTo>
                  <a:lnTo>
                    <a:pt x="137" y="141"/>
                  </a:lnTo>
                  <a:lnTo>
                    <a:pt x="137" y="139"/>
                  </a:lnTo>
                  <a:lnTo>
                    <a:pt x="136" y="137"/>
                  </a:lnTo>
                  <a:lnTo>
                    <a:pt x="133" y="135"/>
                  </a:lnTo>
                  <a:lnTo>
                    <a:pt x="131" y="133"/>
                  </a:lnTo>
                  <a:lnTo>
                    <a:pt x="128" y="131"/>
                  </a:lnTo>
                  <a:lnTo>
                    <a:pt x="127" y="128"/>
                  </a:lnTo>
                  <a:lnTo>
                    <a:pt x="126" y="127"/>
                  </a:lnTo>
                  <a:lnTo>
                    <a:pt x="121" y="126"/>
                  </a:lnTo>
                  <a:lnTo>
                    <a:pt x="111" y="126"/>
                  </a:lnTo>
                  <a:lnTo>
                    <a:pt x="105" y="125"/>
                  </a:lnTo>
                  <a:lnTo>
                    <a:pt x="100" y="124"/>
                  </a:lnTo>
                  <a:lnTo>
                    <a:pt x="97" y="124"/>
                  </a:lnTo>
                  <a:lnTo>
                    <a:pt x="93" y="124"/>
                  </a:lnTo>
                  <a:lnTo>
                    <a:pt x="90" y="124"/>
                  </a:lnTo>
                  <a:lnTo>
                    <a:pt x="88" y="122"/>
                  </a:lnTo>
                  <a:lnTo>
                    <a:pt x="89" y="120"/>
                  </a:lnTo>
                  <a:lnTo>
                    <a:pt x="89" y="119"/>
                  </a:lnTo>
                  <a:lnTo>
                    <a:pt x="94" y="116"/>
                  </a:lnTo>
                  <a:lnTo>
                    <a:pt x="100" y="115"/>
                  </a:lnTo>
                  <a:lnTo>
                    <a:pt x="104" y="113"/>
                  </a:lnTo>
                  <a:lnTo>
                    <a:pt x="113" y="110"/>
                  </a:lnTo>
                  <a:lnTo>
                    <a:pt x="121" y="107"/>
                  </a:lnTo>
                  <a:lnTo>
                    <a:pt x="128" y="105"/>
                  </a:lnTo>
                  <a:lnTo>
                    <a:pt x="136" y="100"/>
                  </a:lnTo>
                  <a:lnTo>
                    <a:pt x="140" y="97"/>
                  </a:lnTo>
                  <a:lnTo>
                    <a:pt x="142" y="96"/>
                  </a:lnTo>
                  <a:lnTo>
                    <a:pt x="145" y="95"/>
                  </a:lnTo>
                  <a:lnTo>
                    <a:pt x="146" y="97"/>
                  </a:lnTo>
                  <a:lnTo>
                    <a:pt x="149" y="99"/>
                  </a:lnTo>
                  <a:lnTo>
                    <a:pt x="152" y="100"/>
                  </a:lnTo>
                  <a:lnTo>
                    <a:pt x="156" y="100"/>
                  </a:lnTo>
                  <a:lnTo>
                    <a:pt x="156" y="103"/>
                  </a:lnTo>
                  <a:lnTo>
                    <a:pt x="159" y="107"/>
                  </a:lnTo>
                  <a:lnTo>
                    <a:pt x="161" y="108"/>
                  </a:lnTo>
                  <a:lnTo>
                    <a:pt x="165" y="107"/>
                  </a:lnTo>
                  <a:lnTo>
                    <a:pt x="168" y="103"/>
                  </a:lnTo>
                  <a:lnTo>
                    <a:pt x="168" y="101"/>
                  </a:lnTo>
                  <a:lnTo>
                    <a:pt x="168" y="100"/>
                  </a:lnTo>
                  <a:lnTo>
                    <a:pt x="164" y="97"/>
                  </a:lnTo>
                  <a:lnTo>
                    <a:pt x="159" y="95"/>
                  </a:lnTo>
                  <a:lnTo>
                    <a:pt x="156" y="93"/>
                  </a:lnTo>
                  <a:lnTo>
                    <a:pt x="155" y="92"/>
                  </a:lnTo>
                  <a:lnTo>
                    <a:pt x="156" y="89"/>
                  </a:lnTo>
                  <a:lnTo>
                    <a:pt x="158" y="87"/>
                  </a:lnTo>
                  <a:lnTo>
                    <a:pt x="160" y="87"/>
                  </a:lnTo>
                  <a:lnTo>
                    <a:pt x="163" y="88"/>
                  </a:lnTo>
                  <a:lnTo>
                    <a:pt x="165" y="89"/>
                  </a:lnTo>
                  <a:lnTo>
                    <a:pt x="165" y="92"/>
                  </a:lnTo>
                  <a:lnTo>
                    <a:pt x="166" y="93"/>
                  </a:lnTo>
                  <a:lnTo>
                    <a:pt x="174" y="93"/>
                  </a:lnTo>
                  <a:lnTo>
                    <a:pt x="180" y="95"/>
                  </a:lnTo>
                  <a:lnTo>
                    <a:pt x="185" y="99"/>
                  </a:lnTo>
                  <a:lnTo>
                    <a:pt x="189" y="105"/>
                  </a:lnTo>
                  <a:lnTo>
                    <a:pt x="191" y="105"/>
                  </a:lnTo>
                  <a:lnTo>
                    <a:pt x="192" y="103"/>
                  </a:lnTo>
                  <a:lnTo>
                    <a:pt x="196" y="100"/>
                  </a:lnTo>
                  <a:lnTo>
                    <a:pt x="199" y="95"/>
                  </a:lnTo>
                  <a:lnTo>
                    <a:pt x="201" y="94"/>
                  </a:lnTo>
                  <a:lnTo>
                    <a:pt x="201" y="93"/>
                  </a:lnTo>
                  <a:lnTo>
                    <a:pt x="198" y="90"/>
                  </a:lnTo>
                  <a:lnTo>
                    <a:pt x="194" y="88"/>
                  </a:lnTo>
                  <a:lnTo>
                    <a:pt x="191" y="81"/>
                  </a:lnTo>
                  <a:lnTo>
                    <a:pt x="188" y="77"/>
                  </a:lnTo>
                  <a:lnTo>
                    <a:pt x="188" y="74"/>
                  </a:lnTo>
                  <a:lnTo>
                    <a:pt x="189" y="70"/>
                  </a:lnTo>
                  <a:lnTo>
                    <a:pt x="192" y="67"/>
                  </a:lnTo>
                  <a:lnTo>
                    <a:pt x="199" y="63"/>
                  </a:lnTo>
                  <a:lnTo>
                    <a:pt x="208" y="62"/>
                  </a:lnTo>
                  <a:lnTo>
                    <a:pt x="210" y="62"/>
                  </a:lnTo>
                  <a:lnTo>
                    <a:pt x="211" y="64"/>
                  </a:lnTo>
                  <a:lnTo>
                    <a:pt x="212" y="67"/>
                  </a:lnTo>
                  <a:lnTo>
                    <a:pt x="215" y="69"/>
                  </a:lnTo>
                  <a:lnTo>
                    <a:pt x="217" y="69"/>
                  </a:lnTo>
                  <a:lnTo>
                    <a:pt x="221" y="68"/>
                  </a:lnTo>
                  <a:lnTo>
                    <a:pt x="221" y="71"/>
                  </a:lnTo>
                  <a:lnTo>
                    <a:pt x="222" y="74"/>
                  </a:lnTo>
                  <a:lnTo>
                    <a:pt x="225" y="75"/>
                  </a:lnTo>
                  <a:lnTo>
                    <a:pt x="229" y="76"/>
                  </a:lnTo>
                  <a:lnTo>
                    <a:pt x="238" y="75"/>
                  </a:lnTo>
                  <a:lnTo>
                    <a:pt x="241" y="75"/>
                  </a:lnTo>
                  <a:lnTo>
                    <a:pt x="245" y="76"/>
                  </a:lnTo>
                  <a:lnTo>
                    <a:pt x="245" y="74"/>
                  </a:lnTo>
                  <a:lnTo>
                    <a:pt x="245" y="73"/>
                  </a:lnTo>
                  <a:lnTo>
                    <a:pt x="239" y="69"/>
                  </a:lnTo>
                  <a:lnTo>
                    <a:pt x="232" y="67"/>
                  </a:lnTo>
                  <a:lnTo>
                    <a:pt x="227" y="64"/>
                  </a:lnTo>
                  <a:lnTo>
                    <a:pt x="226" y="62"/>
                  </a:lnTo>
                  <a:lnTo>
                    <a:pt x="225" y="60"/>
                  </a:lnTo>
                  <a:lnTo>
                    <a:pt x="226" y="57"/>
                  </a:lnTo>
                  <a:lnTo>
                    <a:pt x="230" y="56"/>
                  </a:lnTo>
                  <a:lnTo>
                    <a:pt x="235" y="55"/>
                  </a:lnTo>
                  <a:lnTo>
                    <a:pt x="240" y="54"/>
                  </a:lnTo>
                  <a:lnTo>
                    <a:pt x="246" y="54"/>
                  </a:lnTo>
                  <a:lnTo>
                    <a:pt x="250" y="52"/>
                  </a:lnTo>
                  <a:lnTo>
                    <a:pt x="264" y="54"/>
                  </a:lnTo>
                  <a:lnTo>
                    <a:pt x="269" y="54"/>
                  </a:lnTo>
                  <a:lnTo>
                    <a:pt x="278" y="52"/>
                  </a:lnTo>
                  <a:lnTo>
                    <a:pt x="288" y="50"/>
                  </a:lnTo>
                  <a:lnTo>
                    <a:pt x="292" y="48"/>
                  </a:lnTo>
                  <a:lnTo>
                    <a:pt x="296" y="48"/>
                  </a:lnTo>
                  <a:lnTo>
                    <a:pt x="300" y="49"/>
                  </a:lnTo>
                  <a:lnTo>
                    <a:pt x="304" y="50"/>
                  </a:lnTo>
                  <a:lnTo>
                    <a:pt x="307" y="50"/>
                  </a:lnTo>
                  <a:lnTo>
                    <a:pt x="311" y="49"/>
                  </a:lnTo>
                  <a:lnTo>
                    <a:pt x="314" y="51"/>
                  </a:lnTo>
                  <a:lnTo>
                    <a:pt x="318" y="54"/>
                  </a:lnTo>
                  <a:lnTo>
                    <a:pt x="323" y="60"/>
                  </a:lnTo>
                  <a:lnTo>
                    <a:pt x="329" y="63"/>
                  </a:lnTo>
                  <a:lnTo>
                    <a:pt x="333" y="64"/>
                  </a:lnTo>
                  <a:lnTo>
                    <a:pt x="335" y="63"/>
                  </a:lnTo>
                  <a:lnTo>
                    <a:pt x="337" y="63"/>
                  </a:lnTo>
                  <a:lnTo>
                    <a:pt x="338" y="62"/>
                  </a:lnTo>
                  <a:lnTo>
                    <a:pt x="337" y="60"/>
                  </a:lnTo>
                  <a:lnTo>
                    <a:pt x="333" y="52"/>
                  </a:lnTo>
                  <a:lnTo>
                    <a:pt x="333" y="50"/>
                  </a:lnTo>
                  <a:lnTo>
                    <a:pt x="334" y="49"/>
                  </a:lnTo>
                  <a:lnTo>
                    <a:pt x="335" y="48"/>
                  </a:lnTo>
                  <a:lnTo>
                    <a:pt x="338" y="48"/>
                  </a:lnTo>
                  <a:lnTo>
                    <a:pt x="344" y="50"/>
                  </a:lnTo>
                  <a:lnTo>
                    <a:pt x="349" y="54"/>
                  </a:lnTo>
                  <a:lnTo>
                    <a:pt x="356" y="56"/>
                  </a:lnTo>
                  <a:lnTo>
                    <a:pt x="358" y="57"/>
                  </a:lnTo>
                  <a:lnTo>
                    <a:pt x="362" y="57"/>
                  </a:lnTo>
                  <a:lnTo>
                    <a:pt x="362" y="56"/>
                  </a:lnTo>
                  <a:lnTo>
                    <a:pt x="365" y="55"/>
                  </a:lnTo>
                  <a:lnTo>
                    <a:pt x="366" y="56"/>
                  </a:lnTo>
                  <a:lnTo>
                    <a:pt x="370" y="58"/>
                  </a:lnTo>
                  <a:lnTo>
                    <a:pt x="373" y="62"/>
                  </a:lnTo>
                  <a:lnTo>
                    <a:pt x="377" y="67"/>
                  </a:lnTo>
                  <a:lnTo>
                    <a:pt x="380" y="73"/>
                  </a:lnTo>
                  <a:lnTo>
                    <a:pt x="382" y="77"/>
                  </a:lnTo>
                  <a:lnTo>
                    <a:pt x="385" y="83"/>
                  </a:lnTo>
                  <a:lnTo>
                    <a:pt x="389" y="88"/>
                  </a:lnTo>
                  <a:lnTo>
                    <a:pt x="391" y="89"/>
                  </a:lnTo>
                  <a:lnTo>
                    <a:pt x="392" y="88"/>
                  </a:lnTo>
                  <a:lnTo>
                    <a:pt x="394" y="86"/>
                  </a:lnTo>
                  <a:lnTo>
                    <a:pt x="394" y="83"/>
                  </a:lnTo>
                  <a:lnTo>
                    <a:pt x="392" y="82"/>
                  </a:lnTo>
                  <a:lnTo>
                    <a:pt x="392" y="80"/>
                  </a:lnTo>
                  <a:lnTo>
                    <a:pt x="392" y="74"/>
                  </a:lnTo>
                  <a:lnTo>
                    <a:pt x="391" y="68"/>
                  </a:lnTo>
                  <a:lnTo>
                    <a:pt x="389" y="62"/>
                  </a:lnTo>
                  <a:lnTo>
                    <a:pt x="385" y="57"/>
                  </a:lnTo>
                  <a:lnTo>
                    <a:pt x="380" y="54"/>
                  </a:lnTo>
                  <a:lnTo>
                    <a:pt x="375" y="49"/>
                  </a:lnTo>
                  <a:lnTo>
                    <a:pt x="365" y="43"/>
                  </a:lnTo>
                  <a:lnTo>
                    <a:pt x="365" y="41"/>
                  </a:lnTo>
                  <a:lnTo>
                    <a:pt x="368" y="39"/>
                  </a:lnTo>
                  <a:lnTo>
                    <a:pt x="373" y="38"/>
                  </a:lnTo>
                  <a:lnTo>
                    <a:pt x="379" y="39"/>
                  </a:lnTo>
                  <a:lnTo>
                    <a:pt x="382" y="41"/>
                  </a:lnTo>
                  <a:lnTo>
                    <a:pt x="386" y="43"/>
                  </a:lnTo>
                  <a:lnTo>
                    <a:pt x="389" y="44"/>
                  </a:lnTo>
                  <a:lnTo>
                    <a:pt x="390" y="44"/>
                  </a:lnTo>
                  <a:lnTo>
                    <a:pt x="392" y="42"/>
                  </a:lnTo>
                  <a:lnTo>
                    <a:pt x="392" y="41"/>
                  </a:lnTo>
                  <a:lnTo>
                    <a:pt x="394" y="39"/>
                  </a:lnTo>
                  <a:lnTo>
                    <a:pt x="396" y="41"/>
                  </a:lnTo>
                  <a:lnTo>
                    <a:pt x="399" y="42"/>
                  </a:lnTo>
                  <a:lnTo>
                    <a:pt x="401" y="46"/>
                  </a:lnTo>
                  <a:lnTo>
                    <a:pt x="403" y="48"/>
                  </a:lnTo>
                  <a:lnTo>
                    <a:pt x="404" y="48"/>
                  </a:lnTo>
                  <a:lnTo>
                    <a:pt x="408" y="48"/>
                  </a:lnTo>
                  <a:lnTo>
                    <a:pt x="412" y="48"/>
                  </a:lnTo>
                  <a:lnTo>
                    <a:pt x="415" y="49"/>
                  </a:lnTo>
                  <a:lnTo>
                    <a:pt x="420" y="50"/>
                  </a:lnTo>
                  <a:lnTo>
                    <a:pt x="423" y="51"/>
                  </a:lnTo>
                  <a:lnTo>
                    <a:pt x="425" y="51"/>
                  </a:lnTo>
                  <a:lnTo>
                    <a:pt x="427" y="50"/>
                  </a:lnTo>
                  <a:lnTo>
                    <a:pt x="427" y="48"/>
                  </a:lnTo>
                  <a:lnTo>
                    <a:pt x="425" y="46"/>
                  </a:lnTo>
                  <a:lnTo>
                    <a:pt x="424" y="45"/>
                  </a:lnTo>
                  <a:lnTo>
                    <a:pt x="419" y="43"/>
                  </a:lnTo>
                  <a:lnTo>
                    <a:pt x="414" y="41"/>
                  </a:lnTo>
                  <a:lnTo>
                    <a:pt x="414" y="39"/>
                  </a:lnTo>
                  <a:lnTo>
                    <a:pt x="415" y="38"/>
                  </a:lnTo>
                  <a:lnTo>
                    <a:pt x="419" y="38"/>
                  </a:lnTo>
                  <a:lnTo>
                    <a:pt x="431" y="41"/>
                  </a:lnTo>
                  <a:lnTo>
                    <a:pt x="441" y="42"/>
                  </a:lnTo>
                  <a:lnTo>
                    <a:pt x="451" y="42"/>
                  </a:lnTo>
                  <a:lnTo>
                    <a:pt x="462" y="42"/>
                  </a:lnTo>
                  <a:lnTo>
                    <a:pt x="462" y="41"/>
                  </a:lnTo>
                  <a:lnTo>
                    <a:pt x="461" y="39"/>
                  </a:lnTo>
                  <a:lnTo>
                    <a:pt x="457" y="35"/>
                  </a:lnTo>
                  <a:lnTo>
                    <a:pt x="452" y="32"/>
                  </a:lnTo>
                  <a:lnTo>
                    <a:pt x="446" y="31"/>
                  </a:lnTo>
                  <a:lnTo>
                    <a:pt x="441" y="29"/>
                  </a:lnTo>
                  <a:lnTo>
                    <a:pt x="437" y="27"/>
                  </a:lnTo>
                  <a:lnTo>
                    <a:pt x="432" y="26"/>
                  </a:lnTo>
                  <a:lnTo>
                    <a:pt x="432" y="25"/>
                  </a:lnTo>
                  <a:lnTo>
                    <a:pt x="432" y="23"/>
                  </a:lnTo>
                  <a:lnTo>
                    <a:pt x="436" y="22"/>
                  </a:lnTo>
                  <a:lnTo>
                    <a:pt x="443" y="22"/>
                  </a:lnTo>
                  <a:lnTo>
                    <a:pt x="452" y="22"/>
                  </a:lnTo>
                  <a:lnTo>
                    <a:pt x="461" y="23"/>
                  </a:lnTo>
                  <a:lnTo>
                    <a:pt x="470" y="24"/>
                  </a:lnTo>
                  <a:lnTo>
                    <a:pt x="480" y="25"/>
                  </a:lnTo>
                  <a:lnTo>
                    <a:pt x="486" y="23"/>
                  </a:lnTo>
                  <a:lnTo>
                    <a:pt x="502" y="22"/>
                  </a:lnTo>
                  <a:lnTo>
                    <a:pt x="516" y="18"/>
                  </a:lnTo>
                  <a:lnTo>
                    <a:pt x="518" y="17"/>
                  </a:lnTo>
                  <a:lnTo>
                    <a:pt x="519" y="18"/>
                  </a:lnTo>
                  <a:lnTo>
                    <a:pt x="521" y="20"/>
                  </a:lnTo>
                  <a:lnTo>
                    <a:pt x="523" y="23"/>
                  </a:lnTo>
                  <a:lnTo>
                    <a:pt x="528" y="24"/>
                  </a:lnTo>
                  <a:lnTo>
                    <a:pt x="539" y="24"/>
                  </a:lnTo>
                  <a:lnTo>
                    <a:pt x="540" y="25"/>
                  </a:lnTo>
                  <a:lnTo>
                    <a:pt x="540" y="27"/>
                  </a:lnTo>
                  <a:lnTo>
                    <a:pt x="541" y="30"/>
                  </a:lnTo>
                  <a:lnTo>
                    <a:pt x="542" y="31"/>
                  </a:lnTo>
                  <a:lnTo>
                    <a:pt x="545" y="32"/>
                  </a:lnTo>
                  <a:lnTo>
                    <a:pt x="546" y="32"/>
                  </a:lnTo>
                  <a:lnTo>
                    <a:pt x="547" y="37"/>
                  </a:lnTo>
                  <a:lnTo>
                    <a:pt x="549" y="39"/>
                  </a:lnTo>
                  <a:lnTo>
                    <a:pt x="555" y="45"/>
                  </a:lnTo>
                  <a:lnTo>
                    <a:pt x="556" y="46"/>
                  </a:lnTo>
                  <a:lnTo>
                    <a:pt x="559" y="48"/>
                  </a:lnTo>
                  <a:lnTo>
                    <a:pt x="561" y="48"/>
                  </a:lnTo>
                  <a:lnTo>
                    <a:pt x="564" y="48"/>
                  </a:lnTo>
                  <a:lnTo>
                    <a:pt x="565" y="46"/>
                  </a:lnTo>
                  <a:lnTo>
                    <a:pt x="564" y="45"/>
                  </a:lnTo>
                  <a:lnTo>
                    <a:pt x="560" y="39"/>
                  </a:lnTo>
                  <a:lnTo>
                    <a:pt x="556" y="32"/>
                  </a:lnTo>
                  <a:lnTo>
                    <a:pt x="555" y="31"/>
                  </a:lnTo>
                  <a:lnTo>
                    <a:pt x="552" y="30"/>
                  </a:lnTo>
                  <a:lnTo>
                    <a:pt x="551" y="27"/>
                  </a:lnTo>
                  <a:lnTo>
                    <a:pt x="549" y="25"/>
                  </a:lnTo>
                  <a:lnTo>
                    <a:pt x="549" y="20"/>
                  </a:lnTo>
                  <a:lnTo>
                    <a:pt x="549" y="18"/>
                  </a:lnTo>
                  <a:lnTo>
                    <a:pt x="551" y="16"/>
                  </a:lnTo>
                  <a:lnTo>
                    <a:pt x="555" y="14"/>
                  </a:lnTo>
                  <a:lnTo>
                    <a:pt x="560" y="13"/>
                  </a:lnTo>
                  <a:lnTo>
                    <a:pt x="564" y="12"/>
                  </a:lnTo>
                  <a:lnTo>
                    <a:pt x="566" y="10"/>
                  </a:lnTo>
                  <a:lnTo>
                    <a:pt x="566" y="6"/>
                  </a:lnTo>
                  <a:lnTo>
                    <a:pt x="566" y="5"/>
                  </a:lnTo>
                  <a:lnTo>
                    <a:pt x="568" y="4"/>
                  </a:lnTo>
                  <a:lnTo>
                    <a:pt x="578" y="4"/>
                  </a:lnTo>
                  <a:lnTo>
                    <a:pt x="588" y="5"/>
                  </a:lnTo>
                  <a:lnTo>
                    <a:pt x="589" y="5"/>
                  </a:lnTo>
                  <a:lnTo>
                    <a:pt x="592" y="7"/>
                  </a:lnTo>
                  <a:lnTo>
                    <a:pt x="596" y="10"/>
                  </a:lnTo>
                  <a:lnTo>
                    <a:pt x="601" y="13"/>
                  </a:lnTo>
                  <a:lnTo>
                    <a:pt x="605" y="14"/>
                  </a:lnTo>
                  <a:lnTo>
                    <a:pt x="608" y="14"/>
                  </a:lnTo>
                  <a:lnTo>
                    <a:pt x="613" y="14"/>
                  </a:lnTo>
                  <a:lnTo>
                    <a:pt x="615" y="14"/>
                  </a:lnTo>
                  <a:lnTo>
                    <a:pt x="616" y="13"/>
                  </a:lnTo>
                  <a:lnTo>
                    <a:pt x="616" y="11"/>
                  </a:lnTo>
                  <a:lnTo>
                    <a:pt x="616" y="7"/>
                  </a:lnTo>
                  <a:lnTo>
                    <a:pt x="613" y="3"/>
                  </a:lnTo>
                  <a:lnTo>
                    <a:pt x="615" y="3"/>
                  </a:lnTo>
                  <a:lnTo>
                    <a:pt x="617" y="1"/>
                  </a:lnTo>
                  <a:lnTo>
                    <a:pt x="624" y="4"/>
                  </a:lnTo>
                  <a:lnTo>
                    <a:pt x="630" y="5"/>
                  </a:lnTo>
                  <a:lnTo>
                    <a:pt x="644" y="5"/>
                  </a:lnTo>
                  <a:lnTo>
                    <a:pt x="671" y="4"/>
                  </a:lnTo>
                  <a:lnTo>
                    <a:pt x="674" y="3"/>
                  </a:lnTo>
                  <a:lnTo>
                    <a:pt x="678" y="1"/>
                  </a:lnTo>
                  <a:lnTo>
                    <a:pt x="682" y="0"/>
                  </a:lnTo>
                  <a:lnTo>
                    <a:pt x="686" y="0"/>
                  </a:lnTo>
                  <a:lnTo>
                    <a:pt x="695" y="4"/>
                  </a:lnTo>
                  <a:lnTo>
                    <a:pt x="699" y="5"/>
                  </a:lnTo>
                  <a:lnTo>
                    <a:pt x="702" y="5"/>
                  </a:lnTo>
                  <a:lnTo>
                    <a:pt x="710" y="3"/>
                  </a:lnTo>
                  <a:lnTo>
                    <a:pt x="718" y="1"/>
                  </a:lnTo>
                  <a:lnTo>
                    <a:pt x="720" y="1"/>
                  </a:lnTo>
                  <a:lnTo>
                    <a:pt x="724" y="1"/>
                  </a:lnTo>
                  <a:lnTo>
                    <a:pt x="728" y="4"/>
                  </a:lnTo>
                  <a:lnTo>
                    <a:pt x="730" y="6"/>
                  </a:lnTo>
                  <a:lnTo>
                    <a:pt x="735" y="11"/>
                  </a:lnTo>
                  <a:lnTo>
                    <a:pt x="740" y="14"/>
                  </a:lnTo>
                  <a:lnTo>
                    <a:pt x="745" y="17"/>
                  </a:lnTo>
                  <a:lnTo>
                    <a:pt x="752" y="19"/>
                  </a:lnTo>
                  <a:lnTo>
                    <a:pt x="763" y="20"/>
                  </a:lnTo>
                  <a:lnTo>
                    <a:pt x="777" y="22"/>
                  </a:lnTo>
                  <a:lnTo>
                    <a:pt x="787" y="22"/>
                  </a:lnTo>
                  <a:lnTo>
                    <a:pt x="798" y="20"/>
                  </a:lnTo>
                  <a:lnTo>
                    <a:pt x="806" y="19"/>
                  </a:lnTo>
                  <a:lnTo>
                    <a:pt x="814" y="19"/>
                  </a:lnTo>
                  <a:lnTo>
                    <a:pt x="822" y="18"/>
                  </a:lnTo>
                  <a:lnTo>
                    <a:pt x="822" y="20"/>
                  </a:lnTo>
                  <a:lnTo>
                    <a:pt x="822" y="23"/>
                  </a:lnTo>
                  <a:lnTo>
                    <a:pt x="819" y="24"/>
                  </a:lnTo>
                  <a:lnTo>
                    <a:pt x="818" y="24"/>
                  </a:lnTo>
                  <a:lnTo>
                    <a:pt x="817" y="26"/>
                  </a:lnTo>
                  <a:lnTo>
                    <a:pt x="817" y="29"/>
                  </a:lnTo>
                  <a:lnTo>
                    <a:pt x="819" y="32"/>
                  </a:lnTo>
                  <a:lnTo>
                    <a:pt x="823" y="33"/>
                  </a:lnTo>
                  <a:lnTo>
                    <a:pt x="824" y="33"/>
                  </a:lnTo>
                  <a:lnTo>
                    <a:pt x="825" y="33"/>
                  </a:lnTo>
                  <a:lnTo>
                    <a:pt x="829" y="29"/>
                  </a:lnTo>
                  <a:lnTo>
                    <a:pt x="833" y="26"/>
                  </a:lnTo>
                  <a:lnTo>
                    <a:pt x="837" y="26"/>
                  </a:lnTo>
                  <a:lnTo>
                    <a:pt x="842" y="29"/>
                  </a:lnTo>
                  <a:lnTo>
                    <a:pt x="846" y="30"/>
                  </a:lnTo>
                  <a:lnTo>
                    <a:pt x="851" y="31"/>
                  </a:lnTo>
                  <a:lnTo>
                    <a:pt x="864" y="30"/>
                  </a:lnTo>
                  <a:lnTo>
                    <a:pt x="878" y="29"/>
                  </a:lnTo>
                  <a:lnTo>
                    <a:pt x="884" y="29"/>
                  </a:lnTo>
                  <a:lnTo>
                    <a:pt x="889" y="30"/>
                  </a:lnTo>
                  <a:lnTo>
                    <a:pt x="894" y="32"/>
                  </a:lnTo>
                  <a:lnTo>
                    <a:pt x="895" y="33"/>
                  </a:lnTo>
                  <a:lnTo>
                    <a:pt x="894" y="35"/>
                  </a:lnTo>
                  <a:lnTo>
                    <a:pt x="892" y="37"/>
                  </a:lnTo>
                  <a:lnTo>
                    <a:pt x="885" y="41"/>
                  </a:lnTo>
                  <a:lnTo>
                    <a:pt x="876" y="44"/>
                  </a:lnTo>
                  <a:lnTo>
                    <a:pt x="867" y="46"/>
                  </a:lnTo>
                  <a:lnTo>
                    <a:pt x="857" y="48"/>
                  </a:lnTo>
                  <a:lnTo>
                    <a:pt x="836" y="48"/>
                  </a:lnTo>
                  <a:lnTo>
                    <a:pt x="818" y="46"/>
                  </a:lnTo>
                  <a:lnTo>
                    <a:pt x="798" y="43"/>
                  </a:lnTo>
                  <a:lnTo>
                    <a:pt x="777" y="43"/>
                  </a:lnTo>
                  <a:lnTo>
                    <a:pt x="757" y="44"/>
                  </a:lnTo>
                  <a:lnTo>
                    <a:pt x="737" y="46"/>
                  </a:lnTo>
                  <a:lnTo>
                    <a:pt x="734" y="48"/>
                  </a:lnTo>
                  <a:lnTo>
                    <a:pt x="732" y="50"/>
                  </a:lnTo>
                  <a:lnTo>
                    <a:pt x="732" y="52"/>
                  </a:lnTo>
                  <a:lnTo>
                    <a:pt x="732" y="56"/>
                  </a:lnTo>
                  <a:lnTo>
                    <a:pt x="734" y="63"/>
                  </a:lnTo>
                  <a:lnTo>
                    <a:pt x="737" y="69"/>
                  </a:lnTo>
                  <a:lnTo>
                    <a:pt x="738" y="69"/>
                  </a:lnTo>
                  <a:lnTo>
                    <a:pt x="739" y="69"/>
                  </a:lnTo>
                  <a:lnTo>
                    <a:pt x="742" y="67"/>
                  </a:lnTo>
                  <a:lnTo>
                    <a:pt x="748" y="61"/>
                  </a:lnTo>
                  <a:lnTo>
                    <a:pt x="754" y="58"/>
                  </a:lnTo>
                  <a:lnTo>
                    <a:pt x="759" y="57"/>
                  </a:lnTo>
                  <a:lnTo>
                    <a:pt x="767" y="58"/>
                  </a:lnTo>
                  <a:lnTo>
                    <a:pt x="771" y="57"/>
                  </a:lnTo>
                  <a:lnTo>
                    <a:pt x="773" y="56"/>
                  </a:lnTo>
                  <a:lnTo>
                    <a:pt x="777" y="55"/>
                  </a:lnTo>
                  <a:lnTo>
                    <a:pt x="780" y="54"/>
                  </a:lnTo>
                  <a:lnTo>
                    <a:pt x="782" y="55"/>
                  </a:lnTo>
                  <a:lnTo>
                    <a:pt x="787" y="55"/>
                  </a:lnTo>
                  <a:lnTo>
                    <a:pt x="794" y="54"/>
                  </a:lnTo>
                  <a:lnTo>
                    <a:pt x="800" y="54"/>
                  </a:lnTo>
                  <a:lnTo>
                    <a:pt x="804" y="54"/>
                  </a:lnTo>
                  <a:lnTo>
                    <a:pt x="806" y="55"/>
                  </a:lnTo>
                  <a:lnTo>
                    <a:pt x="806" y="56"/>
                  </a:lnTo>
                  <a:lnTo>
                    <a:pt x="806" y="57"/>
                  </a:lnTo>
                  <a:lnTo>
                    <a:pt x="805" y="60"/>
                  </a:lnTo>
                  <a:lnTo>
                    <a:pt x="801" y="64"/>
                  </a:lnTo>
                  <a:lnTo>
                    <a:pt x="799" y="67"/>
                  </a:lnTo>
                  <a:lnTo>
                    <a:pt x="799" y="69"/>
                  </a:lnTo>
                  <a:lnTo>
                    <a:pt x="800" y="70"/>
                  </a:lnTo>
                  <a:lnTo>
                    <a:pt x="803" y="71"/>
                  </a:lnTo>
                  <a:lnTo>
                    <a:pt x="819" y="71"/>
                  </a:lnTo>
                  <a:lnTo>
                    <a:pt x="827" y="70"/>
                  </a:lnTo>
                  <a:lnTo>
                    <a:pt x="834" y="68"/>
                  </a:lnTo>
                  <a:lnTo>
                    <a:pt x="834" y="67"/>
                  </a:lnTo>
                  <a:lnTo>
                    <a:pt x="836" y="65"/>
                  </a:lnTo>
                  <a:lnTo>
                    <a:pt x="834" y="63"/>
                  </a:lnTo>
                  <a:lnTo>
                    <a:pt x="836" y="61"/>
                  </a:lnTo>
                  <a:lnTo>
                    <a:pt x="836" y="60"/>
                  </a:lnTo>
                  <a:lnTo>
                    <a:pt x="838" y="60"/>
                  </a:lnTo>
                  <a:lnTo>
                    <a:pt x="847" y="58"/>
                  </a:lnTo>
                  <a:lnTo>
                    <a:pt x="857" y="58"/>
                  </a:lnTo>
                  <a:lnTo>
                    <a:pt x="866" y="58"/>
                  </a:lnTo>
                  <a:lnTo>
                    <a:pt x="875" y="57"/>
                  </a:lnTo>
                  <a:lnTo>
                    <a:pt x="878" y="56"/>
                  </a:lnTo>
                  <a:lnTo>
                    <a:pt x="880" y="57"/>
                  </a:lnTo>
                  <a:lnTo>
                    <a:pt x="880" y="58"/>
                  </a:lnTo>
                  <a:lnTo>
                    <a:pt x="879" y="61"/>
                  </a:lnTo>
                  <a:lnTo>
                    <a:pt x="876" y="63"/>
                  </a:lnTo>
                  <a:lnTo>
                    <a:pt x="875" y="65"/>
                  </a:lnTo>
                  <a:lnTo>
                    <a:pt x="874" y="68"/>
                  </a:lnTo>
                  <a:lnTo>
                    <a:pt x="871" y="70"/>
                  </a:lnTo>
                  <a:lnTo>
                    <a:pt x="861" y="76"/>
                  </a:lnTo>
                  <a:lnTo>
                    <a:pt x="851" y="82"/>
                  </a:lnTo>
                  <a:lnTo>
                    <a:pt x="829" y="89"/>
                  </a:lnTo>
                  <a:lnTo>
                    <a:pt x="820" y="94"/>
                  </a:lnTo>
                  <a:lnTo>
                    <a:pt x="815" y="97"/>
                  </a:lnTo>
                  <a:lnTo>
                    <a:pt x="812" y="102"/>
                  </a:lnTo>
                  <a:lnTo>
                    <a:pt x="810" y="106"/>
                  </a:lnTo>
                  <a:lnTo>
                    <a:pt x="809" y="108"/>
                  </a:lnTo>
                  <a:lnTo>
                    <a:pt x="806" y="109"/>
                  </a:lnTo>
                  <a:lnTo>
                    <a:pt x="805" y="109"/>
                  </a:lnTo>
                  <a:lnTo>
                    <a:pt x="806" y="110"/>
                  </a:lnTo>
                  <a:lnTo>
                    <a:pt x="810" y="113"/>
                  </a:lnTo>
                  <a:lnTo>
                    <a:pt x="815" y="113"/>
                  </a:lnTo>
                  <a:lnTo>
                    <a:pt x="819" y="112"/>
                  </a:lnTo>
                  <a:lnTo>
                    <a:pt x="824" y="109"/>
                  </a:lnTo>
                  <a:lnTo>
                    <a:pt x="845" y="99"/>
                  </a:lnTo>
                  <a:lnTo>
                    <a:pt x="856" y="94"/>
                  </a:lnTo>
                  <a:lnTo>
                    <a:pt x="869" y="92"/>
                  </a:lnTo>
                  <a:lnTo>
                    <a:pt x="876" y="89"/>
                  </a:lnTo>
                  <a:lnTo>
                    <a:pt x="885" y="86"/>
                  </a:lnTo>
                  <a:lnTo>
                    <a:pt x="894" y="82"/>
                  </a:lnTo>
                  <a:lnTo>
                    <a:pt x="903" y="81"/>
                  </a:lnTo>
                  <a:lnTo>
                    <a:pt x="905" y="80"/>
                  </a:lnTo>
                  <a:lnTo>
                    <a:pt x="908" y="77"/>
                  </a:lnTo>
                  <a:lnTo>
                    <a:pt x="909" y="74"/>
                  </a:lnTo>
                  <a:lnTo>
                    <a:pt x="912" y="71"/>
                  </a:lnTo>
                  <a:lnTo>
                    <a:pt x="917" y="71"/>
                  </a:lnTo>
                  <a:lnTo>
                    <a:pt x="923" y="71"/>
                  </a:lnTo>
                  <a:lnTo>
                    <a:pt x="928" y="71"/>
                  </a:lnTo>
                  <a:lnTo>
                    <a:pt x="933" y="70"/>
                  </a:lnTo>
                  <a:lnTo>
                    <a:pt x="940" y="69"/>
                  </a:lnTo>
                  <a:lnTo>
                    <a:pt x="946" y="68"/>
                  </a:lnTo>
                  <a:lnTo>
                    <a:pt x="959" y="69"/>
                  </a:lnTo>
                  <a:lnTo>
                    <a:pt x="961" y="69"/>
                  </a:lnTo>
                  <a:lnTo>
                    <a:pt x="964" y="68"/>
                  </a:lnTo>
                  <a:lnTo>
                    <a:pt x="968" y="63"/>
                  </a:lnTo>
                  <a:lnTo>
                    <a:pt x="970" y="62"/>
                  </a:lnTo>
                  <a:lnTo>
                    <a:pt x="973" y="61"/>
                  </a:lnTo>
                  <a:lnTo>
                    <a:pt x="985" y="61"/>
                  </a:lnTo>
                  <a:lnTo>
                    <a:pt x="997" y="58"/>
                  </a:lnTo>
                  <a:lnTo>
                    <a:pt x="1005" y="56"/>
                  </a:lnTo>
                  <a:lnTo>
                    <a:pt x="1012" y="54"/>
                  </a:lnTo>
                  <a:lnTo>
                    <a:pt x="1017" y="54"/>
                  </a:lnTo>
                  <a:lnTo>
                    <a:pt x="1020" y="55"/>
                  </a:lnTo>
                  <a:lnTo>
                    <a:pt x="1022" y="57"/>
                  </a:lnTo>
                  <a:lnTo>
                    <a:pt x="1025" y="61"/>
                  </a:lnTo>
                  <a:lnTo>
                    <a:pt x="1027" y="68"/>
                  </a:lnTo>
                  <a:lnTo>
                    <a:pt x="1032" y="74"/>
                  </a:lnTo>
                  <a:lnTo>
                    <a:pt x="1038" y="78"/>
                  </a:lnTo>
                  <a:lnTo>
                    <a:pt x="1041" y="84"/>
                  </a:lnTo>
                  <a:lnTo>
                    <a:pt x="1041" y="87"/>
                  </a:lnTo>
                  <a:lnTo>
                    <a:pt x="1040" y="88"/>
                  </a:lnTo>
                  <a:lnTo>
                    <a:pt x="1026" y="89"/>
                  </a:lnTo>
                  <a:lnTo>
                    <a:pt x="1020" y="92"/>
                  </a:lnTo>
                  <a:lnTo>
                    <a:pt x="1012" y="94"/>
                  </a:lnTo>
                  <a:lnTo>
                    <a:pt x="1011" y="94"/>
                  </a:lnTo>
                  <a:lnTo>
                    <a:pt x="1008" y="94"/>
                  </a:lnTo>
                  <a:lnTo>
                    <a:pt x="1003" y="92"/>
                  </a:lnTo>
                  <a:lnTo>
                    <a:pt x="998" y="90"/>
                  </a:lnTo>
                  <a:lnTo>
                    <a:pt x="996" y="92"/>
                  </a:lnTo>
                  <a:lnTo>
                    <a:pt x="994" y="93"/>
                  </a:lnTo>
                  <a:lnTo>
                    <a:pt x="994" y="95"/>
                  </a:lnTo>
                  <a:lnTo>
                    <a:pt x="996" y="97"/>
                  </a:lnTo>
                  <a:lnTo>
                    <a:pt x="999" y="103"/>
                  </a:lnTo>
                  <a:lnTo>
                    <a:pt x="979" y="106"/>
                  </a:lnTo>
                  <a:lnTo>
                    <a:pt x="969" y="106"/>
                  </a:lnTo>
                  <a:lnTo>
                    <a:pt x="964" y="105"/>
                  </a:lnTo>
                  <a:lnTo>
                    <a:pt x="959" y="102"/>
                  </a:lnTo>
                  <a:lnTo>
                    <a:pt x="954" y="100"/>
                  </a:lnTo>
                  <a:lnTo>
                    <a:pt x="951" y="101"/>
                  </a:lnTo>
                  <a:lnTo>
                    <a:pt x="950" y="102"/>
                  </a:lnTo>
                  <a:lnTo>
                    <a:pt x="950" y="106"/>
                  </a:lnTo>
                  <a:lnTo>
                    <a:pt x="951" y="107"/>
                  </a:lnTo>
                  <a:lnTo>
                    <a:pt x="954" y="109"/>
                  </a:lnTo>
                  <a:lnTo>
                    <a:pt x="956" y="110"/>
                  </a:lnTo>
                  <a:lnTo>
                    <a:pt x="964" y="112"/>
                  </a:lnTo>
                  <a:lnTo>
                    <a:pt x="966" y="113"/>
                  </a:lnTo>
                  <a:lnTo>
                    <a:pt x="969" y="114"/>
                  </a:lnTo>
                  <a:lnTo>
                    <a:pt x="969" y="115"/>
                  </a:lnTo>
                  <a:lnTo>
                    <a:pt x="968" y="116"/>
                  </a:lnTo>
                  <a:lnTo>
                    <a:pt x="964" y="118"/>
                  </a:lnTo>
                  <a:lnTo>
                    <a:pt x="955" y="118"/>
                  </a:lnTo>
                  <a:lnTo>
                    <a:pt x="950" y="118"/>
                  </a:lnTo>
                  <a:lnTo>
                    <a:pt x="945" y="119"/>
                  </a:lnTo>
                  <a:lnTo>
                    <a:pt x="942" y="119"/>
                  </a:lnTo>
                  <a:lnTo>
                    <a:pt x="941" y="118"/>
                  </a:lnTo>
                  <a:lnTo>
                    <a:pt x="936" y="115"/>
                  </a:lnTo>
                  <a:lnTo>
                    <a:pt x="932" y="115"/>
                  </a:lnTo>
                  <a:lnTo>
                    <a:pt x="928" y="116"/>
                  </a:lnTo>
                  <a:lnTo>
                    <a:pt x="925" y="116"/>
                  </a:lnTo>
                  <a:lnTo>
                    <a:pt x="921" y="116"/>
                  </a:lnTo>
                  <a:lnTo>
                    <a:pt x="913" y="113"/>
                  </a:lnTo>
                  <a:lnTo>
                    <a:pt x="909" y="112"/>
                  </a:lnTo>
                  <a:lnTo>
                    <a:pt x="907" y="112"/>
                  </a:lnTo>
                  <a:lnTo>
                    <a:pt x="905" y="113"/>
                  </a:lnTo>
                  <a:lnTo>
                    <a:pt x="904" y="115"/>
                  </a:lnTo>
                  <a:lnTo>
                    <a:pt x="905" y="119"/>
                  </a:lnTo>
                  <a:lnTo>
                    <a:pt x="908" y="121"/>
                  </a:lnTo>
                  <a:lnTo>
                    <a:pt x="909" y="125"/>
                  </a:lnTo>
                  <a:lnTo>
                    <a:pt x="913" y="132"/>
                  </a:lnTo>
                  <a:lnTo>
                    <a:pt x="916" y="134"/>
                  </a:lnTo>
                  <a:lnTo>
                    <a:pt x="919" y="134"/>
                  </a:lnTo>
                  <a:lnTo>
                    <a:pt x="931" y="131"/>
                  </a:lnTo>
                  <a:lnTo>
                    <a:pt x="937" y="129"/>
                  </a:lnTo>
                  <a:lnTo>
                    <a:pt x="942" y="129"/>
                  </a:lnTo>
                  <a:lnTo>
                    <a:pt x="946" y="129"/>
                  </a:lnTo>
                  <a:lnTo>
                    <a:pt x="947" y="132"/>
                  </a:lnTo>
                  <a:lnTo>
                    <a:pt x="947" y="134"/>
                  </a:lnTo>
                  <a:lnTo>
                    <a:pt x="946" y="135"/>
                  </a:lnTo>
                  <a:lnTo>
                    <a:pt x="942" y="135"/>
                  </a:lnTo>
                  <a:lnTo>
                    <a:pt x="940" y="138"/>
                  </a:lnTo>
                  <a:lnTo>
                    <a:pt x="937" y="140"/>
                  </a:lnTo>
                  <a:lnTo>
                    <a:pt x="936" y="144"/>
                  </a:lnTo>
                  <a:lnTo>
                    <a:pt x="935" y="145"/>
                  </a:lnTo>
                  <a:lnTo>
                    <a:pt x="933" y="145"/>
                  </a:lnTo>
                  <a:lnTo>
                    <a:pt x="930" y="146"/>
                  </a:lnTo>
                  <a:lnTo>
                    <a:pt x="926" y="147"/>
                  </a:lnTo>
                  <a:lnTo>
                    <a:pt x="925" y="147"/>
                  </a:lnTo>
                  <a:lnTo>
                    <a:pt x="925" y="148"/>
                  </a:lnTo>
                  <a:lnTo>
                    <a:pt x="922" y="152"/>
                  </a:lnTo>
                  <a:lnTo>
                    <a:pt x="921" y="154"/>
                  </a:lnTo>
                  <a:lnTo>
                    <a:pt x="917" y="159"/>
                  </a:lnTo>
                  <a:lnTo>
                    <a:pt x="916" y="161"/>
                  </a:lnTo>
                  <a:lnTo>
                    <a:pt x="916" y="164"/>
                  </a:lnTo>
                  <a:lnTo>
                    <a:pt x="917" y="167"/>
                  </a:lnTo>
                  <a:lnTo>
                    <a:pt x="918" y="172"/>
                  </a:lnTo>
                  <a:lnTo>
                    <a:pt x="918" y="176"/>
                  </a:lnTo>
                  <a:lnTo>
                    <a:pt x="914" y="189"/>
                  </a:lnTo>
                  <a:lnTo>
                    <a:pt x="914" y="195"/>
                  </a:lnTo>
                  <a:lnTo>
                    <a:pt x="914" y="197"/>
                  </a:lnTo>
                  <a:lnTo>
                    <a:pt x="917" y="201"/>
                  </a:lnTo>
                  <a:lnTo>
                    <a:pt x="918" y="203"/>
                  </a:lnTo>
                  <a:lnTo>
                    <a:pt x="918" y="207"/>
                  </a:lnTo>
                  <a:lnTo>
                    <a:pt x="917" y="210"/>
                  </a:lnTo>
                  <a:lnTo>
                    <a:pt x="916" y="210"/>
                  </a:lnTo>
                  <a:lnTo>
                    <a:pt x="913" y="210"/>
                  </a:lnTo>
                  <a:lnTo>
                    <a:pt x="911" y="209"/>
                  </a:lnTo>
                  <a:lnTo>
                    <a:pt x="907" y="207"/>
                  </a:lnTo>
                  <a:lnTo>
                    <a:pt x="904" y="207"/>
                  </a:lnTo>
                  <a:lnTo>
                    <a:pt x="902" y="208"/>
                  </a:lnTo>
                  <a:lnTo>
                    <a:pt x="900" y="210"/>
                  </a:lnTo>
                  <a:lnTo>
                    <a:pt x="900" y="212"/>
                  </a:lnTo>
                  <a:lnTo>
                    <a:pt x="902" y="216"/>
                  </a:lnTo>
                  <a:lnTo>
                    <a:pt x="905" y="218"/>
                  </a:lnTo>
                  <a:lnTo>
                    <a:pt x="908" y="220"/>
                  </a:lnTo>
                  <a:lnTo>
                    <a:pt x="912" y="221"/>
                  </a:lnTo>
                  <a:lnTo>
                    <a:pt x="921" y="221"/>
                  </a:lnTo>
                  <a:lnTo>
                    <a:pt x="928" y="220"/>
                  </a:lnTo>
                  <a:lnTo>
                    <a:pt x="931" y="220"/>
                  </a:lnTo>
                  <a:lnTo>
                    <a:pt x="932" y="221"/>
                  </a:lnTo>
                  <a:lnTo>
                    <a:pt x="933" y="225"/>
                  </a:lnTo>
                  <a:lnTo>
                    <a:pt x="932" y="230"/>
                  </a:lnTo>
                  <a:lnTo>
                    <a:pt x="931" y="234"/>
                  </a:lnTo>
                  <a:lnTo>
                    <a:pt x="928" y="236"/>
                  </a:lnTo>
                  <a:lnTo>
                    <a:pt x="925" y="237"/>
                  </a:lnTo>
                  <a:lnTo>
                    <a:pt x="921" y="237"/>
                  </a:lnTo>
                  <a:lnTo>
                    <a:pt x="917" y="236"/>
                  </a:lnTo>
                  <a:lnTo>
                    <a:pt x="909" y="231"/>
                  </a:lnTo>
                  <a:lnTo>
                    <a:pt x="902" y="227"/>
                  </a:lnTo>
                  <a:lnTo>
                    <a:pt x="900" y="227"/>
                  </a:lnTo>
                  <a:lnTo>
                    <a:pt x="898" y="228"/>
                  </a:lnTo>
                  <a:lnTo>
                    <a:pt x="894" y="230"/>
                  </a:lnTo>
                  <a:lnTo>
                    <a:pt x="890" y="235"/>
                  </a:lnTo>
                  <a:lnTo>
                    <a:pt x="889" y="237"/>
                  </a:lnTo>
                  <a:lnTo>
                    <a:pt x="889" y="240"/>
                  </a:lnTo>
                  <a:lnTo>
                    <a:pt x="892" y="244"/>
                  </a:lnTo>
                  <a:lnTo>
                    <a:pt x="894" y="248"/>
                  </a:lnTo>
                  <a:lnTo>
                    <a:pt x="899" y="252"/>
                  </a:lnTo>
                  <a:lnTo>
                    <a:pt x="904" y="254"/>
                  </a:lnTo>
                  <a:lnTo>
                    <a:pt x="905" y="255"/>
                  </a:lnTo>
                  <a:lnTo>
                    <a:pt x="907" y="257"/>
                  </a:lnTo>
                  <a:lnTo>
                    <a:pt x="905" y="257"/>
                  </a:lnTo>
                  <a:lnTo>
                    <a:pt x="903" y="259"/>
                  </a:lnTo>
                  <a:lnTo>
                    <a:pt x="900" y="259"/>
                  </a:lnTo>
                  <a:lnTo>
                    <a:pt x="895" y="259"/>
                  </a:lnTo>
                  <a:lnTo>
                    <a:pt x="890" y="257"/>
                  </a:lnTo>
                  <a:lnTo>
                    <a:pt x="885" y="257"/>
                  </a:lnTo>
                  <a:lnTo>
                    <a:pt x="884" y="259"/>
                  </a:lnTo>
                  <a:lnTo>
                    <a:pt x="883" y="261"/>
                  </a:lnTo>
                  <a:lnTo>
                    <a:pt x="884" y="262"/>
                  </a:lnTo>
                  <a:lnTo>
                    <a:pt x="885" y="263"/>
                  </a:lnTo>
                  <a:lnTo>
                    <a:pt x="894" y="266"/>
                  </a:lnTo>
                  <a:lnTo>
                    <a:pt x="899" y="267"/>
                  </a:lnTo>
                  <a:lnTo>
                    <a:pt x="903" y="269"/>
                  </a:lnTo>
                  <a:lnTo>
                    <a:pt x="905" y="271"/>
                  </a:lnTo>
                  <a:lnTo>
                    <a:pt x="908" y="271"/>
                  </a:lnTo>
                  <a:lnTo>
                    <a:pt x="911" y="274"/>
                  </a:lnTo>
                  <a:lnTo>
                    <a:pt x="912" y="276"/>
                  </a:lnTo>
                  <a:lnTo>
                    <a:pt x="912" y="282"/>
                  </a:lnTo>
                  <a:lnTo>
                    <a:pt x="911" y="285"/>
                  </a:lnTo>
                  <a:lnTo>
                    <a:pt x="909" y="286"/>
                  </a:lnTo>
                  <a:lnTo>
                    <a:pt x="908" y="286"/>
                  </a:lnTo>
                  <a:lnTo>
                    <a:pt x="905" y="285"/>
                  </a:lnTo>
                  <a:lnTo>
                    <a:pt x="902" y="282"/>
                  </a:lnTo>
                  <a:lnTo>
                    <a:pt x="899" y="280"/>
                  </a:lnTo>
                  <a:lnTo>
                    <a:pt x="894" y="279"/>
                  </a:lnTo>
                  <a:lnTo>
                    <a:pt x="892" y="278"/>
                  </a:lnTo>
                  <a:lnTo>
                    <a:pt x="888" y="275"/>
                  </a:lnTo>
                  <a:lnTo>
                    <a:pt x="885" y="273"/>
                  </a:lnTo>
                  <a:lnTo>
                    <a:pt x="883" y="272"/>
                  </a:lnTo>
                  <a:lnTo>
                    <a:pt x="881" y="273"/>
                  </a:lnTo>
                  <a:lnTo>
                    <a:pt x="881" y="275"/>
                  </a:lnTo>
                  <a:lnTo>
                    <a:pt x="881" y="276"/>
                  </a:lnTo>
                  <a:lnTo>
                    <a:pt x="883" y="278"/>
                  </a:lnTo>
                  <a:lnTo>
                    <a:pt x="888" y="281"/>
                  </a:lnTo>
                  <a:lnTo>
                    <a:pt x="892" y="286"/>
                  </a:lnTo>
                  <a:lnTo>
                    <a:pt x="892" y="291"/>
                  </a:lnTo>
                  <a:lnTo>
                    <a:pt x="892" y="297"/>
                  </a:lnTo>
                  <a:lnTo>
                    <a:pt x="892" y="298"/>
                  </a:lnTo>
                  <a:lnTo>
                    <a:pt x="893" y="299"/>
                  </a:lnTo>
                  <a:lnTo>
                    <a:pt x="897" y="300"/>
                  </a:lnTo>
                  <a:lnTo>
                    <a:pt x="902" y="300"/>
                  </a:lnTo>
                  <a:lnTo>
                    <a:pt x="907" y="301"/>
                  </a:lnTo>
                  <a:lnTo>
                    <a:pt x="912" y="303"/>
                  </a:lnTo>
                  <a:lnTo>
                    <a:pt x="912" y="304"/>
                  </a:lnTo>
                  <a:lnTo>
                    <a:pt x="912" y="306"/>
                  </a:lnTo>
                  <a:lnTo>
                    <a:pt x="908" y="308"/>
                  </a:lnTo>
                  <a:lnTo>
                    <a:pt x="905" y="308"/>
                  </a:lnTo>
                  <a:lnTo>
                    <a:pt x="902" y="307"/>
                  </a:lnTo>
                  <a:lnTo>
                    <a:pt x="899" y="306"/>
                  </a:lnTo>
                  <a:lnTo>
                    <a:pt x="895" y="306"/>
                  </a:lnTo>
                  <a:lnTo>
                    <a:pt x="893" y="307"/>
                  </a:lnTo>
                  <a:lnTo>
                    <a:pt x="886" y="306"/>
                  </a:lnTo>
                  <a:lnTo>
                    <a:pt x="884" y="306"/>
                  </a:lnTo>
                  <a:lnTo>
                    <a:pt x="883" y="308"/>
                  </a:lnTo>
                  <a:lnTo>
                    <a:pt x="879" y="317"/>
                  </a:lnTo>
                  <a:lnTo>
                    <a:pt x="879" y="320"/>
                  </a:lnTo>
                  <a:lnTo>
                    <a:pt x="880" y="322"/>
                  </a:lnTo>
                  <a:lnTo>
                    <a:pt x="881" y="323"/>
                  </a:lnTo>
                  <a:lnTo>
                    <a:pt x="885" y="323"/>
                  </a:lnTo>
                  <a:lnTo>
                    <a:pt x="888" y="325"/>
                  </a:lnTo>
                  <a:lnTo>
                    <a:pt x="890" y="329"/>
                  </a:lnTo>
                  <a:lnTo>
                    <a:pt x="890" y="333"/>
                  </a:lnTo>
                  <a:lnTo>
                    <a:pt x="890" y="337"/>
                  </a:lnTo>
                  <a:lnTo>
                    <a:pt x="889" y="339"/>
                  </a:lnTo>
                  <a:lnTo>
                    <a:pt x="888" y="339"/>
                  </a:lnTo>
                  <a:lnTo>
                    <a:pt x="885" y="340"/>
                  </a:lnTo>
                  <a:lnTo>
                    <a:pt x="883" y="339"/>
                  </a:lnTo>
                  <a:lnTo>
                    <a:pt x="879" y="337"/>
                  </a:lnTo>
                  <a:lnTo>
                    <a:pt x="874" y="336"/>
                  </a:lnTo>
                  <a:lnTo>
                    <a:pt x="871" y="336"/>
                  </a:lnTo>
                  <a:lnTo>
                    <a:pt x="869" y="337"/>
                  </a:lnTo>
                  <a:lnTo>
                    <a:pt x="864" y="340"/>
                  </a:lnTo>
                  <a:lnTo>
                    <a:pt x="860" y="342"/>
                  </a:lnTo>
                  <a:lnTo>
                    <a:pt x="855" y="343"/>
                  </a:lnTo>
                  <a:lnTo>
                    <a:pt x="853" y="342"/>
                  </a:lnTo>
                  <a:lnTo>
                    <a:pt x="851" y="340"/>
                  </a:lnTo>
                  <a:lnTo>
                    <a:pt x="847" y="337"/>
                  </a:lnTo>
                  <a:lnTo>
                    <a:pt x="843" y="335"/>
                  </a:lnTo>
                  <a:lnTo>
                    <a:pt x="839" y="332"/>
                  </a:lnTo>
                  <a:lnTo>
                    <a:pt x="836" y="329"/>
                  </a:lnTo>
                  <a:lnTo>
                    <a:pt x="834" y="325"/>
                  </a:lnTo>
                  <a:lnTo>
                    <a:pt x="834" y="324"/>
                  </a:lnTo>
                  <a:lnTo>
                    <a:pt x="836" y="324"/>
                  </a:lnTo>
                  <a:lnTo>
                    <a:pt x="842" y="322"/>
                  </a:lnTo>
                  <a:lnTo>
                    <a:pt x="845" y="319"/>
                  </a:lnTo>
                  <a:lnTo>
                    <a:pt x="846" y="317"/>
                  </a:lnTo>
                  <a:lnTo>
                    <a:pt x="845" y="316"/>
                  </a:lnTo>
                  <a:lnTo>
                    <a:pt x="842" y="316"/>
                  </a:lnTo>
                  <a:lnTo>
                    <a:pt x="833" y="317"/>
                  </a:lnTo>
                  <a:lnTo>
                    <a:pt x="823" y="318"/>
                  </a:lnTo>
                  <a:lnTo>
                    <a:pt x="822" y="318"/>
                  </a:lnTo>
                  <a:lnTo>
                    <a:pt x="822" y="319"/>
                  </a:lnTo>
                  <a:lnTo>
                    <a:pt x="820" y="322"/>
                  </a:lnTo>
                  <a:lnTo>
                    <a:pt x="818" y="323"/>
                  </a:lnTo>
                  <a:lnTo>
                    <a:pt x="814" y="323"/>
                  </a:lnTo>
                  <a:lnTo>
                    <a:pt x="812" y="323"/>
                  </a:lnTo>
                  <a:lnTo>
                    <a:pt x="810" y="323"/>
                  </a:lnTo>
                  <a:lnTo>
                    <a:pt x="809" y="325"/>
                  </a:lnTo>
                  <a:lnTo>
                    <a:pt x="808" y="329"/>
                  </a:lnTo>
                  <a:lnTo>
                    <a:pt x="805" y="332"/>
                  </a:lnTo>
                  <a:lnTo>
                    <a:pt x="798" y="337"/>
                  </a:lnTo>
                  <a:lnTo>
                    <a:pt x="796" y="339"/>
                  </a:lnTo>
                  <a:lnTo>
                    <a:pt x="796" y="342"/>
                  </a:lnTo>
                  <a:lnTo>
                    <a:pt x="798" y="345"/>
                  </a:lnTo>
                  <a:lnTo>
                    <a:pt x="800" y="346"/>
                  </a:lnTo>
                  <a:lnTo>
                    <a:pt x="808" y="349"/>
                  </a:lnTo>
                  <a:lnTo>
                    <a:pt x="809" y="351"/>
                  </a:lnTo>
                  <a:lnTo>
                    <a:pt x="809" y="352"/>
                  </a:lnTo>
                  <a:lnTo>
                    <a:pt x="809" y="354"/>
                  </a:lnTo>
                  <a:lnTo>
                    <a:pt x="808" y="355"/>
                  </a:lnTo>
                  <a:lnTo>
                    <a:pt x="808" y="356"/>
                  </a:lnTo>
                  <a:lnTo>
                    <a:pt x="809" y="357"/>
                  </a:lnTo>
                  <a:lnTo>
                    <a:pt x="812" y="358"/>
                  </a:lnTo>
                  <a:lnTo>
                    <a:pt x="815" y="358"/>
                  </a:lnTo>
                  <a:lnTo>
                    <a:pt x="815" y="361"/>
                  </a:lnTo>
                  <a:lnTo>
                    <a:pt x="813" y="363"/>
                  </a:lnTo>
                  <a:lnTo>
                    <a:pt x="808" y="364"/>
                  </a:lnTo>
                  <a:lnTo>
                    <a:pt x="805" y="367"/>
                  </a:lnTo>
                  <a:lnTo>
                    <a:pt x="804" y="368"/>
                  </a:lnTo>
                  <a:lnTo>
                    <a:pt x="803" y="370"/>
                  </a:lnTo>
                  <a:lnTo>
                    <a:pt x="805" y="374"/>
                  </a:lnTo>
                  <a:lnTo>
                    <a:pt x="808" y="377"/>
                  </a:lnTo>
                  <a:lnTo>
                    <a:pt x="809" y="378"/>
                  </a:lnTo>
                  <a:lnTo>
                    <a:pt x="810" y="378"/>
                  </a:lnTo>
                  <a:lnTo>
                    <a:pt x="810" y="380"/>
                  </a:lnTo>
                  <a:lnTo>
                    <a:pt x="813" y="376"/>
                  </a:lnTo>
                  <a:lnTo>
                    <a:pt x="815" y="374"/>
                  </a:lnTo>
                  <a:lnTo>
                    <a:pt x="819" y="372"/>
                  </a:lnTo>
                  <a:lnTo>
                    <a:pt x="823" y="374"/>
                  </a:lnTo>
                  <a:lnTo>
                    <a:pt x="828" y="376"/>
                  </a:lnTo>
                  <a:lnTo>
                    <a:pt x="833" y="376"/>
                  </a:lnTo>
                  <a:lnTo>
                    <a:pt x="843" y="375"/>
                  </a:lnTo>
                  <a:lnTo>
                    <a:pt x="845" y="376"/>
                  </a:lnTo>
                  <a:lnTo>
                    <a:pt x="846" y="377"/>
                  </a:lnTo>
                  <a:lnTo>
                    <a:pt x="847" y="380"/>
                  </a:lnTo>
                  <a:lnTo>
                    <a:pt x="848" y="384"/>
                  </a:lnTo>
                  <a:lnTo>
                    <a:pt x="850" y="387"/>
                  </a:lnTo>
                  <a:lnTo>
                    <a:pt x="851" y="387"/>
                  </a:lnTo>
                  <a:lnTo>
                    <a:pt x="853" y="387"/>
                  </a:lnTo>
                  <a:lnTo>
                    <a:pt x="855" y="386"/>
                  </a:lnTo>
                  <a:lnTo>
                    <a:pt x="856" y="384"/>
                  </a:lnTo>
                  <a:lnTo>
                    <a:pt x="857" y="386"/>
                  </a:lnTo>
                  <a:lnTo>
                    <a:pt x="857" y="387"/>
                  </a:lnTo>
                  <a:lnTo>
                    <a:pt x="859" y="389"/>
                  </a:lnTo>
                  <a:lnTo>
                    <a:pt x="860" y="390"/>
                  </a:lnTo>
                  <a:lnTo>
                    <a:pt x="862" y="390"/>
                  </a:lnTo>
                  <a:lnTo>
                    <a:pt x="864" y="390"/>
                  </a:lnTo>
                  <a:lnTo>
                    <a:pt x="869" y="388"/>
                  </a:lnTo>
                  <a:lnTo>
                    <a:pt x="870" y="388"/>
                  </a:lnTo>
                  <a:lnTo>
                    <a:pt x="871" y="389"/>
                  </a:lnTo>
                  <a:lnTo>
                    <a:pt x="872" y="391"/>
                  </a:lnTo>
                  <a:lnTo>
                    <a:pt x="872" y="393"/>
                  </a:lnTo>
                  <a:lnTo>
                    <a:pt x="870" y="395"/>
                  </a:lnTo>
                  <a:lnTo>
                    <a:pt x="869" y="395"/>
                  </a:lnTo>
                  <a:lnTo>
                    <a:pt x="869" y="396"/>
                  </a:lnTo>
                  <a:lnTo>
                    <a:pt x="871" y="405"/>
                  </a:lnTo>
                  <a:lnTo>
                    <a:pt x="871" y="408"/>
                  </a:lnTo>
                  <a:lnTo>
                    <a:pt x="871" y="413"/>
                  </a:lnTo>
                  <a:lnTo>
                    <a:pt x="870" y="414"/>
                  </a:lnTo>
                  <a:lnTo>
                    <a:pt x="870" y="419"/>
                  </a:lnTo>
                  <a:lnTo>
                    <a:pt x="869" y="422"/>
                  </a:lnTo>
                  <a:lnTo>
                    <a:pt x="866" y="425"/>
                  </a:lnTo>
                  <a:lnTo>
                    <a:pt x="864" y="427"/>
                  </a:lnTo>
                  <a:lnTo>
                    <a:pt x="861" y="426"/>
                  </a:lnTo>
                  <a:lnTo>
                    <a:pt x="859" y="425"/>
                  </a:lnTo>
                  <a:lnTo>
                    <a:pt x="855" y="419"/>
                  </a:lnTo>
                  <a:lnTo>
                    <a:pt x="853" y="418"/>
                  </a:lnTo>
                  <a:lnTo>
                    <a:pt x="851" y="419"/>
                  </a:lnTo>
                  <a:lnTo>
                    <a:pt x="845" y="422"/>
                  </a:lnTo>
                  <a:lnTo>
                    <a:pt x="839" y="423"/>
                  </a:lnTo>
                  <a:lnTo>
                    <a:pt x="836" y="422"/>
                  </a:lnTo>
                  <a:lnTo>
                    <a:pt x="832" y="419"/>
                  </a:lnTo>
                  <a:lnTo>
                    <a:pt x="828" y="412"/>
                  </a:lnTo>
                  <a:lnTo>
                    <a:pt x="825" y="407"/>
                  </a:lnTo>
                  <a:lnTo>
                    <a:pt x="824" y="405"/>
                  </a:lnTo>
                  <a:lnTo>
                    <a:pt x="822" y="403"/>
                  </a:lnTo>
                  <a:lnTo>
                    <a:pt x="819" y="403"/>
                  </a:lnTo>
                  <a:lnTo>
                    <a:pt x="818" y="403"/>
                  </a:lnTo>
                  <a:lnTo>
                    <a:pt x="815" y="402"/>
                  </a:lnTo>
                  <a:lnTo>
                    <a:pt x="813" y="400"/>
                  </a:lnTo>
                  <a:lnTo>
                    <a:pt x="812" y="397"/>
                  </a:lnTo>
                  <a:lnTo>
                    <a:pt x="810" y="394"/>
                  </a:lnTo>
                  <a:lnTo>
                    <a:pt x="806" y="391"/>
                  </a:lnTo>
                  <a:lnTo>
                    <a:pt x="803" y="389"/>
                  </a:lnTo>
                  <a:lnTo>
                    <a:pt x="799" y="389"/>
                  </a:lnTo>
                  <a:lnTo>
                    <a:pt x="791" y="389"/>
                  </a:lnTo>
                  <a:lnTo>
                    <a:pt x="787" y="389"/>
                  </a:lnTo>
                  <a:lnTo>
                    <a:pt x="785" y="387"/>
                  </a:lnTo>
                  <a:lnTo>
                    <a:pt x="781" y="383"/>
                  </a:lnTo>
                  <a:lnTo>
                    <a:pt x="779" y="377"/>
                  </a:lnTo>
                  <a:lnTo>
                    <a:pt x="777" y="375"/>
                  </a:lnTo>
                  <a:lnTo>
                    <a:pt x="775" y="374"/>
                  </a:lnTo>
                  <a:lnTo>
                    <a:pt x="773" y="375"/>
                  </a:lnTo>
                  <a:lnTo>
                    <a:pt x="772" y="377"/>
                  </a:lnTo>
                  <a:lnTo>
                    <a:pt x="773" y="381"/>
                  </a:lnTo>
                  <a:lnTo>
                    <a:pt x="773" y="383"/>
                  </a:lnTo>
                  <a:lnTo>
                    <a:pt x="773" y="386"/>
                  </a:lnTo>
                  <a:lnTo>
                    <a:pt x="771" y="387"/>
                  </a:lnTo>
                  <a:lnTo>
                    <a:pt x="768" y="389"/>
                  </a:lnTo>
                  <a:lnTo>
                    <a:pt x="768" y="391"/>
                  </a:lnTo>
                  <a:lnTo>
                    <a:pt x="772" y="393"/>
                  </a:lnTo>
                  <a:lnTo>
                    <a:pt x="777" y="394"/>
                  </a:lnTo>
                  <a:lnTo>
                    <a:pt x="785" y="395"/>
                  </a:lnTo>
                  <a:lnTo>
                    <a:pt x="791" y="397"/>
                  </a:lnTo>
                  <a:lnTo>
                    <a:pt x="798" y="399"/>
                  </a:lnTo>
                  <a:lnTo>
                    <a:pt x="799" y="400"/>
                  </a:lnTo>
                  <a:lnTo>
                    <a:pt x="799" y="403"/>
                  </a:lnTo>
                  <a:lnTo>
                    <a:pt x="796" y="407"/>
                  </a:lnTo>
                  <a:lnTo>
                    <a:pt x="792" y="409"/>
                  </a:lnTo>
                  <a:lnTo>
                    <a:pt x="784" y="410"/>
                  </a:lnTo>
                  <a:lnTo>
                    <a:pt x="782" y="413"/>
                  </a:lnTo>
                  <a:lnTo>
                    <a:pt x="781" y="415"/>
                  </a:lnTo>
                  <a:lnTo>
                    <a:pt x="779" y="416"/>
                  </a:lnTo>
                  <a:lnTo>
                    <a:pt x="776" y="416"/>
                  </a:lnTo>
                  <a:lnTo>
                    <a:pt x="773" y="418"/>
                  </a:lnTo>
                  <a:lnTo>
                    <a:pt x="771" y="419"/>
                  </a:lnTo>
                  <a:lnTo>
                    <a:pt x="772" y="421"/>
                  </a:lnTo>
                  <a:lnTo>
                    <a:pt x="773" y="422"/>
                  </a:lnTo>
                  <a:lnTo>
                    <a:pt x="776" y="425"/>
                  </a:lnTo>
                  <a:lnTo>
                    <a:pt x="776" y="426"/>
                  </a:lnTo>
                  <a:lnTo>
                    <a:pt x="776" y="427"/>
                  </a:lnTo>
                  <a:lnTo>
                    <a:pt x="773" y="431"/>
                  </a:lnTo>
                  <a:lnTo>
                    <a:pt x="771" y="433"/>
                  </a:lnTo>
                  <a:lnTo>
                    <a:pt x="768" y="437"/>
                  </a:lnTo>
                  <a:lnTo>
                    <a:pt x="768" y="438"/>
                  </a:lnTo>
                  <a:lnTo>
                    <a:pt x="771" y="439"/>
                  </a:lnTo>
                  <a:lnTo>
                    <a:pt x="776" y="439"/>
                  </a:lnTo>
                  <a:lnTo>
                    <a:pt x="779" y="438"/>
                  </a:lnTo>
                  <a:lnTo>
                    <a:pt x="789" y="438"/>
                  </a:lnTo>
                  <a:lnTo>
                    <a:pt x="798" y="435"/>
                  </a:lnTo>
                  <a:lnTo>
                    <a:pt x="806" y="433"/>
                  </a:lnTo>
                  <a:lnTo>
                    <a:pt x="815" y="428"/>
                  </a:lnTo>
                  <a:lnTo>
                    <a:pt x="817" y="428"/>
                  </a:lnTo>
                  <a:lnTo>
                    <a:pt x="819" y="428"/>
                  </a:lnTo>
                  <a:lnTo>
                    <a:pt x="823" y="432"/>
                  </a:lnTo>
                  <a:lnTo>
                    <a:pt x="828" y="433"/>
                  </a:lnTo>
                  <a:lnTo>
                    <a:pt x="837" y="435"/>
                  </a:lnTo>
                  <a:lnTo>
                    <a:pt x="856" y="435"/>
                  </a:lnTo>
                  <a:lnTo>
                    <a:pt x="857" y="437"/>
                  </a:lnTo>
                  <a:lnTo>
                    <a:pt x="857" y="438"/>
                  </a:lnTo>
                  <a:lnTo>
                    <a:pt x="839" y="444"/>
                  </a:lnTo>
                  <a:lnTo>
                    <a:pt x="831" y="448"/>
                  </a:lnTo>
                  <a:lnTo>
                    <a:pt x="823" y="453"/>
                  </a:lnTo>
                  <a:lnTo>
                    <a:pt x="819" y="455"/>
                  </a:lnTo>
                  <a:lnTo>
                    <a:pt x="813" y="458"/>
                  </a:lnTo>
                  <a:lnTo>
                    <a:pt x="812" y="460"/>
                  </a:lnTo>
                  <a:lnTo>
                    <a:pt x="809" y="463"/>
                  </a:lnTo>
                  <a:lnTo>
                    <a:pt x="808" y="466"/>
                  </a:lnTo>
                  <a:lnTo>
                    <a:pt x="805" y="467"/>
                  </a:lnTo>
                  <a:lnTo>
                    <a:pt x="786" y="476"/>
                  </a:lnTo>
                  <a:lnTo>
                    <a:pt x="767" y="483"/>
                  </a:lnTo>
                  <a:lnTo>
                    <a:pt x="753" y="487"/>
                  </a:lnTo>
                  <a:lnTo>
                    <a:pt x="738" y="491"/>
                  </a:lnTo>
                  <a:lnTo>
                    <a:pt x="732" y="492"/>
                  </a:lnTo>
                  <a:lnTo>
                    <a:pt x="726" y="492"/>
                  </a:lnTo>
                  <a:lnTo>
                    <a:pt x="720" y="491"/>
                  </a:lnTo>
                  <a:lnTo>
                    <a:pt x="715" y="489"/>
                  </a:lnTo>
                  <a:lnTo>
                    <a:pt x="710" y="486"/>
                  </a:lnTo>
                  <a:lnTo>
                    <a:pt x="706" y="482"/>
                  </a:lnTo>
                  <a:lnTo>
                    <a:pt x="704" y="477"/>
                  </a:lnTo>
                  <a:lnTo>
                    <a:pt x="702" y="470"/>
                  </a:lnTo>
                  <a:lnTo>
                    <a:pt x="701" y="469"/>
                  </a:lnTo>
                  <a:lnTo>
                    <a:pt x="699" y="467"/>
                  </a:lnTo>
                  <a:lnTo>
                    <a:pt x="697" y="469"/>
                  </a:lnTo>
                  <a:lnTo>
                    <a:pt x="696" y="470"/>
                  </a:lnTo>
                  <a:lnTo>
                    <a:pt x="696" y="473"/>
                  </a:lnTo>
                  <a:lnTo>
                    <a:pt x="697" y="478"/>
                  </a:lnTo>
                  <a:lnTo>
                    <a:pt x="700" y="484"/>
                  </a:lnTo>
                  <a:lnTo>
                    <a:pt x="702" y="489"/>
                  </a:lnTo>
                  <a:lnTo>
                    <a:pt x="702" y="492"/>
                  </a:lnTo>
                  <a:lnTo>
                    <a:pt x="701" y="495"/>
                  </a:lnTo>
                  <a:lnTo>
                    <a:pt x="699" y="497"/>
                  </a:lnTo>
                  <a:lnTo>
                    <a:pt x="695" y="498"/>
                  </a:lnTo>
                  <a:lnTo>
                    <a:pt x="690" y="501"/>
                  </a:lnTo>
                  <a:lnTo>
                    <a:pt x="687" y="503"/>
                  </a:lnTo>
                  <a:lnTo>
                    <a:pt x="682" y="508"/>
                  </a:lnTo>
                  <a:lnTo>
                    <a:pt x="676" y="512"/>
                  </a:lnTo>
                  <a:lnTo>
                    <a:pt x="671" y="517"/>
                  </a:lnTo>
                  <a:lnTo>
                    <a:pt x="667" y="523"/>
                  </a:lnTo>
                  <a:lnTo>
                    <a:pt x="663" y="529"/>
                  </a:lnTo>
                  <a:lnTo>
                    <a:pt x="662" y="533"/>
                  </a:lnTo>
                  <a:lnTo>
                    <a:pt x="659" y="536"/>
                  </a:lnTo>
                  <a:lnTo>
                    <a:pt x="655" y="541"/>
                  </a:lnTo>
                  <a:lnTo>
                    <a:pt x="653" y="543"/>
                  </a:lnTo>
                  <a:lnTo>
                    <a:pt x="650" y="544"/>
                  </a:lnTo>
                  <a:lnTo>
                    <a:pt x="648" y="544"/>
                  </a:lnTo>
                  <a:lnTo>
                    <a:pt x="644" y="544"/>
                  </a:lnTo>
                  <a:lnTo>
                    <a:pt x="641" y="544"/>
                  </a:lnTo>
                  <a:lnTo>
                    <a:pt x="639" y="546"/>
                  </a:lnTo>
                  <a:lnTo>
                    <a:pt x="639" y="549"/>
                  </a:lnTo>
                  <a:lnTo>
                    <a:pt x="639" y="554"/>
                  </a:lnTo>
                  <a:lnTo>
                    <a:pt x="638" y="556"/>
                  </a:lnTo>
                  <a:lnTo>
                    <a:pt x="636" y="557"/>
                  </a:lnTo>
                  <a:lnTo>
                    <a:pt x="634" y="557"/>
                  </a:lnTo>
                  <a:lnTo>
                    <a:pt x="627" y="555"/>
                  </a:lnTo>
                  <a:lnTo>
                    <a:pt x="624" y="555"/>
                  </a:lnTo>
                  <a:lnTo>
                    <a:pt x="620" y="556"/>
                  </a:lnTo>
                  <a:lnTo>
                    <a:pt x="617" y="557"/>
                  </a:lnTo>
                  <a:lnTo>
                    <a:pt x="613" y="557"/>
                  </a:lnTo>
                  <a:lnTo>
                    <a:pt x="611" y="555"/>
                  </a:lnTo>
                  <a:lnTo>
                    <a:pt x="610" y="554"/>
                  </a:lnTo>
                  <a:lnTo>
                    <a:pt x="611" y="553"/>
                  </a:lnTo>
                  <a:lnTo>
                    <a:pt x="612" y="550"/>
                  </a:lnTo>
                  <a:lnTo>
                    <a:pt x="613" y="549"/>
                  </a:lnTo>
                  <a:lnTo>
                    <a:pt x="613" y="548"/>
                  </a:lnTo>
                  <a:lnTo>
                    <a:pt x="611" y="547"/>
                  </a:lnTo>
                  <a:lnTo>
                    <a:pt x="608" y="547"/>
                  </a:lnTo>
                  <a:lnTo>
                    <a:pt x="606" y="547"/>
                  </a:lnTo>
                  <a:lnTo>
                    <a:pt x="603" y="547"/>
                  </a:lnTo>
                  <a:lnTo>
                    <a:pt x="601" y="547"/>
                  </a:lnTo>
                  <a:lnTo>
                    <a:pt x="599" y="544"/>
                  </a:lnTo>
                  <a:lnTo>
                    <a:pt x="598" y="544"/>
                  </a:lnTo>
                  <a:lnTo>
                    <a:pt x="597" y="544"/>
                  </a:lnTo>
                  <a:lnTo>
                    <a:pt x="597" y="548"/>
                  </a:lnTo>
                  <a:lnTo>
                    <a:pt x="598" y="550"/>
                  </a:lnTo>
                  <a:lnTo>
                    <a:pt x="599" y="555"/>
                  </a:lnTo>
                  <a:lnTo>
                    <a:pt x="599" y="560"/>
                  </a:lnTo>
                  <a:lnTo>
                    <a:pt x="598" y="561"/>
                  </a:lnTo>
                  <a:lnTo>
                    <a:pt x="596" y="562"/>
                  </a:lnTo>
                  <a:lnTo>
                    <a:pt x="593" y="562"/>
                  </a:lnTo>
                  <a:lnTo>
                    <a:pt x="591" y="563"/>
                  </a:lnTo>
                  <a:lnTo>
                    <a:pt x="588" y="568"/>
                  </a:lnTo>
                  <a:lnTo>
                    <a:pt x="584" y="568"/>
                  </a:lnTo>
                  <a:lnTo>
                    <a:pt x="583" y="569"/>
                  </a:lnTo>
                  <a:lnTo>
                    <a:pt x="579" y="572"/>
                  </a:lnTo>
                  <a:lnTo>
                    <a:pt x="574" y="570"/>
                  </a:lnTo>
                  <a:lnTo>
                    <a:pt x="572" y="570"/>
                  </a:lnTo>
                  <a:lnTo>
                    <a:pt x="570" y="572"/>
                  </a:lnTo>
                  <a:lnTo>
                    <a:pt x="566" y="576"/>
                  </a:lnTo>
                  <a:lnTo>
                    <a:pt x="564" y="580"/>
                  </a:lnTo>
                  <a:lnTo>
                    <a:pt x="561" y="582"/>
                  </a:lnTo>
                  <a:lnTo>
                    <a:pt x="555" y="585"/>
                  </a:lnTo>
                  <a:lnTo>
                    <a:pt x="552" y="586"/>
                  </a:lnTo>
                  <a:lnTo>
                    <a:pt x="552" y="587"/>
                  </a:lnTo>
                  <a:lnTo>
                    <a:pt x="551" y="589"/>
                  </a:lnTo>
                  <a:lnTo>
                    <a:pt x="552" y="591"/>
                  </a:lnTo>
                  <a:lnTo>
                    <a:pt x="556" y="594"/>
                  </a:lnTo>
                  <a:lnTo>
                    <a:pt x="559" y="599"/>
                  </a:lnTo>
                  <a:lnTo>
                    <a:pt x="558" y="602"/>
                  </a:lnTo>
                  <a:lnTo>
                    <a:pt x="556" y="607"/>
                  </a:lnTo>
                  <a:lnTo>
                    <a:pt x="555" y="607"/>
                  </a:lnTo>
                  <a:lnTo>
                    <a:pt x="552" y="606"/>
                  </a:lnTo>
                  <a:lnTo>
                    <a:pt x="550" y="604"/>
                  </a:lnTo>
                  <a:lnTo>
                    <a:pt x="547" y="604"/>
                  </a:lnTo>
                  <a:lnTo>
                    <a:pt x="546" y="604"/>
                  </a:lnTo>
                  <a:lnTo>
                    <a:pt x="545" y="605"/>
                  </a:lnTo>
                  <a:lnTo>
                    <a:pt x="545" y="607"/>
                  </a:lnTo>
                  <a:lnTo>
                    <a:pt x="549" y="612"/>
                  </a:lnTo>
                  <a:lnTo>
                    <a:pt x="549" y="614"/>
                  </a:lnTo>
                  <a:lnTo>
                    <a:pt x="547" y="616"/>
                  </a:lnTo>
                  <a:lnTo>
                    <a:pt x="542" y="620"/>
                  </a:lnTo>
                  <a:lnTo>
                    <a:pt x="535" y="625"/>
                  </a:lnTo>
                  <a:lnTo>
                    <a:pt x="532" y="625"/>
                  </a:lnTo>
                  <a:lnTo>
                    <a:pt x="531" y="625"/>
                  </a:lnTo>
                  <a:lnTo>
                    <a:pt x="530" y="626"/>
                  </a:lnTo>
                  <a:lnTo>
                    <a:pt x="528" y="629"/>
                  </a:lnTo>
                  <a:lnTo>
                    <a:pt x="528" y="632"/>
                  </a:lnTo>
                  <a:lnTo>
                    <a:pt x="530" y="636"/>
                  </a:lnTo>
                  <a:lnTo>
                    <a:pt x="530" y="639"/>
                  </a:lnTo>
                  <a:lnTo>
                    <a:pt x="527" y="642"/>
                  </a:lnTo>
                  <a:lnTo>
                    <a:pt x="526" y="644"/>
                  </a:lnTo>
                  <a:lnTo>
                    <a:pt x="525" y="645"/>
                  </a:lnTo>
                  <a:lnTo>
                    <a:pt x="523" y="649"/>
                  </a:lnTo>
                  <a:lnTo>
                    <a:pt x="522" y="653"/>
                  </a:lnTo>
                  <a:lnTo>
                    <a:pt x="523" y="658"/>
                  </a:lnTo>
                  <a:lnTo>
                    <a:pt x="523" y="663"/>
                  </a:lnTo>
                  <a:lnTo>
                    <a:pt x="523" y="669"/>
                  </a:lnTo>
                  <a:lnTo>
                    <a:pt x="522" y="672"/>
                  </a:lnTo>
                  <a:lnTo>
                    <a:pt x="518" y="677"/>
                  </a:lnTo>
                  <a:lnTo>
                    <a:pt x="514" y="682"/>
                  </a:lnTo>
                  <a:lnTo>
                    <a:pt x="513" y="685"/>
                  </a:lnTo>
                  <a:lnTo>
                    <a:pt x="513" y="690"/>
                  </a:lnTo>
                  <a:lnTo>
                    <a:pt x="513" y="694"/>
                  </a:lnTo>
                  <a:lnTo>
                    <a:pt x="512" y="696"/>
                  </a:lnTo>
                  <a:lnTo>
                    <a:pt x="509" y="699"/>
                  </a:lnTo>
                  <a:lnTo>
                    <a:pt x="503" y="702"/>
                  </a:lnTo>
                  <a:lnTo>
                    <a:pt x="494" y="707"/>
                  </a:lnTo>
                  <a:lnTo>
                    <a:pt x="494" y="708"/>
                  </a:lnTo>
                  <a:lnTo>
                    <a:pt x="494" y="710"/>
                  </a:lnTo>
                  <a:lnTo>
                    <a:pt x="497" y="712"/>
                  </a:lnTo>
                  <a:lnTo>
                    <a:pt x="498" y="712"/>
                  </a:lnTo>
                  <a:lnTo>
                    <a:pt x="502" y="712"/>
                  </a:lnTo>
                  <a:lnTo>
                    <a:pt x="507" y="710"/>
                  </a:lnTo>
                  <a:lnTo>
                    <a:pt x="511" y="712"/>
                  </a:lnTo>
                  <a:lnTo>
                    <a:pt x="512" y="712"/>
                  </a:lnTo>
                  <a:lnTo>
                    <a:pt x="513" y="712"/>
                  </a:lnTo>
                  <a:lnTo>
                    <a:pt x="512" y="713"/>
                  </a:lnTo>
                  <a:lnTo>
                    <a:pt x="507" y="716"/>
                  </a:lnTo>
                  <a:lnTo>
                    <a:pt x="502" y="719"/>
                  </a:lnTo>
                  <a:lnTo>
                    <a:pt x="495" y="721"/>
                  </a:lnTo>
                  <a:lnTo>
                    <a:pt x="489" y="722"/>
                  </a:lnTo>
                  <a:lnTo>
                    <a:pt x="488" y="717"/>
                  </a:lnTo>
                  <a:lnTo>
                    <a:pt x="485" y="715"/>
                  </a:lnTo>
                  <a:lnTo>
                    <a:pt x="480" y="714"/>
                  </a:lnTo>
                  <a:lnTo>
                    <a:pt x="476" y="715"/>
                  </a:lnTo>
                  <a:lnTo>
                    <a:pt x="475" y="714"/>
                  </a:lnTo>
                  <a:lnTo>
                    <a:pt x="475" y="713"/>
                  </a:lnTo>
                  <a:lnTo>
                    <a:pt x="480" y="708"/>
                  </a:lnTo>
                  <a:lnTo>
                    <a:pt x="481" y="706"/>
                  </a:lnTo>
                  <a:lnTo>
                    <a:pt x="480" y="703"/>
                  </a:lnTo>
                  <a:lnTo>
                    <a:pt x="478" y="702"/>
                  </a:lnTo>
                  <a:lnTo>
                    <a:pt x="475" y="701"/>
                  </a:lnTo>
                  <a:lnTo>
                    <a:pt x="470" y="701"/>
                  </a:lnTo>
                  <a:lnTo>
                    <a:pt x="464" y="700"/>
                  </a:lnTo>
                  <a:lnTo>
                    <a:pt x="462" y="699"/>
                  </a:lnTo>
                  <a:lnTo>
                    <a:pt x="460" y="697"/>
                  </a:lnTo>
                  <a:lnTo>
                    <a:pt x="459" y="695"/>
                  </a:lnTo>
                  <a:lnTo>
                    <a:pt x="459" y="694"/>
                  </a:lnTo>
                  <a:lnTo>
                    <a:pt x="461" y="689"/>
                  </a:lnTo>
                  <a:lnTo>
                    <a:pt x="461" y="688"/>
                  </a:lnTo>
                  <a:lnTo>
                    <a:pt x="459" y="687"/>
                  </a:lnTo>
                  <a:lnTo>
                    <a:pt x="456" y="688"/>
                  </a:lnTo>
                  <a:lnTo>
                    <a:pt x="451" y="691"/>
                  </a:lnTo>
                  <a:lnTo>
                    <a:pt x="445" y="695"/>
                  </a:lnTo>
                  <a:lnTo>
                    <a:pt x="438" y="696"/>
                  </a:lnTo>
                  <a:lnTo>
                    <a:pt x="432" y="697"/>
                  </a:lnTo>
                  <a:lnTo>
                    <a:pt x="429" y="696"/>
                  </a:lnTo>
                  <a:lnTo>
                    <a:pt x="427" y="695"/>
                  </a:lnTo>
                  <a:lnTo>
                    <a:pt x="425" y="693"/>
                  </a:lnTo>
                  <a:lnTo>
                    <a:pt x="423" y="691"/>
                  </a:lnTo>
                  <a:lnTo>
                    <a:pt x="420" y="690"/>
                  </a:lnTo>
                  <a:lnTo>
                    <a:pt x="417" y="687"/>
                  </a:lnTo>
                  <a:lnTo>
                    <a:pt x="414" y="687"/>
                  </a:lnTo>
                  <a:lnTo>
                    <a:pt x="412" y="687"/>
                  </a:lnTo>
                  <a:lnTo>
                    <a:pt x="412" y="684"/>
                  </a:lnTo>
                  <a:lnTo>
                    <a:pt x="413" y="683"/>
                  </a:lnTo>
                  <a:lnTo>
                    <a:pt x="415" y="682"/>
                  </a:lnTo>
                  <a:lnTo>
                    <a:pt x="417" y="680"/>
                  </a:lnTo>
                  <a:lnTo>
                    <a:pt x="417" y="678"/>
                  </a:lnTo>
                  <a:lnTo>
                    <a:pt x="415" y="678"/>
                  </a:lnTo>
                  <a:lnTo>
                    <a:pt x="412" y="677"/>
                  </a:lnTo>
                  <a:lnTo>
                    <a:pt x="408" y="677"/>
                  </a:lnTo>
                  <a:lnTo>
                    <a:pt x="404" y="677"/>
                  </a:lnTo>
                  <a:lnTo>
                    <a:pt x="401" y="676"/>
                  </a:lnTo>
                  <a:lnTo>
                    <a:pt x="399" y="675"/>
                  </a:lnTo>
                  <a:lnTo>
                    <a:pt x="399" y="674"/>
                  </a:lnTo>
                  <a:lnTo>
                    <a:pt x="401" y="670"/>
                  </a:lnTo>
                  <a:lnTo>
                    <a:pt x="405" y="668"/>
                  </a:lnTo>
                  <a:lnTo>
                    <a:pt x="408" y="665"/>
                  </a:lnTo>
                  <a:lnTo>
                    <a:pt x="408" y="664"/>
                  </a:lnTo>
                  <a:lnTo>
                    <a:pt x="406" y="663"/>
                  </a:lnTo>
                  <a:lnTo>
                    <a:pt x="404" y="661"/>
                  </a:lnTo>
                  <a:lnTo>
                    <a:pt x="401" y="661"/>
                  </a:lnTo>
                  <a:lnTo>
                    <a:pt x="398" y="662"/>
                  </a:lnTo>
                  <a:lnTo>
                    <a:pt x="395" y="662"/>
                  </a:lnTo>
                  <a:lnTo>
                    <a:pt x="392" y="661"/>
                  </a:lnTo>
                  <a:lnTo>
                    <a:pt x="394" y="658"/>
                  </a:lnTo>
                  <a:lnTo>
                    <a:pt x="396" y="653"/>
                  </a:lnTo>
                  <a:lnTo>
                    <a:pt x="396" y="652"/>
                  </a:lnTo>
                  <a:lnTo>
                    <a:pt x="396" y="651"/>
                  </a:lnTo>
                  <a:lnTo>
                    <a:pt x="394" y="650"/>
                  </a:lnTo>
                  <a:lnTo>
                    <a:pt x="386" y="651"/>
                  </a:lnTo>
                  <a:lnTo>
                    <a:pt x="385" y="650"/>
                  </a:lnTo>
                  <a:lnTo>
                    <a:pt x="386" y="649"/>
                  </a:lnTo>
                  <a:lnTo>
                    <a:pt x="387" y="646"/>
                  </a:lnTo>
                  <a:lnTo>
                    <a:pt x="387" y="645"/>
                  </a:lnTo>
                  <a:lnTo>
                    <a:pt x="385" y="645"/>
                  </a:lnTo>
                  <a:lnTo>
                    <a:pt x="384" y="645"/>
                  </a:lnTo>
                  <a:lnTo>
                    <a:pt x="381" y="645"/>
                  </a:lnTo>
                  <a:lnTo>
                    <a:pt x="381" y="643"/>
                  </a:lnTo>
                  <a:lnTo>
                    <a:pt x="382" y="642"/>
                  </a:lnTo>
                  <a:lnTo>
                    <a:pt x="384" y="640"/>
                  </a:lnTo>
                  <a:lnTo>
                    <a:pt x="386" y="639"/>
                  </a:lnTo>
                  <a:lnTo>
                    <a:pt x="387" y="638"/>
                  </a:lnTo>
                  <a:lnTo>
                    <a:pt x="387" y="637"/>
                  </a:lnTo>
                  <a:lnTo>
                    <a:pt x="386" y="637"/>
                  </a:lnTo>
                  <a:lnTo>
                    <a:pt x="384" y="638"/>
                  </a:lnTo>
                  <a:lnTo>
                    <a:pt x="381" y="638"/>
                  </a:lnTo>
                  <a:lnTo>
                    <a:pt x="377" y="636"/>
                  </a:lnTo>
                  <a:lnTo>
                    <a:pt x="376" y="632"/>
                  </a:lnTo>
                  <a:lnTo>
                    <a:pt x="375" y="629"/>
                  </a:lnTo>
                  <a:lnTo>
                    <a:pt x="375" y="627"/>
                  </a:lnTo>
                  <a:lnTo>
                    <a:pt x="377" y="626"/>
                  </a:lnTo>
                  <a:lnTo>
                    <a:pt x="380" y="625"/>
                  </a:lnTo>
                  <a:lnTo>
                    <a:pt x="384" y="626"/>
                  </a:lnTo>
                  <a:lnTo>
                    <a:pt x="386" y="626"/>
                  </a:lnTo>
                  <a:lnTo>
                    <a:pt x="389" y="624"/>
                  </a:lnTo>
                  <a:lnTo>
                    <a:pt x="390" y="621"/>
                  </a:lnTo>
                  <a:lnTo>
                    <a:pt x="389" y="619"/>
                  </a:lnTo>
                  <a:lnTo>
                    <a:pt x="391" y="618"/>
                  </a:lnTo>
                  <a:lnTo>
                    <a:pt x="391" y="617"/>
                  </a:lnTo>
                  <a:lnTo>
                    <a:pt x="389" y="617"/>
                  </a:lnTo>
                  <a:lnTo>
                    <a:pt x="387" y="617"/>
                  </a:lnTo>
                  <a:lnTo>
                    <a:pt x="385" y="618"/>
                  </a:lnTo>
                  <a:lnTo>
                    <a:pt x="382" y="619"/>
                  </a:lnTo>
                  <a:lnTo>
                    <a:pt x="380" y="618"/>
                  </a:lnTo>
                  <a:lnTo>
                    <a:pt x="377" y="618"/>
                  </a:lnTo>
                  <a:lnTo>
                    <a:pt x="375" y="618"/>
                  </a:lnTo>
                  <a:lnTo>
                    <a:pt x="373" y="619"/>
                  </a:lnTo>
                  <a:lnTo>
                    <a:pt x="372" y="620"/>
                  </a:lnTo>
                  <a:lnTo>
                    <a:pt x="371" y="624"/>
                  </a:lnTo>
                  <a:lnTo>
                    <a:pt x="370" y="625"/>
                  </a:lnTo>
                  <a:lnTo>
                    <a:pt x="367" y="625"/>
                  </a:lnTo>
                  <a:lnTo>
                    <a:pt x="366" y="623"/>
                  </a:lnTo>
                  <a:lnTo>
                    <a:pt x="366" y="621"/>
                  </a:lnTo>
                  <a:lnTo>
                    <a:pt x="368" y="618"/>
                  </a:lnTo>
                  <a:lnTo>
                    <a:pt x="368" y="617"/>
                  </a:lnTo>
                  <a:lnTo>
                    <a:pt x="367" y="614"/>
                  </a:lnTo>
                  <a:lnTo>
                    <a:pt x="366" y="612"/>
                  </a:lnTo>
                  <a:lnTo>
                    <a:pt x="368" y="607"/>
                  </a:lnTo>
                  <a:lnTo>
                    <a:pt x="371" y="601"/>
                  </a:lnTo>
                  <a:lnTo>
                    <a:pt x="372" y="600"/>
                  </a:lnTo>
                  <a:lnTo>
                    <a:pt x="373" y="599"/>
                  </a:lnTo>
                  <a:lnTo>
                    <a:pt x="376" y="600"/>
                  </a:lnTo>
                  <a:lnTo>
                    <a:pt x="379" y="602"/>
                  </a:lnTo>
                  <a:lnTo>
                    <a:pt x="380" y="604"/>
                  </a:lnTo>
                  <a:lnTo>
                    <a:pt x="380" y="602"/>
                  </a:lnTo>
                  <a:lnTo>
                    <a:pt x="381" y="600"/>
                  </a:lnTo>
                  <a:lnTo>
                    <a:pt x="380" y="598"/>
                  </a:lnTo>
                  <a:lnTo>
                    <a:pt x="381" y="595"/>
                  </a:lnTo>
                  <a:lnTo>
                    <a:pt x="382" y="594"/>
                  </a:lnTo>
                  <a:lnTo>
                    <a:pt x="384" y="594"/>
                  </a:lnTo>
                  <a:lnTo>
                    <a:pt x="386" y="599"/>
                  </a:lnTo>
                  <a:lnTo>
                    <a:pt x="389" y="604"/>
                  </a:lnTo>
                  <a:lnTo>
                    <a:pt x="390" y="605"/>
                  </a:lnTo>
                  <a:lnTo>
                    <a:pt x="394" y="606"/>
                  </a:lnTo>
                  <a:lnTo>
                    <a:pt x="396" y="605"/>
                  </a:lnTo>
                  <a:lnTo>
                    <a:pt x="398" y="604"/>
                  </a:lnTo>
                  <a:lnTo>
                    <a:pt x="399" y="600"/>
                  </a:lnTo>
                  <a:lnTo>
                    <a:pt x="399" y="598"/>
                  </a:lnTo>
                  <a:lnTo>
                    <a:pt x="398" y="598"/>
                  </a:lnTo>
                  <a:lnTo>
                    <a:pt x="399" y="599"/>
                  </a:lnTo>
                  <a:lnTo>
                    <a:pt x="396" y="597"/>
                  </a:lnTo>
                  <a:lnTo>
                    <a:pt x="395" y="593"/>
                  </a:lnTo>
                  <a:lnTo>
                    <a:pt x="394" y="587"/>
                  </a:lnTo>
                  <a:lnTo>
                    <a:pt x="392" y="586"/>
                  </a:lnTo>
                  <a:lnTo>
                    <a:pt x="391" y="586"/>
                  </a:lnTo>
                  <a:lnTo>
                    <a:pt x="385" y="586"/>
                  </a:lnTo>
                  <a:lnTo>
                    <a:pt x="382" y="586"/>
                  </a:lnTo>
                  <a:lnTo>
                    <a:pt x="381" y="584"/>
                  </a:lnTo>
                  <a:lnTo>
                    <a:pt x="380" y="584"/>
                  </a:lnTo>
                  <a:lnTo>
                    <a:pt x="379" y="584"/>
                  </a:lnTo>
                  <a:lnTo>
                    <a:pt x="377" y="585"/>
                  </a:lnTo>
                  <a:lnTo>
                    <a:pt x="376" y="587"/>
                  </a:lnTo>
                  <a:lnTo>
                    <a:pt x="375" y="589"/>
                  </a:lnTo>
                  <a:lnTo>
                    <a:pt x="373" y="589"/>
                  </a:lnTo>
                  <a:lnTo>
                    <a:pt x="372" y="588"/>
                  </a:lnTo>
                  <a:lnTo>
                    <a:pt x="370" y="588"/>
                  </a:lnTo>
                  <a:lnTo>
                    <a:pt x="368" y="588"/>
                  </a:lnTo>
                  <a:lnTo>
                    <a:pt x="366" y="591"/>
                  </a:lnTo>
                  <a:lnTo>
                    <a:pt x="363" y="594"/>
                  </a:lnTo>
                  <a:lnTo>
                    <a:pt x="362" y="597"/>
                  </a:lnTo>
                  <a:lnTo>
                    <a:pt x="358" y="599"/>
                  </a:lnTo>
                  <a:lnTo>
                    <a:pt x="357" y="601"/>
                  </a:lnTo>
                  <a:lnTo>
                    <a:pt x="356" y="602"/>
                  </a:lnTo>
                  <a:lnTo>
                    <a:pt x="354" y="602"/>
                  </a:lnTo>
                  <a:lnTo>
                    <a:pt x="353" y="599"/>
                  </a:lnTo>
                  <a:lnTo>
                    <a:pt x="356" y="592"/>
                  </a:lnTo>
                  <a:lnTo>
                    <a:pt x="357" y="586"/>
                  </a:lnTo>
                  <a:lnTo>
                    <a:pt x="357" y="579"/>
                  </a:lnTo>
                  <a:lnTo>
                    <a:pt x="356" y="572"/>
                  </a:lnTo>
                  <a:lnTo>
                    <a:pt x="357" y="572"/>
                  </a:lnTo>
                  <a:lnTo>
                    <a:pt x="359" y="570"/>
                  </a:lnTo>
                  <a:lnTo>
                    <a:pt x="362" y="568"/>
                  </a:lnTo>
                  <a:lnTo>
                    <a:pt x="365" y="566"/>
                  </a:lnTo>
                  <a:lnTo>
                    <a:pt x="367" y="562"/>
                  </a:lnTo>
                  <a:lnTo>
                    <a:pt x="370" y="559"/>
                  </a:lnTo>
                  <a:lnTo>
                    <a:pt x="371" y="557"/>
                  </a:lnTo>
                  <a:lnTo>
                    <a:pt x="366" y="556"/>
                  </a:lnTo>
                  <a:lnTo>
                    <a:pt x="363" y="556"/>
                  </a:lnTo>
                  <a:lnTo>
                    <a:pt x="359" y="559"/>
                  </a:lnTo>
                  <a:lnTo>
                    <a:pt x="357" y="561"/>
                  </a:lnTo>
                  <a:lnTo>
                    <a:pt x="353" y="567"/>
                  </a:lnTo>
                  <a:lnTo>
                    <a:pt x="347" y="572"/>
                  </a:lnTo>
                  <a:lnTo>
                    <a:pt x="345" y="573"/>
                  </a:lnTo>
                  <a:lnTo>
                    <a:pt x="343" y="573"/>
                  </a:lnTo>
                  <a:lnTo>
                    <a:pt x="340" y="572"/>
                  </a:lnTo>
                  <a:lnTo>
                    <a:pt x="339" y="570"/>
                  </a:lnTo>
                  <a:lnTo>
                    <a:pt x="338" y="562"/>
                  </a:lnTo>
                  <a:lnTo>
                    <a:pt x="338" y="559"/>
                  </a:lnTo>
                  <a:lnTo>
                    <a:pt x="339" y="557"/>
                  </a:lnTo>
                  <a:lnTo>
                    <a:pt x="342" y="556"/>
                  </a:lnTo>
                  <a:lnTo>
                    <a:pt x="347" y="555"/>
                  </a:lnTo>
                  <a:lnTo>
                    <a:pt x="349" y="554"/>
                  </a:lnTo>
                  <a:lnTo>
                    <a:pt x="349" y="553"/>
                  </a:lnTo>
                  <a:lnTo>
                    <a:pt x="345" y="552"/>
                  </a:lnTo>
                  <a:lnTo>
                    <a:pt x="342" y="552"/>
                  </a:lnTo>
                  <a:lnTo>
                    <a:pt x="337" y="552"/>
                  </a:lnTo>
                  <a:lnTo>
                    <a:pt x="335" y="550"/>
                  </a:lnTo>
                  <a:lnTo>
                    <a:pt x="334" y="548"/>
                  </a:lnTo>
                  <a:lnTo>
                    <a:pt x="333" y="547"/>
                  </a:lnTo>
                  <a:lnTo>
                    <a:pt x="333" y="544"/>
                  </a:lnTo>
                  <a:lnTo>
                    <a:pt x="337" y="542"/>
                  </a:lnTo>
                  <a:lnTo>
                    <a:pt x="339" y="542"/>
                  </a:lnTo>
                  <a:lnTo>
                    <a:pt x="342" y="542"/>
                  </a:lnTo>
                  <a:lnTo>
                    <a:pt x="347" y="542"/>
                  </a:lnTo>
                  <a:lnTo>
                    <a:pt x="347" y="541"/>
                  </a:lnTo>
                  <a:lnTo>
                    <a:pt x="347" y="540"/>
                  </a:lnTo>
                  <a:lnTo>
                    <a:pt x="344" y="537"/>
                  </a:lnTo>
                  <a:lnTo>
                    <a:pt x="343" y="535"/>
                  </a:lnTo>
                  <a:lnTo>
                    <a:pt x="342" y="529"/>
                  </a:lnTo>
                  <a:lnTo>
                    <a:pt x="340" y="528"/>
                  </a:lnTo>
                  <a:lnTo>
                    <a:pt x="339" y="529"/>
                  </a:lnTo>
                  <a:lnTo>
                    <a:pt x="337" y="530"/>
                  </a:lnTo>
                  <a:lnTo>
                    <a:pt x="334" y="529"/>
                  </a:lnTo>
                  <a:lnTo>
                    <a:pt x="333" y="528"/>
                  </a:lnTo>
                  <a:lnTo>
                    <a:pt x="333" y="527"/>
                  </a:lnTo>
                  <a:lnTo>
                    <a:pt x="334" y="525"/>
                  </a:lnTo>
                  <a:lnTo>
                    <a:pt x="340" y="522"/>
                  </a:lnTo>
                  <a:lnTo>
                    <a:pt x="340" y="521"/>
                  </a:lnTo>
                  <a:lnTo>
                    <a:pt x="339" y="520"/>
                  </a:lnTo>
                  <a:lnTo>
                    <a:pt x="337" y="520"/>
                  </a:lnTo>
                  <a:lnTo>
                    <a:pt x="334" y="521"/>
                  </a:lnTo>
                  <a:lnTo>
                    <a:pt x="332" y="521"/>
                  </a:lnTo>
                  <a:lnTo>
                    <a:pt x="330" y="521"/>
                  </a:lnTo>
                  <a:lnTo>
                    <a:pt x="332" y="518"/>
                  </a:lnTo>
                  <a:lnTo>
                    <a:pt x="333" y="517"/>
                  </a:lnTo>
                  <a:lnTo>
                    <a:pt x="339" y="515"/>
                  </a:lnTo>
                  <a:lnTo>
                    <a:pt x="345" y="514"/>
                  </a:lnTo>
                  <a:lnTo>
                    <a:pt x="352" y="512"/>
                  </a:lnTo>
                  <a:lnTo>
                    <a:pt x="352" y="514"/>
                  </a:lnTo>
                  <a:lnTo>
                    <a:pt x="353" y="515"/>
                  </a:lnTo>
                  <a:lnTo>
                    <a:pt x="357" y="515"/>
                  </a:lnTo>
                  <a:lnTo>
                    <a:pt x="359" y="514"/>
                  </a:lnTo>
                  <a:lnTo>
                    <a:pt x="361" y="512"/>
                  </a:lnTo>
                  <a:lnTo>
                    <a:pt x="365" y="516"/>
                  </a:lnTo>
                  <a:lnTo>
                    <a:pt x="370" y="518"/>
                  </a:lnTo>
                  <a:lnTo>
                    <a:pt x="375" y="520"/>
                  </a:lnTo>
                  <a:lnTo>
                    <a:pt x="377" y="518"/>
                  </a:lnTo>
                  <a:lnTo>
                    <a:pt x="379" y="517"/>
                  </a:lnTo>
                  <a:lnTo>
                    <a:pt x="380" y="516"/>
                  </a:lnTo>
                  <a:lnTo>
                    <a:pt x="380" y="514"/>
                  </a:lnTo>
                  <a:lnTo>
                    <a:pt x="379" y="510"/>
                  </a:lnTo>
                  <a:lnTo>
                    <a:pt x="379" y="506"/>
                  </a:lnTo>
                  <a:lnTo>
                    <a:pt x="379" y="505"/>
                  </a:lnTo>
                  <a:lnTo>
                    <a:pt x="380" y="504"/>
                  </a:lnTo>
                  <a:lnTo>
                    <a:pt x="379" y="503"/>
                  </a:lnTo>
                  <a:lnTo>
                    <a:pt x="377" y="503"/>
                  </a:lnTo>
                  <a:lnTo>
                    <a:pt x="373" y="503"/>
                  </a:lnTo>
                  <a:lnTo>
                    <a:pt x="372" y="503"/>
                  </a:lnTo>
                  <a:lnTo>
                    <a:pt x="370" y="501"/>
                  </a:lnTo>
                  <a:lnTo>
                    <a:pt x="368" y="499"/>
                  </a:lnTo>
                  <a:lnTo>
                    <a:pt x="366" y="499"/>
                  </a:lnTo>
                  <a:lnTo>
                    <a:pt x="365" y="501"/>
                  </a:lnTo>
                  <a:lnTo>
                    <a:pt x="365" y="503"/>
                  </a:lnTo>
                  <a:lnTo>
                    <a:pt x="363" y="505"/>
                  </a:lnTo>
                  <a:lnTo>
                    <a:pt x="362" y="506"/>
                  </a:lnTo>
                  <a:lnTo>
                    <a:pt x="358" y="508"/>
                  </a:lnTo>
                  <a:lnTo>
                    <a:pt x="354" y="506"/>
                  </a:lnTo>
                  <a:lnTo>
                    <a:pt x="351" y="505"/>
                  </a:lnTo>
                  <a:lnTo>
                    <a:pt x="347" y="504"/>
                  </a:lnTo>
                  <a:lnTo>
                    <a:pt x="343" y="504"/>
                  </a:lnTo>
                  <a:lnTo>
                    <a:pt x="338" y="506"/>
                  </a:lnTo>
                  <a:lnTo>
                    <a:pt x="335" y="506"/>
                  </a:lnTo>
                  <a:lnTo>
                    <a:pt x="333" y="509"/>
                  </a:lnTo>
                  <a:lnTo>
                    <a:pt x="332" y="510"/>
                  </a:lnTo>
                  <a:lnTo>
                    <a:pt x="328" y="511"/>
                  </a:lnTo>
                  <a:lnTo>
                    <a:pt x="328" y="509"/>
                  </a:lnTo>
                  <a:lnTo>
                    <a:pt x="329" y="508"/>
                  </a:lnTo>
                  <a:lnTo>
                    <a:pt x="333" y="504"/>
                  </a:lnTo>
                  <a:lnTo>
                    <a:pt x="342" y="499"/>
                  </a:lnTo>
                  <a:lnTo>
                    <a:pt x="343" y="498"/>
                  </a:lnTo>
                  <a:lnTo>
                    <a:pt x="343" y="497"/>
                  </a:lnTo>
                  <a:lnTo>
                    <a:pt x="344" y="493"/>
                  </a:lnTo>
                  <a:lnTo>
                    <a:pt x="348" y="489"/>
                  </a:lnTo>
                  <a:lnTo>
                    <a:pt x="349" y="486"/>
                  </a:lnTo>
                  <a:lnTo>
                    <a:pt x="352" y="485"/>
                  </a:lnTo>
                  <a:lnTo>
                    <a:pt x="354" y="485"/>
                  </a:lnTo>
                  <a:lnTo>
                    <a:pt x="356" y="486"/>
                  </a:lnTo>
                  <a:lnTo>
                    <a:pt x="357" y="489"/>
                  </a:lnTo>
                  <a:lnTo>
                    <a:pt x="358" y="490"/>
                  </a:lnTo>
                  <a:lnTo>
                    <a:pt x="359" y="490"/>
                  </a:lnTo>
                  <a:lnTo>
                    <a:pt x="361" y="490"/>
                  </a:lnTo>
                  <a:lnTo>
                    <a:pt x="363" y="489"/>
                  </a:lnTo>
                  <a:lnTo>
                    <a:pt x="367" y="486"/>
                  </a:lnTo>
                  <a:lnTo>
                    <a:pt x="371" y="486"/>
                  </a:lnTo>
                  <a:lnTo>
                    <a:pt x="373" y="486"/>
                  </a:lnTo>
                  <a:lnTo>
                    <a:pt x="375" y="486"/>
                  </a:lnTo>
                  <a:lnTo>
                    <a:pt x="376" y="484"/>
                  </a:lnTo>
                  <a:lnTo>
                    <a:pt x="376" y="483"/>
                  </a:lnTo>
                  <a:lnTo>
                    <a:pt x="375" y="479"/>
                  </a:lnTo>
                  <a:lnTo>
                    <a:pt x="373" y="476"/>
                  </a:lnTo>
                  <a:lnTo>
                    <a:pt x="373" y="473"/>
                  </a:lnTo>
                  <a:lnTo>
                    <a:pt x="375" y="472"/>
                  </a:lnTo>
                  <a:lnTo>
                    <a:pt x="376" y="472"/>
                  </a:lnTo>
                  <a:lnTo>
                    <a:pt x="379" y="474"/>
                  </a:lnTo>
                  <a:lnTo>
                    <a:pt x="381" y="477"/>
                  </a:lnTo>
                  <a:lnTo>
                    <a:pt x="384" y="480"/>
                  </a:lnTo>
                  <a:lnTo>
                    <a:pt x="385" y="482"/>
                  </a:lnTo>
                  <a:lnTo>
                    <a:pt x="386" y="482"/>
                  </a:lnTo>
                  <a:lnTo>
                    <a:pt x="389" y="480"/>
                  </a:lnTo>
                  <a:lnTo>
                    <a:pt x="389" y="479"/>
                  </a:lnTo>
                  <a:lnTo>
                    <a:pt x="390" y="473"/>
                  </a:lnTo>
                  <a:lnTo>
                    <a:pt x="390" y="470"/>
                  </a:lnTo>
                  <a:lnTo>
                    <a:pt x="389" y="467"/>
                  </a:lnTo>
                  <a:lnTo>
                    <a:pt x="386" y="465"/>
                  </a:lnTo>
                  <a:lnTo>
                    <a:pt x="382" y="464"/>
                  </a:lnTo>
                  <a:lnTo>
                    <a:pt x="379" y="464"/>
                  </a:lnTo>
                  <a:lnTo>
                    <a:pt x="376" y="465"/>
                  </a:lnTo>
                  <a:lnTo>
                    <a:pt x="375" y="463"/>
                  </a:lnTo>
                  <a:lnTo>
                    <a:pt x="382" y="459"/>
                  </a:lnTo>
                  <a:lnTo>
                    <a:pt x="387" y="455"/>
                  </a:lnTo>
                  <a:lnTo>
                    <a:pt x="389" y="453"/>
                  </a:lnTo>
                  <a:lnTo>
                    <a:pt x="390" y="451"/>
                  </a:lnTo>
                  <a:lnTo>
                    <a:pt x="389" y="447"/>
                  </a:lnTo>
                  <a:lnTo>
                    <a:pt x="386" y="444"/>
                  </a:lnTo>
                  <a:lnTo>
                    <a:pt x="386" y="441"/>
                  </a:lnTo>
                  <a:lnTo>
                    <a:pt x="386" y="440"/>
                  </a:lnTo>
                  <a:lnTo>
                    <a:pt x="385" y="435"/>
                  </a:lnTo>
                  <a:lnTo>
                    <a:pt x="381" y="431"/>
                  </a:lnTo>
                  <a:lnTo>
                    <a:pt x="379" y="428"/>
                  </a:lnTo>
                  <a:lnTo>
                    <a:pt x="379" y="426"/>
                  </a:lnTo>
                  <a:lnTo>
                    <a:pt x="380" y="422"/>
                  </a:lnTo>
                  <a:lnTo>
                    <a:pt x="380" y="420"/>
                  </a:lnTo>
                  <a:lnTo>
                    <a:pt x="375" y="414"/>
                  </a:lnTo>
                  <a:lnTo>
                    <a:pt x="370" y="407"/>
                  </a:lnTo>
                  <a:lnTo>
                    <a:pt x="368" y="406"/>
                  </a:lnTo>
                  <a:lnTo>
                    <a:pt x="366" y="405"/>
                  </a:lnTo>
                  <a:lnTo>
                    <a:pt x="359" y="405"/>
                  </a:lnTo>
                  <a:lnTo>
                    <a:pt x="344" y="407"/>
                  </a:lnTo>
                  <a:lnTo>
                    <a:pt x="345" y="405"/>
                  </a:lnTo>
                  <a:lnTo>
                    <a:pt x="348" y="403"/>
                  </a:lnTo>
                  <a:lnTo>
                    <a:pt x="353" y="401"/>
                  </a:lnTo>
                  <a:lnTo>
                    <a:pt x="354" y="401"/>
                  </a:lnTo>
                  <a:lnTo>
                    <a:pt x="356" y="399"/>
                  </a:lnTo>
                  <a:lnTo>
                    <a:pt x="356" y="397"/>
                  </a:lnTo>
                  <a:lnTo>
                    <a:pt x="354" y="395"/>
                  </a:lnTo>
                  <a:lnTo>
                    <a:pt x="344" y="388"/>
                  </a:lnTo>
                  <a:lnTo>
                    <a:pt x="340" y="384"/>
                  </a:lnTo>
                  <a:lnTo>
                    <a:pt x="339" y="381"/>
                  </a:lnTo>
                  <a:lnTo>
                    <a:pt x="338" y="378"/>
                  </a:lnTo>
                  <a:lnTo>
                    <a:pt x="338" y="377"/>
                  </a:lnTo>
                  <a:lnTo>
                    <a:pt x="337" y="377"/>
                  </a:lnTo>
                  <a:lnTo>
                    <a:pt x="334" y="380"/>
                  </a:lnTo>
                  <a:lnTo>
                    <a:pt x="333" y="383"/>
                  </a:lnTo>
                  <a:lnTo>
                    <a:pt x="332" y="386"/>
                  </a:lnTo>
                  <a:lnTo>
                    <a:pt x="329" y="388"/>
                  </a:lnTo>
                  <a:lnTo>
                    <a:pt x="326" y="391"/>
                  </a:lnTo>
                  <a:lnTo>
                    <a:pt x="326" y="395"/>
                  </a:lnTo>
                  <a:lnTo>
                    <a:pt x="325" y="400"/>
                  </a:lnTo>
                  <a:lnTo>
                    <a:pt x="324" y="403"/>
                  </a:lnTo>
                  <a:lnTo>
                    <a:pt x="321" y="406"/>
                  </a:lnTo>
                  <a:lnTo>
                    <a:pt x="320" y="407"/>
                  </a:lnTo>
                  <a:lnTo>
                    <a:pt x="318" y="407"/>
                  </a:lnTo>
                  <a:lnTo>
                    <a:pt x="316" y="406"/>
                  </a:lnTo>
                  <a:lnTo>
                    <a:pt x="315" y="403"/>
                  </a:lnTo>
                  <a:lnTo>
                    <a:pt x="315" y="401"/>
                  </a:lnTo>
                  <a:lnTo>
                    <a:pt x="312" y="400"/>
                  </a:lnTo>
                  <a:lnTo>
                    <a:pt x="311" y="400"/>
                  </a:lnTo>
                  <a:lnTo>
                    <a:pt x="307" y="403"/>
                  </a:lnTo>
                  <a:lnTo>
                    <a:pt x="305" y="405"/>
                  </a:lnTo>
                  <a:lnTo>
                    <a:pt x="302" y="403"/>
                  </a:lnTo>
                  <a:lnTo>
                    <a:pt x="297" y="399"/>
                  </a:lnTo>
                  <a:lnTo>
                    <a:pt x="296" y="396"/>
                  </a:lnTo>
                  <a:lnTo>
                    <a:pt x="295" y="394"/>
                  </a:lnTo>
                  <a:lnTo>
                    <a:pt x="296" y="393"/>
                  </a:lnTo>
                  <a:lnTo>
                    <a:pt x="299" y="391"/>
                  </a:lnTo>
                  <a:lnTo>
                    <a:pt x="300" y="390"/>
                  </a:lnTo>
                  <a:lnTo>
                    <a:pt x="300" y="389"/>
                  </a:lnTo>
                  <a:lnTo>
                    <a:pt x="299" y="386"/>
                  </a:lnTo>
                  <a:lnTo>
                    <a:pt x="297" y="382"/>
                  </a:lnTo>
                  <a:lnTo>
                    <a:pt x="297" y="377"/>
                  </a:lnTo>
                  <a:lnTo>
                    <a:pt x="299" y="371"/>
                  </a:lnTo>
                  <a:lnTo>
                    <a:pt x="299" y="365"/>
                  </a:lnTo>
                  <a:lnTo>
                    <a:pt x="297" y="363"/>
                  </a:lnTo>
                  <a:lnTo>
                    <a:pt x="295" y="361"/>
                  </a:lnTo>
                  <a:lnTo>
                    <a:pt x="295" y="359"/>
                  </a:lnTo>
                  <a:lnTo>
                    <a:pt x="296" y="357"/>
                  </a:lnTo>
                  <a:lnTo>
                    <a:pt x="301" y="355"/>
                  </a:lnTo>
                  <a:lnTo>
                    <a:pt x="302" y="352"/>
                  </a:lnTo>
                  <a:lnTo>
                    <a:pt x="302" y="351"/>
                  </a:lnTo>
                  <a:lnTo>
                    <a:pt x="302" y="350"/>
                  </a:lnTo>
                  <a:lnTo>
                    <a:pt x="295" y="339"/>
                  </a:lnTo>
                  <a:lnTo>
                    <a:pt x="288" y="329"/>
                  </a:lnTo>
                  <a:lnTo>
                    <a:pt x="287" y="329"/>
                  </a:lnTo>
                  <a:lnTo>
                    <a:pt x="285" y="329"/>
                  </a:lnTo>
                  <a:lnTo>
                    <a:pt x="282" y="329"/>
                  </a:lnTo>
                  <a:lnTo>
                    <a:pt x="281" y="327"/>
                  </a:lnTo>
                  <a:lnTo>
                    <a:pt x="279" y="326"/>
                  </a:lnTo>
                  <a:lnTo>
                    <a:pt x="279" y="325"/>
                  </a:lnTo>
                  <a:lnTo>
                    <a:pt x="282" y="322"/>
                  </a:lnTo>
                  <a:lnTo>
                    <a:pt x="283" y="320"/>
                  </a:lnTo>
                  <a:lnTo>
                    <a:pt x="285" y="318"/>
                  </a:lnTo>
                  <a:lnTo>
                    <a:pt x="283" y="316"/>
                  </a:lnTo>
                  <a:lnTo>
                    <a:pt x="282" y="316"/>
                  </a:lnTo>
                  <a:lnTo>
                    <a:pt x="279" y="314"/>
                  </a:lnTo>
                  <a:lnTo>
                    <a:pt x="278" y="314"/>
                  </a:lnTo>
                  <a:lnTo>
                    <a:pt x="278" y="312"/>
                  </a:lnTo>
                  <a:lnTo>
                    <a:pt x="278" y="310"/>
                  </a:lnTo>
                  <a:lnTo>
                    <a:pt x="281" y="307"/>
                  </a:lnTo>
                  <a:lnTo>
                    <a:pt x="283" y="306"/>
                  </a:lnTo>
                  <a:lnTo>
                    <a:pt x="286" y="305"/>
                  </a:lnTo>
                  <a:lnTo>
                    <a:pt x="286" y="301"/>
                  </a:lnTo>
                  <a:lnTo>
                    <a:pt x="286" y="300"/>
                  </a:lnTo>
                  <a:lnTo>
                    <a:pt x="285" y="300"/>
                  </a:lnTo>
                  <a:lnTo>
                    <a:pt x="281" y="300"/>
                  </a:lnTo>
                  <a:lnTo>
                    <a:pt x="279" y="301"/>
                  </a:lnTo>
                  <a:lnTo>
                    <a:pt x="277" y="303"/>
                  </a:lnTo>
                  <a:lnTo>
                    <a:pt x="274" y="303"/>
                  </a:lnTo>
                  <a:lnTo>
                    <a:pt x="272" y="301"/>
                  </a:lnTo>
                  <a:lnTo>
                    <a:pt x="269" y="300"/>
                  </a:lnTo>
                  <a:lnTo>
                    <a:pt x="267" y="301"/>
                  </a:lnTo>
                  <a:lnTo>
                    <a:pt x="263" y="303"/>
                  </a:lnTo>
                  <a:lnTo>
                    <a:pt x="259" y="303"/>
                  </a:lnTo>
                  <a:lnTo>
                    <a:pt x="257" y="303"/>
                  </a:lnTo>
                  <a:lnTo>
                    <a:pt x="254" y="300"/>
                  </a:lnTo>
                  <a:lnTo>
                    <a:pt x="252" y="292"/>
                  </a:lnTo>
                  <a:lnTo>
                    <a:pt x="252" y="290"/>
                  </a:lnTo>
                  <a:lnTo>
                    <a:pt x="250" y="287"/>
                  </a:lnTo>
                  <a:lnTo>
                    <a:pt x="246" y="284"/>
                  </a:lnTo>
                  <a:lnTo>
                    <a:pt x="244" y="282"/>
                  </a:lnTo>
                  <a:lnTo>
                    <a:pt x="241" y="282"/>
                  </a:lnTo>
                  <a:lnTo>
                    <a:pt x="238" y="280"/>
                  </a:lnTo>
                  <a:lnTo>
                    <a:pt x="236" y="279"/>
                  </a:lnTo>
                  <a:lnTo>
                    <a:pt x="236" y="278"/>
                  </a:lnTo>
                  <a:lnTo>
                    <a:pt x="236" y="274"/>
                  </a:lnTo>
                  <a:lnTo>
                    <a:pt x="235" y="272"/>
                  </a:lnTo>
                  <a:lnTo>
                    <a:pt x="232" y="272"/>
                  </a:lnTo>
                  <a:lnTo>
                    <a:pt x="229" y="271"/>
                  </a:lnTo>
                  <a:lnTo>
                    <a:pt x="224" y="272"/>
                  </a:lnTo>
                  <a:lnTo>
                    <a:pt x="219" y="272"/>
                  </a:lnTo>
                  <a:lnTo>
                    <a:pt x="216" y="272"/>
                  </a:lnTo>
                  <a:lnTo>
                    <a:pt x="213" y="269"/>
                  </a:lnTo>
                  <a:lnTo>
                    <a:pt x="211" y="263"/>
                  </a:lnTo>
                  <a:lnTo>
                    <a:pt x="210" y="261"/>
                  </a:lnTo>
                  <a:lnTo>
                    <a:pt x="208" y="260"/>
                  </a:lnTo>
                  <a:lnTo>
                    <a:pt x="207" y="260"/>
                  </a:lnTo>
                  <a:lnTo>
                    <a:pt x="206" y="260"/>
                  </a:lnTo>
                  <a:lnTo>
                    <a:pt x="202" y="263"/>
                  </a:lnTo>
                  <a:lnTo>
                    <a:pt x="199" y="266"/>
                  </a:lnTo>
                  <a:lnTo>
                    <a:pt x="196" y="267"/>
                  </a:lnTo>
                  <a:lnTo>
                    <a:pt x="191" y="267"/>
                  </a:lnTo>
                  <a:lnTo>
                    <a:pt x="188" y="266"/>
                  </a:lnTo>
                  <a:lnTo>
                    <a:pt x="187" y="263"/>
                  </a:lnTo>
                  <a:lnTo>
                    <a:pt x="183" y="257"/>
                  </a:lnTo>
                  <a:lnTo>
                    <a:pt x="182" y="256"/>
                  </a:lnTo>
                  <a:lnTo>
                    <a:pt x="180" y="255"/>
                  </a:lnTo>
                  <a:lnTo>
                    <a:pt x="177" y="256"/>
                  </a:lnTo>
                  <a:lnTo>
                    <a:pt x="172" y="255"/>
                  </a:lnTo>
                  <a:lnTo>
                    <a:pt x="169" y="254"/>
                  </a:lnTo>
                  <a:lnTo>
                    <a:pt x="165" y="250"/>
                  </a:lnTo>
                  <a:lnTo>
                    <a:pt x="164" y="249"/>
                  </a:lnTo>
                  <a:lnTo>
                    <a:pt x="161" y="250"/>
                  </a:lnTo>
                  <a:lnTo>
                    <a:pt x="156" y="253"/>
                  </a:lnTo>
                  <a:lnTo>
                    <a:pt x="154" y="255"/>
                  </a:lnTo>
                  <a:lnTo>
                    <a:pt x="149" y="256"/>
                  </a:lnTo>
                  <a:lnTo>
                    <a:pt x="147" y="256"/>
                  </a:lnTo>
                  <a:lnTo>
                    <a:pt x="145" y="25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6" name="Freeform 525"/>
            <p:cNvSpPr>
              <a:spLocks/>
            </p:cNvSpPr>
            <p:nvPr/>
          </p:nvSpPr>
          <p:spPr bwMode="auto">
            <a:xfrm>
              <a:off x="2971801" y="1908180"/>
              <a:ext cx="68263" cy="47625"/>
            </a:xfrm>
            <a:custGeom>
              <a:avLst/>
              <a:gdLst>
                <a:gd name="T0" fmla="*/ 2147483647 w 47"/>
                <a:gd name="T1" fmla="*/ 2147483647 h 30"/>
                <a:gd name="T2" fmla="*/ 2147483647 w 47"/>
                <a:gd name="T3" fmla="*/ 2147483647 h 30"/>
                <a:gd name="T4" fmla="*/ 2147483647 w 47"/>
                <a:gd name="T5" fmla="*/ 2147483647 h 30"/>
                <a:gd name="T6" fmla="*/ 2147483647 w 47"/>
                <a:gd name="T7" fmla="*/ 2147483647 h 30"/>
                <a:gd name="T8" fmla="*/ 2147483647 w 47"/>
                <a:gd name="T9" fmla="*/ 2147483647 h 30"/>
                <a:gd name="T10" fmla="*/ 2147483647 w 47"/>
                <a:gd name="T11" fmla="*/ 2147483647 h 30"/>
                <a:gd name="T12" fmla="*/ 2147483647 w 47"/>
                <a:gd name="T13" fmla="*/ 2147483647 h 30"/>
                <a:gd name="T14" fmla="*/ 2147483647 w 47"/>
                <a:gd name="T15" fmla="*/ 2147483647 h 30"/>
                <a:gd name="T16" fmla="*/ 2147483647 w 47"/>
                <a:gd name="T17" fmla="*/ 2147483647 h 30"/>
                <a:gd name="T18" fmla="*/ 2147483647 w 47"/>
                <a:gd name="T19" fmla="*/ 2147483647 h 30"/>
                <a:gd name="T20" fmla="*/ 2147483647 w 47"/>
                <a:gd name="T21" fmla="*/ 2147483647 h 30"/>
                <a:gd name="T22" fmla="*/ 2147483647 w 47"/>
                <a:gd name="T23" fmla="*/ 2147483647 h 30"/>
                <a:gd name="T24" fmla="*/ 2147483647 w 47"/>
                <a:gd name="T25" fmla="*/ 0 h 30"/>
                <a:gd name="T26" fmla="*/ 2147483647 w 47"/>
                <a:gd name="T27" fmla="*/ 0 h 30"/>
                <a:gd name="T28" fmla="*/ 2147483647 w 47"/>
                <a:gd name="T29" fmla="*/ 0 h 30"/>
                <a:gd name="T30" fmla="*/ 2147483647 w 47"/>
                <a:gd name="T31" fmla="*/ 2147483647 h 30"/>
                <a:gd name="T32" fmla="*/ 2147483647 w 47"/>
                <a:gd name="T33" fmla="*/ 2147483647 h 30"/>
                <a:gd name="T34" fmla="*/ 2147483647 w 47"/>
                <a:gd name="T35" fmla="*/ 2147483647 h 30"/>
                <a:gd name="T36" fmla="*/ 2147483647 w 47"/>
                <a:gd name="T37" fmla="*/ 2147483647 h 30"/>
                <a:gd name="T38" fmla="*/ 2147483647 w 47"/>
                <a:gd name="T39" fmla="*/ 2147483647 h 30"/>
                <a:gd name="T40" fmla="*/ 2147483647 w 47"/>
                <a:gd name="T41" fmla="*/ 2147483647 h 30"/>
                <a:gd name="T42" fmla="*/ 2147483647 w 47"/>
                <a:gd name="T43" fmla="*/ 2147483647 h 30"/>
                <a:gd name="T44" fmla="*/ 0 w 47"/>
                <a:gd name="T45" fmla="*/ 2147483647 h 30"/>
                <a:gd name="T46" fmla="*/ 0 w 47"/>
                <a:gd name="T47" fmla="*/ 2147483647 h 30"/>
                <a:gd name="T48" fmla="*/ 2147483647 w 47"/>
                <a:gd name="T49" fmla="*/ 2147483647 h 30"/>
                <a:gd name="T50" fmla="*/ 2147483647 w 47"/>
                <a:gd name="T51" fmla="*/ 2147483647 h 30"/>
                <a:gd name="T52" fmla="*/ 2147483647 w 47"/>
                <a:gd name="T53" fmla="*/ 2147483647 h 30"/>
                <a:gd name="T54" fmla="*/ 2147483647 w 47"/>
                <a:gd name="T55" fmla="*/ 2147483647 h 30"/>
                <a:gd name="T56" fmla="*/ 2147483647 w 47"/>
                <a:gd name="T57" fmla="*/ 2147483647 h 30"/>
                <a:gd name="T58" fmla="*/ 2147483647 w 47"/>
                <a:gd name="T59" fmla="*/ 2147483647 h 30"/>
                <a:gd name="T60" fmla="*/ 2147483647 w 47"/>
                <a:gd name="T61" fmla="*/ 2147483647 h 30"/>
                <a:gd name="T62" fmla="*/ 2147483647 w 47"/>
                <a:gd name="T63" fmla="*/ 2147483647 h 30"/>
                <a:gd name="T64" fmla="*/ 2147483647 w 47"/>
                <a:gd name="T65" fmla="*/ 2147483647 h 30"/>
                <a:gd name="T66" fmla="*/ 2147483647 w 47"/>
                <a:gd name="T67" fmla="*/ 2147483647 h 30"/>
                <a:gd name="T68" fmla="*/ 2147483647 w 47"/>
                <a:gd name="T69" fmla="*/ 2147483647 h 30"/>
                <a:gd name="T70" fmla="*/ 2147483647 w 47"/>
                <a:gd name="T71" fmla="*/ 2147483647 h 30"/>
                <a:gd name="T72" fmla="*/ 2147483647 w 47"/>
                <a:gd name="T73" fmla="*/ 2147483647 h 30"/>
                <a:gd name="T74" fmla="*/ 2147483647 w 47"/>
                <a:gd name="T75" fmla="*/ 2147483647 h 30"/>
                <a:gd name="T76" fmla="*/ 2147483647 w 47"/>
                <a:gd name="T77" fmla="*/ 2147483647 h 30"/>
                <a:gd name="T78" fmla="*/ 2147483647 w 47"/>
                <a:gd name="T79" fmla="*/ 2147483647 h 30"/>
                <a:gd name="T80" fmla="*/ 2147483647 w 47"/>
                <a:gd name="T81" fmla="*/ 2147483647 h 30"/>
                <a:gd name="T82" fmla="*/ 2147483647 w 47"/>
                <a:gd name="T83" fmla="*/ 2147483647 h 30"/>
                <a:gd name="T84" fmla="*/ 2147483647 w 47"/>
                <a:gd name="T85" fmla="*/ 2147483647 h 30"/>
                <a:gd name="T86" fmla="*/ 2147483647 w 47"/>
                <a:gd name="T87" fmla="*/ 2147483647 h 30"/>
                <a:gd name="T88" fmla="*/ 2147483647 w 47"/>
                <a:gd name="T89" fmla="*/ 2147483647 h 30"/>
                <a:gd name="T90" fmla="*/ 2147483647 w 47"/>
                <a:gd name="T91" fmla="*/ 2147483647 h 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7"/>
                <a:gd name="T139" fmla="*/ 0 h 30"/>
                <a:gd name="T140" fmla="*/ 47 w 47"/>
                <a:gd name="T141" fmla="*/ 30 h 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7" h="30">
                  <a:moveTo>
                    <a:pt x="44" y="19"/>
                  </a:moveTo>
                  <a:lnTo>
                    <a:pt x="44" y="19"/>
                  </a:lnTo>
                  <a:lnTo>
                    <a:pt x="39" y="17"/>
                  </a:lnTo>
                  <a:lnTo>
                    <a:pt x="34" y="12"/>
                  </a:lnTo>
                  <a:lnTo>
                    <a:pt x="27" y="5"/>
                  </a:lnTo>
                  <a:lnTo>
                    <a:pt x="24" y="4"/>
                  </a:lnTo>
                  <a:lnTo>
                    <a:pt x="22" y="4"/>
                  </a:lnTo>
                  <a:lnTo>
                    <a:pt x="15" y="4"/>
                  </a:lnTo>
                  <a:lnTo>
                    <a:pt x="14" y="4"/>
                  </a:lnTo>
                  <a:lnTo>
                    <a:pt x="13" y="3"/>
                  </a:lnTo>
                  <a:lnTo>
                    <a:pt x="10" y="0"/>
                  </a:lnTo>
                  <a:lnTo>
                    <a:pt x="8" y="0"/>
                  </a:lnTo>
                  <a:lnTo>
                    <a:pt x="6" y="3"/>
                  </a:lnTo>
                  <a:lnTo>
                    <a:pt x="6" y="5"/>
                  </a:lnTo>
                  <a:lnTo>
                    <a:pt x="6" y="7"/>
                  </a:lnTo>
                  <a:lnTo>
                    <a:pt x="2" y="10"/>
                  </a:lnTo>
                  <a:lnTo>
                    <a:pt x="1" y="11"/>
                  </a:lnTo>
                  <a:lnTo>
                    <a:pt x="0" y="13"/>
                  </a:lnTo>
                  <a:lnTo>
                    <a:pt x="1" y="14"/>
                  </a:lnTo>
                  <a:lnTo>
                    <a:pt x="2" y="16"/>
                  </a:lnTo>
                  <a:lnTo>
                    <a:pt x="4" y="18"/>
                  </a:lnTo>
                  <a:lnTo>
                    <a:pt x="6" y="21"/>
                  </a:lnTo>
                  <a:lnTo>
                    <a:pt x="8" y="24"/>
                  </a:lnTo>
                  <a:lnTo>
                    <a:pt x="10" y="25"/>
                  </a:lnTo>
                  <a:lnTo>
                    <a:pt x="22" y="29"/>
                  </a:lnTo>
                  <a:lnTo>
                    <a:pt x="25" y="30"/>
                  </a:lnTo>
                  <a:lnTo>
                    <a:pt x="30" y="30"/>
                  </a:lnTo>
                  <a:lnTo>
                    <a:pt x="39" y="29"/>
                  </a:lnTo>
                  <a:lnTo>
                    <a:pt x="42" y="29"/>
                  </a:lnTo>
                  <a:lnTo>
                    <a:pt x="44" y="26"/>
                  </a:lnTo>
                  <a:lnTo>
                    <a:pt x="47" y="23"/>
                  </a:lnTo>
                  <a:lnTo>
                    <a:pt x="47" y="21"/>
                  </a:lnTo>
                  <a:lnTo>
                    <a:pt x="46" y="20"/>
                  </a:lnTo>
                  <a:lnTo>
                    <a:pt x="44" y="1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7" name="Freeform 526"/>
            <p:cNvSpPr>
              <a:spLocks/>
            </p:cNvSpPr>
            <p:nvPr/>
          </p:nvSpPr>
          <p:spPr bwMode="auto">
            <a:xfrm>
              <a:off x="2516188" y="1217617"/>
              <a:ext cx="1525587" cy="1146175"/>
            </a:xfrm>
            <a:custGeom>
              <a:avLst/>
              <a:gdLst>
                <a:gd name="T0" fmla="*/ 2147483647 w 1041"/>
                <a:gd name="T1" fmla="*/ 2147483647 h 722"/>
                <a:gd name="T2" fmla="*/ 2147483647 w 1041"/>
                <a:gd name="T3" fmla="*/ 2147483647 h 722"/>
                <a:gd name="T4" fmla="*/ 2147483647 w 1041"/>
                <a:gd name="T5" fmla="*/ 2147483647 h 722"/>
                <a:gd name="T6" fmla="*/ 2147483647 w 1041"/>
                <a:gd name="T7" fmla="*/ 2147483647 h 722"/>
                <a:gd name="T8" fmla="*/ 2147483647 w 1041"/>
                <a:gd name="T9" fmla="*/ 2147483647 h 722"/>
                <a:gd name="T10" fmla="*/ 2147483647 w 1041"/>
                <a:gd name="T11" fmla="*/ 2147483647 h 722"/>
                <a:gd name="T12" fmla="*/ 2147483647 w 1041"/>
                <a:gd name="T13" fmla="*/ 2147483647 h 722"/>
                <a:gd name="T14" fmla="*/ 2147483647 w 1041"/>
                <a:gd name="T15" fmla="*/ 2147483647 h 722"/>
                <a:gd name="T16" fmla="*/ 2147483647 w 1041"/>
                <a:gd name="T17" fmla="*/ 2147483647 h 722"/>
                <a:gd name="T18" fmla="*/ 2147483647 w 1041"/>
                <a:gd name="T19" fmla="*/ 2147483647 h 722"/>
                <a:gd name="T20" fmla="*/ 2147483647 w 1041"/>
                <a:gd name="T21" fmla="*/ 2147483647 h 722"/>
                <a:gd name="T22" fmla="*/ 2147483647 w 1041"/>
                <a:gd name="T23" fmla="*/ 2147483647 h 722"/>
                <a:gd name="T24" fmla="*/ 2147483647 w 1041"/>
                <a:gd name="T25" fmla="*/ 2147483647 h 722"/>
                <a:gd name="T26" fmla="*/ 2147483647 w 1041"/>
                <a:gd name="T27" fmla="*/ 2147483647 h 722"/>
                <a:gd name="T28" fmla="*/ 2147483647 w 1041"/>
                <a:gd name="T29" fmla="*/ 2147483647 h 722"/>
                <a:gd name="T30" fmla="*/ 2147483647 w 1041"/>
                <a:gd name="T31" fmla="*/ 2147483647 h 722"/>
                <a:gd name="T32" fmla="*/ 2147483647 w 1041"/>
                <a:gd name="T33" fmla="*/ 0 h 722"/>
                <a:gd name="T34" fmla="*/ 2147483647 w 1041"/>
                <a:gd name="T35" fmla="*/ 2147483647 h 722"/>
                <a:gd name="T36" fmla="*/ 2147483647 w 1041"/>
                <a:gd name="T37" fmla="*/ 2147483647 h 722"/>
                <a:gd name="T38" fmla="*/ 2147483647 w 1041"/>
                <a:gd name="T39" fmla="*/ 2147483647 h 722"/>
                <a:gd name="T40" fmla="*/ 2147483647 w 1041"/>
                <a:gd name="T41" fmla="*/ 2147483647 h 722"/>
                <a:gd name="T42" fmla="*/ 2147483647 w 1041"/>
                <a:gd name="T43" fmla="*/ 2147483647 h 722"/>
                <a:gd name="T44" fmla="*/ 2147483647 w 1041"/>
                <a:gd name="T45" fmla="*/ 2147483647 h 722"/>
                <a:gd name="T46" fmla="*/ 2147483647 w 1041"/>
                <a:gd name="T47" fmla="*/ 2147483647 h 722"/>
                <a:gd name="T48" fmla="*/ 2147483647 w 1041"/>
                <a:gd name="T49" fmla="*/ 2147483647 h 722"/>
                <a:gd name="T50" fmla="*/ 2147483647 w 1041"/>
                <a:gd name="T51" fmla="*/ 2147483647 h 722"/>
                <a:gd name="T52" fmla="*/ 2147483647 w 1041"/>
                <a:gd name="T53" fmla="*/ 2147483647 h 722"/>
                <a:gd name="T54" fmla="*/ 2147483647 w 1041"/>
                <a:gd name="T55" fmla="*/ 2147483647 h 722"/>
                <a:gd name="T56" fmla="*/ 2147483647 w 1041"/>
                <a:gd name="T57" fmla="*/ 2147483647 h 722"/>
                <a:gd name="T58" fmla="*/ 2147483647 w 1041"/>
                <a:gd name="T59" fmla="*/ 2147483647 h 722"/>
                <a:gd name="T60" fmla="*/ 2147483647 w 1041"/>
                <a:gd name="T61" fmla="*/ 2147483647 h 722"/>
                <a:gd name="T62" fmla="*/ 2147483647 w 1041"/>
                <a:gd name="T63" fmla="*/ 2147483647 h 722"/>
                <a:gd name="T64" fmla="*/ 2147483647 w 1041"/>
                <a:gd name="T65" fmla="*/ 2147483647 h 722"/>
                <a:gd name="T66" fmla="*/ 2147483647 w 1041"/>
                <a:gd name="T67" fmla="*/ 2147483647 h 722"/>
                <a:gd name="T68" fmla="*/ 2147483647 w 1041"/>
                <a:gd name="T69" fmla="*/ 2147483647 h 722"/>
                <a:gd name="T70" fmla="*/ 2147483647 w 1041"/>
                <a:gd name="T71" fmla="*/ 2147483647 h 722"/>
                <a:gd name="T72" fmla="*/ 2147483647 w 1041"/>
                <a:gd name="T73" fmla="*/ 2147483647 h 722"/>
                <a:gd name="T74" fmla="*/ 2147483647 w 1041"/>
                <a:gd name="T75" fmla="*/ 2147483647 h 722"/>
                <a:gd name="T76" fmla="*/ 2147483647 w 1041"/>
                <a:gd name="T77" fmla="*/ 2147483647 h 722"/>
                <a:gd name="T78" fmla="*/ 2147483647 w 1041"/>
                <a:gd name="T79" fmla="*/ 2147483647 h 722"/>
                <a:gd name="T80" fmla="*/ 2147483647 w 1041"/>
                <a:gd name="T81" fmla="*/ 2147483647 h 722"/>
                <a:gd name="T82" fmla="*/ 2147483647 w 1041"/>
                <a:gd name="T83" fmla="*/ 2147483647 h 722"/>
                <a:gd name="T84" fmla="*/ 2147483647 w 1041"/>
                <a:gd name="T85" fmla="*/ 2147483647 h 722"/>
                <a:gd name="T86" fmla="*/ 2147483647 w 1041"/>
                <a:gd name="T87" fmla="*/ 2147483647 h 722"/>
                <a:gd name="T88" fmla="*/ 2147483647 w 1041"/>
                <a:gd name="T89" fmla="*/ 2147483647 h 722"/>
                <a:gd name="T90" fmla="*/ 2147483647 w 1041"/>
                <a:gd name="T91" fmla="*/ 2147483647 h 722"/>
                <a:gd name="T92" fmla="*/ 2147483647 w 1041"/>
                <a:gd name="T93" fmla="*/ 2147483647 h 722"/>
                <a:gd name="T94" fmla="*/ 2147483647 w 1041"/>
                <a:gd name="T95" fmla="*/ 2147483647 h 722"/>
                <a:gd name="T96" fmla="*/ 2147483647 w 1041"/>
                <a:gd name="T97" fmla="*/ 2147483647 h 722"/>
                <a:gd name="T98" fmla="*/ 2147483647 w 1041"/>
                <a:gd name="T99" fmla="*/ 2147483647 h 722"/>
                <a:gd name="T100" fmla="*/ 2147483647 w 1041"/>
                <a:gd name="T101" fmla="*/ 2147483647 h 722"/>
                <a:gd name="T102" fmla="*/ 2147483647 w 1041"/>
                <a:gd name="T103" fmla="*/ 2147483647 h 722"/>
                <a:gd name="T104" fmla="*/ 2147483647 w 1041"/>
                <a:gd name="T105" fmla="*/ 2147483647 h 722"/>
                <a:gd name="T106" fmla="*/ 2147483647 w 1041"/>
                <a:gd name="T107" fmla="*/ 2147483647 h 722"/>
                <a:gd name="T108" fmla="*/ 2147483647 w 1041"/>
                <a:gd name="T109" fmla="*/ 2147483647 h 722"/>
                <a:gd name="T110" fmla="*/ 2147483647 w 1041"/>
                <a:gd name="T111" fmla="*/ 2147483647 h 722"/>
                <a:gd name="T112" fmla="*/ 2147483647 w 1041"/>
                <a:gd name="T113" fmla="*/ 2147483647 h 722"/>
                <a:gd name="T114" fmla="*/ 2147483647 w 1041"/>
                <a:gd name="T115" fmla="*/ 2147483647 h 722"/>
                <a:gd name="T116" fmla="*/ 2147483647 w 1041"/>
                <a:gd name="T117" fmla="*/ 2147483647 h 722"/>
                <a:gd name="T118" fmla="*/ 2147483647 w 1041"/>
                <a:gd name="T119" fmla="*/ 2147483647 h 722"/>
                <a:gd name="T120" fmla="*/ 2147483647 w 1041"/>
                <a:gd name="T121" fmla="*/ 2147483647 h 722"/>
                <a:gd name="T122" fmla="*/ 2147483647 w 1041"/>
                <a:gd name="T123" fmla="*/ 2147483647 h 7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1"/>
                <a:gd name="T187" fmla="*/ 0 h 722"/>
                <a:gd name="T188" fmla="*/ 1041 w 1041"/>
                <a:gd name="T189" fmla="*/ 722 h 7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1" h="722">
                  <a:moveTo>
                    <a:pt x="145" y="255"/>
                  </a:moveTo>
                  <a:lnTo>
                    <a:pt x="145" y="255"/>
                  </a:lnTo>
                  <a:lnTo>
                    <a:pt x="140" y="258"/>
                  </a:lnTo>
                  <a:lnTo>
                    <a:pt x="137" y="261"/>
                  </a:lnTo>
                  <a:lnTo>
                    <a:pt x="134" y="261"/>
                  </a:lnTo>
                  <a:lnTo>
                    <a:pt x="132" y="260"/>
                  </a:lnTo>
                  <a:lnTo>
                    <a:pt x="131" y="257"/>
                  </a:lnTo>
                  <a:lnTo>
                    <a:pt x="129" y="256"/>
                  </a:lnTo>
                  <a:lnTo>
                    <a:pt x="127" y="255"/>
                  </a:lnTo>
                  <a:lnTo>
                    <a:pt x="123" y="254"/>
                  </a:lnTo>
                  <a:lnTo>
                    <a:pt x="120" y="255"/>
                  </a:lnTo>
                  <a:lnTo>
                    <a:pt x="114" y="258"/>
                  </a:lnTo>
                  <a:lnTo>
                    <a:pt x="113" y="258"/>
                  </a:lnTo>
                  <a:lnTo>
                    <a:pt x="112" y="258"/>
                  </a:lnTo>
                  <a:lnTo>
                    <a:pt x="110" y="257"/>
                  </a:lnTo>
                  <a:lnTo>
                    <a:pt x="109" y="257"/>
                  </a:lnTo>
                  <a:lnTo>
                    <a:pt x="106" y="257"/>
                  </a:lnTo>
                  <a:lnTo>
                    <a:pt x="105" y="258"/>
                  </a:lnTo>
                  <a:lnTo>
                    <a:pt x="105" y="261"/>
                  </a:lnTo>
                  <a:lnTo>
                    <a:pt x="106" y="264"/>
                  </a:lnTo>
                  <a:lnTo>
                    <a:pt x="106" y="267"/>
                  </a:lnTo>
                  <a:lnTo>
                    <a:pt x="106" y="269"/>
                  </a:lnTo>
                  <a:lnTo>
                    <a:pt x="105" y="272"/>
                  </a:lnTo>
                  <a:lnTo>
                    <a:pt x="104" y="273"/>
                  </a:lnTo>
                  <a:lnTo>
                    <a:pt x="100" y="273"/>
                  </a:lnTo>
                  <a:lnTo>
                    <a:pt x="96" y="273"/>
                  </a:lnTo>
                  <a:lnTo>
                    <a:pt x="93" y="269"/>
                  </a:lnTo>
                  <a:lnTo>
                    <a:pt x="90" y="266"/>
                  </a:lnTo>
                  <a:lnTo>
                    <a:pt x="86" y="262"/>
                  </a:lnTo>
                  <a:lnTo>
                    <a:pt x="79" y="256"/>
                  </a:lnTo>
                  <a:lnTo>
                    <a:pt x="68" y="251"/>
                  </a:lnTo>
                  <a:lnTo>
                    <a:pt x="60" y="247"/>
                  </a:lnTo>
                  <a:lnTo>
                    <a:pt x="62" y="244"/>
                  </a:lnTo>
                  <a:lnTo>
                    <a:pt x="65" y="242"/>
                  </a:lnTo>
                  <a:lnTo>
                    <a:pt x="65" y="240"/>
                  </a:lnTo>
                  <a:lnTo>
                    <a:pt x="63" y="237"/>
                  </a:lnTo>
                  <a:lnTo>
                    <a:pt x="61" y="235"/>
                  </a:lnTo>
                  <a:lnTo>
                    <a:pt x="57" y="235"/>
                  </a:lnTo>
                  <a:lnTo>
                    <a:pt x="53" y="235"/>
                  </a:lnTo>
                  <a:lnTo>
                    <a:pt x="49" y="235"/>
                  </a:lnTo>
                  <a:lnTo>
                    <a:pt x="49" y="234"/>
                  </a:lnTo>
                  <a:lnTo>
                    <a:pt x="40" y="230"/>
                  </a:lnTo>
                  <a:lnTo>
                    <a:pt x="33" y="226"/>
                  </a:lnTo>
                  <a:lnTo>
                    <a:pt x="32" y="225"/>
                  </a:lnTo>
                  <a:lnTo>
                    <a:pt x="30" y="224"/>
                  </a:lnTo>
                  <a:lnTo>
                    <a:pt x="30" y="223"/>
                  </a:lnTo>
                  <a:lnTo>
                    <a:pt x="32" y="222"/>
                  </a:lnTo>
                  <a:lnTo>
                    <a:pt x="42" y="219"/>
                  </a:lnTo>
                  <a:lnTo>
                    <a:pt x="52" y="219"/>
                  </a:lnTo>
                  <a:lnTo>
                    <a:pt x="63" y="221"/>
                  </a:lnTo>
                  <a:lnTo>
                    <a:pt x="73" y="223"/>
                  </a:lnTo>
                  <a:lnTo>
                    <a:pt x="76" y="224"/>
                  </a:lnTo>
                  <a:lnTo>
                    <a:pt x="79" y="224"/>
                  </a:lnTo>
                  <a:lnTo>
                    <a:pt x="80" y="223"/>
                  </a:lnTo>
                  <a:lnTo>
                    <a:pt x="80" y="222"/>
                  </a:lnTo>
                  <a:lnTo>
                    <a:pt x="79" y="221"/>
                  </a:lnTo>
                  <a:lnTo>
                    <a:pt x="73" y="221"/>
                  </a:lnTo>
                  <a:lnTo>
                    <a:pt x="68" y="219"/>
                  </a:lnTo>
                  <a:lnTo>
                    <a:pt x="67" y="217"/>
                  </a:lnTo>
                  <a:lnTo>
                    <a:pt x="66" y="216"/>
                  </a:lnTo>
                  <a:lnTo>
                    <a:pt x="67" y="215"/>
                  </a:lnTo>
                  <a:lnTo>
                    <a:pt x="70" y="215"/>
                  </a:lnTo>
                  <a:lnTo>
                    <a:pt x="72" y="213"/>
                  </a:lnTo>
                  <a:lnTo>
                    <a:pt x="77" y="215"/>
                  </a:lnTo>
                  <a:lnTo>
                    <a:pt x="87" y="218"/>
                  </a:lnTo>
                  <a:lnTo>
                    <a:pt x="94" y="221"/>
                  </a:lnTo>
                  <a:lnTo>
                    <a:pt x="99" y="222"/>
                  </a:lnTo>
                  <a:lnTo>
                    <a:pt x="101" y="222"/>
                  </a:lnTo>
                  <a:lnTo>
                    <a:pt x="104" y="224"/>
                  </a:lnTo>
                  <a:lnTo>
                    <a:pt x="105" y="225"/>
                  </a:lnTo>
                  <a:lnTo>
                    <a:pt x="108" y="225"/>
                  </a:lnTo>
                  <a:lnTo>
                    <a:pt x="110" y="225"/>
                  </a:lnTo>
                  <a:lnTo>
                    <a:pt x="112" y="224"/>
                  </a:lnTo>
                  <a:lnTo>
                    <a:pt x="110" y="222"/>
                  </a:lnTo>
                  <a:lnTo>
                    <a:pt x="108" y="217"/>
                  </a:lnTo>
                  <a:lnTo>
                    <a:pt x="105" y="212"/>
                  </a:lnTo>
                  <a:lnTo>
                    <a:pt x="104" y="211"/>
                  </a:lnTo>
                  <a:lnTo>
                    <a:pt x="103" y="210"/>
                  </a:lnTo>
                  <a:lnTo>
                    <a:pt x="98" y="209"/>
                  </a:lnTo>
                  <a:lnTo>
                    <a:pt x="94" y="208"/>
                  </a:lnTo>
                  <a:lnTo>
                    <a:pt x="90" y="204"/>
                  </a:lnTo>
                  <a:lnTo>
                    <a:pt x="89" y="199"/>
                  </a:lnTo>
                  <a:lnTo>
                    <a:pt x="87" y="199"/>
                  </a:lnTo>
                  <a:lnTo>
                    <a:pt x="85" y="199"/>
                  </a:lnTo>
                  <a:lnTo>
                    <a:pt x="82" y="200"/>
                  </a:lnTo>
                  <a:lnTo>
                    <a:pt x="81" y="202"/>
                  </a:lnTo>
                  <a:lnTo>
                    <a:pt x="81" y="205"/>
                  </a:lnTo>
                  <a:lnTo>
                    <a:pt x="80" y="208"/>
                  </a:lnTo>
                  <a:lnTo>
                    <a:pt x="77" y="210"/>
                  </a:lnTo>
                  <a:lnTo>
                    <a:pt x="73" y="209"/>
                  </a:lnTo>
                  <a:lnTo>
                    <a:pt x="71" y="208"/>
                  </a:lnTo>
                  <a:lnTo>
                    <a:pt x="70" y="205"/>
                  </a:lnTo>
                  <a:lnTo>
                    <a:pt x="68" y="203"/>
                  </a:lnTo>
                  <a:lnTo>
                    <a:pt x="66" y="200"/>
                  </a:lnTo>
                  <a:lnTo>
                    <a:pt x="65" y="200"/>
                  </a:lnTo>
                  <a:lnTo>
                    <a:pt x="61" y="204"/>
                  </a:lnTo>
                  <a:lnTo>
                    <a:pt x="58" y="206"/>
                  </a:lnTo>
                  <a:lnTo>
                    <a:pt x="57" y="210"/>
                  </a:lnTo>
                  <a:lnTo>
                    <a:pt x="53" y="213"/>
                  </a:lnTo>
                  <a:lnTo>
                    <a:pt x="51" y="215"/>
                  </a:lnTo>
                  <a:lnTo>
                    <a:pt x="49" y="215"/>
                  </a:lnTo>
                  <a:lnTo>
                    <a:pt x="44" y="213"/>
                  </a:lnTo>
                  <a:lnTo>
                    <a:pt x="35" y="208"/>
                  </a:lnTo>
                  <a:lnTo>
                    <a:pt x="30" y="206"/>
                  </a:lnTo>
                  <a:lnTo>
                    <a:pt x="25" y="204"/>
                  </a:lnTo>
                  <a:lnTo>
                    <a:pt x="24" y="204"/>
                  </a:lnTo>
                  <a:lnTo>
                    <a:pt x="23" y="205"/>
                  </a:lnTo>
                  <a:lnTo>
                    <a:pt x="20" y="206"/>
                  </a:lnTo>
                  <a:lnTo>
                    <a:pt x="18" y="206"/>
                  </a:lnTo>
                  <a:lnTo>
                    <a:pt x="16" y="206"/>
                  </a:lnTo>
                  <a:lnTo>
                    <a:pt x="14" y="204"/>
                  </a:lnTo>
                  <a:lnTo>
                    <a:pt x="13" y="200"/>
                  </a:lnTo>
                  <a:lnTo>
                    <a:pt x="10" y="197"/>
                  </a:lnTo>
                  <a:lnTo>
                    <a:pt x="6" y="197"/>
                  </a:lnTo>
                  <a:lnTo>
                    <a:pt x="4" y="193"/>
                  </a:lnTo>
                  <a:lnTo>
                    <a:pt x="1" y="190"/>
                  </a:lnTo>
                  <a:lnTo>
                    <a:pt x="0" y="186"/>
                  </a:lnTo>
                  <a:lnTo>
                    <a:pt x="0" y="184"/>
                  </a:lnTo>
                  <a:lnTo>
                    <a:pt x="2" y="183"/>
                  </a:lnTo>
                  <a:lnTo>
                    <a:pt x="5" y="183"/>
                  </a:lnTo>
                  <a:lnTo>
                    <a:pt x="7" y="183"/>
                  </a:lnTo>
                  <a:lnTo>
                    <a:pt x="11" y="183"/>
                  </a:lnTo>
                  <a:lnTo>
                    <a:pt x="14" y="181"/>
                  </a:lnTo>
                  <a:lnTo>
                    <a:pt x="16" y="180"/>
                  </a:lnTo>
                  <a:lnTo>
                    <a:pt x="19" y="179"/>
                  </a:lnTo>
                  <a:lnTo>
                    <a:pt x="21" y="179"/>
                  </a:lnTo>
                  <a:lnTo>
                    <a:pt x="23" y="179"/>
                  </a:lnTo>
                  <a:lnTo>
                    <a:pt x="25" y="179"/>
                  </a:lnTo>
                  <a:lnTo>
                    <a:pt x="28" y="179"/>
                  </a:lnTo>
                  <a:lnTo>
                    <a:pt x="32" y="179"/>
                  </a:lnTo>
                  <a:lnTo>
                    <a:pt x="35" y="178"/>
                  </a:lnTo>
                  <a:lnTo>
                    <a:pt x="35" y="177"/>
                  </a:lnTo>
                  <a:lnTo>
                    <a:pt x="37" y="176"/>
                  </a:lnTo>
                  <a:lnTo>
                    <a:pt x="39" y="174"/>
                  </a:lnTo>
                  <a:lnTo>
                    <a:pt x="43" y="172"/>
                  </a:lnTo>
                  <a:lnTo>
                    <a:pt x="48" y="172"/>
                  </a:lnTo>
                  <a:lnTo>
                    <a:pt x="58" y="171"/>
                  </a:lnTo>
                  <a:lnTo>
                    <a:pt x="68" y="168"/>
                  </a:lnTo>
                  <a:lnTo>
                    <a:pt x="75" y="167"/>
                  </a:lnTo>
                  <a:lnTo>
                    <a:pt x="81" y="164"/>
                  </a:lnTo>
                  <a:lnTo>
                    <a:pt x="84" y="161"/>
                  </a:lnTo>
                  <a:lnTo>
                    <a:pt x="86" y="161"/>
                  </a:lnTo>
                  <a:lnTo>
                    <a:pt x="94" y="162"/>
                  </a:lnTo>
                  <a:lnTo>
                    <a:pt x="100" y="164"/>
                  </a:lnTo>
                  <a:lnTo>
                    <a:pt x="103" y="164"/>
                  </a:lnTo>
                  <a:lnTo>
                    <a:pt x="105" y="162"/>
                  </a:lnTo>
                  <a:lnTo>
                    <a:pt x="109" y="160"/>
                  </a:lnTo>
                  <a:lnTo>
                    <a:pt x="114" y="159"/>
                  </a:lnTo>
                  <a:lnTo>
                    <a:pt x="124" y="157"/>
                  </a:lnTo>
                  <a:lnTo>
                    <a:pt x="127" y="155"/>
                  </a:lnTo>
                  <a:lnTo>
                    <a:pt x="128" y="153"/>
                  </a:lnTo>
                  <a:lnTo>
                    <a:pt x="129" y="149"/>
                  </a:lnTo>
                  <a:lnTo>
                    <a:pt x="132" y="145"/>
                  </a:lnTo>
                  <a:lnTo>
                    <a:pt x="133" y="143"/>
                  </a:lnTo>
                  <a:lnTo>
                    <a:pt x="136" y="142"/>
                  </a:lnTo>
                  <a:lnTo>
                    <a:pt x="137" y="141"/>
                  </a:lnTo>
                  <a:lnTo>
                    <a:pt x="137" y="139"/>
                  </a:lnTo>
                  <a:lnTo>
                    <a:pt x="136" y="136"/>
                  </a:lnTo>
                  <a:lnTo>
                    <a:pt x="133" y="135"/>
                  </a:lnTo>
                  <a:lnTo>
                    <a:pt x="131" y="133"/>
                  </a:lnTo>
                  <a:lnTo>
                    <a:pt x="128" y="130"/>
                  </a:lnTo>
                  <a:lnTo>
                    <a:pt x="127" y="128"/>
                  </a:lnTo>
                  <a:lnTo>
                    <a:pt x="126" y="127"/>
                  </a:lnTo>
                  <a:lnTo>
                    <a:pt x="120" y="126"/>
                  </a:lnTo>
                  <a:lnTo>
                    <a:pt x="110" y="126"/>
                  </a:lnTo>
                  <a:lnTo>
                    <a:pt x="105" y="125"/>
                  </a:lnTo>
                  <a:lnTo>
                    <a:pt x="100" y="123"/>
                  </a:lnTo>
                  <a:lnTo>
                    <a:pt x="96" y="123"/>
                  </a:lnTo>
                  <a:lnTo>
                    <a:pt x="93" y="123"/>
                  </a:lnTo>
                  <a:lnTo>
                    <a:pt x="90" y="123"/>
                  </a:lnTo>
                  <a:lnTo>
                    <a:pt x="87" y="122"/>
                  </a:lnTo>
                  <a:lnTo>
                    <a:pt x="89" y="120"/>
                  </a:lnTo>
                  <a:lnTo>
                    <a:pt x="89" y="119"/>
                  </a:lnTo>
                  <a:lnTo>
                    <a:pt x="94" y="116"/>
                  </a:lnTo>
                  <a:lnTo>
                    <a:pt x="100" y="115"/>
                  </a:lnTo>
                  <a:lnTo>
                    <a:pt x="104" y="113"/>
                  </a:lnTo>
                  <a:lnTo>
                    <a:pt x="113" y="110"/>
                  </a:lnTo>
                  <a:lnTo>
                    <a:pt x="120" y="107"/>
                  </a:lnTo>
                  <a:lnTo>
                    <a:pt x="128" y="104"/>
                  </a:lnTo>
                  <a:lnTo>
                    <a:pt x="136" y="100"/>
                  </a:lnTo>
                  <a:lnTo>
                    <a:pt x="140" y="97"/>
                  </a:lnTo>
                  <a:lnTo>
                    <a:pt x="142" y="96"/>
                  </a:lnTo>
                  <a:lnTo>
                    <a:pt x="145" y="95"/>
                  </a:lnTo>
                  <a:lnTo>
                    <a:pt x="146" y="97"/>
                  </a:lnTo>
                  <a:lnTo>
                    <a:pt x="148" y="98"/>
                  </a:lnTo>
                  <a:lnTo>
                    <a:pt x="152" y="100"/>
                  </a:lnTo>
                  <a:lnTo>
                    <a:pt x="156" y="100"/>
                  </a:lnTo>
                  <a:lnTo>
                    <a:pt x="156" y="103"/>
                  </a:lnTo>
                  <a:lnTo>
                    <a:pt x="159" y="107"/>
                  </a:lnTo>
                  <a:lnTo>
                    <a:pt x="161" y="108"/>
                  </a:lnTo>
                  <a:lnTo>
                    <a:pt x="165" y="107"/>
                  </a:lnTo>
                  <a:lnTo>
                    <a:pt x="167" y="103"/>
                  </a:lnTo>
                  <a:lnTo>
                    <a:pt x="167" y="101"/>
                  </a:lnTo>
                  <a:lnTo>
                    <a:pt x="167" y="100"/>
                  </a:lnTo>
                  <a:lnTo>
                    <a:pt x="164" y="97"/>
                  </a:lnTo>
                  <a:lnTo>
                    <a:pt x="159" y="95"/>
                  </a:lnTo>
                  <a:lnTo>
                    <a:pt x="156" y="93"/>
                  </a:lnTo>
                  <a:lnTo>
                    <a:pt x="155" y="91"/>
                  </a:lnTo>
                  <a:lnTo>
                    <a:pt x="156" y="89"/>
                  </a:lnTo>
                  <a:lnTo>
                    <a:pt x="157" y="87"/>
                  </a:lnTo>
                  <a:lnTo>
                    <a:pt x="160" y="87"/>
                  </a:lnTo>
                  <a:lnTo>
                    <a:pt x="162" y="88"/>
                  </a:lnTo>
                  <a:lnTo>
                    <a:pt x="165" y="89"/>
                  </a:lnTo>
                  <a:lnTo>
                    <a:pt x="165" y="91"/>
                  </a:lnTo>
                  <a:lnTo>
                    <a:pt x="166" y="93"/>
                  </a:lnTo>
                  <a:lnTo>
                    <a:pt x="174" y="93"/>
                  </a:lnTo>
                  <a:lnTo>
                    <a:pt x="180" y="95"/>
                  </a:lnTo>
                  <a:lnTo>
                    <a:pt x="185" y="98"/>
                  </a:lnTo>
                  <a:lnTo>
                    <a:pt x="189" y="104"/>
                  </a:lnTo>
                  <a:lnTo>
                    <a:pt x="190" y="104"/>
                  </a:lnTo>
                  <a:lnTo>
                    <a:pt x="192" y="103"/>
                  </a:lnTo>
                  <a:lnTo>
                    <a:pt x="195" y="100"/>
                  </a:lnTo>
                  <a:lnTo>
                    <a:pt x="199" y="95"/>
                  </a:lnTo>
                  <a:lnTo>
                    <a:pt x="200" y="94"/>
                  </a:lnTo>
                  <a:lnTo>
                    <a:pt x="200" y="93"/>
                  </a:lnTo>
                  <a:lnTo>
                    <a:pt x="198" y="90"/>
                  </a:lnTo>
                  <a:lnTo>
                    <a:pt x="194" y="88"/>
                  </a:lnTo>
                  <a:lnTo>
                    <a:pt x="190" y="81"/>
                  </a:lnTo>
                  <a:lnTo>
                    <a:pt x="188" y="77"/>
                  </a:lnTo>
                  <a:lnTo>
                    <a:pt x="188" y="74"/>
                  </a:lnTo>
                  <a:lnTo>
                    <a:pt x="189" y="70"/>
                  </a:lnTo>
                  <a:lnTo>
                    <a:pt x="192" y="66"/>
                  </a:lnTo>
                  <a:lnTo>
                    <a:pt x="199" y="63"/>
                  </a:lnTo>
                  <a:lnTo>
                    <a:pt x="208" y="62"/>
                  </a:lnTo>
                  <a:lnTo>
                    <a:pt x="209" y="62"/>
                  </a:lnTo>
                  <a:lnTo>
                    <a:pt x="211" y="64"/>
                  </a:lnTo>
                  <a:lnTo>
                    <a:pt x="212" y="66"/>
                  </a:lnTo>
                  <a:lnTo>
                    <a:pt x="214" y="69"/>
                  </a:lnTo>
                  <a:lnTo>
                    <a:pt x="217" y="69"/>
                  </a:lnTo>
                  <a:lnTo>
                    <a:pt x="221" y="68"/>
                  </a:lnTo>
                  <a:lnTo>
                    <a:pt x="221" y="71"/>
                  </a:lnTo>
                  <a:lnTo>
                    <a:pt x="222" y="74"/>
                  </a:lnTo>
                  <a:lnTo>
                    <a:pt x="225" y="75"/>
                  </a:lnTo>
                  <a:lnTo>
                    <a:pt x="228" y="76"/>
                  </a:lnTo>
                  <a:lnTo>
                    <a:pt x="237" y="75"/>
                  </a:lnTo>
                  <a:lnTo>
                    <a:pt x="241" y="75"/>
                  </a:lnTo>
                  <a:lnTo>
                    <a:pt x="245" y="76"/>
                  </a:lnTo>
                  <a:lnTo>
                    <a:pt x="245" y="74"/>
                  </a:lnTo>
                  <a:lnTo>
                    <a:pt x="245" y="72"/>
                  </a:lnTo>
                  <a:lnTo>
                    <a:pt x="239" y="69"/>
                  </a:lnTo>
                  <a:lnTo>
                    <a:pt x="232" y="66"/>
                  </a:lnTo>
                  <a:lnTo>
                    <a:pt x="227" y="64"/>
                  </a:lnTo>
                  <a:lnTo>
                    <a:pt x="226" y="62"/>
                  </a:lnTo>
                  <a:lnTo>
                    <a:pt x="225" y="59"/>
                  </a:lnTo>
                  <a:lnTo>
                    <a:pt x="226" y="57"/>
                  </a:lnTo>
                  <a:lnTo>
                    <a:pt x="230" y="56"/>
                  </a:lnTo>
                  <a:lnTo>
                    <a:pt x="235" y="55"/>
                  </a:lnTo>
                  <a:lnTo>
                    <a:pt x="240" y="53"/>
                  </a:lnTo>
                  <a:lnTo>
                    <a:pt x="246" y="53"/>
                  </a:lnTo>
                  <a:lnTo>
                    <a:pt x="250" y="52"/>
                  </a:lnTo>
                  <a:lnTo>
                    <a:pt x="264" y="53"/>
                  </a:lnTo>
                  <a:lnTo>
                    <a:pt x="269" y="53"/>
                  </a:lnTo>
                  <a:lnTo>
                    <a:pt x="278" y="52"/>
                  </a:lnTo>
                  <a:lnTo>
                    <a:pt x="288" y="50"/>
                  </a:lnTo>
                  <a:lnTo>
                    <a:pt x="292" y="47"/>
                  </a:lnTo>
                  <a:lnTo>
                    <a:pt x="296" y="47"/>
                  </a:lnTo>
                  <a:lnTo>
                    <a:pt x="300" y="49"/>
                  </a:lnTo>
                  <a:lnTo>
                    <a:pt x="303" y="50"/>
                  </a:lnTo>
                  <a:lnTo>
                    <a:pt x="307" y="50"/>
                  </a:lnTo>
                  <a:lnTo>
                    <a:pt x="311" y="49"/>
                  </a:lnTo>
                  <a:lnTo>
                    <a:pt x="313" y="51"/>
                  </a:lnTo>
                  <a:lnTo>
                    <a:pt x="317" y="53"/>
                  </a:lnTo>
                  <a:lnTo>
                    <a:pt x="322" y="59"/>
                  </a:lnTo>
                  <a:lnTo>
                    <a:pt x="329" y="63"/>
                  </a:lnTo>
                  <a:lnTo>
                    <a:pt x="333" y="64"/>
                  </a:lnTo>
                  <a:lnTo>
                    <a:pt x="335" y="63"/>
                  </a:lnTo>
                  <a:lnTo>
                    <a:pt x="336" y="63"/>
                  </a:lnTo>
                  <a:lnTo>
                    <a:pt x="338" y="62"/>
                  </a:lnTo>
                  <a:lnTo>
                    <a:pt x="336" y="59"/>
                  </a:lnTo>
                  <a:lnTo>
                    <a:pt x="333" y="52"/>
                  </a:lnTo>
                  <a:lnTo>
                    <a:pt x="333" y="50"/>
                  </a:lnTo>
                  <a:lnTo>
                    <a:pt x="334" y="49"/>
                  </a:lnTo>
                  <a:lnTo>
                    <a:pt x="335" y="47"/>
                  </a:lnTo>
                  <a:lnTo>
                    <a:pt x="338" y="47"/>
                  </a:lnTo>
                  <a:lnTo>
                    <a:pt x="344" y="50"/>
                  </a:lnTo>
                  <a:lnTo>
                    <a:pt x="349" y="53"/>
                  </a:lnTo>
                  <a:lnTo>
                    <a:pt x="355" y="56"/>
                  </a:lnTo>
                  <a:lnTo>
                    <a:pt x="358" y="57"/>
                  </a:lnTo>
                  <a:lnTo>
                    <a:pt x="362" y="57"/>
                  </a:lnTo>
                  <a:lnTo>
                    <a:pt x="362" y="56"/>
                  </a:lnTo>
                  <a:lnTo>
                    <a:pt x="364" y="55"/>
                  </a:lnTo>
                  <a:lnTo>
                    <a:pt x="366" y="56"/>
                  </a:lnTo>
                  <a:lnTo>
                    <a:pt x="369" y="58"/>
                  </a:lnTo>
                  <a:lnTo>
                    <a:pt x="373" y="62"/>
                  </a:lnTo>
                  <a:lnTo>
                    <a:pt x="377" y="66"/>
                  </a:lnTo>
                  <a:lnTo>
                    <a:pt x="380" y="72"/>
                  </a:lnTo>
                  <a:lnTo>
                    <a:pt x="382" y="77"/>
                  </a:lnTo>
                  <a:lnTo>
                    <a:pt x="385" y="83"/>
                  </a:lnTo>
                  <a:lnTo>
                    <a:pt x="388" y="88"/>
                  </a:lnTo>
                  <a:lnTo>
                    <a:pt x="391" y="89"/>
                  </a:lnTo>
                  <a:lnTo>
                    <a:pt x="392" y="88"/>
                  </a:lnTo>
                  <a:lnTo>
                    <a:pt x="393" y="85"/>
                  </a:lnTo>
                  <a:lnTo>
                    <a:pt x="393" y="83"/>
                  </a:lnTo>
                  <a:lnTo>
                    <a:pt x="392" y="82"/>
                  </a:lnTo>
                  <a:lnTo>
                    <a:pt x="392" y="79"/>
                  </a:lnTo>
                  <a:lnTo>
                    <a:pt x="392" y="74"/>
                  </a:lnTo>
                  <a:lnTo>
                    <a:pt x="391" y="68"/>
                  </a:lnTo>
                  <a:lnTo>
                    <a:pt x="388" y="62"/>
                  </a:lnTo>
                  <a:lnTo>
                    <a:pt x="385" y="57"/>
                  </a:lnTo>
                  <a:lnTo>
                    <a:pt x="380" y="53"/>
                  </a:lnTo>
                  <a:lnTo>
                    <a:pt x="374" y="49"/>
                  </a:lnTo>
                  <a:lnTo>
                    <a:pt x="364" y="43"/>
                  </a:lnTo>
                  <a:lnTo>
                    <a:pt x="364" y="40"/>
                  </a:lnTo>
                  <a:lnTo>
                    <a:pt x="368" y="39"/>
                  </a:lnTo>
                  <a:lnTo>
                    <a:pt x="373" y="38"/>
                  </a:lnTo>
                  <a:lnTo>
                    <a:pt x="378" y="39"/>
                  </a:lnTo>
                  <a:lnTo>
                    <a:pt x="382" y="40"/>
                  </a:lnTo>
                  <a:lnTo>
                    <a:pt x="386" y="43"/>
                  </a:lnTo>
                  <a:lnTo>
                    <a:pt x="388" y="44"/>
                  </a:lnTo>
                  <a:lnTo>
                    <a:pt x="390" y="44"/>
                  </a:lnTo>
                  <a:lnTo>
                    <a:pt x="392" y="42"/>
                  </a:lnTo>
                  <a:lnTo>
                    <a:pt x="392" y="40"/>
                  </a:lnTo>
                  <a:lnTo>
                    <a:pt x="393" y="39"/>
                  </a:lnTo>
                  <a:lnTo>
                    <a:pt x="396" y="40"/>
                  </a:lnTo>
                  <a:lnTo>
                    <a:pt x="399" y="42"/>
                  </a:lnTo>
                  <a:lnTo>
                    <a:pt x="401" y="46"/>
                  </a:lnTo>
                  <a:lnTo>
                    <a:pt x="402" y="47"/>
                  </a:lnTo>
                  <a:lnTo>
                    <a:pt x="404" y="47"/>
                  </a:lnTo>
                  <a:lnTo>
                    <a:pt x="407" y="47"/>
                  </a:lnTo>
                  <a:lnTo>
                    <a:pt x="411" y="47"/>
                  </a:lnTo>
                  <a:lnTo>
                    <a:pt x="415" y="49"/>
                  </a:lnTo>
                  <a:lnTo>
                    <a:pt x="420" y="50"/>
                  </a:lnTo>
                  <a:lnTo>
                    <a:pt x="423" y="51"/>
                  </a:lnTo>
                  <a:lnTo>
                    <a:pt x="425" y="51"/>
                  </a:lnTo>
                  <a:lnTo>
                    <a:pt x="426" y="50"/>
                  </a:lnTo>
                  <a:lnTo>
                    <a:pt x="426" y="47"/>
                  </a:lnTo>
                  <a:lnTo>
                    <a:pt x="425" y="46"/>
                  </a:lnTo>
                  <a:lnTo>
                    <a:pt x="424" y="45"/>
                  </a:lnTo>
                  <a:lnTo>
                    <a:pt x="419" y="43"/>
                  </a:lnTo>
                  <a:lnTo>
                    <a:pt x="414" y="40"/>
                  </a:lnTo>
                  <a:lnTo>
                    <a:pt x="414" y="39"/>
                  </a:lnTo>
                  <a:lnTo>
                    <a:pt x="415" y="38"/>
                  </a:lnTo>
                  <a:lnTo>
                    <a:pt x="419" y="38"/>
                  </a:lnTo>
                  <a:lnTo>
                    <a:pt x="430" y="40"/>
                  </a:lnTo>
                  <a:lnTo>
                    <a:pt x="440" y="42"/>
                  </a:lnTo>
                  <a:lnTo>
                    <a:pt x="451" y="42"/>
                  </a:lnTo>
                  <a:lnTo>
                    <a:pt x="462" y="42"/>
                  </a:lnTo>
                  <a:lnTo>
                    <a:pt x="462" y="40"/>
                  </a:lnTo>
                  <a:lnTo>
                    <a:pt x="461" y="39"/>
                  </a:lnTo>
                  <a:lnTo>
                    <a:pt x="457" y="34"/>
                  </a:lnTo>
                  <a:lnTo>
                    <a:pt x="452" y="32"/>
                  </a:lnTo>
                  <a:lnTo>
                    <a:pt x="446" y="31"/>
                  </a:lnTo>
                  <a:lnTo>
                    <a:pt x="440" y="28"/>
                  </a:lnTo>
                  <a:lnTo>
                    <a:pt x="437" y="27"/>
                  </a:lnTo>
                  <a:lnTo>
                    <a:pt x="432" y="26"/>
                  </a:lnTo>
                  <a:lnTo>
                    <a:pt x="432" y="25"/>
                  </a:lnTo>
                  <a:lnTo>
                    <a:pt x="432" y="23"/>
                  </a:lnTo>
                  <a:lnTo>
                    <a:pt x="435" y="21"/>
                  </a:lnTo>
                  <a:lnTo>
                    <a:pt x="443" y="21"/>
                  </a:lnTo>
                  <a:lnTo>
                    <a:pt x="452" y="21"/>
                  </a:lnTo>
                  <a:lnTo>
                    <a:pt x="461" y="23"/>
                  </a:lnTo>
                  <a:lnTo>
                    <a:pt x="470" y="24"/>
                  </a:lnTo>
                  <a:lnTo>
                    <a:pt x="480" y="25"/>
                  </a:lnTo>
                  <a:lnTo>
                    <a:pt x="486" y="23"/>
                  </a:lnTo>
                  <a:lnTo>
                    <a:pt x="501" y="21"/>
                  </a:lnTo>
                  <a:lnTo>
                    <a:pt x="515" y="18"/>
                  </a:lnTo>
                  <a:lnTo>
                    <a:pt x="518" y="17"/>
                  </a:lnTo>
                  <a:lnTo>
                    <a:pt x="519" y="18"/>
                  </a:lnTo>
                  <a:lnTo>
                    <a:pt x="520" y="20"/>
                  </a:lnTo>
                  <a:lnTo>
                    <a:pt x="523" y="23"/>
                  </a:lnTo>
                  <a:lnTo>
                    <a:pt x="528" y="24"/>
                  </a:lnTo>
                  <a:lnTo>
                    <a:pt x="538" y="24"/>
                  </a:lnTo>
                  <a:lnTo>
                    <a:pt x="540" y="25"/>
                  </a:lnTo>
                  <a:lnTo>
                    <a:pt x="540" y="27"/>
                  </a:lnTo>
                  <a:lnTo>
                    <a:pt x="541" y="30"/>
                  </a:lnTo>
                  <a:lnTo>
                    <a:pt x="542" y="31"/>
                  </a:lnTo>
                  <a:lnTo>
                    <a:pt x="545" y="32"/>
                  </a:lnTo>
                  <a:lnTo>
                    <a:pt x="546" y="32"/>
                  </a:lnTo>
                  <a:lnTo>
                    <a:pt x="547" y="37"/>
                  </a:lnTo>
                  <a:lnTo>
                    <a:pt x="548" y="39"/>
                  </a:lnTo>
                  <a:lnTo>
                    <a:pt x="555" y="45"/>
                  </a:lnTo>
                  <a:lnTo>
                    <a:pt x="556" y="46"/>
                  </a:lnTo>
                  <a:lnTo>
                    <a:pt x="559" y="47"/>
                  </a:lnTo>
                  <a:lnTo>
                    <a:pt x="561" y="47"/>
                  </a:lnTo>
                  <a:lnTo>
                    <a:pt x="564" y="47"/>
                  </a:lnTo>
                  <a:lnTo>
                    <a:pt x="565" y="46"/>
                  </a:lnTo>
                  <a:lnTo>
                    <a:pt x="564" y="45"/>
                  </a:lnTo>
                  <a:lnTo>
                    <a:pt x="560" y="39"/>
                  </a:lnTo>
                  <a:lnTo>
                    <a:pt x="556" y="32"/>
                  </a:lnTo>
                  <a:lnTo>
                    <a:pt x="555" y="31"/>
                  </a:lnTo>
                  <a:lnTo>
                    <a:pt x="552" y="30"/>
                  </a:lnTo>
                  <a:lnTo>
                    <a:pt x="551" y="27"/>
                  </a:lnTo>
                  <a:lnTo>
                    <a:pt x="548" y="25"/>
                  </a:lnTo>
                  <a:lnTo>
                    <a:pt x="548" y="20"/>
                  </a:lnTo>
                  <a:lnTo>
                    <a:pt x="548" y="18"/>
                  </a:lnTo>
                  <a:lnTo>
                    <a:pt x="551" y="15"/>
                  </a:lnTo>
                  <a:lnTo>
                    <a:pt x="555" y="14"/>
                  </a:lnTo>
                  <a:lnTo>
                    <a:pt x="560" y="13"/>
                  </a:lnTo>
                  <a:lnTo>
                    <a:pt x="564" y="12"/>
                  </a:lnTo>
                  <a:lnTo>
                    <a:pt x="566" y="10"/>
                  </a:lnTo>
                  <a:lnTo>
                    <a:pt x="566" y="6"/>
                  </a:lnTo>
                  <a:lnTo>
                    <a:pt x="566" y="5"/>
                  </a:lnTo>
                  <a:lnTo>
                    <a:pt x="567" y="4"/>
                  </a:lnTo>
                  <a:lnTo>
                    <a:pt x="578" y="4"/>
                  </a:lnTo>
                  <a:lnTo>
                    <a:pt x="588" y="5"/>
                  </a:lnTo>
                  <a:lnTo>
                    <a:pt x="589" y="5"/>
                  </a:lnTo>
                  <a:lnTo>
                    <a:pt x="592" y="7"/>
                  </a:lnTo>
                  <a:lnTo>
                    <a:pt x="595" y="10"/>
                  </a:lnTo>
                  <a:lnTo>
                    <a:pt x="600" y="13"/>
                  </a:lnTo>
                  <a:lnTo>
                    <a:pt x="604" y="14"/>
                  </a:lnTo>
                  <a:lnTo>
                    <a:pt x="608" y="14"/>
                  </a:lnTo>
                  <a:lnTo>
                    <a:pt x="613" y="14"/>
                  </a:lnTo>
                  <a:lnTo>
                    <a:pt x="614" y="14"/>
                  </a:lnTo>
                  <a:lnTo>
                    <a:pt x="616" y="13"/>
                  </a:lnTo>
                  <a:lnTo>
                    <a:pt x="616" y="11"/>
                  </a:lnTo>
                  <a:lnTo>
                    <a:pt x="616" y="7"/>
                  </a:lnTo>
                  <a:lnTo>
                    <a:pt x="613" y="2"/>
                  </a:lnTo>
                  <a:lnTo>
                    <a:pt x="614" y="2"/>
                  </a:lnTo>
                  <a:lnTo>
                    <a:pt x="617" y="1"/>
                  </a:lnTo>
                  <a:lnTo>
                    <a:pt x="623" y="4"/>
                  </a:lnTo>
                  <a:lnTo>
                    <a:pt x="630" y="5"/>
                  </a:lnTo>
                  <a:lnTo>
                    <a:pt x="644" y="5"/>
                  </a:lnTo>
                  <a:lnTo>
                    <a:pt x="670" y="4"/>
                  </a:lnTo>
                  <a:lnTo>
                    <a:pt x="674" y="2"/>
                  </a:lnTo>
                  <a:lnTo>
                    <a:pt x="678" y="1"/>
                  </a:lnTo>
                  <a:lnTo>
                    <a:pt x="682" y="0"/>
                  </a:lnTo>
                  <a:lnTo>
                    <a:pt x="686" y="0"/>
                  </a:lnTo>
                  <a:lnTo>
                    <a:pt x="694" y="4"/>
                  </a:lnTo>
                  <a:lnTo>
                    <a:pt x="698" y="5"/>
                  </a:lnTo>
                  <a:lnTo>
                    <a:pt x="702" y="5"/>
                  </a:lnTo>
                  <a:lnTo>
                    <a:pt x="710" y="2"/>
                  </a:lnTo>
                  <a:lnTo>
                    <a:pt x="717" y="1"/>
                  </a:lnTo>
                  <a:lnTo>
                    <a:pt x="720" y="1"/>
                  </a:lnTo>
                  <a:lnTo>
                    <a:pt x="724" y="1"/>
                  </a:lnTo>
                  <a:lnTo>
                    <a:pt x="727" y="4"/>
                  </a:lnTo>
                  <a:lnTo>
                    <a:pt x="730" y="6"/>
                  </a:lnTo>
                  <a:lnTo>
                    <a:pt x="735" y="11"/>
                  </a:lnTo>
                  <a:lnTo>
                    <a:pt x="740" y="14"/>
                  </a:lnTo>
                  <a:lnTo>
                    <a:pt x="745" y="17"/>
                  </a:lnTo>
                  <a:lnTo>
                    <a:pt x="752" y="19"/>
                  </a:lnTo>
                  <a:lnTo>
                    <a:pt x="763" y="20"/>
                  </a:lnTo>
                  <a:lnTo>
                    <a:pt x="777" y="21"/>
                  </a:lnTo>
                  <a:lnTo>
                    <a:pt x="787" y="21"/>
                  </a:lnTo>
                  <a:lnTo>
                    <a:pt x="797" y="20"/>
                  </a:lnTo>
                  <a:lnTo>
                    <a:pt x="806" y="19"/>
                  </a:lnTo>
                  <a:lnTo>
                    <a:pt x="814" y="19"/>
                  </a:lnTo>
                  <a:lnTo>
                    <a:pt x="821" y="18"/>
                  </a:lnTo>
                  <a:lnTo>
                    <a:pt x="821" y="20"/>
                  </a:lnTo>
                  <a:lnTo>
                    <a:pt x="821" y="23"/>
                  </a:lnTo>
                  <a:lnTo>
                    <a:pt x="819" y="24"/>
                  </a:lnTo>
                  <a:lnTo>
                    <a:pt x="818" y="24"/>
                  </a:lnTo>
                  <a:lnTo>
                    <a:pt x="816" y="26"/>
                  </a:lnTo>
                  <a:lnTo>
                    <a:pt x="816" y="28"/>
                  </a:lnTo>
                  <a:lnTo>
                    <a:pt x="819" y="32"/>
                  </a:lnTo>
                  <a:lnTo>
                    <a:pt x="823" y="33"/>
                  </a:lnTo>
                  <a:lnTo>
                    <a:pt x="824" y="33"/>
                  </a:lnTo>
                  <a:lnTo>
                    <a:pt x="825" y="33"/>
                  </a:lnTo>
                  <a:lnTo>
                    <a:pt x="829" y="28"/>
                  </a:lnTo>
                  <a:lnTo>
                    <a:pt x="833" y="26"/>
                  </a:lnTo>
                  <a:lnTo>
                    <a:pt x="837" y="26"/>
                  </a:lnTo>
                  <a:lnTo>
                    <a:pt x="842" y="28"/>
                  </a:lnTo>
                  <a:lnTo>
                    <a:pt x="846" y="30"/>
                  </a:lnTo>
                  <a:lnTo>
                    <a:pt x="851" y="31"/>
                  </a:lnTo>
                  <a:lnTo>
                    <a:pt x="863" y="30"/>
                  </a:lnTo>
                  <a:lnTo>
                    <a:pt x="877" y="28"/>
                  </a:lnTo>
                  <a:lnTo>
                    <a:pt x="884" y="28"/>
                  </a:lnTo>
                  <a:lnTo>
                    <a:pt x="889" y="30"/>
                  </a:lnTo>
                  <a:lnTo>
                    <a:pt x="894" y="32"/>
                  </a:lnTo>
                  <a:lnTo>
                    <a:pt x="895" y="33"/>
                  </a:lnTo>
                  <a:lnTo>
                    <a:pt x="894" y="34"/>
                  </a:lnTo>
                  <a:lnTo>
                    <a:pt x="891" y="37"/>
                  </a:lnTo>
                  <a:lnTo>
                    <a:pt x="885" y="40"/>
                  </a:lnTo>
                  <a:lnTo>
                    <a:pt x="876" y="44"/>
                  </a:lnTo>
                  <a:lnTo>
                    <a:pt x="867" y="46"/>
                  </a:lnTo>
                  <a:lnTo>
                    <a:pt x="857" y="47"/>
                  </a:lnTo>
                  <a:lnTo>
                    <a:pt x="835" y="47"/>
                  </a:lnTo>
                  <a:lnTo>
                    <a:pt x="818" y="46"/>
                  </a:lnTo>
                  <a:lnTo>
                    <a:pt x="797" y="43"/>
                  </a:lnTo>
                  <a:lnTo>
                    <a:pt x="777" y="43"/>
                  </a:lnTo>
                  <a:lnTo>
                    <a:pt x="757" y="44"/>
                  </a:lnTo>
                  <a:lnTo>
                    <a:pt x="736" y="46"/>
                  </a:lnTo>
                  <a:lnTo>
                    <a:pt x="734" y="47"/>
                  </a:lnTo>
                  <a:lnTo>
                    <a:pt x="731" y="50"/>
                  </a:lnTo>
                  <a:lnTo>
                    <a:pt x="731" y="52"/>
                  </a:lnTo>
                  <a:lnTo>
                    <a:pt x="731" y="56"/>
                  </a:lnTo>
                  <a:lnTo>
                    <a:pt x="734" y="63"/>
                  </a:lnTo>
                  <a:lnTo>
                    <a:pt x="736" y="69"/>
                  </a:lnTo>
                  <a:lnTo>
                    <a:pt x="738" y="69"/>
                  </a:lnTo>
                  <a:lnTo>
                    <a:pt x="739" y="69"/>
                  </a:lnTo>
                  <a:lnTo>
                    <a:pt x="741" y="66"/>
                  </a:lnTo>
                  <a:lnTo>
                    <a:pt x="748" y="61"/>
                  </a:lnTo>
                  <a:lnTo>
                    <a:pt x="754" y="58"/>
                  </a:lnTo>
                  <a:lnTo>
                    <a:pt x="759" y="57"/>
                  </a:lnTo>
                  <a:lnTo>
                    <a:pt x="767" y="58"/>
                  </a:lnTo>
                  <a:lnTo>
                    <a:pt x="771" y="57"/>
                  </a:lnTo>
                  <a:lnTo>
                    <a:pt x="773" y="56"/>
                  </a:lnTo>
                  <a:lnTo>
                    <a:pt x="777" y="55"/>
                  </a:lnTo>
                  <a:lnTo>
                    <a:pt x="780" y="53"/>
                  </a:lnTo>
                  <a:lnTo>
                    <a:pt x="782" y="55"/>
                  </a:lnTo>
                  <a:lnTo>
                    <a:pt x="787" y="55"/>
                  </a:lnTo>
                  <a:lnTo>
                    <a:pt x="793" y="53"/>
                  </a:lnTo>
                  <a:lnTo>
                    <a:pt x="800" y="53"/>
                  </a:lnTo>
                  <a:lnTo>
                    <a:pt x="804" y="53"/>
                  </a:lnTo>
                  <a:lnTo>
                    <a:pt x="806" y="55"/>
                  </a:lnTo>
                  <a:lnTo>
                    <a:pt x="806" y="56"/>
                  </a:lnTo>
                  <a:lnTo>
                    <a:pt x="806" y="57"/>
                  </a:lnTo>
                  <a:lnTo>
                    <a:pt x="805" y="59"/>
                  </a:lnTo>
                  <a:lnTo>
                    <a:pt x="801" y="64"/>
                  </a:lnTo>
                  <a:lnTo>
                    <a:pt x="799" y="66"/>
                  </a:lnTo>
                  <a:lnTo>
                    <a:pt x="799" y="69"/>
                  </a:lnTo>
                  <a:lnTo>
                    <a:pt x="800" y="70"/>
                  </a:lnTo>
                  <a:lnTo>
                    <a:pt x="802" y="71"/>
                  </a:lnTo>
                  <a:lnTo>
                    <a:pt x="819" y="71"/>
                  </a:lnTo>
                  <a:lnTo>
                    <a:pt x="826" y="70"/>
                  </a:lnTo>
                  <a:lnTo>
                    <a:pt x="834" y="68"/>
                  </a:lnTo>
                  <a:lnTo>
                    <a:pt x="834" y="66"/>
                  </a:lnTo>
                  <a:lnTo>
                    <a:pt x="835" y="65"/>
                  </a:lnTo>
                  <a:lnTo>
                    <a:pt x="834" y="63"/>
                  </a:lnTo>
                  <a:lnTo>
                    <a:pt x="835" y="61"/>
                  </a:lnTo>
                  <a:lnTo>
                    <a:pt x="835" y="59"/>
                  </a:lnTo>
                  <a:lnTo>
                    <a:pt x="838" y="59"/>
                  </a:lnTo>
                  <a:lnTo>
                    <a:pt x="847" y="58"/>
                  </a:lnTo>
                  <a:lnTo>
                    <a:pt x="857" y="58"/>
                  </a:lnTo>
                  <a:lnTo>
                    <a:pt x="866" y="58"/>
                  </a:lnTo>
                  <a:lnTo>
                    <a:pt x="875" y="57"/>
                  </a:lnTo>
                  <a:lnTo>
                    <a:pt x="877" y="56"/>
                  </a:lnTo>
                  <a:lnTo>
                    <a:pt x="880" y="57"/>
                  </a:lnTo>
                  <a:lnTo>
                    <a:pt x="880" y="58"/>
                  </a:lnTo>
                  <a:lnTo>
                    <a:pt x="879" y="61"/>
                  </a:lnTo>
                  <a:lnTo>
                    <a:pt x="876" y="63"/>
                  </a:lnTo>
                  <a:lnTo>
                    <a:pt x="875" y="65"/>
                  </a:lnTo>
                  <a:lnTo>
                    <a:pt x="873" y="68"/>
                  </a:lnTo>
                  <a:lnTo>
                    <a:pt x="871" y="70"/>
                  </a:lnTo>
                  <a:lnTo>
                    <a:pt x="861" y="76"/>
                  </a:lnTo>
                  <a:lnTo>
                    <a:pt x="851" y="82"/>
                  </a:lnTo>
                  <a:lnTo>
                    <a:pt x="829" y="89"/>
                  </a:lnTo>
                  <a:lnTo>
                    <a:pt x="820" y="94"/>
                  </a:lnTo>
                  <a:lnTo>
                    <a:pt x="815" y="97"/>
                  </a:lnTo>
                  <a:lnTo>
                    <a:pt x="811" y="102"/>
                  </a:lnTo>
                  <a:lnTo>
                    <a:pt x="810" y="106"/>
                  </a:lnTo>
                  <a:lnTo>
                    <a:pt x="809" y="108"/>
                  </a:lnTo>
                  <a:lnTo>
                    <a:pt x="806" y="109"/>
                  </a:lnTo>
                  <a:lnTo>
                    <a:pt x="805" y="109"/>
                  </a:lnTo>
                  <a:lnTo>
                    <a:pt x="806" y="110"/>
                  </a:lnTo>
                  <a:lnTo>
                    <a:pt x="810" y="113"/>
                  </a:lnTo>
                  <a:lnTo>
                    <a:pt x="815" y="113"/>
                  </a:lnTo>
                  <a:lnTo>
                    <a:pt x="819" y="111"/>
                  </a:lnTo>
                  <a:lnTo>
                    <a:pt x="824" y="109"/>
                  </a:lnTo>
                  <a:lnTo>
                    <a:pt x="844" y="98"/>
                  </a:lnTo>
                  <a:lnTo>
                    <a:pt x="856" y="94"/>
                  </a:lnTo>
                  <a:lnTo>
                    <a:pt x="868" y="91"/>
                  </a:lnTo>
                  <a:lnTo>
                    <a:pt x="876" y="89"/>
                  </a:lnTo>
                  <a:lnTo>
                    <a:pt x="885" y="85"/>
                  </a:lnTo>
                  <a:lnTo>
                    <a:pt x="894" y="82"/>
                  </a:lnTo>
                  <a:lnTo>
                    <a:pt x="903" y="81"/>
                  </a:lnTo>
                  <a:lnTo>
                    <a:pt x="905" y="79"/>
                  </a:lnTo>
                  <a:lnTo>
                    <a:pt x="908" y="77"/>
                  </a:lnTo>
                  <a:lnTo>
                    <a:pt x="909" y="74"/>
                  </a:lnTo>
                  <a:lnTo>
                    <a:pt x="912" y="71"/>
                  </a:lnTo>
                  <a:lnTo>
                    <a:pt x="917" y="71"/>
                  </a:lnTo>
                  <a:lnTo>
                    <a:pt x="923" y="71"/>
                  </a:lnTo>
                  <a:lnTo>
                    <a:pt x="928" y="71"/>
                  </a:lnTo>
                  <a:lnTo>
                    <a:pt x="933" y="70"/>
                  </a:lnTo>
                  <a:lnTo>
                    <a:pt x="940" y="69"/>
                  </a:lnTo>
                  <a:lnTo>
                    <a:pt x="946" y="68"/>
                  </a:lnTo>
                  <a:lnTo>
                    <a:pt x="959" y="69"/>
                  </a:lnTo>
                  <a:lnTo>
                    <a:pt x="961" y="69"/>
                  </a:lnTo>
                  <a:lnTo>
                    <a:pt x="964" y="68"/>
                  </a:lnTo>
                  <a:lnTo>
                    <a:pt x="967" y="63"/>
                  </a:lnTo>
                  <a:lnTo>
                    <a:pt x="970" y="62"/>
                  </a:lnTo>
                  <a:lnTo>
                    <a:pt x="973" y="61"/>
                  </a:lnTo>
                  <a:lnTo>
                    <a:pt x="985" y="61"/>
                  </a:lnTo>
                  <a:lnTo>
                    <a:pt x="997" y="58"/>
                  </a:lnTo>
                  <a:lnTo>
                    <a:pt x="1004" y="56"/>
                  </a:lnTo>
                  <a:lnTo>
                    <a:pt x="1012" y="53"/>
                  </a:lnTo>
                  <a:lnTo>
                    <a:pt x="1017" y="53"/>
                  </a:lnTo>
                  <a:lnTo>
                    <a:pt x="1020" y="55"/>
                  </a:lnTo>
                  <a:lnTo>
                    <a:pt x="1022" y="57"/>
                  </a:lnTo>
                  <a:lnTo>
                    <a:pt x="1025" y="61"/>
                  </a:lnTo>
                  <a:lnTo>
                    <a:pt x="1027" y="68"/>
                  </a:lnTo>
                  <a:lnTo>
                    <a:pt x="1032" y="74"/>
                  </a:lnTo>
                  <a:lnTo>
                    <a:pt x="1037" y="78"/>
                  </a:lnTo>
                  <a:lnTo>
                    <a:pt x="1041" y="84"/>
                  </a:lnTo>
                  <a:lnTo>
                    <a:pt x="1041" y="87"/>
                  </a:lnTo>
                  <a:lnTo>
                    <a:pt x="1040" y="88"/>
                  </a:lnTo>
                  <a:lnTo>
                    <a:pt x="1026" y="89"/>
                  </a:lnTo>
                  <a:lnTo>
                    <a:pt x="1020" y="91"/>
                  </a:lnTo>
                  <a:lnTo>
                    <a:pt x="1012" y="94"/>
                  </a:lnTo>
                  <a:lnTo>
                    <a:pt x="1011" y="94"/>
                  </a:lnTo>
                  <a:lnTo>
                    <a:pt x="1008" y="94"/>
                  </a:lnTo>
                  <a:lnTo>
                    <a:pt x="1003" y="91"/>
                  </a:lnTo>
                  <a:lnTo>
                    <a:pt x="998" y="90"/>
                  </a:lnTo>
                  <a:lnTo>
                    <a:pt x="995" y="91"/>
                  </a:lnTo>
                  <a:lnTo>
                    <a:pt x="994" y="93"/>
                  </a:lnTo>
                  <a:lnTo>
                    <a:pt x="994" y="95"/>
                  </a:lnTo>
                  <a:lnTo>
                    <a:pt x="995" y="97"/>
                  </a:lnTo>
                  <a:lnTo>
                    <a:pt x="999" y="103"/>
                  </a:lnTo>
                  <a:lnTo>
                    <a:pt x="979" y="106"/>
                  </a:lnTo>
                  <a:lnTo>
                    <a:pt x="969" y="106"/>
                  </a:lnTo>
                  <a:lnTo>
                    <a:pt x="964" y="104"/>
                  </a:lnTo>
                  <a:lnTo>
                    <a:pt x="959" y="102"/>
                  </a:lnTo>
                  <a:lnTo>
                    <a:pt x="953" y="100"/>
                  </a:lnTo>
                  <a:lnTo>
                    <a:pt x="951" y="101"/>
                  </a:lnTo>
                  <a:lnTo>
                    <a:pt x="950" y="102"/>
                  </a:lnTo>
                  <a:lnTo>
                    <a:pt x="950" y="106"/>
                  </a:lnTo>
                  <a:lnTo>
                    <a:pt x="951" y="107"/>
                  </a:lnTo>
                  <a:lnTo>
                    <a:pt x="953" y="109"/>
                  </a:lnTo>
                  <a:lnTo>
                    <a:pt x="956" y="110"/>
                  </a:lnTo>
                  <a:lnTo>
                    <a:pt x="964" y="111"/>
                  </a:lnTo>
                  <a:lnTo>
                    <a:pt x="966" y="113"/>
                  </a:lnTo>
                  <a:lnTo>
                    <a:pt x="969" y="114"/>
                  </a:lnTo>
                  <a:lnTo>
                    <a:pt x="969" y="115"/>
                  </a:lnTo>
                  <a:lnTo>
                    <a:pt x="967" y="116"/>
                  </a:lnTo>
                  <a:lnTo>
                    <a:pt x="964" y="117"/>
                  </a:lnTo>
                  <a:lnTo>
                    <a:pt x="955" y="117"/>
                  </a:lnTo>
                  <a:lnTo>
                    <a:pt x="950" y="117"/>
                  </a:lnTo>
                  <a:lnTo>
                    <a:pt x="945" y="119"/>
                  </a:lnTo>
                  <a:lnTo>
                    <a:pt x="942" y="119"/>
                  </a:lnTo>
                  <a:lnTo>
                    <a:pt x="941" y="117"/>
                  </a:lnTo>
                  <a:lnTo>
                    <a:pt x="936" y="115"/>
                  </a:lnTo>
                  <a:lnTo>
                    <a:pt x="932" y="115"/>
                  </a:lnTo>
                  <a:lnTo>
                    <a:pt x="928" y="116"/>
                  </a:lnTo>
                  <a:lnTo>
                    <a:pt x="924" y="116"/>
                  </a:lnTo>
                  <a:lnTo>
                    <a:pt x="920" y="116"/>
                  </a:lnTo>
                  <a:lnTo>
                    <a:pt x="913" y="113"/>
                  </a:lnTo>
                  <a:lnTo>
                    <a:pt x="909" y="111"/>
                  </a:lnTo>
                  <a:lnTo>
                    <a:pt x="906" y="111"/>
                  </a:lnTo>
                  <a:lnTo>
                    <a:pt x="905" y="113"/>
                  </a:lnTo>
                  <a:lnTo>
                    <a:pt x="904" y="115"/>
                  </a:lnTo>
                  <a:lnTo>
                    <a:pt x="905" y="119"/>
                  </a:lnTo>
                  <a:lnTo>
                    <a:pt x="908" y="121"/>
                  </a:lnTo>
                  <a:lnTo>
                    <a:pt x="909" y="125"/>
                  </a:lnTo>
                  <a:lnTo>
                    <a:pt x="913" y="132"/>
                  </a:lnTo>
                  <a:lnTo>
                    <a:pt x="915" y="134"/>
                  </a:lnTo>
                  <a:lnTo>
                    <a:pt x="919" y="134"/>
                  </a:lnTo>
                  <a:lnTo>
                    <a:pt x="931" y="130"/>
                  </a:lnTo>
                  <a:lnTo>
                    <a:pt x="937" y="129"/>
                  </a:lnTo>
                  <a:lnTo>
                    <a:pt x="942" y="129"/>
                  </a:lnTo>
                  <a:lnTo>
                    <a:pt x="946" y="129"/>
                  </a:lnTo>
                  <a:lnTo>
                    <a:pt x="947" y="132"/>
                  </a:lnTo>
                  <a:lnTo>
                    <a:pt x="947" y="134"/>
                  </a:lnTo>
                  <a:lnTo>
                    <a:pt x="946" y="135"/>
                  </a:lnTo>
                  <a:lnTo>
                    <a:pt x="942" y="135"/>
                  </a:lnTo>
                  <a:lnTo>
                    <a:pt x="940" y="138"/>
                  </a:lnTo>
                  <a:lnTo>
                    <a:pt x="937" y="140"/>
                  </a:lnTo>
                  <a:lnTo>
                    <a:pt x="936" y="143"/>
                  </a:lnTo>
                  <a:lnTo>
                    <a:pt x="934" y="145"/>
                  </a:lnTo>
                  <a:lnTo>
                    <a:pt x="933" y="145"/>
                  </a:lnTo>
                  <a:lnTo>
                    <a:pt x="929" y="146"/>
                  </a:lnTo>
                  <a:lnTo>
                    <a:pt x="926" y="147"/>
                  </a:lnTo>
                  <a:lnTo>
                    <a:pt x="924" y="147"/>
                  </a:lnTo>
                  <a:lnTo>
                    <a:pt x="924" y="148"/>
                  </a:lnTo>
                  <a:lnTo>
                    <a:pt x="922" y="152"/>
                  </a:lnTo>
                  <a:lnTo>
                    <a:pt x="920" y="154"/>
                  </a:lnTo>
                  <a:lnTo>
                    <a:pt x="917" y="159"/>
                  </a:lnTo>
                  <a:lnTo>
                    <a:pt x="915" y="161"/>
                  </a:lnTo>
                  <a:lnTo>
                    <a:pt x="915" y="164"/>
                  </a:lnTo>
                  <a:lnTo>
                    <a:pt x="917" y="167"/>
                  </a:lnTo>
                  <a:lnTo>
                    <a:pt x="918" y="172"/>
                  </a:lnTo>
                  <a:lnTo>
                    <a:pt x="918" y="176"/>
                  </a:lnTo>
                  <a:lnTo>
                    <a:pt x="914" y="189"/>
                  </a:lnTo>
                  <a:lnTo>
                    <a:pt x="914" y="194"/>
                  </a:lnTo>
                  <a:lnTo>
                    <a:pt x="914" y="197"/>
                  </a:lnTo>
                  <a:lnTo>
                    <a:pt x="917" y="200"/>
                  </a:lnTo>
                  <a:lnTo>
                    <a:pt x="918" y="203"/>
                  </a:lnTo>
                  <a:lnTo>
                    <a:pt x="918" y="206"/>
                  </a:lnTo>
                  <a:lnTo>
                    <a:pt x="917" y="210"/>
                  </a:lnTo>
                  <a:lnTo>
                    <a:pt x="915" y="210"/>
                  </a:lnTo>
                  <a:lnTo>
                    <a:pt x="913" y="210"/>
                  </a:lnTo>
                  <a:lnTo>
                    <a:pt x="910" y="209"/>
                  </a:lnTo>
                  <a:lnTo>
                    <a:pt x="906" y="206"/>
                  </a:lnTo>
                  <a:lnTo>
                    <a:pt x="904" y="206"/>
                  </a:lnTo>
                  <a:lnTo>
                    <a:pt x="901" y="208"/>
                  </a:lnTo>
                  <a:lnTo>
                    <a:pt x="900" y="210"/>
                  </a:lnTo>
                  <a:lnTo>
                    <a:pt x="900" y="212"/>
                  </a:lnTo>
                  <a:lnTo>
                    <a:pt x="901" y="216"/>
                  </a:lnTo>
                  <a:lnTo>
                    <a:pt x="905" y="218"/>
                  </a:lnTo>
                  <a:lnTo>
                    <a:pt x="908" y="219"/>
                  </a:lnTo>
                  <a:lnTo>
                    <a:pt x="912" y="221"/>
                  </a:lnTo>
                  <a:lnTo>
                    <a:pt x="920" y="221"/>
                  </a:lnTo>
                  <a:lnTo>
                    <a:pt x="928" y="219"/>
                  </a:lnTo>
                  <a:lnTo>
                    <a:pt x="931" y="219"/>
                  </a:lnTo>
                  <a:lnTo>
                    <a:pt x="932" y="221"/>
                  </a:lnTo>
                  <a:lnTo>
                    <a:pt x="933" y="225"/>
                  </a:lnTo>
                  <a:lnTo>
                    <a:pt x="932" y="230"/>
                  </a:lnTo>
                  <a:lnTo>
                    <a:pt x="931" y="234"/>
                  </a:lnTo>
                  <a:lnTo>
                    <a:pt x="928" y="236"/>
                  </a:lnTo>
                  <a:lnTo>
                    <a:pt x="924" y="237"/>
                  </a:lnTo>
                  <a:lnTo>
                    <a:pt x="920" y="237"/>
                  </a:lnTo>
                  <a:lnTo>
                    <a:pt x="917" y="236"/>
                  </a:lnTo>
                  <a:lnTo>
                    <a:pt x="909" y="231"/>
                  </a:lnTo>
                  <a:lnTo>
                    <a:pt x="901" y="226"/>
                  </a:lnTo>
                  <a:lnTo>
                    <a:pt x="900" y="226"/>
                  </a:lnTo>
                  <a:lnTo>
                    <a:pt x="898" y="228"/>
                  </a:lnTo>
                  <a:lnTo>
                    <a:pt x="894" y="230"/>
                  </a:lnTo>
                  <a:lnTo>
                    <a:pt x="890" y="235"/>
                  </a:lnTo>
                  <a:lnTo>
                    <a:pt x="889" y="237"/>
                  </a:lnTo>
                  <a:lnTo>
                    <a:pt x="889" y="240"/>
                  </a:lnTo>
                  <a:lnTo>
                    <a:pt x="891" y="244"/>
                  </a:lnTo>
                  <a:lnTo>
                    <a:pt x="894" y="248"/>
                  </a:lnTo>
                  <a:lnTo>
                    <a:pt x="899" y="251"/>
                  </a:lnTo>
                  <a:lnTo>
                    <a:pt x="904" y="254"/>
                  </a:lnTo>
                  <a:lnTo>
                    <a:pt x="905" y="255"/>
                  </a:lnTo>
                  <a:lnTo>
                    <a:pt x="906" y="257"/>
                  </a:lnTo>
                  <a:lnTo>
                    <a:pt x="905" y="257"/>
                  </a:lnTo>
                  <a:lnTo>
                    <a:pt x="903" y="258"/>
                  </a:lnTo>
                  <a:lnTo>
                    <a:pt x="900" y="258"/>
                  </a:lnTo>
                  <a:lnTo>
                    <a:pt x="895" y="258"/>
                  </a:lnTo>
                  <a:lnTo>
                    <a:pt x="890" y="257"/>
                  </a:lnTo>
                  <a:lnTo>
                    <a:pt x="885" y="257"/>
                  </a:lnTo>
                  <a:lnTo>
                    <a:pt x="884" y="258"/>
                  </a:lnTo>
                  <a:lnTo>
                    <a:pt x="882" y="261"/>
                  </a:lnTo>
                  <a:lnTo>
                    <a:pt x="884" y="262"/>
                  </a:lnTo>
                  <a:lnTo>
                    <a:pt x="885" y="263"/>
                  </a:lnTo>
                  <a:lnTo>
                    <a:pt x="894" y="266"/>
                  </a:lnTo>
                  <a:lnTo>
                    <a:pt x="899" y="267"/>
                  </a:lnTo>
                  <a:lnTo>
                    <a:pt x="903" y="269"/>
                  </a:lnTo>
                  <a:lnTo>
                    <a:pt x="905" y="270"/>
                  </a:lnTo>
                  <a:lnTo>
                    <a:pt x="908" y="270"/>
                  </a:lnTo>
                  <a:lnTo>
                    <a:pt x="910" y="274"/>
                  </a:lnTo>
                  <a:lnTo>
                    <a:pt x="912" y="276"/>
                  </a:lnTo>
                  <a:lnTo>
                    <a:pt x="912" y="282"/>
                  </a:lnTo>
                  <a:lnTo>
                    <a:pt x="910" y="285"/>
                  </a:lnTo>
                  <a:lnTo>
                    <a:pt x="909" y="286"/>
                  </a:lnTo>
                  <a:lnTo>
                    <a:pt x="908" y="286"/>
                  </a:lnTo>
                  <a:lnTo>
                    <a:pt x="905" y="285"/>
                  </a:lnTo>
                  <a:lnTo>
                    <a:pt x="901" y="282"/>
                  </a:lnTo>
                  <a:lnTo>
                    <a:pt x="899" y="280"/>
                  </a:lnTo>
                  <a:lnTo>
                    <a:pt x="894" y="279"/>
                  </a:lnTo>
                  <a:lnTo>
                    <a:pt x="891" y="277"/>
                  </a:lnTo>
                  <a:lnTo>
                    <a:pt x="887" y="275"/>
                  </a:lnTo>
                  <a:lnTo>
                    <a:pt x="885" y="273"/>
                  </a:lnTo>
                  <a:lnTo>
                    <a:pt x="882" y="272"/>
                  </a:lnTo>
                  <a:lnTo>
                    <a:pt x="881" y="273"/>
                  </a:lnTo>
                  <a:lnTo>
                    <a:pt x="881" y="275"/>
                  </a:lnTo>
                  <a:lnTo>
                    <a:pt x="881" y="276"/>
                  </a:lnTo>
                  <a:lnTo>
                    <a:pt x="882" y="277"/>
                  </a:lnTo>
                  <a:lnTo>
                    <a:pt x="887" y="281"/>
                  </a:lnTo>
                  <a:lnTo>
                    <a:pt x="891" y="286"/>
                  </a:lnTo>
                  <a:lnTo>
                    <a:pt x="891" y="291"/>
                  </a:lnTo>
                  <a:lnTo>
                    <a:pt x="891" y="296"/>
                  </a:lnTo>
                  <a:lnTo>
                    <a:pt x="891" y="298"/>
                  </a:lnTo>
                  <a:lnTo>
                    <a:pt x="893" y="299"/>
                  </a:lnTo>
                  <a:lnTo>
                    <a:pt x="896" y="300"/>
                  </a:lnTo>
                  <a:lnTo>
                    <a:pt x="901" y="300"/>
                  </a:lnTo>
                  <a:lnTo>
                    <a:pt x="906" y="301"/>
                  </a:lnTo>
                  <a:lnTo>
                    <a:pt x="912" y="302"/>
                  </a:lnTo>
                  <a:lnTo>
                    <a:pt x="912" y="304"/>
                  </a:lnTo>
                  <a:lnTo>
                    <a:pt x="912" y="306"/>
                  </a:lnTo>
                  <a:lnTo>
                    <a:pt x="908" y="308"/>
                  </a:lnTo>
                  <a:lnTo>
                    <a:pt x="905" y="308"/>
                  </a:lnTo>
                  <a:lnTo>
                    <a:pt x="901" y="307"/>
                  </a:lnTo>
                  <a:lnTo>
                    <a:pt x="899" y="306"/>
                  </a:lnTo>
                  <a:lnTo>
                    <a:pt x="895" y="306"/>
                  </a:lnTo>
                  <a:lnTo>
                    <a:pt x="893" y="307"/>
                  </a:lnTo>
                  <a:lnTo>
                    <a:pt x="886" y="306"/>
                  </a:lnTo>
                  <a:lnTo>
                    <a:pt x="884" y="306"/>
                  </a:lnTo>
                  <a:lnTo>
                    <a:pt x="882" y="308"/>
                  </a:lnTo>
                  <a:lnTo>
                    <a:pt x="879" y="317"/>
                  </a:lnTo>
                  <a:lnTo>
                    <a:pt x="879" y="320"/>
                  </a:lnTo>
                  <a:lnTo>
                    <a:pt x="880" y="321"/>
                  </a:lnTo>
                  <a:lnTo>
                    <a:pt x="881" y="323"/>
                  </a:lnTo>
                  <a:lnTo>
                    <a:pt x="885" y="323"/>
                  </a:lnTo>
                  <a:lnTo>
                    <a:pt x="887" y="325"/>
                  </a:lnTo>
                  <a:lnTo>
                    <a:pt x="890" y="328"/>
                  </a:lnTo>
                  <a:lnTo>
                    <a:pt x="890" y="333"/>
                  </a:lnTo>
                  <a:lnTo>
                    <a:pt x="890" y="337"/>
                  </a:lnTo>
                  <a:lnTo>
                    <a:pt x="889" y="339"/>
                  </a:lnTo>
                  <a:lnTo>
                    <a:pt x="887" y="339"/>
                  </a:lnTo>
                  <a:lnTo>
                    <a:pt x="885" y="340"/>
                  </a:lnTo>
                  <a:lnTo>
                    <a:pt x="882" y="339"/>
                  </a:lnTo>
                  <a:lnTo>
                    <a:pt x="879" y="337"/>
                  </a:lnTo>
                  <a:lnTo>
                    <a:pt x="873" y="336"/>
                  </a:lnTo>
                  <a:lnTo>
                    <a:pt x="871" y="336"/>
                  </a:lnTo>
                  <a:lnTo>
                    <a:pt x="868" y="337"/>
                  </a:lnTo>
                  <a:lnTo>
                    <a:pt x="863" y="340"/>
                  </a:lnTo>
                  <a:lnTo>
                    <a:pt x="860" y="341"/>
                  </a:lnTo>
                  <a:lnTo>
                    <a:pt x="854" y="343"/>
                  </a:lnTo>
                  <a:lnTo>
                    <a:pt x="853" y="341"/>
                  </a:lnTo>
                  <a:lnTo>
                    <a:pt x="851" y="340"/>
                  </a:lnTo>
                  <a:lnTo>
                    <a:pt x="847" y="337"/>
                  </a:lnTo>
                  <a:lnTo>
                    <a:pt x="843" y="334"/>
                  </a:lnTo>
                  <a:lnTo>
                    <a:pt x="839" y="332"/>
                  </a:lnTo>
                  <a:lnTo>
                    <a:pt x="835" y="328"/>
                  </a:lnTo>
                  <a:lnTo>
                    <a:pt x="834" y="325"/>
                  </a:lnTo>
                  <a:lnTo>
                    <a:pt x="834" y="324"/>
                  </a:lnTo>
                  <a:lnTo>
                    <a:pt x="835" y="324"/>
                  </a:lnTo>
                  <a:lnTo>
                    <a:pt x="842" y="321"/>
                  </a:lnTo>
                  <a:lnTo>
                    <a:pt x="844" y="319"/>
                  </a:lnTo>
                  <a:lnTo>
                    <a:pt x="846" y="317"/>
                  </a:lnTo>
                  <a:lnTo>
                    <a:pt x="844" y="315"/>
                  </a:lnTo>
                  <a:lnTo>
                    <a:pt x="842" y="315"/>
                  </a:lnTo>
                  <a:lnTo>
                    <a:pt x="833" y="317"/>
                  </a:lnTo>
                  <a:lnTo>
                    <a:pt x="823" y="318"/>
                  </a:lnTo>
                  <a:lnTo>
                    <a:pt x="821" y="318"/>
                  </a:lnTo>
                  <a:lnTo>
                    <a:pt x="821" y="319"/>
                  </a:lnTo>
                  <a:lnTo>
                    <a:pt x="820" y="321"/>
                  </a:lnTo>
                  <a:lnTo>
                    <a:pt x="818" y="323"/>
                  </a:lnTo>
                  <a:lnTo>
                    <a:pt x="814" y="323"/>
                  </a:lnTo>
                  <a:lnTo>
                    <a:pt x="811" y="323"/>
                  </a:lnTo>
                  <a:lnTo>
                    <a:pt x="810" y="323"/>
                  </a:lnTo>
                  <a:lnTo>
                    <a:pt x="809" y="325"/>
                  </a:lnTo>
                  <a:lnTo>
                    <a:pt x="807" y="328"/>
                  </a:lnTo>
                  <a:lnTo>
                    <a:pt x="805" y="332"/>
                  </a:lnTo>
                  <a:lnTo>
                    <a:pt x="797" y="337"/>
                  </a:lnTo>
                  <a:lnTo>
                    <a:pt x="796" y="339"/>
                  </a:lnTo>
                  <a:lnTo>
                    <a:pt x="796" y="341"/>
                  </a:lnTo>
                  <a:lnTo>
                    <a:pt x="797" y="345"/>
                  </a:lnTo>
                  <a:lnTo>
                    <a:pt x="800" y="346"/>
                  </a:lnTo>
                  <a:lnTo>
                    <a:pt x="807" y="349"/>
                  </a:lnTo>
                  <a:lnTo>
                    <a:pt x="809" y="351"/>
                  </a:lnTo>
                  <a:lnTo>
                    <a:pt x="809" y="352"/>
                  </a:lnTo>
                  <a:lnTo>
                    <a:pt x="809" y="353"/>
                  </a:lnTo>
                  <a:lnTo>
                    <a:pt x="807" y="355"/>
                  </a:lnTo>
                  <a:lnTo>
                    <a:pt x="807" y="356"/>
                  </a:lnTo>
                  <a:lnTo>
                    <a:pt x="809" y="357"/>
                  </a:lnTo>
                  <a:lnTo>
                    <a:pt x="811" y="358"/>
                  </a:lnTo>
                  <a:lnTo>
                    <a:pt x="815" y="358"/>
                  </a:lnTo>
                  <a:lnTo>
                    <a:pt x="815" y="360"/>
                  </a:lnTo>
                  <a:lnTo>
                    <a:pt x="813" y="363"/>
                  </a:lnTo>
                  <a:lnTo>
                    <a:pt x="807" y="364"/>
                  </a:lnTo>
                  <a:lnTo>
                    <a:pt x="805" y="366"/>
                  </a:lnTo>
                  <a:lnTo>
                    <a:pt x="804" y="368"/>
                  </a:lnTo>
                  <a:lnTo>
                    <a:pt x="802" y="370"/>
                  </a:lnTo>
                  <a:lnTo>
                    <a:pt x="805" y="373"/>
                  </a:lnTo>
                  <a:lnTo>
                    <a:pt x="807" y="377"/>
                  </a:lnTo>
                  <a:lnTo>
                    <a:pt x="809" y="378"/>
                  </a:lnTo>
                  <a:lnTo>
                    <a:pt x="810" y="378"/>
                  </a:lnTo>
                  <a:lnTo>
                    <a:pt x="810" y="379"/>
                  </a:lnTo>
                  <a:lnTo>
                    <a:pt x="813" y="376"/>
                  </a:lnTo>
                  <a:lnTo>
                    <a:pt x="815" y="373"/>
                  </a:lnTo>
                  <a:lnTo>
                    <a:pt x="819" y="372"/>
                  </a:lnTo>
                  <a:lnTo>
                    <a:pt x="823" y="373"/>
                  </a:lnTo>
                  <a:lnTo>
                    <a:pt x="828" y="376"/>
                  </a:lnTo>
                  <a:lnTo>
                    <a:pt x="833" y="376"/>
                  </a:lnTo>
                  <a:lnTo>
                    <a:pt x="843" y="375"/>
                  </a:lnTo>
                  <a:lnTo>
                    <a:pt x="844" y="376"/>
                  </a:lnTo>
                  <a:lnTo>
                    <a:pt x="846" y="377"/>
                  </a:lnTo>
                  <a:lnTo>
                    <a:pt x="847" y="379"/>
                  </a:lnTo>
                  <a:lnTo>
                    <a:pt x="848" y="384"/>
                  </a:lnTo>
                  <a:lnTo>
                    <a:pt x="849" y="387"/>
                  </a:lnTo>
                  <a:lnTo>
                    <a:pt x="851" y="387"/>
                  </a:lnTo>
                  <a:lnTo>
                    <a:pt x="853" y="387"/>
                  </a:lnTo>
                  <a:lnTo>
                    <a:pt x="854" y="385"/>
                  </a:lnTo>
                  <a:lnTo>
                    <a:pt x="856" y="384"/>
                  </a:lnTo>
                  <a:lnTo>
                    <a:pt x="857" y="385"/>
                  </a:lnTo>
                  <a:lnTo>
                    <a:pt x="857" y="387"/>
                  </a:lnTo>
                  <a:lnTo>
                    <a:pt x="858" y="389"/>
                  </a:lnTo>
                  <a:lnTo>
                    <a:pt x="860" y="390"/>
                  </a:lnTo>
                  <a:lnTo>
                    <a:pt x="862" y="390"/>
                  </a:lnTo>
                  <a:lnTo>
                    <a:pt x="863" y="390"/>
                  </a:lnTo>
                  <a:lnTo>
                    <a:pt x="868" y="388"/>
                  </a:lnTo>
                  <a:lnTo>
                    <a:pt x="870" y="388"/>
                  </a:lnTo>
                  <a:lnTo>
                    <a:pt x="871" y="389"/>
                  </a:lnTo>
                  <a:lnTo>
                    <a:pt x="872" y="391"/>
                  </a:lnTo>
                  <a:lnTo>
                    <a:pt x="872" y="392"/>
                  </a:lnTo>
                  <a:lnTo>
                    <a:pt x="870" y="395"/>
                  </a:lnTo>
                  <a:lnTo>
                    <a:pt x="868" y="395"/>
                  </a:lnTo>
                  <a:lnTo>
                    <a:pt x="868" y="396"/>
                  </a:lnTo>
                  <a:lnTo>
                    <a:pt x="871" y="404"/>
                  </a:lnTo>
                  <a:lnTo>
                    <a:pt x="871" y="408"/>
                  </a:lnTo>
                  <a:lnTo>
                    <a:pt x="871" y="413"/>
                  </a:lnTo>
                  <a:lnTo>
                    <a:pt x="870" y="414"/>
                  </a:lnTo>
                  <a:lnTo>
                    <a:pt x="870" y="419"/>
                  </a:lnTo>
                  <a:lnTo>
                    <a:pt x="868" y="422"/>
                  </a:lnTo>
                  <a:lnTo>
                    <a:pt x="866" y="424"/>
                  </a:lnTo>
                  <a:lnTo>
                    <a:pt x="863" y="427"/>
                  </a:lnTo>
                  <a:lnTo>
                    <a:pt x="861" y="426"/>
                  </a:lnTo>
                  <a:lnTo>
                    <a:pt x="858" y="424"/>
                  </a:lnTo>
                  <a:lnTo>
                    <a:pt x="854" y="419"/>
                  </a:lnTo>
                  <a:lnTo>
                    <a:pt x="853" y="417"/>
                  </a:lnTo>
                  <a:lnTo>
                    <a:pt x="851" y="419"/>
                  </a:lnTo>
                  <a:lnTo>
                    <a:pt x="844" y="422"/>
                  </a:lnTo>
                  <a:lnTo>
                    <a:pt x="839" y="423"/>
                  </a:lnTo>
                  <a:lnTo>
                    <a:pt x="835" y="422"/>
                  </a:lnTo>
                  <a:lnTo>
                    <a:pt x="832" y="419"/>
                  </a:lnTo>
                  <a:lnTo>
                    <a:pt x="828" y="411"/>
                  </a:lnTo>
                  <a:lnTo>
                    <a:pt x="825" y="407"/>
                  </a:lnTo>
                  <a:lnTo>
                    <a:pt x="824" y="404"/>
                  </a:lnTo>
                  <a:lnTo>
                    <a:pt x="821" y="403"/>
                  </a:lnTo>
                  <a:lnTo>
                    <a:pt x="819" y="403"/>
                  </a:lnTo>
                  <a:lnTo>
                    <a:pt x="818" y="403"/>
                  </a:lnTo>
                  <a:lnTo>
                    <a:pt x="815" y="402"/>
                  </a:lnTo>
                  <a:lnTo>
                    <a:pt x="813" y="400"/>
                  </a:lnTo>
                  <a:lnTo>
                    <a:pt x="811" y="397"/>
                  </a:lnTo>
                  <a:lnTo>
                    <a:pt x="810" y="394"/>
                  </a:lnTo>
                  <a:lnTo>
                    <a:pt x="806" y="391"/>
                  </a:lnTo>
                  <a:lnTo>
                    <a:pt x="802" y="389"/>
                  </a:lnTo>
                  <a:lnTo>
                    <a:pt x="799" y="389"/>
                  </a:lnTo>
                  <a:lnTo>
                    <a:pt x="791" y="389"/>
                  </a:lnTo>
                  <a:lnTo>
                    <a:pt x="787" y="389"/>
                  </a:lnTo>
                  <a:lnTo>
                    <a:pt x="785" y="387"/>
                  </a:lnTo>
                  <a:lnTo>
                    <a:pt x="781" y="383"/>
                  </a:lnTo>
                  <a:lnTo>
                    <a:pt x="778" y="377"/>
                  </a:lnTo>
                  <a:lnTo>
                    <a:pt x="777" y="375"/>
                  </a:lnTo>
                  <a:lnTo>
                    <a:pt x="774" y="373"/>
                  </a:lnTo>
                  <a:lnTo>
                    <a:pt x="773" y="375"/>
                  </a:lnTo>
                  <a:lnTo>
                    <a:pt x="772" y="377"/>
                  </a:lnTo>
                  <a:lnTo>
                    <a:pt x="773" y="381"/>
                  </a:lnTo>
                  <a:lnTo>
                    <a:pt x="773" y="383"/>
                  </a:lnTo>
                  <a:lnTo>
                    <a:pt x="773" y="385"/>
                  </a:lnTo>
                  <a:lnTo>
                    <a:pt x="771" y="387"/>
                  </a:lnTo>
                  <a:lnTo>
                    <a:pt x="768" y="389"/>
                  </a:lnTo>
                  <a:lnTo>
                    <a:pt x="768" y="391"/>
                  </a:lnTo>
                  <a:lnTo>
                    <a:pt x="772" y="392"/>
                  </a:lnTo>
                  <a:lnTo>
                    <a:pt x="777" y="394"/>
                  </a:lnTo>
                  <a:lnTo>
                    <a:pt x="785" y="395"/>
                  </a:lnTo>
                  <a:lnTo>
                    <a:pt x="791" y="397"/>
                  </a:lnTo>
                  <a:lnTo>
                    <a:pt x="797" y="398"/>
                  </a:lnTo>
                  <a:lnTo>
                    <a:pt x="799" y="400"/>
                  </a:lnTo>
                  <a:lnTo>
                    <a:pt x="799" y="403"/>
                  </a:lnTo>
                  <a:lnTo>
                    <a:pt x="796" y="407"/>
                  </a:lnTo>
                  <a:lnTo>
                    <a:pt x="792" y="409"/>
                  </a:lnTo>
                  <a:lnTo>
                    <a:pt x="783" y="410"/>
                  </a:lnTo>
                  <a:lnTo>
                    <a:pt x="782" y="413"/>
                  </a:lnTo>
                  <a:lnTo>
                    <a:pt x="781" y="415"/>
                  </a:lnTo>
                  <a:lnTo>
                    <a:pt x="778" y="416"/>
                  </a:lnTo>
                  <a:lnTo>
                    <a:pt x="776" y="416"/>
                  </a:lnTo>
                  <a:lnTo>
                    <a:pt x="773" y="417"/>
                  </a:lnTo>
                  <a:lnTo>
                    <a:pt x="771" y="419"/>
                  </a:lnTo>
                  <a:lnTo>
                    <a:pt x="772" y="421"/>
                  </a:lnTo>
                  <a:lnTo>
                    <a:pt x="773" y="422"/>
                  </a:lnTo>
                  <a:lnTo>
                    <a:pt x="776" y="424"/>
                  </a:lnTo>
                  <a:lnTo>
                    <a:pt x="776" y="426"/>
                  </a:lnTo>
                  <a:lnTo>
                    <a:pt x="776" y="427"/>
                  </a:lnTo>
                  <a:lnTo>
                    <a:pt x="773" y="430"/>
                  </a:lnTo>
                  <a:lnTo>
                    <a:pt x="771" y="433"/>
                  </a:lnTo>
                  <a:lnTo>
                    <a:pt x="768" y="436"/>
                  </a:lnTo>
                  <a:lnTo>
                    <a:pt x="768" y="438"/>
                  </a:lnTo>
                  <a:lnTo>
                    <a:pt x="771" y="439"/>
                  </a:lnTo>
                  <a:lnTo>
                    <a:pt x="776" y="439"/>
                  </a:lnTo>
                  <a:lnTo>
                    <a:pt x="778" y="438"/>
                  </a:lnTo>
                  <a:lnTo>
                    <a:pt x="788" y="438"/>
                  </a:lnTo>
                  <a:lnTo>
                    <a:pt x="797" y="435"/>
                  </a:lnTo>
                  <a:lnTo>
                    <a:pt x="806" y="433"/>
                  </a:lnTo>
                  <a:lnTo>
                    <a:pt x="815" y="428"/>
                  </a:lnTo>
                  <a:lnTo>
                    <a:pt x="816" y="428"/>
                  </a:lnTo>
                  <a:lnTo>
                    <a:pt x="819" y="428"/>
                  </a:lnTo>
                  <a:lnTo>
                    <a:pt x="823" y="432"/>
                  </a:lnTo>
                  <a:lnTo>
                    <a:pt x="828" y="433"/>
                  </a:lnTo>
                  <a:lnTo>
                    <a:pt x="837" y="435"/>
                  </a:lnTo>
                  <a:lnTo>
                    <a:pt x="856" y="435"/>
                  </a:lnTo>
                  <a:lnTo>
                    <a:pt x="857" y="436"/>
                  </a:lnTo>
                  <a:lnTo>
                    <a:pt x="857" y="438"/>
                  </a:lnTo>
                  <a:lnTo>
                    <a:pt x="839" y="443"/>
                  </a:lnTo>
                  <a:lnTo>
                    <a:pt x="830" y="448"/>
                  </a:lnTo>
                  <a:lnTo>
                    <a:pt x="823" y="453"/>
                  </a:lnTo>
                  <a:lnTo>
                    <a:pt x="819" y="455"/>
                  </a:lnTo>
                  <a:lnTo>
                    <a:pt x="813" y="458"/>
                  </a:lnTo>
                  <a:lnTo>
                    <a:pt x="811" y="460"/>
                  </a:lnTo>
                  <a:lnTo>
                    <a:pt x="809" y="462"/>
                  </a:lnTo>
                  <a:lnTo>
                    <a:pt x="807" y="466"/>
                  </a:lnTo>
                  <a:lnTo>
                    <a:pt x="805" y="467"/>
                  </a:lnTo>
                  <a:lnTo>
                    <a:pt x="786" y="475"/>
                  </a:lnTo>
                  <a:lnTo>
                    <a:pt x="767" y="483"/>
                  </a:lnTo>
                  <a:lnTo>
                    <a:pt x="753" y="487"/>
                  </a:lnTo>
                  <a:lnTo>
                    <a:pt x="738" y="491"/>
                  </a:lnTo>
                  <a:lnTo>
                    <a:pt x="731" y="492"/>
                  </a:lnTo>
                  <a:lnTo>
                    <a:pt x="726" y="492"/>
                  </a:lnTo>
                  <a:lnTo>
                    <a:pt x="720" y="491"/>
                  </a:lnTo>
                  <a:lnTo>
                    <a:pt x="715" y="488"/>
                  </a:lnTo>
                  <a:lnTo>
                    <a:pt x="710" y="486"/>
                  </a:lnTo>
                  <a:lnTo>
                    <a:pt x="706" y="481"/>
                  </a:lnTo>
                  <a:lnTo>
                    <a:pt x="703" y="477"/>
                  </a:lnTo>
                  <a:lnTo>
                    <a:pt x="702" y="470"/>
                  </a:lnTo>
                  <a:lnTo>
                    <a:pt x="701" y="468"/>
                  </a:lnTo>
                  <a:lnTo>
                    <a:pt x="698" y="467"/>
                  </a:lnTo>
                  <a:lnTo>
                    <a:pt x="697" y="468"/>
                  </a:lnTo>
                  <a:lnTo>
                    <a:pt x="696" y="470"/>
                  </a:lnTo>
                  <a:lnTo>
                    <a:pt x="696" y="473"/>
                  </a:lnTo>
                  <a:lnTo>
                    <a:pt x="697" y="478"/>
                  </a:lnTo>
                  <a:lnTo>
                    <a:pt x="700" y="484"/>
                  </a:lnTo>
                  <a:lnTo>
                    <a:pt x="702" y="488"/>
                  </a:lnTo>
                  <a:lnTo>
                    <a:pt x="702" y="492"/>
                  </a:lnTo>
                  <a:lnTo>
                    <a:pt x="701" y="494"/>
                  </a:lnTo>
                  <a:lnTo>
                    <a:pt x="698" y="497"/>
                  </a:lnTo>
                  <a:lnTo>
                    <a:pt x="694" y="498"/>
                  </a:lnTo>
                  <a:lnTo>
                    <a:pt x="689" y="500"/>
                  </a:lnTo>
                  <a:lnTo>
                    <a:pt x="687" y="503"/>
                  </a:lnTo>
                  <a:lnTo>
                    <a:pt x="682" y="507"/>
                  </a:lnTo>
                  <a:lnTo>
                    <a:pt x="675" y="512"/>
                  </a:lnTo>
                  <a:lnTo>
                    <a:pt x="670" y="517"/>
                  </a:lnTo>
                  <a:lnTo>
                    <a:pt x="666" y="523"/>
                  </a:lnTo>
                  <a:lnTo>
                    <a:pt x="663" y="529"/>
                  </a:lnTo>
                  <a:lnTo>
                    <a:pt x="661" y="532"/>
                  </a:lnTo>
                  <a:lnTo>
                    <a:pt x="659" y="536"/>
                  </a:lnTo>
                  <a:lnTo>
                    <a:pt x="655" y="541"/>
                  </a:lnTo>
                  <a:lnTo>
                    <a:pt x="653" y="543"/>
                  </a:lnTo>
                  <a:lnTo>
                    <a:pt x="650" y="544"/>
                  </a:lnTo>
                  <a:lnTo>
                    <a:pt x="647" y="544"/>
                  </a:lnTo>
                  <a:lnTo>
                    <a:pt x="644" y="544"/>
                  </a:lnTo>
                  <a:lnTo>
                    <a:pt x="641" y="544"/>
                  </a:lnTo>
                  <a:lnTo>
                    <a:pt x="639" y="545"/>
                  </a:lnTo>
                  <a:lnTo>
                    <a:pt x="639" y="549"/>
                  </a:lnTo>
                  <a:lnTo>
                    <a:pt x="639" y="554"/>
                  </a:lnTo>
                  <a:lnTo>
                    <a:pt x="637" y="556"/>
                  </a:lnTo>
                  <a:lnTo>
                    <a:pt x="636" y="557"/>
                  </a:lnTo>
                  <a:lnTo>
                    <a:pt x="633" y="557"/>
                  </a:lnTo>
                  <a:lnTo>
                    <a:pt x="627" y="555"/>
                  </a:lnTo>
                  <a:lnTo>
                    <a:pt x="623" y="555"/>
                  </a:lnTo>
                  <a:lnTo>
                    <a:pt x="620" y="556"/>
                  </a:lnTo>
                  <a:lnTo>
                    <a:pt x="617" y="557"/>
                  </a:lnTo>
                  <a:lnTo>
                    <a:pt x="613" y="557"/>
                  </a:lnTo>
                  <a:lnTo>
                    <a:pt x="611" y="555"/>
                  </a:lnTo>
                  <a:lnTo>
                    <a:pt x="609" y="554"/>
                  </a:lnTo>
                  <a:lnTo>
                    <a:pt x="611" y="553"/>
                  </a:lnTo>
                  <a:lnTo>
                    <a:pt x="612" y="550"/>
                  </a:lnTo>
                  <a:lnTo>
                    <a:pt x="613" y="549"/>
                  </a:lnTo>
                  <a:lnTo>
                    <a:pt x="613" y="548"/>
                  </a:lnTo>
                  <a:lnTo>
                    <a:pt x="611" y="547"/>
                  </a:lnTo>
                  <a:lnTo>
                    <a:pt x="608" y="547"/>
                  </a:lnTo>
                  <a:lnTo>
                    <a:pt x="606" y="547"/>
                  </a:lnTo>
                  <a:lnTo>
                    <a:pt x="603" y="547"/>
                  </a:lnTo>
                  <a:lnTo>
                    <a:pt x="600" y="547"/>
                  </a:lnTo>
                  <a:lnTo>
                    <a:pt x="599" y="544"/>
                  </a:lnTo>
                  <a:lnTo>
                    <a:pt x="598" y="544"/>
                  </a:lnTo>
                  <a:lnTo>
                    <a:pt x="597" y="544"/>
                  </a:lnTo>
                  <a:lnTo>
                    <a:pt x="597" y="548"/>
                  </a:lnTo>
                  <a:lnTo>
                    <a:pt x="598" y="550"/>
                  </a:lnTo>
                  <a:lnTo>
                    <a:pt x="599" y="555"/>
                  </a:lnTo>
                  <a:lnTo>
                    <a:pt x="599" y="560"/>
                  </a:lnTo>
                  <a:lnTo>
                    <a:pt x="598" y="561"/>
                  </a:lnTo>
                  <a:lnTo>
                    <a:pt x="595" y="562"/>
                  </a:lnTo>
                  <a:lnTo>
                    <a:pt x="593" y="562"/>
                  </a:lnTo>
                  <a:lnTo>
                    <a:pt x="590" y="563"/>
                  </a:lnTo>
                  <a:lnTo>
                    <a:pt x="588" y="568"/>
                  </a:lnTo>
                  <a:lnTo>
                    <a:pt x="584" y="568"/>
                  </a:lnTo>
                  <a:lnTo>
                    <a:pt x="583" y="569"/>
                  </a:lnTo>
                  <a:lnTo>
                    <a:pt x="579" y="571"/>
                  </a:lnTo>
                  <a:lnTo>
                    <a:pt x="574" y="570"/>
                  </a:lnTo>
                  <a:lnTo>
                    <a:pt x="571" y="570"/>
                  </a:lnTo>
                  <a:lnTo>
                    <a:pt x="570" y="571"/>
                  </a:lnTo>
                  <a:lnTo>
                    <a:pt x="566" y="576"/>
                  </a:lnTo>
                  <a:lnTo>
                    <a:pt x="564" y="580"/>
                  </a:lnTo>
                  <a:lnTo>
                    <a:pt x="561" y="582"/>
                  </a:lnTo>
                  <a:lnTo>
                    <a:pt x="555" y="585"/>
                  </a:lnTo>
                  <a:lnTo>
                    <a:pt x="552" y="586"/>
                  </a:lnTo>
                  <a:lnTo>
                    <a:pt x="552" y="587"/>
                  </a:lnTo>
                  <a:lnTo>
                    <a:pt x="551" y="589"/>
                  </a:lnTo>
                  <a:lnTo>
                    <a:pt x="552" y="590"/>
                  </a:lnTo>
                  <a:lnTo>
                    <a:pt x="556" y="594"/>
                  </a:lnTo>
                  <a:lnTo>
                    <a:pt x="559" y="599"/>
                  </a:lnTo>
                  <a:lnTo>
                    <a:pt x="557" y="602"/>
                  </a:lnTo>
                  <a:lnTo>
                    <a:pt x="556" y="607"/>
                  </a:lnTo>
                  <a:lnTo>
                    <a:pt x="555" y="607"/>
                  </a:lnTo>
                  <a:lnTo>
                    <a:pt x="552" y="606"/>
                  </a:lnTo>
                  <a:lnTo>
                    <a:pt x="550" y="603"/>
                  </a:lnTo>
                  <a:lnTo>
                    <a:pt x="547" y="603"/>
                  </a:lnTo>
                  <a:lnTo>
                    <a:pt x="546" y="603"/>
                  </a:lnTo>
                  <a:lnTo>
                    <a:pt x="545" y="605"/>
                  </a:lnTo>
                  <a:lnTo>
                    <a:pt x="545" y="607"/>
                  </a:lnTo>
                  <a:lnTo>
                    <a:pt x="548" y="612"/>
                  </a:lnTo>
                  <a:lnTo>
                    <a:pt x="548" y="614"/>
                  </a:lnTo>
                  <a:lnTo>
                    <a:pt x="547" y="615"/>
                  </a:lnTo>
                  <a:lnTo>
                    <a:pt x="542" y="620"/>
                  </a:lnTo>
                  <a:lnTo>
                    <a:pt x="534" y="625"/>
                  </a:lnTo>
                  <a:lnTo>
                    <a:pt x="532" y="625"/>
                  </a:lnTo>
                  <a:lnTo>
                    <a:pt x="531" y="625"/>
                  </a:lnTo>
                  <a:lnTo>
                    <a:pt x="529" y="626"/>
                  </a:lnTo>
                  <a:lnTo>
                    <a:pt x="528" y="628"/>
                  </a:lnTo>
                  <a:lnTo>
                    <a:pt x="528" y="632"/>
                  </a:lnTo>
                  <a:lnTo>
                    <a:pt x="529" y="636"/>
                  </a:lnTo>
                  <a:lnTo>
                    <a:pt x="529" y="639"/>
                  </a:lnTo>
                  <a:lnTo>
                    <a:pt x="527" y="641"/>
                  </a:lnTo>
                  <a:lnTo>
                    <a:pt x="526" y="644"/>
                  </a:lnTo>
                  <a:lnTo>
                    <a:pt x="524" y="645"/>
                  </a:lnTo>
                  <a:lnTo>
                    <a:pt x="523" y="649"/>
                  </a:lnTo>
                  <a:lnTo>
                    <a:pt x="522" y="653"/>
                  </a:lnTo>
                  <a:lnTo>
                    <a:pt x="523" y="658"/>
                  </a:lnTo>
                  <a:lnTo>
                    <a:pt x="523" y="663"/>
                  </a:lnTo>
                  <a:lnTo>
                    <a:pt x="523" y="669"/>
                  </a:lnTo>
                  <a:lnTo>
                    <a:pt x="522" y="672"/>
                  </a:lnTo>
                  <a:lnTo>
                    <a:pt x="518" y="677"/>
                  </a:lnTo>
                  <a:lnTo>
                    <a:pt x="514" y="682"/>
                  </a:lnTo>
                  <a:lnTo>
                    <a:pt x="513" y="685"/>
                  </a:lnTo>
                  <a:lnTo>
                    <a:pt x="513" y="690"/>
                  </a:lnTo>
                  <a:lnTo>
                    <a:pt x="513" y="694"/>
                  </a:lnTo>
                  <a:lnTo>
                    <a:pt x="512" y="696"/>
                  </a:lnTo>
                  <a:lnTo>
                    <a:pt x="509" y="698"/>
                  </a:lnTo>
                  <a:lnTo>
                    <a:pt x="503" y="702"/>
                  </a:lnTo>
                  <a:lnTo>
                    <a:pt x="494" y="707"/>
                  </a:lnTo>
                  <a:lnTo>
                    <a:pt x="494" y="708"/>
                  </a:lnTo>
                  <a:lnTo>
                    <a:pt x="494" y="710"/>
                  </a:lnTo>
                  <a:lnTo>
                    <a:pt x="496" y="711"/>
                  </a:lnTo>
                  <a:lnTo>
                    <a:pt x="498" y="711"/>
                  </a:lnTo>
                  <a:lnTo>
                    <a:pt x="501" y="711"/>
                  </a:lnTo>
                  <a:lnTo>
                    <a:pt x="506" y="710"/>
                  </a:lnTo>
                  <a:lnTo>
                    <a:pt x="510" y="711"/>
                  </a:lnTo>
                  <a:lnTo>
                    <a:pt x="512" y="711"/>
                  </a:lnTo>
                  <a:lnTo>
                    <a:pt x="513" y="711"/>
                  </a:lnTo>
                  <a:lnTo>
                    <a:pt x="512" y="713"/>
                  </a:lnTo>
                  <a:lnTo>
                    <a:pt x="506" y="716"/>
                  </a:lnTo>
                  <a:lnTo>
                    <a:pt x="501" y="718"/>
                  </a:lnTo>
                  <a:lnTo>
                    <a:pt x="495" y="721"/>
                  </a:lnTo>
                  <a:lnTo>
                    <a:pt x="489" y="722"/>
                  </a:lnTo>
                  <a:lnTo>
                    <a:pt x="487" y="717"/>
                  </a:lnTo>
                  <a:lnTo>
                    <a:pt x="485" y="715"/>
                  </a:lnTo>
                  <a:lnTo>
                    <a:pt x="480" y="714"/>
                  </a:lnTo>
                  <a:lnTo>
                    <a:pt x="476" y="715"/>
                  </a:lnTo>
                  <a:lnTo>
                    <a:pt x="475" y="714"/>
                  </a:lnTo>
                  <a:lnTo>
                    <a:pt x="475" y="713"/>
                  </a:lnTo>
                  <a:lnTo>
                    <a:pt x="480" y="708"/>
                  </a:lnTo>
                  <a:lnTo>
                    <a:pt x="481" y="705"/>
                  </a:lnTo>
                  <a:lnTo>
                    <a:pt x="480" y="703"/>
                  </a:lnTo>
                  <a:lnTo>
                    <a:pt x="477" y="702"/>
                  </a:lnTo>
                  <a:lnTo>
                    <a:pt x="475" y="701"/>
                  </a:lnTo>
                  <a:lnTo>
                    <a:pt x="470" y="701"/>
                  </a:lnTo>
                  <a:lnTo>
                    <a:pt x="463" y="700"/>
                  </a:lnTo>
                  <a:lnTo>
                    <a:pt x="462" y="698"/>
                  </a:lnTo>
                  <a:lnTo>
                    <a:pt x="460" y="697"/>
                  </a:lnTo>
                  <a:lnTo>
                    <a:pt x="458" y="695"/>
                  </a:lnTo>
                  <a:lnTo>
                    <a:pt x="458" y="694"/>
                  </a:lnTo>
                  <a:lnTo>
                    <a:pt x="461" y="689"/>
                  </a:lnTo>
                  <a:lnTo>
                    <a:pt x="461" y="688"/>
                  </a:lnTo>
                  <a:lnTo>
                    <a:pt x="458" y="686"/>
                  </a:lnTo>
                  <a:lnTo>
                    <a:pt x="456" y="688"/>
                  </a:lnTo>
                  <a:lnTo>
                    <a:pt x="451" y="691"/>
                  </a:lnTo>
                  <a:lnTo>
                    <a:pt x="444" y="695"/>
                  </a:lnTo>
                  <a:lnTo>
                    <a:pt x="438" y="696"/>
                  </a:lnTo>
                  <a:lnTo>
                    <a:pt x="432" y="697"/>
                  </a:lnTo>
                  <a:lnTo>
                    <a:pt x="429" y="696"/>
                  </a:lnTo>
                  <a:lnTo>
                    <a:pt x="426" y="695"/>
                  </a:lnTo>
                  <a:lnTo>
                    <a:pt x="425" y="692"/>
                  </a:lnTo>
                  <a:lnTo>
                    <a:pt x="423" y="691"/>
                  </a:lnTo>
                  <a:lnTo>
                    <a:pt x="420" y="690"/>
                  </a:lnTo>
                  <a:lnTo>
                    <a:pt x="416" y="686"/>
                  </a:lnTo>
                  <a:lnTo>
                    <a:pt x="414" y="686"/>
                  </a:lnTo>
                  <a:lnTo>
                    <a:pt x="411" y="686"/>
                  </a:lnTo>
                  <a:lnTo>
                    <a:pt x="411" y="684"/>
                  </a:lnTo>
                  <a:lnTo>
                    <a:pt x="413" y="683"/>
                  </a:lnTo>
                  <a:lnTo>
                    <a:pt x="415" y="682"/>
                  </a:lnTo>
                  <a:lnTo>
                    <a:pt x="416" y="679"/>
                  </a:lnTo>
                  <a:lnTo>
                    <a:pt x="416" y="678"/>
                  </a:lnTo>
                  <a:lnTo>
                    <a:pt x="415" y="678"/>
                  </a:lnTo>
                  <a:lnTo>
                    <a:pt x="411" y="677"/>
                  </a:lnTo>
                  <a:lnTo>
                    <a:pt x="407" y="677"/>
                  </a:lnTo>
                  <a:lnTo>
                    <a:pt x="404" y="677"/>
                  </a:lnTo>
                  <a:lnTo>
                    <a:pt x="401" y="676"/>
                  </a:lnTo>
                  <a:lnTo>
                    <a:pt x="399" y="675"/>
                  </a:lnTo>
                  <a:lnTo>
                    <a:pt x="399" y="673"/>
                  </a:lnTo>
                  <a:lnTo>
                    <a:pt x="401" y="670"/>
                  </a:lnTo>
                  <a:lnTo>
                    <a:pt x="405" y="668"/>
                  </a:lnTo>
                  <a:lnTo>
                    <a:pt x="407" y="665"/>
                  </a:lnTo>
                  <a:lnTo>
                    <a:pt x="407" y="664"/>
                  </a:lnTo>
                  <a:lnTo>
                    <a:pt x="406" y="663"/>
                  </a:lnTo>
                  <a:lnTo>
                    <a:pt x="404" y="660"/>
                  </a:lnTo>
                  <a:lnTo>
                    <a:pt x="401" y="660"/>
                  </a:lnTo>
                  <a:lnTo>
                    <a:pt x="397" y="662"/>
                  </a:lnTo>
                  <a:lnTo>
                    <a:pt x="395" y="662"/>
                  </a:lnTo>
                  <a:lnTo>
                    <a:pt x="392" y="660"/>
                  </a:lnTo>
                  <a:lnTo>
                    <a:pt x="393" y="658"/>
                  </a:lnTo>
                  <a:lnTo>
                    <a:pt x="396" y="653"/>
                  </a:lnTo>
                  <a:lnTo>
                    <a:pt x="396" y="652"/>
                  </a:lnTo>
                  <a:lnTo>
                    <a:pt x="396" y="651"/>
                  </a:lnTo>
                  <a:lnTo>
                    <a:pt x="393" y="650"/>
                  </a:lnTo>
                  <a:lnTo>
                    <a:pt x="386" y="651"/>
                  </a:lnTo>
                  <a:lnTo>
                    <a:pt x="385" y="650"/>
                  </a:lnTo>
                  <a:lnTo>
                    <a:pt x="386" y="649"/>
                  </a:lnTo>
                  <a:lnTo>
                    <a:pt x="387" y="646"/>
                  </a:lnTo>
                  <a:lnTo>
                    <a:pt x="387" y="645"/>
                  </a:lnTo>
                  <a:lnTo>
                    <a:pt x="385" y="645"/>
                  </a:lnTo>
                  <a:lnTo>
                    <a:pt x="383" y="645"/>
                  </a:lnTo>
                  <a:lnTo>
                    <a:pt x="381" y="645"/>
                  </a:lnTo>
                  <a:lnTo>
                    <a:pt x="381" y="643"/>
                  </a:lnTo>
                  <a:lnTo>
                    <a:pt x="382" y="641"/>
                  </a:lnTo>
                  <a:lnTo>
                    <a:pt x="383" y="640"/>
                  </a:lnTo>
                  <a:lnTo>
                    <a:pt x="386" y="639"/>
                  </a:lnTo>
                  <a:lnTo>
                    <a:pt x="387" y="638"/>
                  </a:lnTo>
                  <a:lnTo>
                    <a:pt x="387" y="637"/>
                  </a:lnTo>
                  <a:lnTo>
                    <a:pt x="386" y="637"/>
                  </a:lnTo>
                  <a:lnTo>
                    <a:pt x="383" y="638"/>
                  </a:lnTo>
                  <a:lnTo>
                    <a:pt x="381" y="638"/>
                  </a:lnTo>
                  <a:lnTo>
                    <a:pt x="377" y="636"/>
                  </a:lnTo>
                  <a:lnTo>
                    <a:pt x="376" y="632"/>
                  </a:lnTo>
                  <a:lnTo>
                    <a:pt x="374" y="628"/>
                  </a:lnTo>
                  <a:lnTo>
                    <a:pt x="374" y="627"/>
                  </a:lnTo>
                  <a:lnTo>
                    <a:pt x="377" y="626"/>
                  </a:lnTo>
                  <a:lnTo>
                    <a:pt x="380" y="625"/>
                  </a:lnTo>
                  <a:lnTo>
                    <a:pt x="383" y="626"/>
                  </a:lnTo>
                  <a:lnTo>
                    <a:pt x="386" y="626"/>
                  </a:lnTo>
                  <a:lnTo>
                    <a:pt x="388" y="624"/>
                  </a:lnTo>
                  <a:lnTo>
                    <a:pt x="390" y="621"/>
                  </a:lnTo>
                  <a:lnTo>
                    <a:pt x="388" y="619"/>
                  </a:lnTo>
                  <a:lnTo>
                    <a:pt x="391" y="618"/>
                  </a:lnTo>
                  <a:lnTo>
                    <a:pt x="391" y="617"/>
                  </a:lnTo>
                  <a:lnTo>
                    <a:pt x="388" y="617"/>
                  </a:lnTo>
                  <a:lnTo>
                    <a:pt x="387" y="617"/>
                  </a:lnTo>
                  <a:lnTo>
                    <a:pt x="385" y="618"/>
                  </a:lnTo>
                  <a:lnTo>
                    <a:pt x="382" y="619"/>
                  </a:lnTo>
                  <a:lnTo>
                    <a:pt x="380" y="618"/>
                  </a:lnTo>
                  <a:lnTo>
                    <a:pt x="377" y="618"/>
                  </a:lnTo>
                  <a:lnTo>
                    <a:pt x="374" y="618"/>
                  </a:lnTo>
                  <a:lnTo>
                    <a:pt x="373" y="619"/>
                  </a:lnTo>
                  <a:lnTo>
                    <a:pt x="372" y="620"/>
                  </a:lnTo>
                  <a:lnTo>
                    <a:pt x="371" y="624"/>
                  </a:lnTo>
                  <a:lnTo>
                    <a:pt x="369" y="625"/>
                  </a:lnTo>
                  <a:lnTo>
                    <a:pt x="367" y="625"/>
                  </a:lnTo>
                  <a:lnTo>
                    <a:pt x="366" y="622"/>
                  </a:lnTo>
                  <a:lnTo>
                    <a:pt x="366" y="621"/>
                  </a:lnTo>
                  <a:lnTo>
                    <a:pt x="368" y="618"/>
                  </a:lnTo>
                  <a:lnTo>
                    <a:pt x="368" y="617"/>
                  </a:lnTo>
                  <a:lnTo>
                    <a:pt x="367" y="614"/>
                  </a:lnTo>
                  <a:lnTo>
                    <a:pt x="366" y="612"/>
                  </a:lnTo>
                  <a:lnTo>
                    <a:pt x="368" y="607"/>
                  </a:lnTo>
                  <a:lnTo>
                    <a:pt x="371" y="601"/>
                  </a:lnTo>
                  <a:lnTo>
                    <a:pt x="372" y="600"/>
                  </a:lnTo>
                  <a:lnTo>
                    <a:pt x="373" y="599"/>
                  </a:lnTo>
                  <a:lnTo>
                    <a:pt x="376" y="600"/>
                  </a:lnTo>
                  <a:lnTo>
                    <a:pt x="378" y="602"/>
                  </a:lnTo>
                  <a:lnTo>
                    <a:pt x="380" y="603"/>
                  </a:lnTo>
                  <a:lnTo>
                    <a:pt x="380" y="602"/>
                  </a:lnTo>
                  <a:lnTo>
                    <a:pt x="381" y="600"/>
                  </a:lnTo>
                  <a:lnTo>
                    <a:pt x="380" y="598"/>
                  </a:lnTo>
                  <a:lnTo>
                    <a:pt x="381" y="595"/>
                  </a:lnTo>
                  <a:lnTo>
                    <a:pt x="382" y="594"/>
                  </a:lnTo>
                  <a:lnTo>
                    <a:pt x="383" y="594"/>
                  </a:lnTo>
                  <a:lnTo>
                    <a:pt x="386" y="599"/>
                  </a:lnTo>
                  <a:lnTo>
                    <a:pt x="388" y="603"/>
                  </a:lnTo>
                  <a:lnTo>
                    <a:pt x="390" y="605"/>
                  </a:lnTo>
                  <a:lnTo>
                    <a:pt x="393" y="606"/>
                  </a:lnTo>
                  <a:lnTo>
                    <a:pt x="396" y="605"/>
                  </a:lnTo>
                  <a:lnTo>
                    <a:pt x="397" y="603"/>
                  </a:lnTo>
                  <a:lnTo>
                    <a:pt x="399" y="600"/>
                  </a:lnTo>
                  <a:lnTo>
                    <a:pt x="399" y="598"/>
                  </a:lnTo>
                  <a:lnTo>
                    <a:pt x="397" y="598"/>
                  </a:lnTo>
                  <a:lnTo>
                    <a:pt x="399" y="599"/>
                  </a:lnTo>
                  <a:lnTo>
                    <a:pt x="396" y="596"/>
                  </a:lnTo>
                  <a:lnTo>
                    <a:pt x="395" y="593"/>
                  </a:lnTo>
                  <a:lnTo>
                    <a:pt x="393" y="587"/>
                  </a:lnTo>
                  <a:lnTo>
                    <a:pt x="392" y="586"/>
                  </a:lnTo>
                  <a:lnTo>
                    <a:pt x="391" y="586"/>
                  </a:lnTo>
                  <a:lnTo>
                    <a:pt x="385" y="586"/>
                  </a:lnTo>
                  <a:lnTo>
                    <a:pt x="382" y="586"/>
                  </a:lnTo>
                  <a:lnTo>
                    <a:pt x="381" y="583"/>
                  </a:lnTo>
                  <a:lnTo>
                    <a:pt x="380" y="583"/>
                  </a:lnTo>
                  <a:lnTo>
                    <a:pt x="378" y="583"/>
                  </a:lnTo>
                  <a:lnTo>
                    <a:pt x="377" y="585"/>
                  </a:lnTo>
                  <a:lnTo>
                    <a:pt x="376" y="587"/>
                  </a:lnTo>
                  <a:lnTo>
                    <a:pt x="374" y="589"/>
                  </a:lnTo>
                  <a:lnTo>
                    <a:pt x="373" y="589"/>
                  </a:lnTo>
                  <a:lnTo>
                    <a:pt x="372" y="588"/>
                  </a:lnTo>
                  <a:lnTo>
                    <a:pt x="369" y="588"/>
                  </a:lnTo>
                  <a:lnTo>
                    <a:pt x="368" y="588"/>
                  </a:lnTo>
                  <a:lnTo>
                    <a:pt x="366" y="590"/>
                  </a:lnTo>
                  <a:lnTo>
                    <a:pt x="363" y="594"/>
                  </a:lnTo>
                  <a:lnTo>
                    <a:pt x="362" y="596"/>
                  </a:lnTo>
                  <a:lnTo>
                    <a:pt x="358" y="599"/>
                  </a:lnTo>
                  <a:lnTo>
                    <a:pt x="357" y="601"/>
                  </a:lnTo>
                  <a:lnTo>
                    <a:pt x="355" y="602"/>
                  </a:lnTo>
                  <a:lnTo>
                    <a:pt x="354" y="602"/>
                  </a:lnTo>
                  <a:lnTo>
                    <a:pt x="353" y="599"/>
                  </a:lnTo>
                  <a:lnTo>
                    <a:pt x="355" y="592"/>
                  </a:lnTo>
                  <a:lnTo>
                    <a:pt x="357" y="586"/>
                  </a:lnTo>
                  <a:lnTo>
                    <a:pt x="357" y="579"/>
                  </a:lnTo>
                  <a:lnTo>
                    <a:pt x="355" y="571"/>
                  </a:lnTo>
                  <a:lnTo>
                    <a:pt x="357" y="571"/>
                  </a:lnTo>
                  <a:lnTo>
                    <a:pt x="359" y="570"/>
                  </a:lnTo>
                  <a:lnTo>
                    <a:pt x="362" y="568"/>
                  </a:lnTo>
                  <a:lnTo>
                    <a:pt x="364" y="566"/>
                  </a:lnTo>
                  <a:lnTo>
                    <a:pt x="367" y="562"/>
                  </a:lnTo>
                  <a:lnTo>
                    <a:pt x="369" y="558"/>
                  </a:lnTo>
                  <a:lnTo>
                    <a:pt x="371" y="557"/>
                  </a:lnTo>
                  <a:lnTo>
                    <a:pt x="366" y="556"/>
                  </a:lnTo>
                  <a:lnTo>
                    <a:pt x="363" y="556"/>
                  </a:lnTo>
                  <a:lnTo>
                    <a:pt x="359" y="558"/>
                  </a:lnTo>
                  <a:lnTo>
                    <a:pt x="357" y="561"/>
                  </a:lnTo>
                  <a:lnTo>
                    <a:pt x="353" y="567"/>
                  </a:lnTo>
                  <a:lnTo>
                    <a:pt x="346" y="571"/>
                  </a:lnTo>
                  <a:lnTo>
                    <a:pt x="345" y="573"/>
                  </a:lnTo>
                  <a:lnTo>
                    <a:pt x="343" y="573"/>
                  </a:lnTo>
                  <a:lnTo>
                    <a:pt x="340" y="571"/>
                  </a:lnTo>
                  <a:lnTo>
                    <a:pt x="339" y="570"/>
                  </a:lnTo>
                  <a:lnTo>
                    <a:pt x="338" y="562"/>
                  </a:lnTo>
                  <a:lnTo>
                    <a:pt x="338" y="558"/>
                  </a:lnTo>
                  <a:lnTo>
                    <a:pt x="339" y="557"/>
                  </a:lnTo>
                  <a:lnTo>
                    <a:pt x="341" y="556"/>
                  </a:lnTo>
                  <a:lnTo>
                    <a:pt x="346" y="555"/>
                  </a:lnTo>
                  <a:lnTo>
                    <a:pt x="349" y="554"/>
                  </a:lnTo>
                  <a:lnTo>
                    <a:pt x="349" y="553"/>
                  </a:lnTo>
                  <a:lnTo>
                    <a:pt x="345" y="551"/>
                  </a:lnTo>
                  <a:lnTo>
                    <a:pt x="341" y="551"/>
                  </a:lnTo>
                  <a:lnTo>
                    <a:pt x="336" y="551"/>
                  </a:lnTo>
                  <a:lnTo>
                    <a:pt x="335" y="550"/>
                  </a:lnTo>
                  <a:lnTo>
                    <a:pt x="334" y="548"/>
                  </a:lnTo>
                  <a:lnTo>
                    <a:pt x="333" y="547"/>
                  </a:lnTo>
                  <a:lnTo>
                    <a:pt x="333" y="544"/>
                  </a:lnTo>
                  <a:lnTo>
                    <a:pt x="336" y="542"/>
                  </a:lnTo>
                  <a:lnTo>
                    <a:pt x="339" y="542"/>
                  </a:lnTo>
                  <a:lnTo>
                    <a:pt x="341" y="542"/>
                  </a:lnTo>
                  <a:lnTo>
                    <a:pt x="346" y="542"/>
                  </a:lnTo>
                  <a:lnTo>
                    <a:pt x="346" y="541"/>
                  </a:lnTo>
                  <a:lnTo>
                    <a:pt x="346" y="539"/>
                  </a:lnTo>
                  <a:lnTo>
                    <a:pt x="344" y="537"/>
                  </a:lnTo>
                  <a:lnTo>
                    <a:pt x="343" y="535"/>
                  </a:lnTo>
                  <a:lnTo>
                    <a:pt x="341" y="529"/>
                  </a:lnTo>
                  <a:lnTo>
                    <a:pt x="340" y="528"/>
                  </a:lnTo>
                  <a:lnTo>
                    <a:pt x="339" y="529"/>
                  </a:lnTo>
                  <a:lnTo>
                    <a:pt x="336" y="530"/>
                  </a:lnTo>
                  <a:lnTo>
                    <a:pt x="334" y="529"/>
                  </a:lnTo>
                  <a:lnTo>
                    <a:pt x="333" y="528"/>
                  </a:lnTo>
                  <a:lnTo>
                    <a:pt x="333" y="526"/>
                  </a:lnTo>
                  <a:lnTo>
                    <a:pt x="334" y="525"/>
                  </a:lnTo>
                  <a:lnTo>
                    <a:pt x="340" y="522"/>
                  </a:lnTo>
                  <a:lnTo>
                    <a:pt x="340" y="521"/>
                  </a:lnTo>
                  <a:lnTo>
                    <a:pt x="339" y="519"/>
                  </a:lnTo>
                  <a:lnTo>
                    <a:pt x="336" y="519"/>
                  </a:lnTo>
                  <a:lnTo>
                    <a:pt x="334" y="521"/>
                  </a:lnTo>
                  <a:lnTo>
                    <a:pt x="331" y="521"/>
                  </a:lnTo>
                  <a:lnTo>
                    <a:pt x="330" y="521"/>
                  </a:lnTo>
                  <a:lnTo>
                    <a:pt x="331" y="518"/>
                  </a:lnTo>
                  <a:lnTo>
                    <a:pt x="333" y="517"/>
                  </a:lnTo>
                  <a:lnTo>
                    <a:pt x="339" y="515"/>
                  </a:lnTo>
                  <a:lnTo>
                    <a:pt x="345" y="513"/>
                  </a:lnTo>
                  <a:lnTo>
                    <a:pt x="352" y="512"/>
                  </a:lnTo>
                  <a:lnTo>
                    <a:pt x="352" y="513"/>
                  </a:lnTo>
                  <a:lnTo>
                    <a:pt x="353" y="515"/>
                  </a:lnTo>
                  <a:lnTo>
                    <a:pt x="357" y="515"/>
                  </a:lnTo>
                  <a:lnTo>
                    <a:pt x="359" y="513"/>
                  </a:lnTo>
                  <a:lnTo>
                    <a:pt x="360" y="512"/>
                  </a:lnTo>
                  <a:lnTo>
                    <a:pt x="364" y="516"/>
                  </a:lnTo>
                  <a:lnTo>
                    <a:pt x="369" y="518"/>
                  </a:lnTo>
                  <a:lnTo>
                    <a:pt x="374" y="519"/>
                  </a:lnTo>
                  <a:lnTo>
                    <a:pt x="377" y="518"/>
                  </a:lnTo>
                  <a:lnTo>
                    <a:pt x="378" y="517"/>
                  </a:lnTo>
                  <a:lnTo>
                    <a:pt x="380" y="516"/>
                  </a:lnTo>
                  <a:lnTo>
                    <a:pt x="380" y="513"/>
                  </a:lnTo>
                  <a:lnTo>
                    <a:pt x="378" y="510"/>
                  </a:lnTo>
                  <a:lnTo>
                    <a:pt x="378" y="506"/>
                  </a:lnTo>
                  <a:lnTo>
                    <a:pt x="378" y="505"/>
                  </a:lnTo>
                  <a:lnTo>
                    <a:pt x="380" y="504"/>
                  </a:lnTo>
                  <a:lnTo>
                    <a:pt x="378" y="503"/>
                  </a:lnTo>
                  <a:lnTo>
                    <a:pt x="377" y="503"/>
                  </a:lnTo>
                  <a:lnTo>
                    <a:pt x="373" y="503"/>
                  </a:lnTo>
                  <a:lnTo>
                    <a:pt x="372" y="503"/>
                  </a:lnTo>
                  <a:lnTo>
                    <a:pt x="369" y="500"/>
                  </a:lnTo>
                  <a:lnTo>
                    <a:pt x="368" y="499"/>
                  </a:lnTo>
                  <a:lnTo>
                    <a:pt x="366" y="499"/>
                  </a:lnTo>
                  <a:lnTo>
                    <a:pt x="364" y="500"/>
                  </a:lnTo>
                  <a:lnTo>
                    <a:pt x="364" y="503"/>
                  </a:lnTo>
                  <a:lnTo>
                    <a:pt x="363" y="505"/>
                  </a:lnTo>
                  <a:lnTo>
                    <a:pt x="362" y="506"/>
                  </a:lnTo>
                  <a:lnTo>
                    <a:pt x="358" y="507"/>
                  </a:lnTo>
                  <a:lnTo>
                    <a:pt x="354" y="506"/>
                  </a:lnTo>
                  <a:lnTo>
                    <a:pt x="350" y="505"/>
                  </a:lnTo>
                  <a:lnTo>
                    <a:pt x="346" y="504"/>
                  </a:lnTo>
                  <a:lnTo>
                    <a:pt x="343" y="504"/>
                  </a:lnTo>
                  <a:lnTo>
                    <a:pt x="338" y="506"/>
                  </a:lnTo>
                  <a:lnTo>
                    <a:pt x="335" y="506"/>
                  </a:lnTo>
                  <a:lnTo>
                    <a:pt x="333" y="509"/>
                  </a:lnTo>
                  <a:lnTo>
                    <a:pt x="331" y="510"/>
                  </a:lnTo>
                  <a:lnTo>
                    <a:pt x="327" y="511"/>
                  </a:lnTo>
                  <a:lnTo>
                    <a:pt x="327" y="509"/>
                  </a:lnTo>
                  <a:lnTo>
                    <a:pt x="329" y="507"/>
                  </a:lnTo>
                  <a:lnTo>
                    <a:pt x="333" y="504"/>
                  </a:lnTo>
                  <a:lnTo>
                    <a:pt x="341" y="499"/>
                  </a:lnTo>
                  <a:lnTo>
                    <a:pt x="343" y="498"/>
                  </a:lnTo>
                  <a:lnTo>
                    <a:pt x="343" y="497"/>
                  </a:lnTo>
                  <a:lnTo>
                    <a:pt x="344" y="493"/>
                  </a:lnTo>
                  <a:lnTo>
                    <a:pt x="348" y="488"/>
                  </a:lnTo>
                  <a:lnTo>
                    <a:pt x="349" y="486"/>
                  </a:lnTo>
                  <a:lnTo>
                    <a:pt x="352" y="485"/>
                  </a:lnTo>
                  <a:lnTo>
                    <a:pt x="354" y="485"/>
                  </a:lnTo>
                  <a:lnTo>
                    <a:pt x="355" y="486"/>
                  </a:lnTo>
                  <a:lnTo>
                    <a:pt x="357" y="488"/>
                  </a:lnTo>
                  <a:lnTo>
                    <a:pt x="358" y="490"/>
                  </a:lnTo>
                  <a:lnTo>
                    <a:pt x="359" y="490"/>
                  </a:lnTo>
                  <a:lnTo>
                    <a:pt x="360" y="490"/>
                  </a:lnTo>
                  <a:lnTo>
                    <a:pt x="363" y="488"/>
                  </a:lnTo>
                  <a:lnTo>
                    <a:pt x="367" y="486"/>
                  </a:lnTo>
                  <a:lnTo>
                    <a:pt x="371" y="486"/>
                  </a:lnTo>
                  <a:lnTo>
                    <a:pt x="373" y="486"/>
                  </a:lnTo>
                  <a:lnTo>
                    <a:pt x="374" y="486"/>
                  </a:lnTo>
                  <a:lnTo>
                    <a:pt x="376" y="484"/>
                  </a:lnTo>
                  <a:lnTo>
                    <a:pt x="376" y="483"/>
                  </a:lnTo>
                  <a:lnTo>
                    <a:pt x="374" y="479"/>
                  </a:lnTo>
                  <a:lnTo>
                    <a:pt x="373" y="475"/>
                  </a:lnTo>
                  <a:lnTo>
                    <a:pt x="373" y="473"/>
                  </a:lnTo>
                  <a:lnTo>
                    <a:pt x="374" y="472"/>
                  </a:lnTo>
                  <a:lnTo>
                    <a:pt x="376" y="472"/>
                  </a:lnTo>
                  <a:lnTo>
                    <a:pt x="378" y="474"/>
                  </a:lnTo>
                  <a:lnTo>
                    <a:pt x="381" y="477"/>
                  </a:lnTo>
                  <a:lnTo>
                    <a:pt x="383" y="480"/>
                  </a:lnTo>
                  <a:lnTo>
                    <a:pt x="385" y="481"/>
                  </a:lnTo>
                  <a:lnTo>
                    <a:pt x="386" y="481"/>
                  </a:lnTo>
                  <a:lnTo>
                    <a:pt x="388" y="480"/>
                  </a:lnTo>
                  <a:lnTo>
                    <a:pt x="388" y="479"/>
                  </a:lnTo>
                  <a:lnTo>
                    <a:pt x="390" y="473"/>
                  </a:lnTo>
                  <a:lnTo>
                    <a:pt x="390" y="470"/>
                  </a:lnTo>
                  <a:lnTo>
                    <a:pt x="388" y="467"/>
                  </a:lnTo>
                  <a:lnTo>
                    <a:pt x="386" y="465"/>
                  </a:lnTo>
                  <a:lnTo>
                    <a:pt x="382" y="464"/>
                  </a:lnTo>
                  <a:lnTo>
                    <a:pt x="378" y="464"/>
                  </a:lnTo>
                  <a:lnTo>
                    <a:pt x="376" y="465"/>
                  </a:lnTo>
                  <a:lnTo>
                    <a:pt x="374" y="462"/>
                  </a:lnTo>
                  <a:lnTo>
                    <a:pt x="382" y="459"/>
                  </a:lnTo>
                  <a:lnTo>
                    <a:pt x="387" y="455"/>
                  </a:lnTo>
                  <a:lnTo>
                    <a:pt x="388" y="453"/>
                  </a:lnTo>
                  <a:lnTo>
                    <a:pt x="390" y="451"/>
                  </a:lnTo>
                  <a:lnTo>
                    <a:pt x="388" y="447"/>
                  </a:lnTo>
                  <a:lnTo>
                    <a:pt x="386" y="443"/>
                  </a:lnTo>
                  <a:lnTo>
                    <a:pt x="386" y="441"/>
                  </a:lnTo>
                  <a:lnTo>
                    <a:pt x="386" y="440"/>
                  </a:lnTo>
                  <a:lnTo>
                    <a:pt x="385" y="435"/>
                  </a:lnTo>
                  <a:lnTo>
                    <a:pt x="381" y="430"/>
                  </a:lnTo>
                  <a:lnTo>
                    <a:pt x="378" y="428"/>
                  </a:lnTo>
                  <a:lnTo>
                    <a:pt x="378" y="426"/>
                  </a:lnTo>
                  <a:lnTo>
                    <a:pt x="380" y="422"/>
                  </a:lnTo>
                  <a:lnTo>
                    <a:pt x="380" y="420"/>
                  </a:lnTo>
                  <a:lnTo>
                    <a:pt x="374" y="414"/>
                  </a:lnTo>
                  <a:lnTo>
                    <a:pt x="369" y="407"/>
                  </a:lnTo>
                  <a:lnTo>
                    <a:pt x="368" y="406"/>
                  </a:lnTo>
                  <a:lnTo>
                    <a:pt x="366" y="404"/>
                  </a:lnTo>
                  <a:lnTo>
                    <a:pt x="359" y="404"/>
                  </a:lnTo>
                  <a:lnTo>
                    <a:pt x="344" y="407"/>
                  </a:lnTo>
                  <a:lnTo>
                    <a:pt x="345" y="404"/>
                  </a:lnTo>
                  <a:lnTo>
                    <a:pt x="348" y="403"/>
                  </a:lnTo>
                  <a:lnTo>
                    <a:pt x="353" y="401"/>
                  </a:lnTo>
                  <a:lnTo>
                    <a:pt x="354" y="401"/>
                  </a:lnTo>
                  <a:lnTo>
                    <a:pt x="355" y="398"/>
                  </a:lnTo>
                  <a:lnTo>
                    <a:pt x="355" y="397"/>
                  </a:lnTo>
                  <a:lnTo>
                    <a:pt x="354" y="395"/>
                  </a:lnTo>
                  <a:lnTo>
                    <a:pt x="344" y="388"/>
                  </a:lnTo>
                  <a:lnTo>
                    <a:pt x="340" y="384"/>
                  </a:lnTo>
                  <a:lnTo>
                    <a:pt x="339" y="381"/>
                  </a:lnTo>
                  <a:lnTo>
                    <a:pt x="338" y="378"/>
                  </a:lnTo>
                  <a:lnTo>
                    <a:pt x="338" y="377"/>
                  </a:lnTo>
                  <a:lnTo>
                    <a:pt x="336" y="377"/>
                  </a:lnTo>
                  <a:lnTo>
                    <a:pt x="334" y="379"/>
                  </a:lnTo>
                  <a:lnTo>
                    <a:pt x="333" y="383"/>
                  </a:lnTo>
                  <a:lnTo>
                    <a:pt x="331" y="385"/>
                  </a:lnTo>
                  <a:lnTo>
                    <a:pt x="329" y="388"/>
                  </a:lnTo>
                  <a:lnTo>
                    <a:pt x="326" y="391"/>
                  </a:lnTo>
                  <a:lnTo>
                    <a:pt x="326" y="395"/>
                  </a:lnTo>
                  <a:lnTo>
                    <a:pt x="325" y="400"/>
                  </a:lnTo>
                  <a:lnTo>
                    <a:pt x="324" y="403"/>
                  </a:lnTo>
                  <a:lnTo>
                    <a:pt x="321" y="406"/>
                  </a:lnTo>
                  <a:lnTo>
                    <a:pt x="320" y="407"/>
                  </a:lnTo>
                  <a:lnTo>
                    <a:pt x="317" y="407"/>
                  </a:lnTo>
                  <a:lnTo>
                    <a:pt x="316" y="406"/>
                  </a:lnTo>
                  <a:lnTo>
                    <a:pt x="315" y="403"/>
                  </a:lnTo>
                  <a:lnTo>
                    <a:pt x="315" y="401"/>
                  </a:lnTo>
                  <a:lnTo>
                    <a:pt x="312" y="400"/>
                  </a:lnTo>
                  <a:lnTo>
                    <a:pt x="311" y="400"/>
                  </a:lnTo>
                  <a:lnTo>
                    <a:pt x="307" y="403"/>
                  </a:lnTo>
                  <a:lnTo>
                    <a:pt x="305" y="404"/>
                  </a:lnTo>
                  <a:lnTo>
                    <a:pt x="302" y="403"/>
                  </a:lnTo>
                  <a:lnTo>
                    <a:pt x="297" y="398"/>
                  </a:lnTo>
                  <a:lnTo>
                    <a:pt x="296" y="396"/>
                  </a:lnTo>
                  <a:lnTo>
                    <a:pt x="294" y="394"/>
                  </a:lnTo>
                  <a:lnTo>
                    <a:pt x="296" y="392"/>
                  </a:lnTo>
                  <a:lnTo>
                    <a:pt x="298" y="391"/>
                  </a:lnTo>
                  <a:lnTo>
                    <a:pt x="300" y="390"/>
                  </a:lnTo>
                  <a:lnTo>
                    <a:pt x="300" y="389"/>
                  </a:lnTo>
                  <a:lnTo>
                    <a:pt x="298" y="385"/>
                  </a:lnTo>
                  <a:lnTo>
                    <a:pt x="297" y="382"/>
                  </a:lnTo>
                  <a:lnTo>
                    <a:pt x="297" y="377"/>
                  </a:lnTo>
                  <a:lnTo>
                    <a:pt x="298" y="371"/>
                  </a:lnTo>
                  <a:lnTo>
                    <a:pt x="298" y="365"/>
                  </a:lnTo>
                  <a:lnTo>
                    <a:pt x="297" y="363"/>
                  </a:lnTo>
                  <a:lnTo>
                    <a:pt x="294" y="360"/>
                  </a:lnTo>
                  <a:lnTo>
                    <a:pt x="294" y="359"/>
                  </a:lnTo>
                  <a:lnTo>
                    <a:pt x="296" y="357"/>
                  </a:lnTo>
                  <a:lnTo>
                    <a:pt x="301" y="355"/>
                  </a:lnTo>
                  <a:lnTo>
                    <a:pt x="302" y="352"/>
                  </a:lnTo>
                  <a:lnTo>
                    <a:pt x="302" y="351"/>
                  </a:lnTo>
                  <a:lnTo>
                    <a:pt x="302" y="350"/>
                  </a:lnTo>
                  <a:lnTo>
                    <a:pt x="294" y="339"/>
                  </a:lnTo>
                  <a:lnTo>
                    <a:pt x="288" y="328"/>
                  </a:lnTo>
                  <a:lnTo>
                    <a:pt x="287" y="328"/>
                  </a:lnTo>
                  <a:lnTo>
                    <a:pt x="284" y="328"/>
                  </a:lnTo>
                  <a:lnTo>
                    <a:pt x="282" y="328"/>
                  </a:lnTo>
                  <a:lnTo>
                    <a:pt x="280" y="327"/>
                  </a:lnTo>
                  <a:lnTo>
                    <a:pt x="279" y="326"/>
                  </a:lnTo>
                  <a:lnTo>
                    <a:pt x="279" y="325"/>
                  </a:lnTo>
                  <a:lnTo>
                    <a:pt x="282" y="321"/>
                  </a:lnTo>
                  <a:lnTo>
                    <a:pt x="283" y="320"/>
                  </a:lnTo>
                  <a:lnTo>
                    <a:pt x="284" y="318"/>
                  </a:lnTo>
                  <a:lnTo>
                    <a:pt x="283" y="315"/>
                  </a:lnTo>
                  <a:lnTo>
                    <a:pt x="282" y="315"/>
                  </a:lnTo>
                  <a:lnTo>
                    <a:pt x="279" y="314"/>
                  </a:lnTo>
                  <a:lnTo>
                    <a:pt x="278" y="314"/>
                  </a:lnTo>
                  <a:lnTo>
                    <a:pt x="278" y="312"/>
                  </a:lnTo>
                  <a:lnTo>
                    <a:pt x="278" y="309"/>
                  </a:lnTo>
                  <a:lnTo>
                    <a:pt x="280" y="307"/>
                  </a:lnTo>
                  <a:lnTo>
                    <a:pt x="283" y="306"/>
                  </a:lnTo>
                  <a:lnTo>
                    <a:pt x="286" y="305"/>
                  </a:lnTo>
                  <a:lnTo>
                    <a:pt x="286" y="301"/>
                  </a:lnTo>
                  <a:lnTo>
                    <a:pt x="286" y="300"/>
                  </a:lnTo>
                  <a:lnTo>
                    <a:pt x="284" y="300"/>
                  </a:lnTo>
                  <a:lnTo>
                    <a:pt x="280" y="300"/>
                  </a:lnTo>
                  <a:lnTo>
                    <a:pt x="279" y="301"/>
                  </a:lnTo>
                  <a:lnTo>
                    <a:pt x="277" y="302"/>
                  </a:lnTo>
                  <a:lnTo>
                    <a:pt x="274" y="302"/>
                  </a:lnTo>
                  <a:lnTo>
                    <a:pt x="272" y="301"/>
                  </a:lnTo>
                  <a:lnTo>
                    <a:pt x="269" y="300"/>
                  </a:lnTo>
                  <a:lnTo>
                    <a:pt x="266" y="301"/>
                  </a:lnTo>
                  <a:lnTo>
                    <a:pt x="263" y="302"/>
                  </a:lnTo>
                  <a:lnTo>
                    <a:pt x="259" y="302"/>
                  </a:lnTo>
                  <a:lnTo>
                    <a:pt x="256" y="302"/>
                  </a:lnTo>
                  <a:lnTo>
                    <a:pt x="254" y="300"/>
                  </a:lnTo>
                  <a:lnTo>
                    <a:pt x="251" y="292"/>
                  </a:lnTo>
                  <a:lnTo>
                    <a:pt x="251" y="289"/>
                  </a:lnTo>
                  <a:lnTo>
                    <a:pt x="250" y="287"/>
                  </a:lnTo>
                  <a:lnTo>
                    <a:pt x="246" y="283"/>
                  </a:lnTo>
                  <a:lnTo>
                    <a:pt x="244" y="282"/>
                  </a:lnTo>
                  <a:lnTo>
                    <a:pt x="241" y="282"/>
                  </a:lnTo>
                  <a:lnTo>
                    <a:pt x="237" y="280"/>
                  </a:lnTo>
                  <a:lnTo>
                    <a:pt x="236" y="279"/>
                  </a:lnTo>
                  <a:lnTo>
                    <a:pt x="236" y="277"/>
                  </a:lnTo>
                  <a:lnTo>
                    <a:pt x="236" y="274"/>
                  </a:lnTo>
                  <a:lnTo>
                    <a:pt x="235" y="272"/>
                  </a:lnTo>
                  <a:lnTo>
                    <a:pt x="232" y="272"/>
                  </a:lnTo>
                  <a:lnTo>
                    <a:pt x="228" y="270"/>
                  </a:lnTo>
                  <a:lnTo>
                    <a:pt x="223" y="272"/>
                  </a:lnTo>
                  <a:lnTo>
                    <a:pt x="218" y="272"/>
                  </a:lnTo>
                  <a:lnTo>
                    <a:pt x="216" y="272"/>
                  </a:lnTo>
                  <a:lnTo>
                    <a:pt x="213" y="269"/>
                  </a:lnTo>
                  <a:lnTo>
                    <a:pt x="211" y="263"/>
                  </a:lnTo>
                  <a:lnTo>
                    <a:pt x="209" y="261"/>
                  </a:lnTo>
                  <a:lnTo>
                    <a:pt x="208" y="260"/>
                  </a:lnTo>
                  <a:lnTo>
                    <a:pt x="207" y="260"/>
                  </a:lnTo>
                  <a:lnTo>
                    <a:pt x="206" y="260"/>
                  </a:lnTo>
                  <a:lnTo>
                    <a:pt x="202" y="263"/>
                  </a:lnTo>
                  <a:lnTo>
                    <a:pt x="199" y="266"/>
                  </a:lnTo>
                  <a:lnTo>
                    <a:pt x="195" y="267"/>
                  </a:lnTo>
                  <a:lnTo>
                    <a:pt x="190" y="267"/>
                  </a:lnTo>
                  <a:lnTo>
                    <a:pt x="188" y="266"/>
                  </a:lnTo>
                  <a:lnTo>
                    <a:pt x="186" y="263"/>
                  </a:lnTo>
                  <a:lnTo>
                    <a:pt x="183" y="257"/>
                  </a:lnTo>
                  <a:lnTo>
                    <a:pt x="181" y="256"/>
                  </a:lnTo>
                  <a:lnTo>
                    <a:pt x="180" y="255"/>
                  </a:lnTo>
                  <a:lnTo>
                    <a:pt x="176" y="256"/>
                  </a:lnTo>
                  <a:lnTo>
                    <a:pt x="171" y="255"/>
                  </a:lnTo>
                  <a:lnTo>
                    <a:pt x="169" y="254"/>
                  </a:lnTo>
                  <a:lnTo>
                    <a:pt x="165" y="250"/>
                  </a:lnTo>
                  <a:lnTo>
                    <a:pt x="164" y="249"/>
                  </a:lnTo>
                  <a:lnTo>
                    <a:pt x="161" y="250"/>
                  </a:lnTo>
                  <a:lnTo>
                    <a:pt x="156" y="253"/>
                  </a:lnTo>
                  <a:lnTo>
                    <a:pt x="153" y="255"/>
                  </a:lnTo>
                  <a:lnTo>
                    <a:pt x="148" y="256"/>
                  </a:lnTo>
                  <a:lnTo>
                    <a:pt x="147" y="256"/>
                  </a:lnTo>
                  <a:lnTo>
                    <a:pt x="145" y="25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8" name="Freeform 527"/>
            <p:cNvSpPr>
              <a:spLocks/>
            </p:cNvSpPr>
            <p:nvPr/>
          </p:nvSpPr>
          <p:spPr bwMode="auto">
            <a:xfrm>
              <a:off x="2640015" y="3844930"/>
              <a:ext cx="49212" cy="22225"/>
            </a:xfrm>
            <a:custGeom>
              <a:avLst/>
              <a:gdLst>
                <a:gd name="T0" fmla="*/ 2147483647 w 33"/>
                <a:gd name="T1" fmla="*/ 2147483647 h 14"/>
                <a:gd name="T2" fmla="*/ 2147483647 w 33"/>
                <a:gd name="T3" fmla="*/ 2147483647 h 14"/>
                <a:gd name="T4" fmla="*/ 2147483647 w 33"/>
                <a:gd name="T5" fmla="*/ 2147483647 h 14"/>
                <a:gd name="T6" fmla="*/ 2147483647 w 33"/>
                <a:gd name="T7" fmla="*/ 2147483647 h 14"/>
                <a:gd name="T8" fmla="*/ 2147483647 w 33"/>
                <a:gd name="T9" fmla="*/ 2147483647 h 14"/>
                <a:gd name="T10" fmla="*/ 2147483647 w 33"/>
                <a:gd name="T11" fmla="*/ 2147483647 h 14"/>
                <a:gd name="T12" fmla="*/ 2147483647 w 33"/>
                <a:gd name="T13" fmla="*/ 2147483647 h 14"/>
                <a:gd name="T14" fmla="*/ 2147483647 w 33"/>
                <a:gd name="T15" fmla="*/ 2147483647 h 14"/>
                <a:gd name="T16" fmla="*/ 2147483647 w 33"/>
                <a:gd name="T17" fmla="*/ 2147483647 h 14"/>
                <a:gd name="T18" fmla="*/ 2147483647 w 33"/>
                <a:gd name="T19" fmla="*/ 0 h 14"/>
                <a:gd name="T20" fmla="*/ 2147483647 w 33"/>
                <a:gd name="T21" fmla="*/ 2147483647 h 14"/>
                <a:gd name="T22" fmla="*/ 2147483647 w 33"/>
                <a:gd name="T23" fmla="*/ 2147483647 h 14"/>
                <a:gd name="T24" fmla="*/ 2147483647 w 33"/>
                <a:gd name="T25" fmla="*/ 2147483647 h 14"/>
                <a:gd name="T26" fmla="*/ 2147483647 w 33"/>
                <a:gd name="T27" fmla="*/ 2147483647 h 14"/>
                <a:gd name="T28" fmla="*/ 2147483647 w 33"/>
                <a:gd name="T29" fmla="*/ 2147483647 h 14"/>
                <a:gd name="T30" fmla="*/ 0 w 33"/>
                <a:gd name="T31" fmla="*/ 2147483647 h 14"/>
                <a:gd name="T32" fmla="*/ 0 w 33"/>
                <a:gd name="T33" fmla="*/ 2147483647 h 14"/>
                <a:gd name="T34" fmla="*/ 0 w 33"/>
                <a:gd name="T35" fmla="*/ 2147483647 h 14"/>
                <a:gd name="T36" fmla="*/ 0 w 33"/>
                <a:gd name="T37" fmla="*/ 2147483647 h 14"/>
                <a:gd name="T38" fmla="*/ 2147483647 w 33"/>
                <a:gd name="T39" fmla="*/ 2147483647 h 14"/>
                <a:gd name="T40" fmla="*/ 2147483647 w 33"/>
                <a:gd name="T41" fmla="*/ 2147483647 h 14"/>
                <a:gd name="T42" fmla="*/ 2147483647 w 33"/>
                <a:gd name="T43" fmla="*/ 2147483647 h 14"/>
                <a:gd name="T44" fmla="*/ 2147483647 w 33"/>
                <a:gd name="T45" fmla="*/ 2147483647 h 14"/>
                <a:gd name="T46" fmla="*/ 2147483647 w 33"/>
                <a:gd name="T47" fmla="*/ 2147483647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14"/>
                <a:gd name="T74" fmla="*/ 33 w 33"/>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14">
                  <a:moveTo>
                    <a:pt x="15" y="14"/>
                  </a:moveTo>
                  <a:lnTo>
                    <a:pt x="21" y="14"/>
                  </a:lnTo>
                  <a:lnTo>
                    <a:pt x="28" y="12"/>
                  </a:lnTo>
                  <a:lnTo>
                    <a:pt x="30" y="11"/>
                  </a:lnTo>
                  <a:lnTo>
                    <a:pt x="32" y="10"/>
                  </a:lnTo>
                  <a:lnTo>
                    <a:pt x="33" y="7"/>
                  </a:lnTo>
                  <a:lnTo>
                    <a:pt x="32" y="4"/>
                  </a:lnTo>
                  <a:lnTo>
                    <a:pt x="30" y="2"/>
                  </a:lnTo>
                  <a:lnTo>
                    <a:pt x="28" y="1"/>
                  </a:lnTo>
                  <a:lnTo>
                    <a:pt x="24" y="0"/>
                  </a:lnTo>
                  <a:lnTo>
                    <a:pt x="20" y="1"/>
                  </a:lnTo>
                  <a:lnTo>
                    <a:pt x="15" y="4"/>
                  </a:lnTo>
                  <a:lnTo>
                    <a:pt x="11" y="5"/>
                  </a:lnTo>
                  <a:lnTo>
                    <a:pt x="8" y="4"/>
                  </a:lnTo>
                  <a:lnTo>
                    <a:pt x="4" y="2"/>
                  </a:lnTo>
                  <a:lnTo>
                    <a:pt x="0" y="1"/>
                  </a:lnTo>
                  <a:lnTo>
                    <a:pt x="0" y="2"/>
                  </a:lnTo>
                  <a:lnTo>
                    <a:pt x="0" y="4"/>
                  </a:lnTo>
                  <a:lnTo>
                    <a:pt x="0" y="5"/>
                  </a:lnTo>
                  <a:lnTo>
                    <a:pt x="2" y="8"/>
                  </a:lnTo>
                  <a:lnTo>
                    <a:pt x="4" y="12"/>
                  </a:lnTo>
                  <a:lnTo>
                    <a:pt x="6" y="13"/>
                  </a:lnTo>
                  <a:lnTo>
                    <a:pt x="9" y="14"/>
                  </a:lnTo>
                  <a:lnTo>
                    <a:pt x="15"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29" name="Freeform 528"/>
            <p:cNvSpPr>
              <a:spLocks/>
            </p:cNvSpPr>
            <p:nvPr/>
          </p:nvSpPr>
          <p:spPr bwMode="auto">
            <a:xfrm>
              <a:off x="2370140" y="3840163"/>
              <a:ext cx="57150" cy="23812"/>
            </a:xfrm>
            <a:custGeom>
              <a:avLst/>
              <a:gdLst>
                <a:gd name="T0" fmla="*/ 2147483647 w 39"/>
                <a:gd name="T1" fmla="*/ 2147483647 h 15"/>
                <a:gd name="T2" fmla="*/ 2147483647 w 39"/>
                <a:gd name="T3" fmla="*/ 2147483647 h 15"/>
                <a:gd name="T4" fmla="*/ 2147483647 w 39"/>
                <a:gd name="T5" fmla="*/ 0 h 15"/>
                <a:gd name="T6" fmla="*/ 2147483647 w 39"/>
                <a:gd name="T7" fmla="*/ 2147483647 h 15"/>
                <a:gd name="T8" fmla="*/ 0 w 39"/>
                <a:gd name="T9" fmla="*/ 2147483647 h 15"/>
                <a:gd name="T10" fmla="*/ 0 w 39"/>
                <a:gd name="T11" fmla="*/ 2147483647 h 15"/>
                <a:gd name="T12" fmla="*/ 2147483647 w 39"/>
                <a:gd name="T13" fmla="*/ 2147483647 h 15"/>
                <a:gd name="T14" fmla="*/ 2147483647 w 39"/>
                <a:gd name="T15" fmla="*/ 2147483647 h 15"/>
                <a:gd name="T16" fmla="*/ 2147483647 w 39"/>
                <a:gd name="T17" fmla="*/ 2147483647 h 15"/>
                <a:gd name="T18" fmla="*/ 2147483647 w 39"/>
                <a:gd name="T19" fmla="*/ 2147483647 h 15"/>
                <a:gd name="T20" fmla="*/ 2147483647 w 39"/>
                <a:gd name="T21" fmla="*/ 2147483647 h 15"/>
                <a:gd name="T22" fmla="*/ 2147483647 w 39"/>
                <a:gd name="T23" fmla="*/ 2147483647 h 15"/>
                <a:gd name="T24" fmla="*/ 2147483647 w 39"/>
                <a:gd name="T25" fmla="*/ 2147483647 h 15"/>
                <a:gd name="T26" fmla="*/ 2147483647 w 39"/>
                <a:gd name="T27" fmla="*/ 2147483647 h 15"/>
                <a:gd name="T28" fmla="*/ 2147483647 w 39"/>
                <a:gd name="T29" fmla="*/ 2147483647 h 15"/>
                <a:gd name="T30" fmla="*/ 2147483647 w 39"/>
                <a:gd name="T31" fmla="*/ 2147483647 h 15"/>
                <a:gd name="T32" fmla="*/ 2147483647 w 39"/>
                <a:gd name="T33" fmla="*/ 2147483647 h 15"/>
                <a:gd name="T34" fmla="*/ 2147483647 w 39"/>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
                <a:gd name="T55" fmla="*/ 0 h 15"/>
                <a:gd name="T56" fmla="*/ 39 w 39"/>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 h="15">
                  <a:moveTo>
                    <a:pt x="22" y="4"/>
                  </a:moveTo>
                  <a:lnTo>
                    <a:pt x="15" y="2"/>
                  </a:lnTo>
                  <a:lnTo>
                    <a:pt x="6" y="0"/>
                  </a:lnTo>
                  <a:lnTo>
                    <a:pt x="1" y="1"/>
                  </a:lnTo>
                  <a:lnTo>
                    <a:pt x="0" y="2"/>
                  </a:lnTo>
                  <a:lnTo>
                    <a:pt x="0" y="3"/>
                  </a:lnTo>
                  <a:lnTo>
                    <a:pt x="5" y="8"/>
                  </a:lnTo>
                  <a:lnTo>
                    <a:pt x="10" y="10"/>
                  </a:lnTo>
                  <a:lnTo>
                    <a:pt x="16" y="14"/>
                  </a:lnTo>
                  <a:lnTo>
                    <a:pt x="20" y="15"/>
                  </a:lnTo>
                  <a:lnTo>
                    <a:pt x="22" y="15"/>
                  </a:lnTo>
                  <a:lnTo>
                    <a:pt x="30" y="14"/>
                  </a:lnTo>
                  <a:lnTo>
                    <a:pt x="39" y="14"/>
                  </a:lnTo>
                  <a:lnTo>
                    <a:pt x="39" y="10"/>
                  </a:lnTo>
                  <a:lnTo>
                    <a:pt x="38" y="9"/>
                  </a:lnTo>
                  <a:lnTo>
                    <a:pt x="33" y="7"/>
                  </a:lnTo>
                  <a:lnTo>
                    <a:pt x="27" y="5"/>
                  </a:lnTo>
                  <a:lnTo>
                    <a:pt x="22"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0" name="Freeform 529"/>
            <p:cNvSpPr>
              <a:spLocks/>
            </p:cNvSpPr>
            <p:nvPr/>
          </p:nvSpPr>
          <p:spPr bwMode="auto">
            <a:xfrm>
              <a:off x="2638428" y="3843342"/>
              <a:ext cx="49213" cy="22225"/>
            </a:xfrm>
            <a:custGeom>
              <a:avLst/>
              <a:gdLst>
                <a:gd name="T0" fmla="*/ 2147483647 w 33"/>
                <a:gd name="T1" fmla="*/ 2147483647 h 14"/>
                <a:gd name="T2" fmla="*/ 2147483647 w 33"/>
                <a:gd name="T3" fmla="*/ 2147483647 h 14"/>
                <a:gd name="T4" fmla="*/ 2147483647 w 33"/>
                <a:gd name="T5" fmla="*/ 2147483647 h 14"/>
                <a:gd name="T6" fmla="*/ 2147483647 w 33"/>
                <a:gd name="T7" fmla="*/ 2147483647 h 14"/>
                <a:gd name="T8" fmla="*/ 2147483647 w 33"/>
                <a:gd name="T9" fmla="*/ 2147483647 h 14"/>
                <a:gd name="T10" fmla="*/ 2147483647 w 33"/>
                <a:gd name="T11" fmla="*/ 2147483647 h 14"/>
                <a:gd name="T12" fmla="*/ 2147483647 w 33"/>
                <a:gd name="T13" fmla="*/ 2147483647 h 14"/>
                <a:gd name="T14" fmla="*/ 2147483647 w 33"/>
                <a:gd name="T15" fmla="*/ 2147483647 h 14"/>
                <a:gd name="T16" fmla="*/ 2147483647 w 33"/>
                <a:gd name="T17" fmla="*/ 2147483647 h 14"/>
                <a:gd name="T18" fmla="*/ 2147483647 w 33"/>
                <a:gd name="T19" fmla="*/ 2147483647 h 14"/>
                <a:gd name="T20" fmla="*/ 2147483647 w 33"/>
                <a:gd name="T21" fmla="*/ 2147483647 h 14"/>
                <a:gd name="T22" fmla="*/ 2147483647 w 33"/>
                <a:gd name="T23" fmla="*/ 0 h 14"/>
                <a:gd name="T24" fmla="*/ 2147483647 w 33"/>
                <a:gd name="T25" fmla="*/ 2147483647 h 14"/>
                <a:gd name="T26" fmla="*/ 2147483647 w 33"/>
                <a:gd name="T27" fmla="*/ 2147483647 h 14"/>
                <a:gd name="T28" fmla="*/ 2147483647 w 33"/>
                <a:gd name="T29" fmla="*/ 2147483647 h 14"/>
                <a:gd name="T30" fmla="*/ 2147483647 w 33"/>
                <a:gd name="T31" fmla="*/ 2147483647 h 14"/>
                <a:gd name="T32" fmla="*/ 2147483647 w 33"/>
                <a:gd name="T33" fmla="*/ 2147483647 h 14"/>
                <a:gd name="T34" fmla="*/ 2147483647 w 33"/>
                <a:gd name="T35" fmla="*/ 2147483647 h 14"/>
                <a:gd name="T36" fmla="*/ 0 w 33"/>
                <a:gd name="T37" fmla="*/ 2147483647 h 14"/>
                <a:gd name="T38" fmla="*/ 0 w 33"/>
                <a:gd name="T39" fmla="*/ 2147483647 h 14"/>
                <a:gd name="T40" fmla="*/ 0 w 33"/>
                <a:gd name="T41" fmla="*/ 2147483647 h 14"/>
                <a:gd name="T42" fmla="*/ 0 w 33"/>
                <a:gd name="T43" fmla="*/ 2147483647 h 14"/>
                <a:gd name="T44" fmla="*/ 0 w 33"/>
                <a:gd name="T45" fmla="*/ 2147483647 h 14"/>
                <a:gd name="T46" fmla="*/ 0 w 33"/>
                <a:gd name="T47" fmla="*/ 2147483647 h 14"/>
                <a:gd name="T48" fmla="*/ 2147483647 w 33"/>
                <a:gd name="T49" fmla="*/ 2147483647 h 14"/>
                <a:gd name="T50" fmla="*/ 2147483647 w 33"/>
                <a:gd name="T51" fmla="*/ 2147483647 h 14"/>
                <a:gd name="T52" fmla="*/ 2147483647 w 33"/>
                <a:gd name="T53" fmla="*/ 2147483647 h 14"/>
                <a:gd name="T54" fmla="*/ 2147483647 w 33"/>
                <a:gd name="T55" fmla="*/ 2147483647 h 14"/>
                <a:gd name="T56" fmla="*/ 2147483647 w 33"/>
                <a:gd name="T57" fmla="*/ 2147483647 h 14"/>
                <a:gd name="T58" fmla="*/ 2147483647 w 33"/>
                <a:gd name="T59" fmla="*/ 2147483647 h 14"/>
                <a:gd name="T60" fmla="*/ 2147483647 w 33"/>
                <a:gd name="T61" fmla="*/ 2147483647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4"/>
                <a:gd name="T95" fmla="*/ 33 w 33"/>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4">
                  <a:moveTo>
                    <a:pt x="15" y="14"/>
                  </a:moveTo>
                  <a:lnTo>
                    <a:pt x="15" y="14"/>
                  </a:lnTo>
                  <a:lnTo>
                    <a:pt x="21" y="14"/>
                  </a:lnTo>
                  <a:lnTo>
                    <a:pt x="28" y="12"/>
                  </a:lnTo>
                  <a:lnTo>
                    <a:pt x="30" y="11"/>
                  </a:lnTo>
                  <a:lnTo>
                    <a:pt x="31" y="9"/>
                  </a:lnTo>
                  <a:lnTo>
                    <a:pt x="33" y="7"/>
                  </a:lnTo>
                  <a:lnTo>
                    <a:pt x="31" y="3"/>
                  </a:lnTo>
                  <a:lnTo>
                    <a:pt x="30" y="2"/>
                  </a:lnTo>
                  <a:lnTo>
                    <a:pt x="28" y="1"/>
                  </a:lnTo>
                  <a:lnTo>
                    <a:pt x="24" y="0"/>
                  </a:lnTo>
                  <a:lnTo>
                    <a:pt x="20" y="1"/>
                  </a:lnTo>
                  <a:lnTo>
                    <a:pt x="15" y="3"/>
                  </a:lnTo>
                  <a:lnTo>
                    <a:pt x="11" y="5"/>
                  </a:lnTo>
                  <a:lnTo>
                    <a:pt x="7" y="3"/>
                  </a:lnTo>
                  <a:lnTo>
                    <a:pt x="3" y="2"/>
                  </a:lnTo>
                  <a:lnTo>
                    <a:pt x="0" y="1"/>
                  </a:lnTo>
                  <a:lnTo>
                    <a:pt x="0" y="2"/>
                  </a:lnTo>
                  <a:lnTo>
                    <a:pt x="0" y="3"/>
                  </a:lnTo>
                  <a:lnTo>
                    <a:pt x="0" y="5"/>
                  </a:lnTo>
                  <a:lnTo>
                    <a:pt x="2" y="8"/>
                  </a:lnTo>
                  <a:lnTo>
                    <a:pt x="3" y="12"/>
                  </a:lnTo>
                  <a:lnTo>
                    <a:pt x="6" y="13"/>
                  </a:lnTo>
                  <a:lnTo>
                    <a:pt x="9" y="14"/>
                  </a:lnTo>
                  <a:lnTo>
                    <a:pt x="15"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1" name="Freeform 530"/>
            <p:cNvSpPr>
              <a:spLocks/>
            </p:cNvSpPr>
            <p:nvPr/>
          </p:nvSpPr>
          <p:spPr bwMode="auto">
            <a:xfrm>
              <a:off x="2366967" y="3836988"/>
              <a:ext cx="58737" cy="25400"/>
            </a:xfrm>
            <a:custGeom>
              <a:avLst/>
              <a:gdLst>
                <a:gd name="T0" fmla="*/ 2147483647 w 40"/>
                <a:gd name="T1" fmla="*/ 2147483647 h 16"/>
                <a:gd name="T2" fmla="*/ 2147483647 w 40"/>
                <a:gd name="T3" fmla="*/ 2147483647 h 16"/>
                <a:gd name="T4" fmla="*/ 2147483647 w 40"/>
                <a:gd name="T5" fmla="*/ 2147483647 h 16"/>
                <a:gd name="T6" fmla="*/ 2147483647 w 40"/>
                <a:gd name="T7" fmla="*/ 0 h 16"/>
                <a:gd name="T8" fmla="*/ 2147483647 w 40"/>
                <a:gd name="T9" fmla="*/ 0 h 16"/>
                <a:gd name="T10" fmla="*/ 2147483647 w 40"/>
                <a:gd name="T11" fmla="*/ 2147483647 h 16"/>
                <a:gd name="T12" fmla="*/ 0 w 40"/>
                <a:gd name="T13" fmla="*/ 2147483647 h 16"/>
                <a:gd name="T14" fmla="*/ 0 w 40"/>
                <a:gd name="T15" fmla="*/ 2147483647 h 16"/>
                <a:gd name="T16" fmla="*/ 0 w 40"/>
                <a:gd name="T17" fmla="*/ 2147483647 h 16"/>
                <a:gd name="T18" fmla="*/ 2147483647 w 40"/>
                <a:gd name="T19" fmla="*/ 2147483647 h 16"/>
                <a:gd name="T20" fmla="*/ 2147483647 w 40"/>
                <a:gd name="T21" fmla="*/ 2147483647 h 16"/>
                <a:gd name="T22" fmla="*/ 2147483647 w 40"/>
                <a:gd name="T23" fmla="*/ 2147483647 h 16"/>
                <a:gd name="T24" fmla="*/ 2147483647 w 40"/>
                <a:gd name="T25" fmla="*/ 2147483647 h 16"/>
                <a:gd name="T26" fmla="*/ 2147483647 w 40"/>
                <a:gd name="T27" fmla="*/ 2147483647 h 16"/>
                <a:gd name="T28" fmla="*/ 2147483647 w 40"/>
                <a:gd name="T29" fmla="*/ 2147483647 h 16"/>
                <a:gd name="T30" fmla="*/ 2147483647 w 40"/>
                <a:gd name="T31" fmla="*/ 2147483647 h 16"/>
                <a:gd name="T32" fmla="*/ 2147483647 w 40"/>
                <a:gd name="T33" fmla="*/ 2147483647 h 16"/>
                <a:gd name="T34" fmla="*/ 2147483647 w 40"/>
                <a:gd name="T35" fmla="*/ 2147483647 h 16"/>
                <a:gd name="T36" fmla="*/ 2147483647 w 40"/>
                <a:gd name="T37" fmla="*/ 2147483647 h 16"/>
                <a:gd name="T38" fmla="*/ 2147483647 w 40"/>
                <a:gd name="T39" fmla="*/ 2147483647 h 16"/>
                <a:gd name="T40" fmla="*/ 2147483647 w 40"/>
                <a:gd name="T41" fmla="*/ 2147483647 h 16"/>
                <a:gd name="T42" fmla="*/ 2147483647 w 40"/>
                <a:gd name="T43" fmla="*/ 2147483647 h 16"/>
                <a:gd name="T44" fmla="*/ 2147483647 w 40"/>
                <a:gd name="T45" fmla="*/ 2147483647 h 16"/>
                <a:gd name="T46" fmla="*/ 2147483647 w 40"/>
                <a:gd name="T47" fmla="*/ 2147483647 h 16"/>
                <a:gd name="T48" fmla="*/ 2147483647 w 40"/>
                <a:gd name="T49" fmla="*/ 2147483647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16"/>
                <a:gd name="T77" fmla="*/ 40 w 40"/>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16">
                  <a:moveTo>
                    <a:pt x="23" y="5"/>
                  </a:moveTo>
                  <a:lnTo>
                    <a:pt x="23" y="5"/>
                  </a:lnTo>
                  <a:lnTo>
                    <a:pt x="15" y="3"/>
                  </a:lnTo>
                  <a:lnTo>
                    <a:pt x="7" y="0"/>
                  </a:lnTo>
                  <a:lnTo>
                    <a:pt x="2" y="2"/>
                  </a:lnTo>
                  <a:lnTo>
                    <a:pt x="0" y="3"/>
                  </a:lnTo>
                  <a:lnTo>
                    <a:pt x="0" y="4"/>
                  </a:lnTo>
                  <a:lnTo>
                    <a:pt x="5" y="9"/>
                  </a:lnTo>
                  <a:lnTo>
                    <a:pt x="10" y="11"/>
                  </a:lnTo>
                  <a:lnTo>
                    <a:pt x="17" y="15"/>
                  </a:lnTo>
                  <a:lnTo>
                    <a:pt x="21" y="16"/>
                  </a:lnTo>
                  <a:lnTo>
                    <a:pt x="23" y="16"/>
                  </a:lnTo>
                  <a:lnTo>
                    <a:pt x="31" y="15"/>
                  </a:lnTo>
                  <a:lnTo>
                    <a:pt x="40" y="15"/>
                  </a:lnTo>
                  <a:lnTo>
                    <a:pt x="40" y="11"/>
                  </a:lnTo>
                  <a:lnTo>
                    <a:pt x="38" y="10"/>
                  </a:lnTo>
                  <a:lnTo>
                    <a:pt x="33" y="7"/>
                  </a:lnTo>
                  <a:lnTo>
                    <a:pt x="28" y="6"/>
                  </a:lnTo>
                  <a:lnTo>
                    <a:pt x="2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2" name="Freeform 531"/>
            <p:cNvSpPr>
              <a:spLocks/>
            </p:cNvSpPr>
            <p:nvPr/>
          </p:nvSpPr>
          <p:spPr bwMode="auto">
            <a:xfrm>
              <a:off x="2530479" y="3802064"/>
              <a:ext cx="92075" cy="74612"/>
            </a:xfrm>
            <a:custGeom>
              <a:avLst/>
              <a:gdLst>
                <a:gd name="T0" fmla="*/ 0 w 63"/>
                <a:gd name="T1" fmla="*/ 2147483647 h 47"/>
                <a:gd name="T2" fmla="*/ 2147483647 w 63"/>
                <a:gd name="T3" fmla="*/ 2147483647 h 47"/>
                <a:gd name="T4" fmla="*/ 2147483647 w 63"/>
                <a:gd name="T5" fmla="*/ 2147483647 h 47"/>
                <a:gd name="T6" fmla="*/ 2147483647 w 63"/>
                <a:gd name="T7" fmla="*/ 2147483647 h 47"/>
                <a:gd name="T8" fmla="*/ 2147483647 w 63"/>
                <a:gd name="T9" fmla="*/ 2147483647 h 47"/>
                <a:gd name="T10" fmla="*/ 2147483647 w 63"/>
                <a:gd name="T11" fmla="*/ 2147483647 h 47"/>
                <a:gd name="T12" fmla="*/ 0 w 63"/>
                <a:gd name="T13" fmla="*/ 2147483647 h 47"/>
                <a:gd name="T14" fmla="*/ 2147483647 w 63"/>
                <a:gd name="T15" fmla="*/ 2147483647 h 47"/>
                <a:gd name="T16" fmla="*/ 2147483647 w 63"/>
                <a:gd name="T17" fmla="*/ 2147483647 h 47"/>
                <a:gd name="T18" fmla="*/ 2147483647 w 63"/>
                <a:gd name="T19" fmla="*/ 2147483647 h 47"/>
                <a:gd name="T20" fmla="*/ 2147483647 w 63"/>
                <a:gd name="T21" fmla="*/ 2147483647 h 47"/>
                <a:gd name="T22" fmla="*/ 2147483647 w 63"/>
                <a:gd name="T23" fmla="*/ 0 h 47"/>
                <a:gd name="T24" fmla="*/ 2147483647 w 63"/>
                <a:gd name="T25" fmla="*/ 2147483647 h 47"/>
                <a:gd name="T26" fmla="*/ 2147483647 w 63"/>
                <a:gd name="T27" fmla="*/ 2147483647 h 47"/>
                <a:gd name="T28" fmla="*/ 2147483647 w 63"/>
                <a:gd name="T29" fmla="*/ 2147483647 h 47"/>
                <a:gd name="T30" fmla="*/ 2147483647 w 63"/>
                <a:gd name="T31" fmla="*/ 2147483647 h 47"/>
                <a:gd name="T32" fmla="*/ 2147483647 w 63"/>
                <a:gd name="T33" fmla="*/ 2147483647 h 47"/>
                <a:gd name="T34" fmla="*/ 2147483647 w 63"/>
                <a:gd name="T35" fmla="*/ 2147483647 h 47"/>
                <a:gd name="T36" fmla="*/ 2147483647 w 63"/>
                <a:gd name="T37" fmla="*/ 2147483647 h 47"/>
                <a:gd name="T38" fmla="*/ 2147483647 w 63"/>
                <a:gd name="T39" fmla="*/ 2147483647 h 47"/>
                <a:gd name="T40" fmla="*/ 2147483647 w 63"/>
                <a:gd name="T41" fmla="*/ 2147483647 h 47"/>
                <a:gd name="T42" fmla="*/ 2147483647 w 63"/>
                <a:gd name="T43" fmla="*/ 2147483647 h 47"/>
                <a:gd name="T44" fmla="*/ 2147483647 w 63"/>
                <a:gd name="T45" fmla="*/ 2147483647 h 47"/>
                <a:gd name="T46" fmla="*/ 2147483647 w 63"/>
                <a:gd name="T47" fmla="*/ 2147483647 h 47"/>
                <a:gd name="T48" fmla="*/ 2147483647 w 63"/>
                <a:gd name="T49" fmla="*/ 2147483647 h 47"/>
                <a:gd name="T50" fmla="*/ 2147483647 w 63"/>
                <a:gd name="T51" fmla="*/ 2147483647 h 47"/>
                <a:gd name="T52" fmla="*/ 2147483647 w 63"/>
                <a:gd name="T53" fmla="*/ 2147483647 h 47"/>
                <a:gd name="T54" fmla="*/ 2147483647 w 63"/>
                <a:gd name="T55" fmla="*/ 2147483647 h 47"/>
                <a:gd name="T56" fmla="*/ 2147483647 w 63"/>
                <a:gd name="T57" fmla="*/ 2147483647 h 47"/>
                <a:gd name="T58" fmla="*/ 2147483647 w 63"/>
                <a:gd name="T59" fmla="*/ 2147483647 h 47"/>
                <a:gd name="T60" fmla="*/ 2147483647 w 63"/>
                <a:gd name="T61" fmla="*/ 2147483647 h 47"/>
                <a:gd name="T62" fmla="*/ 2147483647 w 63"/>
                <a:gd name="T63" fmla="*/ 2147483647 h 47"/>
                <a:gd name="T64" fmla="*/ 2147483647 w 63"/>
                <a:gd name="T65" fmla="*/ 2147483647 h 47"/>
                <a:gd name="T66" fmla="*/ 2147483647 w 63"/>
                <a:gd name="T67" fmla="*/ 2147483647 h 47"/>
                <a:gd name="T68" fmla="*/ 2147483647 w 63"/>
                <a:gd name="T69" fmla="*/ 2147483647 h 47"/>
                <a:gd name="T70" fmla="*/ 2147483647 w 63"/>
                <a:gd name="T71" fmla="*/ 2147483647 h 47"/>
                <a:gd name="T72" fmla="*/ 2147483647 w 63"/>
                <a:gd name="T73" fmla="*/ 2147483647 h 47"/>
                <a:gd name="T74" fmla="*/ 2147483647 w 63"/>
                <a:gd name="T75" fmla="*/ 2147483647 h 47"/>
                <a:gd name="T76" fmla="*/ 2147483647 w 63"/>
                <a:gd name="T77" fmla="*/ 2147483647 h 47"/>
                <a:gd name="T78" fmla="*/ 2147483647 w 63"/>
                <a:gd name="T79" fmla="*/ 2147483647 h 47"/>
                <a:gd name="T80" fmla="*/ 2147483647 w 63"/>
                <a:gd name="T81" fmla="*/ 2147483647 h 47"/>
                <a:gd name="T82" fmla="*/ 2147483647 w 63"/>
                <a:gd name="T83" fmla="*/ 2147483647 h 47"/>
                <a:gd name="T84" fmla="*/ 2147483647 w 63"/>
                <a:gd name="T85" fmla="*/ 2147483647 h 47"/>
                <a:gd name="T86" fmla="*/ 2147483647 w 63"/>
                <a:gd name="T87" fmla="*/ 2147483647 h 47"/>
                <a:gd name="T88" fmla="*/ 2147483647 w 63"/>
                <a:gd name="T89" fmla="*/ 2147483647 h 47"/>
                <a:gd name="T90" fmla="*/ 2147483647 w 63"/>
                <a:gd name="T91" fmla="*/ 2147483647 h 47"/>
                <a:gd name="T92" fmla="*/ 2147483647 w 63"/>
                <a:gd name="T93" fmla="*/ 2147483647 h 47"/>
                <a:gd name="T94" fmla="*/ 2147483647 w 63"/>
                <a:gd name="T95" fmla="*/ 2147483647 h 47"/>
                <a:gd name="T96" fmla="*/ 0 w 63"/>
                <a:gd name="T97" fmla="*/ 2147483647 h 4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47"/>
                <a:gd name="T149" fmla="*/ 63 w 63"/>
                <a:gd name="T150" fmla="*/ 47 h 4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47">
                  <a:moveTo>
                    <a:pt x="0" y="38"/>
                  </a:moveTo>
                  <a:lnTo>
                    <a:pt x="3" y="37"/>
                  </a:lnTo>
                  <a:lnTo>
                    <a:pt x="4" y="34"/>
                  </a:lnTo>
                  <a:lnTo>
                    <a:pt x="4" y="32"/>
                  </a:lnTo>
                  <a:lnTo>
                    <a:pt x="4" y="29"/>
                  </a:lnTo>
                  <a:lnTo>
                    <a:pt x="1" y="25"/>
                  </a:lnTo>
                  <a:lnTo>
                    <a:pt x="0" y="24"/>
                  </a:lnTo>
                  <a:lnTo>
                    <a:pt x="1" y="21"/>
                  </a:lnTo>
                  <a:lnTo>
                    <a:pt x="4" y="16"/>
                  </a:lnTo>
                  <a:lnTo>
                    <a:pt x="5" y="12"/>
                  </a:lnTo>
                  <a:lnTo>
                    <a:pt x="6" y="6"/>
                  </a:lnTo>
                  <a:lnTo>
                    <a:pt x="6" y="0"/>
                  </a:lnTo>
                  <a:lnTo>
                    <a:pt x="15" y="1"/>
                  </a:lnTo>
                  <a:lnTo>
                    <a:pt x="19" y="1"/>
                  </a:lnTo>
                  <a:lnTo>
                    <a:pt x="23" y="3"/>
                  </a:lnTo>
                  <a:lnTo>
                    <a:pt x="32" y="7"/>
                  </a:lnTo>
                  <a:lnTo>
                    <a:pt x="37" y="9"/>
                  </a:lnTo>
                  <a:lnTo>
                    <a:pt x="39" y="13"/>
                  </a:lnTo>
                  <a:lnTo>
                    <a:pt x="43" y="15"/>
                  </a:lnTo>
                  <a:lnTo>
                    <a:pt x="48" y="18"/>
                  </a:lnTo>
                  <a:lnTo>
                    <a:pt x="56" y="21"/>
                  </a:lnTo>
                  <a:lnTo>
                    <a:pt x="62" y="26"/>
                  </a:lnTo>
                  <a:lnTo>
                    <a:pt x="63" y="28"/>
                  </a:lnTo>
                  <a:lnTo>
                    <a:pt x="63" y="29"/>
                  </a:lnTo>
                  <a:lnTo>
                    <a:pt x="62" y="32"/>
                  </a:lnTo>
                  <a:lnTo>
                    <a:pt x="61" y="33"/>
                  </a:lnTo>
                  <a:lnTo>
                    <a:pt x="58" y="34"/>
                  </a:lnTo>
                  <a:lnTo>
                    <a:pt x="53" y="34"/>
                  </a:lnTo>
                  <a:lnTo>
                    <a:pt x="48" y="32"/>
                  </a:lnTo>
                  <a:lnTo>
                    <a:pt x="44" y="28"/>
                  </a:lnTo>
                  <a:lnTo>
                    <a:pt x="42" y="28"/>
                  </a:lnTo>
                  <a:lnTo>
                    <a:pt x="39" y="29"/>
                  </a:lnTo>
                  <a:lnTo>
                    <a:pt x="38" y="32"/>
                  </a:lnTo>
                  <a:lnTo>
                    <a:pt x="34" y="33"/>
                  </a:lnTo>
                  <a:lnTo>
                    <a:pt x="33" y="34"/>
                  </a:lnTo>
                  <a:lnTo>
                    <a:pt x="30" y="35"/>
                  </a:lnTo>
                  <a:lnTo>
                    <a:pt x="28" y="37"/>
                  </a:lnTo>
                  <a:lnTo>
                    <a:pt x="24" y="35"/>
                  </a:lnTo>
                  <a:lnTo>
                    <a:pt x="22" y="35"/>
                  </a:lnTo>
                  <a:lnTo>
                    <a:pt x="19" y="37"/>
                  </a:lnTo>
                  <a:lnTo>
                    <a:pt x="16" y="38"/>
                  </a:lnTo>
                  <a:lnTo>
                    <a:pt x="15" y="41"/>
                  </a:lnTo>
                  <a:lnTo>
                    <a:pt x="15" y="45"/>
                  </a:lnTo>
                  <a:lnTo>
                    <a:pt x="14" y="47"/>
                  </a:lnTo>
                  <a:lnTo>
                    <a:pt x="13" y="47"/>
                  </a:lnTo>
                  <a:lnTo>
                    <a:pt x="10" y="47"/>
                  </a:lnTo>
                  <a:lnTo>
                    <a:pt x="8" y="44"/>
                  </a:lnTo>
                  <a:lnTo>
                    <a:pt x="4" y="40"/>
                  </a:lnTo>
                  <a:lnTo>
                    <a:pt x="0" y="3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3" name="Freeform 532"/>
            <p:cNvSpPr>
              <a:spLocks/>
            </p:cNvSpPr>
            <p:nvPr/>
          </p:nvSpPr>
          <p:spPr bwMode="auto">
            <a:xfrm>
              <a:off x="2476500" y="3749679"/>
              <a:ext cx="31750" cy="17463"/>
            </a:xfrm>
            <a:custGeom>
              <a:avLst/>
              <a:gdLst>
                <a:gd name="T0" fmla="*/ 2147483647 w 22"/>
                <a:gd name="T1" fmla="*/ 0 h 11"/>
                <a:gd name="T2" fmla="*/ 2147483647 w 22"/>
                <a:gd name="T3" fmla="*/ 0 h 11"/>
                <a:gd name="T4" fmla="*/ 2147483647 w 22"/>
                <a:gd name="T5" fmla="*/ 0 h 11"/>
                <a:gd name="T6" fmla="*/ 2147483647 w 22"/>
                <a:gd name="T7" fmla="*/ 2147483647 h 11"/>
                <a:gd name="T8" fmla="*/ 2147483647 w 22"/>
                <a:gd name="T9" fmla="*/ 2147483647 h 11"/>
                <a:gd name="T10" fmla="*/ 2147483647 w 22"/>
                <a:gd name="T11" fmla="*/ 2147483647 h 11"/>
                <a:gd name="T12" fmla="*/ 2147483647 w 22"/>
                <a:gd name="T13" fmla="*/ 2147483647 h 11"/>
                <a:gd name="T14" fmla="*/ 2147483647 w 22"/>
                <a:gd name="T15" fmla="*/ 2147483647 h 11"/>
                <a:gd name="T16" fmla="*/ 2147483647 w 22"/>
                <a:gd name="T17" fmla="*/ 2147483647 h 11"/>
                <a:gd name="T18" fmla="*/ 2147483647 w 22"/>
                <a:gd name="T19" fmla="*/ 2147483647 h 11"/>
                <a:gd name="T20" fmla="*/ 2147483647 w 22"/>
                <a:gd name="T21" fmla="*/ 2147483647 h 11"/>
                <a:gd name="T22" fmla="*/ 0 w 22"/>
                <a:gd name="T23" fmla="*/ 2147483647 h 11"/>
                <a:gd name="T24" fmla="*/ 0 w 22"/>
                <a:gd name="T25" fmla="*/ 2147483647 h 11"/>
                <a:gd name="T26" fmla="*/ 0 w 22"/>
                <a:gd name="T27" fmla="*/ 2147483647 h 11"/>
                <a:gd name="T28" fmla="*/ 2147483647 w 22"/>
                <a:gd name="T29" fmla="*/ 2147483647 h 11"/>
                <a:gd name="T30" fmla="*/ 2147483647 w 22"/>
                <a:gd name="T31" fmla="*/ 0 h 11"/>
                <a:gd name="T32" fmla="*/ 2147483647 w 22"/>
                <a:gd name="T33" fmla="*/ 0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1"/>
                <a:gd name="T53" fmla="*/ 22 w 2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1">
                  <a:moveTo>
                    <a:pt x="13" y="0"/>
                  </a:moveTo>
                  <a:lnTo>
                    <a:pt x="17" y="0"/>
                  </a:lnTo>
                  <a:lnTo>
                    <a:pt x="19" y="0"/>
                  </a:lnTo>
                  <a:lnTo>
                    <a:pt x="20" y="2"/>
                  </a:lnTo>
                  <a:lnTo>
                    <a:pt x="22" y="4"/>
                  </a:lnTo>
                  <a:lnTo>
                    <a:pt x="20" y="7"/>
                  </a:lnTo>
                  <a:lnTo>
                    <a:pt x="19" y="9"/>
                  </a:lnTo>
                  <a:lnTo>
                    <a:pt x="17" y="10"/>
                  </a:lnTo>
                  <a:lnTo>
                    <a:pt x="13" y="11"/>
                  </a:lnTo>
                  <a:lnTo>
                    <a:pt x="8" y="11"/>
                  </a:lnTo>
                  <a:lnTo>
                    <a:pt x="4" y="10"/>
                  </a:lnTo>
                  <a:lnTo>
                    <a:pt x="0" y="8"/>
                  </a:lnTo>
                  <a:lnTo>
                    <a:pt x="0" y="6"/>
                  </a:lnTo>
                  <a:lnTo>
                    <a:pt x="0" y="3"/>
                  </a:lnTo>
                  <a:lnTo>
                    <a:pt x="3" y="1"/>
                  </a:lnTo>
                  <a:lnTo>
                    <a:pt x="8" y="0"/>
                  </a:lnTo>
                  <a:lnTo>
                    <a:pt x="1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4" name="Freeform 533"/>
            <p:cNvSpPr>
              <a:spLocks/>
            </p:cNvSpPr>
            <p:nvPr/>
          </p:nvSpPr>
          <p:spPr bwMode="auto">
            <a:xfrm>
              <a:off x="2528892" y="3800479"/>
              <a:ext cx="92075" cy="74613"/>
            </a:xfrm>
            <a:custGeom>
              <a:avLst/>
              <a:gdLst>
                <a:gd name="T0" fmla="*/ 0 w 63"/>
                <a:gd name="T1" fmla="*/ 2147483647 h 47"/>
                <a:gd name="T2" fmla="*/ 2147483647 w 63"/>
                <a:gd name="T3" fmla="*/ 2147483647 h 47"/>
                <a:gd name="T4" fmla="*/ 2147483647 w 63"/>
                <a:gd name="T5" fmla="*/ 2147483647 h 47"/>
                <a:gd name="T6" fmla="*/ 2147483647 w 63"/>
                <a:gd name="T7" fmla="*/ 2147483647 h 47"/>
                <a:gd name="T8" fmla="*/ 2147483647 w 63"/>
                <a:gd name="T9" fmla="*/ 2147483647 h 47"/>
                <a:gd name="T10" fmla="*/ 2147483647 w 63"/>
                <a:gd name="T11" fmla="*/ 2147483647 h 47"/>
                <a:gd name="T12" fmla="*/ 2147483647 w 63"/>
                <a:gd name="T13" fmla="*/ 2147483647 h 47"/>
                <a:gd name="T14" fmla="*/ 2147483647 w 63"/>
                <a:gd name="T15" fmla="*/ 0 h 47"/>
                <a:gd name="T16" fmla="*/ 2147483647 w 63"/>
                <a:gd name="T17" fmla="*/ 2147483647 h 47"/>
                <a:gd name="T18" fmla="*/ 2147483647 w 63"/>
                <a:gd name="T19" fmla="*/ 2147483647 h 47"/>
                <a:gd name="T20" fmla="*/ 2147483647 w 63"/>
                <a:gd name="T21" fmla="*/ 2147483647 h 47"/>
                <a:gd name="T22" fmla="*/ 2147483647 w 63"/>
                <a:gd name="T23" fmla="*/ 2147483647 h 47"/>
                <a:gd name="T24" fmla="*/ 2147483647 w 63"/>
                <a:gd name="T25" fmla="*/ 2147483647 h 47"/>
                <a:gd name="T26" fmla="*/ 2147483647 w 63"/>
                <a:gd name="T27" fmla="*/ 2147483647 h 47"/>
                <a:gd name="T28" fmla="*/ 2147483647 w 63"/>
                <a:gd name="T29" fmla="*/ 2147483647 h 47"/>
                <a:gd name="T30" fmla="*/ 2147483647 w 63"/>
                <a:gd name="T31" fmla="*/ 2147483647 h 47"/>
                <a:gd name="T32" fmla="*/ 2147483647 w 63"/>
                <a:gd name="T33" fmla="*/ 2147483647 h 47"/>
                <a:gd name="T34" fmla="*/ 2147483647 w 63"/>
                <a:gd name="T35" fmla="*/ 2147483647 h 47"/>
                <a:gd name="T36" fmla="*/ 2147483647 w 63"/>
                <a:gd name="T37" fmla="*/ 2147483647 h 47"/>
                <a:gd name="T38" fmla="*/ 2147483647 w 63"/>
                <a:gd name="T39" fmla="*/ 2147483647 h 47"/>
                <a:gd name="T40" fmla="*/ 2147483647 w 63"/>
                <a:gd name="T41" fmla="*/ 2147483647 h 47"/>
                <a:gd name="T42" fmla="*/ 2147483647 w 63"/>
                <a:gd name="T43" fmla="*/ 2147483647 h 47"/>
                <a:gd name="T44" fmla="*/ 2147483647 w 63"/>
                <a:gd name="T45" fmla="*/ 2147483647 h 47"/>
                <a:gd name="T46" fmla="*/ 2147483647 w 63"/>
                <a:gd name="T47" fmla="*/ 2147483647 h 47"/>
                <a:gd name="T48" fmla="*/ 2147483647 w 63"/>
                <a:gd name="T49" fmla="*/ 2147483647 h 47"/>
                <a:gd name="T50" fmla="*/ 2147483647 w 63"/>
                <a:gd name="T51" fmla="*/ 2147483647 h 47"/>
                <a:gd name="T52" fmla="*/ 2147483647 w 63"/>
                <a:gd name="T53" fmla="*/ 2147483647 h 47"/>
                <a:gd name="T54" fmla="*/ 2147483647 w 63"/>
                <a:gd name="T55" fmla="*/ 2147483647 h 47"/>
                <a:gd name="T56" fmla="*/ 2147483647 w 63"/>
                <a:gd name="T57" fmla="*/ 2147483647 h 47"/>
                <a:gd name="T58" fmla="*/ 2147483647 w 63"/>
                <a:gd name="T59" fmla="*/ 2147483647 h 47"/>
                <a:gd name="T60" fmla="*/ 2147483647 w 63"/>
                <a:gd name="T61" fmla="*/ 2147483647 h 47"/>
                <a:gd name="T62" fmla="*/ 0 w 63"/>
                <a:gd name="T63" fmla="*/ 2147483647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47"/>
                <a:gd name="T98" fmla="*/ 63 w 63"/>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47">
                  <a:moveTo>
                    <a:pt x="0" y="38"/>
                  </a:moveTo>
                  <a:lnTo>
                    <a:pt x="0" y="38"/>
                  </a:lnTo>
                  <a:lnTo>
                    <a:pt x="2" y="36"/>
                  </a:lnTo>
                  <a:lnTo>
                    <a:pt x="4" y="34"/>
                  </a:lnTo>
                  <a:lnTo>
                    <a:pt x="4" y="32"/>
                  </a:lnTo>
                  <a:lnTo>
                    <a:pt x="4" y="29"/>
                  </a:lnTo>
                  <a:lnTo>
                    <a:pt x="1" y="25"/>
                  </a:lnTo>
                  <a:lnTo>
                    <a:pt x="0" y="23"/>
                  </a:lnTo>
                  <a:lnTo>
                    <a:pt x="1" y="21"/>
                  </a:lnTo>
                  <a:lnTo>
                    <a:pt x="4" y="16"/>
                  </a:lnTo>
                  <a:lnTo>
                    <a:pt x="5" y="11"/>
                  </a:lnTo>
                  <a:lnTo>
                    <a:pt x="6" y="6"/>
                  </a:lnTo>
                  <a:lnTo>
                    <a:pt x="6" y="0"/>
                  </a:lnTo>
                  <a:lnTo>
                    <a:pt x="15" y="1"/>
                  </a:lnTo>
                  <a:lnTo>
                    <a:pt x="19" y="1"/>
                  </a:lnTo>
                  <a:lnTo>
                    <a:pt x="23" y="3"/>
                  </a:lnTo>
                  <a:lnTo>
                    <a:pt x="31" y="7"/>
                  </a:lnTo>
                  <a:lnTo>
                    <a:pt x="37" y="9"/>
                  </a:lnTo>
                  <a:lnTo>
                    <a:pt x="39" y="13"/>
                  </a:lnTo>
                  <a:lnTo>
                    <a:pt x="43" y="15"/>
                  </a:lnTo>
                  <a:lnTo>
                    <a:pt x="48" y="17"/>
                  </a:lnTo>
                  <a:lnTo>
                    <a:pt x="56" y="21"/>
                  </a:lnTo>
                  <a:lnTo>
                    <a:pt x="62" y="26"/>
                  </a:lnTo>
                  <a:lnTo>
                    <a:pt x="63" y="28"/>
                  </a:lnTo>
                  <a:lnTo>
                    <a:pt x="63" y="29"/>
                  </a:lnTo>
                  <a:lnTo>
                    <a:pt x="62" y="32"/>
                  </a:lnTo>
                  <a:lnTo>
                    <a:pt x="61" y="33"/>
                  </a:lnTo>
                  <a:lnTo>
                    <a:pt x="58" y="34"/>
                  </a:lnTo>
                  <a:lnTo>
                    <a:pt x="53" y="34"/>
                  </a:lnTo>
                  <a:lnTo>
                    <a:pt x="48" y="32"/>
                  </a:lnTo>
                  <a:lnTo>
                    <a:pt x="44" y="28"/>
                  </a:lnTo>
                  <a:lnTo>
                    <a:pt x="42" y="28"/>
                  </a:lnTo>
                  <a:lnTo>
                    <a:pt x="39" y="29"/>
                  </a:lnTo>
                  <a:lnTo>
                    <a:pt x="38" y="32"/>
                  </a:lnTo>
                  <a:lnTo>
                    <a:pt x="34" y="33"/>
                  </a:lnTo>
                  <a:lnTo>
                    <a:pt x="33" y="34"/>
                  </a:lnTo>
                  <a:lnTo>
                    <a:pt x="30" y="35"/>
                  </a:lnTo>
                  <a:lnTo>
                    <a:pt x="28" y="36"/>
                  </a:lnTo>
                  <a:lnTo>
                    <a:pt x="24" y="35"/>
                  </a:lnTo>
                  <a:lnTo>
                    <a:pt x="21" y="35"/>
                  </a:lnTo>
                  <a:lnTo>
                    <a:pt x="19" y="36"/>
                  </a:lnTo>
                  <a:lnTo>
                    <a:pt x="16" y="38"/>
                  </a:lnTo>
                  <a:lnTo>
                    <a:pt x="15" y="41"/>
                  </a:lnTo>
                  <a:lnTo>
                    <a:pt x="15" y="45"/>
                  </a:lnTo>
                  <a:lnTo>
                    <a:pt x="14" y="47"/>
                  </a:lnTo>
                  <a:lnTo>
                    <a:pt x="12" y="47"/>
                  </a:lnTo>
                  <a:lnTo>
                    <a:pt x="10" y="47"/>
                  </a:lnTo>
                  <a:lnTo>
                    <a:pt x="7" y="44"/>
                  </a:lnTo>
                  <a:lnTo>
                    <a:pt x="4" y="40"/>
                  </a:lnTo>
                  <a:lnTo>
                    <a:pt x="0" y="3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5" name="Freeform 534"/>
            <p:cNvSpPr>
              <a:spLocks/>
            </p:cNvSpPr>
            <p:nvPr/>
          </p:nvSpPr>
          <p:spPr bwMode="auto">
            <a:xfrm>
              <a:off x="2474913" y="3746501"/>
              <a:ext cx="30162" cy="19050"/>
            </a:xfrm>
            <a:custGeom>
              <a:avLst/>
              <a:gdLst>
                <a:gd name="T0" fmla="*/ 2147483647 w 21"/>
                <a:gd name="T1" fmla="*/ 0 h 12"/>
                <a:gd name="T2" fmla="*/ 2147483647 w 21"/>
                <a:gd name="T3" fmla="*/ 0 h 12"/>
                <a:gd name="T4" fmla="*/ 2147483647 w 21"/>
                <a:gd name="T5" fmla="*/ 0 h 12"/>
                <a:gd name="T6" fmla="*/ 2147483647 w 21"/>
                <a:gd name="T7" fmla="*/ 0 h 12"/>
                <a:gd name="T8" fmla="*/ 2147483647 w 21"/>
                <a:gd name="T9" fmla="*/ 2147483647 h 12"/>
                <a:gd name="T10" fmla="*/ 2147483647 w 21"/>
                <a:gd name="T11" fmla="*/ 2147483647 h 12"/>
                <a:gd name="T12" fmla="*/ 2147483647 w 21"/>
                <a:gd name="T13" fmla="*/ 2147483647 h 12"/>
                <a:gd name="T14" fmla="*/ 2147483647 w 21"/>
                <a:gd name="T15" fmla="*/ 2147483647 h 12"/>
                <a:gd name="T16" fmla="*/ 2147483647 w 21"/>
                <a:gd name="T17" fmla="*/ 2147483647 h 12"/>
                <a:gd name="T18" fmla="*/ 2147483647 w 21"/>
                <a:gd name="T19" fmla="*/ 2147483647 h 12"/>
                <a:gd name="T20" fmla="*/ 2147483647 w 21"/>
                <a:gd name="T21" fmla="*/ 2147483647 h 12"/>
                <a:gd name="T22" fmla="*/ 2147483647 w 21"/>
                <a:gd name="T23" fmla="*/ 2147483647 h 12"/>
                <a:gd name="T24" fmla="*/ 2147483647 w 21"/>
                <a:gd name="T25" fmla="*/ 2147483647 h 12"/>
                <a:gd name="T26" fmla="*/ 2147483647 w 21"/>
                <a:gd name="T27" fmla="*/ 2147483647 h 12"/>
                <a:gd name="T28" fmla="*/ 0 w 21"/>
                <a:gd name="T29" fmla="*/ 2147483647 h 12"/>
                <a:gd name="T30" fmla="*/ 0 w 21"/>
                <a:gd name="T31" fmla="*/ 2147483647 h 12"/>
                <a:gd name="T32" fmla="*/ 0 w 21"/>
                <a:gd name="T33" fmla="*/ 2147483647 h 12"/>
                <a:gd name="T34" fmla="*/ 0 w 21"/>
                <a:gd name="T35" fmla="*/ 2147483647 h 12"/>
                <a:gd name="T36" fmla="*/ 2147483647 w 21"/>
                <a:gd name="T37" fmla="*/ 2147483647 h 12"/>
                <a:gd name="T38" fmla="*/ 2147483647 w 21"/>
                <a:gd name="T39" fmla="*/ 0 h 12"/>
                <a:gd name="T40" fmla="*/ 2147483647 w 21"/>
                <a:gd name="T41" fmla="*/ 0 h 12"/>
                <a:gd name="T42" fmla="*/ 2147483647 w 21"/>
                <a:gd name="T43" fmla="*/ 0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12"/>
                <a:gd name="T68" fmla="*/ 21 w 21"/>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12">
                  <a:moveTo>
                    <a:pt x="13" y="0"/>
                  </a:moveTo>
                  <a:lnTo>
                    <a:pt x="13" y="0"/>
                  </a:lnTo>
                  <a:lnTo>
                    <a:pt x="16" y="0"/>
                  </a:lnTo>
                  <a:lnTo>
                    <a:pt x="19" y="0"/>
                  </a:lnTo>
                  <a:lnTo>
                    <a:pt x="20" y="3"/>
                  </a:lnTo>
                  <a:lnTo>
                    <a:pt x="21" y="5"/>
                  </a:lnTo>
                  <a:lnTo>
                    <a:pt x="20" y="8"/>
                  </a:lnTo>
                  <a:lnTo>
                    <a:pt x="19" y="10"/>
                  </a:lnTo>
                  <a:lnTo>
                    <a:pt x="16" y="11"/>
                  </a:lnTo>
                  <a:lnTo>
                    <a:pt x="13" y="12"/>
                  </a:lnTo>
                  <a:lnTo>
                    <a:pt x="8" y="12"/>
                  </a:lnTo>
                  <a:lnTo>
                    <a:pt x="4" y="11"/>
                  </a:lnTo>
                  <a:lnTo>
                    <a:pt x="0" y="9"/>
                  </a:lnTo>
                  <a:lnTo>
                    <a:pt x="0" y="6"/>
                  </a:lnTo>
                  <a:lnTo>
                    <a:pt x="0" y="4"/>
                  </a:lnTo>
                  <a:lnTo>
                    <a:pt x="2" y="2"/>
                  </a:lnTo>
                  <a:lnTo>
                    <a:pt x="8" y="0"/>
                  </a:lnTo>
                  <a:lnTo>
                    <a:pt x="1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6" name="Freeform 535"/>
            <p:cNvSpPr>
              <a:spLocks/>
            </p:cNvSpPr>
            <p:nvPr/>
          </p:nvSpPr>
          <p:spPr bwMode="auto">
            <a:xfrm>
              <a:off x="2443164" y="3679828"/>
              <a:ext cx="9525" cy="14288"/>
            </a:xfrm>
            <a:custGeom>
              <a:avLst/>
              <a:gdLst>
                <a:gd name="T0" fmla="*/ 2147483647 w 7"/>
                <a:gd name="T1" fmla="*/ 2147483647 h 9"/>
                <a:gd name="T2" fmla="*/ 0 w 7"/>
                <a:gd name="T3" fmla="*/ 2147483647 h 9"/>
                <a:gd name="T4" fmla="*/ 0 w 7"/>
                <a:gd name="T5" fmla="*/ 2147483647 h 9"/>
                <a:gd name="T6" fmla="*/ 2147483647 w 7"/>
                <a:gd name="T7" fmla="*/ 0 h 9"/>
                <a:gd name="T8" fmla="*/ 2147483647 w 7"/>
                <a:gd name="T9" fmla="*/ 2147483647 h 9"/>
                <a:gd name="T10" fmla="*/ 2147483647 w 7"/>
                <a:gd name="T11" fmla="*/ 2147483647 h 9"/>
                <a:gd name="T12" fmla="*/ 2147483647 w 7"/>
                <a:gd name="T13" fmla="*/ 2147483647 h 9"/>
                <a:gd name="T14" fmla="*/ 2147483647 w 7"/>
                <a:gd name="T15" fmla="*/ 2147483647 h 9"/>
                <a:gd name="T16" fmla="*/ 2147483647 w 7"/>
                <a:gd name="T17" fmla="*/ 2147483647 h 9"/>
                <a:gd name="T18" fmla="*/ 2147483647 w 7"/>
                <a:gd name="T19" fmla="*/ 2147483647 h 9"/>
                <a:gd name="T20" fmla="*/ 2147483647 w 7"/>
                <a:gd name="T21" fmla="*/ 2147483647 h 9"/>
                <a:gd name="T22" fmla="*/ 2147483647 w 7"/>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9"/>
                <a:gd name="T38" fmla="*/ 7 w 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9">
                  <a:moveTo>
                    <a:pt x="2" y="5"/>
                  </a:moveTo>
                  <a:lnTo>
                    <a:pt x="0" y="3"/>
                  </a:lnTo>
                  <a:lnTo>
                    <a:pt x="0" y="1"/>
                  </a:lnTo>
                  <a:lnTo>
                    <a:pt x="2" y="0"/>
                  </a:lnTo>
                  <a:lnTo>
                    <a:pt x="3" y="1"/>
                  </a:lnTo>
                  <a:lnTo>
                    <a:pt x="5" y="2"/>
                  </a:lnTo>
                  <a:lnTo>
                    <a:pt x="7" y="5"/>
                  </a:lnTo>
                  <a:lnTo>
                    <a:pt x="7" y="7"/>
                  </a:lnTo>
                  <a:lnTo>
                    <a:pt x="5" y="9"/>
                  </a:lnTo>
                  <a:lnTo>
                    <a:pt x="3" y="9"/>
                  </a:lnTo>
                  <a:lnTo>
                    <a:pt x="2" y="8"/>
                  </a:lnTo>
                  <a:lnTo>
                    <a:pt x="2"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7" name="Freeform 536"/>
            <p:cNvSpPr>
              <a:spLocks/>
            </p:cNvSpPr>
            <p:nvPr/>
          </p:nvSpPr>
          <p:spPr bwMode="auto">
            <a:xfrm>
              <a:off x="2468565" y="3709992"/>
              <a:ext cx="9525" cy="11112"/>
            </a:xfrm>
            <a:custGeom>
              <a:avLst/>
              <a:gdLst>
                <a:gd name="T0" fmla="*/ 2147483647 w 6"/>
                <a:gd name="T1" fmla="*/ 2147483647 h 7"/>
                <a:gd name="T2" fmla="*/ 0 w 6"/>
                <a:gd name="T3" fmla="*/ 2147483647 h 7"/>
                <a:gd name="T4" fmla="*/ 0 w 6"/>
                <a:gd name="T5" fmla="*/ 2147483647 h 7"/>
                <a:gd name="T6" fmla="*/ 2147483647 w 6"/>
                <a:gd name="T7" fmla="*/ 0 h 7"/>
                <a:gd name="T8" fmla="*/ 2147483647 w 6"/>
                <a:gd name="T9" fmla="*/ 0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1" y="4"/>
                  </a:moveTo>
                  <a:lnTo>
                    <a:pt x="0" y="3"/>
                  </a:lnTo>
                  <a:lnTo>
                    <a:pt x="0" y="2"/>
                  </a:lnTo>
                  <a:lnTo>
                    <a:pt x="1" y="0"/>
                  </a:lnTo>
                  <a:lnTo>
                    <a:pt x="3" y="0"/>
                  </a:lnTo>
                  <a:lnTo>
                    <a:pt x="5" y="1"/>
                  </a:lnTo>
                  <a:lnTo>
                    <a:pt x="6" y="2"/>
                  </a:lnTo>
                  <a:lnTo>
                    <a:pt x="5" y="4"/>
                  </a:lnTo>
                  <a:lnTo>
                    <a:pt x="5" y="7"/>
                  </a:lnTo>
                  <a:lnTo>
                    <a:pt x="3" y="7"/>
                  </a:lnTo>
                  <a:lnTo>
                    <a:pt x="1"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8" name="Freeform 537"/>
            <p:cNvSpPr>
              <a:spLocks/>
            </p:cNvSpPr>
            <p:nvPr/>
          </p:nvSpPr>
          <p:spPr bwMode="auto">
            <a:xfrm>
              <a:off x="2441575" y="3678239"/>
              <a:ext cx="7938" cy="14288"/>
            </a:xfrm>
            <a:custGeom>
              <a:avLst/>
              <a:gdLst>
                <a:gd name="T0" fmla="*/ 2147483647 w 6"/>
                <a:gd name="T1" fmla="*/ 2147483647 h 9"/>
                <a:gd name="T2" fmla="*/ 2147483647 w 6"/>
                <a:gd name="T3" fmla="*/ 2147483647 h 9"/>
                <a:gd name="T4" fmla="*/ 0 w 6"/>
                <a:gd name="T5" fmla="*/ 2147483647 h 9"/>
                <a:gd name="T6" fmla="*/ 0 w 6"/>
                <a:gd name="T7" fmla="*/ 2147483647 h 9"/>
                <a:gd name="T8" fmla="*/ 0 w 6"/>
                <a:gd name="T9" fmla="*/ 2147483647 h 9"/>
                <a:gd name="T10" fmla="*/ 0 w 6"/>
                <a:gd name="T11" fmla="*/ 2147483647 h 9"/>
                <a:gd name="T12" fmla="*/ 2147483647 w 6"/>
                <a:gd name="T13" fmla="*/ 0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2147483647 w 6"/>
                <a:gd name="T25" fmla="*/ 2147483647 h 9"/>
                <a:gd name="T26" fmla="*/ 2147483647 w 6"/>
                <a:gd name="T27" fmla="*/ 2147483647 h 9"/>
                <a:gd name="T28" fmla="*/ 2147483647 w 6"/>
                <a:gd name="T29" fmla="*/ 2147483647 h 9"/>
                <a:gd name="T30" fmla="*/ 2147483647 w 6"/>
                <a:gd name="T31" fmla="*/ 2147483647 h 9"/>
                <a:gd name="T32" fmla="*/ 2147483647 w 6"/>
                <a:gd name="T33" fmla="*/ 2147483647 h 9"/>
                <a:gd name="T34" fmla="*/ 2147483647 w 6"/>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9"/>
                <a:gd name="T56" fmla="*/ 6 w 6"/>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9">
                  <a:moveTo>
                    <a:pt x="1" y="4"/>
                  </a:moveTo>
                  <a:lnTo>
                    <a:pt x="1" y="4"/>
                  </a:lnTo>
                  <a:lnTo>
                    <a:pt x="0" y="3"/>
                  </a:lnTo>
                  <a:lnTo>
                    <a:pt x="0" y="1"/>
                  </a:lnTo>
                  <a:lnTo>
                    <a:pt x="1" y="0"/>
                  </a:lnTo>
                  <a:lnTo>
                    <a:pt x="3" y="1"/>
                  </a:lnTo>
                  <a:lnTo>
                    <a:pt x="5" y="2"/>
                  </a:lnTo>
                  <a:lnTo>
                    <a:pt x="6" y="4"/>
                  </a:lnTo>
                  <a:lnTo>
                    <a:pt x="6" y="7"/>
                  </a:lnTo>
                  <a:lnTo>
                    <a:pt x="5" y="9"/>
                  </a:lnTo>
                  <a:lnTo>
                    <a:pt x="3" y="9"/>
                  </a:lnTo>
                  <a:lnTo>
                    <a:pt x="1" y="8"/>
                  </a:lnTo>
                  <a:lnTo>
                    <a:pt x="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39" name="Freeform 538"/>
            <p:cNvSpPr>
              <a:spLocks/>
            </p:cNvSpPr>
            <p:nvPr/>
          </p:nvSpPr>
          <p:spPr bwMode="auto">
            <a:xfrm>
              <a:off x="2466977" y="3708404"/>
              <a:ext cx="9525" cy="11113"/>
            </a:xfrm>
            <a:custGeom>
              <a:avLst/>
              <a:gdLst>
                <a:gd name="T0" fmla="*/ 2147483647 w 6"/>
                <a:gd name="T1" fmla="*/ 2147483647 h 7"/>
                <a:gd name="T2" fmla="*/ 2147483647 w 6"/>
                <a:gd name="T3" fmla="*/ 2147483647 h 7"/>
                <a:gd name="T4" fmla="*/ 0 w 6"/>
                <a:gd name="T5" fmla="*/ 2147483647 h 7"/>
                <a:gd name="T6" fmla="*/ 0 w 6"/>
                <a:gd name="T7" fmla="*/ 2147483647 h 7"/>
                <a:gd name="T8" fmla="*/ 2147483647 w 6"/>
                <a:gd name="T9" fmla="*/ 0 h 7"/>
                <a:gd name="T10" fmla="*/ 2147483647 w 6"/>
                <a:gd name="T11" fmla="*/ 0 h 7"/>
                <a:gd name="T12" fmla="*/ 2147483647 w 6"/>
                <a:gd name="T13" fmla="*/ 0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1" y="4"/>
                  </a:moveTo>
                  <a:lnTo>
                    <a:pt x="1" y="4"/>
                  </a:lnTo>
                  <a:lnTo>
                    <a:pt x="0" y="3"/>
                  </a:lnTo>
                  <a:lnTo>
                    <a:pt x="0" y="2"/>
                  </a:lnTo>
                  <a:lnTo>
                    <a:pt x="1" y="0"/>
                  </a:lnTo>
                  <a:lnTo>
                    <a:pt x="2" y="0"/>
                  </a:lnTo>
                  <a:lnTo>
                    <a:pt x="5" y="1"/>
                  </a:lnTo>
                  <a:lnTo>
                    <a:pt x="6" y="2"/>
                  </a:lnTo>
                  <a:lnTo>
                    <a:pt x="5" y="4"/>
                  </a:lnTo>
                  <a:lnTo>
                    <a:pt x="5" y="7"/>
                  </a:lnTo>
                  <a:lnTo>
                    <a:pt x="2" y="7"/>
                  </a:lnTo>
                  <a:lnTo>
                    <a:pt x="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0" name="Freeform 539"/>
            <p:cNvSpPr>
              <a:spLocks/>
            </p:cNvSpPr>
            <p:nvPr/>
          </p:nvSpPr>
          <p:spPr bwMode="auto">
            <a:xfrm>
              <a:off x="2420942" y="3675068"/>
              <a:ext cx="7937" cy="7937"/>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2147483647 w 6"/>
                <a:gd name="T9" fmla="*/ 0 h 5"/>
                <a:gd name="T10" fmla="*/ 2147483647 w 6"/>
                <a:gd name="T11" fmla="*/ 0 h 5"/>
                <a:gd name="T12" fmla="*/ 2147483647 w 6"/>
                <a:gd name="T13" fmla="*/ 2147483647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6" y="4"/>
                  </a:moveTo>
                  <a:lnTo>
                    <a:pt x="5" y="5"/>
                  </a:lnTo>
                  <a:lnTo>
                    <a:pt x="3" y="4"/>
                  </a:lnTo>
                  <a:lnTo>
                    <a:pt x="0" y="2"/>
                  </a:lnTo>
                  <a:lnTo>
                    <a:pt x="3" y="0"/>
                  </a:lnTo>
                  <a:lnTo>
                    <a:pt x="4" y="0"/>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1" name="Freeform 540"/>
            <p:cNvSpPr>
              <a:spLocks/>
            </p:cNvSpPr>
            <p:nvPr/>
          </p:nvSpPr>
          <p:spPr bwMode="auto">
            <a:xfrm>
              <a:off x="2405067" y="3654429"/>
              <a:ext cx="7937" cy="9525"/>
            </a:xfrm>
            <a:custGeom>
              <a:avLst/>
              <a:gdLst>
                <a:gd name="T0" fmla="*/ 2147483647 w 6"/>
                <a:gd name="T1" fmla="*/ 2147483647 h 6"/>
                <a:gd name="T2" fmla="*/ 0 w 6"/>
                <a:gd name="T3" fmla="*/ 2147483647 h 6"/>
                <a:gd name="T4" fmla="*/ 0 w 6"/>
                <a:gd name="T5" fmla="*/ 2147483647 h 6"/>
                <a:gd name="T6" fmla="*/ 2147483647 w 6"/>
                <a:gd name="T7" fmla="*/ 0 h 6"/>
                <a:gd name="T8" fmla="*/ 2147483647 w 6"/>
                <a:gd name="T9" fmla="*/ 0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2" y="4"/>
                  </a:moveTo>
                  <a:lnTo>
                    <a:pt x="0" y="3"/>
                  </a:lnTo>
                  <a:lnTo>
                    <a:pt x="0" y="2"/>
                  </a:lnTo>
                  <a:lnTo>
                    <a:pt x="1" y="0"/>
                  </a:lnTo>
                  <a:lnTo>
                    <a:pt x="2" y="0"/>
                  </a:lnTo>
                  <a:lnTo>
                    <a:pt x="5" y="2"/>
                  </a:lnTo>
                  <a:lnTo>
                    <a:pt x="6" y="4"/>
                  </a:lnTo>
                  <a:lnTo>
                    <a:pt x="6" y="6"/>
                  </a:lnTo>
                  <a:lnTo>
                    <a:pt x="5" y="6"/>
                  </a:lnTo>
                  <a:lnTo>
                    <a:pt x="2"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2" name="Freeform 541"/>
            <p:cNvSpPr>
              <a:spLocks/>
            </p:cNvSpPr>
            <p:nvPr/>
          </p:nvSpPr>
          <p:spPr bwMode="auto">
            <a:xfrm>
              <a:off x="2419352" y="3673475"/>
              <a:ext cx="9525" cy="7938"/>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0 w 6"/>
                <a:gd name="T13" fmla="*/ 2147483647 h 5"/>
                <a:gd name="T14" fmla="*/ 0 w 6"/>
                <a:gd name="T15" fmla="*/ 2147483647 h 5"/>
                <a:gd name="T16" fmla="*/ 2147483647 w 6"/>
                <a:gd name="T17" fmla="*/ 0 h 5"/>
                <a:gd name="T18" fmla="*/ 2147483647 w 6"/>
                <a:gd name="T19" fmla="*/ 0 h 5"/>
                <a:gd name="T20" fmla="*/ 2147483647 w 6"/>
                <a:gd name="T21" fmla="*/ 2147483647 h 5"/>
                <a:gd name="T22" fmla="*/ 2147483647 w 6"/>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4"/>
                  </a:moveTo>
                  <a:lnTo>
                    <a:pt x="6" y="4"/>
                  </a:lnTo>
                  <a:lnTo>
                    <a:pt x="5" y="5"/>
                  </a:lnTo>
                  <a:lnTo>
                    <a:pt x="2" y="4"/>
                  </a:lnTo>
                  <a:lnTo>
                    <a:pt x="0" y="1"/>
                  </a:lnTo>
                  <a:lnTo>
                    <a:pt x="2" y="0"/>
                  </a:lnTo>
                  <a:lnTo>
                    <a:pt x="4" y="0"/>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3" name="Freeform 542"/>
            <p:cNvSpPr>
              <a:spLocks/>
            </p:cNvSpPr>
            <p:nvPr/>
          </p:nvSpPr>
          <p:spPr bwMode="auto">
            <a:xfrm>
              <a:off x="2401891" y="3652842"/>
              <a:ext cx="9525" cy="9525"/>
            </a:xfrm>
            <a:custGeom>
              <a:avLst/>
              <a:gdLst>
                <a:gd name="T0" fmla="*/ 2147483647 w 7"/>
                <a:gd name="T1" fmla="*/ 2147483647 h 6"/>
                <a:gd name="T2" fmla="*/ 2147483647 w 7"/>
                <a:gd name="T3" fmla="*/ 2147483647 h 6"/>
                <a:gd name="T4" fmla="*/ 0 w 7"/>
                <a:gd name="T5" fmla="*/ 2147483647 h 6"/>
                <a:gd name="T6" fmla="*/ 0 w 7"/>
                <a:gd name="T7" fmla="*/ 2147483647 h 6"/>
                <a:gd name="T8" fmla="*/ 2147483647 w 7"/>
                <a:gd name="T9" fmla="*/ 0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6"/>
                <a:gd name="T44" fmla="*/ 7 w 7"/>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6">
                  <a:moveTo>
                    <a:pt x="3" y="4"/>
                  </a:moveTo>
                  <a:lnTo>
                    <a:pt x="3" y="4"/>
                  </a:lnTo>
                  <a:lnTo>
                    <a:pt x="0" y="3"/>
                  </a:lnTo>
                  <a:lnTo>
                    <a:pt x="0" y="1"/>
                  </a:lnTo>
                  <a:lnTo>
                    <a:pt x="2" y="0"/>
                  </a:lnTo>
                  <a:lnTo>
                    <a:pt x="3" y="0"/>
                  </a:lnTo>
                  <a:lnTo>
                    <a:pt x="5" y="1"/>
                  </a:lnTo>
                  <a:lnTo>
                    <a:pt x="7" y="4"/>
                  </a:lnTo>
                  <a:lnTo>
                    <a:pt x="7" y="6"/>
                  </a:lnTo>
                  <a:lnTo>
                    <a:pt x="5" y="6"/>
                  </a:lnTo>
                  <a:lnTo>
                    <a:pt x="3"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4" name="Freeform 543"/>
            <p:cNvSpPr>
              <a:spLocks/>
            </p:cNvSpPr>
            <p:nvPr/>
          </p:nvSpPr>
          <p:spPr bwMode="auto">
            <a:xfrm>
              <a:off x="2405064" y="3609979"/>
              <a:ext cx="15875" cy="23813"/>
            </a:xfrm>
            <a:custGeom>
              <a:avLst/>
              <a:gdLst>
                <a:gd name="T0" fmla="*/ 2147483647 w 11"/>
                <a:gd name="T1" fmla="*/ 2147483647 h 15"/>
                <a:gd name="T2" fmla="*/ 2147483647 w 11"/>
                <a:gd name="T3" fmla="*/ 2147483647 h 15"/>
                <a:gd name="T4" fmla="*/ 0 w 11"/>
                <a:gd name="T5" fmla="*/ 2147483647 h 15"/>
                <a:gd name="T6" fmla="*/ 2147483647 w 11"/>
                <a:gd name="T7" fmla="*/ 2147483647 h 15"/>
                <a:gd name="T8" fmla="*/ 2147483647 w 11"/>
                <a:gd name="T9" fmla="*/ 2147483647 h 15"/>
                <a:gd name="T10" fmla="*/ 2147483647 w 11"/>
                <a:gd name="T11" fmla="*/ 0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2147483647 w 11"/>
                <a:gd name="T23" fmla="*/ 2147483647 h 15"/>
                <a:gd name="T24" fmla="*/ 2147483647 w 11"/>
                <a:gd name="T25" fmla="*/ 2147483647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5"/>
                <a:gd name="T41" fmla="*/ 11 w 11"/>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5">
                  <a:moveTo>
                    <a:pt x="5" y="7"/>
                  </a:moveTo>
                  <a:lnTo>
                    <a:pt x="1" y="5"/>
                  </a:lnTo>
                  <a:lnTo>
                    <a:pt x="0" y="5"/>
                  </a:lnTo>
                  <a:lnTo>
                    <a:pt x="1" y="2"/>
                  </a:lnTo>
                  <a:lnTo>
                    <a:pt x="2" y="1"/>
                  </a:lnTo>
                  <a:lnTo>
                    <a:pt x="3" y="0"/>
                  </a:lnTo>
                  <a:lnTo>
                    <a:pt x="5" y="1"/>
                  </a:lnTo>
                  <a:lnTo>
                    <a:pt x="10" y="7"/>
                  </a:lnTo>
                  <a:lnTo>
                    <a:pt x="11" y="12"/>
                  </a:lnTo>
                  <a:lnTo>
                    <a:pt x="11" y="13"/>
                  </a:lnTo>
                  <a:lnTo>
                    <a:pt x="10" y="15"/>
                  </a:lnTo>
                  <a:lnTo>
                    <a:pt x="7" y="11"/>
                  </a:lnTo>
                  <a:lnTo>
                    <a:pt x="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5" name="Freeform 544"/>
            <p:cNvSpPr>
              <a:spLocks/>
            </p:cNvSpPr>
            <p:nvPr/>
          </p:nvSpPr>
          <p:spPr bwMode="auto">
            <a:xfrm>
              <a:off x="2428876" y="3641729"/>
              <a:ext cx="14288" cy="19050"/>
            </a:xfrm>
            <a:custGeom>
              <a:avLst/>
              <a:gdLst>
                <a:gd name="T0" fmla="*/ 2147483647 w 9"/>
                <a:gd name="T1" fmla="*/ 2147483647 h 12"/>
                <a:gd name="T2" fmla="*/ 0 w 9"/>
                <a:gd name="T3" fmla="*/ 0 h 12"/>
                <a:gd name="T4" fmla="*/ 2147483647 w 9"/>
                <a:gd name="T5" fmla="*/ 0 h 12"/>
                <a:gd name="T6" fmla="*/ 2147483647 w 9"/>
                <a:gd name="T7" fmla="*/ 2147483647 h 12"/>
                <a:gd name="T8" fmla="*/ 2147483647 w 9"/>
                <a:gd name="T9" fmla="*/ 2147483647 h 12"/>
                <a:gd name="T10" fmla="*/ 2147483647 w 9"/>
                <a:gd name="T11" fmla="*/ 2147483647 h 12"/>
                <a:gd name="T12" fmla="*/ 2147483647 w 9"/>
                <a:gd name="T13" fmla="*/ 2147483647 h 12"/>
                <a:gd name="T14" fmla="*/ 2147483647 w 9"/>
                <a:gd name="T15" fmla="*/ 2147483647 h 12"/>
                <a:gd name="T16" fmla="*/ 2147483647 w 9"/>
                <a:gd name="T17" fmla="*/ 2147483647 h 12"/>
                <a:gd name="T18" fmla="*/ 2147483647 w 9"/>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2"/>
                <a:gd name="T32" fmla="*/ 9 w 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2">
                  <a:moveTo>
                    <a:pt x="3" y="5"/>
                  </a:moveTo>
                  <a:lnTo>
                    <a:pt x="0" y="0"/>
                  </a:lnTo>
                  <a:lnTo>
                    <a:pt x="3" y="0"/>
                  </a:lnTo>
                  <a:lnTo>
                    <a:pt x="5" y="1"/>
                  </a:lnTo>
                  <a:lnTo>
                    <a:pt x="8" y="5"/>
                  </a:lnTo>
                  <a:lnTo>
                    <a:pt x="9" y="8"/>
                  </a:lnTo>
                  <a:lnTo>
                    <a:pt x="8" y="11"/>
                  </a:lnTo>
                  <a:lnTo>
                    <a:pt x="5" y="12"/>
                  </a:lnTo>
                  <a:lnTo>
                    <a:pt x="4" y="11"/>
                  </a:lnTo>
                  <a:lnTo>
                    <a:pt x="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6" name="Freeform 545"/>
            <p:cNvSpPr>
              <a:spLocks/>
            </p:cNvSpPr>
            <p:nvPr/>
          </p:nvSpPr>
          <p:spPr bwMode="auto">
            <a:xfrm>
              <a:off x="2401889" y="3608388"/>
              <a:ext cx="17462" cy="23812"/>
            </a:xfrm>
            <a:custGeom>
              <a:avLst/>
              <a:gdLst>
                <a:gd name="T0" fmla="*/ 2147483647 w 12"/>
                <a:gd name="T1" fmla="*/ 2147483647 h 15"/>
                <a:gd name="T2" fmla="*/ 2147483647 w 12"/>
                <a:gd name="T3" fmla="*/ 2147483647 h 15"/>
                <a:gd name="T4" fmla="*/ 2147483647 w 12"/>
                <a:gd name="T5" fmla="*/ 2147483647 h 15"/>
                <a:gd name="T6" fmla="*/ 0 w 12"/>
                <a:gd name="T7" fmla="*/ 2147483647 h 15"/>
                <a:gd name="T8" fmla="*/ 2147483647 w 12"/>
                <a:gd name="T9" fmla="*/ 2147483647 h 15"/>
                <a:gd name="T10" fmla="*/ 2147483647 w 12"/>
                <a:gd name="T11" fmla="*/ 2147483647 h 15"/>
                <a:gd name="T12" fmla="*/ 2147483647 w 12"/>
                <a:gd name="T13" fmla="*/ 2147483647 h 15"/>
                <a:gd name="T14" fmla="*/ 2147483647 w 12"/>
                <a:gd name="T15" fmla="*/ 0 h 15"/>
                <a:gd name="T16" fmla="*/ 2147483647 w 12"/>
                <a:gd name="T17" fmla="*/ 2147483647 h 15"/>
                <a:gd name="T18" fmla="*/ 2147483647 w 12"/>
                <a:gd name="T19" fmla="*/ 2147483647 h 15"/>
                <a:gd name="T20" fmla="*/ 2147483647 w 12"/>
                <a:gd name="T21" fmla="*/ 2147483647 h 15"/>
                <a:gd name="T22" fmla="*/ 2147483647 w 12"/>
                <a:gd name="T23" fmla="*/ 2147483647 h 15"/>
                <a:gd name="T24" fmla="*/ 2147483647 w 12"/>
                <a:gd name="T25" fmla="*/ 2147483647 h 15"/>
                <a:gd name="T26" fmla="*/ 2147483647 w 12"/>
                <a:gd name="T27" fmla="*/ 2147483647 h 15"/>
                <a:gd name="T28" fmla="*/ 2147483647 w 12"/>
                <a:gd name="T29" fmla="*/ 2147483647 h 15"/>
                <a:gd name="T30" fmla="*/ 2147483647 w 12"/>
                <a:gd name="T31" fmla="*/ 2147483647 h 15"/>
                <a:gd name="T32" fmla="*/ 2147483647 w 12"/>
                <a:gd name="T33" fmla="*/ 2147483647 h 15"/>
                <a:gd name="T34" fmla="*/ 2147483647 w 12"/>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5"/>
                <a:gd name="T56" fmla="*/ 12 w 12"/>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5">
                  <a:moveTo>
                    <a:pt x="5" y="7"/>
                  </a:moveTo>
                  <a:lnTo>
                    <a:pt x="5" y="7"/>
                  </a:lnTo>
                  <a:lnTo>
                    <a:pt x="2" y="4"/>
                  </a:lnTo>
                  <a:lnTo>
                    <a:pt x="0" y="4"/>
                  </a:lnTo>
                  <a:lnTo>
                    <a:pt x="2" y="2"/>
                  </a:lnTo>
                  <a:lnTo>
                    <a:pt x="3" y="1"/>
                  </a:lnTo>
                  <a:lnTo>
                    <a:pt x="4" y="0"/>
                  </a:lnTo>
                  <a:lnTo>
                    <a:pt x="5" y="1"/>
                  </a:lnTo>
                  <a:lnTo>
                    <a:pt x="11" y="7"/>
                  </a:lnTo>
                  <a:lnTo>
                    <a:pt x="12" y="12"/>
                  </a:lnTo>
                  <a:lnTo>
                    <a:pt x="12" y="13"/>
                  </a:lnTo>
                  <a:lnTo>
                    <a:pt x="11" y="15"/>
                  </a:lnTo>
                  <a:lnTo>
                    <a:pt x="8" y="10"/>
                  </a:lnTo>
                  <a:lnTo>
                    <a:pt x="5"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7" name="Freeform 546"/>
            <p:cNvSpPr>
              <a:spLocks/>
            </p:cNvSpPr>
            <p:nvPr/>
          </p:nvSpPr>
          <p:spPr bwMode="auto">
            <a:xfrm>
              <a:off x="2428875" y="3640141"/>
              <a:ext cx="12700" cy="19050"/>
            </a:xfrm>
            <a:custGeom>
              <a:avLst/>
              <a:gdLst>
                <a:gd name="T0" fmla="*/ 2147483647 w 9"/>
                <a:gd name="T1" fmla="*/ 2147483647 h 12"/>
                <a:gd name="T2" fmla="*/ 2147483647 w 9"/>
                <a:gd name="T3" fmla="*/ 2147483647 h 12"/>
                <a:gd name="T4" fmla="*/ 0 w 9"/>
                <a:gd name="T5" fmla="*/ 0 h 12"/>
                <a:gd name="T6" fmla="*/ 0 w 9"/>
                <a:gd name="T7" fmla="*/ 0 h 12"/>
                <a:gd name="T8" fmla="*/ 2147483647 w 9"/>
                <a:gd name="T9" fmla="*/ 0 h 12"/>
                <a:gd name="T10" fmla="*/ 2147483647 w 9"/>
                <a:gd name="T11" fmla="*/ 2147483647 h 12"/>
                <a:gd name="T12" fmla="*/ 2147483647 w 9"/>
                <a:gd name="T13" fmla="*/ 2147483647 h 12"/>
                <a:gd name="T14" fmla="*/ 2147483647 w 9"/>
                <a:gd name="T15" fmla="*/ 2147483647 h 12"/>
                <a:gd name="T16" fmla="*/ 2147483647 w 9"/>
                <a:gd name="T17" fmla="*/ 2147483647 h 12"/>
                <a:gd name="T18" fmla="*/ 2147483647 w 9"/>
                <a:gd name="T19" fmla="*/ 2147483647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2"/>
                <a:gd name="T44" fmla="*/ 9 w 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2">
                  <a:moveTo>
                    <a:pt x="3" y="5"/>
                  </a:moveTo>
                  <a:lnTo>
                    <a:pt x="3" y="5"/>
                  </a:lnTo>
                  <a:lnTo>
                    <a:pt x="0" y="0"/>
                  </a:lnTo>
                  <a:lnTo>
                    <a:pt x="3" y="0"/>
                  </a:lnTo>
                  <a:lnTo>
                    <a:pt x="5" y="1"/>
                  </a:lnTo>
                  <a:lnTo>
                    <a:pt x="8" y="5"/>
                  </a:lnTo>
                  <a:lnTo>
                    <a:pt x="9" y="8"/>
                  </a:lnTo>
                  <a:lnTo>
                    <a:pt x="8" y="11"/>
                  </a:lnTo>
                  <a:lnTo>
                    <a:pt x="5" y="12"/>
                  </a:lnTo>
                  <a:lnTo>
                    <a:pt x="4" y="11"/>
                  </a:lnTo>
                  <a:lnTo>
                    <a:pt x="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8" name="Freeform 547"/>
            <p:cNvSpPr>
              <a:spLocks/>
            </p:cNvSpPr>
            <p:nvPr/>
          </p:nvSpPr>
          <p:spPr bwMode="auto">
            <a:xfrm>
              <a:off x="2346329" y="3570289"/>
              <a:ext cx="30163" cy="17462"/>
            </a:xfrm>
            <a:custGeom>
              <a:avLst/>
              <a:gdLst>
                <a:gd name="T0" fmla="*/ 2147483647 w 21"/>
                <a:gd name="T1" fmla="*/ 2147483647 h 11"/>
                <a:gd name="T2" fmla="*/ 2147483647 w 21"/>
                <a:gd name="T3" fmla="*/ 2147483647 h 11"/>
                <a:gd name="T4" fmla="*/ 2147483647 w 21"/>
                <a:gd name="T5" fmla="*/ 2147483647 h 11"/>
                <a:gd name="T6" fmla="*/ 2147483647 w 21"/>
                <a:gd name="T7" fmla="*/ 2147483647 h 11"/>
                <a:gd name="T8" fmla="*/ 2147483647 w 21"/>
                <a:gd name="T9" fmla="*/ 2147483647 h 11"/>
                <a:gd name="T10" fmla="*/ 0 w 21"/>
                <a:gd name="T11" fmla="*/ 2147483647 h 11"/>
                <a:gd name="T12" fmla="*/ 0 w 21"/>
                <a:gd name="T13" fmla="*/ 2147483647 h 11"/>
                <a:gd name="T14" fmla="*/ 2147483647 w 21"/>
                <a:gd name="T15" fmla="*/ 2147483647 h 11"/>
                <a:gd name="T16" fmla="*/ 2147483647 w 21"/>
                <a:gd name="T17" fmla="*/ 2147483647 h 11"/>
                <a:gd name="T18" fmla="*/ 2147483647 w 21"/>
                <a:gd name="T19" fmla="*/ 0 h 11"/>
                <a:gd name="T20" fmla="*/ 2147483647 w 21"/>
                <a:gd name="T21" fmla="*/ 2147483647 h 11"/>
                <a:gd name="T22" fmla="*/ 2147483647 w 21"/>
                <a:gd name="T23" fmla="*/ 2147483647 h 11"/>
                <a:gd name="T24" fmla="*/ 2147483647 w 21"/>
                <a:gd name="T25" fmla="*/ 2147483647 h 11"/>
                <a:gd name="T26" fmla="*/ 2147483647 w 21"/>
                <a:gd name="T27" fmla="*/ 2147483647 h 11"/>
                <a:gd name="T28" fmla="*/ 2147483647 w 21"/>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
                <a:gd name="T46" fmla="*/ 0 h 11"/>
                <a:gd name="T47" fmla="*/ 21 w 21"/>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 h="11">
                  <a:moveTo>
                    <a:pt x="16" y="8"/>
                  </a:moveTo>
                  <a:lnTo>
                    <a:pt x="13" y="11"/>
                  </a:lnTo>
                  <a:lnTo>
                    <a:pt x="10" y="11"/>
                  </a:lnTo>
                  <a:lnTo>
                    <a:pt x="4" y="9"/>
                  </a:lnTo>
                  <a:lnTo>
                    <a:pt x="2" y="8"/>
                  </a:lnTo>
                  <a:lnTo>
                    <a:pt x="0" y="7"/>
                  </a:lnTo>
                  <a:lnTo>
                    <a:pt x="0" y="5"/>
                  </a:lnTo>
                  <a:lnTo>
                    <a:pt x="2" y="4"/>
                  </a:lnTo>
                  <a:lnTo>
                    <a:pt x="7" y="1"/>
                  </a:lnTo>
                  <a:lnTo>
                    <a:pt x="12" y="0"/>
                  </a:lnTo>
                  <a:lnTo>
                    <a:pt x="17" y="1"/>
                  </a:lnTo>
                  <a:lnTo>
                    <a:pt x="21" y="5"/>
                  </a:lnTo>
                  <a:lnTo>
                    <a:pt x="21" y="6"/>
                  </a:lnTo>
                  <a:lnTo>
                    <a:pt x="19" y="7"/>
                  </a:lnTo>
                  <a:lnTo>
                    <a:pt x="16"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49" name="Freeform 548"/>
            <p:cNvSpPr>
              <a:spLocks/>
            </p:cNvSpPr>
            <p:nvPr/>
          </p:nvSpPr>
          <p:spPr bwMode="auto">
            <a:xfrm>
              <a:off x="2384427" y="3567114"/>
              <a:ext cx="23813" cy="42862"/>
            </a:xfrm>
            <a:custGeom>
              <a:avLst/>
              <a:gdLst>
                <a:gd name="T0" fmla="*/ 2147483647 w 16"/>
                <a:gd name="T1" fmla="*/ 2147483647 h 27"/>
                <a:gd name="T2" fmla="*/ 2147483647 w 16"/>
                <a:gd name="T3" fmla="*/ 2147483647 h 27"/>
                <a:gd name="T4" fmla="*/ 2147483647 w 16"/>
                <a:gd name="T5" fmla="*/ 2147483647 h 27"/>
                <a:gd name="T6" fmla="*/ 0 w 16"/>
                <a:gd name="T7" fmla="*/ 2147483647 h 27"/>
                <a:gd name="T8" fmla="*/ 0 w 16"/>
                <a:gd name="T9" fmla="*/ 0 h 27"/>
                <a:gd name="T10" fmla="*/ 2147483647 w 16"/>
                <a:gd name="T11" fmla="*/ 2147483647 h 27"/>
                <a:gd name="T12" fmla="*/ 2147483647 w 16"/>
                <a:gd name="T13" fmla="*/ 2147483647 h 27"/>
                <a:gd name="T14" fmla="*/ 2147483647 w 16"/>
                <a:gd name="T15" fmla="*/ 2147483647 h 27"/>
                <a:gd name="T16" fmla="*/ 2147483647 w 16"/>
                <a:gd name="T17" fmla="*/ 2147483647 h 27"/>
                <a:gd name="T18" fmla="*/ 2147483647 w 16"/>
                <a:gd name="T19" fmla="*/ 2147483647 h 27"/>
                <a:gd name="T20" fmla="*/ 2147483647 w 16"/>
                <a:gd name="T21" fmla="*/ 2147483647 h 27"/>
                <a:gd name="T22" fmla="*/ 2147483647 w 16"/>
                <a:gd name="T23" fmla="*/ 2147483647 h 27"/>
                <a:gd name="T24" fmla="*/ 2147483647 w 16"/>
                <a:gd name="T25" fmla="*/ 2147483647 h 27"/>
                <a:gd name="T26" fmla="*/ 2147483647 w 16"/>
                <a:gd name="T27" fmla="*/ 2147483647 h 27"/>
                <a:gd name="T28" fmla="*/ 2147483647 w 16"/>
                <a:gd name="T29" fmla="*/ 2147483647 h 27"/>
                <a:gd name="T30" fmla="*/ 2147483647 w 16"/>
                <a:gd name="T31" fmla="*/ 2147483647 h 27"/>
                <a:gd name="T32" fmla="*/ 2147483647 w 16"/>
                <a:gd name="T33" fmla="*/ 2147483647 h 27"/>
                <a:gd name="T34" fmla="*/ 2147483647 w 16"/>
                <a:gd name="T35" fmla="*/ 2147483647 h 27"/>
                <a:gd name="T36" fmla="*/ 2147483647 w 16"/>
                <a:gd name="T37" fmla="*/ 2147483647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27"/>
                <a:gd name="T59" fmla="*/ 16 w 1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27">
                  <a:moveTo>
                    <a:pt x="5" y="11"/>
                  </a:moveTo>
                  <a:lnTo>
                    <a:pt x="3" y="9"/>
                  </a:lnTo>
                  <a:lnTo>
                    <a:pt x="2" y="6"/>
                  </a:lnTo>
                  <a:lnTo>
                    <a:pt x="0" y="3"/>
                  </a:lnTo>
                  <a:lnTo>
                    <a:pt x="0" y="0"/>
                  </a:lnTo>
                  <a:lnTo>
                    <a:pt x="6" y="3"/>
                  </a:lnTo>
                  <a:lnTo>
                    <a:pt x="11" y="7"/>
                  </a:lnTo>
                  <a:lnTo>
                    <a:pt x="14" y="9"/>
                  </a:lnTo>
                  <a:lnTo>
                    <a:pt x="15" y="13"/>
                  </a:lnTo>
                  <a:lnTo>
                    <a:pt x="16" y="15"/>
                  </a:lnTo>
                  <a:lnTo>
                    <a:pt x="15" y="19"/>
                  </a:lnTo>
                  <a:lnTo>
                    <a:pt x="12" y="25"/>
                  </a:lnTo>
                  <a:lnTo>
                    <a:pt x="11" y="26"/>
                  </a:lnTo>
                  <a:lnTo>
                    <a:pt x="7" y="27"/>
                  </a:lnTo>
                  <a:lnTo>
                    <a:pt x="5" y="27"/>
                  </a:lnTo>
                  <a:lnTo>
                    <a:pt x="3" y="26"/>
                  </a:lnTo>
                  <a:lnTo>
                    <a:pt x="2" y="23"/>
                  </a:lnTo>
                  <a:lnTo>
                    <a:pt x="2" y="22"/>
                  </a:lnTo>
                  <a:lnTo>
                    <a:pt x="5"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0" name="Freeform 549"/>
            <p:cNvSpPr>
              <a:spLocks/>
            </p:cNvSpPr>
            <p:nvPr/>
          </p:nvSpPr>
          <p:spPr bwMode="auto">
            <a:xfrm>
              <a:off x="2344739" y="3568702"/>
              <a:ext cx="28574" cy="15875"/>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0 w 20"/>
                <a:gd name="T15" fmla="*/ 2147483647 h 10"/>
                <a:gd name="T16" fmla="*/ 0 w 20"/>
                <a:gd name="T17" fmla="*/ 2147483647 h 10"/>
                <a:gd name="T18" fmla="*/ 2147483647 w 20"/>
                <a:gd name="T19" fmla="*/ 2147483647 h 10"/>
                <a:gd name="T20" fmla="*/ 2147483647 w 20"/>
                <a:gd name="T21" fmla="*/ 2147483647 h 10"/>
                <a:gd name="T22" fmla="*/ 2147483647 w 20"/>
                <a:gd name="T23" fmla="*/ 2147483647 h 10"/>
                <a:gd name="T24" fmla="*/ 2147483647 w 20"/>
                <a:gd name="T25" fmla="*/ 0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2147483647 w 20"/>
                <a:gd name="T35" fmla="*/ 2147483647 h 10"/>
                <a:gd name="T36" fmla="*/ 2147483647 w 20"/>
                <a:gd name="T37" fmla="*/ 2147483647 h 10"/>
                <a:gd name="T38" fmla="*/ 2147483647 w 20"/>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0"/>
                <a:gd name="T62" fmla="*/ 20 w 20"/>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0">
                  <a:moveTo>
                    <a:pt x="15" y="8"/>
                  </a:moveTo>
                  <a:lnTo>
                    <a:pt x="15" y="8"/>
                  </a:lnTo>
                  <a:lnTo>
                    <a:pt x="13" y="10"/>
                  </a:lnTo>
                  <a:lnTo>
                    <a:pt x="10" y="10"/>
                  </a:lnTo>
                  <a:lnTo>
                    <a:pt x="4" y="9"/>
                  </a:lnTo>
                  <a:lnTo>
                    <a:pt x="1" y="8"/>
                  </a:lnTo>
                  <a:lnTo>
                    <a:pt x="0" y="7"/>
                  </a:lnTo>
                  <a:lnTo>
                    <a:pt x="0" y="5"/>
                  </a:lnTo>
                  <a:lnTo>
                    <a:pt x="1" y="3"/>
                  </a:lnTo>
                  <a:lnTo>
                    <a:pt x="6" y="1"/>
                  </a:lnTo>
                  <a:lnTo>
                    <a:pt x="11" y="0"/>
                  </a:lnTo>
                  <a:lnTo>
                    <a:pt x="17" y="1"/>
                  </a:lnTo>
                  <a:lnTo>
                    <a:pt x="20" y="5"/>
                  </a:lnTo>
                  <a:lnTo>
                    <a:pt x="20" y="6"/>
                  </a:lnTo>
                  <a:lnTo>
                    <a:pt x="19" y="7"/>
                  </a:lnTo>
                  <a:lnTo>
                    <a:pt x="15"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1" name="Freeform 550"/>
            <p:cNvSpPr>
              <a:spLocks/>
            </p:cNvSpPr>
            <p:nvPr/>
          </p:nvSpPr>
          <p:spPr bwMode="auto">
            <a:xfrm>
              <a:off x="2381251" y="3563938"/>
              <a:ext cx="25400" cy="44450"/>
            </a:xfrm>
            <a:custGeom>
              <a:avLst/>
              <a:gdLst>
                <a:gd name="T0" fmla="*/ 2147483647 w 17"/>
                <a:gd name="T1" fmla="*/ 2147483647 h 28"/>
                <a:gd name="T2" fmla="*/ 2147483647 w 17"/>
                <a:gd name="T3" fmla="*/ 2147483647 h 28"/>
                <a:gd name="T4" fmla="*/ 2147483647 w 17"/>
                <a:gd name="T5" fmla="*/ 2147483647 h 28"/>
                <a:gd name="T6" fmla="*/ 2147483647 w 17"/>
                <a:gd name="T7" fmla="*/ 2147483647 h 28"/>
                <a:gd name="T8" fmla="*/ 0 w 17"/>
                <a:gd name="T9" fmla="*/ 2147483647 h 28"/>
                <a:gd name="T10" fmla="*/ 0 w 17"/>
                <a:gd name="T11" fmla="*/ 0 h 28"/>
                <a:gd name="T12" fmla="*/ 0 w 17"/>
                <a:gd name="T13" fmla="*/ 0 h 28"/>
                <a:gd name="T14" fmla="*/ 2147483647 w 17"/>
                <a:gd name="T15" fmla="*/ 2147483647 h 28"/>
                <a:gd name="T16" fmla="*/ 2147483647 w 17"/>
                <a:gd name="T17" fmla="*/ 2147483647 h 28"/>
                <a:gd name="T18" fmla="*/ 2147483647 w 17"/>
                <a:gd name="T19" fmla="*/ 2147483647 h 28"/>
                <a:gd name="T20" fmla="*/ 2147483647 w 17"/>
                <a:gd name="T21" fmla="*/ 2147483647 h 28"/>
                <a:gd name="T22" fmla="*/ 2147483647 w 17"/>
                <a:gd name="T23" fmla="*/ 2147483647 h 28"/>
                <a:gd name="T24" fmla="*/ 2147483647 w 17"/>
                <a:gd name="T25" fmla="*/ 2147483647 h 28"/>
                <a:gd name="T26" fmla="*/ 2147483647 w 17"/>
                <a:gd name="T27" fmla="*/ 2147483647 h 28"/>
                <a:gd name="T28" fmla="*/ 2147483647 w 17"/>
                <a:gd name="T29" fmla="*/ 2147483647 h 28"/>
                <a:gd name="T30" fmla="*/ 2147483647 w 17"/>
                <a:gd name="T31" fmla="*/ 2147483647 h 28"/>
                <a:gd name="T32" fmla="*/ 2147483647 w 17"/>
                <a:gd name="T33" fmla="*/ 2147483647 h 28"/>
                <a:gd name="T34" fmla="*/ 2147483647 w 17"/>
                <a:gd name="T35" fmla="*/ 2147483647 h 28"/>
                <a:gd name="T36" fmla="*/ 2147483647 w 17"/>
                <a:gd name="T37" fmla="*/ 2147483647 h 28"/>
                <a:gd name="T38" fmla="*/ 2147483647 w 17"/>
                <a:gd name="T39" fmla="*/ 2147483647 h 28"/>
                <a:gd name="T40" fmla="*/ 2147483647 w 17"/>
                <a:gd name="T41" fmla="*/ 2147483647 h 28"/>
                <a:gd name="T42" fmla="*/ 2147483647 w 17"/>
                <a:gd name="T43" fmla="*/ 2147483647 h 28"/>
                <a:gd name="T44" fmla="*/ 2147483647 w 17"/>
                <a:gd name="T45" fmla="*/ 2147483647 h 28"/>
                <a:gd name="T46" fmla="*/ 2147483647 w 17"/>
                <a:gd name="T47" fmla="*/ 214748364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28"/>
                <a:gd name="T74" fmla="*/ 17 w 17"/>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28">
                  <a:moveTo>
                    <a:pt x="5" y="12"/>
                  </a:moveTo>
                  <a:lnTo>
                    <a:pt x="5" y="12"/>
                  </a:lnTo>
                  <a:lnTo>
                    <a:pt x="4" y="10"/>
                  </a:lnTo>
                  <a:lnTo>
                    <a:pt x="3" y="6"/>
                  </a:lnTo>
                  <a:lnTo>
                    <a:pt x="0" y="4"/>
                  </a:lnTo>
                  <a:lnTo>
                    <a:pt x="0" y="0"/>
                  </a:lnTo>
                  <a:lnTo>
                    <a:pt x="7" y="4"/>
                  </a:lnTo>
                  <a:lnTo>
                    <a:pt x="12" y="8"/>
                  </a:lnTo>
                  <a:lnTo>
                    <a:pt x="14" y="10"/>
                  </a:lnTo>
                  <a:lnTo>
                    <a:pt x="16" y="13"/>
                  </a:lnTo>
                  <a:lnTo>
                    <a:pt x="17" y="16"/>
                  </a:lnTo>
                  <a:lnTo>
                    <a:pt x="16" y="19"/>
                  </a:lnTo>
                  <a:lnTo>
                    <a:pt x="13" y="25"/>
                  </a:lnTo>
                  <a:lnTo>
                    <a:pt x="12" y="27"/>
                  </a:lnTo>
                  <a:lnTo>
                    <a:pt x="8" y="28"/>
                  </a:lnTo>
                  <a:lnTo>
                    <a:pt x="5" y="28"/>
                  </a:lnTo>
                  <a:lnTo>
                    <a:pt x="4" y="27"/>
                  </a:lnTo>
                  <a:lnTo>
                    <a:pt x="3" y="24"/>
                  </a:lnTo>
                  <a:lnTo>
                    <a:pt x="3" y="23"/>
                  </a:lnTo>
                  <a:lnTo>
                    <a:pt x="5"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2" name="Freeform 551"/>
            <p:cNvSpPr>
              <a:spLocks/>
            </p:cNvSpPr>
            <p:nvPr/>
          </p:nvSpPr>
          <p:spPr bwMode="auto">
            <a:xfrm>
              <a:off x="2359025" y="3614739"/>
              <a:ext cx="31750" cy="50800"/>
            </a:xfrm>
            <a:custGeom>
              <a:avLst/>
              <a:gdLst>
                <a:gd name="T0" fmla="*/ 2147483647 w 22"/>
                <a:gd name="T1" fmla="*/ 2147483647 h 32"/>
                <a:gd name="T2" fmla="*/ 2147483647 w 22"/>
                <a:gd name="T3" fmla="*/ 2147483647 h 32"/>
                <a:gd name="T4" fmla="*/ 2147483647 w 22"/>
                <a:gd name="T5" fmla="*/ 0 h 32"/>
                <a:gd name="T6" fmla="*/ 2147483647 w 22"/>
                <a:gd name="T7" fmla="*/ 2147483647 h 32"/>
                <a:gd name="T8" fmla="*/ 2147483647 w 22"/>
                <a:gd name="T9" fmla="*/ 2147483647 h 32"/>
                <a:gd name="T10" fmla="*/ 2147483647 w 22"/>
                <a:gd name="T11" fmla="*/ 2147483647 h 32"/>
                <a:gd name="T12" fmla="*/ 2147483647 w 22"/>
                <a:gd name="T13" fmla="*/ 2147483647 h 32"/>
                <a:gd name="T14" fmla="*/ 2147483647 w 22"/>
                <a:gd name="T15" fmla="*/ 2147483647 h 32"/>
                <a:gd name="T16" fmla="*/ 0 w 22"/>
                <a:gd name="T17" fmla="*/ 2147483647 h 32"/>
                <a:gd name="T18" fmla="*/ 0 w 22"/>
                <a:gd name="T19" fmla="*/ 2147483647 h 32"/>
                <a:gd name="T20" fmla="*/ 2147483647 w 22"/>
                <a:gd name="T21" fmla="*/ 2147483647 h 32"/>
                <a:gd name="T22" fmla="*/ 2147483647 w 22"/>
                <a:gd name="T23" fmla="*/ 2147483647 h 32"/>
                <a:gd name="T24" fmla="*/ 2147483647 w 22"/>
                <a:gd name="T25" fmla="*/ 2147483647 h 32"/>
                <a:gd name="T26" fmla="*/ 2147483647 w 22"/>
                <a:gd name="T27" fmla="*/ 2147483647 h 32"/>
                <a:gd name="T28" fmla="*/ 2147483647 w 22"/>
                <a:gd name="T29" fmla="*/ 2147483647 h 32"/>
                <a:gd name="T30" fmla="*/ 2147483647 w 22"/>
                <a:gd name="T31" fmla="*/ 2147483647 h 32"/>
                <a:gd name="T32" fmla="*/ 2147483647 w 22"/>
                <a:gd name="T33" fmla="*/ 2147483647 h 32"/>
                <a:gd name="T34" fmla="*/ 2147483647 w 22"/>
                <a:gd name="T35" fmla="*/ 2147483647 h 32"/>
                <a:gd name="T36" fmla="*/ 2147483647 w 22"/>
                <a:gd name="T37" fmla="*/ 2147483647 h 32"/>
                <a:gd name="T38" fmla="*/ 2147483647 w 22"/>
                <a:gd name="T39" fmla="*/ 2147483647 h 32"/>
                <a:gd name="T40" fmla="*/ 2147483647 w 22"/>
                <a:gd name="T41" fmla="*/ 2147483647 h 32"/>
                <a:gd name="T42" fmla="*/ 2147483647 w 22"/>
                <a:gd name="T43" fmla="*/ 2147483647 h 32"/>
                <a:gd name="T44" fmla="*/ 2147483647 w 22"/>
                <a:gd name="T45" fmla="*/ 2147483647 h 32"/>
                <a:gd name="T46" fmla="*/ 2147483647 w 22"/>
                <a:gd name="T47" fmla="*/ 2147483647 h 32"/>
                <a:gd name="T48" fmla="*/ 2147483647 w 22"/>
                <a:gd name="T49" fmla="*/ 2147483647 h 32"/>
                <a:gd name="T50" fmla="*/ 2147483647 w 22"/>
                <a:gd name="T51" fmla="*/ 2147483647 h 32"/>
                <a:gd name="T52" fmla="*/ 2147483647 w 22"/>
                <a:gd name="T53" fmla="*/ 2147483647 h 32"/>
                <a:gd name="T54" fmla="*/ 2147483647 w 22"/>
                <a:gd name="T55" fmla="*/ 2147483647 h 32"/>
                <a:gd name="T56" fmla="*/ 2147483647 w 22"/>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
                <a:gd name="T88" fmla="*/ 0 h 32"/>
                <a:gd name="T89" fmla="*/ 22 w 22"/>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 h="32">
                  <a:moveTo>
                    <a:pt x="13" y="3"/>
                  </a:moveTo>
                  <a:lnTo>
                    <a:pt x="9" y="2"/>
                  </a:lnTo>
                  <a:lnTo>
                    <a:pt x="7" y="0"/>
                  </a:lnTo>
                  <a:lnTo>
                    <a:pt x="5" y="2"/>
                  </a:lnTo>
                  <a:lnTo>
                    <a:pt x="4" y="5"/>
                  </a:lnTo>
                  <a:lnTo>
                    <a:pt x="4" y="10"/>
                  </a:lnTo>
                  <a:lnTo>
                    <a:pt x="3" y="13"/>
                  </a:lnTo>
                  <a:lnTo>
                    <a:pt x="3" y="16"/>
                  </a:lnTo>
                  <a:lnTo>
                    <a:pt x="0" y="18"/>
                  </a:lnTo>
                  <a:lnTo>
                    <a:pt x="0" y="21"/>
                  </a:lnTo>
                  <a:lnTo>
                    <a:pt x="3" y="22"/>
                  </a:lnTo>
                  <a:lnTo>
                    <a:pt x="8" y="23"/>
                  </a:lnTo>
                  <a:lnTo>
                    <a:pt x="12" y="24"/>
                  </a:lnTo>
                  <a:lnTo>
                    <a:pt x="15" y="28"/>
                  </a:lnTo>
                  <a:lnTo>
                    <a:pt x="18" y="31"/>
                  </a:lnTo>
                  <a:lnTo>
                    <a:pt x="19" y="32"/>
                  </a:lnTo>
                  <a:lnTo>
                    <a:pt x="22" y="31"/>
                  </a:lnTo>
                  <a:lnTo>
                    <a:pt x="22" y="29"/>
                  </a:lnTo>
                  <a:lnTo>
                    <a:pt x="18" y="25"/>
                  </a:lnTo>
                  <a:lnTo>
                    <a:pt x="17" y="24"/>
                  </a:lnTo>
                  <a:lnTo>
                    <a:pt x="17" y="22"/>
                  </a:lnTo>
                  <a:lnTo>
                    <a:pt x="15" y="16"/>
                  </a:lnTo>
                  <a:lnTo>
                    <a:pt x="13" y="11"/>
                  </a:lnTo>
                  <a:lnTo>
                    <a:pt x="13" y="10"/>
                  </a:lnTo>
                  <a:lnTo>
                    <a:pt x="14" y="10"/>
                  </a:lnTo>
                  <a:lnTo>
                    <a:pt x="15" y="8"/>
                  </a:lnTo>
                  <a:lnTo>
                    <a:pt x="15" y="5"/>
                  </a:lnTo>
                  <a:lnTo>
                    <a:pt x="14" y="4"/>
                  </a:lnTo>
                  <a:lnTo>
                    <a:pt x="1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3" name="Freeform 552"/>
            <p:cNvSpPr>
              <a:spLocks/>
            </p:cNvSpPr>
            <p:nvPr/>
          </p:nvSpPr>
          <p:spPr bwMode="auto">
            <a:xfrm>
              <a:off x="2236790" y="3732214"/>
              <a:ext cx="20637" cy="17462"/>
            </a:xfrm>
            <a:custGeom>
              <a:avLst/>
              <a:gdLst>
                <a:gd name="T0" fmla="*/ 2147483647 w 14"/>
                <a:gd name="T1" fmla="*/ 2147483647 h 11"/>
                <a:gd name="T2" fmla="*/ 2147483647 w 14"/>
                <a:gd name="T3" fmla="*/ 2147483647 h 11"/>
                <a:gd name="T4" fmla="*/ 2147483647 w 14"/>
                <a:gd name="T5" fmla="*/ 2147483647 h 11"/>
                <a:gd name="T6" fmla="*/ 0 w 14"/>
                <a:gd name="T7" fmla="*/ 2147483647 h 11"/>
                <a:gd name="T8" fmla="*/ 0 w 14"/>
                <a:gd name="T9" fmla="*/ 2147483647 h 11"/>
                <a:gd name="T10" fmla="*/ 2147483647 w 14"/>
                <a:gd name="T11" fmla="*/ 2147483647 h 11"/>
                <a:gd name="T12" fmla="*/ 2147483647 w 14"/>
                <a:gd name="T13" fmla="*/ 2147483647 h 11"/>
                <a:gd name="T14" fmla="*/ 2147483647 w 14"/>
                <a:gd name="T15" fmla="*/ 0 h 11"/>
                <a:gd name="T16" fmla="*/ 2147483647 w 14"/>
                <a:gd name="T17" fmla="*/ 0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1"/>
                <a:gd name="T44" fmla="*/ 14 w 14"/>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1">
                  <a:moveTo>
                    <a:pt x="9" y="9"/>
                  </a:moveTo>
                  <a:lnTo>
                    <a:pt x="5" y="11"/>
                  </a:lnTo>
                  <a:lnTo>
                    <a:pt x="2" y="9"/>
                  </a:lnTo>
                  <a:lnTo>
                    <a:pt x="0" y="7"/>
                  </a:lnTo>
                  <a:lnTo>
                    <a:pt x="0" y="5"/>
                  </a:lnTo>
                  <a:lnTo>
                    <a:pt x="2" y="2"/>
                  </a:lnTo>
                  <a:lnTo>
                    <a:pt x="4" y="1"/>
                  </a:lnTo>
                  <a:lnTo>
                    <a:pt x="7" y="0"/>
                  </a:lnTo>
                  <a:lnTo>
                    <a:pt x="11" y="0"/>
                  </a:lnTo>
                  <a:lnTo>
                    <a:pt x="14" y="2"/>
                  </a:lnTo>
                  <a:lnTo>
                    <a:pt x="14" y="4"/>
                  </a:lnTo>
                  <a:lnTo>
                    <a:pt x="14" y="5"/>
                  </a:lnTo>
                  <a:lnTo>
                    <a:pt x="12" y="7"/>
                  </a:lnTo>
                  <a:lnTo>
                    <a:pt x="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4" name="Freeform 553"/>
            <p:cNvSpPr>
              <a:spLocks/>
            </p:cNvSpPr>
            <p:nvPr/>
          </p:nvSpPr>
          <p:spPr bwMode="auto">
            <a:xfrm>
              <a:off x="2357439" y="3613153"/>
              <a:ext cx="31750" cy="50800"/>
            </a:xfrm>
            <a:custGeom>
              <a:avLst/>
              <a:gdLst>
                <a:gd name="T0" fmla="*/ 2147483647 w 21"/>
                <a:gd name="T1" fmla="*/ 2147483647 h 32"/>
                <a:gd name="T2" fmla="*/ 2147483647 w 21"/>
                <a:gd name="T3" fmla="*/ 2147483647 h 32"/>
                <a:gd name="T4" fmla="*/ 2147483647 w 21"/>
                <a:gd name="T5" fmla="*/ 2147483647 h 32"/>
                <a:gd name="T6" fmla="*/ 2147483647 w 21"/>
                <a:gd name="T7" fmla="*/ 0 h 32"/>
                <a:gd name="T8" fmla="*/ 2147483647 w 21"/>
                <a:gd name="T9" fmla="*/ 2147483647 h 32"/>
                <a:gd name="T10" fmla="*/ 2147483647 w 21"/>
                <a:gd name="T11" fmla="*/ 2147483647 h 32"/>
                <a:gd name="T12" fmla="*/ 2147483647 w 21"/>
                <a:gd name="T13" fmla="*/ 2147483647 h 32"/>
                <a:gd name="T14" fmla="*/ 2147483647 w 21"/>
                <a:gd name="T15" fmla="*/ 2147483647 h 32"/>
                <a:gd name="T16" fmla="*/ 2147483647 w 21"/>
                <a:gd name="T17" fmla="*/ 2147483647 h 32"/>
                <a:gd name="T18" fmla="*/ 2147483647 w 21"/>
                <a:gd name="T19" fmla="*/ 2147483647 h 32"/>
                <a:gd name="T20" fmla="*/ 0 w 21"/>
                <a:gd name="T21" fmla="*/ 2147483647 h 32"/>
                <a:gd name="T22" fmla="*/ 0 w 21"/>
                <a:gd name="T23" fmla="*/ 2147483647 h 32"/>
                <a:gd name="T24" fmla="*/ 0 w 21"/>
                <a:gd name="T25" fmla="*/ 2147483647 h 32"/>
                <a:gd name="T26" fmla="*/ 0 w 21"/>
                <a:gd name="T27" fmla="*/ 2147483647 h 32"/>
                <a:gd name="T28" fmla="*/ 2147483647 w 21"/>
                <a:gd name="T29" fmla="*/ 2147483647 h 32"/>
                <a:gd name="T30" fmla="*/ 2147483647 w 21"/>
                <a:gd name="T31" fmla="*/ 2147483647 h 32"/>
                <a:gd name="T32" fmla="*/ 2147483647 w 21"/>
                <a:gd name="T33" fmla="*/ 2147483647 h 32"/>
                <a:gd name="T34" fmla="*/ 2147483647 w 21"/>
                <a:gd name="T35" fmla="*/ 2147483647 h 32"/>
                <a:gd name="T36" fmla="*/ 2147483647 w 21"/>
                <a:gd name="T37" fmla="*/ 2147483647 h 32"/>
                <a:gd name="T38" fmla="*/ 2147483647 w 21"/>
                <a:gd name="T39" fmla="*/ 2147483647 h 32"/>
                <a:gd name="T40" fmla="*/ 2147483647 w 21"/>
                <a:gd name="T41" fmla="*/ 2147483647 h 32"/>
                <a:gd name="T42" fmla="*/ 2147483647 w 21"/>
                <a:gd name="T43" fmla="*/ 2147483647 h 32"/>
                <a:gd name="T44" fmla="*/ 2147483647 w 21"/>
                <a:gd name="T45" fmla="*/ 2147483647 h 32"/>
                <a:gd name="T46" fmla="*/ 2147483647 w 21"/>
                <a:gd name="T47" fmla="*/ 2147483647 h 32"/>
                <a:gd name="T48" fmla="*/ 2147483647 w 21"/>
                <a:gd name="T49" fmla="*/ 2147483647 h 32"/>
                <a:gd name="T50" fmla="*/ 2147483647 w 21"/>
                <a:gd name="T51" fmla="*/ 2147483647 h 32"/>
                <a:gd name="T52" fmla="*/ 2147483647 w 21"/>
                <a:gd name="T53" fmla="*/ 2147483647 h 32"/>
                <a:gd name="T54" fmla="*/ 2147483647 w 21"/>
                <a:gd name="T55" fmla="*/ 2147483647 h 32"/>
                <a:gd name="T56" fmla="*/ 2147483647 w 21"/>
                <a:gd name="T57" fmla="*/ 2147483647 h 32"/>
                <a:gd name="T58" fmla="*/ 2147483647 w 21"/>
                <a:gd name="T59" fmla="*/ 2147483647 h 32"/>
                <a:gd name="T60" fmla="*/ 2147483647 w 21"/>
                <a:gd name="T61" fmla="*/ 2147483647 h 32"/>
                <a:gd name="T62" fmla="*/ 2147483647 w 21"/>
                <a:gd name="T63" fmla="*/ 2147483647 h 32"/>
                <a:gd name="T64" fmla="*/ 2147483647 w 21"/>
                <a:gd name="T65" fmla="*/ 2147483647 h 32"/>
                <a:gd name="T66" fmla="*/ 2147483647 w 21"/>
                <a:gd name="T67" fmla="*/ 2147483647 h 32"/>
                <a:gd name="T68" fmla="*/ 2147483647 w 21"/>
                <a:gd name="T69" fmla="*/ 2147483647 h 32"/>
                <a:gd name="T70" fmla="*/ 2147483647 w 21"/>
                <a:gd name="T71" fmla="*/ 2147483647 h 32"/>
                <a:gd name="T72" fmla="*/ 2147483647 w 21"/>
                <a:gd name="T73" fmla="*/ 2147483647 h 32"/>
                <a:gd name="T74" fmla="*/ 2147483647 w 21"/>
                <a:gd name="T75" fmla="*/ 2147483647 h 32"/>
                <a:gd name="T76" fmla="*/ 2147483647 w 21"/>
                <a:gd name="T77" fmla="*/ 2147483647 h 32"/>
                <a:gd name="T78" fmla="*/ 2147483647 w 21"/>
                <a:gd name="T79" fmla="*/ 2147483647 h 32"/>
                <a:gd name="T80" fmla="*/ 2147483647 w 21"/>
                <a:gd name="T81" fmla="*/ 2147483647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
                <a:gd name="T124" fmla="*/ 0 h 32"/>
                <a:gd name="T125" fmla="*/ 21 w 21"/>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 h="32">
                  <a:moveTo>
                    <a:pt x="13" y="3"/>
                  </a:moveTo>
                  <a:lnTo>
                    <a:pt x="13" y="3"/>
                  </a:lnTo>
                  <a:lnTo>
                    <a:pt x="9" y="1"/>
                  </a:lnTo>
                  <a:lnTo>
                    <a:pt x="6" y="0"/>
                  </a:lnTo>
                  <a:lnTo>
                    <a:pt x="5" y="1"/>
                  </a:lnTo>
                  <a:lnTo>
                    <a:pt x="4" y="5"/>
                  </a:lnTo>
                  <a:lnTo>
                    <a:pt x="4" y="10"/>
                  </a:lnTo>
                  <a:lnTo>
                    <a:pt x="2" y="13"/>
                  </a:lnTo>
                  <a:lnTo>
                    <a:pt x="2" y="16"/>
                  </a:lnTo>
                  <a:lnTo>
                    <a:pt x="0" y="18"/>
                  </a:lnTo>
                  <a:lnTo>
                    <a:pt x="0" y="20"/>
                  </a:lnTo>
                  <a:lnTo>
                    <a:pt x="2" y="22"/>
                  </a:lnTo>
                  <a:lnTo>
                    <a:pt x="8" y="23"/>
                  </a:lnTo>
                  <a:lnTo>
                    <a:pt x="11" y="24"/>
                  </a:lnTo>
                  <a:lnTo>
                    <a:pt x="15" y="28"/>
                  </a:lnTo>
                  <a:lnTo>
                    <a:pt x="18" y="31"/>
                  </a:lnTo>
                  <a:lnTo>
                    <a:pt x="19" y="32"/>
                  </a:lnTo>
                  <a:lnTo>
                    <a:pt x="21" y="31"/>
                  </a:lnTo>
                  <a:lnTo>
                    <a:pt x="21" y="29"/>
                  </a:lnTo>
                  <a:lnTo>
                    <a:pt x="18" y="25"/>
                  </a:lnTo>
                  <a:lnTo>
                    <a:pt x="16" y="24"/>
                  </a:lnTo>
                  <a:lnTo>
                    <a:pt x="16" y="22"/>
                  </a:lnTo>
                  <a:lnTo>
                    <a:pt x="15" y="16"/>
                  </a:lnTo>
                  <a:lnTo>
                    <a:pt x="13" y="11"/>
                  </a:lnTo>
                  <a:lnTo>
                    <a:pt x="13" y="10"/>
                  </a:lnTo>
                  <a:lnTo>
                    <a:pt x="14" y="10"/>
                  </a:lnTo>
                  <a:lnTo>
                    <a:pt x="15" y="7"/>
                  </a:lnTo>
                  <a:lnTo>
                    <a:pt x="15" y="5"/>
                  </a:lnTo>
                  <a:lnTo>
                    <a:pt x="14" y="4"/>
                  </a:lnTo>
                  <a:lnTo>
                    <a:pt x="13"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5" name="Freeform 554"/>
            <p:cNvSpPr>
              <a:spLocks/>
            </p:cNvSpPr>
            <p:nvPr/>
          </p:nvSpPr>
          <p:spPr bwMode="auto">
            <a:xfrm>
              <a:off x="2235200" y="3730629"/>
              <a:ext cx="20638" cy="15875"/>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0 w 14"/>
                <a:gd name="T9" fmla="*/ 2147483647 h 10"/>
                <a:gd name="T10" fmla="*/ 0 w 14"/>
                <a:gd name="T11" fmla="*/ 2147483647 h 10"/>
                <a:gd name="T12" fmla="*/ 0 w 14"/>
                <a:gd name="T13" fmla="*/ 2147483647 h 10"/>
                <a:gd name="T14" fmla="*/ 2147483647 w 14"/>
                <a:gd name="T15" fmla="*/ 2147483647 h 10"/>
                <a:gd name="T16" fmla="*/ 2147483647 w 14"/>
                <a:gd name="T17" fmla="*/ 2147483647 h 10"/>
                <a:gd name="T18" fmla="*/ 2147483647 w 14"/>
                <a:gd name="T19" fmla="*/ 0 h 10"/>
                <a:gd name="T20" fmla="*/ 2147483647 w 14"/>
                <a:gd name="T21" fmla="*/ 0 h 10"/>
                <a:gd name="T22" fmla="*/ 2147483647 w 14"/>
                <a:gd name="T23" fmla="*/ 0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9" y="9"/>
                  </a:moveTo>
                  <a:lnTo>
                    <a:pt x="9" y="9"/>
                  </a:lnTo>
                  <a:lnTo>
                    <a:pt x="5" y="10"/>
                  </a:lnTo>
                  <a:lnTo>
                    <a:pt x="1" y="9"/>
                  </a:lnTo>
                  <a:lnTo>
                    <a:pt x="0" y="7"/>
                  </a:lnTo>
                  <a:lnTo>
                    <a:pt x="0" y="5"/>
                  </a:lnTo>
                  <a:lnTo>
                    <a:pt x="1" y="2"/>
                  </a:lnTo>
                  <a:lnTo>
                    <a:pt x="4" y="1"/>
                  </a:lnTo>
                  <a:lnTo>
                    <a:pt x="6" y="0"/>
                  </a:lnTo>
                  <a:lnTo>
                    <a:pt x="10" y="0"/>
                  </a:lnTo>
                  <a:lnTo>
                    <a:pt x="14" y="2"/>
                  </a:lnTo>
                  <a:lnTo>
                    <a:pt x="14" y="3"/>
                  </a:lnTo>
                  <a:lnTo>
                    <a:pt x="14" y="5"/>
                  </a:lnTo>
                  <a:lnTo>
                    <a:pt x="12" y="7"/>
                  </a:lnTo>
                  <a:lnTo>
                    <a:pt x="9"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6" name="Freeform 555"/>
            <p:cNvSpPr>
              <a:spLocks/>
            </p:cNvSpPr>
            <p:nvPr/>
          </p:nvSpPr>
          <p:spPr bwMode="auto">
            <a:xfrm>
              <a:off x="2195515" y="3695704"/>
              <a:ext cx="268287" cy="100013"/>
            </a:xfrm>
            <a:custGeom>
              <a:avLst/>
              <a:gdLst>
                <a:gd name="T0" fmla="*/ 2147483647 w 183"/>
                <a:gd name="T1" fmla="*/ 2147483647 h 63"/>
                <a:gd name="T2" fmla="*/ 2147483647 w 183"/>
                <a:gd name="T3" fmla="*/ 2147483647 h 63"/>
                <a:gd name="T4" fmla="*/ 2147483647 w 183"/>
                <a:gd name="T5" fmla="*/ 2147483647 h 63"/>
                <a:gd name="T6" fmla="*/ 2147483647 w 183"/>
                <a:gd name="T7" fmla="*/ 2147483647 h 63"/>
                <a:gd name="T8" fmla="*/ 2147483647 w 183"/>
                <a:gd name="T9" fmla="*/ 0 h 63"/>
                <a:gd name="T10" fmla="*/ 2147483647 w 183"/>
                <a:gd name="T11" fmla="*/ 0 h 63"/>
                <a:gd name="T12" fmla="*/ 2147483647 w 183"/>
                <a:gd name="T13" fmla="*/ 2147483647 h 63"/>
                <a:gd name="T14" fmla="*/ 2147483647 w 183"/>
                <a:gd name="T15" fmla="*/ 2147483647 h 63"/>
                <a:gd name="T16" fmla="*/ 2147483647 w 183"/>
                <a:gd name="T17" fmla="*/ 2147483647 h 63"/>
                <a:gd name="T18" fmla="*/ 2147483647 w 183"/>
                <a:gd name="T19" fmla="*/ 2147483647 h 63"/>
                <a:gd name="T20" fmla="*/ 2147483647 w 183"/>
                <a:gd name="T21" fmla="*/ 2147483647 h 63"/>
                <a:gd name="T22" fmla="*/ 2147483647 w 183"/>
                <a:gd name="T23" fmla="*/ 2147483647 h 63"/>
                <a:gd name="T24" fmla="*/ 2147483647 w 183"/>
                <a:gd name="T25" fmla="*/ 2147483647 h 63"/>
                <a:gd name="T26" fmla="*/ 2147483647 w 183"/>
                <a:gd name="T27" fmla="*/ 2147483647 h 63"/>
                <a:gd name="T28" fmla="*/ 0 w 183"/>
                <a:gd name="T29" fmla="*/ 2147483647 h 63"/>
                <a:gd name="T30" fmla="*/ 2147483647 w 183"/>
                <a:gd name="T31" fmla="*/ 2147483647 h 63"/>
                <a:gd name="T32" fmla="*/ 2147483647 w 183"/>
                <a:gd name="T33" fmla="*/ 2147483647 h 63"/>
                <a:gd name="T34" fmla="*/ 2147483647 w 183"/>
                <a:gd name="T35" fmla="*/ 2147483647 h 63"/>
                <a:gd name="T36" fmla="*/ 2147483647 w 183"/>
                <a:gd name="T37" fmla="*/ 2147483647 h 63"/>
                <a:gd name="T38" fmla="*/ 2147483647 w 183"/>
                <a:gd name="T39" fmla="*/ 2147483647 h 63"/>
                <a:gd name="T40" fmla="*/ 2147483647 w 183"/>
                <a:gd name="T41" fmla="*/ 2147483647 h 63"/>
                <a:gd name="T42" fmla="*/ 2147483647 w 183"/>
                <a:gd name="T43" fmla="*/ 2147483647 h 63"/>
                <a:gd name="T44" fmla="*/ 2147483647 w 183"/>
                <a:gd name="T45" fmla="*/ 2147483647 h 63"/>
                <a:gd name="T46" fmla="*/ 2147483647 w 183"/>
                <a:gd name="T47" fmla="*/ 2147483647 h 63"/>
                <a:gd name="T48" fmla="*/ 2147483647 w 183"/>
                <a:gd name="T49" fmla="*/ 2147483647 h 63"/>
                <a:gd name="T50" fmla="*/ 2147483647 w 183"/>
                <a:gd name="T51" fmla="*/ 2147483647 h 63"/>
                <a:gd name="T52" fmla="*/ 2147483647 w 183"/>
                <a:gd name="T53" fmla="*/ 2147483647 h 63"/>
                <a:gd name="T54" fmla="*/ 2147483647 w 183"/>
                <a:gd name="T55" fmla="*/ 2147483647 h 63"/>
                <a:gd name="T56" fmla="*/ 2147483647 w 183"/>
                <a:gd name="T57" fmla="*/ 2147483647 h 63"/>
                <a:gd name="T58" fmla="*/ 2147483647 w 183"/>
                <a:gd name="T59" fmla="*/ 2147483647 h 63"/>
                <a:gd name="T60" fmla="*/ 2147483647 w 183"/>
                <a:gd name="T61" fmla="*/ 2147483647 h 63"/>
                <a:gd name="T62" fmla="*/ 2147483647 w 183"/>
                <a:gd name="T63" fmla="*/ 2147483647 h 63"/>
                <a:gd name="T64" fmla="*/ 2147483647 w 183"/>
                <a:gd name="T65" fmla="*/ 2147483647 h 63"/>
                <a:gd name="T66" fmla="*/ 2147483647 w 183"/>
                <a:gd name="T67" fmla="*/ 2147483647 h 63"/>
                <a:gd name="T68" fmla="*/ 2147483647 w 183"/>
                <a:gd name="T69" fmla="*/ 2147483647 h 63"/>
                <a:gd name="T70" fmla="*/ 2147483647 w 183"/>
                <a:gd name="T71" fmla="*/ 2147483647 h 63"/>
                <a:gd name="T72" fmla="*/ 2147483647 w 183"/>
                <a:gd name="T73" fmla="*/ 2147483647 h 63"/>
                <a:gd name="T74" fmla="*/ 2147483647 w 183"/>
                <a:gd name="T75" fmla="*/ 2147483647 h 63"/>
                <a:gd name="T76" fmla="*/ 2147483647 w 183"/>
                <a:gd name="T77" fmla="*/ 2147483647 h 63"/>
                <a:gd name="T78" fmla="*/ 2147483647 w 183"/>
                <a:gd name="T79" fmla="*/ 2147483647 h 63"/>
                <a:gd name="T80" fmla="*/ 2147483647 w 183"/>
                <a:gd name="T81" fmla="*/ 2147483647 h 63"/>
                <a:gd name="T82" fmla="*/ 2147483647 w 183"/>
                <a:gd name="T83" fmla="*/ 2147483647 h 63"/>
                <a:gd name="T84" fmla="*/ 2147483647 w 183"/>
                <a:gd name="T85" fmla="*/ 2147483647 h 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3"/>
                <a:gd name="T130" fmla="*/ 0 h 63"/>
                <a:gd name="T131" fmla="*/ 183 w 183"/>
                <a:gd name="T132" fmla="*/ 63 h 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3" h="63">
                  <a:moveTo>
                    <a:pt x="135" y="30"/>
                  </a:moveTo>
                  <a:lnTo>
                    <a:pt x="129" y="27"/>
                  </a:lnTo>
                  <a:lnTo>
                    <a:pt x="126" y="24"/>
                  </a:lnTo>
                  <a:lnTo>
                    <a:pt x="124" y="24"/>
                  </a:lnTo>
                  <a:lnTo>
                    <a:pt x="117" y="23"/>
                  </a:lnTo>
                  <a:lnTo>
                    <a:pt x="112" y="22"/>
                  </a:lnTo>
                  <a:lnTo>
                    <a:pt x="108" y="19"/>
                  </a:lnTo>
                  <a:lnTo>
                    <a:pt x="105" y="16"/>
                  </a:lnTo>
                  <a:lnTo>
                    <a:pt x="97" y="8"/>
                  </a:lnTo>
                  <a:lnTo>
                    <a:pt x="89" y="0"/>
                  </a:lnTo>
                  <a:lnTo>
                    <a:pt x="87" y="0"/>
                  </a:lnTo>
                  <a:lnTo>
                    <a:pt x="85" y="0"/>
                  </a:lnTo>
                  <a:lnTo>
                    <a:pt x="80" y="3"/>
                  </a:lnTo>
                  <a:lnTo>
                    <a:pt x="77" y="4"/>
                  </a:lnTo>
                  <a:lnTo>
                    <a:pt x="73" y="5"/>
                  </a:lnTo>
                  <a:lnTo>
                    <a:pt x="65" y="3"/>
                  </a:lnTo>
                  <a:lnTo>
                    <a:pt x="63" y="3"/>
                  </a:lnTo>
                  <a:lnTo>
                    <a:pt x="59" y="2"/>
                  </a:lnTo>
                  <a:lnTo>
                    <a:pt x="51" y="3"/>
                  </a:lnTo>
                  <a:lnTo>
                    <a:pt x="44" y="4"/>
                  </a:lnTo>
                  <a:lnTo>
                    <a:pt x="39" y="3"/>
                  </a:lnTo>
                  <a:lnTo>
                    <a:pt x="35" y="2"/>
                  </a:lnTo>
                  <a:lnTo>
                    <a:pt x="28" y="2"/>
                  </a:lnTo>
                  <a:lnTo>
                    <a:pt x="22" y="4"/>
                  </a:lnTo>
                  <a:lnTo>
                    <a:pt x="17" y="8"/>
                  </a:lnTo>
                  <a:lnTo>
                    <a:pt x="11" y="13"/>
                  </a:lnTo>
                  <a:lnTo>
                    <a:pt x="9" y="15"/>
                  </a:lnTo>
                  <a:lnTo>
                    <a:pt x="5" y="16"/>
                  </a:lnTo>
                  <a:lnTo>
                    <a:pt x="3" y="18"/>
                  </a:lnTo>
                  <a:lnTo>
                    <a:pt x="0" y="19"/>
                  </a:lnTo>
                  <a:lnTo>
                    <a:pt x="0" y="22"/>
                  </a:lnTo>
                  <a:lnTo>
                    <a:pt x="4" y="23"/>
                  </a:lnTo>
                  <a:lnTo>
                    <a:pt x="9" y="23"/>
                  </a:lnTo>
                  <a:lnTo>
                    <a:pt x="18" y="23"/>
                  </a:lnTo>
                  <a:lnTo>
                    <a:pt x="39" y="11"/>
                  </a:lnTo>
                  <a:lnTo>
                    <a:pt x="42" y="10"/>
                  </a:lnTo>
                  <a:lnTo>
                    <a:pt x="46" y="11"/>
                  </a:lnTo>
                  <a:lnTo>
                    <a:pt x="51" y="12"/>
                  </a:lnTo>
                  <a:lnTo>
                    <a:pt x="56" y="15"/>
                  </a:lnTo>
                  <a:lnTo>
                    <a:pt x="59" y="17"/>
                  </a:lnTo>
                  <a:lnTo>
                    <a:pt x="63" y="17"/>
                  </a:lnTo>
                  <a:lnTo>
                    <a:pt x="69" y="15"/>
                  </a:lnTo>
                  <a:lnTo>
                    <a:pt x="72" y="13"/>
                  </a:lnTo>
                  <a:lnTo>
                    <a:pt x="74" y="13"/>
                  </a:lnTo>
                  <a:lnTo>
                    <a:pt x="77" y="15"/>
                  </a:lnTo>
                  <a:lnTo>
                    <a:pt x="78" y="16"/>
                  </a:lnTo>
                  <a:lnTo>
                    <a:pt x="82" y="22"/>
                  </a:lnTo>
                  <a:lnTo>
                    <a:pt x="87" y="25"/>
                  </a:lnTo>
                  <a:lnTo>
                    <a:pt x="91" y="28"/>
                  </a:lnTo>
                  <a:lnTo>
                    <a:pt x="96" y="28"/>
                  </a:lnTo>
                  <a:lnTo>
                    <a:pt x="103" y="29"/>
                  </a:lnTo>
                  <a:lnTo>
                    <a:pt x="107" y="30"/>
                  </a:lnTo>
                  <a:lnTo>
                    <a:pt x="108" y="31"/>
                  </a:lnTo>
                  <a:lnTo>
                    <a:pt x="116" y="38"/>
                  </a:lnTo>
                  <a:lnTo>
                    <a:pt x="121" y="43"/>
                  </a:lnTo>
                  <a:lnTo>
                    <a:pt x="127" y="45"/>
                  </a:lnTo>
                  <a:lnTo>
                    <a:pt x="136" y="49"/>
                  </a:lnTo>
                  <a:lnTo>
                    <a:pt x="138" y="50"/>
                  </a:lnTo>
                  <a:lnTo>
                    <a:pt x="136" y="53"/>
                  </a:lnTo>
                  <a:lnTo>
                    <a:pt x="134" y="55"/>
                  </a:lnTo>
                  <a:lnTo>
                    <a:pt x="131" y="57"/>
                  </a:lnTo>
                  <a:lnTo>
                    <a:pt x="131" y="60"/>
                  </a:lnTo>
                  <a:lnTo>
                    <a:pt x="131" y="61"/>
                  </a:lnTo>
                  <a:lnTo>
                    <a:pt x="134" y="61"/>
                  </a:lnTo>
                  <a:lnTo>
                    <a:pt x="146" y="62"/>
                  </a:lnTo>
                  <a:lnTo>
                    <a:pt x="160" y="63"/>
                  </a:lnTo>
                  <a:lnTo>
                    <a:pt x="168" y="63"/>
                  </a:lnTo>
                  <a:lnTo>
                    <a:pt x="173" y="62"/>
                  </a:lnTo>
                  <a:lnTo>
                    <a:pt x="179" y="61"/>
                  </a:lnTo>
                  <a:lnTo>
                    <a:pt x="183" y="56"/>
                  </a:lnTo>
                  <a:lnTo>
                    <a:pt x="183" y="55"/>
                  </a:lnTo>
                  <a:lnTo>
                    <a:pt x="183" y="54"/>
                  </a:lnTo>
                  <a:lnTo>
                    <a:pt x="179" y="51"/>
                  </a:lnTo>
                  <a:lnTo>
                    <a:pt x="174" y="50"/>
                  </a:lnTo>
                  <a:lnTo>
                    <a:pt x="169" y="50"/>
                  </a:lnTo>
                  <a:lnTo>
                    <a:pt x="168" y="50"/>
                  </a:lnTo>
                  <a:lnTo>
                    <a:pt x="167" y="49"/>
                  </a:lnTo>
                  <a:lnTo>
                    <a:pt x="163" y="43"/>
                  </a:lnTo>
                  <a:lnTo>
                    <a:pt x="160" y="41"/>
                  </a:lnTo>
                  <a:lnTo>
                    <a:pt x="157" y="40"/>
                  </a:lnTo>
                  <a:lnTo>
                    <a:pt x="152" y="40"/>
                  </a:lnTo>
                  <a:lnTo>
                    <a:pt x="145" y="41"/>
                  </a:lnTo>
                  <a:lnTo>
                    <a:pt x="144" y="40"/>
                  </a:lnTo>
                  <a:lnTo>
                    <a:pt x="143" y="40"/>
                  </a:lnTo>
                  <a:lnTo>
                    <a:pt x="140" y="36"/>
                  </a:lnTo>
                  <a:lnTo>
                    <a:pt x="138" y="32"/>
                  </a:lnTo>
                  <a:lnTo>
                    <a:pt x="135"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7" name="Freeform 556"/>
            <p:cNvSpPr>
              <a:spLocks/>
            </p:cNvSpPr>
            <p:nvPr/>
          </p:nvSpPr>
          <p:spPr bwMode="auto">
            <a:xfrm>
              <a:off x="2709864" y="3375029"/>
              <a:ext cx="15875" cy="15875"/>
            </a:xfrm>
            <a:custGeom>
              <a:avLst/>
              <a:gdLst>
                <a:gd name="T0" fmla="*/ 2147483647 w 11"/>
                <a:gd name="T1" fmla="*/ 2147483647 h 10"/>
                <a:gd name="T2" fmla="*/ 2147483647 w 11"/>
                <a:gd name="T3" fmla="*/ 2147483647 h 10"/>
                <a:gd name="T4" fmla="*/ 2147483647 w 11"/>
                <a:gd name="T5" fmla="*/ 0 h 10"/>
                <a:gd name="T6" fmla="*/ 2147483647 w 11"/>
                <a:gd name="T7" fmla="*/ 0 h 10"/>
                <a:gd name="T8" fmla="*/ 2147483647 w 11"/>
                <a:gd name="T9" fmla="*/ 2147483647 h 10"/>
                <a:gd name="T10" fmla="*/ 2147483647 w 11"/>
                <a:gd name="T11" fmla="*/ 2147483647 h 10"/>
                <a:gd name="T12" fmla="*/ 2147483647 w 11"/>
                <a:gd name="T13" fmla="*/ 2147483647 h 10"/>
                <a:gd name="T14" fmla="*/ 2147483647 w 11"/>
                <a:gd name="T15" fmla="*/ 2147483647 h 10"/>
                <a:gd name="T16" fmla="*/ 2147483647 w 11"/>
                <a:gd name="T17" fmla="*/ 2147483647 h 10"/>
                <a:gd name="T18" fmla="*/ 2147483647 w 11"/>
                <a:gd name="T19" fmla="*/ 2147483647 h 10"/>
                <a:gd name="T20" fmla="*/ 0 w 11"/>
                <a:gd name="T21" fmla="*/ 2147483647 h 10"/>
                <a:gd name="T22" fmla="*/ 2147483647 w 11"/>
                <a:gd name="T23" fmla="*/ 2147483647 h 10"/>
                <a:gd name="T24" fmla="*/ 2147483647 w 11"/>
                <a:gd name="T25" fmla="*/ 2147483647 h 10"/>
                <a:gd name="T26" fmla="*/ 2147483647 w 11"/>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0"/>
                <a:gd name="T44" fmla="*/ 11 w 11"/>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0">
                  <a:moveTo>
                    <a:pt x="6" y="2"/>
                  </a:moveTo>
                  <a:lnTo>
                    <a:pt x="9" y="1"/>
                  </a:lnTo>
                  <a:lnTo>
                    <a:pt x="9" y="0"/>
                  </a:lnTo>
                  <a:lnTo>
                    <a:pt x="10" y="0"/>
                  </a:lnTo>
                  <a:lnTo>
                    <a:pt x="11" y="2"/>
                  </a:lnTo>
                  <a:lnTo>
                    <a:pt x="11" y="4"/>
                  </a:lnTo>
                  <a:lnTo>
                    <a:pt x="9" y="8"/>
                  </a:lnTo>
                  <a:lnTo>
                    <a:pt x="5" y="10"/>
                  </a:lnTo>
                  <a:lnTo>
                    <a:pt x="4" y="10"/>
                  </a:lnTo>
                  <a:lnTo>
                    <a:pt x="1" y="10"/>
                  </a:lnTo>
                  <a:lnTo>
                    <a:pt x="0" y="8"/>
                  </a:lnTo>
                  <a:lnTo>
                    <a:pt x="1" y="6"/>
                  </a:lnTo>
                  <a:lnTo>
                    <a:pt x="2" y="3"/>
                  </a:lnTo>
                  <a:lnTo>
                    <a:pt x="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8" name="Freeform 557"/>
            <p:cNvSpPr>
              <a:spLocks/>
            </p:cNvSpPr>
            <p:nvPr/>
          </p:nvSpPr>
          <p:spPr bwMode="auto">
            <a:xfrm>
              <a:off x="2193925" y="3694114"/>
              <a:ext cx="268288" cy="100012"/>
            </a:xfrm>
            <a:custGeom>
              <a:avLst/>
              <a:gdLst>
                <a:gd name="T0" fmla="*/ 2147483647 w 183"/>
                <a:gd name="T1" fmla="*/ 2147483647 h 63"/>
                <a:gd name="T2" fmla="*/ 2147483647 w 183"/>
                <a:gd name="T3" fmla="*/ 2147483647 h 63"/>
                <a:gd name="T4" fmla="*/ 2147483647 w 183"/>
                <a:gd name="T5" fmla="*/ 2147483647 h 63"/>
                <a:gd name="T6" fmla="*/ 2147483647 w 183"/>
                <a:gd name="T7" fmla="*/ 2147483647 h 63"/>
                <a:gd name="T8" fmla="*/ 2147483647 w 183"/>
                <a:gd name="T9" fmla="*/ 2147483647 h 63"/>
                <a:gd name="T10" fmla="*/ 2147483647 w 183"/>
                <a:gd name="T11" fmla="*/ 0 h 63"/>
                <a:gd name="T12" fmla="*/ 2147483647 w 183"/>
                <a:gd name="T13" fmla="*/ 0 h 63"/>
                <a:gd name="T14" fmla="*/ 2147483647 w 183"/>
                <a:gd name="T15" fmla="*/ 2147483647 h 63"/>
                <a:gd name="T16" fmla="*/ 2147483647 w 183"/>
                <a:gd name="T17" fmla="*/ 2147483647 h 63"/>
                <a:gd name="T18" fmla="*/ 2147483647 w 183"/>
                <a:gd name="T19" fmla="*/ 2147483647 h 63"/>
                <a:gd name="T20" fmla="*/ 2147483647 w 183"/>
                <a:gd name="T21" fmla="*/ 2147483647 h 63"/>
                <a:gd name="T22" fmla="*/ 2147483647 w 183"/>
                <a:gd name="T23" fmla="*/ 2147483647 h 63"/>
                <a:gd name="T24" fmla="*/ 2147483647 w 183"/>
                <a:gd name="T25" fmla="*/ 2147483647 h 63"/>
                <a:gd name="T26" fmla="*/ 2147483647 w 183"/>
                <a:gd name="T27" fmla="*/ 2147483647 h 63"/>
                <a:gd name="T28" fmla="*/ 2147483647 w 183"/>
                <a:gd name="T29" fmla="*/ 2147483647 h 63"/>
                <a:gd name="T30" fmla="*/ 2147483647 w 183"/>
                <a:gd name="T31" fmla="*/ 2147483647 h 63"/>
                <a:gd name="T32" fmla="*/ 2147483647 w 183"/>
                <a:gd name="T33" fmla="*/ 2147483647 h 63"/>
                <a:gd name="T34" fmla="*/ 2147483647 w 183"/>
                <a:gd name="T35" fmla="*/ 2147483647 h 63"/>
                <a:gd name="T36" fmla="*/ 2147483647 w 183"/>
                <a:gd name="T37" fmla="*/ 2147483647 h 63"/>
                <a:gd name="T38" fmla="*/ 0 w 183"/>
                <a:gd name="T39" fmla="*/ 2147483647 h 63"/>
                <a:gd name="T40" fmla="*/ 0 w 183"/>
                <a:gd name="T41" fmla="*/ 2147483647 h 63"/>
                <a:gd name="T42" fmla="*/ 2147483647 w 183"/>
                <a:gd name="T43" fmla="*/ 2147483647 h 63"/>
                <a:gd name="T44" fmla="*/ 2147483647 w 183"/>
                <a:gd name="T45" fmla="*/ 2147483647 h 63"/>
                <a:gd name="T46" fmla="*/ 2147483647 w 183"/>
                <a:gd name="T47" fmla="*/ 2147483647 h 63"/>
                <a:gd name="T48" fmla="*/ 2147483647 w 183"/>
                <a:gd name="T49" fmla="*/ 2147483647 h 63"/>
                <a:gd name="T50" fmla="*/ 2147483647 w 183"/>
                <a:gd name="T51" fmla="*/ 2147483647 h 63"/>
                <a:gd name="T52" fmla="*/ 2147483647 w 183"/>
                <a:gd name="T53" fmla="*/ 2147483647 h 63"/>
                <a:gd name="T54" fmla="*/ 2147483647 w 183"/>
                <a:gd name="T55" fmla="*/ 2147483647 h 63"/>
                <a:gd name="T56" fmla="*/ 2147483647 w 183"/>
                <a:gd name="T57" fmla="*/ 2147483647 h 63"/>
                <a:gd name="T58" fmla="*/ 2147483647 w 183"/>
                <a:gd name="T59" fmla="*/ 2147483647 h 63"/>
                <a:gd name="T60" fmla="*/ 2147483647 w 183"/>
                <a:gd name="T61" fmla="*/ 2147483647 h 63"/>
                <a:gd name="T62" fmla="*/ 2147483647 w 183"/>
                <a:gd name="T63" fmla="*/ 2147483647 h 63"/>
                <a:gd name="T64" fmla="*/ 2147483647 w 183"/>
                <a:gd name="T65" fmla="*/ 2147483647 h 63"/>
                <a:gd name="T66" fmla="*/ 2147483647 w 183"/>
                <a:gd name="T67" fmla="*/ 2147483647 h 63"/>
                <a:gd name="T68" fmla="*/ 2147483647 w 183"/>
                <a:gd name="T69" fmla="*/ 2147483647 h 63"/>
                <a:gd name="T70" fmla="*/ 2147483647 w 183"/>
                <a:gd name="T71" fmla="*/ 2147483647 h 63"/>
                <a:gd name="T72" fmla="*/ 2147483647 w 183"/>
                <a:gd name="T73" fmla="*/ 2147483647 h 63"/>
                <a:gd name="T74" fmla="*/ 2147483647 w 183"/>
                <a:gd name="T75" fmla="*/ 2147483647 h 63"/>
                <a:gd name="T76" fmla="*/ 2147483647 w 183"/>
                <a:gd name="T77" fmla="*/ 2147483647 h 63"/>
                <a:gd name="T78" fmla="*/ 2147483647 w 183"/>
                <a:gd name="T79" fmla="*/ 2147483647 h 63"/>
                <a:gd name="T80" fmla="*/ 2147483647 w 183"/>
                <a:gd name="T81" fmla="*/ 2147483647 h 63"/>
                <a:gd name="T82" fmla="*/ 2147483647 w 183"/>
                <a:gd name="T83" fmla="*/ 2147483647 h 63"/>
                <a:gd name="T84" fmla="*/ 2147483647 w 183"/>
                <a:gd name="T85" fmla="*/ 2147483647 h 63"/>
                <a:gd name="T86" fmla="*/ 2147483647 w 183"/>
                <a:gd name="T87" fmla="*/ 2147483647 h 63"/>
                <a:gd name="T88" fmla="*/ 2147483647 w 183"/>
                <a:gd name="T89" fmla="*/ 2147483647 h 63"/>
                <a:gd name="T90" fmla="*/ 2147483647 w 183"/>
                <a:gd name="T91" fmla="*/ 2147483647 h 63"/>
                <a:gd name="T92" fmla="*/ 2147483647 w 183"/>
                <a:gd name="T93" fmla="*/ 2147483647 h 63"/>
                <a:gd name="T94" fmla="*/ 2147483647 w 183"/>
                <a:gd name="T95" fmla="*/ 2147483647 h 63"/>
                <a:gd name="T96" fmla="*/ 2147483647 w 183"/>
                <a:gd name="T97" fmla="*/ 2147483647 h 63"/>
                <a:gd name="T98" fmla="*/ 2147483647 w 183"/>
                <a:gd name="T99" fmla="*/ 2147483647 h 63"/>
                <a:gd name="T100" fmla="*/ 2147483647 w 183"/>
                <a:gd name="T101" fmla="*/ 2147483647 h 63"/>
                <a:gd name="T102" fmla="*/ 2147483647 w 183"/>
                <a:gd name="T103" fmla="*/ 2147483647 h 63"/>
                <a:gd name="T104" fmla="*/ 2147483647 w 183"/>
                <a:gd name="T105" fmla="*/ 2147483647 h 63"/>
                <a:gd name="T106" fmla="*/ 2147483647 w 183"/>
                <a:gd name="T107" fmla="*/ 2147483647 h 63"/>
                <a:gd name="T108" fmla="*/ 2147483647 w 183"/>
                <a:gd name="T109" fmla="*/ 2147483647 h 63"/>
                <a:gd name="T110" fmla="*/ 2147483647 w 183"/>
                <a:gd name="T111" fmla="*/ 2147483647 h 63"/>
                <a:gd name="T112" fmla="*/ 2147483647 w 183"/>
                <a:gd name="T113" fmla="*/ 2147483647 h 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3"/>
                <a:gd name="T172" fmla="*/ 0 h 63"/>
                <a:gd name="T173" fmla="*/ 183 w 183"/>
                <a:gd name="T174" fmla="*/ 63 h 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3" h="63">
                  <a:moveTo>
                    <a:pt x="135" y="30"/>
                  </a:moveTo>
                  <a:lnTo>
                    <a:pt x="135" y="30"/>
                  </a:lnTo>
                  <a:lnTo>
                    <a:pt x="128" y="26"/>
                  </a:lnTo>
                  <a:lnTo>
                    <a:pt x="126" y="24"/>
                  </a:lnTo>
                  <a:lnTo>
                    <a:pt x="123" y="24"/>
                  </a:lnTo>
                  <a:lnTo>
                    <a:pt x="117" y="23"/>
                  </a:lnTo>
                  <a:lnTo>
                    <a:pt x="112" y="22"/>
                  </a:lnTo>
                  <a:lnTo>
                    <a:pt x="108" y="19"/>
                  </a:lnTo>
                  <a:lnTo>
                    <a:pt x="104" y="16"/>
                  </a:lnTo>
                  <a:lnTo>
                    <a:pt x="97" y="7"/>
                  </a:lnTo>
                  <a:lnTo>
                    <a:pt x="89" y="0"/>
                  </a:lnTo>
                  <a:lnTo>
                    <a:pt x="86" y="0"/>
                  </a:lnTo>
                  <a:lnTo>
                    <a:pt x="85" y="0"/>
                  </a:lnTo>
                  <a:lnTo>
                    <a:pt x="80" y="3"/>
                  </a:lnTo>
                  <a:lnTo>
                    <a:pt x="76" y="4"/>
                  </a:lnTo>
                  <a:lnTo>
                    <a:pt x="73" y="5"/>
                  </a:lnTo>
                  <a:lnTo>
                    <a:pt x="65" y="3"/>
                  </a:lnTo>
                  <a:lnTo>
                    <a:pt x="62" y="3"/>
                  </a:lnTo>
                  <a:lnTo>
                    <a:pt x="59" y="1"/>
                  </a:lnTo>
                  <a:lnTo>
                    <a:pt x="51" y="3"/>
                  </a:lnTo>
                  <a:lnTo>
                    <a:pt x="43" y="4"/>
                  </a:lnTo>
                  <a:lnTo>
                    <a:pt x="38" y="3"/>
                  </a:lnTo>
                  <a:lnTo>
                    <a:pt x="34" y="1"/>
                  </a:lnTo>
                  <a:lnTo>
                    <a:pt x="28" y="1"/>
                  </a:lnTo>
                  <a:lnTo>
                    <a:pt x="22" y="4"/>
                  </a:lnTo>
                  <a:lnTo>
                    <a:pt x="17" y="7"/>
                  </a:lnTo>
                  <a:lnTo>
                    <a:pt x="10" y="13"/>
                  </a:lnTo>
                  <a:lnTo>
                    <a:pt x="9" y="14"/>
                  </a:lnTo>
                  <a:lnTo>
                    <a:pt x="5" y="16"/>
                  </a:lnTo>
                  <a:lnTo>
                    <a:pt x="3" y="18"/>
                  </a:lnTo>
                  <a:lnTo>
                    <a:pt x="0" y="19"/>
                  </a:lnTo>
                  <a:lnTo>
                    <a:pt x="0" y="22"/>
                  </a:lnTo>
                  <a:lnTo>
                    <a:pt x="4" y="23"/>
                  </a:lnTo>
                  <a:lnTo>
                    <a:pt x="9" y="23"/>
                  </a:lnTo>
                  <a:lnTo>
                    <a:pt x="18" y="23"/>
                  </a:lnTo>
                  <a:lnTo>
                    <a:pt x="38" y="11"/>
                  </a:lnTo>
                  <a:lnTo>
                    <a:pt x="42" y="10"/>
                  </a:lnTo>
                  <a:lnTo>
                    <a:pt x="46" y="11"/>
                  </a:lnTo>
                  <a:lnTo>
                    <a:pt x="51" y="12"/>
                  </a:lnTo>
                  <a:lnTo>
                    <a:pt x="56" y="14"/>
                  </a:lnTo>
                  <a:lnTo>
                    <a:pt x="59" y="17"/>
                  </a:lnTo>
                  <a:lnTo>
                    <a:pt x="62" y="17"/>
                  </a:lnTo>
                  <a:lnTo>
                    <a:pt x="69" y="14"/>
                  </a:lnTo>
                  <a:lnTo>
                    <a:pt x="71" y="13"/>
                  </a:lnTo>
                  <a:lnTo>
                    <a:pt x="74" y="13"/>
                  </a:lnTo>
                  <a:lnTo>
                    <a:pt x="76" y="14"/>
                  </a:lnTo>
                  <a:lnTo>
                    <a:pt x="78" y="16"/>
                  </a:lnTo>
                  <a:lnTo>
                    <a:pt x="81" y="22"/>
                  </a:lnTo>
                  <a:lnTo>
                    <a:pt x="86" y="25"/>
                  </a:lnTo>
                  <a:lnTo>
                    <a:pt x="90" y="28"/>
                  </a:lnTo>
                  <a:lnTo>
                    <a:pt x="95" y="28"/>
                  </a:lnTo>
                  <a:lnTo>
                    <a:pt x="103" y="29"/>
                  </a:lnTo>
                  <a:lnTo>
                    <a:pt x="107" y="30"/>
                  </a:lnTo>
                  <a:lnTo>
                    <a:pt x="108" y="31"/>
                  </a:lnTo>
                  <a:lnTo>
                    <a:pt x="116" y="38"/>
                  </a:lnTo>
                  <a:lnTo>
                    <a:pt x="121" y="43"/>
                  </a:lnTo>
                  <a:lnTo>
                    <a:pt x="127" y="45"/>
                  </a:lnTo>
                  <a:lnTo>
                    <a:pt x="136" y="49"/>
                  </a:lnTo>
                  <a:lnTo>
                    <a:pt x="137" y="50"/>
                  </a:lnTo>
                  <a:lnTo>
                    <a:pt x="136" y="52"/>
                  </a:lnTo>
                  <a:lnTo>
                    <a:pt x="133" y="55"/>
                  </a:lnTo>
                  <a:lnTo>
                    <a:pt x="131" y="57"/>
                  </a:lnTo>
                  <a:lnTo>
                    <a:pt x="131" y="60"/>
                  </a:lnTo>
                  <a:lnTo>
                    <a:pt x="131" y="61"/>
                  </a:lnTo>
                  <a:lnTo>
                    <a:pt x="133" y="61"/>
                  </a:lnTo>
                  <a:lnTo>
                    <a:pt x="146" y="62"/>
                  </a:lnTo>
                  <a:lnTo>
                    <a:pt x="160" y="63"/>
                  </a:lnTo>
                  <a:lnTo>
                    <a:pt x="168" y="63"/>
                  </a:lnTo>
                  <a:lnTo>
                    <a:pt x="173" y="62"/>
                  </a:lnTo>
                  <a:lnTo>
                    <a:pt x="179" y="61"/>
                  </a:lnTo>
                  <a:lnTo>
                    <a:pt x="183" y="56"/>
                  </a:lnTo>
                  <a:lnTo>
                    <a:pt x="183" y="55"/>
                  </a:lnTo>
                  <a:lnTo>
                    <a:pt x="183" y="54"/>
                  </a:lnTo>
                  <a:lnTo>
                    <a:pt x="179" y="51"/>
                  </a:lnTo>
                  <a:lnTo>
                    <a:pt x="174" y="50"/>
                  </a:lnTo>
                  <a:lnTo>
                    <a:pt x="169" y="50"/>
                  </a:lnTo>
                  <a:lnTo>
                    <a:pt x="168" y="50"/>
                  </a:lnTo>
                  <a:lnTo>
                    <a:pt x="166" y="49"/>
                  </a:lnTo>
                  <a:lnTo>
                    <a:pt x="163" y="43"/>
                  </a:lnTo>
                  <a:lnTo>
                    <a:pt x="160" y="41"/>
                  </a:lnTo>
                  <a:lnTo>
                    <a:pt x="156" y="39"/>
                  </a:lnTo>
                  <a:lnTo>
                    <a:pt x="151" y="39"/>
                  </a:lnTo>
                  <a:lnTo>
                    <a:pt x="145" y="41"/>
                  </a:lnTo>
                  <a:lnTo>
                    <a:pt x="144" y="39"/>
                  </a:lnTo>
                  <a:lnTo>
                    <a:pt x="142" y="39"/>
                  </a:lnTo>
                  <a:lnTo>
                    <a:pt x="140" y="36"/>
                  </a:lnTo>
                  <a:lnTo>
                    <a:pt x="137" y="32"/>
                  </a:lnTo>
                  <a:lnTo>
                    <a:pt x="135" y="3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59" name="Freeform 558"/>
            <p:cNvSpPr>
              <a:spLocks/>
            </p:cNvSpPr>
            <p:nvPr/>
          </p:nvSpPr>
          <p:spPr bwMode="auto">
            <a:xfrm>
              <a:off x="2708275" y="3373442"/>
              <a:ext cx="15875" cy="15875"/>
            </a:xfrm>
            <a:custGeom>
              <a:avLst/>
              <a:gdLst>
                <a:gd name="T0" fmla="*/ 2147483647 w 11"/>
                <a:gd name="T1" fmla="*/ 2147483647 h 10"/>
                <a:gd name="T2" fmla="*/ 2147483647 w 11"/>
                <a:gd name="T3" fmla="*/ 2147483647 h 10"/>
                <a:gd name="T4" fmla="*/ 2147483647 w 11"/>
                <a:gd name="T5" fmla="*/ 2147483647 h 10"/>
                <a:gd name="T6" fmla="*/ 2147483647 w 11"/>
                <a:gd name="T7" fmla="*/ 0 h 10"/>
                <a:gd name="T8" fmla="*/ 2147483647 w 11"/>
                <a:gd name="T9" fmla="*/ 0 h 10"/>
                <a:gd name="T10" fmla="*/ 2147483647 w 11"/>
                <a:gd name="T11" fmla="*/ 0 h 10"/>
                <a:gd name="T12" fmla="*/ 2147483647 w 11"/>
                <a:gd name="T13" fmla="*/ 2147483647 h 10"/>
                <a:gd name="T14" fmla="*/ 2147483647 w 11"/>
                <a:gd name="T15" fmla="*/ 2147483647 h 10"/>
                <a:gd name="T16" fmla="*/ 2147483647 w 11"/>
                <a:gd name="T17" fmla="*/ 2147483647 h 10"/>
                <a:gd name="T18" fmla="*/ 2147483647 w 11"/>
                <a:gd name="T19" fmla="*/ 2147483647 h 10"/>
                <a:gd name="T20" fmla="*/ 2147483647 w 11"/>
                <a:gd name="T21" fmla="*/ 2147483647 h 10"/>
                <a:gd name="T22" fmla="*/ 2147483647 w 11"/>
                <a:gd name="T23" fmla="*/ 2147483647 h 10"/>
                <a:gd name="T24" fmla="*/ 2147483647 w 11"/>
                <a:gd name="T25" fmla="*/ 2147483647 h 10"/>
                <a:gd name="T26" fmla="*/ 0 w 11"/>
                <a:gd name="T27" fmla="*/ 2147483647 h 10"/>
                <a:gd name="T28" fmla="*/ 2147483647 w 11"/>
                <a:gd name="T29" fmla="*/ 2147483647 h 10"/>
                <a:gd name="T30" fmla="*/ 2147483647 w 11"/>
                <a:gd name="T31" fmla="*/ 2147483647 h 10"/>
                <a:gd name="T32" fmla="*/ 2147483647 w 11"/>
                <a:gd name="T33" fmla="*/ 2147483647 h 10"/>
                <a:gd name="T34" fmla="*/ 2147483647 w 11"/>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0"/>
                <a:gd name="T56" fmla="*/ 11 w 11"/>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0">
                  <a:moveTo>
                    <a:pt x="6" y="2"/>
                  </a:moveTo>
                  <a:lnTo>
                    <a:pt x="6" y="2"/>
                  </a:lnTo>
                  <a:lnTo>
                    <a:pt x="9" y="1"/>
                  </a:lnTo>
                  <a:lnTo>
                    <a:pt x="9" y="0"/>
                  </a:lnTo>
                  <a:lnTo>
                    <a:pt x="10" y="0"/>
                  </a:lnTo>
                  <a:lnTo>
                    <a:pt x="11" y="2"/>
                  </a:lnTo>
                  <a:lnTo>
                    <a:pt x="11" y="4"/>
                  </a:lnTo>
                  <a:lnTo>
                    <a:pt x="9" y="8"/>
                  </a:lnTo>
                  <a:lnTo>
                    <a:pt x="5" y="10"/>
                  </a:lnTo>
                  <a:lnTo>
                    <a:pt x="3" y="10"/>
                  </a:lnTo>
                  <a:lnTo>
                    <a:pt x="1" y="10"/>
                  </a:lnTo>
                  <a:lnTo>
                    <a:pt x="0" y="8"/>
                  </a:lnTo>
                  <a:lnTo>
                    <a:pt x="1" y="5"/>
                  </a:lnTo>
                  <a:lnTo>
                    <a:pt x="2" y="3"/>
                  </a:lnTo>
                  <a:lnTo>
                    <a:pt x="6"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0" name="Freeform 559"/>
            <p:cNvSpPr>
              <a:spLocks/>
            </p:cNvSpPr>
            <p:nvPr/>
          </p:nvSpPr>
          <p:spPr bwMode="auto">
            <a:xfrm>
              <a:off x="2662239" y="3814766"/>
              <a:ext cx="4762" cy="6350"/>
            </a:xfrm>
            <a:custGeom>
              <a:avLst/>
              <a:gdLst>
                <a:gd name="T0" fmla="*/ 0 w 3"/>
                <a:gd name="T1" fmla="*/ 2147483647 h 4"/>
                <a:gd name="T2" fmla="*/ 2147483647 w 3"/>
                <a:gd name="T3" fmla="*/ 0 h 4"/>
                <a:gd name="T4" fmla="*/ 2147483647 w 3"/>
                <a:gd name="T5" fmla="*/ 2147483647 h 4"/>
                <a:gd name="T6" fmla="*/ 2147483647 w 3"/>
                <a:gd name="T7" fmla="*/ 2147483647 h 4"/>
                <a:gd name="T8" fmla="*/ 0 w 3"/>
                <a:gd name="T9" fmla="*/ 2147483647 h 4"/>
                <a:gd name="T10" fmla="*/ 0 w 3"/>
                <a:gd name="T11" fmla="*/ 2147483647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1"/>
                  </a:moveTo>
                  <a:lnTo>
                    <a:pt x="1" y="0"/>
                  </a:lnTo>
                  <a:lnTo>
                    <a:pt x="3" y="1"/>
                  </a:lnTo>
                  <a:lnTo>
                    <a:pt x="3" y="4"/>
                  </a:lnTo>
                  <a:lnTo>
                    <a:pt x="0" y="4"/>
                  </a:lnTo>
                  <a:lnTo>
                    <a:pt x="0"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1" name="Freeform 560"/>
            <p:cNvSpPr>
              <a:spLocks/>
            </p:cNvSpPr>
            <p:nvPr/>
          </p:nvSpPr>
          <p:spPr bwMode="auto">
            <a:xfrm>
              <a:off x="2028825" y="4418017"/>
              <a:ext cx="19050" cy="15875"/>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0 h 10"/>
                <a:gd name="T10" fmla="*/ 2147483647 w 13"/>
                <a:gd name="T11" fmla="*/ 0 h 10"/>
                <a:gd name="T12" fmla="*/ 2147483647 w 13"/>
                <a:gd name="T13" fmla="*/ 2147483647 h 10"/>
                <a:gd name="T14" fmla="*/ 0 w 13"/>
                <a:gd name="T15" fmla="*/ 2147483647 h 10"/>
                <a:gd name="T16" fmla="*/ 0 w 13"/>
                <a:gd name="T17" fmla="*/ 2147483647 h 10"/>
                <a:gd name="T18" fmla="*/ 2147483647 w 13"/>
                <a:gd name="T19" fmla="*/ 2147483647 h 10"/>
                <a:gd name="T20" fmla="*/ 2147483647 w 13"/>
                <a:gd name="T21" fmla="*/ 2147483647 h 10"/>
                <a:gd name="T22" fmla="*/ 2147483647 w 13"/>
                <a:gd name="T23" fmla="*/ 2147483647 h 10"/>
                <a:gd name="T24" fmla="*/ 2147483647 w 13"/>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0"/>
                <a:gd name="T41" fmla="*/ 13 w 13"/>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0">
                  <a:moveTo>
                    <a:pt x="8" y="8"/>
                  </a:moveTo>
                  <a:lnTo>
                    <a:pt x="12" y="5"/>
                  </a:lnTo>
                  <a:lnTo>
                    <a:pt x="13" y="4"/>
                  </a:lnTo>
                  <a:lnTo>
                    <a:pt x="13" y="2"/>
                  </a:lnTo>
                  <a:lnTo>
                    <a:pt x="9" y="0"/>
                  </a:lnTo>
                  <a:lnTo>
                    <a:pt x="5" y="0"/>
                  </a:lnTo>
                  <a:lnTo>
                    <a:pt x="2" y="1"/>
                  </a:lnTo>
                  <a:lnTo>
                    <a:pt x="0" y="5"/>
                  </a:lnTo>
                  <a:lnTo>
                    <a:pt x="0" y="8"/>
                  </a:lnTo>
                  <a:lnTo>
                    <a:pt x="2" y="9"/>
                  </a:lnTo>
                  <a:lnTo>
                    <a:pt x="3" y="10"/>
                  </a:lnTo>
                  <a:lnTo>
                    <a:pt x="5" y="9"/>
                  </a:lnTo>
                  <a:lnTo>
                    <a:pt x="8"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2" name="Freeform 561"/>
            <p:cNvSpPr>
              <a:spLocks/>
            </p:cNvSpPr>
            <p:nvPr/>
          </p:nvSpPr>
          <p:spPr bwMode="auto">
            <a:xfrm>
              <a:off x="2660654" y="3813178"/>
              <a:ext cx="3175" cy="4763"/>
            </a:xfrm>
            <a:custGeom>
              <a:avLst/>
              <a:gdLst>
                <a:gd name="T0" fmla="*/ 0 w 2"/>
                <a:gd name="T1" fmla="*/ 2147483647 h 3"/>
                <a:gd name="T2" fmla="*/ 0 w 2"/>
                <a:gd name="T3" fmla="*/ 2147483647 h 3"/>
                <a:gd name="T4" fmla="*/ 2147483647 w 2"/>
                <a:gd name="T5" fmla="*/ 0 h 3"/>
                <a:gd name="T6" fmla="*/ 2147483647 w 2"/>
                <a:gd name="T7" fmla="*/ 0 h 3"/>
                <a:gd name="T8" fmla="*/ 2147483647 w 2"/>
                <a:gd name="T9" fmla="*/ 2147483647 h 3"/>
                <a:gd name="T10" fmla="*/ 2147483647 w 2"/>
                <a:gd name="T11" fmla="*/ 2147483647 h 3"/>
                <a:gd name="T12" fmla="*/ 2147483647 w 2"/>
                <a:gd name="T13" fmla="*/ 2147483647 h 3"/>
                <a:gd name="T14" fmla="*/ 2147483647 w 2"/>
                <a:gd name="T15" fmla="*/ 2147483647 h 3"/>
                <a:gd name="T16" fmla="*/ 2147483647 w 2"/>
                <a:gd name="T17" fmla="*/ 2147483647 h 3"/>
                <a:gd name="T18" fmla="*/ 0 w 2"/>
                <a:gd name="T19" fmla="*/ 2147483647 h 3"/>
                <a:gd name="T20" fmla="*/ 0 w 2"/>
                <a:gd name="T21" fmla="*/ 2147483647 h 3"/>
                <a:gd name="T22" fmla="*/ 0 w 2"/>
                <a:gd name="T23" fmla="*/ 2147483647 h 3"/>
                <a:gd name="T24" fmla="*/ 0 w 2"/>
                <a:gd name="T25" fmla="*/ 2147483647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
                <a:gd name="T40" fmla="*/ 0 h 3"/>
                <a:gd name="T41" fmla="*/ 2 w 2"/>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 h="3">
                  <a:moveTo>
                    <a:pt x="0" y="1"/>
                  </a:moveTo>
                  <a:lnTo>
                    <a:pt x="0" y="1"/>
                  </a:lnTo>
                  <a:lnTo>
                    <a:pt x="1" y="0"/>
                  </a:lnTo>
                  <a:lnTo>
                    <a:pt x="2" y="1"/>
                  </a:lnTo>
                  <a:lnTo>
                    <a:pt x="2" y="3"/>
                  </a:lnTo>
                  <a:lnTo>
                    <a:pt x="0" y="3"/>
                  </a:lnTo>
                  <a:lnTo>
                    <a:pt x="0"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3" name="Freeform 562"/>
            <p:cNvSpPr>
              <a:spLocks/>
            </p:cNvSpPr>
            <p:nvPr/>
          </p:nvSpPr>
          <p:spPr bwMode="auto">
            <a:xfrm>
              <a:off x="2028825" y="4414838"/>
              <a:ext cx="19050" cy="17462"/>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0 h 11"/>
                <a:gd name="T14" fmla="*/ 2147483647 w 13"/>
                <a:gd name="T15" fmla="*/ 0 h 11"/>
                <a:gd name="T16" fmla="*/ 2147483647 w 13"/>
                <a:gd name="T17" fmla="*/ 2147483647 h 11"/>
                <a:gd name="T18" fmla="*/ 0 w 13"/>
                <a:gd name="T19" fmla="*/ 2147483647 h 11"/>
                <a:gd name="T20" fmla="*/ 0 w 13"/>
                <a:gd name="T21" fmla="*/ 2147483647 h 11"/>
                <a:gd name="T22" fmla="*/ 0 w 13"/>
                <a:gd name="T23" fmla="*/ 2147483647 h 11"/>
                <a:gd name="T24" fmla="*/ 2147483647 w 13"/>
                <a:gd name="T25" fmla="*/ 2147483647 h 11"/>
                <a:gd name="T26" fmla="*/ 2147483647 w 13"/>
                <a:gd name="T27" fmla="*/ 2147483647 h 11"/>
                <a:gd name="T28" fmla="*/ 2147483647 w 13"/>
                <a:gd name="T29" fmla="*/ 2147483647 h 11"/>
                <a:gd name="T30" fmla="*/ 2147483647 w 13"/>
                <a:gd name="T31" fmla="*/ 2147483647 h 11"/>
                <a:gd name="T32" fmla="*/ 2147483647 w 13"/>
                <a:gd name="T33" fmla="*/ 2147483647 h 11"/>
                <a:gd name="T34" fmla="*/ 2147483647 w 13"/>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1"/>
                <a:gd name="T56" fmla="*/ 13 w 13"/>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1">
                  <a:moveTo>
                    <a:pt x="8" y="9"/>
                  </a:moveTo>
                  <a:lnTo>
                    <a:pt x="8" y="9"/>
                  </a:lnTo>
                  <a:lnTo>
                    <a:pt x="12" y="6"/>
                  </a:lnTo>
                  <a:lnTo>
                    <a:pt x="13" y="5"/>
                  </a:lnTo>
                  <a:lnTo>
                    <a:pt x="13" y="3"/>
                  </a:lnTo>
                  <a:lnTo>
                    <a:pt x="9" y="0"/>
                  </a:lnTo>
                  <a:lnTo>
                    <a:pt x="5" y="0"/>
                  </a:lnTo>
                  <a:lnTo>
                    <a:pt x="1" y="2"/>
                  </a:lnTo>
                  <a:lnTo>
                    <a:pt x="0" y="6"/>
                  </a:lnTo>
                  <a:lnTo>
                    <a:pt x="0" y="9"/>
                  </a:lnTo>
                  <a:lnTo>
                    <a:pt x="1" y="10"/>
                  </a:lnTo>
                  <a:lnTo>
                    <a:pt x="3" y="11"/>
                  </a:lnTo>
                  <a:lnTo>
                    <a:pt x="5" y="10"/>
                  </a:lnTo>
                  <a:lnTo>
                    <a:pt x="8"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4" name="Freeform 563"/>
            <p:cNvSpPr>
              <a:spLocks/>
            </p:cNvSpPr>
            <p:nvPr/>
          </p:nvSpPr>
          <p:spPr bwMode="auto">
            <a:xfrm>
              <a:off x="2033589" y="4438650"/>
              <a:ext cx="20637" cy="14288"/>
            </a:xfrm>
            <a:custGeom>
              <a:avLst/>
              <a:gdLst>
                <a:gd name="T0" fmla="*/ 2147483647 w 14"/>
                <a:gd name="T1" fmla="*/ 2147483647 h 9"/>
                <a:gd name="T2" fmla="*/ 2147483647 w 14"/>
                <a:gd name="T3" fmla="*/ 2147483647 h 9"/>
                <a:gd name="T4" fmla="*/ 2147483647 w 14"/>
                <a:gd name="T5" fmla="*/ 2147483647 h 9"/>
                <a:gd name="T6" fmla="*/ 2147483647 w 14"/>
                <a:gd name="T7" fmla="*/ 2147483647 h 9"/>
                <a:gd name="T8" fmla="*/ 2147483647 w 14"/>
                <a:gd name="T9" fmla="*/ 0 h 9"/>
                <a:gd name="T10" fmla="*/ 2147483647 w 14"/>
                <a:gd name="T11" fmla="*/ 2147483647 h 9"/>
                <a:gd name="T12" fmla="*/ 0 w 14"/>
                <a:gd name="T13" fmla="*/ 2147483647 h 9"/>
                <a:gd name="T14" fmla="*/ 0 w 14"/>
                <a:gd name="T15" fmla="*/ 2147483647 h 9"/>
                <a:gd name="T16" fmla="*/ 0 w 14"/>
                <a:gd name="T17" fmla="*/ 2147483647 h 9"/>
                <a:gd name="T18" fmla="*/ 2147483647 w 14"/>
                <a:gd name="T19" fmla="*/ 2147483647 h 9"/>
                <a:gd name="T20" fmla="*/ 2147483647 w 14"/>
                <a:gd name="T21" fmla="*/ 2147483647 h 9"/>
                <a:gd name="T22" fmla="*/ 2147483647 w 14"/>
                <a:gd name="T23" fmla="*/ 2147483647 h 9"/>
                <a:gd name="T24" fmla="*/ 2147483647 w 14"/>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9"/>
                <a:gd name="T41" fmla="*/ 14 w 14"/>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9">
                  <a:moveTo>
                    <a:pt x="9" y="5"/>
                  </a:moveTo>
                  <a:lnTo>
                    <a:pt x="13" y="3"/>
                  </a:lnTo>
                  <a:lnTo>
                    <a:pt x="14" y="2"/>
                  </a:lnTo>
                  <a:lnTo>
                    <a:pt x="13" y="1"/>
                  </a:lnTo>
                  <a:lnTo>
                    <a:pt x="6" y="0"/>
                  </a:lnTo>
                  <a:lnTo>
                    <a:pt x="2" y="1"/>
                  </a:lnTo>
                  <a:lnTo>
                    <a:pt x="0" y="2"/>
                  </a:lnTo>
                  <a:lnTo>
                    <a:pt x="0" y="3"/>
                  </a:lnTo>
                  <a:lnTo>
                    <a:pt x="0" y="4"/>
                  </a:lnTo>
                  <a:lnTo>
                    <a:pt x="2" y="8"/>
                  </a:lnTo>
                  <a:lnTo>
                    <a:pt x="4" y="9"/>
                  </a:lnTo>
                  <a:lnTo>
                    <a:pt x="5" y="8"/>
                  </a:lnTo>
                  <a:lnTo>
                    <a:pt x="9"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5" name="Freeform 564"/>
            <p:cNvSpPr>
              <a:spLocks/>
            </p:cNvSpPr>
            <p:nvPr/>
          </p:nvSpPr>
          <p:spPr bwMode="auto">
            <a:xfrm>
              <a:off x="2032000" y="4435479"/>
              <a:ext cx="20638" cy="15875"/>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2147483647 h 10"/>
                <a:gd name="T12" fmla="*/ 2147483647 w 14"/>
                <a:gd name="T13" fmla="*/ 0 h 10"/>
                <a:gd name="T14" fmla="*/ 2147483647 w 14"/>
                <a:gd name="T15" fmla="*/ 2147483647 h 10"/>
                <a:gd name="T16" fmla="*/ 0 w 14"/>
                <a:gd name="T17" fmla="*/ 2147483647 h 10"/>
                <a:gd name="T18" fmla="*/ 0 w 14"/>
                <a:gd name="T19" fmla="*/ 2147483647 h 10"/>
                <a:gd name="T20" fmla="*/ 0 w 14"/>
                <a:gd name="T21" fmla="*/ 2147483647 h 10"/>
                <a:gd name="T22" fmla="*/ 0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0"/>
                <a:gd name="T56" fmla="*/ 14 w 1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0">
                  <a:moveTo>
                    <a:pt x="9" y="6"/>
                  </a:moveTo>
                  <a:lnTo>
                    <a:pt x="9" y="6"/>
                  </a:lnTo>
                  <a:lnTo>
                    <a:pt x="12" y="4"/>
                  </a:lnTo>
                  <a:lnTo>
                    <a:pt x="14" y="3"/>
                  </a:lnTo>
                  <a:lnTo>
                    <a:pt x="12" y="2"/>
                  </a:lnTo>
                  <a:lnTo>
                    <a:pt x="6" y="0"/>
                  </a:lnTo>
                  <a:lnTo>
                    <a:pt x="2" y="2"/>
                  </a:lnTo>
                  <a:lnTo>
                    <a:pt x="0" y="3"/>
                  </a:lnTo>
                  <a:lnTo>
                    <a:pt x="0" y="4"/>
                  </a:lnTo>
                  <a:lnTo>
                    <a:pt x="0" y="5"/>
                  </a:lnTo>
                  <a:lnTo>
                    <a:pt x="2" y="9"/>
                  </a:lnTo>
                  <a:lnTo>
                    <a:pt x="3" y="10"/>
                  </a:lnTo>
                  <a:lnTo>
                    <a:pt x="5" y="9"/>
                  </a:lnTo>
                  <a:lnTo>
                    <a:pt x="9"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6" name="Freeform 565"/>
            <p:cNvSpPr>
              <a:spLocks/>
            </p:cNvSpPr>
            <p:nvPr/>
          </p:nvSpPr>
          <p:spPr bwMode="auto">
            <a:xfrm>
              <a:off x="2800354" y="6124575"/>
              <a:ext cx="41275" cy="39688"/>
            </a:xfrm>
            <a:custGeom>
              <a:avLst/>
              <a:gdLst>
                <a:gd name="T0" fmla="*/ 2147483647 w 28"/>
                <a:gd name="T1" fmla="*/ 2147483647 h 25"/>
                <a:gd name="T2" fmla="*/ 2147483647 w 28"/>
                <a:gd name="T3" fmla="*/ 2147483647 h 25"/>
                <a:gd name="T4" fmla="*/ 0 w 28"/>
                <a:gd name="T5" fmla="*/ 2147483647 h 25"/>
                <a:gd name="T6" fmla="*/ 0 w 28"/>
                <a:gd name="T7" fmla="*/ 2147483647 h 25"/>
                <a:gd name="T8" fmla="*/ 0 w 28"/>
                <a:gd name="T9" fmla="*/ 2147483647 h 25"/>
                <a:gd name="T10" fmla="*/ 2147483647 w 28"/>
                <a:gd name="T11" fmla="*/ 2147483647 h 25"/>
                <a:gd name="T12" fmla="*/ 2147483647 w 28"/>
                <a:gd name="T13" fmla="*/ 2147483647 h 25"/>
                <a:gd name="T14" fmla="*/ 2147483647 w 28"/>
                <a:gd name="T15" fmla="*/ 2147483647 h 25"/>
                <a:gd name="T16" fmla="*/ 2147483647 w 28"/>
                <a:gd name="T17" fmla="*/ 2147483647 h 25"/>
                <a:gd name="T18" fmla="*/ 2147483647 w 28"/>
                <a:gd name="T19" fmla="*/ 2147483647 h 25"/>
                <a:gd name="T20" fmla="*/ 2147483647 w 28"/>
                <a:gd name="T21" fmla="*/ 2147483647 h 25"/>
                <a:gd name="T22" fmla="*/ 2147483647 w 28"/>
                <a:gd name="T23" fmla="*/ 2147483647 h 25"/>
                <a:gd name="T24" fmla="*/ 2147483647 w 28"/>
                <a:gd name="T25" fmla="*/ 2147483647 h 25"/>
                <a:gd name="T26" fmla="*/ 2147483647 w 28"/>
                <a:gd name="T27" fmla="*/ 2147483647 h 25"/>
                <a:gd name="T28" fmla="*/ 2147483647 w 28"/>
                <a:gd name="T29" fmla="*/ 0 h 25"/>
                <a:gd name="T30" fmla="*/ 2147483647 w 28"/>
                <a:gd name="T31" fmla="*/ 0 h 25"/>
                <a:gd name="T32" fmla="*/ 2147483647 w 28"/>
                <a:gd name="T33" fmla="*/ 0 h 25"/>
                <a:gd name="T34" fmla="*/ 2147483647 w 28"/>
                <a:gd name="T35" fmla="*/ 2147483647 h 25"/>
                <a:gd name="T36" fmla="*/ 2147483647 w 28"/>
                <a:gd name="T37" fmla="*/ 2147483647 h 25"/>
                <a:gd name="T38" fmla="*/ 2147483647 w 28"/>
                <a:gd name="T39" fmla="*/ 2147483647 h 25"/>
                <a:gd name="T40" fmla="*/ 2147483647 w 28"/>
                <a:gd name="T41" fmla="*/ 2147483647 h 25"/>
                <a:gd name="T42" fmla="*/ 2147483647 w 28"/>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5"/>
                <a:gd name="T68" fmla="*/ 28 w 28"/>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5">
                  <a:moveTo>
                    <a:pt x="5" y="16"/>
                  </a:moveTo>
                  <a:lnTo>
                    <a:pt x="1" y="19"/>
                  </a:lnTo>
                  <a:lnTo>
                    <a:pt x="0" y="22"/>
                  </a:lnTo>
                  <a:lnTo>
                    <a:pt x="0" y="24"/>
                  </a:lnTo>
                  <a:lnTo>
                    <a:pt x="0" y="25"/>
                  </a:lnTo>
                  <a:lnTo>
                    <a:pt x="3" y="25"/>
                  </a:lnTo>
                  <a:lnTo>
                    <a:pt x="5" y="25"/>
                  </a:lnTo>
                  <a:lnTo>
                    <a:pt x="6" y="25"/>
                  </a:lnTo>
                  <a:lnTo>
                    <a:pt x="8" y="24"/>
                  </a:lnTo>
                  <a:lnTo>
                    <a:pt x="12" y="20"/>
                  </a:lnTo>
                  <a:lnTo>
                    <a:pt x="18" y="16"/>
                  </a:lnTo>
                  <a:lnTo>
                    <a:pt x="22" y="12"/>
                  </a:lnTo>
                  <a:lnTo>
                    <a:pt x="26" y="7"/>
                  </a:lnTo>
                  <a:lnTo>
                    <a:pt x="28" y="2"/>
                  </a:lnTo>
                  <a:lnTo>
                    <a:pt x="26" y="0"/>
                  </a:lnTo>
                  <a:lnTo>
                    <a:pt x="24" y="0"/>
                  </a:lnTo>
                  <a:lnTo>
                    <a:pt x="22" y="0"/>
                  </a:lnTo>
                  <a:lnTo>
                    <a:pt x="19" y="3"/>
                  </a:lnTo>
                  <a:lnTo>
                    <a:pt x="15" y="6"/>
                  </a:lnTo>
                  <a:lnTo>
                    <a:pt x="13" y="8"/>
                  </a:lnTo>
                  <a:lnTo>
                    <a:pt x="8" y="15"/>
                  </a:lnTo>
                  <a:lnTo>
                    <a:pt x="5"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7" name="Freeform 566"/>
            <p:cNvSpPr>
              <a:spLocks/>
            </p:cNvSpPr>
            <p:nvPr/>
          </p:nvSpPr>
          <p:spPr bwMode="auto">
            <a:xfrm>
              <a:off x="123826" y="3678238"/>
              <a:ext cx="9525" cy="6350"/>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2147483647 w 6"/>
                <a:gd name="T9" fmla="*/ 2147483647 h 4"/>
                <a:gd name="T10" fmla="*/ 0 w 6"/>
                <a:gd name="T11" fmla="*/ 2147483647 h 4"/>
                <a:gd name="T12" fmla="*/ 0 w 6"/>
                <a:gd name="T13" fmla="*/ 2147483647 h 4"/>
                <a:gd name="T14" fmla="*/ 2147483647 w 6"/>
                <a:gd name="T15" fmla="*/ 2147483647 h 4"/>
                <a:gd name="T16" fmla="*/ 2147483647 w 6"/>
                <a:gd name="T17" fmla="*/ 0 h 4"/>
                <a:gd name="T18" fmla="*/ 2147483647 w 6"/>
                <a:gd name="T19" fmla="*/ 2147483647 h 4"/>
                <a:gd name="T20" fmla="*/ 2147483647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5" y="2"/>
                  </a:moveTo>
                  <a:lnTo>
                    <a:pt x="6" y="3"/>
                  </a:lnTo>
                  <a:lnTo>
                    <a:pt x="6" y="4"/>
                  </a:lnTo>
                  <a:lnTo>
                    <a:pt x="4" y="4"/>
                  </a:lnTo>
                  <a:lnTo>
                    <a:pt x="1" y="4"/>
                  </a:lnTo>
                  <a:lnTo>
                    <a:pt x="0" y="3"/>
                  </a:lnTo>
                  <a:lnTo>
                    <a:pt x="0" y="2"/>
                  </a:lnTo>
                  <a:lnTo>
                    <a:pt x="1" y="1"/>
                  </a:lnTo>
                  <a:lnTo>
                    <a:pt x="3" y="0"/>
                  </a:lnTo>
                  <a:lnTo>
                    <a:pt x="3" y="1"/>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8" name="Freeform 567"/>
            <p:cNvSpPr>
              <a:spLocks/>
            </p:cNvSpPr>
            <p:nvPr/>
          </p:nvSpPr>
          <p:spPr bwMode="auto">
            <a:xfrm>
              <a:off x="123825" y="3675068"/>
              <a:ext cx="7938" cy="7937"/>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2147483647 w 6"/>
                <a:gd name="T19" fmla="*/ 2147483647 h 5"/>
                <a:gd name="T20" fmla="*/ 2147483647 w 6"/>
                <a:gd name="T21" fmla="*/ 2147483647 h 5"/>
                <a:gd name="T22" fmla="*/ 2147483647 w 6"/>
                <a:gd name="T23" fmla="*/ 0 h 5"/>
                <a:gd name="T24" fmla="*/ 2147483647 w 6"/>
                <a:gd name="T25" fmla="*/ 2147483647 h 5"/>
                <a:gd name="T26" fmla="*/ 2147483647 w 6"/>
                <a:gd name="T27" fmla="*/ 2147483647 h 5"/>
                <a:gd name="T28" fmla="*/ 2147483647 w 6"/>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5" y="3"/>
                  </a:moveTo>
                  <a:lnTo>
                    <a:pt x="5" y="3"/>
                  </a:lnTo>
                  <a:lnTo>
                    <a:pt x="6" y="4"/>
                  </a:lnTo>
                  <a:lnTo>
                    <a:pt x="6" y="5"/>
                  </a:lnTo>
                  <a:lnTo>
                    <a:pt x="4" y="5"/>
                  </a:lnTo>
                  <a:lnTo>
                    <a:pt x="1" y="5"/>
                  </a:lnTo>
                  <a:lnTo>
                    <a:pt x="0" y="4"/>
                  </a:lnTo>
                  <a:lnTo>
                    <a:pt x="0" y="3"/>
                  </a:lnTo>
                  <a:lnTo>
                    <a:pt x="1" y="2"/>
                  </a:lnTo>
                  <a:lnTo>
                    <a:pt x="2" y="0"/>
                  </a:lnTo>
                  <a:lnTo>
                    <a:pt x="2" y="2"/>
                  </a:lnTo>
                  <a:lnTo>
                    <a:pt x="5"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69" name="Freeform 568"/>
            <p:cNvSpPr>
              <a:spLocks/>
            </p:cNvSpPr>
            <p:nvPr/>
          </p:nvSpPr>
          <p:spPr bwMode="auto">
            <a:xfrm>
              <a:off x="171450" y="3678239"/>
              <a:ext cx="7938" cy="4762"/>
            </a:xfrm>
            <a:custGeom>
              <a:avLst/>
              <a:gdLst>
                <a:gd name="T0" fmla="*/ 2147483647 w 5"/>
                <a:gd name="T1" fmla="*/ 2147483647 h 3"/>
                <a:gd name="T2" fmla="*/ 0 w 5"/>
                <a:gd name="T3" fmla="*/ 2147483647 h 3"/>
                <a:gd name="T4" fmla="*/ 0 w 5"/>
                <a:gd name="T5" fmla="*/ 2147483647 h 3"/>
                <a:gd name="T6" fmla="*/ 2147483647 w 5"/>
                <a:gd name="T7" fmla="*/ 0 h 3"/>
                <a:gd name="T8" fmla="*/ 2147483647 w 5"/>
                <a:gd name="T9" fmla="*/ 0 h 3"/>
                <a:gd name="T10" fmla="*/ 2147483647 w 5"/>
                <a:gd name="T11" fmla="*/ 2147483647 h 3"/>
                <a:gd name="T12" fmla="*/ 2147483647 w 5"/>
                <a:gd name="T13" fmla="*/ 2147483647 h 3"/>
                <a:gd name="T14" fmla="*/ 2147483647 w 5"/>
                <a:gd name="T15" fmla="*/ 2147483647 h 3"/>
                <a:gd name="T16" fmla="*/ 2147483647 w 5"/>
                <a:gd name="T17" fmla="*/ 2147483647 h 3"/>
                <a:gd name="T18" fmla="*/ 2147483647 w 5"/>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1" y="3"/>
                  </a:moveTo>
                  <a:lnTo>
                    <a:pt x="0" y="3"/>
                  </a:lnTo>
                  <a:lnTo>
                    <a:pt x="0" y="2"/>
                  </a:lnTo>
                  <a:lnTo>
                    <a:pt x="1" y="0"/>
                  </a:lnTo>
                  <a:lnTo>
                    <a:pt x="2" y="0"/>
                  </a:lnTo>
                  <a:lnTo>
                    <a:pt x="5" y="1"/>
                  </a:lnTo>
                  <a:lnTo>
                    <a:pt x="5" y="2"/>
                  </a:lnTo>
                  <a:lnTo>
                    <a:pt x="5" y="3"/>
                  </a:lnTo>
                  <a:lnTo>
                    <a:pt x="2" y="3"/>
                  </a:lnTo>
                  <a:lnTo>
                    <a:pt x="1"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0" name="Freeform 569"/>
            <p:cNvSpPr>
              <a:spLocks/>
            </p:cNvSpPr>
            <p:nvPr/>
          </p:nvSpPr>
          <p:spPr bwMode="auto">
            <a:xfrm>
              <a:off x="239715" y="3708401"/>
              <a:ext cx="9525" cy="6350"/>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0 w 6"/>
                <a:gd name="T9" fmla="*/ 2147483647 h 4"/>
                <a:gd name="T10" fmla="*/ 0 w 6"/>
                <a:gd name="T11" fmla="*/ 2147483647 h 4"/>
                <a:gd name="T12" fmla="*/ 2147483647 w 6"/>
                <a:gd name="T13" fmla="*/ 0 h 4"/>
                <a:gd name="T14" fmla="*/ 2147483647 w 6"/>
                <a:gd name="T15" fmla="*/ 2147483647 h 4"/>
                <a:gd name="T16" fmla="*/ 2147483647 w 6"/>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6" y="2"/>
                  </a:moveTo>
                  <a:lnTo>
                    <a:pt x="6" y="3"/>
                  </a:lnTo>
                  <a:lnTo>
                    <a:pt x="5" y="4"/>
                  </a:lnTo>
                  <a:lnTo>
                    <a:pt x="2" y="4"/>
                  </a:lnTo>
                  <a:lnTo>
                    <a:pt x="0" y="2"/>
                  </a:lnTo>
                  <a:lnTo>
                    <a:pt x="0" y="1"/>
                  </a:lnTo>
                  <a:lnTo>
                    <a:pt x="2" y="0"/>
                  </a:lnTo>
                  <a:lnTo>
                    <a:pt x="5" y="1"/>
                  </a:lnTo>
                  <a:lnTo>
                    <a:pt x="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1" name="Freeform 570"/>
            <p:cNvSpPr>
              <a:spLocks/>
            </p:cNvSpPr>
            <p:nvPr/>
          </p:nvSpPr>
          <p:spPr bwMode="auto">
            <a:xfrm>
              <a:off x="169867" y="3675066"/>
              <a:ext cx="7937" cy="6350"/>
            </a:xfrm>
            <a:custGeom>
              <a:avLst/>
              <a:gdLst>
                <a:gd name="T0" fmla="*/ 2147483647 w 5"/>
                <a:gd name="T1" fmla="*/ 2147483647 h 4"/>
                <a:gd name="T2" fmla="*/ 2147483647 w 5"/>
                <a:gd name="T3" fmla="*/ 2147483647 h 4"/>
                <a:gd name="T4" fmla="*/ 0 w 5"/>
                <a:gd name="T5" fmla="*/ 2147483647 h 4"/>
                <a:gd name="T6" fmla="*/ 0 w 5"/>
                <a:gd name="T7" fmla="*/ 2147483647 h 4"/>
                <a:gd name="T8" fmla="*/ 0 w 5"/>
                <a:gd name="T9" fmla="*/ 2147483647 h 4"/>
                <a:gd name="T10" fmla="*/ 2147483647 w 5"/>
                <a:gd name="T11" fmla="*/ 0 h 4"/>
                <a:gd name="T12" fmla="*/ 2147483647 w 5"/>
                <a:gd name="T13" fmla="*/ 0 h 4"/>
                <a:gd name="T14" fmla="*/ 2147483647 w 5"/>
                <a:gd name="T15" fmla="*/ 2147483647 h 4"/>
                <a:gd name="T16" fmla="*/ 2147483647 w 5"/>
                <a:gd name="T17" fmla="*/ 2147483647 h 4"/>
                <a:gd name="T18" fmla="*/ 2147483647 w 5"/>
                <a:gd name="T19" fmla="*/ 2147483647 h 4"/>
                <a:gd name="T20" fmla="*/ 2147483647 w 5"/>
                <a:gd name="T21" fmla="*/ 2147483647 h 4"/>
                <a:gd name="T22" fmla="*/ 2147483647 w 5"/>
                <a:gd name="T23" fmla="*/ 2147483647 h 4"/>
                <a:gd name="T24" fmla="*/ 2147483647 w 5"/>
                <a:gd name="T25" fmla="*/ 2147483647 h 4"/>
                <a:gd name="T26" fmla="*/ 2147483647 w 5"/>
                <a:gd name="T27" fmla="*/ 2147483647 h 4"/>
                <a:gd name="T28" fmla="*/ 2147483647 w 5"/>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4"/>
                <a:gd name="T47" fmla="*/ 5 w 5"/>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4">
                  <a:moveTo>
                    <a:pt x="1" y="4"/>
                  </a:moveTo>
                  <a:lnTo>
                    <a:pt x="1" y="4"/>
                  </a:lnTo>
                  <a:lnTo>
                    <a:pt x="0" y="4"/>
                  </a:lnTo>
                  <a:lnTo>
                    <a:pt x="0" y="3"/>
                  </a:lnTo>
                  <a:lnTo>
                    <a:pt x="1" y="0"/>
                  </a:lnTo>
                  <a:lnTo>
                    <a:pt x="2" y="0"/>
                  </a:lnTo>
                  <a:lnTo>
                    <a:pt x="5" y="2"/>
                  </a:lnTo>
                  <a:lnTo>
                    <a:pt x="5" y="3"/>
                  </a:lnTo>
                  <a:lnTo>
                    <a:pt x="5" y="4"/>
                  </a:lnTo>
                  <a:lnTo>
                    <a:pt x="2" y="4"/>
                  </a:lnTo>
                  <a:lnTo>
                    <a:pt x="1"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2" name="Freeform 571"/>
            <p:cNvSpPr>
              <a:spLocks/>
            </p:cNvSpPr>
            <p:nvPr/>
          </p:nvSpPr>
          <p:spPr bwMode="auto">
            <a:xfrm>
              <a:off x="238126" y="3705225"/>
              <a:ext cx="9525" cy="7938"/>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0 w 6"/>
                <a:gd name="T19" fmla="*/ 2147483647 h 5"/>
                <a:gd name="T20" fmla="*/ 2147483647 w 6"/>
                <a:gd name="T21" fmla="*/ 0 h 5"/>
                <a:gd name="T22" fmla="*/ 2147483647 w 6"/>
                <a:gd name="T23" fmla="*/ 2147483647 h 5"/>
                <a:gd name="T24" fmla="*/ 2147483647 w 6"/>
                <a:gd name="T25" fmla="*/ 2147483647 h 5"/>
                <a:gd name="T26" fmla="*/ 2147483647 w 6"/>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5"/>
                <a:gd name="T44" fmla="*/ 6 w 6"/>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5">
                  <a:moveTo>
                    <a:pt x="6" y="3"/>
                  </a:moveTo>
                  <a:lnTo>
                    <a:pt x="6" y="3"/>
                  </a:lnTo>
                  <a:lnTo>
                    <a:pt x="6" y="4"/>
                  </a:lnTo>
                  <a:lnTo>
                    <a:pt x="5" y="5"/>
                  </a:lnTo>
                  <a:lnTo>
                    <a:pt x="2" y="5"/>
                  </a:lnTo>
                  <a:lnTo>
                    <a:pt x="0" y="3"/>
                  </a:lnTo>
                  <a:lnTo>
                    <a:pt x="0" y="2"/>
                  </a:lnTo>
                  <a:lnTo>
                    <a:pt x="2" y="0"/>
                  </a:lnTo>
                  <a:lnTo>
                    <a:pt x="5" y="2"/>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3" name="Freeform 572"/>
            <p:cNvSpPr>
              <a:spLocks/>
            </p:cNvSpPr>
            <p:nvPr/>
          </p:nvSpPr>
          <p:spPr bwMode="auto">
            <a:xfrm>
              <a:off x="274639" y="3725865"/>
              <a:ext cx="38100" cy="23812"/>
            </a:xfrm>
            <a:custGeom>
              <a:avLst/>
              <a:gdLst>
                <a:gd name="T0" fmla="*/ 2147483647 w 26"/>
                <a:gd name="T1" fmla="*/ 2147483647 h 15"/>
                <a:gd name="T2" fmla="*/ 2147483647 w 26"/>
                <a:gd name="T3" fmla="*/ 2147483647 h 15"/>
                <a:gd name="T4" fmla="*/ 2147483647 w 26"/>
                <a:gd name="T5" fmla="*/ 2147483647 h 15"/>
                <a:gd name="T6" fmla="*/ 2147483647 w 26"/>
                <a:gd name="T7" fmla="*/ 2147483647 h 15"/>
                <a:gd name="T8" fmla="*/ 2147483647 w 26"/>
                <a:gd name="T9" fmla="*/ 2147483647 h 15"/>
                <a:gd name="T10" fmla="*/ 0 w 26"/>
                <a:gd name="T11" fmla="*/ 2147483647 h 15"/>
                <a:gd name="T12" fmla="*/ 0 w 26"/>
                <a:gd name="T13" fmla="*/ 2147483647 h 15"/>
                <a:gd name="T14" fmla="*/ 2147483647 w 26"/>
                <a:gd name="T15" fmla="*/ 2147483647 h 15"/>
                <a:gd name="T16" fmla="*/ 2147483647 w 26"/>
                <a:gd name="T17" fmla="*/ 2147483647 h 15"/>
                <a:gd name="T18" fmla="*/ 2147483647 w 26"/>
                <a:gd name="T19" fmla="*/ 2147483647 h 15"/>
                <a:gd name="T20" fmla="*/ 2147483647 w 26"/>
                <a:gd name="T21" fmla="*/ 2147483647 h 15"/>
                <a:gd name="T22" fmla="*/ 2147483647 w 26"/>
                <a:gd name="T23" fmla="*/ 0 h 15"/>
                <a:gd name="T24" fmla="*/ 2147483647 w 26"/>
                <a:gd name="T25" fmla="*/ 2147483647 h 15"/>
                <a:gd name="T26" fmla="*/ 2147483647 w 26"/>
                <a:gd name="T27" fmla="*/ 2147483647 h 15"/>
                <a:gd name="T28" fmla="*/ 2147483647 w 26"/>
                <a:gd name="T29" fmla="*/ 2147483647 h 15"/>
                <a:gd name="T30" fmla="*/ 2147483647 w 26"/>
                <a:gd name="T31" fmla="*/ 2147483647 h 15"/>
                <a:gd name="T32" fmla="*/ 2147483647 w 26"/>
                <a:gd name="T33" fmla="*/ 2147483647 h 15"/>
                <a:gd name="T34" fmla="*/ 2147483647 w 26"/>
                <a:gd name="T35" fmla="*/ 2147483647 h 15"/>
                <a:gd name="T36" fmla="*/ 2147483647 w 26"/>
                <a:gd name="T37" fmla="*/ 2147483647 h 15"/>
                <a:gd name="T38" fmla="*/ 2147483647 w 26"/>
                <a:gd name="T39" fmla="*/ 2147483647 h 15"/>
                <a:gd name="T40" fmla="*/ 2147483647 w 26"/>
                <a:gd name="T41" fmla="*/ 2147483647 h 15"/>
                <a:gd name="T42" fmla="*/ 2147483647 w 26"/>
                <a:gd name="T43" fmla="*/ 2147483647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
                <a:gd name="T67" fmla="*/ 0 h 15"/>
                <a:gd name="T68" fmla="*/ 26 w 26"/>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 h="15">
                  <a:moveTo>
                    <a:pt x="14" y="12"/>
                  </a:moveTo>
                  <a:lnTo>
                    <a:pt x="9" y="13"/>
                  </a:lnTo>
                  <a:lnTo>
                    <a:pt x="3" y="15"/>
                  </a:lnTo>
                  <a:lnTo>
                    <a:pt x="2" y="15"/>
                  </a:lnTo>
                  <a:lnTo>
                    <a:pt x="1" y="15"/>
                  </a:lnTo>
                  <a:lnTo>
                    <a:pt x="0" y="12"/>
                  </a:lnTo>
                  <a:lnTo>
                    <a:pt x="0" y="10"/>
                  </a:lnTo>
                  <a:lnTo>
                    <a:pt x="1" y="6"/>
                  </a:lnTo>
                  <a:lnTo>
                    <a:pt x="3" y="4"/>
                  </a:lnTo>
                  <a:lnTo>
                    <a:pt x="6" y="3"/>
                  </a:lnTo>
                  <a:lnTo>
                    <a:pt x="9" y="2"/>
                  </a:lnTo>
                  <a:lnTo>
                    <a:pt x="16" y="0"/>
                  </a:lnTo>
                  <a:lnTo>
                    <a:pt x="23" y="2"/>
                  </a:lnTo>
                  <a:lnTo>
                    <a:pt x="25" y="3"/>
                  </a:lnTo>
                  <a:lnTo>
                    <a:pt x="26" y="5"/>
                  </a:lnTo>
                  <a:lnTo>
                    <a:pt x="26" y="8"/>
                  </a:lnTo>
                  <a:lnTo>
                    <a:pt x="26" y="10"/>
                  </a:lnTo>
                  <a:lnTo>
                    <a:pt x="25" y="12"/>
                  </a:lnTo>
                  <a:lnTo>
                    <a:pt x="24" y="12"/>
                  </a:lnTo>
                  <a:lnTo>
                    <a:pt x="20" y="12"/>
                  </a:lnTo>
                  <a:lnTo>
                    <a:pt x="17" y="12"/>
                  </a:lnTo>
                  <a:lnTo>
                    <a:pt x="1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4" name="Freeform 573"/>
            <p:cNvSpPr>
              <a:spLocks/>
            </p:cNvSpPr>
            <p:nvPr/>
          </p:nvSpPr>
          <p:spPr bwMode="auto">
            <a:xfrm>
              <a:off x="323854" y="3744913"/>
              <a:ext cx="22225" cy="25400"/>
            </a:xfrm>
            <a:custGeom>
              <a:avLst/>
              <a:gdLst>
                <a:gd name="T0" fmla="*/ 2147483647 w 15"/>
                <a:gd name="T1" fmla="*/ 2147483647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2147483647 h 16"/>
                <a:gd name="T12" fmla="*/ 2147483647 w 15"/>
                <a:gd name="T13" fmla="*/ 2147483647 h 16"/>
                <a:gd name="T14" fmla="*/ 2147483647 w 15"/>
                <a:gd name="T15" fmla="*/ 2147483647 h 16"/>
                <a:gd name="T16" fmla="*/ 0 w 15"/>
                <a:gd name="T17" fmla="*/ 2147483647 h 16"/>
                <a:gd name="T18" fmla="*/ 0 w 15"/>
                <a:gd name="T19" fmla="*/ 2147483647 h 16"/>
                <a:gd name="T20" fmla="*/ 2147483647 w 15"/>
                <a:gd name="T21" fmla="*/ 2147483647 h 16"/>
                <a:gd name="T22" fmla="*/ 2147483647 w 15"/>
                <a:gd name="T23" fmla="*/ 2147483647 h 16"/>
                <a:gd name="T24" fmla="*/ 2147483647 w 15"/>
                <a:gd name="T25" fmla="*/ 0 h 16"/>
                <a:gd name="T26" fmla="*/ 2147483647 w 15"/>
                <a:gd name="T27" fmla="*/ 0 h 16"/>
                <a:gd name="T28" fmla="*/ 2147483647 w 15"/>
                <a:gd name="T29" fmla="*/ 2147483647 h 16"/>
                <a:gd name="T30" fmla="*/ 2147483647 w 15"/>
                <a:gd name="T31" fmla="*/ 2147483647 h 16"/>
                <a:gd name="T32" fmla="*/ 2147483647 w 15"/>
                <a:gd name="T33" fmla="*/ 2147483647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16"/>
                <a:gd name="T53" fmla="*/ 15 w 15"/>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16">
                  <a:moveTo>
                    <a:pt x="15" y="9"/>
                  </a:moveTo>
                  <a:lnTo>
                    <a:pt x="15" y="12"/>
                  </a:lnTo>
                  <a:lnTo>
                    <a:pt x="15" y="13"/>
                  </a:lnTo>
                  <a:lnTo>
                    <a:pt x="15" y="14"/>
                  </a:lnTo>
                  <a:lnTo>
                    <a:pt x="11" y="16"/>
                  </a:lnTo>
                  <a:lnTo>
                    <a:pt x="8" y="14"/>
                  </a:lnTo>
                  <a:lnTo>
                    <a:pt x="4" y="12"/>
                  </a:lnTo>
                  <a:lnTo>
                    <a:pt x="1" y="10"/>
                  </a:lnTo>
                  <a:lnTo>
                    <a:pt x="0" y="6"/>
                  </a:lnTo>
                  <a:lnTo>
                    <a:pt x="0" y="5"/>
                  </a:lnTo>
                  <a:lnTo>
                    <a:pt x="1" y="4"/>
                  </a:lnTo>
                  <a:lnTo>
                    <a:pt x="5" y="1"/>
                  </a:lnTo>
                  <a:lnTo>
                    <a:pt x="8" y="0"/>
                  </a:lnTo>
                  <a:lnTo>
                    <a:pt x="10" y="0"/>
                  </a:lnTo>
                  <a:lnTo>
                    <a:pt x="13" y="1"/>
                  </a:lnTo>
                  <a:lnTo>
                    <a:pt x="14" y="4"/>
                  </a:lnTo>
                  <a:lnTo>
                    <a:pt x="15"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5" name="Freeform 574"/>
            <p:cNvSpPr>
              <a:spLocks/>
            </p:cNvSpPr>
            <p:nvPr/>
          </p:nvSpPr>
          <p:spPr bwMode="auto">
            <a:xfrm>
              <a:off x="271464" y="3724280"/>
              <a:ext cx="39687" cy="22225"/>
            </a:xfrm>
            <a:custGeom>
              <a:avLst/>
              <a:gdLst>
                <a:gd name="T0" fmla="*/ 2147483647 w 27"/>
                <a:gd name="T1" fmla="*/ 2147483647 h 14"/>
                <a:gd name="T2" fmla="*/ 2147483647 w 27"/>
                <a:gd name="T3" fmla="*/ 2147483647 h 14"/>
                <a:gd name="T4" fmla="*/ 2147483647 w 27"/>
                <a:gd name="T5" fmla="*/ 2147483647 h 14"/>
                <a:gd name="T6" fmla="*/ 2147483647 w 27"/>
                <a:gd name="T7" fmla="*/ 2147483647 h 14"/>
                <a:gd name="T8" fmla="*/ 2147483647 w 27"/>
                <a:gd name="T9" fmla="*/ 2147483647 h 14"/>
                <a:gd name="T10" fmla="*/ 2147483647 w 27"/>
                <a:gd name="T11" fmla="*/ 2147483647 h 14"/>
                <a:gd name="T12" fmla="*/ 0 w 27"/>
                <a:gd name="T13" fmla="*/ 2147483647 h 14"/>
                <a:gd name="T14" fmla="*/ 0 w 27"/>
                <a:gd name="T15" fmla="*/ 2147483647 h 14"/>
                <a:gd name="T16" fmla="*/ 0 w 27"/>
                <a:gd name="T17" fmla="*/ 2147483647 h 14"/>
                <a:gd name="T18" fmla="*/ 2147483647 w 27"/>
                <a:gd name="T19" fmla="*/ 2147483647 h 14"/>
                <a:gd name="T20" fmla="*/ 2147483647 w 27"/>
                <a:gd name="T21" fmla="*/ 2147483647 h 14"/>
                <a:gd name="T22" fmla="*/ 2147483647 w 27"/>
                <a:gd name="T23" fmla="*/ 2147483647 h 14"/>
                <a:gd name="T24" fmla="*/ 2147483647 w 27"/>
                <a:gd name="T25" fmla="*/ 2147483647 h 14"/>
                <a:gd name="T26" fmla="*/ 2147483647 w 27"/>
                <a:gd name="T27" fmla="*/ 0 h 14"/>
                <a:gd name="T28" fmla="*/ 2147483647 w 27"/>
                <a:gd name="T29" fmla="*/ 2147483647 h 14"/>
                <a:gd name="T30" fmla="*/ 2147483647 w 27"/>
                <a:gd name="T31" fmla="*/ 2147483647 h 14"/>
                <a:gd name="T32" fmla="*/ 2147483647 w 27"/>
                <a:gd name="T33" fmla="*/ 2147483647 h 14"/>
                <a:gd name="T34" fmla="*/ 2147483647 w 27"/>
                <a:gd name="T35" fmla="*/ 2147483647 h 14"/>
                <a:gd name="T36" fmla="*/ 2147483647 w 27"/>
                <a:gd name="T37" fmla="*/ 2147483647 h 14"/>
                <a:gd name="T38" fmla="*/ 2147483647 w 27"/>
                <a:gd name="T39" fmla="*/ 2147483647 h 14"/>
                <a:gd name="T40" fmla="*/ 2147483647 w 27"/>
                <a:gd name="T41" fmla="*/ 2147483647 h 14"/>
                <a:gd name="T42" fmla="*/ 2147483647 w 27"/>
                <a:gd name="T43" fmla="*/ 2147483647 h 14"/>
                <a:gd name="T44" fmla="*/ 2147483647 w 27"/>
                <a:gd name="T45" fmla="*/ 2147483647 h 14"/>
                <a:gd name="T46" fmla="*/ 2147483647 w 27"/>
                <a:gd name="T47" fmla="*/ 2147483647 h 14"/>
                <a:gd name="T48" fmla="*/ 2147483647 w 27"/>
                <a:gd name="T49" fmla="*/ 2147483647 h 14"/>
                <a:gd name="T50" fmla="*/ 2147483647 w 27"/>
                <a:gd name="T51" fmla="*/ 2147483647 h 14"/>
                <a:gd name="T52" fmla="*/ 2147483647 w 27"/>
                <a:gd name="T53" fmla="*/ 2147483647 h 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
                <a:gd name="T82" fmla="*/ 0 h 14"/>
                <a:gd name="T83" fmla="*/ 27 w 27"/>
                <a:gd name="T84" fmla="*/ 14 h 1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 h="14">
                  <a:moveTo>
                    <a:pt x="14" y="12"/>
                  </a:moveTo>
                  <a:lnTo>
                    <a:pt x="14" y="12"/>
                  </a:lnTo>
                  <a:lnTo>
                    <a:pt x="9" y="13"/>
                  </a:lnTo>
                  <a:lnTo>
                    <a:pt x="4" y="14"/>
                  </a:lnTo>
                  <a:lnTo>
                    <a:pt x="3" y="14"/>
                  </a:lnTo>
                  <a:lnTo>
                    <a:pt x="2" y="14"/>
                  </a:lnTo>
                  <a:lnTo>
                    <a:pt x="0" y="12"/>
                  </a:lnTo>
                  <a:lnTo>
                    <a:pt x="0" y="10"/>
                  </a:lnTo>
                  <a:lnTo>
                    <a:pt x="2" y="6"/>
                  </a:lnTo>
                  <a:lnTo>
                    <a:pt x="4" y="4"/>
                  </a:lnTo>
                  <a:lnTo>
                    <a:pt x="7" y="3"/>
                  </a:lnTo>
                  <a:lnTo>
                    <a:pt x="9" y="1"/>
                  </a:lnTo>
                  <a:lnTo>
                    <a:pt x="17" y="0"/>
                  </a:lnTo>
                  <a:lnTo>
                    <a:pt x="23" y="1"/>
                  </a:lnTo>
                  <a:lnTo>
                    <a:pt x="26" y="3"/>
                  </a:lnTo>
                  <a:lnTo>
                    <a:pt x="27" y="5"/>
                  </a:lnTo>
                  <a:lnTo>
                    <a:pt x="27" y="7"/>
                  </a:lnTo>
                  <a:lnTo>
                    <a:pt x="27" y="10"/>
                  </a:lnTo>
                  <a:lnTo>
                    <a:pt x="26" y="12"/>
                  </a:lnTo>
                  <a:lnTo>
                    <a:pt x="25" y="12"/>
                  </a:lnTo>
                  <a:lnTo>
                    <a:pt x="21" y="12"/>
                  </a:lnTo>
                  <a:lnTo>
                    <a:pt x="18" y="12"/>
                  </a:lnTo>
                  <a:lnTo>
                    <a:pt x="1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6" name="Freeform 575"/>
            <p:cNvSpPr>
              <a:spLocks/>
            </p:cNvSpPr>
            <p:nvPr/>
          </p:nvSpPr>
          <p:spPr bwMode="auto">
            <a:xfrm>
              <a:off x="322267" y="3743326"/>
              <a:ext cx="22225" cy="23813"/>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2147483647 w 15"/>
                <a:gd name="T19" fmla="*/ 2147483647 h 15"/>
                <a:gd name="T20" fmla="*/ 2147483647 w 15"/>
                <a:gd name="T21" fmla="*/ 2147483647 h 15"/>
                <a:gd name="T22" fmla="*/ 0 w 15"/>
                <a:gd name="T23" fmla="*/ 2147483647 h 15"/>
                <a:gd name="T24" fmla="*/ 0 w 15"/>
                <a:gd name="T25" fmla="*/ 2147483647 h 15"/>
                <a:gd name="T26" fmla="*/ 2147483647 w 15"/>
                <a:gd name="T27" fmla="*/ 2147483647 h 15"/>
                <a:gd name="T28" fmla="*/ 2147483647 w 15"/>
                <a:gd name="T29" fmla="*/ 2147483647 h 15"/>
                <a:gd name="T30" fmla="*/ 2147483647 w 15"/>
                <a:gd name="T31" fmla="*/ 2147483647 h 15"/>
                <a:gd name="T32" fmla="*/ 2147483647 w 15"/>
                <a:gd name="T33" fmla="*/ 0 h 15"/>
                <a:gd name="T34" fmla="*/ 2147483647 w 15"/>
                <a:gd name="T35" fmla="*/ 0 h 15"/>
                <a:gd name="T36" fmla="*/ 2147483647 w 15"/>
                <a:gd name="T37" fmla="*/ 0 h 15"/>
                <a:gd name="T38" fmla="*/ 2147483647 w 15"/>
                <a:gd name="T39" fmla="*/ 2147483647 h 15"/>
                <a:gd name="T40" fmla="*/ 2147483647 w 15"/>
                <a:gd name="T41" fmla="*/ 2147483647 h 15"/>
                <a:gd name="T42" fmla="*/ 2147483647 w 15"/>
                <a:gd name="T43" fmla="*/ 2147483647 h 15"/>
                <a:gd name="T44" fmla="*/ 2147483647 w 15"/>
                <a:gd name="T45" fmla="*/ 2147483647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
                <a:gd name="T70" fmla="*/ 0 h 15"/>
                <a:gd name="T71" fmla="*/ 15 w 15"/>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 h="15">
                  <a:moveTo>
                    <a:pt x="15" y="8"/>
                  </a:moveTo>
                  <a:lnTo>
                    <a:pt x="15" y="8"/>
                  </a:lnTo>
                  <a:lnTo>
                    <a:pt x="15" y="12"/>
                  </a:lnTo>
                  <a:lnTo>
                    <a:pt x="15" y="13"/>
                  </a:lnTo>
                  <a:lnTo>
                    <a:pt x="15" y="14"/>
                  </a:lnTo>
                  <a:lnTo>
                    <a:pt x="11" y="15"/>
                  </a:lnTo>
                  <a:lnTo>
                    <a:pt x="7" y="14"/>
                  </a:lnTo>
                  <a:lnTo>
                    <a:pt x="3" y="12"/>
                  </a:lnTo>
                  <a:lnTo>
                    <a:pt x="1" y="10"/>
                  </a:lnTo>
                  <a:lnTo>
                    <a:pt x="0" y="6"/>
                  </a:lnTo>
                  <a:lnTo>
                    <a:pt x="0" y="5"/>
                  </a:lnTo>
                  <a:lnTo>
                    <a:pt x="1" y="4"/>
                  </a:lnTo>
                  <a:lnTo>
                    <a:pt x="5" y="1"/>
                  </a:lnTo>
                  <a:lnTo>
                    <a:pt x="7" y="0"/>
                  </a:lnTo>
                  <a:lnTo>
                    <a:pt x="10" y="0"/>
                  </a:lnTo>
                  <a:lnTo>
                    <a:pt x="12" y="1"/>
                  </a:lnTo>
                  <a:lnTo>
                    <a:pt x="14" y="4"/>
                  </a:lnTo>
                  <a:lnTo>
                    <a:pt x="15"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7" name="Freeform 576"/>
            <p:cNvSpPr>
              <a:spLocks/>
            </p:cNvSpPr>
            <p:nvPr/>
          </p:nvSpPr>
          <p:spPr bwMode="auto">
            <a:xfrm>
              <a:off x="358775" y="3759201"/>
              <a:ext cx="33338" cy="25400"/>
            </a:xfrm>
            <a:custGeom>
              <a:avLst/>
              <a:gdLst>
                <a:gd name="T0" fmla="*/ 2147483647 w 23"/>
                <a:gd name="T1" fmla="*/ 2147483647 h 16"/>
                <a:gd name="T2" fmla="*/ 2147483647 w 23"/>
                <a:gd name="T3" fmla="*/ 2147483647 h 16"/>
                <a:gd name="T4" fmla="*/ 2147483647 w 23"/>
                <a:gd name="T5" fmla="*/ 2147483647 h 16"/>
                <a:gd name="T6" fmla="*/ 2147483647 w 23"/>
                <a:gd name="T7" fmla="*/ 2147483647 h 16"/>
                <a:gd name="T8" fmla="*/ 2147483647 w 23"/>
                <a:gd name="T9" fmla="*/ 2147483647 h 16"/>
                <a:gd name="T10" fmla="*/ 2147483647 w 23"/>
                <a:gd name="T11" fmla="*/ 2147483647 h 16"/>
                <a:gd name="T12" fmla="*/ 2147483647 w 23"/>
                <a:gd name="T13" fmla="*/ 2147483647 h 16"/>
                <a:gd name="T14" fmla="*/ 2147483647 w 23"/>
                <a:gd name="T15" fmla="*/ 2147483647 h 16"/>
                <a:gd name="T16" fmla="*/ 2147483647 w 23"/>
                <a:gd name="T17" fmla="*/ 2147483647 h 16"/>
                <a:gd name="T18" fmla="*/ 2147483647 w 23"/>
                <a:gd name="T19" fmla="*/ 2147483647 h 16"/>
                <a:gd name="T20" fmla="*/ 0 w 23"/>
                <a:gd name="T21" fmla="*/ 2147483647 h 16"/>
                <a:gd name="T22" fmla="*/ 2147483647 w 23"/>
                <a:gd name="T23" fmla="*/ 2147483647 h 16"/>
                <a:gd name="T24" fmla="*/ 2147483647 w 23"/>
                <a:gd name="T25" fmla="*/ 0 h 16"/>
                <a:gd name="T26" fmla="*/ 2147483647 w 23"/>
                <a:gd name="T27" fmla="*/ 0 h 16"/>
                <a:gd name="T28" fmla="*/ 2147483647 w 23"/>
                <a:gd name="T29" fmla="*/ 0 h 16"/>
                <a:gd name="T30" fmla="*/ 2147483647 w 23"/>
                <a:gd name="T31" fmla="*/ 2147483647 h 16"/>
                <a:gd name="T32" fmla="*/ 2147483647 w 23"/>
                <a:gd name="T33" fmla="*/ 2147483647 h 16"/>
                <a:gd name="T34" fmla="*/ 2147483647 w 23"/>
                <a:gd name="T35" fmla="*/ 2147483647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6"/>
                <a:gd name="T56" fmla="*/ 23 w 23"/>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6">
                  <a:moveTo>
                    <a:pt x="15" y="5"/>
                  </a:moveTo>
                  <a:lnTo>
                    <a:pt x="19" y="8"/>
                  </a:lnTo>
                  <a:lnTo>
                    <a:pt x="23" y="11"/>
                  </a:lnTo>
                  <a:lnTo>
                    <a:pt x="23" y="14"/>
                  </a:lnTo>
                  <a:lnTo>
                    <a:pt x="22" y="15"/>
                  </a:lnTo>
                  <a:lnTo>
                    <a:pt x="15" y="16"/>
                  </a:lnTo>
                  <a:lnTo>
                    <a:pt x="12" y="16"/>
                  </a:lnTo>
                  <a:lnTo>
                    <a:pt x="8" y="15"/>
                  </a:lnTo>
                  <a:lnTo>
                    <a:pt x="5" y="11"/>
                  </a:lnTo>
                  <a:lnTo>
                    <a:pt x="1" y="8"/>
                  </a:lnTo>
                  <a:lnTo>
                    <a:pt x="0" y="3"/>
                  </a:lnTo>
                  <a:lnTo>
                    <a:pt x="1" y="1"/>
                  </a:lnTo>
                  <a:lnTo>
                    <a:pt x="3" y="0"/>
                  </a:lnTo>
                  <a:lnTo>
                    <a:pt x="4" y="0"/>
                  </a:lnTo>
                  <a:lnTo>
                    <a:pt x="5" y="0"/>
                  </a:lnTo>
                  <a:lnTo>
                    <a:pt x="9" y="1"/>
                  </a:lnTo>
                  <a:lnTo>
                    <a:pt x="12" y="3"/>
                  </a:lnTo>
                  <a:lnTo>
                    <a:pt x="1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8" name="Freeform 577"/>
            <p:cNvSpPr>
              <a:spLocks/>
            </p:cNvSpPr>
            <p:nvPr/>
          </p:nvSpPr>
          <p:spPr bwMode="auto">
            <a:xfrm>
              <a:off x="388938" y="3792542"/>
              <a:ext cx="31750" cy="39687"/>
            </a:xfrm>
            <a:custGeom>
              <a:avLst/>
              <a:gdLst>
                <a:gd name="T0" fmla="*/ 2147483647 w 22"/>
                <a:gd name="T1" fmla="*/ 2147483647 h 25"/>
                <a:gd name="T2" fmla="*/ 2147483647 w 22"/>
                <a:gd name="T3" fmla="*/ 2147483647 h 25"/>
                <a:gd name="T4" fmla="*/ 2147483647 w 22"/>
                <a:gd name="T5" fmla="*/ 0 h 25"/>
                <a:gd name="T6" fmla="*/ 2147483647 w 22"/>
                <a:gd name="T7" fmla="*/ 0 h 25"/>
                <a:gd name="T8" fmla="*/ 2147483647 w 22"/>
                <a:gd name="T9" fmla="*/ 2147483647 h 25"/>
                <a:gd name="T10" fmla="*/ 2147483647 w 22"/>
                <a:gd name="T11" fmla="*/ 2147483647 h 25"/>
                <a:gd name="T12" fmla="*/ 0 w 22"/>
                <a:gd name="T13" fmla="*/ 2147483647 h 25"/>
                <a:gd name="T14" fmla="*/ 0 w 22"/>
                <a:gd name="T15" fmla="*/ 2147483647 h 25"/>
                <a:gd name="T16" fmla="*/ 2147483647 w 22"/>
                <a:gd name="T17" fmla="*/ 2147483647 h 25"/>
                <a:gd name="T18" fmla="*/ 2147483647 w 22"/>
                <a:gd name="T19" fmla="*/ 2147483647 h 25"/>
                <a:gd name="T20" fmla="*/ 2147483647 w 22"/>
                <a:gd name="T21" fmla="*/ 2147483647 h 25"/>
                <a:gd name="T22" fmla="*/ 2147483647 w 22"/>
                <a:gd name="T23" fmla="*/ 2147483647 h 25"/>
                <a:gd name="T24" fmla="*/ 2147483647 w 22"/>
                <a:gd name="T25" fmla="*/ 2147483647 h 25"/>
                <a:gd name="T26" fmla="*/ 2147483647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2147483647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25"/>
                <a:gd name="T71" fmla="*/ 22 w 22"/>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25">
                  <a:moveTo>
                    <a:pt x="12" y="3"/>
                  </a:moveTo>
                  <a:lnTo>
                    <a:pt x="9" y="1"/>
                  </a:lnTo>
                  <a:lnTo>
                    <a:pt x="8" y="0"/>
                  </a:lnTo>
                  <a:lnTo>
                    <a:pt x="7" y="0"/>
                  </a:lnTo>
                  <a:lnTo>
                    <a:pt x="4" y="1"/>
                  </a:lnTo>
                  <a:lnTo>
                    <a:pt x="2" y="2"/>
                  </a:lnTo>
                  <a:lnTo>
                    <a:pt x="0" y="5"/>
                  </a:lnTo>
                  <a:lnTo>
                    <a:pt x="0" y="7"/>
                  </a:lnTo>
                  <a:lnTo>
                    <a:pt x="3" y="22"/>
                  </a:lnTo>
                  <a:lnTo>
                    <a:pt x="4" y="24"/>
                  </a:lnTo>
                  <a:lnTo>
                    <a:pt x="5" y="25"/>
                  </a:lnTo>
                  <a:lnTo>
                    <a:pt x="8" y="25"/>
                  </a:lnTo>
                  <a:lnTo>
                    <a:pt x="9" y="25"/>
                  </a:lnTo>
                  <a:lnTo>
                    <a:pt x="11" y="22"/>
                  </a:lnTo>
                  <a:lnTo>
                    <a:pt x="11" y="20"/>
                  </a:lnTo>
                  <a:lnTo>
                    <a:pt x="18" y="16"/>
                  </a:lnTo>
                  <a:lnTo>
                    <a:pt x="22" y="14"/>
                  </a:lnTo>
                  <a:lnTo>
                    <a:pt x="22" y="12"/>
                  </a:lnTo>
                  <a:lnTo>
                    <a:pt x="21" y="11"/>
                  </a:lnTo>
                  <a:lnTo>
                    <a:pt x="19" y="9"/>
                  </a:lnTo>
                  <a:lnTo>
                    <a:pt x="17" y="8"/>
                  </a:lnTo>
                  <a:lnTo>
                    <a:pt x="14" y="6"/>
                  </a:lnTo>
                  <a:lnTo>
                    <a:pt x="12"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79" name="Freeform 578"/>
            <p:cNvSpPr>
              <a:spLocks/>
            </p:cNvSpPr>
            <p:nvPr/>
          </p:nvSpPr>
          <p:spPr bwMode="auto">
            <a:xfrm>
              <a:off x="357192" y="3756025"/>
              <a:ext cx="33337" cy="26988"/>
            </a:xfrm>
            <a:custGeom>
              <a:avLst/>
              <a:gdLst>
                <a:gd name="T0" fmla="*/ 2147483647 w 23"/>
                <a:gd name="T1" fmla="*/ 2147483647 h 17"/>
                <a:gd name="T2" fmla="*/ 2147483647 w 23"/>
                <a:gd name="T3" fmla="*/ 2147483647 h 17"/>
                <a:gd name="T4" fmla="*/ 2147483647 w 23"/>
                <a:gd name="T5" fmla="*/ 2147483647 h 17"/>
                <a:gd name="T6" fmla="*/ 2147483647 w 23"/>
                <a:gd name="T7" fmla="*/ 2147483647 h 17"/>
                <a:gd name="T8" fmla="*/ 2147483647 w 23"/>
                <a:gd name="T9" fmla="*/ 2147483647 h 17"/>
                <a:gd name="T10" fmla="*/ 2147483647 w 23"/>
                <a:gd name="T11" fmla="*/ 2147483647 h 17"/>
                <a:gd name="T12" fmla="*/ 2147483647 w 23"/>
                <a:gd name="T13" fmla="*/ 2147483647 h 17"/>
                <a:gd name="T14" fmla="*/ 2147483647 w 23"/>
                <a:gd name="T15" fmla="*/ 2147483647 h 17"/>
                <a:gd name="T16" fmla="*/ 2147483647 w 23"/>
                <a:gd name="T17" fmla="*/ 2147483647 h 17"/>
                <a:gd name="T18" fmla="*/ 2147483647 w 23"/>
                <a:gd name="T19" fmla="*/ 2147483647 h 17"/>
                <a:gd name="T20" fmla="*/ 2147483647 w 23"/>
                <a:gd name="T21" fmla="*/ 2147483647 h 17"/>
                <a:gd name="T22" fmla="*/ 2147483647 w 23"/>
                <a:gd name="T23" fmla="*/ 2147483647 h 17"/>
                <a:gd name="T24" fmla="*/ 2147483647 w 23"/>
                <a:gd name="T25" fmla="*/ 2147483647 h 17"/>
                <a:gd name="T26" fmla="*/ 2147483647 w 23"/>
                <a:gd name="T27" fmla="*/ 2147483647 h 17"/>
                <a:gd name="T28" fmla="*/ 2147483647 w 23"/>
                <a:gd name="T29" fmla="*/ 2147483647 h 17"/>
                <a:gd name="T30" fmla="*/ 0 w 23"/>
                <a:gd name="T31" fmla="*/ 2147483647 h 17"/>
                <a:gd name="T32" fmla="*/ 2147483647 w 23"/>
                <a:gd name="T33" fmla="*/ 2147483647 h 17"/>
                <a:gd name="T34" fmla="*/ 2147483647 w 23"/>
                <a:gd name="T35" fmla="*/ 0 h 17"/>
                <a:gd name="T36" fmla="*/ 2147483647 w 23"/>
                <a:gd name="T37" fmla="*/ 0 h 17"/>
                <a:gd name="T38" fmla="*/ 2147483647 w 23"/>
                <a:gd name="T39" fmla="*/ 0 h 17"/>
                <a:gd name="T40" fmla="*/ 2147483647 w 23"/>
                <a:gd name="T41" fmla="*/ 0 h 17"/>
                <a:gd name="T42" fmla="*/ 2147483647 w 23"/>
                <a:gd name="T43" fmla="*/ 2147483647 h 17"/>
                <a:gd name="T44" fmla="*/ 2147483647 w 23"/>
                <a:gd name="T45" fmla="*/ 2147483647 h 17"/>
                <a:gd name="T46" fmla="*/ 2147483647 w 23"/>
                <a:gd name="T47" fmla="*/ 2147483647 h 17"/>
                <a:gd name="T48" fmla="*/ 2147483647 w 23"/>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17"/>
                <a:gd name="T77" fmla="*/ 23 w 23"/>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17">
                  <a:moveTo>
                    <a:pt x="15" y="6"/>
                  </a:moveTo>
                  <a:lnTo>
                    <a:pt x="15" y="6"/>
                  </a:lnTo>
                  <a:lnTo>
                    <a:pt x="19" y="9"/>
                  </a:lnTo>
                  <a:lnTo>
                    <a:pt x="23" y="12"/>
                  </a:lnTo>
                  <a:lnTo>
                    <a:pt x="23" y="15"/>
                  </a:lnTo>
                  <a:lnTo>
                    <a:pt x="21" y="16"/>
                  </a:lnTo>
                  <a:lnTo>
                    <a:pt x="15" y="17"/>
                  </a:lnTo>
                  <a:lnTo>
                    <a:pt x="11" y="17"/>
                  </a:lnTo>
                  <a:lnTo>
                    <a:pt x="7" y="16"/>
                  </a:lnTo>
                  <a:lnTo>
                    <a:pt x="5" y="12"/>
                  </a:lnTo>
                  <a:lnTo>
                    <a:pt x="1" y="9"/>
                  </a:lnTo>
                  <a:lnTo>
                    <a:pt x="0" y="4"/>
                  </a:lnTo>
                  <a:lnTo>
                    <a:pt x="1" y="2"/>
                  </a:lnTo>
                  <a:lnTo>
                    <a:pt x="2" y="0"/>
                  </a:lnTo>
                  <a:lnTo>
                    <a:pt x="4" y="0"/>
                  </a:lnTo>
                  <a:lnTo>
                    <a:pt x="5" y="0"/>
                  </a:lnTo>
                  <a:lnTo>
                    <a:pt x="9" y="2"/>
                  </a:lnTo>
                  <a:lnTo>
                    <a:pt x="11" y="4"/>
                  </a:lnTo>
                  <a:lnTo>
                    <a:pt x="1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0" name="Freeform 579"/>
            <p:cNvSpPr>
              <a:spLocks/>
            </p:cNvSpPr>
            <p:nvPr/>
          </p:nvSpPr>
          <p:spPr bwMode="auto">
            <a:xfrm>
              <a:off x="387350" y="3790950"/>
              <a:ext cx="31750" cy="39688"/>
            </a:xfrm>
            <a:custGeom>
              <a:avLst/>
              <a:gdLst>
                <a:gd name="T0" fmla="*/ 2147483647 w 22"/>
                <a:gd name="T1" fmla="*/ 2147483647 h 25"/>
                <a:gd name="T2" fmla="*/ 2147483647 w 22"/>
                <a:gd name="T3" fmla="*/ 2147483647 h 25"/>
                <a:gd name="T4" fmla="*/ 2147483647 w 22"/>
                <a:gd name="T5" fmla="*/ 2147483647 h 25"/>
                <a:gd name="T6" fmla="*/ 2147483647 w 22"/>
                <a:gd name="T7" fmla="*/ 0 h 25"/>
                <a:gd name="T8" fmla="*/ 2147483647 w 22"/>
                <a:gd name="T9" fmla="*/ 0 h 25"/>
                <a:gd name="T10" fmla="*/ 2147483647 w 22"/>
                <a:gd name="T11" fmla="*/ 0 h 25"/>
                <a:gd name="T12" fmla="*/ 2147483647 w 22"/>
                <a:gd name="T13" fmla="*/ 2147483647 h 25"/>
                <a:gd name="T14" fmla="*/ 2147483647 w 22"/>
                <a:gd name="T15" fmla="*/ 2147483647 h 25"/>
                <a:gd name="T16" fmla="*/ 0 w 22"/>
                <a:gd name="T17" fmla="*/ 2147483647 h 25"/>
                <a:gd name="T18" fmla="*/ 0 w 22"/>
                <a:gd name="T19" fmla="*/ 2147483647 h 25"/>
                <a:gd name="T20" fmla="*/ 0 w 22"/>
                <a:gd name="T21" fmla="*/ 2147483647 h 25"/>
                <a:gd name="T22" fmla="*/ 2147483647 w 22"/>
                <a:gd name="T23" fmla="*/ 2147483647 h 25"/>
                <a:gd name="T24" fmla="*/ 2147483647 w 22"/>
                <a:gd name="T25" fmla="*/ 2147483647 h 25"/>
                <a:gd name="T26" fmla="*/ 2147483647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2147483647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2147483647 w 22"/>
                <a:gd name="T47" fmla="*/ 2147483647 h 25"/>
                <a:gd name="T48" fmla="*/ 2147483647 w 22"/>
                <a:gd name="T49" fmla="*/ 2147483647 h 25"/>
                <a:gd name="T50" fmla="*/ 2147483647 w 22"/>
                <a:gd name="T51" fmla="*/ 2147483647 h 25"/>
                <a:gd name="T52" fmla="*/ 2147483647 w 22"/>
                <a:gd name="T53" fmla="*/ 2147483647 h 25"/>
                <a:gd name="T54" fmla="*/ 2147483647 w 22"/>
                <a:gd name="T55" fmla="*/ 2147483647 h 25"/>
                <a:gd name="T56" fmla="*/ 2147483647 w 22"/>
                <a:gd name="T57" fmla="*/ 2147483647 h 25"/>
                <a:gd name="T58" fmla="*/ 2147483647 w 22"/>
                <a:gd name="T59" fmla="*/ 2147483647 h 25"/>
                <a:gd name="T60" fmla="*/ 2147483647 w 22"/>
                <a:gd name="T61" fmla="*/ 2147483647 h 2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25"/>
                <a:gd name="T95" fmla="*/ 22 w 22"/>
                <a:gd name="T96" fmla="*/ 25 h 2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25">
                  <a:moveTo>
                    <a:pt x="12" y="3"/>
                  </a:moveTo>
                  <a:lnTo>
                    <a:pt x="12" y="3"/>
                  </a:lnTo>
                  <a:lnTo>
                    <a:pt x="9" y="1"/>
                  </a:lnTo>
                  <a:lnTo>
                    <a:pt x="8" y="0"/>
                  </a:lnTo>
                  <a:lnTo>
                    <a:pt x="6" y="0"/>
                  </a:lnTo>
                  <a:lnTo>
                    <a:pt x="4" y="1"/>
                  </a:lnTo>
                  <a:lnTo>
                    <a:pt x="1" y="2"/>
                  </a:lnTo>
                  <a:lnTo>
                    <a:pt x="0" y="4"/>
                  </a:lnTo>
                  <a:lnTo>
                    <a:pt x="0" y="7"/>
                  </a:lnTo>
                  <a:lnTo>
                    <a:pt x="3" y="22"/>
                  </a:lnTo>
                  <a:lnTo>
                    <a:pt x="4" y="23"/>
                  </a:lnTo>
                  <a:lnTo>
                    <a:pt x="5" y="25"/>
                  </a:lnTo>
                  <a:lnTo>
                    <a:pt x="8" y="25"/>
                  </a:lnTo>
                  <a:lnTo>
                    <a:pt x="9" y="25"/>
                  </a:lnTo>
                  <a:lnTo>
                    <a:pt x="10" y="22"/>
                  </a:lnTo>
                  <a:lnTo>
                    <a:pt x="10" y="20"/>
                  </a:lnTo>
                  <a:lnTo>
                    <a:pt x="18" y="16"/>
                  </a:lnTo>
                  <a:lnTo>
                    <a:pt x="22" y="14"/>
                  </a:lnTo>
                  <a:lnTo>
                    <a:pt x="22" y="12"/>
                  </a:lnTo>
                  <a:lnTo>
                    <a:pt x="20" y="10"/>
                  </a:lnTo>
                  <a:lnTo>
                    <a:pt x="19" y="9"/>
                  </a:lnTo>
                  <a:lnTo>
                    <a:pt x="17" y="8"/>
                  </a:lnTo>
                  <a:lnTo>
                    <a:pt x="14" y="6"/>
                  </a:lnTo>
                  <a:lnTo>
                    <a:pt x="12"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1" name="Freeform 580"/>
            <p:cNvSpPr>
              <a:spLocks/>
            </p:cNvSpPr>
            <p:nvPr/>
          </p:nvSpPr>
          <p:spPr bwMode="auto">
            <a:xfrm>
              <a:off x="276225" y="4270379"/>
              <a:ext cx="7938"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2147483647 w 6"/>
                <a:gd name="T13" fmla="*/ 0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5" y="2"/>
                  </a:moveTo>
                  <a:lnTo>
                    <a:pt x="6" y="4"/>
                  </a:lnTo>
                  <a:lnTo>
                    <a:pt x="6" y="6"/>
                  </a:lnTo>
                  <a:lnTo>
                    <a:pt x="1" y="4"/>
                  </a:lnTo>
                  <a:lnTo>
                    <a:pt x="0" y="2"/>
                  </a:lnTo>
                  <a:lnTo>
                    <a:pt x="0" y="1"/>
                  </a:lnTo>
                  <a:lnTo>
                    <a:pt x="1" y="0"/>
                  </a:lnTo>
                  <a:lnTo>
                    <a:pt x="2" y="0"/>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2" name="Freeform 581"/>
            <p:cNvSpPr>
              <a:spLocks/>
            </p:cNvSpPr>
            <p:nvPr/>
          </p:nvSpPr>
          <p:spPr bwMode="auto">
            <a:xfrm>
              <a:off x="301626" y="4303717"/>
              <a:ext cx="9525" cy="7937"/>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0 w 6"/>
                <a:gd name="T11" fmla="*/ 2147483647 h 5"/>
                <a:gd name="T12" fmla="*/ 2147483647 w 6"/>
                <a:gd name="T13" fmla="*/ 0 h 5"/>
                <a:gd name="T14" fmla="*/ 2147483647 w 6"/>
                <a:gd name="T15" fmla="*/ 0 h 5"/>
                <a:gd name="T16" fmla="*/ 2147483647 w 6"/>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6" y="2"/>
                  </a:moveTo>
                  <a:lnTo>
                    <a:pt x="6" y="4"/>
                  </a:lnTo>
                  <a:lnTo>
                    <a:pt x="5" y="5"/>
                  </a:lnTo>
                  <a:lnTo>
                    <a:pt x="2" y="5"/>
                  </a:lnTo>
                  <a:lnTo>
                    <a:pt x="1" y="4"/>
                  </a:lnTo>
                  <a:lnTo>
                    <a:pt x="0" y="2"/>
                  </a:lnTo>
                  <a:lnTo>
                    <a:pt x="1" y="0"/>
                  </a:lnTo>
                  <a:lnTo>
                    <a:pt x="5" y="0"/>
                  </a:lnTo>
                  <a:lnTo>
                    <a:pt x="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3" name="Freeform 582"/>
            <p:cNvSpPr>
              <a:spLocks/>
            </p:cNvSpPr>
            <p:nvPr/>
          </p:nvSpPr>
          <p:spPr bwMode="auto">
            <a:xfrm>
              <a:off x="274642" y="4268792"/>
              <a:ext cx="7937"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0 w 6"/>
                <a:gd name="T13" fmla="*/ 2147483647 h 6"/>
                <a:gd name="T14" fmla="*/ 0 w 6"/>
                <a:gd name="T15" fmla="*/ 2147483647 h 6"/>
                <a:gd name="T16" fmla="*/ 0 w 6"/>
                <a:gd name="T17" fmla="*/ 2147483647 h 6"/>
                <a:gd name="T18" fmla="*/ 2147483647 w 6"/>
                <a:gd name="T19" fmla="*/ 0 h 6"/>
                <a:gd name="T20" fmla="*/ 2147483647 w 6"/>
                <a:gd name="T21" fmla="*/ 0 h 6"/>
                <a:gd name="T22" fmla="*/ 2147483647 w 6"/>
                <a:gd name="T23" fmla="*/ 2147483647 h 6"/>
                <a:gd name="T24" fmla="*/ 2147483647 w 6"/>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6"/>
                <a:gd name="T41" fmla="*/ 6 w 6"/>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6">
                  <a:moveTo>
                    <a:pt x="5" y="2"/>
                  </a:moveTo>
                  <a:lnTo>
                    <a:pt x="5" y="2"/>
                  </a:lnTo>
                  <a:lnTo>
                    <a:pt x="6" y="3"/>
                  </a:lnTo>
                  <a:lnTo>
                    <a:pt x="6" y="6"/>
                  </a:lnTo>
                  <a:lnTo>
                    <a:pt x="1" y="3"/>
                  </a:lnTo>
                  <a:lnTo>
                    <a:pt x="0" y="2"/>
                  </a:lnTo>
                  <a:lnTo>
                    <a:pt x="0" y="1"/>
                  </a:lnTo>
                  <a:lnTo>
                    <a:pt x="1" y="0"/>
                  </a:lnTo>
                  <a:lnTo>
                    <a:pt x="2" y="0"/>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4" name="Freeform 583"/>
            <p:cNvSpPr>
              <a:spLocks/>
            </p:cNvSpPr>
            <p:nvPr/>
          </p:nvSpPr>
          <p:spPr bwMode="auto">
            <a:xfrm>
              <a:off x="298454" y="4302125"/>
              <a:ext cx="11113" cy="7938"/>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2147483647 w 7"/>
                <a:gd name="T17" fmla="*/ 0 h 5"/>
                <a:gd name="T18" fmla="*/ 2147483647 w 7"/>
                <a:gd name="T19" fmla="*/ 0 h 5"/>
                <a:gd name="T20" fmla="*/ 2147483647 w 7"/>
                <a:gd name="T21" fmla="*/ 0 h 5"/>
                <a:gd name="T22" fmla="*/ 2147483647 w 7"/>
                <a:gd name="T23" fmla="*/ 2147483647 h 5"/>
                <a:gd name="T24" fmla="*/ 2147483647 w 7"/>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
                <a:gd name="T41" fmla="*/ 7 w 7"/>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
                  <a:moveTo>
                    <a:pt x="7" y="1"/>
                  </a:moveTo>
                  <a:lnTo>
                    <a:pt x="7" y="1"/>
                  </a:lnTo>
                  <a:lnTo>
                    <a:pt x="7" y="4"/>
                  </a:lnTo>
                  <a:lnTo>
                    <a:pt x="6" y="5"/>
                  </a:lnTo>
                  <a:lnTo>
                    <a:pt x="3" y="5"/>
                  </a:lnTo>
                  <a:lnTo>
                    <a:pt x="2" y="4"/>
                  </a:lnTo>
                  <a:lnTo>
                    <a:pt x="0" y="1"/>
                  </a:lnTo>
                  <a:lnTo>
                    <a:pt x="2" y="0"/>
                  </a:lnTo>
                  <a:lnTo>
                    <a:pt x="6" y="0"/>
                  </a:lnTo>
                  <a:lnTo>
                    <a:pt x="7"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5" name="Freeform 584"/>
            <p:cNvSpPr>
              <a:spLocks/>
            </p:cNvSpPr>
            <p:nvPr/>
          </p:nvSpPr>
          <p:spPr bwMode="auto">
            <a:xfrm>
              <a:off x="350842" y="4352929"/>
              <a:ext cx="14287" cy="15875"/>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0 w 10"/>
                <a:gd name="T13" fmla="*/ 2147483647 h 10"/>
                <a:gd name="T14" fmla="*/ 0 w 10"/>
                <a:gd name="T15" fmla="*/ 2147483647 h 10"/>
                <a:gd name="T16" fmla="*/ 2147483647 w 10"/>
                <a:gd name="T17" fmla="*/ 2147483647 h 10"/>
                <a:gd name="T18" fmla="*/ 2147483647 w 10"/>
                <a:gd name="T19" fmla="*/ 0 h 10"/>
                <a:gd name="T20" fmla="*/ 2147483647 w 10"/>
                <a:gd name="T21" fmla="*/ 0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9" y="6"/>
                  </a:moveTo>
                  <a:lnTo>
                    <a:pt x="9" y="7"/>
                  </a:lnTo>
                  <a:lnTo>
                    <a:pt x="10" y="8"/>
                  </a:lnTo>
                  <a:lnTo>
                    <a:pt x="7" y="10"/>
                  </a:lnTo>
                  <a:lnTo>
                    <a:pt x="4" y="10"/>
                  </a:lnTo>
                  <a:lnTo>
                    <a:pt x="1" y="8"/>
                  </a:lnTo>
                  <a:lnTo>
                    <a:pt x="0" y="6"/>
                  </a:lnTo>
                  <a:lnTo>
                    <a:pt x="0" y="4"/>
                  </a:lnTo>
                  <a:lnTo>
                    <a:pt x="1" y="1"/>
                  </a:lnTo>
                  <a:lnTo>
                    <a:pt x="2" y="0"/>
                  </a:lnTo>
                  <a:lnTo>
                    <a:pt x="5" y="0"/>
                  </a:lnTo>
                  <a:lnTo>
                    <a:pt x="6" y="1"/>
                  </a:lnTo>
                  <a:lnTo>
                    <a:pt x="7" y="3"/>
                  </a:lnTo>
                  <a:lnTo>
                    <a:pt x="9"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6" name="Freeform 585"/>
            <p:cNvSpPr>
              <a:spLocks/>
            </p:cNvSpPr>
            <p:nvPr/>
          </p:nvSpPr>
          <p:spPr bwMode="auto">
            <a:xfrm>
              <a:off x="515942" y="4960941"/>
              <a:ext cx="7937" cy="11112"/>
            </a:xfrm>
            <a:custGeom>
              <a:avLst/>
              <a:gdLst>
                <a:gd name="T0" fmla="*/ 2147483647 w 5"/>
                <a:gd name="T1" fmla="*/ 0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2147483647 w 5"/>
                <a:gd name="T13" fmla="*/ 2147483647 h 7"/>
                <a:gd name="T14" fmla="*/ 0 w 5"/>
                <a:gd name="T15" fmla="*/ 2147483647 h 7"/>
                <a:gd name="T16" fmla="*/ 0 w 5"/>
                <a:gd name="T17" fmla="*/ 0 h 7"/>
                <a:gd name="T18" fmla="*/ 2147483647 w 5"/>
                <a:gd name="T19" fmla="*/ 0 h 7"/>
                <a:gd name="T20" fmla="*/ 2147483647 w 5"/>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4" y="0"/>
                  </a:moveTo>
                  <a:lnTo>
                    <a:pt x="5" y="1"/>
                  </a:lnTo>
                  <a:lnTo>
                    <a:pt x="5" y="4"/>
                  </a:lnTo>
                  <a:lnTo>
                    <a:pt x="5" y="6"/>
                  </a:lnTo>
                  <a:lnTo>
                    <a:pt x="4" y="7"/>
                  </a:lnTo>
                  <a:lnTo>
                    <a:pt x="2" y="7"/>
                  </a:lnTo>
                  <a:lnTo>
                    <a:pt x="1" y="5"/>
                  </a:lnTo>
                  <a:lnTo>
                    <a:pt x="0" y="4"/>
                  </a:lnTo>
                  <a:lnTo>
                    <a:pt x="0" y="0"/>
                  </a:lnTo>
                  <a:lnTo>
                    <a:pt x="2" y="0"/>
                  </a:lnTo>
                  <a:lnTo>
                    <a:pt x="4"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7" name="Freeform 586"/>
            <p:cNvSpPr>
              <a:spLocks/>
            </p:cNvSpPr>
            <p:nvPr/>
          </p:nvSpPr>
          <p:spPr bwMode="auto">
            <a:xfrm>
              <a:off x="347664" y="4351339"/>
              <a:ext cx="15875" cy="14288"/>
            </a:xfrm>
            <a:custGeom>
              <a:avLst/>
              <a:gdLst>
                <a:gd name="T0" fmla="*/ 2147483647 w 11"/>
                <a:gd name="T1" fmla="*/ 2147483647 h 9"/>
                <a:gd name="T2" fmla="*/ 2147483647 w 11"/>
                <a:gd name="T3" fmla="*/ 2147483647 h 9"/>
                <a:gd name="T4" fmla="*/ 2147483647 w 11"/>
                <a:gd name="T5" fmla="*/ 2147483647 h 9"/>
                <a:gd name="T6" fmla="*/ 2147483647 w 11"/>
                <a:gd name="T7" fmla="*/ 2147483647 h 9"/>
                <a:gd name="T8" fmla="*/ 2147483647 w 11"/>
                <a:gd name="T9" fmla="*/ 2147483647 h 9"/>
                <a:gd name="T10" fmla="*/ 2147483647 w 11"/>
                <a:gd name="T11" fmla="*/ 2147483647 h 9"/>
                <a:gd name="T12" fmla="*/ 2147483647 w 11"/>
                <a:gd name="T13" fmla="*/ 2147483647 h 9"/>
                <a:gd name="T14" fmla="*/ 2147483647 w 11"/>
                <a:gd name="T15" fmla="*/ 2147483647 h 9"/>
                <a:gd name="T16" fmla="*/ 0 w 11"/>
                <a:gd name="T17" fmla="*/ 2147483647 h 9"/>
                <a:gd name="T18" fmla="*/ 0 w 11"/>
                <a:gd name="T19" fmla="*/ 2147483647 h 9"/>
                <a:gd name="T20" fmla="*/ 0 w 11"/>
                <a:gd name="T21" fmla="*/ 2147483647 h 9"/>
                <a:gd name="T22" fmla="*/ 2147483647 w 11"/>
                <a:gd name="T23" fmla="*/ 2147483647 h 9"/>
                <a:gd name="T24" fmla="*/ 2147483647 w 11"/>
                <a:gd name="T25" fmla="*/ 0 h 9"/>
                <a:gd name="T26" fmla="*/ 2147483647 w 11"/>
                <a:gd name="T27" fmla="*/ 0 h 9"/>
                <a:gd name="T28" fmla="*/ 2147483647 w 11"/>
                <a:gd name="T29" fmla="*/ 0 h 9"/>
                <a:gd name="T30" fmla="*/ 2147483647 w 11"/>
                <a:gd name="T31" fmla="*/ 2147483647 h 9"/>
                <a:gd name="T32" fmla="*/ 2147483647 w 11"/>
                <a:gd name="T33" fmla="*/ 2147483647 h 9"/>
                <a:gd name="T34" fmla="*/ 2147483647 w 11"/>
                <a:gd name="T35" fmla="*/ 2147483647 h 9"/>
                <a:gd name="T36" fmla="*/ 2147483647 w 11"/>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9"/>
                <a:gd name="T59" fmla="*/ 11 w 11"/>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9">
                  <a:moveTo>
                    <a:pt x="9" y="6"/>
                  </a:moveTo>
                  <a:lnTo>
                    <a:pt x="9" y="6"/>
                  </a:lnTo>
                  <a:lnTo>
                    <a:pt x="9" y="7"/>
                  </a:lnTo>
                  <a:lnTo>
                    <a:pt x="11" y="8"/>
                  </a:lnTo>
                  <a:lnTo>
                    <a:pt x="8" y="9"/>
                  </a:lnTo>
                  <a:lnTo>
                    <a:pt x="4" y="9"/>
                  </a:lnTo>
                  <a:lnTo>
                    <a:pt x="2" y="8"/>
                  </a:lnTo>
                  <a:lnTo>
                    <a:pt x="0" y="6"/>
                  </a:lnTo>
                  <a:lnTo>
                    <a:pt x="0" y="4"/>
                  </a:lnTo>
                  <a:lnTo>
                    <a:pt x="2" y="1"/>
                  </a:lnTo>
                  <a:lnTo>
                    <a:pt x="3" y="0"/>
                  </a:lnTo>
                  <a:lnTo>
                    <a:pt x="6" y="0"/>
                  </a:lnTo>
                  <a:lnTo>
                    <a:pt x="7" y="1"/>
                  </a:lnTo>
                  <a:lnTo>
                    <a:pt x="8" y="2"/>
                  </a:lnTo>
                  <a:lnTo>
                    <a:pt x="9"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8" name="Freeform 587"/>
            <p:cNvSpPr>
              <a:spLocks/>
            </p:cNvSpPr>
            <p:nvPr/>
          </p:nvSpPr>
          <p:spPr bwMode="auto">
            <a:xfrm>
              <a:off x="512765" y="4959354"/>
              <a:ext cx="9525" cy="11113"/>
            </a:xfrm>
            <a:custGeom>
              <a:avLst/>
              <a:gdLst>
                <a:gd name="T0" fmla="*/ 2147483647 w 6"/>
                <a:gd name="T1" fmla="*/ 0 h 7"/>
                <a:gd name="T2" fmla="*/ 2147483647 w 6"/>
                <a:gd name="T3" fmla="*/ 0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0 w 6"/>
                <a:gd name="T21" fmla="*/ 2147483647 h 7"/>
                <a:gd name="T22" fmla="*/ 0 w 6"/>
                <a:gd name="T23" fmla="*/ 0 h 7"/>
                <a:gd name="T24" fmla="*/ 0 w 6"/>
                <a:gd name="T25" fmla="*/ 0 h 7"/>
                <a:gd name="T26" fmla="*/ 2147483647 w 6"/>
                <a:gd name="T27" fmla="*/ 0 h 7"/>
                <a:gd name="T28" fmla="*/ 2147483647 w 6"/>
                <a:gd name="T29" fmla="*/ 0 h 7"/>
                <a:gd name="T30" fmla="*/ 2147483647 w 6"/>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7"/>
                <a:gd name="T50" fmla="*/ 6 w 6"/>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7">
                  <a:moveTo>
                    <a:pt x="4" y="0"/>
                  </a:moveTo>
                  <a:lnTo>
                    <a:pt x="4" y="0"/>
                  </a:lnTo>
                  <a:lnTo>
                    <a:pt x="6" y="1"/>
                  </a:lnTo>
                  <a:lnTo>
                    <a:pt x="6" y="4"/>
                  </a:lnTo>
                  <a:lnTo>
                    <a:pt x="6" y="6"/>
                  </a:lnTo>
                  <a:lnTo>
                    <a:pt x="4" y="7"/>
                  </a:lnTo>
                  <a:lnTo>
                    <a:pt x="3" y="7"/>
                  </a:lnTo>
                  <a:lnTo>
                    <a:pt x="2" y="5"/>
                  </a:lnTo>
                  <a:lnTo>
                    <a:pt x="0" y="4"/>
                  </a:lnTo>
                  <a:lnTo>
                    <a:pt x="0" y="0"/>
                  </a:lnTo>
                  <a:lnTo>
                    <a:pt x="3" y="0"/>
                  </a:lnTo>
                  <a:lnTo>
                    <a:pt x="4"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89" name="Freeform 588"/>
            <p:cNvSpPr>
              <a:spLocks/>
            </p:cNvSpPr>
            <p:nvPr/>
          </p:nvSpPr>
          <p:spPr bwMode="auto">
            <a:xfrm>
              <a:off x="619125" y="4891092"/>
              <a:ext cx="19050" cy="14288"/>
            </a:xfrm>
            <a:custGeom>
              <a:avLst/>
              <a:gdLst>
                <a:gd name="T0" fmla="*/ 2147483647 w 14"/>
                <a:gd name="T1" fmla="*/ 2147483647 h 9"/>
                <a:gd name="T2" fmla="*/ 2147483647 w 14"/>
                <a:gd name="T3" fmla="*/ 2147483647 h 9"/>
                <a:gd name="T4" fmla="*/ 0 w 14"/>
                <a:gd name="T5" fmla="*/ 2147483647 h 9"/>
                <a:gd name="T6" fmla="*/ 2147483647 w 14"/>
                <a:gd name="T7" fmla="*/ 0 h 9"/>
                <a:gd name="T8" fmla="*/ 2147483647 w 14"/>
                <a:gd name="T9" fmla="*/ 2147483647 h 9"/>
                <a:gd name="T10" fmla="*/ 2147483647 w 14"/>
                <a:gd name="T11" fmla="*/ 2147483647 h 9"/>
                <a:gd name="T12" fmla="*/ 2147483647 w 14"/>
                <a:gd name="T13" fmla="*/ 2147483647 h 9"/>
                <a:gd name="T14" fmla="*/ 2147483647 w 14"/>
                <a:gd name="T15" fmla="*/ 2147483647 h 9"/>
                <a:gd name="T16" fmla="*/ 2147483647 w 14"/>
                <a:gd name="T17" fmla="*/ 2147483647 h 9"/>
                <a:gd name="T18" fmla="*/ 2147483647 w 14"/>
                <a:gd name="T19" fmla="*/ 2147483647 h 9"/>
                <a:gd name="T20" fmla="*/ 2147483647 w 14"/>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9"/>
                <a:gd name="T35" fmla="*/ 14 w 14"/>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9">
                  <a:moveTo>
                    <a:pt x="6" y="6"/>
                  </a:moveTo>
                  <a:lnTo>
                    <a:pt x="2" y="4"/>
                  </a:lnTo>
                  <a:lnTo>
                    <a:pt x="0" y="1"/>
                  </a:lnTo>
                  <a:lnTo>
                    <a:pt x="3" y="0"/>
                  </a:lnTo>
                  <a:lnTo>
                    <a:pt x="7" y="1"/>
                  </a:lnTo>
                  <a:lnTo>
                    <a:pt x="14" y="6"/>
                  </a:lnTo>
                  <a:lnTo>
                    <a:pt x="14" y="7"/>
                  </a:lnTo>
                  <a:lnTo>
                    <a:pt x="14" y="9"/>
                  </a:lnTo>
                  <a:lnTo>
                    <a:pt x="11" y="9"/>
                  </a:lnTo>
                  <a:lnTo>
                    <a:pt x="10" y="7"/>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0" name="Freeform 589"/>
            <p:cNvSpPr>
              <a:spLocks/>
            </p:cNvSpPr>
            <p:nvPr/>
          </p:nvSpPr>
          <p:spPr bwMode="auto">
            <a:xfrm>
              <a:off x="731838" y="4930779"/>
              <a:ext cx="19050" cy="17463"/>
            </a:xfrm>
            <a:custGeom>
              <a:avLst/>
              <a:gdLst>
                <a:gd name="T0" fmla="*/ 2147483647 w 13"/>
                <a:gd name="T1" fmla="*/ 2147483647 h 11"/>
                <a:gd name="T2" fmla="*/ 0 w 13"/>
                <a:gd name="T3" fmla="*/ 2147483647 h 11"/>
                <a:gd name="T4" fmla="*/ 0 w 13"/>
                <a:gd name="T5" fmla="*/ 2147483647 h 11"/>
                <a:gd name="T6" fmla="*/ 2147483647 w 13"/>
                <a:gd name="T7" fmla="*/ 0 h 11"/>
                <a:gd name="T8" fmla="*/ 2147483647 w 13"/>
                <a:gd name="T9" fmla="*/ 0 h 11"/>
                <a:gd name="T10" fmla="*/ 2147483647 w 13"/>
                <a:gd name="T11" fmla="*/ 0 h 11"/>
                <a:gd name="T12" fmla="*/ 2147483647 w 13"/>
                <a:gd name="T13" fmla="*/ 2147483647 h 11"/>
                <a:gd name="T14" fmla="*/ 2147483647 w 13"/>
                <a:gd name="T15" fmla="*/ 2147483647 h 11"/>
                <a:gd name="T16" fmla="*/ 2147483647 w 13"/>
                <a:gd name="T17" fmla="*/ 2147483647 h 11"/>
                <a:gd name="T18" fmla="*/ 2147483647 w 13"/>
                <a:gd name="T19" fmla="*/ 2147483647 h 11"/>
                <a:gd name="T20" fmla="*/ 2147483647 w 13"/>
                <a:gd name="T21" fmla="*/ 2147483647 h 11"/>
                <a:gd name="T22" fmla="*/ 2147483647 w 13"/>
                <a:gd name="T23" fmla="*/ 2147483647 h 11"/>
                <a:gd name="T24" fmla="*/ 2147483647 w 13"/>
                <a:gd name="T25" fmla="*/ 2147483647 h 11"/>
                <a:gd name="T26" fmla="*/ 2147483647 w 13"/>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5" y="7"/>
                  </a:moveTo>
                  <a:lnTo>
                    <a:pt x="0" y="4"/>
                  </a:lnTo>
                  <a:lnTo>
                    <a:pt x="0" y="1"/>
                  </a:lnTo>
                  <a:lnTo>
                    <a:pt x="1" y="0"/>
                  </a:lnTo>
                  <a:lnTo>
                    <a:pt x="3" y="0"/>
                  </a:lnTo>
                  <a:lnTo>
                    <a:pt x="5" y="0"/>
                  </a:lnTo>
                  <a:lnTo>
                    <a:pt x="8" y="1"/>
                  </a:lnTo>
                  <a:lnTo>
                    <a:pt x="10" y="5"/>
                  </a:lnTo>
                  <a:lnTo>
                    <a:pt x="11" y="8"/>
                  </a:lnTo>
                  <a:lnTo>
                    <a:pt x="13" y="10"/>
                  </a:lnTo>
                  <a:lnTo>
                    <a:pt x="11" y="11"/>
                  </a:lnTo>
                  <a:lnTo>
                    <a:pt x="10" y="11"/>
                  </a:lnTo>
                  <a:lnTo>
                    <a:pt x="8" y="8"/>
                  </a:lnTo>
                  <a:lnTo>
                    <a:pt x="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1" name="Freeform 590"/>
            <p:cNvSpPr>
              <a:spLocks/>
            </p:cNvSpPr>
            <p:nvPr/>
          </p:nvSpPr>
          <p:spPr bwMode="auto">
            <a:xfrm>
              <a:off x="615950" y="4889500"/>
              <a:ext cx="20638" cy="12700"/>
            </a:xfrm>
            <a:custGeom>
              <a:avLst/>
              <a:gdLst>
                <a:gd name="T0" fmla="*/ 2147483647 w 14"/>
                <a:gd name="T1" fmla="*/ 2147483647 h 8"/>
                <a:gd name="T2" fmla="*/ 2147483647 w 14"/>
                <a:gd name="T3" fmla="*/ 2147483647 h 8"/>
                <a:gd name="T4" fmla="*/ 2147483647 w 14"/>
                <a:gd name="T5" fmla="*/ 2147483647 h 8"/>
                <a:gd name="T6" fmla="*/ 0 w 14"/>
                <a:gd name="T7" fmla="*/ 2147483647 h 8"/>
                <a:gd name="T8" fmla="*/ 0 w 14"/>
                <a:gd name="T9" fmla="*/ 2147483647 h 8"/>
                <a:gd name="T10" fmla="*/ 2147483647 w 14"/>
                <a:gd name="T11" fmla="*/ 0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2147483647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2147483647 w 14"/>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8"/>
                <a:gd name="T50" fmla="*/ 14 w 14"/>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8">
                  <a:moveTo>
                    <a:pt x="7" y="6"/>
                  </a:moveTo>
                  <a:lnTo>
                    <a:pt x="7" y="6"/>
                  </a:lnTo>
                  <a:lnTo>
                    <a:pt x="3" y="4"/>
                  </a:lnTo>
                  <a:lnTo>
                    <a:pt x="0" y="1"/>
                  </a:lnTo>
                  <a:lnTo>
                    <a:pt x="4" y="0"/>
                  </a:lnTo>
                  <a:lnTo>
                    <a:pt x="8" y="1"/>
                  </a:lnTo>
                  <a:lnTo>
                    <a:pt x="14" y="6"/>
                  </a:lnTo>
                  <a:lnTo>
                    <a:pt x="14" y="7"/>
                  </a:lnTo>
                  <a:lnTo>
                    <a:pt x="14" y="8"/>
                  </a:lnTo>
                  <a:lnTo>
                    <a:pt x="12" y="8"/>
                  </a:lnTo>
                  <a:lnTo>
                    <a:pt x="10" y="7"/>
                  </a:lnTo>
                  <a:lnTo>
                    <a:pt x="7"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2" name="Freeform 591"/>
            <p:cNvSpPr>
              <a:spLocks/>
            </p:cNvSpPr>
            <p:nvPr/>
          </p:nvSpPr>
          <p:spPr bwMode="auto">
            <a:xfrm>
              <a:off x="730253" y="4929188"/>
              <a:ext cx="17463" cy="17462"/>
            </a:xfrm>
            <a:custGeom>
              <a:avLst/>
              <a:gdLst>
                <a:gd name="T0" fmla="*/ 2147483647 w 12"/>
                <a:gd name="T1" fmla="*/ 2147483647 h 11"/>
                <a:gd name="T2" fmla="*/ 2147483647 w 12"/>
                <a:gd name="T3" fmla="*/ 2147483647 h 11"/>
                <a:gd name="T4" fmla="*/ 0 w 12"/>
                <a:gd name="T5" fmla="*/ 2147483647 h 11"/>
                <a:gd name="T6" fmla="*/ 0 w 12"/>
                <a:gd name="T7" fmla="*/ 2147483647 h 11"/>
                <a:gd name="T8" fmla="*/ 2147483647 w 12"/>
                <a:gd name="T9" fmla="*/ 0 h 11"/>
                <a:gd name="T10" fmla="*/ 2147483647 w 12"/>
                <a:gd name="T11" fmla="*/ 0 h 11"/>
                <a:gd name="T12" fmla="*/ 2147483647 w 12"/>
                <a:gd name="T13" fmla="*/ 0 h 11"/>
                <a:gd name="T14" fmla="*/ 2147483647 w 12"/>
                <a:gd name="T15" fmla="*/ 0 h 11"/>
                <a:gd name="T16" fmla="*/ 2147483647 w 12"/>
                <a:gd name="T17" fmla="*/ 2147483647 h 11"/>
                <a:gd name="T18" fmla="*/ 2147483647 w 12"/>
                <a:gd name="T19" fmla="*/ 2147483647 h 11"/>
                <a:gd name="T20" fmla="*/ 2147483647 w 12"/>
                <a:gd name="T21" fmla="*/ 2147483647 h 11"/>
                <a:gd name="T22" fmla="*/ 2147483647 w 12"/>
                <a:gd name="T23" fmla="*/ 2147483647 h 11"/>
                <a:gd name="T24" fmla="*/ 2147483647 w 12"/>
                <a:gd name="T25" fmla="*/ 2147483647 h 11"/>
                <a:gd name="T26" fmla="*/ 2147483647 w 12"/>
                <a:gd name="T27" fmla="*/ 2147483647 h 11"/>
                <a:gd name="T28" fmla="*/ 2147483647 w 12"/>
                <a:gd name="T29" fmla="*/ 2147483647 h 11"/>
                <a:gd name="T30" fmla="*/ 2147483647 w 12"/>
                <a:gd name="T31" fmla="*/ 2147483647 h 11"/>
                <a:gd name="T32" fmla="*/ 2147483647 w 12"/>
                <a:gd name="T33" fmla="*/ 2147483647 h 11"/>
                <a:gd name="T34" fmla="*/ 2147483647 w 12"/>
                <a:gd name="T35" fmla="*/ 2147483647 h 11"/>
                <a:gd name="T36" fmla="*/ 2147483647 w 12"/>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1"/>
                <a:gd name="T59" fmla="*/ 12 w 1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1">
                  <a:moveTo>
                    <a:pt x="5" y="7"/>
                  </a:moveTo>
                  <a:lnTo>
                    <a:pt x="5" y="7"/>
                  </a:lnTo>
                  <a:lnTo>
                    <a:pt x="0" y="4"/>
                  </a:lnTo>
                  <a:lnTo>
                    <a:pt x="0" y="1"/>
                  </a:lnTo>
                  <a:lnTo>
                    <a:pt x="1" y="0"/>
                  </a:lnTo>
                  <a:lnTo>
                    <a:pt x="2" y="0"/>
                  </a:lnTo>
                  <a:lnTo>
                    <a:pt x="5" y="0"/>
                  </a:lnTo>
                  <a:lnTo>
                    <a:pt x="7" y="1"/>
                  </a:lnTo>
                  <a:lnTo>
                    <a:pt x="10" y="5"/>
                  </a:lnTo>
                  <a:lnTo>
                    <a:pt x="11" y="8"/>
                  </a:lnTo>
                  <a:lnTo>
                    <a:pt x="12" y="9"/>
                  </a:lnTo>
                  <a:lnTo>
                    <a:pt x="11" y="11"/>
                  </a:lnTo>
                  <a:lnTo>
                    <a:pt x="10" y="11"/>
                  </a:lnTo>
                  <a:lnTo>
                    <a:pt x="7" y="8"/>
                  </a:lnTo>
                  <a:lnTo>
                    <a:pt x="5"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3" name="Freeform 592"/>
            <p:cNvSpPr>
              <a:spLocks/>
            </p:cNvSpPr>
            <p:nvPr/>
          </p:nvSpPr>
          <p:spPr bwMode="auto">
            <a:xfrm>
              <a:off x="790576" y="4970467"/>
              <a:ext cx="9525" cy="9525"/>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2147483647 w 6"/>
                <a:gd name="T13" fmla="*/ 0 h 6"/>
                <a:gd name="T14" fmla="*/ 2147483647 w 6"/>
                <a:gd name="T15" fmla="*/ 0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4"/>
                  </a:moveTo>
                  <a:lnTo>
                    <a:pt x="5" y="6"/>
                  </a:lnTo>
                  <a:lnTo>
                    <a:pt x="3" y="6"/>
                  </a:lnTo>
                  <a:lnTo>
                    <a:pt x="2" y="6"/>
                  </a:lnTo>
                  <a:lnTo>
                    <a:pt x="0" y="5"/>
                  </a:lnTo>
                  <a:lnTo>
                    <a:pt x="0" y="2"/>
                  </a:lnTo>
                  <a:lnTo>
                    <a:pt x="1" y="0"/>
                  </a:lnTo>
                  <a:lnTo>
                    <a:pt x="5" y="0"/>
                  </a:lnTo>
                  <a:lnTo>
                    <a:pt x="6"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4" name="Freeform 593"/>
            <p:cNvSpPr>
              <a:spLocks/>
            </p:cNvSpPr>
            <p:nvPr/>
          </p:nvSpPr>
          <p:spPr bwMode="auto">
            <a:xfrm>
              <a:off x="674689" y="4938717"/>
              <a:ext cx="12700" cy="11112"/>
            </a:xfrm>
            <a:custGeom>
              <a:avLst/>
              <a:gdLst>
                <a:gd name="T0" fmla="*/ 2147483647 w 9"/>
                <a:gd name="T1" fmla="*/ 2147483647 h 7"/>
                <a:gd name="T2" fmla="*/ 0 w 9"/>
                <a:gd name="T3" fmla="*/ 2147483647 h 7"/>
                <a:gd name="T4" fmla="*/ 0 w 9"/>
                <a:gd name="T5" fmla="*/ 0 h 7"/>
                <a:gd name="T6" fmla="*/ 2147483647 w 9"/>
                <a:gd name="T7" fmla="*/ 0 h 7"/>
                <a:gd name="T8" fmla="*/ 2147483647 w 9"/>
                <a:gd name="T9" fmla="*/ 0 h 7"/>
                <a:gd name="T10" fmla="*/ 2147483647 w 9"/>
                <a:gd name="T11" fmla="*/ 2147483647 h 7"/>
                <a:gd name="T12" fmla="*/ 2147483647 w 9"/>
                <a:gd name="T13" fmla="*/ 2147483647 h 7"/>
                <a:gd name="T14" fmla="*/ 2147483647 w 9"/>
                <a:gd name="T15" fmla="*/ 2147483647 h 7"/>
                <a:gd name="T16" fmla="*/ 2147483647 w 9"/>
                <a:gd name="T17" fmla="*/ 2147483647 h 7"/>
                <a:gd name="T18" fmla="*/ 2147483647 w 9"/>
                <a:gd name="T19" fmla="*/ 2147483647 h 7"/>
                <a:gd name="T20" fmla="*/ 2147483647 w 9"/>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1" y="3"/>
                  </a:moveTo>
                  <a:lnTo>
                    <a:pt x="0" y="1"/>
                  </a:lnTo>
                  <a:lnTo>
                    <a:pt x="0" y="0"/>
                  </a:lnTo>
                  <a:lnTo>
                    <a:pt x="2" y="0"/>
                  </a:lnTo>
                  <a:lnTo>
                    <a:pt x="3" y="0"/>
                  </a:lnTo>
                  <a:lnTo>
                    <a:pt x="7" y="3"/>
                  </a:lnTo>
                  <a:lnTo>
                    <a:pt x="9" y="6"/>
                  </a:lnTo>
                  <a:lnTo>
                    <a:pt x="7" y="6"/>
                  </a:lnTo>
                  <a:lnTo>
                    <a:pt x="5" y="7"/>
                  </a:lnTo>
                  <a:lnTo>
                    <a:pt x="3" y="6"/>
                  </a:lnTo>
                  <a:lnTo>
                    <a:pt x="1"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5" name="Freeform 594"/>
            <p:cNvSpPr>
              <a:spLocks/>
            </p:cNvSpPr>
            <p:nvPr/>
          </p:nvSpPr>
          <p:spPr bwMode="auto">
            <a:xfrm>
              <a:off x="788991" y="4968879"/>
              <a:ext cx="9525" cy="9525"/>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0 w 7"/>
                <a:gd name="T11" fmla="*/ 2147483647 h 6"/>
                <a:gd name="T12" fmla="*/ 0 w 7"/>
                <a:gd name="T13" fmla="*/ 2147483647 h 6"/>
                <a:gd name="T14" fmla="*/ 0 w 7"/>
                <a:gd name="T15" fmla="*/ 2147483647 h 6"/>
                <a:gd name="T16" fmla="*/ 2147483647 w 7"/>
                <a:gd name="T17" fmla="*/ 0 h 6"/>
                <a:gd name="T18" fmla="*/ 2147483647 w 7"/>
                <a:gd name="T19" fmla="*/ 0 h 6"/>
                <a:gd name="T20" fmla="*/ 2147483647 w 7"/>
                <a:gd name="T21" fmla="*/ 0 h 6"/>
                <a:gd name="T22" fmla="*/ 2147483647 w 7"/>
                <a:gd name="T23" fmla="*/ 2147483647 h 6"/>
                <a:gd name="T24" fmla="*/ 2147483647 w 7"/>
                <a:gd name="T25" fmla="*/ 2147483647 h 6"/>
                <a:gd name="T26" fmla="*/ 2147483647 w 7"/>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6"/>
                <a:gd name="T44" fmla="*/ 7 w 7"/>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6">
                  <a:moveTo>
                    <a:pt x="7" y="3"/>
                  </a:moveTo>
                  <a:lnTo>
                    <a:pt x="7" y="3"/>
                  </a:lnTo>
                  <a:lnTo>
                    <a:pt x="5" y="6"/>
                  </a:lnTo>
                  <a:lnTo>
                    <a:pt x="4" y="6"/>
                  </a:lnTo>
                  <a:lnTo>
                    <a:pt x="3" y="6"/>
                  </a:lnTo>
                  <a:lnTo>
                    <a:pt x="0" y="5"/>
                  </a:lnTo>
                  <a:lnTo>
                    <a:pt x="0" y="2"/>
                  </a:lnTo>
                  <a:lnTo>
                    <a:pt x="2" y="0"/>
                  </a:lnTo>
                  <a:lnTo>
                    <a:pt x="5" y="0"/>
                  </a:lnTo>
                  <a:lnTo>
                    <a:pt x="7" y="1"/>
                  </a:lnTo>
                  <a:lnTo>
                    <a:pt x="7"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6" name="Freeform 595"/>
            <p:cNvSpPr>
              <a:spLocks/>
            </p:cNvSpPr>
            <p:nvPr/>
          </p:nvSpPr>
          <p:spPr bwMode="auto">
            <a:xfrm>
              <a:off x="671513" y="4937125"/>
              <a:ext cx="12700" cy="11113"/>
            </a:xfrm>
            <a:custGeom>
              <a:avLst/>
              <a:gdLst>
                <a:gd name="T0" fmla="*/ 2147483647 w 9"/>
                <a:gd name="T1" fmla="*/ 2147483647 h 7"/>
                <a:gd name="T2" fmla="*/ 2147483647 w 9"/>
                <a:gd name="T3" fmla="*/ 2147483647 h 7"/>
                <a:gd name="T4" fmla="*/ 0 w 9"/>
                <a:gd name="T5" fmla="*/ 2147483647 h 7"/>
                <a:gd name="T6" fmla="*/ 0 w 9"/>
                <a:gd name="T7" fmla="*/ 0 h 7"/>
                <a:gd name="T8" fmla="*/ 0 w 9"/>
                <a:gd name="T9" fmla="*/ 0 h 7"/>
                <a:gd name="T10" fmla="*/ 0 w 9"/>
                <a:gd name="T11" fmla="*/ 0 h 7"/>
                <a:gd name="T12" fmla="*/ 2147483647 w 9"/>
                <a:gd name="T13" fmla="*/ 0 h 7"/>
                <a:gd name="T14" fmla="*/ 2147483647 w 9"/>
                <a:gd name="T15" fmla="*/ 0 h 7"/>
                <a:gd name="T16" fmla="*/ 2147483647 w 9"/>
                <a:gd name="T17" fmla="*/ 2147483647 h 7"/>
                <a:gd name="T18" fmla="*/ 2147483647 w 9"/>
                <a:gd name="T19" fmla="*/ 2147483647 h 7"/>
                <a:gd name="T20" fmla="*/ 2147483647 w 9"/>
                <a:gd name="T21" fmla="*/ 2147483647 h 7"/>
                <a:gd name="T22" fmla="*/ 2147483647 w 9"/>
                <a:gd name="T23" fmla="*/ 2147483647 h 7"/>
                <a:gd name="T24" fmla="*/ 2147483647 w 9"/>
                <a:gd name="T25" fmla="*/ 2147483647 h 7"/>
                <a:gd name="T26" fmla="*/ 2147483647 w 9"/>
                <a:gd name="T27" fmla="*/ 2147483647 h 7"/>
                <a:gd name="T28" fmla="*/ 2147483647 w 9"/>
                <a:gd name="T29" fmla="*/ 2147483647 h 7"/>
                <a:gd name="T30" fmla="*/ 2147483647 w 9"/>
                <a:gd name="T31" fmla="*/ 2147483647 h 7"/>
                <a:gd name="T32" fmla="*/ 2147483647 w 9"/>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7"/>
                <a:gd name="T53" fmla="*/ 9 w 9"/>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7">
                  <a:moveTo>
                    <a:pt x="2" y="3"/>
                  </a:moveTo>
                  <a:lnTo>
                    <a:pt x="2" y="3"/>
                  </a:lnTo>
                  <a:lnTo>
                    <a:pt x="0" y="1"/>
                  </a:lnTo>
                  <a:lnTo>
                    <a:pt x="0" y="0"/>
                  </a:lnTo>
                  <a:lnTo>
                    <a:pt x="3" y="0"/>
                  </a:lnTo>
                  <a:lnTo>
                    <a:pt x="4" y="0"/>
                  </a:lnTo>
                  <a:lnTo>
                    <a:pt x="8" y="3"/>
                  </a:lnTo>
                  <a:lnTo>
                    <a:pt x="9" y="6"/>
                  </a:lnTo>
                  <a:lnTo>
                    <a:pt x="8" y="6"/>
                  </a:lnTo>
                  <a:lnTo>
                    <a:pt x="5" y="7"/>
                  </a:lnTo>
                  <a:lnTo>
                    <a:pt x="4" y="6"/>
                  </a:lnTo>
                  <a:lnTo>
                    <a:pt x="2"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7" name="Freeform 596"/>
            <p:cNvSpPr>
              <a:spLocks/>
            </p:cNvSpPr>
            <p:nvPr/>
          </p:nvSpPr>
          <p:spPr bwMode="auto">
            <a:xfrm>
              <a:off x="569915" y="4979988"/>
              <a:ext cx="9525" cy="11112"/>
            </a:xfrm>
            <a:custGeom>
              <a:avLst/>
              <a:gdLst>
                <a:gd name="T0" fmla="*/ 2147483647 w 6"/>
                <a:gd name="T1" fmla="*/ 2147483647 h 7"/>
                <a:gd name="T2" fmla="*/ 0 w 6"/>
                <a:gd name="T3" fmla="*/ 2147483647 h 7"/>
                <a:gd name="T4" fmla="*/ 0 w 6"/>
                <a:gd name="T5" fmla="*/ 2147483647 h 7"/>
                <a:gd name="T6" fmla="*/ 2147483647 w 6"/>
                <a:gd name="T7" fmla="*/ 0 h 7"/>
                <a:gd name="T8" fmla="*/ 2147483647 w 6"/>
                <a:gd name="T9" fmla="*/ 0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7"/>
                <a:gd name="T38" fmla="*/ 6 w 6"/>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7">
                  <a:moveTo>
                    <a:pt x="1" y="6"/>
                  </a:moveTo>
                  <a:lnTo>
                    <a:pt x="0" y="5"/>
                  </a:lnTo>
                  <a:lnTo>
                    <a:pt x="0" y="2"/>
                  </a:lnTo>
                  <a:lnTo>
                    <a:pt x="1" y="0"/>
                  </a:lnTo>
                  <a:lnTo>
                    <a:pt x="3" y="0"/>
                  </a:lnTo>
                  <a:lnTo>
                    <a:pt x="6" y="1"/>
                  </a:lnTo>
                  <a:lnTo>
                    <a:pt x="6" y="4"/>
                  </a:lnTo>
                  <a:lnTo>
                    <a:pt x="6" y="6"/>
                  </a:lnTo>
                  <a:lnTo>
                    <a:pt x="5" y="7"/>
                  </a:lnTo>
                  <a:lnTo>
                    <a:pt x="3" y="7"/>
                  </a:lnTo>
                  <a:lnTo>
                    <a:pt x="2" y="7"/>
                  </a:lnTo>
                  <a:lnTo>
                    <a:pt x="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8" name="Freeform 597"/>
            <p:cNvSpPr>
              <a:spLocks/>
            </p:cNvSpPr>
            <p:nvPr/>
          </p:nvSpPr>
          <p:spPr bwMode="auto">
            <a:xfrm>
              <a:off x="530228" y="4956175"/>
              <a:ext cx="3175" cy="6350"/>
            </a:xfrm>
            <a:custGeom>
              <a:avLst/>
              <a:gdLst>
                <a:gd name="T0" fmla="*/ 2147483647 w 2"/>
                <a:gd name="T1" fmla="*/ 2147483647 h 4"/>
                <a:gd name="T2" fmla="*/ 2147483647 w 2"/>
                <a:gd name="T3" fmla="*/ 0 h 4"/>
                <a:gd name="T4" fmla="*/ 2147483647 w 2"/>
                <a:gd name="T5" fmla="*/ 0 h 4"/>
                <a:gd name="T6" fmla="*/ 0 w 2"/>
                <a:gd name="T7" fmla="*/ 0 h 4"/>
                <a:gd name="T8" fmla="*/ 0 w 2"/>
                <a:gd name="T9" fmla="*/ 2147483647 h 4"/>
                <a:gd name="T10" fmla="*/ 0 w 2"/>
                <a:gd name="T11" fmla="*/ 2147483647 h 4"/>
                <a:gd name="T12" fmla="*/ 2147483647 w 2"/>
                <a:gd name="T13" fmla="*/ 2147483647 h 4"/>
                <a:gd name="T14" fmla="*/ 2147483647 w 2"/>
                <a:gd name="T15" fmla="*/ 2147483647 h 4"/>
                <a:gd name="T16" fmla="*/ 2147483647 w 2"/>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2" y="3"/>
                  </a:moveTo>
                  <a:lnTo>
                    <a:pt x="2" y="0"/>
                  </a:lnTo>
                  <a:lnTo>
                    <a:pt x="1" y="0"/>
                  </a:lnTo>
                  <a:lnTo>
                    <a:pt x="0" y="0"/>
                  </a:lnTo>
                  <a:lnTo>
                    <a:pt x="0" y="2"/>
                  </a:lnTo>
                  <a:lnTo>
                    <a:pt x="0" y="3"/>
                  </a:lnTo>
                  <a:lnTo>
                    <a:pt x="1" y="4"/>
                  </a:lnTo>
                  <a:lnTo>
                    <a:pt x="2" y="4"/>
                  </a:lnTo>
                  <a:lnTo>
                    <a:pt x="2"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599" name="Freeform 598"/>
            <p:cNvSpPr>
              <a:spLocks/>
            </p:cNvSpPr>
            <p:nvPr/>
          </p:nvSpPr>
          <p:spPr bwMode="auto">
            <a:xfrm>
              <a:off x="566738" y="4978400"/>
              <a:ext cx="11112" cy="11113"/>
            </a:xfrm>
            <a:custGeom>
              <a:avLst/>
              <a:gdLst>
                <a:gd name="T0" fmla="*/ 2147483647 w 7"/>
                <a:gd name="T1" fmla="*/ 2147483647 h 7"/>
                <a:gd name="T2" fmla="*/ 2147483647 w 7"/>
                <a:gd name="T3" fmla="*/ 2147483647 h 7"/>
                <a:gd name="T4" fmla="*/ 0 w 7"/>
                <a:gd name="T5" fmla="*/ 2147483647 h 7"/>
                <a:gd name="T6" fmla="*/ 0 w 7"/>
                <a:gd name="T7" fmla="*/ 2147483647 h 7"/>
                <a:gd name="T8" fmla="*/ 0 w 7"/>
                <a:gd name="T9" fmla="*/ 2147483647 h 7"/>
                <a:gd name="T10" fmla="*/ 2147483647 w 7"/>
                <a:gd name="T11" fmla="*/ 0 h 7"/>
                <a:gd name="T12" fmla="*/ 2147483647 w 7"/>
                <a:gd name="T13" fmla="*/ 0 h 7"/>
                <a:gd name="T14" fmla="*/ 2147483647 w 7"/>
                <a:gd name="T15" fmla="*/ 0 h 7"/>
                <a:gd name="T16" fmla="*/ 2147483647 w 7"/>
                <a:gd name="T17" fmla="*/ 2147483647 h 7"/>
                <a:gd name="T18" fmla="*/ 2147483647 w 7"/>
                <a:gd name="T19" fmla="*/ 2147483647 h 7"/>
                <a:gd name="T20" fmla="*/ 2147483647 w 7"/>
                <a:gd name="T21" fmla="*/ 2147483647 h 7"/>
                <a:gd name="T22" fmla="*/ 2147483647 w 7"/>
                <a:gd name="T23" fmla="*/ 2147483647 h 7"/>
                <a:gd name="T24" fmla="*/ 2147483647 w 7"/>
                <a:gd name="T25" fmla="*/ 2147483647 h 7"/>
                <a:gd name="T26" fmla="*/ 2147483647 w 7"/>
                <a:gd name="T27" fmla="*/ 2147483647 h 7"/>
                <a:gd name="T28" fmla="*/ 2147483647 w 7"/>
                <a:gd name="T29" fmla="*/ 2147483647 h 7"/>
                <a:gd name="T30" fmla="*/ 2147483647 w 7"/>
                <a:gd name="T31" fmla="*/ 2147483647 h 7"/>
                <a:gd name="T32" fmla="*/ 2147483647 w 7"/>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7"/>
                <a:gd name="T53" fmla="*/ 7 w 7"/>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7">
                  <a:moveTo>
                    <a:pt x="2" y="6"/>
                  </a:moveTo>
                  <a:lnTo>
                    <a:pt x="2" y="6"/>
                  </a:lnTo>
                  <a:lnTo>
                    <a:pt x="0" y="5"/>
                  </a:lnTo>
                  <a:lnTo>
                    <a:pt x="0" y="2"/>
                  </a:lnTo>
                  <a:lnTo>
                    <a:pt x="2" y="0"/>
                  </a:lnTo>
                  <a:lnTo>
                    <a:pt x="4" y="0"/>
                  </a:lnTo>
                  <a:lnTo>
                    <a:pt x="7" y="1"/>
                  </a:lnTo>
                  <a:lnTo>
                    <a:pt x="7" y="3"/>
                  </a:lnTo>
                  <a:lnTo>
                    <a:pt x="7" y="6"/>
                  </a:lnTo>
                  <a:lnTo>
                    <a:pt x="5" y="7"/>
                  </a:lnTo>
                  <a:lnTo>
                    <a:pt x="4" y="7"/>
                  </a:lnTo>
                  <a:lnTo>
                    <a:pt x="3" y="7"/>
                  </a:lnTo>
                  <a:lnTo>
                    <a:pt x="2"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0" name="Freeform 599"/>
            <p:cNvSpPr>
              <a:spLocks/>
            </p:cNvSpPr>
            <p:nvPr/>
          </p:nvSpPr>
          <p:spPr bwMode="auto">
            <a:xfrm>
              <a:off x="528642" y="4953000"/>
              <a:ext cx="3175" cy="7938"/>
            </a:xfrm>
            <a:custGeom>
              <a:avLst/>
              <a:gdLst>
                <a:gd name="T0" fmla="*/ 2147483647 w 2"/>
                <a:gd name="T1" fmla="*/ 2147483647 h 5"/>
                <a:gd name="T2" fmla="*/ 2147483647 w 2"/>
                <a:gd name="T3" fmla="*/ 2147483647 h 5"/>
                <a:gd name="T4" fmla="*/ 2147483647 w 2"/>
                <a:gd name="T5" fmla="*/ 0 h 5"/>
                <a:gd name="T6" fmla="*/ 2147483647 w 2"/>
                <a:gd name="T7" fmla="*/ 0 h 5"/>
                <a:gd name="T8" fmla="*/ 0 w 2"/>
                <a:gd name="T9" fmla="*/ 0 h 5"/>
                <a:gd name="T10" fmla="*/ 0 w 2"/>
                <a:gd name="T11" fmla="*/ 0 h 5"/>
                <a:gd name="T12" fmla="*/ 0 w 2"/>
                <a:gd name="T13" fmla="*/ 0 h 5"/>
                <a:gd name="T14" fmla="*/ 0 w 2"/>
                <a:gd name="T15" fmla="*/ 2147483647 h 5"/>
                <a:gd name="T16" fmla="*/ 0 w 2"/>
                <a:gd name="T17" fmla="*/ 2147483647 h 5"/>
                <a:gd name="T18" fmla="*/ 2147483647 w 2"/>
                <a:gd name="T19" fmla="*/ 2147483647 h 5"/>
                <a:gd name="T20" fmla="*/ 2147483647 w 2"/>
                <a:gd name="T21" fmla="*/ 2147483647 h 5"/>
                <a:gd name="T22" fmla="*/ 2147483647 w 2"/>
                <a:gd name="T23" fmla="*/ 2147483647 h 5"/>
                <a:gd name="T24" fmla="*/ 2147483647 w 2"/>
                <a:gd name="T25" fmla="*/ 2147483647 h 5"/>
                <a:gd name="T26" fmla="*/ 2147483647 w 2"/>
                <a:gd name="T27" fmla="*/ 2147483647 h 5"/>
                <a:gd name="T28" fmla="*/ 2147483647 w 2"/>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
                <a:gd name="T46" fmla="*/ 0 h 5"/>
                <a:gd name="T47" fmla="*/ 2 w 2"/>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 h="5">
                  <a:moveTo>
                    <a:pt x="2" y="4"/>
                  </a:moveTo>
                  <a:lnTo>
                    <a:pt x="2" y="4"/>
                  </a:lnTo>
                  <a:lnTo>
                    <a:pt x="2" y="0"/>
                  </a:lnTo>
                  <a:lnTo>
                    <a:pt x="1" y="0"/>
                  </a:lnTo>
                  <a:lnTo>
                    <a:pt x="0" y="0"/>
                  </a:lnTo>
                  <a:lnTo>
                    <a:pt x="0" y="3"/>
                  </a:lnTo>
                  <a:lnTo>
                    <a:pt x="0" y="4"/>
                  </a:lnTo>
                  <a:lnTo>
                    <a:pt x="1" y="5"/>
                  </a:lnTo>
                  <a:lnTo>
                    <a:pt x="2" y="5"/>
                  </a:lnTo>
                  <a:lnTo>
                    <a:pt x="2"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1" name="Freeform 600"/>
            <p:cNvSpPr>
              <a:spLocks/>
            </p:cNvSpPr>
            <p:nvPr/>
          </p:nvSpPr>
          <p:spPr bwMode="auto">
            <a:xfrm>
              <a:off x="531815" y="4943479"/>
              <a:ext cx="6350" cy="9525"/>
            </a:xfrm>
            <a:custGeom>
              <a:avLst/>
              <a:gdLst>
                <a:gd name="T0" fmla="*/ 2147483647 w 4"/>
                <a:gd name="T1" fmla="*/ 2147483647 h 6"/>
                <a:gd name="T2" fmla="*/ 2147483647 w 4"/>
                <a:gd name="T3" fmla="*/ 0 h 6"/>
                <a:gd name="T4" fmla="*/ 0 w 4"/>
                <a:gd name="T5" fmla="*/ 2147483647 h 6"/>
                <a:gd name="T6" fmla="*/ 0 w 4"/>
                <a:gd name="T7" fmla="*/ 2147483647 h 6"/>
                <a:gd name="T8" fmla="*/ 0 w 4"/>
                <a:gd name="T9" fmla="*/ 2147483647 h 6"/>
                <a:gd name="T10" fmla="*/ 2147483647 w 4"/>
                <a:gd name="T11" fmla="*/ 2147483647 h 6"/>
                <a:gd name="T12" fmla="*/ 2147483647 w 4"/>
                <a:gd name="T13" fmla="*/ 2147483647 h 6"/>
                <a:gd name="T14" fmla="*/ 2147483647 w 4"/>
                <a:gd name="T15" fmla="*/ 2147483647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2"/>
                  </a:moveTo>
                  <a:lnTo>
                    <a:pt x="3" y="0"/>
                  </a:lnTo>
                  <a:lnTo>
                    <a:pt x="0" y="2"/>
                  </a:lnTo>
                  <a:lnTo>
                    <a:pt x="0" y="3"/>
                  </a:lnTo>
                  <a:lnTo>
                    <a:pt x="0" y="4"/>
                  </a:lnTo>
                  <a:lnTo>
                    <a:pt x="3" y="6"/>
                  </a:lnTo>
                  <a:lnTo>
                    <a:pt x="4" y="5"/>
                  </a:lnTo>
                  <a:lnTo>
                    <a:pt x="4" y="4"/>
                  </a:lnTo>
                  <a:lnTo>
                    <a:pt x="4"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2" name="Freeform 601"/>
            <p:cNvSpPr>
              <a:spLocks/>
            </p:cNvSpPr>
            <p:nvPr/>
          </p:nvSpPr>
          <p:spPr bwMode="auto">
            <a:xfrm>
              <a:off x="889001" y="5080004"/>
              <a:ext cx="14288" cy="15875"/>
            </a:xfrm>
            <a:custGeom>
              <a:avLst/>
              <a:gdLst>
                <a:gd name="T0" fmla="*/ 2147483647 w 9"/>
                <a:gd name="T1" fmla="*/ 2147483647 h 10"/>
                <a:gd name="T2" fmla="*/ 2147483647 w 9"/>
                <a:gd name="T3" fmla="*/ 2147483647 h 10"/>
                <a:gd name="T4" fmla="*/ 2147483647 w 9"/>
                <a:gd name="T5" fmla="*/ 2147483647 h 10"/>
                <a:gd name="T6" fmla="*/ 2147483647 w 9"/>
                <a:gd name="T7" fmla="*/ 0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0"/>
                <a:gd name="T44" fmla="*/ 9 w 9"/>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0">
                  <a:moveTo>
                    <a:pt x="9" y="8"/>
                  </a:moveTo>
                  <a:lnTo>
                    <a:pt x="6" y="3"/>
                  </a:lnTo>
                  <a:lnTo>
                    <a:pt x="5" y="1"/>
                  </a:lnTo>
                  <a:lnTo>
                    <a:pt x="3" y="0"/>
                  </a:lnTo>
                  <a:lnTo>
                    <a:pt x="1" y="1"/>
                  </a:lnTo>
                  <a:lnTo>
                    <a:pt x="0" y="1"/>
                  </a:lnTo>
                  <a:lnTo>
                    <a:pt x="0" y="5"/>
                  </a:lnTo>
                  <a:lnTo>
                    <a:pt x="1" y="7"/>
                  </a:lnTo>
                  <a:lnTo>
                    <a:pt x="3" y="9"/>
                  </a:lnTo>
                  <a:lnTo>
                    <a:pt x="5" y="10"/>
                  </a:lnTo>
                  <a:lnTo>
                    <a:pt x="6" y="10"/>
                  </a:lnTo>
                  <a:lnTo>
                    <a:pt x="8" y="10"/>
                  </a:lnTo>
                  <a:lnTo>
                    <a:pt x="9" y="9"/>
                  </a:lnTo>
                  <a:lnTo>
                    <a:pt x="9"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3" name="Freeform 602"/>
            <p:cNvSpPr>
              <a:spLocks/>
            </p:cNvSpPr>
            <p:nvPr/>
          </p:nvSpPr>
          <p:spPr bwMode="auto">
            <a:xfrm>
              <a:off x="530227" y="4941893"/>
              <a:ext cx="6350" cy="9525"/>
            </a:xfrm>
            <a:custGeom>
              <a:avLst/>
              <a:gdLst>
                <a:gd name="T0" fmla="*/ 2147483647 w 4"/>
                <a:gd name="T1" fmla="*/ 2147483647 h 6"/>
                <a:gd name="T2" fmla="*/ 2147483647 w 4"/>
                <a:gd name="T3" fmla="*/ 2147483647 h 6"/>
                <a:gd name="T4" fmla="*/ 2147483647 w 4"/>
                <a:gd name="T5" fmla="*/ 0 h 6"/>
                <a:gd name="T6" fmla="*/ 0 w 4"/>
                <a:gd name="T7" fmla="*/ 2147483647 h 6"/>
                <a:gd name="T8" fmla="*/ 0 w 4"/>
                <a:gd name="T9" fmla="*/ 2147483647 h 6"/>
                <a:gd name="T10" fmla="*/ 0 w 4"/>
                <a:gd name="T11" fmla="*/ 2147483647 h 6"/>
                <a:gd name="T12" fmla="*/ 0 w 4"/>
                <a:gd name="T13" fmla="*/ 2147483647 h 6"/>
                <a:gd name="T14" fmla="*/ 2147483647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2147483647 w 4"/>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6"/>
                <a:gd name="T44" fmla="*/ 4 w 4"/>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6">
                  <a:moveTo>
                    <a:pt x="4" y="1"/>
                  </a:moveTo>
                  <a:lnTo>
                    <a:pt x="4" y="1"/>
                  </a:lnTo>
                  <a:lnTo>
                    <a:pt x="2" y="0"/>
                  </a:lnTo>
                  <a:lnTo>
                    <a:pt x="0" y="1"/>
                  </a:lnTo>
                  <a:lnTo>
                    <a:pt x="0" y="3"/>
                  </a:lnTo>
                  <a:lnTo>
                    <a:pt x="0" y="4"/>
                  </a:lnTo>
                  <a:lnTo>
                    <a:pt x="2" y="6"/>
                  </a:lnTo>
                  <a:lnTo>
                    <a:pt x="4" y="5"/>
                  </a:lnTo>
                  <a:lnTo>
                    <a:pt x="4" y="4"/>
                  </a:lnTo>
                  <a:lnTo>
                    <a:pt x="4"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4" name="Freeform 603"/>
            <p:cNvSpPr>
              <a:spLocks/>
            </p:cNvSpPr>
            <p:nvPr/>
          </p:nvSpPr>
          <p:spPr bwMode="auto">
            <a:xfrm>
              <a:off x="887417" y="5078414"/>
              <a:ext cx="14287" cy="15875"/>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0 h 10"/>
                <a:gd name="T10" fmla="*/ 2147483647 w 9"/>
                <a:gd name="T11" fmla="*/ 0 h 10"/>
                <a:gd name="T12" fmla="*/ 2147483647 w 9"/>
                <a:gd name="T13" fmla="*/ 2147483647 h 10"/>
                <a:gd name="T14" fmla="*/ 0 w 9"/>
                <a:gd name="T15" fmla="*/ 2147483647 h 10"/>
                <a:gd name="T16" fmla="*/ 0 w 9"/>
                <a:gd name="T17" fmla="*/ 2147483647 h 10"/>
                <a:gd name="T18" fmla="*/ 0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2147483647 w 9"/>
                <a:gd name="T29" fmla="*/ 2147483647 h 10"/>
                <a:gd name="T30" fmla="*/ 2147483647 w 9"/>
                <a:gd name="T31" fmla="*/ 2147483647 h 10"/>
                <a:gd name="T32" fmla="*/ 2147483647 w 9"/>
                <a:gd name="T33" fmla="*/ 2147483647 h 10"/>
                <a:gd name="T34" fmla="*/ 2147483647 w 9"/>
                <a:gd name="T35" fmla="*/ 2147483647 h 10"/>
                <a:gd name="T36" fmla="*/ 2147483647 w 9"/>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9" y="8"/>
                  </a:moveTo>
                  <a:lnTo>
                    <a:pt x="9" y="8"/>
                  </a:lnTo>
                  <a:lnTo>
                    <a:pt x="6" y="3"/>
                  </a:lnTo>
                  <a:lnTo>
                    <a:pt x="5" y="1"/>
                  </a:lnTo>
                  <a:lnTo>
                    <a:pt x="2" y="0"/>
                  </a:lnTo>
                  <a:lnTo>
                    <a:pt x="1" y="1"/>
                  </a:lnTo>
                  <a:lnTo>
                    <a:pt x="0" y="1"/>
                  </a:lnTo>
                  <a:lnTo>
                    <a:pt x="0" y="4"/>
                  </a:lnTo>
                  <a:lnTo>
                    <a:pt x="1" y="7"/>
                  </a:lnTo>
                  <a:lnTo>
                    <a:pt x="2" y="9"/>
                  </a:lnTo>
                  <a:lnTo>
                    <a:pt x="5" y="10"/>
                  </a:lnTo>
                  <a:lnTo>
                    <a:pt x="6" y="10"/>
                  </a:lnTo>
                  <a:lnTo>
                    <a:pt x="7" y="10"/>
                  </a:lnTo>
                  <a:lnTo>
                    <a:pt x="9" y="9"/>
                  </a:lnTo>
                  <a:lnTo>
                    <a:pt x="9"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5" name="Freeform 604"/>
            <p:cNvSpPr>
              <a:spLocks/>
            </p:cNvSpPr>
            <p:nvPr/>
          </p:nvSpPr>
          <p:spPr bwMode="auto">
            <a:xfrm>
              <a:off x="7515226" y="3155954"/>
              <a:ext cx="96838" cy="142875"/>
            </a:xfrm>
            <a:custGeom>
              <a:avLst/>
              <a:gdLst>
                <a:gd name="T0" fmla="*/ 2147483647 w 67"/>
                <a:gd name="T1" fmla="*/ 2147483647 h 90"/>
                <a:gd name="T2" fmla="*/ 2147483647 w 67"/>
                <a:gd name="T3" fmla="*/ 2147483647 h 90"/>
                <a:gd name="T4" fmla="*/ 2147483647 w 67"/>
                <a:gd name="T5" fmla="*/ 2147483647 h 90"/>
                <a:gd name="T6" fmla="*/ 2147483647 w 67"/>
                <a:gd name="T7" fmla="*/ 2147483647 h 90"/>
                <a:gd name="T8" fmla="*/ 2147483647 w 67"/>
                <a:gd name="T9" fmla="*/ 2147483647 h 90"/>
                <a:gd name="T10" fmla="*/ 2147483647 w 67"/>
                <a:gd name="T11" fmla="*/ 2147483647 h 90"/>
                <a:gd name="T12" fmla="*/ 2147483647 w 67"/>
                <a:gd name="T13" fmla="*/ 2147483647 h 90"/>
                <a:gd name="T14" fmla="*/ 2147483647 w 67"/>
                <a:gd name="T15" fmla="*/ 2147483647 h 90"/>
                <a:gd name="T16" fmla="*/ 2147483647 w 67"/>
                <a:gd name="T17" fmla="*/ 2147483647 h 90"/>
                <a:gd name="T18" fmla="*/ 2147483647 w 67"/>
                <a:gd name="T19" fmla="*/ 2147483647 h 90"/>
                <a:gd name="T20" fmla="*/ 2147483647 w 67"/>
                <a:gd name="T21" fmla="*/ 2147483647 h 90"/>
                <a:gd name="T22" fmla="*/ 2147483647 w 67"/>
                <a:gd name="T23" fmla="*/ 2147483647 h 90"/>
                <a:gd name="T24" fmla="*/ 2147483647 w 67"/>
                <a:gd name="T25" fmla="*/ 2147483647 h 90"/>
                <a:gd name="T26" fmla="*/ 2147483647 w 67"/>
                <a:gd name="T27" fmla="*/ 2147483647 h 90"/>
                <a:gd name="T28" fmla="*/ 2147483647 w 67"/>
                <a:gd name="T29" fmla="*/ 2147483647 h 90"/>
                <a:gd name="T30" fmla="*/ 2147483647 w 67"/>
                <a:gd name="T31" fmla="*/ 2147483647 h 90"/>
                <a:gd name="T32" fmla="*/ 2147483647 w 67"/>
                <a:gd name="T33" fmla="*/ 2147483647 h 90"/>
                <a:gd name="T34" fmla="*/ 2147483647 w 67"/>
                <a:gd name="T35" fmla="*/ 2147483647 h 90"/>
                <a:gd name="T36" fmla="*/ 2147483647 w 67"/>
                <a:gd name="T37" fmla="*/ 2147483647 h 90"/>
                <a:gd name="T38" fmla="*/ 2147483647 w 67"/>
                <a:gd name="T39" fmla="*/ 2147483647 h 90"/>
                <a:gd name="T40" fmla="*/ 2147483647 w 67"/>
                <a:gd name="T41" fmla="*/ 2147483647 h 90"/>
                <a:gd name="T42" fmla="*/ 2147483647 w 67"/>
                <a:gd name="T43" fmla="*/ 2147483647 h 90"/>
                <a:gd name="T44" fmla="*/ 2147483647 w 67"/>
                <a:gd name="T45" fmla="*/ 2147483647 h 90"/>
                <a:gd name="T46" fmla="*/ 2147483647 w 67"/>
                <a:gd name="T47" fmla="*/ 2147483647 h 90"/>
                <a:gd name="T48" fmla="*/ 2147483647 w 67"/>
                <a:gd name="T49" fmla="*/ 2147483647 h 90"/>
                <a:gd name="T50" fmla="*/ 2147483647 w 67"/>
                <a:gd name="T51" fmla="*/ 2147483647 h 90"/>
                <a:gd name="T52" fmla="*/ 0 w 67"/>
                <a:gd name="T53" fmla="*/ 2147483647 h 90"/>
                <a:gd name="T54" fmla="*/ 0 w 67"/>
                <a:gd name="T55" fmla="*/ 2147483647 h 90"/>
                <a:gd name="T56" fmla="*/ 2147483647 w 67"/>
                <a:gd name="T57" fmla="*/ 2147483647 h 90"/>
                <a:gd name="T58" fmla="*/ 2147483647 w 67"/>
                <a:gd name="T59" fmla="*/ 2147483647 h 90"/>
                <a:gd name="T60" fmla="*/ 2147483647 w 67"/>
                <a:gd name="T61" fmla="*/ 2147483647 h 90"/>
                <a:gd name="T62" fmla="*/ 2147483647 w 67"/>
                <a:gd name="T63" fmla="*/ 2147483647 h 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90"/>
                <a:gd name="T98" fmla="*/ 67 w 67"/>
                <a:gd name="T99" fmla="*/ 90 h 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90">
                  <a:moveTo>
                    <a:pt x="11" y="14"/>
                  </a:moveTo>
                  <a:lnTo>
                    <a:pt x="16" y="14"/>
                  </a:lnTo>
                  <a:lnTo>
                    <a:pt x="20" y="13"/>
                  </a:lnTo>
                  <a:lnTo>
                    <a:pt x="25" y="10"/>
                  </a:lnTo>
                  <a:lnTo>
                    <a:pt x="30" y="5"/>
                  </a:lnTo>
                  <a:lnTo>
                    <a:pt x="34" y="3"/>
                  </a:lnTo>
                  <a:lnTo>
                    <a:pt x="36" y="0"/>
                  </a:lnTo>
                  <a:lnTo>
                    <a:pt x="50" y="13"/>
                  </a:lnTo>
                  <a:lnTo>
                    <a:pt x="57" y="19"/>
                  </a:lnTo>
                  <a:lnTo>
                    <a:pt x="63" y="26"/>
                  </a:lnTo>
                  <a:lnTo>
                    <a:pt x="66" y="32"/>
                  </a:lnTo>
                  <a:lnTo>
                    <a:pt x="67" y="38"/>
                  </a:lnTo>
                  <a:lnTo>
                    <a:pt x="66" y="45"/>
                  </a:lnTo>
                  <a:lnTo>
                    <a:pt x="63" y="51"/>
                  </a:lnTo>
                  <a:lnTo>
                    <a:pt x="62" y="55"/>
                  </a:lnTo>
                  <a:lnTo>
                    <a:pt x="62" y="57"/>
                  </a:lnTo>
                  <a:lnTo>
                    <a:pt x="62" y="63"/>
                  </a:lnTo>
                  <a:lnTo>
                    <a:pt x="62" y="65"/>
                  </a:lnTo>
                  <a:lnTo>
                    <a:pt x="59" y="68"/>
                  </a:lnTo>
                  <a:lnTo>
                    <a:pt x="58" y="68"/>
                  </a:lnTo>
                  <a:lnTo>
                    <a:pt x="55" y="68"/>
                  </a:lnTo>
                  <a:lnTo>
                    <a:pt x="53" y="68"/>
                  </a:lnTo>
                  <a:lnTo>
                    <a:pt x="52" y="69"/>
                  </a:lnTo>
                  <a:lnTo>
                    <a:pt x="47" y="74"/>
                  </a:lnTo>
                  <a:lnTo>
                    <a:pt x="43" y="76"/>
                  </a:lnTo>
                  <a:lnTo>
                    <a:pt x="36" y="77"/>
                  </a:lnTo>
                  <a:lnTo>
                    <a:pt x="30" y="77"/>
                  </a:lnTo>
                  <a:lnTo>
                    <a:pt x="29" y="78"/>
                  </a:lnTo>
                  <a:lnTo>
                    <a:pt x="28" y="82"/>
                  </a:lnTo>
                  <a:lnTo>
                    <a:pt x="28" y="84"/>
                  </a:lnTo>
                  <a:lnTo>
                    <a:pt x="25" y="87"/>
                  </a:lnTo>
                  <a:lnTo>
                    <a:pt x="22" y="87"/>
                  </a:lnTo>
                  <a:lnTo>
                    <a:pt x="20" y="86"/>
                  </a:lnTo>
                  <a:lnTo>
                    <a:pt x="17" y="87"/>
                  </a:lnTo>
                  <a:lnTo>
                    <a:pt x="15" y="88"/>
                  </a:lnTo>
                  <a:lnTo>
                    <a:pt x="11" y="90"/>
                  </a:lnTo>
                  <a:lnTo>
                    <a:pt x="7" y="90"/>
                  </a:lnTo>
                  <a:lnTo>
                    <a:pt x="6" y="90"/>
                  </a:lnTo>
                  <a:lnTo>
                    <a:pt x="5" y="89"/>
                  </a:lnTo>
                  <a:lnTo>
                    <a:pt x="3" y="84"/>
                  </a:lnTo>
                  <a:lnTo>
                    <a:pt x="3" y="80"/>
                  </a:lnTo>
                  <a:lnTo>
                    <a:pt x="3" y="70"/>
                  </a:lnTo>
                  <a:lnTo>
                    <a:pt x="3" y="68"/>
                  </a:lnTo>
                  <a:lnTo>
                    <a:pt x="6" y="67"/>
                  </a:lnTo>
                  <a:lnTo>
                    <a:pt x="7" y="64"/>
                  </a:lnTo>
                  <a:lnTo>
                    <a:pt x="9" y="63"/>
                  </a:lnTo>
                  <a:lnTo>
                    <a:pt x="9" y="57"/>
                  </a:lnTo>
                  <a:lnTo>
                    <a:pt x="9" y="50"/>
                  </a:lnTo>
                  <a:lnTo>
                    <a:pt x="9" y="48"/>
                  </a:lnTo>
                  <a:lnTo>
                    <a:pt x="7" y="45"/>
                  </a:lnTo>
                  <a:lnTo>
                    <a:pt x="5" y="44"/>
                  </a:lnTo>
                  <a:lnTo>
                    <a:pt x="2" y="44"/>
                  </a:lnTo>
                  <a:lnTo>
                    <a:pt x="1" y="44"/>
                  </a:lnTo>
                  <a:lnTo>
                    <a:pt x="0" y="43"/>
                  </a:lnTo>
                  <a:lnTo>
                    <a:pt x="0" y="40"/>
                  </a:lnTo>
                  <a:lnTo>
                    <a:pt x="0" y="39"/>
                  </a:lnTo>
                  <a:lnTo>
                    <a:pt x="2" y="37"/>
                  </a:lnTo>
                  <a:lnTo>
                    <a:pt x="3" y="36"/>
                  </a:lnTo>
                  <a:lnTo>
                    <a:pt x="6" y="35"/>
                  </a:lnTo>
                  <a:lnTo>
                    <a:pt x="9" y="32"/>
                  </a:lnTo>
                  <a:lnTo>
                    <a:pt x="10" y="24"/>
                  </a:lnTo>
                  <a:lnTo>
                    <a:pt x="11" y="20"/>
                  </a:lnTo>
                  <a:lnTo>
                    <a:pt x="15" y="18"/>
                  </a:lnTo>
                  <a:lnTo>
                    <a:pt x="11"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6" name="Freeform 605"/>
            <p:cNvSpPr>
              <a:spLocks/>
            </p:cNvSpPr>
            <p:nvPr/>
          </p:nvSpPr>
          <p:spPr bwMode="auto">
            <a:xfrm>
              <a:off x="7473953" y="2990850"/>
              <a:ext cx="161925" cy="192088"/>
            </a:xfrm>
            <a:custGeom>
              <a:avLst/>
              <a:gdLst>
                <a:gd name="T0" fmla="*/ 2147483647 w 111"/>
                <a:gd name="T1" fmla="*/ 2147483647 h 121"/>
                <a:gd name="T2" fmla="*/ 2147483647 w 111"/>
                <a:gd name="T3" fmla="*/ 2147483647 h 121"/>
                <a:gd name="T4" fmla="*/ 2147483647 w 111"/>
                <a:gd name="T5" fmla="*/ 2147483647 h 121"/>
                <a:gd name="T6" fmla="*/ 2147483647 w 111"/>
                <a:gd name="T7" fmla="*/ 2147483647 h 121"/>
                <a:gd name="T8" fmla="*/ 2147483647 w 111"/>
                <a:gd name="T9" fmla="*/ 2147483647 h 121"/>
                <a:gd name="T10" fmla="*/ 2147483647 w 111"/>
                <a:gd name="T11" fmla="*/ 2147483647 h 121"/>
                <a:gd name="T12" fmla="*/ 2147483647 w 111"/>
                <a:gd name="T13" fmla="*/ 2147483647 h 121"/>
                <a:gd name="T14" fmla="*/ 2147483647 w 111"/>
                <a:gd name="T15" fmla="*/ 2147483647 h 121"/>
                <a:gd name="T16" fmla="*/ 2147483647 w 111"/>
                <a:gd name="T17" fmla="*/ 2147483647 h 121"/>
                <a:gd name="T18" fmla="*/ 2147483647 w 111"/>
                <a:gd name="T19" fmla="*/ 2147483647 h 121"/>
                <a:gd name="T20" fmla="*/ 2147483647 w 111"/>
                <a:gd name="T21" fmla="*/ 2147483647 h 121"/>
                <a:gd name="T22" fmla="*/ 2147483647 w 111"/>
                <a:gd name="T23" fmla="*/ 2147483647 h 121"/>
                <a:gd name="T24" fmla="*/ 2147483647 w 111"/>
                <a:gd name="T25" fmla="*/ 2147483647 h 121"/>
                <a:gd name="T26" fmla="*/ 2147483647 w 111"/>
                <a:gd name="T27" fmla="*/ 2147483647 h 121"/>
                <a:gd name="T28" fmla="*/ 2147483647 w 111"/>
                <a:gd name="T29" fmla="*/ 2147483647 h 121"/>
                <a:gd name="T30" fmla="*/ 2147483647 w 111"/>
                <a:gd name="T31" fmla="*/ 2147483647 h 121"/>
                <a:gd name="T32" fmla="*/ 2147483647 w 111"/>
                <a:gd name="T33" fmla="*/ 2147483647 h 121"/>
                <a:gd name="T34" fmla="*/ 2147483647 w 111"/>
                <a:gd name="T35" fmla="*/ 2147483647 h 121"/>
                <a:gd name="T36" fmla="*/ 2147483647 w 111"/>
                <a:gd name="T37" fmla="*/ 2147483647 h 121"/>
                <a:gd name="T38" fmla="*/ 2147483647 w 111"/>
                <a:gd name="T39" fmla="*/ 2147483647 h 121"/>
                <a:gd name="T40" fmla="*/ 2147483647 w 111"/>
                <a:gd name="T41" fmla="*/ 2147483647 h 121"/>
                <a:gd name="T42" fmla="*/ 2147483647 w 111"/>
                <a:gd name="T43" fmla="*/ 2147483647 h 121"/>
                <a:gd name="T44" fmla="*/ 2147483647 w 111"/>
                <a:gd name="T45" fmla="*/ 2147483647 h 121"/>
                <a:gd name="T46" fmla="*/ 2147483647 w 111"/>
                <a:gd name="T47" fmla="*/ 2147483647 h 121"/>
                <a:gd name="T48" fmla="*/ 2147483647 w 111"/>
                <a:gd name="T49" fmla="*/ 2147483647 h 121"/>
                <a:gd name="T50" fmla="*/ 2147483647 w 111"/>
                <a:gd name="T51" fmla="*/ 2147483647 h 121"/>
                <a:gd name="T52" fmla="*/ 2147483647 w 111"/>
                <a:gd name="T53" fmla="*/ 2147483647 h 121"/>
                <a:gd name="T54" fmla="*/ 2147483647 w 111"/>
                <a:gd name="T55" fmla="*/ 2147483647 h 121"/>
                <a:gd name="T56" fmla="*/ 2147483647 w 111"/>
                <a:gd name="T57" fmla="*/ 2147483647 h 121"/>
                <a:gd name="T58" fmla="*/ 2147483647 w 111"/>
                <a:gd name="T59" fmla="*/ 2147483647 h 121"/>
                <a:gd name="T60" fmla="*/ 2147483647 w 111"/>
                <a:gd name="T61" fmla="*/ 2147483647 h 121"/>
                <a:gd name="T62" fmla="*/ 2147483647 w 111"/>
                <a:gd name="T63" fmla="*/ 2147483647 h 121"/>
                <a:gd name="T64" fmla="*/ 2147483647 w 111"/>
                <a:gd name="T65" fmla="*/ 2147483647 h 121"/>
                <a:gd name="T66" fmla="*/ 2147483647 w 111"/>
                <a:gd name="T67" fmla="*/ 2147483647 h 121"/>
                <a:gd name="T68" fmla="*/ 2147483647 w 111"/>
                <a:gd name="T69" fmla="*/ 2147483647 h 121"/>
                <a:gd name="T70" fmla="*/ 2147483647 w 111"/>
                <a:gd name="T71" fmla="*/ 0 h 121"/>
                <a:gd name="T72" fmla="*/ 2147483647 w 111"/>
                <a:gd name="T73" fmla="*/ 2147483647 h 121"/>
                <a:gd name="T74" fmla="*/ 2147483647 w 111"/>
                <a:gd name="T75" fmla="*/ 2147483647 h 121"/>
                <a:gd name="T76" fmla="*/ 2147483647 w 111"/>
                <a:gd name="T77" fmla="*/ 2147483647 h 121"/>
                <a:gd name="T78" fmla="*/ 2147483647 w 111"/>
                <a:gd name="T79" fmla="*/ 2147483647 h 121"/>
                <a:gd name="T80" fmla="*/ 2147483647 w 111"/>
                <a:gd name="T81" fmla="*/ 2147483647 h 121"/>
                <a:gd name="T82" fmla="*/ 2147483647 w 111"/>
                <a:gd name="T83" fmla="*/ 2147483647 h 121"/>
                <a:gd name="T84" fmla="*/ 2147483647 w 111"/>
                <a:gd name="T85" fmla="*/ 2147483647 h 121"/>
                <a:gd name="T86" fmla="*/ 2147483647 w 111"/>
                <a:gd name="T87" fmla="*/ 2147483647 h 121"/>
                <a:gd name="T88" fmla="*/ 2147483647 w 111"/>
                <a:gd name="T89" fmla="*/ 2147483647 h 121"/>
                <a:gd name="T90" fmla="*/ 2147483647 w 111"/>
                <a:gd name="T91" fmla="*/ 2147483647 h 121"/>
                <a:gd name="T92" fmla="*/ 2147483647 w 111"/>
                <a:gd name="T93" fmla="*/ 2147483647 h 121"/>
                <a:gd name="T94" fmla="*/ 2147483647 w 111"/>
                <a:gd name="T95" fmla="*/ 2147483647 h 121"/>
                <a:gd name="T96" fmla="*/ 2147483647 w 111"/>
                <a:gd name="T97" fmla="*/ 2147483647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1"/>
                <a:gd name="T148" fmla="*/ 0 h 121"/>
                <a:gd name="T149" fmla="*/ 111 w 111"/>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1" h="121">
                  <a:moveTo>
                    <a:pt x="0" y="71"/>
                  </a:moveTo>
                  <a:lnTo>
                    <a:pt x="1" y="72"/>
                  </a:lnTo>
                  <a:lnTo>
                    <a:pt x="2" y="73"/>
                  </a:lnTo>
                  <a:lnTo>
                    <a:pt x="2" y="80"/>
                  </a:lnTo>
                  <a:lnTo>
                    <a:pt x="3" y="84"/>
                  </a:lnTo>
                  <a:lnTo>
                    <a:pt x="6" y="88"/>
                  </a:lnTo>
                  <a:lnTo>
                    <a:pt x="7" y="88"/>
                  </a:lnTo>
                  <a:lnTo>
                    <a:pt x="9" y="88"/>
                  </a:lnTo>
                  <a:lnTo>
                    <a:pt x="10" y="86"/>
                  </a:lnTo>
                  <a:lnTo>
                    <a:pt x="11" y="85"/>
                  </a:lnTo>
                  <a:lnTo>
                    <a:pt x="12" y="80"/>
                  </a:lnTo>
                  <a:lnTo>
                    <a:pt x="14" y="79"/>
                  </a:lnTo>
                  <a:lnTo>
                    <a:pt x="15" y="78"/>
                  </a:lnTo>
                  <a:lnTo>
                    <a:pt x="17" y="77"/>
                  </a:lnTo>
                  <a:lnTo>
                    <a:pt x="20" y="77"/>
                  </a:lnTo>
                  <a:lnTo>
                    <a:pt x="23" y="77"/>
                  </a:lnTo>
                  <a:lnTo>
                    <a:pt x="24" y="79"/>
                  </a:lnTo>
                  <a:lnTo>
                    <a:pt x="25" y="82"/>
                  </a:lnTo>
                  <a:lnTo>
                    <a:pt x="24" y="83"/>
                  </a:lnTo>
                  <a:lnTo>
                    <a:pt x="21" y="86"/>
                  </a:lnTo>
                  <a:lnTo>
                    <a:pt x="19" y="90"/>
                  </a:lnTo>
                  <a:lnTo>
                    <a:pt x="17" y="98"/>
                  </a:lnTo>
                  <a:lnTo>
                    <a:pt x="15" y="101"/>
                  </a:lnTo>
                  <a:lnTo>
                    <a:pt x="12" y="102"/>
                  </a:lnTo>
                  <a:lnTo>
                    <a:pt x="9" y="103"/>
                  </a:lnTo>
                  <a:lnTo>
                    <a:pt x="7" y="104"/>
                  </a:lnTo>
                  <a:lnTo>
                    <a:pt x="7" y="105"/>
                  </a:lnTo>
                  <a:lnTo>
                    <a:pt x="10" y="111"/>
                  </a:lnTo>
                  <a:lnTo>
                    <a:pt x="14" y="117"/>
                  </a:lnTo>
                  <a:lnTo>
                    <a:pt x="17" y="120"/>
                  </a:lnTo>
                  <a:lnTo>
                    <a:pt x="20" y="121"/>
                  </a:lnTo>
                  <a:lnTo>
                    <a:pt x="24" y="121"/>
                  </a:lnTo>
                  <a:lnTo>
                    <a:pt x="26" y="120"/>
                  </a:lnTo>
                  <a:lnTo>
                    <a:pt x="28" y="118"/>
                  </a:lnTo>
                  <a:lnTo>
                    <a:pt x="28" y="117"/>
                  </a:lnTo>
                  <a:lnTo>
                    <a:pt x="29" y="115"/>
                  </a:lnTo>
                  <a:lnTo>
                    <a:pt x="30" y="112"/>
                  </a:lnTo>
                  <a:lnTo>
                    <a:pt x="34" y="112"/>
                  </a:lnTo>
                  <a:lnTo>
                    <a:pt x="35" y="112"/>
                  </a:lnTo>
                  <a:lnTo>
                    <a:pt x="39" y="118"/>
                  </a:lnTo>
                  <a:lnTo>
                    <a:pt x="44" y="118"/>
                  </a:lnTo>
                  <a:lnTo>
                    <a:pt x="48" y="117"/>
                  </a:lnTo>
                  <a:lnTo>
                    <a:pt x="53" y="114"/>
                  </a:lnTo>
                  <a:lnTo>
                    <a:pt x="58" y="109"/>
                  </a:lnTo>
                  <a:lnTo>
                    <a:pt x="62" y="107"/>
                  </a:lnTo>
                  <a:lnTo>
                    <a:pt x="64" y="104"/>
                  </a:lnTo>
                  <a:lnTo>
                    <a:pt x="59" y="97"/>
                  </a:lnTo>
                  <a:lnTo>
                    <a:pt x="56" y="86"/>
                  </a:lnTo>
                  <a:lnTo>
                    <a:pt x="54" y="80"/>
                  </a:lnTo>
                  <a:lnTo>
                    <a:pt x="57" y="75"/>
                  </a:lnTo>
                  <a:lnTo>
                    <a:pt x="59" y="70"/>
                  </a:lnTo>
                  <a:lnTo>
                    <a:pt x="64" y="66"/>
                  </a:lnTo>
                  <a:lnTo>
                    <a:pt x="75" y="60"/>
                  </a:lnTo>
                  <a:lnTo>
                    <a:pt x="80" y="57"/>
                  </a:lnTo>
                  <a:lnTo>
                    <a:pt x="83" y="52"/>
                  </a:lnTo>
                  <a:lnTo>
                    <a:pt x="87" y="46"/>
                  </a:lnTo>
                  <a:lnTo>
                    <a:pt x="91" y="41"/>
                  </a:lnTo>
                  <a:lnTo>
                    <a:pt x="95" y="37"/>
                  </a:lnTo>
                  <a:lnTo>
                    <a:pt x="97" y="29"/>
                  </a:lnTo>
                  <a:lnTo>
                    <a:pt x="100" y="26"/>
                  </a:lnTo>
                  <a:lnTo>
                    <a:pt x="103" y="25"/>
                  </a:lnTo>
                  <a:lnTo>
                    <a:pt x="108" y="24"/>
                  </a:lnTo>
                  <a:lnTo>
                    <a:pt x="110" y="24"/>
                  </a:lnTo>
                  <a:lnTo>
                    <a:pt x="111" y="21"/>
                  </a:lnTo>
                  <a:lnTo>
                    <a:pt x="111" y="18"/>
                  </a:lnTo>
                  <a:lnTo>
                    <a:pt x="110" y="15"/>
                  </a:lnTo>
                  <a:lnTo>
                    <a:pt x="109" y="12"/>
                  </a:lnTo>
                  <a:lnTo>
                    <a:pt x="110" y="9"/>
                  </a:lnTo>
                  <a:lnTo>
                    <a:pt x="109" y="5"/>
                  </a:lnTo>
                  <a:lnTo>
                    <a:pt x="105" y="1"/>
                  </a:lnTo>
                  <a:lnTo>
                    <a:pt x="101" y="0"/>
                  </a:lnTo>
                  <a:lnTo>
                    <a:pt x="100" y="0"/>
                  </a:lnTo>
                  <a:lnTo>
                    <a:pt x="97" y="1"/>
                  </a:lnTo>
                  <a:lnTo>
                    <a:pt x="91" y="7"/>
                  </a:lnTo>
                  <a:lnTo>
                    <a:pt x="89" y="11"/>
                  </a:lnTo>
                  <a:lnTo>
                    <a:pt x="83" y="13"/>
                  </a:lnTo>
                  <a:lnTo>
                    <a:pt x="82" y="15"/>
                  </a:lnTo>
                  <a:lnTo>
                    <a:pt x="80" y="18"/>
                  </a:lnTo>
                  <a:lnTo>
                    <a:pt x="78" y="20"/>
                  </a:lnTo>
                  <a:lnTo>
                    <a:pt x="77" y="22"/>
                  </a:lnTo>
                  <a:lnTo>
                    <a:pt x="67" y="28"/>
                  </a:lnTo>
                  <a:lnTo>
                    <a:pt x="57" y="34"/>
                  </a:lnTo>
                  <a:lnTo>
                    <a:pt x="56" y="35"/>
                  </a:lnTo>
                  <a:lnTo>
                    <a:pt x="53" y="34"/>
                  </a:lnTo>
                  <a:lnTo>
                    <a:pt x="50" y="31"/>
                  </a:lnTo>
                  <a:lnTo>
                    <a:pt x="45" y="29"/>
                  </a:lnTo>
                  <a:lnTo>
                    <a:pt x="40" y="29"/>
                  </a:lnTo>
                  <a:lnTo>
                    <a:pt x="37" y="31"/>
                  </a:lnTo>
                  <a:lnTo>
                    <a:pt x="34" y="32"/>
                  </a:lnTo>
                  <a:lnTo>
                    <a:pt x="33" y="33"/>
                  </a:lnTo>
                  <a:lnTo>
                    <a:pt x="31" y="38"/>
                  </a:lnTo>
                  <a:lnTo>
                    <a:pt x="31" y="44"/>
                  </a:lnTo>
                  <a:lnTo>
                    <a:pt x="30" y="48"/>
                  </a:lnTo>
                  <a:lnTo>
                    <a:pt x="21" y="52"/>
                  </a:lnTo>
                  <a:lnTo>
                    <a:pt x="19" y="54"/>
                  </a:lnTo>
                  <a:lnTo>
                    <a:pt x="15" y="57"/>
                  </a:lnTo>
                  <a:lnTo>
                    <a:pt x="9" y="65"/>
                  </a:lnTo>
                  <a:lnTo>
                    <a:pt x="5" y="69"/>
                  </a:lnTo>
                  <a:lnTo>
                    <a:pt x="0" y="7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7" name="Freeform 606"/>
            <p:cNvSpPr>
              <a:spLocks/>
            </p:cNvSpPr>
            <p:nvPr/>
          </p:nvSpPr>
          <p:spPr bwMode="auto">
            <a:xfrm>
              <a:off x="7512053" y="3154367"/>
              <a:ext cx="98425" cy="142875"/>
            </a:xfrm>
            <a:custGeom>
              <a:avLst/>
              <a:gdLst>
                <a:gd name="T0" fmla="*/ 2147483647 w 68"/>
                <a:gd name="T1" fmla="*/ 2147483647 h 90"/>
                <a:gd name="T2" fmla="*/ 2147483647 w 68"/>
                <a:gd name="T3" fmla="*/ 2147483647 h 90"/>
                <a:gd name="T4" fmla="*/ 2147483647 w 68"/>
                <a:gd name="T5" fmla="*/ 2147483647 h 90"/>
                <a:gd name="T6" fmla="*/ 2147483647 w 68"/>
                <a:gd name="T7" fmla="*/ 0 h 90"/>
                <a:gd name="T8" fmla="*/ 2147483647 w 68"/>
                <a:gd name="T9" fmla="*/ 2147483647 h 90"/>
                <a:gd name="T10" fmla="*/ 2147483647 w 68"/>
                <a:gd name="T11" fmla="*/ 2147483647 h 90"/>
                <a:gd name="T12" fmla="*/ 2147483647 w 68"/>
                <a:gd name="T13" fmla="*/ 2147483647 h 90"/>
                <a:gd name="T14" fmla="*/ 2147483647 w 68"/>
                <a:gd name="T15" fmla="*/ 2147483647 h 90"/>
                <a:gd name="T16" fmla="*/ 2147483647 w 68"/>
                <a:gd name="T17" fmla="*/ 2147483647 h 90"/>
                <a:gd name="T18" fmla="*/ 2147483647 w 68"/>
                <a:gd name="T19" fmla="*/ 2147483647 h 90"/>
                <a:gd name="T20" fmla="*/ 2147483647 w 68"/>
                <a:gd name="T21" fmla="*/ 2147483647 h 90"/>
                <a:gd name="T22" fmla="*/ 2147483647 w 68"/>
                <a:gd name="T23" fmla="*/ 2147483647 h 90"/>
                <a:gd name="T24" fmla="*/ 2147483647 w 68"/>
                <a:gd name="T25" fmla="*/ 2147483647 h 90"/>
                <a:gd name="T26" fmla="*/ 2147483647 w 68"/>
                <a:gd name="T27" fmla="*/ 2147483647 h 90"/>
                <a:gd name="T28" fmla="*/ 2147483647 w 68"/>
                <a:gd name="T29" fmla="*/ 2147483647 h 90"/>
                <a:gd name="T30" fmla="*/ 2147483647 w 68"/>
                <a:gd name="T31" fmla="*/ 2147483647 h 90"/>
                <a:gd name="T32" fmla="*/ 2147483647 w 68"/>
                <a:gd name="T33" fmla="*/ 2147483647 h 90"/>
                <a:gd name="T34" fmla="*/ 2147483647 w 68"/>
                <a:gd name="T35" fmla="*/ 2147483647 h 90"/>
                <a:gd name="T36" fmla="*/ 2147483647 w 68"/>
                <a:gd name="T37" fmla="*/ 2147483647 h 90"/>
                <a:gd name="T38" fmla="*/ 2147483647 w 68"/>
                <a:gd name="T39" fmla="*/ 2147483647 h 90"/>
                <a:gd name="T40" fmla="*/ 2147483647 w 68"/>
                <a:gd name="T41" fmla="*/ 2147483647 h 90"/>
                <a:gd name="T42" fmla="*/ 2147483647 w 68"/>
                <a:gd name="T43" fmla="*/ 2147483647 h 90"/>
                <a:gd name="T44" fmla="*/ 2147483647 w 68"/>
                <a:gd name="T45" fmla="*/ 2147483647 h 90"/>
                <a:gd name="T46" fmla="*/ 2147483647 w 68"/>
                <a:gd name="T47" fmla="*/ 2147483647 h 90"/>
                <a:gd name="T48" fmla="*/ 2147483647 w 68"/>
                <a:gd name="T49" fmla="*/ 2147483647 h 90"/>
                <a:gd name="T50" fmla="*/ 2147483647 w 68"/>
                <a:gd name="T51" fmla="*/ 2147483647 h 90"/>
                <a:gd name="T52" fmla="*/ 2147483647 w 68"/>
                <a:gd name="T53" fmla="*/ 2147483647 h 90"/>
                <a:gd name="T54" fmla="*/ 2147483647 w 68"/>
                <a:gd name="T55" fmla="*/ 2147483647 h 90"/>
                <a:gd name="T56" fmla="*/ 2147483647 w 68"/>
                <a:gd name="T57" fmla="*/ 2147483647 h 90"/>
                <a:gd name="T58" fmla="*/ 2147483647 w 68"/>
                <a:gd name="T59" fmla="*/ 2147483647 h 90"/>
                <a:gd name="T60" fmla="*/ 2147483647 w 68"/>
                <a:gd name="T61" fmla="*/ 2147483647 h 90"/>
                <a:gd name="T62" fmla="*/ 2147483647 w 68"/>
                <a:gd name="T63" fmla="*/ 2147483647 h 90"/>
                <a:gd name="T64" fmla="*/ 2147483647 w 68"/>
                <a:gd name="T65" fmla="*/ 2147483647 h 90"/>
                <a:gd name="T66" fmla="*/ 2147483647 w 68"/>
                <a:gd name="T67" fmla="*/ 2147483647 h 90"/>
                <a:gd name="T68" fmla="*/ 0 w 68"/>
                <a:gd name="T69" fmla="*/ 2147483647 h 90"/>
                <a:gd name="T70" fmla="*/ 0 w 68"/>
                <a:gd name="T71" fmla="*/ 2147483647 h 90"/>
                <a:gd name="T72" fmla="*/ 2147483647 w 68"/>
                <a:gd name="T73" fmla="*/ 2147483647 h 90"/>
                <a:gd name="T74" fmla="*/ 2147483647 w 68"/>
                <a:gd name="T75" fmla="*/ 2147483647 h 90"/>
                <a:gd name="T76" fmla="*/ 2147483647 w 68"/>
                <a:gd name="T77" fmla="*/ 2147483647 h 90"/>
                <a:gd name="T78" fmla="*/ 2147483647 w 68"/>
                <a:gd name="T79" fmla="*/ 2147483647 h 90"/>
                <a:gd name="T80" fmla="*/ 2147483647 w 68"/>
                <a:gd name="T81" fmla="*/ 2147483647 h 90"/>
                <a:gd name="T82" fmla="*/ 2147483647 w 68"/>
                <a:gd name="T83" fmla="*/ 2147483647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
                <a:gd name="T127" fmla="*/ 0 h 90"/>
                <a:gd name="T128" fmla="*/ 68 w 68"/>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 h="90">
                  <a:moveTo>
                    <a:pt x="12" y="14"/>
                  </a:moveTo>
                  <a:lnTo>
                    <a:pt x="12" y="14"/>
                  </a:lnTo>
                  <a:lnTo>
                    <a:pt x="17" y="14"/>
                  </a:lnTo>
                  <a:lnTo>
                    <a:pt x="21" y="13"/>
                  </a:lnTo>
                  <a:lnTo>
                    <a:pt x="26" y="9"/>
                  </a:lnTo>
                  <a:lnTo>
                    <a:pt x="31" y="5"/>
                  </a:lnTo>
                  <a:lnTo>
                    <a:pt x="35" y="2"/>
                  </a:lnTo>
                  <a:lnTo>
                    <a:pt x="37" y="0"/>
                  </a:lnTo>
                  <a:lnTo>
                    <a:pt x="51" y="13"/>
                  </a:lnTo>
                  <a:lnTo>
                    <a:pt x="57" y="19"/>
                  </a:lnTo>
                  <a:lnTo>
                    <a:pt x="64" y="26"/>
                  </a:lnTo>
                  <a:lnTo>
                    <a:pt x="66" y="32"/>
                  </a:lnTo>
                  <a:lnTo>
                    <a:pt x="68" y="38"/>
                  </a:lnTo>
                  <a:lnTo>
                    <a:pt x="66" y="45"/>
                  </a:lnTo>
                  <a:lnTo>
                    <a:pt x="64" y="51"/>
                  </a:lnTo>
                  <a:lnTo>
                    <a:pt x="63" y="55"/>
                  </a:lnTo>
                  <a:lnTo>
                    <a:pt x="63" y="57"/>
                  </a:lnTo>
                  <a:lnTo>
                    <a:pt x="63" y="63"/>
                  </a:lnTo>
                  <a:lnTo>
                    <a:pt x="63" y="65"/>
                  </a:lnTo>
                  <a:lnTo>
                    <a:pt x="60" y="68"/>
                  </a:lnTo>
                  <a:lnTo>
                    <a:pt x="59" y="68"/>
                  </a:lnTo>
                  <a:lnTo>
                    <a:pt x="56" y="68"/>
                  </a:lnTo>
                  <a:lnTo>
                    <a:pt x="54" y="68"/>
                  </a:lnTo>
                  <a:lnTo>
                    <a:pt x="52" y="69"/>
                  </a:lnTo>
                  <a:lnTo>
                    <a:pt x="47" y="73"/>
                  </a:lnTo>
                  <a:lnTo>
                    <a:pt x="44" y="76"/>
                  </a:lnTo>
                  <a:lnTo>
                    <a:pt x="37" y="77"/>
                  </a:lnTo>
                  <a:lnTo>
                    <a:pt x="31" y="77"/>
                  </a:lnTo>
                  <a:lnTo>
                    <a:pt x="30" y="78"/>
                  </a:lnTo>
                  <a:lnTo>
                    <a:pt x="28" y="82"/>
                  </a:lnTo>
                  <a:lnTo>
                    <a:pt x="28" y="84"/>
                  </a:lnTo>
                  <a:lnTo>
                    <a:pt x="26" y="87"/>
                  </a:lnTo>
                  <a:lnTo>
                    <a:pt x="23" y="87"/>
                  </a:lnTo>
                  <a:lnTo>
                    <a:pt x="21" y="85"/>
                  </a:lnTo>
                  <a:lnTo>
                    <a:pt x="18" y="87"/>
                  </a:lnTo>
                  <a:lnTo>
                    <a:pt x="16" y="88"/>
                  </a:lnTo>
                  <a:lnTo>
                    <a:pt x="12" y="90"/>
                  </a:lnTo>
                  <a:lnTo>
                    <a:pt x="8" y="90"/>
                  </a:lnTo>
                  <a:lnTo>
                    <a:pt x="7" y="90"/>
                  </a:lnTo>
                  <a:lnTo>
                    <a:pt x="5" y="89"/>
                  </a:lnTo>
                  <a:lnTo>
                    <a:pt x="4" y="84"/>
                  </a:lnTo>
                  <a:lnTo>
                    <a:pt x="4" y="79"/>
                  </a:lnTo>
                  <a:lnTo>
                    <a:pt x="4" y="70"/>
                  </a:lnTo>
                  <a:lnTo>
                    <a:pt x="4" y="68"/>
                  </a:lnTo>
                  <a:lnTo>
                    <a:pt x="7" y="66"/>
                  </a:lnTo>
                  <a:lnTo>
                    <a:pt x="8" y="64"/>
                  </a:lnTo>
                  <a:lnTo>
                    <a:pt x="9" y="63"/>
                  </a:lnTo>
                  <a:lnTo>
                    <a:pt x="9" y="57"/>
                  </a:lnTo>
                  <a:lnTo>
                    <a:pt x="9" y="50"/>
                  </a:lnTo>
                  <a:lnTo>
                    <a:pt x="9" y="47"/>
                  </a:lnTo>
                  <a:lnTo>
                    <a:pt x="8" y="45"/>
                  </a:lnTo>
                  <a:lnTo>
                    <a:pt x="5" y="44"/>
                  </a:lnTo>
                  <a:lnTo>
                    <a:pt x="3" y="44"/>
                  </a:lnTo>
                  <a:lnTo>
                    <a:pt x="2" y="44"/>
                  </a:lnTo>
                  <a:lnTo>
                    <a:pt x="0" y="43"/>
                  </a:lnTo>
                  <a:lnTo>
                    <a:pt x="0" y="40"/>
                  </a:lnTo>
                  <a:lnTo>
                    <a:pt x="0" y="39"/>
                  </a:lnTo>
                  <a:lnTo>
                    <a:pt x="3" y="37"/>
                  </a:lnTo>
                  <a:lnTo>
                    <a:pt x="4" y="36"/>
                  </a:lnTo>
                  <a:lnTo>
                    <a:pt x="7" y="34"/>
                  </a:lnTo>
                  <a:lnTo>
                    <a:pt x="9" y="32"/>
                  </a:lnTo>
                  <a:lnTo>
                    <a:pt x="11" y="24"/>
                  </a:lnTo>
                  <a:lnTo>
                    <a:pt x="12" y="20"/>
                  </a:lnTo>
                  <a:lnTo>
                    <a:pt x="16" y="18"/>
                  </a:lnTo>
                  <a:lnTo>
                    <a:pt x="12"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8" name="Freeform 607"/>
            <p:cNvSpPr>
              <a:spLocks/>
            </p:cNvSpPr>
            <p:nvPr/>
          </p:nvSpPr>
          <p:spPr bwMode="auto">
            <a:xfrm>
              <a:off x="7470776" y="2989267"/>
              <a:ext cx="163513" cy="192087"/>
            </a:xfrm>
            <a:custGeom>
              <a:avLst/>
              <a:gdLst>
                <a:gd name="T0" fmla="*/ 2147483647 w 112"/>
                <a:gd name="T1" fmla="*/ 2147483647 h 121"/>
                <a:gd name="T2" fmla="*/ 2147483647 w 112"/>
                <a:gd name="T3" fmla="*/ 2147483647 h 121"/>
                <a:gd name="T4" fmla="*/ 2147483647 w 112"/>
                <a:gd name="T5" fmla="*/ 2147483647 h 121"/>
                <a:gd name="T6" fmla="*/ 2147483647 w 112"/>
                <a:gd name="T7" fmla="*/ 2147483647 h 121"/>
                <a:gd name="T8" fmla="*/ 2147483647 w 112"/>
                <a:gd name="T9" fmla="*/ 2147483647 h 121"/>
                <a:gd name="T10" fmla="*/ 2147483647 w 112"/>
                <a:gd name="T11" fmla="*/ 2147483647 h 121"/>
                <a:gd name="T12" fmla="*/ 2147483647 w 112"/>
                <a:gd name="T13" fmla="*/ 2147483647 h 121"/>
                <a:gd name="T14" fmla="*/ 2147483647 w 112"/>
                <a:gd name="T15" fmla="*/ 2147483647 h 121"/>
                <a:gd name="T16" fmla="*/ 2147483647 w 112"/>
                <a:gd name="T17" fmla="*/ 2147483647 h 121"/>
                <a:gd name="T18" fmla="*/ 2147483647 w 112"/>
                <a:gd name="T19" fmla="*/ 2147483647 h 121"/>
                <a:gd name="T20" fmla="*/ 2147483647 w 112"/>
                <a:gd name="T21" fmla="*/ 2147483647 h 121"/>
                <a:gd name="T22" fmla="*/ 2147483647 w 112"/>
                <a:gd name="T23" fmla="*/ 2147483647 h 121"/>
                <a:gd name="T24" fmla="*/ 2147483647 w 112"/>
                <a:gd name="T25" fmla="*/ 2147483647 h 121"/>
                <a:gd name="T26" fmla="*/ 2147483647 w 112"/>
                <a:gd name="T27" fmla="*/ 2147483647 h 121"/>
                <a:gd name="T28" fmla="*/ 2147483647 w 112"/>
                <a:gd name="T29" fmla="*/ 2147483647 h 121"/>
                <a:gd name="T30" fmla="*/ 2147483647 w 112"/>
                <a:gd name="T31" fmla="*/ 2147483647 h 121"/>
                <a:gd name="T32" fmla="*/ 2147483647 w 112"/>
                <a:gd name="T33" fmla="*/ 2147483647 h 121"/>
                <a:gd name="T34" fmla="*/ 2147483647 w 112"/>
                <a:gd name="T35" fmla="*/ 2147483647 h 121"/>
                <a:gd name="T36" fmla="*/ 2147483647 w 112"/>
                <a:gd name="T37" fmla="*/ 2147483647 h 121"/>
                <a:gd name="T38" fmla="*/ 2147483647 w 112"/>
                <a:gd name="T39" fmla="*/ 2147483647 h 121"/>
                <a:gd name="T40" fmla="*/ 2147483647 w 112"/>
                <a:gd name="T41" fmla="*/ 2147483647 h 121"/>
                <a:gd name="T42" fmla="*/ 2147483647 w 112"/>
                <a:gd name="T43" fmla="*/ 2147483647 h 121"/>
                <a:gd name="T44" fmla="*/ 2147483647 w 112"/>
                <a:gd name="T45" fmla="*/ 2147483647 h 121"/>
                <a:gd name="T46" fmla="*/ 2147483647 w 112"/>
                <a:gd name="T47" fmla="*/ 2147483647 h 121"/>
                <a:gd name="T48" fmla="*/ 2147483647 w 112"/>
                <a:gd name="T49" fmla="*/ 2147483647 h 121"/>
                <a:gd name="T50" fmla="*/ 2147483647 w 112"/>
                <a:gd name="T51" fmla="*/ 2147483647 h 121"/>
                <a:gd name="T52" fmla="*/ 2147483647 w 112"/>
                <a:gd name="T53" fmla="*/ 2147483647 h 121"/>
                <a:gd name="T54" fmla="*/ 2147483647 w 112"/>
                <a:gd name="T55" fmla="*/ 2147483647 h 121"/>
                <a:gd name="T56" fmla="*/ 2147483647 w 112"/>
                <a:gd name="T57" fmla="*/ 2147483647 h 121"/>
                <a:gd name="T58" fmla="*/ 2147483647 w 112"/>
                <a:gd name="T59" fmla="*/ 2147483647 h 121"/>
                <a:gd name="T60" fmla="*/ 2147483647 w 112"/>
                <a:gd name="T61" fmla="*/ 0 h 121"/>
                <a:gd name="T62" fmla="*/ 2147483647 w 112"/>
                <a:gd name="T63" fmla="*/ 2147483647 h 121"/>
                <a:gd name="T64" fmla="*/ 2147483647 w 112"/>
                <a:gd name="T65" fmla="*/ 2147483647 h 121"/>
                <a:gd name="T66" fmla="*/ 2147483647 w 112"/>
                <a:gd name="T67" fmla="*/ 2147483647 h 121"/>
                <a:gd name="T68" fmla="*/ 2147483647 w 112"/>
                <a:gd name="T69" fmla="*/ 2147483647 h 121"/>
                <a:gd name="T70" fmla="*/ 2147483647 w 112"/>
                <a:gd name="T71" fmla="*/ 2147483647 h 121"/>
                <a:gd name="T72" fmla="*/ 2147483647 w 112"/>
                <a:gd name="T73" fmla="*/ 2147483647 h 121"/>
                <a:gd name="T74" fmla="*/ 2147483647 w 112"/>
                <a:gd name="T75" fmla="*/ 2147483647 h 121"/>
                <a:gd name="T76" fmla="*/ 2147483647 w 112"/>
                <a:gd name="T77" fmla="*/ 2147483647 h 121"/>
                <a:gd name="T78" fmla="*/ 2147483647 w 112"/>
                <a:gd name="T79" fmla="*/ 2147483647 h 121"/>
                <a:gd name="T80" fmla="*/ 2147483647 w 112"/>
                <a:gd name="T81" fmla="*/ 2147483647 h 121"/>
                <a:gd name="T82" fmla="*/ 2147483647 w 112"/>
                <a:gd name="T83" fmla="*/ 2147483647 h 121"/>
                <a:gd name="T84" fmla="*/ 0 w 112"/>
                <a:gd name="T85" fmla="*/ 2147483647 h 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2"/>
                <a:gd name="T130" fmla="*/ 0 h 121"/>
                <a:gd name="T131" fmla="*/ 112 w 112"/>
                <a:gd name="T132" fmla="*/ 121 h 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2" h="121">
                  <a:moveTo>
                    <a:pt x="0" y="71"/>
                  </a:moveTo>
                  <a:lnTo>
                    <a:pt x="0" y="71"/>
                  </a:lnTo>
                  <a:lnTo>
                    <a:pt x="2" y="72"/>
                  </a:lnTo>
                  <a:lnTo>
                    <a:pt x="3" y="73"/>
                  </a:lnTo>
                  <a:lnTo>
                    <a:pt x="3" y="80"/>
                  </a:lnTo>
                  <a:lnTo>
                    <a:pt x="4" y="84"/>
                  </a:lnTo>
                  <a:lnTo>
                    <a:pt x="7" y="87"/>
                  </a:lnTo>
                  <a:lnTo>
                    <a:pt x="8" y="87"/>
                  </a:lnTo>
                  <a:lnTo>
                    <a:pt x="9" y="87"/>
                  </a:lnTo>
                  <a:lnTo>
                    <a:pt x="11" y="86"/>
                  </a:lnTo>
                  <a:lnTo>
                    <a:pt x="12" y="85"/>
                  </a:lnTo>
                  <a:lnTo>
                    <a:pt x="13" y="80"/>
                  </a:lnTo>
                  <a:lnTo>
                    <a:pt x="14" y="79"/>
                  </a:lnTo>
                  <a:lnTo>
                    <a:pt x="16" y="78"/>
                  </a:lnTo>
                  <a:lnTo>
                    <a:pt x="18" y="77"/>
                  </a:lnTo>
                  <a:lnTo>
                    <a:pt x="21" y="77"/>
                  </a:lnTo>
                  <a:lnTo>
                    <a:pt x="23" y="77"/>
                  </a:lnTo>
                  <a:lnTo>
                    <a:pt x="25" y="79"/>
                  </a:lnTo>
                  <a:lnTo>
                    <a:pt x="26" y="81"/>
                  </a:lnTo>
                  <a:lnTo>
                    <a:pt x="25" y="83"/>
                  </a:lnTo>
                  <a:lnTo>
                    <a:pt x="22" y="86"/>
                  </a:lnTo>
                  <a:lnTo>
                    <a:pt x="19" y="90"/>
                  </a:lnTo>
                  <a:lnTo>
                    <a:pt x="18" y="98"/>
                  </a:lnTo>
                  <a:lnTo>
                    <a:pt x="16" y="100"/>
                  </a:lnTo>
                  <a:lnTo>
                    <a:pt x="13" y="102"/>
                  </a:lnTo>
                  <a:lnTo>
                    <a:pt x="9" y="103"/>
                  </a:lnTo>
                  <a:lnTo>
                    <a:pt x="8" y="104"/>
                  </a:lnTo>
                  <a:lnTo>
                    <a:pt x="8" y="105"/>
                  </a:lnTo>
                  <a:lnTo>
                    <a:pt x="11" y="111"/>
                  </a:lnTo>
                  <a:lnTo>
                    <a:pt x="14" y="117"/>
                  </a:lnTo>
                  <a:lnTo>
                    <a:pt x="18" y="119"/>
                  </a:lnTo>
                  <a:lnTo>
                    <a:pt x="21" y="121"/>
                  </a:lnTo>
                  <a:lnTo>
                    <a:pt x="25" y="121"/>
                  </a:lnTo>
                  <a:lnTo>
                    <a:pt x="27" y="119"/>
                  </a:lnTo>
                  <a:lnTo>
                    <a:pt x="28" y="118"/>
                  </a:lnTo>
                  <a:lnTo>
                    <a:pt x="28" y="117"/>
                  </a:lnTo>
                  <a:lnTo>
                    <a:pt x="30" y="115"/>
                  </a:lnTo>
                  <a:lnTo>
                    <a:pt x="31" y="112"/>
                  </a:lnTo>
                  <a:lnTo>
                    <a:pt x="35" y="112"/>
                  </a:lnTo>
                  <a:lnTo>
                    <a:pt x="36" y="112"/>
                  </a:lnTo>
                  <a:lnTo>
                    <a:pt x="40" y="118"/>
                  </a:lnTo>
                  <a:lnTo>
                    <a:pt x="45" y="118"/>
                  </a:lnTo>
                  <a:lnTo>
                    <a:pt x="49" y="117"/>
                  </a:lnTo>
                  <a:lnTo>
                    <a:pt x="54" y="113"/>
                  </a:lnTo>
                  <a:lnTo>
                    <a:pt x="59" y="109"/>
                  </a:lnTo>
                  <a:lnTo>
                    <a:pt x="63" y="106"/>
                  </a:lnTo>
                  <a:lnTo>
                    <a:pt x="65" y="104"/>
                  </a:lnTo>
                  <a:lnTo>
                    <a:pt x="60" y="97"/>
                  </a:lnTo>
                  <a:lnTo>
                    <a:pt x="56" y="86"/>
                  </a:lnTo>
                  <a:lnTo>
                    <a:pt x="55" y="80"/>
                  </a:lnTo>
                  <a:lnTo>
                    <a:pt x="58" y="74"/>
                  </a:lnTo>
                  <a:lnTo>
                    <a:pt x="60" y="70"/>
                  </a:lnTo>
                  <a:lnTo>
                    <a:pt x="65" y="66"/>
                  </a:lnTo>
                  <a:lnTo>
                    <a:pt x="75" y="60"/>
                  </a:lnTo>
                  <a:lnTo>
                    <a:pt x="80" y="57"/>
                  </a:lnTo>
                  <a:lnTo>
                    <a:pt x="84" y="52"/>
                  </a:lnTo>
                  <a:lnTo>
                    <a:pt x="88" y="46"/>
                  </a:lnTo>
                  <a:lnTo>
                    <a:pt x="92" y="41"/>
                  </a:lnTo>
                  <a:lnTo>
                    <a:pt x="96" y="36"/>
                  </a:lnTo>
                  <a:lnTo>
                    <a:pt x="98" y="29"/>
                  </a:lnTo>
                  <a:lnTo>
                    <a:pt x="101" y="26"/>
                  </a:lnTo>
                  <a:lnTo>
                    <a:pt x="103" y="25"/>
                  </a:lnTo>
                  <a:lnTo>
                    <a:pt x="108" y="23"/>
                  </a:lnTo>
                  <a:lnTo>
                    <a:pt x="111" y="23"/>
                  </a:lnTo>
                  <a:lnTo>
                    <a:pt x="112" y="21"/>
                  </a:lnTo>
                  <a:lnTo>
                    <a:pt x="112" y="17"/>
                  </a:lnTo>
                  <a:lnTo>
                    <a:pt x="111" y="15"/>
                  </a:lnTo>
                  <a:lnTo>
                    <a:pt x="110" y="12"/>
                  </a:lnTo>
                  <a:lnTo>
                    <a:pt x="111" y="9"/>
                  </a:lnTo>
                  <a:lnTo>
                    <a:pt x="110" y="4"/>
                  </a:lnTo>
                  <a:lnTo>
                    <a:pt x="106" y="1"/>
                  </a:lnTo>
                  <a:lnTo>
                    <a:pt x="102" y="0"/>
                  </a:lnTo>
                  <a:lnTo>
                    <a:pt x="101" y="0"/>
                  </a:lnTo>
                  <a:lnTo>
                    <a:pt x="98" y="1"/>
                  </a:lnTo>
                  <a:lnTo>
                    <a:pt x="92" y="7"/>
                  </a:lnTo>
                  <a:lnTo>
                    <a:pt x="89" y="10"/>
                  </a:lnTo>
                  <a:lnTo>
                    <a:pt x="84" y="13"/>
                  </a:lnTo>
                  <a:lnTo>
                    <a:pt x="83" y="15"/>
                  </a:lnTo>
                  <a:lnTo>
                    <a:pt x="80" y="17"/>
                  </a:lnTo>
                  <a:lnTo>
                    <a:pt x="79" y="20"/>
                  </a:lnTo>
                  <a:lnTo>
                    <a:pt x="78" y="22"/>
                  </a:lnTo>
                  <a:lnTo>
                    <a:pt x="68" y="28"/>
                  </a:lnTo>
                  <a:lnTo>
                    <a:pt x="58" y="34"/>
                  </a:lnTo>
                  <a:lnTo>
                    <a:pt x="56" y="35"/>
                  </a:lnTo>
                  <a:lnTo>
                    <a:pt x="54" y="34"/>
                  </a:lnTo>
                  <a:lnTo>
                    <a:pt x="51" y="30"/>
                  </a:lnTo>
                  <a:lnTo>
                    <a:pt x="46" y="29"/>
                  </a:lnTo>
                  <a:lnTo>
                    <a:pt x="41" y="29"/>
                  </a:lnTo>
                  <a:lnTo>
                    <a:pt x="37" y="30"/>
                  </a:lnTo>
                  <a:lnTo>
                    <a:pt x="35" y="32"/>
                  </a:lnTo>
                  <a:lnTo>
                    <a:pt x="33" y="33"/>
                  </a:lnTo>
                  <a:lnTo>
                    <a:pt x="32" y="38"/>
                  </a:lnTo>
                  <a:lnTo>
                    <a:pt x="32" y="44"/>
                  </a:lnTo>
                  <a:lnTo>
                    <a:pt x="31" y="48"/>
                  </a:lnTo>
                  <a:lnTo>
                    <a:pt x="22" y="52"/>
                  </a:lnTo>
                  <a:lnTo>
                    <a:pt x="19" y="54"/>
                  </a:lnTo>
                  <a:lnTo>
                    <a:pt x="16" y="57"/>
                  </a:lnTo>
                  <a:lnTo>
                    <a:pt x="9" y="65"/>
                  </a:lnTo>
                  <a:lnTo>
                    <a:pt x="5" y="68"/>
                  </a:lnTo>
                  <a:lnTo>
                    <a:pt x="0" y="7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09" name="Freeform 608"/>
            <p:cNvSpPr>
              <a:spLocks/>
            </p:cNvSpPr>
            <p:nvPr/>
          </p:nvSpPr>
          <p:spPr bwMode="auto">
            <a:xfrm>
              <a:off x="5764217" y="3579813"/>
              <a:ext cx="14287" cy="19050"/>
            </a:xfrm>
            <a:custGeom>
              <a:avLst/>
              <a:gdLst>
                <a:gd name="T0" fmla="*/ 2147483647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2147483647 w 9"/>
                <a:gd name="T11" fmla="*/ 2147483647 h 12"/>
                <a:gd name="T12" fmla="*/ 0 60000 65536"/>
                <a:gd name="T13" fmla="*/ 0 60000 65536"/>
                <a:gd name="T14" fmla="*/ 0 60000 65536"/>
                <a:gd name="T15" fmla="*/ 0 60000 65536"/>
                <a:gd name="T16" fmla="*/ 0 60000 65536"/>
                <a:gd name="T17" fmla="*/ 0 60000 65536"/>
                <a:gd name="T18" fmla="*/ 0 w 9"/>
                <a:gd name="T19" fmla="*/ 0 h 12"/>
                <a:gd name="T20" fmla="*/ 9 w 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9" h="12">
                  <a:moveTo>
                    <a:pt x="8" y="12"/>
                  </a:moveTo>
                  <a:lnTo>
                    <a:pt x="9" y="7"/>
                  </a:lnTo>
                  <a:lnTo>
                    <a:pt x="9" y="3"/>
                  </a:lnTo>
                  <a:lnTo>
                    <a:pt x="8" y="0"/>
                  </a:lnTo>
                  <a:lnTo>
                    <a:pt x="0" y="7"/>
                  </a:lnTo>
                  <a:lnTo>
                    <a:pt x="8"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0" name="Freeform 609"/>
            <p:cNvSpPr>
              <a:spLocks/>
            </p:cNvSpPr>
            <p:nvPr/>
          </p:nvSpPr>
          <p:spPr bwMode="auto">
            <a:xfrm>
              <a:off x="6867526" y="4197354"/>
              <a:ext cx="112713" cy="168275"/>
            </a:xfrm>
            <a:custGeom>
              <a:avLst/>
              <a:gdLst>
                <a:gd name="T0" fmla="*/ 0 w 76"/>
                <a:gd name="T1" fmla="*/ 2147483647 h 106"/>
                <a:gd name="T2" fmla="*/ 2147483647 w 76"/>
                <a:gd name="T3" fmla="*/ 2147483647 h 106"/>
                <a:gd name="T4" fmla="*/ 2147483647 w 76"/>
                <a:gd name="T5" fmla="*/ 2147483647 h 106"/>
                <a:gd name="T6" fmla="*/ 2147483647 w 76"/>
                <a:gd name="T7" fmla="*/ 2147483647 h 106"/>
                <a:gd name="T8" fmla="*/ 2147483647 w 76"/>
                <a:gd name="T9" fmla="*/ 2147483647 h 106"/>
                <a:gd name="T10" fmla="*/ 2147483647 w 76"/>
                <a:gd name="T11" fmla="*/ 2147483647 h 106"/>
                <a:gd name="T12" fmla="*/ 2147483647 w 76"/>
                <a:gd name="T13" fmla="*/ 2147483647 h 106"/>
                <a:gd name="T14" fmla="*/ 2147483647 w 76"/>
                <a:gd name="T15" fmla="*/ 2147483647 h 106"/>
                <a:gd name="T16" fmla="*/ 2147483647 w 76"/>
                <a:gd name="T17" fmla="*/ 2147483647 h 106"/>
                <a:gd name="T18" fmla="*/ 2147483647 w 76"/>
                <a:gd name="T19" fmla="*/ 2147483647 h 106"/>
                <a:gd name="T20" fmla="*/ 2147483647 w 76"/>
                <a:gd name="T21" fmla="*/ 2147483647 h 106"/>
                <a:gd name="T22" fmla="*/ 2147483647 w 76"/>
                <a:gd name="T23" fmla="*/ 2147483647 h 106"/>
                <a:gd name="T24" fmla="*/ 2147483647 w 76"/>
                <a:gd name="T25" fmla="*/ 2147483647 h 106"/>
                <a:gd name="T26" fmla="*/ 2147483647 w 76"/>
                <a:gd name="T27" fmla="*/ 2147483647 h 106"/>
                <a:gd name="T28" fmla="*/ 2147483647 w 76"/>
                <a:gd name="T29" fmla="*/ 2147483647 h 106"/>
                <a:gd name="T30" fmla="*/ 2147483647 w 76"/>
                <a:gd name="T31" fmla="*/ 2147483647 h 106"/>
                <a:gd name="T32" fmla="*/ 2147483647 w 76"/>
                <a:gd name="T33" fmla="*/ 2147483647 h 106"/>
                <a:gd name="T34" fmla="*/ 2147483647 w 76"/>
                <a:gd name="T35" fmla="*/ 2147483647 h 106"/>
                <a:gd name="T36" fmla="*/ 2147483647 w 76"/>
                <a:gd name="T37" fmla="*/ 2147483647 h 106"/>
                <a:gd name="T38" fmla="*/ 2147483647 w 76"/>
                <a:gd name="T39" fmla="*/ 2147483647 h 106"/>
                <a:gd name="T40" fmla="*/ 2147483647 w 76"/>
                <a:gd name="T41" fmla="*/ 2147483647 h 106"/>
                <a:gd name="T42" fmla="*/ 2147483647 w 76"/>
                <a:gd name="T43" fmla="*/ 2147483647 h 106"/>
                <a:gd name="T44" fmla="*/ 2147483647 w 76"/>
                <a:gd name="T45" fmla="*/ 2147483647 h 106"/>
                <a:gd name="T46" fmla="*/ 2147483647 w 76"/>
                <a:gd name="T47" fmla="*/ 2147483647 h 106"/>
                <a:gd name="T48" fmla="*/ 2147483647 w 76"/>
                <a:gd name="T49" fmla="*/ 2147483647 h 106"/>
                <a:gd name="T50" fmla="*/ 2147483647 w 76"/>
                <a:gd name="T51" fmla="*/ 2147483647 h 106"/>
                <a:gd name="T52" fmla="*/ 2147483647 w 76"/>
                <a:gd name="T53" fmla="*/ 2147483647 h 106"/>
                <a:gd name="T54" fmla="*/ 2147483647 w 76"/>
                <a:gd name="T55" fmla="*/ 2147483647 h 106"/>
                <a:gd name="T56" fmla="*/ 2147483647 w 76"/>
                <a:gd name="T57" fmla="*/ 2147483647 h 106"/>
                <a:gd name="T58" fmla="*/ 2147483647 w 76"/>
                <a:gd name="T59" fmla="*/ 2147483647 h 106"/>
                <a:gd name="T60" fmla="*/ 2147483647 w 76"/>
                <a:gd name="T61" fmla="*/ 2147483647 h 106"/>
                <a:gd name="T62" fmla="*/ 2147483647 w 76"/>
                <a:gd name="T63" fmla="*/ 2147483647 h 106"/>
                <a:gd name="T64" fmla="*/ 2147483647 w 76"/>
                <a:gd name="T65" fmla="*/ 2147483647 h 106"/>
                <a:gd name="T66" fmla="*/ 2147483647 w 76"/>
                <a:gd name="T67" fmla="*/ 2147483647 h 106"/>
                <a:gd name="T68" fmla="*/ 2147483647 w 76"/>
                <a:gd name="T69" fmla="*/ 2147483647 h 106"/>
                <a:gd name="T70" fmla="*/ 2147483647 w 76"/>
                <a:gd name="T71" fmla="*/ 2147483647 h 106"/>
                <a:gd name="T72" fmla="*/ 2147483647 w 76"/>
                <a:gd name="T73" fmla="*/ 2147483647 h 106"/>
                <a:gd name="T74" fmla="*/ 2147483647 w 76"/>
                <a:gd name="T75" fmla="*/ 2147483647 h 106"/>
                <a:gd name="T76" fmla="*/ 2147483647 w 76"/>
                <a:gd name="T77" fmla="*/ 2147483647 h 106"/>
                <a:gd name="T78" fmla="*/ 2147483647 w 76"/>
                <a:gd name="T79" fmla="*/ 2147483647 h 106"/>
                <a:gd name="T80" fmla="*/ 2147483647 w 76"/>
                <a:gd name="T81" fmla="*/ 2147483647 h 106"/>
                <a:gd name="T82" fmla="*/ 2147483647 w 76"/>
                <a:gd name="T83" fmla="*/ 2147483647 h 106"/>
                <a:gd name="T84" fmla="*/ 2147483647 w 76"/>
                <a:gd name="T85" fmla="*/ 2147483647 h 106"/>
                <a:gd name="T86" fmla="*/ 2147483647 w 76"/>
                <a:gd name="T87" fmla="*/ 2147483647 h 106"/>
                <a:gd name="T88" fmla="*/ 2147483647 w 76"/>
                <a:gd name="T89" fmla="*/ 2147483647 h 106"/>
                <a:gd name="T90" fmla="*/ 2147483647 w 76"/>
                <a:gd name="T91" fmla="*/ 2147483647 h 106"/>
                <a:gd name="T92" fmla="*/ 2147483647 w 76"/>
                <a:gd name="T93" fmla="*/ 2147483647 h 106"/>
                <a:gd name="T94" fmla="*/ 2147483647 w 76"/>
                <a:gd name="T95" fmla="*/ 2147483647 h 106"/>
                <a:gd name="T96" fmla="*/ 2147483647 w 76"/>
                <a:gd name="T97" fmla="*/ 2147483647 h 106"/>
                <a:gd name="T98" fmla="*/ 2147483647 w 76"/>
                <a:gd name="T99" fmla="*/ 2147483647 h 106"/>
                <a:gd name="T100" fmla="*/ 2147483647 w 76"/>
                <a:gd name="T101" fmla="*/ 2147483647 h 106"/>
                <a:gd name="T102" fmla="*/ 2147483647 w 76"/>
                <a:gd name="T103" fmla="*/ 2147483647 h 106"/>
                <a:gd name="T104" fmla="*/ 2147483647 w 76"/>
                <a:gd name="T105" fmla="*/ 2147483647 h 106"/>
                <a:gd name="T106" fmla="*/ 2147483647 w 76"/>
                <a:gd name="T107" fmla="*/ 2147483647 h 106"/>
                <a:gd name="T108" fmla="*/ 2147483647 w 76"/>
                <a:gd name="T109" fmla="*/ 2147483647 h 106"/>
                <a:gd name="T110" fmla="*/ 2147483647 w 76"/>
                <a:gd name="T111" fmla="*/ 2147483647 h 106"/>
                <a:gd name="T112" fmla="*/ 2147483647 w 76"/>
                <a:gd name="T113" fmla="*/ 2147483647 h 106"/>
                <a:gd name="T114" fmla="*/ 2147483647 w 76"/>
                <a:gd name="T115" fmla="*/ 0 h 106"/>
                <a:gd name="T116" fmla="*/ 0 w 76"/>
                <a:gd name="T117" fmla="*/ 2147483647 h 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6"/>
                <a:gd name="T178" fmla="*/ 0 h 106"/>
                <a:gd name="T179" fmla="*/ 76 w 76"/>
                <a:gd name="T180" fmla="*/ 106 h 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6" h="106">
                  <a:moveTo>
                    <a:pt x="0" y="1"/>
                  </a:moveTo>
                  <a:lnTo>
                    <a:pt x="5" y="10"/>
                  </a:lnTo>
                  <a:lnTo>
                    <a:pt x="9" y="20"/>
                  </a:lnTo>
                  <a:lnTo>
                    <a:pt x="10" y="31"/>
                  </a:lnTo>
                  <a:lnTo>
                    <a:pt x="8" y="41"/>
                  </a:lnTo>
                  <a:lnTo>
                    <a:pt x="8" y="44"/>
                  </a:lnTo>
                  <a:lnTo>
                    <a:pt x="9" y="46"/>
                  </a:lnTo>
                  <a:lnTo>
                    <a:pt x="15" y="56"/>
                  </a:lnTo>
                  <a:lnTo>
                    <a:pt x="16" y="61"/>
                  </a:lnTo>
                  <a:lnTo>
                    <a:pt x="18" y="66"/>
                  </a:lnTo>
                  <a:lnTo>
                    <a:pt x="18" y="70"/>
                  </a:lnTo>
                  <a:lnTo>
                    <a:pt x="20" y="72"/>
                  </a:lnTo>
                  <a:lnTo>
                    <a:pt x="24" y="73"/>
                  </a:lnTo>
                  <a:lnTo>
                    <a:pt x="25" y="76"/>
                  </a:lnTo>
                  <a:lnTo>
                    <a:pt x="25" y="79"/>
                  </a:lnTo>
                  <a:lnTo>
                    <a:pt x="27" y="80"/>
                  </a:lnTo>
                  <a:lnTo>
                    <a:pt x="27" y="82"/>
                  </a:lnTo>
                  <a:lnTo>
                    <a:pt x="30" y="84"/>
                  </a:lnTo>
                  <a:lnTo>
                    <a:pt x="34" y="85"/>
                  </a:lnTo>
                  <a:lnTo>
                    <a:pt x="39" y="86"/>
                  </a:lnTo>
                  <a:lnTo>
                    <a:pt x="42" y="89"/>
                  </a:lnTo>
                  <a:lnTo>
                    <a:pt x="46" y="95"/>
                  </a:lnTo>
                  <a:lnTo>
                    <a:pt x="51" y="99"/>
                  </a:lnTo>
                  <a:lnTo>
                    <a:pt x="56" y="103"/>
                  </a:lnTo>
                  <a:lnTo>
                    <a:pt x="58" y="104"/>
                  </a:lnTo>
                  <a:lnTo>
                    <a:pt x="62" y="105"/>
                  </a:lnTo>
                  <a:lnTo>
                    <a:pt x="66" y="106"/>
                  </a:lnTo>
                  <a:lnTo>
                    <a:pt x="69" y="106"/>
                  </a:lnTo>
                  <a:lnTo>
                    <a:pt x="70" y="106"/>
                  </a:lnTo>
                  <a:lnTo>
                    <a:pt x="74" y="103"/>
                  </a:lnTo>
                  <a:lnTo>
                    <a:pt x="76" y="99"/>
                  </a:lnTo>
                  <a:lnTo>
                    <a:pt x="75" y="97"/>
                  </a:lnTo>
                  <a:lnTo>
                    <a:pt x="75" y="96"/>
                  </a:lnTo>
                  <a:lnTo>
                    <a:pt x="66" y="85"/>
                  </a:lnTo>
                  <a:lnTo>
                    <a:pt x="60" y="74"/>
                  </a:lnTo>
                  <a:lnTo>
                    <a:pt x="57" y="69"/>
                  </a:lnTo>
                  <a:lnTo>
                    <a:pt x="56" y="63"/>
                  </a:lnTo>
                  <a:lnTo>
                    <a:pt x="55" y="56"/>
                  </a:lnTo>
                  <a:lnTo>
                    <a:pt x="56" y="48"/>
                  </a:lnTo>
                  <a:lnTo>
                    <a:pt x="57" y="44"/>
                  </a:lnTo>
                  <a:lnTo>
                    <a:pt x="56" y="38"/>
                  </a:lnTo>
                  <a:lnTo>
                    <a:pt x="53" y="32"/>
                  </a:lnTo>
                  <a:lnTo>
                    <a:pt x="50" y="26"/>
                  </a:lnTo>
                  <a:lnTo>
                    <a:pt x="47" y="25"/>
                  </a:lnTo>
                  <a:lnTo>
                    <a:pt x="44" y="22"/>
                  </a:lnTo>
                  <a:lnTo>
                    <a:pt x="42" y="21"/>
                  </a:lnTo>
                  <a:lnTo>
                    <a:pt x="39" y="19"/>
                  </a:lnTo>
                  <a:lnTo>
                    <a:pt x="38" y="15"/>
                  </a:lnTo>
                  <a:lnTo>
                    <a:pt x="37" y="13"/>
                  </a:lnTo>
                  <a:lnTo>
                    <a:pt x="30" y="13"/>
                  </a:lnTo>
                  <a:lnTo>
                    <a:pt x="23" y="13"/>
                  </a:lnTo>
                  <a:lnTo>
                    <a:pt x="19" y="12"/>
                  </a:lnTo>
                  <a:lnTo>
                    <a:pt x="16" y="9"/>
                  </a:lnTo>
                  <a:lnTo>
                    <a:pt x="14" y="7"/>
                  </a:lnTo>
                  <a:lnTo>
                    <a:pt x="13" y="3"/>
                  </a:lnTo>
                  <a:lnTo>
                    <a:pt x="10" y="1"/>
                  </a:lnTo>
                  <a:lnTo>
                    <a:pt x="8" y="1"/>
                  </a:lnTo>
                  <a:lnTo>
                    <a:pt x="4" y="0"/>
                  </a:lnTo>
                  <a:lnTo>
                    <a:pt x="0"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1" name="Freeform 610"/>
            <p:cNvSpPr>
              <a:spLocks/>
            </p:cNvSpPr>
            <p:nvPr/>
          </p:nvSpPr>
          <p:spPr bwMode="auto">
            <a:xfrm>
              <a:off x="5762626" y="3578229"/>
              <a:ext cx="14288" cy="19050"/>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0 h 12"/>
                <a:gd name="T12" fmla="*/ 2147483647 w 9"/>
                <a:gd name="T13" fmla="*/ 0 h 12"/>
                <a:gd name="T14" fmla="*/ 0 w 9"/>
                <a:gd name="T15" fmla="*/ 2147483647 h 12"/>
                <a:gd name="T16" fmla="*/ 0 w 9"/>
                <a:gd name="T17" fmla="*/ 2147483647 h 12"/>
                <a:gd name="T18" fmla="*/ 2147483647 w 9"/>
                <a:gd name="T19" fmla="*/ 2147483647 h 12"/>
                <a:gd name="T20" fmla="*/ 2147483647 w 9"/>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7" y="12"/>
                  </a:moveTo>
                  <a:lnTo>
                    <a:pt x="7" y="12"/>
                  </a:lnTo>
                  <a:lnTo>
                    <a:pt x="9" y="7"/>
                  </a:lnTo>
                  <a:lnTo>
                    <a:pt x="9" y="3"/>
                  </a:lnTo>
                  <a:lnTo>
                    <a:pt x="7" y="0"/>
                  </a:lnTo>
                  <a:lnTo>
                    <a:pt x="0" y="7"/>
                  </a:lnTo>
                  <a:lnTo>
                    <a:pt x="7"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2" name="Freeform 611"/>
            <p:cNvSpPr>
              <a:spLocks/>
            </p:cNvSpPr>
            <p:nvPr/>
          </p:nvSpPr>
          <p:spPr bwMode="auto">
            <a:xfrm>
              <a:off x="6867528" y="4195765"/>
              <a:ext cx="111125" cy="168275"/>
            </a:xfrm>
            <a:custGeom>
              <a:avLst/>
              <a:gdLst>
                <a:gd name="T0" fmla="*/ 0 w 76"/>
                <a:gd name="T1" fmla="*/ 2147483647 h 106"/>
                <a:gd name="T2" fmla="*/ 2147483647 w 76"/>
                <a:gd name="T3" fmla="*/ 2147483647 h 106"/>
                <a:gd name="T4" fmla="*/ 2147483647 w 76"/>
                <a:gd name="T5" fmla="*/ 2147483647 h 106"/>
                <a:gd name="T6" fmla="*/ 2147483647 w 76"/>
                <a:gd name="T7" fmla="*/ 2147483647 h 106"/>
                <a:gd name="T8" fmla="*/ 2147483647 w 76"/>
                <a:gd name="T9" fmla="*/ 2147483647 h 106"/>
                <a:gd name="T10" fmla="*/ 2147483647 w 76"/>
                <a:gd name="T11" fmla="*/ 2147483647 h 106"/>
                <a:gd name="T12" fmla="*/ 2147483647 w 76"/>
                <a:gd name="T13" fmla="*/ 2147483647 h 106"/>
                <a:gd name="T14" fmla="*/ 2147483647 w 76"/>
                <a:gd name="T15" fmla="*/ 2147483647 h 106"/>
                <a:gd name="T16" fmla="*/ 2147483647 w 76"/>
                <a:gd name="T17" fmla="*/ 2147483647 h 106"/>
                <a:gd name="T18" fmla="*/ 2147483647 w 76"/>
                <a:gd name="T19" fmla="*/ 2147483647 h 106"/>
                <a:gd name="T20" fmla="*/ 2147483647 w 76"/>
                <a:gd name="T21" fmla="*/ 2147483647 h 106"/>
                <a:gd name="T22" fmla="*/ 2147483647 w 76"/>
                <a:gd name="T23" fmla="*/ 2147483647 h 106"/>
                <a:gd name="T24" fmla="*/ 2147483647 w 76"/>
                <a:gd name="T25" fmla="*/ 2147483647 h 106"/>
                <a:gd name="T26" fmla="*/ 2147483647 w 76"/>
                <a:gd name="T27" fmla="*/ 2147483647 h 106"/>
                <a:gd name="T28" fmla="*/ 2147483647 w 76"/>
                <a:gd name="T29" fmla="*/ 2147483647 h 106"/>
                <a:gd name="T30" fmla="*/ 2147483647 w 76"/>
                <a:gd name="T31" fmla="*/ 2147483647 h 106"/>
                <a:gd name="T32" fmla="*/ 2147483647 w 76"/>
                <a:gd name="T33" fmla="*/ 2147483647 h 106"/>
                <a:gd name="T34" fmla="*/ 2147483647 w 76"/>
                <a:gd name="T35" fmla="*/ 2147483647 h 106"/>
                <a:gd name="T36" fmla="*/ 2147483647 w 76"/>
                <a:gd name="T37" fmla="*/ 2147483647 h 106"/>
                <a:gd name="T38" fmla="*/ 2147483647 w 76"/>
                <a:gd name="T39" fmla="*/ 2147483647 h 106"/>
                <a:gd name="T40" fmla="*/ 2147483647 w 76"/>
                <a:gd name="T41" fmla="*/ 2147483647 h 106"/>
                <a:gd name="T42" fmla="*/ 2147483647 w 76"/>
                <a:gd name="T43" fmla="*/ 2147483647 h 106"/>
                <a:gd name="T44" fmla="*/ 2147483647 w 76"/>
                <a:gd name="T45" fmla="*/ 2147483647 h 106"/>
                <a:gd name="T46" fmla="*/ 2147483647 w 76"/>
                <a:gd name="T47" fmla="*/ 2147483647 h 106"/>
                <a:gd name="T48" fmla="*/ 2147483647 w 76"/>
                <a:gd name="T49" fmla="*/ 2147483647 h 106"/>
                <a:gd name="T50" fmla="*/ 2147483647 w 76"/>
                <a:gd name="T51" fmla="*/ 2147483647 h 106"/>
                <a:gd name="T52" fmla="*/ 2147483647 w 76"/>
                <a:gd name="T53" fmla="*/ 2147483647 h 106"/>
                <a:gd name="T54" fmla="*/ 2147483647 w 76"/>
                <a:gd name="T55" fmla="*/ 2147483647 h 106"/>
                <a:gd name="T56" fmla="*/ 2147483647 w 76"/>
                <a:gd name="T57" fmla="*/ 2147483647 h 106"/>
                <a:gd name="T58" fmla="*/ 2147483647 w 76"/>
                <a:gd name="T59" fmla="*/ 2147483647 h 106"/>
                <a:gd name="T60" fmla="*/ 2147483647 w 76"/>
                <a:gd name="T61" fmla="*/ 2147483647 h 106"/>
                <a:gd name="T62" fmla="*/ 2147483647 w 76"/>
                <a:gd name="T63" fmla="*/ 2147483647 h 106"/>
                <a:gd name="T64" fmla="*/ 2147483647 w 76"/>
                <a:gd name="T65" fmla="*/ 2147483647 h 106"/>
                <a:gd name="T66" fmla="*/ 2147483647 w 76"/>
                <a:gd name="T67" fmla="*/ 2147483647 h 106"/>
                <a:gd name="T68" fmla="*/ 2147483647 w 76"/>
                <a:gd name="T69" fmla="*/ 2147483647 h 106"/>
                <a:gd name="T70" fmla="*/ 2147483647 w 76"/>
                <a:gd name="T71" fmla="*/ 2147483647 h 106"/>
                <a:gd name="T72" fmla="*/ 0 w 76"/>
                <a:gd name="T73" fmla="*/ 2147483647 h 10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
                <a:gd name="T112" fmla="*/ 0 h 106"/>
                <a:gd name="T113" fmla="*/ 76 w 76"/>
                <a:gd name="T114" fmla="*/ 106 h 10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 h="106">
                  <a:moveTo>
                    <a:pt x="0" y="1"/>
                  </a:moveTo>
                  <a:lnTo>
                    <a:pt x="0" y="1"/>
                  </a:lnTo>
                  <a:lnTo>
                    <a:pt x="5" y="10"/>
                  </a:lnTo>
                  <a:lnTo>
                    <a:pt x="9" y="20"/>
                  </a:lnTo>
                  <a:lnTo>
                    <a:pt x="10" y="30"/>
                  </a:lnTo>
                  <a:lnTo>
                    <a:pt x="7" y="41"/>
                  </a:lnTo>
                  <a:lnTo>
                    <a:pt x="7" y="43"/>
                  </a:lnTo>
                  <a:lnTo>
                    <a:pt x="9" y="46"/>
                  </a:lnTo>
                  <a:lnTo>
                    <a:pt x="15" y="55"/>
                  </a:lnTo>
                  <a:lnTo>
                    <a:pt x="16" y="61"/>
                  </a:lnTo>
                  <a:lnTo>
                    <a:pt x="17" y="66"/>
                  </a:lnTo>
                  <a:lnTo>
                    <a:pt x="17" y="70"/>
                  </a:lnTo>
                  <a:lnTo>
                    <a:pt x="20" y="72"/>
                  </a:lnTo>
                  <a:lnTo>
                    <a:pt x="24" y="73"/>
                  </a:lnTo>
                  <a:lnTo>
                    <a:pt x="25" y="75"/>
                  </a:lnTo>
                  <a:lnTo>
                    <a:pt x="25" y="79"/>
                  </a:lnTo>
                  <a:lnTo>
                    <a:pt x="26" y="80"/>
                  </a:lnTo>
                  <a:lnTo>
                    <a:pt x="26" y="81"/>
                  </a:lnTo>
                  <a:lnTo>
                    <a:pt x="30" y="84"/>
                  </a:lnTo>
                  <a:lnTo>
                    <a:pt x="34" y="85"/>
                  </a:lnTo>
                  <a:lnTo>
                    <a:pt x="39" y="86"/>
                  </a:lnTo>
                  <a:lnTo>
                    <a:pt x="42" y="89"/>
                  </a:lnTo>
                  <a:lnTo>
                    <a:pt x="45" y="94"/>
                  </a:lnTo>
                  <a:lnTo>
                    <a:pt x="51" y="99"/>
                  </a:lnTo>
                  <a:lnTo>
                    <a:pt x="56" y="103"/>
                  </a:lnTo>
                  <a:lnTo>
                    <a:pt x="58" y="104"/>
                  </a:lnTo>
                  <a:lnTo>
                    <a:pt x="62" y="105"/>
                  </a:lnTo>
                  <a:lnTo>
                    <a:pt x="66" y="106"/>
                  </a:lnTo>
                  <a:lnTo>
                    <a:pt x="68" y="106"/>
                  </a:lnTo>
                  <a:lnTo>
                    <a:pt x="70" y="106"/>
                  </a:lnTo>
                  <a:lnTo>
                    <a:pt x="73" y="103"/>
                  </a:lnTo>
                  <a:lnTo>
                    <a:pt x="76" y="99"/>
                  </a:lnTo>
                  <a:lnTo>
                    <a:pt x="75" y="97"/>
                  </a:lnTo>
                  <a:lnTo>
                    <a:pt x="75" y="96"/>
                  </a:lnTo>
                  <a:lnTo>
                    <a:pt x="66" y="85"/>
                  </a:lnTo>
                  <a:lnTo>
                    <a:pt x="59" y="74"/>
                  </a:lnTo>
                  <a:lnTo>
                    <a:pt x="57" y="68"/>
                  </a:lnTo>
                  <a:lnTo>
                    <a:pt x="56" y="62"/>
                  </a:lnTo>
                  <a:lnTo>
                    <a:pt x="54" y="55"/>
                  </a:lnTo>
                  <a:lnTo>
                    <a:pt x="56" y="48"/>
                  </a:lnTo>
                  <a:lnTo>
                    <a:pt x="57" y="43"/>
                  </a:lnTo>
                  <a:lnTo>
                    <a:pt x="56" y="38"/>
                  </a:lnTo>
                  <a:lnTo>
                    <a:pt x="53" y="32"/>
                  </a:lnTo>
                  <a:lnTo>
                    <a:pt x="49" y="26"/>
                  </a:lnTo>
                  <a:lnTo>
                    <a:pt x="47" y="25"/>
                  </a:lnTo>
                  <a:lnTo>
                    <a:pt x="44" y="22"/>
                  </a:lnTo>
                  <a:lnTo>
                    <a:pt x="42" y="21"/>
                  </a:lnTo>
                  <a:lnTo>
                    <a:pt x="39" y="19"/>
                  </a:lnTo>
                  <a:lnTo>
                    <a:pt x="38" y="15"/>
                  </a:lnTo>
                  <a:lnTo>
                    <a:pt x="37" y="13"/>
                  </a:lnTo>
                  <a:lnTo>
                    <a:pt x="30" y="13"/>
                  </a:lnTo>
                  <a:lnTo>
                    <a:pt x="23" y="13"/>
                  </a:lnTo>
                  <a:lnTo>
                    <a:pt x="19" y="11"/>
                  </a:lnTo>
                  <a:lnTo>
                    <a:pt x="16" y="9"/>
                  </a:lnTo>
                  <a:lnTo>
                    <a:pt x="14" y="7"/>
                  </a:lnTo>
                  <a:lnTo>
                    <a:pt x="12" y="3"/>
                  </a:lnTo>
                  <a:lnTo>
                    <a:pt x="10" y="1"/>
                  </a:lnTo>
                  <a:lnTo>
                    <a:pt x="7" y="1"/>
                  </a:lnTo>
                  <a:lnTo>
                    <a:pt x="4" y="0"/>
                  </a:lnTo>
                  <a:lnTo>
                    <a:pt x="0"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3" name="Freeform 612"/>
            <p:cNvSpPr>
              <a:spLocks/>
            </p:cNvSpPr>
            <p:nvPr/>
          </p:nvSpPr>
          <p:spPr bwMode="auto">
            <a:xfrm>
              <a:off x="6569075" y="2659067"/>
              <a:ext cx="782638" cy="384175"/>
            </a:xfrm>
            <a:custGeom>
              <a:avLst/>
              <a:gdLst>
                <a:gd name="T0" fmla="*/ 2147483647 w 534"/>
                <a:gd name="T1" fmla="*/ 2147483647 h 242"/>
                <a:gd name="T2" fmla="*/ 2147483647 w 534"/>
                <a:gd name="T3" fmla="*/ 2147483647 h 242"/>
                <a:gd name="T4" fmla="*/ 2147483647 w 534"/>
                <a:gd name="T5" fmla="*/ 2147483647 h 242"/>
                <a:gd name="T6" fmla="*/ 2147483647 w 534"/>
                <a:gd name="T7" fmla="*/ 2147483647 h 242"/>
                <a:gd name="T8" fmla="*/ 2147483647 w 534"/>
                <a:gd name="T9" fmla="*/ 2147483647 h 242"/>
                <a:gd name="T10" fmla="*/ 2147483647 w 534"/>
                <a:gd name="T11" fmla="*/ 2147483647 h 242"/>
                <a:gd name="T12" fmla="*/ 2147483647 w 534"/>
                <a:gd name="T13" fmla="*/ 2147483647 h 242"/>
                <a:gd name="T14" fmla="*/ 2147483647 w 534"/>
                <a:gd name="T15" fmla="*/ 2147483647 h 242"/>
                <a:gd name="T16" fmla="*/ 2147483647 w 534"/>
                <a:gd name="T17" fmla="*/ 2147483647 h 242"/>
                <a:gd name="T18" fmla="*/ 2147483647 w 534"/>
                <a:gd name="T19" fmla="*/ 2147483647 h 242"/>
                <a:gd name="T20" fmla="*/ 2147483647 w 534"/>
                <a:gd name="T21" fmla="*/ 2147483647 h 242"/>
                <a:gd name="T22" fmla="*/ 2147483647 w 534"/>
                <a:gd name="T23" fmla="*/ 2147483647 h 242"/>
                <a:gd name="T24" fmla="*/ 2147483647 w 534"/>
                <a:gd name="T25" fmla="*/ 2147483647 h 242"/>
                <a:gd name="T26" fmla="*/ 2147483647 w 534"/>
                <a:gd name="T27" fmla="*/ 2147483647 h 242"/>
                <a:gd name="T28" fmla="*/ 2147483647 w 534"/>
                <a:gd name="T29" fmla="*/ 2147483647 h 242"/>
                <a:gd name="T30" fmla="*/ 2147483647 w 534"/>
                <a:gd name="T31" fmla="*/ 2147483647 h 242"/>
                <a:gd name="T32" fmla="*/ 2147483647 w 534"/>
                <a:gd name="T33" fmla="*/ 2147483647 h 242"/>
                <a:gd name="T34" fmla="*/ 2147483647 w 534"/>
                <a:gd name="T35" fmla="*/ 2147483647 h 242"/>
                <a:gd name="T36" fmla="*/ 2147483647 w 534"/>
                <a:gd name="T37" fmla="*/ 2147483647 h 242"/>
                <a:gd name="T38" fmla="*/ 2147483647 w 534"/>
                <a:gd name="T39" fmla="*/ 2147483647 h 242"/>
                <a:gd name="T40" fmla="*/ 2147483647 w 534"/>
                <a:gd name="T41" fmla="*/ 2147483647 h 242"/>
                <a:gd name="T42" fmla="*/ 2147483647 w 534"/>
                <a:gd name="T43" fmla="*/ 2147483647 h 242"/>
                <a:gd name="T44" fmla="*/ 2147483647 w 534"/>
                <a:gd name="T45" fmla="*/ 2147483647 h 242"/>
                <a:gd name="T46" fmla="*/ 2147483647 w 534"/>
                <a:gd name="T47" fmla="*/ 2147483647 h 242"/>
                <a:gd name="T48" fmla="*/ 2147483647 w 534"/>
                <a:gd name="T49" fmla="*/ 2147483647 h 242"/>
                <a:gd name="T50" fmla="*/ 2147483647 w 534"/>
                <a:gd name="T51" fmla="*/ 2147483647 h 242"/>
                <a:gd name="T52" fmla="*/ 2147483647 w 534"/>
                <a:gd name="T53" fmla="*/ 2147483647 h 242"/>
                <a:gd name="T54" fmla="*/ 2147483647 w 534"/>
                <a:gd name="T55" fmla="*/ 2147483647 h 242"/>
                <a:gd name="T56" fmla="*/ 2147483647 w 534"/>
                <a:gd name="T57" fmla="*/ 2147483647 h 242"/>
                <a:gd name="T58" fmla="*/ 2147483647 w 534"/>
                <a:gd name="T59" fmla="*/ 2147483647 h 242"/>
                <a:gd name="T60" fmla="*/ 2147483647 w 534"/>
                <a:gd name="T61" fmla="*/ 2147483647 h 242"/>
                <a:gd name="T62" fmla="*/ 2147483647 w 534"/>
                <a:gd name="T63" fmla="*/ 2147483647 h 242"/>
                <a:gd name="T64" fmla="*/ 2147483647 w 534"/>
                <a:gd name="T65" fmla="*/ 2147483647 h 242"/>
                <a:gd name="T66" fmla="*/ 2147483647 w 534"/>
                <a:gd name="T67" fmla="*/ 2147483647 h 242"/>
                <a:gd name="T68" fmla="*/ 0 w 534"/>
                <a:gd name="T69" fmla="*/ 2147483647 h 242"/>
                <a:gd name="T70" fmla="*/ 2147483647 w 534"/>
                <a:gd name="T71" fmla="*/ 2147483647 h 242"/>
                <a:gd name="T72" fmla="*/ 2147483647 w 534"/>
                <a:gd name="T73" fmla="*/ 2147483647 h 242"/>
                <a:gd name="T74" fmla="*/ 2147483647 w 534"/>
                <a:gd name="T75" fmla="*/ 2147483647 h 242"/>
                <a:gd name="T76" fmla="*/ 2147483647 w 534"/>
                <a:gd name="T77" fmla="*/ 2147483647 h 242"/>
                <a:gd name="T78" fmla="*/ 2147483647 w 534"/>
                <a:gd name="T79" fmla="*/ 2147483647 h 242"/>
                <a:gd name="T80" fmla="*/ 2147483647 w 534"/>
                <a:gd name="T81" fmla="*/ 2147483647 h 242"/>
                <a:gd name="T82" fmla="*/ 2147483647 w 534"/>
                <a:gd name="T83" fmla="*/ 2147483647 h 242"/>
                <a:gd name="T84" fmla="*/ 2147483647 w 534"/>
                <a:gd name="T85" fmla="*/ 2147483647 h 242"/>
                <a:gd name="T86" fmla="*/ 2147483647 w 534"/>
                <a:gd name="T87" fmla="*/ 2147483647 h 242"/>
                <a:gd name="T88" fmla="*/ 2147483647 w 534"/>
                <a:gd name="T89" fmla="*/ 2147483647 h 242"/>
                <a:gd name="T90" fmla="*/ 2147483647 w 534"/>
                <a:gd name="T91" fmla="*/ 2147483647 h 242"/>
                <a:gd name="T92" fmla="*/ 2147483647 w 534"/>
                <a:gd name="T93" fmla="*/ 2147483647 h 242"/>
                <a:gd name="T94" fmla="*/ 2147483647 w 534"/>
                <a:gd name="T95" fmla="*/ 2147483647 h 242"/>
                <a:gd name="T96" fmla="*/ 2147483647 w 534"/>
                <a:gd name="T97" fmla="*/ 0 h 242"/>
                <a:gd name="T98" fmla="*/ 2147483647 w 534"/>
                <a:gd name="T99" fmla="*/ 2147483647 h 242"/>
                <a:gd name="T100" fmla="*/ 2147483647 w 534"/>
                <a:gd name="T101" fmla="*/ 2147483647 h 242"/>
                <a:gd name="T102" fmla="*/ 2147483647 w 534"/>
                <a:gd name="T103" fmla="*/ 2147483647 h 242"/>
                <a:gd name="T104" fmla="*/ 2147483647 w 534"/>
                <a:gd name="T105" fmla="*/ 2147483647 h 242"/>
                <a:gd name="T106" fmla="*/ 2147483647 w 534"/>
                <a:gd name="T107" fmla="*/ 2147483647 h 242"/>
                <a:gd name="T108" fmla="*/ 2147483647 w 534"/>
                <a:gd name="T109" fmla="*/ 2147483647 h 242"/>
                <a:gd name="T110" fmla="*/ 2147483647 w 534"/>
                <a:gd name="T111" fmla="*/ 2147483647 h 242"/>
                <a:gd name="T112" fmla="*/ 2147483647 w 534"/>
                <a:gd name="T113" fmla="*/ 2147483647 h 242"/>
                <a:gd name="T114" fmla="*/ 2147483647 w 534"/>
                <a:gd name="T115" fmla="*/ 2147483647 h 242"/>
                <a:gd name="T116" fmla="*/ 2147483647 w 534"/>
                <a:gd name="T117" fmla="*/ 2147483647 h 242"/>
                <a:gd name="T118" fmla="*/ 2147483647 w 534"/>
                <a:gd name="T119" fmla="*/ 2147483647 h 242"/>
                <a:gd name="T120" fmla="*/ 2147483647 w 534"/>
                <a:gd name="T121" fmla="*/ 2147483647 h 242"/>
                <a:gd name="T122" fmla="*/ 2147483647 w 534"/>
                <a:gd name="T123" fmla="*/ 2147483647 h 242"/>
                <a:gd name="T124" fmla="*/ 2147483647 w 534"/>
                <a:gd name="T125" fmla="*/ 2147483647 h 2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4"/>
                <a:gd name="T190" fmla="*/ 0 h 242"/>
                <a:gd name="T191" fmla="*/ 534 w 534"/>
                <a:gd name="T192" fmla="*/ 242 h 2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4" h="242">
                  <a:moveTo>
                    <a:pt x="481" y="49"/>
                  </a:moveTo>
                  <a:lnTo>
                    <a:pt x="474" y="55"/>
                  </a:lnTo>
                  <a:lnTo>
                    <a:pt x="473" y="58"/>
                  </a:lnTo>
                  <a:lnTo>
                    <a:pt x="473" y="62"/>
                  </a:lnTo>
                  <a:lnTo>
                    <a:pt x="476" y="64"/>
                  </a:lnTo>
                  <a:lnTo>
                    <a:pt x="477" y="65"/>
                  </a:lnTo>
                  <a:lnTo>
                    <a:pt x="477" y="67"/>
                  </a:lnTo>
                  <a:lnTo>
                    <a:pt x="474" y="73"/>
                  </a:lnTo>
                  <a:lnTo>
                    <a:pt x="471" y="76"/>
                  </a:lnTo>
                  <a:lnTo>
                    <a:pt x="468" y="82"/>
                  </a:lnTo>
                  <a:lnTo>
                    <a:pt x="468" y="84"/>
                  </a:lnTo>
                  <a:lnTo>
                    <a:pt x="469" y="88"/>
                  </a:lnTo>
                  <a:lnTo>
                    <a:pt x="472" y="93"/>
                  </a:lnTo>
                  <a:lnTo>
                    <a:pt x="474" y="94"/>
                  </a:lnTo>
                  <a:lnTo>
                    <a:pt x="478" y="95"/>
                  </a:lnTo>
                  <a:lnTo>
                    <a:pt x="482" y="96"/>
                  </a:lnTo>
                  <a:lnTo>
                    <a:pt x="487" y="96"/>
                  </a:lnTo>
                  <a:lnTo>
                    <a:pt x="497" y="95"/>
                  </a:lnTo>
                  <a:lnTo>
                    <a:pt x="507" y="95"/>
                  </a:lnTo>
                  <a:lnTo>
                    <a:pt x="513" y="95"/>
                  </a:lnTo>
                  <a:lnTo>
                    <a:pt x="516" y="96"/>
                  </a:lnTo>
                  <a:lnTo>
                    <a:pt x="524" y="100"/>
                  </a:lnTo>
                  <a:lnTo>
                    <a:pt x="530" y="106"/>
                  </a:lnTo>
                  <a:lnTo>
                    <a:pt x="533" y="109"/>
                  </a:lnTo>
                  <a:lnTo>
                    <a:pt x="534" y="113"/>
                  </a:lnTo>
                  <a:lnTo>
                    <a:pt x="534" y="116"/>
                  </a:lnTo>
                  <a:lnTo>
                    <a:pt x="534" y="120"/>
                  </a:lnTo>
                  <a:lnTo>
                    <a:pt x="532" y="122"/>
                  </a:lnTo>
                  <a:lnTo>
                    <a:pt x="527" y="125"/>
                  </a:lnTo>
                  <a:lnTo>
                    <a:pt x="516" y="127"/>
                  </a:lnTo>
                  <a:lnTo>
                    <a:pt x="509" y="127"/>
                  </a:lnTo>
                  <a:lnTo>
                    <a:pt x="500" y="128"/>
                  </a:lnTo>
                  <a:lnTo>
                    <a:pt x="496" y="128"/>
                  </a:lnTo>
                  <a:lnTo>
                    <a:pt x="494" y="131"/>
                  </a:lnTo>
                  <a:lnTo>
                    <a:pt x="490" y="133"/>
                  </a:lnTo>
                  <a:lnTo>
                    <a:pt x="486" y="137"/>
                  </a:lnTo>
                  <a:lnTo>
                    <a:pt x="485" y="138"/>
                  </a:lnTo>
                  <a:lnTo>
                    <a:pt x="483" y="138"/>
                  </a:lnTo>
                  <a:lnTo>
                    <a:pt x="480" y="138"/>
                  </a:lnTo>
                  <a:lnTo>
                    <a:pt x="472" y="134"/>
                  </a:lnTo>
                  <a:lnTo>
                    <a:pt x="471" y="134"/>
                  </a:lnTo>
                  <a:lnTo>
                    <a:pt x="469" y="137"/>
                  </a:lnTo>
                  <a:lnTo>
                    <a:pt x="467" y="140"/>
                  </a:lnTo>
                  <a:lnTo>
                    <a:pt x="464" y="145"/>
                  </a:lnTo>
                  <a:lnTo>
                    <a:pt x="463" y="150"/>
                  </a:lnTo>
                  <a:lnTo>
                    <a:pt x="462" y="152"/>
                  </a:lnTo>
                  <a:lnTo>
                    <a:pt x="460" y="152"/>
                  </a:lnTo>
                  <a:lnTo>
                    <a:pt x="447" y="155"/>
                  </a:lnTo>
                  <a:lnTo>
                    <a:pt x="443" y="155"/>
                  </a:lnTo>
                  <a:lnTo>
                    <a:pt x="427" y="167"/>
                  </a:lnTo>
                  <a:lnTo>
                    <a:pt x="424" y="170"/>
                  </a:lnTo>
                  <a:lnTo>
                    <a:pt x="420" y="171"/>
                  </a:lnTo>
                  <a:lnTo>
                    <a:pt x="416" y="171"/>
                  </a:lnTo>
                  <a:lnTo>
                    <a:pt x="411" y="170"/>
                  </a:lnTo>
                  <a:lnTo>
                    <a:pt x="403" y="166"/>
                  </a:lnTo>
                  <a:lnTo>
                    <a:pt x="394" y="164"/>
                  </a:lnTo>
                  <a:lnTo>
                    <a:pt x="391" y="163"/>
                  </a:lnTo>
                  <a:lnTo>
                    <a:pt x="388" y="164"/>
                  </a:lnTo>
                  <a:lnTo>
                    <a:pt x="384" y="166"/>
                  </a:lnTo>
                  <a:lnTo>
                    <a:pt x="382" y="170"/>
                  </a:lnTo>
                  <a:lnTo>
                    <a:pt x="379" y="177"/>
                  </a:lnTo>
                  <a:lnTo>
                    <a:pt x="378" y="180"/>
                  </a:lnTo>
                  <a:lnTo>
                    <a:pt x="378" y="184"/>
                  </a:lnTo>
                  <a:lnTo>
                    <a:pt x="379" y="188"/>
                  </a:lnTo>
                  <a:lnTo>
                    <a:pt x="383" y="190"/>
                  </a:lnTo>
                  <a:lnTo>
                    <a:pt x="386" y="191"/>
                  </a:lnTo>
                  <a:lnTo>
                    <a:pt x="388" y="193"/>
                  </a:lnTo>
                  <a:lnTo>
                    <a:pt x="389" y="197"/>
                  </a:lnTo>
                  <a:lnTo>
                    <a:pt x="389" y="199"/>
                  </a:lnTo>
                  <a:lnTo>
                    <a:pt x="389" y="203"/>
                  </a:lnTo>
                  <a:lnTo>
                    <a:pt x="388" y="206"/>
                  </a:lnTo>
                  <a:lnTo>
                    <a:pt x="384" y="211"/>
                  </a:lnTo>
                  <a:lnTo>
                    <a:pt x="378" y="216"/>
                  </a:lnTo>
                  <a:lnTo>
                    <a:pt x="368" y="220"/>
                  </a:lnTo>
                  <a:lnTo>
                    <a:pt x="356" y="222"/>
                  </a:lnTo>
                  <a:lnTo>
                    <a:pt x="345" y="223"/>
                  </a:lnTo>
                  <a:lnTo>
                    <a:pt x="340" y="222"/>
                  </a:lnTo>
                  <a:lnTo>
                    <a:pt x="334" y="221"/>
                  </a:lnTo>
                  <a:lnTo>
                    <a:pt x="330" y="221"/>
                  </a:lnTo>
                  <a:lnTo>
                    <a:pt x="325" y="221"/>
                  </a:lnTo>
                  <a:lnTo>
                    <a:pt x="320" y="223"/>
                  </a:lnTo>
                  <a:lnTo>
                    <a:pt x="316" y="225"/>
                  </a:lnTo>
                  <a:lnTo>
                    <a:pt x="307" y="233"/>
                  </a:lnTo>
                  <a:lnTo>
                    <a:pt x="298" y="238"/>
                  </a:lnTo>
                  <a:lnTo>
                    <a:pt x="290" y="242"/>
                  </a:lnTo>
                  <a:lnTo>
                    <a:pt x="284" y="242"/>
                  </a:lnTo>
                  <a:lnTo>
                    <a:pt x="269" y="242"/>
                  </a:lnTo>
                  <a:lnTo>
                    <a:pt x="261" y="241"/>
                  </a:lnTo>
                  <a:lnTo>
                    <a:pt x="252" y="238"/>
                  </a:lnTo>
                  <a:lnTo>
                    <a:pt x="248" y="236"/>
                  </a:lnTo>
                  <a:lnTo>
                    <a:pt x="243" y="231"/>
                  </a:lnTo>
                  <a:lnTo>
                    <a:pt x="240" y="227"/>
                  </a:lnTo>
                  <a:lnTo>
                    <a:pt x="236" y="224"/>
                  </a:lnTo>
                  <a:lnTo>
                    <a:pt x="233" y="223"/>
                  </a:lnTo>
                  <a:lnTo>
                    <a:pt x="229" y="223"/>
                  </a:lnTo>
                  <a:lnTo>
                    <a:pt x="226" y="224"/>
                  </a:lnTo>
                  <a:lnTo>
                    <a:pt x="219" y="225"/>
                  </a:lnTo>
                  <a:lnTo>
                    <a:pt x="213" y="228"/>
                  </a:lnTo>
                  <a:lnTo>
                    <a:pt x="209" y="229"/>
                  </a:lnTo>
                  <a:lnTo>
                    <a:pt x="207" y="228"/>
                  </a:lnTo>
                  <a:lnTo>
                    <a:pt x="182" y="224"/>
                  </a:lnTo>
                  <a:lnTo>
                    <a:pt x="171" y="222"/>
                  </a:lnTo>
                  <a:lnTo>
                    <a:pt x="158" y="220"/>
                  </a:lnTo>
                  <a:lnTo>
                    <a:pt x="153" y="218"/>
                  </a:lnTo>
                  <a:lnTo>
                    <a:pt x="149" y="217"/>
                  </a:lnTo>
                  <a:lnTo>
                    <a:pt x="146" y="214"/>
                  </a:lnTo>
                  <a:lnTo>
                    <a:pt x="142" y="210"/>
                  </a:lnTo>
                  <a:lnTo>
                    <a:pt x="138" y="205"/>
                  </a:lnTo>
                  <a:lnTo>
                    <a:pt x="134" y="199"/>
                  </a:lnTo>
                  <a:lnTo>
                    <a:pt x="129" y="193"/>
                  </a:lnTo>
                  <a:lnTo>
                    <a:pt x="125" y="188"/>
                  </a:lnTo>
                  <a:lnTo>
                    <a:pt x="121" y="183"/>
                  </a:lnTo>
                  <a:lnTo>
                    <a:pt x="118" y="182"/>
                  </a:lnTo>
                  <a:lnTo>
                    <a:pt x="107" y="179"/>
                  </a:lnTo>
                  <a:lnTo>
                    <a:pt x="100" y="176"/>
                  </a:lnTo>
                  <a:lnTo>
                    <a:pt x="85" y="167"/>
                  </a:lnTo>
                  <a:lnTo>
                    <a:pt x="80" y="165"/>
                  </a:lnTo>
                  <a:lnTo>
                    <a:pt x="77" y="165"/>
                  </a:lnTo>
                  <a:lnTo>
                    <a:pt x="74" y="163"/>
                  </a:lnTo>
                  <a:lnTo>
                    <a:pt x="72" y="159"/>
                  </a:lnTo>
                  <a:lnTo>
                    <a:pt x="69" y="154"/>
                  </a:lnTo>
                  <a:lnTo>
                    <a:pt x="67" y="145"/>
                  </a:lnTo>
                  <a:lnTo>
                    <a:pt x="64" y="134"/>
                  </a:lnTo>
                  <a:lnTo>
                    <a:pt x="62" y="125"/>
                  </a:lnTo>
                  <a:lnTo>
                    <a:pt x="53" y="118"/>
                  </a:lnTo>
                  <a:lnTo>
                    <a:pt x="45" y="110"/>
                  </a:lnTo>
                  <a:lnTo>
                    <a:pt x="40" y="108"/>
                  </a:lnTo>
                  <a:lnTo>
                    <a:pt x="35" y="107"/>
                  </a:lnTo>
                  <a:lnTo>
                    <a:pt x="30" y="106"/>
                  </a:lnTo>
                  <a:lnTo>
                    <a:pt x="24" y="107"/>
                  </a:lnTo>
                  <a:lnTo>
                    <a:pt x="20" y="107"/>
                  </a:lnTo>
                  <a:lnTo>
                    <a:pt x="17" y="105"/>
                  </a:lnTo>
                  <a:lnTo>
                    <a:pt x="14" y="101"/>
                  </a:lnTo>
                  <a:lnTo>
                    <a:pt x="10" y="99"/>
                  </a:lnTo>
                  <a:lnTo>
                    <a:pt x="6" y="96"/>
                  </a:lnTo>
                  <a:lnTo>
                    <a:pt x="3" y="94"/>
                  </a:lnTo>
                  <a:lnTo>
                    <a:pt x="2" y="90"/>
                  </a:lnTo>
                  <a:lnTo>
                    <a:pt x="1" y="86"/>
                  </a:lnTo>
                  <a:lnTo>
                    <a:pt x="0" y="77"/>
                  </a:lnTo>
                  <a:lnTo>
                    <a:pt x="0" y="69"/>
                  </a:lnTo>
                  <a:lnTo>
                    <a:pt x="6" y="65"/>
                  </a:lnTo>
                  <a:lnTo>
                    <a:pt x="12" y="64"/>
                  </a:lnTo>
                  <a:lnTo>
                    <a:pt x="20" y="63"/>
                  </a:lnTo>
                  <a:lnTo>
                    <a:pt x="29" y="62"/>
                  </a:lnTo>
                  <a:lnTo>
                    <a:pt x="30" y="62"/>
                  </a:lnTo>
                  <a:lnTo>
                    <a:pt x="31" y="61"/>
                  </a:lnTo>
                  <a:lnTo>
                    <a:pt x="31" y="57"/>
                  </a:lnTo>
                  <a:lnTo>
                    <a:pt x="27" y="51"/>
                  </a:lnTo>
                  <a:lnTo>
                    <a:pt x="26" y="49"/>
                  </a:lnTo>
                  <a:lnTo>
                    <a:pt x="26" y="48"/>
                  </a:lnTo>
                  <a:lnTo>
                    <a:pt x="33" y="44"/>
                  </a:lnTo>
                  <a:lnTo>
                    <a:pt x="38" y="42"/>
                  </a:lnTo>
                  <a:lnTo>
                    <a:pt x="44" y="39"/>
                  </a:lnTo>
                  <a:lnTo>
                    <a:pt x="49" y="36"/>
                  </a:lnTo>
                  <a:lnTo>
                    <a:pt x="53" y="33"/>
                  </a:lnTo>
                  <a:lnTo>
                    <a:pt x="58" y="31"/>
                  </a:lnTo>
                  <a:lnTo>
                    <a:pt x="63" y="31"/>
                  </a:lnTo>
                  <a:lnTo>
                    <a:pt x="68" y="31"/>
                  </a:lnTo>
                  <a:lnTo>
                    <a:pt x="78" y="31"/>
                  </a:lnTo>
                  <a:lnTo>
                    <a:pt x="90" y="33"/>
                  </a:lnTo>
                  <a:lnTo>
                    <a:pt x="91" y="32"/>
                  </a:lnTo>
                  <a:lnTo>
                    <a:pt x="92" y="30"/>
                  </a:lnTo>
                  <a:lnTo>
                    <a:pt x="94" y="29"/>
                  </a:lnTo>
                  <a:lnTo>
                    <a:pt x="96" y="27"/>
                  </a:lnTo>
                  <a:lnTo>
                    <a:pt x="99" y="29"/>
                  </a:lnTo>
                  <a:lnTo>
                    <a:pt x="101" y="30"/>
                  </a:lnTo>
                  <a:lnTo>
                    <a:pt x="102" y="32"/>
                  </a:lnTo>
                  <a:lnTo>
                    <a:pt x="104" y="33"/>
                  </a:lnTo>
                  <a:lnTo>
                    <a:pt x="110" y="36"/>
                  </a:lnTo>
                  <a:lnTo>
                    <a:pt x="114" y="39"/>
                  </a:lnTo>
                  <a:lnTo>
                    <a:pt x="119" y="43"/>
                  </a:lnTo>
                  <a:lnTo>
                    <a:pt x="123" y="46"/>
                  </a:lnTo>
                  <a:lnTo>
                    <a:pt x="127" y="46"/>
                  </a:lnTo>
                  <a:lnTo>
                    <a:pt x="129" y="46"/>
                  </a:lnTo>
                  <a:lnTo>
                    <a:pt x="135" y="45"/>
                  </a:lnTo>
                  <a:lnTo>
                    <a:pt x="139" y="45"/>
                  </a:lnTo>
                  <a:lnTo>
                    <a:pt x="143" y="46"/>
                  </a:lnTo>
                  <a:lnTo>
                    <a:pt x="147" y="48"/>
                  </a:lnTo>
                  <a:lnTo>
                    <a:pt x="149" y="49"/>
                  </a:lnTo>
                  <a:lnTo>
                    <a:pt x="165" y="48"/>
                  </a:lnTo>
                  <a:lnTo>
                    <a:pt x="172" y="46"/>
                  </a:lnTo>
                  <a:lnTo>
                    <a:pt x="180" y="48"/>
                  </a:lnTo>
                  <a:lnTo>
                    <a:pt x="182" y="46"/>
                  </a:lnTo>
                  <a:lnTo>
                    <a:pt x="185" y="45"/>
                  </a:lnTo>
                  <a:lnTo>
                    <a:pt x="186" y="42"/>
                  </a:lnTo>
                  <a:lnTo>
                    <a:pt x="186" y="38"/>
                  </a:lnTo>
                  <a:lnTo>
                    <a:pt x="181" y="32"/>
                  </a:lnTo>
                  <a:lnTo>
                    <a:pt x="177" y="25"/>
                  </a:lnTo>
                  <a:lnTo>
                    <a:pt x="176" y="19"/>
                  </a:lnTo>
                  <a:lnTo>
                    <a:pt x="176" y="16"/>
                  </a:lnTo>
                  <a:lnTo>
                    <a:pt x="177" y="13"/>
                  </a:lnTo>
                  <a:lnTo>
                    <a:pt x="181" y="10"/>
                  </a:lnTo>
                  <a:lnTo>
                    <a:pt x="186" y="7"/>
                  </a:lnTo>
                  <a:lnTo>
                    <a:pt x="198" y="1"/>
                  </a:lnTo>
                  <a:lnTo>
                    <a:pt x="200" y="0"/>
                  </a:lnTo>
                  <a:lnTo>
                    <a:pt x="204" y="0"/>
                  </a:lnTo>
                  <a:lnTo>
                    <a:pt x="212" y="1"/>
                  </a:lnTo>
                  <a:lnTo>
                    <a:pt x="219" y="4"/>
                  </a:lnTo>
                  <a:lnTo>
                    <a:pt x="227" y="5"/>
                  </a:lnTo>
                  <a:lnTo>
                    <a:pt x="228" y="6"/>
                  </a:lnTo>
                  <a:lnTo>
                    <a:pt x="231" y="8"/>
                  </a:lnTo>
                  <a:lnTo>
                    <a:pt x="232" y="11"/>
                  </a:lnTo>
                  <a:lnTo>
                    <a:pt x="236" y="12"/>
                  </a:lnTo>
                  <a:lnTo>
                    <a:pt x="236" y="14"/>
                  </a:lnTo>
                  <a:lnTo>
                    <a:pt x="242" y="16"/>
                  </a:lnTo>
                  <a:lnTo>
                    <a:pt x="243" y="18"/>
                  </a:lnTo>
                  <a:lnTo>
                    <a:pt x="245" y="20"/>
                  </a:lnTo>
                  <a:lnTo>
                    <a:pt x="247" y="26"/>
                  </a:lnTo>
                  <a:lnTo>
                    <a:pt x="250" y="32"/>
                  </a:lnTo>
                  <a:lnTo>
                    <a:pt x="254" y="37"/>
                  </a:lnTo>
                  <a:lnTo>
                    <a:pt x="257" y="42"/>
                  </a:lnTo>
                  <a:lnTo>
                    <a:pt x="265" y="46"/>
                  </a:lnTo>
                  <a:lnTo>
                    <a:pt x="271" y="49"/>
                  </a:lnTo>
                  <a:lnTo>
                    <a:pt x="279" y="50"/>
                  </a:lnTo>
                  <a:lnTo>
                    <a:pt x="285" y="49"/>
                  </a:lnTo>
                  <a:lnTo>
                    <a:pt x="289" y="46"/>
                  </a:lnTo>
                  <a:lnTo>
                    <a:pt x="292" y="44"/>
                  </a:lnTo>
                  <a:lnTo>
                    <a:pt x="297" y="42"/>
                  </a:lnTo>
                  <a:lnTo>
                    <a:pt x="299" y="40"/>
                  </a:lnTo>
                  <a:lnTo>
                    <a:pt x="303" y="42"/>
                  </a:lnTo>
                  <a:lnTo>
                    <a:pt x="317" y="48"/>
                  </a:lnTo>
                  <a:lnTo>
                    <a:pt x="321" y="49"/>
                  </a:lnTo>
                  <a:lnTo>
                    <a:pt x="325" y="49"/>
                  </a:lnTo>
                  <a:lnTo>
                    <a:pt x="328" y="49"/>
                  </a:lnTo>
                  <a:lnTo>
                    <a:pt x="332" y="49"/>
                  </a:lnTo>
                  <a:lnTo>
                    <a:pt x="335" y="49"/>
                  </a:lnTo>
                  <a:lnTo>
                    <a:pt x="336" y="51"/>
                  </a:lnTo>
                  <a:lnTo>
                    <a:pt x="337" y="55"/>
                  </a:lnTo>
                  <a:lnTo>
                    <a:pt x="341" y="59"/>
                  </a:lnTo>
                  <a:lnTo>
                    <a:pt x="342" y="63"/>
                  </a:lnTo>
                  <a:lnTo>
                    <a:pt x="345" y="64"/>
                  </a:lnTo>
                  <a:lnTo>
                    <a:pt x="349" y="64"/>
                  </a:lnTo>
                  <a:lnTo>
                    <a:pt x="351" y="64"/>
                  </a:lnTo>
                  <a:lnTo>
                    <a:pt x="355" y="63"/>
                  </a:lnTo>
                  <a:lnTo>
                    <a:pt x="358" y="63"/>
                  </a:lnTo>
                  <a:lnTo>
                    <a:pt x="372" y="65"/>
                  </a:lnTo>
                  <a:lnTo>
                    <a:pt x="384" y="65"/>
                  </a:lnTo>
                  <a:lnTo>
                    <a:pt x="391" y="64"/>
                  </a:lnTo>
                  <a:lnTo>
                    <a:pt x="397" y="63"/>
                  </a:lnTo>
                  <a:lnTo>
                    <a:pt x="403" y="61"/>
                  </a:lnTo>
                  <a:lnTo>
                    <a:pt x="410" y="56"/>
                  </a:lnTo>
                  <a:lnTo>
                    <a:pt x="416" y="52"/>
                  </a:lnTo>
                  <a:lnTo>
                    <a:pt x="422" y="50"/>
                  </a:lnTo>
                  <a:lnTo>
                    <a:pt x="438" y="46"/>
                  </a:lnTo>
                  <a:lnTo>
                    <a:pt x="441" y="45"/>
                  </a:lnTo>
                  <a:lnTo>
                    <a:pt x="447" y="45"/>
                  </a:lnTo>
                  <a:lnTo>
                    <a:pt x="455" y="46"/>
                  </a:lnTo>
                  <a:lnTo>
                    <a:pt x="463" y="49"/>
                  </a:lnTo>
                  <a:lnTo>
                    <a:pt x="467" y="49"/>
                  </a:lnTo>
                  <a:lnTo>
                    <a:pt x="471" y="48"/>
                  </a:lnTo>
                  <a:lnTo>
                    <a:pt x="476" y="48"/>
                  </a:lnTo>
                  <a:lnTo>
                    <a:pt x="481" y="4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4" name="Freeform 613"/>
            <p:cNvSpPr>
              <a:spLocks/>
            </p:cNvSpPr>
            <p:nvPr/>
          </p:nvSpPr>
          <p:spPr bwMode="auto">
            <a:xfrm>
              <a:off x="6923089" y="3671888"/>
              <a:ext cx="174625" cy="477838"/>
            </a:xfrm>
            <a:custGeom>
              <a:avLst/>
              <a:gdLst>
                <a:gd name="T0" fmla="*/ 2147483647 w 120"/>
                <a:gd name="T1" fmla="*/ 2147483647 h 301"/>
                <a:gd name="T2" fmla="*/ 2147483647 w 120"/>
                <a:gd name="T3" fmla="*/ 2147483647 h 301"/>
                <a:gd name="T4" fmla="*/ 2147483647 w 120"/>
                <a:gd name="T5" fmla="*/ 2147483647 h 301"/>
                <a:gd name="T6" fmla="*/ 2147483647 w 120"/>
                <a:gd name="T7" fmla="*/ 2147483647 h 301"/>
                <a:gd name="T8" fmla="*/ 2147483647 w 120"/>
                <a:gd name="T9" fmla="*/ 2147483647 h 301"/>
                <a:gd name="T10" fmla="*/ 2147483647 w 120"/>
                <a:gd name="T11" fmla="*/ 2147483647 h 301"/>
                <a:gd name="T12" fmla="*/ 2147483647 w 120"/>
                <a:gd name="T13" fmla="*/ 2147483647 h 301"/>
                <a:gd name="T14" fmla="*/ 2147483647 w 120"/>
                <a:gd name="T15" fmla="*/ 2147483647 h 301"/>
                <a:gd name="T16" fmla="*/ 2147483647 w 120"/>
                <a:gd name="T17" fmla="*/ 2147483647 h 301"/>
                <a:gd name="T18" fmla="*/ 2147483647 w 120"/>
                <a:gd name="T19" fmla="*/ 2147483647 h 301"/>
                <a:gd name="T20" fmla="*/ 2147483647 w 120"/>
                <a:gd name="T21" fmla="*/ 2147483647 h 301"/>
                <a:gd name="T22" fmla="*/ 2147483647 w 120"/>
                <a:gd name="T23" fmla="*/ 2147483647 h 301"/>
                <a:gd name="T24" fmla="*/ 2147483647 w 120"/>
                <a:gd name="T25" fmla="*/ 2147483647 h 301"/>
                <a:gd name="T26" fmla="*/ 2147483647 w 120"/>
                <a:gd name="T27" fmla="*/ 2147483647 h 301"/>
                <a:gd name="T28" fmla="*/ 2147483647 w 120"/>
                <a:gd name="T29" fmla="*/ 2147483647 h 301"/>
                <a:gd name="T30" fmla="*/ 2147483647 w 120"/>
                <a:gd name="T31" fmla="*/ 2147483647 h 301"/>
                <a:gd name="T32" fmla="*/ 2147483647 w 120"/>
                <a:gd name="T33" fmla="*/ 2147483647 h 301"/>
                <a:gd name="T34" fmla="*/ 2147483647 w 120"/>
                <a:gd name="T35" fmla="*/ 2147483647 h 301"/>
                <a:gd name="T36" fmla="*/ 2147483647 w 120"/>
                <a:gd name="T37" fmla="*/ 2147483647 h 301"/>
                <a:gd name="T38" fmla="*/ 2147483647 w 120"/>
                <a:gd name="T39" fmla="*/ 2147483647 h 301"/>
                <a:gd name="T40" fmla="*/ 2147483647 w 120"/>
                <a:gd name="T41" fmla="*/ 2147483647 h 301"/>
                <a:gd name="T42" fmla="*/ 2147483647 w 120"/>
                <a:gd name="T43" fmla="*/ 2147483647 h 301"/>
                <a:gd name="T44" fmla="*/ 2147483647 w 120"/>
                <a:gd name="T45" fmla="*/ 2147483647 h 301"/>
                <a:gd name="T46" fmla="*/ 2147483647 w 120"/>
                <a:gd name="T47" fmla="*/ 2147483647 h 301"/>
                <a:gd name="T48" fmla="*/ 2147483647 w 120"/>
                <a:gd name="T49" fmla="*/ 2147483647 h 301"/>
                <a:gd name="T50" fmla="*/ 2147483647 w 120"/>
                <a:gd name="T51" fmla="*/ 2147483647 h 301"/>
                <a:gd name="T52" fmla="*/ 2147483647 w 120"/>
                <a:gd name="T53" fmla="*/ 2147483647 h 301"/>
                <a:gd name="T54" fmla="*/ 2147483647 w 120"/>
                <a:gd name="T55" fmla="*/ 2147483647 h 301"/>
                <a:gd name="T56" fmla="*/ 2147483647 w 120"/>
                <a:gd name="T57" fmla="*/ 2147483647 h 301"/>
                <a:gd name="T58" fmla="*/ 2147483647 w 120"/>
                <a:gd name="T59" fmla="*/ 2147483647 h 301"/>
                <a:gd name="T60" fmla="*/ 2147483647 w 120"/>
                <a:gd name="T61" fmla="*/ 2147483647 h 301"/>
                <a:gd name="T62" fmla="*/ 2147483647 w 120"/>
                <a:gd name="T63" fmla="*/ 2147483647 h 301"/>
                <a:gd name="T64" fmla="*/ 2147483647 w 120"/>
                <a:gd name="T65" fmla="*/ 2147483647 h 301"/>
                <a:gd name="T66" fmla="*/ 2147483647 w 120"/>
                <a:gd name="T67" fmla="*/ 2147483647 h 301"/>
                <a:gd name="T68" fmla="*/ 2147483647 w 120"/>
                <a:gd name="T69" fmla="*/ 2147483647 h 301"/>
                <a:gd name="T70" fmla="*/ 2147483647 w 120"/>
                <a:gd name="T71" fmla="*/ 2147483647 h 301"/>
                <a:gd name="T72" fmla="*/ 2147483647 w 120"/>
                <a:gd name="T73" fmla="*/ 2147483647 h 301"/>
                <a:gd name="T74" fmla="*/ 2147483647 w 120"/>
                <a:gd name="T75" fmla="*/ 2147483647 h 301"/>
                <a:gd name="T76" fmla="*/ 2147483647 w 120"/>
                <a:gd name="T77" fmla="*/ 2147483647 h 301"/>
                <a:gd name="T78" fmla="*/ 2147483647 w 120"/>
                <a:gd name="T79" fmla="*/ 2147483647 h 301"/>
                <a:gd name="T80" fmla="*/ 2147483647 w 120"/>
                <a:gd name="T81" fmla="*/ 2147483647 h 301"/>
                <a:gd name="T82" fmla="*/ 2147483647 w 120"/>
                <a:gd name="T83" fmla="*/ 2147483647 h 301"/>
                <a:gd name="T84" fmla="*/ 2147483647 w 120"/>
                <a:gd name="T85" fmla="*/ 2147483647 h 301"/>
                <a:gd name="T86" fmla="*/ 2147483647 w 120"/>
                <a:gd name="T87" fmla="*/ 2147483647 h 301"/>
                <a:gd name="T88" fmla="*/ 2147483647 w 120"/>
                <a:gd name="T89" fmla="*/ 2147483647 h 301"/>
                <a:gd name="T90" fmla="*/ 2147483647 w 120"/>
                <a:gd name="T91" fmla="*/ 2147483647 h 301"/>
                <a:gd name="T92" fmla="*/ 2147483647 w 120"/>
                <a:gd name="T93" fmla="*/ 2147483647 h 301"/>
                <a:gd name="T94" fmla="*/ 2147483647 w 120"/>
                <a:gd name="T95" fmla="*/ 2147483647 h 301"/>
                <a:gd name="T96" fmla="*/ 2147483647 w 120"/>
                <a:gd name="T97" fmla="*/ 2147483647 h 301"/>
                <a:gd name="T98" fmla="*/ 2147483647 w 120"/>
                <a:gd name="T99" fmla="*/ 2147483647 h 301"/>
                <a:gd name="T100" fmla="*/ 2147483647 w 120"/>
                <a:gd name="T101" fmla="*/ 2147483647 h 301"/>
                <a:gd name="T102" fmla="*/ 2147483647 w 120"/>
                <a:gd name="T103" fmla="*/ 2147483647 h 301"/>
                <a:gd name="T104" fmla="*/ 2147483647 w 120"/>
                <a:gd name="T105" fmla="*/ 2147483647 h 301"/>
                <a:gd name="T106" fmla="*/ 2147483647 w 120"/>
                <a:gd name="T107" fmla="*/ 2147483647 h 301"/>
                <a:gd name="T108" fmla="*/ 2147483647 w 120"/>
                <a:gd name="T109" fmla="*/ 2147483647 h 301"/>
                <a:gd name="T110" fmla="*/ 2147483647 w 120"/>
                <a:gd name="T111" fmla="*/ 2147483647 h 301"/>
                <a:gd name="T112" fmla="*/ 2147483647 w 120"/>
                <a:gd name="T113" fmla="*/ 2147483647 h 301"/>
                <a:gd name="T114" fmla="*/ 2147483647 w 120"/>
                <a:gd name="T115" fmla="*/ 2147483647 h 301"/>
                <a:gd name="T116" fmla="*/ 2147483647 w 120"/>
                <a:gd name="T117" fmla="*/ 2147483647 h 301"/>
                <a:gd name="T118" fmla="*/ 2147483647 w 120"/>
                <a:gd name="T119" fmla="*/ 2147483647 h 301"/>
                <a:gd name="T120" fmla="*/ 2147483647 w 120"/>
                <a:gd name="T121" fmla="*/ 2147483647 h 301"/>
                <a:gd name="T122" fmla="*/ 2147483647 w 120"/>
                <a:gd name="T123" fmla="*/ 2147483647 h 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0"/>
                <a:gd name="T187" fmla="*/ 0 h 301"/>
                <a:gd name="T188" fmla="*/ 120 w 120"/>
                <a:gd name="T189" fmla="*/ 301 h 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0" h="301">
                  <a:moveTo>
                    <a:pt x="82" y="180"/>
                  </a:moveTo>
                  <a:lnTo>
                    <a:pt x="84" y="189"/>
                  </a:lnTo>
                  <a:lnTo>
                    <a:pt x="86" y="197"/>
                  </a:lnTo>
                  <a:lnTo>
                    <a:pt x="87" y="200"/>
                  </a:lnTo>
                  <a:lnTo>
                    <a:pt x="87" y="204"/>
                  </a:lnTo>
                  <a:lnTo>
                    <a:pt x="84" y="211"/>
                  </a:lnTo>
                  <a:lnTo>
                    <a:pt x="80" y="219"/>
                  </a:lnTo>
                  <a:lnTo>
                    <a:pt x="76" y="235"/>
                  </a:lnTo>
                  <a:lnTo>
                    <a:pt x="76" y="237"/>
                  </a:lnTo>
                  <a:lnTo>
                    <a:pt x="73" y="238"/>
                  </a:lnTo>
                  <a:lnTo>
                    <a:pt x="67" y="240"/>
                  </a:lnTo>
                  <a:lnTo>
                    <a:pt x="67" y="241"/>
                  </a:lnTo>
                  <a:lnTo>
                    <a:pt x="66" y="242"/>
                  </a:lnTo>
                  <a:lnTo>
                    <a:pt x="65" y="245"/>
                  </a:lnTo>
                  <a:lnTo>
                    <a:pt x="66" y="248"/>
                  </a:lnTo>
                  <a:lnTo>
                    <a:pt x="65" y="251"/>
                  </a:lnTo>
                  <a:lnTo>
                    <a:pt x="63" y="254"/>
                  </a:lnTo>
                  <a:lnTo>
                    <a:pt x="59" y="255"/>
                  </a:lnTo>
                  <a:lnTo>
                    <a:pt x="56" y="254"/>
                  </a:lnTo>
                  <a:lnTo>
                    <a:pt x="52" y="254"/>
                  </a:lnTo>
                  <a:lnTo>
                    <a:pt x="47" y="254"/>
                  </a:lnTo>
                  <a:lnTo>
                    <a:pt x="46" y="255"/>
                  </a:lnTo>
                  <a:lnTo>
                    <a:pt x="43" y="256"/>
                  </a:lnTo>
                  <a:lnTo>
                    <a:pt x="40" y="260"/>
                  </a:lnTo>
                  <a:lnTo>
                    <a:pt x="39" y="264"/>
                  </a:lnTo>
                  <a:lnTo>
                    <a:pt x="39" y="269"/>
                  </a:lnTo>
                  <a:lnTo>
                    <a:pt x="42" y="269"/>
                  </a:lnTo>
                  <a:lnTo>
                    <a:pt x="43" y="269"/>
                  </a:lnTo>
                  <a:lnTo>
                    <a:pt x="46" y="270"/>
                  </a:lnTo>
                  <a:lnTo>
                    <a:pt x="46" y="272"/>
                  </a:lnTo>
                  <a:lnTo>
                    <a:pt x="46" y="274"/>
                  </a:lnTo>
                  <a:lnTo>
                    <a:pt x="42" y="277"/>
                  </a:lnTo>
                  <a:lnTo>
                    <a:pt x="40" y="282"/>
                  </a:lnTo>
                  <a:lnTo>
                    <a:pt x="39" y="292"/>
                  </a:lnTo>
                  <a:lnTo>
                    <a:pt x="38" y="294"/>
                  </a:lnTo>
                  <a:lnTo>
                    <a:pt x="35" y="295"/>
                  </a:lnTo>
                  <a:lnTo>
                    <a:pt x="35" y="298"/>
                  </a:lnTo>
                  <a:lnTo>
                    <a:pt x="37" y="300"/>
                  </a:lnTo>
                  <a:lnTo>
                    <a:pt x="39" y="301"/>
                  </a:lnTo>
                  <a:lnTo>
                    <a:pt x="42" y="300"/>
                  </a:lnTo>
                  <a:lnTo>
                    <a:pt x="47" y="296"/>
                  </a:lnTo>
                  <a:lnTo>
                    <a:pt x="52" y="290"/>
                  </a:lnTo>
                  <a:lnTo>
                    <a:pt x="54" y="288"/>
                  </a:lnTo>
                  <a:lnTo>
                    <a:pt x="58" y="286"/>
                  </a:lnTo>
                  <a:lnTo>
                    <a:pt x="61" y="287"/>
                  </a:lnTo>
                  <a:lnTo>
                    <a:pt x="62" y="287"/>
                  </a:lnTo>
                  <a:lnTo>
                    <a:pt x="63" y="286"/>
                  </a:lnTo>
                  <a:lnTo>
                    <a:pt x="63" y="285"/>
                  </a:lnTo>
                  <a:lnTo>
                    <a:pt x="66" y="283"/>
                  </a:lnTo>
                  <a:lnTo>
                    <a:pt x="68" y="283"/>
                  </a:lnTo>
                  <a:lnTo>
                    <a:pt x="71" y="282"/>
                  </a:lnTo>
                  <a:lnTo>
                    <a:pt x="72" y="280"/>
                  </a:lnTo>
                  <a:lnTo>
                    <a:pt x="71" y="270"/>
                  </a:lnTo>
                  <a:lnTo>
                    <a:pt x="72" y="267"/>
                  </a:lnTo>
                  <a:lnTo>
                    <a:pt x="75" y="263"/>
                  </a:lnTo>
                  <a:lnTo>
                    <a:pt x="79" y="262"/>
                  </a:lnTo>
                  <a:lnTo>
                    <a:pt x="82" y="262"/>
                  </a:lnTo>
                  <a:lnTo>
                    <a:pt x="86" y="263"/>
                  </a:lnTo>
                  <a:lnTo>
                    <a:pt x="91" y="263"/>
                  </a:lnTo>
                  <a:lnTo>
                    <a:pt x="95" y="262"/>
                  </a:lnTo>
                  <a:lnTo>
                    <a:pt x="96" y="260"/>
                  </a:lnTo>
                  <a:lnTo>
                    <a:pt x="104" y="251"/>
                  </a:lnTo>
                  <a:lnTo>
                    <a:pt x="108" y="248"/>
                  </a:lnTo>
                  <a:lnTo>
                    <a:pt x="112" y="245"/>
                  </a:lnTo>
                  <a:lnTo>
                    <a:pt x="115" y="244"/>
                  </a:lnTo>
                  <a:lnTo>
                    <a:pt x="118" y="243"/>
                  </a:lnTo>
                  <a:lnTo>
                    <a:pt x="119" y="242"/>
                  </a:lnTo>
                  <a:lnTo>
                    <a:pt x="120" y="237"/>
                  </a:lnTo>
                  <a:lnTo>
                    <a:pt x="119" y="234"/>
                  </a:lnTo>
                  <a:lnTo>
                    <a:pt x="117" y="231"/>
                  </a:lnTo>
                  <a:lnTo>
                    <a:pt x="117" y="228"/>
                  </a:lnTo>
                  <a:lnTo>
                    <a:pt x="118" y="222"/>
                  </a:lnTo>
                  <a:lnTo>
                    <a:pt x="118" y="218"/>
                  </a:lnTo>
                  <a:lnTo>
                    <a:pt x="117" y="215"/>
                  </a:lnTo>
                  <a:lnTo>
                    <a:pt x="114" y="212"/>
                  </a:lnTo>
                  <a:lnTo>
                    <a:pt x="113" y="209"/>
                  </a:lnTo>
                  <a:lnTo>
                    <a:pt x="110" y="197"/>
                  </a:lnTo>
                  <a:lnTo>
                    <a:pt x="109" y="191"/>
                  </a:lnTo>
                  <a:lnTo>
                    <a:pt x="110" y="185"/>
                  </a:lnTo>
                  <a:lnTo>
                    <a:pt x="110" y="183"/>
                  </a:lnTo>
                  <a:lnTo>
                    <a:pt x="109" y="183"/>
                  </a:lnTo>
                  <a:lnTo>
                    <a:pt x="106" y="179"/>
                  </a:lnTo>
                  <a:lnTo>
                    <a:pt x="104" y="177"/>
                  </a:lnTo>
                  <a:lnTo>
                    <a:pt x="103" y="171"/>
                  </a:lnTo>
                  <a:lnTo>
                    <a:pt x="101" y="164"/>
                  </a:lnTo>
                  <a:lnTo>
                    <a:pt x="99" y="158"/>
                  </a:lnTo>
                  <a:lnTo>
                    <a:pt x="93" y="148"/>
                  </a:lnTo>
                  <a:lnTo>
                    <a:pt x="85" y="141"/>
                  </a:lnTo>
                  <a:lnTo>
                    <a:pt x="77" y="133"/>
                  </a:lnTo>
                  <a:lnTo>
                    <a:pt x="70" y="125"/>
                  </a:lnTo>
                  <a:lnTo>
                    <a:pt x="70" y="122"/>
                  </a:lnTo>
                  <a:lnTo>
                    <a:pt x="71" y="120"/>
                  </a:lnTo>
                  <a:lnTo>
                    <a:pt x="71" y="117"/>
                  </a:lnTo>
                  <a:lnTo>
                    <a:pt x="71" y="115"/>
                  </a:lnTo>
                  <a:lnTo>
                    <a:pt x="68" y="114"/>
                  </a:lnTo>
                  <a:lnTo>
                    <a:pt x="67" y="113"/>
                  </a:lnTo>
                  <a:lnTo>
                    <a:pt x="65" y="111"/>
                  </a:lnTo>
                  <a:lnTo>
                    <a:pt x="63" y="110"/>
                  </a:lnTo>
                  <a:lnTo>
                    <a:pt x="62" y="107"/>
                  </a:lnTo>
                  <a:lnTo>
                    <a:pt x="62" y="103"/>
                  </a:lnTo>
                  <a:lnTo>
                    <a:pt x="61" y="100"/>
                  </a:lnTo>
                  <a:lnTo>
                    <a:pt x="59" y="96"/>
                  </a:lnTo>
                  <a:lnTo>
                    <a:pt x="54" y="90"/>
                  </a:lnTo>
                  <a:lnTo>
                    <a:pt x="54" y="88"/>
                  </a:lnTo>
                  <a:lnTo>
                    <a:pt x="54" y="87"/>
                  </a:lnTo>
                  <a:lnTo>
                    <a:pt x="58" y="83"/>
                  </a:lnTo>
                  <a:lnTo>
                    <a:pt x="58" y="81"/>
                  </a:lnTo>
                  <a:lnTo>
                    <a:pt x="62" y="75"/>
                  </a:lnTo>
                  <a:lnTo>
                    <a:pt x="65" y="70"/>
                  </a:lnTo>
                  <a:lnTo>
                    <a:pt x="71" y="59"/>
                  </a:lnTo>
                  <a:lnTo>
                    <a:pt x="75" y="56"/>
                  </a:lnTo>
                  <a:lnTo>
                    <a:pt x="81" y="52"/>
                  </a:lnTo>
                  <a:lnTo>
                    <a:pt x="86" y="50"/>
                  </a:lnTo>
                  <a:lnTo>
                    <a:pt x="91" y="46"/>
                  </a:lnTo>
                  <a:lnTo>
                    <a:pt x="95" y="43"/>
                  </a:lnTo>
                  <a:lnTo>
                    <a:pt x="101" y="42"/>
                  </a:lnTo>
                  <a:lnTo>
                    <a:pt x="99" y="38"/>
                  </a:lnTo>
                  <a:lnTo>
                    <a:pt x="95" y="36"/>
                  </a:lnTo>
                  <a:lnTo>
                    <a:pt x="89" y="32"/>
                  </a:lnTo>
                  <a:lnTo>
                    <a:pt x="81" y="28"/>
                  </a:lnTo>
                  <a:lnTo>
                    <a:pt x="73" y="25"/>
                  </a:lnTo>
                  <a:lnTo>
                    <a:pt x="71" y="24"/>
                  </a:lnTo>
                  <a:lnTo>
                    <a:pt x="71" y="23"/>
                  </a:lnTo>
                  <a:lnTo>
                    <a:pt x="71" y="19"/>
                  </a:lnTo>
                  <a:lnTo>
                    <a:pt x="72" y="14"/>
                  </a:lnTo>
                  <a:lnTo>
                    <a:pt x="72" y="12"/>
                  </a:lnTo>
                  <a:lnTo>
                    <a:pt x="72" y="11"/>
                  </a:lnTo>
                  <a:lnTo>
                    <a:pt x="67" y="5"/>
                  </a:lnTo>
                  <a:lnTo>
                    <a:pt x="62" y="2"/>
                  </a:lnTo>
                  <a:lnTo>
                    <a:pt x="57" y="0"/>
                  </a:lnTo>
                  <a:lnTo>
                    <a:pt x="49" y="1"/>
                  </a:lnTo>
                  <a:lnTo>
                    <a:pt x="38" y="5"/>
                  </a:lnTo>
                  <a:lnTo>
                    <a:pt x="29" y="7"/>
                  </a:lnTo>
                  <a:lnTo>
                    <a:pt x="21" y="12"/>
                  </a:lnTo>
                  <a:lnTo>
                    <a:pt x="18" y="13"/>
                  </a:lnTo>
                  <a:lnTo>
                    <a:pt x="13" y="14"/>
                  </a:lnTo>
                  <a:lnTo>
                    <a:pt x="5" y="13"/>
                  </a:lnTo>
                  <a:lnTo>
                    <a:pt x="2" y="14"/>
                  </a:lnTo>
                  <a:lnTo>
                    <a:pt x="0" y="17"/>
                  </a:lnTo>
                  <a:lnTo>
                    <a:pt x="2" y="18"/>
                  </a:lnTo>
                  <a:lnTo>
                    <a:pt x="9" y="24"/>
                  </a:lnTo>
                  <a:lnTo>
                    <a:pt x="14" y="30"/>
                  </a:lnTo>
                  <a:lnTo>
                    <a:pt x="18" y="38"/>
                  </a:lnTo>
                  <a:lnTo>
                    <a:pt x="21" y="45"/>
                  </a:lnTo>
                  <a:lnTo>
                    <a:pt x="21" y="46"/>
                  </a:lnTo>
                  <a:lnTo>
                    <a:pt x="23" y="47"/>
                  </a:lnTo>
                  <a:lnTo>
                    <a:pt x="33" y="47"/>
                  </a:lnTo>
                  <a:lnTo>
                    <a:pt x="38" y="47"/>
                  </a:lnTo>
                  <a:lnTo>
                    <a:pt x="42" y="49"/>
                  </a:lnTo>
                  <a:lnTo>
                    <a:pt x="43" y="50"/>
                  </a:lnTo>
                  <a:lnTo>
                    <a:pt x="44" y="51"/>
                  </a:lnTo>
                  <a:lnTo>
                    <a:pt x="43" y="53"/>
                  </a:lnTo>
                  <a:lnTo>
                    <a:pt x="42" y="57"/>
                  </a:lnTo>
                  <a:lnTo>
                    <a:pt x="42" y="60"/>
                  </a:lnTo>
                  <a:lnTo>
                    <a:pt x="43" y="62"/>
                  </a:lnTo>
                  <a:lnTo>
                    <a:pt x="46" y="62"/>
                  </a:lnTo>
                  <a:lnTo>
                    <a:pt x="47" y="63"/>
                  </a:lnTo>
                  <a:lnTo>
                    <a:pt x="46" y="64"/>
                  </a:lnTo>
                  <a:lnTo>
                    <a:pt x="44" y="66"/>
                  </a:lnTo>
                  <a:lnTo>
                    <a:pt x="42" y="75"/>
                  </a:lnTo>
                  <a:lnTo>
                    <a:pt x="40" y="78"/>
                  </a:lnTo>
                  <a:lnTo>
                    <a:pt x="38" y="79"/>
                  </a:lnTo>
                  <a:lnTo>
                    <a:pt x="35" y="79"/>
                  </a:lnTo>
                  <a:lnTo>
                    <a:pt x="33" y="82"/>
                  </a:lnTo>
                  <a:lnTo>
                    <a:pt x="33" y="84"/>
                  </a:lnTo>
                  <a:lnTo>
                    <a:pt x="33" y="87"/>
                  </a:lnTo>
                  <a:lnTo>
                    <a:pt x="32" y="89"/>
                  </a:lnTo>
                  <a:lnTo>
                    <a:pt x="30" y="92"/>
                  </a:lnTo>
                  <a:lnTo>
                    <a:pt x="30" y="95"/>
                  </a:lnTo>
                  <a:lnTo>
                    <a:pt x="30" y="97"/>
                  </a:lnTo>
                  <a:lnTo>
                    <a:pt x="33" y="98"/>
                  </a:lnTo>
                  <a:lnTo>
                    <a:pt x="38" y="98"/>
                  </a:lnTo>
                  <a:lnTo>
                    <a:pt x="42" y="101"/>
                  </a:lnTo>
                  <a:lnTo>
                    <a:pt x="44" y="103"/>
                  </a:lnTo>
                  <a:lnTo>
                    <a:pt x="47" y="107"/>
                  </a:lnTo>
                  <a:lnTo>
                    <a:pt x="51" y="115"/>
                  </a:lnTo>
                  <a:lnTo>
                    <a:pt x="54" y="122"/>
                  </a:lnTo>
                  <a:lnTo>
                    <a:pt x="58" y="126"/>
                  </a:lnTo>
                  <a:lnTo>
                    <a:pt x="62" y="130"/>
                  </a:lnTo>
                  <a:lnTo>
                    <a:pt x="65" y="135"/>
                  </a:lnTo>
                  <a:lnTo>
                    <a:pt x="67" y="140"/>
                  </a:lnTo>
                  <a:lnTo>
                    <a:pt x="76" y="149"/>
                  </a:lnTo>
                  <a:lnTo>
                    <a:pt x="77" y="152"/>
                  </a:lnTo>
                  <a:lnTo>
                    <a:pt x="79" y="155"/>
                  </a:lnTo>
                  <a:lnTo>
                    <a:pt x="81" y="161"/>
                  </a:lnTo>
                  <a:lnTo>
                    <a:pt x="81" y="167"/>
                  </a:lnTo>
                  <a:lnTo>
                    <a:pt x="82" y="18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5" name="Freeform 614"/>
            <p:cNvSpPr>
              <a:spLocks/>
            </p:cNvSpPr>
            <p:nvPr/>
          </p:nvSpPr>
          <p:spPr bwMode="auto">
            <a:xfrm>
              <a:off x="6565902" y="2657476"/>
              <a:ext cx="784225" cy="384175"/>
            </a:xfrm>
            <a:custGeom>
              <a:avLst/>
              <a:gdLst>
                <a:gd name="T0" fmla="*/ 2147483647 w 535"/>
                <a:gd name="T1" fmla="*/ 2147483647 h 242"/>
                <a:gd name="T2" fmla="*/ 2147483647 w 535"/>
                <a:gd name="T3" fmla="*/ 2147483647 h 242"/>
                <a:gd name="T4" fmla="*/ 2147483647 w 535"/>
                <a:gd name="T5" fmla="*/ 2147483647 h 242"/>
                <a:gd name="T6" fmla="*/ 2147483647 w 535"/>
                <a:gd name="T7" fmla="*/ 2147483647 h 242"/>
                <a:gd name="T8" fmla="*/ 2147483647 w 535"/>
                <a:gd name="T9" fmla="*/ 2147483647 h 242"/>
                <a:gd name="T10" fmla="*/ 2147483647 w 535"/>
                <a:gd name="T11" fmla="*/ 2147483647 h 242"/>
                <a:gd name="T12" fmla="*/ 2147483647 w 535"/>
                <a:gd name="T13" fmla="*/ 2147483647 h 242"/>
                <a:gd name="T14" fmla="*/ 2147483647 w 535"/>
                <a:gd name="T15" fmla="*/ 2147483647 h 242"/>
                <a:gd name="T16" fmla="*/ 2147483647 w 535"/>
                <a:gd name="T17" fmla="*/ 2147483647 h 242"/>
                <a:gd name="T18" fmla="*/ 2147483647 w 535"/>
                <a:gd name="T19" fmla="*/ 2147483647 h 242"/>
                <a:gd name="T20" fmla="*/ 2147483647 w 535"/>
                <a:gd name="T21" fmla="*/ 2147483647 h 242"/>
                <a:gd name="T22" fmla="*/ 2147483647 w 535"/>
                <a:gd name="T23" fmla="*/ 2147483647 h 242"/>
                <a:gd name="T24" fmla="*/ 2147483647 w 535"/>
                <a:gd name="T25" fmla="*/ 2147483647 h 242"/>
                <a:gd name="T26" fmla="*/ 2147483647 w 535"/>
                <a:gd name="T27" fmla="*/ 2147483647 h 242"/>
                <a:gd name="T28" fmla="*/ 2147483647 w 535"/>
                <a:gd name="T29" fmla="*/ 2147483647 h 242"/>
                <a:gd name="T30" fmla="*/ 2147483647 w 535"/>
                <a:gd name="T31" fmla="*/ 2147483647 h 242"/>
                <a:gd name="T32" fmla="*/ 2147483647 w 535"/>
                <a:gd name="T33" fmla="*/ 2147483647 h 242"/>
                <a:gd name="T34" fmla="*/ 2147483647 w 535"/>
                <a:gd name="T35" fmla="*/ 2147483647 h 242"/>
                <a:gd name="T36" fmla="*/ 2147483647 w 535"/>
                <a:gd name="T37" fmla="*/ 2147483647 h 242"/>
                <a:gd name="T38" fmla="*/ 2147483647 w 535"/>
                <a:gd name="T39" fmla="*/ 2147483647 h 242"/>
                <a:gd name="T40" fmla="*/ 2147483647 w 535"/>
                <a:gd name="T41" fmla="*/ 2147483647 h 242"/>
                <a:gd name="T42" fmla="*/ 2147483647 w 535"/>
                <a:gd name="T43" fmla="*/ 2147483647 h 242"/>
                <a:gd name="T44" fmla="*/ 2147483647 w 535"/>
                <a:gd name="T45" fmla="*/ 2147483647 h 242"/>
                <a:gd name="T46" fmla="*/ 2147483647 w 535"/>
                <a:gd name="T47" fmla="*/ 2147483647 h 242"/>
                <a:gd name="T48" fmla="*/ 2147483647 w 535"/>
                <a:gd name="T49" fmla="*/ 2147483647 h 242"/>
                <a:gd name="T50" fmla="*/ 2147483647 w 535"/>
                <a:gd name="T51" fmla="*/ 2147483647 h 242"/>
                <a:gd name="T52" fmla="*/ 2147483647 w 535"/>
                <a:gd name="T53" fmla="*/ 2147483647 h 242"/>
                <a:gd name="T54" fmla="*/ 2147483647 w 535"/>
                <a:gd name="T55" fmla="*/ 2147483647 h 242"/>
                <a:gd name="T56" fmla="*/ 2147483647 w 535"/>
                <a:gd name="T57" fmla="*/ 2147483647 h 242"/>
                <a:gd name="T58" fmla="*/ 2147483647 w 535"/>
                <a:gd name="T59" fmla="*/ 2147483647 h 242"/>
                <a:gd name="T60" fmla="*/ 2147483647 w 535"/>
                <a:gd name="T61" fmla="*/ 2147483647 h 242"/>
                <a:gd name="T62" fmla="*/ 2147483647 w 535"/>
                <a:gd name="T63" fmla="*/ 2147483647 h 242"/>
                <a:gd name="T64" fmla="*/ 2147483647 w 535"/>
                <a:gd name="T65" fmla="*/ 2147483647 h 242"/>
                <a:gd name="T66" fmla="*/ 2147483647 w 535"/>
                <a:gd name="T67" fmla="*/ 2147483647 h 242"/>
                <a:gd name="T68" fmla="*/ 2147483647 w 535"/>
                <a:gd name="T69" fmla="*/ 2147483647 h 242"/>
                <a:gd name="T70" fmla="*/ 2147483647 w 535"/>
                <a:gd name="T71" fmla="*/ 2147483647 h 242"/>
                <a:gd name="T72" fmla="*/ 2147483647 w 535"/>
                <a:gd name="T73" fmla="*/ 2147483647 h 242"/>
                <a:gd name="T74" fmla="*/ 2147483647 w 535"/>
                <a:gd name="T75" fmla="*/ 2147483647 h 242"/>
                <a:gd name="T76" fmla="*/ 2147483647 w 535"/>
                <a:gd name="T77" fmla="*/ 2147483647 h 242"/>
                <a:gd name="T78" fmla="*/ 2147483647 w 535"/>
                <a:gd name="T79" fmla="*/ 2147483647 h 242"/>
                <a:gd name="T80" fmla="*/ 2147483647 w 535"/>
                <a:gd name="T81" fmla="*/ 2147483647 h 242"/>
                <a:gd name="T82" fmla="*/ 2147483647 w 535"/>
                <a:gd name="T83" fmla="*/ 2147483647 h 242"/>
                <a:gd name="T84" fmla="*/ 2147483647 w 535"/>
                <a:gd name="T85" fmla="*/ 2147483647 h 242"/>
                <a:gd name="T86" fmla="*/ 2147483647 w 535"/>
                <a:gd name="T87" fmla="*/ 2147483647 h 242"/>
                <a:gd name="T88" fmla="*/ 2147483647 w 535"/>
                <a:gd name="T89" fmla="*/ 2147483647 h 242"/>
                <a:gd name="T90" fmla="*/ 2147483647 w 535"/>
                <a:gd name="T91" fmla="*/ 2147483647 h 242"/>
                <a:gd name="T92" fmla="*/ 2147483647 w 535"/>
                <a:gd name="T93" fmla="*/ 2147483647 h 242"/>
                <a:gd name="T94" fmla="*/ 2147483647 w 535"/>
                <a:gd name="T95" fmla="*/ 2147483647 h 242"/>
                <a:gd name="T96" fmla="*/ 2147483647 w 535"/>
                <a:gd name="T97" fmla="*/ 2147483647 h 242"/>
                <a:gd name="T98" fmla="*/ 2147483647 w 535"/>
                <a:gd name="T99" fmla="*/ 2147483647 h 242"/>
                <a:gd name="T100" fmla="*/ 2147483647 w 535"/>
                <a:gd name="T101" fmla="*/ 2147483647 h 242"/>
                <a:gd name="T102" fmla="*/ 2147483647 w 535"/>
                <a:gd name="T103" fmla="*/ 2147483647 h 242"/>
                <a:gd name="T104" fmla="*/ 2147483647 w 535"/>
                <a:gd name="T105" fmla="*/ 2147483647 h 242"/>
                <a:gd name="T106" fmla="*/ 2147483647 w 535"/>
                <a:gd name="T107" fmla="*/ 2147483647 h 242"/>
                <a:gd name="T108" fmla="*/ 2147483647 w 535"/>
                <a:gd name="T109" fmla="*/ 2147483647 h 242"/>
                <a:gd name="T110" fmla="*/ 2147483647 w 535"/>
                <a:gd name="T111" fmla="*/ 2147483647 h 242"/>
                <a:gd name="T112" fmla="*/ 2147483647 w 535"/>
                <a:gd name="T113" fmla="*/ 2147483647 h 242"/>
                <a:gd name="T114" fmla="*/ 2147483647 w 535"/>
                <a:gd name="T115" fmla="*/ 2147483647 h 242"/>
                <a:gd name="T116" fmla="*/ 2147483647 w 535"/>
                <a:gd name="T117" fmla="*/ 2147483647 h 242"/>
                <a:gd name="T118" fmla="*/ 2147483647 w 535"/>
                <a:gd name="T119" fmla="*/ 2147483647 h 242"/>
                <a:gd name="T120" fmla="*/ 2147483647 w 535"/>
                <a:gd name="T121" fmla="*/ 2147483647 h 242"/>
                <a:gd name="T122" fmla="*/ 2147483647 w 535"/>
                <a:gd name="T123" fmla="*/ 2147483647 h 242"/>
                <a:gd name="T124" fmla="*/ 2147483647 w 535"/>
                <a:gd name="T125" fmla="*/ 2147483647 h 2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5"/>
                <a:gd name="T190" fmla="*/ 0 h 242"/>
                <a:gd name="T191" fmla="*/ 535 w 535"/>
                <a:gd name="T192" fmla="*/ 242 h 2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5" h="242">
                  <a:moveTo>
                    <a:pt x="482" y="49"/>
                  </a:moveTo>
                  <a:lnTo>
                    <a:pt x="482" y="49"/>
                  </a:lnTo>
                  <a:lnTo>
                    <a:pt x="475" y="55"/>
                  </a:lnTo>
                  <a:lnTo>
                    <a:pt x="474" y="58"/>
                  </a:lnTo>
                  <a:lnTo>
                    <a:pt x="474" y="62"/>
                  </a:lnTo>
                  <a:lnTo>
                    <a:pt x="476" y="64"/>
                  </a:lnTo>
                  <a:lnTo>
                    <a:pt x="478" y="65"/>
                  </a:lnTo>
                  <a:lnTo>
                    <a:pt x="478" y="66"/>
                  </a:lnTo>
                  <a:lnTo>
                    <a:pt x="475" y="72"/>
                  </a:lnTo>
                  <a:lnTo>
                    <a:pt x="471" y="76"/>
                  </a:lnTo>
                  <a:lnTo>
                    <a:pt x="469" y="82"/>
                  </a:lnTo>
                  <a:lnTo>
                    <a:pt x="469" y="84"/>
                  </a:lnTo>
                  <a:lnTo>
                    <a:pt x="470" y="88"/>
                  </a:lnTo>
                  <a:lnTo>
                    <a:pt x="473" y="92"/>
                  </a:lnTo>
                  <a:lnTo>
                    <a:pt x="475" y="94"/>
                  </a:lnTo>
                  <a:lnTo>
                    <a:pt x="479" y="95"/>
                  </a:lnTo>
                  <a:lnTo>
                    <a:pt x="483" y="96"/>
                  </a:lnTo>
                  <a:lnTo>
                    <a:pt x="488" y="96"/>
                  </a:lnTo>
                  <a:lnTo>
                    <a:pt x="498" y="95"/>
                  </a:lnTo>
                  <a:lnTo>
                    <a:pt x="508" y="95"/>
                  </a:lnTo>
                  <a:lnTo>
                    <a:pt x="513" y="95"/>
                  </a:lnTo>
                  <a:lnTo>
                    <a:pt x="517" y="96"/>
                  </a:lnTo>
                  <a:lnTo>
                    <a:pt x="525" y="100"/>
                  </a:lnTo>
                  <a:lnTo>
                    <a:pt x="531" y="106"/>
                  </a:lnTo>
                  <a:lnTo>
                    <a:pt x="534" y="109"/>
                  </a:lnTo>
                  <a:lnTo>
                    <a:pt x="535" y="113"/>
                  </a:lnTo>
                  <a:lnTo>
                    <a:pt x="535" y="116"/>
                  </a:lnTo>
                  <a:lnTo>
                    <a:pt x="535" y="120"/>
                  </a:lnTo>
                  <a:lnTo>
                    <a:pt x="532" y="122"/>
                  </a:lnTo>
                  <a:lnTo>
                    <a:pt x="527" y="124"/>
                  </a:lnTo>
                  <a:lnTo>
                    <a:pt x="517" y="127"/>
                  </a:lnTo>
                  <a:lnTo>
                    <a:pt x="509" y="127"/>
                  </a:lnTo>
                  <a:lnTo>
                    <a:pt x="501" y="128"/>
                  </a:lnTo>
                  <a:lnTo>
                    <a:pt x="497" y="128"/>
                  </a:lnTo>
                  <a:lnTo>
                    <a:pt x="494" y="130"/>
                  </a:lnTo>
                  <a:lnTo>
                    <a:pt x="490" y="133"/>
                  </a:lnTo>
                  <a:lnTo>
                    <a:pt x="487" y="136"/>
                  </a:lnTo>
                  <a:lnTo>
                    <a:pt x="485" y="138"/>
                  </a:lnTo>
                  <a:lnTo>
                    <a:pt x="484" y="138"/>
                  </a:lnTo>
                  <a:lnTo>
                    <a:pt x="480" y="138"/>
                  </a:lnTo>
                  <a:lnTo>
                    <a:pt x="473" y="134"/>
                  </a:lnTo>
                  <a:lnTo>
                    <a:pt x="471" y="134"/>
                  </a:lnTo>
                  <a:lnTo>
                    <a:pt x="470" y="136"/>
                  </a:lnTo>
                  <a:lnTo>
                    <a:pt x="468" y="140"/>
                  </a:lnTo>
                  <a:lnTo>
                    <a:pt x="465" y="145"/>
                  </a:lnTo>
                  <a:lnTo>
                    <a:pt x="464" y="149"/>
                  </a:lnTo>
                  <a:lnTo>
                    <a:pt x="462" y="152"/>
                  </a:lnTo>
                  <a:lnTo>
                    <a:pt x="461" y="152"/>
                  </a:lnTo>
                  <a:lnTo>
                    <a:pt x="447" y="155"/>
                  </a:lnTo>
                  <a:lnTo>
                    <a:pt x="443" y="155"/>
                  </a:lnTo>
                  <a:lnTo>
                    <a:pt x="428" y="167"/>
                  </a:lnTo>
                  <a:lnTo>
                    <a:pt x="424" y="170"/>
                  </a:lnTo>
                  <a:lnTo>
                    <a:pt x="421" y="171"/>
                  </a:lnTo>
                  <a:lnTo>
                    <a:pt x="417" y="171"/>
                  </a:lnTo>
                  <a:lnTo>
                    <a:pt x="412" y="170"/>
                  </a:lnTo>
                  <a:lnTo>
                    <a:pt x="404" y="166"/>
                  </a:lnTo>
                  <a:lnTo>
                    <a:pt x="395" y="164"/>
                  </a:lnTo>
                  <a:lnTo>
                    <a:pt x="391" y="162"/>
                  </a:lnTo>
                  <a:lnTo>
                    <a:pt x="389" y="164"/>
                  </a:lnTo>
                  <a:lnTo>
                    <a:pt x="385" y="166"/>
                  </a:lnTo>
                  <a:lnTo>
                    <a:pt x="382" y="170"/>
                  </a:lnTo>
                  <a:lnTo>
                    <a:pt x="380" y="177"/>
                  </a:lnTo>
                  <a:lnTo>
                    <a:pt x="379" y="180"/>
                  </a:lnTo>
                  <a:lnTo>
                    <a:pt x="379" y="184"/>
                  </a:lnTo>
                  <a:lnTo>
                    <a:pt x="380" y="187"/>
                  </a:lnTo>
                  <a:lnTo>
                    <a:pt x="384" y="190"/>
                  </a:lnTo>
                  <a:lnTo>
                    <a:pt x="386" y="191"/>
                  </a:lnTo>
                  <a:lnTo>
                    <a:pt x="389" y="193"/>
                  </a:lnTo>
                  <a:lnTo>
                    <a:pt x="390" y="197"/>
                  </a:lnTo>
                  <a:lnTo>
                    <a:pt x="390" y="199"/>
                  </a:lnTo>
                  <a:lnTo>
                    <a:pt x="390" y="203"/>
                  </a:lnTo>
                  <a:lnTo>
                    <a:pt x="389" y="206"/>
                  </a:lnTo>
                  <a:lnTo>
                    <a:pt x="385" y="211"/>
                  </a:lnTo>
                  <a:lnTo>
                    <a:pt x="379" y="216"/>
                  </a:lnTo>
                  <a:lnTo>
                    <a:pt x="369" y="219"/>
                  </a:lnTo>
                  <a:lnTo>
                    <a:pt x="357" y="222"/>
                  </a:lnTo>
                  <a:lnTo>
                    <a:pt x="346" y="223"/>
                  </a:lnTo>
                  <a:lnTo>
                    <a:pt x="341" y="222"/>
                  </a:lnTo>
                  <a:lnTo>
                    <a:pt x="334" y="221"/>
                  </a:lnTo>
                  <a:lnTo>
                    <a:pt x="330" y="221"/>
                  </a:lnTo>
                  <a:lnTo>
                    <a:pt x="325" y="221"/>
                  </a:lnTo>
                  <a:lnTo>
                    <a:pt x="320" y="223"/>
                  </a:lnTo>
                  <a:lnTo>
                    <a:pt x="316" y="225"/>
                  </a:lnTo>
                  <a:lnTo>
                    <a:pt x="308" y="232"/>
                  </a:lnTo>
                  <a:lnTo>
                    <a:pt x="299" y="238"/>
                  </a:lnTo>
                  <a:lnTo>
                    <a:pt x="291" y="242"/>
                  </a:lnTo>
                  <a:lnTo>
                    <a:pt x="285" y="242"/>
                  </a:lnTo>
                  <a:lnTo>
                    <a:pt x="269" y="242"/>
                  </a:lnTo>
                  <a:lnTo>
                    <a:pt x="262" y="241"/>
                  </a:lnTo>
                  <a:lnTo>
                    <a:pt x="253" y="238"/>
                  </a:lnTo>
                  <a:lnTo>
                    <a:pt x="249" y="236"/>
                  </a:lnTo>
                  <a:lnTo>
                    <a:pt x="244" y="231"/>
                  </a:lnTo>
                  <a:lnTo>
                    <a:pt x="240" y="226"/>
                  </a:lnTo>
                  <a:lnTo>
                    <a:pt x="236" y="224"/>
                  </a:lnTo>
                  <a:lnTo>
                    <a:pt x="234" y="223"/>
                  </a:lnTo>
                  <a:lnTo>
                    <a:pt x="230" y="223"/>
                  </a:lnTo>
                  <a:lnTo>
                    <a:pt x="226" y="224"/>
                  </a:lnTo>
                  <a:lnTo>
                    <a:pt x="220" y="225"/>
                  </a:lnTo>
                  <a:lnTo>
                    <a:pt x="214" y="228"/>
                  </a:lnTo>
                  <a:lnTo>
                    <a:pt x="210" y="229"/>
                  </a:lnTo>
                  <a:lnTo>
                    <a:pt x="207" y="228"/>
                  </a:lnTo>
                  <a:lnTo>
                    <a:pt x="183" y="224"/>
                  </a:lnTo>
                  <a:lnTo>
                    <a:pt x="172" y="222"/>
                  </a:lnTo>
                  <a:lnTo>
                    <a:pt x="159" y="219"/>
                  </a:lnTo>
                  <a:lnTo>
                    <a:pt x="154" y="218"/>
                  </a:lnTo>
                  <a:lnTo>
                    <a:pt x="150" y="217"/>
                  </a:lnTo>
                  <a:lnTo>
                    <a:pt x="146" y="213"/>
                  </a:lnTo>
                  <a:lnTo>
                    <a:pt x="142" y="210"/>
                  </a:lnTo>
                  <a:lnTo>
                    <a:pt x="139" y="205"/>
                  </a:lnTo>
                  <a:lnTo>
                    <a:pt x="135" y="199"/>
                  </a:lnTo>
                  <a:lnTo>
                    <a:pt x="130" y="193"/>
                  </a:lnTo>
                  <a:lnTo>
                    <a:pt x="126" y="187"/>
                  </a:lnTo>
                  <a:lnTo>
                    <a:pt x="122" y="183"/>
                  </a:lnTo>
                  <a:lnTo>
                    <a:pt x="118" y="181"/>
                  </a:lnTo>
                  <a:lnTo>
                    <a:pt x="108" y="179"/>
                  </a:lnTo>
                  <a:lnTo>
                    <a:pt x="101" y="175"/>
                  </a:lnTo>
                  <a:lnTo>
                    <a:pt x="85" y="167"/>
                  </a:lnTo>
                  <a:lnTo>
                    <a:pt x="80" y="165"/>
                  </a:lnTo>
                  <a:lnTo>
                    <a:pt x="78" y="165"/>
                  </a:lnTo>
                  <a:lnTo>
                    <a:pt x="75" y="162"/>
                  </a:lnTo>
                  <a:lnTo>
                    <a:pt x="73" y="159"/>
                  </a:lnTo>
                  <a:lnTo>
                    <a:pt x="70" y="154"/>
                  </a:lnTo>
                  <a:lnTo>
                    <a:pt x="68" y="145"/>
                  </a:lnTo>
                  <a:lnTo>
                    <a:pt x="65" y="134"/>
                  </a:lnTo>
                  <a:lnTo>
                    <a:pt x="62" y="124"/>
                  </a:lnTo>
                  <a:lnTo>
                    <a:pt x="54" y="117"/>
                  </a:lnTo>
                  <a:lnTo>
                    <a:pt x="46" y="110"/>
                  </a:lnTo>
                  <a:lnTo>
                    <a:pt x="41" y="108"/>
                  </a:lnTo>
                  <a:lnTo>
                    <a:pt x="36" y="107"/>
                  </a:lnTo>
                  <a:lnTo>
                    <a:pt x="31" y="106"/>
                  </a:lnTo>
                  <a:lnTo>
                    <a:pt x="24" y="107"/>
                  </a:lnTo>
                  <a:lnTo>
                    <a:pt x="21" y="107"/>
                  </a:lnTo>
                  <a:lnTo>
                    <a:pt x="18" y="104"/>
                  </a:lnTo>
                  <a:lnTo>
                    <a:pt x="14" y="101"/>
                  </a:lnTo>
                  <a:lnTo>
                    <a:pt x="10" y="98"/>
                  </a:lnTo>
                  <a:lnTo>
                    <a:pt x="7" y="96"/>
                  </a:lnTo>
                  <a:lnTo>
                    <a:pt x="4" y="94"/>
                  </a:lnTo>
                  <a:lnTo>
                    <a:pt x="3" y="90"/>
                  </a:lnTo>
                  <a:lnTo>
                    <a:pt x="2" y="85"/>
                  </a:lnTo>
                  <a:lnTo>
                    <a:pt x="0" y="77"/>
                  </a:lnTo>
                  <a:lnTo>
                    <a:pt x="0" y="69"/>
                  </a:lnTo>
                  <a:lnTo>
                    <a:pt x="7" y="65"/>
                  </a:lnTo>
                  <a:lnTo>
                    <a:pt x="13" y="64"/>
                  </a:lnTo>
                  <a:lnTo>
                    <a:pt x="21" y="63"/>
                  </a:lnTo>
                  <a:lnTo>
                    <a:pt x="29" y="62"/>
                  </a:lnTo>
                  <a:lnTo>
                    <a:pt x="31" y="62"/>
                  </a:lnTo>
                  <a:lnTo>
                    <a:pt x="32" y="60"/>
                  </a:lnTo>
                  <a:lnTo>
                    <a:pt x="32" y="57"/>
                  </a:lnTo>
                  <a:lnTo>
                    <a:pt x="28" y="51"/>
                  </a:lnTo>
                  <a:lnTo>
                    <a:pt x="27" y="49"/>
                  </a:lnTo>
                  <a:lnTo>
                    <a:pt x="27" y="47"/>
                  </a:lnTo>
                  <a:lnTo>
                    <a:pt x="33" y="44"/>
                  </a:lnTo>
                  <a:lnTo>
                    <a:pt x="38" y="41"/>
                  </a:lnTo>
                  <a:lnTo>
                    <a:pt x="45" y="39"/>
                  </a:lnTo>
                  <a:lnTo>
                    <a:pt x="50" y="36"/>
                  </a:lnTo>
                  <a:lnTo>
                    <a:pt x="54" y="33"/>
                  </a:lnTo>
                  <a:lnTo>
                    <a:pt x="59" y="31"/>
                  </a:lnTo>
                  <a:lnTo>
                    <a:pt x="64" y="31"/>
                  </a:lnTo>
                  <a:lnTo>
                    <a:pt x="69" y="31"/>
                  </a:lnTo>
                  <a:lnTo>
                    <a:pt x="79" y="31"/>
                  </a:lnTo>
                  <a:lnTo>
                    <a:pt x="90" y="33"/>
                  </a:lnTo>
                  <a:lnTo>
                    <a:pt x="92" y="32"/>
                  </a:lnTo>
                  <a:lnTo>
                    <a:pt x="93" y="30"/>
                  </a:lnTo>
                  <a:lnTo>
                    <a:pt x="94" y="28"/>
                  </a:lnTo>
                  <a:lnTo>
                    <a:pt x="97" y="27"/>
                  </a:lnTo>
                  <a:lnTo>
                    <a:pt x="99" y="28"/>
                  </a:lnTo>
                  <a:lnTo>
                    <a:pt x="102" y="30"/>
                  </a:lnTo>
                  <a:lnTo>
                    <a:pt x="103" y="32"/>
                  </a:lnTo>
                  <a:lnTo>
                    <a:pt x="104" y="33"/>
                  </a:lnTo>
                  <a:lnTo>
                    <a:pt x="111" y="36"/>
                  </a:lnTo>
                  <a:lnTo>
                    <a:pt x="115" y="39"/>
                  </a:lnTo>
                  <a:lnTo>
                    <a:pt x="120" y="43"/>
                  </a:lnTo>
                  <a:lnTo>
                    <a:pt x="123" y="46"/>
                  </a:lnTo>
                  <a:lnTo>
                    <a:pt x="127" y="46"/>
                  </a:lnTo>
                  <a:lnTo>
                    <a:pt x="130" y="46"/>
                  </a:lnTo>
                  <a:lnTo>
                    <a:pt x="136" y="45"/>
                  </a:lnTo>
                  <a:lnTo>
                    <a:pt x="140" y="45"/>
                  </a:lnTo>
                  <a:lnTo>
                    <a:pt x="144" y="46"/>
                  </a:lnTo>
                  <a:lnTo>
                    <a:pt x="148" y="47"/>
                  </a:lnTo>
                  <a:lnTo>
                    <a:pt x="150" y="49"/>
                  </a:lnTo>
                  <a:lnTo>
                    <a:pt x="165" y="47"/>
                  </a:lnTo>
                  <a:lnTo>
                    <a:pt x="173" y="46"/>
                  </a:lnTo>
                  <a:lnTo>
                    <a:pt x="181" y="47"/>
                  </a:lnTo>
                  <a:lnTo>
                    <a:pt x="183" y="46"/>
                  </a:lnTo>
                  <a:lnTo>
                    <a:pt x="186" y="45"/>
                  </a:lnTo>
                  <a:lnTo>
                    <a:pt x="187" y="41"/>
                  </a:lnTo>
                  <a:lnTo>
                    <a:pt x="187" y="38"/>
                  </a:lnTo>
                  <a:lnTo>
                    <a:pt x="182" y="32"/>
                  </a:lnTo>
                  <a:lnTo>
                    <a:pt x="178" y="25"/>
                  </a:lnTo>
                  <a:lnTo>
                    <a:pt x="177" y="19"/>
                  </a:lnTo>
                  <a:lnTo>
                    <a:pt x="177" y="15"/>
                  </a:lnTo>
                  <a:lnTo>
                    <a:pt x="178" y="13"/>
                  </a:lnTo>
                  <a:lnTo>
                    <a:pt x="182" y="9"/>
                  </a:lnTo>
                  <a:lnTo>
                    <a:pt x="187" y="7"/>
                  </a:lnTo>
                  <a:lnTo>
                    <a:pt x="198" y="1"/>
                  </a:lnTo>
                  <a:lnTo>
                    <a:pt x="201" y="0"/>
                  </a:lnTo>
                  <a:lnTo>
                    <a:pt x="205" y="0"/>
                  </a:lnTo>
                  <a:lnTo>
                    <a:pt x="212" y="1"/>
                  </a:lnTo>
                  <a:lnTo>
                    <a:pt x="220" y="4"/>
                  </a:lnTo>
                  <a:lnTo>
                    <a:pt x="228" y="5"/>
                  </a:lnTo>
                  <a:lnTo>
                    <a:pt x="229" y="6"/>
                  </a:lnTo>
                  <a:lnTo>
                    <a:pt x="231" y="8"/>
                  </a:lnTo>
                  <a:lnTo>
                    <a:pt x="233" y="11"/>
                  </a:lnTo>
                  <a:lnTo>
                    <a:pt x="236" y="12"/>
                  </a:lnTo>
                  <a:lnTo>
                    <a:pt x="236" y="14"/>
                  </a:lnTo>
                  <a:lnTo>
                    <a:pt x="243" y="15"/>
                  </a:lnTo>
                  <a:lnTo>
                    <a:pt x="244" y="18"/>
                  </a:lnTo>
                  <a:lnTo>
                    <a:pt x="245" y="20"/>
                  </a:lnTo>
                  <a:lnTo>
                    <a:pt x="248" y="26"/>
                  </a:lnTo>
                  <a:lnTo>
                    <a:pt x="250" y="32"/>
                  </a:lnTo>
                  <a:lnTo>
                    <a:pt x="254" y="37"/>
                  </a:lnTo>
                  <a:lnTo>
                    <a:pt x="258" y="41"/>
                  </a:lnTo>
                  <a:lnTo>
                    <a:pt x="266" y="46"/>
                  </a:lnTo>
                  <a:lnTo>
                    <a:pt x="272" y="49"/>
                  </a:lnTo>
                  <a:lnTo>
                    <a:pt x="280" y="50"/>
                  </a:lnTo>
                  <a:lnTo>
                    <a:pt x="286" y="49"/>
                  </a:lnTo>
                  <a:lnTo>
                    <a:pt x="290" y="46"/>
                  </a:lnTo>
                  <a:lnTo>
                    <a:pt x="292" y="44"/>
                  </a:lnTo>
                  <a:lnTo>
                    <a:pt x="297" y="41"/>
                  </a:lnTo>
                  <a:lnTo>
                    <a:pt x="300" y="40"/>
                  </a:lnTo>
                  <a:lnTo>
                    <a:pt x="304" y="41"/>
                  </a:lnTo>
                  <a:lnTo>
                    <a:pt x="318" y="47"/>
                  </a:lnTo>
                  <a:lnTo>
                    <a:pt x="322" y="49"/>
                  </a:lnTo>
                  <a:lnTo>
                    <a:pt x="325" y="49"/>
                  </a:lnTo>
                  <a:lnTo>
                    <a:pt x="329" y="49"/>
                  </a:lnTo>
                  <a:lnTo>
                    <a:pt x="333" y="49"/>
                  </a:lnTo>
                  <a:lnTo>
                    <a:pt x="336" y="49"/>
                  </a:lnTo>
                  <a:lnTo>
                    <a:pt x="337" y="51"/>
                  </a:lnTo>
                  <a:lnTo>
                    <a:pt x="338" y="55"/>
                  </a:lnTo>
                  <a:lnTo>
                    <a:pt x="342" y="59"/>
                  </a:lnTo>
                  <a:lnTo>
                    <a:pt x="343" y="63"/>
                  </a:lnTo>
                  <a:lnTo>
                    <a:pt x="346" y="64"/>
                  </a:lnTo>
                  <a:lnTo>
                    <a:pt x="349" y="64"/>
                  </a:lnTo>
                  <a:lnTo>
                    <a:pt x="352" y="64"/>
                  </a:lnTo>
                  <a:lnTo>
                    <a:pt x="356" y="63"/>
                  </a:lnTo>
                  <a:lnTo>
                    <a:pt x="358" y="63"/>
                  </a:lnTo>
                  <a:lnTo>
                    <a:pt x="372" y="65"/>
                  </a:lnTo>
                  <a:lnTo>
                    <a:pt x="385" y="65"/>
                  </a:lnTo>
                  <a:lnTo>
                    <a:pt x="391" y="64"/>
                  </a:lnTo>
                  <a:lnTo>
                    <a:pt x="398" y="63"/>
                  </a:lnTo>
                  <a:lnTo>
                    <a:pt x="404" y="60"/>
                  </a:lnTo>
                  <a:lnTo>
                    <a:pt x="410" y="56"/>
                  </a:lnTo>
                  <a:lnTo>
                    <a:pt x="417" y="52"/>
                  </a:lnTo>
                  <a:lnTo>
                    <a:pt x="423" y="50"/>
                  </a:lnTo>
                  <a:lnTo>
                    <a:pt x="438" y="46"/>
                  </a:lnTo>
                  <a:lnTo>
                    <a:pt x="442" y="45"/>
                  </a:lnTo>
                  <a:lnTo>
                    <a:pt x="447" y="45"/>
                  </a:lnTo>
                  <a:lnTo>
                    <a:pt x="456" y="46"/>
                  </a:lnTo>
                  <a:lnTo>
                    <a:pt x="464" y="49"/>
                  </a:lnTo>
                  <a:lnTo>
                    <a:pt x="468" y="49"/>
                  </a:lnTo>
                  <a:lnTo>
                    <a:pt x="471" y="47"/>
                  </a:lnTo>
                  <a:lnTo>
                    <a:pt x="476" y="47"/>
                  </a:lnTo>
                  <a:lnTo>
                    <a:pt x="482" y="4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6" name="Freeform 615"/>
            <p:cNvSpPr>
              <a:spLocks/>
            </p:cNvSpPr>
            <p:nvPr/>
          </p:nvSpPr>
          <p:spPr bwMode="auto">
            <a:xfrm>
              <a:off x="6921501" y="3670300"/>
              <a:ext cx="174625" cy="477838"/>
            </a:xfrm>
            <a:custGeom>
              <a:avLst/>
              <a:gdLst>
                <a:gd name="T0" fmla="*/ 2147483647 w 120"/>
                <a:gd name="T1" fmla="*/ 2147483647 h 301"/>
                <a:gd name="T2" fmla="*/ 2147483647 w 120"/>
                <a:gd name="T3" fmla="*/ 2147483647 h 301"/>
                <a:gd name="T4" fmla="*/ 2147483647 w 120"/>
                <a:gd name="T5" fmla="*/ 2147483647 h 301"/>
                <a:gd name="T6" fmla="*/ 2147483647 w 120"/>
                <a:gd name="T7" fmla="*/ 2147483647 h 301"/>
                <a:gd name="T8" fmla="*/ 2147483647 w 120"/>
                <a:gd name="T9" fmla="*/ 2147483647 h 301"/>
                <a:gd name="T10" fmla="*/ 2147483647 w 120"/>
                <a:gd name="T11" fmla="*/ 2147483647 h 301"/>
                <a:gd name="T12" fmla="*/ 2147483647 w 120"/>
                <a:gd name="T13" fmla="*/ 2147483647 h 301"/>
                <a:gd name="T14" fmla="*/ 2147483647 w 120"/>
                <a:gd name="T15" fmla="*/ 2147483647 h 301"/>
                <a:gd name="T16" fmla="*/ 2147483647 w 120"/>
                <a:gd name="T17" fmla="*/ 2147483647 h 301"/>
                <a:gd name="T18" fmla="*/ 2147483647 w 120"/>
                <a:gd name="T19" fmla="*/ 2147483647 h 301"/>
                <a:gd name="T20" fmla="*/ 2147483647 w 120"/>
                <a:gd name="T21" fmla="*/ 2147483647 h 301"/>
                <a:gd name="T22" fmla="*/ 2147483647 w 120"/>
                <a:gd name="T23" fmla="*/ 2147483647 h 301"/>
                <a:gd name="T24" fmla="*/ 2147483647 w 120"/>
                <a:gd name="T25" fmla="*/ 2147483647 h 301"/>
                <a:gd name="T26" fmla="*/ 2147483647 w 120"/>
                <a:gd name="T27" fmla="*/ 2147483647 h 301"/>
                <a:gd name="T28" fmla="*/ 2147483647 w 120"/>
                <a:gd name="T29" fmla="*/ 2147483647 h 301"/>
                <a:gd name="T30" fmla="*/ 2147483647 w 120"/>
                <a:gd name="T31" fmla="*/ 2147483647 h 301"/>
                <a:gd name="T32" fmla="*/ 2147483647 w 120"/>
                <a:gd name="T33" fmla="*/ 2147483647 h 301"/>
                <a:gd name="T34" fmla="*/ 2147483647 w 120"/>
                <a:gd name="T35" fmla="*/ 2147483647 h 301"/>
                <a:gd name="T36" fmla="*/ 2147483647 w 120"/>
                <a:gd name="T37" fmla="*/ 2147483647 h 301"/>
                <a:gd name="T38" fmla="*/ 2147483647 w 120"/>
                <a:gd name="T39" fmla="*/ 2147483647 h 301"/>
                <a:gd name="T40" fmla="*/ 2147483647 w 120"/>
                <a:gd name="T41" fmla="*/ 2147483647 h 301"/>
                <a:gd name="T42" fmla="*/ 2147483647 w 120"/>
                <a:gd name="T43" fmla="*/ 2147483647 h 301"/>
                <a:gd name="T44" fmla="*/ 2147483647 w 120"/>
                <a:gd name="T45" fmla="*/ 2147483647 h 301"/>
                <a:gd name="T46" fmla="*/ 2147483647 w 120"/>
                <a:gd name="T47" fmla="*/ 2147483647 h 301"/>
                <a:gd name="T48" fmla="*/ 2147483647 w 120"/>
                <a:gd name="T49" fmla="*/ 2147483647 h 301"/>
                <a:gd name="T50" fmla="*/ 2147483647 w 120"/>
                <a:gd name="T51" fmla="*/ 2147483647 h 301"/>
                <a:gd name="T52" fmla="*/ 2147483647 w 120"/>
                <a:gd name="T53" fmla="*/ 2147483647 h 301"/>
                <a:gd name="T54" fmla="*/ 2147483647 w 120"/>
                <a:gd name="T55" fmla="*/ 2147483647 h 301"/>
                <a:gd name="T56" fmla="*/ 2147483647 w 120"/>
                <a:gd name="T57" fmla="*/ 2147483647 h 301"/>
                <a:gd name="T58" fmla="*/ 2147483647 w 120"/>
                <a:gd name="T59" fmla="*/ 2147483647 h 301"/>
                <a:gd name="T60" fmla="*/ 2147483647 w 120"/>
                <a:gd name="T61" fmla="*/ 2147483647 h 301"/>
                <a:gd name="T62" fmla="*/ 2147483647 w 120"/>
                <a:gd name="T63" fmla="*/ 2147483647 h 301"/>
                <a:gd name="T64" fmla="*/ 2147483647 w 120"/>
                <a:gd name="T65" fmla="*/ 2147483647 h 301"/>
                <a:gd name="T66" fmla="*/ 2147483647 w 120"/>
                <a:gd name="T67" fmla="*/ 2147483647 h 301"/>
                <a:gd name="T68" fmla="*/ 2147483647 w 120"/>
                <a:gd name="T69" fmla="*/ 2147483647 h 301"/>
                <a:gd name="T70" fmla="*/ 2147483647 w 120"/>
                <a:gd name="T71" fmla="*/ 2147483647 h 301"/>
                <a:gd name="T72" fmla="*/ 2147483647 w 120"/>
                <a:gd name="T73" fmla="*/ 2147483647 h 301"/>
                <a:gd name="T74" fmla="*/ 2147483647 w 120"/>
                <a:gd name="T75" fmla="*/ 2147483647 h 301"/>
                <a:gd name="T76" fmla="*/ 2147483647 w 120"/>
                <a:gd name="T77" fmla="*/ 2147483647 h 301"/>
                <a:gd name="T78" fmla="*/ 2147483647 w 120"/>
                <a:gd name="T79" fmla="*/ 2147483647 h 301"/>
                <a:gd name="T80" fmla="*/ 2147483647 w 120"/>
                <a:gd name="T81" fmla="*/ 2147483647 h 301"/>
                <a:gd name="T82" fmla="*/ 2147483647 w 120"/>
                <a:gd name="T83" fmla="*/ 2147483647 h 301"/>
                <a:gd name="T84" fmla="*/ 2147483647 w 120"/>
                <a:gd name="T85" fmla="*/ 0 h 301"/>
                <a:gd name="T86" fmla="*/ 2147483647 w 120"/>
                <a:gd name="T87" fmla="*/ 2147483647 h 301"/>
                <a:gd name="T88" fmla="*/ 2147483647 w 120"/>
                <a:gd name="T89" fmla="*/ 2147483647 h 301"/>
                <a:gd name="T90" fmla="*/ 2147483647 w 120"/>
                <a:gd name="T91" fmla="*/ 2147483647 h 301"/>
                <a:gd name="T92" fmla="*/ 2147483647 w 120"/>
                <a:gd name="T93" fmla="*/ 2147483647 h 301"/>
                <a:gd name="T94" fmla="*/ 2147483647 w 120"/>
                <a:gd name="T95" fmla="*/ 2147483647 h 301"/>
                <a:gd name="T96" fmla="*/ 2147483647 w 120"/>
                <a:gd name="T97" fmla="*/ 2147483647 h 301"/>
                <a:gd name="T98" fmla="*/ 2147483647 w 120"/>
                <a:gd name="T99" fmla="*/ 2147483647 h 301"/>
                <a:gd name="T100" fmla="*/ 2147483647 w 120"/>
                <a:gd name="T101" fmla="*/ 2147483647 h 301"/>
                <a:gd name="T102" fmla="*/ 2147483647 w 120"/>
                <a:gd name="T103" fmla="*/ 2147483647 h 301"/>
                <a:gd name="T104" fmla="*/ 2147483647 w 120"/>
                <a:gd name="T105" fmla="*/ 2147483647 h 301"/>
                <a:gd name="T106" fmla="*/ 2147483647 w 120"/>
                <a:gd name="T107" fmla="*/ 2147483647 h 301"/>
                <a:gd name="T108" fmla="*/ 2147483647 w 120"/>
                <a:gd name="T109" fmla="*/ 2147483647 h 301"/>
                <a:gd name="T110" fmla="*/ 2147483647 w 120"/>
                <a:gd name="T111" fmla="*/ 2147483647 h 301"/>
                <a:gd name="T112" fmla="*/ 2147483647 w 120"/>
                <a:gd name="T113" fmla="*/ 2147483647 h 301"/>
                <a:gd name="T114" fmla="*/ 2147483647 w 120"/>
                <a:gd name="T115" fmla="*/ 2147483647 h 301"/>
                <a:gd name="T116" fmla="*/ 2147483647 w 120"/>
                <a:gd name="T117" fmla="*/ 2147483647 h 301"/>
                <a:gd name="T118" fmla="*/ 2147483647 w 120"/>
                <a:gd name="T119" fmla="*/ 2147483647 h 301"/>
                <a:gd name="T120" fmla="*/ 2147483647 w 120"/>
                <a:gd name="T121" fmla="*/ 2147483647 h 301"/>
                <a:gd name="T122" fmla="*/ 2147483647 w 120"/>
                <a:gd name="T123" fmla="*/ 2147483647 h 301"/>
                <a:gd name="T124" fmla="*/ 2147483647 w 120"/>
                <a:gd name="T125" fmla="*/ 2147483647 h 3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0"/>
                <a:gd name="T190" fmla="*/ 0 h 301"/>
                <a:gd name="T191" fmla="*/ 120 w 120"/>
                <a:gd name="T192" fmla="*/ 301 h 3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0" h="301">
                  <a:moveTo>
                    <a:pt x="82" y="180"/>
                  </a:moveTo>
                  <a:lnTo>
                    <a:pt x="82" y="180"/>
                  </a:lnTo>
                  <a:lnTo>
                    <a:pt x="83" y="188"/>
                  </a:lnTo>
                  <a:lnTo>
                    <a:pt x="86" y="197"/>
                  </a:lnTo>
                  <a:lnTo>
                    <a:pt x="87" y="200"/>
                  </a:lnTo>
                  <a:lnTo>
                    <a:pt x="87" y="204"/>
                  </a:lnTo>
                  <a:lnTo>
                    <a:pt x="83" y="211"/>
                  </a:lnTo>
                  <a:lnTo>
                    <a:pt x="80" y="219"/>
                  </a:lnTo>
                  <a:lnTo>
                    <a:pt x="76" y="235"/>
                  </a:lnTo>
                  <a:lnTo>
                    <a:pt x="76" y="237"/>
                  </a:lnTo>
                  <a:lnTo>
                    <a:pt x="73" y="238"/>
                  </a:lnTo>
                  <a:lnTo>
                    <a:pt x="67" y="239"/>
                  </a:lnTo>
                  <a:lnTo>
                    <a:pt x="67" y="241"/>
                  </a:lnTo>
                  <a:lnTo>
                    <a:pt x="66" y="242"/>
                  </a:lnTo>
                  <a:lnTo>
                    <a:pt x="64" y="245"/>
                  </a:lnTo>
                  <a:lnTo>
                    <a:pt x="66" y="248"/>
                  </a:lnTo>
                  <a:lnTo>
                    <a:pt x="64" y="251"/>
                  </a:lnTo>
                  <a:lnTo>
                    <a:pt x="63" y="254"/>
                  </a:lnTo>
                  <a:lnTo>
                    <a:pt x="59" y="255"/>
                  </a:lnTo>
                  <a:lnTo>
                    <a:pt x="55" y="254"/>
                  </a:lnTo>
                  <a:lnTo>
                    <a:pt x="52" y="254"/>
                  </a:lnTo>
                  <a:lnTo>
                    <a:pt x="47" y="254"/>
                  </a:lnTo>
                  <a:lnTo>
                    <a:pt x="45" y="255"/>
                  </a:lnTo>
                  <a:lnTo>
                    <a:pt x="43" y="256"/>
                  </a:lnTo>
                  <a:lnTo>
                    <a:pt x="40" y="259"/>
                  </a:lnTo>
                  <a:lnTo>
                    <a:pt x="39" y="264"/>
                  </a:lnTo>
                  <a:lnTo>
                    <a:pt x="39" y="269"/>
                  </a:lnTo>
                  <a:lnTo>
                    <a:pt x="41" y="269"/>
                  </a:lnTo>
                  <a:lnTo>
                    <a:pt x="43" y="269"/>
                  </a:lnTo>
                  <a:lnTo>
                    <a:pt x="45" y="270"/>
                  </a:lnTo>
                  <a:lnTo>
                    <a:pt x="45" y="271"/>
                  </a:lnTo>
                  <a:lnTo>
                    <a:pt x="45" y="274"/>
                  </a:lnTo>
                  <a:lnTo>
                    <a:pt x="41" y="277"/>
                  </a:lnTo>
                  <a:lnTo>
                    <a:pt x="40" y="282"/>
                  </a:lnTo>
                  <a:lnTo>
                    <a:pt x="39" y="291"/>
                  </a:lnTo>
                  <a:lnTo>
                    <a:pt x="38" y="294"/>
                  </a:lnTo>
                  <a:lnTo>
                    <a:pt x="35" y="295"/>
                  </a:lnTo>
                  <a:lnTo>
                    <a:pt x="35" y="297"/>
                  </a:lnTo>
                  <a:lnTo>
                    <a:pt x="36" y="300"/>
                  </a:lnTo>
                  <a:lnTo>
                    <a:pt x="39" y="301"/>
                  </a:lnTo>
                  <a:lnTo>
                    <a:pt x="41" y="300"/>
                  </a:lnTo>
                  <a:lnTo>
                    <a:pt x="47" y="296"/>
                  </a:lnTo>
                  <a:lnTo>
                    <a:pt x="52" y="290"/>
                  </a:lnTo>
                  <a:lnTo>
                    <a:pt x="54" y="288"/>
                  </a:lnTo>
                  <a:lnTo>
                    <a:pt x="58" y="286"/>
                  </a:lnTo>
                  <a:lnTo>
                    <a:pt x="60" y="287"/>
                  </a:lnTo>
                  <a:lnTo>
                    <a:pt x="62" y="287"/>
                  </a:lnTo>
                  <a:lnTo>
                    <a:pt x="63" y="286"/>
                  </a:lnTo>
                  <a:lnTo>
                    <a:pt x="63" y="284"/>
                  </a:lnTo>
                  <a:lnTo>
                    <a:pt x="66" y="283"/>
                  </a:lnTo>
                  <a:lnTo>
                    <a:pt x="68" y="283"/>
                  </a:lnTo>
                  <a:lnTo>
                    <a:pt x="71" y="282"/>
                  </a:lnTo>
                  <a:lnTo>
                    <a:pt x="72" y="280"/>
                  </a:lnTo>
                  <a:lnTo>
                    <a:pt x="71" y="270"/>
                  </a:lnTo>
                  <a:lnTo>
                    <a:pt x="72" y="267"/>
                  </a:lnTo>
                  <a:lnTo>
                    <a:pt x="74" y="263"/>
                  </a:lnTo>
                  <a:lnTo>
                    <a:pt x="78" y="262"/>
                  </a:lnTo>
                  <a:lnTo>
                    <a:pt x="82" y="262"/>
                  </a:lnTo>
                  <a:lnTo>
                    <a:pt x="86" y="263"/>
                  </a:lnTo>
                  <a:lnTo>
                    <a:pt x="91" y="263"/>
                  </a:lnTo>
                  <a:lnTo>
                    <a:pt x="95" y="262"/>
                  </a:lnTo>
                  <a:lnTo>
                    <a:pt x="96" y="259"/>
                  </a:lnTo>
                  <a:lnTo>
                    <a:pt x="104" y="251"/>
                  </a:lnTo>
                  <a:lnTo>
                    <a:pt x="107" y="248"/>
                  </a:lnTo>
                  <a:lnTo>
                    <a:pt x="111" y="245"/>
                  </a:lnTo>
                  <a:lnTo>
                    <a:pt x="115" y="244"/>
                  </a:lnTo>
                  <a:lnTo>
                    <a:pt x="118" y="243"/>
                  </a:lnTo>
                  <a:lnTo>
                    <a:pt x="119" y="242"/>
                  </a:lnTo>
                  <a:lnTo>
                    <a:pt x="120" y="237"/>
                  </a:lnTo>
                  <a:lnTo>
                    <a:pt x="119" y="233"/>
                  </a:lnTo>
                  <a:lnTo>
                    <a:pt x="116" y="231"/>
                  </a:lnTo>
                  <a:lnTo>
                    <a:pt x="116" y="227"/>
                  </a:lnTo>
                  <a:lnTo>
                    <a:pt x="118" y="222"/>
                  </a:lnTo>
                  <a:lnTo>
                    <a:pt x="118" y="218"/>
                  </a:lnTo>
                  <a:lnTo>
                    <a:pt x="116" y="214"/>
                  </a:lnTo>
                  <a:lnTo>
                    <a:pt x="114" y="212"/>
                  </a:lnTo>
                  <a:lnTo>
                    <a:pt x="113" y="208"/>
                  </a:lnTo>
                  <a:lnTo>
                    <a:pt x="110" y="197"/>
                  </a:lnTo>
                  <a:lnTo>
                    <a:pt x="109" y="191"/>
                  </a:lnTo>
                  <a:lnTo>
                    <a:pt x="110" y="185"/>
                  </a:lnTo>
                  <a:lnTo>
                    <a:pt x="110" y="182"/>
                  </a:lnTo>
                  <a:lnTo>
                    <a:pt x="109" y="182"/>
                  </a:lnTo>
                  <a:lnTo>
                    <a:pt x="106" y="179"/>
                  </a:lnTo>
                  <a:lnTo>
                    <a:pt x="104" y="176"/>
                  </a:lnTo>
                  <a:lnTo>
                    <a:pt x="102" y="171"/>
                  </a:lnTo>
                  <a:lnTo>
                    <a:pt x="101" y="163"/>
                  </a:lnTo>
                  <a:lnTo>
                    <a:pt x="99" y="158"/>
                  </a:lnTo>
                  <a:lnTo>
                    <a:pt x="92" y="148"/>
                  </a:lnTo>
                  <a:lnTo>
                    <a:pt x="85" y="141"/>
                  </a:lnTo>
                  <a:lnTo>
                    <a:pt x="77" y="133"/>
                  </a:lnTo>
                  <a:lnTo>
                    <a:pt x="69" y="124"/>
                  </a:lnTo>
                  <a:lnTo>
                    <a:pt x="69" y="122"/>
                  </a:lnTo>
                  <a:lnTo>
                    <a:pt x="71" y="120"/>
                  </a:lnTo>
                  <a:lnTo>
                    <a:pt x="71" y="117"/>
                  </a:lnTo>
                  <a:lnTo>
                    <a:pt x="71" y="115"/>
                  </a:lnTo>
                  <a:lnTo>
                    <a:pt x="68" y="114"/>
                  </a:lnTo>
                  <a:lnTo>
                    <a:pt x="67" y="112"/>
                  </a:lnTo>
                  <a:lnTo>
                    <a:pt x="64" y="111"/>
                  </a:lnTo>
                  <a:lnTo>
                    <a:pt x="63" y="110"/>
                  </a:lnTo>
                  <a:lnTo>
                    <a:pt x="62" y="107"/>
                  </a:lnTo>
                  <a:lnTo>
                    <a:pt x="62" y="103"/>
                  </a:lnTo>
                  <a:lnTo>
                    <a:pt x="60" y="99"/>
                  </a:lnTo>
                  <a:lnTo>
                    <a:pt x="59" y="96"/>
                  </a:lnTo>
                  <a:lnTo>
                    <a:pt x="54" y="90"/>
                  </a:lnTo>
                  <a:lnTo>
                    <a:pt x="54" y="88"/>
                  </a:lnTo>
                  <a:lnTo>
                    <a:pt x="54" y="86"/>
                  </a:lnTo>
                  <a:lnTo>
                    <a:pt x="58" y="83"/>
                  </a:lnTo>
                  <a:lnTo>
                    <a:pt x="58" y="80"/>
                  </a:lnTo>
                  <a:lnTo>
                    <a:pt x="62" y="75"/>
                  </a:lnTo>
                  <a:lnTo>
                    <a:pt x="64" y="70"/>
                  </a:lnTo>
                  <a:lnTo>
                    <a:pt x="71" y="59"/>
                  </a:lnTo>
                  <a:lnTo>
                    <a:pt x="74" y="56"/>
                  </a:lnTo>
                  <a:lnTo>
                    <a:pt x="81" y="52"/>
                  </a:lnTo>
                  <a:lnTo>
                    <a:pt x="86" y="50"/>
                  </a:lnTo>
                  <a:lnTo>
                    <a:pt x="91" y="46"/>
                  </a:lnTo>
                  <a:lnTo>
                    <a:pt x="95" y="43"/>
                  </a:lnTo>
                  <a:lnTo>
                    <a:pt x="101" y="41"/>
                  </a:lnTo>
                  <a:lnTo>
                    <a:pt x="99" y="38"/>
                  </a:lnTo>
                  <a:lnTo>
                    <a:pt x="95" y="35"/>
                  </a:lnTo>
                  <a:lnTo>
                    <a:pt x="88" y="32"/>
                  </a:lnTo>
                  <a:lnTo>
                    <a:pt x="81" y="28"/>
                  </a:lnTo>
                  <a:lnTo>
                    <a:pt x="73" y="25"/>
                  </a:lnTo>
                  <a:lnTo>
                    <a:pt x="71" y="24"/>
                  </a:lnTo>
                  <a:lnTo>
                    <a:pt x="71" y="22"/>
                  </a:lnTo>
                  <a:lnTo>
                    <a:pt x="71" y="19"/>
                  </a:lnTo>
                  <a:lnTo>
                    <a:pt x="72" y="14"/>
                  </a:lnTo>
                  <a:lnTo>
                    <a:pt x="72" y="12"/>
                  </a:lnTo>
                  <a:lnTo>
                    <a:pt x="72" y="11"/>
                  </a:lnTo>
                  <a:lnTo>
                    <a:pt x="67" y="5"/>
                  </a:lnTo>
                  <a:lnTo>
                    <a:pt x="62" y="2"/>
                  </a:lnTo>
                  <a:lnTo>
                    <a:pt x="57" y="0"/>
                  </a:lnTo>
                  <a:lnTo>
                    <a:pt x="49" y="1"/>
                  </a:lnTo>
                  <a:lnTo>
                    <a:pt x="38" y="5"/>
                  </a:lnTo>
                  <a:lnTo>
                    <a:pt x="29" y="7"/>
                  </a:lnTo>
                  <a:lnTo>
                    <a:pt x="21" y="12"/>
                  </a:lnTo>
                  <a:lnTo>
                    <a:pt x="17" y="13"/>
                  </a:lnTo>
                  <a:lnTo>
                    <a:pt x="12" y="14"/>
                  </a:lnTo>
                  <a:lnTo>
                    <a:pt x="5" y="13"/>
                  </a:lnTo>
                  <a:lnTo>
                    <a:pt x="2" y="14"/>
                  </a:lnTo>
                  <a:lnTo>
                    <a:pt x="0" y="16"/>
                  </a:lnTo>
                  <a:lnTo>
                    <a:pt x="2" y="18"/>
                  </a:lnTo>
                  <a:lnTo>
                    <a:pt x="8" y="24"/>
                  </a:lnTo>
                  <a:lnTo>
                    <a:pt x="14" y="29"/>
                  </a:lnTo>
                  <a:lnTo>
                    <a:pt x="17" y="38"/>
                  </a:lnTo>
                  <a:lnTo>
                    <a:pt x="21" y="45"/>
                  </a:lnTo>
                  <a:lnTo>
                    <a:pt x="21" y="46"/>
                  </a:lnTo>
                  <a:lnTo>
                    <a:pt x="22" y="47"/>
                  </a:lnTo>
                  <a:lnTo>
                    <a:pt x="33" y="47"/>
                  </a:lnTo>
                  <a:lnTo>
                    <a:pt x="38" y="47"/>
                  </a:lnTo>
                  <a:lnTo>
                    <a:pt x="41" y="48"/>
                  </a:lnTo>
                  <a:lnTo>
                    <a:pt x="43" y="50"/>
                  </a:lnTo>
                  <a:lnTo>
                    <a:pt x="44" y="51"/>
                  </a:lnTo>
                  <a:lnTo>
                    <a:pt x="43" y="53"/>
                  </a:lnTo>
                  <a:lnTo>
                    <a:pt x="41" y="57"/>
                  </a:lnTo>
                  <a:lnTo>
                    <a:pt x="41" y="60"/>
                  </a:lnTo>
                  <a:lnTo>
                    <a:pt x="43" y="61"/>
                  </a:lnTo>
                  <a:lnTo>
                    <a:pt x="45" y="61"/>
                  </a:lnTo>
                  <a:lnTo>
                    <a:pt x="47" y="63"/>
                  </a:lnTo>
                  <a:lnTo>
                    <a:pt x="45" y="64"/>
                  </a:lnTo>
                  <a:lnTo>
                    <a:pt x="44" y="66"/>
                  </a:lnTo>
                  <a:lnTo>
                    <a:pt x="41" y="75"/>
                  </a:lnTo>
                  <a:lnTo>
                    <a:pt x="40" y="78"/>
                  </a:lnTo>
                  <a:lnTo>
                    <a:pt x="38" y="79"/>
                  </a:lnTo>
                  <a:lnTo>
                    <a:pt x="35" y="79"/>
                  </a:lnTo>
                  <a:lnTo>
                    <a:pt x="33" y="82"/>
                  </a:lnTo>
                  <a:lnTo>
                    <a:pt x="33" y="84"/>
                  </a:lnTo>
                  <a:lnTo>
                    <a:pt x="33" y="86"/>
                  </a:lnTo>
                  <a:lnTo>
                    <a:pt x="31" y="89"/>
                  </a:lnTo>
                  <a:lnTo>
                    <a:pt x="30" y="92"/>
                  </a:lnTo>
                  <a:lnTo>
                    <a:pt x="30" y="95"/>
                  </a:lnTo>
                  <a:lnTo>
                    <a:pt x="30" y="97"/>
                  </a:lnTo>
                  <a:lnTo>
                    <a:pt x="33" y="98"/>
                  </a:lnTo>
                  <a:lnTo>
                    <a:pt x="38" y="98"/>
                  </a:lnTo>
                  <a:lnTo>
                    <a:pt x="41" y="101"/>
                  </a:lnTo>
                  <a:lnTo>
                    <a:pt x="44" y="103"/>
                  </a:lnTo>
                  <a:lnTo>
                    <a:pt x="47" y="107"/>
                  </a:lnTo>
                  <a:lnTo>
                    <a:pt x="50" y="115"/>
                  </a:lnTo>
                  <a:lnTo>
                    <a:pt x="54" y="122"/>
                  </a:lnTo>
                  <a:lnTo>
                    <a:pt x="58" y="126"/>
                  </a:lnTo>
                  <a:lnTo>
                    <a:pt x="62" y="130"/>
                  </a:lnTo>
                  <a:lnTo>
                    <a:pt x="64" y="135"/>
                  </a:lnTo>
                  <a:lnTo>
                    <a:pt x="67" y="140"/>
                  </a:lnTo>
                  <a:lnTo>
                    <a:pt x="76" y="149"/>
                  </a:lnTo>
                  <a:lnTo>
                    <a:pt x="77" y="152"/>
                  </a:lnTo>
                  <a:lnTo>
                    <a:pt x="78" y="155"/>
                  </a:lnTo>
                  <a:lnTo>
                    <a:pt x="81" y="161"/>
                  </a:lnTo>
                  <a:lnTo>
                    <a:pt x="81" y="167"/>
                  </a:lnTo>
                  <a:lnTo>
                    <a:pt x="82" y="18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7" name="Freeform 616"/>
            <p:cNvSpPr>
              <a:spLocks/>
            </p:cNvSpPr>
            <p:nvPr/>
          </p:nvSpPr>
          <p:spPr bwMode="auto">
            <a:xfrm>
              <a:off x="6916738" y="3943354"/>
              <a:ext cx="133350" cy="157163"/>
            </a:xfrm>
            <a:custGeom>
              <a:avLst/>
              <a:gdLst>
                <a:gd name="T0" fmla="*/ 2147483647 w 91"/>
                <a:gd name="T1" fmla="*/ 2147483647 h 99"/>
                <a:gd name="T2" fmla="*/ 2147483647 w 91"/>
                <a:gd name="T3" fmla="*/ 2147483647 h 99"/>
                <a:gd name="T4" fmla="*/ 2147483647 w 91"/>
                <a:gd name="T5" fmla="*/ 2147483647 h 99"/>
                <a:gd name="T6" fmla="*/ 2147483647 w 91"/>
                <a:gd name="T7" fmla="*/ 2147483647 h 99"/>
                <a:gd name="T8" fmla="*/ 2147483647 w 91"/>
                <a:gd name="T9" fmla="*/ 2147483647 h 99"/>
                <a:gd name="T10" fmla="*/ 2147483647 w 91"/>
                <a:gd name="T11" fmla="*/ 2147483647 h 99"/>
                <a:gd name="T12" fmla="*/ 2147483647 w 91"/>
                <a:gd name="T13" fmla="*/ 2147483647 h 99"/>
                <a:gd name="T14" fmla="*/ 2147483647 w 91"/>
                <a:gd name="T15" fmla="*/ 2147483647 h 99"/>
                <a:gd name="T16" fmla="*/ 2147483647 w 91"/>
                <a:gd name="T17" fmla="*/ 2147483647 h 99"/>
                <a:gd name="T18" fmla="*/ 2147483647 w 91"/>
                <a:gd name="T19" fmla="*/ 2147483647 h 99"/>
                <a:gd name="T20" fmla="*/ 2147483647 w 91"/>
                <a:gd name="T21" fmla="*/ 2147483647 h 99"/>
                <a:gd name="T22" fmla="*/ 2147483647 w 91"/>
                <a:gd name="T23" fmla="*/ 2147483647 h 99"/>
                <a:gd name="T24" fmla="*/ 2147483647 w 91"/>
                <a:gd name="T25" fmla="*/ 2147483647 h 99"/>
                <a:gd name="T26" fmla="*/ 2147483647 w 91"/>
                <a:gd name="T27" fmla="*/ 2147483647 h 99"/>
                <a:gd name="T28" fmla="*/ 2147483647 w 91"/>
                <a:gd name="T29" fmla="*/ 2147483647 h 99"/>
                <a:gd name="T30" fmla="*/ 2147483647 w 91"/>
                <a:gd name="T31" fmla="*/ 2147483647 h 99"/>
                <a:gd name="T32" fmla="*/ 2147483647 w 91"/>
                <a:gd name="T33" fmla="*/ 2147483647 h 99"/>
                <a:gd name="T34" fmla="*/ 2147483647 w 91"/>
                <a:gd name="T35" fmla="*/ 2147483647 h 99"/>
                <a:gd name="T36" fmla="*/ 2147483647 w 91"/>
                <a:gd name="T37" fmla="*/ 2147483647 h 99"/>
                <a:gd name="T38" fmla="*/ 2147483647 w 91"/>
                <a:gd name="T39" fmla="*/ 0 h 99"/>
                <a:gd name="T40" fmla="*/ 2147483647 w 91"/>
                <a:gd name="T41" fmla="*/ 2147483647 h 99"/>
                <a:gd name="T42" fmla="*/ 2147483647 w 91"/>
                <a:gd name="T43" fmla="*/ 2147483647 h 99"/>
                <a:gd name="T44" fmla="*/ 2147483647 w 91"/>
                <a:gd name="T45" fmla="*/ 2147483647 h 99"/>
                <a:gd name="T46" fmla="*/ 2147483647 w 91"/>
                <a:gd name="T47" fmla="*/ 2147483647 h 99"/>
                <a:gd name="T48" fmla="*/ 2147483647 w 91"/>
                <a:gd name="T49" fmla="*/ 2147483647 h 99"/>
                <a:gd name="T50" fmla="*/ 0 w 91"/>
                <a:gd name="T51" fmla="*/ 2147483647 h 99"/>
                <a:gd name="T52" fmla="*/ 2147483647 w 91"/>
                <a:gd name="T53" fmla="*/ 2147483647 h 99"/>
                <a:gd name="T54" fmla="*/ 2147483647 w 91"/>
                <a:gd name="T55" fmla="*/ 2147483647 h 99"/>
                <a:gd name="T56" fmla="*/ 2147483647 w 91"/>
                <a:gd name="T57" fmla="*/ 2147483647 h 99"/>
                <a:gd name="T58" fmla="*/ 2147483647 w 91"/>
                <a:gd name="T59" fmla="*/ 2147483647 h 99"/>
                <a:gd name="T60" fmla="*/ 2147483647 w 91"/>
                <a:gd name="T61" fmla="*/ 2147483647 h 99"/>
                <a:gd name="T62" fmla="*/ 2147483647 w 91"/>
                <a:gd name="T63" fmla="*/ 2147483647 h 99"/>
                <a:gd name="T64" fmla="*/ 2147483647 w 91"/>
                <a:gd name="T65" fmla="*/ 2147483647 h 99"/>
                <a:gd name="T66" fmla="*/ 2147483647 w 91"/>
                <a:gd name="T67" fmla="*/ 2147483647 h 99"/>
                <a:gd name="T68" fmla="*/ 2147483647 w 91"/>
                <a:gd name="T69" fmla="*/ 2147483647 h 99"/>
                <a:gd name="T70" fmla="*/ 2147483647 w 91"/>
                <a:gd name="T71" fmla="*/ 2147483647 h 99"/>
                <a:gd name="T72" fmla="*/ 2147483647 w 91"/>
                <a:gd name="T73" fmla="*/ 2147483647 h 99"/>
                <a:gd name="T74" fmla="*/ 2147483647 w 91"/>
                <a:gd name="T75" fmla="*/ 2147483647 h 99"/>
                <a:gd name="T76" fmla="*/ 2147483647 w 91"/>
                <a:gd name="T77" fmla="*/ 2147483647 h 99"/>
                <a:gd name="T78" fmla="*/ 2147483647 w 91"/>
                <a:gd name="T79" fmla="*/ 2147483647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1"/>
                <a:gd name="T121" fmla="*/ 0 h 99"/>
                <a:gd name="T122" fmla="*/ 91 w 91"/>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1" h="99">
                  <a:moveTo>
                    <a:pt x="43" y="98"/>
                  </a:moveTo>
                  <a:lnTo>
                    <a:pt x="43" y="93"/>
                  </a:lnTo>
                  <a:lnTo>
                    <a:pt x="44" y="89"/>
                  </a:lnTo>
                  <a:lnTo>
                    <a:pt x="47" y="85"/>
                  </a:lnTo>
                  <a:lnTo>
                    <a:pt x="50" y="84"/>
                  </a:lnTo>
                  <a:lnTo>
                    <a:pt x="51" y="83"/>
                  </a:lnTo>
                  <a:lnTo>
                    <a:pt x="56" y="83"/>
                  </a:lnTo>
                  <a:lnTo>
                    <a:pt x="60" y="83"/>
                  </a:lnTo>
                  <a:lnTo>
                    <a:pt x="63" y="84"/>
                  </a:lnTo>
                  <a:lnTo>
                    <a:pt x="67" y="83"/>
                  </a:lnTo>
                  <a:lnTo>
                    <a:pt x="69" y="80"/>
                  </a:lnTo>
                  <a:lnTo>
                    <a:pt x="70" y="77"/>
                  </a:lnTo>
                  <a:lnTo>
                    <a:pt x="69" y="74"/>
                  </a:lnTo>
                  <a:lnTo>
                    <a:pt x="70" y="71"/>
                  </a:lnTo>
                  <a:lnTo>
                    <a:pt x="71" y="70"/>
                  </a:lnTo>
                  <a:lnTo>
                    <a:pt x="71" y="69"/>
                  </a:lnTo>
                  <a:lnTo>
                    <a:pt x="77" y="67"/>
                  </a:lnTo>
                  <a:lnTo>
                    <a:pt x="80" y="66"/>
                  </a:lnTo>
                  <a:lnTo>
                    <a:pt x="80" y="64"/>
                  </a:lnTo>
                  <a:lnTo>
                    <a:pt x="84" y="48"/>
                  </a:lnTo>
                  <a:lnTo>
                    <a:pt x="88" y="40"/>
                  </a:lnTo>
                  <a:lnTo>
                    <a:pt x="91" y="33"/>
                  </a:lnTo>
                  <a:lnTo>
                    <a:pt x="91" y="29"/>
                  </a:lnTo>
                  <a:lnTo>
                    <a:pt x="90" y="26"/>
                  </a:lnTo>
                  <a:lnTo>
                    <a:pt x="88" y="18"/>
                  </a:lnTo>
                  <a:lnTo>
                    <a:pt x="86" y="9"/>
                  </a:lnTo>
                  <a:lnTo>
                    <a:pt x="83" y="9"/>
                  </a:lnTo>
                  <a:lnTo>
                    <a:pt x="80" y="10"/>
                  </a:lnTo>
                  <a:lnTo>
                    <a:pt x="75" y="15"/>
                  </a:lnTo>
                  <a:lnTo>
                    <a:pt x="74" y="15"/>
                  </a:lnTo>
                  <a:lnTo>
                    <a:pt x="72" y="15"/>
                  </a:lnTo>
                  <a:lnTo>
                    <a:pt x="71" y="14"/>
                  </a:lnTo>
                  <a:lnTo>
                    <a:pt x="70" y="13"/>
                  </a:lnTo>
                  <a:lnTo>
                    <a:pt x="70" y="10"/>
                  </a:lnTo>
                  <a:lnTo>
                    <a:pt x="69" y="9"/>
                  </a:lnTo>
                  <a:lnTo>
                    <a:pt x="65" y="7"/>
                  </a:lnTo>
                  <a:lnTo>
                    <a:pt x="61" y="3"/>
                  </a:lnTo>
                  <a:lnTo>
                    <a:pt x="57" y="1"/>
                  </a:lnTo>
                  <a:lnTo>
                    <a:pt x="53" y="0"/>
                  </a:lnTo>
                  <a:lnTo>
                    <a:pt x="50" y="0"/>
                  </a:lnTo>
                  <a:lnTo>
                    <a:pt x="48" y="2"/>
                  </a:lnTo>
                  <a:lnTo>
                    <a:pt x="44" y="8"/>
                  </a:lnTo>
                  <a:lnTo>
                    <a:pt x="43" y="9"/>
                  </a:lnTo>
                  <a:lnTo>
                    <a:pt x="41" y="10"/>
                  </a:lnTo>
                  <a:lnTo>
                    <a:pt x="34" y="10"/>
                  </a:lnTo>
                  <a:lnTo>
                    <a:pt x="29" y="10"/>
                  </a:lnTo>
                  <a:lnTo>
                    <a:pt x="23" y="10"/>
                  </a:lnTo>
                  <a:lnTo>
                    <a:pt x="20" y="12"/>
                  </a:lnTo>
                  <a:lnTo>
                    <a:pt x="18" y="14"/>
                  </a:lnTo>
                  <a:lnTo>
                    <a:pt x="9" y="22"/>
                  </a:lnTo>
                  <a:lnTo>
                    <a:pt x="1" y="32"/>
                  </a:lnTo>
                  <a:lnTo>
                    <a:pt x="0" y="34"/>
                  </a:lnTo>
                  <a:lnTo>
                    <a:pt x="1" y="36"/>
                  </a:lnTo>
                  <a:lnTo>
                    <a:pt x="5" y="40"/>
                  </a:lnTo>
                  <a:lnTo>
                    <a:pt x="6" y="45"/>
                  </a:lnTo>
                  <a:lnTo>
                    <a:pt x="8" y="51"/>
                  </a:lnTo>
                  <a:lnTo>
                    <a:pt x="8" y="57"/>
                  </a:lnTo>
                  <a:lnTo>
                    <a:pt x="6" y="59"/>
                  </a:lnTo>
                  <a:lnTo>
                    <a:pt x="4" y="60"/>
                  </a:lnTo>
                  <a:lnTo>
                    <a:pt x="5" y="63"/>
                  </a:lnTo>
                  <a:lnTo>
                    <a:pt x="10" y="67"/>
                  </a:lnTo>
                  <a:lnTo>
                    <a:pt x="13" y="72"/>
                  </a:lnTo>
                  <a:lnTo>
                    <a:pt x="18" y="82"/>
                  </a:lnTo>
                  <a:lnTo>
                    <a:pt x="19" y="85"/>
                  </a:lnTo>
                  <a:lnTo>
                    <a:pt x="20" y="86"/>
                  </a:lnTo>
                  <a:lnTo>
                    <a:pt x="24" y="86"/>
                  </a:lnTo>
                  <a:lnTo>
                    <a:pt x="27" y="85"/>
                  </a:lnTo>
                  <a:lnTo>
                    <a:pt x="29" y="85"/>
                  </a:lnTo>
                  <a:lnTo>
                    <a:pt x="32" y="85"/>
                  </a:lnTo>
                  <a:lnTo>
                    <a:pt x="33" y="86"/>
                  </a:lnTo>
                  <a:lnTo>
                    <a:pt x="34" y="87"/>
                  </a:lnTo>
                  <a:lnTo>
                    <a:pt x="33" y="90"/>
                  </a:lnTo>
                  <a:lnTo>
                    <a:pt x="29" y="95"/>
                  </a:lnTo>
                  <a:lnTo>
                    <a:pt x="28" y="96"/>
                  </a:lnTo>
                  <a:lnTo>
                    <a:pt x="28" y="98"/>
                  </a:lnTo>
                  <a:lnTo>
                    <a:pt x="29" y="99"/>
                  </a:lnTo>
                  <a:lnTo>
                    <a:pt x="30" y="99"/>
                  </a:lnTo>
                  <a:lnTo>
                    <a:pt x="33" y="98"/>
                  </a:lnTo>
                  <a:lnTo>
                    <a:pt x="37" y="98"/>
                  </a:lnTo>
                  <a:lnTo>
                    <a:pt x="43" y="9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8" name="Freeform 617"/>
            <p:cNvSpPr>
              <a:spLocks/>
            </p:cNvSpPr>
            <p:nvPr/>
          </p:nvSpPr>
          <p:spPr bwMode="auto">
            <a:xfrm>
              <a:off x="6873877" y="3695704"/>
              <a:ext cx="168275" cy="271463"/>
            </a:xfrm>
            <a:custGeom>
              <a:avLst/>
              <a:gdLst>
                <a:gd name="T0" fmla="*/ 2147483647 w 115"/>
                <a:gd name="T1" fmla="*/ 0 h 171"/>
                <a:gd name="T2" fmla="*/ 2147483647 w 115"/>
                <a:gd name="T3" fmla="*/ 2147483647 h 171"/>
                <a:gd name="T4" fmla="*/ 2147483647 w 115"/>
                <a:gd name="T5" fmla="*/ 2147483647 h 171"/>
                <a:gd name="T6" fmla="*/ 2147483647 w 115"/>
                <a:gd name="T7" fmla="*/ 2147483647 h 171"/>
                <a:gd name="T8" fmla="*/ 2147483647 w 115"/>
                <a:gd name="T9" fmla="*/ 2147483647 h 171"/>
                <a:gd name="T10" fmla="*/ 2147483647 w 115"/>
                <a:gd name="T11" fmla="*/ 2147483647 h 171"/>
                <a:gd name="T12" fmla="*/ 2147483647 w 115"/>
                <a:gd name="T13" fmla="*/ 2147483647 h 171"/>
                <a:gd name="T14" fmla="*/ 2147483647 w 115"/>
                <a:gd name="T15" fmla="*/ 2147483647 h 171"/>
                <a:gd name="T16" fmla="*/ 2147483647 w 115"/>
                <a:gd name="T17" fmla="*/ 2147483647 h 171"/>
                <a:gd name="T18" fmla="*/ 2147483647 w 115"/>
                <a:gd name="T19" fmla="*/ 2147483647 h 171"/>
                <a:gd name="T20" fmla="*/ 2147483647 w 115"/>
                <a:gd name="T21" fmla="*/ 2147483647 h 171"/>
                <a:gd name="T22" fmla="*/ 2147483647 w 115"/>
                <a:gd name="T23" fmla="*/ 2147483647 h 171"/>
                <a:gd name="T24" fmla="*/ 2147483647 w 115"/>
                <a:gd name="T25" fmla="*/ 2147483647 h 171"/>
                <a:gd name="T26" fmla="*/ 2147483647 w 115"/>
                <a:gd name="T27" fmla="*/ 2147483647 h 171"/>
                <a:gd name="T28" fmla="*/ 2147483647 w 115"/>
                <a:gd name="T29" fmla="*/ 2147483647 h 171"/>
                <a:gd name="T30" fmla="*/ 2147483647 w 115"/>
                <a:gd name="T31" fmla="*/ 2147483647 h 171"/>
                <a:gd name="T32" fmla="*/ 2147483647 w 115"/>
                <a:gd name="T33" fmla="*/ 2147483647 h 171"/>
                <a:gd name="T34" fmla="*/ 2147483647 w 115"/>
                <a:gd name="T35" fmla="*/ 2147483647 h 171"/>
                <a:gd name="T36" fmla="*/ 2147483647 w 115"/>
                <a:gd name="T37" fmla="*/ 2147483647 h 171"/>
                <a:gd name="T38" fmla="*/ 2147483647 w 115"/>
                <a:gd name="T39" fmla="*/ 2147483647 h 171"/>
                <a:gd name="T40" fmla="*/ 2147483647 w 115"/>
                <a:gd name="T41" fmla="*/ 2147483647 h 171"/>
                <a:gd name="T42" fmla="*/ 2147483647 w 115"/>
                <a:gd name="T43" fmla="*/ 2147483647 h 171"/>
                <a:gd name="T44" fmla="*/ 2147483647 w 115"/>
                <a:gd name="T45" fmla="*/ 2147483647 h 171"/>
                <a:gd name="T46" fmla="*/ 2147483647 w 115"/>
                <a:gd name="T47" fmla="*/ 2147483647 h 171"/>
                <a:gd name="T48" fmla="*/ 2147483647 w 115"/>
                <a:gd name="T49" fmla="*/ 2147483647 h 171"/>
                <a:gd name="T50" fmla="*/ 2147483647 w 115"/>
                <a:gd name="T51" fmla="*/ 2147483647 h 171"/>
                <a:gd name="T52" fmla="*/ 2147483647 w 115"/>
                <a:gd name="T53" fmla="*/ 2147483647 h 171"/>
                <a:gd name="T54" fmla="*/ 2147483647 w 115"/>
                <a:gd name="T55" fmla="*/ 2147483647 h 171"/>
                <a:gd name="T56" fmla="*/ 2147483647 w 115"/>
                <a:gd name="T57" fmla="*/ 2147483647 h 171"/>
                <a:gd name="T58" fmla="*/ 2147483647 w 115"/>
                <a:gd name="T59" fmla="*/ 2147483647 h 171"/>
                <a:gd name="T60" fmla="*/ 2147483647 w 115"/>
                <a:gd name="T61" fmla="*/ 2147483647 h 171"/>
                <a:gd name="T62" fmla="*/ 2147483647 w 115"/>
                <a:gd name="T63" fmla="*/ 2147483647 h 171"/>
                <a:gd name="T64" fmla="*/ 2147483647 w 115"/>
                <a:gd name="T65" fmla="*/ 2147483647 h 171"/>
                <a:gd name="T66" fmla="*/ 2147483647 w 115"/>
                <a:gd name="T67" fmla="*/ 2147483647 h 171"/>
                <a:gd name="T68" fmla="*/ 2147483647 w 115"/>
                <a:gd name="T69" fmla="*/ 2147483647 h 171"/>
                <a:gd name="T70" fmla="*/ 2147483647 w 115"/>
                <a:gd name="T71" fmla="*/ 2147483647 h 171"/>
                <a:gd name="T72" fmla="*/ 2147483647 w 115"/>
                <a:gd name="T73" fmla="*/ 2147483647 h 171"/>
                <a:gd name="T74" fmla="*/ 2147483647 w 115"/>
                <a:gd name="T75" fmla="*/ 2147483647 h 171"/>
                <a:gd name="T76" fmla="*/ 2147483647 w 115"/>
                <a:gd name="T77" fmla="*/ 2147483647 h 171"/>
                <a:gd name="T78" fmla="*/ 2147483647 w 115"/>
                <a:gd name="T79" fmla="*/ 2147483647 h 171"/>
                <a:gd name="T80" fmla="*/ 2147483647 w 115"/>
                <a:gd name="T81" fmla="*/ 2147483647 h 171"/>
                <a:gd name="T82" fmla="*/ 2147483647 w 115"/>
                <a:gd name="T83" fmla="*/ 2147483647 h 171"/>
                <a:gd name="T84" fmla="*/ 2147483647 w 115"/>
                <a:gd name="T85" fmla="*/ 2147483647 h 171"/>
                <a:gd name="T86" fmla="*/ 2147483647 w 115"/>
                <a:gd name="T87" fmla="*/ 2147483647 h 171"/>
                <a:gd name="T88" fmla="*/ 2147483647 w 115"/>
                <a:gd name="T89" fmla="*/ 2147483647 h 171"/>
                <a:gd name="T90" fmla="*/ 2147483647 w 115"/>
                <a:gd name="T91" fmla="*/ 2147483647 h 171"/>
                <a:gd name="T92" fmla="*/ 2147483647 w 115"/>
                <a:gd name="T93" fmla="*/ 2147483647 h 171"/>
                <a:gd name="T94" fmla="*/ 2147483647 w 115"/>
                <a:gd name="T95" fmla="*/ 2147483647 h 171"/>
                <a:gd name="T96" fmla="*/ 2147483647 w 115"/>
                <a:gd name="T97" fmla="*/ 2147483647 h 171"/>
                <a:gd name="T98" fmla="*/ 2147483647 w 115"/>
                <a:gd name="T99" fmla="*/ 2147483647 h 171"/>
                <a:gd name="T100" fmla="*/ 2147483647 w 115"/>
                <a:gd name="T101" fmla="*/ 2147483647 h 171"/>
                <a:gd name="T102" fmla="*/ 2147483647 w 115"/>
                <a:gd name="T103" fmla="*/ 2147483647 h 171"/>
                <a:gd name="T104" fmla="*/ 2147483647 w 115"/>
                <a:gd name="T105" fmla="*/ 2147483647 h 171"/>
                <a:gd name="T106" fmla="*/ 2147483647 w 115"/>
                <a:gd name="T107" fmla="*/ 2147483647 h 171"/>
                <a:gd name="T108" fmla="*/ 2147483647 w 115"/>
                <a:gd name="T109" fmla="*/ 2147483647 h 171"/>
                <a:gd name="T110" fmla="*/ 2147483647 w 115"/>
                <a:gd name="T111" fmla="*/ 2147483647 h 171"/>
                <a:gd name="T112" fmla="*/ 2147483647 w 115"/>
                <a:gd name="T113" fmla="*/ 2147483647 h 171"/>
                <a:gd name="T114" fmla="*/ 2147483647 w 115"/>
                <a:gd name="T115" fmla="*/ 2147483647 h 171"/>
                <a:gd name="T116" fmla="*/ 2147483647 w 115"/>
                <a:gd name="T117" fmla="*/ 2147483647 h 171"/>
                <a:gd name="T118" fmla="*/ 2147483647 w 115"/>
                <a:gd name="T119" fmla="*/ 2147483647 h 171"/>
                <a:gd name="T120" fmla="*/ 2147483647 w 115"/>
                <a:gd name="T121" fmla="*/ 2147483647 h 171"/>
                <a:gd name="T122" fmla="*/ 2147483647 w 115"/>
                <a:gd name="T123" fmla="*/ 2147483647 h 171"/>
                <a:gd name="T124" fmla="*/ 2147483647 w 115"/>
                <a:gd name="T125" fmla="*/ 2147483647 h 1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5"/>
                <a:gd name="T190" fmla="*/ 0 h 171"/>
                <a:gd name="T191" fmla="*/ 115 w 115"/>
                <a:gd name="T192" fmla="*/ 171 h 1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5" h="171">
                  <a:moveTo>
                    <a:pt x="33" y="2"/>
                  </a:moveTo>
                  <a:lnTo>
                    <a:pt x="28" y="0"/>
                  </a:lnTo>
                  <a:lnTo>
                    <a:pt x="25" y="0"/>
                  </a:lnTo>
                  <a:lnTo>
                    <a:pt x="23" y="2"/>
                  </a:lnTo>
                  <a:lnTo>
                    <a:pt x="23" y="4"/>
                  </a:lnTo>
                  <a:lnTo>
                    <a:pt x="21" y="5"/>
                  </a:lnTo>
                  <a:lnTo>
                    <a:pt x="23" y="9"/>
                  </a:lnTo>
                  <a:lnTo>
                    <a:pt x="28" y="16"/>
                  </a:lnTo>
                  <a:lnTo>
                    <a:pt x="28" y="21"/>
                  </a:lnTo>
                  <a:lnTo>
                    <a:pt x="28" y="22"/>
                  </a:lnTo>
                  <a:lnTo>
                    <a:pt x="26" y="23"/>
                  </a:lnTo>
                  <a:lnTo>
                    <a:pt x="23" y="25"/>
                  </a:lnTo>
                  <a:lnTo>
                    <a:pt x="19" y="27"/>
                  </a:lnTo>
                  <a:lnTo>
                    <a:pt x="15" y="25"/>
                  </a:lnTo>
                  <a:lnTo>
                    <a:pt x="10" y="24"/>
                  </a:lnTo>
                  <a:lnTo>
                    <a:pt x="6" y="35"/>
                  </a:lnTo>
                  <a:lnTo>
                    <a:pt x="0" y="44"/>
                  </a:lnTo>
                  <a:lnTo>
                    <a:pt x="4" y="45"/>
                  </a:lnTo>
                  <a:lnTo>
                    <a:pt x="5" y="47"/>
                  </a:lnTo>
                  <a:lnTo>
                    <a:pt x="5" y="50"/>
                  </a:lnTo>
                  <a:lnTo>
                    <a:pt x="5" y="55"/>
                  </a:lnTo>
                  <a:lnTo>
                    <a:pt x="5" y="59"/>
                  </a:lnTo>
                  <a:lnTo>
                    <a:pt x="6" y="62"/>
                  </a:lnTo>
                  <a:lnTo>
                    <a:pt x="7" y="66"/>
                  </a:lnTo>
                  <a:lnTo>
                    <a:pt x="9" y="68"/>
                  </a:lnTo>
                  <a:lnTo>
                    <a:pt x="7" y="74"/>
                  </a:lnTo>
                  <a:lnTo>
                    <a:pt x="7" y="79"/>
                  </a:lnTo>
                  <a:lnTo>
                    <a:pt x="7" y="85"/>
                  </a:lnTo>
                  <a:lnTo>
                    <a:pt x="9" y="88"/>
                  </a:lnTo>
                  <a:lnTo>
                    <a:pt x="12" y="92"/>
                  </a:lnTo>
                  <a:lnTo>
                    <a:pt x="12" y="94"/>
                  </a:lnTo>
                  <a:lnTo>
                    <a:pt x="14" y="96"/>
                  </a:lnTo>
                  <a:lnTo>
                    <a:pt x="16" y="98"/>
                  </a:lnTo>
                  <a:lnTo>
                    <a:pt x="19" y="98"/>
                  </a:lnTo>
                  <a:lnTo>
                    <a:pt x="21" y="98"/>
                  </a:lnTo>
                  <a:lnTo>
                    <a:pt x="23" y="95"/>
                  </a:lnTo>
                  <a:lnTo>
                    <a:pt x="24" y="93"/>
                  </a:lnTo>
                  <a:lnTo>
                    <a:pt x="25" y="91"/>
                  </a:lnTo>
                  <a:lnTo>
                    <a:pt x="28" y="91"/>
                  </a:lnTo>
                  <a:lnTo>
                    <a:pt x="32" y="92"/>
                  </a:lnTo>
                  <a:lnTo>
                    <a:pt x="34" y="93"/>
                  </a:lnTo>
                  <a:lnTo>
                    <a:pt x="37" y="94"/>
                  </a:lnTo>
                  <a:lnTo>
                    <a:pt x="40" y="94"/>
                  </a:lnTo>
                  <a:lnTo>
                    <a:pt x="44" y="93"/>
                  </a:lnTo>
                  <a:lnTo>
                    <a:pt x="48" y="92"/>
                  </a:lnTo>
                  <a:lnTo>
                    <a:pt x="51" y="91"/>
                  </a:lnTo>
                  <a:lnTo>
                    <a:pt x="52" y="89"/>
                  </a:lnTo>
                  <a:lnTo>
                    <a:pt x="53" y="89"/>
                  </a:lnTo>
                  <a:lnTo>
                    <a:pt x="56" y="92"/>
                  </a:lnTo>
                  <a:lnTo>
                    <a:pt x="59" y="92"/>
                  </a:lnTo>
                  <a:lnTo>
                    <a:pt x="61" y="92"/>
                  </a:lnTo>
                  <a:lnTo>
                    <a:pt x="63" y="94"/>
                  </a:lnTo>
                  <a:lnTo>
                    <a:pt x="63" y="98"/>
                  </a:lnTo>
                  <a:lnTo>
                    <a:pt x="62" y="100"/>
                  </a:lnTo>
                  <a:lnTo>
                    <a:pt x="62" y="102"/>
                  </a:lnTo>
                  <a:lnTo>
                    <a:pt x="65" y="105"/>
                  </a:lnTo>
                  <a:lnTo>
                    <a:pt x="67" y="106"/>
                  </a:lnTo>
                  <a:lnTo>
                    <a:pt x="70" y="108"/>
                  </a:lnTo>
                  <a:lnTo>
                    <a:pt x="71" y="111"/>
                  </a:lnTo>
                  <a:lnTo>
                    <a:pt x="75" y="124"/>
                  </a:lnTo>
                  <a:lnTo>
                    <a:pt x="77" y="131"/>
                  </a:lnTo>
                  <a:lnTo>
                    <a:pt x="80" y="137"/>
                  </a:lnTo>
                  <a:lnTo>
                    <a:pt x="81" y="142"/>
                  </a:lnTo>
                  <a:lnTo>
                    <a:pt x="82" y="146"/>
                  </a:lnTo>
                  <a:lnTo>
                    <a:pt x="82" y="156"/>
                  </a:lnTo>
                  <a:lnTo>
                    <a:pt x="86" y="157"/>
                  </a:lnTo>
                  <a:lnTo>
                    <a:pt x="90" y="159"/>
                  </a:lnTo>
                  <a:lnTo>
                    <a:pt x="94" y="163"/>
                  </a:lnTo>
                  <a:lnTo>
                    <a:pt x="98" y="165"/>
                  </a:lnTo>
                  <a:lnTo>
                    <a:pt x="99" y="166"/>
                  </a:lnTo>
                  <a:lnTo>
                    <a:pt x="99" y="169"/>
                  </a:lnTo>
                  <a:lnTo>
                    <a:pt x="100" y="170"/>
                  </a:lnTo>
                  <a:lnTo>
                    <a:pt x="101" y="171"/>
                  </a:lnTo>
                  <a:lnTo>
                    <a:pt x="103" y="171"/>
                  </a:lnTo>
                  <a:lnTo>
                    <a:pt x="104" y="171"/>
                  </a:lnTo>
                  <a:lnTo>
                    <a:pt x="109" y="166"/>
                  </a:lnTo>
                  <a:lnTo>
                    <a:pt x="112" y="165"/>
                  </a:lnTo>
                  <a:lnTo>
                    <a:pt x="115" y="165"/>
                  </a:lnTo>
                  <a:lnTo>
                    <a:pt x="114" y="152"/>
                  </a:lnTo>
                  <a:lnTo>
                    <a:pt x="114" y="146"/>
                  </a:lnTo>
                  <a:lnTo>
                    <a:pt x="112" y="140"/>
                  </a:lnTo>
                  <a:lnTo>
                    <a:pt x="110" y="137"/>
                  </a:lnTo>
                  <a:lnTo>
                    <a:pt x="109" y="134"/>
                  </a:lnTo>
                  <a:lnTo>
                    <a:pt x="100" y="125"/>
                  </a:lnTo>
                  <a:lnTo>
                    <a:pt x="98" y="120"/>
                  </a:lnTo>
                  <a:lnTo>
                    <a:pt x="95" y="115"/>
                  </a:lnTo>
                  <a:lnTo>
                    <a:pt x="91" y="111"/>
                  </a:lnTo>
                  <a:lnTo>
                    <a:pt x="87" y="107"/>
                  </a:lnTo>
                  <a:lnTo>
                    <a:pt x="84" y="100"/>
                  </a:lnTo>
                  <a:lnTo>
                    <a:pt x="80" y="92"/>
                  </a:lnTo>
                  <a:lnTo>
                    <a:pt x="77" y="88"/>
                  </a:lnTo>
                  <a:lnTo>
                    <a:pt x="75" y="86"/>
                  </a:lnTo>
                  <a:lnTo>
                    <a:pt x="71" y="83"/>
                  </a:lnTo>
                  <a:lnTo>
                    <a:pt x="66" y="83"/>
                  </a:lnTo>
                  <a:lnTo>
                    <a:pt x="63" y="82"/>
                  </a:lnTo>
                  <a:lnTo>
                    <a:pt x="63" y="80"/>
                  </a:lnTo>
                  <a:lnTo>
                    <a:pt x="63" y="77"/>
                  </a:lnTo>
                  <a:lnTo>
                    <a:pt x="65" y="74"/>
                  </a:lnTo>
                  <a:lnTo>
                    <a:pt x="66" y="72"/>
                  </a:lnTo>
                  <a:lnTo>
                    <a:pt x="66" y="69"/>
                  </a:lnTo>
                  <a:lnTo>
                    <a:pt x="66" y="67"/>
                  </a:lnTo>
                  <a:lnTo>
                    <a:pt x="68" y="64"/>
                  </a:lnTo>
                  <a:lnTo>
                    <a:pt x="71" y="64"/>
                  </a:lnTo>
                  <a:lnTo>
                    <a:pt x="73" y="63"/>
                  </a:lnTo>
                  <a:lnTo>
                    <a:pt x="75" y="60"/>
                  </a:lnTo>
                  <a:lnTo>
                    <a:pt x="77" y="51"/>
                  </a:lnTo>
                  <a:lnTo>
                    <a:pt x="79" y="49"/>
                  </a:lnTo>
                  <a:lnTo>
                    <a:pt x="80" y="48"/>
                  </a:lnTo>
                  <a:lnTo>
                    <a:pt x="79" y="47"/>
                  </a:lnTo>
                  <a:lnTo>
                    <a:pt x="76" y="47"/>
                  </a:lnTo>
                  <a:lnTo>
                    <a:pt x="75" y="45"/>
                  </a:lnTo>
                  <a:lnTo>
                    <a:pt x="75" y="42"/>
                  </a:lnTo>
                  <a:lnTo>
                    <a:pt x="76" y="38"/>
                  </a:lnTo>
                  <a:lnTo>
                    <a:pt x="77" y="36"/>
                  </a:lnTo>
                  <a:lnTo>
                    <a:pt x="76" y="35"/>
                  </a:lnTo>
                  <a:lnTo>
                    <a:pt x="75" y="34"/>
                  </a:lnTo>
                  <a:lnTo>
                    <a:pt x="71" y="32"/>
                  </a:lnTo>
                  <a:lnTo>
                    <a:pt x="66" y="32"/>
                  </a:lnTo>
                  <a:lnTo>
                    <a:pt x="56" y="32"/>
                  </a:lnTo>
                  <a:lnTo>
                    <a:pt x="54" y="31"/>
                  </a:lnTo>
                  <a:lnTo>
                    <a:pt x="54" y="30"/>
                  </a:lnTo>
                  <a:lnTo>
                    <a:pt x="51" y="23"/>
                  </a:lnTo>
                  <a:lnTo>
                    <a:pt x="47" y="15"/>
                  </a:lnTo>
                  <a:lnTo>
                    <a:pt x="42" y="9"/>
                  </a:lnTo>
                  <a:lnTo>
                    <a:pt x="35" y="3"/>
                  </a:lnTo>
                  <a:lnTo>
                    <a:pt x="33"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19" name="Freeform 618"/>
            <p:cNvSpPr>
              <a:spLocks/>
            </p:cNvSpPr>
            <p:nvPr/>
          </p:nvSpPr>
          <p:spPr bwMode="auto">
            <a:xfrm>
              <a:off x="6915150" y="3941764"/>
              <a:ext cx="133350" cy="157162"/>
            </a:xfrm>
            <a:custGeom>
              <a:avLst/>
              <a:gdLst>
                <a:gd name="T0" fmla="*/ 2147483647 w 91"/>
                <a:gd name="T1" fmla="*/ 2147483647 h 99"/>
                <a:gd name="T2" fmla="*/ 2147483647 w 91"/>
                <a:gd name="T3" fmla="*/ 2147483647 h 99"/>
                <a:gd name="T4" fmla="*/ 2147483647 w 91"/>
                <a:gd name="T5" fmla="*/ 2147483647 h 99"/>
                <a:gd name="T6" fmla="*/ 2147483647 w 91"/>
                <a:gd name="T7" fmla="*/ 2147483647 h 99"/>
                <a:gd name="T8" fmla="*/ 2147483647 w 91"/>
                <a:gd name="T9" fmla="*/ 2147483647 h 99"/>
                <a:gd name="T10" fmla="*/ 2147483647 w 91"/>
                <a:gd name="T11" fmla="*/ 2147483647 h 99"/>
                <a:gd name="T12" fmla="*/ 2147483647 w 91"/>
                <a:gd name="T13" fmla="*/ 2147483647 h 99"/>
                <a:gd name="T14" fmla="*/ 2147483647 w 91"/>
                <a:gd name="T15" fmla="*/ 2147483647 h 99"/>
                <a:gd name="T16" fmla="*/ 2147483647 w 91"/>
                <a:gd name="T17" fmla="*/ 2147483647 h 99"/>
                <a:gd name="T18" fmla="*/ 2147483647 w 91"/>
                <a:gd name="T19" fmla="*/ 2147483647 h 99"/>
                <a:gd name="T20" fmla="*/ 2147483647 w 91"/>
                <a:gd name="T21" fmla="*/ 2147483647 h 99"/>
                <a:gd name="T22" fmla="*/ 2147483647 w 91"/>
                <a:gd name="T23" fmla="*/ 2147483647 h 99"/>
                <a:gd name="T24" fmla="*/ 2147483647 w 91"/>
                <a:gd name="T25" fmla="*/ 2147483647 h 99"/>
                <a:gd name="T26" fmla="*/ 2147483647 w 91"/>
                <a:gd name="T27" fmla="*/ 2147483647 h 99"/>
                <a:gd name="T28" fmla="*/ 2147483647 w 91"/>
                <a:gd name="T29" fmla="*/ 2147483647 h 99"/>
                <a:gd name="T30" fmla="*/ 2147483647 w 91"/>
                <a:gd name="T31" fmla="*/ 2147483647 h 99"/>
                <a:gd name="T32" fmla="*/ 2147483647 w 91"/>
                <a:gd name="T33" fmla="*/ 2147483647 h 99"/>
                <a:gd name="T34" fmla="*/ 2147483647 w 91"/>
                <a:gd name="T35" fmla="*/ 2147483647 h 99"/>
                <a:gd name="T36" fmla="*/ 2147483647 w 91"/>
                <a:gd name="T37" fmla="*/ 2147483647 h 99"/>
                <a:gd name="T38" fmla="*/ 2147483647 w 91"/>
                <a:gd name="T39" fmla="*/ 2147483647 h 99"/>
                <a:gd name="T40" fmla="*/ 2147483647 w 91"/>
                <a:gd name="T41" fmla="*/ 2147483647 h 99"/>
                <a:gd name="T42" fmla="*/ 2147483647 w 91"/>
                <a:gd name="T43" fmla="*/ 2147483647 h 99"/>
                <a:gd name="T44" fmla="*/ 2147483647 w 91"/>
                <a:gd name="T45" fmla="*/ 2147483647 h 99"/>
                <a:gd name="T46" fmla="*/ 2147483647 w 91"/>
                <a:gd name="T47" fmla="*/ 2147483647 h 99"/>
                <a:gd name="T48" fmla="*/ 2147483647 w 91"/>
                <a:gd name="T49" fmla="*/ 2147483647 h 99"/>
                <a:gd name="T50" fmla="*/ 2147483647 w 91"/>
                <a:gd name="T51" fmla="*/ 0 h 99"/>
                <a:gd name="T52" fmla="*/ 2147483647 w 91"/>
                <a:gd name="T53" fmla="*/ 2147483647 h 99"/>
                <a:gd name="T54" fmla="*/ 2147483647 w 91"/>
                <a:gd name="T55" fmla="*/ 2147483647 h 99"/>
                <a:gd name="T56" fmla="*/ 2147483647 w 91"/>
                <a:gd name="T57" fmla="*/ 2147483647 h 99"/>
                <a:gd name="T58" fmla="*/ 2147483647 w 91"/>
                <a:gd name="T59" fmla="*/ 2147483647 h 99"/>
                <a:gd name="T60" fmla="*/ 2147483647 w 91"/>
                <a:gd name="T61" fmla="*/ 2147483647 h 99"/>
                <a:gd name="T62" fmla="*/ 2147483647 w 91"/>
                <a:gd name="T63" fmla="*/ 2147483647 h 99"/>
                <a:gd name="T64" fmla="*/ 2147483647 w 91"/>
                <a:gd name="T65" fmla="*/ 2147483647 h 99"/>
                <a:gd name="T66" fmla="*/ 2147483647 w 91"/>
                <a:gd name="T67" fmla="*/ 2147483647 h 99"/>
                <a:gd name="T68" fmla="*/ 2147483647 w 91"/>
                <a:gd name="T69" fmla="*/ 2147483647 h 99"/>
                <a:gd name="T70" fmla="*/ 2147483647 w 91"/>
                <a:gd name="T71" fmla="*/ 2147483647 h 99"/>
                <a:gd name="T72" fmla="*/ 2147483647 w 91"/>
                <a:gd name="T73" fmla="*/ 2147483647 h 99"/>
                <a:gd name="T74" fmla="*/ 2147483647 w 91"/>
                <a:gd name="T75" fmla="*/ 2147483647 h 99"/>
                <a:gd name="T76" fmla="*/ 2147483647 w 91"/>
                <a:gd name="T77" fmla="*/ 2147483647 h 99"/>
                <a:gd name="T78" fmla="*/ 2147483647 w 91"/>
                <a:gd name="T79" fmla="*/ 2147483647 h 99"/>
                <a:gd name="T80" fmla="*/ 2147483647 w 91"/>
                <a:gd name="T81" fmla="*/ 2147483647 h 99"/>
                <a:gd name="T82" fmla="*/ 2147483647 w 91"/>
                <a:gd name="T83" fmla="*/ 2147483647 h 99"/>
                <a:gd name="T84" fmla="*/ 2147483647 w 91"/>
                <a:gd name="T85" fmla="*/ 2147483647 h 99"/>
                <a:gd name="T86" fmla="*/ 2147483647 w 91"/>
                <a:gd name="T87" fmla="*/ 2147483647 h 99"/>
                <a:gd name="T88" fmla="*/ 2147483647 w 91"/>
                <a:gd name="T89" fmla="*/ 2147483647 h 99"/>
                <a:gd name="T90" fmla="*/ 2147483647 w 91"/>
                <a:gd name="T91" fmla="*/ 2147483647 h 99"/>
                <a:gd name="T92" fmla="*/ 2147483647 w 91"/>
                <a:gd name="T93" fmla="*/ 2147483647 h 99"/>
                <a:gd name="T94" fmla="*/ 2147483647 w 91"/>
                <a:gd name="T95" fmla="*/ 2147483647 h 99"/>
                <a:gd name="T96" fmla="*/ 2147483647 w 91"/>
                <a:gd name="T97" fmla="*/ 2147483647 h 99"/>
                <a:gd name="T98" fmla="*/ 2147483647 w 91"/>
                <a:gd name="T99" fmla="*/ 2147483647 h 99"/>
                <a:gd name="T100" fmla="*/ 2147483647 w 91"/>
                <a:gd name="T101" fmla="*/ 2147483647 h 99"/>
                <a:gd name="T102" fmla="*/ 2147483647 w 91"/>
                <a:gd name="T103" fmla="*/ 2147483647 h 99"/>
                <a:gd name="T104" fmla="*/ 2147483647 w 91"/>
                <a:gd name="T105" fmla="*/ 2147483647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99"/>
                <a:gd name="T161" fmla="*/ 91 w 91"/>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99">
                  <a:moveTo>
                    <a:pt x="43" y="98"/>
                  </a:moveTo>
                  <a:lnTo>
                    <a:pt x="43" y="98"/>
                  </a:lnTo>
                  <a:lnTo>
                    <a:pt x="43" y="93"/>
                  </a:lnTo>
                  <a:lnTo>
                    <a:pt x="44" y="88"/>
                  </a:lnTo>
                  <a:lnTo>
                    <a:pt x="47" y="85"/>
                  </a:lnTo>
                  <a:lnTo>
                    <a:pt x="49" y="84"/>
                  </a:lnTo>
                  <a:lnTo>
                    <a:pt x="51" y="83"/>
                  </a:lnTo>
                  <a:lnTo>
                    <a:pt x="56" y="83"/>
                  </a:lnTo>
                  <a:lnTo>
                    <a:pt x="59" y="83"/>
                  </a:lnTo>
                  <a:lnTo>
                    <a:pt x="63" y="84"/>
                  </a:lnTo>
                  <a:lnTo>
                    <a:pt x="67" y="83"/>
                  </a:lnTo>
                  <a:lnTo>
                    <a:pt x="68" y="80"/>
                  </a:lnTo>
                  <a:lnTo>
                    <a:pt x="70" y="77"/>
                  </a:lnTo>
                  <a:lnTo>
                    <a:pt x="68" y="74"/>
                  </a:lnTo>
                  <a:lnTo>
                    <a:pt x="70" y="71"/>
                  </a:lnTo>
                  <a:lnTo>
                    <a:pt x="71" y="70"/>
                  </a:lnTo>
                  <a:lnTo>
                    <a:pt x="71" y="68"/>
                  </a:lnTo>
                  <a:lnTo>
                    <a:pt x="77" y="67"/>
                  </a:lnTo>
                  <a:lnTo>
                    <a:pt x="80" y="66"/>
                  </a:lnTo>
                  <a:lnTo>
                    <a:pt x="80" y="64"/>
                  </a:lnTo>
                  <a:lnTo>
                    <a:pt x="84" y="48"/>
                  </a:lnTo>
                  <a:lnTo>
                    <a:pt x="87" y="40"/>
                  </a:lnTo>
                  <a:lnTo>
                    <a:pt x="91" y="33"/>
                  </a:lnTo>
                  <a:lnTo>
                    <a:pt x="91" y="29"/>
                  </a:lnTo>
                  <a:lnTo>
                    <a:pt x="90" y="26"/>
                  </a:lnTo>
                  <a:lnTo>
                    <a:pt x="87" y="17"/>
                  </a:lnTo>
                  <a:lnTo>
                    <a:pt x="86" y="9"/>
                  </a:lnTo>
                  <a:lnTo>
                    <a:pt x="82" y="9"/>
                  </a:lnTo>
                  <a:lnTo>
                    <a:pt x="80" y="10"/>
                  </a:lnTo>
                  <a:lnTo>
                    <a:pt x="75" y="15"/>
                  </a:lnTo>
                  <a:lnTo>
                    <a:pt x="73" y="15"/>
                  </a:lnTo>
                  <a:lnTo>
                    <a:pt x="72" y="15"/>
                  </a:lnTo>
                  <a:lnTo>
                    <a:pt x="71" y="14"/>
                  </a:lnTo>
                  <a:lnTo>
                    <a:pt x="70" y="13"/>
                  </a:lnTo>
                  <a:lnTo>
                    <a:pt x="70" y="10"/>
                  </a:lnTo>
                  <a:lnTo>
                    <a:pt x="68" y="9"/>
                  </a:lnTo>
                  <a:lnTo>
                    <a:pt x="64" y="7"/>
                  </a:lnTo>
                  <a:lnTo>
                    <a:pt x="61" y="3"/>
                  </a:lnTo>
                  <a:lnTo>
                    <a:pt x="57" y="1"/>
                  </a:lnTo>
                  <a:lnTo>
                    <a:pt x="53" y="0"/>
                  </a:lnTo>
                  <a:lnTo>
                    <a:pt x="49" y="0"/>
                  </a:lnTo>
                  <a:lnTo>
                    <a:pt x="48" y="2"/>
                  </a:lnTo>
                  <a:lnTo>
                    <a:pt x="44" y="8"/>
                  </a:lnTo>
                  <a:lnTo>
                    <a:pt x="43" y="9"/>
                  </a:lnTo>
                  <a:lnTo>
                    <a:pt x="40" y="10"/>
                  </a:lnTo>
                  <a:lnTo>
                    <a:pt x="34" y="10"/>
                  </a:lnTo>
                  <a:lnTo>
                    <a:pt x="29" y="10"/>
                  </a:lnTo>
                  <a:lnTo>
                    <a:pt x="23" y="10"/>
                  </a:lnTo>
                  <a:lnTo>
                    <a:pt x="20" y="11"/>
                  </a:lnTo>
                  <a:lnTo>
                    <a:pt x="18" y="14"/>
                  </a:lnTo>
                  <a:lnTo>
                    <a:pt x="9" y="22"/>
                  </a:lnTo>
                  <a:lnTo>
                    <a:pt x="1" y="32"/>
                  </a:lnTo>
                  <a:lnTo>
                    <a:pt x="0" y="34"/>
                  </a:lnTo>
                  <a:lnTo>
                    <a:pt x="1" y="36"/>
                  </a:lnTo>
                  <a:lnTo>
                    <a:pt x="5" y="40"/>
                  </a:lnTo>
                  <a:lnTo>
                    <a:pt x="6" y="45"/>
                  </a:lnTo>
                  <a:lnTo>
                    <a:pt x="7" y="51"/>
                  </a:lnTo>
                  <a:lnTo>
                    <a:pt x="7" y="56"/>
                  </a:lnTo>
                  <a:lnTo>
                    <a:pt x="6" y="59"/>
                  </a:lnTo>
                  <a:lnTo>
                    <a:pt x="4" y="60"/>
                  </a:lnTo>
                  <a:lnTo>
                    <a:pt x="5" y="62"/>
                  </a:lnTo>
                  <a:lnTo>
                    <a:pt x="10" y="67"/>
                  </a:lnTo>
                  <a:lnTo>
                    <a:pt x="12" y="72"/>
                  </a:lnTo>
                  <a:lnTo>
                    <a:pt x="18" y="81"/>
                  </a:lnTo>
                  <a:lnTo>
                    <a:pt x="19" y="85"/>
                  </a:lnTo>
                  <a:lnTo>
                    <a:pt x="20" y="86"/>
                  </a:lnTo>
                  <a:lnTo>
                    <a:pt x="24" y="86"/>
                  </a:lnTo>
                  <a:lnTo>
                    <a:pt x="26" y="85"/>
                  </a:lnTo>
                  <a:lnTo>
                    <a:pt x="29" y="85"/>
                  </a:lnTo>
                  <a:lnTo>
                    <a:pt x="31" y="85"/>
                  </a:lnTo>
                  <a:lnTo>
                    <a:pt x="33" y="86"/>
                  </a:lnTo>
                  <a:lnTo>
                    <a:pt x="34" y="87"/>
                  </a:lnTo>
                  <a:lnTo>
                    <a:pt x="33" y="90"/>
                  </a:lnTo>
                  <a:lnTo>
                    <a:pt x="29" y="94"/>
                  </a:lnTo>
                  <a:lnTo>
                    <a:pt x="28" y="96"/>
                  </a:lnTo>
                  <a:lnTo>
                    <a:pt x="28" y="98"/>
                  </a:lnTo>
                  <a:lnTo>
                    <a:pt x="29" y="99"/>
                  </a:lnTo>
                  <a:lnTo>
                    <a:pt x="30" y="99"/>
                  </a:lnTo>
                  <a:lnTo>
                    <a:pt x="33" y="98"/>
                  </a:lnTo>
                  <a:lnTo>
                    <a:pt x="37" y="98"/>
                  </a:lnTo>
                  <a:lnTo>
                    <a:pt x="43" y="9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0" name="Freeform 619"/>
            <p:cNvSpPr>
              <a:spLocks/>
            </p:cNvSpPr>
            <p:nvPr/>
          </p:nvSpPr>
          <p:spPr bwMode="auto">
            <a:xfrm>
              <a:off x="6872289" y="3694113"/>
              <a:ext cx="168275" cy="271462"/>
            </a:xfrm>
            <a:custGeom>
              <a:avLst/>
              <a:gdLst>
                <a:gd name="T0" fmla="*/ 2147483647 w 115"/>
                <a:gd name="T1" fmla="*/ 0 h 171"/>
                <a:gd name="T2" fmla="*/ 2147483647 w 115"/>
                <a:gd name="T3" fmla="*/ 2147483647 h 171"/>
                <a:gd name="T4" fmla="*/ 2147483647 w 115"/>
                <a:gd name="T5" fmla="*/ 2147483647 h 171"/>
                <a:gd name="T6" fmla="*/ 2147483647 w 115"/>
                <a:gd name="T7" fmla="*/ 2147483647 h 171"/>
                <a:gd name="T8" fmla="*/ 2147483647 w 115"/>
                <a:gd name="T9" fmla="*/ 2147483647 h 171"/>
                <a:gd name="T10" fmla="*/ 2147483647 w 115"/>
                <a:gd name="T11" fmla="*/ 2147483647 h 171"/>
                <a:gd name="T12" fmla="*/ 2147483647 w 115"/>
                <a:gd name="T13" fmla="*/ 2147483647 h 171"/>
                <a:gd name="T14" fmla="*/ 2147483647 w 115"/>
                <a:gd name="T15" fmla="*/ 2147483647 h 171"/>
                <a:gd name="T16" fmla="*/ 2147483647 w 115"/>
                <a:gd name="T17" fmla="*/ 2147483647 h 171"/>
                <a:gd name="T18" fmla="*/ 2147483647 w 115"/>
                <a:gd name="T19" fmla="*/ 2147483647 h 171"/>
                <a:gd name="T20" fmla="*/ 2147483647 w 115"/>
                <a:gd name="T21" fmla="*/ 2147483647 h 171"/>
                <a:gd name="T22" fmla="*/ 2147483647 w 115"/>
                <a:gd name="T23" fmla="*/ 2147483647 h 171"/>
                <a:gd name="T24" fmla="*/ 2147483647 w 115"/>
                <a:gd name="T25" fmla="*/ 2147483647 h 171"/>
                <a:gd name="T26" fmla="*/ 2147483647 w 115"/>
                <a:gd name="T27" fmla="*/ 2147483647 h 171"/>
                <a:gd name="T28" fmla="*/ 2147483647 w 115"/>
                <a:gd name="T29" fmla="*/ 2147483647 h 171"/>
                <a:gd name="T30" fmla="*/ 2147483647 w 115"/>
                <a:gd name="T31" fmla="*/ 2147483647 h 171"/>
                <a:gd name="T32" fmla="*/ 2147483647 w 115"/>
                <a:gd name="T33" fmla="*/ 2147483647 h 171"/>
                <a:gd name="T34" fmla="*/ 2147483647 w 115"/>
                <a:gd name="T35" fmla="*/ 2147483647 h 171"/>
                <a:gd name="T36" fmla="*/ 2147483647 w 115"/>
                <a:gd name="T37" fmla="*/ 2147483647 h 171"/>
                <a:gd name="T38" fmla="*/ 2147483647 w 115"/>
                <a:gd name="T39" fmla="*/ 2147483647 h 171"/>
                <a:gd name="T40" fmla="*/ 2147483647 w 115"/>
                <a:gd name="T41" fmla="*/ 2147483647 h 171"/>
                <a:gd name="T42" fmla="*/ 2147483647 w 115"/>
                <a:gd name="T43" fmla="*/ 2147483647 h 171"/>
                <a:gd name="T44" fmla="*/ 2147483647 w 115"/>
                <a:gd name="T45" fmla="*/ 2147483647 h 171"/>
                <a:gd name="T46" fmla="*/ 2147483647 w 115"/>
                <a:gd name="T47" fmla="*/ 2147483647 h 171"/>
                <a:gd name="T48" fmla="*/ 2147483647 w 115"/>
                <a:gd name="T49" fmla="*/ 2147483647 h 171"/>
                <a:gd name="T50" fmla="*/ 2147483647 w 115"/>
                <a:gd name="T51" fmla="*/ 2147483647 h 171"/>
                <a:gd name="T52" fmla="*/ 2147483647 w 115"/>
                <a:gd name="T53" fmla="*/ 2147483647 h 171"/>
                <a:gd name="T54" fmla="*/ 2147483647 w 115"/>
                <a:gd name="T55" fmla="*/ 2147483647 h 171"/>
                <a:gd name="T56" fmla="*/ 2147483647 w 115"/>
                <a:gd name="T57" fmla="*/ 2147483647 h 171"/>
                <a:gd name="T58" fmla="*/ 2147483647 w 115"/>
                <a:gd name="T59" fmla="*/ 2147483647 h 171"/>
                <a:gd name="T60" fmla="*/ 2147483647 w 115"/>
                <a:gd name="T61" fmla="*/ 2147483647 h 171"/>
                <a:gd name="T62" fmla="*/ 2147483647 w 115"/>
                <a:gd name="T63" fmla="*/ 2147483647 h 171"/>
                <a:gd name="T64" fmla="*/ 2147483647 w 115"/>
                <a:gd name="T65" fmla="*/ 2147483647 h 171"/>
                <a:gd name="T66" fmla="*/ 2147483647 w 115"/>
                <a:gd name="T67" fmla="*/ 2147483647 h 171"/>
                <a:gd name="T68" fmla="*/ 2147483647 w 115"/>
                <a:gd name="T69" fmla="*/ 2147483647 h 171"/>
                <a:gd name="T70" fmla="*/ 2147483647 w 115"/>
                <a:gd name="T71" fmla="*/ 2147483647 h 171"/>
                <a:gd name="T72" fmla="*/ 2147483647 w 115"/>
                <a:gd name="T73" fmla="*/ 2147483647 h 171"/>
                <a:gd name="T74" fmla="*/ 2147483647 w 115"/>
                <a:gd name="T75" fmla="*/ 2147483647 h 171"/>
                <a:gd name="T76" fmla="*/ 2147483647 w 115"/>
                <a:gd name="T77" fmla="*/ 2147483647 h 171"/>
                <a:gd name="T78" fmla="*/ 2147483647 w 115"/>
                <a:gd name="T79" fmla="*/ 2147483647 h 171"/>
                <a:gd name="T80" fmla="*/ 2147483647 w 115"/>
                <a:gd name="T81" fmla="*/ 2147483647 h 171"/>
                <a:gd name="T82" fmla="*/ 2147483647 w 115"/>
                <a:gd name="T83" fmla="*/ 2147483647 h 171"/>
                <a:gd name="T84" fmla="*/ 2147483647 w 115"/>
                <a:gd name="T85" fmla="*/ 2147483647 h 171"/>
                <a:gd name="T86" fmla="*/ 2147483647 w 115"/>
                <a:gd name="T87" fmla="*/ 2147483647 h 171"/>
                <a:gd name="T88" fmla="*/ 2147483647 w 115"/>
                <a:gd name="T89" fmla="*/ 2147483647 h 171"/>
                <a:gd name="T90" fmla="*/ 2147483647 w 115"/>
                <a:gd name="T91" fmla="*/ 2147483647 h 171"/>
                <a:gd name="T92" fmla="*/ 2147483647 w 115"/>
                <a:gd name="T93" fmla="*/ 2147483647 h 171"/>
                <a:gd name="T94" fmla="*/ 2147483647 w 115"/>
                <a:gd name="T95" fmla="*/ 2147483647 h 171"/>
                <a:gd name="T96" fmla="*/ 2147483647 w 115"/>
                <a:gd name="T97" fmla="*/ 2147483647 h 171"/>
                <a:gd name="T98" fmla="*/ 2147483647 w 115"/>
                <a:gd name="T99" fmla="*/ 2147483647 h 171"/>
                <a:gd name="T100" fmla="*/ 2147483647 w 115"/>
                <a:gd name="T101" fmla="*/ 2147483647 h 171"/>
                <a:gd name="T102" fmla="*/ 2147483647 w 115"/>
                <a:gd name="T103" fmla="*/ 2147483647 h 171"/>
                <a:gd name="T104" fmla="*/ 2147483647 w 115"/>
                <a:gd name="T105" fmla="*/ 2147483647 h 171"/>
                <a:gd name="T106" fmla="*/ 2147483647 w 115"/>
                <a:gd name="T107" fmla="*/ 2147483647 h 171"/>
                <a:gd name="T108" fmla="*/ 2147483647 w 115"/>
                <a:gd name="T109" fmla="*/ 2147483647 h 171"/>
                <a:gd name="T110" fmla="*/ 2147483647 w 115"/>
                <a:gd name="T111" fmla="*/ 2147483647 h 171"/>
                <a:gd name="T112" fmla="*/ 2147483647 w 115"/>
                <a:gd name="T113" fmla="*/ 2147483647 h 1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71"/>
                <a:gd name="T173" fmla="*/ 115 w 115"/>
                <a:gd name="T174" fmla="*/ 171 h 1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71">
                  <a:moveTo>
                    <a:pt x="33" y="1"/>
                  </a:moveTo>
                  <a:lnTo>
                    <a:pt x="33" y="1"/>
                  </a:lnTo>
                  <a:lnTo>
                    <a:pt x="27" y="0"/>
                  </a:lnTo>
                  <a:lnTo>
                    <a:pt x="25" y="0"/>
                  </a:lnTo>
                  <a:lnTo>
                    <a:pt x="22" y="1"/>
                  </a:lnTo>
                  <a:lnTo>
                    <a:pt x="22" y="4"/>
                  </a:lnTo>
                  <a:lnTo>
                    <a:pt x="21" y="5"/>
                  </a:lnTo>
                  <a:lnTo>
                    <a:pt x="22" y="9"/>
                  </a:lnTo>
                  <a:lnTo>
                    <a:pt x="27" y="16"/>
                  </a:lnTo>
                  <a:lnTo>
                    <a:pt x="27" y="20"/>
                  </a:lnTo>
                  <a:lnTo>
                    <a:pt x="27" y="22"/>
                  </a:lnTo>
                  <a:lnTo>
                    <a:pt x="26" y="23"/>
                  </a:lnTo>
                  <a:lnTo>
                    <a:pt x="22" y="25"/>
                  </a:lnTo>
                  <a:lnTo>
                    <a:pt x="19" y="26"/>
                  </a:lnTo>
                  <a:lnTo>
                    <a:pt x="15" y="25"/>
                  </a:lnTo>
                  <a:lnTo>
                    <a:pt x="10" y="24"/>
                  </a:lnTo>
                  <a:lnTo>
                    <a:pt x="6" y="35"/>
                  </a:lnTo>
                  <a:lnTo>
                    <a:pt x="0" y="44"/>
                  </a:lnTo>
                  <a:lnTo>
                    <a:pt x="3" y="45"/>
                  </a:lnTo>
                  <a:lnTo>
                    <a:pt x="5" y="46"/>
                  </a:lnTo>
                  <a:lnTo>
                    <a:pt x="5" y="50"/>
                  </a:lnTo>
                  <a:lnTo>
                    <a:pt x="5" y="55"/>
                  </a:lnTo>
                  <a:lnTo>
                    <a:pt x="5" y="58"/>
                  </a:lnTo>
                  <a:lnTo>
                    <a:pt x="6" y="62"/>
                  </a:lnTo>
                  <a:lnTo>
                    <a:pt x="7" y="65"/>
                  </a:lnTo>
                  <a:lnTo>
                    <a:pt x="8" y="68"/>
                  </a:lnTo>
                  <a:lnTo>
                    <a:pt x="7" y="74"/>
                  </a:lnTo>
                  <a:lnTo>
                    <a:pt x="7" y="78"/>
                  </a:lnTo>
                  <a:lnTo>
                    <a:pt x="7" y="84"/>
                  </a:lnTo>
                  <a:lnTo>
                    <a:pt x="8" y="88"/>
                  </a:lnTo>
                  <a:lnTo>
                    <a:pt x="12" y="92"/>
                  </a:lnTo>
                  <a:lnTo>
                    <a:pt x="12" y="94"/>
                  </a:lnTo>
                  <a:lnTo>
                    <a:pt x="13" y="96"/>
                  </a:lnTo>
                  <a:lnTo>
                    <a:pt x="16" y="97"/>
                  </a:lnTo>
                  <a:lnTo>
                    <a:pt x="19" y="97"/>
                  </a:lnTo>
                  <a:lnTo>
                    <a:pt x="21" y="97"/>
                  </a:lnTo>
                  <a:lnTo>
                    <a:pt x="22" y="95"/>
                  </a:lnTo>
                  <a:lnTo>
                    <a:pt x="24" y="93"/>
                  </a:lnTo>
                  <a:lnTo>
                    <a:pt x="25" y="90"/>
                  </a:lnTo>
                  <a:lnTo>
                    <a:pt x="27" y="90"/>
                  </a:lnTo>
                  <a:lnTo>
                    <a:pt x="31" y="92"/>
                  </a:lnTo>
                  <a:lnTo>
                    <a:pt x="34" y="93"/>
                  </a:lnTo>
                  <a:lnTo>
                    <a:pt x="36" y="94"/>
                  </a:lnTo>
                  <a:lnTo>
                    <a:pt x="40" y="94"/>
                  </a:lnTo>
                  <a:lnTo>
                    <a:pt x="44" y="93"/>
                  </a:lnTo>
                  <a:lnTo>
                    <a:pt x="48" y="92"/>
                  </a:lnTo>
                  <a:lnTo>
                    <a:pt x="50" y="90"/>
                  </a:lnTo>
                  <a:lnTo>
                    <a:pt x="52" y="89"/>
                  </a:lnTo>
                  <a:lnTo>
                    <a:pt x="53" y="89"/>
                  </a:lnTo>
                  <a:lnTo>
                    <a:pt x="55" y="92"/>
                  </a:lnTo>
                  <a:lnTo>
                    <a:pt x="59" y="92"/>
                  </a:lnTo>
                  <a:lnTo>
                    <a:pt x="60" y="92"/>
                  </a:lnTo>
                  <a:lnTo>
                    <a:pt x="63" y="94"/>
                  </a:lnTo>
                  <a:lnTo>
                    <a:pt x="63" y="97"/>
                  </a:lnTo>
                  <a:lnTo>
                    <a:pt x="62" y="100"/>
                  </a:lnTo>
                  <a:lnTo>
                    <a:pt x="62" y="102"/>
                  </a:lnTo>
                  <a:lnTo>
                    <a:pt x="64" y="105"/>
                  </a:lnTo>
                  <a:lnTo>
                    <a:pt x="67" y="106"/>
                  </a:lnTo>
                  <a:lnTo>
                    <a:pt x="69" y="108"/>
                  </a:lnTo>
                  <a:lnTo>
                    <a:pt x="71" y="111"/>
                  </a:lnTo>
                  <a:lnTo>
                    <a:pt x="74" y="124"/>
                  </a:lnTo>
                  <a:lnTo>
                    <a:pt x="77" y="131"/>
                  </a:lnTo>
                  <a:lnTo>
                    <a:pt x="80" y="137"/>
                  </a:lnTo>
                  <a:lnTo>
                    <a:pt x="81" y="141"/>
                  </a:lnTo>
                  <a:lnTo>
                    <a:pt x="82" y="146"/>
                  </a:lnTo>
                  <a:lnTo>
                    <a:pt x="82" y="156"/>
                  </a:lnTo>
                  <a:lnTo>
                    <a:pt x="86" y="157"/>
                  </a:lnTo>
                  <a:lnTo>
                    <a:pt x="90" y="159"/>
                  </a:lnTo>
                  <a:lnTo>
                    <a:pt x="93" y="163"/>
                  </a:lnTo>
                  <a:lnTo>
                    <a:pt x="97" y="165"/>
                  </a:lnTo>
                  <a:lnTo>
                    <a:pt x="99" y="166"/>
                  </a:lnTo>
                  <a:lnTo>
                    <a:pt x="99" y="169"/>
                  </a:lnTo>
                  <a:lnTo>
                    <a:pt x="100" y="170"/>
                  </a:lnTo>
                  <a:lnTo>
                    <a:pt x="101" y="171"/>
                  </a:lnTo>
                  <a:lnTo>
                    <a:pt x="102" y="171"/>
                  </a:lnTo>
                  <a:lnTo>
                    <a:pt x="104" y="171"/>
                  </a:lnTo>
                  <a:lnTo>
                    <a:pt x="109" y="166"/>
                  </a:lnTo>
                  <a:lnTo>
                    <a:pt x="111" y="165"/>
                  </a:lnTo>
                  <a:lnTo>
                    <a:pt x="115" y="165"/>
                  </a:lnTo>
                  <a:lnTo>
                    <a:pt x="114" y="152"/>
                  </a:lnTo>
                  <a:lnTo>
                    <a:pt x="114" y="146"/>
                  </a:lnTo>
                  <a:lnTo>
                    <a:pt x="111" y="140"/>
                  </a:lnTo>
                  <a:lnTo>
                    <a:pt x="110" y="137"/>
                  </a:lnTo>
                  <a:lnTo>
                    <a:pt x="109" y="134"/>
                  </a:lnTo>
                  <a:lnTo>
                    <a:pt x="100" y="125"/>
                  </a:lnTo>
                  <a:lnTo>
                    <a:pt x="97" y="120"/>
                  </a:lnTo>
                  <a:lnTo>
                    <a:pt x="95" y="115"/>
                  </a:lnTo>
                  <a:lnTo>
                    <a:pt x="91" y="111"/>
                  </a:lnTo>
                  <a:lnTo>
                    <a:pt x="87" y="107"/>
                  </a:lnTo>
                  <a:lnTo>
                    <a:pt x="83" y="100"/>
                  </a:lnTo>
                  <a:lnTo>
                    <a:pt x="80" y="92"/>
                  </a:lnTo>
                  <a:lnTo>
                    <a:pt x="77" y="88"/>
                  </a:lnTo>
                  <a:lnTo>
                    <a:pt x="74" y="86"/>
                  </a:lnTo>
                  <a:lnTo>
                    <a:pt x="71" y="83"/>
                  </a:lnTo>
                  <a:lnTo>
                    <a:pt x="66" y="83"/>
                  </a:lnTo>
                  <a:lnTo>
                    <a:pt x="63" y="82"/>
                  </a:lnTo>
                  <a:lnTo>
                    <a:pt x="63" y="80"/>
                  </a:lnTo>
                  <a:lnTo>
                    <a:pt x="63" y="77"/>
                  </a:lnTo>
                  <a:lnTo>
                    <a:pt x="64" y="74"/>
                  </a:lnTo>
                  <a:lnTo>
                    <a:pt x="66" y="71"/>
                  </a:lnTo>
                  <a:lnTo>
                    <a:pt x="66" y="69"/>
                  </a:lnTo>
                  <a:lnTo>
                    <a:pt x="66" y="67"/>
                  </a:lnTo>
                  <a:lnTo>
                    <a:pt x="68" y="64"/>
                  </a:lnTo>
                  <a:lnTo>
                    <a:pt x="71" y="64"/>
                  </a:lnTo>
                  <a:lnTo>
                    <a:pt x="73" y="63"/>
                  </a:lnTo>
                  <a:lnTo>
                    <a:pt x="74" y="60"/>
                  </a:lnTo>
                  <a:lnTo>
                    <a:pt x="77" y="51"/>
                  </a:lnTo>
                  <a:lnTo>
                    <a:pt x="78" y="49"/>
                  </a:lnTo>
                  <a:lnTo>
                    <a:pt x="80" y="48"/>
                  </a:lnTo>
                  <a:lnTo>
                    <a:pt x="78" y="46"/>
                  </a:lnTo>
                  <a:lnTo>
                    <a:pt x="76" y="46"/>
                  </a:lnTo>
                  <a:lnTo>
                    <a:pt x="74" y="45"/>
                  </a:lnTo>
                  <a:lnTo>
                    <a:pt x="74" y="42"/>
                  </a:lnTo>
                  <a:lnTo>
                    <a:pt x="76" y="38"/>
                  </a:lnTo>
                  <a:lnTo>
                    <a:pt x="77" y="36"/>
                  </a:lnTo>
                  <a:lnTo>
                    <a:pt x="76" y="35"/>
                  </a:lnTo>
                  <a:lnTo>
                    <a:pt x="74" y="33"/>
                  </a:lnTo>
                  <a:lnTo>
                    <a:pt x="71" y="32"/>
                  </a:lnTo>
                  <a:lnTo>
                    <a:pt x="66" y="32"/>
                  </a:lnTo>
                  <a:lnTo>
                    <a:pt x="55" y="32"/>
                  </a:lnTo>
                  <a:lnTo>
                    <a:pt x="54" y="31"/>
                  </a:lnTo>
                  <a:lnTo>
                    <a:pt x="54" y="30"/>
                  </a:lnTo>
                  <a:lnTo>
                    <a:pt x="50" y="23"/>
                  </a:lnTo>
                  <a:lnTo>
                    <a:pt x="47" y="14"/>
                  </a:lnTo>
                  <a:lnTo>
                    <a:pt x="41" y="9"/>
                  </a:lnTo>
                  <a:lnTo>
                    <a:pt x="35" y="3"/>
                  </a:lnTo>
                  <a:lnTo>
                    <a:pt x="33"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1" name="Freeform 620"/>
            <p:cNvSpPr>
              <a:spLocks/>
            </p:cNvSpPr>
            <p:nvPr/>
          </p:nvSpPr>
          <p:spPr bwMode="auto">
            <a:xfrm>
              <a:off x="6800851" y="3765555"/>
              <a:ext cx="193675" cy="452437"/>
            </a:xfrm>
            <a:custGeom>
              <a:avLst/>
              <a:gdLst>
                <a:gd name="T0" fmla="*/ 2147483647 w 132"/>
                <a:gd name="T1" fmla="*/ 2147483647 h 285"/>
                <a:gd name="T2" fmla="*/ 2147483647 w 132"/>
                <a:gd name="T3" fmla="*/ 2147483647 h 285"/>
                <a:gd name="T4" fmla="*/ 2147483647 w 132"/>
                <a:gd name="T5" fmla="*/ 2147483647 h 285"/>
                <a:gd name="T6" fmla="*/ 2147483647 w 132"/>
                <a:gd name="T7" fmla="*/ 2147483647 h 285"/>
                <a:gd name="T8" fmla="*/ 2147483647 w 132"/>
                <a:gd name="T9" fmla="*/ 2147483647 h 285"/>
                <a:gd name="T10" fmla="*/ 2147483647 w 132"/>
                <a:gd name="T11" fmla="*/ 2147483647 h 285"/>
                <a:gd name="T12" fmla="*/ 2147483647 w 132"/>
                <a:gd name="T13" fmla="*/ 2147483647 h 285"/>
                <a:gd name="T14" fmla="*/ 2147483647 w 132"/>
                <a:gd name="T15" fmla="*/ 2147483647 h 285"/>
                <a:gd name="T16" fmla="*/ 2147483647 w 132"/>
                <a:gd name="T17" fmla="*/ 2147483647 h 285"/>
                <a:gd name="T18" fmla="*/ 2147483647 w 132"/>
                <a:gd name="T19" fmla="*/ 2147483647 h 285"/>
                <a:gd name="T20" fmla="*/ 2147483647 w 132"/>
                <a:gd name="T21" fmla="*/ 2147483647 h 285"/>
                <a:gd name="T22" fmla="*/ 2147483647 w 132"/>
                <a:gd name="T23" fmla="*/ 2147483647 h 285"/>
                <a:gd name="T24" fmla="*/ 2147483647 w 132"/>
                <a:gd name="T25" fmla="*/ 2147483647 h 285"/>
                <a:gd name="T26" fmla="*/ 2147483647 w 132"/>
                <a:gd name="T27" fmla="*/ 2147483647 h 285"/>
                <a:gd name="T28" fmla="*/ 2147483647 w 132"/>
                <a:gd name="T29" fmla="*/ 2147483647 h 285"/>
                <a:gd name="T30" fmla="*/ 2147483647 w 132"/>
                <a:gd name="T31" fmla="*/ 2147483647 h 285"/>
                <a:gd name="T32" fmla="*/ 2147483647 w 132"/>
                <a:gd name="T33" fmla="*/ 2147483647 h 285"/>
                <a:gd name="T34" fmla="*/ 0 w 132"/>
                <a:gd name="T35" fmla="*/ 2147483647 h 285"/>
                <a:gd name="T36" fmla="*/ 2147483647 w 132"/>
                <a:gd name="T37" fmla="*/ 2147483647 h 285"/>
                <a:gd name="T38" fmla="*/ 2147483647 w 132"/>
                <a:gd name="T39" fmla="*/ 2147483647 h 285"/>
                <a:gd name="T40" fmla="*/ 2147483647 w 132"/>
                <a:gd name="T41" fmla="*/ 2147483647 h 285"/>
                <a:gd name="T42" fmla="*/ 2147483647 w 132"/>
                <a:gd name="T43" fmla="*/ 2147483647 h 285"/>
                <a:gd name="T44" fmla="*/ 2147483647 w 132"/>
                <a:gd name="T45" fmla="*/ 2147483647 h 285"/>
                <a:gd name="T46" fmla="*/ 2147483647 w 132"/>
                <a:gd name="T47" fmla="*/ 2147483647 h 285"/>
                <a:gd name="T48" fmla="*/ 2147483647 w 132"/>
                <a:gd name="T49" fmla="*/ 2147483647 h 285"/>
                <a:gd name="T50" fmla="*/ 2147483647 w 132"/>
                <a:gd name="T51" fmla="*/ 2147483647 h 285"/>
                <a:gd name="T52" fmla="*/ 2147483647 w 132"/>
                <a:gd name="T53" fmla="*/ 2147483647 h 285"/>
                <a:gd name="T54" fmla="*/ 2147483647 w 132"/>
                <a:gd name="T55" fmla="*/ 2147483647 h 285"/>
                <a:gd name="T56" fmla="*/ 2147483647 w 132"/>
                <a:gd name="T57" fmla="*/ 2147483647 h 285"/>
                <a:gd name="T58" fmla="*/ 2147483647 w 132"/>
                <a:gd name="T59" fmla="*/ 2147483647 h 285"/>
                <a:gd name="T60" fmla="*/ 2147483647 w 132"/>
                <a:gd name="T61" fmla="*/ 2147483647 h 285"/>
                <a:gd name="T62" fmla="*/ 2147483647 w 132"/>
                <a:gd name="T63" fmla="*/ 2147483647 h 285"/>
                <a:gd name="T64" fmla="*/ 2147483647 w 132"/>
                <a:gd name="T65" fmla="*/ 2147483647 h 285"/>
                <a:gd name="T66" fmla="*/ 2147483647 w 132"/>
                <a:gd name="T67" fmla="*/ 2147483647 h 285"/>
                <a:gd name="T68" fmla="*/ 2147483647 w 132"/>
                <a:gd name="T69" fmla="*/ 2147483647 h 285"/>
                <a:gd name="T70" fmla="*/ 2147483647 w 132"/>
                <a:gd name="T71" fmla="*/ 2147483647 h 285"/>
                <a:gd name="T72" fmla="*/ 2147483647 w 132"/>
                <a:gd name="T73" fmla="*/ 2147483647 h 285"/>
                <a:gd name="T74" fmla="*/ 2147483647 w 132"/>
                <a:gd name="T75" fmla="*/ 2147483647 h 285"/>
                <a:gd name="T76" fmla="*/ 2147483647 w 132"/>
                <a:gd name="T77" fmla="*/ 2147483647 h 285"/>
                <a:gd name="T78" fmla="*/ 2147483647 w 132"/>
                <a:gd name="T79" fmla="*/ 2147483647 h 285"/>
                <a:gd name="T80" fmla="*/ 2147483647 w 132"/>
                <a:gd name="T81" fmla="*/ 2147483647 h 285"/>
                <a:gd name="T82" fmla="*/ 2147483647 w 132"/>
                <a:gd name="T83" fmla="*/ 2147483647 h 285"/>
                <a:gd name="T84" fmla="*/ 2147483647 w 132"/>
                <a:gd name="T85" fmla="*/ 2147483647 h 285"/>
                <a:gd name="T86" fmla="*/ 2147483647 w 132"/>
                <a:gd name="T87" fmla="*/ 2147483647 h 285"/>
                <a:gd name="T88" fmla="*/ 2147483647 w 132"/>
                <a:gd name="T89" fmla="*/ 2147483647 h 285"/>
                <a:gd name="T90" fmla="*/ 2147483647 w 132"/>
                <a:gd name="T91" fmla="*/ 2147483647 h 285"/>
                <a:gd name="T92" fmla="*/ 2147483647 w 132"/>
                <a:gd name="T93" fmla="*/ 2147483647 h 285"/>
                <a:gd name="T94" fmla="*/ 2147483647 w 132"/>
                <a:gd name="T95" fmla="*/ 2147483647 h 285"/>
                <a:gd name="T96" fmla="*/ 2147483647 w 132"/>
                <a:gd name="T97" fmla="*/ 2147483647 h 285"/>
                <a:gd name="T98" fmla="*/ 2147483647 w 132"/>
                <a:gd name="T99" fmla="*/ 2147483647 h 2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2"/>
                <a:gd name="T151" fmla="*/ 0 h 285"/>
                <a:gd name="T152" fmla="*/ 132 w 132"/>
                <a:gd name="T153" fmla="*/ 285 h 2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2" h="285">
                  <a:moveTo>
                    <a:pt x="132" y="112"/>
                  </a:moveTo>
                  <a:lnTo>
                    <a:pt x="132" y="102"/>
                  </a:lnTo>
                  <a:lnTo>
                    <a:pt x="131" y="98"/>
                  </a:lnTo>
                  <a:lnTo>
                    <a:pt x="130" y="93"/>
                  </a:lnTo>
                  <a:lnTo>
                    <a:pt x="127" y="87"/>
                  </a:lnTo>
                  <a:lnTo>
                    <a:pt x="125" y="80"/>
                  </a:lnTo>
                  <a:lnTo>
                    <a:pt x="121" y="67"/>
                  </a:lnTo>
                  <a:lnTo>
                    <a:pt x="120" y="64"/>
                  </a:lnTo>
                  <a:lnTo>
                    <a:pt x="117" y="62"/>
                  </a:lnTo>
                  <a:lnTo>
                    <a:pt x="115" y="61"/>
                  </a:lnTo>
                  <a:lnTo>
                    <a:pt x="112" y="58"/>
                  </a:lnTo>
                  <a:lnTo>
                    <a:pt x="112" y="56"/>
                  </a:lnTo>
                  <a:lnTo>
                    <a:pt x="113" y="54"/>
                  </a:lnTo>
                  <a:lnTo>
                    <a:pt x="113" y="50"/>
                  </a:lnTo>
                  <a:lnTo>
                    <a:pt x="111" y="48"/>
                  </a:lnTo>
                  <a:lnTo>
                    <a:pt x="109" y="48"/>
                  </a:lnTo>
                  <a:lnTo>
                    <a:pt x="106" y="48"/>
                  </a:lnTo>
                  <a:lnTo>
                    <a:pt x="103" y="45"/>
                  </a:lnTo>
                  <a:lnTo>
                    <a:pt x="102" y="45"/>
                  </a:lnTo>
                  <a:lnTo>
                    <a:pt x="101" y="47"/>
                  </a:lnTo>
                  <a:lnTo>
                    <a:pt x="98" y="48"/>
                  </a:lnTo>
                  <a:lnTo>
                    <a:pt x="94" y="49"/>
                  </a:lnTo>
                  <a:lnTo>
                    <a:pt x="90" y="50"/>
                  </a:lnTo>
                  <a:lnTo>
                    <a:pt x="87" y="50"/>
                  </a:lnTo>
                  <a:lnTo>
                    <a:pt x="84" y="49"/>
                  </a:lnTo>
                  <a:lnTo>
                    <a:pt x="82" y="48"/>
                  </a:lnTo>
                  <a:lnTo>
                    <a:pt x="78" y="47"/>
                  </a:lnTo>
                  <a:lnTo>
                    <a:pt x="75" y="47"/>
                  </a:lnTo>
                  <a:lnTo>
                    <a:pt x="74" y="49"/>
                  </a:lnTo>
                  <a:lnTo>
                    <a:pt x="73" y="51"/>
                  </a:lnTo>
                  <a:lnTo>
                    <a:pt x="71" y="54"/>
                  </a:lnTo>
                  <a:lnTo>
                    <a:pt x="69" y="54"/>
                  </a:lnTo>
                  <a:lnTo>
                    <a:pt x="66" y="54"/>
                  </a:lnTo>
                  <a:lnTo>
                    <a:pt x="64" y="52"/>
                  </a:lnTo>
                  <a:lnTo>
                    <a:pt x="62" y="50"/>
                  </a:lnTo>
                  <a:lnTo>
                    <a:pt x="62" y="48"/>
                  </a:lnTo>
                  <a:lnTo>
                    <a:pt x="59" y="44"/>
                  </a:lnTo>
                  <a:lnTo>
                    <a:pt x="57" y="41"/>
                  </a:lnTo>
                  <a:lnTo>
                    <a:pt x="57" y="35"/>
                  </a:lnTo>
                  <a:lnTo>
                    <a:pt x="57" y="30"/>
                  </a:lnTo>
                  <a:lnTo>
                    <a:pt x="59" y="24"/>
                  </a:lnTo>
                  <a:lnTo>
                    <a:pt x="57" y="22"/>
                  </a:lnTo>
                  <a:lnTo>
                    <a:pt x="56" y="18"/>
                  </a:lnTo>
                  <a:lnTo>
                    <a:pt x="55" y="15"/>
                  </a:lnTo>
                  <a:lnTo>
                    <a:pt x="55" y="11"/>
                  </a:lnTo>
                  <a:lnTo>
                    <a:pt x="55" y="6"/>
                  </a:lnTo>
                  <a:lnTo>
                    <a:pt x="55" y="3"/>
                  </a:lnTo>
                  <a:lnTo>
                    <a:pt x="54" y="1"/>
                  </a:lnTo>
                  <a:lnTo>
                    <a:pt x="50" y="0"/>
                  </a:lnTo>
                  <a:lnTo>
                    <a:pt x="49" y="1"/>
                  </a:lnTo>
                  <a:lnTo>
                    <a:pt x="47" y="1"/>
                  </a:lnTo>
                  <a:lnTo>
                    <a:pt x="43" y="1"/>
                  </a:lnTo>
                  <a:lnTo>
                    <a:pt x="38" y="0"/>
                  </a:lnTo>
                  <a:lnTo>
                    <a:pt x="35" y="0"/>
                  </a:lnTo>
                  <a:lnTo>
                    <a:pt x="32" y="1"/>
                  </a:lnTo>
                  <a:lnTo>
                    <a:pt x="31" y="5"/>
                  </a:lnTo>
                  <a:lnTo>
                    <a:pt x="29" y="9"/>
                  </a:lnTo>
                  <a:lnTo>
                    <a:pt x="28" y="11"/>
                  </a:lnTo>
                  <a:lnTo>
                    <a:pt x="26" y="12"/>
                  </a:lnTo>
                  <a:lnTo>
                    <a:pt x="23" y="13"/>
                  </a:lnTo>
                  <a:lnTo>
                    <a:pt x="18" y="15"/>
                  </a:lnTo>
                  <a:lnTo>
                    <a:pt x="16" y="16"/>
                  </a:lnTo>
                  <a:lnTo>
                    <a:pt x="13" y="18"/>
                  </a:lnTo>
                  <a:lnTo>
                    <a:pt x="12" y="22"/>
                  </a:lnTo>
                  <a:lnTo>
                    <a:pt x="10" y="28"/>
                  </a:lnTo>
                  <a:lnTo>
                    <a:pt x="9" y="29"/>
                  </a:lnTo>
                  <a:lnTo>
                    <a:pt x="7" y="30"/>
                  </a:lnTo>
                  <a:lnTo>
                    <a:pt x="3" y="31"/>
                  </a:lnTo>
                  <a:lnTo>
                    <a:pt x="2" y="33"/>
                  </a:lnTo>
                  <a:lnTo>
                    <a:pt x="0" y="37"/>
                  </a:lnTo>
                  <a:lnTo>
                    <a:pt x="0" y="42"/>
                  </a:lnTo>
                  <a:lnTo>
                    <a:pt x="0" y="45"/>
                  </a:lnTo>
                  <a:lnTo>
                    <a:pt x="3" y="48"/>
                  </a:lnTo>
                  <a:lnTo>
                    <a:pt x="4" y="48"/>
                  </a:lnTo>
                  <a:lnTo>
                    <a:pt x="5" y="48"/>
                  </a:lnTo>
                  <a:lnTo>
                    <a:pt x="8" y="47"/>
                  </a:lnTo>
                  <a:lnTo>
                    <a:pt x="9" y="47"/>
                  </a:lnTo>
                  <a:lnTo>
                    <a:pt x="10" y="50"/>
                  </a:lnTo>
                  <a:lnTo>
                    <a:pt x="10" y="52"/>
                  </a:lnTo>
                  <a:lnTo>
                    <a:pt x="10" y="58"/>
                  </a:lnTo>
                  <a:lnTo>
                    <a:pt x="10" y="64"/>
                  </a:lnTo>
                  <a:lnTo>
                    <a:pt x="14" y="74"/>
                  </a:lnTo>
                  <a:lnTo>
                    <a:pt x="17" y="80"/>
                  </a:lnTo>
                  <a:lnTo>
                    <a:pt x="21" y="83"/>
                  </a:lnTo>
                  <a:lnTo>
                    <a:pt x="23" y="88"/>
                  </a:lnTo>
                  <a:lnTo>
                    <a:pt x="24" y="90"/>
                  </a:lnTo>
                  <a:lnTo>
                    <a:pt x="24" y="93"/>
                  </a:lnTo>
                  <a:lnTo>
                    <a:pt x="24" y="99"/>
                  </a:lnTo>
                  <a:lnTo>
                    <a:pt x="22" y="105"/>
                  </a:lnTo>
                  <a:lnTo>
                    <a:pt x="21" y="111"/>
                  </a:lnTo>
                  <a:lnTo>
                    <a:pt x="21" y="113"/>
                  </a:lnTo>
                  <a:lnTo>
                    <a:pt x="22" y="116"/>
                  </a:lnTo>
                  <a:lnTo>
                    <a:pt x="28" y="134"/>
                  </a:lnTo>
                  <a:lnTo>
                    <a:pt x="35" y="152"/>
                  </a:lnTo>
                  <a:lnTo>
                    <a:pt x="36" y="162"/>
                  </a:lnTo>
                  <a:lnTo>
                    <a:pt x="37" y="171"/>
                  </a:lnTo>
                  <a:lnTo>
                    <a:pt x="37" y="181"/>
                  </a:lnTo>
                  <a:lnTo>
                    <a:pt x="36" y="190"/>
                  </a:lnTo>
                  <a:lnTo>
                    <a:pt x="35" y="195"/>
                  </a:lnTo>
                  <a:lnTo>
                    <a:pt x="31" y="198"/>
                  </a:lnTo>
                  <a:lnTo>
                    <a:pt x="28" y="202"/>
                  </a:lnTo>
                  <a:lnTo>
                    <a:pt x="23" y="205"/>
                  </a:lnTo>
                  <a:lnTo>
                    <a:pt x="24" y="208"/>
                  </a:lnTo>
                  <a:lnTo>
                    <a:pt x="26" y="209"/>
                  </a:lnTo>
                  <a:lnTo>
                    <a:pt x="24" y="211"/>
                  </a:lnTo>
                  <a:lnTo>
                    <a:pt x="22" y="214"/>
                  </a:lnTo>
                  <a:lnTo>
                    <a:pt x="21" y="217"/>
                  </a:lnTo>
                  <a:lnTo>
                    <a:pt x="18" y="224"/>
                  </a:lnTo>
                  <a:lnTo>
                    <a:pt x="17" y="239"/>
                  </a:lnTo>
                  <a:lnTo>
                    <a:pt x="16" y="245"/>
                  </a:lnTo>
                  <a:lnTo>
                    <a:pt x="16" y="247"/>
                  </a:lnTo>
                  <a:lnTo>
                    <a:pt x="16" y="248"/>
                  </a:lnTo>
                  <a:lnTo>
                    <a:pt x="18" y="248"/>
                  </a:lnTo>
                  <a:lnTo>
                    <a:pt x="21" y="248"/>
                  </a:lnTo>
                  <a:lnTo>
                    <a:pt x="22" y="247"/>
                  </a:lnTo>
                  <a:lnTo>
                    <a:pt x="24" y="246"/>
                  </a:lnTo>
                  <a:lnTo>
                    <a:pt x="26" y="245"/>
                  </a:lnTo>
                  <a:lnTo>
                    <a:pt x="29" y="247"/>
                  </a:lnTo>
                  <a:lnTo>
                    <a:pt x="32" y="249"/>
                  </a:lnTo>
                  <a:lnTo>
                    <a:pt x="36" y="255"/>
                  </a:lnTo>
                  <a:lnTo>
                    <a:pt x="40" y="261"/>
                  </a:lnTo>
                  <a:lnTo>
                    <a:pt x="43" y="268"/>
                  </a:lnTo>
                  <a:lnTo>
                    <a:pt x="46" y="273"/>
                  </a:lnTo>
                  <a:lnTo>
                    <a:pt x="50" y="272"/>
                  </a:lnTo>
                  <a:lnTo>
                    <a:pt x="54" y="273"/>
                  </a:lnTo>
                  <a:lnTo>
                    <a:pt x="56" y="273"/>
                  </a:lnTo>
                  <a:lnTo>
                    <a:pt x="59" y="275"/>
                  </a:lnTo>
                  <a:lnTo>
                    <a:pt x="60" y="279"/>
                  </a:lnTo>
                  <a:lnTo>
                    <a:pt x="62" y="281"/>
                  </a:lnTo>
                  <a:lnTo>
                    <a:pt x="65" y="284"/>
                  </a:lnTo>
                  <a:lnTo>
                    <a:pt x="69" y="285"/>
                  </a:lnTo>
                  <a:lnTo>
                    <a:pt x="76" y="285"/>
                  </a:lnTo>
                  <a:lnTo>
                    <a:pt x="83" y="285"/>
                  </a:lnTo>
                  <a:lnTo>
                    <a:pt x="83" y="282"/>
                  </a:lnTo>
                  <a:lnTo>
                    <a:pt x="78" y="277"/>
                  </a:lnTo>
                  <a:lnTo>
                    <a:pt x="73" y="269"/>
                  </a:lnTo>
                  <a:lnTo>
                    <a:pt x="70" y="268"/>
                  </a:lnTo>
                  <a:lnTo>
                    <a:pt x="68" y="268"/>
                  </a:lnTo>
                  <a:lnTo>
                    <a:pt x="65" y="268"/>
                  </a:lnTo>
                  <a:lnTo>
                    <a:pt x="61" y="267"/>
                  </a:lnTo>
                  <a:lnTo>
                    <a:pt x="59" y="265"/>
                  </a:lnTo>
                  <a:lnTo>
                    <a:pt x="57" y="260"/>
                  </a:lnTo>
                  <a:lnTo>
                    <a:pt x="56" y="256"/>
                  </a:lnTo>
                  <a:lnTo>
                    <a:pt x="55" y="252"/>
                  </a:lnTo>
                  <a:lnTo>
                    <a:pt x="50" y="242"/>
                  </a:lnTo>
                  <a:lnTo>
                    <a:pt x="49" y="236"/>
                  </a:lnTo>
                  <a:lnTo>
                    <a:pt x="49" y="230"/>
                  </a:lnTo>
                  <a:lnTo>
                    <a:pt x="49" y="229"/>
                  </a:lnTo>
                  <a:lnTo>
                    <a:pt x="47" y="228"/>
                  </a:lnTo>
                  <a:lnTo>
                    <a:pt x="45" y="228"/>
                  </a:lnTo>
                  <a:lnTo>
                    <a:pt x="42" y="228"/>
                  </a:lnTo>
                  <a:lnTo>
                    <a:pt x="40" y="227"/>
                  </a:lnTo>
                  <a:lnTo>
                    <a:pt x="37" y="222"/>
                  </a:lnTo>
                  <a:lnTo>
                    <a:pt x="36" y="217"/>
                  </a:lnTo>
                  <a:lnTo>
                    <a:pt x="36" y="213"/>
                  </a:lnTo>
                  <a:lnTo>
                    <a:pt x="36" y="208"/>
                  </a:lnTo>
                  <a:lnTo>
                    <a:pt x="43" y="182"/>
                  </a:lnTo>
                  <a:lnTo>
                    <a:pt x="46" y="169"/>
                  </a:lnTo>
                  <a:lnTo>
                    <a:pt x="46" y="156"/>
                  </a:lnTo>
                  <a:lnTo>
                    <a:pt x="47" y="151"/>
                  </a:lnTo>
                  <a:lnTo>
                    <a:pt x="50" y="144"/>
                  </a:lnTo>
                  <a:lnTo>
                    <a:pt x="51" y="143"/>
                  </a:lnTo>
                  <a:lnTo>
                    <a:pt x="52" y="143"/>
                  </a:lnTo>
                  <a:lnTo>
                    <a:pt x="57" y="143"/>
                  </a:lnTo>
                  <a:lnTo>
                    <a:pt x="59" y="141"/>
                  </a:lnTo>
                  <a:lnTo>
                    <a:pt x="61" y="140"/>
                  </a:lnTo>
                  <a:lnTo>
                    <a:pt x="62" y="139"/>
                  </a:lnTo>
                  <a:lnTo>
                    <a:pt x="64" y="140"/>
                  </a:lnTo>
                  <a:lnTo>
                    <a:pt x="65" y="143"/>
                  </a:lnTo>
                  <a:lnTo>
                    <a:pt x="65" y="145"/>
                  </a:lnTo>
                  <a:lnTo>
                    <a:pt x="64" y="151"/>
                  </a:lnTo>
                  <a:lnTo>
                    <a:pt x="62" y="157"/>
                  </a:lnTo>
                  <a:lnTo>
                    <a:pt x="61" y="159"/>
                  </a:lnTo>
                  <a:lnTo>
                    <a:pt x="64" y="160"/>
                  </a:lnTo>
                  <a:lnTo>
                    <a:pt x="68" y="160"/>
                  </a:lnTo>
                  <a:lnTo>
                    <a:pt x="71" y="159"/>
                  </a:lnTo>
                  <a:lnTo>
                    <a:pt x="76" y="159"/>
                  </a:lnTo>
                  <a:lnTo>
                    <a:pt x="78" y="159"/>
                  </a:lnTo>
                  <a:lnTo>
                    <a:pt x="79" y="160"/>
                  </a:lnTo>
                  <a:lnTo>
                    <a:pt x="80" y="163"/>
                  </a:lnTo>
                  <a:lnTo>
                    <a:pt x="82" y="166"/>
                  </a:lnTo>
                  <a:lnTo>
                    <a:pt x="83" y="172"/>
                  </a:lnTo>
                  <a:lnTo>
                    <a:pt x="85" y="171"/>
                  </a:lnTo>
                  <a:lnTo>
                    <a:pt x="87" y="169"/>
                  </a:lnTo>
                  <a:lnTo>
                    <a:pt x="87" y="163"/>
                  </a:lnTo>
                  <a:lnTo>
                    <a:pt x="85" y="157"/>
                  </a:lnTo>
                  <a:lnTo>
                    <a:pt x="84" y="152"/>
                  </a:lnTo>
                  <a:lnTo>
                    <a:pt x="80" y="148"/>
                  </a:lnTo>
                  <a:lnTo>
                    <a:pt x="79" y="146"/>
                  </a:lnTo>
                  <a:lnTo>
                    <a:pt x="80" y="144"/>
                  </a:lnTo>
                  <a:lnTo>
                    <a:pt x="88" y="134"/>
                  </a:lnTo>
                  <a:lnTo>
                    <a:pt x="97" y="126"/>
                  </a:lnTo>
                  <a:lnTo>
                    <a:pt x="99" y="124"/>
                  </a:lnTo>
                  <a:lnTo>
                    <a:pt x="102" y="122"/>
                  </a:lnTo>
                  <a:lnTo>
                    <a:pt x="108" y="122"/>
                  </a:lnTo>
                  <a:lnTo>
                    <a:pt x="113" y="122"/>
                  </a:lnTo>
                  <a:lnTo>
                    <a:pt x="120" y="122"/>
                  </a:lnTo>
                  <a:lnTo>
                    <a:pt x="122" y="121"/>
                  </a:lnTo>
                  <a:lnTo>
                    <a:pt x="123" y="120"/>
                  </a:lnTo>
                  <a:lnTo>
                    <a:pt x="127" y="114"/>
                  </a:lnTo>
                  <a:lnTo>
                    <a:pt x="129" y="112"/>
                  </a:lnTo>
                  <a:lnTo>
                    <a:pt x="132" y="1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2" name="Freeform 621"/>
            <p:cNvSpPr>
              <a:spLocks/>
            </p:cNvSpPr>
            <p:nvPr/>
          </p:nvSpPr>
          <p:spPr bwMode="auto">
            <a:xfrm>
              <a:off x="6667501" y="3500438"/>
              <a:ext cx="222250" cy="590550"/>
            </a:xfrm>
            <a:custGeom>
              <a:avLst/>
              <a:gdLst>
                <a:gd name="T0" fmla="*/ 2147483647 w 152"/>
                <a:gd name="T1" fmla="*/ 2147483647 h 372"/>
                <a:gd name="T2" fmla="*/ 2147483647 w 152"/>
                <a:gd name="T3" fmla="*/ 2147483647 h 372"/>
                <a:gd name="T4" fmla="*/ 2147483647 w 152"/>
                <a:gd name="T5" fmla="*/ 2147483647 h 372"/>
                <a:gd name="T6" fmla="*/ 2147483647 w 152"/>
                <a:gd name="T7" fmla="*/ 2147483647 h 372"/>
                <a:gd name="T8" fmla="*/ 2147483647 w 152"/>
                <a:gd name="T9" fmla="*/ 2147483647 h 372"/>
                <a:gd name="T10" fmla="*/ 2147483647 w 152"/>
                <a:gd name="T11" fmla="*/ 2147483647 h 372"/>
                <a:gd name="T12" fmla="*/ 2147483647 w 152"/>
                <a:gd name="T13" fmla="*/ 2147483647 h 372"/>
                <a:gd name="T14" fmla="*/ 2147483647 w 152"/>
                <a:gd name="T15" fmla="*/ 2147483647 h 372"/>
                <a:gd name="T16" fmla="*/ 2147483647 w 152"/>
                <a:gd name="T17" fmla="*/ 2147483647 h 372"/>
                <a:gd name="T18" fmla="*/ 2147483647 w 152"/>
                <a:gd name="T19" fmla="*/ 2147483647 h 372"/>
                <a:gd name="T20" fmla="*/ 2147483647 w 152"/>
                <a:gd name="T21" fmla="*/ 2147483647 h 372"/>
                <a:gd name="T22" fmla="*/ 2147483647 w 152"/>
                <a:gd name="T23" fmla="*/ 2147483647 h 372"/>
                <a:gd name="T24" fmla="*/ 2147483647 w 152"/>
                <a:gd name="T25" fmla="*/ 2147483647 h 372"/>
                <a:gd name="T26" fmla="*/ 2147483647 w 152"/>
                <a:gd name="T27" fmla="*/ 2147483647 h 372"/>
                <a:gd name="T28" fmla="*/ 2147483647 w 152"/>
                <a:gd name="T29" fmla="*/ 2147483647 h 372"/>
                <a:gd name="T30" fmla="*/ 2147483647 w 152"/>
                <a:gd name="T31" fmla="*/ 2147483647 h 372"/>
                <a:gd name="T32" fmla="*/ 2147483647 w 152"/>
                <a:gd name="T33" fmla="*/ 2147483647 h 372"/>
                <a:gd name="T34" fmla="*/ 2147483647 w 152"/>
                <a:gd name="T35" fmla="*/ 2147483647 h 372"/>
                <a:gd name="T36" fmla="*/ 2147483647 w 152"/>
                <a:gd name="T37" fmla="*/ 2147483647 h 372"/>
                <a:gd name="T38" fmla="*/ 2147483647 w 152"/>
                <a:gd name="T39" fmla="*/ 2147483647 h 372"/>
                <a:gd name="T40" fmla="*/ 2147483647 w 152"/>
                <a:gd name="T41" fmla="*/ 2147483647 h 372"/>
                <a:gd name="T42" fmla="*/ 2147483647 w 152"/>
                <a:gd name="T43" fmla="*/ 2147483647 h 372"/>
                <a:gd name="T44" fmla="*/ 2147483647 w 152"/>
                <a:gd name="T45" fmla="*/ 2147483647 h 372"/>
                <a:gd name="T46" fmla="*/ 2147483647 w 152"/>
                <a:gd name="T47" fmla="*/ 2147483647 h 372"/>
                <a:gd name="T48" fmla="*/ 2147483647 w 152"/>
                <a:gd name="T49" fmla="*/ 2147483647 h 372"/>
                <a:gd name="T50" fmla="*/ 2147483647 w 152"/>
                <a:gd name="T51" fmla="*/ 2147483647 h 372"/>
                <a:gd name="T52" fmla="*/ 2147483647 w 152"/>
                <a:gd name="T53" fmla="*/ 2147483647 h 372"/>
                <a:gd name="T54" fmla="*/ 2147483647 w 152"/>
                <a:gd name="T55" fmla="*/ 2147483647 h 372"/>
                <a:gd name="T56" fmla="*/ 2147483647 w 152"/>
                <a:gd name="T57" fmla="*/ 2147483647 h 372"/>
                <a:gd name="T58" fmla="*/ 2147483647 w 152"/>
                <a:gd name="T59" fmla="*/ 2147483647 h 372"/>
                <a:gd name="T60" fmla="*/ 2147483647 w 152"/>
                <a:gd name="T61" fmla="*/ 2147483647 h 372"/>
                <a:gd name="T62" fmla="*/ 2147483647 w 152"/>
                <a:gd name="T63" fmla="*/ 2147483647 h 372"/>
                <a:gd name="T64" fmla="*/ 2147483647 w 152"/>
                <a:gd name="T65" fmla="*/ 2147483647 h 372"/>
                <a:gd name="T66" fmla="*/ 2147483647 w 152"/>
                <a:gd name="T67" fmla="*/ 2147483647 h 372"/>
                <a:gd name="T68" fmla="*/ 2147483647 w 152"/>
                <a:gd name="T69" fmla="*/ 2147483647 h 372"/>
                <a:gd name="T70" fmla="*/ 2147483647 w 152"/>
                <a:gd name="T71" fmla="*/ 2147483647 h 372"/>
                <a:gd name="T72" fmla="*/ 2147483647 w 152"/>
                <a:gd name="T73" fmla="*/ 2147483647 h 372"/>
                <a:gd name="T74" fmla="*/ 2147483647 w 152"/>
                <a:gd name="T75" fmla="*/ 2147483647 h 372"/>
                <a:gd name="T76" fmla="*/ 2147483647 w 152"/>
                <a:gd name="T77" fmla="*/ 2147483647 h 372"/>
                <a:gd name="T78" fmla="*/ 2147483647 w 152"/>
                <a:gd name="T79" fmla="*/ 2147483647 h 372"/>
                <a:gd name="T80" fmla="*/ 2147483647 w 152"/>
                <a:gd name="T81" fmla="*/ 2147483647 h 372"/>
                <a:gd name="T82" fmla="*/ 2147483647 w 152"/>
                <a:gd name="T83" fmla="*/ 2147483647 h 372"/>
                <a:gd name="T84" fmla="*/ 2147483647 w 152"/>
                <a:gd name="T85" fmla="*/ 2147483647 h 372"/>
                <a:gd name="T86" fmla="*/ 2147483647 w 152"/>
                <a:gd name="T87" fmla="*/ 2147483647 h 372"/>
                <a:gd name="T88" fmla="*/ 2147483647 w 152"/>
                <a:gd name="T89" fmla="*/ 2147483647 h 372"/>
                <a:gd name="T90" fmla="*/ 2147483647 w 152"/>
                <a:gd name="T91" fmla="*/ 2147483647 h 372"/>
                <a:gd name="T92" fmla="*/ 2147483647 w 152"/>
                <a:gd name="T93" fmla="*/ 2147483647 h 372"/>
                <a:gd name="T94" fmla="*/ 2147483647 w 152"/>
                <a:gd name="T95" fmla="*/ 2147483647 h 372"/>
                <a:gd name="T96" fmla="*/ 2147483647 w 152"/>
                <a:gd name="T97" fmla="*/ 2147483647 h 372"/>
                <a:gd name="T98" fmla="*/ 2147483647 w 152"/>
                <a:gd name="T99" fmla="*/ 2147483647 h 372"/>
                <a:gd name="T100" fmla="*/ 2147483647 w 152"/>
                <a:gd name="T101" fmla="*/ 2147483647 h 372"/>
                <a:gd name="T102" fmla="*/ 2147483647 w 152"/>
                <a:gd name="T103" fmla="*/ 2147483647 h 372"/>
                <a:gd name="T104" fmla="*/ 2147483647 w 152"/>
                <a:gd name="T105" fmla="*/ 2147483647 h 3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2"/>
                <a:gd name="T160" fmla="*/ 0 h 372"/>
                <a:gd name="T161" fmla="*/ 152 w 152"/>
                <a:gd name="T162" fmla="*/ 372 h 3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2" h="372">
                  <a:moveTo>
                    <a:pt x="151" y="147"/>
                  </a:moveTo>
                  <a:lnTo>
                    <a:pt x="152" y="145"/>
                  </a:lnTo>
                  <a:lnTo>
                    <a:pt x="151" y="142"/>
                  </a:lnTo>
                  <a:lnTo>
                    <a:pt x="151" y="141"/>
                  </a:lnTo>
                  <a:lnTo>
                    <a:pt x="147" y="140"/>
                  </a:lnTo>
                  <a:lnTo>
                    <a:pt x="141" y="140"/>
                  </a:lnTo>
                  <a:lnTo>
                    <a:pt x="140" y="139"/>
                  </a:lnTo>
                  <a:lnTo>
                    <a:pt x="138" y="138"/>
                  </a:lnTo>
                  <a:lnTo>
                    <a:pt x="138" y="134"/>
                  </a:lnTo>
                  <a:lnTo>
                    <a:pt x="138" y="131"/>
                  </a:lnTo>
                  <a:lnTo>
                    <a:pt x="137" y="129"/>
                  </a:lnTo>
                  <a:lnTo>
                    <a:pt x="136" y="129"/>
                  </a:lnTo>
                  <a:lnTo>
                    <a:pt x="131" y="131"/>
                  </a:lnTo>
                  <a:lnTo>
                    <a:pt x="128" y="131"/>
                  </a:lnTo>
                  <a:lnTo>
                    <a:pt x="126" y="131"/>
                  </a:lnTo>
                  <a:lnTo>
                    <a:pt x="124" y="129"/>
                  </a:lnTo>
                  <a:lnTo>
                    <a:pt x="124" y="127"/>
                  </a:lnTo>
                  <a:lnTo>
                    <a:pt x="127" y="122"/>
                  </a:lnTo>
                  <a:lnTo>
                    <a:pt x="131" y="119"/>
                  </a:lnTo>
                  <a:lnTo>
                    <a:pt x="134" y="114"/>
                  </a:lnTo>
                  <a:lnTo>
                    <a:pt x="136" y="109"/>
                  </a:lnTo>
                  <a:lnTo>
                    <a:pt x="136" y="107"/>
                  </a:lnTo>
                  <a:lnTo>
                    <a:pt x="133" y="107"/>
                  </a:lnTo>
                  <a:lnTo>
                    <a:pt x="128" y="107"/>
                  </a:lnTo>
                  <a:lnTo>
                    <a:pt x="126" y="106"/>
                  </a:lnTo>
                  <a:lnTo>
                    <a:pt x="124" y="103"/>
                  </a:lnTo>
                  <a:lnTo>
                    <a:pt x="124" y="99"/>
                  </a:lnTo>
                  <a:lnTo>
                    <a:pt x="124" y="93"/>
                  </a:lnTo>
                  <a:lnTo>
                    <a:pt x="124" y="90"/>
                  </a:lnTo>
                  <a:lnTo>
                    <a:pt x="123" y="89"/>
                  </a:lnTo>
                  <a:lnTo>
                    <a:pt x="120" y="89"/>
                  </a:lnTo>
                  <a:lnTo>
                    <a:pt x="117" y="89"/>
                  </a:lnTo>
                  <a:lnTo>
                    <a:pt x="110" y="90"/>
                  </a:lnTo>
                  <a:lnTo>
                    <a:pt x="104" y="91"/>
                  </a:lnTo>
                  <a:lnTo>
                    <a:pt x="101" y="90"/>
                  </a:lnTo>
                  <a:lnTo>
                    <a:pt x="100" y="89"/>
                  </a:lnTo>
                  <a:lnTo>
                    <a:pt x="98" y="84"/>
                  </a:lnTo>
                  <a:lnTo>
                    <a:pt x="98" y="81"/>
                  </a:lnTo>
                  <a:lnTo>
                    <a:pt x="98" y="77"/>
                  </a:lnTo>
                  <a:lnTo>
                    <a:pt x="99" y="72"/>
                  </a:lnTo>
                  <a:lnTo>
                    <a:pt x="103" y="64"/>
                  </a:lnTo>
                  <a:lnTo>
                    <a:pt x="107" y="56"/>
                  </a:lnTo>
                  <a:lnTo>
                    <a:pt x="109" y="51"/>
                  </a:lnTo>
                  <a:lnTo>
                    <a:pt x="110" y="46"/>
                  </a:lnTo>
                  <a:lnTo>
                    <a:pt x="112" y="36"/>
                  </a:lnTo>
                  <a:lnTo>
                    <a:pt x="110" y="13"/>
                  </a:lnTo>
                  <a:lnTo>
                    <a:pt x="109" y="8"/>
                  </a:lnTo>
                  <a:lnTo>
                    <a:pt x="107" y="4"/>
                  </a:lnTo>
                  <a:lnTo>
                    <a:pt x="101" y="1"/>
                  </a:lnTo>
                  <a:lnTo>
                    <a:pt x="99" y="0"/>
                  </a:lnTo>
                  <a:lnTo>
                    <a:pt x="98" y="1"/>
                  </a:lnTo>
                  <a:lnTo>
                    <a:pt x="93" y="3"/>
                  </a:lnTo>
                  <a:lnTo>
                    <a:pt x="93" y="5"/>
                  </a:lnTo>
                  <a:lnTo>
                    <a:pt x="91" y="6"/>
                  </a:lnTo>
                  <a:lnTo>
                    <a:pt x="90" y="8"/>
                  </a:lnTo>
                  <a:lnTo>
                    <a:pt x="89" y="10"/>
                  </a:lnTo>
                  <a:lnTo>
                    <a:pt x="87" y="16"/>
                  </a:lnTo>
                  <a:lnTo>
                    <a:pt x="84" y="20"/>
                  </a:lnTo>
                  <a:lnTo>
                    <a:pt x="80" y="24"/>
                  </a:lnTo>
                  <a:lnTo>
                    <a:pt x="73" y="26"/>
                  </a:lnTo>
                  <a:lnTo>
                    <a:pt x="71" y="27"/>
                  </a:lnTo>
                  <a:lnTo>
                    <a:pt x="70" y="31"/>
                  </a:lnTo>
                  <a:lnTo>
                    <a:pt x="68" y="37"/>
                  </a:lnTo>
                  <a:lnTo>
                    <a:pt x="66" y="43"/>
                  </a:lnTo>
                  <a:lnTo>
                    <a:pt x="63" y="49"/>
                  </a:lnTo>
                  <a:lnTo>
                    <a:pt x="61" y="55"/>
                  </a:lnTo>
                  <a:lnTo>
                    <a:pt x="52" y="65"/>
                  </a:lnTo>
                  <a:lnTo>
                    <a:pt x="43" y="74"/>
                  </a:lnTo>
                  <a:lnTo>
                    <a:pt x="40" y="77"/>
                  </a:lnTo>
                  <a:lnTo>
                    <a:pt x="39" y="80"/>
                  </a:lnTo>
                  <a:lnTo>
                    <a:pt x="39" y="88"/>
                  </a:lnTo>
                  <a:lnTo>
                    <a:pt x="38" y="94"/>
                  </a:lnTo>
                  <a:lnTo>
                    <a:pt x="37" y="96"/>
                  </a:lnTo>
                  <a:lnTo>
                    <a:pt x="34" y="97"/>
                  </a:lnTo>
                  <a:lnTo>
                    <a:pt x="30" y="100"/>
                  </a:lnTo>
                  <a:lnTo>
                    <a:pt x="25" y="101"/>
                  </a:lnTo>
                  <a:lnTo>
                    <a:pt x="23" y="101"/>
                  </a:lnTo>
                  <a:lnTo>
                    <a:pt x="21" y="102"/>
                  </a:lnTo>
                  <a:lnTo>
                    <a:pt x="18" y="107"/>
                  </a:lnTo>
                  <a:lnTo>
                    <a:pt x="16" y="113"/>
                  </a:lnTo>
                  <a:lnTo>
                    <a:pt x="15" y="118"/>
                  </a:lnTo>
                  <a:lnTo>
                    <a:pt x="15" y="123"/>
                  </a:lnTo>
                  <a:lnTo>
                    <a:pt x="14" y="129"/>
                  </a:lnTo>
                  <a:lnTo>
                    <a:pt x="13" y="132"/>
                  </a:lnTo>
                  <a:lnTo>
                    <a:pt x="10" y="133"/>
                  </a:lnTo>
                  <a:lnTo>
                    <a:pt x="7" y="135"/>
                  </a:lnTo>
                  <a:lnTo>
                    <a:pt x="4" y="135"/>
                  </a:lnTo>
                  <a:lnTo>
                    <a:pt x="5" y="139"/>
                  </a:lnTo>
                  <a:lnTo>
                    <a:pt x="4" y="141"/>
                  </a:lnTo>
                  <a:lnTo>
                    <a:pt x="2" y="144"/>
                  </a:lnTo>
                  <a:lnTo>
                    <a:pt x="2" y="146"/>
                  </a:lnTo>
                  <a:lnTo>
                    <a:pt x="1" y="151"/>
                  </a:lnTo>
                  <a:lnTo>
                    <a:pt x="0" y="152"/>
                  </a:lnTo>
                  <a:lnTo>
                    <a:pt x="0" y="154"/>
                  </a:lnTo>
                  <a:lnTo>
                    <a:pt x="4" y="159"/>
                  </a:lnTo>
                  <a:lnTo>
                    <a:pt x="9" y="167"/>
                  </a:lnTo>
                  <a:lnTo>
                    <a:pt x="14" y="174"/>
                  </a:lnTo>
                  <a:lnTo>
                    <a:pt x="16" y="178"/>
                  </a:lnTo>
                  <a:lnTo>
                    <a:pt x="20" y="180"/>
                  </a:lnTo>
                  <a:lnTo>
                    <a:pt x="24" y="183"/>
                  </a:lnTo>
                  <a:lnTo>
                    <a:pt x="29" y="184"/>
                  </a:lnTo>
                  <a:lnTo>
                    <a:pt x="29" y="186"/>
                  </a:lnTo>
                  <a:lnTo>
                    <a:pt x="29" y="189"/>
                  </a:lnTo>
                  <a:lnTo>
                    <a:pt x="30" y="191"/>
                  </a:lnTo>
                  <a:lnTo>
                    <a:pt x="33" y="192"/>
                  </a:lnTo>
                  <a:lnTo>
                    <a:pt x="35" y="193"/>
                  </a:lnTo>
                  <a:lnTo>
                    <a:pt x="37" y="195"/>
                  </a:lnTo>
                  <a:lnTo>
                    <a:pt x="38" y="196"/>
                  </a:lnTo>
                  <a:lnTo>
                    <a:pt x="39" y="200"/>
                  </a:lnTo>
                  <a:lnTo>
                    <a:pt x="39" y="205"/>
                  </a:lnTo>
                  <a:lnTo>
                    <a:pt x="39" y="214"/>
                  </a:lnTo>
                  <a:lnTo>
                    <a:pt x="39" y="216"/>
                  </a:lnTo>
                  <a:lnTo>
                    <a:pt x="38" y="218"/>
                  </a:lnTo>
                  <a:lnTo>
                    <a:pt x="37" y="221"/>
                  </a:lnTo>
                  <a:lnTo>
                    <a:pt x="38" y="223"/>
                  </a:lnTo>
                  <a:lnTo>
                    <a:pt x="40" y="231"/>
                  </a:lnTo>
                  <a:lnTo>
                    <a:pt x="42" y="240"/>
                  </a:lnTo>
                  <a:lnTo>
                    <a:pt x="42" y="248"/>
                  </a:lnTo>
                  <a:lnTo>
                    <a:pt x="39" y="256"/>
                  </a:lnTo>
                  <a:lnTo>
                    <a:pt x="39" y="259"/>
                  </a:lnTo>
                  <a:lnTo>
                    <a:pt x="39" y="261"/>
                  </a:lnTo>
                  <a:lnTo>
                    <a:pt x="40" y="262"/>
                  </a:lnTo>
                  <a:lnTo>
                    <a:pt x="42" y="263"/>
                  </a:lnTo>
                  <a:lnTo>
                    <a:pt x="48" y="263"/>
                  </a:lnTo>
                  <a:lnTo>
                    <a:pt x="54" y="263"/>
                  </a:lnTo>
                  <a:lnTo>
                    <a:pt x="60" y="261"/>
                  </a:lnTo>
                  <a:lnTo>
                    <a:pt x="65" y="259"/>
                  </a:lnTo>
                  <a:lnTo>
                    <a:pt x="70" y="255"/>
                  </a:lnTo>
                  <a:lnTo>
                    <a:pt x="73" y="250"/>
                  </a:lnTo>
                  <a:lnTo>
                    <a:pt x="77" y="246"/>
                  </a:lnTo>
                  <a:lnTo>
                    <a:pt x="80" y="240"/>
                  </a:lnTo>
                  <a:lnTo>
                    <a:pt x="81" y="238"/>
                  </a:lnTo>
                  <a:lnTo>
                    <a:pt x="82" y="240"/>
                  </a:lnTo>
                  <a:lnTo>
                    <a:pt x="84" y="242"/>
                  </a:lnTo>
                  <a:lnTo>
                    <a:pt x="85" y="247"/>
                  </a:lnTo>
                  <a:lnTo>
                    <a:pt x="87" y="250"/>
                  </a:lnTo>
                  <a:lnTo>
                    <a:pt x="90" y="253"/>
                  </a:lnTo>
                  <a:lnTo>
                    <a:pt x="95" y="255"/>
                  </a:lnTo>
                  <a:lnTo>
                    <a:pt x="95" y="256"/>
                  </a:lnTo>
                  <a:lnTo>
                    <a:pt x="96" y="259"/>
                  </a:lnTo>
                  <a:lnTo>
                    <a:pt x="96" y="263"/>
                  </a:lnTo>
                  <a:lnTo>
                    <a:pt x="95" y="268"/>
                  </a:lnTo>
                  <a:lnTo>
                    <a:pt x="95" y="272"/>
                  </a:lnTo>
                  <a:lnTo>
                    <a:pt x="96" y="276"/>
                  </a:lnTo>
                  <a:lnTo>
                    <a:pt x="99" y="280"/>
                  </a:lnTo>
                  <a:lnTo>
                    <a:pt x="99" y="285"/>
                  </a:lnTo>
                  <a:lnTo>
                    <a:pt x="101" y="292"/>
                  </a:lnTo>
                  <a:lnTo>
                    <a:pt x="105" y="305"/>
                  </a:lnTo>
                  <a:lnTo>
                    <a:pt x="108" y="318"/>
                  </a:lnTo>
                  <a:lnTo>
                    <a:pt x="112" y="345"/>
                  </a:lnTo>
                  <a:lnTo>
                    <a:pt x="114" y="348"/>
                  </a:lnTo>
                  <a:lnTo>
                    <a:pt x="114" y="351"/>
                  </a:lnTo>
                  <a:lnTo>
                    <a:pt x="114" y="353"/>
                  </a:lnTo>
                  <a:lnTo>
                    <a:pt x="114" y="361"/>
                  </a:lnTo>
                  <a:lnTo>
                    <a:pt x="113" y="366"/>
                  </a:lnTo>
                  <a:lnTo>
                    <a:pt x="113" y="369"/>
                  </a:lnTo>
                  <a:lnTo>
                    <a:pt x="114" y="372"/>
                  </a:lnTo>
                  <a:lnTo>
                    <a:pt x="119" y="369"/>
                  </a:lnTo>
                  <a:lnTo>
                    <a:pt x="122" y="365"/>
                  </a:lnTo>
                  <a:lnTo>
                    <a:pt x="126" y="362"/>
                  </a:lnTo>
                  <a:lnTo>
                    <a:pt x="127" y="357"/>
                  </a:lnTo>
                  <a:lnTo>
                    <a:pt x="128" y="348"/>
                  </a:lnTo>
                  <a:lnTo>
                    <a:pt x="128" y="338"/>
                  </a:lnTo>
                  <a:lnTo>
                    <a:pt x="127" y="329"/>
                  </a:lnTo>
                  <a:lnTo>
                    <a:pt x="126" y="319"/>
                  </a:lnTo>
                  <a:lnTo>
                    <a:pt x="119" y="301"/>
                  </a:lnTo>
                  <a:lnTo>
                    <a:pt x="113" y="283"/>
                  </a:lnTo>
                  <a:lnTo>
                    <a:pt x="112" y="280"/>
                  </a:lnTo>
                  <a:lnTo>
                    <a:pt x="112" y="278"/>
                  </a:lnTo>
                  <a:lnTo>
                    <a:pt x="113" y="272"/>
                  </a:lnTo>
                  <a:lnTo>
                    <a:pt x="115" y="266"/>
                  </a:lnTo>
                  <a:lnTo>
                    <a:pt x="115" y="260"/>
                  </a:lnTo>
                  <a:lnTo>
                    <a:pt x="115" y="257"/>
                  </a:lnTo>
                  <a:lnTo>
                    <a:pt x="114" y="255"/>
                  </a:lnTo>
                  <a:lnTo>
                    <a:pt x="112" y="250"/>
                  </a:lnTo>
                  <a:lnTo>
                    <a:pt x="108" y="247"/>
                  </a:lnTo>
                  <a:lnTo>
                    <a:pt x="105" y="241"/>
                  </a:lnTo>
                  <a:lnTo>
                    <a:pt x="101" y="231"/>
                  </a:lnTo>
                  <a:lnTo>
                    <a:pt x="101" y="225"/>
                  </a:lnTo>
                  <a:lnTo>
                    <a:pt x="101" y="219"/>
                  </a:lnTo>
                  <a:lnTo>
                    <a:pt x="101" y="217"/>
                  </a:lnTo>
                  <a:lnTo>
                    <a:pt x="100" y="214"/>
                  </a:lnTo>
                  <a:lnTo>
                    <a:pt x="99" y="214"/>
                  </a:lnTo>
                  <a:lnTo>
                    <a:pt x="96" y="215"/>
                  </a:lnTo>
                  <a:lnTo>
                    <a:pt x="95" y="215"/>
                  </a:lnTo>
                  <a:lnTo>
                    <a:pt x="94" y="215"/>
                  </a:lnTo>
                  <a:lnTo>
                    <a:pt x="91" y="212"/>
                  </a:lnTo>
                  <a:lnTo>
                    <a:pt x="91" y="209"/>
                  </a:lnTo>
                  <a:lnTo>
                    <a:pt x="91" y="204"/>
                  </a:lnTo>
                  <a:lnTo>
                    <a:pt x="93" y="200"/>
                  </a:lnTo>
                  <a:lnTo>
                    <a:pt x="94" y="198"/>
                  </a:lnTo>
                  <a:lnTo>
                    <a:pt x="98" y="197"/>
                  </a:lnTo>
                  <a:lnTo>
                    <a:pt x="100" y="196"/>
                  </a:lnTo>
                  <a:lnTo>
                    <a:pt x="101" y="195"/>
                  </a:lnTo>
                  <a:lnTo>
                    <a:pt x="103" y="189"/>
                  </a:lnTo>
                  <a:lnTo>
                    <a:pt x="104" y="185"/>
                  </a:lnTo>
                  <a:lnTo>
                    <a:pt x="107" y="183"/>
                  </a:lnTo>
                  <a:lnTo>
                    <a:pt x="109" y="182"/>
                  </a:lnTo>
                  <a:lnTo>
                    <a:pt x="114" y="180"/>
                  </a:lnTo>
                  <a:lnTo>
                    <a:pt x="117" y="179"/>
                  </a:lnTo>
                  <a:lnTo>
                    <a:pt x="119" y="178"/>
                  </a:lnTo>
                  <a:lnTo>
                    <a:pt x="120" y="176"/>
                  </a:lnTo>
                  <a:lnTo>
                    <a:pt x="122" y="172"/>
                  </a:lnTo>
                  <a:lnTo>
                    <a:pt x="123" y="168"/>
                  </a:lnTo>
                  <a:lnTo>
                    <a:pt x="126" y="167"/>
                  </a:lnTo>
                  <a:lnTo>
                    <a:pt x="129" y="167"/>
                  </a:lnTo>
                  <a:lnTo>
                    <a:pt x="134" y="168"/>
                  </a:lnTo>
                  <a:lnTo>
                    <a:pt x="138" y="168"/>
                  </a:lnTo>
                  <a:lnTo>
                    <a:pt x="140" y="168"/>
                  </a:lnTo>
                  <a:lnTo>
                    <a:pt x="141" y="167"/>
                  </a:lnTo>
                  <a:lnTo>
                    <a:pt x="147" y="158"/>
                  </a:lnTo>
                  <a:lnTo>
                    <a:pt x="151" y="14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3" name="Freeform 622"/>
            <p:cNvSpPr>
              <a:spLocks/>
            </p:cNvSpPr>
            <p:nvPr/>
          </p:nvSpPr>
          <p:spPr bwMode="auto">
            <a:xfrm>
              <a:off x="6799264" y="3763967"/>
              <a:ext cx="193675" cy="452437"/>
            </a:xfrm>
            <a:custGeom>
              <a:avLst/>
              <a:gdLst>
                <a:gd name="T0" fmla="*/ 2147483647 w 132"/>
                <a:gd name="T1" fmla="*/ 2147483647 h 285"/>
                <a:gd name="T2" fmla="*/ 2147483647 w 132"/>
                <a:gd name="T3" fmla="*/ 2147483647 h 285"/>
                <a:gd name="T4" fmla="*/ 2147483647 w 132"/>
                <a:gd name="T5" fmla="*/ 2147483647 h 285"/>
                <a:gd name="T6" fmla="*/ 2147483647 w 132"/>
                <a:gd name="T7" fmla="*/ 2147483647 h 285"/>
                <a:gd name="T8" fmla="*/ 2147483647 w 132"/>
                <a:gd name="T9" fmla="*/ 2147483647 h 285"/>
                <a:gd name="T10" fmla="*/ 2147483647 w 132"/>
                <a:gd name="T11" fmla="*/ 2147483647 h 285"/>
                <a:gd name="T12" fmla="*/ 2147483647 w 132"/>
                <a:gd name="T13" fmla="*/ 2147483647 h 285"/>
                <a:gd name="T14" fmla="*/ 2147483647 w 132"/>
                <a:gd name="T15" fmla="*/ 2147483647 h 285"/>
                <a:gd name="T16" fmla="*/ 2147483647 w 132"/>
                <a:gd name="T17" fmla="*/ 2147483647 h 285"/>
                <a:gd name="T18" fmla="*/ 2147483647 w 132"/>
                <a:gd name="T19" fmla="*/ 2147483647 h 285"/>
                <a:gd name="T20" fmla="*/ 2147483647 w 132"/>
                <a:gd name="T21" fmla="*/ 2147483647 h 285"/>
                <a:gd name="T22" fmla="*/ 2147483647 w 132"/>
                <a:gd name="T23" fmla="*/ 2147483647 h 285"/>
                <a:gd name="T24" fmla="*/ 2147483647 w 132"/>
                <a:gd name="T25" fmla="*/ 2147483647 h 285"/>
                <a:gd name="T26" fmla="*/ 2147483647 w 132"/>
                <a:gd name="T27" fmla="*/ 2147483647 h 285"/>
                <a:gd name="T28" fmla="*/ 2147483647 w 132"/>
                <a:gd name="T29" fmla="*/ 2147483647 h 285"/>
                <a:gd name="T30" fmla="*/ 2147483647 w 132"/>
                <a:gd name="T31" fmla="*/ 2147483647 h 285"/>
                <a:gd name="T32" fmla="*/ 2147483647 w 132"/>
                <a:gd name="T33" fmla="*/ 2147483647 h 285"/>
                <a:gd name="T34" fmla="*/ 2147483647 w 132"/>
                <a:gd name="T35" fmla="*/ 2147483647 h 285"/>
                <a:gd name="T36" fmla="*/ 0 w 132"/>
                <a:gd name="T37" fmla="*/ 2147483647 h 285"/>
                <a:gd name="T38" fmla="*/ 2147483647 w 132"/>
                <a:gd name="T39" fmla="*/ 2147483647 h 285"/>
                <a:gd name="T40" fmla="*/ 2147483647 w 132"/>
                <a:gd name="T41" fmla="*/ 2147483647 h 285"/>
                <a:gd name="T42" fmla="*/ 2147483647 w 132"/>
                <a:gd name="T43" fmla="*/ 2147483647 h 285"/>
                <a:gd name="T44" fmla="*/ 2147483647 w 132"/>
                <a:gd name="T45" fmla="*/ 2147483647 h 285"/>
                <a:gd name="T46" fmla="*/ 2147483647 w 132"/>
                <a:gd name="T47" fmla="*/ 2147483647 h 285"/>
                <a:gd name="T48" fmla="*/ 2147483647 w 132"/>
                <a:gd name="T49" fmla="*/ 2147483647 h 285"/>
                <a:gd name="T50" fmla="*/ 2147483647 w 132"/>
                <a:gd name="T51" fmla="*/ 2147483647 h 285"/>
                <a:gd name="T52" fmla="*/ 2147483647 w 132"/>
                <a:gd name="T53" fmla="*/ 2147483647 h 285"/>
                <a:gd name="T54" fmla="*/ 2147483647 w 132"/>
                <a:gd name="T55" fmla="*/ 2147483647 h 285"/>
                <a:gd name="T56" fmla="*/ 2147483647 w 132"/>
                <a:gd name="T57" fmla="*/ 2147483647 h 285"/>
                <a:gd name="T58" fmla="*/ 2147483647 w 132"/>
                <a:gd name="T59" fmla="*/ 2147483647 h 285"/>
                <a:gd name="T60" fmla="*/ 2147483647 w 132"/>
                <a:gd name="T61" fmla="*/ 2147483647 h 285"/>
                <a:gd name="T62" fmla="*/ 2147483647 w 132"/>
                <a:gd name="T63" fmla="*/ 2147483647 h 285"/>
                <a:gd name="T64" fmla="*/ 2147483647 w 132"/>
                <a:gd name="T65" fmla="*/ 2147483647 h 285"/>
                <a:gd name="T66" fmla="*/ 2147483647 w 132"/>
                <a:gd name="T67" fmla="*/ 2147483647 h 285"/>
                <a:gd name="T68" fmla="*/ 2147483647 w 132"/>
                <a:gd name="T69" fmla="*/ 2147483647 h 285"/>
                <a:gd name="T70" fmla="*/ 2147483647 w 132"/>
                <a:gd name="T71" fmla="*/ 2147483647 h 285"/>
                <a:gd name="T72" fmla="*/ 2147483647 w 132"/>
                <a:gd name="T73" fmla="*/ 2147483647 h 285"/>
                <a:gd name="T74" fmla="*/ 2147483647 w 132"/>
                <a:gd name="T75" fmla="*/ 2147483647 h 285"/>
                <a:gd name="T76" fmla="*/ 2147483647 w 132"/>
                <a:gd name="T77" fmla="*/ 2147483647 h 285"/>
                <a:gd name="T78" fmla="*/ 2147483647 w 132"/>
                <a:gd name="T79" fmla="*/ 2147483647 h 285"/>
                <a:gd name="T80" fmla="*/ 2147483647 w 132"/>
                <a:gd name="T81" fmla="*/ 2147483647 h 285"/>
                <a:gd name="T82" fmla="*/ 2147483647 w 132"/>
                <a:gd name="T83" fmla="*/ 2147483647 h 285"/>
                <a:gd name="T84" fmla="*/ 2147483647 w 132"/>
                <a:gd name="T85" fmla="*/ 2147483647 h 285"/>
                <a:gd name="T86" fmla="*/ 2147483647 w 132"/>
                <a:gd name="T87" fmla="*/ 2147483647 h 285"/>
                <a:gd name="T88" fmla="*/ 2147483647 w 132"/>
                <a:gd name="T89" fmla="*/ 2147483647 h 285"/>
                <a:gd name="T90" fmla="*/ 2147483647 w 132"/>
                <a:gd name="T91" fmla="*/ 2147483647 h 285"/>
                <a:gd name="T92" fmla="*/ 2147483647 w 132"/>
                <a:gd name="T93" fmla="*/ 2147483647 h 285"/>
                <a:gd name="T94" fmla="*/ 2147483647 w 132"/>
                <a:gd name="T95" fmla="*/ 2147483647 h 285"/>
                <a:gd name="T96" fmla="*/ 2147483647 w 132"/>
                <a:gd name="T97" fmla="*/ 2147483647 h 285"/>
                <a:gd name="T98" fmla="*/ 2147483647 w 132"/>
                <a:gd name="T99" fmla="*/ 2147483647 h 285"/>
                <a:gd name="T100" fmla="*/ 2147483647 w 132"/>
                <a:gd name="T101" fmla="*/ 2147483647 h 285"/>
                <a:gd name="T102" fmla="*/ 2147483647 w 132"/>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2"/>
                <a:gd name="T157" fmla="*/ 0 h 285"/>
                <a:gd name="T158" fmla="*/ 132 w 132"/>
                <a:gd name="T159" fmla="*/ 285 h 28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2" h="285">
                  <a:moveTo>
                    <a:pt x="132" y="112"/>
                  </a:moveTo>
                  <a:lnTo>
                    <a:pt x="132" y="112"/>
                  </a:lnTo>
                  <a:lnTo>
                    <a:pt x="132" y="102"/>
                  </a:lnTo>
                  <a:lnTo>
                    <a:pt x="131" y="97"/>
                  </a:lnTo>
                  <a:lnTo>
                    <a:pt x="130" y="93"/>
                  </a:lnTo>
                  <a:lnTo>
                    <a:pt x="127" y="87"/>
                  </a:lnTo>
                  <a:lnTo>
                    <a:pt x="124" y="80"/>
                  </a:lnTo>
                  <a:lnTo>
                    <a:pt x="121" y="67"/>
                  </a:lnTo>
                  <a:lnTo>
                    <a:pt x="119" y="64"/>
                  </a:lnTo>
                  <a:lnTo>
                    <a:pt x="117" y="62"/>
                  </a:lnTo>
                  <a:lnTo>
                    <a:pt x="114" y="61"/>
                  </a:lnTo>
                  <a:lnTo>
                    <a:pt x="112" y="58"/>
                  </a:lnTo>
                  <a:lnTo>
                    <a:pt x="112" y="56"/>
                  </a:lnTo>
                  <a:lnTo>
                    <a:pt x="113" y="53"/>
                  </a:lnTo>
                  <a:lnTo>
                    <a:pt x="113" y="50"/>
                  </a:lnTo>
                  <a:lnTo>
                    <a:pt x="110" y="48"/>
                  </a:lnTo>
                  <a:lnTo>
                    <a:pt x="109" y="48"/>
                  </a:lnTo>
                  <a:lnTo>
                    <a:pt x="105" y="48"/>
                  </a:lnTo>
                  <a:lnTo>
                    <a:pt x="103" y="45"/>
                  </a:lnTo>
                  <a:lnTo>
                    <a:pt x="102" y="45"/>
                  </a:lnTo>
                  <a:lnTo>
                    <a:pt x="100" y="46"/>
                  </a:lnTo>
                  <a:lnTo>
                    <a:pt x="98" y="48"/>
                  </a:lnTo>
                  <a:lnTo>
                    <a:pt x="94" y="49"/>
                  </a:lnTo>
                  <a:lnTo>
                    <a:pt x="90" y="50"/>
                  </a:lnTo>
                  <a:lnTo>
                    <a:pt x="86" y="50"/>
                  </a:lnTo>
                  <a:lnTo>
                    <a:pt x="84" y="49"/>
                  </a:lnTo>
                  <a:lnTo>
                    <a:pt x="81" y="48"/>
                  </a:lnTo>
                  <a:lnTo>
                    <a:pt x="77" y="46"/>
                  </a:lnTo>
                  <a:lnTo>
                    <a:pt x="75" y="46"/>
                  </a:lnTo>
                  <a:lnTo>
                    <a:pt x="74" y="49"/>
                  </a:lnTo>
                  <a:lnTo>
                    <a:pt x="72" y="51"/>
                  </a:lnTo>
                  <a:lnTo>
                    <a:pt x="71" y="53"/>
                  </a:lnTo>
                  <a:lnTo>
                    <a:pt x="69" y="53"/>
                  </a:lnTo>
                  <a:lnTo>
                    <a:pt x="66" y="53"/>
                  </a:lnTo>
                  <a:lnTo>
                    <a:pt x="63" y="52"/>
                  </a:lnTo>
                  <a:lnTo>
                    <a:pt x="62" y="50"/>
                  </a:lnTo>
                  <a:lnTo>
                    <a:pt x="62" y="48"/>
                  </a:lnTo>
                  <a:lnTo>
                    <a:pt x="58" y="44"/>
                  </a:lnTo>
                  <a:lnTo>
                    <a:pt x="57" y="40"/>
                  </a:lnTo>
                  <a:lnTo>
                    <a:pt x="57" y="34"/>
                  </a:lnTo>
                  <a:lnTo>
                    <a:pt x="57" y="30"/>
                  </a:lnTo>
                  <a:lnTo>
                    <a:pt x="58" y="24"/>
                  </a:lnTo>
                  <a:lnTo>
                    <a:pt x="57" y="21"/>
                  </a:lnTo>
                  <a:lnTo>
                    <a:pt x="56" y="18"/>
                  </a:lnTo>
                  <a:lnTo>
                    <a:pt x="55" y="14"/>
                  </a:lnTo>
                  <a:lnTo>
                    <a:pt x="55" y="11"/>
                  </a:lnTo>
                  <a:lnTo>
                    <a:pt x="55" y="6"/>
                  </a:lnTo>
                  <a:lnTo>
                    <a:pt x="55" y="2"/>
                  </a:lnTo>
                  <a:lnTo>
                    <a:pt x="53" y="1"/>
                  </a:lnTo>
                  <a:lnTo>
                    <a:pt x="50" y="0"/>
                  </a:lnTo>
                  <a:lnTo>
                    <a:pt x="48" y="1"/>
                  </a:lnTo>
                  <a:lnTo>
                    <a:pt x="47" y="1"/>
                  </a:lnTo>
                  <a:lnTo>
                    <a:pt x="43" y="1"/>
                  </a:lnTo>
                  <a:lnTo>
                    <a:pt x="38" y="0"/>
                  </a:lnTo>
                  <a:lnTo>
                    <a:pt x="34" y="0"/>
                  </a:lnTo>
                  <a:lnTo>
                    <a:pt x="32" y="1"/>
                  </a:lnTo>
                  <a:lnTo>
                    <a:pt x="30" y="5"/>
                  </a:lnTo>
                  <a:lnTo>
                    <a:pt x="29" y="8"/>
                  </a:lnTo>
                  <a:lnTo>
                    <a:pt x="28" y="11"/>
                  </a:lnTo>
                  <a:lnTo>
                    <a:pt x="25" y="12"/>
                  </a:lnTo>
                  <a:lnTo>
                    <a:pt x="23" y="13"/>
                  </a:lnTo>
                  <a:lnTo>
                    <a:pt x="18" y="14"/>
                  </a:lnTo>
                  <a:lnTo>
                    <a:pt x="15" y="16"/>
                  </a:lnTo>
                  <a:lnTo>
                    <a:pt x="13" y="18"/>
                  </a:lnTo>
                  <a:lnTo>
                    <a:pt x="11" y="21"/>
                  </a:lnTo>
                  <a:lnTo>
                    <a:pt x="10" y="27"/>
                  </a:lnTo>
                  <a:lnTo>
                    <a:pt x="9" y="29"/>
                  </a:lnTo>
                  <a:lnTo>
                    <a:pt x="6" y="30"/>
                  </a:lnTo>
                  <a:lnTo>
                    <a:pt x="3" y="31"/>
                  </a:lnTo>
                  <a:lnTo>
                    <a:pt x="1" y="33"/>
                  </a:lnTo>
                  <a:lnTo>
                    <a:pt x="0" y="37"/>
                  </a:lnTo>
                  <a:lnTo>
                    <a:pt x="0" y="42"/>
                  </a:lnTo>
                  <a:lnTo>
                    <a:pt x="0" y="45"/>
                  </a:lnTo>
                  <a:lnTo>
                    <a:pt x="3" y="48"/>
                  </a:lnTo>
                  <a:lnTo>
                    <a:pt x="4" y="48"/>
                  </a:lnTo>
                  <a:lnTo>
                    <a:pt x="5" y="48"/>
                  </a:lnTo>
                  <a:lnTo>
                    <a:pt x="8" y="46"/>
                  </a:lnTo>
                  <a:lnTo>
                    <a:pt x="9" y="46"/>
                  </a:lnTo>
                  <a:lnTo>
                    <a:pt x="10" y="50"/>
                  </a:lnTo>
                  <a:lnTo>
                    <a:pt x="10" y="52"/>
                  </a:lnTo>
                  <a:lnTo>
                    <a:pt x="10" y="58"/>
                  </a:lnTo>
                  <a:lnTo>
                    <a:pt x="10" y="64"/>
                  </a:lnTo>
                  <a:lnTo>
                    <a:pt x="14" y="74"/>
                  </a:lnTo>
                  <a:lnTo>
                    <a:pt x="17" y="80"/>
                  </a:lnTo>
                  <a:lnTo>
                    <a:pt x="20" y="83"/>
                  </a:lnTo>
                  <a:lnTo>
                    <a:pt x="23" y="88"/>
                  </a:lnTo>
                  <a:lnTo>
                    <a:pt x="24" y="90"/>
                  </a:lnTo>
                  <a:lnTo>
                    <a:pt x="24" y="93"/>
                  </a:lnTo>
                  <a:lnTo>
                    <a:pt x="24" y="99"/>
                  </a:lnTo>
                  <a:lnTo>
                    <a:pt x="22" y="104"/>
                  </a:lnTo>
                  <a:lnTo>
                    <a:pt x="20" y="110"/>
                  </a:lnTo>
                  <a:lnTo>
                    <a:pt x="20" y="113"/>
                  </a:lnTo>
                  <a:lnTo>
                    <a:pt x="22" y="116"/>
                  </a:lnTo>
                  <a:lnTo>
                    <a:pt x="28" y="134"/>
                  </a:lnTo>
                  <a:lnTo>
                    <a:pt x="34" y="152"/>
                  </a:lnTo>
                  <a:lnTo>
                    <a:pt x="36" y="161"/>
                  </a:lnTo>
                  <a:lnTo>
                    <a:pt x="37" y="171"/>
                  </a:lnTo>
                  <a:lnTo>
                    <a:pt x="37" y="180"/>
                  </a:lnTo>
                  <a:lnTo>
                    <a:pt x="36" y="190"/>
                  </a:lnTo>
                  <a:lnTo>
                    <a:pt x="34" y="195"/>
                  </a:lnTo>
                  <a:lnTo>
                    <a:pt x="30" y="198"/>
                  </a:lnTo>
                  <a:lnTo>
                    <a:pt x="28" y="202"/>
                  </a:lnTo>
                  <a:lnTo>
                    <a:pt x="23" y="205"/>
                  </a:lnTo>
                  <a:lnTo>
                    <a:pt x="24" y="208"/>
                  </a:lnTo>
                  <a:lnTo>
                    <a:pt x="25" y="209"/>
                  </a:lnTo>
                  <a:lnTo>
                    <a:pt x="24" y="211"/>
                  </a:lnTo>
                  <a:lnTo>
                    <a:pt x="22" y="214"/>
                  </a:lnTo>
                  <a:lnTo>
                    <a:pt x="20" y="217"/>
                  </a:lnTo>
                  <a:lnTo>
                    <a:pt x="18" y="224"/>
                  </a:lnTo>
                  <a:lnTo>
                    <a:pt x="17" y="238"/>
                  </a:lnTo>
                  <a:lnTo>
                    <a:pt x="15" y="244"/>
                  </a:lnTo>
                  <a:lnTo>
                    <a:pt x="15" y="247"/>
                  </a:lnTo>
                  <a:lnTo>
                    <a:pt x="15" y="248"/>
                  </a:lnTo>
                  <a:lnTo>
                    <a:pt x="18" y="248"/>
                  </a:lnTo>
                  <a:lnTo>
                    <a:pt x="20" y="248"/>
                  </a:lnTo>
                  <a:lnTo>
                    <a:pt x="22" y="247"/>
                  </a:lnTo>
                  <a:lnTo>
                    <a:pt x="24" y="246"/>
                  </a:lnTo>
                  <a:lnTo>
                    <a:pt x="25" y="244"/>
                  </a:lnTo>
                  <a:lnTo>
                    <a:pt x="29" y="247"/>
                  </a:lnTo>
                  <a:lnTo>
                    <a:pt x="32" y="249"/>
                  </a:lnTo>
                  <a:lnTo>
                    <a:pt x="36" y="255"/>
                  </a:lnTo>
                  <a:lnTo>
                    <a:pt x="39" y="261"/>
                  </a:lnTo>
                  <a:lnTo>
                    <a:pt x="43" y="268"/>
                  </a:lnTo>
                  <a:lnTo>
                    <a:pt x="46" y="273"/>
                  </a:lnTo>
                  <a:lnTo>
                    <a:pt x="50" y="272"/>
                  </a:lnTo>
                  <a:lnTo>
                    <a:pt x="53" y="273"/>
                  </a:lnTo>
                  <a:lnTo>
                    <a:pt x="56" y="273"/>
                  </a:lnTo>
                  <a:lnTo>
                    <a:pt x="58" y="275"/>
                  </a:lnTo>
                  <a:lnTo>
                    <a:pt x="60" y="279"/>
                  </a:lnTo>
                  <a:lnTo>
                    <a:pt x="62" y="281"/>
                  </a:lnTo>
                  <a:lnTo>
                    <a:pt x="65" y="283"/>
                  </a:lnTo>
                  <a:lnTo>
                    <a:pt x="69" y="285"/>
                  </a:lnTo>
                  <a:lnTo>
                    <a:pt x="76" y="285"/>
                  </a:lnTo>
                  <a:lnTo>
                    <a:pt x="83" y="285"/>
                  </a:lnTo>
                  <a:lnTo>
                    <a:pt x="83" y="282"/>
                  </a:lnTo>
                  <a:lnTo>
                    <a:pt x="77" y="276"/>
                  </a:lnTo>
                  <a:lnTo>
                    <a:pt x="72" y="269"/>
                  </a:lnTo>
                  <a:lnTo>
                    <a:pt x="70" y="268"/>
                  </a:lnTo>
                  <a:lnTo>
                    <a:pt x="67" y="268"/>
                  </a:lnTo>
                  <a:lnTo>
                    <a:pt x="65" y="268"/>
                  </a:lnTo>
                  <a:lnTo>
                    <a:pt x="61" y="267"/>
                  </a:lnTo>
                  <a:lnTo>
                    <a:pt x="58" y="264"/>
                  </a:lnTo>
                  <a:lnTo>
                    <a:pt x="57" y="260"/>
                  </a:lnTo>
                  <a:lnTo>
                    <a:pt x="56" y="256"/>
                  </a:lnTo>
                  <a:lnTo>
                    <a:pt x="55" y="251"/>
                  </a:lnTo>
                  <a:lnTo>
                    <a:pt x="50" y="242"/>
                  </a:lnTo>
                  <a:lnTo>
                    <a:pt x="48" y="236"/>
                  </a:lnTo>
                  <a:lnTo>
                    <a:pt x="48" y="230"/>
                  </a:lnTo>
                  <a:lnTo>
                    <a:pt x="48" y="229"/>
                  </a:lnTo>
                  <a:lnTo>
                    <a:pt x="47" y="228"/>
                  </a:lnTo>
                  <a:lnTo>
                    <a:pt x="44" y="228"/>
                  </a:lnTo>
                  <a:lnTo>
                    <a:pt x="42" y="228"/>
                  </a:lnTo>
                  <a:lnTo>
                    <a:pt x="39" y="227"/>
                  </a:lnTo>
                  <a:lnTo>
                    <a:pt x="37" y="222"/>
                  </a:lnTo>
                  <a:lnTo>
                    <a:pt x="36" y="217"/>
                  </a:lnTo>
                  <a:lnTo>
                    <a:pt x="36" y="212"/>
                  </a:lnTo>
                  <a:lnTo>
                    <a:pt x="36" y="208"/>
                  </a:lnTo>
                  <a:lnTo>
                    <a:pt x="43" y="182"/>
                  </a:lnTo>
                  <a:lnTo>
                    <a:pt x="46" y="168"/>
                  </a:lnTo>
                  <a:lnTo>
                    <a:pt x="46" y="155"/>
                  </a:lnTo>
                  <a:lnTo>
                    <a:pt x="47" y="151"/>
                  </a:lnTo>
                  <a:lnTo>
                    <a:pt x="50" y="144"/>
                  </a:lnTo>
                  <a:lnTo>
                    <a:pt x="51" y="142"/>
                  </a:lnTo>
                  <a:lnTo>
                    <a:pt x="52" y="142"/>
                  </a:lnTo>
                  <a:lnTo>
                    <a:pt x="57" y="142"/>
                  </a:lnTo>
                  <a:lnTo>
                    <a:pt x="58" y="141"/>
                  </a:lnTo>
                  <a:lnTo>
                    <a:pt x="61" y="140"/>
                  </a:lnTo>
                  <a:lnTo>
                    <a:pt x="62" y="139"/>
                  </a:lnTo>
                  <a:lnTo>
                    <a:pt x="63" y="140"/>
                  </a:lnTo>
                  <a:lnTo>
                    <a:pt x="65" y="142"/>
                  </a:lnTo>
                  <a:lnTo>
                    <a:pt x="65" y="145"/>
                  </a:lnTo>
                  <a:lnTo>
                    <a:pt x="63" y="151"/>
                  </a:lnTo>
                  <a:lnTo>
                    <a:pt x="62" y="157"/>
                  </a:lnTo>
                  <a:lnTo>
                    <a:pt x="61" y="159"/>
                  </a:lnTo>
                  <a:lnTo>
                    <a:pt x="63" y="160"/>
                  </a:lnTo>
                  <a:lnTo>
                    <a:pt x="67" y="160"/>
                  </a:lnTo>
                  <a:lnTo>
                    <a:pt x="71" y="159"/>
                  </a:lnTo>
                  <a:lnTo>
                    <a:pt x="76" y="159"/>
                  </a:lnTo>
                  <a:lnTo>
                    <a:pt x="77" y="159"/>
                  </a:lnTo>
                  <a:lnTo>
                    <a:pt x="79" y="160"/>
                  </a:lnTo>
                  <a:lnTo>
                    <a:pt x="80" y="163"/>
                  </a:lnTo>
                  <a:lnTo>
                    <a:pt x="81" y="166"/>
                  </a:lnTo>
                  <a:lnTo>
                    <a:pt x="83" y="172"/>
                  </a:lnTo>
                  <a:lnTo>
                    <a:pt x="85" y="171"/>
                  </a:lnTo>
                  <a:lnTo>
                    <a:pt x="86" y="168"/>
                  </a:lnTo>
                  <a:lnTo>
                    <a:pt x="86" y="163"/>
                  </a:lnTo>
                  <a:lnTo>
                    <a:pt x="85" y="157"/>
                  </a:lnTo>
                  <a:lnTo>
                    <a:pt x="84" y="152"/>
                  </a:lnTo>
                  <a:lnTo>
                    <a:pt x="80" y="148"/>
                  </a:lnTo>
                  <a:lnTo>
                    <a:pt x="79" y="146"/>
                  </a:lnTo>
                  <a:lnTo>
                    <a:pt x="80" y="144"/>
                  </a:lnTo>
                  <a:lnTo>
                    <a:pt x="88" y="134"/>
                  </a:lnTo>
                  <a:lnTo>
                    <a:pt x="97" y="126"/>
                  </a:lnTo>
                  <a:lnTo>
                    <a:pt x="99" y="123"/>
                  </a:lnTo>
                  <a:lnTo>
                    <a:pt x="102" y="122"/>
                  </a:lnTo>
                  <a:lnTo>
                    <a:pt x="108" y="122"/>
                  </a:lnTo>
                  <a:lnTo>
                    <a:pt x="113" y="122"/>
                  </a:lnTo>
                  <a:lnTo>
                    <a:pt x="119" y="122"/>
                  </a:lnTo>
                  <a:lnTo>
                    <a:pt x="122" y="121"/>
                  </a:lnTo>
                  <a:lnTo>
                    <a:pt x="123" y="120"/>
                  </a:lnTo>
                  <a:lnTo>
                    <a:pt x="127" y="114"/>
                  </a:lnTo>
                  <a:lnTo>
                    <a:pt x="128" y="112"/>
                  </a:lnTo>
                  <a:lnTo>
                    <a:pt x="132" y="1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4" name="Freeform 623"/>
            <p:cNvSpPr>
              <a:spLocks/>
            </p:cNvSpPr>
            <p:nvPr/>
          </p:nvSpPr>
          <p:spPr bwMode="auto">
            <a:xfrm>
              <a:off x="6665913" y="3498850"/>
              <a:ext cx="222250" cy="590550"/>
            </a:xfrm>
            <a:custGeom>
              <a:avLst/>
              <a:gdLst>
                <a:gd name="T0" fmla="*/ 2147483647 w 152"/>
                <a:gd name="T1" fmla="*/ 2147483647 h 372"/>
                <a:gd name="T2" fmla="*/ 2147483647 w 152"/>
                <a:gd name="T3" fmla="*/ 2147483647 h 372"/>
                <a:gd name="T4" fmla="*/ 2147483647 w 152"/>
                <a:gd name="T5" fmla="*/ 2147483647 h 372"/>
                <a:gd name="T6" fmla="*/ 2147483647 w 152"/>
                <a:gd name="T7" fmla="*/ 2147483647 h 372"/>
                <a:gd name="T8" fmla="*/ 2147483647 w 152"/>
                <a:gd name="T9" fmla="*/ 2147483647 h 372"/>
                <a:gd name="T10" fmla="*/ 2147483647 w 152"/>
                <a:gd name="T11" fmla="*/ 2147483647 h 372"/>
                <a:gd name="T12" fmla="*/ 2147483647 w 152"/>
                <a:gd name="T13" fmla="*/ 2147483647 h 372"/>
                <a:gd name="T14" fmla="*/ 2147483647 w 152"/>
                <a:gd name="T15" fmla="*/ 2147483647 h 372"/>
                <a:gd name="T16" fmla="*/ 2147483647 w 152"/>
                <a:gd name="T17" fmla="*/ 2147483647 h 372"/>
                <a:gd name="T18" fmla="*/ 2147483647 w 152"/>
                <a:gd name="T19" fmla="*/ 2147483647 h 372"/>
                <a:gd name="T20" fmla="*/ 2147483647 w 152"/>
                <a:gd name="T21" fmla="*/ 2147483647 h 372"/>
                <a:gd name="T22" fmla="*/ 2147483647 w 152"/>
                <a:gd name="T23" fmla="*/ 2147483647 h 372"/>
                <a:gd name="T24" fmla="*/ 2147483647 w 152"/>
                <a:gd name="T25" fmla="*/ 2147483647 h 372"/>
                <a:gd name="T26" fmla="*/ 2147483647 w 152"/>
                <a:gd name="T27" fmla="*/ 2147483647 h 372"/>
                <a:gd name="T28" fmla="*/ 2147483647 w 152"/>
                <a:gd name="T29" fmla="*/ 2147483647 h 372"/>
                <a:gd name="T30" fmla="*/ 2147483647 w 152"/>
                <a:gd name="T31" fmla="*/ 2147483647 h 372"/>
                <a:gd name="T32" fmla="*/ 2147483647 w 152"/>
                <a:gd name="T33" fmla="*/ 2147483647 h 372"/>
                <a:gd name="T34" fmla="*/ 2147483647 w 152"/>
                <a:gd name="T35" fmla="*/ 2147483647 h 372"/>
                <a:gd name="T36" fmla="*/ 2147483647 w 152"/>
                <a:gd name="T37" fmla="*/ 2147483647 h 372"/>
                <a:gd name="T38" fmla="*/ 2147483647 w 152"/>
                <a:gd name="T39" fmla="*/ 2147483647 h 372"/>
                <a:gd name="T40" fmla="*/ 2147483647 w 152"/>
                <a:gd name="T41" fmla="*/ 2147483647 h 372"/>
                <a:gd name="T42" fmla="*/ 2147483647 w 152"/>
                <a:gd name="T43" fmla="*/ 2147483647 h 372"/>
                <a:gd name="T44" fmla="*/ 2147483647 w 152"/>
                <a:gd name="T45" fmla="*/ 2147483647 h 372"/>
                <a:gd name="T46" fmla="*/ 2147483647 w 152"/>
                <a:gd name="T47" fmla="*/ 2147483647 h 372"/>
                <a:gd name="T48" fmla="*/ 2147483647 w 152"/>
                <a:gd name="T49" fmla="*/ 2147483647 h 372"/>
                <a:gd name="T50" fmla="*/ 2147483647 w 152"/>
                <a:gd name="T51" fmla="*/ 2147483647 h 372"/>
                <a:gd name="T52" fmla="*/ 2147483647 w 152"/>
                <a:gd name="T53" fmla="*/ 2147483647 h 372"/>
                <a:gd name="T54" fmla="*/ 2147483647 w 152"/>
                <a:gd name="T55" fmla="*/ 2147483647 h 372"/>
                <a:gd name="T56" fmla="*/ 2147483647 w 152"/>
                <a:gd name="T57" fmla="*/ 2147483647 h 372"/>
                <a:gd name="T58" fmla="*/ 2147483647 w 152"/>
                <a:gd name="T59" fmla="*/ 2147483647 h 372"/>
                <a:gd name="T60" fmla="*/ 2147483647 w 152"/>
                <a:gd name="T61" fmla="*/ 2147483647 h 372"/>
                <a:gd name="T62" fmla="*/ 2147483647 w 152"/>
                <a:gd name="T63" fmla="*/ 2147483647 h 372"/>
                <a:gd name="T64" fmla="*/ 2147483647 w 152"/>
                <a:gd name="T65" fmla="*/ 2147483647 h 372"/>
                <a:gd name="T66" fmla="*/ 2147483647 w 152"/>
                <a:gd name="T67" fmla="*/ 2147483647 h 372"/>
                <a:gd name="T68" fmla="*/ 2147483647 w 152"/>
                <a:gd name="T69" fmla="*/ 2147483647 h 372"/>
                <a:gd name="T70" fmla="*/ 2147483647 w 152"/>
                <a:gd name="T71" fmla="*/ 2147483647 h 372"/>
                <a:gd name="T72" fmla="*/ 2147483647 w 152"/>
                <a:gd name="T73" fmla="*/ 2147483647 h 372"/>
                <a:gd name="T74" fmla="*/ 2147483647 w 152"/>
                <a:gd name="T75" fmla="*/ 2147483647 h 372"/>
                <a:gd name="T76" fmla="*/ 2147483647 w 152"/>
                <a:gd name="T77" fmla="*/ 2147483647 h 372"/>
                <a:gd name="T78" fmla="*/ 2147483647 w 152"/>
                <a:gd name="T79" fmla="*/ 2147483647 h 372"/>
                <a:gd name="T80" fmla="*/ 2147483647 w 152"/>
                <a:gd name="T81" fmla="*/ 2147483647 h 372"/>
                <a:gd name="T82" fmla="*/ 2147483647 w 152"/>
                <a:gd name="T83" fmla="*/ 2147483647 h 372"/>
                <a:gd name="T84" fmla="*/ 2147483647 w 152"/>
                <a:gd name="T85" fmla="*/ 2147483647 h 372"/>
                <a:gd name="T86" fmla="*/ 2147483647 w 152"/>
                <a:gd name="T87" fmla="*/ 2147483647 h 372"/>
                <a:gd name="T88" fmla="*/ 2147483647 w 152"/>
                <a:gd name="T89" fmla="*/ 2147483647 h 372"/>
                <a:gd name="T90" fmla="*/ 2147483647 w 152"/>
                <a:gd name="T91" fmla="*/ 2147483647 h 372"/>
                <a:gd name="T92" fmla="*/ 2147483647 w 152"/>
                <a:gd name="T93" fmla="*/ 2147483647 h 372"/>
                <a:gd name="T94" fmla="*/ 2147483647 w 152"/>
                <a:gd name="T95" fmla="*/ 2147483647 h 372"/>
                <a:gd name="T96" fmla="*/ 2147483647 w 152"/>
                <a:gd name="T97" fmla="*/ 2147483647 h 372"/>
                <a:gd name="T98" fmla="*/ 2147483647 w 152"/>
                <a:gd name="T99" fmla="*/ 2147483647 h 372"/>
                <a:gd name="T100" fmla="*/ 2147483647 w 152"/>
                <a:gd name="T101" fmla="*/ 2147483647 h 372"/>
                <a:gd name="T102" fmla="*/ 2147483647 w 152"/>
                <a:gd name="T103" fmla="*/ 2147483647 h 372"/>
                <a:gd name="T104" fmla="*/ 2147483647 w 152"/>
                <a:gd name="T105" fmla="*/ 2147483647 h 3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2"/>
                <a:gd name="T160" fmla="*/ 0 h 372"/>
                <a:gd name="T161" fmla="*/ 152 w 152"/>
                <a:gd name="T162" fmla="*/ 372 h 3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2" h="372">
                  <a:moveTo>
                    <a:pt x="151" y="147"/>
                  </a:moveTo>
                  <a:lnTo>
                    <a:pt x="151" y="147"/>
                  </a:lnTo>
                  <a:lnTo>
                    <a:pt x="152" y="145"/>
                  </a:lnTo>
                  <a:lnTo>
                    <a:pt x="151" y="142"/>
                  </a:lnTo>
                  <a:lnTo>
                    <a:pt x="151" y="141"/>
                  </a:lnTo>
                  <a:lnTo>
                    <a:pt x="147" y="140"/>
                  </a:lnTo>
                  <a:lnTo>
                    <a:pt x="141" y="140"/>
                  </a:lnTo>
                  <a:lnTo>
                    <a:pt x="139" y="139"/>
                  </a:lnTo>
                  <a:lnTo>
                    <a:pt x="138" y="137"/>
                  </a:lnTo>
                  <a:lnTo>
                    <a:pt x="138" y="134"/>
                  </a:lnTo>
                  <a:lnTo>
                    <a:pt x="138" y="130"/>
                  </a:lnTo>
                  <a:lnTo>
                    <a:pt x="137" y="129"/>
                  </a:lnTo>
                  <a:lnTo>
                    <a:pt x="135" y="129"/>
                  </a:lnTo>
                  <a:lnTo>
                    <a:pt x="130" y="130"/>
                  </a:lnTo>
                  <a:lnTo>
                    <a:pt x="128" y="130"/>
                  </a:lnTo>
                  <a:lnTo>
                    <a:pt x="125" y="130"/>
                  </a:lnTo>
                  <a:lnTo>
                    <a:pt x="124" y="129"/>
                  </a:lnTo>
                  <a:lnTo>
                    <a:pt x="124" y="127"/>
                  </a:lnTo>
                  <a:lnTo>
                    <a:pt x="127" y="122"/>
                  </a:lnTo>
                  <a:lnTo>
                    <a:pt x="130" y="119"/>
                  </a:lnTo>
                  <a:lnTo>
                    <a:pt x="134" y="114"/>
                  </a:lnTo>
                  <a:lnTo>
                    <a:pt x="135" y="109"/>
                  </a:lnTo>
                  <a:lnTo>
                    <a:pt x="135" y="107"/>
                  </a:lnTo>
                  <a:lnTo>
                    <a:pt x="133" y="107"/>
                  </a:lnTo>
                  <a:lnTo>
                    <a:pt x="128" y="107"/>
                  </a:lnTo>
                  <a:lnTo>
                    <a:pt x="125" y="105"/>
                  </a:lnTo>
                  <a:lnTo>
                    <a:pt x="124" y="103"/>
                  </a:lnTo>
                  <a:lnTo>
                    <a:pt x="124" y="98"/>
                  </a:lnTo>
                  <a:lnTo>
                    <a:pt x="124" y="92"/>
                  </a:lnTo>
                  <a:lnTo>
                    <a:pt x="124" y="90"/>
                  </a:lnTo>
                  <a:lnTo>
                    <a:pt x="123" y="89"/>
                  </a:lnTo>
                  <a:lnTo>
                    <a:pt x="120" y="89"/>
                  </a:lnTo>
                  <a:lnTo>
                    <a:pt x="116" y="89"/>
                  </a:lnTo>
                  <a:lnTo>
                    <a:pt x="110" y="90"/>
                  </a:lnTo>
                  <a:lnTo>
                    <a:pt x="104" y="91"/>
                  </a:lnTo>
                  <a:lnTo>
                    <a:pt x="101" y="90"/>
                  </a:lnTo>
                  <a:lnTo>
                    <a:pt x="100" y="89"/>
                  </a:lnTo>
                  <a:lnTo>
                    <a:pt x="97" y="84"/>
                  </a:lnTo>
                  <a:lnTo>
                    <a:pt x="97" y="81"/>
                  </a:lnTo>
                  <a:lnTo>
                    <a:pt x="97" y="77"/>
                  </a:lnTo>
                  <a:lnTo>
                    <a:pt x="99" y="72"/>
                  </a:lnTo>
                  <a:lnTo>
                    <a:pt x="102" y="64"/>
                  </a:lnTo>
                  <a:lnTo>
                    <a:pt x="106" y="56"/>
                  </a:lnTo>
                  <a:lnTo>
                    <a:pt x="109" y="51"/>
                  </a:lnTo>
                  <a:lnTo>
                    <a:pt x="110" y="46"/>
                  </a:lnTo>
                  <a:lnTo>
                    <a:pt x="111" y="36"/>
                  </a:lnTo>
                  <a:lnTo>
                    <a:pt x="110" y="13"/>
                  </a:lnTo>
                  <a:lnTo>
                    <a:pt x="109" y="8"/>
                  </a:lnTo>
                  <a:lnTo>
                    <a:pt x="106" y="4"/>
                  </a:lnTo>
                  <a:lnTo>
                    <a:pt x="101" y="1"/>
                  </a:lnTo>
                  <a:lnTo>
                    <a:pt x="99" y="0"/>
                  </a:lnTo>
                  <a:lnTo>
                    <a:pt x="97" y="1"/>
                  </a:lnTo>
                  <a:lnTo>
                    <a:pt x="92" y="2"/>
                  </a:lnTo>
                  <a:lnTo>
                    <a:pt x="92" y="5"/>
                  </a:lnTo>
                  <a:lnTo>
                    <a:pt x="91" y="6"/>
                  </a:lnTo>
                  <a:lnTo>
                    <a:pt x="90" y="8"/>
                  </a:lnTo>
                  <a:lnTo>
                    <a:pt x="88" y="9"/>
                  </a:lnTo>
                  <a:lnTo>
                    <a:pt x="87" y="15"/>
                  </a:lnTo>
                  <a:lnTo>
                    <a:pt x="83" y="20"/>
                  </a:lnTo>
                  <a:lnTo>
                    <a:pt x="80" y="24"/>
                  </a:lnTo>
                  <a:lnTo>
                    <a:pt x="73" y="26"/>
                  </a:lnTo>
                  <a:lnTo>
                    <a:pt x="71" y="27"/>
                  </a:lnTo>
                  <a:lnTo>
                    <a:pt x="69" y="31"/>
                  </a:lnTo>
                  <a:lnTo>
                    <a:pt x="68" y="37"/>
                  </a:lnTo>
                  <a:lnTo>
                    <a:pt x="66" y="43"/>
                  </a:lnTo>
                  <a:lnTo>
                    <a:pt x="63" y="49"/>
                  </a:lnTo>
                  <a:lnTo>
                    <a:pt x="61" y="54"/>
                  </a:lnTo>
                  <a:lnTo>
                    <a:pt x="52" y="65"/>
                  </a:lnTo>
                  <a:lnTo>
                    <a:pt x="43" y="73"/>
                  </a:lnTo>
                  <a:lnTo>
                    <a:pt x="40" y="77"/>
                  </a:lnTo>
                  <a:lnTo>
                    <a:pt x="39" y="79"/>
                  </a:lnTo>
                  <a:lnTo>
                    <a:pt x="39" y="88"/>
                  </a:lnTo>
                  <a:lnTo>
                    <a:pt x="38" y="94"/>
                  </a:lnTo>
                  <a:lnTo>
                    <a:pt x="36" y="96"/>
                  </a:lnTo>
                  <a:lnTo>
                    <a:pt x="34" y="97"/>
                  </a:lnTo>
                  <a:lnTo>
                    <a:pt x="30" y="100"/>
                  </a:lnTo>
                  <a:lnTo>
                    <a:pt x="25" y="101"/>
                  </a:lnTo>
                  <a:lnTo>
                    <a:pt x="22" y="101"/>
                  </a:lnTo>
                  <a:lnTo>
                    <a:pt x="21" y="102"/>
                  </a:lnTo>
                  <a:lnTo>
                    <a:pt x="17" y="107"/>
                  </a:lnTo>
                  <a:lnTo>
                    <a:pt x="16" y="113"/>
                  </a:lnTo>
                  <a:lnTo>
                    <a:pt x="15" y="117"/>
                  </a:lnTo>
                  <a:lnTo>
                    <a:pt x="15" y="123"/>
                  </a:lnTo>
                  <a:lnTo>
                    <a:pt x="14" y="129"/>
                  </a:lnTo>
                  <a:lnTo>
                    <a:pt x="12" y="132"/>
                  </a:lnTo>
                  <a:lnTo>
                    <a:pt x="10" y="133"/>
                  </a:lnTo>
                  <a:lnTo>
                    <a:pt x="7" y="135"/>
                  </a:lnTo>
                  <a:lnTo>
                    <a:pt x="3" y="135"/>
                  </a:lnTo>
                  <a:lnTo>
                    <a:pt x="5" y="139"/>
                  </a:lnTo>
                  <a:lnTo>
                    <a:pt x="3" y="141"/>
                  </a:lnTo>
                  <a:lnTo>
                    <a:pt x="2" y="143"/>
                  </a:lnTo>
                  <a:lnTo>
                    <a:pt x="2" y="146"/>
                  </a:lnTo>
                  <a:lnTo>
                    <a:pt x="1" y="151"/>
                  </a:lnTo>
                  <a:lnTo>
                    <a:pt x="0" y="152"/>
                  </a:lnTo>
                  <a:lnTo>
                    <a:pt x="0" y="154"/>
                  </a:lnTo>
                  <a:lnTo>
                    <a:pt x="3" y="159"/>
                  </a:lnTo>
                  <a:lnTo>
                    <a:pt x="8" y="167"/>
                  </a:lnTo>
                  <a:lnTo>
                    <a:pt x="14" y="174"/>
                  </a:lnTo>
                  <a:lnTo>
                    <a:pt x="16" y="178"/>
                  </a:lnTo>
                  <a:lnTo>
                    <a:pt x="20" y="180"/>
                  </a:lnTo>
                  <a:lnTo>
                    <a:pt x="24" y="183"/>
                  </a:lnTo>
                  <a:lnTo>
                    <a:pt x="29" y="184"/>
                  </a:lnTo>
                  <a:lnTo>
                    <a:pt x="29" y="186"/>
                  </a:lnTo>
                  <a:lnTo>
                    <a:pt x="29" y="188"/>
                  </a:lnTo>
                  <a:lnTo>
                    <a:pt x="30" y="191"/>
                  </a:lnTo>
                  <a:lnTo>
                    <a:pt x="33" y="192"/>
                  </a:lnTo>
                  <a:lnTo>
                    <a:pt x="35" y="193"/>
                  </a:lnTo>
                  <a:lnTo>
                    <a:pt x="36" y="194"/>
                  </a:lnTo>
                  <a:lnTo>
                    <a:pt x="38" y="196"/>
                  </a:lnTo>
                  <a:lnTo>
                    <a:pt x="39" y="200"/>
                  </a:lnTo>
                  <a:lnTo>
                    <a:pt x="39" y="205"/>
                  </a:lnTo>
                  <a:lnTo>
                    <a:pt x="39" y="213"/>
                  </a:lnTo>
                  <a:lnTo>
                    <a:pt x="39" y="216"/>
                  </a:lnTo>
                  <a:lnTo>
                    <a:pt x="38" y="218"/>
                  </a:lnTo>
                  <a:lnTo>
                    <a:pt x="36" y="220"/>
                  </a:lnTo>
                  <a:lnTo>
                    <a:pt x="38" y="223"/>
                  </a:lnTo>
                  <a:lnTo>
                    <a:pt x="40" y="231"/>
                  </a:lnTo>
                  <a:lnTo>
                    <a:pt x="41" y="239"/>
                  </a:lnTo>
                  <a:lnTo>
                    <a:pt x="41" y="248"/>
                  </a:lnTo>
                  <a:lnTo>
                    <a:pt x="39" y="256"/>
                  </a:lnTo>
                  <a:lnTo>
                    <a:pt x="39" y="258"/>
                  </a:lnTo>
                  <a:lnTo>
                    <a:pt x="39" y="261"/>
                  </a:lnTo>
                  <a:lnTo>
                    <a:pt x="40" y="262"/>
                  </a:lnTo>
                  <a:lnTo>
                    <a:pt x="41" y="263"/>
                  </a:lnTo>
                  <a:lnTo>
                    <a:pt x="48" y="263"/>
                  </a:lnTo>
                  <a:lnTo>
                    <a:pt x="54" y="263"/>
                  </a:lnTo>
                  <a:lnTo>
                    <a:pt x="59" y="261"/>
                  </a:lnTo>
                  <a:lnTo>
                    <a:pt x="64" y="258"/>
                  </a:lnTo>
                  <a:lnTo>
                    <a:pt x="69" y="255"/>
                  </a:lnTo>
                  <a:lnTo>
                    <a:pt x="73" y="250"/>
                  </a:lnTo>
                  <a:lnTo>
                    <a:pt x="77" y="245"/>
                  </a:lnTo>
                  <a:lnTo>
                    <a:pt x="80" y="239"/>
                  </a:lnTo>
                  <a:lnTo>
                    <a:pt x="81" y="238"/>
                  </a:lnTo>
                  <a:lnTo>
                    <a:pt x="82" y="239"/>
                  </a:lnTo>
                  <a:lnTo>
                    <a:pt x="83" y="242"/>
                  </a:lnTo>
                  <a:lnTo>
                    <a:pt x="85" y="247"/>
                  </a:lnTo>
                  <a:lnTo>
                    <a:pt x="87" y="250"/>
                  </a:lnTo>
                  <a:lnTo>
                    <a:pt x="90" y="252"/>
                  </a:lnTo>
                  <a:lnTo>
                    <a:pt x="95" y="255"/>
                  </a:lnTo>
                  <a:lnTo>
                    <a:pt x="95" y="256"/>
                  </a:lnTo>
                  <a:lnTo>
                    <a:pt x="96" y="258"/>
                  </a:lnTo>
                  <a:lnTo>
                    <a:pt x="96" y="263"/>
                  </a:lnTo>
                  <a:lnTo>
                    <a:pt x="95" y="268"/>
                  </a:lnTo>
                  <a:lnTo>
                    <a:pt x="95" y="271"/>
                  </a:lnTo>
                  <a:lnTo>
                    <a:pt x="96" y="276"/>
                  </a:lnTo>
                  <a:lnTo>
                    <a:pt x="99" y="280"/>
                  </a:lnTo>
                  <a:lnTo>
                    <a:pt x="99" y="284"/>
                  </a:lnTo>
                  <a:lnTo>
                    <a:pt x="101" y="292"/>
                  </a:lnTo>
                  <a:lnTo>
                    <a:pt x="105" y="305"/>
                  </a:lnTo>
                  <a:lnTo>
                    <a:pt x="108" y="318"/>
                  </a:lnTo>
                  <a:lnTo>
                    <a:pt x="111" y="345"/>
                  </a:lnTo>
                  <a:lnTo>
                    <a:pt x="114" y="347"/>
                  </a:lnTo>
                  <a:lnTo>
                    <a:pt x="114" y="351"/>
                  </a:lnTo>
                  <a:lnTo>
                    <a:pt x="114" y="353"/>
                  </a:lnTo>
                  <a:lnTo>
                    <a:pt x="114" y="360"/>
                  </a:lnTo>
                  <a:lnTo>
                    <a:pt x="113" y="366"/>
                  </a:lnTo>
                  <a:lnTo>
                    <a:pt x="113" y="369"/>
                  </a:lnTo>
                  <a:lnTo>
                    <a:pt x="114" y="372"/>
                  </a:lnTo>
                  <a:lnTo>
                    <a:pt x="119" y="369"/>
                  </a:lnTo>
                  <a:lnTo>
                    <a:pt x="121" y="365"/>
                  </a:lnTo>
                  <a:lnTo>
                    <a:pt x="125" y="362"/>
                  </a:lnTo>
                  <a:lnTo>
                    <a:pt x="127" y="357"/>
                  </a:lnTo>
                  <a:lnTo>
                    <a:pt x="128" y="347"/>
                  </a:lnTo>
                  <a:lnTo>
                    <a:pt x="128" y="338"/>
                  </a:lnTo>
                  <a:lnTo>
                    <a:pt x="127" y="328"/>
                  </a:lnTo>
                  <a:lnTo>
                    <a:pt x="125" y="319"/>
                  </a:lnTo>
                  <a:lnTo>
                    <a:pt x="119" y="301"/>
                  </a:lnTo>
                  <a:lnTo>
                    <a:pt x="113" y="283"/>
                  </a:lnTo>
                  <a:lnTo>
                    <a:pt x="111" y="280"/>
                  </a:lnTo>
                  <a:lnTo>
                    <a:pt x="111" y="277"/>
                  </a:lnTo>
                  <a:lnTo>
                    <a:pt x="113" y="271"/>
                  </a:lnTo>
                  <a:lnTo>
                    <a:pt x="115" y="266"/>
                  </a:lnTo>
                  <a:lnTo>
                    <a:pt x="115" y="260"/>
                  </a:lnTo>
                  <a:lnTo>
                    <a:pt x="115" y="257"/>
                  </a:lnTo>
                  <a:lnTo>
                    <a:pt x="114" y="255"/>
                  </a:lnTo>
                  <a:lnTo>
                    <a:pt x="111" y="250"/>
                  </a:lnTo>
                  <a:lnTo>
                    <a:pt x="108" y="247"/>
                  </a:lnTo>
                  <a:lnTo>
                    <a:pt x="105" y="241"/>
                  </a:lnTo>
                  <a:lnTo>
                    <a:pt x="101" y="231"/>
                  </a:lnTo>
                  <a:lnTo>
                    <a:pt x="101" y="225"/>
                  </a:lnTo>
                  <a:lnTo>
                    <a:pt x="101" y="219"/>
                  </a:lnTo>
                  <a:lnTo>
                    <a:pt x="101" y="217"/>
                  </a:lnTo>
                  <a:lnTo>
                    <a:pt x="100" y="213"/>
                  </a:lnTo>
                  <a:lnTo>
                    <a:pt x="99" y="213"/>
                  </a:lnTo>
                  <a:lnTo>
                    <a:pt x="96" y="215"/>
                  </a:lnTo>
                  <a:lnTo>
                    <a:pt x="95" y="215"/>
                  </a:lnTo>
                  <a:lnTo>
                    <a:pt x="94" y="215"/>
                  </a:lnTo>
                  <a:lnTo>
                    <a:pt x="91" y="212"/>
                  </a:lnTo>
                  <a:lnTo>
                    <a:pt x="91" y="209"/>
                  </a:lnTo>
                  <a:lnTo>
                    <a:pt x="91" y="204"/>
                  </a:lnTo>
                  <a:lnTo>
                    <a:pt x="92" y="200"/>
                  </a:lnTo>
                  <a:lnTo>
                    <a:pt x="94" y="198"/>
                  </a:lnTo>
                  <a:lnTo>
                    <a:pt x="97" y="197"/>
                  </a:lnTo>
                  <a:lnTo>
                    <a:pt x="100" y="196"/>
                  </a:lnTo>
                  <a:lnTo>
                    <a:pt x="101" y="194"/>
                  </a:lnTo>
                  <a:lnTo>
                    <a:pt x="102" y="188"/>
                  </a:lnTo>
                  <a:lnTo>
                    <a:pt x="104" y="185"/>
                  </a:lnTo>
                  <a:lnTo>
                    <a:pt x="106" y="183"/>
                  </a:lnTo>
                  <a:lnTo>
                    <a:pt x="109" y="181"/>
                  </a:lnTo>
                  <a:lnTo>
                    <a:pt x="114" y="180"/>
                  </a:lnTo>
                  <a:lnTo>
                    <a:pt x="116" y="179"/>
                  </a:lnTo>
                  <a:lnTo>
                    <a:pt x="119" y="178"/>
                  </a:lnTo>
                  <a:lnTo>
                    <a:pt x="120" y="175"/>
                  </a:lnTo>
                  <a:lnTo>
                    <a:pt x="121" y="172"/>
                  </a:lnTo>
                  <a:lnTo>
                    <a:pt x="123" y="168"/>
                  </a:lnTo>
                  <a:lnTo>
                    <a:pt x="125" y="167"/>
                  </a:lnTo>
                  <a:lnTo>
                    <a:pt x="129" y="167"/>
                  </a:lnTo>
                  <a:lnTo>
                    <a:pt x="134" y="168"/>
                  </a:lnTo>
                  <a:lnTo>
                    <a:pt x="138" y="168"/>
                  </a:lnTo>
                  <a:lnTo>
                    <a:pt x="139" y="168"/>
                  </a:lnTo>
                  <a:lnTo>
                    <a:pt x="141" y="167"/>
                  </a:lnTo>
                  <a:lnTo>
                    <a:pt x="147" y="158"/>
                  </a:lnTo>
                  <a:lnTo>
                    <a:pt x="151" y="14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5" name="Freeform 624"/>
            <p:cNvSpPr>
              <a:spLocks/>
            </p:cNvSpPr>
            <p:nvPr/>
          </p:nvSpPr>
          <p:spPr bwMode="auto">
            <a:xfrm>
              <a:off x="6562726" y="3563939"/>
              <a:ext cx="128588" cy="180975"/>
            </a:xfrm>
            <a:custGeom>
              <a:avLst/>
              <a:gdLst>
                <a:gd name="T0" fmla="*/ 2147483647 w 87"/>
                <a:gd name="T1" fmla="*/ 2147483647 h 114"/>
                <a:gd name="T2" fmla="*/ 2147483647 w 87"/>
                <a:gd name="T3" fmla="*/ 2147483647 h 114"/>
                <a:gd name="T4" fmla="*/ 2147483647 w 87"/>
                <a:gd name="T5" fmla="*/ 2147483647 h 114"/>
                <a:gd name="T6" fmla="*/ 2147483647 w 87"/>
                <a:gd name="T7" fmla="*/ 2147483647 h 114"/>
                <a:gd name="T8" fmla="*/ 2147483647 w 87"/>
                <a:gd name="T9" fmla="*/ 2147483647 h 114"/>
                <a:gd name="T10" fmla="*/ 2147483647 w 87"/>
                <a:gd name="T11" fmla="*/ 2147483647 h 114"/>
                <a:gd name="T12" fmla="*/ 2147483647 w 87"/>
                <a:gd name="T13" fmla="*/ 2147483647 h 114"/>
                <a:gd name="T14" fmla="*/ 2147483647 w 87"/>
                <a:gd name="T15" fmla="*/ 2147483647 h 114"/>
                <a:gd name="T16" fmla="*/ 2147483647 w 87"/>
                <a:gd name="T17" fmla="*/ 2147483647 h 114"/>
                <a:gd name="T18" fmla="*/ 2147483647 w 87"/>
                <a:gd name="T19" fmla="*/ 2147483647 h 114"/>
                <a:gd name="T20" fmla="*/ 2147483647 w 87"/>
                <a:gd name="T21" fmla="*/ 2147483647 h 114"/>
                <a:gd name="T22" fmla="*/ 2147483647 w 87"/>
                <a:gd name="T23" fmla="*/ 2147483647 h 114"/>
                <a:gd name="T24" fmla="*/ 2147483647 w 87"/>
                <a:gd name="T25" fmla="*/ 2147483647 h 114"/>
                <a:gd name="T26" fmla="*/ 2147483647 w 87"/>
                <a:gd name="T27" fmla="*/ 2147483647 h 114"/>
                <a:gd name="T28" fmla="*/ 2147483647 w 87"/>
                <a:gd name="T29" fmla="*/ 2147483647 h 114"/>
                <a:gd name="T30" fmla="*/ 0 w 87"/>
                <a:gd name="T31" fmla="*/ 2147483647 h 114"/>
                <a:gd name="T32" fmla="*/ 2147483647 w 87"/>
                <a:gd name="T33" fmla="*/ 2147483647 h 114"/>
                <a:gd name="T34" fmla="*/ 2147483647 w 87"/>
                <a:gd name="T35" fmla="*/ 2147483647 h 114"/>
                <a:gd name="T36" fmla="*/ 2147483647 w 87"/>
                <a:gd name="T37" fmla="*/ 2147483647 h 114"/>
                <a:gd name="T38" fmla="*/ 2147483647 w 87"/>
                <a:gd name="T39" fmla="*/ 2147483647 h 114"/>
                <a:gd name="T40" fmla="*/ 2147483647 w 87"/>
                <a:gd name="T41" fmla="*/ 2147483647 h 114"/>
                <a:gd name="T42" fmla="*/ 2147483647 w 87"/>
                <a:gd name="T43" fmla="*/ 2147483647 h 114"/>
                <a:gd name="T44" fmla="*/ 2147483647 w 87"/>
                <a:gd name="T45" fmla="*/ 2147483647 h 114"/>
                <a:gd name="T46" fmla="*/ 2147483647 w 87"/>
                <a:gd name="T47" fmla="*/ 2147483647 h 114"/>
                <a:gd name="T48" fmla="*/ 2147483647 w 87"/>
                <a:gd name="T49" fmla="*/ 2147483647 h 114"/>
                <a:gd name="T50" fmla="*/ 2147483647 w 87"/>
                <a:gd name="T51" fmla="*/ 2147483647 h 114"/>
                <a:gd name="T52" fmla="*/ 2147483647 w 87"/>
                <a:gd name="T53" fmla="*/ 2147483647 h 114"/>
                <a:gd name="T54" fmla="*/ 2147483647 w 87"/>
                <a:gd name="T55" fmla="*/ 2147483647 h 114"/>
                <a:gd name="T56" fmla="*/ 2147483647 w 87"/>
                <a:gd name="T57" fmla="*/ 0 h 114"/>
                <a:gd name="T58" fmla="*/ 2147483647 w 87"/>
                <a:gd name="T59" fmla="*/ 2147483647 h 114"/>
                <a:gd name="T60" fmla="*/ 2147483647 w 87"/>
                <a:gd name="T61" fmla="*/ 2147483647 h 114"/>
                <a:gd name="T62" fmla="*/ 2147483647 w 87"/>
                <a:gd name="T63" fmla="*/ 2147483647 h 114"/>
                <a:gd name="T64" fmla="*/ 2147483647 w 87"/>
                <a:gd name="T65" fmla="*/ 2147483647 h 114"/>
                <a:gd name="T66" fmla="*/ 2147483647 w 87"/>
                <a:gd name="T67" fmla="*/ 2147483647 h 114"/>
                <a:gd name="T68" fmla="*/ 2147483647 w 87"/>
                <a:gd name="T69" fmla="*/ 2147483647 h 114"/>
                <a:gd name="T70" fmla="*/ 2147483647 w 87"/>
                <a:gd name="T71" fmla="*/ 2147483647 h 114"/>
                <a:gd name="T72" fmla="*/ 2147483647 w 87"/>
                <a:gd name="T73" fmla="*/ 2147483647 h 114"/>
                <a:gd name="T74" fmla="*/ 2147483647 w 87"/>
                <a:gd name="T75" fmla="*/ 2147483647 h 114"/>
                <a:gd name="T76" fmla="*/ 2147483647 w 87"/>
                <a:gd name="T77" fmla="*/ 2147483647 h 114"/>
                <a:gd name="T78" fmla="*/ 2147483647 w 87"/>
                <a:gd name="T79" fmla="*/ 2147483647 h 114"/>
                <a:gd name="T80" fmla="*/ 2147483647 w 87"/>
                <a:gd name="T81" fmla="*/ 2147483647 h 114"/>
                <a:gd name="T82" fmla="*/ 2147483647 w 87"/>
                <a:gd name="T83" fmla="*/ 2147483647 h 114"/>
                <a:gd name="T84" fmla="*/ 2147483647 w 87"/>
                <a:gd name="T85" fmla="*/ 2147483647 h 114"/>
                <a:gd name="T86" fmla="*/ 2147483647 w 87"/>
                <a:gd name="T87" fmla="*/ 2147483647 h 114"/>
                <a:gd name="T88" fmla="*/ 2147483647 w 87"/>
                <a:gd name="T89" fmla="*/ 2147483647 h 1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
                <a:gd name="T136" fmla="*/ 0 h 114"/>
                <a:gd name="T137" fmla="*/ 87 w 87"/>
                <a:gd name="T138" fmla="*/ 114 h 1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 h="114">
                  <a:moveTo>
                    <a:pt x="75" y="95"/>
                  </a:moveTo>
                  <a:lnTo>
                    <a:pt x="76" y="99"/>
                  </a:lnTo>
                  <a:lnTo>
                    <a:pt x="75" y="101"/>
                  </a:lnTo>
                  <a:lnTo>
                    <a:pt x="73" y="104"/>
                  </a:lnTo>
                  <a:lnTo>
                    <a:pt x="73" y="106"/>
                  </a:lnTo>
                  <a:lnTo>
                    <a:pt x="72" y="111"/>
                  </a:lnTo>
                  <a:lnTo>
                    <a:pt x="71" y="112"/>
                  </a:lnTo>
                  <a:lnTo>
                    <a:pt x="71" y="114"/>
                  </a:lnTo>
                  <a:lnTo>
                    <a:pt x="67" y="110"/>
                  </a:lnTo>
                  <a:lnTo>
                    <a:pt x="64" y="107"/>
                  </a:lnTo>
                  <a:lnTo>
                    <a:pt x="63" y="105"/>
                  </a:lnTo>
                  <a:lnTo>
                    <a:pt x="61" y="93"/>
                  </a:lnTo>
                  <a:lnTo>
                    <a:pt x="59" y="87"/>
                  </a:lnTo>
                  <a:lnTo>
                    <a:pt x="57" y="81"/>
                  </a:lnTo>
                  <a:lnTo>
                    <a:pt x="54" y="80"/>
                  </a:lnTo>
                  <a:lnTo>
                    <a:pt x="52" y="80"/>
                  </a:lnTo>
                  <a:lnTo>
                    <a:pt x="49" y="79"/>
                  </a:lnTo>
                  <a:lnTo>
                    <a:pt x="47" y="76"/>
                  </a:lnTo>
                  <a:lnTo>
                    <a:pt x="43" y="81"/>
                  </a:lnTo>
                  <a:lnTo>
                    <a:pt x="40" y="87"/>
                  </a:lnTo>
                  <a:lnTo>
                    <a:pt x="39" y="93"/>
                  </a:lnTo>
                  <a:lnTo>
                    <a:pt x="39" y="99"/>
                  </a:lnTo>
                  <a:lnTo>
                    <a:pt x="38" y="101"/>
                  </a:lnTo>
                  <a:lnTo>
                    <a:pt x="35" y="102"/>
                  </a:lnTo>
                  <a:lnTo>
                    <a:pt x="24" y="107"/>
                  </a:lnTo>
                  <a:lnTo>
                    <a:pt x="14" y="112"/>
                  </a:lnTo>
                  <a:lnTo>
                    <a:pt x="9" y="113"/>
                  </a:lnTo>
                  <a:lnTo>
                    <a:pt x="6" y="112"/>
                  </a:lnTo>
                  <a:lnTo>
                    <a:pt x="4" y="108"/>
                  </a:lnTo>
                  <a:lnTo>
                    <a:pt x="2" y="104"/>
                  </a:lnTo>
                  <a:lnTo>
                    <a:pt x="1" y="102"/>
                  </a:lnTo>
                  <a:lnTo>
                    <a:pt x="0" y="104"/>
                  </a:lnTo>
                  <a:lnTo>
                    <a:pt x="1" y="96"/>
                  </a:lnTo>
                  <a:lnTo>
                    <a:pt x="2" y="89"/>
                  </a:lnTo>
                  <a:lnTo>
                    <a:pt x="4" y="86"/>
                  </a:lnTo>
                  <a:lnTo>
                    <a:pt x="5" y="82"/>
                  </a:lnTo>
                  <a:lnTo>
                    <a:pt x="5" y="73"/>
                  </a:lnTo>
                  <a:lnTo>
                    <a:pt x="6" y="64"/>
                  </a:lnTo>
                  <a:lnTo>
                    <a:pt x="6" y="55"/>
                  </a:lnTo>
                  <a:lnTo>
                    <a:pt x="6" y="50"/>
                  </a:lnTo>
                  <a:lnTo>
                    <a:pt x="5" y="47"/>
                  </a:lnTo>
                  <a:lnTo>
                    <a:pt x="4" y="42"/>
                  </a:lnTo>
                  <a:lnTo>
                    <a:pt x="2" y="38"/>
                  </a:lnTo>
                  <a:lnTo>
                    <a:pt x="4" y="35"/>
                  </a:lnTo>
                  <a:lnTo>
                    <a:pt x="5" y="31"/>
                  </a:lnTo>
                  <a:lnTo>
                    <a:pt x="9" y="25"/>
                  </a:lnTo>
                  <a:lnTo>
                    <a:pt x="14" y="19"/>
                  </a:lnTo>
                  <a:lnTo>
                    <a:pt x="14" y="18"/>
                  </a:lnTo>
                  <a:lnTo>
                    <a:pt x="14" y="17"/>
                  </a:lnTo>
                  <a:lnTo>
                    <a:pt x="11" y="16"/>
                  </a:lnTo>
                  <a:lnTo>
                    <a:pt x="7" y="16"/>
                  </a:lnTo>
                  <a:lnTo>
                    <a:pt x="4" y="15"/>
                  </a:lnTo>
                  <a:lnTo>
                    <a:pt x="2" y="13"/>
                  </a:lnTo>
                  <a:lnTo>
                    <a:pt x="6" y="11"/>
                  </a:lnTo>
                  <a:lnTo>
                    <a:pt x="7" y="8"/>
                  </a:lnTo>
                  <a:lnTo>
                    <a:pt x="11" y="2"/>
                  </a:lnTo>
                  <a:lnTo>
                    <a:pt x="12" y="0"/>
                  </a:lnTo>
                  <a:lnTo>
                    <a:pt x="14" y="0"/>
                  </a:lnTo>
                  <a:lnTo>
                    <a:pt x="18" y="2"/>
                  </a:lnTo>
                  <a:lnTo>
                    <a:pt x="20" y="3"/>
                  </a:lnTo>
                  <a:lnTo>
                    <a:pt x="28" y="2"/>
                  </a:lnTo>
                  <a:lnTo>
                    <a:pt x="30" y="3"/>
                  </a:lnTo>
                  <a:lnTo>
                    <a:pt x="33" y="11"/>
                  </a:lnTo>
                  <a:lnTo>
                    <a:pt x="38" y="16"/>
                  </a:lnTo>
                  <a:lnTo>
                    <a:pt x="44" y="21"/>
                  </a:lnTo>
                  <a:lnTo>
                    <a:pt x="51" y="23"/>
                  </a:lnTo>
                  <a:lnTo>
                    <a:pt x="58" y="24"/>
                  </a:lnTo>
                  <a:lnTo>
                    <a:pt x="67" y="24"/>
                  </a:lnTo>
                  <a:lnTo>
                    <a:pt x="82" y="24"/>
                  </a:lnTo>
                  <a:lnTo>
                    <a:pt x="85" y="24"/>
                  </a:lnTo>
                  <a:lnTo>
                    <a:pt x="86" y="25"/>
                  </a:lnTo>
                  <a:lnTo>
                    <a:pt x="87" y="30"/>
                  </a:lnTo>
                  <a:lnTo>
                    <a:pt x="86" y="35"/>
                  </a:lnTo>
                  <a:lnTo>
                    <a:pt x="85" y="40"/>
                  </a:lnTo>
                  <a:lnTo>
                    <a:pt x="84" y="42"/>
                  </a:lnTo>
                  <a:lnTo>
                    <a:pt x="81" y="45"/>
                  </a:lnTo>
                  <a:lnTo>
                    <a:pt x="75" y="50"/>
                  </a:lnTo>
                  <a:lnTo>
                    <a:pt x="68" y="54"/>
                  </a:lnTo>
                  <a:lnTo>
                    <a:pt x="66" y="57"/>
                  </a:lnTo>
                  <a:lnTo>
                    <a:pt x="64" y="60"/>
                  </a:lnTo>
                  <a:lnTo>
                    <a:pt x="63" y="62"/>
                  </a:lnTo>
                  <a:lnTo>
                    <a:pt x="64" y="64"/>
                  </a:lnTo>
                  <a:lnTo>
                    <a:pt x="67" y="66"/>
                  </a:lnTo>
                  <a:lnTo>
                    <a:pt x="71" y="67"/>
                  </a:lnTo>
                  <a:lnTo>
                    <a:pt x="75" y="69"/>
                  </a:lnTo>
                  <a:lnTo>
                    <a:pt x="76" y="75"/>
                  </a:lnTo>
                  <a:lnTo>
                    <a:pt x="77" y="81"/>
                  </a:lnTo>
                  <a:lnTo>
                    <a:pt x="77" y="88"/>
                  </a:lnTo>
                  <a:lnTo>
                    <a:pt x="75" y="94"/>
                  </a:lnTo>
                  <a:lnTo>
                    <a:pt x="75" y="9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6" name="Freeform 625"/>
            <p:cNvSpPr>
              <a:spLocks/>
            </p:cNvSpPr>
            <p:nvPr/>
          </p:nvSpPr>
          <p:spPr bwMode="auto">
            <a:xfrm>
              <a:off x="6062663" y="3235330"/>
              <a:ext cx="741362" cy="925513"/>
            </a:xfrm>
            <a:custGeom>
              <a:avLst/>
              <a:gdLst>
                <a:gd name="T0" fmla="*/ 2147483647 w 506"/>
                <a:gd name="T1" fmla="*/ 2147483647 h 583"/>
                <a:gd name="T2" fmla="*/ 2147483647 w 506"/>
                <a:gd name="T3" fmla="*/ 2147483647 h 583"/>
                <a:gd name="T4" fmla="*/ 2147483647 w 506"/>
                <a:gd name="T5" fmla="*/ 2147483647 h 583"/>
                <a:gd name="T6" fmla="*/ 2147483647 w 506"/>
                <a:gd name="T7" fmla="*/ 2147483647 h 583"/>
                <a:gd name="T8" fmla="*/ 2147483647 w 506"/>
                <a:gd name="T9" fmla="*/ 2147483647 h 583"/>
                <a:gd name="T10" fmla="*/ 2147483647 w 506"/>
                <a:gd name="T11" fmla="*/ 2147483647 h 583"/>
                <a:gd name="T12" fmla="*/ 2147483647 w 506"/>
                <a:gd name="T13" fmla="*/ 2147483647 h 583"/>
                <a:gd name="T14" fmla="*/ 2147483647 w 506"/>
                <a:gd name="T15" fmla="*/ 2147483647 h 583"/>
                <a:gd name="T16" fmla="*/ 2147483647 w 506"/>
                <a:gd name="T17" fmla="*/ 2147483647 h 583"/>
                <a:gd name="T18" fmla="*/ 2147483647 w 506"/>
                <a:gd name="T19" fmla="*/ 2147483647 h 583"/>
                <a:gd name="T20" fmla="*/ 2147483647 w 506"/>
                <a:gd name="T21" fmla="*/ 2147483647 h 583"/>
                <a:gd name="T22" fmla="*/ 2147483647 w 506"/>
                <a:gd name="T23" fmla="*/ 2147483647 h 583"/>
                <a:gd name="T24" fmla="*/ 2147483647 w 506"/>
                <a:gd name="T25" fmla="*/ 2147483647 h 583"/>
                <a:gd name="T26" fmla="*/ 2147483647 w 506"/>
                <a:gd name="T27" fmla="*/ 2147483647 h 583"/>
                <a:gd name="T28" fmla="*/ 2147483647 w 506"/>
                <a:gd name="T29" fmla="*/ 2147483647 h 583"/>
                <a:gd name="T30" fmla="*/ 2147483647 w 506"/>
                <a:gd name="T31" fmla="*/ 2147483647 h 583"/>
                <a:gd name="T32" fmla="*/ 2147483647 w 506"/>
                <a:gd name="T33" fmla="*/ 2147483647 h 583"/>
                <a:gd name="T34" fmla="*/ 2147483647 w 506"/>
                <a:gd name="T35" fmla="*/ 2147483647 h 583"/>
                <a:gd name="T36" fmla="*/ 2147483647 w 506"/>
                <a:gd name="T37" fmla="*/ 2147483647 h 583"/>
                <a:gd name="T38" fmla="*/ 2147483647 w 506"/>
                <a:gd name="T39" fmla="*/ 2147483647 h 583"/>
                <a:gd name="T40" fmla="*/ 2147483647 w 506"/>
                <a:gd name="T41" fmla="*/ 2147483647 h 583"/>
                <a:gd name="T42" fmla="*/ 2147483647 w 506"/>
                <a:gd name="T43" fmla="*/ 2147483647 h 583"/>
                <a:gd name="T44" fmla="*/ 2147483647 w 506"/>
                <a:gd name="T45" fmla="*/ 2147483647 h 583"/>
                <a:gd name="T46" fmla="*/ 2147483647 w 506"/>
                <a:gd name="T47" fmla="*/ 2147483647 h 583"/>
                <a:gd name="T48" fmla="*/ 2147483647 w 506"/>
                <a:gd name="T49" fmla="*/ 2147483647 h 583"/>
                <a:gd name="T50" fmla="*/ 2147483647 w 506"/>
                <a:gd name="T51" fmla="*/ 2147483647 h 583"/>
                <a:gd name="T52" fmla="*/ 2147483647 w 506"/>
                <a:gd name="T53" fmla="*/ 2147483647 h 583"/>
                <a:gd name="T54" fmla="*/ 2147483647 w 506"/>
                <a:gd name="T55" fmla="*/ 2147483647 h 583"/>
                <a:gd name="T56" fmla="*/ 2147483647 w 506"/>
                <a:gd name="T57" fmla="*/ 2147483647 h 583"/>
                <a:gd name="T58" fmla="*/ 2147483647 w 506"/>
                <a:gd name="T59" fmla="*/ 2147483647 h 583"/>
                <a:gd name="T60" fmla="*/ 2147483647 w 506"/>
                <a:gd name="T61" fmla="*/ 2147483647 h 583"/>
                <a:gd name="T62" fmla="*/ 2147483647 w 506"/>
                <a:gd name="T63" fmla="*/ 2147483647 h 583"/>
                <a:gd name="T64" fmla="*/ 2147483647 w 506"/>
                <a:gd name="T65" fmla="*/ 2147483647 h 583"/>
                <a:gd name="T66" fmla="*/ 2147483647 w 506"/>
                <a:gd name="T67" fmla="*/ 2147483647 h 583"/>
                <a:gd name="T68" fmla="*/ 2147483647 w 506"/>
                <a:gd name="T69" fmla="*/ 2147483647 h 583"/>
                <a:gd name="T70" fmla="*/ 2147483647 w 506"/>
                <a:gd name="T71" fmla="*/ 2147483647 h 583"/>
                <a:gd name="T72" fmla="*/ 2147483647 w 506"/>
                <a:gd name="T73" fmla="*/ 2147483647 h 583"/>
                <a:gd name="T74" fmla="*/ 2147483647 w 506"/>
                <a:gd name="T75" fmla="*/ 2147483647 h 583"/>
                <a:gd name="T76" fmla="*/ 2147483647 w 506"/>
                <a:gd name="T77" fmla="*/ 2147483647 h 583"/>
                <a:gd name="T78" fmla="*/ 2147483647 w 506"/>
                <a:gd name="T79" fmla="*/ 2147483647 h 583"/>
                <a:gd name="T80" fmla="*/ 2147483647 w 506"/>
                <a:gd name="T81" fmla="*/ 2147483647 h 583"/>
                <a:gd name="T82" fmla="*/ 2147483647 w 506"/>
                <a:gd name="T83" fmla="*/ 2147483647 h 583"/>
                <a:gd name="T84" fmla="*/ 2147483647 w 506"/>
                <a:gd name="T85" fmla="*/ 2147483647 h 583"/>
                <a:gd name="T86" fmla="*/ 2147483647 w 506"/>
                <a:gd name="T87" fmla="*/ 2147483647 h 583"/>
                <a:gd name="T88" fmla="*/ 2147483647 w 506"/>
                <a:gd name="T89" fmla="*/ 2147483647 h 583"/>
                <a:gd name="T90" fmla="*/ 2147483647 w 506"/>
                <a:gd name="T91" fmla="*/ 2147483647 h 583"/>
                <a:gd name="T92" fmla="*/ 2147483647 w 506"/>
                <a:gd name="T93" fmla="*/ 2147483647 h 583"/>
                <a:gd name="T94" fmla="*/ 2147483647 w 506"/>
                <a:gd name="T95" fmla="*/ 2147483647 h 583"/>
                <a:gd name="T96" fmla="*/ 2147483647 w 506"/>
                <a:gd name="T97" fmla="*/ 2147483647 h 583"/>
                <a:gd name="T98" fmla="*/ 2147483647 w 506"/>
                <a:gd name="T99" fmla="*/ 2147483647 h 583"/>
                <a:gd name="T100" fmla="*/ 2147483647 w 506"/>
                <a:gd name="T101" fmla="*/ 2147483647 h 583"/>
                <a:gd name="T102" fmla="*/ 2147483647 w 506"/>
                <a:gd name="T103" fmla="*/ 2147483647 h 583"/>
                <a:gd name="T104" fmla="*/ 2147483647 w 506"/>
                <a:gd name="T105" fmla="*/ 2147483647 h 583"/>
                <a:gd name="T106" fmla="*/ 2147483647 w 506"/>
                <a:gd name="T107" fmla="*/ 2147483647 h 583"/>
                <a:gd name="T108" fmla="*/ 2147483647 w 506"/>
                <a:gd name="T109" fmla="*/ 2147483647 h 583"/>
                <a:gd name="T110" fmla="*/ 2147483647 w 506"/>
                <a:gd name="T111" fmla="*/ 2147483647 h 583"/>
                <a:gd name="T112" fmla="*/ 2147483647 w 506"/>
                <a:gd name="T113" fmla="*/ 0 h 583"/>
                <a:gd name="T114" fmla="*/ 2147483647 w 506"/>
                <a:gd name="T115" fmla="*/ 2147483647 h 583"/>
                <a:gd name="T116" fmla="*/ 2147483647 w 506"/>
                <a:gd name="T117" fmla="*/ 2147483647 h 583"/>
                <a:gd name="T118" fmla="*/ 2147483647 w 506"/>
                <a:gd name="T119" fmla="*/ 2147483647 h 583"/>
                <a:gd name="T120" fmla="*/ 2147483647 w 506"/>
                <a:gd name="T121" fmla="*/ 2147483647 h 583"/>
                <a:gd name="T122" fmla="*/ 2147483647 w 506"/>
                <a:gd name="T123" fmla="*/ 2147483647 h 5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6"/>
                <a:gd name="T187" fmla="*/ 0 h 583"/>
                <a:gd name="T188" fmla="*/ 506 w 506"/>
                <a:gd name="T189" fmla="*/ 583 h 5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6" h="583">
                  <a:moveTo>
                    <a:pt x="227" y="134"/>
                  </a:moveTo>
                  <a:lnTo>
                    <a:pt x="230" y="135"/>
                  </a:lnTo>
                  <a:lnTo>
                    <a:pt x="234" y="135"/>
                  </a:lnTo>
                  <a:lnTo>
                    <a:pt x="240" y="133"/>
                  </a:lnTo>
                  <a:lnTo>
                    <a:pt x="243" y="132"/>
                  </a:lnTo>
                  <a:lnTo>
                    <a:pt x="245" y="132"/>
                  </a:lnTo>
                  <a:lnTo>
                    <a:pt x="252" y="135"/>
                  </a:lnTo>
                  <a:lnTo>
                    <a:pt x="258" y="140"/>
                  </a:lnTo>
                  <a:lnTo>
                    <a:pt x="263" y="145"/>
                  </a:lnTo>
                  <a:lnTo>
                    <a:pt x="264" y="147"/>
                  </a:lnTo>
                  <a:lnTo>
                    <a:pt x="267" y="149"/>
                  </a:lnTo>
                  <a:lnTo>
                    <a:pt x="271" y="151"/>
                  </a:lnTo>
                  <a:lnTo>
                    <a:pt x="274" y="151"/>
                  </a:lnTo>
                  <a:lnTo>
                    <a:pt x="280" y="152"/>
                  </a:lnTo>
                  <a:lnTo>
                    <a:pt x="281" y="153"/>
                  </a:lnTo>
                  <a:lnTo>
                    <a:pt x="282" y="154"/>
                  </a:lnTo>
                  <a:lnTo>
                    <a:pt x="281" y="158"/>
                  </a:lnTo>
                  <a:lnTo>
                    <a:pt x="281" y="159"/>
                  </a:lnTo>
                  <a:lnTo>
                    <a:pt x="283" y="159"/>
                  </a:lnTo>
                  <a:lnTo>
                    <a:pt x="286" y="159"/>
                  </a:lnTo>
                  <a:lnTo>
                    <a:pt x="290" y="159"/>
                  </a:lnTo>
                  <a:lnTo>
                    <a:pt x="293" y="160"/>
                  </a:lnTo>
                  <a:lnTo>
                    <a:pt x="299" y="165"/>
                  </a:lnTo>
                  <a:lnTo>
                    <a:pt x="302" y="171"/>
                  </a:lnTo>
                  <a:lnTo>
                    <a:pt x="307" y="174"/>
                  </a:lnTo>
                  <a:lnTo>
                    <a:pt x="314" y="178"/>
                  </a:lnTo>
                  <a:lnTo>
                    <a:pt x="316" y="178"/>
                  </a:lnTo>
                  <a:lnTo>
                    <a:pt x="319" y="178"/>
                  </a:lnTo>
                  <a:lnTo>
                    <a:pt x="323" y="175"/>
                  </a:lnTo>
                  <a:lnTo>
                    <a:pt x="326" y="173"/>
                  </a:lnTo>
                  <a:lnTo>
                    <a:pt x="328" y="173"/>
                  </a:lnTo>
                  <a:lnTo>
                    <a:pt x="330" y="173"/>
                  </a:lnTo>
                  <a:lnTo>
                    <a:pt x="339" y="178"/>
                  </a:lnTo>
                  <a:lnTo>
                    <a:pt x="343" y="179"/>
                  </a:lnTo>
                  <a:lnTo>
                    <a:pt x="348" y="180"/>
                  </a:lnTo>
                  <a:lnTo>
                    <a:pt x="351" y="179"/>
                  </a:lnTo>
                  <a:lnTo>
                    <a:pt x="353" y="178"/>
                  </a:lnTo>
                  <a:lnTo>
                    <a:pt x="354" y="177"/>
                  </a:lnTo>
                  <a:lnTo>
                    <a:pt x="357" y="178"/>
                  </a:lnTo>
                  <a:lnTo>
                    <a:pt x="362" y="181"/>
                  </a:lnTo>
                  <a:lnTo>
                    <a:pt x="366" y="186"/>
                  </a:lnTo>
                  <a:lnTo>
                    <a:pt x="368" y="183"/>
                  </a:lnTo>
                  <a:lnTo>
                    <a:pt x="370" y="180"/>
                  </a:lnTo>
                  <a:lnTo>
                    <a:pt x="371" y="178"/>
                  </a:lnTo>
                  <a:lnTo>
                    <a:pt x="373" y="178"/>
                  </a:lnTo>
                  <a:lnTo>
                    <a:pt x="385" y="177"/>
                  </a:lnTo>
                  <a:lnTo>
                    <a:pt x="395" y="174"/>
                  </a:lnTo>
                  <a:lnTo>
                    <a:pt x="399" y="174"/>
                  </a:lnTo>
                  <a:lnTo>
                    <a:pt x="403" y="175"/>
                  </a:lnTo>
                  <a:lnTo>
                    <a:pt x="405" y="177"/>
                  </a:lnTo>
                  <a:lnTo>
                    <a:pt x="408" y="178"/>
                  </a:lnTo>
                  <a:lnTo>
                    <a:pt x="413" y="178"/>
                  </a:lnTo>
                  <a:lnTo>
                    <a:pt x="419" y="175"/>
                  </a:lnTo>
                  <a:lnTo>
                    <a:pt x="434" y="167"/>
                  </a:lnTo>
                  <a:lnTo>
                    <a:pt x="451" y="159"/>
                  </a:lnTo>
                  <a:lnTo>
                    <a:pt x="464" y="154"/>
                  </a:lnTo>
                  <a:lnTo>
                    <a:pt x="473" y="152"/>
                  </a:lnTo>
                  <a:lnTo>
                    <a:pt x="481" y="152"/>
                  </a:lnTo>
                  <a:lnTo>
                    <a:pt x="489" y="153"/>
                  </a:lnTo>
                  <a:lnTo>
                    <a:pt x="493" y="154"/>
                  </a:lnTo>
                  <a:lnTo>
                    <a:pt x="497" y="156"/>
                  </a:lnTo>
                  <a:lnTo>
                    <a:pt x="498" y="159"/>
                  </a:lnTo>
                  <a:lnTo>
                    <a:pt x="497" y="162"/>
                  </a:lnTo>
                  <a:lnTo>
                    <a:pt x="495" y="165"/>
                  </a:lnTo>
                  <a:lnTo>
                    <a:pt x="495" y="167"/>
                  </a:lnTo>
                  <a:lnTo>
                    <a:pt x="497" y="170"/>
                  </a:lnTo>
                  <a:lnTo>
                    <a:pt x="499" y="171"/>
                  </a:lnTo>
                  <a:lnTo>
                    <a:pt x="506" y="170"/>
                  </a:lnTo>
                  <a:lnTo>
                    <a:pt x="506" y="172"/>
                  </a:lnTo>
                  <a:lnTo>
                    <a:pt x="504" y="173"/>
                  </a:lnTo>
                  <a:lnTo>
                    <a:pt x="503" y="175"/>
                  </a:lnTo>
                  <a:lnTo>
                    <a:pt x="502" y="177"/>
                  </a:lnTo>
                  <a:lnTo>
                    <a:pt x="500" y="183"/>
                  </a:lnTo>
                  <a:lnTo>
                    <a:pt x="497" y="187"/>
                  </a:lnTo>
                  <a:lnTo>
                    <a:pt x="493" y="191"/>
                  </a:lnTo>
                  <a:lnTo>
                    <a:pt x="486" y="193"/>
                  </a:lnTo>
                  <a:lnTo>
                    <a:pt x="484" y="194"/>
                  </a:lnTo>
                  <a:lnTo>
                    <a:pt x="483" y="198"/>
                  </a:lnTo>
                  <a:lnTo>
                    <a:pt x="481" y="204"/>
                  </a:lnTo>
                  <a:lnTo>
                    <a:pt x="479" y="210"/>
                  </a:lnTo>
                  <a:lnTo>
                    <a:pt x="476" y="216"/>
                  </a:lnTo>
                  <a:lnTo>
                    <a:pt x="474" y="222"/>
                  </a:lnTo>
                  <a:lnTo>
                    <a:pt x="465" y="232"/>
                  </a:lnTo>
                  <a:lnTo>
                    <a:pt x="456" y="241"/>
                  </a:lnTo>
                  <a:lnTo>
                    <a:pt x="453" y="244"/>
                  </a:lnTo>
                  <a:lnTo>
                    <a:pt x="452" y="247"/>
                  </a:lnTo>
                  <a:lnTo>
                    <a:pt x="452" y="255"/>
                  </a:lnTo>
                  <a:lnTo>
                    <a:pt x="451" y="261"/>
                  </a:lnTo>
                  <a:lnTo>
                    <a:pt x="450" y="263"/>
                  </a:lnTo>
                  <a:lnTo>
                    <a:pt x="447" y="264"/>
                  </a:lnTo>
                  <a:lnTo>
                    <a:pt x="443" y="267"/>
                  </a:lnTo>
                  <a:lnTo>
                    <a:pt x="438" y="268"/>
                  </a:lnTo>
                  <a:lnTo>
                    <a:pt x="436" y="268"/>
                  </a:lnTo>
                  <a:lnTo>
                    <a:pt x="434" y="269"/>
                  </a:lnTo>
                  <a:lnTo>
                    <a:pt x="431" y="274"/>
                  </a:lnTo>
                  <a:lnTo>
                    <a:pt x="429" y="280"/>
                  </a:lnTo>
                  <a:lnTo>
                    <a:pt x="428" y="285"/>
                  </a:lnTo>
                  <a:lnTo>
                    <a:pt x="428" y="290"/>
                  </a:lnTo>
                  <a:lnTo>
                    <a:pt x="427" y="296"/>
                  </a:lnTo>
                  <a:lnTo>
                    <a:pt x="426" y="299"/>
                  </a:lnTo>
                  <a:lnTo>
                    <a:pt x="423" y="300"/>
                  </a:lnTo>
                  <a:lnTo>
                    <a:pt x="420" y="302"/>
                  </a:lnTo>
                  <a:lnTo>
                    <a:pt x="417" y="302"/>
                  </a:lnTo>
                  <a:lnTo>
                    <a:pt x="417" y="301"/>
                  </a:lnTo>
                  <a:lnTo>
                    <a:pt x="419" y="295"/>
                  </a:lnTo>
                  <a:lnTo>
                    <a:pt x="419" y="288"/>
                  </a:lnTo>
                  <a:lnTo>
                    <a:pt x="418" y="282"/>
                  </a:lnTo>
                  <a:lnTo>
                    <a:pt x="417" y="276"/>
                  </a:lnTo>
                  <a:lnTo>
                    <a:pt x="413" y="274"/>
                  </a:lnTo>
                  <a:lnTo>
                    <a:pt x="409" y="273"/>
                  </a:lnTo>
                  <a:lnTo>
                    <a:pt x="406" y="271"/>
                  </a:lnTo>
                  <a:lnTo>
                    <a:pt x="405" y="269"/>
                  </a:lnTo>
                  <a:lnTo>
                    <a:pt x="406" y="267"/>
                  </a:lnTo>
                  <a:lnTo>
                    <a:pt x="408" y="264"/>
                  </a:lnTo>
                  <a:lnTo>
                    <a:pt x="410" y="261"/>
                  </a:lnTo>
                  <a:lnTo>
                    <a:pt x="417" y="257"/>
                  </a:lnTo>
                  <a:lnTo>
                    <a:pt x="423" y="252"/>
                  </a:lnTo>
                  <a:lnTo>
                    <a:pt x="426" y="249"/>
                  </a:lnTo>
                  <a:lnTo>
                    <a:pt x="427" y="247"/>
                  </a:lnTo>
                  <a:lnTo>
                    <a:pt x="428" y="242"/>
                  </a:lnTo>
                  <a:lnTo>
                    <a:pt x="429" y="237"/>
                  </a:lnTo>
                  <a:lnTo>
                    <a:pt x="428" y="232"/>
                  </a:lnTo>
                  <a:lnTo>
                    <a:pt x="427" y="231"/>
                  </a:lnTo>
                  <a:lnTo>
                    <a:pt x="424" y="231"/>
                  </a:lnTo>
                  <a:lnTo>
                    <a:pt x="409" y="231"/>
                  </a:lnTo>
                  <a:lnTo>
                    <a:pt x="400" y="231"/>
                  </a:lnTo>
                  <a:lnTo>
                    <a:pt x="393" y="230"/>
                  </a:lnTo>
                  <a:lnTo>
                    <a:pt x="386" y="228"/>
                  </a:lnTo>
                  <a:lnTo>
                    <a:pt x="380" y="223"/>
                  </a:lnTo>
                  <a:lnTo>
                    <a:pt x="375" y="218"/>
                  </a:lnTo>
                  <a:lnTo>
                    <a:pt x="372" y="210"/>
                  </a:lnTo>
                  <a:lnTo>
                    <a:pt x="370" y="209"/>
                  </a:lnTo>
                  <a:lnTo>
                    <a:pt x="362" y="210"/>
                  </a:lnTo>
                  <a:lnTo>
                    <a:pt x="360" y="209"/>
                  </a:lnTo>
                  <a:lnTo>
                    <a:pt x="356" y="207"/>
                  </a:lnTo>
                  <a:lnTo>
                    <a:pt x="354" y="207"/>
                  </a:lnTo>
                  <a:lnTo>
                    <a:pt x="353" y="209"/>
                  </a:lnTo>
                  <a:lnTo>
                    <a:pt x="349" y="215"/>
                  </a:lnTo>
                  <a:lnTo>
                    <a:pt x="348" y="218"/>
                  </a:lnTo>
                  <a:lnTo>
                    <a:pt x="344" y="220"/>
                  </a:lnTo>
                  <a:lnTo>
                    <a:pt x="346" y="222"/>
                  </a:lnTo>
                  <a:lnTo>
                    <a:pt x="349" y="223"/>
                  </a:lnTo>
                  <a:lnTo>
                    <a:pt x="353" y="223"/>
                  </a:lnTo>
                  <a:lnTo>
                    <a:pt x="356" y="224"/>
                  </a:lnTo>
                  <a:lnTo>
                    <a:pt x="356" y="225"/>
                  </a:lnTo>
                  <a:lnTo>
                    <a:pt x="356" y="226"/>
                  </a:lnTo>
                  <a:lnTo>
                    <a:pt x="351" y="232"/>
                  </a:lnTo>
                  <a:lnTo>
                    <a:pt x="347" y="238"/>
                  </a:lnTo>
                  <a:lnTo>
                    <a:pt x="346" y="242"/>
                  </a:lnTo>
                  <a:lnTo>
                    <a:pt x="344" y="245"/>
                  </a:lnTo>
                  <a:lnTo>
                    <a:pt x="346" y="249"/>
                  </a:lnTo>
                  <a:lnTo>
                    <a:pt x="347" y="254"/>
                  </a:lnTo>
                  <a:lnTo>
                    <a:pt x="348" y="257"/>
                  </a:lnTo>
                  <a:lnTo>
                    <a:pt x="348" y="262"/>
                  </a:lnTo>
                  <a:lnTo>
                    <a:pt x="348" y="271"/>
                  </a:lnTo>
                  <a:lnTo>
                    <a:pt x="347" y="280"/>
                  </a:lnTo>
                  <a:lnTo>
                    <a:pt x="347" y="289"/>
                  </a:lnTo>
                  <a:lnTo>
                    <a:pt x="346" y="293"/>
                  </a:lnTo>
                  <a:lnTo>
                    <a:pt x="344" y="296"/>
                  </a:lnTo>
                  <a:lnTo>
                    <a:pt x="343" y="303"/>
                  </a:lnTo>
                  <a:lnTo>
                    <a:pt x="342" y="311"/>
                  </a:lnTo>
                  <a:lnTo>
                    <a:pt x="335" y="315"/>
                  </a:lnTo>
                  <a:lnTo>
                    <a:pt x="332" y="318"/>
                  </a:lnTo>
                  <a:lnTo>
                    <a:pt x="328" y="319"/>
                  </a:lnTo>
                  <a:lnTo>
                    <a:pt x="326" y="320"/>
                  </a:lnTo>
                  <a:lnTo>
                    <a:pt x="325" y="321"/>
                  </a:lnTo>
                  <a:lnTo>
                    <a:pt x="324" y="324"/>
                  </a:lnTo>
                  <a:lnTo>
                    <a:pt x="324" y="326"/>
                  </a:lnTo>
                  <a:lnTo>
                    <a:pt x="323" y="332"/>
                  </a:lnTo>
                  <a:lnTo>
                    <a:pt x="320" y="339"/>
                  </a:lnTo>
                  <a:lnTo>
                    <a:pt x="318" y="345"/>
                  </a:lnTo>
                  <a:lnTo>
                    <a:pt x="313" y="349"/>
                  </a:lnTo>
                  <a:lnTo>
                    <a:pt x="309" y="352"/>
                  </a:lnTo>
                  <a:lnTo>
                    <a:pt x="304" y="354"/>
                  </a:lnTo>
                  <a:lnTo>
                    <a:pt x="300" y="357"/>
                  </a:lnTo>
                  <a:lnTo>
                    <a:pt x="291" y="369"/>
                  </a:lnTo>
                  <a:lnTo>
                    <a:pt x="281" y="379"/>
                  </a:lnTo>
                  <a:lnTo>
                    <a:pt x="271" y="390"/>
                  </a:lnTo>
                  <a:lnTo>
                    <a:pt x="264" y="394"/>
                  </a:lnTo>
                  <a:lnTo>
                    <a:pt x="258" y="397"/>
                  </a:lnTo>
                  <a:lnTo>
                    <a:pt x="254" y="401"/>
                  </a:lnTo>
                  <a:lnTo>
                    <a:pt x="253" y="404"/>
                  </a:lnTo>
                  <a:lnTo>
                    <a:pt x="253" y="409"/>
                  </a:lnTo>
                  <a:lnTo>
                    <a:pt x="255" y="413"/>
                  </a:lnTo>
                  <a:lnTo>
                    <a:pt x="257" y="415"/>
                  </a:lnTo>
                  <a:lnTo>
                    <a:pt x="257" y="417"/>
                  </a:lnTo>
                  <a:lnTo>
                    <a:pt x="255" y="418"/>
                  </a:lnTo>
                  <a:lnTo>
                    <a:pt x="254" y="420"/>
                  </a:lnTo>
                  <a:lnTo>
                    <a:pt x="241" y="427"/>
                  </a:lnTo>
                  <a:lnTo>
                    <a:pt x="229" y="434"/>
                  </a:lnTo>
                  <a:lnTo>
                    <a:pt x="226" y="435"/>
                  </a:lnTo>
                  <a:lnTo>
                    <a:pt x="222" y="436"/>
                  </a:lnTo>
                  <a:lnTo>
                    <a:pt x="219" y="437"/>
                  </a:lnTo>
                  <a:lnTo>
                    <a:pt x="216" y="440"/>
                  </a:lnTo>
                  <a:lnTo>
                    <a:pt x="215" y="442"/>
                  </a:lnTo>
                  <a:lnTo>
                    <a:pt x="215" y="443"/>
                  </a:lnTo>
                  <a:lnTo>
                    <a:pt x="216" y="447"/>
                  </a:lnTo>
                  <a:lnTo>
                    <a:pt x="215" y="453"/>
                  </a:lnTo>
                  <a:lnTo>
                    <a:pt x="213" y="459"/>
                  </a:lnTo>
                  <a:lnTo>
                    <a:pt x="212" y="465"/>
                  </a:lnTo>
                  <a:lnTo>
                    <a:pt x="213" y="471"/>
                  </a:lnTo>
                  <a:lnTo>
                    <a:pt x="212" y="472"/>
                  </a:lnTo>
                  <a:lnTo>
                    <a:pt x="211" y="473"/>
                  </a:lnTo>
                  <a:lnTo>
                    <a:pt x="212" y="477"/>
                  </a:lnTo>
                  <a:lnTo>
                    <a:pt x="213" y="480"/>
                  </a:lnTo>
                  <a:lnTo>
                    <a:pt x="215" y="484"/>
                  </a:lnTo>
                  <a:lnTo>
                    <a:pt x="215" y="487"/>
                  </a:lnTo>
                  <a:lnTo>
                    <a:pt x="213" y="493"/>
                  </a:lnTo>
                  <a:lnTo>
                    <a:pt x="210" y="499"/>
                  </a:lnTo>
                  <a:lnTo>
                    <a:pt x="205" y="512"/>
                  </a:lnTo>
                  <a:lnTo>
                    <a:pt x="203" y="518"/>
                  </a:lnTo>
                  <a:lnTo>
                    <a:pt x="202" y="524"/>
                  </a:lnTo>
                  <a:lnTo>
                    <a:pt x="203" y="530"/>
                  </a:lnTo>
                  <a:lnTo>
                    <a:pt x="206" y="537"/>
                  </a:lnTo>
                  <a:lnTo>
                    <a:pt x="206" y="538"/>
                  </a:lnTo>
                  <a:lnTo>
                    <a:pt x="206" y="539"/>
                  </a:lnTo>
                  <a:lnTo>
                    <a:pt x="202" y="541"/>
                  </a:lnTo>
                  <a:lnTo>
                    <a:pt x="198" y="542"/>
                  </a:lnTo>
                  <a:lnTo>
                    <a:pt x="194" y="543"/>
                  </a:lnTo>
                  <a:lnTo>
                    <a:pt x="193" y="545"/>
                  </a:lnTo>
                  <a:lnTo>
                    <a:pt x="192" y="549"/>
                  </a:lnTo>
                  <a:lnTo>
                    <a:pt x="191" y="555"/>
                  </a:lnTo>
                  <a:lnTo>
                    <a:pt x="188" y="562"/>
                  </a:lnTo>
                  <a:lnTo>
                    <a:pt x="187" y="563"/>
                  </a:lnTo>
                  <a:lnTo>
                    <a:pt x="184" y="563"/>
                  </a:lnTo>
                  <a:lnTo>
                    <a:pt x="182" y="563"/>
                  </a:lnTo>
                  <a:lnTo>
                    <a:pt x="179" y="565"/>
                  </a:lnTo>
                  <a:lnTo>
                    <a:pt x="177" y="569"/>
                  </a:lnTo>
                  <a:lnTo>
                    <a:pt x="174" y="574"/>
                  </a:lnTo>
                  <a:lnTo>
                    <a:pt x="172" y="579"/>
                  </a:lnTo>
                  <a:lnTo>
                    <a:pt x="166" y="582"/>
                  </a:lnTo>
                  <a:lnTo>
                    <a:pt x="163" y="583"/>
                  </a:lnTo>
                  <a:lnTo>
                    <a:pt x="160" y="582"/>
                  </a:lnTo>
                  <a:lnTo>
                    <a:pt x="156" y="580"/>
                  </a:lnTo>
                  <a:lnTo>
                    <a:pt x="154" y="577"/>
                  </a:lnTo>
                  <a:lnTo>
                    <a:pt x="151" y="573"/>
                  </a:lnTo>
                  <a:lnTo>
                    <a:pt x="149" y="567"/>
                  </a:lnTo>
                  <a:lnTo>
                    <a:pt x="146" y="562"/>
                  </a:lnTo>
                  <a:lnTo>
                    <a:pt x="144" y="557"/>
                  </a:lnTo>
                  <a:lnTo>
                    <a:pt x="144" y="552"/>
                  </a:lnTo>
                  <a:lnTo>
                    <a:pt x="144" y="548"/>
                  </a:lnTo>
                  <a:lnTo>
                    <a:pt x="142" y="542"/>
                  </a:lnTo>
                  <a:lnTo>
                    <a:pt x="141" y="537"/>
                  </a:lnTo>
                  <a:lnTo>
                    <a:pt x="127" y="505"/>
                  </a:lnTo>
                  <a:lnTo>
                    <a:pt x="121" y="488"/>
                  </a:lnTo>
                  <a:lnTo>
                    <a:pt x="114" y="471"/>
                  </a:lnTo>
                  <a:lnTo>
                    <a:pt x="112" y="462"/>
                  </a:lnTo>
                  <a:lnTo>
                    <a:pt x="107" y="455"/>
                  </a:lnTo>
                  <a:lnTo>
                    <a:pt x="104" y="450"/>
                  </a:lnTo>
                  <a:lnTo>
                    <a:pt x="102" y="446"/>
                  </a:lnTo>
                  <a:lnTo>
                    <a:pt x="99" y="434"/>
                  </a:lnTo>
                  <a:lnTo>
                    <a:pt x="98" y="423"/>
                  </a:lnTo>
                  <a:lnTo>
                    <a:pt x="97" y="411"/>
                  </a:lnTo>
                  <a:lnTo>
                    <a:pt x="94" y="405"/>
                  </a:lnTo>
                  <a:lnTo>
                    <a:pt x="92" y="400"/>
                  </a:lnTo>
                  <a:lnTo>
                    <a:pt x="92" y="397"/>
                  </a:lnTo>
                  <a:lnTo>
                    <a:pt x="92" y="392"/>
                  </a:lnTo>
                  <a:lnTo>
                    <a:pt x="85" y="376"/>
                  </a:lnTo>
                  <a:lnTo>
                    <a:pt x="83" y="359"/>
                  </a:lnTo>
                  <a:lnTo>
                    <a:pt x="83" y="351"/>
                  </a:lnTo>
                  <a:lnTo>
                    <a:pt x="83" y="343"/>
                  </a:lnTo>
                  <a:lnTo>
                    <a:pt x="84" y="334"/>
                  </a:lnTo>
                  <a:lnTo>
                    <a:pt x="86" y="326"/>
                  </a:lnTo>
                  <a:lnTo>
                    <a:pt x="86" y="322"/>
                  </a:lnTo>
                  <a:lnTo>
                    <a:pt x="85" y="320"/>
                  </a:lnTo>
                  <a:lnTo>
                    <a:pt x="80" y="315"/>
                  </a:lnTo>
                  <a:lnTo>
                    <a:pt x="80" y="313"/>
                  </a:lnTo>
                  <a:lnTo>
                    <a:pt x="80" y="311"/>
                  </a:lnTo>
                  <a:lnTo>
                    <a:pt x="83" y="303"/>
                  </a:lnTo>
                  <a:lnTo>
                    <a:pt x="84" y="300"/>
                  </a:lnTo>
                  <a:lnTo>
                    <a:pt x="84" y="296"/>
                  </a:lnTo>
                  <a:lnTo>
                    <a:pt x="81" y="298"/>
                  </a:lnTo>
                  <a:lnTo>
                    <a:pt x="80" y="299"/>
                  </a:lnTo>
                  <a:lnTo>
                    <a:pt x="78" y="308"/>
                  </a:lnTo>
                  <a:lnTo>
                    <a:pt x="73" y="318"/>
                  </a:lnTo>
                  <a:lnTo>
                    <a:pt x="69" y="321"/>
                  </a:lnTo>
                  <a:lnTo>
                    <a:pt x="66" y="324"/>
                  </a:lnTo>
                  <a:lnTo>
                    <a:pt x="61" y="326"/>
                  </a:lnTo>
                  <a:lnTo>
                    <a:pt x="56" y="327"/>
                  </a:lnTo>
                  <a:lnTo>
                    <a:pt x="47" y="327"/>
                  </a:lnTo>
                  <a:lnTo>
                    <a:pt x="41" y="326"/>
                  </a:lnTo>
                  <a:lnTo>
                    <a:pt x="37" y="325"/>
                  </a:lnTo>
                  <a:lnTo>
                    <a:pt x="34" y="321"/>
                  </a:lnTo>
                  <a:lnTo>
                    <a:pt x="32" y="319"/>
                  </a:lnTo>
                  <a:lnTo>
                    <a:pt x="31" y="314"/>
                  </a:lnTo>
                  <a:lnTo>
                    <a:pt x="29" y="313"/>
                  </a:lnTo>
                  <a:lnTo>
                    <a:pt x="27" y="313"/>
                  </a:lnTo>
                  <a:lnTo>
                    <a:pt x="26" y="311"/>
                  </a:lnTo>
                  <a:lnTo>
                    <a:pt x="23" y="308"/>
                  </a:lnTo>
                  <a:lnTo>
                    <a:pt x="22" y="306"/>
                  </a:lnTo>
                  <a:lnTo>
                    <a:pt x="22" y="303"/>
                  </a:lnTo>
                  <a:lnTo>
                    <a:pt x="23" y="300"/>
                  </a:lnTo>
                  <a:lnTo>
                    <a:pt x="26" y="299"/>
                  </a:lnTo>
                  <a:lnTo>
                    <a:pt x="29" y="298"/>
                  </a:lnTo>
                  <a:lnTo>
                    <a:pt x="34" y="298"/>
                  </a:lnTo>
                  <a:lnTo>
                    <a:pt x="38" y="295"/>
                  </a:lnTo>
                  <a:lnTo>
                    <a:pt x="46" y="293"/>
                  </a:lnTo>
                  <a:lnTo>
                    <a:pt x="48" y="290"/>
                  </a:lnTo>
                  <a:lnTo>
                    <a:pt x="51" y="287"/>
                  </a:lnTo>
                  <a:lnTo>
                    <a:pt x="48" y="287"/>
                  </a:lnTo>
                  <a:lnTo>
                    <a:pt x="46" y="286"/>
                  </a:lnTo>
                  <a:lnTo>
                    <a:pt x="41" y="287"/>
                  </a:lnTo>
                  <a:lnTo>
                    <a:pt x="34" y="288"/>
                  </a:lnTo>
                  <a:lnTo>
                    <a:pt x="28" y="289"/>
                  </a:lnTo>
                  <a:lnTo>
                    <a:pt x="26" y="288"/>
                  </a:lnTo>
                  <a:lnTo>
                    <a:pt x="22" y="286"/>
                  </a:lnTo>
                  <a:lnTo>
                    <a:pt x="18" y="283"/>
                  </a:lnTo>
                  <a:lnTo>
                    <a:pt x="15" y="282"/>
                  </a:lnTo>
                  <a:lnTo>
                    <a:pt x="9" y="282"/>
                  </a:lnTo>
                  <a:lnTo>
                    <a:pt x="4" y="282"/>
                  </a:lnTo>
                  <a:lnTo>
                    <a:pt x="1" y="281"/>
                  </a:lnTo>
                  <a:lnTo>
                    <a:pt x="0" y="279"/>
                  </a:lnTo>
                  <a:lnTo>
                    <a:pt x="5" y="276"/>
                  </a:lnTo>
                  <a:lnTo>
                    <a:pt x="10" y="274"/>
                  </a:lnTo>
                  <a:lnTo>
                    <a:pt x="15" y="270"/>
                  </a:lnTo>
                  <a:lnTo>
                    <a:pt x="18" y="266"/>
                  </a:lnTo>
                  <a:lnTo>
                    <a:pt x="19" y="262"/>
                  </a:lnTo>
                  <a:lnTo>
                    <a:pt x="20" y="260"/>
                  </a:lnTo>
                  <a:lnTo>
                    <a:pt x="23" y="257"/>
                  </a:lnTo>
                  <a:lnTo>
                    <a:pt x="26" y="256"/>
                  </a:lnTo>
                  <a:lnTo>
                    <a:pt x="32" y="256"/>
                  </a:lnTo>
                  <a:lnTo>
                    <a:pt x="40" y="257"/>
                  </a:lnTo>
                  <a:lnTo>
                    <a:pt x="53" y="258"/>
                  </a:lnTo>
                  <a:lnTo>
                    <a:pt x="55" y="251"/>
                  </a:lnTo>
                  <a:lnTo>
                    <a:pt x="57" y="245"/>
                  </a:lnTo>
                  <a:lnTo>
                    <a:pt x="57" y="238"/>
                  </a:lnTo>
                  <a:lnTo>
                    <a:pt x="56" y="236"/>
                  </a:lnTo>
                  <a:lnTo>
                    <a:pt x="53" y="234"/>
                  </a:lnTo>
                  <a:lnTo>
                    <a:pt x="48" y="229"/>
                  </a:lnTo>
                  <a:lnTo>
                    <a:pt x="47" y="226"/>
                  </a:lnTo>
                  <a:lnTo>
                    <a:pt x="45" y="224"/>
                  </a:lnTo>
                  <a:lnTo>
                    <a:pt x="45" y="218"/>
                  </a:lnTo>
                  <a:lnTo>
                    <a:pt x="43" y="215"/>
                  </a:lnTo>
                  <a:lnTo>
                    <a:pt x="42" y="212"/>
                  </a:lnTo>
                  <a:lnTo>
                    <a:pt x="41" y="210"/>
                  </a:lnTo>
                  <a:lnTo>
                    <a:pt x="38" y="209"/>
                  </a:lnTo>
                  <a:lnTo>
                    <a:pt x="36" y="207"/>
                  </a:lnTo>
                  <a:lnTo>
                    <a:pt x="33" y="206"/>
                  </a:lnTo>
                  <a:lnTo>
                    <a:pt x="33" y="204"/>
                  </a:lnTo>
                  <a:lnTo>
                    <a:pt x="33" y="203"/>
                  </a:lnTo>
                  <a:lnTo>
                    <a:pt x="36" y="200"/>
                  </a:lnTo>
                  <a:lnTo>
                    <a:pt x="38" y="198"/>
                  </a:lnTo>
                  <a:lnTo>
                    <a:pt x="41" y="196"/>
                  </a:lnTo>
                  <a:lnTo>
                    <a:pt x="45" y="192"/>
                  </a:lnTo>
                  <a:lnTo>
                    <a:pt x="47" y="188"/>
                  </a:lnTo>
                  <a:lnTo>
                    <a:pt x="51" y="187"/>
                  </a:lnTo>
                  <a:lnTo>
                    <a:pt x="55" y="187"/>
                  </a:lnTo>
                  <a:lnTo>
                    <a:pt x="60" y="188"/>
                  </a:lnTo>
                  <a:lnTo>
                    <a:pt x="65" y="187"/>
                  </a:lnTo>
                  <a:lnTo>
                    <a:pt x="67" y="186"/>
                  </a:lnTo>
                  <a:lnTo>
                    <a:pt x="70" y="183"/>
                  </a:lnTo>
                  <a:lnTo>
                    <a:pt x="76" y="173"/>
                  </a:lnTo>
                  <a:lnTo>
                    <a:pt x="83" y="166"/>
                  </a:lnTo>
                  <a:lnTo>
                    <a:pt x="90" y="158"/>
                  </a:lnTo>
                  <a:lnTo>
                    <a:pt x="95" y="149"/>
                  </a:lnTo>
                  <a:lnTo>
                    <a:pt x="102" y="139"/>
                  </a:lnTo>
                  <a:lnTo>
                    <a:pt x="109" y="128"/>
                  </a:lnTo>
                  <a:lnTo>
                    <a:pt x="113" y="124"/>
                  </a:lnTo>
                  <a:lnTo>
                    <a:pt x="116" y="121"/>
                  </a:lnTo>
                  <a:lnTo>
                    <a:pt x="118" y="117"/>
                  </a:lnTo>
                  <a:lnTo>
                    <a:pt x="117" y="113"/>
                  </a:lnTo>
                  <a:lnTo>
                    <a:pt x="116" y="109"/>
                  </a:lnTo>
                  <a:lnTo>
                    <a:pt x="116" y="105"/>
                  </a:lnTo>
                  <a:lnTo>
                    <a:pt x="117" y="102"/>
                  </a:lnTo>
                  <a:lnTo>
                    <a:pt x="120" y="98"/>
                  </a:lnTo>
                  <a:lnTo>
                    <a:pt x="120" y="96"/>
                  </a:lnTo>
                  <a:lnTo>
                    <a:pt x="120" y="94"/>
                  </a:lnTo>
                  <a:lnTo>
                    <a:pt x="114" y="89"/>
                  </a:lnTo>
                  <a:lnTo>
                    <a:pt x="114" y="87"/>
                  </a:lnTo>
                  <a:lnTo>
                    <a:pt x="114" y="83"/>
                  </a:lnTo>
                  <a:lnTo>
                    <a:pt x="117" y="77"/>
                  </a:lnTo>
                  <a:lnTo>
                    <a:pt x="117" y="71"/>
                  </a:lnTo>
                  <a:lnTo>
                    <a:pt x="117" y="65"/>
                  </a:lnTo>
                  <a:lnTo>
                    <a:pt x="114" y="58"/>
                  </a:lnTo>
                  <a:lnTo>
                    <a:pt x="113" y="57"/>
                  </a:lnTo>
                  <a:lnTo>
                    <a:pt x="113" y="55"/>
                  </a:lnTo>
                  <a:lnTo>
                    <a:pt x="114" y="50"/>
                  </a:lnTo>
                  <a:lnTo>
                    <a:pt x="118" y="45"/>
                  </a:lnTo>
                  <a:lnTo>
                    <a:pt x="122" y="41"/>
                  </a:lnTo>
                  <a:lnTo>
                    <a:pt x="125" y="40"/>
                  </a:lnTo>
                  <a:lnTo>
                    <a:pt x="127" y="40"/>
                  </a:lnTo>
                  <a:lnTo>
                    <a:pt x="133" y="41"/>
                  </a:lnTo>
                  <a:lnTo>
                    <a:pt x="139" y="45"/>
                  </a:lnTo>
                  <a:lnTo>
                    <a:pt x="142" y="49"/>
                  </a:lnTo>
                  <a:lnTo>
                    <a:pt x="147" y="51"/>
                  </a:lnTo>
                  <a:lnTo>
                    <a:pt x="153" y="52"/>
                  </a:lnTo>
                  <a:lnTo>
                    <a:pt x="158" y="51"/>
                  </a:lnTo>
                  <a:lnTo>
                    <a:pt x="161" y="49"/>
                  </a:lnTo>
                  <a:lnTo>
                    <a:pt x="168" y="40"/>
                  </a:lnTo>
                  <a:lnTo>
                    <a:pt x="170" y="36"/>
                  </a:lnTo>
                  <a:lnTo>
                    <a:pt x="172" y="31"/>
                  </a:lnTo>
                  <a:lnTo>
                    <a:pt x="173" y="26"/>
                  </a:lnTo>
                  <a:lnTo>
                    <a:pt x="173" y="21"/>
                  </a:lnTo>
                  <a:lnTo>
                    <a:pt x="170" y="18"/>
                  </a:lnTo>
                  <a:lnTo>
                    <a:pt x="166" y="14"/>
                  </a:lnTo>
                  <a:lnTo>
                    <a:pt x="160" y="11"/>
                  </a:lnTo>
                  <a:lnTo>
                    <a:pt x="156" y="7"/>
                  </a:lnTo>
                  <a:lnTo>
                    <a:pt x="154" y="4"/>
                  </a:lnTo>
                  <a:lnTo>
                    <a:pt x="151" y="0"/>
                  </a:lnTo>
                  <a:lnTo>
                    <a:pt x="163" y="5"/>
                  </a:lnTo>
                  <a:lnTo>
                    <a:pt x="174" y="7"/>
                  </a:lnTo>
                  <a:lnTo>
                    <a:pt x="198" y="9"/>
                  </a:lnTo>
                  <a:lnTo>
                    <a:pt x="207" y="9"/>
                  </a:lnTo>
                  <a:lnTo>
                    <a:pt x="210" y="12"/>
                  </a:lnTo>
                  <a:lnTo>
                    <a:pt x="212" y="14"/>
                  </a:lnTo>
                  <a:lnTo>
                    <a:pt x="213" y="19"/>
                  </a:lnTo>
                  <a:lnTo>
                    <a:pt x="213" y="24"/>
                  </a:lnTo>
                  <a:lnTo>
                    <a:pt x="211" y="27"/>
                  </a:lnTo>
                  <a:lnTo>
                    <a:pt x="208" y="32"/>
                  </a:lnTo>
                  <a:lnTo>
                    <a:pt x="202" y="39"/>
                  </a:lnTo>
                  <a:lnTo>
                    <a:pt x="196" y="47"/>
                  </a:lnTo>
                  <a:lnTo>
                    <a:pt x="194" y="52"/>
                  </a:lnTo>
                  <a:lnTo>
                    <a:pt x="194" y="55"/>
                  </a:lnTo>
                  <a:lnTo>
                    <a:pt x="196" y="57"/>
                  </a:lnTo>
                  <a:lnTo>
                    <a:pt x="201" y="64"/>
                  </a:lnTo>
                  <a:lnTo>
                    <a:pt x="203" y="70"/>
                  </a:lnTo>
                  <a:lnTo>
                    <a:pt x="203" y="77"/>
                  </a:lnTo>
                  <a:lnTo>
                    <a:pt x="202" y="84"/>
                  </a:lnTo>
                  <a:lnTo>
                    <a:pt x="201" y="88"/>
                  </a:lnTo>
                  <a:lnTo>
                    <a:pt x="198" y="90"/>
                  </a:lnTo>
                  <a:lnTo>
                    <a:pt x="194" y="92"/>
                  </a:lnTo>
                  <a:lnTo>
                    <a:pt x="192" y="96"/>
                  </a:lnTo>
                  <a:lnTo>
                    <a:pt x="191" y="100"/>
                  </a:lnTo>
                  <a:lnTo>
                    <a:pt x="189" y="103"/>
                  </a:lnTo>
                  <a:lnTo>
                    <a:pt x="191" y="109"/>
                  </a:lnTo>
                  <a:lnTo>
                    <a:pt x="192" y="113"/>
                  </a:lnTo>
                  <a:lnTo>
                    <a:pt x="193" y="115"/>
                  </a:lnTo>
                  <a:lnTo>
                    <a:pt x="196" y="116"/>
                  </a:lnTo>
                  <a:lnTo>
                    <a:pt x="200" y="117"/>
                  </a:lnTo>
                  <a:lnTo>
                    <a:pt x="208" y="120"/>
                  </a:lnTo>
                  <a:lnTo>
                    <a:pt x="216" y="122"/>
                  </a:lnTo>
                  <a:lnTo>
                    <a:pt x="219" y="124"/>
                  </a:lnTo>
                  <a:lnTo>
                    <a:pt x="221" y="128"/>
                  </a:lnTo>
                  <a:lnTo>
                    <a:pt x="224" y="132"/>
                  </a:lnTo>
                  <a:lnTo>
                    <a:pt x="227" y="13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7" name="Freeform 626"/>
            <p:cNvSpPr>
              <a:spLocks/>
            </p:cNvSpPr>
            <p:nvPr/>
          </p:nvSpPr>
          <p:spPr bwMode="auto">
            <a:xfrm>
              <a:off x="6561142" y="3562353"/>
              <a:ext cx="128587" cy="180975"/>
            </a:xfrm>
            <a:custGeom>
              <a:avLst/>
              <a:gdLst>
                <a:gd name="T0" fmla="*/ 2147483647 w 88"/>
                <a:gd name="T1" fmla="*/ 2147483647 h 114"/>
                <a:gd name="T2" fmla="*/ 2147483647 w 88"/>
                <a:gd name="T3" fmla="*/ 2147483647 h 114"/>
                <a:gd name="T4" fmla="*/ 2147483647 w 88"/>
                <a:gd name="T5" fmla="*/ 2147483647 h 114"/>
                <a:gd name="T6" fmla="*/ 2147483647 w 88"/>
                <a:gd name="T7" fmla="*/ 2147483647 h 114"/>
                <a:gd name="T8" fmla="*/ 2147483647 w 88"/>
                <a:gd name="T9" fmla="*/ 2147483647 h 114"/>
                <a:gd name="T10" fmla="*/ 2147483647 w 88"/>
                <a:gd name="T11" fmla="*/ 2147483647 h 114"/>
                <a:gd name="T12" fmla="*/ 2147483647 w 88"/>
                <a:gd name="T13" fmla="*/ 2147483647 h 114"/>
                <a:gd name="T14" fmla="*/ 2147483647 w 88"/>
                <a:gd name="T15" fmla="*/ 2147483647 h 114"/>
                <a:gd name="T16" fmla="*/ 2147483647 w 88"/>
                <a:gd name="T17" fmla="*/ 2147483647 h 114"/>
                <a:gd name="T18" fmla="*/ 2147483647 w 88"/>
                <a:gd name="T19" fmla="*/ 2147483647 h 114"/>
                <a:gd name="T20" fmla="*/ 2147483647 w 88"/>
                <a:gd name="T21" fmla="*/ 2147483647 h 114"/>
                <a:gd name="T22" fmla="*/ 2147483647 w 88"/>
                <a:gd name="T23" fmla="*/ 2147483647 h 114"/>
                <a:gd name="T24" fmla="*/ 2147483647 w 88"/>
                <a:gd name="T25" fmla="*/ 2147483647 h 114"/>
                <a:gd name="T26" fmla="*/ 2147483647 w 88"/>
                <a:gd name="T27" fmla="*/ 2147483647 h 114"/>
                <a:gd name="T28" fmla="*/ 2147483647 w 88"/>
                <a:gd name="T29" fmla="*/ 2147483647 h 114"/>
                <a:gd name="T30" fmla="*/ 2147483647 w 88"/>
                <a:gd name="T31" fmla="*/ 2147483647 h 114"/>
                <a:gd name="T32" fmla="*/ 2147483647 w 88"/>
                <a:gd name="T33" fmla="*/ 2147483647 h 114"/>
                <a:gd name="T34" fmla="*/ 2147483647 w 88"/>
                <a:gd name="T35" fmla="*/ 2147483647 h 114"/>
                <a:gd name="T36" fmla="*/ 2147483647 w 88"/>
                <a:gd name="T37" fmla="*/ 2147483647 h 114"/>
                <a:gd name="T38" fmla="*/ 2147483647 w 88"/>
                <a:gd name="T39" fmla="*/ 2147483647 h 114"/>
                <a:gd name="T40" fmla="*/ 2147483647 w 88"/>
                <a:gd name="T41" fmla="*/ 2147483647 h 114"/>
                <a:gd name="T42" fmla="*/ 0 w 88"/>
                <a:gd name="T43" fmla="*/ 2147483647 h 114"/>
                <a:gd name="T44" fmla="*/ 2147483647 w 88"/>
                <a:gd name="T45" fmla="*/ 2147483647 h 114"/>
                <a:gd name="T46" fmla="*/ 2147483647 w 88"/>
                <a:gd name="T47" fmla="*/ 2147483647 h 114"/>
                <a:gd name="T48" fmla="*/ 2147483647 w 88"/>
                <a:gd name="T49" fmla="*/ 2147483647 h 114"/>
                <a:gd name="T50" fmla="*/ 2147483647 w 88"/>
                <a:gd name="T51" fmla="*/ 2147483647 h 114"/>
                <a:gd name="T52" fmla="*/ 2147483647 w 88"/>
                <a:gd name="T53" fmla="*/ 2147483647 h 114"/>
                <a:gd name="T54" fmla="*/ 2147483647 w 88"/>
                <a:gd name="T55" fmla="*/ 2147483647 h 114"/>
                <a:gd name="T56" fmla="*/ 2147483647 w 88"/>
                <a:gd name="T57" fmla="*/ 2147483647 h 114"/>
                <a:gd name="T58" fmla="*/ 2147483647 w 88"/>
                <a:gd name="T59" fmla="*/ 2147483647 h 114"/>
                <a:gd name="T60" fmla="*/ 2147483647 w 88"/>
                <a:gd name="T61" fmla="*/ 2147483647 h 114"/>
                <a:gd name="T62" fmla="*/ 2147483647 w 88"/>
                <a:gd name="T63" fmla="*/ 2147483647 h 114"/>
                <a:gd name="T64" fmla="*/ 2147483647 w 88"/>
                <a:gd name="T65" fmla="*/ 2147483647 h 114"/>
                <a:gd name="T66" fmla="*/ 2147483647 w 88"/>
                <a:gd name="T67" fmla="*/ 2147483647 h 114"/>
                <a:gd name="T68" fmla="*/ 2147483647 w 88"/>
                <a:gd name="T69" fmla="*/ 2147483647 h 114"/>
                <a:gd name="T70" fmla="*/ 2147483647 w 88"/>
                <a:gd name="T71" fmla="*/ 2147483647 h 114"/>
                <a:gd name="T72" fmla="*/ 2147483647 w 88"/>
                <a:gd name="T73" fmla="*/ 2147483647 h 114"/>
                <a:gd name="T74" fmla="*/ 2147483647 w 88"/>
                <a:gd name="T75" fmla="*/ 2147483647 h 114"/>
                <a:gd name="T76" fmla="*/ 2147483647 w 88"/>
                <a:gd name="T77" fmla="*/ 0 h 114"/>
                <a:gd name="T78" fmla="*/ 2147483647 w 88"/>
                <a:gd name="T79" fmla="*/ 2147483647 h 114"/>
                <a:gd name="T80" fmla="*/ 2147483647 w 88"/>
                <a:gd name="T81" fmla="*/ 2147483647 h 114"/>
                <a:gd name="T82" fmla="*/ 2147483647 w 88"/>
                <a:gd name="T83" fmla="*/ 2147483647 h 114"/>
                <a:gd name="T84" fmla="*/ 2147483647 w 88"/>
                <a:gd name="T85" fmla="*/ 2147483647 h 114"/>
                <a:gd name="T86" fmla="*/ 2147483647 w 88"/>
                <a:gd name="T87" fmla="*/ 2147483647 h 114"/>
                <a:gd name="T88" fmla="*/ 2147483647 w 88"/>
                <a:gd name="T89" fmla="*/ 2147483647 h 114"/>
                <a:gd name="T90" fmla="*/ 2147483647 w 88"/>
                <a:gd name="T91" fmla="*/ 2147483647 h 114"/>
                <a:gd name="T92" fmla="*/ 2147483647 w 88"/>
                <a:gd name="T93" fmla="*/ 2147483647 h 114"/>
                <a:gd name="T94" fmla="*/ 2147483647 w 88"/>
                <a:gd name="T95" fmla="*/ 2147483647 h 114"/>
                <a:gd name="T96" fmla="*/ 2147483647 w 88"/>
                <a:gd name="T97" fmla="*/ 2147483647 h 114"/>
                <a:gd name="T98" fmla="*/ 2147483647 w 88"/>
                <a:gd name="T99" fmla="*/ 2147483647 h 114"/>
                <a:gd name="T100" fmla="*/ 2147483647 w 88"/>
                <a:gd name="T101" fmla="*/ 2147483647 h 114"/>
                <a:gd name="T102" fmla="*/ 2147483647 w 88"/>
                <a:gd name="T103" fmla="*/ 2147483647 h 114"/>
                <a:gd name="T104" fmla="*/ 2147483647 w 88"/>
                <a:gd name="T105" fmla="*/ 2147483647 h 114"/>
                <a:gd name="T106" fmla="*/ 2147483647 w 88"/>
                <a:gd name="T107" fmla="*/ 2147483647 h 114"/>
                <a:gd name="T108" fmla="*/ 2147483647 w 88"/>
                <a:gd name="T109" fmla="*/ 2147483647 h 114"/>
                <a:gd name="T110" fmla="*/ 2147483647 w 88"/>
                <a:gd name="T111" fmla="*/ 2147483647 h 114"/>
                <a:gd name="T112" fmla="*/ 2147483647 w 88"/>
                <a:gd name="T113" fmla="*/ 2147483647 h 114"/>
                <a:gd name="T114" fmla="*/ 2147483647 w 88"/>
                <a:gd name="T115" fmla="*/ 2147483647 h 114"/>
                <a:gd name="T116" fmla="*/ 2147483647 w 88"/>
                <a:gd name="T117" fmla="*/ 2147483647 h 1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114"/>
                <a:gd name="T179" fmla="*/ 88 w 88"/>
                <a:gd name="T180" fmla="*/ 114 h 1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114">
                  <a:moveTo>
                    <a:pt x="75" y="95"/>
                  </a:moveTo>
                  <a:lnTo>
                    <a:pt x="75" y="95"/>
                  </a:lnTo>
                  <a:lnTo>
                    <a:pt x="77" y="99"/>
                  </a:lnTo>
                  <a:lnTo>
                    <a:pt x="75" y="101"/>
                  </a:lnTo>
                  <a:lnTo>
                    <a:pt x="74" y="103"/>
                  </a:lnTo>
                  <a:lnTo>
                    <a:pt x="74" y="106"/>
                  </a:lnTo>
                  <a:lnTo>
                    <a:pt x="73" y="111"/>
                  </a:lnTo>
                  <a:lnTo>
                    <a:pt x="72" y="112"/>
                  </a:lnTo>
                  <a:lnTo>
                    <a:pt x="72" y="114"/>
                  </a:lnTo>
                  <a:lnTo>
                    <a:pt x="68" y="109"/>
                  </a:lnTo>
                  <a:lnTo>
                    <a:pt x="65" y="107"/>
                  </a:lnTo>
                  <a:lnTo>
                    <a:pt x="64" y="105"/>
                  </a:lnTo>
                  <a:lnTo>
                    <a:pt x="61" y="93"/>
                  </a:lnTo>
                  <a:lnTo>
                    <a:pt x="60" y="87"/>
                  </a:lnTo>
                  <a:lnTo>
                    <a:pt x="58" y="81"/>
                  </a:lnTo>
                  <a:lnTo>
                    <a:pt x="55" y="80"/>
                  </a:lnTo>
                  <a:lnTo>
                    <a:pt x="53" y="80"/>
                  </a:lnTo>
                  <a:lnTo>
                    <a:pt x="50" y="79"/>
                  </a:lnTo>
                  <a:lnTo>
                    <a:pt x="47" y="76"/>
                  </a:lnTo>
                  <a:lnTo>
                    <a:pt x="44" y="81"/>
                  </a:lnTo>
                  <a:lnTo>
                    <a:pt x="41" y="87"/>
                  </a:lnTo>
                  <a:lnTo>
                    <a:pt x="40" y="93"/>
                  </a:lnTo>
                  <a:lnTo>
                    <a:pt x="40" y="99"/>
                  </a:lnTo>
                  <a:lnTo>
                    <a:pt x="39" y="101"/>
                  </a:lnTo>
                  <a:lnTo>
                    <a:pt x="36" y="102"/>
                  </a:lnTo>
                  <a:lnTo>
                    <a:pt x="25" y="107"/>
                  </a:lnTo>
                  <a:lnTo>
                    <a:pt x="14" y="112"/>
                  </a:lnTo>
                  <a:lnTo>
                    <a:pt x="9" y="113"/>
                  </a:lnTo>
                  <a:lnTo>
                    <a:pt x="7" y="112"/>
                  </a:lnTo>
                  <a:lnTo>
                    <a:pt x="4" y="108"/>
                  </a:lnTo>
                  <a:lnTo>
                    <a:pt x="3" y="103"/>
                  </a:lnTo>
                  <a:lnTo>
                    <a:pt x="2" y="102"/>
                  </a:lnTo>
                  <a:lnTo>
                    <a:pt x="0" y="103"/>
                  </a:lnTo>
                  <a:lnTo>
                    <a:pt x="2" y="96"/>
                  </a:lnTo>
                  <a:lnTo>
                    <a:pt x="3" y="89"/>
                  </a:lnTo>
                  <a:lnTo>
                    <a:pt x="4" y="86"/>
                  </a:lnTo>
                  <a:lnTo>
                    <a:pt x="6" y="82"/>
                  </a:lnTo>
                  <a:lnTo>
                    <a:pt x="6" y="73"/>
                  </a:lnTo>
                  <a:lnTo>
                    <a:pt x="7" y="64"/>
                  </a:lnTo>
                  <a:lnTo>
                    <a:pt x="7" y="55"/>
                  </a:lnTo>
                  <a:lnTo>
                    <a:pt x="7" y="50"/>
                  </a:lnTo>
                  <a:lnTo>
                    <a:pt x="6" y="46"/>
                  </a:lnTo>
                  <a:lnTo>
                    <a:pt x="4" y="42"/>
                  </a:lnTo>
                  <a:lnTo>
                    <a:pt x="3" y="38"/>
                  </a:lnTo>
                  <a:lnTo>
                    <a:pt x="4" y="35"/>
                  </a:lnTo>
                  <a:lnTo>
                    <a:pt x="6" y="31"/>
                  </a:lnTo>
                  <a:lnTo>
                    <a:pt x="9" y="25"/>
                  </a:lnTo>
                  <a:lnTo>
                    <a:pt x="14" y="19"/>
                  </a:lnTo>
                  <a:lnTo>
                    <a:pt x="14" y="18"/>
                  </a:lnTo>
                  <a:lnTo>
                    <a:pt x="14" y="17"/>
                  </a:lnTo>
                  <a:lnTo>
                    <a:pt x="12" y="16"/>
                  </a:lnTo>
                  <a:lnTo>
                    <a:pt x="8" y="16"/>
                  </a:lnTo>
                  <a:lnTo>
                    <a:pt x="4" y="14"/>
                  </a:lnTo>
                  <a:lnTo>
                    <a:pt x="3" y="13"/>
                  </a:lnTo>
                  <a:lnTo>
                    <a:pt x="7" y="11"/>
                  </a:lnTo>
                  <a:lnTo>
                    <a:pt x="8" y="7"/>
                  </a:lnTo>
                  <a:lnTo>
                    <a:pt x="12" y="1"/>
                  </a:lnTo>
                  <a:lnTo>
                    <a:pt x="13" y="0"/>
                  </a:lnTo>
                  <a:lnTo>
                    <a:pt x="14" y="0"/>
                  </a:lnTo>
                  <a:lnTo>
                    <a:pt x="18" y="1"/>
                  </a:lnTo>
                  <a:lnTo>
                    <a:pt x="21" y="3"/>
                  </a:lnTo>
                  <a:lnTo>
                    <a:pt x="28" y="1"/>
                  </a:lnTo>
                  <a:lnTo>
                    <a:pt x="31" y="3"/>
                  </a:lnTo>
                  <a:lnTo>
                    <a:pt x="33" y="11"/>
                  </a:lnTo>
                  <a:lnTo>
                    <a:pt x="39" y="16"/>
                  </a:lnTo>
                  <a:lnTo>
                    <a:pt x="45" y="20"/>
                  </a:lnTo>
                  <a:lnTo>
                    <a:pt x="51" y="23"/>
                  </a:lnTo>
                  <a:lnTo>
                    <a:pt x="59" y="24"/>
                  </a:lnTo>
                  <a:lnTo>
                    <a:pt x="68" y="24"/>
                  </a:lnTo>
                  <a:lnTo>
                    <a:pt x="83" y="24"/>
                  </a:lnTo>
                  <a:lnTo>
                    <a:pt x="86" y="24"/>
                  </a:lnTo>
                  <a:lnTo>
                    <a:pt x="87" y="25"/>
                  </a:lnTo>
                  <a:lnTo>
                    <a:pt x="88" y="30"/>
                  </a:lnTo>
                  <a:lnTo>
                    <a:pt x="87" y="35"/>
                  </a:lnTo>
                  <a:lnTo>
                    <a:pt x="86" y="39"/>
                  </a:lnTo>
                  <a:lnTo>
                    <a:pt x="84" y="42"/>
                  </a:lnTo>
                  <a:lnTo>
                    <a:pt x="82" y="45"/>
                  </a:lnTo>
                  <a:lnTo>
                    <a:pt x="75" y="50"/>
                  </a:lnTo>
                  <a:lnTo>
                    <a:pt x="69" y="54"/>
                  </a:lnTo>
                  <a:lnTo>
                    <a:pt x="66" y="57"/>
                  </a:lnTo>
                  <a:lnTo>
                    <a:pt x="65" y="60"/>
                  </a:lnTo>
                  <a:lnTo>
                    <a:pt x="64" y="62"/>
                  </a:lnTo>
                  <a:lnTo>
                    <a:pt x="65" y="64"/>
                  </a:lnTo>
                  <a:lnTo>
                    <a:pt x="68" y="65"/>
                  </a:lnTo>
                  <a:lnTo>
                    <a:pt x="72" y="67"/>
                  </a:lnTo>
                  <a:lnTo>
                    <a:pt x="75" y="69"/>
                  </a:lnTo>
                  <a:lnTo>
                    <a:pt x="77" y="75"/>
                  </a:lnTo>
                  <a:lnTo>
                    <a:pt x="78" y="81"/>
                  </a:lnTo>
                  <a:lnTo>
                    <a:pt x="78" y="88"/>
                  </a:lnTo>
                  <a:lnTo>
                    <a:pt x="75" y="94"/>
                  </a:lnTo>
                  <a:lnTo>
                    <a:pt x="75" y="9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8" name="Freeform 627"/>
            <p:cNvSpPr>
              <a:spLocks/>
            </p:cNvSpPr>
            <p:nvPr/>
          </p:nvSpPr>
          <p:spPr bwMode="auto">
            <a:xfrm>
              <a:off x="6061076" y="3233739"/>
              <a:ext cx="739775" cy="925512"/>
            </a:xfrm>
            <a:custGeom>
              <a:avLst/>
              <a:gdLst>
                <a:gd name="T0" fmla="*/ 2147483647 w 505"/>
                <a:gd name="T1" fmla="*/ 2147483647 h 583"/>
                <a:gd name="T2" fmla="*/ 2147483647 w 505"/>
                <a:gd name="T3" fmla="*/ 2147483647 h 583"/>
                <a:gd name="T4" fmla="*/ 2147483647 w 505"/>
                <a:gd name="T5" fmla="*/ 2147483647 h 583"/>
                <a:gd name="T6" fmla="*/ 2147483647 w 505"/>
                <a:gd name="T7" fmla="*/ 2147483647 h 583"/>
                <a:gd name="T8" fmla="*/ 2147483647 w 505"/>
                <a:gd name="T9" fmla="*/ 2147483647 h 583"/>
                <a:gd name="T10" fmla="*/ 2147483647 w 505"/>
                <a:gd name="T11" fmla="*/ 2147483647 h 583"/>
                <a:gd name="T12" fmla="*/ 2147483647 w 505"/>
                <a:gd name="T13" fmla="*/ 2147483647 h 583"/>
                <a:gd name="T14" fmla="*/ 2147483647 w 505"/>
                <a:gd name="T15" fmla="*/ 2147483647 h 583"/>
                <a:gd name="T16" fmla="*/ 2147483647 w 505"/>
                <a:gd name="T17" fmla="*/ 2147483647 h 583"/>
                <a:gd name="T18" fmla="*/ 2147483647 w 505"/>
                <a:gd name="T19" fmla="*/ 2147483647 h 583"/>
                <a:gd name="T20" fmla="*/ 2147483647 w 505"/>
                <a:gd name="T21" fmla="*/ 2147483647 h 583"/>
                <a:gd name="T22" fmla="*/ 2147483647 w 505"/>
                <a:gd name="T23" fmla="*/ 2147483647 h 583"/>
                <a:gd name="T24" fmla="*/ 2147483647 w 505"/>
                <a:gd name="T25" fmla="*/ 2147483647 h 583"/>
                <a:gd name="T26" fmla="*/ 2147483647 w 505"/>
                <a:gd name="T27" fmla="*/ 2147483647 h 583"/>
                <a:gd name="T28" fmla="*/ 2147483647 w 505"/>
                <a:gd name="T29" fmla="*/ 2147483647 h 583"/>
                <a:gd name="T30" fmla="*/ 2147483647 w 505"/>
                <a:gd name="T31" fmla="*/ 2147483647 h 583"/>
                <a:gd name="T32" fmla="*/ 2147483647 w 505"/>
                <a:gd name="T33" fmla="*/ 2147483647 h 583"/>
                <a:gd name="T34" fmla="*/ 2147483647 w 505"/>
                <a:gd name="T35" fmla="*/ 2147483647 h 583"/>
                <a:gd name="T36" fmla="*/ 2147483647 w 505"/>
                <a:gd name="T37" fmla="*/ 2147483647 h 583"/>
                <a:gd name="T38" fmla="*/ 2147483647 w 505"/>
                <a:gd name="T39" fmla="*/ 2147483647 h 583"/>
                <a:gd name="T40" fmla="*/ 2147483647 w 505"/>
                <a:gd name="T41" fmla="*/ 2147483647 h 583"/>
                <a:gd name="T42" fmla="*/ 2147483647 w 505"/>
                <a:gd name="T43" fmla="*/ 2147483647 h 583"/>
                <a:gd name="T44" fmla="*/ 2147483647 w 505"/>
                <a:gd name="T45" fmla="*/ 2147483647 h 583"/>
                <a:gd name="T46" fmla="*/ 2147483647 w 505"/>
                <a:gd name="T47" fmla="*/ 2147483647 h 583"/>
                <a:gd name="T48" fmla="*/ 2147483647 w 505"/>
                <a:gd name="T49" fmla="*/ 2147483647 h 583"/>
                <a:gd name="T50" fmla="*/ 2147483647 w 505"/>
                <a:gd name="T51" fmla="*/ 2147483647 h 583"/>
                <a:gd name="T52" fmla="*/ 2147483647 w 505"/>
                <a:gd name="T53" fmla="*/ 2147483647 h 583"/>
                <a:gd name="T54" fmla="*/ 2147483647 w 505"/>
                <a:gd name="T55" fmla="*/ 2147483647 h 583"/>
                <a:gd name="T56" fmla="*/ 2147483647 w 505"/>
                <a:gd name="T57" fmla="*/ 2147483647 h 583"/>
                <a:gd name="T58" fmla="*/ 2147483647 w 505"/>
                <a:gd name="T59" fmla="*/ 2147483647 h 583"/>
                <a:gd name="T60" fmla="*/ 2147483647 w 505"/>
                <a:gd name="T61" fmla="*/ 2147483647 h 583"/>
                <a:gd name="T62" fmla="*/ 2147483647 w 505"/>
                <a:gd name="T63" fmla="*/ 2147483647 h 583"/>
                <a:gd name="T64" fmla="*/ 2147483647 w 505"/>
                <a:gd name="T65" fmla="*/ 2147483647 h 583"/>
                <a:gd name="T66" fmla="*/ 2147483647 w 505"/>
                <a:gd name="T67" fmla="*/ 2147483647 h 583"/>
                <a:gd name="T68" fmla="*/ 2147483647 w 505"/>
                <a:gd name="T69" fmla="*/ 2147483647 h 583"/>
                <a:gd name="T70" fmla="*/ 2147483647 w 505"/>
                <a:gd name="T71" fmla="*/ 2147483647 h 583"/>
                <a:gd name="T72" fmla="*/ 2147483647 w 505"/>
                <a:gd name="T73" fmla="*/ 2147483647 h 583"/>
                <a:gd name="T74" fmla="*/ 2147483647 w 505"/>
                <a:gd name="T75" fmla="*/ 2147483647 h 583"/>
                <a:gd name="T76" fmla="*/ 2147483647 w 505"/>
                <a:gd name="T77" fmla="*/ 2147483647 h 583"/>
                <a:gd name="T78" fmla="*/ 2147483647 w 505"/>
                <a:gd name="T79" fmla="*/ 2147483647 h 583"/>
                <a:gd name="T80" fmla="*/ 2147483647 w 505"/>
                <a:gd name="T81" fmla="*/ 2147483647 h 583"/>
                <a:gd name="T82" fmla="*/ 2147483647 w 505"/>
                <a:gd name="T83" fmla="*/ 2147483647 h 583"/>
                <a:gd name="T84" fmla="*/ 2147483647 w 505"/>
                <a:gd name="T85" fmla="*/ 2147483647 h 583"/>
                <a:gd name="T86" fmla="*/ 2147483647 w 505"/>
                <a:gd name="T87" fmla="*/ 2147483647 h 583"/>
                <a:gd name="T88" fmla="*/ 2147483647 w 505"/>
                <a:gd name="T89" fmla="*/ 2147483647 h 583"/>
                <a:gd name="T90" fmla="*/ 2147483647 w 505"/>
                <a:gd name="T91" fmla="*/ 2147483647 h 583"/>
                <a:gd name="T92" fmla="*/ 2147483647 w 505"/>
                <a:gd name="T93" fmla="*/ 2147483647 h 583"/>
                <a:gd name="T94" fmla="*/ 2147483647 w 505"/>
                <a:gd name="T95" fmla="*/ 2147483647 h 583"/>
                <a:gd name="T96" fmla="*/ 2147483647 w 505"/>
                <a:gd name="T97" fmla="*/ 2147483647 h 583"/>
                <a:gd name="T98" fmla="*/ 2147483647 w 505"/>
                <a:gd name="T99" fmla="*/ 2147483647 h 583"/>
                <a:gd name="T100" fmla="*/ 2147483647 w 505"/>
                <a:gd name="T101" fmla="*/ 2147483647 h 583"/>
                <a:gd name="T102" fmla="*/ 2147483647 w 505"/>
                <a:gd name="T103" fmla="*/ 2147483647 h 583"/>
                <a:gd name="T104" fmla="*/ 2147483647 w 505"/>
                <a:gd name="T105" fmla="*/ 2147483647 h 583"/>
                <a:gd name="T106" fmla="*/ 2147483647 w 505"/>
                <a:gd name="T107" fmla="*/ 2147483647 h 583"/>
                <a:gd name="T108" fmla="*/ 2147483647 w 505"/>
                <a:gd name="T109" fmla="*/ 2147483647 h 583"/>
                <a:gd name="T110" fmla="*/ 2147483647 w 505"/>
                <a:gd name="T111" fmla="*/ 2147483647 h 583"/>
                <a:gd name="T112" fmla="*/ 2147483647 w 505"/>
                <a:gd name="T113" fmla="*/ 0 h 583"/>
                <a:gd name="T114" fmla="*/ 2147483647 w 505"/>
                <a:gd name="T115" fmla="*/ 2147483647 h 583"/>
                <a:gd name="T116" fmla="*/ 2147483647 w 505"/>
                <a:gd name="T117" fmla="*/ 2147483647 h 583"/>
                <a:gd name="T118" fmla="*/ 2147483647 w 505"/>
                <a:gd name="T119" fmla="*/ 2147483647 h 583"/>
                <a:gd name="T120" fmla="*/ 2147483647 w 505"/>
                <a:gd name="T121" fmla="*/ 2147483647 h 583"/>
                <a:gd name="T122" fmla="*/ 2147483647 w 505"/>
                <a:gd name="T123" fmla="*/ 2147483647 h 5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5"/>
                <a:gd name="T187" fmla="*/ 0 h 583"/>
                <a:gd name="T188" fmla="*/ 505 w 505"/>
                <a:gd name="T189" fmla="*/ 583 h 5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5" h="583">
                  <a:moveTo>
                    <a:pt x="227" y="134"/>
                  </a:moveTo>
                  <a:lnTo>
                    <a:pt x="227" y="134"/>
                  </a:lnTo>
                  <a:lnTo>
                    <a:pt x="230" y="135"/>
                  </a:lnTo>
                  <a:lnTo>
                    <a:pt x="234" y="135"/>
                  </a:lnTo>
                  <a:lnTo>
                    <a:pt x="240" y="133"/>
                  </a:lnTo>
                  <a:lnTo>
                    <a:pt x="242" y="131"/>
                  </a:lnTo>
                  <a:lnTo>
                    <a:pt x="245" y="131"/>
                  </a:lnTo>
                  <a:lnTo>
                    <a:pt x="251" y="135"/>
                  </a:lnTo>
                  <a:lnTo>
                    <a:pt x="258" y="140"/>
                  </a:lnTo>
                  <a:lnTo>
                    <a:pt x="263" y="144"/>
                  </a:lnTo>
                  <a:lnTo>
                    <a:pt x="264" y="147"/>
                  </a:lnTo>
                  <a:lnTo>
                    <a:pt x="267" y="149"/>
                  </a:lnTo>
                  <a:lnTo>
                    <a:pt x="270" y="150"/>
                  </a:lnTo>
                  <a:lnTo>
                    <a:pt x="274" y="150"/>
                  </a:lnTo>
                  <a:lnTo>
                    <a:pt x="279" y="152"/>
                  </a:lnTo>
                  <a:lnTo>
                    <a:pt x="281" y="153"/>
                  </a:lnTo>
                  <a:lnTo>
                    <a:pt x="282" y="154"/>
                  </a:lnTo>
                  <a:lnTo>
                    <a:pt x="281" y="157"/>
                  </a:lnTo>
                  <a:lnTo>
                    <a:pt x="281" y="159"/>
                  </a:lnTo>
                  <a:lnTo>
                    <a:pt x="283" y="159"/>
                  </a:lnTo>
                  <a:lnTo>
                    <a:pt x="286" y="159"/>
                  </a:lnTo>
                  <a:lnTo>
                    <a:pt x="289" y="159"/>
                  </a:lnTo>
                  <a:lnTo>
                    <a:pt x="293" y="160"/>
                  </a:lnTo>
                  <a:lnTo>
                    <a:pt x="298" y="165"/>
                  </a:lnTo>
                  <a:lnTo>
                    <a:pt x="302" y="171"/>
                  </a:lnTo>
                  <a:lnTo>
                    <a:pt x="307" y="174"/>
                  </a:lnTo>
                  <a:lnTo>
                    <a:pt x="314" y="178"/>
                  </a:lnTo>
                  <a:lnTo>
                    <a:pt x="316" y="178"/>
                  </a:lnTo>
                  <a:lnTo>
                    <a:pt x="319" y="178"/>
                  </a:lnTo>
                  <a:lnTo>
                    <a:pt x="322" y="175"/>
                  </a:lnTo>
                  <a:lnTo>
                    <a:pt x="326" y="173"/>
                  </a:lnTo>
                  <a:lnTo>
                    <a:pt x="327" y="173"/>
                  </a:lnTo>
                  <a:lnTo>
                    <a:pt x="330" y="173"/>
                  </a:lnTo>
                  <a:lnTo>
                    <a:pt x="339" y="178"/>
                  </a:lnTo>
                  <a:lnTo>
                    <a:pt x="343" y="179"/>
                  </a:lnTo>
                  <a:lnTo>
                    <a:pt x="348" y="180"/>
                  </a:lnTo>
                  <a:lnTo>
                    <a:pt x="350" y="179"/>
                  </a:lnTo>
                  <a:lnTo>
                    <a:pt x="353" y="178"/>
                  </a:lnTo>
                  <a:lnTo>
                    <a:pt x="354" y="176"/>
                  </a:lnTo>
                  <a:lnTo>
                    <a:pt x="357" y="178"/>
                  </a:lnTo>
                  <a:lnTo>
                    <a:pt x="362" y="181"/>
                  </a:lnTo>
                  <a:lnTo>
                    <a:pt x="366" y="186"/>
                  </a:lnTo>
                  <a:lnTo>
                    <a:pt x="368" y="182"/>
                  </a:lnTo>
                  <a:lnTo>
                    <a:pt x="369" y="180"/>
                  </a:lnTo>
                  <a:lnTo>
                    <a:pt x="371" y="178"/>
                  </a:lnTo>
                  <a:lnTo>
                    <a:pt x="373" y="178"/>
                  </a:lnTo>
                  <a:lnTo>
                    <a:pt x="385" y="176"/>
                  </a:lnTo>
                  <a:lnTo>
                    <a:pt x="395" y="174"/>
                  </a:lnTo>
                  <a:lnTo>
                    <a:pt x="399" y="174"/>
                  </a:lnTo>
                  <a:lnTo>
                    <a:pt x="402" y="175"/>
                  </a:lnTo>
                  <a:lnTo>
                    <a:pt x="405" y="176"/>
                  </a:lnTo>
                  <a:lnTo>
                    <a:pt x="407" y="178"/>
                  </a:lnTo>
                  <a:lnTo>
                    <a:pt x="413" y="178"/>
                  </a:lnTo>
                  <a:lnTo>
                    <a:pt x="419" y="175"/>
                  </a:lnTo>
                  <a:lnTo>
                    <a:pt x="434" y="167"/>
                  </a:lnTo>
                  <a:lnTo>
                    <a:pt x="451" y="159"/>
                  </a:lnTo>
                  <a:lnTo>
                    <a:pt x="463" y="154"/>
                  </a:lnTo>
                  <a:lnTo>
                    <a:pt x="472" y="152"/>
                  </a:lnTo>
                  <a:lnTo>
                    <a:pt x="481" y="152"/>
                  </a:lnTo>
                  <a:lnTo>
                    <a:pt x="489" y="153"/>
                  </a:lnTo>
                  <a:lnTo>
                    <a:pt x="493" y="154"/>
                  </a:lnTo>
                  <a:lnTo>
                    <a:pt x="496" y="156"/>
                  </a:lnTo>
                  <a:lnTo>
                    <a:pt x="498" y="159"/>
                  </a:lnTo>
                  <a:lnTo>
                    <a:pt x="496" y="162"/>
                  </a:lnTo>
                  <a:lnTo>
                    <a:pt x="495" y="165"/>
                  </a:lnTo>
                  <a:lnTo>
                    <a:pt x="495" y="167"/>
                  </a:lnTo>
                  <a:lnTo>
                    <a:pt x="496" y="169"/>
                  </a:lnTo>
                  <a:lnTo>
                    <a:pt x="499" y="171"/>
                  </a:lnTo>
                  <a:lnTo>
                    <a:pt x="505" y="169"/>
                  </a:lnTo>
                  <a:lnTo>
                    <a:pt x="505" y="172"/>
                  </a:lnTo>
                  <a:lnTo>
                    <a:pt x="504" y="173"/>
                  </a:lnTo>
                  <a:lnTo>
                    <a:pt x="503" y="175"/>
                  </a:lnTo>
                  <a:lnTo>
                    <a:pt x="501" y="176"/>
                  </a:lnTo>
                  <a:lnTo>
                    <a:pt x="500" y="182"/>
                  </a:lnTo>
                  <a:lnTo>
                    <a:pt x="496" y="187"/>
                  </a:lnTo>
                  <a:lnTo>
                    <a:pt x="493" y="191"/>
                  </a:lnTo>
                  <a:lnTo>
                    <a:pt x="486" y="193"/>
                  </a:lnTo>
                  <a:lnTo>
                    <a:pt x="484" y="194"/>
                  </a:lnTo>
                  <a:lnTo>
                    <a:pt x="482" y="198"/>
                  </a:lnTo>
                  <a:lnTo>
                    <a:pt x="481" y="204"/>
                  </a:lnTo>
                  <a:lnTo>
                    <a:pt x="479" y="210"/>
                  </a:lnTo>
                  <a:lnTo>
                    <a:pt x="476" y="216"/>
                  </a:lnTo>
                  <a:lnTo>
                    <a:pt x="474" y="221"/>
                  </a:lnTo>
                  <a:lnTo>
                    <a:pt x="465" y="232"/>
                  </a:lnTo>
                  <a:lnTo>
                    <a:pt x="456" y="240"/>
                  </a:lnTo>
                  <a:lnTo>
                    <a:pt x="453" y="244"/>
                  </a:lnTo>
                  <a:lnTo>
                    <a:pt x="452" y="246"/>
                  </a:lnTo>
                  <a:lnTo>
                    <a:pt x="452" y="255"/>
                  </a:lnTo>
                  <a:lnTo>
                    <a:pt x="451" y="261"/>
                  </a:lnTo>
                  <a:lnTo>
                    <a:pt x="449" y="263"/>
                  </a:lnTo>
                  <a:lnTo>
                    <a:pt x="447" y="264"/>
                  </a:lnTo>
                  <a:lnTo>
                    <a:pt x="443" y="267"/>
                  </a:lnTo>
                  <a:lnTo>
                    <a:pt x="438" y="268"/>
                  </a:lnTo>
                  <a:lnTo>
                    <a:pt x="435" y="268"/>
                  </a:lnTo>
                  <a:lnTo>
                    <a:pt x="434" y="269"/>
                  </a:lnTo>
                  <a:lnTo>
                    <a:pt x="430" y="274"/>
                  </a:lnTo>
                  <a:lnTo>
                    <a:pt x="429" y="280"/>
                  </a:lnTo>
                  <a:lnTo>
                    <a:pt x="428" y="284"/>
                  </a:lnTo>
                  <a:lnTo>
                    <a:pt x="428" y="290"/>
                  </a:lnTo>
                  <a:lnTo>
                    <a:pt x="427" y="296"/>
                  </a:lnTo>
                  <a:lnTo>
                    <a:pt x="425" y="299"/>
                  </a:lnTo>
                  <a:lnTo>
                    <a:pt x="423" y="300"/>
                  </a:lnTo>
                  <a:lnTo>
                    <a:pt x="420" y="302"/>
                  </a:lnTo>
                  <a:lnTo>
                    <a:pt x="416" y="302"/>
                  </a:lnTo>
                  <a:lnTo>
                    <a:pt x="416" y="301"/>
                  </a:lnTo>
                  <a:lnTo>
                    <a:pt x="419" y="295"/>
                  </a:lnTo>
                  <a:lnTo>
                    <a:pt x="419" y="288"/>
                  </a:lnTo>
                  <a:lnTo>
                    <a:pt x="418" y="282"/>
                  </a:lnTo>
                  <a:lnTo>
                    <a:pt x="416" y="276"/>
                  </a:lnTo>
                  <a:lnTo>
                    <a:pt x="413" y="274"/>
                  </a:lnTo>
                  <a:lnTo>
                    <a:pt x="409" y="272"/>
                  </a:lnTo>
                  <a:lnTo>
                    <a:pt x="406" y="271"/>
                  </a:lnTo>
                  <a:lnTo>
                    <a:pt x="405" y="269"/>
                  </a:lnTo>
                  <a:lnTo>
                    <a:pt x="406" y="267"/>
                  </a:lnTo>
                  <a:lnTo>
                    <a:pt x="407" y="264"/>
                  </a:lnTo>
                  <a:lnTo>
                    <a:pt x="410" y="261"/>
                  </a:lnTo>
                  <a:lnTo>
                    <a:pt x="416" y="257"/>
                  </a:lnTo>
                  <a:lnTo>
                    <a:pt x="423" y="252"/>
                  </a:lnTo>
                  <a:lnTo>
                    <a:pt x="425" y="249"/>
                  </a:lnTo>
                  <a:lnTo>
                    <a:pt x="427" y="246"/>
                  </a:lnTo>
                  <a:lnTo>
                    <a:pt x="428" y="242"/>
                  </a:lnTo>
                  <a:lnTo>
                    <a:pt x="429" y="237"/>
                  </a:lnTo>
                  <a:lnTo>
                    <a:pt x="428" y="232"/>
                  </a:lnTo>
                  <a:lnTo>
                    <a:pt x="427" y="231"/>
                  </a:lnTo>
                  <a:lnTo>
                    <a:pt x="424" y="231"/>
                  </a:lnTo>
                  <a:lnTo>
                    <a:pt x="409" y="231"/>
                  </a:lnTo>
                  <a:lnTo>
                    <a:pt x="400" y="231"/>
                  </a:lnTo>
                  <a:lnTo>
                    <a:pt x="392" y="230"/>
                  </a:lnTo>
                  <a:lnTo>
                    <a:pt x="386" y="227"/>
                  </a:lnTo>
                  <a:lnTo>
                    <a:pt x="380" y="223"/>
                  </a:lnTo>
                  <a:lnTo>
                    <a:pt x="374" y="218"/>
                  </a:lnTo>
                  <a:lnTo>
                    <a:pt x="372" y="210"/>
                  </a:lnTo>
                  <a:lnTo>
                    <a:pt x="369" y="208"/>
                  </a:lnTo>
                  <a:lnTo>
                    <a:pt x="362" y="210"/>
                  </a:lnTo>
                  <a:lnTo>
                    <a:pt x="359" y="208"/>
                  </a:lnTo>
                  <a:lnTo>
                    <a:pt x="355" y="207"/>
                  </a:lnTo>
                  <a:lnTo>
                    <a:pt x="354" y="207"/>
                  </a:lnTo>
                  <a:lnTo>
                    <a:pt x="353" y="208"/>
                  </a:lnTo>
                  <a:lnTo>
                    <a:pt x="349" y="214"/>
                  </a:lnTo>
                  <a:lnTo>
                    <a:pt x="348" y="218"/>
                  </a:lnTo>
                  <a:lnTo>
                    <a:pt x="344" y="220"/>
                  </a:lnTo>
                  <a:lnTo>
                    <a:pt x="345" y="221"/>
                  </a:lnTo>
                  <a:lnTo>
                    <a:pt x="349" y="223"/>
                  </a:lnTo>
                  <a:lnTo>
                    <a:pt x="353" y="223"/>
                  </a:lnTo>
                  <a:lnTo>
                    <a:pt x="355" y="224"/>
                  </a:lnTo>
                  <a:lnTo>
                    <a:pt x="355" y="225"/>
                  </a:lnTo>
                  <a:lnTo>
                    <a:pt x="355" y="226"/>
                  </a:lnTo>
                  <a:lnTo>
                    <a:pt x="350" y="232"/>
                  </a:lnTo>
                  <a:lnTo>
                    <a:pt x="347" y="238"/>
                  </a:lnTo>
                  <a:lnTo>
                    <a:pt x="345" y="242"/>
                  </a:lnTo>
                  <a:lnTo>
                    <a:pt x="344" y="245"/>
                  </a:lnTo>
                  <a:lnTo>
                    <a:pt x="345" y="249"/>
                  </a:lnTo>
                  <a:lnTo>
                    <a:pt x="347" y="253"/>
                  </a:lnTo>
                  <a:lnTo>
                    <a:pt x="348" y="257"/>
                  </a:lnTo>
                  <a:lnTo>
                    <a:pt x="348" y="262"/>
                  </a:lnTo>
                  <a:lnTo>
                    <a:pt x="348" y="271"/>
                  </a:lnTo>
                  <a:lnTo>
                    <a:pt x="347" y="280"/>
                  </a:lnTo>
                  <a:lnTo>
                    <a:pt x="347" y="289"/>
                  </a:lnTo>
                  <a:lnTo>
                    <a:pt x="345" y="293"/>
                  </a:lnTo>
                  <a:lnTo>
                    <a:pt x="344" y="296"/>
                  </a:lnTo>
                  <a:lnTo>
                    <a:pt x="343" y="303"/>
                  </a:lnTo>
                  <a:lnTo>
                    <a:pt x="341" y="310"/>
                  </a:lnTo>
                  <a:lnTo>
                    <a:pt x="335" y="315"/>
                  </a:lnTo>
                  <a:lnTo>
                    <a:pt x="331" y="318"/>
                  </a:lnTo>
                  <a:lnTo>
                    <a:pt x="327" y="319"/>
                  </a:lnTo>
                  <a:lnTo>
                    <a:pt x="326" y="320"/>
                  </a:lnTo>
                  <a:lnTo>
                    <a:pt x="325" y="321"/>
                  </a:lnTo>
                  <a:lnTo>
                    <a:pt x="324" y="323"/>
                  </a:lnTo>
                  <a:lnTo>
                    <a:pt x="324" y="326"/>
                  </a:lnTo>
                  <a:lnTo>
                    <a:pt x="322" y="332"/>
                  </a:lnTo>
                  <a:lnTo>
                    <a:pt x="320" y="339"/>
                  </a:lnTo>
                  <a:lnTo>
                    <a:pt x="317" y="345"/>
                  </a:lnTo>
                  <a:lnTo>
                    <a:pt x="312" y="348"/>
                  </a:lnTo>
                  <a:lnTo>
                    <a:pt x="308" y="352"/>
                  </a:lnTo>
                  <a:lnTo>
                    <a:pt x="303" y="354"/>
                  </a:lnTo>
                  <a:lnTo>
                    <a:pt x="300" y="357"/>
                  </a:lnTo>
                  <a:lnTo>
                    <a:pt x="291" y="368"/>
                  </a:lnTo>
                  <a:lnTo>
                    <a:pt x="281" y="379"/>
                  </a:lnTo>
                  <a:lnTo>
                    <a:pt x="270" y="390"/>
                  </a:lnTo>
                  <a:lnTo>
                    <a:pt x="264" y="393"/>
                  </a:lnTo>
                  <a:lnTo>
                    <a:pt x="258" y="397"/>
                  </a:lnTo>
                  <a:lnTo>
                    <a:pt x="254" y="401"/>
                  </a:lnTo>
                  <a:lnTo>
                    <a:pt x="253" y="404"/>
                  </a:lnTo>
                  <a:lnTo>
                    <a:pt x="253" y="409"/>
                  </a:lnTo>
                  <a:lnTo>
                    <a:pt x="255" y="412"/>
                  </a:lnTo>
                  <a:lnTo>
                    <a:pt x="256" y="415"/>
                  </a:lnTo>
                  <a:lnTo>
                    <a:pt x="256" y="417"/>
                  </a:lnTo>
                  <a:lnTo>
                    <a:pt x="255" y="418"/>
                  </a:lnTo>
                  <a:lnTo>
                    <a:pt x="254" y="419"/>
                  </a:lnTo>
                  <a:lnTo>
                    <a:pt x="241" y="427"/>
                  </a:lnTo>
                  <a:lnTo>
                    <a:pt x="228" y="434"/>
                  </a:lnTo>
                  <a:lnTo>
                    <a:pt x="226" y="435"/>
                  </a:lnTo>
                  <a:lnTo>
                    <a:pt x="222" y="436"/>
                  </a:lnTo>
                  <a:lnTo>
                    <a:pt x="218" y="437"/>
                  </a:lnTo>
                  <a:lnTo>
                    <a:pt x="216" y="440"/>
                  </a:lnTo>
                  <a:lnTo>
                    <a:pt x="214" y="442"/>
                  </a:lnTo>
                  <a:lnTo>
                    <a:pt x="214" y="443"/>
                  </a:lnTo>
                  <a:lnTo>
                    <a:pt x="216" y="447"/>
                  </a:lnTo>
                  <a:lnTo>
                    <a:pt x="214" y="453"/>
                  </a:lnTo>
                  <a:lnTo>
                    <a:pt x="213" y="459"/>
                  </a:lnTo>
                  <a:lnTo>
                    <a:pt x="212" y="465"/>
                  </a:lnTo>
                  <a:lnTo>
                    <a:pt x="213" y="470"/>
                  </a:lnTo>
                  <a:lnTo>
                    <a:pt x="212" y="472"/>
                  </a:lnTo>
                  <a:lnTo>
                    <a:pt x="211" y="473"/>
                  </a:lnTo>
                  <a:lnTo>
                    <a:pt x="212" y="476"/>
                  </a:lnTo>
                  <a:lnTo>
                    <a:pt x="213" y="480"/>
                  </a:lnTo>
                  <a:lnTo>
                    <a:pt x="214" y="483"/>
                  </a:lnTo>
                  <a:lnTo>
                    <a:pt x="214" y="487"/>
                  </a:lnTo>
                  <a:lnTo>
                    <a:pt x="213" y="493"/>
                  </a:lnTo>
                  <a:lnTo>
                    <a:pt x="209" y="499"/>
                  </a:lnTo>
                  <a:lnTo>
                    <a:pt x="204" y="512"/>
                  </a:lnTo>
                  <a:lnTo>
                    <a:pt x="203" y="518"/>
                  </a:lnTo>
                  <a:lnTo>
                    <a:pt x="202" y="524"/>
                  </a:lnTo>
                  <a:lnTo>
                    <a:pt x="203" y="530"/>
                  </a:lnTo>
                  <a:lnTo>
                    <a:pt x="206" y="537"/>
                  </a:lnTo>
                  <a:lnTo>
                    <a:pt x="206" y="538"/>
                  </a:lnTo>
                  <a:lnTo>
                    <a:pt x="206" y="539"/>
                  </a:lnTo>
                  <a:lnTo>
                    <a:pt x="202" y="540"/>
                  </a:lnTo>
                  <a:lnTo>
                    <a:pt x="198" y="542"/>
                  </a:lnTo>
                  <a:lnTo>
                    <a:pt x="194" y="543"/>
                  </a:lnTo>
                  <a:lnTo>
                    <a:pt x="193" y="545"/>
                  </a:lnTo>
                  <a:lnTo>
                    <a:pt x="192" y="549"/>
                  </a:lnTo>
                  <a:lnTo>
                    <a:pt x="190" y="555"/>
                  </a:lnTo>
                  <a:lnTo>
                    <a:pt x="188" y="562"/>
                  </a:lnTo>
                  <a:lnTo>
                    <a:pt x="187" y="563"/>
                  </a:lnTo>
                  <a:lnTo>
                    <a:pt x="184" y="563"/>
                  </a:lnTo>
                  <a:lnTo>
                    <a:pt x="181" y="563"/>
                  </a:lnTo>
                  <a:lnTo>
                    <a:pt x="179" y="565"/>
                  </a:lnTo>
                  <a:lnTo>
                    <a:pt x="176" y="569"/>
                  </a:lnTo>
                  <a:lnTo>
                    <a:pt x="174" y="574"/>
                  </a:lnTo>
                  <a:lnTo>
                    <a:pt x="171" y="578"/>
                  </a:lnTo>
                  <a:lnTo>
                    <a:pt x="166" y="582"/>
                  </a:lnTo>
                  <a:lnTo>
                    <a:pt x="162" y="583"/>
                  </a:lnTo>
                  <a:lnTo>
                    <a:pt x="160" y="582"/>
                  </a:lnTo>
                  <a:lnTo>
                    <a:pt x="156" y="580"/>
                  </a:lnTo>
                  <a:lnTo>
                    <a:pt x="154" y="577"/>
                  </a:lnTo>
                  <a:lnTo>
                    <a:pt x="151" y="572"/>
                  </a:lnTo>
                  <a:lnTo>
                    <a:pt x="148" y="566"/>
                  </a:lnTo>
                  <a:lnTo>
                    <a:pt x="146" y="562"/>
                  </a:lnTo>
                  <a:lnTo>
                    <a:pt x="143" y="557"/>
                  </a:lnTo>
                  <a:lnTo>
                    <a:pt x="143" y="552"/>
                  </a:lnTo>
                  <a:lnTo>
                    <a:pt x="143" y="548"/>
                  </a:lnTo>
                  <a:lnTo>
                    <a:pt x="142" y="542"/>
                  </a:lnTo>
                  <a:lnTo>
                    <a:pt x="141" y="537"/>
                  </a:lnTo>
                  <a:lnTo>
                    <a:pt x="127" y="505"/>
                  </a:lnTo>
                  <a:lnTo>
                    <a:pt x="121" y="488"/>
                  </a:lnTo>
                  <a:lnTo>
                    <a:pt x="114" y="470"/>
                  </a:lnTo>
                  <a:lnTo>
                    <a:pt x="112" y="462"/>
                  </a:lnTo>
                  <a:lnTo>
                    <a:pt x="107" y="455"/>
                  </a:lnTo>
                  <a:lnTo>
                    <a:pt x="104" y="450"/>
                  </a:lnTo>
                  <a:lnTo>
                    <a:pt x="101" y="446"/>
                  </a:lnTo>
                  <a:lnTo>
                    <a:pt x="99" y="434"/>
                  </a:lnTo>
                  <a:lnTo>
                    <a:pt x="98" y="423"/>
                  </a:lnTo>
                  <a:lnTo>
                    <a:pt x="96" y="411"/>
                  </a:lnTo>
                  <a:lnTo>
                    <a:pt x="94" y="405"/>
                  </a:lnTo>
                  <a:lnTo>
                    <a:pt x="91" y="399"/>
                  </a:lnTo>
                  <a:lnTo>
                    <a:pt x="91" y="397"/>
                  </a:lnTo>
                  <a:lnTo>
                    <a:pt x="91" y="392"/>
                  </a:lnTo>
                  <a:lnTo>
                    <a:pt x="85" y="376"/>
                  </a:lnTo>
                  <a:lnTo>
                    <a:pt x="82" y="359"/>
                  </a:lnTo>
                  <a:lnTo>
                    <a:pt x="82" y="351"/>
                  </a:lnTo>
                  <a:lnTo>
                    <a:pt x="82" y="342"/>
                  </a:lnTo>
                  <a:lnTo>
                    <a:pt x="84" y="334"/>
                  </a:lnTo>
                  <a:lnTo>
                    <a:pt x="86" y="326"/>
                  </a:lnTo>
                  <a:lnTo>
                    <a:pt x="86" y="322"/>
                  </a:lnTo>
                  <a:lnTo>
                    <a:pt x="85" y="320"/>
                  </a:lnTo>
                  <a:lnTo>
                    <a:pt x="80" y="315"/>
                  </a:lnTo>
                  <a:lnTo>
                    <a:pt x="80" y="313"/>
                  </a:lnTo>
                  <a:lnTo>
                    <a:pt x="80" y="310"/>
                  </a:lnTo>
                  <a:lnTo>
                    <a:pt x="82" y="303"/>
                  </a:lnTo>
                  <a:lnTo>
                    <a:pt x="84" y="300"/>
                  </a:lnTo>
                  <a:lnTo>
                    <a:pt x="84" y="296"/>
                  </a:lnTo>
                  <a:lnTo>
                    <a:pt x="81" y="297"/>
                  </a:lnTo>
                  <a:lnTo>
                    <a:pt x="80" y="299"/>
                  </a:lnTo>
                  <a:lnTo>
                    <a:pt x="77" y="308"/>
                  </a:lnTo>
                  <a:lnTo>
                    <a:pt x="72" y="318"/>
                  </a:lnTo>
                  <a:lnTo>
                    <a:pt x="68" y="321"/>
                  </a:lnTo>
                  <a:lnTo>
                    <a:pt x="66" y="323"/>
                  </a:lnTo>
                  <a:lnTo>
                    <a:pt x="61" y="326"/>
                  </a:lnTo>
                  <a:lnTo>
                    <a:pt x="56" y="327"/>
                  </a:lnTo>
                  <a:lnTo>
                    <a:pt x="47" y="327"/>
                  </a:lnTo>
                  <a:lnTo>
                    <a:pt x="41" y="326"/>
                  </a:lnTo>
                  <a:lnTo>
                    <a:pt x="37" y="325"/>
                  </a:lnTo>
                  <a:lnTo>
                    <a:pt x="34" y="321"/>
                  </a:lnTo>
                  <a:lnTo>
                    <a:pt x="32" y="319"/>
                  </a:lnTo>
                  <a:lnTo>
                    <a:pt x="30" y="314"/>
                  </a:lnTo>
                  <a:lnTo>
                    <a:pt x="29" y="313"/>
                  </a:lnTo>
                  <a:lnTo>
                    <a:pt x="27" y="313"/>
                  </a:lnTo>
                  <a:lnTo>
                    <a:pt x="25" y="310"/>
                  </a:lnTo>
                  <a:lnTo>
                    <a:pt x="23" y="308"/>
                  </a:lnTo>
                  <a:lnTo>
                    <a:pt x="21" y="306"/>
                  </a:lnTo>
                  <a:lnTo>
                    <a:pt x="21" y="303"/>
                  </a:lnTo>
                  <a:lnTo>
                    <a:pt x="23" y="300"/>
                  </a:lnTo>
                  <a:lnTo>
                    <a:pt x="25" y="299"/>
                  </a:lnTo>
                  <a:lnTo>
                    <a:pt x="29" y="297"/>
                  </a:lnTo>
                  <a:lnTo>
                    <a:pt x="34" y="297"/>
                  </a:lnTo>
                  <a:lnTo>
                    <a:pt x="38" y="295"/>
                  </a:lnTo>
                  <a:lnTo>
                    <a:pt x="46" y="293"/>
                  </a:lnTo>
                  <a:lnTo>
                    <a:pt x="48" y="290"/>
                  </a:lnTo>
                  <a:lnTo>
                    <a:pt x="51" y="287"/>
                  </a:lnTo>
                  <a:lnTo>
                    <a:pt x="48" y="287"/>
                  </a:lnTo>
                  <a:lnTo>
                    <a:pt x="46" y="286"/>
                  </a:lnTo>
                  <a:lnTo>
                    <a:pt x="41" y="287"/>
                  </a:lnTo>
                  <a:lnTo>
                    <a:pt x="34" y="288"/>
                  </a:lnTo>
                  <a:lnTo>
                    <a:pt x="28" y="289"/>
                  </a:lnTo>
                  <a:lnTo>
                    <a:pt x="25" y="288"/>
                  </a:lnTo>
                  <a:lnTo>
                    <a:pt x="21" y="286"/>
                  </a:lnTo>
                  <a:lnTo>
                    <a:pt x="18" y="283"/>
                  </a:lnTo>
                  <a:lnTo>
                    <a:pt x="15" y="282"/>
                  </a:lnTo>
                  <a:lnTo>
                    <a:pt x="9" y="282"/>
                  </a:lnTo>
                  <a:lnTo>
                    <a:pt x="4" y="282"/>
                  </a:lnTo>
                  <a:lnTo>
                    <a:pt x="1" y="281"/>
                  </a:lnTo>
                  <a:lnTo>
                    <a:pt x="0" y="278"/>
                  </a:lnTo>
                  <a:lnTo>
                    <a:pt x="5" y="276"/>
                  </a:lnTo>
                  <a:lnTo>
                    <a:pt x="10" y="274"/>
                  </a:lnTo>
                  <a:lnTo>
                    <a:pt x="15" y="270"/>
                  </a:lnTo>
                  <a:lnTo>
                    <a:pt x="18" y="265"/>
                  </a:lnTo>
                  <a:lnTo>
                    <a:pt x="19" y="262"/>
                  </a:lnTo>
                  <a:lnTo>
                    <a:pt x="20" y="259"/>
                  </a:lnTo>
                  <a:lnTo>
                    <a:pt x="23" y="257"/>
                  </a:lnTo>
                  <a:lnTo>
                    <a:pt x="25" y="256"/>
                  </a:lnTo>
                  <a:lnTo>
                    <a:pt x="32" y="256"/>
                  </a:lnTo>
                  <a:lnTo>
                    <a:pt x="39" y="257"/>
                  </a:lnTo>
                  <a:lnTo>
                    <a:pt x="53" y="258"/>
                  </a:lnTo>
                  <a:lnTo>
                    <a:pt x="54" y="251"/>
                  </a:lnTo>
                  <a:lnTo>
                    <a:pt x="57" y="245"/>
                  </a:lnTo>
                  <a:lnTo>
                    <a:pt x="57" y="238"/>
                  </a:lnTo>
                  <a:lnTo>
                    <a:pt x="56" y="236"/>
                  </a:lnTo>
                  <a:lnTo>
                    <a:pt x="53" y="233"/>
                  </a:lnTo>
                  <a:lnTo>
                    <a:pt x="48" y="229"/>
                  </a:lnTo>
                  <a:lnTo>
                    <a:pt x="47" y="226"/>
                  </a:lnTo>
                  <a:lnTo>
                    <a:pt x="44" y="224"/>
                  </a:lnTo>
                  <a:lnTo>
                    <a:pt x="44" y="218"/>
                  </a:lnTo>
                  <a:lnTo>
                    <a:pt x="43" y="214"/>
                  </a:lnTo>
                  <a:lnTo>
                    <a:pt x="42" y="212"/>
                  </a:lnTo>
                  <a:lnTo>
                    <a:pt x="41" y="210"/>
                  </a:lnTo>
                  <a:lnTo>
                    <a:pt x="38" y="208"/>
                  </a:lnTo>
                  <a:lnTo>
                    <a:pt x="35" y="207"/>
                  </a:lnTo>
                  <a:lnTo>
                    <a:pt x="33" y="206"/>
                  </a:lnTo>
                  <a:lnTo>
                    <a:pt x="33" y="204"/>
                  </a:lnTo>
                  <a:lnTo>
                    <a:pt x="33" y="203"/>
                  </a:lnTo>
                  <a:lnTo>
                    <a:pt x="35" y="200"/>
                  </a:lnTo>
                  <a:lnTo>
                    <a:pt x="38" y="198"/>
                  </a:lnTo>
                  <a:lnTo>
                    <a:pt x="41" y="195"/>
                  </a:lnTo>
                  <a:lnTo>
                    <a:pt x="44" y="192"/>
                  </a:lnTo>
                  <a:lnTo>
                    <a:pt x="47" y="188"/>
                  </a:lnTo>
                  <a:lnTo>
                    <a:pt x="51" y="187"/>
                  </a:lnTo>
                  <a:lnTo>
                    <a:pt x="54" y="187"/>
                  </a:lnTo>
                  <a:lnTo>
                    <a:pt x="60" y="188"/>
                  </a:lnTo>
                  <a:lnTo>
                    <a:pt x="65" y="187"/>
                  </a:lnTo>
                  <a:lnTo>
                    <a:pt x="67" y="186"/>
                  </a:lnTo>
                  <a:lnTo>
                    <a:pt x="70" y="182"/>
                  </a:lnTo>
                  <a:lnTo>
                    <a:pt x="76" y="173"/>
                  </a:lnTo>
                  <a:lnTo>
                    <a:pt x="82" y="166"/>
                  </a:lnTo>
                  <a:lnTo>
                    <a:pt x="90" y="157"/>
                  </a:lnTo>
                  <a:lnTo>
                    <a:pt x="95" y="149"/>
                  </a:lnTo>
                  <a:lnTo>
                    <a:pt x="101" y="138"/>
                  </a:lnTo>
                  <a:lnTo>
                    <a:pt x="109" y="128"/>
                  </a:lnTo>
                  <a:lnTo>
                    <a:pt x="113" y="124"/>
                  </a:lnTo>
                  <a:lnTo>
                    <a:pt x="115" y="121"/>
                  </a:lnTo>
                  <a:lnTo>
                    <a:pt x="118" y="117"/>
                  </a:lnTo>
                  <a:lnTo>
                    <a:pt x="117" y="112"/>
                  </a:lnTo>
                  <a:lnTo>
                    <a:pt x="115" y="109"/>
                  </a:lnTo>
                  <a:lnTo>
                    <a:pt x="115" y="105"/>
                  </a:lnTo>
                  <a:lnTo>
                    <a:pt x="117" y="102"/>
                  </a:lnTo>
                  <a:lnTo>
                    <a:pt x="119" y="98"/>
                  </a:lnTo>
                  <a:lnTo>
                    <a:pt x="119" y="96"/>
                  </a:lnTo>
                  <a:lnTo>
                    <a:pt x="119" y="93"/>
                  </a:lnTo>
                  <a:lnTo>
                    <a:pt x="114" y="89"/>
                  </a:lnTo>
                  <a:lnTo>
                    <a:pt x="114" y="86"/>
                  </a:lnTo>
                  <a:lnTo>
                    <a:pt x="114" y="83"/>
                  </a:lnTo>
                  <a:lnTo>
                    <a:pt x="117" y="77"/>
                  </a:lnTo>
                  <a:lnTo>
                    <a:pt x="117" y="71"/>
                  </a:lnTo>
                  <a:lnTo>
                    <a:pt x="117" y="65"/>
                  </a:lnTo>
                  <a:lnTo>
                    <a:pt x="114" y="58"/>
                  </a:lnTo>
                  <a:lnTo>
                    <a:pt x="113" y="57"/>
                  </a:lnTo>
                  <a:lnTo>
                    <a:pt x="113" y="54"/>
                  </a:lnTo>
                  <a:lnTo>
                    <a:pt x="114" y="50"/>
                  </a:lnTo>
                  <a:lnTo>
                    <a:pt x="118" y="45"/>
                  </a:lnTo>
                  <a:lnTo>
                    <a:pt x="122" y="41"/>
                  </a:lnTo>
                  <a:lnTo>
                    <a:pt x="124" y="40"/>
                  </a:lnTo>
                  <a:lnTo>
                    <a:pt x="127" y="40"/>
                  </a:lnTo>
                  <a:lnTo>
                    <a:pt x="133" y="41"/>
                  </a:lnTo>
                  <a:lnTo>
                    <a:pt x="138" y="45"/>
                  </a:lnTo>
                  <a:lnTo>
                    <a:pt x="142" y="48"/>
                  </a:lnTo>
                  <a:lnTo>
                    <a:pt x="147" y="51"/>
                  </a:lnTo>
                  <a:lnTo>
                    <a:pt x="152" y="52"/>
                  </a:lnTo>
                  <a:lnTo>
                    <a:pt x="157" y="51"/>
                  </a:lnTo>
                  <a:lnTo>
                    <a:pt x="161" y="48"/>
                  </a:lnTo>
                  <a:lnTo>
                    <a:pt x="167" y="40"/>
                  </a:lnTo>
                  <a:lnTo>
                    <a:pt x="170" y="35"/>
                  </a:lnTo>
                  <a:lnTo>
                    <a:pt x="171" y="31"/>
                  </a:lnTo>
                  <a:lnTo>
                    <a:pt x="173" y="26"/>
                  </a:lnTo>
                  <a:lnTo>
                    <a:pt x="173" y="21"/>
                  </a:lnTo>
                  <a:lnTo>
                    <a:pt x="170" y="18"/>
                  </a:lnTo>
                  <a:lnTo>
                    <a:pt x="166" y="14"/>
                  </a:lnTo>
                  <a:lnTo>
                    <a:pt x="160" y="10"/>
                  </a:lnTo>
                  <a:lnTo>
                    <a:pt x="156" y="7"/>
                  </a:lnTo>
                  <a:lnTo>
                    <a:pt x="154" y="3"/>
                  </a:lnTo>
                  <a:lnTo>
                    <a:pt x="151" y="0"/>
                  </a:lnTo>
                  <a:lnTo>
                    <a:pt x="162" y="5"/>
                  </a:lnTo>
                  <a:lnTo>
                    <a:pt x="174" y="7"/>
                  </a:lnTo>
                  <a:lnTo>
                    <a:pt x="198" y="9"/>
                  </a:lnTo>
                  <a:lnTo>
                    <a:pt x="207" y="9"/>
                  </a:lnTo>
                  <a:lnTo>
                    <a:pt x="209" y="12"/>
                  </a:lnTo>
                  <a:lnTo>
                    <a:pt x="212" y="14"/>
                  </a:lnTo>
                  <a:lnTo>
                    <a:pt x="213" y="19"/>
                  </a:lnTo>
                  <a:lnTo>
                    <a:pt x="213" y="23"/>
                  </a:lnTo>
                  <a:lnTo>
                    <a:pt x="211" y="27"/>
                  </a:lnTo>
                  <a:lnTo>
                    <a:pt x="208" y="32"/>
                  </a:lnTo>
                  <a:lnTo>
                    <a:pt x="202" y="39"/>
                  </a:lnTo>
                  <a:lnTo>
                    <a:pt x="195" y="47"/>
                  </a:lnTo>
                  <a:lnTo>
                    <a:pt x="194" y="52"/>
                  </a:lnTo>
                  <a:lnTo>
                    <a:pt x="194" y="54"/>
                  </a:lnTo>
                  <a:lnTo>
                    <a:pt x="195" y="57"/>
                  </a:lnTo>
                  <a:lnTo>
                    <a:pt x="201" y="64"/>
                  </a:lnTo>
                  <a:lnTo>
                    <a:pt x="203" y="70"/>
                  </a:lnTo>
                  <a:lnTo>
                    <a:pt x="203" y="77"/>
                  </a:lnTo>
                  <a:lnTo>
                    <a:pt x="202" y="84"/>
                  </a:lnTo>
                  <a:lnTo>
                    <a:pt x="201" y="88"/>
                  </a:lnTo>
                  <a:lnTo>
                    <a:pt x="198" y="90"/>
                  </a:lnTo>
                  <a:lnTo>
                    <a:pt x="194" y="92"/>
                  </a:lnTo>
                  <a:lnTo>
                    <a:pt x="192" y="96"/>
                  </a:lnTo>
                  <a:lnTo>
                    <a:pt x="190" y="99"/>
                  </a:lnTo>
                  <a:lnTo>
                    <a:pt x="189" y="103"/>
                  </a:lnTo>
                  <a:lnTo>
                    <a:pt x="190" y="109"/>
                  </a:lnTo>
                  <a:lnTo>
                    <a:pt x="192" y="112"/>
                  </a:lnTo>
                  <a:lnTo>
                    <a:pt x="193" y="115"/>
                  </a:lnTo>
                  <a:lnTo>
                    <a:pt x="195" y="116"/>
                  </a:lnTo>
                  <a:lnTo>
                    <a:pt x="199" y="117"/>
                  </a:lnTo>
                  <a:lnTo>
                    <a:pt x="208" y="120"/>
                  </a:lnTo>
                  <a:lnTo>
                    <a:pt x="216" y="122"/>
                  </a:lnTo>
                  <a:lnTo>
                    <a:pt x="218" y="124"/>
                  </a:lnTo>
                  <a:lnTo>
                    <a:pt x="221" y="128"/>
                  </a:lnTo>
                  <a:lnTo>
                    <a:pt x="223" y="131"/>
                  </a:lnTo>
                  <a:lnTo>
                    <a:pt x="227" y="13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29" name="Freeform 628"/>
            <p:cNvSpPr>
              <a:spLocks/>
            </p:cNvSpPr>
            <p:nvPr/>
          </p:nvSpPr>
          <p:spPr bwMode="auto">
            <a:xfrm>
              <a:off x="6592888" y="3511550"/>
              <a:ext cx="90487" cy="44450"/>
            </a:xfrm>
            <a:custGeom>
              <a:avLst/>
              <a:gdLst>
                <a:gd name="T0" fmla="*/ 2147483647 w 62"/>
                <a:gd name="T1" fmla="*/ 2147483647 h 28"/>
                <a:gd name="T2" fmla="*/ 2147483647 w 62"/>
                <a:gd name="T3" fmla="*/ 2147483647 h 28"/>
                <a:gd name="T4" fmla="*/ 2147483647 w 62"/>
                <a:gd name="T5" fmla="*/ 2147483647 h 28"/>
                <a:gd name="T6" fmla="*/ 2147483647 w 62"/>
                <a:gd name="T7" fmla="*/ 2147483647 h 28"/>
                <a:gd name="T8" fmla="*/ 2147483647 w 62"/>
                <a:gd name="T9" fmla="*/ 2147483647 h 28"/>
                <a:gd name="T10" fmla="*/ 2147483647 w 62"/>
                <a:gd name="T11" fmla="*/ 2147483647 h 28"/>
                <a:gd name="T12" fmla="*/ 2147483647 w 62"/>
                <a:gd name="T13" fmla="*/ 0 h 28"/>
                <a:gd name="T14" fmla="*/ 2147483647 w 62"/>
                <a:gd name="T15" fmla="*/ 0 h 28"/>
                <a:gd name="T16" fmla="*/ 2147483647 w 62"/>
                <a:gd name="T17" fmla="*/ 2147483647 h 28"/>
                <a:gd name="T18" fmla="*/ 2147483647 w 62"/>
                <a:gd name="T19" fmla="*/ 2147483647 h 28"/>
                <a:gd name="T20" fmla="*/ 2147483647 w 62"/>
                <a:gd name="T21" fmla="*/ 2147483647 h 28"/>
                <a:gd name="T22" fmla="*/ 2147483647 w 62"/>
                <a:gd name="T23" fmla="*/ 2147483647 h 28"/>
                <a:gd name="T24" fmla="*/ 2147483647 w 62"/>
                <a:gd name="T25" fmla="*/ 2147483647 h 28"/>
                <a:gd name="T26" fmla="*/ 2147483647 w 62"/>
                <a:gd name="T27" fmla="*/ 2147483647 h 28"/>
                <a:gd name="T28" fmla="*/ 2147483647 w 62"/>
                <a:gd name="T29" fmla="*/ 2147483647 h 28"/>
                <a:gd name="T30" fmla="*/ 2147483647 w 62"/>
                <a:gd name="T31" fmla="*/ 2147483647 h 28"/>
                <a:gd name="T32" fmla="*/ 2147483647 w 62"/>
                <a:gd name="T33" fmla="*/ 2147483647 h 28"/>
                <a:gd name="T34" fmla="*/ 2147483647 w 62"/>
                <a:gd name="T35" fmla="*/ 2147483647 h 28"/>
                <a:gd name="T36" fmla="*/ 2147483647 w 62"/>
                <a:gd name="T37" fmla="*/ 2147483647 h 28"/>
                <a:gd name="T38" fmla="*/ 2147483647 w 62"/>
                <a:gd name="T39" fmla="*/ 2147483647 h 28"/>
                <a:gd name="T40" fmla="*/ 2147483647 w 62"/>
                <a:gd name="T41" fmla="*/ 2147483647 h 28"/>
                <a:gd name="T42" fmla="*/ 2147483647 w 62"/>
                <a:gd name="T43" fmla="*/ 2147483647 h 28"/>
                <a:gd name="T44" fmla="*/ 2147483647 w 62"/>
                <a:gd name="T45" fmla="*/ 2147483647 h 28"/>
                <a:gd name="T46" fmla="*/ 2147483647 w 62"/>
                <a:gd name="T47" fmla="*/ 2147483647 h 28"/>
                <a:gd name="T48" fmla="*/ 2147483647 w 62"/>
                <a:gd name="T49" fmla="*/ 2147483647 h 28"/>
                <a:gd name="T50" fmla="*/ 2147483647 w 62"/>
                <a:gd name="T51" fmla="*/ 2147483647 h 28"/>
                <a:gd name="T52" fmla="*/ 2147483647 w 62"/>
                <a:gd name="T53" fmla="*/ 2147483647 h 28"/>
                <a:gd name="T54" fmla="*/ 0 w 62"/>
                <a:gd name="T55" fmla="*/ 2147483647 h 28"/>
                <a:gd name="T56" fmla="*/ 0 w 62"/>
                <a:gd name="T57" fmla="*/ 2147483647 h 28"/>
                <a:gd name="T58" fmla="*/ 2147483647 w 62"/>
                <a:gd name="T59" fmla="*/ 2147483647 h 28"/>
                <a:gd name="T60" fmla="*/ 2147483647 w 62"/>
                <a:gd name="T61" fmla="*/ 2147483647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2"/>
                <a:gd name="T94" fmla="*/ 0 h 28"/>
                <a:gd name="T95" fmla="*/ 62 w 62"/>
                <a:gd name="T96" fmla="*/ 28 h 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2" h="28">
                  <a:moveTo>
                    <a:pt x="4" y="12"/>
                  </a:moveTo>
                  <a:lnTo>
                    <a:pt x="6" y="9"/>
                  </a:lnTo>
                  <a:lnTo>
                    <a:pt x="8" y="6"/>
                  </a:lnTo>
                  <a:lnTo>
                    <a:pt x="9" y="4"/>
                  </a:lnTo>
                  <a:lnTo>
                    <a:pt x="11" y="4"/>
                  </a:lnTo>
                  <a:lnTo>
                    <a:pt x="23" y="3"/>
                  </a:lnTo>
                  <a:lnTo>
                    <a:pt x="33" y="0"/>
                  </a:lnTo>
                  <a:lnTo>
                    <a:pt x="37" y="0"/>
                  </a:lnTo>
                  <a:lnTo>
                    <a:pt x="41" y="1"/>
                  </a:lnTo>
                  <a:lnTo>
                    <a:pt x="43" y="3"/>
                  </a:lnTo>
                  <a:lnTo>
                    <a:pt x="46" y="4"/>
                  </a:lnTo>
                  <a:lnTo>
                    <a:pt x="47" y="4"/>
                  </a:lnTo>
                  <a:lnTo>
                    <a:pt x="51" y="7"/>
                  </a:lnTo>
                  <a:lnTo>
                    <a:pt x="56" y="9"/>
                  </a:lnTo>
                  <a:lnTo>
                    <a:pt x="60" y="12"/>
                  </a:lnTo>
                  <a:lnTo>
                    <a:pt x="61" y="13"/>
                  </a:lnTo>
                  <a:lnTo>
                    <a:pt x="62" y="16"/>
                  </a:lnTo>
                  <a:lnTo>
                    <a:pt x="62" y="20"/>
                  </a:lnTo>
                  <a:lnTo>
                    <a:pt x="61" y="22"/>
                  </a:lnTo>
                  <a:lnTo>
                    <a:pt x="58" y="23"/>
                  </a:lnTo>
                  <a:lnTo>
                    <a:pt x="52" y="25"/>
                  </a:lnTo>
                  <a:lnTo>
                    <a:pt x="46" y="26"/>
                  </a:lnTo>
                  <a:lnTo>
                    <a:pt x="32" y="28"/>
                  </a:lnTo>
                  <a:lnTo>
                    <a:pt x="18" y="26"/>
                  </a:lnTo>
                  <a:lnTo>
                    <a:pt x="5" y="23"/>
                  </a:lnTo>
                  <a:lnTo>
                    <a:pt x="3" y="22"/>
                  </a:lnTo>
                  <a:lnTo>
                    <a:pt x="1" y="20"/>
                  </a:lnTo>
                  <a:lnTo>
                    <a:pt x="0" y="18"/>
                  </a:lnTo>
                  <a:lnTo>
                    <a:pt x="0" y="14"/>
                  </a:lnTo>
                  <a:lnTo>
                    <a:pt x="4" y="11"/>
                  </a:lnTo>
                  <a:lnTo>
                    <a:pt x="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0" name="Freeform 629"/>
            <p:cNvSpPr>
              <a:spLocks/>
            </p:cNvSpPr>
            <p:nvPr/>
          </p:nvSpPr>
          <p:spPr bwMode="auto">
            <a:xfrm>
              <a:off x="6373814" y="3444878"/>
              <a:ext cx="198437" cy="128588"/>
            </a:xfrm>
            <a:custGeom>
              <a:avLst/>
              <a:gdLst>
                <a:gd name="T0" fmla="*/ 2147483647 w 135"/>
                <a:gd name="T1" fmla="*/ 2147483647 h 81"/>
                <a:gd name="T2" fmla="*/ 2147483647 w 135"/>
                <a:gd name="T3" fmla="*/ 2147483647 h 81"/>
                <a:gd name="T4" fmla="*/ 2147483647 w 135"/>
                <a:gd name="T5" fmla="*/ 2147483647 h 81"/>
                <a:gd name="T6" fmla="*/ 2147483647 w 135"/>
                <a:gd name="T7" fmla="*/ 2147483647 h 81"/>
                <a:gd name="T8" fmla="*/ 2147483647 w 135"/>
                <a:gd name="T9" fmla="*/ 2147483647 h 81"/>
                <a:gd name="T10" fmla="*/ 2147483647 w 135"/>
                <a:gd name="T11" fmla="*/ 2147483647 h 81"/>
                <a:gd name="T12" fmla="*/ 2147483647 w 135"/>
                <a:gd name="T13" fmla="*/ 2147483647 h 81"/>
                <a:gd name="T14" fmla="*/ 2147483647 w 135"/>
                <a:gd name="T15" fmla="*/ 2147483647 h 81"/>
                <a:gd name="T16" fmla="*/ 2147483647 w 135"/>
                <a:gd name="T17" fmla="*/ 2147483647 h 81"/>
                <a:gd name="T18" fmla="*/ 2147483647 w 135"/>
                <a:gd name="T19" fmla="*/ 2147483647 h 81"/>
                <a:gd name="T20" fmla="*/ 2147483647 w 135"/>
                <a:gd name="T21" fmla="*/ 2147483647 h 81"/>
                <a:gd name="T22" fmla="*/ 2147483647 w 135"/>
                <a:gd name="T23" fmla="*/ 2147483647 h 81"/>
                <a:gd name="T24" fmla="*/ 2147483647 w 135"/>
                <a:gd name="T25" fmla="*/ 2147483647 h 81"/>
                <a:gd name="T26" fmla="*/ 2147483647 w 135"/>
                <a:gd name="T27" fmla="*/ 2147483647 h 81"/>
                <a:gd name="T28" fmla="*/ 2147483647 w 135"/>
                <a:gd name="T29" fmla="*/ 0 h 81"/>
                <a:gd name="T30" fmla="*/ 2147483647 w 135"/>
                <a:gd name="T31" fmla="*/ 2147483647 h 81"/>
                <a:gd name="T32" fmla="*/ 2147483647 w 135"/>
                <a:gd name="T33" fmla="*/ 2147483647 h 81"/>
                <a:gd name="T34" fmla="*/ 2147483647 w 135"/>
                <a:gd name="T35" fmla="*/ 2147483647 h 81"/>
                <a:gd name="T36" fmla="*/ 2147483647 w 135"/>
                <a:gd name="T37" fmla="*/ 2147483647 h 81"/>
                <a:gd name="T38" fmla="*/ 2147483647 w 135"/>
                <a:gd name="T39" fmla="*/ 2147483647 h 81"/>
                <a:gd name="T40" fmla="*/ 2147483647 w 135"/>
                <a:gd name="T41" fmla="*/ 2147483647 h 81"/>
                <a:gd name="T42" fmla="*/ 2147483647 w 135"/>
                <a:gd name="T43" fmla="*/ 2147483647 h 81"/>
                <a:gd name="T44" fmla="*/ 2147483647 w 135"/>
                <a:gd name="T45" fmla="*/ 2147483647 h 81"/>
                <a:gd name="T46" fmla="*/ 2147483647 w 135"/>
                <a:gd name="T47" fmla="*/ 2147483647 h 81"/>
                <a:gd name="T48" fmla="*/ 2147483647 w 135"/>
                <a:gd name="T49" fmla="*/ 2147483647 h 81"/>
                <a:gd name="T50" fmla="*/ 2147483647 w 135"/>
                <a:gd name="T51" fmla="*/ 2147483647 h 81"/>
                <a:gd name="T52" fmla="*/ 2147483647 w 135"/>
                <a:gd name="T53" fmla="*/ 2147483647 h 81"/>
                <a:gd name="T54" fmla="*/ 2147483647 w 135"/>
                <a:gd name="T55" fmla="*/ 2147483647 h 81"/>
                <a:gd name="T56" fmla="*/ 2147483647 w 135"/>
                <a:gd name="T57" fmla="*/ 2147483647 h 81"/>
                <a:gd name="T58" fmla="*/ 2147483647 w 135"/>
                <a:gd name="T59" fmla="*/ 2147483647 h 81"/>
                <a:gd name="T60" fmla="*/ 2147483647 w 135"/>
                <a:gd name="T61" fmla="*/ 2147483647 h 81"/>
                <a:gd name="T62" fmla="*/ 2147483647 w 135"/>
                <a:gd name="T63" fmla="*/ 2147483647 h 81"/>
                <a:gd name="T64" fmla="*/ 2147483647 w 135"/>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5"/>
                <a:gd name="T100" fmla="*/ 0 h 81"/>
                <a:gd name="T101" fmla="*/ 135 w 135"/>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5" h="81">
                  <a:moveTo>
                    <a:pt x="135" y="48"/>
                  </a:moveTo>
                  <a:lnTo>
                    <a:pt x="130" y="47"/>
                  </a:lnTo>
                  <a:lnTo>
                    <a:pt x="126" y="46"/>
                  </a:lnTo>
                  <a:lnTo>
                    <a:pt x="117" y="41"/>
                  </a:lnTo>
                  <a:lnTo>
                    <a:pt x="115" y="41"/>
                  </a:lnTo>
                  <a:lnTo>
                    <a:pt x="113" y="41"/>
                  </a:lnTo>
                  <a:lnTo>
                    <a:pt x="110" y="43"/>
                  </a:lnTo>
                  <a:lnTo>
                    <a:pt x="106" y="46"/>
                  </a:lnTo>
                  <a:lnTo>
                    <a:pt x="103" y="46"/>
                  </a:lnTo>
                  <a:lnTo>
                    <a:pt x="101" y="46"/>
                  </a:lnTo>
                  <a:lnTo>
                    <a:pt x="94" y="42"/>
                  </a:lnTo>
                  <a:lnTo>
                    <a:pt x="89" y="39"/>
                  </a:lnTo>
                  <a:lnTo>
                    <a:pt x="86" y="33"/>
                  </a:lnTo>
                  <a:lnTo>
                    <a:pt x="80" y="28"/>
                  </a:lnTo>
                  <a:lnTo>
                    <a:pt x="77" y="27"/>
                  </a:lnTo>
                  <a:lnTo>
                    <a:pt x="73" y="27"/>
                  </a:lnTo>
                  <a:lnTo>
                    <a:pt x="70" y="27"/>
                  </a:lnTo>
                  <a:lnTo>
                    <a:pt x="68" y="27"/>
                  </a:lnTo>
                  <a:lnTo>
                    <a:pt x="68" y="26"/>
                  </a:lnTo>
                  <a:lnTo>
                    <a:pt x="69" y="22"/>
                  </a:lnTo>
                  <a:lnTo>
                    <a:pt x="68" y="21"/>
                  </a:lnTo>
                  <a:lnTo>
                    <a:pt x="67" y="20"/>
                  </a:lnTo>
                  <a:lnTo>
                    <a:pt x="61" y="19"/>
                  </a:lnTo>
                  <a:lnTo>
                    <a:pt x="58" y="19"/>
                  </a:lnTo>
                  <a:lnTo>
                    <a:pt x="54" y="17"/>
                  </a:lnTo>
                  <a:lnTo>
                    <a:pt x="51" y="15"/>
                  </a:lnTo>
                  <a:lnTo>
                    <a:pt x="50" y="13"/>
                  </a:lnTo>
                  <a:lnTo>
                    <a:pt x="45" y="8"/>
                  </a:lnTo>
                  <a:lnTo>
                    <a:pt x="39" y="3"/>
                  </a:lnTo>
                  <a:lnTo>
                    <a:pt x="32" y="0"/>
                  </a:lnTo>
                  <a:lnTo>
                    <a:pt x="30" y="0"/>
                  </a:lnTo>
                  <a:lnTo>
                    <a:pt x="27" y="1"/>
                  </a:lnTo>
                  <a:lnTo>
                    <a:pt x="21" y="3"/>
                  </a:lnTo>
                  <a:lnTo>
                    <a:pt x="17" y="3"/>
                  </a:lnTo>
                  <a:lnTo>
                    <a:pt x="14" y="2"/>
                  </a:lnTo>
                  <a:lnTo>
                    <a:pt x="13" y="7"/>
                  </a:lnTo>
                  <a:lnTo>
                    <a:pt x="13" y="10"/>
                  </a:lnTo>
                  <a:lnTo>
                    <a:pt x="13" y="15"/>
                  </a:lnTo>
                  <a:lnTo>
                    <a:pt x="12" y="19"/>
                  </a:lnTo>
                  <a:lnTo>
                    <a:pt x="8" y="21"/>
                  </a:lnTo>
                  <a:lnTo>
                    <a:pt x="4" y="23"/>
                  </a:lnTo>
                  <a:lnTo>
                    <a:pt x="2" y="26"/>
                  </a:lnTo>
                  <a:lnTo>
                    <a:pt x="0" y="30"/>
                  </a:lnTo>
                  <a:lnTo>
                    <a:pt x="2" y="32"/>
                  </a:lnTo>
                  <a:lnTo>
                    <a:pt x="4" y="33"/>
                  </a:lnTo>
                  <a:lnTo>
                    <a:pt x="9" y="35"/>
                  </a:lnTo>
                  <a:lnTo>
                    <a:pt x="14" y="38"/>
                  </a:lnTo>
                  <a:lnTo>
                    <a:pt x="23" y="46"/>
                  </a:lnTo>
                  <a:lnTo>
                    <a:pt x="26" y="47"/>
                  </a:lnTo>
                  <a:lnTo>
                    <a:pt x="30" y="47"/>
                  </a:lnTo>
                  <a:lnTo>
                    <a:pt x="33" y="47"/>
                  </a:lnTo>
                  <a:lnTo>
                    <a:pt x="37" y="48"/>
                  </a:lnTo>
                  <a:lnTo>
                    <a:pt x="42" y="54"/>
                  </a:lnTo>
                  <a:lnTo>
                    <a:pt x="45" y="56"/>
                  </a:lnTo>
                  <a:lnTo>
                    <a:pt x="49" y="59"/>
                  </a:lnTo>
                  <a:lnTo>
                    <a:pt x="77" y="71"/>
                  </a:lnTo>
                  <a:lnTo>
                    <a:pt x="91" y="77"/>
                  </a:lnTo>
                  <a:lnTo>
                    <a:pt x="105" y="80"/>
                  </a:lnTo>
                  <a:lnTo>
                    <a:pt x="112" y="81"/>
                  </a:lnTo>
                  <a:lnTo>
                    <a:pt x="119" y="80"/>
                  </a:lnTo>
                  <a:lnTo>
                    <a:pt x="125" y="79"/>
                  </a:lnTo>
                  <a:lnTo>
                    <a:pt x="131" y="75"/>
                  </a:lnTo>
                  <a:lnTo>
                    <a:pt x="133" y="73"/>
                  </a:lnTo>
                  <a:lnTo>
                    <a:pt x="134" y="70"/>
                  </a:lnTo>
                  <a:lnTo>
                    <a:pt x="135" y="62"/>
                  </a:lnTo>
                  <a:lnTo>
                    <a:pt x="135" y="55"/>
                  </a:lnTo>
                  <a:lnTo>
                    <a:pt x="135" y="4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1" name="Freeform 630"/>
            <p:cNvSpPr>
              <a:spLocks/>
            </p:cNvSpPr>
            <p:nvPr/>
          </p:nvSpPr>
          <p:spPr bwMode="auto">
            <a:xfrm>
              <a:off x="6591301" y="3509964"/>
              <a:ext cx="90488" cy="42862"/>
            </a:xfrm>
            <a:custGeom>
              <a:avLst/>
              <a:gdLst>
                <a:gd name="T0" fmla="*/ 2147483647 w 62"/>
                <a:gd name="T1" fmla="*/ 2147483647 h 27"/>
                <a:gd name="T2" fmla="*/ 2147483647 w 62"/>
                <a:gd name="T3" fmla="*/ 2147483647 h 27"/>
                <a:gd name="T4" fmla="*/ 2147483647 w 62"/>
                <a:gd name="T5" fmla="*/ 2147483647 h 27"/>
                <a:gd name="T6" fmla="*/ 2147483647 w 62"/>
                <a:gd name="T7" fmla="*/ 2147483647 h 27"/>
                <a:gd name="T8" fmla="*/ 2147483647 w 62"/>
                <a:gd name="T9" fmla="*/ 2147483647 h 27"/>
                <a:gd name="T10" fmla="*/ 2147483647 w 62"/>
                <a:gd name="T11" fmla="*/ 2147483647 h 27"/>
                <a:gd name="T12" fmla="*/ 2147483647 w 62"/>
                <a:gd name="T13" fmla="*/ 2147483647 h 27"/>
                <a:gd name="T14" fmla="*/ 2147483647 w 62"/>
                <a:gd name="T15" fmla="*/ 2147483647 h 27"/>
                <a:gd name="T16" fmla="*/ 2147483647 w 62"/>
                <a:gd name="T17" fmla="*/ 0 h 27"/>
                <a:gd name="T18" fmla="*/ 2147483647 w 62"/>
                <a:gd name="T19" fmla="*/ 0 h 27"/>
                <a:gd name="T20" fmla="*/ 2147483647 w 62"/>
                <a:gd name="T21" fmla="*/ 0 h 27"/>
                <a:gd name="T22" fmla="*/ 2147483647 w 62"/>
                <a:gd name="T23" fmla="*/ 2147483647 h 27"/>
                <a:gd name="T24" fmla="*/ 2147483647 w 62"/>
                <a:gd name="T25" fmla="*/ 2147483647 h 27"/>
                <a:gd name="T26" fmla="*/ 2147483647 w 62"/>
                <a:gd name="T27" fmla="*/ 2147483647 h 27"/>
                <a:gd name="T28" fmla="*/ 2147483647 w 62"/>
                <a:gd name="T29" fmla="*/ 2147483647 h 27"/>
                <a:gd name="T30" fmla="*/ 2147483647 w 62"/>
                <a:gd name="T31" fmla="*/ 2147483647 h 27"/>
                <a:gd name="T32" fmla="*/ 2147483647 w 62"/>
                <a:gd name="T33" fmla="*/ 2147483647 h 27"/>
                <a:gd name="T34" fmla="*/ 2147483647 w 62"/>
                <a:gd name="T35" fmla="*/ 2147483647 h 27"/>
                <a:gd name="T36" fmla="*/ 2147483647 w 62"/>
                <a:gd name="T37" fmla="*/ 2147483647 h 27"/>
                <a:gd name="T38" fmla="*/ 2147483647 w 62"/>
                <a:gd name="T39" fmla="*/ 2147483647 h 27"/>
                <a:gd name="T40" fmla="*/ 2147483647 w 62"/>
                <a:gd name="T41" fmla="*/ 2147483647 h 27"/>
                <a:gd name="T42" fmla="*/ 2147483647 w 62"/>
                <a:gd name="T43" fmla="*/ 2147483647 h 27"/>
                <a:gd name="T44" fmla="*/ 2147483647 w 62"/>
                <a:gd name="T45" fmla="*/ 2147483647 h 27"/>
                <a:gd name="T46" fmla="*/ 2147483647 w 62"/>
                <a:gd name="T47" fmla="*/ 2147483647 h 27"/>
                <a:gd name="T48" fmla="*/ 2147483647 w 62"/>
                <a:gd name="T49" fmla="*/ 2147483647 h 27"/>
                <a:gd name="T50" fmla="*/ 2147483647 w 62"/>
                <a:gd name="T51" fmla="*/ 2147483647 h 27"/>
                <a:gd name="T52" fmla="*/ 2147483647 w 62"/>
                <a:gd name="T53" fmla="*/ 2147483647 h 27"/>
                <a:gd name="T54" fmla="*/ 2147483647 w 62"/>
                <a:gd name="T55" fmla="*/ 2147483647 h 27"/>
                <a:gd name="T56" fmla="*/ 2147483647 w 62"/>
                <a:gd name="T57" fmla="*/ 2147483647 h 27"/>
                <a:gd name="T58" fmla="*/ 2147483647 w 62"/>
                <a:gd name="T59" fmla="*/ 2147483647 h 27"/>
                <a:gd name="T60" fmla="*/ 2147483647 w 62"/>
                <a:gd name="T61" fmla="*/ 2147483647 h 27"/>
                <a:gd name="T62" fmla="*/ 2147483647 w 62"/>
                <a:gd name="T63" fmla="*/ 2147483647 h 27"/>
                <a:gd name="T64" fmla="*/ 2147483647 w 62"/>
                <a:gd name="T65" fmla="*/ 2147483647 h 27"/>
                <a:gd name="T66" fmla="*/ 2147483647 w 62"/>
                <a:gd name="T67" fmla="*/ 2147483647 h 27"/>
                <a:gd name="T68" fmla="*/ 2147483647 w 62"/>
                <a:gd name="T69" fmla="*/ 2147483647 h 27"/>
                <a:gd name="T70" fmla="*/ 0 w 62"/>
                <a:gd name="T71" fmla="*/ 2147483647 h 27"/>
                <a:gd name="T72" fmla="*/ 0 w 62"/>
                <a:gd name="T73" fmla="*/ 2147483647 h 27"/>
                <a:gd name="T74" fmla="*/ 2147483647 w 62"/>
                <a:gd name="T75" fmla="*/ 2147483647 h 27"/>
                <a:gd name="T76" fmla="*/ 2147483647 w 62"/>
                <a:gd name="T77" fmla="*/ 2147483647 h 27"/>
                <a:gd name="T78" fmla="*/ 2147483647 w 62"/>
                <a:gd name="T79" fmla="*/ 2147483647 h 27"/>
                <a:gd name="T80" fmla="*/ 2147483647 w 62"/>
                <a:gd name="T81" fmla="*/ 2147483647 h 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
                <a:gd name="T124" fmla="*/ 0 h 27"/>
                <a:gd name="T125" fmla="*/ 62 w 62"/>
                <a:gd name="T126" fmla="*/ 27 h 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 h="27">
                  <a:moveTo>
                    <a:pt x="4" y="12"/>
                  </a:moveTo>
                  <a:lnTo>
                    <a:pt x="4" y="12"/>
                  </a:lnTo>
                  <a:lnTo>
                    <a:pt x="6" y="8"/>
                  </a:lnTo>
                  <a:lnTo>
                    <a:pt x="7" y="6"/>
                  </a:lnTo>
                  <a:lnTo>
                    <a:pt x="9" y="4"/>
                  </a:lnTo>
                  <a:lnTo>
                    <a:pt x="11" y="4"/>
                  </a:lnTo>
                  <a:lnTo>
                    <a:pt x="23" y="2"/>
                  </a:lnTo>
                  <a:lnTo>
                    <a:pt x="33" y="0"/>
                  </a:lnTo>
                  <a:lnTo>
                    <a:pt x="37" y="0"/>
                  </a:lnTo>
                  <a:lnTo>
                    <a:pt x="40" y="1"/>
                  </a:lnTo>
                  <a:lnTo>
                    <a:pt x="43" y="2"/>
                  </a:lnTo>
                  <a:lnTo>
                    <a:pt x="45" y="4"/>
                  </a:lnTo>
                  <a:lnTo>
                    <a:pt x="47" y="4"/>
                  </a:lnTo>
                  <a:lnTo>
                    <a:pt x="51" y="7"/>
                  </a:lnTo>
                  <a:lnTo>
                    <a:pt x="56" y="8"/>
                  </a:lnTo>
                  <a:lnTo>
                    <a:pt x="59" y="12"/>
                  </a:lnTo>
                  <a:lnTo>
                    <a:pt x="61" y="13"/>
                  </a:lnTo>
                  <a:lnTo>
                    <a:pt x="62" y="15"/>
                  </a:lnTo>
                  <a:lnTo>
                    <a:pt x="62" y="20"/>
                  </a:lnTo>
                  <a:lnTo>
                    <a:pt x="61" y="21"/>
                  </a:lnTo>
                  <a:lnTo>
                    <a:pt x="58" y="23"/>
                  </a:lnTo>
                  <a:lnTo>
                    <a:pt x="52" y="25"/>
                  </a:lnTo>
                  <a:lnTo>
                    <a:pt x="45" y="26"/>
                  </a:lnTo>
                  <a:lnTo>
                    <a:pt x="32" y="27"/>
                  </a:lnTo>
                  <a:lnTo>
                    <a:pt x="18" y="26"/>
                  </a:lnTo>
                  <a:lnTo>
                    <a:pt x="5" y="23"/>
                  </a:lnTo>
                  <a:lnTo>
                    <a:pt x="2" y="21"/>
                  </a:lnTo>
                  <a:lnTo>
                    <a:pt x="1" y="20"/>
                  </a:lnTo>
                  <a:lnTo>
                    <a:pt x="0" y="18"/>
                  </a:lnTo>
                  <a:lnTo>
                    <a:pt x="0" y="14"/>
                  </a:lnTo>
                  <a:lnTo>
                    <a:pt x="4" y="11"/>
                  </a:lnTo>
                  <a:lnTo>
                    <a:pt x="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2" name="Freeform 631"/>
            <p:cNvSpPr>
              <a:spLocks/>
            </p:cNvSpPr>
            <p:nvPr/>
          </p:nvSpPr>
          <p:spPr bwMode="auto">
            <a:xfrm>
              <a:off x="6372225" y="3441701"/>
              <a:ext cx="198438" cy="130175"/>
            </a:xfrm>
            <a:custGeom>
              <a:avLst/>
              <a:gdLst>
                <a:gd name="T0" fmla="*/ 2147483647 w 135"/>
                <a:gd name="T1" fmla="*/ 2147483647 h 82"/>
                <a:gd name="T2" fmla="*/ 2147483647 w 135"/>
                <a:gd name="T3" fmla="*/ 2147483647 h 82"/>
                <a:gd name="T4" fmla="*/ 2147483647 w 135"/>
                <a:gd name="T5" fmla="*/ 2147483647 h 82"/>
                <a:gd name="T6" fmla="*/ 2147483647 w 135"/>
                <a:gd name="T7" fmla="*/ 2147483647 h 82"/>
                <a:gd name="T8" fmla="*/ 2147483647 w 135"/>
                <a:gd name="T9" fmla="*/ 2147483647 h 82"/>
                <a:gd name="T10" fmla="*/ 2147483647 w 135"/>
                <a:gd name="T11" fmla="*/ 2147483647 h 82"/>
                <a:gd name="T12" fmla="*/ 2147483647 w 135"/>
                <a:gd name="T13" fmla="*/ 2147483647 h 82"/>
                <a:gd name="T14" fmla="*/ 2147483647 w 135"/>
                <a:gd name="T15" fmla="*/ 2147483647 h 82"/>
                <a:gd name="T16" fmla="*/ 2147483647 w 135"/>
                <a:gd name="T17" fmla="*/ 2147483647 h 82"/>
                <a:gd name="T18" fmla="*/ 2147483647 w 135"/>
                <a:gd name="T19" fmla="*/ 2147483647 h 82"/>
                <a:gd name="T20" fmla="*/ 2147483647 w 135"/>
                <a:gd name="T21" fmla="*/ 2147483647 h 82"/>
                <a:gd name="T22" fmla="*/ 2147483647 w 135"/>
                <a:gd name="T23" fmla="*/ 2147483647 h 82"/>
                <a:gd name="T24" fmla="*/ 2147483647 w 135"/>
                <a:gd name="T25" fmla="*/ 2147483647 h 82"/>
                <a:gd name="T26" fmla="*/ 2147483647 w 135"/>
                <a:gd name="T27" fmla="*/ 2147483647 h 82"/>
                <a:gd name="T28" fmla="*/ 2147483647 w 135"/>
                <a:gd name="T29" fmla="*/ 2147483647 h 82"/>
                <a:gd name="T30" fmla="*/ 2147483647 w 135"/>
                <a:gd name="T31" fmla="*/ 2147483647 h 82"/>
                <a:gd name="T32" fmla="*/ 2147483647 w 135"/>
                <a:gd name="T33" fmla="*/ 2147483647 h 82"/>
                <a:gd name="T34" fmla="*/ 2147483647 w 135"/>
                <a:gd name="T35" fmla="*/ 2147483647 h 82"/>
                <a:gd name="T36" fmla="*/ 2147483647 w 135"/>
                <a:gd name="T37" fmla="*/ 2147483647 h 82"/>
                <a:gd name="T38" fmla="*/ 2147483647 w 135"/>
                <a:gd name="T39" fmla="*/ 0 h 82"/>
                <a:gd name="T40" fmla="*/ 2147483647 w 135"/>
                <a:gd name="T41" fmla="*/ 2147483647 h 82"/>
                <a:gd name="T42" fmla="*/ 2147483647 w 135"/>
                <a:gd name="T43" fmla="*/ 2147483647 h 82"/>
                <a:gd name="T44" fmla="*/ 2147483647 w 135"/>
                <a:gd name="T45" fmla="*/ 2147483647 h 82"/>
                <a:gd name="T46" fmla="*/ 2147483647 w 135"/>
                <a:gd name="T47" fmla="*/ 2147483647 h 82"/>
                <a:gd name="T48" fmla="*/ 2147483647 w 135"/>
                <a:gd name="T49" fmla="*/ 2147483647 h 82"/>
                <a:gd name="T50" fmla="*/ 2147483647 w 135"/>
                <a:gd name="T51" fmla="*/ 2147483647 h 82"/>
                <a:gd name="T52" fmla="*/ 2147483647 w 135"/>
                <a:gd name="T53" fmla="*/ 2147483647 h 82"/>
                <a:gd name="T54" fmla="*/ 0 w 135"/>
                <a:gd name="T55" fmla="*/ 2147483647 h 82"/>
                <a:gd name="T56" fmla="*/ 2147483647 w 135"/>
                <a:gd name="T57" fmla="*/ 2147483647 h 82"/>
                <a:gd name="T58" fmla="*/ 2147483647 w 135"/>
                <a:gd name="T59" fmla="*/ 2147483647 h 82"/>
                <a:gd name="T60" fmla="*/ 2147483647 w 135"/>
                <a:gd name="T61" fmla="*/ 2147483647 h 82"/>
                <a:gd name="T62" fmla="*/ 2147483647 w 135"/>
                <a:gd name="T63" fmla="*/ 2147483647 h 82"/>
                <a:gd name="T64" fmla="*/ 2147483647 w 135"/>
                <a:gd name="T65" fmla="*/ 2147483647 h 82"/>
                <a:gd name="T66" fmla="*/ 2147483647 w 135"/>
                <a:gd name="T67" fmla="*/ 2147483647 h 82"/>
                <a:gd name="T68" fmla="*/ 2147483647 w 135"/>
                <a:gd name="T69" fmla="*/ 2147483647 h 82"/>
                <a:gd name="T70" fmla="*/ 2147483647 w 135"/>
                <a:gd name="T71" fmla="*/ 2147483647 h 82"/>
                <a:gd name="T72" fmla="*/ 2147483647 w 135"/>
                <a:gd name="T73" fmla="*/ 2147483647 h 82"/>
                <a:gd name="T74" fmla="*/ 2147483647 w 135"/>
                <a:gd name="T75" fmla="*/ 2147483647 h 82"/>
                <a:gd name="T76" fmla="*/ 2147483647 w 135"/>
                <a:gd name="T77" fmla="*/ 2147483647 h 82"/>
                <a:gd name="T78" fmla="*/ 2147483647 w 135"/>
                <a:gd name="T79" fmla="*/ 2147483647 h 82"/>
                <a:gd name="T80" fmla="*/ 2147483647 w 135"/>
                <a:gd name="T81" fmla="*/ 2147483647 h 82"/>
                <a:gd name="T82" fmla="*/ 2147483647 w 135"/>
                <a:gd name="T83" fmla="*/ 2147483647 h 82"/>
                <a:gd name="T84" fmla="*/ 2147483647 w 135"/>
                <a:gd name="T85" fmla="*/ 2147483647 h 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5"/>
                <a:gd name="T130" fmla="*/ 0 h 82"/>
                <a:gd name="T131" fmla="*/ 135 w 135"/>
                <a:gd name="T132" fmla="*/ 82 h 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5" h="82">
                  <a:moveTo>
                    <a:pt x="135" y="49"/>
                  </a:moveTo>
                  <a:lnTo>
                    <a:pt x="135" y="49"/>
                  </a:lnTo>
                  <a:lnTo>
                    <a:pt x="130" y="48"/>
                  </a:lnTo>
                  <a:lnTo>
                    <a:pt x="126" y="47"/>
                  </a:lnTo>
                  <a:lnTo>
                    <a:pt x="117" y="42"/>
                  </a:lnTo>
                  <a:lnTo>
                    <a:pt x="114" y="42"/>
                  </a:lnTo>
                  <a:lnTo>
                    <a:pt x="113" y="42"/>
                  </a:lnTo>
                  <a:lnTo>
                    <a:pt x="109" y="44"/>
                  </a:lnTo>
                  <a:lnTo>
                    <a:pt x="106" y="47"/>
                  </a:lnTo>
                  <a:lnTo>
                    <a:pt x="103" y="47"/>
                  </a:lnTo>
                  <a:lnTo>
                    <a:pt x="101" y="47"/>
                  </a:lnTo>
                  <a:lnTo>
                    <a:pt x="94" y="43"/>
                  </a:lnTo>
                  <a:lnTo>
                    <a:pt x="89" y="40"/>
                  </a:lnTo>
                  <a:lnTo>
                    <a:pt x="85" y="34"/>
                  </a:lnTo>
                  <a:lnTo>
                    <a:pt x="80" y="29"/>
                  </a:lnTo>
                  <a:lnTo>
                    <a:pt x="76" y="28"/>
                  </a:lnTo>
                  <a:lnTo>
                    <a:pt x="73" y="28"/>
                  </a:lnTo>
                  <a:lnTo>
                    <a:pt x="70" y="28"/>
                  </a:lnTo>
                  <a:lnTo>
                    <a:pt x="68" y="28"/>
                  </a:lnTo>
                  <a:lnTo>
                    <a:pt x="68" y="26"/>
                  </a:lnTo>
                  <a:lnTo>
                    <a:pt x="69" y="23"/>
                  </a:lnTo>
                  <a:lnTo>
                    <a:pt x="68" y="22"/>
                  </a:lnTo>
                  <a:lnTo>
                    <a:pt x="66" y="21"/>
                  </a:lnTo>
                  <a:lnTo>
                    <a:pt x="61" y="19"/>
                  </a:lnTo>
                  <a:lnTo>
                    <a:pt x="57" y="19"/>
                  </a:lnTo>
                  <a:lnTo>
                    <a:pt x="54" y="18"/>
                  </a:lnTo>
                  <a:lnTo>
                    <a:pt x="51" y="16"/>
                  </a:lnTo>
                  <a:lnTo>
                    <a:pt x="50" y="13"/>
                  </a:lnTo>
                  <a:lnTo>
                    <a:pt x="45" y="9"/>
                  </a:lnTo>
                  <a:lnTo>
                    <a:pt x="38" y="4"/>
                  </a:lnTo>
                  <a:lnTo>
                    <a:pt x="32" y="0"/>
                  </a:lnTo>
                  <a:lnTo>
                    <a:pt x="29" y="0"/>
                  </a:lnTo>
                  <a:lnTo>
                    <a:pt x="27" y="2"/>
                  </a:lnTo>
                  <a:lnTo>
                    <a:pt x="21" y="4"/>
                  </a:lnTo>
                  <a:lnTo>
                    <a:pt x="17" y="4"/>
                  </a:lnTo>
                  <a:lnTo>
                    <a:pt x="14" y="3"/>
                  </a:lnTo>
                  <a:lnTo>
                    <a:pt x="13" y="7"/>
                  </a:lnTo>
                  <a:lnTo>
                    <a:pt x="13" y="11"/>
                  </a:lnTo>
                  <a:lnTo>
                    <a:pt x="13" y="16"/>
                  </a:lnTo>
                  <a:lnTo>
                    <a:pt x="12" y="19"/>
                  </a:lnTo>
                  <a:lnTo>
                    <a:pt x="8" y="22"/>
                  </a:lnTo>
                  <a:lnTo>
                    <a:pt x="4" y="24"/>
                  </a:lnTo>
                  <a:lnTo>
                    <a:pt x="1" y="26"/>
                  </a:lnTo>
                  <a:lnTo>
                    <a:pt x="0" y="31"/>
                  </a:lnTo>
                  <a:lnTo>
                    <a:pt x="1" y="32"/>
                  </a:lnTo>
                  <a:lnTo>
                    <a:pt x="4" y="34"/>
                  </a:lnTo>
                  <a:lnTo>
                    <a:pt x="9" y="36"/>
                  </a:lnTo>
                  <a:lnTo>
                    <a:pt x="14" y="38"/>
                  </a:lnTo>
                  <a:lnTo>
                    <a:pt x="23" y="47"/>
                  </a:lnTo>
                  <a:lnTo>
                    <a:pt x="26" y="48"/>
                  </a:lnTo>
                  <a:lnTo>
                    <a:pt x="29" y="48"/>
                  </a:lnTo>
                  <a:lnTo>
                    <a:pt x="33" y="48"/>
                  </a:lnTo>
                  <a:lnTo>
                    <a:pt x="37" y="49"/>
                  </a:lnTo>
                  <a:lnTo>
                    <a:pt x="42" y="55"/>
                  </a:lnTo>
                  <a:lnTo>
                    <a:pt x="45" y="57"/>
                  </a:lnTo>
                  <a:lnTo>
                    <a:pt x="48" y="60"/>
                  </a:lnTo>
                  <a:lnTo>
                    <a:pt x="76" y="72"/>
                  </a:lnTo>
                  <a:lnTo>
                    <a:pt x="90" y="77"/>
                  </a:lnTo>
                  <a:lnTo>
                    <a:pt x="104" y="81"/>
                  </a:lnTo>
                  <a:lnTo>
                    <a:pt x="112" y="82"/>
                  </a:lnTo>
                  <a:lnTo>
                    <a:pt x="118" y="81"/>
                  </a:lnTo>
                  <a:lnTo>
                    <a:pt x="125" y="80"/>
                  </a:lnTo>
                  <a:lnTo>
                    <a:pt x="131" y="76"/>
                  </a:lnTo>
                  <a:lnTo>
                    <a:pt x="132" y="74"/>
                  </a:lnTo>
                  <a:lnTo>
                    <a:pt x="134" y="70"/>
                  </a:lnTo>
                  <a:lnTo>
                    <a:pt x="135" y="63"/>
                  </a:lnTo>
                  <a:lnTo>
                    <a:pt x="135" y="56"/>
                  </a:lnTo>
                  <a:lnTo>
                    <a:pt x="135" y="4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3" name="Freeform 632"/>
            <p:cNvSpPr>
              <a:spLocks/>
            </p:cNvSpPr>
            <p:nvPr/>
          </p:nvSpPr>
          <p:spPr bwMode="auto">
            <a:xfrm>
              <a:off x="7069138" y="3779841"/>
              <a:ext cx="74612" cy="63500"/>
            </a:xfrm>
            <a:custGeom>
              <a:avLst/>
              <a:gdLst>
                <a:gd name="T0" fmla="*/ 2147483647 w 51"/>
                <a:gd name="T1" fmla="*/ 2147483647 h 40"/>
                <a:gd name="T2" fmla="*/ 2147483647 w 51"/>
                <a:gd name="T3" fmla="*/ 2147483647 h 40"/>
                <a:gd name="T4" fmla="*/ 2147483647 w 51"/>
                <a:gd name="T5" fmla="*/ 2147483647 h 40"/>
                <a:gd name="T6" fmla="*/ 2147483647 w 51"/>
                <a:gd name="T7" fmla="*/ 2147483647 h 40"/>
                <a:gd name="T8" fmla="*/ 2147483647 w 51"/>
                <a:gd name="T9" fmla="*/ 0 h 40"/>
                <a:gd name="T10" fmla="*/ 2147483647 w 51"/>
                <a:gd name="T11" fmla="*/ 2147483647 h 40"/>
                <a:gd name="T12" fmla="*/ 2147483647 w 51"/>
                <a:gd name="T13" fmla="*/ 2147483647 h 40"/>
                <a:gd name="T14" fmla="*/ 2147483647 w 51"/>
                <a:gd name="T15" fmla="*/ 2147483647 h 40"/>
                <a:gd name="T16" fmla="*/ 2147483647 w 51"/>
                <a:gd name="T17" fmla="*/ 2147483647 h 40"/>
                <a:gd name="T18" fmla="*/ 2147483647 w 51"/>
                <a:gd name="T19" fmla="*/ 2147483647 h 40"/>
                <a:gd name="T20" fmla="*/ 2147483647 w 51"/>
                <a:gd name="T21" fmla="*/ 2147483647 h 40"/>
                <a:gd name="T22" fmla="*/ 2147483647 w 51"/>
                <a:gd name="T23" fmla="*/ 2147483647 h 40"/>
                <a:gd name="T24" fmla="*/ 2147483647 w 51"/>
                <a:gd name="T25" fmla="*/ 2147483647 h 40"/>
                <a:gd name="T26" fmla="*/ 2147483647 w 51"/>
                <a:gd name="T27" fmla="*/ 2147483647 h 40"/>
                <a:gd name="T28" fmla="*/ 0 w 51"/>
                <a:gd name="T29" fmla="*/ 2147483647 h 40"/>
                <a:gd name="T30" fmla="*/ 0 w 51"/>
                <a:gd name="T31" fmla="*/ 2147483647 h 40"/>
                <a:gd name="T32" fmla="*/ 2147483647 w 51"/>
                <a:gd name="T33" fmla="*/ 2147483647 h 40"/>
                <a:gd name="T34" fmla="*/ 2147483647 w 51"/>
                <a:gd name="T35" fmla="*/ 2147483647 h 40"/>
                <a:gd name="T36" fmla="*/ 2147483647 w 51"/>
                <a:gd name="T37" fmla="*/ 2147483647 h 40"/>
                <a:gd name="T38" fmla="*/ 2147483647 w 51"/>
                <a:gd name="T39" fmla="*/ 2147483647 h 40"/>
                <a:gd name="T40" fmla="*/ 2147483647 w 51"/>
                <a:gd name="T41" fmla="*/ 2147483647 h 40"/>
                <a:gd name="T42" fmla="*/ 2147483647 w 51"/>
                <a:gd name="T43" fmla="*/ 2147483647 h 40"/>
                <a:gd name="T44" fmla="*/ 2147483647 w 51"/>
                <a:gd name="T45" fmla="*/ 2147483647 h 40"/>
                <a:gd name="T46" fmla="*/ 2147483647 w 51"/>
                <a:gd name="T47" fmla="*/ 2147483647 h 40"/>
                <a:gd name="T48" fmla="*/ 2147483647 w 51"/>
                <a:gd name="T49" fmla="*/ 2147483647 h 40"/>
                <a:gd name="T50" fmla="*/ 2147483647 w 51"/>
                <a:gd name="T51" fmla="*/ 2147483647 h 40"/>
                <a:gd name="T52" fmla="*/ 2147483647 w 51"/>
                <a:gd name="T53" fmla="*/ 2147483647 h 40"/>
                <a:gd name="T54" fmla="*/ 2147483647 w 51"/>
                <a:gd name="T55" fmla="*/ 2147483647 h 40"/>
                <a:gd name="T56" fmla="*/ 2147483647 w 51"/>
                <a:gd name="T57" fmla="*/ 2147483647 h 40"/>
                <a:gd name="T58" fmla="*/ 2147483647 w 51"/>
                <a:gd name="T59" fmla="*/ 2147483647 h 40"/>
                <a:gd name="T60" fmla="*/ 2147483647 w 51"/>
                <a:gd name="T61" fmla="*/ 2147483647 h 40"/>
                <a:gd name="T62" fmla="*/ 2147483647 w 51"/>
                <a:gd name="T63" fmla="*/ 2147483647 h 40"/>
                <a:gd name="T64" fmla="*/ 2147483647 w 51"/>
                <a:gd name="T65" fmla="*/ 2147483647 h 40"/>
                <a:gd name="T66" fmla="*/ 2147483647 w 51"/>
                <a:gd name="T67" fmla="*/ 2147483647 h 40"/>
                <a:gd name="T68" fmla="*/ 2147483647 w 51"/>
                <a:gd name="T69" fmla="*/ 2147483647 h 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1"/>
                <a:gd name="T106" fmla="*/ 0 h 40"/>
                <a:gd name="T107" fmla="*/ 51 w 51"/>
                <a:gd name="T108" fmla="*/ 40 h 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1" h="40">
                  <a:moveTo>
                    <a:pt x="47" y="13"/>
                  </a:moveTo>
                  <a:lnTo>
                    <a:pt x="51" y="7"/>
                  </a:lnTo>
                  <a:lnTo>
                    <a:pt x="51" y="4"/>
                  </a:lnTo>
                  <a:lnTo>
                    <a:pt x="51" y="2"/>
                  </a:lnTo>
                  <a:lnTo>
                    <a:pt x="48" y="0"/>
                  </a:lnTo>
                  <a:lnTo>
                    <a:pt x="46" y="1"/>
                  </a:lnTo>
                  <a:lnTo>
                    <a:pt x="41" y="2"/>
                  </a:lnTo>
                  <a:lnTo>
                    <a:pt x="34" y="3"/>
                  </a:lnTo>
                  <a:lnTo>
                    <a:pt x="23" y="4"/>
                  </a:lnTo>
                  <a:lnTo>
                    <a:pt x="18" y="6"/>
                  </a:lnTo>
                  <a:lnTo>
                    <a:pt x="13" y="8"/>
                  </a:lnTo>
                  <a:lnTo>
                    <a:pt x="12" y="9"/>
                  </a:lnTo>
                  <a:lnTo>
                    <a:pt x="8" y="15"/>
                  </a:lnTo>
                  <a:lnTo>
                    <a:pt x="1" y="20"/>
                  </a:lnTo>
                  <a:lnTo>
                    <a:pt x="0" y="21"/>
                  </a:lnTo>
                  <a:lnTo>
                    <a:pt x="0" y="23"/>
                  </a:lnTo>
                  <a:lnTo>
                    <a:pt x="1" y="27"/>
                  </a:lnTo>
                  <a:lnTo>
                    <a:pt x="5" y="33"/>
                  </a:lnTo>
                  <a:lnTo>
                    <a:pt x="5" y="35"/>
                  </a:lnTo>
                  <a:lnTo>
                    <a:pt x="5" y="38"/>
                  </a:lnTo>
                  <a:lnTo>
                    <a:pt x="5" y="39"/>
                  </a:lnTo>
                  <a:lnTo>
                    <a:pt x="8" y="39"/>
                  </a:lnTo>
                  <a:lnTo>
                    <a:pt x="10" y="38"/>
                  </a:lnTo>
                  <a:lnTo>
                    <a:pt x="14" y="38"/>
                  </a:lnTo>
                  <a:lnTo>
                    <a:pt x="17" y="39"/>
                  </a:lnTo>
                  <a:lnTo>
                    <a:pt x="22" y="40"/>
                  </a:lnTo>
                  <a:lnTo>
                    <a:pt x="26" y="39"/>
                  </a:lnTo>
                  <a:lnTo>
                    <a:pt x="27" y="36"/>
                  </a:lnTo>
                  <a:lnTo>
                    <a:pt x="28" y="30"/>
                  </a:lnTo>
                  <a:lnTo>
                    <a:pt x="29" y="28"/>
                  </a:lnTo>
                  <a:lnTo>
                    <a:pt x="32" y="27"/>
                  </a:lnTo>
                  <a:lnTo>
                    <a:pt x="38" y="26"/>
                  </a:lnTo>
                  <a:lnTo>
                    <a:pt x="41" y="24"/>
                  </a:lnTo>
                  <a:lnTo>
                    <a:pt x="43" y="19"/>
                  </a:lnTo>
                  <a:lnTo>
                    <a:pt x="47"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4" name="Freeform 633"/>
            <p:cNvSpPr>
              <a:spLocks/>
            </p:cNvSpPr>
            <p:nvPr/>
          </p:nvSpPr>
          <p:spPr bwMode="auto">
            <a:xfrm>
              <a:off x="6205542" y="2598741"/>
              <a:ext cx="1527175" cy="1173162"/>
            </a:xfrm>
            <a:custGeom>
              <a:avLst/>
              <a:gdLst>
                <a:gd name="T0" fmla="*/ 2147483647 w 1042"/>
                <a:gd name="T1" fmla="*/ 2147483647 h 739"/>
                <a:gd name="T2" fmla="*/ 2147483647 w 1042"/>
                <a:gd name="T3" fmla="*/ 2147483647 h 739"/>
                <a:gd name="T4" fmla="*/ 2147483647 w 1042"/>
                <a:gd name="T5" fmla="*/ 2147483647 h 739"/>
                <a:gd name="T6" fmla="*/ 2147483647 w 1042"/>
                <a:gd name="T7" fmla="*/ 2147483647 h 739"/>
                <a:gd name="T8" fmla="*/ 2147483647 w 1042"/>
                <a:gd name="T9" fmla="*/ 2147483647 h 739"/>
                <a:gd name="T10" fmla="*/ 2147483647 w 1042"/>
                <a:gd name="T11" fmla="*/ 2147483647 h 739"/>
                <a:gd name="T12" fmla="*/ 2147483647 w 1042"/>
                <a:gd name="T13" fmla="*/ 2147483647 h 739"/>
                <a:gd name="T14" fmla="*/ 2147483647 w 1042"/>
                <a:gd name="T15" fmla="*/ 2147483647 h 739"/>
                <a:gd name="T16" fmla="*/ 2147483647 w 1042"/>
                <a:gd name="T17" fmla="*/ 2147483647 h 739"/>
                <a:gd name="T18" fmla="*/ 2147483647 w 1042"/>
                <a:gd name="T19" fmla="*/ 2147483647 h 739"/>
                <a:gd name="T20" fmla="*/ 2147483647 w 1042"/>
                <a:gd name="T21" fmla="*/ 2147483647 h 739"/>
                <a:gd name="T22" fmla="*/ 2147483647 w 1042"/>
                <a:gd name="T23" fmla="*/ 2147483647 h 739"/>
                <a:gd name="T24" fmla="*/ 2147483647 w 1042"/>
                <a:gd name="T25" fmla="*/ 2147483647 h 739"/>
                <a:gd name="T26" fmla="*/ 2147483647 w 1042"/>
                <a:gd name="T27" fmla="*/ 2147483647 h 739"/>
                <a:gd name="T28" fmla="*/ 2147483647 w 1042"/>
                <a:gd name="T29" fmla="*/ 2147483647 h 739"/>
                <a:gd name="T30" fmla="*/ 2147483647 w 1042"/>
                <a:gd name="T31" fmla="*/ 2147483647 h 739"/>
                <a:gd name="T32" fmla="*/ 2147483647 w 1042"/>
                <a:gd name="T33" fmla="*/ 2147483647 h 739"/>
                <a:gd name="T34" fmla="*/ 2147483647 w 1042"/>
                <a:gd name="T35" fmla="*/ 2147483647 h 739"/>
                <a:gd name="T36" fmla="*/ 2147483647 w 1042"/>
                <a:gd name="T37" fmla="*/ 2147483647 h 739"/>
                <a:gd name="T38" fmla="*/ 2147483647 w 1042"/>
                <a:gd name="T39" fmla="*/ 2147483647 h 739"/>
                <a:gd name="T40" fmla="*/ 2147483647 w 1042"/>
                <a:gd name="T41" fmla="*/ 2147483647 h 739"/>
                <a:gd name="T42" fmla="*/ 2147483647 w 1042"/>
                <a:gd name="T43" fmla="*/ 2147483647 h 739"/>
                <a:gd name="T44" fmla="*/ 2147483647 w 1042"/>
                <a:gd name="T45" fmla="*/ 2147483647 h 739"/>
                <a:gd name="T46" fmla="*/ 2147483647 w 1042"/>
                <a:gd name="T47" fmla="*/ 2147483647 h 739"/>
                <a:gd name="T48" fmla="*/ 2147483647 w 1042"/>
                <a:gd name="T49" fmla="*/ 2147483647 h 739"/>
                <a:gd name="T50" fmla="*/ 2147483647 w 1042"/>
                <a:gd name="T51" fmla="*/ 2147483647 h 739"/>
                <a:gd name="T52" fmla="*/ 2147483647 w 1042"/>
                <a:gd name="T53" fmla="*/ 2147483647 h 739"/>
                <a:gd name="T54" fmla="*/ 2147483647 w 1042"/>
                <a:gd name="T55" fmla="*/ 2147483647 h 739"/>
                <a:gd name="T56" fmla="*/ 2147483647 w 1042"/>
                <a:gd name="T57" fmla="*/ 2147483647 h 739"/>
                <a:gd name="T58" fmla="*/ 2147483647 w 1042"/>
                <a:gd name="T59" fmla="*/ 2147483647 h 739"/>
                <a:gd name="T60" fmla="*/ 2147483647 w 1042"/>
                <a:gd name="T61" fmla="*/ 2147483647 h 739"/>
                <a:gd name="T62" fmla="*/ 2147483647 w 1042"/>
                <a:gd name="T63" fmla="*/ 2147483647 h 739"/>
                <a:gd name="T64" fmla="*/ 2147483647 w 1042"/>
                <a:gd name="T65" fmla="*/ 2147483647 h 739"/>
                <a:gd name="T66" fmla="*/ 2147483647 w 1042"/>
                <a:gd name="T67" fmla="*/ 2147483647 h 739"/>
                <a:gd name="T68" fmla="*/ 2147483647 w 1042"/>
                <a:gd name="T69" fmla="*/ 2147483647 h 739"/>
                <a:gd name="T70" fmla="*/ 2147483647 w 1042"/>
                <a:gd name="T71" fmla="*/ 2147483647 h 739"/>
                <a:gd name="T72" fmla="*/ 2147483647 w 1042"/>
                <a:gd name="T73" fmla="*/ 2147483647 h 739"/>
                <a:gd name="T74" fmla="*/ 2147483647 w 1042"/>
                <a:gd name="T75" fmla="*/ 2147483647 h 739"/>
                <a:gd name="T76" fmla="*/ 2147483647 w 1042"/>
                <a:gd name="T77" fmla="*/ 2147483647 h 739"/>
                <a:gd name="T78" fmla="*/ 2147483647 w 1042"/>
                <a:gd name="T79" fmla="*/ 2147483647 h 739"/>
                <a:gd name="T80" fmla="*/ 2147483647 w 1042"/>
                <a:gd name="T81" fmla="*/ 2147483647 h 739"/>
                <a:gd name="T82" fmla="*/ 2147483647 w 1042"/>
                <a:gd name="T83" fmla="*/ 2147483647 h 739"/>
                <a:gd name="T84" fmla="*/ 2147483647 w 1042"/>
                <a:gd name="T85" fmla="*/ 2147483647 h 739"/>
                <a:gd name="T86" fmla="*/ 2147483647 w 1042"/>
                <a:gd name="T87" fmla="*/ 2147483647 h 739"/>
                <a:gd name="T88" fmla="*/ 2147483647 w 1042"/>
                <a:gd name="T89" fmla="*/ 2147483647 h 739"/>
                <a:gd name="T90" fmla="*/ 2147483647 w 1042"/>
                <a:gd name="T91" fmla="*/ 2147483647 h 739"/>
                <a:gd name="T92" fmla="*/ 2147483647 w 1042"/>
                <a:gd name="T93" fmla="*/ 2147483647 h 739"/>
                <a:gd name="T94" fmla="*/ 2147483647 w 1042"/>
                <a:gd name="T95" fmla="*/ 2147483647 h 739"/>
                <a:gd name="T96" fmla="*/ 2147483647 w 1042"/>
                <a:gd name="T97" fmla="*/ 2147483647 h 739"/>
                <a:gd name="T98" fmla="*/ 2147483647 w 1042"/>
                <a:gd name="T99" fmla="*/ 2147483647 h 739"/>
                <a:gd name="T100" fmla="*/ 2147483647 w 1042"/>
                <a:gd name="T101" fmla="*/ 2147483647 h 739"/>
                <a:gd name="T102" fmla="*/ 2147483647 w 1042"/>
                <a:gd name="T103" fmla="*/ 2147483647 h 739"/>
                <a:gd name="T104" fmla="*/ 2147483647 w 1042"/>
                <a:gd name="T105" fmla="*/ 2147483647 h 739"/>
                <a:gd name="T106" fmla="*/ 2147483647 w 1042"/>
                <a:gd name="T107" fmla="*/ 2147483647 h 739"/>
                <a:gd name="T108" fmla="*/ 2147483647 w 1042"/>
                <a:gd name="T109" fmla="*/ 2147483647 h 739"/>
                <a:gd name="T110" fmla="*/ 2147483647 w 1042"/>
                <a:gd name="T111" fmla="*/ 2147483647 h 739"/>
                <a:gd name="T112" fmla="*/ 2147483647 w 1042"/>
                <a:gd name="T113" fmla="*/ 2147483647 h 739"/>
                <a:gd name="T114" fmla="*/ 2147483647 w 1042"/>
                <a:gd name="T115" fmla="*/ 2147483647 h 739"/>
                <a:gd name="T116" fmla="*/ 2147483647 w 1042"/>
                <a:gd name="T117" fmla="*/ 2147483647 h 739"/>
                <a:gd name="T118" fmla="*/ 2147483647 w 1042"/>
                <a:gd name="T119" fmla="*/ 2147483647 h 7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42"/>
                <a:gd name="T181" fmla="*/ 0 h 739"/>
                <a:gd name="T182" fmla="*/ 1042 w 1042"/>
                <a:gd name="T183" fmla="*/ 739 h 7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42" h="739">
                  <a:moveTo>
                    <a:pt x="129" y="535"/>
                  </a:moveTo>
                  <a:lnTo>
                    <a:pt x="126" y="533"/>
                  </a:lnTo>
                  <a:lnTo>
                    <a:pt x="123" y="529"/>
                  </a:lnTo>
                  <a:lnTo>
                    <a:pt x="121" y="525"/>
                  </a:lnTo>
                  <a:lnTo>
                    <a:pt x="118" y="523"/>
                  </a:lnTo>
                  <a:lnTo>
                    <a:pt x="110" y="521"/>
                  </a:lnTo>
                  <a:lnTo>
                    <a:pt x="102" y="518"/>
                  </a:lnTo>
                  <a:lnTo>
                    <a:pt x="98" y="517"/>
                  </a:lnTo>
                  <a:lnTo>
                    <a:pt x="95" y="516"/>
                  </a:lnTo>
                  <a:lnTo>
                    <a:pt x="94" y="514"/>
                  </a:lnTo>
                  <a:lnTo>
                    <a:pt x="93" y="510"/>
                  </a:lnTo>
                  <a:lnTo>
                    <a:pt x="91" y="504"/>
                  </a:lnTo>
                  <a:lnTo>
                    <a:pt x="93" y="501"/>
                  </a:lnTo>
                  <a:lnTo>
                    <a:pt x="94" y="497"/>
                  </a:lnTo>
                  <a:lnTo>
                    <a:pt x="96" y="493"/>
                  </a:lnTo>
                  <a:lnTo>
                    <a:pt x="100" y="491"/>
                  </a:lnTo>
                  <a:lnTo>
                    <a:pt x="103" y="489"/>
                  </a:lnTo>
                  <a:lnTo>
                    <a:pt x="104" y="485"/>
                  </a:lnTo>
                  <a:lnTo>
                    <a:pt x="105" y="478"/>
                  </a:lnTo>
                  <a:lnTo>
                    <a:pt x="105" y="471"/>
                  </a:lnTo>
                  <a:lnTo>
                    <a:pt x="103" y="465"/>
                  </a:lnTo>
                  <a:lnTo>
                    <a:pt x="98" y="458"/>
                  </a:lnTo>
                  <a:lnTo>
                    <a:pt x="96" y="456"/>
                  </a:lnTo>
                  <a:lnTo>
                    <a:pt x="96" y="453"/>
                  </a:lnTo>
                  <a:lnTo>
                    <a:pt x="98" y="448"/>
                  </a:lnTo>
                  <a:lnTo>
                    <a:pt x="104" y="440"/>
                  </a:lnTo>
                  <a:lnTo>
                    <a:pt x="110" y="433"/>
                  </a:lnTo>
                  <a:lnTo>
                    <a:pt x="113" y="428"/>
                  </a:lnTo>
                  <a:lnTo>
                    <a:pt x="115" y="425"/>
                  </a:lnTo>
                  <a:lnTo>
                    <a:pt x="115" y="420"/>
                  </a:lnTo>
                  <a:lnTo>
                    <a:pt x="114" y="415"/>
                  </a:lnTo>
                  <a:lnTo>
                    <a:pt x="112" y="413"/>
                  </a:lnTo>
                  <a:lnTo>
                    <a:pt x="109" y="410"/>
                  </a:lnTo>
                  <a:lnTo>
                    <a:pt x="100" y="410"/>
                  </a:lnTo>
                  <a:lnTo>
                    <a:pt x="76" y="408"/>
                  </a:lnTo>
                  <a:lnTo>
                    <a:pt x="65" y="406"/>
                  </a:lnTo>
                  <a:lnTo>
                    <a:pt x="53" y="401"/>
                  </a:lnTo>
                  <a:lnTo>
                    <a:pt x="51" y="395"/>
                  </a:lnTo>
                  <a:lnTo>
                    <a:pt x="49" y="393"/>
                  </a:lnTo>
                  <a:lnTo>
                    <a:pt x="47" y="390"/>
                  </a:lnTo>
                  <a:lnTo>
                    <a:pt x="44" y="388"/>
                  </a:lnTo>
                  <a:lnTo>
                    <a:pt x="41" y="388"/>
                  </a:lnTo>
                  <a:lnTo>
                    <a:pt x="33" y="389"/>
                  </a:lnTo>
                  <a:lnTo>
                    <a:pt x="25" y="391"/>
                  </a:lnTo>
                  <a:lnTo>
                    <a:pt x="18" y="393"/>
                  </a:lnTo>
                  <a:lnTo>
                    <a:pt x="19" y="390"/>
                  </a:lnTo>
                  <a:lnTo>
                    <a:pt x="20" y="387"/>
                  </a:lnTo>
                  <a:lnTo>
                    <a:pt x="20" y="383"/>
                  </a:lnTo>
                  <a:lnTo>
                    <a:pt x="20" y="380"/>
                  </a:lnTo>
                  <a:lnTo>
                    <a:pt x="23" y="378"/>
                  </a:lnTo>
                  <a:lnTo>
                    <a:pt x="23" y="377"/>
                  </a:lnTo>
                  <a:lnTo>
                    <a:pt x="23" y="376"/>
                  </a:lnTo>
                  <a:lnTo>
                    <a:pt x="19" y="370"/>
                  </a:lnTo>
                  <a:lnTo>
                    <a:pt x="18" y="367"/>
                  </a:lnTo>
                  <a:lnTo>
                    <a:pt x="18" y="364"/>
                  </a:lnTo>
                  <a:lnTo>
                    <a:pt x="22" y="359"/>
                  </a:lnTo>
                  <a:lnTo>
                    <a:pt x="22" y="358"/>
                  </a:lnTo>
                  <a:lnTo>
                    <a:pt x="22" y="356"/>
                  </a:lnTo>
                  <a:lnTo>
                    <a:pt x="19" y="354"/>
                  </a:lnTo>
                  <a:lnTo>
                    <a:pt x="16" y="351"/>
                  </a:lnTo>
                  <a:lnTo>
                    <a:pt x="13" y="351"/>
                  </a:lnTo>
                  <a:lnTo>
                    <a:pt x="10" y="352"/>
                  </a:lnTo>
                  <a:lnTo>
                    <a:pt x="8" y="354"/>
                  </a:lnTo>
                  <a:lnTo>
                    <a:pt x="5" y="354"/>
                  </a:lnTo>
                  <a:lnTo>
                    <a:pt x="2" y="350"/>
                  </a:lnTo>
                  <a:lnTo>
                    <a:pt x="0" y="346"/>
                  </a:lnTo>
                  <a:lnTo>
                    <a:pt x="0" y="343"/>
                  </a:lnTo>
                  <a:lnTo>
                    <a:pt x="0" y="338"/>
                  </a:lnTo>
                  <a:lnTo>
                    <a:pt x="2" y="329"/>
                  </a:lnTo>
                  <a:lnTo>
                    <a:pt x="8" y="320"/>
                  </a:lnTo>
                  <a:lnTo>
                    <a:pt x="9" y="319"/>
                  </a:lnTo>
                  <a:lnTo>
                    <a:pt x="11" y="318"/>
                  </a:lnTo>
                  <a:lnTo>
                    <a:pt x="16" y="317"/>
                  </a:lnTo>
                  <a:lnTo>
                    <a:pt x="23" y="313"/>
                  </a:lnTo>
                  <a:lnTo>
                    <a:pt x="25" y="312"/>
                  </a:lnTo>
                  <a:lnTo>
                    <a:pt x="29" y="311"/>
                  </a:lnTo>
                  <a:lnTo>
                    <a:pt x="30" y="312"/>
                  </a:lnTo>
                  <a:lnTo>
                    <a:pt x="32" y="313"/>
                  </a:lnTo>
                  <a:lnTo>
                    <a:pt x="32" y="316"/>
                  </a:lnTo>
                  <a:lnTo>
                    <a:pt x="33" y="317"/>
                  </a:lnTo>
                  <a:lnTo>
                    <a:pt x="35" y="318"/>
                  </a:lnTo>
                  <a:lnTo>
                    <a:pt x="38" y="318"/>
                  </a:lnTo>
                  <a:lnTo>
                    <a:pt x="42" y="317"/>
                  </a:lnTo>
                  <a:lnTo>
                    <a:pt x="47" y="316"/>
                  </a:lnTo>
                  <a:lnTo>
                    <a:pt x="52" y="313"/>
                  </a:lnTo>
                  <a:lnTo>
                    <a:pt x="52" y="311"/>
                  </a:lnTo>
                  <a:lnTo>
                    <a:pt x="52" y="308"/>
                  </a:lnTo>
                  <a:lnTo>
                    <a:pt x="52" y="306"/>
                  </a:lnTo>
                  <a:lnTo>
                    <a:pt x="52" y="304"/>
                  </a:lnTo>
                  <a:lnTo>
                    <a:pt x="52" y="303"/>
                  </a:lnTo>
                  <a:lnTo>
                    <a:pt x="53" y="301"/>
                  </a:lnTo>
                  <a:lnTo>
                    <a:pt x="65" y="303"/>
                  </a:lnTo>
                  <a:lnTo>
                    <a:pt x="70" y="301"/>
                  </a:lnTo>
                  <a:lnTo>
                    <a:pt x="74" y="299"/>
                  </a:lnTo>
                  <a:lnTo>
                    <a:pt x="80" y="293"/>
                  </a:lnTo>
                  <a:lnTo>
                    <a:pt x="88" y="290"/>
                  </a:lnTo>
                  <a:lnTo>
                    <a:pt x="95" y="286"/>
                  </a:lnTo>
                  <a:lnTo>
                    <a:pt x="103" y="284"/>
                  </a:lnTo>
                  <a:lnTo>
                    <a:pt x="107" y="282"/>
                  </a:lnTo>
                  <a:lnTo>
                    <a:pt x="110" y="280"/>
                  </a:lnTo>
                  <a:lnTo>
                    <a:pt x="112" y="276"/>
                  </a:lnTo>
                  <a:lnTo>
                    <a:pt x="113" y="272"/>
                  </a:lnTo>
                  <a:lnTo>
                    <a:pt x="113" y="269"/>
                  </a:lnTo>
                  <a:lnTo>
                    <a:pt x="110" y="267"/>
                  </a:lnTo>
                  <a:lnTo>
                    <a:pt x="109" y="266"/>
                  </a:lnTo>
                  <a:lnTo>
                    <a:pt x="109" y="263"/>
                  </a:lnTo>
                  <a:lnTo>
                    <a:pt x="119" y="249"/>
                  </a:lnTo>
                  <a:lnTo>
                    <a:pt x="122" y="246"/>
                  </a:lnTo>
                  <a:lnTo>
                    <a:pt x="123" y="241"/>
                  </a:lnTo>
                  <a:lnTo>
                    <a:pt x="123" y="237"/>
                  </a:lnTo>
                  <a:lnTo>
                    <a:pt x="122" y="233"/>
                  </a:lnTo>
                  <a:lnTo>
                    <a:pt x="121" y="230"/>
                  </a:lnTo>
                  <a:lnTo>
                    <a:pt x="118" y="229"/>
                  </a:lnTo>
                  <a:lnTo>
                    <a:pt x="117" y="227"/>
                  </a:lnTo>
                  <a:lnTo>
                    <a:pt x="115" y="224"/>
                  </a:lnTo>
                  <a:lnTo>
                    <a:pt x="114" y="221"/>
                  </a:lnTo>
                  <a:lnTo>
                    <a:pt x="112" y="217"/>
                  </a:lnTo>
                  <a:lnTo>
                    <a:pt x="110" y="214"/>
                  </a:lnTo>
                  <a:lnTo>
                    <a:pt x="109" y="210"/>
                  </a:lnTo>
                  <a:lnTo>
                    <a:pt x="110" y="208"/>
                  </a:lnTo>
                  <a:lnTo>
                    <a:pt x="113" y="207"/>
                  </a:lnTo>
                  <a:lnTo>
                    <a:pt x="124" y="204"/>
                  </a:lnTo>
                  <a:lnTo>
                    <a:pt x="137" y="203"/>
                  </a:lnTo>
                  <a:lnTo>
                    <a:pt x="152" y="202"/>
                  </a:lnTo>
                  <a:lnTo>
                    <a:pt x="156" y="199"/>
                  </a:lnTo>
                  <a:lnTo>
                    <a:pt x="157" y="198"/>
                  </a:lnTo>
                  <a:lnTo>
                    <a:pt x="157" y="197"/>
                  </a:lnTo>
                  <a:lnTo>
                    <a:pt x="156" y="195"/>
                  </a:lnTo>
                  <a:lnTo>
                    <a:pt x="154" y="192"/>
                  </a:lnTo>
                  <a:lnTo>
                    <a:pt x="152" y="190"/>
                  </a:lnTo>
                  <a:lnTo>
                    <a:pt x="152" y="182"/>
                  </a:lnTo>
                  <a:lnTo>
                    <a:pt x="155" y="172"/>
                  </a:lnTo>
                  <a:lnTo>
                    <a:pt x="156" y="169"/>
                  </a:lnTo>
                  <a:lnTo>
                    <a:pt x="159" y="165"/>
                  </a:lnTo>
                  <a:lnTo>
                    <a:pt x="162" y="163"/>
                  </a:lnTo>
                  <a:lnTo>
                    <a:pt x="168" y="161"/>
                  </a:lnTo>
                  <a:lnTo>
                    <a:pt x="180" y="161"/>
                  </a:lnTo>
                  <a:lnTo>
                    <a:pt x="190" y="163"/>
                  </a:lnTo>
                  <a:lnTo>
                    <a:pt x="193" y="161"/>
                  </a:lnTo>
                  <a:lnTo>
                    <a:pt x="195" y="159"/>
                  </a:lnTo>
                  <a:lnTo>
                    <a:pt x="198" y="152"/>
                  </a:lnTo>
                  <a:lnTo>
                    <a:pt x="199" y="144"/>
                  </a:lnTo>
                  <a:lnTo>
                    <a:pt x="202" y="134"/>
                  </a:lnTo>
                  <a:lnTo>
                    <a:pt x="203" y="133"/>
                  </a:lnTo>
                  <a:lnTo>
                    <a:pt x="204" y="131"/>
                  </a:lnTo>
                  <a:lnTo>
                    <a:pt x="217" y="125"/>
                  </a:lnTo>
                  <a:lnTo>
                    <a:pt x="223" y="120"/>
                  </a:lnTo>
                  <a:lnTo>
                    <a:pt x="228" y="115"/>
                  </a:lnTo>
                  <a:lnTo>
                    <a:pt x="232" y="113"/>
                  </a:lnTo>
                  <a:lnTo>
                    <a:pt x="235" y="113"/>
                  </a:lnTo>
                  <a:lnTo>
                    <a:pt x="240" y="112"/>
                  </a:lnTo>
                  <a:lnTo>
                    <a:pt x="242" y="111"/>
                  </a:lnTo>
                  <a:lnTo>
                    <a:pt x="248" y="107"/>
                  </a:lnTo>
                  <a:lnTo>
                    <a:pt x="248" y="115"/>
                  </a:lnTo>
                  <a:lnTo>
                    <a:pt x="249" y="124"/>
                  </a:lnTo>
                  <a:lnTo>
                    <a:pt x="250" y="128"/>
                  </a:lnTo>
                  <a:lnTo>
                    <a:pt x="251" y="132"/>
                  </a:lnTo>
                  <a:lnTo>
                    <a:pt x="254" y="134"/>
                  </a:lnTo>
                  <a:lnTo>
                    <a:pt x="258" y="137"/>
                  </a:lnTo>
                  <a:lnTo>
                    <a:pt x="262" y="139"/>
                  </a:lnTo>
                  <a:lnTo>
                    <a:pt x="265" y="143"/>
                  </a:lnTo>
                  <a:lnTo>
                    <a:pt x="268" y="145"/>
                  </a:lnTo>
                  <a:lnTo>
                    <a:pt x="272" y="145"/>
                  </a:lnTo>
                  <a:lnTo>
                    <a:pt x="278" y="144"/>
                  </a:lnTo>
                  <a:lnTo>
                    <a:pt x="283" y="145"/>
                  </a:lnTo>
                  <a:lnTo>
                    <a:pt x="288" y="146"/>
                  </a:lnTo>
                  <a:lnTo>
                    <a:pt x="293" y="148"/>
                  </a:lnTo>
                  <a:lnTo>
                    <a:pt x="301" y="156"/>
                  </a:lnTo>
                  <a:lnTo>
                    <a:pt x="310" y="163"/>
                  </a:lnTo>
                  <a:lnTo>
                    <a:pt x="312" y="172"/>
                  </a:lnTo>
                  <a:lnTo>
                    <a:pt x="315" y="183"/>
                  </a:lnTo>
                  <a:lnTo>
                    <a:pt x="317" y="192"/>
                  </a:lnTo>
                  <a:lnTo>
                    <a:pt x="320" y="197"/>
                  </a:lnTo>
                  <a:lnTo>
                    <a:pt x="322" y="201"/>
                  </a:lnTo>
                  <a:lnTo>
                    <a:pt x="325" y="203"/>
                  </a:lnTo>
                  <a:lnTo>
                    <a:pt x="328" y="203"/>
                  </a:lnTo>
                  <a:lnTo>
                    <a:pt x="333" y="205"/>
                  </a:lnTo>
                  <a:lnTo>
                    <a:pt x="348" y="214"/>
                  </a:lnTo>
                  <a:lnTo>
                    <a:pt x="355" y="217"/>
                  </a:lnTo>
                  <a:lnTo>
                    <a:pt x="366" y="220"/>
                  </a:lnTo>
                  <a:lnTo>
                    <a:pt x="369" y="221"/>
                  </a:lnTo>
                  <a:lnTo>
                    <a:pt x="373" y="226"/>
                  </a:lnTo>
                  <a:lnTo>
                    <a:pt x="377" y="231"/>
                  </a:lnTo>
                  <a:lnTo>
                    <a:pt x="382" y="237"/>
                  </a:lnTo>
                  <a:lnTo>
                    <a:pt x="386" y="243"/>
                  </a:lnTo>
                  <a:lnTo>
                    <a:pt x="390" y="248"/>
                  </a:lnTo>
                  <a:lnTo>
                    <a:pt x="394" y="252"/>
                  </a:lnTo>
                  <a:lnTo>
                    <a:pt x="397" y="255"/>
                  </a:lnTo>
                  <a:lnTo>
                    <a:pt x="401" y="256"/>
                  </a:lnTo>
                  <a:lnTo>
                    <a:pt x="406" y="258"/>
                  </a:lnTo>
                  <a:lnTo>
                    <a:pt x="419" y="260"/>
                  </a:lnTo>
                  <a:lnTo>
                    <a:pt x="430" y="262"/>
                  </a:lnTo>
                  <a:lnTo>
                    <a:pt x="455" y="266"/>
                  </a:lnTo>
                  <a:lnTo>
                    <a:pt x="457" y="267"/>
                  </a:lnTo>
                  <a:lnTo>
                    <a:pt x="461" y="266"/>
                  </a:lnTo>
                  <a:lnTo>
                    <a:pt x="467" y="263"/>
                  </a:lnTo>
                  <a:lnTo>
                    <a:pt x="474" y="262"/>
                  </a:lnTo>
                  <a:lnTo>
                    <a:pt x="477" y="261"/>
                  </a:lnTo>
                  <a:lnTo>
                    <a:pt x="481" y="261"/>
                  </a:lnTo>
                  <a:lnTo>
                    <a:pt x="484" y="262"/>
                  </a:lnTo>
                  <a:lnTo>
                    <a:pt x="488" y="265"/>
                  </a:lnTo>
                  <a:lnTo>
                    <a:pt x="491" y="269"/>
                  </a:lnTo>
                  <a:lnTo>
                    <a:pt x="496" y="274"/>
                  </a:lnTo>
                  <a:lnTo>
                    <a:pt x="500" y="276"/>
                  </a:lnTo>
                  <a:lnTo>
                    <a:pt x="509" y="279"/>
                  </a:lnTo>
                  <a:lnTo>
                    <a:pt x="517" y="280"/>
                  </a:lnTo>
                  <a:lnTo>
                    <a:pt x="532" y="280"/>
                  </a:lnTo>
                  <a:lnTo>
                    <a:pt x="538" y="280"/>
                  </a:lnTo>
                  <a:lnTo>
                    <a:pt x="546" y="276"/>
                  </a:lnTo>
                  <a:lnTo>
                    <a:pt x="555" y="271"/>
                  </a:lnTo>
                  <a:lnTo>
                    <a:pt x="564" y="263"/>
                  </a:lnTo>
                  <a:lnTo>
                    <a:pt x="568" y="261"/>
                  </a:lnTo>
                  <a:lnTo>
                    <a:pt x="573" y="259"/>
                  </a:lnTo>
                  <a:lnTo>
                    <a:pt x="578" y="259"/>
                  </a:lnTo>
                  <a:lnTo>
                    <a:pt x="582" y="259"/>
                  </a:lnTo>
                  <a:lnTo>
                    <a:pt x="588" y="260"/>
                  </a:lnTo>
                  <a:lnTo>
                    <a:pt x="593" y="261"/>
                  </a:lnTo>
                  <a:lnTo>
                    <a:pt x="604" y="260"/>
                  </a:lnTo>
                  <a:lnTo>
                    <a:pt x="616" y="258"/>
                  </a:lnTo>
                  <a:lnTo>
                    <a:pt x="626" y="254"/>
                  </a:lnTo>
                  <a:lnTo>
                    <a:pt x="632" y="249"/>
                  </a:lnTo>
                  <a:lnTo>
                    <a:pt x="636" y="244"/>
                  </a:lnTo>
                  <a:lnTo>
                    <a:pt x="637" y="241"/>
                  </a:lnTo>
                  <a:lnTo>
                    <a:pt x="637" y="237"/>
                  </a:lnTo>
                  <a:lnTo>
                    <a:pt x="637" y="235"/>
                  </a:lnTo>
                  <a:lnTo>
                    <a:pt x="636" y="231"/>
                  </a:lnTo>
                  <a:lnTo>
                    <a:pt x="634" y="229"/>
                  </a:lnTo>
                  <a:lnTo>
                    <a:pt x="631" y="228"/>
                  </a:lnTo>
                  <a:lnTo>
                    <a:pt x="627" y="226"/>
                  </a:lnTo>
                  <a:lnTo>
                    <a:pt x="626" y="222"/>
                  </a:lnTo>
                  <a:lnTo>
                    <a:pt x="626" y="218"/>
                  </a:lnTo>
                  <a:lnTo>
                    <a:pt x="627" y="215"/>
                  </a:lnTo>
                  <a:lnTo>
                    <a:pt x="630" y="208"/>
                  </a:lnTo>
                  <a:lnTo>
                    <a:pt x="632" y="204"/>
                  </a:lnTo>
                  <a:lnTo>
                    <a:pt x="636" y="202"/>
                  </a:lnTo>
                  <a:lnTo>
                    <a:pt x="639" y="201"/>
                  </a:lnTo>
                  <a:lnTo>
                    <a:pt x="642" y="202"/>
                  </a:lnTo>
                  <a:lnTo>
                    <a:pt x="651" y="204"/>
                  </a:lnTo>
                  <a:lnTo>
                    <a:pt x="659" y="208"/>
                  </a:lnTo>
                  <a:lnTo>
                    <a:pt x="664" y="209"/>
                  </a:lnTo>
                  <a:lnTo>
                    <a:pt x="668" y="209"/>
                  </a:lnTo>
                  <a:lnTo>
                    <a:pt x="672" y="208"/>
                  </a:lnTo>
                  <a:lnTo>
                    <a:pt x="675" y="205"/>
                  </a:lnTo>
                  <a:lnTo>
                    <a:pt x="691" y="193"/>
                  </a:lnTo>
                  <a:lnTo>
                    <a:pt x="695" y="193"/>
                  </a:lnTo>
                  <a:lnTo>
                    <a:pt x="708" y="190"/>
                  </a:lnTo>
                  <a:lnTo>
                    <a:pt x="710" y="190"/>
                  </a:lnTo>
                  <a:lnTo>
                    <a:pt x="711" y="188"/>
                  </a:lnTo>
                  <a:lnTo>
                    <a:pt x="712" y="183"/>
                  </a:lnTo>
                  <a:lnTo>
                    <a:pt x="715" y="178"/>
                  </a:lnTo>
                  <a:lnTo>
                    <a:pt x="717" y="175"/>
                  </a:lnTo>
                  <a:lnTo>
                    <a:pt x="719" y="172"/>
                  </a:lnTo>
                  <a:lnTo>
                    <a:pt x="720" y="172"/>
                  </a:lnTo>
                  <a:lnTo>
                    <a:pt x="728" y="176"/>
                  </a:lnTo>
                  <a:lnTo>
                    <a:pt x="731" y="176"/>
                  </a:lnTo>
                  <a:lnTo>
                    <a:pt x="733" y="176"/>
                  </a:lnTo>
                  <a:lnTo>
                    <a:pt x="734" y="175"/>
                  </a:lnTo>
                  <a:lnTo>
                    <a:pt x="738" y="171"/>
                  </a:lnTo>
                  <a:lnTo>
                    <a:pt x="742" y="169"/>
                  </a:lnTo>
                  <a:lnTo>
                    <a:pt x="744" y="166"/>
                  </a:lnTo>
                  <a:lnTo>
                    <a:pt x="748" y="166"/>
                  </a:lnTo>
                  <a:lnTo>
                    <a:pt x="757" y="165"/>
                  </a:lnTo>
                  <a:lnTo>
                    <a:pt x="764" y="165"/>
                  </a:lnTo>
                  <a:lnTo>
                    <a:pt x="775" y="163"/>
                  </a:lnTo>
                  <a:lnTo>
                    <a:pt x="780" y="160"/>
                  </a:lnTo>
                  <a:lnTo>
                    <a:pt x="782" y="158"/>
                  </a:lnTo>
                  <a:lnTo>
                    <a:pt x="782" y="154"/>
                  </a:lnTo>
                  <a:lnTo>
                    <a:pt x="782" y="151"/>
                  </a:lnTo>
                  <a:lnTo>
                    <a:pt x="781" y="147"/>
                  </a:lnTo>
                  <a:lnTo>
                    <a:pt x="778" y="144"/>
                  </a:lnTo>
                  <a:lnTo>
                    <a:pt x="772" y="138"/>
                  </a:lnTo>
                  <a:lnTo>
                    <a:pt x="764" y="134"/>
                  </a:lnTo>
                  <a:lnTo>
                    <a:pt x="761" y="133"/>
                  </a:lnTo>
                  <a:lnTo>
                    <a:pt x="755" y="133"/>
                  </a:lnTo>
                  <a:lnTo>
                    <a:pt x="745" y="133"/>
                  </a:lnTo>
                  <a:lnTo>
                    <a:pt x="735" y="134"/>
                  </a:lnTo>
                  <a:lnTo>
                    <a:pt x="730" y="134"/>
                  </a:lnTo>
                  <a:lnTo>
                    <a:pt x="726" y="133"/>
                  </a:lnTo>
                  <a:lnTo>
                    <a:pt x="722" y="132"/>
                  </a:lnTo>
                  <a:lnTo>
                    <a:pt x="720" y="131"/>
                  </a:lnTo>
                  <a:lnTo>
                    <a:pt x="717" y="126"/>
                  </a:lnTo>
                  <a:lnTo>
                    <a:pt x="716" y="122"/>
                  </a:lnTo>
                  <a:lnTo>
                    <a:pt x="716" y="120"/>
                  </a:lnTo>
                  <a:lnTo>
                    <a:pt x="719" y="114"/>
                  </a:lnTo>
                  <a:lnTo>
                    <a:pt x="722" y="111"/>
                  </a:lnTo>
                  <a:lnTo>
                    <a:pt x="725" y="105"/>
                  </a:lnTo>
                  <a:lnTo>
                    <a:pt x="725" y="103"/>
                  </a:lnTo>
                  <a:lnTo>
                    <a:pt x="724" y="102"/>
                  </a:lnTo>
                  <a:lnTo>
                    <a:pt x="721" y="100"/>
                  </a:lnTo>
                  <a:lnTo>
                    <a:pt x="721" y="96"/>
                  </a:lnTo>
                  <a:lnTo>
                    <a:pt x="722" y="93"/>
                  </a:lnTo>
                  <a:lnTo>
                    <a:pt x="729" y="87"/>
                  </a:lnTo>
                  <a:lnTo>
                    <a:pt x="734" y="89"/>
                  </a:lnTo>
                  <a:lnTo>
                    <a:pt x="739" y="93"/>
                  </a:lnTo>
                  <a:lnTo>
                    <a:pt x="744" y="95"/>
                  </a:lnTo>
                  <a:lnTo>
                    <a:pt x="749" y="96"/>
                  </a:lnTo>
                  <a:lnTo>
                    <a:pt x="753" y="95"/>
                  </a:lnTo>
                  <a:lnTo>
                    <a:pt x="757" y="94"/>
                  </a:lnTo>
                  <a:lnTo>
                    <a:pt x="761" y="92"/>
                  </a:lnTo>
                  <a:lnTo>
                    <a:pt x="768" y="86"/>
                  </a:lnTo>
                  <a:lnTo>
                    <a:pt x="775" y="77"/>
                  </a:lnTo>
                  <a:lnTo>
                    <a:pt x="780" y="68"/>
                  </a:lnTo>
                  <a:lnTo>
                    <a:pt x="790" y="51"/>
                  </a:lnTo>
                  <a:lnTo>
                    <a:pt x="799" y="37"/>
                  </a:lnTo>
                  <a:lnTo>
                    <a:pt x="804" y="30"/>
                  </a:lnTo>
                  <a:lnTo>
                    <a:pt x="805" y="23"/>
                  </a:lnTo>
                  <a:lnTo>
                    <a:pt x="805" y="20"/>
                  </a:lnTo>
                  <a:lnTo>
                    <a:pt x="804" y="20"/>
                  </a:lnTo>
                  <a:lnTo>
                    <a:pt x="800" y="20"/>
                  </a:lnTo>
                  <a:lnTo>
                    <a:pt x="796" y="20"/>
                  </a:lnTo>
                  <a:lnTo>
                    <a:pt x="791" y="20"/>
                  </a:lnTo>
                  <a:lnTo>
                    <a:pt x="797" y="10"/>
                  </a:lnTo>
                  <a:lnTo>
                    <a:pt x="802" y="5"/>
                  </a:lnTo>
                  <a:lnTo>
                    <a:pt x="809" y="3"/>
                  </a:lnTo>
                  <a:lnTo>
                    <a:pt x="818" y="0"/>
                  </a:lnTo>
                  <a:lnTo>
                    <a:pt x="828" y="0"/>
                  </a:lnTo>
                  <a:lnTo>
                    <a:pt x="839" y="0"/>
                  </a:lnTo>
                  <a:lnTo>
                    <a:pt x="851" y="1"/>
                  </a:lnTo>
                  <a:lnTo>
                    <a:pt x="871" y="5"/>
                  </a:lnTo>
                  <a:lnTo>
                    <a:pt x="880" y="7"/>
                  </a:lnTo>
                  <a:lnTo>
                    <a:pt x="888" y="11"/>
                  </a:lnTo>
                  <a:lnTo>
                    <a:pt x="891" y="11"/>
                  </a:lnTo>
                  <a:lnTo>
                    <a:pt x="893" y="13"/>
                  </a:lnTo>
                  <a:lnTo>
                    <a:pt x="895" y="19"/>
                  </a:lnTo>
                  <a:lnTo>
                    <a:pt x="896" y="26"/>
                  </a:lnTo>
                  <a:lnTo>
                    <a:pt x="899" y="33"/>
                  </a:lnTo>
                  <a:lnTo>
                    <a:pt x="903" y="42"/>
                  </a:lnTo>
                  <a:lnTo>
                    <a:pt x="907" y="50"/>
                  </a:lnTo>
                  <a:lnTo>
                    <a:pt x="912" y="58"/>
                  </a:lnTo>
                  <a:lnTo>
                    <a:pt x="914" y="68"/>
                  </a:lnTo>
                  <a:lnTo>
                    <a:pt x="917" y="73"/>
                  </a:lnTo>
                  <a:lnTo>
                    <a:pt x="922" y="77"/>
                  </a:lnTo>
                  <a:lnTo>
                    <a:pt x="924" y="78"/>
                  </a:lnTo>
                  <a:lnTo>
                    <a:pt x="928" y="80"/>
                  </a:lnTo>
                  <a:lnTo>
                    <a:pt x="932" y="80"/>
                  </a:lnTo>
                  <a:lnTo>
                    <a:pt x="935" y="78"/>
                  </a:lnTo>
                  <a:lnTo>
                    <a:pt x="937" y="77"/>
                  </a:lnTo>
                  <a:lnTo>
                    <a:pt x="938" y="78"/>
                  </a:lnTo>
                  <a:lnTo>
                    <a:pt x="940" y="81"/>
                  </a:lnTo>
                  <a:lnTo>
                    <a:pt x="945" y="82"/>
                  </a:lnTo>
                  <a:lnTo>
                    <a:pt x="950" y="83"/>
                  </a:lnTo>
                  <a:lnTo>
                    <a:pt x="959" y="83"/>
                  </a:lnTo>
                  <a:lnTo>
                    <a:pt x="962" y="84"/>
                  </a:lnTo>
                  <a:lnTo>
                    <a:pt x="965" y="87"/>
                  </a:lnTo>
                  <a:lnTo>
                    <a:pt x="965" y="89"/>
                  </a:lnTo>
                  <a:lnTo>
                    <a:pt x="965" y="92"/>
                  </a:lnTo>
                  <a:lnTo>
                    <a:pt x="965" y="94"/>
                  </a:lnTo>
                  <a:lnTo>
                    <a:pt x="966" y="96"/>
                  </a:lnTo>
                  <a:lnTo>
                    <a:pt x="971" y="101"/>
                  </a:lnTo>
                  <a:lnTo>
                    <a:pt x="974" y="107"/>
                  </a:lnTo>
                  <a:lnTo>
                    <a:pt x="975" y="114"/>
                  </a:lnTo>
                  <a:lnTo>
                    <a:pt x="975" y="121"/>
                  </a:lnTo>
                  <a:lnTo>
                    <a:pt x="976" y="128"/>
                  </a:lnTo>
                  <a:lnTo>
                    <a:pt x="978" y="132"/>
                  </a:lnTo>
                  <a:lnTo>
                    <a:pt x="980" y="134"/>
                  </a:lnTo>
                  <a:lnTo>
                    <a:pt x="983" y="137"/>
                  </a:lnTo>
                  <a:lnTo>
                    <a:pt x="988" y="139"/>
                  </a:lnTo>
                  <a:lnTo>
                    <a:pt x="993" y="140"/>
                  </a:lnTo>
                  <a:lnTo>
                    <a:pt x="998" y="140"/>
                  </a:lnTo>
                  <a:lnTo>
                    <a:pt x="1001" y="139"/>
                  </a:lnTo>
                  <a:lnTo>
                    <a:pt x="1003" y="138"/>
                  </a:lnTo>
                  <a:lnTo>
                    <a:pt x="1007" y="134"/>
                  </a:lnTo>
                  <a:lnTo>
                    <a:pt x="1013" y="125"/>
                  </a:lnTo>
                  <a:lnTo>
                    <a:pt x="1015" y="124"/>
                  </a:lnTo>
                  <a:lnTo>
                    <a:pt x="1017" y="121"/>
                  </a:lnTo>
                  <a:lnTo>
                    <a:pt x="1025" y="120"/>
                  </a:lnTo>
                  <a:lnTo>
                    <a:pt x="1032" y="121"/>
                  </a:lnTo>
                  <a:lnTo>
                    <a:pt x="1040" y="122"/>
                  </a:lnTo>
                  <a:lnTo>
                    <a:pt x="1041" y="122"/>
                  </a:lnTo>
                  <a:lnTo>
                    <a:pt x="1041" y="124"/>
                  </a:lnTo>
                  <a:lnTo>
                    <a:pt x="1041" y="127"/>
                  </a:lnTo>
                  <a:lnTo>
                    <a:pt x="1039" y="134"/>
                  </a:lnTo>
                  <a:lnTo>
                    <a:pt x="1039" y="137"/>
                  </a:lnTo>
                  <a:lnTo>
                    <a:pt x="1039" y="139"/>
                  </a:lnTo>
                  <a:lnTo>
                    <a:pt x="1042" y="143"/>
                  </a:lnTo>
                  <a:lnTo>
                    <a:pt x="1042" y="144"/>
                  </a:lnTo>
                  <a:lnTo>
                    <a:pt x="1037" y="148"/>
                  </a:lnTo>
                  <a:lnTo>
                    <a:pt x="1032" y="153"/>
                  </a:lnTo>
                  <a:lnTo>
                    <a:pt x="1031" y="156"/>
                  </a:lnTo>
                  <a:lnTo>
                    <a:pt x="1030" y="159"/>
                  </a:lnTo>
                  <a:lnTo>
                    <a:pt x="1030" y="161"/>
                  </a:lnTo>
                  <a:lnTo>
                    <a:pt x="1031" y="165"/>
                  </a:lnTo>
                  <a:lnTo>
                    <a:pt x="1031" y="166"/>
                  </a:lnTo>
                  <a:lnTo>
                    <a:pt x="1031" y="169"/>
                  </a:lnTo>
                  <a:lnTo>
                    <a:pt x="1027" y="172"/>
                  </a:lnTo>
                  <a:lnTo>
                    <a:pt x="1025" y="178"/>
                  </a:lnTo>
                  <a:lnTo>
                    <a:pt x="1022" y="185"/>
                  </a:lnTo>
                  <a:lnTo>
                    <a:pt x="1017" y="191"/>
                  </a:lnTo>
                  <a:lnTo>
                    <a:pt x="1015" y="192"/>
                  </a:lnTo>
                  <a:lnTo>
                    <a:pt x="1011" y="195"/>
                  </a:lnTo>
                  <a:lnTo>
                    <a:pt x="1006" y="196"/>
                  </a:lnTo>
                  <a:lnTo>
                    <a:pt x="1001" y="195"/>
                  </a:lnTo>
                  <a:lnTo>
                    <a:pt x="990" y="191"/>
                  </a:lnTo>
                  <a:lnTo>
                    <a:pt x="988" y="191"/>
                  </a:lnTo>
                  <a:lnTo>
                    <a:pt x="985" y="191"/>
                  </a:lnTo>
                  <a:lnTo>
                    <a:pt x="983" y="193"/>
                  </a:lnTo>
                  <a:lnTo>
                    <a:pt x="982" y="195"/>
                  </a:lnTo>
                  <a:lnTo>
                    <a:pt x="980" y="199"/>
                  </a:lnTo>
                  <a:lnTo>
                    <a:pt x="979" y="203"/>
                  </a:lnTo>
                  <a:lnTo>
                    <a:pt x="980" y="211"/>
                  </a:lnTo>
                  <a:lnTo>
                    <a:pt x="982" y="218"/>
                  </a:lnTo>
                  <a:lnTo>
                    <a:pt x="985" y="227"/>
                  </a:lnTo>
                  <a:lnTo>
                    <a:pt x="987" y="230"/>
                  </a:lnTo>
                  <a:lnTo>
                    <a:pt x="987" y="234"/>
                  </a:lnTo>
                  <a:lnTo>
                    <a:pt x="987" y="239"/>
                  </a:lnTo>
                  <a:lnTo>
                    <a:pt x="984" y="242"/>
                  </a:lnTo>
                  <a:lnTo>
                    <a:pt x="980" y="249"/>
                  </a:lnTo>
                  <a:lnTo>
                    <a:pt x="975" y="256"/>
                  </a:lnTo>
                  <a:lnTo>
                    <a:pt x="974" y="252"/>
                  </a:lnTo>
                  <a:lnTo>
                    <a:pt x="970" y="248"/>
                  </a:lnTo>
                  <a:lnTo>
                    <a:pt x="966" y="247"/>
                  </a:lnTo>
                  <a:lnTo>
                    <a:pt x="965" y="247"/>
                  </a:lnTo>
                  <a:lnTo>
                    <a:pt x="962" y="248"/>
                  </a:lnTo>
                  <a:lnTo>
                    <a:pt x="956" y="254"/>
                  </a:lnTo>
                  <a:lnTo>
                    <a:pt x="954" y="258"/>
                  </a:lnTo>
                  <a:lnTo>
                    <a:pt x="948" y="260"/>
                  </a:lnTo>
                  <a:lnTo>
                    <a:pt x="947" y="262"/>
                  </a:lnTo>
                  <a:lnTo>
                    <a:pt x="945" y="265"/>
                  </a:lnTo>
                  <a:lnTo>
                    <a:pt x="943" y="267"/>
                  </a:lnTo>
                  <a:lnTo>
                    <a:pt x="942" y="269"/>
                  </a:lnTo>
                  <a:lnTo>
                    <a:pt x="932" y="275"/>
                  </a:lnTo>
                  <a:lnTo>
                    <a:pt x="922" y="281"/>
                  </a:lnTo>
                  <a:lnTo>
                    <a:pt x="921" y="282"/>
                  </a:lnTo>
                  <a:lnTo>
                    <a:pt x="918" y="281"/>
                  </a:lnTo>
                  <a:lnTo>
                    <a:pt x="915" y="278"/>
                  </a:lnTo>
                  <a:lnTo>
                    <a:pt x="910" y="276"/>
                  </a:lnTo>
                  <a:lnTo>
                    <a:pt x="905" y="276"/>
                  </a:lnTo>
                  <a:lnTo>
                    <a:pt x="902" y="278"/>
                  </a:lnTo>
                  <a:lnTo>
                    <a:pt x="899" y="279"/>
                  </a:lnTo>
                  <a:lnTo>
                    <a:pt x="898" y="280"/>
                  </a:lnTo>
                  <a:lnTo>
                    <a:pt x="896" y="285"/>
                  </a:lnTo>
                  <a:lnTo>
                    <a:pt x="896" y="291"/>
                  </a:lnTo>
                  <a:lnTo>
                    <a:pt x="895" y="295"/>
                  </a:lnTo>
                  <a:lnTo>
                    <a:pt x="886" y="299"/>
                  </a:lnTo>
                  <a:lnTo>
                    <a:pt x="884" y="301"/>
                  </a:lnTo>
                  <a:lnTo>
                    <a:pt x="880" y="304"/>
                  </a:lnTo>
                  <a:lnTo>
                    <a:pt x="874" y="312"/>
                  </a:lnTo>
                  <a:lnTo>
                    <a:pt x="870" y="316"/>
                  </a:lnTo>
                  <a:lnTo>
                    <a:pt x="865" y="318"/>
                  </a:lnTo>
                  <a:lnTo>
                    <a:pt x="861" y="318"/>
                  </a:lnTo>
                  <a:lnTo>
                    <a:pt x="858" y="319"/>
                  </a:lnTo>
                  <a:lnTo>
                    <a:pt x="849" y="325"/>
                  </a:lnTo>
                  <a:lnTo>
                    <a:pt x="844" y="327"/>
                  </a:lnTo>
                  <a:lnTo>
                    <a:pt x="838" y="327"/>
                  </a:lnTo>
                  <a:lnTo>
                    <a:pt x="835" y="327"/>
                  </a:lnTo>
                  <a:lnTo>
                    <a:pt x="833" y="329"/>
                  </a:lnTo>
                  <a:lnTo>
                    <a:pt x="830" y="332"/>
                  </a:lnTo>
                  <a:lnTo>
                    <a:pt x="829" y="336"/>
                  </a:lnTo>
                  <a:lnTo>
                    <a:pt x="827" y="338"/>
                  </a:lnTo>
                  <a:lnTo>
                    <a:pt x="824" y="341"/>
                  </a:lnTo>
                  <a:lnTo>
                    <a:pt x="820" y="343"/>
                  </a:lnTo>
                  <a:lnTo>
                    <a:pt x="813" y="344"/>
                  </a:lnTo>
                  <a:lnTo>
                    <a:pt x="806" y="343"/>
                  </a:lnTo>
                  <a:lnTo>
                    <a:pt x="805" y="343"/>
                  </a:lnTo>
                  <a:lnTo>
                    <a:pt x="804" y="342"/>
                  </a:lnTo>
                  <a:lnTo>
                    <a:pt x="805" y="339"/>
                  </a:lnTo>
                  <a:lnTo>
                    <a:pt x="806" y="338"/>
                  </a:lnTo>
                  <a:lnTo>
                    <a:pt x="809" y="337"/>
                  </a:lnTo>
                  <a:lnTo>
                    <a:pt x="811" y="336"/>
                  </a:lnTo>
                  <a:lnTo>
                    <a:pt x="814" y="335"/>
                  </a:lnTo>
                  <a:lnTo>
                    <a:pt x="814" y="332"/>
                  </a:lnTo>
                  <a:lnTo>
                    <a:pt x="813" y="330"/>
                  </a:lnTo>
                  <a:lnTo>
                    <a:pt x="813" y="327"/>
                  </a:lnTo>
                  <a:lnTo>
                    <a:pt x="813" y="326"/>
                  </a:lnTo>
                  <a:lnTo>
                    <a:pt x="816" y="319"/>
                  </a:lnTo>
                  <a:lnTo>
                    <a:pt x="820" y="312"/>
                  </a:lnTo>
                  <a:lnTo>
                    <a:pt x="822" y="304"/>
                  </a:lnTo>
                  <a:lnTo>
                    <a:pt x="822" y="297"/>
                  </a:lnTo>
                  <a:lnTo>
                    <a:pt x="822" y="294"/>
                  </a:lnTo>
                  <a:lnTo>
                    <a:pt x="819" y="292"/>
                  </a:lnTo>
                  <a:lnTo>
                    <a:pt x="816" y="291"/>
                  </a:lnTo>
                  <a:lnTo>
                    <a:pt x="814" y="291"/>
                  </a:lnTo>
                  <a:lnTo>
                    <a:pt x="808" y="298"/>
                  </a:lnTo>
                  <a:lnTo>
                    <a:pt x="800" y="306"/>
                  </a:lnTo>
                  <a:lnTo>
                    <a:pt x="786" y="322"/>
                  </a:lnTo>
                  <a:lnTo>
                    <a:pt x="785" y="324"/>
                  </a:lnTo>
                  <a:lnTo>
                    <a:pt x="785" y="327"/>
                  </a:lnTo>
                  <a:lnTo>
                    <a:pt x="783" y="330"/>
                  </a:lnTo>
                  <a:lnTo>
                    <a:pt x="781" y="332"/>
                  </a:lnTo>
                  <a:lnTo>
                    <a:pt x="780" y="333"/>
                  </a:lnTo>
                  <a:lnTo>
                    <a:pt x="777" y="333"/>
                  </a:lnTo>
                  <a:lnTo>
                    <a:pt x="771" y="335"/>
                  </a:lnTo>
                  <a:lnTo>
                    <a:pt x="767" y="335"/>
                  </a:lnTo>
                  <a:lnTo>
                    <a:pt x="764" y="333"/>
                  </a:lnTo>
                  <a:lnTo>
                    <a:pt x="761" y="331"/>
                  </a:lnTo>
                  <a:lnTo>
                    <a:pt x="758" y="331"/>
                  </a:lnTo>
                  <a:lnTo>
                    <a:pt x="754" y="333"/>
                  </a:lnTo>
                  <a:lnTo>
                    <a:pt x="752" y="337"/>
                  </a:lnTo>
                  <a:lnTo>
                    <a:pt x="749" y="342"/>
                  </a:lnTo>
                  <a:lnTo>
                    <a:pt x="749" y="346"/>
                  </a:lnTo>
                  <a:lnTo>
                    <a:pt x="750" y="348"/>
                  </a:lnTo>
                  <a:lnTo>
                    <a:pt x="752" y="349"/>
                  </a:lnTo>
                  <a:lnTo>
                    <a:pt x="754" y="350"/>
                  </a:lnTo>
                  <a:lnTo>
                    <a:pt x="757" y="355"/>
                  </a:lnTo>
                  <a:lnTo>
                    <a:pt x="758" y="358"/>
                  </a:lnTo>
                  <a:lnTo>
                    <a:pt x="761" y="362"/>
                  </a:lnTo>
                  <a:lnTo>
                    <a:pt x="764" y="365"/>
                  </a:lnTo>
                  <a:lnTo>
                    <a:pt x="766" y="367"/>
                  </a:lnTo>
                  <a:lnTo>
                    <a:pt x="766" y="370"/>
                  </a:lnTo>
                  <a:lnTo>
                    <a:pt x="766" y="373"/>
                  </a:lnTo>
                  <a:lnTo>
                    <a:pt x="766" y="375"/>
                  </a:lnTo>
                  <a:lnTo>
                    <a:pt x="771" y="378"/>
                  </a:lnTo>
                  <a:lnTo>
                    <a:pt x="775" y="380"/>
                  </a:lnTo>
                  <a:lnTo>
                    <a:pt x="780" y="380"/>
                  </a:lnTo>
                  <a:lnTo>
                    <a:pt x="786" y="378"/>
                  </a:lnTo>
                  <a:lnTo>
                    <a:pt x="796" y="375"/>
                  </a:lnTo>
                  <a:lnTo>
                    <a:pt x="805" y="369"/>
                  </a:lnTo>
                  <a:lnTo>
                    <a:pt x="808" y="369"/>
                  </a:lnTo>
                  <a:lnTo>
                    <a:pt x="809" y="369"/>
                  </a:lnTo>
                  <a:lnTo>
                    <a:pt x="813" y="370"/>
                  </a:lnTo>
                  <a:lnTo>
                    <a:pt x="815" y="371"/>
                  </a:lnTo>
                  <a:lnTo>
                    <a:pt x="819" y="373"/>
                  </a:lnTo>
                  <a:lnTo>
                    <a:pt x="825" y="373"/>
                  </a:lnTo>
                  <a:lnTo>
                    <a:pt x="832" y="374"/>
                  </a:lnTo>
                  <a:lnTo>
                    <a:pt x="834" y="374"/>
                  </a:lnTo>
                  <a:lnTo>
                    <a:pt x="835" y="376"/>
                  </a:lnTo>
                  <a:lnTo>
                    <a:pt x="837" y="378"/>
                  </a:lnTo>
                  <a:lnTo>
                    <a:pt x="834" y="383"/>
                  </a:lnTo>
                  <a:lnTo>
                    <a:pt x="832" y="387"/>
                  </a:lnTo>
                  <a:lnTo>
                    <a:pt x="829" y="389"/>
                  </a:lnTo>
                  <a:lnTo>
                    <a:pt x="820" y="390"/>
                  </a:lnTo>
                  <a:lnTo>
                    <a:pt x="813" y="391"/>
                  </a:lnTo>
                  <a:lnTo>
                    <a:pt x="806" y="395"/>
                  </a:lnTo>
                  <a:lnTo>
                    <a:pt x="800" y="400"/>
                  </a:lnTo>
                  <a:lnTo>
                    <a:pt x="795" y="405"/>
                  </a:lnTo>
                  <a:lnTo>
                    <a:pt x="790" y="410"/>
                  </a:lnTo>
                  <a:lnTo>
                    <a:pt x="786" y="416"/>
                  </a:lnTo>
                  <a:lnTo>
                    <a:pt x="783" y="423"/>
                  </a:lnTo>
                  <a:lnTo>
                    <a:pt x="780" y="428"/>
                  </a:lnTo>
                  <a:lnTo>
                    <a:pt x="780" y="429"/>
                  </a:lnTo>
                  <a:lnTo>
                    <a:pt x="781" y="431"/>
                  </a:lnTo>
                  <a:lnTo>
                    <a:pt x="785" y="433"/>
                  </a:lnTo>
                  <a:lnTo>
                    <a:pt x="797" y="450"/>
                  </a:lnTo>
                  <a:lnTo>
                    <a:pt x="797" y="453"/>
                  </a:lnTo>
                  <a:lnTo>
                    <a:pt x="796" y="456"/>
                  </a:lnTo>
                  <a:lnTo>
                    <a:pt x="795" y="459"/>
                  </a:lnTo>
                  <a:lnTo>
                    <a:pt x="795" y="463"/>
                  </a:lnTo>
                  <a:lnTo>
                    <a:pt x="796" y="466"/>
                  </a:lnTo>
                  <a:lnTo>
                    <a:pt x="799" y="470"/>
                  </a:lnTo>
                  <a:lnTo>
                    <a:pt x="799" y="471"/>
                  </a:lnTo>
                  <a:lnTo>
                    <a:pt x="799" y="473"/>
                  </a:lnTo>
                  <a:lnTo>
                    <a:pt x="804" y="474"/>
                  </a:lnTo>
                  <a:lnTo>
                    <a:pt x="808" y="476"/>
                  </a:lnTo>
                  <a:lnTo>
                    <a:pt x="810" y="478"/>
                  </a:lnTo>
                  <a:lnTo>
                    <a:pt x="811" y="480"/>
                  </a:lnTo>
                  <a:lnTo>
                    <a:pt x="815" y="496"/>
                  </a:lnTo>
                  <a:lnTo>
                    <a:pt x="818" y="501"/>
                  </a:lnTo>
                  <a:lnTo>
                    <a:pt x="822" y="504"/>
                  </a:lnTo>
                  <a:lnTo>
                    <a:pt x="823" y="506"/>
                  </a:lnTo>
                  <a:lnTo>
                    <a:pt x="823" y="510"/>
                  </a:lnTo>
                  <a:lnTo>
                    <a:pt x="822" y="512"/>
                  </a:lnTo>
                  <a:lnTo>
                    <a:pt x="819" y="516"/>
                  </a:lnTo>
                  <a:lnTo>
                    <a:pt x="811" y="521"/>
                  </a:lnTo>
                  <a:lnTo>
                    <a:pt x="808" y="525"/>
                  </a:lnTo>
                  <a:lnTo>
                    <a:pt x="804" y="528"/>
                  </a:lnTo>
                  <a:lnTo>
                    <a:pt x="802" y="530"/>
                  </a:lnTo>
                  <a:lnTo>
                    <a:pt x="802" y="531"/>
                  </a:lnTo>
                  <a:lnTo>
                    <a:pt x="804" y="533"/>
                  </a:lnTo>
                  <a:lnTo>
                    <a:pt x="806" y="535"/>
                  </a:lnTo>
                  <a:lnTo>
                    <a:pt x="809" y="535"/>
                  </a:lnTo>
                  <a:lnTo>
                    <a:pt x="814" y="535"/>
                  </a:lnTo>
                  <a:lnTo>
                    <a:pt x="819" y="534"/>
                  </a:lnTo>
                  <a:lnTo>
                    <a:pt x="824" y="534"/>
                  </a:lnTo>
                  <a:lnTo>
                    <a:pt x="825" y="534"/>
                  </a:lnTo>
                  <a:lnTo>
                    <a:pt x="827" y="536"/>
                  </a:lnTo>
                  <a:lnTo>
                    <a:pt x="828" y="541"/>
                  </a:lnTo>
                  <a:lnTo>
                    <a:pt x="825" y="546"/>
                  </a:lnTo>
                  <a:lnTo>
                    <a:pt x="823" y="549"/>
                  </a:lnTo>
                  <a:lnTo>
                    <a:pt x="820" y="550"/>
                  </a:lnTo>
                  <a:lnTo>
                    <a:pt x="816" y="550"/>
                  </a:lnTo>
                  <a:lnTo>
                    <a:pt x="814" y="550"/>
                  </a:lnTo>
                  <a:lnTo>
                    <a:pt x="811" y="553"/>
                  </a:lnTo>
                  <a:lnTo>
                    <a:pt x="810" y="554"/>
                  </a:lnTo>
                  <a:lnTo>
                    <a:pt x="811" y="556"/>
                  </a:lnTo>
                  <a:lnTo>
                    <a:pt x="815" y="559"/>
                  </a:lnTo>
                  <a:lnTo>
                    <a:pt x="816" y="562"/>
                  </a:lnTo>
                  <a:lnTo>
                    <a:pt x="816" y="566"/>
                  </a:lnTo>
                  <a:lnTo>
                    <a:pt x="815" y="574"/>
                  </a:lnTo>
                  <a:lnTo>
                    <a:pt x="815" y="576"/>
                  </a:lnTo>
                  <a:lnTo>
                    <a:pt x="816" y="580"/>
                  </a:lnTo>
                  <a:lnTo>
                    <a:pt x="816" y="581"/>
                  </a:lnTo>
                  <a:lnTo>
                    <a:pt x="815" y="582"/>
                  </a:lnTo>
                  <a:lnTo>
                    <a:pt x="811" y="582"/>
                  </a:lnTo>
                  <a:lnTo>
                    <a:pt x="809" y="582"/>
                  </a:lnTo>
                  <a:lnTo>
                    <a:pt x="806" y="584"/>
                  </a:lnTo>
                  <a:lnTo>
                    <a:pt x="804" y="586"/>
                  </a:lnTo>
                  <a:lnTo>
                    <a:pt x="800" y="591"/>
                  </a:lnTo>
                  <a:lnTo>
                    <a:pt x="797" y="595"/>
                  </a:lnTo>
                  <a:lnTo>
                    <a:pt x="794" y="601"/>
                  </a:lnTo>
                  <a:lnTo>
                    <a:pt x="790" y="605"/>
                  </a:lnTo>
                  <a:lnTo>
                    <a:pt x="785" y="608"/>
                  </a:lnTo>
                  <a:lnTo>
                    <a:pt x="783" y="612"/>
                  </a:lnTo>
                  <a:lnTo>
                    <a:pt x="782" y="614"/>
                  </a:lnTo>
                  <a:lnTo>
                    <a:pt x="780" y="623"/>
                  </a:lnTo>
                  <a:lnTo>
                    <a:pt x="778" y="626"/>
                  </a:lnTo>
                  <a:lnTo>
                    <a:pt x="778" y="631"/>
                  </a:lnTo>
                  <a:lnTo>
                    <a:pt x="777" y="632"/>
                  </a:lnTo>
                  <a:lnTo>
                    <a:pt x="776" y="633"/>
                  </a:lnTo>
                  <a:lnTo>
                    <a:pt x="771" y="635"/>
                  </a:lnTo>
                  <a:lnTo>
                    <a:pt x="767" y="637"/>
                  </a:lnTo>
                  <a:lnTo>
                    <a:pt x="764" y="639"/>
                  </a:lnTo>
                  <a:lnTo>
                    <a:pt x="763" y="642"/>
                  </a:lnTo>
                  <a:lnTo>
                    <a:pt x="764" y="644"/>
                  </a:lnTo>
                  <a:lnTo>
                    <a:pt x="766" y="646"/>
                  </a:lnTo>
                  <a:lnTo>
                    <a:pt x="767" y="648"/>
                  </a:lnTo>
                  <a:lnTo>
                    <a:pt x="767" y="650"/>
                  </a:lnTo>
                  <a:lnTo>
                    <a:pt x="767" y="651"/>
                  </a:lnTo>
                  <a:lnTo>
                    <a:pt x="755" y="658"/>
                  </a:lnTo>
                  <a:lnTo>
                    <a:pt x="750" y="663"/>
                  </a:lnTo>
                  <a:lnTo>
                    <a:pt x="749" y="665"/>
                  </a:lnTo>
                  <a:lnTo>
                    <a:pt x="748" y="668"/>
                  </a:lnTo>
                  <a:lnTo>
                    <a:pt x="748" y="669"/>
                  </a:lnTo>
                  <a:lnTo>
                    <a:pt x="749" y="669"/>
                  </a:lnTo>
                  <a:lnTo>
                    <a:pt x="750" y="670"/>
                  </a:lnTo>
                  <a:lnTo>
                    <a:pt x="750" y="671"/>
                  </a:lnTo>
                  <a:lnTo>
                    <a:pt x="749" y="672"/>
                  </a:lnTo>
                  <a:lnTo>
                    <a:pt x="743" y="672"/>
                  </a:lnTo>
                  <a:lnTo>
                    <a:pt x="738" y="674"/>
                  </a:lnTo>
                  <a:lnTo>
                    <a:pt x="734" y="677"/>
                  </a:lnTo>
                  <a:lnTo>
                    <a:pt x="731" y="682"/>
                  </a:lnTo>
                  <a:lnTo>
                    <a:pt x="729" y="684"/>
                  </a:lnTo>
                  <a:lnTo>
                    <a:pt x="724" y="687"/>
                  </a:lnTo>
                  <a:lnTo>
                    <a:pt x="719" y="688"/>
                  </a:lnTo>
                  <a:lnTo>
                    <a:pt x="716" y="687"/>
                  </a:lnTo>
                  <a:lnTo>
                    <a:pt x="715" y="686"/>
                  </a:lnTo>
                  <a:lnTo>
                    <a:pt x="715" y="683"/>
                  </a:lnTo>
                  <a:lnTo>
                    <a:pt x="715" y="680"/>
                  </a:lnTo>
                  <a:lnTo>
                    <a:pt x="712" y="678"/>
                  </a:lnTo>
                  <a:lnTo>
                    <a:pt x="711" y="678"/>
                  </a:lnTo>
                  <a:lnTo>
                    <a:pt x="707" y="682"/>
                  </a:lnTo>
                  <a:lnTo>
                    <a:pt x="705" y="684"/>
                  </a:lnTo>
                  <a:lnTo>
                    <a:pt x="701" y="686"/>
                  </a:lnTo>
                  <a:lnTo>
                    <a:pt x="697" y="687"/>
                  </a:lnTo>
                  <a:lnTo>
                    <a:pt x="689" y="686"/>
                  </a:lnTo>
                  <a:lnTo>
                    <a:pt x="682" y="684"/>
                  </a:lnTo>
                  <a:lnTo>
                    <a:pt x="679" y="684"/>
                  </a:lnTo>
                  <a:lnTo>
                    <a:pt x="678" y="686"/>
                  </a:lnTo>
                  <a:lnTo>
                    <a:pt x="677" y="691"/>
                  </a:lnTo>
                  <a:lnTo>
                    <a:pt x="675" y="693"/>
                  </a:lnTo>
                  <a:lnTo>
                    <a:pt x="674" y="694"/>
                  </a:lnTo>
                  <a:lnTo>
                    <a:pt x="674" y="700"/>
                  </a:lnTo>
                  <a:lnTo>
                    <a:pt x="672" y="703"/>
                  </a:lnTo>
                  <a:lnTo>
                    <a:pt x="668" y="707"/>
                  </a:lnTo>
                  <a:lnTo>
                    <a:pt x="664" y="708"/>
                  </a:lnTo>
                  <a:lnTo>
                    <a:pt x="663" y="707"/>
                  </a:lnTo>
                  <a:lnTo>
                    <a:pt x="663" y="704"/>
                  </a:lnTo>
                  <a:lnTo>
                    <a:pt x="663" y="702"/>
                  </a:lnTo>
                  <a:lnTo>
                    <a:pt x="663" y="700"/>
                  </a:lnTo>
                  <a:lnTo>
                    <a:pt x="660" y="700"/>
                  </a:lnTo>
                  <a:lnTo>
                    <a:pt x="659" y="700"/>
                  </a:lnTo>
                  <a:lnTo>
                    <a:pt x="656" y="702"/>
                  </a:lnTo>
                  <a:lnTo>
                    <a:pt x="653" y="708"/>
                  </a:lnTo>
                  <a:lnTo>
                    <a:pt x="648" y="710"/>
                  </a:lnTo>
                  <a:lnTo>
                    <a:pt x="642" y="713"/>
                  </a:lnTo>
                  <a:lnTo>
                    <a:pt x="636" y="715"/>
                  </a:lnTo>
                  <a:lnTo>
                    <a:pt x="630" y="719"/>
                  </a:lnTo>
                  <a:lnTo>
                    <a:pt x="625" y="723"/>
                  </a:lnTo>
                  <a:lnTo>
                    <a:pt x="623" y="726"/>
                  </a:lnTo>
                  <a:lnTo>
                    <a:pt x="622" y="728"/>
                  </a:lnTo>
                  <a:lnTo>
                    <a:pt x="623" y="731"/>
                  </a:lnTo>
                  <a:lnTo>
                    <a:pt x="625" y="733"/>
                  </a:lnTo>
                  <a:lnTo>
                    <a:pt x="626" y="735"/>
                  </a:lnTo>
                  <a:lnTo>
                    <a:pt x="627" y="738"/>
                  </a:lnTo>
                  <a:lnTo>
                    <a:pt x="625" y="739"/>
                  </a:lnTo>
                  <a:lnTo>
                    <a:pt x="622" y="739"/>
                  </a:lnTo>
                  <a:lnTo>
                    <a:pt x="613" y="735"/>
                  </a:lnTo>
                  <a:lnTo>
                    <a:pt x="612" y="733"/>
                  </a:lnTo>
                  <a:lnTo>
                    <a:pt x="612" y="732"/>
                  </a:lnTo>
                  <a:lnTo>
                    <a:pt x="613" y="729"/>
                  </a:lnTo>
                  <a:lnTo>
                    <a:pt x="613" y="727"/>
                  </a:lnTo>
                  <a:lnTo>
                    <a:pt x="612" y="725"/>
                  </a:lnTo>
                  <a:lnTo>
                    <a:pt x="611" y="721"/>
                  </a:lnTo>
                  <a:lnTo>
                    <a:pt x="611" y="720"/>
                  </a:lnTo>
                  <a:lnTo>
                    <a:pt x="612" y="719"/>
                  </a:lnTo>
                  <a:lnTo>
                    <a:pt x="615" y="716"/>
                  </a:lnTo>
                  <a:lnTo>
                    <a:pt x="616" y="715"/>
                  </a:lnTo>
                  <a:lnTo>
                    <a:pt x="617" y="714"/>
                  </a:lnTo>
                  <a:lnTo>
                    <a:pt x="617" y="713"/>
                  </a:lnTo>
                  <a:lnTo>
                    <a:pt x="616" y="712"/>
                  </a:lnTo>
                  <a:lnTo>
                    <a:pt x="615" y="712"/>
                  </a:lnTo>
                  <a:lnTo>
                    <a:pt x="611" y="712"/>
                  </a:lnTo>
                  <a:lnTo>
                    <a:pt x="608" y="713"/>
                  </a:lnTo>
                  <a:lnTo>
                    <a:pt x="607" y="714"/>
                  </a:lnTo>
                  <a:lnTo>
                    <a:pt x="606" y="715"/>
                  </a:lnTo>
                  <a:lnTo>
                    <a:pt x="604" y="716"/>
                  </a:lnTo>
                  <a:lnTo>
                    <a:pt x="590" y="718"/>
                  </a:lnTo>
                  <a:lnTo>
                    <a:pt x="588" y="714"/>
                  </a:lnTo>
                  <a:lnTo>
                    <a:pt x="584" y="712"/>
                  </a:lnTo>
                  <a:lnTo>
                    <a:pt x="578" y="708"/>
                  </a:lnTo>
                  <a:lnTo>
                    <a:pt x="570" y="704"/>
                  </a:lnTo>
                  <a:lnTo>
                    <a:pt x="562" y="701"/>
                  </a:lnTo>
                  <a:lnTo>
                    <a:pt x="560" y="700"/>
                  </a:lnTo>
                  <a:lnTo>
                    <a:pt x="560" y="699"/>
                  </a:lnTo>
                  <a:lnTo>
                    <a:pt x="560" y="695"/>
                  </a:lnTo>
                  <a:lnTo>
                    <a:pt x="561" y="690"/>
                  </a:lnTo>
                  <a:lnTo>
                    <a:pt x="561" y="688"/>
                  </a:lnTo>
                  <a:lnTo>
                    <a:pt x="561" y="687"/>
                  </a:lnTo>
                  <a:lnTo>
                    <a:pt x="556" y="681"/>
                  </a:lnTo>
                  <a:lnTo>
                    <a:pt x="551" y="678"/>
                  </a:lnTo>
                  <a:lnTo>
                    <a:pt x="546" y="676"/>
                  </a:lnTo>
                  <a:lnTo>
                    <a:pt x="538" y="677"/>
                  </a:lnTo>
                  <a:lnTo>
                    <a:pt x="527" y="681"/>
                  </a:lnTo>
                  <a:lnTo>
                    <a:pt x="518" y="683"/>
                  </a:lnTo>
                  <a:lnTo>
                    <a:pt x="510" y="688"/>
                  </a:lnTo>
                  <a:lnTo>
                    <a:pt x="507" y="689"/>
                  </a:lnTo>
                  <a:lnTo>
                    <a:pt x="502" y="690"/>
                  </a:lnTo>
                  <a:lnTo>
                    <a:pt x="494" y="689"/>
                  </a:lnTo>
                  <a:lnTo>
                    <a:pt x="491" y="690"/>
                  </a:lnTo>
                  <a:lnTo>
                    <a:pt x="489" y="693"/>
                  </a:lnTo>
                  <a:lnTo>
                    <a:pt x="484" y="691"/>
                  </a:lnTo>
                  <a:lnTo>
                    <a:pt x="481" y="691"/>
                  </a:lnTo>
                  <a:lnTo>
                    <a:pt x="479" y="693"/>
                  </a:lnTo>
                  <a:lnTo>
                    <a:pt x="479" y="695"/>
                  </a:lnTo>
                  <a:lnTo>
                    <a:pt x="477" y="696"/>
                  </a:lnTo>
                  <a:lnTo>
                    <a:pt x="479" y="700"/>
                  </a:lnTo>
                  <a:lnTo>
                    <a:pt x="484" y="707"/>
                  </a:lnTo>
                  <a:lnTo>
                    <a:pt x="484" y="712"/>
                  </a:lnTo>
                  <a:lnTo>
                    <a:pt x="484" y="713"/>
                  </a:lnTo>
                  <a:lnTo>
                    <a:pt x="482" y="714"/>
                  </a:lnTo>
                  <a:lnTo>
                    <a:pt x="479" y="716"/>
                  </a:lnTo>
                  <a:lnTo>
                    <a:pt x="475" y="718"/>
                  </a:lnTo>
                  <a:lnTo>
                    <a:pt x="471" y="716"/>
                  </a:lnTo>
                  <a:lnTo>
                    <a:pt x="466" y="715"/>
                  </a:lnTo>
                  <a:lnTo>
                    <a:pt x="467" y="713"/>
                  </a:lnTo>
                  <a:lnTo>
                    <a:pt x="466" y="710"/>
                  </a:lnTo>
                  <a:lnTo>
                    <a:pt x="466" y="709"/>
                  </a:lnTo>
                  <a:lnTo>
                    <a:pt x="462" y="708"/>
                  </a:lnTo>
                  <a:lnTo>
                    <a:pt x="456" y="708"/>
                  </a:lnTo>
                  <a:lnTo>
                    <a:pt x="455" y="707"/>
                  </a:lnTo>
                  <a:lnTo>
                    <a:pt x="453" y="706"/>
                  </a:lnTo>
                  <a:lnTo>
                    <a:pt x="453" y="702"/>
                  </a:lnTo>
                  <a:lnTo>
                    <a:pt x="453" y="699"/>
                  </a:lnTo>
                  <a:lnTo>
                    <a:pt x="452" y="697"/>
                  </a:lnTo>
                  <a:lnTo>
                    <a:pt x="451" y="697"/>
                  </a:lnTo>
                  <a:lnTo>
                    <a:pt x="446" y="699"/>
                  </a:lnTo>
                  <a:lnTo>
                    <a:pt x="443" y="699"/>
                  </a:lnTo>
                  <a:lnTo>
                    <a:pt x="441" y="699"/>
                  </a:lnTo>
                  <a:lnTo>
                    <a:pt x="439" y="697"/>
                  </a:lnTo>
                  <a:lnTo>
                    <a:pt x="439" y="695"/>
                  </a:lnTo>
                  <a:lnTo>
                    <a:pt x="442" y="690"/>
                  </a:lnTo>
                  <a:lnTo>
                    <a:pt x="446" y="687"/>
                  </a:lnTo>
                  <a:lnTo>
                    <a:pt x="449" y="682"/>
                  </a:lnTo>
                  <a:lnTo>
                    <a:pt x="451" y="677"/>
                  </a:lnTo>
                  <a:lnTo>
                    <a:pt x="451" y="675"/>
                  </a:lnTo>
                  <a:lnTo>
                    <a:pt x="448" y="675"/>
                  </a:lnTo>
                  <a:lnTo>
                    <a:pt x="443" y="675"/>
                  </a:lnTo>
                  <a:lnTo>
                    <a:pt x="441" y="674"/>
                  </a:lnTo>
                  <a:lnTo>
                    <a:pt x="439" y="671"/>
                  </a:lnTo>
                  <a:lnTo>
                    <a:pt x="439" y="667"/>
                  </a:lnTo>
                  <a:lnTo>
                    <a:pt x="439" y="661"/>
                  </a:lnTo>
                  <a:lnTo>
                    <a:pt x="439" y="658"/>
                  </a:lnTo>
                  <a:lnTo>
                    <a:pt x="438" y="657"/>
                  </a:lnTo>
                  <a:lnTo>
                    <a:pt x="435" y="657"/>
                  </a:lnTo>
                  <a:lnTo>
                    <a:pt x="432" y="657"/>
                  </a:lnTo>
                  <a:lnTo>
                    <a:pt x="425" y="658"/>
                  </a:lnTo>
                  <a:lnTo>
                    <a:pt x="419" y="659"/>
                  </a:lnTo>
                  <a:lnTo>
                    <a:pt x="416" y="658"/>
                  </a:lnTo>
                  <a:lnTo>
                    <a:pt x="415" y="657"/>
                  </a:lnTo>
                  <a:lnTo>
                    <a:pt x="413" y="652"/>
                  </a:lnTo>
                  <a:lnTo>
                    <a:pt x="413" y="649"/>
                  </a:lnTo>
                  <a:lnTo>
                    <a:pt x="413" y="645"/>
                  </a:lnTo>
                  <a:lnTo>
                    <a:pt x="414" y="640"/>
                  </a:lnTo>
                  <a:lnTo>
                    <a:pt x="418" y="632"/>
                  </a:lnTo>
                  <a:lnTo>
                    <a:pt x="422" y="624"/>
                  </a:lnTo>
                  <a:lnTo>
                    <a:pt x="424" y="619"/>
                  </a:lnTo>
                  <a:lnTo>
                    <a:pt x="425" y="614"/>
                  </a:lnTo>
                  <a:lnTo>
                    <a:pt x="427" y="604"/>
                  </a:lnTo>
                  <a:lnTo>
                    <a:pt x="425" y="581"/>
                  </a:lnTo>
                  <a:lnTo>
                    <a:pt x="424" y="576"/>
                  </a:lnTo>
                  <a:lnTo>
                    <a:pt x="422" y="572"/>
                  </a:lnTo>
                  <a:lnTo>
                    <a:pt x="416" y="569"/>
                  </a:lnTo>
                  <a:lnTo>
                    <a:pt x="414" y="568"/>
                  </a:lnTo>
                  <a:lnTo>
                    <a:pt x="413" y="569"/>
                  </a:lnTo>
                  <a:lnTo>
                    <a:pt x="408" y="571"/>
                  </a:lnTo>
                  <a:lnTo>
                    <a:pt x="401" y="572"/>
                  </a:lnTo>
                  <a:lnTo>
                    <a:pt x="399" y="571"/>
                  </a:lnTo>
                  <a:lnTo>
                    <a:pt x="397" y="568"/>
                  </a:lnTo>
                  <a:lnTo>
                    <a:pt x="397" y="566"/>
                  </a:lnTo>
                  <a:lnTo>
                    <a:pt x="399" y="563"/>
                  </a:lnTo>
                  <a:lnTo>
                    <a:pt x="400" y="560"/>
                  </a:lnTo>
                  <a:lnTo>
                    <a:pt x="399" y="557"/>
                  </a:lnTo>
                  <a:lnTo>
                    <a:pt x="395" y="555"/>
                  </a:lnTo>
                  <a:lnTo>
                    <a:pt x="391" y="554"/>
                  </a:lnTo>
                  <a:lnTo>
                    <a:pt x="383" y="553"/>
                  </a:lnTo>
                  <a:lnTo>
                    <a:pt x="375" y="553"/>
                  </a:lnTo>
                  <a:lnTo>
                    <a:pt x="366" y="555"/>
                  </a:lnTo>
                  <a:lnTo>
                    <a:pt x="353" y="560"/>
                  </a:lnTo>
                  <a:lnTo>
                    <a:pt x="336" y="568"/>
                  </a:lnTo>
                  <a:lnTo>
                    <a:pt x="321" y="576"/>
                  </a:lnTo>
                  <a:lnTo>
                    <a:pt x="315" y="579"/>
                  </a:lnTo>
                  <a:lnTo>
                    <a:pt x="310" y="579"/>
                  </a:lnTo>
                  <a:lnTo>
                    <a:pt x="307" y="578"/>
                  </a:lnTo>
                  <a:lnTo>
                    <a:pt x="305" y="576"/>
                  </a:lnTo>
                  <a:lnTo>
                    <a:pt x="301" y="575"/>
                  </a:lnTo>
                  <a:lnTo>
                    <a:pt x="297" y="575"/>
                  </a:lnTo>
                  <a:lnTo>
                    <a:pt x="287" y="578"/>
                  </a:lnTo>
                  <a:lnTo>
                    <a:pt x="275" y="579"/>
                  </a:lnTo>
                  <a:lnTo>
                    <a:pt x="273" y="579"/>
                  </a:lnTo>
                  <a:lnTo>
                    <a:pt x="272" y="581"/>
                  </a:lnTo>
                  <a:lnTo>
                    <a:pt x="270" y="584"/>
                  </a:lnTo>
                  <a:lnTo>
                    <a:pt x="268" y="587"/>
                  </a:lnTo>
                  <a:lnTo>
                    <a:pt x="264" y="582"/>
                  </a:lnTo>
                  <a:lnTo>
                    <a:pt x="259" y="579"/>
                  </a:lnTo>
                  <a:lnTo>
                    <a:pt x="256" y="578"/>
                  </a:lnTo>
                  <a:lnTo>
                    <a:pt x="255" y="579"/>
                  </a:lnTo>
                  <a:lnTo>
                    <a:pt x="253" y="580"/>
                  </a:lnTo>
                  <a:lnTo>
                    <a:pt x="250" y="581"/>
                  </a:lnTo>
                  <a:lnTo>
                    <a:pt x="245" y="580"/>
                  </a:lnTo>
                  <a:lnTo>
                    <a:pt x="241" y="579"/>
                  </a:lnTo>
                  <a:lnTo>
                    <a:pt x="232" y="574"/>
                  </a:lnTo>
                  <a:lnTo>
                    <a:pt x="230" y="574"/>
                  </a:lnTo>
                  <a:lnTo>
                    <a:pt x="228" y="574"/>
                  </a:lnTo>
                  <a:lnTo>
                    <a:pt x="225" y="576"/>
                  </a:lnTo>
                  <a:lnTo>
                    <a:pt x="221" y="579"/>
                  </a:lnTo>
                  <a:lnTo>
                    <a:pt x="218" y="579"/>
                  </a:lnTo>
                  <a:lnTo>
                    <a:pt x="216" y="579"/>
                  </a:lnTo>
                  <a:lnTo>
                    <a:pt x="209" y="575"/>
                  </a:lnTo>
                  <a:lnTo>
                    <a:pt x="204" y="572"/>
                  </a:lnTo>
                  <a:lnTo>
                    <a:pt x="201" y="566"/>
                  </a:lnTo>
                  <a:lnTo>
                    <a:pt x="195" y="561"/>
                  </a:lnTo>
                  <a:lnTo>
                    <a:pt x="192" y="560"/>
                  </a:lnTo>
                  <a:lnTo>
                    <a:pt x="188" y="560"/>
                  </a:lnTo>
                  <a:lnTo>
                    <a:pt x="185" y="560"/>
                  </a:lnTo>
                  <a:lnTo>
                    <a:pt x="183" y="560"/>
                  </a:lnTo>
                  <a:lnTo>
                    <a:pt x="183" y="559"/>
                  </a:lnTo>
                  <a:lnTo>
                    <a:pt x="184" y="555"/>
                  </a:lnTo>
                  <a:lnTo>
                    <a:pt x="183" y="554"/>
                  </a:lnTo>
                  <a:lnTo>
                    <a:pt x="182" y="553"/>
                  </a:lnTo>
                  <a:lnTo>
                    <a:pt x="176" y="552"/>
                  </a:lnTo>
                  <a:lnTo>
                    <a:pt x="173" y="552"/>
                  </a:lnTo>
                  <a:lnTo>
                    <a:pt x="169" y="550"/>
                  </a:lnTo>
                  <a:lnTo>
                    <a:pt x="166" y="548"/>
                  </a:lnTo>
                  <a:lnTo>
                    <a:pt x="165" y="546"/>
                  </a:lnTo>
                  <a:lnTo>
                    <a:pt x="160" y="541"/>
                  </a:lnTo>
                  <a:lnTo>
                    <a:pt x="154" y="536"/>
                  </a:lnTo>
                  <a:lnTo>
                    <a:pt x="147" y="533"/>
                  </a:lnTo>
                  <a:lnTo>
                    <a:pt x="145" y="533"/>
                  </a:lnTo>
                  <a:lnTo>
                    <a:pt x="142" y="534"/>
                  </a:lnTo>
                  <a:lnTo>
                    <a:pt x="136" y="536"/>
                  </a:lnTo>
                  <a:lnTo>
                    <a:pt x="132" y="536"/>
                  </a:lnTo>
                  <a:lnTo>
                    <a:pt x="129" y="5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5" name="Freeform 634"/>
            <p:cNvSpPr>
              <a:spLocks/>
            </p:cNvSpPr>
            <p:nvPr/>
          </p:nvSpPr>
          <p:spPr bwMode="auto">
            <a:xfrm>
              <a:off x="7067551" y="3776667"/>
              <a:ext cx="74613" cy="65087"/>
            </a:xfrm>
            <a:custGeom>
              <a:avLst/>
              <a:gdLst>
                <a:gd name="T0" fmla="*/ 2147483647 w 51"/>
                <a:gd name="T1" fmla="*/ 2147483647 h 41"/>
                <a:gd name="T2" fmla="*/ 2147483647 w 51"/>
                <a:gd name="T3" fmla="*/ 2147483647 h 41"/>
                <a:gd name="T4" fmla="*/ 2147483647 w 51"/>
                <a:gd name="T5" fmla="*/ 2147483647 h 41"/>
                <a:gd name="T6" fmla="*/ 2147483647 w 51"/>
                <a:gd name="T7" fmla="*/ 2147483647 h 41"/>
                <a:gd name="T8" fmla="*/ 2147483647 w 51"/>
                <a:gd name="T9" fmla="*/ 2147483647 h 41"/>
                <a:gd name="T10" fmla="*/ 2147483647 w 51"/>
                <a:gd name="T11" fmla="*/ 2147483647 h 41"/>
                <a:gd name="T12" fmla="*/ 2147483647 w 51"/>
                <a:gd name="T13" fmla="*/ 0 h 41"/>
                <a:gd name="T14" fmla="*/ 2147483647 w 51"/>
                <a:gd name="T15" fmla="*/ 2147483647 h 41"/>
                <a:gd name="T16" fmla="*/ 2147483647 w 51"/>
                <a:gd name="T17" fmla="*/ 2147483647 h 41"/>
                <a:gd name="T18" fmla="*/ 2147483647 w 51"/>
                <a:gd name="T19" fmla="*/ 2147483647 h 41"/>
                <a:gd name="T20" fmla="*/ 2147483647 w 51"/>
                <a:gd name="T21" fmla="*/ 2147483647 h 41"/>
                <a:gd name="T22" fmla="*/ 2147483647 w 51"/>
                <a:gd name="T23" fmla="*/ 2147483647 h 41"/>
                <a:gd name="T24" fmla="*/ 2147483647 w 51"/>
                <a:gd name="T25" fmla="*/ 2147483647 h 41"/>
                <a:gd name="T26" fmla="*/ 2147483647 w 51"/>
                <a:gd name="T27" fmla="*/ 2147483647 h 41"/>
                <a:gd name="T28" fmla="*/ 2147483647 w 51"/>
                <a:gd name="T29" fmla="*/ 2147483647 h 41"/>
                <a:gd name="T30" fmla="*/ 2147483647 w 51"/>
                <a:gd name="T31" fmla="*/ 2147483647 h 41"/>
                <a:gd name="T32" fmla="*/ 2147483647 w 51"/>
                <a:gd name="T33" fmla="*/ 2147483647 h 41"/>
                <a:gd name="T34" fmla="*/ 2147483647 w 51"/>
                <a:gd name="T35" fmla="*/ 2147483647 h 41"/>
                <a:gd name="T36" fmla="*/ 2147483647 w 51"/>
                <a:gd name="T37" fmla="*/ 2147483647 h 41"/>
                <a:gd name="T38" fmla="*/ 2147483647 w 51"/>
                <a:gd name="T39" fmla="*/ 2147483647 h 41"/>
                <a:gd name="T40" fmla="*/ 2147483647 w 51"/>
                <a:gd name="T41" fmla="*/ 2147483647 h 41"/>
                <a:gd name="T42" fmla="*/ 0 w 51"/>
                <a:gd name="T43" fmla="*/ 2147483647 h 41"/>
                <a:gd name="T44" fmla="*/ 0 w 51"/>
                <a:gd name="T45" fmla="*/ 2147483647 h 41"/>
                <a:gd name="T46" fmla="*/ 2147483647 w 51"/>
                <a:gd name="T47" fmla="*/ 2147483647 h 41"/>
                <a:gd name="T48" fmla="*/ 2147483647 w 51"/>
                <a:gd name="T49" fmla="*/ 2147483647 h 41"/>
                <a:gd name="T50" fmla="*/ 2147483647 w 51"/>
                <a:gd name="T51" fmla="*/ 2147483647 h 41"/>
                <a:gd name="T52" fmla="*/ 2147483647 w 51"/>
                <a:gd name="T53" fmla="*/ 2147483647 h 41"/>
                <a:gd name="T54" fmla="*/ 2147483647 w 51"/>
                <a:gd name="T55" fmla="*/ 2147483647 h 41"/>
                <a:gd name="T56" fmla="*/ 2147483647 w 51"/>
                <a:gd name="T57" fmla="*/ 2147483647 h 41"/>
                <a:gd name="T58" fmla="*/ 2147483647 w 51"/>
                <a:gd name="T59" fmla="*/ 2147483647 h 41"/>
                <a:gd name="T60" fmla="*/ 2147483647 w 51"/>
                <a:gd name="T61" fmla="*/ 2147483647 h 41"/>
                <a:gd name="T62" fmla="*/ 2147483647 w 51"/>
                <a:gd name="T63" fmla="*/ 2147483647 h 41"/>
                <a:gd name="T64" fmla="*/ 2147483647 w 51"/>
                <a:gd name="T65" fmla="*/ 2147483647 h 41"/>
                <a:gd name="T66" fmla="*/ 2147483647 w 51"/>
                <a:gd name="T67" fmla="*/ 2147483647 h 41"/>
                <a:gd name="T68" fmla="*/ 2147483647 w 51"/>
                <a:gd name="T69" fmla="*/ 2147483647 h 41"/>
                <a:gd name="T70" fmla="*/ 2147483647 w 51"/>
                <a:gd name="T71" fmla="*/ 2147483647 h 41"/>
                <a:gd name="T72" fmla="*/ 2147483647 w 51"/>
                <a:gd name="T73" fmla="*/ 2147483647 h 41"/>
                <a:gd name="T74" fmla="*/ 2147483647 w 51"/>
                <a:gd name="T75" fmla="*/ 2147483647 h 41"/>
                <a:gd name="T76" fmla="*/ 2147483647 w 51"/>
                <a:gd name="T77" fmla="*/ 2147483647 h 41"/>
                <a:gd name="T78" fmla="*/ 2147483647 w 51"/>
                <a:gd name="T79" fmla="*/ 2147483647 h 41"/>
                <a:gd name="T80" fmla="*/ 2147483647 w 51"/>
                <a:gd name="T81" fmla="*/ 2147483647 h 41"/>
                <a:gd name="T82" fmla="*/ 2147483647 w 51"/>
                <a:gd name="T83" fmla="*/ 2147483647 h 41"/>
                <a:gd name="T84" fmla="*/ 2147483647 w 51"/>
                <a:gd name="T85" fmla="*/ 2147483647 h 41"/>
                <a:gd name="T86" fmla="*/ 2147483647 w 51"/>
                <a:gd name="T87" fmla="*/ 2147483647 h 41"/>
                <a:gd name="T88" fmla="*/ 2147483647 w 51"/>
                <a:gd name="T89" fmla="*/ 2147483647 h 41"/>
                <a:gd name="T90" fmla="*/ 2147483647 w 51"/>
                <a:gd name="T91" fmla="*/ 2147483647 h 41"/>
                <a:gd name="T92" fmla="*/ 2147483647 w 51"/>
                <a:gd name="T93" fmla="*/ 2147483647 h 41"/>
                <a:gd name="T94" fmla="*/ 2147483647 w 51"/>
                <a:gd name="T95" fmla="*/ 2147483647 h 41"/>
                <a:gd name="T96" fmla="*/ 2147483647 w 51"/>
                <a:gd name="T97" fmla="*/ 2147483647 h 41"/>
                <a:gd name="T98" fmla="*/ 2147483647 w 51"/>
                <a:gd name="T99" fmla="*/ 2147483647 h 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1"/>
                <a:gd name="T151" fmla="*/ 0 h 41"/>
                <a:gd name="T152" fmla="*/ 51 w 51"/>
                <a:gd name="T153" fmla="*/ 41 h 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1" h="41">
                  <a:moveTo>
                    <a:pt x="47" y="13"/>
                  </a:moveTo>
                  <a:lnTo>
                    <a:pt x="47" y="13"/>
                  </a:lnTo>
                  <a:lnTo>
                    <a:pt x="51" y="8"/>
                  </a:lnTo>
                  <a:lnTo>
                    <a:pt x="51" y="5"/>
                  </a:lnTo>
                  <a:lnTo>
                    <a:pt x="51" y="3"/>
                  </a:lnTo>
                  <a:lnTo>
                    <a:pt x="48" y="0"/>
                  </a:lnTo>
                  <a:lnTo>
                    <a:pt x="46" y="2"/>
                  </a:lnTo>
                  <a:lnTo>
                    <a:pt x="40" y="3"/>
                  </a:lnTo>
                  <a:lnTo>
                    <a:pt x="34" y="4"/>
                  </a:lnTo>
                  <a:lnTo>
                    <a:pt x="23" y="5"/>
                  </a:lnTo>
                  <a:lnTo>
                    <a:pt x="18" y="6"/>
                  </a:lnTo>
                  <a:lnTo>
                    <a:pt x="13" y="9"/>
                  </a:lnTo>
                  <a:lnTo>
                    <a:pt x="11" y="10"/>
                  </a:lnTo>
                  <a:lnTo>
                    <a:pt x="7" y="16"/>
                  </a:lnTo>
                  <a:lnTo>
                    <a:pt x="1" y="21"/>
                  </a:lnTo>
                  <a:lnTo>
                    <a:pt x="0" y="22"/>
                  </a:lnTo>
                  <a:lnTo>
                    <a:pt x="0" y="24"/>
                  </a:lnTo>
                  <a:lnTo>
                    <a:pt x="1" y="28"/>
                  </a:lnTo>
                  <a:lnTo>
                    <a:pt x="5" y="34"/>
                  </a:lnTo>
                  <a:lnTo>
                    <a:pt x="5" y="36"/>
                  </a:lnTo>
                  <a:lnTo>
                    <a:pt x="5" y="38"/>
                  </a:lnTo>
                  <a:lnTo>
                    <a:pt x="5" y="40"/>
                  </a:lnTo>
                  <a:lnTo>
                    <a:pt x="7" y="40"/>
                  </a:lnTo>
                  <a:lnTo>
                    <a:pt x="10" y="38"/>
                  </a:lnTo>
                  <a:lnTo>
                    <a:pt x="14" y="38"/>
                  </a:lnTo>
                  <a:lnTo>
                    <a:pt x="16" y="40"/>
                  </a:lnTo>
                  <a:lnTo>
                    <a:pt x="21" y="41"/>
                  </a:lnTo>
                  <a:lnTo>
                    <a:pt x="25" y="40"/>
                  </a:lnTo>
                  <a:lnTo>
                    <a:pt x="27" y="37"/>
                  </a:lnTo>
                  <a:lnTo>
                    <a:pt x="28" y="31"/>
                  </a:lnTo>
                  <a:lnTo>
                    <a:pt x="29" y="29"/>
                  </a:lnTo>
                  <a:lnTo>
                    <a:pt x="32" y="28"/>
                  </a:lnTo>
                  <a:lnTo>
                    <a:pt x="38" y="26"/>
                  </a:lnTo>
                  <a:lnTo>
                    <a:pt x="40" y="25"/>
                  </a:lnTo>
                  <a:lnTo>
                    <a:pt x="43" y="19"/>
                  </a:lnTo>
                  <a:lnTo>
                    <a:pt x="47"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6" name="Freeform 635"/>
            <p:cNvSpPr>
              <a:spLocks/>
            </p:cNvSpPr>
            <p:nvPr/>
          </p:nvSpPr>
          <p:spPr bwMode="auto">
            <a:xfrm>
              <a:off x="6203954" y="2597153"/>
              <a:ext cx="1527175" cy="1173163"/>
            </a:xfrm>
            <a:custGeom>
              <a:avLst/>
              <a:gdLst>
                <a:gd name="T0" fmla="*/ 2147483647 w 1042"/>
                <a:gd name="T1" fmla="*/ 2147483647 h 739"/>
                <a:gd name="T2" fmla="*/ 2147483647 w 1042"/>
                <a:gd name="T3" fmla="*/ 2147483647 h 739"/>
                <a:gd name="T4" fmla="*/ 2147483647 w 1042"/>
                <a:gd name="T5" fmla="*/ 2147483647 h 739"/>
                <a:gd name="T6" fmla="*/ 2147483647 w 1042"/>
                <a:gd name="T7" fmla="*/ 2147483647 h 739"/>
                <a:gd name="T8" fmla="*/ 0 w 1042"/>
                <a:gd name="T9" fmla="*/ 2147483647 h 739"/>
                <a:gd name="T10" fmla="*/ 2147483647 w 1042"/>
                <a:gd name="T11" fmla="*/ 2147483647 h 739"/>
                <a:gd name="T12" fmla="*/ 2147483647 w 1042"/>
                <a:gd name="T13" fmla="*/ 2147483647 h 739"/>
                <a:gd name="T14" fmla="*/ 2147483647 w 1042"/>
                <a:gd name="T15" fmla="*/ 2147483647 h 739"/>
                <a:gd name="T16" fmla="*/ 2147483647 w 1042"/>
                <a:gd name="T17" fmla="*/ 2147483647 h 739"/>
                <a:gd name="T18" fmla="*/ 2147483647 w 1042"/>
                <a:gd name="T19" fmla="*/ 2147483647 h 739"/>
                <a:gd name="T20" fmla="*/ 2147483647 w 1042"/>
                <a:gd name="T21" fmla="*/ 2147483647 h 739"/>
                <a:gd name="T22" fmla="*/ 2147483647 w 1042"/>
                <a:gd name="T23" fmla="*/ 2147483647 h 739"/>
                <a:gd name="T24" fmla="*/ 2147483647 w 1042"/>
                <a:gd name="T25" fmla="*/ 2147483647 h 739"/>
                <a:gd name="T26" fmla="*/ 2147483647 w 1042"/>
                <a:gd name="T27" fmla="*/ 2147483647 h 739"/>
                <a:gd name="T28" fmla="*/ 2147483647 w 1042"/>
                <a:gd name="T29" fmla="*/ 2147483647 h 739"/>
                <a:gd name="T30" fmla="*/ 2147483647 w 1042"/>
                <a:gd name="T31" fmla="*/ 2147483647 h 739"/>
                <a:gd name="T32" fmla="*/ 2147483647 w 1042"/>
                <a:gd name="T33" fmla="*/ 2147483647 h 739"/>
                <a:gd name="T34" fmla="*/ 2147483647 w 1042"/>
                <a:gd name="T35" fmla="*/ 2147483647 h 739"/>
                <a:gd name="T36" fmla="*/ 2147483647 w 1042"/>
                <a:gd name="T37" fmla="*/ 2147483647 h 739"/>
                <a:gd name="T38" fmla="*/ 2147483647 w 1042"/>
                <a:gd name="T39" fmla="*/ 2147483647 h 739"/>
                <a:gd name="T40" fmla="*/ 2147483647 w 1042"/>
                <a:gd name="T41" fmla="*/ 2147483647 h 739"/>
                <a:gd name="T42" fmla="*/ 2147483647 w 1042"/>
                <a:gd name="T43" fmla="*/ 2147483647 h 739"/>
                <a:gd name="T44" fmla="*/ 2147483647 w 1042"/>
                <a:gd name="T45" fmla="*/ 2147483647 h 739"/>
                <a:gd name="T46" fmla="*/ 2147483647 w 1042"/>
                <a:gd name="T47" fmla="*/ 2147483647 h 739"/>
                <a:gd name="T48" fmla="*/ 2147483647 w 1042"/>
                <a:gd name="T49" fmla="*/ 2147483647 h 739"/>
                <a:gd name="T50" fmla="*/ 2147483647 w 1042"/>
                <a:gd name="T51" fmla="*/ 2147483647 h 739"/>
                <a:gd name="T52" fmla="*/ 2147483647 w 1042"/>
                <a:gd name="T53" fmla="*/ 2147483647 h 739"/>
                <a:gd name="T54" fmla="*/ 2147483647 w 1042"/>
                <a:gd name="T55" fmla="*/ 2147483647 h 739"/>
                <a:gd name="T56" fmla="*/ 2147483647 w 1042"/>
                <a:gd name="T57" fmla="*/ 2147483647 h 739"/>
                <a:gd name="T58" fmla="*/ 2147483647 w 1042"/>
                <a:gd name="T59" fmla="*/ 2147483647 h 739"/>
                <a:gd name="T60" fmla="*/ 2147483647 w 1042"/>
                <a:gd name="T61" fmla="*/ 2147483647 h 739"/>
                <a:gd name="T62" fmla="*/ 2147483647 w 1042"/>
                <a:gd name="T63" fmla="*/ 2147483647 h 739"/>
                <a:gd name="T64" fmla="*/ 2147483647 w 1042"/>
                <a:gd name="T65" fmla="*/ 2147483647 h 739"/>
                <a:gd name="T66" fmla="*/ 2147483647 w 1042"/>
                <a:gd name="T67" fmla="*/ 2147483647 h 739"/>
                <a:gd name="T68" fmla="*/ 2147483647 w 1042"/>
                <a:gd name="T69" fmla="*/ 2147483647 h 739"/>
                <a:gd name="T70" fmla="*/ 2147483647 w 1042"/>
                <a:gd name="T71" fmla="*/ 2147483647 h 739"/>
                <a:gd name="T72" fmla="*/ 2147483647 w 1042"/>
                <a:gd name="T73" fmla="*/ 2147483647 h 739"/>
                <a:gd name="T74" fmla="*/ 2147483647 w 1042"/>
                <a:gd name="T75" fmla="*/ 2147483647 h 739"/>
                <a:gd name="T76" fmla="*/ 2147483647 w 1042"/>
                <a:gd name="T77" fmla="*/ 2147483647 h 739"/>
                <a:gd name="T78" fmla="*/ 2147483647 w 1042"/>
                <a:gd name="T79" fmla="*/ 2147483647 h 739"/>
                <a:gd name="T80" fmla="*/ 2147483647 w 1042"/>
                <a:gd name="T81" fmla="*/ 2147483647 h 739"/>
                <a:gd name="T82" fmla="*/ 2147483647 w 1042"/>
                <a:gd name="T83" fmla="*/ 2147483647 h 739"/>
                <a:gd name="T84" fmla="*/ 2147483647 w 1042"/>
                <a:gd name="T85" fmla="*/ 2147483647 h 739"/>
                <a:gd name="T86" fmla="*/ 2147483647 w 1042"/>
                <a:gd name="T87" fmla="*/ 2147483647 h 739"/>
                <a:gd name="T88" fmla="*/ 2147483647 w 1042"/>
                <a:gd name="T89" fmla="*/ 2147483647 h 739"/>
                <a:gd name="T90" fmla="*/ 2147483647 w 1042"/>
                <a:gd name="T91" fmla="*/ 2147483647 h 739"/>
                <a:gd name="T92" fmla="*/ 2147483647 w 1042"/>
                <a:gd name="T93" fmla="*/ 2147483647 h 739"/>
                <a:gd name="T94" fmla="*/ 2147483647 w 1042"/>
                <a:gd name="T95" fmla="*/ 2147483647 h 739"/>
                <a:gd name="T96" fmla="*/ 2147483647 w 1042"/>
                <a:gd name="T97" fmla="*/ 2147483647 h 739"/>
                <a:gd name="T98" fmla="*/ 2147483647 w 1042"/>
                <a:gd name="T99" fmla="*/ 2147483647 h 739"/>
                <a:gd name="T100" fmla="*/ 2147483647 w 1042"/>
                <a:gd name="T101" fmla="*/ 2147483647 h 739"/>
                <a:gd name="T102" fmla="*/ 2147483647 w 1042"/>
                <a:gd name="T103" fmla="*/ 2147483647 h 739"/>
                <a:gd name="T104" fmla="*/ 2147483647 w 1042"/>
                <a:gd name="T105" fmla="*/ 2147483647 h 739"/>
                <a:gd name="T106" fmla="*/ 2147483647 w 1042"/>
                <a:gd name="T107" fmla="*/ 2147483647 h 739"/>
                <a:gd name="T108" fmla="*/ 2147483647 w 1042"/>
                <a:gd name="T109" fmla="*/ 2147483647 h 739"/>
                <a:gd name="T110" fmla="*/ 2147483647 w 1042"/>
                <a:gd name="T111" fmla="*/ 2147483647 h 739"/>
                <a:gd name="T112" fmla="*/ 2147483647 w 1042"/>
                <a:gd name="T113" fmla="*/ 2147483647 h 739"/>
                <a:gd name="T114" fmla="*/ 2147483647 w 1042"/>
                <a:gd name="T115" fmla="*/ 2147483647 h 739"/>
                <a:gd name="T116" fmla="*/ 2147483647 w 1042"/>
                <a:gd name="T117" fmla="*/ 2147483647 h 739"/>
                <a:gd name="T118" fmla="*/ 2147483647 w 1042"/>
                <a:gd name="T119" fmla="*/ 2147483647 h 739"/>
                <a:gd name="T120" fmla="*/ 2147483647 w 1042"/>
                <a:gd name="T121" fmla="*/ 2147483647 h 739"/>
                <a:gd name="T122" fmla="*/ 2147483647 w 1042"/>
                <a:gd name="T123" fmla="*/ 2147483647 h 739"/>
                <a:gd name="T124" fmla="*/ 2147483647 w 1042"/>
                <a:gd name="T125" fmla="*/ 2147483647 h 7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2"/>
                <a:gd name="T190" fmla="*/ 0 h 739"/>
                <a:gd name="T191" fmla="*/ 1042 w 1042"/>
                <a:gd name="T192" fmla="*/ 739 h 73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2" h="739">
                  <a:moveTo>
                    <a:pt x="129" y="535"/>
                  </a:moveTo>
                  <a:lnTo>
                    <a:pt x="129" y="535"/>
                  </a:lnTo>
                  <a:lnTo>
                    <a:pt x="125" y="532"/>
                  </a:lnTo>
                  <a:lnTo>
                    <a:pt x="123" y="529"/>
                  </a:lnTo>
                  <a:lnTo>
                    <a:pt x="120" y="525"/>
                  </a:lnTo>
                  <a:lnTo>
                    <a:pt x="118" y="523"/>
                  </a:lnTo>
                  <a:lnTo>
                    <a:pt x="110" y="521"/>
                  </a:lnTo>
                  <a:lnTo>
                    <a:pt x="101" y="518"/>
                  </a:lnTo>
                  <a:lnTo>
                    <a:pt x="97" y="517"/>
                  </a:lnTo>
                  <a:lnTo>
                    <a:pt x="95" y="516"/>
                  </a:lnTo>
                  <a:lnTo>
                    <a:pt x="94" y="513"/>
                  </a:lnTo>
                  <a:lnTo>
                    <a:pt x="92" y="510"/>
                  </a:lnTo>
                  <a:lnTo>
                    <a:pt x="91" y="504"/>
                  </a:lnTo>
                  <a:lnTo>
                    <a:pt x="92" y="500"/>
                  </a:lnTo>
                  <a:lnTo>
                    <a:pt x="94" y="497"/>
                  </a:lnTo>
                  <a:lnTo>
                    <a:pt x="96" y="493"/>
                  </a:lnTo>
                  <a:lnTo>
                    <a:pt x="100" y="491"/>
                  </a:lnTo>
                  <a:lnTo>
                    <a:pt x="103" y="489"/>
                  </a:lnTo>
                  <a:lnTo>
                    <a:pt x="104" y="485"/>
                  </a:lnTo>
                  <a:lnTo>
                    <a:pt x="105" y="478"/>
                  </a:lnTo>
                  <a:lnTo>
                    <a:pt x="105" y="471"/>
                  </a:lnTo>
                  <a:lnTo>
                    <a:pt x="103" y="465"/>
                  </a:lnTo>
                  <a:lnTo>
                    <a:pt x="97" y="458"/>
                  </a:lnTo>
                  <a:lnTo>
                    <a:pt x="96" y="455"/>
                  </a:lnTo>
                  <a:lnTo>
                    <a:pt x="96" y="453"/>
                  </a:lnTo>
                  <a:lnTo>
                    <a:pt x="97" y="448"/>
                  </a:lnTo>
                  <a:lnTo>
                    <a:pt x="104" y="440"/>
                  </a:lnTo>
                  <a:lnTo>
                    <a:pt x="110" y="433"/>
                  </a:lnTo>
                  <a:lnTo>
                    <a:pt x="113" y="428"/>
                  </a:lnTo>
                  <a:lnTo>
                    <a:pt x="115" y="424"/>
                  </a:lnTo>
                  <a:lnTo>
                    <a:pt x="115" y="420"/>
                  </a:lnTo>
                  <a:lnTo>
                    <a:pt x="114" y="415"/>
                  </a:lnTo>
                  <a:lnTo>
                    <a:pt x="111" y="413"/>
                  </a:lnTo>
                  <a:lnTo>
                    <a:pt x="109" y="410"/>
                  </a:lnTo>
                  <a:lnTo>
                    <a:pt x="100" y="410"/>
                  </a:lnTo>
                  <a:lnTo>
                    <a:pt x="76" y="408"/>
                  </a:lnTo>
                  <a:lnTo>
                    <a:pt x="64" y="406"/>
                  </a:lnTo>
                  <a:lnTo>
                    <a:pt x="53" y="401"/>
                  </a:lnTo>
                  <a:lnTo>
                    <a:pt x="50" y="395"/>
                  </a:lnTo>
                  <a:lnTo>
                    <a:pt x="49" y="392"/>
                  </a:lnTo>
                  <a:lnTo>
                    <a:pt x="47" y="390"/>
                  </a:lnTo>
                  <a:lnTo>
                    <a:pt x="44" y="388"/>
                  </a:lnTo>
                  <a:lnTo>
                    <a:pt x="40" y="388"/>
                  </a:lnTo>
                  <a:lnTo>
                    <a:pt x="33" y="389"/>
                  </a:lnTo>
                  <a:lnTo>
                    <a:pt x="25" y="391"/>
                  </a:lnTo>
                  <a:lnTo>
                    <a:pt x="17" y="392"/>
                  </a:lnTo>
                  <a:lnTo>
                    <a:pt x="19" y="390"/>
                  </a:lnTo>
                  <a:lnTo>
                    <a:pt x="20" y="387"/>
                  </a:lnTo>
                  <a:lnTo>
                    <a:pt x="20" y="383"/>
                  </a:lnTo>
                  <a:lnTo>
                    <a:pt x="20" y="379"/>
                  </a:lnTo>
                  <a:lnTo>
                    <a:pt x="23" y="378"/>
                  </a:lnTo>
                  <a:lnTo>
                    <a:pt x="23" y="377"/>
                  </a:lnTo>
                  <a:lnTo>
                    <a:pt x="23" y="376"/>
                  </a:lnTo>
                  <a:lnTo>
                    <a:pt x="19" y="370"/>
                  </a:lnTo>
                  <a:lnTo>
                    <a:pt x="17" y="366"/>
                  </a:lnTo>
                  <a:lnTo>
                    <a:pt x="17" y="364"/>
                  </a:lnTo>
                  <a:lnTo>
                    <a:pt x="21" y="359"/>
                  </a:lnTo>
                  <a:lnTo>
                    <a:pt x="21" y="358"/>
                  </a:lnTo>
                  <a:lnTo>
                    <a:pt x="21" y="356"/>
                  </a:lnTo>
                  <a:lnTo>
                    <a:pt x="19" y="353"/>
                  </a:lnTo>
                  <a:lnTo>
                    <a:pt x="16" y="351"/>
                  </a:lnTo>
                  <a:lnTo>
                    <a:pt x="12" y="351"/>
                  </a:lnTo>
                  <a:lnTo>
                    <a:pt x="10" y="352"/>
                  </a:lnTo>
                  <a:lnTo>
                    <a:pt x="7" y="353"/>
                  </a:lnTo>
                  <a:lnTo>
                    <a:pt x="5" y="353"/>
                  </a:lnTo>
                  <a:lnTo>
                    <a:pt x="2" y="350"/>
                  </a:lnTo>
                  <a:lnTo>
                    <a:pt x="0" y="346"/>
                  </a:lnTo>
                  <a:lnTo>
                    <a:pt x="0" y="343"/>
                  </a:lnTo>
                  <a:lnTo>
                    <a:pt x="0" y="338"/>
                  </a:lnTo>
                  <a:lnTo>
                    <a:pt x="2" y="328"/>
                  </a:lnTo>
                  <a:lnTo>
                    <a:pt x="7" y="320"/>
                  </a:lnTo>
                  <a:lnTo>
                    <a:pt x="9" y="319"/>
                  </a:lnTo>
                  <a:lnTo>
                    <a:pt x="11" y="318"/>
                  </a:lnTo>
                  <a:lnTo>
                    <a:pt x="16" y="317"/>
                  </a:lnTo>
                  <a:lnTo>
                    <a:pt x="23" y="313"/>
                  </a:lnTo>
                  <a:lnTo>
                    <a:pt x="25" y="312"/>
                  </a:lnTo>
                  <a:lnTo>
                    <a:pt x="29" y="311"/>
                  </a:lnTo>
                  <a:lnTo>
                    <a:pt x="30" y="312"/>
                  </a:lnTo>
                  <a:lnTo>
                    <a:pt x="31" y="313"/>
                  </a:lnTo>
                  <a:lnTo>
                    <a:pt x="31" y="315"/>
                  </a:lnTo>
                  <a:lnTo>
                    <a:pt x="33" y="317"/>
                  </a:lnTo>
                  <a:lnTo>
                    <a:pt x="35" y="318"/>
                  </a:lnTo>
                  <a:lnTo>
                    <a:pt x="38" y="318"/>
                  </a:lnTo>
                  <a:lnTo>
                    <a:pt x="42" y="317"/>
                  </a:lnTo>
                  <a:lnTo>
                    <a:pt x="47" y="315"/>
                  </a:lnTo>
                  <a:lnTo>
                    <a:pt x="52" y="313"/>
                  </a:lnTo>
                  <a:lnTo>
                    <a:pt x="52" y="311"/>
                  </a:lnTo>
                  <a:lnTo>
                    <a:pt x="52" y="308"/>
                  </a:lnTo>
                  <a:lnTo>
                    <a:pt x="52" y="306"/>
                  </a:lnTo>
                  <a:lnTo>
                    <a:pt x="52" y="304"/>
                  </a:lnTo>
                  <a:lnTo>
                    <a:pt x="52" y="302"/>
                  </a:lnTo>
                  <a:lnTo>
                    <a:pt x="53" y="301"/>
                  </a:lnTo>
                  <a:lnTo>
                    <a:pt x="64" y="302"/>
                  </a:lnTo>
                  <a:lnTo>
                    <a:pt x="69" y="301"/>
                  </a:lnTo>
                  <a:lnTo>
                    <a:pt x="73" y="299"/>
                  </a:lnTo>
                  <a:lnTo>
                    <a:pt x="80" y="293"/>
                  </a:lnTo>
                  <a:lnTo>
                    <a:pt x="87" y="289"/>
                  </a:lnTo>
                  <a:lnTo>
                    <a:pt x="95" y="286"/>
                  </a:lnTo>
                  <a:lnTo>
                    <a:pt x="103" y="283"/>
                  </a:lnTo>
                  <a:lnTo>
                    <a:pt x="106" y="282"/>
                  </a:lnTo>
                  <a:lnTo>
                    <a:pt x="110" y="280"/>
                  </a:lnTo>
                  <a:lnTo>
                    <a:pt x="111" y="276"/>
                  </a:lnTo>
                  <a:lnTo>
                    <a:pt x="113" y="272"/>
                  </a:lnTo>
                  <a:lnTo>
                    <a:pt x="113" y="269"/>
                  </a:lnTo>
                  <a:lnTo>
                    <a:pt x="110" y="267"/>
                  </a:lnTo>
                  <a:lnTo>
                    <a:pt x="109" y="266"/>
                  </a:lnTo>
                  <a:lnTo>
                    <a:pt x="109" y="263"/>
                  </a:lnTo>
                  <a:lnTo>
                    <a:pt x="119" y="249"/>
                  </a:lnTo>
                  <a:lnTo>
                    <a:pt x="122" y="245"/>
                  </a:lnTo>
                  <a:lnTo>
                    <a:pt x="123" y="241"/>
                  </a:lnTo>
                  <a:lnTo>
                    <a:pt x="123" y="237"/>
                  </a:lnTo>
                  <a:lnTo>
                    <a:pt x="122" y="232"/>
                  </a:lnTo>
                  <a:lnTo>
                    <a:pt x="120" y="230"/>
                  </a:lnTo>
                  <a:lnTo>
                    <a:pt x="118" y="229"/>
                  </a:lnTo>
                  <a:lnTo>
                    <a:pt x="116" y="227"/>
                  </a:lnTo>
                  <a:lnTo>
                    <a:pt x="115" y="224"/>
                  </a:lnTo>
                  <a:lnTo>
                    <a:pt x="114" y="221"/>
                  </a:lnTo>
                  <a:lnTo>
                    <a:pt x="111" y="217"/>
                  </a:lnTo>
                  <a:lnTo>
                    <a:pt x="110" y="213"/>
                  </a:lnTo>
                  <a:lnTo>
                    <a:pt x="109" y="210"/>
                  </a:lnTo>
                  <a:lnTo>
                    <a:pt x="110" y="208"/>
                  </a:lnTo>
                  <a:lnTo>
                    <a:pt x="113" y="206"/>
                  </a:lnTo>
                  <a:lnTo>
                    <a:pt x="124" y="204"/>
                  </a:lnTo>
                  <a:lnTo>
                    <a:pt x="137" y="203"/>
                  </a:lnTo>
                  <a:lnTo>
                    <a:pt x="152" y="202"/>
                  </a:lnTo>
                  <a:lnTo>
                    <a:pt x="156" y="199"/>
                  </a:lnTo>
                  <a:lnTo>
                    <a:pt x="157" y="198"/>
                  </a:lnTo>
                  <a:lnTo>
                    <a:pt x="157" y="197"/>
                  </a:lnTo>
                  <a:lnTo>
                    <a:pt x="156" y="194"/>
                  </a:lnTo>
                  <a:lnTo>
                    <a:pt x="153" y="192"/>
                  </a:lnTo>
                  <a:lnTo>
                    <a:pt x="152" y="190"/>
                  </a:lnTo>
                  <a:lnTo>
                    <a:pt x="152" y="181"/>
                  </a:lnTo>
                  <a:lnTo>
                    <a:pt x="155" y="172"/>
                  </a:lnTo>
                  <a:lnTo>
                    <a:pt x="156" y="168"/>
                  </a:lnTo>
                  <a:lnTo>
                    <a:pt x="158" y="165"/>
                  </a:lnTo>
                  <a:lnTo>
                    <a:pt x="162" y="162"/>
                  </a:lnTo>
                  <a:lnTo>
                    <a:pt x="167" y="161"/>
                  </a:lnTo>
                  <a:lnTo>
                    <a:pt x="180" y="161"/>
                  </a:lnTo>
                  <a:lnTo>
                    <a:pt x="190" y="162"/>
                  </a:lnTo>
                  <a:lnTo>
                    <a:pt x="193" y="161"/>
                  </a:lnTo>
                  <a:lnTo>
                    <a:pt x="195" y="159"/>
                  </a:lnTo>
                  <a:lnTo>
                    <a:pt x="198" y="152"/>
                  </a:lnTo>
                  <a:lnTo>
                    <a:pt x="199" y="144"/>
                  </a:lnTo>
                  <a:lnTo>
                    <a:pt x="202" y="134"/>
                  </a:lnTo>
                  <a:lnTo>
                    <a:pt x="203" y="133"/>
                  </a:lnTo>
                  <a:lnTo>
                    <a:pt x="204" y="130"/>
                  </a:lnTo>
                  <a:lnTo>
                    <a:pt x="217" y="125"/>
                  </a:lnTo>
                  <a:lnTo>
                    <a:pt x="223" y="120"/>
                  </a:lnTo>
                  <a:lnTo>
                    <a:pt x="228" y="115"/>
                  </a:lnTo>
                  <a:lnTo>
                    <a:pt x="232" y="113"/>
                  </a:lnTo>
                  <a:lnTo>
                    <a:pt x="235" y="113"/>
                  </a:lnTo>
                  <a:lnTo>
                    <a:pt x="240" y="112"/>
                  </a:lnTo>
                  <a:lnTo>
                    <a:pt x="242" y="110"/>
                  </a:lnTo>
                  <a:lnTo>
                    <a:pt x="247" y="107"/>
                  </a:lnTo>
                  <a:lnTo>
                    <a:pt x="247" y="115"/>
                  </a:lnTo>
                  <a:lnTo>
                    <a:pt x="249" y="123"/>
                  </a:lnTo>
                  <a:lnTo>
                    <a:pt x="250" y="128"/>
                  </a:lnTo>
                  <a:lnTo>
                    <a:pt x="251" y="132"/>
                  </a:lnTo>
                  <a:lnTo>
                    <a:pt x="254" y="134"/>
                  </a:lnTo>
                  <a:lnTo>
                    <a:pt x="257" y="136"/>
                  </a:lnTo>
                  <a:lnTo>
                    <a:pt x="261" y="139"/>
                  </a:lnTo>
                  <a:lnTo>
                    <a:pt x="265" y="142"/>
                  </a:lnTo>
                  <a:lnTo>
                    <a:pt x="268" y="145"/>
                  </a:lnTo>
                  <a:lnTo>
                    <a:pt x="271" y="145"/>
                  </a:lnTo>
                  <a:lnTo>
                    <a:pt x="278" y="144"/>
                  </a:lnTo>
                  <a:lnTo>
                    <a:pt x="283" y="145"/>
                  </a:lnTo>
                  <a:lnTo>
                    <a:pt x="288" y="146"/>
                  </a:lnTo>
                  <a:lnTo>
                    <a:pt x="293" y="148"/>
                  </a:lnTo>
                  <a:lnTo>
                    <a:pt x="301" y="155"/>
                  </a:lnTo>
                  <a:lnTo>
                    <a:pt x="309" y="162"/>
                  </a:lnTo>
                  <a:lnTo>
                    <a:pt x="312" y="172"/>
                  </a:lnTo>
                  <a:lnTo>
                    <a:pt x="315" y="183"/>
                  </a:lnTo>
                  <a:lnTo>
                    <a:pt x="317" y="192"/>
                  </a:lnTo>
                  <a:lnTo>
                    <a:pt x="320" y="197"/>
                  </a:lnTo>
                  <a:lnTo>
                    <a:pt x="322" y="200"/>
                  </a:lnTo>
                  <a:lnTo>
                    <a:pt x="325" y="203"/>
                  </a:lnTo>
                  <a:lnTo>
                    <a:pt x="327" y="203"/>
                  </a:lnTo>
                  <a:lnTo>
                    <a:pt x="332" y="205"/>
                  </a:lnTo>
                  <a:lnTo>
                    <a:pt x="348" y="213"/>
                  </a:lnTo>
                  <a:lnTo>
                    <a:pt x="355" y="217"/>
                  </a:lnTo>
                  <a:lnTo>
                    <a:pt x="365" y="219"/>
                  </a:lnTo>
                  <a:lnTo>
                    <a:pt x="369" y="221"/>
                  </a:lnTo>
                  <a:lnTo>
                    <a:pt x="373" y="225"/>
                  </a:lnTo>
                  <a:lnTo>
                    <a:pt x="377" y="231"/>
                  </a:lnTo>
                  <a:lnTo>
                    <a:pt x="382" y="237"/>
                  </a:lnTo>
                  <a:lnTo>
                    <a:pt x="386" y="243"/>
                  </a:lnTo>
                  <a:lnTo>
                    <a:pt x="389" y="248"/>
                  </a:lnTo>
                  <a:lnTo>
                    <a:pt x="393" y="251"/>
                  </a:lnTo>
                  <a:lnTo>
                    <a:pt x="397" y="255"/>
                  </a:lnTo>
                  <a:lnTo>
                    <a:pt x="401" y="256"/>
                  </a:lnTo>
                  <a:lnTo>
                    <a:pt x="406" y="257"/>
                  </a:lnTo>
                  <a:lnTo>
                    <a:pt x="419" y="260"/>
                  </a:lnTo>
                  <a:lnTo>
                    <a:pt x="430" y="262"/>
                  </a:lnTo>
                  <a:lnTo>
                    <a:pt x="454" y="266"/>
                  </a:lnTo>
                  <a:lnTo>
                    <a:pt x="457" y="267"/>
                  </a:lnTo>
                  <a:lnTo>
                    <a:pt x="461" y="266"/>
                  </a:lnTo>
                  <a:lnTo>
                    <a:pt x="467" y="263"/>
                  </a:lnTo>
                  <a:lnTo>
                    <a:pt x="473" y="262"/>
                  </a:lnTo>
                  <a:lnTo>
                    <a:pt x="477" y="261"/>
                  </a:lnTo>
                  <a:lnTo>
                    <a:pt x="481" y="261"/>
                  </a:lnTo>
                  <a:lnTo>
                    <a:pt x="483" y="262"/>
                  </a:lnTo>
                  <a:lnTo>
                    <a:pt x="487" y="264"/>
                  </a:lnTo>
                  <a:lnTo>
                    <a:pt x="491" y="269"/>
                  </a:lnTo>
                  <a:lnTo>
                    <a:pt x="496" y="274"/>
                  </a:lnTo>
                  <a:lnTo>
                    <a:pt x="500" y="276"/>
                  </a:lnTo>
                  <a:lnTo>
                    <a:pt x="509" y="279"/>
                  </a:lnTo>
                  <a:lnTo>
                    <a:pt x="516" y="280"/>
                  </a:lnTo>
                  <a:lnTo>
                    <a:pt x="532" y="280"/>
                  </a:lnTo>
                  <a:lnTo>
                    <a:pt x="538" y="280"/>
                  </a:lnTo>
                  <a:lnTo>
                    <a:pt x="546" y="276"/>
                  </a:lnTo>
                  <a:lnTo>
                    <a:pt x="555" y="270"/>
                  </a:lnTo>
                  <a:lnTo>
                    <a:pt x="563" y="263"/>
                  </a:lnTo>
                  <a:lnTo>
                    <a:pt x="567" y="261"/>
                  </a:lnTo>
                  <a:lnTo>
                    <a:pt x="572" y="259"/>
                  </a:lnTo>
                  <a:lnTo>
                    <a:pt x="577" y="259"/>
                  </a:lnTo>
                  <a:lnTo>
                    <a:pt x="581" y="259"/>
                  </a:lnTo>
                  <a:lnTo>
                    <a:pt x="588" y="260"/>
                  </a:lnTo>
                  <a:lnTo>
                    <a:pt x="593" y="261"/>
                  </a:lnTo>
                  <a:lnTo>
                    <a:pt x="604" y="260"/>
                  </a:lnTo>
                  <a:lnTo>
                    <a:pt x="616" y="257"/>
                  </a:lnTo>
                  <a:lnTo>
                    <a:pt x="626" y="254"/>
                  </a:lnTo>
                  <a:lnTo>
                    <a:pt x="632" y="249"/>
                  </a:lnTo>
                  <a:lnTo>
                    <a:pt x="636" y="244"/>
                  </a:lnTo>
                  <a:lnTo>
                    <a:pt x="637" y="241"/>
                  </a:lnTo>
                  <a:lnTo>
                    <a:pt x="637" y="237"/>
                  </a:lnTo>
                  <a:lnTo>
                    <a:pt x="637" y="235"/>
                  </a:lnTo>
                  <a:lnTo>
                    <a:pt x="636" y="231"/>
                  </a:lnTo>
                  <a:lnTo>
                    <a:pt x="633" y="229"/>
                  </a:lnTo>
                  <a:lnTo>
                    <a:pt x="631" y="228"/>
                  </a:lnTo>
                  <a:lnTo>
                    <a:pt x="627" y="225"/>
                  </a:lnTo>
                  <a:lnTo>
                    <a:pt x="626" y="222"/>
                  </a:lnTo>
                  <a:lnTo>
                    <a:pt x="626" y="218"/>
                  </a:lnTo>
                  <a:lnTo>
                    <a:pt x="627" y="215"/>
                  </a:lnTo>
                  <a:lnTo>
                    <a:pt x="629" y="208"/>
                  </a:lnTo>
                  <a:lnTo>
                    <a:pt x="632" y="204"/>
                  </a:lnTo>
                  <a:lnTo>
                    <a:pt x="636" y="202"/>
                  </a:lnTo>
                  <a:lnTo>
                    <a:pt x="638" y="200"/>
                  </a:lnTo>
                  <a:lnTo>
                    <a:pt x="642" y="202"/>
                  </a:lnTo>
                  <a:lnTo>
                    <a:pt x="651" y="204"/>
                  </a:lnTo>
                  <a:lnTo>
                    <a:pt x="659" y="208"/>
                  </a:lnTo>
                  <a:lnTo>
                    <a:pt x="664" y="209"/>
                  </a:lnTo>
                  <a:lnTo>
                    <a:pt x="668" y="209"/>
                  </a:lnTo>
                  <a:lnTo>
                    <a:pt x="671" y="208"/>
                  </a:lnTo>
                  <a:lnTo>
                    <a:pt x="675" y="205"/>
                  </a:lnTo>
                  <a:lnTo>
                    <a:pt x="690" y="193"/>
                  </a:lnTo>
                  <a:lnTo>
                    <a:pt x="694" y="193"/>
                  </a:lnTo>
                  <a:lnTo>
                    <a:pt x="708" y="190"/>
                  </a:lnTo>
                  <a:lnTo>
                    <a:pt x="709" y="190"/>
                  </a:lnTo>
                  <a:lnTo>
                    <a:pt x="711" y="187"/>
                  </a:lnTo>
                  <a:lnTo>
                    <a:pt x="712" y="183"/>
                  </a:lnTo>
                  <a:lnTo>
                    <a:pt x="715" y="178"/>
                  </a:lnTo>
                  <a:lnTo>
                    <a:pt x="717" y="174"/>
                  </a:lnTo>
                  <a:lnTo>
                    <a:pt x="718" y="172"/>
                  </a:lnTo>
                  <a:lnTo>
                    <a:pt x="720" y="172"/>
                  </a:lnTo>
                  <a:lnTo>
                    <a:pt x="727" y="176"/>
                  </a:lnTo>
                  <a:lnTo>
                    <a:pt x="731" y="176"/>
                  </a:lnTo>
                  <a:lnTo>
                    <a:pt x="732" y="176"/>
                  </a:lnTo>
                  <a:lnTo>
                    <a:pt x="734" y="174"/>
                  </a:lnTo>
                  <a:lnTo>
                    <a:pt x="737" y="171"/>
                  </a:lnTo>
                  <a:lnTo>
                    <a:pt x="741" y="168"/>
                  </a:lnTo>
                  <a:lnTo>
                    <a:pt x="744" y="166"/>
                  </a:lnTo>
                  <a:lnTo>
                    <a:pt x="748" y="166"/>
                  </a:lnTo>
                  <a:lnTo>
                    <a:pt x="756" y="165"/>
                  </a:lnTo>
                  <a:lnTo>
                    <a:pt x="764" y="165"/>
                  </a:lnTo>
                  <a:lnTo>
                    <a:pt x="774" y="162"/>
                  </a:lnTo>
                  <a:lnTo>
                    <a:pt x="779" y="160"/>
                  </a:lnTo>
                  <a:lnTo>
                    <a:pt x="782" y="158"/>
                  </a:lnTo>
                  <a:lnTo>
                    <a:pt x="782" y="154"/>
                  </a:lnTo>
                  <a:lnTo>
                    <a:pt x="782" y="151"/>
                  </a:lnTo>
                  <a:lnTo>
                    <a:pt x="781" y="147"/>
                  </a:lnTo>
                  <a:lnTo>
                    <a:pt x="778" y="144"/>
                  </a:lnTo>
                  <a:lnTo>
                    <a:pt x="772" y="138"/>
                  </a:lnTo>
                  <a:lnTo>
                    <a:pt x="764" y="134"/>
                  </a:lnTo>
                  <a:lnTo>
                    <a:pt x="760" y="133"/>
                  </a:lnTo>
                  <a:lnTo>
                    <a:pt x="755" y="133"/>
                  </a:lnTo>
                  <a:lnTo>
                    <a:pt x="745" y="133"/>
                  </a:lnTo>
                  <a:lnTo>
                    <a:pt x="735" y="134"/>
                  </a:lnTo>
                  <a:lnTo>
                    <a:pt x="730" y="134"/>
                  </a:lnTo>
                  <a:lnTo>
                    <a:pt x="726" y="133"/>
                  </a:lnTo>
                  <a:lnTo>
                    <a:pt x="722" y="132"/>
                  </a:lnTo>
                  <a:lnTo>
                    <a:pt x="720" y="130"/>
                  </a:lnTo>
                  <a:lnTo>
                    <a:pt x="717" y="126"/>
                  </a:lnTo>
                  <a:lnTo>
                    <a:pt x="716" y="122"/>
                  </a:lnTo>
                  <a:lnTo>
                    <a:pt x="716" y="120"/>
                  </a:lnTo>
                  <a:lnTo>
                    <a:pt x="718" y="114"/>
                  </a:lnTo>
                  <a:lnTo>
                    <a:pt x="722" y="110"/>
                  </a:lnTo>
                  <a:lnTo>
                    <a:pt x="725" y="104"/>
                  </a:lnTo>
                  <a:lnTo>
                    <a:pt x="725" y="103"/>
                  </a:lnTo>
                  <a:lnTo>
                    <a:pt x="723" y="102"/>
                  </a:lnTo>
                  <a:lnTo>
                    <a:pt x="721" y="100"/>
                  </a:lnTo>
                  <a:lnTo>
                    <a:pt x="721" y="96"/>
                  </a:lnTo>
                  <a:lnTo>
                    <a:pt x="722" y="93"/>
                  </a:lnTo>
                  <a:lnTo>
                    <a:pt x="729" y="87"/>
                  </a:lnTo>
                  <a:lnTo>
                    <a:pt x="734" y="89"/>
                  </a:lnTo>
                  <a:lnTo>
                    <a:pt x="739" y="93"/>
                  </a:lnTo>
                  <a:lnTo>
                    <a:pt x="744" y="95"/>
                  </a:lnTo>
                  <a:lnTo>
                    <a:pt x="749" y="96"/>
                  </a:lnTo>
                  <a:lnTo>
                    <a:pt x="753" y="95"/>
                  </a:lnTo>
                  <a:lnTo>
                    <a:pt x="756" y="94"/>
                  </a:lnTo>
                  <a:lnTo>
                    <a:pt x="760" y="91"/>
                  </a:lnTo>
                  <a:lnTo>
                    <a:pt x="768" y="85"/>
                  </a:lnTo>
                  <a:lnTo>
                    <a:pt x="774" y="77"/>
                  </a:lnTo>
                  <a:lnTo>
                    <a:pt x="779" y="68"/>
                  </a:lnTo>
                  <a:lnTo>
                    <a:pt x="789" y="51"/>
                  </a:lnTo>
                  <a:lnTo>
                    <a:pt x="798" y="37"/>
                  </a:lnTo>
                  <a:lnTo>
                    <a:pt x="803" y="30"/>
                  </a:lnTo>
                  <a:lnTo>
                    <a:pt x="805" y="23"/>
                  </a:lnTo>
                  <a:lnTo>
                    <a:pt x="805" y="20"/>
                  </a:lnTo>
                  <a:lnTo>
                    <a:pt x="803" y="20"/>
                  </a:lnTo>
                  <a:lnTo>
                    <a:pt x="800" y="20"/>
                  </a:lnTo>
                  <a:lnTo>
                    <a:pt x="796" y="20"/>
                  </a:lnTo>
                  <a:lnTo>
                    <a:pt x="791" y="20"/>
                  </a:lnTo>
                  <a:lnTo>
                    <a:pt x="797" y="10"/>
                  </a:lnTo>
                  <a:lnTo>
                    <a:pt x="802" y="5"/>
                  </a:lnTo>
                  <a:lnTo>
                    <a:pt x="809" y="2"/>
                  </a:lnTo>
                  <a:lnTo>
                    <a:pt x="817" y="0"/>
                  </a:lnTo>
                  <a:lnTo>
                    <a:pt x="828" y="0"/>
                  </a:lnTo>
                  <a:lnTo>
                    <a:pt x="839" y="0"/>
                  </a:lnTo>
                  <a:lnTo>
                    <a:pt x="850" y="1"/>
                  </a:lnTo>
                  <a:lnTo>
                    <a:pt x="871" y="5"/>
                  </a:lnTo>
                  <a:lnTo>
                    <a:pt x="880" y="7"/>
                  </a:lnTo>
                  <a:lnTo>
                    <a:pt x="887" y="11"/>
                  </a:lnTo>
                  <a:lnTo>
                    <a:pt x="891" y="11"/>
                  </a:lnTo>
                  <a:lnTo>
                    <a:pt x="892" y="13"/>
                  </a:lnTo>
                  <a:lnTo>
                    <a:pt x="895" y="19"/>
                  </a:lnTo>
                  <a:lnTo>
                    <a:pt x="896" y="26"/>
                  </a:lnTo>
                  <a:lnTo>
                    <a:pt x="899" y="33"/>
                  </a:lnTo>
                  <a:lnTo>
                    <a:pt x="903" y="42"/>
                  </a:lnTo>
                  <a:lnTo>
                    <a:pt x="906" y="50"/>
                  </a:lnTo>
                  <a:lnTo>
                    <a:pt x="911" y="58"/>
                  </a:lnTo>
                  <a:lnTo>
                    <a:pt x="914" y="68"/>
                  </a:lnTo>
                  <a:lnTo>
                    <a:pt x="916" y="72"/>
                  </a:lnTo>
                  <a:lnTo>
                    <a:pt x="922" y="77"/>
                  </a:lnTo>
                  <a:lnTo>
                    <a:pt x="924" y="78"/>
                  </a:lnTo>
                  <a:lnTo>
                    <a:pt x="928" y="79"/>
                  </a:lnTo>
                  <a:lnTo>
                    <a:pt x="932" y="79"/>
                  </a:lnTo>
                  <a:lnTo>
                    <a:pt x="934" y="78"/>
                  </a:lnTo>
                  <a:lnTo>
                    <a:pt x="937" y="77"/>
                  </a:lnTo>
                  <a:lnTo>
                    <a:pt x="938" y="78"/>
                  </a:lnTo>
                  <a:lnTo>
                    <a:pt x="939" y="81"/>
                  </a:lnTo>
                  <a:lnTo>
                    <a:pt x="944" y="82"/>
                  </a:lnTo>
                  <a:lnTo>
                    <a:pt x="949" y="83"/>
                  </a:lnTo>
                  <a:lnTo>
                    <a:pt x="958" y="83"/>
                  </a:lnTo>
                  <a:lnTo>
                    <a:pt x="962" y="84"/>
                  </a:lnTo>
                  <a:lnTo>
                    <a:pt x="965" y="87"/>
                  </a:lnTo>
                  <a:lnTo>
                    <a:pt x="965" y="89"/>
                  </a:lnTo>
                  <a:lnTo>
                    <a:pt x="965" y="91"/>
                  </a:lnTo>
                  <a:lnTo>
                    <a:pt x="965" y="94"/>
                  </a:lnTo>
                  <a:lnTo>
                    <a:pt x="966" y="96"/>
                  </a:lnTo>
                  <a:lnTo>
                    <a:pt x="971" y="101"/>
                  </a:lnTo>
                  <a:lnTo>
                    <a:pt x="974" y="107"/>
                  </a:lnTo>
                  <a:lnTo>
                    <a:pt x="975" y="114"/>
                  </a:lnTo>
                  <a:lnTo>
                    <a:pt x="975" y="121"/>
                  </a:lnTo>
                  <a:lnTo>
                    <a:pt x="976" y="128"/>
                  </a:lnTo>
                  <a:lnTo>
                    <a:pt x="977" y="132"/>
                  </a:lnTo>
                  <a:lnTo>
                    <a:pt x="980" y="134"/>
                  </a:lnTo>
                  <a:lnTo>
                    <a:pt x="983" y="136"/>
                  </a:lnTo>
                  <a:lnTo>
                    <a:pt x="988" y="139"/>
                  </a:lnTo>
                  <a:lnTo>
                    <a:pt x="993" y="140"/>
                  </a:lnTo>
                  <a:lnTo>
                    <a:pt x="998" y="140"/>
                  </a:lnTo>
                  <a:lnTo>
                    <a:pt x="1000" y="139"/>
                  </a:lnTo>
                  <a:lnTo>
                    <a:pt x="1003" y="138"/>
                  </a:lnTo>
                  <a:lnTo>
                    <a:pt x="1007" y="134"/>
                  </a:lnTo>
                  <a:lnTo>
                    <a:pt x="1013" y="125"/>
                  </a:lnTo>
                  <a:lnTo>
                    <a:pt x="1014" y="123"/>
                  </a:lnTo>
                  <a:lnTo>
                    <a:pt x="1017" y="121"/>
                  </a:lnTo>
                  <a:lnTo>
                    <a:pt x="1024" y="120"/>
                  </a:lnTo>
                  <a:lnTo>
                    <a:pt x="1032" y="121"/>
                  </a:lnTo>
                  <a:lnTo>
                    <a:pt x="1040" y="122"/>
                  </a:lnTo>
                  <a:lnTo>
                    <a:pt x="1041" y="122"/>
                  </a:lnTo>
                  <a:lnTo>
                    <a:pt x="1041" y="123"/>
                  </a:lnTo>
                  <a:lnTo>
                    <a:pt x="1041" y="127"/>
                  </a:lnTo>
                  <a:lnTo>
                    <a:pt x="1038" y="134"/>
                  </a:lnTo>
                  <a:lnTo>
                    <a:pt x="1038" y="136"/>
                  </a:lnTo>
                  <a:lnTo>
                    <a:pt x="1038" y="139"/>
                  </a:lnTo>
                  <a:lnTo>
                    <a:pt x="1042" y="142"/>
                  </a:lnTo>
                  <a:lnTo>
                    <a:pt x="1042" y="144"/>
                  </a:lnTo>
                  <a:lnTo>
                    <a:pt x="1037" y="148"/>
                  </a:lnTo>
                  <a:lnTo>
                    <a:pt x="1032" y="153"/>
                  </a:lnTo>
                  <a:lnTo>
                    <a:pt x="1031" y="155"/>
                  </a:lnTo>
                  <a:lnTo>
                    <a:pt x="1029" y="159"/>
                  </a:lnTo>
                  <a:lnTo>
                    <a:pt x="1029" y="161"/>
                  </a:lnTo>
                  <a:lnTo>
                    <a:pt x="1031" y="165"/>
                  </a:lnTo>
                  <a:lnTo>
                    <a:pt x="1031" y="166"/>
                  </a:lnTo>
                  <a:lnTo>
                    <a:pt x="1031" y="168"/>
                  </a:lnTo>
                  <a:lnTo>
                    <a:pt x="1027" y="172"/>
                  </a:lnTo>
                  <a:lnTo>
                    <a:pt x="1024" y="178"/>
                  </a:lnTo>
                  <a:lnTo>
                    <a:pt x="1022" y="185"/>
                  </a:lnTo>
                  <a:lnTo>
                    <a:pt x="1017" y="191"/>
                  </a:lnTo>
                  <a:lnTo>
                    <a:pt x="1014" y="192"/>
                  </a:lnTo>
                  <a:lnTo>
                    <a:pt x="1010" y="194"/>
                  </a:lnTo>
                  <a:lnTo>
                    <a:pt x="1005" y="196"/>
                  </a:lnTo>
                  <a:lnTo>
                    <a:pt x="1000" y="194"/>
                  </a:lnTo>
                  <a:lnTo>
                    <a:pt x="990" y="191"/>
                  </a:lnTo>
                  <a:lnTo>
                    <a:pt x="988" y="191"/>
                  </a:lnTo>
                  <a:lnTo>
                    <a:pt x="985" y="191"/>
                  </a:lnTo>
                  <a:lnTo>
                    <a:pt x="983" y="193"/>
                  </a:lnTo>
                  <a:lnTo>
                    <a:pt x="981" y="194"/>
                  </a:lnTo>
                  <a:lnTo>
                    <a:pt x="980" y="199"/>
                  </a:lnTo>
                  <a:lnTo>
                    <a:pt x="979" y="203"/>
                  </a:lnTo>
                  <a:lnTo>
                    <a:pt x="980" y="211"/>
                  </a:lnTo>
                  <a:lnTo>
                    <a:pt x="981" y="218"/>
                  </a:lnTo>
                  <a:lnTo>
                    <a:pt x="985" y="227"/>
                  </a:lnTo>
                  <a:lnTo>
                    <a:pt x="986" y="230"/>
                  </a:lnTo>
                  <a:lnTo>
                    <a:pt x="986" y="234"/>
                  </a:lnTo>
                  <a:lnTo>
                    <a:pt x="986" y="238"/>
                  </a:lnTo>
                  <a:lnTo>
                    <a:pt x="984" y="242"/>
                  </a:lnTo>
                  <a:lnTo>
                    <a:pt x="980" y="249"/>
                  </a:lnTo>
                  <a:lnTo>
                    <a:pt x="975" y="256"/>
                  </a:lnTo>
                  <a:lnTo>
                    <a:pt x="974" y="251"/>
                  </a:lnTo>
                  <a:lnTo>
                    <a:pt x="970" y="248"/>
                  </a:lnTo>
                  <a:lnTo>
                    <a:pt x="966" y="247"/>
                  </a:lnTo>
                  <a:lnTo>
                    <a:pt x="965" y="247"/>
                  </a:lnTo>
                  <a:lnTo>
                    <a:pt x="962" y="248"/>
                  </a:lnTo>
                  <a:lnTo>
                    <a:pt x="956" y="254"/>
                  </a:lnTo>
                  <a:lnTo>
                    <a:pt x="953" y="257"/>
                  </a:lnTo>
                  <a:lnTo>
                    <a:pt x="948" y="260"/>
                  </a:lnTo>
                  <a:lnTo>
                    <a:pt x="947" y="262"/>
                  </a:lnTo>
                  <a:lnTo>
                    <a:pt x="944" y="264"/>
                  </a:lnTo>
                  <a:lnTo>
                    <a:pt x="943" y="267"/>
                  </a:lnTo>
                  <a:lnTo>
                    <a:pt x="942" y="269"/>
                  </a:lnTo>
                  <a:lnTo>
                    <a:pt x="932" y="275"/>
                  </a:lnTo>
                  <a:lnTo>
                    <a:pt x="922" y="281"/>
                  </a:lnTo>
                  <a:lnTo>
                    <a:pt x="920" y="282"/>
                  </a:lnTo>
                  <a:lnTo>
                    <a:pt x="918" y="281"/>
                  </a:lnTo>
                  <a:lnTo>
                    <a:pt x="915" y="277"/>
                  </a:lnTo>
                  <a:lnTo>
                    <a:pt x="910" y="276"/>
                  </a:lnTo>
                  <a:lnTo>
                    <a:pt x="905" y="276"/>
                  </a:lnTo>
                  <a:lnTo>
                    <a:pt x="901" y="277"/>
                  </a:lnTo>
                  <a:lnTo>
                    <a:pt x="899" y="279"/>
                  </a:lnTo>
                  <a:lnTo>
                    <a:pt x="897" y="280"/>
                  </a:lnTo>
                  <a:lnTo>
                    <a:pt x="896" y="285"/>
                  </a:lnTo>
                  <a:lnTo>
                    <a:pt x="896" y="291"/>
                  </a:lnTo>
                  <a:lnTo>
                    <a:pt x="895" y="295"/>
                  </a:lnTo>
                  <a:lnTo>
                    <a:pt x="886" y="299"/>
                  </a:lnTo>
                  <a:lnTo>
                    <a:pt x="883" y="301"/>
                  </a:lnTo>
                  <a:lnTo>
                    <a:pt x="880" y="304"/>
                  </a:lnTo>
                  <a:lnTo>
                    <a:pt x="873" y="312"/>
                  </a:lnTo>
                  <a:lnTo>
                    <a:pt x="869" y="315"/>
                  </a:lnTo>
                  <a:lnTo>
                    <a:pt x="864" y="318"/>
                  </a:lnTo>
                  <a:lnTo>
                    <a:pt x="861" y="318"/>
                  </a:lnTo>
                  <a:lnTo>
                    <a:pt x="858" y="319"/>
                  </a:lnTo>
                  <a:lnTo>
                    <a:pt x="849" y="325"/>
                  </a:lnTo>
                  <a:lnTo>
                    <a:pt x="844" y="327"/>
                  </a:lnTo>
                  <a:lnTo>
                    <a:pt x="838" y="327"/>
                  </a:lnTo>
                  <a:lnTo>
                    <a:pt x="835" y="327"/>
                  </a:lnTo>
                  <a:lnTo>
                    <a:pt x="833" y="328"/>
                  </a:lnTo>
                  <a:lnTo>
                    <a:pt x="830" y="332"/>
                  </a:lnTo>
                  <a:lnTo>
                    <a:pt x="829" y="336"/>
                  </a:lnTo>
                  <a:lnTo>
                    <a:pt x="826" y="338"/>
                  </a:lnTo>
                  <a:lnTo>
                    <a:pt x="824" y="340"/>
                  </a:lnTo>
                  <a:lnTo>
                    <a:pt x="820" y="343"/>
                  </a:lnTo>
                  <a:lnTo>
                    <a:pt x="812" y="344"/>
                  </a:lnTo>
                  <a:lnTo>
                    <a:pt x="806" y="343"/>
                  </a:lnTo>
                  <a:lnTo>
                    <a:pt x="805" y="343"/>
                  </a:lnTo>
                  <a:lnTo>
                    <a:pt x="803" y="342"/>
                  </a:lnTo>
                  <a:lnTo>
                    <a:pt x="805" y="339"/>
                  </a:lnTo>
                  <a:lnTo>
                    <a:pt x="806" y="338"/>
                  </a:lnTo>
                  <a:lnTo>
                    <a:pt x="809" y="337"/>
                  </a:lnTo>
                  <a:lnTo>
                    <a:pt x="811" y="336"/>
                  </a:lnTo>
                  <a:lnTo>
                    <a:pt x="814" y="334"/>
                  </a:lnTo>
                  <a:lnTo>
                    <a:pt x="814" y="332"/>
                  </a:lnTo>
                  <a:lnTo>
                    <a:pt x="812" y="330"/>
                  </a:lnTo>
                  <a:lnTo>
                    <a:pt x="812" y="327"/>
                  </a:lnTo>
                  <a:lnTo>
                    <a:pt x="812" y="326"/>
                  </a:lnTo>
                  <a:lnTo>
                    <a:pt x="816" y="319"/>
                  </a:lnTo>
                  <a:lnTo>
                    <a:pt x="820" y="312"/>
                  </a:lnTo>
                  <a:lnTo>
                    <a:pt x="821" y="304"/>
                  </a:lnTo>
                  <a:lnTo>
                    <a:pt x="821" y="296"/>
                  </a:lnTo>
                  <a:lnTo>
                    <a:pt x="821" y="294"/>
                  </a:lnTo>
                  <a:lnTo>
                    <a:pt x="819" y="292"/>
                  </a:lnTo>
                  <a:lnTo>
                    <a:pt x="816" y="291"/>
                  </a:lnTo>
                  <a:lnTo>
                    <a:pt x="814" y="291"/>
                  </a:lnTo>
                  <a:lnTo>
                    <a:pt x="807" y="298"/>
                  </a:lnTo>
                  <a:lnTo>
                    <a:pt x="800" y="306"/>
                  </a:lnTo>
                  <a:lnTo>
                    <a:pt x="786" y="321"/>
                  </a:lnTo>
                  <a:lnTo>
                    <a:pt x="784" y="324"/>
                  </a:lnTo>
                  <a:lnTo>
                    <a:pt x="784" y="327"/>
                  </a:lnTo>
                  <a:lnTo>
                    <a:pt x="783" y="330"/>
                  </a:lnTo>
                  <a:lnTo>
                    <a:pt x="781" y="332"/>
                  </a:lnTo>
                  <a:lnTo>
                    <a:pt x="779" y="333"/>
                  </a:lnTo>
                  <a:lnTo>
                    <a:pt x="777" y="333"/>
                  </a:lnTo>
                  <a:lnTo>
                    <a:pt x="770" y="334"/>
                  </a:lnTo>
                  <a:lnTo>
                    <a:pt x="767" y="334"/>
                  </a:lnTo>
                  <a:lnTo>
                    <a:pt x="764" y="333"/>
                  </a:lnTo>
                  <a:lnTo>
                    <a:pt x="760" y="331"/>
                  </a:lnTo>
                  <a:lnTo>
                    <a:pt x="758" y="331"/>
                  </a:lnTo>
                  <a:lnTo>
                    <a:pt x="754" y="333"/>
                  </a:lnTo>
                  <a:lnTo>
                    <a:pt x="751" y="337"/>
                  </a:lnTo>
                  <a:lnTo>
                    <a:pt x="749" y="342"/>
                  </a:lnTo>
                  <a:lnTo>
                    <a:pt x="749" y="346"/>
                  </a:lnTo>
                  <a:lnTo>
                    <a:pt x="750" y="347"/>
                  </a:lnTo>
                  <a:lnTo>
                    <a:pt x="751" y="349"/>
                  </a:lnTo>
                  <a:lnTo>
                    <a:pt x="754" y="350"/>
                  </a:lnTo>
                  <a:lnTo>
                    <a:pt x="756" y="355"/>
                  </a:lnTo>
                  <a:lnTo>
                    <a:pt x="758" y="358"/>
                  </a:lnTo>
                  <a:lnTo>
                    <a:pt x="760" y="362"/>
                  </a:lnTo>
                  <a:lnTo>
                    <a:pt x="764" y="365"/>
                  </a:lnTo>
                  <a:lnTo>
                    <a:pt x="765" y="366"/>
                  </a:lnTo>
                  <a:lnTo>
                    <a:pt x="765" y="370"/>
                  </a:lnTo>
                  <a:lnTo>
                    <a:pt x="765" y="372"/>
                  </a:lnTo>
                  <a:lnTo>
                    <a:pt x="765" y="375"/>
                  </a:lnTo>
                  <a:lnTo>
                    <a:pt x="770" y="378"/>
                  </a:lnTo>
                  <a:lnTo>
                    <a:pt x="774" y="379"/>
                  </a:lnTo>
                  <a:lnTo>
                    <a:pt x="779" y="379"/>
                  </a:lnTo>
                  <a:lnTo>
                    <a:pt x="786" y="378"/>
                  </a:lnTo>
                  <a:lnTo>
                    <a:pt x="796" y="375"/>
                  </a:lnTo>
                  <a:lnTo>
                    <a:pt x="805" y="369"/>
                  </a:lnTo>
                  <a:lnTo>
                    <a:pt x="807" y="369"/>
                  </a:lnTo>
                  <a:lnTo>
                    <a:pt x="809" y="369"/>
                  </a:lnTo>
                  <a:lnTo>
                    <a:pt x="812" y="370"/>
                  </a:lnTo>
                  <a:lnTo>
                    <a:pt x="815" y="371"/>
                  </a:lnTo>
                  <a:lnTo>
                    <a:pt x="819" y="372"/>
                  </a:lnTo>
                  <a:lnTo>
                    <a:pt x="825" y="372"/>
                  </a:lnTo>
                  <a:lnTo>
                    <a:pt x="831" y="374"/>
                  </a:lnTo>
                  <a:lnTo>
                    <a:pt x="834" y="374"/>
                  </a:lnTo>
                  <a:lnTo>
                    <a:pt x="835" y="376"/>
                  </a:lnTo>
                  <a:lnTo>
                    <a:pt x="836" y="378"/>
                  </a:lnTo>
                  <a:lnTo>
                    <a:pt x="834" y="383"/>
                  </a:lnTo>
                  <a:lnTo>
                    <a:pt x="831" y="387"/>
                  </a:lnTo>
                  <a:lnTo>
                    <a:pt x="829" y="389"/>
                  </a:lnTo>
                  <a:lnTo>
                    <a:pt x="820" y="390"/>
                  </a:lnTo>
                  <a:lnTo>
                    <a:pt x="812" y="391"/>
                  </a:lnTo>
                  <a:lnTo>
                    <a:pt x="806" y="395"/>
                  </a:lnTo>
                  <a:lnTo>
                    <a:pt x="800" y="400"/>
                  </a:lnTo>
                  <a:lnTo>
                    <a:pt x="795" y="404"/>
                  </a:lnTo>
                  <a:lnTo>
                    <a:pt x="789" y="410"/>
                  </a:lnTo>
                  <a:lnTo>
                    <a:pt x="786" y="416"/>
                  </a:lnTo>
                  <a:lnTo>
                    <a:pt x="783" y="423"/>
                  </a:lnTo>
                  <a:lnTo>
                    <a:pt x="779" y="428"/>
                  </a:lnTo>
                  <a:lnTo>
                    <a:pt x="779" y="429"/>
                  </a:lnTo>
                  <a:lnTo>
                    <a:pt x="781" y="430"/>
                  </a:lnTo>
                  <a:lnTo>
                    <a:pt x="784" y="433"/>
                  </a:lnTo>
                  <a:lnTo>
                    <a:pt x="797" y="449"/>
                  </a:lnTo>
                  <a:lnTo>
                    <a:pt x="797" y="453"/>
                  </a:lnTo>
                  <a:lnTo>
                    <a:pt x="796" y="455"/>
                  </a:lnTo>
                  <a:lnTo>
                    <a:pt x="795" y="459"/>
                  </a:lnTo>
                  <a:lnTo>
                    <a:pt x="795" y="462"/>
                  </a:lnTo>
                  <a:lnTo>
                    <a:pt x="796" y="466"/>
                  </a:lnTo>
                  <a:lnTo>
                    <a:pt x="798" y="470"/>
                  </a:lnTo>
                  <a:lnTo>
                    <a:pt x="798" y="471"/>
                  </a:lnTo>
                  <a:lnTo>
                    <a:pt x="798" y="473"/>
                  </a:lnTo>
                  <a:lnTo>
                    <a:pt x="803" y="474"/>
                  </a:lnTo>
                  <a:lnTo>
                    <a:pt x="807" y="475"/>
                  </a:lnTo>
                  <a:lnTo>
                    <a:pt x="810" y="478"/>
                  </a:lnTo>
                  <a:lnTo>
                    <a:pt x="811" y="480"/>
                  </a:lnTo>
                  <a:lnTo>
                    <a:pt x="815" y="496"/>
                  </a:lnTo>
                  <a:lnTo>
                    <a:pt x="817" y="500"/>
                  </a:lnTo>
                  <a:lnTo>
                    <a:pt x="821" y="504"/>
                  </a:lnTo>
                  <a:lnTo>
                    <a:pt x="823" y="506"/>
                  </a:lnTo>
                  <a:lnTo>
                    <a:pt x="823" y="510"/>
                  </a:lnTo>
                  <a:lnTo>
                    <a:pt x="821" y="512"/>
                  </a:lnTo>
                  <a:lnTo>
                    <a:pt x="819" y="516"/>
                  </a:lnTo>
                  <a:lnTo>
                    <a:pt x="811" y="521"/>
                  </a:lnTo>
                  <a:lnTo>
                    <a:pt x="807" y="525"/>
                  </a:lnTo>
                  <a:lnTo>
                    <a:pt x="803" y="528"/>
                  </a:lnTo>
                  <a:lnTo>
                    <a:pt x="802" y="530"/>
                  </a:lnTo>
                  <a:lnTo>
                    <a:pt x="802" y="531"/>
                  </a:lnTo>
                  <a:lnTo>
                    <a:pt x="803" y="532"/>
                  </a:lnTo>
                  <a:lnTo>
                    <a:pt x="806" y="535"/>
                  </a:lnTo>
                  <a:lnTo>
                    <a:pt x="809" y="535"/>
                  </a:lnTo>
                  <a:lnTo>
                    <a:pt x="814" y="535"/>
                  </a:lnTo>
                  <a:lnTo>
                    <a:pt x="819" y="534"/>
                  </a:lnTo>
                  <a:lnTo>
                    <a:pt x="824" y="534"/>
                  </a:lnTo>
                  <a:lnTo>
                    <a:pt x="825" y="534"/>
                  </a:lnTo>
                  <a:lnTo>
                    <a:pt x="826" y="536"/>
                  </a:lnTo>
                  <a:lnTo>
                    <a:pt x="828" y="541"/>
                  </a:lnTo>
                  <a:lnTo>
                    <a:pt x="825" y="545"/>
                  </a:lnTo>
                  <a:lnTo>
                    <a:pt x="823" y="549"/>
                  </a:lnTo>
                  <a:lnTo>
                    <a:pt x="820" y="550"/>
                  </a:lnTo>
                  <a:lnTo>
                    <a:pt x="816" y="550"/>
                  </a:lnTo>
                  <a:lnTo>
                    <a:pt x="814" y="550"/>
                  </a:lnTo>
                  <a:lnTo>
                    <a:pt x="811" y="553"/>
                  </a:lnTo>
                  <a:lnTo>
                    <a:pt x="810" y="554"/>
                  </a:lnTo>
                  <a:lnTo>
                    <a:pt x="811" y="556"/>
                  </a:lnTo>
                  <a:lnTo>
                    <a:pt x="815" y="558"/>
                  </a:lnTo>
                  <a:lnTo>
                    <a:pt x="816" y="562"/>
                  </a:lnTo>
                  <a:lnTo>
                    <a:pt x="816" y="566"/>
                  </a:lnTo>
                  <a:lnTo>
                    <a:pt x="815" y="574"/>
                  </a:lnTo>
                  <a:lnTo>
                    <a:pt x="815" y="576"/>
                  </a:lnTo>
                  <a:lnTo>
                    <a:pt x="816" y="580"/>
                  </a:lnTo>
                  <a:lnTo>
                    <a:pt x="816" y="581"/>
                  </a:lnTo>
                  <a:lnTo>
                    <a:pt x="815" y="582"/>
                  </a:lnTo>
                  <a:lnTo>
                    <a:pt x="811" y="582"/>
                  </a:lnTo>
                  <a:lnTo>
                    <a:pt x="809" y="582"/>
                  </a:lnTo>
                  <a:lnTo>
                    <a:pt x="806" y="583"/>
                  </a:lnTo>
                  <a:lnTo>
                    <a:pt x="803" y="586"/>
                  </a:lnTo>
                  <a:lnTo>
                    <a:pt x="800" y="590"/>
                  </a:lnTo>
                  <a:lnTo>
                    <a:pt x="797" y="595"/>
                  </a:lnTo>
                  <a:lnTo>
                    <a:pt x="793" y="601"/>
                  </a:lnTo>
                  <a:lnTo>
                    <a:pt x="789" y="605"/>
                  </a:lnTo>
                  <a:lnTo>
                    <a:pt x="784" y="608"/>
                  </a:lnTo>
                  <a:lnTo>
                    <a:pt x="783" y="612"/>
                  </a:lnTo>
                  <a:lnTo>
                    <a:pt x="782" y="614"/>
                  </a:lnTo>
                  <a:lnTo>
                    <a:pt x="779" y="622"/>
                  </a:lnTo>
                  <a:lnTo>
                    <a:pt x="778" y="626"/>
                  </a:lnTo>
                  <a:lnTo>
                    <a:pt x="778" y="631"/>
                  </a:lnTo>
                  <a:lnTo>
                    <a:pt x="777" y="632"/>
                  </a:lnTo>
                  <a:lnTo>
                    <a:pt x="776" y="633"/>
                  </a:lnTo>
                  <a:lnTo>
                    <a:pt x="770" y="634"/>
                  </a:lnTo>
                  <a:lnTo>
                    <a:pt x="767" y="637"/>
                  </a:lnTo>
                  <a:lnTo>
                    <a:pt x="764" y="639"/>
                  </a:lnTo>
                  <a:lnTo>
                    <a:pt x="763" y="641"/>
                  </a:lnTo>
                  <a:lnTo>
                    <a:pt x="764" y="644"/>
                  </a:lnTo>
                  <a:lnTo>
                    <a:pt x="765" y="646"/>
                  </a:lnTo>
                  <a:lnTo>
                    <a:pt x="767" y="647"/>
                  </a:lnTo>
                  <a:lnTo>
                    <a:pt x="767" y="650"/>
                  </a:lnTo>
                  <a:lnTo>
                    <a:pt x="767" y="651"/>
                  </a:lnTo>
                  <a:lnTo>
                    <a:pt x="755" y="658"/>
                  </a:lnTo>
                  <a:lnTo>
                    <a:pt x="750" y="663"/>
                  </a:lnTo>
                  <a:lnTo>
                    <a:pt x="749" y="665"/>
                  </a:lnTo>
                  <a:lnTo>
                    <a:pt x="748" y="668"/>
                  </a:lnTo>
                  <a:lnTo>
                    <a:pt x="748" y="669"/>
                  </a:lnTo>
                  <a:lnTo>
                    <a:pt x="749" y="669"/>
                  </a:lnTo>
                  <a:lnTo>
                    <a:pt x="750" y="670"/>
                  </a:lnTo>
                  <a:lnTo>
                    <a:pt x="750" y="671"/>
                  </a:lnTo>
                  <a:lnTo>
                    <a:pt x="749" y="672"/>
                  </a:lnTo>
                  <a:lnTo>
                    <a:pt x="743" y="672"/>
                  </a:lnTo>
                  <a:lnTo>
                    <a:pt x="737" y="673"/>
                  </a:lnTo>
                  <a:lnTo>
                    <a:pt x="734" y="677"/>
                  </a:lnTo>
                  <a:lnTo>
                    <a:pt x="731" y="682"/>
                  </a:lnTo>
                  <a:lnTo>
                    <a:pt x="729" y="684"/>
                  </a:lnTo>
                  <a:lnTo>
                    <a:pt x="723" y="687"/>
                  </a:lnTo>
                  <a:lnTo>
                    <a:pt x="718" y="688"/>
                  </a:lnTo>
                  <a:lnTo>
                    <a:pt x="716" y="687"/>
                  </a:lnTo>
                  <a:lnTo>
                    <a:pt x="715" y="685"/>
                  </a:lnTo>
                  <a:lnTo>
                    <a:pt x="715" y="683"/>
                  </a:lnTo>
                  <a:lnTo>
                    <a:pt x="715" y="679"/>
                  </a:lnTo>
                  <a:lnTo>
                    <a:pt x="712" y="678"/>
                  </a:lnTo>
                  <a:lnTo>
                    <a:pt x="711" y="678"/>
                  </a:lnTo>
                  <a:lnTo>
                    <a:pt x="707" y="682"/>
                  </a:lnTo>
                  <a:lnTo>
                    <a:pt x="704" y="684"/>
                  </a:lnTo>
                  <a:lnTo>
                    <a:pt x="701" y="685"/>
                  </a:lnTo>
                  <a:lnTo>
                    <a:pt x="697" y="687"/>
                  </a:lnTo>
                  <a:lnTo>
                    <a:pt x="689" y="685"/>
                  </a:lnTo>
                  <a:lnTo>
                    <a:pt x="682" y="684"/>
                  </a:lnTo>
                  <a:lnTo>
                    <a:pt x="679" y="684"/>
                  </a:lnTo>
                  <a:lnTo>
                    <a:pt x="678" y="685"/>
                  </a:lnTo>
                  <a:lnTo>
                    <a:pt x="676" y="691"/>
                  </a:lnTo>
                  <a:lnTo>
                    <a:pt x="675" y="692"/>
                  </a:lnTo>
                  <a:lnTo>
                    <a:pt x="674" y="694"/>
                  </a:lnTo>
                  <a:lnTo>
                    <a:pt x="674" y="700"/>
                  </a:lnTo>
                  <a:lnTo>
                    <a:pt x="671" y="703"/>
                  </a:lnTo>
                  <a:lnTo>
                    <a:pt x="668" y="707"/>
                  </a:lnTo>
                  <a:lnTo>
                    <a:pt x="664" y="708"/>
                  </a:lnTo>
                  <a:lnTo>
                    <a:pt x="663" y="707"/>
                  </a:lnTo>
                  <a:lnTo>
                    <a:pt x="663" y="704"/>
                  </a:lnTo>
                  <a:lnTo>
                    <a:pt x="663" y="702"/>
                  </a:lnTo>
                  <a:lnTo>
                    <a:pt x="663" y="700"/>
                  </a:lnTo>
                  <a:lnTo>
                    <a:pt x="660" y="700"/>
                  </a:lnTo>
                  <a:lnTo>
                    <a:pt x="659" y="700"/>
                  </a:lnTo>
                  <a:lnTo>
                    <a:pt x="656" y="702"/>
                  </a:lnTo>
                  <a:lnTo>
                    <a:pt x="652" y="708"/>
                  </a:lnTo>
                  <a:lnTo>
                    <a:pt x="647" y="710"/>
                  </a:lnTo>
                  <a:lnTo>
                    <a:pt x="642" y="713"/>
                  </a:lnTo>
                  <a:lnTo>
                    <a:pt x="636" y="715"/>
                  </a:lnTo>
                  <a:lnTo>
                    <a:pt x="629" y="719"/>
                  </a:lnTo>
                  <a:lnTo>
                    <a:pt x="624" y="723"/>
                  </a:lnTo>
                  <a:lnTo>
                    <a:pt x="623" y="726"/>
                  </a:lnTo>
                  <a:lnTo>
                    <a:pt x="622" y="728"/>
                  </a:lnTo>
                  <a:lnTo>
                    <a:pt x="623" y="730"/>
                  </a:lnTo>
                  <a:lnTo>
                    <a:pt x="624" y="733"/>
                  </a:lnTo>
                  <a:lnTo>
                    <a:pt x="626" y="735"/>
                  </a:lnTo>
                  <a:lnTo>
                    <a:pt x="627" y="737"/>
                  </a:lnTo>
                  <a:lnTo>
                    <a:pt x="624" y="739"/>
                  </a:lnTo>
                  <a:lnTo>
                    <a:pt x="622" y="739"/>
                  </a:lnTo>
                  <a:lnTo>
                    <a:pt x="613" y="735"/>
                  </a:lnTo>
                  <a:lnTo>
                    <a:pt x="612" y="733"/>
                  </a:lnTo>
                  <a:lnTo>
                    <a:pt x="612" y="732"/>
                  </a:lnTo>
                  <a:lnTo>
                    <a:pt x="613" y="729"/>
                  </a:lnTo>
                  <a:lnTo>
                    <a:pt x="613" y="727"/>
                  </a:lnTo>
                  <a:lnTo>
                    <a:pt x="612" y="724"/>
                  </a:lnTo>
                  <a:lnTo>
                    <a:pt x="610" y="721"/>
                  </a:lnTo>
                  <a:lnTo>
                    <a:pt x="610" y="720"/>
                  </a:lnTo>
                  <a:lnTo>
                    <a:pt x="612" y="719"/>
                  </a:lnTo>
                  <a:lnTo>
                    <a:pt x="614" y="716"/>
                  </a:lnTo>
                  <a:lnTo>
                    <a:pt x="616" y="715"/>
                  </a:lnTo>
                  <a:lnTo>
                    <a:pt x="617" y="714"/>
                  </a:lnTo>
                  <a:lnTo>
                    <a:pt x="617" y="713"/>
                  </a:lnTo>
                  <a:lnTo>
                    <a:pt x="616" y="711"/>
                  </a:lnTo>
                  <a:lnTo>
                    <a:pt x="614" y="711"/>
                  </a:lnTo>
                  <a:lnTo>
                    <a:pt x="610" y="711"/>
                  </a:lnTo>
                  <a:lnTo>
                    <a:pt x="608" y="713"/>
                  </a:lnTo>
                  <a:lnTo>
                    <a:pt x="607" y="714"/>
                  </a:lnTo>
                  <a:lnTo>
                    <a:pt x="605" y="715"/>
                  </a:lnTo>
                  <a:lnTo>
                    <a:pt x="604" y="716"/>
                  </a:lnTo>
                  <a:lnTo>
                    <a:pt x="590" y="717"/>
                  </a:lnTo>
                  <a:lnTo>
                    <a:pt x="588" y="714"/>
                  </a:lnTo>
                  <a:lnTo>
                    <a:pt x="584" y="711"/>
                  </a:lnTo>
                  <a:lnTo>
                    <a:pt x="577" y="708"/>
                  </a:lnTo>
                  <a:lnTo>
                    <a:pt x="570" y="704"/>
                  </a:lnTo>
                  <a:lnTo>
                    <a:pt x="562" y="701"/>
                  </a:lnTo>
                  <a:lnTo>
                    <a:pt x="560" y="700"/>
                  </a:lnTo>
                  <a:lnTo>
                    <a:pt x="560" y="698"/>
                  </a:lnTo>
                  <a:lnTo>
                    <a:pt x="560" y="695"/>
                  </a:lnTo>
                  <a:lnTo>
                    <a:pt x="561" y="690"/>
                  </a:lnTo>
                  <a:lnTo>
                    <a:pt x="561" y="688"/>
                  </a:lnTo>
                  <a:lnTo>
                    <a:pt x="561" y="687"/>
                  </a:lnTo>
                  <a:lnTo>
                    <a:pt x="556" y="681"/>
                  </a:lnTo>
                  <a:lnTo>
                    <a:pt x="551" y="678"/>
                  </a:lnTo>
                  <a:lnTo>
                    <a:pt x="546" y="676"/>
                  </a:lnTo>
                  <a:lnTo>
                    <a:pt x="538" y="677"/>
                  </a:lnTo>
                  <a:lnTo>
                    <a:pt x="527" y="681"/>
                  </a:lnTo>
                  <a:lnTo>
                    <a:pt x="518" y="683"/>
                  </a:lnTo>
                  <a:lnTo>
                    <a:pt x="510" y="688"/>
                  </a:lnTo>
                  <a:lnTo>
                    <a:pt x="506" y="689"/>
                  </a:lnTo>
                  <a:lnTo>
                    <a:pt x="501" y="690"/>
                  </a:lnTo>
                  <a:lnTo>
                    <a:pt x="494" y="689"/>
                  </a:lnTo>
                  <a:lnTo>
                    <a:pt x="491" y="690"/>
                  </a:lnTo>
                  <a:lnTo>
                    <a:pt x="489" y="692"/>
                  </a:lnTo>
                  <a:lnTo>
                    <a:pt x="483" y="691"/>
                  </a:lnTo>
                  <a:lnTo>
                    <a:pt x="481" y="691"/>
                  </a:lnTo>
                  <a:lnTo>
                    <a:pt x="478" y="692"/>
                  </a:lnTo>
                  <a:lnTo>
                    <a:pt x="478" y="695"/>
                  </a:lnTo>
                  <a:lnTo>
                    <a:pt x="477" y="696"/>
                  </a:lnTo>
                  <a:lnTo>
                    <a:pt x="478" y="700"/>
                  </a:lnTo>
                  <a:lnTo>
                    <a:pt x="483" y="707"/>
                  </a:lnTo>
                  <a:lnTo>
                    <a:pt x="483" y="711"/>
                  </a:lnTo>
                  <a:lnTo>
                    <a:pt x="483" y="713"/>
                  </a:lnTo>
                  <a:lnTo>
                    <a:pt x="482" y="714"/>
                  </a:lnTo>
                  <a:lnTo>
                    <a:pt x="478" y="716"/>
                  </a:lnTo>
                  <a:lnTo>
                    <a:pt x="475" y="717"/>
                  </a:lnTo>
                  <a:lnTo>
                    <a:pt x="471" y="716"/>
                  </a:lnTo>
                  <a:lnTo>
                    <a:pt x="466" y="715"/>
                  </a:lnTo>
                  <a:lnTo>
                    <a:pt x="467" y="713"/>
                  </a:lnTo>
                  <a:lnTo>
                    <a:pt x="466" y="710"/>
                  </a:lnTo>
                  <a:lnTo>
                    <a:pt x="466" y="709"/>
                  </a:lnTo>
                  <a:lnTo>
                    <a:pt x="462" y="708"/>
                  </a:lnTo>
                  <a:lnTo>
                    <a:pt x="456" y="708"/>
                  </a:lnTo>
                  <a:lnTo>
                    <a:pt x="454" y="707"/>
                  </a:lnTo>
                  <a:lnTo>
                    <a:pt x="453" y="705"/>
                  </a:lnTo>
                  <a:lnTo>
                    <a:pt x="453" y="702"/>
                  </a:lnTo>
                  <a:lnTo>
                    <a:pt x="453" y="698"/>
                  </a:lnTo>
                  <a:lnTo>
                    <a:pt x="452" y="697"/>
                  </a:lnTo>
                  <a:lnTo>
                    <a:pt x="450" y="697"/>
                  </a:lnTo>
                  <a:lnTo>
                    <a:pt x="445" y="698"/>
                  </a:lnTo>
                  <a:lnTo>
                    <a:pt x="443" y="698"/>
                  </a:lnTo>
                  <a:lnTo>
                    <a:pt x="440" y="698"/>
                  </a:lnTo>
                  <a:lnTo>
                    <a:pt x="439" y="697"/>
                  </a:lnTo>
                  <a:lnTo>
                    <a:pt x="439" y="695"/>
                  </a:lnTo>
                  <a:lnTo>
                    <a:pt x="442" y="690"/>
                  </a:lnTo>
                  <a:lnTo>
                    <a:pt x="445" y="687"/>
                  </a:lnTo>
                  <a:lnTo>
                    <a:pt x="449" y="682"/>
                  </a:lnTo>
                  <a:lnTo>
                    <a:pt x="450" y="677"/>
                  </a:lnTo>
                  <a:lnTo>
                    <a:pt x="450" y="675"/>
                  </a:lnTo>
                  <a:lnTo>
                    <a:pt x="448" y="675"/>
                  </a:lnTo>
                  <a:lnTo>
                    <a:pt x="443" y="675"/>
                  </a:lnTo>
                  <a:lnTo>
                    <a:pt x="440" y="673"/>
                  </a:lnTo>
                  <a:lnTo>
                    <a:pt x="439" y="671"/>
                  </a:lnTo>
                  <a:lnTo>
                    <a:pt x="439" y="666"/>
                  </a:lnTo>
                  <a:lnTo>
                    <a:pt x="439" y="660"/>
                  </a:lnTo>
                  <a:lnTo>
                    <a:pt x="439" y="658"/>
                  </a:lnTo>
                  <a:lnTo>
                    <a:pt x="438" y="657"/>
                  </a:lnTo>
                  <a:lnTo>
                    <a:pt x="435" y="657"/>
                  </a:lnTo>
                  <a:lnTo>
                    <a:pt x="431" y="657"/>
                  </a:lnTo>
                  <a:lnTo>
                    <a:pt x="425" y="658"/>
                  </a:lnTo>
                  <a:lnTo>
                    <a:pt x="419" y="659"/>
                  </a:lnTo>
                  <a:lnTo>
                    <a:pt x="416" y="658"/>
                  </a:lnTo>
                  <a:lnTo>
                    <a:pt x="415" y="657"/>
                  </a:lnTo>
                  <a:lnTo>
                    <a:pt x="412" y="652"/>
                  </a:lnTo>
                  <a:lnTo>
                    <a:pt x="412" y="649"/>
                  </a:lnTo>
                  <a:lnTo>
                    <a:pt x="412" y="645"/>
                  </a:lnTo>
                  <a:lnTo>
                    <a:pt x="414" y="640"/>
                  </a:lnTo>
                  <a:lnTo>
                    <a:pt x="417" y="632"/>
                  </a:lnTo>
                  <a:lnTo>
                    <a:pt x="421" y="624"/>
                  </a:lnTo>
                  <a:lnTo>
                    <a:pt x="424" y="619"/>
                  </a:lnTo>
                  <a:lnTo>
                    <a:pt x="425" y="614"/>
                  </a:lnTo>
                  <a:lnTo>
                    <a:pt x="426" y="604"/>
                  </a:lnTo>
                  <a:lnTo>
                    <a:pt x="425" y="581"/>
                  </a:lnTo>
                  <a:lnTo>
                    <a:pt x="424" y="576"/>
                  </a:lnTo>
                  <a:lnTo>
                    <a:pt x="421" y="572"/>
                  </a:lnTo>
                  <a:lnTo>
                    <a:pt x="416" y="569"/>
                  </a:lnTo>
                  <a:lnTo>
                    <a:pt x="414" y="568"/>
                  </a:lnTo>
                  <a:lnTo>
                    <a:pt x="412" y="569"/>
                  </a:lnTo>
                  <a:lnTo>
                    <a:pt x="407" y="570"/>
                  </a:lnTo>
                  <a:lnTo>
                    <a:pt x="401" y="572"/>
                  </a:lnTo>
                  <a:lnTo>
                    <a:pt x="398" y="570"/>
                  </a:lnTo>
                  <a:lnTo>
                    <a:pt x="397" y="568"/>
                  </a:lnTo>
                  <a:lnTo>
                    <a:pt x="397" y="566"/>
                  </a:lnTo>
                  <a:lnTo>
                    <a:pt x="398" y="563"/>
                  </a:lnTo>
                  <a:lnTo>
                    <a:pt x="400" y="560"/>
                  </a:lnTo>
                  <a:lnTo>
                    <a:pt x="398" y="557"/>
                  </a:lnTo>
                  <a:lnTo>
                    <a:pt x="395" y="555"/>
                  </a:lnTo>
                  <a:lnTo>
                    <a:pt x="391" y="554"/>
                  </a:lnTo>
                  <a:lnTo>
                    <a:pt x="383" y="553"/>
                  </a:lnTo>
                  <a:lnTo>
                    <a:pt x="374" y="553"/>
                  </a:lnTo>
                  <a:lnTo>
                    <a:pt x="365" y="555"/>
                  </a:lnTo>
                  <a:lnTo>
                    <a:pt x="353" y="560"/>
                  </a:lnTo>
                  <a:lnTo>
                    <a:pt x="336" y="568"/>
                  </a:lnTo>
                  <a:lnTo>
                    <a:pt x="321" y="576"/>
                  </a:lnTo>
                  <a:lnTo>
                    <a:pt x="315" y="579"/>
                  </a:lnTo>
                  <a:lnTo>
                    <a:pt x="309" y="579"/>
                  </a:lnTo>
                  <a:lnTo>
                    <a:pt x="307" y="577"/>
                  </a:lnTo>
                  <a:lnTo>
                    <a:pt x="304" y="576"/>
                  </a:lnTo>
                  <a:lnTo>
                    <a:pt x="301" y="575"/>
                  </a:lnTo>
                  <a:lnTo>
                    <a:pt x="297" y="575"/>
                  </a:lnTo>
                  <a:lnTo>
                    <a:pt x="287" y="577"/>
                  </a:lnTo>
                  <a:lnTo>
                    <a:pt x="275" y="579"/>
                  </a:lnTo>
                  <a:lnTo>
                    <a:pt x="273" y="579"/>
                  </a:lnTo>
                  <a:lnTo>
                    <a:pt x="271" y="581"/>
                  </a:lnTo>
                  <a:lnTo>
                    <a:pt x="270" y="583"/>
                  </a:lnTo>
                  <a:lnTo>
                    <a:pt x="268" y="587"/>
                  </a:lnTo>
                  <a:lnTo>
                    <a:pt x="264" y="582"/>
                  </a:lnTo>
                  <a:lnTo>
                    <a:pt x="259" y="579"/>
                  </a:lnTo>
                  <a:lnTo>
                    <a:pt x="256" y="577"/>
                  </a:lnTo>
                  <a:lnTo>
                    <a:pt x="255" y="579"/>
                  </a:lnTo>
                  <a:lnTo>
                    <a:pt x="252" y="580"/>
                  </a:lnTo>
                  <a:lnTo>
                    <a:pt x="250" y="581"/>
                  </a:lnTo>
                  <a:lnTo>
                    <a:pt x="245" y="580"/>
                  </a:lnTo>
                  <a:lnTo>
                    <a:pt x="241" y="579"/>
                  </a:lnTo>
                  <a:lnTo>
                    <a:pt x="232" y="574"/>
                  </a:lnTo>
                  <a:lnTo>
                    <a:pt x="229" y="574"/>
                  </a:lnTo>
                  <a:lnTo>
                    <a:pt x="228" y="574"/>
                  </a:lnTo>
                  <a:lnTo>
                    <a:pt x="224" y="576"/>
                  </a:lnTo>
                  <a:lnTo>
                    <a:pt x="221" y="579"/>
                  </a:lnTo>
                  <a:lnTo>
                    <a:pt x="218" y="579"/>
                  </a:lnTo>
                  <a:lnTo>
                    <a:pt x="216" y="579"/>
                  </a:lnTo>
                  <a:lnTo>
                    <a:pt x="209" y="575"/>
                  </a:lnTo>
                  <a:lnTo>
                    <a:pt x="204" y="572"/>
                  </a:lnTo>
                  <a:lnTo>
                    <a:pt x="200" y="566"/>
                  </a:lnTo>
                  <a:lnTo>
                    <a:pt x="195" y="561"/>
                  </a:lnTo>
                  <a:lnTo>
                    <a:pt x="191" y="560"/>
                  </a:lnTo>
                  <a:lnTo>
                    <a:pt x="188" y="560"/>
                  </a:lnTo>
                  <a:lnTo>
                    <a:pt x="185" y="560"/>
                  </a:lnTo>
                  <a:lnTo>
                    <a:pt x="183" y="560"/>
                  </a:lnTo>
                  <a:lnTo>
                    <a:pt x="183" y="558"/>
                  </a:lnTo>
                  <a:lnTo>
                    <a:pt x="184" y="555"/>
                  </a:lnTo>
                  <a:lnTo>
                    <a:pt x="183" y="554"/>
                  </a:lnTo>
                  <a:lnTo>
                    <a:pt x="181" y="553"/>
                  </a:lnTo>
                  <a:lnTo>
                    <a:pt x="176" y="551"/>
                  </a:lnTo>
                  <a:lnTo>
                    <a:pt x="172" y="551"/>
                  </a:lnTo>
                  <a:lnTo>
                    <a:pt x="169" y="550"/>
                  </a:lnTo>
                  <a:lnTo>
                    <a:pt x="166" y="548"/>
                  </a:lnTo>
                  <a:lnTo>
                    <a:pt x="165" y="545"/>
                  </a:lnTo>
                  <a:lnTo>
                    <a:pt x="160" y="541"/>
                  </a:lnTo>
                  <a:lnTo>
                    <a:pt x="153" y="536"/>
                  </a:lnTo>
                  <a:lnTo>
                    <a:pt x="147" y="532"/>
                  </a:lnTo>
                  <a:lnTo>
                    <a:pt x="144" y="532"/>
                  </a:lnTo>
                  <a:lnTo>
                    <a:pt x="142" y="534"/>
                  </a:lnTo>
                  <a:lnTo>
                    <a:pt x="136" y="536"/>
                  </a:lnTo>
                  <a:lnTo>
                    <a:pt x="132" y="536"/>
                  </a:lnTo>
                  <a:lnTo>
                    <a:pt x="129" y="5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7" name="Freeform 636"/>
            <p:cNvSpPr>
              <a:spLocks/>
            </p:cNvSpPr>
            <p:nvPr/>
          </p:nvSpPr>
          <p:spPr bwMode="auto">
            <a:xfrm>
              <a:off x="5897563" y="3214688"/>
              <a:ext cx="417512" cy="463550"/>
            </a:xfrm>
            <a:custGeom>
              <a:avLst/>
              <a:gdLst>
                <a:gd name="T0" fmla="*/ 2147483647 w 285"/>
                <a:gd name="T1" fmla="*/ 0 h 292"/>
                <a:gd name="T2" fmla="*/ 2147483647 w 285"/>
                <a:gd name="T3" fmla="*/ 2147483647 h 292"/>
                <a:gd name="T4" fmla="*/ 2147483647 w 285"/>
                <a:gd name="T5" fmla="*/ 2147483647 h 292"/>
                <a:gd name="T6" fmla="*/ 2147483647 w 285"/>
                <a:gd name="T7" fmla="*/ 2147483647 h 292"/>
                <a:gd name="T8" fmla="*/ 2147483647 w 285"/>
                <a:gd name="T9" fmla="*/ 2147483647 h 292"/>
                <a:gd name="T10" fmla="*/ 2147483647 w 285"/>
                <a:gd name="T11" fmla="*/ 2147483647 h 292"/>
                <a:gd name="T12" fmla="*/ 2147483647 w 285"/>
                <a:gd name="T13" fmla="*/ 2147483647 h 292"/>
                <a:gd name="T14" fmla="*/ 2147483647 w 285"/>
                <a:gd name="T15" fmla="*/ 2147483647 h 292"/>
                <a:gd name="T16" fmla="*/ 2147483647 w 285"/>
                <a:gd name="T17" fmla="*/ 2147483647 h 292"/>
                <a:gd name="T18" fmla="*/ 2147483647 w 285"/>
                <a:gd name="T19" fmla="*/ 2147483647 h 292"/>
                <a:gd name="T20" fmla="*/ 2147483647 w 285"/>
                <a:gd name="T21" fmla="*/ 2147483647 h 292"/>
                <a:gd name="T22" fmla="*/ 2147483647 w 285"/>
                <a:gd name="T23" fmla="*/ 2147483647 h 292"/>
                <a:gd name="T24" fmla="*/ 2147483647 w 285"/>
                <a:gd name="T25" fmla="*/ 2147483647 h 292"/>
                <a:gd name="T26" fmla="*/ 2147483647 w 285"/>
                <a:gd name="T27" fmla="*/ 2147483647 h 292"/>
                <a:gd name="T28" fmla="*/ 2147483647 w 285"/>
                <a:gd name="T29" fmla="*/ 2147483647 h 292"/>
                <a:gd name="T30" fmla="*/ 2147483647 w 285"/>
                <a:gd name="T31" fmla="*/ 2147483647 h 292"/>
                <a:gd name="T32" fmla="*/ 2147483647 w 285"/>
                <a:gd name="T33" fmla="*/ 2147483647 h 292"/>
                <a:gd name="T34" fmla="*/ 2147483647 w 285"/>
                <a:gd name="T35" fmla="*/ 2147483647 h 292"/>
                <a:gd name="T36" fmla="*/ 2147483647 w 285"/>
                <a:gd name="T37" fmla="*/ 2147483647 h 292"/>
                <a:gd name="T38" fmla="*/ 2147483647 w 285"/>
                <a:gd name="T39" fmla="*/ 2147483647 h 292"/>
                <a:gd name="T40" fmla="*/ 2147483647 w 285"/>
                <a:gd name="T41" fmla="*/ 2147483647 h 292"/>
                <a:gd name="T42" fmla="*/ 2147483647 w 285"/>
                <a:gd name="T43" fmla="*/ 2147483647 h 292"/>
                <a:gd name="T44" fmla="*/ 2147483647 w 285"/>
                <a:gd name="T45" fmla="*/ 2147483647 h 292"/>
                <a:gd name="T46" fmla="*/ 2147483647 w 285"/>
                <a:gd name="T47" fmla="*/ 2147483647 h 292"/>
                <a:gd name="T48" fmla="*/ 2147483647 w 285"/>
                <a:gd name="T49" fmla="*/ 2147483647 h 292"/>
                <a:gd name="T50" fmla="*/ 2147483647 w 285"/>
                <a:gd name="T51" fmla="*/ 2147483647 h 292"/>
                <a:gd name="T52" fmla="*/ 2147483647 w 285"/>
                <a:gd name="T53" fmla="*/ 2147483647 h 292"/>
                <a:gd name="T54" fmla="*/ 2147483647 w 285"/>
                <a:gd name="T55" fmla="*/ 2147483647 h 292"/>
                <a:gd name="T56" fmla="*/ 2147483647 w 285"/>
                <a:gd name="T57" fmla="*/ 2147483647 h 292"/>
                <a:gd name="T58" fmla="*/ 2147483647 w 285"/>
                <a:gd name="T59" fmla="*/ 2147483647 h 292"/>
                <a:gd name="T60" fmla="*/ 2147483647 w 285"/>
                <a:gd name="T61" fmla="*/ 2147483647 h 292"/>
                <a:gd name="T62" fmla="*/ 2147483647 w 285"/>
                <a:gd name="T63" fmla="*/ 2147483647 h 292"/>
                <a:gd name="T64" fmla="*/ 2147483647 w 285"/>
                <a:gd name="T65" fmla="*/ 2147483647 h 292"/>
                <a:gd name="T66" fmla="*/ 2147483647 w 285"/>
                <a:gd name="T67" fmla="*/ 2147483647 h 292"/>
                <a:gd name="T68" fmla="*/ 2147483647 w 285"/>
                <a:gd name="T69" fmla="*/ 2147483647 h 292"/>
                <a:gd name="T70" fmla="*/ 2147483647 w 285"/>
                <a:gd name="T71" fmla="*/ 2147483647 h 292"/>
                <a:gd name="T72" fmla="*/ 2147483647 w 285"/>
                <a:gd name="T73" fmla="*/ 2147483647 h 292"/>
                <a:gd name="T74" fmla="*/ 2147483647 w 285"/>
                <a:gd name="T75" fmla="*/ 2147483647 h 292"/>
                <a:gd name="T76" fmla="*/ 2147483647 w 285"/>
                <a:gd name="T77" fmla="*/ 2147483647 h 292"/>
                <a:gd name="T78" fmla="*/ 2147483647 w 285"/>
                <a:gd name="T79" fmla="*/ 2147483647 h 292"/>
                <a:gd name="T80" fmla="*/ 2147483647 w 285"/>
                <a:gd name="T81" fmla="*/ 2147483647 h 292"/>
                <a:gd name="T82" fmla="*/ 2147483647 w 285"/>
                <a:gd name="T83" fmla="*/ 2147483647 h 292"/>
                <a:gd name="T84" fmla="*/ 2147483647 w 285"/>
                <a:gd name="T85" fmla="*/ 2147483647 h 292"/>
                <a:gd name="T86" fmla="*/ 2147483647 w 285"/>
                <a:gd name="T87" fmla="*/ 2147483647 h 292"/>
                <a:gd name="T88" fmla="*/ 2147483647 w 285"/>
                <a:gd name="T89" fmla="*/ 2147483647 h 292"/>
                <a:gd name="T90" fmla="*/ 2147483647 w 285"/>
                <a:gd name="T91" fmla="*/ 2147483647 h 292"/>
                <a:gd name="T92" fmla="*/ 2147483647 w 285"/>
                <a:gd name="T93" fmla="*/ 2147483647 h 292"/>
                <a:gd name="T94" fmla="*/ 2147483647 w 285"/>
                <a:gd name="T95" fmla="*/ 2147483647 h 292"/>
                <a:gd name="T96" fmla="*/ 2147483647 w 285"/>
                <a:gd name="T97" fmla="*/ 2147483647 h 292"/>
                <a:gd name="T98" fmla="*/ 2147483647 w 285"/>
                <a:gd name="T99" fmla="*/ 2147483647 h 292"/>
                <a:gd name="T100" fmla="*/ 2147483647 w 285"/>
                <a:gd name="T101" fmla="*/ 2147483647 h 292"/>
                <a:gd name="T102" fmla="*/ 2147483647 w 285"/>
                <a:gd name="T103" fmla="*/ 2147483647 h 2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5"/>
                <a:gd name="T157" fmla="*/ 0 h 292"/>
                <a:gd name="T158" fmla="*/ 285 w 285"/>
                <a:gd name="T159" fmla="*/ 292 h 2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5" h="292">
                  <a:moveTo>
                    <a:pt x="228" y="5"/>
                  </a:moveTo>
                  <a:lnTo>
                    <a:pt x="235" y="3"/>
                  </a:lnTo>
                  <a:lnTo>
                    <a:pt x="243" y="1"/>
                  </a:lnTo>
                  <a:lnTo>
                    <a:pt x="251" y="0"/>
                  </a:lnTo>
                  <a:lnTo>
                    <a:pt x="254" y="0"/>
                  </a:lnTo>
                  <a:lnTo>
                    <a:pt x="257" y="2"/>
                  </a:lnTo>
                  <a:lnTo>
                    <a:pt x="259" y="5"/>
                  </a:lnTo>
                  <a:lnTo>
                    <a:pt x="261" y="7"/>
                  </a:lnTo>
                  <a:lnTo>
                    <a:pt x="263" y="13"/>
                  </a:lnTo>
                  <a:lnTo>
                    <a:pt x="266" y="17"/>
                  </a:lnTo>
                  <a:lnTo>
                    <a:pt x="268" y="20"/>
                  </a:lnTo>
                  <a:lnTo>
                    <a:pt x="272" y="24"/>
                  </a:lnTo>
                  <a:lnTo>
                    <a:pt x="278" y="27"/>
                  </a:lnTo>
                  <a:lnTo>
                    <a:pt x="282" y="31"/>
                  </a:lnTo>
                  <a:lnTo>
                    <a:pt x="285" y="34"/>
                  </a:lnTo>
                  <a:lnTo>
                    <a:pt x="285" y="39"/>
                  </a:lnTo>
                  <a:lnTo>
                    <a:pt x="284" y="44"/>
                  </a:lnTo>
                  <a:lnTo>
                    <a:pt x="282" y="49"/>
                  </a:lnTo>
                  <a:lnTo>
                    <a:pt x="280" y="53"/>
                  </a:lnTo>
                  <a:lnTo>
                    <a:pt x="273" y="62"/>
                  </a:lnTo>
                  <a:lnTo>
                    <a:pt x="270" y="64"/>
                  </a:lnTo>
                  <a:lnTo>
                    <a:pt x="265" y="65"/>
                  </a:lnTo>
                  <a:lnTo>
                    <a:pt x="259" y="64"/>
                  </a:lnTo>
                  <a:lnTo>
                    <a:pt x="254" y="62"/>
                  </a:lnTo>
                  <a:lnTo>
                    <a:pt x="251" y="58"/>
                  </a:lnTo>
                  <a:lnTo>
                    <a:pt x="245" y="54"/>
                  </a:lnTo>
                  <a:lnTo>
                    <a:pt x="239" y="53"/>
                  </a:lnTo>
                  <a:lnTo>
                    <a:pt x="237" y="53"/>
                  </a:lnTo>
                  <a:lnTo>
                    <a:pt x="234" y="54"/>
                  </a:lnTo>
                  <a:lnTo>
                    <a:pt x="230" y="58"/>
                  </a:lnTo>
                  <a:lnTo>
                    <a:pt x="226" y="63"/>
                  </a:lnTo>
                  <a:lnTo>
                    <a:pt x="225" y="68"/>
                  </a:lnTo>
                  <a:lnTo>
                    <a:pt x="225" y="70"/>
                  </a:lnTo>
                  <a:lnTo>
                    <a:pt x="226" y="71"/>
                  </a:lnTo>
                  <a:lnTo>
                    <a:pt x="229" y="78"/>
                  </a:lnTo>
                  <a:lnTo>
                    <a:pt x="229" y="84"/>
                  </a:lnTo>
                  <a:lnTo>
                    <a:pt x="229" y="90"/>
                  </a:lnTo>
                  <a:lnTo>
                    <a:pt x="226" y="96"/>
                  </a:lnTo>
                  <a:lnTo>
                    <a:pt x="226" y="100"/>
                  </a:lnTo>
                  <a:lnTo>
                    <a:pt x="226" y="102"/>
                  </a:lnTo>
                  <a:lnTo>
                    <a:pt x="232" y="107"/>
                  </a:lnTo>
                  <a:lnTo>
                    <a:pt x="232" y="109"/>
                  </a:lnTo>
                  <a:lnTo>
                    <a:pt x="232" y="111"/>
                  </a:lnTo>
                  <a:lnTo>
                    <a:pt x="229" y="115"/>
                  </a:lnTo>
                  <a:lnTo>
                    <a:pt x="228" y="118"/>
                  </a:lnTo>
                  <a:lnTo>
                    <a:pt x="228" y="122"/>
                  </a:lnTo>
                  <a:lnTo>
                    <a:pt x="229" y="126"/>
                  </a:lnTo>
                  <a:lnTo>
                    <a:pt x="230" y="130"/>
                  </a:lnTo>
                  <a:lnTo>
                    <a:pt x="228" y="134"/>
                  </a:lnTo>
                  <a:lnTo>
                    <a:pt x="225" y="137"/>
                  </a:lnTo>
                  <a:lnTo>
                    <a:pt x="221" y="141"/>
                  </a:lnTo>
                  <a:lnTo>
                    <a:pt x="214" y="152"/>
                  </a:lnTo>
                  <a:lnTo>
                    <a:pt x="207" y="162"/>
                  </a:lnTo>
                  <a:lnTo>
                    <a:pt x="202" y="171"/>
                  </a:lnTo>
                  <a:lnTo>
                    <a:pt x="195" y="179"/>
                  </a:lnTo>
                  <a:lnTo>
                    <a:pt x="188" y="186"/>
                  </a:lnTo>
                  <a:lnTo>
                    <a:pt x="182" y="196"/>
                  </a:lnTo>
                  <a:lnTo>
                    <a:pt x="179" y="199"/>
                  </a:lnTo>
                  <a:lnTo>
                    <a:pt x="177" y="200"/>
                  </a:lnTo>
                  <a:lnTo>
                    <a:pt x="172" y="201"/>
                  </a:lnTo>
                  <a:lnTo>
                    <a:pt x="167" y="200"/>
                  </a:lnTo>
                  <a:lnTo>
                    <a:pt x="163" y="200"/>
                  </a:lnTo>
                  <a:lnTo>
                    <a:pt x="159" y="201"/>
                  </a:lnTo>
                  <a:lnTo>
                    <a:pt x="157" y="205"/>
                  </a:lnTo>
                  <a:lnTo>
                    <a:pt x="153" y="209"/>
                  </a:lnTo>
                  <a:lnTo>
                    <a:pt x="150" y="211"/>
                  </a:lnTo>
                  <a:lnTo>
                    <a:pt x="148" y="213"/>
                  </a:lnTo>
                  <a:lnTo>
                    <a:pt x="145" y="216"/>
                  </a:lnTo>
                  <a:lnTo>
                    <a:pt x="145" y="217"/>
                  </a:lnTo>
                  <a:lnTo>
                    <a:pt x="145" y="219"/>
                  </a:lnTo>
                  <a:lnTo>
                    <a:pt x="148" y="220"/>
                  </a:lnTo>
                  <a:lnTo>
                    <a:pt x="150" y="222"/>
                  </a:lnTo>
                  <a:lnTo>
                    <a:pt x="153" y="223"/>
                  </a:lnTo>
                  <a:lnTo>
                    <a:pt x="154" y="225"/>
                  </a:lnTo>
                  <a:lnTo>
                    <a:pt x="155" y="228"/>
                  </a:lnTo>
                  <a:lnTo>
                    <a:pt x="157" y="231"/>
                  </a:lnTo>
                  <a:lnTo>
                    <a:pt x="157" y="237"/>
                  </a:lnTo>
                  <a:lnTo>
                    <a:pt x="159" y="239"/>
                  </a:lnTo>
                  <a:lnTo>
                    <a:pt x="160" y="242"/>
                  </a:lnTo>
                  <a:lnTo>
                    <a:pt x="165" y="247"/>
                  </a:lnTo>
                  <a:lnTo>
                    <a:pt x="168" y="249"/>
                  </a:lnTo>
                  <a:lnTo>
                    <a:pt x="169" y="251"/>
                  </a:lnTo>
                  <a:lnTo>
                    <a:pt x="169" y="258"/>
                  </a:lnTo>
                  <a:lnTo>
                    <a:pt x="167" y="264"/>
                  </a:lnTo>
                  <a:lnTo>
                    <a:pt x="165" y="271"/>
                  </a:lnTo>
                  <a:lnTo>
                    <a:pt x="152" y="270"/>
                  </a:lnTo>
                  <a:lnTo>
                    <a:pt x="144" y="269"/>
                  </a:lnTo>
                  <a:lnTo>
                    <a:pt x="138" y="269"/>
                  </a:lnTo>
                  <a:lnTo>
                    <a:pt x="135" y="270"/>
                  </a:lnTo>
                  <a:lnTo>
                    <a:pt x="132" y="273"/>
                  </a:lnTo>
                  <a:lnTo>
                    <a:pt x="131" y="275"/>
                  </a:lnTo>
                  <a:lnTo>
                    <a:pt x="130" y="279"/>
                  </a:lnTo>
                  <a:lnTo>
                    <a:pt x="127" y="283"/>
                  </a:lnTo>
                  <a:lnTo>
                    <a:pt x="122" y="287"/>
                  </a:lnTo>
                  <a:lnTo>
                    <a:pt x="117" y="289"/>
                  </a:lnTo>
                  <a:lnTo>
                    <a:pt x="112" y="292"/>
                  </a:lnTo>
                  <a:lnTo>
                    <a:pt x="111" y="287"/>
                  </a:lnTo>
                  <a:lnTo>
                    <a:pt x="111" y="282"/>
                  </a:lnTo>
                  <a:lnTo>
                    <a:pt x="110" y="273"/>
                  </a:lnTo>
                  <a:lnTo>
                    <a:pt x="110" y="271"/>
                  </a:lnTo>
                  <a:lnTo>
                    <a:pt x="106" y="270"/>
                  </a:lnTo>
                  <a:lnTo>
                    <a:pt x="99" y="269"/>
                  </a:lnTo>
                  <a:lnTo>
                    <a:pt x="98" y="267"/>
                  </a:lnTo>
                  <a:lnTo>
                    <a:pt x="98" y="264"/>
                  </a:lnTo>
                  <a:lnTo>
                    <a:pt x="99" y="260"/>
                  </a:lnTo>
                  <a:lnTo>
                    <a:pt x="99" y="257"/>
                  </a:lnTo>
                  <a:lnTo>
                    <a:pt x="97" y="255"/>
                  </a:lnTo>
                  <a:lnTo>
                    <a:pt x="94" y="254"/>
                  </a:lnTo>
                  <a:lnTo>
                    <a:pt x="89" y="254"/>
                  </a:lnTo>
                  <a:lnTo>
                    <a:pt x="77" y="257"/>
                  </a:lnTo>
                  <a:lnTo>
                    <a:pt x="65" y="260"/>
                  </a:lnTo>
                  <a:lnTo>
                    <a:pt x="58" y="258"/>
                  </a:lnTo>
                  <a:lnTo>
                    <a:pt x="51" y="258"/>
                  </a:lnTo>
                  <a:lnTo>
                    <a:pt x="45" y="256"/>
                  </a:lnTo>
                  <a:lnTo>
                    <a:pt x="37" y="256"/>
                  </a:lnTo>
                  <a:lnTo>
                    <a:pt x="27" y="256"/>
                  </a:lnTo>
                  <a:lnTo>
                    <a:pt x="17" y="257"/>
                  </a:lnTo>
                  <a:lnTo>
                    <a:pt x="11" y="254"/>
                  </a:lnTo>
                  <a:lnTo>
                    <a:pt x="7" y="252"/>
                  </a:lnTo>
                  <a:lnTo>
                    <a:pt x="3" y="251"/>
                  </a:lnTo>
                  <a:lnTo>
                    <a:pt x="9" y="236"/>
                  </a:lnTo>
                  <a:lnTo>
                    <a:pt x="13" y="228"/>
                  </a:lnTo>
                  <a:lnTo>
                    <a:pt x="18" y="222"/>
                  </a:lnTo>
                  <a:lnTo>
                    <a:pt x="22" y="220"/>
                  </a:lnTo>
                  <a:lnTo>
                    <a:pt x="27" y="219"/>
                  </a:lnTo>
                  <a:lnTo>
                    <a:pt x="31" y="217"/>
                  </a:lnTo>
                  <a:lnTo>
                    <a:pt x="32" y="216"/>
                  </a:lnTo>
                  <a:lnTo>
                    <a:pt x="32" y="213"/>
                  </a:lnTo>
                  <a:lnTo>
                    <a:pt x="30" y="210"/>
                  </a:lnTo>
                  <a:lnTo>
                    <a:pt x="28" y="207"/>
                  </a:lnTo>
                  <a:lnTo>
                    <a:pt x="26" y="204"/>
                  </a:lnTo>
                  <a:lnTo>
                    <a:pt x="25" y="200"/>
                  </a:lnTo>
                  <a:lnTo>
                    <a:pt x="23" y="193"/>
                  </a:lnTo>
                  <a:lnTo>
                    <a:pt x="22" y="190"/>
                  </a:lnTo>
                  <a:lnTo>
                    <a:pt x="19" y="186"/>
                  </a:lnTo>
                  <a:lnTo>
                    <a:pt x="7" y="172"/>
                  </a:lnTo>
                  <a:lnTo>
                    <a:pt x="2" y="165"/>
                  </a:lnTo>
                  <a:lnTo>
                    <a:pt x="0" y="160"/>
                  </a:lnTo>
                  <a:lnTo>
                    <a:pt x="0" y="156"/>
                  </a:lnTo>
                  <a:lnTo>
                    <a:pt x="7" y="160"/>
                  </a:lnTo>
                  <a:lnTo>
                    <a:pt x="12" y="161"/>
                  </a:lnTo>
                  <a:lnTo>
                    <a:pt x="17" y="162"/>
                  </a:lnTo>
                  <a:lnTo>
                    <a:pt x="22" y="162"/>
                  </a:lnTo>
                  <a:lnTo>
                    <a:pt x="32" y="162"/>
                  </a:lnTo>
                  <a:lnTo>
                    <a:pt x="36" y="162"/>
                  </a:lnTo>
                  <a:lnTo>
                    <a:pt x="40" y="162"/>
                  </a:lnTo>
                  <a:lnTo>
                    <a:pt x="50" y="166"/>
                  </a:lnTo>
                  <a:lnTo>
                    <a:pt x="55" y="166"/>
                  </a:lnTo>
                  <a:lnTo>
                    <a:pt x="58" y="166"/>
                  </a:lnTo>
                  <a:lnTo>
                    <a:pt x="59" y="165"/>
                  </a:lnTo>
                  <a:lnTo>
                    <a:pt x="65" y="160"/>
                  </a:lnTo>
                  <a:lnTo>
                    <a:pt x="72" y="159"/>
                  </a:lnTo>
                  <a:lnTo>
                    <a:pt x="78" y="158"/>
                  </a:lnTo>
                  <a:lnTo>
                    <a:pt x="84" y="158"/>
                  </a:lnTo>
                  <a:lnTo>
                    <a:pt x="82" y="154"/>
                  </a:lnTo>
                  <a:lnTo>
                    <a:pt x="82" y="149"/>
                  </a:lnTo>
                  <a:lnTo>
                    <a:pt x="82" y="143"/>
                  </a:lnTo>
                  <a:lnTo>
                    <a:pt x="84" y="137"/>
                  </a:lnTo>
                  <a:lnTo>
                    <a:pt x="89" y="133"/>
                  </a:lnTo>
                  <a:lnTo>
                    <a:pt x="94" y="128"/>
                  </a:lnTo>
                  <a:lnTo>
                    <a:pt x="101" y="126"/>
                  </a:lnTo>
                  <a:lnTo>
                    <a:pt x="111" y="121"/>
                  </a:lnTo>
                  <a:lnTo>
                    <a:pt x="112" y="118"/>
                  </a:lnTo>
                  <a:lnTo>
                    <a:pt x="113" y="117"/>
                  </a:lnTo>
                  <a:lnTo>
                    <a:pt x="116" y="115"/>
                  </a:lnTo>
                  <a:lnTo>
                    <a:pt x="117" y="114"/>
                  </a:lnTo>
                  <a:lnTo>
                    <a:pt x="127" y="110"/>
                  </a:lnTo>
                  <a:lnTo>
                    <a:pt x="131" y="109"/>
                  </a:lnTo>
                  <a:lnTo>
                    <a:pt x="134" y="107"/>
                  </a:lnTo>
                  <a:lnTo>
                    <a:pt x="138" y="101"/>
                  </a:lnTo>
                  <a:lnTo>
                    <a:pt x="143" y="90"/>
                  </a:lnTo>
                  <a:lnTo>
                    <a:pt x="144" y="86"/>
                  </a:lnTo>
                  <a:lnTo>
                    <a:pt x="145" y="85"/>
                  </a:lnTo>
                  <a:lnTo>
                    <a:pt x="148" y="84"/>
                  </a:lnTo>
                  <a:lnTo>
                    <a:pt x="150" y="83"/>
                  </a:lnTo>
                  <a:lnTo>
                    <a:pt x="153" y="81"/>
                  </a:lnTo>
                  <a:lnTo>
                    <a:pt x="153" y="76"/>
                  </a:lnTo>
                  <a:lnTo>
                    <a:pt x="152" y="71"/>
                  </a:lnTo>
                  <a:lnTo>
                    <a:pt x="150" y="62"/>
                  </a:lnTo>
                  <a:lnTo>
                    <a:pt x="152" y="62"/>
                  </a:lnTo>
                  <a:lnTo>
                    <a:pt x="154" y="62"/>
                  </a:lnTo>
                  <a:lnTo>
                    <a:pt x="158" y="63"/>
                  </a:lnTo>
                  <a:lnTo>
                    <a:pt x="162" y="63"/>
                  </a:lnTo>
                  <a:lnTo>
                    <a:pt x="165" y="63"/>
                  </a:lnTo>
                  <a:lnTo>
                    <a:pt x="169" y="60"/>
                  </a:lnTo>
                  <a:lnTo>
                    <a:pt x="171" y="59"/>
                  </a:lnTo>
                  <a:lnTo>
                    <a:pt x="171" y="58"/>
                  </a:lnTo>
                  <a:lnTo>
                    <a:pt x="168" y="54"/>
                  </a:lnTo>
                  <a:lnTo>
                    <a:pt x="167" y="52"/>
                  </a:lnTo>
                  <a:lnTo>
                    <a:pt x="167" y="50"/>
                  </a:lnTo>
                  <a:lnTo>
                    <a:pt x="168" y="50"/>
                  </a:lnTo>
                  <a:lnTo>
                    <a:pt x="173" y="46"/>
                  </a:lnTo>
                  <a:lnTo>
                    <a:pt x="178" y="43"/>
                  </a:lnTo>
                  <a:lnTo>
                    <a:pt x="182" y="38"/>
                  </a:lnTo>
                  <a:lnTo>
                    <a:pt x="182" y="35"/>
                  </a:lnTo>
                  <a:lnTo>
                    <a:pt x="182" y="32"/>
                  </a:lnTo>
                  <a:lnTo>
                    <a:pt x="181" y="30"/>
                  </a:lnTo>
                  <a:lnTo>
                    <a:pt x="178" y="27"/>
                  </a:lnTo>
                  <a:lnTo>
                    <a:pt x="177" y="25"/>
                  </a:lnTo>
                  <a:lnTo>
                    <a:pt x="174" y="22"/>
                  </a:lnTo>
                  <a:lnTo>
                    <a:pt x="174" y="20"/>
                  </a:lnTo>
                  <a:lnTo>
                    <a:pt x="176" y="18"/>
                  </a:lnTo>
                  <a:lnTo>
                    <a:pt x="177" y="15"/>
                  </a:lnTo>
                  <a:lnTo>
                    <a:pt x="179" y="14"/>
                  </a:lnTo>
                  <a:lnTo>
                    <a:pt x="200" y="7"/>
                  </a:lnTo>
                  <a:lnTo>
                    <a:pt x="205" y="6"/>
                  </a:lnTo>
                  <a:lnTo>
                    <a:pt x="210" y="5"/>
                  </a:lnTo>
                  <a:lnTo>
                    <a:pt x="216" y="5"/>
                  </a:lnTo>
                  <a:lnTo>
                    <a:pt x="221" y="6"/>
                  </a:lnTo>
                  <a:lnTo>
                    <a:pt x="225" y="6"/>
                  </a:lnTo>
                  <a:lnTo>
                    <a:pt x="228"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8" name="Freeform 637"/>
            <p:cNvSpPr>
              <a:spLocks/>
            </p:cNvSpPr>
            <p:nvPr/>
          </p:nvSpPr>
          <p:spPr bwMode="auto">
            <a:xfrm>
              <a:off x="5876928" y="3157542"/>
              <a:ext cx="358775" cy="320675"/>
            </a:xfrm>
            <a:custGeom>
              <a:avLst/>
              <a:gdLst>
                <a:gd name="T0" fmla="*/ 2147483647 w 244"/>
                <a:gd name="T1" fmla="*/ 2147483647 h 202"/>
                <a:gd name="T2" fmla="*/ 2147483647 w 244"/>
                <a:gd name="T3" fmla="*/ 2147483647 h 202"/>
                <a:gd name="T4" fmla="*/ 2147483647 w 244"/>
                <a:gd name="T5" fmla="*/ 2147483647 h 202"/>
                <a:gd name="T6" fmla="*/ 2147483647 w 244"/>
                <a:gd name="T7" fmla="*/ 2147483647 h 202"/>
                <a:gd name="T8" fmla="*/ 2147483647 w 244"/>
                <a:gd name="T9" fmla="*/ 2147483647 h 202"/>
                <a:gd name="T10" fmla="*/ 2147483647 w 244"/>
                <a:gd name="T11" fmla="*/ 2147483647 h 202"/>
                <a:gd name="T12" fmla="*/ 2147483647 w 244"/>
                <a:gd name="T13" fmla="*/ 2147483647 h 202"/>
                <a:gd name="T14" fmla="*/ 2147483647 w 244"/>
                <a:gd name="T15" fmla="*/ 2147483647 h 202"/>
                <a:gd name="T16" fmla="*/ 2147483647 w 244"/>
                <a:gd name="T17" fmla="*/ 2147483647 h 202"/>
                <a:gd name="T18" fmla="*/ 2147483647 w 244"/>
                <a:gd name="T19" fmla="*/ 2147483647 h 202"/>
                <a:gd name="T20" fmla="*/ 2147483647 w 244"/>
                <a:gd name="T21" fmla="*/ 2147483647 h 202"/>
                <a:gd name="T22" fmla="*/ 2147483647 w 244"/>
                <a:gd name="T23" fmla="*/ 2147483647 h 202"/>
                <a:gd name="T24" fmla="*/ 2147483647 w 244"/>
                <a:gd name="T25" fmla="*/ 2147483647 h 202"/>
                <a:gd name="T26" fmla="*/ 2147483647 w 244"/>
                <a:gd name="T27" fmla="*/ 2147483647 h 202"/>
                <a:gd name="T28" fmla="*/ 2147483647 w 244"/>
                <a:gd name="T29" fmla="*/ 0 h 202"/>
                <a:gd name="T30" fmla="*/ 2147483647 w 244"/>
                <a:gd name="T31" fmla="*/ 2147483647 h 202"/>
                <a:gd name="T32" fmla="*/ 2147483647 w 244"/>
                <a:gd name="T33" fmla="*/ 2147483647 h 202"/>
                <a:gd name="T34" fmla="*/ 2147483647 w 244"/>
                <a:gd name="T35" fmla="*/ 2147483647 h 202"/>
                <a:gd name="T36" fmla="*/ 2147483647 w 244"/>
                <a:gd name="T37" fmla="*/ 2147483647 h 202"/>
                <a:gd name="T38" fmla="*/ 2147483647 w 244"/>
                <a:gd name="T39" fmla="*/ 2147483647 h 202"/>
                <a:gd name="T40" fmla="*/ 2147483647 w 244"/>
                <a:gd name="T41" fmla="*/ 2147483647 h 202"/>
                <a:gd name="T42" fmla="*/ 2147483647 w 244"/>
                <a:gd name="T43" fmla="*/ 2147483647 h 202"/>
                <a:gd name="T44" fmla="*/ 2147483647 w 244"/>
                <a:gd name="T45" fmla="*/ 2147483647 h 202"/>
                <a:gd name="T46" fmla="*/ 2147483647 w 244"/>
                <a:gd name="T47" fmla="*/ 2147483647 h 202"/>
                <a:gd name="T48" fmla="*/ 2147483647 w 244"/>
                <a:gd name="T49" fmla="*/ 2147483647 h 202"/>
                <a:gd name="T50" fmla="*/ 2147483647 w 244"/>
                <a:gd name="T51" fmla="*/ 2147483647 h 202"/>
                <a:gd name="T52" fmla="*/ 2147483647 w 244"/>
                <a:gd name="T53" fmla="*/ 2147483647 h 202"/>
                <a:gd name="T54" fmla="*/ 2147483647 w 244"/>
                <a:gd name="T55" fmla="*/ 2147483647 h 202"/>
                <a:gd name="T56" fmla="*/ 2147483647 w 244"/>
                <a:gd name="T57" fmla="*/ 2147483647 h 202"/>
                <a:gd name="T58" fmla="*/ 2147483647 w 244"/>
                <a:gd name="T59" fmla="*/ 2147483647 h 202"/>
                <a:gd name="T60" fmla="*/ 2147483647 w 244"/>
                <a:gd name="T61" fmla="*/ 2147483647 h 202"/>
                <a:gd name="T62" fmla="*/ 2147483647 w 244"/>
                <a:gd name="T63" fmla="*/ 2147483647 h 202"/>
                <a:gd name="T64" fmla="*/ 2147483647 w 244"/>
                <a:gd name="T65" fmla="*/ 2147483647 h 202"/>
                <a:gd name="T66" fmla="*/ 2147483647 w 244"/>
                <a:gd name="T67" fmla="*/ 2147483647 h 202"/>
                <a:gd name="T68" fmla="*/ 2147483647 w 244"/>
                <a:gd name="T69" fmla="*/ 2147483647 h 202"/>
                <a:gd name="T70" fmla="*/ 2147483647 w 244"/>
                <a:gd name="T71" fmla="*/ 2147483647 h 202"/>
                <a:gd name="T72" fmla="*/ 2147483647 w 244"/>
                <a:gd name="T73" fmla="*/ 2147483647 h 202"/>
                <a:gd name="T74" fmla="*/ 2147483647 w 244"/>
                <a:gd name="T75" fmla="*/ 2147483647 h 202"/>
                <a:gd name="T76" fmla="*/ 2147483647 w 244"/>
                <a:gd name="T77" fmla="*/ 2147483647 h 202"/>
                <a:gd name="T78" fmla="*/ 2147483647 w 244"/>
                <a:gd name="T79" fmla="*/ 2147483647 h 202"/>
                <a:gd name="T80" fmla="*/ 2147483647 w 244"/>
                <a:gd name="T81" fmla="*/ 2147483647 h 202"/>
                <a:gd name="T82" fmla="*/ 2147483647 w 244"/>
                <a:gd name="T83" fmla="*/ 2147483647 h 202"/>
                <a:gd name="T84" fmla="*/ 2147483647 w 244"/>
                <a:gd name="T85" fmla="*/ 2147483647 h 202"/>
                <a:gd name="T86" fmla="*/ 2147483647 w 244"/>
                <a:gd name="T87" fmla="*/ 2147483647 h 202"/>
                <a:gd name="T88" fmla="*/ 2147483647 w 244"/>
                <a:gd name="T89" fmla="*/ 2147483647 h 202"/>
                <a:gd name="T90" fmla="*/ 2147483647 w 244"/>
                <a:gd name="T91" fmla="*/ 2147483647 h 202"/>
                <a:gd name="T92" fmla="*/ 2147483647 w 244"/>
                <a:gd name="T93" fmla="*/ 2147483647 h 202"/>
                <a:gd name="T94" fmla="*/ 2147483647 w 244"/>
                <a:gd name="T95" fmla="*/ 2147483647 h 202"/>
                <a:gd name="T96" fmla="*/ 2147483647 w 244"/>
                <a:gd name="T97" fmla="*/ 2147483647 h 202"/>
                <a:gd name="T98" fmla="*/ 2147483647 w 244"/>
                <a:gd name="T99" fmla="*/ 2147483647 h 202"/>
                <a:gd name="T100" fmla="*/ 2147483647 w 244"/>
                <a:gd name="T101" fmla="*/ 2147483647 h 202"/>
                <a:gd name="T102" fmla="*/ 2147483647 w 244"/>
                <a:gd name="T103" fmla="*/ 2147483647 h 202"/>
                <a:gd name="T104" fmla="*/ 2147483647 w 244"/>
                <a:gd name="T105" fmla="*/ 2147483647 h 202"/>
                <a:gd name="T106" fmla="*/ 2147483647 w 244"/>
                <a:gd name="T107" fmla="*/ 2147483647 h 202"/>
                <a:gd name="T108" fmla="*/ 0 w 244"/>
                <a:gd name="T109" fmla="*/ 2147483647 h 202"/>
                <a:gd name="T110" fmla="*/ 2147483647 w 244"/>
                <a:gd name="T111" fmla="*/ 2147483647 h 202"/>
                <a:gd name="T112" fmla="*/ 0 w 244"/>
                <a:gd name="T113" fmla="*/ 2147483647 h 202"/>
                <a:gd name="T114" fmla="*/ 2147483647 w 244"/>
                <a:gd name="T115" fmla="*/ 2147483647 h 202"/>
                <a:gd name="T116" fmla="*/ 2147483647 w 244"/>
                <a:gd name="T117" fmla="*/ 2147483647 h 2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4"/>
                <a:gd name="T178" fmla="*/ 0 h 202"/>
                <a:gd name="T179" fmla="*/ 244 w 244"/>
                <a:gd name="T180" fmla="*/ 202 h 2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4" h="202">
                  <a:moveTo>
                    <a:pt x="17" y="63"/>
                  </a:moveTo>
                  <a:lnTo>
                    <a:pt x="30" y="66"/>
                  </a:lnTo>
                  <a:lnTo>
                    <a:pt x="36" y="67"/>
                  </a:lnTo>
                  <a:lnTo>
                    <a:pt x="44" y="67"/>
                  </a:lnTo>
                  <a:lnTo>
                    <a:pt x="45" y="67"/>
                  </a:lnTo>
                  <a:lnTo>
                    <a:pt x="46" y="66"/>
                  </a:lnTo>
                  <a:lnTo>
                    <a:pt x="49" y="62"/>
                  </a:lnTo>
                  <a:lnTo>
                    <a:pt x="50" y="58"/>
                  </a:lnTo>
                  <a:lnTo>
                    <a:pt x="52" y="55"/>
                  </a:lnTo>
                  <a:lnTo>
                    <a:pt x="55" y="54"/>
                  </a:lnTo>
                  <a:lnTo>
                    <a:pt x="56" y="54"/>
                  </a:lnTo>
                  <a:lnTo>
                    <a:pt x="59" y="54"/>
                  </a:lnTo>
                  <a:lnTo>
                    <a:pt x="61" y="54"/>
                  </a:lnTo>
                  <a:lnTo>
                    <a:pt x="64" y="49"/>
                  </a:lnTo>
                  <a:lnTo>
                    <a:pt x="66" y="45"/>
                  </a:lnTo>
                  <a:lnTo>
                    <a:pt x="70" y="36"/>
                  </a:lnTo>
                  <a:lnTo>
                    <a:pt x="72" y="34"/>
                  </a:lnTo>
                  <a:lnTo>
                    <a:pt x="75" y="32"/>
                  </a:lnTo>
                  <a:lnTo>
                    <a:pt x="80" y="31"/>
                  </a:lnTo>
                  <a:lnTo>
                    <a:pt x="84" y="30"/>
                  </a:lnTo>
                  <a:lnTo>
                    <a:pt x="88" y="28"/>
                  </a:lnTo>
                  <a:lnTo>
                    <a:pt x="92" y="25"/>
                  </a:lnTo>
                  <a:lnTo>
                    <a:pt x="94" y="24"/>
                  </a:lnTo>
                  <a:lnTo>
                    <a:pt x="97" y="25"/>
                  </a:lnTo>
                  <a:lnTo>
                    <a:pt x="98" y="26"/>
                  </a:lnTo>
                  <a:lnTo>
                    <a:pt x="101" y="28"/>
                  </a:lnTo>
                  <a:lnTo>
                    <a:pt x="107" y="28"/>
                  </a:lnTo>
                  <a:lnTo>
                    <a:pt x="112" y="28"/>
                  </a:lnTo>
                  <a:lnTo>
                    <a:pt x="117" y="30"/>
                  </a:lnTo>
                  <a:lnTo>
                    <a:pt x="122" y="34"/>
                  </a:lnTo>
                  <a:lnTo>
                    <a:pt x="125" y="35"/>
                  </a:lnTo>
                  <a:lnTo>
                    <a:pt x="126" y="35"/>
                  </a:lnTo>
                  <a:lnTo>
                    <a:pt x="130" y="32"/>
                  </a:lnTo>
                  <a:lnTo>
                    <a:pt x="134" y="32"/>
                  </a:lnTo>
                  <a:lnTo>
                    <a:pt x="140" y="32"/>
                  </a:lnTo>
                  <a:lnTo>
                    <a:pt x="148" y="31"/>
                  </a:lnTo>
                  <a:lnTo>
                    <a:pt x="153" y="31"/>
                  </a:lnTo>
                  <a:lnTo>
                    <a:pt x="158" y="30"/>
                  </a:lnTo>
                  <a:lnTo>
                    <a:pt x="163" y="28"/>
                  </a:lnTo>
                  <a:lnTo>
                    <a:pt x="168" y="24"/>
                  </a:lnTo>
                  <a:lnTo>
                    <a:pt x="174" y="17"/>
                  </a:lnTo>
                  <a:lnTo>
                    <a:pt x="179" y="7"/>
                  </a:lnTo>
                  <a:lnTo>
                    <a:pt x="187" y="3"/>
                  </a:lnTo>
                  <a:lnTo>
                    <a:pt x="191" y="0"/>
                  </a:lnTo>
                  <a:lnTo>
                    <a:pt x="192" y="0"/>
                  </a:lnTo>
                  <a:lnTo>
                    <a:pt x="193" y="2"/>
                  </a:lnTo>
                  <a:lnTo>
                    <a:pt x="193" y="5"/>
                  </a:lnTo>
                  <a:lnTo>
                    <a:pt x="191" y="9"/>
                  </a:lnTo>
                  <a:lnTo>
                    <a:pt x="190" y="12"/>
                  </a:lnTo>
                  <a:lnTo>
                    <a:pt x="190" y="13"/>
                  </a:lnTo>
                  <a:lnTo>
                    <a:pt x="191" y="15"/>
                  </a:lnTo>
                  <a:lnTo>
                    <a:pt x="195" y="16"/>
                  </a:lnTo>
                  <a:lnTo>
                    <a:pt x="197" y="17"/>
                  </a:lnTo>
                  <a:lnTo>
                    <a:pt x="199" y="19"/>
                  </a:lnTo>
                  <a:lnTo>
                    <a:pt x="199" y="23"/>
                  </a:lnTo>
                  <a:lnTo>
                    <a:pt x="200" y="29"/>
                  </a:lnTo>
                  <a:lnTo>
                    <a:pt x="200" y="34"/>
                  </a:lnTo>
                  <a:lnTo>
                    <a:pt x="200" y="36"/>
                  </a:lnTo>
                  <a:lnTo>
                    <a:pt x="202" y="36"/>
                  </a:lnTo>
                  <a:lnTo>
                    <a:pt x="206" y="35"/>
                  </a:lnTo>
                  <a:lnTo>
                    <a:pt x="211" y="32"/>
                  </a:lnTo>
                  <a:lnTo>
                    <a:pt x="214" y="32"/>
                  </a:lnTo>
                  <a:lnTo>
                    <a:pt x="216" y="32"/>
                  </a:lnTo>
                  <a:lnTo>
                    <a:pt x="230" y="29"/>
                  </a:lnTo>
                  <a:lnTo>
                    <a:pt x="238" y="28"/>
                  </a:lnTo>
                  <a:lnTo>
                    <a:pt x="244" y="28"/>
                  </a:lnTo>
                  <a:lnTo>
                    <a:pt x="244" y="29"/>
                  </a:lnTo>
                  <a:lnTo>
                    <a:pt x="243" y="29"/>
                  </a:lnTo>
                  <a:lnTo>
                    <a:pt x="244" y="29"/>
                  </a:lnTo>
                  <a:lnTo>
                    <a:pt x="244" y="36"/>
                  </a:lnTo>
                  <a:lnTo>
                    <a:pt x="243" y="38"/>
                  </a:lnTo>
                  <a:lnTo>
                    <a:pt x="242" y="41"/>
                  </a:lnTo>
                  <a:lnTo>
                    <a:pt x="239" y="42"/>
                  </a:lnTo>
                  <a:lnTo>
                    <a:pt x="235" y="42"/>
                  </a:lnTo>
                  <a:lnTo>
                    <a:pt x="230" y="41"/>
                  </a:lnTo>
                  <a:lnTo>
                    <a:pt x="224" y="41"/>
                  </a:lnTo>
                  <a:lnTo>
                    <a:pt x="219" y="42"/>
                  </a:lnTo>
                  <a:lnTo>
                    <a:pt x="214" y="43"/>
                  </a:lnTo>
                  <a:lnTo>
                    <a:pt x="193" y="50"/>
                  </a:lnTo>
                  <a:lnTo>
                    <a:pt x="191" y="51"/>
                  </a:lnTo>
                  <a:lnTo>
                    <a:pt x="190" y="54"/>
                  </a:lnTo>
                  <a:lnTo>
                    <a:pt x="188" y="56"/>
                  </a:lnTo>
                  <a:lnTo>
                    <a:pt x="188" y="58"/>
                  </a:lnTo>
                  <a:lnTo>
                    <a:pt x="191" y="61"/>
                  </a:lnTo>
                  <a:lnTo>
                    <a:pt x="192" y="63"/>
                  </a:lnTo>
                  <a:lnTo>
                    <a:pt x="195" y="66"/>
                  </a:lnTo>
                  <a:lnTo>
                    <a:pt x="196" y="68"/>
                  </a:lnTo>
                  <a:lnTo>
                    <a:pt x="196" y="71"/>
                  </a:lnTo>
                  <a:lnTo>
                    <a:pt x="196" y="74"/>
                  </a:lnTo>
                  <a:lnTo>
                    <a:pt x="192" y="79"/>
                  </a:lnTo>
                  <a:lnTo>
                    <a:pt x="187" y="82"/>
                  </a:lnTo>
                  <a:lnTo>
                    <a:pt x="182" y="86"/>
                  </a:lnTo>
                  <a:lnTo>
                    <a:pt x="181" y="86"/>
                  </a:lnTo>
                  <a:lnTo>
                    <a:pt x="181" y="88"/>
                  </a:lnTo>
                  <a:lnTo>
                    <a:pt x="182" y="90"/>
                  </a:lnTo>
                  <a:lnTo>
                    <a:pt x="185" y="94"/>
                  </a:lnTo>
                  <a:lnTo>
                    <a:pt x="185" y="95"/>
                  </a:lnTo>
                  <a:lnTo>
                    <a:pt x="183" y="96"/>
                  </a:lnTo>
                  <a:lnTo>
                    <a:pt x="179" y="99"/>
                  </a:lnTo>
                  <a:lnTo>
                    <a:pt x="176" y="99"/>
                  </a:lnTo>
                  <a:lnTo>
                    <a:pt x="172" y="99"/>
                  </a:lnTo>
                  <a:lnTo>
                    <a:pt x="168" y="98"/>
                  </a:lnTo>
                  <a:lnTo>
                    <a:pt x="166" y="98"/>
                  </a:lnTo>
                  <a:lnTo>
                    <a:pt x="164" y="98"/>
                  </a:lnTo>
                  <a:lnTo>
                    <a:pt x="166" y="107"/>
                  </a:lnTo>
                  <a:lnTo>
                    <a:pt x="167" y="112"/>
                  </a:lnTo>
                  <a:lnTo>
                    <a:pt x="167" y="117"/>
                  </a:lnTo>
                  <a:lnTo>
                    <a:pt x="164" y="119"/>
                  </a:lnTo>
                  <a:lnTo>
                    <a:pt x="162" y="120"/>
                  </a:lnTo>
                  <a:lnTo>
                    <a:pt x="159" y="121"/>
                  </a:lnTo>
                  <a:lnTo>
                    <a:pt x="158" y="122"/>
                  </a:lnTo>
                  <a:lnTo>
                    <a:pt x="157" y="126"/>
                  </a:lnTo>
                  <a:lnTo>
                    <a:pt x="152" y="137"/>
                  </a:lnTo>
                  <a:lnTo>
                    <a:pt x="148" y="143"/>
                  </a:lnTo>
                  <a:lnTo>
                    <a:pt x="145" y="145"/>
                  </a:lnTo>
                  <a:lnTo>
                    <a:pt x="141" y="146"/>
                  </a:lnTo>
                  <a:lnTo>
                    <a:pt x="131" y="150"/>
                  </a:lnTo>
                  <a:lnTo>
                    <a:pt x="130" y="151"/>
                  </a:lnTo>
                  <a:lnTo>
                    <a:pt x="127" y="153"/>
                  </a:lnTo>
                  <a:lnTo>
                    <a:pt x="126" y="154"/>
                  </a:lnTo>
                  <a:lnTo>
                    <a:pt x="125" y="157"/>
                  </a:lnTo>
                  <a:lnTo>
                    <a:pt x="115" y="162"/>
                  </a:lnTo>
                  <a:lnTo>
                    <a:pt x="108" y="164"/>
                  </a:lnTo>
                  <a:lnTo>
                    <a:pt x="103" y="169"/>
                  </a:lnTo>
                  <a:lnTo>
                    <a:pt x="98" y="173"/>
                  </a:lnTo>
                  <a:lnTo>
                    <a:pt x="96" y="179"/>
                  </a:lnTo>
                  <a:lnTo>
                    <a:pt x="96" y="185"/>
                  </a:lnTo>
                  <a:lnTo>
                    <a:pt x="96" y="190"/>
                  </a:lnTo>
                  <a:lnTo>
                    <a:pt x="98" y="194"/>
                  </a:lnTo>
                  <a:lnTo>
                    <a:pt x="92" y="194"/>
                  </a:lnTo>
                  <a:lnTo>
                    <a:pt x="86" y="195"/>
                  </a:lnTo>
                  <a:lnTo>
                    <a:pt x="79" y="196"/>
                  </a:lnTo>
                  <a:lnTo>
                    <a:pt x="73" y="201"/>
                  </a:lnTo>
                  <a:lnTo>
                    <a:pt x="72" y="202"/>
                  </a:lnTo>
                  <a:lnTo>
                    <a:pt x="69" y="202"/>
                  </a:lnTo>
                  <a:lnTo>
                    <a:pt x="64" y="202"/>
                  </a:lnTo>
                  <a:lnTo>
                    <a:pt x="54" y="198"/>
                  </a:lnTo>
                  <a:lnTo>
                    <a:pt x="50" y="198"/>
                  </a:lnTo>
                  <a:lnTo>
                    <a:pt x="46" y="198"/>
                  </a:lnTo>
                  <a:lnTo>
                    <a:pt x="36" y="198"/>
                  </a:lnTo>
                  <a:lnTo>
                    <a:pt x="31" y="198"/>
                  </a:lnTo>
                  <a:lnTo>
                    <a:pt x="26" y="197"/>
                  </a:lnTo>
                  <a:lnTo>
                    <a:pt x="21" y="196"/>
                  </a:lnTo>
                  <a:lnTo>
                    <a:pt x="14" y="192"/>
                  </a:lnTo>
                  <a:lnTo>
                    <a:pt x="16" y="189"/>
                  </a:lnTo>
                  <a:lnTo>
                    <a:pt x="21" y="182"/>
                  </a:lnTo>
                  <a:lnTo>
                    <a:pt x="27" y="175"/>
                  </a:lnTo>
                  <a:lnTo>
                    <a:pt x="32" y="169"/>
                  </a:lnTo>
                  <a:lnTo>
                    <a:pt x="35" y="165"/>
                  </a:lnTo>
                  <a:lnTo>
                    <a:pt x="36" y="160"/>
                  </a:lnTo>
                  <a:lnTo>
                    <a:pt x="35" y="158"/>
                  </a:lnTo>
                  <a:lnTo>
                    <a:pt x="33" y="157"/>
                  </a:lnTo>
                  <a:lnTo>
                    <a:pt x="30" y="154"/>
                  </a:lnTo>
                  <a:lnTo>
                    <a:pt x="23" y="152"/>
                  </a:lnTo>
                  <a:lnTo>
                    <a:pt x="17" y="149"/>
                  </a:lnTo>
                  <a:lnTo>
                    <a:pt x="13" y="147"/>
                  </a:lnTo>
                  <a:lnTo>
                    <a:pt x="11" y="146"/>
                  </a:lnTo>
                  <a:lnTo>
                    <a:pt x="9" y="145"/>
                  </a:lnTo>
                  <a:lnTo>
                    <a:pt x="9" y="141"/>
                  </a:lnTo>
                  <a:lnTo>
                    <a:pt x="9" y="138"/>
                  </a:lnTo>
                  <a:lnTo>
                    <a:pt x="8" y="134"/>
                  </a:lnTo>
                  <a:lnTo>
                    <a:pt x="8" y="131"/>
                  </a:lnTo>
                  <a:lnTo>
                    <a:pt x="2" y="118"/>
                  </a:lnTo>
                  <a:lnTo>
                    <a:pt x="0" y="114"/>
                  </a:lnTo>
                  <a:lnTo>
                    <a:pt x="0" y="111"/>
                  </a:lnTo>
                  <a:lnTo>
                    <a:pt x="2" y="107"/>
                  </a:lnTo>
                  <a:lnTo>
                    <a:pt x="4" y="105"/>
                  </a:lnTo>
                  <a:lnTo>
                    <a:pt x="4" y="102"/>
                  </a:lnTo>
                  <a:lnTo>
                    <a:pt x="3" y="100"/>
                  </a:lnTo>
                  <a:lnTo>
                    <a:pt x="2" y="98"/>
                  </a:lnTo>
                  <a:lnTo>
                    <a:pt x="0" y="95"/>
                  </a:lnTo>
                  <a:lnTo>
                    <a:pt x="2" y="93"/>
                  </a:lnTo>
                  <a:lnTo>
                    <a:pt x="2" y="92"/>
                  </a:lnTo>
                  <a:lnTo>
                    <a:pt x="6" y="88"/>
                  </a:lnTo>
                  <a:lnTo>
                    <a:pt x="9" y="85"/>
                  </a:lnTo>
                  <a:lnTo>
                    <a:pt x="13" y="79"/>
                  </a:lnTo>
                  <a:lnTo>
                    <a:pt x="16" y="70"/>
                  </a:lnTo>
                  <a:lnTo>
                    <a:pt x="17" y="6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39" name="Freeform 638"/>
            <p:cNvSpPr>
              <a:spLocks/>
            </p:cNvSpPr>
            <p:nvPr/>
          </p:nvSpPr>
          <p:spPr bwMode="auto">
            <a:xfrm>
              <a:off x="5895975" y="3213101"/>
              <a:ext cx="419100" cy="461963"/>
            </a:xfrm>
            <a:custGeom>
              <a:avLst/>
              <a:gdLst>
                <a:gd name="T0" fmla="*/ 2147483647 w 285"/>
                <a:gd name="T1" fmla="*/ 0 h 291"/>
                <a:gd name="T2" fmla="*/ 2147483647 w 285"/>
                <a:gd name="T3" fmla="*/ 2147483647 h 291"/>
                <a:gd name="T4" fmla="*/ 2147483647 w 285"/>
                <a:gd name="T5" fmla="*/ 2147483647 h 291"/>
                <a:gd name="T6" fmla="*/ 2147483647 w 285"/>
                <a:gd name="T7" fmla="*/ 2147483647 h 291"/>
                <a:gd name="T8" fmla="*/ 2147483647 w 285"/>
                <a:gd name="T9" fmla="*/ 2147483647 h 291"/>
                <a:gd name="T10" fmla="*/ 2147483647 w 285"/>
                <a:gd name="T11" fmla="*/ 2147483647 h 291"/>
                <a:gd name="T12" fmla="*/ 2147483647 w 285"/>
                <a:gd name="T13" fmla="*/ 2147483647 h 291"/>
                <a:gd name="T14" fmla="*/ 2147483647 w 285"/>
                <a:gd name="T15" fmla="*/ 2147483647 h 291"/>
                <a:gd name="T16" fmla="*/ 2147483647 w 285"/>
                <a:gd name="T17" fmla="*/ 2147483647 h 291"/>
                <a:gd name="T18" fmla="*/ 2147483647 w 285"/>
                <a:gd name="T19" fmla="*/ 2147483647 h 291"/>
                <a:gd name="T20" fmla="*/ 2147483647 w 285"/>
                <a:gd name="T21" fmla="*/ 2147483647 h 291"/>
                <a:gd name="T22" fmla="*/ 2147483647 w 285"/>
                <a:gd name="T23" fmla="*/ 2147483647 h 291"/>
                <a:gd name="T24" fmla="*/ 2147483647 w 285"/>
                <a:gd name="T25" fmla="*/ 2147483647 h 291"/>
                <a:gd name="T26" fmla="*/ 2147483647 w 285"/>
                <a:gd name="T27" fmla="*/ 2147483647 h 291"/>
                <a:gd name="T28" fmla="*/ 2147483647 w 285"/>
                <a:gd name="T29" fmla="*/ 2147483647 h 291"/>
                <a:gd name="T30" fmla="*/ 2147483647 w 285"/>
                <a:gd name="T31" fmla="*/ 2147483647 h 291"/>
                <a:gd name="T32" fmla="*/ 2147483647 w 285"/>
                <a:gd name="T33" fmla="*/ 2147483647 h 291"/>
                <a:gd name="T34" fmla="*/ 2147483647 w 285"/>
                <a:gd name="T35" fmla="*/ 2147483647 h 291"/>
                <a:gd name="T36" fmla="*/ 2147483647 w 285"/>
                <a:gd name="T37" fmla="*/ 2147483647 h 291"/>
                <a:gd name="T38" fmla="*/ 2147483647 w 285"/>
                <a:gd name="T39" fmla="*/ 2147483647 h 291"/>
                <a:gd name="T40" fmla="*/ 2147483647 w 285"/>
                <a:gd name="T41" fmla="*/ 2147483647 h 291"/>
                <a:gd name="T42" fmla="*/ 2147483647 w 285"/>
                <a:gd name="T43" fmla="*/ 2147483647 h 291"/>
                <a:gd name="T44" fmla="*/ 2147483647 w 285"/>
                <a:gd name="T45" fmla="*/ 2147483647 h 291"/>
                <a:gd name="T46" fmla="*/ 2147483647 w 285"/>
                <a:gd name="T47" fmla="*/ 2147483647 h 291"/>
                <a:gd name="T48" fmla="*/ 2147483647 w 285"/>
                <a:gd name="T49" fmla="*/ 2147483647 h 291"/>
                <a:gd name="T50" fmla="*/ 2147483647 w 285"/>
                <a:gd name="T51" fmla="*/ 2147483647 h 291"/>
                <a:gd name="T52" fmla="*/ 2147483647 w 285"/>
                <a:gd name="T53" fmla="*/ 2147483647 h 291"/>
                <a:gd name="T54" fmla="*/ 2147483647 w 285"/>
                <a:gd name="T55" fmla="*/ 2147483647 h 291"/>
                <a:gd name="T56" fmla="*/ 2147483647 w 285"/>
                <a:gd name="T57" fmla="*/ 2147483647 h 291"/>
                <a:gd name="T58" fmla="*/ 2147483647 w 285"/>
                <a:gd name="T59" fmla="*/ 2147483647 h 291"/>
                <a:gd name="T60" fmla="*/ 2147483647 w 285"/>
                <a:gd name="T61" fmla="*/ 2147483647 h 291"/>
                <a:gd name="T62" fmla="*/ 2147483647 w 285"/>
                <a:gd name="T63" fmla="*/ 2147483647 h 291"/>
                <a:gd name="T64" fmla="*/ 2147483647 w 285"/>
                <a:gd name="T65" fmla="*/ 2147483647 h 291"/>
                <a:gd name="T66" fmla="*/ 2147483647 w 285"/>
                <a:gd name="T67" fmla="*/ 2147483647 h 291"/>
                <a:gd name="T68" fmla="*/ 0 w 285"/>
                <a:gd name="T69" fmla="*/ 2147483647 h 291"/>
                <a:gd name="T70" fmla="*/ 2147483647 w 285"/>
                <a:gd name="T71" fmla="*/ 2147483647 h 291"/>
                <a:gd name="T72" fmla="*/ 2147483647 w 285"/>
                <a:gd name="T73" fmla="*/ 2147483647 h 291"/>
                <a:gd name="T74" fmla="*/ 2147483647 w 285"/>
                <a:gd name="T75" fmla="*/ 2147483647 h 291"/>
                <a:gd name="T76" fmla="*/ 2147483647 w 285"/>
                <a:gd name="T77" fmla="*/ 2147483647 h 291"/>
                <a:gd name="T78" fmla="*/ 2147483647 w 285"/>
                <a:gd name="T79" fmla="*/ 2147483647 h 291"/>
                <a:gd name="T80" fmla="*/ 2147483647 w 285"/>
                <a:gd name="T81" fmla="*/ 2147483647 h 291"/>
                <a:gd name="T82" fmla="*/ 2147483647 w 285"/>
                <a:gd name="T83" fmla="*/ 2147483647 h 291"/>
                <a:gd name="T84" fmla="*/ 2147483647 w 285"/>
                <a:gd name="T85" fmla="*/ 2147483647 h 291"/>
                <a:gd name="T86" fmla="*/ 2147483647 w 285"/>
                <a:gd name="T87" fmla="*/ 2147483647 h 291"/>
                <a:gd name="T88" fmla="*/ 2147483647 w 285"/>
                <a:gd name="T89" fmla="*/ 2147483647 h 291"/>
                <a:gd name="T90" fmla="*/ 2147483647 w 285"/>
                <a:gd name="T91" fmla="*/ 2147483647 h 291"/>
                <a:gd name="T92" fmla="*/ 2147483647 w 285"/>
                <a:gd name="T93" fmla="*/ 2147483647 h 291"/>
                <a:gd name="T94" fmla="*/ 2147483647 w 285"/>
                <a:gd name="T95" fmla="*/ 2147483647 h 291"/>
                <a:gd name="T96" fmla="*/ 2147483647 w 285"/>
                <a:gd name="T97" fmla="*/ 2147483647 h 291"/>
                <a:gd name="T98" fmla="*/ 2147483647 w 285"/>
                <a:gd name="T99" fmla="*/ 2147483647 h 291"/>
                <a:gd name="T100" fmla="*/ 2147483647 w 285"/>
                <a:gd name="T101" fmla="*/ 2147483647 h 291"/>
                <a:gd name="T102" fmla="*/ 2147483647 w 285"/>
                <a:gd name="T103" fmla="*/ 2147483647 h 291"/>
                <a:gd name="T104" fmla="*/ 2147483647 w 285"/>
                <a:gd name="T105" fmla="*/ 2147483647 h 29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91"/>
                <a:gd name="T161" fmla="*/ 285 w 285"/>
                <a:gd name="T162" fmla="*/ 291 h 29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91">
                  <a:moveTo>
                    <a:pt x="227" y="4"/>
                  </a:moveTo>
                  <a:lnTo>
                    <a:pt x="227" y="4"/>
                  </a:lnTo>
                  <a:lnTo>
                    <a:pt x="235" y="3"/>
                  </a:lnTo>
                  <a:lnTo>
                    <a:pt x="243" y="1"/>
                  </a:lnTo>
                  <a:lnTo>
                    <a:pt x="250" y="0"/>
                  </a:lnTo>
                  <a:lnTo>
                    <a:pt x="254" y="0"/>
                  </a:lnTo>
                  <a:lnTo>
                    <a:pt x="257" y="2"/>
                  </a:lnTo>
                  <a:lnTo>
                    <a:pt x="259" y="4"/>
                  </a:lnTo>
                  <a:lnTo>
                    <a:pt x="260" y="7"/>
                  </a:lnTo>
                  <a:lnTo>
                    <a:pt x="263" y="13"/>
                  </a:lnTo>
                  <a:lnTo>
                    <a:pt x="266" y="16"/>
                  </a:lnTo>
                  <a:lnTo>
                    <a:pt x="268" y="20"/>
                  </a:lnTo>
                  <a:lnTo>
                    <a:pt x="272" y="23"/>
                  </a:lnTo>
                  <a:lnTo>
                    <a:pt x="278" y="27"/>
                  </a:lnTo>
                  <a:lnTo>
                    <a:pt x="282" y="31"/>
                  </a:lnTo>
                  <a:lnTo>
                    <a:pt x="285" y="34"/>
                  </a:lnTo>
                  <a:lnTo>
                    <a:pt x="285" y="39"/>
                  </a:lnTo>
                  <a:lnTo>
                    <a:pt x="283" y="44"/>
                  </a:lnTo>
                  <a:lnTo>
                    <a:pt x="282" y="48"/>
                  </a:lnTo>
                  <a:lnTo>
                    <a:pt x="279" y="53"/>
                  </a:lnTo>
                  <a:lnTo>
                    <a:pt x="273" y="61"/>
                  </a:lnTo>
                  <a:lnTo>
                    <a:pt x="269" y="64"/>
                  </a:lnTo>
                  <a:lnTo>
                    <a:pt x="264" y="65"/>
                  </a:lnTo>
                  <a:lnTo>
                    <a:pt x="259" y="64"/>
                  </a:lnTo>
                  <a:lnTo>
                    <a:pt x="254" y="61"/>
                  </a:lnTo>
                  <a:lnTo>
                    <a:pt x="250" y="58"/>
                  </a:lnTo>
                  <a:lnTo>
                    <a:pt x="245" y="54"/>
                  </a:lnTo>
                  <a:lnTo>
                    <a:pt x="239" y="53"/>
                  </a:lnTo>
                  <a:lnTo>
                    <a:pt x="236" y="53"/>
                  </a:lnTo>
                  <a:lnTo>
                    <a:pt x="234" y="54"/>
                  </a:lnTo>
                  <a:lnTo>
                    <a:pt x="230" y="58"/>
                  </a:lnTo>
                  <a:lnTo>
                    <a:pt x="226" y="63"/>
                  </a:lnTo>
                  <a:lnTo>
                    <a:pt x="225" y="67"/>
                  </a:lnTo>
                  <a:lnTo>
                    <a:pt x="225" y="70"/>
                  </a:lnTo>
                  <a:lnTo>
                    <a:pt x="226" y="71"/>
                  </a:lnTo>
                  <a:lnTo>
                    <a:pt x="229" y="78"/>
                  </a:lnTo>
                  <a:lnTo>
                    <a:pt x="229" y="84"/>
                  </a:lnTo>
                  <a:lnTo>
                    <a:pt x="229" y="90"/>
                  </a:lnTo>
                  <a:lnTo>
                    <a:pt x="226" y="96"/>
                  </a:lnTo>
                  <a:lnTo>
                    <a:pt x="226" y="99"/>
                  </a:lnTo>
                  <a:lnTo>
                    <a:pt x="226" y="102"/>
                  </a:lnTo>
                  <a:lnTo>
                    <a:pt x="231" y="106"/>
                  </a:lnTo>
                  <a:lnTo>
                    <a:pt x="231" y="109"/>
                  </a:lnTo>
                  <a:lnTo>
                    <a:pt x="231" y="111"/>
                  </a:lnTo>
                  <a:lnTo>
                    <a:pt x="229" y="115"/>
                  </a:lnTo>
                  <a:lnTo>
                    <a:pt x="227" y="118"/>
                  </a:lnTo>
                  <a:lnTo>
                    <a:pt x="227" y="122"/>
                  </a:lnTo>
                  <a:lnTo>
                    <a:pt x="229" y="125"/>
                  </a:lnTo>
                  <a:lnTo>
                    <a:pt x="230" y="130"/>
                  </a:lnTo>
                  <a:lnTo>
                    <a:pt x="227" y="134"/>
                  </a:lnTo>
                  <a:lnTo>
                    <a:pt x="225" y="137"/>
                  </a:lnTo>
                  <a:lnTo>
                    <a:pt x="221" y="141"/>
                  </a:lnTo>
                  <a:lnTo>
                    <a:pt x="213" y="151"/>
                  </a:lnTo>
                  <a:lnTo>
                    <a:pt x="207" y="162"/>
                  </a:lnTo>
                  <a:lnTo>
                    <a:pt x="202" y="170"/>
                  </a:lnTo>
                  <a:lnTo>
                    <a:pt x="194" y="179"/>
                  </a:lnTo>
                  <a:lnTo>
                    <a:pt x="188" y="186"/>
                  </a:lnTo>
                  <a:lnTo>
                    <a:pt x="182" y="195"/>
                  </a:lnTo>
                  <a:lnTo>
                    <a:pt x="179" y="199"/>
                  </a:lnTo>
                  <a:lnTo>
                    <a:pt x="177" y="200"/>
                  </a:lnTo>
                  <a:lnTo>
                    <a:pt x="172" y="201"/>
                  </a:lnTo>
                  <a:lnTo>
                    <a:pt x="166" y="200"/>
                  </a:lnTo>
                  <a:lnTo>
                    <a:pt x="163" y="200"/>
                  </a:lnTo>
                  <a:lnTo>
                    <a:pt x="159" y="201"/>
                  </a:lnTo>
                  <a:lnTo>
                    <a:pt x="156" y="205"/>
                  </a:lnTo>
                  <a:lnTo>
                    <a:pt x="153" y="208"/>
                  </a:lnTo>
                  <a:lnTo>
                    <a:pt x="150" y="211"/>
                  </a:lnTo>
                  <a:lnTo>
                    <a:pt x="147" y="213"/>
                  </a:lnTo>
                  <a:lnTo>
                    <a:pt x="145" y="216"/>
                  </a:lnTo>
                  <a:lnTo>
                    <a:pt x="145" y="217"/>
                  </a:lnTo>
                  <a:lnTo>
                    <a:pt x="145" y="219"/>
                  </a:lnTo>
                  <a:lnTo>
                    <a:pt x="147" y="220"/>
                  </a:lnTo>
                  <a:lnTo>
                    <a:pt x="150" y="221"/>
                  </a:lnTo>
                  <a:lnTo>
                    <a:pt x="153" y="223"/>
                  </a:lnTo>
                  <a:lnTo>
                    <a:pt x="154" y="225"/>
                  </a:lnTo>
                  <a:lnTo>
                    <a:pt x="155" y="227"/>
                  </a:lnTo>
                  <a:lnTo>
                    <a:pt x="156" y="231"/>
                  </a:lnTo>
                  <a:lnTo>
                    <a:pt x="156" y="237"/>
                  </a:lnTo>
                  <a:lnTo>
                    <a:pt x="159" y="239"/>
                  </a:lnTo>
                  <a:lnTo>
                    <a:pt x="160" y="242"/>
                  </a:lnTo>
                  <a:lnTo>
                    <a:pt x="165" y="246"/>
                  </a:lnTo>
                  <a:lnTo>
                    <a:pt x="168" y="249"/>
                  </a:lnTo>
                  <a:lnTo>
                    <a:pt x="169" y="251"/>
                  </a:lnTo>
                  <a:lnTo>
                    <a:pt x="169" y="258"/>
                  </a:lnTo>
                  <a:lnTo>
                    <a:pt x="166" y="264"/>
                  </a:lnTo>
                  <a:lnTo>
                    <a:pt x="165" y="271"/>
                  </a:lnTo>
                  <a:lnTo>
                    <a:pt x="151" y="270"/>
                  </a:lnTo>
                  <a:lnTo>
                    <a:pt x="144" y="269"/>
                  </a:lnTo>
                  <a:lnTo>
                    <a:pt x="137" y="269"/>
                  </a:lnTo>
                  <a:lnTo>
                    <a:pt x="135" y="270"/>
                  </a:lnTo>
                  <a:lnTo>
                    <a:pt x="132" y="272"/>
                  </a:lnTo>
                  <a:lnTo>
                    <a:pt x="131" y="275"/>
                  </a:lnTo>
                  <a:lnTo>
                    <a:pt x="130" y="278"/>
                  </a:lnTo>
                  <a:lnTo>
                    <a:pt x="127" y="283"/>
                  </a:lnTo>
                  <a:lnTo>
                    <a:pt x="122" y="287"/>
                  </a:lnTo>
                  <a:lnTo>
                    <a:pt x="117" y="289"/>
                  </a:lnTo>
                  <a:lnTo>
                    <a:pt x="112" y="291"/>
                  </a:lnTo>
                  <a:lnTo>
                    <a:pt x="111" y="287"/>
                  </a:lnTo>
                  <a:lnTo>
                    <a:pt x="111" y="282"/>
                  </a:lnTo>
                  <a:lnTo>
                    <a:pt x="109" y="272"/>
                  </a:lnTo>
                  <a:lnTo>
                    <a:pt x="109" y="271"/>
                  </a:lnTo>
                  <a:lnTo>
                    <a:pt x="106" y="270"/>
                  </a:lnTo>
                  <a:lnTo>
                    <a:pt x="99" y="269"/>
                  </a:lnTo>
                  <a:lnTo>
                    <a:pt x="98" y="266"/>
                  </a:lnTo>
                  <a:lnTo>
                    <a:pt x="98" y="264"/>
                  </a:lnTo>
                  <a:lnTo>
                    <a:pt x="99" y="259"/>
                  </a:lnTo>
                  <a:lnTo>
                    <a:pt x="99" y="257"/>
                  </a:lnTo>
                  <a:lnTo>
                    <a:pt x="97" y="255"/>
                  </a:lnTo>
                  <a:lnTo>
                    <a:pt x="94" y="253"/>
                  </a:lnTo>
                  <a:lnTo>
                    <a:pt x="89" y="253"/>
                  </a:lnTo>
                  <a:lnTo>
                    <a:pt x="76" y="257"/>
                  </a:lnTo>
                  <a:lnTo>
                    <a:pt x="65" y="259"/>
                  </a:lnTo>
                  <a:lnTo>
                    <a:pt x="57" y="258"/>
                  </a:lnTo>
                  <a:lnTo>
                    <a:pt x="51" y="258"/>
                  </a:lnTo>
                  <a:lnTo>
                    <a:pt x="45" y="256"/>
                  </a:lnTo>
                  <a:lnTo>
                    <a:pt x="37" y="256"/>
                  </a:lnTo>
                  <a:lnTo>
                    <a:pt x="27" y="256"/>
                  </a:lnTo>
                  <a:lnTo>
                    <a:pt x="17" y="257"/>
                  </a:lnTo>
                  <a:lnTo>
                    <a:pt x="10" y="253"/>
                  </a:lnTo>
                  <a:lnTo>
                    <a:pt x="6" y="252"/>
                  </a:lnTo>
                  <a:lnTo>
                    <a:pt x="3" y="251"/>
                  </a:lnTo>
                  <a:lnTo>
                    <a:pt x="9" y="236"/>
                  </a:lnTo>
                  <a:lnTo>
                    <a:pt x="13" y="227"/>
                  </a:lnTo>
                  <a:lnTo>
                    <a:pt x="18" y="221"/>
                  </a:lnTo>
                  <a:lnTo>
                    <a:pt x="22" y="220"/>
                  </a:lnTo>
                  <a:lnTo>
                    <a:pt x="27" y="219"/>
                  </a:lnTo>
                  <a:lnTo>
                    <a:pt x="31" y="217"/>
                  </a:lnTo>
                  <a:lnTo>
                    <a:pt x="32" y="216"/>
                  </a:lnTo>
                  <a:lnTo>
                    <a:pt x="32" y="213"/>
                  </a:lnTo>
                  <a:lnTo>
                    <a:pt x="29" y="210"/>
                  </a:lnTo>
                  <a:lnTo>
                    <a:pt x="28" y="207"/>
                  </a:lnTo>
                  <a:lnTo>
                    <a:pt x="26" y="204"/>
                  </a:lnTo>
                  <a:lnTo>
                    <a:pt x="24" y="200"/>
                  </a:lnTo>
                  <a:lnTo>
                    <a:pt x="23" y="193"/>
                  </a:lnTo>
                  <a:lnTo>
                    <a:pt x="22" y="189"/>
                  </a:lnTo>
                  <a:lnTo>
                    <a:pt x="19" y="186"/>
                  </a:lnTo>
                  <a:lnTo>
                    <a:pt x="6" y="172"/>
                  </a:lnTo>
                  <a:lnTo>
                    <a:pt x="1" y="165"/>
                  </a:lnTo>
                  <a:lnTo>
                    <a:pt x="0" y="160"/>
                  </a:lnTo>
                  <a:lnTo>
                    <a:pt x="0" y="156"/>
                  </a:lnTo>
                  <a:lnTo>
                    <a:pt x="6" y="160"/>
                  </a:lnTo>
                  <a:lnTo>
                    <a:pt x="12" y="161"/>
                  </a:lnTo>
                  <a:lnTo>
                    <a:pt x="17" y="162"/>
                  </a:lnTo>
                  <a:lnTo>
                    <a:pt x="22" y="162"/>
                  </a:lnTo>
                  <a:lnTo>
                    <a:pt x="32" y="162"/>
                  </a:lnTo>
                  <a:lnTo>
                    <a:pt x="36" y="162"/>
                  </a:lnTo>
                  <a:lnTo>
                    <a:pt x="39" y="162"/>
                  </a:lnTo>
                  <a:lnTo>
                    <a:pt x="50" y="166"/>
                  </a:lnTo>
                  <a:lnTo>
                    <a:pt x="55" y="166"/>
                  </a:lnTo>
                  <a:lnTo>
                    <a:pt x="57" y="166"/>
                  </a:lnTo>
                  <a:lnTo>
                    <a:pt x="59" y="165"/>
                  </a:lnTo>
                  <a:lnTo>
                    <a:pt x="65" y="160"/>
                  </a:lnTo>
                  <a:lnTo>
                    <a:pt x="71" y="159"/>
                  </a:lnTo>
                  <a:lnTo>
                    <a:pt x="78" y="157"/>
                  </a:lnTo>
                  <a:lnTo>
                    <a:pt x="84" y="157"/>
                  </a:lnTo>
                  <a:lnTo>
                    <a:pt x="81" y="154"/>
                  </a:lnTo>
                  <a:lnTo>
                    <a:pt x="81" y="149"/>
                  </a:lnTo>
                  <a:lnTo>
                    <a:pt x="81" y="143"/>
                  </a:lnTo>
                  <a:lnTo>
                    <a:pt x="84" y="137"/>
                  </a:lnTo>
                  <a:lnTo>
                    <a:pt x="89" y="133"/>
                  </a:lnTo>
                  <a:lnTo>
                    <a:pt x="94" y="128"/>
                  </a:lnTo>
                  <a:lnTo>
                    <a:pt x="100" y="125"/>
                  </a:lnTo>
                  <a:lnTo>
                    <a:pt x="111" y="121"/>
                  </a:lnTo>
                  <a:lnTo>
                    <a:pt x="112" y="118"/>
                  </a:lnTo>
                  <a:lnTo>
                    <a:pt x="113" y="117"/>
                  </a:lnTo>
                  <a:lnTo>
                    <a:pt x="116" y="115"/>
                  </a:lnTo>
                  <a:lnTo>
                    <a:pt x="117" y="114"/>
                  </a:lnTo>
                  <a:lnTo>
                    <a:pt x="127" y="110"/>
                  </a:lnTo>
                  <a:lnTo>
                    <a:pt x="131" y="109"/>
                  </a:lnTo>
                  <a:lnTo>
                    <a:pt x="133" y="106"/>
                  </a:lnTo>
                  <a:lnTo>
                    <a:pt x="137" y="101"/>
                  </a:lnTo>
                  <a:lnTo>
                    <a:pt x="142" y="90"/>
                  </a:lnTo>
                  <a:lnTo>
                    <a:pt x="144" y="86"/>
                  </a:lnTo>
                  <a:lnTo>
                    <a:pt x="145" y="85"/>
                  </a:lnTo>
                  <a:lnTo>
                    <a:pt x="147" y="84"/>
                  </a:lnTo>
                  <a:lnTo>
                    <a:pt x="150" y="83"/>
                  </a:lnTo>
                  <a:lnTo>
                    <a:pt x="153" y="80"/>
                  </a:lnTo>
                  <a:lnTo>
                    <a:pt x="153" y="76"/>
                  </a:lnTo>
                  <a:lnTo>
                    <a:pt x="151" y="71"/>
                  </a:lnTo>
                  <a:lnTo>
                    <a:pt x="150" y="61"/>
                  </a:lnTo>
                  <a:lnTo>
                    <a:pt x="151" y="61"/>
                  </a:lnTo>
                  <a:lnTo>
                    <a:pt x="154" y="61"/>
                  </a:lnTo>
                  <a:lnTo>
                    <a:pt x="158" y="63"/>
                  </a:lnTo>
                  <a:lnTo>
                    <a:pt x="161" y="63"/>
                  </a:lnTo>
                  <a:lnTo>
                    <a:pt x="165" y="63"/>
                  </a:lnTo>
                  <a:lnTo>
                    <a:pt x="169" y="60"/>
                  </a:lnTo>
                  <a:lnTo>
                    <a:pt x="170" y="59"/>
                  </a:lnTo>
                  <a:lnTo>
                    <a:pt x="170" y="58"/>
                  </a:lnTo>
                  <a:lnTo>
                    <a:pt x="168" y="54"/>
                  </a:lnTo>
                  <a:lnTo>
                    <a:pt x="166" y="52"/>
                  </a:lnTo>
                  <a:lnTo>
                    <a:pt x="166" y="50"/>
                  </a:lnTo>
                  <a:lnTo>
                    <a:pt x="168" y="50"/>
                  </a:lnTo>
                  <a:lnTo>
                    <a:pt x="173" y="46"/>
                  </a:lnTo>
                  <a:lnTo>
                    <a:pt x="178" y="42"/>
                  </a:lnTo>
                  <a:lnTo>
                    <a:pt x="182" y="38"/>
                  </a:lnTo>
                  <a:lnTo>
                    <a:pt x="182" y="35"/>
                  </a:lnTo>
                  <a:lnTo>
                    <a:pt x="182" y="32"/>
                  </a:lnTo>
                  <a:lnTo>
                    <a:pt x="180" y="29"/>
                  </a:lnTo>
                  <a:lnTo>
                    <a:pt x="178" y="27"/>
                  </a:lnTo>
                  <a:lnTo>
                    <a:pt x="177" y="25"/>
                  </a:lnTo>
                  <a:lnTo>
                    <a:pt x="174" y="22"/>
                  </a:lnTo>
                  <a:lnTo>
                    <a:pt x="174" y="20"/>
                  </a:lnTo>
                  <a:lnTo>
                    <a:pt x="175" y="18"/>
                  </a:lnTo>
                  <a:lnTo>
                    <a:pt x="177" y="15"/>
                  </a:lnTo>
                  <a:lnTo>
                    <a:pt x="179" y="14"/>
                  </a:lnTo>
                  <a:lnTo>
                    <a:pt x="199" y="7"/>
                  </a:lnTo>
                  <a:lnTo>
                    <a:pt x="205" y="6"/>
                  </a:lnTo>
                  <a:lnTo>
                    <a:pt x="210" y="4"/>
                  </a:lnTo>
                  <a:lnTo>
                    <a:pt x="216" y="4"/>
                  </a:lnTo>
                  <a:lnTo>
                    <a:pt x="221" y="6"/>
                  </a:lnTo>
                  <a:lnTo>
                    <a:pt x="225" y="6"/>
                  </a:lnTo>
                  <a:lnTo>
                    <a:pt x="227"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0" name="Freeform 639"/>
            <p:cNvSpPr>
              <a:spLocks/>
            </p:cNvSpPr>
            <p:nvPr/>
          </p:nvSpPr>
          <p:spPr bwMode="auto">
            <a:xfrm>
              <a:off x="5876926" y="3155954"/>
              <a:ext cx="357188" cy="320675"/>
            </a:xfrm>
            <a:custGeom>
              <a:avLst/>
              <a:gdLst>
                <a:gd name="T0" fmla="*/ 2147483647 w 244"/>
                <a:gd name="T1" fmla="*/ 2147483647 h 202"/>
                <a:gd name="T2" fmla="*/ 2147483647 w 244"/>
                <a:gd name="T3" fmla="*/ 2147483647 h 202"/>
                <a:gd name="T4" fmla="*/ 2147483647 w 244"/>
                <a:gd name="T5" fmla="*/ 2147483647 h 202"/>
                <a:gd name="T6" fmla="*/ 2147483647 w 244"/>
                <a:gd name="T7" fmla="*/ 2147483647 h 202"/>
                <a:gd name="T8" fmla="*/ 2147483647 w 244"/>
                <a:gd name="T9" fmla="*/ 2147483647 h 202"/>
                <a:gd name="T10" fmla="*/ 2147483647 w 244"/>
                <a:gd name="T11" fmla="*/ 2147483647 h 202"/>
                <a:gd name="T12" fmla="*/ 2147483647 w 244"/>
                <a:gd name="T13" fmla="*/ 2147483647 h 202"/>
                <a:gd name="T14" fmla="*/ 2147483647 w 244"/>
                <a:gd name="T15" fmla="*/ 2147483647 h 202"/>
                <a:gd name="T16" fmla="*/ 2147483647 w 244"/>
                <a:gd name="T17" fmla="*/ 2147483647 h 202"/>
                <a:gd name="T18" fmla="*/ 2147483647 w 244"/>
                <a:gd name="T19" fmla="*/ 2147483647 h 202"/>
                <a:gd name="T20" fmla="*/ 2147483647 w 244"/>
                <a:gd name="T21" fmla="*/ 2147483647 h 202"/>
                <a:gd name="T22" fmla="*/ 2147483647 w 244"/>
                <a:gd name="T23" fmla="*/ 2147483647 h 202"/>
                <a:gd name="T24" fmla="*/ 2147483647 w 244"/>
                <a:gd name="T25" fmla="*/ 2147483647 h 202"/>
                <a:gd name="T26" fmla="*/ 2147483647 w 244"/>
                <a:gd name="T27" fmla="*/ 2147483647 h 202"/>
                <a:gd name="T28" fmla="*/ 2147483647 w 244"/>
                <a:gd name="T29" fmla="*/ 2147483647 h 202"/>
                <a:gd name="T30" fmla="*/ 2147483647 w 244"/>
                <a:gd name="T31" fmla="*/ 2147483647 h 202"/>
                <a:gd name="T32" fmla="*/ 2147483647 w 244"/>
                <a:gd name="T33" fmla="*/ 2147483647 h 202"/>
                <a:gd name="T34" fmla="*/ 2147483647 w 244"/>
                <a:gd name="T35" fmla="*/ 2147483647 h 202"/>
                <a:gd name="T36" fmla="*/ 2147483647 w 244"/>
                <a:gd name="T37" fmla="*/ 2147483647 h 202"/>
                <a:gd name="T38" fmla="*/ 2147483647 w 244"/>
                <a:gd name="T39" fmla="*/ 2147483647 h 202"/>
                <a:gd name="T40" fmla="*/ 2147483647 w 244"/>
                <a:gd name="T41" fmla="*/ 2147483647 h 202"/>
                <a:gd name="T42" fmla="*/ 2147483647 w 244"/>
                <a:gd name="T43" fmla="*/ 2147483647 h 202"/>
                <a:gd name="T44" fmla="*/ 2147483647 w 244"/>
                <a:gd name="T45" fmla="*/ 2147483647 h 202"/>
                <a:gd name="T46" fmla="*/ 2147483647 w 244"/>
                <a:gd name="T47" fmla="*/ 2147483647 h 202"/>
                <a:gd name="T48" fmla="*/ 2147483647 w 244"/>
                <a:gd name="T49" fmla="*/ 2147483647 h 202"/>
                <a:gd name="T50" fmla="*/ 2147483647 w 244"/>
                <a:gd name="T51" fmla="*/ 2147483647 h 202"/>
                <a:gd name="T52" fmla="*/ 2147483647 w 244"/>
                <a:gd name="T53" fmla="*/ 2147483647 h 202"/>
                <a:gd name="T54" fmla="*/ 2147483647 w 244"/>
                <a:gd name="T55" fmla="*/ 2147483647 h 202"/>
                <a:gd name="T56" fmla="*/ 2147483647 w 244"/>
                <a:gd name="T57" fmla="*/ 2147483647 h 202"/>
                <a:gd name="T58" fmla="*/ 2147483647 w 244"/>
                <a:gd name="T59" fmla="*/ 2147483647 h 202"/>
                <a:gd name="T60" fmla="*/ 2147483647 w 244"/>
                <a:gd name="T61" fmla="*/ 2147483647 h 202"/>
                <a:gd name="T62" fmla="*/ 2147483647 w 244"/>
                <a:gd name="T63" fmla="*/ 2147483647 h 202"/>
                <a:gd name="T64" fmla="*/ 2147483647 w 244"/>
                <a:gd name="T65" fmla="*/ 2147483647 h 202"/>
                <a:gd name="T66" fmla="*/ 2147483647 w 244"/>
                <a:gd name="T67" fmla="*/ 2147483647 h 202"/>
                <a:gd name="T68" fmla="*/ 2147483647 w 244"/>
                <a:gd name="T69" fmla="*/ 2147483647 h 202"/>
                <a:gd name="T70" fmla="*/ 2147483647 w 244"/>
                <a:gd name="T71" fmla="*/ 2147483647 h 202"/>
                <a:gd name="T72" fmla="*/ 2147483647 w 244"/>
                <a:gd name="T73" fmla="*/ 2147483647 h 202"/>
                <a:gd name="T74" fmla="*/ 2147483647 w 244"/>
                <a:gd name="T75" fmla="*/ 2147483647 h 202"/>
                <a:gd name="T76" fmla="*/ 2147483647 w 244"/>
                <a:gd name="T77" fmla="*/ 2147483647 h 202"/>
                <a:gd name="T78" fmla="*/ 2147483647 w 244"/>
                <a:gd name="T79" fmla="*/ 2147483647 h 202"/>
                <a:gd name="T80" fmla="*/ 2147483647 w 244"/>
                <a:gd name="T81" fmla="*/ 2147483647 h 202"/>
                <a:gd name="T82" fmla="*/ 2147483647 w 244"/>
                <a:gd name="T83" fmla="*/ 2147483647 h 202"/>
                <a:gd name="T84" fmla="*/ 2147483647 w 244"/>
                <a:gd name="T85" fmla="*/ 2147483647 h 202"/>
                <a:gd name="T86" fmla="*/ 2147483647 w 244"/>
                <a:gd name="T87" fmla="*/ 2147483647 h 202"/>
                <a:gd name="T88" fmla="*/ 2147483647 w 244"/>
                <a:gd name="T89" fmla="*/ 2147483647 h 202"/>
                <a:gd name="T90" fmla="*/ 2147483647 w 244"/>
                <a:gd name="T91" fmla="*/ 2147483647 h 202"/>
                <a:gd name="T92" fmla="*/ 2147483647 w 244"/>
                <a:gd name="T93" fmla="*/ 2147483647 h 202"/>
                <a:gd name="T94" fmla="*/ 2147483647 w 244"/>
                <a:gd name="T95" fmla="*/ 2147483647 h 202"/>
                <a:gd name="T96" fmla="*/ 2147483647 w 244"/>
                <a:gd name="T97" fmla="*/ 2147483647 h 202"/>
                <a:gd name="T98" fmla="*/ 2147483647 w 244"/>
                <a:gd name="T99" fmla="*/ 2147483647 h 202"/>
                <a:gd name="T100" fmla="*/ 2147483647 w 244"/>
                <a:gd name="T101" fmla="*/ 2147483647 h 202"/>
                <a:gd name="T102" fmla="*/ 2147483647 w 244"/>
                <a:gd name="T103" fmla="*/ 2147483647 h 202"/>
                <a:gd name="T104" fmla="*/ 2147483647 w 244"/>
                <a:gd name="T105" fmla="*/ 2147483647 h 202"/>
                <a:gd name="T106" fmla="*/ 2147483647 w 244"/>
                <a:gd name="T107" fmla="*/ 2147483647 h 202"/>
                <a:gd name="T108" fmla="*/ 2147483647 w 244"/>
                <a:gd name="T109" fmla="*/ 2147483647 h 202"/>
                <a:gd name="T110" fmla="*/ 2147483647 w 244"/>
                <a:gd name="T111" fmla="*/ 2147483647 h 2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4"/>
                <a:gd name="T169" fmla="*/ 0 h 202"/>
                <a:gd name="T170" fmla="*/ 244 w 244"/>
                <a:gd name="T171" fmla="*/ 202 h 2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4" h="202">
                  <a:moveTo>
                    <a:pt x="17" y="63"/>
                  </a:moveTo>
                  <a:lnTo>
                    <a:pt x="17" y="63"/>
                  </a:lnTo>
                  <a:lnTo>
                    <a:pt x="29" y="65"/>
                  </a:lnTo>
                  <a:lnTo>
                    <a:pt x="36" y="67"/>
                  </a:lnTo>
                  <a:lnTo>
                    <a:pt x="43" y="67"/>
                  </a:lnTo>
                  <a:lnTo>
                    <a:pt x="45" y="67"/>
                  </a:lnTo>
                  <a:lnTo>
                    <a:pt x="46" y="65"/>
                  </a:lnTo>
                  <a:lnTo>
                    <a:pt x="48" y="62"/>
                  </a:lnTo>
                  <a:lnTo>
                    <a:pt x="50" y="58"/>
                  </a:lnTo>
                  <a:lnTo>
                    <a:pt x="52" y="55"/>
                  </a:lnTo>
                  <a:lnTo>
                    <a:pt x="55" y="54"/>
                  </a:lnTo>
                  <a:lnTo>
                    <a:pt x="56" y="54"/>
                  </a:lnTo>
                  <a:lnTo>
                    <a:pt x="59" y="54"/>
                  </a:lnTo>
                  <a:lnTo>
                    <a:pt x="61" y="54"/>
                  </a:lnTo>
                  <a:lnTo>
                    <a:pt x="64" y="49"/>
                  </a:lnTo>
                  <a:lnTo>
                    <a:pt x="66" y="45"/>
                  </a:lnTo>
                  <a:lnTo>
                    <a:pt x="70" y="36"/>
                  </a:lnTo>
                  <a:lnTo>
                    <a:pt x="71" y="33"/>
                  </a:lnTo>
                  <a:lnTo>
                    <a:pt x="75" y="32"/>
                  </a:lnTo>
                  <a:lnTo>
                    <a:pt x="80" y="31"/>
                  </a:lnTo>
                  <a:lnTo>
                    <a:pt x="84" y="30"/>
                  </a:lnTo>
                  <a:lnTo>
                    <a:pt x="88" y="27"/>
                  </a:lnTo>
                  <a:lnTo>
                    <a:pt x="92" y="25"/>
                  </a:lnTo>
                  <a:lnTo>
                    <a:pt x="94" y="24"/>
                  </a:lnTo>
                  <a:lnTo>
                    <a:pt x="97" y="25"/>
                  </a:lnTo>
                  <a:lnTo>
                    <a:pt x="98" y="26"/>
                  </a:lnTo>
                  <a:lnTo>
                    <a:pt x="100" y="27"/>
                  </a:lnTo>
                  <a:lnTo>
                    <a:pt x="107" y="27"/>
                  </a:lnTo>
                  <a:lnTo>
                    <a:pt x="112" y="27"/>
                  </a:lnTo>
                  <a:lnTo>
                    <a:pt x="117" y="30"/>
                  </a:lnTo>
                  <a:lnTo>
                    <a:pt x="122" y="33"/>
                  </a:lnTo>
                  <a:lnTo>
                    <a:pt x="125" y="35"/>
                  </a:lnTo>
                  <a:lnTo>
                    <a:pt x="126" y="35"/>
                  </a:lnTo>
                  <a:lnTo>
                    <a:pt x="130" y="32"/>
                  </a:lnTo>
                  <a:lnTo>
                    <a:pt x="133" y="32"/>
                  </a:lnTo>
                  <a:lnTo>
                    <a:pt x="140" y="32"/>
                  </a:lnTo>
                  <a:lnTo>
                    <a:pt x="147" y="31"/>
                  </a:lnTo>
                  <a:lnTo>
                    <a:pt x="153" y="31"/>
                  </a:lnTo>
                  <a:lnTo>
                    <a:pt x="158" y="30"/>
                  </a:lnTo>
                  <a:lnTo>
                    <a:pt x="163" y="27"/>
                  </a:lnTo>
                  <a:lnTo>
                    <a:pt x="168" y="24"/>
                  </a:lnTo>
                  <a:lnTo>
                    <a:pt x="174" y="17"/>
                  </a:lnTo>
                  <a:lnTo>
                    <a:pt x="179" y="7"/>
                  </a:lnTo>
                  <a:lnTo>
                    <a:pt x="187" y="3"/>
                  </a:lnTo>
                  <a:lnTo>
                    <a:pt x="191" y="0"/>
                  </a:lnTo>
                  <a:lnTo>
                    <a:pt x="192" y="0"/>
                  </a:lnTo>
                  <a:lnTo>
                    <a:pt x="193" y="1"/>
                  </a:lnTo>
                  <a:lnTo>
                    <a:pt x="193" y="5"/>
                  </a:lnTo>
                  <a:lnTo>
                    <a:pt x="191" y="8"/>
                  </a:lnTo>
                  <a:lnTo>
                    <a:pt x="189" y="12"/>
                  </a:lnTo>
                  <a:lnTo>
                    <a:pt x="189" y="13"/>
                  </a:lnTo>
                  <a:lnTo>
                    <a:pt x="191" y="14"/>
                  </a:lnTo>
                  <a:lnTo>
                    <a:pt x="194" y="16"/>
                  </a:lnTo>
                  <a:lnTo>
                    <a:pt x="197" y="17"/>
                  </a:lnTo>
                  <a:lnTo>
                    <a:pt x="198" y="19"/>
                  </a:lnTo>
                  <a:lnTo>
                    <a:pt x="198" y="23"/>
                  </a:lnTo>
                  <a:lnTo>
                    <a:pt x="200" y="29"/>
                  </a:lnTo>
                  <a:lnTo>
                    <a:pt x="200" y="33"/>
                  </a:lnTo>
                  <a:lnTo>
                    <a:pt x="200" y="36"/>
                  </a:lnTo>
                  <a:lnTo>
                    <a:pt x="202" y="36"/>
                  </a:lnTo>
                  <a:lnTo>
                    <a:pt x="206" y="35"/>
                  </a:lnTo>
                  <a:lnTo>
                    <a:pt x="211" y="32"/>
                  </a:lnTo>
                  <a:lnTo>
                    <a:pt x="213" y="32"/>
                  </a:lnTo>
                  <a:lnTo>
                    <a:pt x="216" y="32"/>
                  </a:lnTo>
                  <a:lnTo>
                    <a:pt x="230" y="29"/>
                  </a:lnTo>
                  <a:lnTo>
                    <a:pt x="238" y="27"/>
                  </a:lnTo>
                  <a:lnTo>
                    <a:pt x="244" y="27"/>
                  </a:lnTo>
                  <a:lnTo>
                    <a:pt x="244" y="29"/>
                  </a:lnTo>
                  <a:lnTo>
                    <a:pt x="243" y="29"/>
                  </a:lnTo>
                  <a:lnTo>
                    <a:pt x="244" y="29"/>
                  </a:lnTo>
                  <a:lnTo>
                    <a:pt x="244" y="36"/>
                  </a:lnTo>
                  <a:lnTo>
                    <a:pt x="243" y="38"/>
                  </a:lnTo>
                  <a:lnTo>
                    <a:pt x="241" y="40"/>
                  </a:lnTo>
                  <a:lnTo>
                    <a:pt x="239" y="42"/>
                  </a:lnTo>
                  <a:lnTo>
                    <a:pt x="235" y="42"/>
                  </a:lnTo>
                  <a:lnTo>
                    <a:pt x="230" y="40"/>
                  </a:lnTo>
                  <a:lnTo>
                    <a:pt x="224" y="40"/>
                  </a:lnTo>
                  <a:lnTo>
                    <a:pt x="219" y="42"/>
                  </a:lnTo>
                  <a:lnTo>
                    <a:pt x="213" y="43"/>
                  </a:lnTo>
                  <a:lnTo>
                    <a:pt x="193" y="50"/>
                  </a:lnTo>
                  <a:lnTo>
                    <a:pt x="191" y="51"/>
                  </a:lnTo>
                  <a:lnTo>
                    <a:pt x="189" y="54"/>
                  </a:lnTo>
                  <a:lnTo>
                    <a:pt x="188" y="56"/>
                  </a:lnTo>
                  <a:lnTo>
                    <a:pt x="188" y="58"/>
                  </a:lnTo>
                  <a:lnTo>
                    <a:pt x="191" y="61"/>
                  </a:lnTo>
                  <a:lnTo>
                    <a:pt x="192" y="63"/>
                  </a:lnTo>
                  <a:lnTo>
                    <a:pt x="194" y="65"/>
                  </a:lnTo>
                  <a:lnTo>
                    <a:pt x="196" y="68"/>
                  </a:lnTo>
                  <a:lnTo>
                    <a:pt x="196" y="71"/>
                  </a:lnTo>
                  <a:lnTo>
                    <a:pt x="196" y="74"/>
                  </a:lnTo>
                  <a:lnTo>
                    <a:pt x="192" y="78"/>
                  </a:lnTo>
                  <a:lnTo>
                    <a:pt x="187" y="82"/>
                  </a:lnTo>
                  <a:lnTo>
                    <a:pt x="182" y="86"/>
                  </a:lnTo>
                  <a:lnTo>
                    <a:pt x="180" y="86"/>
                  </a:lnTo>
                  <a:lnTo>
                    <a:pt x="180" y="88"/>
                  </a:lnTo>
                  <a:lnTo>
                    <a:pt x="182" y="90"/>
                  </a:lnTo>
                  <a:lnTo>
                    <a:pt x="184" y="94"/>
                  </a:lnTo>
                  <a:lnTo>
                    <a:pt x="184" y="95"/>
                  </a:lnTo>
                  <a:lnTo>
                    <a:pt x="183" y="96"/>
                  </a:lnTo>
                  <a:lnTo>
                    <a:pt x="179" y="99"/>
                  </a:lnTo>
                  <a:lnTo>
                    <a:pt x="175" y="99"/>
                  </a:lnTo>
                  <a:lnTo>
                    <a:pt x="172" y="99"/>
                  </a:lnTo>
                  <a:lnTo>
                    <a:pt x="168" y="97"/>
                  </a:lnTo>
                  <a:lnTo>
                    <a:pt x="165" y="97"/>
                  </a:lnTo>
                  <a:lnTo>
                    <a:pt x="164" y="97"/>
                  </a:lnTo>
                  <a:lnTo>
                    <a:pt x="165" y="107"/>
                  </a:lnTo>
                  <a:lnTo>
                    <a:pt x="167" y="112"/>
                  </a:lnTo>
                  <a:lnTo>
                    <a:pt x="167" y="116"/>
                  </a:lnTo>
                  <a:lnTo>
                    <a:pt x="164" y="119"/>
                  </a:lnTo>
                  <a:lnTo>
                    <a:pt x="161" y="120"/>
                  </a:lnTo>
                  <a:lnTo>
                    <a:pt x="159" y="121"/>
                  </a:lnTo>
                  <a:lnTo>
                    <a:pt x="158" y="122"/>
                  </a:lnTo>
                  <a:lnTo>
                    <a:pt x="156" y="126"/>
                  </a:lnTo>
                  <a:lnTo>
                    <a:pt x="151" y="137"/>
                  </a:lnTo>
                  <a:lnTo>
                    <a:pt x="147" y="142"/>
                  </a:lnTo>
                  <a:lnTo>
                    <a:pt x="145" y="145"/>
                  </a:lnTo>
                  <a:lnTo>
                    <a:pt x="141" y="146"/>
                  </a:lnTo>
                  <a:lnTo>
                    <a:pt x="131" y="150"/>
                  </a:lnTo>
                  <a:lnTo>
                    <a:pt x="130" y="151"/>
                  </a:lnTo>
                  <a:lnTo>
                    <a:pt x="127" y="153"/>
                  </a:lnTo>
                  <a:lnTo>
                    <a:pt x="126" y="154"/>
                  </a:lnTo>
                  <a:lnTo>
                    <a:pt x="125" y="157"/>
                  </a:lnTo>
                  <a:lnTo>
                    <a:pt x="114" y="161"/>
                  </a:lnTo>
                  <a:lnTo>
                    <a:pt x="108" y="164"/>
                  </a:lnTo>
                  <a:lnTo>
                    <a:pt x="103" y="169"/>
                  </a:lnTo>
                  <a:lnTo>
                    <a:pt x="98" y="173"/>
                  </a:lnTo>
                  <a:lnTo>
                    <a:pt x="95" y="179"/>
                  </a:lnTo>
                  <a:lnTo>
                    <a:pt x="95" y="185"/>
                  </a:lnTo>
                  <a:lnTo>
                    <a:pt x="95" y="190"/>
                  </a:lnTo>
                  <a:lnTo>
                    <a:pt x="98" y="193"/>
                  </a:lnTo>
                  <a:lnTo>
                    <a:pt x="92" y="193"/>
                  </a:lnTo>
                  <a:lnTo>
                    <a:pt x="85" y="195"/>
                  </a:lnTo>
                  <a:lnTo>
                    <a:pt x="79" y="196"/>
                  </a:lnTo>
                  <a:lnTo>
                    <a:pt x="73" y="201"/>
                  </a:lnTo>
                  <a:lnTo>
                    <a:pt x="71" y="202"/>
                  </a:lnTo>
                  <a:lnTo>
                    <a:pt x="69" y="202"/>
                  </a:lnTo>
                  <a:lnTo>
                    <a:pt x="64" y="202"/>
                  </a:lnTo>
                  <a:lnTo>
                    <a:pt x="53" y="198"/>
                  </a:lnTo>
                  <a:lnTo>
                    <a:pt x="50" y="198"/>
                  </a:lnTo>
                  <a:lnTo>
                    <a:pt x="46" y="198"/>
                  </a:lnTo>
                  <a:lnTo>
                    <a:pt x="36" y="198"/>
                  </a:lnTo>
                  <a:lnTo>
                    <a:pt x="31" y="198"/>
                  </a:lnTo>
                  <a:lnTo>
                    <a:pt x="26" y="197"/>
                  </a:lnTo>
                  <a:lnTo>
                    <a:pt x="20" y="196"/>
                  </a:lnTo>
                  <a:lnTo>
                    <a:pt x="14" y="192"/>
                  </a:lnTo>
                  <a:lnTo>
                    <a:pt x="15" y="189"/>
                  </a:lnTo>
                  <a:lnTo>
                    <a:pt x="20" y="182"/>
                  </a:lnTo>
                  <a:lnTo>
                    <a:pt x="27" y="174"/>
                  </a:lnTo>
                  <a:lnTo>
                    <a:pt x="32" y="169"/>
                  </a:lnTo>
                  <a:lnTo>
                    <a:pt x="34" y="165"/>
                  </a:lnTo>
                  <a:lnTo>
                    <a:pt x="36" y="160"/>
                  </a:lnTo>
                  <a:lnTo>
                    <a:pt x="34" y="158"/>
                  </a:lnTo>
                  <a:lnTo>
                    <a:pt x="33" y="157"/>
                  </a:lnTo>
                  <a:lnTo>
                    <a:pt x="29" y="154"/>
                  </a:lnTo>
                  <a:lnTo>
                    <a:pt x="23" y="152"/>
                  </a:lnTo>
                  <a:lnTo>
                    <a:pt x="17" y="148"/>
                  </a:lnTo>
                  <a:lnTo>
                    <a:pt x="13" y="147"/>
                  </a:lnTo>
                  <a:lnTo>
                    <a:pt x="10" y="146"/>
                  </a:lnTo>
                  <a:lnTo>
                    <a:pt x="9" y="145"/>
                  </a:lnTo>
                  <a:lnTo>
                    <a:pt x="9" y="141"/>
                  </a:lnTo>
                  <a:lnTo>
                    <a:pt x="9" y="138"/>
                  </a:lnTo>
                  <a:lnTo>
                    <a:pt x="8" y="134"/>
                  </a:lnTo>
                  <a:lnTo>
                    <a:pt x="8" y="131"/>
                  </a:lnTo>
                  <a:lnTo>
                    <a:pt x="1" y="118"/>
                  </a:lnTo>
                  <a:lnTo>
                    <a:pt x="0" y="114"/>
                  </a:lnTo>
                  <a:lnTo>
                    <a:pt x="0" y="110"/>
                  </a:lnTo>
                  <a:lnTo>
                    <a:pt x="1" y="107"/>
                  </a:lnTo>
                  <a:lnTo>
                    <a:pt x="4" y="105"/>
                  </a:lnTo>
                  <a:lnTo>
                    <a:pt x="4" y="102"/>
                  </a:lnTo>
                  <a:lnTo>
                    <a:pt x="3" y="100"/>
                  </a:lnTo>
                  <a:lnTo>
                    <a:pt x="1" y="97"/>
                  </a:lnTo>
                  <a:lnTo>
                    <a:pt x="0" y="95"/>
                  </a:lnTo>
                  <a:lnTo>
                    <a:pt x="1" y="93"/>
                  </a:lnTo>
                  <a:lnTo>
                    <a:pt x="1" y="91"/>
                  </a:lnTo>
                  <a:lnTo>
                    <a:pt x="5" y="88"/>
                  </a:lnTo>
                  <a:lnTo>
                    <a:pt x="9" y="84"/>
                  </a:lnTo>
                  <a:lnTo>
                    <a:pt x="13" y="78"/>
                  </a:lnTo>
                  <a:lnTo>
                    <a:pt x="15" y="70"/>
                  </a:lnTo>
                  <a:lnTo>
                    <a:pt x="17" y="6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1" name="Freeform 640"/>
            <p:cNvSpPr>
              <a:spLocks/>
            </p:cNvSpPr>
            <p:nvPr/>
          </p:nvSpPr>
          <p:spPr bwMode="auto">
            <a:xfrm>
              <a:off x="5753101" y="3567115"/>
              <a:ext cx="20638" cy="15875"/>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0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0 w 14"/>
                <a:gd name="T21" fmla="*/ 2147483647 h 10"/>
                <a:gd name="T22" fmla="*/ 0 w 14"/>
                <a:gd name="T23" fmla="*/ 2147483647 h 10"/>
                <a:gd name="T24" fmla="*/ 2147483647 w 14"/>
                <a:gd name="T25" fmla="*/ 2147483647 h 10"/>
                <a:gd name="T26" fmla="*/ 2147483647 w 14"/>
                <a:gd name="T27" fmla="*/ 2147483647 h 10"/>
                <a:gd name="T28" fmla="*/ 2147483647 w 14"/>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0"/>
                <a:gd name="T47" fmla="*/ 14 w 14"/>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0">
                  <a:moveTo>
                    <a:pt x="8" y="7"/>
                  </a:moveTo>
                  <a:lnTo>
                    <a:pt x="11" y="4"/>
                  </a:lnTo>
                  <a:lnTo>
                    <a:pt x="13" y="3"/>
                  </a:lnTo>
                  <a:lnTo>
                    <a:pt x="14" y="2"/>
                  </a:lnTo>
                  <a:lnTo>
                    <a:pt x="14" y="1"/>
                  </a:lnTo>
                  <a:lnTo>
                    <a:pt x="14" y="0"/>
                  </a:lnTo>
                  <a:lnTo>
                    <a:pt x="12" y="1"/>
                  </a:lnTo>
                  <a:lnTo>
                    <a:pt x="9" y="2"/>
                  </a:lnTo>
                  <a:lnTo>
                    <a:pt x="4" y="7"/>
                  </a:lnTo>
                  <a:lnTo>
                    <a:pt x="3" y="7"/>
                  </a:lnTo>
                  <a:lnTo>
                    <a:pt x="0" y="8"/>
                  </a:lnTo>
                  <a:lnTo>
                    <a:pt x="0" y="10"/>
                  </a:lnTo>
                  <a:lnTo>
                    <a:pt x="3" y="10"/>
                  </a:lnTo>
                  <a:lnTo>
                    <a:pt x="4" y="9"/>
                  </a:lnTo>
                  <a:lnTo>
                    <a:pt x="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2" name="Freeform 641"/>
            <p:cNvSpPr>
              <a:spLocks/>
            </p:cNvSpPr>
            <p:nvPr/>
          </p:nvSpPr>
          <p:spPr bwMode="auto">
            <a:xfrm>
              <a:off x="5462588" y="3135314"/>
              <a:ext cx="482600" cy="482600"/>
            </a:xfrm>
            <a:custGeom>
              <a:avLst/>
              <a:gdLst>
                <a:gd name="T0" fmla="*/ 0 w 329"/>
                <a:gd name="T1" fmla="*/ 2147483647 h 304"/>
                <a:gd name="T2" fmla="*/ 2147483647 w 329"/>
                <a:gd name="T3" fmla="*/ 0 h 304"/>
                <a:gd name="T4" fmla="*/ 2147483647 w 329"/>
                <a:gd name="T5" fmla="*/ 2147483647 h 304"/>
                <a:gd name="T6" fmla="*/ 2147483647 w 329"/>
                <a:gd name="T7" fmla="*/ 2147483647 h 304"/>
                <a:gd name="T8" fmla="*/ 2147483647 w 329"/>
                <a:gd name="T9" fmla="*/ 2147483647 h 304"/>
                <a:gd name="T10" fmla="*/ 2147483647 w 329"/>
                <a:gd name="T11" fmla="*/ 2147483647 h 304"/>
                <a:gd name="T12" fmla="*/ 2147483647 w 329"/>
                <a:gd name="T13" fmla="*/ 2147483647 h 304"/>
                <a:gd name="T14" fmla="*/ 2147483647 w 329"/>
                <a:gd name="T15" fmla="*/ 2147483647 h 304"/>
                <a:gd name="T16" fmla="*/ 2147483647 w 329"/>
                <a:gd name="T17" fmla="*/ 2147483647 h 304"/>
                <a:gd name="T18" fmla="*/ 2147483647 w 329"/>
                <a:gd name="T19" fmla="*/ 2147483647 h 304"/>
                <a:gd name="T20" fmla="*/ 2147483647 w 329"/>
                <a:gd name="T21" fmla="*/ 2147483647 h 304"/>
                <a:gd name="T22" fmla="*/ 2147483647 w 329"/>
                <a:gd name="T23" fmla="*/ 2147483647 h 304"/>
                <a:gd name="T24" fmla="*/ 2147483647 w 329"/>
                <a:gd name="T25" fmla="*/ 2147483647 h 304"/>
                <a:gd name="T26" fmla="*/ 2147483647 w 329"/>
                <a:gd name="T27" fmla="*/ 2147483647 h 304"/>
                <a:gd name="T28" fmla="*/ 2147483647 w 329"/>
                <a:gd name="T29" fmla="*/ 2147483647 h 304"/>
                <a:gd name="T30" fmla="*/ 2147483647 w 329"/>
                <a:gd name="T31" fmla="*/ 2147483647 h 304"/>
                <a:gd name="T32" fmla="*/ 2147483647 w 329"/>
                <a:gd name="T33" fmla="*/ 2147483647 h 304"/>
                <a:gd name="T34" fmla="*/ 2147483647 w 329"/>
                <a:gd name="T35" fmla="*/ 2147483647 h 304"/>
                <a:gd name="T36" fmla="*/ 2147483647 w 329"/>
                <a:gd name="T37" fmla="*/ 2147483647 h 304"/>
                <a:gd name="T38" fmla="*/ 2147483647 w 329"/>
                <a:gd name="T39" fmla="*/ 2147483647 h 304"/>
                <a:gd name="T40" fmla="*/ 2147483647 w 329"/>
                <a:gd name="T41" fmla="*/ 2147483647 h 304"/>
                <a:gd name="T42" fmla="*/ 2147483647 w 329"/>
                <a:gd name="T43" fmla="*/ 2147483647 h 304"/>
                <a:gd name="T44" fmla="*/ 2147483647 w 329"/>
                <a:gd name="T45" fmla="*/ 2147483647 h 304"/>
                <a:gd name="T46" fmla="*/ 2147483647 w 329"/>
                <a:gd name="T47" fmla="*/ 2147483647 h 304"/>
                <a:gd name="T48" fmla="*/ 2147483647 w 329"/>
                <a:gd name="T49" fmla="*/ 2147483647 h 304"/>
                <a:gd name="T50" fmla="*/ 2147483647 w 329"/>
                <a:gd name="T51" fmla="*/ 2147483647 h 304"/>
                <a:gd name="T52" fmla="*/ 2147483647 w 329"/>
                <a:gd name="T53" fmla="*/ 2147483647 h 304"/>
                <a:gd name="T54" fmla="*/ 2147483647 w 329"/>
                <a:gd name="T55" fmla="*/ 2147483647 h 304"/>
                <a:gd name="T56" fmla="*/ 2147483647 w 329"/>
                <a:gd name="T57" fmla="*/ 2147483647 h 304"/>
                <a:gd name="T58" fmla="*/ 2147483647 w 329"/>
                <a:gd name="T59" fmla="*/ 2147483647 h 304"/>
                <a:gd name="T60" fmla="*/ 2147483647 w 329"/>
                <a:gd name="T61" fmla="*/ 2147483647 h 304"/>
                <a:gd name="T62" fmla="*/ 2147483647 w 329"/>
                <a:gd name="T63" fmla="*/ 2147483647 h 304"/>
                <a:gd name="T64" fmla="*/ 2147483647 w 329"/>
                <a:gd name="T65" fmla="*/ 2147483647 h 304"/>
                <a:gd name="T66" fmla="*/ 2147483647 w 329"/>
                <a:gd name="T67" fmla="*/ 2147483647 h 304"/>
                <a:gd name="T68" fmla="*/ 2147483647 w 329"/>
                <a:gd name="T69" fmla="*/ 2147483647 h 304"/>
                <a:gd name="T70" fmla="*/ 2147483647 w 329"/>
                <a:gd name="T71" fmla="*/ 2147483647 h 304"/>
                <a:gd name="T72" fmla="*/ 2147483647 w 329"/>
                <a:gd name="T73" fmla="*/ 2147483647 h 304"/>
                <a:gd name="T74" fmla="*/ 2147483647 w 329"/>
                <a:gd name="T75" fmla="*/ 2147483647 h 304"/>
                <a:gd name="T76" fmla="*/ 2147483647 w 329"/>
                <a:gd name="T77" fmla="*/ 2147483647 h 304"/>
                <a:gd name="T78" fmla="*/ 2147483647 w 329"/>
                <a:gd name="T79" fmla="*/ 2147483647 h 304"/>
                <a:gd name="T80" fmla="*/ 2147483647 w 329"/>
                <a:gd name="T81" fmla="*/ 2147483647 h 304"/>
                <a:gd name="T82" fmla="*/ 2147483647 w 329"/>
                <a:gd name="T83" fmla="*/ 2147483647 h 304"/>
                <a:gd name="T84" fmla="*/ 2147483647 w 329"/>
                <a:gd name="T85" fmla="*/ 2147483647 h 304"/>
                <a:gd name="T86" fmla="*/ 2147483647 w 329"/>
                <a:gd name="T87" fmla="*/ 2147483647 h 304"/>
                <a:gd name="T88" fmla="*/ 2147483647 w 329"/>
                <a:gd name="T89" fmla="*/ 2147483647 h 304"/>
                <a:gd name="T90" fmla="*/ 2147483647 w 329"/>
                <a:gd name="T91" fmla="*/ 2147483647 h 304"/>
                <a:gd name="T92" fmla="*/ 2147483647 w 329"/>
                <a:gd name="T93" fmla="*/ 2147483647 h 304"/>
                <a:gd name="T94" fmla="*/ 2147483647 w 329"/>
                <a:gd name="T95" fmla="*/ 2147483647 h 304"/>
                <a:gd name="T96" fmla="*/ 2147483647 w 329"/>
                <a:gd name="T97" fmla="*/ 2147483647 h 304"/>
                <a:gd name="T98" fmla="*/ 2147483647 w 329"/>
                <a:gd name="T99" fmla="*/ 2147483647 h 304"/>
                <a:gd name="T100" fmla="*/ 2147483647 w 329"/>
                <a:gd name="T101" fmla="*/ 2147483647 h 304"/>
                <a:gd name="T102" fmla="*/ 2147483647 w 329"/>
                <a:gd name="T103" fmla="*/ 2147483647 h 304"/>
                <a:gd name="T104" fmla="*/ 2147483647 w 329"/>
                <a:gd name="T105" fmla="*/ 2147483647 h 304"/>
                <a:gd name="T106" fmla="*/ 2147483647 w 329"/>
                <a:gd name="T107" fmla="*/ 2147483647 h 304"/>
                <a:gd name="T108" fmla="*/ 2147483647 w 329"/>
                <a:gd name="T109" fmla="*/ 2147483647 h 304"/>
                <a:gd name="T110" fmla="*/ 2147483647 w 329"/>
                <a:gd name="T111" fmla="*/ 2147483647 h 3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9"/>
                <a:gd name="T169" fmla="*/ 0 h 304"/>
                <a:gd name="T170" fmla="*/ 329 w 329"/>
                <a:gd name="T171" fmla="*/ 304 h 3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9" h="304">
                  <a:moveTo>
                    <a:pt x="7" y="44"/>
                  </a:moveTo>
                  <a:lnTo>
                    <a:pt x="3" y="36"/>
                  </a:lnTo>
                  <a:lnTo>
                    <a:pt x="2" y="26"/>
                  </a:lnTo>
                  <a:lnTo>
                    <a:pt x="0" y="17"/>
                  </a:lnTo>
                  <a:lnTo>
                    <a:pt x="0" y="7"/>
                  </a:lnTo>
                  <a:lnTo>
                    <a:pt x="2" y="4"/>
                  </a:lnTo>
                  <a:lnTo>
                    <a:pt x="3" y="3"/>
                  </a:lnTo>
                  <a:lnTo>
                    <a:pt x="5" y="0"/>
                  </a:lnTo>
                  <a:lnTo>
                    <a:pt x="8" y="0"/>
                  </a:lnTo>
                  <a:lnTo>
                    <a:pt x="12" y="0"/>
                  </a:lnTo>
                  <a:lnTo>
                    <a:pt x="14" y="3"/>
                  </a:lnTo>
                  <a:lnTo>
                    <a:pt x="18" y="8"/>
                  </a:lnTo>
                  <a:lnTo>
                    <a:pt x="23" y="13"/>
                  </a:lnTo>
                  <a:lnTo>
                    <a:pt x="27" y="16"/>
                  </a:lnTo>
                  <a:lnTo>
                    <a:pt x="29" y="17"/>
                  </a:lnTo>
                  <a:lnTo>
                    <a:pt x="33" y="17"/>
                  </a:lnTo>
                  <a:lnTo>
                    <a:pt x="37" y="17"/>
                  </a:lnTo>
                  <a:lnTo>
                    <a:pt x="43" y="14"/>
                  </a:lnTo>
                  <a:lnTo>
                    <a:pt x="49" y="11"/>
                  </a:lnTo>
                  <a:lnTo>
                    <a:pt x="55" y="7"/>
                  </a:lnTo>
                  <a:lnTo>
                    <a:pt x="61" y="4"/>
                  </a:lnTo>
                  <a:lnTo>
                    <a:pt x="62" y="4"/>
                  </a:lnTo>
                  <a:lnTo>
                    <a:pt x="64" y="4"/>
                  </a:lnTo>
                  <a:lnTo>
                    <a:pt x="66" y="7"/>
                  </a:lnTo>
                  <a:lnTo>
                    <a:pt x="68" y="11"/>
                  </a:lnTo>
                  <a:lnTo>
                    <a:pt x="66" y="13"/>
                  </a:lnTo>
                  <a:lnTo>
                    <a:pt x="66" y="18"/>
                  </a:lnTo>
                  <a:lnTo>
                    <a:pt x="68" y="23"/>
                  </a:lnTo>
                  <a:lnTo>
                    <a:pt x="69" y="25"/>
                  </a:lnTo>
                  <a:lnTo>
                    <a:pt x="71" y="29"/>
                  </a:lnTo>
                  <a:lnTo>
                    <a:pt x="74" y="30"/>
                  </a:lnTo>
                  <a:lnTo>
                    <a:pt x="78" y="32"/>
                  </a:lnTo>
                  <a:lnTo>
                    <a:pt x="85" y="33"/>
                  </a:lnTo>
                  <a:lnTo>
                    <a:pt x="87" y="42"/>
                  </a:lnTo>
                  <a:lnTo>
                    <a:pt x="88" y="44"/>
                  </a:lnTo>
                  <a:lnTo>
                    <a:pt x="89" y="45"/>
                  </a:lnTo>
                  <a:lnTo>
                    <a:pt x="94" y="46"/>
                  </a:lnTo>
                  <a:lnTo>
                    <a:pt x="104" y="48"/>
                  </a:lnTo>
                  <a:lnTo>
                    <a:pt x="108" y="49"/>
                  </a:lnTo>
                  <a:lnTo>
                    <a:pt x="111" y="51"/>
                  </a:lnTo>
                  <a:lnTo>
                    <a:pt x="113" y="53"/>
                  </a:lnTo>
                  <a:lnTo>
                    <a:pt x="117" y="56"/>
                  </a:lnTo>
                  <a:lnTo>
                    <a:pt x="125" y="61"/>
                  </a:lnTo>
                  <a:lnTo>
                    <a:pt x="127" y="64"/>
                  </a:lnTo>
                  <a:lnTo>
                    <a:pt x="130" y="65"/>
                  </a:lnTo>
                  <a:lnTo>
                    <a:pt x="134" y="65"/>
                  </a:lnTo>
                  <a:lnTo>
                    <a:pt x="137" y="65"/>
                  </a:lnTo>
                  <a:lnTo>
                    <a:pt x="140" y="65"/>
                  </a:lnTo>
                  <a:lnTo>
                    <a:pt x="144" y="63"/>
                  </a:lnTo>
                  <a:lnTo>
                    <a:pt x="149" y="61"/>
                  </a:lnTo>
                  <a:lnTo>
                    <a:pt x="153" y="61"/>
                  </a:lnTo>
                  <a:lnTo>
                    <a:pt x="156" y="61"/>
                  </a:lnTo>
                  <a:lnTo>
                    <a:pt x="162" y="61"/>
                  </a:lnTo>
                  <a:lnTo>
                    <a:pt x="165" y="61"/>
                  </a:lnTo>
                  <a:lnTo>
                    <a:pt x="168" y="59"/>
                  </a:lnTo>
                  <a:lnTo>
                    <a:pt x="170" y="58"/>
                  </a:lnTo>
                  <a:lnTo>
                    <a:pt x="173" y="53"/>
                  </a:lnTo>
                  <a:lnTo>
                    <a:pt x="174" y="49"/>
                  </a:lnTo>
                  <a:lnTo>
                    <a:pt x="174" y="43"/>
                  </a:lnTo>
                  <a:lnTo>
                    <a:pt x="183" y="42"/>
                  </a:lnTo>
                  <a:lnTo>
                    <a:pt x="191" y="38"/>
                  </a:lnTo>
                  <a:lnTo>
                    <a:pt x="205" y="30"/>
                  </a:lnTo>
                  <a:lnTo>
                    <a:pt x="210" y="27"/>
                  </a:lnTo>
                  <a:lnTo>
                    <a:pt x="215" y="26"/>
                  </a:lnTo>
                  <a:lnTo>
                    <a:pt x="221" y="21"/>
                  </a:lnTo>
                  <a:lnTo>
                    <a:pt x="224" y="26"/>
                  </a:lnTo>
                  <a:lnTo>
                    <a:pt x="228" y="29"/>
                  </a:lnTo>
                  <a:lnTo>
                    <a:pt x="231" y="29"/>
                  </a:lnTo>
                  <a:lnTo>
                    <a:pt x="234" y="30"/>
                  </a:lnTo>
                  <a:lnTo>
                    <a:pt x="239" y="32"/>
                  </a:lnTo>
                  <a:lnTo>
                    <a:pt x="245" y="35"/>
                  </a:lnTo>
                  <a:lnTo>
                    <a:pt x="257" y="36"/>
                  </a:lnTo>
                  <a:lnTo>
                    <a:pt x="263" y="38"/>
                  </a:lnTo>
                  <a:lnTo>
                    <a:pt x="266" y="40"/>
                  </a:lnTo>
                  <a:lnTo>
                    <a:pt x="268" y="43"/>
                  </a:lnTo>
                  <a:lnTo>
                    <a:pt x="273" y="48"/>
                  </a:lnTo>
                  <a:lnTo>
                    <a:pt x="280" y="51"/>
                  </a:lnTo>
                  <a:lnTo>
                    <a:pt x="292" y="55"/>
                  </a:lnTo>
                  <a:lnTo>
                    <a:pt x="296" y="57"/>
                  </a:lnTo>
                  <a:lnTo>
                    <a:pt x="299" y="61"/>
                  </a:lnTo>
                  <a:lnTo>
                    <a:pt x="300" y="64"/>
                  </a:lnTo>
                  <a:lnTo>
                    <a:pt x="300" y="69"/>
                  </a:lnTo>
                  <a:lnTo>
                    <a:pt x="300" y="77"/>
                  </a:lnTo>
                  <a:lnTo>
                    <a:pt x="299" y="84"/>
                  </a:lnTo>
                  <a:lnTo>
                    <a:pt x="296" y="93"/>
                  </a:lnTo>
                  <a:lnTo>
                    <a:pt x="292" y="99"/>
                  </a:lnTo>
                  <a:lnTo>
                    <a:pt x="289" y="102"/>
                  </a:lnTo>
                  <a:lnTo>
                    <a:pt x="285" y="106"/>
                  </a:lnTo>
                  <a:lnTo>
                    <a:pt x="285" y="107"/>
                  </a:lnTo>
                  <a:lnTo>
                    <a:pt x="283" y="109"/>
                  </a:lnTo>
                  <a:lnTo>
                    <a:pt x="285" y="112"/>
                  </a:lnTo>
                  <a:lnTo>
                    <a:pt x="286" y="114"/>
                  </a:lnTo>
                  <a:lnTo>
                    <a:pt x="287" y="116"/>
                  </a:lnTo>
                  <a:lnTo>
                    <a:pt x="287" y="119"/>
                  </a:lnTo>
                  <a:lnTo>
                    <a:pt x="285" y="121"/>
                  </a:lnTo>
                  <a:lnTo>
                    <a:pt x="283" y="125"/>
                  </a:lnTo>
                  <a:lnTo>
                    <a:pt x="283" y="128"/>
                  </a:lnTo>
                  <a:lnTo>
                    <a:pt x="285" y="132"/>
                  </a:lnTo>
                  <a:lnTo>
                    <a:pt x="291" y="145"/>
                  </a:lnTo>
                  <a:lnTo>
                    <a:pt x="291" y="148"/>
                  </a:lnTo>
                  <a:lnTo>
                    <a:pt x="292" y="152"/>
                  </a:lnTo>
                  <a:lnTo>
                    <a:pt x="292" y="155"/>
                  </a:lnTo>
                  <a:lnTo>
                    <a:pt x="292" y="159"/>
                  </a:lnTo>
                  <a:lnTo>
                    <a:pt x="294" y="160"/>
                  </a:lnTo>
                  <a:lnTo>
                    <a:pt x="296" y="161"/>
                  </a:lnTo>
                  <a:lnTo>
                    <a:pt x="300" y="163"/>
                  </a:lnTo>
                  <a:lnTo>
                    <a:pt x="306" y="166"/>
                  </a:lnTo>
                  <a:lnTo>
                    <a:pt x="313" y="168"/>
                  </a:lnTo>
                  <a:lnTo>
                    <a:pt x="316" y="171"/>
                  </a:lnTo>
                  <a:lnTo>
                    <a:pt x="318" y="172"/>
                  </a:lnTo>
                  <a:lnTo>
                    <a:pt x="319" y="174"/>
                  </a:lnTo>
                  <a:lnTo>
                    <a:pt x="318" y="179"/>
                  </a:lnTo>
                  <a:lnTo>
                    <a:pt x="315" y="183"/>
                  </a:lnTo>
                  <a:lnTo>
                    <a:pt x="310" y="189"/>
                  </a:lnTo>
                  <a:lnTo>
                    <a:pt x="304" y="196"/>
                  </a:lnTo>
                  <a:lnTo>
                    <a:pt x="299" y="203"/>
                  </a:lnTo>
                  <a:lnTo>
                    <a:pt x="297" y="206"/>
                  </a:lnTo>
                  <a:lnTo>
                    <a:pt x="297" y="210"/>
                  </a:lnTo>
                  <a:lnTo>
                    <a:pt x="299" y="215"/>
                  </a:lnTo>
                  <a:lnTo>
                    <a:pt x="304" y="222"/>
                  </a:lnTo>
                  <a:lnTo>
                    <a:pt x="316" y="236"/>
                  </a:lnTo>
                  <a:lnTo>
                    <a:pt x="319" y="240"/>
                  </a:lnTo>
                  <a:lnTo>
                    <a:pt x="320" y="243"/>
                  </a:lnTo>
                  <a:lnTo>
                    <a:pt x="322" y="250"/>
                  </a:lnTo>
                  <a:lnTo>
                    <a:pt x="323" y="254"/>
                  </a:lnTo>
                  <a:lnTo>
                    <a:pt x="325" y="257"/>
                  </a:lnTo>
                  <a:lnTo>
                    <a:pt x="327" y="260"/>
                  </a:lnTo>
                  <a:lnTo>
                    <a:pt x="329" y="263"/>
                  </a:lnTo>
                  <a:lnTo>
                    <a:pt x="329" y="266"/>
                  </a:lnTo>
                  <a:lnTo>
                    <a:pt x="328" y="267"/>
                  </a:lnTo>
                  <a:lnTo>
                    <a:pt x="324" y="269"/>
                  </a:lnTo>
                  <a:lnTo>
                    <a:pt x="319" y="270"/>
                  </a:lnTo>
                  <a:lnTo>
                    <a:pt x="315" y="272"/>
                  </a:lnTo>
                  <a:lnTo>
                    <a:pt x="310" y="278"/>
                  </a:lnTo>
                  <a:lnTo>
                    <a:pt x="306" y="286"/>
                  </a:lnTo>
                  <a:lnTo>
                    <a:pt x="300" y="301"/>
                  </a:lnTo>
                  <a:lnTo>
                    <a:pt x="297" y="302"/>
                  </a:lnTo>
                  <a:lnTo>
                    <a:pt x="296" y="302"/>
                  </a:lnTo>
                  <a:lnTo>
                    <a:pt x="295" y="302"/>
                  </a:lnTo>
                  <a:lnTo>
                    <a:pt x="289" y="301"/>
                  </a:lnTo>
                  <a:lnTo>
                    <a:pt x="283" y="300"/>
                  </a:lnTo>
                  <a:lnTo>
                    <a:pt x="277" y="301"/>
                  </a:lnTo>
                  <a:lnTo>
                    <a:pt x="271" y="302"/>
                  </a:lnTo>
                  <a:lnTo>
                    <a:pt x="262" y="304"/>
                  </a:lnTo>
                  <a:lnTo>
                    <a:pt x="253" y="304"/>
                  </a:lnTo>
                  <a:lnTo>
                    <a:pt x="245" y="300"/>
                  </a:lnTo>
                  <a:lnTo>
                    <a:pt x="239" y="295"/>
                  </a:lnTo>
                  <a:lnTo>
                    <a:pt x="233" y="289"/>
                  </a:lnTo>
                  <a:lnTo>
                    <a:pt x="229" y="283"/>
                  </a:lnTo>
                  <a:lnTo>
                    <a:pt x="225" y="275"/>
                  </a:lnTo>
                  <a:lnTo>
                    <a:pt x="224" y="267"/>
                  </a:lnTo>
                  <a:lnTo>
                    <a:pt x="221" y="265"/>
                  </a:lnTo>
                  <a:lnTo>
                    <a:pt x="219" y="263"/>
                  </a:lnTo>
                  <a:lnTo>
                    <a:pt x="215" y="263"/>
                  </a:lnTo>
                  <a:lnTo>
                    <a:pt x="212" y="265"/>
                  </a:lnTo>
                  <a:lnTo>
                    <a:pt x="207" y="270"/>
                  </a:lnTo>
                  <a:lnTo>
                    <a:pt x="201" y="274"/>
                  </a:lnTo>
                  <a:lnTo>
                    <a:pt x="193" y="278"/>
                  </a:lnTo>
                  <a:lnTo>
                    <a:pt x="186" y="280"/>
                  </a:lnTo>
                  <a:lnTo>
                    <a:pt x="177" y="280"/>
                  </a:lnTo>
                  <a:lnTo>
                    <a:pt x="169" y="278"/>
                  </a:lnTo>
                  <a:lnTo>
                    <a:pt x="160" y="273"/>
                  </a:lnTo>
                  <a:lnTo>
                    <a:pt x="153" y="265"/>
                  </a:lnTo>
                  <a:lnTo>
                    <a:pt x="150" y="263"/>
                  </a:lnTo>
                  <a:lnTo>
                    <a:pt x="149" y="263"/>
                  </a:lnTo>
                  <a:lnTo>
                    <a:pt x="148" y="262"/>
                  </a:lnTo>
                  <a:lnTo>
                    <a:pt x="145" y="257"/>
                  </a:lnTo>
                  <a:lnTo>
                    <a:pt x="140" y="253"/>
                  </a:lnTo>
                  <a:lnTo>
                    <a:pt x="135" y="250"/>
                  </a:lnTo>
                  <a:lnTo>
                    <a:pt x="132" y="250"/>
                  </a:lnTo>
                  <a:lnTo>
                    <a:pt x="131" y="248"/>
                  </a:lnTo>
                  <a:lnTo>
                    <a:pt x="130" y="247"/>
                  </a:lnTo>
                  <a:lnTo>
                    <a:pt x="130" y="244"/>
                  </a:lnTo>
                  <a:lnTo>
                    <a:pt x="129" y="240"/>
                  </a:lnTo>
                  <a:lnTo>
                    <a:pt x="126" y="236"/>
                  </a:lnTo>
                  <a:lnTo>
                    <a:pt x="122" y="233"/>
                  </a:lnTo>
                  <a:lnTo>
                    <a:pt x="122" y="228"/>
                  </a:lnTo>
                  <a:lnTo>
                    <a:pt x="120" y="223"/>
                  </a:lnTo>
                  <a:lnTo>
                    <a:pt x="118" y="221"/>
                  </a:lnTo>
                  <a:lnTo>
                    <a:pt x="116" y="217"/>
                  </a:lnTo>
                  <a:lnTo>
                    <a:pt x="112" y="211"/>
                  </a:lnTo>
                  <a:lnTo>
                    <a:pt x="108" y="204"/>
                  </a:lnTo>
                  <a:lnTo>
                    <a:pt x="104" y="203"/>
                  </a:lnTo>
                  <a:lnTo>
                    <a:pt x="99" y="200"/>
                  </a:lnTo>
                  <a:lnTo>
                    <a:pt x="98" y="197"/>
                  </a:lnTo>
                  <a:lnTo>
                    <a:pt x="97" y="196"/>
                  </a:lnTo>
                  <a:lnTo>
                    <a:pt x="94" y="193"/>
                  </a:lnTo>
                  <a:lnTo>
                    <a:pt x="92" y="193"/>
                  </a:lnTo>
                  <a:lnTo>
                    <a:pt x="90" y="195"/>
                  </a:lnTo>
                  <a:lnTo>
                    <a:pt x="87" y="199"/>
                  </a:lnTo>
                  <a:lnTo>
                    <a:pt x="75" y="190"/>
                  </a:lnTo>
                  <a:lnTo>
                    <a:pt x="71" y="186"/>
                  </a:lnTo>
                  <a:lnTo>
                    <a:pt x="69" y="183"/>
                  </a:lnTo>
                  <a:lnTo>
                    <a:pt x="66" y="179"/>
                  </a:lnTo>
                  <a:lnTo>
                    <a:pt x="65" y="174"/>
                  </a:lnTo>
                  <a:lnTo>
                    <a:pt x="65" y="159"/>
                  </a:lnTo>
                  <a:lnTo>
                    <a:pt x="64" y="154"/>
                  </a:lnTo>
                  <a:lnTo>
                    <a:pt x="61" y="151"/>
                  </a:lnTo>
                  <a:lnTo>
                    <a:pt x="52" y="145"/>
                  </a:lnTo>
                  <a:lnTo>
                    <a:pt x="45" y="140"/>
                  </a:lnTo>
                  <a:lnTo>
                    <a:pt x="40" y="135"/>
                  </a:lnTo>
                  <a:lnTo>
                    <a:pt x="35" y="131"/>
                  </a:lnTo>
                  <a:lnTo>
                    <a:pt x="33" y="127"/>
                  </a:lnTo>
                  <a:lnTo>
                    <a:pt x="33" y="122"/>
                  </a:lnTo>
                  <a:lnTo>
                    <a:pt x="32" y="121"/>
                  </a:lnTo>
                  <a:lnTo>
                    <a:pt x="31" y="120"/>
                  </a:lnTo>
                  <a:lnTo>
                    <a:pt x="27" y="118"/>
                  </a:lnTo>
                  <a:lnTo>
                    <a:pt x="23" y="114"/>
                  </a:lnTo>
                  <a:lnTo>
                    <a:pt x="22" y="110"/>
                  </a:lnTo>
                  <a:lnTo>
                    <a:pt x="22" y="108"/>
                  </a:lnTo>
                  <a:lnTo>
                    <a:pt x="23" y="107"/>
                  </a:lnTo>
                  <a:lnTo>
                    <a:pt x="28" y="100"/>
                  </a:lnTo>
                  <a:lnTo>
                    <a:pt x="33" y="94"/>
                  </a:lnTo>
                  <a:lnTo>
                    <a:pt x="36" y="90"/>
                  </a:lnTo>
                  <a:lnTo>
                    <a:pt x="37" y="87"/>
                  </a:lnTo>
                  <a:lnTo>
                    <a:pt x="37" y="83"/>
                  </a:lnTo>
                  <a:lnTo>
                    <a:pt x="36" y="80"/>
                  </a:lnTo>
                  <a:lnTo>
                    <a:pt x="32" y="76"/>
                  </a:lnTo>
                  <a:lnTo>
                    <a:pt x="28" y="74"/>
                  </a:lnTo>
                  <a:lnTo>
                    <a:pt x="23" y="71"/>
                  </a:lnTo>
                  <a:lnTo>
                    <a:pt x="22" y="69"/>
                  </a:lnTo>
                  <a:lnTo>
                    <a:pt x="21" y="67"/>
                  </a:lnTo>
                  <a:lnTo>
                    <a:pt x="19" y="59"/>
                  </a:lnTo>
                  <a:lnTo>
                    <a:pt x="19" y="57"/>
                  </a:lnTo>
                  <a:lnTo>
                    <a:pt x="17" y="55"/>
                  </a:lnTo>
                  <a:lnTo>
                    <a:pt x="12" y="50"/>
                  </a:lnTo>
                  <a:lnTo>
                    <a:pt x="7" y="4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3" name="Freeform 642"/>
            <p:cNvSpPr>
              <a:spLocks/>
            </p:cNvSpPr>
            <p:nvPr/>
          </p:nvSpPr>
          <p:spPr bwMode="auto">
            <a:xfrm>
              <a:off x="5751516" y="3563938"/>
              <a:ext cx="20637" cy="17462"/>
            </a:xfrm>
            <a:custGeom>
              <a:avLst/>
              <a:gdLst>
                <a:gd name="T0" fmla="*/ 2147483647 w 14"/>
                <a:gd name="T1" fmla="*/ 2147483647 h 11"/>
                <a:gd name="T2" fmla="*/ 2147483647 w 14"/>
                <a:gd name="T3" fmla="*/ 2147483647 h 11"/>
                <a:gd name="T4" fmla="*/ 2147483647 w 14"/>
                <a:gd name="T5" fmla="*/ 2147483647 h 11"/>
                <a:gd name="T6" fmla="*/ 2147483647 w 14"/>
                <a:gd name="T7" fmla="*/ 2147483647 h 11"/>
                <a:gd name="T8" fmla="*/ 2147483647 w 14"/>
                <a:gd name="T9" fmla="*/ 2147483647 h 11"/>
                <a:gd name="T10" fmla="*/ 2147483647 w 14"/>
                <a:gd name="T11" fmla="*/ 2147483647 h 11"/>
                <a:gd name="T12" fmla="*/ 2147483647 w 14"/>
                <a:gd name="T13" fmla="*/ 2147483647 h 11"/>
                <a:gd name="T14" fmla="*/ 2147483647 w 14"/>
                <a:gd name="T15" fmla="*/ 0 h 11"/>
                <a:gd name="T16" fmla="*/ 2147483647 w 14"/>
                <a:gd name="T17" fmla="*/ 0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2147483647 w 14"/>
                <a:gd name="T29" fmla="*/ 2147483647 h 11"/>
                <a:gd name="T30" fmla="*/ 0 w 14"/>
                <a:gd name="T31" fmla="*/ 2147483647 h 11"/>
                <a:gd name="T32" fmla="*/ 0 w 14"/>
                <a:gd name="T33" fmla="*/ 2147483647 h 11"/>
                <a:gd name="T34" fmla="*/ 0 w 14"/>
                <a:gd name="T35" fmla="*/ 2147483647 h 11"/>
                <a:gd name="T36" fmla="*/ 2147483647 w 14"/>
                <a:gd name="T37" fmla="*/ 2147483647 h 11"/>
                <a:gd name="T38" fmla="*/ 2147483647 w 14"/>
                <a:gd name="T39" fmla="*/ 2147483647 h 11"/>
                <a:gd name="T40" fmla="*/ 2147483647 w 14"/>
                <a:gd name="T41" fmla="*/ 2147483647 h 11"/>
                <a:gd name="T42" fmla="*/ 2147483647 w 14"/>
                <a:gd name="T43" fmla="*/ 2147483647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1"/>
                <a:gd name="T68" fmla="*/ 14 w 14"/>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1">
                  <a:moveTo>
                    <a:pt x="8" y="8"/>
                  </a:moveTo>
                  <a:lnTo>
                    <a:pt x="8" y="8"/>
                  </a:lnTo>
                  <a:lnTo>
                    <a:pt x="10" y="5"/>
                  </a:lnTo>
                  <a:lnTo>
                    <a:pt x="13" y="4"/>
                  </a:lnTo>
                  <a:lnTo>
                    <a:pt x="14" y="3"/>
                  </a:lnTo>
                  <a:lnTo>
                    <a:pt x="14" y="2"/>
                  </a:lnTo>
                  <a:lnTo>
                    <a:pt x="14" y="0"/>
                  </a:lnTo>
                  <a:lnTo>
                    <a:pt x="12" y="2"/>
                  </a:lnTo>
                  <a:lnTo>
                    <a:pt x="9" y="3"/>
                  </a:lnTo>
                  <a:lnTo>
                    <a:pt x="4" y="8"/>
                  </a:lnTo>
                  <a:lnTo>
                    <a:pt x="3" y="8"/>
                  </a:lnTo>
                  <a:lnTo>
                    <a:pt x="0" y="9"/>
                  </a:lnTo>
                  <a:lnTo>
                    <a:pt x="0" y="11"/>
                  </a:lnTo>
                  <a:lnTo>
                    <a:pt x="3" y="11"/>
                  </a:lnTo>
                  <a:lnTo>
                    <a:pt x="4" y="10"/>
                  </a:lnTo>
                  <a:lnTo>
                    <a:pt x="8"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4" name="Freeform 643"/>
            <p:cNvSpPr>
              <a:spLocks/>
            </p:cNvSpPr>
            <p:nvPr/>
          </p:nvSpPr>
          <p:spPr bwMode="auto">
            <a:xfrm>
              <a:off x="5461001" y="3133729"/>
              <a:ext cx="482600" cy="481013"/>
            </a:xfrm>
            <a:custGeom>
              <a:avLst/>
              <a:gdLst>
                <a:gd name="T0" fmla="*/ 0 w 329"/>
                <a:gd name="T1" fmla="*/ 2147483647 h 303"/>
                <a:gd name="T2" fmla="*/ 2147483647 w 329"/>
                <a:gd name="T3" fmla="*/ 0 h 303"/>
                <a:gd name="T4" fmla="*/ 2147483647 w 329"/>
                <a:gd name="T5" fmla="*/ 2147483647 h 303"/>
                <a:gd name="T6" fmla="*/ 2147483647 w 329"/>
                <a:gd name="T7" fmla="*/ 2147483647 h 303"/>
                <a:gd name="T8" fmla="*/ 2147483647 w 329"/>
                <a:gd name="T9" fmla="*/ 2147483647 h 303"/>
                <a:gd name="T10" fmla="*/ 2147483647 w 329"/>
                <a:gd name="T11" fmla="*/ 2147483647 h 303"/>
                <a:gd name="T12" fmla="*/ 2147483647 w 329"/>
                <a:gd name="T13" fmla="*/ 2147483647 h 303"/>
                <a:gd name="T14" fmla="*/ 2147483647 w 329"/>
                <a:gd name="T15" fmla="*/ 2147483647 h 303"/>
                <a:gd name="T16" fmla="*/ 2147483647 w 329"/>
                <a:gd name="T17" fmla="*/ 2147483647 h 303"/>
                <a:gd name="T18" fmla="*/ 2147483647 w 329"/>
                <a:gd name="T19" fmla="*/ 2147483647 h 303"/>
                <a:gd name="T20" fmla="*/ 2147483647 w 329"/>
                <a:gd name="T21" fmla="*/ 2147483647 h 303"/>
                <a:gd name="T22" fmla="*/ 2147483647 w 329"/>
                <a:gd name="T23" fmla="*/ 2147483647 h 303"/>
                <a:gd name="T24" fmla="*/ 2147483647 w 329"/>
                <a:gd name="T25" fmla="*/ 2147483647 h 303"/>
                <a:gd name="T26" fmla="*/ 2147483647 w 329"/>
                <a:gd name="T27" fmla="*/ 2147483647 h 303"/>
                <a:gd name="T28" fmla="*/ 2147483647 w 329"/>
                <a:gd name="T29" fmla="*/ 2147483647 h 303"/>
                <a:gd name="T30" fmla="*/ 2147483647 w 329"/>
                <a:gd name="T31" fmla="*/ 2147483647 h 303"/>
                <a:gd name="T32" fmla="*/ 2147483647 w 329"/>
                <a:gd name="T33" fmla="*/ 2147483647 h 303"/>
                <a:gd name="T34" fmla="*/ 2147483647 w 329"/>
                <a:gd name="T35" fmla="*/ 2147483647 h 303"/>
                <a:gd name="T36" fmla="*/ 2147483647 w 329"/>
                <a:gd name="T37" fmla="*/ 2147483647 h 303"/>
                <a:gd name="T38" fmla="*/ 2147483647 w 329"/>
                <a:gd name="T39" fmla="*/ 2147483647 h 303"/>
                <a:gd name="T40" fmla="*/ 2147483647 w 329"/>
                <a:gd name="T41" fmla="*/ 2147483647 h 303"/>
                <a:gd name="T42" fmla="*/ 2147483647 w 329"/>
                <a:gd name="T43" fmla="*/ 2147483647 h 303"/>
                <a:gd name="T44" fmla="*/ 2147483647 w 329"/>
                <a:gd name="T45" fmla="*/ 2147483647 h 303"/>
                <a:gd name="T46" fmla="*/ 2147483647 w 329"/>
                <a:gd name="T47" fmla="*/ 2147483647 h 303"/>
                <a:gd name="T48" fmla="*/ 2147483647 w 329"/>
                <a:gd name="T49" fmla="*/ 2147483647 h 303"/>
                <a:gd name="T50" fmla="*/ 2147483647 w 329"/>
                <a:gd name="T51" fmla="*/ 2147483647 h 303"/>
                <a:gd name="T52" fmla="*/ 2147483647 w 329"/>
                <a:gd name="T53" fmla="*/ 2147483647 h 303"/>
                <a:gd name="T54" fmla="*/ 2147483647 w 329"/>
                <a:gd name="T55" fmla="*/ 2147483647 h 303"/>
                <a:gd name="T56" fmla="*/ 2147483647 w 329"/>
                <a:gd name="T57" fmla="*/ 2147483647 h 303"/>
                <a:gd name="T58" fmla="*/ 2147483647 w 329"/>
                <a:gd name="T59" fmla="*/ 2147483647 h 303"/>
                <a:gd name="T60" fmla="*/ 2147483647 w 329"/>
                <a:gd name="T61" fmla="*/ 2147483647 h 303"/>
                <a:gd name="T62" fmla="*/ 2147483647 w 329"/>
                <a:gd name="T63" fmla="*/ 2147483647 h 303"/>
                <a:gd name="T64" fmla="*/ 2147483647 w 329"/>
                <a:gd name="T65" fmla="*/ 2147483647 h 303"/>
                <a:gd name="T66" fmla="*/ 2147483647 w 329"/>
                <a:gd name="T67" fmla="*/ 2147483647 h 303"/>
                <a:gd name="T68" fmla="*/ 2147483647 w 329"/>
                <a:gd name="T69" fmla="*/ 2147483647 h 303"/>
                <a:gd name="T70" fmla="*/ 2147483647 w 329"/>
                <a:gd name="T71" fmla="*/ 2147483647 h 303"/>
                <a:gd name="T72" fmla="*/ 2147483647 w 329"/>
                <a:gd name="T73" fmla="*/ 2147483647 h 303"/>
                <a:gd name="T74" fmla="*/ 2147483647 w 329"/>
                <a:gd name="T75" fmla="*/ 2147483647 h 303"/>
                <a:gd name="T76" fmla="*/ 2147483647 w 329"/>
                <a:gd name="T77" fmla="*/ 2147483647 h 303"/>
                <a:gd name="T78" fmla="*/ 2147483647 w 329"/>
                <a:gd name="T79" fmla="*/ 2147483647 h 303"/>
                <a:gd name="T80" fmla="*/ 2147483647 w 329"/>
                <a:gd name="T81" fmla="*/ 2147483647 h 303"/>
                <a:gd name="T82" fmla="*/ 2147483647 w 329"/>
                <a:gd name="T83" fmla="*/ 2147483647 h 303"/>
                <a:gd name="T84" fmla="*/ 2147483647 w 329"/>
                <a:gd name="T85" fmla="*/ 2147483647 h 303"/>
                <a:gd name="T86" fmla="*/ 2147483647 w 329"/>
                <a:gd name="T87" fmla="*/ 2147483647 h 303"/>
                <a:gd name="T88" fmla="*/ 2147483647 w 329"/>
                <a:gd name="T89" fmla="*/ 2147483647 h 303"/>
                <a:gd name="T90" fmla="*/ 2147483647 w 329"/>
                <a:gd name="T91" fmla="*/ 2147483647 h 303"/>
                <a:gd name="T92" fmla="*/ 2147483647 w 329"/>
                <a:gd name="T93" fmla="*/ 2147483647 h 303"/>
                <a:gd name="T94" fmla="*/ 2147483647 w 329"/>
                <a:gd name="T95" fmla="*/ 2147483647 h 303"/>
                <a:gd name="T96" fmla="*/ 2147483647 w 329"/>
                <a:gd name="T97" fmla="*/ 2147483647 h 303"/>
                <a:gd name="T98" fmla="*/ 2147483647 w 329"/>
                <a:gd name="T99" fmla="*/ 2147483647 h 303"/>
                <a:gd name="T100" fmla="*/ 2147483647 w 329"/>
                <a:gd name="T101" fmla="*/ 2147483647 h 303"/>
                <a:gd name="T102" fmla="*/ 2147483647 w 329"/>
                <a:gd name="T103" fmla="*/ 2147483647 h 303"/>
                <a:gd name="T104" fmla="*/ 2147483647 w 329"/>
                <a:gd name="T105" fmla="*/ 2147483647 h 303"/>
                <a:gd name="T106" fmla="*/ 2147483647 w 329"/>
                <a:gd name="T107" fmla="*/ 2147483647 h 303"/>
                <a:gd name="T108" fmla="*/ 2147483647 w 329"/>
                <a:gd name="T109" fmla="*/ 2147483647 h 303"/>
                <a:gd name="T110" fmla="*/ 2147483647 w 329"/>
                <a:gd name="T111" fmla="*/ 2147483647 h 303"/>
                <a:gd name="T112" fmla="*/ 2147483647 w 329"/>
                <a:gd name="T113" fmla="*/ 2147483647 h 303"/>
                <a:gd name="T114" fmla="*/ 2147483647 w 329"/>
                <a:gd name="T115" fmla="*/ 2147483647 h 3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9"/>
                <a:gd name="T175" fmla="*/ 0 h 303"/>
                <a:gd name="T176" fmla="*/ 329 w 329"/>
                <a:gd name="T177" fmla="*/ 303 h 30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9" h="303">
                  <a:moveTo>
                    <a:pt x="6" y="44"/>
                  </a:moveTo>
                  <a:lnTo>
                    <a:pt x="6" y="44"/>
                  </a:lnTo>
                  <a:lnTo>
                    <a:pt x="3" y="36"/>
                  </a:lnTo>
                  <a:lnTo>
                    <a:pt x="1" y="26"/>
                  </a:lnTo>
                  <a:lnTo>
                    <a:pt x="0" y="17"/>
                  </a:lnTo>
                  <a:lnTo>
                    <a:pt x="0" y="7"/>
                  </a:lnTo>
                  <a:lnTo>
                    <a:pt x="1" y="4"/>
                  </a:lnTo>
                  <a:lnTo>
                    <a:pt x="3" y="2"/>
                  </a:lnTo>
                  <a:lnTo>
                    <a:pt x="5" y="0"/>
                  </a:lnTo>
                  <a:lnTo>
                    <a:pt x="8" y="0"/>
                  </a:lnTo>
                  <a:lnTo>
                    <a:pt x="11" y="0"/>
                  </a:lnTo>
                  <a:lnTo>
                    <a:pt x="14" y="2"/>
                  </a:lnTo>
                  <a:lnTo>
                    <a:pt x="18" y="8"/>
                  </a:lnTo>
                  <a:lnTo>
                    <a:pt x="23" y="13"/>
                  </a:lnTo>
                  <a:lnTo>
                    <a:pt x="27" y="15"/>
                  </a:lnTo>
                  <a:lnTo>
                    <a:pt x="29" y="17"/>
                  </a:lnTo>
                  <a:lnTo>
                    <a:pt x="33" y="17"/>
                  </a:lnTo>
                  <a:lnTo>
                    <a:pt x="37" y="17"/>
                  </a:lnTo>
                  <a:lnTo>
                    <a:pt x="43" y="14"/>
                  </a:lnTo>
                  <a:lnTo>
                    <a:pt x="48" y="11"/>
                  </a:lnTo>
                  <a:lnTo>
                    <a:pt x="55" y="7"/>
                  </a:lnTo>
                  <a:lnTo>
                    <a:pt x="61" y="4"/>
                  </a:lnTo>
                  <a:lnTo>
                    <a:pt x="62" y="4"/>
                  </a:lnTo>
                  <a:lnTo>
                    <a:pt x="63" y="4"/>
                  </a:lnTo>
                  <a:lnTo>
                    <a:pt x="66" y="7"/>
                  </a:lnTo>
                  <a:lnTo>
                    <a:pt x="67" y="11"/>
                  </a:lnTo>
                  <a:lnTo>
                    <a:pt x="66" y="13"/>
                  </a:lnTo>
                  <a:lnTo>
                    <a:pt x="66" y="18"/>
                  </a:lnTo>
                  <a:lnTo>
                    <a:pt x="67" y="22"/>
                  </a:lnTo>
                  <a:lnTo>
                    <a:pt x="69" y="25"/>
                  </a:lnTo>
                  <a:lnTo>
                    <a:pt x="71" y="28"/>
                  </a:lnTo>
                  <a:lnTo>
                    <a:pt x="74" y="30"/>
                  </a:lnTo>
                  <a:lnTo>
                    <a:pt x="77" y="32"/>
                  </a:lnTo>
                  <a:lnTo>
                    <a:pt x="85" y="33"/>
                  </a:lnTo>
                  <a:lnTo>
                    <a:pt x="86" y="41"/>
                  </a:lnTo>
                  <a:lnTo>
                    <a:pt x="88" y="44"/>
                  </a:lnTo>
                  <a:lnTo>
                    <a:pt x="89" y="45"/>
                  </a:lnTo>
                  <a:lnTo>
                    <a:pt x="94" y="46"/>
                  </a:lnTo>
                  <a:lnTo>
                    <a:pt x="104" y="47"/>
                  </a:lnTo>
                  <a:lnTo>
                    <a:pt x="108" y="49"/>
                  </a:lnTo>
                  <a:lnTo>
                    <a:pt x="110" y="51"/>
                  </a:lnTo>
                  <a:lnTo>
                    <a:pt x="113" y="53"/>
                  </a:lnTo>
                  <a:lnTo>
                    <a:pt x="117" y="56"/>
                  </a:lnTo>
                  <a:lnTo>
                    <a:pt x="124" y="60"/>
                  </a:lnTo>
                  <a:lnTo>
                    <a:pt x="127" y="64"/>
                  </a:lnTo>
                  <a:lnTo>
                    <a:pt x="130" y="65"/>
                  </a:lnTo>
                  <a:lnTo>
                    <a:pt x="133" y="65"/>
                  </a:lnTo>
                  <a:lnTo>
                    <a:pt x="137" y="65"/>
                  </a:lnTo>
                  <a:lnTo>
                    <a:pt x="140" y="65"/>
                  </a:lnTo>
                  <a:lnTo>
                    <a:pt x="143" y="63"/>
                  </a:lnTo>
                  <a:lnTo>
                    <a:pt x="149" y="60"/>
                  </a:lnTo>
                  <a:lnTo>
                    <a:pt x="152" y="60"/>
                  </a:lnTo>
                  <a:lnTo>
                    <a:pt x="156" y="60"/>
                  </a:lnTo>
                  <a:lnTo>
                    <a:pt x="161" y="60"/>
                  </a:lnTo>
                  <a:lnTo>
                    <a:pt x="165" y="60"/>
                  </a:lnTo>
                  <a:lnTo>
                    <a:pt x="168" y="59"/>
                  </a:lnTo>
                  <a:lnTo>
                    <a:pt x="170" y="58"/>
                  </a:lnTo>
                  <a:lnTo>
                    <a:pt x="173" y="53"/>
                  </a:lnTo>
                  <a:lnTo>
                    <a:pt x="174" y="49"/>
                  </a:lnTo>
                  <a:lnTo>
                    <a:pt x="174" y="43"/>
                  </a:lnTo>
                  <a:lnTo>
                    <a:pt x="183" y="41"/>
                  </a:lnTo>
                  <a:lnTo>
                    <a:pt x="190" y="38"/>
                  </a:lnTo>
                  <a:lnTo>
                    <a:pt x="204" y="30"/>
                  </a:lnTo>
                  <a:lnTo>
                    <a:pt x="210" y="27"/>
                  </a:lnTo>
                  <a:lnTo>
                    <a:pt x="215" y="26"/>
                  </a:lnTo>
                  <a:lnTo>
                    <a:pt x="221" y="21"/>
                  </a:lnTo>
                  <a:lnTo>
                    <a:pt x="223" y="26"/>
                  </a:lnTo>
                  <a:lnTo>
                    <a:pt x="227" y="28"/>
                  </a:lnTo>
                  <a:lnTo>
                    <a:pt x="231" y="28"/>
                  </a:lnTo>
                  <a:lnTo>
                    <a:pt x="234" y="30"/>
                  </a:lnTo>
                  <a:lnTo>
                    <a:pt x="239" y="32"/>
                  </a:lnTo>
                  <a:lnTo>
                    <a:pt x="245" y="34"/>
                  </a:lnTo>
                  <a:lnTo>
                    <a:pt x="256" y="36"/>
                  </a:lnTo>
                  <a:lnTo>
                    <a:pt x="263" y="38"/>
                  </a:lnTo>
                  <a:lnTo>
                    <a:pt x="265" y="40"/>
                  </a:lnTo>
                  <a:lnTo>
                    <a:pt x="268" y="43"/>
                  </a:lnTo>
                  <a:lnTo>
                    <a:pt x="273" y="47"/>
                  </a:lnTo>
                  <a:lnTo>
                    <a:pt x="279" y="51"/>
                  </a:lnTo>
                  <a:lnTo>
                    <a:pt x="292" y="54"/>
                  </a:lnTo>
                  <a:lnTo>
                    <a:pt x="296" y="57"/>
                  </a:lnTo>
                  <a:lnTo>
                    <a:pt x="298" y="60"/>
                  </a:lnTo>
                  <a:lnTo>
                    <a:pt x="300" y="64"/>
                  </a:lnTo>
                  <a:lnTo>
                    <a:pt x="300" y="69"/>
                  </a:lnTo>
                  <a:lnTo>
                    <a:pt x="300" y="77"/>
                  </a:lnTo>
                  <a:lnTo>
                    <a:pt x="298" y="84"/>
                  </a:lnTo>
                  <a:lnTo>
                    <a:pt x="296" y="92"/>
                  </a:lnTo>
                  <a:lnTo>
                    <a:pt x="292" y="98"/>
                  </a:lnTo>
                  <a:lnTo>
                    <a:pt x="288" y="102"/>
                  </a:lnTo>
                  <a:lnTo>
                    <a:pt x="284" y="105"/>
                  </a:lnTo>
                  <a:lnTo>
                    <a:pt x="284" y="107"/>
                  </a:lnTo>
                  <a:lnTo>
                    <a:pt x="283" y="109"/>
                  </a:lnTo>
                  <a:lnTo>
                    <a:pt x="284" y="111"/>
                  </a:lnTo>
                  <a:lnTo>
                    <a:pt x="286" y="114"/>
                  </a:lnTo>
                  <a:lnTo>
                    <a:pt x="287" y="116"/>
                  </a:lnTo>
                  <a:lnTo>
                    <a:pt x="287" y="119"/>
                  </a:lnTo>
                  <a:lnTo>
                    <a:pt x="284" y="121"/>
                  </a:lnTo>
                  <a:lnTo>
                    <a:pt x="283" y="124"/>
                  </a:lnTo>
                  <a:lnTo>
                    <a:pt x="283" y="128"/>
                  </a:lnTo>
                  <a:lnTo>
                    <a:pt x="284" y="132"/>
                  </a:lnTo>
                  <a:lnTo>
                    <a:pt x="291" y="145"/>
                  </a:lnTo>
                  <a:lnTo>
                    <a:pt x="291" y="148"/>
                  </a:lnTo>
                  <a:lnTo>
                    <a:pt x="292" y="152"/>
                  </a:lnTo>
                  <a:lnTo>
                    <a:pt x="292" y="155"/>
                  </a:lnTo>
                  <a:lnTo>
                    <a:pt x="292" y="159"/>
                  </a:lnTo>
                  <a:lnTo>
                    <a:pt x="293" y="160"/>
                  </a:lnTo>
                  <a:lnTo>
                    <a:pt x="296" y="161"/>
                  </a:lnTo>
                  <a:lnTo>
                    <a:pt x="300" y="162"/>
                  </a:lnTo>
                  <a:lnTo>
                    <a:pt x="306" y="166"/>
                  </a:lnTo>
                  <a:lnTo>
                    <a:pt x="312" y="168"/>
                  </a:lnTo>
                  <a:lnTo>
                    <a:pt x="316" y="171"/>
                  </a:lnTo>
                  <a:lnTo>
                    <a:pt x="317" y="172"/>
                  </a:lnTo>
                  <a:lnTo>
                    <a:pt x="319" y="174"/>
                  </a:lnTo>
                  <a:lnTo>
                    <a:pt x="317" y="179"/>
                  </a:lnTo>
                  <a:lnTo>
                    <a:pt x="315" y="183"/>
                  </a:lnTo>
                  <a:lnTo>
                    <a:pt x="310" y="188"/>
                  </a:lnTo>
                  <a:lnTo>
                    <a:pt x="303" y="196"/>
                  </a:lnTo>
                  <a:lnTo>
                    <a:pt x="298" y="203"/>
                  </a:lnTo>
                  <a:lnTo>
                    <a:pt x="297" y="206"/>
                  </a:lnTo>
                  <a:lnTo>
                    <a:pt x="297" y="210"/>
                  </a:lnTo>
                  <a:lnTo>
                    <a:pt x="298" y="215"/>
                  </a:lnTo>
                  <a:lnTo>
                    <a:pt x="303" y="222"/>
                  </a:lnTo>
                  <a:lnTo>
                    <a:pt x="316" y="236"/>
                  </a:lnTo>
                  <a:lnTo>
                    <a:pt x="319" y="239"/>
                  </a:lnTo>
                  <a:lnTo>
                    <a:pt x="320" y="243"/>
                  </a:lnTo>
                  <a:lnTo>
                    <a:pt x="321" y="250"/>
                  </a:lnTo>
                  <a:lnTo>
                    <a:pt x="323" y="254"/>
                  </a:lnTo>
                  <a:lnTo>
                    <a:pt x="325" y="257"/>
                  </a:lnTo>
                  <a:lnTo>
                    <a:pt x="326" y="260"/>
                  </a:lnTo>
                  <a:lnTo>
                    <a:pt x="329" y="263"/>
                  </a:lnTo>
                  <a:lnTo>
                    <a:pt x="329" y="266"/>
                  </a:lnTo>
                  <a:lnTo>
                    <a:pt x="328" y="267"/>
                  </a:lnTo>
                  <a:lnTo>
                    <a:pt x="324" y="269"/>
                  </a:lnTo>
                  <a:lnTo>
                    <a:pt x="319" y="270"/>
                  </a:lnTo>
                  <a:lnTo>
                    <a:pt x="315" y="271"/>
                  </a:lnTo>
                  <a:lnTo>
                    <a:pt x="310" y="277"/>
                  </a:lnTo>
                  <a:lnTo>
                    <a:pt x="306" y="286"/>
                  </a:lnTo>
                  <a:lnTo>
                    <a:pt x="300" y="301"/>
                  </a:lnTo>
                  <a:lnTo>
                    <a:pt x="297" y="302"/>
                  </a:lnTo>
                  <a:lnTo>
                    <a:pt x="296" y="302"/>
                  </a:lnTo>
                  <a:lnTo>
                    <a:pt x="295" y="302"/>
                  </a:lnTo>
                  <a:lnTo>
                    <a:pt x="288" y="301"/>
                  </a:lnTo>
                  <a:lnTo>
                    <a:pt x="283" y="300"/>
                  </a:lnTo>
                  <a:lnTo>
                    <a:pt x="277" y="301"/>
                  </a:lnTo>
                  <a:lnTo>
                    <a:pt x="270" y="302"/>
                  </a:lnTo>
                  <a:lnTo>
                    <a:pt x="262" y="303"/>
                  </a:lnTo>
                  <a:lnTo>
                    <a:pt x="253" y="303"/>
                  </a:lnTo>
                  <a:lnTo>
                    <a:pt x="245" y="300"/>
                  </a:lnTo>
                  <a:lnTo>
                    <a:pt x="239" y="295"/>
                  </a:lnTo>
                  <a:lnTo>
                    <a:pt x="232" y="289"/>
                  </a:lnTo>
                  <a:lnTo>
                    <a:pt x="229" y="283"/>
                  </a:lnTo>
                  <a:lnTo>
                    <a:pt x="225" y="275"/>
                  </a:lnTo>
                  <a:lnTo>
                    <a:pt x="223" y="267"/>
                  </a:lnTo>
                  <a:lnTo>
                    <a:pt x="221" y="264"/>
                  </a:lnTo>
                  <a:lnTo>
                    <a:pt x="218" y="263"/>
                  </a:lnTo>
                  <a:lnTo>
                    <a:pt x="215" y="263"/>
                  </a:lnTo>
                  <a:lnTo>
                    <a:pt x="212" y="264"/>
                  </a:lnTo>
                  <a:lnTo>
                    <a:pt x="207" y="270"/>
                  </a:lnTo>
                  <a:lnTo>
                    <a:pt x="201" y="274"/>
                  </a:lnTo>
                  <a:lnTo>
                    <a:pt x="193" y="277"/>
                  </a:lnTo>
                  <a:lnTo>
                    <a:pt x="185" y="280"/>
                  </a:lnTo>
                  <a:lnTo>
                    <a:pt x="176" y="280"/>
                  </a:lnTo>
                  <a:lnTo>
                    <a:pt x="169" y="277"/>
                  </a:lnTo>
                  <a:lnTo>
                    <a:pt x="160" y="273"/>
                  </a:lnTo>
                  <a:lnTo>
                    <a:pt x="152" y="264"/>
                  </a:lnTo>
                  <a:lnTo>
                    <a:pt x="150" y="263"/>
                  </a:lnTo>
                  <a:lnTo>
                    <a:pt x="149" y="263"/>
                  </a:lnTo>
                  <a:lnTo>
                    <a:pt x="147" y="262"/>
                  </a:lnTo>
                  <a:lnTo>
                    <a:pt x="145" y="257"/>
                  </a:lnTo>
                  <a:lnTo>
                    <a:pt x="140" y="252"/>
                  </a:lnTo>
                  <a:lnTo>
                    <a:pt x="135" y="250"/>
                  </a:lnTo>
                  <a:lnTo>
                    <a:pt x="132" y="250"/>
                  </a:lnTo>
                  <a:lnTo>
                    <a:pt x="131" y="248"/>
                  </a:lnTo>
                  <a:lnTo>
                    <a:pt x="130" y="247"/>
                  </a:lnTo>
                  <a:lnTo>
                    <a:pt x="130" y="244"/>
                  </a:lnTo>
                  <a:lnTo>
                    <a:pt x="128" y="239"/>
                  </a:lnTo>
                  <a:lnTo>
                    <a:pt x="126" y="236"/>
                  </a:lnTo>
                  <a:lnTo>
                    <a:pt x="122" y="232"/>
                  </a:lnTo>
                  <a:lnTo>
                    <a:pt x="122" y="228"/>
                  </a:lnTo>
                  <a:lnTo>
                    <a:pt x="119" y="223"/>
                  </a:lnTo>
                  <a:lnTo>
                    <a:pt x="118" y="220"/>
                  </a:lnTo>
                  <a:lnTo>
                    <a:pt x="116" y="217"/>
                  </a:lnTo>
                  <a:lnTo>
                    <a:pt x="112" y="211"/>
                  </a:lnTo>
                  <a:lnTo>
                    <a:pt x="108" y="204"/>
                  </a:lnTo>
                  <a:lnTo>
                    <a:pt x="104" y="203"/>
                  </a:lnTo>
                  <a:lnTo>
                    <a:pt x="99" y="200"/>
                  </a:lnTo>
                  <a:lnTo>
                    <a:pt x="98" y="197"/>
                  </a:lnTo>
                  <a:lnTo>
                    <a:pt x="96" y="196"/>
                  </a:lnTo>
                  <a:lnTo>
                    <a:pt x="94" y="193"/>
                  </a:lnTo>
                  <a:lnTo>
                    <a:pt x="91" y="193"/>
                  </a:lnTo>
                  <a:lnTo>
                    <a:pt x="90" y="194"/>
                  </a:lnTo>
                  <a:lnTo>
                    <a:pt x="86" y="199"/>
                  </a:lnTo>
                  <a:lnTo>
                    <a:pt x="75" y="190"/>
                  </a:lnTo>
                  <a:lnTo>
                    <a:pt x="71" y="186"/>
                  </a:lnTo>
                  <a:lnTo>
                    <a:pt x="69" y="183"/>
                  </a:lnTo>
                  <a:lnTo>
                    <a:pt x="66" y="179"/>
                  </a:lnTo>
                  <a:lnTo>
                    <a:pt x="65" y="174"/>
                  </a:lnTo>
                  <a:lnTo>
                    <a:pt x="65" y="159"/>
                  </a:lnTo>
                  <a:lnTo>
                    <a:pt x="63" y="154"/>
                  </a:lnTo>
                  <a:lnTo>
                    <a:pt x="61" y="151"/>
                  </a:lnTo>
                  <a:lnTo>
                    <a:pt x="52" y="145"/>
                  </a:lnTo>
                  <a:lnTo>
                    <a:pt x="44" y="140"/>
                  </a:lnTo>
                  <a:lnTo>
                    <a:pt x="39" y="135"/>
                  </a:lnTo>
                  <a:lnTo>
                    <a:pt x="34" y="130"/>
                  </a:lnTo>
                  <a:lnTo>
                    <a:pt x="33" y="127"/>
                  </a:lnTo>
                  <a:lnTo>
                    <a:pt x="33" y="122"/>
                  </a:lnTo>
                  <a:lnTo>
                    <a:pt x="32" y="121"/>
                  </a:lnTo>
                  <a:lnTo>
                    <a:pt x="30" y="120"/>
                  </a:lnTo>
                  <a:lnTo>
                    <a:pt x="27" y="117"/>
                  </a:lnTo>
                  <a:lnTo>
                    <a:pt x="23" y="114"/>
                  </a:lnTo>
                  <a:lnTo>
                    <a:pt x="22" y="110"/>
                  </a:lnTo>
                  <a:lnTo>
                    <a:pt x="22" y="108"/>
                  </a:lnTo>
                  <a:lnTo>
                    <a:pt x="23" y="107"/>
                  </a:lnTo>
                  <a:lnTo>
                    <a:pt x="28" y="100"/>
                  </a:lnTo>
                  <a:lnTo>
                    <a:pt x="33" y="94"/>
                  </a:lnTo>
                  <a:lnTo>
                    <a:pt x="36" y="90"/>
                  </a:lnTo>
                  <a:lnTo>
                    <a:pt x="37" y="86"/>
                  </a:lnTo>
                  <a:lnTo>
                    <a:pt x="37" y="83"/>
                  </a:lnTo>
                  <a:lnTo>
                    <a:pt x="36" y="79"/>
                  </a:lnTo>
                  <a:lnTo>
                    <a:pt x="32" y="76"/>
                  </a:lnTo>
                  <a:lnTo>
                    <a:pt x="28" y="73"/>
                  </a:lnTo>
                  <a:lnTo>
                    <a:pt x="23" y="71"/>
                  </a:lnTo>
                  <a:lnTo>
                    <a:pt x="22" y="69"/>
                  </a:lnTo>
                  <a:lnTo>
                    <a:pt x="20" y="66"/>
                  </a:lnTo>
                  <a:lnTo>
                    <a:pt x="19" y="59"/>
                  </a:lnTo>
                  <a:lnTo>
                    <a:pt x="19" y="57"/>
                  </a:lnTo>
                  <a:lnTo>
                    <a:pt x="16" y="54"/>
                  </a:lnTo>
                  <a:lnTo>
                    <a:pt x="11" y="50"/>
                  </a:lnTo>
                  <a:lnTo>
                    <a:pt x="6" y="4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5" name="Freeform 644"/>
            <p:cNvSpPr>
              <a:spLocks/>
            </p:cNvSpPr>
            <p:nvPr/>
          </p:nvSpPr>
          <p:spPr bwMode="auto">
            <a:xfrm>
              <a:off x="5294314" y="3201991"/>
              <a:ext cx="296862" cy="276225"/>
            </a:xfrm>
            <a:custGeom>
              <a:avLst/>
              <a:gdLst>
                <a:gd name="T0" fmla="*/ 2147483647 w 202"/>
                <a:gd name="T1" fmla="*/ 2147483647 h 174"/>
                <a:gd name="T2" fmla="*/ 2147483647 w 202"/>
                <a:gd name="T3" fmla="*/ 2147483647 h 174"/>
                <a:gd name="T4" fmla="*/ 2147483647 w 202"/>
                <a:gd name="T5" fmla="*/ 2147483647 h 174"/>
                <a:gd name="T6" fmla="*/ 2147483647 w 202"/>
                <a:gd name="T7" fmla="*/ 2147483647 h 174"/>
                <a:gd name="T8" fmla="*/ 2147483647 w 202"/>
                <a:gd name="T9" fmla="*/ 2147483647 h 174"/>
                <a:gd name="T10" fmla="*/ 2147483647 w 202"/>
                <a:gd name="T11" fmla="*/ 2147483647 h 174"/>
                <a:gd name="T12" fmla="*/ 2147483647 w 202"/>
                <a:gd name="T13" fmla="*/ 2147483647 h 174"/>
                <a:gd name="T14" fmla="*/ 2147483647 w 202"/>
                <a:gd name="T15" fmla="*/ 2147483647 h 174"/>
                <a:gd name="T16" fmla="*/ 2147483647 w 202"/>
                <a:gd name="T17" fmla="*/ 2147483647 h 174"/>
                <a:gd name="T18" fmla="*/ 2147483647 w 202"/>
                <a:gd name="T19" fmla="*/ 2147483647 h 174"/>
                <a:gd name="T20" fmla="*/ 2147483647 w 202"/>
                <a:gd name="T21" fmla="*/ 2147483647 h 174"/>
                <a:gd name="T22" fmla="*/ 2147483647 w 202"/>
                <a:gd name="T23" fmla="*/ 2147483647 h 174"/>
                <a:gd name="T24" fmla="*/ 2147483647 w 202"/>
                <a:gd name="T25" fmla="*/ 2147483647 h 174"/>
                <a:gd name="T26" fmla="*/ 2147483647 w 202"/>
                <a:gd name="T27" fmla="*/ 2147483647 h 174"/>
                <a:gd name="T28" fmla="*/ 2147483647 w 202"/>
                <a:gd name="T29" fmla="*/ 2147483647 h 174"/>
                <a:gd name="T30" fmla="*/ 2147483647 w 202"/>
                <a:gd name="T31" fmla="*/ 2147483647 h 174"/>
                <a:gd name="T32" fmla="*/ 2147483647 w 202"/>
                <a:gd name="T33" fmla="*/ 2147483647 h 174"/>
                <a:gd name="T34" fmla="*/ 2147483647 w 202"/>
                <a:gd name="T35" fmla="*/ 2147483647 h 174"/>
                <a:gd name="T36" fmla="*/ 2147483647 w 202"/>
                <a:gd name="T37" fmla="*/ 2147483647 h 174"/>
                <a:gd name="T38" fmla="*/ 2147483647 w 202"/>
                <a:gd name="T39" fmla="*/ 0 h 174"/>
                <a:gd name="T40" fmla="*/ 2147483647 w 202"/>
                <a:gd name="T41" fmla="*/ 2147483647 h 174"/>
                <a:gd name="T42" fmla="*/ 2147483647 w 202"/>
                <a:gd name="T43" fmla="*/ 2147483647 h 174"/>
                <a:gd name="T44" fmla="*/ 2147483647 w 202"/>
                <a:gd name="T45" fmla="*/ 2147483647 h 174"/>
                <a:gd name="T46" fmla="*/ 2147483647 w 202"/>
                <a:gd name="T47" fmla="*/ 2147483647 h 174"/>
                <a:gd name="T48" fmla="*/ 2147483647 w 202"/>
                <a:gd name="T49" fmla="*/ 2147483647 h 174"/>
                <a:gd name="T50" fmla="*/ 2147483647 w 202"/>
                <a:gd name="T51" fmla="*/ 2147483647 h 174"/>
                <a:gd name="T52" fmla="*/ 2147483647 w 202"/>
                <a:gd name="T53" fmla="*/ 2147483647 h 174"/>
                <a:gd name="T54" fmla="*/ 0 w 202"/>
                <a:gd name="T55" fmla="*/ 2147483647 h 174"/>
                <a:gd name="T56" fmla="*/ 2147483647 w 202"/>
                <a:gd name="T57" fmla="*/ 2147483647 h 174"/>
                <a:gd name="T58" fmla="*/ 2147483647 w 202"/>
                <a:gd name="T59" fmla="*/ 2147483647 h 174"/>
                <a:gd name="T60" fmla="*/ 2147483647 w 202"/>
                <a:gd name="T61" fmla="*/ 2147483647 h 174"/>
                <a:gd name="T62" fmla="*/ 2147483647 w 202"/>
                <a:gd name="T63" fmla="*/ 2147483647 h 174"/>
                <a:gd name="T64" fmla="*/ 2147483647 w 202"/>
                <a:gd name="T65" fmla="*/ 2147483647 h 174"/>
                <a:gd name="T66" fmla="*/ 2147483647 w 202"/>
                <a:gd name="T67" fmla="*/ 2147483647 h 174"/>
                <a:gd name="T68" fmla="*/ 2147483647 w 202"/>
                <a:gd name="T69" fmla="*/ 2147483647 h 174"/>
                <a:gd name="T70" fmla="*/ 2147483647 w 202"/>
                <a:gd name="T71" fmla="*/ 2147483647 h 174"/>
                <a:gd name="T72" fmla="*/ 2147483647 w 202"/>
                <a:gd name="T73" fmla="*/ 2147483647 h 174"/>
                <a:gd name="T74" fmla="*/ 2147483647 w 202"/>
                <a:gd name="T75" fmla="*/ 2147483647 h 174"/>
                <a:gd name="T76" fmla="*/ 2147483647 w 202"/>
                <a:gd name="T77" fmla="*/ 2147483647 h 174"/>
                <a:gd name="T78" fmla="*/ 2147483647 w 202"/>
                <a:gd name="T79" fmla="*/ 2147483647 h 174"/>
                <a:gd name="T80" fmla="*/ 2147483647 w 202"/>
                <a:gd name="T81" fmla="*/ 2147483647 h 174"/>
                <a:gd name="T82" fmla="*/ 2147483647 w 202"/>
                <a:gd name="T83" fmla="*/ 2147483647 h 174"/>
                <a:gd name="T84" fmla="*/ 2147483647 w 202"/>
                <a:gd name="T85" fmla="*/ 2147483647 h 174"/>
                <a:gd name="T86" fmla="*/ 2147483647 w 202"/>
                <a:gd name="T87" fmla="*/ 2147483647 h 174"/>
                <a:gd name="T88" fmla="*/ 2147483647 w 202"/>
                <a:gd name="T89" fmla="*/ 2147483647 h 174"/>
                <a:gd name="T90" fmla="*/ 2147483647 w 202"/>
                <a:gd name="T91" fmla="*/ 2147483647 h 174"/>
                <a:gd name="T92" fmla="*/ 2147483647 w 202"/>
                <a:gd name="T93" fmla="*/ 2147483647 h 174"/>
                <a:gd name="T94" fmla="*/ 2147483647 w 202"/>
                <a:gd name="T95" fmla="*/ 2147483647 h 174"/>
                <a:gd name="T96" fmla="*/ 2147483647 w 202"/>
                <a:gd name="T97" fmla="*/ 2147483647 h 174"/>
                <a:gd name="T98" fmla="*/ 2147483647 w 202"/>
                <a:gd name="T99" fmla="*/ 2147483647 h 17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74"/>
                <a:gd name="T152" fmla="*/ 202 w 202"/>
                <a:gd name="T153" fmla="*/ 174 h 17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74">
                  <a:moveTo>
                    <a:pt x="202" y="157"/>
                  </a:moveTo>
                  <a:lnTo>
                    <a:pt x="190" y="148"/>
                  </a:lnTo>
                  <a:lnTo>
                    <a:pt x="186" y="144"/>
                  </a:lnTo>
                  <a:lnTo>
                    <a:pt x="184" y="141"/>
                  </a:lnTo>
                  <a:lnTo>
                    <a:pt x="181" y="137"/>
                  </a:lnTo>
                  <a:lnTo>
                    <a:pt x="180" y="132"/>
                  </a:lnTo>
                  <a:lnTo>
                    <a:pt x="180" y="117"/>
                  </a:lnTo>
                  <a:lnTo>
                    <a:pt x="179" y="112"/>
                  </a:lnTo>
                  <a:lnTo>
                    <a:pt x="176" y="109"/>
                  </a:lnTo>
                  <a:lnTo>
                    <a:pt x="167" y="103"/>
                  </a:lnTo>
                  <a:lnTo>
                    <a:pt x="160" y="98"/>
                  </a:lnTo>
                  <a:lnTo>
                    <a:pt x="155" y="93"/>
                  </a:lnTo>
                  <a:lnTo>
                    <a:pt x="150" y="89"/>
                  </a:lnTo>
                  <a:lnTo>
                    <a:pt x="148" y="85"/>
                  </a:lnTo>
                  <a:lnTo>
                    <a:pt x="148" y="80"/>
                  </a:lnTo>
                  <a:lnTo>
                    <a:pt x="147" y="79"/>
                  </a:lnTo>
                  <a:lnTo>
                    <a:pt x="146" y="78"/>
                  </a:lnTo>
                  <a:lnTo>
                    <a:pt x="142" y="76"/>
                  </a:lnTo>
                  <a:lnTo>
                    <a:pt x="138" y="72"/>
                  </a:lnTo>
                  <a:lnTo>
                    <a:pt x="137" y="68"/>
                  </a:lnTo>
                  <a:lnTo>
                    <a:pt x="137" y="66"/>
                  </a:lnTo>
                  <a:lnTo>
                    <a:pt x="138" y="65"/>
                  </a:lnTo>
                  <a:lnTo>
                    <a:pt x="143" y="58"/>
                  </a:lnTo>
                  <a:lnTo>
                    <a:pt x="148" y="52"/>
                  </a:lnTo>
                  <a:lnTo>
                    <a:pt x="151" y="48"/>
                  </a:lnTo>
                  <a:lnTo>
                    <a:pt x="152" y="45"/>
                  </a:lnTo>
                  <a:lnTo>
                    <a:pt x="152" y="41"/>
                  </a:lnTo>
                  <a:lnTo>
                    <a:pt x="151" y="38"/>
                  </a:lnTo>
                  <a:lnTo>
                    <a:pt x="147" y="34"/>
                  </a:lnTo>
                  <a:lnTo>
                    <a:pt x="143" y="32"/>
                  </a:lnTo>
                  <a:lnTo>
                    <a:pt x="138" y="29"/>
                  </a:lnTo>
                  <a:lnTo>
                    <a:pt x="137" y="27"/>
                  </a:lnTo>
                  <a:lnTo>
                    <a:pt x="136" y="25"/>
                  </a:lnTo>
                  <a:lnTo>
                    <a:pt x="134" y="17"/>
                  </a:lnTo>
                  <a:lnTo>
                    <a:pt x="134" y="15"/>
                  </a:lnTo>
                  <a:lnTo>
                    <a:pt x="132" y="13"/>
                  </a:lnTo>
                  <a:lnTo>
                    <a:pt x="127" y="8"/>
                  </a:lnTo>
                  <a:lnTo>
                    <a:pt x="122" y="2"/>
                  </a:lnTo>
                  <a:lnTo>
                    <a:pt x="111" y="2"/>
                  </a:lnTo>
                  <a:lnTo>
                    <a:pt x="100" y="0"/>
                  </a:lnTo>
                  <a:lnTo>
                    <a:pt x="94" y="1"/>
                  </a:lnTo>
                  <a:lnTo>
                    <a:pt x="87" y="3"/>
                  </a:lnTo>
                  <a:lnTo>
                    <a:pt x="84" y="4"/>
                  </a:lnTo>
                  <a:lnTo>
                    <a:pt x="78" y="8"/>
                  </a:lnTo>
                  <a:lnTo>
                    <a:pt x="75" y="13"/>
                  </a:lnTo>
                  <a:lnTo>
                    <a:pt x="72" y="19"/>
                  </a:lnTo>
                  <a:lnTo>
                    <a:pt x="71" y="22"/>
                  </a:lnTo>
                  <a:lnTo>
                    <a:pt x="68" y="34"/>
                  </a:lnTo>
                  <a:lnTo>
                    <a:pt x="64" y="45"/>
                  </a:lnTo>
                  <a:lnTo>
                    <a:pt x="59" y="55"/>
                  </a:lnTo>
                  <a:lnTo>
                    <a:pt x="54" y="64"/>
                  </a:lnTo>
                  <a:lnTo>
                    <a:pt x="45" y="71"/>
                  </a:lnTo>
                  <a:lnTo>
                    <a:pt x="35" y="79"/>
                  </a:lnTo>
                  <a:lnTo>
                    <a:pt x="11" y="93"/>
                  </a:lnTo>
                  <a:lnTo>
                    <a:pt x="5" y="98"/>
                  </a:lnTo>
                  <a:lnTo>
                    <a:pt x="0" y="104"/>
                  </a:lnTo>
                  <a:lnTo>
                    <a:pt x="5" y="110"/>
                  </a:lnTo>
                  <a:lnTo>
                    <a:pt x="9" y="116"/>
                  </a:lnTo>
                  <a:lnTo>
                    <a:pt x="16" y="129"/>
                  </a:lnTo>
                  <a:lnTo>
                    <a:pt x="21" y="129"/>
                  </a:lnTo>
                  <a:lnTo>
                    <a:pt x="25" y="130"/>
                  </a:lnTo>
                  <a:lnTo>
                    <a:pt x="35" y="132"/>
                  </a:lnTo>
                  <a:lnTo>
                    <a:pt x="45" y="134"/>
                  </a:lnTo>
                  <a:lnTo>
                    <a:pt x="53" y="136"/>
                  </a:lnTo>
                  <a:lnTo>
                    <a:pt x="61" y="140"/>
                  </a:lnTo>
                  <a:lnTo>
                    <a:pt x="67" y="143"/>
                  </a:lnTo>
                  <a:lnTo>
                    <a:pt x="75" y="145"/>
                  </a:lnTo>
                  <a:lnTo>
                    <a:pt x="81" y="147"/>
                  </a:lnTo>
                  <a:lnTo>
                    <a:pt x="89" y="150"/>
                  </a:lnTo>
                  <a:lnTo>
                    <a:pt x="91" y="154"/>
                  </a:lnTo>
                  <a:lnTo>
                    <a:pt x="92" y="155"/>
                  </a:lnTo>
                  <a:lnTo>
                    <a:pt x="94" y="156"/>
                  </a:lnTo>
                  <a:lnTo>
                    <a:pt x="99" y="155"/>
                  </a:lnTo>
                  <a:lnTo>
                    <a:pt x="101" y="155"/>
                  </a:lnTo>
                  <a:lnTo>
                    <a:pt x="103" y="155"/>
                  </a:lnTo>
                  <a:lnTo>
                    <a:pt x="104" y="158"/>
                  </a:lnTo>
                  <a:lnTo>
                    <a:pt x="105" y="162"/>
                  </a:lnTo>
                  <a:lnTo>
                    <a:pt x="105" y="164"/>
                  </a:lnTo>
                  <a:lnTo>
                    <a:pt x="106" y="167"/>
                  </a:lnTo>
                  <a:lnTo>
                    <a:pt x="110" y="168"/>
                  </a:lnTo>
                  <a:lnTo>
                    <a:pt x="115" y="167"/>
                  </a:lnTo>
                  <a:lnTo>
                    <a:pt x="119" y="167"/>
                  </a:lnTo>
                  <a:lnTo>
                    <a:pt x="124" y="167"/>
                  </a:lnTo>
                  <a:lnTo>
                    <a:pt x="130" y="167"/>
                  </a:lnTo>
                  <a:lnTo>
                    <a:pt x="137" y="169"/>
                  </a:lnTo>
                  <a:lnTo>
                    <a:pt x="150" y="174"/>
                  </a:lnTo>
                  <a:lnTo>
                    <a:pt x="153" y="168"/>
                  </a:lnTo>
                  <a:lnTo>
                    <a:pt x="157" y="163"/>
                  </a:lnTo>
                  <a:lnTo>
                    <a:pt x="164" y="161"/>
                  </a:lnTo>
                  <a:lnTo>
                    <a:pt x="170" y="158"/>
                  </a:lnTo>
                  <a:lnTo>
                    <a:pt x="176" y="158"/>
                  </a:lnTo>
                  <a:lnTo>
                    <a:pt x="181" y="160"/>
                  </a:lnTo>
                  <a:lnTo>
                    <a:pt x="186" y="161"/>
                  </a:lnTo>
                  <a:lnTo>
                    <a:pt x="191" y="163"/>
                  </a:lnTo>
                  <a:lnTo>
                    <a:pt x="193" y="161"/>
                  </a:lnTo>
                  <a:lnTo>
                    <a:pt x="194" y="161"/>
                  </a:lnTo>
                  <a:lnTo>
                    <a:pt x="197" y="161"/>
                  </a:lnTo>
                  <a:lnTo>
                    <a:pt x="198" y="161"/>
                  </a:lnTo>
                  <a:lnTo>
                    <a:pt x="199" y="161"/>
                  </a:lnTo>
                  <a:lnTo>
                    <a:pt x="202" y="15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6" name="Freeform 645"/>
            <p:cNvSpPr>
              <a:spLocks/>
            </p:cNvSpPr>
            <p:nvPr/>
          </p:nvSpPr>
          <p:spPr bwMode="auto">
            <a:xfrm>
              <a:off x="5514976" y="3452813"/>
              <a:ext cx="68263" cy="74612"/>
            </a:xfrm>
            <a:custGeom>
              <a:avLst/>
              <a:gdLst>
                <a:gd name="T0" fmla="*/ 2147483647 w 47"/>
                <a:gd name="T1" fmla="*/ 2147483647 h 47"/>
                <a:gd name="T2" fmla="*/ 2147483647 w 47"/>
                <a:gd name="T3" fmla="*/ 2147483647 h 47"/>
                <a:gd name="T4" fmla="*/ 2147483647 w 47"/>
                <a:gd name="T5" fmla="*/ 2147483647 h 47"/>
                <a:gd name="T6" fmla="*/ 2147483647 w 47"/>
                <a:gd name="T7" fmla="*/ 0 h 47"/>
                <a:gd name="T8" fmla="*/ 2147483647 w 47"/>
                <a:gd name="T9" fmla="*/ 0 h 47"/>
                <a:gd name="T10" fmla="*/ 2147483647 w 47"/>
                <a:gd name="T11" fmla="*/ 2147483647 h 47"/>
                <a:gd name="T12" fmla="*/ 2147483647 w 47"/>
                <a:gd name="T13" fmla="*/ 2147483647 h 47"/>
                <a:gd name="T14" fmla="*/ 2147483647 w 47"/>
                <a:gd name="T15" fmla="*/ 2147483647 h 47"/>
                <a:gd name="T16" fmla="*/ 0 w 47"/>
                <a:gd name="T17" fmla="*/ 2147483647 h 47"/>
                <a:gd name="T18" fmla="*/ 0 w 47"/>
                <a:gd name="T19" fmla="*/ 2147483647 h 47"/>
                <a:gd name="T20" fmla="*/ 2147483647 w 47"/>
                <a:gd name="T21" fmla="*/ 2147483647 h 47"/>
                <a:gd name="T22" fmla="*/ 2147483647 w 47"/>
                <a:gd name="T23" fmla="*/ 2147483647 h 47"/>
                <a:gd name="T24" fmla="*/ 2147483647 w 47"/>
                <a:gd name="T25" fmla="*/ 2147483647 h 47"/>
                <a:gd name="T26" fmla="*/ 2147483647 w 47"/>
                <a:gd name="T27" fmla="*/ 2147483647 h 47"/>
                <a:gd name="T28" fmla="*/ 2147483647 w 47"/>
                <a:gd name="T29" fmla="*/ 2147483647 h 47"/>
                <a:gd name="T30" fmla="*/ 2147483647 w 47"/>
                <a:gd name="T31" fmla="*/ 2147483647 h 47"/>
                <a:gd name="T32" fmla="*/ 2147483647 w 47"/>
                <a:gd name="T33" fmla="*/ 2147483647 h 47"/>
                <a:gd name="T34" fmla="*/ 2147483647 w 47"/>
                <a:gd name="T35" fmla="*/ 2147483647 h 47"/>
                <a:gd name="T36" fmla="*/ 2147483647 w 47"/>
                <a:gd name="T37" fmla="*/ 2147483647 h 47"/>
                <a:gd name="T38" fmla="*/ 2147483647 w 47"/>
                <a:gd name="T39" fmla="*/ 2147483647 h 47"/>
                <a:gd name="T40" fmla="*/ 2147483647 w 47"/>
                <a:gd name="T41" fmla="*/ 2147483647 h 47"/>
                <a:gd name="T42" fmla="*/ 2147483647 w 47"/>
                <a:gd name="T43" fmla="*/ 2147483647 h 47"/>
                <a:gd name="T44" fmla="*/ 2147483647 w 47"/>
                <a:gd name="T45" fmla="*/ 2147483647 h 47"/>
                <a:gd name="T46" fmla="*/ 2147483647 w 47"/>
                <a:gd name="T47" fmla="*/ 2147483647 h 47"/>
                <a:gd name="T48" fmla="*/ 2147483647 w 47"/>
                <a:gd name="T49" fmla="*/ 2147483647 h 47"/>
                <a:gd name="T50" fmla="*/ 2147483647 w 47"/>
                <a:gd name="T51" fmla="*/ 2147483647 h 47"/>
                <a:gd name="T52" fmla="*/ 2147483647 w 47"/>
                <a:gd name="T53" fmla="*/ 2147483647 h 47"/>
                <a:gd name="T54" fmla="*/ 2147483647 w 47"/>
                <a:gd name="T55" fmla="*/ 2147483647 h 47"/>
                <a:gd name="T56" fmla="*/ 2147483647 w 47"/>
                <a:gd name="T57" fmla="*/ 214748364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7"/>
                <a:gd name="T88" fmla="*/ 0 h 47"/>
                <a:gd name="T89" fmla="*/ 47 w 47"/>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7" h="47">
                  <a:moveTo>
                    <a:pt x="41" y="5"/>
                  </a:moveTo>
                  <a:lnTo>
                    <a:pt x="36" y="3"/>
                  </a:lnTo>
                  <a:lnTo>
                    <a:pt x="31" y="2"/>
                  </a:lnTo>
                  <a:lnTo>
                    <a:pt x="26" y="0"/>
                  </a:lnTo>
                  <a:lnTo>
                    <a:pt x="20" y="0"/>
                  </a:lnTo>
                  <a:lnTo>
                    <a:pt x="14" y="3"/>
                  </a:lnTo>
                  <a:lnTo>
                    <a:pt x="7" y="5"/>
                  </a:lnTo>
                  <a:lnTo>
                    <a:pt x="3" y="10"/>
                  </a:lnTo>
                  <a:lnTo>
                    <a:pt x="0" y="16"/>
                  </a:lnTo>
                  <a:lnTo>
                    <a:pt x="0" y="17"/>
                  </a:lnTo>
                  <a:lnTo>
                    <a:pt x="1" y="19"/>
                  </a:lnTo>
                  <a:lnTo>
                    <a:pt x="5" y="22"/>
                  </a:lnTo>
                  <a:lnTo>
                    <a:pt x="11" y="28"/>
                  </a:lnTo>
                  <a:lnTo>
                    <a:pt x="19" y="31"/>
                  </a:lnTo>
                  <a:lnTo>
                    <a:pt x="25" y="37"/>
                  </a:lnTo>
                  <a:lnTo>
                    <a:pt x="31" y="43"/>
                  </a:lnTo>
                  <a:lnTo>
                    <a:pt x="34" y="46"/>
                  </a:lnTo>
                  <a:lnTo>
                    <a:pt x="38" y="47"/>
                  </a:lnTo>
                  <a:lnTo>
                    <a:pt x="41" y="47"/>
                  </a:lnTo>
                  <a:lnTo>
                    <a:pt x="47" y="46"/>
                  </a:lnTo>
                  <a:lnTo>
                    <a:pt x="43" y="38"/>
                  </a:lnTo>
                  <a:lnTo>
                    <a:pt x="41" y="31"/>
                  </a:lnTo>
                  <a:lnTo>
                    <a:pt x="39" y="24"/>
                  </a:lnTo>
                  <a:lnTo>
                    <a:pt x="35" y="17"/>
                  </a:lnTo>
                  <a:lnTo>
                    <a:pt x="34" y="14"/>
                  </a:lnTo>
                  <a:lnTo>
                    <a:pt x="34" y="11"/>
                  </a:lnTo>
                  <a:lnTo>
                    <a:pt x="35" y="10"/>
                  </a:lnTo>
                  <a:lnTo>
                    <a:pt x="39" y="8"/>
                  </a:lnTo>
                  <a:lnTo>
                    <a:pt x="4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7" name="Freeform 646"/>
            <p:cNvSpPr>
              <a:spLocks/>
            </p:cNvSpPr>
            <p:nvPr/>
          </p:nvSpPr>
          <p:spPr bwMode="auto">
            <a:xfrm>
              <a:off x="5291138" y="3198813"/>
              <a:ext cx="296862" cy="277812"/>
            </a:xfrm>
            <a:custGeom>
              <a:avLst/>
              <a:gdLst>
                <a:gd name="T0" fmla="*/ 2147483647 w 202"/>
                <a:gd name="T1" fmla="*/ 2147483647 h 175"/>
                <a:gd name="T2" fmla="*/ 2147483647 w 202"/>
                <a:gd name="T3" fmla="*/ 2147483647 h 175"/>
                <a:gd name="T4" fmla="*/ 2147483647 w 202"/>
                <a:gd name="T5" fmla="*/ 2147483647 h 175"/>
                <a:gd name="T6" fmla="*/ 2147483647 w 202"/>
                <a:gd name="T7" fmla="*/ 2147483647 h 175"/>
                <a:gd name="T8" fmla="*/ 2147483647 w 202"/>
                <a:gd name="T9" fmla="*/ 2147483647 h 175"/>
                <a:gd name="T10" fmla="*/ 2147483647 w 202"/>
                <a:gd name="T11" fmla="*/ 2147483647 h 175"/>
                <a:gd name="T12" fmla="*/ 2147483647 w 202"/>
                <a:gd name="T13" fmla="*/ 2147483647 h 175"/>
                <a:gd name="T14" fmla="*/ 2147483647 w 202"/>
                <a:gd name="T15" fmla="*/ 2147483647 h 175"/>
                <a:gd name="T16" fmla="*/ 2147483647 w 202"/>
                <a:gd name="T17" fmla="*/ 2147483647 h 175"/>
                <a:gd name="T18" fmla="*/ 2147483647 w 202"/>
                <a:gd name="T19" fmla="*/ 2147483647 h 175"/>
                <a:gd name="T20" fmla="*/ 2147483647 w 202"/>
                <a:gd name="T21" fmla="*/ 2147483647 h 175"/>
                <a:gd name="T22" fmla="*/ 2147483647 w 202"/>
                <a:gd name="T23" fmla="*/ 2147483647 h 175"/>
                <a:gd name="T24" fmla="*/ 2147483647 w 202"/>
                <a:gd name="T25" fmla="*/ 2147483647 h 175"/>
                <a:gd name="T26" fmla="*/ 2147483647 w 202"/>
                <a:gd name="T27" fmla="*/ 2147483647 h 175"/>
                <a:gd name="T28" fmla="*/ 2147483647 w 202"/>
                <a:gd name="T29" fmla="*/ 2147483647 h 175"/>
                <a:gd name="T30" fmla="*/ 2147483647 w 202"/>
                <a:gd name="T31" fmla="*/ 2147483647 h 175"/>
                <a:gd name="T32" fmla="*/ 2147483647 w 202"/>
                <a:gd name="T33" fmla="*/ 0 h 175"/>
                <a:gd name="T34" fmla="*/ 2147483647 w 202"/>
                <a:gd name="T35" fmla="*/ 2147483647 h 175"/>
                <a:gd name="T36" fmla="*/ 2147483647 w 202"/>
                <a:gd name="T37" fmla="*/ 2147483647 h 175"/>
                <a:gd name="T38" fmla="*/ 2147483647 w 202"/>
                <a:gd name="T39" fmla="*/ 2147483647 h 175"/>
                <a:gd name="T40" fmla="*/ 2147483647 w 202"/>
                <a:gd name="T41" fmla="*/ 2147483647 h 175"/>
                <a:gd name="T42" fmla="*/ 2147483647 w 202"/>
                <a:gd name="T43" fmla="*/ 2147483647 h 175"/>
                <a:gd name="T44" fmla="*/ 2147483647 w 202"/>
                <a:gd name="T45" fmla="*/ 2147483647 h 175"/>
                <a:gd name="T46" fmla="*/ 2147483647 w 202"/>
                <a:gd name="T47" fmla="*/ 2147483647 h 175"/>
                <a:gd name="T48" fmla="*/ 2147483647 w 202"/>
                <a:gd name="T49" fmla="*/ 2147483647 h 175"/>
                <a:gd name="T50" fmla="*/ 2147483647 w 202"/>
                <a:gd name="T51" fmla="*/ 2147483647 h 175"/>
                <a:gd name="T52" fmla="*/ 2147483647 w 202"/>
                <a:gd name="T53" fmla="*/ 2147483647 h 175"/>
                <a:gd name="T54" fmla="*/ 2147483647 w 202"/>
                <a:gd name="T55" fmla="*/ 2147483647 h 175"/>
                <a:gd name="T56" fmla="*/ 2147483647 w 202"/>
                <a:gd name="T57" fmla="*/ 2147483647 h 175"/>
                <a:gd name="T58" fmla="*/ 2147483647 w 202"/>
                <a:gd name="T59" fmla="*/ 2147483647 h 175"/>
                <a:gd name="T60" fmla="*/ 2147483647 w 202"/>
                <a:gd name="T61" fmla="*/ 2147483647 h 175"/>
                <a:gd name="T62" fmla="*/ 2147483647 w 202"/>
                <a:gd name="T63" fmla="*/ 2147483647 h 175"/>
                <a:gd name="T64" fmla="*/ 2147483647 w 202"/>
                <a:gd name="T65" fmla="*/ 2147483647 h 175"/>
                <a:gd name="T66" fmla="*/ 2147483647 w 202"/>
                <a:gd name="T67" fmla="*/ 2147483647 h 175"/>
                <a:gd name="T68" fmla="*/ 2147483647 w 202"/>
                <a:gd name="T69" fmla="*/ 2147483647 h 175"/>
                <a:gd name="T70" fmla="*/ 2147483647 w 202"/>
                <a:gd name="T71" fmla="*/ 2147483647 h 175"/>
                <a:gd name="T72" fmla="*/ 2147483647 w 202"/>
                <a:gd name="T73" fmla="*/ 2147483647 h 175"/>
                <a:gd name="T74" fmla="*/ 2147483647 w 202"/>
                <a:gd name="T75" fmla="*/ 2147483647 h 175"/>
                <a:gd name="T76" fmla="*/ 2147483647 w 202"/>
                <a:gd name="T77" fmla="*/ 2147483647 h 175"/>
                <a:gd name="T78" fmla="*/ 2147483647 w 202"/>
                <a:gd name="T79" fmla="*/ 2147483647 h 175"/>
                <a:gd name="T80" fmla="*/ 2147483647 w 202"/>
                <a:gd name="T81" fmla="*/ 2147483647 h 175"/>
                <a:gd name="T82" fmla="*/ 2147483647 w 202"/>
                <a:gd name="T83" fmla="*/ 2147483647 h 175"/>
                <a:gd name="T84" fmla="*/ 2147483647 w 202"/>
                <a:gd name="T85" fmla="*/ 2147483647 h 175"/>
                <a:gd name="T86" fmla="*/ 2147483647 w 202"/>
                <a:gd name="T87" fmla="*/ 2147483647 h 1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2"/>
                <a:gd name="T133" fmla="*/ 0 h 175"/>
                <a:gd name="T134" fmla="*/ 202 w 202"/>
                <a:gd name="T135" fmla="*/ 175 h 1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2" h="175">
                  <a:moveTo>
                    <a:pt x="202" y="158"/>
                  </a:moveTo>
                  <a:lnTo>
                    <a:pt x="202" y="158"/>
                  </a:lnTo>
                  <a:lnTo>
                    <a:pt x="191" y="149"/>
                  </a:lnTo>
                  <a:lnTo>
                    <a:pt x="187" y="145"/>
                  </a:lnTo>
                  <a:lnTo>
                    <a:pt x="185" y="142"/>
                  </a:lnTo>
                  <a:lnTo>
                    <a:pt x="182" y="138"/>
                  </a:lnTo>
                  <a:lnTo>
                    <a:pt x="181" y="133"/>
                  </a:lnTo>
                  <a:lnTo>
                    <a:pt x="181" y="118"/>
                  </a:lnTo>
                  <a:lnTo>
                    <a:pt x="179" y="113"/>
                  </a:lnTo>
                  <a:lnTo>
                    <a:pt x="177" y="110"/>
                  </a:lnTo>
                  <a:lnTo>
                    <a:pt x="168" y="104"/>
                  </a:lnTo>
                  <a:lnTo>
                    <a:pt x="160" y="99"/>
                  </a:lnTo>
                  <a:lnTo>
                    <a:pt x="155" y="94"/>
                  </a:lnTo>
                  <a:lnTo>
                    <a:pt x="150" y="89"/>
                  </a:lnTo>
                  <a:lnTo>
                    <a:pt x="149" y="86"/>
                  </a:lnTo>
                  <a:lnTo>
                    <a:pt x="149" y="81"/>
                  </a:lnTo>
                  <a:lnTo>
                    <a:pt x="148" y="80"/>
                  </a:lnTo>
                  <a:lnTo>
                    <a:pt x="146" y="79"/>
                  </a:lnTo>
                  <a:lnTo>
                    <a:pt x="143" y="76"/>
                  </a:lnTo>
                  <a:lnTo>
                    <a:pt x="139" y="73"/>
                  </a:lnTo>
                  <a:lnTo>
                    <a:pt x="138" y="69"/>
                  </a:lnTo>
                  <a:lnTo>
                    <a:pt x="138" y="67"/>
                  </a:lnTo>
                  <a:lnTo>
                    <a:pt x="139" y="66"/>
                  </a:lnTo>
                  <a:lnTo>
                    <a:pt x="144" y="59"/>
                  </a:lnTo>
                  <a:lnTo>
                    <a:pt x="149" y="53"/>
                  </a:lnTo>
                  <a:lnTo>
                    <a:pt x="152" y="49"/>
                  </a:lnTo>
                  <a:lnTo>
                    <a:pt x="153" y="45"/>
                  </a:lnTo>
                  <a:lnTo>
                    <a:pt x="153" y="42"/>
                  </a:lnTo>
                  <a:lnTo>
                    <a:pt x="152" y="38"/>
                  </a:lnTo>
                  <a:lnTo>
                    <a:pt x="148" y="35"/>
                  </a:lnTo>
                  <a:lnTo>
                    <a:pt x="144" y="32"/>
                  </a:lnTo>
                  <a:lnTo>
                    <a:pt x="139" y="30"/>
                  </a:lnTo>
                  <a:lnTo>
                    <a:pt x="138" y="28"/>
                  </a:lnTo>
                  <a:lnTo>
                    <a:pt x="136" y="25"/>
                  </a:lnTo>
                  <a:lnTo>
                    <a:pt x="135" y="18"/>
                  </a:lnTo>
                  <a:lnTo>
                    <a:pt x="135" y="16"/>
                  </a:lnTo>
                  <a:lnTo>
                    <a:pt x="132" y="13"/>
                  </a:lnTo>
                  <a:lnTo>
                    <a:pt x="127" y="9"/>
                  </a:lnTo>
                  <a:lnTo>
                    <a:pt x="122" y="3"/>
                  </a:lnTo>
                  <a:lnTo>
                    <a:pt x="112" y="3"/>
                  </a:lnTo>
                  <a:lnTo>
                    <a:pt x="101" y="0"/>
                  </a:lnTo>
                  <a:lnTo>
                    <a:pt x="94" y="2"/>
                  </a:lnTo>
                  <a:lnTo>
                    <a:pt x="88" y="4"/>
                  </a:lnTo>
                  <a:lnTo>
                    <a:pt x="84" y="5"/>
                  </a:lnTo>
                  <a:lnTo>
                    <a:pt x="79" y="9"/>
                  </a:lnTo>
                  <a:lnTo>
                    <a:pt x="75" y="13"/>
                  </a:lnTo>
                  <a:lnTo>
                    <a:pt x="73" y="19"/>
                  </a:lnTo>
                  <a:lnTo>
                    <a:pt x="72" y="23"/>
                  </a:lnTo>
                  <a:lnTo>
                    <a:pt x="69" y="35"/>
                  </a:lnTo>
                  <a:lnTo>
                    <a:pt x="65" y="45"/>
                  </a:lnTo>
                  <a:lnTo>
                    <a:pt x="60" y="56"/>
                  </a:lnTo>
                  <a:lnTo>
                    <a:pt x="55" y="64"/>
                  </a:lnTo>
                  <a:lnTo>
                    <a:pt x="46" y="72"/>
                  </a:lnTo>
                  <a:lnTo>
                    <a:pt x="36" y="80"/>
                  </a:lnTo>
                  <a:lnTo>
                    <a:pt x="12" y="94"/>
                  </a:lnTo>
                  <a:lnTo>
                    <a:pt x="6" y="99"/>
                  </a:lnTo>
                  <a:lnTo>
                    <a:pt x="0" y="105"/>
                  </a:lnTo>
                  <a:lnTo>
                    <a:pt x="6" y="111"/>
                  </a:lnTo>
                  <a:lnTo>
                    <a:pt x="9" y="117"/>
                  </a:lnTo>
                  <a:lnTo>
                    <a:pt x="17" y="130"/>
                  </a:lnTo>
                  <a:lnTo>
                    <a:pt x="22" y="130"/>
                  </a:lnTo>
                  <a:lnTo>
                    <a:pt x="26" y="131"/>
                  </a:lnTo>
                  <a:lnTo>
                    <a:pt x="36" y="133"/>
                  </a:lnTo>
                  <a:lnTo>
                    <a:pt x="46" y="134"/>
                  </a:lnTo>
                  <a:lnTo>
                    <a:pt x="54" y="137"/>
                  </a:lnTo>
                  <a:lnTo>
                    <a:pt x="61" y="140"/>
                  </a:lnTo>
                  <a:lnTo>
                    <a:pt x="68" y="144"/>
                  </a:lnTo>
                  <a:lnTo>
                    <a:pt x="75" y="146"/>
                  </a:lnTo>
                  <a:lnTo>
                    <a:pt x="82" y="147"/>
                  </a:lnTo>
                  <a:lnTo>
                    <a:pt x="89" y="151"/>
                  </a:lnTo>
                  <a:lnTo>
                    <a:pt x="92" y="155"/>
                  </a:lnTo>
                  <a:lnTo>
                    <a:pt x="93" y="156"/>
                  </a:lnTo>
                  <a:lnTo>
                    <a:pt x="94" y="157"/>
                  </a:lnTo>
                  <a:lnTo>
                    <a:pt x="99" y="156"/>
                  </a:lnTo>
                  <a:lnTo>
                    <a:pt x="102" y="156"/>
                  </a:lnTo>
                  <a:lnTo>
                    <a:pt x="103" y="156"/>
                  </a:lnTo>
                  <a:lnTo>
                    <a:pt x="105" y="159"/>
                  </a:lnTo>
                  <a:lnTo>
                    <a:pt x="106" y="163"/>
                  </a:lnTo>
                  <a:lnTo>
                    <a:pt x="106" y="165"/>
                  </a:lnTo>
                  <a:lnTo>
                    <a:pt x="107" y="168"/>
                  </a:lnTo>
                  <a:lnTo>
                    <a:pt x="111" y="169"/>
                  </a:lnTo>
                  <a:lnTo>
                    <a:pt x="116" y="168"/>
                  </a:lnTo>
                  <a:lnTo>
                    <a:pt x="120" y="168"/>
                  </a:lnTo>
                  <a:lnTo>
                    <a:pt x="125" y="168"/>
                  </a:lnTo>
                  <a:lnTo>
                    <a:pt x="131" y="168"/>
                  </a:lnTo>
                  <a:lnTo>
                    <a:pt x="138" y="170"/>
                  </a:lnTo>
                  <a:lnTo>
                    <a:pt x="150" y="175"/>
                  </a:lnTo>
                  <a:lnTo>
                    <a:pt x="154" y="169"/>
                  </a:lnTo>
                  <a:lnTo>
                    <a:pt x="158" y="164"/>
                  </a:lnTo>
                  <a:lnTo>
                    <a:pt x="164" y="162"/>
                  </a:lnTo>
                  <a:lnTo>
                    <a:pt x="171" y="159"/>
                  </a:lnTo>
                  <a:lnTo>
                    <a:pt x="177" y="159"/>
                  </a:lnTo>
                  <a:lnTo>
                    <a:pt x="182" y="160"/>
                  </a:lnTo>
                  <a:lnTo>
                    <a:pt x="187" y="162"/>
                  </a:lnTo>
                  <a:lnTo>
                    <a:pt x="192" y="164"/>
                  </a:lnTo>
                  <a:lnTo>
                    <a:pt x="193" y="162"/>
                  </a:lnTo>
                  <a:lnTo>
                    <a:pt x="195" y="162"/>
                  </a:lnTo>
                  <a:lnTo>
                    <a:pt x="197" y="162"/>
                  </a:lnTo>
                  <a:lnTo>
                    <a:pt x="199" y="162"/>
                  </a:lnTo>
                  <a:lnTo>
                    <a:pt x="200" y="162"/>
                  </a:lnTo>
                  <a:lnTo>
                    <a:pt x="202" y="15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8" name="Freeform 647"/>
            <p:cNvSpPr>
              <a:spLocks/>
            </p:cNvSpPr>
            <p:nvPr/>
          </p:nvSpPr>
          <p:spPr bwMode="auto">
            <a:xfrm>
              <a:off x="5511800" y="3451228"/>
              <a:ext cx="68263" cy="74613"/>
            </a:xfrm>
            <a:custGeom>
              <a:avLst/>
              <a:gdLst>
                <a:gd name="T0" fmla="*/ 2147483647 w 47"/>
                <a:gd name="T1" fmla="*/ 2147483647 h 47"/>
                <a:gd name="T2" fmla="*/ 2147483647 w 47"/>
                <a:gd name="T3" fmla="*/ 2147483647 h 47"/>
                <a:gd name="T4" fmla="*/ 2147483647 w 47"/>
                <a:gd name="T5" fmla="*/ 2147483647 h 47"/>
                <a:gd name="T6" fmla="*/ 2147483647 w 47"/>
                <a:gd name="T7" fmla="*/ 2147483647 h 47"/>
                <a:gd name="T8" fmla="*/ 2147483647 w 47"/>
                <a:gd name="T9" fmla="*/ 0 h 47"/>
                <a:gd name="T10" fmla="*/ 2147483647 w 47"/>
                <a:gd name="T11" fmla="*/ 0 h 47"/>
                <a:gd name="T12" fmla="*/ 2147483647 w 47"/>
                <a:gd name="T13" fmla="*/ 0 h 47"/>
                <a:gd name="T14" fmla="*/ 2147483647 w 47"/>
                <a:gd name="T15" fmla="*/ 2147483647 h 47"/>
                <a:gd name="T16" fmla="*/ 2147483647 w 47"/>
                <a:gd name="T17" fmla="*/ 2147483647 h 47"/>
                <a:gd name="T18" fmla="*/ 2147483647 w 47"/>
                <a:gd name="T19" fmla="*/ 2147483647 h 47"/>
                <a:gd name="T20" fmla="*/ 0 w 47"/>
                <a:gd name="T21" fmla="*/ 2147483647 h 47"/>
                <a:gd name="T22" fmla="*/ 0 w 47"/>
                <a:gd name="T23" fmla="*/ 2147483647 h 47"/>
                <a:gd name="T24" fmla="*/ 0 w 47"/>
                <a:gd name="T25" fmla="*/ 2147483647 h 47"/>
                <a:gd name="T26" fmla="*/ 2147483647 w 47"/>
                <a:gd name="T27" fmla="*/ 2147483647 h 47"/>
                <a:gd name="T28" fmla="*/ 2147483647 w 47"/>
                <a:gd name="T29" fmla="*/ 2147483647 h 47"/>
                <a:gd name="T30" fmla="*/ 2147483647 w 47"/>
                <a:gd name="T31" fmla="*/ 2147483647 h 47"/>
                <a:gd name="T32" fmla="*/ 2147483647 w 47"/>
                <a:gd name="T33" fmla="*/ 2147483647 h 47"/>
                <a:gd name="T34" fmla="*/ 2147483647 w 47"/>
                <a:gd name="T35" fmla="*/ 2147483647 h 47"/>
                <a:gd name="T36" fmla="*/ 2147483647 w 47"/>
                <a:gd name="T37" fmla="*/ 2147483647 h 47"/>
                <a:gd name="T38" fmla="*/ 2147483647 w 47"/>
                <a:gd name="T39" fmla="*/ 2147483647 h 47"/>
                <a:gd name="T40" fmla="*/ 2147483647 w 47"/>
                <a:gd name="T41" fmla="*/ 2147483647 h 47"/>
                <a:gd name="T42" fmla="*/ 2147483647 w 47"/>
                <a:gd name="T43" fmla="*/ 2147483647 h 47"/>
                <a:gd name="T44" fmla="*/ 2147483647 w 47"/>
                <a:gd name="T45" fmla="*/ 2147483647 h 47"/>
                <a:gd name="T46" fmla="*/ 2147483647 w 47"/>
                <a:gd name="T47" fmla="*/ 2147483647 h 47"/>
                <a:gd name="T48" fmla="*/ 2147483647 w 47"/>
                <a:gd name="T49" fmla="*/ 2147483647 h 47"/>
                <a:gd name="T50" fmla="*/ 2147483647 w 47"/>
                <a:gd name="T51" fmla="*/ 2147483647 h 47"/>
                <a:gd name="T52" fmla="*/ 2147483647 w 47"/>
                <a:gd name="T53" fmla="*/ 2147483647 h 47"/>
                <a:gd name="T54" fmla="*/ 2147483647 w 47"/>
                <a:gd name="T55" fmla="*/ 2147483647 h 47"/>
                <a:gd name="T56" fmla="*/ 2147483647 w 47"/>
                <a:gd name="T57" fmla="*/ 2147483647 h 47"/>
                <a:gd name="T58" fmla="*/ 2147483647 w 47"/>
                <a:gd name="T59" fmla="*/ 2147483647 h 47"/>
                <a:gd name="T60" fmla="*/ 2147483647 w 47"/>
                <a:gd name="T61" fmla="*/ 2147483647 h 47"/>
                <a:gd name="T62" fmla="*/ 2147483647 w 47"/>
                <a:gd name="T63" fmla="*/ 2147483647 h 47"/>
                <a:gd name="T64" fmla="*/ 2147483647 w 47"/>
                <a:gd name="T65" fmla="*/ 2147483647 h 47"/>
                <a:gd name="T66" fmla="*/ 2147483647 w 47"/>
                <a:gd name="T67" fmla="*/ 2147483647 h 47"/>
                <a:gd name="T68" fmla="*/ 2147483647 w 47"/>
                <a:gd name="T69" fmla="*/ 2147483647 h 47"/>
                <a:gd name="T70" fmla="*/ 2147483647 w 47"/>
                <a:gd name="T71" fmla="*/ 2147483647 h 47"/>
                <a:gd name="T72" fmla="*/ 2147483647 w 47"/>
                <a:gd name="T73" fmla="*/ 2147483647 h 47"/>
                <a:gd name="T74" fmla="*/ 2147483647 w 47"/>
                <a:gd name="T75" fmla="*/ 2147483647 h 47"/>
                <a:gd name="T76" fmla="*/ 2147483647 w 47"/>
                <a:gd name="T77" fmla="*/ 2147483647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47"/>
                <a:gd name="T119" fmla="*/ 47 w 47"/>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47">
                  <a:moveTo>
                    <a:pt x="42" y="5"/>
                  </a:moveTo>
                  <a:lnTo>
                    <a:pt x="42" y="5"/>
                  </a:lnTo>
                  <a:lnTo>
                    <a:pt x="37" y="3"/>
                  </a:lnTo>
                  <a:lnTo>
                    <a:pt x="32" y="1"/>
                  </a:lnTo>
                  <a:lnTo>
                    <a:pt x="27" y="0"/>
                  </a:lnTo>
                  <a:lnTo>
                    <a:pt x="21" y="0"/>
                  </a:lnTo>
                  <a:lnTo>
                    <a:pt x="14" y="3"/>
                  </a:lnTo>
                  <a:lnTo>
                    <a:pt x="8" y="5"/>
                  </a:lnTo>
                  <a:lnTo>
                    <a:pt x="4" y="10"/>
                  </a:lnTo>
                  <a:lnTo>
                    <a:pt x="0" y="16"/>
                  </a:lnTo>
                  <a:lnTo>
                    <a:pt x="0" y="17"/>
                  </a:lnTo>
                  <a:lnTo>
                    <a:pt x="2" y="19"/>
                  </a:lnTo>
                  <a:lnTo>
                    <a:pt x="5" y="22"/>
                  </a:lnTo>
                  <a:lnTo>
                    <a:pt x="12" y="28"/>
                  </a:lnTo>
                  <a:lnTo>
                    <a:pt x="19" y="31"/>
                  </a:lnTo>
                  <a:lnTo>
                    <a:pt x="26" y="37"/>
                  </a:lnTo>
                  <a:lnTo>
                    <a:pt x="32" y="43"/>
                  </a:lnTo>
                  <a:lnTo>
                    <a:pt x="35" y="45"/>
                  </a:lnTo>
                  <a:lnTo>
                    <a:pt x="38" y="47"/>
                  </a:lnTo>
                  <a:lnTo>
                    <a:pt x="42" y="47"/>
                  </a:lnTo>
                  <a:lnTo>
                    <a:pt x="47" y="45"/>
                  </a:lnTo>
                  <a:lnTo>
                    <a:pt x="43" y="38"/>
                  </a:lnTo>
                  <a:lnTo>
                    <a:pt x="42" y="31"/>
                  </a:lnTo>
                  <a:lnTo>
                    <a:pt x="40" y="24"/>
                  </a:lnTo>
                  <a:lnTo>
                    <a:pt x="36" y="17"/>
                  </a:lnTo>
                  <a:lnTo>
                    <a:pt x="35" y="13"/>
                  </a:lnTo>
                  <a:lnTo>
                    <a:pt x="35" y="11"/>
                  </a:lnTo>
                  <a:lnTo>
                    <a:pt x="36" y="10"/>
                  </a:lnTo>
                  <a:lnTo>
                    <a:pt x="40" y="7"/>
                  </a:lnTo>
                  <a:lnTo>
                    <a:pt x="42"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49" name="Freeform 648"/>
            <p:cNvSpPr>
              <a:spLocks/>
            </p:cNvSpPr>
            <p:nvPr/>
          </p:nvSpPr>
          <p:spPr bwMode="auto">
            <a:xfrm>
              <a:off x="5627692" y="3571878"/>
              <a:ext cx="26987" cy="50800"/>
            </a:xfrm>
            <a:custGeom>
              <a:avLst/>
              <a:gdLst>
                <a:gd name="T0" fmla="*/ 2147483647 w 19"/>
                <a:gd name="T1" fmla="*/ 2147483647 h 32"/>
                <a:gd name="T2" fmla="*/ 2147483647 w 19"/>
                <a:gd name="T3" fmla="*/ 2147483647 h 32"/>
                <a:gd name="T4" fmla="*/ 2147483647 w 19"/>
                <a:gd name="T5" fmla="*/ 2147483647 h 32"/>
                <a:gd name="T6" fmla="*/ 0 w 19"/>
                <a:gd name="T7" fmla="*/ 2147483647 h 32"/>
                <a:gd name="T8" fmla="*/ 2147483647 w 19"/>
                <a:gd name="T9" fmla="*/ 2147483647 h 32"/>
                <a:gd name="T10" fmla="*/ 2147483647 w 19"/>
                <a:gd name="T11" fmla="*/ 2147483647 h 32"/>
                <a:gd name="T12" fmla="*/ 2147483647 w 19"/>
                <a:gd name="T13" fmla="*/ 2147483647 h 32"/>
                <a:gd name="T14" fmla="*/ 2147483647 w 19"/>
                <a:gd name="T15" fmla="*/ 2147483647 h 32"/>
                <a:gd name="T16" fmla="*/ 2147483647 w 19"/>
                <a:gd name="T17" fmla="*/ 2147483647 h 32"/>
                <a:gd name="T18" fmla="*/ 2147483647 w 19"/>
                <a:gd name="T19" fmla="*/ 2147483647 h 32"/>
                <a:gd name="T20" fmla="*/ 2147483647 w 19"/>
                <a:gd name="T21" fmla="*/ 2147483647 h 32"/>
                <a:gd name="T22" fmla="*/ 2147483647 w 19"/>
                <a:gd name="T23" fmla="*/ 2147483647 h 32"/>
                <a:gd name="T24" fmla="*/ 2147483647 w 19"/>
                <a:gd name="T25" fmla="*/ 2147483647 h 32"/>
                <a:gd name="T26" fmla="*/ 2147483647 w 19"/>
                <a:gd name="T27" fmla="*/ 0 h 32"/>
                <a:gd name="T28" fmla="*/ 2147483647 w 19"/>
                <a:gd name="T29" fmla="*/ 2147483647 h 32"/>
                <a:gd name="T30" fmla="*/ 2147483647 w 19"/>
                <a:gd name="T31" fmla="*/ 2147483647 h 32"/>
                <a:gd name="T32" fmla="*/ 2147483647 w 19"/>
                <a:gd name="T33" fmla="*/ 2147483647 h 32"/>
                <a:gd name="T34" fmla="*/ 2147483647 w 19"/>
                <a:gd name="T35" fmla="*/ 2147483647 h 32"/>
                <a:gd name="T36" fmla="*/ 2147483647 w 19"/>
                <a:gd name="T37" fmla="*/ 2147483647 h 32"/>
                <a:gd name="T38" fmla="*/ 2147483647 w 19"/>
                <a:gd name="T39" fmla="*/ 2147483647 h 32"/>
                <a:gd name="T40" fmla="*/ 2147483647 w 19"/>
                <a:gd name="T41" fmla="*/ 2147483647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32"/>
                <a:gd name="T65" fmla="*/ 19 w 19"/>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32">
                  <a:moveTo>
                    <a:pt x="15" y="32"/>
                  </a:moveTo>
                  <a:lnTo>
                    <a:pt x="10" y="32"/>
                  </a:lnTo>
                  <a:lnTo>
                    <a:pt x="5" y="30"/>
                  </a:lnTo>
                  <a:lnTo>
                    <a:pt x="0" y="25"/>
                  </a:lnTo>
                  <a:lnTo>
                    <a:pt x="3" y="23"/>
                  </a:lnTo>
                  <a:lnTo>
                    <a:pt x="3" y="19"/>
                  </a:lnTo>
                  <a:lnTo>
                    <a:pt x="4" y="17"/>
                  </a:lnTo>
                  <a:lnTo>
                    <a:pt x="6" y="14"/>
                  </a:lnTo>
                  <a:lnTo>
                    <a:pt x="8" y="12"/>
                  </a:lnTo>
                  <a:lnTo>
                    <a:pt x="8" y="10"/>
                  </a:lnTo>
                  <a:lnTo>
                    <a:pt x="8" y="6"/>
                  </a:lnTo>
                  <a:lnTo>
                    <a:pt x="8" y="4"/>
                  </a:lnTo>
                  <a:lnTo>
                    <a:pt x="9" y="1"/>
                  </a:lnTo>
                  <a:lnTo>
                    <a:pt x="10" y="0"/>
                  </a:lnTo>
                  <a:lnTo>
                    <a:pt x="11" y="1"/>
                  </a:lnTo>
                  <a:lnTo>
                    <a:pt x="15" y="6"/>
                  </a:lnTo>
                  <a:lnTo>
                    <a:pt x="18" y="12"/>
                  </a:lnTo>
                  <a:lnTo>
                    <a:pt x="19" y="19"/>
                  </a:lnTo>
                  <a:lnTo>
                    <a:pt x="19" y="25"/>
                  </a:lnTo>
                  <a:lnTo>
                    <a:pt x="17" y="29"/>
                  </a:lnTo>
                  <a:lnTo>
                    <a:pt x="15"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0" name="Freeform 649"/>
            <p:cNvSpPr>
              <a:spLocks/>
            </p:cNvSpPr>
            <p:nvPr/>
          </p:nvSpPr>
          <p:spPr bwMode="auto">
            <a:xfrm>
              <a:off x="5622925" y="3573464"/>
              <a:ext cx="7938" cy="14288"/>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0 w 6"/>
                <a:gd name="T9" fmla="*/ 2147483647 h 9"/>
                <a:gd name="T10" fmla="*/ 0 w 6"/>
                <a:gd name="T11" fmla="*/ 2147483647 h 9"/>
                <a:gd name="T12" fmla="*/ 2147483647 w 6"/>
                <a:gd name="T13" fmla="*/ 0 h 9"/>
                <a:gd name="T14" fmla="*/ 2147483647 w 6"/>
                <a:gd name="T15" fmla="*/ 2147483647 h 9"/>
                <a:gd name="T16" fmla="*/ 2147483647 w 6"/>
                <a:gd name="T17" fmla="*/ 2147483647 h 9"/>
                <a:gd name="T18" fmla="*/ 2147483647 w 6"/>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9"/>
                <a:gd name="T32" fmla="*/ 6 w 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9">
                  <a:moveTo>
                    <a:pt x="6" y="6"/>
                  </a:moveTo>
                  <a:lnTo>
                    <a:pt x="6" y="9"/>
                  </a:lnTo>
                  <a:lnTo>
                    <a:pt x="4" y="9"/>
                  </a:lnTo>
                  <a:lnTo>
                    <a:pt x="3" y="9"/>
                  </a:lnTo>
                  <a:lnTo>
                    <a:pt x="0" y="7"/>
                  </a:lnTo>
                  <a:lnTo>
                    <a:pt x="0" y="5"/>
                  </a:lnTo>
                  <a:lnTo>
                    <a:pt x="4" y="0"/>
                  </a:lnTo>
                  <a:lnTo>
                    <a:pt x="6" y="2"/>
                  </a:lnTo>
                  <a:lnTo>
                    <a:pt x="6" y="3"/>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1" name="Freeform 650"/>
            <p:cNvSpPr>
              <a:spLocks/>
            </p:cNvSpPr>
            <p:nvPr/>
          </p:nvSpPr>
          <p:spPr bwMode="auto">
            <a:xfrm>
              <a:off x="5626102" y="3570289"/>
              <a:ext cx="26988" cy="50800"/>
            </a:xfrm>
            <a:custGeom>
              <a:avLst/>
              <a:gdLst>
                <a:gd name="T0" fmla="*/ 2147483647 w 19"/>
                <a:gd name="T1" fmla="*/ 2147483647 h 32"/>
                <a:gd name="T2" fmla="*/ 2147483647 w 19"/>
                <a:gd name="T3" fmla="*/ 2147483647 h 32"/>
                <a:gd name="T4" fmla="*/ 2147483647 w 19"/>
                <a:gd name="T5" fmla="*/ 2147483647 h 32"/>
                <a:gd name="T6" fmla="*/ 2147483647 w 19"/>
                <a:gd name="T7" fmla="*/ 2147483647 h 32"/>
                <a:gd name="T8" fmla="*/ 2147483647 w 19"/>
                <a:gd name="T9" fmla="*/ 2147483647 h 32"/>
                <a:gd name="T10" fmla="*/ 0 w 19"/>
                <a:gd name="T11" fmla="*/ 2147483647 h 32"/>
                <a:gd name="T12" fmla="*/ 0 w 19"/>
                <a:gd name="T13" fmla="*/ 2147483647 h 32"/>
                <a:gd name="T14" fmla="*/ 2147483647 w 19"/>
                <a:gd name="T15" fmla="*/ 2147483647 h 32"/>
                <a:gd name="T16" fmla="*/ 2147483647 w 19"/>
                <a:gd name="T17" fmla="*/ 2147483647 h 32"/>
                <a:gd name="T18" fmla="*/ 2147483647 w 19"/>
                <a:gd name="T19" fmla="*/ 2147483647 h 32"/>
                <a:gd name="T20" fmla="*/ 2147483647 w 19"/>
                <a:gd name="T21" fmla="*/ 2147483647 h 32"/>
                <a:gd name="T22" fmla="*/ 2147483647 w 19"/>
                <a:gd name="T23" fmla="*/ 2147483647 h 32"/>
                <a:gd name="T24" fmla="*/ 2147483647 w 19"/>
                <a:gd name="T25" fmla="*/ 2147483647 h 32"/>
                <a:gd name="T26" fmla="*/ 2147483647 w 19"/>
                <a:gd name="T27" fmla="*/ 2147483647 h 32"/>
                <a:gd name="T28" fmla="*/ 2147483647 w 19"/>
                <a:gd name="T29" fmla="*/ 2147483647 h 32"/>
                <a:gd name="T30" fmla="*/ 2147483647 w 19"/>
                <a:gd name="T31" fmla="*/ 2147483647 h 32"/>
                <a:gd name="T32" fmla="*/ 2147483647 w 19"/>
                <a:gd name="T33" fmla="*/ 2147483647 h 32"/>
                <a:gd name="T34" fmla="*/ 2147483647 w 19"/>
                <a:gd name="T35" fmla="*/ 2147483647 h 32"/>
                <a:gd name="T36" fmla="*/ 2147483647 w 19"/>
                <a:gd name="T37" fmla="*/ 0 h 32"/>
                <a:gd name="T38" fmla="*/ 2147483647 w 19"/>
                <a:gd name="T39" fmla="*/ 2147483647 h 32"/>
                <a:gd name="T40" fmla="*/ 2147483647 w 19"/>
                <a:gd name="T41" fmla="*/ 2147483647 h 32"/>
                <a:gd name="T42" fmla="*/ 2147483647 w 19"/>
                <a:gd name="T43" fmla="*/ 2147483647 h 32"/>
                <a:gd name="T44" fmla="*/ 2147483647 w 19"/>
                <a:gd name="T45" fmla="*/ 2147483647 h 32"/>
                <a:gd name="T46" fmla="*/ 2147483647 w 19"/>
                <a:gd name="T47" fmla="*/ 2147483647 h 32"/>
                <a:gd name="T48" fmla="*/ 2147483647 w 19"/>
                <a:gd name="T49" fmla="*/ 2147483647 h 32"/>
                <a:gd name="T50" fmla="*/ 2147483647 w 19"/>
                <a:gd name="T51" fmla="*/ 2147483647 h 32"/>
                <a:gd name="T52" fmla="*/ 2147483647 w 19"/>
                <a:gd name="T53" fmla="*/ 2147483647 h 32"/>
                <a:gd name="T54" fmla="*/ 2147483647 w 19"/>
                <a:gd name="T55" fmla="*/ 2147483647 h 32"/>
                <a:gd name="T56" fmla="*/ 2147483647 w 19"/>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
                <a:gd name="T88" fmla="*/ 0 h 32"/>
                <a:gd name="T89" fmla="*/ 19 w 19"/>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 h="32">
                  <a:moveTo>
                    <a:pt x="15" y="32"/>
                  </a:moveTo>
                  <a:lnTo>
                    <a:pt x="15" y="32"/>
                  </a:lnTo>
                  <a:lnTo>
                    <a:pt x="10" y="32"/>
                  </a:lnTo>
                  <a:lnTo>
                    <a:pt x="5" y="30"/>
                  </a:lnTo>
                  <a:lnTo>
                    <a:pt x="0" y="25"/>
                  </a:lnTo>
                  <a:lnTo>
                    <a:pt x="2" y="23"/>
                  </a:lnTo>
                  <a:lnTo>
                    <a:pt x="2" y="19"/>
                  </a:lnTo>
                  <a:lnTo>
                    <a:pt x="4" y="17"/>
                  </a:lnTo>
                  <a:lnTo>
                    <a:pt x="6" y="14"/>
                  </a:lnTo>
                  <a:lnTo>
                    <a:pt x="7" y="12"/>
                  </a:lnTo>
                  <a:lnTo>
                    <a:pt x="7" y="9"/>
                  </a:lnTo>
                  <a:lnTo>
                    <a:pt x="7" y="6"/>
                  </a:lnTo>
                  <a:lnTo>
                    <a:pt x="7" y="4"/>
                  </a:lnTo>
                  <a:lnTo>
                    <a:pt x="9" y="1"/>
                  </a:lnTo>
                  <a:lnTo>
                    <a:pt x="10" y="0"/>
                  </a:lnTo>
                  <a:lnTo>
                    <a:pt x="11" y="1"/>
                  </a:lnTo>
                  <a:lnTo>
                    <a:pt x="15" y="6"/>
                  </a:lnTo>
                  <a:lnTo>
                    <a:pt x="18" y="12"/>
                  </a:lnTo>
                  <a:lnTo>
                    <a:pt x="19" y="19"/>
                  </a:lnTo>
                  <a:lnTo>
                    <a:pt x="19" y="25"/>
                  </a:lnTo>
                  <a:lnTo>
                    <a:pt x="16" y="28"/>
                  </a:lnTo>
                  <a:lnTo>
                    <a:pt x="15"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2" name="Freeform 651"/>
            <p:cNvSpPr>
              <a:spLocks/>
            </p:cNvSpPr>
            <p:nvPr/>
          </p:nvSpPr>
          <p:spPr bwMode="auto">
            <a:xfrm>
              <a:off x="5621342" y="3571875"/>
              <a:ext cx="7937" cy="1270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2147483647 w 5"/>
                <a:gd name="T11" fmla="*/ 2147483647 h 8"/>
                <a:gd name="T12" fmla="*/ 0 w 5"/>
                <a:gd name="T13" fmla="*/ 2147483647 h 8"/>
                <a:gd name="T14" fmla="*/ 0 w 5"/>
                <a:gd name="T15" fmla="*/ 2147483647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2147483647 w 5"/>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8"/>
                <a:gd name="T44" fmla="*/ 5 w 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8">
                  <a:moveTo>
                    <a:pt x="5" y="6"/>
                  </a:moveTo>
                  <a:lnTo>
                    <a:pt x="5" y="6"/>
                  </a:lnTo>
                  <a:lnTo>
                    <a:pt x="5" y="8"/>
                  </a:lnTo>
                  <a:lnTo>
                    <a:pt x="4" y="8"/>
                  </a:lnTo>
                  <a:lnTo>
                    <a:pt x="3" y="8"/>
                  </a:lnTo>
                  <a:lnTo>
                    <a:pt x="0" y="7"/>
                  </a:lnTo>
                  <a:lnTo>
                    <a:pt x="0" y="5"/>
                  </a:lnTo>
                  <a:lnTo>
                    <a:pt x="4" y="0"/>
                  </a:lnTo>
                  <a:lnTo>
                    <a:pt x="5" y="1"/>
                  </a:lnTo>
                  <a:lnTo>
                    <a:pt x="5" y="3"/>
                  </a:lnTo>
                  <a:lnTo>
                    <a:pt x="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3" name="Freeform 652"/>
            <p:cNvSpPr>
              <a:spLocks/>
            </p:cNvSpPr>
            <p:nvPr/>
          </p:nvSpPr>
          <p:spPr bwMode="auto">
            <a:xfrm>
              <a:off x="5229228" y="3406779"/>
              <a:ext cx="530225" cy="487363"/>
            </a:xfrm>
            <a:custGeom>
              <a:avLst/>
              <a:gdLst>
                <a:gd name="T0" fmla="*/ 2147483647 w 362"/>
                <a:gd name="T1" fmla="*/ 2147483647 h 307"/>
                <a:gd name="T2" fmla="*/ 2147483647 w 362"/>
                <a:gd name="T3" fmla="*/ 2147483647 h 307"/>
                <a:gd name="T4" fmla="*/ 2147483647 w 362"/>
                <a:gd name="T5" fmla="*/ 2147483647 h 307"/>
                <a:gd name="T6" fmla="*/ 2147483647 w 362"/>
                <a:gd name="T7" fmla="*/ 2147483647 h 307"/>
                <a:gd name="T8" fmla="*/ 2147483647 w 362"/>
                <a:gd name="T9" fmla="*/ 2147483647 h 307"/>
                <a:gd name="T10" fmla="*/ 2147483647 w 362"/>
                <a:gd name="T11" fmla="*/ 2147483647 h 307"/>
                <a:gd name="T12" fmla="*/ 2147483647 w 362"/>
                <a:gd name="T13" fmla="*/ 2147483647 h 307"/>
                <a:gd name="T14" fmla="*/ 2147483647 w 362"/>
                <a:gd name="T15" fmla="*/ 2147483647 h 307"/>
                <a:gd name="T16" fmla="*/ 2147483647 w 362"/>
                <a:gd name="T17" fmla="*/ 2147483647 h 307"/>
                <a:gd name="T18" fmla="*/ 2147483647 w 362"/>
                <a:gd name="T19" fmla="*/ 2147483647 h 307"/>
                <a:gd name="T20" fmla="*/ 2147483647 w 362"/>
                <a:gd name="T21" fmla="*/ 2147483647 h 307"/>
                <a:gd name="T22" fmla="*/ 2147483647 w 362"/>
                <a:gd name="T23" fmla="*/ 2147483647 h 307"/>
                <a:gd name="T24" fmla="*/ 2147483647 w 362"/>
                <a:gd name="T25" fmla="*/ 0 h 307"/>
                <a:gd name="T26" fmla="*/ 2147483647 w 362"/>
                <a:gd name="T27" fmla="*/ 2147483647 h 307"/>
                <a:gd name="T28" fmla="*/ 2147483647 w 362"/>
                <a:gd name="T29" fmla="*/ 2147483647 h 307"/>
                <a:gd name="T30" fmla="*/ 2147483647 w 362"/>
                <a:gd name="T31" fmla="*/ 2147483647 h 307"/>
                <a:gd name="T32" fmla="*/ 2147483647 w 362"/>
                <a:gd name="T33" fmla="*/ 2147483647 h 307"/>
                <a:gd name="T34" fmla="*/ 2147483647 w 362"/>
                <a:gd name="T35" fmla="*/ 2147483647 h 307"/>
                <a:gd name="T36" fmla="*/ 2147483647 w 362"/>
                <a:gd name="T37" fmla="*/ 2147483647 h 307"/>
                <a:gd name="T38" fmla="*/ 2147483647 w 362"/>
                <a:gd name="T39" fmla="*/ 2147483647 h 307"/>
                <a:gd name="T40" fmla="*/ 2147483647 w 362"/>
                <a:gd name="T41" fmla="*/ 2147483647 h 307"/>
                <a:gd name="T42" fmla="*/ 2147483647 w 362"/>
                <a:gd name="T43" fmla="*/ 2147483647 h 307"/>
                <a:gd name="T44" fmla="*/ 2147483647 w 362"/>
                <a:gd name="T45" fmla="*/ 2147483647 h 307"/>
                <a:gd name="T46" fmla="*/ 2147483647 w 362"/>
                <a:gd name="T47" fmla="*/ 2147483647 h 307"/>
                <a:gd name="T48" fmla="*/ 2147483647 w 362"/>
                <a:gd name="T49" fmla="*/ 2147483647 h 307"/>
                <a:gd name="T50" fmla="*/ 2147483647 w 362"/>
                <a:gd name="T51" fmla="*/ 2147483647 h 307"/>
                <a:gd name="T52" fmla="*/ 2147483647 w 362"/>
                <a:gd name="T53" fmla="*/ 2147483647 h 307"/>
                <a:gd name="T54" fmla="*/ 2147483647 w 362"/>
                <a:gd name="T55" fmla="*/ 2147483647 h 307"/>
                <a:gd name="T56" fmla="*/ 2147483647 w 362"/>
                <a:gd name="T57" fmla="*/ 2147483647 h 307"/>
                <a:gd name="T58" fmla="*/ 2147483647 w 362"/>
                <a:gd name="T59" fmla="*/ 2147483647 h 307"/>
                <a:gd name="T60" fmla="*/ 2147483647 w 362"/>
                <a:gd name="T61" fmla="*/ 2147483647 h 307"/>
                <a:gd name="T62" fmla="*/ 2147483647 w 362"/>
                <a:gd name="T63" fmla="*/ 2147483647 h 307"/>
                <a:gd name="T64" fmla="*/ 2147483647 w 362"/>
                <a:gd name="T65" fmla="*/ 2147483647 h 307"/>
                <a:gd name="T66" fmla="*/ 2147483647 w 362"/>
                <a:gd name="T67" fmla="*/ 2147483647 h 307"/>
                <a:gd name="T68" fmla="*/ 2147483647 w 362"/>
                <a:gd name="T69" fmla="*/ 2147483647 h 307"/>
                <a:gd name="T70" fmla="*/ 2147483647 w 362"/>
                <a:gd name="T71" fmla="*/ 2147483647 h 307"/>
                <a:gd name="T72" fmla="*/ 2147483647 w 362"/>
                <a:gd name="T73" fmla="*/ 2147483647 h 307"/>
                <a:gd name="T74" fmla="*/ 2147483647 w 362"/>
                <a:gd name="T75" fmla="*/ 2147483647 h 307"/>
                <a:gd name="T76" fmla="*/ 2147483647 w 362"/>
                <a:gd name="T77" fmla="*/ 2147483647 h 307"/>
                <a:gd name="T78" fmla="*/ 2147483647 w 362"/>
                <a:gd name="T79" fmla="*/ 2147483647 h 307"/>
                <a:gd name="T80" fmla="*/ 2147483647 w 362"/>
                <a:gd name="T81" fmla="*/ 2147483647 h 307"/>
                <a:gd name="T82" fmla="*/ 2147483647 w 362"/>
                <a:gd name="T83" fmla="*/ 2147483647 h 307"/>
                <a:gd name="T84" fmla="*/ 2147483647 w 362"/>
                <a:gd name="T85" fmla="*/ 2147483647 h 307"/>
                <a:gd name="T86" fmla="*/ 2147483647 w 362"/>
                <a:gd name="T87" fmla="*/ 2147483647 h 307"/>
                <a:gd name="T88" fmla="*/ 2147483647 w 362"/>
                <a:gd name="T89" fmla="*/ 2147483647 h 307"/>
                <a:gd name="T90" fmla="*/ 2147483647 w 362"/>
                <a:gd name="T91" fmla="*/ 2147483647 h 307"/>
                <a:gd name="T92" fmla="*/ 2147483647 w 362"/>
                <a:gd name="T93" fmla="*/ 2147483647 h 307"/>
                <a:gd name="T94" fmla="*/ 2147483647 w 362"/>
                <a:gd name="T95" fmla="*/ 2147483647 h 307"/>
                <a:gd name="T96" fmla="*/ 2147483647 w 362"/>
                <a:gd name="T97" fmla="*/ 2147483647 h 307"/>
                <a:gd name="T98" fmla="*/ 2147483647 w 362"/>
                <a:gd name="T99" fmla="*/ 2147483647 h 307"/>
                <a:gd name="T100" fmla="*/ 2147483647 w 362"/>
                <a:gd name="T101" fmla="*/ 2147483647 h 307"/>
                <a:gd name="T102" fmla="*/ 2147483647 w 362"/>
                <a:gd name="T103" fmla="*/ 2147483647 h 307"/>
                <a:gd name="T104" fmla="*/ 2147483647 w 362"/>
                <a:gd name="T105" fmla="*/ 2147483647 h 307"/>
                <a:gd name="T106" fmla="*/ 2147483647 w 362"/>
                <a:gd name="T107" fmla="*/ 2147483647 h 307"/>
                <a:gd name="T108" fmla="*/ 2147483647 w 362"/>
                <a:gd name="T109" fmla="*/ 2147483647 h 307"/>
                <a:gd name="T110" fmla="*/ 2147483647 w 362"/>
                <a:gd name="T111" fmla="*/ 2147483647 h 307"/>
                <a:gd name="T112" fmla="*/ 2147483647 w 362"/>
                <a:gd name="T113" fmla="*/ 2147483647 h 307"/>
                <a:gd name="T114" fmla="*/ 2147483647 w 362"/>
                <a:gd name="T115" fmla="*/ 2147483647 h 307"/>
                <a:gd name="T116" fmla="*/ 2147483647 w 362"/>
                <a:gd name="T117" fmla="*/ 2147483647 h 3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2"/>
                <a:gd name="T178" fmla="*/ 0 h 307"/>
                <a:gd name="T179" fmla="*/ 362 w 362"/>
                <a:gd name="T180" fmla="*/ 307 h 30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2" h="307">
                  <a:moveTo>
                    <a:pt x="242" y="75"/>
                  </a:moveTo>
                  <a:lnTo>
                    <a:pt x="236" y="76"/>
                  </a:lnTo>
                  <a:lnTo>
                    <a:pt x="233" y="76"/>
                  </a:lnTo>
                  <a:lnTo>
                    <a:pt x="229" y="75"/>
                  </a:lnTo>
                  <a:lnTo>
                    <a:pt x="226" y="72"/>
                  </a:lnTo>
                  <a:lnTo>
                    <a:pt x="220" y="66"/>
                  </a:lnTo>
                  <a:lnTo>
                    <a:pt x="214" y="60"/>
                  </a:lnTo>
                  <a:lnTo>
                    <a:pt x="206" y="57"/>
                  </a:lnTo>
                  <a:lnTo>
                    <a:pt x="200" y="51"/>
                  </a:lnTo>
                  <a:lnTo>
                    <a:pt x="196" y="48"/>
                  </a:lnTo>
                  <a:lnTo>
                    <a:pt x="195" y="46"/>
                  </a:lnTo>
                  <a:lnTo>
                    <a:pt x="195" y="45"/>
                  </a:lnTo>
                  <a:lnTo>
                    <a:pt x="182" y="40"/>
                  </a:lnTo>
                  <a:lnTo>
                    <a:pt x="175" y="38"/>
                  </a:lnTo>
                  <a:lnTo>
                    <a:pt x="169" y="38"/>
                  </a:lnTo>
                  <a:lnTo>
                    <a:pt x="164" y="38"/>
                  </a:lnTo>
                  <a:lnTo>
                    <a:pt x="160" y="38"/>
                  </a:lnTo>
                  <a:lnTo>
                    <a:pt x="155" y="39"/>
                  </a:lnTo>
                  <a:lnTo>
                    <a:pt x="151" y="38"/>
                  </a:lnTo>
                  <a:lnTo>
                    <a:pt x="150" y="35"/>
                  </a:lnTo>
                  <a:lnTo>
                    <a:pt x="150" y="33"/>
                  </a:lnTo>
                  <a:lnTo>
                    <a:pt x="149" y="29"/>
                  </a:lnTo>
                  <a:lnTo>
                    <a:pt x="148" y="26"/>
                  </a:lnTo>
                  <a:lnTo>
                    <a:pt x="146" y="26"/>
                  </a:lnTo>
                  <a:lnTo>
                    <a:pt x="144" y="26"/>
                  </a:lnTo>
                  <a:lnTo>
                    <a:pt x="139" y="27"/>
                  </a:lnTo>
                  <a:lnTo>
                    <a:pt x="137" y="26"/>
                  </a:lnTo>
                  <a:lnTo>
                    <a:pt x="136" y="25"/>
                  </a:lnTo>
                  <a:lnTo>
                    <a:pt x="134" y="21"/>
                  </a:lnTo>
                  <a:lnTo>
                    <a:pt x="126" y="18"/>
                  </a:lnTo>
                  <a:lnTo>
                    <a:pt x="120" y="16"/>
                  </a:lnTo>
                  <a:lnTo>
                    <a:pt x="112" y="14"/>
                  </a:lnTo>
                  <a:lnTo>
                    <a:pt x="106" y="11"/>
                  </a:lnTo>
                  <a:lnTo>
                    <a:pt x="98" y="7"/>
                  </a:lnTo>
                  <a:lnTo>
                    <a:pt x="90" y="5"/>
                  </a:lnTo>
                  <a:lnTo>
                    <a:pt x="80" y="3"/>
                  </a:lnTo>
                  <a:lnTo>
                    <a:pt x="70" y="1"/>
                  </a:lnTo>
                  <a:lnTo>
                    <a:pt x="66" y="0"/>
                  </a:lnTo>
                  <a:lnTo>
                    <a:pt x="61" y="0"/>
                  </a:lnTo>
                  <a:lnTo>
                    <a:pt x="50" y="1"/>
                  </a:lnTo>
                  <a:lnTo>
                    <a:pt x="40" y="3"/>
                  </a:lnTo>
                  <a:lnTo>
                    <a:pt x="31" y="7"/>
                  </a:lnTo>
                  <a:lnTo>
                    <a:pt x="28" y="8"/>
                  </a:lnTo>
                  <a:lnTo>
                    <a:pt x="27" y="11"/>
                  </a:lnTo>
                  <a:lnTo>
                    <a:pt x="27" y="12"/>
                  </a:lnTo>
                  <a:lnTo>
                    <a:pt x="28" y="14"/>
                  </a:lnTo>
                  <a:lnTo>
                    <a:pt x="35" y="19"/>
                  </a:lnTo>
                  <a:lnTo>
                    <a:pt x="45" y="28"/>
                  </a:lnTo>
                  <a:lnTo>
                    <a:pt x="35" y="37"/>
                  </a:lnTo>
                  <a:lnTo>
                    <a:pt x="24" y="46"/>
                  </a:lnTo>
                  <a:lnTo>
                    <a:pt x="22" y="47"/>
                  </a:lnTo>
                  <a:lnTo>
                    <a:pt x="18" y="46"/>
                  </a:lnTo>
                  <a:lnTo>
                    <a:pt x="9" y="44"/>
                  </a:lnTo>
                  <a:lnTo>
                    <a:pt x="5" y="44"/>
                  </a:lnTo>
                  <a:lnTo>
                    <a:pt x="0" y="45"/>
                  </a:lnTo>
                  <a:lnTo>
                    <a:pt x="2" y="52"/>
                  </a:lnTo>
                  <a:lnTo>
                    <a:pt x="3" y="59"/>
                  </a:lnTo>
                  <a:lnTo>
                    <a:pt x="2" y="73"/>
                  </a:lnTo>
                  <a:lnTo>
                    <a:pt x="2" y="75"/>
                  </a:lnTo>
                  <a:lnTo>
                    <a:pt x="4" y="75"/>
                  </a:lnTo>
                  <a:lnTo>
                    <a:pt x="7" y="75"/>
                  </a:lnTo>
                  <a:lnTo>
                    <a:pt x="9" y="76"/>
                  </a:lnTo>
                  <a:lnTo>
                    <a:pt x="9" y="77"/>
                  </a:lnTo>
                  <a:lnTo>
                    <a:pt x="9" y="79"/>
                  </a:lnTo>
                  <a:lnTo>
                    <a:pt x="9" y="82"/>
                  </a:lnTo>
                  <a:lnTo>
                    <a:pt x="12" y="84"/>
                  </a:lnTo>
                  <a:lnTo>
                    <a:pt x="14" y="84"/>
                  </a:lnTo>
                  <a:lnTo>
                    <a:pt x="17" y="85"/>
                  </a:lnTo>
                  <a:lnTo>
                    <a:pt x="18" y="86"/>
                  </a:lnTo>
                  <a:lnTo>
                    <a:pt x="22" y="102"/>
                  </a:lnTo>
                  <a:lnTo>
                    <a:pt x="24" y="109"/>
                  </a:lnTo>
                  <a:lnTo>
                    <a:pt x="28" y="115"/>
                  </a:lnTo>
                  <a:lnTo>
                    <a:pt x="32" y="121"/>
                  </a:lnTo>
                  <a:lnTo>
                    <a:pt x="36" y="126"/>
                  </a:lnTo>
                  <a:lnTo>
                    <a:pt x="37" y="131"/>
                  </a:lnTo>
                  <a:lnTo>
                    <a:pt x="37" y="137"/>
                  </a:lnTo>
                  <a:lnTo>
                    <a:pt x="37" y="141"/>
                  </a:lnTo>
                  <a:lnTo>
                    <a:pt x="38" y="146"/>
                  </a:lnTo>
                  <a:lnTo>
                    <a:pt x="41" y="148"/>
                  </a:lnTo>
                  <a:lnTo>
                    <a:pt x="43" y="152"/>
                  </a:lnTo>
                  <a:lnTo>
                    <a:pt x="46" y="153"/>
                  </a:lnTo>
                  <a:lnTo>
                    <a:pt x="50" y="155"/>
                  </a:lnTo>
                  <a:lnTo>
                    <a:pt x="57" y="156"/>
                  </a:lnTo>
                  <a:lnTo>
                    <a:pt x="59" y="158"/>
                  </a:lnTo>
                  <a:lnTo>
                    <a:pt x="59" y="159"/>
                  </a:lnTo>
                  <a:lnTo>
                    <a:pt x="59" y="162"/>
                  </a:lnTo>
                  <a:lnTo>
                    <a:pt x="65" y="169"/>
                  </a:lnTo>
                  <a:lnTo>
                    <a:pt x="70" y="179"/>
                  </a:lnTo>
                  <a:lnTo>
                    <a:pt x="73" y="187"/>
                  </a:lnTo>
                  <a:lnTo>
                    <a:pt x="73" y="197"/>
                  </a:lnTo>
                  <a:lnTo>
                    <a:pt x="73" y="201"/>
                  </a:lnTo>
                  <a:lnTo>
                    <a:pt x="73" y="206"/>
                  </a:lnTo>
                  <a:lnTo>
                    <a:pt x="74" y="210"/>
                  </a:lnTo>
                  <a:lnTo>
                    <a:pt x="76" y="213"/>
                  </a:lnTo>
                  <a:lnTo>
                    <a:pt x="76" y="214"/>
                  </a:lnTo>
                  <a:lnTo>
                    <a:pt x="76" y="216"/>
                  </a:lnTo>
                  <a:lnTo>
                    <a:pt x="76" y="223"/>
                  </a:lnTo>
                  <a:lnTo>
                    <a:pt x="78" y="229"/>
                  </a:lnTo>
                  <a:lnTo>
                    <a:pt x="82" y="233"/>
                  </a:lnTo>
                  <a:lnTo>
                    <a:pt x="85" y="237"/>
                  </a:lnTo>
                  <a:lnTo>
                    <a:pt x="92" y="241"/>
                  </a:lnTo>
                  <a:lnTo>
                    <a:pt x="97" y="244"/>
                  </a:lnTo>
                  <a:lnTo>
                    <a:pt x="111" y="248"/>
                  </a:lnTo>
                  <a:lnTo>
                    <a:pt x="112" y="249"/>
                  </a:lnTo>
                  <a:lnTo>
                    <a:pt x="112" y="250"/>
                  </a:lnTo>
                  <a:lnTo>
                    <a:pt x="116" y="262"/>
                  </a:lnTo>
                  <a:lnTo>
                    <a:pt x="117" y="268"/>
                  </a:lnTo>
                  <a:lnTo>
                    <a:pt x="121" y="273"/>
                  </a:lnTo>
                  <a:lnTo>
                    <a:pt x="123" y="276"/>
                  </a:lnTo>
                  <a:lnTo>
                    <a:pt x="127" y="280"/>
                  </a:lnTo>
                  <a:lnTo>
                    <a:pt x="130" y="283"/>
                  </a:lnTo>
                  <a:lnTo>
                    <a:pt x="132" y="288"/>
                  </a:lnTo>
                  <a:lnTo>
                    <a:pt x="134" y="297"/>
                  </a:lnTo>
                  <a:lnTo>
                    <a:pt x="139" y="307"/>
                  </a:lnTo>
                  <a:lnTo>
                    <a:pt x="141" y="305"/>
                  </a:lnTo>
                  <a:lnTo>
                    <a:pt x="144" y="303"/>
                  </a:lnTo>
                  <a:lnTo>
                    <a:pt x="151" y="303"/>
                  </a:lnTo>
                  <a:lnTo>
                    <a:pt x="159" y="303"/>
                  </a:lnTo>
                  <a:lnTo>
                    <a:pt x="165" y="303"/>
                  </a:lnTo>
                  <a:lnTo>
                    <a:pt x="182" y="302"/>
                  </a:lnTo>
                  <a:lnTo>
                    <a:pt x="197" y="302"/>
                  </a:lnTo>
                  <a:lnTo>
                    <a:pt x="211" y="303"/>
                  </a:lnTo>
                  <a:lnTo>
                    <a:pt x="226" y="302"/>
                  </a:lnTo>
                  <a:lnTo>
                    <a:pt x="230" y="299"/>
                  </a:lnTo>
                  <a:lnTo>
                    <a:pt x="233" y="295"/>
                  </a:lnTo>
                  <a:lnTo>
                    <a:pt x="234" y="292"/>
                  </a:lnTo>
                  <a:lnTo>
                    <a:pt x="235" y="288"/>
                  </a:lnTo>
                  <a:lnTo>
                    <a:pt x="236" y="286"/>
                  </a:lnTo>
                  <a:lnTo>
                    <a:pt x="258" y="280"/>
                  </a:lnTo>
                  <a:lnTo>
                    <a:pt x="281" y="273"/>
                  </a:lnTo>
                  <a:lnTo>
                    <a:pt x="300" y="265"/>
                  </a:lnTo>
                  <a:lnTo>
                    <a:pt x="318" y="258"/>
                  </a:lnTo>
                  <a:lnTo>
                    <a:pt x="334" y="250"/>
                  </a:lnTo>
                  <a:lnTo>
                    <a:pt x="347" y="243"/>
                  </a:lnTo>
                  <a:lnTo>
                    <a:pt x="348" y="241"/>
                  </a:lnTo>
                  <a:lnTo>
                    <a:pt x="349" y="237"/>
                  </a:lnTo>
                  <a:lnTo>
                    <a:pt x="352" y="231"/>
                  </a:lnTo>
                  <a:lnTo>
                    <a:pt x="358" y="219"/>
                  </a:lnTo>
                  <a:lnTo>
                    <a:pt x="362" y="206"/>
                  </a:lnTo>
                  <a:lnTo>
                    <a:pt x="362" y="200"/>
                  </a:lnTo>
                  <a:lnTo>
                    <a:pt x="362" y="193"/>
                  </a:lnTo>
                  <a:lnTo>
                    <a:pt x="361" y="187"/>
                  </a:lnTo>
                  <a:lnTo>
                    <a:pt x="358" y="181"/>
                  </a:lnTo>
                  <a:lnTo>
                    <a:pt x="357" y="182"/>
                  </a:lnTo>
                  <a:lnTo>
                    <a:pt x="355" y="184"/>
                  </a:lnTo>
                  <a:lnTo>
                    <a:pt x="351" y="184"/>
                  </a:lnTo>
                  <a:lnTo>
                    <a:pt x="338" y="180"/>
                  </a:lnTo>
                  <a:lnTo>
                    <a:pt x="325" y="178"/>
                  </a:lnTo>
                  <a:lnTo>
                    <a:pt x="300" y="173"/>
                  </a:lnTo>
                  <a:lnTo>
                    <a:pt x="295" y="171"/>
                  </a:lnTo>
                  <a:lnTo>
                    <a:pt x="292" y="169"/>
                  </a:lnTo>
                  <a:lnTo>
                    <a:pt x="290" y="167"/>
                  </a:lnTo>
                  <a:lnTo>
                    <a:pt x="290" y="163"/>
                  </a:lnTo>
                  <a:lnTo>
                    <a:pt x="289" y="156"/>
                  </a:lnTo>
                  <a:lnTo>
                    <a:pt x="287" y="152"/>
                  </a:lnTo>
                  <a:lnTo>
                    <a:pt x="286" y="147"/>
                  </a:lnTo>
                  <a:lnTo>
                    <a:pt x="285" y="146"/>
                  </a:lnTo>
                  <a:lnTo>
                    <a:pt x="282" y="144"/>
                  </a:lnTo>
                  <a:lnTo>
                    <a:pt x="281" y="142"/>
                  </a:lnTo>
                  <a:lnTo>
                    <a:pt x="282" y="136"/>
                  </a:lnTo>
                  <a:lnTo>
                    <a:pt x="277" y="134"/>
                  </a:lnTo>
                  <a:lnTo>
                    <a:pt x="272" y="129"/>
                  </a:lnTo>
                  <a:lnTo>
                    <a:pt x="271" y="128"/>
                  </a:lnTo>
                  <a:lnTo>
                    <a:pt x="269" y="124"/>
                  </a:lnTo>
                  <a:lnTo>
                    <a:pt x="267" y="120"/>
                  </a:lnTo>
                  <a:lnTo>
                    <a:pt x="266" y="115"/>
                  </a:lnTo>
                  <a:lnTo>
                    <a:pt x="264" y="110"/>
                  </a:lnTo>
                  <a:lnTo>
                    <a:pt x="264" y="104"/>
                  </a:lnTo>
                  <a:lnTo>
                    <a:pt x="264" y="101"/>
                  </a:lnTo>
                  <a:lnTo>
                    <a:pt x="263" y="97"/>
                  </a:lnTo>
                  <a:lnTo>
                    <a:pt x="259" y="94"/>
                  </a:lnTo>
                  <a:lnTo>
                    <a:pt x="254" y="92"/>
                  </a:lnTo>
                  <a:lnTo>
                    <a:pt x="252" y="91"/>
                  </a:lnTo>
                  <a:lnTo>
                    <a:pt x="250" y="88"/>
                  </a:lnTo>
                  <a:lnTo>
                    <a:pt x="249" y="82"/>
                  </a:lnTo>
                  <a:lnTo>
                    <a:pt x="248" y="79"/>
                  </a:lnTo>
                  <a:lnTo>
                    <a:pt x="245" y="78"/>
                  </a:lnTo>
                  <a:lnTo>
                    <a:pt x="242" y="7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4" name="Freeform 653"/>
            <p:cNvSpPr>
              <a:spLocks/>
            </p:cNvSpPr>
            <p:nvPr/>
          </p:nvSpPr>
          <p:spPr bwMode="auto">
            <a:xfrm>
              <a:off x="5640388" y="3590929"/>
              <a:ext cx="139700" cy="107950"/>
            </a:xfrm>
            <a:custGeom>
              <a:avLst/>
              <a:gdLst>
                <a:gd name="T0" fmla="*/ 2147483647 w 95"/>
                <a:gd name="T1" fmla="*/ 2147483647 h 68"/>
                <a:gd name="T2" fmla="*/ 2147483647 w 95"/>
                <a:gd name="T3" fmla="*/ 2147483647 h 68"/>
                <a:gd name="T4" fmla="*/ 0 w 95"/>
                <a:gd name="T5" fmla="*/ 2147483647 h 68"/>
                <a:gd name="T6" fmla="*/ 2147483647 w 95"/>
                <a:gd name="T7" fmla="*/ 2147483647 h 68"/>
                <a:gd name="T8" fmla="*/ 2147483647 w 95"/>
                <a:gd name="T9" fmla="*/ 2147483647 h 68"/>
                <a:gd name="T10" fmla="*/ 2147483647 w 95"/>
                <a:gd name="T11" fmla="*/ 2147483647 h 68"/>
                <a:gd name="T12" fmla="*/ 2147483647 w 95"/>
                <a:gd name="T13" fmla="*/ 2147483647 h 68"/>
                <a:gd name="T14" fmla="*/ 2147483647 w 95"/>
                <a:gd name="T15" fmla="*/ 2147483647 h 68"/>
                <a:gd name="T16" fmla="*/ 2147483647 w 95"/>
                <a:gd name="T17" fmla="*/ 2147483647 h 68"/>
                <a:gd name="T18" fmla="*/ 2147483647 w 95"/>
                <a:gd name="T19" fmla="*/ 2147483647 h 68"/>
                <a:gd name="T20" fmla="*/ 2147483647 w 95"/>
                <a:gd name="T21" fmla="*/ 2147483647 h 68"/>
                <a:gd name="T22" fmla="*/ 2147483647 w 95"/>
                <a:gd name="T23" fmla="*/ 2147483647 h 68"/>
                <a:gd name="T24" fmla="*/ 2147483647 w 95"/>
                <a:gd name="T25" fmla="*/ 2147483647 h 68"/>
                <a:gd name="T26" fmla="*/ 2147483647 w 95"/>
                <a:gd name="T27" fmla="*/ 2147483647 h 68"/>
                <a:gd name="T28" fmla="*/ 2147483647 w 95"/>
                <a:gd name="T29" fmla="*/ 2147483647 h 68"/>
                <a:gd name="T30" fmla="*/ 2147483647 w 95"/>
                <a:gd name="T31" fmla="*/ 2147483647 h 68"/>
                <a:gd name="T32" fmla="*/ 2147483647 w 95"/>
                <a:gd name="T33" fmla="*/ 2147483647 h 68"/>
                <a:gd name="T34" fmla="*/ 2147483647 w 95"/>
                <a:gd name="T35" fmla="*/ 2147483647 h 68"/>
                <a:gd name="T36" fmla="*/ 2147483647 w 95"/>
                <a:gd name="T37" fmla="*/ 2147483647 h 68"/>
                <a:gd name="T38" fmla="*/ 2147483647 w 95"/>
                <a:gd name="T39" fmla="*/ 2147483647 h 68"/>
                <a:gd name="T40" fmla="*/ 2147483647 w 95"/>
                <a:gd name="T41" fmla="*/ 2147483647 h 68"/>
                <a:gd name="T42" fmla="*/ 2147483647 w 95"/>
                <a:gd name="T43" fmla="*/ 2147483647 h 68"/>
                <a:gd name="T44" fmla="*/ 2147483647 w 95"/>
                <a:gd name="T45" fmla="*/ 2147483647 h 68"/>
                <a:gd name="T46" fmla="*/ 2147483647 w 95"/>
                <a:gd name="T47" fmla="*/ 2147483647 h 68"/>
                <a:gd name="T48" fmla="*/ 2147483647 w 95"/>
                <a:gd name="T49" fmla="*/ 2147483647 h 68"/>
                <a:gd name="T50" fmla="*/ 2147483647 w 95"/>
                <a:gd name="T51" fmla="*/ 2147483647 h 68"/>
                <a:gd name="T52" fmla="*/ 2147483647 w 95"/>
                <a:gd name="T53" fmla="*/ 2147483647 h 68"/>
                <a:gd name="T54" fmla="*/ 2147483647 w 95"/>
                <a:gd name="T55" fmla="*/ 2147483647 h 68"/>
                <a:gd name="T56" fmla="*/ 2147483647 w 95"/>
                <a:gd name="T57" fmla="*/ 2147483647 h 68"/>
                <a:gd name="T58" fmla="*/ 2147483647 w 95"/>
                <a:gd name="T59" fmla="*/ 2147483647 h 68"/>
                <a:gd name="T60" fmla="*/ 2147483647 w 95"/>
                <a:gd name="T61" fmla="*/ 2147483647 h 68"/>
                <a:gd name="T62" fmla="*/ 2147483647 w 95"/>
                <a:gd name="T63" fmla="*/ 2147483647 h 68"/>
                <a:gd name="T64" fmla="*/ 2147483647 w 95"/>
                <a:gd name="T65" fmla="*/ 0 h 68"/>
                <a:gd name="T66" fmla="*/ 2147483647 w 95"/>
                <a:gd name="T67" fmla="*/ 2147483647 h 68"/>
                <a:gd name="T68" fmla="*/ 2147483647 w 95"/>
                <a:gd name="T69" fmla="*/ 2147483647 h 68"/>
                <a:gd name="T70" fmla="*/ 2147483647 w 95"/>
                <a:gd name="T71" fmla="*/ 2147483647 h 68"/>
                <a:gd name="T72" fmla="*/ 2147483647 w 95"/>
                <a:gd name="T73" fmla="*/ 2147483647 h 68"/>
                <a:gd name="T74" fmla="*/ 2147483647 w 95"/>
                <a:gd name="T75" fmla="*/ 2147483647 h 68"/>
                <a:gd name="T76" fmla="*/ 2147483647 w 95"/>
                <a:gd name="T77" fmla="*/ 2147483647 h 68"/>
                <a:gd name="T78" fmla="*/ 2147483647 w 95"/>
                <a:gd name="T79" fmla="*/ 2147483647 h 68"/>
                <a:gd name="T80" fmla="*/ 2147483647 w 95"/>
                <a:gd name="T81" fmla="*/ 2147483647 h 68"/>
                <a:gd name="T82" fmla="*/ 2147483647 w 95"/>
                <a:gd name="T83" fmla="*/ 2147483647 h 68"/>
                <a:gd name="T84" fmla="*/ 2147483647 w 95"/>
                <a:gd name="T85" fmla="*/ 2147483647 h 68"/>
                <a:gd name="T86" fmla="*/ 2147483647 w 95"/>
                <a:gd name="T87" fmla="*/ 2147483647 h 68"/>
                <a:gd name="T88" fmla="*/ 2147483647 w 95"/>
                <a:gd name="T89" fmla="*/ 2147483647 h 68"/>
                <a:gd name="T90" fmla="*/ 2147483647 w 95"/>
                <a:gd name="T91" fmla="*/ 2147483647 h 68"/>
                <a:gd name="T92" fmla="*/ 2147483647 w 95"/>
                <a:gd name="T93" fmla="*/ 2147483647 h 68"/>
                <a:gd name="T94" fmla="*/ 2147483647 w 95"/>
                <a:gd name="T95" fmla="*/ 2147483647 h 68"/>
                <a:gd name="T96" fmla="*/ 2147483647 w 95"/>
                <a:gd name="T97" fmla="*/ 2147483647 h 68"/>
                <a:gd name="T98" fmla="*/ 2147483647 w 95"/>
                <a:gd name="T99" fmla="*/ 2147483647 h 68"/>
                <a:gd name="T100" fmla="*/ 2147483647 w 95"/>
                <a:gd name="T101" fmla="*/ 2147483647 h 68"/>
                <a:gd name="T102" fmla="*/ 2147483647 w 95"/>
                <a:gd name="T103" fmla="*/ 2147483647 h 68"/>
                <a:gd name="T104" fmla="*/ 2147483647 w 95"/>
                <a:gd name="T105" fmla="*/ 2147483647 h 68"/>
                <a:gd name="T106" fmla="*/ 2147483647 w 95"/>
                <a:gd name="T107" fmla="*/ 2147483647 h 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5"/>
                <a:gd name="T163" fmla="*/ 0 h 68"/>
                <a:gd name="T164" fmla="*/ 95 w 95"/>
                <a:gd name="T165" fmla="*/ 68 h 6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5" h="68">
                  <a:moveTo>
                    <a:pt x="6" y="20"/>
                  </a:moveTo>
                  <a:lnTo>
                    <a:pt x="1" y="20"/>
                  </a:lnTo>
                  <a:lnTo>
                    <a:pt x="0" y="26"/>
                  </a:lnTo>
                  <a:lnTo>
                    <a:pt x="1" y="28"/>
                  </a:lnTo>
                  <a:lnTo>
                    <a:pt x="4" y="30"/>
                  </a:lnTo>
                  <a:lnTo>
                    <a:pt x="5" y="31"/>
                  </a:lnTo>
                  <a:lnTo>
                    <a:pt x="6" y="36"/>
                  </a:lnTo>
                  <a:lnTo>
                    <a:pt x="8" y="40"/>
                  </a:lnTo>
                  <a:lnTo>
                    <a:pt x="9" y="47"/>
                  </a:lnTo>
                  <a:lnTo>
                    <a:pt x="9" y="51"/>
                  </a:lnTo>
                  <a:lnTo>
                    <a:pt x="11" y="53"/>
                  </a:lnTo>
                  <a:lnTo>
                    <a:pt x="14" y="55"/>
                  </a:lnTo>
                  <a:lnTo>
                    <a:pt x="19" y="57"/>
                  </a:lnTo>
                  <a:lnTo>
                    <a:pt x="44" y="62"/>
                  </a:lnTo>
                  <a:lnTo>
                    <a:pt x="57" y="64"/>
                  </a:lnTo>
                  <a:lnTo>
                    <a:pt x="70" y="68"/>
                  </a:lnTo>
                  <a:lnTo>
                    <a:pt x="74" y="68"/>
                  </a:lnTo>
                  <a:lnTo>
                    <a:pt x="76" y="66"/>
                  </a:lnTo>
                  <a:lnTo>
                    <a:pt x="77" y="65"/>
                  </a:lnTo>
                  <a:lnTo>
                    <a:pt x="85" y="55"/>
                  </a:lnTo>
                  <a:lnTo>
                    <a:pt x="86" y="49"/>
                  </a:lnTo>
                  <a:lnTo>
                    <a:pt x="86" y="43"/>
                  </a:lnTo>
                  <a:lnTo>
                    <a:pt x="84" y="38"/>
                  </a:lnTo>
                  <a:lnTo>
                    <a:pt x="82" y="32"/>
                  </a:lnTo>
                  <a:lnTo>
                    <a:pt x="84" y="28"/>
                  </a:lnTo>
                  <a:lnTo>
                    <a:pt x="85" y="26"/>
                  </a:lnTo>
                  <a:lnTo>
                    <a:pt x="89" y="23"/>
                  </a:lnTo>
                  <a:lnTo>
                    <a:pt x="91" y="21"/>
                  </a:lnTo>
                  <a:lnTo>
                    <a:pt x="95" y="20"/>
                  </a:lnTo>
                  <a:lnTo>
                    <a:pt x="93" y="13"/>
                  </a:lnTo>
                  <a:lnTo>
                    <a:pt x="93" y="10"/>
                  </a:lnTo>
                  <a:lnTo>
                    <a:pt x="93" y="5"/>
                  </a:lnTo>
                  <a:lnTo>
                    <a:pt x="85" y="0"/>
                  </a:lnTo>
                  <a:lnTo>
                    <a:pt x="79" y="7"/>
                  </a:lnTo>
                  <a:lnTo>
                    <a:pt x="71" y="14"/>
                  </a:lnTo>
                  <a:lnTo>
                    <a:pt x="63" y="20"/>
                  </a:lnTo>
                  <a:lnTo>
                    <a:pt x="58" y="27"/>
                  </a:lnTo>
                  <a:lnTo>
                    <a:pt x="52" y="34"/>
                  </a:lnTo>
                  <a:lnTo>
                    <a:pt x="46" y="40"/>
                  </a:lnTo>
                  <a:lnTo>
                    <a:pt x="44" y="40"/>
                  </a:lnTo>
                  <a:lnTo>
                    <a:pt x="42" y="40"/>
                  </a:lnTo>
                  <a:lnTo>
                    <a:pt x="41" y="39"/>
                  </a:lnTo>
                  <a:lnTo>
                    <a:pt x="39" y="38"/>
                  </a:lnTo>
                  <a:lnTo>
                    <a:pt x="33" y="39"/>
                  </a:lnTo>
                  <a:lnTo>
                    <a:pt x="27" y="42"/>
                  </a:lnTo>
                  <a:lnTo>
                    <a:pt x="21" y="42"/>
                  </a:lnTo>
                  <a:lnTo>
                    <a:pt x="19" y="40"/>
                  </a:lnTo>
                  <a:lnTo>
                    <a:pt x="16" y="39"/>
                  </a:lnTo>
                  <a:lnTo>
                    <a:pt x="14" y="33"/>
                  </a:lnTo>
                  <a:lnTo>
                    <a:pt x="11" y="28"/>
                  </a:lnTo>
                  <a:lnTo>
                    <a:pt x="8" y="25"/>
                  </a:lnTo>
                  <a:lnTo>
                    <a:pt x="6" y="23"/>
                  </a:lnTo>
                  <a:lnTo>
                    <a:pt x="5" y="21"/>
                  </a:lnTo>
                  <a:lnTo>
                    <a:pt x="6" y="2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5" name="Freeform 654"/>
            <p:cNvSpPr>
              <a:spLocks/>
            </p:cNvSpPr>
            <p:nvPr/>
          </p:nvSpPr>
          <p:spPr bwMode="auto">
            <a:xfrm>
              <a:off x="5227640" y="3405188"/>
              <a:ext cx="530225" cy="487362"/>
            </a:xfrm>
            <a:custGeom>
              <a:avLst/>
              <a:gdLst>
                <a:gd name="T0" fmla="*/ 2147483647 w 362"/>
                <a:gd name="T1" fmla="*/ 2147483647 h 307"/>
                <a:gd name="T2" fmla="*/ 2147483647 w 362"/>
                <a:gd name="T3" fmla="*/ 2147483647 h 307"/>
                <a:gd name="T4" fmla="*/ 2147483647 w 362"/>
                <a:gd name="T5" fmla="*/ 2147483647 h 307"/>
                <a:gd name="T6" fmla="*/ 2147483647 w 362"/>
                <a:gd name="T7" fmla="*/ 2147483647 h 307"/>
                <a:gd name="T8" fmla="*/ 2147483647 w 362"/>
                <a:gd name="T9" fmla="*/ 2147483647 h 307"/>
                <a:gd name="T10" fmla="*/ 2147483647 w 362"/>
                <a:gd name="T11" fmla="*/ 2147483647 h 307"/>
                <a:gd name="T12" fmla="*/ 2147483647 w 362"/>
                <a:gd name="T13" fmla="*/ 2147483647 h 307"/>
                <a:gd name="T14" fmla="*/ 2147483647 w 362"/>
                <a:gd name="T15" fmla="*/ 2147483647 h 307"/>
                <a:gd name="T16" fmla="*/ 2147483647 w 362"/>
                <a:gd name="T17" fmla="*/ 2147483647 h 307"/>
                <a:gd name="T18" fmla="*/ 2147483647 w 362"/>
                <a:gd name="T19" fmla="*/ 2147483647 h 307"/>
                <a:gd name="T20" fmla="*/ 2147483647 w 362"/>
                <a:gd name="T21" fmla="*/ 2147483647 h 307"/>
                <a:gd name="T22" fmla="*/ 2147483647 w 362"/>
                <a:gd name="T23" fmla="*/ 2147483647 h 307"/>
                <a:gd name="T24" fmla="*/ 2147483647 w 362"/>
                <a:gd name="T25" fmla="*/ 0 h 307"/>
                <a:gd name="T26" fmla="*/ 2147483647 w 362"/>
                <a:gd name="T27" fmla="*/ 2147483647 h 307"/>
                <a:gd name="T28" fmla="*/ 2147483647 w 362"/>
                <a:gd name="T29" fmla="*/ 2147483647 h 307"/>
                <a:gd name="T30" fmla="*/ 2147483647 w 362"/>
                <a:gd name="T31" fmla="*/ 2147483647 h 307"/>
                <a:gd name="T32" fmla="*/ 2147483647 w 362"/>
                <a:gd name="T33" fmla="*/ 2147483647 h 307"/>
                <a:gd name="T34" fmla="*/ 2147483647 w 362"/>
                <a:gd name="T35" fmla="*/ 2147483647 h 307"/>
                <a:gd name="T36" fmla="*/ 2147483647 w 362"/>
                <a:gd name="T37" fmla="*/ 2147483647 h 307"/>
                <a:gd name="T38" fmla="*/ 2147483647 w 362"/>
                <a:gd name="T39" fmla="*/ 2147483647 h 307"/>
                <a:gd name="T40" fmla="*/ 2147483647 w 362"/>
                <a:gd name="T41" fmla="*/ 2147483647 h 307"/>
                <a:gd name="T42" fmla="*/ 2147483647 w 362"/>
                <a:gd name="T43" fmla="*/ 2147483647 h 307"/>
                <a:gd name="T44" fmla="*/ 2147483647 w 362"/>
                <a:gd name="T45" fmla="*/ 2147483647 h 307"/>
                <a:gd name="T46" fmla="*/ 2147483647 w 362"/>
                <a:gd name="T47" fmla="*/ 2147483647 h 307"/>
                <a:gd name="T48" fmla="*/ 2147483647 w 362"/>
                <a:gd name="T49" fmla="*/ 2147483647 h 307"/>
                <a:gd name="T50" fmla="*/ 2147483647 w 362"/>
                <a:gd name="T51" fmla="*/ 2147483647 h 307"/>
                <a:gd name="T52" fmla="*/ 2147483647 w 362"/>
                <a:gd name="T53" fmla="*/ 2147483647 h 307"/>
                <a:gd name="T54" fmla="*/ 2147483647 w 362"/>
                <a:gd name="T55" fmla="*/ 2147483647 h 307"/>
                <a:gd name="T56" fmla="*/ 2147483647 w 362"/>
                <a:gd name="T57" fmla="*/ 2147483647 h 307"/>
                <a:gd name="T58" fmla="*/ 2147483647 w 362"/>
                <a:gd name="T59" fmla="*/ 2147483647 h 307"/>
                <a:gd name="T60" fmla="*/ 2147483647 w 362"/>
                <a:gd name="T61" fmla="*/ 2147483647 h 307"/>
                <a:gd name="T62" fmla="*/ 2147483647 w 362"/>
                <a:gd name="T63" fmla="*/ 2147483647 h 307"/>
                <a:gd name="T64" fmla="*/ 2147483647 w 362"/>
                <a:gd name="T65" fmla="*/ 2147483647 h 307"/>
                <a:gd name="T66" fmla="*/ 2147483647 w 362"/>
                <a:gd name="T67" fmla="*/ 2147483647 h 307"/>
                <a:gd name="T68" fmla="*/ 2147483647 w 362"/>
                <a:gd name="T69" fmla="*/ 2147483647 h 307"/>
                <a:gd name="T70" fmla="*/ 2147483647 w 362"/>
                <a:gd name="T71" fmla="*/ 2147483647 h 307"/>
                <a:gd name="T72" fmla="*/ 2147483647 w 362"/>
                <a:gd name="T73" fmla="*/ 2147483647 h 307"/>
                <a:gd name="T74" fmla="*/ 2147483647 w 362"/>
                <a:gd name="T75" fmla="*/ 2147483647 h 307"/>
                <a:gd name="T76" fmla="*/ 2147483647 w 362"/>
                <a:gd name="T77" fmla="*/ 2147483647 h 307"/>
                <a:gd name="T78" fmla="*/ 2147483647 w 362"/>
                <a:gd name="T79" fmla="*/ 2147483647 h 307"/>
                <a:gd name="T80" fmla="*/ 2147483647 w 362"/>
                <a:gd name="T81" fmla="*/ 2147483647 h 307"/>
                <a:gd name="T82" fmla="*/ 2147483647 w 362"/>
                <a:gd name="T83" fmla="*/ 2147483647 h 307"/>
                <a:gd name="T84" fmla="*/ 2147483647 w 362"/>
                <a:gd name="T85" fmla="*/ 2147483647 h 307"/>
                <a:gd name="T86" fmla="*/ 2147483647 w 362"/>
                <a:gd name="T87" fmla="*/ 2147483647 h 307"/>
                <a:gd name="T88" fmla="*/ 2147483647 w 362"/>
                <a:gd name="T89" fmla="*/ 2147483647 h 307"/>
                <a:gd name="T90" fmla="*/ 2147483647 w 362"/>
                <a:gd name="T91" fmla="*/ 2147483647 h 307"/>
                <a:gd name="T92" fmla="*/ 2147483647 w 362"/>
                <a:gd name="T93" fmla="*/ 2147483647 h 307"/>
                <a:gd name="T94" fmla="*/ 2147483647 w 362"/>
                <a:gd name="T95" fmla="*/ 2147483647 h 307"/>
                <a:gd name="T96" fmla="*/ 2147483647 w 362"/>
                <a:gd name="T97" fmla="*/ 2147483647 h 307"/>
                <a:gd name="T98" fmla="*/ 2147483647 w 362"/>
                <a:gd name="T99" fmla="*/ 2147483647 h 307"/>
                <a:gd name="T100" fmla="*/ 2147483647 w 362"/>
                <a:gd name="T101" fmla="*/ 2147483647 h 307"/>
                <a:gd name="T102" fmla="*/ 2147483647 w 362"/>
                <a:gd name="T103" fmla="*/ 2147483647 h 307"/>
                <a:gd name="T104" fmla="*/ 2147483647 w 362"/>
                <a:gd name="T105" fmla="*/ 2147483647 h 307"/>
                <a:gd name="T106" fmla="*/ 2147483647 w 362"/>
                <a:gd name="T107" fmla="*/ 2147483647 h 307"/>
                <a:gd name="T108" fmla="*/ 2147483647 w 362"/>
                <a:gd name="T109" fmla="*/ 2147483647 h 307"/>
                <a:gd name="T110" fmla="*/ 2147483647 w 362"/>
                <a:gd name="T111" fmla="*/ 2147483647 h 307"/>
                <a:gd name="T112" fmla="*/ 2147483647 w 362"/>
                <a:gd name="T113" fmla="*/ 2147483647 h 307"/>
                <a:gd name="T114" fmla="*/ 2147483647 w 362"/>
                <a:gd name="T115" fmla="*/ 2147483647 h 3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2"/>
                <a:gd name="T175" fmla="*/ 0 h 307"/>
                <a:gd name="T176" fmla="*/ 362 w 362"/>
                <a:gd name="T177" fmla="*/ 307 h 30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2" h="307">
                  <a:moveTo>
                    <a:pt x="241" y="74"/>
                  </a:moveTo>
                  <a:lnTo>
                    <a:pt x="241" y="74"/>
                  </a:lnTo>
                  <a:lnTo>
                    <a:pt x="236" y="76"/>
                  </a:lnTo>
                  <a:lnTo>
                    <a:pt x="232" y="76"/>
                  </a:lnTo>
                  <a:lnTo>
                    <a:pt x="229" y="74"/>
                  </a:lnTo>
                  <a:lnTo>
                    <a:pt x="226" y="72"/>
                  </a:lnTo>
                  <a:lnTo>
                    <a:pt x="220" y="66"/>
                  </a:lnTo>
                  <a:lnTo>
                    <a:pt x="213" y="60"/>
                  </a:lnTo>
                  <a:lnTo>
                    <a:pt x="206" y="57"/>
                  </a:lnTo>
                  <a:lnTo>
                    <a:pt x="199" y="51"/>
                  </a:lnTo>
                  <a:lnTo>
                    <a:pt x="196" y="48"/>
                  </a:lnTo>
                  <a:lnTo>
                    <a:pt x="194" y="46"/>
                  </a:lnTo>
                  <a:lnTo>
                    <a:pt x="194" y="45"/>
                  </a:lnTo>
                  <a:lnTo>
                    <a:pt x="182" y="40"/>
                  </a:lnTo>
                  <a:lnTo>
                    <a:pt x="175" y="38"/>
                  </a:lnTo>
                  <a:lnTo>
                    <a:pt x="169" y="38"/>
                  </a:lnTo>
                  <a:lnTo>
                    <a:pt x="164" y="38"/>
                  </a:lnTo>
                  <a:lnTo>
                    <a:pt x="160" y="38"/>
                  </a:lnTo>
                  <a:lnTo>
                    <a:pt x="155" y="39"/>
                  </a:lnTo>
                  <a:lnTo>
                    <a:pt x="151" y="38"/>
                  </a:lnTo>
                  <a:lnTo>
                    <a:pt x="150" y="35"/>
                  </a:lnTo>
                  <a:lnTo>
                    <a:pt x="150" y="33"/>
                  </a:lnTo>
                  <a:lnTo>
                    <a:pt x="149" y="29"/>
                  </a:lnTo>
                  <a:lnTo>
                    <a:pt x="147" y="26"/>
                  </a:lnTo>
                  <a:lnTo>
                    <a:pt x="146" y="26"/>
                  </a:lnTo>
                  <a:lnTo>
                    <a:pt x="143" y="26"/>
                  </a:lnTo>
                  <a:lnTo>
                    <a:pt x="138" y="27"/>
                  </a:lnTo>
                  <a:lnTo>
                    <a:pt x="137" y="26"/>
                  </a:lnTo>
                  <a:lnTo>
                    <a:pt x="136" y="25"/>
                  </a:lnTo>
                  <a:lnTo>
                    <a:pt x="133" y="21"/>
                  </a:lnTo>
                  <a:lnTo>
                    <a:pt x="126" y="17"/>
                  </a:lnTo>
                  <a:lnTo>
                    <a:pt x="119" y="16"/>
                  </a:lnTo>
                  <a:lnTo>
                    <a:pt x="112" y="14"/>
                  </a:lnTo>
                  <a:lnTo>
                    <a:pt x="105" y="10"/>
                  </a:lnTo>
                  <a:lnTo>
                    <a:pt x="98" y="7"/>
                  </a:lnTo>
                  <a:lnTo>
                    <a:pt x="90" y="4"/>
                  </a:lnTo>
                  <a:lnTo>
                    <a:pt x="80" y="3"/>
                  </a:lnTo>
                  <a:lnTo>
                    <a:pt x="70" y="1"/>
                  </a:lnTo>
                  <a:lnTo>
                    <a:pt x="66" y="0"/>
                  </a:lnTo>
                  <a:lnTo>
                    <a:pt x="61" y="0"/>
                  </a:lnTo>
                  <a:lnTo>
                    <a:pt x="50" y="1"/>
                  </a:lnTo>
                  <a:lnTo>
                    <a:pt x="39" y="3"/>
                  </a:lnTo>
                  <a:lnTo>
                    <a:pt x="30" y="7"/>
                  </a:lnTo>
                  <a:lnTo>
                    <a:pt x="28" y="8"/>
                  </a:lnTo>
                  <a:lnTo>
                    <a:pt x="27" y="10"/>
                  </a:lnTo>
                  <a:lnTo>
                    <a:pt x="27" y="12"/>
                  </a:lnTo>
                  <a:lnTo>
                    <a:pt x="28" y="14"/>
                  </a:lnTo>
                  <a:lnTo>
                    <a:pt x="34" y="19"/>
                  </a:lnTo>
                  <a:lnTo>
                    <a:pt x="44" y="28"/>
                  </a:lnTo>
                  <a:lnTo>
                    <a:pt x="34" y="36"/>
                  </a:lnTo>
                  <a:lnTo>
                    <a:pt x="24" y="46"/>
                  </a:lnTo>
                  <a:lnTo>
                    <a:pt x="22" y="47"/>
                  </a:lnTo>
                  <a:lnTo>
                    <a:pt x="18" y="46"/>
                  </a:lnTo>
                  <a:lnTo>
                    <a:pt x="9" y="44"/>
                  </a:lnTo>
                  <a:lnTo>
                    <a:pt x="5" y="44"/>
                  </a:lnTo>
                  <a:lnTo>
                    <a:pt x="0" y="45"/>
                  </a:lnTo>
                  <a:lnTo>
                    <a:pt x="1" y="52"/>
                  </a:lnTo>
                  <a:lnTo>
                    <a:pt x="3" y="59"/>
                  </a:lnTo>
                  <a:lnTo>
                    <a:pt x="1" y="73"/>
                  </a:lnTo>
                  <a:lnTo>
                    <a:pt x="1" y="74"/>
                  </a:lnTo>
                  <a:lnTo>
                    <a:pt x="4" y="74"/>
                  </a:lnTo>
                  <a:lnTo>
                    <a:pt x="6" y="74"/>
                  </a:lnTo>
                  <a:lnTo>
                    <a:pt x="9" y="76"/>
                  </a:lnTo>
                  <a:lnTo>
                    <a:pt x="9" y="77"/>
                  </a:lnTo>
                  <a:lnTo>
                    <a:pt x="9" y="79"/>
                  </a:lnTo>
                  <a:lnTo>
                    <a:pt x="9" y="81"/>
                  </a:lnTo>
                  <a:lnTo>
                    <a:pt x="11" y="84"/>
                  </a:lnTo>
                  <a:lnTo>
                    <a:pt x="14" y="84"/>
                  </a:lnTo>
                  <a:lnTo>
                    <a:pt x="16" y="85"/>
                  </a:lnTo>
                  <a:lnTo>
                    <a:pt x="18" y="86"/>
                  </a:lnTo>
                  <a:lnTo>
                    <a:pt x="22" y="102"/>
                  </a:lnTo>
                  <a:lnTo>
                    <a:pt x="24" y="109"/>
                  </a:lnTo>
                  <a:lnTo>
                    <a:pt x="28" y="115"/>
                  </a:lnTo>
                  <a:lnTo>
                    <a:pt x="32" y="121"/>
                  </a:lnTo>
                  <a:lnTo>
                    <a:pt x="36" y="125"/>
                  </a:lnTo>
                  <a:lnTo>
                    <a:pt x="37" y="131"/>
                  </a:lnTo>
                  <a:lnTo>
                    <a:pt x="37" y="137"/>
                  </a:lnTo>
                  <a:lnTo>
                    <a:pt x="37" y="141"/>
                  </a:lnTo>
                  <a:lnTo>
                    <a:pt x="38" y="145"/>
                  </a:lnTo>
                  <a:lnTo>
                    <a:pt x="41" y="148"/>
                  </a:lnTo>
                  <a:lnTo>
                    <a:pt x="43" y="151"/>
                  </a:lnTo>
                  <a:lnTo>
                    <a:pt x="46" y="153"/>
                  </a:lnTo>
                  <a:lnTo>
                    <a:pt x="50" y="155"/>
                  </a:lnTo>
                  <a:lnTo>
                    <a:pt x="57" y="156"/>
                  </a:lnTo>
                  <a:lnTo>
                    <a:pt x="58" y="157"/>
                  </a:lnTo>
                  <a:lnTo>
                    <a:pt x="58" y="159"/>
                  </a:lnTo>
                  <a:lnTo>
                    <a:pt x="58" y="162"/>
                  </a:lnTo>
                  <a:lnTo>
                    <a:pt x="65" y="169"/>
                  </a:lnTo>
                  <a:lnTo>
                    <a:pt x="70" y="179"/>
                  </a:lnTo>
                  <a:lnTo>
                    <a:pt x="72" y="187"/>
                  </a:lnTo>
                  <a:lnTo>
                    <a:pt x="72" y="196"/>
                  </a:lnTo>
                  <a:lnTo>
                    <a:pt x="72" y="201"/>
                  </a:lnTo>
                  <a:lnTo>
                    <a:pt x="72" y="206"/>
                  </a:lnTo>
                  <a:lnTo>
                    <a:pt x="74" y="210"/>
                  </a:lnTo>
                  <a:lnTo>
                    <a:pt x="76" y="213"/>
                  </a:lnTo>
                  <a:lnTo>
                    <a:pt x="76" y="214"/>
                  </a:lnTo>
                  <a:lnTo>
                    <a:pt x="76" y="215"/>
                  </a:lnTo>
                  <a:lnTo>
                    <a:pt x="76" y="223"/>
                  </a:lnTo>
                  <a:lnTo>
                    <a:pt x="77" y="228"/>
                  </a:lnTo>
                  <a:lnTo>
                    <a:pt x="81" y="233"/>
                  </a:lnTo>
                  <a:lnTo>
                    <a:pt x="85" y="237"/>
                  </a:lnTo>
                  <a:lnTo>
                    <a:pt x="91" y="240"/>
                  </a:lnTo>
                  <a:lnTo>
                    <a:pt x="96" y="244"/>
                  </a:lnTo>
                  <a:lnTo>
                    <a:pt x="110" y="247"/>
                  </a:lnTo>
                  <a:lnTo>
                    <a:pt x="112" y="249"/>
                  </a:lnTo>
                  <a:lnTo>
                    <a:pt x="112" y="250"/>
                  </a:lnTo>
                  <a:lnTo>
                    <a:pt x="116" y="262"/>
                  </a:lnTo>
                  <a:lnTo>
                    <a:pt x="117" y="268"/>
                  </a:lnTo>
                  <a:lnTo>
                    <a:pt x="121" y="272"/>
                  </a:lnTo>
                  <a:lnTo>
                    <a:pt x="123" y="276"/>
                  </a:lnTo>
                  <a:lnTo>
                    <a:pt x="127" y="279"/>
                  </a:lnTo>
                  <a:lnTo>
                    <a:pt x="130" y="283"/>
                  </a:lnTo>
                  <a:lnTo>
                    <a:pt x="132" y="288"/>
                  </a:lnTo>
                  <a:lnTo>
                    <a:pt x="133" y="297"/>
                  </a:lnTo>
                  <a:lnTo>
                    <a:pt x="138" y="307"/>
                  </a:lnTo>
                  <a:lnTo>
                    <a:pt x="141" y="304"/>
                  </a:lnTo>
                  <a:lnTo>
                    <a:pt x="143" y="303"/>
                  </a:lnTo>
                  <a:lnTo>
                    <a:pt x="151" y="303"/>
                  </a:lnTo>
                  <a:lnTo>
                    <a:pt x="159" y="303"/>
                  </a:lnTo>
                  <a:lnTo>
                    <a:pt x="165" y="303"/>
                  </a:lnTo>
                  <a:lnTo>
                    <a:pt x="182" y="302"/>
                  </a:lnTo>
                  <a:lnTo>
                    <a:pt x="197" y="302"/>
                  </a:lnTo>
                  <a:lnTo>
                    <a:pt x="211" y="303"/>
                  </a:lnTo>
                  <a:lnTo>
                    <a:pt x="226" y="302"/>
                  </a:lnTo>
                  <a:lnTo>
                    <a:pt x="230" y="298"/>
                  </a:lnTo>
                  <a:lnTo>
                    <a:pt x="232" y="295"/>
                  </a:lnTo>
                  <a:lnTo>
                    <a:pt x="234" y="291"/>
                  </a:lnTo>
                  <a:lnTo>
                    <a:pt x="235" y="288"/>
                  </a:lnTo>
                  <a:lnTo>
                    <a:pt x="236" y="285"/>
                  </a:lnTo>
                  <a:lnTo>
                    <a:pt x="258" y="279"/>
                  </a:lnTo>
                  <a:lnTo>
                    <a:pt x="281" y="272"/>
                  </a:lnTo>
                  <a:lnTo>
                    <a:pt x="300" y="265"/>
                  </a:lnTo>
                  <a:lnTo>
                    <a:pt x="317" y="258"/>
                  </a:lnTo>
                  <a:lnTo>
                    <a:pt x="334" y="250"/>
                  </a:lnTo>
                  <a:lnTo>
                    <a:pt x="347" y="243"/>
                  </a:lnTo>
                  <a:lnTo>
                    <a:pt x="348" y="240"/>
                  </a:lnTo>
                  <a:lnTo>
                    <a:pt x="349" y="237"/>
                  </a:lnTo>
                  <a:lnTo>
                    <a:pt x="352" y="231"/>
                  </a:lnTo>
                  <a:lnTo>
                    <a:pt x="358" y="219"/>
                  </a:lnTo>
                  <a:lnTo>
                    <a:pt x="362" y="206"/>
                  </a:lnTo>
                  <a:lnTo>
                    <a:pt x="362" y="200"/>
                  </a:lnTo>
                  <a:lnTo>
                    <a:pt x="362" y="193"/>
                  </a:lnTo>
                  <a:lnTo>
                    <a:pt x="361" y="187"/>
                  </a:lnTo>
                  <a:lnTo>
                    <a:pt x="358" y="181"/>
                  </a:lnTo>
                  <a:lnTo>
                    <a:pt x="357" y="182"/>
                  </a:lnTo>
                  <a:lnTo>
                    <a:pt x="354" y="183"/>
                  </a:lnTo>
                  <a:lnTo>
                    <a:pt x="350" y="183"/>
                  </a:lnTo>
                  <a:lnTo>
                    <a:pt x="338" y="180"/>
                  </a:lnTo>
                  <a:lnTo>
                    <a:pt x="325" y="178"/>
                  </a:lnTo>
                  <a:lnTo>
                    <a:pt x="300" y="173"/>
                  </a:lnTo>
                  <a:lnTo>
                    <a:pt x="295" y="170"/>
                  </a:lnTo>
                  <a:lnTo>
                    <a:pt x="292" y="169"/>
                  </a:lnTo>
                  <a:lnTo>
                    <a:pt x="290" y="167"/>
                  </a:lnTo>
                  <a:lnTo>
                    <a:pt x="290" y="163"/>
                  </a:lnTo>
                  <a:lnTo>
                    <a:pt x="288" y="156"/>
                  </a:lnTo>
                  <a:lnTo>
                    <a:pt x="287" y="151"/>
                  </a:lnTo>
                  <a:lnTo>
                    <a:pt x="286" y="147"/>
                  </a:lnTo>
                  <a:lnTo>
                    <a:pt x="284" y="145"/>
                  </a:lnTo>
                  <a:lnTo>
                    <a:pt x="282" y="144"/>
                  </a:lnTo>
                  <a:lnTo>
                    <a:pt x="281" y="142"/>
                  </a:lnTo>
                  <a:lnTo>
                    <a:pt x="282" y="136"/>
                  </a:lnTo>
                  <a:lnTo>
                    <a:pt x="277" y="134"/>
                  </a:lnTo>
                  <a:lnTo>
                    <a:pt x="272" y="129"/>
                  </a:lnTo>
                  <a:lnTo>
                    <a:pt x="270" y="128"/>
                  </a:lnTo>
                  <a:lnTo>
                    <a:pt x="269" y="124"/>
                  </a:lnTo>
                  <a:lnTo>
                    <a:pt x="267" y="119"/>
                  </a:lnTo>
                  <a:lnTo>
                    <a:pt x="265" y="115"/>
                  </a:lnTo>
                  <a:lnTo>
                    <a:pt x="264" y="110"/>
                  </a:lnTo>
                  <a:lnTo>
                    <a:pt x="264" y="104"/>
                  </a:lnTo>
                  <a:lnTo>
                    <a:pt x="264" y="100"/>
                  </a:lnTo>
                  <a:lnTo>
                    <a:pt x="263" y="97"/>
                  </a:lnTo>
                  <a:lnTo>
                    <a:pt x="259" y="93"/>
                  </a:lnTo>
                  <a:lnTo>
                    <a:pt x="254" y="92"/>
                  </a:lnTo>
                  <a:lnTo>
                    <a:pt x="251" y="91"/>
                  </a:lnTo>
                  <a:lnTo>
                    <a:pt x="250" y="87"/>
                  </a:lnTo>
                  <a:lnTo>
                    <a:pt x="249" y="81"/>
                  </a:lnTo>
                  <a:lnTo>
                    <a:pt x="248" y="79"/>
                  </a:lnTo>
                  <a:lnTo>
                    <a:pt x="245" y="78"/>
                  </a:lnTo>
                  <a:lnTo>
                    <a:pt x="241" y="7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6" name="Freeform 655"/>
            <p:cNvSpPr>
              <a:spLocks/>
            </p:cNvSpPr>
            <p:nvPr/>
          </p:nvSpPr>
          <p:spPr bwMode="auto">
            <a:xfrm>
              <a:off x="5638800" y="3589341"/>
              <a:ext cx="139700" cy="106361"/>
            </a:xfrm>
            <a:custGeom>
              <a:avLst/>
              <a:gdLst>
                <a:gd name="T0" fmla="*/ 2147483647 w 95"/>
                <a:gd name="T1" fmla="*/ 2147483647 h 67"/>
                <a:gd name="T2" fmla="*/ 2147483647 w 95"/>
                <a:gd name="T3" fmla="*/ 2147483647 h 67"/>
                <a:gd name="T4" fmla="*/ 2147483647 w 95"/>
                <a:gd name="T5" fmla="*/ 2147483647 h 67"/>
                <a:gd name="T6" fmla="*/ 2147483647 w 95"/>
                <a:gd name="T7" fmla="*/ 2147483647 h 67"/>
                <a:gd name="T8" fmla="*/ 2147483647 w 95"/>
                <a:gd name="T9" fmla="*/ 2147483647 h 67"/>
                <a:gd name="T10" fmla="*/ 2147483647 w 95"/>
                <a:gd name="T11" fmla="*/ 2147483647 h 67"/>
                <a:gd name="T12" fmla="*/ 2147483647 w 95"/>
                <a:gd name="T13" fmla="*/ 2147483647 h 67"/>
                <a:gd name="T14" fmla="*/ 2147483647 w 95"/>
                <a:gd name="T15" fmla="*/ 2147483647 h 67"/>
                <a:gd name="T16" fmla="*/ 2147483647 w 95"/>
                <a:gd name="T17" fmla="*/ 2147483647 h 67"/>
                <a:gd name="T18" fmla="*/ 2147483647 w 95"/>
                <a:gd name="T19" fmla="*/ 2147483647 h 67"/>
                <a:gd name="T20" fmla="*/ 2147483647 w 95"/>
                <a:gd name="T21" fmla="*/ 2147483647 h 67"/>
                <a:gd name="T22" fmla="*/ 2147483647 w 95"/>
                <a:gd name="T23" fmla="*/ 2147483647 h 67"/>
                <a:gd name="T24" fmla="*/ 2147483647 w 95"/>
                <a:gd name="T25" fmla="*/ 2147483647 h 67"/>
                <a:gd name="T26" fmla="*/ 2147483647 w 95"/>
                <a:gd name="T27" fmla="*/ 2147483647 h 67"/>
                <a:gd name="T28" fmla="*/ 2147483647 w 95"/>
                <a:gd name="T29" fmla="*/ 2147483647 h 67"/>
                <a:gd name="T30" fmla="*/ 2147483647 w 95"/>
                <a:gd name="T31" fmla="*/ 2147483647 h 67"/>
                <a:gd name="T32" fmla="*/ 2147483647 w 95"/>
                <a:gd name="T33" fmla="*/ 2147483647 h 67"/>
                <a:gd name="T34" fmla="*/ 2147483647 w 95"/>
                <a:gd name="T35" fmla="*/ 2147483647 h 67"/>
                <a:gd name="T36" fmla="*/ 2147483647 w 95"/>
                <a:gd name="T37" fmla="*/ 2147483647 h 67"/>
                <a:gd name="T38" fmla="*/ 2147483647 w 95"/>
                <a:gd name="T39" fmla="*/ 2147483647 h 67"/>
                <a:gd name="T40" fmla="*/ 2147483647 w 95"/>
                <a:gd name="T41" fmla="*/ 2147483647 h 67"/>
                <a:gd name="T42" fmla="*/ 2147483647 w 95"/>
                <a:gd name="T43" fmla="*/ 0 h 67"/>
                <a:gd name="T44" fmla="*/ 2147483647 w 95"/>
                <a:gd name="T45" fmla="*/ 2147483647 h 67"/>
                <a:gd name="T46" fmla="*/ 2147483647 w 95"/>
                <a:gd name="T47" fmla="*/ 2147483647 h 67"/>
                <a:gd name="T48" fmla="*/ 2147483647 w 95"/>
                <a:gd name="T49" fmla="*/ 2147483647 h 67"/>
                <a:gd name="T50" fmla="*/ 2147483647 w 95"/>
                <a:gd name="T51" fmla="*/ 2147483647 h 67"/>
                <a:gd name="T52" fmla="*/ 2147483647 w 95"/>
                <a:gd name="T53" fmla="*/ 2147483647 h 67"/>
                <a:gd name="T54" fmla="*/ 2147483647 w 95"/>
                <a:gd name="T55" fmla="*/ 2147483647 h 67"/>
                <a:gd name="T56" fmla="*/ 2147483647 w 95"/>
                <a:gd name="T57" fmla="*/ 2147483647 h 67"/>
                <a:gd name="T58" fmla="*/ 2147483647 w 95"/>
                <a:gd name="T59" fmla="*/ 2147483647 h 67"/>
                <a:gd name="T60" fmla="*/ 2147483647 w 95"/>
                <a:gd name="T61" fmla="*/ 2147483647 h 67"/>
                <a:gd name="T62" fmla="*/ 2147483647 w 95"/>
                <a:gd name="T63" fmla="*/ 2147483647 h 67"/>
                <a:gd name="T64" fmla="*/ 2147483647 w 95"/>
                <a:gd name="T65" fmla="*/ 2147483647 h 67"/>
                <a:gd name="T66" fmla="*/ 2147483647 w 95"/>
                <a:gd name="T67" fmla="*/ 2147483647 h 67"/>
                <a:gd name="T68" fmla="*/ 2147483647 w 95"/>
                <a:gd name="T69" fmla="*/ 2147483647 h 67"/>
                <a:gd name="T70" fmla="*/ 2147483647 w 95"/>
                <a:gd name="T71" fmla="*/ 2147483647 h 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
                <a:gd name="T109" fmla="*/ 0 h 67"/>
                <a:gd name="T110" fmla="*/ 95 w 95"/>
                <a:gd name="T111" fmla="*/ 67 h 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 h="67">
                  <a:moveTo>
                    <a:pt x="6" y="20"/>
                  </a:moveTo>
                  <a:lnTo>
                    <a:pt x="6" y="20"/>
                  </a:lnTo>
                  <a:lnTo>
                    <a:pt x="1" y="20"/>
                  </a:lnTo>
                  <a:lnTo>
                    <a:pt x="0" y="26"/>
                  </a:lnTo>
                  <a:lnTo>
                    <a:pt x="1" y="28"/>
                  </a:lnTo>
                  <a:lnTo>
                    <a:pt x="3" y="29"/>
                  </a:lnTo>
                  <a:lnTo>
                    <a:pt x="5" y="31"/>
                  </a:lnTo>
                  <a:lnTo>
                    <a:pt x="6" y="35"/>
                  </a:lnTo>
                  <a:lnTo>
                    <a:pt x="7" y="40"/>
                  </a:lnTo>
                  <a:lnTo>
                    <a:pt x="9" y="47"/>
                  </a:lnTo>
                  <a:lnTo>
                    <a:pt x="9" y="51"/>
                  </a:lnTo>
                  <a:lnTo>
                    <a:pt x="11" y="53"/>
                  </a:lnTo>
                  <a:lnTo>
                    <a:pt x="14" y="54"/>
                  </a:lnTo>
                  <a:lnTo>
                    <a:pt x="19" y="57"/>
                  </a:lnTo>
                  <a:lnTo>
                    <a:pt x="44" y="62"/>
                  </a:lnTo>
                  <a:lnTo>
                    <a:pt x="57" y="64"/>
                  </a:lnTo>
                  <a:lnTo>
                    <a:pt x="69" y="67"/>
                  </a:lnTo>
                  <a:lnTo>
                    <a:pt x="73" y="67"/>
                  </a:lnTo>
                  <a:lnTo>
                    <a:pt x="76" y="66"/>
                  </a:lnTo>
                  <a:lnTo>
                    <a:pt x="77" y="65"/>
                  </a:lnTo>
                  <a:lnTo>
                    <a:pt x="85" y="54"/>
                  </a:lnTo>
                  <a:lnTo>
                    <a:pt x="86" y="48"/>
                  </a:lnTo>
                  <a:lnTo>
                    <a:pt x="86" y="43"/>
                  </a:lnTo>
                  <a:lnTo>
                    <a:pt x="83" y="38"/>
                  </a:lnTo>
                  <a:lnTo>
                    <a:pt x="82" y="32"/>
                  </a:lnTo>
                  <a:lnTo>
                    <a:pt x="83" y="28"/>
                  </a:lnTo>
                  <a:lnTo>
                    <a:pt x="85" y="26"/>
                  </a:lnTo>
                  <a:lnTo>
                    <a:pt x="89" y="22"/>
                  </a:lnTo>
                  <a:lnTo>
                    <a:pt x="91" y="21"/>
                  </a:lnTo>
                  <a:lnTo>
                    <a:pt x="95" y="20"/>
                  </a:lnTo>
                  <a:lnTo>
                    <a:pt x="92" y="13"/>
                  </a:lnTo>
                  <a:lnTo>
                    <a:pt x="92" y="9"/>
                  </a:lnTo>
                  <a:lnTo>
                    <a:pt x="92" y="5"/>
                  </a:lnTo>
                  <a:lnTo>
                    <a:pt x="85" y="0"/>
                  </a:lnTo>
                  <a:lnTo>
                    <a:pt x="78" y="7"/>
                  </a:lnTo>
                  <a:lnTo>
                    <a:pt x="71" y="14"/>
                  </a:lnTo>
                  <a:lnTo>
                    <a:pt x="63" y="20"/>
                  </a:lnTo>
                  <a:lnTo>
                    <a:pt x="58" y="27"/>
                  </a:lnTo>
                  <a:lnTo>
                    <a:pt x="52" y="34"/>
                  </a:lnTo>
                  <a:lnTo>
                    <a:pt x="45" y="40"/>
                  </a:lnTo>
                  <a:lnTo>
                    <a:pt x="44" y="40"/>
                  </a:lnTo>
                  <a:lnTo>
                    <a:pt x="42" y="40"/>
                  </a:lnTo>
                  <a:lnTo>
                    <a:pt x="40" y="39"/>
                  </a:lnTo>
                  <a:lnTo>
                    <a:pt x="39" y="38"/>
                  </a:lnTo>
                  <a:lnTo>
                    <a:pt x="33" y="39"/>
                  </a:lnTo>
                  <a:lnTo>
                    <a:pt x="26" y="41"/>
                  </a:lnTo>
                  <a:lnTo>
                    <a:pt x="21" y="41"/>
                  </a:lnTo>
                  <a:lnTo>
                    <a:pt x="19" y="40"/>
                  </a:lnTo>
                  <a:lnTo>
                    <a:pt x="16" y="39"/>
                  </a:lnTo>
                  <a:lnTo>
                    <a:pt x="14" y="33"/>
                  </a:lnTo>
                  <a:lnTo>
                    <a:pt x="11" y="28"/>
                  </a:lnTo>
                  <a:lnTo>
                    <a:pt x="7" y="25"/>
                  </a:lnTo>
                  <a:lnTo>
                    <a:pt x="6" y="22"/>
                  </a:lnTo>
                  <a:lnTo>
                    <a:pt x="5" y="21"/>
                  </a:lnTo>
                  <a:lnTo>
                    <a:pt x="6" y="2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7" name="Freeform 656"/>
            <p:cNvSpPr>
              <a:spLocks/>
            </p:cNvSpPr>
            <p:nvPr/>
          </p:nvSpPr>
          <p:spPr bwMode="auto">
            <a:xfrm>
              <a:off x="5640388" y="3622678"/>
              <a:ext cx="222250" cy="279399"/>
            </a:xfrm>
            <a:custGeom>
              <a:avLst/>
              <a:gdLst>
                <a:gd name="T0" fmla="*/ 2147483647 w 152"/>
                <a:gd name="T1" fmla="*/ 2147483647 h 176"/>
                <a:gd name="T2" fmla="*/ 2147483647 w 152"/>
                <a:gd name="T3" fmla="*/ 2147483647 h 176"/>
                <a:gd name="T4" fmla="*/ 2147483647 w 152"/>
                <a:gd name="T5" fmla="*/ 2147483647 h 176"/>
                <a:gd name="T6" fmla="*/ 2147483647 w 152"/>
                <a:gd name="T7" fmla="*/ 2147483647 h 176"/>
                <a:gd name="T8" fmla="*/ 2147483647 w 152"/>
                <a:gd name="T9" fmla="*/ 2147483647 h 176"/>
                <a:gd name="T10" fmla="*/ 2147483647 w 152"/>
                <a:gd name="T11" fmla="*/ 2147483647 h 176"/>
                <a:gd name="T12" fmla="*/ 0 w 152"/>
                <a:gd name="T13" fmla="*/ 2147483647 h 176"/>
                <a:gd name="T14" fmla="*/ 2147483647 w 152"/>
                <a:gd name="T15" fmla="*/ 2147483647 h 176"/>
                <a:gd name="T16" fmla="*/ 2147483647 w 152"/>
                <a:gd name="T17" fmla="*/ 2147483647 h 176"/>
                <a:gd name="T18" fmla="*/ 2147483647 w 152"/>
                <a:gd name="T19" fmla="*/ 2147483647 h 176"/>
                <a:gd name="T20" fmla="*/ 2147483647 w 152"/>
                <a:gd name="T21" fmla="*/ 2147483647 h 176"/>
                <a:gd name="T22" fmla="*/ 2147483647 w 152"/>
                <a:gd name="T23" fmla="*/ 2147483647 h 176"/>
                <a:gd name="T24" fmla="*/ 2147483647 w 152"/>
                <a:gd name="T25" fmla="*/ 2147483647 h 176"/>
                <a:gd name="T26" fmla="*/ 2147483647 w 152"/>
                <a:gd name="T27" fmla="*/ 2147483647 h 176"/>
                <a:gd name="T28" fmla="*/ 2147483647 w 152"/>
                <a:gd name="T29" fmla="*/ 2147483647 h 176"/>
                <a:gd name="T30" fmla="*/ 2147483647 w 152"/>
                <a:gd name="T31" fmla="*/ 2147483647 h 176"/>
                <a:gd name="T32" fmla="*/ 2147483647 w 152"/>
                <a:gd name="T33" fmla="*/ 2147483647 h 176"/>
                <a:gd name="T34" fmla="*/ 2147483647 w 152"/>
                <a:gd name="T35" fmla="*/ 2147483647 h 176"/>
                <a:gd name="T36" fmla="*/ 2147483647 w 152"/>
                <a:gd name="T37" fmla="*/ 2147483647 h 176"/>
                <a:gd name="T38" fmla="*/ 2147483647 w 152"/>
                <a:gd name="T39" fmla="*/ 2147483647 h 176"/>
                <a:gd name="T40" fmla="*/ 2147483647 w 152"/>
                <a:gd name="T41" fmla="*/ 2147483647 h 176"/>
                <a:gd name="T42" fmla="*/ 2147483647 w 152"/>
                <a:gd name="T43" fmla="*/ 2147483647 h 176"/>
                <a:gd name="T44" fmla="*/ 2147483647 w 152"/>
                <a:gd name="T45" fmla="*/ 2147483647 h 176"/>
                <a:gd name="T46" fmla="*/ 2147483647 w 152"/>
                <a:gd name="T47" fmla="*/ 2147483647 h 176"/>
                <a:gd name="T48" fmla="*/ 2147483647 w 152"/>
                <a:gd name="T49" fmla="*/ 2147483647 h 176"/>
                <a:gd name="T50" fmla="*/ 2147483647 w 152"/>
                <a:gd name="T51" fmla="*/ 2147483647 h 176"/>
                <a:gd name="T52" fmla="*/ 2147483647 w 152"/>
                <a:gd name="T53" fmla="*/ 2147483647 h 176"/>
                <a:gd name="T54" fmla="*/ 2147483647 w 152"/>
                <a:gd name="T55" fmla="*/ 2147483647 h 176"/>
                <a:gd name="T56" fmla="*/ 2147483647 w 152"/>
                <a:gd name="T57" fmla="*/ 2147483647 h 176"/>
                <a:gd name="T58" fmla="*/ 2147483647 w 152"/>
                <a:gd name="T59" fmla="*/ 2147483647 h 176"/>
                <a:gd name="T60" fmla="*/ 2147483647 w 152"/>
                <a:gd name="T61" fmla="*/ 2147483647 h 176"/>
                <a:gd name="T62" fmla="*/ 2147483647 w 152"/>
                <a:gd name="T63" fmla="*/ 2147483647 h 176"/>
                <a:gd name="T64" fmla="*/ 2147483647 w 152"/>
                <a:gd name="T65" fmla="*/ 2147483647 h 176"/>
                <a:gd name="T66" fmla="*/ 2147483647 w 152"/>
                <a:gd name="T67" fmla="*/ 2147483647 h 176"/>
                <a:gd name="T68" fmla="*/ 2147483647 w 152"/>
                <a:gd name="T69" fmla="*/ 2147483647 h 176"/>
                <a:gd name="T70" fmla="*/ 2147483647 w 152"/>
                <a:gd name="T71" fmla="*/ 2147483647 h 176"/>
                <a:gd name="T72" fmla="*/ 2147483647 w 152"/>
                <a:gd name="T73" fmla="*/ 2147483647 h 176"/>
                <a:gd name="T74" fmla="*/ 2147483647 w 152"/>
                <a:gd name="T75" fmla="*/ 2147483647 h 176"/>
                <a:gd name="T76" fmla="*/ 2147483647 w 152"/>
                <a:gd name="T77" fmla="*/ 2147483647 h 176"/>
                <a:gd name="T78" fmla="*/ 2147483647 w 152"/>
                <a:gd name="T79" fmla="*/ 2147483647 h 176"/>
                <a:gd name="T80" fmla="*/ 2147483647 w 152"/>
                <a:gd name="T81" fmla="*/ 2147483647 h 176"/>
                <a:gd name="T82" fmla="*/ 2147483647 w 152"/>
                <a:gd name="T83" fmla="*/ 2147483647 h 176"/>
                <a:gd name="T84" fmla="*/ 2147483647 w 152"/>
                <a:gd name="T85" fmla="*/ 0 h 176"/>
                <a:gd name="T86" fmla="*/ 2147483647 w 152"/>
                <a:gd name="T87" fmla="*/ 2147483647 h 176"/>
                <a:gd name="T88" fmla="*/ 2147483647 w 152"/>
                <a:gd name="T89" fmla="*/ 2147483647 h 176"/>
                <a:gd name="T90" fmla="*/ 2147483647 w 152"/>
                <a:gd name="T91" fmla="*/ 2147483647 h 176"/>
                <a:gd name="T92" fmla="*/ 2147483647 w 152"/>
                <a:gd name="T93" fmla="*/ 2147483647 h 176"/>
                <a:gd name="T94" fmla="*/ 2147483647 w 152"/>
                <a:gd name="T95" fmla="*/ 2147483647 h 1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2"/>
                <a:gd name="T145" fmla="*/ 0 h 176"/>
                <a:gd name="T146" fmla="*/ 152 w 152"/>
                <a:gd name="T147" fmla="*/ 176 h 1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2" h="176">
                  <a:moveTo>
                    <a:pt x="77" y="45"/>
                  </a:moveTo>
                  <a:lnTo>
                    <a:pt x="80" y="51"/>
                  </a:lnTo>
                  <a:lnTo>
                    <a:pt x="81" y="57"/>
                  </a:lnTo>
                  <a:lnTo>
                    <a:pt x="81" y="64"/>
                  </a:lnTo>
                  <a:lnTo>
                    <a:pt x="81" y="70"/>
                  </a:lnTo>
                  <a:lnTo>
                    <a:pt x="77" y="83"/>
                  </a:lnTo>
                  <a:lnTo>
                    <a:pt x="71" y="95"/>
                  </a:lnTo>
                  <a:lnTo>
                    <a:pt x="68" y="101"/>
                  </a:lnTo>
                  <a:lnTo>
                    <a:pt x="67" y="105"/>
                  </a:lnTo>
                  <a:lnTo>
                    <a:pt x="66" y="107"/>
                  </a:lnTo>
                  <a:lnTo>
                    <a:pt x="53" y="114"/>
                  </a:lnTo>
                  <a:lnTo>
                    <a:pt x="37" y="122"/>
                  </a:lnTo>
                  <a:lnTo>
                    <a:pt x="19" y="129"/>
                  </a:lnTo>
                  <a:lnTo>
                    <a:pt x="0" y="137"/>
                  </a:lnTo>
                  <a:lnTo>
                    <a:pt x="14" y="157"/>
                  </a:lnTo>
                  <a:lnTo>
                    <a:pt x="20" y="167"/>
                  </a:lnTo>
                  <a:lnTo>
                    <a:pt x="29" y="176"/>
                  </a:lnTo>
                  <a:lnTo>
                    <a:pt x="33" y="174"/>
                  </a:lnTo>
                  <a:lnTo>
                    <a:pt x="37" y="173"/>
                  </a:lnTo>
                  <a:lnTo>
                    <a:pt x="46" y="171"/>
                  </a:lnTo>
                  <a:lnTo>
                    <a:pt x="51" y="170"/>
                  </a:lnTo>
                  <a:lnTo>
                    <a:pt x="52" y="169"/>
                  </a:lnTo>
                  <a:lnTo>
                    <a:pt x="54" y="165"/>
                  </a:lnTo>
                  <a:lnTo>
                    <a:pt x="58" y="164"/>
                  </a:lnTo>
                  <a:lnTo>
                    <a:pt x="63" y="164"/>
                  </a:lnTo>
                  <a:lnTo>
                    <a:pt x="67" y="164"/>
                  </a:lnTo>
                  <a:lnTo>
                    <a:pt x="71" y="163"/>
                  </a:lnTo>
                  <a:lnTo>
                    <a:pt x="76" y="159"/>
                  </a:lnTo>
                  <a:lnTo>
                    <a:pt x="79" y="156"/>
                  </a:lnTo>
                  <a:lnTo>
                    <a:pt x="79" y="151"/>
                  </a:lnTo>
                  <a:lnTo>
                    <a:pt x="81" y="150"/>
                  </a:lnTo>
                  <a:lnTo>
                    <a:pt x="84" y="148"/>
                  </a:lnTo>
                  <a:lnTo>
                    <a:pt x="89" y="147"/>
                  </a:lnTo>
                  <a:lnTo>
                    <a:pt x="95" y="147"/>
                  </a:lnTo>
                  <a:lnTo>
                    <a:pt x="98" y="147"/>
                  </a:lnTo>
                  <a:lnTo>
                    <a:pt x="99" y="146"/>
                  </a:lnTo>
                  <a:lnTo>
                    <a:pt x="100" y="140"/>
                  </a:lnTo>
                  <a:lnTo>
                    <a:pt x="100" y="137"/>
                  </a:lnTo>
                  <a:lnTo>
                    <a:pt x="101" y="133"/>
                  </a:lnTo>
                  <a:lnTo>
                    <a:pt x="107" y="129"/>
                  </a:lnTo>
                  <a:lnTo>
                    <a:pt x="110" y="128"/>
                  </a:lnTo>
                  <a:lnTo>
                    <a:pt x="113" y="128"/>
                  </a:lnTo>
                  <a:lnTo>
                    <a:pt x="115" y="127"/>
                  </a:lnTo>
                  <a:lnTo>
                    <a:pt x="117" y="126"/>
                  </a:lnTo>
                  <a:lnTo>
                    <a:pt x="117" y="123"/>
                  </a:lnTo>
                  <a:lnTo>
                    <a:pt x="117" y="115"/>
                  </a:lnTo>
                  <a:lnTo>
                    <a:pt x="115" y="108"/>
                  </a:lnTo>
                  <a:lnTo>
                    <a:pt x="115" y="105"/>
                  </a:lnTo>
                  <a:lnTo>
                    <a:pt x="115" y="101"/>
                  </a:lnTo>
                  <a:lnTo>
                    <a:pt x="118" y="97"/>
                  </a:lnTo>
                  <a:lnTo>
                    <a:pt x="121" y="95"/>
                  </a:lnTo>
                  <a:lnTo>
                    <a:pt x="122" y="94"/>
                  </a:lnTo>
                  <a:lnTo>
                    <a:pt x="123" y="94"/>
                  </a:lnTo>
                  <a:lnTo>
                    <a:pt x="126" y="96"/>
                  </a:lnTo>
                  <a:lnTo>
                    <a:pt x="128" y="99"/>
                  </a:lnTo>
                  <a:lnTo>
                    <a:pt x="132" y="101"/>
                  </a:lnTo>
                  <a:lnTo>
                    <a:pt x="134" y="101"/>
                  </a:lnTo>
                  <a:lnTo>
                    <a:pt x="137" y="100"/>
                  </a:lnTo>
                  <a:lnTo>
                    <a:pt x="137" y="97"/>
                  </a:lnTo>
                  <a:lnTo>
                    <a:pt x="137" y="95"/>
                  </a:lnTo>
                  <a:lnTo>
                    <a:pt x="137" y="87"/>
                  </a:lnTo>
                  <a:lnTo>
                    <a:pt x="138" y="83"/>
                  </a:lnTo>
                  <a:lnTo>
                    <a:pt x="142" y="78"/>
                  </a:lnTo>
                  <a:lnTo>
                    <a:pt x="148" y="70"/>
                  </a:lnTo>
                  <a:lnTo>
                    <a:pt x="150" y="68"/>
                  </a:lnTo>
                  <a:lnTo>
                    <a:pt x="150" y="65"/>
                  </a:lnTo>
                  <a:lnTo>
                    <a:pt x="150" y="63"/>
                  </a:lnTo>
                  <a:lnTo>
                    <a:pt x="151" y="61"/>
                  </a:lnTo>
                  <a:lnTo>
                    <a:pt x="152" y="57"/>
                  </a:lnTo>
                  <a:lnTo>
                    <a:pt x="151" y="55"/>
                  </a:lnTo>
                  <a:lnTo>
                    <a:pt x="146" y="50"/>
                  </a:lnTo>
                  <a:lnTo>
                    <a:pt x="140" y="45"/>
                  </a:lnTo>
                  <a:lnTo>
                    <a:pt x="136" y="39"/>
                  </a:lnTo>
                  <a:lnTo>
                    <a:pt x="132" y="35"/>
                  </a:lnTo>
                  <a:lnTo>
                    <a:pt x="129" y="27"/>
                  </a:lnTo>
                  <a:lnTo>
                    <a:pt x="128" y="26"/>
                  </a:lnTo>
                  <a:lnTo>
                    <a:pt x="127" y="26"/>
                  </a:lnTo>
                  <a:lnTo>
                    <a:pt x="124" y="25"/>
                  </a:lnTo>
                  <a:lnTo>
                    <a:pt x="115" y="24"/>
                  </a:lnTo>
                  <a:lnTo>
                    <a:pt x="107" y="20"/>
                  </a:lnTo>
                  <a:lnTo>
                    <a:pt x="103" y="18"/>
                  </a:lnTo>
                  <a:lnTo>
                    <a:pt x="99" y="16"/>
                  </a:lnTo>
                  <a:lnTo>
                    <a:pt x="96" y="12"/>
                  </a:lnTo>
                  <a:lnTo>
                    <a:pt x="95" y="7"/>
                  </a:lnTo>
                  <a:lnTo>
                    <a:pt x="95" y="4"/>
                  </a:lnTo>
                  <a:lnTo>
                    <a:pt x="95" y="0"/>
                  </a:lnTo>
                  <a:lnTo>
                    <a:pt x="91" y="1"/>
                  </a:lnTo>
                  <a:lnTo>
                    <a:pt x="89" y="3"/>
                  </a:lnTo>
                  <a:lnTo>
                    <a:pt x="85" y="6"/>
                  </a:lnTo>
                  <a:lnTo>
                    <a:pt x="84" y="8"/>
                  </a:lnTo>
                  <a:lnTo>
                    <a:pt x="82" y="12"/>
                  </a:lnTo>
                  <a:lnTo>
                    <a:pt x="84" y="18"/>
                  </a:lnTo>
                  <a:lnTo>
                    <a:pt x="86" y="23"/>
                  </a:lnTo>
                  <a:lnTo>
                    <a:pt x="86" y="29"/>
                  </a:lnTo>
                  <a:lnTo>
                    <a:pt x="85" y="35"/>
                  </a:lnTo>
                  <a:lnTo>
                    <a:pt x="77" y="4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8" name="Freeform 657"/>
            <p:cNvSpPr>
              <a:spLocks/>
            </p:cNvSpPr>
            <p:nvPr/>
          </p:nvSpPr>
          <p:spPr bwMode="auto">
            <a:xfrm>
              <a:off x="5243513" y="3195638"/>
              <a:ext cx="177800" cy="182562"/>
            </a:xfrm>
            <a:custGeom>
              <a:avLst/>
              <a:gdLst>
                <a:gd name="T0" fmla="*/ 2147483647 w 122"/>
                <a:gd name="T1" fmla="*/ 2147483647 h 115"/>
                <a:gd name="T2" fmla="*/ 2147483647 w 122"/>
                <a:gd name="T3" fmla="*/ 2147483647 h 115"/>
                <a:gd name="T4" fmla="*/ 2147483647 w 122"/>
                <a:gd name="T5" fmla="*/ 2147483647 h 115"/>
                <a:gd name="T6" fmla="*/ 2147483647 w 122"/>
                <a:gd name="T7" fmla="*/ 2147483647 h 115"/>
                <a:gd name="T8" fmla="*/ 2147483647 w 122"/>
                <a:gd name="T9" fmla="*/ 2147483647 h 115"/>
                <a:gd name="T10" fmla="*/ 2147483647 w 122"/>
                <a:gd name="T11" fmla="*/ 2147483647 h 115"/>
                <a:gd name="T12" fmla="*/ 2147483647 w 122"/>
                <a:gd name="T13" fmla="*/ 2147483647 h 115"/>
                <a:gd name="T14" fmla="*/ 2147483647 w 122"/>
                <a:gd name="T15" fmla="*/ 2147483647 h 115"/>
                <a:gd name="T16" fmla="*/ 2147483647 w 122"/>
                <a:gd name="T17" fmla="*/ 2147483647 h 115"/>
                <a:gd name="T18" fmla="*/ 2147483647 w 122"/>
                <a:gd name="T19" fmla="*/ 2147483647 h 115"/>
                <a:gd name="T20" fmla="*/ 2147483647 w 122"/>
                <a:gd name="T21" fmla="*/ 2147483647 h 115"/>
                <a:gd name="T22" fmla="*/ 2147483647 w 122"/>
                <a:gd name="T23" fmla="*/ 2147483647 h 115"/>
                <a:gd name="T24" fmla="*/ 2147483647 w 122"/>
                <a:gd name="T25" fmla="*/ 2147483647 h 115"/>
                <a:gd name="T26" fmla="*/ 2147483647 w 122"/>
                <a:gd name="T27" fmla="*/ 2147483647 h 115"/>
                <a:gd name="T28" fmla="*/ 2147483647 w 122"/>
                <a:gd name="T29" fmla="*/ 2147483647 h 115"/>
                <a:gd name="T30" fmla="*/ 2147483647 w 122"/>
                <a:gd name="T31" fmla="*/ 2147483647 h 115"/>
                <a:gd name="T32" fmla="*/ 0 w 122"/>
                <a:gd name="T33" fmla="*/ 2147483647 h 115"/>
                <a:gd name="T34" fmla="*/ 2147483647 w 122"/>
                <a:gd name="T35" fmla="*/ 2147483647 h 115"/>
                <a:gd name="T36" fmla="*/ 2147483647 w 122"/>
                <a:gd name="T37" fmla="*/ 2147483647 h 115"/>
                <a:gd name="T38" fmla="*/ 2147483647 w 122"/>
                <a:gd name="T39" fmla="*/ 2147483647 h 115"/>
                <a:gd name="T40" fmla="*/ 2147483647 w 122"/>
                <a:gd name="T41" fmla="*/ 2147483647 h 115"/>
                <a:gd name="T42" fmla="*/ 2147483647 w 122"/>
                <a:gd name="T43" fmla="*/ 2147483647 h 115"/>
                <a:gd name="T44" fmla="*/ 2147483647 w 122"/>
                <a:gd name="T45" fmla="*/ 2147483647 h 115"/>
                <a:gd name="T46" fmla="*/ 2147483647 w 122"/>
                <a:gd name="T47" fmla="*/ 2147483647 h 115"/>
                <a:gd name="T48" fmla="*/ 2147483647 w 122"/>
                <a:gd name="T49" fmla="*/ 2147483647 h 115"/>
                <a:gd name="T50" fmla="*/ 2147483647 w 122"/>
                <a:gd name="T51" fmla="*/ 2147483647 h 115"/>
                <a:gd name="T52" fmla="*/ 2147483647 w 122"/>
                <a:gd name="T53" fmla="*/ 2147483647 h 115"/>
                <a:gd name="T54" fmla="*/ 2147483647 w 122"/>
                <a:gd name="T55" fmla="*/ 2147483647 h 115"/>
                <a:gd name="T56" fmla="*/ 2147483647 w 122"/>
                <a:gd name="T57" fmla="*/ 2147483647 h 115"/>
                <a:gd name="T58" fmla="*/ 2147483647 w 122"/>
                <a:gd name="T59" fmla="*/ 2147483647 h 115"/>
                <a:gd name="T60" fmla="*/ 2147483647 w 122"/>
                <a:gd name="T61" fmla="*/ 2147483647 h 115"/>
                <a:gd name="T62" fmla="*/ 2147483647 w 122"/>
                <a:gd name="T63" fmla="*/ 0 h 115"/>
                <a:gd name="T64" fmla="*/ 2147483647 w 122"/>
                <a:gd name="T65" fmla="*/ 2147483647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115"/>
                <a:gd name="T101" fmla="*/ 122 w 122"/>
                <a:gd name="T102" fmla="*/ 115 h 1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115">
                  <a:moveTo>
                    <a:pt x="122" y="7"/>
                  </a:moveTo>
                  <a:lnTo>
                    <a:pt x="119" y="8"/>
                  </a:lnTo>
                  <a:lnTo>
                    <a:pt x="113" y="12"/>
                  </a:lnTo>
                  <a:lnTo>
                    <a:pt x="110" y="17"/>
                  </a:lnTo>
                  <a:lnTo>
                    <a:pt x="107" y="23"/>
                  </a:lnTo>
                  <a:lnTo>
                    <a:pt x="106" y="26"/>
                  </a:lnTo>
                  <a:lnTo>
                    <a:pt x="103" y="38"/>
                  </a:lnTo>
                  <a:lnTo>
                    <a:pt x="99" y="49"/>
                  </a:lnTo>
                  <a:lnTo>
                    <a:pt x="94" y="59"/>
                  </a:lnTo>
                  <a:lnTo>
                    <a:pt x="89" y="68"/>
                  </a:lnTo>
                  <a:lnTo>
                    <a:pt x="80" y="75"/>
                  </a:lnTo>
                  <a:lnTo>
                    <a:pt x="70" y="83"/>
                  </a:lnTo>
                  <a:lnTo>
                    <a:pt x="46" y="97"/>
                  </a:lnTo>
                  <a:lnTo>
                    <a:pt x="40" y="102"/>
                  </a:lnTo>
                  <a:lnTo>
                    <a:pt x="35" y="108"/>
                  </a:lnTo>
                  <a:lnTo>
                    <a:pt x="28" y="112"/>
                  </a:lnTo>
                  <a:lnTo>
                    <a:pt x="22" y="115"/>
                  </a:lnTo>
                  <a:lnTo>
                    <a:pt x="19" y="115"/>
                  </a:lnTo>
                  <a:lnTo>
                    <a:pt x="16" y="114"/>
                  </a:lnTo>
                  <a:lnTo>
                    <a:pt x="4" y="107"/>
                  </a:lnTo>
                  <a:lnTo>
                    <a:pt x="5" y="102"/>
                  </a:lnTo>
                  <a:lnTo>
                    <a:pt x="8" y="96"/>
                  </a:lnTo>
                  <a:lnTo>
                    <a:pt x="12" y="89"/>
                  </a:lnTo>
                  <a:lnTo>
                    <a:pt x="21" y="77"/>
                  </a:lnTo>
                  <a:lnTo>
                    <a:pt x="21" y="76"/>
                  </a:lnTo>
                  <a:lnTo>
                    <a:pt x="22" y="74"/>
                  </a:lnTo>
                  <a:lnTo>
                    <a:pt x="21" y="69"/>
                  </a:lnTo>
                  <a:lnTo>
                    <a:pt x="17" y="65"/>
                  </a:lnTo>
                  <a:lnTo>
                    <a:pt x="12" y="63"/>
                  </a:lnTo>
                  <a:lnTo>
                    <a:pt x="11" y="63"/>
                  </a:lnTo>
                  <a:lnTo>
                    <a:pt x="8" y="63"/>
                  </a:lnTo>
                  <a:lnTo>
                    <a:pt x="3" y="65"/>
                  </a:lnTo>
                  <a:lnTo>
                    <a:pt x="0" y="62"/>
                  </a:lnTo>
                  <a:lnTo>
                    <a:pt x="0" y="57"/>
                  </a:lnTo>
                  <a:lnTo>
                    <a:pt x="2" y="52"/>
                  </a:lnTo>
                  <a:lnTo>
                    <a:pt x="7" y="44"/>
                  </a:lnTo>
                  <a:lnTo>
                    <a:pt x="8" y="39"/>
                  </a:lnTo>
                  <a:lnTo>
                    <a:pt x="12" y="39"/>
                  </a:lnTo>
                  <a:lnTo>
                    <a:pt x="16" y="38"/>
                  </a:lnTo>
                  <a:lnTo>
                    <a:pt x="18" y="36"/>
                  </a:lnTo>
                  <a:lnTo>
                    <a:pt x="21" y="33"/>
                  </a:lnTo>
                  <a:lnTo>
                    <a:pt x="23" y="26"/>
                  </a:lnTo>
                  <a:lnTo>
                    <a:pt x="23" y="18"/>
                  </a:lnTo>
                  <a:lnTo>
                    <a:pt x="25" y="17"/>
                  </a:lnTo>
                  <a:lnTo>
                    <a:pt x="26" y="14"/>
                  </a:lnTo>
                  <a:lnTo>
                    <a:pt x="27" y="14"/>
                  </a:lnTo>
                  <a:lnTo>
                    <a:pt x="30" y="14"/>
                  </a:lnTo>
                  <a:lnTo>
                    <a:pt x="37" y="18"/>
                  </a:lnTo>
                  <a:lnTo>
                    <a:pt x="42" y="19"/>
                  </a:lnTo>
                  <a:lnTo>
                    <a:pt x="46" y="19"/>
                  </a:lnTo>
                  <a:lnTo>
                    <a:pt x="50" y="18"/>
                  </a:lnTo>
                  <a:lnTo>
                    <a:pt x="54" y="15"/>
                  </a:lnTo>
                  <a:lnTo>
                    <a:pt x="59" y="12"/>
                  </a:lnTo>
                  <a:lnTo>
                    <a:pt x="63" y="12"/>
                  </a:lnTo>
                  <a:lnTo>
                    <a:pt x="66" y="12"/>
                  </a:lnTo>
                  <a:lnTo>
                    <a:pt x="73" y="13"/>
                  </a:lnTo>
                  <a:lnTo>
                    <a:pt x="82" y="13"/>
                  </a:lnTo>
                  <a:lnTo>
                    <a:pt x="88" y="11"/>
                  </a:lnTo>
                  <a:lnTo>
                    <a:pt x="91" y="8"/>
                  </a:lnTo>
                  <a:lnTo>
                    <a:pt x="92" y="7"/>
                  </a:lnTo>
                  <a:lnTo>
                    <a:pt x="97" y="6"/>
                  </a:lnTo>
                  <a:lnTo>
                    <a:pt x="102" y="5"/>
                  </a:lnTo>
                  <a:lnTo>
                    <a:pt x="108" y="0"/>
                  </a:lnTo>
                  <a:lnTo>
                    <a:pt x="112" y="0"/>
                  </a:lnTo>
                  <a:lnTo>
                    <a:pt x="116" y="1"/>
                  </a:lnTo>
                  <a:lnTo>
                    <a:pt x="122"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59" name="Freeform 658"/>
            <p:cNvSpPr>
              <a:spLocks/>
            </p:cNvSpPr>
            <p:nvPr/>
          </p:nvSpPr>
          <p:spPr bwMode="auto">
            <a:xfrm>
              <a:off x="5638801" y="3621089"/>
              <a:ext cx="222250" cy="277812"/>
            </a:xfrm>
            <a:custGeom>
              <a:avLst/>
              <a:gdLst>
                <a:gd name="T0" fmla="*/ 2147483647 w 152"/>
                <a:gd name="T1" fmla="*/ 2147483647 h 175"/>
                <a:gd name="T2" fmla="*/ 2147483647 w 152"/>
                <a:gd name="T3" fmla="*/ 2147483647 h 175"/>
                <a:gd name="T4" fmla="*/ 2147483647 w 152"/>
                <a:gd name="T5" fmla="*/ 2147483647 h 175"/>
                <a:gd name="T6" fmla="*/ 2147483647 w 152"/>
                <a:gd name="T7" fmla="*/ 2147483647 h 175"/>
                <a:gd name="T8" fmla="*/ 2147483647 w 152"/>
                <a:gd name="T9" fmla="*/ 2147483647 h 175"/>
                <a:gd name="T10" fmla="*/ 2147483647 w 152"/>
                <a:gd name="T11" fmla="*/ 2147483647 h 175"/>
                <a:gd name="T12" fmla="*/ 2147483647 w 152"/>
                <a:gd name="T13" fmla="*/ 2147483647 h 175"/>
                <a:gd name="T14" fmla="*/ 2147483647 w 152"/>
                <a:gd name="T15" fmla="*/ 2147483647 h 175"/>
                <a:gd name="T16" fmla="*/ 0 w 152"/>
                <a:gd name="T17" fmla="*/ 2147483647 h 175"/>
                <a:gd name="T18" fmla="*/ 2147483647 w 152"/>
                <a:gd name="T19" fmla="*/ 2147483647 h 175"/>
                <a:gd name="T20" fmla="*/ 2147483647 w 152"/>
                <a:gd name="T21" fmla="*/ 2147483647 h 175"/>
                <a:gd name="T22" fmla="*/ 2147483647 w 152"/>
                <a:gd name="T23" fmla="*/ 2147483647 h 175"/>
                <a:gd name="T24" fmla="*/ 2147483647 w 152"/>
                <a:gd name="T25" fmla="*/ 2147483647 h 175"/>
                <a:gd name="T26" fmla="*/ 2147483647 w 152"/>
                <a:gd name="T27" fmla="*/ 2147483647 h 175"/>
                <a:gd name="T28" fmla="*/ 2147483647 w 152"/>
                <a:gd name="T29" fmla="*/ 2147483647 h 175"/>
                <a:gd name="T30" fmla="*/ 2147483647 w 152"/>
                <a:gd name="T31" fmla="*/ 2147483647 h 175"/>
                <a:gd name="T32" fmla="*/ 2147483647 w 152"/>
                <a:gd name="T33" fmla="*/ 2147483647 h 175"/>
                <a:gd name="T34" fmla="*/ 2147483647 w 152"/>
                <a:gd name="T35" fmla="*/ 2147483647 h 175"/>
                <a:gd name="T36" fmla="*/ 2147483647 w 152"/>
                <a:gd name="T37" fmla="*/ 2147483647 h 175"/>
                <a:gd name="T38" fmla="*/ 2147483647 w 152"/>
                <a:gd name="T39" fmla="*/ 2147483647 h 175"/>
                <a:gd name="T40" fmla="*/ 2147483647 w 152"/>
                <a:gd name="T41" fmla="*/ 2147483647 h 175"/>
                <a:gd name="T42" fmla="*/ 2147483647 w 152"/>
                <a:gd name="T43" fmla="*/ 2147483647 h 175"/>
                <a:gd name="T44" fmla="*/ 2147483647 w 152"/>
                <a:gd name="T45" fmla="*/ 2147483647 h 175"/>
                <a:gd name="T46" fmla="*/ 2147483647 w 152"/>
                <a:gd name="T47" fmla="*/ 2147483647 h 175"/>
                <a:gd name="T48" fmla="*/ 2147483647 w 152"/>
                <a:gd name="T49" fmla="*/ 2147483647 h 175"/>
                <a:gd name="T50" fmla="*/ 2147483647 w 152"/>
                <a:gd name="T51" fmla="*/ 2147483647 h 175"/>
                <a:gd name="T52" fmla="*/ 2147483647 w 152"/>
                <a:gd name="T53" fmla="*/ 2147483647 h 175"/>
                <a:gd name="T54" fmla="*/ 2147483647 w 152"/>
                <a:gd name="T55" fmla="*/ 2147483647 h 175"/>
                <a:gd name="T56" fmla="*/ 2147483647 w 152"/>
                <a:gd name="T57" fmla="*/ 2147483647 h 175"/>
                <a:gd name="T58" fmla="*/ 2147483647 w 152"/>
                <a:gd name="T59" fmla="*/ 2147483647 h 175"/>
                <a:gd name="T60" fmla="*/ 2147483647 w 152"/>
                <a:gd name="T61" fmla="*/ 2147483647 h 175"/>
                <a:gd name="T62" fmla="*/ 2147483647 w 152"/>
                <a:gd name="T63" fmla="*/ 2147483647 h 175"/>
                <a:gd name="T64" fmla="*/ 2147483647 w 152"/>
                <a:gd name="T65" fmla="*/ 2147483647 h 175"/>
                <a:gd name="T66" fmla="*/ 2147483647 w 152"/>
                <a:gd name="T67" fmla="*/ 2147483647 h 175"/>
                <a:gd name="T68" fmla="*/ 2147483647 w 152"/>
                <a:gd name="T69" fmla="*/ 2147483647 h 175"/>
                <a:gd name="T70" fmla="*/ 2147483647 w 152"/>
                <a:gd name="T71" fmla="*/ 2147483647 h 175"/>
                <a:gd name="T72" fmla="*/ 2147483647 w 152"/>
                <a:gd name="T73" fmla="*/ 2147483647 h 175"/>
                <a:gd name="T74" fmla="*/ 2147483647 w 152"/>
                <a:gd name="T75" fmla="*/ 2147483647 h 175"/>
                <a:gd name="T76" fmla="*/ 2147483647 w 152"/>
                <a:gd name="T77" fmla="*/ 2147483647 h 175"/>
                <a:gd name="T78" fmla="*/ 2147483647 w 152"/>
                <a:gd name="T79" fmla="*/ 2147483647 h 175"/>
                <a:gd name="T80" fmla="*/ 2147483647 w 152"/>
                <a:gd name="T81" fmla="*/ 2147483647 h 175"/>
                <a:gd name="T82" fmla="*/ 2147483647 w 152"/>
                <a:gd name="T83" fmla="*/ 2147483647 h 175"/>
                <a:gd name="T84" fmla="*/ 2147483647 w 152"/>
                <a:gd name="T85" fmla="*/ 2147483647 h 175"/>
                <a:gd name="T86" fmla="*/ 2147483647 w 152"/>
                <a:gd name="T87" fmla="*/ 2147483647 h 175"/>
                <a:gd name="T88" fmla="*/ 2147483647 w 152"/>
                <a:gd name="T89" fmla="*/ 2147483647 h 175"/>
                <a:gd name="T90" fmla="*/ 2147483647 w 152"/>
                <a:gd name="T91" fmla="*/ 2147483647 h 175"/>
                <a:gd name="T92" fmla="*/ 2147483647 w 152"/>
                <a:gd name="T93" fmla="*/ 2147483647 h 175"/>
                <a:gd name="T94" fmla="*/ 2147483647 w 152"/>
                <a:gd name="T95" fmla="*/ 2147483647 h 175"/>
                <a:gd name="T96" fmla="*/ 2147483647 w 152"/>
                <a:gd name="T97" fmla="*/ 2147483647 h 175"/>
                <a:gd name="T98" fmla="*/ 2147483647 w 152"/>
                <a:gd name="T99" fmla="*/ 2147483647 h 175"/>
                <a:gd name="T100" fmla="*/ 2147483647 w 152"/>
                <a:gd name="T101" fmla="*/ 2147483647 h 175"/>
                <a:gd name="T102" fmla="*/ 2147483647 w 152"/>
                <a:gd name="T103" fmla="*/ 2147483647 h 175"/>
                <a:gd name="T104" fmla="*/ 2147483647 w 152"/>
                <a:gd name="T105" fmla="*/ 2147483647 h 175"/>
                <a:gd name="T106" fmla="*/ 2147483647 w 152"/>
                <a:gd name="T107" fmla="*/ 0 h 175"/>
                <a:gd name="T108" fmla="*/ 2147483647 w 152"/>
                <a:gd name="T109" fmla="*/ 2147483647 h 175"/>
                <a:gd name="T110" fmla="*/ 2147483647 w 152"/>
                <a:gd name="T111" fmla="*/ 2147483647 h 175"/>
                <a:gd name="T112" fmla="*/ 2147483647 w 152"/>
                <a:gd name="T113" fmla="*/ 2147483647 h 175"/>
                <a:gd name="T114" fmla="*/ 2147483647 w 152"/>
                <a:gd name="T115" fmla="*/ 2147483647 h 175"/>
                <a:gd name="T116" fmla="*/ 2147483647 w 152"/>
                <a:gd name="T117" fmla="*/ 2147483647 h 175"/>
                <a:gd name="T118" fmla="*/ 2147483647 w 152"/>
                <a:gd name="T119" fmla="*/ 2147483647 h 175"/>
                <a:gd name="T120" fmla="*/ 2147483647 w 152"/>
                <a:gd name="T121" fmla="*/ 2147483647 h 1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2"/>
                <a:gd name="T184" fmla="*/ 0 h 175"/>
                <a:gd name="T185" fmla="*/ 152 w 152"/>
                <a:gd name="T186" fmla="*/ 175 h 1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2" h="175">
                  <a:moveTo>
                    <a:pt x="77" y="45"/>
                  </a:moveTo>
                  <a:lnTo>
                    <a:pt x="77" y="45"/>
                  </a:lnTo>
                  <a:lnTo>
                    <a:pt x="80" y="51"/>
                  </a:lnTo>
                  <a:lnTo>
                    <a:pt x="81" y="57"/>
                  </a:lnTo>
                  <a:lnTo>
                    <a:pt x="81" y="64"/>
                  </a:lnTo>
                  <a:lnTo>
                    <a:pt x="81" y="70"/>
                  </a:lnTo>
                  <a:lnTo>
                    <a:pt x="77" y="83"/>
                  </a:lnTo>
                  <a:lnTo>
                    <a:pt x="71" y="95"/>
                  </a:lnTo>
                  <a:lnTo>
                    <a:pt x="68" y="101"/>
                  </a:lnTo>
                  <a:lnTo>
                    <a:pt x="67" y="104"/>
                  </a:lnTo>
                  <a:lnTo>
                    <a:pt x="66" y="107"/>
                  </a:lnTo>
                  <a:lnTo>
                    <a:pt x="53" y="114"/>
                  </a:lnTo>
                  <a:lnTo>
                    <a:pt x="36" y="122"/>
                  </a:lnTo>
                  <a:lnTo>
                    <a:pt x="19" y="129"/>
                  </a:lnTo>
                  <a:lnTo>
                    <a:pt x="0" y="136"/>
                  </a:lnTo>
                  <a:lnTo>
                    <a:pt x="14" y="157"/>
                  </a:lnTo>
                  <a:lnTo>
                    <a:pt x="20" y="167"/>
                  </a:lnTo>
                  <a:lnTo>
                    <a:pt x="29" y="175"/>
                  </a:lnTo>
                  <a:lnTo>
                    <a:pt x="33" y="174"/>
                  </a:lnTo>
                  <a:lnTo>
                    <a:pt x="36" y="173"/>
                  </a:lnTo>
                  <a:lnTo>
                    <a:pt x="45" y="171"/>
                  </a:lnTo>
                  <a:lnTo>
                    <a:pt x="50" y="170"/>
                  </a:lnTo>
                  <a:lnTo>
                    <a:pt x="52" y="168"/>
                  </a:lnTo>
                  <a:lnTo>
                    <a:pt x="54" y="165"/>
                  </a:lnTo>
                  <a:lnTo>
                    <a:pt x="58" y="164"/>
                  </a:lnTo>
                  <a:lnTo>
                    <a:pt x="63" y="164"/>
                  </a:lnTo>
                  <a:lnTo>
                    <a:pt x="67" y="164"/>
                  </a:lnTo>
                  <a:lnTo>
                    <a:pt x="71" y="162"/>
                  </a:lnTo>
                  <a:lnTo>
                    <a:pt x="76" y="159"/>
                  </a:lnTo>
                  <a:lnTo>
                    <a:pt x="78" y="155"/>
                  </a:lnTo>
                  <a:lnTo>
                    <a:pt x="78" y="151"/>
                  </a:lnTo>
                  <a:lnTo>
                    <a:pt x="81" y="149"/>
                  </a:lnTo>
                  <a:lnTo>
                    <a:pt x="83" y="148"/>
                  </a:lnTo>
                  <a:lnTo>
                    <a:pt x="89" y="147"/>
                  </a:lnTo>
                  <a:lnTo>
                    <a:pt x="95" y="147"/>
                  </a:lnTo>
                  <a:lnTo>
                    <a:pt x="97" y="147"/>
                  </a:lnTo>
                  <a:lnTo>
                    <a:pt x="99" y="146"/>
                  </a:lnTo>
                  <a:lnTo>
                    <a:pt x="100" y="140"/>
                  </a:lnTo>
                  <a:lnTo>
                    <a:pt x="100" y="136"/>
                  </a:lnTo>
                  <a:lnTo>
                    <a:pt x="101" y="133"/>
                  </a:lnTo>
                  <a:lnTo>
                    <a:pt x="106" y="129"/>
                  </a:lnTo>
                  <a:lnTo>
                    <a:pt x="110" y="128"/>
                  </a:lnTo>
                  <a:lnTo>
                    <a:pt x="113" y="128"/>
                  </a:lnTo>
                  <a:lnTo>
                    <a:pt x="115" y="127"/>
                  </a:lnTo>
                  <a:lnTo>
                    <a:pt x="116" y="126"/>
                  </a:lnTo>
                  <a:lnTo>
                    <a:pt x="116" y="123"/>
                  </a:lnTo>
                  <a:lnTo>
                    <a:pt x="116" y="115"/>
                  </a:lnTo>
                  <a:lnTo>
                    <a:pt x="115" y="108"/>
                  </a:lnTo>
                  <a:lnTo>
                    <a:pt x="115" y="104"/>
                  </a:lnTo>
                  <a:lnTo>
                    <a:pt x="115" y="101"/>
                  </a:lnTo>
                  <a:lnTo>
                    <a:pt x="118" y="97"/>
                  </a:lnTo>
                  <a:lnTo>
                    <a:pt x="120" y="95"/>
                  </a:lnTo>
                  <a:lnTo>
                    <a:pt x="122" y="94"/>
                  </a:lnTo>
                  <a:lnTo>
                    <a:pt x="123" y="94"/>
                  </a:lnTo>
                  <a:lnTo>
                    <a:pt x="125" y="96"/>
                  </a:lnTo>
                  <a:lnTo>
                    <a:pt x="128" y="98"/>
                  </a:lnTo>
                  <a:lnTo>
                    <a:pt x="132" y="101"/>
                  </a:lnTo>
                  <a:lnTo>
                    <a:pt x="134" y="101"/>
                  </a:lnTo>
                  <a:lnTo>
                    <a:pt x="137" y="100"/>
                  </a:lnTo>
                  <a:lnTo>
                    <a:pt x="137" y="97"/>
                  </a:lnTo>
                  <a:lnTo>
                    <a:pt x="137" y="95"/>
                  </a:lnTo>
                  <a:lnTo>
                    <a:pt x="137" y="87"/>
                  </a:lnTo>
                  <a:lnTo>
                    <a:pt x="138" y="83"/>
                  </a:lnTo>
                  <a:lnTo>
                    <a:pt x="142" y="78"/>
                  </a:lnTo>
                  <a:lnTo>
                    <a:pt x="148" y="70"/>
                  </a:lnTo>
                  <a:lnTo>
                    <a:pt x="149" y="68"/>
                  </a:lnTo>
                  <a:lnTo>
                    <a:pt x="149" y="65"/>
                  </a:lnTo>
                  <a:lnTo>
                    <a:pt x="149" y="63"/>
                  </a:lnTo>
                  <a:lnTo>
                    <a:pt x="151" y="60"/>
                  </a:lnTo>
                  <a:lnTo>
                    <a:pt x="152" y="57"/>
                  </a:lnTo>
                  <a:lnTo>
                    <a:pt x="151" y="55"/>
                  </a:lnTo>
                  <a:lnTo>
                    <a:pt x="146" y="50"/>
                  </a:lnTo>
                  <a:lnTo>
                    <a:pt x="139" y="45"/>
                  </a:lnTo>
                  <a:lnTo>
                    <a:pt x="135" y="39"/>
                  </a:lnTo>
                  <a:lnTo>
                    <a:pt x="132" y="34"/>
                  </a:lnTo>
                  <a:lnTo>
                    <a:pt x="129" y="27"/>
                  </a:lnTo>
                  <a:lnTo>
                    <a:pt x="128" y="26"/>
                  </a:lnTo>
                  <a:lnTo>
                    <a:pt x="127" y="26"/>
                  </a:lnTo>
                  <a:lnTo>
                    <a:pt x="124" y="25"/>
                  </a:lnTo>
                  <a:lnTo>
                    <a:pt x="115" y="24"/>
                  </a:lnTo>
                  <a:lnTo>
                    <a:pt x="106" y="20"/>
                  </a:lnTo>
                  <a:lnTo>
                    <a:pt x="102" y="18"/>
                  </a:lnTo>
                  <a:lnTo>
                    <a:pt x="99" y="15"/>
                  </a:lnTo>
                  <a:lnTo>
                    <a:pt x="96" y="12"/>
                  </a:lnTo>
                  <a:lnTo>
                    <a:pt x="95" y="7"/>
                  </a:lnTo>
                  <a:lnTo>
                    <a:pt x="95" y="4"/>
                  </a:lnTo>
                  <a:lnTo>
                    <a:pt x="95" y="0"/>
                  </a:lnTo>
                  <a:lnTo>
                    <a:pt x="91" y="1"/>
                  </a:lnTo>
                  <a:lnTo>
                    <a:pt x="89" y="2"/>
                  </a:lnTo>
                  <a:lnTo>
                    <a:pt x="85" y="6"/>
                  </a:lnTo>
                  <a:lnTo>
                    <a:pt x="83" y="8"/>
                  </a:lnTo>
                  <a:lnTo>
                    <a:pt x="82" y="12"/>
                  </a:lnTo>
                  <a:lnTo>
                    <a:pt x="83" y="18"/>
                  </a:lnTo>
                  <a:lnTo>
                    <a:pt x="86" y="23"/>
                  </a:lnTo>
                  <a:lnTo>
                    <a:pt x="86" y="28"/>
                  </a:lnTo>
                  <a:lnTo>
                    <a:pt x="85" y="34"/>
                  </a:lnTo>
                  <a:lnTo>
                    <a:pt x="77" y="4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0" name="Freeform 659"/>
            <p:cNvSpPr>
              <a:spLocks/>
            </p:cNvSpPr>
            <p:nvPr/>
          </p:nvSpPr>
          <p:spPr bwMode="auto">
            <a:xfrm>
              <a:off x="5241925" y="3194051"/>
              <a:ext cx="177800" cy="182563"/>
            </a:xfrm>
            <a:custGeom>
              <a:avLst/>
              <a:gdLst>
                <a:gd name="T0" fmla="*/ 2147483647 w 122"/>
                <a:gd name="T1" fmla="*/ 2147483647 h 115"/>
                <a:gd name="T2" fmla="*/ 2147483647 w 122"/>
                <a:gd name="T3" fmla="*/ 2147483647 h 115"/>
                <a:gd name="T4" fmla="*/ 2147483647 w 122"/>
                <a:gd name="T5" fmla="*/ 2147483647 h 115"/>
                <a:gd name="T6" fmla="*/ 2147483647 w 122"/>
                <a:gd name="T7" fmla="*/ 2147483647 h 115"/>
                <a:gd name="T8" fmla="*/ 2147483647 w 122"/>
                <a:gd name="T9" fmla="*/ 2147483647 h 115"/>
                <a:gd name="T10" fmla="*/ 2147483647 w 122"/>
                <a:gd name="T11" fmla="*/ 2147483647 h 115"/>
                <a:gd name="T12" fmla="*/ 2147483647 w 122"/>
                <a:gd name="T13" fmla="*/ 2147483647 h 115"/>
                <a:gd name="T14" fmla="*/ 2147483647 w 122"/>
                <a:gd name="T15" fmla="*/ 2147483647 h 115"/>
                <a:gd name="T16" fmla="*/ 2147483647 w 122"/>
                <a:gd name="T17" fmla="*/ 2147483647 h 115"/>
                <a:gd name="T18" fmla="*/ 2147483647 w 122"/>
                <a:gd name="T19" fmla="*/ 2147483647 h 115"/>
                <a:gd name="T20" fmla="*/ 2147483647 w 122"/>
                <a:gd name="T21" fmla="*/ 2147483647 h 115"/>
                <a:gd name="T22" fmla="*/ 2147483647 w 122"/>
                <a:gd name="T23" fmla="*/ 2147483647 h 115"/>
                <a:gd name="T24" fmla="*/ 2147483647 w 122"/>
                <a:gd name="T25" fmla="*/ 2147483647 h 115"/>
                <a:gd name="T26" fmla="*/ 2147483647 w 122"/>
                <a:gd name="T27" fmla="*/ 2147483647 h 115"/>
                <a:gd name="T28" fmla="*/ 2147483647 w 122"/>
                <a:gd name="T29" fmla="*/ 2147483647 h 115"/>
                <a:gd name="T30" fmla="*/ 2147483647 w 122"/>
                <a:gd name="T31" fmla="*/ 2147483647 h 115"/>
                <a:gd name="T32" fmla="*/ 2147483647 w 122"/>
                <a:gd name="T33" fmla="*/ 2147483647 h 115"/>
                <a:gd name="T34" fmla="*/ 2147483647 w 122"/>
                <a:gd name="T35" fmla="*/ 2147483647 h 115"/>
                <a:gd name="T36" fmla="*/ 2147483647 w 122"/>
                <a:gd name="T37" fmla="*/ 2147483647 h 115"/>
                <a:gd name="T38" fmla="*/ 2147483647 w 122"/>
                <a:gd name="T39" fmla="*/ 2147483647 h 115"/>
                <a:gd name="T40" fmla="*/ 2147483647 w 122"/>
                <a:gd name="T41" fmla="*/ 2147483647 h 115"/>
                <a:gd name="T42" fmla="*/ 2147483647 w 122"/>
                <a:gd name="T43" fmla="*/ 2147483647 h 115"/>
                <a:gd name="T44" fmla="*/ 0 w 122"/>
                <a:gd name="T45" fmla="*/ 2147483647 h 115"/>
                <a:gd name="T46" fmla="*/ 0 w 122"/>
                <a:gd name="T47" fmla="*/ 2147483647 h 115"/>
                <a:gd name="T48" fmla="*/ 2147483647 w 122"/>
                <a:gd name="T49" fmla="*/ 2147483647 h 115"/>
                <a:gd name="T50" fmla="*/ 2147483647 w 122"/>
                <a:gd name="T51" fmla="*/ 2147483647 h 115"/>
                <a:gd name="T52" fmla="*/ 2147483647 w 122"/>
                <a:gd name="T53" fmla="*/ 2147483647 h 115"/>
                <a:gd name="T54" fmla="*/ 2147483647 w 122"/>
                <a:gd name="T55" fmla="*/ 2147483647 h 115"/>
                <a:gd name="T56" fmla="*/ 2147483647 w 122"/>
                <a:gd name="T57" fmla="*/ 2147483647 h 115"/>
                <a:gd name="T58" fmla="*/ 2147483647 w 122"/>
                <a:gd name="T59" fmla="*/ 2147483647 h 115"/>
                <a:gd name="T60" fmla="*/ 2147483647 w 122"/>
                <a:gd name="T61" fmla="*/ 2147483647 h 115"/>
                <a:gd name="T62" fmla="*/ 2147483647 w 122"/>
                <a:gd name="T63" fmla="*/ 2147483647 h 115"/>
                <a:gd name="T64" fmla="*/ 2147483647 w 122"/>
                <a:gd name="T65" fmla="*/ 2147483647 h 115"/>
                <a:gd name="T66" fmla="*/ 2147483647 w 122"/>
                <a:gd name="T67" fmla="*/ 2147483647 h 115"/>
                <a:gd name="T68" fmla="*/ 2147483647 w 122"/>
                <a:gd name="T69" fmla="*/ 2147483647 h 115"/>
                <a:gd name="T70" fmla="*/ 2147483647 w 122"/>
                <a:gd name="T71" fmla="*/ 2147483647 h 115"/>
                <a:gd name="T72" fmla="*/ 2147483647 w 122"/>
                <a:gd name="T73" fmla="*/ 2147483647 h 115"/>
                <a:gd name="T74" fmla="*/ 2147483647 w 122"/>
                <a:gd name="T75" fmla="*/ 2147483647 h 115"/>
                <a:gd name="T76" fmla="*/ 2147483647 w 122"/>
                <a:gd name="T77" fmla="*/ 2147483647 h 115"/>
                <a:gd name="T78" fmla="*/ 2147483647 w 122"/>
                <a:gd name="T79" fmla="*/ 2147483647 h 115"/>
                <a:gd name="T80" fmla="*/ 2147483647 w 122"/>
                <a:gd name="T81" fmla="*/ 2147483647 h 115"/>
                <a:gd name="T82" fmla="*/ 2147483647 w 122"/>
                <a:gd name="T83" fmla="*/ 2147483647 h 115"/>
                <a:gd name="T84" fmla="*/ 2147483647 w 122"/>
                <a:gd name="T85" fmla="*/ 2147483647 h 115"/>
                <a:gd name="T86" fmla="*/ 2147483647 w 122"/>
                <a:gd name="T87" fmla="*/ 0 h 115"/>
                <a:gd name="T88" fmla="*/ 2147483647 w 122"/>
                <a:gd name="T89" fmla="*/ 2147483647 h 115"/>
                <a:gd name="T90" fmla="*/ 2147483647 w 122"/>
                <a:gd name="T91" fmla="*/ 2147483647 h 1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2"/>
                <a:gd name="T139" fmla="*/ 0 h 115"/>
                <a:gd name="T140" fmla="*/ 122 w 122"/>
                <a:gd name="T141" fmla="*/ 115 h 1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2" h="115">
                  <a:moveTo>
                    <a:pt x="122" y="7"/>
                  </a:moveTo>
                  <a:lnTo>
                    <a:pt x="122" y="7"/>
                  </a:lnTo>
                  <a:lnTo>
                    <a:pt x="118" y="8"/>
                  </a:lnTo>
                  <a:lnTo>
                    <a:pt x="113" y="12"/>
                  </a:lnTo>
                  <a:lnTo>
                    <a:pt x="109" y="16"/>
                  </a:lnTo>
                  <a:lnTo>
                    <a:pt x="107" y="22"/>
                  </a:lnTo>
                  <a:lnTo>
                    <a:pt x="106" y="26"/>
                  </a:lnTo>
                  <a:lnTo>
                    <a:pt x="103" y="38"/>
                  </a:lnTo>
                  <a:lnTo>
                    <a:pt x="99" y="48"/>
                  </a:lnTo>
                  <a:lnTo>
                    <a:pt x="94" y="59"/>
                  </a:lnTo>
                  <a:lnTo>
                    <a:pt x="89" y="67"/>
                  </a:lnTo>
                  <a:lnTo>
                    <a:pt x="80" y="75"/>
                  </a:lnTo>
                  <a:lnTo>
                    <a:pt x="70" y="83"/>
                  </a:lnTo>
                  <a:lnTo>
                    <a:pt x="46" y="97"/>
                  </a:lnTo>
                  <a:lnTo>
                    <a:pt x="40" y="102"/>
                  </a:lnTo>
                  <a:lnTo>
                    <a:pt x="34" y="108"/>
                  </a:lnTo>
                  <a:lnTo>
                    <a:pt x="28" y="111"/>
                  </a:lnTo>
                  <a:lnTo>
                    <a:pt x="22" y="115"/>
                  </a:lnTo>
                  <a:lnTo>
                    <a:pt x="19" y="115"/>
                  </a:lnTo>
                  <a:lnTo>
                    <a:pt x="15" y="114"/>
                  </a:lnTo>
                  <a:lnTo>
                    <a:pt x="4" y="107"/>
                  </a:lnTo>
                  <a:lnTo>
                    <a:pt x="5" y="102"/>
                  </a:lnTo>
                  <a:lnTo>
                    <a:pt x="8" y="96"/>
                  </a:lnTo>
                  <a:lnTo>
                    <a:pt x="12" y="89"/>
                  </a:lnTo>
                  <a:lnTo>
                    <a:pt x="20" y="77"/>
                  </a:lnTo>
                  <a:lnTo>
                    <a:pt x="20" y="76"/>
                  </a:lnTo>
                  <a:lnTo>
                    <a:pt x="22" y="73"/>
                  </a:lnTo>
                  <a:lnTo>
                    <a:pt x="20" y="69"/>
                  </a:lnTo>
                  <a:lnTo>
                    <a:pt x="17" y="65"/>
                  </a:lnTo>
                  <a:lnTo>
                    <a:pt x="12" y="63"/>
                  </a:lnTo>
                  <a:lnTo>
                    <a:pt x="10" y="63"/>
                  </a:lnTo>
                  <a:lnTo>
                    <a:pt x="8" y="63"/>
                  </a:lnTo>
                  <a:lnTo>
                    <a:pt x="3" y="65"/>
                  </a:lnTo>
                  <a:lnTo>
                    <a:pt x="0" y="62"/>
                  </a:lnTo>
                  <a:lnTo>
                    <a:pt x="0" y="57"/>
                  </a:lnTo>
                  <a:lnTo>
                    <a:pt x="1" y="52"/>
                  </a:lnTo>
                  <a:lnTo>
                    <a:pt x="6" y="44"/>
                  </a:lnTo>
                  <a:lnTo>
                    <a:pt x="8" y="39"/>
                  </a:lnTo>
                  <a:lnTo>
                    <a:pt x="12" y="39"/>
                  </a:lnTo>
                  <a:lnTo>
                    <a:pt x="15" y="38"/>
                  </a:lnTo>
                  <a:lnTo>
                    <a:pt x="18" y="35"/>
                  </a:lnTo>
                  <a:lnTo>
                    <a:pt x="20" y="33"/>
                  </a:lnTo>
                  <a:lnTo>
                    <a:pt x="23" y="26"/>
                  </a:lnTo>
                  <a:lnTo>
                    <a:pt x="23" y="18"/>
                  </a:lnTo>
                  <a:lnTo>
                    <a:pt x="24" y="16"/>
                  </a:lnTo>
                  <a:lnTo>
                    <a:pt x="26" y="14"/>
                  </a:lnTo>
                  <a:lnTo>
                    <a:pt x="27" y="14"/>
                  </a:lnTo>
                  <a:lnTo>
                    <a:pt x="29" y="14"/>
                  </a:lnTo>
                  <a:lnTo>
                    <a:pt x="37" y="18"/>
                  </a:lnTo>
                  <a:lnTo>
                    <a:pt x="42" y="19"/>
                  </a:lnTo>
                  <a:lnTo>
                    <a:pt x="46" y="19"/>
                  </a:lnTo>
                  <a:lnTo>
                    <a:pt x="50" y="18"/>
                  </a:lnTo>
                  <a:lnTo>
                    <a:pt x="53" y="15"/>
                  </a:lnTo>
                  <a:lnTo>
                    <a:pt x="59" y="12"/>
                  </a:lnTo>
                  <a:lnTo>
                    <a:pt x="62" y="12"/>
                  </a:lnTo>
                  <a:lnTo>
                    <a:pt x="66" y="12"/>
                  </a:lnTo>
                  <a:lnTo>
                    <a:pt x="73" y="13"/>
                  </a:lnTo>
                  <a:lnTo>
                    <a:pt x="81" y="13"/>
                  </a:lnTo>
                  <a:lnTo>
                    <a:pt x="88" y="11"/>
                  </a:lnTo>
                  <a:lnTo>
                    <a:pt x="90" y="8"/>
                  </a:lnTo>
                  <a:lnTo>
                    <a:pt x="92" y="7"/>
                  </a:lnTo>
                  <a:lnTo>
                    <a:pt x="97" y="6"/>
                  </a:lnTo>
                  <a:lnTo>
                    <a:pt x="102" y="5"/>
                  </a:lnTo>
                  <a:lnTo>
                    <a:pt x="108" y="0"/>
                  </a:lnTo>
                  <a:lnTo>
                    <a:pt x="112" y="0"/>
                  </a:lnTo>
                  <a:lnTo>
                    <a:pt x="116" y="1"/>
                  </a:lnTo>
                  <a:lnTo>
                    <a:pt x="122"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1" name="Freeform 660"/>
            <p:cNvSpPr>
              <a:spLocks/>
            </p:cNvSpPr>
            <p:nvPr/>
          </p:nvSpPr>
          <p:spPr bwMode="auto">
            <a:xfrm>
              <a:off x="5235575" y="3295654"/>
              <a:ext cx="39688" cy="61913"/>
            </a:xfrm>
            <a:custGeom>
              <a:avLst/>
              <a:gdLst>
                <a:gd name="T0" fmla="*/ 2147483647 w 27"/>
                <a:gd name="T1" fmla="*/ 2147483647 h 39"/>
                <a:gd name="T2" fmla="*/ 2147483647 w 27"/>
                <a:gd name="T3" fmla="*/ 0 h 39"/>
                <a:gd name="T4" fmla="*/ 2147483647 w 27"/>
                <a:gd name="T5" fmla="*/ 0 h 39"/>
                <a:gd name="T6" fmla="*/ 2147483647 w 27"/>
                <a:gd name="T7" fmla="*/ 0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0 w 27"/>
                <a:gd name="T25" fmla="*/ 2147483647 h 39"/>
                <a:gd name="T26" fmla="*/ 2147483647 w 27"/>
                <a:gd name="T27" fmla="*/ 2147483647 h 39"/>
                <a:gd name="T28" fmla="*/ 2147483647 w 27"/>
                <a:gd name="T29" fmla="*/ 2147483647 h 39"/>
                <a:gd name="T30" fmla="*/ 2147483647 w 27"/>
                <a:gd name="T31" fmla="*/ 2147483647 h 39"/>
                <a:gd name="T32" fmla="*/ 2147483647 w 27"/>
                <a:gd name="T33" fmla="*/ 2147483647 h 39"/>
                <a:gd name="T34" fmla="*/ 2147483647 w 27"/>
                <a:gd name="T35" fmla="*/ 2147483647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
                <a:gd name="T55" fmla="*/ 0 h 39"/>
                <a:gd name="T56" fmla="*/ 27 w 27"/>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 h="39">
                  <a:moveTo>
                    <a:pt x="8" y="2"/>
                  </a:moveTo>
                  <a:lnTo>
                    <a:pt x="13" y="0"/>
                  </a:lnTo>
                  <a:lnTo>
                    <a:pt x="16" y="0"/>
                  </a:lnTo>
                  <a:lnTo>
                    <a:pt x="17" y="0"/>
                  </a:lnTo>
                  <a:lnTo>
                    <a:pt x="22" y="2"/>
                  </a:lnTo>
                  <a:lnTo>
                    <a:pt x="26" y="6"/>
                  </a:lnTo>
                  <a:lnTo>
                    <a:pt x="27" y="11"/>
                  </a:lnTo>
                  <a:lnTo>
                    <a:pt x="26" y="13"/>
                  </a:lnTo>
                  <a:lnTo>
                    <a:pt x="26" y="14"/>
                  </a:lnTo>
                  <a:lnTo>
                    <a:pt x="17" y="26"/>
                  </a:lnTo>
                  <a:lnTo>
                    <a:pt x="13" y="33"/>
                  </a:lnTo>
                  <a:lnTo>
                    <a:pt x="10" y="39"/>
                  </a:lnTo>
                  <a:lnTo>
                    <a:pt x="0" y="35"/>
                  </a:lnTo>
                  <a:lnTo>
                    <a:pt x="7" y="21"/>
                  </a:lnTo>
                  <a:lnTo>
                    <a:pt x="9" y="14"/>
                  </a:lnTo>
                  <a:lnTo>
                    <a:pt x="10" y="7"/>
                  </a:lnTo>
                  <a:lnTo>
                    <a:pt x="9" y="5"/>
                  </a:lnTo>
                  <a:lnTo>
                    <a:pt x="8"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2" name="Freeform 661"/>
            <p:cNvSpPr>
              <a:spLocks/>
            </p:cNvSpPr>
            <p:nvPr/>
          </p:nvSpPr>
          <p:spPr bwMode="auto">
            <a:xfrm>
              <a:off x="5205414" y="3351212"/>
              <a:ext cx="44450" cy="127000"/>
            </a:xfrm>
            <a:custGeom>
              <a:avLst/>
              <a:gdLst>
                <a:gd name="T0" fmla="*/ 2147483647 w 31"/>
                <a:gd name="T1" fmla="*/ 2147483647 h 80"/>
                <a:gd name="T2" fmla="*/ 2147483647 w 31"/>
                <a:gd name="T3" fmla="*/ 2147483647 h 80"/>
                <a:gd name="T4" fmla="*/ 2147483647 w 31"/>
                <a:gd name="T5" fmla="*/ 2147483647 h 80"/>
                <a:gd name="T6" fmla="*/ 2147483647 w 31"/>
                <a:gd name="T7" fmla="*/ 2147483647 h 80"/>
                <a:gd name="T8" fmla="*/ 0 w 31"/>
                <a:gd name="T9" fmla="*/ 2147483647 h 80"/>
                <a:gd name="T10" fmla="*/ 0 w 31"/>
                <a:gd name="T11" fmla="*/ 2147483647 h 80"/>
                <a:gd name="T12" fmla="*/ 2147483647 w 31"/>
                <a:gd name="T13" fmla="*/ 2147483647 h 80"/>
                <a:gd name="T14" fmla="*/ 2147483647 w 31"/>
                <a:gd name="T15" fmla="*/ 2147483647 h 80"/>
                <a:gd name="T16" fmla="*/ 2147483647 w 31"/>
                <a:gd name="T17" fmla="*/ 2147483647 h 80"/>
                <a:gd name="T18" fmla="*/ 2147483647 w 31"/>
                <a:gd name="T19" fmla="*/ 2147483647 h 80"/>
                <a:gd name="T20" fmla="*/ 2147483647 w 31"/>
                <a:gd name="T21" fmla="*/ 2147483647 h 80"/>
                <a:gd name="T22" fmla="*/ 2147483647 w 31"/>
                <a:gd name="T23" fmla="*/ 2147483647 h 80"/>
                <a:gd name="T24" fmla="*/ 2147483647 w 31"/>
                <a:gd name="T25" fmla="*/ 0 h 80"/>
                <a:gd name="T26" fmla="*/ 2147483647 w 31"/>
                <a:gd name="T27" fmla="*/ 2147483647 h 80"/>
                <a:gd name="T28" fmla="*/ 2147483647 w 31"/>
                <a:gd name="T29" fmla="*/ 2147483647 h 80"/>
                <a:gd name="T30" fmla="*/ 2147483647 w 31"/>
                <a:gd name="T31" fmla="*/ 2147483647 h 80"/>
                <a:gd name="T32" fmla="*/ 2147483647 w 31"/>
                <a:gd name="T33" fmla="*/ 2147483647 h 80"/>
                <a:gd name="T34" fmla="*/ 2147483647 w 31"/>
                <a:gd name="T35" fmla="*/ 2147483647 h 80"/>
                <a:gd name="T36" fmla="*/ 2147483647 w 31"/>
                <a:gd name="T37" fmla="*/ 2147483647 h 80"/>
                <a:gd name="T38" fmla="*/ 2147483647 w 31"/>
                <a:gd name="T39" fmla="*/ 2147483647 h 80"/>
                <a:gd name="T40" fmla="*/ 2147483647 w 31"/>
                <a:gd name="T41" fmla="*/ 2147483647 h 80"/>
                <a:gd name="T42" fmla="*/ 2147483647 w 31"/>
                <a:gd name="T43" fmla="*/ 2147483647 h 80"/>
                <a:gd name="T44" fmla="*/ 2147483647 w 31"/>
                <a:gd name="T45" fmla="*/ 2147483647 h 80"/>
                <a:gd name="T46" fmla="*/ 2147483647 w 31"/>
                <a:gd name="T47" fmla="*/ 2147483647 h 80"/>
                <a:gd name="T48" fmla="*/ 2147483647 w 31"/>
                <a:gd name="T49" fmla="*/ 2147483647 h 80"/>
                <a:gd name="T50" fmla="*/ 2147483647 w 31"/>
                <a:gd name="T51" fmla="*/ 2147483647 h 80"/>
                <a:gd name="T52" fmla="*/ 2147483647 w 31"/>
                <a:gd name="T53" fmla="*/ 2147483647 h 80"/>
                <a:gd name="T54" fmla="*/ 2147483647 w 31"/>
                <a:gd name="T55" fmla="*/ 2147483647 h 80"/>
                <a:gd name="T56" fmla="*/ 2147483647 w 31"/>
                <a:gd name="T57" fmla="*/ 2147483647 h 80"/>
                <a:gd name="T58" fmla="*/ 2147483647 w 31"/>
                <a:gd name="T59" fmla="*/ 2147483647 h 80"/>
                <a:gd name="T60" fmla="*/ 2147483647 w 31"/>
                <a:gd name="T61" fmla="*/ 2147483647 h 80"/>
                <a:gd name="T62" fmla="*/ 2147483647 w 31"/>
                <a:gd name="T63" fmla="*/ 2147483647 h 80"/>
                <a:gd name="T64" fmla="*/ 2147483647 w 31"/>
                <a:gd name="T65" fmla="*/ 2147483647 h 80"/>
                <a:gd name="T66" fmla="*/ 2147483647 w 31"/>
                <a:gd name="T67" fmla="*/ 2147483647 h 80"/>
                <a:gd name="T68" fmla="*/ 2147483647 w 31"/>
                <a:gd name="T69" fmla="*/ 2147483647 h 80"/>
                <a:gd name="T70" fmla="*/ 2147483647 w 31"/>
                <a:gd name="T71" fmla="*/ 2147483647 h 80"/>
                <a:gd name="T72" fmla="*/ 2147483647 w 31"/>
                <a:gd name="T73" fmla="*/ 2147483647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
                <a:gd name="T112" fmla="*/ 0 h 80"/>
                <a:gd name="T113" fmla="*/ 31 w 31"/>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 h="80">
                  <a:moveTo>
                    <a:pt x="16" y="80"/>
                  </a:moveTo>
                  <a:lnTo>
                    <a:pt x="11" y="67"/>
                  </a:lnTo>
                  <a:lnTo>
                    <a:pt x="5" y="55"/>
                  </a:lnTo>
                  <a:lnTo>
                    <a:pt x="1" y="48"/>
                  </a:lnTo>
                  <a:lnTo>
                    <a:pt x="0" y="44"/>
                  </a:lnTo>
                  <a:lnTo>
                    <a:pt x="0" y="40"/>
                  </a:lnTo>
                  <a:lnTo>
                    <a:pt x="1" y="40"/>
                  </a:lnTo>
                  <a:lnTo>
                    <a:pt x="4" y="38"/>
                  </a:lnTo>
                  <a:lnTo>
                    <a:pt x="7" y="34"/>
                  </a:lnTo>
                  <a:lnTo>
                    <a:pt x="11" y="27"/>
                  </a:lnTo>
                  <a:lnTo>
                    <a:pt x="16" y="15"/>
                  </a:lnTo>
                  <a:lnTo>
                    <a:pt x="20" y="3"/>
                  </a:lnTo>
                  <a:lnTo>
                    <a:pt x="21" y="0"/>
                  </a:lnTo>
                  <a:lnTo>
                    <a:pt x="31" y="4"/>
                  </a:lnTo>
                  <a:lnTo>
                    <a:pt x="30" y="9"/>
                  </a:lnTo>
                  <a:lnTo>
                    <a:pt x="29" y="16"/>
                  </a:lnTo>
                  <a:lnTo>
                    <a:pt x="28" y="17"/>
                  </a:lnTo>
                  <a:lnTo>
                    <a:pt x="25" y="18"/>
                  </a:lnTo>
                  <a:lnTo>
                    <a:pt x="24" y="19"/>
                  </a:lnTo>
                  <a:lnTo>
                    <a:pt x="23" y="21"/>
                  </a:lnTo>
                  <a:lnTo>
                    <a:pt x="21" y="25"/>
                  </a:lnTo>
                  <a:lnTo>
                    <a:pt x="19" y="29"/>
                  </a:lnTo>
                  <a:lnTo>
                    <a:pt x="14" y="37"/>
                  </a:lnTo>
                  <a:lnTo>
                    <a:pt x="12" y="38"/>
                  </a:lnTo>
                  <a:lnTo>
                    <a:pt x="14" y="41"/>
                  </a:lnTo>
                  <a:lnTo>
                    <a:pt x="15" y="42"/>
                  </a:lnTo>
                  <a:lnTo>
                    <a:pt x="18" y="42"/>
                  </a:lnTo>
                  <a:lnTo>
                    <a:pt x="20" y="42"/>
                  </a:lnTo>
                  <a:lnTo>
                    <a:pt x="23" y="42"/>
                  </a:lnTo>
                  <a:lnTo>
                    <a:pt x="24" y="43"/>
                  </a:lnTo>
                  <a:lnTo>
                    <a:pt x="25" y="46"/>
                  </a:lnTo>
                  <a:lnTo>
                    <a:pt x="25" y="48"/>
                  </a:lnTo>
                  <a:lnTo>
                    <a:pt x="25" y="50"/>
                  </a:lnTo>
                  <a:lnTo>
                    <a:pt x="21" y="57"/>
                  </a:lnTo>
                  <a:lnTo>
                    <a:pt x="20" y="64"/>
                  </a:lnTo>
                  <a:lnTo>
                    <a:pt x="19" y="73"/>
                  </a:lnTo>
                  <a:lnTo>
                    <a:pt x="16" y="8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3" name="Freeform 662"/>
            <p:cNvSpPr>
              <a:spLocks/>
            </p:cNvSpPr>
            <p:nvPr/>
          </p:nvSpPr>
          <p:spPr bwMode="auto">
            <a:xfrm>
              <a:off x="5233989" y="3294067"/>
              <a:ext cx="39687" cy="61911"/>
            </a:xfrm>
            <a:custGeom>
              <a:avLst/>
              <a:gdLst>
                <a:gd name="T0" fmla="*/ 2147483647 w 27"/>
                <a:gd name="T1" fmla="*/ 2147483647 h 39"/>
                <a:gd name="T2" fmla="*/ 2147483647 w 27"/>
                <a:gd name="T3" fmla="*/ 2147483647 h 39"/>
                <a:gd name="T4" fmla="*/ 2147483647 w 27"/>
                <a:gd name="T5" fmla="*/ 0 h 39"/>
                <a:gd name="T6" fmla="*/ 2147483647 w 27"/>
                <a:gd name="T7" fmla="*/ 0 h 39"/>
                <a:gd name="T8" fmla="*/ 2147483647 w 27"/>
                <a:gd name="T9" fmla="*/ 0 h 39"/>
                <a:gd name="T10" fmla="*/ 2147483647 w 27"/>
                <a:gd name="T11" fmla="*/ 0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2147483647 w 27"/>
                <a:gd name="T27" fmla="*/ 2147483647 h 39"/>
                <a:gd name="T28" fmla="*/ 2147483647 w 27"/>
                <a:gd name="T29" fmla="*/ 2147483647 h 39"/>
                <a:gd name="T30" fmla="*/ 2147483647 w 27"/>
                <a:gd name="T31" fmla="*/ 2147483647 h 39"/>
                <a:gd name="T32" fmla="*/ 0 w 27"/>
                <a:gd name="T33" fmla="*/ 2147483647 h 39"/>
                <a:gd name="T34" fmla="*/ 0 w 27"/>
                <a:gd name="T35" fmla="*/ 2147483647 h 39"/>
                <a:gd name="T36" fmla="*/ 2147483647 w 27"/>
                <a:gd name="T37" fmla="*/ 2147483647 h 39"/>
                <a:gd name="T38" fmla="*/ 2147483647 w 27"/>
                <a:gd name="T39" fmla="*/ 2147483647 h 39"/>
                <a:gd name="T40" fmla="*/ 2147483647 w 27"/>
                <a:gd name="T41" fmla="*/ 2147483647 h 39"/>
                <a:gd name="T42" fmla="*/ 2147483647 w 27"/>
                <a:gd name="T43" fmla="*/ 2147483647 h 39"/>
                <a:gd name="T44" fmla="*/ 2147483647 w 27"/>
                <a:gd name="T45" fmla="*/ 2147483647 h 39"/>
                <a:gd name="T46" fmla="*/ 2147483647 w 27"/>
                <a:gd name="T47" fmla="*/ 2147483647 h 39"/>
                <a:gd name="T48" fmla="*/ 2147483647 w 27"/>
                <a:gd name="T49" fmla="*/ 2147483647 h 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39"/>
                <a:gd name="T77" fmla="*/ 27 w 27"/>
                <a:gd name="T78" fmla="*/ 39 h 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39">
                  <a:moveTo>
                    <a:pt x="8" y="2"/>
                  </a:moveTo>
                  <a:lnTo>
                    <a:pt x="8" y="2"/>
                  </a:lnTo>
                  <a:lnTo>
                    <a:pt x="13" y="0"/>
                  </a:lnTo>
                  <a:lnTo>
                    <a:pt x="15" y="0"/>
                  </a:lnTo>
                  <a:lnTo>
                    <a:pt x="17" y="0"/>
                  </a:lnTo>
                  <a:lnTo>
                    <a:pt x="22" y="2"/>
                  </a:lnTo>
                  <a:lnTo>
                    <a:pt x="25" y="6"/>
                  </a:lnTo>
                  <a:lnTo>
                    <a:pt x="27" y="10"/>
                  </a:lnTo>
                  <a:lnTo>
                    <a:pt x="25" y="13"/>
                  </a:lnTo>
                  <a:lnTo>
                    <a:pt x="25" y="14"/>
                  </a:lnTo>
                  <a:lnTo>
                    <a:pt x="17" y="26"/>
                  </a:lnTo>
                  <a:lnTo>
                    <a:pt x="13" y="33"/>
                  </a:lnTo>
                  <a:lnTo>
                    <a:pt x="10" y="39"/>
                  </a:lnTo>
                  <a:lnTo>
                    <a:pt x="0" y="35"/>
                  </a:lnTo>
                  <a:lnTo>
                    <a:pt x="6" y="21"/>
                  </a:lnTo>
                  <a:lnTo>
                    <a:pt x="9" y="14"/>
                  </a:lnTo>
                  <a:lnTo>
                    <a:pt x="10" y="7"/>
                  </a:lnTo>
                  <a:lnTo>
                    <a:pt x="9" y="4"/>
                  </a:lnTo>
                  <a:lnTo>
                    <a:pt x="8"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4" name="Freeform 663"/>
            <p:cNvSpPr>
              <a:spLocks/>
            </p:cNvSpPr>
            <p:nvPr/>
          </p:nvSpPr>
          <p:spPr bwMode="auto">
            <a:xfrm>
              <a:off x="5202240" y="3349625"/>
              <a:ext cx="46037" cy="127000"/>
            </a:xfrm>
            <a:custGeom>
              <a:avLst/>
              <a:gdLst>
                <a:gd name="T0" fmla="*/ 2147483647 w 32"/>
                <a:gd name="T1" fmla="*/ 2147483647 h 80"/>
                <a:gd name="T2" fmla="*/ 2147483647 w 32"/>
                <a:gd name="T3" fmla="*/ 2147483647 h 80"/>
                <a:gd name="T4" fmla="*/ 2147483647 w 32"/>
                <a:gd name="T5" fmla="*/ 2147483647 h 80"/>
                <a:gd name="T6" fmla="*/ 2147483647 w 32"/>
                <a:gd name="T7" fmla="*/ 2147483647 h 80"/>
                <a:gd name="T8" fmla="*/ 2147483647 w 32"/>
                <a:gd name="T9" fmla="*/ 2147483647 h 80"/>
                <a:gd name="T10" fmla="*/ 2147483647 w 32"/>
                <a:gd name="T11" fmla="*/ 2147483647 h 80"/>
                <a:gd name="T12" fmla="*/ 2147483647 w 32"/>
                <a:gd name="T13" fmla="*/ 2147483647 h 80"/>
                <a:gd name="T14" fmla="*/ 2147483647 w 32"/>
                <a:gd name="T15" fmla="*/ 2147483647 h 80"/>
                <a:gd name="T16" fmla="*/ 0 w 32"/>
                <a:gd name="T17" fmla="*/ 2147483647 h 80"/>
                <a:gd name="T18" fmla="*/ 0 w 32"/>
                <a:gd name="T19" fmla="*/ 2147483647 h 80"/>
                <a:gd name="T20" fmla="*/ 0 w 32"/>
                <a:gd name="T21" fmla="*/ 2147483647 h 80"/>
                <a:gd name="T22" fmla="*/ 2147483647 w 32"/>
                <a:gd name="T23" fmla="*/ 2147483647 h 80"/>
                <a:gd name="T24" fmla="*/ 2147483647 w 32"/>
                <a:gd name="T25" fmla="*/ 2147483647 h 80"/>
                <a:gd name="T26" fmla="*/ 2147483647 w 32"/>
                <a:gd name="T27" fmla="*/ 2147483647 h 80"/>
                <a:gd name="T28" fmla="*/ 2147483647 w 32"/>
                <a:gd name="T29" fmla="*/ 2147483647 h 80"/>
                <a:gd name="T30" fmla="*/ 2147483647 w 32"/>
                <a:gd name="T31" fmla="*/ 2147483647 h 80"/>
                <a:gd name="T32" fmla="*/ 2147483647 w 32"/>
                <a:gd name="T33" fmla="*/ 2147483647 h 80"/>
                <a:gd name="T34" fmla="*/ 2147483647 w 32"/>
                <a:gd name="T35" fmla="*/ 2147483647 h 80"/>
                <a:gd name="T36" fmla="*/ 2147483647 w 32"/>
                <a:gd name="T37" fmla="*/ 2147483647 h 80"/>
                <a:gd name="T38" fmla="*/ 2147483647 w 32"/>
                <a:gd name="T39" fmla="*/ 0 h 80"/>
                <a:gd name="T40" fmla="*/ 2147483647 w 32"/>
                <a:gd name="T41" fmla="*/ 0 h 80"/>
                <a:gd name="T42" fmla="*/ 2147483647 w 32"/>
                <a:gd name="T43" fmla="*/ 2147483647 h 80"/>
                <a:gd name="T44" fmla="*/ 2147483647 w 32"/>
                <a:gd name="T45" fmla="*/ 2147483647 h 80"/>
                <a:gd name="T46" fmla="*/ 2147483647 w 32"/>
                <a:gd name="T47" fmla="*/ 2147483647 h 80"/>
                <a:gd name="T48" fmla="*/ 2147483647 w 32"/>
                <a:gd name="T49" fmla="*/ 2147483647 h 80"/>
                <a:gd name="T50" fmla="*/ 2147483647 w 32"/>
                <a:gd name="T51" fmla="*/ 2147483647 h 80"/>
                <a:gd name="T52" fmla="*/ 2147483647 w 32"/>
                <a:gd name="T53" fmla="*/ 2147483647 h 80"/>
                <a:gd name="T54" fmla="*/ 2147483647 w 32"/>
                <a:gd name="T55" fmla="*/ 2147483647 h 80"/>
                <a:gd name="T56" fmla="*/ 2147483647 w 32"/>
                <a:gd name="T57" fmla="*/ 2147483647 h 80"/>
                <a:gd name="T58" fmla="*/ 2147483647 w 32"/>
                <a:gd name="T59" fmla="*/ 2147483647 h 80"/>
                <a:gd name="T60" fmla="*/ 2147483647 w 32"/>
                <a:gd name="T61" fmla="*/ 2147483647 h 80"/>
                <a:gd name="T62" fmla="*/ 2147483647 w 32"/>
                <a:gd name="T63" fmla="*/ 2147483647 h 80"/>
                <a:gd name="T64" fmla="*/ 2147483647 w 32"/>
                <a:gd name="T65" fmla="*/ 2147483647 h 80"/>
                <a:gd name="T66" fmla="*/ 2147483647 w 32"/>
                <a:gd name="T67" fmla="*/ 2147483647 h 80"/>
                <a:gd name="T68" fmla="*/ 2147483647 w 32"/>
                <a:gd name="T69" fmla="*/ 2147483647 h 80"/>
                <a:gd name="T70" fmla="*/ 2147483647 w 32"/>
                <a:gd name="T71" fmla="*/ 2147483647 h 80"/>
                <a:gd name="T72" fmla="*/ 2147483647 w 32"/>
                <a:gd name="T73" fmla="*/ 2147483647 h 80"/>
                <a:gd name="T74" fmla="*/ 2147483647 w 32"/>
                <a:gd name="T75" fmla="*/ 2147483647 h 80"/>
                <a:gd name="T76" fmla="*/ 2147483647 w 32"/>
                <a:gd name="T77" fmla="*/ 2147483647 h 80"/>
                <a:gd name="T78" fmla="*/ 2147483647 w 32"/>
                <a:gd name="T79" fmla="*/ 2147483647 h 80"/>
                <a:gd name="T80" fmla="*/ 2147483647 w 32"/>
                <a:gd name="T81" fmla="*/ 2147483647 h 80"/>
                <a:gd name="T82" fmla="*/ 2147483647 w 32"/>
                <a:gd name="T83" fmla="*/ 2147483647 h 80"/>
                <a:gd name="T84" fmla="*/ 2147483647 w 32"/>
                <a:gd name="T85" fmla="*/ 2147483647 h 80"/>
                <a:gd name="T86" fmla="*/ 2147483647 w 32"/>
                <a:gd name="T87" fmla="*/ 2147483647 h 80"/>
                <a:gd name="T88" fmla="*/ 2147483647 w 32"/>
                <a:gd name="T89" fmla="*/ 2147483647 h 80"/>
                <a:gd name="T90" fmla="*/ 2147483647 w 32"/>
                <a:gd name="T91" fmla="*/ 2147483647 h 80"/>
                <a:gd name="T92" fmla="*/ 2147483647 w 32"/>
                <a:gd name="T93" fmla="*/ 2147483647 h 80"/>
                <a:gd name="T94" fmla="*/ 2147483647 w 32"/>
                <a:gd name="T95" fmla="*/ 2147483647 h 80"/>
                <a:gd name="T96" fmla="*/ 2147483647 w 32"/>
                <a:gd name="T97" fmla="*/ 2147483647 h 80"/>
                <a:gd name="T98" fmla="*/ 2147483647 w 32"/>
                <a:gd name="T99" fmla="*/ 2147483647 h 80"/>
                <a:gd name="T100" fmla="*/ 2147483647 w 32"/>
                <a:gd name="T101" fmla="*/ 2147483647 h 80"/>
                <a:gd name="T102" fmla="*/ 2147483647 w 32"/>
                <a:gd name="T103" fmla="*/ 2147483647 h 80"/>
                <a:gd name="T104" fmla="*/ 2147483647 w 32"/>
                <a:gd name="T105" fmla="*/ 2147483647 h 80"/>
                <a:gd name="T106" fmla="*/ 2147483647 w 32"/>
                <a:gd name="T107" fmla="*/ 2147483647 h 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
                <a:gd name="T163" fmla="*/ 0 h 80"/>
                <a:gd name="T164" fmla="*/ 32 w 32"/>
                <a:gd name="T165" fmla="*/ 80 h 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 h="80">
                  <a:moveTo>
                    <a:pt x="17" y="80"/>
                  </a:moveTo>
                  <a:lnTo>
                    <a:pt x="17" y="80"/>
                  </a:lnTo>
                  <a:lnTo>
                    <a:pt x="12" y="67"/>
                  </a:lnTo>
                  <a:lnTo>
                    <a:pt x="6" y="55"/>
                  </a:lnTo>
                  <a:lnTo>
                    <a:pt x="2" y="48"/>
                  </a:lnTo>
                  <a:lnTo>
                    <a:pt x="0" y="44"/>
                  </a:lnTo>
                  <a:lnTo>
                    <a:pt x="0" y="39"/>
                  </a:lnTo>
                  <a:lnTo>
                    <a:pt x="2" y="39"/>
                  </a:lnTo>
                  <a:lnTo>
                    <a:pt x="4" y="38"/>
                  </a:lnTo>
                  <a:lnTo>
                    <a:pt x="8" y="33"/>
                  </a:lnTo>
                  <a:lnTo>
                    <a:pt x="12" y="26"/>
                  </a:lnTo>
                  <a:lnTo>
                    <a:pt x="17" y="15"/>
                  </a:lnTo>
                  <a:lnTo>
                    <a:pt x="21" y="3"/>
                  </a:lnTo>
                  <a:lnTo>
                    <a:pt x="22" y="0"/>
                  </a:lnTo>
                  <a:lnTo>
                    <a:pt x="32" y="4"/>
                  </a:lnTo>
                  <a:lnTo>
                    <a:pt x="31" y="9"/>
                  </a:lnTo>
                  <a:lnTo>
                    <a:pt x="30" y="16"/>
                  </a:lnTo>
                  <a:lnTo>
                    <a:pt x="28" y="17"/>
                  </a:lnTo>
                  <a:lnTo>
                    <a:pt x="26" y="18"/>
                  </a:lnTo>
                  <a:lnTo>
                    <a:pt x="25" y="19"/>
                  </a:lnTo>
                  <a:lnTo>
                    <a:pt x="23" y="20"/>
                  </a:lnTo>
                  <a:lnTo>
                    <a:pt x="22" y="25"/>
                  </a:lnTo>
                  <a:lnTo>
                    <a:pt x="20" y="29"/>
                  </a:lnTo>
                  <a:lnTo>
                    <a:pt x="14" y="37"/>
                  </a:lnTo>
                  <a:lnTo>
                    <a:pt x="13" y="38"/>
                  </a:lnTo>
                  <a:lnTo>
                    <a:pt x="14" y="41"/>
                  </a:lnTo>
                  <a:lnTo>
                    <a:pt x="16" y="42"/>
                  </a:lnTo>
                  <a:lnTo>
                    <a:pt x="18" y="42"/>
                  </a:lnTo>
                  <a:lnTo>
                    <a:pt x="21" y="42"/>
                  </a:lnTo>
                  <a:lnTo>
                    <a:pt x="23" y="42"/>
                  </a:lnTo>
                  <a:lnTo>
                    <a:pt x="25" y="43"/>
                  </a:lnTo>
                  <a:lnTo>
                    <a:pt x="26" y="45"/>
                  </a:lnTo>
                  <a:lnTo>
                    <a:pt x="26" y="48"/>
                  </a:lnTo>
                  <a:lnTo>
                    <a:pt x="26" y="50"/>
                  </a:lnTo>
                  <a:lnTo>
                    <a:pt x="22" y="57"/>
                  </a:lnTo>
                  <a:lnTo>
                    <a:pt x="21" y="64"/>
                  </a:lnTo>
                  <a:lnTo>
                    <a:pt x="20" y="73"/>
                  </a:lnTo>
                  <a:lnTo>
                    <a:pt x="17" y="8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5" name="Freeform 664"/>
            <p:cNvSpPr>
              <a:spLocks/>
            </p:cNvSpPr>
            <p:nvPr/>
          </p:nvSpPr>
          <p:spPr bwMode="auto">
            <a:xfrm>
              <a:off x="5222875" y="3365504"/>
              <a:ext cx="95250" cy="115888"/>
            </a:xfrm>
            <a:custGeom>
              <a:avLst/>
              <a:gdLst>
                <a:gd name="T0" fmla="*/ 2147483647 w 65"/>
                <a:gd name="T1" fmla="*/ 0 h 73"/>
                <a:gd name="T2" fmla="*/ 2147483647 w 65"/>
                <a:gd name="T3" fmla="*/ 2147483647 h 73"/>
                <a:gd name="T4" fmla="*/ 2147483647 w 65"/>
                <a:gd name="T5" fmla="*/ 2147483647 h 73"/>
                <a:gd name="T6" fmla="*/ 2147483647 w 65"/>
                <a:gd name="T7" fmla="*/ 2147483647 h 73"/>
                <a:gd name="T8" fmla="*/ 2147483647 w 65"/>
                <a:gd name="T9" fmla="*/ 2147483647 h 73"/>
                <a:gd name="T10" fmla="*/ 2147483647 w 65"/>
                <a:gd name="T11" fmla="*/ 2147483647 h 73"/>
                <a:gd name="T12" fmla="*/ 2147483647 w 65"/>
                <a:gd name="T13" fmla="*/ 2147483647 h 73"/>
                <a:gd name="T14" fmla="*/ 2147483647 w 65"/>
                <a:gd name="T15" fmla="*/ 2147483647 h 73"/>
                <a:gd name="T16" fmla="*/ 2147483647 w 65"/>
                <a:gd name="T17" fmla="*/ 2147483647 h 73"/>
                <a:gd name="T18" fmla="*/ 0 w 65"/>
                <a:gd name="T19" fmla="*/ 2147483647 h 73"/>
                <a:gd name="T20" fmla="*/ 2147483647 w 65"/>
                <a:gd name="T21" fmla="*/ 2147483647 h 73"/>
                <a:gd name="T22" fmla="*/ 2147483647 w 65"/>
                <a:gd name="T23" fmla="*/ 2147483647 h 73"/>
                <a:gd name="T24" fmla="*/ 2147483647 w 65"/>
                <a:gd name="T25" fmla="*/ 2147483647 h 73"/>
                <a:gd name="T26" fmla="*/ 2147483647 w 65"/>
                <a:gd name="T27" fmla="*/ 2147483647 h 73"/>
                <a:gd name="T28" fmla="*/ 2147483647 w 65"/>
                <a:gd name="T29" fmla="*/ 2147483647 h 73"/>
                <a:gd name="T30" fmla="*/ 2147483647 w 65"/>
                <a:gd name="T31" fmla="*/ 2147483647 h 73"/>
                <a:gd name="T32" fmla="*/ 2147483647 w 65"/>
                <a:gd name="T33" fmla="*/ 2147483647 h 73"/>
                <a:gd name="T34" fmla="*/ 2147483647 w 65"/>
                <a:gd name="T35" fmla="*/ 2147483647 h 73"/>
                <a:gd name="T36" fmla="*/ 2147483647 w 65"/>
                <a:gd name="T37" fmla="*/ 2147483647 h 73"/>
                <a:gd name="T38" fmla="*/ 2147483647 w 65"/>
                <a:gd name="T39" fmla="*/ 2147483647 h 73"/>
                <a:gd name="T40" fmla="*/ 2147483647 w 65"/>
                <a:gd name="T41" fmla="*/ 2147483647 h 73"/>
                <a:gd name="T42" fmla="*/ 2147483647 w 65"/>
                <a:gd name="T43" fmla="*/ 2147483647 h 73"/>
                <a:gd name="T44" fmla="*/ 2147483647 w 65"/>
                <a:gd name="T45" fmla="*/ 2147483647 h 73"/>
                <a:gd name="T46" fmla="*/ 2147483647 w 65"/>
                <a:gd name="T47" fmla="*/ 2147483647 h 73"/>
                <a:gd name="T48" fmla="*/ 2147483647 w 65"/>
                <a:gd name="T49" fmla="*/ 2147483647 h 73"/>
                <a:gd name="T50" fmla="*/ 2147483647 w 65"/>
                <a:gd name="T51" fmla="*/ 2147483647 h 73"/>
                <a:gd name="T52" fmla="*/ 2147483647 w 65"/>
                <a:gd name="T53" fmla="*/ 2147483647 h 73"/>
                <a:gd name="T54" fmla="*/ 2147483647 w 65"/>
                <a:gd name="T55" fmla="*/ 2147483647 h 73"/>
                <a:gd name="T56" fmla="*/ 2147483647 w 65"/>
                <a:gd name="T57" fmla="*/ 2147483647 h 73"/>
                <a:gd name="T58" fmla="*/ 2147483647 w 65"/>
                <a:gd name="T59" fmla="*/ 2147483647 h 73"/>
                <a:gd name="T60" fmla="*/ 2147483647 w 65"/>
                <a:gd name="T61" fmla="*/ 2147483647 h 73"/>
                <a:gd name="T62" fmla="*/ 2147483647 w 65"/>
                <a:gd name="T63" fmla="*/ 2147483647 h 73"/>
                <a:gd name="T64" fmla="*/ 2147483647 w 65"/>
                <a:gd name="T65" fmla="*/ 2147483647 h 73"/>
                <a:gd name="T66" fmla="*/ 2147483647 w 65"/>
                <a:gd name="T67" fmla="*/ 2147483647 h 73"/>
                <a:gd name="T68" fmla="*/ 2147483647 w 65"/>
                <a:gd name="T69" fmla="*/ 2147483647 h 73"/>
                <a:gd name="T70" fmla="*/ 2147483647 w 65"/>
                <a:gd name="T71" fmla="*/ 2147483647 h 73"/>
                <a:gd name="T72" fmla="*/ 2147483647 w 65"/>
                <a:gd name="T73" fmla="*/ 2147483647 h 73"/>
                <a:gd name="T74" fmla="*/ 2147483647 w 65"/>
                <a:gd name="T75" fmla="*/ 2147483647 h 73"/>
                <a:gd name="T76" fmla="*/ 2147483647 w 65"/>
                <a:gd name="T77" fmla="*/ 2147483647 h 73"/>
                <a:gd name="T78" fmla="*/ 2147483647 w 65"/>
                <a:gd name="T79" fmla="*/ 2147483647 h 73"/>
                <a:gd name="T80" fmla="*/ 2147483647 w 65"/>
                <a:gd name="T81" fmla="*/ 2147483647 h 73"/>
                <a:gd name="T82" fmla="*/ 2147483647 w 65"/>
                <a:gd name="T83" fmla="*/ 2147483647 h 73"/>
                <a:gd name="T84" fmla="*/ 2147483647 w 65"/>
                <a:gd name="T85" fmla="*/ 2147483647 h 73"/>
                <a:gd name="T86" fmla="*/ 2147483647 w 65"/>
                <a:gd name="T87" fmla="*/ 2147483647 h 73"/>
                <a:gd name="T88" fmla="*/ 2147483647 w 65"/>
                <a:gd name="T89" fmla="*/ 2147483647 h 73"/>
                <a:gd name="T90" fmla="*/ 2147483647 w 65"/>
                <a:gd name="T91" fmla="*/ 2147483647 h 73"/>
                <a:gd name="T92" fmla="*/ 2147483647 w 65"/>
                <a:gd name="T93" fmla="*/ 0 h 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5"/>
                <a:gd name="T142" fmla="*/ 0 h 73"/>
                <a:gd name="T143" fmla="*/ 65 w 65"/>
                <a:gd name="T144" fmla="*/ 73 h 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5" h="73">
                  <a:moveTo>
                    <a:pt x="18" y="0"/>
                  </a:moveTo>
                  <a:lnTo>
                    <a:pt x="17" y="7"/>
                  </a:lnTo>
                  <a:lnTo>
                    <a:pt x="16" y="8"/>
                  </a:lnTo>
                  <a:lnTo>
                    <a:pt x="13" y="9"/>
                  </a:lnTo>
                  <a:lnTo>
                    <a:pt x="12" y="10"/>
                  </a:lnTo>
                  <a:lnTo>
                    <a:pt x="11" y="12"/>
                  </a:lnTo>
                  <a:lnTo>
                    <a:pt x="9" y="16"/>
                  </a:lnTo>
                  <a:lnTo>
                    <a:pt x="7" y="20"/>
                  </a:lnTo>
                  <a:lnTo>
                    <a:pt x="2" y="28"/>
                  </a:lnTo>
                  <a:lnTo>
                    <a:pt x="0" y="29"/>
                  </a:lnTo>
                  <a:lnTo>
                    <a:pt x="2" y="32"/>
                  </a:lnTo>
                  <a:lnTo>
                    <a:pt x="3" y="33"/>
                  </a:lnTo>
                  <a:lnTo>
                    <a:pt x="6" y="33"/>
                  </a:lnTo>
                  <a:lnTo>
                    <a:pt x="8" y="33"/>
                  </a:lnTo>
                  <a:lnTo>
                    <a:pt x="11" y="33"/>
                  </a:lnTo>
                  <a:lnTo>
                    <a:pt x="12" y="34"/>
                  </a:lnTo>
                  <a:lnTo>
                    <a:pt x="13" y="37"/>
                  </a:lnTo>
                  <a:lnTo>
                    <a:pt x="13" y="39"/>
                  </a:lnTo>
                  <a:lnTo>
                    <a:pt x="13" y="41"/>
                  </a:lnTo>
                  <a:lnTo>
                    <a:pt x="9" y="48"/>
                  </a:lnTo>
                  <a:lnTo>
                    <a:pt x="8" y="55"/>
                  </a:lnTo>
                  <a:lnTo>
                    <a:pt x="7" y="64"/>
                  </a:lnTo>
                  <a:lnTo>
                    <a:pt x="4" y="71"/>
                  </a:lnTo>
                  <a:lnTo>
                    <a:pt x="9" y="70"/>
                  </a:lnTo>
                  <a:lnTo>
                    <a:pt x="13" y="70"/>
                  </a:lnTo>
                  <a:lnTo>
                    <a:pt x="22" y="72"/>
                  </a:lnTo>
                  <a:lnTo>
                    <a:pt x="26" y="73"/>
                  </a:lnTo>
                  <a:lnTo>
                    <a:pt x="28" y="72"/>
                  </a:lnTo>
                  <a:lnTo>
                    <a:pt x="39" y="63"/>
                  </a:lnTo>
                  <a:lnTo>
                    <a:pt x="49" y="54"/>
                  </a:lnTo>
                  <a:lnTo>
                    <a:pt x="39" y="45"/>
                  </a:lnTo>
                  <a:lnTo>
                    <a:pt x="32" y="40"/>
                  </a:lnTo>
                  <a:lnTo>
                    <a:pt x="31" y="38"/>
                  </a:lnTo>
                  <a:lnTo>
                    <a:pt x="31" y="37"/>
                  </a:lnTo>
                  <a:lnTo>
                    <a:pt x="32" y="34"/>
                  </a:lnTo>
                  <a:lnTo>
                    <a:pt x="35" y="33"/>
                  </a:lnTo>
                  <a:lnTo>
                    <a:pt x="44" y="29"/>
                  </a:lnTo>
                  <a:lnTo>
                    <a:pt x="54" y="27"/>
                  </a:lnTo>
                  <a:lnTo>
                    <a:pt x="65" y="26"/>
                  </a:lnTo>
                  <a:lnTo>
                    <a:pt x="58" y="13"/>
                  </a:lnTo>
                  <a:lnTo>
                    <a:pt x="54" y="7"/>
                  </a:lnTo>
                  <a:lnTo>
                    <a:pt x="49" y="1"/>
                  </a:lnTo>
                  <a:lnTo>
                    <a:pt x="42" y="5"/>
                  </a:lnTo>
                  <a:lnTo>
                    <a:pt x="36" y="8"/>
                  </a:lnTo>
                  <a:lnTo>
                    <a:pt x="33" y="8"/>
                  </a:lnTo>
                  <a:lnTo>
                    <a:pt x="30" y="7"/>
                  </a:lnTo>
                  <a:lnTo>
                    <a:pt x="18"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6" name="Freeform 665"/>
            <p:cNvSpPr>
              <a:spLocks/>
            </p:cNvSpPr>
            <p:nvPr/>
          </p:nvSpPr>
          <p:spPr bwMode="auto">
            <a:xfrm>
              <a:off x="4973638" y="3397254"/>
              <a:ext cx="279400" cy="334963"/>
            </a:xfrm>
            <a:custGeom>
              <a:avLst/>
              <a:gdLst>
                <a:gd name="T0" fmla="*/ 2147483647 w 191"/>
                <a:gd name="T1" fmla="*/ 2147483647 h 211"/>
                <a:gd name="T2" fmla="*/ 2147483647 w 191"/>
                <a:gd name="T3" fmla="*/ 2147483647 h 211"/>
                <a:gd name="T4" fmla="*/ 2147483647 w 191"/>
                <a:gd name="T5" fmla="*/ 2147483647 h 211"/>
                <a:gd name="T6" fmla="*/ 2147483647 w 191"/>
                <a:gd name="T7" fmla="*/ 2147483647 h 211"/>
                <a:gd name="T8" fmla="*/ 2147483647 w 191"/>
                <a:gd name="T9" fmla="*/ 2147483647 h 211"/>
                <a:gd name="T10" fmla="*/ 0 w 191"/>
                <a:gd name="T11" fmla="*/ 2147483647 h 211"/>
                <a:gd name="T12" fmla="*/ 2147483647 w 191"/>
                <a:gd name="T13" fmla="*/ 0 h 211"/>
                <a:gd name="T14" fmla="*/ 2147483647 w 191"/>
                <a:gd name="T15" fmla="*/ 2147483647 h 211"/>
                <a:gd name="T16" fmla="*/ 2147483647 w 191"/>
                <a:gd name="T17" fmla="*/ 2147483647 h 211"/>
                <a:gd name="T18" fmla="*/ 2147483647 w 191"/>
                <a:gd name="T19" fmla="*/ 2147483647 h 211"/>
                <a:gd name="T20" fmla="*/ 2147483647 w 191"/>
                <a:gd name="T21" fmla="*/ 2147483647 h 211"/>
                <a:gd name="T22" fmla="*/ 2147483647 w 191"/>
                <a:gd name="T23" fmla="*/ 2147483647 h 211"/>
                <a:gd name="T24" fmla="*/ 2147483647 w 191"/>
                <a:gd name="T25" fmla="*/ 2147483647 h 211"/>
                <a:gd name="T26" fmla="*/ 2147483647 w 191"/>
                <a:gd name="T27" fmla="*/ 2147483647 h 211"/>
                <a:gd name="T28" fmla="*/ 2147483647 w 191"/>
                <a:gd name="T29" fmla="*/ 2147483647 h 211"/>
                <a:gd name="T30" fmla="*/ 2147483647 w 191"/>
                <a:gd name="T31" fmla="*/ 2147483647 h 211"/>
                <a:gd name="T32" fmla="*/ 2147483647 w 191"/>
                <a:gd name="T33" fmla="*/ 2147483647 h 211"/>
                <a:gd name="T34" fmla="*/ 2147483647 w 191"/>
                <a:gd name="T35" fmla="*/ 2147483647 h 211"/>
                <a:gd name="T36" fmla="*/ 2147483647 w 191"/>
                <a:gd name="T37" fmla="*/ 2147483647 h 211"/>
                <a:gd name="T38" fmla="*/ 2147483647 w 191"/>
                <a:gd name="T39" fmla="*/ 2147483647 h 211"/>
                <a:gd name="T40" fmla="*/ 2147483647 w 191"/>
                <a:gd name="T41" fmla="*/ 2147483647 h 211"/>
                <a:gd name="T42" fmla="*/ 2147483647 w 191"/>
                <a:gd name="T43" fmla="*/ 2147483647 h 211"/>
                <a:gd name="T44" fmla="*/ 2147483647 w 191"/>
                <a:gd name="T45" fmla="*/ 2147483647 h 211"/>
                <a:gd name="T46" fmla="*/ 2147483647 w 191"/>
                <a:gd name="T47" fmla="*/ 2147483647 h 211"/>
                <a:gd name="T48" fmla="*/ 2147483647 w 191"/>
                <a:gd name="T49" fmla="*/ 2147483647 h 211"/>
                <a:gd name="T50" fmla="*/ 2147483647 w 191"/>
                <a:gd name="T51" fmla="*/ 2147483647 h 211"/>
                <a:gd name="T52" fmla="*/ 2147483647 w 191"/>
                <a:gd name="T53" fmla="*/ 2147483647 h 211"/>
                <a:gd name="T54" fmla="*/ 2147483647 w 191"/>
                <a:gd name="T55" fmla="*/ 2147483647 h 211"/>
                <a:gd name="T56" fmla="*/ 2147483647 w 191"/>
                <a:gd name="T57" fmla="*/ 2147483647 h 211"/>
                <a:gd name="T58" fmla="*/ 2147483647 w 191"/>
                <a:gd name="T59" fmla="*/ 2147483647 h 211"/>
                <a:gd name="T60" fmla="*/ 2147483647 w 191"/>
                <a:gd name="T61" fmla="*/ 2147483647 h 211"/>
                <a:gd name="T62" fmla="*/ 2147483647 w 191"/>
                <a:gd name="T63" fmla="*/ 2147483647 h 211"/>
                <a:gd name="T64" fmla="*/ 2147483647 w 191"/>
                <a:gd name="T65" fmla="*/ 2147483647 h 211"/>
                <a:gd name="T66" fmla="*/ 2147483647 w 191"/>
                <a:gd name="T67" fmla="*/ 2147483647 h 211"/>
                <a:gd name="T68" fmla="*/ 2147483647 w 191"/>
                <a:gd name="T69" fmla="*/ 2147483647 h 211"/>
                <a:gd name="T70" fmla="*/ 2147483647 w 191"/>
                <a:gd name="T71" fmla="*/ 2147483647 h 211"/>
                <a:gd name="T72" fmla="*/ 2147483647 w 191"/>
                <a:gd name="T73" fmla="*/ 2147483647 h 211"/>
                <a:gd name="T74" fmla="*/ 2147483647 w 191"/>
                <a:gd name="T75" fmla="*/ 2147483647 h 211"/>
                <a:gd name="T76" fmla="*/ 2147483647 w 191"/>
                <a:gd name="T77" fmla="*/ 2147483647 h 211"/>
                <a:gd name="T78" fmla="*/ 2147483647 w 191"/>
                <a:gd name="T79" fmla="*/ 2147483647 h 211"/>
                <a:gd name="T80" fmla="*/ 2147483647 w 191"/>
                <a:gd name="T81" fmla="*/ 2147483647 h 211"/>
                <a:gd name="T82" fmla="*/ 2147483647 w 191"/>
                <a:gd name="T83" fmla="*/ 2147483647 h 211"/>
                <a:gd name="T84" fmla="*/ 2147483647 w 191"/>
                <a:gd name="T85" fmla="*/ 2147483647 h 211"/>
                <a:gd name="T86" fmla="*/ 2147483647 w 191"/>
                <a:gd name="T87" fmla="*/ 2147483647 h 211"/>
                <a:gd name="T88" fmla="*/ 2147483647 w 191"/>
                <a:gd name="T89" fmla="*/ 2147483647 h 211"/>
                <a:gd name="T90" fmla="*/ 2147483647 w 191"/>
                <a:gd name="T91" fmla="*/ 2147483647 h 211"/>
                <a:gd name="T92" fmla="*/ 2147483647 w 191"/>
                <a:gd name="T93" fmla="*/ 2147483647 h 211"/>
                <a:gd name="T94" fmla="*/ 2147483647 w 191"/>
                <a:gd name="T95" fmla="*/ 2147483647 h 211"/>
                <a:gd name="T96" fmla="*/ 2147483647 w 191"/>
                <a:gd name="T97" fmla="*/ 2147483647 h 211"/>
                <a:gd name="T98" fmla="*/ 2147483647 w 191"/>
                <a:gd name="T99" fmla="*/ 2147483647 h 211"/>
                <a:gd name="T100" fmla="*/ 2147483647 w 191"/>
                <a:gd name="T101" fmla="*/ 2147483647 h 211"/>
                <a:gd name="T102" fmla="*/ 2147483647 w 191"/>
                <a:gd name="T103" fmla="*/ 2147483647 h 211"/>
                <a:gd name="T104" fmla="*/ 2147483647 w 191"/>
                <a:gd name="T105" fmla="*/ 2147483647 h 211"/>
                <a:gd name="T106" fmla="*/ 2147483647 w 191"/>
                <a:gd name="T107" fmla="*/ 2147483647 h 211"/>
                <a:gd name="T108" fmla="*/ 2147483647 w 191"/>
                <a:gd name="T109" fmla="*/ 2147483647 h 211"/>
                <a:gd name="T110" fmla="*/ 2147483647 w 191"/>
                <a:gd name="T111" fmla="*/ 2147483647 h 2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1"/>
                <a:gd name="T169" fmla="*/ 0 h 211"/>
                <a:gd name="T170" fmla="*/ 191 w 191"/>
                <a:gd name="T171" fmla="*/ 211 h 2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1" h="211">
                  <a:moveTo>
                    <a:pt x="7" y="206"/>
                  </a:moveTo>
                  <a:lnTo>
                    <a:pt x="8" y="56"/>
                  </a:lnTo>
                  <a:lnTo>
                    <a:pt x="4" y="52"/>
                  </a:lnTo>
                  <a:lnTo>
                    <a:pt x="3" y="49"/>
                  </a:lnTo>
                  <a:lnTo>
                    <a:pt x="2" y="44"/>
                  </a:lnTo>
                  <a:lnTo>
                    <a:pt x="2" y="40"/>
                  </a:lnTo>
                  <a:lnTo>
                    <a:pt x="4" y="31"/>
                  </a:lnTo>
                  <a:lnTo>
                    <a:pt x="7" y="22"/>
                  </a:lnTo>
                  <a:lnTo>
                    <a:pt x="7" y="20"/>
                  </a:lnTo>
                  <a:lnTo>
                    <a:pt x="5" y="19"/>
                  </a:lnTo>
                  <a:lnTo>
                    <a:pt x="2" y="14"/>
                  </a:lnTo>
                  <a:lnTo>
                    <a:pt x="0" y="9"/>
                  </a:lnTo>
                  <a:lnTo>
                    <a:pt x="0" y="5"/>
                  </a:lnTo>
                  <a:lnTo>
                    <a:pt x="4" y="0"/>
                  </a:lnTo>
                  <a:lnTo>
                    <a:pt x="10" y="5"/>
                  </a:lnTo>
                  <a:lnTo>
                    <a:pt x="13" y="6"/>
                  </a:lnTo>
                  <a:lnTo>
                    <a:pt x="17" y="6"/>
                  </a:lnTo>
                  <a:lnTo>
                    <a:pt x="23" y="6"/>
                  </a:lnTo>
                  <a:lnTo>
                    <a:pt x="26" y="7"/>
                  </a:lnTo>
                  <a:lnTo>
                    <a:pt x="29" y="8"/>
                  </a:lnTo>
                  <a:lnTo>
                    <a:pt x="37" y="13"/>
                  </a:lnTo>
                  <a:lnTo>
                    <a:pt x="45" y="15"/>
                  </a:lnTo>
                  <a:lnTo>
                    <a:pt x="51" y="17"/>
                  </a:lnTo>
                  <a:lnTo>
                    <a:pt x="66" y="18"/>
                  </a:lnTo>
                  <a:lnTo>
                    <a:pt x="74" y="20"/>
                  </a:lnTo>
                  <a:lnTo>
                    <a:pt x="83" y="24"/>
                  </a:lnTo>
                  <a:lnTo>
                    <a:pt x="85" y="22"/>
                  </a:lnTo>
                  <a:lnTo>
                    <a:pt x="87" y="20"/>
                  </a:lnTo>
                  <a:lnTo>
                    <a:pt x="90" y="15"/>
                  </a:lnTo>
                  <a:lnTo>
                    <a:pt x="96" y="13"/>
                  </a:lnTo>
                  <a:lnTo>
                    <a:pt x="99" y="12"/>
                  </a:lnTo>
                  <a:lnTo>
                    <a:pt x="103" y="8"/>
                  </a:lnTo>
                  <a:lnTo>
                    <a:pt x="104" y="7"/>
                  </a:lnTo>
                  <a:lnTo>
                    <a:pt x="106" y="6"/>
                  </a:lnTo>
                  <a:lnTo>
                    <a:pt x="111" y="6"/>
                  </a:lnTo>
                  <a:lnTo>
                    <a:pt x="115" y="7"/>
                  </a:lnTo>
                  <a:lnTo>
                    <a:pt x="118" y="8"/>
                  </a:lnTo>
                  <a:lnTo>
                    <a:pt x="121" y="12"/>
                  </a:lnTo>
                  <a:lnTo>
                    <a:pt x="122" y="13"/>
                  </a:lnTo>
                  <a:lnTo>
                    <a:pt x="123" y="13"/>
                  </a:lnTo>
                  <a:lnTo>
                    <a:pt x="126" y="12"/>
                  </a:lnTo>
                  <a:lnTo>
                    <a:pt x="131" y="11"/>
                  </a:lnTo>
                  <a:lnTo>
                    <a:pt x="134" y="12"/>
                  </a:lnTo>
                  <a:lnTo>
                    <a:pt x="137" y="13"/>
                  </a:lnTo>
                  <a:lnTo>
                    <a:pt x="143" y="11"/>
                  </a:lnTo>
                  <a:lnTo>
                    <a:pt x="149" y="9"/>
                  </a:lnTo>
                  <a:lnTo>
                    <a:pt x="151" y="9"/>
                  </a:lnTo>
                  <a:lnTo>
                    <a:pt x="154" y="9"/>
                  </a:lnTo>
                  <a:lnTo>
                    <a:pt x="158" y="11"/>
                  </a:lnTo>
                  <a:lnTo>
                    <a:pt x="158" y="15"/>
                  </a:lnTo>
                  <a:lnTo>
                    <a:pt x="159" y="19"/>
                  </a:lnTo>
                  <a:lnTo>
                    <a:pt x="163" y="26"/>
                  </a:lnTo>
                  <a:lnTo>
                    <a:pt x="169" y="38"/>
                  </a:lnTo>
                  <a:lnTo>
                    <a:pt x="174" y="51"/>
                  </a:lnTo>
                  <a:lnTo>
                    <a:pt x="172" y="53"/>
                  </a:lnTo>
                  <a:lnTo>
                    <a:pt x="170" y="57"/>
                  </a:lnTo>
                  <a:lnTo>
                    <a:pt x="168" y="66"/>
                  </a:lnTo>
                  <a:lnTo>
                    <a:pt x="167" y="76"/>
                  </a:lnTo>
                  <a:lnTo>
                    <a:pt x="167" y="79"/>
                  </a:lnTo>
                  <a:lnTo>
                    <a:pt x="164" y="83"/>
                  </a:lnTo>
                  <a:lnTo>
                    <a:pt x="163" y="84"/>
                  </a:lnTo>
                  <a:lnTo>
                    <a:pt x="160" y="81"/>
                  </a:lnTo>
                  <a:lnTo>
                    <a:pt x="158" y="77"/>
                  </a:lnTo>
                  <a:lnTo>
                    <a:pt x="155" y="73"/>
                  </a:lnTo>
                  <a:lnTo>
                    <a:pt x="146" y="65"/>
                  </a:lnTo>
                  <a:lnTo>
                    <a:pt x="143" y="60"/>
                  </a:lnTo>
                  <a:lnTo>
                    <a:pt x="141" y="53"/>
                  </a:lnTo>
                  <a:lnTo>
                    <a:pt x="140" y="53"/>
                  </a:lnTo>
                  <a:lnTo>
                    <a:pt x="139" y="53"/>
                  </a:lnTo>
                  <a:lnTo>
                    <a:pt x="137" y="57"/>
                  </a:lnTo>
                  <a:lnTo>
                    <a:pt x="136" y="62"/>
                  </a:lnTo>
                  <a:lnTo>
                    <a:pt x="136" y="64"/>
                  </a:lnTo>
                  <a:lnTo>
                    <a:pt x="136" y="66"/>
                  </a:lnTo>
                  <a:lnTo>
                    <a:pt x="140" y="72"/>
                  </a:lnTo>
                  <a:lnTo>
                    <a:pt x="145" y="78"/>
                  </a:lnTo>
                  <a:lnTo>
                    <a:pt x="149" y="83"/>
                  </a:lnTo>
                  <a:lnTo>
                    <a:pt x="151" y="90"/>
                  </a:lnTo>
                  <a:lnTo>
                    <a:pt x="158" y="108"/>
                  </a:lnTo>
                  <a:lnTo>
                    <a:pt x="162" y="116"/>
                  </a:lnTo>
                  <a:lnTo>
                    <a:pt x="168" y="123"/>
                  </a:lnTo>
                  <a:lnTo>
                    <a:pt x="170" y="127"/>
                  </a:lnTo>
                  <a:lnTo>
                    <a:pt x="172" y="132"/>
                  </a:lnTo>
                  <a:lnTo>
                    <a:pt x="173" y="132"/>
                  </a:lnTo>
                  <a:lnTo>
                    <a:pt x="176" y="140"/>
                  </a:lnTo>
                  <a:lnTo>
                    <a:pt x="178" y="148"/>
                  </a:lnTo>
                  <a:lnTo>
                    <a:pt x="179" y="152"/>
                  </a:lnTo>
                  <a:lnTo>
                    <a:pt x="181" y="155"/>
                  </a:lnTo>
                  <a:lnTo>
                    <a:pt x="184" y="159"/>
                  </a:lnTo>
                  <a:lnTo>
                    <a:pt x="188" y="161"/>
                  </a:lnTo>
                  <a:lnTo>
                    <a:pt x="189" y="162"/>
                  </a:lnTo>
                  <a:lnTo>
                    <a:pt x="188" y="165"/>
                  </a:lnTo>
                  <a:lnTo>
                    <a:pt x="188" y="168"/>
                  </a:lnTo>
                  <a:lnTo>
                    <a:pt x="188" y="172"/>
                  </a:lnTo>
                  <a:lnTo>
                    <a:pt x="191" y="177"/>
                  </a:lnTo>
                  <a:lnTo>
                    <a:pt x="188" y="184"/>
                  </a:lnTo>
                  <a:lnTo>
                    <a:pt x="177" y="184"/>
                  </a:lnTo>
                  <a:lnTo>
                    <a:pt x="170" y="185"/>
                  </a:lnTo>
                  <a:lnTo>
                    <a:pt x="169" y="185"/>
                  </a:lnTo>
                  <a:lnTo>
                    <a:pt x="168" y="186"/>
                  </a:lnTo>
                  <a:lnTo>
                    <a:pt x="164" y="196"/>
                  </a:lnTo>
                  <a:lnTo>
                    <a:pt x="162" y="199"/>
                  </a:lnTo>
                  <a:lnTo>
                    <a:pt x="160" y="201"/>
                  </a:lnTo>
                  <a:lnTo>
                    <a:pt x="158" y="203"/>
                  </a:lnTo>
                  <a:lnTo>
                    <a:pt x="156" y="203"/>
                  </a:lnTo>
                  <a:lnTo>
                    <a:pt x="156" y="205"/>
                  </a:lnTo>
                  <a:lnTo>
                    <a:pt x="156" y="209"/>
                  </a:lnTo>
                  <a:lnTo>
                    <a:pt x="154" y="210"/>
                  </a:lnTo>
                  <a:lnTo>
                    <a:pt x="150" y="211"/>
                  </a:lnTo>
                  <a:lnTo>
                    <a:pt x="146" y="210"/>
                  </a:lnTo>
                  <a:lnTo>
                    <a:pt x="144" y="207"/>
                  </a:lnTo>
                  <a:lnTo>
                    <a:pt x="141" y="204"/>
                  </a:lnTo>
                  <a:lnTo>
                    <a:pt x="7" y="20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7" name="Freeform 666"/>
            <p:cNvSpPr>
              <a:spLocks/>
            </p:cNvSpPr>
            <p:nvPr/>
          </p:nvSpPr>
          <p:spPr bwMode="auto">
            <a:xfrm>
              <a:off x="5221288" y="3363914"/>
              <a:ext cx="95250" cy="115887"/>
            </a:xfrm>
            <a:custGeom>
              <a:avLst/>
              <a:gdLst>
                <a:gd name="T0" fmla="*/ 2147483647 w 65"/>
                <a:gd name="T1" fmla="*/ 0 h 73"/>
                <a:gd name="T2" fmla="*/ 2147483647 w 65"/>
                <a:gd name="T3" fmla="*/ 0 h 73"/>
                <a:gd name="T4" fmla="*/ 2147483647 w 65"/>
                <a:gd name="T5" fmla="*/ 2147483647 h 73"/>
                <a:gd name="T6" fmla="*/ 2147483647 w 65"/>
                <a:gd name="T7" fmla="*/ 2147483647 h 73"/>
                <a:gd name="T8" fmla="*/ 2147483647 w 65"/>
                <a:gd name="T9" fmla="*/ 2147483647 h 73"/>
                <a:gd name="T10" fmla="*/ 2147483647 w 65"/>
                <a:gd name="T11" fmla="*/ 2147483647 h 73"/>
                <a:gd name="T12" fmla="*/ 2147483647 w 65"/>
                <a:gd name="T13" fmla="*/ 2147483647 h 73"/>
                <a:gd name="T14" fmla="*/ 2147483647 w 65"/>
                <a:gd name="T15" fmla="*/ 2147483647 h 73"/>
                <a:gd name="T16" fmla="*/ 2147483647 w 65"/>
                <a:gd name="T17" fmla="*/ 2147483647 h 73"/>
                <a:gd name="T18" fmla="*/ 2147483647 w 65"/>
                <a:gd name="T19" fmla="*/ 2147483647 h 73"/>
                <a:gd name="T20" fmla="*/ 2147483647 w 65"/>
                <a:gd name="T21" fmla="*/ 2147483647 h 73"/>
                <a:gd name="T22" fmla="*/ 2147483647 w 65"/>
                <a:gd name="T23" fmla="*/ 2147483647 h 73"/>
                <a:gd name="T24" fmla="*/ 2147483647 w 65"/>
                <a:gd name="T25" fmla="*/ 2147483647 h 73"/>
                <a:gd name="T26" fmla="*/ 0 w 65"/>
                <a:gd name="T27" fmla="*/ 2147483647 h 73"/>
                <a:gd name="T28" fmla="*/ 2147483647 w 65"/>
                <a:gd name="T29" fmla="*/ 2147483647 h 73"/>
                <a:gd name="T30" fmla="*/ 2147483647 w 65"/>
                <a:gd name="T31" fmla="*/ 2147483647 h 73"/>
                <a:gd name="T32" fmla="*/ 2147483647 w 65"/>
                <a:gd name="T33" fmla="*/ 2147483647 h 73"/>
                <a:gd name="T34" fmla="*/ 2147483647 w 65"/>
                <a:gd name="T35" fmla="*/ 2147483647 h 73"/>
                <a:gd name="T36" fmla="*/ 2147483647 w 65"/>
                <a:gd name="T37" fmla="*/ 2147483647 h 73"/>
                <a:gd name="T38" fmla="*/ 2147483647 w 65"/>
                <a:gd name="T39" fmla="*/ 2147483647 h 73"/>
                <a:gd name="T40" fmla="*/ 2147483647 w 65"/>
                <a:gd name="T41" fmla="*/ 2147483647 h 73"/>
                <a:gd name="T42" fmla="*/ 2147483647 w 65"/>
                <a:gd name="T43" fmla="*/ 2147483647 h 73"/>
                <a:gd name="T44" fmla="*/ 2147483647 w 65"/>
                <a:gd name="T45" fmla="*/ 2147483647 h 73"/>
                <a:gd name="T46" fmla="*/ 2147483647 w 65"/>
                <a:gd name="T47" fmla="*/ 2147483647 h 73"/>
                <a:gd name="T48" fmla="*/ 2147483647 w 65"/>
                <a:gd name="T49" fmla="*/ 2147483647 h 73"/>
                <a:gd name="T50" fmla="*/ 2147483647 w 65"/>
                <a:gd name="T51" fmla="*/ 2147483647 h 73"/>
                <a:gd name="T52" fmla="*/ 2147483647 w 65"/>
                <a:gd name="T53" fmla="*/ 2147483647 h 73"/>
                <a:gd name="T54" fmla="*/ 2147483647 w 65"/>
                <a:gd name="T55" fmla="*/ 2147483647 h 73"/>
                <a:gd name="T56" fmla="*/ 2147483647 w 65"/>
                <a:gd name="T57" fmla="*/ 2147483647 h 73"/>
                <a:gd name="T58" fmla="*/ 2147483647 w 65"/>
                <a:gd name="T59" fmla="*/ 2147483647 h 73"/>
                <a:gd name="T60" fmla="*/ 2147483647 w 65"/>
                <a:gd name="T61" fmla="*/ 2147483647 h 73"/>
                <a:gd name="T62" fmla="*/ 2147483647 w 65"/>
                <a:gd name="T63" fmla="*/ 2147483647 h 73"/>
                <a:gd name="T64" fmla="*/ 2147483647 w 65"/>
                <a:gd name="T65" fmla="*/ 2147483647 h 73"/>
                <a:gd name="T66" fmla="*/ 2147483647 w 65"/>
                <a:gd name="T67" fmla="*/ 2147483647 h 73"/>
                <a:gd name="T68" fmla="*/ 2147483647 w 65"/>
                <a:gd name="T69" fmla="*/ 2147483647 h 73"/>
                <a:gd name="T70" fmla="*/ 2147483647 w 65"/>
                <a:gd name="T71" fmla="*/ 2147483647 h 73"/>
                <a:gd name="T72" fmla="*/ 2147483647 w 65"/>
                <a:gd name="T73" fmla="*/ 2147483647 h 73"/>
                <a:gd name="T74" fmla="*/ 2147483647 w 65"/>
                <a:gd name="T75" fmla="*/ 2147483647 h 73"/>
                <a:gd name="T76" fmla="*/ 2147483647 w 65"/>
                <a:gd name="T77" fmla="*/ 2147483647 h 73"/>
                <a:gd name="T78" fmla="*/ 2147483647 w 65"/>
                <a:gd name="T79" fmla="*/ 2147483647 h 73"/>
                <a:gd name="T80" fmla="*/ 2147483647 w 65"/>
                <a:gd name="T81" fmla="*/ 2147483647 h 73"/>
                <a:gd name="T82" fmla="*/ 2147483647 w 65"/>
                <a:gd name="T83" fmla="*/ 2147483647 h 73"/>
                <a:gd name="T84" fmla="*/ 2147483647 w 65"/>
                <a:gd name="T85" fmla="*/ 2147483647 h 73"/>
                <a:gd name="T86" fmla="*/ 2147483647 w 65"/>
                <a:gd name="T87" fmla="*/ 2147483647 h 73"/>
                <a:gd name="T88" fmla="*/ 2147483647 w 65"/>
                <a:gd name="T89" fmla="*/ 2147483647 h 73"/>
                <a:gd name="T90" fmla="*/ 2147483647 w 65"/>
                <a:gd name="T91" fmla="*/ 2147483647 h 73"/>
                <a:gd name="T92" fmla="*/ 2147483647 w 65"/>
                <a:gd name="T93" fmla="*/ 2147483647 h 73"/>
                <a:gd name="T94" fmla="*/ 2147483647 w 65"/>
                <a:gd name="T95" fmla="*/ 2147483647 h 73"/>
                <a:gd name="T96" fmla="*/ 2147483647 w 65"/>
                <a:gd name="T97" fmla="*/ 2147483647 h 73"/>
                <a:gd name="T98" fmla="*/ 2147483647 w 65"/>
                <a:gd name="T99" fmla="*/ 2147483647 h 73"/>
                <a:gd name="T100" fmla="*/ 2147483647 w 65"/>
                <a:gd name="T101" fmla="*/ 2147483647 h 73"/>
                <a:gd name="T102" fmla="*/ 2147483647 w 65"/>
                <a:gd name="T103" fmla="*/ 2147483647 h 73"/>
                <a:gd name="T104" fmla="*/ 2147483647 w 65"/>
                <a:gd name="T105" fmla="*/ 2147483647 h 73"/>
                <a:gd name="T106" fmla="*/ 2147483647 w 65"/>
                <a:gd name="T107" fmla="*/ 2147483647 h 73"/>
                <a:gd name="T108" fmla="*/ 2147483647 w 65"/>
                <a:gd name="T109" fmla="*/ 2147483647 h 73"/>
                <a:gd name="T110" fmla="*/ 2147483647 w 65"/>
                <a:gd name="T111" fmla="*/ 2147483647 h 73"/>
                <a:gd name="T112" fmla="*/ 2147483647 w 65"/>
                <a:gd name="T113" fmla="*/ 2147483647 h 73"/>
                <a:gd name="T114" fmla="*/ 2147483647 w 65"/>
                <a:gd name="T115" fmla="*/ 2147483647 h 73"/>
                <a:gd name="T116" fmla="*/ 2147483647 w 65"/>
                <a:gd name="T117" fmla="*/ 2147483647 h 73"/>
                <a:gd name="T118" fmla="*/ 2147483647 w 65"/>
                <a:gd name="T119" fmla="*/ 2147483647 h 73"/>
                <a:gd name="T120" fmla="*/ 2147483647 w 65"/>
                <a:gd name="T121" fmla="*/ 2147483647 h 73"/>
                <a:gd name="T122" fmla="*/ 2147483647 w 65"/>
                <a:gd name="T123" fmla="*/ 2147483647 h 73"/>
                <a:gd name="T124" fmla="*/ 2147483647 w 65"/>
                <a:gd name="T125" fmla="*/ 0 h 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5"/>
                <a:gd name="T190" fmla="*/ 0 h 73"/>
                <a:gd name="T191" fmla="*/ 65 w 65"/>
                <a:gd name="T192" fmla="*/ 73 h 7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5" h="73">
                  <a:moveTo>
                    <a:pt x="18" y="0"/>
                  </a:moveTo>
                  <a:lnTo>
                    <a:pt x="18" y="0"/>
                  </a:lnTo>
                  <a:lnTo>
                    <a:pt x="17" y="7"/>
                  </a:lnTo>
                  <a:lnTo>
                    <a:pt x="15" y="8"/>
                  </a:lnTo>
                  <a:lnTo>
                    <a:pt x="13" y="9"/>
                  </a:lnTo>
                  <a:lnTo>
                    <a:pt x="12" y="10"/>
                  </a:lnTo>
                  <a:lnTo>
                    <a:pt x="10" y="11"/>
                  </a:lnTo>
                  <a:lnTo>
                    <a:pt x="9" y="16"/>
                  </a:lnTo>
                  <a:lnTo>
                    <a:pt x="7" y="20"/>
                  </a:lnTo>
                  <a:lnTo>
                    <a:pt x="1" y="28"/>
                  </a:lnTo>
                  <a:lnTo>
                    <a:pt x="0" y="29"/>
                  </a:lnTo>
                  <a:lnTo>
                    <a:pt x="1" y="32"/>
                  </a:lnTo>
                  <a:lnTo>
                    <a:pt x="3" y="33"/>
                  </a:lnTo>
                  <a:lnTo>
                    <a:pt x="5" y="33"/>
                  </a:lnTo>
                  <a:lnTo>
                    <a:pt x="8" y="33"/>
                  </a:lnTo>
                  <a:lnTo>
                    <a:pt x="10" y="33"/>
                  </a:lnTo>
                  <a:lnTo>
                    <a:pt x="12" y="34"/>
                  </a:lnTo>
                  <a:lnTo>
                    <a:pt x="13" y="36"/>
                  </a:lnTo>
                  <a:lnTo>
                    <a:pt x="13" y="39"/>
                  </a:lnTo>
                  <a:lnTo>
                    <a:pt x="13" y="41"/>
                  </a:lnTo>
                  <a:lnTo>
                    <a:pt x="9" y="48"/>
                  </a:lnTo>
                  <a:lnTo>
                    <a:pt x="8" y="55"/>
                  </a:lnTo>
                  <a:lnTo>
                    <a:pt x="7" y="64"/>
                  </a:lnTo>
                  <a:lnTo>
                    <a:pt x="4" y="71"/>
                  </a:lnTo>
                  <a:lnTo>
                    <a:pt x="9" y="70"/>
                  </a:lnTo>
                  <a:lnTo>
                    <a:pt x="13" y="70"/>
                  </a:lnTo>
                  <a:lnTo>
                    <a:pt x="22" y="72"/>
                  </a:lnTo>
                  <a:lnTo>
                    <a:pt x="26" y="73"/>
                  </a:lnTo>
                  <a:lnTo>
                    <a:pt x="28" y="72"/>
                  </a:lnTo>
                  <a:lnTo>
                    <a:pt x="38" y="62"/>
                  </a:lnTo>
                  <a:lnTo>
                    <a:pt x="48" y="54"/>
                  </a:lnTo>
                  <a:lnTo>
                    <a:pt x="38" y="45"/>
                  </a:lnTo>
                  <a:lnTo>
                    <a:pt x="32" y="40"/>
                  </a:lnTo>
                  <a:lnTo>
                    <a:pt x="31" y="38"/>
                  </a:lnTo>
                  <a:lnTo>
                    <a:pt x="31" y="36"/>
                  </a:lnTo>
                  <a:lnTo>
                    <a:pt x="32" y="34"/>
                  </a:lnTo>
                  <a:lnTo>
                    <a:pt x="34" y="33"/>
                  </a:lnTo>
                  <a:lnTo>
                    <a:pt x="43" y="29"/>
                  </a:lnTo>
                  <a:lnTo>
                    <a:pt x="54" y="27"/>
                  </a:lnTo>
                  <a:lnTo>
                    <a:pt x="65" y="26"/>
                  </a:lnTo>
                  <a:lnTo>
                    <a:pt x="57" y="13"/>
                  </a:lnTo>
                  <a:lnTo>
                    <a:pt x="54" y="7"/>
                  </a:lnTo>
                  <a:lnTo>
                    <a:pt x="48" y="1"/>
                  </a:lnTo>
                  <a:lnTo>
                    <a:pt x="42" y="4"/>
                  </a:lnTo>
                  <a:lnTo>
                    <a:pt x="36" y="8"/>
                  </a:lnTo>
                  <a:lnTo>
                    <a:pt x="33" y="8"/>
                  </a:lnTo>
                  <a:lnTo>
                    <a:pt x="29" y="7"/>
                  </a:lnTo>
                  <a:lnTo>
                    <a:pt x="18"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8" name="Freeform 667"/>
            <p:cNvSpPr>
              <a:spLocks/>
            </p:cNvSpPr>
            <p:nvPr/>
          </p:nvSpPr>
          <p:spPr bwMode="auto">
            <a:xfrm>
              <a:off x="4972051" y="3395663"/>
              <a:ext cx="277813" cy="334962"/>
            </a:xfrm>
            <a:custGeom>
              <a:avLst/>
              <a:gdLst>
                <a:gd name="T0" fmla="*/ 2147483647 w 190"/>
                <a:gd name="T1" fmla="*/ 2147483647 h 211"/>
                <a:gd name="T2" fmla="*/ 2147483647 w 190"/>
                <a:gd name="T3" fmla="*/ 2147483647 h 211"/>
                <a:gd name="T4" fmla="*/ 2147483647 w 190"/>
                <a:gd name="T5" fmla="*/ 2147483647 h 211"/>
                <a:gd name="T6" fmla="*/ 2147483647 w 190"/>
                <a:gd name="T7" fmla="*/ 2147483647 h 211"/>
                <a:gd name="T8" fmla="*/ 0 w 190"/>
                <a:gd name="T9" fmla="*/ 2147483647 h 211"/>
                <a:gd name="T10" fmla="*/ 2147483647 w 190"/>
                <a:gd name="T11" fmla="*/ 0 h 211"/>
                <a:gd name="T12" fmla="*/ 2147483647 w 190"/>
                <a:gd name="T13" fmla="*/ 2147483647 h 211"/>
                <a:gd name="T14" fmla="*/ 2147483647 w 190"/>
                <a:gd name="T15" fmla="*/ 2147483647 h 211"/>
                <a:gd name="T16" fmla="*/ 2147483647 w 190"/>
                <a:gd name="T17" fmla="*/ 2147483647 h 211"/>
                <a:gd name="T18" fmla="*/ 2147483647 w 190"/>
                <a:gd name="T19" fmla="*/ 2147483647 h 211"/>
                <a:gd name="T20" fmla="*/ 2147483647 w 190"/>
                <a:gd name="T21" fmla="*/ 2147483647 h 211"/>
                <a:gd name="T22" fmla="*/ 2147483647 w 190"/>
                <a:gd name="T23" fmla="*/ 2147483647 h 211"/>
                <a:gd name="T24" fmla="*/ 2147483647 w 190"/>
                <a:gd name="T25" fmla="*/ 2147483647 h 211"/>
                <a:gd name="T26" fmla="*/ 2147483647 w 190"/>
                <a:gd name="T27" fmla="*/ 2147483647 h 211"/>
                <a:gd name="T28" fmla="*/ 2147483647 w 190"/>
                <a:gd name="T29" fmla="*/ 2147483647 h 211"/>
                <a:gd name="T30" fmla="*/ 2147483647 w 190"/>
                <a:gd name="T31" fmla="*/ 2147483647 h 211"/>
                <a:gd name="T32" fmla="*/ 2147483647 w 190"/>
                <a:gd name="T33" fmla="*/ 2147483647 h 211"/>
                <a:gd name="T34" fmla="*/ 2147483647 w 190"/>
                <a:gd name="T35" fmla="*/ 2147483647 h 211"/>
                <a:gd name="T36" fmla="*/ 2147483647 w 190"/>
                <a:gd name="T37" fmla="*/ 2147483647 h 211"/>
                <a:gd name="T38" fmla="*/ 2147483647 w 190"/>
                <a:gd name="T39" fmla="*/ 2147483647 h 211"/>
                <a:gd name="T40" fmla="*/ 2147483647 w 190"/>
                <a:gd name="T41" fmla="*/ 2147483647 h 211"/>
                <a:gd name="T42" fmla="*/ 2147483647 w 190"/>
                <a:gd name="T43" fmla="*/ 2147483647 h 211"/>
                <a:gd name="T44" fmla="*/ 2147483647 w 190"/>
                <a:gd name="T45" fmla="*/ 2147483647 h 211"/>
                <a:gd name="T46" fmla="*/ 2147483647 w 190"/>
                <a:gd name="T47" fmla="*/ 2147483647 h 211"/>
                <a:gd name="T48" fmla="*/ 2147483647 w 190"/>
                <a:gd name="T49" fmla="*/ 2147483647 h 211"/>
                <a:gd name="T50" fmla="*/ 2147483647 w 190"/>
                <a:gd name="T51" fmla="*/ 2147483647 h 211"/>
                <a:gd name="T52" fmla="*/ 2147483647 w 190"/>
                <a:gd name="T53" fmla="*/ 2147483647 h 211"/>
                <a:gd name="T54" fmla="*/ 2147483647 w 190"/>
                <a:gd name="T55" fmla="*/ 2147483647 h 211"/>
                <a:gd name="T56" fmla="*/ 2147483647 w 190"/>
                <a:gd name="T57" fmla="*/ 2147483647 h 211"/>
                <a:gd name="T58" fmla="*/ 2147483647 w 190"/>
                <a:gd name="T59" fmla="*/ 2147483647 h 211"/>
                <a:gd name="T60" fmla="*/ 2147483647 w 190"/>
                <a:gd name="T61" fmla="*/ 2147483647 h 211"/>
                <a:gd name="T62" fmla="*/ 2147483647 w 190"/>
                <a:gd name="T63" fmla="*/ 2147483647 h 211"/>
                <a:gd name="T64" fmla="*/ 2147483647 w 190"/>
                <a:gd name="T65" fmla="*/ 2147483647 h 211"/>
                <a:gd name="T66" fmla="*/ 2147483647 w 190"/>
                <a:gd name="T67" fmla="*/ 2147483647 h 211"/>
                <a:gd name="T68" fmla="*/ 2147483647 w 190"/>
                <a:gd name="T69" fmla="*/ 2147483647 h 211"/>
                <a:gd name="T70" fmla="*/ 2147483647 w 190"/>
                <a:gd name="T71" fmla="*/ 2147483647 h 211"/>
                <a:gd name="T72" fmla="*/ 2147483647 w 190"/>
                <a:gd name="T73" fmla="*/ 2147483647 h 211"/>
                <a:gd name="T74" fmla="*/ 2147483647 w 190"/>
                <a:gd name="T75" fmla="*/ 2147483647 h 211"/>
                <a:gd name="T76" fmla="*/ 2147483647 w 190"/>
                <a:gd name="T77" fmla="*/ 2147483647 h 211"/>
                <a:gd name="T78" fmla="*/ 2147483647 w 190"/>
                <a:gd name="T79" fmla="*/ 2147483647 h 211"/>
                <a:gd name="T80" fmla="*/ 2147483647 w 190"/>
                <a:gd name="T81" fmla="*/ 2147483647 h 211"/>
                <a:gd name="T82" fmla="*/ 2147483647 w 190"/>
                <a:gd name="T83" fmla="*/ 2147483647 h 211"/>
                <a:gd name="T84" fmla="*/ 2147483647 w 190"/>
                <a:gd name="T85" fmla="*/ 2147483647 h 211"/>
                <a:gd name="T86" fmla="*/ 2147483647 w 190"/>
                <a:gd name="T87" fmla="*/ 2147483647 h 211"/>
                <a:gd name="T88" fmla="*/ 2147483647 w 190"/>
                <a:gd name="T89" fmla="*/ 2147483647 h 211"/>
                <a:gd name="T90" fmla="*/ 2147483647 w 190"/>
                <a:gd name="T91" fmla="*/ 2147483647 h 211"/>
                <a:gd name="T92" fmla="*/ 2147483647 w 190"/>
                <a:gd name="T93" fmla="*/ 2147483647 h 211"/>
                <a:gd name="T94" fmla="*/ 2147483647 w 190"/>
                <a:gd name="T95" fmla="*/ 2147483647 h 211"/>
                <a:gd name="T96" fmla="*/ 2147483647 w 190"/>
                <a:gd name="T97" fmla="*/ 2147483647 h 211"/>
                <a:gd name="T98" fmla="*/ 2147483647 w 190"/>
                <a:gd name="T99" fmla="*/ 2147483647 h 2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0"/>
                <a:gd name="T151" fmla="*/ 0 h 211"/>
                <a:gd name="T152" fmla="*/ 190 w 190"/>
                <a:gd name="T153" fmla="*/ 211 h 2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0" h="211">
                  <a:moveTo>
                    <a:pt x="6" y="206"/>
                  </a:moveTo>
                  <a:lnTo>
                    <a:pt x="8" y="55"/>
                  </a:lnTo>
                  <a:lnTo>
                    <a:pt x="4" y="52"/>
                  </a:lnTo>
                  <a:lnTo>
                    <a:pt x="3" y="48"/>
                  </a:lnTo>
                  <a:lnTo>
                    <a:pt x="1" y="44"/>
                  </a:lnTo>
                  <a:lnTo>
                    <a:pt x="1" y="40"/>
                  </a:lnTo>
                  <a:lnTo>
                    <a:pt x="4" y="31"/>
                  </a:lnTo>
                  <a:lnTo>
                    <a:pt x="6" y="22"/>
                  </a:lnTo>
                  <a:lnTo>
                    <a:pt x="6" y="20"/>
                  </a:lnTo>
                  <a:lnTo>
                    <a:pt x="5" y="19"/>
                  </a:lnTo>
                  <a:lnTo>
                    <a:pt x="1" y="14"/>
                  </a:lnTo>
                  <a:lnTo>
                    <a:pt x="0" y="9"/>
                  </a:lnTo>
                  <a:lnTo>
                    <a:pt x="0" y="4"/>
                  </a:lnTo>
                  <a:lnTo>
                    <a:pt x="4" y="0"/>
                  </a:lnTo>
                  <a:lnTo>
                    <a:pt x="10" y="4"/>
                  </a:lnTo>
                  <a:lnTo>
                    <a:pt x="13" y="6"/>
                  </a:lnTo>
                  <a:lnTo>
                    <a:pt x="17" y="6"/>
                  </a:lnTo>
                  <a:lnTo>
                    <a:pt x="23" y="6"/>
                  </a:lnTo>
                  <a:lnTo>
                    <a:pt x="25" y="7"/>
                  </a:lnTo>
                  <a:lnTo>
                    <a:pt x="29" y="8"/>
                  </a:lnTo>
                  <a:lnTo>
                    <a:pt x="37" y="13"/>
                  </a:lnTo>
                  <a:lnTo>
                    <a:pt x="44" y="15"/>
                  </a:lnTo>
                  <a:lnTo>
                    <a:pt x="51" y="16"/>
                  </a:lnTo>
                  <a:lnTo>
                    <a:pt x="66" y="18"/>
                  </a:lnTo>
                  <a:lnTo>
                    <a:pt x="74" y="20"/>
                  </a:lnTo>
                  <a:lnTo>
                    <a:pt x="83" y="23"/>
                  </a:lnTo>
                  <a:lnTo>
                    <a:pt x="85" y="22"/>
                  </a:lnTo>
                  <a:lnTo>
                    <a:pt x="86" y="20"/>
                  </a:lnTo>
                  <a:lnTo>
                    <a:pt x="90" y="15"/>
                  </a:lnTo>
                  <a:lnTo>
                    <a:pt x="95" y="13"/>
                  </a:lnTo>
                  <a:lnTo>
                    <a:pt x="99" y="12"/>
                  </a:lnTo>
                  <a:lnTo>
                    <a:pt x="103" y="8"/>
                  </a:lnTo>
                  <a:lnTo>
                    <a:pt x="104" y="7"/>
                  </a:lnTo>
                  <a:lnTo>
                    <a:pt x="105" y="6"/>
                  </a:lnTo>
                  <a:lnTo>
                    <a:pt x="110" y="6"/>
                  </a:lnTo>
                  <a:lnTo>
                    <a:pt x="114" y="7"/>
                  </a:lnTo>
                  <a:lnTo>
                    <a:pt x="118" y="8"/>
                  </a:lnTo>
                  <a:lnTo>
                    <a:pt x="121" y="12"/>
                  </a:lnTo>
                  <a:lnTo>
                    <a:pt x="122" y="13"/>
                  </a:lnTo>
                  <a:lnTo>
                    <a:pt x="123" y="13"/>
                  </a:lnTo>
                  <a:lnTo>
                    <a:pt x="126" y="12"/>
                  </a:lnTo>
                  <a:lnTo>
                    <a:pt x="131" y="10"/>
                  </a:lnTo>
                  <a:lnTo>
                    <a:pt x="133" y="12"/>
                  </a:lnTo>
                  <a:lnTo>
                    <a:pt x="137" y="13"/>
                  </a:lnTo>
                  <a:lnTo>
                    <a:pt x="142" y="10"/>
                  </a:lnTo>
                  <a:lnTo>
                    <a:pt x="149" y="9"/>
                  </a:lnTo>
                  <a:lnTo>
                    <a:pt x="151" y="9"/>
                  </a:lnTo>
                  <a:lnTo>
                    <a:pt x="154" y="9"/>
                  </a:lnTo>
                  <a:lnTo>
                    <a:pt x="157" y="10"/>
                  </a:lnTo>
                  <a:lnTo>
                    <a:pt x="157" y="15"/>
                  </a:lnTo>
                  <a:lnTo>
                    <a:pt x="159" y="19"/>
                  </a:lnTo>
                  <a:lnTo>
                    <a:pt x="163" y="26"/>
                  </a:lnTo>
                  <a:lnTo>
                    <a:pt x="169" y="38"/>
                  </a:lnTo>
                  <a:lnTo>
                    <a:pt x="174" y="51"/>
                  </a:lnTo>
                  <a:lnTo>
                    <a:pt x="171" y="53"/>
                  </a:lnTo>
                  <a:lnTo>
                    <a:pt x="170" y="57"/>
                  </a:lnTo>
                  <a:lnTo>
                    <a:pt x="168" y="66"/>
                  </a:lnTo>
                  <a:lnTo>
                    <a:pt x="166" y="76"/>
                  </a:lnTo>
                  <a:lnTo>
                    <a:pt x="166" y="79"/>
                  </a:lnTo>
                  <a:lnTo>
                    <a:pt x="164" y="83"/>
                  </a:lnTo>
                  <a:lnTo>
                    <a:pt x="163" y="84"/>
                  </a:lnTo>
                  <a:lnTo>
                    <a:pt x="160" y="80"/>
                  </a:lnTo>
                  <a:lnTo>
                    <a:pt x="157" y="77"/>
                  </a:lnTo>
                  <a:lnTo>
                    <a:pt x="155" y="73"/>
                  </a:lnTo>
                  <a:lnTo>
                    <a:pt x="146" y="65"/>
                  </a:lnTo>
                  <a:lnTo>
                    <a:pt x="142" y="60"/>
                  </a:lnTo>
                  <a:lnTo>
                    <a:pt x="141" y="53"/>
                  </a:lnTo>
                  <a:lnTo>
                    <a:pt x="140" y="53"/>
                  </a:lnTo>
                  <a:lnTo>
                    <a:pt x="138" y="53"/>
                  </a:lnTo>
                  <a:lnTo>
                    <a:pt x="137" y="57"/>
                  </a:lnTo>
                  <a:lnTo>
                    <a:pt x="136" y="61"/>
                  </a:lnTo>
                  <a:lnTo>
                    <a:pt x="136" y="64"/>
                  </a:lnTo>
                  <a:lnTo>
                    <a:pt x="136" y="66"/>
                  </a:lnTo>
                  <a:lnTo>
                    <a:pt x="140" y="72"/>
                  </a:lnTo>
                  <a:lnTo>
                    <a:pt x="145" y="78"/>
                  </a:lnTo>
                  <a:lnTo>
                    <a:pt x="149" y="83"/>
                  </a:lnTo>
                  <a:lnTo>
                    <a:pt x="151" y="90"/>
                  </a:lnTo>
                  <a:lnTo>
                    <a:pt x="157" y="108"/>
                  </a:lnTo>
                  <a:lnTo>
                    <a:pt x="161" y="116"/>
                  </a:lnTo>
                  <a:lnTo>
                    <a:pt x="168" y="123"/>
                  </a:lnTo>
                  <a:lnTo>
                    <a:pt x="170" y="127"/>
                  </a:lnTo>
                  <a:lnTo>
                    <a:pt x="171" y="131"/>
                  </a:lnTo>
                  <a:lnTo>
                    <a:pt x="173" y="131"/>
                  </a:lnTo>
                  <a:lnTo>
                    <a:pt x="175" y="140"/>
                  </a:lnTo>
                  <a:lnTo>
                    <a:pt x="178" y="148"/>
                  </a:lnTo>
                  <a:lnTo>
                    <a:pt x="179" y="151"/>
                  </a:lnTo>
                  <a:lnTo>
                    <a:pt x="180" y="155"/>
                  </a:lnTo>
                  <a:lnTo>
                    <a:pt x="184" y="159"/>
                  </a:lnTo>
                  <a:lnTo>
                    <a:pt x="188" y="161"/>
                  </a:lnTo>
                  <a:lnTo>
                    <a:pt x="189" y="162"/>
                  </a:lnTo>
                  <a:lnTo>
                    <a:pt x="188" y="165"/>
                  </a:lnTo>
                  <a:lnTo>
                    <a:pt x="188" y="168"/>
                  </a:lnTo>
                  <a:lnTo>
                    <a:pt x="188" y="172"/>
                  </a:lnTo>
                  <a:lnTo>
                    <a:pt x="190" y="176"/>
                  </a:lnTo>
                  <a:lnTo>
                    <a:pt x="188" y="184"/>
                  </a:lnTo>
                  <a:lnTo>
                    <a:pt x="177" y="184"/>
                  </a:lnTo>
                  <a:lnTo>
                    <a:pt x="170" y="185"/>
                  </a:lnTo>
                  <a:lnTo>
                    <a:pt x="169" y="185"/>
                  </a:lnTo>
                  <a:lnTo>
                    <a:pt x="168" y="186"/>
                  </a:lnTo>
                  <a:lnTo>
                    <a:pt x="164" y="195"/>
                  </a:lnTo>
                  <a:lnTo>
                    <a:pt x="161" y="199"/>
                  </a:lnTo>
                  <a:lnTo>
                    <a:pt x="160" y="201"/>
                  </a:lnTo>
                  <a:lnTo>
                    <a:pt x="157" y="202"/>
                  </a:lnTo>
                  <a:lnTo>
                    <a:pt x="156" y="202"/>
                  </a:lnTo>
                  <a:lnTo>
                    <a:pt x="156" y="205"/>
                  </a:lnTo>
                  <a:lnTo>
                    <a:pt x="156" y="208"/>
                  </a:lnTo>
                  <a:lnTo>
                    <a:pt x="154" y="210"/>
                  </a:lnTo>
                  <a:lnTo>
                    <a:pt x="150" y="211"/>
                  </a:lnTo>
                  <a:lnTo>
                    <a:pt x="146" y="210"/>
                  </a:lnTo>
                  <a:lnTo>
                    <a:pt x="144" y="207"/>
                  </a:lnTo>
                  <a:lnTo>
                    <a:pt x="141" y="204"/>
                  </a:lnTo>
                  <a:lnTo>
                    <a:pt x="6" y="20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69" name="Freeform 668"/>
            <p:cNvSpPr>
              <a:spLocks/>
            </p:cNvSpPr>
            <p:nvPr/>
          </p:nvSpPr>
          <p:spPr bwMode="auto">
            <a:xfrm>
              <a:off x="4559300" y="3354388"/>
              <a:ext cx="425450" cy="455612"/>
            </a:xfrm>
            <a:custGeom>
              <a:avLst/>
              <a:gdLst>
                <a:gd name="T0" fmla="*/ 2147483647 w 291"/>
                <a:gd name="T1" fmla="*/ 2147483647 h 287"/>
                <a:gd name="T2" fmla="*/ 2147483647 w 291"/>
                <a:gd name="T3" fmla="*/ 2147483647 h 287"/>
                <a:gd name="T4" fmla="*/ 2147483647 w 291"/>
                <a:gd name="T5" fmla="*/ 2147483647 h 287"/>
                <a:gd name="T6" fmla="*/ 2147483647 w 291"/>
                <a:gd name="T7" fmla="*/ 2147483647 h 287"/>
                <a:gd name="T8" fmla="*/ 2147483647 w 291"/>
                <a:gd name="T9" fmla="*/ 2147483647 h 287"/>
                <a:gd name="T10" fmla="*/ 2147483647 w 291"/>
                <a:gd name="T11" fmla="*/ 2147483647 h 287"/>
                <a:gd name="T12" fmla="*/ 2147483647 w 291"/>
                <a:gd name="T13" fmla="*/ 2147483647 h 287"/>
                <a:gd name="T14" fmla="*/ 2147483647 w 291"/>
                <a:gd name="T15" fmla="*/ 2147483647 h 287"/>
                <a:gd name="T16" fmla="*/ 2147483647 w 291"/>
                <a:gd name="T17" fmla="*/ 2147483647 h 287"/>
                <a:gd name="T18" fmla="*/ 2147483647 w 291"/>
                <a:gd name="T19" fmla="*/ 2147483647 h 287"/>
                <a:gd name="T20" fmla="*/ 2147483647 w 291"/>
                <a:gd name="T21" fmla="*/ 2147483647 h 287"/>
                <a:gd name="T22" fmla="*/ 2147483647 w 291"/>
                <a:gd name="T23" fmla="*/ 2147483647 h 287"/>
                <a:gd name="T24" fmla="*/ 2147483647 w 291"/>
                <a:gd name="T25" fmla="*/ 2147483647 h 287"/>
                <a:gd name="T26" fmla="*/ 2147483647 w 291"/>
                <a:gd name="T27" fmla="*/ 2147483647 h 287"/>
                <a:gd name="T28" fmla="*/ 2147483647 w 291"/>
                <a:gd name="T29" fmla="*/ 2147483647 h 287"/>
                <a:gd name="T30" fmla="*/ 2147483647 w 291"/>
                <a:gd name="T31" fmla="*/ 2147483647 h 287"/>
                <a:gd name="T32" fmla="*/ 0 w 291"/>
                <a:gd name="T33" fmla="*/ 2147483647 h 287"/>
                <a:gd name="T34" fmla="*/ 2147483647 w 291"/>
                <a:gd name="T35" fmla="*/ 2147483647 h 287"/>
                <a:gd name="T36" fmla="*/ 2147483647 w 291"/>
                <a:gd name="T37" fmla="*/ 2147483647 h 287"/>
                <a:gd name="T38" fmla="*/ 2147483647 w 291"/>
                <a:gd name="T39" fmla="*/ 2147483647 h 287"/>
                <a:gd name="T40" fmla="*/ 2147483647 w 291"/>
                <a:gd name="T41" fmla="*/ 2147483647 h 287"/>
                <a:gd name="T42" fmla="*/ 2147483647 w 291"/>
                <a:gd name="T43" fmla="*/ 2147483647 h 287"/>
                <a:gd name="T44" fmla="*/ 2147483647 w 291"/>
                <a:gd name="T45" fmla="*/ 2147483647 h 287"/>
                <a:gd name="T46" fmla="*/ 2147483647 w 291"/>
                <a:gd name="T47" fmla="*/ 2147483647 h 287"/>
                <a:gd name="T48" fmla="*/ 2147483647 w 291"/>
                <a:gd name="T49" fmla="*/ 2147483647 h 287"/>
                <a:gd name="T50" fmla="*/ 2147483647 w 291"/>
                <a:gd name="T51" fmla="*/ 2147483647 h 287"/>
                <a:gd name="T52" fmla="*/ 2147483647 w 291"/>
                <a:gd name="T53" fmla="*/ 2147483647 h 287"/>
                <a:gd name="T54" fmla="*/ 2147483647 w 291"/>
                <a:gd name="T55" fmla="*/ 0 h 287"/>
                <a:gd name="T56" fmla="*/ 2147483647 w 291"/>
                <a:gd name="T57" fmla="*/ 2147483647 h 287"/>
                <a:gd name="T58" fmla="*/ 2147483647 w 291"/>
                <a:gd name="T59" fmla="*/ 2147483647 h 287"/>
                <a:gd name="T60" fmla="*/ 2147483647 w 291"/>
                <a:gd name="T61" fmla="*/ 2147483647 h 287"/>
                <a:gd name="T62" fmla="*/ 2147483647 w 291"/>
                <a:gd name="T63" fmla="*/ 2147483647 h 287"/>
                <a:gd name="T64" fmla="*/ 2147483647 w 291"/>
                <a:gd name="T65" fmla="*/ 2147483647 h 287"/>
                <a:gd name="T66" fmla="*/ 2147483647 w 291"/>
                <a:gd name="T67" fmla="*/ 2147483647 h 287"/>
                <a:gd name="T68" fmla="*/ 2147483647 w 291"/>
                <a:gd name="T69" fmla="*/ 2147483647 h 287"/>
                <a:gd name="T70" fmla="*/ 2147483647 w 291"/>
                <a:gd name="T71" fmla="*/ 2147483647 h 287"/>
                <a:gd name="T72" fmla="*/ 2147483647 w 291"/>
                <a:gd name="T73" fmla="*/ 2147483647 h 287"/>
                <a:gd name="T74" fmla="*/ 2147483647 w 291"/>
                <a:gd name="T75" fmla="*/ 2147483647 h 287"/>
                <a:gd name="T76" fmla="*/ 2147483647 w 291"/>
                <a:gd name="T77" fmla="*/ 2147483647 h 287"/>
                <a:gd name="T78" fmla="*/ 2147483647 w 291"/>
                <a:gd name="T79" fmla="*/ 2147483647 h 287"/>
                <a:gd name="T80" fmla="*/ 2147483647 w 291"/>
                <a:gd name="T81" fmla="*/ 2147483647 h 287"/>
                <a:gd name="T82" fmla="*/ 2147483647 w 291"/>
                <a:gd name="T83" fmla="*/ 2147483647 h 287"/>
                <a:gd name="T84" fmla="*/ 2147483647 w 291"/>
                <a:gd name="T85" fmla="*/ 2147483647 h 2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87"/>
                <a:gd name="T131" fmla="*/ 291 w 291"/>
                <a:gd name="T132" fmla="*/ 287 h 2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87">
                  <a:moveTo>
                    <a:pt x="287" y="27"/>
                  </a:moveTo>
                  <a:lnTo>
                    <a:pt x="283" y="32"/>
                  </a:lnTo>
                  <a:lnTo>
                    <a:pt x="283" y="36"/>
                  </a:lnTo>
                  <a:lnTo>
                    <a:pt x="285" y="41"/>
                  </a:lnTo>
                  <a:lnTo>
                    <a:pt x="288" y="46"/>
                  </a:lnTo>
                  <a:lnTo>
                    <a:pt x="290" y="47"/>
                  </a:lnTo>
                  <a:lnTo>
                    <a:pt x="290" y="49"/>
                  </a:lnTo>
                  <a:lnTo>
                    <a:pt x="287" y="58"/>
                  </a:lnTo>
                  <a:lnTo>
                    <a:pt x="285" y="67"/>
                  </a:lnTo>
                  <a:lnTo>
                    <a:pt x="285" y="71"/>
                  </a:lnTo>
                  <a:lnTo>
                    <a:pt x="286" y="76"/>
                  </a:lnTo>
                  <a:lnTo>
                    <a:pt x="287" y="79"/>
                  </a:lnTo>
                  <a:lnTo>
                    <a:pt x="291" y="83"/>
                  </a:lnTo>
                  <a:lnTo>
                    <a:pt x="290" y="233"/>
                  </a:lnTo>
                  <a:lnTo>
                    <a:pt x="288" y="270"/>
                  </a:lnTo>
                  <a:lnTo>
                    <a:pt x="279" y="272"/>
                  </a:lnTo>
                  <a:lnTo>
                    <a:pt x="278" y="287"/>
                  </a:lnTo>
                  <a:lnTo>
                    <a:pt x="123" y="204"/>
                  </a:lnTo>
                  <a:lnTo>
                    <a:pt x="117" y="211"/>
                  </a:lnTo>
                  <a:lnTo>
                    <a:pt x="109" y="217"/>
                  </a:lnTo>
                  <a:lnTo>
                    <a:pt x="92" y="227"/>
                  </a:lnTo>
                  <a:lnTo>
                    <a:pt x="88" y="227"/>
                  </a:lnTo>
                  <a:lnTo>
                    <a:pt x="85" y="226"/>
                  </a:lnTo>
                  <a:lnTo>
                    <a:pt x="84" y="225"/>
                  </a:lnTo>
                  <a:lnTo>
                    <a:pt x="84" y="220"/>
                  </a:lnTo>
                  <a:lnTo>
                    <a:pt x="81" y="217"/>
                  </a:lnTo>
                  <a:lnTo>
                    <a:pt x="80" y="214"/>
                  </a:lnTo>
                  <a:lnTo>
                    <a:pt x="78" y="213"/>
                  </a:lnTo>
                  <a:lnTo>
                    <a:pt x="71" y="211"/>
                  </a:lnTo>
                  <a:lnTo>
                    <a:pt x="65" y="211"/>
                  </a:lnTo>
                  <a:lnTo>
                    <a:pt x="61" y="211"/>
                  </a:lnTo>
                  <a:lnTo>
                    <a:pt x="57" y="210"/>
                  </a:lnTo>
                  <a:lnTo>
                    <a:pt x="55" y="207"/>
                  </a:lnTo>
                  <a:lnTo>
                    <a:pt x="53" y="204"/>
                  </a:lnTo>
                  <a:lnTo>
                    <a:pt x="51" y="200"/>
                  </a:lnTo>
                  <a:lnTo>
                    <a:pt x="48" y="196"/>
                  </a:lnTo>
                  <a:lnTo>
                    <a:pt x="43" y="195"/>
                  </a:lnTo>
                  <a:lnTo>
                    <a:pt x="38" y="194"/>
                  </a:lnTo>
                  <a:lnTo>
                    <a:pt x="28" y="193"/>
                  </a:lnTo>
                  <a:lnTo>
                    <a:pt x="23" y="193"/>
                  </a:lnTo>
                  <a:lnTo>
                    <a:pt x="19" y="191"/>
                  </a:lnTo>
                  <a:lnTo>
                    <a:pt x="17" y="187"/>
                  </a:lnTo>
                  <a:lnTo>
                    <a:pt x="15" y="182"/>
                  </a:lnTo>
                  <a:lnTo>
                    <a:pt x="15" y="173"/>
                  </a:lnTo>
                  <a:lnTo>
                    <a:pt x="13" y="169"/>
                  </a:lnTo>
                  <a:lnTo>
                    <a:pt x="10" y="167"/>
                  </a:lnTo>
                  <a:lnTo>
                    <a:pt x="6" y="164"/>
                  </a:lnTo>
                  <a:lnTo>
                    <a:pt x="4" y="161"/>
                  </a:lnTo>
                  <a:lnTo>
                    <a:pt x="1" y="157"/>
                  </a:lnTo>
                  <a:lnTo>
                    <a:pt x="0" y="154"/>
                  </a:lnTo>
                  <a:lnTo>
                    <a:pt x="0" y="151"/>
                  </a:lnTo>
                  <a:lnTo>
                    <a:pt x="0" y="149"/>
                  </a:lnTo>
                  <a:lnTo>
                    <a:pt x="4" y="143"/>
                  </a:lnTo>
                  <a:lnTo>
                    <a:pt x="8" y="138"/>
                  </a:lnTo>
                  <a:lnTo>
                    <a:pt x="10" y="134"/>
                  </a:lnTo>
                  <a:lnTo>
                    <a:pt x="10" y="125"/>
                  </a:lnTo>
                  <a:lnTo>
                    <a:pt x="9" y="116"/>
                  </a:lnTo>
                  <a:lnTo>
                    <a:pt x="10" y="110"/>
                  </a:lnTo>
                  <a:lnTo>
                    <a:pt x="10" y="104"/>
                  </a:lnTo>
                  <a:lnTo>
                    <a:pt x="8" y="100"/>
                  </a:lnTo>
                  <a:lnTo>
                    <a:pt x="6" y="97"/>
                  </a:lnTo>
                  <a:lnTo>
                    <a:pt x="4" y="90"/>
                  </a:lnTo>
                  <a:lnTo>
                    <a:pt x="4" y="79"/>
                  </a:lnTo>
                  <a:lnTo>
                    <a:pt x="5" y="68"/>
                  </a:lnTo>
                  <a:lnTo>
                    <a:pt x="6" y="61"/>
                  </a:lnTo>
                  <a:lnTo>
                    <a:pt x="9" y="58"/>
                  </a:lnTo>
                  <a:lnTo>
                    <a:pt x="12" y="55"/>
                  </a:lnTo>
                  <a:lnTo>
                    <a:pt x="14" y="54"/>
                  </a:lnTo>
                  <a:lnTo>
                    <a:pt x="20" y="49"/>
                  </a:lnTo>
                  <a:lnTo>
                    <a:pt x="23" y="45"/>
                  </a:lnTo>
                  <a:lnTo>
                    <a:pt x="23" y="39"/>
                  </a:lnTo>
                  <a:lnTo>
                    <a:pt x="23" y="30"/>
                  </a:lnTo>
                  <a:lnTo>
                    <a:pt x="23" y="28"/>
                  </a:lnTo>
                  <a:lnTo>
                    <a:pt x="26" y="27"/>
                  </a:lnTo>
                  <a:lnTo>
                    <a:pt x="31" y="25"/>
                  </a:lnTo>
                  <a:lnTo>
                    <a:pt x="36" y="23"/>
                  </a:lnTo>
                  <a:lnTo>
                    <a:pt x="41" y="22"/>
                  </a:lnTo>
                  <a:lnTo>
                    <a:pt x="43" y="20"/>
                  </a:lnTo>
                  <a:lnTo>
                    <a:pt x="45" y="15"/>
                  </a:lnTo>
                  <a:lnTo>
                    <a:pt x="46" y="10"/>
                  </a:lnTo>
                  <a:lnTo>
                    <a:pt x="46" y="4"/>
                  </a:lnTo>
                  <a:lnTo>
                    <a:pt x="48" y="0"/>
                  </a:lnTo>
                  <a:lnTo>
                    <a:pt x="51" y="0"/>
                  </a:lnTo>
                  <a:lnTo>
                    <a:pt x="55" y="0"/>
                  </a:lnTo>
                  <a:lnTo>
                    <a:pt x="67" y="3"/>
                  </a:lnTo>
                  <a:lnTo>
                    <a:pt x="75" y="4"/>
                  </a:lnTo>
                  <a:lnTo>
                    <a:pt x="81" y="3"/>
                  </a:lnTo>
                  <a:lnTo>
                    <a:pt x="89" y="2"/>
                  </a:lnTo>
                  <a:lnTo>
                    <a:pt x="97" y="3"/>
                  </a:lnTo>
                  <a:lnTo>
                    <a:pt x="102" y="4"/>
                  </a:lnTo>
                  <a:lnTo>
                    <a:pt x="108" y="8"/>
                  </a:lnTo>
                  <a:lnTo>
                    <a:pt x="112" y="13"/>
                  </a:lnTo>
                  <a:lnTo>
                    <a:pt x="122" y="26"/>
                  </a:lnTo>
                  <a:lnTo>
                    <a:pt x="132" y="39"/>
                  </a:lnTo>
                  <a:lnTo>
                    <a:pt x="135" y="41"/>
                  </a:lnTo>
                  <a:lnTo>
                    <a:pt x="140" y="44"/>
                  </a:lnTo>
                  <a:lnTo>
                    <a:pt x="149" y="44"/>
                  </a:lnTo>
                  <a:lnTo>
                    <a:pt x="156" y="46"/>
                  </a:lnTo>
                  <a:lnTo>
                    <a:pt x="164" y="49"/>
                  </a:lnTo>
                  <a:lnTo>
                    <a:pt x="170" y="54"/>
                  </a:lnTo>
                  <a:lnTo>
                    <a:pt x="174" y="61"/>
                  </a:lnTo>
                  <a:lnTo>
                    <a:pt x="178" y="65"/>
                  </a:lnTo>
                  <a:lnTo>
                    <a:pt x="179" y="66"/>
                  </a:lnTo>
                  <a:lnTo>
                    <a:pt x="182" y="65"/>
                  </a:lnTo>
                  <a:lnTo>
                    <a:pt x="186" y="62"/>
                  </a:lnTo>
                  <a:lnTo>
                    <a:pt x="192" y="59"/>
                  </a:lnTo>
                  <a:lnTo>
                    <a:pt x="196" y="54"/>
                  </a:lnTo>
                  <a:lnTo>
                    <a:pt x="198" y="49"/>
                  </a:lnTo>
                  <a:lnTo>
                    <a:pt x="198" y="42"/>
                  </a:lnTo>
                  <a:lnTo>
                    <a:pt x="197" y="25"/>
                  </a:lnTo>
                  <a:lnTo>
                    <a:pt x="199" y="17"/>
                  </a:lnTo>
                  <a:lnTo>
                    <a:pt x="202" y="14"/>
                  </a:lnTo>
                  <a:lnTo>
                    <a:pt x="213" y="6"/>
                  </a:lnTo>
                  <a:lnTo>
                    <a:pt x="217" y="4"/>
                  </a:lnTo>
                  <a:lnTo>
                    <a:pt x="221" y="6"/>
                  </a:lnTo>
                  <a:lnTo>
                    <a:pt x="231" y="8"/>
                  </a:lnTo>
                  <a:lnTo>
                    <a:pt x="235" y="8"/>
                  </a:lnTo>
                  <a:lnTo>
                    <a:pt x="239" y="8"/>
                  </a:lnTo>
                  <a:lnTo>
                    <a:pt x="248" y="7"/>
                  </a:lnTo>
                  <a:lnTo>
                    <a:pt x="249" y="7"/>
                  </a:lnTo>
                  <a:lnTo>
                    <a:pt x="249" y="8"/>
                  </a:lnTo>
                  <a:lnTo>
                    <a:pt x="250" y="10"/>
                  </a:lnTo>
                  <a:lnTo>
                    <a:pt x="252" y="14"/>
                  </a:lnTo>
                  <a:lnTo>
                    <a:pt x="253" y="16"/>
                  </a:lnTo>
                  <a:lnTo>
                    <a:pt x="258" y="17"/>
                  </a:lnTo>
                  <a:lnTo>
                    <a:pt x="263" y="19"/>
                  </a:lnTo>
                  <a:lnTo>
                    <a:pt x="268" y="22"/>
                  </a:lnTo>
                  <a:lnTo>
                    <a:pt x="274" y="25"/>
                  </a:lnTo>
                  <a:lnTo>
                    <a:pt x="279" y="26"/>
                  </a:lnTo>
                  <a:lnTo>
                    <a:pt x="285" y="26"/>
                  </a:lnTo>
                  <a:lnTo>
                    <a:pt x="287" y="2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0" name="Freeform 669"/>
            <p:cNvSpPr>
              <a:spLocks/>
            </p:cNvSpPr>
            <p:nvPr/>
          </p:nvSpPr>
          <p:spPr bwMode="auto">
            <a:xfrm>
              <a:off x="4524376" y="3214689"/>
              <a:ext cx="104775" cy="225425"/>
            </a:xfrm>
            <a:custGeom>
              <a:avLst/>
              <a:gdLst>
                <a:gd name="T0" fmla="*/ 2147483647 w 72"/>
                <a:gd name="T1" fmla="*/ 2147483647 h 142"/>
                <a:gd name="T2" fmla="*/ 2147483647 w 72"/>
                <a:gd name="T3" fmla="*/ 2147483647 h 142"/>
                <a:gd name="T4" fmla="*/ 2147483647 w 72"/>
                <a:gd name="T5" fmla="*/ 2147483647 h 142"/>
                <a:gd name="T6" fmla="*/ 2147483647 w 72"/>
                <a:gd name="T7" fmla="*/ 2147483647 h 142"/>
                <a:gd name="T8" fmla="*/ 2147483647 w 72"/>
                <a:gd name="T9" fmla="*/ 2147483647 h 142"/>
                <a:gd name="T10" fmla="*/ 2147483647 w 72"/>
                <a:gd name="T11" fmla="*/ 2147483647 h 142"/>
                <a:gd name="T12" fmla="*/ 2147483647 w 72"/>
                <a:gd name="T13" fmla="*/ 2147483647 h 142"/>
                <a:gd name="T14" fmla="*/ 2147483647 w 72"/>
                <a:gd name="T15" fmla="*/ 2147483647 h 142"/>
                <a:gd name="T16" fmla="*/ 2147483647 w 72"/>
                <a:gd name="T17" fmla="*/ 2147483647 h 142"/>
                <a:gd name="T18" fmla="*/ 2147483647 w 72"/>
                <a:gd name="T19" fmla="*/ 2147483647 h 142"/>
                <a:gd name="T20" fmla="*/ 2147483647 w 72"/>
                <a:gd name="T21" fmla="*/ 2147483647 h 142"/>
                <a:gd name="T22" fmla="*/ 2147483647 w 72"/>
                <a:gd name="T23" fmla="*/ 2147483647 h 142"/>
                <a:gd name="T24" fmla="*/ 2147483647 w 72"/>
                <a:gd name="T25" fmla="*/ 2147483647 h 142"/>
                <a:gd name="T26" fmla="*/ 0 w 72"/>
                <a:gd name="T27" fmla="*/ 2147483647 h 142"/>
                <a:gd name="T28" fmla="*/ 2147483647 w 72"/>
                <a:gd name="T29" fmla="*/ 2147483647 h 142"/>
                <a:gd name="T30" fmla="*/ 2147483647 w 72"/>
                <a:gd name="T31" fmla="*/ 2147483647 h 142"/>
                <a:gd name="T32" fmla="*/ 2147483647 w 72"/>
                <a:gd name="T33" fmla="*/ 2147483647 h 142"/>
                <a:gd name="T34" fmla="*/ 2147483647 w 72"/>
                <a:gd name="T35" fmla="*/ 2147483647 h 142"/>
                <a:gd name="T36" fmla="*/ 2147483647 w 72"/>
                <a:gd name="T37" fmla="*/ 2147483647 h 142"/>
                <a:gd name="T38" fmla="*/ 2147483647 w 72"/>
                <a:gd name="T39" fmla="*/ 2147483647 h 142"/>
                <a:gd name="T40" fmla="*/ 2147483647 w 72"/>
                <a:gd name="T41" fmla="*/ 2147483647 h 142"/>
                <a:gd name="T42" fmla="*/ 2147483647 w 72"/>
                <a:gd name="T43" fmla="*/ 2147483647 h 142"/>
                <a:gd name="T44" fmla="*/ 2147483647 w 72"/>
                <a:gd name="T45" fmla="*/ 2147483647 h 142"/>
                <a:gd name="T46" fmla="*/ 2147483647 w 72"/>
                <a:gd name="T47" fmla="*/ 2147483647 h 142"/>
                <a:gd name="T48" fmla="*/ 2147483647 w 72"/>
                <a:gd name="T49" fmla="*/ 2147483647 h 142"/>
                <a:gd name="T50" fmla="*/ 2147483647 w 72"/>
                <a:gd name="T51" fmla="*/ 0 h 142"/>
                <a:gd name="T52" fmla="*/ 2147483647 w 72"/>
                <a:gd name="T53" fmla="*/ 2147483647 h 142"/>
                <a:gd name="T54" fmla="*/ 2147483647 w 72"/>
                <a:gd name="T55" fmla="*/ 2147483647 h 142"/>
                <a:gd name="T56" fmla="*/ 2147483647 w 72"/>
                <a:gd name="T57" fmla="*/ 2147483647 h 142"/>
                <a:gd name="T58" fmla="*/ 2147483647 w 72"/>
                <a:gd name="T59" fmla="*/ 2147483647 h 142"/>
                <a:gd name="T60" fmla="*/ 2147483647 w 72"/>
                <a:gd name="T61" fmla="*/ 2147483647 h 142"/>
                <a:gd name="T62" fmla="*/ 2147483647 w 72"/>
                <a:gd name="T63" fmla="*/ 2147483647 h 142"/>
                <a:gd name="T64" fmla="*/ 2147483647 w 72"/>
                <a:gd name="T65" fmla="*/ 2147483647 h 142"/>
                <a:gd name="T66" fmla="*/ 2147483647 w 72"/>
                <a:gd name="T67" fmla="*/ 2147483647 h 142"/>
                <a:gd name="T68" fmla="*/ 2147483647 w 72"/>
                <a:gd name="T69" fmla="*/ 2147483647 h 142"/>
                <a:gd name="T70" fmla="*/ 2147483647 w 72"/>
                <a:gd name="T71" fmla="*/ 2147483647 h 142"/>
                <a:gd name="T72" fmla="*/ 2147483647 w 72"/>
                <a:gd name="T73" fmla="*/ 2147483647 h 142"/>
                <a:gd name="T74" fmla="*/ 2147483647 w 72"/>
                <a:gd name="T75" fmla="*/ 2147483647 h 142"/>
                <a:gd name="T76" fmla="*/ 2147483647 w 72"/>
                <a:gd name="T77" fmla="*/ 2147483647 h 142"/>
                <a:gd name="T78" fmla="*/ 2147483647 w 72"/>
                <a:gd name="T79" fmla="*/ 2147483647 h 142"/>
                <a:gd name="T80" fmla="*/ 2147483647 w 72"/>
                <a:gd name="T81" fmla="*/ 2147483647 h 142"/>
                <a:gd name="T82" fmla="*/ 2147483647 w 72"/>
                <a:gd name="T83" fmla="*/ 2147483647 h 1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142"/>
                <a:gd name="T128" fmla="*/ 72 w 72"/>
                <a:gd name="T129" fmla="*/ 142 h 1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142">
                  <a:moveTo>
                    <a:pt x="72" y="88"/>
                  </a:moveTo>
                  <a:lnTo>
                    <a:pt x="70" y="92"/>
                  </a:lnTo>
                  <a:lnTo>
                    <a:pt x="70" y="98"/>
                  </a:lnTo>
                  <a:lnTo>
                    <a:pt x="69" y="103"/>
                  </a:lnTo>
                  <a:lnTo>
                    <a:pt x="67" y="108"/>
                  </a:lnTo>
                  <a:lnTo>
                    <a:pt x="65" y="110"/>
                  </a:lnTo>
                  <a:lnTo>
                    <a:pt x="60" y="111"/>
                  </a:lnTo>
                  <a:lnTo>
                    <a:pt x="55" y="113"/>
                  </a:lnTo>
                  <a:lnTo>
                    <a:pt x="50" y="115"/>
                  </a:lnTo>
                  <a:lnTo>
                    <a:pt x="47" y="116"/>
                  </a:lnTo>
                  <a:lnTo>
                    <a:pt x="47" y="118"/>
                  </a:lnTo>
                  <a:lnTo>
                    <a:pt x="47" y="127"/>
                  </a:lnTo>
                  <a:lnTo>
                    <a:pt x="47" y="133"/>
                  </a:lnTo>
                  <a:lnTo>
                    <a:pt x="44" y="137"/>
                  </a:lnTo>
                  <a:lnTo>
                    <a:pt x="38" y="142"/>
                  </a:lnTo>
                  <a:lnTo>
                    <a:pt x="30" y="126"/>
                  </a:lnTo>
                  <a:lnTo>
                    <a:pt x="27" y="118"/>
                  </a:lnTo>
                  <a:lnTo>
                    <a:pt x="23" y="115"/>
                  </a:lnTo>
                  <a:lnTo>
                    <a:pt x="19" y="113"/>
                  </a:lnTo>
                  <a:lnTo>
                    <a:pt x="18" y="110"/>
                  </a:lnTo>
                  <a:lnTo>
                    <a:pt x="15" y="108"/>
                  </a:lnTo>
                  <a:lnTo>
                    <a:pt x="14" y="102"/>
                  </a:lnTo>
                  <a:lnTo>
                    <a:pt x="11" y="96"/>
                  </a:lnTo>
                  <a:lnTo>
                    <a:pt x="9" y="89"/>
                  </a:lnTo>
                  <a:lnTo>
                    <a:pt x="8" y="86"/>
                  </a:lnTo>
                  <a:lnTo>
                    <a:pt x="4" y="84"/>
                  </a:lnTo>
                  <a:lnTo>
                    <a:pt x="1" y="82"/>
                  </a:lnTo>
                  <a:lnTo>
                    <a:pt x="0" y="79"/>
                  </a:lnTo>
                  <a:lnTo>
                    <a:pt x="0" y="77"/>
                  </a:lnTo>
                  <a:lnTo>
                    <a:pt x="1" y="75"/>
                  </a:lnTo>
                  <a:lnTo>
                    <a:pt x="6" y="70"/>
                  </a:lnTo>
                  <a:lnTo>
                    <a:pt x="10" y="66"/>
                  </a:lnTo>
                  <a:lnTo>
                    <a:pt x="15" y="59"/>
                  </a:lnTo>
                  <a:lnTo>
                    <a:pt x="20" y="52"/>
                  </a:lnTo>
                  <a:lnTo>
                    <a:pt x="22" y="47"/>
                  </a:lnTo>
                  <a:lnTo>
                    <a:pt x="22" y="44"/>
                  </a:lnTo>
                  <a:lnTo>
                    <a:pt x="20" y="39"/>
                  </a:lnTo>
                  <a:lnTo>
                    <a:pt x="19" y="35"/>
                  </a:lnTo>
                  <a:lnTo>
                    <a:pt x="18" y="32"/>
                  </a:lnTo>
                  <a:lnTo>
                    <a:pt x="19" y="28"/>
                  </a:lnTo>
                  <a:lnTo>
                    <a:pt x="18" y="27"/>
                  </a:lnTo>
                  <a:lnTo>
                    <a:pt x="16" y="26"/>
                  </a:lnTo>
                  <a:lnTo>
                    <a:pt x="15" y="24"/>
                  </a:lnTo>
                  <a:lnTo>
                    <a:pt x="15" y="21"/>
                  </a:lnTo>
                  <a:lnTo>
                    <a:pt x="18" y="18"/>
                  </a:lnTo>
                  <a:lnTo>
                    <a:pt x="19" y="15"/>
                  </a:lnTo>
                  <a:lnTo>
                    <a:pt x="20" y="12"/>
                  </a:lnTo>
                  <a:lnTo>
                    <a:pt x="27" y="11"/>
                  </a:lnTo>
                  <a:lnTo>
                    <a:pt x="34" y="7"/>
                  </a:lnTo>
                  <a:lnTo>
                    <a:pt x="42" y="2"/>
                  </a:lnTo>
                  <a:lnTo>
                    <a:pt x="50" y="0"/>
                  </a:lnTo>
                  <a:lnTo>
                    <a:pt x="52" y="0"/>
                  </a:lnTo>
                  <a:lnTo>
                    <a:pt x="55" y="1"/>
                  </a:lnTo>
                  <a:lnTo>
                    <a:pt x="58" y="7"/>
                  </a:lnTo>
                  <a:lnTo>
                    <a:pt x="61" y="9"/>
                  </a:lnTo>
                  <a:lnTo>
                    <a:pt x="63" y="11"/>
                  </a:lnTo>
                  <a:lnTo>
                    <a:pt x="67" y="7"/>
                  </a:lnTo>
                  <a:lnTo>
                    <a:pt x="70" y="7"/>
                  </a:lnTo>
                  <a:lnTo>
                    <a:pt x="71" y="7"/>
                  </a:lnTo>
                  <a:lnTo>
                    <a:pt x="71" y="11"/>
                  </a:lnTo>
                  <a:lnTo>
                    <a:pt x="70" y="13"/>
                  </a:lnTo>
                  <a:lnTo>
                    <a:pt x="67" y="15"/>
                  </a:lnTo>
                  <a:lnTo>
                    <a:pt x="63" y="20"/>
                  </a:lnTo>
                  <a:lnTo>
                    <a:pt x="60" y="25"/>
                  </a:lnTo>
                  <a:lnTo>
                    <a:pt x="60" y="27"/>
                  </a:lnTo>
                  <a:lnTo>
                    <a:pt x="60" y="30"/>
                  </a:lnTo>
                  <a:lnTo>
                    <a:pt x="61" y="34"/>
                  </a:lnTo>
                  <a:lnTo>
                    <a:pt x="63" y="38"/>
                  </a:lnTo>
                  <a:lnTo>
                    <a:pt x="67" y="43"/>
                  </a:lnTo>
                  <a:lnTo>
                    <a:pt x="70" y="47"/>
                  </a:lnTo>
                  <a:lnTo>
                    <a:pt x="69" y="51"/>
                  </a:lnTo>
                  <a:lnTo>
                    <a:pt x="65" y="54"/>
                  </a:lnTo>
                  <a:lnTo>
                    <a:pt x="57" y="62"/>
                  </a:lnTo>
                  <a:lnTo>
                    <a:pt x="53" y="66"/>
                  </a:lnTo>
                  <a:lnTo>
                    <a:pt x="51" y="71"/>
                  </a:lnTo>
                  <a:lnTo>
                    <a:pt x="51" y="75"/>
                  </a:lnTo>
                  <a:lnTo>
                    <a:pt x="51" y="78"/>
                  </a:lnTo>
                  <a:lnTo>
                    <a:pt x="52" y="81"/>
                  </a:lnTo>
                  <a:lnTo>
                    <a:pt x="56" y="83"/>
                  </a:lnTo>
                  <a:lnTo>
                    <a:pt x="57" y="83"/>
                  </a:lnTo>
                  <a:lnTo>
                    <a:pt x="60" y="83"/>
                  </a:lnTo>
                  <a:lnTo>
                    <a:pt x="63" y="83"/>
                  </a:lnTo>
                  <a:lnTo>
                    <a:pt x="65" y="83"/>
                  </a:lnTo>
                  <a:lnTo>
                    <a:pt x="70" y="88"/>
                  </a:lnTo>
                  <a:lnTo>
                    <a:pt x="72" y="8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1" name="Freeform 670"/>
            <p:cNvSpPr>
              <a:spLocks/>
            </p:cNvSpPr>
            <p:nvPr/>
          </p:nvSpPr>
          <p:spPr bwMode="auto">
            <a:xfrm>
              <a:off x="4557714" y="3351214"/>
              <a:ext cx="425450" cy="455612"/>
            </a:xfrm>
            <a:custGeom>
              <a:avLst/>
              <a:gdLst>
                <a:gd name="T0" fmla="*/ 2147483647 w 291"/>
                <a:gd name="T1" fmla="*/ 2147483647 h 287"/>
                <a:gd name="T2" fmla="*/ 2147483647 w 291"/>
                <a:gd name="T3" fmla="*/ 2147483647 h 287"/>
                <a:gd name="T4" fmla="*/ 2147483647 w 291"/>
                <a:gd name="T5" fmla="*/ 2147483647 h 287"/>
                <a:gd name="T6" fmla="*/ 2147483647 w 291"/>
                <a:gd name="T7" fmla="*/ 2147483647 h 287"/>
                <a:gd name="T8" fmla="*/ 2147483647 w 291"/>
                <a:gd name="T9" fmla="*/ 2147483647 h 287"/>
                <a:gd name="T10" fmla="*/ 2147483647 w 291"/>
                <a:gd name="T11" fmla="*/ 2147483647 h 287"/>
                <a:gd name="T12" fmla="*/ 2147483647 w 291"/>
                <a:gd name="T13" fmla="*/ 2147483647 h 287"/>
                <a:gd name="T14" fmla="*/ 2147483647 w 291"/>
                <a:gd name="T15" fmla="*/ 2147483647 h 287"/>
                <a:gd name="T16" fmla="*/ 2147483647 w 291"/>
                <a:gd name="T17" fmla="*/ 2147483647 h 287"/>
                <a:gd name="T18" fmla="*/ 2147483647 w 291"/>
                <a:gd name="T19" fmla="*/ 2147483647 h 287"/>
                <a:gd name="T20" fmla="*/ 2147483647 w 291"/>
                <a:gd name="T21" fmla="*/ 2147483647 h 287"/>
                <a:gd name="T22" fmla="*/ 2147483647 w 291"/>
                <a:gd name="T23" fmla="*/ 2147483647 h 287"/>
                <a:gd name="T24" fmla="*/ 2147483647 w 291"/>
                <a:gd name="T25" fmla="*/ 2147483647 h 287"/>
                <a:gd name="T26" fmla="*/ 2147483647 w 291"/>
                <a:gd name="T27" fmla="*/ 2147483647 h 287"/>
                <a:gd name="T28" fmla="*/ 2147483647 w 291"/>
                <a:gd name="T29" fmla="*/ 2147483647 h 287"/>
                <a:gd name="T30" fmla="*/ 2147483647 w 291"/>
                <a:gd name="T31" fmla="*/ 2147483647 h 287"/>
                <a:gd name="T32" fmla="*/ 2147483647 w 291"/>
                <a:gd name="T33" fmla="*/ 2147483647 h 287"/>
                <a:gd name="T34" fmla="*/ 2147483647 w 291"/>
                <a:gd name="T35" fmla="*/ 2147483647 h 287"/>
                <a:gd name="T36" fmla="*/ 2147483647 w 291"/>
                <a:gd name="T37" fmla="*/ 2147483647 h 287"/>
                <a:gd name="T38" fmla="*/ 2147483647 w 291"/>
                <a:gd name="T39" fmla="*/ 2147483647 h 287"/>
                <a:gd name="T40" fmla="*/ 0 w 291"/>
                <a:gd name="T41" fmla="*/ 2147483647 h 287"/>
                <a:gd name="T42" fmla="*/ 2147483647 w 291"/>
                <a:gd name="T43" fmla="*/ 2147483647 h 287"/>
                <a:gd name="T44" fmla="*/ 2147483647 w 291"/>
                <a:gd name="T45" fmla="*/ 2147483647 h 287"/>
                <a:gd name="T46" fmla="*/ 2147483647 w 291"/>
                <a:gd name="T47" fmla="*/ 2147483647 h 287"/>
                <a:gd name="T48" fmla="*/ 2147483647 w 291"/>
                <a:gd name="T49" fmla="*/ 2147483647 h 287"/>
                <a:gd name="T50" fmla="*/ 2147483647 w 291"/>
                <a:gd name="T51" fmla="*/ 2147483647 h 287"/>
                <a:gd name="T52" fmla="*/ 2147483647 w 291"/>
                <a:gd name="T53" fmla="*/ 2147483647 h 287"/>
                <a:gd name="T54" fmla="*/ 2147483647 w 291"/>
                <a:gd name="T55" fmla="*/ 2147483647 h 287"/>
                <a:gd name="T56" fmla="*/ 2147483647 w 291"/>
                <a:gd name="T57" fmla="*/ 2147483647 h 287"/>
                <a:gd name="T58" fmla="*/ 2147483647 w 291"/>
                <a:gd name="T59" fmla="*/ 2147483647 h 287"/>
                <a:gd name="T60" fmla="*/ 2147483647 w 291"/>
                <a:gd name="T61" fmla="*/ 2147483647 h 287"/>
                <a:gd name="T62" fmla="*/ 2147483647 w 291"/>
                <a:gd name="T63" fmla="*/ 2147483647 h 287"/>
                <a:gd name="T64" fmla="*/ 2147483647 w 291"/>
                <a:gd name="T65" fmla="*/ 2147483647 h 287"/>
                <a:gd name="T66" fmla="*/ 2147483647 w 291"/>
                <a:gd name="T67" fmla="*/ 2147483647 h 287"/>
                <a:gd name="T68" fmla="*/ 2147483647 w 291"/>
                <a:gd name="T69" fmla="*/ 0 h 287"/>
                <a:gd name="T70" fmla="*/ 2147483647 w 291"/>
                <a:gd name="T71" fmla="*/ 0 h 287"/>
                <a:gd name="T72" fmla="*/ 2147483647 w 291"/>
                <a:gd name="T73" fmla="*/ 2147483647 h 287"/>
                <a:gd name="T74" fmla="*/ 2147483647 w 291"/>
                <a:gd name="T75" fmla="*/ 2147483647 h 287"/>
                <a:gd name="T76" fmla="*/ 2147483647 w 291"/>
                <a:gd name="T77" fmla="*/ 2147483647 h 287"/>
                <a:gd name="T78" fmla="*/ 2147483647 w 291"/>
                <a:gd name="T79" fmla="*/ 2147483647 h 287"/>
                <a:gd name="T80" fmla="*/ 2147483647 w 291"/>
                <a:gd name="T81" fmla="*/ 2147483647 h 287"/>
                <a:gd name="T82" fmla="*/ 2147483647 w 291"/>
                <a:gd name="T83" fmla="*/ 2147483647 h 287"/>
                <a:gd name="T84" fmla="*/ 2147483647 w 291"/>
                <a:gd name="T85" fmla="*/ 2147483647 h 287"/>
                <a:gd name="T86" fmla="*/ 2147483647 w 291"/>
                <a:gd name="T87" fmla="*/ 2147483647 h 287"/>
                <a:gd name="T88" fmla="*/ 2147483647 w 291"/>
                <a:gd name="T89" fmla="*/ 2147483647 h 287"/>
                <a:gd name="T90" fmla="*/ 2147483647 w 291"/>
                <a:gd name="T91" fmla="*/ 2147483647 h 287"/>
                <a:gd name="T92" fmla="*/ 2147483647 w 291"/>
                <a:gd name="T93" fmla="*/ 2147483647 h 287"/>
                <a:gd name="T94" fmla="*/ 2147483647 w 291"/>
                <a:gd name="T95" fmla="*/ 2147483647 h 287"/>
                <a:gd name="T96" fmla="*/ 2147483647 w 291"/>
                <a:gd name="T97" fmla="*/ 2147483647 h 287"/>
                <a:gd name="T98" fmla="*/ 2147483647 w 291"/>
                <a:gd name="T99" fmla="*/ 2147483647 h 287"/>
                <a:gd name="T100" fmla="*/ 2147483647 w 291"/>
                <a:gd name="T101" fmla="*/ 2147483647 h 287"/>
                <a:gd name="T102" fmla="*/ 2147483647 w 291"/>
                <a:gd name="T103" fmla="*/ 2147483647 h 287"/>
                <a:gd name="T104" fmla="*/ 2147483647 w 291"/>
                <a:gd name="T105" fmla="*/ 2147483647 h 287"/>
                <a:gd name="T106" fmla="*/ 2147483647 w 291"/>
                <a:gd name="T107" fmla="*/ 2147483647 h 287"/>
                <a:gd name="T108" fmla="*/ 2147483647 w 291"/>
                <a:gd name="T109" fmla="*/ 2147483647 h 287"/>
                <a:gd name="T110" fmla="*/ 2147483647 w 291"/>
                <a:gd name="T111" fmla="*/ 2147483647 h 287"/>
                <a:gd name="T112" fmla="*/ 2147483647 w 291"/>
                <a:gd name="T113" fmla="*/ 2147483647 h 2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1"/>
                <a:gd name="T172" fmla="*/ 0 h 287"/>
                <a:gd name="T173" fmla="*/ 291 w 291"/>
                <a:gd name="T174" fmla="*/ 287 h 2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1" h="287">
                  <a:moveTo>
                    <a:pt x="287" y="28"/>
                  </a:moveTo>
                  <a:lnTo>
                    <a:pt x="287" y="28"/>
                  </a:lnTo>
                  <a:lnTo>
                    <a:pt x="283" y="32"/>
                  </a:lnTo>
                  <a:lnTo>
                    <a:pt x="283" y="37"/>
                  </a:lnTo>
                  <a:lnTo>
                    <a:pt x="284" y="42"/>
                  </a:lnTo>
                  <a:lnTo>
                    <a:pt x="288" y="47"/>
                  </a:lnTo>
                  <a:lnTo>
                    <a:pt x="289" y="48"/>
                  </a:lnTo>
                  <a:lnTo>
                    <a:pt x="289" y="50"/>
                  </a:lnTo>
                  <a:lnTo>
                    <a:pt x="287" y="59"/>
                  </a:lnTo>
                  <a:lnTo>
                    <a:pt x="284" y="68"/>
                  </a:lnTo>
                  <a:lnTo>
                    <a:pt x="284" y="72"/>
                  </a:lnTo>
                  <a:lnTo>
                    <a:pt x="286" y="76"/>
                  </a:lnTo>
                  <a:lnTo>
                    <a:pt x="287" y="80"/>
                  </a:lnTo>
                  <a:lnTo>
                    <a:pt x="291" y="83"/>
                  </a:lnTo>
                  <a:lnTo>
                    <a:pt x="289" y="234"/>
                  </a:lnTo>
                  <a:lnTo>
                    <a:pt x="288" y="271"/>
                  </a:lnTo>
                  <a:lnTo>
                    <a:pt x="279" y="273"/>
                  </a:lnTo>
                  <a:lnTo>
                    <a:pt x="278" y="287"/>
                  </a:lnTo>
                  <a:lnTo>
                    <a:pt x="123" y="204"/>
                  </a:lnTo>
                  <a:lnTo>
                    <a:pt x="117" y="212"/>
                  </a:lnTo>
                  <a:lnTo>
                    <a:pt x="109" y="217"/>
                  </a:lnTo>
                  <a:lnTo>
                    <a:pt x="91" y="228"/>
                  </a:lnTo>
                  <a:lnTo>
                    <a:pt x="87" y="228"/>
                  </a:lnTo>
                  <a:lnTo>
                    <a:pt x="85" y="227"/>
                  </a:lnTo>
                  <a:lnTo>
                    <a:pt x="84" y="226"/>
                  </a:lnTo>
                  <a:lnTo>
                    <a:pt x="84" y="221"/>
                  </a:lnTo>
                  <a:lnTo>
                    <a:pt x="81" y="217"/>
                  </a:lnTo>
                  <a:lnTo>
                    <a:pt x="80" y="215"/>
                  </a:lnTo>
                  <a:lnTo>
                    <a:pt x="77" y="214"/>
                  </a:lnTo>
                  <a:lnTo>
                    <a:pt x="71" y="212"/>
                  </a:lnTo>
                  <a:lnTo>
                    <a:pt x="65" y="212"/>
                  </a:lnTo>
                  <a:lnTo>
                    <a:pt x="61" y="212"/>
                  </a:lnTo>
                  <a:lnTo>
                    <a:pt x="57" y="210"/>
                  </a:lnTo>
                  <a:lnTo>
                    <a:pt x="54" y="208"/>
                  </a:lnTo>
                  <a:lnTo>
                    <a:pt x="53" y="204"/>
                  </a:lnTo>
                  <a:lnTo>
                    <a:pt x="51" y="201"/>
                  </a:lnTo>
                  <a:lnTo>
                    <a:pt x="48" y="197"/>
                  </a:lnTo>
                  <a:lnTo>
                    <a:pt x="43" y="196"/>
                  </a:lnTo>
                  <a:lnTo>
                    <a:pt x="38" y="195"/>
                  </a:lnTo>
                  <a:lnTo>
                    <a:pt x="28" y="194"/>
                  </a:lnTo>
                  <a:lnTo>
                    <a:pt x="23" y="194"/>
                  </a:lnTo>
                  <a:lnTo>
                    <a:pt x="19" y="191"/>
                  </a:lnTo>
                  <a:lnTo>
                    <a:pt x="16" y="188"/>
                  </a:lnTo>
                  <a:lnTo>
                    <a:pt x="15" y="183"/>
                  </a:lnTo>
                  <a:lnTo>
                    <a:pt x="15" y="174"/>
                  </a:lnTo>
                  <a:lnTo>
                    <a:pt x="13" y="170"/>
                  </a:lnTo>
                  <a:lnTo>
                    <a:pt x="10" y="168"/>
                  </a:lnTo>
                  <a:lnTo>
                    <a:pt x="6" y="165"/>
                  </a:lnTo>
                  <a:lnTo>
                    <a:pt x="4" y="162"/>
                  </a:lnTo>
                  <a:lnTo>
                    <a:pt x="1" y="158"/>
                  </a:lnTo>
                  <a:lnTo>
                    <a:pt x="0" y="155"/>
                  </a:lnTo>
                  <a:lnTo>
                    <a:pt x="0" y="152"/>
                  </a:lnTo>
                  <a:lnTo>
                    <a:pt x="0" y="150"/>
                  </a:lnTo>
                  <a:lnTo>
                    <a:pt x="4" y="144"/>
                  </a:lnTo>
                  <a:lnTo>
                    <a:pt x="7" y="139"/>
                  </a:lnTo>
                  <a:lnTo>
                    <a:pt x="10" y="134"/>
                  </a:lnTo>
                  <a:lnTo>
                    <a:pt x="10" y="126"/>
                  </a:lnTo>
                  <a:lnTo>
                    <a:pt x="9" y="117"/>
                  </a:lnTo>
                  <a:lnTo>
                    <a:pt x="10" y="111"/>
                  </a:lnTo>
                  <a:lnTo>
                    <a:pt x="10" y="105"/>
                  </a:lnTo>
                  <a:lnTo>
                    <a:pt x="7" y="101"/>
                  </a:lnTo>
                  <a:lnTo>
                    <a:pt x="6" y="98"/>
                  </a:lnTo>
                  <a:lnTo>
                    <a:pt x="4" y="91"/>
                  </a:lnTo>
                  <a:lnTo>
                    <a:pt x="4" y="80"/>
                  </a:lnTo>
                  <a:lnTo>
                    <a:pt x="5" y="69"/>
                  </a:lnTo>
                  <a:lnTo>
                    <a:pt x="6" y="62"/>
                  </a:lnTo>
                  <a:lnTo>
                    <a:pt x="9" y="59"/>
                  </a:lnTo>
                  <a:lnTo>
                    <a:pt x="11" y="56"/>
                  </a:lnTo>
                  <a:lnTo>
                    <a:pt x="14" y="55"/>
                  </a:lnTo>
                  <a:lnTo>
                    <a:pt x="20" y="50"/>
                  </a:lnTo>
                  <a:lnTo>
                    <a:pt x="23" y="46"/>
                  </a:lnTo>
                  <a:lnTo>
                    <a:pt x="23" y="40"/>
                  </a:lnTo>
                  <a:lnTo>
                    <a:pt x="23" y="31"/>
                  </a:lnTo>
                  <a:lnTo>
                    <a:pt x="23" y="29"/>
                  </a:lnTo>
                  <a:lnTo>
                    <a:pt x="25" y="28"/>
                  </a:lnTo>
                  <a:lnTo>
                    <a:pt x="30" y="25"/>
                  </a:lnTo>
                  <a:lnTo>
                    <a:pt x="35" y="24"/>
                  </a:lnTo>
                  <a:lnTo>
                    <a:pt x="40" y="23"/>
                  </a:lnTo>
                  <a:lnTo>
                    <a:pt x="43" y="21"/>
                  </a:lnTo>
                  <a:lnTo>
                    <a:pt x="44" y="16"/>
                  </a:lnTo>
                  <a:lnTo>
                    <a:pt x="46" y="11"/>
                  </a:lnTo>
                  <a:lnTo>
                    <a:pt x="46" y="5"/>
                  </a:lnTo>
                  <a:lnTo>
                    <a:pt x="48" y="0"/>
                  </a:lnTo>
                  <a:lnTo>
                    <a:pt x="51" y="0"/>
                  </a:lnTo>
                  <a:lnTo>
                    <a:pt x="54" y="0"/>
                  </a:lnTo>
                  <a:lnTo>
                    <a:pt x="67" y="4"/>
                  </a:lnTo>
                  <a:lnTo>
                    <a:pt x="75" y="5"/>
                  </a:lnTo>
                  <a:lnTo>
                    <a:pt x="81" y="4"/>
                  </a:lnTo>
                  <a:lnTo>
                    <a:pt x="89" y="3"/>
                  </a:lnTo>
                  <a:lnTo>
                    <a:pt x="96" y="4"/>
                  </a:lnTo>
                  <a:lnTo>
                    <a:pt x="101" y="5"/>
                  </a:lnTo>
                  <a:lnTo>
                    <a:pt x="108" y="9"/>
                  </a:lnTo>
                  <a:lnTo>
                    <a:pt x="112" y="14"/>
                  </a:lnTo>
                  <a:lnTo>
                    <a:pt x="122" y="27"/>
                  </a:lnTo>
                  <a:lnTo>
                    <a:pt x="132" y="40"/>
                  </a:lnTo>
                  <a:lnTo>
                    <a:pt x="134" y="42"/>
                  </a:lnTo>
                  <a:lnTo>
                    <a:pt x="140" y="44"/>
                  </a:lnTo>
                  <a:lnTo>
                    <a:pt x="148" y="44"/>
                  </a:lnTo>
                  <a:lnTo>
                    <a:pt x="156" y="47"/>
                  </a:lnTo>
                  <a:lnTo>
                    <a:pt x="164" y="50"/>
                  </a:lnTo>
                  <a:lnTo>
                    <a:pt x="170" y="55"/>
                  </a:lnTo>
                  <a:lnTo>
                    <a:pt x="174" y="62"/>
                  </a:lnTo>
                  <a:lnTo>
                    <a:pt x="178" y="66"/>
                  </a:lnTo>
                  <a:lnTo>
                    <a:pt x="179" y="67"/>
                  </a:lnTo>
                  <a:lnTo>
                    <a:pt x="181" y="66"/>
                  </a:lnTo>
                  <a:lnTo>
                    <a:pt x="185" y="63"/>
                  </a:lnTo>
                  <a:lnTo>
                    <a:pt x="192" y="60"/>
                  </a:lnTo>
                  <a:lnTo>
                    <a:pt x="195" y="55"/>
                  </a:lnTo>
                  <a:lnTo>
                    <a:pt x="198" y="50"/>
                  </a:lnTo>
                  <a:lnTo>
                    <a:pt x="198" y="43"/>
                  </a:lnTo>
                  <a:lnTo>
                    <a:pt x="197" y="25"/>
                  </a:lnTo>
                  <a:lnTo>
                    <a:pt x="199" y="18"/>
                  </a:lnTo>
                  <a:lnTo>
                    <a:pt x="202" y="15"/>
                  </a:lnTo>
                  <a:lnTo>
                    <a:pt x="213" y="6"/>
                  </a:lnTo>
                  <a:lnTo>
                    <a:pt x="217" y="5"/>
                  </a:lnTo>
                  <a:lnTo>
                    <a:pt x="221" y="6"/>
                  </a:lnTo>
                  <a:lnTo>
                    <a:pt x="231" y="9"/>
                  </a:lnTo>
                  <a:lnTo>
                    <a:pt x="235" y="9"/>
                  </a:lnTo>
                  <a:lnTo>
                    <a:pt x="239" y="9"/>
                  </a:lnTo>
                  <a:lnTo>
                    <a:pt x="247" y="8"/>
                  </a:lnTo>
                  <a:lnTo>
                    <a:pt x="249" y="8"/>
                  </a:lnTo>
                  <a:lnTo>
                    <a:pt x="249" y="9"/>
                  </a:lnTo>
                  <a:lnTo>
                    <a:pt x="250" y="11"/>
                  </a:lnTo>
                  <a:lnTo>
                    <a:pt x="251" y="15"/>
                  </a:lnTo>
                  <a:lnTo>
                    <a:pt x="253" y="17"/>
                  </a:lnTo>
                  <a:lnTo>
                    <a:pt x="258" y="18"/>
                  </a:lnTo>
                  <a:lnTo>
                    <a:pt x="263" y="19"/>
                  </a:lnTo>
                  <a:lnTo>
                    <a:pt x="268" y="23"/>
                  </a:lnTo>
                  <a:lnTo>
                    <a:pt x="274" y="25"/>
                  </a:lnTo>
                  <a:lnTo>
                    <a:pt x="279" y="27"/>
                  </a:lnTo>
                  <a:lnTo>
                    <a:pt x="284" y="27"/>
                  </a:lnTo>
                  <a:lnTo>
                    <a:pt x="287" y="2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2" name="Freeform 671"/>
            <p:cNvSpPr>
              <a:spLocks/>
            </p:cNvSpPr>
            <p:nvPr/>
          </p:nvSpPr>
          <p:spPr bwMode="auto">
            <a:xfrm>
              <a:off x="4522790" y="3213101"/>
              <a:ext cx="104775" cy="225425"/>
            </a:xfrm>
            <a:custGeom>
              <a:avLst/>
              <a:gdLst>
                <a:gd name="T0" fmla="*/ 2147483647 w 72"/>
                <a:gd name="T1" fmla="*/ 2147483647 h 142"/>
                <a:gd name="T2" fmla="*/ 2147483647 w 72"/>
                <a:gd name="T3" fmla="*/ 2147483647 h 142"/>
                <a:gd name="T4" fmla="*/ 2147483647 w 72"/>
                <a:gd name="T5" fmla="*/ 2147483647 h 142"/>
                <a:gd name="T6" fmla="*/ 2147483647 w 72"/>
                <a:gd name="T7" fmla="*/ 2147483647 h 142"/>
                <a:gd name="T8" fmla="*/ 2147483647 w 72"/>
                <a:gd name="T9" fmla="*/ 2147483647 h 142"/>
                <a:gd name="T10" fmla="*/ 2147483647 w 72"/>
                <a:gd name="T11" fmla="*/ 2147483647 h 142"/>
                <a:gd name="T12" fmla="*/ 2147483647 w 72"/>
                <a:gd name="T13" fmla="*/ 2147483647 h 142"/>
                <a:gd name="T14" fmla="*/ 2147483647 w 72"/>
                <a:gd name="T15" fmla="*/ 2147483647 h 142"/>
                <a:gd name="T16" fmla="*/ 2147483647 w 72"/>
                <a:gd name="T17" fmla="*/ 2147483647 h 142"/>
                <a:gd name="T18" fmla="*/ 2147483647 w 72"/>
                <a:gd name="T19" fmla="*/ 2147483647 h 142"/>
                <a:gd name="T20" fmla="*/ 2147483647 w 72"/>
                <a:gd name="T21" fmla="*/ 2147483647 h 142"/>
                <a:gd name="T22" fmla="*/ 2147483647 w 72"/>
                <a:gd name="T23" fmla="*/ 2147483647 h 142"/>
                <a:gd name="T24" fmla="*/ 2147483647 w 72"/>
                <a:gd name="T25" fmla="*/ 2147483647 h 142"/>
                <a:gd name="T26" fmla="*/ 2147483647 w 72"/>
                <a:gd name="T27" fmla="*/ 2147483647 h 142"/>
                <a:gd name="T28" fmla="*/ 2147483647 w 72"/>
                <a:gd name="T29" fmla="*/ 2147483647 h 142"/>
                <a:gd name="T30" fmla="*/ 2147483647 w 72"/>
                <a:gd name="T31" fmla="*/ 2147483647 h 142"/>
                <a:gd name="T32" fmla="*/ 2147483647 w 72"/>
                <a:gd name="T33" fmla="*/ 2147483647 h 142"/>
                <a:gd name="T34" fmla="*/ 0 w 72"/>
                <a:gd name="T35" fmla="*/ 2147483647 h 142"/>
                <a:gd name="T36" fmla="*/ 2147483647 w 72"/>
                <a:gd name="T37" fmla="*/ 2147483647 h 142"/>
                <a:gd name="T38" fmla="*/ 2147483647 w 72"/>
                <a:gd name="T39" fmla="*/ 2147483647 h 142"/>
                <a:gd name="T40" fmla="*/ 2147483647 w 72"/>
                <a:gd name="T41" fmla="*/ 2147483647 h 142"/>
                <a:gd name="T42" fmla="*/ 2147483647 w 72"/>
                <a:gd name="T43" fmla="*/ 2147483647 h 142"/>
                <a:gd name="T44" fmla="*/ 2147483647 w 72"/>
                <a:gd name="T45" fmla="*/ 2147483647 h 142"/>
                <a:gd name="T46" fmla="*/ 2147483647 w 72"/>
                <a:gd name="T47" fmla="*/ 2147483647 h 142"/>
                <a:gd name="T48" fmla="*/ 2147483647 w 72"/>
                <a:gd name="T49" fmla="*/ 2147483647 h 142"/>
                <a:gd name="T50" fmla="*/ 2147483647 w 72"/>
                <a:gd name="T51" fmla="*/ 2147483647 h 142"/>
                <a:gd name="T52" fmla="*/ 2147483647 w 72"/>
                <a:gd name="T53" fmla="*/ 2147483647 h 142"/>
                <a:gd name="T54" fmla="*/ 2147483647 w 72"/>
                <a:gd name="T55" fmla="*/ 2147483647 h 142"/>
                <a:gd name="T56" fmla="*/ 2147483647 w 72"/>
                <a:gd name="T57" fmla="*/ 2147483647 h 142"/>
                <a:gd name="T58" fmla="*/ 2147483647 w 72"/>
                <a:gd name="T59" fmla="*/ 2147483647 h 142"/>
                <a:gd name="T60" fmla="*/ 2147483647 w 72"/>
                <a:gd name="T61" fmla="*/ 2147483647 h 142"/>
                <a:gd name="T62" fmla="*/ 2147483647 w 72"/>
                <a:gd name="T63" fmla="*/ 0 h 142"/>
                <a:gd name="T64" fmla="*/ 2147483647 w 72"/>
                <a:gd name="T65" fmla="*/ 0 h 142"/>
                <a:gd name="T66" fmla="*/ 2147483647 w 72"/>
                <a:gd name="T67" fmla="*/ 2147483647 h 142"/>
                <a:gd name="T68" fmla="*/ 2147483647 w 72"/>
                <a:gd name="T69" fmla="*/ 2147483647 h 142"/>
                <a:gd name="T70" fmla="*/ 2147483647 w 72"/>
                <a:gd name="T71" fmla="*/ 2147483647 h 142"/>
                <a:gd name="T72" fmla="*/ 2147483647 w 72"/>
                <a:gd name="T73" fmla="*/ 2147483647 h 142"/>
                <a:gd name="T74" fmla="*/ 2147483647 w 72"/>
                <a:gd name="T75" fmla="*/ 2147483647 h 142"/>
                <a:gd name="T76" fmla="*/ 2147483647 w 72"/>
                <a:gd name="T77" fmla="*/ 2147483647 h 142"/>
                <a:gd name="T78" fmla="*/ 2147483647 w 72"/>
                <a:gd name="T79" fmla="*/ 2147483647 h 142"/>
                <a:gd name="T80" fmla="*/ 2147483647 w 72"/>
                <a:gd name="T81" fmla="*/ 2147483647 h 142"/>
                <a:gd name="T82" fmla="*/ 2147483647 w 72"/>
                <a:gd name="T83" fmla="*/ 2147483647 h 142"/>
                <a:gd name="T84" fmla="*/ 2147483647 w 72"/>
                <a:gd name="T85" fmla="*/ 2147483647 h 142"/>
                <a:gd name="T86" fmla="*/ 2147483647 w 72"/>
                <a:gd name="T87" fmla="*/ 2147483647 h 142"/>
                <a:gd name="T88" fmla="*/ 2147483647 w 72"/>
                <a:gd name="T89" fmla="*/ 2147483647 h 142"/>
                <a:gd name="T90" fmla="*/ 2147483647 w 72"/>
                <a:gd name="T91" fmla="*/ 2147483647 h 142"/>
                <a:gd name="T92" fmla="*/ 2147483647 w 72"/>
                <a:gd name="T93" fmla="*/ 2147483647 h 142"/>
                <a:gd name="T94" fmla="*/ 2147483647 w 72"/>
                <a:gd name="T95" fmla="*/ 2147483647 h 142"/>
                <a:gd name="T96" fmla="*/ 2147483647 w 72"/>
                <a:gd name="T97" fmla="*/ 2147483647 h 142"/>
                <a:gd name="T98" fmla="*/ 2147483647 w 72"/>
                <a:gd name="T99" fmla="*/ 2147483647 h 142"/>
                <a:gd name="T100" fmla="*/ 2147483647 w 72"/>
                <a:gd name="T101" fmla="*/ 2147483647 h 142"/>
                <a:gd name="T102" fmla="*/ 2147483647 w 72"/>
                <a:gd name="T103" fmla="*/ 2147483647 h 142"/>
                <a:gd name="T104" fmla="*/ 2147483647 w 72"/>
                <a:gd name="T105" fmla="*/ 2147483647 h 142"/>
                <a:gd name="T106" fmla="*/ 2147483647 w 72"/>
                <a:gd name="T107" fmla="*/ 2147483647 h 1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2"/>
                <a:gd name="T163" fmla="*/ 0 h 142"/>
                <a:gd name="T164" fmla="*/ 72 w 72"/>
                <a:gd name="T165" fmla="*/ 142 h 1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2" h="142">
                  <a:moveTo>
                    <a:pt x="72" y="87"/>
                  </a:moveTo>
                  <a:lnTo>
                    <a:pt x="72" y="87"/>
                  </a:lnTo>
                  <a:lnTo>
                    <a:pt x="70" y="92"/>
                  </a:lnTo>
                  <a:lnTo>
                    <a:pt x="70" y="98"/>
                  </a:lnTo>
                  <a:lnTo>
                    <a:pt x="68" y="103"/>
                  </a:lnTo>
                  <a:lnTo>
                    <a:pt x="67" y="108"/>
                  </a:lnTo>
                  <a:lnTo>
                    <a:pt x="64" y="110"/>
                  </a:lnTo>
                  <a:lnTo>
                    <a:pt x="59" y="111"/>
                  </a:lnTo>
                  <a:lnTo>
                    <a:pt x="54" y="112"/>
                  </a:lnTo>
                  <a:lnTo>
                    <a:pt x="49" y="115"/>
                  </a:lnTo>
                  <a:lnTo>
                    <a:pt x="47" y="116"/>
                  </a:lnTo>
                  <a:lnTo>
                    <a:pt x="47" y="118"/>
                  </a:lnTo>
                  <a:lnTo>
                    <a:pt x="47" y="127"/>
                  </a:lnTo>
                  <a:lnTo>
                    <a:pt x="47" y="133"/>
                  </a:lnTo>
                  <a:lnTo>
                    <a:pt x="44" y="137"/>
                  </a:lnTo>
                  <a:lnTo>
                    <a:pt x="38" y="142"/>
                  </a:lnTo>
                  <a:lnTo>
                    <a:pt x="30" y="125"/>
                  </a:lnTo>
                  <a:lnTo>
                    <a:pt x="26" y="118"/>
                  </a:lnTo>
                  <a:lnTo>
                    <a:pt x="23" y="115"/>
                  </a:lnTo>
                  <a:lnTo>
                    <a:pt x="19" y="112"/>
                  </a:lnTo>
                  <a:lnTo>
                    <a:pt x="17" y="110"/>
                  </a:lnTo>
                  <a:lnTo>
                    <a:pt x="15" y="108"/>
                  </a:lnTo>
                  <a:lnTo>
                    <a:pt x="14" y="102"/>
                  </a:lnTo>
                  <a:lnTo>
                    <a:pt x="11" y="96"/>
                  </a:lnTo>
                  <a:lnTo>
                    <a:pt x="9" y="89"/>
                  </a:lnTo>
                  <a:lnTo>
                    <a:pt x="7" y="86"/>
                  </a:lnTo>
                  <a:lnTo>
                    <a:pt x="4" y="84"/>
                  </a:lnTo>
                  <a:lnTo>
                    <a:pt x="1" y="82"/>
                  </a:lnTo>
                  <a:lnTo>
                    <a:pt x="0" y="79"/>
                  </a:lnTo>
                  <a:lnTo>
                    <a:pt x="0" y="77"/>
                  </a:lnTo>
                  <a:lnTo>
                    <a:pt x="1" y="74"/>
                  </a:lnTo>
                  <a:lnTo>
                    <a:pt x="6" y="70"/>
                  </a:lnTo>
                  <a:lnTo>
                    <a:pt x="10" y="66"/>
                  </a:lnTo>
                  <a:lnTo>
                    <a:pt x="15" y="59"/>
                  </a:lnTo>
                  <a:lnTo>
                    <a:pt x="20" y="52"/>
                  </a:lnTo>
                  <a:lnTo>
                    <a:pt x="21" y="47"/>
                  </a:lnTo>
                  <a:lnTo>
                    <a:pt x="21" y="44"/>
                  </a:lnTo>
                  <a:lnTo>
                    <a:pt x="20" y="39"/>
                  </a:lnTo>
                  <a:lnTo>
                    <a:pt x="19" y="35"/>
                  </a:lnTo>
                  <a:lnTo>
                    <a:pt x="17" y="32"/>
                  </a:lnTo>
                  <a:lnTo>
                    <a:pt x="19" y="28"/>
                  </a:lnTo>
                  <a:lnTo>
                    <a:pt x="17" y="27"/>
                  </a:lnTo>
                  <a:lnTo>
                    <a:pt x="16" y="26"/>
                  </a:lnTo>
                  <a:lnTo>
                    <a:pt x="15" y="23"/>
                  </a:lnTo>
                  <a:lnTo>
                    <a:pt x="15" y="21"/>
                  </a:lnTo>
                  <a:lnTo>
                    <a:pt x="17" y="18"/>
                  </a:lnTo>
                  <a:lnTo>
                    <a:pt x="19" y="15"/>
                  </a:lnTo>
                  <a:lnTo>
                    <a:pt x="20" y="12"/>
                  </a:lnTo>
                  <a:lnTo>
                    <a:pt x="26" y="10"/>
                  </a:lnTo>
                  <a:lnTo>
                    <a:pt x="34" y="7"/>
                  </a:lnTo>
                  <a:lnTo>
                    <a:pt x="42" y="2"/>
                  </a:lnTo>
                  <a:lnTo>
                    <a:pt x="49" y="0"/>
                  </a:lnTo>
                  <a:lnTo>
                    <a:pt x="52" y="0"/>
                  </a:lnTo>
                  <a:lnTo>
                    <a:pt x="54" y="1"/>
                  </a:lnTo>
                  <a:lnTo>
                    <a:pt x="58" y="7"/>
                  </a:lnTo>
                  <a:lnTo>
                    <a:pt x="61" y="9"/>
                  </a:lnTo>
                  <a:lnTo>
                    <a:pt x="63" y="10"/>
                  </a:lnTo>
                  <a:lnTo>
                    <a:pt x="67" y="7"/>
                  </a:lnTo>
                  <a:lnTo>
                    <a:pt x="70" y="7"/>
                  </a:lnTo>
                  <a:lnTo>
                    <a:pt x="71" y="7"/>
                  </a:lnTo>
                  <a:lnTo>
                    <a:pt x="71" y="10"/>
                  </a:lnTo>
                  <a:lnTo>
                    <a:pt x="70" y="13"/>
                  </a:lnTo>
                  <a:lnTo>
                    <a:pt x="67" y="15"/>
                  </a:lnTo>
                  <a:lnTo>
                    <a:pt x="63" y="20"/>
                  </a:lnTo>
                  <a:lnTo>
                    <a:pt x="59" y="25"/>
                  </a:lnTo>
                  <a:lnTo>
                    <a:pt x="59" y="27"/>
                  </a:lnTo>
                  <a:lnTo>
                    <a:pt x="59" y="29"/>
                  </a:lnTo>
                  <a:lnTo>
                    <a:pt x="61" y="34"/>
                  </a:lnTo>
                  <a:lnTo>
                    <a:pt x="63" y="38"/>
                  </a:lnTo>
                  <a:lnTo>
                    <a:pt x="67" y="42"/>
                  </a:lnTo>
                  <a:lnTo>
                    <a:pt x="70" y="47"/>
                  </a:lnTo>
                  <a:lnTo>
                    <a:pt x="68" y="51"/>
                  </a:lnTo>
                  <a:lnTo>
                    <a:pt x="64" y="54"/>
                  </a:lnTo>
                  <a:lnTo>
                    <a:pt x="57" y="61"/>
                  </a:lnTo>
                  <a:lnTo>
                    <a:pt x="53" y="66"/>
                  </a:lnTo>
                  <a:lnTo>
                    <a:pt x="51" y="71"/>
                  </a:lnTo>
                  <a:lnTo>
                    <a:pt x="51" y="74"/>
                  </a:lnTo>
                  <a:lnTo>
                    <a:pt x="51" y="78"/>
                  </a:lnTo>
                  <a:lnTo>
                    <a:pt x="52" y="80"/>
                  </a:lnTo>
                  <a:lnTo>
                    <a:pt x="56" y="83"/>
                  </a:lnTo>
                  <a:lnTo>
                    <a:pt x="57" y="83"/>
                  </a:lnTo>
                  <a:lnTo>
                    <a:pt x="59" y="83"/>
                  </a:lnTo>
                  <a:lnTo>
                    <a:pt x="63" y="83"/>
                  </a:lnTo>
                  <a:lnTo>
                    <a:pt x="64" y="83"/>
                  </a:lnTo>
                  <a:lnTo>
                    <a:pt x="70" y="87"/>
                  </a:lnTo>
                  <a:lnTo>
                    <a:pt x="72" y="8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3" name="Freeform 672"/>
            <p:cNvSpPr>
              <a:spLocks/>
            </p:cNvSpPr>
            <p:nvPr/>
          </p:nvSpPr>
          <p:spPr bwMode="auto">
            <a:xfrm>
              <a:off x="4135438" y="3222628"/>
              <a:ext cx="501650" cy="595313"/>
            </a:xfrm>
            <a:custGeom>
              <a:avLst/>
              <a:gdLst>
                <a:gd name="T0" fmla="*/ 2147483647 w 342"/>
                <a:gd name="T1" fmla="*/ 2147483647 h 375"/>
                <a:gd name="T2" fmla="*/ 2147483647 w 342"/>
                <a:gd name="T3" fmla="*/ 2147483647 h 375"/>
                <a:gd name="T4" fmla="*/ 2147483647 w 342"/>
                <a:gd name="T5" fmla="*/ 2147483647 h 375"/>
                <a:gd name="T6" fmla="*/ 2147483647 w 342"/>
                <a:gd name="T7" fmla="*/ 2147483647 h 375"/>
                <a:gd name="T8" fmla="*/ 2147483647 w 342"/>
                <a:gd name="T9" fmla="*/ 2147483647 h 375"/>
                <a:gd name="T10" fmla="*/ 2147483647 w 342"/>
                <a:gd name="T11" fmla="*/ 2147483647 h 375"/>
                <a:gd name="T12" fmla="*/ 2147483647 w 342"/>
                <a:gd name="T13" fmla="*/ 2147483647 h 375"/>
                <a:gd name="T14" fmla="*/ 2147483647 w 342"/>
                <a:gd name="T15" fmla="*/ 2147483647 h 375"/>
                <a:gd name="T16" fmla="*/ 2147483647 w 342"/>
                <a:gd name="T17" fmla="*/ 2147483647 h 375"/>
                <a:gd name="T18" fmla="*/ 2147483647 w 342"/>
                <a:gd name="T19" fmla="*/ 2147483647 h 375"/>
                <a:gd name="T20" fmla="*/ 2147483647 w 342"/>
                <a:gd name="T21" fmla="*/ 2147483647 h 375"/>
                <a:gd name="T22" fmla="*/ 2147483647 w 342"/>
                <a:gd name="T23" fmla="*/ 2147483647 h 375"/>
                <a:gd name="T24" fmla="*/ 2147483647 w 342"/>
                <a:gd name="T25" fmla="*/ 2147483647 h 375"/>
                <a:gd name="T26" fmla="*/ 2147483647 w 342"/>
                <a:gd name="T27" fmla="*/ 2147483647 h 375"/>
                <a:gd name="T28" fmla="*/ 2147483647 w 342"/>
                <a:gd name="T29" fmla="*/ 2147483647 h 375"/>
                <a:gd name="T30" fmla="*/ 2147483647 w 342"/>
                <a:gd name="T31" fmla="*/ 2147483647 h 375"/>
                <a:gd name="T32" fmla="*/ 2147483647 w 342"/>
                <a:gd name="T33" fmla="*/ 2147483647 h 375"/>
                <a:gd name="T34" fmla="*/ 2147483647 w 342"/>
                <a:gd name="T35" fmla="*/ 2147483647 h 375"/>
                <a:gd name="T36" fmla="*/ 2147483647 w 342"/>
                <a:gd name="T37" fmla="*/ 2147483647 h 375"/>
                <a:gd name="T38" fmla="*/ 2147483647 w 342"/>
                <a:gd name="T39" fmla="*/ 2147483647 h 375"/>
                <a:gd name="T40" fmla="*/ 2147483647 w 342"/>
                <a:gd name="T41" fmla="*/ 2147483647 h 375"/>
                <a:gd name="T42" fmla="*/ 2147483647 w 342"/>
                <a:gd name="T43" fmla="*/ 2147483647 h 375"/>
                <a:gd name="T44" fmla="*/ 2147483647 w 342"/>
                <a:gd name="T45" fmla="*/ 2147483647 h 375"/>
                <a:gd name="T46" fmla="*/ 2147483647 w 342"/>
                <a:gd name="T47" fmla="*/ 2147483647 h 375"/>
                <a:gd name="T48" fmla="*/ 2147483647 w 342"/>
                <a:gd name="T49" fmla="*/ 2147483647 h 375"/>
                <a:gd name="T50" fmla="*/ 2147483647 w 342"/>
                <a:gd name="T51" fmla="*/ 2147483647 h 375"/>
                <a:gd name="T52" fmla="*/ 2147483647 w 342"/>
                <a:gd name="T53" fmla="*/ 2147483647 h 375"/>
                <a:gd name="T54" fmla="*/ 2147483647 w 342"/>
                <a:gd name="T55" fmla="*/ 2147483647 h 375"/>
                <a:gd name="T56" fmla="*/ 2147483647 w 342"/>
                <a:gd name="T57" fmla="*/ 2147483647 h 375"/>
                <a:gd name="T58" fmla="*/ 2147483647 w 342"/>
                <a:gd name="T59" fmla="*/ 2147483647 h 375"/>
                <a:gd name="T60" fmla="*/ 2147483647 w 342"/>
                <a:gd name="T61" fmla="*/ 2147483647 h 375"/>
                <a:gd name="T62" fmla="*/ 2147483647 w 342"/>
                <a:gd name="T63" fmla="*/ 2147483647 h 375"/>
                <a:gd name="T64" fmla="*/ 2147483647 w 342"/>
                <a:gd name="T65" fmla="*/ 2147483647 h 375"/>
                <a:gd name="T66" fmla="*/ 2147483647 w 342"/>
                <a:gd name="T67" fmla="*/ 2147483647 h 375"/>
                <a:gd name="T68" fmla="*/ 2147483647 w 342"/>
                <a:gd name="T69" fmla="*/ 2147483647 h 375"/>
                <a:gd name="T70" fmla="*/ 2147483647 w 342"/>
                <a:gd name="T71" fmla="*/ 2147483647 h 375"/>
                <a:gd name="T72" fmla="*/ 2147483647 w 342"/>
                <a:gd name="T73" fmla="*/ 2147483647 h 375"/>
                <a:gd name="T74" fmla="*/ 2147483647 w 342"/>
                <a:gd name="T75" fmla="*/ 2147483647 h 375"/>
                <a:gd name="T76" fmla="*/ 2147483647 w 342"/>
                <a:gd name="T77" fmla="*/ 2147483647 h 375"/>
                <a:gd name="T78" fmla="*/ 2147483647 w 342"/>
                <a:gd name="T79" fmla="*/ 2147483647 h 375"/>
                <a:gd name="T80" fmla="*/ 2147483647 w 342"/>
                <a:gd name="T81" fmla="*/ 2147483647 h 375"/>
                <a:gd name="T82" fmla="*/ 2147483647 w 342"/>
                <a:gd name="T83" fmla="*/ 2147483647 h 375"/>
                <a:gd name="T84" fmla="*/ 2147483647 w 342"/>
                <a:gd name="T85" fmla="*/ 2147483647 h 375"/>
                <a:gd name="T86" fmla="*/ 2147483647 w 342"/>
                <a:gd name="T87" fmla="*/ 2147483647 h 375"/>
                <a:gd name="T88" fmla="*/ 2147483647 w 342"/>
                <a:gd name="T89" fmla="*/ 2147483647 h 375"/>
                <a:gd name="T90" fmla="*/ 2147483647 w 342"/>
                <a:gd name="T91" fmla="*/ 2147483647 h 375"/>
                <a:gd name="T92" fmla="*/ 0 w 342"/>
                <a:gd name="T93" fmla="*/ 2147483647 h 375"/>
                <a:gd name="T94" fmla="*/ 2147483647 w 342"/>
                <a:gd name="T95" fmla="*/ 2147483647 h 375"/>
                <a:gd name="T96" fmla="*/ 2147483647 w 342"/>
                <a:gd name="T97" fmla="*/ 2147483647 h 375"/>
                <a:gd name="T98" fmla="*/ 2147483647 w 342"/>
                <a:gd name="T99" fmla="*/ 2147483647 h 375"/>
                <a:gd name="T100" fmla="*/ 2147483647 w 342"/>
                <a:gd name="T101" fmla="*/ 2147483647 h 375"/>
                <a:gd name="T102" fmla="*/ 2147483647 w 342"/>
                <a:gd name="T103" fmla="*/ 2147483647 h 375"/>
                <a:gd name="T104" fmla="*/ 2147483647 w 342"/>
                <a:gd name="T105" fmla="*/ 2147483647 h 375"/>
                <a:gd name="T106" fmla="*/ 2147483647 w 342"/>
                <a:gd name="T107" fmla="*/ 2147483647 h 375"/>
                <a:gd name="T108" fmla="*/ 2147483647 w 342"/>
                <a:gd name="T109" fmla="*/ 2147483647 h 375"/>
                <a:gd name="T110" fmla="*/ 2147483647 w 342"/>
                <a:gd name="T111" fmla="*/ 2147483647 h 375"/>
                <a:gd name="T112" fmla="*/ 2147483647 w 342"/>
                <a:gd name="T113" fmla="*/ 2147483647 h 375"/>
                <a:gd name="T114" fmla="*/ 2147483647 w 342"/>
                <a:gd name="T115" fmla="*/ 2147483647 h 375"/>
                <a:gd name="T116" fmla="*/ 2147483647 w 342"/>
                <a:gd name="T117" fmla="*/ 2147483647 h 375"/>
                <a:gd name="T118" fmla="*/ 2147483647 w 342"/>
                <a:gd name="T119" fmla="*/ 2147483647 h 375"/>
                <a:gd name="T120" fmla="*/ 2147483647 w 342"/>
                <a:gd name="T121" fmla="*/ 2147483647 h 3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2"/>
                <a:gd name="T184" fmla="*/ 0 h 375"/>
                <a:gd name="T185" fmla="*/ 342 w 342"/>
                <a:gd name="T186" fmla="*/ 375 h 3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2" h="375">
                  <a:moveTo>
                    <a:pt x="342" y="287"/>
                  </a:moveTo>
                  <a:lnTo>
                    <a:pt x="340" y="283"/>
                  </a:lnTo>
                  <a:lnTo>
                    <a:pt x="337" y="279"/>
                  </a:lnTo>
                  <a:lnTo>
                    <a:pt x="332" y="278"/>
                  </a:lnTo>
                  <a:lnTo>
                    <a:pt x="327" y="277"/>
                  </a:lnTo>
                  <a:lnTo>
                    <a:pt x="317" y="276"/>
                  </a:lnTo>
                  <a:lnTo>
                    <a:pt x="312" y="276"/>
                  </a:lnTo>
                  <a:lnTo>
                    <a:pt x="308" y="274"/>
                  </a:lnTo>
                  <a:lnTo>
                    <a:pt x="306" y="270"/>
                  </a:lnTo>
                  <a:lnTo>
                    <a:pt x="304" y="265"/>
                  </a:lnTo>
                  <a:lnTo>
                    <a:pt x="304" y="256"/>
                  </a:lnTo>
                  <a:lnTo>
                    <a:pt x="302" y="252"/>
                  </a:lnTo>
                  <a:lnTo>
                    <a:pt x="299" y="250"/>
                  </a:lnTo>
                  <a:lnTo>
                    <a:pt x="295" y="247"/>
                  </a:lnTo>
                  <a:lnTo>
                    <a:pt x="293" y="244"/>
                  </a:lnTo>
                  <a:lnTo>
                    <a:pt x="290" y="240"/>
                  </a:lnTo>
                  <a:lnTo>
                    <a:pt x="289" y="237"/>
                  </a:lnTo>
                  <a:lnTo>
                    <a:pt x="289" y="234"/>
                  </a:lnTo>
                  <a:lnTo>
                    <a:pt x="289" y="232"/>
                  </a:lnTo>
                  <a:lnTo>
                    <a:pt x="293" y="226"/>
                  </a:lnTo>
                  <a:lnTo>
                    <a:pt x="297" y="221"/>
                  </a:lnTo>
                  <a:lnTo>
                    <a:pt x="299" y="217"/>
                  </a:lnTo>
                  <a:lnTo>
                    <a:pt x="299" y="208"/>
                  </a:lnTo>
                  <a:lnTo>
                    <a:pt x="298" y="199"/>
                  </a:lnTo>
                  <a:lnTo>
                    <a:pt x="299" y="193"/>
                  </a:lnTo>
                  <a:lnTo>
                    <a:pt x="299" y="187"/>
                  </a:lnTo>
                  <a:lnTo>
                    <a:pt x="297" y="183"/>
                  </a:lnTo>
                  <a:lnTo>
                    <a:pt x="295" y="180"/>
                  </a:lnTo>
                  <a:lnTo>
                    <a:pt x="293" y="173"/>
                  </a:lnTo>
                  <a:lnTo>
                    <a:pt x="293" y="162"/>
                  </a:lnTo>
                  <a:lnTo>
                    <a:pt x="294" y="151"/>
                  </a:lnTo>
                  <a:lnTo>
                    <a:pt x="295" y="144"/>
                  </a:lnTo>
                  <a:lnTo>
                    <a:pt x="298" y="141"/>
                  </a:lnTo>
                  <a:lnTo>
                    <a:pt x="301" y="138"/>
                  </a:lnTo>
                  <a:lnTo>
                    <a:pt x="303" y="137"/>
                  </a:lnTo>
                  <a:lnTo>
                    <a:pt x="295" y="121"/>
                  </a:lnTo>
                  <a:lnTo>
                    <a:pt x="292" y="113"/>
                  </a:lnTo>
                  <a:lnTo>
                    <a:pt x="288" y="110"/>
                  </a:lnTo>
                  <a:lnTo>
                    <a:pt x="284" y="108"/>
                  </a:lnTo>
                  <a:lnTo>
                    <a:pt x="283" y="105"/>
                  </a:lnTo>
                  <a:lnTo>
                    <a:pt x="280" y="103"/>
                  </a:lnTo>
                  <a:lnTo>
                    <a:pt x="279" y="97"/>
                  </a:lnTo>
                  <a:lnTo>
                    <a:pt x="276" y="91"/>
                  </a:lnTo>
                  <a:lnTo>
                    <a:pt x="274" y="84"/>
                  </a:lnTo>
                  <a:lnTo>
                    <a:pt x="273" y="81"/>
                  </a:lnTo>
                  <a:lnTo>
                    <a:pt x="269" y="79"/>
                  </a:lnTo>
                  <a:lnTo>
                    <a:pt x="266" y="77"/>
                  </a:lnTo>
                  <a:lnTo>
                    <a:pt x="265" y="74"/>
                  </a:lnTo>
                  <a:lnTo>
                    <a:pt x="265" y="72"/>
                  </a:lnTo>
                  <a:lnTo>
                    <a:pt x="266" y="70"/>
                  </a:lnTo>
                  <a:lnTo>
                    <a:pt x="271" y="65"/>
                  </a:lnTo>
                  <a:lnTo>
                    <a:pt x="275" y="61"/>
                  </a:lnTo>
                  <a:lnTo>
                    <a:pt x="280" y="54"/>
                  </a:lnTo>
                  <a:lnTo>
                    <a:pt x="285" y="47"/>
                  </a:lnTo>
                  <a:lnTo>
                    <a:pt x="287" y="42"/>
                  </a:lnTo>
                  <a:lnTo>
                    <a:pt x="287" y="39"/>
                  </a:lnTo>
                  <a:lnTo>
                    <a:pt x="285" y="34"/>
                  </a:lnTo>
                  <a:lnTo>
                    <a:pt x="284" y="30"/>
                  </a:lnTo>
                  <a:lnTo>
                    <a:pt x="283" y="27"/>
                  </a:lnTo>
                  <a:lnTo>
                    <a:pt x="284" y="23"/>
                  </a:lnTo>
                  <a:lnTo>
                    <a:pt x="283" y="22"/>
                  </a:lnTo>
                  <a:lnTo>
                    <a:pt x="281" y="21"/>
                  </a:lnTo>
                  <a:lnTo>
                    <a:pt x="280" y="19"/>
                  </a:lnTo>
                  <a:lnTo>
                    <a:pt x="280" y="16"/>
                  </a:lnTo>
                  <a:lnTo>
                    <a:pt x="283" y="13"/>
                  </a:lnTo>
                  <a:lnTo>
                    <a:pt x="284" y="10"/>
                  </a:lnTo>
                  <a:lnTo>
                    <a:pt x="285" y="7"/>
                  </a:lnTo>
                  <a:lnTo>
                    <a:pt x="280" y="7"/>
                  </a:lnTo>
                  <a:lnTo>
                    <a:pt x="276" y="6"/>
                  </a:lnTo>
                  <a:lnTo>
                    <a:pt x="271" y="4"/>
                  </a:lnTo>
                  <a:lnTo>
                    <a:pt x="266" y="1"/>
                  </a:lnTo>
                  <a:lnTo>
                    <a:pt x="265" y="1"/>
                  </a:lnTo>
                  <a:lnTo>
                    <a:pt x="262" y="1"/>
                  </a:lnTo>
                  <a:lnTo>
                    <a:pt x="260" y="1"/>
                  </a:lnTo>
                  <a:lnTo>
                    <a:pt x="259" y="1"/>
                  </a:lnTo>
                  <a:lnTo>
                    <a:pt x="256" y="0"/>
                  </a:lnTo>
                  <a:lnTo>
                    <a:pt x="255" y="0"/>
                  </a:lnTo>
                  <a:lnTo>
                    <a:pt x="252" y="1"/>
                  </a:lnTo>
                  <a:lnTo>
                    <a:pt x="251" y="3"/>
                  </a:lnTo>
                  <a:lnTo>
                    <a:pt x="248" y="4"/>
                  </a:lnTo>
                  <a:lnTo>
                    <a:pt x="246" y="6"/>
                  </a:lnTo>
                  <a:lnTo>
                    <a:pt x="241" y="7"/>
                  </a:lnTo>
                  <a:lnTo>
                    <a:pt x="238" y="8"/>
                  </a:lnTo>
                  <a:lnTo>
                    <a:pt x="236" y="10"/>
                  </a:lnTo>
                  <a:lnTo>
                    <a:pt x="233" y="12"/>
                  </a:lnTo>
                  <a:lnTo>
                    <a:pt x="231" y="8"/>
                  </a:lnTo>
                  <a:lnTo>
                    <a:pt x="229" y="4"/>
                  </a:lnTo>
                  <a:lnTo>
                    <a:pt x="227" y="3"/>
                  </a:lnTo>
                  <a:lnTo>
                    <a:pt x="224" y="3"/>
                  </a:lnTo>
                  <a:lnTo>
                    <a:pt x="219" y="3"/>
                  </a:lnTo>
                  <a:lnTo>
                    <a:pt x="215" y="4"/>
                  </a:lnTo>
                  <a:lnTo>
                    <a:pt x="212" y="7"/>
                  </a:lnTo>
                  <a:lnTo>
                    <a:pt x="207" y="8"/>
                  </a:lnTo>
                  <a:lnTo>
                    <a:pt x="204" y="8"/>
                  </a:lnTo>
                  <a:lnTo>
                    <a:pt x="201" y="7"/>
                  </a:lnTo>
                  <a:lnTo>
                    <a:pt x="198" y="6"/>
                  </a:lnTo>
                  <a:lnTo>
                    <a:pt x="195" y="6"/>
                  </a:lnTo>
                  <a:lnTo>
                    <a:pt x="185" y="7"/>
                  </a:lnTo>
                  <a:lnTo>
                    <a:pt x="174" y="8"/>
                  </a:lnTo>
                  <a:lnTo>
                    <a:pt x="171" y="8"/>
                  </a:lnTo>
                  <a:lnTo>
                    <a:pt x="168" y="9"/>
                  </a:lnTo>
                  <a:lnTo>
                    <a:pt x="163" y="13"/>
                  </a:lnTo>
                  <a:lnTo>
                    <a:pt x="157" y="15"/>
                  </a:lnTo>
                  <a:lnTo>
                    <a:pt x="151" y="16"/>
                  </a:lnTo>
                  <a:lnTo>
                    <a:pt x="146" y="19"/>
                  </a:lnTo>
                  <a:lnTo>
                    <a:pt x="143" y="21"/>
                  </a:lnTo>
                  <a:lnTo>
                    <a:pt x="141" y="23"/>
                  </a:lnTo>
                  <a:lnTo>
                    <a:pt x="137" y="28"/>
                  </a:lnTo>
                  <a:lnTo>
                    <a:pt x="132" y="30"/>
                  </a:lnTo>
                  <a:lnTo>
                    <a:pt x="118" y="36"/>
                  </a:lnTo>
                  <a:lnTo>
                    <a:pt x="104" y="41"/>
                  </a:lnTo>
                  <a:lnTo>
                    <a:pt x="106" y="47"/>
                  </a:lnTo>
                  <a:lnTo>
                    <a:pt x="108" y="51"/>
                  </a:lnTo>
                  <a:lnTo>
                    <a:pt x="109" y="53"/>
                  </a:lnTo>
                  <a:lnTo>
                    <a:pt x="108" y="64"/>
                  </a:lnTo>
                  <a:lnTo>
                    <a:pt x="108" y="68"/>
                  </a:lnTo>
                  <a:lnTo>
                    <a:pt x="110" y="74"/>
                  </a:lnTo>
                  <a:lnTo>
                    <a:pt x="113" y="79"/>
                  </a:lnTo>
                  <a:lnTo>
                    <a:pt x="114" y="85"/>
                  </a:lnTo>
                  <a:lnTo>
                    <a:pt x="116" y="91"/>
                  </a:lnTo>
                  <a:lnTo>
                    <a:pt x="120" y="96"/>
                  </a:lnTo>
                  <a:lnTo>
                    <a:pt x="120" y="98"/>
                  </a:lnTo>
                  <a:lnTo>
                    <a:pt x="120" y="99"/>
                  </a:lnTo>
                  <a:lnTo>
                    <a:pt x="116" y="103"/>
                  </a:lnTo>
                  <a:lnTo>
                    <a:pt x="113" y="104"/>
                  </a:lnTo>
                  <a:lnTo>
                    <a:pt x="109" y="106"/>
                  </a:lnTo>
                  <a:lnTo>
                    <a:pt x="106" y="109"/>
                  </a:lnTo>
                  <a:lnTo>
                    <a:pt x="99" y="118"/>
                  </a:lnTo>
                  <a:lnTo>
                    <a:pt x="91" y="128"/>
                  </a:lnTo>
                  <a:lnTo>
                    <a:pt x="83" y="135"/>
                  </a:lnTo>
                  <a:lnTo>
                    <a:pt x="75" y="142"/>
                  </a:lnTo>
                  <a:lnTo>
                    <a:pt x="66" y="149"/>
                  </a:lnTo>
                  <a:lnTo>
                    <a:pt x="55" y="155"/>
                  </a:lnTo>
                  <a:lnTo>
                    <a:pt x="35" y="166"/>
                  </a:lnTo>
                  <a:lnTo>
                    <a:pt x="22" y="168"/>
                  </a:lnTo>
                  <a:lnTo>
                    <a:pt x="14" y="172"/>
                  </a:lnTo>
                  <a:lnTo>
                    <a:pt x="7" y="176"/>
                  </a:lnTo>
                  <a:lnTo>
                    <a:pt x="3" y="181"/>
                  </a:lnTo>
                  <a:lnTo>
                    <a:pt x="1" y="186"/>
                  </a:lnTo>
                  <a:lnTo>
                    <a:pt x="1" y="191"/>
                  </a:lnTo>
                  <a:lnTo>
                    <a:pt x="0" y="194"/>
                  </a:lnTo>
                  <a:lnTo>
                    <a:pt x="1" y="204"/>
                  </a:lnTo>
                  <a:lnTo>
                    <a:pt x="2" y="218"/>
                  </a:lnTo>
                  <a:lnTo>
                    <a:pt x="34" y="240"/>
                  </a:lnTo>
                  <a:lnTo>
                    <a:pt x="61" y="259"/>
                  </a:lnTo>
                  <a:lnTo>
                    <a:pt x="158" y="327"/>
                  </a:lnTo>
                  <a:lnTo>
                    <a:pt x="162" y="333"/>
                  </a:lnTo>
                  <a:lnTo>
                    <a:pt x="165" y="339"/>
                  </a:lnTo>
                  <a:lnTo>
                    <a:pt x="165" y="340"/>
                  </a:lnTo>
                  <a:lnTo>
                    <a:pt x="167" y="341"/>
                  </a:lnTo>
                  <a:lnTo>
                    <a:pt x="170" y="341"/>
                  </a:lnTo>
                  <a:lnTo>
                    <a:pt x="179" y="343"/>
                  </a:lnTo>
                  <a:lnTo>
                    <a:pt x="182" y="345"/>
                  </a:lnTo>
                  <a:lnTo>
                    <a:pt x="186" y="347"/>
                  </a:lnTo>
                  <a:lnTo>
                    <a:pt x="186" y="349"/>
                  </a:lnTo>
                  <a:lnTo>
                    <a:pt x="188" y="352"/>
                  </a:lnTo>
                  <a:lnTo>
                    <a:pt x="189" y="352"/>
                  </a:lnTo>
                  <a:lnTo>
                    <a:pt x="194" y="354"/>
                  </a:lnTo>
                  <a:lnTo>
                    <a:pt x="196" y="355"/>
                  </a:lnTo>
                  <a:lnTo>
                    <a:pt x="198" y="358"/>
                  </a:lnTo>
                  <a:lnTo>
                    <a:pt x="198" y="360"/>
                  </a:lnTo>
                  <a:lnTo>
                    <a:pt x="195" y="364"/>
                  </a:lnTo>
                  <a:lnTo>
                    <a:pt x="195" y="367"/>
                  </a:lnTo>
                  <a:lnTo>
                    <a:pt x="195" y="370"/>
                  </a:lnTo>
                  <a:lnTo>
                    <a:pt x="198" y="373"/>
                  </a:lnTo>
                  <a:lnTo>
                    <a:pt x="200" y="375"/>
                  </a:lnTo>
                  <a:lnTo>
                    <a:pt x="205" y="375"/>
                  </a:lnTo>
                  <a:lnTo>
                    <a:pt x="209" y="375"/>
                  </a:lnTo>
                  <a:lnTo>
                    <a:pt x="214" y="374"/>
                  </a:lnTo>
                  <a:lnTo>
                    <a:pt x="221" y="373"/>
                  </a:lnTo>
                  <a:lnTo>
                    <a:pt x="224" y="373"/>
                  </a:lnTo>
                  <a:lnTo>
                    <a:pt x="226" y="372"/>
                  </a:lnTo>
                  <a:lnTo>
                    <a:pt x="231" y="372"/>
                  </a:lnTo>
                  <a:lnTo>
                    <a:pt x="233" y="371"/>
                  </a:lnTo>
                  <a:lnTo>
                    <a:pt x="240" y="368"/>
                  </a:lnTo>
                  <a:lnTo>
                    <a:pt x="251" y="357"/>
                  </a:lnTo>
                  <a:lnTo>
                    <a:pt x="266" y="343"/>
                  </a:lnTo>
                  <a:lnTo>
                    <a:pt x="283" y="332"/>
                  </a:lnTo>
                  <a:lnTo>
                    <a:pt x="299" y="320"/>
                  </a:lnTo>
                  <a:lnTo>
                    <a:pt x="316" y="307"/>
                  </a:lnTo>
                  <a:lnTo>
                    <a:pt x="328" y="296"/>
                  </a:lnTo>
                  <a:lnTo>
                    <a:pt x="335" y="291"/>
                  </a:lnTo>
                  <a:lnTo>
                    <a:pt x="342" y="28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4" name="Freeform 673"/>
            <p:cNvSpPr>
              <a:spLocks/>
            </p:cNvSpPr>
            <p:nvPr/>
          </p:nvSpPr>
          <p:spPr bwMode="auto">
            <a:xfrm>
              <a:off x="4000501" y="3268667"/>
              <a:ext cx="311150" cy="280987"/>
            </a:xfrm>
            <a:custGeom>
              <a:avLst/>
              <a:gdLst>
                <a:gd name="T0" fmla="*/ 2147483647 w 212"/>
                <a:gd name="T1" fmla="*/ 2147483647 h 177"/>
                <a:gd name="T2" fmla="*/ 2147483647 w 212"/>
                <a:gd name="T3" fmla="*/ 2147483647 h 177"/>
                <a:gd name="T4" fmla="*/ 2147483647 w 212"/>
                <a:gd name="T5" fmla="*/ 2147483647 h 177"/>
                <a:gd name="T6" fmla="*/ 2147483647 w 212"/>
                <a:gd name="T7" fmla="*/ 2147483647 h 177"/>
                <a:gd name="T8" fmla="*/ 2147483647 w 212"/>
                <a:gd name="T9" fmla="*/ 2147483647 h 177"/>
                <a:gd name="T10" fmla="*/ 2147483647 w 212"/>
                <a:gd name="T11" fmla="*/ 2147483647 h 177"/>
                <a:gd name="T12" fmla="*/ 2147483647 w 212"/>
                <a:gd name="T13" fmla="*/ 2147483647 h 177"/>
                <a:gd name="T14" fmla="*/ 2147483647 w 212"/>
                <a:gd name="T15" fmla="*/ 2147483647 h 177"/>
                <a:gd name="T16" fmla="*/ 2147483647 w 212"/>
                <a:gd name="T17" fmla="*/ 2147483647 h 177"/>
                <a:gd name="T18" fmla="*/ 2147483647 w 212"/>
                <a:gd name="T19" fmla="*/ 2147483647 h 177"/>
                <a:gd name="T20" fmla="*/ 2147483647 w 212"/>
                <a:gd name="T21" fmla="*/ 2147483647 h 177"/>
                <a:gd name="T22" fmla="*/ 2147483647 w 212"/>
                <a:gd name="T23" fmla="*/ 2147483647 h 177"/>
                <a:gd name="T24" fmla="*/ 2147483647 w 212"/>
                <a:gd name="T25" fmla="*/ 2147483647 h 177"/>
                <a:gd name="T26" fmla="*/ 2147483647 w 212"/>
                <a:gd name="T27" fmla="*/ 2147483647 h 177"/>
                <a:gd name="T28" fmla="*/ 2147483647 w 212"/>
                <a:gd name="T29" fmla="*/ 2147483647 h 177"/>
                <a:gd name="T30" fmla="*/ 2147483647 w 212"/>
                <a:gd name="T31" fmla="*/ 2147483647 h 177"/>
                <a:gd name="T32" fmla="*/ 2147483647 w 212"/>
                <a:gd name="T33" fmla="*/ 2147483647 h 177"/>
                <a:gd name="T34" fmla="*/ 2147483647 w 212"/>
                <a:gd name="T35" fmla="*/ 2147483647 h 177"/>
                <a:gd name="T36" fmla="*/ 2147483647 w 212"/>
                <a:gd name="T37" fmla="*/ 2147483647 h 177"/>
                <a:gd name="T38" fmla="*/ 2147483647 w 212"/>
                <a:gd name="T39" fmla="*/ 2147483647 h 177"/>
                <a:gd name="T40" fmla="*/ 2147483647 w 212"/>
                <a:gd name="T41" fmla="*/ 2147483647 h 177"/>
                <a:gd name="T42" fmla="*/ 2147483647 w 212"/>
                <a:gd name="T43" fmla="*/ 2147483647 h 177"/>
                <a:gd name="T44" fmla="*/ 2147483647 w 212"/>
                <a:gd name="T45" fmla="*/ 2147483647 h 177"/>
                <a:gd name="T46" fmla="*/ 2147483647 w 212"/>
                <a:gd name="T47" fmla="*/ 2147483647 h 177"/>
                <a:gd name="T48" fmla="*/ 2147483647 w 212"/>
                <a:gd name="T49" fmla="*/ 2147483647 h 177"/>
                <a:gd name="T50" fmla="*/ 2147483647 w 212"/>
                <a:gd name="T51" fmla="*/ 2147483647 h 177"/>
                <a:gd name="T52" fmla="*/ 2147483647 w 212"/>
                <a:gd name="T53" fmla="*/ 2147483647 h 177"/>
                <a:gd name="T54" fmla="*/ 2147483647 w 212"/>
                <a:gd name="T55" fmla="*/ 2147483647 h 177"/>
                <a:gd name="T56" fmla="*/ 2147483647 w 212"/>
                <a:gd name="T57" fmla="*/ 2147483647 h 177"/>
                <a:gd name="T58" fmla="*/ 2147483647 w 212"/>
                <a:gd name="T59" fmla="*/ 2147483647 h 177"/>
                <a:gd name="T60" fmla="*/ 2147483647 w 212"/>
                <a:gd name="T61" fmla="*/ 2147483647 h 177"/>
                <a:gd name="T62" fmla="*/ 2147483647 w 212"/>
                <a:gd name="T63" fmla="*/ 2147483647 h 177"/>
                <a:gd name="T64" fmla="*/ 2147483647 w 212"/>
                <a:gd name="T65" fmla="*/ 2147483647 h 177"/>
                <a:gd name="T66" fmla="*/ 2147483647 w 212"/>
                <a:gd name="T67" fmla="*/ 2147483647 h 177"/>
                <a:gd name="T68" fmla="*/ 2147483647 w 212"/>
                <a:gd name="T69" fmla="*/ 2147483647 h 177"/>
                <a:gd name="T70" fmla="*/ 2147483647 w 212"/>
                <a:gd name="T71" fmla="*/ 2147483647 h 177"/>
                <a:gd name="T72" fmla="*/ 2147483647 w 212"/>
                <a:gd name="T73" fmla="*/ 2147483647 h 177"/>
                <a:gd name="T74" fmla="*/ 2147483647 w 212"/>
                <a:gd name="T75" fmla="*/ 0 h 177"/>
                <a:gd name="T76" fmla="*/ 2147483647 w 212"/>
                <a:gd name="T77" fmla="*/ 2147483647 h 177"/>
                <a:gd name="T78" fmla="*/ 2147483647 w 212"/>
                <a:gd name="T79" fmla="*/ 2147483647 h 177"/>
                <a:gd name="T80" fmla="*/ 2147483647 w 212"/>
                <a:gd name="T81" fmla="*/ 2147483647 h 177"/>
                <a:gd name="T82" fmla="*/ 2147483647 w 212"/>
                <a:gd name="T83" fmla="*/ 2147483647 h 177"/>
                <a:gd name="T84" fmla="*/ 2147483647 w 212"/>
                <a:gd name="T85" fmla="*/ 2147483647 h 177"/>
                <a:gd name="T86" fmla="*/ 2147483647 w 212"/>
                <a:gd name="T87" fmla="*/ 2147483647 h 177"/>
                <a:gd name="T88" fmla="*/ 2147483647 w 212"/>
                <a:gd name="T89" fmla="*/ 2147483647 h 177"/>
                <a:gd name="T90" fmla="*/ 2147483647 w 212"/>
                <a:gd name="T91" fmla="*/ 2147483647 h 177"/>
                <a:gd name="T92" fmla="*/ 2147483647 w 212"/>
                <a:gd name="T93" fmla="*/ 2147483647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177"/>
                <a:gd name="T143" fmla="*/ 212 w 212"/>
                <a:gd name="T144" fmla="*/ 177 h 1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177">
                  <a:moveTo>
                    <a:pt x="196" y="12"/>
                  </a:moveTo>
                  <a:lnTo>
                    <a:pt x="198" y="18"/>
                  </a:lnTo>
                  <a:lnTo>
                    <a:pt x="200" y="22"/>
                  </a:lnTo>
                  <a:lnTo>
                    <a:pt x="201" y="24"/>
                  </a:lnTo>
                  <a:lnTo>
                    <a:pt x="200" y="35"/>
                  </a:lnTo>
                  <a:lnTo>
                    <a:pt x="200" y="39"/>
                  </a:lnTo>
                  <a:lnTo>
                    <a:pt x="202" y="45"/>
                  </a:lnTo>
                  <a:lnTo>
                    <a:pt x="205" y="50"/>
                  </a:lnTo>
                  <a:lnTo>
                    <a:pt x="206" y="56"/>
                  </a:lnTo>
                  <a:lnTo>
                    <a:pt x="208" y="62"/>
                  </a:lnTo>
                  <a:lnTo>
                    <a:pt x="212" y="67"/>
                  </a:lnTo>
                  <a:lnTo>
                    <a:pt x="212" y="69"/>
                  </a:lnTo>
                  <a:lnTo>
                    <a:pt x="212" y="70"/>
                  </a:lnTo>
                  <a:lnTo>
                    <a:pt x="208" y="74"/>
                  </a:lnTo>
                  <a:lnTo>
                    <a:pt x="205" y="75"/>
                  </a:lnTo>
                  <a:lnTo>
                    <a:pt x="201" y="77"/>
                  </a:lnTo>
                  <a:lnTo>
                    <a:pt x="198" y="80"/>
                  </a:lnTo>
                  <a:lnTo>
                    <a:pt x="191" y="89"/>
                  </a:lnTo>
                  <a:lnTo>
                    <a:pt x="183" y="99"/>
                  </a:lnTo>
                  <a:lnTo>
                    <a:pt x="175" y="106"/>
                  </a:lnTo>
                  <a:lnTo>
                    <a:pt x="167" y="113"/>
                  </a:lnTo>
                  <a:lnTo>
                    <a:pt x="158" y="120"/>
                  </a:lnTo>
                  <a:lnTo>
                    <a:pt x="147" y="126"/>
                  </a:lnTo>
                  <a:lnTo>
                    <a:pt x="127" y="137"/>
                  </a:lnTo>
                  <a:lnTo>
                    <a:pt x="114" y="139"/>
                  </a:lnTo>
                  <a:lnTo>
                    <a:pt x="106" y="143"/>
                  </a:lnTo>
                  <a:lnTo>
                    <a:pt x="99" y="147"/>
                  </a:lnTo>
                  <a:lnTo>
                    <a:pt x="95" y="152"/>
                  </a:lnTo>
                  <a:lnTo>
                    <a:pt x="93" y="157"/>
                  </a:lnTo>
                  <a:lnTo>
                    <a:pt x="93" y="162"/>
                  </a:lnTo>
                  <a:lnTo>
                    <a:pt x="92" y="165"/>
                  </a:lnTo>
                  <a:lnTo>
                    <a:pt x="93" y="175"/>
                  </a:lnTo>
                  <a:lnTo>
                    <a:pt x="0" y="177"/>
                  </a:lnTo>
                  <a:lnTo>
                    <a:pt x="5" y="169"/>
                  </a:lnTo>
                  <a:lnTo>
                    <a:pt x="10" y="163"/>
                  </a:lnTo>
                  <a:lnTo>
                    <a:pt x="13" y="162"/>
                  </a:lnTo>
                  <a:lnTo>
                    <a:pt x="17" y="160"/>
                  </a:lnTo>
                  <a:lnTo>
                    <a:pt x="28" y="159"/>
                  </a:lnTo>
                  <a:lnTo>
                    <a:pt x="34" y="158"/>
                  </a:lnTo>
                  <a:lnTo>
                    <a:pt x="38" y="156"/>
                  </a:lnTo>
                  <a:lnTo>
                    <a:pt x="42" y="152"/>
                  </a:lnTo>
                  <a:lnTo>
                    <a:pt x="46" y="149"/>
                  </a:lnTo>
                  <a:lnTo>
                    <a:pt x="52" y="138"/>
                  </a:lnTo>
                  <a:lnTo>
                    <a:pt x="57" y="128"/>
                  </a:lnTo>
                  <a:lnTo>
                    <a:pt x="61" y="125"/>
                  </a:lnTo>
                  <a:lnTo>
                    <a:pt x="65" y="122"/>
                  </a:lnTo>
                  <a:lnTo>
                    <a:pt x="66" y="118"/>
                  </a:lnTo>
                  <a:lnTo>
                    <a:pt x="67" y="115"/>
                  </a:lnTo>
                  <a:lnTo>
                    <a:pt x="67" y="113"/>
                  </a:lnTo>
                  <a:lnTo>
                    <a:pt x="66" y="111"/>
                  </a:lnTo>
                  <a:lnTo>
                    <a:pt x="62" y="108"/>
                  </a:lnTo>
                  <a:lnTo>
                    <a:pt x="60" y="105"/>
                  </a:lnTo>
                  <a:lnTo>
                    <a:pt x="57" y="101"/>
                  </a:lnTo>
                  <a:lnTo>
                    <a:pt x="57" y="96"/>
                  </a:lnTo>
                  <a:lnTo>
                    <a:pt x="57" y="93"/>
                  </a:lnTo>
                  <a:lnTo>
                    <a:pt x="59" y="87"/>
                  </a:lnTo>
                  <a:lnTo>
                    <a:pt x="61" y="82"/>
                  </a:lnTo>
                  <a:lnTo>
                    <a:pt x="65" y="77"/>
                  </a:lnTo>
                  <a:lnTo>
                    <a:pt x="69" y="73"/>
                  </a:lnTo>
                  <a:lnTo>
                    <a:pt x="74" y="68"/>
                  </a:lnTo>
                  <a:lnTo>
                    <a:pt x="76" y="64"/>
                  </a:lnTo>
                  <a:lnTo>
                    <a:pt x="79" y="61"/>
                  </a:lnTo>
                  <a:lnTo>
                    <a:pt x="80" y="57"/>
                  </a:lnTo>
                  <a:lnTo>
                    <a:pt x="83" y="55"/>
                  </a:lnTo>
                  <a:lnTo>
                    <a:pt x="90" y="49"/>
                  </a:lnTo>
                  <a:lnTo>
                    <a:pt x="99" y="44"/>
                  </a:lnTo>
                  <a:lnTo>
                    <a:pt x="106" y="38"/>
                  </a:lnTo>
                  <a:lnTo>
                    <a:pt x="113" y="31"/>
                  </a:lnTo>
                  <a:lnTo>
                    <a:pt x="121" y="26"/>
                  </a:lnTo>
                  <a:lnTo>
                    <a:pt x="123" y="24"/>
                  </a:lnTo>
                  <a:lnTo>
                    <a:pt x="126" y="20"/>
                  </a:lnTo>
                  <a:lnTo>
                    <a:pt x="128" y="17"/>
                  </a:lnTo>
                  <a:lnTo>
                    <a:pt x="130" y="12"/>
                  </a:lnTo>
                  <a:lnTo>
                    <a:pt x="130" y="3"/>
                  </a:lnTo>
                  <a:lnTo>
                    <a:pt x="130" y="1"/>
                  </a:lnTo>
                  <a:lnTo>
                    <a:pt x="131" y="0"/>
                  </a:lnTo>
                  <a:lnTo>
                    <a:pt x="133" y="0"/>
                  </a:lnTo>
                  <a:lnTo>
                    <a:pt x="135" y="1"/>
                  </a:lnTo>
                  <a:lnTo>
                    <a:pt x="139" y="5"/>
                  </a:lnTo>
                  <a:lnTo>
                    <a:pt x="144" y="9"/>
                  </a:lnTo>
                  <a:lnTo>
                    <a:pt x="150" y="11"/>
                  </a:lnTo>
                  <a:lnTo>
                    <a:pt x="155" y="12"/>
                  </a:lnTo>
                  <a:lnTo>
                    <a:pt x="161" y="13"/>
                  </a:lnTo>
                  <a:lnTo>
                    <a:pt x="168" y="13"/>
                  </a:lnTo>
                  <a:lnTo>
                    <a:pt x="173" y="12"/>
                  </a:lnTo>
                  <a:lnTo>
                    <a:pt x="178" y="9"/>
                  </a:lnTo>
                  <a:lnTo>
                    <a:pt x="179" y="7"/>
                  </a:lnTo>
                  <a:lnTo>
                    <a:pt x="180" y="7"/>
                  </a:lnTo>
                  <a:lnTo>
                    <a:pt x="180" y="10"/>
                  </a:lnTo>
                  <a:lnTo>
                    <a:pt x="182" y="12"/>
                  </a:lnTo>
                  <a:lnTo>
                    <a:pt x="184" y="13"/>
                  </a:lnTo>
                  <a:lnTo>
                    <a:pt x="187" y="15"/>
                  </a:lnTo>
                  <a:lnTo>
                    <a:pt x="192" y="15"/>
                  </a:lnTo>
                  <a:lnTo>
                    <a:pt x="196"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5" name="Freeform 674"/>
            <p:cNvSpPr>
              <a:spLocks/>
            </p:cNvSpPr>
            <p:nvPr/>
          </p:nvSpPr>
          <p:spPr bwMode="auto">
            <a:xfrm>
              <a:off x="4132264" y="3219450"/>
              <a:ext cx="503237" cy="596900"/>
            </a:xfrm>
            <a:custGeom>
              <a:avLst/>
              <a:gdLst>
                <a:gd name="T0" fmla="*/ 2147483647 w 343"/>
                <a:gd name="T1" fmla="*/ 2147483647 h 376"/>
                <a:gd name="T2" fmla="*/ 2147483647 w 343"/>
                <a:gd name="T3" fmla="*/ 2147483647 h 376"/>
                <a:gd name="T4" fmla="*/ 2147483647 w 343"/>
                <a:gd name="T5" fmla="*/ 2147483647 h 376"/>
                <a:gd name="T6" fmla="*/ 2147483647 w 343"/>
                <a:gd name="T7" fmla="*/ 2147483647 h 376"/>
                <a:gd name="T8" fmla="*/ 2147483647 w 343"/>
                <a:gd name="T9" fmla="*/ 2147483647 h 376"/>
                <a:gd name="T10" fmla="*/ 2147483647 w 343"/>
                <a:gd name="T11" fmla="*/ 2147483647 h 376"/>
                <a:gd name="T12" fmla="*/ 2147483647 w 343"/>
                <a:gd name="T13" fmla="*/ 2147483647 h 376"/>
                <a:gd name="T14" fmla="*/ 2147483647 w 343"/>
                <a:gd name="T15" fmla="*/ 2147483647 h 376"/>
                <a:gd name="T16" fmla="*/ 2147483647 w 343"/>
                <a:gd name="T17" fmla="*/ 2147483647 h 376"/>
                <a:gd name="T18" fmla="*/ 2147483647 w 343"/>
                <a:gd name="T19" fmla="*/ 2147483647 h 376"/>
                <a:gd name="T20" fmla="*/ 2147483647 w 343"/>
                <a:gd name="T21" fmla="*/ 2147483647 h 376"/>
                <a:gd name="T22" fmla="*/ 2147483647 w 343"/>
                <a:gd name="T23" fmla="*/ 2147483647 h 376"/>
                <a:gd name="T24" fmla="*/ 2147483647 w 343"/>
                <a:gd name="T25" fmla="*/ 2147483647 h 376"/>
                <a:gd name="T26" fmla="*/ 2147483647 w 343"/>
                <a:gd name="T27" fmla="*/ 2147483647 h 376"/>
                <a:gd name="T28" fmla="*/ 2147483647 w 343"/>
                <a:gd name="T29" fmla="*/ 2147483647 h 376"/>
                <a:gd name="T30" fmla="*/ 2147483647 w 343"/>
                <a:gd name="T31" fmla="*/ 2147483647 h 376"/>
                <a:gd name="T32" fmla="*/ 2147483647 w 343"/>
                <a:gd name="T33" fmla="*/ 2147483647 h 376"/>
                <a:gd name="T34" fmla="*/ 2147483647 w 343"/>
                <a:gd name="T35" fmla="*/ 2147483647 h 376"/>
                <a:gd name="T36" fmla="*/ 2147483647 w 343"/>
                <a:gd name="T37" fmla="*/ 2147483647 h 376"/>
                <a:gd name="T38" fmla="*/ 2147483647 w 343"/>
                <a:gd name="T39" fmla="*/ 2147483647 h 376"/>
                <a:gd name="T40" fmla="*/ 2147483647 w 343"/>
                <a:gd name="T41" fmla="*/ 2147483647 h 376"/>
                <a:gd name="T42" fmla="*/ 2147483647 w 343"/>
                <a:gd name="T43" fmla="*/ 2147483647 h 376"/>
                <a:gd name="T44" fmla="*/ 2147483647 w 343"/>
                <a:gd name="T45" fmla="*/ 2147483647 h 376"/>
                <a:gd name="T46" fmla="*/ 2147483647 w 343"/>
                <a:gd name="T47" fmla="*/ 2147483647 h 376"/>
                <a:gd name="T48" fmla="*/ 2147483647 w 343"/>
                <a:gd name="T49" fmla="*/ 2147483647 h 376"/>
                <a:gd name="T50" fmla="*/ 2147483647 w 343"/>
                <a:gd name="T51" fmla="*/ 2147483647 h 376"/>
                <a:gd name="T52" fmla="*/ 2147483647 w 343"/>
                <a:gd name="T53" fmla="*/ 2147483647 h 376"/>
                <a:gd name="T54" fmla="*/ 2147483647 w 343"/>
                <a:gd name="T55" fmla="*/ 2147483647 h 376"/>
                <a:gd name="T56" fmla="*/ 2147483647 w 343"/>
                <a:gd name="T57" fmla="*/ 2147483647 h 376"/>
                <a:gd name="T58" fmla="*/ 2147483647 w 343"/>
                <a:gd name="T59" fmla="*/ 2147483647 h 376"/>
                <a:gd name="T60" fmla="*/ 2147483647 w 343"/>
                <a:gd name="T61" fmla="*/ 2147483647 h 376"/>
                <a:gd name="T62" fmla="*/ 2147483647 w 343"/>
                <a:gd name="T63" fmla="*/ 2147483647 h 376"/>
                <a:gd name="T64" fmla="*/ 2147483647 w 343"/>
                <a:gd name="T65" fmla="*/ 2147483647 h 376"/>
                <a:gd name="T66" fmla="*/ 2147483647 w 343"/>
                <a:gd name="T67" fmla="*/ 2147483647 h 376"/>
                <a:gd name="T68" fmla="*/ 2147483647 w 343"/>
                <a:gd name="T69" fmla="*/ 2147483647 h 376"/>
                <a:gd name="T70" fmla="*/ 2147483647 w 343"/>
                <a:gd name="T71" fmla="*/ 2147483647 h 376"/>
                <a:gd name="T72" fmla="*/ 2147483647 w 343"/>
                <a:gd name="T73" fmla="*/ 2147483647 h 376"/>
                <a:gd name="T74" fmla="*/ 2147483647 w 343"/>
                <a:gd name="T75" fmla="*/ 2147483647 h 376"/>
                <a:gd name="T76" fmla="*/ 2147483647 w 343"/>
                <a:gd name="T77" fmla="*/ 2147483647 h 376"/>
                <a:gd name="T78" fmla="*/ 2147483647 w 343"/>
                <a:gd name="T79" fmla="*/ 2147483647 h 376"/>
                <a:gd name="T80" fmla="*/ 2147483647 w 343"/>
                <a:gd name="T81" fmla="*/ 2147483647 h 376"/>
                <a:gd name="T82" fmla="*/ 2147483647 w 343"/>
                <a:gd name="T83" fmla="*/ 2147483647 h 376"/>
                <a:gd name="T84" fmla="*/ 2147483647 w 343"/>
                <a:gd name="T85" fmla="*/ 2147483647 h 376"/>
                <a:gd name="T86" fmla="*/ 2147483647 w 343"/>
                <a:gd name="T87" fmla="*/ 2147483647 h 376"/>
                <a:gd name="T88" fmla="*/ 0 w 343"/>
                <a:gd name="T89" fmla="*/ 2147483647 h 376"/>
                <a:gd name="T90" fmla="*/ 2147483647 w 343"/>
                <a:gd name="T91" fmla="*/ 2147483647 h 376"/>
                <a:gd name="T92" fmla="*/ 2147483647 w 343"/>
                <a:gd name="T93" fmla="*/ 2147483647 h 376"/>
                <a:gd name="T94" fmla="*/ 2147483647 w 343"/>
                <a:gd name="T95" fmla="*/ 2147483647 h 376"/>
                <a:gd name="T96" fmla="*/ 2147483647 w 343"/>
                <a:gd name="T97" fmla="*/ 2147483647 h 376"/>
                <a:gd name="T98" fmla="*/ 2147483647 w 343"/>
                <a:gd name="T99" fmla="*/ 2147483647 h 376"/>
                <a:gd name="T100" fmla="*/ 2147483647 w 343"/>
                <a:gd name="T101" fmla="*/ 2147483647 h 376"/>
                <a:gd name="T102" fmla="*/ 2147483647 w 343"/>
                <a:gd name="T103" fmla="*/ 2147483647 h 376"/>
                <a:gd name="T104" fmla="*/ 2147483647 w 343"/>
                <a:gd name="T105" fmla="*/ 2147483647 h 376"/>
                <a:gd name="T106" fmla="*/ 2147483647 w 343"/>
                <a:gd name="T107" fmla="*/ 2147483647 h 376"/>
                <a:gd name="T108" fmla="*/ 2147483647 w 343"/>
                <a:gd name="T109" fmla="*/ 2147483647 h 376"/>
                <a:gd name="T110" fmla="*/ 2147483647 w 343"/>
                <a:gd name="T111" fmla="*/ 2147483647 h 376"/>
                <a:gd name="T112" fmla="*/ 2147483647 w 343"/>
                <a:gd name="T113" fmla="*/ 2147483647 h 376"/>
                <a:gd name="T114" fmla="*/ 2147483647 w 343"/>
                <a:gd name="T115" fmla="*/ 2147483647 h 376"/>
                <a:gd name="T116" fmla="*/ 2147483647 w 343"/>
                <a:gd name="T117" fmla="*/ 2147483647 h 3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3"/>
                <a:gd name="T178" fmla="*/ 0 h 376"/>
                <a:gd name="T179" fmla="*/ 343 w 343"/>
                <a:gd name="T180" fmla="*/ 376 h 3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3" h="376">
                  <a:moveTo>
                    <a:pt x="343" y="287"/>
                  </a:moveTo>
                  <a:lnTo>
                    <a:pt x="343" y="287"/>
                  </a:lnTo>
                  <a:lnTo>
                    <a:pt x="341" y="284"/>
                  </a:lnTo>
                  <a:lnTo>
                    <a:pt x="338" y="280"/>
                  </a:lnTo>
                  <a:lnTo>
                    <a:pt x="333" y="279"/>
                  </a:lnTo>
                  <a:lnTo>
                    <a:pt x="328" y="278"/>
                  </a:lnTo>
                  <a:lnTo>
                    <a:pt x="318" y="277"/>
                  </a:lnTo>
                  <a:lnTo>
                    <a:pt x="313" y="277"/>
                  </a:lnTo>
                  <a:lnTo>
                    <a:pt x="309" y="274"/>
                  </a:lnTo>
                  <a:lnTo>
                    <a:pt x="306" y="271"/>
                  </a:lnTo>
                  <a:lnTo>
                    <a:pt x="305" y="266"/>
                  </a:lnTo>
                  <a:lnTo>
                    <a:pt x="305" y="257"/>
                  </a:lnTo>
                  <a:lnTo>
                    <a:pt x="303" y="253"/>
                  </a:lnTo>
                  <a:lnTo>
                    <a:pt x="300" y="251"/>
                  </a:lnTo>
                  <a:lnTo>
                    <a:pt x="296" y="248"/>
                  </a:lnTo>
                  <a:lnTo>
                    <a:pt x="294" y="245"/>
                  </a:lnTo>
                  <a:lnTo>
                    <a:pt x="291" y="241"/>
                  </a:lnTo>
                  <a:lnTo>
                    <a:pt x="290" y="238"/>
                  </a:lnTo>
                  <a:lnTo>
                    <a:pt x="290" y="235"/>
                  </a:lnTo>
                  <a:lnTo>
                    <a:pt x="290" y="233"/>
                  </a:lnTo>
                  <a:lnTo>
                    <a:pt x="294" y="227"/>
                  </a:lnTo>
                  <a:lnTo>
                    <a:pt x="297" y="222"/>
                  </a:lnTo>
                  <a:lnTo>
                    <a:pt x="300" y="217"/>
                  </a:lnTo>
                  <a:lnTo>
                    <a:pt x="300" y="209"/>
                  </a:lnTo>
                  <a:lnTo>
                    <a:pt x="299" y="200"/>
                  </a:lnTo>
                  <a:lnTo>
                    <a:pt x="300" y="194"/>
                  </a:lnTo>
                  <a:lnTo>
                    <a:pt x="300" y="188"/>
                  </a:lnTo>
                  <a:lnTo>
                    <a:pt x="297" y="184"/>
                  </a:lnTo>
                  <a:lnTo>
                    <a:pt x="296" y="181"/>
                  </a:lnTo>
                  <a:lnTo>
                    <a:pt x="294" y="174"/>
                  </a:lnTo>
                  <a:lnTo>
                    <a:pt x="294" y="163"/>
                  </a:lnTo>
                  <a:lnTo>
                    <a:pt x="295" y="152"/>
                  </a:lnTo>
                  <a:lnTo>
                    <a:pt x="296" y="145"/>
                  </a:lnTo>
                  <a:lnTo>
                    <a:pt x="299" y="142"/>
                  </a:lnTo>
                  <a:lnTo>
                    <a:pt x="301" y="139"/>
                  </a:lnTo>
                  <a:lnTo>
                    <a:pt x="304" y="138"/>
                  </a:lnTo>
                  <a:lnTo>
                    <a:pt x="296" y="121"/>
                  </a:lnTo>
                  <a:lnTo>
                    <a:pt x="292" y="114"/>
                  </a:lnTo>
                  <a:lnTo>
                    <a:pt x="289" y="111"/>
                  </a:lnTo>
                  <a:lnTo>
                    <a:pt x="285" y="108"/>
                  </a:lnTo>
                  <a:lnTo>
                    <a:pt x="283" y="106"/>
                  </a:lnTo>
                  <a:lnTo>
                    <a:pt x="281" y="104"/>
                  </a:lnTo>
                  <a:lnTo>
                    <a:pt x="280" y="98"/>
                  </a:lnTo>
                  <a:lnTo>
                    <a:pt x="277" y="92"/>
                  </a:lnTo>
                  <a:lnTo>
                    <a:pt x="275" y="85"/>
                  </a:lnTo>
                  <a:lnTo>
                    <a:pt x="273" y="82"/>
                  </a:lnTo>
                  <a:lnTo>
                    <a:pt x="270" y="80"/>
                  </a:lnTo>
                  <a:lnTo>
                    <a:pt x="267" y="78"/>
                  </a:lnTo>
                  <a:lnTo>
                    <a:pt x="266" y="75"/>
                  </a:lnTo>
                  <a:lnTo>
                    <a:pt x="266" y="73"/>
                  </a:lnTo>
                  <a:lnTo>
                    <a:pt x="267" y="70"/>
                  </a:lnTo>
                  <a:lnTo>
                    <a:pt x="272" y="66"/>
                  </a:lnTo>
                  <a:lnTo>
                    <a:pt x="276" y="62"/>
                  </a:lnTo>
                  <a:lnTo>
                    <a:pt x="281" y="55"/>
                  </a:lnTo>
                  <a:lnTo>
                    <a:pt x="286" y="48"/>
                  </a:lnTo>
                  <a:lnTo>
                    <a:pt x="287" y="43"/>
                  </a:lnTo>
                  <a:lnTo>
                    <a:pt x="287" y="40"/>
                  </a:lnTo>
                  <a:lnTo>
                    <a:pt x="286" y="35"/>
                  </a:lnTo>
                  <a:lnTo>
                    <a:pt x="285" y="31"/>
                  </a:lnTo>
                  <a:lnTo>
                    <a:pt x="283" y="28"/>
                  </a:lnTo>
                  <a:lnTo>
                    <a:pt x="285" y="24"/>
                  </a:lnTo>
                  <a:lnTo>
                    <a:pt x="283" y="23"/>
                  </a:lnTo>
                  <a:lnTo>
                    <a:pt x="282" y="22"/>
                  </a:lnTo>
                  <a:lnTo>
                    <a:pt x="281" y="19"/>
                  </a:lnTo>
                  <a:lnTo>
                    <a:pt x="281" y="17"/>
                  </a:lnTo>
                  <a:lnTo>
                    <a:pt x="283" y="14"/>
                  </a:lnTo>
                  <a:lnTo>
                    <a:pt x="285" y="11"/>
                  </a:lnTo>
                  <a:lnTo>
                    <a:pt x="286" y="8"/>
                  </a:lnTo>
                  <a:lnTo>
                    <a:pt x="281" y="8"/>
                  </a:lnTo>
                  <a:lnTo>
                    <a:pt x="277" y="6"/>
                  </a:lnTo>
                  <a:lnTo>
                    <a:pt x="272" y="5"/>
                  </a:lnTo>
                  <a:lnTo>
                    <a:pt x="267" y="2"/>
                  </a:lnTo>
                  <a:lnTo>
                    <a:pt x="266" y="2"/>
                  </a:lnTo>
                  <a:lnTo>
                    <a:pt x="263" y="2"/>
                  </a:lnTo>
                  <a:lnTo>
                    <a:pt x="261" y="2"/>
                  </a:lnTo>
                  <a:lnTo>
                    <a:pt x="259" y="2"/>
                  </a:lnTo>
                  <a:lnTo>
                    <a:pt x="257" y="0"/>
                  </a:lnTo>
                  <a:lnTo>
                    <a:pt x="256" y="0"/>
                  </a:lnTo>
                  <a:lnTo>
                    <a:pt x="253" y="2"/>
                  </a:lnTo>
                  <a:lnTo>
                    <a:pt x="252" y="4"/>
                  </a:lnTo>
                  <a:lnTo>
                    <a:pt x="249" y="5"/>
                  </a:lnTo>
                  <a:lnTo>
                    <a:pt x="247" y="6"/>
                  </a:lnTo>
                  <a:lnTo>
                    <a:pt x="242" y="8"/>
                  </a:lnTo>
                  <a:lnTo>
                    <a:pt x="239" y="9"/>
                  </a:lnTo>
                  <a:lnTo>
                    <a:pt x="237" y="11"/>
                  </a:lnTo>
                  <a:lnTo>
                    <a:pt x="234" y="12"/>
                  </a:lnTo>
                  <a:lnTo>
                    <a:pt x="231" y="9"/>
                  </a:lnTo>
                  <a:lnTo>
                    <a:pt x="230" y="5"/>
                  </a:lnTo>
                  <a:lnTo>
                    <a:pt x="228" y="4"/>
                  </a:lnTo>
                  <a:lnTo>
                    <a:pt x="225" y="4"/>
                  </a:lnTo>
                  <a:lnTo>
                    <a:pt x="220" y="4"/>
                  </a:lnTo>
                  <a:lnTo>
                    <a:pt x="216" y="5"/>
                  </a:lnTo>
                  <a:lnTo>
                    <a:pt x="212" y="8"/>
                  </a:lnTo>
                  <a:lnTo>
                    <a:pt x="207" y="9"/>
                  </a:lnTo>
                  <a:lnTo>
                    <a:pt x="205" y="9"/>
                  </a:lnTo>
                  <a:lnTo>
                    <a:pt x="202" y="8"/>
                  </a:lnTo>
                  <a:lnTo>
                    <a:pt x="198" y="6"/>
                  </a:lnTo>
                  <a:lnTo>
                    <a:pt x="196" y="6"/>
                  </a:lnTo>
                  <a:lnTo>
                    <a:pt x="186" y="8"/>
                  </a:lnTo>
                  <a:lnTo>
                    <a:pt x="174" y="9"/>
                  </a:lnTo>
                  <a:lnTo>
                    <a:pt x="172" y="9"/>
                  </a:lnTo>
                  <a:lnTo>
                    <a:pt x="169" y="10"/>
                  </a:lnTo>
                  <a:lnTo>
                    <a:pt x="164" y="14"/>
                  </a:lnTo>
                  <a:lnTo>
                    <a:pt x="158" y="16"/>
                  </a:lnTo>
                  <a:lnTo>
                    <a:pt x="151" y="17"/>
                  </a:lnTo>
                  <a:lnTo>
                    <a:pt x="146" y="19"/>
                  </a:lnTo>
                  <a:lnTo>
                    <a:pt x="144" y="22"/>
                  </a:lnTo>
                  <a:lnTo>
                    <a:pt x="141" y="24"/>
                  </a:lnTo>
                  <a:lnTo>
                    <a:pt x="137" y="29"/>
                  </a:lnTo>
                  <a:lnTo>
                    <a:pt x="132" y="31"/>
                  </a:lnTo>
                  <a:lnTo>
                    <a:pt x="118" y="37"/>
                  </a:lnTo>
                  <a:lnTo>
                    <a:pt x="104" y="42"/>
                  </a:lnTo>
                  <a:lnTo>
                    <a:pt x="107" y="48"/>
                  </a:lnTo>
                  <a:lnTo>
                    <a:pt x="108" y="51"/>
                  </a:lnTo>
                  <a:lnTo>
                    <a:pt x="110" y="54"/>
                  </a:lnTo>
                  <a:lnTo>
                    <a:pt x="108" y="65"/>
                  </a:lnTo>
                  <a:lnTo>
                    <a:pt x="108" y="69"/>
                  </a:lnTo>
                  <a:lnTo>
                    <a:pt x="111" y="75"/>
                  </a:lnTo>
                  <a:lnTo>
                    <a:pt x="113" y="80"/>
                  </a:lnTo>
                  <a:lnTo>
                    <a:pt x="115" y="86"/>
                  </a:lnTo>
                  <a:lnTo>
                    <a:pt x="117" y="92"/>
                  </a:lnTo>
                  <a:lnTo>
                    <a:pt x="121" y="97"/>
                  </a:lnTo>
                  <a:lnTo>
                    <a:pt x="121" y="99"/>
                  </a:lnTo>
                  <a:lnTo>
                    <a:pt x="121" y="100"/>
                  </a:lnTo>
                  <a:lnTo>
                    <a:pt x="117" y="104"/>
                  </a:lnTo>
                  <a:lnTo>
                    <a:pt x="113" y="105"/>
                  </a:lnTo>
                  <a:lnTo>
                    <a:pt x="110" y="107"/>
                  </a:lnTo>
                  <a:lnTo>
                    <a:pt x="107" y="110"/>
                  </a:lnTo>
                  <a:lnTo>
                    <a:pt x="99" y="119"/>
                  </a:lnTo>
                  <a:lnTo>
                    <a:pt x="92" y="129"/>
                  </a:lnTo>
                  <a:lnTo>
                    <a:pt x="84" y="136"/>
                  </a:lnTo>
                  <a:lnTo>
                    <a:pt x="75" y="143"/>
                  </a:lnTo>
                  <a:lnTo>
                    <a:pt x="66" y="150"/>
                  </a:lnTo>
                  <a:lnTo>
                    <a:pt x="56" y="156"/>
                  </a:lnTo>
                  <a:lnTo>
                    <a:pt x="36" y="166"/>
                  </a:lnTo>
                  <a:lnTo>
                    <a:pt x="23" y="169"/>
                  </a:lnTo>
                  <a:lnTo>
                    <a:pt x="14" y="172"/>
                  </a:lnTo>
                  <a:lnTo>
                    <a:pt x="8" y="177"/>
                  </a:lnTo>
                  <a:lnTo>
                    <a:pt x="4" y="182"/>
                  </a:lnTo>
                  <a:lnTo>
                    <a:pt x="2" y="187"/>
                  </a:lnTo>
                  <a:lnTo>
                    <a:pt x="2" y="191"/>
                  </a:lnTo>
                  <a:lnTo>
                    <a:pt x="0" y="195"/>
                  </a:lnTo>
                  <a:lnTo>
                    <a:pt x="2" y="204"/>
                  </a:lnTo>
                  <a:lnTo>
                    <a:pt x="3" y="219"/>
                  </a:lnTo>
                  <a:lnTo>
                    <a:pt x="35" y="241"/>
                  </a:lnTo>
                  <a:lnTo>
                    <a:pt x="61" y="260"/>
                  </a:lnTo>
                  <a:lnTo>
                    <a:pt x="159" y="328"/>
                  </a:lnTo>
                  <a:lnTo>
                    <a:pt x="163" y="334"/>
                  </a:lnTo>
                  <a:lnTo>
                    <a:pt x="165" y="340"/>
                  </a:lnTo>
                  <a:lnTo>
                    <a:pt x="165" y="341"/>
                  </a:lnTo>
                  <a:lnTo>
                    <a:pt x="168" y="342"/>
                  </a:lnTo>
                  <a:lnTo>
                    <a:pt x="170" y="342"/>
                  </a:lnTo>
                  <a:lnTo>
                    <a:pt x="179" y="344"/>
                  </a:lnTo>
                  <a:lnTo>
                    <a:pt x="183" y="345"/>
                  </a:lnTo>
                  <a:lnTo>
                    <a:pt x="187" y="348"/>
                  </a:lnTo>
                  <a:lnTo>
                    <a:pt x="187" y="350"/>
                  </a:lnTo>
                  <a:lnTo>
                    <a:pt x="188" y="353"/>
                  </a:lnTo>
                  <a:lnTo>
                    <a:pt x="190" y="353"/>
                  </a:lnTo>
                  <a:lnTo>
                    <a:pt x="195" y="355"/>
                  </a:lnTo>
                  <a:lnTo>
                    <a:pt x="197" y="356"/>
                  </a:lnTo>
                  <a:lnTo>
                    <a:pt x="198" y="359"/>
                  </a:lnTo>
                  <a:lnTo>
                    <a:pt x="198" y="361"/>
                  </a:lnTo>
                  <a:lnTo>
                    <a:pt x="196" y="364"/>
                  </a:lnTo>
                  <a:lnTo>
                    <a:pt x="196" y="368"/>
                  </a:lnTo>
                  <a:lnTo>
                    <a:pt x="196" y="370"/>
                  </a:lnTo>
                  <a:lnTo>
                    <a:pt x="198" y="374"/>
                  </a:lnTo>
                  <a:lnTo>
                    <a:pt x="201" y="376"/>
                  </a:lnTo>
                  <a:lnTo>
                    <a:pt x="206" y="376"/>
                  </a:lnTo>
                  <a:lnTo>
                    <a:pt x="210" y="376"/>
                  </a:lnTo>
                  <a:lnTo>
                    <a:pt x="215" y="375"/>
                  </a:lnTo>
                  <a:lnTo>
                    <a:pt x="221" y="374"/>
                  </a:lnTo>
                  <a:lnTo>
                    <a:pt x="225" y="374"/>
                  </a:lnTo>
                  <a:lnTo>
                    <a:pt x="226" y="373"/>
                  </a:lnTo>
                  <a:lnTo>
                    <a:pt x="231" y="373"/>
                  </a:lnTo>
                  <a:lnTo>
                    <a:pt x="234" y="372"/>
                  </a:lnTo>
                  <a:lnTo>
                    <a:pt x="240" y="369"/>
                  </a:lnTo>
                  <a:lnTo>
                    <a:pt x="252" y="357"/>
                  </a:lnTo>
                  <a:lnTo>
                    <a:pt x="267" y="344"/>
                  </a:lnTo>
                  <a:lnTo>
                    <a:pt x="283" y="332"/>
                  </a:lnTo>
                  <a:lnTo>
                    <a:pt x="300" y="321"/>
                  </a:lnTo>
                  <a:lnTo>
                    <a:pt x="317" y="308"/>
                  </a:lnTo>
                  <a:lnTo>
                    <a:pt x="329" y="297"/>
                  </a:lnTo>
                  <a:lnTo>
                    <a:pt x="336" y="292"/>
                  </a:lnTo>
                  <a:lnTo>
                    <a:pt x="343" y="28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6" name="Freeform 675"/>
            <p:cNvSpPr>
              <a:spLocks/>
            </p:cNvSpPr>
            <p:nvPr/>
          </p:nvSpPr>
          <p:spPr bwMode="auto">
            <a:xfrm>
              <a:off x="3998913" y="3267075"/>
              <a:ext cx="311150" cy="280988"/>
            </a:xfrm>
            <a:custGeom>
              <a:avLst/>
              <a:gdLst>
                <a:gd name="T0" fmla="*/ 2147483647 w 212"/>
                <a:gd name="T1" fmla="*/ 2147483647 h 177"/>
                <a:gd name="T2" fmla="*/ 2147483647 w 212"/>
                <a:gd name="T3" fmla="*/ 2147483647 h 177"/>
                <a:gd name="T4" fmla="*/ 2147483647 w 212"/>
                <a:gd name="T5" fmla="*/ 2147483647 h 177"/>
                <a:gd name="T6" fmla="*/ 2147483647 w 212"/>
                <a:gd name="T7" fmla="*/ 2147483647 h 177"/>
                <a:gd name="T8" fmla="*/ 2147483647 w 212"/>
                <a:gd name="T9" fmla="*/ 2147483647 h 177"/>
                <a:gd name="T10" fmla="*/ 2147483647 w 212"/>
                <a:gd name="T11" fmla="*/ 2147483647 h 177"/>
                <a:gd name="T12" fmla="*/ 2147483647 w 212"/>
                <a:gd name="T13" fmla="*/ 2147483647 h 177"/>
                <a:gd name="T14" fmla="*/ 2147483647 w 212"/>
                <a:gd name="T15" fmla="*/ 2147483647 h 177"/>
                <a:gd name="T16" fmla="*/ 2147483647 w 212"/>
                <a:gd name="T17" fmla="*/ 2147483647 h 177"/>
                <a:gd name="T18" fmla="*/ 2147483647 w 212"/>
                <a:gd name="T19" fmla="*/ 2147483647 h 177"/>
                <a:gd name="T20" fmla="*/ 2147483647 w 212"/>
                <a:gd name="T21" fmla="*/ 2147483647 h 177"/>
                <a:gd name="T22" fmla="*/ 2147483647 w 212"/>
                <a:gd name="T23" fmla="*/ 2147483647 h 177"/>
                <a:gd name="T24" fmla="*/ 2147483647 w 212"/>
                <a:gd name="T25" fmla="*/ 2147483647 h 177"/>
                <a:gd name="T26" fmla="*/ 2147483647 w 212"/>
                <a:gd name="T27" fmla="*/ 2147483647 h 177"/>
                <a:gd name="T28" fmla="*/ 2147483647 w 212"/>
                <a:gd name="T29" fmla="*/ 2147483647 h 177"/>
                <a:gd name="T30" fmla="*/ 2147483647 w 212"/>
                <a:gd name="T31" fmla="*/ 2147483647 h 177"/>
                <a:gd name="T32" fmla="*/ 2147483647 w 212"/>
                <a:gd name="T33" fmla="*/ 2147483647 h 177"/>
                <a:gd name="T34" fmla="*/ 2147483647 w 212"/>
                <a:gd name="T35" fmla="*/ 2147483647 h 177"/>
                <a:gd name="T36" fmla="*/ 2147483647 w 212"/>
                <a:gd name="T37" fmla="*/ 2147483647 h 177"/>
                <a:gd name="T38" fmla="*/ 0 w 212"/>
                <a:gd name="T39" fmla="*/ 2147483647 h 177"/>
                <a:gd name="T40" fmla="*/ 2147483647 w 212"/>
                <a:gd name="T41" fmla="*/ 2147483647 h 177"/>
                <a:gd name="T42" fmla="*/ 2147483647 w 212"/>
                <a:gd name="T43" fmla="*/ 2147483647 h 177"/>
                <a:gd name="T44" fmla="*/ 2147483647 w 212"/>
                <a:gd name="T45" fmla="*/ 2147483647 h 177"/>
                <a:gd name="T46" fmla="*/ 2147483647 w 212"/>
                <a:gd name="T47" fmla="*/ 2147483647 h 177"/>
                <a:gd name="T48" fmla="*/ 2147483647 w 212"/>
                <a:gd name="T49" fmla="*/ 2147483647 h 177"/>
                <a:gd name="T50" fmla="*/ 2147483647 w 212"/>
                <a:gd name="T51" fmla="*/ 2147483647 h 177"/>
                <a:gd name="T52" fmla="*/ 2147483647 w 212"/>
                <a:gd name="T53" fmla="*/ 2147483647 h 177"/>
                <a:gd name="T54" fmla="*/ 2147483647 w 212"/>
                <a:gd name="T55" fmla="*/ 2147483647 h 177"/>
                <a:gd name="T56" fmla="*/ 2147483647 w 212"/>
                <a:gd name="T57" fmla="*/ 2147483647 h 177"/>
                <a:gd name="T58" fmla="*/ 2147483647 w 212"/>
                <a:gd name="T59" fmla="*/ 2147483647 h 177"/>
                <a:gd name="T60" fmla="*/ 2147483647 w 212"/>
                <a:gd name="T61" fmla="*/ 2147483647 h 177"/>
                <a:gd name="T62" fmla="*/ 2147483647 w 212"/>
                <a:gd name="T63" fmla="*/ 2147483647 h 177"/>
                <a:gd name="T64" fmla="*/ 2147483647 w 212"/>
                <a:gd name="T65" fmla="*/ 2147483647 h 177"/>
                <a:gd name="T66" fmla="*/ 2147483647 w 212"/>
                <a:gd name="T67" fmla="*/ 2147483647 h 177"/>
                <a:gd name="T68" fmla="*/ 2147483647 w 212"/>
                <a:gd name="T69" fmla="*/ 2147483647 h 177"/>
                <a:gd name="T70" fmla="*/ 2147483647 w 212"/>
                <a:gd name="T71" fmla="*/ 2147483647 h 177"/>
                <a:gd name="T72" fmla="*/ 2147483647 w 212"/>
                <a:gd name="T73" fmla="*/ 2147483647 h 177"/>
                <a:gd name="T74" fmla="*/ 2147483647 w 212"/>
                <a:gd name="T75" fmla="*/ 2147483647 h 177"/>
                <a:gd name="T76" fmla="*/ 2147483647 w 212"/>
                <a:gd name="T77" fmla="*/ 2147483647 h 177"/>
                <a:gd name="T78" fmla="*/ 2147483647 w 212"/>
                <a:gd name="T79" fmla="*/ 2147483647 h 177"/>
                <a:gd name="T80" fmla="*/ 2147483647 w 212"/>
                <a:gd name="T81" fmla="*/ 2147483647 h 177"/>
                <a:gd name="T82" fmla="*/ 2147483647 w 212"/>
                <a:gd name="T83" fmla="*/ 2147483647 h 177"/>
                <a:gd name="T84" fmla="*/ 2147483647 w 212"/>
                <a:gd name="T85" fmla="*/ 2147483647 h 177"/>
                <a:gd name="T86" fmla="*/ 2147483647 w 212"/>
                <a:gd name="T87" fmla="*/ 2147483647 h 177"/>
                <a:gd name="T88" fmla="*/ 2147483647 w 212"/>
                <a:gd name="T89" fmla="*/ 2147483647 h 177"/>
                <a:gd name="T90" fmla="*/ 2147483647 w 212"/>
                <a:gd name="T91" fmla="*/ 2147483647 h 177"/>
                <a:gd name="T92" fmla="*/ 2147483647 w 212"/>
                <a:gd name="T93" fmla="*/ 2147483647 h 177"/>
                <a:gd name="T94" fmla="*/ 2147483647 w 212"/>
                <a:gd name="T95" fmla="*/ 0 h 177"/>
                <a:gd name="T96" fmla="*/ 2147483647 w 212"/>
                <a:gd name="T97" fmla="*/ 2147483647 h 177"/>
                <a:gd name="T98" fmla="*/ 2147483647 w 212"/>
                <a:gd name="T99" fmla="*/ 2147483647 h 177"/>
                <a:gd name="T100" fmla="*/ 2147483647 w 212"/>
                <a:gd name="T101" fmla="*/ 2147483647 h 177"/>
                <a:gd name="T102" fmla="*/ 2147483647 w 212"/>
                <a:gd name="T103" fmla="*/ 2147483647 h 177"/>
                <a:gd name="T104" fmla="*/ 2147483647 w 212"/>
                <a:gd name="T105" fmla="*/ 2147483647 h 177"/>
                <a:gd name="T106" fmla="*/ 2147483647 w 212"/>
                <a:gd name="T107" fmla="*/ 2147483647 h 177"/>
                <a:gd name="T108" fmla="*/ 2147483647 w 212"/>
                <a:gd name="T109" fmla="*/ 2147483647 h 177"/>
                <a:gd name="T110" fmla="*/ 2147483647 w 212"/>
                <a:gd name="T111" fmla="*/ 2147483647 h 177"/>
                <a:gd name="T112" fmla="*/ 2147483647 w 212"/>
                <a:gd name="T113" fmla="*/ 2147483647 h 177"/>
                <a:gd name="T114" fmla="*/ 2147483647 w 212"/>
                <a:gd name="T115" fmla="*/ 2147483647 h 177"/>
                <a:gd name="T116" fmla="*/ 2147483647 w 212"/>
                <a:gd name="T117" fmla="*/ 2147483647 h 1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2"/>
                <a:gd name="T178" fmla="*/ 0 h 177"/>
                <a:gd name="T179" fmla="*/ 212 w 212"/>
                <a:gd name="T180" fmla="*/ 177 h 1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2" h="177">
                  <a:moveTo>
                    <a:pt x="195" y="12"/>
                  </a:moveTo>
                  <a:lnTo>
                    <a:pt x="195" y="12"/>
                  </a:lnTo>
                  <a:lnTo>
                    <a:pt x="198" y="18"/>
                  </a:lnTo>
                  <a:lnTo>
                    <a:pt x="199" y="21"/>
                  </a:lnTo>
                  <a:lnTo>
                    <a:pt x="201" y="24"/>
                  </a:lnTo>
                  <a:lnTo>
                    <a:pt x="199" y="35"/>
                  </a:lnTo>
                  <a:lnTo>
                    <a:pt x="199" y="39"/>
                  </a:lnTo>
                  <a:lnTo>
                    <a:pt x="202" y="45"/>
                  </a:lnTo>
                  <a:lnTo>
                    <a:pt x="204" y="50"/>
                  </a:lnTo>
                  <a:lnTo>
                    <a:pt x="206" y="56"/>
                  </a:lnTo>
                  <a:lnTo>
                    <a:pt x="208" y="62"/>
                  </a:lnTo>
                  <a:lnTo>
                    <a:pt x="212" y="67"/>
                  </a:lnTo>
                  <a:lnTo>
                    <a:pt x="212" y="69"/>
                  </a:lnTo>
                  <a:lnTo>
                    <a:pt x="212" y="70"/>
                  </a:lnTo>
                  <a:lnTo>
                    <a:pt x="208" y="74"/>
                  </a:lnTo>
                  <a:lnTo>
                    <a:pt x="204" y="75"/>
                  </a:lnTo>
                  <a:lnTo>
                    <a:pt x="201" y="77"/>
                  </a:lnTo>
                  <a:lnTo>
                    <a:pt x="198" y="80"/>
                  </a:lnTo>
                  <a:lnTo>
                    <a:pt x="190" y="89"/>
                  </a:lnTo>
                  <a:lnTo>
                    <a:pt x="183" y="99"/>
                  </a:lnTo>
                  <a:lnTo>
                    <a:pt x="175" y="106"/>
                  </a:lnTo>
                  <a:lnTo>
                    <a:pt x="166" y="113"/>
                  </a:lnTo>
                  <a:lnTo>
                    <a:pt x="157" y="120"/>
                  </a:lnTo>
                  <a:lnTo>
                    <a:pt x="147" y="126"/>
                  </a:lnTo>
                  <a:lnTo>
                    <a:pt x="127" y="136"/>
                  </a:lnTo>
                  <a:lnTo>
                    <a:pt x="114" y="139"/>
                  </a:lnTo>
                  <a:lnTo>
                    <a:pt x="105" y="142"/>
                  </a:lnTo>
                  <a:lnTo>
                    <a:pt x="99" y="147"/>
                  </a:lnTo>
                  <a:lnTo>
                    <a:pt x="95" y="152"/>
                  </a:lnTo>
                  <a:lnTo>
                    <a:pt x="93" y="157"/>
                  </a:lnTo>
                  <a:lnTo>
                    <a:pt x="93" y="161"/>
                  </a:lnTo>
                  <a:lnTo>
                    <a:pt x="91" y="165"/>
                  </a:lnTo>
                  <a:lnTo>
                    <a:pt x="93" y="174"/>
                  </a:lnTo>
                  <a:lnTo>
                    <a:pt x="0" y="177"/>
                  </a:lnTo>
                  <a:lnTo>
                    <a:pt x="5" y="168"/>
                  </a:lnTo>
                  <a:lnTo>
                    <a:pt x="10" y="163"/>
                  </a:lnTo>
                  <a:lnTo>
                    <a:pt x="13" y="161"/>
                  </a:lnTo>
                  <a:lnTo>
                    <a:pt x="16" y="160"/>
                  </a:lnTo>
                  <a:lnTo>
                    <a:pt x="28" y="159"/>
                  </a:lnTo>
                  <a:lnTo>
                    <a:pt x="34" y="158"/>
                  </a:lnTo>
                  <a:lnTo>
                    <a:pt x="38" y="155"/>
                  </a:lnTo>
                  <a:lnTo>
                    <a:pt x="42" y="152"/>
                  </a:lnTo>
                  <a:lnTo>
                    <a:pt x="46" y="148"/>
                  </a:lnTo>
                  <a:lnTo>
                    <a:pt x="52" y="138"/>
                  </a:lnTo>
                  <a:lnTo>
                    <a:pt x="57" y="128"/>
                  </a:lnTo>
                  <a:lnTo>
                    <a:pt x="61" y="125"/>
                  </a:lnTo>
                  <a:lnTo>
                    <a:pt x="65" y="122"/>
                  </a:lnTo>
                  <a:lnTo>
                    <a:pt x="66" y="117"/>
                  </a:lnTo>
                  <a:lnTo>
                    <a:pt x="67" y="115"/>
                  </a:lnTo>
                  <a:lnTo>
                    <a:pt x="67" y="113"/>
                  </a:lnTo>
                  <a:lnTo>
                    <a:pt x="66" y="110"/>
                  </a:lnTo>
                  <a:lnTo>
                    <a:pt x="62" y="108"/>
                  </a:lnTo>
                  <a:lnTo>
                    <a:pt x="60" y="104"/>
                  </a:lnTo>
                  <a:lnTo>
                    <a:pt x="57" y="101"/>
                  </a:lnTo>
                  <a:lnTo>
                    <a:pt x="57" y="96"/>
                  </a:lnTo>
                  <a:lnTo>
                    <a:pt x="57" y="93"/>
                  </a:lnTo>
                  <a:lnTo>
                    <a:pt x="58" y="87"/>
                  </a:lnTo>
                  <a:lnTo>
                    <a:pt x="61" y="82"/>
                  </a:lnTo>
                  <a:lnTo>
                    <a:pt x="65" y="77"/>
                  </a:lnTo>
                  <a:lnTo>
                    <a:pt x="68" y="72"/>
                  </a:lnTo>
                  <a:lnTo>
                    <a:pt x="74" y="68"/>
                  </a:lnTo>
                  <a:lnTo>
                    <a:pt x="76" y="64"/>
                  </a:lnTo>
                  <a:lnTo>
                    <a:pt x="79" y="61"/>
                  </a:lnTo>
                  <a:lnTo>
                    <a:pt x="80" y="57"/>
                  </a:lnTo>
                  <a:lnTo>
                    <a:pt x="82" y="55"/>
                  </a:lnTo>
                  <a:lnTo>
                    <a:pt x="90" y="49"/>
                  </a:lnTo>
                  <a:lnTo>
                    <a:pt x="99" y="44"/>
                  </a:lnTo>
                  <a:lnTo>
                    <a:pt x="105" y="38"/>
                  </a:lnTo>
                  <a:lnTo>
                    <a:pt x="113" y="31"/>
                  </a:lnTo>
                  <a:lnTo>
                    <a:pt x="121" y="26"/>
                  </a:lnTo>
                  <a:lnTo>
                    <a:pt x="123" y="24"/>
                  </a:lnTo>
                  <a:lnTo>
                    <a:pt x="126" y="20"/>
                  </a:lnTo>
                  <a:lnTo>
                    <a:pt x="128" y="17"/>
                  </a:lnTo>
                  <a:lnTo>
                    <a:pt x="129" y="12"/>
                  </a:lnTo>
                  <a:lnTo>
                    <a:pt x="129" y="2"/>
                  </a:lnTo>
                  <a:lnTo>
                    <a:pt x="129" y="1"/>
                  </a:lnTo>
                  <a:lnTo>
                    <a:pt x="131" y="0"/>
                  </a:lnTo>
                  <a:lnTo>
                    <a:pt x="133" y="0"/>
                  </a:lnTo>
                  <a:lnTo>
                    <a:pt x="134" y="1"/>
                  </a:lnTo>
                  <a:lnTo>
                    <a:pt x="138" y="5"/>
                  </a:lnTo>
                  <a:lnTo>
                    <a:pt x="143" y="8"/>
                  </a:lnTo>
                  <a:lnTo>
                    <a:pt x="150" y="11"/>
                  </a:lnTo>
                  <a:lnTo>
                    <a:pt x="155" y="12"/>
                  </a:lnTo>
                  <a:lnTo>
                    <a:pt x="161" y="13"/>
                  </a:lnTo>
                  <a:lnTo>
                    <a:pt x="168" y="13"/>
                  </a:lnTo>
                  <a:lnTo>
                    <a:pt x="173" y="12"/>
                  </a:lnTo>
                  <a:lnTo>
                    <a:pt x="178" y="8"/>
                  </a:lnTo>
                  <a:lnTo>
                    <a:pt x="179" y="7"/>
                  </a:lnTo>
                  <a:lnTo>
                    <a:pt x="180" y="7"/>
                  </a:lnTo>
                  <a:lnTo>
                    <a:pt x="180" y="10"/>
                  </a:lnTo>
                  <a:lnTo>
                    <a:pt x="181" y="12"/>
                  </a:lnTo>
                  <a:lnTo>
                    <a:pt x="184" y="13"/>
                  </a:lnTo>
                  <a:lnTo>
                    <a:pt x="187" y="14"/>
                  </a:lnTo>
                  <a:lnTo>
                    <a:pt x="192" y="14"/>
                  </a:lnTo>
                  <a:lnTo>
                    <a:pt x="195"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7" name="Freeform 676"/>
            <p:cNvSpPr>
              <a:spLocks/>
            </p:cNvSpPr>
            <p:nvPr/>
          </p:nvSpPr>
          <p:spPr bwMode="auto">
            <a:xfrm>
              <a:off x="3903666" y="3546479"/>
              <a:ext cx="236537" cy="206375"/>
            </a:xfrm>
            <a:custGeom>
              <a:avLst/>
              <a:gdLst>
                <a:gd name="T0" fmla="*/ 2147483647 w 161"/>
                <a:gd name="T1" fmla="*/ 2147483647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2147483647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0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2147483647 h 130"/>
                <a:gd name="T52" fmla="*/ 2147483647 w 161"/>
                <a:gd name="T53" fmla="*/ 2147483647 h 130"/>
                <a:gd name="T54" fmla="*/ 2147483647 w 161"/>
                <a:gd name="T55" fmla="*/ 2147483647 h 130"/>
                <a:gd name="T56" fmla="*/ 2147483647 w 161"/>
                <a:gd name="T57" fmla="*/ 2147483647 h 130"/>
                <a:gd name="T58" fmla="*/ 2147483647 w 161"/>
                <a:gd name="T59" fmla="*/ 2147483647 h 130"/>
                <a:gd name="T60" fmla="*/ 2147483647 w 161"/>
                <a:gd name="T61" fmla="*/ 2147483647 h 130"/>
                <a:gd name="T62" fmla="*/ 2147483647 w 161"/>
                <a:gd name="T63" fmla="*/ 2147483647 h 130"/>
                <a:gd name="T64" fmla="*/ 2147483647 w 161"/>
                <a:gd name="T65" fmla="*/ 0 h 130"/>
                <a:gd name="T66" fmla="*/ 2147483647 w 161"/>
                <a:gd name="T67" fmla="*/ 2147483647 h 130"/>
                <a:gd name="T68" fmla="*/ 2147483647 w 161"/>
                <a:gd name="T69" fmla="*/ 2147483647 h 130"/>
                <a:gd name="T70" fmla="*/ 2147483647 w 161"/>
                <a:gd name="T71" fmla="*/ 2147483647 h 130"/>
                <a:gd name="T72" fmla="*/ 2147483647 w 161"/>
                <a:gd name="T73" fmla="*/ 2147483647 h 1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1"/>
                <a:gd name="T112" fmla="*/ 0 h 130"/>
                <a:gd name="T113" fmla="*/ 161 w 161"/>
                <a:gd name="T114" fmla="*/ 130 h 1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1" h="130">
                  <a:moveTo>
                    <a:pt x="55" y="23"/>
                  </a:moveTo>
                  <a:lnTo>
                    <a:pt x="52" y="26"/>
                  </a:lnTo>
                  <a:lnTo>
                    <a:pt x="50" y="28"/>
                  </a:lnTo>
                  <a:lnTo>
                    <a:pt x="48" y="30"/>
                  </a:lnTo>
                  <a:lnTo>
                    <a:pt x="46" y="34"/>
                  </a:lnTo>
                  <a:lnTo>
                    <a:pt x="42" y="43"/>
                  </a:lnTo>
                  <a:lnTo>
                    <a:pt x="36" y="54"/>
                  </a:lnTo>
                  <a:lnTo>
                    <a:pt x="34" y="59"/>
                  </a:lnTo>
                  <a:lnTo>
                    <a:pt x="33" y="65"/>
                  </a:lnTo>
                  <a:lnTo>
                    <a:pt x="31" y="70"/>
                  </a:lnTo>
                  <a:lnTo>
                    <a:pt x="28" y="74"/>
                  </a:lnTo>
                  <a:lnTo>
                    <a:pt x="20" y="84"/>
                  </a:lnTo>
                  <a:lnTo>
                    <a:pt x="18" y="91"/>
                  </a:lnTo>
                  <a:lnTo>
                    <a:pt x="9" y="107"/>
                  </a:lnTo>
                  <a:lnTo>
                    <a:pt x="3" y="125"/>
                  </a:lnTo>
                  <a:lnTo>
                    <a:pt x="0" y="130"/>
                  </a:lnTo>
                  <a:lnTo>
                    <a:pt x="67" y="128"/>
                  </a:lnTo>
                  <a:lnTo>
                    <a:pt x="70" y="128"/>
                  </a:lnTo>
                  <a:lnTo>
                    <a:pt x="73" y="126"/>
                  </a:lnTo>
                  <a:lnTo>
                    <a:pt x="73" y="124"/>
                  </a:lnTo>
                  <a:lnTo>
                    <a:pt x="73" y="118"/>
                  </a:lnTo>
                  <a:lnTo>
                    <a:pt x="74" y="109"/>
                  </a:lnTo>
                  <a:lnTo>
                    <a:pt x="75" y="103"/>
                  </a:lnTo>
                  <a:lnTo>
                    <a:pt x="79" y="96"/>
                  </a:lnTo>
                  <a:lnTo>
                    <a:pt x="84" y="87"/>
                  </a:lnTo>
                  <a:lnTo>
                    <a:pt x="90" y="79"/>
                  </a:lnTo>
                  <a:lnTo>
                    <a:pt x="89" y="61"/>
                  </a:lnTo>
                  <a:lnTo>
                    <a:pt x="88" y="52"/>
                  </a:lnTo>
                  <a:lnTo>
                    <a:pt x="88" y="48"/>
                  </a:lnTo>
                  <a:lnTo>
                    <a:pt x="89" y="46"/>
                  </a:lnTo>
                  <a:lnTo>
                    <a:pt x="161" y="41"/>
                  </a:lnTo>
                  <a:lnTo>
                    <a:pt x="160" y="14"/>
                  </a:lnTo>
                  <a:lnTo>
                    <a:pt x="159" y="0"/>
                  </a:lnTo>
                  <a:lnTo>
                    <a:pt x="66" y="2"/>
                  </a:lnTo>
                  <a:lnTo>
                    <a:pt x="62" y="9"/>
                  </a:lnTo>
                  <a:lnTo>
                    <a:pt x="59" y="16"/>
                  </a:lnTo>
                  <a:lnTo>
                    <a:pt x="55" y="2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8" name="Freeform 677"/>
            <p:cNvSpPr>
              <a:spLocks/>
            </p:cNvSpPr>
            <p:nvPr/>
          </p:nvSpPr>
          <p:spPr bwMode="auto">
            <a:xfrm>
              <a:off x="3900488" y="3568703"/>
              <a:ext cx="323850" cy="396875"/>
            </a:xfrm>
            <a:custGeom>
              <a:avLst/>
              <a:gdLst>
                <a:gd name="T0" fmla="*/ 2147483647 w 221"/>
                <a:gd name="T1" fmla="*/ 2147483647 h 250"/>
                <a:gd name="T2" fmla="*/ 2147483647 w 221"/>
                <a:gd name="T3" fmla="*/ 2147483647 h 250"/>
                <a:gd name="T4" fmla="*/ 2147483647 w 221"/>
                <a:gd name="T5" fmla="*/ 2147483647 h 250"/>
                <a:gd name="T6" fmla="*/ 2147483647 w 221"/>
                <a:gd name="T7" fmla="*/ 2147483647 h 250"/>
                <a:gd name="T8" fmla="*/ 2147483647 w 221"/>
                <a:gd name="T9" fmla="*/ 2147483647 h 250"/>
                <a:gd name="T10" fmla="*/ 2147483647 w 221"/>
                <a:gd name="T11" fmla="*/ 2147483647 h 250"/>
                <a:gd name="T12" fmla="*/ 2147483647 w 221"/>
                <a:gd name="T13" fmla="*/ 2147483647 h 250"/>
                <a:gd name="T14" fmla="*/ 2147483647 w 221"/>
                <a:gd name="T15" fmla="*/ 2147483647 h 250"/>
                <a:gd name="T16" fmla="*/ 2147483647 w 221"/>
                <a:gd name="T17" fmla="*/ 2147483647 h 250"/>
                <a:gd name="T18" fmla="*/ 2147483647 w 221"/>
                <a:gd name="T19" fmla="*/ 2147483647 h 250"/>
                <a:gd name="T20" fmla="*/ 2147483647 w 221"/>
                <a:gd name="T21" fmla="*/ 2147483647 h 250"/>
                <a:gd name="T22" fmla="*/ 2147483647 w 221"/>
                <a:gd name="T23" fmla="*/ 2147483647 h 250"/>
                <a:gd name="T24" fmla="*/ 2147483647 w 221"/>
                <a:gd name="T25" fmla="*/ 2147483647 h 250"/>
                <a:gd name="T26" fmla="*/ 2147483647 w 221"/>
                <a:gd name="T27" fmla="*/ 2147483647 h 250"/>
                <a:gd name="T28" fmla="*/ 2147483647 w 221"/>
                <a:gd name="T29" fmla="*/ 2147483647 h 250"/>
                <a:gd name="T30" fmla="*/ 2147483647 w 221"/>
                <a:gd name="T31" fmla="*/ 2147483647 h 250"/>
                <a:gd name="T32" fmla="*/ 2147483647 w 221"/>
                <a:gd name="T33" fmla="*/ 2147483647 h 250"/>
                <a:gd name="T34" fmla="*/ 2147483647 w 221"/>
                <a:gd name="T35" fmla="*/ 2147483647 h 250"/>
                <a:gd name="T36" fmla="*/ 2147483647 w 221"/>
                <a:gd name="T37" fmla="*/ 2147483647 h 250"/>
                <a:gd name="T38" fmla="*/ 2147483647 w 221"/>
                <a:gd name="T39" fmla="*/ 2147483647 h 250"/>
                <a:gd name="T40" fmla="*/ 2147483647 w 221"/>
                <a:gd name="T41" fmla="*/ 2147483647 h 250"/>
                <a:gd name="T42" fmla="*/ 2147483647 w 221"/>
                <a:gd name="T43" fmla="*/ 2147483647 h 250"/>
                <a:gd name="T44" fmla="*/ 2147483647 w 221"/>
                <a:gd name="T45" fmla="*/ 2147483647 h 250"/>
                <a:gd name="T46" fmla="*/ 2147483647 w 221"/>
                <a:gd name="T47" fmla="*/ 2147483647 h 250"/>
                <a:gd name="T48" fmla="*/ 2147483647 w 221"/>
                <a:gd name="T49" fmla="*/ 2147483647 h 250"/>
                <a:gd name="T50" fmla="*/ 2147483647 w 221"/>
                <a:gd name="T51" fmla="*/ 2147483647 h 250"/>
                <a:gd name="T52" fmla="*/ 2147483647 w 221"/>
                <a:gd name="T53" fmla="*/ 2147483647 h 250"/>
                <a:gd name="T54" fmla="*/ 2147483647 w 221"/>
                <a:gd name="T55" fmla="*/ 2147483647 h 250"/>
                <a:gd name="T56" fmla="*/ 2147483647 w 221"/>
                <a:gd name="T57" fmla="*/ 2147483647 h 250"/>
                <a:gd name="T58" fmla="*/ 2147483647 w 221"/>
                <a:gd name="T59" fmla="*/ 2147483647 h 250"/>
                <a:gd name="T60" fmla="*/ 2147483647 w 221"/>
                <a:gd name="T61" fmla="*/ 2147483647 h 250"/>
                <a:gd name="T62" fmla="*/ 2147483647 w 221"/>
                <a:gd name="T63" fmla="*/ 2147483647 h 250"/>
                <a:gd name="T64" fmla="*/ 2147483647 w 221"/>
                <a:gd name="T65" fmla="*/ 2147483647 h 250"/>
                <a:gd name="T66" fmla="*/ 2147483647 w 221"/>
                <a:gd name="T67" fmla="*/ 2147483647 h 250"/>
                <a:gd name="T68" fmla="*/ 2147483647 w 221"/>
                <a:gd name="T69" fmla="*/ 2147483647 h 250"/>
                <a:gd name="T70" fmla="*/ 2147483647 w 221"/>
                <a:gd name="T71" fmla="*/ 2147483647 h 250"/>
                <a:gd name="T72" fmla="*/ 2147483647 w 221"/>
                <a:gd name="T73" fmla="*/ 2147483647 h 250"/>
                <a:gd name="T74" fmla="*/ 2147483647 w 221"/>
                <a:gd name="T75" fmla="*/ 2147483647 h 250"/>
                <a:gd name="T76" fmla="*/ 0 w 221"/>
                <a:gd name="T77" fmla="*/ 2147483647 h 250"/>
                <a:gd name="T78" fmla="*/ 0 w 221"/>
                <a:gd name="T79" fmla="*/ 2147483647 h 2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1"/>
                <a:gd name="T121" fmla="*/ 0 h 250"/>
                <a:gd name="T122" fmla="*/ 221 w 221"/>
                <a:gd name="T123" fmla="*/ 250 h 25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1" h="250">
                  <a:moveTo>
                    <a:pt x="2" y="116"/>
                  </a:moveTo>
                  <a:lnTo>
                    <a:pt x="69" y="114"/>
                  </a:lnTo>
                  <a:lnTo>
                    <a:pt x="72" y="114"/>
                  </a:lnTo>
                  <a:lnTo>
                    <a:pt x="75" y="112"/>
                  </a:lnTo>
                  <a:lnTo>
                    <a:pt x="75" y="110"/>
                  </a:lnTo>
                  <a:lnTo>
                    <a:pt x="75" y="104"/>
                  </a:lnTo>
                  <a:lnTo>
                    <a:pt x="76" y="95"/>
                  </a:lnTo>
                  <a:lnTo>
                    <a:pt x="77" y="89"/>
                  </a:lnTo>
                  <a:lnTo>
                    <a:pt x="81" y="82"/>
                  </a:lnTo>
                  <a:lnTo>
                    <a:pt x="86" y="73"/>
                  </a:lnTo>
                  <a:lnTo>
                    <a:pt x="92" y="65"/>
                  </a:lnTo>
                  <a:lnTo>
                    <a:pt x="91" y="47"/>
                  </a:lnTo>
                  <a:lnTo>
                    <a:pt x="90" y="38"/>
                  </a:lnTo>
                  <a:lnTo>
                    <a:pt x="90" y="34"/>
                  </a:lnTo>
                  <a:lnTo>
                    <a:pt x="91" y="32"/>
                  </a:lnTo>
                  <a:lnTo>
                    <a:pt x="163" y="27"/>
                  </a:lnTo>
                  <a:lnTo>
                    <a:pt x="162" y="0"/>
                  </a:lnTo>
                  <a:lnTo>
                    <a:pt x="194" y="22"/>
                  </a:lnTo>
                  <a:lnTo>
                    <a:pt x="221" y="41"/>
                  </a:lnTo>
                  <a:lnTo>
                    <a:pt x="198" y="40"/>
                  </a:lnTo>
                  <a:lnTo>
                    <a:pt x="198" y="220"/>
                  </a:lnTo>
                  <a:lnTo>
                    <a:pt x="195" y="220"/>
                  </a:lnTo>
                  <a:lnTo>
                    <a:pt x="162" y="219"/>
                  </a:lnTo>
                  <a:lnTo>
                    <a:pt x="146" y="219"/>
                  </a:lnTo>
                  <a:lnTo>
                    <a:pt x="129" y="220"/>
                  </a:lnTo>
                  <a:lnTo>
                    <a:pt x="125" y="222"/>
                  </a:lnTo>
                  <a:lnTo>
                    <a:pt x="120" y="224"/>
                  </a:lnTo>
                  <a:lnTo>
                    <a:pt x="118" y="226"/>
                  </a:lnTo>
                  <a:lnTo>
                    <a:pt x="115" y="231"/>
                  </a:lnTo>
                  <a:lnTo>
                    <a:pt x="114" y="232"/>
                  </a:lnTo>
                  <a:lnTo>
                    <a:pt x="111" y="233"/>
                  </a:lnTo>
                  <a:lnTo>
                    <a:pt x="109" y="233"/>
                  </a:lnTo>
                  <a:lnTo>
                    <a:pt x="108" y="233"/>
                  </a:lnTo>
                  <a:lnTo>
                    <a:pt x="105" y="231"/>
                  </a:lnTo>
                  <a:lnTo>
                    <a:pt x="104" y="229"/>
                  </a:lnTo>
                  <a:lnTo>
                    <a:pt x="104" y="226"/>
                  </a:lnTo>
                  <a:lnTo>
                    <a:pt x="105" y="224"/>
                  </a:lnTo>
                  <a:lnTo>
                    <a:pt x="101" y="224"/>
                  </a:lnTo>
                  <a:lnTo>
                    <a:pt x="97" y="227"/>
                  </a:lnTo>
                  <a:lnTo>
                    <a:pt x="96" y="231"/>
                  </a:lnTo>
                  <a:lnTo>
                    <a:pt x="95" y="235"/>
                  </a:lnTo>
                  <a:lnTo>
                    <a:pt x="94" y="242"/>
                  </a:lnTo>
                  <a:lnTo>
                    <a:pt x="94" y="245"/>
                  </a:lnTo>
                  <a:lnTo>
                    <a:pt x="95" y="250"/>
                  </a:lnTo>
                  <a:lnTo>
                    <a:pt x="90" y="249"/>
                  </a:lnTo>
                  <a:lnTo>
                    <a:pt x="86" y="248"/>
                  </a:lnTo>
                  <a:lnTo>
                    <a:pt x="80" y="243"/>
                  </a:lnTo>
                  <a:lnTo>
                    <a:pt x="75" y="237"/>
                  </a:lnTo>
                  <a:lnTo>
                    <a:pt x="71" y="231"/>
                  </a:lnTo>
                  <a:lnTo>
                    <a:pt x="68" y="224"/>
                  </a:lnTo>
                  <a:lnTo>
                    <a:pt x="67" y="223"/>
                  </a:lnTo>
                  <a:lnTo>
                    <a:pt x="66" y="222"/>
                  </a:lnTo>
                  <a:lnTo>
                    <a:pt x="66" y="219"/>
                  </a:lnTo>
                  <a:lnTo>
                    <a:pt x="63" y="217"/>
                  </a:lnTo>
                  <a:lnTo>
                    <a:pt x="55" y="213"/>
                  </a:lnTo>
                  <a:lnTo>
                    <a:pt x="49" y="211"/>
                  </a:lnTo>
                  <a:lnTo>
                    <a:pt x="44" y="210"/>
                  </a:lnTo>
                  <a:lnTo>
                    <a:pt x="38" y="208"/>
                  </a:lnTo>
                  <a:lnTo>
                    <a:pt x="36" y="207"/>
                  </a:lnTo>
                  <a:lnTo>
                    <a:pt x="34" y="207"/>
                  </a:lnTo>
                  <a:lnTo>
                    <a:pt x="24" y="212"/>
                  </a:lnTo>
                  <a:lnTo>
                    <a:pt x="19" y="213"/>
                  </a:lnTo>
                  <a:lnTo>
                    <a:pt x="12" y="214"/>
                  </a:lnTo>
                  <a:lnTo>
                    <a:pt x="15" y="205"/>
                  </a:lnTo>
                  <a:lnTo>
                    <a:pt x="17" y="187"/>
                  </a:lnTo>
                  <a:lnTo>
                    <a:pt x="17" y="174"/>
                  </a:lnTo>
                  <a:lnTo>
                    <a:pt x="17" y="169"/>
                  </a:lnTo>
                  <a:lnTo>
                    <a:pt x="16" y="166"/>
                  </a:lnTo>
                  <a:lnTo>
                    <a:pt x="12" y="163"/>
                  </a:lnTo>
                  <a:lnTo>
                    <a:pt x="12" y="162"/>
                  </a:lnTo>
                  <a:lnTo>
                    <a:pt x="11" y="161"/>
                  </a:lnTo>
                  <a:lnTo>
                    <a:pt x="12" y="143"/>
                  </a:lnTo>
                  <a:lnTo>
                    <a:pt x="11" y="127"/>
                  </a:lnTo>
                  <a:lnTo>
                    <a:pt x="11" y="122"/>
                  </a:lnTo>
                  <a:lnTo>
                    <a:pt x="10" y="122"/>
                  </a:lnTo>
                  <a:lnTo>
                    <a:pt x="7" y="122"/>
                  </a:lnTo>
                  <a:lnTo>
                    <a:pt x="2" y="125"/>
                  </a:lnTo>
                  <a:lnTo>
                    <a:pt x="0" y="128"/>
                  </a:lnTo>
                  <a:lnTo>
                    <a:pt x="0" y="124"/>
                  </a:lnTo>
                  <a:lnTo>
                    <a:pt x="0" y="122"/>
                  </a:lnTo>
                  <a:lnTo>
                    <a:pt x="2" y="1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79" name="Freeform 678"/>
            <p:cNvSpPr>
              <a:spLocks/>
            </p:cNvSpPr>
            <p:nvPr/>
          </p:nvSpPr>
          <p:spPr bwMode="auto">
            <a:xfrm>
              <a:off x="3902075" y="3543301"/>
              <a:ext cx="236538" cy="207963"/>
            </a:xfrm>
            <a:custGeom>
              <a:avLst/>
              <a:gdLst>
                <a:gd name="T0" fmla="*/ 2147483647 w 161"/>
                <a:gd name="T1" fmla="*/ 2147483647 h 131"/>
                <a:gd name="T2" fmla="*/ 2147483647 w 161"/>
                <a:gd name="T3" fmla="*/ 2147483647 h 131"/>
                <a:gd name="T4" fmla="*/ 2147483647 w 161"/>
                <a:gd name="T5" fmla="*/ 2147483647 h 131"/>
                <a:gd name="T6" fmla="*/ 2147483647 w 161"/>
                <a:gd name="T7" fmla="*/ 2147483647 h 131"/>
                <a:gd name="T8" fmla="*/ 2147483647 w 161"/>
                <a:gd name="T9" fmla="*/ 2147483647 h 131"/>
                <a:gd name="T10" fmla="*/ 2147483647 w 161"/>
                <a:gd name="T11" fmla="*/ 2147483647 h 131"/>
                <a:gd name="T12" fmla="*/ 2147483647 w 161"/>
                <a:gd name="T13" fmla="*/ 2147483647 h 131"/>
                <a:gd name="T14" fmla="*/ 2147483647 w 161"/>
                <a:gd name="T15" fmla="*/ 2147483647 h 131"/>
                <a:gd name="T16" fmla="*/ 2147483647 w 161"/>
                <a:gd name="T17" fmla="*/ 2147483647 h 131"/>
                <a:gd name="T18" fmla="*/ 2147483647 w 161"/>
                <a:gd name="T19" fmla="*/ 2147483647 h 131"/>
                <a:gd name="T20" fmla="*/ 2147483647 w 161"/>
                <a:gd name="T21" fmla="*/ 2147483647 h 131"/>
                <a:gd name="T22" fmla="*/ 2147483647 w 161"/>
                <a:gd name="T23" fmla="*/ 2147483647 h 131"/>
                <a:gd name="T24" fmla="*/ 2147483647 w 161"/>
                <a:gd name="T25" fmla="*/ 2147483647 h 131"/>
                <a:gd name="T26" fmla="*/ 2147483647 w 161"/>
                <a:gd name="T27" fmla="*/ 2147483647 h 131"/>
                <a:gd name="T28" fmla="*/ 2147483647 w 161"/>
                <a:gd name="T29" fmla="*/ 2147483647 h 131"/>
                <a:gd name="T30" fmla="*/ 2147483647 w 161"/>
                <a:gd name="T31" fmla="*/ 2147483647 h 131"/>
                <a:gd name="T32" fmla="*/ 2147483647 w 161"/>
                <a:gd name="T33" fmla="*/ 2147483647 h 131"/>
                <a:gd name="T34" fmla="*/ 2147483647 w 161"/>
                <a:gd name="T35" fmla="*/ 2147483647 h 131"/>
                <a:gd name="T36" fmla="*/ 2147483647 w 161"/>
                <a:gd name="T37" fmla="*/ 2147483647 h 131"/>
                <a:gd name="T38" fmla="*/ 2147483647 w 161"/>
                <a:gd name="T39" fmla="*/ 2147483647 h 131"/>
                <a:gd name="T40" fmla="*/ 2147483647 w 161"/>
                <a:gd name="T41" fmla="*/ 2147483647 h 131"/>
                <a:gd name="T42" fmla="*/ 2147483647 w 161"/>
                <a:gd name="T43" fmla="*/ 2147483647 h 131"/>
                <a:gd name="T44" fmla="*/ 0 w 161"/>
                <a:gd name="T45" fmla="*/ 2147483647 h 131"/>
                <a:gd name="T46" fmla="*/ 2147483647 w 161"/>
                <a:gd name="T47" fmla="*/ 2147483647 h 131"/>
                <a:gd name="T48" fmla="*/ 2147483647 w 161"/>
                <a:gd name="T49" fmla="*/ 2147483647 h 131"/>
                <a:gd name="T50" fmla="*/ 2147483647 w 161"/>
                <a:gd name="T51" fmla="*/ 2147483647 h 131"/>
                <a:gd name="T52" fmla="*/ 2147483647 w 161"/>
                <a:gd name="T53" fmla="*/ 2147483647 h 131"/>
                <a:gd name="T54" fmla="*/ 2147483647 w 161"/>
                <a:gd name="T55" fmla="*/ 2147483647 h 131"/>
                <a:gd name="T56" fmla="*/ 2147483647 w 161"/>
                <a:gd name="T57" fmla="*/ 2147483647 h 131"/>
                <a:gd name="T58" fmla="*/ 2147483647 w 161"/>
                <a:gd name="T59" fmla="*/ 2147483647 h 131"/>
                <a:gd name="T60" fmla="*/ 2147483647 w 161"/>
                <a:gd name="T61" fmla="*/ 2147483647 h 131"/>
                <a:gd name="T62" fmla="*/ 2147483647 w 161"/>
                <a:gd name="T63" fmla="*/ 2147483647 h 131"/>
                <a:gd name="T64" fmla="*/ 2147483647 w 161"/>
                <a:gd name="T65" fmla="*/ 2147483647 h 131"/>
                <a:gd name="T66" fmla="*/ 2147483647 w 161"/>
                <a:gd name="T67" fmla="*/ 2147483647 h 131"/>
                <a:gd name="T68" fmla="*/ 2147483647 w 161"/>
                <a:gd name="T69" fmla="*/ 2147483647 h 131"/>
                <a:gd name="T70" fmla="*/ 2147483647 w 161"/>
                <a:gd name="T71" fmla="*/ 2147483647 h 131"/>
                <a:gd name="T72" fmla="*/ 2147483647 w 161"/>
                <a:gd name="T73" fmla="*/ 2147483647 h 131"/>
                <a:gd name="T74" fmla="*/ 2147483647 w 161"/>
                <a:gd name="T75" fmla="*/ 2147483647 h 131"/>
                <a:gd name="T76" fmla="*/ 2147483647 w 161"/>
                <a:gd name="T77" fmla="*/ 2147483647 h 131"/>
                <a:gd name="T78" fmla="*/ 2147483647 w 161"/>
                <a:gd name="T79" fmla="*/ 2147483647 h 131"/>
                <a:gd name="T80" fmla="*/ 2147483647 w 161"/>
                <a:gd name="T81" fmla="*/ 2147483647 h 131"/>
                <a:gd name="T82" fmla="*/ 2147483647 w 161"/>
                <a:gd name="T83" fmla="*/ 2147483647 h 131"/>
                <a:gd name="T84" fmla="*/ 2147483647 w 161"/>
                <a:gd name="T85" fmla="*/ 2147483647 h 131"/>
                <a:gd name="T86" fmla="*/ 2147483647 w 161"/>
                <a:gd name="T87" fmla="*/ 0 h 131"/>
                <a:gd name="T88" fmla="*/ 2147483647 w 161"/>
                <a:gd name="T89" fmla="*/ 2147483647 h 131"/>
                <a:gd name="T90" fmla="*/ 2147483647 w 161"/>
                <a:gd name="T91" fmla="*/ 2147483647 h 131"/>
                <a:gd name="T92" fmla="*/ 2147483647 w 161"/>
                <a:gd name="T93" fmla="*/ 2147483647 h 131"/>
                <a:gd name="T94" fmla="*/ 2147483647 w 161"/>
                <a:gd name="T95" fmla="*/ 2147483647 h 131"/>
                <a:gd name="T96" fmla="*/ 2147483647 w 161"/>
                <a:gd name="T97" fmla="*/ 2147483647 h 131"/>
                <a:gd name="T98" fmla="*/ 2147483647 w 161"/>
                <a:gd name="T99" fmla="*/ 2147483647 h 131"/>
                <a:gd name="T100" fmla="*/ 2147483647 w 161"/>
                <a:gd name="T101" fmla="*/ 2147483647 h 1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1"/>
                <a:gd name="T154" fmla="*/ 0 h 131"/>
                <a:gd name="T155" fmla="*/ 161 w 161"/>
                <a:gd name="T156" fmla="*/ 131 h 1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1" h="131">
                  <a:moveTo>
                    <a:pt x="54" y="24"/>
                  </a:moveTo>
                  <a:lnTo>
                    <a:pt x="54" y="24"/>
                  </a:lnTo>
                  <a:lnTo>
                    <a:pt x="52" y="26"/>
                  </a:lnTo>
                  <a:lnTo>
                    <a:pt x="49" y="29"/>
                  </a:lnTo>
                  <a:lnTo>
                    <a:pt x="48" y="31"/>
                  </a:lnTo>
                  <a:lnTo>
                    <a:pt x="46" y="35"/>
                  </a:lnTo>
                  <a:lnTo>
                    <a:pt x="42" y="44"/>
                  </a:lnTo>
                  <a:lnTo>
                    <a:pt x="35" y="55"/>
                  </a:lnTo>
                  <a:lnTo>
                    <a:pt x="34" y="60"/>
                  </a:lnTo>
                  <a:lnTo>
                    <a:pt x="33" y="66"/>
                  </a:lnTo>
                  <a:lnTo>
                    <a:pt x="30" y="70"/>
                  </a:lnTo>
                  <a:lnTo>
                    <a:pt x="28" y="75"/>
                  </a:lnTo>
                  <a:lnTo>
                    <a:pt x="20" y="85"/>
                  </a:lnTo>
                  <a:lnTo>
                    <a:pt x="18" y="92"/>
                  </a:lnTo>
                  <a:lnTo>
                    <a:pt x="9" y="108"/>
                  </a:lnTo>
                  <a:lnTo>
                    <a:pt x="2" y="126"/>
                  </a:lnTo>
                  <a:lnTo>
                    <a:pt x="0" y="131"/>
                  </a:lnTo>
                  <a:lnTo>
                    <a:pt x="67" y="128"/>
                  </a:lnTo>
                  <a:lnTo>
                    <a:pt x="70" y="128"/>
                  </a:lnTo>
                  <a:lnTo>
                    <a:pt x="72" y="127"/>
                  </a:lnTo>
                  <a:lnTo>
                    <a:pt x="72" y="125"/>
                  </a:lnTo>
                  <a:lnTo>
                    <a:pt x="72" y="119"/>
                  </a:lnTo>
                  <a:lnTo>
                    <a:pt x="74" y="109"/>
                  </a:lnTo>
                  <a:lnTo>
                    <a:pt x="75" y="104"/>
                  </a:lnTo>
                  <a:lnTo>
                    <a:pt x="79" y="96"/>
                  </a:lnTo>
                  <a:lnTo>
                    <a:pt x="84" y="88"/>
                  </a:lnTo>
                  <a:lnTo>
                    <a:pt x="90" y="80"/>
                  </a:lnTo>
                  <a:lnTo>
                    <a:pt x="89" y="62"/>
                  </a:lnTo>
                  <a:lnTo>
                    <a:pt x="87" y="53"/>
                  </a:lnTo>
                  <a:lnTo>
                    <a:pt x="87" y="49"/>
                  </a:lnTo>
                  <a:lnTo>
                    <a:pt x="89" y="47"/>
                  </a:lnTo>
                  <a:lnTo>
                    <a:pt x="161" y="42"/>
                  </a:lnTo>
                  <a:lnTo>
                    <a:pt x="160" y="15"/>
                  </a:lnTo>
                  <a:lnTo>
                    <a:pt x="159" y="0"/>
                  </a:lnTo>
                  <a:lnTo>
                    <a:pt x="66" y="3"/>
                  </a:lnTo>
                  <a:lnTo>
                    <a:pt x="62" y="10"/>
                  </a:lnTo>
                  <a:lnTo>
                    <a:pt x="58" y="17"/>
                  </a:lnTo>
                  <a:lnTo>
                    <a:pt x="54" y="2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0" name="Freeform 679"/>
            <p:cNvSpPr>
              <a:spLocks/>
            </p:cNvSpPr>
            <p:nvPr/>
          </p:nvSpPr>
          <p:spPr bwMode="auto">
            <a:xfrm>
              <a:off x="3897313" y="3567114"/>
              <a:ext cx="323850" cy="396875"/>
            </a:xfrm>
            <a:custGeom>
              <a:avLst/>
              <a:gdLst>
                <a:gd name="T0" fmla="*/ 2147483647 w 221"/>
                <a:gd name="T1" fmla="*/ 2147483647 h 250"/>
                <a:gd name="T2" fmla="*/ 2147483647 w 221"/>
                <a:gd name="T3" fmla="*/ 2147483647 h 250"/>
                <a:gd name="T4" fmla="*/ 2147483647 w 221"/>
                <a:gd name="T5" fmla="*/ 2147483647 h 250"/>
                <a:gd name="T6" fmla="*/ 2147483647 w 221"/>
                <a:gd name="T7" fmla="*/ 2147483647 h 250"/>
                <a:gd name="T8" fmla="*/ 2147483647 w 221"/>
                <a:gd name="T9" fmla="*/ 2147483647 h 250"/>
                <a:gd name="T10" fmla="*/ 2147483647 w 221"/>
                <a:gd name="T11" fmla="*/ 2147483647 h 250"/>
                <a:gd name="T12" fmla="*/ 2147483647 w 221"/>
                <a:gd name="T13" fmla="*/ 2147483647 h 250"/>
                <a:gd name="T14" fmla="*/ 2147483647 w 221"/>
                <a:gd name="T15" fmla="*/ 2147483647 h 250"/>
                <a:gd name="T16" fmla="*/ 2147483647 w 221"/>
                <a:gd name="T17" fmla="*/ 2147483647 h 250"/>
                <a:gd name="T18" fmla="*/ 2147483647 w 221"/>
                <a:gd name="T19" fmla="*/ 2147483647 h 250"/>
                <a:gd name="T20" fmla="*/ 2147483647 w 221"/>
                <a:gd name="T21" fmla="*/ 2147483647 h 250"/>
                <a:gd name="T22" fmla="*/ 2147483647 w 221"/>
                <a:gd name="T23" fmla="*/ 2147483647 h 250"/>
                <a:gd name="T24" fmla="*/ 2147483647 w 221"/>
                <a:gd name="T25" fmla="*/ 2147483647 h 250"/>
                <a:gd name="T26" fmla="*/ 2147483647 w 221"/>
                <a:gd name="T27" fmla="*/ 2147483647 h 250"/>
                <a:gd name="T28" fmla="*/ 2147483647 w 221"/>
                <a:gd name="T29" fmla="*/ 2147483647 h 250"/>
                <a:gd name="T30" fmla="*/ 2147483647 w 221"/>
                <a:gd name="T31" fmla="*/ 2147483647 h 250"/>
                <a:gd name="T32" fmla="*/ 2147483647 w 221"/>
                <a:gd name="T33" fmla="*/ 2147483647 h 250"/>
                <a:gd name="T34" fmla="*/ 2147483647 w 221"/>
                <a:gd name="T35" fmla="*/ 2147483647 h 250"/>
                <a:gd name="T36" fmla="*/ 2147483647 w 221"/>
                <a:gd name="T37" fmla="*/ 2147483647 h 250"/>
                <a:gd name="T38" fmla="*/ 2147483647 w 221"/>
                <a:gd name="T39" fmla="*/ 2147483647 h 250"/>
                <a:gd name="T40" fmla="*/ 2147483647 w 221"/>
                <a:gd name="T41" fmla="*/ 2147483647 h 250"/>
                <a:gd name="T42" fmla="*/ 2147483647 w 221"/>
                <a:gd name="T43" fmla="*/ 2147483647 h 250"/>
                <a:gd name="T44" fmla="*/ 2147483647 w 221"/>
                <a:gd name="T45" fmla="*/ 2147483647 h 250"/>
                <a:gd name="T46" fmla="*/ 2147483647 w 221"/>
                <a:gd name="T47" fmla="*/ 2147483647 h 250"/>
                <a:gd name="T48" fmla="*/ 2147483647 w 221"/>
                <a:gd name="T49" fmla="*/ 2147483647 h 250"/>
                <a:gd name="T50" fmla="*/ 2147483647 w 221"/>
                <a:gd name="T51" fmla="*/ 2147483647 h 250"/>
                <a:gd name="T52" fmla="*/ 2147483647 w 221"/>
                <a:gd name="T53" fmla="*/ 2147483647 h 250"/>
                <a:gd name="T54" fmla="*/ 2147483647 w 221"/>
                <a:gd name="T55" fmla="*/ 2147483647 h 250"/>
                <a:gd name="T56" fmla="*/ 2147483647 w 221"/>
                <a:gd name="T57" fmla="*/ 2147483647 h 250"/>
                <a:gd name="T58" fmla="*/ 2147483647 w 221"/>
                <a:gd name="T59" fmla="*/ 2147483647 h 250"/>
                <a:gd name="T60" fmla="*/ 2147483647 w 221"/>
                <a:gd name="T61" fmla="*/ 2147483647 h 250"/>
                <a:gd name="T62" fmla="*/ 2147483647 w 221"/>
                <a:gd name="T63" fmla="*/ 2147483647 h 250"/>
                <a:gd name="T64" fmla="*/ 2147483647 w 221"/>
                <a:gd name="T65" fmla="*/ 2147483647 h 250"/>
                <a:gd name="T66" fmla="*/ 2147483647 w 221"/>
                <a:gd name="T67" fmla="*/ 2147483647 h 250"/>
                <a:gd name="T68" fmla="*/ 2147483647 w 221"/>
                <a:gd name="T69" fmla="*/ 2147483647 h 250"/>
                <a:gd name="T70" fmla="*/ 2147483647 w 221"/>
                <a:gd name="T71" fmla="*/ 2147483647 h 250"/>
                <a:gd name="T72" fmla="*/ 2147483647 w 221"/>
                <a:gd name="T73" fmla="*/ 2147483647 h 250"/>
                <a:gd name="T74" fmla="*/ 2147483647 w 221"/>
                <a:gd name="T75" fmla="*/ 2147483647 h 250"/>
                <a:gd name="T76" fmla="*/ 2147483647 w 221"/>
                <a:gd name="T77" fmla="*/ 2147483647 h 250"/>
                <a:gd name="T78" fmla="*/ 2147483647 w 221"/>
                <a:gd name="T79" fmla="*/ 2147483647 h 250"/>
                <a:gd name="T80" fmla="*/ 2147483647 w 221"/>
                <a:gd name="T81" fmla="*/ 2147483647 h 250"/>
                <a:gd name="T82" fmla="*/ 2147483647 w 221"/>
                <a:gd name="T83" fmla="*/ 2147483647 h 250"/>
                <a:gd name="T84" fmla="*/ 2147483647 w 221"/>
                <a:gd name="T85" fmla="*/ 2147483647 h 250"/>
                <a:gd name="T86" fmla="*/ 2147483647 w 221"/>
                <a:gd name="T87" fmla="*/ 2147483647 h 250"/>
                <a:gd name="T88" fmla="*/ 2147483647 w 221"/>
                <a:gd name="T89" fmla="*/ 2147483647 h 250"/>
                <a:gd name="T90" fmla="*/ 2147483647 w 221"/>
                <a:gd name="T91" fmla="*/ 2147483647 h 250"/>
                <a:gd name="T92" fmla="*/ 2147483647 w 221"/>
                <a:gd name="T93" fmla="*/ 2147483647 h 250"/>
                <a:gd name="T94" fmla="*/ 2147483647 w 221"/>
                <a:gd name="T95" fmla="*/ 2147483647 h 250"/>
                <a:gd name="T96" fmla="*/ 2147483647 w 221"/>
                <a:gd name="T97" fmla="*/ 2147483647 h 250"/>
                <a:gd name="T98" fmla="*/ 2147483647 w 221"/>
                <a:gd name="T99" fmla="*/ 2147483647 h 250"/>
                <a:gd name="T100" fmla="*/ 0 w 221"/>
                <a:gd name="T101" fmla="*/ 2147483647 h 250"/>
                <a:gd name="T102" fmla="*/ 0 w 221"/>
                <a:gd name="T103" fmla="*/ 2147483647 h 250"/>
                <a:gd name="T104" fmla="*/ 2147483647 w 221"/>
                <a:gd name="T105" fmla="*/ 2147483647 h 2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1"/>
                <a:gd name="T160" fmla="*/ 0 h 250"/>
                <a:gd name="T161" fmla="*/ 221 w 221"/>
                <a:gd name="T162" fmla="*/ 250 h 2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1" h="250">
                  <a:moveTo>
                    <a:pt x="3" y="116"/>
                  </a:moveTo>
                  <a:lnTo>
                    <a:pt x="70" y="113"/>
                  </a:lnTo>
                  <a:lnTo>
                    <a:pt x="73" y="113"/>
                  </a:lnTo>
                  <a:lnTo>
                    <a:pt x="75" y="112"/>
                  </a:lnTo>
                  <a:lnTo>
                    <a:pt x="75" y="110"/>
                  </a:lnTo>
                  <a:lnTo>
                    <a:pt x="75" y="104"/>
                  </a:lnTo>
                  <a:lnTo>
                    <a:pt x="77" y="94"/>
                  </a:lnTo>
                  <a:lnTo>
                    <a:pt x="78" y="89"/>
                  </a:lnTo>
                  <a:lnTo>
                    <a:pt x="82" y="81"/>
                  </a:lnTo>
                  <a:lnTo>
                    <a:pt x="87" y="73"/>
                  </a:lnTo>
                  <a:lnTo>
                    <a:pt x="93" y="65"/>
                  </a:lnTo>
                  <a:lnTo>
                    <a:pt x="92" y="47"/>
                  </a:lnTo>
                  <a:lnTo>
                    <a:pt x="90" y="38"/>
                  </a:lnTo>
                  <a:lnTo>
                    <a:pt x="90" y="34"/>
                  </a:lnTo>
                  <a:lnTo>
                    <a:pt x="92" y="32"/>
                  </a:lnTo>
                  <a:lnTo>
                    <a:pt x="164" y="27"/>
                  </a:lnTo>
                  <a:lnTo>
                    <a:pt x="163" y="0"/>
                  </a:lnTo>
                  <a:lnTo>
                    <a:pt x="195" y="22"/>
                  </a:lnTo>
                  <a:lnTo>
                    <a:pt x="221" y="41"/>
                  </a:lnTo>
                  <a:lnTo>
                    <a:pt x="198" y="40"/>
                  </a:lnTo>
                  <a:lnTo>
                    <a:pt x="198" y="220"/>
                  </a:lnTo>
                  <a:lnTo>
                    <a:pt x="196" y="220"/>
                  </a:lnTo>
                  <a:lnTo>
                    <a:pt x="163" y="219"/>
                  </a:lnTo>
                  <a:lnTo>
                    <a:pt x="146" y="219"/>
                  </a:lnTo>
                  <a:lnTo>
                    <a:pt x="130" y="220"/>
                  </a:lnTo>
                  <a:lnTo>
                    <a:pt x="126" y="221"/>
                  </a:lnTo>
                  <a:lnTo>
                    <a:pt x="121" y="224"/>
                  </a:lnTo>
                  <a:lnTo>
                    <a:pt x="118" y="226"/>
                  </a:lnTo>
                  <a:lnTo>
                    <a:pt x="116" y="231"/>
                  </a:lnTo>
                  <a:lnTo>
                    <a:pt x="115" y="232"/>
                  </a:lnTo>
                  <a:lnTo>
                    <a:pt x="112" y="233"/>
                  </a:lnTo>
                  <a:lnTo>
                    <a:pt x="110" y="233"/>
                  </a:lnTo>
                  <a:lnTo>
                    <a:pt x="108" y="233"/>
                  </a:lnTo>
                  <a:lnTo>
                    <a:pt x="106" y="231"/>
                  </a:lnTo>
                  <a:lnTo>
                    <a:pt x="104" y="228"/>
                  </a:lnTo>
                  <a:lnTo>
                    <a:pt x="104" y="226"/>
                  </a:lnTo>
                  <a:lnTo>
                    <a:pt x="106" y="224"/>
                  </a:lnTo>
                  <a:lnTo>
                    <a:pt x="102" y="224"/>
                  </a:lnTo>
                  <a:lnTo>
                    <a:pt x="98" y="227"/>
                  </a:lnTo>
                  <a:lnTo>
                    <a:pt x="97" y="231"/>
                  </a:lnTo>
                  <a:lnTo>
                    <a:pt x="96" y="234"/>
                  </a:lnTo>
                  <a:lnTo>
                    <a:pt x="94" y="241"/>
                  </a:lnTo>
                  <a:lnTo>
                    <a:pt x="94" y="245"/>
                  </a:lnTo>
                  <a:lnTo>
                    <a:pt x="96" y="250"/>
                  </a:lnTo>
                  <a:lnTo>
                    <a:pt x="90" y="249"/>
                  </a:lnTo>
                  <a:lnTo>
                    <a:pt x="87" y="247"/>
                  </a:lnTo>
                  <a:lnTo>
                    <a:pt x="80" y="243"/>
                  </a:lnTo>
                  <a:lnTo>
                    <a:pt x="75" y="237"/>
                  </a:lnTo>
                  <a:lnTo>
                    <a:pt x="71" y="231"/>
                  </a:lnTo>
                  <a:lnTo>
                    <a:pt x="69" y="224"/>
                  </a:lnTo>
                  <a:lnTo>
                    <a:pt x="68" y="223"/>
                  </a:lnTo>
                  <a:lnTo>
                    <a:pt x="66" y="221"/>
                  </a:lnTo>
                  <a:lnTo>
                    <a:pt x="66" y="219"/>
                  </a:lnTo>
                  <a:lnTo>
                    <a:pt x="64" y="217"/>
                  </a:lnTo>
                  <a:lnTo>
                    <a:pt x="56" y="213"/>
                  </a:lnTo>
                  <a:lnTo>
                    <a:pt x="50" y="211"/>
                  </a:lnTo>
                  <a:lnTo>
                    <a:pt x="45" y="209"/>
                  </a:lnTo>
                  <a:lnTo>
                    <a:pt x="38" y="208"/>
                  </a:lnTo>
                  <a:lnTo>
                    <a:pt x="37" y="207"/>
                  </a:lnTo>
                  <a:lnTo>
                    <a:pt x="35" y="207"/>
                  </a:lnTo>
                  <a:lnTo>
                    <a:pt x="24" y="212"/>
                  </a:lnTo>
                  <a:lnTo>
                    <a:pt x="19" y="213"/>
                  </a:lnTo>
                  <a:lnTo>
                    <a:pt x="13" y="214"/>
                  </a:lnTo>
                  <a:lnTo>
                    <a:pt x="16" y="205"/>
                  </a:lnTo>
                  <a:lnTo>
                    <a:pt x="18" y="187"/>
                  </a:lnTo>
                  <a:lnTo>
                    <a:pt x="18" y="174"/>
                  </a:lnTo>
                  <a:lnTo>
                    <a:pt x="18" y="169"/>
                  </a:lnTo>
                  <a:lnTo>
                    <a:pt x="17" y="166"/>
                  </a:lnTo>
                  <a:lnTo>
                    <a:pt x="13" y="163"/>
                  </a:lnTo>
                  <a:lnTo>
                    <a:pt x="13" y="162"/>
                  </a:lnTo>
                  <a:lnTo>
                    <a:pt x="12" y="161"/>
                  </a:lnTo>
                  <a:lnTo>
                    <a:pt x="13" y="143"/>
                  </a:lnTo>
                  <a:lnTo>
                    <a:pt x="12" y="126"/>
                  </a:lnTo>
                  <a:lnTo>
                    <a:pt x="12" y="122"/>
                  </a:lnTo>
                  <a:lnTo>
                    <a:pt x="10" y="122"/>
                  </a:lnTo>
                  <a:lnTo>
                    <a:pt x="8" y="122"/>
                  </a:lnTo>
                  <a:lnTo>
                    <a:pt x="3" y="125"/>
                  </a:lnTo>
                  <a:lnTo>
                    <a:pt x="0" y="128"/>
                  </a:lnTo>
                  <a:lnTo>
                    <a:pt x="0" y="124"/>
                  </a:lnTo>
                  <a:lnTo>
                    <a:pt x="0" y="122"/>
                  </a:lnTo>
                  <a:lnTo>
                    <a:pt x="3" y="1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1" name="Freeform 680"/>
            <p:cNvSpPr>
              <a:spLocks/>
            </p:cNvSpPr>
            <p:nvPr/>
          </p:nvSpPr>
          <p:spPr bwMode="auto">
            <a:xfrm>
              <a:off x="3884613" y="3897313"/>
              <a:ext cx="157162" cy="146050"/>
            </a:xfrm>
            <a:custGeom>
              <a:avLst/>
              <a:gdLst>
                <a:gd name="T0" fmla="*/ 2147483647 w 107"/>
                <a:gd name="T1" fmla="*/ 2147483647 h 92"/>
                <a:gd name="T2" fmla="*/ 2147483647 w 107"/>
                <a:gd name="T3" fmla="*/ 2147483647 h 92"/>
                <a:gd name="T4" fmla="*/ 2147483647 w 107"/>
                <a:gd name="T5" fmla="*/ 2147483647 h 92"/>
                <a:gd name="T6" fmla="*/ 2147483647 w 107"/>
                <a:gd name="T7" fmla="*/ 2147483647 h 92"/>
                <a:gd name="T8" fmla="*/ 2147483647 w 107"/>
                <a:gd name="T9" fmla="*/ 2147483647 h 92"/>
                <a:gd name="T10" fmla="*/ 2147483647 w 107"/>
                <a:gd name="T11" fmla="*/ 2147483647 h 92"/>
                <a:gd name="T12" fmla="*/ 2147483647 w 107"/>
                <a:gd name="T13" fmla="*/ 0 h 92"/>
                <a:gd name="T14" fmla="*/ 2147483647 w 107"/>
                <a:gd name="T15" fmla="*/ 2147483647 h 92"/>
                <a:gd name="T16" fmla="*/ 2147483647 w 107"/>
                <a:gd name="T17" fmla="*/ 2147483647 h 92"/>
                <a:gd name="T18" fmla="*/ 2147483647 w 107"/>
                <a:gd name="T19" fmla="*/ 2147483647 h 92"/>
                <a:gd name="T20" fmla="*/ 2147483647 w 107"/>
                <a:gd name="T21" fmla="*/ 2147483647 h 92"/>
                <a:gd name="T22" fmla="*/ 0 w 107"/>
                <a:gd name="T23" fmla="*/ 2147483647 h 92"/>
                <a:gd name="T24" fmla="*/ 2147483647 w 107"/>
                <a:gd name="T25" fmla="*/ 2147483647 h 92"/>
                <a:gd name="T26" fmla="*/ 2147483647 w 107"/>
                <a:gd name="T27" fmla="*/ 2147483647 h 92"/>
                <a:gd name="T28" fmla="*/ 2147483647 w 107"/>
                <a:gd name="T29" fmla="*/ 2147483647 h 92"/>
                <a:gd name="T30" fmla="*/ 2147483647 w 107"/>
                <a:gd name="T31" fmla="*/ 2147483647 h 92"/>
                <a:gd name="T32" fmla="*/ 2147483647 w 107"/>
                <a:gd name="T33" fmla="*/ 2147483647 h 92"/>
                <a:gd name="T34" fmla="*/ 2147483647 w 107"/>
                <a:gd name="T35" fmla="*/ 2147483647 h 92"/>
                <a:gd name="T36" fmla="*/ 2147483647 w 107"/>
                <a:gd name="T37" fmla="*/ 2147483647 h 92"/>
                <a:gd name="T38" fmla="*/ 2147483647 w 107"/>
                <a:gd name="T39" fmla="*/ 2147483647 h 92"/>
                <a:gd name="T40" fmla="*/ 2147483647 w 107"/>
                <a:gd name="T41" fmla="*/ 2147483647 h 92"/>
                <a:gd name="T42" fmla="*/ 2147483647 w 107"/>
                <a:gd name="T43" fmla="*/ 2147483647 h 92"/>
                <a:gd name="T44" fmla="*/ 2147483647 w 107"/>
                <a:gd name="T45" fmla="*/ 2147483647 h 92"/>
                <a:gd name="T46" fmla="*/ 2147483647 w 107"/>
                <a:gd name="T47" fmla="*/ 2147483647 h 92"/>
                <a:gd name="T48" fmla="*/ 2147483647 w 107"/>
                <a:gd name="T49" fmla="*/ 2147483647 h 92"/>
                <a:gd name="T50" fmla="*/ 2147483647 w 107"/>
                <a:gd name="T51" fmla="*/ 2147483647 h 92"/>
                <a:gd name="T52" fmla="*/ 2147483647 w 107"/>
                <a:gd name="T53" fmla="*/ 2147483647 h 92"/>
                <a:gd name="T54" fmla="*/ 2147483647 w 107"/>
                <a:gd name="T55" fmla="*/ 2147483647 h 92"/>
                <a:gd name="T56" fmla="*/ 2147483647 w 107"/>
                <a:gd name="T57" fmla="*/ 2147483647 h 92"/>
                <a:gd name="T58" fmla="*/ 2147483647 w 107"/>
                <a:gd name="T59" fmla="*/ 2147483647 h 92"/>
                <a:gd name="T60" fmla="*/ 2147483647 w 107"/>
                <a:gd name="T61" fmla="*/ 2147483647 h 92"/>
                <a:gd name="T62" fmla="*/ 2147483647 w 107"/>
                <a:gd name="T63" fmla="*/ 2147483647 h 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7"/>
                <a:gd name="T97" fmla="*/ 0 h 92"/>
                <a:gd name="T98" fmla="*/ 107 w 107"/>
                <a:gd name="T99" fmla="*/ 92 h 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7" h="92">
                  <a:moveTo>
                    <a:pt x="97" y="41"/>
                  </a:moveTo>
                  <a:lnTo>
                    <a:pt x="91" y="36"/>
                  </a:lnTo>
                  <a:lnTo>
                    <a:pt x="86" y="30"/>
                  </a:lnTo>
                  <a:lnTo>
                    <a:pt x="82" y="24"/>
                  </a:lnTo>
                  <a:lnTo>
                    <a:pt x="79" y="17"/>
                  </a:lnTo>
                  <a:lnTo>
                    <a:pt x="78" y="16"/>
                  </a:lnTo>
                  <a:lnTo>
                    <a:pt x="77" y="15"/>
                  </a:lnTo>
                  <a:lnTo>
                    <a:pt x="77" y="12"/>
                  </a:lnTo>
                  <a:lnTo>
                    <a:pt x="74" y="10"/>
                  </a:lnTo>
                  <a:lnTo>
                    <a:pt x="66" y="6"/>
                  </a:lnTo>
                  <a:lnTo>
                    <a:pt x="60" y="4"/>
                  </a:lnTo>
                  <a:lnTo>
                    <a:pt x="55" y="3"/>
                  </a:lnTo>
                  <a:lnTo>
                    <a:pt x="49" y="1"/>
                  </a:lnTo>
                  <a:lnTo>
                    <a:pt x="47" y="0"/>
                  </a:lnTo>
                  <a:lnTo>
                    <a:pt x="45" y="0"/>
                  </a:lnTo>
                  <a:lnTo>
                    <a:pt x="35" y="5"/>
                  </a:lnTo>
                  <a:lnTo>
                    <a:pt x="30" y="6"/>
                  </a:lnTo>
                  <a:lnTo>
                    <a:pt x="23" y="7"/>
                  </a:lnTo>
                  <a:lnTo>
                    <a:pt x="23" y="10"/>
                  </a:lnTo>
                  <a:lnTo>
                    <a:pt x="22" y="13"/>
                  </a:lnTo>
                  <a:lnTo>
                    <a:pt x="19" y="17"/>
                  </a:lnTo>
                  <a:lnTo>
                    <a:pt x="13" y="26"/>
                  </a:lnTo>
                  <a:lnTo>
                    <a:pt x="0" y="42"/>
                  </a:lnTo>
                  <a:lnTo>
                    <a:pt x="0" y="43"/>
                  </a:lnTo>
                  <a:lnTo>
                    <a:pt x="2" y="43"/>
                  </a:lnTo>
                  <a:lnTo>
                    <a:pt x="3" y="44"/>
                  </a:lnTo>
                  <a:lnTo>
                    <a:pt x="8" y="44"/>
                  </a:lnTo>
                  <a:lnTo>
                    <a:pt x="9" y="45"/>
                  </a:lnTo>
                  <a:lnTo>
                    <a:pt x="11" y="47"/>
                  </a:lnTo>
                  <a:lnTo>
                    <a:pt x="18" y="61"/>
                  </a:lnTo>
                  <a:lnTo>
                    <a:pt x="35" y="58"/>
                  </a:lnTo>
                  <a:lnTo>
                    <a:pt x="42" y="58"/>
                  </a:lnTo>
                  <a:lnTo>
                    <a:pt x="49" y="58"/>
                  </a:lnTo>
                  <a:lnTo>
                    <a:pt x="63" y="61"/>
                  </a:lnTo>
                  <a:lnTo>
                    <a:pt x="77" y="63"/>
                  </a:lnTo>
                  <a:lnTo>
                    <a:pt x="74" y="71"/>
                  </a:lnTo>
                  <a:lnTo>
                    <a:pt x="73" y="74"/>
                  </a:lnTo>
                  <a:lnTo>
                    <a:pt x="69" y="76"/>
                  </a:lnTo>
                  <a:lnTo>
                    <a:pt x="64" y="77"/>
                  </a:lnTo>
                  <a:lnTo>
                    <a:pt x="59" y="76"/>
                  </a:lnTo>
                  <a:lnTo>
                    <a:pt x="49" y="75"/>
                  </a:lnTo>
                  <a:lnTo>
                    <a:pt x="42" y="74"/>
                  </a:lnTo>
                  <a:lnTo>
                    <a:pt x="36" y="74"/>
                  </a:lnTo>
                  <a:lnTo>
                    <a:pt x="25" y="75"/>
                  </a:lnTo>
                  <a:lnTo>
                    <a:pt x="26" y="83"/>
                  </a:lnTo>
                  <a:lnTo>
                    <a:pt x="27" y="92"/>
                  </a:lnTo>
                  <a:lnTo>
                    <a:pt x="39" y="88"/>
                  </a:lnTo>
                  <a:lnTo>
                    <a:pt x="49" y="87"/>
                  </a:lnTo>
                  <a:lnTo>
                    <a:pt x="60" y="86"/>
                  </a:lnTo>
                  <a:lnTo>
                    <a:pt x="72" y="87"/>
                  </a:lnTo>
                  <a:lnTo>
                    <a:pt x="78" y="88"/>
                  </a:lnTo>
                  <a:lnTo>
                    <a:pt x="84" y="89"/>
                  </a:lnTo>
                  <a:lnTo>
                    <a:pt x="91" y="89"/>
                  </a:lnTo>
                  <a:lnTo>
                    <a:pt x="105" y="86"/>
                  </a:lnTo>
                  <a:lnTo>
                    <a:pt x="107" y="86"/>
                  </a:lnTo>
                  <a:lnTo>
                    <a:pt x="107" y="82"/>
                  </a:lnTo>
                  <a:lnTo>
                    <a:pt x="107" y="79"/>
                  </a:lnTo>
                  <a:lnTo>
                    <a:pt x="103" y="74"/>
                  </a:lnTo>
                  <a:lnTo>
                    <a:pt x="99" y="69"/>
                  </a:lnTo>
                  <a:lnTo>
                    <a:pt x="94" y="64"/>
                  </a:lnTo>
                  <a:lnTo>
                    <a:pt x="93" y="61"/>
                  </a:lnTo>
                  <a:lnTo>
                    <a:pt x="93" y="58"/>
                  </a:lnTo>
                  <a:lnTo>
                    <a:pt x="93" y="52"/>
                  </a:lnTo>
                  <a:lnTo>
                    <a:pt x="97" y="4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2" name="Freeform 681"/>
            <p:cNvSpPr>
              <a:spLocks/>
            </p:cNvSpPr>
            <p:nvPr/>
          </p:nvSpPr>
          <p:spPr bwMode="auto">
            <a:xfrm>
              <a:off x="3911604" y="3989388"/>
              <a:ext cx="85725" cy="30162"/>
            </a:xfrm>
            <a:custGeom>
              <a:avLst/>
              <a:gdLst>
                <a:gd name="T0" fmla="*/ 2147483647 w 59"/>
                <a:gd name="T1" fmla="*/ 2147483647 h 19"/>
                <a:gd name="T2" fmla="*/ 2147483647 w 59"/>
                <a:gd name="T3" fmla="*/ 2147483647 h 19"/>
                <a:gd name="T4" fmla="*/ 2147483647 w 59"/>
                <a:gd name="T5" fmla="*/ 2147483647 h 19"/>
                <a:gd name="T6" fmla="*/ 2147483647 w 59"/>
                <a:gd name="T7" fmla="*/ 2147483647 h 19"/>
                <a:gd name="T8" fmla="*/ 2147483647 w 59"/>
                <a:gd name="T9" fmla="*/ 2147483647 h 19"/>
                <a:gd name="T10" fmla="*/ 2147483647 w 59"/>
                <a:gd name="T11" fmla="*/ 2147483647 h 19"/>
                <a:gd name="T12" fmla="*/ 2147483647 w 59"/>
                <a:gd name="T13" fmla="*/ 2147483647 h 19"/>
                <a:gd name="T14" fmla="*/ 2147483647 w 59"/>
                <a:gd name="T15" fmla="*/ 2147483647 h 19"/>
                <a:gd name="T16" fmla="*/ 2147483647 w 59"/>
                <a:gd name="T17" fmla="*/ 2147483647 h 19"/>
                <a:gd name="T18" fmla="*/ 2147483647 w 59"/>
                <a:gd name="T19" fmla="*/ 2147483647 h 19"/>
                <a:gd name="T20" fmla="*/ 2147483647 w 59"/>
                <a:gd name="T21" fmla="*/ 2147483647 h 19"/>
                <a:gd name="T22" fmla="*/ 2147483647 w 59"/>
                <a:gd name="T23" fmla="*/ 0 h 19"/>
                <a:gd name="T24" fmla="*/ 2147483647 w 59"/>
                <a:gd name="T25" fmla="*/ 0 h 19"/>
                <a:gd name="T26" fmla="*/ 2147483647 w 59"/>
                <a:gd name="T27" fmla="*/ 0 h 19"/>
                <a:gd name="T28" fmla="*/ 0 w 59"/>
                <a:gd name="T29" fmla="*/ 2147483647 h 19"/>
                <a:gd name="T30" fmla="*/ 2147483647 w 59"/>
                <a:gd name="T31" fmla="*/ 2147483647 h 19"/>
                <a:gd name="T32" fmla="*/ 2147483647 w 59"/>
                <a:gd name="T33" fmla="*/ 2147483647 h 19"/>
                <a:gd name="T34" fmla="*/ 2147483647 w 59"/>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19"/>
                <a:gd name="T56" fmla="*/ 59 w 59"/>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19">
                  <a:moveTo>
                    <a:pt x="7" y="17"/>
                  </a:moveTo>
                  <a:lnTo>
                    <a:pt x="18" y="16"/>
                  </a:lnTo>
                  <a:lnTo>
                    <a:pt x="24" y="16"/>
                  </a:lnTo>
                  <a:lnTo>
                    <a:pt x="31" y="17"/>
                  </a:lnTo>
                  <a:lnTo>
                    <a:pt x="41" y="18"/>
                  </a:lnTo>
                  <a:lnTo>
                    <a:pt x="46" y="19"/>
                  </a:lnTo>
                  <a:lnTo>
                    <a:pt x="51" y="18"/>
                  </a:lnTo>
                  <a:lnTo>
                    <a:pt x="55" y="16"/>
                  </a:lnTo>
                  <a:lnTo>
                    <a:pt x="56" y="13"/>
                  </a:lnTo>
                  <a:lnTo>
                    <a:pt x="59" y="5"/>
                  </a:lnTo>
                  <a:lnTo>
                    <a:pt x="45" y="3"/>
                  </a:lnTo>
                  <a:lnTo>
                    <a:pt x="31" y="0"/>
                  </a:lnTo>
                  <a:lnTo>
                    <a:pt x="24" y="0"/>
                  </a:lnTo>
                  <a:lnTo>
                    <a:pt x="17" y="0"/>
                  </a:lnTo>
                  <a:lnTo>
                    <a:pt x="0" y="3"/>
                  </a:lnTo>
                  <a:lnTo>
                    <a:pt x="4" y="7"/>
                  </a:lnTo>
                  <a:lnTo>
                    <a:pt x="5" y="12"/>
                  </a:lnTo>
                  <a:lnTo>
                    <a:pt x="7" y="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3" name="Freeform 682"/>
            <p:cNvSpPr>
              <a:spLocks/>
            </p:cNvSpPr>
            <p:nvPr/>
          </p:nvSpPr>
          <p:spPr bwMode="auto">
            <a:xfrm>
              <a:off x="3883026" y="3895729"/>
              <a:ext cx="157163" cy="144463"/>
            </a:xfrm>
            <a:custGeom>
              <a:avLst/>
              <a:gdLst>
                <a:gd name="T0" fmla="*/ 2147483647 w 107"/>
                <a:gd name="T1" fmla="*/ 2147483647 h 91"/>
                <a:gd name="T2" fmla="*/ 2147483647 w 107"/>
                <a:gd name="T3" fmla="*/ 2147483647 h 91"/>
                <a:gd name="T4" fmla="*/ 2147483647 w 107"/>
                <a:gd name="T5" fmla="*/ 2147483647 h 91"/>
                <a:gd name="T6" fmla="*/ 2147483647 w 107"/>
                <a:gd name="T7" fmla="*/ 2147483647 h 91"/>
                <a:gd name="T8" fmla="*/ 2147483647 w 107"/>
                <a:gd name="T9" fmla="*/ 2147483647 h 91"/>
                <a:gd name="T10" fmla="*/ 2147483647 w 107"/>
                <a:gd name="T11" fmla="*/ 2147483647 h 91"/>
                <a:gd name="T12" fmla="*/ 2147483647 w 107"/>
                <a:gd name="T13" fmla="*/ 2147483647 h 91"/>
                <a:gd name="T14" fmla="*/ 2147483647 w 107"/>
                <a:gd name="T15" fmla="*/ 2147483647 h 91"/>
                <a:gd name="T16" fmla="*/ 2147483647 w 107"/>
                <a:gd name="T17" fmla="*/ 2147483647 h 91"/>
                <a:gd name="T18" fmla="*/ 2147483647 w 107"/>
                <a:gd name="T19" fmla="*/ 0 h 91"/>
                <a:gd name="T20" fmla="*/ 2147483647 w 107"/>
                <a:gd name="T21" fmla="*/ 0 h 91"/>
                <a:gd name="T22" fmla="*/ 2147483647 w 107"/>
                <a:gd name="T23" fmla="*/ 2147483647 h 91"/>
                <a:gd name="T24" fmla="*/ 2147483647 w 107"/>
                <a:gd name="T25" fmla="*/ 2147483647 h 91"/>
                <a:gd name="T26" fmla="*/ 2147483647 w 107"/>
                <a:gd name="T27" fmla="*/ 2147483647 h 91"/>
                <a:gd name="T28" fmla="*/ 2147483647 w 107"/>
                <a:gd name="T29" fmla="*/ 2147483647 h 91"/>
                <a:gd name="T30" fmla="*/ 0 w 107"/>
                <a:gd name="T31" fmla="*/ 2147483647 h 91"/>
                <a:gd name="T32" fmla="*/ 0 w 107"/>
                <a:gd name="T33" fmla="*/ 2147483647 h 91"/>
                <a:gd name="T34" fmla="*/ 2147483647 w 107"/>
                <a:gd name="T35" fmla="*/ 2147483647 h 91"/>
                <a:gd name="T36" fmla="*/ 2147483647 w 107"/>
                <a:gd name="T37" fmla="*/ 2147483647 h 91"/>
                <a:gd name="T38" fmla="*/ 2147483647 w 107"/>
                <a:gd name="T39" fmla="*/ 2147483647 h 91"/>
                <a:gd name="T40" fmla="*/ 2147483647 w 107"/>
                <a:gd name="T41" fmla="*/ 2147483647 h 91"/>
                <a:gd name="T42" fmla="*/ 2147483647 w 107"/>
                <a:gd name="T43" fmla="*/ 2147483647 h 91"/>
                <a:gd name="T44" fmla="*/ 2147483647 w 107"/>
                <a:gd name="T45" fmla="*/ 2147483647 h 91"/>
                <a:gd name="T46" fmla="*/ 2147483647 w 107"/>
                <a:gd name="T47" fmla="*/ 2147483647 h 91"/>
                <a:gd name="T48" fmla="*/ 2147483647 w 107"/>
                <a:gd name="T49" fmla="*/ 2147483647 h 91"/>
                <a:gd name="T50" fmla="*/ 2147483647 w 107"/>
                <a:gd name="T51" fmla="*/ 2147483647 h 91"/>
                <a:gd name="T52" fmla="*/ 2147483647 w 107"/>
                <a:gd name="T53" fmla="*/ 2147483647 h 91"/>
                <a:gd name="T54" fmla="*/ 2147483647 w 107"/>
                <a:gd name="T55" fmla="*/ 2147483647 h 91"/>
                <a:gd name="T56" fmla="*/ 2147483647 w 107"/>
                <a:gd name="T57" fmla="*/ 2147483647 h 91"/>
                <a:gd name="T58" fmla="*/ 2147483647 w 107"/>
                <a:gd name="T59" fmla="*/ 2147483647 h 91"/>
                <a:gd name="T60" fmla="*/ 2147483647 w 107"/>
                <a:gd name="T61" fmla="*/ 2147483647 h 91"/>
                <a:gd name="T62" fmla="*/ 2147483647 w 107"/>
                <a:gd name="T63" fmla="*/ 2147483647 h 91"/>
                <a:gd name="T64" fmla="*/ 2147483647 w 107"/>
                <a:gd name="T65" fmla="*/ 2147483647 h 91"/>
                <a:gd name="T66" fmla="*/ 2147483647 w 107"/>
                <a:gd name="T67" fmla="*/ 2147483647 h 91"/>
                <a:gd name="T68" fmla="*/ 2147483647 w 107"/>
                <a:gd name="T69" fmla="*/ 2147483647 h 91"/>
                <a:gd name="T70" fmla="*/ 2147483647 w 107"/>
                <a:gd name="T71" fmla="*/ 2147483647 h 91"/>
                <a:gd name="T72" fmla="*/ 2147483647 w 107"/>
                <a:gd name="T73" fmla="*/ 2147483647 h 91"/>
                <a:gd name="T74" fmla="*/ 2147483647 w 107"/>
                <a:gd name="T75" fmla="*/ 2147483647 h 91"/>
                <a:gd name="T76" fmla="*/ 2147483647 w 107"/>
                <a:gd name="T77" fmla="*/ 2147483647 h 91"/>
                <a:gd name="T78" fmla="*/ 2147483647 w 107"/>
                <a:gd name="T79" fmla="*/ 2147483647 h 91"/>
                <a:gd name="T80" fmla="*/ 2147483647 w 107"/>
                <a:gd name="T81" fmla="*/ 2147483647 h 91"/>
                <a:gd name="T82" fmla="*/ 2147483647 w 107"/>
                <a:gd name="T83" fmla="*/ 2147483647 h 91"/>
                <a:gd name="T84" fmla="*/ 2147483647 w 107"/>
                <a:gd name="T85" fmla="*/ 2147483647 h 91"/>
                <a:gd name="T86" fmla="*/ 2147483647 w 107"/>
                <a:gd name="T87" fmla="*/ 2147483647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7"/>
                <a:gd name="T133" fmla="*/ 0 h 91"/>
                <a:gd name="T134" fmla="*/ 107 w 107"/>
                <a:gd name="T135" fmla="*/ 91 h 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7" h="91">
                  <a:moveTo>
                    <a:pt x="97" y="40"/>
                  </a:moveTo>
                  <a:lnTo>
                    <a:pt x="97" y="40"/>
                  </a:lnTo>
                  <a:lnTo>
                    <a:pt x="90" y="36"/>
                  </a:lnTo>
                  <a:lnTo>
                    <a:pt x="85" y="30"/>
                  </a:lnTo>
                  <a:lnTo>
                    <a:pt x="81" y="24"/>
                  </a:lnTo>
                  <a:lnTo>
                    <a:pt x="79" y="17"/>
                  </a:lnTo>
                  <a:lnTo>
                    <a:pt x="78" y="16"/>
                  </a:lnTo>
                  <a:lnTo>
                    <a:pt x="76" y="14"/>
                  </a:lnTo>
                  <a:lnTo>
                    <a:pt x="76" y="12"/>
                  </a:lnTo>
                  <a:lnTo>
                    <a:pt x="74" y="10"/>
                  </a:lnTo>
                  <a:lnTo>
                    <a:pt x="66" y="6"/>
                  </a:lnTo>
                  <a:lnTo>
                    <a:pt x="60" y="4"/>
                  </a:lnTo>
                  <a:lnTo>
                    <a:pt x="55" y="2"/>
                  </a:lnTo>
                  <a:lnTo>
                    <a:pt x="48" y="1"/>
                  </a:lnTo>
                  <a:lnTo>
                    <a:pt x="47" y="0"/>
                  </a:lnTo>
                  <a:lnTo>
                    <a:pt x="45" y="0"/>
                  </a:lnTo>
                  <a:lnTo>
                    <a:pt x="34" y="5"/>
                  </a:lnTo>
                  <a:lnTo>
                    <a:pt x="29" y="6"/>
                  </a:lnTo>
                  <a:lnTo>
                    <a:pt x="23" y="7"/>
                  </a:lnTo>
                  <a:lnTo>
                    <a:pt x="23" y="10"/>
                  </a:lnTo>
                  <a:lnTo>
                    <a:pt x="22" y="13"/>
                  </a:lnTo>
                  <a:lnTo>
                    <a:pt x="19" y="17"/>
                  </a:lnTo>
                  <a:lnTo>
                    <a:pt x="13" y="26"/>
                  </a:lnTo>
                  <a:lnTo>
                    <a:pt x="0" y="42"/>
                  </a:lnTo>
                  <a:lnTo>
                    <a:pt x="0" y="43"/>
                  </a:lnTo>
                  <a:lnTo>
                    <a:pt x="1" y="43"/>
                  </a:lnTo>
                  <a:lnTo>
                    <a:pt x="3" y="44"/>
                  </a:lnTo>
                  <a:lnTo>
                    <a:pt x="8" y="44"/>
                  </a:lnTo>
                  <a:lnTo>
                    <a:pt x="9" y="45"/>
                  </a:lnTo>
                  <a:lnTo>
                    <a:pt x="10" y="46"/>
                  </a:lnTo>
                  <a:lnTo>
                    <a:pt x="18" y="61"/>
                  </a:lnTo>
                  <a:lnTo>
                    <a:pt x="34" y="58"/>
                  </a:lnTo>
                  <a:lnTo>
                    <a:pt x="42" y="58"/>
                  </a:lnTo>
                  <a:lnTo>
                    <a:pt x="48" y="58"/>
                  </a:lnTo>
                  <a:lnTo>
                    <a:pt x="62" y="61"/>
                  </a:lnTo>
                  <a:lnTo>
                    <a:pt x="76" y="63"/>
                  </a:lnTo>
                  <a:lnTo>
                    <a:pt x="74" y="71"/>
                  </a:lnTo>
                  <a:lnTo>
                    <a:pt x="73" y="74"/>
                  </a:lnTo>
                  <a:lnTo>
                    <a:pt x="69" y="76"/>
                  </a:lnTo>
                  <a:lnTo>
                    <a:pt x="64" y="77"/>
                  </a:lnTo>
                  <a:lnTo>
                    <a:pt x="59" y="76"/>
                  </a:lnTo>
                  <a:lnTo>
                    <a:pt x="48" y="75"/>
                  </a:lnTo>
                  <a:lnTo>
                    <a:pt x="42" y="74"/>
                  </a:lnTo>
                  <a:lnTo>
                    <a:pt x="36" y="74"/>
                  </a:lnTo>
                  <a:lnTo>
                    <a:pt x="24" y="75"/>
                  </a:lnTo>
                  <a:lnTo>
                    <a:pt x="26" y="83"/>
                  </a:lnTo>
                  <a:lnTo>
                    <a:pt x="27" y="91"/>
                  </a:lnTo>
                  <a:lnTo>
                    <a:pt x="38" y="88"/>
                  </a:lnTo>
                  <a:lnTo>
                    <a:pt x="48" y="87"/>
                  </a:lnTo>
                  <a:lnTo>
                    <a:pt x="60" y="85"/>
                  </a:lnTo>
                  <a:lnTo>
                    <a:pt x="71" y="87"/>
                  </a:lnTo>
                  <a:lnTo>
                    <a:pt x="78" y="88"/>
                  </a:lnTo>
                  <a:lnTo>
                    <a:pt x="84" y="89"/>
                  </a:lnTo>
                  <a:lnTo>
                    <a:pt x="90" y="89"/>
                  </a:lnTo>
                  <a:lnTo>
                    <a:pt x="104" y="85"/>
                  </a:lnTo>
                  <a:lnTo>
                    <a:pt x="107" y="85"/>
                  </a:lnTo>
                  <a:lnTo>
                    <a:pt x="107" y="82"/>
                  </a:lnTo>
                  <a:lnTo>
                    <a:pt x="107" y="78"/>
                  </a:lnTo>
                  <a:lnTo>
                    <a:pt x="103" y="74"/>
                  </a:lnTo>
                  <a:lnTo>
                    <a:pt x="99" y="69"/>
                  </a:lnTo>
                  <a:lnTo>
                    <a:pt x="94" y="64"/>
                  </a:lnTo>
                  <a:lnTo>
                    <a:pt x="93" y="61"/>
                  </a:lnTo>
                  <a:lnTo>
                    <a:pt x="93" y="58"/>
                  </a:lnTo>
                  <a:lnTo>
                    <a:pt x="93" y="52"/>
                  </a:lnTo>
                  <a:lnTo>
                    <a:pt x="97" y="4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4" name="Freeform 683"/>
            <p:cNvSpPr>
              <a:spLocks/>
            </p:cNvSpPr>
            <p:nvPr/>
          </p:nvSpPr>
          <p:spPr bwMode="auto">
            <a:xfrm>
              <a:off x="3910014" y="3987804"/>
              <a:ext cx="84137" cy="30163"/>
            </a:xfrm>
            <a:custGeom>
              <a:avLst/>
              <a:gdLst>
                <a:gd name="T0" fmla="*/ 2147483647 w 58"/>
                <a:gd name="T1" fmla="*/ 2147483647 h 19"/>
                <a:gd name="T2" fmla="*/ 2147483647 w 58"/>
                <a:gd name="T3" fmla="*/ 2147483647 h 19"/>
                <a:gd name="T4" fmla="*/ 2147483647 w 58"/>
                <a:gd name="T5" fmla="*/ 2147483647 h 19"/>
                <a:gd name="T6" fmla="*/ 2147483647 w 58"/>
                <a:gd name="T7" fmla="*/ 2147483647 h 19"/>
                <a:gd name="T8" fmla="*/ 2147483647 w 58"/>
                <a:gd name="T9" fmla="*/ 2147483647 h 19"/>
                <a:gd name="T10" fmla="*/ 2147483647 w 58"/>
                <a:gd name="T11" fmla="*/ 2147483647 h 19"/>
                <a:gd name="T12" fmla="*/ 2147483647 w 58"/>
                <a:gd name="T13" fmla="*/ 2147483647 h 19"/>
                <a:gd name="T14" fmla="*/ 2147483647 w 58"/>
                <a:gd name="T15" fmla="*/ 2147483647 h 19"/>
                <a:gd name="T16" fmla="*/ 2147483647 w 58"/>
                <a:gd name="T17" fmla="*/ 2147483647 h 19"/>
                <a:gd name="T18" fmla="*/ 2147483647 w 58"/>
                <a:gd name="T19" fmla="*/ 2147483647 h 19"/>
                <a:gd name="T20" fmla="*/ 2147483647 w 58"/>
                <a:gd name="T21" fmla="*/ 2147483647 h 19"/>
                <a:gd name="T22" fmla="*/ 2147483647 w 58"/>
                <a:gd name="T23" fmla="*/ 2147483647 h 19"/>
                <a:gd name="T24" fmla="*/ 2147483647 w 58"/>
                <a:gd name="T25" fmla="*/ 2147483647 h 19"/>
                <a:gd name="T26" fmla="*/ 2147483647 w 58"/>
                <a:gd name="T27" fmla="*/ 2147483647 h 19"/>
                <a:gd name="T28" fmla="*/ 2147483647 w 58"/>
                <a:gd name="T29" fmla="*/ 2147483647 h 19"/>
                <a:gd name="T30" fmla="*/ 2147483647 w 58"/>
                <a:gd name="T31" fmla="*/ 0 h 19"/>
                <a:gd name="T32" fmla="*/ 2147483647 w 58"/>
                <a:gd name="T33" fmla="*/ 0 h 19"/>
                <a:gd name="T34" fmla="*/ 2147483647 w 58"/>
                <a:gd name="T35" fmla="*/ 0 h 19"/>
                <a:gd name="T36" fmla="*/ 2147483647 w 58"/>
                <a:gd name="T37" fmla="*/ 0 h 19"/>
                <a:gd name="T38" fmla="*/ 0 w 58"/>
                <a:gd name="T39" fmla="*/ 2147483647 h 19"/>
                <a:gd name="T40" fmla="*/ 0 w 58"/>
                <a:gd name="T41" fmla="*/ 2147483647 h 19"/>
                <a:gd name="T42" fmla="*/ 2147483647 w 58"/>
                <a:gd name="T43" fmla="*/ 2147483647 h 19"/>
                <a:gd name="T44" fmla="*/ 2147483647 w 58"/>
                <a:gd name="T45" fmla="*/ 2147483647 h 19"/>
                <a:gd name="T46" fmla="*/ 2147483647 w 58"/>
                <a:gd name="T47" fmla="*/ 2147483647 h 19"/>
                <a:gd name="T48" fmla="*/ 2147483647 w 58"/>
                <a:gd name="T49" fmla="*/ 2147483647 h 19"/>
                <a:gd name="T50" fmla="*/ 2147483647 w 58"/>
                <a:gd name="T51" fmla="*/ 2147483647 h 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19"/>
                <a:gd name="T80" fmla="*/ 58 w 58"/>
                <a:gd name="T81" fmla="*/ 19 h 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19">
                  <a:moveTo>
                    <a:pt x="6" y="17"/>
                  </a:moveTo>
                  <a:lnTo>
                    <a:pt x="6" y="17"/>
                  </a:lnTo>
                  <a:lnTo>
                    <a:pt x="18" y="16"/>
                  </a:lnTo>
                  <a:lnTo>
                    <a:pt x="24" y="16"/>
                  </a:lnTo>
                  <a:lnTo>
                    <a:pt x="30" y="17"/>
                  </a:lnTo>
                  <a:lnTo>
                    <a:pt x="41" y="18"/>
                  </a:lnTo>
                  <a:lnTo>
                    <a:pt x="46" y="19"/>
                  </a:lnTo>
                  <a:lnTo>
                    <a:pt x="51" y="18"/>
                  </a:lnTo>
                  <a:lnTo>
                    <a:pt x="55" y="16"/>
                  </a:lnTo>
                  <a:lnTo>
                    <a:pt x="56" y="13"/>
                  </a:lnTo>
                  <a:lnTo>
                    <a:pt x="58" y="5"/>
                  </a:lnTo>
                  <a:lnTo>
                    <a:pt x="44" y="3"/>
                  </a:lnTo>
                  <a:lnTo>
                    <a:pt x="30" y="0"/>
                  </a:lnTo>
                  <a:lnTo>
                    <a:pt x="24" y="0"/>
                  </a:lnTo>
                  <a:lnTo>
                    <a:pt x="16" y="0"/>
                  </a:lnTo>
                  <a:lnTo>
                    <a:pt x="0" y="3"/>
                  </a:lnTo>
                  <a:lnTo>
                    <a:pt x="4" y="7"/>
                  </a:lnTo>
                  <a:lnTo>
                    <a:pt x="5" y="12"/>
                  </a:lnTo>
                  <a:lnTo>
                    <a:pt x="6"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5" name="Freeform 684"/>
            <p:cNvSpPr>
              <a:spLocks/>
            </p:cNvSpPr>
            <p:nvPr/>
          </p:nvSpPr>
          <p:spPr bwMode="auto">
            <a:xfrm>
              <a:off x="3924301" y="4033842"/>
              <a:ext cx="69850" cy="50800"/>
            </a:xfrm>
            <a:custGeom>
              <a:avLst/>
              <a:gdLst>
                <a:gd name="T0" fmla="*/ 0 w 48"/>
                <a:gd name="T1" fmla="*/ 2147483647 h 32"/>
                <a:gd name="T2" fmla="*/ 2147483647 w 48"/>
                <a:gd name="T3" fmla="*/ 2147483647 h 32"/>
                <a:gd name="T4" fmla="*/ 2147483647 w 48"/>
                <a:gd name="T5" fmla="*/ 2147483647 h 32"/>
                <a:gd name="T6" fmla="*/ 2147483647 w 48"/>
                <a:gd name="T7" fmla="*/ 0 h 32"/>
                <a:gd name="T8" fmla="*/ 2147483647 w 48"/>
                <a:gd name="T9" fmla="*/ 2147483647 h 32"/>
                <a:gd name="T10" fmla="*/ 2147483647 w 48"/>
                <a:gd name="T11" fmla="*/ 2147483647 h 32"/>
                <a:gd name="T12" fmla="*/ 2147483647 w 48"/>
                <a:gd name="T13" fmla="*/ 2147483647 h 32"/>
                <a:gd name="T14" fmla="*/ 2147483647 w 48"/>
                <a:gd name="T15" fmla="*/ 2147483647 h 32"/>
                <a:gd name="T16" fmla="*/ 2147483647 w 48"/>
                <a:gd name="T17" fmla="*/ 2147483647 h 32"/>
                <a:gd name="T18" fmla="*/ 2147483647 w 48"/>
                <a:gd name="T19" fmla="*/ 2147483647 h 32"/>
                <a:gd name="T20" fmla="*/ 2147483647 w 48"/>
                <a:gd name="T21" fmla="*/ 2147483647 h 32"/>
                <a:gd name="T22" fmla="*/ 2147483647 w 48"/>
                <a:gd name="T23" fmla="*/ 2147483647 h 32"/>
                <a:gd name="T24" fmla="*/ 2147483647 w 48"/>
                <a:gd name="T25" fmla="*/ 2147483647 h 32"/>
                <a:gd name="T26" fmla="*/ 2147483647 w 48"/>
                <a:gd name="T27" fmla="*/ 2147483647 h 32"/>
                <a:gd name="T28" fmla="*/ 2147483647 w 48"/>
                <a:gd name="T29" fmla="*/ 2147483647 h 32"/>
                <a:gd name="T30" fmla="*/ 2147483647 w 48"/>
                <a:gd name="T31" fmla="*/ 2147483647 h 32"/>
                <a:gd name="T32" fmla="*/ 2147483647 w 48"/>
                <a:gd name="T33" fmla="*/ 2147483647 h 32"/>
                <a:gd name="T34" fmla="*/ 2147483647 w 48"/>
                <a:gd name="T35" fmla="*/ 2147483647 h 32"/>
                <a:gd name="T36" fmla="*/ 2147483647 w 48"/>
                <a:gd name="T37" fmla="*/ 2147483647 h 32"/>
                <a:gd name="T38" fmla="*/ 2147483647 w 48"/>
                <a:gd name="T39" fmla="*/ 2147483647 h 32"/>
                <a:gd name="T40" fmla="*/ 2147483647 w 48"/>
                <a:gd name="T41" fmla="*/ 2147483647 h 32"/>
                <a:gd name="T42" fmla="*/ 2147483647 w 48"/>
                <a:gd name="T43" fmla="*/ 2147483647 h 32"/>
                <a:gd name="T44" fmla="*/ 2147483647 w 48"/>
                <a:gd name="T45" fmla="*/ 2147483647 h 32"/>
                <a:gd name="T46" fmla="*/ 2147483647 w 48"/>
                <a:gd name="T47" fmla="*/ 2147483647 h 32"/>
                <a:gd name="T48" fmla="*/ 0 w 48"/>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8"/>
                <a:gd name="T76" fmla="*/ 0 h 32"/>
                <a:gd name="T77" fmla="*/ 48 w 48"/>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8" h="32">
                  <a:moveTo>
                    <a:pt x="0" y="6"/>
                  </a:moveTo>
                  <a:lnTo>
                    <a:pt x="12" y="2"/>
                  </a:lnTo>
                  <a:lnTo>
                    <a:pt x="22" y="1"/>
                  </a:lnTo>
                  <a:lnTo>
                    <a:pt x="33" y="0"/>
                  </a:lnTo>
                  <a:lnTo>
                    <a:pt x="45" y="1"/>
                  </a:lnTo>
                  <a:lnTo>
                    <a:pt x="45" y="9"/>
                  </a:lnTo>
                  <a:lnTo>
                    <a:pt x="46" y="14"/>
                  </a:lnTo>
                  <a:lnTo>
                    <a:pt x="48" y="17"/>
                  </a:lnTo>
                  <a:lnTo>
                    <a:pt x="36" y="23"/>
                  </a:lnTo>
                  <a:lnTo>
                    <a:pt x="29" y="28"/>
                  </a:lnTo>
                  <a:lnTo>
                    <a:pt x="24" y="32"/>
                  </a:lnTo>
                  <a:lnTo>
                    <a:pt x="20" y="28"/>
                  </a:lnTo>
                  <a:lnTo>
                    <a:pt x="18" y="27"/>
                  </a:lnTo>
                  <a:lnTo>
                    <a:pt x="14" y="26"/>
                  </a:lnTo>
                  <a:lnTo>
                    <a:pt x="13" y="25"/>
                  </a:lnTo>
                  <a:lnTo>
                    <a:pt x="18" y="22"/>
                  </a:lnTo>
                  <a:lnTo>
                    <a:pt x="22" y="20"/>
                  </a:lnTo>
                  <a:lnTo>
                    <a:pt x="24" y="17"/>
                  </a:lnTo>
                  <a:lnTo>
                    <a:pt x="25" y="13"/>
                  </a:lnTo>
                  <a:lnTo>
                    <a:pt x="13" y="15"/>
                  </a:lnTo>
                  <a:lnTo>
                    <a:pt x="10" y="15"/>
                  </a:lnTo>
                  <a:lnTo>
                    <a:pt x="6" y="15"/>
                  </a:lnTo>
                  <a:lnTo>
                    <a:pt x="5" y="14"/>
                  </a:lnTo>
                  <a:lnTo>
                    <a:pt x="3" y="10"/>
                  </a:lnTo>
                  <a:lnTo>
                    <a:pt x="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6" name="Freeform 685"/>
            <p:cNvSpPr>
              <a:spLocks/>
            </p:cNvSpPr>
            <p:nvPr/>
          </p:nvSpPr>
          <p:spPr bwMode="auto">
            <a:xfrm>
              <a:off x="3959225" y="4033842"/>
              <a:ext cx="184150" cy="153987"/>
            </a:xfrm>
            <a:custGeom>
              <a:avLst/>
              <a:gdLst>
                <a:gd name="T0" fmla="*/ 2147483647 w 126"/>
                <a:gd name="T1" fmla="*/ 2147483647 h 97"/>
                <a:gd name="T2" fmla="*/ 2147483647 w 126"/>
                <a:gd name="T3" fmla="*/ 2147483647 h 97"/>
                <a:gd name="T4" fmla="*/ 2147483647 w 126"/>
                <a:gd name="T5" fmla="*/ 2147483647 h 97"/>
                <a:gd name="T6" fmla="*/ 2147483647 w 126"/>
                <a:gd name="T7" fmla="*/ 2147483647 h 97"/>
                <a:gd name="T8" fmla="*/ 2147483647 w 126"/>
                <a:gd name="T9" fmla="*/ 2147483647 h 97"/>
                <a:gd name="T10" fmla="*/ 2147483647 w 126"/>
                <a:gd name="T11" fmla="*/ 0 h 97"/>
                <a:gd name="T12" fmla="*/ 2147483647 w 126"/>
                <a:gd name="T13" fmla="*/ 2147483647 h 97"/>
                <a:gd name="T14" fmla="*/ 2147483647 w 126"/>
                <a:gd name="T15" fmla="*/ 2147483647 h 97"/>
                <a:gd name="T16" fmla="*/ 2147483647 w 126"/>
                <a:gd name="T17" fmla="*/ 2147483647 h 97"/>
                <a:gd name="T18" fmla="*/ 2147483647 w 126"/>
                <a:gd name="T19" fmla="*/ 2147483647 h 97"/>
                <a:gd name="T20" fmla="*/ 2147483647 w 126"/>
                <a:gd name="T21" fmla="*/ 2147483647 h 97"/>
                <a:gd name="T22" fmla="*/ 2147483647 w 126"/>
                <a:gd name="T23" fmla="*/ 2147483647 h 97"/>
                <a:gd name="T24" fmla="*/ 2147483647 w 126"/>
                <a:gd name="T25" fmla="*/ 2147483647 h 97"/>
                <a:gd name="T26" fmla="*/ 2147483647 w 126"/>
                <a:gd name="T27" fmla="*/ 2147483647 h 97"/>
                <a:gd name="T28" fmla="*/ 2147483647 w 126"/>
                <a:gd name="T29" fmla="*/ 2147483647 h 97"/>
                <a:gd name="T30" fmla="*/ 2147483647 w 126"/>
                <a:gd name="T31" fmla="*/ 2147483647 h 97"/>
                <a:gd name="T32" fmla="*/ 2147483647 w 126"/>
                <a:gd name="T33" fmla="*/ 2147483647 h 97"/>
                <a:gd name="T34" fmla="*/ 2147483647 w 126"/>
                <a:gd name="T35" fmla="*/ 2147483647 h 97"/>
                <a:gd name="T36" fmla="*/ 2147483647 w 126"/>
                <a:gd name="T37" fmla="*/ 2147483647 h 97"/>
                <a:gd name="T38" fmla="*/ 2147483647 w 126"/>
                <a:gd name="T39" fmla="*/ 2147483647 h 97"/>
                <a:gd name="T40" fmla="*/ 2147483647 w 126"/>
                <a:gd name="T41" fmla="*/ 2147483647 h 97"/>
                <a:gd name="T42" fmla="*/ 2147483647 w 126"/>
                <a:gd name="T43" fmla="*/ 2147483647 h 97"/>
                <a:gd name="T44" fmla="*/ 2147483647 w 126"/>
                <a:gd name="T45" fmla="*/ 2147483647 h 97"/>
                <a:gd name="T46" fmla="*/ 2147483647 w 126"/>
                <a:gd name="T47" fmla="*/ 2147483647 h 97"/>
                <a:gd name="T48" fmla="*/ 2147483647 w 126"/>
                <a:gd name="T49" fmla="*/ 2147483647 h 97"/>
                <a:gd name="T50" fmla="*/ 2147483647 w 126"/>
                <a:gd name="T51" fmla="*/ 2147483647 h 97"/>
                <a:gd name="T52" fmla="*/ 2147483647 w 126"/>
                <a:gd name="T53" fmla="*/ 2147483647 h 97"/>
                <a:gd name="T54" fmla="*/ 2147483647 w 126"/>
                <a:gd name="T55" fmla="*/ 2147483647 h 97"/>
                <a:gd name="T56" fmla="*/ 2147483647 w 126"/>
                <a:gd name="T57" fmla="*/ 2147483647 h 97"/>
                <a:gd name="T58" fmla="*/ 2147483647 w 126"/>
                <a:gd name="T59" fmla="*/ 2147483647 h 97"/>
                <a:gd name="T60" fmla="*/ 2147483647 w 126"/>
                <a:gd name="T61" fmla="*/ 2147483647 h 97"/>
                <a:gd name="T62" fmla="*/ 2147483647 w 126"/>
                <a:gd name="T63" fmla="*/ 2147483647 h 97"/>
                <a:gd name="T64" fmla="*/ 2147483647 w 126"/>
                <a:gd name="T65" fmla="*/ 2147483647 h 97"/>
                <a:gd name="T66" fmla="*/ 2147483647 w 126"/>
                <a:gd name="T67" fmla="*/ 2147483647 h 97"/>
                <a:gd name="T68" fmla="*/ 2147483647 w 126"/>
                <a:gd name="T69" fmla="*/ 2147483647 h 97"/>
                <a:gd name="T70" fmla="*/ 2147483647 w 126"/>
                <a:gd name="T71" fmla="*/ 2147483647 h 97"/>
                <a:gd name="T72" fmla="*/ 2147483647 w 126"/>
                <a:gd name="T73" fmla="*/ 2147483647 h 97"/>
                <a:gd name="T74" fmla="*/ 2147483647 w 126"/>
                <a:gd name="T75" fmla="*/ 2147483647 h 97"/>
                <a:gd name="T76" fmla="*/ 2147483647 w 126"/>
                <a:gd name="T77" fmla="*/ 2147483647 h 97"/>
                <a:gd name="T78" fmla="*/ 2147483647 w 126"/>
                <a:gd name="T79" fmla="*/ 2147483647 h 97"/>
                <a:gd name="T80" fmla="*/ 2147483647 w 126"/>
                <a:gd name="T81" fmla="*/ 2147483647 h 97"/>
                <a:gd name="T82" fmla="*/ 2147483647 w 126"/>
                <a:gd name="T83" fmla="*/ 2147483647 h 97"/>
                <a:gd name="T84" fmla="*/ 2147483647 w 126"/>
                <a:gd name="T85" fmla="*/ 2147483647 h 97"/>
                <a:gd name="T86" fmla="*/ 2147483647 w 126"/>
                <a:gd name="T87" fmla="*/ 2147483647 h 97"/>
                <a:gd name="T88" fmla="*/ 2147483647 w 126"/>
                <a:gd name="T89" fmla="*/ 2147483647 h 97"/>
                <a:gd name="T90" fmla="*/ 2147483647 w 126"/>
                <a:gd name="T91" fmla="*/ 2147483647 h 97"/>
                <a:gd name="T92" fmla="*/ 2147483647 w 126"/>
                <a:gd name="T93" fmla="*/ 2147483647 h 97"/>
                <a:gd name="T94" fmla="*/ 2147483647 w 126"/>
                <a:gd name="T95" fmla="*/ 2147483647 h 97"/>
                <a:gd name="T96" fmla="*/ 2147483647 w 126"/>
                <a:gd name="T97" fmla="*/ 2147483647 h 97"/>
                <a:gd name="T98" fmla="*/ 0 w 126"/>
                <a:gd name="T99" fmla="*/ 2147483647 h 9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6"/>
                <a:gd name="T151" fmla="*/ 0 h 97"/>
                <a:gd name="T152" fmla="*/ 126 w 126"/>
                <a:gd name="T153" fmla="*/ 97 h 9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6" h="97">
                  <a:moveTo>
                    <a:pt x="0" y="32"/>
                  </a:moveTo>
                  <a:lnTo>
                    <a:pt x="5" y="28"/>
                  </a:lnTo>
                  <a:lnTo>
                    <a:pt x="12" y="23"/>
                  </a:lnTo>
                  <a:lnTo>
                    <a:pt x="24" y="17"/>
                  </a:lnTo>
                  <a:lnTo>
                    <a:pt x="22" y="14"/>
                  </a:lnTo>
                  <a:lnTo>
                    <a:pt x="21" y="9"/>
                  </a:lnTo>
                  <a:lnTo>
                    <a:pt x="21" y="1"/>
                  </a:lnTo>
                  <a:lnTo>
                    <a:pt x="27" y="2"/>
                  </a:lnTo>
                  <a:lnTo>
                    <a:pt x="33" y="3"/>
                  </a:lnTo>
                  <a:lnTo>
                    <a:pt x="40" y="3"/>
                  </a:lnTo>
                  <a:lnTo>
                    <a:pt x="54" y="0"/>
                  </a:lnTo>
                  <a:lnTo>
                    <a:pt x="56" y="0"/>
                  </a:lnTo>
                  <a:lnTo>
                    <a:pt x="60" y="1"/>
                  </a:lnTo>
                  <a:lnTo>
                    <a:pt x="64" y="2"/>
                  </a:lnTo>
                  <a:lnTo>
                    <a:pt x="70" y="3"/>
                  </a:lnTo>
                  <a:lnTo>
                    <a:pt x="75" y="2"/>
                  </a:lnTo>
                  <a:lnTo>
                    <a:pt x="80" y="2"/>
                  </a:lnTo>
                  <a:lnTo>
                    <a:pt x="87" y="3"/>
                  </a:lnTo>
                  <a:lnTo>
                    <a:pt x="89" y="3"/>
                  </a:lnTo>
                  <a:lnTo>
                    <a:pt x="92" y="6"/>
                  </a:lnTo>
                  <a:lnTo>
                    <a:pt x="94" y="9"/>
                  </a:lnTo>
                  <a:lnTo>
                    <a:pt x="95" y="13"/>
                  </a:lnTo>
                  <a:lnTo>
                    <a:pt x="95" y="15"/>
                  </a:lnTo>
                  <a:lnTo>
                    <a:pt x="94" y="20"/>
                  </a:lnTo>
                  <a:lnTo>
                    <a:pt x="93" y="22"/>
                  </a:lnTo>
                  <a:lnTo>
                    <a:pt x="94" y="25"/>
                  </a:lnTo>
                  <a:lnTo>
                    <a:pt x="97" y="27"/>
                  </a:lnTo>
                  <a:lnTo>
                    <a:pt x="101" y="28"/>
                  </a:lnTo>
                  <a:lnTo>
                    <a:pt x="101" y="29"/>
                  </a:lnTo>
                  <a:lnTo>
                    <a:pt x="101" y="30"/>
                  </a:lnTo>
                  <a:lnTo>
                    <a:pt x="98" y="34"/>
                  </a:lnTo>
                  <a:lnTo>
                    <a:pt x="94" y="36"/>
                  </a:lnTo>
                  <a:lnTo>
                    <a:pt x="93" y="38"/>
                  </a:lnTo>
                  <a:lnTo>
                    <a:pt x="92" y="39"/>
                  </a:lnTo>
                  <a:lnTo>
                    <a:pt x="92" y="42"/>
                  </a:lnTo>
                  <a:lnTo>
                    <a:pt x="94" y="44"/>
                  </a:lnTo>
                  <a:lnTo>
                    <a:pt x="98" y="45"/>
                  </a:lnTo>
                  <a:lnTo>
                    <a:pt x="103" y="46"/>
                  </a:lnTo>
                  <a:lnTo>
                    <a:pt x="113" y="46"/>
                  </a:lnTo>
                  <a:lnTo>
                    <a:pt x="115" y="46"/>
                  </a:lnTo>
                  <a:lnTo>
                    <a:pt x="116" y="47"/>
                  </a:lnTo>
                  <a:lnTo>
                    <a:pt x="117" y="52"/>
                  </a:lnTo>
                  <a:lnTo>
                    <a:pt x="118" y="55"/>
                  </a:lnTo>
                  <a:lnTo>
                    <a:pt x="120" y="57"/>
                  </a:lnTo>
                  <a:lnTo>
                    <a:pt x="121" y="57"/>
                  </a:lnTo>
                  <a:lnTo>
                    <a:pt x="123" y="57"/>
                  </a:lnTo>
                  <a:lnTo>
                    <a:pt x="126" y="58"/>
                  </a:lnTo>
                  <a:lnTo>
                    <a:pt x="123" y="66"/>
                  </a:lnTo>
                  <a:lnTo>
                    <a:pt x="122" y="76"/>
                  </a:lnTo>
                  <a:lnTo>
                    <a:pt x="121" y="76"/>
                  </a:lnTo>
                  <a:lnTo>
                    <a:pt x="120" y="76"/>
                  </a:lnTo>
                  <a:lnTo>
                    <a:pt x="117" y="76"/>
                  </a:lnTo>
                  <a:lnTo>
                    <a:pt x="116" y="76"/>
                  </a:lnTo>
                  <a:lnTo>
                    <a:pt x="115" y="77"/>
                  </a:lnTo>
                  <a:lnTo>
                    <a:pt x="115" y="79"/>
                  </a:lnTo>
                  <a:lnTo>
                    <a:pt x="116" y="81"/>
                  </a:lnTo>
                  <a:lnTo>
                    <a:pt x="118" y="85"/>
                  </a:lnTo>
                  <a:lnTo>
                    <a:pt x="118" y="86"/>
                  </a:lnTo>
                  <a:lnTo>
                    <a:pt x="117" y="87"/>
                  </a:lnTo>
                  <a:lnTo>
                    <a:pt x="115" y="91"/>
                  </a:lnTo>
                  <a:lnTo>
                    <a:pt x="109" y="93"/>
                  </a:lnTo>
                  <a:lnTo>
                    <a:pt x="109" y="91"/>
                  </a:lnTo>
                  <a:lnTo>
                    <a:pt x="107" y="91"/>
                  </a:lnTo>
                  <a:lnTo>
                    <a:pt x="104" y="93"/>
                  </a:lnTo>
                  <a:lnTo>
                    <a:pt x="102" y="96"/>
                  </a:lnTo>
                  <a:lnTo>
                    <a:pt x="101" y="97"/>
                  </a:lnTo>
                  <a:lnTo>
                    <a:pt x="98" y="97"/>
                  </a:lnTo>
                  <a:lnTo>
                    <a:pt x="95" y="96"/>
                  </a:lnTo>
                  <a:lnTo>
                    <a:pt x="94" y="93"/>
                  </a:lnTo>
                  <a:lnTo>
                    <a:pt x="93" y="89"/>
                  </a:lnTo>
                  <a:lnTo>
                    <a:pt x="93" y="83"/>
                  </a:lnTo>
                  <a:lnTo>
                    <a:pt x="93" y="80"/>
                  </a:lnTo>
                  <a:lnTo>
                    <a:pt x="92" y="79"/>
                  </a:lnTo>
                  <a:lnTo>
                    <a:pt x="89" y="79"/>
                  </a:lnTo>
                  <a:lnTo>
                    <a:pt x="87" y="80"/>
                  </a:lnTo>
                  <a:lnTo>
                    <a:pt x="83" y="81"/>
                  </a:lnTo>
                  <a:lnTo>
                    <a:pt x="80" y="81"/>
                  </a:lnTo>
                  <a:lnTo>
                    <a:pt x="79" y="81"/>
                  </a:lnTo>
                  <a:lnTo>
                    <a:pt x="76" y="79"/>
                  </a:lnTo>
                  <a:lnTo>
                    <a:pt x="70" y="66"/>
                  </a:lnTo>
                  <a:lnTo>
                    <a:pt x="68" y="60"/>
                  </a:lnTo>
                  <a:lnTo>
                    <a:pt x="62" y="55"/>
                  </a:lnTo>
                  <a:lnTo>
                    <a:pt x="59" y="52"/>
                  </a:lnTo>
                  <a:lnTo>
                    <a:pt x="55" y="51"/>
                  </a:lnTo>
                  <a:lnTo>
                    <a:pt x="51" y="49"/>
                  </a:lnTo>
                  <a:lnTo>
                    <a:pt x="46" y="51"/>
                  </a:lnTo>
                  <a:lnTo>
                    <a:pt x="42" y="52"/>
                  </a:lnTo>
                  <a:lnTo>
                    <a:pt x="37" y="53"/>
                  </a:lnTo>
                  <a:lnTo>
                    <a:pt x="31" y="59"/>
                  </a:lnTo>
                  <a:lnTo>
                    <a:pt x="26" y="58"/>
                  </a:lnTo>
                  <a:lnTo>
                    <a:pt x="21" y="55"/>
                  </a:lnTo>
                  <a:lnTo>
                    <a:pt x="17" y="51"/>
                  </a:lnTo>
                  <a:lnTo>
                    <a:pt x="15" y="49"/>
                  </a:lnTo>
                  <a:lnTo>
                    <a:pt x="13" y="48"/>
                  </a:lnTo>
                  <a:lnTo>
                    <a:pt x="9" y="46"/>
                  </a:lnTo>
                  <a:lnTo>
                    <a:pt x="7" y="45"/>
                  </a:lnTo>
                  <a:lnTo>
                    <a:pt x="4" y="40"/>
                  </a:lnTo>
                  <a:lnTo>
                    <a:pt x="4" y="36"/>
                  </a:lnTo>
                  <a:lnTo>
                    <a:pt x="1" y="33"/>
                  </a:lnTo>
                  <a:lnTo>
                    <a:pt x="0"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7" name="Freeform 686"/>
            <p:cNvSpPr>
              <a:spLocks/>
            </p:cNvSpPr>
            <p:nvPr/>
          </p:nvSpPr>
          <p:spPr bwMode="auto">
            <a:xfrm>
              <a:off x="3922713" y="4030664"/>
              <a:ext cx="69850" cy="50800"/>
            </a:xfrm>
            <a:custGeom>
              <a:avLst/>
              <a:gdLst>
                <a:gd name="T0" fmla="*/ 0 w 48"/>
                <a:gd name="T1" fmla="*/ 2147483647 h 32"/>
                <a:gd name="T2" fmla="*/ 0 w 48"/>
                <a:gd name="T3" fmla="*/ 2147483647 h 32"/>
                <a:gd name="T4" fmla="*/ 2147483647 w 48"/>
                <a:gd name="T5" fmla="*/ 2147483647 h 32"/>
                <a:gd name="T6" fmla="*/ 2147483647 w 48"/>
                <a:gd name="T7" fmla="*/ 2147483647 h 32"/>
                <a:gd name="T8" fmla="*/ 2147483647 w 48"/>
                <a:gd name="T9" fmla="*/ 0 h 32"/>
                <a:gd name="T10" fmla="*/ 2147483647 w 48"/>
                <a:gd name="T11" fmla="*/ 2147483647 h 32"/>
                <a:gd name="T12" fmla="*/ 2147483647 w 48"/>
                <a:gd name="T13" fmla="*/ 2147483647 h 32"/>
                <a:gd name="T14" fmla="*/ 2147483647 w 48"/>
                <a:gd name="T15" fmla="*/ 2147483647 h 32"/>
                <a:gd name="T16" fmla="*/ 2147483647 w 48"/>
                <a:gd name="T17" fmla="*/ 2147483647 h 32"/>
                <a:gd name="T18" fmla="*/ 2147483647 w 48"/>
                <a:gd name="T19" fmla="*/ 2147483647 h 32"/>
                <a:gd name="T20" fmla="*/ 2147483647 w 48"/>
                <a:gd name="T21" fmla="*/ 2147483647 h 32"/>
                <a:gd name="T22" fmla="*/ 2147483647 w 48"/>
                <a:gd name="T23" fmla="*/ 2147483647 h 32"/>
                <a:gd name="T24" fmla="*/ 2147483647 w 48"/>
                <a:gd name="T25" fmla="*/ 2147483647 h 32"/>
                <a:gd name="T26" fmla="*/ 2147483647 w 48"/>
                <a:gd name="T27" fmla="*/ 2147483647 h 32"/>
                <a:gd name="T28" fmla="*/ 2147483647 w 48"/>
                <a:gd name="T29" fmla="*/ 2147483647 h 32"/>
                <a:gd name="T30" fmla="*/ 2147483647 w 48"/>
                <a:gd name="T31" fmla="*/ 2147483647 h 32"/>
                <a:gd name="T32" fmla="*/ 2147483647 w 48"/>
                <a:gd name="T33" fmla="*/ 2147483647 h 32"/>
                <a:gd name="T34" fmla="*/ 2147483647 w 48"/>
                <a:gd name="T35" fmla="*/ 2147483647 h 32"/>
                <a:gd name="T36" fmla="*/ 2147483647 w 48"/>
                <a:gd name="T37" fmla="*/ 2147483647 h 32"/>
                <a:gd name="T38" fmla="*/ 2147483647 w 48"/>
                <a:gd name="T39" fmla="*/ 2147483647 h 32"/>
                <a:gd name="T40" fmla="*/ 2147483647 w 48"/>
                <a:gd name="T41" fmla="*/ 2147483647 h 32"/>
                <a:gd name="T42" fmla="*/ 2147483647 w 48"/>
                <a:gd name="T43" fmla="*/ 2147483647 h 32"/>
                <a:gd name="T44" fmla="*/ 2147483647 w 48"/>
                <a:gd name="T45" fmla="*/ 2147483647 h 32"/>
                <a:gd name="T46" fmla="*/ 2147483647 w 48"/>
                <a:gd name="T47" fmla="*/ 2147483647 h 32"/>
                <a:gd name="T48" fmla="*/ 2147483647 w 48"/>
                <a:gd name="T49" fmla="*/ 2147483647 h 32"/>
                <a:gd name="T50" fmla="*/ 2147483647 w 48"/>
                <a:gd name="T51" fmla="*/ 2147483647 h 32"/>
                <a:gd name="T52" fmla="*/ 2147483647 w 48"/>
                <a:gd name="T53" fmla="*/ 2147483647 h 32"/>
                <a:gd name="T54" fmla="*/ 2147483647 w 48"/>
                <a:gd name="T55" fmla="*/ 2147483647 h 32"/>
                <a:gd name="T56" fmla="*/ 2147483647 w 48"/>
                <a:gd name="T57" fmla="*/ 2147483647 h 32"/>
                <a:gd name="T58" fmla="*/ 2147483647 w 48"/>
                <a:gd name="T59" fmla="*/ 2147483647 h 32"/>
                <a:gd name="T60" fmla="*/ 2147483647 w 48"/>
                <a:gd name="T61" fmla="*/ 2147483647 h 32"/>
                <a:gd name="T62" fmla="*/ 2147483647 w 48"/>
                <a:gd name="T63" fmla="*/ 2147483647 h 32"/>
                <a:gd name="T64" fmla="*/ 0 w 48"/>
                <a:gd name="T65" fmla="*/ 2147483647 h 32"/>
                <a:gd name="T66" fmla="*/ 0 w 48"/>
                <a:gd name="T67" fmla="*/ 2147483647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
                <a:gd name="T103" fmla="*/ 0 h 32"/>
                <a:gd name="T104" fmla="*/ 48 w 48"/>
                <a:gd name="T105" fmla="*/ 32 h 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 h="32">
                  <a:moveTo>
                    <a:pt x="0" y="6"/>
                  </a:moveTo>
                  <a:lnTo>
                    <a:pt x="0" y="6"/>
                  </a:lnTo>
                  <a:lnTo>
                    <a:pt x="11" y="3"/>
                  </a:lnTo>
                  <a:lnTo>
                    <a:pt x="21" y="2"/>
                  </a:lnTo>
                  <a:lnTo>
                    <a:pt x="33" y="0"/>
                  </a:lnTo>
                  <a:lnTo>
                    <a:pt x="44" y="2"/>
                  </a:lnTo>
                  <a:lnTo>
                    <a:pt x="44" y="10"/>
                  </a:lnTo>
                  <a:lnTo>
                    <a:pt x="46" y="15"/>
                  </a:lnTo>
                  <a:lnTo>
                    <a:pt x="48" y="18"/>
                  </a:lnTo>
                  <a:lnTo>
                    <a:pt x="35" y="24"/>
                  </a:lnTo>
                  <a:lnTo>
                    <a:pt x="29" y="29"/>
                  </a:lnTo>
                  <a:lnTo>
                    <a:pt x="24" y="32"/>
                  </a:lnTo>
                  <a:lnTo>
                    <a:pt x="20" y="29"/>
                  </a:lnTo>
                  <a:lnTo>
                    <a:pt x="18" y="28"/>
                  </a:lnTo>
                  <a:lnTo>
                    <a:pt x="14" y="27"/>
                  </a:lnTo>
                  <a:lnTo>
                    <a:pt x="13" y="25"/>
                  </a:lnTo>
                  <a:lnTo>
                    <a:pt x="18" y="23"/>
                  </a:lnTo>
                  <a:lnTo>
                    <a:pt x="21" y="21"/>
                  </a:lnTo>
                  <a:lnTo>
                    <a:pt x="24" y="18"/>
                  </a:lnTo>
                  <a:lnTo>
                    <a:pt x="25" y="14"/>
                  </a:lnTo>
                  <a:lnTo>
                    <a:pt x="13" y="16"/>
                  </a:lnTo>
                  <a:lnTo>
                    <a:pt x="10" y="16"/>
                  </a:lnTo>
                  <a:lnTo>
                    <a:pt x="6" y="16"/>
                  </a:lnTo>
                  <a:lnTo>
                    <a:pt x="5" y="15"/>
                  </a:lnTo>
                  <a:lnTo>
                    <a:pt x="2" y="11"/>
                  </a:lnTo>
                  <a:lnTo>
                    <a:pt x="0"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8" name="Freeform 687"/>
            <p:cNvSpPr>
              <a:spLocks/>
            </p:cNvSpPr>
            <p:nvPr/>
          </p:nvSpPr>
          <p:spPr bwMode="auto">
            <a:xfrm>
              <a:off x="3957639" y="4030666"/>
              <a:ext cx="185737" cy="155575"/>
            </a:xfrm>
            <a:custGeom>
              <a:avLst/>
              <a:gdLst>
                <a:gd name="T0" fmla="*/ 2147483647 w 126"/>
                <a:gd name="T1" fmla="*/ 2147483647 h 98"/>
                <a:gd name="T2" fmla="*/ 2147483647 w 126"/>
                <a:gd name="T3" fmla="*/ 2147483647 h 98"/>
                <a:gd name="T4" fmla="*/ 2147483647 w 126"/>
                <a:gd name="T5" fmla="*/ 2147483647 h 98"/>
                <a:gd name="T6" fmla="*/ 2147483647 w 126"/>
                <a:gd name="T7" fmla="*/ 2147483647 h 98"/>
                <a:gd name="T8" fmla="*/ 2147483647 w 126"/>
                <a:gd name="T9" fmla="*/ 0 h 98"/>
                <a:gd name="T10" fmla="*/ 2147483647 w 126"/>
                <a:gd name="T11" fmla="*/ 0 h 98"/>
                <a:gd name="T12" fmla="*/ 2147483647 w 126"/>
                <a:gd name="T13" fmla="*/ 2147483647 h 98"/>
                <a:gd name="T14" fmla="*/ 2147483647 w 126"/>
                <a:gd name="T15" fmla="*/ 2147483647 h 98"/>
                <a:gd name="T16" fmla="*/ 2147483647 w 126"/>
                <a:gd name="T17" fmla="*/ 2147483647 h 98"/>
                <a:gd name="T18" fmla="*/ 2147483647 w 126"/>
                <a:gd name="T19" fmla="*/ 2147483647 h 98"/>
                <a:gd name="T20" fmla="*/ 2147483647 w 126"/>
                <a:gd name="T21" fmla="*/ 2147483647 h 98"/>
                <a:gd name="T22" fmla="*/ 2147483647 w 126"/>
                <a:gd name="T23" fmla="*/ 2147483647 h 98"/>
                <a:gd name="T24" fmla="*/ 2147483647 w 126"/>
                <a:gd name="T25" fmla="*/ 2147483647 h 98"/>
                <a:gd name="T26" fmla="*/ 2147483647 w 126"/>
                <a:gd name="T27" fmla="*/ 2147483647 h 98"/>
                <a:gd name="T28" fmla="*/ 2147483647 w 126"/>
                <a:gd name="T29" fmla="*/ 2147483647 h 98"/>
                <a:gd name="T30" fmla="*/ 2147483647 w 126"/>
                <a:gd name="T31" fmla="*/ 2147483647 h 98"/>
                <a:gd name="T32" fmla="*/ 2147483647 w 126"/>
                <a:gd name="T33" fmla="*/ 2147483647 h 98"/>
                <a:gd name="T34" fmla="*/ 2147483647 w 126"/>
                <a:gd name="T35" fmla="*/ 2147483647 h 98"/>
                <a:gd name="T36" fmla="*/ 2147483647 w 126"/>
                <a:gd name="T37" fmla="*/ 2147483647 h 98"/>
                <a:gd name="T38" fmla="*/ 2147483647 w 126"/>
                <a:gd name="T39" fmla="*/ 2147483647 h 98"/>
                <a:gd name="T40" fmla="*/ 2147483647 w 126"/>
                <a:gd name="T41" fmla="*/ 2147483647 h 98"/>
                <a:gd name="T42" fmla="*/ 2147483647 w 126"/>
                <a:gd name="T43" fmla="*/ 2147483647 h 98"/>
                <a:gd name="T44" fmla="*/ 2147483647 w 126"/>
                <a:gd name="T45" fmla="*/ 2147483647 h 98"/>
                <a:gd name="T46" fmla="*/ 2147483647 w 126"/>
                <a:gd name="T47" fmla="*/ 2147483647 h 98"/>
                <a:gd name="T48" fmla="*/ 2147483647 w 126"/>
                <a:gd name="T49" fmla="*/ 2147483647 h 98"/>
                <a:gd name="T50" fmla="*/ 2147483647 w 126"/>
                <a:gd name="T51" fmla="*/ 2147483647 h 98"/>
                <a:gd name="T52" fmla="*/ 2147483647 w 126"/>
                <a:gd name="T53" fmla="*/ 2147483647 h 98"/>
                <a:gd name="T54" fmla="*/ 2147483647 w 126"/>
                <a:gd name="T55" fmla="*/ 2147483647 h 98"/>
                <a:gd name="T56" fmla="*/ 2147483647 w 126"/>
                <a:gd name="T57" fmla="*/ 2147483647 h 98"/>
                <a:gd name="T58" fmla="*/ 2147483647 w 126"/>
                <a:gd name="T59" fmla="*/ 2147483647 h 98"/>
                <a:gd name="T60" fmla="*/ 2147483647 w 126"/>
                <a:gd name="T61" fmla="*/ 2147483647 h 98"/>
                <a:gd name="T62" fmla="*/ 2147483647 w 126"/>
                <a:gd name="T63" fmla="*/ 2147483647 h 98"/>
                <a:gd name="T64" fmla="*/ 2147483647 w 126"/>
                <a:gd name="T65" fmla="*/ 2147483647 h 98"/>
                <a:gd name="T66" fmla="*/ 2147483647 w 126"/>
                <a:gd name="T67" fmla="*/ 2147483647 h 98"/>
                <a:gd name="T68" fmla="*/ 2147483647 w 126"/>
                <a:gd name="T69" fmla="*/ 2147483647 h 98"/>
                <a:gd name="T70" fmla="*/ 2147483647 w 126"/>
                <a:gd name="T71" fmla="*/ 2147483647 h 98"/>
                <a:gd name="T72" fmla="*/ 2147483647 w 126"/>
                <a:gd name="T73" fmla="*/ 2147483647 h 98"/>
                <a:gd name="T74" fmla="*/ 2147483647 w 126"/>
                <a:gd name="T75" fmla="*/ 2147483647 h 98"/>
                <a:gd name="T76" fmla="*/ 2147483647 w 126"/>
                <a:gd name="T77" fmla="*/ 2147483647 h 98"/>
                <a:gd name="T78" fmla="*/ 2147483647 w 126"/>
                <a:gd name="T79" fmla="*/ 2147483647 h 98"/>
                <a:gd name="T80" fmla="*/ 2147483647 w 126"/>
                <a:gd name="T81" fmla="*/ 2147483647 h 98"/>
                <a:gd name="T82" fmla="*/ 2147483647 w 126"/>
                <a:gd name="T83" fmla="*/ 2147483647 h 98"/>
                <a:gd name="T84" fmla="*/ 2147483647 w 126"/>
                <a:gd name="T85" fmla="*/ 2147483647 h 98"/>
                <a:gd name="T86" fmla="*/ 0 w 126"/>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
                <a:gd name="T133" fmla="*/ 0 h 98"/>
                <a:gd name="T134" fmla="*/ 126 w 126"/>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 h="98">
                  <a:moveTo>
                    <a:pt x="0" y="32"/>
                  </a:moveTo>
                  <a:lnTo>
                    <a:pt x="0" y="32"/>
                  </a:lnTo>
                  <a:lnTo>
                    <a:pt x="5" y="29"/>
                  </a:lnTo>
                  <a:lnTo>
                    <a:pt x="11" y="24"/>
                  </a:lnTo>
                  <a:lnTo>
                    <a:pt x="24" y="18"/>
                  </a:lnTo>
                  <a:lnTo>
                    <a:pt x="22" y="15"/>
                  </a:lnTo>
                  <a:lnTo>
                    <a:pt x="20" y="10"/>
                  </a:lnTo>
                  <a:lnTo>
                    <a:pt x="20" y="2"/>
                  </a:lnTo>
                  <a:lnTo>
                    <a:pt x="27" y="3"/>
                  </a:lnTo>
                  <a:lnTo>
                    <a:pt x="33" y="4"/>
                  </a:lnTo>
                  <a:lnTo>
                    <a:pt x="39" y="4"/>
                  </a:lnTo>
                  <a:lnTo>
                    <a:pt x="53" y="0"/>
                  </a:lnTo>
                  <a:lnTo>
                    <a:pt x="56" y="0"/>
                  </a:lnTo>
                  <a:lnTo>
                    <a:pt x="60" y="2"/>
                  </a:lnTo>
                  <a:lnTo>
                    <a:pt x="63" y="3"/>
                  </a:lnTo>
                  <a:lnTo>
                    <a:pt x="70" y="4"/>
                  </a:lnTo>
                  <a:lnTo>
                    <a:pt x="75" y="3"/>
                  </a:lnTo>
                  <a:lnTo>
                    <a:pt x="80" y="3"/>
                  </a:lnTo>
                  <a:lnTo>
                    <a:pt x="86" y="4"/>
                  </a:lnTo>
                  <a:lnTo>
                    <a:pt x="89" y="4"/>
                  </a:lnTo>
                  <a:lnTo>
                    <a:pt x="91" y="6"/>
                  </a:lnTo>
                  <a:lnTo>
                    <a:pt x="94" y="10"/>
                  </a:lnTo>
                  <a:lnTo>
                    <a:pt x="95" y="14"/>
                  </a:lnTo>
                  <a:lnTo>
                    <a:pt x="95" y="16"/>
                  </a:lnTo>
                  <a:lnTo>
                    <a:pt x="94" y="21"/>
                  </a:lnTo>
                  <a:lnTo>
                    <a:pt x="93" y="23"/>
                  </a:lnTo>
                  <a:lnTo>
                    <a:pt x="94" y="25"/>
                  </a:lnTo>
                  <a:lnTo>
                    <a:pt x="96" y="28"/>
                  </a:lnTo>
                  <a:lnTo>
                    <a:pt x="100" y="29"/>
                  </a:lnTo>
                  <a:lnTo>
                    <a:pt x="100" y="30"/>
                  </a:lnTo>
                  <a:lnTo>
                    <a:pt x="100" y="31"/>
                  </a:lnTo>
                  <a:lnTo>
                    <a:pt x="98" y="35"/>
                  </a:lnTo>
                  <a:lnTo>
                    <a:pt x="94" y="37"/>
                  </a:lnTo>
                  <a:lnTo>
                    <a:pt x="93" y="38"/>
                  </a:lnTo>
                  <a:lnTo>
                    <a:pt x="91" y="40"/>
                  </a:lnTo>
                  <a:lnTo>
                    <a:pt x="91" y="43"/>
                  </a:lnTo>
                  <a:lnTo>
                    <a:pt x="94" y="44"/>
                  </a:lnTo>
                  <a:lnTo>
                    <a:pt x="98" y="46"/>
                  </a:lnTo>
                  <a:lnTo>
                    <a:pt x="103" y="47"/>
                  </a:lnTo>
                  <a:lnTo>
                    <a:pt x="113" y="47"/>
                  </a:lnTo>
                  <a:lnTo>
                    <a:pt x="114" y="47"/>
                  </a:lnTo>
                  <a:lnTo>
                    <a:pt x="116" y="48"/>
                  </a:lnTo>
                  <a:lnTo>
                    <a:pt x="117" y="53"/>
                  </a:lnTo>
                  <a:lnTo>
                    <a:pt x="118" y="56"/>
                  </a:lnTo>
                  <a:lnTo>
                    <a:pt x="119" y="57"/>
                  </a:lnTo>
                  <a:lnTo>
                    <a:pt x="121" y="57"/>
                  </a:lnTo>
                  <a:lnTo>
                    <a:pt x="123" y="57"/>
                  </a:lnTo>
                  <a:lnTo>
                    <a:pt x="126" y="59"/>
                  </a:lnTo>
                  <a:lnTo>
                    <a:pt x="123" y="67"/>
                  </a:lnTo>
                  <a:lnTo>
                    <a:pt x="122" y="76"/>
                  </a:lnTo>
                  <a:lnTo>
                    <a:pt x="121" y="76"/>
                  </a:lnTo>
                  <a:lnTo>
                    <a:pt x="119" y="76"/>
                  </a:lnTo>
                  <a:lnTo>
                    <a:pt x="117" y="76"/>
                  </a:lnTo>
                  <a:lnTo>
                    <a:pt x="116" y="76"/>
                  </a:lnTo>
                  <a:lnTo>
                    <a:pt x="114" y="78"/>
                  </a:lnTo>
                  <a:lnTo>
                    <a:pt x="114" y="80"/>
                  </a:lnTo>
                  <a:lnTo>
                    <a:pt x="116" y="82"/>
                  </a:lnTo>
                  <a:lnTo>
                    <a:pt x="118" y="86"/>
                  </a:lnTo>
                  <a:lnTo>
                    <a:pt x="118" y="87"/>
                  </a:lnTo>
                  <a:lnTo>
                    <a:pt x="117" y="88"/>
                  </a:lnTo>
                  <a:lnTo>
                    <a:pt x="114" y="92"/>
                  </a:lnTo>
                  <a:lnTo>
                    <a:pt x="109" y="94"/>
                  </a:lnTo>
                  <a:lnTo>
                    <a:pt x="109" y="92"/>
                  </a:lnTo>
                  <a:lnTo>
                    <a:pt x="107" y="92"/>
                  </a:lnTo>
                  <a:lnTo>
                    <a:pt x="104" y="94"/>
                  </a:lnTo>
                  <a:lnTo>
                    <a:pt x="102" y="96"/>
                  </a:lnTo>
                  <a:lnTo>
                    <a:pt x="100" y="98"/>
                  </a:lnTo>
                  <a:lnTo>
                    <a:pt x="98" y="98"/>
                  </a:lnTo>
                  <a:lnTo>
                    <a:pt x="95" y="96"/>
                  </a:lnTo>
                  <a:lnTo>
                    <a:pt x="94" y="94"/>
                  </a:lnTo>
                  <a:lnTo>
                    <a:pt x="93" y="89"/>
                  </a:lnTo>
                  <a:lnTo>
                    <a:pt x="93" y="83"/>
                  </a:lnTo>
                  <a:lnTo>
                    <a:pt x="93" y="81"/>
                  </a:lnTo>
                  <a:lnTo>
                    <a:pt x="91" y="80"/>
                  </a:lnTo>
                  <a:lnTo>
                    <a:pt x="89" y="80"/>
                  </a:lnTo>
                  <a:lnTo>
                    <a:pt x="86" y="81"/>
                  </a:lnTo>
                  <a:lnTo>
                    <a:pt x="82" y="82"/>
                  </a:lnTo>
                  <a:lnTo>
                    <a:pt x="80" y="82"/>
                  </a:lnTo>
                  <a:lnTo>
                    <a:pt x="79" y="82"/>
                  </a:lnTo>
                  <a:lnTo>
                    <a:pt x="76" y="80"/>
                  </a:lnTo>
                  <a:lnTo>
                    <a:pt x="70" y="67"/>
                  </a:lnTo>
                  <a:lnTo>
                    <a:pt x="67" y="61"/>
                  </a:lnTo>
                  <a:lnTo>
                    <a:pt x="62" y="56"/>
                  </a:lnTo>
                  <a:lnTo>
                    <a:pt x="58" y="53"/>
                  </a:lnTo>
                  <a:lnTo>
                    <a:pt x="55" y="51"/>
                  </a:lnTo>
                  <a:lnTo>
                    <a:pt x="51" y="50"/>
                  </a:lnTo>
                  <a:lnTo>
                    <a:pt x="46" y="51"/>
                  </a:lnTo>
                  <a:lnTo>
                    <a:pt x="42" y="53"/>
                  </a:lnTo>
                  <a:lnTo>
                    <a:pt x="37" y="54"/>
                  </a:lnTo>
                  <a:lnTo>
                    <a:pt x="30" y="60"/>
                  </a:lnTo>
                  <a:lnTo>
                    <a:pt x="25" y="59"/>
                  </a:lnTo>
                  <a:lnTo>
                    <a:pt x="20" y="56"/>
                  </a:lnTo>
                  <a:lnTo>
                    <a:pt x="16" y="51"/>
                  </a:lnTo>
                  <a:lnTo>
                    <a:pt x="15" y="50"/>
                  </a:lnTo>
                  <a:lnTo>
                    <a:pt x="13" y="49"/>
                  </a:lnTo>
                  <a:lnTo>
                    <a:pt x="9" y="47"/>
                  </a:lnTo>
                  <a:lnTo>
                    <a:pt x="6" y="46"/>
                  </a:lnTo>
                  <a:lnTo>
                    <a:pt x="4" y="41"/>
                  </a:lnTo>
                  <a:lnTo>
                    <a:pt x="4" y="37"/>
                  </a:lnTo>
                  <a:lnTo>
                    <a:pt x="1" y="34"/>
                  </a:lnTo>
                  <a:lnTo>
                    <a:pt x="0"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89" name="Freeform 688"/>
            <p:cNvSpPr>
              <a:spLocks/>
            </p:cNvSpPr>
            <p:nvPr/>
          </p:nvSpPr>
          <p:spPr bwMode="auto">
            <a:xfrm>
              <a:off x="3998916" y="4111625"/>
              <a:ext cx="77787" cy="95250"/>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2147483647 h 60"/>
                <a:gd name="T10" fmla="*/ 2147483647 w 53"/>
                <a:gd name="T11" fmla="*/ 2147483647 h 60"/>
                <a:gd name="T12" fmla="*/ 2147483647 w 53"/>
                <a:gd name="T13" fmla="*/ 2147483647 h 60"/>
                <a:gd name="T14" fmla="*/ 2147483647 w 53"/>
                <a:gd name="T15" fmla="*/ 2147483647 h 60"/>
                <a:gd name="T16" fmla="*/ 2147483647 w 53"/>
                <a:gd name="T17" fmla="*/ 0 h 60"/>
                <a:gd name="T18" fmla="*/ 2147483647 w 53"/>
                <a:gd name="T19" fmla="*/ 2147483647 h 60"/>
                <a:gd name="T20" fmla="*/ 2147483647 w 53"/>
                <a:gd name="T21" fmla="*/ 2147483647 h 60"/>
                <a:gd name="T22" fmla="*/ 2147483647 w 53"/>
                <a:gd name="T23" fmla="*/ 2147483647 h 60"/>
                <a:gd name="T24" fmla="*/ 2147483647 w 53"/>
                <a:gd name="T25" fmla="*/ 2147483647 h 60"/>
                <a:gd name="T26" fmla="*/ 2147483647 w 53"/>
                <a:gd name="T27" fmla="*/ 2147483647 h 60"/>
                <a:gd name="T28" fmla="*/ 2147483647 w 53"/>
                <a:gd name="T29" fmla="*/ 2147483647 h 60"/>
                <a:gd name="T30" fmla="*/ 2147483647 w 53"/>
                <a:gd name="T31" fmla="*/ 2147483647 h 60"/>
                <a:gd name="T32" fmla="*/ 2147483647 w 53"/>
                <a:gd name="T33" fmla="*/ 2147483647 h 60"/>
                <a:gd name="T34" fmla="*/ 2147483647 w 53"/>
                <a:gd name="T35" fmla="*/ 2147483647 h 60"/>
                <a:gd name="T36" fmla="*/ 0 w 53"/>
                <a:gd name="T37" fmla="*/ 2147483647 h 60"/>
                <a:gd name="T38" fmla="*/ 2147483647 w 53"/>
                <a:gd name="T39" fmla="*/ 2147483647 h 60"/>
                <a:gd name="T40" fmla="*/ 2147483647 w 53"/>
                <a:gd name="T41" fmla="*/ 2147483647 h 60"/>
                <a:gd name="T42" fmla="*/ 2147483647 w 53"/>
                <a:gd name="T43" fmla="*/ 2147483647 h 60"/>
                <a:gd name="T44" fmla="*/ 2147483647 w 53"/>
                <a:gd name="T45" fmla="*/ 2147483647 h 60"/>
                <a:gd name="T46" fmla="*/ 2147483647 w 53"/>
                <a:gd name="T47" fmla="*/ 2147483647 h 60"/>
                <a:gd name="T48" fmla="*/ 2147483647 w 53"/>
                <a:gd name="T49" fmla="*/ 2147483647 h 60"/>
                <a:gd name="T50" fmla="*/ 2147483647 w 53"/>
                <a:gd name="T51" fmla="*/ 2147483647 h 60"/>
                <a:gd name="T52" fmla="*/ 2147483647 w 53"/>
                <a:gd name="T53" fmla="*/ 2147483647 h 60"/>
                <a:gd name="T54" fmla="*/ 2147483647 w 53"/>
                <a:gd name="T55" fmla="*/ 2147483647 h 60"/>
                <a:gd name="T56" fmla="*/ 2147483647 w 53"/>
                <a:gd name="T57" fmla="*/ 2147483647 h 60"/>
                <a:gd name="T58" fmla="*/ 2147483647 w 53"/>
                <a:gd name="T59" fmla="*/ 2147483647 h 60"/>
                <a:gd name="T60" fmla="*/ 2147483647 w 53"/>
                <a:gd name="T61" fmla="*/ 2147483647 h 60"/>
                <a:gd name="T62" fmla="*/ 2147483647 w 53"/>
                <a:gd name="T63" fmla="*/ 2147483647 h 60"/>
                <a:gd name="T64" fmla="*/ 2147483647 w 53"/>
                <a:gd name="T65" fmla="*/ 214748364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60"/>
                <a:gd name="T101" fmla="*/ 53 w 53"/>
                <a:gd name="T102" fmla="*/ 60 h 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60">
                  <a:moveTo>
                    <a:pt x="53" y="32"/>
                  </a:moveTo>
                  <a:lnTo>
                    <a:pt x="52" y="32"/>
                  </a:lnTo>
                  <a:lnTo>
                    <a:pt x="49" y="30"/>
                  </a:lnTo>
                  <a:lnTo>
                    <a:pt x="43" y="17"/>
                  </a:lnTo>
                  <a:lnTo>
                    <a:pt x="41" y="11"/>
                  </a:lnTo>
                  <a:lnTo>
                    <a:pt x="35" y="6"/>
                  </a:lnTo>
                  <a:lnTo>
                    <a:pt x="32" y="3"/>
                  </a:lnTo>
                  <a:lnTo>
                    <a:pt x="28" y="2"/>
                  </a:lnTo>
                  <a:lnTo>
                    <a:pt x="24" y="0"/>
                  </a:lnTo>
                  <a:lnTo>
                    <a:pt x="19" y="2"/>
                  </a:lnTo>
                  <a:lnTo>
                    <a:pt x="15" y="3"/>
                  </a:lnTo>
                  <a:lnTo>
                    <a:pt x="10" y="4"/>
                  </a:lnTo>
                  <a:lnTo>
                    <a:pt x="4" y="10"/>
                  </a:lnTo>
                  <a:lnTo>
                    <a:pt x="5" y="11"/>
                  </a:lnTo>
                  <a:lnTo>
                    <a:pt x="6" y="12"/>
                  </a:lnTo>
                  <a:lnTo>
                    <a:pt x="6" y="15"/>
                  </a:lnTo>
                  <a:lnTo>
                    <a:pt x="5" y="16"/>
                  </a:lnTo>
                  <a:lnTo>
                    <a:pt x="1" y="21"/>
                  </a:lnTo>
                  <a:lnTo>
                    <a:pt x="0" y="27"/>
                  </a:lnTo>
                  <a:lnTo>
                    <a:pt x="1" y="31"/>
                  </a:lnTo>
                  <a:lnTo>
                    <a:pt x="2" y="36"/>
                  </a:lnTo>
                  <a:lnTo>
                    <a:pt x="6" y="41"/>
                  </a:lnTo>
                  <a:lnTo>
                    <a:pt x="10" y="45"/>
                  </a:lnTo>
                  <a:lnTo>
                    <a:pt x="18" y="54"/>
                  </a:lnTo>
                  <a:lnTo>
                    <a:pt x="23" y="57"/>
                  </a:lnTo>
                  <a:lnTo>
                    <a:pt x="27" y="60"/>
                  </a:lnTo>
                  <a:lnTo>
                    <a:pt x="32" y="55"/>
                  </a:lnTo>
                  <a:lnTo>
                    <a:pt x="37" y="50"/>
                  </a:lnTo>
                  <a:lnTo>
                    <a:pt x="43" y="45"/>
                  </a:lnTo>
                  <a:lnTo>
                    <a:pt x="48" y="41"/>
                  </a:lnTo>
                  <a:lnTo>
                    <a:pt x="51" y="36"/>
                  </a:lnTo>
                  <a:lnTo>
                    <a:pt x="52" y="35"/>
                  </a:lnTo>
                  <a:lnTo>
                    <a:pt x="53"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0" name="Freeform 689"/>
            <p:cNvSpPr>
              <a:spLocks/>
            </p:cNvSpPr>
            <p:nvPr/>
          </p:nvSpPr>
          <p:spPr bwMode="auto">
            <a:xfrm>
              <a:off x="4038600" y="4159253"/>
              <a:ext cx="107950" cy="120650"/>
            </a:xfrm>
            <a:custGeom>
              <a:avLst/>
              <a:gdLst>
                <a:gd name="T0" fmla="*/ 0 w 74"/>
                <a:gd name="T1" fmla="*/ 2147483647 h 76"/>
                <a:gd name="T2" fmla="*/ 2147483647 w 74"/>
                <a:gd name="T3" fmla="*/ 2147483647 h 76"/>
                <a:gd name="T4" fmla="*/ 2147483647 w 74"/>
                <a:gd name="T5" fmla="*/ 2147483647 h 76"/>
                <a:gd name="T6" fmla="*/ 2147483647 w 74"/>
                <a:gd name="T7" fmla="*/ 2147483647 h 76"/>
                <a:gd name="T8" fmla="*/ 2147483647 w 74"/>
                <a:gd name="T9" fmla="*/ 2147483647 h 76"/>
                <a:gd name="T10" fmla="*/ 2147483647 w 74"/>
                <a:gd name="T11" fmla="*/ 2147483647 h 76"/>
                <a:gd name="T12" fmla="*/ 2147483647 w 74"/>
                <a:gd name="T13" fmla="*/ 2147483647 h 76"/>
                <a:gd name="T14" fmla="*/ 2147483647 w 74"/>
                <a:gd name="T15" fmla="*/ 2147483647 h 76"/>
                <a:gd name="T16" fmla="*/ 2147483647 w 74"/>
                <a:gd name="T17" fmla="*/ 2147483647 h 76"/>
                <a:gd name="T18" fmla="*/ 2147483647 w 74"/>
                <a:gd name="T19" fmla="*/ 2147483647 h 76"/>
                <a:gd name="T20" fmla="*/ 2147483647 w 74"/>
                <a:gd name="T21" fmla="*/ 0 h 76"/>
                <a:gd name="T22" fmla="*/ 2147483647 w 74"/>
                <a:gd name="T23" fmla="*/ 0 h 76"/>
                <a:gd name="T24" fmla="*/ 2147483647 w 74"/>
                <a:gd name="T25" fmla="*/ 2147483647 h 76"/>
                <a:gd name="T26" fmla="*/ 2147483647 w 74"/>
                <a:gd name="T27" fmla="*/ 2147483647 h 76"/>
                <a:gd name="T28" fmla="*/ 2147483647 w 74"/>
                <a:gd name="T29" fmla="*/ 2147483647 h 76"/>
                <a:gd name="T30" fmla="*/ 2147483647 w 74"/>
                <a:gd name="T31" fmla="*/ 2147483647 h 76"/>
                <a:gd name="T32" fmla="*/ 2147483647 w 74"/>
                <a:gd name="T33" fmla="*/ 2147483647 h 76"/>
                <a:gd name="T34" fmla="*/ 2147483647 w 74"/>
                <a:gd name="T35" fmla="*/ 2147483647 h 76"/>
                <a:gd name="T36" fmla="*/ 2147483647 w 74"/>
                <a:gd name="T37" fmla="*/ 2147483647 h 76"/>
                <a:gd name="T38" fmla="*/ 2147483647 w 74"/>
                <a:gd name="T39" fmla="*/ 2147483647 h 76"/>
                <a:gd name="T40" fmla="*/ 2147483647 w 74"/>
                <a:gd name="T41" fmla="*/ 2147483647 h 76"/>
                <a:gd name="T42" fmla="*/ 2147483647 w 74"/>
                <a:gd name="T43" fmla="*/ 2147483647 h 76"/>
                <a:gd name="T44" fmla="*/ 2147483647 w 74"/>
                <a:gd name="T45" fmla="*/ 2147483647 h 76"/>
                <a:gd name="T46" fmla="*/ 2147483647 w 74"/>
                <a:gd name="T47" fmla="*/ 2147483647 h 76"/>
                <a:gd name="T48" fmla="*/ 2147483647 w 74"/>
                <a:gd name="T49" fmla="*/ 2147483647 h 76"/>
                <a:gd name="T50" fmla="*/ 2147483647 w 74"/>
                <a:gd name="T51" fmla="*/ 2147483647 h 76"/>
                <a:gd name="T52" fmla="*/ 2147483647 w 74"/>
                <a:gd name="T53" fmla="*/ 2147483647 h 76"/>
                <a:gd name="T54" fmla="*/ 2147483647 w 74"/>
                <a:gd name="T55" fmla="*/ 2147483647 h 76"/>
                <a:gd name="T56" fmla="*/ 2147483647 w 74"/>
                <a:gd name="T57" fmla="*/ 2147483647 h 76"/>
                <a:gd name="T58" fmla="*/ 2147483647 w 74"/>
                <a:gd name="T59" fmla="*/ 2147483647 h 76"/>
                <a:gd name="T60" fmla="*/ 2147483647 w 74"/>
                <a:gd name="T61" fmla="*/ 2147483647 h 76"/>
                <a:gd name="T62" fmla="*/ 2147483647 w 74"/>
                <a:gd name="T63" fmla="*/ 2147483647 h 76"/>
                <a:gd name="T64" fmla="*/ 2147483647 w 74"/>
                <a:gd name="T65" fmla="*/ 2147483647 h 76"/>
                <a:gd name="T66" fmla="*/ 2147483647 w 74"/>
                <a:gd name="T67" fmla="*/ 2147483647 h 76"/>
                <a:gd name="T68" fmla="*/ 2147483647 w 74"/>
                <a:gd name="T69" fmla="*/ 2147483647 h 76"/>
                <a:gd name="T70" fmla="*/ 2147483647 w 74"/>
                <a:gd name="T71" fmla="*/ 2147483647 h 76"/>
                <a:gd name="T72" fmla="*/ 2147483647 w 74"/>
                <a:gd name="T73" fmla="*/ 2147483647 h 76"/>
                <a:gd name="T74" fmla="*/ 2147483647 w 74"/>
                <a:gd name="T75" fmla="*/ 2147483647 h 76"/>
                <a:gd name="T76" fmla="*/ 2147483647 w 74"/>
                <a:gd name="T77" fmla="*/ 2147483647 h 76"/>
                <a:gd name="T78" fmla="*/ 2147483647 w 74"/>
                <a:gd name="T79" fmla="*/ 2147483647 h 76"/>
                <a:gd name="T80" fmla="*/ 2147483647 w 74"/>
                <a:gd name="T81" fmla="*/ 2147483647 h 76"/>
                <a:gd name="T82" fmla="*/ 2147483647 w 74"/>
                <a:gd name="T83" fmla="*/ 2147483647 h 76"/>
                <a:gd name="T84" fmla="*/ 2147483647 w 74"/>
                <a:gd name="T85" fmla="*/ 2147483647 h 76"/>
                <a:gd name="T86" fmla="*/ 2147483647 w 74"/>
                <a:gd name="T87" fmla="*/ 2147483647 h 76"/>
                <a:gd name="T88" fmla="*/ 2147483647 w 74"/>
                <a:gd name="T89" fmla="*/ 2147483647 h 76"/>
                <a:gd name="T90" fmla="*/ 2147483647 w 74"/>
                <a:gd name="T91" fmla="*/ 2147483647 h 76"/>
                <a:gd name="T92" fmla="*/ 2147483647 w 74"/>
                <a:gd name="T93" fmla="*/ 2147483647 h 76"/>
                <a:gd name="T94" fmla="*/ 2147483647 w 74"/>
                <a:gd name="T95" fmla="*/ 2147483647 h 76"/>
                <a:gd name="T96" fmla="*/ 2147483647 w 74"/>
                <a:gd name="T97" fmla="*/ 2147483647 h 76"/>
                <a:gd name="T98" fmla="*/ 2147483647 w 74"/>
                <a:gd name="T99" fmla="*/ 2147483647 h 76"/>
                <a:gd name="T100" fmla="*/ 2147483647 w 74"/>
                <a:gd name="T101" fmla="*/ 2147483647 h 76"/>
                <a:gd name="T102" fmla="*/ 2147483647 w 74"/>
                <a:gd name="T103" fmla="*/ 2147483647 h 76"/>
                <a:gd name="T104" fmla="*/ 2147483647 w 74"/>
                <a:gd name="T105" fmla="*/ 2147483647 h 76"/>
                <a:gd name="T106" fmla="*/ 2147483647 w 74"/>
                <a:gd name="T107" fmla="*/ 2147483647 h 76"/>
                <a:gd name="T108" fmla="*/ 2147483647 w 74"/>
                <a:gd name="T109" fmla="*/ 2147483647 h 76"/>
                <a:gd name="T110" fmla="*/ 2147483647 w 74"/>
                <a:gd name="T111" fmla="*/ 2147483647 h 76"/>
                <a:gd name="T112" fmla="*/ 2147483647 w 74"/>
                <a:gd name="T113" fmla="*/ 2147483647 h 76"/>
                <a:gd name="T114" fmla="*/ 0 w 74"/>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4"/>
                <a:gd name="T175" fmla="*/ 0 h 76"/>
                <a:gd name="T176" fmla="*/ 74 w 74"/>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4" h="76">
                  <a:moveTo>
                    <a:pt x="0" y="30"/>
                  </a:moveTo>
                  <a:lnTo>
                    <a:pt x="5" y="25"/>
                  </a:lnTo>
                  <a:lnTo>
                    <a:pt x="10" y="20"/>
                  </a:lnTo>
                  <a:lnTo>
                    <a:pt x="16" y="15"/>
                  </a:lnTo>
                  <a:lnTo>
                    <a:pt x="21" y="11"/>
                  </a:lnTo>
                  <a:lnTo>
                    <a:pt x="24" y="6"/>
                  </a:lnTo>
                  <a:lnTo>
                    <a:pt x="25" y="5"/>
                  </a:lnTo>
                  <a:lnTo>
                    <a:pt x="26" y="2"/>
                  </a:lnTo>
                  <a:lnTo>
                    <a:pt x="29" y="2"/>
                  </a:lnTo>
                  <a:lnTo>
                    <a:pt x="33" y="1"/>
                  </a:lnTo>
                  <a:lnTo>
                    <a:pt x="35" y="0"/>
                  </a:lnTo>
                  <a:lnTo>
                    <a:pt x="38" y="0"/>
                  </a:lnTo>
                  <a:lnTo>
                    <a:pt x="39" y="1"/>
                  </a:lnTo>
                  <a:lnTo>
                    <a:pt x="39" y="4"/>
                  </a:lnTo>
                  <a:lnTo>
                    <a:pt x="39" y="10"/>
                  </a:lnTo>
                  <a:lnTo>
                    <a:pt x="40" y="14"/>
                  </a:lnTo>
                  <a:lnTo>
                    <a:pt x="41" y="17"/>
                  </a:lnTo>
                  <a:lnTo>
                    <a:pt x="44" y="18"/>
                  </a:lnTo>
                  <a:lnTo>
                    <a:pt x="47" y="18"/>
                  </a:lnTo>
                  <a:lnTo>
                    <a:pt x="48" y="17"/>
                  </a:lnTo>
                  <a:lnTo>
                    <a:pt x="50" y="14"/>
                  </a:lnTo>
                  <a:lnTo>
                    <a:pt x="53" y="12"/>
                  </a:lnTo>
                  <a:lnTo>
                    <a:pt x="55" y="12"/>
                  </a:lnTo>
                  <a:lnTo>
                    <a:pt x="55" y="14"/>
                  </a:lnTo>
                  <a:lnTo>
                    <a:pt x="57" y="19"/>
                  </a:lnTo>
                  <a:lnTo>
                    <a:pt x="55" y="25"/>
                  </a:lnTo>
                  <a:lnTo>
                    <a:pt x="53" y="30"/>
                  </a:lnTo>
                  <a:lnTo>
                    <a:pt x="49" y="33"/>
                  </a:lnTo>
                  <a:lnTo>
                    <a:pt x="48" y="36"/>
                  </a:lnTo>
                  <a:lnTo>
                    <a:pt x="48" y="38"/>
                  </a:lnTo>
                  <a:lnTo>
                    <a:pt x="48" y="40"/>
                  </a:lnTo>
                  <a:lnTo>
                    <a:pt x="49" y="40"/>
                  </a:lnTo>
                  <a:lnTo>
                    <a:pt x="53" y="39"/>
                  </a:lnTo>
                  <a:lnTo>
                    <a:pt x="55" y="40"/>
                  </a:lnTo>
                  <a:lnTo>
                    <a:pt x="57" y="40"/>
                  </a:lnTo>
                  <a:lnTo>
                    <a:pt x="59" y="43"/>
                  </a:lnTo>
                  <a:lnTo>
                    <a:pt x="61" y="46"/>
                  </a:lnTo>
                  <a:lnTo>
                    <a:pt x="64" y="50"/>
                  </a:lnTo>
                  <a:lnTo>
                    <a:pt x="66" y="51"/>
                  </a:lnTo>
                  <a:lnTo>
                    <a:pt x="67" y="51"/>
                  </a:lnTo>
                  <a:lnTo>
                    <a:pt x="71" y="50"/>
                  </a:lnTo>
                  <a:lnTo>
                    <a:pt x="73" y="51"/>
                  </a:lnTo>
                  <a:lnTo>
                    <a:pt x="74" y="51"/>
                  </a:lnTo>
                  <a:lnTo>
                    <a:pt x="74" y="57"/>
                  </a:lnTo>
                  <a:lnTo>
                    <a:pt x="74" y="63"/>
                  </a:lnTo>
                  <a:lnTo>
                    <a:pt x="73" y="68"/>
                  </a:lnTo>
                  <a:lnTo>
                    <a:pt x="74" y="74"/>
                  </a:lnTo>
                  <a:lnTo>
                    <a:pt x="69" y="75"/>
                  </a:lnTo>
                  <a:lnTo>
                    <a:pt x="58" y="76"/>
                  </a:lnTo>
                  <a:lnTo>
                    <a:pt x="54" y="75"/>
                  </a:lnTo>
                  <a:lnTo>
                    <a:pt x="52" y="72"/>
                  </a:lnTo>
                  <a:lnTo>
                    <a:pt x="44" y="64"/>
                  </a:lnTo>
                  <a:lnTo>
                    <a:pt x="30" y="46"/>
                  </a:lnTo>
                  <a:lnTo>
                    <a:pt x="26" y="44"/>
                  </a:lnTo>
                  <a:lnTo>
                    <a:pt x="22" y="43"/>
                  </a:lnTo>
                  <a:lnTo>
                    <a:pt x="16" y="40"/>
                  </a:lnTo>
                  <a:lnTo>
                    <a:pt x="11" y="38"/>
                  </a:lnTo>
                  <a:lnTo>
                    <a:pt x="0"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1" name="Freeform 690"/>
            <p:cNvSpPr>
              <a:spLocks/>
            </p:cNvSpPr>
            <p:nvPr/>
          </p:nvSpPr>
          <p:spPr bwMode="auto">
            <a:xfrm>
              <a:off x="3997325" y="4110041"/>
              <a:ext cx="77788" cy="95250"/>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2147483647 h 60"/>
                <a:gd name="T10" fmla="*/ 2147483647 w 53"/>
                <a:gd name="T11" fmla="*/ 2147483647 h 60"/>
                <a:gd name="T12" fmla="*/ 2147483647 w 53"/>
                <a:gd name="T13" fmla="*/ 2147483647 h 60"/>
                <a:gd name="T14" fmla="*/ 2147483647 w 53"/>
                <a:gd name="T15" fmla="*/ 2147483647 h 60"/>
                <a:gd name="T16" fmla="*/ 2147483647 w 53"/>
                <a:gd name="T17" fmla="*/ 2147483647 h 60"/>
                <a:gd name="T18" fmla="*/ 2147483647 w 53"/>
                <a:gd name="T19" fmla="*/ 2147483647 h 60"/>
                <a:gd name="T20" fmla="*/ 2147483647 w 53"/>
                <a:gd name="T21" fmla="*/ 2147483647 h 60"/>
                <a:gd name="T22" fmla="*/ 2147483647 w 53"/>
                <a:gd name="T23" fmla="*/ 0 h 60"/>
                <a:gd name="T24" fmla="*/ 2147483647 w 53"/>
                <a:gd name="T25" fmla="*/ 2147483647 h 60"/>
                <a:gd name="T26" fmla="*/ 2147483647 w 53"/>
                <a:gd name="T27" fmla="*/ 2147483647 h 60"/>
                <a:gd name="T28" fmla="*/ 2147483647 w 53"/>
                <a:gd name="T29" fmla="*/ 2147483647 h 60"/>
                <a:gd name="T30" fmla="*/ 2147483647 w 53"/>
                <a:gd name="T31" fmla="*/ 2147483647 h 60"/>
                <a:gd name="T32" fmla="*/ 2147483647 w 53"/>
                <a:gd name="T33" fmla="*/ 2147483647 h 60"/>
                <a:gd name="T34" fmla="*/ 2147483647 w 53"/>
                <a:gd name="T35" fmla="*/ 2147483647 h 60"/>
                <a:gd name="T36" fmla="*/ 2147483647 w 53"/>
                <a:gd name="T37" fmla="*/ 2147483647 h 60"/>
                <a:gd name="T38" fmla="*/ 2147483647 w 53"/>
                <a:gd name="T39" fmla="*/ 2147483647 h 60"/>
                <a:gd name="T40" fmla="*/ 2147483647 w 53"/>
                <a:gd name="T41" fmla="*/ 2147483647 h 60"/>
                <a:gd name="T42" fmla="*/ 2147483647 w 53"/>
                <a:gd name="T43" fmla="*/ 2147483647 h 60"/>
                <a:gd name="T44" fmla="*/ 2147483647 w 53"/>
                <a:gd name="T45" fmla="*/ 2147483647 h 60"/>
                <a:gd name="T46" fmla="*/ 0 w 53"/>
                <a:gd name="T47" fmla="*/ 2147483647 h 60"/>
                <a:gd name="T48" fmla="*/ 2147483647 w 53"/>
                <a:gd name="T49" fmla="*/ 2147483647 h 60"/>
                <a:gd name="T50" fmla="*/ 2147483647 w 53"/>
                <a:gd name="T51" fmla="*/ 2147483647 h 60"/>
                <a:gd name="T52" fmla="*/ 2147483647 w 53"/>
                <a:gd name="T53" fmla="*/ 2147483647 h 60"/>
                <a:gd name="T54" fmla="*/ 2147483647 w 53"/>
                <a:gd name="T55" fmla="*/ 2147483647 h 60"/>
                <a:gd name="T56" fmla="*/ 2147483647 w 53"/>
                <a:gd name="T57" fmla="*/ 2147483647 h 60"/>
                <a:gd name="T58" fmla="*/ 2147483647 w 53"/>
                <a:gd name="T59" fmla="*/ 2147483647 h 60"/>
                <a:gd name="T60" fmla="*/ 2147483647 w 53"/>
                <a:gd name="T61" fmla="*/ 2147483647 h 60"/>
                <a:gd name="T62" fmla="*/ 2147483647 w 53"/>
                <a:gd name="T63" fmla="*/ 2147483647 h 60"/>
                <a:gd name="T64" fmla="*/ 2147483647 w 53"/>
                <a:gd name="T65" fmla="*/ 2147483647 h 60"/>
                <a:gd name="T66" fmla="*/ 2147483647 w 53"/>
                <a:gd name="T67" fmla="*/ 2147483647 h 60"/>
                <a:gd name="T68" fmla="*/ 2147483647 w 53"/>
                <a:gd name="T69" fmla="*/ 2147483647 h 60"/>
                <a:gd name="T70" fmla="*/ 2147483647 w 53"/>
                <a:gd name="T71" fmla="*/ 2147483647 h 60"/>
                <a:gd name="T72" fmla="*/ 2147483647 w 53"/>
                <a:gd name="T73" fmla="*/ 2147483647 h 60"/>
                <a:gd name="T74" fmla="*/ 2147483647 w 53"/>
                <a:gd name="T75" fmla="*/ 2147483647 h 60"/>
                <a:gd name="T76" fmla="*/ 2147483647 w 53"/>
                <a:gd name="T77" fmla="*/ 2147483647 h 60"/>
                <a:gd name="T78" fmla="*/ 2147483647 w 53"/>
                <a:gd name="T79" fmla="*/ 2147483647 h 60"/>
                <a:gd name="T80" fmla="*/ 2147483647 w 53"/>
                <a:gd name="T81" fmla="*/ 2147483647 h 60"/>
                <a:gd name="T82" fmla="*/ 2147483647 w 53"/>
                <a:gd name="T83" fmla="*/ 2147483647 h 60"/>
                <a:gd name="T84" fmla="*/ 2147483647 w 53"/>
                <a:gd name="T85" fmla="*/ 2147483647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3"/>
                <a:gd name="T130" fmla="*/ 0 h 60"/>
                <a:gd name="T131" fmla="*/ 53 w 53"/>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3" h="60">
                  <a:moveTo>
                    <a:pt x="53" y="32"/>
                  </a:moveTo>
                  <a:lnTo>
                    <a:pt x="53" y="32"/>
                  </a:lnTo>
                  <a:lnTo>
                    <a:pt x="52" y="32"/>
                  </a:lnTo>
                  <a:lnTo>
                    <a:pt x="49" y="30"/>
                  </a:lnTo>
                  <a:lnTo>
                    <a:pt x="43" y="17"/>
                  </a:lnTo>
                  <a:lnTo>
                    <a:pt x="40" y="11"/>
                  </a:lnTo>
                  <a:lnTo>
                    <a:pt x="35" y="6"/>
                  </a:lnTo>
                  <a:lnTo>
                    <a:pt x="31" y="3"/>
                  </a:lnTo>
                  <a:lnTo>
                    <a:pt x="28" y="1"/>
                  </a:lnTo>
                  <a:lnTo>
                    <a:pt x="24" y="0"/>
                  </a:lnTo>
                  <a:lnTo>
                    <a:pt x="19" y="1"/>
                  </a:lnTo>
                  <a:lnTo>
                    <a:pt x="15" y="3"/>
                  </a:lnTo>
                  <a:lnTo>
                    <a:pt x="10" y="4"/>
                  </a:lnTo>
                  <a:lnTo>
                    <a:pt x="3" y="10"/>
                  </a:lnTo>
                  <a:lnTo>
                    <a:pt x="5" y="11"/>
                  </a:lnTo>
                  <a:lnTo>
                    <a:pt x="6" y="12"/>
                  </a:lnTo>
                  <a:lnTo>
                    <a:pt x="6" y="14"/>
                  </a:lnTo>
                  <a:lnTo>
                    <a:pt x="5" y="16"/>
                  </a:lnTo>
                  <a:lnTo>
                    <a:pt x="1" y="20"/>
                  </a:lnTo>
                  <a:lnTo>
                    <a:pt x="0" y="26"/>
                  </a:lnTo>
                  <a:lnTo>
                    <a:pt x="1" y="31"/>
                  </a:lnTo>
                  <a:lnTo>
                    <a:pt x="2" y="36"/>
                  </a:lnTo>
                  <a:lnTo>
                    <a:pt x="6" y="41"/>
                  </a:lnTo>
                  <a:lnTo>
                    <a:pt x="10" y="45"/>
                  </a:lnTo>
                  <a:lnTo>
                    <a:pt x="17" y="54"/>
                  </a:lnTo>
                  <a:lnTo>
                    <a:pt x="22" y="57"/>
                  </a:lnTo>
                  <a:lnTo>
                    <a:pt x="26" y="60"/>
                  </a:lnTo>
                  <a:lnTo>
                    <a:pt x="31" y="55"/>
                  </a:lnTo>
                  <a:lnTo>
                    <a:pt x="36" y="50"/>
                  </a:lnTo>
                  <a:lnTo>
                    <a:pt x="43" y="45"/>
                  </a:lnTo>
                  <a:lnTo>
                    <a:pt x="48" y="41"/>
                  </a:lnTo>
                  <a:lnTo>
                    <a:pt x="50" y="36"/>
                  </a:lnTo>
                  <a:lnTo>
                    <a:pt x="52" y="35"/>
                  </a:lnTo>
                  <a:lnTo>
                    <a:pt x="53"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2" name="Freeform 691"/>
            <p:cNvSpPr>
              <a:spLocks/>
            </p:cNvSpPr>
            <p:nvPr/>
          </p:nvSpPr>
          <p:spPr bwMode="auto">
            <a:xfrm>
              <a:off x="4035426" y="4157663"/>
              <a:ext cx="109538" cy="120650"/>
            </a:xfrm>
            <a:custGeom>
              <a:avLst/>
              <a:gdLst>
                <a:gd name="T0" fmla="*/ 0 w 75"/>
                <a:gd name="T1" fmla="*/ 2147483647 h 76"/>
                <a:gd name="T2" fmla="*/ 2147483647 w 75"/>
                <a:gd name="T3" fmla="*/ 2147483647 h 76"/>
                <a:gd name="T4" fmla="*/ 2147483647 w 75"/>
                <a:gd name="T5" fmla="*/ 2147483647 h 76"/>
                <a:gd name="T6" fmla="*/ 2147483647 w 75"/>
                <a:gd name="T7" fmla="*/ 2147483647 h 76"/>
                <a:gd name="T8" fmla="*/ 2147483647 w 75"/>
                <a:gd name="T9" fmla="*/ 2147483647 h 76"/>
                <a:gd name="T10" fmla="*/ 2147483647 w 75"/>
                <a:gd name="T11" fmla="*/ 2147483647 h 76"/>
                <a:gd name="T12" fmla="*/ 2147483647 w 75"/>
                <a:gd name="T13" fmla="*/ 0 h 76"/>
                <a:gd name="T14" fmla="*/ 2147483647 w 75"/>
                <a:gd name="T15" fmla="*/ 0 h 76"/>
                <a:gd name="T16" fmla="*/ 2147483647 w 75"/>
                <a:gd name="T17" fmla="*/ 2147483647 h 76"/>
                <a:gd name="T18" fmla="*/ 2147483647 w 75"/>
                <a:gd name="T19" fmla="*/ 2147483647 h 76"/>
                <a:gd name="T20" fmla="*/ 2147483647 w 75"/>
                <a:gd name="T21" fmla="*/ 2147483647 h 76"/>
                <a:gd name="T22" fmla="*/ 2147483647 w 75"/>
                <a:gd name="T23" fmla="*/ 2147483647 h 76"/>
                <a:gd name="T24" fmla="*/ 2147483647 w 75"/>
                <a:gd name="T25" fmla="*/ 2147483647 h 76"/>
                <a:gd name="T26" fmla="*/ 2147483647 w 75"/>
                <a:gd name="T27" fmla="*/ 2147483647 h 76"/>
                <a:gd name="T28" fmla="*/ 2147483647 w 75"/>
                <a:gd name="T29" fmla="*/ 2147483647 h 76"/>
                <a:gd name="T30" fmla="*/ 2147483647 w 75"/>
                <a:gd name="T31" fmla="*/ 2147483647 h 76"/>
                <a:gd name="T32" fmla="*/ 2147483647 w 75"/>
                <a:gd name="T33" fmla="*/ 2147483647 h 76"/>
                <a:gd name="T34" fmla="*/ 2147483647 w 75"/>
                <a:gd name="T35" fmla="*/ 2147483647 h 76"/>
                <a:gd name="T36" fmla="*/ 2147483647 w 75"/>
                <a:gd name="T37" fmla="*/ 2147483647 h 76"/>
                <a:gd name="T38" fmla="*/ 2147483647 w 75"/>
                <a:gd name="T39" fmla="*/ 2147483647 h 76"/>
                <a:gd name="T40" fmla="*/ 2147483647 w 75"/>
                <a:gd name="T41" fmla="*/ 2147483647 h 76"/>
                <a:gd name="T42" fmla="*/ 2147483647 w 75"/>
                <a:gd name="T43" fmla="*/ 2147483647 h 76"/>
                <a:gd name="T44" fmla="*/ 2147483647 w 75"/>
                <a:gd name="T45" fmla="*/ 2147483647 h 76"/>
                <a:gd name="T46" fmla="*/ 2147483647 w 75"/>
                <a:gd name="T47" fmla="*/ 2147483647 h 76"/>
                <a:gd name="T48" fmla="*/ 2147483647 w 75"/>
                <a:gd name="T49" fmla="*/ 2147483647 h 76"/>
                <a:gd name="T50" fmla="*/ 2147483647 w 75"/>
                <a:gd name="T51" fmla="*/ 2147483647 h 76"/>
                <a:gd name="T52" fmla="*/ 2147483647 w 75"/>
                <a:gd name="T53" fmla="*/ 2147483647 h 76"/>
                <a:gd name="T54" fmla="*/ 2147483647 w 75"/>
                <a:gd name="T55" fmla="*/ 2147483647 h 76"/>
                <a:gd name="T56" fmla="*/ 2147483647 w 75"/>
                <a:gd name="T57" fmla="*/ 2147483647 h 76"/>
                <a:gd name="T58" fmla="*/ 2147483647 w 75"/>
                <a:gd name="T59" fmla="*/ 2147483647 h 76"/>
                <a:gd name="T60" fmla="*/ 2147483647 w 75"/>
                <a:gd name="T61" fmla="*/ 2147483647 h 76"/>
                <a:gd name="T62" fmla="*/ 2147483647 w 75"/>
                <a:gd name="T63" fmla="*/ 2147483647 h 76"/>
                <a:gd name="T64" fmla="*/ 2147483647 w 75"/>
                <a:gd name="T65" fmla="*/ 2147483647 h 76"/>
                <a:gd name="T66" fmla="*/ 2147483647 w 75"/>
                <a:gd name="T67" fmla="*/ 2147483647 h 76"/>
                <a:gd name="T68" fmla="*/ 2147483647 w 75"/>
                <a:gd name="T69" fmla="*/ 2147483647 h 76"/>
                <a:gd name="T70" fmla="*/ 2147483647 w 75"/>
                <a:gd name="T71" fmla="*/ 2147483647 h 76"/>
                <a:gd name="T72" fmla="*/ 2147483647 w 75"/>
                <a:gd name="T73" fmla="*/ 2147483647 h 76"/>
                <a:gd name="T74" fmla="*/ 0 w 75"/>
                <a:gd name="T75" fmla="*/ 2147483647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5"/>
                <a:gd name="T115" fmla="*/ 0 h 76"/>
                <a:gd name="T116" fmla="*/ 75 w 75"/>
                <a:gd name="T117" fmla="*/ 76 h 7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5" h="76">
                  <a:moveTo>
                    <a:pt x="0" y="30"/>
                  </a:moveTo>
                  <a:lnTo>
                    <a:pt x="0" y="30"/>
                  </a:lnTo>
                  <a:lnTo>
                    <a:pt x="5" y="25"/>
                  </a:lnTo>
                  <a:lnTo>
                    <a:pt x="10" y="20"/>
                  </a:lnTo>
                  <a:lnTo>
                    <a:pt x="17" y="15"/>
                  </a:lnTo>
                  <a:lnTo>
                    <a:pt x="22" y="11"/>
                  </a:lnTo>
                  <a:lnTo>
                    <a:pt x="24" y="6"/>
                  </a:lnTo>
                  <a:lnTo>
                    <a:pt x="26" y="5"/>
                  </a:lnTo>
                  <a:lnTo>
                    <a:pt x="27" y="2"/>
                  </a:lnTo>
                  <a:lnTo>
                    <a:pt x="29" y="2"/>
                  </a:lnTo>
                  <a:lnTo>
                    <a:pt x="33" y="1"/>
                  </a:lnTo>
                  <a:lnTo>
                    <a:pt x="36" y="0"/>
                  </a:lnTo>
                  <a:lnTo>
                    <a:pt x="38" y="0"/>
                  </a:lnTo>
                  <a:lnTo>
                    <a:pt x="40" y="1"/>
                  </a:lnTo>
                  <a:lnTo>
                    <a:pt x="40" y="3"/>
                  </a:lnTo>
                  <a:lnTo>
                    <a:pt x="40" y="9"/>
                  </a:lnTo>
                  <a:lnTo>
                    <a:pt x="41" y="14"/>
                  </a:lnTo>
                  <a:lnTo>
                    <a:pt x="42" y="16"/>
                  </a:lnTo>
                  <a:lnTo>
                    <a:pt x="45" y="18"/>
                  </a:lnTo>
                  <a:lnTo>
                    <a:pt x="47" y="18"/>
                  </a:lnTo>
                  <a:lnTo>
                    <a:pt x="49" y="16"/>
                  </a:lnTo>
                  <a:lnTo>
                    <a:pt x="51" y="14"/>
                  </a:lnTo>
                  <a:lnTo>
                    <a:pt x="54" y="12"/>
                  </a:lnTo>
                  <a:lnTo>
                    <a:pt x="56" y="12"/>
                  </a:lnTo>
                  <a:lnTo>
                    <a:pt x="56" y="14"/>
                  </a:lnTo>
                  <a:lnTo>
                    <a:pt x="57" y="19"/>
                  </a:lnTo>
                  <a:lnTo>
                    <a:pt x="56" y="25"/>
                  </a:lnTo>
                  <a:lnTo>
                    <a:pt x="54" y="30"/>
                  </a:lnTo>
                  <a:lnTo>
                    <a:pt x="50" y="33"/>
                  </a:lnTo>
                  <a:lnTo>
                    <a:pt x="49" y="35"/>
                  </a:lnTo>
                  <a:lnTo>
                    <a:pt x="49" y="38"/>
                  </a:lnTo>
                  <a:lnTo>
                    <a:pt x="49" y="40"/>
                  </a:lnTo>
                  <a:lnTo>
                    <a:pt x="50" y="40"/>
                  </a:lnTo>
                  <a:lnTo>
                    <a:pt x="54" y="39"/>
                  </a:lnTo>
                  <a:lnTo>
                    <a:pt x="56" y="40"/>
                  </a:lnTo>
                  <a:lnTo>
                    <a:pt x="57" y="40"/>
                  </a:lnTo>
                  <a:lnTo>
                    <a:pt x="60" y="43"/>
                  </a:lnTo>
                  <a:lnTo>
                    <a:pt x="61" y="46"/>
                  </a:lnTo>
                  <a:lnTo>
                    <a:pt x="65" y="50"/>
                  </a:lnTo>
                  <a:lnTo>
                    <a:pt x="66" y="51"/>
                  </a:lnTo>
                  <a:lnTo>
                    <a:pt x="68" y="51"/>
                  </a:lnTo>
                  <a:lnTo>
                    <a:pt x="71" y="50"/>
                  </a:lnTo>
                  <a:lnTo>
                    <a:pt x="74" y="51"/>
                  </a:lnTo>
                  <a:lnTo>
                    <a:pt x="75" y="51"/>
                  </a:lnTo>
                  <a:lnTo>
                    <a:pt x="75" y="57"/>
                  </a:lnTo>
                  <a:lnTo>
                    <a:pt x="75" y="63"/>
                  </a:lnTo>
                  <a:lnTo>
                    <a:pt x="74" y="67"/>
                  </a:lnTo>
                  <a:lnTo>
                    <a:pt x="75" y="73"/>
                  </a:lnTo>
                  <a:lnTo>
                    <a:pt x="70" y="75"/>
                  </a:lnTo>
                  <a:lnTo>
                    <a:pt x="59" y="76"/>
                  </a:lnTo>
                  <a:lnTo>
                    <a:pt x="55" y="75"/>
                  </a:lnTo>
                  <a:lnTo>
                    <a:pt x="52" y="72"/>
                  </a:lnTo>
                  <a:lnTo>
                    <a:pt x="45" y="64"/>
                  </a:lnTo>
                  <a:lnTo>
                    <a:pt x="31" y="46"/>
                  </a:lnTo>
                  <a:lnTo>
                    <a:pt x="27" y="44"/>
                  </a:lnTo>
                  <a:lnTo>
                    <a:pt x="23" y="43"/>
                  </a:lnTo>
                  <a:lnTo>
                    <a:pt x="17" y="40"/>
                  </a:lnTo>
                  <a:lnTo>
                    <a:pt x="12" y="38"/>
                  </a:lnTo>
                  <a:lnTo>
                    <a:pt x="0" y="3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3" name="Freeform 692"/>
            <p:cNvSpPr>
              <a:spLocks/>
            </p:cNvSpPr>
            <p:nvPr/>
          </p:nvSpPr>
          <p:spPr bwMode="auto">
            <a:xfrm>
              <a:off x="4108450" y="4090989"/>
              <a:ext cx="166688" cy="185737"/>
            </a:xfrm>
            <a:custGeom>
              <a:avLst/>
              <a:gdLst>
                <a:gd name="T0" fmla="*/ 2147483647 w 113"/>
                <a:gd name="T1" fmla="*/ 2147483647 h 117"/>
                <a:gd name="T2" fmla="*/ 2147483647 w 113"/>
                <a:gd name="T3" fmla="*/ 2147483647 h 117"/>
                <a:gd name="T4" fmla="*/ 2147483647 w 113"/>
                <a:gd name="T5" fmla="*/ 2147483647 h 117"/>
                <a:gd name="T6" fmla="*/ 2147483647 w 113"/>
                <a:gd name="T7" fmla="*/ 2147483647 h 117"/>
                <a:gd name="T8" fmla="*/ 2147483647 w 113"/>
                <a:gd name="T9" fmla="*/ 2147483647 h 117"/>
                <a:gd name="T10" fmla="*/ 2147483647 w 113"/>
                <a:gd name="T11" fmla="*/ 2147483647 h 117"/>
                <a:gd name="T12" fmla="*/ 2147483647 w 113"/>
                <a:gd name="T13" fmla="*/ 2147483647 h 117"/>
                <a:gd name="T14" fmla="*/ 2147483647 w 113"/>
                <a:gd name="T15" fmla="*/ 2147483647 h 117"/>
                <a:gd name="T16" fmla="*/ 2147483647 w 113"/>
                <a:gd name="T17" fmla="*/ 2147483647 h 117"/>
                <a:gd name="T18" fmla="*/ 0 w 113"/>
                <a:gd name="T19" fmla="*/ 2147483647 h 117"/>
                <a:gd name="T20" fmla="*/ 0 w 113"/>
                <a:gd name="T21" fmla="*/ 2147483647 h 117"/>
                <a:gd name="T22" fmla="*/ 2147483647 w 113"/>
                <a:gd name="T23" fmla="*/ 2147483647 h 117"/>
                <a:gd name="T24" fmla="*/ 2147483647 w 113"/>
                <a:gd name="T25" fmla="*/ 2147483647 h 117"/>
                <a:gd name="T26" fmla="*/ 2147483647 w 113"/>
                <a:gd name="T27" fmla="*/ 2147483647 h 117"/>
                <a:gd name="T28" fmla="*/ 2147483647 w 113"/>
                <a:gd name="T29" fmla="*/ 2147483647 h 117"/>
                <a:gd name="T30" fmla="*/ 2147483647 w 113"/>
                <a:gd name="T31" fmla="*/ 2147483647 h 117"/>
                <a:gd name="T32" fmla="*/ 2147483647 w 113"/>
                <a:gd name="T33" fmla="*/ 2147483647 h 117"/>
                <a:gd name="T34" fmla="*/ 2147483647 w 113"/>
                <a:gd name="T35" fmla="*/ 2147483647 h 117"/>
                <a:gd name="T36" fmla="*/ 2147483647 w 113"/>
                <a:gd name="T37" fmla="*/ 2147483647 h 117"/>
                <a:gd name="T38" fmla="*/ 2147483647 w 113"/>
                <a:gd name="T39" fmla="*/ 2147483647 h 117"/>
                <a:gd name="T40" fmla="*/ 2147483647 w 113"/>
                <a:gd name="T41" fmla="*/ 2147483647 h 117"/>
                <a:gd name="T42" fmla="*/ 2147483647 w 113"/>
                <a:gd name="T43" fmla="*/ 2147483647 h 117"/>
                <a:gd name="T44" fmla="*/ 2147483647 w 113"/>
                <a:gd name="T45" fmla="*/ 2147483647 h 117"/>
                <a:gd name="T46" fmla="*/ 2147483647 w 113"/>
                <a:gd name="T47" fmla="*/ 2147483647 h 117"/>
                <a:gd name="T48" fmla="*/ 2147483647 w 113"/>
                <a:gd name="T49" fmla="*/ 2147483647 h 117"/>
                <a:gd name="T50" fmla="*/ 2147483647 w 113"/>
                <a:gd name="T51" fmla="*/ 2147483647 h 117"/>
                <a:gd name="T52" fmla="*/ 2147483647 w 113"/>
                <a:gd name="T53" fmla="*/ 2147483647 h 117"/>
                <a:gd name="T54" fmla="*/ 2147483647 w 113"/>
                <a:gd name="T55" fmla="*/ 2147483647 h 117"/>
                <a:gd name="T56" fmla="*/ 2147483647 w 113"/>
                <a:gd name="T57" fmla="*/ 2147483647 h 117"/>
                <a:gd name="T58" fmla="*/ 2147483647 w 113"/>
                <a:gd name="T59" fmla="*/ 2147483647 h 117"/>
                <a:gd name="T60" fmla="*/ 2147483647 w 113"/>
                <a:gd name="T61" fmla="*/ 2147483647 h 117"/>
                <a:gd name="T62" fmla="*/ 2147483647 w 113"/>
                <a:gd name="T63" fmla="*/ 2147483647 h 117"/>
                <a:gd name="T64" fmla="*/ 2147483647 w 113"/>
                <a:gd name="T65" fmla="*/ 2147483647 h 117"/>
                <a:gd name="T66" fmla="*/ 2147483647 w 113"/>
                <a:gd name="T67" fmla="*/ 2147483647 h 117"/>
                <a:gd name="T68" fmla="*/ 2147483647 w 113"/>
                <a:gd name="T69" fmla="*/ 2147483647 h 117"/>
                <a:gd name="T70" fmla="*/ 2147483647 w 113"/>
                <a:gd name="T71" fmla="*/ 2147483647 h 117"/>
                <a:gd name="T72" fmla="*/ 2147483647 w 113"/>
                <a:gd name="T73" fmla="*/ 0 h 117"/>
                <a:gd name="T74" fmla="*/ 2147483647 w 113"/>
                <a:gd name="T75" fmla="*/ 2147483647 h 117"/>
                <a:gd name="T76" fmla="*/ 2147483647 w 113"/>
                <a:gd name="T77" fmla="*/ 2147483647 h 117"/>
                <a:gd name="T78" fmla="*/ 2147483647 w 113"/>
                <a:gd name="T79" fmla="*/ 2147483647 h 117"/>
                <a:gd name="T80" fmla="*/ 2147483647 w 113"/>
                <a:gd name="T81" fmla="*/ 2147483647 h 117"/>
                <a:gd name="T82" fmla="*/ 2147483647 w 113"/>
                <a:gd name="T83" fmla="*/ 2147483647 h 117"/>
                <a:gd name="T84" fmla="*/ 2147483647 w 113"/>
                <a:gd name="T85" fmla="*/ 2147483647 h 1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3"/>
                <a:gd name="T130" fmla="*/ 0 h 117"/>
                <a:gd name="T131" fmla="*/ 113 w 113"/>
                <a:gd name="T132" fmla="*/ 117 h 1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3" h="117">
                  <a:moveTo>
                    <a:pt x="24" y="22"/>
                  </a:moveTo>
                  <a:lnTo>
                    <a:pt x="21" y="30"/>
                  </a:lnTo>
                  <a:lnTo>
                    <a:pt x="20" y="40"/>
                  </a:lnTo>
                  <a:lnTo>
                    <a:pt x="19" y="40"/>
                  </a:lnTo>
                  <a:lnTo>
                    <a:pt x="18" y="40"/>
                  </a:lnTo>
                  <a:lnTo>
                    <a:pt x="15" y="40"/>
                  </a:lnTo>
                  <a:lnTo>
                    <a:pt x="14" y="40"/>
                  </a:lnTo>
                  <a:lnTo>
                    <a:pt x="13" y="41"/>
                  </a:lnTo>
                  <a:lnTo>
                    <a:pt x="13" y="43"/>
                  </a:lnTo>
                  <a:lnTo>
                    <a:pt x="14" y="45"/>
                  </a:lnTo>
                  <a:lnTo>
                    <a:pt x="16" y="49"/>
                  </a:lnTo>
                  <a:lnTo>
                    <a:pt x="16" y="50"/>
                  </a:lnTo>
                  <a:lnTo>
                    <a:pt x="15" y="51"/>
                  </a:lnTo>
                  <a:lnTo>
                    <a:pt x="13" y="55"/>
                  </a:lnTo>
                  <a:lnTo>
                    <a:pt x="7" y="57"/>
                  </a:lnTo>
                  <a:lnTo>
                    <a:pt x="9" y="62"/>
                  </a:lnTo>
                  <a:lnTo>
                    <a:pt x="7" y="68"/>
                  </a:lnTo>
                  <a:lnTo>
                    <a:pt x="5" y="73"/>
                  </a:lnTo>
                  <a:lnTo>
                    <a:pt x="1" y="76"/>
                  </a:lnTo>
                  <a:lnTo>
                    <a:pt x="0" y="79"/>
                  </a:lnTo>
                  <a:lnTo>
                    <a:pt x="0" y="81"/>
                  </a:lnTo>
                  <a:lnTo>
                    <a:pt x="0" y="83"/>
                  </a:lnTo>
                  <a:lnTo>
                    <a:pt x="1" y="83"/>
                  </a:lnTo>
                  <a:lnTo>
                    <a:pt x="5" y="82"/>
                  </a:lnTo>
                  <a:lnTo>
                    <a:pt x="7" y="83"/>
                  </a:lnTo>
                  <a:lnTo>
                    <a:pt x="9" y="83"/>
                  </a:lnTo>
                  <a:lnTo>
                    <a:pt x="11" y="86"/>
                  </a:lnTo>
                  <a:lnTo>
                    <a:pt x="13" y="89"/>
                  </a:lnTo>
                  <a:lnTo>
                    <a:pt x="16" y="93"/>
                  </a:lnTo>
                  <a:lnTo>
                    <a:pt x="18" y="94"/>
                  </a:lnTo>
                  <a:lnTo>
                    <a:pt x="19" y="94"/>
                  </a:lnTo>
                  <a:lnTo>
                    <a:pt x="23" y="93"/>
                  </a:lnTo>
                  <a:lnTo>
                    <a:pt x="25" y="94"/>
                  </a:lnTo>
                  <a:lnTo>
                    <a:pt x="26" y="94"/>
                  </a:lnTo>
                  <a:lnTo>
                    <a:pt x="26" y="100"/>
                  </a:lnTo>
                  <a:lnTo>
                    <a:pt x="26" y="106"/>
                  </a:lnTo>
                  <a:lnTo>
                    <a:pt x="25" y="111"/>
                  </a:lnTo>
                  <a:lnTo>
                    <a:pt x="26" y="117"/>
                  </a:lnTo>
                  <a:lnTo>
                    <a:pt x="39" y="117"/>
                  </a:lnTo>
                  <a:lnTo>
                    <a:pt x="46" y="115"/>
                  </a:lnTo>
                  <a:lnTo>
                    <a:pt x="52" y="115"/>
                  </a:lnTo>
                  <a:lnTo>
                    <a:pt x="61" y="112"/>
                  </a:lnTo>
                  <a:lnTo>
                    <a:pt x="70" y="108"/>
                  </a:lnTo>
                  <a:lnTo>
                    <a:pt x="79" y="107"/>
                  </a:lnTo>
                  <a:lnTo>
                    <a:pt x="82" y="107"/>
                  </a:lnTo>
                  <a:lnTo>
                    <a:pt x="87" y="108"/>
                  </a:lnTo>
                  <a:lnTo>
                    <a:pt x="91" y="109"/>
                  </a:lnTo>
                  <a:lnTo>
                    <a:pt x="96" y="109"/>
                  </a:lnTo>
                  <a:lnTo>
                    <a:pt x="105" y="108"/>
                  </a:lnTo>
                  <a:lnTo>
                    <a:pt x="105" y="105"/>
                  </a:lnTo>
                  <a:lnTo>
                    <a:pt x="105" y="101"/>
                  </a:lnTo>
                  <a:lnTo>
                    <a:pt x="105" y="96"/>
                  </a:lnTo>
                  <a:lnTo>
                    <a:pt x="104" y="93"/>
                  </a:lnTo>
                  <a:lnTo>
                    <a:pt x="100" y="88"/>
                  </a:lnTo>
                  <a:lnTo>
                    <a:pt x="99" y="82"/>
                  </a:lnTo>
                  <a:lnTo>
                    <a:pt x="99" y="76"/>
                  </a:lnTo>
                  <a:lnTo>
                    <a:pt x="100" y="70"/>
                  </a:lnTo>
                  <a:lnTo>
                    <a:pt x="106" y="57"/>
                  </a:lnTo>
                  <a:lnTo>
                    <a:pt x="112" y="44"/>
                  </a:lnTo>
                  <a:lnTo>
                    <a:pt x="113" y="37"/>
                  </a:lnTo>
                  <a:lnTo>
                    <a:pt x="113" y="30"/>
                  </a:lnTo>
                  <a:lnTo>
                    <a:pt x="113" y="23"/>
                  </a:lnTo>
                  <a:lnTo>
                    <a:pt x="110" y="16"/>
                  </a:lnTo>
                  <a:lnTo>
                    <a:pt x="109" y="13"/>
                  </a:lnTo>
                  <a:lnTo>
                    <a:pt x="106" y="11"/>
                  </a:lnTo>
                  <a:lnTo>
                    <a:pt x="101" y="9"/>
                  </a:lnTo>
                  <a:lnTo>
                    <a:pt x="98" y="10"/>
                  </a:lnTo>
                  <a:lnTo>
                    <a:pt x="90" y="15"/>
                  </a:lnTo>
                  <a:lnTo>
                    <a:pt x="87" y="15"/>
                  </a:lnTo>
                  <a:lnTo>
                    <a:pt x="85" y="15"/>
                  </a:lnTo>
                  <a:lnTo>
                    <a:pt x="81" y="12"/>
                  </a:lnTo>
                  <a:lnTo>
                    <a:pt x="72" y="3"/>
                  </a:lnTo>
                  <a:lnTo>
                    <a:pt x="70" y="2"/>
                  </a:lnTo>
                  <a:lnTo>
                    <a:pt x="67" y="0"/>
                  </a:lnTo>
                  <a:lnTo>
                    <a:pt x="63" y="2"/>
                  </a:lnTo>
                  <a:lnTo>
                    <a:pt x="61" y="3"/>
                  </a:lnTo>
                  <a:lnTo>
                    <a:pt x="53" y="6"/>
                  </a:lnTo>
                  <a:lnTo>
                    <a:pt x="48" y="10"/>
                  </a:lnTo>
                  <a:lnTo>
                    <a:pt x="46" y="11"/>
                  </a:lnTo>
                  <a:lnTo>
                    <a:pt x="43" y="11"/>
                  </a:lnTo>
                  <a:lnTo>
                    <a:pt x="39" y="11"/>
                  </a:lnTo>
                  <a:lnTo>
                    <a:pt x="37" y="10"/>
                  </a:lnTo>
                  <a:lnTo>
                    <a:pt x="37" y="9"/>
                  </a:lnTo>
                  <a:lnTo>
                    <a:pt x="33" y="11"/>
                  </a:lnTo>
                  <a:lnTo>
                    <a:pt x="29" y="13"/>
                  </a:lnTo>
                  <a:lnTo>
                    <a:pt x="24"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4" name="Freeform 693"/>
            <p:cNvSpPr>
              <a:spLocks/>
            </p:cNvSpPr>
            <p:nvPr/>
          </p:nvSpPr>
          <p:spPr bwMode="auto">
            <a:xfrm>
              <a:off x="4021140" y="3632201"/>
              <a:ext cx="422275" cy="493713"/>
            </a:xfrm>
            <a:custGeom>
              <a:avLst/>
              <a:gdLst>
                <a:gd name="T0" fmla="*/ 2147483647 w 288"/>
                <a:gd name="T1" fmla="*/ 2147483647 h 311"/>
                <a:gd name="T2" fmla="*/ 2147483647 w 288"/>
                <a:gd name="T3" fmla="*/ 2147483647 h 311"/>
                <a:gd name="T4" fmla="*/ 2147483647 w 288"/>
                <a:gd name="T5" fmla="*/ 2147483647 h 311"/>
                <a:gd name="T6" fmla="*/ 2147483647 w 288"/>
                <a:gd name="T7" fmla="*/ 2147483647 h 311"/>
                <a:gd name="T8" fmla="*/ 2147483647 w 288"/>
                <a:gd name="T9" fmla="*/ 2147483647 h 311"/>
                <a:gd name="T10" fmla="*/ 2147483647 w 288"/>
                <a:gd name="T11" fmla="*/ 2147483647 h 311"/>
                <a:gd name="T12" fmla="*/ 2147483647 w 288"/>
                <a:gd name="T13" fmla="*/ 2147483647 h 311"/>
                <a:gd name="T14" fmla="*/ 2147483647 w 288"/>
                <a:gd name="T15" fmla="*/ 2147483647 h 311"/>
                <a:gd name="T16" fmla="*/ 2147483647 w 288"/>
                <a:gd name="T17" fmla="*/ 2147483647 h 311"/>
                <a:gd name="T18" fmla="*/ 2147483647 w 288"/>
                <a:gd name="T19" fmla="*/ 2147483647 h 311"/>
                <a:gd name="T20" fmla="*/ 2147483647 w 288"/>
                <a:gd name="T21" fmla="*/ 2147483647 h 311"/>
                <a:gd name="T22" fmla="*/ 2147483647 w 288"/>
                <a:gd name="T23" fmla="*/ 2147483647 h 311"/>
                <a:gd name="T24" fmla="*/ 2147483647 w 288"/>
                <a:gd name="T25" fmla="*/ 2147483647 h 311"/>
                <a:gd name="T26" fmla="*/ 2147483647 w 288"/>
                <a:gd name="T27" fmla="*/ 2147483647 h 311"/>
                <a:gd name="T28" fmla="*/ 2147483647 w 288"/>
                <a:gd name="T29" fmla="*/ 2147483647 h 311"/>
                <a:gd name="T30" fmla="*/ 2147483647 w 288"/>
                <a:gd name="T31" fmla="*/ 2147483647 h 311"/>
                <a:gd name="T32" fmla="*/ 2147483647 w 288"/>
                <a:gd name="T33" fmla="*/ 2147483647 h 311"/>
                <a:gd name="T34" fmla="*/ 0 w 288"/>
                <a:gd name="T35" fmla="*/ 2147483647 h 311"/>
                <a:gd name="T36" fmla="*/ 2147483647 w 288"/>
                <a:gd name="T37" fmla="*/ 2147483647 h 311"/>
                <a:gd name="T38" fmla="*/ 2147483647 w 288"/>
                <a:gd name="T39" fmla="*/ 2147483647 h 311"/>
                <a:gd name="T40" fmla="*/ 2147483647 w 288"/>
                <a:gd name="T41" fmla="*/ 2147483647 h 311"/>
                <a:gd name="T42" fmla="*/ 2147483647 w 288"/>
                <a:gd name="T43" fmla="*/ 2147483647 h 311"/>
                <a:gd name="T44" fmla="*/ 2147483647 w 288"/>
                <a:gd name="T45" fmla="*/ 2147483647 h 311"/>
                <a:gd name="T46" fmla="*/ 2147483647 w 288"/>
                <a:gd name="T47" fmla="*/ 2147483647 h 311"/>
                <a:gd name="T48" fmla="*/ 2147483647 w 288"/>
                <a:gd name="T49" fmla="*/ 2147483647 h 311"/>
                <a:gd name="T50" fmla="*/ 2147483647 w 288"/>
                <a:gd name="T51" fmla="*/ 2147483647 h 311"/>
                <a:gd name="T52" fmla="*/ 2147483647 w 288"/>
                <a:gd name="T53" fmla="*/ 2147483647 h 311"/>
                <a:gd name="T54" fmla="*/ 2147483647 w 288"/>
                <a:gd name="T55" fmla="*/ 2147483647 h 311"/>
                <a:gd name="T56" fmla="*/ 2147483647 w 288"/>
                <a:gd name="T57" fmla="*/ 2147483647 h 311"/>
                <a:gd name="T58" fmla="*/ 2147483647 w 288"/>
                <a:gd name="T59" fmla="*/ 2147483647 h 311"/>
                <a:gd name="T60" fmla="*/ 2147483647 w 288"/>
                <a:gd name="T61" fmla="*/ 2147483647 h 311"/>
                <a:gd name="T62" fmla="*/ 2147483647 w 288"/>
                <a:gd name="T63" fmla="*/ 2147483647 h 311"/>
                <a:gd name="T64" fmla="*/ 2147483647 w 288"/>
                <a:gd name="T65" fmla="*/ 2147483647 h 311"/>
                <a:gd name="T66" fmla="*/ 2147483647 w 288"/>
                <a:gd name="T67" fmla="*/ 2147483647 h 311"/>
                <a:gd name="T68" fmla="*/ 2147483647 w 288"/>
                <a:gd name="T69" fmla="*/ 2147483647 h 311"/>
                <a:gd name="T70" fmla="*/ 2147483647 w 288"/>
                <a:gd name="T71" fmla="*/ 2147483647 h 311"/>
                <a:gd name="T72" fmla="*/ 2147483647 w 288"/>
                <a:gd name="T73" fmla="*/ 2147483647 h 311"/>
                <a:gd name="T74" fmla="*/ 2147483647 w 288"/>
                <a:gd name="T75" fmla="*/ 2147483647 h 311"/>
                <a:gd name="T76" fmla="*/ 2147483647 w 288"/>
                <a:gd name="T77" fmla="*/ 2147483647 h 311"/>
                <a:gd name="T78" fmla="*/ 2147483647 w 288"/>
                <a:gd name="T79" fmla="*/ 2147483647 h 311"/>
                <a:gd name="T80" fmla="*/ 2147483647 w 288"/>
                <a:gd name="T81" fmla="*/ 2147483647 h 311"/>
                <a:gd name="T82" fmla="*/ 2147483647 w 288"/>
                <a:gd name="T83" fmla="*/ 2147483647 h 311"/>
                <a:gd name="T84" fmla="*/ 2147483647 w 288"/>
                <a:gd name="T85" fmla="*/ 2147483647 h 311"/>
                <a:gd name="T86" fmla="*/ 2147483647 w 288"/>
                <a:gd name="T87" fmla="*/ 2147483647 h 311"/>
                <a:gd name="T88" fmla="*/ 2147483647 w 288"/>
                <a:gd name="T89" fmla="*/ 2147483647 h 311"/>
                <a:gd name="T90" fmla="*/ 2147483647 w 288"/>
                <a:gd name="T91" fmla="*/ 2147483647 h 3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8"/>
                <a:gd name="T139" fmla="*/ 0 h 311"/>
                <a:gd name="T140" fmla="*/ 288 w 288"/>
                <a:gd name="T141" fmla="*/ 311 h 3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8" h="311">
                  <a:moveTo>
                    <a:pt x="287" y="117"/>
                  </a:moveTo>
                  <a:lnTo>
                    <a:pt x="283" y="117"/>
                  </a:lnTo>
                  <a:lnTo>
                    <a:pt x="278" y="117"/>
                  </a:lnTo>
                  <a:lnTo>
                    <a:pt x="276" y="115"/>
                  </a:lnTo>
                  <a:lnTo>
                    <a:pt x="273" y="112"/>
                  </a:lnTo>
                  <a:lnTo>
                    <a:pt x="273" y="109"/>
                  </a:lnTo>
                  <a:lnTo>
                    <a:pt x="273" y="106"/>
                  </a:lnTo>
                  <a:lnTo>
                    <a:pt x="276" y="102"/>
                  </a:lnTo>
                  <a:lnTo>
                    <a:pt x="276" y="100"/>
                  </a:lnTo>
                  <a:lnTo>
                    <a:pt x="274" y="97"/>
                  </a:lnTo>
                  <a:lnTo>
                    <a:pt x="272" y="96"/>
                  </a:lnTo>
                  <a:lnTo>
                    <a:pt x="267" y="94"/>
                  </a:lnTo>
                  <a:lnTo>
                    <a:pt x="266" y="94"/>
                  </a:lnTo>
                  <a:lnTo>
                    <a:pt x="264" y="91"/>
                  </a:lnTo>
                  <a:lnTo>
                    <a:pt x="264" y="89"/>
                  </a:lnTo>
                  <a:lnTo>
                    <a:pt x="260" y="87"/>
                  </a:lnTo>
                  <a:lnTo>
                    <a:pt x="257" y="85"/>
                  </a:lnTo>
                  <a:lnTo>
                    <a:pt x="248" y="83"/>
                  </a:lnTo>
                  <a:lnTo>
                    <a:pt x="245" y="83"/>
                  </a:lnTo>
                  <a:lnTo>
                    <a:pt x="243" y="82"/>
                  </a:lnTo>
                  <a:lnTo>
                    <a:pt x="243" y="81"/>
                  </a:lnTo>
                  <a:lnTo>
                    <a:pt x="240" y="75"/>
                  </a:lnTo>
                  <a:lnTo>
                    <a:pt x="236" y="69"/>
                  </a:lnTo>
                  <a:lnTo>
                    <a:pt x="139" y="1"/>
                  </a:lnTo>
                  <a:lnTo>
                    <a:pt x="116" y="0"/>
                  </a:lnTo>
                  <a:lnTo>
                    <a:pt x="116" y="180"/>
                  </a:lnTo>
                  <a:lnTo>
                    <a:pt x="113" y="180"/>
                  </a:lnTo>
                  <a:lnTo>
                    <a:pt x="80" y="179"/>
                  </a:lnTo>
                  <a:lnTo>
                    <a:pt x="64" y="179"/>
                  </a:lnTo>
                  <a:lnTo>
                    <a:pt x="47" y="180"/>
                  </a:lnTo>
                  <a:lnTo>
                    <a:pt x="43" y="182"/>
                  </a:lnTo>
                  <a:lnTo>
                    <a:pt x="38" y="184"/>
                  </a:lnTo>
                  <a:lnTo>
                    <a:pt x="36" y="186"/>
                  </a:lnTo>
                  <a:lnTo>
                    <a:pt x="33" y="191"/>
                  </a:lnTo>
                  <a:lnTo>
                    <a:pt x="32" y="192"/>
                  </a:lnTo>
                  <a:lnTo>
                    <a:pt x="29" y="193"/>
                  </a:lnTo>
                  <a:lnTo>
                    <a:pt x="27" y="193"/>
                  </a:lnTo>
                  <a:lnTo>
                    <a:pt x="26" y="193"/>
                  </a:lnTo>
                  <a:lnTo>
                    <a:pt x="23" y="191"/>
                  </a:lnTo>
                  <a:lnTo>
                    <a:pt x="22" y="189"/>
                  </a:lnTo>
                  <a:lnTo>
                    <a:pt x="22" y="186"/>
                  </a:lnTo>
                  <a:lnTo>
                    <a:pt x="23" y="184"/>
                  </a:lnTo>
                  <a:lnTo>
                    <a:pt x="19" y="184"/>
                  </a:lnTo>
                  <a:lnTo>
                    <a:pt x="15" y="187"/>
                  </a:lnTo>
                  <a:lnTo>
                    <a:pt x="14" y="191"/>
                  </a:lnTo>
                  <a:lnTo>
                    <a:pt x="13" y="195"/>
                  </a:lnTo>
                  <a:lnTo>
                    <a:pt x="12" y="202"/>
                  </a:lnTo>
                  <a:lnTo>
                    <a:pt x="12" y="205"/>
                  </a:lnTo>
                  <a:lnTo>
                    <a:pt x="13" y="210"/>
                  </a:lnTo>
                  <a:lnTo>
                    <a:pt x="8" y="209"/>
                  </a:lnTo>
                  <a:lnTo>
                    <a:pt x="4" y="208"/>
                  </a:lnTo>
                  <a:lnTo>
                    <a:pt x="0" y="219"/>
                  </a:lnTo>
                  <a:lnTo>
                    <a:pt x="0" y="225"/>
                  </a:lnTo>
                  <a:lnTo>
                    <a:pt x="0" y="228"/>
                  </a:lnTo>
                  <a:lnTo>
                    <a:pt x="1" y="231"/>
                  </a:lnTo>
                  <a:lnTo>
                    <a:pt x="6" y="236"/>
                  </a:lnTo>
                  <a:lnTo>
                    <a:pt x="10" y="241"/>
                  </a:lnTo>
                  <a:lnTo>
                    <a:pt x="14" y="246"/>
                  </a:lnTo>
                  <a:lnTo>
                    <a:pt x="14" y="249"/>
                  </a:lnTo>
                  <a:lnTo>
                    <a:pt x="14" y="253"/>
                  </a:lnTo>
                  <a:lnTo>
                    <a:pt x="18" y="254"/>
                  </a:lnTo>
                  <a:lnTo>
                    <a:pt x="22" y="255"/>
                  </a:lnTo>
                  <a:lnTo>
                    <a:pt x="28" y="256"/>
                  </a:lnTo>
                  <a:lnTo>
                    <a:pt x="33" y="255"/>
                  </a:lnTo>
                  <a:lnTo>
                    <a:pt x="38" y="255"/>
                  </a:lnTo>
                  <a:lnTo>
                    <a:pt x="45" y="256"/>
                  </a:lnTo>
                  <a:lnTo>
                    <a:pt x="47" y="256"/>
                  </a:lnTo>
                  <a:lnTo>
                    <a:pt x="50" y="259"/>
                  </a:lnTo>
                  <a:lnTo>
                    <a:pt x="52" y="262"/>
                  </a:lnTo>
                  <a:lnTo>
                    <a:pt x="53" y="266"/>
                  </a:lnTo>
                  <a:lnTo>
                    <a:pt x="53" y="268"/>
                  </a:lnTo>
                  <a:lnTo>
                    <a:pt x="52" y="273"/>
                  </a:lnTo>
                  <a:lnTo>
                    <a:pt x="51" y="275"/>
                  </a:lnTo>
                  <a:lnTo>
                    <a:pt x="52" y="278"/>
                  </a:lnTo>
                  <a:lnTo>
                    <a:pt x="55" y="280"/>
                  </a:lnTo>
                  <a:lnTo>
                    <a:pt x="59" y="281"/>
                  </a:lnTo>
                  <a:lnTo>
                    <a:pt x="59" y="282"/>
                  </a:lnTo>
                  <a:lnTo>
                    <a:pt x="59" y="283"/>
                  </a:lnTo>
                  <a:lnTo>
                    <a:pt x="56" y="287"/>
                  </a:lnTo>
                  <a:lnTo>
                    <a:pt x="52" y="289"/>
                  </a:lnTo>
                  <a:lnTo>
                    <a:pt x="51" y="291"/>
                  </a:lnTo>
                  <a:lnTo>
                    <a:pt x="50" y="292"/>
                  </a:lnTo>
                  <a:lnTo>
                    <a:pt x="50" y="295"/>
                  </a:lnTo>
                  <a:lnTo>
                    <a:pt x="52" y="297"/>
                  </a:lnTo>
                  <a:lnTo>
                    <a:pt x="56" y="298"/>
                  </a:lnTo>
                  <a:lnTo>
                    <a:pt x="61" y="299"/>
                  </a:lnTo>
                  <a:lnTo>
                    <a:pt x="71" y="299"/>
                  </a:lnTo>
                  <a:lnTo>
                    <a:pt x="73" y="299"/>
                  </a:lnTo>
                  <a:lnTo>
                    <a:pt x="74" y="300"/>
                  </a:lnTo>
                  <a:lnTo>
                    <a:pt x="75" y="305"/>
                  </a:lnTo>
                  <a:lnTo>
                    <a:pt x="76" y="308"/>
                  </a:lnTo>
                  <a:lnTo>
                    <a:pt x="78" y="310"/>
                  </a:lnTo>
                  <a:lnTo>
                    <a:pt x="79" y="310"/>
                  </a:lnTo>
                  <a:lnTo>
                    <a:pt x="81" y="310"/>
                  </a:lnTo>
                  <a:lnTo>
                    <a:pt x="84" y="311"/>
                  </a:lnTo>
                  <a:lnTo>
                    <a:pt x="89" y="302"/>
                  </a:lnTo>
                  <a:lnTo>
                    <a:pt x="93" y="300"/>
                  </a:lnTo>
                  <a:lnTo>
                    <a:pt x="97" y="298"/>
                  </a:lnTo>
                  <a:lnTo>
                    <a:pt x="97" y="299"/>
                  </a:lnTo>
                  <a:lnTo>
                    <a:pt x="99" y="300"/>
                  </a:lnTo>
                  <a:lnTo>
                    <a:pt x="103" y="300"/>
                  </a:lnTo>
                  <a:lnTo>
                    <a:pt x="106" y="300"/>
                  </a:lnTo>
                  <a:lnTo>
                    <a:pt x="108" y="299"/>
                  </a:lnTo>
                  <a:lnTo>
                    <a:pt x="113" y="295"/>
                  </a:lnTo>
                  <a:lnTo>
                    <a:pt x="121" y="292"/>
                  </a:lnTo>
                  <a:lnTo>
                    <a:pt x="121" y="286"/>
                  </a:lnTo>
                  <a:lnTo>
                    <a:pt x="122" y="280"/>
                  </a:lnTo>
                  <a:lnTo>
                    <a:pt x="125" y="268"/>
                  </a:lnTo>
                  <a:lnTo>
                    <a:pt x="128" y="259"/>
                  </a:lnTo>
                  <a:lnTo>
                    <a:pt x="131" y="250"/>
                  </a:lnTo>
                  <a:lnTo>
                    <a:pt x="133" y="247"/>
                  </a:lnTo>
                  <a:lnTo>
                    <a:pt x="136" y="243"/>
                  </a:lnTo>
                  <a:lnTo>
                    <a:pt x="140" y="241"/>
                  </a:lnTo>
                  <a:lnTo>
                    <a:pt x="144" y="238"/>
                  </a:lnTo>
                  <a:lnTo>
                    <a:pt x="150" y="235"/>
                  </a:lnTo>
                  <a:lnTo>
                    <a:pt x="155" y="231"/>
                  </a:lnTo>
                  <a:lnTo>
                    <a:pt x="164" y="223"/>
                  </a:lnTo>
                  <a:lnTo>
                    <a:pt x="172" y="215"/>
                  </a:lnTo>
                  <a:lnTo>
                    <a:pt x="180" y="206"/>
                  </a:lnTo>
                  <a:lnTo>
                    <a:pt x="189" y="199"/>
                  </a:lnTo>
                  <a:lnTo>
                    <a:pt x="198" y="193"/>
                  </a:lnTo>
                  <a:lnTo>
                    <a:pt x="203" y="191"/>
                  </a:lnTo>
                  <a:lnTo>
                    <a:pt x="208" y="191"/>
                  </a:lnTo>
                  <a:lnTo>
                    <a:pt x="213" y="192"/>
                  </a:lnTo>
                  <a:lnTo>
                    <a:pt x="219" y="195"/>
                  </a:lnTo>
                  <a:lnTo>
                    <a:pt x="222" y="196"/>
                  </a:lnTo>
                  <a:lnTo>
                    <a:pt x="226" y="195"/>
                  </a:lnTo>
                  <a:lnTo>
                    <a:pt x="234" y="192"/>
                  </a:lnTo>
                  <a:lnTo>
                    <a:pt x="255" y="189"/>
                  </a:lnTo>
                  <a:lnTo>
                    <a:pt x="264" y="185"/>
                  </a:lnTo>
                  <a:lnTo>
                    <a:pt x="269" y="184"/>
                  </a:lnTo>
                  <a:lnTo>
                    <a:pt x="273" y="180"/>
                  </a:lnTo>
                  <a:lnTo>
                    <a:pt x="279" y="174"/>
                  </a:lnTo>
                  <a:lnTo>
                    <a:pt x="285" y="167"/>
                  </a:lnTo>
                  <a:lnTo>
                    <a:pt x="287" y="160"/>
                  </a:lnTo>
                  <a:lnTo>
                    <a:pt x="288" y="152"/>
                  </a:lnTo>
                  <a:lnTo>
                    <a:pt x="288" y="134"/>
                  </a:lnTo>
                  <a:lnTo>
                    <a:pt x="287" y="1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5" name="Freeform 694"/>
            <p:cNvSpPr>
              <a:spLocks/>
            </p:cNvSpPr>
            <p:nvPr/>
          </p:nvSpPr>
          <p:spPr bwMode="auto">
            <a:xfrm>
              <a:off x="4106867" y="4089400"/>
              <a:ext cx="166687" cy="184150"/>
            </a:xfrm>
            <a:custGeom>
              <a:avLst/>
              <a:gdLst>
                <a:gd name="T0" fmla="*/ 2147483647 w 113"/>
                <a:gd name="T1" fmla="*/ 2147483647 h 116"/>
                <a:gd name="T2" fmla="*/ 2147483647 w 113"/>
                <a:gd name="T3" fmla="*/ 2147483647 h 116"/>
                <a:gd name="T4" fmla="*/ 2147483647 w 113"/>
                <a:gd name="T5" fmla="*/ 2147483647 h 116"/>
                <a:gd name="T6" fmla="*/ 2147483647 w 113"/>
                <a:gd name="T7" fmla="*/ 2147483647 h 116"/>
                <a:gd name="T8" fmla="*/ 2147483647 w 113"/>
                <a:gd name="T9" fmla="*/ 2147483647 h 116"/>
                <a:gd name="T10" fmla="*/ 2147483647 w 113"/>
                <a:gd name="T11" fmla="*/ 2147483647 h 116"/>
                <a:gd name="T12" fmla="*/ 2147483647 w 113"/>
                <a:gd name="T13" fmla="*/ 2147483647 h 116"/>
                <a:gd name="T14" fmla="*/ 2147483647 w 113"/>
                <a:gd name="T15" fmla="*/ 2147483647 h 116"/>
                <a:gd name="T16" fmla="*/ 2147483647 w 113"/>
                <a:gd name="T17" fmla="*/ 2147483647 h 116"/>
                <a:gd name="T18" fmla="*/ 2147483647 w 113"/>
                <a:gd name="T19" fmla="*/ 2147483647 h 116"/>
                <a:gd name="T20" fmla="*/ 2147483647 w 113"/>
                <a:gd name="T21" fmla="*/ 2147483647 h 116"/>
                <a:gd name="T22" fmla="*/ 2147483647 w 113"/>
                <a:gd name="T23" fmla="*/ 2147483647 h 116"/>
                <a:gd name="T24" fmla="*/ 0 w 113"/>
                <a:gd name="T25" fmla="*/ 2147483647 h 116"/>
                <a:gd name="T26" fmla="*/ 0 w 113"/>
                <a:gd name="T27" fmla="*/ 2147483647 h 116"/>
                <a:gd name="T28" fmla="*/ 2147483647 w 113"/>
                <a:gd name="T29" fmla="*/ 2147483647 h 116"/>
                <a:gd name="T30" fmla="*/ 2147483647 w 113"/>
                <a:gd name="T31" fmla="*/ 2147483647 h 116"/>
                <a:gd name="T32" fmla="*/ 2147483647 w 113"/>
                <a:gd name="T33" fmla="*/ 2147483647 h 116"/>
                <a:gd name="T34" fmla="*/ 2147483647 w 113"/>
                <a:gd name="T35" fmla="*/ 2147483647 h 116"/>
                <a:gd name="T36" fmla="*/ 2147483647 w 113"/>
                <a:gd name="T37" fmla="*/ 2147483647 h 116"/>
                <a:gd name="T38" fmla="*/ 2147483647 w 113"/>
                <a:gd name="T39" fmla="*/ 2147483647 h 116"/>
                <a:gd name="T40" fmla="*/ 2147483647 w 113"/>
                <a:gd name="T41" fmla="*/ 2147483647 h 116"/>
                <a:gd name="T42" fmla="*/ 2147483647 w 113"/>
                <a:gd name="T43" fmla="*/ 2147483647 h 116"/>
                <a:gd name="T44" fmla="*/ 2147483647 w 113"/>
                <a:gd name="T45" fmla="*/ 2147483647 h 116"/>
                <a:gd name="T46" fmla="*/ 2147483647 w 113"/>
                <a:gd name="T47" fmla="*/ 2147483647 h 116"/>
                <a:gd name="T48" fmla="*/ 2147483647 w 113"/>
                <a:gd name="T49" fmla="*/ 2147483647 h 116"/>
                <a:gd name="T50" fmla="*/ 2147483647 w 113"/>
                <a:gd name="T51" fmla="*/ 2147483647 h 116"/>
                <a:gd name="T52" fmla="*/ 2147483647 w 113"/>
                <a:gd name="T53" fmla="*/ 2147483647 h 116"/>
                <a:gd name="T54" fmla="*/ 2147483647 w 113"/>
                <a:gd name="T55" fmla="*/ 2147483647 h 116"/>
                <a:gd name="T56" fmla="*/ 2147483647 w 113"/>
                <a:gd name="T57" fmla="*/ 2147483647 h 116"/>
                <a:gd name="T58" fmla="*/ 2147483647 w 113"/>
                <a:gd name="T59" fmla="*/ 2147483647 h 116"/>
                <a:gd name="T60" fmla="*/ 2147483647 w 113"/>
                <a:gd name="T61" fmla="*/ 2147483647 h 116"/>
                <a:gd name="T62" fmla="*/ 2147483647 w 113"/>
                <a:gd name="T63" fmla="*/ 2147483647 h 116"/>
                <a:gd name="T64" fmla="*/ 2147483647 w 113"/>
                <a:gd name="T65" fmla="*/ 2147483647 h 116"/>
                <a:gd name="T66" fmla="*/ 2147483647 w 113"/>
                <a:gd name="T67" fmla="*/ 2147483647 h 116"/>
                <a:gd name="T68" fmla="*/ 2147483647 w 113"/>
                <a:gd name="T69" fmla="*/ 2147483647 h 116"/>
                <a:gd name="T70" fmla="*/ 2147483647 w 113"/>
                <a:gd name="T71" fmla="*/ 2147483647 h 116"/>
                <a:gd name="T72" fmla="*/ 2147483647 w 113"/>
                <a:gd name="T73" fmla="*/ 2147483647 h 116"/>
                <a:gd name="T74" fmla="*/ 2147483647 w 113"/>
                <a:gd name="T75" fmla="*/ 2147483647 h 116"/>
                <a:gd name="T76" fmla="*/ 2147483647 w 113"/>
                <a:gd name="T77" fmla="*/ 2147483647 h 116"/>
                <a:gd name="T78" fmla="*/ 2147483647 w 113"/>
                <a:gd name="T79" fmla="*/ 2147483647 h 116"/>
                <a:gd name="T80" fmla="*/ 2147483647 w 113"/>
                <a:gd name="T81" fmla="*/ 2147483647 h 116"/>
                <a:gd name="T82" fmla="*/ 2147483647 w 113"/>
                <a:gd name="T83" fmla="*/ 2147483647 h 116"/>
                <a:gd name="T84" fmla="*/ 2147483647 w 113"/>
                <a:gd name="T85" fmla="*/ 2147483647 h 116"/>
                <a:gd name="T86" fmla="*/ 2147483647 w 113"/>
                <a:gd name="T87" fmla="*/ 2147483647 h 116"/>
                <a:gd name="T88" fmla="*/ 2147483647 w 113"/>
                <a:gd name="T89" fmla="*/ 2147483647 h 116"/>
                <a:gd name="T90" fmla="*/ 2147483647 w 113"/>
                <a:gd name="T91" fmla="*/ 2147483647 h 116"/>
                <a:gd name="T92" fmla="*/ 2147483647 w 113"/>
                <a:gd name="T93" fmla="*/ 0 h 116"/>
                <a:gd name="T94" fmla="*/ 2147483647 w 113"/>
                <a:gd name="T95" fmla="*/ 2147483647 h 116"/>
                <a:gd name="T96" fmla="*/ 2147483647 w 113"/>
                <a:gd name="T97" fmla="*/ 2147483647 h 116"/>
                <a:gd name="T98" fmla="*/ 2147483647 w 113"/>
                <a:gd name="T99" fmla="*/ 2147483647 h 116"/>
                <a:gd name="T100" fmla="*/ 2147483647 w 113"/>
                <a:gd name="T101" fmla="*/ 2147483647 h 116"/>
                <a:gd name="T102" fmla="*/ 2147483647 w 113"/>
                <a:gd name="T103" fmla="*/ 2147483647 h 116"/>
                <a:gd name="T104" fmla="*/ 2147483647 w 113"/>
                <a:gd name="T105" fmla="*/ 2147483647 h 116"/>
                <a:gd name="T106" fmla="*/ 2147483647 w 113"/>
                <a:gd name="T107" fmla="*/ 2147483647 h 116"/>
                <a:gd name="T108" fmla="*/ 2147483647 w 113"/>
                <a:gd name="T109" fmla="*/ 2147483647 h 1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
                <a:gd name="T166" fmla="*/ 0 h 116"/>
                <a:gd name="T167" fmla="*/ 113 w 113"/>
                <a:gd name="T168" fmla="*/ 116 h 1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 h="116">
                  <a:moveTo>
                    <a:pt x="24" y="22"/>
                  </a:moveTo>
                  <a:lnTo>
                    <a:pt x="24" y="22"/>
                  </a:lnTo>
                  <a:lnTo>
                    <a:pt x="21" y="30"/>
                  </a:lnTo>
                  <a:lnTo>
                    <a:pt x="20" y="39"/>
                  </a:lnTo>
                  <a:lnTo>
                    <a:pt x="19" y="39"/>
                  </a:lnTo>
                  <a:lnTo>
                    <a:pt x="17" y="39"/>
                  </a:lnTo>
                  <a:lnTo>
                    <a:pt x="15" y="39"/>
                  </a:lnTo>
                  <a:lnTo>
                    <a:pt x="14" y="39"/>
                  </a:lnTo>
                  <a:lnTo>
                    <a:pt x="12" y="41"/>
                  </a:lnTo>
                  <a:lnTo>
                    <a:pt x="12" y="43"/>
                  </a:lnTo>
                  <a:lnTo>
                    <a:pt x="14" y="45"/>
                  </a:lnTo>
                  <a:lnTo>
                    <a:pt x="16" y="49"/>
                  </a:lnTo>
                  <a:lnTo>
                    <a:pt x="16" y="50"/>
                  </a:lnTo>
                  <a:lnTo>
                    <a:pt x="15" y="51"/>
                  </a:lnTo>
                  <a:lnTo>
                    <a:pt x="12" y="55"/>
                  </a:lnTo>
                  <a:lnTo>
                    <a:pt x="7" y="57"/>
                  </a:lnTo>
                  <a:lnTo>
                    <a:pt x="8" y="62"/>
                  </a:lnTo>
                  <a:lnTo>
                    <a:pt x="7" y="68"/>
                  </a:lnTo>
                  <a:lnTo>
                    <a:pt x="5" y="73"/>
                  </a:lnTo>
                  <a:lnTo>
                    <a:pt x="1" y="76"/>
                  </a:lnTo>
                  <a:lnTo>
                    <a:pt x="0" y="78"/>
                  </a:lnTo>
                  <a:lnTo>
                    <a:pt x="0" y="81"/>
                  </a:lnTo>
                  <a:lnTo>
                    <a:pt x="0" y="83"/>
                  </a:lnTo>
                  <a:lnTo>
                    <a:pt x="1" y="83"/>
                  </a:lnTo>
                  <a:lnTo>
                    <a:pt x="5" y="82"/>
                  </a:lnTo>
                  <a:lnTo>
                    <a:pt x="7" y="83"/>
                  </a:lnTo>
                  <a:lnTo>
                    <a:pt x="8" y="83"/>
                  </a:lnTo>
                  <a:lnTo>
                    <a:pt x="11" y="86"/>
                  </a:lnTo>
                  <a:lnTo>
                    <a:pt x="12" y="89"/>
                  </a:lnTo>
                  <a:lnTo>
                    <a:pt x="16" y="93"/>
                  </a:lnTo>
                  <a:lnTo>
                    <a:pt x="17" y="94"/>
                  </a:lnTo>
                  <a:lnTo>
                    <a:pt x="19" y="94"/>
                  </a:lnTo>
                  <a:lnTo>
                    <a:pt x="22" y="93"/>
                  </a:lnTo>
                  <a:lnTo>
                    <a:pt x="25" y="94"/>
                  </a:lnTo>
                  <a:lnTo>
                    <a:pt x="26" y="94"/>
                  </a:lnTo>
                  <a:lnTo>
                    <a:pt x="26" y="100"/>
                  </a:lnTo>
                  <a:lnTo>
                    <a:pt x="26" y="106"/>
                  </a:lnTo>
                  <a:lnTo>
                    <a:pt x="25" y="110"/>
                  </a:lnTo>
                  <a:lnTo>
                    <a:pt x="26" y="116"/>
                  </a:lnTo>
                  <a:lnTo>
                    <a:pt x="39" y="116"/>
                  </a:lnTo>
                  <a:lnTo>
                    <a:pt x="45" y="115"/>
                  </a:lnTo>
                  <a:lnTo>
                    <a:pt x="52" y="115"/>
                  </a:lnTo>
                  <a:lnTo>
                    <a:pt x="60" y="112"/>
                  </a:lnTo>
                  <a:lnTo>
                    <a:pt x="69" y="108"/>
                  </a:lnTo>
                  <a:lnTo>
                    <a:pt x="78" y="107"/>
                  </a:lnTo>
                  <a:lnTo>
                    <a:pt x="82" y="107"/>
                  </a:lnTo>
                  <a:lnTo>
                    <a:pt x="87" y="108"/>
                  </a:lnTo>
                  <a:lnTo>
                    <a:pt x="91" y="109"/>
                  </a:lnTo>
                  <a:lnTo>
                    <a:pt x="96" y="109"/>
                  </a:lnTo>
                  <a:lnTo>
                    <a:pt x="105" y="108"/>
                  </a:lnTo>
                  <a:lnTo>
                    <a:pt x="105" y="105"/>
                  </a:lnTo>
                  <a:lnTo>
                    <a:pt x="105" y="101"/>
                  </a:lnTo>
                  <a:lnTo>
                    <a:pt x="105" y="96"/>
                  </a:lnTo>
                  <a:lnTo>
                    <a:pt x="104" y="93"/>
                  </a:lnTo>
                  <a:lnTo>
                    <a:pt x="100" y="88"/>
                  </a:lnTo>
                  <a:lnTo>
                    <a:pt x="99" y="82"/>
                  </a:lnTo>
                  <a:lnTo>
                    <a:pt x="99" y="76"/>
                  </a:lnTo>
                  <a:lnTo>
                    <a:pt x="100" y="70"/>
                  </a:lnTo>
                  <a:lnTo>
                    <a:pt x="106" y="57"/>
                  </a:lnTo>
                  <a:lnTo>
                    <a:pt x="111" y="44"/>
                  </a:lnTo>
                  <a:lnTo>
                    <a:pt x="113" y="37"/>
                  </a:lnTo>
                  <a:lnTo>
                    <a:pt x="113" y="30"/>
                  </a:lnTo>
                  <a:lnTo>
                    <a:pt x="113" y="23"/>
                  </a:lnTo>
                  <a:lnTo>
                    <a:pt x="110" y="16"/>
                  </a:lnTo>
                  <a:lnTo>
                    <a:pt x="109" y="13"/>
                  </a:lnTo>
                  <a:lnTo>
                    <a:pt x="106" y="11"/>
                  </a:lnTo>
                  <a:lnTo>
                    <a:pt x="101" y="9"/>
                  </a:lnTo>
                  <a:lnTo>
                    <a:pt x="97" y="10"/>
                  </a:lnTo>
                  <a:lnTo>
                    <a:pt x="90" y="14"/>
                  </a:lnTo>
                  <a:lnTo>
                    <a:pt x="87" y="14"/>
                  </a:lnTo>
                  <a:lnTo>
                    <a:pt x="85" y="14"/>
                  </a:lnTo>
                  <a:lnTo>
                    <a:pt x="81" y="12"/>
                  </a:lnTo>
                  <a:lnTo>
                    <a:pt x="72" y="3"/>
                  </a:lnTo>
                  <a:lnTo>
                    <a:pt x="69" y="1"/>
                  </a:lnTo>
                  <a:lnTo>
                    <a:pt x="67" y="0"/>
                  </a:lnTo>
                  <a:lnTo>
                    <a:pt x="63" y="1"/>
                  </a:lnTo>
                  <a:lnTo>
                    <a:pt x="60" y="3"/>
                  </a:lnTo>
                  <a:lnTo>
                    <a:pt x="53" y="6"/>
                  </a:lnTo>
                  <a:lnTo>
                    <a:pt x="48" y="10"/>
                  </a:lnTo>
                  <a:lnTo>
                    <a:pt x="45" y="11"/>
                  </a:lnTo>
                  <a:lnTo>
                    <a:pt x="43" y="11"/>
                  </a:lnTo>
                  <a:lnTo>
                    <a:pt x="39" y="11"/>
                  </a:lnTo>
                  <a:lnTo>
                    <a:pt x="36" y="10"/>
                  </a:lnTo>
                  <a:lnTo>
                    <a:pt x="36" y="9"/>
                  </a:lnTo>
                  <a:lnTo>
                    <a:pt x="33" y="11"/>
                  </a:lnTo>
                  <a:lnTo>
                    <a:pt x="29" y="13"/>
                  </a:lnTo>
                  <a:lnTo>
                    <a:pt x="24" y="2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6" name="Freeform 695"/>
            <p:cNvSpPr>
              <a:spLocks/>
            </p:cNvSpPr>
            <p:nvPr/>
          </p:nvSpPr>
          <p:spPr bwMode="auto">
            <a:xfrm>
              <a:off x="4019552" y="3630616"/>
              <a:ext cx="422275" cy="493712"/>
            </a:xfrm>
            <a:custGeom>
              <a:avLst/>
              <a:gdLst>
                <a:gd name="T0" fmla="*/ 2147483647 w 288"/>
                <a:gd name="T1" fmla="*/ 2147483647 h 311"/>
                <a:gd name="T2" fmla="*/ 2147483647 w 288"/>
                <a:gd name="T3" fmla="*/ 2147483647 h 311"/>
                <a:gd name="T4" fmla="*/ 2147483647 w 288"/>
                <a:gd name="T5" fmla="*/ 2147483647 h 311"/>
                <a:gd name="T6" fmla="*/ 2147483647 w 288"/>
                <a:gd name="T7" fmla="*/ 2147483647 h 311"/>
                <a:gd name="T8" fmla="*/ 2147483647 w 288"/>
                <a:gd name="T9" fmla="*/ 2147483647 h 311"/>
                <a:gd name="T10" fmla="*/ 2147483647 w 288"/>
                <a:gd name="T11" fmla="*/ 2147483647 h 311"/>
                <a:gd name="T12" fmla="*/ 2147483647 w 288"/>
                <a:gd name="T13" fmla="*/ 2147483647 h 311"/>
                <a:gd name="T14" fmla="*/ 2147483647 w 288"/>
                <a:gd name="T15" fmla="*/ 2147483647 h 311"/>
                <a:gd name="T16" fmla="*/ 2147483647 w 288"/>
                <a:gd name="T17" fmla="*/ 2147483647 h 311"/>
                <a:gd name="T18" fmla="*/ 2147483647 w 288"/>
                <a:gd name="T19" fmla="*/ 2147483647 h 311"/>
                <a:gd name="T20" fmla="*/ 2147483647 w 288"/>
                <a:gd name="T21" fmla="*/ 0 h 311"/>
                <a:gd name="T22" fmla="*/ 2147483647 w 288"/>
                <a:gd name="T23" fmla="*/ 2147483647 h 311"/>
                <a:gd name="T24" fmla="*/ 2147483647 w 288"/>
                <a:gd name="T25" fmla="*/ 2147483647 h 311"/>
                <a:gd name="T26" fmla="*/ 2147483647 w 288"/>
                <a:gd name="T27" fmla="*/ 2147483647 h 311"/>
                <a:gd name="T28" fmla="*/ 2147483647 w 288"/>
                <a:gd name="T29" fmla="*/ 2147483647 h 311"/>
                <a:gd name="T30" fmla="*/ 2147483647 w 288"/>
                <a:gd name="T31" fmla="*/ 2147483647 h 311"/>
                <a:gd name="T32" fmla="*/ 2147483647 w 288"/>
                <a:gd name="T33" fmla="*/ 2147483647 h 311"/>
                <a:gd name="T34" fmla="*/ 2147483647 w 288"/>
                <a:gd name="T35" fmla="*/ 2147483647 h 311"/>
                <a:gd name="T36" fmla="*/ 2147483647 w 288"/>
                <a:gd name="T37" fmla="*/ 2147483647 h 311"/>
                <a:gd name="T38" fmla="*/ 2147483647 w 288"/>
                <a:gd name="T39" fmla="*/ 2147483647 h 311"/>
                <a:gd name="T40" fmla="*/ 2147483647 w 288"/>
                <a:gd name="T41" fmla="*/ 2147483647 h 311"/>
                <a:gd name="T42" fmla="*/ 2147483647 w 288"/>
                <a:gd name="T43" fmla="*/ 2147483647 h 311"/>
                <a:gd name="T44" fmla="*/ 0 w 288"/>
                <a:gd name="T45" fmla="*/ 2147483647 h 311"/>
                <a:gd name="T46" fmla="*/ 2147483647 w 288"/>
                <a:gd name="T47" fmla="*/ 2147483647 h 311"/>
                <a:gd name="T48" fmla="*/ 2147483647 w 288"/>
                <a:gd name="T49" fmla="*/ 2147483647 h 311"/>
                <a:gd name="T50" fmla="*/ 2147483647 w 288"/>
                <a:gd name="T51" fmla="*/ 2147483647 h 311"/>
                <a:gd name="T52" fmla="*/ 2147483647 w 288"/>
                <a:gd name="T53" fmla="*/ 2147483647 h 311"/>
                <a:gd name="T54" fmla="*/ 2147483647 w 288"/>
                <a:gd name="T55" fmla="*/ 2147483647 h 311"/>
                <a:gd name="T56" fmla="*/ 2147483647 w 288"/>
                <a:gd name="T57" fmla="*/ 2147483647 h 311"/>
                <a:gd name="T58" fmla="*/ 2147483647 w 288"/>
                <a:gd name="T59" fmla="*/ 2147483647 h 311"/>
                <a:gd name="T60" fmla="*/ 2147483647 w 288"/>
                <a:gd name="T61" fmla="*/ 2147483647 h 311"/>
                <a:gd name="T62" fmla="*/ 2147483647 w 288"/>
                <a:gd name="T63" fmla="*/ 2147483647 h 311"/>
                <a:gd name="T64" fmla="*/ 2147483647 w 288"/>
                <a:gd name="T65" fmla="*/ 2147483647 h 311"/>
                <a:gd name="T66" fmla="*/ 2147483647 w 288"/>
                <a:gd name="T67" fmla="*/ 2147483647 h 311"/>
                <a:gd name="T68" fmla="*/ 2147483647 w 288"/>
                <a:gd name="T69" fmla="*/ 2147483647 h 311"/>
                <a:gd name="T70" fmla="*/ 2147483647 w 288"/>
                <a:gd name="T71" fmla="*/ 2147483647 h 311"/>
                <a:gd name="T72" fmla="*/ 2147483647 w 288"/>
                <a:gd name="T73" fmla="*/ 2147483647 h 311"/>
                <a:gd name="T74" fmla="*/ 2147483647 w 288"/>
                <a:gd name="T75" fmla="*/ 2147483647 h 311"/>
                <a:gd name="T76" fmla="*/ 2147483647 w 288"/>
                <a:gd name="T77" fmla="*/ 2147483647 h 311"/>
                <a:gd name="T78" fmla="*/ 2147483647 w 288"/>
                <a:gd name="T79" fmla="*/ 2147483647 h 311"/>
                <a:gd name="T80" fmla="*/ 2147483647 w 288"/>
                <a:gd name="T81" fmla="*/ 2147483647 h 311"/>
                <a:gd name="T82" fmla="*/ 2147483647 w 288"/>
                <a:gd name="T83" fmla="*/ 2147483647 h 311"/>
                <a:gd name="T84" fmla="*/ 2147483647 w 288"/>
                <a:gd name="T85" fmla="*/ 2147483647 h 311"/>
                <a:gd name="T86" fmla="*/ 2147483647 w 288"/>
                <a:gd name="T87" fmla="*/ 2147483647 h 311"/>
                <a:gd name="T88" fmla="*/ 2147483647 w 288"/>
                <a:gd name="T89" fmla="*/ 2147483647 h 311"/>
                <a:gd name="T90" fmla="*/ 2147483647 w 288"/>
                <a:gd name="T91" fmla="*/ 2147483647 h 311"/>
                <a:gd name="T92" fmla="*/ 2147483647 w 288"/>
                <a:gd name="T93" fmla="*/ 2147483647 h 311"/>
                <a:gd name="T94" fmla="*/ 2147483647 w 288"/>
                <a:gd name="T95" fmla="*/ 2147483647 h 311"/>
                <a:gd name="T96" fmla="*/ 2147483647 w 288"/>
                <a:gd name="T97" fmla="*/ 2147483647 h 311"/>
                <a:gd name="T98" fmla="*/ 2147483647 w 288"/>
                <a:gd name="T99" fmla="*/ 2147483647 h 311"/>
                <a:gd name="T100" fmla="*/ 2147483647 w 288"/>
                <a:gd name="T101" fmla="*/ 2147483647 h 311"/>
                <a:gd name="T102" fmla="*/ 2147483647 w 288"/>
                <a:gd name="T103" fmla="*/ 2147483647 h 311"/>
                <a:gd name="T104" fmla="*/ 2147483647 w 288"/>
                <a:gd name="T105" fmla="*/ 2147483647 h 311"/>
                <a:gd name="T106" fmla="*/ 2147483647 w 288"/>
                <a:gd name="T107" fmla="*/ 2147483647 h 311"/>
                <a:gd name="T108" fmla="*/ 2147483647 w 288"/>
                <a:gd name="T109" fmla="*/ 2147483647 h 311"/>
                <a:gd name="T110" fmla="*/ 2147483647 w 288"/>
                <a:gd name="T111" fmla="*/ 2147483647 h 311"/>
                <a:gd name="T112" fmla="*/ 2147483647 w 288"/>
                <a:gd name="T113" fmla="*/ 2147483647 h 311"/>
                <a:gd name="T114" fmla="*/ 2147483647 w 288"/>
                <a:gd name="T115" fmla="*/ 2147483647 h 311"/>
                <a:gd name="T116" fmla="*/ 2147483647 w 288"/>
                <a:gd name="T117" fmla="*/ 2147483647 h 3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8"/>
                <a:gd name="T178" fmla="*/ 0 h 311"/>
                <a:gd name="T179" fmla="*/ 288 w 288"/>
                <a:gd name="T180" fmla="*/ 311 h 3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8" h="311">
                  <a:moveTo>
                    <a:pt x="287" y="117"/>
                  </a:moveTo>
                  <a:lnTo>
                    <a:pt x="287" y="117"/>
                  </a:lnTo>
                  <a:lnTo>
                    <a:pt x="283" y="117"/>
                  </a:lnTo>
                  <a:lnTo>
                    <a:pt x="278" y="117"/>
                  </a:lnTo>
                  <a:lnTo>
                    <a:pt x="275" y="115"/>
                  </a:lnTo>
                  <a:lnTo>
                    <a:pt x="273" y="111"/>
                  </a:lnTo>
                  <a:lnTo>
                    <a:pt x="273" y="109"/>
                  </a:lnTo>
                  <a:lnTo>
                    <a:pt x="273" y="105"/>
                  </a:lnTo>
                  <a:lnTo>
                    <a:pt x="275" y="102"/>
                  </a:lnTo>
                  <a:lnTo>
                    <a:pt x="275" y="100"/>
                  </a:lnTo>
                  <a:lnTo>
                    <a:pt x="274" y="97"/>
                  </a:lnTo>
                  <a:lnTo>
                    <a:pt x="272" y="96"/>
                  </a:lnTo>
                  <a:lnTo>
                    <a:pt x="267" y="94"/>
                  </a:lnTo>
                  <a:lnTo>
                    <a:pt x="265" y="94"/>
                  </a:lnTo>
                  <a:lnTo>
                    <a:pt x="264" y="91"/>
                  </a:lnTo>
                  <a:lnTo>
                    <a:pt x="264" y="89"/>
                  </a:lnTo>
                  <a:lnTo>
                    <a:pt x="260" y="86"/>
                  </a:lnTo>
                  <a:lnTo>
                    <a:pt x="256" y="85"/>
                  </a:lnTo>
                  <a:lnTo>
                    <a:pt x="247" y="83"/>
                  </a:lnTo>
                  <a:lnTo>
                    <a:pt x="245" y="83"/>
                  </a:lnTo>
                  <a:lnTo>
                    <a:pt x="242" y="82"/>
                  </a:lnTo>
                  <a:lnTo>
                    <a:pt x="242" y="81"/>
                  </a:lnTo>
                  <a:lnTo>
                    <a:pt x="240" y="75"/>
                  </a:lnTo>
                  <a:lnTo>
                    <a:pt x="236" y="69"/>
                  </a:lnTo>
                  <a:lnTo>
                    <a:pt x="138" y="1"/>
                  </a:lnTo>
                  <a:lnTo>
                    <a:pt x="115" y="0"/>
                  </a:lnTo>
                  <a:lnTo>
                    <a:pt x="115" y="180"/>
                  </a:lnTo>
                  <a:lnTo>
                    <a:pt x="113" y="180"/>
                  </a:lnTo>
                  <a:lnTo>
                    <a:pt x="80" y="179"/>
                  </a:lnTo>
                  <a:lnTo>
                    <a:pt x="63" y="179"/>
                  </a:lnTo>
                  <a:lnTo>
                    <a:pt x="47" y="180"/>
                  </a:lnTo>
                  <a:lnTo>
                    <a:pt x="43" y="181"/>
                  </a:lnTo>
                  <a:lnTo>
                    <a:pt x="38" y="184"/>
                  </a:lnTo>
                  <a:lnTo>
                    <a:pt x="35" y="186"/>
                  </a:lnTo>
                  <a:lnTo>
                    <a:pt x="33" y="191"/>
                  </a:lnTo>
                  <a:lnTo>
                    <a:pt x="32" y="192"/>
                  </a:lnTo>
                  <a:lnTo>
                    <a:pt x="29" y="193"/>
                  </a:lnTo>
                  <a:lnTo>
                    <a:pt x="27" y="193"/>
                  </a:lnTo>
                  <a:lnTo>
                    <a:pt x="25" y="193"/>
                  </a:lnTo>
                  <a:lnTo>
                    <a:pt x="23" y="191"/>
                  </a:lnTo>
                  <a:lnTo>
                    <a:pt x="21" y="188"/>
                  </a:lnTo>
                  <a:lnTo>
                    <a:pt x="21" y="186"/>
                  </a:lnTo>
                  <a:lnTo>
                    <a:pt x="23" y="184"/>
                  </a:lnTo>
                  <a:lnTo>
                    <a:pt x="19" y="184"/>
                  </a:lnTo>
                  <a:lnTo>
                    <a:pt x="15" y="187"/>
                  </a:lnTo>
                  <a:lnTo>
                    <a:pt x="14" y="191"/>
                  </a:lnTo>
                  <a:lnTo>
                    <a:pt x="13" y="194"/>
                  </a:lnTo>
                  <a:lnTo>
                    <a:pt x="11" y="201"/>
                  </a:lnTo>
                  <a:lnTo>
                    <a:pt x="11" y="205"/>
                  </a:lnTo>
                  <a:lnTo>
                    <a:pt x="13" y="210"/>
                  </a:lnTo>
                  <a:lnTo>
                    <a:pt x="7" y="209"/>
                  </a:lnTo>
                  <a:lnTo>
                    <a:pt x="4" y="207"/>
                  </a:lnTo>
                  <a:lnTo>
                    <a:pt x="0" y="219"/>
                  </a:lnTo>
                  <a:lnTo>
                    <a:pt x="0" y="225"/>
                  </a:lnTo>
                  <a:lnTo>
                    <a:pt x="0" y="228"/>
                  </a:lnTo>
                  <a:lnTo>
                    <a:pt x="1" y="231"/>
                  </a:lnTo>
                  <a:lnTo>
                    <a:pt x="6" y="236"/>
                  </a:lnTo>
                  <a:lnTo>
                    <a:pt x="10" y="241"/>
                  </a:lnTo>
                  <a:lnTo>
                    <a:pt x="14" y="245"/>
                  </a:lnTo>
                  <a:lnTo>
                    <a:pt x="14" y="249"/>
                  </a:lnTo>
                  <a:lnTo>
                    <a:pt x="14" y="252"/>
                  </a:lnTo>
                  <a:lnTo>
                    <a:pt x="18" y="254"/>
                  </a:lnTo>
                  <a:lnTo>
                    <a:pt x="21" y="255"/>
                  </a:lnTo>
                  <a:lnTo>
                    <a:pt x="28" y="256"/>
                  </a:lnTo>
                  <a:lnTo>
                    <a:pt x="33" y="255"/>
                  </a:lnTo>
                  <a:lnTo>
                    <a:pt x="38" y="255"/>
                  </a:lnTo>
                  <a:lnTo>
                    <a:pt x="44" y="256"/>
                  </a:lnTo>
                  <a:lnTo>
                    <a:pt x="47" y="256"/>
                  </a:lnTo>
                  <a:lnTo>
                    <a:pt x="49" y="258"/>
                  </a:lnTo>
                  <a:lnTo>
                    <a:pt x="52" y="262"/>
                  </a:lnTo>
                  <a:lnTo>
                    <a:pt x="53" y="266"/>
                  </a:lnTo>
                  <a:lnTo>
                    <a:pt x="53" y="268"/>
                  </a:lnTo>
                  <a:lnTo>
                    <a:pt x="52" y="273"/>
                  </a:lnTo>
                  <a:lnTo>
                    <a:pt x="51" y="275"/>
                  </a:lnTo>
                  <a:lnTo>
                    <a:pt x="52" y="277"/>
                  </a:lnTo>
                  <a:lnTo>
                    <a:pt x="54" y="280"/>
                  </a:lnTo>
                  <a:lnTo>
                    <a:pt x="58" y="281"/>
                  </a:lnTo>
                  <a:lnTo>
                    <a:pt x="58" y="282"/>
                  </a:lnTo>
                  <a:lnTo>
                    <a:pt x="58" y="283"/>
                  </a:lnTo>
                  <a:lnTo>
                    <a:pt x="56" y="287"/>
                  </a:lnTo>
                  <a:lnTo>
                    <a:pt x="52" y="289"/>
                  </a:lnTo>
                  <a:lnTo>
                    <a:pt x="51" y="290"/>
                  </a:lnTo>
                  <a:lnTo>
                    <a:pt x="49" y="292"/>
                  </a:lnTo>
                  <a:lnTo>
                    <a:pt x="49" y="295"/>
                  </a:lnTo>
                  <a:lnTo>
                    <a:pt x="52" y="296"/>
                  </a:lnTo>
                  <a:lnTo>
                    <a:pt x="56" y="298"/>
                  </a:lnTo>
                  <a:lnTo>
                    <a:pt x="61" y="299"/>
                  </a:lnTo>
                  <a:lnTo>
                    <a:pt x="71" y="299"/>
                  </a:lnTo>
                  <a:lnTo>
                    <a:pt x="72" y="299"/>
                  </a:lnTo>
                  <a:lnTo>
                    <a:pt x="74" y="300"/>
                  </a:lnTo>
                  <a:lnTo>
                    <a:pt x="75" y="305"/>
                  </a:lnTo>
                  <a:lnTo>
                    <a:pt x="76" y="308"/>
                  </a:lnTo>
                  <a:lnTo>
                    <a:pt x="77" y="309"/>
                  </a:lnTo>
                  <a:lnTo>
                    <a:pt x="79" y="309"/>
                  </a:lnTo>
                  <a:lnTo>
                    <a:pt x="81" y="309"/>
                  </a:lnTo>
                  <a:lnTo>
                    <a:pt x="84" y="311"/>
                  </a:lnTo>
                  <a:lnTo>
                    <a:pt x="89" y="302"/>
                  </a:lnTo>
                  <a:lnTo>
                    <a:pt x="93" y="300"/>
                  </a:lnTo>
                  <a:lnTo>
                    <a:pt x="96" y="298"/>
                  </a:lnTo>
                  <a:lnTo>
                    <a:pt x="96" y="299"/>
                  </a:lnTo>
                  <a:lnTo>
                    <a:pt x="99" y="300"/>
                  </a:lnTo>
                  <a:lnTo>
                    <a:pt x="103" y="300"/>
                  </a:lnTo>
                  <a:lnTo>
                    <a:pt x="105" y="300"/>
                  </a:lnTo>
                  <a:lnTo>
                    <a:pt x="108" y="299"/>
                  </a:lnTo>
                  <a:lnTo>
                    <a:pt x="113" y="295"/>
                  </a:lnTo>
                  <a:lnTo>
                    <a:pt x="120" y="292"/>
                  </a:lnTo>
                  <a:lnTo>
                    <a:pt x="120" y="286"/>
                  </a:lnTo>
                  <a:lnTo>
                    <a:pt x="122" y="280"/>
                  </a:lnTo>
                  <a:lnTo>
                    <a:pt x="124" y="268"/>
                  </a:lnTo>
                  <a:lnTo>
                    <a:pt x="128" y="258"/>
                  </a:lnTo>
                  <a:lnTo>
                    <a:pt x="131" y="250"/>
                  </a:lnTo>
                  <a:lnTo>
                    <a:pt x="133" y="247"/>
                  </a:lnTo>
                  <a:lnTo>
                    <a:pt x="136" y="243"/>
                  </a:lnTo>
                  <a:lnTo>
                    <a:pt x="140" y="241"/>
                  </a:lnTo>
                  <a:lnTo>
                    <a:pt x="143" y="238"/>
                  </a:lnTo>
                  <a:lnTo>
                    <a:pt x="150" y="235"/>
                  </a:lnTo>
                  <a:lnTo>
                    <a:pt x="155" y="231"/>
                  </a:lnTo>
                  <a:lnTo>
                    <a:pt x="164" y="223"/>
                  </a:lnTo>
                  <a:lnTo>
                    <a:pt x="171" y="215"/>
                  </a:lnTo>
                  <a:lnTo>
                    <a:pt x="180" y="206"/>
                  </a:lnTo>
                  <a:lnTo>
                    <a:pt x="189" y="199"/>
                  </a:lnTo>
                  <a:lnTo>
                    <a:pt x="198" y="193"/>
                  </a:lnTo>
                  <a:lnTo>
                    <a:pt x="203" y="191"/>
                  </a:lnTo>
                  <a:lnTo>
                    <a:pt x="208" y="191"/>
                  </a:lnTo>
                  <a:lnTo>
                    <a:pt x="213" y="192"/>
                  </a:lnTo>
                  <a:lnTo>
                    <a:pt x="218" y="194"/>
                  </a:lnTo>
                  <a:lnTo>
                    <a:pt x="222" y="196"/>
                  </a:lnTo>
                  <a:lnTo>
                    <a:pt x="226" y="194"/>
                  </a:lnTo>
                  <a:lnTo>
                    <a:pt x="234" y="192"/>
                  </a:lnTo>
                  <a:lnTo>
                    <a:pt x="255" y="188"/>
                  </a:lnTo>
                  <a:lnTo>
                    <a:pt x="264" y="185"/>
                  </a:lnTo>
                  <a:lnTo>
                    <a:pt x="269" y="184"/>
                  </a:lnTo>
                  <a:lnTo>
                    <a:pt x="273" y="180"/>
                  </a:lnTo>
                  <a:lnTo>
                    <a:pt x="279" y="174"/>
                  </a:lnTo>
                  <a:lnTo>
                    <a:pt x="284" y="167"/>
                  </a:lnTo>
                  <a:lnTo>
                    <a:pt x="287" y="160"/>
                  </a:lnTo>
                  <a:lnTo>
                    <a:pt x="288" y="152"/>
                  </a:lnTo>
                  <a:lnTo>
                    <a:pt x="288" y="134"/>
                  </a:lnTo>
                  <a:lnTo>
                    <a:pt x="287" y="1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7" name="Freeform 696"/>
            <p:cNvSpPr>
              <a:spLocks/>
            </p:cNvSpPr>
            <p:nvPr/>
          </p:nvSpPr>
          <p:spPr bwMode="auto">
            <a:xfrm>
              <a:off x="4254503" y="4060829"/>
              <a:ext cx="117475" cy="206375"/>
            </a:xfrm>
            <a:custGeom>
              <a:avLst/>
              <a:gdLst>
                <a:gd name="T0" fmla="*/ 2147483647 w 81"/>
                <a:gd name="T1" fmla="*/ 2147483647 h 130"/>
                <a:gd name="T2" fmla="*/ 2147483647 w 81"/>
                <a:gd name="T3" fmla="*/ 2147483647 h 130"/>
                <a:gd name="T4" fmla="*/ 2147483647 w 81"/>
                <a:gd name="T5" fmla="*/ 2147483647 h 130"/>
                <a:gd name="T6" fmla="*/ 2147483647 w 81"/>
                <a:gd name="T7" fmla="*/ 2147483647 h 130"/>
                <a:gd name="T8" fmla="*/ 2147483647 w 81"/>
                <a:gd name="T9" fmla="*/ 2147483647 h 130"/>
                <a:gd name="T10" fmla="*/ 2147483647 w 81"/>
                <a:gd name="T11" fmla="*/ 2147483647 h 130"/>
                <a:gd name="T12" fmla="*/ 0 w 81"/>
                <a:gd name="T13" fmla="*/ 2147483647 h 130"/>
                <a:gd name="T14" fmla="*/ 0 w 81"/>
                <a:gd name="T15" fmla="*/ 2147483647 h 130"/>
                <a:gd name="T16" fmla="*/ 2147483647 w 81"/>
                <a:gd name="T17" fmla="*/ 2147483647 h 130"/>
                <a:gd name="T18" fmla="*/ 2147483647 w 81"/>
                <a:gd name="T19" fmla="*/ 2147483647 h 130"/>
                <a:gd name="T20" fmla="*/ 2147483647 w 81"/>
                <a:gd name="T21" fmla="*/ 2147483647 h 130"/>
                <a:gd name="T22" fmla="*/ 2147483647 w 81"/>
                <a:gd name="T23" fmla="*/ 2147483647 h 130"/>
                <a:gd name="T24" fmla="*/ 2147483647 w 81"/>
                <a:gd name="T25" fmla="*/ 2147483647 h 130"/>
                <a:gd name="T26" fmla="*/ 2147483647 w 81"/>
                <a:gd name="T27" fmla="*/ 2147483647 h 130"/>
                <a:gd name="T28" fmla="*/ 2147483647 w 81"/>
                <a:gd name="T29" fmla="*/ 2147483647 h 130"/>
                <a:gd name="T30" fmla="*/ 2147483647 w 81"/>
                <a:gd name="T31" fmla="*/ 2147483647 h 130"/>
                <a:gd name="T32" fmla="*/ 2147483647 w 81"/>
                <a:gd name="T33" fmla="*/ 2147483647 h 130"/>
                <a:gd name="T34" fmla="*/ 2147483647 w 81"/>
                <a:gd name="T35" fmla="*/ 2147483647 h 130"/>
                <a:gd name="T36" fmla="*/ 2147483647 w 81"/>
                <a:gd name="T37" fmla="*/ 2147483647 h 130"/>
                <a:gd name="T38" fmla="*/ 2147483647 w 81"/>
                <a:gd name="T39" fmla="*/ 2147483647 h 130"/>
                <a:gd name="T40" fmla="*/ 2147483647 w 81"/>
                <a:gd name="T41" fmla="*/ 2147483647 h 130"/>
                <a:gd name="T42" fmla="*/ 2147483647 w 81"/>
                <a:gd name="T43" fmla="*/ 2147483647 h 130"/>
                <a:gd name="T44" fmla="*/ 2147483647 w 81"/>
                <a:gd name="T45" fmla="*/ 0 h 130"/>
                <a:gd name="T46" fmla="*/ 2147483647 w 81"/>
                <a:gd name="T47" fmla="*/ 0 h 130"/>
                <a:gd name="T48" fmla="*/ 2147483647 w 81"/>
                <a:gd name="T49" fmla="*/ 2147483647 h 130"/>
                <a:gd name="T50" fmla="*/ 2147483647 w 81"/>
                <a:gd name="T51" fmla="*/ 2147483647 h 130"/>
                <a:gd name="T52" fmla="*/ 2147483647 w 81"/>
                <a:gd name="T53" fmla="*/ 2147483647 h 130"/>
                <a:gd name="T54" fmla="*/ 2147483647 w 81"/>
                <a:gd name="T55" fmla="*/ 2147483647 h 130"/>
                <a:gd name="T56" fmla="*/ 2147483647 w 81"/>
                <a:gd name="T57" fmla="*/ 2147483647 h 130"/>
                <a:gd name="T58" fmla="*/ 2147483647 w 81"/>
                <a:gd name="T59" fmla="*/ 2147483647 h 130"/>
                <a:gd name="T60" fmla="*/ 2147483647 w 81"/>
                <a:gd name="T61" fmla="*/ 2147483647 h 130"/>
                <a:gd name="T62" fmla="*/ 2147483647 w 81"/>
                <a:gd name="T63" fmla="*/ 2147483647 h 130"/>
                <a:gd name="T64" fmla="*/ 2147483647 w 81"/>
                <a:gd name="T65" fmla="*/ 2147483647 h 130"/>
                <a:gd name="T66" fmla="*/ 2147483647 w 81"/>
                <a:gd name="T67" fmla="*/ 2147483647 h 130"/>
                <a:gd name="T68" fmla="*/ 2147483647 w 81"/>
                <a:gd name="T69" fmla="*/ 2147483647 h 130"/>
                <a:gd name="T70" fmla="*/ 2147483647 w 81"/>
                <a:gd name="T71" fmla="*/ 2147483647 h 130"/>
                <a:gd name="T72" fmla="*/ 2147483647 w 81"/>
                <a:gd name="T73" fmla="*/ 2147483647 h 130"/>
                <a:gd name="T74" fmla="*/ 2147483647 w 81"/>
                <a:gd name="T75" fmla="*/ 2147483647 h 130"/>
                <a:gd name="T76" fmla="*/ 2147483647 w 81"/>
                <a:gd name="T77" fmla="*/ 2147483647 h 130"/>
                <a:gd name="T78" fmla="*/ 2147483647 w 81"/>
                <a:gd name="T79" fmla="*/ 2147483647 h 130"/>
                <a:gd name="T80" fmla="*/ 2147483647 w 81"/>
                <a:gd name="T81" fmla="*/ 2147483647 h 130"/>
                <a:gd name="T82" fmla="*/ 2147483647 w 81"/>
                <a:gd name="T83" fmla="*/ 2147483647 h 130"/>
                <a:gd name="T84" fmla="*/ 2147483647 w 81"/>
                <a:gd name="T85" fmla="*/ 2147483647 h 130"/>
                <a:gd name="T86" fmla="*/ 2147483647 w 81"/>
                <a:gd name="T87" fmla="*/ 2147483647 h 130"/>
                <a:gd name="T88" fmla="*/ 2147483647 w 81"/>
                <a:gd name="T89" fmla="*/ 2147483647 h 130"/>
                <a:gd name="T90" fmla="*/ 2147483647 w 81"/>
                <a:gd name="T91" fmla="*/ 2147483647 h 130"/>
                <a:gd name="T92" fmla="*/ 2147483647 w 81"/>
                <a:gd name="T93" fmla="*/ 2147483647 h 130"/>
                <a:gd name="T94" fmla="*/ 2147483647 w 81"/>
                <a:gd name="T95" fmla="*/ 2147483647 h 130"/>
                <a:gd name="T96" fmla="*/ 2147483647 w 81"/>
                <a:gd name="T97" fmla="*/ 2147483647 h 130"/>
                <a:gd name="T98" fmla="*/ 2147483647 w 81"/>
                <a:gd name="T99" fmla="*/ 2147483647 h 130"/>
                <a:gd name="T100" fmla="*/ 2147483647 w 81"/>
                <a:gd name="T101" fmla="*/ 2147483647 h 130"/>
                <a:gd name="T102" fmla="*/ 2147483647 w 81"/>
                <a:gd name="T103" fmla="*/ 2147483647 h 130"/>
                <a:gd name="T104" fmla="*/ 2147483647 w 81"/>
                <a:gd name="T105" fmla="*/ 2147483647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6" y="127"/>
                  </a:moveTo>
                  <a:lnTo>
                    <a:pt x="6" y="124"/>
                  </a:lnTo>
                  <a:lnTo>
                    <a:pt x="6" y="120"/>
                  </a:lnTo>
                  <a:lnTo>
                    <a:pt x="6" y="115"/>
                  </a:lnTo>
                  <a:lnTo>
                    <a:pt x="5" y="112"/>
                  </a:lnTo>
                  <a:lnTo>
                    <a:pt x="1" y="107"/>
                  </a:lnTo>
                  <a:lnTo>
                    <a:pt x="0" y="101"/>
                  </a:lnTo>
                  <a:lnTo>
                    <a:pt x="0" y="95"/>
                  </a:lnTo>
                  <a:lnTo>
                    <a:pt x="1" y="89"/>
                  </a:lnTo>
                  <a:lnTo>
                    <a:pt x="7" y="76"/>
                  </a:lnTo>
                  <a:lnTo>
                    <a:pt x="13" y="63"/>
                  </a:lnTo>
                  <a:lnTo>
                    <a:pt x="14" y="56"/>
                  </a:lnTo>
                  <a:lnTo>
                    <a:pt x="14" y="49"/>
                  </a:lnTo>
                  <a:lnTo>
                    <a:pt x="14" y="42"/>
                  </a:lnTo>
                  <a:lnTo>
                    <a:pt x="11" y="35"/>
                  </a:lnTo>
                  <a:lnTo>
                    <a:pt x="11" y="31"/>
                  </a:lnTo>
                  <a:lnTo>
                    <a:pt x="13" y="27"/>
                  </a:lnTo>
                  <a:lnTo>
                    <a:pt x="11" y="17"/>
                  </a:lnTo>
                  <a:lnTo>
                    <a:pt x="13" y="8"/>
                  </a:lnTo>
                  <a:lnTo>
                    <a:pt x="14" y="5"/>
                  </a:lnTo>
                  <a:lnTo>
                    <a:pt x="16" y="3"/>
                  </a:lnTo>
                  <a:lnTo>
                    <a:pt x="27" y="2"/>
                  </a:lnTo>
                  <a:lnTo>
                    <a:pt x="38" y="0"/>
                  </a:lnTo>
                  <a:lnTo>
                    <a:pt x="60" y="0"/>
                  </a:lnTo>
                  <a:lnTo>
                    <a:pt x="62" y="11"/>
                  </a:lnTo>
                  <a:lnTo>
                    <a:pt x="62" y="23"/>
                  </a:lnTo>
                  <a:lnTo>
                    <a:pt x="63" y="34"/>
                  </a:lnTo>
                  <a:lnTo>
                    <a:pt x="66" y="44"/>
                  </a:lnTo>
                  <a:lnTo>
                    <a:pt x="66" y="48"/>
                  </a:lnTo>
                  <a:lnTo>
                    <a:pt x="66" y="51"/>
                  </a:lnTo>
                  <a:lnTo>
                    <a:pt x="65" y="55"/>
                  </a:lnTo>
                  <a:lnTo>
                    <a:pt x="66" y="57"/>
                  </a:lnTo>
                  <a:lnTo>
                    <a:pt x="67" y="62"/>
                  </a:lnTo>
                  <a:lnTo>
                    <a:pt x="68" y="66"/>
                  </a:lnTo>
                  <a:lnTo>
                    <a:pt x="68" y="76"/>
                  </a:lnTo>
                  <a:lnTo>
                    <a:pt x="70" y="87"/>
                  </a:lnTo>
                  <a:lnTo>
                    <a:pt x="71" y="92"/>
                  </a:lnTo>
                  <a:lnTo>
                    <a:pt x="74" y="96"/>
                  </a:lnTo>
                  <a:lnTo>
                    <a:pt x="77" y="100"/>
                  </a:lnTo>
                  <a:lnTo>
                    <a:pt x="81" y="104"/>
                  </a:lnTo>
                  <a:lnTo>
                    <a:pt x="79" y="105"/>
                  </a:lnTo>
                  <a:lnTo>
                    <a:pt x="77" y="108"/>
                  </a:lnTo>
                  <a:lnTo>
                    <a:pt x="74" y="112"/>
                  </a:lnTo>
                  <a:lnTo>
                    <a:pt x="70" y="115"/>
                  </a:lnTo>
                  <a:lnTo>
                    <a:pt x="65" y="117"/>
                  </a:lnTo>
                  <a:lnTo>
                    <a:pt x="57" y="119"/>
                  </a:lnTo>
                  <a:lnTo>
                    <a:pt x="49" y="121"/>
                  </a:lnTo>
                  <a:lnTo>
                    <a:pt x="39" y="127"/>
                  </a:lnTo>
                  <a:lnTo>
                    <a:pt x="35" y="128"/>
                  </a:lnTo>
                  <a:lnTo>
                    <a:pt x="32" y="130"/>
                  </a:lnTo>
                  <a:lnTo>
                    <a:pt x="23" y="128"/>
                  </a:lnTo>
                  <a:lnTo>
                    <a:pt x="15" y="127"/>
                  </a:lnTo>
                  <a:lnTo>
                    <a:pt x="6" y="12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8" name="Freeform 697"/>
            <p:cNvSpPr>
              <a:spLocks/>
            </p:cNvSpPr>
            <p:nvPr/>
          </p:nvSpPr>
          <p:spPr bwMode="auto">
            <a:xfrm>
              <a:off x="4198938" y="3935414"/>
              <a:ext cx="177800" cy="180975"/>
            </a:xfrm>
            <a:custGeom>
              <a:avLst/>
              <a:gdLst>
                <a:gd name="T0" fmla="*/ 0 w 122"/>
                <a:gd name="T1" fmla="*/ 2147483647 h 114"/>
                <a:gd name="T2" fmla="*/ 0 w 122"/>
                <a:gd name="T3" fmla="*/ 2147483647 h 114"/>
                <a:gd name="T4" fmla="*/ 2147483647 w 122"/>
                <a:gd name="T5" fmla="*/ 2147483647 h 114"/>
                <a:gd name="T6" fmla="*/ 2147483647 w 122"/>
                <a:gd name="T7" fmla="*/ 2147483647 h 114"/>
                <a:gd name="T8" fmla="*/ 2147483647 w 122"/>
                <a:gd name="T9" fmla="*/ 2147483647 h 114"/>
                <a:gd name="T10" fmla="*/ 2147483647 w 122"/>
                <a:gd name="T11" fmla="*/ 2147483647 h 114"/>
                <a:gd name="T12" fmla="*/ 2147483647 w 122"/>
                <a:gd name="T13" fmla="*/ 2147483647 h 114"/>
                <a:gd name="T14" fmla="*/ 2147483647 w 122"/>
                <a:gd name="T15" fmla="*/ 2147483647 h 114"/>
                <a:gd name="T16" fmla="*/ 2147483647 w 122"/>
                <a:gd name="T17" fmla="*/ 2147483647 h 114"/>
                <a:gd name="T18" fmla="*/ 2147483647 w 122"/>
                <a:gd name="T19" fmla="*/ 2147483647 h 114"/>
                <a:gd name="T20" fmla="*/ 2147483647 w 122"/>
                <a:gd name="T21" fmla="*/ 2147483647 h 114"/>
                <a:gd name="T22" fmla="*/ 2147483647 w 122"/>
                <a:gd name="T23" fmla="*/ 2147483647 h 114"/>
                <a:gd name="T24" fmla="*/ 2147483647 w 122"/>
                <a:gd name="T25" fmla="*/ 2147483647 h 114"/>
                <a:gd name="T26" fmla="*/ 2147483647 w 122"/>
                <a:gd name="T27" fmla="*/ 2147483647 h 114"/>
                <a:gd name="T28" fmla="*/ 2147483647 w 122"/>
                <a:gd name="T29" fmla="*/ 2147483647 h 114"/>
                <a:gd name="T30" fmla="*/ 2147483647 w 122"/>
                <a:gd name="T31" fmla="*/ 2147483647 h 114"/>
                <a:gd name="T32" fmla="*/ 2147483647 w 122"/>
                <a:gd name="T33" fmla="*/ 2147483647 h 114"/>
                <a:gd name="T34" fmla="*/ 2147483647 w 122"/>
                <a:gd name="T35" fmla="*/ 0 h 114"/>
                <a:gd name="T36" fmla="*/ 2147483647 w 122"/>
                <a:gd name="T37" fmla="*/ 0 h 114"/>
                <a:gd name="T38" fmla="*/ 2147483647 w 122"/>
                <a:gd name="T39" fmla="*/ 2147483647 h 114"/>
                <a:gd name="T40" fmla="*/ 2147483647 w 122"/>
                <a:gd name="T41" fmla="*/ 2147483647 h 114"/>
                <a:gd name="T42" fmla="*/ 2147483647 w 122"/>
                <a:gd name="T43" fmla="*/ 2147483647 h 114"/>
                <a:gd name="T44" fmla="*/ 2147483647 w 122"/>
                <a:gd name="T45" fmla="*/ 2147483647 h 114"/>
                <a:gd name="T46" fmla="*/ 2147483647 w 122"/>
                <a:gd name="T47" fmla="*/ 2147483647 h 114"/>
                <a:gd name="T48" fmla="*/ 2147483647 w 122"/>
                <a:gd name="T49" fmla="*/ 2147483647 h 114"/>
                <a:gd name="T50" fmla="*/ 2147483647 w 122"/>
                <a:gd name="T51" fmla="*/ 2147483647 h 114"/>
                <a:gd name="T52" fmla="*/ 2147483647 w 122"/>
                <a:gd name="T53" fmla="*/ 2147483647 h 114"/>
                <a:gd name="T54" fmla="*/ 2147483647 w 122"/>
                <a:gd name="T55" fmla="*/ 2147483647 h 114"/>
                <a:gd name="T56" fmla="*/ 2147483647 w 122"/>
                <a:gd name="T57" fmla="*/ 2147483647 h 114"/>
                <a:gd name="T58" fmla="*/ 2147483647 w 122"/>
                <a:gd name="T59" fmla="*/ 2147483647 h 114"/>
                <a:gd name="T60" fmla="*/ 2147483647 w 122"/>
                <a:gd name="T61" fmla="*/ 2147483647 h 114"/>
                <a:gd name="T62" fmla="*/ 2147483647 w 122"/>
                <a:gd name="T63" fmla="*/ 2147483647 h 114"/>
                <a:gd name="T64" fmla="*/ 2147483647 w 122"/>
                <a:gd name="T65" fmla="*/ 2147483647 h 114"/>
                <a:gd name="T66" fmla="*/ 2147483647 w 122"/>
                <a:gd name="T67" fmla="*/ 2147483647 h 114"/>
                <a:gd name="T68" fmla="*/ 2147483647 w 122"/>
                <a:gd name="T69" fmla="*/ 2147483647 h 114"/>
                <a:gd name="T70" fmla="*/ 2147483647 w 122"/>
                <a:gd name="T71" fmla="*/ 2147483647 h 114"/>
                <a:gd name="T72" fmla="*/ 2147483647 w 122"/>
                <a:gd name="T73" fmla="*/ 2147483647 h 114"/>
                <a:gd name="T74" fmla="*/ 2147483647 w 122"/>
                <a:gd name="T75" fmla="*/ 2147483647 h 114"/>
                <a:gd name="T76" fmla="*/ 2147483647 w 122"/>
                <a:gd name="T77" fmla="*/ 2147483647 h 114"/>
                <a:gd name="T78" fmla="*/ 2147483647 w 122"/>
                <a:gd name="T79" fmla="*/ 2147483647 h 114"/>
                <a:gd name="T80" fmla="*/ 2147483647 w 122"/>
                <a:gd name="T81" fmla="*/ 2147483647 h 114"/>
                <a:gd name="T82" fmla="*/ 2147483647 w 122"/>
                <a:gd name="T83" fmla="*/ 2147483647 h 114"/>
                <a:gd name="T84" fmla="*/ 2147483647 w 122"/>
                <a:gd name="T85" fmla="*/ 2147483647 h 114"/>
                <a:gd name="T86" fmla="*/ 2147483647 w 122"/>
                <a:gd name="T87" fmla="*/ 2147483647 h 114"/>
                <a:gd name="T88" fmla="*/ 2147483647 w 122"/>
                <a:gd name="T89" fmla="*/ 2147483647 h 114"/>
                <a:gd name="T90" fmla="*/ 2147483647 w 122"/>
                <a:gd name="T91" fmla="*/ 2147483647 h 114"/>
                <a:gd name="T92" fmla="*/ 2147483647 w 122"/>
                <a:gd name="T93" fmla="*/ 2147483647 h 114"/>
                <a:gd name="T94" fmla="*/ 2147483647 w 122"/>
                <a:gd name="T95" fmla="*/ 2147483647 h 114"/>
                <a:gd name="T96" fmla="*/ 2147483647 w 122"/>
                <a:gd name="T97" fmla="*/ 2147483647 h 114"/>
                <a:gd name="T98" fmla="*/ 2147483647 w 122"/>
                <a:gd name="T99" fmla="*/ 2147483647 h 114"/>
                <a:gd name="T100" fmla="*/ 2147483647 w 122"/>
                <a:gd name="T101" fmla="*/ 2147483647 h 114"/>
                <a:gd name="T102" fmla="*/ 2147483647 w 122"/>
                <a:gd name="T103" fmla="*/ 2147483647 h 114"/>
                <a:gd name="T104" fmla="*/ 2147483647 w 122"/>
                <a:gd name="T105" fmla="*/ 2147483647 h 114"/>
                <a:gd name="T106" fmla="*/ 2147483647 w 122"/>
                <a:gd name="T107" fmla="*/ 2147483647 h 114"/>
                <a:gd name="T108" fmla="*/ 2147483647 w 122"/>
                <a:gd name="T109" fmla="*/ 2147483647 h 114"/>
                <a:gd name="T110" fmla="*/ 2147483647 w 122"/>
                <a:gd name="T111" fmla="*/ 2147483647 h 114"/>
                <a:gd name="T112" fmla="*/ 2147483647 w 122"/>
                <a:gd name="T113" fmla="*/ 2147483647 h 114"/>
                <a:gd name="T114" fmla="*/ 2147483647 w 122"/>
                <a:gd name="T115" fmla="*/ 2147483647 h 114"/>
                <a:gd name="T116" fmla="*/ 2147483647 w 122"/>
                <a:gd name="T117" fmla="*/ 2147483647 h 114"/>
                <a:gd name="T118" fmla="*/ 2147483647 w 122"/>
                <a:gd name="T119" fmla="*/ 2147483647 h 114"/>
                <a:gd name="T120" fmla="*/ 2147483647 w 122"/>
                <a:gd name="T121" fmla="*/ 2147483647 h 114"/>
                <a:gd name="T122" fmla="*/ 2147483647 w 122"/>
                <a:gd name="T123" fmla="*/ 2147483647 h 114"/>
                <a:gd name="T124" fmla="*/ 0 w 122"/>
                <a:gd name="T125" fmla="*/ 2147483647 h 1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
                <a:gd name="T190" fmla="*/ 0 h 114"/>
                <a:gd name="T191" fmla="*/ 122 w 122"/>
                <a:gd name="T192" fmla="*/ 114 h 1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 h="114">
                  <a:moveTo>
                    <a:pt x="0" y="101"/>
                  </a:moveTo>
                  <a:lnTo>
                    <a:pt x="0" y="95"/>
                  </a:lnTo>
                  <a:lnTo>
                    <a:pt x="1" y="89"/>
                  </a:lnTo>
                  <a:lnTo>
                    <a:pt x="4" y="77"/>
                  </a:lnTo>
                  <a:lnTo>
                    <a:pt x="7" y="68"/>
                  </a:lnTo>
                  <a:lnTo>
                    <a:pt x="10" y="59"/>
                  </a:lnTo>
                  <a:lnTo>
                    <a:pt x="12" y="56"/>
                  </a:lnTo>
                  <a:lnTo>
                    <a:pt x="15" y="52"/>
                  </a:lnTo>
                  <a:lnTo>
                    <a:pt x="19" y="50"/>
                  </a:lnTo>
                  <a:lnTo>
                    <a:pt x="23" y="47"/>
                  </a:lnTo>
                  <a:lnTo>
                    <a:pt x="29" y="44"/>
                  </a:lnTo>
                  <a:lnTo>
                    <a:pt x="34" y="40"/>
                  </a:lnTo>
                  <a:lnTo>
                    <a:pt x="43" y="32"/>
                  </a:lnTo>
                  <a:lnTo>
                    <a:pt x="51" y="24"/>
                  </a:lnTo>
                  <a:lnTo>
                    <a:pt x="59" y="15"/>
                  </a:lnTo>
                  <a:lnTo>
                    <a:pt x="68" y="8"/>
                  </a:lnTo>
                  <a:lnTo>
                    <a:pt x="77" y="2"/>
                  </a:lnTo>
                  <a:lnTo>
                    <a:pt x="82" y="0"/>
                  </a:lnTo>
                  <a:lnTo>
                    <a:pt x="87" y="0"/>
                  </a:lnTo>
                  <a:lnTo>
                    <a:pt x="92" y="1"/>
                  </a:lnTo>
                  <a:lnTo>
                    <a:pt x="98" y="4"/>
                  </a:lnTo>
                  <a:lnTo>
                    <a:pt x="98" y="7"/>
                  </a:lnTo>
                  <a:lnTo>
                    <a:pt x="98" y="11"/>
                  </a:lnTo>
                  <a:lnTo>
                    <a:pt x="100" y="15"/>
                  </a:lnTo>
                  <a:lnTo>
                    <a:pt x="104" y="21"/>
                  </a:lnTo>
                  <a:lnTo>
                    <a:pt x="108" y="26"/>
                  </a:lnTo>
                  <a:lnTo>
                    <a:pt x="108" y="28"/>
                  </a:lnTo>
                  <a:lnTo>
                    <a:pt x="108" y="31"/>
                  </a:lnTo>
                  <a:lnTo>
                    <a:pt x="108" y="33"/>
                  </a:lnTo>
                  <a:lnTo>
                    <a:pt x="108" y="36"/>
                  </a:lnTo>
                  <a:lnTo>
                    <a:pt x="114" y="41"/>
                  </a:lnTo>
                  <a:lnTo>
                    <a:pt x="119" y="50"/>
                  </a:lnTo>
                  <a:lnTo>
                    <a:pt x="122" y="58"/>
                  </a:lnTo>
                  <a:lnTo>
                    <a:pt x="122" y="62"/>
                  </a:lnTo>
                  <a:lnTo>
                    <a:pt x="120" y="66"/>
                  </a:lnTo>
                  <a:lnTo>
                    <a:pt x="118" y="72"/>
                  </a:lnTo>
                  <a:lnTo>
                    <a:pt x="117" y="76"/>
                  </a:lnTo>
                  <a:lnTo>
                    <a:pt x="117" y="79"/>
                  </a:lnTo>
                  <a:lnTo>
                    <a:pt x="113" y="81"/>
                  </a:lnTo>
                  <a:lnTo>
                    <a:pt x="110" y="79"/>
                  </a:lnTo>
                  <a:lnTo>
                    <a:pt x="98" y="79"/>
                  </a:lnTo>
                  <a:lnTo>
                    <a:pt x="76" y="79"/>
                  </a:lnTo>
                  <a:lnTo>
                    <a:pt x="65" y="81"/>
                  </a:lnTo>
                  <a:lnTo>
                    <a:pt x="54" y="82"/>
                  </a:lnTo>
                  <a:lnTo>
                    <a:pt x="52" y="84"/>
                  </a:lnTo>
                  <a:lnTo>
                    <a:pt x="51" y="87"/>
                  </a:lnTo>
                  <a:lnTo>
                    <a:pt x="49" y="96"/>
                  </a:lnTo>
                  <a:lnTo>
                    <a:pt x="51" y="106"/>
                  </a:lnTo>
                  <a:lnTo>
                    <a:pt x="49" y="110"/>
                  </a:lnTo>
                  <a:lnTo>
                    <a:pt x="49" y="114"/>
                  </a:lnTo>
                  <a:lnTo>
                    <a:pt x="48" y="111"/>
                  </a:lnTo>
                  <a:lnTo>
                    <a:pt x="45" y="109"/>
                  </a:lnTo>
                  <a:lnTo>
                    <a:pt x="40" y="107"/>
                  </a:lnTo>
                  <a:lnTo>
                    <a:pt x="37" y="108"/>
                  </a:lnTo>
                  <a:lnTo>
                    <a:pt x="29" y="113"/>
                  </a:lnTo>
                  <a:lnTo>
                    <a:pt x="26" y="113"/>
                  </a:lnTo>
                  <a:lnTo>
                    <a:pt x="24" y="113"/>
                  </a:lnTo>
                  <a:lnTo>
                    <a:pt x="20" y="110"/>
                  </a:lnTo>
                  <a:lnTo>
                    <a:pt x="11" y="101"/>
                  </a:lnTo>
                  <a:lnTo>
                    <a:pt x="9" y="100"/>
                  </a:lnTo>
                  <a:lnTo>
                    <a:pt x="6" y="98"/>
                  </a:lnTo>
                  <a:lnTo>
                    <a:pt x="2" y="100"/>
                  </a:lnTo>
                  <a:lnTo>
                    <a:pt x="0" y="10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699" name="Freeform 698"/>
            <p:cNvSpPr>
              <a:spLocks/>
            </p:cNvSpPr>
            <p:nvPr/>
          </p:nvSpPr>
          <p:spPr bwMode="auto">
            <a:xfrm>
              <a:off x="4252914" y="4059240"/>
              <a:ext cx="119062" cy="204787"/>
            </a:xfrm>
            <a:custGeom>
              <a:avLst/>
              <a:gdLst>
                <a:gd name="T0" fmla="*/ 2147483647 w 81"/>
                <a:gd name="T1" fmla="*/ 2147483647 h 129"/>
                <a:gd name="T2" fmla="*/ 2147483647 w 81"/>
                <a:gd name="T3" fmla="*/ 2147483647 h 129"/>
                <a:gd name="T4" fmla="*/ 2147483647 w 81"/>
                <a:gd name="T5" fmla="*/ 2147483647 h 129"/>
                <a:gd name="T6" fmla="*/ 2147483647 w 81"/>
                <a:gd name="T7" fmla="*/ 2147483647 h 129"/>
                <a:gd name="T8" fmla="*/ 0 w 81"/>
                <a:gd name="T9" fmla="*/ 2147483647 h 129"/>
                <a:gd name="T10" fmla="*/ 2147483647 w 81"/>
                <a:gd name="T11" fmla="*/ 2147483647 h 129"/>
                <a:gd name="T12" fmla="*/ 2147483647 w 81"/>
                <a:gd name="T13" fmla="*/ 2147483647 h 129"/>
                <a:gd name="T14" fmla="*/ 2147483647 w 81"/>
                <a:gd name="T15" fmla="*/ 2147483647 h 129"/>
                <a:gd name="T16" fmla="*/ 2147483647 w 81"/>
                <a:gd name="T17" fmla="*/ 2147483647 h 129"/>
                <a:gd name="T18" fmla="*/ 2147483647 w 81"/>
                <a:gd name="T19" fmla="*/ 2147483647 h 129"/>
                <a:gd name="T20" fmla="*/ 2147483647 w 81"/>
                <a:gd name="T21" fmla="*/ 2147483647 h 129"/>
                <a:gd name="T22" fmla="*/ 2147483647 w 81"/>
                <a:gd name="T23" fmla="*/ 2147483647 h 129"/>
                <a:gd name="T24" fmla="*/ 2147483647 w 81"/>
                <a:gd name="T25" fmla="*/ 2147483647 h 129"/>
                <a:gd name="T26" fmla="*/ 2147483647 w 81"/>
                <a:gd name="T27" fmla="*/ 0 h 129"/>
                <a:gd name="T28" fmla="*/ 2147483647 w 81"/>
                <a:gd name="T29" fmla="*/ 0 h 129"/>
                <a:gd name="T30" fmla="*/ 2147483647 w 81"/>
                <a:gd name="T31" fmla="*/ 2147483647 h 129"/>
                <a:gd name="T32" fmla="*/ 2147483647 w 81"/>
                <a:gd name="T33" fmla="*/ 2147483647 h 129"/>
                <a:gd name="T34" fmla="*/ 2147483647 w 81"/>
                <a:gd name="T35" fmla="*/ 2147483647 h 129"/>
                <a:gd name="T36" fmla="*/ 2147483647 w 81"/>
                <a:gd name="T37" fmla="*/ 2147483647 h 129"/>
                <a:gd name="T38" fmla="*/ 2147483647 w 81"/>
                <a:gd name="T39" fmla="*/ 2147483647 h 129"/>
                <a:gd name="T40" fmla="*/ 2147483647 w 81"/>
                <a:gd name="T41" fmla="*/ 2147483647 h 129"/>
                <a:gd name="T42" fmla="*/ 2147483647 w 81"/>
                <a:gd name="T43" fmla="*/ 2147483647 h 129"/>
                <a:gd name="T44" fmla="*/ 2147483647 w 81"/>
                <a:gd name="T45" fmla="*/ 2147483647 h 129"/>
                <a:gd name="T46" fmla="*/ 2147483647 w 81"/>
                <a:gd name="T47" fmla="*/ 2147483647 h 129"/>
                <a:gd name="T48" fmla="*/ 2147483647 w 81"/>
                <a:gd name="T49" fmla="*/ 2147483647 h 129"/>
                <a:gd name="T50" fmla="*/ 2147483647 w 81"/>
                <a:gd name="T51" fmla="*/ 2147483647 h 129"/>
                <a:gd name="T52" fmla="*/ 2147483647 w 81"/>
                <a:gd name="T53" fmla="*/ 2147483647 h 129"/>
                <a:gd name="T54" fmla="*/ 2147483647 w 81"/>
                <a:gd name="T55" fmla="*/ 2147483647 h 129"/>
                <a:gd name="T56" fmla="*/ 2147483647 w 81"/>
                <a:gd name="T57" fmla="*/ 2147483647 h 129"/>
                <a:gd name="T58" fmla="*/ 2147483647 w 81"/>
                <a:gd name="T59" fmla="*/ 2147483647 h 129"/>
                <a:gd name="T60" fmla="*/ 2147483647 w 81"/>
                <a:gd name="T61" fmla="*/ 2147483647 h 129"/>
                <a:gd name="T62" fmla="*/ 2147483647 w 81"/>
                <a:gd name="T63" fmla="*/ 2147483647 h 129"/>
                <a:gd name="T64" fmla="*/ 2147483647 w 81"/>
                <a:gd name="T65" fmla="*/ 2147483647 h 1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1"/>
                <a:gd name="T100" fmla="*/ 0 h 129"/>
                <a:gd name="T101" fmla="*/ 81 w 81"/>
                <a:gd name="T102" fmla="*/ 129 h 1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1" h="129">
                  <a:moveTo>
                    <a:pt x="6" y="127"/>
                  </a:moveTo>
                  <a:lnTo>
                    <a:pt x="6" y="127"/>
                  </a:lnTo>
                  <a:lnTo>
                    <a:pt x="6" y="124"/>
                  </a:lnTo>
                  <a:lnTo>
                    <a:pt x="6" y="120"/>
                  </a:lnTo>
                  <a:lnTo>
                    <a:pt x="6" y="115"/>
                  </a:lnTo>
                  <a:lnTo>
                    <a:pt x="5" y="112"/>
                  </a:lnTo>
                  <a:lnTo>
                    <a:pt x="1" y="107"/>
                  </a:lnTo>
                  <a:lnTo>
                    <a:pt x="0" y="101"/>
                  </a:lnTo>
                  <a:lnTo>
                    <a:pt x="0" y="95"/>
                  </a:lnTo>
                  <a:lnTo>
                    <a:pt x="1" y="89"/>
                  </a:lnTo>
                  <a:lnTo>
                    <a:pt x="7" y="76"/>
                  </a:lnTo>
                  <a:lnTo>
                    <a:pt x="12" y="63"/>
                  </a:lnTo>
                  <a:lnTo>
                    <a:pt x="14" y="56"/>
                  </a:lnTo>
                  <a:lnTo>
                    <a:pt x="14" y="49"/>
                  </a:lnTo>
                  <a:lnTo>
                    <a:pt x="14" y="42"/>
                  </a:lnTo>
                  <a:lnTo>
                    <a:pt x="11" y="35"/>
                  </a:lnTo>
                  <a:lnTo>
                    <a:pt x="11" y="31"/>
                  </a:lnTo>
                  <a:lnTo>
                    <a:pt x="12" y="26"/>
                  </a:lnTo>
                  <a:lnTo>
                    <a:pt x="11" y="17"/>
                  </a:lnTo>
                  <a:lnTo>
                    <a:pt x="12" y="7"/>
                  </a:lnTo>
                  <a:lnTo>
                    <a:pt x="14" y="5"/>
                  </a:lnTo>
                  <a:lnTo>
                    <a:pt x="16" y="3"/>
                  </a:lnTo>
                  <a:lnTo>
                    <a:pt x="26" y="1"/>
                  </a:lnTo>
                  <a:lnTo>
                    <a:pt x="38" y="0"/>
                  </a:lnTo>
                  <a:lnTo>
                    <a:pt x="59" y="0"/>
                  </a:lnTo>
                  <a:lnTo>
                    <a:pt x="62" y="11"/>
                  </a:lnTo>
                  <a:lnTo>
                    <a:pt x="62" y="23"/>
                  </a:lnTo>
                  <a:lnTo>
                    <a:pt x="63" y="33"/>
                  </a:lnTo>
                  <a:lnTo>
                    <a:pt x="66" y="44"/>
                  </a:lnTo>
                  <a:lnTo>
                    <a:pt x="66" y="48"/>
                  </a:lnTo>
                  <a:lnTo>
                    <a:pt x="66" y="51"/>
                  </a:lnTo>
                  <a:lnTo>
                    <a:pt x="64" y="55"/>
                  </a:lnTo>
                  <a:lnTo>
                    <a:pt x="66" y="57"/>
                  </a:lnTo>
                  <a:lnTo>
                    <a:pt x="67" y="62"/>
                  </a:lnTo>
                  <a:lnTo>
                    <a:pt x="68" y="65"/>
                  </a:lnTo>
                  <a:lnTo>
                    <a:pt x="68" y="76"/>
                  </a:lnTo>
                  <a:lnTo>
                    <a:pt x="69" y="87"/>
                  </a:lnTo>
                  <a:lnTo>
                    <a:pt x="71" y="92"/>
                  </a:lnTo>
                  <a:lnTo>
                    <a:pt x="73" y="96"/>
                  </a:lnTo>
                  <a:lnTo>
                    <a:pt x="77" y="100"/>
                  </a:lnTo>
                  <a:lnTo>
                    <a:pt x="81" y="103"/>
                  </a:lnTo>
                  <a:lnTo>
                    <a:pt x="78" y="105"/>
                  </a:lnTo>
                  <a:lnTo>
                    <a:pt x="77" y="108"/>
                  </a:lnTo>
                  <a:lnTo>
                    <a:pt x="73" y="112"/>
                  </a:lnTo>
                  <a:lnTo>
                    <a:pt x="69" y="115"/>
                  </a:lnTo>
                  <a:lnTo>
                    <a:pt x="64" y="116"/>
                  </a:lnTo>
                  <a:lnTo>
                    <a:pt x="57" y="119"/>
                  </a:lnTo>
                  <a:lnTo>
                    <a:pt x="49" y="121"/>
                  </a:lnTo>
                  <a:lnTo>
                    <a:pt x="39" y="127"/>
                  </a:lnTo>
                  <a:lnTo>
                    <a:pt x="35" y="128"/>
                  </a:lnTo>
                  <a:lnTo>
                    <a:pt x="31" y="129"/>
                  </a:lnTo>
                  <a:lnTo>
                    <a:pt x="22" y="128"/>
                  </a:lnTo>
                  <a:lnTo>
                    <a:pt x="15" y="127"/>
                  </a:lnTo>
                  <a:lnTo>
                    <a:pt x="6" y="12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0" name="Freeform 699"/>
            <p:cNvSpPr>
              <a:spLocks/>
            </p:cNvSpPr>
            <p:nvPr/>
          </p:nvSpPr>
          <p:spPr bwMode="auto">
            <a:xfrm>
              <a:off x="4195763" y="3933825"/>
              <a:ext cx="177800" cy="180975"/>
            </a:xfrm>
            <a:custGeom>
              <a:avLst/>
              <a:gdLst>
                <a:gd name="T0" fmla="*/ 0 w 122"/>
                <a:gd name="T1" fmla="*/ 2147483647 h 114"/>
                <a:gd name="T2" fmla="*/ 2147483647 w 122"/>
                <a:gd name="T3" fmla="*/ 2147483647 h 114"/>
                <a:gd name="T4" fmla="*/ 2147483647 w 122"/>
                <a:gd name="T5" fmla="*/ 2147483647 h 114"/>
                <a:gd name="T6" fmla="*/ 2147483647 w 122"/>
                <a:gd name="T7" fmla="*/ 2147483647 h 114"/>
                <a:gd name="T8" fmla="*/ 2147483647 w 122"/>
                <a:gd name="T9" fmla="*/ 2147483647 h 114"/>
                <a:gd name="T10" fmla="*/ 2147483647 w 122"/>
                <a:gd name="T11" fmla="*/ 2147483647 h 114"/>
                <a:gd name="T12" fmla="*/ 2147483647 w 122"/>
                <a:gd name="T13" fmla="*/ 2147483647 h 114"/>
                <a:gd name="T14" fmla="*/ 2147483647 w 122"/>
                <a:gd name="T15" fmla="*/ 2147483647 h 114"/>
                <a:gd name="T16" fmla="*/ 2147483647 w 122"/>
                <a:gd name="T17" fmla="*/ 2147483647 h 114"/>
                <a:gd name="T18" fmla="*/ 2147483647 w 122"/>
                <a:gd name="T19" fmla="*/ 2147483647 h 114"/>
                <a:gd name="T20" fmla="*/ 2147483647 w 122"/>
                <a:gd name="T21" fmla="*/ 2147483647 h 114"/>
                <a:gd name="T22" fmla="*/ 2147483647 w 122"/>
                <a:gd name="T23" fmla="*/ 0 h 114"/>
                <a:gd name="T24" fmla="*/ 2147483647 w 122"/>
                <a:gd name="T25" fmla="*/ 2147483647 h 114"/>
                <a:gd name="T26" fmla="*/ 2147483647 w 122"/>
                <a:gd name="T27" fmla="*/ 2147483647 h 114"/>
                <a:gd name="T28" fmla="*/ 2147483647 w 122"/>
                <a:gd name="T29" fmla="*/ 2147483647 h 114"/>
                <a:gd name="T30" fmla="*/ 2147483647 w 122"/>
                <a:gd name="T31" fmla="*/ 2147483647 h 114"/>
                <a:gd name="T32" fmla="*/ 2147483647 w 122"/>
                <a:gd name="T33" fmla="*/ 2147483647 h 114"/>
                <a:gd name="T34" fmla="*/ 2147483647 w 122"/>
                <a:gd name="T35" fmla="*/ 2147483647 h 114"/>
                <a:gd name="T36" fmla="*/ 2147483647 w 122"/>
                <a:gd name="T37" fmla="*/ 2147483647 h 114"/>
                <a:gd name="T38" fmla="*/ 2147483647 w 122"/>
                <a:gd name="T39" fmla="*/ 2147483647 h 114"/>
                <a:gd name="T40" fmla="*/ 2147483647 w 122"/>
                <a:gd name="T41" fmla="*/ 2147483647 h 114"/>
                <a:gd name="T42" fmla="*/ 2147483647 w 122"/>
                <a:gd name="T43" fmla="*/ 2147483647 h 114"/>
                <a:gd name="T44" fmla="*/ 2147483647 w 122"/>
                <a:gd name="T45" fmla="*/ 2147483647 h 114"/>
                <a:gd name="T46" fmla="*/ 2147483647 w 122"/>
                <a:gd name="T47" fmla="*/ 2147483647 h 114"/>
                <a:gd name="T48" fmla="*/ 2147483647 w 122"/>
                <a:gd name="T49" fmla="*/ 2147483647 h 114"/>
                <a:gd name="T50" fmla="*/ 2147483647 w 122"/>
                <a:gd name="T51" fmla="*/ 2147483647 h 114"/>
                <a:gd name="T52" fmla="*/ 2147483647 w 122"/>
                <a:gd name="T53" fmla="*/ 2147483647 h 114"/>
                <a:gd name="T54" fmla="*/ 2147483647 w 122"/>
                <a:gd name="T55" fmla="*/ 2147483647 h 114"/>
                <a:gd name="T56" fmla="*/ 2147483647 w 122"/>
                <a:gd name="T57" fmla="*/ 2147483647 h 114"/>
                <a:gd name="T58" fmla="*/ 2147483647 w 122"/>
                <a:gd name="T59" fmla="*/ 2147483647 h 114"/>
                <a:gd name="T60" fmla="*/ 2147483647 w 122"/>
                <a:gd name="T61" fmla="*/ 2147483647 h 114"/>
                <a:gd name="T62" fmla="*/ 2147483647 w 122"/>
                <a:gd name="T63" fmla="*/ 2147483647 h 114"/>
                <a:gd name="T64" fmla="*/ 2147483647 w 122"/>
                <a:gd name="T65" fmla="*/ 2147483647 h 114"/>
                <a:gd name="T66" fmla="*/ 2147483647 w 122"/>
                <a:gd name="T67" fmla="*/ 2147483647 h 114"/>
                <a:gd name="T68" fmla="*/ 2147483647 w 122"/>
                <a:gd name="T69" fmla="*/ 2147483647 h 114"/>
                <a:gd name="T70" fmla="*/ 2147483647 w 122"/>
                <a:gd name="T71" fmla="*/ 2147483647 h 114"/>
                <a:gd name="T72" fmla="*/ 2147483647 w 122"/>
                <a:gd name="T73" fmla="*/ 2147483647 h 114"/>
                <a:gd name="T74" fmla="*/ 2147483647 w 122"/>
                <a:gd name="T75" fmla="*/ 2147483647 h 114"/>
                <a:gd name="T76" fmla="*/ 2147483647 w 122"/>
                <a:gd name="T77" fmla="*/ 2147483647 h 114"/>
                <a:gd name="T78" fmla="*/ 2147483647 w 122"/>
                <a:gd name="T79" fmla="*/ 2147483647 h 114"/>
                <a:gd name="T80" fmla="*/ 0 w 122"/>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114"/>
                <a:gd name="T125" fmla="*/ 122 w 122"/>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114">
                  <a:moveTo>
                    <a:pt x="0" y="101"/>
                  </a:moveTo>
                  <a:lnTo>
                    <a:pt x="0" y="101"/>
                  </a:lnTo>
                  <a:lnTo>
                    <a:pt x="0" y="95"/>
                  </a:lnTo>
                  <a:lnTo>
                    <a:pt x="2" y="89"/>
                  </a:lnTo>
                  <a:lnTo>
                    <a:pt x="4" y="77"/>
                  </a:lnTo>
                  <a:lnTo>
                    <a:pt x="8" y="67"/>
                  </a:lnTo>
                  <a:lnTo>
                    <a:pt x="11" y="59"/>
                  </a:lnTo>
                  <a:lnTo>
                    <a:pt x="13" y="56"/>
                  </a:lnTo>
                  <a:lnTo>
                    <a:pt x="16" y="52"/>
                  </a:lnTo>
                  <a:lnTo>
                    <a:pt x="20" y="50"/>
                  </a:lnTo>
                  <a:lnTo>
                    <a:pt x="23" y="47"/>
                  </a:lnTo>
                  <a:lnTo>
                    <a:pt x="30" y="44"/>
                  </a:lnTo>
                  <a:lnTo>
                    <a:pt x="35" y="40"/>
                  </a:lnTo>
                  <a:lnTo>
                    <a:pt x="44" y="32"/>
                  </a:lnTo>
                  <a:lnTo>
                    <a:pt x="51" y="24"/>
                  </a:lnTo>
                  <a:lnTo>
                    <a:pt x="60" y="15"/>
                  </a:lnTo>
                  <a:lnTo>
                    <a:pt x="69" y="8"/>
                  </a:lnTo>
                  <a:lnTo>
                    <a:pt x="78" y="2"/>
                  </a:lnTo>
                  <a:lnTo>
                    <a:pt x="83" y="0"/>
                  </a:lnTo>
                  <a:lnTo>
                    <a:pt x="88" y="0"/>
                  </a:lnTo>
                  <a:lnTo>
                    <a:pt x="93" y="1"/>
                  </a:lnTo>
                  <a:lnTo>
                    <a:pt x="98" y="3"/>
                  </a:lnTo>
                  <a:lnTo>
                    <a:pt x="98" y="7"/>
                  </a:lnTo>
                  <a:lnTo>
                    <a:pt x="98" y="10"/>
                  </a:lnTo>
                  <a:lnTo>
                    <a:pt x="101" y="15"/>
                  </a:lnTo>
                  <a:lnTo>
                    <a:pt x="105" y="21"/>
                  </a:lnTo>
                  <a:lnTo>
                    <a:pt x="108" y="26"/>
                  </a:lnTo>
                  <a:lnTo>
                    <a:pt x="108" y="28"/>
                  </a:lnTo>
                  <a:lnTo>
                    <a:pt x="108" y="31"/>
                  </a:lnTo>
                  <a:lnTo>
                    <a:pt x="108" y="33"/>
                  </a:lnTo>
                  <a:lnTo>
                    <a:pt x="108" y="35"/>
                  </a:lnTo>
                  <a:lnTo>
                    <a:pt x="115" y="41"/>
                  </a:lnTo>
                  <a:lnTo>
                    <a:pt x="120" y="50"/>
                  </a:lnTo>
                  <a:lnTo>
                    <a:pt x="122" y="58"/>
                  </a:lnTo>
                  <a:lnTo>
                    <a:pt x="122" y="61"/>
                  </a:lnTo>
                  <a:lnTo>
                    <a:pt x="121" y="66"/>
                  </a:lnTo>
                  <a:lnTo>
                    <a:pt x="119" y="72"/>
                  </a:lnTo>
                  <a:lnTo>
                    <a:pt x="117" y="76"/>
                  </a:lnTo>
                  <a:lnTo>
                    <a:pt x="117" y="79"/>
                  </a:lnTo>
                  <a:lnTo>
                    <a:pt x="114" y="80"/>
                  </a:lnTo>
                  <a:lnTo>
                    <a:pt x="111" y="79"/>
                  </a:lnTo>
                  <a:lnTo>
                    <a:pt x="98" y="79"/>
                  </a:lnTo>
                  <a:lnTo>
                    <a:pt x="77" y="79"/>
                  </a:lnTo>
                  <a:lnTo>
                    <a:pt x="65" y="80"/>
                  </a:lnTo>
                  <a:lnTo>
                    <a:pt x="55" y="82"/>
                  </a:lnTo>
                  <a:lnTo>
                    <a:pt x="53" y="84"/>
                  </a:lnTo>
                  <a:lnTo>
                    <a:pt x="51" y="86"/>
                  </a:lnTo>
                  <a:lnTo>
                    <a:pt x="50" y="96"/>
                  </a:lnTo>
                  <a:lnTo>
                    <a:pt x="51" y="105"/>
                  </a:lnTo>
                  <a:lnTo>
                    <a:pt x="50" y="110"/>
                  </a:lnTo>
                  <a:lnTo>
                    <a:pt x="50" y="114"/>
                  </a:lnTo>
                  <a:lnTo>
                    <a:pt x="49" y="111"/>
                  </a:lnTo>
                  <a:lnTo>
                    <a:pt x="46" y="109"/>
                  </a:lnTo>
                  <a:lnTo>
                    <a:pt x="41" y="107"/>
                  </a:lnTo>
                  <a:lnTo>
                    <a:pt x="37" y="108"/>
                  </a:lnTo>
                  <a:lnTo>
                    <a:pt x="30" y="112"/>
                  </a:lnTo>
                  <a:lnTo>
                    <a:pt x="27" y="112"/>
                  </a:lnTo>
                  <a:lnTo>
                    <a:pt x="25" y="112"/>
                  </a:lnTo>
                  <a:lnTo>
                    <a:pt x="21" y="110"/>
                  </a:lnTo>
                  <a:lnTo>
                    <a:pt x="12" y="101"/>
                  </a:lnTo>
                  <a:lnTo>
                    <a:pt x="9" y="99"/>
                  </a:lnTo>
                  <a:lnTo>
                    <a:pt x="7" y="98"/>
                  </a:lnTo>
                  <a:lnTo>
                    <a:pt x="3" y="99"/>
                  </a:lnTo>
                  <a:lnTo>
                    <a:pt x="0" y="10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1" name="Freeform 700"/>
            <p:cNvSpPr>
              <a:spLocks/>
            </p:cNvSpPr>
            <p:nvPr/>
          </p:nvSpPr>
          <p:spPr bwMode="auto">
            <a:xfrm>
              <a:off x="4341814" y="4060826"/>
              <a:ext cx="49212" cy="165100"/>
            </a:xfrm>
            <a:custGeom>
              <a:avLst/>
              <a:gdLst>
                <a:gd name="T0" fmla="*/ 2147483647 w 33"/>
                <a:gd name="T1" fmla="*/ 2147483647 h 104"/>
                <a:gd name="T2" fmla="*/ 2147483647 w 33"/>
                <a:gd name="T3" fmla="*/ 2147483647 h 104"/>
                <a:gd name="T4" fmla="*/ 2147483647 w 33"/>
                <a:gd name="T5" fmla="*/ 2147483647 h 104"/>
                <a:gd name="T6" fmla="*/ 2147483647 w 33"/>
                <a:gd name="T7" fmla="*/ 2147483647 h 104"/>
                <a:gd name="T8" fmla="*/ 2147483647 w 33"/>
                <a:gd name="T9" fmla="*/ 2147483647 h 104"/>
                <a:gd name="T10" fmla="*/ 2147483647 w 33"/>
                <a:gd name="T11" fmla="*/ 2147483647 h 104"/>
                <a:gd name="T12" fmla="*/ 2147483647 w 33"/>
                <a:gd name="T13" fmla="*/ 2147483647 h 104"/>
                <a:gd name="T14" fmla="*/ 2147483647 w 33"/>
                <a:gd name="T15" fmla="*/ 2147483647 h 104"/>
                <a:gd name="T16" fmla="*/ 2147483647 w 33"/>
                <a:gd name="T17" fmla="*/ 2147483647 h 104"/>
                <a:gd name="T18" fmla="*/ 2147483647 w 33"/>
                <a:gd name="T19" fmla="*/ 2147483647 h 104"/>
                <a:gd name="T20" fmla="*/ 2147483647 w 33"/>
                <a:gd name="T21" fmla="*/ 2147483647 h 104"/>
                <a:gd name="T22" fmla="*/ 2147483647 w 33"/>
                <a:gd name="T23" fmla="*/ 2147483647 h 104"/>
                <a:gd name="T24" fmla="*/ 2147483647 w 33"/>
                <a:gd name="T25" fmla="*/ 2147483647 h 104"/>
                <a:gd name="T26" fmla="*/ 2147483647 w 33"/>
                <a:gd name="T27" fmla="*/ 2147483647 h 104"/>
                <a:gd name="T28" fmla="*/ 2147483647 w 33"/>
                <a:gd name="T29" fmla="*/ 2147483647 h 104"/>
                <a:gd name="T30" fmla="*/ 2147483647 w 33"/>
                <a:gd name="T31" fmla="*/ 2147483647 h 104"/>
                <a:gd name="T32" fmla="*/ 2147483647 w 33"/>
                <a:gd name="T33" fmla="*/ 2147483647 h 104"/>
                <a:gd name="T34" fmla="*/ 0 w 33"/>
                <a:gd name="T35" fmla="*/ 0 h 104"/>
                <a:gd name="T36" fmla="*/ 2147483647 w 33"/>
                <a:gd name="T37" fmla="*/ 0 h 104"/>
                <a:gd name="T38" fmla="*/ 2147483647 w 33"/>
                <a:gd name="T39" fmla="*/ 2147483647 h 104"/>
                <a:gd name="T40" fmla="*/ 2147483647 w 33"/>
                <a:gd name="T41" fmla="*/ 2147483647 h 104"/>
                <a:gd name="T42" fmla="*/ 2147483647 w 33"/>
                <a:gd name="T43" fmla="*/ 2147483647 h 104"/>
                <a:gd name="T44" fmla="*/ 2147483647 w 33"/>
                <a:gd name="T45" fmla="*/ 2147483647 h 104"/>
                <a:gd name="T46" fmla="*/ 2147483647 w 33"/>
                <a:gd name="T47" fmla="*/ 2147483647 h 104"/>
                <a:gd name="T48" fmla="*/ 2147483647 w 33"/>
                <a:gd name="T49" fmla="*/ 2147483647 h 104"/>
                <a:gd name="T50" fmla="*/ 2147483647 w 33"/>
                <a:gd name="T51" fmla="*/ 2147483647 h 104"/>
                <a:gd name="T52" fmla="*/ 2147483647 w 33"/>
                <a:gd name="T53" fmla="*/ 2147483647 h 104"/>
                <a:gd name="T54" fmla="*/ 2147483647 w 33"/>
                <a:gd name="T55" fmla="*/ 2147483647 h 104"/>
                <a:gd name="T56" fmla="*/ 2147483647 w 33"/>
                <a:gd name="T57" fmla="*/ 2147483647 h 104"/>
                <a:gd name="T58" fmla="*/ 2147483647 w 33"/>
                <a:gd name="T59" fmla="*/ 2147483647 h 104"/>
                <a:gd name="T60" fmla="*/ 2147483647 w 33"/>
                <a:gd name="T61" fmla="*/ 2147483647 h 10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04"/>
                <a:gd name="T95" fmla="*/ 33 w 33"/>
                <a:gd name="T96" fmla="*/ 104 h 10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04">
                  <a:moveTo>
                    <a:pt x="21" y="104"/>
                  </a:moveTo>
                  <a:lnTo>
                    <a:pt x="17" y="100"/>
                  </a:lnTo>
                  <a:lnTo>
                    <a:pt x="14" y="96"/>
                  </a:lnTo>
                  <a:lnTo>
                    <a:pt x="11" y="92"/>
                  </a:lnTo>
                  <a:lnTo>
                    <a:pt x="10" y="87"/>
                  </a:lnTo>
                  <a:lnTo>
                    <a:pt x="8" y="76"/>
                  </a:lnTo>
                  <a:lnTo>
                    <a:pt x="8" y="66"/>
                  </a:lnTo>
                  <a:lnTo>
                    <a:pt x="8" y="63"/>
                  </a:lnTo>
                  <a:lnTo>
                    <a:pt x="7" y="62"/>
                  </a:lnTo>
                  <a:lnTo>
                    <a:pt x="6" y="59"/>
                  </a:lnTo>
                  <a:lnTo>
                    <a:pt x="5" y="55"/>
                  </a:lnTo>
                  <a:lnTo>
                    <a:pt x="5" y="51"/>
                  </a:lnTo>
                  <a:lnTo>
                    <a:pt x="6" y="48"/>
                  </a:lnTo>
                  <a:lnTo>
                    <a:pt x="6" y="44"/>
                  </a:lnTo>
                  <a:lnTo>
                    <a:pt x="3" y="34"/>
                  </a:lnTo>
                  <a:lnTo>
                    <a:pt x="2" y="23"/>
                  </a:lnTo>
                  <a:lnTo>
                    <a:pt x="2" y="11"/>
                  </a:lnTo>
                  <a:lnTo>
                    <a:pt x="0" y="0"/>
                  </a:lnTo>
                  <a:lnTo>
                    <a:pt x="12" y="0"/>
                  </a:lnTo>
                  <a:lnTo>
                    <a:pt x="15" y="12"/>
                  </a:lnTo>
                  <a:lnTo>
                    <a:pt x="16" y="18"/>
                  </a:lnTo>
                  <a:lnTo>
                    <a:pt x="17" y="23"/>
                  </a:lnTo>
                  <a:lnTo>
                    <a:pt x="22" y="32"/>
                  </a:lnTo>
                  <a:lnTo>
                    <a:pt x="25" y="42"/>
                  </a:lnTo>
                  <a:lnTo>
                    <a:pt x="26" y="53"/>
                  </a:lnTo>
                  <a:lnTo>
                    <a:pt x="27" y="62"/>
                  </a:lnTo>
                  <a:lnTo>
                    <a:pt x="29" y="83"/>
                  </a:lnTo>
                  <a:lnTo>
                    <a:pt x="30" y="93"/>
                  </a:lnTo>
                  <a:lnTo>
                    <a:pt x="33" y="104"/>
                  </a:lnTo>
                  <a:lnTo>
                    <a:pt x="26" y="104"/>
                  </a:lnTo>
                  <a:lnTo>
                    <a:pt x="21" y="10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2" name="Freeform 701"/>
            <p:cNvSpPr>
              <a:spLocks/>
            </p:cNvSpPr>
            <p:nvPr/>
          </p:nvSpPr>
          <p:spPr bwMode="auto">
            <a:xfrm>
              <a:off x="4359276" y="4040189"/>
              <a:ext cx="68263" cy="187326"/>
            </a:xfrm>
            <a:custGeom>
              <a:avLst/>
              <a:gdLst>
                <a:gd name="T0" fmla="*/ 2147483647 w 46"/>
                <a:gd name="T1" fmla="*/ 2147483647 h 118"/>
                <a:gd name="T2" fmla="*/ 2147483647 w 46"/>
                <a:gd name="T3" fmla="*/ 2147483647 h 118"/>
                <a:gd name="T4" fmla="*/ 2147483647 w 46"/>
                <a:gd name="T5" fmla="*/ 2147483647 h 118"/>
                <a:gd name="T6" fmla="*/ 2147483647 w 46"/>
                <a:gd name="T7" fmla="*/ 2147483647 h 118"/>
                <a:gd name="T8" fmla="*/ 2147483647 w 46"/>
                <a:gd name="T9" fmla="*/ 2147483647 h 118"/>
                <a:gd name="T10" fmla="*/ 2147483647 w 46"/>
                <a:gd name="T11" fmla="*/ 2147483647 h 118"/>
                <a:gd name="T12" fmla="*/ 2147483647 w 46"/>
                <a:gd name="T13" fmla="*/ 2147483647 h 118"/>
                <a:gd name="T14" fmla="*/ 2147483647 w 46"/>
                <a:gd name="T15" fmla="*/ 2147483647 h 118"/>
                <a:gd name="T16" fmla="*/ 2147483647 w 46"/>
                <a:gd name="T17" fmla="*/ 2147483647 h 118"/>
                <a:gd name="T18" fmla="*/ 2147483647 w 46"/>
                <a:gd name="T19" fmla="*/ 2147483647 h 118"/>
                <a:gd name="T20" fmla="*/ 0 w 46"/>
                <a:gd name="T21" fmla="*/ 2147483647 h 118"/>
                <a:gd name="T22" fmla="*/ 2147483647 w 46"/>
                <a:gd name="T23" fmla="*/ 2147483647 h 118"/>
                <a:gd name="T24" fmla="*/ 2147483647 w 46"/>
                <a:gd name="T25" fmla="*/ 2147483647 h 118"/>
                <a:gd name="T26" fmla="*/ 2147483647 w 46"/>
                <a:gd name="T27" fmla="*/ 2147483647 h 118"/>
                <a:gd name="T28" fmla="*/ 2147483647 w 46"/>
                <a:gd name="T29" fmla="*/ 2147483647 h 118"/>
                <a:gd name="T30" fmla="*/ 2147483647 w 46"/>
                <a:gd name="T31" fmla="*/ 2147483647 h 118"/>
                <a:gd name="T32" fmla="*/ 2147483647 w 46"/>
                <a:gd name="T33" fmla="*/ 2147483647 h 118"/>
                <a:gd name="T34" fmla="*/ 2147483647 w 46"/>
                <a:gd name="T35" fmla="*/ 0 h 118"/>
                <a:gd name="T36" fmla="*/ 2147483647 w 46"/>
                <a:gd name="T37" fmla="*/ 0 h 118"/>
                <a:gd name="T38" fmla="*/ 2147483647 w 46"/>
                <a:gd name="T39" fmla="*/ 2147483647 h 118"/>
                <a:gd name="T40" fmla="*/ 2147483647 w 46"/>
                <a:gd name="T41" fmla="*/ 2147483647 h 118"/>
                <a:gd name="T42" fmla="*/ 2147483647 w 46"/>
                <a:gd name="T43" fmla="*/ 2147483647 h 118"/>
                <a:gd name="T44" fmla="*/ 2147483647 w 46"/>
                <a:gd name="T45" fmla="*/ 2147483647 h 118"/>
                <a:gd name="T46" fmla="*/ 2147483647 w 46"/>
                <a:gd name="T47" fmla="*/ 2147483647 h 118"/>
                <a:gd name="T48" fmla="*/ 2147483647 w 46"/>
                <a:gd name="T49" fmla="*/ 2147483647 h 118"/>
                <a:gd name="T50" fmla="*/ 2147483647 w 46"/>
                <a:gd name="T51" fmla="*/ 2147483647 h 118"/>
                <a:gd name="T52" fmla="*/ 2147483647 w 46"/>
                <a:gd name="T53" fmla="*/ 2147483647 h 118"/>
                <a:gd name="T54" fmla="*/ 2147483647 w 46"/>
                <a:gd name="T55" fmla="*/ 2147483647 h 118"/>
                <a:gd name="T56" fmla="*/ 2147483647 w 46"/>
                <a:gd name="T57" fmla="*/ 2147483647 h 118"/>
                <a:gd name="T58" fmla="*/ 2147483647 w 46"/>
                <a:gd name="T59" fmla="*/ 2147483647 h 118"/>
                <a:gd name="T60" fmla="*/ 2147483647 w 46"/>
                <a:gd name="T61" fmla="*/ 2147483647 h 118"/>
                <a:gd name="T62" fmla="*/ 2147483647 w 46"/>
                <a:gd name="T63" fmla="*/ 2147483647 h 118"/>
                <a:gd name="T64" fmla="*/ 2147483647 w 46"/>
                <a:gd name="T65" fmla="*/ 2147483647 h 118"/>
                <a:gd name="T66" fmla="*/ 2147483647 w 46"/>
                <a:gd name="T67" fmla="*/ 2147483647 h 118"/>
                <a:gd name="T68" fmla="*/ 2147483647 w 46"/>
                <a:gd name="T69" fmla="*/ 2147483647 h 1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
                <a:gd name="T106" fmla="*/ 0 h 118"/>
                <a:gd name="T107" fmla="*/ 46 w 46"/>
                <a:gd name="T108" fmla="*/ 118 h 1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 h="118">
                  <a:moveTo>
                    <a:pt x="21" y="117"/>
                  </a:moveTo>
                  <a:lnTo>
                    <a:pt x="18" y="106"/>
                  </a:lnTo>
                  <a:lnTo>
                    <a:pt x="17" y="96"/>
                  </a:lnTo>
                  <a:lnTo>
                    <a:pt x="15" y="75"/>
                  </a:lnTo>
                  <a:lnTo>
                    <a:pt x="14" y="66"/>
                  </a:lnTo>
                  <a:lnTo>
                    <a:pt x="13" y="55"/>
                  </a:lnTo>
                  <a:lnTo>
                    <a:pt x="10" y="45"/>
                  </a:lnTo>
                  <a:lnTo>
                    <a:pt x="5" y="36"/>
                  </a:lnTo>
                  <a:lnTo>
                    <a:pt x="4" y="31"/>
                  </a:lnTo>
                  <a:lnTo>
                    <a:pt x="3" y="25"/>
                  </a:lnTo>
                  <a:lnTo>
                    <a:pt x="0" y="13"/>
                  </a:lnTo>
                  <a:lnTo>
                    <a:pt x="3" y="15"/>
                  </a:lnTo>
                  <a:lnTo>
                    <a:pt x="7" y="13"/>
                  </a:lnTo>
                  <a:lnTo>
                    <a:pt x="12" y="11"/>
                  </a:lnTo>
                  <a:lnTo>
                    <a:pt x="15" y="8"/>
                  </a:lnTo>
                  <a:lnTo>
                    <a:pt x="19" y="5"/>
                  </a:lnTo>
                  <a:lnTo>
                    <a:pt x="23" y="3"/>
                  </a:lnTo>
                  <a:lnTo>
                    <a:pt x="27" y="0"/>
                  </a:lnTo>
                  <a:lnTo>
                    <a:pt x="31" y="0"/>
                  </a:lnTo>
                  <a:lnTo>
                    <a:pt x="36" y="2"/>
                  </a:lnTo>
                  <a:lnTo>
                    <a:pt x="38" y="4"/>
                  </a:lnTo>
                  <a:lnTo>
                    <a:pt x="42" y="6"/>
                  </a:lnTo>
                  <a:lnTo>
                    <a:pt x="46" y="9"/>
                  </a:lnTo>
                  <a:lnTo>
                    <a:pt x="45" y="21"/>
                  </a:lnTo>
                  <a:lnTo>
                    <a:pt x="45" y="40"/>
                  </a:lnTo>
                  <a:lnTo>
                    <a:pt x="45" y="49"/>
                  </a:lnTo>
                  <a:lnTo>
                    <a:pt x="42" y="57"/>
                  </a:lnTo>
                  <a:lnTo>
                    <a:pt x="41" y="62"/>
                  </a:lnTo>
                  <a:lnTo>
                    <a:pt x="37" y="67"/>
                  </a:lnTo>
                  <a:lnTo>
                    <a:pt x="35" y="70"/>
                  </a:lnTo>
                  <a:lnTo>
                    <a:pt x="32" y="75"/>
                  </a:lnTo>
                  <a:lnTo>
                    <a:pt x="31" y="86"/>
                  </a:lnTo>
                  <a:lnTo>
                    <a:pt x="31" y="96"/>
                  </a:lnTo>
                  <a:lnTo>
                    <a:pt x="33" y="118"/>
                  </a:lnTo>
                  <a:lnTo>
                    <a:pt x="21" y="1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3" name="Freeform 702"/>
            <p:cNvSpPr>
              <a:spLocks/>
            </p:cNvSpPr>
            <p:nvPr/>
          </p:nvSpPr>
          <p:spPr bwMode="auto">
            <a:xfrm>
              <a:off x="4338638" y="4059239"/>
              <a:ext cx="49212" cy="163512"/>
            </a:xfrm>
            <a:custGeom>
              <a:avLst/>
              <a:gdLst>
                <a:gd name="T0" fmla="*/ 2147483647 w 33"/>
                <a:gd name="T1" fmla="*/ 2147483647 h 103"/>
                <a:gd name="T2" fmla="*/ 2147483647 w 33"/>
                <a:gd name="T3" fmla="*/ 2147483647 h 103"/>
                <a:gd name="T4" fmla="*/ 2147483647 w 33"/>
                <a:gd name="T5" fmla="*/ 2147483647 h 103"/>
                <a:gd name="T6" fmla="*/ 2147483647 w 33"/>
                <a:gd name="T7" fmla="*/ 2147483647 h 103"/>
                <a:gd name="T8" fmla="*/ 2147483647 w 33"/>
                <a:gd name="T9" fmla="*/ 2147483647 h 103"/>
                <a:gd name="T10" fmla="*/ 2147483647 w 33"/>
                <a:gd name="T11" fmla="*/ 2147483647 h 103"/>
                <a:gd name="T12" fmla="*/ 2147483647 w 33"/>
                <a:gd name="T13" fmla="*/ 2147483647 h 103"/>
                <a:gd name="T14" fmla="*/ 2147483647 w 33"/>
                <a:gd name="T15" fmla="*/ 2147483647 h 103"/>
                <a:gd name="T16" fmla="*/ 2147483647 w 33"/>
                <a:gd name="T17" fmla="*/ 2147483647 h 103"/>
                <a:gd name="T18" fmla="*/ 2147483647 w 33"/>
                <a:gd name="T19" fmla="*/ 2147483647 h 103"/>
                <a:gd name="T20" fmla="*/ 2147483647 w 33"/>
                <a:gd name="T21" fmla="*/ 2147483647 h 103"/>
                <a:gd name="T22" fmla="*/ 2147483647 w 33"/>
                <a:gd name="T23" fmla="*/ 2147483647 h 103"/>
                <a:gd name="T24" fmla="*/ 2147483647 w 33"/>
                <a:gd name="T25" fmla="*/ 2147483647 h 103"/>
                <a:gd name="T26" fmla="*/ 2147483647 w 33"/>
                <a:gd name="T27" fmla="*/ 2147483647 h 103"/>
                <a:gd name="T28" fmla="*/ 2147483647 w 33"/>
                <a:gd name="T29" fmla="*/ 2147483647 h 103"/>
                <a:gd name="T30" fmla="*/ 2147483647 w 33"/>
                <a:gd name="T31" fmla="*/ 2147483647 h 103"/>
                <a:gd name="T32" fmla="*/ 2147483647 w 33"/>
                <a:gd name="T33" fmla="*/ 2147483647 h 103"/>
                <a:gd name="T34" fmla="*/ 2147483647 w 33"/>
                <a:gd name="T35" fmla="*/ 2147483647 h 103"/>
                <a:gd name="T36" fmla="*/ 2147483647 w 33"/>
                <a:gd name="T37" fmla="*/ 2147483647 h 103"/>
                <a:gd name="T38" fmla="*/ 2147483647 w 33"/>
                <a:gd name="T39" fmla="*/ 2147483647 h 103"/>
                <a:gd name="T40" fmla="*/ 2147483647 w 33"/>
                <a:gd name="T41" fmla="*/ 2147483647 h 103"/>
                <a:gd name="T42" fmla="*/ 0 w 33"/>
                <a:gd name="T43" fmla="*/ 0 h 103"/>
                <a:gd name="T44" fmla="*/ 0 w 33"/>
                <a:gd name="T45" fmla="*/ 0 h 103"/>
                <a:gd name="T46" fmla="*/ 2147483647 w 33"/>
                <a:gd name="T47" fmla="*/ 0 h 103"/>
                <a:gd name="T48" fmla="*/ 2147483647 w 33"/>
                <a:gd name="T49" fmla="*/ 0 h 103"/>
                <a:gd name="T50" fmla="*/ 2147483647 w 33"/>
                <a:gd name="T51" fmla="*/ 2147483647 h 103"/>
                <a:gd name="T52" fmla="*/ 2147483647 w 33"/>
                <a:gd name="T53" fmla="*/ 2147483647 h 103"/>
                <a:gd name="T54" fmla="*/ 2147483647 w 33"/>
                <a:gd name="T55" fmla="*/ 2147483647 h 103"/>
                <a:gd name="T56" fmla="*/ 2147483647 w 33"/>
                <a:gd name="T57" fmla="*/ 2147483647 h 103"/>
                <a:gd name="T58" fmla="*/ 2147483647 w 33"/>
                <a:gd name="T59" fmla="*/ 2147483647 h 103"/>
                <a:gd name="T60" fmla="*/ 2147483647 w 33"/>
                <a:gd name="T61" fmla="*/ 2147483647 h 103"/>
                <a:gd name="T62" fmla="*/ 2147483647 w 33"/>
                <a:gd name="T63" fmla="*/ 2147483647 h 103"/>
                <a:gd name="T64" fmla="*/ 2147483647 w 33"/>
                <a:gd name="T65" fmla="*/ 2147483647 h 103"/>
                <a:gd name="T66" fmla="*/ 2147483647 w 33"/>
                <a:gd name="T67" fmla="*/ 2147483647 h 103"/>
                <a:gd name="T68" fmla="*/ 2147483647 w 33"/>
                <a:gd name="T69" fmla="*/ 2147483647 h 103"/>
                <a:gd name="T70" fmla="*/ 2147483647 w 33"/>
                <a:gd name="T71" fmla="*/ 2147483647 h 103"/>
                <a:gd name="T72" fmla="*/ 2147483647 w 33"/>
                <a:gd name="T73" fmla="*/ 2147483647 h 103"/>
                <a:gd name="T74" fmla="*/ 2147483647 w 33"/>
                <a:gd name="T75" fmla="*/ 2147483647 h 103"/>
                <a:gd name="T76" fmla="*/ 2147483647 w 33"/>
                <a:gd name="T77" fmla="*/ 2147483647 h 103"/>
                <a:gd name="T78" fmla="*/ 2147483647 w 33"/>
                <a:gd name="T79" fmla="*/ 2147483647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
                <a:gd name="T121" fmla="*/ 0 h 103"/>
                <a:gd name="T122" fmla="*/ 33 w 33"/>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 h="103">
                  <a:moveTo>
                    <a:pt x="22" y="103"/>
                  </a:moveTo>
                  <a:lnTo>
                    <a:pt x="22" y="103"/>
                  </a:lnTo>
                  <a:lnTo>
                    <a:pt x="18" y="100"/>
                  </a:lnTo>
                  <a:lnTo>
                    <a:pt x="14" y="96"/>
                  </a:lnTo>
                  <a:lnTo>
                    <a:pt x="12" y="92"/>
                  </a:lnTo>
                  <a:lnTo>
                    <a:pt x="10" y="87"/>
                  </a:lnTo>
                  <a:lnTo>
                    <a:pt x="9" y="76"/>
                  </a:lnTo>
                  <a:lnTo>
                    <a:pt x="9" y="65"/>
                  </a:lnTo>
                  <a:lnTo>
                    <a:pt x="9" y="63"/>
                  </a:lnTo>
                  <a:lnTo>
                    <a:pt x="8" y="62"/>
                  </a:lnTo>
                  <a:lnTo>
                    <a:pt x="7" y="58"/>
                  </a:lnTo>
                  <a:lnTo>
                    <a:pt x="5" y="55"/>
                  </a:lnTo>
                  <a:lnTo>
                    <a:pt x="5" y="51"/>
                  </a:lnTo>
                  <a:lnTo>
                    <a:pt x="7" y="48"/>
                  </a:lnTo>
                  <a:lnTo>
                    <a:pt x="7" y="44"/>
                  </a:lnTo>
                  <a:lnTo>
                    <a:pt x="4" y="33"/>
                  </a:lnTo>
                  <a:lnTo>
                    <a:pt x="3" y="23"/>
                  </a:lnTo>
                  <a:lnTo>
                    <a:pt x="3" y="11"/>
                  </a:lnTo>
                  <a:lnTo>
                    <a:pt x="0" y="0"/>
                  </a:lnTo>
                  <a:lnTo>
                    <a:pt x="13" y="0"/>
                  </a:lnTo>
                  <a:lnTo>
                    <a:pt x="16" y="12"/>
                  </a:lnTo>
                  <a:lnTo>
                    <a:pt x="17" y="18"/>
                  </a:lnTo>
                  <a:lnTo>
                    <a:pt x="18" y="23"/>
                  </a:lnTo>
                  <a:lnTo>
                    <a:pt x="23" y="32"/>
                  </a:lnTo>
                  <a:lnTo>
                    <a:pt x="26" y="42"/>
                  </a:lnTo>
                  <a:lnTo>
                    <a:pt x="27" y="52"/>
                  </a:lnTo>
                  <a:lnTo>
                    <a:pt x="28" y="62"/>
                  </a:lnTo>
                  <a:lnTo>
                    <a:pt x="29" y="83"/>
                  </a:lnTo>
                  <a:lnTo>
                    <a:pt x="31" y="93"/>
                  </a:lnTo>
                  <a:lnTo>
                    <a:pt x="33" y="103"/>
                  </a:lnTo>
                  <a:lnTo>
                    <a:pt x="27" y="103"/>
                  </a:lnTo>
                  <a:lnTo>
                    <a:pt x="22" y="10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4" name="Freeform 703"/>
            <p:cNvSpPr>
              <a:spLocks/>
            </p:cNvSpPr>
            <p:nvPr/>
          </p:nvSpPr>
          <p:spPr bwMode="auto">
            <a:xfrm>
              <a:off x="4357690" y="4038600"/>
              <a:ext cx="68262" cy="187326"/>
            </a:xfrm>
            <a:custGeom>
              <a:avLst/>
              <a:gdLst>
                <a:gd name="T0" fmla="*/ 2147483647 w 46"/>
                <a:gd name="T1" fmla="*/ 2147483647 h 118"/>
                <a:gd name="T2" fmla="*/ 2147483647 w 46"/>
                <a:gd name="T3" fmla="*/ 2147483647 h 118"/>
                <a:gd name="T4" fmla="*/ 2147483647 w 46"/>
                <a:gd name="T5" fmla="*/ 2147483647 h 118"/>
                <a:gd name="T6" fmla="*/ 2147483647 w 46"/>
                <a:gd name="T7" fmla="*/ 2147483647 h 118"/>
                <a:gd name="T8" fmla="*/ 2147483647 w 46"/>
                <a:gd name="T9" fmla="*/ 2147483647 h 118"/>
                <a:gd name="T10" fmla="*/ 2147483647 w 46"/>
                <a:gd name="T11" fmla="*/ 2147483647 h 118"/>
                <a:gd name="T12" fmla="*/ 2147483647 w 46"/>
                <a:gd name="T13" fmla="*/ 2147483647 h 118"/>
                <a:gd name="T14" fmla="*/ 2147483647 w 46"/>
                <a:gd name="T15" fmla="*/ 2147483647 h 118"/>
                <a:gd name="T16" fmla="*/ 2147483647 w 46"/>
                <a:gd name="T17" fmla="*/ 2147483647 h 118"/>
                <a:gd name="T18" fmla="*/ 2147483647 w 46"/>
                <a:gd name="T19" fmla="*/ 2147483647 h 118"/>
                <a:gd name="T20" fmla="*/ 2147483647 w 46"/>
                <a:gd name="T21" fmla="*/ 2147483647 h 118"/>
                <a:gd name="T22" fmla="*/ 2147483647 w 46"/>
                <a:gd name="T23" fmla="*/ 2147483647 h 118"/>
                <a:gd name="T24" fmla="*/ 0 w 46"/>
                <a:gd name="T25" fmla="*/ 2147483647 h 118"/>
                <a:gd name="T26" fmla="*/ 0 w 46"/>
                <a:gd name="T27" fmla="*/ 2147483647 h 118"/>
                <a:gd name="T28" fmla="*/ 2147483647 w 46"/>
                <a:gd name="T29" fmla="*/ 2147483647 h 118"/>
                <a:gd name="T30" fmla="*/ 2147483647 w 46"/>
                <a:gd name="T31" fmla="*/ 2147483647 h 118"/>
                <a:gd name="T32" fmla="*/ 2147483647 w 46"/>
                <a:gd name="T33" fmla="*/ 2147483647 h 118"/>
                <a:gd name="T34" fmla="*/ 2147483647 w 46"/>
                <a:gd name="T35" fmla="*/ 2147483647 h 118"/>
                <a:gd name="T36" fmla="*/ 2147483647 w 46"/>
                <a:gd name="T37" fmla="*/ 2147483647 h 118"/>
                <a:gd name="T38" fmla="*/ 2147483647 w 46"/>
                <a:gd name="T39" fmla="*/ 2147483647 h 118"/>
                <a:gd name="T40" fmla="*/ 2147483647 w 46"/>
                <a:gd name="T41" fmla="*/ 2147483647 h 118"/>
                <a:gd name="T42" fmla="*/ 2147483647 w 46"/>
                <a:gd name="T43" fmla="*/ 2147483647 h 118"/>
                <a:gd name="T44" fmla="*/ 2147483647 w 46"/>
                <a:gd name="T45" fmla="*/ 2147483647 h 118"/>
                <a:gd name="T46" fmla="*/ 2147483647 w 46"/>
                <a:gd name="T47" fmla="*/ 0 h 118"/>
                <a:gd name="T48" fmla="*/ 2147483647 w 46"/>
                <a:gd name="T49" fmla="*/ 0 h 118"/>
                <a:gd name="T50" fmla="*/ 2147483647 w 46"/>
                <a:gd name="T51" fmla="*/ 0 h 118"/>
                <a:gd name="T52" fmla="*/ 2147483647 w 46"/>
                <a:gd name="T53" fmla="*/ 2147483647 h 118"/>
                <a:gd name="T54" fmla="*/ 2147483647 w 46"/>
                <a:gd name="T55" fmla="*/ 2147483647 h 118"/>
                <a:gd name="T56" fmla="*/ 2147483647 w 46"/>
                <a:gd name="T57" fmla="*/ 2147483647 h 118"/>
                <a:gd name="T58" fmla="*/ 2147483647 w 46"/>
                <a:gd name="T59" fmla="*/ 2147483647 h 118"/>
                <a:gd name="T60" fmla="*/ 2147483647 w 46"/>
                <a:gd name="T61" fmla="*/ 2147483647 h 118"/>
                <a:gd name="T62" fmla="*/ 2147483647 w 46"/>
                <a:gd name="T63" fmla="*/ 2147483647 h 118"/>
                <a:gd name="T64" fmla="*/ 2147483647 w 46"/>
                <a:gd name="T65" fmla="*/ 2147483647 h 118"/>
                <a:gd name="T66" fmla="*/ 2147483647 w 46"/>
                <a:gd name="T67" fmla="*/ 2147483647 h 118"/>
                <a:gd name="T68" fmla="*/ 2147483647 w 46"/>
                <a:gd name="T69" fmla="*/ 2147483647 h 118"/>
                <a:gd name="T70" fmla="*/ 2147483647 w 46"/>
                <a:gd name="T71" fmla="*/ 2147483647 h 118"/>
                <a:gd name="T72" fmla="*/ 2147483647 w 46"/>
                <a:gd name="T73" fmla="*/ 2147483647 h 118"/>
                <a:gd name="T74" fmla="*/ 2147483647 w 46"/>
                <a:gd name="T75" fmla="*/ 2147483647 h 118"/>
                <a:gd name="T76" fmla="*/ 2147483647 w 46"/>
                <a:gd name="T77" fmla="*/ 2147483647 h 118"/>
                <a:gd name="T78" fmla="*/ 2147483647 w 46"/>
                <a:gd name="T79" fmla="*/ 2147483647 h 118"/>
                <a:gd name="T80" fmla="*/ 2147483647 w 46"/>
                <a:gd name="T81" fmla="*/ 2147483647 h 118"/>
                <a:gd name="T82" fmla="*/ 2147483647 w 46"/>
                <a:gd name="T83" fmla="*/ 2147483647 h 118"/>
                <a:gd name="T84" fmla="*/ 2147483647 w 46"/>
                <a:gd name="T85" fmla="*/ 2147483647 h 118"/>
                <a:gd name="T86" fmla="*/ 2147483647 w 46"/>
                <a:gd name="T87" fmla="*/ 2147483647 h 118"/>
                <a:gd name="T88" fmla="*/ 2147483647 w 46"/>
                <a:gd name="T89" fmla="*/ 2147483647 h 118"/>
                <a:gd name="T90" fmla="*/ 2147483647 w 46"/>
                <a:gd name="T91" fmla="*/ 2147483647 h 118"/>
                <a:gd name="T92" fmla="*/ 2147483647 w 46"/>
                <a:gd name="T93" fmla="*/ 2147483647 h 118"/>
                <a:gd name="T94" fmla="*/ 2147483647 w 46"/>
                <a:gd name="T95" fmla="*/ 2147483647 h 1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
                <a:gd name="T145" fmla="*/ 0 h 118"/>
                <a:gd name="T146" fmla="*/ 46 w 46"/>
                <a:gd name="T147" fmla="*/ 118 h 1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 h="118">
                  <a:moveTo>
                    <a:pt x="20" y="116"/>
                  </a:moveTo>
                  <a:lnTo>
                    <a:pt x="20" y="116"/>
                  </a:lnTo>
                  <a:lnTo>
                    <a:pt x="18" y="106"/>
                  </a:lnTo>
                  <a:lnTo>
                    <a:pt x="16" y="96"/>
                  </a:lnTo>
                  <a:lnTo>
                    <a:pt x="15" y="75"/>
                  </a:lnTo>
                  <a:lnTo>
                    <a:pt x="14" y="65"/>
                  </a:lnTo>
                  <a:lnTo>
                    <a:pt x="13" y="55"/>
                  </a:lnTo>
                  <a:lnTo>
                    <a:pt x="10" y="45"/>
                  </a:lnTo>
                  <a:lnTo>
                    <a:pt x="5" y="36"/>
                  </a:lnTo>
                  <a:lnTo>
                    <a:pt x="4" y="31"/>
                  </a:lnTo>
                  <a:lnTo>
                    <a:pt x="3" y="25"/>
                  </a:lnTo>
                  <a:lnTo>
                    <a:pt x="0" y="13"/>
                  </a:lnTo>
                  <a:lnTo>
                    <a:pt x="3" y="14"/>
                  </a:lnTo>
                  <a:lnTo>
                    <a:pt x="6" y="13"/>
                  </a:lnTo>
                  <a:lnTo>
                    <a:pt x="11" y="11"/>
                  </a:lnTo>
                  <a:lnTo>
                    <a:pt x="15" y="7"/>
                  </a:lnTo>
                  <a:lnTo>
                    <a:pt x="19" y="5"/>
                  </a:lnTo>
                  <a:lnTo>
                    <a:pt x="23" y="3"/>
                  </a:lnTo>
                  <a:lnTo>
                    <a:pt x="27" y="0"/>
                  </a:lnTo>
                  <a:lnTo>
                    <a:pt x="30" y="0"/>
                  </a:lnTo>
                  <a:lnTo>
                    <a:pt x="36" y="1"/>
                  </a:lnTo>
                  <a:lnTo>
                    <a:pt x="38" y="4"/>
                  </a:lnTo>
                  <a:lnTo>
                    <a:pt x="42" y="6"/>
                  </a:lnTo>
                  <a:lnTo>
                    <a:pt x="46" y="9"/>
                  </a:lnTo>
                  <a:lnTo>
                    <a:pt x="44" y="20"/>
                  </a:lnTo>
                  <a:lnTo>
                    <a:pt x="44" y="39"/>
                  </a:lnTo>
                  <a:lnTo>
                    <a:pt x="44" y="49"/>
                  </a:lnTo>
                  <a:lnTo>
                    <a:pt x="42" y="57"/>
                  </a:lnTo>
                  <a:lnTo>
                    <a:pt x="41" y="62"/>
                  </a:lnTo>
                  <a:lnTo>
                    <a:pt x="37" y="67"/>
                  </a:lnTo>
                  <a:lnTo>
                    <a:pt x="34" y="70"/>
                  </a:lnTo>
                  <a:lnTo>
                    <a:pt x="32" y="75"/>
                  </a:lnTo>
                  <a:lnTo>
                    <a:pt x="30" y="86"/>
                  </a:lnTo>
                  <a:lnTo>
                    <a:pt x="30" y="96"/>
                  </a:lnTo>
                  <a:lnTo>
                    <a:pt x="33" y="118"/>
                  </a:lnTo>
                  <a:lnTo>
                    <a:pt x="20" y="1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5" name="Freeform 704"/>
            <p:cNvSpPr>
              <a:spLocks/>
            </p:cNvSpPr>
            <p:nvPr/>
          </p:nvSpPr>
          <p:spPr bwMode="auto">
            <a:xfrm>
              <a:off x="4405313" y="3989388"/>
              <a:ext cx="303212" cy="298450"/>
            </a:xfrm>
            <a:custGeom>
              <a:avLst/>
              <a:gdLst>
                <a:gd name="T0" fmla="*/ 2147483647 w 207"/>
                <a:gd name="T1" fmla="*/ 2147483647 h 188"/>
                <a:gd name="T2" fmla="*/ 2147483647 w 207"/>
                <a:gd name="T3" fmla="*/ 2147483647 h 188"/>
                <a:gd name="T4" fmla="*/ 2147483647 w 207"/>
                <a:gd name="T5" fmla="*/ 2147483647 h 188"/>
                <a:gd name="T6" fmla="*/ 2147483647 w 207"/>
                <a:gd name="T7" fmla="*/ 2147483647 h 188"/>
                <a:gd name="T8" fmla="*/ 2147483647 w 207"/>
                <a:gd name="T9" fmla="*/ 2147483647 h 188"/>
                <a:gd name="T10" fmla="*/ 2147483647 w 207"/>
                <a:gd name="T11" fmla="*/ 2147483647 h 188"/>
                <a:gd name="T12" fmla="*/ 2147483647 w 207"/>
                <a:gd name="T13" fmla="*/ 2147483647 h 188"/>
                <a:gd name="T14" fmla="*/ 2147483647 w 207"/>
                <a:gd name="T15" fmla="*/ 2147483647 h 188"/>
                <a:gd name="T16" fmla="*/ 2147483647 w 207"/>
                <a:gd name="T17" fmla="*/ 2147483647 h 188"/>
                <a:gd name="T18" fmla="*/ 2147483647 w 207"/>
                <a:gd name="T19" fmla="*/ 2147483647 h 188"/>
                <a:gd name="T20" fmla="*/ 2147483647 w 207"/>
                <a:gd name="T21" fmla="*/ 2147483647 h 188"/>
                <a:gd name="T22" fmla="*/ 2147483647 w 207"/>
                <a:gd name="T23" fmla="*/ 2147483647 h 188"/>
                <a:gd name="T24" fmla="*/ 2147483647 w 207"/>
                <a:gd name="T25" fmla="*/ 2147483647 h 188"/>
                <a:gd name="T26" fmla="*/ 2147483647 w 207"/>
                <a:gd name="T27" fmla="*/ 2147483647 h 188"/>
                <a:gd name="T28" fmla="*/ 2147483647 w 207"/>
                <a:gd name="T29" fmla="*/ 2147483647 h 188"/>
                <a:gd name="T30" fmla="*/ 2147483647 w 207"/>
                <a:gd name="T31" fmla="*/ 2147483647 h 188"/>
                <a:gd name="T32" fmla="*/ 2147483647 w 207"/>
                <a:gd name="T33" fmla="*/ 2147483647 h 188"/>
                <a:gd name="T34" fmla="*/ 2147483647 w 207"/>
                <a:gd name="T35" fmla="*/ 2147483647 h 188"/>
                <a:gd name="T36" fmla="*/ 2147483647 w 207"/>
                <a:gd name="T37" fmla="*/ 2147483647 h 188"/>
                <a:gd name="T38" fmla="*/ 2147483647 w 207"/>
                <a:gd name="T39" fmla="*/ 2147483647 h 188"/>
                <a:gd name="T40" fmla="*/ 2147483647 w 207"/>
                <a:gd name="T41" fmla="*/ 2147483647 h 188"/>
                <a:gd name="T42" fmla="*/ 2147483647 w 207"/>
                <a:gd name="T43" fmla="*/ 2147483647 h 188"/>
                <a:gd name="T44" fmla="*/ 2147483647 w 207"/>
                <a:gd name="T45" fmla="*/ 2147483647 h 188"/>
                <a:gd name="T46" fmla="*/ 2147483647 w 207"/>
                <a:gd name="T47" fmla="*/ 2147483647 h 188"/>
                <a:gd name="T48" fmla="*/ 2147483647 w 207"/>
                <a:gd name="T49" fmla="*/ 2147483647 h 188"/>
                <a:gd name="T50" fmla="*/ 2147483647 w 207"/>
                <a:gd name="T51" fmla="*/ 2147483647 h 188"/>
                <a:gd name="T52" fmla="*/ 2147483647 w 207"/>
                <a:gd name="T53" fmla="*/ 2147483647 h 188"/>
                <a:gd name="T54" fmla="*/ 2147483647 w 207"/>
                <a:gd name="T55" fmla="*/ 0 h 188"/>
                <a:gd name="T56" fmla="*/ 2147483647 w 207"/>
                <a:gd name="T57" fmla="*/ 2147483647 h 188"/>
                <a:gd name="T58" fmla="*/ 2147483647 w 207"/>
                <a:gd name="T59" fmla="*/ 2147483647 h 188"/>
                <a:gd name="T60" fmla="*/ 2147483647 w 207"/>
                <a:gd name="T61" fmla="*/ 2147483647 h 188"/>
                <a:gd name="T62" fmla="*/ 2147483647 w 207"/>
                <a:gd name="T63" fmla="*/ 2147483647 h 188"/>
                <a:gd name="T64" fmla="*/ 2147483647 w 207"/>
                <a:gd name="T65" fmla="*/ 2147483647 h 188"/>
                <a:gd name="T66" fmla="*/ 2147483647 w 207"/>
                <a:gd name="T67" fmla="*/ 2147483647 h 188"/>
                <a:gd name="T68" fmla="*/ 2147483647 w 207"/>
                <a:gd name="T69" fmla="*/ 2147483647 h 188"/>
                <a:gd name="T70" fmla="*/ 2147483647 w 207"/>
                <a:gd name="T71" fmla="*/ 2147483647 h 188"/>
                <a:gd name="T72" fmla="*/ 2147483647 w 207"/>
                <a:gd name="T73" fmla="*/ 2147483647 h 188"/>
                <a:gd name="T74" fmla="*/ 2147483647 w 207"/>
                <a:gd name="T75" fmla="*/ 2147483647 h 188"/>
                <a:gd name="T76" fmla="*/ 2147483647 w 207"/>
                <a:gd name="T77" fmla="*/ 2147483647 h 188"/>
                <a:gd name="T78" fmla="*/ 2147483647 w 207"/>
                <a:gd name="T79" fmla="*/ 2147483647 h 188"/>
                <a:gd name="T80" fmla="*/ 2147483647 w 207"/>
                <a:gd name="T81" fmla="*/ 2147483647 h 188"/>
                <a:gd name="T82" fmla="*/ 2147483647 w 207"/>
                <a:gd name="T83" fmla="*/ 2147483647 h 188"/>
                <a:gd name="T84" fmla="*/ 2147483647 w 207"/>
                <a:gd name="T85" fmla="*/ 2147483647 h 188"/>
                <a:gd name="T86" fmla="*/ 2147483647 w 207"/>
                <a:gd name="T87" fmla="*/ 2147483647 h 1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7"/>
                <a:gd name="T133" fmla="*/ 0 h 188"/>
                <a:gd name="T134" fmla="*/ 207 w 207"/>
                <a:gd name="T135" fmla="*/ 188 h 1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7" h="188">
                  <a:moveTo>
                    <a:pt x="104" y="181"/>
                  </a:moveTo>
                  <a:lnTo>
                    <a:pt x="97" y="173"/>
                  </a:lnTo>
                  <a:lnTo>
                    <a:pt x="95" y="170"/>
                  </a:lnTo>
                  <a:lnTo>
                    <a:pt x="95" y="169"/>
                  </a:lnTo>
                  <a:lnTo>
                    <a:pt x="96" y="166"/>
                  </a:lnTo>
                  <a:lnTo>
                    <a:pt x="101" y="159"/>
                  </a:lnTo>
                  <a:lnTo>
                    <a:pt x="105" y="152"/>
                  </a:lnTo>
                  <a:lnTo>
                    <a:pt x="108" y="150"/>
                  </a:lnTo>
                  <a:lnTo>
                    <a:pt x="110" y="147"/>
                  </a:lnTo>
                  <a:lnTo>
                    <a:pt x="114" y="145"/>
                  </a:lnTo>
                  <a:lnTo>
                    <a:pt x="118" y="145"/>
                  </a:lnTo>
                  <a:lnTo>
                    <a:pt x="123" y="145"/>
                  </a:lnTo>
                  <a:lnTo>
                    <a:pt x="128" y="145"/>
                  </a:lnTo>
                  <a:lnTo>
                    <a:pt x="137" y="141"/>
                  </a:lnTo>
                  <a:lnTo>
                    <a:pt x="144" y="136"/>
                  </a:lnTo>
                  <a:lnTo>
                    <a:pt x="152" y="130"/>
                  </a:lnTo>
                  <a:lnTo>
                    <a:pt x="157" y="121"/>
                  </a:lnTo>
                  <a:lnTo>
                    <a:pt x="162" y="112"/>
                  </a:lnTo>
                  <a:lnTo>
                    <a:pt x="170" y="95"/>
                  </a:lnTo>
                  <a:lnTo>
                    <a:pt x="171" y="93"/>
                  </a:lnTo>
                  <a:lnTo>
                    <a:pt x="174" y="92"/>
                  </a:lnTo>
                  <a:lnTo>
                    <a:pt x="176" y="90"/>
                  </a:lnTo>
                  <a:lnTo>
                    <a:pt x="179" y="88"/>
                  </a:lnTo>
                  <a:lnTo>
                    <a:pt x="183" y="81"/>
                  </a:lnTo>
                  <a:lnTo>
                    <a:pt x="188" y="75"/>
                  </a:lnTo>
                  <a:lnTo>
                    <a:pt x="188" y="74"/>
                  </a:lnTo>
                  <a:lnTo>
                    <a:pt x="188" y="73"/>
                  </a:lnTo>
                  <a:lnTo>
                    <a:pt x="188" y="70"/>
                  </a:lnTo>
                  <a:lnTo>
                    <a:pt x="188" y="68"/>
                  </a:lnTo>
                  <a:lnTo>
                    <a:pt x="189" y="66"/>
                  </a:lnTo>
                  <a:lnTo>
                    <a:pt x="190" y="63"/>
                  </a:lnTo>
                  <a:lnTo>
                    <a:pt x="190" y="60"/>
                  </a:lnTo>
                  <a:lnTo>
                    <a:pt x="190" y="56"/>
                  </a:lnTo>
                  <a:lnTo>
                    <a:pt x="194" y="50"/>
                  </a:lnTo>
                  <a:lnTo>
                    <a:pt x="205" y="41"/>
                  </a:lnTo>
                  <a:lnTo>
                    <a:pt x="207" y="40"/>
                  </a:lnTo>
                  <a:lnTo>
                    <a:pt x="207" y="37"/>
                  </a:lnTo>
                  <a:lnTo>
                    <a:pt x="205" y="31"/>
                  </a:lnTo>
                  <a:lnTo>
                    <a:pt x="203" y="25"/>
                  </a:lnTo>
                  <a:lnTo>
                    <a:pt x="200" y="19"/>
                  </a:lnTo>
                  <a:lnTo>
                    <a:pt x="197" y="18"/>
                  </a:lnTo>
                  <a:lnTo>
                    <a:pt x="197" y="17"/>
                  </a:lnTo>
                  <a:lnTo>
                    <a:pt x="197" y="16"/>
                  </a:lnTo>
                  <a:lnTo>
                    <a:pt x="198" y="12"/>
                  </a:lnTo>
                  <a:lnTo>
                    <a:pt x="198" y="9"/>
                  </a:lnTo>
                  <a:lnTo>
                    <a:pt x="195" y="6"/>
                  </a:lnTo>
                  <a:lnTo>
                    <a:pt x="193" y="4"/>
                  </a:lnTo>
                  <a:lnTo>
                    <a:pt x="189" y="4"/>
                  </a:lnTo>
                  <a:lnTo>
                    <a:pt x="185" y="4"/>
                  </a:lnTo>
                  <a:lnTo>
                    <a:pt x="179" y="5"/>
                  </a:lnTo>
                  <a:lnTo>
                    <a:pt x="174" y="10"/>
                  </a:lnTo>
                  <a:lnTo>
                    <a:pt x="172" y="11"/>
                  </a:lnTo>
                  <a:lnTo>
                    <a:pt x="171" y="11"/>
                  </a:lnTo>
                  <a:lnTo>
                    <a:pt x="170" y="11"/>
                  </a:lnTo>
                  <a:lnTo>
                    <a:pt x="167" y="10"/>
                  </a:lnTo>
                  <a:lnTo>
                    <a:pt x="161" y="5"/>
                  </a:lnTo>
                  <a:lnTo>
                    <a:pt x="156" y="5"/>
                  </a:lnTo>
                  <a:lnTo>
                    <a:pt x="152" y="5"/>
                  </a:lnTo>
                  <a:lnTo>
                    <a:pt x="147" y="6"/>
                  </a:lnTo>
                  <a:lnTo>
                    <a:pt x="139" y="6"/>
                  </a:lnTo>
                  <a:lnTo>
                    <a:pt x="132" y="6"/>
                  </a:lnTo>
                  <a:lnTo>
                    <a:pt x="131" y="7"/>
                  </a:lnTo>
                  <a:lnTo>
                    <a:pt x="129" y="9"/>
                  </a:lnTo>
                  <a:lnTo>
                    <a:pt x="128" y="12"/>
                  </a:lnTo>
                  <a:lnTo>
                    <a:pt x="125" y="16"/>
                  </a:lnTo>
                  <a:lnTo>
                    <a:pt x="125" y="17"/>
                  </a:lnTo>
                  <a:lnTo>
                    <a:pt x="123" y="17"/>
                  </a:lnTo>
                  <a:lnTo>
                    <a:pt x="114" y="17"/>
                  </a:lnTo>
                  <a:lnTo>
                    <a:pt x="113" y="17"/>
                  </a:lnTo>
                  <a:lnTo>
                    <a:pt x="111" y="15"/>
                  </a:lnTo>
                  <a:lnTo>
                    <a:pt x="110" y="12"/>
                  </a:lnTo>
                  <a:lnTo>
                    <a:pt x="108" y="10"/>
                  </a:lnTo>
                  <a:lnTo>
                    <a:pt x="104" y="7"/>
                  </a:lnTo>
                  <a:lnTo>
                    <a:pt x="100" y="6"/>
                  </a:lnTo>
                  <a:lnTo>
                    <a:pt x="96" y="6"/>
                  </a:lnTo>
                  <a:lnTo>
                    <a:pt x="86" y="11"/>
                  </a:lnTo>
                  <a:lnTo>
                    <a:pt x="84" y="12"/>
                  </a:lnTo>
                  <a:lnTo>
                    <a:pt x="80" y="12"/>
                  </a:lnTo>
                  <a:lnTo>
                    <a:pt x="77" y="11"/>
                  </a:lnTo>
                  <a:lnTo>
                    <a:pt x="75" y="9"/>
                  </a:lnTo>
                  <a:lnTo>
                    <a:pt x="68" y="2"/>
                  </a:lnTo>
                  <a:lnTo>
                    <a:pt x="66" y="0"/>
                  </a:lnTo>
                  <a:lnTo>
                    <a:pt x="63" y="0"/>
                  </a:lnTo>
                  <a:lnTo>
                    <a:pt x="57" y="0"/>
                  </a:lnTo>
                  <a:lnTo>
                    <a:pt x="48" y="0"/>
                  </a:lnTo>
                  <a:lnTo>
                    <a:pt x="39" y="2"/>
                  </a:lnTo>
                  <a:lnTo>
                    <a:pt x="35" y="3"/>
                  </a:lnTo>
                  <a:lnTo>
                    <a:pt x="31" y="4"/>
                  </a:lnTo>
                  <a:lnTo>
                    <a:pt x="30" y="7"/>
                  </a:lnTo>
                  <a:lnTo>
                    <a:pt x="30" y="13"/>
                  </a:lnTo>
                  <a:lnTo>
                    <a:pt x="25" y="15"/>
                  </a:lnTo>
                  <a:lnTo>
                    <a:pt x="24" y="15"/>
                  </a:lnTo>
                  <a:lnTo>
                    <a:pt x="23" y="16"/>
                  </a:lnTo>
                  <a:lnTo>
                    <a:pt x="20" y="19"/>
                  </a:lnTo>
                  <a:lnTo>
                    <a:pt x="19" y="23"/>
                  </a:lnTo>
                  <a:lnTo>
                    <a:pt x="17" y="30"/>
                  </a:lnTo>
                  <a:lnTo>
                    <a:pt x="15" y="41"/>
                  </a:lnTo>
                  <a:lnTo>
                    <a:pt x="14" y="53"/>
                  </a:lnTo>
                  <a:lnTo>
                    <a:pt x="14" y="72"/>
                  </a:lnTo>
                  <a:lnTo>
                    <a:pt x="14" y="81"/>
                  </a:lnTo>
                  <a:lnTo>
                    <a:pt x="11" y="89"/>
                  </a:lnTo>
                  <a:lnTo>
                    <a:pt x="10" y="94"/>
                  </a:lnTo>
                  <a:lnTo>
                    <a:pt x="6" y="99"/>
                  </a:lnTo>
                  <a:lnTo>
                    <a:pt x="4" y="102"/>
                  </a:lnTo>
                  <a:lnTo>
                    <a:pt x="1" y="107"/>
                  </a:lnTo>
                  <a:lnTo>
                    <a:pt x="0" y="118"/>
                  </a:lnTo>
                  <a:lnTo>
                    <a:pt x="0" y="128"/>
                  </a:lnTo>
                  <a:lnTo>
                    <a:pt x="2" y="150"/>
                  </a:lnTo>
                  <a:lnTo>
                    <a:pt x="7" y="149"/>
                  </a:lnTo>
                  <a:lnTo>
                    <a:pt x="21" y="146"/>
                  </a:lnTo>
                  <a:lnTo>
                    <a:pt x="28" y="146"/>
                  </a:lnTo>
                  <a:lnTo>
                    <a:pt x="34" y="149"/>
                  </a:lnTo>
                  <a:lnTo>
                    <a:pt x="37" y="150"/>
                  </a:lnTo>
                  <a:lnTo>
                    <a:pt x="40" y="153"/>
                  </a:lnTo>
                  <a:lnTo>
                    <a:pt x="44" y="160"/>
                  </a:lnTo>
                  <a:lnTo>
                    <a:pt x="49" y="177"/>
                  </a:lnTo>
                  <a:lnTo>
                    <a:pt x="52" y="182"/>
                  </a:lnTo>
                  <a:lnTo>
                    <a:pt x="53" y="184"/>
                  </a:lnTo>
                  <a:lnTo>
                    <a:pt x="56" y="185"/>
                  </a:lnTo>
                  <a:lnTo>
                    <a:pt x="62" y="185"/>
                  </a:lnTo>
                  <a:lnTo>
                    <a:pt x="67" y="185"/>
                  </a:lnTo>
                  <a:lnTo>
                    <a:pt x="73" y="185"/>
                  </a:lnTo>
                  <a:lnTo>
                    <a:pt x="77" y="185"/>
                  </a:lnTo>
                  <a:lnTo>
                    <a:pt x="80" y="187"/>
                  </a:lnTo>
                  <a:lnTo>
                    <a:pt x="84" y="188"/>
                  </a:lnTo>
                  <a:lnTo>
                    <a:pt x="86" y="187"/>
                  </a:lnTo>
                  <a:lnTo>
                    <a:pt x="89" y="185"/>
                  </a:lnTo>
                  <a:lnTo>
                    <a:pt x="92" y="185"/>
                  </a:lnTo>
                  <a:lnTo>
                    <a:pt x="96" y="187"/>
                  </a:lnTo>
                  <a:lnTo>
                    <a:pt x="97" y="187"/>
                  </a:lnTo>
                  <a:lnTo>
                    <a:pt x="99" y="185"/>
                  </a:lnTo>
                  <a:lnTo>
                    <a:pt x="101" y="183"/>
                  </a:lnTo>
                  <a:lnTo>
                    <a:pt x="104" y="18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6" name="Freeform 705"/>
            <p:cNvSpPr>
              <a:spLocks/>
            </p:cNvSpPr>
            <p:nvPr/>
          </p:nvSpPr>
          <p:spPr bwMode="auto">
            <a:xfrm>
              <a:off x="4543429" y="4019551"/>
              <a:ext cx="195263" cy="338138"/>
            </a:xfrm>
            <a:custGeom>
              <a:avLst/>
              <a:gdLst>
                <a:gd name="T0" fmla="*/ 2147483647 w 133"/>
                <a:gd name="T1" fmla="*/ 2147483647 h 213"/>
                <a:gd name="T2" fmla="*/ 0 w 133"/>
                <a:gd name="T3" fmla="*/ 2147483647 h 213"/>
                <a:gd name="T4" fmla="*/ 2147483647 w 133"/>
                <a:gd name="T5" fmla="*/ 2147483647 h 213"/>
                <a:gd name="T6" fmla="*/ 2147483647 w 133"/>
                <a:gd name="T7" fmla="*/ 2147483647 h 213"/>
                <a:gd name="T8" fmla="*/ 2147483647 w 133"/>
                <a:gd name="T9" fmla="*/ 2147483647 h 213"/>
                <a:gd name="T10" fmla="*/ 2147483647 w 133"/>
                <a:gd name="T11" fmla="*/ 2147483647 h 213"/>
                <a:gd name="T12" fmla="*/ 2147483647 w 133"/>
                <a:gd name="T13" fmla="*/ 2147483647 h 213"/>
                <a:gd name="T14" fmla="*/ 2147483647 w 133"/>
                <a:gd name="T15" fmla="*/ 2147483647 h 213"/>
                <a:gd name="T16" fmla="*/ 2147483647 w 133"/>
                <a:gd name="T17" fmla="*/ 2147483647 h 213"/>
                <a:gd name="T18" fmla="*/ 2147483647 w 133"/>
                <a:gd name="T19" fmla="*/ 2147483647 h 213"/>
                <a:gd name="T20" fmla="*/ 2147483647 w 133"/>
                <a:gd name="T21" fmla="*/ 2147483647 h 213"/>
                <a:gd name="T22" fmla="*/ 2147483647 w 133"/>
                <a:gd name="T23" fmla="*/ 2147483647 h 213"/>
                <a:gd name="T24" fmla="*/ 2147483647 w 133"/>
                <a:gd name="T25" fmla="*/ 2147483647 h 213"/>
                <a:gd name="T26" fmla="*/ 2147483647 w 133"/>
                <a:gd name="T27" fmla="*/ 2147483647 h 213"/>
                <a:gd name="T28" fmla="*/ 2147483647 w 133"/>
                <a:gd name="T29" fmla="*/ 2147483647 h 213"/>
                <a:gd name="T30" fmla="*/ 2147483647 w 133"/>
                <a:gd name="T31" fmla="*/ 2147483647 h 213"/>
                <a:gd name="T32" fmla="*/ 2147483647 w 133"/>
                <a:gd name="T33" fmla="*/ 2147483647 h 213"/>
                <a:gd name="T34" fmla="*/ 2147483647 w 133"/>
                <a:gd name="T35" fmla="*/ 2147483647 h 213"/>
                <a:gd name="T36" fmla="*/ 2147483647 w 133"/>
                <a:gd name="T37" fmla="*/ 2147483647 h 213"/>
                <a:gd name="T38" fmla="*/ 2147483647 w 133"/>
                <a:gd name="T39" fmla="*/ 0 h 213"/>
                <a:gd name="T40" fmla="*/ 2147483647 w 133"/>
                <a:gd name="T41" fmla="*/ 2147483647 h 213"/>
                <a:gd name="T42" fmla="*/ 2147483647 w 133"/>
                <a:gd name="T43" fmla="*/ 2147483647 h 213"/>
                <a:gd name="T44" fmla="*/ 2147483647 w 133"/>
                <a:gd name="T45" fmla="*/ 2147483647 h 213"/>
                <a:gd name="T46" fmla="*/ 2147483647 w 133"/>
                <a:gd name="T47" fmla="*/ 2147483647 h 213"/>
                <a:gd name="T48" fmla="*/ 2147483647 w 133"/>
                <a:gd name="T49" fmla="*/ 2147483647 h 213"/>
                <a:gd name="T50" fmla="*/ 2147483647 w 133"/>
                <a:gd name="T51" fmla="*/ 2147483647 h 213"/>
                <a:gd name="T52" fmla="*/ 2147483647 w 133"/>
                <a:gd name="T53" fmla="*/ 2147483647 h 213"/>
                <a:gd name="T54" fmla="*/ 2147483647 w 133"/>
                <a:gd name="T55" fmla="*/ 2147483647 h 213"/>
                <a:gd name="T56" fmla="*/ 2147483647 w 133"/>
                <a:gd name="T57" fmla="*/ 2147483647 h 213"/>
                <a:gd name="T58" fmla="*/ 2147483647 w 133"/>
                <a:gd name="T59" fmla="*/ 2147483647 h 213"/>
                <a:gd name="T60" fmla="*/ 2147483647 w 133"/>
                <a:gd name="T61" fmla="*/ 2147483647 h 213"/>
                <a:gd name="T62" fmla="*/ 2147483647 w 133"/>
                <a:gd name="T63" fmla="*/ 2147483647 h 213"/>
                <a:gd name="T64" fmla="*/ 2147483647 w 133"/>
                <a:gd name="T65" fmla="*/ 2147483647 h 213"/>
                <a:gd name="T66" fmla="*/ 2147483647 w 133"/>
                <a:gd name="T67" fmla="*/ 2147483647 h 213"/>
                <a:gd name="T68" fmla="*/ 2147483647 w 133"/>
                <a:gd name="T69" fmla="*/ 2147483647 h 213"/>
                <a:gd name="T70" fmla="*/ 2147483647 w 133"/>
                <a:gd name="T71" fmla="*/ 2147483647 h 213"/>
                <a:gd name="T72" fmla="*/ 2147483647 w 133"/>
                <a:gd name="T73" fmla="*/ 2147483647 h 213"/>
                <a:gd name="T74" fmla="*/ 2147483647 w 133"/>
                <a:gd name="T75" fmla="*/ 2147483647 h 213"/>
                <a:gd name="T76" fmla="*/ 2147483647 w 133"/>
                <a:gd name="T77" fmla="*/ 2147483647 h 213"/>
                <a:gd name="T78" fmla="*/ 2147483647 w 133"/>
                <a:gd name="T79" fmla="*/ 2147483647 h 213"/>
                <a:gd name="T80" fmla="*/ 2147483647 w 133"/>
                <a:gd name="T81" fmla="*/ 2147483647 h 213"/>
                <a:gd name="T82" fmla="*/ 2147483647 w 133"/>
                <a:gd name="T83" fmla="*/ 2147483647 h 213"/>
                <a:gd name="T84" fmla="*/ 2147483647 w 133"/>
                <a:gd name="T85" fmla="*/ 2147483647 h 213"/>
                <a:gd name="T86" fmla="*/ 2147483647 w 133"/>
                <a:gd name="T87" fmla="*/ 2147483647 h 213"/>
                <a:gd name="T88" fmla="*/ 2147483647 w 133"/>
                <a:gd name="T89" fmla="*/ 2147483647 h 213"/>
                <a:gd name="T90" fmla="*/ 2147483647 w 133"/>
                <a:gd name="T91" fmla="*/ 2147483647 h 213"/>
                <a:gd name="T92" fmla="*/ 2147483647 w 133"/>
                <a:gd name="T93" fmla="*/ 2147483647 h 213"/>
                <a:gd name="T94" fmla="*/ 2147483647 w 133"/>
                <a:gd name="T95" fmla="*/ 2147483647 h 213"/>
                <a:gd name="T96" fmla="*/ 2147483647 w 133"/>
                <a:gd name="T97" fmla="*/ 2147483647 h 213"/>
                <a:gd name="T98" fmla="*/ 2147483647 w 133"/>
                <a:gd name="T99" fmla="*/ 2147483647 h 213"/>
                <a:gd name="T100" fmla="*/ 2147483647 w 133"/>
                <a:gd name="T101" fmla="*/ 2147483647 h 213"/>
                <a:gd name="T102" fmla="*/ 2147483647 w 133"/>
                <a:gd name="T103" fmla="*/ 2147483647 h 213"/>
                <a:gd name="T104" fmla="*/ 2147483647 w 133"/>
                <a:gd name="T105" fmla="*/ 2147483647 h 213"/>
                <a:gd name="T106" fmla="*/ 2147483647 w 133"/>
                <a:gd name="T107" fmla="*/ 2147483647 h 2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3"/>
                <a:gd name="T163" fmla="*/ 0 h 213"/>
                <a:gd name="T164" fmla="*/ 133 w 133"/>
                <a:gd name="T165" fmla="*/ 213 h 2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3" h="213">
                  <a:moveTo>
                    <a:pt x="9" y="162"/>
                  </a:moveTo>
                  <a:lnTo>
                    <a:pt x="2" y="154"/>
                  </a:lnTo>
                  <a:lnTo>
                    <a:pt x="0" y="151"/>
                  </a:lnTo>
                  <a:lnTo>
                    <a:pt x="0" y="150"/>
                  </a:lnTo>
                  <a:lnTo>
                    <a:pt x="1" y="147"/>
                  </a:lnTo>
                  <a:lnTo>
                    <a:pt x="6" y="140"/>
                  </a:lnTo>
                  <a:lnTo>
                    <a:pt x="10" y="133"/>
                  </a:lnTo>
                  <a:lnTo>
                    <a:pt x="13" y="131"/>
                  </a:lnTo>
                  <a:lnTo>
                    <a:pt x="15" y="128"/>
                  </a:lnTo>
                  <a:lnTo>
                    <a:pt x="19" y="126"/>
                  </a:lnTo>
                  <a:lnTo>
                    <a:pt x="23" y="126"/>
                  </a:lnTo>
                  <a:lnTo>
                    <a:pt x="28" y="126"/>
                  </a:lnTo>
                  <a:lnTo>
                    <a:pt x="33" y="126"/>
                  </a:lnTo>
                  <a:lnTo>
                    <a:pt x="42" y="122"/>
                  </a:lnTo>
                  <a:lnTo>
                    <a:pt x="49" y="117"/>
                  </a:lnTo>
                  <a:lnTo>
                    <a:pt x="57" y="111"/>
                  </a:lnTo>
                  <a:lnTo>
                    <a:pt x="62" y="102"/>
                  </a:lnTo>
                  <a:lnTo>
                    <a:pt x="67" y="93"/>
                  </a:lnTo>
                  <a:lnTo>
                    <a:pt x="75" y="76"/>
                  </a:lnTo>
                  <a:lnTo>
                    <a:pt x="76" y="74"/>
                  </a:lnTo>
                  <a:lnTo>
                    <a:pt x="79" y="73"/>
                  </a:lnTo>
                  <a:lnTo>
                    <a:pt x="81" y="71"/>
                  </a:lnTo>
                  <a:lnTo>
                    <a:pt x="84" y="69"/>
                  </a:lnTo>
                  <a:lnTo>
                    <a:pt x="88" y="62"/>
                  </a:lnTo>
                  <a:lnTo>
                    <a:pt x="93" y="56"/>
                  </a:lnTo>
                  <a:lnTo>
                    <a:pt x="93" y="55"/>
                  </a:lnTo>
                  <a:lnTo>
                    <a:pt x="93" y="54"/>
                  </a:lnTo>
                  <a:lnTo>
                    <a:pt x="93" y="51"/>
                  </a:lnTo>
                  <a:lnTo>
                    <a:pt x="93" y="49"/>
                  </a:lnTo>
                  <a:lnTo>
                    <a:pt x="94" y="47"/>
                  </a:lnTo>
                  <a:lnTo>
                    <a:pt x="95" y="44"/>
                  </a:lnTo>
                  <a:lnTo>
                    <a:pt x="95" y="41"/>
                  </a:lnTo>
                  <a:lnTo>
                    <a:pt x="95" y="37"/>
                  </a:lnTo>
                  <a:lnTo>
                    <a:pt x="99" y="31"/>
                  </a:lnTo>
                  <a:lnTo>
                    <a:pt x="110" y="22"/>
                  </a:lnTo>
                  <a:lnTo>
                    <a:pt x="112" y="21"/>
                  </a:lnTo>
                  <a:lnTo>
                    <a:pt x="112" y="18"/>
                  </a:lnTo>
                  <a:lnTo>
                    <a:pt x="110" y="12"/>
                  </a:lnTo>
                  <a:lnTo>
                    <a:pt x="108" y="6"/>
                  </a:lnTo>
                  <a:lnTo>
                    <a:pt x="105" y="0"/>
                  </a:lnTo>
                  <a:lnTo>
                    <a:pt x="112" y="4"/>
                  </a:lnTo>
                  <a:lnTo>
                    <a:pt x="117" y="9"/>
                  </a:lnTo>
                  <a:lnTo>
                    <a:pt x="121" y="13"/>
                  </a:lnTo>
                  <a:lnTo>
                    <a:pt x="123" y="19"/>
                  </a:lnTo>
                  <a:lnTo>
                    <a:pt x="126" y="25"/>
                  </a:lnTo>
                  <a:lnTo>
                    <a:pt x="127" y="31"/>
                  </a:lnTo>
                  <a:lnTo>
                    <a:pt x="127" y="45"/>
                  </a:lnTo>
                  <a:lnTo>
                    <a:pt x="127" y="48"/>
                  </a:lnTo>
                  <a:lnTo>
                    <a:pt x="128" y="51"/>
                  </a:lnTo>
                  <a:lnTo>
                    <a:pt x="132" y="57"/>
                  </a:lnTo>
                  <a:lnTo>
                    <a:pt x="133" y="60"/>
                  </a:lnTo>
                  <a:lnTo>
                    <a:pt x="133" y="61"/>
                  </a:lnTo>
                  <a:lnTo>
                    <a:pt x="132" y="62"/>
                  </a:lnTo>
                  <a:lnTo>
                    <a:pt x="128" y="63"/>
                  </a:lnTo>
                  <a:lnTo>
                    <a:pt x="124" y="64"/>
                  </a:lnTo>
                  <a:lnTo>
                    <a:pt x="117" y="63"/>
                  </a:lnTo>
                  <a:lnTo>
                    <a:pt x="113" y="64"/>
                  </a:lnTo>
                  <a:lnTo>
                    <a:pt x="110" y="64"/>
                  </a:lnTo>
                  <a:lnTo>
                    <a:pt x="109" y="67"/>
                  </a:lnTo>
                  <a:lnTo>
                    <a:pt x="109" y="70"/>
                  </a:lnTo>
                  <a:lnTo>
                    <a:pt x="109" y="73"/>
                  </a:lnTo>
                  <a:lnTo>
                    <a:pt x="112" y="75"/>
                  </a:lnTo>
                  <a:lnTo>
                    <a:pt x="116" y="79"/>
                  </a:lnTo>
                  <a:lnTo>
                    <a:pt x="119" y="83"/>
                  </a:lnTo>
                  <a:lnTo>
                    <a:pt x="122" y="86"/>
                  </a:lnTo>
                  <a:lnTo>
                    <a:pt x="122" y="88"/>
                  </a:lnTo>
                  <a:lnTo>
                    <a:pt x="123" y="94"/>
                  </a:lnTo>
                  <a:lnTo>
                    <a:pt x="123" y="101"/>
                  </a:lnTo>
                  <a:lnTo>
                    <a:pt x="123" y="114"/>
                  </a:lnTo>
                  <a:lnTo>
                    <a:pt x="121" y="115"/>
                  </a:lnTo>
                  <a:lnTo>
                    <a:pt x="117" y="117"/>
                  </a:lnTo>
                  <a:lnTo>
                    <a:pt x="113" y="120"/>
                  </a:lnTo>
                  <a:lnTo>
                    <a:pt x="109" y="124"/>
                  </a:lnTo>
                  <a:lnTo>
                    <a:pt x="108" y="128"/>
                  </a:lnTo>
                  <a:lnTo>
                    <a:pt x="107" y="133"/>
                  </a:lnTo>
                  <a:lnTo>
                    <a:pt x="107" y="143"/>
                  </a:lnTo>
                  <a:lnTo>
                    <a:pt x="109" y="152"/>
                  </a:lnTo>
                  <a:lnTo>
                    <a:pt x="110" y="157"/>
                  </a:lnTo>
                  <a:lnTo>
                    <a:pt x="113" y="160"/>
                  </a:lnTo>
                  <a:lnTo>
                    <a:pt x="119" y="166"/>
                  </a:lnTo>
                  <a:lnTo>
                    <a:pt x="126" y="171"/>
                  </a:lnTo>
                  <a:lnTo>
                    <a:pt x="132" y="177"/>
                  </a:lnTo>
                  <a:lnTo>
                    <a:pt x="133" y="182"/>
                  </a:lnTo>
                  <a:lnTo>
                    <a:pt x="133" y="188"/>
                  </a:lnTo>
                  <a:lnTo>
                    <a:pt x="132" y="198"/>
                  </a:lnTo>
                  <a:lnTo>
                    <a:pt x="133" y="207"/>
                  </a:lnTo>
                  <a:lnTo>
                    <a:pt x="132" y="213"/>
                  </a:lnTo>
                  <a:lnTo>
                    <a:pt x="119" y="204"/>
                  </a:lnTo>
                  <a:lnTo>
                    <a:pt x="116" y="202"/>
                  </a:lnTo>
                  <a:lnTo>
                    <a:pt x="112" y="201"/>
                  </a:lnTo>
                  <a:lnTo>
                    <a:pt x="108" y="201"/>
                  </a:lnTo>
                  <a:lnTo>
                    <a:pt x="104" y="202"/>
                  </a:lnTo>
                  <a:lnTo>
                    <a:pt x="100" y="204"/>
                  </a:lnTo>
                  <a:lnTo>
                    <a:pt x="81" y="204"/>
                  </a:lnTo>
                  <a:lnTo>
                    <a:pt x="62" y="204"/>
                  </a:lnTo>
                  <a:lnTo>
                    <a:pt x="32" y="202"/>
                  </a:lnTo>
                  <a:lnTo>
                    <a:pt x="33" y="196"/>
                  </a:lnTo>
                  <a:lnTo>
                    <a:pt x="34" y="192"/>
                  </a:lnTo>
                  <a:lnTo>
                    <a:pt x="34" y="189"/>
                  </a:lnTo>
                  <a:lnTo>
                    <a:pt x="32" y="181"/>
                  </a:lnTo>
                  <a:lnTo>
                    <a:pt x="25" y="173"/>
                  </a:lnTo>
                  <a:lnTo>
                    <a:pt x="18" y="169"/>
                  </a:lnTo>
                  <a:lnTo>
                    <a:pt x="16" y="166"/>
                  </a:lnTo>
                  <a:lnTo>
                    <a:pt x="16" y="165"/>
                  </a:lnTo>
                  <a:lnTo>
                    <a:pt x="16" y="163"/>
                  </a:lnTo>
                  <a:lnTo>
                    <a:pt x="14" y="162"/>
                  </a:lnTo>
                  <a:lnTo>
                    <a:pt x="11" y="160"/>
                  </a:lnTo>
                  <a:lnTo>
                    <a:pt x="9" y="16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7" name="Freeform 706"/>
            <p:cNvSpPr>
              <a:spLocks/>
            </p:cNvSpPr>
            <p:nvPr/>
          </p:nvSpPr>
          <p:spPr bwMode="auto">
            <a:xfrm>
              <a:off x="4341816" y="3678242"/>
              <a:ext cx="403225" cy="382587"/>
            </a:xfrm>
            <a:custGeom>
              <a:avLst/>
              <a:gdLst>
                <a:gd name="T0" fmla="*/ 2147483647 w 275"/>
                <a:gd name="T1" fmla="*/ 2147483647 h 241"/>
                <a:gd name="T2" fmla="*/ 2147483647 w 275"/>
                <a:gd name="T3" fmla="*/ 2147483647 h 241"/>
                <a:gd name="T4" fmla="*/ 2147483647 w 275"/>
                <a:gd name="T5" fmla="*/ 2147483647 h 241"/>
                <a:gd name="T6" fmla="*/ 2147483647 w 275"/>
                <a:gd name="T7" fmla="*/ 2147483647 h 241"/>
                <a:gd name="T8" fmla="*/ 2147483647 w 275"/>
                <a:gd name="T9" fmla="*/ 2147483647 h 241"/>
                <a:gd name="T10" fmla="*/ 2147483647 w 275"/>
                <a:gd name="T11" fmla="*/ 2147483647 h 241"/>
                <a:gd name="T12" fmla="*/ 2147483647 w 275"/>
                <a:gd name="T13" fmla="*/ 2147483647 h 241"/>
                <a:gd name="T14" fmla="*/ 2147483647 w 275"/>
                <a:gd name="T15" fmla="*/ 2147483647 h 241"/>
                <a:gd name="T16" fmla="*/ 2147483647 w 275"/>
                <a:gd name="T17" fmla="*/ 2147483647 h 241"/>
                <a:gd name="T18" fmla="*/ 2147483647 w 275"/>
                <a:gd name="T19" fmla="*/ 2147483647 h 241"/>
                <a:gd name="T20" fmla="*/ 2147483647 w 275"/>
                <a:gd name="T21" fmla="*/ 2147483647 h 241"/>
                <a:gd name="T22" fmla="*/ 2147483647 w 275"/>
                <a:gd name="T23" fmla="*/ 2147483647 h 241"/>
                <a:gd name="T24" fmla="*/ 2147483647 w 275"/>
                <a:gd name="T25" fmla="*/ 2147483647 h 241"/>
                <a:gd name="T26" fmla="*/ 2147483647 w 275"/>
                <a:gd name="T27" fmla="*/ 2147483647 h 241"/>
                <a:gd name="T28" fmla="*/ 2147483647 w 275"/>
                <a:gd name="T29" fmla="*/ 2147483647 h 241"/>
                <a:gd name="T30" fmla="*/ 2147483647 w 275"/>
                <a:gd name="T31" fmla="*/ 2147483647 h 241"/>
                <a:gd name="T32" fmla="*/ 2147483647 w 275"/>
                <a:gd name="T33" fmla="*/ 2147483647 h 241"/>
                <a:gd name="T34" fmla="*/ 2147483647 w 275"/>
                <a:gd name="T35" fmla="*/ 2147483647 h 241"/>
                <a:gd name="T36" fmla="*/ 2147483647 w 275"/>
                <a:gd name="T37" fmla="*/ 2147483647 h 241"/>
                <a:gd name="T38" fmla="*/ 2147483647 w 275"/>
                <a:gd name="T39" fmla="*/ 2147483647 h 241"/>
                <a:gd name="T40" fmla="*/ 2147483647 w 275"/>
                <a:gd name="T41" fmla="*/ 2147483647 h 241"/>
                <a:gd name="T42" fmla="*/ 2147483647 w 275"/>
                <a:gd name="T43" fmla="*/ 2147483647 h 241"/>
                <a:gd name="T44" fmla="*/ 2147483647 w 275"/>
                <a:gd name="T45" fmla="*/ 2147483647 h 241"/>
                <a:gd name="T46" fmla="*/ 2147483647 w 275"/>
                <a:gd name="T47" fmla="*/ 2147483647 h 241"/>
                <a:gd name="T48" fmla="*/ 0 w 275"/>
                <a:gd name="T49" fmla="*/ 2147483647 h 241"/>
                <a:gd name="T50" fmla="*/ 2147483647 w 275"/>
                <a:gd name="T51" fmla="*/ 2147483647 h 241"/>
                <a:gd name="T52" fmla="*/ 2147483647 w 275"/>
                <a:gd name="T53" fmla="*/ 2147483647 h 241"/>
                <a:gd name="T54" fmla="*/ 2147483647 w 275"/>
                <a:gd name="T55" fmla="*/ 2147483647 h 241"/>
                <a:gd name="T56" fmla="*/ 2147483647 w 275"/>
                <a:gd name="T57" fmla="*/ 2147483647 h 241"/>
                <a:gd name="T58" fmla="*/ 2147483647 w 275"/>
                <a:gd name="T59" fmla="*/ 2147483647 h 241"/>
                <a:gd name="T60" fmla="*/ 2147483647 w 275"/>
                <a:gd name="T61" fmla="*/ 2147483647 h 241"/>
                <a:gd name="T62" fmla="*/ 2147483647 w 275"/>
                <a:gd name="T63" fmla="*/ 2147483647 h 241"/>
                <a:gd name="T64" fmla="*/ 2147483647 w 275"/>
                <a:gd name="T65" fmla="*/ 2147483647 h 241"/>
                <a:gd name="T66" fmla="*/ 2147483647 w 275"/>
                <a:gd name="T67" fmla="*/ 2147483647 h 241"/>
                <a:gd name="T68" fmla="*/ 2147483647 w 275"/>
                <a:gd name="T69" fmla="*/ 2147483647 h 241"/>
                <a:gd name="T70" fmla="*/ 2147483647 w 275"/>
                <a:gd name="T71" fmla="*/ 2147483647 h 241"/>
                <a:gd name="T72" fmla="*/ 2147483647 w 275"/>
                <a:gd name="T73" fmla="*/ 2147483647 h 241"/>
                <a:gd name="T74" fmla="*/ 2147483647 w 275"/>
                <a:gd name="T75" fmla="*/ 2147483647 h 241"/>
                <a:gd name="T76" fmla="*/ 2147483647 w 275"/>
                <a:gd name="T77" fmla="*/ 2147483647 h 241"/>
                <a:gd name="T78" fmla="*/ 2147483647 w 275"/>
                <a:gd name="T79" fmla="*/ 2147483647 h 241"/>
                <a:gd name="T80" fmla="*/ 2147483647 w 275"/>
                <a:gd name="T81" fmla="*/ 2147483647 h 241"/>
                <a:gd name="T82" fmla="*/ 2147483647 w 275"/>
                <a:gd name="T83" fmla="*/ 2147483647 h 241"/>
                <a:gd name="T84" fmla="*/ 2147483647 w 275"/>
                <a:gd name="T85" fmla="*/ 2147483647 h 241"/>
                <a:gd name="T86" fmla="*/ 2147483647 w 275"/>
                <a:gd name="T87" fmla="*/ 2147483647 h 241"/>
                <a:gd name="T88" fmla="*/ 2147483647 w 275"/>
                <a:gd name="T89" fmla="*/ 2147483647 h 241"/>
                <a:gd name="T90" fmla="*/ 2147483647 w 275"/>
                <a:gd name="T91" fmla="*/ 2147483647 h 241"/>
                <a:gd name="T92" fmla="*/ 2147483647 w 275"/>
                <a:gd name="T93" fmla="*/ 2147483647 h 241"/>
                <a:gd name="T94" fmla="*/ 2147483647 w 275"/>
                <a:gd name="T95" fmla="*/ 2147483647 h 241"/>
                <a:gd name="T96" fmla="*/ 2147483647 w 275"/>
                <a:gd name="T97" fmla="*/ 2147483647 h 241"/>
                <a:gd name="T98" fmla="*/ 2147483647 w 275"/>
                <a:gd name="T99" fmla="*/ 2147483647 h 241"/>
                <a:gd name="T100" fmla="*/ 2147483647 w 275"/>
                <a:gd name="T101" fmla="*/ 2147483647 h 2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5"/>
                <a:gd name="T154" fmla="*/ 0 h 241"/>
                <a:gd name="T155" fmla="*/ 275 w 275"/>
                <a:gd name="T156" fmla="*/ 241 h 24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5" h="241">
                  <a:moveTo>
                    <a:pt x="228" y="200"/>
                  </a:moveTo>
                  <a:lnTo>
                    <a:pt x="222" y="201"/>
                  </a:lnTo>
                  <a:lnTo>
                    <a:pt x="217" y="206"/>
                  </a:lnTo>
                  <a:lnTo>
                    <a:pt x="215" y="207"/>
                  </a:lnTo>
                  <a:lnTo>
                    <a:pt x="214" y="207"/>
                  </a:lnTo>
                  <a:lnTo>
                    <a:pt x="213" y="207"/>
                  </a:lnTo>
                  <a:lnTo>
                    <a:pt x="210" y="206"/>
                  </a:lnTo>
                  <a:lnTo>
                    <a:pt x="204" y="201"/>
                  </a:lnTo>
                  <a:lnTo>
                    <a:pt x="199" y="201"/>
                  </a:lnTo>
                  <a:lnTo>
                    <a:pt x="195" y="201"/>
                  </a:lnTo>
                  <a:lnTo>
                    <a:pt x="190" y="202"/>
                  </a:lnTo>
                  <a:lnTo>
                    <a:pt x="182" y="202"/>
                  </a:lnTo>
                  <a:lnTo>
                    <a:pt x="175" y="202"/>
                  </a:lnTo>
                  <a:lnTo>
                    <a:pt x="174" y="203"/>
                  </a:lnTo>
                  <a:lnTo>
                    <a:pt x="172" y="205"/>
                  </a:lnTo>
                  <a:lnTo>
                    <a:pt x="171" y="208"/>
                  </a:lnTo>
                  <a:lnTo>
                    <a:pt x="168" y="212"/>
                  </a:lnTo>
                  <a:lnTo>
                    <a:pt x="168" y="213"/>
                  </a:lnTo>
                  <a:lnTo>
                    <a:pt x="166" y="213"/>
                  </a:lnTo>
                  <a:lnTo>
                    <a:pt x="157" y="213"/>
                  </a:lnTo>
                  <a:lnTo>
                    <a:pt x="156" y="213"/>
                  </a:lnTo>
                  <a:lnTo>
                    <a:pt x="154" y="211"/>
                  </a:lnTo>
                  <a:lnTo>
                    <a:pt x="153" y="208"/>
                  </a:lnTo>
                  <a:lnTo>
                    <a:pt x="151" y="206"/>
                  </a:lnTo>
                  <a:lnTo>
                    <a:pt x="147" y="203"/>
                  </a:lnTo>
                  <a:lnTo>
                    <a:pt x="143" y="202"/>
                  </a:lnTo>
                  <a:lnTo>
                    <a:pt x="139" y="202"/>
                  </a:lnTo>
                  <a:lnTo>
                    <a:pt x="129" y="207"/>
                  </a:lnTo>
                  <a:lnTo>
                    <a:pt x="127" y="208"/>
                  </a:lnTo>
                  <a:lnTo>
                    <a:pt x="123" y="208"/>
                  </a:lnTo>
                  <a:lnTo>
                    <a:pt x="120" y="207"/>
                  </a:lnTo>
                  <a:lnTo>
                    <a:pt x="118" y="205"/>
                  </a:lnTo>
                  <a:lnTo>
                    <a:pt x="111" y="198"/>
                  </a:lnTo>
                  <a:lnTo>
                    <a:pt x="109" y="196"/>
                  </a:lnTo>
                  <a:lnTo>
                    <a:pt x="106" y="196"/>
                  </a:lnTo>
                  <a:lnTo>
                    <a:pt x="100" y="196"/>
                  </a:lnTo>
                  <a:lnTo>
                    <a:pt x="91" y="196"/>
                  </a:lnTo>
                  <a:lnTo>
                    <a:pt x="82" y="198"/>
                  </a:lnTo>
                  <a:lnTo>
                    <a:pt x="78" y="199"/>
                  </a:lnTo>
                  <a:lnTo>
                    <a:pt x="74" y="200"/>
                  </a:lnTo>
                  <a:lnTo>
                    <a:pt x="73" y="203"/>
                  </a:lnTo>
                  <a:lnTo>
                    <a:pt x="73" y="209"/>
                  </a:lnTo>
                  <a:lnTo>
                    <a:pt x="68" y="211"/>
                  </a:lnTo>
                  <a:lnTo>
                    <a:pt x="67" y="211"/>
                  </a:lnTo>
                  <a:lnTo>
                    <a:pt x="66" y="212"/>
                  </a:lnTo>
                  <a:lnTo>
                    <a:pt x="63" y="215"/>
                  </a:lnTo>
                  <a:lnTo>
                    <a:pt x="62" y="219"/>
                  </a:lnTo>
                  <a:lnTo>
                    <a:pt x="60" y="226"/>
                  </a:lnTo>
                  <a:lnTo>
                    <a:pt x="58" y="237"/>
                  </a:lnTo>
                  <a:lnTo>
                    <a:pt x="54" y="234"/>
                  </a:lnTo>
                  <a:lnTo>
                    <a:pt x="50" y="232"/>
                  </a:lnTo>
                  <a:lnTo>
                    <a:pt x="48" y="230"/>
                  </a:lnTo>
                  <a:lnTo>
                    <a:pt x="43" y="228"/>
                  </a:lnTo>
                  <a:lnTo>
                    <a:pt x="39" y="228"/>
                  </a:lnTo>
                  <a:lnTo>
                    <a:pt x="35" y="231"/>
                  </a:lnTo>
                  <a:lnTo>
                    <a:pt x="31" y="233"/>
                  </a:lnTo>
                  <a:lnTo>
                    <a:pt x="27" y="236"/>
                  </a:lnTo>
                  <a:lnTo>
                    <a:pt x="24" y="239"/>
                  </a:lnTo>
                  <a:lnTo>
                    <a:pt x="19" y="241"/>
                  </a:lnTo>
                  <a:lnTo>
                    <a:pt x="19" y="238"/>
                  </a:lnTo>
                  <a:lnTo>
                    <a:pt x="20" y="234"/>
                  </a:lnTo>
                  <a:lnTo>
                    <a:pt x="22" y="228"/>
                  </a:lnTo>
                  <a:lnTo>
                    <a:pt x="24" y="224"/>
                  </a:lnTo>
                  <a:lnTo>
                    <a:pt x="24" y="220"/>
                  </a:lnTo>
                  <a:lnTo>
                    <a:pt x="21" y="212"/>
                  </a:lnTo>
                  <a:lnTo>
                    <a:pt x="16" y="203"/>
                  </a:lnTo>
                  <a:lnTo>
                    <a:pt x="10" y="198"/>
                  </a:lnTo>
                  <a:lnTo>
                    <a:pt x="10" y="195"/>
                  </a:lnTo>
                  <a:lnTo>
                    <a:pt x="10" y="193"/>
                  </a:lnTo>
                  <a:lnTo>
                    <a:pt x="10" y="190"/>
                  </a:lnTo>
                  <a:lnTo>
                    <a:pt x="10" y="188"/>
                  </a:lnTo>
                  <a:lnTo>
                    <a:pt x="6" y="183"/>
                  </a:lnTo>
                  <a:lnTo>
                    <a:pt x="2" y="177"/>
                  </a:lnTo>
                  <a:lnTo>
                    <a:pt x="0" y="173"/>
                  </a:lnTo>
                  <a:lnTo>
                    <a:pt x="0" y="169"/>
                  </a:lnTo>
                  <a:lnTo>
                    <a:pt x="0" y="166"/>
                  </a:lnTo>
                  <a:lnTo>
                    <a:pt x="3" y="167"/>
                  </a:lnTo>
                  <a:lnTo>
                    <a:pt x="7" y="166"/>
                  </a:lnTo>
                  <a:lnTo>
                    <a:pt x="15" y="163"/>
                  </a:lnTo>
                  <a:lnTo>
                    <a:pt x="36" y="160"/>
                  </a:lnTo>
                  <a:lnTo>
                    <a:pt x="45" y="156"/>
                  </a:lnTo>
                  <a:lnTo>
                    <a:pt x="50" y="155"/>
                  </a:lnTo>
                  <a:lnTo>
                    <a:pt x="54" y="151"/>
                  </a:lnTo>
                  <a:lnTo>
                    <a:pt x="60" y="145"/>
                  </a:lnTo>
                  <a:lnTo>
                    <a:pt x="66" y="138"/>
                  </a:lnTo>
                  <a:lnTo>
                    <a:pt x="68" y="131"/>
                  </a:lnTo>
                  <a:lnTo>
                    <a:pt x="69" y="123"/>
                  </a:lnTo>
                  <a:lnTo>
                    <a:pt x="69" y="105"/>
                  </a:lnTo>
                  <a:lnTo>
                    <a:pt x="68" y="88"/>
                  </a:lnTo>
                  <a:lnTo>
                    <a:pt x="73" y="87"/>
                  </a:lnTo>
                  <a:lnTo>
                    <a:pt x="80" y="86"/>
                  </a:lnTo>
                  <a:lnTo>
                    <a:pt x="83" y="86"/>
                  </a:lnTo>
                  <a:lnTo>
                    <a:pt x="85" y="85"/>
                  </a:lnTo>
                  <a:lnTo>
                    <a:pt x="90" y="85"/>
                  </a:lnTo>
                  <a:lnTo>
                    <a:pt x="92" y="84"/>
                  </a:lnTo>
                  <a:lnTo>
                    <a:pt x="99" y="81"/>
                  </a:lnTo>
                  <a:lnTo>
                    <a:pt x="110" y="70"/>
                  </a:lnTo>
                  <a:lnTo>
                    <a:pt x="125" y="56"/>
                  </a:lnTo>
                  <a:lnTo>
                    <a:pt x="142" y="45"/>
                  </a:lnTo>
                  <a:lnTo>
                    <a:pt x="158" y="33"/>
                  </a:lnTo>
                  <a:lnTo>
                    <a:pt x="175" y="20"/>
                  </a:lnTo>
                  <a:lnTo>
                    <a:pt x="187" y="9"/>
                  </a:lnTo>
                  <a:lnTo>
                    <a:pt x="194" y="4"/>
                  </a:lnTo>
                  <a:lnTo>
                    <a:pt x="201" y="0"/>
                  </a:lnTo>
                  <a:lnTo>
                    <a:pt x="203" y="3"/>
                  </a:lnTo>
                  <a:lnTo>
                    <a:pt x="205" y="6"/>
                  </a:lnTo>
                  <a:lnTo>
                    <a:pt x="209" y="7"/>
                  </a:lnTo>
                  <a:lnTo>
                    <a:pt x="213" y="7"/>
                  </a:lnTo>
                  <a:lnTo>
                    <a:pt x="219" y="7"/>
                  </a:lnTo>
                  <a:lnTo>
                    <a:pt x="226" y="9"/>
                  </a:lnTo>
                  <a:lnTo>
                    <a:pt x="228" y="10"/>
                  </a:lnTo>
                  <a:lnTo>
                    <a:pt x="229" y="13"/>
                  </a:lnTo>
                  <a:lnTo>
                    <a:pt x="232" y="16"/>
                  </a:lnTo>
                  <a:lnTo>
                    <a:pt x="232" y="21"/>
                  </a:lnTo>
                  <a:lnTo>
                    <a:pt x="233" y="22"/>
                  </a:lnTo>
                  <a:lnTo>
                    <a:pt x="236" y="23"/>
                  </a:lnTo>
                  <a:lnTo>
                    <a:pt x="240" y="23"/>
                  </a:lnTo>
                  <a:lnTo>
                    <a:pt x="257" y="13"/>
                  </a:lnTo>
                  <a:lnTo>
                    <a:pt x="260" y="16"/>
                  </a:lnTo>
                  <a:lnTo>
                    <a:pt x="261" y="19"/>
                  </a:lnTo>
                  <a:lnTo>
                    <a:pt x="261" y="21"/>
                  </a:lnTo>
                  <a:lnTo>
                    <a:pt x="259" y="29"/>
                  </a:lnTo>
                  <a:lnTo>
                    <a:pt x="257" y="33"/>
                  </a:lnTo>
                  <a:lnTo>
                    <a:pt x="259" y="36"/>
                  </a:lnTo>
                  <a:lnTo>
                    <a:pt x="261" y="42"/>
                  </a:lnTo>
                  <a:lnTo>
                    <a:pt x="265" y="47"/>
                  </a:lnTo>
                  <a:lnTo>
                    <a:pt x="269" y="53"/>
                  </a:lnTo>
                  <a:lnTo>
                    <a:pt x="271" y="59"/>
                  </a:lnTo>
                  <a:lnTo>
                    <a:pt x="273" y="61"/>
                  </a:lnTo>
                  <a:lnTo>
                    <a:pt x="274" y="64"/>
                  </a:lnTo>
                  <a:lnTo>
                    <a:pt x="275" y="64"/>
                  </a:lnTo>
                  <a:lnTo>
                    <a:pt x="269" y="77"/>
                  </a:lnTo>
                  <a:lnTo>
                    <a:pt x="264" y="91"/>
                  </a:lnTo>
                  <a:lnTo>
                    <a:pt x="262" y="98"/>
                  </a:lnTo>
                  <a:lnTo>
                    <a:pt x="262" y="105"/>
                  </a:lnTo>
                  <a:lnTo>
                    <a:pt x="264" y="112"/>
                  </a:lnTo>
                  <a:lnTo>
                    <a:pt x="265" y="119"/>
                  </a:lnTo>
                  <a:lnTo>
                    <a:pt x="266" y="128"/>
                  </a:lnTo>
                  <a:lnTo>
                    <a:pt x="266" y="136"/>
                  </a:lnTo>
                  <a:lnTo>
                    <a:pt x="265" y="144"/>
                  </a:lnTo>
                  <a:lnTo>
                    <a:pt x="262" y="151"/>
                  </a:lnTo>
                  <a:lnTo>
                    <a:pt x="257" y="157"/>
                  </a:lnTo>
                  <a:lnTo>
                    <a:pt x="252" y="163"/>
                  </a:lnTo>
                  <a:lnTo>
                    <a:pt x="246" y="169"/>
                  </a:lnTo>
                  <a:lnTo>
                    <a:pt x="238" y="174"/>
                  </a:lnTo>
                  <a:lnTo>
                    <a:pt x="237" y="176"/>
                  </a:lnTo>
                  <a:lnTo>
                    <a:pt x="236" y="180"/>
                  </a:lnTo>
                  <a:lnTo>
                    <a:pt x="236" y="182"/>
                  </a:lnTo>
                  <a:lnTo>
                    <a:pt x="233" y="185"/>
                  </a:lnTo>
                  <a:lnTo>
                    <a:pt x="227" y="188"/>
                  </a:lnTo>
                  <a:lnTo>
                    <a:pt x="224" y="190"/>
                  </a:lnTo>
                  <a:lnTo>
                    <a:pt x="223" y="193"/>
                  </a:lnTo>
                  <a:lnTo>
                    <a:pt x="224" y="196"/>
                  </a:lnTo>
                  <a:lnTo>
                    <a:pt x="228" y="20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8" name="Freeform 707"/>
            <p:cNvSpPr>
              <a:spLocks/>
            </p:cNvSpPr>
            <p:nvPr/>
          </p:nvSpPr>
          <p:spPr bwMode="auto">
            <a:xfrm>
              <a:off x="4402139" y="3987801"/>
              <a:ext cx="334962" cy="366713"/>
            </a:xfrm>
            <a:custGeom>
              <a:avLst/>
              <a:gdLst>
                <a:gd name="T0" fmla="*/ 2147483647 w 229"/>
                <a:gd name="T1" fmla="*/ 2147483647 h 231"/>
                <a:gd name="T2" fmla="*/ 2147483647 w 229"/>
                <a:gd name="T3" fmla="*/ 2147483647 h 231"/>
                <a:gd name="T4" fmla="*/ 2147483647 w 229"/>
                <a:gd name="T5" fmla="*/ 2147483647 h 231"/>
                <a:gd name="T6" fmla="*/ 2147483647 w 229"/>
                <a:gd name="T7" fmla="*/ 2147483647 h 231"/>
                <a:gd name="T8" fmla="*/ 2147483647 w 229"/>
                <a:gd name="T9" fmla="*/ 2147483647 h 231"/>
                <a:gd name="T10" fmla="*/ 2147483647 w 229"/>
                <a:gd name="T11" fmla="*/ 2147483647 h 231"/>
                <a:gd name="T12" fmla="*/ 2147483647 w 229"/>
                <a:gd name="T13" fmla="*/ 2147483647 h 231"/>
                <a:gd name="T14" fmla="*/ 2147483647 w 229"/>
                <a:gd name="T15" fmla="*/ 2147483647 h 231"/>
                <a:gd name="T16" fmla="*/ 2147483647 w 229"/>
                <a:gd name="T17" fmla="*/ 2147483647 h 231"/>
                <a:gd name="T18" fmla="*/ 2147483647 w 229"/>
                <a:gd name="T19" fmla="*/ 2147483647 h 231"/>
                <a:gd name="T20" fmla="*/ 2147483647 w 229"/>
                <a:gd name="T21" fmla="*/ 2147483647 h 231"/>
                <a:gd name="T22" fmla="*/ 2147483647 w 229"/>
                <a:gd name="T23" fmla="*/ 2147483647 h 231"/>
                <a:gd name="T24" fmla="*/ 2147483647 w 229"/>
                <a:gd name="T25" fmla="*/ 2147483647 h 231"/>
                <a:gd name="T26" fmla="*/ 2147483647 w 229"/>
                <a:gd name="T27" fmla="*/ 2147483647 h 231"/>
                <a:gd name="T28" fmla="*/ 2147483647 w 229"/>
                <a:gd name="T29" fmla="*/ 2147483647 h 231"/>
                <a:gd name="T30" fmla="*/ 2147483647 w 229"/>
                <a:gd name="T31" fmla="*/ 2147483647 h 231"/>
                <a:gd name="T32" fmla="*/ 2147483647 w 229"/>
                <a:gd name="T33" fmla="*/ 2147483647 h 231"/>
                <a:gd name="T34" fmla="*/ 2147483647 w 229"/>
                <a:gd name="T35" fmla="*/ 2147483647 h 231"/>
                <a:gd name="T36" fmla="*/ 2147483647 w 229"/>
                <a:gd name="T37" fmla="*/ 2147483647 h 231"/>
                <a:gd name="T38" fmla="*/ 2147483647 w 229"/>
                <a:gd name="T39" fmla="*/ 2147483647 h 231"/>
                <a:gd name="T40" fmla="*/ 2147483647 w 229"/>
                <a:gd name="T41" fmla="*/ 0 h 231"/>
                <a:gd name="T42" fmla="*/ 2147483647 w 229"/>
                <a:gd name="T43" fmla="*/ 2147483647 h 231"/>
                <a:gd name="T44" fmla="*/ 2147483647 w 229"/>
                <a:gd name="T45" fmla="*/ 2147483647 h 231"/>
                <a:gd name="T46" fmla="*/ 2147483647 w 229"/>
                <a:gd name="T47" fmla="*/ 2147483647 h 231"/>
                <a:gd name="T48" fmla="*/ 2147483647 w 229"/>
                <a:gd name="T49" fmla="*/ 2147483647 h 231"/>
                <a:gd name="T50" fmla="*/ 2147483647 w 229"/>
                <a:gd name="T51" fmla="*/ 2147483647 h 231"/>
                <a:gd name="T52" fmla="*/ 2147483647 w 229"/>
                <a:gd name="T53" fmla="*/ 2147483647 h 231"/>
                <a:gd name="T54" fmla="*/ 2147483647 w 229"/>
                <a:gd name="T55" fmla="*/ 2147483647 h 231"/>
                <a:gd name="T56" fmla="*/ 2147483647 w 229"/>
                <a:gd name="T57" fmla="*/ 2147483647 h 231"/>
                <a:gd name="T58" fmla="*/ 2147483647 w 229"/>
                <a:gd name="T59" fmla="*/ 2147483647 h 231"/>
                <a:gd name="T60" fmla="*/ 2147483647 w 229"/>
                <a:gd name="T61" fmla="*/ 2147483647 h 231"/>
                <a:gd name="T62" fmla="*/ 2147483647 w 229"/>
                <a:gd name="T63" fmla="*/ 2147483647 h 231"/>
                <a:gd name="T64" fmla="*/ 2147483647 w 229"/>
                <a:gd name="T65" fmla="*/ 2147483647 h 231"/>
                <a:gd name="T66" fmla="*/ 2147483647 w 229"/>
                <a:gd name="T67" fmla="*/ 2147483647 h 231"/>
                <a:gd name="T68" fmla="*/ 2147483647 w 229"/>
                <a:gd name="T69" fmla="*/ 2147483647 h 231"/>
                <a:gd name="T70" fmla="*/ 2147483647 w 229"/>
                <a:gd name="T71" fmla="*/ 2147483647 h 231"/>
                <a:gd name="T72" fmla="*/ 2147483647 w 229"/>
                <a:gd name="T73" fmla="*/ 2147483647 h 231"/>
                <a:gd name="T74" fmla="*/ 2147483647 w 229"/>
                <a:gd name="T75" fmla="*/ 2147483647 h 231"/>
                <a:gd name="T76" fmla="*/ 2147483647 w 229"/>
                <a:gd name="T77" fmla="*/ 2147483647 h 231"/>
                <a:gd name="T78" fmla="*/ 2147483647 w 229"/>
                <a:gd name="T79" fmla="*/ 2147483647 h 231"/>
                <a:gd name="T80" fmla="*/ 2147483647 w 229"/>
                <a:gd name="T81" fmla="*/ 2147483647 h 231"/>
                <a:gd name="T82" fmla="*/ 2147483647 w 229"/>
                <a:gd name="T83" fmla="*/ 2147483647 h 231"/>
                <a:gd name="T84" fmla="*/ 2147483647 w 229"/>
                <a:gd name="T85" fmla="*/ 2147483647 h 231"/>
                <a:gd name="T86" fmla="*/ 2147483647 w 229"/>
                <a:gd name="T87" fmla="*/ 2147483647 h 231"/>
                <a:gd name="T88" fmla="*/ 2147483647 w 229"/>
                <a:gd name="T89" fmla="*/ 2147483647 h 231"/>
                <a:gd name="T90" fmla="*/ 2147483647 w 229"/>
                <a:gd name="T91" fmla="*/ 2147483647 h 231"/>
                <a:gd name="T92" fmla="*/ 2147483647 w 229"/>
                <a:gd name="T93" fmla="*/ 2147483647 h 231"/>
                <a:gd name="T94" fmla="*/ 2147483647 w 229"/>
                <a:gd name="T95" fmla="*/ 2147483647 h 231"/>
                <a:gd name="T96" fmla="*/ 2147483647 w 229"/>
                <a:gd name="T97" fmla="*/ 2147483647 h 231"/>
                <a:gd name="T98" fmla="*/ 2147483647 w 229"/>
                <a:gd name="T99" fmla="*/ 2147483647 h 231"/>
                <a:gd name="T100" fmla="*/ 2147483647 w 229"/>
                <a:gd name="T101" fmla="*/ 2147483647 h 231"/>
                <a:gd name="T102" fmla="*/ 2147483647 w 229"/>
                <a:gd name="T103" fmla="*/ 2147483647 h 231"/>
                <a:gd name="T104" fmla="*/ 2147483647 w 229"/>
                <a:gd name="T105" fmla="*/ 2147483647 h 231"/>
                <a:gd name="T106" fmla="*/ 2147483647 w 229"/>
                <a:gd name="T107" fmla="*/ 2147483647 h 231"/>
                <a:gd name="T108" fmla="*/ 2147483647 w 229"/>
                <a:gd name="T109" fmla="*/ 2147483647 h 231"/>
                <a:gd name="T110" fmla="*/ 2147483647 w 229"/>
                <a:gd name="T111" fmla="*/ 2147483647 h 231"/>
                <a:gd name="T112" fmla="*/ 2147483647 w 229"/>
                <a:gd name="T113" fmla="*/ 2147483647 h 231"/>
                <a:gd name="T114" fmla="*/ 2147483647 w 229"/>
                <a:gd name="T115" fmla="*/ 2147483647 h 231"/>
                <a:gd name="T116" fmla="*/ 2147483647 w 229"/>
                <a:gd name="T117" fmla="*/ 2147483647 h 231"/>
                <a:gd name="T118" fmla="*/ 2147483647 w 229"/>
                <a:gd name="T119" fmla="*/ 2147483647 h 231"/>
                <a:gd name="T120" fmla="*/ 2147483647 w 229"/>
                <a:gd name="T121" fmla="*/ 2147483647 h 231"/>
                <a:gd name="T122" fmla="*/ 2147483647 w 229"/>
                <a:gd name="T123" fmla="*/ 2147483647 h 2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9"/>
                <a:gd name="T187" fmla="*/ 0 h 231"/>
                <a:gd name="T188" fmla="*/ 229 w 229"/>
                <a:gd name="T189" fmla="*/ 231 h 2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9" h="231">
                  <a:moveTo>
                    <a:pt x="105" y="180"/>
                  </a:moveTo>
                  <a:lnTo>
                    <a:pt x="105" y="180"/>
                  </a:lnTo>
                  <a:lnTo>
                    <a:pt x="98" y="173"/>
                  </a:lnTo>
                  <a:lnTo>
                    <a:pt x="96" y="170"/>
                  </a:lnTo>
                  <a:lnTo>
                    <a:pt x="96" y="169"/>
                  </a:lnTo>
                  <a:lnTo>
                    <a:pt x="97" y="166"/>
                  </a:lnTo>
                  <a:lnTo>
                    <a:pt x="102" y="159"/>
                  </a:lnTo>
                  <a:lnTo>
                    <a:pt x="106" y="152"/>
                  </a:lnTo>
                  <a:lnTo>
                    <a:pt x="108" y="150"/>
                  </a:lnTo>
                  <a:lnTo>
                    <a:pt x="111" y="147"/>
                  </a:lnTo>
                  <a:lnTo>
                    <a:pt x="115" y="145"/>
                  </a:lnTo>
                  <a:lnTo>
                    <a:pt x="119" y="145"/>
                  </a:lnTo>
                  <a:lnTo>
                    <a:pt x="124" y="145"/>
                  </a:lnTo>
                  <a:lnTo>
                    <a:pt x="129" y="145"/>
                  </a:lnTo>
                  <a:lnTo>
                    <a:pt x="138" y="141"/>
                  </a:lnTo>
                  <a:lnTo>
                    <a:pt x="145" y="135"/>
                  </a:lnTo>
                  <a:lnTo>
                    <a:pt x="153" y="129"/>
                  </a:lnTo>
                  <a:lnTo>
                    <a:pt x="158" y="121"/>
                  </a:lnTo>
                  <a:lnTo>
                    <a:pt x="163" y="112"/>
                  </a:lnTo>
                  <a:lnTo>
                    <a:pt x="171" y="95"/>
                  </a:lnTo>
                  <a:lnTo>
                    <a:pt x="172" y="93"/>
                  </a:lnTo>
                  <a:lnTo>
                    <a:pt x="174" y="91"/>
                  </a:lnTo>
                  <a:lnTo>
                    <a:pt x="177" y="90"/>
                  </a:lnTo>
                  <a:lnTo>
                    <a:pt x="179" y="88"/>
                  </a:lnTo>
                  <a:lnTo>
                    <a:pt x="183" y="81"/>
                  </a:lnTo>
                  <a:lnTo>
                    <a:pt x="188" y="75"/>
                  </a:lnTo>
                  <a:lnTo>
                    <a:pt x="188" y="74"/>
                  </a:lnTo>
                  <a:lnTo>
                    <a:pt x="188" y="73"/>
                  </a:lnTo>
                  <a:lnTo>
                    <a:pt x="188" y="70"/>
                  </a:lnTo>
                  <a:lnTo>
                    <a:pt x="188" y="68"/>
                  </a:lnTo>
                  <a:lnTo>
                    <a:pt x="190" y="65"/>
                  </a:lnTo>
                  <a:lnTo>
                    <a:pt x="191" y="63"/>
                  </a:lnTo>
                  <a:lnTo>
                    <a:pt x="191" y="59"/>
                  </a:lnTo>
                  <a:lnTo>
                    <a:pt x="191" y="56"/>
                  </a:lnTo>
                  <a:lnTo>
                    <a:pt x="195" y="50"/>
                  </a:lnTo>
                  <a:lnTo>
                    <a:pt x="206" y="41"/>
                  </a:lnTo>
                  <a:lnTo>
                    <a:pt x="207" y="39"/>
                  </a:lnTo>
                  <a:lnTo>
                    <a:pt x="207" y="37"/>
                  </a:lnTo>
                  <a:lnTo>
                    <a:pt x="206" y="31"/>
                  </a:lnTo>
                  <a:lnTo>
                    <a:pt x="204" y="25"/>
                  </a:lnTo>
                  <a:lnTo>
                    <a:pt x="201" y="19"/>
                  </a:lnTo>
                  <a:lnTo>
                    <a:pt x="197" y="18"/>
                  </a:lnTo>
                  <a:lnTo>
                    <a:pt x="197" y="17"/>
                  </a:lnTo>
                  <a:lnTo>
                    <a:pt x="197" y="16"/>
                  </a:lnTo>
                  <a:lnTo>
                    <a:pt x="199" y="12"/>
                  </a:lnTo>
                  <a:lnTo>
                    <a:pt x="199" y="8"/>
                  </a:lnTo>
                  <a:lnTo>
                    <a:pt x="196" y="6"/>
                  </a:lnTo>
                  <a:lnTo>
                    <a:pt x="193" y="4"/>
                  </a:lnTo>
                  <a:lnTo>
                    <a:pt x="190" y="4"/>
                  </a:lnTo>
                  <a:lnTo>
                    <a:pt x="186" y="4"/>
                  </a:lnTo>
                  <a:lnTo>
                    <a:pt x="179" y="5"/>
                  </a:lnTo>
                  <a:lnTo>
                    <a:pt x="174" y="10"/>
                  </a:lnTo>
                  <a:lnTo>
                    <a:pt x="173" y="11"/>
                  </a:lnTo>
                  <a:lnTo>
                    <a:pt x="172" y="11"/>
                  </a:lnTo>
                  <a:lnTo>
                    <a:pt x="171" y="11"/>
                  </a:lnTo>
                  <a:lnTo>
                    <a:pt x="168" y="10"/>
                  </a:lnTo>
                  <a:lnTo>
                    <a:pt x="162" y="5"/>
                  </a:lnTo>
                  <a:lnTo>
                    <a:pt x="157" y="5"/>
                  </a:lnTo>
                  <a:lnTo>
                    <a:pt x="153" y="5"/>
                  </a:lnTo>
                  <a:lnTo>
                    <a:pt x="148" y="6"/>
                  </a:lnTo>
                  <a:lnTo>
                    <a:pt x="140" y="6"/>
                  </a:lnTo>
                  <a:lnTo>
                    <a:pt x="133" y="6"/>
                  </a:lnTo>
                  <a:lnTo>
                    <a:pt x="131" y="7"/>
                  </a:lnTo>
                  <a:lnTo>
                    <a:pt x="130" y="8"/>
                  </a:lnTo>
                  <a:lnTo>
                    <a:pt x="129" y="12"/>
                  </a:lnTo>
                  <a:lnTo>
                    <a:pt x="126" y="16"/>
                  </a:lnTo>
                  <a:lnTo>
                    <a:pt x="126" y="17"/>
                  </a:lnTo>
                  <a:lnTo>
                    <a:pt x="124" y="17"/>
                  </a:lnTo>
                  <a:lnTo>
                    <a:pt x="115" y="17"/>
                  </a:lnTo>
                  <a:lnTo>
                    <a:pt x="113" y="17"/>
                  </a:lnTo>
                  <a:lnTo>
                    <a:pt x="112" y="14"/>
                  </a:lnTo>
                  <a:lnTo>
                    <a:pt x="111" y="12"/>
                  </a:lnTo>
                  <a:lnTo>
                    <a:pt x="108" y="10"/>
                  </a:lnTo>
                  <a:lnTo>
                    <a:pt x="105" y="7"/>
                  </a:lnTo>
                  <a:lnTo>
                    <a:pt x="101" y="6"/>
                  </a:lnTo>
                  <a:lnTo>
                    <a:pt x="97" y="6"/>
                  </a:lnTo>
                  <a:lnTo>
                    <a:pt x="87" y="11"/>
                  </a:lnTo>
                  <a:lnTo>
                    <a:pt x="84" y="12"/>
                  </a:lnTo>
                  <a:lnTo>
                    <a:pt x="80" y="12"/>
                  </a:lnTo>
                  <a:lnTo>
                    <a:pt x="78" y="11"/>
                  </a:lnTo>
                  <a:lnTo>
                    <a:pt x="75" y="8"/>
                  </a:lnTo>
                  <a:lnTo>
                    <a:pt x="69" y="1"/>
                  </a:lnTo>
                  <a:lnTo>
                    <a:pt x="66" y="0"/>
                  </a:lnTo>
                  <a:lnTo>
                    <a:pt x="64" y="0"/>
                  </a:lnTo>
                  <a:lnTo>
                    <a:pt x="58" y="0"/>
                  </a:lnTo>
                  <a:lnTo>
                    <a:pt x="49" y="0"/>
                  </a:lnTo>
                  <a:lnTo>
                    <a:pt x="40" y="1"/>
                  </a:lnTo>
                  <a:lnTo>
                    <a:pt x="36" y="3"/>
                  </a:lnTo>
                  <a:lnTo>
                    <a:pt x="32" y="4"/>
                  </a:lnTo>
                  <a:lnTo>
                    <a:pt x="31" y="7"/>
                  </a:lnTo>
                  <a:lnTo>
                    <a:pt x="31" y="13"/>
                  </a:lnTo>
                  <a:lnTo>
                    <a:pt x="26" y="14"/>
                  </a:lnTo>
                  <a:lnTo>
                    <a:pt x="25" y="14"/>
                  </a:lnTo>
                  <a:lnTo>
                    <a:pt x="23" y="16"/>
                  </a:lnTo>
                  <a:lnTo>
                    <a:pt x="21" y="19"/>
                  </a:lnTo>
                  <a:lnTo>
                    <a:pt x="19" y="23"/>
                  </a:lnTo>
                  <a:lnTo>
                    <a:pt x="18" y="30"/>
                  </a:lnTo>
                  <a:lnTo>
                    <a:pt x="16" y="41"/>
                  </a:lnTo>
                  <a:lnTo>
                    <a:pt x="14" y="52"/>
                  </a:lnTo>
                  <a:lnTo>
                    <a:pt x="14" y="71"/>
                  </a:lnTo>
                  <a:lnTo>
                    <a:pt x="14" y="81"/>
                  </a:lnTo>
                  <a:lnTo>
                    <a:pt x="12" y="89"/>
                  </a:lnTo>
                  <a:lnTo>
                    <a:pt x="11" y="94"/>
                  </a:lnTo>
                  <a:lnTo>
                    <a:pt x="7" y="99"/>
                  </a:lnTo>
                  <a:lnTo>
                    <a:pt x="4" y="102"/>
                  </a:lnTo>
                  <a:lnTo>
                    <a:pt x="2" y="107"/>
                  </a:lnTo>
                  <a:lnTo>
                    <a:pt x="0" y="118"/>
                  </a:lnTo>
                  <a:lnTo>
                    <a:pt x="0" y="128"/>
                  </a:lnTo>
                  <a:lnTo>
                    <a:pt x="3" y="150"/>
                  </a:lnTo>
                  <a:lnTo>
                    <a:pt x="8" y="148"/>
                  </a:lnTo>
                  <a:lnTo>
                    <a:pt x="22" y="146"/>
                  </a:lnTo>
                  <a:lnTo>
                    <a:pt x="28" y="146"/>
                  </a:lnTo>
                  <a:lnTo>
                    <a:pt x="35" y="148"/>
                  </a:lnTo>
                  <a:lnTo>
                    <a:pt x="37" y="150"/>
                  </a:lnTo>
                  <a:lnTo>
                    <a:pt x="41" y="153"/>
                  </a:lnTo>
                  <a:lnTo>
                    <a:pt x="45" y="160"/>
                  </a:lnTo>
                  <a:lnTo>
                    <a:pt x="50" y="177"/>
                  </a:lnTo>
                  <a:lnTo>
                    <a:pt x="53" y="182"/>
                  </a:lnTo>
                  <a:lnTo>
                    <a:pt x="54" y="184"/>
                  </a:lnTo>
                  <a:lnTo>
                    <a:pt x="56" y="185"/>
                  </a:lnTo>
                  <a:lnTo>
                    <a:pt x="63" y="185"/>
                  </a:lnTo>
                  <a:lnTo>
                    <a:pt x="68" y="185"/>
                  </a:lnTo>
                  <a:lnTo>
                    <a:pt x="74" y="185"/>
                  </a:lnTo>
                  <a:lnTo>
                    <a:pt x="78" y="185"/>
                  </a:lnTo>
                  <a:lnTo>
                    <a:pt x="80" y="186"/>
                  </a:lnTo>
                  <a:lnTo>
                    <a:pt x="84" y="188"/>
                  </a:lnTo>
                  <a:lnTo>
                    <a:pt x="87" y="186"/>
                  </a:lnTo>
                  <a:lnTo>
                    <a:pt x="89" y="185"/>
                  </a:lnTo>
                  <a:lnTo>
                    <a:pt x="93" y="185"/>
                  </a:lnTo>
                  <a:lnTo>
                    <a:pt x="97" y="186"/>
                  </a:lnTo>
                  <a:lnTo>
                    <a:pt x="98" y="186"/>
                  </a:lnTo>
                  <a:lnTo>
                    <a:pt x="99" y="185"/>
                  </a:lnTo>
                  <a:lnTo>
                    <a:pt x="102" y="183"/>
                  </a:lnTo>
                  <a:lnTo>
                    <a:pt x="105" y="180"/>
                  </a:lnTo>
                  <a:lnTo>
                    <a:pt x="98" y="173"/>
                  </a:lnTo>
                  <a:lnTo>
                    <a:pt x="96" y="170"/>
                  </a:lnTo>
                  <a:lnTo>
                    <a:pt x="96" y="169"/>
                  </a:lnTo>
                  <a:lnTo>
                    <a:pt x="97" y="166"/>
                  </a:lnTo>
                  <a:lnTo>
                    <a:pt x="102" y="159"/>
                  </a:lnTo>
                  <a:lnTo>
                    <a:pt x="106" y="152"/>
                  </a:lnTo>
                  <a:lnTo>
                    <a:pt x="108" y="150"/>
                  </a:lnTo>
                  <a:lnTo>
                    <a:pt x="111" y="147"/>
                  </a:lnTo>
                  <a:lnTo>
                    <a:pt x="115" y="145"/>
                  </a:lnTo>
                  <a:lnTo>
                    <a:pt x="119" y="145"/>
                  </a:lnTo>
                  <a:lnTo>
                    <a:pt x="124" y="145"/>
                  </a:lnTo>
                  <a:lnTo>
                    <a:pt x="129" y="145"/>
                  </a:lnTo>
                  <a:lnTo>
                    <a:pt x="138" y="141"/>
                  </a:lnTo>
                  <a:lnTo>
                    <a:pt x="145" y="135"/>
                  </a:lnTo>
                  <a:lnTo>
                    <a:pt x="153" y="129"/>
                  </a:lnTo>
                  <a:lnTo>
                    <a:pt x="158" y="121"/>
                  </a:lnTo>
                  <a:lnTo>
                    <a:pt x="163" y="112"/>
                  </a:lnTo>
                  <a:lnTo>
                    <a:pt x="171" y="95"/>
                  </a:lnTo>
                  <a:lnTo>
                    <a:pt x="172" y="93"/>
                  </a:lnTo>
                  <a:lnTo>
                    <a:pt x="174" y="91"/>
                  </a:lnTo>
                  <a:lnTo>
                    <a:pt x="177" y="90"/>
                  </a:lnTo>
                  <a:lnTo>
                    <a:pt x="179" y="88"/>
                  </a:lnTo>
                  <a:lnTo>
                    <a:pt x="183" y="81"/>
                  </a:lnTo>
                  <a:lnTo>
                    <a:pt x="188" y="75"/>
                  </a:lnTo>
                  <a:lnTo>
                    <a:pt x="188" y="74"/>
                  </a:lnTo>
                  <a:lnTo>
                    <a:pt x="188" y="73"/>
                  </a:lnTo>
                  <a:lnTo>
                    <a:pt x="188" y="70"/>
                  </a:lnTo>
                  <a:lnTo>
                    <a:pt x="188" y="68"/>
                  </a:lnTo>
                  <a:lnTo>
                    <a:pt x="190" y="65"/>
                  </a:lnTo>
                  <a:lnTo>
                    <a:pt x="191" y="63"/>
                  </a:lnTo>
                  <a:lnTo>
                    <a:pt x="191" y="59"/>
                  </a:lnTo>
                  <a:lnTo>
                    <a:pt x="191" y="56"/>
                  </a:lnTo>
                  <a:lnTo>
                    <a:pt x="195" y="50"/>
                  </a:lnTo>
                  <a:lnTo>
                    <a:pt x="206" y="41"/>
                  </a:lnTo>
                  <a:lnTo>
                    <a:pt x="207" y="39"/>
                  </a:lnTo>
                  <a:lnTo>
                    <a:pt x="207" y="37"/>
                  </a:lnTo>
                  <a:lnTo>
                    <a:pt x="206" y="31"/>
                  </a:lnTo>
                  <a:lnTo>
                    <a:pt x="204" y="25"/>
                  </a:lnTo>
                  <a:lnTo>
                    <a:pt x="201" y="19"/>
                  </a:lnTo>
                  <a:lnTo>
                    <a:pt x="207" y="23"/>
                  </a:lnTo>
                  <a:lnTo>
                    <a:pt x="213" y="27"/>
                  </a:lnTo>
                  <a:lnTo>
                    <a:pt x="216" y="32"/>
                  </a:lnTo>
                  <a:lnTo>
                    <a:pt x="219" y="38"/>
                  </a:lnTo>
                  <a:lnTo>
                    <a:pt x="221" y="44"/>
                  </a:lnTo>
                  <a:lnTo>
                    <a:pt x="223" y="50"/>
                  </a:lnTo>
                  <a:lnTo>
                    <a:pt x="223" y="64"/>
                  </a:lnTo>
                  <a:lnTo>
                    <a:pt x="223" y="67"/>
                  </a:lnTo>
                  <a:lnTo>
                    <a:pt x="224" y="70"/>
                  </a:lnTo>
                  <a:lnTo>
                    <a:pt x="228" y="76"/>
                  </a:lnTo>
                  <a:lnTo>
                    <a:pt x="229" y="78"/>
                  </a:lnTo>
                  <a:lnTo>
                    <a:pt x="229" y="80"/>
                  </a:lnTo>
                  <a:lnTo>
                    <a:pt x="228" y="81"/>
                  </a:lnTo>
                  <a:lnTo>
                    <a:pt x="224" y="82"/>
                  </a:lnTo>
                  <a:lnTo>
                    <a:pt x="220" y="83"/>
                  </a:lnTo>
                  <a:lnTo>
                    <a:pt x="213" y="82"/>
                  </a:lnTo>
                  <a:lnTo>
                    <a:pt x="209" y="83"/>
                  </a:lnTo>
                  <a:lnTo>
                    <a:pt x="206" y="83"/>
                  </a:lnTo>
                  <a:lnTo>
                    <a:pt x="205" y="86"/>
                  </a:lnTo>
                  <a:lnTo>
                    <a:pt x="205" y="89"/>
                  </a:lnTo>
                  <a:lnTo>
                    <a:pt x="205" y="91"/>
                  </a:lnTo>
                  <a:lnTo>
                    <a:pt x="207" y="94"/>
                  </a:lnTo>
                  <a:lnTo>
                    <a:pt x="211" y="97"/>
                  </a:lnTo>
                  <a:lnTo>
                    <a:pt x="215" y="102"/>
                  </a:lnTo>
                  <a:lnTo>
                    <a:pt x="218" y="105"/>
                  </a:lnTo>
                  <a:lnTo>
                    <a:pt x="218" y="107"/>
                  </a:lnTo>
                  <a:lnTo>
                    <a:pt x="219" y="113"/>
                  </a:lnTo>
                  <a:lnTo>
                    <a:pt x="219" y="120"/>
                  </a:lnTo>
                  <a:lnTo>
                    <a:pt x="219" y="133"/>
                  </a:lnTo>
                  <a:lnTo>
                    <a:pt x="216" y="134"/>
                  </a:lnTo>
                  <a:lnTo>
                    <a:pt x="213" y="135"/>
                  </a:lnTo>
                  <a:lnTo>
                    <a:pt x="209" y="139"/>
                  </a:lnTo>
                  <a:lnTo>
                    <a:pt x="205" y="142"/>
                  </a:lnTo>
                  <a:lnTo>
                    <a:pt x="204" y="147"/>
                  </a:lnTo>
                  <a:lnTo>
                    <a:pt x="202" y="152"/>
                  </a:lnTo>
                  <a:lnTo>
                    <a:pt x="202" y="161"/>
                  </a:lnTo>
                  <a:lnTo>
                    <a:pt x="205" y="171"/>
                  </a:lnTo>
                  <a:lnTo>
                    <a:pt x="206" y="176"/>
                  </a:lnTo>
                  <a:lnTo>
                    <a:pt x="209" y="179"/>
                  </a:lnTo>
                  <a:lnTo>
                    <a:pt x="215" y="185"/>
                  </a:lnTo>
                  <a:lnTo>
                    <a:pt x="221" y="190"/>
                  </a:lnTo>
                  <a:lnTo>
                    <a:pt x="228" y="196"/>
                  </a:lnTo>
                  <a:lnTo>
                    <a:pt x="229" y="201"/>
                  </a:lnTo>
                  <a:lnTo>
                    <a:pt x="229" y="206"/>
                  </a:lnTo>
                  <a:lnTo>
                    <a:pt x="228" y="217"/>
                  </a:lnTo>
                  <a:lnTo>
                    <a:pt x="229" y="225"/>
                  </a:lnTo>
                  <a:lnTo>
                    <a:pt x="228" y="231"/>
                  </a:lnTo>
                  <a:lnTo>
                    <a:pt x="215" y="223"/>
                  </a:lnTo>
                  <a:lnTo>
                    <a:pt x="211" y="221"/>
                  </a:lnTo>
                  <a:lnTo>
                    <a:pt x="207" y="220"/>
                  </a:lnTo>
                  <a:lnTo>
                    <a:pt x="204" y="220"/>
                  </a:lnTo>
                  <a:lnTo>
                    <a:pt x="200" y="221"/>
                  </a:lnTo>
                  <a:lnTo>
                    <a:pt x="196" y="223"/>
                  </a:lnTo>
                  <a:lnTo>
                    <a:pt x="177" y="223"/>
                  </a:lnTo>
                  <a:lnTo>
                    <a:pt x="158" y="223"/>
                  </a:lnTo>
                  <a:lnTo>
                    <a:pt x="127" y="221"/>
                  </a:lnTo>
                  <a:lnTo>
                    <a:pt x="129" y="215"/>
                  </a:lnTo>
                  <a:lnTo>
                    <a:pt x="130" y="211"/>
                  </a:lnTo>
                  <a:lnTo>
                    <a:pt x="130" y="208"/>
                  </a:lnTo>
                  <a:lnTo>
                    <a:pt x="127" y="199"/>
                  </a:lnTo>
                  <a:lnTo>
                    <a:pt x="121" y="192"/>
                  </a:lnTo>
                  <a:lnTo>
                    <a:pt x="113" y="188"/>
                  </a:lnTo>
                  <a:lnTo>
                    <a:pt x="112" y="185"/>
                  </a:lnTo>
                  <a:lnTo>
                    <a:pt x="112" y="184"/>
                  </a:lnTo>
                  <a:lnTo>
                    <a:pt x="112" y="182"/>
                  </a:lnTo>
                  <a:lnTo>
                    <a:pt x="110" y="180"/>
                  </a:lnTo>
                  <a:lnTo>
                    <a:pt x="107" y="179"/>
                  </a:lnTo>
                  <a:lnTo>
                    <a:pt x="105" y="18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09" name="Freeform 708"/>
            <p:cNvSpPr>
              <a:spLocks/>
            </p:cNvSpPr>
            <p:nvPr/>
          </p:nvSpPr>
          <p:spPr bwMode="auto">
            <a:xfrm>
              <a:off x="4338638" y="3675067"/>
              <a:ext cx="404812" cy="384175"/>
            </a:xfrm>
            <a:custGeom>
              <a:avLst/>
              <a:gdLst>
                <a:gd name="T0" fmla="*/ 2147483647 w 276"/>
                <a:gd name="T1" fmla="*/ 2147483647 h 242"/>
                <a:gd name="T2" fmla="*/ 2147483647 w 276"/>
                <a:gd name="T3" fmla="*/ 2147483647 h 242"/>
                <a:gd name="T4" fmla="*/ 2147483647 w 276"/>
                <a:gd name="T5" fmla="*/ 2147483647 h 242"/>
                <a:gd name="T6" fmla="*/ 2147483647 w 276"/>
                <a:gd name="T7" fmla="*/ 2147483647 h 242"/>
                <a:gd name="T8" fmla="*/ 2147483647 w 276"/>
                <a:gd name="T9" fmla="*/ 2147483647 h 242"/>
                <a:gd name="T10" fmla="*/ 2147483647 w 276"/>
                <a:gd name="T11" fmla="*/ 2147483647 h 242"/>
                <a:gd name="T12" fmla="*/ 2147483647 w 276"/>
                <a:gd name="T13" fmla="*/ 2147483647 h 242"/>
                <a:gd name="T14" fmla="*/ 2147483647 w 276"/>
                <a:gd name="T15" fmla="*/ 2147483647 h 242"/>
                <a:gd name="T16" fmla="*/ 2147483647 w 276"/>
                <a:gd name="T17" fmla="*/ 2147483647 h 242"/>
                <a:gd name="T18" fmla="*/ 2147483647 w 276"/>
                <a:gd name="T19" fmla="*/ 2147483647 h 242"/>
                <a:gd name="T20" fmla="*/ 2147483647 w 276"/>
                <a:gd name="T21" fmla="*/ 2147483647 h 242"/>
                <a:gd name="T22" fmla="*/ 2147483647 w 276"/>
                <a:gd name="T23" fmla="*/ 2147483647 h 242"/>
                <a:gd name="T24" fmla="*/ 2147483647 w 276"/>
                <a:gd name="T25" fmla="*/ 2147483647 h 242"/>
                <a:gd name="T26" fmla="*/ 2147483647 w 276"/>
                <a:gd name="T27" fmla="*/ 2147483647 h 242"/>
                <a:gd name="T28" fmla="*/ 2147483647 w 276"/>
                <a:gd name="T29" fmla="*/ 2147483647 h 242"/>
                <a:gd name="T30" fmla="*/ 2147483647 w 276"/>
                <a:gd name="T31" fmla="*/ 2147483647 h 242"/>
                <a:gd name="T32" fmla="*/ 2147483647 w 276"/>
                <a:gd name="T33" fmla="*/ 2147483647 h 242"/>
                <a:gd name="T34" fmla="*/ 2147483647 w 276"/>
                <a:gd name="T35" fmla="*/ 2147483647 h 242"/>
                <a:gd name="T36" fmla="*/ 2147483647 w 276"/>
                <a:gd name="T37" fmla="*/ 2147483647 h 242"/>
                <a:gd name="T38" fmla="*/ 2147483647 w 276"/>
                <a:gd name="T39" fmla="*/ 2147483647 h 242"/>
                <a:gd name="T40" fmla="*/ 2147483647 w 276"/>
                <a:gd name="T41" fmla="*/ 2147483647 h 242"/>
                <a:gd name="T42" fmla="*/ 2147483647 w 276"/>
                <a:gd name="T43" fmla="*/ 2147483647 h 242"/>
                <a:gd name="T44" fmla="*/ 2147483647 w 276"/>
                <a:gd name="T45" fmla="*/ 2147483647 h 242"/>
                <a:gd name="T46" fmla="*/ 0 w 276"/>
                <a:gd name="T47" fmla="*/ 2147483647 h 242"/>
                <a:gd name="T48" fmla="*/ 2147483647 w 276"/>
                <a:gd name="T49" fmla="*/ 2147483647 h 242"/>
                <a:gd name="T50" fmla="*/ 2147483647 w 276"/>
                <a:gd name="T51" fmla="*/ 2147483647 h 242"/>
                <a:gd name="T52" fmla="*/ 2147483647 w 276"/>
                <a:gd name="T53" fmla="*/ 2147483647 h 242"/>
                <a:gd name="T54" fmla="*/ 2147483647 w 276"/>
                <a:gd name="T55" fmla="*/ 2147483647 h 242"/>
                <a:gd name="T56" fmla="*/ 2147483647 w 276"/>
                <a:gd name="T57" fmla="*/ 2147483647 h 242"/>
                <a:gd name="T58" fmla="*/ 2147483647 w 276"/>
                <a:gd name="T59" fmla="*/ 2147483647 h 242"/>
                <a:gd name="T60" fmla="*/ 2147483647 w 276"/>
                <a:gd name="T61" fmla="*/ 2147483647 h 242"/>
                <a:gd name="T62" fmla="*/ 2147483647 w 276"/>
                <a:gd name="T63" fmla="*/ 2147483647 h 242"/>
                <a:gd name="T64" fmla="*/ 2147483647 w 276"/>
                <a:gd name="T65" fmla="*/ 2147483647 h 242"/>
                <a:gd name="T66" fmla="*/ 2147483647 w 276"/>
                <a:gd name="T67" fmla="*/ 2147483647 h 242"/>
                <a:gd name="T68" fmla="*/ 2147483647 w 276"/>
                <a:gd name="T69" fmla="*/ 2147483647 h 242"/>
                <a:gd name="T70" fmla="*/ 2147483647 w 276"/>
                <a:gd name="T71" fmla="*/ 2147483647 h 242"/>
                <a:gd name="T72" fmla="*/ 2147483647 w 276"/>
                <a:gd name="T73" fmla="*/ 2147483647 h 242"/>
                <a:gd name="T74" fmla="*/ 2147483647 w 276"/>
                <a:gd name="T75" fmla="*/ 2147483647 h 242"/>
                <a:gd name="T76" fmla="*/ 2147483647 w 276"/>
                <a:gd name="T77" fmla="*/ 2147483647 h 242"/>
                <a:gd name="T78" fmla="*/ 2147483647 w 276"/>
                <a:gd name="T79" fmla="*/ 2147483647 h 242"/>
                <a:gd name="T80" fmla="*/ 2147483647 w 276"/>
                <a:gd name="T81" fmla="*/ 2147483647 h 242"/>
                <a:gd name="T82" fmla="*/ 2147483647 w 276"/>
                <a:gd name="T83" fmla="*/ 2147483647 h 242"/>
                <a:gd name="T84" fmla="*/ 2147483647 w 276"/>
                <a:gd name="T85" fmla="*/ 2147483647 h 242"/>
                <a:gd name="T86" fmla="*/ 2147483647 w 276"/>
                <a:gd name="T87" fmla="*/ 2147483647 h 242"/>
                <a:gd name="T88" fmla="*/ 2147483647 w 276"/>
                <a:gd name="T89" fmla="*/ 2147483647 h 242"/>
                <a:gd name="T90" fmla="*/ 2147483647 w 276"/>
                <a:gd name="T91" fmla="*/ 2147483647 h 242"/>
                <a:gd name="T92" fmla="*/ 2147483647 w 276"/>
                <a:gd name="T93" fmla="*/ 2147483647 h 242"/>
                <a:gd name="T94" fmla="*/ 2147483647 w 276"/>
                <a:gd name="T95" fmla="*/ 2147483647 h 242"/>
                <a:gd name="T96" fmla="*/ 2147483647 w 276"/>
                <a:gd name="T97" fmla="*/ 2147483647 h 24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242"/>
                <a:gd name="T149" fmla="*/ 276 w 276"/>
                <a:gd name="T150" fmla="*/ 242 h 24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242">
                  <a:moveTo>
                    <a:pt x="229" y="201"/>
                  </a:moveTo>
                  <a:lnTo>
                    <a:pt x="229" y="201"/>
                  </a:lnTo>
                  <a:lnTo>
                    <a:pt x="222" y="202"/>
                  </a:lnTo>
                  <a:lnTo>
                    <a:pt x="217" y="207"/>
                  </a:lnTo>
                  <a:lnTo>
                    <a:pt x="216" y="208"/>
                  </a:lnTo>
                  <a:lnTo>
                    <a:pt x="215" y="208"/>
                  </a:lnTo>
                  <a:lnTo>
                    <a:pt x="214" y="208"/>
                  </a:lnTo>
                  <a:lnTo>
                    <a:pt x="211" y="207"/>
                  </a:lnTo>
                  <a:lnTo>
                    <a:pt x="205" y="202"/>
                  </a:lnTo>
                  <a:lnTo>
                    <a:pt x="200" y="202"/>
                  </a:lnTo>
                  <a:lnTo>
                    <a:pt x="196" y="202"/>
                  </a:lnTo>
                  <a:lnTo>
                    <a:pt x="191" y="203"/>
                  </a:lnTo>
                  <a:lnTo>
                    <a:pt x="183" y="203"/>
                  </a:lnTo>
                  <a:lnTo>
                    <a:pt x="176" y="203"/>
                  </a:lnTo>
                  <a:lnTo>
                    <a:pt x="174" y="204"/>
                  </a:lnTo>
                  <a:lnTo>
                    <a:pt x="173" y="205"/>
                  </a:lnTo>
                  <a:lnTo>
                    <a:pt x="172" y="209"/>
                  </a:lnTo>
                  <a:lnTo>
                    <a:pt x="169" y="213"/>
                  </a:lnTo>
                  <a:lnTo>
                    <a:pt x="169" y="214"/>
                  </a:lnTo>
                  <a:lnTo>
                    <a:pt x="167" y="214"/>
                  </a:lnTo>
                  <a:lnTo>
                    <a:pt x="158" y="214"/>
                  </a:lnTo>
                  <a:lnTo>
                    <a:pt x="156" y="214"/>
                  </a:lnTo>
                  <a:lnTo>
                    <a:pt x="155" y="211"/>
                  </a:lnTo>
                  <a:lnTo>
                    <a:pt x="154" y="209"/>
                  </a:lnTo>
                  <a:lnTo>
                    <a:pt x="151" y="207"/>
                  </a:lnTo>
                  <a:lnTo>
                    <a:pt x="148" y="204"/>
                  </a:lnTo>
                  <a:lnTo>
                    <a:pt x="144" y="203"/>
                  </a:lnTo>
                  <a:lnTo>
                    <a:pt x="140" y="203"/>
                  </a:lnTo>
                  <a:lnTo>
                    <a:pt x="130" y="208"/>
                  </a:lnTo>
                  <a:lnTo>
                    <a:pt x="127" y="209"/>
                  </a:lnTo>
                  <a:lnTo>
                    <a:pt x="123" y="209"/>
                  </a:lnTo>
                  <a:lnTo>
                    <a:pt x="121" y="208"/>
                  </a:lnTo>
                  <a:lnTo>
                    <a:pt x="118" y="205"/>
                  </a:lnTo>
                  <a:lnTo>
                    <a:pt x="112" y="198"/>
                  </a:lnTo>
                  <a:lnTo>
                    <a:pt x="109" y="197"/>
                  </a:lnTo>
                  <a:lnTo>
                    <a:pt x="107" y="197"/>
                  </a:lnTo>
                  <a:lnTo>
                    <a:pt x="101" y="197"/>
                  </a:lnTo>
                  <a:lnTo>
                    <a:pt x="92" y="197"/>
                  </a:lnTo>
                  <a:lnTo>
                    <a:pt x="83" y="198"/>
                  </a:lnTo>
                  <a:lnTo>
                    <a:pt x="79" y="200"/>
                  </a:lnTo>
                  <a:lnTo>
                    <a:pt x="75" y="201"/>
                  </a:lnTo>
                  <a:lnTo>
                    <a:pt x="74" y="204"/>
                  </a:lnTo>
                  <a:lnTo>
                    <a:pt x="74" y="210"/>
                  </a:lnTo>
                  <a:lnTo>
                    <a:pt x="69" y="211"/>
                  </a:lnTo>
                  <a:lnTo>
                    <a:pt x="68" y="211"/>
                  </a:lnTo>
                  <a:lnTo>
                    <a:pt x="66" y="213"/>
                  </a:lnTo>
                  <a:lnTo>
                    <a:pt x="64" y="216"/>
                  </a:lnTo>
                  <a:lnTo>
                    <a:pt x="62" y="220"/>
                  </a:lnTo>
                  <a:lnTo>
                    <a:pt x="61" y="227"/>
                  </a:lnTo>
                  <a:lnTo>
                    <a:pt x="59" y="238"/>
                  </a:lnTo>
                  <a:lnTo>
                    <a:pt x="55" y="235"/>
                  </a:lnTo>
                  <a:lnTo>
                    <a:pt x="51" y="233"/>
                  </a:lnTo>
                  <a:lnTo>
                    <a:pt x="49" y="230"/>
                  </a:lnTo>
                  <a:lnTo>
                    <a:pt x="43" y="229"/>
                  </a:lnTo>
                  <a:lnTo>
                    <a:pt x="40" y="229"/>
                  </a:lnTo>
                  <a:lnTo>
                    <a:pt x="36" y="232"/>
                  </a:lnTo>
                  <a:lnTo>
                    <a:pt x="32" y="234"/>
                  </a:lnTo>
                  <a:lnTo>
                    <a:pt x="28" y="236"/>
                  </a:lnTo>
                  <a:lnTo>
                    <a:pt x="24" y="240"/>
                  </a:lnTo>
                  <a:lnTo>
                    <a:pt x="19" y="242"/>
                  </a:lnTo>
                  <a:lnTo>
                    <a:pt x="19" y="239"/>
                  </a:lnTo>
                  <a:lnTo>
                    <a:pt x="21" y="235"/>
                  </a:lnTo>
                  <a:lnTo>
                    <a:pt x="23" y="229"/>
                  </a:lnTo>
                  <a:lnTo>
                    <a:pt x="24" y="224"/>
                  </a:lnTo>
                  <a:lnTo>
                    <a:pt x="24" y="221"/>
                  </a:lnTo>
                  <a:lnTo>
                    <a:pt x="22" y="213"/>
                  </a:lnTo>
                  <a:lnTo>
                    <a:pt x="17" y="204"/>
                  </a:lnTo>
                  <a:lnTo>
                    <a:pt x="10" y="198"/>
                  </a:lnTo>
                  <a:lnTo>
                    <a:pt x="10" y="196"/>
                  </a:lnTo>
                  <a:lnTo>
                    <a:pt x="10" y="194"/>
                  </a:lnTo>
                  <a:lnTo>
                    <a:pt x="10" y="191"/>
                  </a:lnTo>
                  <a:lnTo>
                    <a:pt x="10" y="189"/>
                  </a:lnTo>
                  <a:lnTo>
                    <a:pt x="7" y="184"/>
                  </a:lnTo>
                  <a:lnTo>
                    <a:pt x="3" y="178"/>
                  </a:lnTo>
                  <a:lnTo>
                    <a:pt x="0" y="173"/>
                  </a:lnTo>
                  <a:lnTo>
                    <a:pt x="0" y="170"/>
                  </a:lnTo>
                  <a:lnTo>
                    <a:pt x="0" y="166"/>
                  </a:lnTo>
                  <a:lnTo>
                    <a:pt x="4" y="168"/>
                  </a:lnTo>
                  <a:lnTo>
                    <a:pt x="8" y="166"/>
                  </a:lnTo>
                  <a:lnTo>
                    <a:pt x="16" y="164"/>
                  </a:lnTo>
                  <a:lnTo>
                    <a:pt x="37" y="160"/>
                  </a:lnTo>
                  <a:lnTo>
                    <a:pt x="46" y="157"/>
                  </a:lnTo>
                  <a:lnTo>
                    <a:pt x="51" y="156"/>
                  </a:lnTo>
                  <a:lnTo>
                    <a:pt x="55" y="152"/>
                  </a:lnTo>
                  <a:lnTo>
                    <a:pt x="61" y="146"/>
                  </a:lnTo>
                  <a:lnTo>
                    <a:pt x="66" y="139"/>
                  </a:lnTo>
                  <a:lnTo>
                    <a:pt x="69" y="132"/>
                  </a:lnTo>
                  <a:lnTo>
                    <a:pt x="70" y="124"/>
                  </a:lnTo>
                  <a:lnTo>
                    <a:pt x="70" y="106"/>
                  </a:lnTo>
                  <a:lnTo>
                    <a:pt x="69" y="89"/>
                  </a:lnTo>
                  <a:lnTo>
                    <a:pt x="74" y="88"/>
                  </a:lnTo>
                  <a:lnTo>
                    <a:pt x="80" y="87"/>
                  </a:lnTo>
                  <a:lnTo>
                    <a:pt x="84" y="87"/>
                  </a:lnTo>
                  <a:lnTo>
                    <a:pt x="85" y="86"/>
                  </a:lnTo>
                  <a:lnTo>
                    <a:pt x="90" y="86"/>
                  </a:lnTo>
                  <a:lnTo>
                    <a:pt x="93" y="85"/>
                  </a:lnTo>
                  <a:lnTo>
                    <a:pt x="99" y="82"/>
                  </a:lnTo>
                  <a:lnTo>
                    <a:pt x="111" y="70"/>
                  </a:lnTo>
                  <a:lnTo>
                    <a:pt x="126" y="57"/>
                  </a:lnTo>
                  <a:lnTo>
                    <a:pt x="142" y="45"/>
                  </a:lnTo>
                  <a:lnTo>
                    <a:pt x="159" y="34"/>
                  </a:lnTo>
                  <a:lnTo>
                    <a:pt x="176" y="21"/>
                  </a:lnTo>
                  <a:lnTo>
                    <a:pt x="188" y="10"/>
                  </a:lnTo>
                  <a:lnTo>
                    <a:pt x="195" y="5"/>
                  </a:lnTo>
                  <a:lnTo>
                    <a:pt x="202" y="0"/>
                  </a:lnTo>
                  <a:lnTo>
                    <a:pt x="203" y="4"/>
                  </a:lnTo>
                  <a:lnTo>
                    <a:pt x="206" y="6"/>
                  </a:lnTo>
                  <a:lnTo>
                    <a:pt x="210" y="8"/>
                  </a:lnTo>
                  <a:lnTo>
                    <a:pt x="214" y="8"/>
                  </a:lnTo>
                  <a:lnTo>
                    <a:pt x="220" y="8"/>
                  </a:lnTo>
                  <a:lnTo>
                    <a:pt x="226" y="10"/>
                  </a:lnTo>
                  <a:lnTo>
                    <a:pt x="229" y="11"/>
                  </a:lnTo>
                  <a:lnTo>
                    <a:pt x="230" y="13"/>
                  </a:lnTo>
                  <a:lnTo>
                    <a:pt x="233" y="17"/>
                  </a:lnTo>
                  <a:lnTo>
                    <a:pt x="233" y="22"/>
                  </a:lnTo>
                  <a:lnTo>
                    <a:pt x="234" y="23"/>
                  </a:lnTo>
                  <a:lnTo>
                    <a:pt x="236" y="24"/>
                  </a:lnTo>
                  <a:lnTo>
                    <a:pt x="240" y="24"/>
                  </a:lnTo>
                  <a:lnTo>
                    <a:pt x="258" y="13"/>
                  </a:lnTo>
                  <a:lnTo>
                    <a:pt x="261" y="17"/>
                  </a:lnTo>
                  <a:lnTo>
                    <a:pt x="262" y="19"/>
                  </a:lnTo>
                  <a:lnTo>
                    <a:pt x="262" y="22"/>
                  </a:lnTo>
                  <a:lnTo>
                    <a:pt x="259" y="30"/>
                  </a:lnTo>
                  <a:lnTo>
                    <a:pt x="258" y="34"/>
                  </a:lnTo>
                  <a:lnTo>
                    <a:pt x="259" y="37"/>
                  </a:lnTo>
                  <a:lnTo>
                    <a:pt x="262" y="43"/>
                  </a:lnTo>
                  <a:lnTo>
                    <a:pt x="266" y="48"/>
                  </a:lnTo>
                  <a:lnTo>
                    <a:pt x="269" y="54"/>
                  </a:lnTo>
                  <a:lnTo>
                    <a:pt x="272" y="60"/>
                  </a:lnTo>
                  <a:lnTo>
                    <a:pt x="273" y="62"/>
                  </a:lnTo>
                  <a:lnTo>
                    <a:pt x="275" y="64"/>
                  </a:lnTo>
                  <a:lnTo>
                    <a:pt x="276" y="64"/>
                  </a:lnTo>
                  <a:lnTo>
                    <a:pt x="269" y="77"/>
                  </a:lnTo>
                  <a:lnTo>
                    <a:pt x="264" y="92"/>
                  </a:lnTo>
                  <a:lnTo>
                    <a:pt x="263" y="99"/>
                  </a:lnTo>
                  <a:lnTo>
                    <a:pt x="263" y="106"/>
                  </a:lnTo>
                  <a:lnTo>
                    <a:pt x="264" y="113"/>
                  </a:lnTo>
                  <a:lnTo>
                    <a:pt x="266" y="120"/>
                  </a:lnTo>
                  <a:lnTo>
                    <a:pt x="267" y="128"/>
                  </a:lnTo>
                  <a:lnTo>
                    <a:pt x="267" y="137"/>
                  </a:lnTo>
                  <a:lnTo>
                    <a:pt x="266" y="145"/>
                  </a:lnTo>
                  <a:lnTo>
                    <a:pt x="263" y="152"/>
                  </a:lnTo>
                  <a:lnTo>
                    <a:pt x="258" y="158"/>
                  </a:lnTo>
                  <a:lnTo>
                    <a:pt x="253" y="164"/>
                  </a:lnTo>
                  <a:lnTo>
                    <a:pt x="247" y="170"/>
                  </a:lnTo>
                  <a:lnTo>
                    <a:pt x="239" y="175"/>
                  </a:lnTo>
                  <a:lnTo>
                    <a:pt x="238" y="177"/>
                  </a:lnTo>
                  <a:lnTo>
                    <a:pt x="236" y="181"/>
                  </a:lnTo>
                  <a:lnTo>
                    <a:pt x="236" y="183"/>
                  </a:lnTo>
                  <a:lnTo>
                    <a:pt x="234" y="185"/>
                  </a:lnTo>
                  <a:lnTo>
                    <a:pt x="228" y="189"/>
                  </a:lnTo>
                  <a:lnTo>
                    <a:pt x="225" y="191"/>
                  </a:lnTo>
                  <a:lnTo>
                    <a:pt x="224" y="194"/>
                  </a:lnTo>
                  <a:lnTo>
                    <a:pt x="225" y="197"/>
                  </a:lnTo>
                  <a:lnTo>
                    <a:pt x="229" y="20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0" name="Freeform 709"/>
            <p:cNvSpPr>
              <a:spLocks/>
            </p:cNvSpPr>
            <p:nvPr/>
          </p:nvSpPr>
          <p:spPr bwMode="auto">
            <a:xfrm>
              <a:off x="4668839" y="3678242"/>
              <a:ext cx="296862" cy="522287"/>
            </a:xfrm>
            <a:custGeom>
              <a:avLst/>
              <a:gdLst>
                <a:gd name="T0" fmla="*/ 2147483647 w 203"/>
                <a:gd name="T1" fmla="*/ 2147483647 h 329"/>
                <a:gd name="T2" fmla="*/ 2147483647 w 203"/>
                <a:gd name="T3" fmla="*/ 2147483647 h 329"/>
                <a:gd name="T4" fmla="*/ 2147483647 w 203"/>
                <a:gd name="T5" fmla="*/ 2147483647 h 329"/>
                <a:gd name="T6" fmla="*/ 2147483647 w 203"/>
                <a:gd name="T7" fmla="*/ 2147483647 h 329"/>
                <a:gd name="T8" fmla="*/ 2147483647 w 203"/>
                <a:gd name="T9" fmla="*/ 2147483647 h 329"/>
                <a:gd name="T10" fmla="*/ 2147483647 w 203"/>
                <a:gd name="T11" fmla="*/ 2147483647 h 329"/>
                <a:gd name="T12" fmla="*/ 2147483647 w 203"/>
                <a:gd name="T13" fmla="*/ 2147483647 h 329"/>
                <a:gd name="T14" fmla="*/ 2147483647 w 203"/>
                <a:gd name="T15" fmla="*/ 2147483647 h 329"/>
                <a:gd name="T16" fmla="*/ 2147483647 w 203"/>
                <a:gd name="T17" fmla="*/ 2147483647 h 329"/>
                <a:gd name="T18" fmla="*/ 2147483647 w 203"/>
                <a:gd name="T19" fmla="*/ 2147483647 h 329"/>
                <a:gd name="T20" fmla="*/ 2147483647 w 203"/>
                <a:gd name="T21" fmla="*/ 2147483647 h 329"/>
                <a:gd name="T22" fmla="*/ 2147483647 w 203"/>
                <a:gd name="T23" fmla="*/ 2147483647 h 329"/>
                <a:gd name="T24" fmla="*/ 2147483647 w 203"/>
                <a:gd name="T25" fmla="*/ 2147483647 h 329"/>
                <a:gd name="T26" fmla="*/ 2147483647 w 203"/>
                <a:gd name="T27" fmla="*/ 2147483647 h 329"/>
                <a:gd name="T28" fmla="*/ 2147483647 w 203"/>
                <a:gd name="T29" fmla="*/ 2147483647 h 329"/>
                <a:gd name="T30" fmla="*/ 2147483647 w 203"/>
                <a:gd name="T31" fmla="*/ 2147483647 h 329"/>
                <a:gd name="T32" fmla="*/ 2147483647 w 203"/>
                <a:gd name="T33" fmla="*/ 2147483647 h 329"/>
                <a:gd name="T34" fmla="*/ 2147483647 w 203"/>
                <a:gd name="T35" fmla="*/ 2147483647 h 329"/>
                <a:gd name="T36" fmla="*/ 2147483647 w 203"/>
                <a:gd name="T37" fmla="*/ 2147483647 h 329"/>
                <a:gd name="T38" fmla="*/ 2147483647 w 203"/>
                <a:gd name="T39" fmla="*/ 2147483647 h 329"/>
                <a:gd name="T40" fmla="*/ 2147483647 w 203"/>
                <a:gd name="T41" fmla="*/ 2147483647 h 329"/>
                <a:gd name="T42" fmla="*/ 2147483647 w 203"/>
                <a:gd name="T43" fmla="*/ 2147483647 h 329"/>
                <a:gd name="T44" fmla="*/ 2147483647 w 203"/>
                <a:gd name="T45" fmla="*/ 2147483647 h 329"/>
                <a:gd name="T46" fmla="*/ 2147483647 w 203"/>
                <a:gd name="T47" fmla="*/ 2147483647 h 329"/>
                <a:gd name="T48" fmla="*/ 2147483647 w 203"/>
                <a:gd name="T49" fmla="*/ 2147483647 h 329"/>
                <a:gd name="T50" fmla="*/ 2147483647 w 203"/>
                <a:gd name="T51" fmla="*/ 2147483647 h 329"/>
                <a:gd name="T52" fmla="*/ 2147483647 w 203"/>
                <a:gd name="T53" fmla="*/ 2147483647 h 329"/>
                <a:gd name="T54" fmla="*/ 2147483647 w 203"/>
                <a:gd name="T55" fmla="*/ 2147483647 h 329"/>
                <a:gd name="T56" fmla="*/ 2147483647 w 203"/>
                <a:gd name="T57" fmla="*/ 2147483647 h 329"/>
                <a:gd name="T58" fmla="*/ 2147483647 w 203"/>
                <a:gd name="T59" fmla="*/ 2147483647 h 329"/>
                <a:gd name="T60" fmla="*/ 2147483647 w 203"/>
                <a:gd name="T61" fmla="*/ 2147483647 h 329"/>
                <a:gd name="T62" fmla="*/ 2147483647 w 203"/>
                <a:gd name="T63" fmla="*/ 2147483647 h 329"/>
                <a:gd name="T64" fmla="*/ 2147483647 w 203"/>
                <a:gd name="T65" fmla="*/ 2147483647 h 329"/>
                <a:gd name="T66" fmla="*/ 2147483647 w 203"/>
                <a:gd name="T67" fmla="*/ 2147483647 h 329"/>
                <a:gd name="T68" fmla="*/ 2147483647 w 203"/>
                <a:gd name="T69" fmla="*/ 2147483647 h 329"/>
                <a:gd name="T70" fmla="*/ 2147483647 w 203"/>
                <a:gd name="T71" fmla="*/ 2147483647 h 329"/>
                <a:gd name="T72" fmla="*/ 2147483647 w 203"/>
                <a:gd name="T73" fmla="*/ 2147483647 h 329"/>
                <a:gd name="T74" fmla="*/ 2147483647 w 203"/>
                <a:gd name="T75" fmla="*/ 2147483647 h 329"/>
                <a:gd name="T76" fmla="*/ 2147483647 w 203"/>
                <a:gd name="T77" fmla="*/ 2147483647 h 329"/>
                <a:gd name="T78" fmla="*/ 2147483647 w 203"/>
                <a:gd name="T79" fmla="*/ 2147483647 h 329"/>
                <a:gd name="T80" fmla="*/ 2147483647 w 203"/>
                <a:gd name="T81" fmla="*/ 2147483647 h 329"/>
                <a:gd name="T82" fmla="*/ 2147483647 w 203"/>
                <a:gd name="T83" fmla="*/ 2147483647 h 329"/>
                <a:gd name="T84" fmla="*/ 2147483647 w 203"/>
                <a:gd name="T85" fmla="*/ 2147483647 h 329"/>
                <a:gd name="T86" fmla="*/ 2147483647 w 203"/>
                <a:gd name="T87" fmla="*/ 2147483647 h 329"/>
                <a:gd name="T88" fmla="*/ 2147483647 w 203"/>
                <a:gd name="T89" fmla="*/ 2147483647 h 329"/>
                <a:gd name="T90" fmla="*/ 2147483647 w 203"/>
                <a:gd name="T91" fmla="*/ 2147483647 h 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3"/>
                <a:gd name="T139" fmla="*/ 0 h 329"/>
                <a:gd name="T140" fmla="*/ 203 w 203"/>
                <a:gd name="T141" fmla="*/ 329 h 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3" h="329">
                  <a:moveTo>
                    <a:pt x="38" y="329"/>
                  </a:moveTo>
                  <a:lnTo>
                    <a:pt x="38" y="316"/>
                  </a:lnTo>
                  <a:lnTo>
                    <a:pt x="38" y="309"/>
                  </a:lnTo>
                  <a:lnTo>
                    <a:pt x="37" y="303"/>
                  </a:lnTo>
                  <a:lnTo>
                    <a:pt x="37" y="301"/>
                  </a:lnTo>
                  <a:lnTo>
                    <a:pt x="34" y="298"/>
                  </a:lnTo>
                  <a:lnTo>
                    <a:pt x="31" y="294"/>
                  </a:lnTo>
                  <a:lnTo>
                    <a:pt x="27" y="290"/>
                  </a:lnTo>
                  <a:lnTo>
                    <a:pt x="24" y="288"/>
                  </a:lnTo>
                  <a:lnTo>
                    <a:pt x="24" y="285"/>
                  </a:lnTo>
                  <a:lnTo>
                    <a:pt x="24" y="282"/>
                  </a:lnTo>
                  <a:lnTo>
                    <a:pt x="25" y="279"/>
                  </a:lnTo>
                  <a:lnTo>
                    <a:pt x="28" y="279"/>
                  </a:lnTo>
                  <a:lnTo>
                    <a:pt x="32" y="278"/>
                  </a:lnTo>
                  <a:lnTo>
                    <a:pt x="39" y="279"/>
                  </a:lnTo>
                  <a:lnTo>
                    <a:pt x="43" y="278"/>
                  </a:lnTo>
                  <a:lnTo>
                    <a:pt x="47" y="277"/>
                  </a:lnTo>
                  <a:lnTo>
                    <a:pt x="48" y="276"/>
                  </a:lnTo>
                  <a:lnTo>
                    <a:pt x="48" y="275"/>
                  </a:lnTo>
                  <a:lnTo>
                    <a:pt x="47" y="272"/>
                  </a:lnTo>
                  <a:lnTo>
                    <a:pt x="43" y="266"/>
                  </a:lnTo>
                  <a:lnTo>
                    <a:pt x="42" y="263"/>
                  </a:lnTo>
                  <a:lnTo>
                    <a:pt x="42" y="260"/>
                  </a:lnTo>
                  <a:lnTo>
                    <a:pt x="42" y="246"/>
                  </a:lnTo>
                  <a:lnTo>
                    <a:pt x="41" y="240"/>
                  </a:lnTo>
                  <a:lnTo>
                    <a:pt x="38" y="234"/>
                  </a:lnTo>
                  <a:lnTo>
                    <a:pt x="36" y="228"/>
                  </a:lnTo>
                  <a:lnTo>
                    <a:pt x="32" y="224"/>
                  </a:lnTo>
                  <a:lnTo>
                    <a:pt x="27" y="219"/>
                  </a:lnTo>
                  <a:lnTo>
                    <a:pt x="20" y="215"/>
                  </a:lnTo>
                  <a:lnTo>
                    <a:pt x="17" y="214"/>
                  </a:lnTo>
                  <a:lnTo>
                    <a:pt x="17" y="213"/>
                  </a:lnTo>
                  <a:lnTo>
                    <a:pt x="17" y="212"/>
                  </a:lnTo>
                  <a:lnTo>
                    <a:pt x="18" y="208"/>
                  </a:lnTo>
                  <a:lnTo>
                    <a:pt x="18" y="205"/>
                  </a:lnTo>
                  <a:lnTo>
                    <a:pt x="15" y="202"/>
                  </a:lnTo>
                  <a:lnTo>
                    <a:pt x="13" y="200"/>
                  </a:lnTo>
                  <a:lnTo>
                    <a:pt x="9" y="200"/>
                  </a:lnTo>
                  <a:lnTo>
                    <a:pt x="5" y="200"/>
                  </a:lnTo>
                  <a:lnTo>
                    <a:pt x="1" y="196"/>
                  </a:lnTo>
                  <a:lnTo>
                    <a:pt x="0" y="193"/>
                  </a:lnTo>
                  <a:lnTo>
                    <a:pt x="1" y="190"/>
                  </a:lnTo>
                  <a:lnTo>
                    <a:pt x="4" y="188"/>
                  </a:lnTo>
                  <a:lnTo>
                    <a:pt x="10" y="185"/>
                  </a:lnTo>
                  <a:lnTo>
                    <a:pt x="13" y="182"/>
                  </a:lnTo>
                  <a:lnTo>
                    <a:pt x="13" y="180"/>
                  </a:lnTo>
                  <a:lnTo>
                    <a:pt x="14" y="176"/>
                  </a:lnTo>
                  <a:lnTo>
                    <a:pt x="15" y="174"/>
                  </a:lnTo>
                  <a:lnTo>
                    <a:pt x="23" y="169"/>
                  </a:lnTo>
                  <a:lnTo>
                    <a:pt x="29" y="163"/>
                  </a:lnTo>
                  <a:lnTo>
                    <a:pt x="34" y="157"/>
                  </a:lnTo>
                  <a:lnTo>
                    <a:pt x="39" y="151"/>
                  </a:lnTo>
                  <a:lnTo>
                    <a:pt x="42" y="144"/>
                  </a:lnTo>
                  <a:lnTo>
                    <a:pt x="43" y="136"/>
                  </a:lnTo>
                  <a:lnTo>
                    <a:pt x="43" y="128"/>
                  </a:lnTo>
                  <a:lnTo>
                    <a:pt x="42" y="119"/>
                  </a:lnTo>
                  <a:lnTo>
                    <a:pt x="41" y="112"/>
                  </a:lnTo>
                  <a:lnTo>
                    <a:pt x="39" y="105"/>
                  </a:lnTo>
                  <a:lnTo>
                    <a:pt x="39" y="98"/>
                  </a:lnTo>
                  <a:lnTo>
                    <a:pt x="41" y="91"/>
                  </a:lnTo>
                  <a:lnTo>
                    <a:pt x="46" y="77"/>
                  </a:lnTo>
                  <a:lnTo>
                    <a:pt x="52" y="64"/>
                  </a:lnTo>
                  <a:lnTo>
                    <a:pt x="51" y="64"/>
                  </a:lnTo>
                  <a:lnTo>
                    <a:pt x="50" y="61"/>
                  </a:lnTo>
                  <a:lnTo>
                    <a:pt x="48" y="59"/>
                  </a:lnTo>
                  <a:lnTo>
                    <a:pt x="46" y="53"/>
                  </a:lnTo>
                  <a:lnTo>
                    <a:pt x="42" y="47"/>
                  </a:lnTo>
                  <a:lnTo>
                    <a:pt x="38" y="42"/>
                  </a:lnTo>
                  <a:lnTo>
                    <a:pt x="36" y="36"/>
                  </a:lnTo>
                  <a:lnTo>
                    <a:pt x="34" y="33"/>
                  </a:lnTo>
                  <a:lnTo>
                    <a:pt x="36" y="29"/>
                  </a:lnTo>
                  <a:lnTo>
                    <a:pt x="38" y="21"/>
                  </a:lnTo>
                  <a:lnTo>
                    <a:pt x="38" y="19"/>
                  </a:lnTo>
                  <a:lnTo>
                    <a:pt x="37" y="16"/>
                  </a:lnTo>
                  <a:lnTo>
                    <a:pt x="34" y="13"/>
                  </a:lnTo>
                  <a:lnTo>
                    <a:pt x="42" y="7"/>
                  </a:lnTo>
                  <a:lnTo>
                    <a:pt x="48" y="0"/>
                  </a:lnTo>
                  <a:lnTo>
                    <a:pt x="203" y="83"/>
                  </a:lnTo>
                  <a:lnTo>
                    <a:pt x="202" y="145"/>
                  </a:lnTo>
                  <a:lnTo>
                    <a:pt x="199" y="154"/>
                  </a:lnTo>
                  <a:lnTo>
                    <a:pt x="197" y="156"/>
                  </a:lnTo>
                  <a:lnTo>
                    <a:pt x="196" y="157"/>
                  </a:lnTo>
                  <a:lnTo>
                    <a:pt x="194" y="157"/>
                  </a:lnTo>
                  <a:lnTo>
                    <a:pt x="189" y="155"/>
                  </a:lnTo>
                  <a:lnTo>
                    <a:pt x="184" y="155"/>
                  </a:lnTo>
                  <a:lnTo>
                    <a:pt x="179" y="155"/>
                  </a:lnTo>
                  <a:lnTo>
                    <a:pt x="178" y="157"/>
                  </a:lnTo>
                  <a:lnTo>
                    <a:pt x="177" y="160"/>
                  </a:lnTo>
                  <a:lnTo>
                    <a:pt x="177" y="166"/>
                  </a:lnTo>
                  <a:lnTo>
                    <a:pt x="175" y="168"/>
                  </a:lnTo>
                  <a:lnTo>
                    <a:pt x="175" y="170"/>
                  </a:lnTo>
                  <a:lnTo>
                    <a:pt x="171" y="177"/>
                  </a:lnTo>
                  <a:lnTo>
                    <a:pt x="169" y="186"/>
                  </a:lnTo>
                  <a:lnTo>
                    <a:pt x="166" y="193"/>
                  </a:lnTo>
                  <a:lnTo>
                    <a:pt x="163" y="200"/>
                  </a:lnTo>
                  <a:lnTo>
                    <a:pt x="161" y="203"/>
                  </a:lnTo>
                  <a:lnTo>
                    <a:pt x="159" y="206"/>
                  </a:lnTo>
                  <a:lnTo>
                    <a:pt x="155" y="209"/>
                  </a:lnTo>
                  <a:lnTo>
                    <a:pt x="152" y="213"/>
                  </a:lnTo>
                  <a:lnTo>
                    <a:pt x="150" y="217"/>
                  </a:lnTo>
                  <a:lnTo>
                    <a:pt x="151" y="220"/>
                  </a:lnTo>
                  <a:lnTo>
                    <a:pt x="151" y="222"/>
                  </a:lnTo>
                  <a:lnTo>
                    <a:pt x="152" y="224"/>
                  </a:lnTo>
                  <a:lnTo>
                    <a:pt x="156" y="224"/>
                  </a:lnTo>
                  <a:lnTo>
                    <a:pt x="160" y="224"/>
                  </a:lnTo>
                  <a:lnTo>
                    <a:pt x="164" y="224"/>
                  </a:lnTo>
                  <a:lnTo>
                    <a:pt x="165" y="224"/>
                  </a:lnTo>
                  <a:lnTo>
                    <a:pt x="166" y="225"/>
                  </a:lnTo>
                  <a:lnTo>
                    <a:pt x="166" y="232"/>
                  </a:lnTo>
                  <a:lnTo>
                    <a:pt x="168" y="240"/>
                  </a:lnTo>
                  <a:lnTo>
                    <a:pt x="170" y="247"/>
                  </a:lnTo>
                  <a:lnTo>
                    <a:pt x="171" y="251"/>
                  </a:lnTo>
                  <a:lnTo>
                    <a:pt x="171" y="256"/>
                  </a:lnTo>
                  <a:lnTo>
                    <a:pt x="170" y="258"/>
                  </a:lnTo>
                  <a:lnTo>
                    <a:pt x="168" y="259"/>
                  </a:lnTo>
                  <a:lnTo>
                    <a:pt x="165" y="262"/>
                  </a:lnTo>
                  <a:lnTo>
                    <a:pt x="161" y="264"/>
                  </a:lnTo>
                  <a:lnTo>
                    <a:pt x="157" y="268"/>
                  </a:lnTo>
                  <a:lnTo>
                    <a:pt x="154" y="271"/>
                  </a:lnTo>
                  <a:lnTo>
                    <a:pt x="145" y="278"/>
                  </a:lnTo>
                  <a:lnTo>
                    <a:pt x="142" y="281"/>
                  </a:lnTo>
                  <a:lnTo>
                    <a:pt x="140" y="282"/>
                  </a:lnTo>
                  <a:lnTo>
                    <a:pt x="133" y="284"/>
                  </a:lnTo>
                  <a:lnTo>
                    <a:pt x="127" y="286"/>
                  </a:lnTo>
                  <a:lnTo>
                    <a:pt x="124" y="288"/>
                  </a:lnTo>
                  <a:lnTo>
                    <a:pt x="123" y="290"/>
                  </a:lnTo>
                  <a:lnTo>
                    <a:pt x="118" y="298"/>
                  </a:lnTo>
                  <a:lnTo>
                    <a:pt x="112" y="304"/>
                  </a:lnTo>
                  <a:lnTo>
                    <a:pt x="104" y="309"/>
                  </a:lnTo>
                  <a:lnTo>
                    <a:pt x="94" y="313"/>
                  </a:lnTo>
                  <a:lnTo>
                    <a:pt x="91" y="314"/>
                  </a:lnTo>
                  <a:lnTo>
                    <a:pt x="88" y="316"/>
                  </a:lnTo>
                  <a:lnTo>
                    <a:pt x="85" y="317"/>
                  </a:lnTo>
                  <a:lnTo>
                    <a:pt x="81" y="317"/>
                  </a:lnTo>
                  <a:lnTo>
                    <a:pt x="70" y="317"/>
                  </a:lnTo>
                  <a:lnTo>
                    <a:pt x="65" y="317"/>
                  </a:lnTo>
                  <a:lnTo>
                    <a:pt x="58" y="318"/>
                  </a:lnTo>
                  <a:lnTo>
                    <a:pt x="51" y="323"/>
                  </a:lnTo>
                  <a:lnTo>
                    <a:pt x="42" y="328"/>
                  </a:lnTo>
                  <a:lnTo>
                    <a:pt x="38" y="32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1" name="Freeform 710"/>
            <p:cNvSpPr>
              <a:spLocks/>
            </p:cNvSpPr>
            <p:nvPr/>
          </p:nvSpPr>
          <p:spPr bwMode="auto">
            <a:xfrm>
              <a:off x="4586289" y="4340225"/>
              <a:ext cx="49212" cy="39688"/>
            </a:xfrm>
            <a:custGeom>
              <a:avLst/>
              <a:gdLst>
                <a:gd name="T0" fmla="*/ 2147483647 w 33"/>
                <a:gd name="T1" fmla="*/ 0 h 25"/>
                <a:gd name="T2" fmla="*/ 2147483647 w 33"/>
                <a:gd name="T3" fmla="*/ 2147483647 h 25"/>
                <a:gd name="T4" fmla="*/ 2147483647 w 33"/>
                <a:gd name="T5" fmla="*/ 2147483647 h 25"/>
                <a:gd name="T6" fmla="*/ 2147483647 w 33"/>
                <a:gd name="T7" fmla="*/ 2147483647 h 25"/>
                <a:gd name="T8" fmla="*/ 2147483647 w 33"/>
                <a:gd name="T9" fmla="*/ 2147483647 h 25"/>
                <a:gd name="T10" fmla="*/ 0 w 33"/>
                <a:gd name="T11" fmla="*/ 2147483647 h 25"/>
                <a:gd name="T12" fmla="*/ 0 w 33"/>
                <a:gd name="T13" fmla="*/ 2147483647 h 25"/>
                <a:gd name="T14" fmla="*/ 0 w 33"/>
                <a:gd name="T15" fmla="*/ 2147483647 h 25"/>
                <a:gd name="T16" fmla="*/ 2147483647 w 33"/>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 y="0"/>
                  </a:moveTo>
                  <a:lnTo>
                    <a:pt x="33" y="2"/>
                  </a:lnTo>
                  <a:lnTo>
                    <a:pt x="32" y="14"/>
                  </a:lnTo>
                  <a:lnTo>
                    <a:pt x="31" y="25"/>
                  </a:lnTo>
                  <a:lnTo>
                    <a:pt x="1" y="24"/>
                  </a:lnTo>
                  <a:lnTo>
                    <a:pt x="0" y="22"/>
                  </a:lnTo>
                  <a:lnTo>
                    <a:pt x="0" y="16"/>
                  </a:lnTo>
                  <a:lnTo>
                    <a:pt x="0" y="11"/>
                  </a:lnTo>
                  <a:lnTo>
                    <a:pt x="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2" name="Freeform 711"/>
            <p:cNvSpPr>
              <a:spLocks/>
            </p:cNvSpPr>
            <p:nvPr/>
          </p:nvSpPr>
          <p:spPr bwMode="auto">
            <a:xfrm>
              <a:off x="4667251" y="3675064"/>
              <a:ext cx="296863" cy="523875"/>
            </a:xfrm>
            <a:custGeom>
              <a:avLst/>
              <a:gdLst>
                <a:gd name="T0" fmla="*/ 2147483647 w 203"/>
                <a:gd name="T1" fmla="*/ 2147483647 h 330"/>
                <a:gd name="T2" fmla="*/ 2147483647 w 203"/>
                <a:gd name="T3" fmla="*/ 2147483647 h 330"/>
                <a:gd name="T4" fmla="*/ 2147483647 w 203"/>
                <a:gd name="T5" fmla="*/ 2147483647 h 330"/>
                <a:gd name="T6" fmla="*/ 2147483647 w 203"/>
                <a:gd name="T7" fmla="*/ 2147483647 h 330"/>
                <a:gd name="T8" fmla="*/ 2147483647 w 203"/>
                <a:gd name="T9" fmla="*/ 2147483647 h 330"/>
                <a:gd name="T10" fmla="*/ 2147483647 w 203"/>
                <a:gd name="T11" fmla="*/ 2147483647 h 330"/>
                <a:gd name="T12" fmla="*/ 2147483647 w 203"/>
                <a:gd name="T13" fmla="*/ 2147483647 h 330"/>
                <a:gd name="T14" fmla="*/ 2147483647 w 203"/>
                <a:gd name="T15" fmla="*/ 2147483647 h 330"/>
                <a:gd name="T16" fmla="*/ 2147483647 w 203"/>
                <a:gd name="T17" fmla="*/ 2147483647 h 330"/>
                <a:gd name="T18" fmla="*/ 2147483647 w 203"/>
                <a:gd name="T19" fmla="*/ 2147483647 h 330"/>
                <a:gd name="T20" fmla="*/ 2147483647 w 203"/>
                <a:gd name="T21" fmla="*/ 2147483647 h 330"/>
                <a:gd name="T22" fmla="*/ 2147483647 w 203"/>
                <a:gd name="T23" fmla="*/ 2147483647 h 330"/>
                <a:gd name="T24" fmla="*/ 2147483647 w 203"/>
                <a:gd name="T25" fmla="*/ 2147483647 h 330"/>
                <a:gd name="T26" fmla="*/ 2147483647 w 203"/>
                <a:gd name="T27" fmla="*/ 2147483647 h 330"/>
                <a:gd name="T28" fmla="*/ 2147483647 w 203"/>
                <a:gd name="T29" fmla="*/ 2147483647 h 330"/>
                <a:gd name="T30" fmla="*/ 2147483647 w 203"/>
                <a:gd name="T31" fmla="*/ 2147483647 h 330"/>
                <a:gd name="T32" fmla="*/ 0 w 203"/>
                <a:gd name="T33" fmla="*/ 2147483647 h 330"/>
                <a:gd name="T34" fmla="*/ 2147483647 w 203"/>
                <a:gd name="T35" fmla="*/ 2147483647 h 330"/>
                <a:gd name="T36" fmla="*/ 2147483647 w 203"/>
                <a:gd name="T37" fmla="*/ 2147483647 h 330"/>
                <a:gd name="T38" fmla="*/ 2147483647 w 203"/>
                <a:gd name="T39" fmla="*/ 2147483647 h 330"/>
                <a:gd name="T40" fmla="*/ 2147483647 w 203"/>
                <a:gd name="T41" fmla="*/ 2147483647 h 330"/>
                <a:gd name="T42" fmla="*/ 2147483647 w 203"/>
                <a:gd name="T43" fmla="*/ 2147483647 h 330"/>
                <a:gd name="T44" fmla="*/ 2147483647 w 203"/>
                <a:gd name="T45" fmla="*/ 2147483647 h 330"/>
                <a:gd name="T46" fmla="*/ 2147483647 w 203"/>
                <a:gd name="T47" fmla="*/ 2147483647 h 330"/>
                <a:gd name="T48" fmla="*/ 2147483647 w 203"/>
                <a:gd name="T49" fmla="*/ 2147483647 h 330"/>
                <a:gd name="T50" fmla="*/ 2147483647 w 203"/>
                <a:gd name="T51" fmla="*/ 2147483647 h 330"/>
                <a:gd name="T52" fmla="*/ 2147483647 w 203"/>
                <a:gd name="T53" fmla="*/ 2147483647 h 330"/>
                <a:gd name="T54" fmla="*/ 2147483647 w 203"/>
                <a:gd name="T55" fmla="*/ 2147483647 h 330"/>
                <a:gd name="T56" fmla="*/ 2147483647 w 203"/>
                <a:gd name="T57" fmla="*/ 2147483647 h 330"/>
                <a:gd name="T58" fmla="*/ 2147483647 w 203"/>
                <a:gd name="T59" fmla="*/ 2147483647 h 330"/>
                <a:gd name="T60" fmla="*/ 2147483647 w 203"/>
                <a:gd name="T61" fmla="*/ 2147483647 h 330"/>
                <a:gd name="T62" fmla="*/ 2147483647 w 203"/>
                <a:gd name="T63" fmla="*/ 0 h 330"/>
                <a:gd name="T64" fmla="*/ 2147483647 w 203"/>
                <a:gd name="T65" fmla="*/ 2147483647 h 330"/>
                <a:gd name="T66" fmla="*/ 2147483647 w 203"/>
                <a:gd name="T67" fmla="*/ 2147483647 h 330"/>
                <a:gd name="T68" fmla="*/ 2147483647 w 203"/>
                <a:gd name="T69" fmla="*/ 2147483647 h 330"/>
                <a:gd name="T70" fmla="*/ 2147483647 w 203"/>
                <a:gd name="T71" fmla="*/ 2147483647 h 330"/>
                <a:gd name="T72" fmla="*/ 2147483647 w 203"/>
                <a:gd name="T73" fmla="*/ 2147483647 h 330"/>
                <a:gd name="T74" fmla="*/ 2147483647 w 203"/>
                <a:gd name="T75" fmla="*/ 2147483647 h 330"/>
                <a:gd name="T76" fmla="*/ 2147483647 w 203"/>
                <a:gd name="T77" fmla="*/ 2147483647 h 330"/>
                <a:gd name="T78" fmla="*/ 2147483647 w 203"/>
                <a:gd name="T79" fmla="*/ 2147483647 h 330"/>
                <a:gd name="T80" fmla="*/ 2147483647 w 203"/>
                <a:gd name="T81" fmla="*/ 2147483647 h 330"/>
                <a:gd name="T82" fmla="*/ 2147483647 w 203"/>
                <a:gd name="T83" fmla="*/ 2147483647 h 330"/>
                <a:gd name="T84" fmla="*/ 2147483647 w 203"/>
                <a:gd name="T85" fmla="*/ 2147483647 h 330"/>
                <a:gd name="T86" fmla="*/ 2147483647 w 203"/>
                <a:gd name="T87" fmla="*/ 2147483647 h 330"/>
                <a:gd name="T88" fmla="*/ 2147483647 w 203"/>
                <a:gd name="T89" fmla="*/ 2147483647 h 330"/>
                <a:gd name="T90" fmla="*/ 2147483647 w 203"/>
                <a:gd name="T91" fmla="*/ 2147483647 h 330"/>
                <a:gd name="T92" fmla="*/ 2147483647 w 203"/>
                <a:gd name="T93" fmla="*/ 2147483647 h 330"/>
                <a:gd name="T94" fmla="*/ 2147483647 w 203"/>
                <a:gd name="T95" fmla="*/ 2147483647 h 330"/>
                <a:gd name="T96" fmla="*/ 2147483647 w 203"/>
                <a:gd name="T97" fmla="*/ 2147483647 h 330"/>
                <a:gd name="T98" fmla="*/ 2147483647 w 203"/>
                <a:gd name="T99" fmla="*/ 2147483647 h 330"/>
                <a:gd name="T100" fmla="*/ 2147483647 w 203"/>
                <a:gd name="T101" fmla="*/ 2147483647 h 330"/>
                <a:gd name="T102" fmla="*/ 2147483647 w 203"/>
                <a:gd name="T103" fmla="*/ 2147483647 h 330"/>
                <a:gd name="T104" fmla="*/ 2147483647 w 203"/>
                <a:gd name="T105" fmla="*/ 2147483647 h 330"/>
                <a:gd name="T106" fmla="*/ 2147483647 w 203"/>
                <a:gd name="T107" fmla="*/ 2147483647 h 330"/>
                <a:gd name="T108" fmla="*/ 2147483647 w 203"/>
                <a:gd name="T109" fmla="*/ 2147483647 h 330"/>
                <a:gd name="T110" fmla="*/ 2147483647 w 203"/>
                <a:gd name="T111" fmla="*/ 2147483647 h 330"/>
                <a:gd name="T112" fmla="*/ 2147483647 w 203"/>
                <a:gd name="T113" fmla="*/ 2147483647 h 330"/>
                <a:gd name="T114" fmla="*/ 2147483647 w 203"/>
                <a:gd name="T115" fmla="*/ 2147483647 h 330"/>
                <a:gd name="T116" fmla="*/ 2147483647 w 203"/>
                <a:gd name="T117" fmla="*/ 2147483647 h 3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3"/>
                <a:gd name="T178" fmla="*/ 0 h 330"/>
                <a:gd name="T179" fmla="*/ 203 w 203"/>
                <a:gd name="T180" fmla="*/ 330 h 3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3" h="330">
                  <a:moveTo>
                    <a:pt x="38" y="330"/>
                  </a:moveTo>
                  <a:lnTo>
                    <a:pt x="38" y="330"/>
                  </a:lnTo>
                  <a:lnTo>
                    <a:pt x="38" y="317"/>
                  </a:lnTo>
                  <a:lnTo>
                    <a:pt x="38" y="310"/>
                  </a:lnTo>
                  <a:lnTo>
                    <a:pt x="37" y="304"/>
                  </a:lnTo>
                  <a:lnTo>
                    <a:pt x="37" y="302"/>
                  </a:lnTo>
                  <a:lnTo>
                    <a:pt x="34" y="299"/>
                  </a:lnTo>
                  <a:lnTo>
                    <a:pt x="30" y="294"/>
                  </a:lnTo>
                  <a:lnTo>
                    <a:pt x="26" y="291"/>
                  </a:lnTo>
                  <a:lnTo>
                    <a:pt x="24" y="288"/>
                  </a:lnTo>
                  <a:lnTo>
                    <a:pt x="24" y="286"/>
                  </a:lnTo>
                  <a:lnTo>
                    <a:pt x="24" y="283"/>
                  </a:lnTo>
                  <a:lnTo>
                    <a:pt x="25" y="280"/>
                  </a:lnTo>
                  <a:lnTo>
                    <a:pt x="28" y="280"/>
                  </a:lnTo>
                  <a:lnTo>
                    <a:pt x="32" y="279"/>
                  </a:lnTo>
                  <a:lnTo>
                    <a:pt x="39" y="280"/>
                  </a:lnTo>
                  <a:lnTo>
                    <a:pt x="43" y="279"/>
                  </a:lnTo>
                  <a:lnTo>
                    <a:pt x="47" y="278"/>
                  </a:lnTo>
                  <a:lnTo>
                    <a:pt x="48" y="277"/>
                  </a:lnTo>
                  <a:lnTo>
                    <a:pt x="48" y="275"/>
                  </a:lnTo>
                  <a:lnTo>
                    <a:pt x="47" y="273"/>
                  </a:lnTo>
                  <a:lnTo>
                    <a:pt x="43" y="267"/>
                  </a:lnTo>
                  <a:lnTo>
                    <a:pt x="42" y="264"/>
                  </a:lnTo>
                  <a:lnTo>
                    <a:pt x="42" y="261"/>
                  </a:lnTo>
                  <a:lnTo>
                    <a:pt x="42" y="247"/>
                  </a:lnTo>
                  <a:lnTo>
                    <a:pt x="40" y="241"/>
                  </a:lnTo>
                  <a:lnTo>
                    <a:pt x="38" y="235"/>
                  </a:lnTo>
                  <a:lnTo>
                    <a:pt x="35" y="229"/>
                  </a:lnTo>
                  <a:lnTo>
                    <a:pt x="32" y="224"/>
                  </a:lnTo>
                  <a:lnTo>
                    <a:pt x="26" y="220"/>
                  </a:lnTo>
                  <a:lnTo>
                    <a:pt x="20" y="216"/>
                  </a:lnTo>
                  <a:lnTo>
                    <a:pt x="16" y="215"/>
                  </a:lnTo>
                  <a:lnTo>
                    <a:pt x="16" y="214"/>
                  </a:lnTo>
                  <a:lnTo>
                    <a:pt x="16" y="213"/>
                  </a:lnTo>
                  <a:lnTo>
                    <a:pt x="18" y="209"/>
                  </a:lnTo>
                  <a:lnTo>
                    <a:pt x="18" y="205"/>
                  </a:lnTo>
                  <a:lnTo>
                    <a:pt x="15" y="203"/>
                  </a:lnTo>
                  <a:lnTo>
                    <a:pt x="12" y="201"/>
                  </a:lnTo>
                  <a:lnTo>
                    <a:pt x="9" y="201"/>
                  </a:lnTo>
                  <a:lnTo>
                    <a:pt x="5" y="201"/>
                  </a:lnTo>
                  <a:lnTo>
                    <a:pt x="1" y="197"/>
                  </a:lnTo>
                  <a:lnTo>
                    <a:pt x="0" y="194"/>
                  </a:lnTo>
                  <a:lnTo>
                    <a:pt x="1" y="191"/>
                  </a:lnTo>
                  <a:lnTo>
                    <a:pt x="4" y="189"/>
                  </a:lnTo>
                  <a:lnTo>
                    <a:pt x="10" y="185"/>
                  </a:lnTo>
                  <a:lnTo>
                    <a:pt x="12" y="183"/>
                  </a:lnTo>
                  <a:lnTo>
                    <a:pt x="12" y="181"/>
                  </a:lnTo>
                  <a:lnTo>
                    <a:pt x="14" y="177"/>
                  </a:lnTo>
                  <a:lnTo>
                    <a:pt x="15" y="175"/>
                  </a:lnTo>
                  <a:lnTo>
                    <a:pt x="23" y="170"/>
                  </a:lnTo>
                  <a:lnTo>
                    <a:pt x="29" y="164"/>
                  </a:lnTo>
                  <a:lnTo>
                    <a:pt x="34" y="158"/>
                  </a:lnTo>
                  <a:lnTo>
                    <a:pt x="39" y="152"/>
                  </a:lnTo>
                  <a:lnTo>
                    <a:pt x="42" y="145"/>
                  </a:lnTo>
                  <a:lnTo>
                    <a:pt x="43" y="137"/>
                  </a:lnTo>
                  <a:lnTo>
                    <a:pt x="43" y="128"/>
                  </a:lnTo>
                  <a:lnTo>
                    <a:pt x="42" y="120"/>
                  </a:lnTo>
                  <a:lnTo>
                    <a:pt x="40" y="113"/>
                  </a:lnTo>
                  <a:lnTo>
                    <a:pt x="39" y="106"/>
                  </a:lnTo>
                  <a:lnTo>
                    <a:pt x="39" y="99"/>
                  </a:lnTo>
                  <a:lnTo>
                    <a:pt x="40" y="92"/>
                  </a:lnTo>
                  <a:lnTo>
                    <a:pt x="45" y="77"/>
                  </a:lnTo>
                  <a:lnTo>
                    <a:pt x="52" y="64"/>
                  </a:lnTo>
                  <a:lnTo>
                    <a:pt x="51" y="64"/>
                  </a:lnTo>
                  <a:lnTo>
                    <a:pt x="49" y="62"/>
                  </a:lnTo>
                  <a:lnTo>
                    <a:pt x="48" y="60"/>
                  </a:lnTo>
                  <a:lnTo>
                    <a:pt x="45" y="54"/>
                  </a:lnTo>
                  <a:lnTo>
                    <a:pt x="42" y="48"/>
                  </a:lnTo>
                  <a:lnTo>
                    <a:pt x="38" y="43"/>
                  </a:lnTo>
                  <a:lnTo>
                    <a:pt x="35" y="37"/>
                  </a:lnTo>
                  <a:lnTo>
                    <a:pt x="34" y="34"/>
                  </a:lnTo>
                  <a:lnTo>
                    <a:pt x="35" y="30"/>
                  </a:lnTo>
                  <a:lnTo>
                    <a:pt x="38" y="22"/>
                  </a:lnTo>
                  <a:lnTo>
                    <a:pt x="38" y="19"/>
                  </a:lnTo>
                  <a:lnTo>
                    <a:pt x="37" y="17"/>
                  </a:lnTo>
                  <a:lnTo>
                    <a:pt x="34" y="13"/>
                  </a:lnTo>
                  <a:lnTo>
                    <a:pt x="42" y="8"/>
                  </a:lnTo>
                  <a:lnTo>
                    <a:pt x="48" y="0"/>
                  </a:lnTo>
                  <a:lnTo>
                    <a:pt x="203" y="83"/>
                  </a:lnTo>
                  <a:lnTo>
                    <a:pt x="202" y="146"/>
                  </a:lnTo>
                  <a:lnTo>
                    <a:pt x="199" y="155"/>
                  </a:lnTo>
                  <a:lnTo>
                    <a:pt x="197" y="157"/>
                  </a:lnTo>
                  <a:lnTo>
                    <a:pt x="195" y="158"/>
                  </a:lnTo>
                  <a:lnTo>
                    <a:pt x="194" y="158"/>
                  </a:lnTo>
                  <a:lnTo>
                    <a:pt x="189" y="156"/>
                  </a:lnTo>
                  <a:lnTo>
                    <a:pt x="184" y="156"/>
                  </a:lnTo>
                  <a:lnTo>
                    <a:pt x="179" y="156"/>
                  </a:lnTo>
                  <a:lnTo>
                    <a:pt x="178" y="158"/>
                  </a:lnTo>
                  <a:lnTo>
                    <a:pt x="176" y="160"/>
                  </a:lnTo>
                  <a:lnTo>
                    <a:pt x="176" y="166"/>
                  </a:lnTo>
                  <a:lnTo>
                    <a:pt x="175" y="169"/>
                  </a:lnTo>
                  <a:lnTo>
                    <a:pt x="175" y="171"/>
                  </a:lnTo>
                  <a:lnTo>
                    <a:pt x="171" y="178"/>
                  </a:lnTo>
                  <a:lnTo>
                    <a:pt x="169" y="187"/>
                  </a:lnTo>
                  <a:lnTo>
                    <a:pt x="166" y="194"/>
                  </a:lnTo>
                  <a:lnTo>
                    <a:pt x="162" y="201"/>
                  </a:lnTo>
                  <a:lnTo>
                    <a:pt x="161" y="204"/>
                  </a:lnTo>
                  <a:lnTo>
                    <a:pt x="158" y="207"/>
                  </a:lnTo>
                  <a:lnTo>
                    <a:pt x="155" y="210"/>
                  </a:lnTo>
                  <a:lnTo>
                    <a:pt x="152" y="214"/>
                  </a:lnTo>
                  <a:lnTo>
                    <a:pt x="150" y="217"/>
                  </a:lnTo>
                  <a:lnTo>
                    <a:pt x="151" y="221"/>
                  </a:lnTo>
                  <a:lnTo>
                    <a:pt x="151" y="223"/>
                  </a:lnTo>
                  <a:lnTo>
                    <a:pt x="152" y="224"/>
                  </a:lnTo>
                  <a:lnTo>
                    <a:pt x="156" y="224"/>
                  </a:lnTo>
                  <a:lnTo>
                    <a:pt x="160" y="224"/>
                  </a:lnTo>
                  <a:lnTo>
                    <a:pt x="164" y="224"/>
                  </a:lnTo>
                  <a:lnTo>
                    <a:pt x="165" y="224"/>
                  </a:lnTo>
                  <a:lnTo>
                    <a:pt x="166" y="226"/>
                  </a:lnTo>
                  <a:lnTo>
                    <a:pt x="166" y="233"/>
                  </a:lnTo>
                  <a:lnTo>
                    <a:pt x="167" y="241"/>
                  </a:lnTo>
                  <a:lnTo>
                    <a:pt x="170" y="248"/>
                  </a:lnTo>
                  <a:lnTo>
                    <a:pt x="171" y="252"/>
                  </a:lnTo>
                  <a:lnTo>
                    <a:pt x="171" y="256"/>
                  </a:lnTo>
                  <a:lnTo>
                    <a:pt x="170" y="259"/>
                  </a:lnTo>
                  <a:lnTo>
                    <a:pt x="167" y="260"/>
                  </a:lnTo>
                  <a:lnTo>
                    <a:pt x="165" y="262"/>
                  </a:lnTo>
                  <a:lnTo>
                    <a:pt x="161" y="265"/>
                  </a:lnTo>
                  <a:lnTo>
                    <a:pt x="157" y="268"/>
                  </a:lnTo>
                  <a:lnTo>
                    <a:pt x="153" y="272"/>
                  </a:lnTo>
                  <a:lnTo>
                    <a:pt x="145" y="279"/>
                  </a:lnTo>
                  <a:lnTo>
                    <a:pt x="142" y="281"/>
                  </a:lnTo>
                  <a:lnTo>
                    <a:pt x="139" y="283"/>
                  </a:lnTo>
                  <a:lnTo>
                    <a:pt x="133" y="285"/>
                  </a:lnTo>
                  <a:lnTo>
                    <a:pt x="127" y="287"/>
                  </a:lnTo>
                  <a:lnTo>
                    <a:pt x="124" y="288"/>
                  </a:lnTo>
                  <a:lnTo>
                    <a:pt x="123" y="291"/>
                  </a:lnTo>
                  <a:lnTo>
                    <a:pt x="118" y="299"/>
                  </a:lnTo>
                  <a:lnTo>
                    <a:pt x="112" y="305"/>
                  </a:lnTo>
                  <a:lnTo>
                    <a:pt x="104" y="310"/>
                  </a:lnTo>
                  <a:lnTo>
                    <a:pt x="94" y="313"/>
                  </a:lnTo>
                  <a:lnTo>
                    <a:pt x="91" y="315"/>
                  </a:lnTo>
                  <a:lnTo>
                    <a:pt x="87" y="317"/>
                  </a:lnTo>
                  <a:lnTo>
                    <a:pt x="85" y="318"/>
                  </a:lnTo>
                  <a:lnTo>
                    <a:pt x="81" y="318"/>
                  </a:lnTo>
                  <a:lnTo>
                    <a:pt x="70" y="318"/>
                  </a:lnTo>
                  <a:lnTo>
                    <a:pt x="65" y="318"/>
                  </a:lnTo>
                  <a:lnTo>
                    <a:pt x="58" y="319"/>
                  </a:lnTo>
                  <a:lnTo>
                    <a:pt x="51" y="324"/>
                  </a:lnTo>
                  <a:lnTo>
                    <a:pt x="42" y="329"/>
                  </a:lnTo>
                  <a:lnTo>
                    <a:pt x="38" y="33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3" name="Freeform 712"/>
            <p:cNvSpPr>
              <a:spLocks/>
            </p:cNvSpPr>
            <p:nvPr/>
          </p:nvSpPr>
          <p:spPr bwMode="auto">
            <a:xfrm>
              <a:off x="4584701" y="4338642"/>
              <a:ext cx="49213" cy="39687"/>
            </a:xfrm>
            <a:custGeom>
              <a:avLst/>
              <a:gdLst>
                <a:gd name="T0" fmla="*/ 2147483647 w 33"/>
                <a:gd name="T1" fmla="*/ 0 h 25"/>
                <a:gd name="T2" fmla="*/ 2147483647 w 33"/>
                <a:gd name="T3" fmla="*/ 0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0 w 33"/>
                <a:gd name="T19" fmla="*/ 2147483647 h 25"/>
                <a:gd name="T20" fmla="*/ 0 w 33"/>
                <a:gd name="T21" fmla="*/ 2147483647 h 25"/>
                <a:gd name="T22" fmla="*/ 0 w 33"/>
                <a:gd name="T23" fmla="*/ 2147483647 h 25"/>
                <a:gd name="T24" fmla="*/ 0 w 33"/>
                <a:gd name="T25" fmla="*/ 2147483647 h 25"/>
                <a:gd name="T26" fmla="*/ 2147483647 w 33"/>
                <a:gd name="T27" fmla="*/ 0 h 25"/>
                <a:gd name="T28" fmla="*/ 2147483647 w 33"/>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25"/>
                <a:gd name="T47" fmla="*/ 33 w 33"/>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25">
                  <a:moveTo>
                    <a:pt x="2" y="0"/>
                  </a:moveTo>
                  <a:lnTo>
                    <a:pt x="2" y="0"/>
                  </a:lnTo>
                  <a:lnTo>
                    <a:pt x="33" y="2"/>
                  </a:lnTo>
                  <a:lnTo>
                    <a:pt x="32" y="14"/>
                  </a:lnTo>
                  <a:lnTo>
                    <a:pt x="30" y="25"/>
                  </a:lnTo>
                  <a:lnTo>
                    <a:pt x="1" y="23"/>
                  </a:lnTo>
                  <a:lnTo>
                    <a:pt x="0" y="22"/>
                  </a:lnTo>
                  <a:lnTo>
                    <a:pt x="0" y="16"/>
                  </a:lnTo>
                  <a:lnTo>
                    <a:pt x="0" y="10"/>
                  </a:lnTo>
                  <a:lnTo>
                    <a:pt x="2"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4" name="Freeform 713"/>
            <p:cNvSpPr>
              <a:spLocks/>
            </p:cNvSpPr>
            <p:nvPr/>
          </p:nvSpPr>
          <p:spPr bwMode="auto">
            <a:xfrm>
              <a:off x="4567239" y="4343403"/>
              <a:ext cx="153987" cy="190500"/>
            </a:xfrm>
            <a:custGeom>
              <a:avLst/>
              <a:gdLst>
                <a:gd name="T0" fmla="*/ 2147483647 w 105"/>
                <a:gd name="T1" fmla="*/ 2147483647 h 120"/>
                <a:gd name="T2" fmla="*/ 2147483647 w 105"/>
                <a:gd name="T3" fmla="*/ 0 h 120"/>
                <a:gd name="T4" fmla="*/ 2147483647 w 105"/>
                <a:gd name="T5" fmla="*/ 0 h 120"/>
                <a:gd name="T6" fmla="*/ 2147483647 w 105"/>
                <a:gd name="T7" fmla="*/ 2147483647 h 120"/>
                <a:gd name="T8" fmla="*/ 2147483647 w 105"/>
                <a:gd name="T9" fmla="*/ 2147483647 h 120"/>
                <a:gd name="T10" fmla="*/ 2147483647 w 105"/>
                <a:gd name="T11" fmla="*/ 2147483647 h 120"/>
                <a:gd name="T12" fmla="*/ 2147483647 w 105"/>
                <a:gd name="T13" fmla="*/ 2147483647 h 120"/>
                <a:gd name="T14" fmla="*/ 2147483647 w 105"/>
                <a:gd name="T15" fmla="*/ 2147483647 h 120"/>
                <a:gd name="T16" fmla="*/ 2147483647 w 105"/>
                <a:gd name="T17" fmla="*/ 2147483647 h 120"/>
                <a:gd name="T18" fmla="*/ 2147483647 w 105"/>
                <a:gd name="T19" fmla="*/ 2147483647 h 120"/>
                <a:gd name="T20" fmla="*/ 2147483647 w 105"/>
                <a:gd name="T21" fmla="*/ 2147483647 h 120"/>
                <a:gd name="T22" fmla="*/ 2147483647 w 105"/>
                <a:gd name="T23" fmla="*/ 2147483647 h 120"/>
                <a:gd name="T24" fmla="*/ 2147483647 w 105"/>
                <a:gd name="T25" fmla="*/ 2147483647 h 120"/>
                <a:gd name="T26" fmla="*/ 2147483647 w 105"/>
                <a:gd name="T27" fmla="*/ 2147483647 h 120"/>
                <a:gd name="T28" fmla="*/ 2147483647 w 105"/>
                <a:gd name="T29" fmla="*/ 2147483647 h 120"/>
                <a:gd name="T30" fmla="*/ 2147483647 w 105"/>
                <a:gd name="T31" fmla="*/ 2147483647 h 120"/>
                <a:gd name="T32" fmla="*/ 2147483647 w 105"/>
                <a:gd name="T33" fmla="*/ 2147483647 h 120"/>
                <a:gd name="T34" fmla="*/ 2147483647 w 105"/>
                <a:gd name="T35" fmla="*/ 2147483647 h 120"/>
                <a:gd name="T36" fmla="*/ 2147483647 w 105"/>
                <a:gd name="T37" fmla="*/ 2147483647 h 120"/>
                <a:gd name="T38" fmla="*/ 2147483647 w 105"/>
                <a:gd name="T39" fmla="*/ 2147483647 h 120"/>
                <a:gd name="T40" fmla="*/ 2147483647 w 105"/>
                <a:gd name="T41" fmla="*/ 2147483647 h 120"/>
                <a:gd name="T42" fmla="*/ 2147483647 w 105"/>
                <a:gd name="T43" fmla="*/ 2147483647 h 120"/>
                <a:gd name="T44" fmla="*/ 2147483647 w 105"/>
                <a:gd name="T45" fmla="*/ 2147483647 h 120"/>
                <a:gd name="T46" fmla="*/ 2147483647 w 105"/>
                <a:gd name="T47" fmla="*/ 2147483647 h 120"/>
                <a:gd name="T48" fmla="*/ 2147483647 w 105"/>
                <a:gd name="T49" fmla="*/ 2147483647 h 120"/>
                <a:gd name="T50" fmla="*/ 2147483647 w 105"/>
                <a:gd name="T51" fmla="*/ 2147483647 h 120"/>
                <a:gd name="T52" fmla="*/ 2147483647 w 105"/>
                <a:gd name="T53" fmla="*/ 2147483647 h 120"/>
                <a:gd name="T54" fmla="*/ 2147483647 w 105"/>
                <a:gd name="T55" fmla="*/ 2147483647 h 120"/>
                <a:gd name="T56" fmla="*/ 2147483647 w 105"/>
                <a:gd name="T57" fmla="*/ 2147483647 h 120"/>
                <a:gd name="T58" fmla="*/ 2147483647 w 105"/>
                <a:gd name="T59" fmla="*/ 2147483647 h 120"/>
                <a:gd name="T60" fmla="*/ 2147483647 w 105"/>
                <a:gd name="T61" fmla="*/ 2147483647 h 120"/>
                <a:gd name="T62" fmla="*/ 2147483647 w 105"/>
                <a:gd name="T63" fmla="*/ 2147483647 h 120"/>
                <a:gd name="T64" fmla="*/ 2147483647 w 105"/>
                <a:gd name="T65" fmla="*/ 2147483647 h 120"/>
                <a:gd name="T66" fmla="*/ 2147483647 w 105"/>
                <a:gd name="T67" fmla="*/ 2147483647 h 120"/>
                <a:gd name="T68" fmla="*/ 2147483647 w 105"/>
                <a:gd name="T69" fmla="*/ 2147483647 h 120"/>
                <a:gd name="T70" fmla="*/ 0 w 105"/>
                <a:gd name="T71" fmla="*/ 2147483647 h 120"/>
                <a:gd name="T72" fmla="*/ 2147483647 w 105"/>
                <a:gd name="T73" fmla="*/ 2147483647 h 120"/>
                <a:gd name="T74" fmla="*/ 2147483647 w 105"/>
                <a:gd name="T75" fmla="*/ 2147483647 h 120"/>
                <a:gd name="T76" fmla="*/ 2147483647 w 105"/>
                <a:gd name="T77" fmla="*/ 2147483647 h 120"/>
                <a:gd name="T78" fmla="*/ 2147483647 w 105"/>
                <a:gd name="T79" fmla="*/ 2147483647 h 120"/>
                <a:gd name="T80" fmla="*/ 2147483647 w 105"/>
                <a:gd name="T81" fmla="*/ 2147483647 h 120"/>
                <a:gd name="T82" fmla="*/ 2147483647 w 105"/>
                <a:gd name="T83" fmla="*/ 2147483647 h 120"/>
                <a:gd name="T84" fmla="*/ 2147483647 w 105"/>
                <a:gd name="T85" fmla="*/ 2147483647 h 120"/>
                <a:gd name="T86" fmla="*/ 2147483647 w 105"/>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5"/>
                <a:gd name="T133" fmla="*/ 0 h 120"/>
                <a:gd name="T134" fmla="*/ 105 w 105"/>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5" h="120">
                  <a:moveTo>
                    <a:pt x="14" y="22"/>
                  </a:moveTo>
                  <a:lnTo>
                    <a:pt x="44" y="23"/>
                  </a:lnTo>
                  <a:lnTo>
                    <a:pt x="45" y="12"/>
                  </a:lnTo>
                  <a:lnTo>
                    <a:pt x="46" y="0"/>
                  </a:lnTo>
                  <a:lnTo>
                    <a:pt x="65" y="0"/>
                  </a:lnTo>
                  <a:lnTo>
                    <a:pt x="84" y="0"/>
                  </a:lnTo>
                  <a:lnTo>
                    <a:pt x="82" y="1"/>
                  </a:lnTo>
                  <a:lnTo>
                    <a:pt x="79" y="4"/>
                  </a:lnTo>
                  <a:lnTo>
                    <a:pt x="79" y="9"/>
                  </a:lnTo>
                  <a:lnTo>
                    <a:pt x="79" y="12"/>
                  </a:lnTo>
                  <a:lnTo>
                    <a:pt x="80" y="14"/>
                  </a:lnTo>
                  <a:lnTo>
                    <a:pt x="82" y="17"/>
                  </a:lnTo>
                  <a:lnTo>
                    <a:pt x="84" y="17"/>
                  </a:lnTo>
                  <a:lnTo>
                    <a:pt x="87" y="18"/>
                  </a:lnTo>
                  <a:lnTo>
                    <a:pt x="94" y="17"/>
                  </a:lnTo>
                  <a:lnTo>
                    <a:pt x="101" y="18"/>
                  </a:lnTo>
                  <a:lnTo>
                    <a:pt x="103" y="18"/>
                  </a:lnTo>
                  <a:lnTo>
                    <a:pt x="105" y="20"/>
                  </a:lnTo>
                  <a:lnTo>
                    <a:pt x="105" y="22"/>
                  </a:lnTo>
                  <a:lnTo>
                    <a:pt x="103" y="24"/>
                  </a:lnTo>
                  <a:lnTo>
                    <a:pt x="100" y="28"/>
                  </a:lnTo>
                  <a:lnTo>
                    <a:pt x="87" y="33"/>
                  </a:lnTo>
                  <a:lnTo>
                    <a:pt x="84" y="37"/>
                  </a:lnTo>
                  <a:lnTo>
                    <a:pt x="83" y="41"/>
                  </a:lnTo>
                  <a:lnTo>
                    <a:pt x="84" y="44"/>
                  </a:lnTo>
                  <a:lnTo>
                    <a:pt x="86" y="48"/>
                  </a:lnTo>
                  <a:lnTo>
                    <a:pt x="89" y="55"/>
                  </a:lnTo>
                  <a:lnTo>
                    <a:pt x="91" y="60"/>
                  </a:lnTo>
                  <a:lnTo>
                    <a:pt x="92" y="62"/>
                  </a:lnTo>
                  <a:lnTo>
                    <a:pt x="94" y="64"/>
                  </a:lnTo>
                  <a:lnTo>
                    <a:pt x="94" y="70"/>
                  </a:lnTo>
                  <a:lnTo>
                    <a:pt x="94" y="76"/>
                  </a:lnTo>
                  <a:lnTo>
                    <a:pt x="96" y="79"/>
                  </a:lnTo>
                  <a:lnTo>
                    <a:pt x="97" y="81"/>
                  </a:lnTo>
                  <a:lnTo>
                    <a:pt x="97" y="86"/>
                  </a:lnTo>
                  <a:lnTo>
                    <a:pt x="96" y="89"/>
                  </a:lnTo>
                  <a:lnTo>
                    <a:pt x="94" y="99"/>
                  </a:lnTo>
                  <a:lnTo>
                    <a:pt x="93" y="100"/>
                  </a:lnTo>
                  <a:lnTo>
                    <a:pt x="89" y="101"/>
                  </a:lnTo>
                  <a:lnTo>
                    <a:pt x="84" y="101"/>
                  </a:lnTo>
                  <a:lnTo>
                    <a:pt x="82" y="100"/>
                  </a:lnTo>
                  <a:lnTo>
                    <a:pt x="80" y="97"/>
                  </a:lnTo>
                  <a:lnTo>
                    <a:pt x="80" y="95"/>
                  </a:lnTo>
                  <a:lnTo>
                    <a:pt x="77" y="88"/>
                  </a:lnTo>
                  <a:lnTo>
                    <a:pt x="75" y="86"/>
                  </a:lnTo>
                  <a:lnTo>
                    <a:pt x="73" y="86"/>
                  </a:lnTo>
                  <a:lnTo>
                    <a:pt x="72" y="86"/>
                  </a:lnTo>
                  <a:lnTo>
                    <a:pt x="69" y="89"/>
                  </a:lnTo>
                  <a:lnTo>
                    <a:pt x="66" y="90"/>
                  </a:lnTo>
                  <a:lnTo>
                    <a:pt x="61" y="93"/>
                  </a:lnTo>
                  <a:lnTo>
                    <a:pt x="59" y="96"/>
                  </a:lnTo>
                  <a:lnTo>
                    <a:pt x="58" y="99"/>
                  </a:lnTo>
                  <a:lnTo>
                    <a:pt x="63" y="102"/>
                  </a:lnTo>
                  <a:lnTo>
                    <a:pt x="64" y="103"/>
                  </a:lnTo>
                  <a:lnTo>
                    <a:pt x="63" y="107"/>
                  </a:lnTo>
                  <a:lnTo>
                    <a:pt x="60" y="108"/>
                  </a:lnTo>
                  <a:lnTo>
                    <a:pt x="58" y="109"/>
                  </a:lnTo>
                  <a:lnTo>
                    <a:pt x="56" y="113"/>
                  </a:lnTo>
                  <a:lnTo>
                    <a:pt x="55" y="116"/>
                  </a:lnTo>
                  <a:lnTo>
                    <a:pt x="54" y="118"/>
                  </a:lnTo>
                  <a:lnTo>
                    <a:pt x="51" y="118"/>
                  </a:lnTo>
                  <a:lnTo>
                    <a:pt x="47" y="119"/>
                  </a:lnTo>
                  <a:lnTo>
                    <a:pt x="41" y="119"/>
                  </a:lnTo>
                  <a:lnTo>
                    <a:pt x="36" y="120"/>
                  </a:lnTo>
                  <a:lnTo>
                    <a:pt x="32" y="114"/>
                  </a:lnTo>
                  <a:lnTo>
                    <a:pt x="27" y="109"/>
                  </a:lnTo>
                  <a:lnTo>
                    <a:pt x="17" y="100"/>
                  </a:lnTo>
                  <a:lnTo>
                    <a:pt x="14" y="97"/>
                  </a:lnTo>
                  <a:lnTo>
                    <a:pt x="12" y="94"/>
                  </a:lnTo>
                  <a:lnTo>
                    <a:pt x="7" y="86"/>
                  </a:lnTo>
                  <a:lnTo>
                    <a:pt x="0" y="68"/>
                  </a:lnTo>
                  <a:lnTo>
                    <a:pt x="0" y="64"/>
                  </a:lnTo>
                  <a:lnTo>
                    <a:pt x="2" y="61"/>
                  </a:lnTo>
                  <a:lnTo>
                    <a:pt x="4" y="57"/>
                  </a:lnTo>
                  <a:lnTo>
                    <a:pt x="7" y="54"/>
                  </a:lnTo>
                  <a:lnTo>
                    <a:pt x="7" y="49"/>
                  </a:lnTo>
                  <a:lnTo>
                    <a:pt x="6" y="48"/>
                  </a:lnTo>
                  <a:lnTo>
                    <a:pt x="7" y="45"/>
                  </a:lnTo>
                  <a:lnTo>
                    <a:pt x="8" y="44"/>
                  </a:lnTo>
                  <a:lnTo>
                    <a:pt x="11" y="44"/>
                  </a:lnTo>
                  <a:lnTo>
                    <a:pt x="14" y="44"/>
                  </a:lnTo>
                  <a:lnTo>
                    <a:pt x="17" y="44"/>
                  </a:lnTo>
                  <a:lnTo>
                    <a:pt x="18" y="43"/>
                  </a:lnTo>
                  <a:lnTo>
                    <a:pt x="18" y="41"/>
                  </a:lnTo>
                  <a:lnTo>
                    <a:pt x="17" y="36"/>
                  </a:lnTo>
                  <a:lnTo>
                    <a:pt x="14" y="33"/>
                  </a:lnTo>
                  <a:lnTo>
                    <a:pt x="13" y="30"/>
                  </a:lnTo>
                  <a:lnTo>
                    <a:pt x="14"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5" name="Freeform 714"/>
            <p:cNvSpPr>
              <a:spLocks/>
            </p:cNvSpPr>
            <p:nvPr/>
          </p:nvSpPr>
          <p:spPr bwMode="auto">
            <a:xfrm>
              <a:off x="4619625" y="4302127"/>
              <a:ext cx="192088" cy="261936"/>
            </a:xfrm>
            <a:custGeom>
              <a:avLst/>
              <a:gdLst>
                <a:gd name="T0" fmla="*/ 2147483647 w 131"/>
                <a:gd name="T1" fmla="*/ 2147483647 h 165"/>
                <a:gd name="T2" fmla="*/ 2147483647 w 131"/>
                <a:gd name="T3" fmla="*/ 2147483647 h 165"/>
                <a:gd name="T4" fmla="*/ 2147483647 w 131"/>
                <a:gd name="T5" fmla="*/ 2147483647 h 165"/>
                <a:gd name="T6" fmla="*/ 2147483647 w 131"/>
                <a:gd name="T7" fmla="*/ 2147483647 h 165"/>
                <a:gd name="T8" fmla="*/ 2147483647 w 131"/>
                <a:gd name="T9" fmla="*/ 2147483647 h 165"/>
                <a:gd name="T10" fmla="*/ 2147483647 w 131"/>
                <a:gd name="T11" fmla="*/ 2147483647 h 165"/>
                <a:gd name="T12" fmla="*/ 2147483647 w 131"/>
                <a:gd name="T13" fmla="*/ 2147483647 h 165"/>
                <a:gd name="T14" fmla="*/ 2147483647 w 131"/>
                <a:gd name="T15" fmla="*/ 2147483647 h 165"/>
                <a:gd name="T16" fmla="*/ 2147483647 w 131"/>
                <a:gd name="T17" fmla="*/ 2147483647 h 165"/>
                <a:gd name="T18" fmla="*/ 2147483647 w 131"/>
                <a:gd name="T19" fmla="*/ 2147483647 h 165"/>
                <a:gd name="T20" fmla="*/ 2147483647 w 131"/>
                <a:gd name="T21" fmla="*/ 2147483647 h 165"/>
                <a:gd name="T22" fmla="*/ 2147483647 w 131"/>
                <a:gd name="T23" fmla="*/ 2147483647 h 165"/>
                <a:gd name="T24" fmla="*/ 2147483647 w 131"/>
                <a:gd name="T25" fmla="*/ 2147483647 h 165"/>
                <a:gd name="T26" fmla="*/ 2147483647 w 131"/>
                <a:gd name="T27" fmla="*/ 2147483647 h 165"/>
                <a:gd name="T28" fmla="*/ 2147483647 w 131"/>
                <a:gd name="T29" fmla="*/ 2147483647 h 165"/>
                <a:gd name="T30" fmla="*/ 2147483647 w 131"/>
                <a:gd name="T31" fmla="*/ 2147483647 h 165"/>
                <a:gd name="T32" fmla="*/ 2147483647 w 131"/>
                <a:gd name="T33" fmla="*/ 2147483647 h 165"/>
                <a:gd name="T34" fmla="*/ 2147483647 w 131"/>
                <a:gd name="T35" fmla="*/ 2147483647 h 165"/>
                <a:gd name="T36" fmla="*/ 2147483647 w 131"/>
                <a:gd name="T37" fmla="*/ 2147483647 h 165"/>
                <a:gd name="T38" fmla="*/ 2147483647 w 131"/>
                <a:gd name="T39" fmla="*/ 2147483647 h 165"/>
                <a:gd name="T40" fmla="*/ 2147483647 w 131"/>
                <a:gd name="T41" fmla="*/ 2147483647 h 165"/>
                <a:gd name="T42" fmla="*/ 2147483647 w 131"/>
                <a:gd name="T43" fmla="*/ 2147483647 h 165"/>
                <a:gd name="T44" fmla="*/ 2147483647 w 131"/>
                <a:gd name="T45" fmla="*/ 2147483647 h 165"/>
                <a:gd name="T46" fmla="*/ 2147483647 w 131"/>
                <a:gd name="T47" fmla="*/ 2147483647 h 165"/>
                <a:gd name="T48" fmla="*/ 2147483647 w 131"/>
                <a:gd name="T49" fmla="*/ 2147483647 h 165"/>
                <a:gd name="T50" fmla="*/ 2147483647 w 131"/>
                <a:gd name="T51" fmla="*/ 2147483647 h 165"/>
                <a:gd name="T52" fmla="*/ 2147483647 w 131"/>
                <a:gd name="T53" fmla="*/ 2147483647 h 165"/>
                <a:gd name="T54" fmla="*/ 2147483647 w 131"/>
                <a:gd name="T55" fmla="*/ 2147483647 h 165"/>
                <a:gd name="T56" fmla="*/ 2147483647 w 131"/>
                <a:gd name="T57" fmla="*/ 2147483647 h 165"/>
                <a:gd name="T58" fmla="*/ 2147483647 w 131"/>
                <a:gd name="T59" fmla="*/ 2147483647 h 165"/>
                <a:gd name="T60" fmla="*/ 2147483647 w 131"/>
                <a:gd name="T61" fmla="*/ 2147483647 h 165"/>
                <a:gd name="T62" fmla="*/ 2147483647 w 131"/>
                <a:gd name="T63" fmla="*/ 2147483647 h 165"/>
                <a:gd name="T64" fmla="*/ 2147483647 w 131"/>
                <a:gd name="T65" fmla="*/ 2147483647 h 165"/>
                <a:gd name="T66" fmla="*/ 2147483647 w 131"/>
                <a:gd name="T67" fmla="*/ 2147483647 h 165"/>
                <a:gd name="T68" fmla="*/ 2147483647 w 131"/>
                <a:gd name="T69" fmla="*/ 2147483647 h 165"/>
                <a:gd name="T70" fmla="*/ 2147483647 w 131"/>
                <a:gd name="T71" fmla="*/ 2147483647 h 165"/>
                <a:gd name="T72" fmla="*/ 2147483647 w 131"/>
                <a:gd name="T73" fmla="*/ 2147483647 h 165"/>
                <a:gd name="T74" fmla="*/ 2147483647 w 131"/>
                <a:gd name="T75" fmla="*/ 2147483647 h 165"/>
                <a:gd name="T76" fmla="*/ 2147483647 w 131"/>
                <a:gd name="T77" fmla="*/ 2147483647 h 165"/>
                <a:gd name="T78" fmla="*/ 2147483647 w 131"/>
                <a:gd name="T79" fmla="*/ 2147483647 h 165"/>
                <a:gd name="T80" fmla="*/ 2147483647 w 131"/>
                <a:gd name="T81" fmla="*/ 2147483647 h 165"/>
                <a:gd name="T82" fmla="*/ 2147483647 w 131"/>
                <a:gd name="T83" fmla="*/ 2147483647 h 165"/>
                <a:gd name="T84" fmla="*/ 2147483647 w 131"/>
                <a:gd name="T85" fmla="*/ 2147483647 h 165"/>
                <a:gd name="T86" fmla="*/ 2147483647 w 131"/>
                <a:gd name="T87" fmla="*/ 2147483647 h 1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1"/>
                <a:gd name="T133" fmla="*/ 0 h 165"/>
                <a:gd name="T134" fmla="*/ 131 w 131"/>
                <a:gd name="T135" fmla="*/ 165 h 16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1" h="165">
                  <a:moveTo>
                    <a:pt x="0" y="146"/>
                  </a:moveTo>
                  <a:lnTo>
                    <a:pt x="5" y="145"/>
                  </a:lnTo>
                  <a:lnTo>
                    <a:pt x="11" y="145"/>
                  </a:lnTo>
                  <a:lnTo>
                    <a:pt x="15" y="144"/>
                  </a:lnTo>
                  <a:lnTo>
                    <a:pt x="18" y="144"/>
                  </a:lnTo>
                  <a:lnTo>
                    <a:pt x="19" y="142"/>
                  </a:lnTo>
                  <a:lnTo>
                    <a:pt x="20" y="139"/>
                  </a:lnTo>
                  <a:lnTo>
                    <a:pt x="22" y="135"/>
                  </a:lnTo>
                  <a:lnTo>
                    <a:pt x="24" y="134"/>
                  </a:lnTo>
                  <a:lnTo>
                    <a:pt x="27" y="133"/>
                  </a:lnTo>
                  <a:lnTo>
                    <a:pt x="28" y="129"/>
                  </a:lnTo>
                  <a:lnTo>
                    <a:pt x="27" y="128"/>
                  </a:lnTo>
                  <a:lnTo>
                    <a:pt x="22" y="125"/>
                  </a:lnTo>
                  <a:lnTo>
                    <a:pt x="23" y="122"/>
                  </a:lnTo>
                  <a:lnTo>
                    <a:pt x="25" y="119"/>
                  </a:lnTo>
                  <a:lnTo>
                    <a:pt x="30" y="116"/>
                  </a:lnTo>
                  <a:lnTo>
                    <a:pt x="33" y="115"/>
                  </a:lnTo>
                  <a:lnTo>
                    <a:pt x="36" y="112"/>
                  </a:lnTo>
                  <a:lnTo>
                    <a:pt x="37" y="112"/>
                  </a:lnTo>
                  <a:lnTo>
                    <a:pt x="39" y="112"/>
                  </a:lnTo>
                  <a:lnTo>
                    <a:pt x="41" y="114"/>
                  </a:lnTo>
                  <a:lnTo>
                    <a:pt x="44" y="121"/>
                  </a:lnTo>
                  <a:lnTo>
                    <a:pt x="44" y="123"/>
                  </a:lnTo>
                  <a:lnTo>
                    <a:pt x="46" y="126"/>
                  </a:lnTo>
                  <a:lnTo>
                    <a:pt x="48" y="127"/>
                  </a:lnTo>
                  <a:lnTo>
                    <a:pt x="53" y="127"/>
                  </a:lnTo>
                  <a:lnTo>
                    <a:pt x="57" y="126"/>
                  </a:lnTo>
                  <a:lnTo>
                    <a:pt x="58" y="125"/>
                  </a:lnTo>
                  <a:lnTo>
                    <a:pt x="60" y="115"/>
                  </a:lnTo>
                  <a:lnTo>
                    <a:pt x="61" y="112"/>
                  </a:lnTo>
                  <a:lnTo>
                    <a:pt x="61" y="107"/>
                  </a:lnTo>
                  <a:lnTo>
                    <a:pt x="60" y="105"/>
                  </a:lnTo>
                  <a:lnTo>
                    <a:pt x="58" y="102"/>
                  </a:lnTo>
                  <a:lnTo>
                    <a:pt x="58" y="96"/>
                  </a:lnTo>
                  <a:lnTo>
                    <a:pt x="58" y="90"/>
                  </a:lnTo>
                  <a:lnTo>
                    <a:pt x="56" y="88"/>
                  </a:lnTo>
                  <a:lnTo>
                    <a:pt x="55" y="86"/>
                  </a:lnTo>
                  <a:lnTo>
                    <a:pt x="53" y="81"/>
                  </a:lnTo>
                  <a:lnTo>
                    <a:pt x="50" y="74"/>
                  </a:lnTo>
                  <a:lnTo>
                    <a:pt x="48" y="70"/>
                  </a:lnTo>
                  <a:lnTo>
                    <a:pt x="47" y="67"/>
                  </a:lnTo>
                  <a:lnTo>
                    <a:pt x="48" y="63"/>
                  </a:lnTo>
                  <a:lnTo>
                    <a:pt x="51" y="59"/>
                  </a:lnTo>
                  <a:lnTo>
                    <a:pt x="64" y="54"/>
                  </a:lnTo>
                  <a:lnTo>
                    <a:pt x="67" y="50"/>
                  </a:lnTo>
                  <a:lnTo>
                    <a:pt x="69" y="48"/>
                  </a:lnTo>
                  <a:lnTo>
                    <a:pt x="69" y="46"/>
                  </a:lnTo>
                  <a:lnTo>
                    <a:pt x="67" y="44"/>
                  </a:lnTo>
                  <a:lnTo>
                    <a:pt x="65" y="44"/>
                  </a:lnTo>
                  <a:lnTo>
                    <a:pt x="58" y="43"/>
                  </a:lnTo>
                  <a:lnTo>
                    <a:pt x="51" y="44"/>
                  </a:lnTo>
                  <a:lnTo>
                    <a:pt x="48" y="43"/>
                  </a:lnTo>
                  <a:lnTo>
                    <a:pt x="46" y="43"/>
                  </a:lnTo>
                  <a:lnTo>
                    <a:pt x="44" y="40"/>
                  </a:lnTo>
                  <a:lnTo>
                    <a:pt x="43" y="38"/>
                  </a:lnTo>
                  <a:lnTo>
                    <a:pt x="43" y="35"/>
                  </a:lnTo>
                  <a:lnTo>
                    <a:pt x="43" y="30"/>
                  </a:lnTo>
                  <a:lnTo>
                    <a:pt x="46" y="27"/>
                  </a:lnTo>
                  <a:lnTo>
                    <a:pt x="48" y="26"/>
                  </a:lnTo>
                  <a:lnTo>
                    <a:pt x="52" y="24"/>
                  </a:lnTo>
                  <a:lnTo>
                    <a:pt x="56" y="23"/>
                  </a:lnTo>
                  <a:lnTo>
                    <a:pt x="60" y="23"/>
                  </a:lnTo>
                  <a:lnTo>
                    <a:pt x="64" y="24"/>
                  </a:lnTo>
                  <a:lnTo>
                    <a:pt x="67" y="26"/>
                  </a:lnTo>
                  <a:lnTo>
                    <a:pt x="80" y="35"/>
                  </a:lnTo>
                  <a:lnTo>
                    <a:pt x="81" y="29"/>
                  </a:lnTo>
                  <a:lnTo>
                    <a:pt x="89" y="29"/>
                  </a:lnTo>
                  <a:lnTo>
                    <a:pt x="95" y="27"/>
                  </a:lnTo>
                  <a:lnTo>
                    <a:pt x="97" y="27"/>
                  </a:lnTo>
                  <a:lnTo>
                    <a:pt x="98" y="25"/>
                  </a:lnTo>
                  <a:lnTo>
                    <a:pt x="102" y="19"/>
                  </a:lnTo>
                  <a:lnTo>
                    <a:pt x="105" y="12"/>
                  </a:lnTo>
                  <a:lnTo>
                    <a:pt x="108" y="8"/>
                  </a:lnTo>
                  <a:lnTo>
                    <a:pt x="110" y="6"/>
                  </a:lnTo>
                  <a:lnTo>
                    <a:pt x="119" y="3"/>
                  </a:lnTo>
                  <a:lnTo>
                    <a:pt x="131" y="0"/>
                  </a:lnTo>
                  <a:lnTo>
                    <a:pt x="130" y="10"/>
                  </a:lnTo>
                  <a:lnTo>
                    <a:pt x="127" y="17"/>
                  </a:lnTo>
                  <a:lnTo>
                    <a:pt x="122" y="31"/>
                  </a:lnTo>
                  <a:lnTo>
                    <a:pt x="121" y="36"/>
                  </a:lnTo>
                  <a:lnTo>
                    <a:pt x="121" y="38"/>
                  </a:lnTo>
                  <a:lnTo>
                    <a:pt x="119" y="40"/>
                  </a:lnTo>
                  <a:lnTo>
                    <a:pt x="118" y="45"/>
                  </a:lnTo>
                  <a:lnTo>
                    <a:pt x="117" y="51"/>
                  </a:lnTo>
                  <a:lnTo>
                    <a:pt x="118" y="58"/>
                  </a:lnTo>
                  <a:lnTo>
                    <a:pt x="121" y="67"/>
                  </a:lnTo>
                  <a:lnTo>
                    <a:pt x="122" y="70"/>
                  </a:lnTo>
                  <a:lnTo>
                    <a:pt x="122" y="74"/>
                  </a:lnTo>
                  <a:lnTo>
                    <a:pt x="118" y="82"/>
                  </a:lnTo>
                  <a:lnTo>
                    <a:pt x="117" y="87"/>
                  </a:lnTo>
                  <a:lnTo>
                    <a:pt x="116" y="90"/>
                  </a:lnTo>
                  <a:lnTo>
                    <a:pt x="112" y="95"/>
                  </a:lnTo>
                  <a:lnTo>
                    <a:pt x="108" y="99"/>
                  </a:lnTo>
                  <a:lnTo>
                    <a:pt x="104" y="101"/>
                  </a:lnTo>
                  <a:lnTo>
                    <a:pt x="103" y="102"/>
                  </a:lnTo>
                  <a:lnTo>
                    <a:pt x="102" y="103"/>
                  </a:lnTo>
                  <a:lnTo>
                    <a:pt x="100" y="107"/>
                  </a:lnTo>
                  <a:lnTo>
                    <a:pt x="99" y="110"/>
                  </a:lnTo>
                  <a:lnTo>
                    <a:pt x="94" y="118"/>
                  </a:lnTo>
                  <a:lnTo>
                    <a:pt x="93" y="119"/>
                  </a:lnTo>
                  <a:lnTo>
                    <a:pt x="93" y="120"/>
                  </a:lnTo>
                  <a:lnTo>
                    <a:pt x="94" y="123"/>
                  </a:lnTo>
                  <a:lnTo>
                    <a:pt x="95" y="128"/>
                  </a:lnTo>
                  <a:lnTo>
                    <a:pt x="97" y="132"/>
                  </a:lnTo>
                  <a:lnTo>
                    <a:pt x="98" y="135"/>
                  </a:lnTo>
                  <a:lnTo>
                    <a:pt x="97" y="139"/>
                  </a:lnTo>
                  <a:lnTo>
                    <a:pt x="93" y="145"/>
                  </a:lnTo>
                  <a:lnTo>
                    <a:pt x="90" y="146"/>
                  </a:lnTo>
                  <a:lnTo>
                    <a:pt x="86" y="147"/>
                  </a:lnTo>
                  <a:lnTo>
                    <a:pt x="81" y="148"/>
                  </a:lnTo>
                  <a:lnTo>
                    <a:pt x="77" y="151"/>
                  </a:lnTo>
                  <a:lnTo>
                    <a:pt x="71" y="155"/>
                  </a:lnTo>
                  <a:lnTo>
                    <a:pt x="70" y="157"/>
                  </a:lnTo>
                  <a:lnTo>
                    <a:pt x="67" y="157"/>
                  </a:lnTo>
                  <a:lnTo>
                    <a:pt x="65" y="154"/>
                  </a:lnTo>
                  <a:lnTo>
                    <a:pt x="62" y="151"/>
                  </a:lnTo>
                  <a:lnTo>
                    <a:pt x="60" y="150"/>
                  </a:lnTo>
                  <a:lnTo>
                    <a:pt x="57" y="150"/>
                  </a:lnTo>
                  <a:lnTo>
                    <a:pt x="53" y="151"/>
                  </a:lnTo>
                  <a:lnTo>
                    <a:pt x="52" y="153"/>
                  </a:lnTo>
                  <a:lnTo>
                    <a:pt x="51" y="155"/>
                  </a:lnTo>
                  <a:lnTo>
                    <a:pt x="50" y="160"/>
                  </a:lnTo>
                  <a:lnTo>
                    <a:pt x="48" y="161"/>
                  </a:lnTo>
                  <a:lnTo>
                    <a:pt x="47" y="163"/>
                  </a:lnTo>
                  <a:lnTo>
                    <a:pt x="43" y="163"/>
                  </a:lnTo>
                  <a:lnTo>
                    <a:pt x="41" y="160"/>
                  </a:lnTo>
                  <a:lnTo>
                    <a:pt x="36" y="154"/>
                  </a:lnTo>
                  <a:lnTo>
                    <a:pt x="32" y="152"/>
                  </a:lnTo>
                  <a:lnTo>
                    <a:pt x="24" y="157"/>
                  </a:lnTo>
                  <a:lnTo>
                    <a:pt x="14" y="165"/>
                  </a:lnTo>
                  <a:lnTo>
                    <a:pt x="6" y="159"/>
                  </a:lnTo>
                  <a:lnTo>
                    <a:pt x="4" y="155"/>
                  </a:lnTo>
                  <a:lnTo>
                    <a:pt x="1" y="151"/>
                  </a:lnTo>
                  <a:lnTo>
                    <a:pt x="0" y="14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6" name="Freeform 715"/>
            <p:cNvSpPr>
              <a:spLocks/>
            </p:cNvSpPr>
            <p:nvPr/>
          </p:nvSpPr>
          <p:spPr bwMode="auto">
            <a:xfrm>
              <a:off x="4565651" y="4341813"/>
              <a:ext cx="152400" cy="190500"/>
            </a:xfrm>
            <a:custGeom>
              <a:avLst/>
              <a:gdLst>
                <a:gd name="T0" fmla="*/ 2147483647 w 104"/>
                <a:gd name="T1" fmla="*/ 2147483647 h 120"/>
                <a:gd name="T2" fmla="*/ 2147483647 w 104"/>
                <a:gd name="T3" fmla="*/ 2147483647 h 120"/>
                <a:gd name="T4" fmla="*/ 2147483647 w 104"/>
                <a:gd name="T5" fmla="*/ 0 h 120"/>
                <a:gd name="T6" fmla="*/ 2147483647 w 104"/>
                <a:gd name="T7" fmla="*/ 0 h 120"/>
                <a:gd name="T8" fmla="*/ 2147483647 w 104"/>
                <a:gd name="T9" fmla="*/ 0 h 120"/>
                <a:gd name="T10" fmla="*/ 2147483647 w 104"/>
                <a:gd name="T11" fmla="*/ 2147483647 h 120"/>
                <a:gd name="T12" fmla="*/ 2147483647 w 104"/>
                <a:gd name="T13" fmla="*/ 2147483647 h 120"/>
                <a:gd name="T14" fmla="*/ 2147483647 w 104"/>
                <a:gd name="T15" fmla="*/ 2147483647 h 120"/>
                <a:gd name="T16" fmla="*/ 2147483647 w 104"/>
                <a:gd name="T17" fmla="*/ 2147483647 h 120"/>
                <a:gd name="T18" fmla="*/ 2147483647 w 104"/>
                <a:gd name="T19" fmla="*/ 2147483647 h 120"/>
                <a:gd name="T20" fmla="*/ 2147483647 w 104"/>
                <a:gd name="T21" fmla="*/ 2147483647 h 120"/>
                <a:gd name="T22" fmla="*/ 2147483647 w 104"/>
                <a:gd name="T23" fmla="*/ 2147483647 h 120"/>
                <a:gd name="T24" fmla="*/ 2147483647 w 104"/>
                <a:gd name="T25" fmla="*/ 2147483647 h 120"/>
                <a:gd name="T26" fmla="*/ 2147483647 w 104"/>
                <a:gd name="T27" fmla="*/ 2147483647 h 120"/>
                <a:gd name="T28" fmla="*/ 2147483647 w 104"/>
                <a:gd name="T29" fmla="*/ 2147483647 h 120"/>
                <a:gd name="T30" fmla="*/ 2147483647 w 104"/>
                <a:gd name="T31" fmla="*/ 2147483647 h 120"/>
                <a:gd name="T32" fmla="*/ 2147483647 w 104"/>
                <a:gd name="T33" fmla="*/ 2147483647 h 120"/>
                <a:gd name="T34" fmla="*/ 2147483647 w 104"/>
                <a:gd name="T35" fmla="*/ 2147483647 h 120"/>
                <a:gd name="T36" fmla="*/ 2147483647 w 104"/>
                <a:gd name="T37" fmla="*/ 2147483647 h 120"/>
                <a:gd name="T38" fmla="*/ 2147483647 w 104"/>
                <a:gd name="T39" fmla="*/ 2147483647 h 120"/>
                <a:gd name="T40" fmla="*/ 2147483647 w 104"/>
                <a:gd name="T41" fmla="*/ 2147483647 h 120"/>
                <a:gd name="T42" fmla="*/ 2147483647 w 104"/>
                <a:gd name="T43" fmla="*/ 2147483647 h 120"/>
                <a:gd name="T44" fmla="*/ 2147483647 w 104"/>
                <a:gd name="T45" fmla="*/ 2147483647 h 120"/>
                <a:gd name="T46" fmla="*/ 2147483647 w 104"/>
                <a:gd name="T47" fmla="*/ 2147483647 h 120"/>
                <a:gd name="T48" fmla="*/ 2147483647 w 104"/>
                <a:gd name="T49" fmla="*/ 2147483647 h 120"/>
                <a:gd name="T50" fmla="*/ 2147483647 w 104"/>
                <a:gd name="T51" fmla="*/ 2147483647 h 120"/>
                <a:gd name="T52" fmla="*/ 2147483647 w 104"/>
                <a:gd name="T53" fmla="*/ 2147483647 h 120"/>
                <a:gd name="T54" fmla="*/ 2147483647 w 104"/>
                <a:gd name="T55" fmla="*/ 2147483647 h 120"/>
                <a:gd name="T56" fmla="*/ 2147483647 w 104"/>
                <a:gd name="T57" fmla="*/ 2147483647 h 120"/>
                <a:gd name="T58" fmla="*/ 2147483647 w 104"/>
                <a:gd name="T59" fmla="*/ 2147483647 h 120"/>
                <a:gd name="T60" fmla="*/ 2147483647 w 104"/>
                <a:gd name="T61" fmla="*/ 2147483647 h 120"/>
                <a:gd name="T62" fmla="*/ 2147483647 w 104"/>
                <a:gd name="T63" fmla="*/ 2147483647 h 120"/>
                <a:gd name="T64" fmla="*/ 2147483647 w 104"/>
                <a:gd name="T65" fmla="*/ 2147483647 h 120"/>
                <a:gd name="T66" fmla="*/ 2147483647 w 104"/>
                <a:gd name="T67" fmla="*/ 2147483647 h 120"/>
                <a:gd name="T68" fmla="*/ 2147483647 w 104"/>
                <a:gd name="T69" fmla="*/ 2147483647 h 120"/>
                <a:gd name="T70" fmla="*/ 2147483647 w 104"/>
                <a:gd name="T71" fmla="*/ 2147483647 h 120"/>
                <a:gd name="T72" fmla="*/ 2147483647 w 104"/>
                <a:gd name="T73" fmla="*/ 2147483647 h 120"/>
                <a:gd name="T74" fmla="*/ 2147483647 w 104"/>
                <a:gd name="T75" fmla="*/ 2147483647 h 120"/>
                <a:gd name="T76" fmla="*/ 2147483647 w 104"/>
                <a:gd name="T77" fmla="*/ 2147483647 h 120"/>
                <a:gd name="T78" fmla="*/ 2147483647 w 104"/>
                <a:gd name="T79" fmla="*/ 2147483647 h 120"/>
                <a:gd name="T80" fmla="*/ 2147483647 w 104"/>
                <a:gd name="T81" fmla="*/ 2147483647 h 120"/>
                <a:gd name="T82" fmla="*/ 2147483647 w 104"/>
                <a:gd name="T83" fmla="*/ 2147483647 h 120"/>
                <a:gd name="T84" fmla="*/ 2147483647 w 104"/>
                <a:gd name="T85" fmla="*/ 2147483647 h 120"/>
                <a:gd name="T86" fmla="*/ 2147483647 w 104"/>
                <a:gd name="T87" fmla="*/ 2147483647 h 120"/>
                <a:gd name="T88" fmla="*/ 2147483647 w 104"/>
                <a:gd name="T89" fmla="*/ 2147483647 h 120"/>
                <a:gd name="T90" fmla="*/ 2147483647 w 104"/>
                <a:gd name="T91" fmla="*/ 2147483647 h 120"/>
                <a:gd name="T92" fmla="*/ 2147483647 w 104"/>
                <a:gd name="T93" fmla="*/ 2147483647 h 120"/>
                <a:gd name="T94" fmla="*/ 2147483647 w 104"/>
                <a:gd name="T95" fmla="*/ 2147483647 h 120"/>
                <a:gd name="T96" fmla="*/ 0 w 104"/>
                <a:gd name="T97" fmla="*/ 2147483647 h 120"/>
                <a:gd name="T98" fmla="*/ 0 w 104"/>
                <a:gd name="T99" fmla="*/ 2147483647 h 120"/>
                <a:gd name="T100" fmla="*/ 2147483647 w 104"/>
                <a:gd name="T101" fmla="*/ 2147483647 h 120"/>
                <a:gd name="T102" fmla="*/ 2147483647 w 104"/>
                <a:gd name="T103" fmla="*/ 2147483647 h 120"/>
                <a:gd name="T104" fmla="*/ 2147483647 w 104"/>
                <a:gd name="T105" fmla="*/ 2147483647 h 120"/>
                <a:gd name="T106" fmla="*/ 2147483647 w 104"/>
                <a:gd name="T107" fmla="*/ 2147483647 h 120"/>
                <a:gd name="T108" fmla="*/ 2147483647 w 104"/>
                <a:gd name="T109" fmla="*/ 2147483647 h 120"/>
                <a:gd name="T110" fmla="*/ 2147483647 w 104"/>
                <a:gd name="T111" fmla="*/ 2147483647 h 120"/>
                <a:gd name="T112" fmla="*/ 2147483647 w 104"/>
                <a:gd name="T113" fmla="*/ 2147483647 h 120"/>
                <a:gd name="T114" fmla="*/ 2147483647 w 104"/>
                <a:gd name="T115" fmla="*/ 2147483647 h 120"/>
                <a:gd name="T116" fmla="*/ 2147483647 w 104"/>
                <a:gd name="T117" fmla="*/ 2147483647 h 120"/>
                <a:gd name="T118" fmla="*/ 2147483647 w 104"/>
                <a:gd name="T119" fmla="*/ 2147483647 h 120"/>
                <a:gd name="T120" fmla="*/ 2147483647 w 104"/>
                <a:gd name="T121" fmla="*/ 2147483647 h 1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
                <a:gd name="T184" fmla="*/ 0 h 120"/>
                <a:gd name="T185" fmla="*/ 104 w 104"/>
                <a:gd name="T186" fmla="*/ 120 h 1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 h="120">
                  <a:moveTo>
                    <a:pt x="14" y="21"/>
                  </a:moveTo>
                  <a:lnTo>
                    <a:pt x="14" y="21"/>
                  </a:lnTo>
                  <a:lnTo>
                    <a:pt x="43" y="23"/>
                  </a:lnTo>
                  <a:lnTo>
                    <a:pt x="45" y="12"/>
                  </a:lnTo>
                  <a:lnTo>
                    <a:pt x="46" y="0"/>
                  </a:lnTo>
                  <a:lnTo>
                    <a:pt x="65" y="0"/>
                  </a:lnTo>
                  <a:lnTo>
                    <a:pt x="84" y="0"/>
                  </a:lnTo>
                  <a:lnTo>
                    <a:pt x="81" y="1"/>
                  </a:lnTo>
                  <a:lnTo>
                    <a:pt x="79" y="4"/>
                  </a:lnTo>
                  <a:lnTo>
                    <a:pt x="79" y="8"/>
                  </a:lnTo>
                  <a:lnTo>
                    <a:pt x="79" y="12"/>
                  </a:lnTo>
                  <a:lnTo>
                    <a:pt x="80" y="14"/>
                  </a:lnTo>
                  <a:lnTo>
                    <a:pt x="81" y="17"/>
                  </a:lnTo>
                  <a:lnTo>
                    <a:pt x="84" y="17"/>
                  </a:lnTo>
                  <a:lnTo>
                    <a:pt x="87" y="18"/>
                  </a:lnTo>
                  <a:lnTo>
                    <a:pt x="94" y="17"/>
                  </a:lnTo>
                  <a:lnTo>
                    <a:pt x="101" y="18"/>
                  </a:lnTo>
                  <a:lnTo>
                    <a:pt x="103" y="18"/>
                  </a:lnTo>
                  <a:lnTo>
                    <a:pt x="104" y="20"/>
                  </a:lnTo>
                  <a:lnTo>
                    <a:pt x="104" y="21"/>
                  </a:lnTo>
                  <a:lnTo>
                    <a:pt x="103" y="24"/>
                  </a:lnTo>
                  <a:lnTo>
                    <a:pt x="99" y="27"/>
                  </a:lnTo>
                  <a:lnTo>
                    <a:pt x="87" y="33"/>
                  </a:lnTo>
                  <a:lnTo>
                    <a:pt x="84" y="37"/>
                  </a:lnTo>
                  <a:lnTo>
                    <a:pt x="83" y="40"/>
                  </a:lnTo>
                  <a:lnTo>
                    <a:pt x="84" y="44"/>
                  </a:lnTo>
                  <a:lnTo>
                    <a:pt x="85" y="48"/>
                  </a:lnTo>
                  <a:lnTo>
                    <a:pt x="89" y="55"/>
                  </a:lnTo>
                  <a:lnTo>
                    <a:pt x="90" y="59"/>
                  </a:lnTo>
                  <a:lnTo>
                    <a:pt x="92" y="62"/>
                  </a:lnTo>
                  <a:lnTo>
                    <a:pt x="94" y="64"/>
                  </a:lnTo>
                  <a:lnTo>
                    <a:pt x="94" y="70"/>
                  </a:lnTo>
                  <a:lnTo>
                    <a:pt x="94" y="76"/>
                  </a:lnTo>
                  <a:lnTo>
                    <a:pt x="95" y="78"/>
                  </a:lnTo>
                  <a:lnTo>
                    <a:pt x="97" y="81"/>
                  </a:lnTo>
                  <a:lnTo>
                    <a:pt x="97" y="85"/>
                  </a:lnTo>
                  <a:lnTo>
                    <a:pt x="95" y="89"/>
                  </a:lnTo>
                  <a:lnTo>
                    <a:pt x="94" y="98"/>
                  </a:lnTo>
                  <a:lnTo>
                    <a:pt x="93" y="100"/>
                  </a:lnTo>
                  <a:lnTo>
                    <a:pt x="89" y="101"/>
                  </a:lnTo>
                  <a:lnTo>
                    <a:pt x="84" y="101"/>
                  </a:lnTo>
                  <a:lnTo>
                    <a:pt x="81" y="100"/>
                  </a:lnTo>
                  <a:lnTo>
                    <a:pt x="80" y="97"/>
                  </a:lnTo>
                  <a:lnTo>
                    <a:pt x="80" y="95"/>
                  </a:lnTo>
                  <a:lnTo>
                    <a:pt x="76" y="88"/>
                  </a:lnTo>
                  <a:lnTo>
                    <a:pt x="75" y="85"/>
                  </a:lnTo>
                  <a:lnTo>
                    <a:pt x="73" y="85"/>
                  </a:lnTo>
                  <a:lnTo>
                    <a:pt x="71" y="85"/>
                  </a:lnTo>
                  <a:lnTo>
                    <a:pt x="69" y="89"/>
                  </a:lnTo>
                  <a:lnTo>
                    <a:pt x="66" y="90"/>
                  </a:lnTo>
                  <a:lnTo>
                    <a:pt x="61" y="93"/>
                  </a:lnTo>
                  <a:lnTo>
                    <a:pt x="59" y="96"/>
                  </a:lnTo>
                  <a:lnTo>
                    <a:pt x="57" y="98"/>
                  </a:lnTo>
                  <a:lnTo>
                    <a:pt x="62" y="102"/>
                  </a:lnTo>
                  <a:lnTo>
                    <a:pt x="64" y="103"/>
                  </a:lnTo>
                  <a:lnTo>
                    <a:pt x="62" y="107"/>
                  </a:lnTo>
                  <a:lnTo>
                    <a:pt x="60" y="108"/>
                  </a:lnTo>
                  <a:lnTo>
                    <a:pt x="57" y="109"/>
                  </a:lnTo>
                  <a:lnTo>
                    <a:pt x="56" y="113"/>
                  </a:lnTo>
                  <a:lnTo>
                    <a:pt x="55" y="116"/>
                  </a:lnTo>
                  <a:lnTo>
                    <a:pt x="54" y="117"/>
                  </a:lnTo>
                  <a:lnTo>
                    <a:pt x="51" y="117"/>
                  </a:lnTo>
                  <a:lnTo>
                    <a:pt x="47" y="119"/>
                  </a:lnTo>
                  <a:lnTo>
                    <a:pt x="41" y="119"/>
                  </a:lnTo>
                  <a:lnTo>
                    <a:pt x="36" y="120"/>
                  </a:lnTo>
                  <a:lnTo>
                    <a:pt x="32" y="114"/>
                  </a:lnTo>
                  <a:lnTo>
                    <a:pt x="27" y="109"/>
                  </a:lnTo>
                  <a:lnTo>
                    <a:pt x="17" y="100"/>
                  </a:lnTo>
                  <a:lnTo>
                    <a:pt x="14" y="97"/>
                  </a:lnTo>
                  <a:lnTo>
                    <a:pt x="12" y="94"/>
                  </a:lnTo>
                  <a:lnTo>
                    <a:pt x="7" y="85"/>
                  </a:lnTo>
                  <a:lnTo>
                    <a:pt x="0" y="68"/>
                  </a:lnTo>
                  <a:lnTo>
                    <a:pt x="0" y="64"/>
                  </a:lnTo>
                  <a:lnTo>
                    <a:pt x="1" y="61"/>
                  </a:lnTo>
                  <a:lnTo>
                    <a:pt x="4" y="57"/>
                  </a:lnTo>
                  <a:lnTo>
                    <a:pt x="7" y="53"/>
                  </a:lnTo>
                  <a:lnTo>
                    <a:pt x="7" y="49"/>
                  </a:lnTo>
                  <a:lnTo>
                    <a:pt x="5" y="48"/>
                  </a:lnTo>
                  <a:lnTo>
                    <a:pt x="7" y="45"/>
                  </a:lnTo>
                  <a:lnTo>
                    <a:pt x="8" y="44"/>
                  </a:lnTo>
                  <a:lnTo>
                    <a:pt x="10" y="44"/>
                  </a:lnTo>
                  <a:lnTo>
                    <a:pt x="14" y="44"/>
                  </a:lnTo>
                  <a:lnTo>
                    <a:pt x="17" y="44"/>
                  </a:lnTo>
                  <a:lnTo>
                    <a:pt x="18" y="43"/>
                  </a:lnTo>
                  <a:lnTo>
                    <a:pt x="18" y="40"/>
                  </a:lnTo>
                  <a:lnTo>
                    <a:pt x="17" y="36"/>
                  </a:lnTo>
                  <a:lnTo>
                    <a:pt x="14" y="33"/>
                  </a:lnTo>
                  <a:lnTo>
                    <a:pt x="13" y="30"/>
                  </a:lnTo>
                  <a:lnTo>
                    <a:pt x="14" y="2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7" name="Freeform 716"/>
            <p:cNvSpPr>
              <a:spLocks/>
            </p:cNvSpPr>
            <p:nvPr/>
          </p:nvSpPr>
          <p:spPr bwMode="auto">
            <a:xfrm>
              <a:off x="4619627" y="4300543"/>
              <a:ext cx="190500" cy="261936"/>
            </a:xfrm>
            <a:custGeom>
              <a:avLst/>
              <a:gdLst>
                <a:gd name="T0" fmla="*/ 2147483647 w 131"/>
                <a:gd name="T1" fmla="*/ 2147483647 h 165"/>
                <a:gd name="T2" fmla="*/ 2147483647 w 131"/>
                <a:gd name="T3" fmla="*/ 2147483647 h 165"/>
                <a:gd name="T4" fmla="*/ 2147483647 w 131"/>
                <a:gd name="T5" fmla="*/ 2147483647 h 165"/>
                <a:gd name="T6" fmla="*/ 2147483647 w 131"/>
                <a:gd name="T7" fmla="*/ 2147483647 h 165"/>
                <a:gd name="T8" fmla="*/ 2147483647 w 131"/>
                <a:gd name="T9" fmla="*/ 2147483647 h 165"/>
                <a:gd name="T10" fmla="*/ 2147483647 w 131"/>
                <a:gd name="T11" fmla="*/ 2147483647 h 165"/>
                <a:gd name="T12" fmla="*/ 2147483647 w 131"/>
                <a:gd name="T13" fmla="*/ 2147483647 h 165"/>
                <a:gd name="T14" fmla="*/ 2147483647 w 131"/>
                <a:gd name="T15" fmla="*/ 2147483647 h 165"/>
                <a:gd name="T16" fmla="*/ 2147483647 w 131"/>
                <a:gd name="T17" fmla="*/ 2147483647 h 165"/>
                <a:gd name="T18" fmla="*/ 2147483647 w 131"/>
                <a:gd name="T19" fmla="*/ 2147483647 h 165"/>
                <a:gd name="T20" fmla="*/ 2147483647 w 131"/>
                <a:gd name="T21" fmla="*/ 2147483647 h 165"/>
                <a:gd name="T22" fmla="*/ 2147483647 w 131"/>
                <a:gd name="T23" fmla="*/ 2147483647 h 165"/>
                <a:gd name="T24" fmla="*/ 2147483647 w 131"/>
                <a:gd name="T25" fmla="*/ 2147483647 h 165"/>
                <a:gd name="T26" fmla="*/ 2147483647 w 131"/>
                <a:gd name="T27" fmla="*/ 2147483647 h 165"/>
                <a:gd name="T28" fmla="*/ 2147483647 w 131"/>
                <a:gd name="T29" fmla="*/ 2147483647 h 165"/>
                <a:gd name="T30" fmla="*/ 2147483647 w 131"/>
                <a:gd name="T31" fmla="*/ 2147483647 h 165"/>
                <a:gd name="T32" fmla="*/ 2147483647 w 131"/>
                <a:gd name="T33" fmla="*/ 2147483647 h 165"/>
                <a:gd name="T34" fmla="*/ 2147483647 w 131"/>
                <a:gd name="T35" fmla="*/ 2147483647 h 165"/>
                <a:gd name="T36" fmla="*/ 2147483647 w 131"/>
                <a:gd name="T37" fmla="*/ 2147483647 h 165"/>
                <a:gd name="T38" fmla="*/ 2147483647 w 131"/>
                <a:gd name="T39" fmla="*/ 2147483647 h 165"/>
                <a:gd name="T40" fmla="*/ 2147483647 w 131"/>
                <a:gd name="T41" fmla="*/ 2147483647 h 165"/>
                <a:gd name="T42" fmla="*/ 2147483647 w 131"/>
                <a:gd name="T43" fmla="*/ 2147483647 h 165"/>
                <a:gd name="T44" fmla="*/ 2147483647 w 131"/>
                <a:gd name="T45" fmla="*/ 2147483647 h 165"/>
                <a:gd name="T46" fmla="*/ 2147483647 w 131"/>
                <a:gd name="T47" fmla="*/ 2147483647 h 165"/>
                <a:gd name="T48" fmla="*/ 2147483647 w 131"/>
                <a:gd name="T49" fmla="*/ 2147483647 h 165"/>
                <a:gd name="T50" fmla="*/ 2147483647 w 131"/>
                <a:gd name="T51" fmla="*/ 2147483647 h 165"/>
                <a:gd name="T52" fmla="*/ 2147483647 w 131"/>
                <a:gd name="T53" fmla="*/ 2147483647 h 165"/>
                <a:gd name="T54" fmla="*/ 2147483647 w 131"/>
                <a:gd name="T55" fmla="*/ 2147483647 h 165"/>
                <a:gd name="T56" fmla="*/ 2147483647 w 131"/>
                <a:gd name="T57" fmla="*/ 2147483647 h 165"/>
                <a:gd name="T58" fmla="*/ 2147483647 w 131"/>
                <a:gd name="T59" fmla="*/ 2147483647 h 165"/>
                <a:gd name="T60" fmla="*/ 2147483647 w 131"/>
                <a:gd name="T61" fmla="*/ 2147483647 h 165"/>
                <a:gd name="T62" fmla="*/ 2147483647 w 131"/>
                <a:gd name="T63" fmla="*/ 2147483647 h 165"/>
                <a:gd name="T64" fmla="*/ 2147483647 w 131"/>
                <a:gd name="T65" fmla="*/ 2147483647 h 165"/>
                <a:gd name="T66" fmla="*/ 2147483647 w 131"/>
                <a:gd name="T67" fmla="*/ 2147483647 h 165"/>
                <a:gd name="T68" fmla="*/ 2147483647 w 131"/>
                <a:gd name="T69" fmla="*/ 0 h 165"/>
                <a:gd name="T70" fmla="*/ 2147483647 w 131"/>
                <a:gd name="T71" fmla="*/ 2147483647 h 165"/>
                <a:gd name="T72" fmla="*/ 2147483647 w 131"/>
                <a:gd name="T73" fmla="*/ 2147483647 h 165"/>
                <a:gd name="T74" fmla="*/ 2147483647 w 131"/>
                <a:gd name="T75" fmla="*/ 2147483647 h 165"/>
                <a:gd name="T76" fmla="*/ 2147483647 w 131"/>
                <a:gd name="T77" fmla="*/ 2147483647 h 165"/>
                <a:gd name="T78" fmla="*/ 2147483647 w 131"/>
                <a:gd name="T79" fmla="*/ 2147483647 h 165"/>
                <a:gd name="T80" fmla="*/ 2147483647 w 131"/>
                <a:gd name="T81" fmla="*/ 2147483647 h 165"/>
                <a:gd name="T82" fmla="*/ 2147483647 w 131"/>
                <a:gd name="T83" fmla="*/ 2147483647 h 165"/>
                <a:gd name="T84" fmla="*/ 2147483647 w 131"/>
                <a:gd name="T85" fmla="*/ 2147483647 h 165"/>
                <a:gd name="T86" fmla="*/ 2147483647 w 131"/>
                <a:gd name="T87" fmla="*/ 2147483647 h 165"/>
                <a:gd name="T88" fmla="*/ 2147483647 w 131"/>
                <a:gd name="T89" fmla="*/ 2147483647 h 165"/>
                <a:gd name="T90" fmla="*/ 2147483647 w 131"/>
                <a:gd name="T91" fmla="*/ 2147483647 h 165"/>
                <a:gd name="T92" fmla="*/ 2147483647 w 131"/>
                <a:gd name="T93" fmla="*/ 2147483647 h 165"/>
                <a:gd name="T94" fmla="*/ 2147483647 w 131"/>
                <a:gd name="T95" fmla="*/ 2147483647 h 165"/>
                <a:gd name="T96" fmla="*/ 2147483647 w 131"/>
                <a:gd name="T97" fmla="*/ 2147483647 h 165"/>
                <a:gd name="T98" fmla="*/ 2147483647 w 131"/>
                <a:gd name="T99" fmla="*/ 2147483647 h 165"/>
                <a:gd name="T100" fmla="*/ 2147483647 w 131"/>
                <a:gd name="T101" fmla="*/ 2147483647 h 165"/>
                <a:gd name="T102" fmla="*/ 2147483647 w 131"/>
                <a:gd name="T103" fmla="*/ 2147483647 h 165"/>
                <a:gd name="T104" fmla="*/ 2147483647 w 131"/>
                <a:gd name="T105" fmla="*/ 2147483647 h 165"/>
                <a:gd name="T106" fmla="*/ 2147483647 w 131"/>
                <a:gd name="T107" fmla="*/ 2147483647 h 165"/>
                <a:gd name="T108" fmla="*/ 2147483647 w 131"/>
                <a:gd name="T109" fmla="*/ 2147483647 h 165"/>
                <a:gd name="T110" fmla="*/ 2147483647 w 131"/>
                <a:gd name="T111" fmla="*/ 2147483647 h 165"/>
                <a:gd name="T112" fmla="*/ 2147483647 w 131"/>
                <a:gd name="T113" fmla="*/ 2147483647 h 165"/>
                <a:gd name="T114" fmla="*/ 2147483647 w 131"/>
                <a:gd name="T115" fmla="*/ 2147483647 h 165"/>
                <a:gd name="T116" fmla="*/ 2147483647 w 131"/>
                <a:gd name="T117" fmla="*/ 2147483647 h 165"/>
                <a:gd name="T118" fmla="*/ 2147483647 w 131"/>
                <a:gd name="T119" fmla="*/ 2147483647 h 165"/>
                <a:gd name="T120" fmla="*/ 0 w 131"/>
                <a:gd name="T121" fmla="*/ 2147483647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165"/>
                <a:gd name="T185" fmla="*/ 131 w 131"/>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165">
                  <a:moveTo>
                    <a:pt x="0" y="146"/>
                  </a:moveTo>
                  <a:lnTo>
                    <a:pt x="0" y="146"/>
                  </a:lnTo>
                  <a:lnTo>
                    <a:pt x="5" y="145"/>
                  </a:lnTo>
                  <a:lnTo>
                    <a:pt x="11" y="145"/>
                  </a:lnTo>
                  <a:lnTo>
                    <a:pt x="15" y="143"/>
                  </a:lnTo>
                  <a:lnTo>
                    <a:pt x="18" y="143"/>
                  </a:lnTo>
                  <a:lnTo>
                    <a:pt x="19" y="142"/>
                  </a:lnTo>
                  <a:lnTo>
                    <a:pt x="20" y="139"/>
                  </a:lnTo>
                  <a:lnTo>
                    <a:pt x="21" y="135"/>
                  </a:lnTo>
                  <a:lnTo>
                    <a:pt x="24" y="134"/>
                  </a:lnTo>
                  <a:lnTo>
                    <a:pt x="26" y="133"/>
                  </a:lnTo>
                  <a:lnTo>
                    <a:pt x="28" y="129"/>
                  </a:lnTo>
                  <a:lnTo>
                    <a:pt x="26" y="128"/>
                  </a:lnTo>
                  <a:lnTo>
                    <a:pt x="21" y="124"/>
                  </a:lnTo>
                  <a:lnTo>
                    <a:pt x="23" y="122"/>
                  </a:lnTo>
                  <a:lnTo>
                    <a:pt x="25" y="119"/>
                  </a:lnTo>
                  <a:lnTo>
                    <a:pt x="30" y="116"/>
                  </a:lnTo>
                  <a:lnTo>
                    <a:pt x="33" y="115"/>
                  </a:lnTo>
                  <a:lnTo>
                    <a:pt x="35" y="111"/>
                  </a:lnTo>
                  <a:lnTo>
                    <a:pt x="37" y="111"/>
                  </a:lnTo>
                  <a:lnTo>
                    <a:pt x="39" y="111"/>
                  </a:lnTo>
                  <a:lnTo>
                    <a:pt x="40" y="114"/>
                  </a:lnTo>
                  <a:lnTo>
                    <a:pt x="44" y="121"/>
                  </a:lnTo>
                  <a:lnTo>
                    <a:pt x="44" y="123"/>
                  </a:lnTo>
                  <a:lnTo>
                    <a:pt x="45" y="126"/>
                  </a:lnTo>
                  <a:lnTo>
                    <a:pt x="48" y="127"/>
                  </a:lnTo>
                  <a:lnTo>
                    <a:pt x="53" y="127"/>
                  </a:lnTo>
                  <a:lnTo>
                    <a:pt x="57" y="126"/>
                  </a:lnTo>
                  <a:lnTo>
                    <a:pt x="58" y="124"/>
                  </a:lnTo>
                  <a:lnTo>
                    <a:pt x="59" y="115"/>
                  </a:lnTo>
                  <a:lnTo>
                    <a:pt x="61" y="111"/>
                  </a:lnTo>
                  <a:lnTo>
                    <a:pt x="61" y="107"/>
                  </a:lnTo>
                  <a:lnTo>
                    <a:pt x="59" y="104"/>
                  </a:lnTo>
                  <a:lnTo>
                    <a:pt x="58" y="102"/>
                  </a:lnTo>
                  <a:lnTo>
                    <a:pt x="58" y="96"/>
                  </a:lnTo>
                  <a:lnTo>
                    <a:pt x="58" y="90"/>
                  </a:lnTo>
                  <a:lnTo>
                    <a:pt x="56" y="88"/>
                  </a:lnTo>
                  <a:lnTo>
                    <a:pt x="54" y="85"/>
                  </a:lnTo>
                  <a:lnTo>
                    <a:pt x="53" y="81"/>
                  </a:lnTo>
                  <a:lnTo>
                    <a:pt x="49" y="74"/>
                  </a:lnTo>
                  <a:lnTo>
                    <a:pt x="48" y="70"/>
                  </a:lnTo>
                  <a:lnTo>
                    <a:pt x="47" y="66"/>
                  </a:lnTo>
                  <a:lnTo>
                    <a:pt x="48" y="63"/>
                  </a:lnTo>
                  <a:lnTo>
                    <a:pt x="51" y="59"/>
                  </a:lnTo>
                  <a:lnTo>
                    <a:pt x="63" y="53"/>
                  </a:lnTo>
                  <a:lnTo>
                    <a:pt x="67" y="50"/>
                  </a:lnTo>
                  <a:lnTo>
                    <a:pt x="68" y="47"/>
                  </a:lnTo>
                  <a:lnTo>
                    <a:pt x="68" y="46"/>
                  </a:lnTo>
                  <a:lnTo>
                    <a:pt x="67" y="44"/>
                  </a:lnTo>
                  <a:lnTo>
                    <a:pt x="65" y="44"/>
                  </a:lnTo>
                  <a:lnTo>
                    <a:pt x="58" y="43"/>
                  </a:lnTo>
                  <a:lnTo>
                    <a:pt x="51" y="44"/>
                  </a:lnTo>
                  <a:lnTo>
                    <a:pt x="48" y="43"/>
                  </a:lnTo>
                  <a:lnTo>
                    <a:pt x="45" y="43"/>
                  </a:lnTo>
                  <a:lnTo>
                    <a:pt x="44" y="40"/>
                  </a:lnTo>
                  <a:lnTo>
                    <a:pt x="43" y="38"/>
                  </a:lnTo>
                  <a:lnTo>
                    <a:pt x="43" y="34"/>
                  </a:lnTo>
                  <a:lnTo>
                    <a:pt x="43" y="30"/>
                  </a:lnTo>
                  <a:lnTo>
                    <a:pt x="45" y="27"/>
                  </a:lnTo>
                  <a:lnTo>
                    <a:pt x="48" y="26"/>
                  </a:lnTo>
                  <a:lnTo>
                    <a:pt x="52" y="24"/>
                  </a:lnTo>
                  <a:lnTo>
                    <a:pt x="56" y="23"/>
                  </a:lnTo>
                  <a:lnTo>
                    <a:pt x="59" y="23"/>
                  </a:lnTo>
                  <a:lnTo>
                    <a:pt x="63" y="24"/>
                  </a:lnTo>
                  <a:lnTo>
                    <a:pt x="67" y="26"/>
                  </a:lnTo>
                  <a:lnTo>
                    <a:pt x="80" y="34"/>
                  </a:lnTo>
                  <a:lnTo>
                    <a:pt x="81" y="28"/>
                  </a:lnTo>
                  <a:lnTo>
                    <a:pt x="89" y="28"/>
                  </a:lnTo>
                  <a:lnTo>
                    <a:pt x="95" y="27"/>
                  </a:lnTo>
                  <a:lnTo>
                    <a:pt x="96" y="27"/>
                  </a:lnTo>
                  <a:lnTo>
                    <a:pt x="98" y="25"/>
                  </a:lnTo>
                  <a:lnTo>
                    <a:pt x="101" y="19"/>
                  </a:lnTo>
                  <a:lnTo>
                    <a:pt x="105" y="12"/>
                  </a:lnTo>
                  <a:lnTo>
                    <a:pt x="108" y="8"/>
                  </a:lnTo>
                  <a:lnTo>
                    <a:pt x="110" y="6"/>
                  </a:lnTo>
                  <a:lnTo>
                    <a:pt x="119" y="2"/>
                  </a:lnTo>
                  <a:lnTo>
                    <a:pt x="131" y="0"/>
                  </a:lnTo>
                  <a:lnTo>
                    <a:pt x="129" y="9"/>
                  </a:lnTo>
                  <a:lnTo>
                    <a:pt x="127" y="17"/>
                  </a:lnTo>
                  <a:lnTo>
                    <a:pt x="122" y="31"/>
                  </a:lnTo>
                  <a:lnTo>
                    <a:pt x="120" y="36"/>
                  </a:lnTo>
                  <a:lnTo>
                    <a:pt x="120" y="38"/>
                  </a:lnTo>
                  <a:lnTo>
                    <a:pt x="119" y="40"/>
                  </a:lnTo>
                  <a:lnTo>
                    <a:pt x="118" y="45"/>
                  </a:lnTo>
                  <a:lnTo>
                    <a:pt x="117" y="51"/>
                  </a:lnTo>
                  <a:lnTo>
                    <a:pt x="118" y="58"/>
                  </a:lnTo>
                  <a:lnTo>
                    <a:pt x="120" y="66"/>
                  </a:lnTo>
                  <a:lnTo>
                    <a:pt x="122" y="70"/>
                  </a:lnTo>
                  <a:lnTo>
                    <a:pt x="122" y="74"/>
                  </a:lnTo>
                  <a:lnTo>
                    <a:pt x="118" y="82"/>
                  </a:lnTo>
                  <a:lnTo>
                    <a:pt x="117" y="87"/>
                  </a:lnTo>
                  <a:lnTo>
                    <a:pt x="115" y="90"/>
                  </a:lnTo>
                  <a:lnTo>
                    <a:pt x="111" y="95"/>
                  </a:lnTo>
                  <a:lnTo>
                    <a:pt x="108" y="98"/>
                  </a:lnTo>
                  <a:lnTo>
                    <a:pt x="104" y="101"/>
                  </a:lnTo>
                  <a:lnTo>
                    <a:pt x="103" y="102"/>
                  </a:lnTo>
                  <a:lnTo>
                    <a:pt x="101" y="103"/>
                  </a:lnTo>
                  <a:lnTo>
                    <a:pt x="100" y="107"/>
                  </a:lnTo>
                  <a:lnTo>
                    <a:pt x="99" y="110"/>
                  </a:lnTo>
                  <a:lnTo>
                    <a:pt x="94" y="117"/>
                  </a:lnTo>
                  <a:lnTo>
                    <a:pt x="92" y="119"/>
                  </a:lnTo>
                  <a:lnTo>
                    <a:pt x="92" y="120"/>
                  </a:lnTo>
                  <a:lnTo>
                    <a:pt x="94" y="123"/>
                  </a:lnTo>
                  <a:lnTo>
                    <a:pt x="95" y="128"/>
                  </a:lnTo>
                  <a:lnTo>
                    <a:pt x="96" y="132"/>
                  </a:lnTo>
                  <a:lnTo>
                    <a:pt x="98" y="135"/>
                  </a:lnTo>
                  <a:lnTo>
                    <a:pt x="96" y="139"/>
                  </a:lnTo>
                  <a:lnTo>
                    <a:pt x="92" y="145"/>
                  </a:lnTo>
                  <a:lnTo>
                    <a:pt x="90" y="146"/>
                  </a:lnTo>
                  <a:lnTo>
                    <a:pt x="86" y="147"/>
                  </a:lnTo>
                  <a:lnTo>
                    <a:pt x="81" y="148"/>
                  </a:lnTo>
                  <a:lnTo>
                    <a:pt x="77" y="151"/>
                  </a:lnTo>
                  <a:lnTo>
                    <a:pt x="71" y="155"/>
                  </a:lnTo>
                  <a:lnTo>
                    <a:pt x="70" y="156"/>
                  </a:lnTo>
                  <a:lnTo>
                    <a:pt x="67" y="156"/>
                  </a:lnTo>
                  <a:lnTo>
                    <a:pt x="65" y="154"/>
                  </a:lnTo>
                  <a:lnTo>
                    <a:pt x="62" y="151"/>
                  </a:lnTo>
                  <a:lnTo>
                    <a:pt x="59" y="149"/>
                  </a:lnTo>
                  <a:lnTo>
                    <a:pt x="57" y="149"/>
                  </a:lnTo>
                  <a:lnTo>
                    <a:pt x="53" y="151"/>
                  </a:lnTo>
                  <a:lnTo>
                    <a:pt x="52" y="153"/>
                  </a:lnTo>
                  <a:lnTo>
                    <a:pt x="51" y="155"/>
                  </a:lnTo>
                  <a:lnTo>
                    <a:pt x="49" y="160"/>
                  </a:lnTo>
                  <a:lnTo>
                    <a:pt x="48" y="161"/>
                  </a:lnTo>
                  <a:lnTo>
                    <a:pt x="47" y="162"/>
                  </a:lnTo>
                  <a:lnTo>
                    <a:pt x="43" y="162"/>
                  </a:lnTo>
                  <a:lnTo>
                    <a:pt x="40" y="160"/>
                  </a:lnTo>
                  <a:lnTo>
                    <a:pt x="35" y="154"/>
                  </a:lnTo>
                  <a:lnTo>
                    <a:pt x="31" y="152"/>
                  </a:lnTo>
                  <a:lnTo>
                    <a:pt x="24" y="156"/>
                  </a:lnTo>
                  <a:lnTo>
                    <a:pt x="14" y="165"/>
                  </a:lnTo>
                  <a:lnTo>
                    <a:pt x="6" y="159"/>
                  </a:lnTo>
                  <a:lnTo>
                    <a:pt x="4" y="155"/>
                  </a:lnTo>
                  <a:lnTo>
                    <a:pt x="1" y="151"/>
                  </a:lnTo>
                  <a:lnTo>
                    <a:pt x="0" y="14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8" name="Freeform 717"/>
            <p:cNvSpPr>
              <a:spLocks/>
            </p:cNvSpPr>
            <p:nvPr/>
          </p:nvSpPr>
          <p:spPr bwMode="auto">
            <a:xfrm>
              <a:off x="4640266" y="4543429"/>
              <a:ext cx="39687" cy="41275"/>
            </a:xfrm>
            <a:custGeom>
              <a:avLst/>
              <a:gdLst>
                <a:gd name="T0" fmla="*/ 0 w 27"/>
                <a:gd name="T1" fmla="*/ 2147483647 h 26"/>
                <a:gd name="T2" fmla="*/ 2147483647 w 27"/>
                <a:gd name="T3" fmla="*/ 2147483647 h 26"/>
                <a:gd name="T4" fmla="*/ 2147483647 w 27"/>
                <a:gd name="T5" fmla="*/ 0 h 26"/>
                <a:gd name="T6" fmla="*/ 2147483647 w 27"/>
                <a:gd name="T7" fmla="*/ 2147483647 h 26"/>
                <a:gd name="T8" fmla="*/ 2147483647 w 27"/>
                <a:gd name="T9" fmla="*/ 2147483647 h 26"/>
                <a:gd name="T10" fmla="*/ 2147483647 w 27"/>
                <a:gd name="T11" fmla="*/ 2147483647 h 26"/>
                <a:gd name="T12" fmla="*/ 2147483647 w 27"/>
                <a:gd name="T13" fmla="*/ 2147483647 h 26"/>
                <a:gd name="T14" fmla="*/ 2147483647 w 27"/>
                <a:gd name="T15" fmla="*/ 2147483647 h 26"/>
                <a:gd name="T16" fmla="*/ 2147483647 w 27"/>
                <a:gd name="T17" fmla="*/ 2147483647 h 26"/>
                <a:gd name="T18" fmla="*/ 2147483647 w 27"/>
                <a:gd name="T19" fmla="*/ 2147483647 h 26"/>
                <a:gd name="T20" fmla="*/ 2147483647 w 27"/>
                <a:gd name="T21" fmla="*/ 2147483647 h 26"/>
                <a:gd name="T22" fmla="*/ 2147483647 w 27"/>
                <a:gd name="T23" fmla="*/ 2147483647 h 26"/>
                <a:gd name="T24" fmla="*/ 2147483647 w 27"/>
                <a:gd name="T25" fmla="*/ 2147483647 h 26"/>
                <a:gd name="T26" fmla="*/ 2147483647 w 27"/>
                <a:gd name="T27" fmla="*/ 2147483647 h 26"/>
                <a:gd name="T28" fmla="*/ 0 w 27"/>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26"/>
                <a:gd name="T47" fmla="*/ 27 w 27"/>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26">
                  <a:moveTo>
                    <a:pt x="0" y="13"/>
                  </a:moveTo>
                  <a:lnTo>
                    <a:pt x="10" y="5"/>
                  </a:lnTo>
                  <a:lnTo>
                    <a:pt x="18" y="0"/>
                  </a:lnTo>
                  <a:lnTo>
                    <a:pt x="22" y="2"/>
                  </a:lnTo>
                  <a:lnTo>
                    <a:pt x="27" y="8"/>
                  </a:lnTo>
                  <a:lnTo>
                    <a:pt x="23" y="13"/>
                  </a:lnTo>
                  <a:lnTo>
                    <a:pt x="19" y="17"/>
                  </a:lnTo>
                  <a:lnTo>
                    <a:pt x="18" y="20"/>
                  </a:lnTo>
                  <a:lnTo>
                    <a:pt x="18" y="24"/>
                  </a:lnTo>
                  <a:lnTo>
                    <a:pt x="16" y="24"/>
                  </a:lnTo>
                  <a:lnTo>
                    <a:pt x="15" y="25"/>
                  </a:lnTo>
                  <a:lnTo>
                    <a:pt x="9" y="26"/>
                  </a:lnTo>
                  <a:lnTo>
                    <a:pt x="9" y="22"/>
                  </a:lnTo>
                  <a:lnTo>
                    <a:pt x="6" y="20"/>
                  </a:lnTo>
                  <a:lnTo>
                    <a:pt x="0"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19" name="Freeform 718"/>
            <p:cNvSpPr>
              <a:spLocks/>
            </p:cNvSpPr>
            <p:nvPr/>
          </p:nvSpPr>
          <p:spPr bwMode="auto">
            <a:xfrm>
              <a:off x="4700592" y="4084642"/>
              <a:ext cx="331787" cy="263525"/>
            </a:xfrm>
            <a:custGeom>
              <a:avLst/>
              <a:gdLst>
                <a:gd name="T0" fmla="*/ 2147483647 w 226"/>
                <a:gd name="T1" fmla="*/ 2147483647 h 166"/>
                <a:gd name="T2" fmla="*/ 2147483647 w 226"/>
                <a:gd name="T3" fmla="*/ 2147483647 h 166"/>
                <a:gd name="T4" fmla="*/ 2147483647 w 226"/>
                <a:gd name="T5" fmla="*/ 2147483647 h 166"/>
                <a:gd name="T6" fmla="*/ 2147483647 w 226"/>
                <a:gd name="T7" fmla="*/ 2147483647 h 166"/>
                <a:gd name="T8" fmla="*/ 2147483647 w 226"/>
                <a:gd name="T9" fmla="*/ 2147483647 h 166"/>
                <a:gd name="T10" fmla="*/ 2147483647 w 226"/>
                <a:gd name="T11" fmla="*/ 2147483647 h 166"/>
                <a:gd name="T12" fmla="*/ 2147483647 w 226"/>
                <a:gd name="T13" fmla="*/ 2147483647 h 166"/>
                <a:gd name="T14" fmla="*/ 2147483647 w 226"/>
                <a:gd name="T15" fmla="*/ 2147483647 h 166"/>
                <a:gd name="T16" fmla="*/ 2147483647 w 226"/>
                <a:gd name="T17" fmla="*/ 2147483647 h 166"/>
                <a:gd name="T18" fmla="*/ 2147483647 w 226"/>
                <a:gd name="T19" fmla="*/ 2147483647 h 166"/>
                <a:gd name="T20" fmla="*/ 0 w 226"/>
                <a:gd name="T21" fmla="*/ 2147483647 h 166"/>
                <a:gd name="T22" fmla="*/ 2147483647 w 226"/>
                <a:gd name="T23" fmla="*/ 2147483647 h 166"/>
                <a:gd name="T24" fmla="*/ 2147483647 w 226"/>
                <a:gd name="T25" fmla="*/ 2147483647 h 166"/>
                <a:gd name="T26" fmla="*/ 2147483647 w 226"/>
                <a:gd name="T27" fmla="*/ 2147483647 h 166"/>
                <a:gd name="T28" fmla="*/ 2147483647 w 226"/>
                <a:gd name="T29" fmla="*/ 2147483647 h 166"/>
                <a:gd name="T30" fmla="*/ 2147483647 w 226"/>
                <a:gd name="T31" fmla="*/ 2147483647 h 166"/>
                <a:gd name="T32" fmla="*/ 2147483647 w 226"/>
                <a:gd name="T33" fmla="*/ 2147483647 h 166"/>
                <a:gd name="T34" fmla="*/ 2147483647 w 226"/>
                <a:gd name="T35" fmla="*/ 2147483647 h 166"/>
                <a:gd name="T36" fmla="*/ 2147483647 w 226"/>
                <a:gd name="T37" fmla="*/ 2147483647 h 166"/>
                <a:gd name="T38" fmla="*/ 2147483647 w 226"/>
                <a:gd name="T39" fmla="*/ 2147483647 h 166"/>
                <a:gd name="T40" fmla="*/ 2147483647 w 226"/>
                <a:gd name="T41" fmla="*/ 2147483647 h 166"/>
                <a:gd name="T42" fmla="*/ 2147483647 w 226"/>
                <a:gd name="T43" fmla="*/ 2147483647 h 166"/>
                <a:gd name="T44" fmla="*/ 2147483647 w 226"/>
                <a:gd name="T45" fmla="*/ 2147483647 h 166"/>
                <a:gd name="T46" fmla="*/ 2147483647 w 226"/>
                <a:gd name="T47" fmla="*/ 2147483647 h 166"/>
                <a:gd name="T48" fmla="*/ 2147483647 w 226"/>
                <a:gd name="T49" fmla="*/ 2147483647 h 166"/>
                <a:gd name="T50" fmla="*/ 2147483647 w 226"/>
                <a:gd name="T51" fmla="*/ 2147483647 h 166"/>
                <a:gd name="T52" fmla="*/ 2147483647 w 226"/>
                <a:gd name="T53" fmla="*/ 2147483647 h 166"/>
                <a:gd name="T54" fmla="*/ 2147483647 w 226"/>
                <a:gd name="T55" fmla="*/ 2147483647 h 166"/>
                <a:gd name="T56" fmla="*/ 2147483647 w 226"/>
                <a:gd name="T57" fmla="*/ 2147483647 h 166"/>
                <a:gd name="T58" fmla="*/ 2147483647 w 226"/>
                <a:gd name="T59" fmla="*/ 2147483647 h 166"/>
                <a:gd name="T60" fmla="*/ 2147483647 w 226"/>
                <a:gd name="T61" fmla="*/ 2147483647 h 166"/>
                <a:gd name="T62" fmla="*/ 2147483647 w 226"/>
                <a:gd name="T63" fmla="*/ 2147483647 h 166"/>
                <a:gd name="T64" fmla="*/ 2147483647 w 226"/>
                <a:gd name="T65" fmla="*/ 2147483647 h 166"/>
                <a:gd name="T66" fmla="*/ 2147483647 w 226"/>
                <a:gd name="T67" fmla="*/ 2147483647 h 166"/>
                <a:gd name="T68" fmla="*/ 2147483647 w 226"/>
                <a:gd name="T69" fmla="*/ 2147483647 h 166"/>
                <a:gd name="T70" fmla="*/ 2147483647 w 226"/>
                <a:gd name="T71" fmla="*/ 2147483647 h 166"/>
                <a:gd name="T72" fmla="*/ 2147483647 w 226"/>
                <a:gd name="T73" fmla="*/ 2147483647 h 166"/>
                <a:gd name="T74" fmla="*/ 2147483647 w 226"/>
                <a:gd name="T75" fmla="*/ 2147483647 h 166"/>
                <a:gd name="T76" fmla="*/ 2147483647 w 226"/>
                <a:gd name="T77" fmla="*/ 2147483647 h 166"/>
                <a:gd name="T78" fmla="*/ 2147483647 w 226"/>
                <a:gd name="T79" fmla="*/ 2147483647 h 166"/>
                <a:gd name="T80" fmla="*/ 2147483647 w 226"/>
                <a:gd name="T81" fmla="*/ 2147483647 h 166"/>
                <a:gd name="T82" fmla="*/ 2147483647 w 226"/>
                <a:gd name="T83" fmla="*/ 2147483647 h 166"/>
                <a:gd name="T84" fmla="*/ 2147483647 w 226"/>
                <a:gd name="T85" fmla="*/ 2147483647 h 166"/>
                <a:gd name="T86" fmla="*/ 2147483647 w 226"/>
                <a:gd name="T87" fmla="*/ 2147483647 h 166"/>
                <a:gd name="T88" fmla="*/ 2147483647 w 226"/>
                <a:gd name="T89" fmla="*/ 2147483647 h 166"/>
                <a:gd name="T90" fmla="*/ 2147483647 w 226"/>
                <a:gd name="T91" fmla="*/ 2147483647 h 166"/>
                <a:gd name="T92" fmla="*/ 2147483647 w 226"/>
                <a:gd name="T93" fmla="*/ 2147483647 h 166"/>
                <a:gd name="T94" fmla="*/ 2147483647 w 226"/>
                <a:gd name="T95" fmla="*/ 2147483647 h 166"/>
                <a:gd name="T96" fmla="*/ 2147483647 w 226"/>
                <a:gd name="T97" fmla="*/ 2147483647 h 166"/>
                <a:gd name="T98" fmla="*/ 2147483647 w 226"/>
                <a:gd name="T99" fmla="*/ 2147483647 h 166"/>
                <a:gd name="T100" fmla="*/ 2147483647 w 226"/>
                <a:gd name="T101" fmla="*/ 2147483647 h 166"/>
                <a:gd name="T102" fmla="*/ 2147483647 w 226"/>
                <a:gd name="T103" fmla="*/ 2147483647 h 166"/>
                <a:gd name="T104" fmla="*/ 2147483647 w 226"/>
                <a:gd name="T105" fmla="*/ 2147483647 h 166"/>
                <a:gd name="T106" fmla="*/ 2147483647 w 226"/>
                <a:gd name="T107" fmla="*/ 2147483647 h 166"/>
                <a:gd name="T108" fmla="*/ 2147483647 w 226"/>
                <a:gd name="T109" fmla="*/ 2147483647 h 166"/>
                <a:gd name="T110" fmla="*/ 2147483647 w 226"/>
                <a:gd name="T111" fmla="*/ 2147483647 h 166"/>
                <a:gd name="T112" fmla="*/ 2147483647 w 226"/>
                <a:gd name="T113" fmla="*/ 2147483647 h 166"/>
                <a:gd name="T114" fmla="*/ 2147483647 w 226"/>
                <a:gd name="T115" fmla="*/ 2147483647 h 166"/>
                <a:gd name="T116" fmla="*/ 2147483647 w 226"/>
                <a:gd name="T117" fmla="*/ 2147483647 h 1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6"/>
                <a:gd name="T178" fmla="*/ 0 h 166"/>
                <a:gd name="T179" fmla="*/ 226 w 226"/>
                <a:gd name="T180" fmla="*/ 166 h 1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6" h="166">
                  <a:moveTo>
                    <a:pt x="76" y="137"/>
                  </a:moveTo>
                  <a:lnTo>
                    <a:pt x="64" y="140"/>
                  </a:lnTo>
                  <a:lnTo>
                    <a:pt x="55" y="143"/>
                  </a:lnTo>
                  <a:lnTo>
                    <a:pt x="53" y="145"/>
                  </a:lnTo>
                  <a:lnTo>
                    <a:pt x="50" y="149"/>
                  </a:lnTo>
                  <a:lnTo>
                    <a:pt x="47" y="156"/>
                  </a:lnTo>
                  <a:lnTo>
                    <a:pt x="43" y="162"/>
                  </a:lnTo>
                  <a:lnTo>
                    <a:pt x="42" y="164"/>
                  </a:lnTo>
                  <a:lnTo>
                    <a:pt x="40" y="164"/>
                  </a:lnTo>
                  <a:lnTo>
                    <a:pt x="34" y="166"/>
                  </a:lnTo>
                  <a:lnTo>
                    <a:pt x="26" y="166"/>
                  </a:lnTo>
                  <a:lnTo>
                    <a:pt x="25" y="157"/>
                  </a:lnTo>
                  <a:lnTo>
                    <a:pt x="26" y="147"/>
                  </a:lnTo>
                  <a:lnTo>
                    <a:pt x="26" y="141"/>
                  </a:lnTo>
                  <a:lnTo>
                    <a:pt x="25" y="136"/>
                  </a:lnTo>
                  <a:lnTo>
                    <a:pt x="19" y="130"/>
                  </a:lnTo>
                  <a:lnTo>
                    <a:pt x="12" y="125"/>
                  </a:lnTo>
                  <a:lnTo>
                    <a:pt x="6" y="119"/>
                  </a:lnTo>
                  <a:lnTo>
                    <a:pt x="3" y="116"/>
                  </a:lnTo>
                  <a:lnTo>
                    <a:pt x="2" y="111"/>
                  </a:lnTo>
                  <a:lnTo>
                    <a:pt x="0" y="102"/>
                  </a:lnTo>
                  <a:lnTo>
                    <a:pt x="0" y="92"/>
                  </a:lnTo>
                  <a:lnTo>
                    <a:pt x="1" y="87"/>
                  </a:lnTo>
                  <a:lnTo>
                    <a:pt x="2" y="83"/>
                  </a:lnTo>
                  <a:lnTo>
                    <a:pt x="6" y="79"/>
                  </a:lnTo>
                  <a:lnTo>
                    <a:pt x="10" y="76"/>
                  </a:lnTo>
                  <a:lnTo>
                    <a:pt x="14" y="74"/>
                  </a:lnTo>
                  <a:lnTo>
                    <a:pt x="16" y="73"/>
                  </a:lnTo>
                  <a:lnTo>
                    <a:pt x="20" y="72"/>
                  </a:lnTo>
                  <a:lnTo>
                    <a:pt x="29" y="67"/>
                  </a:lnTo>
                  <a:lnTo>
                    <a:pt x="36" y="62"/>
                  </a:lnTo>
                  <a:lnTo>
                    <a:pt x="43" y="61"/>
                  </a:lnTo>
                  <a:lnTo>
                    <a:pt x="48" y="61"/>
                  </a:lnTo>
                  <a:lnTo>
                    <a:pt x="59" y="61"/>
                  </a:lnTo>
                  <a:lnTo>
                    <a:pt x="63" y="61"/>
                  </a:lnTo>
                  <a:lnTo>
                    <a:pt x="66" y="60"/>
                  </a:lnTo>
                  <a:lnTo>
                    <a:pt x="69" y="58"/>
                  </a:lnTo>
                  <a:lnTo>
                    <a:pt x="72" y="57"/>
                  </a:lnTo>
                  <a:lnTo>
                    <a:pt x="82" y="53"/>
                  </a:lnTo>
                  <a:lnTo>
                    <a:pt x="90" y="48"/>
                  </a:lnTo>
                  <a:lnTo>
                    <a:pt x="96" y="42"/>
                  </a:lnTo>
                  <a:lnTo>
                    <a:pt x="101" y="34"/>
                  </a:lnTo>
                  <a:lnTo>
                    <a:pt x="102" y="32"/>
                  </a:lnTo>
                  <a:lnTo>
                    <a:pt x="105" y="30"/>
                  </a:lnTo>
                  <a:lnTo>
                    <a:pt x="111" y="28"/>
                  </a:lnTo>
                  <a:lnTo>
                    <a:pt x="118" y="26"/>
                  </a:lnTo>
                  <a:lnTo>
                    <a:pt x="120" y="25"/>
                  </a:lnTo>
                  <a:lnTo>
                    <a:pt x="123" y="22"/>
                  </a:lnTo>
                  <a:lnTo>
                    <a:pt x="132" y="15"/>
                  </a:lnTo>
                  <a:lnTo>
                    <a:pt x="135" y="12"/>
                  </a:lnTo>
                  <a:lnTo>
                    <a:pt x="139" y="8"/>
                  </a:lnTo>
                  <a:lnTo>
                    <a:pt x="143" y="6"/>
                  </a:lnTo>
                  <a:lnTo>
                    <a:pt x="146" y="3"/>
                  </a:lnTo>
                  <a:lnTo>
                    <a:pt x="148" y="2"/>
                  </a:lnTo>
                  <a:lnTo>
                    <a:pt x="149" y="0"/>
                  </a:lnTo>
                  <a:lnTo>
                    <a:pt x="153" y="1"/>
                  </a:lnTo>
                  <a:lnTo>
                    <a:pt x="156" y="2"/>
                  </a:lnTo>
                  <a:lnTo>
                    <a:pt x="157" y="3"/>
                  </a:lnTo>
                  <a:lnTo>
                    <a:pt x="157" y="9"/>
                  </a:lnTo>
                  <a:lnTo>
                    <a:pt x="157" y="15"/>
                  </a:lnTo>
                  <a:lnTo>
                    <a:pt x="157" y="21"/>
                  </a:lnTo>
                  <a:lnTo>
                    <a:pt x="160" y="27"/>
                  </a:lnTo>
                  <a:lnTo>
                    <a:pt x="161" y="32"/>
                  </a:lnTo>
                  <a:lnTo>
                    <a:pt x="162" y="36"/>
                  </a:lnTo>
                  <a:lnTo>
                    <a:pt x="162" y="41"/>
                  </a:lnTo>
                  <a:lnTo>
                    <a:pt x="162" y="46"/>
                  </a:lnTo>
                  <a:lnTo>
                    <a:pt x="165" y="48"/>
                  </a:lnTo>
                  <a:lnTo>
                    <a:pt x="167" y="51"/>
                  </a:lnTo>
                  <a:lnTo>
                    <a:pt x="174" y="54"/>
                  </a:lnTo>
                  <a:lnTo>
                    <a:pt x="180" y="57"/>
                  </a:lnTo>
                  <a:lnTo>
                    <a:pt x="188" y="59"/>
                  </a:lnTo>
                  <a:lnTo>
                    <a:pt x="189" y="61"/>
                  </a:lnTo>
                  <a:lnTo>
                    <a:pt x="191" y="64"/>
                  </a:lnTo>
                  <a:lnTo>
                    <a:pt x="208" y="76"/>
                  </a:lnTo>
                  <a:lnTo>
                    <a:pt x="215" y="81"/>
                  </a:lnTo>
                  <a:lnTo>
                    <a:pt x="218" y="86"/>
                  </a:lnTo>
                  <a:lnTo>
                    <a:pt x="221" y="90"/>
                  </a:lnTo>
                  <a:lnTo>
                    <a:pt x="223" y="98"/>
                  </a:lnTo>
                  <a:lnTo>
                    <a:pt x="224" y="103"/>
                  </a:lnTo>
                  <a:lnTo>
                    <a:pt x="226" y="106"/>
                  </a:lnTo>
                  <a:lnTo>
                    <a:pt x="222" y="105"/>
                  </a:lnTo>
                  <a:lnTo>
                    <a:pt x="218" y="104"/>
                  </a:lnTo>
                  <a:lnTo>
                    <a:pt x="212" y="103"/>
                  </a:lnTo>
                  <a:lnTo>
                    <a:pt x="208" y="102"/>
                  </a:lnTo>
                  <a:lnTo>
                    <a:pt x="205" y="102"/>
                  </a:lnTo>
                  <a:lnTo>
                    <a:pt x="200" y="103"/>
                  </a:lnTo>
                  <a:lnTo>
                    <a:pt x="195" y="106"/>
                  </a:lnTo>
                  <a:lnTo>
                    <a:pt x="190" y="110"/>
                  </a:lnTo>
                  <a:lnTo>
                    <a:pt x="188" y="111"/>
                  </a:lnTo>
                  <a:lnTo>
                    <a:pt x="184" y="112"/>
                  </a:lnTo>
                  <a:lnTo>
                    <a:pt x="176" y="113"/>
                  </a:lnTo>
                  <a:lnTo>
                    <a:pt x="169" y="112"/>
                  </a:lnTo>
                  <a:lnTo>
                    <a:pt x="161" y="110"/>
                  </a:lnTo>
                  <a:lnTo>
                    <a:pt x="158" y="109"/>
                  </a:lnTo>
                  <a:lnTo>
                    <a:pt x="157" y="110"/>
                  </a:lnTo>
                  <a:lnTo>
                    <a:pt x="153" y="115"/>
                  </a:lnTo>
                  <a:lnTo>
                    <a:pt x="149" y="117"/>
                  </a:lnTo>
                  <a:lnTo>
                    <a:pt x="146" y="118"/>
                  </a:lnTo>
                  <a:lnTo>
                    <a:pt x="137" y="119"/>
                  </a:lnTo>
                  <a:lnTo>
                    <a:pt x="128" y="119"/>
                  </a:lnTo>
                  <a:lnTo>
                    <a:pt x="122" y="118"/>
                  </a:lnTo>
                  <a:lnTo>
                    <a:pt x="119" y="117"/>
                  </a:lnTo>
                  <a:lnTo>
                    <a:pt x="116" y="116"/>
                  </a:lnTo>
                  <a:lnTo>
                    <a:pt x="114" y="112"/>
                  </a:lnTo>
                  <a:lnTo>
                    <a:pt x="110" y="108"/>
                  </a:lnTo>
                  <a:lnTo>
                    <a:pt x="108" y="108"/>
                  </a:lnTo>
                  <a:lnTo>
                    <a:pt x="104" y="106"/>
                  </a:lnTo>
                  <a:lnTo>
                    <a:pt x="97" y="105"/>
                  </a:lnTo>
                  <a:lnTo>
                    <a:pt x="95" y="104"/>
                  </a:lnTo>
                  <a:lnTo>
                    <a:pt x="94" y="105"/>
                  </a:lnTo>
                  <a:lnTo>
                    <a:pt x="90" y="113"/>
                  </a:lnTo>
                  <a:lnTo>
                    <a:pt x="87" y="117"/>
                  </a:lnTo>
                  <a:lnTo>
                    <a:pt x="82" y="119"/>
                  </a:lnTo>
                  <a:lnTo>
                    <a:pt x="81" y="128"/>
                  </a:lnTo>
                  <a:lnTo>
                    <a:pt x="80" y="129"/>
                  </a:lnTo>
                  <a:lnTo>
                    <a:pt x="78" y="130"/>
                  </a:lnTo>
                  <a:lnTo>
                    <a:pt x="76" y="131"/>
                  </a:lnTo>
                  <a:lnTo>
                    <a:pt x="76" y="132"/>
                  </a:lnTo>
                  <a:lnTo>
                    <a:pt x="76" y="13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0" name="Freeform 719"/>
            <p:cNvSpPr>
              <a:spLocks/>
            </p:cNvSpPr>
            <p:nvPr/>
          </p:nvSpPr>
          <p:spPr bwMode="auto">
            <a:xfrm>
              <a:off x="4638677" y="4541841"/>
              <a:ext cx="38100" cy="41275"/>
            </a:xfrm>
            <a:custGeom>
              <a:avLst/>
              <a:gdLst>
                <a:gd name="T0" fmla="*/ 0 w 26"/>
                <a:gd name="T1" fmla="*/ 2147483647 h 26"/>
                <a:gd name="T2" fmla="*/ 0 w 26"/>
                <a:gd name="T3" fmla="*/ 2147483647 h 26"/>
                <a:gd name="T4" fmla="*/ 2147483647 w 26"/>
                <a:gd name="T5" fmla="*/ 2147483647 h 26"/>
                <a:gd name="T6" fmla="*/ 2147483647 w 26"/>
                <a:gd name="T7" fmla="*/ 0 h 26"/>
                <a:gd name="T8" fmla="*/ 2147483647 w 26"/>
                <a:gd name="T9" fmla="*/ 0 h 26"/>
                <a:gd name="T10" fmla="*/ 2147483647 w 26"/>
                <a:gd name="T11" fmla="*/ 2147483647 h 26"/>
                <a:gd name="T12" fmla="*/ 2147483647 w 26"/>
                <a:gd name="T13" fmla="*/ 2147483647 h 26"/>
                <a:gd name="T14" fmla="*/ 2147483647 w 26"/>
                <a:gd name="T15" fmla="*/ 2147483647 h 26"/>
                <a:gd name="T16" fmla="*/ 2147483647 w 26"/>
                <a:gd name="T17" fmla="*/ 2147483647 h 26"/>
                <a:gd name="T18" fmla="*/ 2147483647 w 26"/>
                <a:gd name="T19" fmla="*/ 2147483647 h 26"/>
                <a:gd name="T20" fmla="*/ 2147483647 w 26"/>
                <a:gd name="T21" fmla="*/ 2147483647 h 26"/>
                <a:gd name="T22" fmla="*/ 2147483647 w 26"/>
                <a:gd name="T23" fmla="*/ 2147483647 h 26"/>
                <a:gd name="T24" fmla="*/ 2147483647 w 26"/>
                <a:gd name="T25" fmla="*/ 2147483647 h 26"/>
                <a:gd name="T26" fmla="*/ 2147483647 w 26"/>
                <a:gd name="T27" fmla="*/ 2147483647 h 26"/>
                <a:gd name="T28" fmla="*/ 2147483647 w 26"/>
                <a:gd name="T29" fmla="*/ 2147483647 h 26"/>
                <a:gd name="T30" fmla="*/ 2147483647 w 26"/>
                <a:gd name="T31" fmla="*/ 2147483647 h 26"/>
                <a:gd name="T32" fmla="*/ 2147483647 w 26"/>
                <a:gd name="T33" fmla="*/ 2147483647 h 26"/>
                <a:gd name="T34" fmla="*/ 2147483647 w 26"/>
                <a:gd name="T35" fmla="*/ 2147483647 h 26"/>
                <a:gd name="T36" fmla="*/ 2147483647 w 26"/>
                <a:gd name="T37" fmla="*/ 2147483647 h 26"/>
                <a:gd name="T38" fmla="*/ 2147483647 w 26"/>
                <a:gd name="T39" fmla="*/ 2147483647 h 26"/>
                <a:gd name="T40" fmla="*/ 2147483647 w 26"/>
                <a:gd name="T41" fmla="*/ 2147483647 h 26"/>
                <a:gd name="T42" fmla="*/ 0 w 26"/>
                <a:gd name="T43" fmla="*/ 2147483647 h 26"/>
                <a:gd name="T44" fmla="*/ 0 w 26"/>
                <a:gd name="T45" fmla="*/ 2147483647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26"/>
                <a:gd name="T71" fmla="*/ 26 w 26"/>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26">
                  <a:moveTo>
                    <a:pt x="0" y="13"/>
                  </a:moveTo>
                  <a:lnTo>
                    <a:pt x="0" y="13"/>
                  </a:lnTo>
                  <a:lnTo>
                    <a:pt x="10" y="4"/>
                  </a:lnTo>
                  <a:lnTo>
                    <a:pt x="17" y="0"/>
                  </a:lnTo>
                  <a:lnTo>
                    <a:pt x="21" y="2"/>
                  </a:lnTo>
                  <a:lnTo>
                    <a:pt x="26" y="8"/>
                  </a:lnTo>
                  <a:lnTo>
                    <a:pt x="23" y="13"/>
                  </a:lnTo>
                  <a:lnTo>
                    <a:pt x="19" y="16"/>
                  </a:lnTo>
                  <a:lnTo>
                    <a:pt x="17" y="20"/>
                  </a:lnTo>
                  <a:lnTo>
                    <a:pt x="17" y="23"/>
                  </a:lnTo>
                  <a:lnTo>
                    <a:pt x="16" y="23"/>
                  </a:lnTo>
                  <a:lnTo>
                    <a:pt x="15" y="25"/>
                  </a:lnTo>
                  <a:lnTo>
                    <a:pt x="9" y="26"/>
                  </a:lnTo>
                  <a:lnTo>
                    <a:pt x="9" y="22"/>
                  </a:lnTo>
                  <a:lnTo>
                    <a:pt x="6" y="20"/>
                  </a:lnTo>
                  <a:lnTo>
                    <a:pt x="0"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1" name="Freeform 720"/>
            <p:cNvSpPr>
              <a:spLocks/>
            </p:cNvSpPr>
            <p:nvPr/>
          </p:nvSpPr>
          <p:spPr bwMode="auto">
            <a:xfrm>
              <a:off x="4697417" y="4081467"/>
              <a:ext cx="331787" cy="263525"/>
            </a:xfrm>
            <a:custGeom>
              <a:avLst/>
              <a:gdLst>
                <a:gd name="T0" fmla="*/ 2147483647 w 226"/>
                <a:gd name="T1" fmla="*/ 2147483647 h 166"/>
                <a:gd name="T2" fmla="*/ 2147483647 w 226"/>
                <a:gd name="T3" fmla="*/ 2147483647 h 166"/>
                <a:gd name="T4" fmla="*/ 2147483647 w 226"/>
                <a:gd name="T5" fmla="*/ 2147483647 h 166"/>
                <a:gd name="T6" fmla="*/ 2147483647 w 226"/>
                <a:gd name="T7" fmla="*/ 2147483647 h 166"/>
                <a:gd name="T8" fmla="*/ 2147483647 w 226"/>
                <a:gd name="T9" fmla="*/ 2147483647 h 166"/>
                <a:gd name="T10" fmla="*/ 2147483647 w 226"/>
                <a:gd name="T11" fmla="*/ 2147483647 h 166"/>
                <a:gd name="T12" fmla="*/ 2147483647 w 226"/>
                <a:gd name="T13" fmla="*/ 2147483647 h 166"/>
                <a:gd name="T14" fmla="*/ 2147483647 w 226"/>
                <a:gd name="T15" fmla="*/ 2147483647 h 166"/>
                <a:gd name="T16" fmla="*/ 2147483647 w 226"/>
                <a:gd name="T17" fmla="*/ 2147483647 h 166"/>
                <a:gd name="T18" fmla="*/ 2147483647 w 226"/>
                <a:gd name="T19" fmla="*/ 2147483647 h 166"/>
                <a:gd name="T20" fmla="*/ 2147483647 w 226"/>
                <a:gd name="T21" fmla="*/ 2147483647 h 166"/>
                <a:gd name="T22" fmla="*/ 2147483647 w 226"/>
                <a:gd name="T23" fmla="*/ 2147483647 h 166"/>
                <a:gd name="T24" fmla="*/ 2147483647 w 226"/>
                <a:gd name="T25" fmla="*/ 2147483647 h 166"/>
                <a:gd name="T26" fmla="*/ 2147483647 w 226"/>
                <a:gd name="T27" fmla="*/ 2147483647 h 166"/>
                <a:gd name="T28" fmla="*/ 2147483647 w 226"/>
                <a:gd name="T29" fmla="*/ 2147483647 h 166"/>
                <a:gd name="T30" fmla="*/ 2147483647 w 226"/>
                <a:gd name="T31" fmla="*/ 2147483647 h 166"/>
                <a:gd name="T32" fmla="*/ 2147483647 w 226"/>
                <a:gd name="T33" fmla="*/ 2147483647 h 166"/>
                <a:gd name="T34" fmla="*/ 2147483647 w 226"/>
                <a:gd name="T35" fmla="*/ 2147483647 h 166"/>
                <a:gd name="T36" fmla="*/ 2147483647 w 226"/>
                <a:gd name="T37" fmla="*/ 2147483647 h 166"/>
                <a:gd name="T38" fmla="*/ 2147483647 w 226"/>
                <a:gd name="T39" fmla="*/ 2147483647 h 166"/>
                <a:gd name="T40" fmla="*/ 2147483647 w 226"/>
                <a:gd name="T41" fmla="*/ 2147483647 h 166"/>
                <a:gd name="T42" fmla="*/ 2147483647 w 226"/>
                <a:gd name="T43" fmla="*/ 2147483647 h 166"/>
                <a:gd name="T44" fmla="*/ 2147483647 w 226"/>
                <a:gd name="T45" fmla="*/ 2147483647 h 166"/>
                <a:gd name="T46" fmla="*/ 2147483647 w 226"/>
                <a:gd name="T47" fmla="*/ 0 h 166"/>
                <a:gd name="T48" fmla="*/ 2147483647 w 226"/>
                <a:gd name="T49" fmla="*/ 2147483647 h 166"/>
                <a:gd name="T50" fmla="*/ 2147483647 w 226"/>
                <a:gd name="T51" fmla="*/ 2147483647 h 166"/>
                <a:gd name="T52" fmla="*/ 2147483647 w 226"/>
                <a:gd name="T53" fmla="*/ 2147483647 h 166"/>
                <a:gd name="T54" fmla="*/ 2147483647 w 226"/>
                <a:gd name="T55" fmla="*/ 2147483647 h 166"/>
                <a:gd name="T56" fmla="*/ 2147483647 w 226"/>
                <a:gd name="T57" fmla="*/ 2147483647 h 166"/>
                <a:gd name="T58" fmla="*/ 2147483647 w 226"/>
                <a:gd name="T59" fmla="*/ 2147483647 h 166"/>
                <a:gd name="T60" fmla="*/ 2147483647 w 226"/>
                <a:gd name="T61" fmla="*/ 2147483647 h 166"/>
                <a:gd name="T62" fmla="*/ 2147483647 w 226"/>
                <a:gd name="T63" fmla="*/ 2147483647 h 166"/>
                <a:gd name="T64" fmla="*/ 2147483647 w 226"/>
                <a:gd name="T65" fmla="*/ 2147483647 h 166"/>
                <a:gd name="T66" fmla="*/ 2147483647 w 226"/>
                <a:gd name="T67" fmla="*/ 2147483647 h 166"/>
                <a:gd name="T68" fmla="*/ 2147483647 w 226"/>
                <a:gd name="T69" fmla="*/ 2147483647 h 166"/>
                <a:gd name="T70" fmla="*/ 2147483647 w 226"/>
                <a:gd name="T71" fmla="*/ 2147483647 h 166"/>
                <a:gd name="T72" fmla="*/ 2147483647 w 226"/>
                <a:gd name="T73" fmla="*/ 2147483647 h 166"/>
                <a:gd name="T74" fmla="*/ 2147483647 w 226"/>
                <a:gd name="T75" fmla="*/ 2147483647 h 166"/>
                <a:gd name="T76" fmla="*/ 2147483647 w 226"/>
                <a:gd name="T77" fmla="*/ 2147483647 h 166"/>
                <a:gd name="T78" fmla="*/ 2147483647 w 226"/>
                <a:gd name="T79" fmla="*/ 2147483647 h 166"/>
                <a:gd name="T80" fmla="*/ 2147483647 w 226"/>
                <a:gd name="T81" fmla="*/ 2147483647 h 166"/>
                <a:gd name="T82" fmla="*/ 2147483647 w 226"/>
                <a:gd name="T83" fmla="*/ 2147483647 h 166"/>
                <a:gd name="T84" fmla="*/ 2147483647 w 226"/>
                <a:gd name="T85" fmla="*/ 2147483647 h 166"/>
                <a:gd name="T86" fmla="*/ 2147483647 w 226"/>
                <a:gd name="T87" fmla="*/ 2147483647 h 166"/>
                <a:gd name="T88" fmla="*/ 2147483647 w 226"/>
                <a:gd name="T89" fmla="*/ 2147483647 h 166"/>
                <a:gd name="T90" fmla="*/ 2147483647 w 226"/>
                <a:gd name="T91" fmla="*/ 2147483647 h 166"/>
                <a:gd name="T92" fmla="*/ 2147483647 w 226"/>
                <a:gd name="T93" fmla="*/ 2147483647 h 166"/>
                <a:gd name="T94" fmla="*/ 2147483647 w 226"/>
                <a:gd name="T95" fmla="*/ 2147483647 h 166"/>
                <a:gd name="T96" fmla="*/ 2147483647 w 226"/>
                <a:gd name="T97" fmla="*/ 2147483647 h 166"/>
                <a:gd name="T98" fmla="*/ 2147483647 w 226"/>
                <a:gd name="T99" fmla="*/ 2147483647 h 166"/>
                <a:gd name="T100" fmla="*/ 2147483647 w 226"/>
                <a:gd name="T101" fmla="*/ 2147483647 h 1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6"/>
                <a:gd name="T154" fmla="*/ 0 h 166"/>
                <a:gd name="T155" fmla="*/ 226 w 226"/>
                <a:gd name="T156" fmla="*/ 166 h 1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6" h="166">
                  <a:moveTo>
                    <a:pt x="77" y="138"/>
                  </a:moveTo>
                  <a:lnTo>
                    <a:pt x="77" y="138"/>
                  </a:lnTo>
                  <a:lnTo>
                    <a:pt x="65" y="140"/>
                  </a:lnTo>
                  <a:lnTo>
                    <a:pt x="56" y="144"/>
                  </a:lnTo>
                  <a:lnTo>
                    <a:pt x="54" y="146"/>
                  </a:lnTo>
                  <a:lnTo>
                    <a:pt x="51" y="150"/>
                  </a:lnTo>
                  <a:lnTo>
                    <a:pt x="47" y="157"/>
                  </a:lnTo>
                  <a:lnTo>
                    <a:pt x="44" y="163"/>
                  </a:lnTo>
                  <a:lnTo>
                    <a:pt x="42" y="165"/>
                  </a:lnTo>
                  <a:lnTo>
                    <a:pt x="41" y="165"/>
                  </a:lnTo>
                  <a:lnTo>
                    <a:pt x="35" y="166"/>
                  </a:lnTo>
                  <a:lnTo>
                    <a:pt x="27" y="166"/>
                  </a:lnTo>
                  <a:lnTo>
                    <a:pt x="26" y="158"/>
                  </a:lnTo>
                  <a:lnTo>
                    <a:pt x="27" y="147"/>
                  </a:lnTo>
                  <a:lnTo>
                    <a:pt x="27" y="142"/>
                  </a:lnTo>
                  <a:lnTo>
                    <a:pt x="26" y="137"/>
                  </a:lnTo>
                  <a:lnTo>
                    <a:pt x="19" y="131"/>
                  </a:lnTo>
                  <a:lnTo>
                    <a:pt x="13" y="126"/>
                  </a:lnTo>
                  <a:lnTo>
                    <a:pt x="7" y="120"/>
                  </a:lnTo>
                  <a:lnTo>
                    <a:pt x="4" y="117"/>
                  </a:lnTo>
                  <a:lnTo>
                    <a:pt x="3" y="112"/>
                  </a:lnTo>
                  <a:lnTo>
                    <a:pt x="0" y="102"/>
                  </a:lnTo>
                  <a:lnTo>
                    <a:pt x="0" y="93"/>
                  </a:lnTo>
                  <a:lnTo>
                    <a:pt x="2" y="88"/>
                  </a:lnTo>
                  <a:lnTo>
                    <a:pt x="3" y="83"/>
                  </a:lnTo>
                  <a:lnTo>
                    <a:pt x="7" y="80"/>
                  </a:lnTo>
                  <a:lnTo>
                    <a:pt x="11" y="76"/>
                  </a:lnTo>
                  <a:lnTo>
                    <a:pt x="14" y="75"/>
                  </a:lnTo>
                  <a:lnTo>
                    <a:pt x="17" y="74"/>
                  </a:lnTo>
                  <a:lnTo>
                    <a:pt x="21" y="73"/>
                  </a:lnTo>
                  <a:lnTo>
                    <a:pt x="30" y="68"/>
                  </a:lnTo>
                  <a:lnTo>
                    <a:pt x="37" y="63"/>
                  </a:lnTo>
                  <a:lnTo>
                    <a:pt x="44" y="62"/>
                  </a:lnTo>
                  <a:lnTo>
                    <a:pt x="49" y="62"/>
                  </a:lnTo>
                  <a:lnTo>
                    <a:pt x="60" y="62"/>
                  </a:lnTo>
                  <a:lnTo>
                    <a:pt x="64" y="62"/>
                  </a:lnTo>
                  <a:lnTo>
                    <a:pt x="66" y="61"/>
                  </a:lnTo>
                  <a:lnTo>
                    <a:pt x="70" y="59"/>
                  </a:lnTo>
                  <a:lnTo>
                    <a:pt x="73" y="57"/>
                  </a:lnTo>
                  <a:lnTo>
                    <a:pt x="83" y="54"/>
                  </a:lnTo>
                  <a:lnTo>
                    <a:pt x="91" y="49"/>
                  </a:lnTo>
                  <a:lnTo>
                    <a:pt x="97" y="43"/>
                  </a:lnTo>
                  <a:lnTo>
                    <a:pt x="102" y="35"/>
                  </a:lnTo>
                  <a:lnTo>
                    <a:pt x="103" y="32"/>
                  </a:lnTo>
                  <a:lnTo>
                    <a:pt x="106" y="31"/>
                  </a:lnTo>
                  <a:lnTo>
                    <a:pt x="112" y="29"/>
                  </a:lnTo>
                  <a:lnTo>
                    <a:pt x="118" y="27"/>
                  </a:lnTo>
                  <a:lnTo>
                    <a:pt x="121" y="25"/>
                  </a:lnTo>
                  <a:lnTo>
                    <a:pt x="124" y="23"/>
                  </a:lnTo>
                  <a:lnTo>
                    <a:pt x="132" y="16"/>
                  </a:lnTo>
                  <a:lnTo>
                    <a:pt x="136" y="12"/>
                  </a:lnTo>
                  <a:lnTo>
                    <a:pt x="140" y="9"/>
                  </a:lnTo>
                  <a:lnTo>
                    <a:pt x="144" y="6"/>
                  </a:lnTo>
                  <a:lnTo>
                    <a:pt x="146" y="4"/>
                  </a:lnTo>
                  <a:lnTo>
                    <a:pt x="149" y="3"/>
                  </a:lnTo>
                  <a:lnTo>
                    <a:pt x="150" y="0"/>
                  </a:lnTo>
                  <a:lnTo>
                    <a:pt x="154" y="2"/>
                  </a:lnTo>
                  <a:lnTo>
                    <a:pt x="157" y="3"/>
                  </a:lnTo>
                  <a:lnTo>
                    <a:pt x="158" y="4"/>
                  </a:lnTo>
                  <a:lnTo>
                    <a:pt x="158" y="10"/>
                  </a:lnTo>
                  <a:lnTo>
                    <a:pt x="158" y="16"/>
                  </a:lnTo>
                  <a:lnTo>
                    <a:pt x="158" y="22"/>
                  </a:lnTo>
                  <a:lnTo>
                    <a:pt x="160" y="28"/>
                  </a:lnTo>
                  <a:lnTo>
                    <a:pt x="162" y="32"/>
                  </a:lnTo>
                  <a:lnTo>
                    <a:pt x="163" y="37"/>
                  </a:lnTo>
                  <a:lnTo>
                    <a:pt x="163" y="42"/>
                  </a:lnTo>
                  <a:lnTo>
                    <a:pt x="163" y="47"/>
                  </a:lnTo>
                  <a:lnTo>
                    <a:pt x="165" y="49"/>
                  </a:lnTo>
                  <a:lnTo>
                    <a:pt x="168" y="51"/>
                  </a:lnTo>
                  <a:lnTo>
                    <a:pt x="174" y="55"/>
                  </a:lnTo>
                  <a:lnTo>
                    <a:pt x="181" y="57"/>
                  </a:lnTo>
                  <a:lnTo>
                    <a:pt x="188" y="60"/>
                  </a:lnTo>
                  <a:lnTo>
                    <a:pt x="190" y="62"/>
                  </a:lnTo>
                  <a:lnTo>
                    <a:pt x="192" y="64"/>
                  </a:lnTo>
                  <a:lnTo>
                    <a:pt x="209" y="76"/>
                  </a:lnTo>
                  <a:lnTo>
                    <a:pt x="216" y="82"/>
                  </a:lnTo>
                  <a:lnTo>
                    <a:pt x="219" y="87"/>
                  </a:lnTo>
                  <a:lnTo>
                    <a:pt x="221" y="91"/>
                  </a:lnTo>
                  <a:lnTo>
                    <a:pt x="224" y="99"/>
                  </a:lnTo>
                  <a:lnTo>
                    <a:pt x="225" y="104"/>
                  </a:lnTo>
                  <a:lnTo>
                    <a:pt x="226" y="107"/>
                  </a:lnTo>
                  <a:lnTo>
                    <a:pt x="223" y="106"/>
                  </a:lnTo>
                  <a:lnTo>
                    <a:pt x="219" y="105"/>
                  </a:lnTo>
                  <a:lnTo>
                    <a:pt x="212" y="104"/>
                  </a:lnTo>
                  <a:lnTo>
                    <a:pt x="209" y="102"/>
                  </a:lnTo>
                  <a:lnTo>
                    <a:pt x="206" y="102"/>
                  </a:lnTo>
                  <a:lnTo>
                    <a:pt x="201" y="104"/>
                  </a:lnTo>
                  <a:lnTo>
                    <a:pt x="196" y="107"/>
                  </a:lnTo>
                  <a:lnTo>
                    <a:pt x="191" y="111"/>
                  </a:lnTo>
                  <a:lnTo>
                    <a:pt x="188" y="112"/>
                  </a:lnTo>
                  <a:lnTo>
                    <a:pt x="184" y="113"/>
                  </a:lnTo>
                  <a:lnTo>
                    <a:pt x="177" y="114"/>
                  </a:lnTo>
                  <a:lnTo>
                    <a:pt x="169" y="113"/>
                  </a:lnTo>
                  <a:lnTo>
                    <a:pt x="162" y="111"/>
                  </a:lnTo>
                  <a:lnTo>
                    <a:pt x="159" y="110"/>
                  </a:lnTo>
                  <a:lnTo>
                    <a:pt x="158" y="111"/>
                  </a:lnTo>
                  <a:lnTo>
                    <a:pt x="154" y="115"/>
                  </a:lnTo>
                  <a:lnTo>
                    <a:pt x="150" y="118"/>
                  </a:lnTo>
                  <a:lnTo>
                    <a:pt x="146" y="119"/>
                  </a:lnTo>
                  <a:lnTo>
                    <a:pt x="137" y="120"/>
                  </a:lnTo>
                  <a:lnTo>
                    <a:pt x="129" y="120"/>
                  </a:lnTo>
                  <a:lnTo>
                    <a:pt x="122" y="119"/>
                  </a:lnTo>
                  <a:lnTo>
                    <a:pt x="120" y="118"/>
                  </a:lnTo>
                  <a:lnTo>
                    <a:pt x="117" y="117"/>
                  </a:lnTo>
                  <a:lnTo>
                    <a:pt x="115" y="113"/>
                  </a:lnTo>
                  <a:lnTo>
                    <a:pt x="111" y="108"/>
                  </a:lnTo>
                  <a:lnTo>
                    <a:pt x="108" y="108"/>
                  </a:lnTo>
                  <a:lnTo>
                    <a:pt x="104" y="107"/>
                  </a:lnTo>
                  <a:lnTo>
                    <a:pt x="98" y="106"/>
                  </a:lnTo>
                  <a:lnTo>
                    <a:pt x="96" y="105"/>
                  </a:lnTo>
                  <a:lnTo>
                    <a:pt x="94" y="106"/>
                  </a:lnTo>
                  <a:lnTo>
                    <a:pt x="91" y="114"/>
                  </a:lnTo>
                  <a:lnTo>
                    <a:pt x="88" y="118"/>
                  </a:lnTo>
                  <a:lnTo>
                    <a:pt x="83" y="120"/>
                  </a:lnTo>
                  <a:lnTo>
                    <a:pt x="82" y="129"/>
                  </a:lnTo>
                  <a:lnTo>
                    <a:pt x="80" y="130"/>
                  </a:lnTo>
                  <a:lnTo>
                    <a:pt x="79" y="131"/>
                  </a:lnTo>
                  <a:lnTo>
                    <a:pt x="77" y="132"/>
                  </a:lnTo>
                  <a:lnTo>
                    <a:pt x="77" y="133"/>
                  </a:lnTo>
                  <a:lnTo>
                    <a:pt x="77" y="13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2" name="Freeform 721"/>
            <p:cNvSpPr>
              <a:spLocks/>
            </p:cNvSpPr>
            <p:nvPr/>
          </p:nvSpPr>
          <p:spPr bwMode="auto">
            <a:xfrm>
              <a:off x="4887917" y="3689350"/>
              <a:ext cx="439737" cy="617538"/>
            </a:xfrm>
            <a:custGeom>
              <a:avLst/>
              <a:gdLst>
                <a:gd name="T0" fmla="*/ 2147483647 w 300"/>
                <a:gd name="T1" fmla="*/ 2147483647 h 389"/>
                <a:gd name="T2" fmla="*/ 2147483647 w 300"/>
                <a:gd name="T3" fmla="*/ 2147483647 h 389"/>
                <a:gd name="T4" fmla="*/ 2147483647 w 300"/>
                <a:gd name="T5" fmla="*/ 2147483647 h 389"/>
                <a:gd name="T6" fmla="*/ 2147483647 w 300"/>
                <a:gd name="T7" fmla="*/ 2147483647 h 389"/>
                <a:gd name="T8" fmla="*/ 2147483647 w 300"/>
                <a:gd name="T9" fmla="*/ 2147483647 h 389"/>
                <a:gd name="T10" fmla="*/ 2147483647 w 300"/>
                <a:gd name="T11" fmla="*/ 2147483647 h 389"/>
                <a:gd name="T12" fmla="*/ 2147483647 w 300"/>
                <a:gd name="T13" fmla="*/ 2147483647 h 389"/>
                <a:gd name="T14" fmla="*/ 2147483647 w 300"/>
                <a:gd name="T15" fmla="*/ 2147483647 h 389"/>
                <a:gd name="T16" fmla="*/ 2147483647 w 300"/>
                <a:gd name="T17" fmla="*/ 2147483647 h 389"/>
                <a:gd name="T18" fmla="*/ 2147483647 w 300"/>
                <a:gd name="T19" fmla="*/ 2147483647 h 389"/>
                <a:gd name="T20" fmla="*/ 2147483647 w 300"/>
                <a:gd name="T21" fmla="*/ 2147483647 h 389"/>
                <a:gd name="T22" fmla="*/ 2147483647 w 300"/>
                <a:gd name="T23" fmla="*/ 2147483647 h 389"/>
                <a:gd name="T24" fmla="*/ 2147483647 w 300"/>
                <a:gd name="T25" fmla="*/ 2147483647 h 389"/>
                <a:gd name="T26" fmla="*/ 2147483647 w 300"/>
                <a:gd name="T27" fmla="*/ 2147483647 h 389"/>
                <a:gd name="T28" fmla="*/ 2147483647 w 300"/>
                <a:gd name="T29" fmla="*/ 2147483647 h 389"/>
                <a:gd name="T30" fmla="*/ 2147483647 w 300"/>
                <a:gd name="T31" fmla="*/ 2147483647 h 389"/>
                <a:gd name="T32" fmla="*/ 2147483647 w 300"/>
                <a:gd name="T33" fmla="*/ 2147483647 h 389"/>
                <a:gd name="T34" fmla="*/ 2147483647 w 300"/>
                <a:gd name="T35" fmla="*/ 2147483647 h 389"/>
                <a:gd name="T36" fmla="*/ 2147483647 w 300"/>
                <a:gd name="T37" fmla="*/ 2147483647 h 389"/>
                <a:gd name="T38" fmla="*/ 2147483647 w 300"/>
                <a:gd name="T39" fmla="*/ 0 h 389"/>
                <a:gd name="T40" fmla="*/ 2147483647 w 300"/>
                <a:gd name="T41" fmla="*/ 2147483647 h 389"/>
                <a:gd name="T42" fmla="*/ 2147483647 w 300"/>
                <a:gd name="T43" fmla="*/ 2147483647 h 389"/>
                <a:gd name="T44" fmla="*/ 2147483647 w 300"/>
                <a:gd name="T45" fmla="*/ 2147483647 h 389"/>
                <a:gd name="T46" fmla="*/ 2147483647 w 300"/>
                <a:gd name="T47" fmla="*/ 2147483647 h 389"/>
                <a:gd name="T48" fmla="*/ 2147483647 w 300"/>
                <a:gd name="T49" fmla="*/ 2147483647 h 389"/>
                <a:gd name="T50" fmla="*/ 2147483647 w 300"/>
                <a:gd name="T51" fmla="*/ 2147483647 h 389"/>
                <a:gd name="T52" fmla="*/ 2147483647 w 300"/>
                <a:gd name="T53" fmla="*/ 2147483647 h 389"/>
                <a:gd name="T54" fmla="*/ 2147483647 w 300"/>
                <a:gd name="T55" fmla="*/ 2147483647 h 389"/>
                <a:gd name="T56" fmla="*/ 2147483647 w 300"/>
                <a:gd name="T57" fmla="*/ 2147483647 h 389"/>
                <a:gd name="T58" fmla="*/ 2147483647 w 300"/>
                <a:gd name="T59" fmla="*/ 2147483647 h 389"/>
                <a:gd name="T60" fmla="*/ 2147483647 w 300"/>
                <a:gd name="T61" fmla="*/ 2147483647 h 389"/>
                <a:gd name="T62" fmla="*/ 2147483647 w 300"/>
                <a:gd name="T63" fmla="*/ 2147483647 h 389"/>
                <a:gd name="T64" fmla="*/ 2147483647 w 300"/>
                <a:gd name="T65" fmla="*/ 2147483647 h 389"/>
                <a:gd name="T66" fmla="*/ 2147483647 w 300"/>
                <a:gd name="T67" fmla="*/ 2147483647 h 389"/>
                <a:gd name="T68" fmla="*/ 2147483647 w 300"/>
                <a:gd name="T69" fmla="*/ 2147483647 h 389"/>
                <a:gd name="T70" fmla="*/ 2147483647 w 300"/>
                <a:gd name="T71" fmla="*/ 2147483647 h 389"/>
                <a:gd name="T72" fmla="*/ 2147483647 w 300"/>
                <a:gd name="T73" fmla="*/ 2147483647 h 389"/>
                <a:gd name="T74" fmla="*/ 2147483647 w 300"/>
                <a:gd name="T75" fmla="*/ 2147483647 h 389"/>
                <a:gd name="T76" fmla="*/ 2147483647 w 300"/>
                <a:gd name="T77" fmla="*/ 2147483647 h 389"/>
                <a:gd name="T78" fmla="*/ 2147483647 w 300"/>
                <a:gd name="T79" fmla="*/ 2147483647 h 389"/>
                <a:gd name="T80" fmla="*/ 2147483647 w 300"/>
                <a:gd name="T81" fmla="*/ 2147483647 h 389"/>
                <a:gd name="T82" fmla="*/ 2147483647 w 300"/>
                <a:gd name="T83" fmla="*/ 2147483647 h 389"/>
                <a:gd name="T84" fmla="*/ 2147483647 w 300"/>
                <a:gd name="T85" fmla="*/ 2147483647 h 389"/>
                <a:gd name="T86" fmla="*/ 2147483647 w 300"/>
                <a:gd name="T87" fmla="*/ 2147483647 h 389"/>
                <a:gd name="T88" fmla="*/ 2147483647 w 300"/>
                <a:gd name="T89" fmla="*/ 2147483647 h 389"/>
                <a:gd name="T90" fmla="*/ 2147483647 w 300"/>
                <a:gd name="T91" fmla="*/ 2147483647 h 389"/>
                <a:gd name="T92" fmla="*/ 2147483647 w 300"/>
                <a:gd name="T93" fmla="*/ 2147483647 h 389"/>
                <a:gd name="T94" fmla="*/ 2147483647 w 300"/>
                <a:gd name="T95" fmla="*/ 2147483647 h 3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0"/>
                <a:gd name="T145" fmla="*/ 0 h 389"/>
                <a:gd name="T146" fmla="*/ 300 w 300"/>
                <a:gd name="T147" fmla="*/ 389 h 3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0" h="389">
                  <a:moveTo>
                    <a:pt x="251" y="358"/>
                  </a:moveTo>
                  <a:lnTo>
                    <a:pt x="251" y="353"/>
                  </a:lnTo>
                  <a:lnTo>
                    <a:pt x="249" y="351"/>
                  </a:lnTo>
                  <a:lnTo>
                    <a:pt x="245" y="348"/>
                  </a:lnTo>
                  <a:lnTo>
                    <a:pt x="239" y="347"/>
                  </a:lnTo>
                  <a:lnTo>
                    <a:pt x="239" y="345"/>
                  </a:lnTo>
                  <a:lnTo>
                    <a:pt x="237" y="342"/>
                  </a:lnTo>
                  <a:lnTo>
                    <a:pt x="237" y="338"/>
                  </a:lnTo>
                  <a:lnTo>
                    <a:pt x="236" y="332"/>
                  </a:lnTo>
                  <a:lnTo>
                    <a:pt x="232" y="325"/>
                  </a:lnTo>
                  <a:lnTo>
                    <a:pt x="227" y="317"/>
                  </a:lnTo>
                  <a:lnTo>
                    <a:pt x="218" y="311"/>
                  </a:lnTo>
                  <a:lnTo>
                    <a:pt x="204" y="304"/>
                  </a:lnTo>
                  <a:lnTo>
                    <a:pt x="203" y="303"/>
                  </a:lnTo>
                  <a:lnTo>
                    <a:pt x="201" y="302"/>
                  </a:lnTo>
                  <a:lnTo>
                    <a:pt x="201" y="297"/>
                  </a:lnTo>
                  <a:lnTo>
                    <a:pt x="201" y="293"/>
                  </a:lnTo>
                  <a:lnTo>
                    <a:pt x="204" y="289"/>
                  </a:lnTo>
                  <a:lnTo>
                    <a:pt x="206" y="289"/>
                  </a:lnTo>
                  <a:lnTo>
                    <a:pt x="209" y="289"/>
                  </a:lnTo>
                  <a:lnTo>
                    <a:pt x="212" y="289"/>
                  </a:lnTo>
                  <a:lnTo>
                    <a:pt x="214" y="288"/>
                  </a:lnTo>
                  <a:lnTo>
                    <a:pt x="217" y="287"/>
                  </a:lnTo>
                  <a:lnTo>
                    <a:pt x="220" y="284"/>
                  </a:lnTo>
                  <a:lnTo>
                    <a:pt x="221" y="278"/>
                  </a:lnTo>
                  <a:lnTo>
                    <a:pt x="222" y="265"/>
                  </a:lnTo>
                  <a:lnTo>
                    <a:pt x="222" y="258"/>
                  </a:lnTo>
                  <a:lnTo>
                    <a:pt x="222" y="251"/>
                  </a:lnTo>
                  <a:lnTo>
                    <a:pt x="222" y="249"/>
                  </a:lnTo>
                  <a:lnTo>
                    <a:pt x="223" y="246"/>
                  </a:lnTo>
                  <a:lnTo>
                    <a:pt x="227" y="245"/>
                  </a:lnTo>
                  <a:lnTo>
                    <a:pt x="231" y="244"/>
                  </a:lnTo>
                  <a:lnTo>
                    <a:pt x="234" y="244"/>
                  </a:lnTo>
                  <a:lnTo>
                    <a:pt x="234" y="243"/>
                  </a:lnTo>
                  <a:lnTo>
                    <a:pt x="236" y="232"/>
                  </a:lnTo>
                  <a:lnTo>
                    <a:pt x="237" y="225"/>
                  </a:lnTo>
                  <a:lnTo>
                    <a:pt x="239" y="215"/>
                  </a:lnTo>
                  <a:lnTo>
                    <a:pt x="241" y="212"/>
                  </a:lnTo>
                  <a:lnTo>
                    <a:pt x="245" y="208"/>
                  </a:lnTo>
                  <a:lnTo>
                    <a:pt x="259" y="196"/>
                  </a:lnTo>
                  <a:lnTo>
                    <a:pt x="263" y="193"/>
                  </a:lnTo>
                  <a:lnTo>
                    <a:pt x="264" y="191"/>
                  </a:lnTo>
                  <a:lnTo>
                    <a:pt x="264" y="189"/>
                  </a:lnTo>
                  <a:lnTo>
                    <a:pt x="261" y="182"/>
                  </a:lnTo>
                  <a:lnTo>
                    <a:pt x="260" y="174"/>
                  </a:lnTo>
                  <a:lnTo>
                    <a:pt x="260" y="166"/>
                  </a:lnTo>
                  <a:lnTo>
                    <a:pt x="260" y="157"/>
                  </a:lnTo>
                  <a:lnTo>
                    <a:pt x="261" y="148"/>
                  </a:lnTo>
                  <a:lnTo>
                    <a:pt x="264" y="140"/>
                  </a:lnTo>
                  <a:lnTo>
                    <a:pt x="268" y="131"/>
                  </a:lnTo>
                  <a:lnTo>
                    <a:pt x="273" y="125"/>
                  </a:lnTo>
                  <a:lnTo>
                    <a:pt x="275" y="123"/>
                  </a:lnTo>
                  <a:lnTo>
                    <a:pt x="278" y="122"/>
                  </a:lnTo>
                  <a:lnTo>
                    <a:pt x="286" y="118"/>
                  </a:lnTo>
                  <a:lnTo>
                    <a:pt x="289" y="117"/>
                  </a:lnTo>
                  <a:lnTo>
                    <a:pt x="292" y="115"/>
                  </a:lnTo>
                  <a:lnTo>
                    <a:pt x="296" y="111"/>
                  </a:lnTo>
                  <a:lnTo>
                    <a:pt x="300" y="105"/>
                  </a:lnTo>
                  <a:lnTo>
                    <a:pt x="293" y="99"/>
                  </a:lnTo>
                  <a:lnTo>
                    <a:pt x="287" y="93"/>
                  </a:lnTo>
                  <a:lnTo>
                    <a:pt x="281" y="87"/>
                  </a:lnTo>
                  <a:lnTo>
                    <a:pt x="278" y="85"/>
                  </a:lnTo>
                  <a:lnTo>
                    <a:pt x="277" y="81"/>
                  </a:lnTo>
                  <a:lnTo>
                    <a:pt x="277" y="76"/>
                  </a:lnTo>
                  <a:lnTo>
                    <a:pt x="277" y="70"/>
                  </a:lnTo>
                  <a:lnTo>
                    <a:pt x="277" y="64"/>
                  </a:lnTo>
                  <a:lnTo>
                    <a:pt x="277" y="58"/>
                  </a:lnTo>
                  <a:lnTo>
                    <a:pt x="275" y="55"/>
                  </a:lnTo>
                  <a:lnTo>
                    <a:pt x="273" y="52"/>
                  </a:lnTo>
                  <a:lnTo>
                    <a:pt x="272" y="49"/>
                  </a:lnTo>
                  <a:lnTo>
                    <a:pt x="270" y="47"/>
                  </a:lnTo>
                  <a:lnTo>
                    <a:pt x="272" y="39"/>
                  </a:lnTo>
                  <a:lnTo>
                    <a:pt x="270" y="32"/>
                  </a:lnTo>
                  <a:lnTo>
                    <a:pt x="268" y="25"/>
                  </a:lnTo>
                  <a:lnTo>
                    <a:pt x="267" y="21"/>
                  </a:lnTo>
                  <a:lnTo>
                    <a:pt x="263" y="20"/>
                  </a:lnTo>
                  <a:lnTo>
                    <a:pt x="254" y="13"/>
                  </a:lnTo>
                  <a:lnTo>
                    <a:pt x="247" y="8"/>
                  </a:lnTo>
                  <a:lnTo>
                    <a:pt x="246" y="4"/>
                  </a:lnTo>
                  <a:lnTo>
                    <a:pt x="246" y="0"/>
                  </a:lnTo>
                  <a:lnTo>
                    <a:pt x="235" y="0"/>
                  </a:lnTo>
                  <a:lnTo>
                    <a:pt x="228" y="1"/>
                  </a:lnTo>
                  <a:lnTo>
                    <a:pt x="227" y="1"/>
                  </a:lnTo>
                  <a:lnTo>
                    <a:pt x="226" y="2"/>
                  </a:lnTo>
                  <a:lnTo>
                    <a:pt x="222" y="12"/>
                  </a:lnTo>
                  <a:lnTo>
                    <a:pt x="220" y="15"/>
                  </a:lnTo>
                  <a:lnTo>
                    <a:pt x="218" y="17"/>
                  </a:lnTo>
                  <a:lnTo>
                    <a:pt x="216" y="19"/>
                  </a:lnTo>
                  <a:lnTo>
                    <a:pt x="214" y="19"/>
                  </a:lnTo>
                  <a:lnTo>
                    <a:pt x="214" y="21"/>
                  </a:lnTo>
                  <a:lnTo>
                    <a:pt x="214" y="25"/>
                  </a:lnTo>
                  <a:lnTo>
                    <a:pt x="212" y="26"/>
                  </a:lnTo>
                  <a:lnTo>
                    <a:pt x="208" y="27"/>
                  </a:lnTo>
                  <a:lnTo>
                    <a:pt x="204" y="26"/>
                  </a:lnTo>
                  <a:lnTo>
                    <a:pt x="202" y="23"/>
                  </a:lnTo>
                  <a:lnTo>
                    <a:pt x="199" y="20"/>
                  </a:lnTo>
                  <a:lnTo>
                    <a:pt x="65" y="22"/>
                  </a:lnTo>
                  <a:lnTo>
                    <a:pt x="63" y="59"/>
                  </a:lnTo>
                  <a:lnTo>
                    <a:pt x="54" y="61"/>
                  </a:lnTo>
                  <a:lnTo>
                    <a:pt x="53" y="76"/>
                  </a:lnTo>
                  <a:lnTo>
                    <a:pt x="52" y="138"/>
                  </a:lnTo>
                  <a:lnTo>
                    <a:pt x="49" y="147"/>
                  </a:lnTo>
                  <a:lnTo>
                    <a:pt x="47" y="149"/>
                  </a:lnTo>
                  <a:lnTo>
                    <a:pt x="46" y="150"/>
                  </a:lnTo>
                  <a:lnTo>
                    <a:pt x="44" y="150"/>
                  </a:lnTo>
                  <a:lnTo>
                    <a:pt x="39" y="148"/>
                  </a:lnTo>
                  <a:lnTo>
                    <a:pt x="34" y="148"/>
                  </a:lnTo>
                  <a:lnTo>
                    <a:pt x="29" y="148"/>
                  </a:lnTo>
                  <a:lnTo>
                    <a:pt x="28" y="150"/>
                  </a:lnTo>
                  <a:lnTo>
                    <a:pt x="27" y="153"/>
                  </a:lnTo>
                  <a:lnTo>
                    <a:pt x="27" y="159"/>
                  </a:lnTo>
                  <a:lnTo>
                    <a:pt x="25" y="161"/>
                  </a:lnTo>
                  <a:lnTo>
                    <a:pt x="25" y="163"/>
                  </a:lnTo>
                  <a:lnTo>
                    <a:pt x="21" y="170"/>
                  </a:lnTo>
                  <a:lnTo>
                    <a:pt x="19" y="179"/>
                  </a:lnTo>
                  <a:lnTo>
                    <a:pt x="16" y="186"/>
                  </a:lnTo>
                  <a:lnTo>
                    <a:pt x="13" y="193"/>
                  </a:lnTo>
                  <a:lnTo>
                    <a:pt x="11" y="196"/>
                  </a:lnTo>
                  <a:lnTo>
                    <a:pt x="9" y="199"/>
                  </a:lnTo>
                  <a:lnTo>
                    <a:pt x="5" y="202"/>
                  </a:lnTo>
                  <a:lnTo>
                    <a:pt x="2" y="206"/>
                  </a:lnTo>
                  <a:lnTo>
                    <a:pt x="0" y="210"/>
                  </a:lnTo>
                  <a:lnTo>
                    <a:pt x="1" y="213"/>
                  </a:lnTo>
                  <a:lnTo>
                    <a:pt x="1" y="215"/>
                  </a:lnTo>
                  <a:lnTo>
                    <a:pt x="2" y="217"/>
                  </a:lnTo>
                  <a:lnTo>
                    <a:pt x="6" y="217"/>
                  </a:lnTo>
                  <a:lnTo>
                    <a:pt x="10" y="217"/>
                  </a:lnTo>
                  <a:lnTo>
                    <a:pt x="14" y="217"/>
                  </a:lnTo>
                  <a:lnTo>
                    <a:pt x="15" y="217"/>
                  </a:lnTo>
                  <a:lnTo>
                    <a:pt x="16" y="218"/>
                  </a:lnTo>
                  <a:lnTo>
                    <a:pt x="16" y="225"/>
                  </a:lnTo>
                  <a:lnTo>
                    <a:pt x="18" y="233"/>
                  </a:lnTo>
                  <a:lnTo>
                    <a:pt x="20" y="240"/>
                  </a:lnTo>
                  <a:lnTo>
                    <a:pt x="21" y="244"/>
                  </a:lnTo>
                  <a:lnTo>
                    <a:pt x="21" y="249"/>
                  </a:lnTo>
                  <a:lnTo>
                    <a:pt x="25" y="250"/>
                  </a:lnTo>
                  <a:lnTo>
                    <a:pt x="28" y="251"/>
                  </a:lnTo>
                  <a:lnTo>
                    <a:pt x="29" y="252"/>
                  </a:lnTo>
                  <a:lnTo>
                    <a:pt x="29" y="258"/>
                  </a:lnTo>
                  <a:lnTo>
                    <a:pt x="29" y="264"/>
                  </a:lnTo>
                  <a:lnTo>
                    <a:pt x="29" y="270"/>
                  </a:lnTo>
                  <a:lnTo>
                    <a:pt x="32" y="276"/>
                  </a:lnTo>
                  <a:lnTo>
                    <a:pt x="33" y="281"/>
                  </a:lnTo>
                  <a:lnTo>
                    <a:pt x="34" y="285"/>
                  </a:lnTo>
                  <a:lnTo>
                    <a:pt x="34" y="290"/>
                  </a:lnTo>
                  <a:lnTo>
                    <a:pt x="34" y="295"/>
                  </a:lnTo>
                  <a:lnTo>
                    <a:pt x="37" y="297"/>
                  </a:lnTo>
                  <a:lnTo>
                    <a:pt x="39" y="300"/>
                  </a:lnTo>
                  <a:lnTo>
                    <a:pt x="46" y="303"/>
                  </a:lnTo>
                  <a:lnTo>
                    <a:pt x="52" y="306"/>
                  </a:lnTo>
                  <a:lnTo>
                    <a:pt x="60" y="308"/>
                  </a:lnTo>
                  <a:lnTo>
                    <a:pt x="61" y="310"/>
                  </a:lnTo>
                  <a:lnTo>
                    <a:pt x="63" y="313"/>
                  </a:lnTo>
                  <a:lnTo>
                    <a:pt x="80" y="325"/>
                  </a:lnTo>
                  <a:lnTo>
                    <a:pt x="87" y="330"/>
                  </a:lnTo>
                  <a:lnTo>
                    <a:pt x="90" y="335"/>
                  </a:lnTo>
                  <a:lnTo>
                    <a:pt x="93" y="339"/>
                  </a:lnTo>
                  <a:lnTo>
                    <a:pt x="95" y="347"/>
                  </a:lnTo>
                  <a:lnTo>
                    <a:pt x="96" y="352"/>
                  </a:lnTo>
                  <a:lnTo>
                    <a:pt x="98" y="355"/>
                  </a:lnTo>
                  <a:lnTo>
                    <a:pt x="103" y="359"/>
                  </a:lnTo>
                  <a:lnTo>
                    <a:pt x="105" y="362"/>
                  </a:lnTo>
                  <a:lnTo>
                    <a:pt x="108" y="366"/>
                  </a:lnTo>
                  <a:lnTo>
                    <a:pt x="112" y="367"/>
                  </a:lnTo>
                  <a:lnTo>
                    <a:pt x="117" y="368"/>
                  </a:lnTo>
                  <a:lnTo>
                    <a:pt x="121" y="368"/>
                  </a:lnTo>
                  <a:lnTo>
                    <a:pt x="126" y="367"/>
                  </a:lnTo>
                  <a:lnTo>
                    <a:pt x="136" y="364"/>
                  </a:lnTo>
                  <a:lnTo>
                    <a:pt x="138" y="364"/>
                  </a:lnTo>
                  <a:lnTo>
                    <a:pt x="140" y="365"/>
                  </a:lnTo>
                  <a:lnTo>
                    <a:pt x="143" y="370"/>
                  </a:lnTo>
                  <a:lnTo>
                    <a:pt x="147" y="376"/>
                  </a:lnTo>
                  <a:lnTo>
                    <a:pt x="151" y="381"/>
                  </a:lnTo>
                  <a:lnTo>
                    <a:pt x="155" y="385"/>
                  </a:lnTo>
                  <a:lnTo>
                    <a:pt x="160" y="389"/>
                  </a:lnTo>
                  <a:lnTo>
                    <a:pt x="165" y="386"/>
                  </a:lnTo>
                  <a:lnTo>
                    <a:pt x="171" y="386"/>
                  </a:lnTo>
                  <a:lnTo>
                    <a:pt x="178" y="386"/>
                  </a:lnTo>
                  <a:lnTo>
                    <a:pt x="184" y="385"/>
                  </a:lnTo>
                  <a:lnTo>
                    <a:pt x="188" y="383"/>
                  </a:lnTo>
                  <a:lnTo>
                    <a:pt x="192" y="380"/>
                  </a:lnTo>
                  <a:lnTo>
                    <a:pt x="199" y="374"/>
                  </a:lnTo>
                  <a:lnTo>
                    <a:pt x="203" y="373"/>
                  </a:lnTo>
                  <a:lnTo>
                    <a:pt x="206" y="373"/>
                  </a:lnTo>
                  <a:lnTo>
                    <a:pt x="213" y="374"/>
                  </a:lnTo>
                  <a:lnTo>
                    <a:pt x="217" y="373"/>
                  </a:lnTo>
                  <a:lnTo>
                    <a:pt x="221" y="372"/>
                  </a:lnTo>
                  <a:lnTo>
                    <a:pt x="227" y="364"/>
                  </a:lnTo>
                  <a:lnTo>
                    <a:pt x="231" y="359"/>
                  </a:lnTo>
                  <a:lnTo>
                    <a:pt x="236" y="355"/>
                  </a:lnTo>
                  <a:lnTo>
                    <a:pt x="239" y="354"/>
                  </a:lnTo>
                  <a:lnTo>
                    <a:pt x="241" y="355"/>
                  </a:lnTo>
                  <a:lnTo>
                    <a:pt x="246" y="359"/>
                  </a:lnTo>
                  <a:lnTo>
                    <a:pt x="249" y="359"/>
                  </a:lnTo>
                  <a:lnTo>
                    <a:pt x="251" y="35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3" name="Freeform 722"/>
            <p:cNvSpPr>
              <a:spLocks/>
            </p:cNvSpPr>
            <p:nvPr/>
          </p:nvSpPr>
          <p:spPr bwMode="auto">
            <a:xfrm>
              <a:off x="4654551" y="4246566"/>
              <a:ext cx="481013" cy="587375"/>
            </a:xfrm>
            <a:custGeom>
              <a:avLst/>
              <a:gdLst>
                <a:gd name="T0" fmla="*/ 2147483647 w 329"/>
                <a:gd name="T1" fmla="*/ 2147483647 h 370"/>
                <a:gd name="T2" fmla="*/ 2147483647 w 329"/>
                <a:gd name="T3" fmla="*/ 2147483647 h 370"/>
                <a:gd name="T4" fmla="*/ 2147483647 w 329"/>
                <a:gd name="T5" fmla="*/ 2147483647 h 370"/>
                <a:gd name="T6" fmla="*/ 2147483647 w 329"/>
                <a:gd name="T7" fmla="*/ 2147483647 h 370"/>
                <a:gd name="T8" fmla="*/ 2147483647 w 329"/>
                <a:gd name="T9" fmla="*/ 2147483647 h 370"/>
                <a:gd name="T10" fmla="*/ 2147483647 w 329"/>
                <a:gd name="T11" fmla="*/ 2147483647 h 370"/>
                <a:gd name="T12" fmla="*/ 2147483647 w 329"/>
                <a:gd name="T13" fmla="*/ 2147483647 h 370"/>
                <a:gd name="T14" fmla="*/ 2147483647 w 329"/>
                <a:gd name="T15" fmla="*/ 2147483647 h 370"/>
                <a:gd name="T16" fmla="*/ 2147483647 w 329"/>
                <a:gd name="T17" fmla="*/ 2147483647 h 370"/>
                <a:gd name="T18" fmla="*/ 2147483647 w 329"/>
                <a:gd name="T19" fmla="*/ 2147483647 h 370"/>
                <a:gd name="T20" fmla="*/ 2147483647 w 329"/>
                <a:gd name="T21" fmla="*/ 2147483647 h 370"/>
                <a:gd name="T22" fmla="*/ 2147483647 w 329"/>
                <a:gd name="T23" fmla="*/ 2147483647 h 370"/>
                <a:gd name="T24" fmla="*/ 2147483647 w 329"/>
                <a:gd name="T25" fmla="*/ 2147483647 h 370"/>
                <a:gd name="T26" fmla="*/ 2147483647 w 329"/>
                <a:gd name="T27" fmla="*/ 2147483647 h 370"/>
                <a:gd name="T28" fmla="*/ 2147483647 w 329"/>
                <a:gd name="T29" fmla="*/ 2147483647 h 370"/>
                <a:gd name="T30" fmla="*/ 2147483647 w 329"/>
                <a:gd name="T31" fmla="*/ 2147483647 h 370"/>
                <a:gd name="T32" fmla="*/ 2147483647 w 329"/>
                <a:gd name="T33" fmla="*/ 2147483647 h 370"/>
                <a:gd name="T34" fmla="*/ 2147483647 w 329"/>
                <a:gd name="T35" fmla="*/ 2147483647 h 370"/>
                <a:gd name="T36" fmla="*/ 2147483647 w 329"/>
                <a:gd name="T37" fmla="*/ 2147483647 h 370"/>
                <a:gd name="T38" fmla="*/ 2147483647 w 329"/>
                <a:gd name="T39" fmla="*/ 2147483647 h 370"/>
                <a:gd name="T40" fmla="*/ 2147483647 w 329"/>
                <a:gd name="T41" fmla="*/ 2147483647 h 370"/>
                <a:gd name="T42" fmla="*/ 2147483647 w 329"/>
                <a:gd name="T43" fmla="*/ 2147483647 h 370"/>
                <a:gd name="T44" fmla="*/ 2147483647 w 329"/>
                <a:gd name="T45" fmla="*/ 2147483647 h 370"/>
                <a:gd name="T46" fmla="*/ 2147483647 w 329"/>
                <a:gd name="T47" fmla="*/ 2147483647 h 370"/>
                <a:gd name="T48" fmla="*/ 2147483647 w 329"/>
                <a:gd name="T49" fmla="*/ 2147483647 h 370"/>
                <a:gd name="T50" fmla="*/ 2147483647 w 329"/>
                <a:gd name="T51" fmla="*/ 2147483647 h 370"/>
                <a:gd name="T52" fmla="*/ 2147483647 w 329"/>
                <a:gd name="T53" fmla="*/ 2147483647 h 370"/>
                <a:gd name="T54" fmla="*/ 2147483647 w 329"/>
                <a:gd name="T55" fmla="*/ 2147483647 h 370"/>
                <a:gd name="T56" fmla="*/ 2147483647 w 329"/>
                <a:gd name="T57" fmla="*/ 2147483647 h 370"/>
                <a:gd name="T58" fmla="*/ 2147483647 w 329"/>
                <a:gd name="T59" fmla="*/ 2147483647 h 370"/>
                <a:gd name="T60" fmla="*/ 2147483647 w 329"/>
                <a:gd name="T61" fmla="*/ 2147483647 h 370"/>
                <a:gd name="T62" fmla="*/ 2147483647 w 329"/>
                <a:gd name="T63" fmla="*/ 2147483647 h 370"/>
                <a:gd name="T64" fmla="*/ 2147483647 w 329"/>
                <a:gd name="T65" fmla="*/ 2147483647 h 370"/>
                <a:gd name="T66" fmla="*/ 2147483647 w 329"/>
                <a:gd name="T67" fmla="*/ 2147483647 h 370"/>
                <a:gd name="T68" fmla="*/ 2147483647 w 329"/>
                <a:gd name="T69" fmla="*/ 2147483647 h 370"/>
                <a:gd name="T70" fmla="*/ 2147483647 w 329"/>
                <a:gd name="T71" fmla="*/ 2147483647 h 370"/>
                <a:gd name="T72" fmla="*/ 2147483647 w 329"/>
                <a:gd name="T73" fmla="*/ 2147483647 h 370"/>
                <a:gd name="T74" fmla="*/ 2147483647 w 329"/>
                <a:gd name="T75" fmla="*/ 2147483647 h 370"/>
                <a:gd name="T76" fmla="*/ 2147483647 w 329"/>
                <a:gd name="T77" fmla="*/ 2147483647 h 370"/>
                <a:gd name="T78" fmla="*/ 2147483647 w 329"/>
                <a:gd name="T79" fmla="*/ 2147483647 h 370"/>
                <a:gd name="T80" fmla="*/ 2147483647 w 329"/>
                <a:gd name="T81" fmla="*/ 2147483647 h 370"/>
                <a:gd name="T82" fmla="*/ 2147483647 w 329"/>
                <a:gd name="T83" fmla="*/ 2147483647 h 370"/>
                <a:gd name="T84" fmla="*/ 2147483647 w 329"/>
                <a:gd name="T85" fmla="*/ 2147483647 h 370"/>
                <a:gd name="T86" fmla="*/ 2147483647 w 329"/>
                <a:gd name="T87" fmla="*/ 2147483647 h 370"/>
                <a:gd name="T88" fmla="*/ 2147483647 w 329"/>
                <a:gd name="T89" fmla="*/ 2147483647 h 370"/>
                <a:gd name="T90" fmla="*/ 2147483647 w 329"/>
                <a:gd name="T91" fmla="*/ 2147483647 h 370"/>
                <a:gd name="T92" fmla="*/ 2147483647 w 329"/>
                <a:gd name="T93" fmla="*/ 2147483647 h 370"/>
                <a:gd name="T94" fmla="*/ 2147483647 w 329"/>
                <a:gd name="T95" fmla="*/ 2147483647 h 370"/>
                <a:gd name="T96" fmla="*/ 2147483647 w 329"/>
                <a:gd name="T97" fmla="*/ 2147483647 h 370"/>
                <a:gd name="T98" fmla="*/ 2147483647 w 329"/>
                <a:gd name="T99" fmla="*/ 2147483647 h 370"/>
                <a:gd name="T100" fmla="*/ 2147483647 w 329"/>
                <a:gd name="T101" fmla="*/ 2147483647 h 370"/>
                <a:gd name="T102" fmla="*/ 2147483647 w 329"/>
                <a:gd name="T103" fmla="*/ 2147483647 h 370"/>
                <a:gd name="T104" fmla="*/ 0 w 329"/>
                <a:gd name="T105" fmla="*/ 2147483647 h 3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9"/>
                <a:gd name="T160" fmla="*/ 0 h 370"/>
                <a:gd name="T161" fmla="*/ 329 w 329"/>
                <a:gd name="T162" fmla="*/ 370 h 3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9" h="370">
                  <a:moveTo>
                    <a:pt x="0" y="213"/>
                  </a:moveTo>
                  <a:lnTo>
                    <a:pt x="6" y="212"/>
                  </a:lnTo>
                  <a:lnTo>
                    <a:pt x="7" y="211"/>
                  </a:lnTo>
                  <a:lnTo>
                    <a:pt x="9" y="211"/>
                  </a:lnTo>
                  <a:lnTo>
                    <a:pt x="9" y="207"/>
                  </a:lnTo>
                  <a:lnTo>
                    <a:pt x="10" y="204"/>
                  </a:lnTo>
                  <a:lnTo>
                    <a:pt x="14" y="200"/>
                  </a:lnTo>
                  <a:lnTo>
                    <a:pt x="18" y="195"/>
                  </a:lnTo>
                  <a:lnTo>
                    <a:pt x="20" y="198"/>
                  </a:lnTo>
                  <a:lnTo>
                    <a:pt x="24" y="198"/>
                  </a:lnTo>
                  <a:lnTo>
                    <a:pt x="25" y="196"/>
                  </a:lnTo>
                  <a:lnTo>
                    <a:pt x="27" y="195"/>
                  </a:lnTo>
                  <a:lnTo>
                    <a:pt x="28" y="190"/>
                  </a:lnTo>
                  <a:lnTo>
                    <a:pt x="29" y="188"/>
                  </a:lnTo>
                  <a:lnTo>
                    <a:pt x="30" y="186"/>
                  </a:lnTo>
                  <a:lnTo>
                    <a:pt x="34" y="185"/>
                  </a:lnTo>
                  <a:lnTo>
                    <a:pt x="37" y="185"/>
                  </a:lnTo>
                  <a:lnTo>
                    <a:pt x="39" y="186"/>
                  </a:lnTo>
                  <a:lnTo>
                    <a:pt x="42" y="189"/>
                  </a:lnTo>
                  <a:lnTo>
                    <a:pt x="44" y="192"/>
                  </a:lnTo>
                  <a:lnTo>
                    <a:pt x="47" y="192"/>
                  </a:lnTo>
                  <a:lnTo>
                    <a:pt x="48" y="190"/>
                  </a:lnTo>
                  <a:lnTo>
                    <a:pt x="54" y="186"/>
                  </a:lnTo>
                  <a:lnTo>
                    <a:pt x="58" y="183"/>
                  </a:lnTo>
                  <a:lnTo>
                    <a:pt x="63" y="182"/>
                  </a:lnTo>
                  <a:lnTo>
                    <a:pt x="67" y="181"/>
                  </a:lnTo>
                  <a:lnTo>
                    <a:pt x="70" y="180"/>
                  </a:lnTo>
                  <a:lnTo>
                    <a:pt x="74" y="174"/>
                  </a:lnTo>
                  <a:lnTo>
                    <a:pt x="75" y="170"/>
                  </a:lnTo>
                  <a:lnTo>
                    <a:pt x="74" y="167"/>
                  </a:lnTo>
                  <a:lnTo>
                    <a:pt x="72" y="163"/>
                  </a:lnTo>
                  <a:lnTo>
                    <a:pt x="71" y="158"/>
                  </a:lnTo>
                  <a:lnTo>
                    <a:pt x="70" y="155"/>
                  </a:lnTo>
                  <a:lnTo>
                    <a:pt x="70" y="154"/>
                  </a:lnTo>
                  <a:lnTo>
                    <a:pt x="71" y="153"/>
                  </a:lnTo>
                  <a:lnTo>
                    <a:pt x="76" y="145"/>
                  </a:lnTo>
                  <a:lnTo>
                    <a:pt x="77" y="142"/>
                  </a:lnTo>
                  <a:lnTo>
                    <a:pt x="79" y="138"/>
                  </a:lnTo>
                  <a:lnTo>
                    <a:pt x="80" y="137"/>
                  </a:lnTo>
                  <a:lnTo>
                    <a:pt x="81" y="136"/>
                  </a:lnTo>
                  <a:lnTo>
                    <a:pt x="85" y="134"/>
                  </a:lnTo>
                  <a:lnTo>
                    <a:pt x="89" y="130"/>
                  </a:lnTo>
                  <a:lnTo>
                    <a:pt x="93" y="125"/>
                  </a:lnTo>
                  <a:lnTo>
                    <a:pt x="94" y="122"/>
                  </a:lnTo>
                  <a:lnTo>
                    <a:pt x="95" y="117"/>
                  </a:lnTo>
                  <a:lnTo>
                    <a:pt x="99" y="109"/>
                  </a:lnTo>
                  <a:lnTo>
                    <a:pt x="99" y="105"/>
                  </a:lnTo>
                  <a:lnTo>
                    <a:pt x="98" y="102"/>
                  </a:lnTo>
                  <a:lnTo>
                    <a:pt x="95" y="93"/>
                  </a:lnTo>
                  <a:lnTo>
                    <a:pt x="94" y="86"/>
                  </a:lnTo>
                  <a:lnTo>
                    <a:pt x="95" y="80"/>
                  </a:lnTo>
                  <a:lnTo>
                    <a:pt x="96" y="75"/>
                  </a:lnTo>
                  <a:lnTo>
                    <a:pt x="98" y="73"/>
                  </a:lnTo>
                  <a:lnTo>
                    <a:pt x="98" y="71"/>
                  </a:lnTo>
                  <a:lnTo>
                    <a:pt x="99" y="66"/>
                  </a:lnTo>
                  <a:lnTo>
                    <a:pt x="104" y="52"/>
                  </a:lnTo>
                  <a:lnTo>
                    <a:pt x="107" y="45"/>
                  </a:lnTo>
                  <a:lnTo>
                    <a:pt x="108" y="35"/>
                  </a:lnTo>
                  <a:lnTo>
                    <a:pt x="108" y="30"/>
                  </a:lnTo>
                  <a:lnTo>
                    <a:pt x="108" y="29"/>
                  </a:lnTo>
                  <a:lnTo>
                    <a:pt x="110" y="28"/>
                  </a:lnTo>
                  <a:lnTo>
                    <a:pt x="112" y="27"/>
                  </a:lnTo>
                  <a:lnTo>
                    <a:pt x="113" y="26"/>
                  </a:lnTo>
                  <a:lnTo>
                    <a:pt x="114" y="17"/>
                  </a:lnTo>
                  <a:lnTo>
                    <a:pt x="119" y="15"/>
                  </a:lnTo>
                  <a:lnTo>
                    <a:pt x="122" y="11"/>
                  </a:lnTo>
                  <a:lnTo>
                    <a:pt x="126" y="3"/>
                  </a:lnTo>
                  <a:lnTo>
                    <a:pt x="127" y="2"/>
                  </a:lnTo>
                  <a:lnTo>
                    <a:pt x="129" y="3"/>
                  </a:lnTo>
                  <a:lnTo>
                    <a:pt x="136" y="4"/>
                  </a:lnTo>
                  <a:lnTo>
                    <a:pt x="140" y="6"/>
                  </a:lnTo>
                  <a:lnTo>
                    <a:pt x="142" y="6"/>
                  </a:lnTo>
                  <a:lnTo>
                    <a:pt x="146" y="10"/>
                  </a:lnTo>
                  <a:lnTo>
                    <a:pt x="148" y="14"/>
                  </a:lnTo>
                  <a:lnTo>
                    <a:pt x="151" y="15"/>
                  </a:lnTo>
                  <a:lnTo>
                    <a:pt x="154" y="16"/>
                  </a:lnTo>
                  <a:lnTo>
                    <a:pt x="160" y="17"/>
                  </a:lnTo>
                  <a:lnTo>
                    <a:pt x="169" y="17"/>
                  </a:lnTo>
                  <a:lnTo>
                    <a:pt x="178" y="16"/>
                  </a:lnTo>
                  <a:lnTo>
                    <a:pt x="181" y="15"/>
                  </a:lnTo>
                  <a:lnTo>
                    <a:pt x="185" y="13"/>
                  </a:lnTo>
                  <a:lnTo>
                    <a:pt x="189" y="8"/>
                  </a:lnTo>
                  <a:lnTo>
                    <a:pt x="190" y="7"/>
                  </a:lnTo>
                  <a:lnTo>
                    <a:pt x="193" y="8"/>
                  </a:lnTo>
                  <a:lnTo>
                    <a:pt x="201" y="10"/>
                  </a:lnTo>
                  <a:lnTo>
                    <a:pt x="208" y="11"/>
                  </a:lnTo>
                  <a:lnTo>
                    <a:pt x="216" y="10"/>
                  </a:lnTo>
                  <a:lnTo>
                    <a:pt x="220" y="9"/>
                  </a:lnTo>
                  <a:lnTo>
                    <a:pt x="222" y="8"/>
                  </a:lnTo>
                  <a:lnTo>
                    <a:pt x="227" y="4"/>
                  </a:lnTo>
                  <a:lnTo>
                    <a:pt x="232" y="1"/>
                  </a:lnTo>
                  <a:lnTo>
                    <a:pt x="237" y="0"/>
                  </a:lnTo>
                  <a:lnTo>
                    <a:pt x="240" y="0"/>
                  </a:lnTo>
                  <a:lnTo>
                    <a:pt x="244" y="1"/>
                  </a:lnTo>
                  <a:lnTo>
                    <a:pt x="250" y="2"/>
                  </a:lnTo>
                  <a:lnTo>
                    <a:pt x="254" y="3"/>
                  </a:lnTo>
                  <a:lnTo>
                    <a:pt x="258" y="4"/>
                  </a:lnTo>
                  <a:lnTo>
                    <a:pt x="263" y="8"/>
                  </a:lnTo>
                  <a:lnTo>
                    <a:pt x="265" y="11"/>
                  </a:lnTo>
                  <a:lnTo>
                    <a:pt x="268" y="15"/>
                  </a:lnTo>
                  <a:lnTo>
                    <a:pt x="272" y="16"/>
                  </a:lnTo>
                  <a:lnTo>
                    <a:pt x="277" y="17"/>
                  </a:lnTo>
                  <a:lnTo>
                    <a:pt x="281" y="17"/>
                  </a:lnTo>
                  <a:lnTo>
                    <a:pt x="286" y="16"/>
                  </a:lnTo>
                  <a:lnTo>
                    <a:pt x="296" y="13"/>
                  </a:lnTo>
                  <a:lnTo>
                    <a:pt x="298" y="13"/>
                  </a:lnTo>
                  <a:lnTo>
                    <a:pt x="300" y="14"/>
                  </a:lnTo>
                  <a:lnTo>
                    <a:pt x="303" y="19"/>
                  </a:lnTo>
                  <a:lnTo>
                    <a:pt x="307" y="25"/>
                  </a:lnTo>
                  <a:lnTo>
                    <a:pt x="311" y="30"/>
                  </a:lnTo>
                  <a:lnTo>
                    <a:pt x="315" y="34"/>
                  </a:lnTo>
                  <a:lnTo>
                    <a:pt x="320" y="38"/>
                  </a:lnTo>
                  <a:lnTo>
                    <a:pt x="322" y="39"/>
                  </a:lnTo>
                  <a:lnTo>
                    <a:pt x="325" y="41"/>
                  </a:lnTo>
                  <a:lnTo>
                    <a:pt x="325" y="45"/>
                  </a:lnTo>
                  <a:lnTo>
                    <a:pt x="325" y="47"/>
                  </a:lnTo>
                  <a:lnTo>
                    <a:pt x="326" y="54"/>
                  </a:lnTo>
                  <a:lnTo>
                    <a:pt x="329" y="61"/>
                  </a:lnTo>
                  <a:lnTo>
                    <a:pt x="329" y="64"/>
                  </a:lnTo>
                  <a:lnTo>
                    <a:pt x="329" y="66"/>
                  </a:lnTo>
                  <a:lnTo>
                    <a:pt x="321" y="74"/>
                  </a:lnTo>
                  <a:lnTo>
                    <a:pt x="317" y="81"/>
                  </a:lnTo>
                  <a:lnTo>
                    <a:pt x="314" y="90"/>
                  </a:lnTo>
                  <a:lnTo>
                    <a:pt x="314" y="94"/>
                  </a:lnTo>
                  <a:lnTo>
                    <a:pt x="314" y="99"/>
                  </a:lnTo>
                  <a:lnTo>
                    <a:pt x="312" y="103"/>
                  </a:lnTo>
                  <a:lnTo>
                    <a:pt x="310" y="105"/>
                  </a:lnTo>
                  <a:lnTo>
                    <a:pt x="306" y="108"/>
                  </a:lnTo>
                  <a:lnTo>
                    <a:pt x="305" y="110"/>
                  </a:lnTo>
                  <a:lnTo>
                    <a:pt x="305" y="113"/>
                  </a:lnTo>
                  <a:lnTo>
                    <a:pt x="305" y="118"/>
                  </a:lnTo>
                  <a:lnTo>
                    <a:pt x="306" y="122"/>
                  </a:lnTo>
                  <a:lnTo>
                    <a:pt x="306" y="124"/>
                  </a:lnTo>
                  <a:lnTo>
                    <a:pt x="300" y="131"/>
                  </a:lnTo>
                  <a:lnTo>
                    <a:pt x="293" y="138"/>
                  </a:lnTo>
                  <a:lnTo>
                    <a:pt x="291" y="143"/>
                  </a:lnTo>
                  <a:lnTo>
                    <a:pt x="289" y="148"/>
                  </a:lnTo>
                  <a:lnTo>
                    <a:pt x="288" y="154"/>
                  </a:lnTo>
                  <a:lnTo>
                    <a:pt x="289" y="156"/>
                  </a:lnTo>
                  <a:lnTo>
                    <a:pt x="291" y="156"/>
                  </a:lnTo>
                  <a:lnTo>
                    <a:pt x="293" y="163"/>
                  </a:lnTo>
                  <a:lnTo>
                    <a:pt x="297" y="170"/>
                  </a:lnTo>
                  <a:lnTo>
                    <a:pt x="301" y="176"/>
                  </a:lnTo>
                  <a:lnTo>
                    <a:pt x="302" y="182"/>
                  </a:lnTo>
                  <a:lnTo>
                    <a:pt x="301" y="194"/>
                  </a:lnTo>
                  <a:lnTo>
                    <a:pt x="302" y="207"/>
                  </a:lnTo>
                  <a:lnTo>
                    <a:pt x="305" y="220"/>
                  </a:lnTo>
                  <a:lnTo>
                    <a:pt x="307" y="232"/>
                  </a:lnTo>
                  <a:lnTo>
                    <a:pt x="312" y="243"/>
                  </a:lnTo>
                  <a:lnTo>
                    <a:pt x="319" y="252"/>
                  </a:lnTo>
                  <a:lnTo>
                    <a:pt x="324" y="262"/>
                  </a:lnTo>
                  <a:lnTo>
                    <a:pt x="326" y="268"/>
                  </a:lnTo>
                  <a:lnTo>
                    <a:pt x="327" y="272"/>
                  </a:lnTo>
                  <a:lnTo>
                    <a:pt x="324" y="271"/>
                  </a:lnTo>
                  <a:lnTo>
                    <a:pt x="316" y="268"/>
                  </a:lnTo>
                  <a:lnTo>
                    <a:pt x="308" y="268"/>
                  </a:lnTo>
                  <a:lnTo>
                    <a:pt x="292" y="268"/>
                  </a:lnTo>
                  <a:lnTo>
                    <a:pt x="292" y="269"/>
                  </a:lnTo>
                  <a:lnTo>
                    <a:pt x="291" y="271"/>
                  </a:lnTo>
                  <a:lnTo>
                    <a:pt x="291" y="273"/>
                  </a:lnTo>
                  <a:lnTo>
                    <a:pt x="291" y="276"/>
                  </a:lnTo>
                  <a:lnTo>
                    <a:pt x="286" y="283"/>
                  </a:lnTo>
                  <a:lnTo>
                    <a:pt x="283" y="291"/>
                  </a:lnTo>
                  <a:lnTo>
                    <a:pt x="282" y="304"/>
                  </a:lnTo>
                  <a:lnTo>
                    <a:pt x="281" y="322"/>
                  </a:lnTo>
                  <a:lnTo>
                    <a:pt x="281" y="327"/>
                  </a:lnTo>
                  <a:lnTo>
                    <a:pt x="282" y="332"/>
                  </a:lnTo>
                  <a:lnTo>
                    <a:pt x="284" y="336"/>
                  </a:lnTo>
                  <a:lnTo>
                    <a:pt x="288" y="341"/>
                  </a:lnTo>
                  <a:lnTo>
                    <a:pt x="291" y="345"/>
                  </a:lnTo>
                  <a:lnTo>
                    <a:pt x="296" y="347"/>
                  </a:lnTo>
                  <a:lnTo>
                    <a:pt x="300" y="349"/>
                  </a:lnTo>
                  <a:lnTo>
                    <a:pt x="303" y="349"/>
                  </a:lnTo>
                  <a:lnTo>
                    <a:pt x="305" y="349"/>
                  </a:lnTo>
                  <a:lnTo>
                    <a:pt x="305" y="352"/>
                  </a:lnTo>
                  <a:lnTo>
                    <a:pt x="305" y="356"/>
                  </a:lnTo>
                  <a:lnTo>
                    <a:pt x="305" y="368"/>
                  </a:lnTo>
                  <a:lnTo>
                    <a:pt x="303" y="370"/>
                  </a:lnTo>
                  <a:lnTo>
                    <a:pt x="300" y="370"/>
                  </a:lnTo>
                  <a:lnTo>
                    <a:pt x="294" y="368"/>
                  </a:lnTo>
                  <a:lnTo>
                    <a:pt x="292" y="367"/>
                  </a:lnTo>
                  <a:lnTo>
                    <a:pt x="289" y="364"/>
                  </a:lnTo>
                  <a:lnTo>
                    <a:pt x="288" y="361"/>
                  </a:lnTo>
                  <a:lnTo>
                    <a:pt x="287" y="358"/>
                  </a:lnTo>
                  <a:lnTo>
                    <a:pt x="284" y="355"/>
                  </a:lnTo>
                  <a:lnTo>
                    <a:pt x="279" y="353"/>
                  </a:lnTo>
                  <a:lnTo>
                    <a:pt x="275" y="348"/>
                  </a:lnTo>
                  <a:lnTo>
                    <a:pt x="268" y="339"/>
                  </a:lnTo>
                  <a:lnTo>
                    <a:pt x="265" y="334"/>
                  </a:lnTo>
                  <a:lnTo>
                    <a:pt x="263" y="332"/>
                  </a:lnTo>
                  <a:lnTo>
                    <a:pt x="261" y="332"/>
                  </a:lnTo>
                  <a:lnTo>
                    <a:pt x="260" y="332"/>
                  </a:lnTo>
                  <a:lnTo>
                    <a:pt x="249" y="339"/>
                  </a:lnTo>
                  <a:lnTo>
                    <a:pt x="244" y="340"/>
                  </a:lnTo>
                  <a:lnTo>
                    <a:pt x="237" y="340"/>
                  </a:lnTo>
                  <a:lnTo>
                    <a:pt x="232" y="339"/>
                  </a:lnTo>
                  <a:lnTo>
                    <a:pt x="230" y="338"/>
                  </a:lnTo>
                  <a:lnTo>
                    <a:pt x="230" y="335"/>
                  </a:lnTo>
                  <a:lnTo>
                    <a:pt x="230" y="332"/>
                  </a:lnTo>
                  <a:lnTo>
                    <a:pt x="231" y="327"/>
                  </a:lnTo>
                  <a:lnTo>
                    <a:pt x="223" y="329"/>
                  </a:lnTo>
                  <a:lnTo>
                    <a:pt x="220" y="330"/>
                  </a:lnTo>
                  <a:lnTo>
                    <a:pt x="217" y="329"/>
                  </a:lnTo>
                  <a:lnTo>
                    <a:pt x="212" y="324"/>
                  </a:lnTo>
                  <a:lnTo>
                    <a:pt x="206" y="322"/>
                  </a:lnTo>
                  <a:lnTo>
                    <a:pt x="201" y="323"/>
                  </a:lnTo>
                  <a:lnTo>
                    <a:pt x="194" y="324"/>
                  </a:lnTo>
                  <a:lnTo>
                    <a:pt x="183" y="327"/>
                  </a:lnTo>
                  <a:lnTo>
                    <a:pt x="180" y="326"/>
                  </a:lnTo>
                  <a:lnTo>
                    <a:pt x="178" y="324"/>
                  </a:lnTo>
                  <a:lnTo>
                    <a:pt x="178" y="323"/>
                  </a:lnTo>
                  <a:lnTo>
                    <a:pt x="178" y="311"/>
                  </a:lnTo>
                  <a:lnTo>
                    <a:pt x="176" y="300"/>
                  </a:lnTo>
                  <a:lnTo>
                    <a:pt x="173" y="288"/>
                  </a:lnTo>
                  <a:lnTo>
                    <a:pt x="167" y="276"/>
                  </a:lnTo>
                  <a:lnTo>
                    <a:pt x="167" y="273"/>
                  </a:lnTo>
                  <a:lnTo>
                    <a:pt x="169" y="270"/>
                  </a:lnTo>
                  <a:lnTo>
                    <a:pt x="169" y="266"/>
                  </a:lnTo>
                  <a:lnTo>
                    <a:pt x="167" y="263"/>
                  </a:lnTo>
                  <a:lnTo>
                    <a:pt x="166" y="262"/>
                  </a:lnTo>
                  <a:lnTo>
                    <a:pt x="165" y="256"/>
                  </a:lnTo>
                  <a:lnTo>
                    <a:pt x="165" y="253"/>
                  </a:lnTo>
                  <a:lnTo>
                    <a:pt x="162" y="252"/>
                  </a:lnTo>
                  <a:lnTo>
                    <a:pt x="159" y="251"/>
                  </a:lnTo>
                  <a:lnTo>
                    <a:pt x="156" y="252"/>
                  </a:lnTo>
                  <a:lnTo>
                    <a:pt x="154" y="251"/>
                  </a:lnTo>
                  <a:lnTo>
                    <a:pt x="151" y="251"/>
                  </a:lnTo>
                  <a:lnTo>
                    <a:pt x="146" y="251"/>
                  </a:lnTo>
                  <a:lnTo>
                    <a:pt x="143" y="250"/>
                  </a:lnTo>
                  <a:lnTo>
                    <a:pt x="142" y="249"/>
                  </a:lnTo>
                  <a:lnTo>
                    <a:pt x="141" y="246"/>
                  </a:lnTo>
                  <a:lnTo>
                    <a:pt x="138" y="244"/>
                  </a:lnTo>
                  <a:lnTo>
                    <a:pt x="134" y="243"/>
                  </a:lnTo>
                  <a:lnTo>
                    <a:pt x="129" y="244"/>
                  </a:lnTo>
                  <a:lnTo>
                    <a:pt x="127" y="246"/>
                  </a:lnTo>
                  <a:lnTo>
                    <a:pt x="124" y="250"/>
                  </a:lnTo>
                  <a:lnTo>
                    <a:pt x="124" y="255"/>
                  </a:lnTo>
                  <a:lnTo>
                    <a:pt x="124" y="260"/>
                  </a:lnTo>
                  <a:lnTo>
                    <a:pt x="124" y="262"/>
                  </a:lnTo>
                  <a:lnTo>
                    <a:pt x="123" y="264"/>
                  </a:lnTo>
                  <a:lnTo>
                    <a:pt x="117" y="266"/>
                  </a:lnTo>
                  <a:lnTo>
                    <a:pt x="110" y="268"/>
                  </a:lnTo>
                  <a:lnTo>
                    <a:pt x="104" y="266"/>
                  </a:lnTo>
                  <a:lnTo>
                    <a:pt x="103" y="265"/>
                  </a:lnTo>
                  <a:lnTo>
                    <a:pt x="100" y="264"/>
                  </a:lnTo>
                  <a:lnTo>
                    <a:pt x="98" y="256"/>
                  </a:lnTo>
                  <a:lnTo>
                    <a:pt x="96" y="245"/>
                  </a:lnTo>
                  <a:lnTo>
                    <a:pt x="94" y="236"/>
                  </a:lnTo>
                  <a:lnTo>
                    <a:pt x="91" y="232"/>
                  </a:lnTo>
                  <a:lnTo>
                    <a:pt x="87" y="228"/>
                  </a:lnTo>
                  <a:lnTo>
                    <a:pt x="79" y="225"/>
                  </a:lnTo>
                  <a:lnTo>
                    <a:pt x="70" y="224"/>
                  </a:lnTo>
                  <a:lnTo>
                    <a:pt x="60" y="224"/>
                  </a:lnTo>
                  <a:lnTo>
                    <a:pt x="51" y="224"/>
                  </a:lnTo>
                  <a:lnTo>
                    <a:pt x="42" y="223"/>
                  </a:lnTo>
                  <a:lnTo>
                    <a:pt x="33" y="220"/>
                  </a:lnTo>
                  <a:lnTo>
                    <a:pt x="27" y="220"/>
                  </a:lnTo>
                  <a:lnTo>
                    <a:pt x="23" y="223"/>
                  </a:lnTo>
                  <a:lnTo>
                    <a:pt x="19" y="226"/>
                  </a:lnTo>
                  <a:lnTo>
                    <a:pt x="16" y="227"/>
                  </a:lnTo>
                  <a:lnTo>
                    <a:pt x="11" y="228"/>
                  </a:lnTo>
                  <a:lnTo>
                    <a:pt x="6" y="228"/>
                  </a:lnTo>
                  <a:lnTo>
                    <a:pt x="4" y="228"/>
                  </a:lnTo>
                  <a:lnTo>
                    <a:pt x="2" y="227"/>
                  </a:lnTo>
                  <a:lnTo>
                    <a:pt x="0" y="225"/>
                  </a:lnTo>
                  <a:lnTo>
                    <a:pt x="0" y="221"/>
                  </a:lnTo>
                  <a:lnTo>
                    <a:pt x="0" y="217"/>
                  </a:lnTo>
                  <a:lnTo>
                    <a:pt x="0" y="2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4" name="Freeform 723"/>
            <p:cNvSpPr>
              <a:spLocks/>
            </p:cNvSpPr>
            <p:nvPr/>
          </p:nvSpPr>
          <p:spPr bwMode="auto">
            <a:xfrm>
              <a:off x="4886325" y="3687766"/>
              <a:ext cx="438150" cy="615950"/>
            </a:xfrm>
            <a:custGeom>
              <a:avLst/>
              <a:gdLst>
                <a:gd name="T0" fmla="*/ 2147483647 w 299"/>
                <a:gd name="T1" fmla="*/ 2147483647 h 388"/>
                <a:gd name="T2" fmla="*/ 2147483647 w 299"/>
                <a:gd name="T3" fmla="*/ 2147483647 h 388"/>
                <a:gd name="T4" fmla="*/ 2147483647 w 299"/>
                <a:gd name="T5" fmla="*/ 2147483647 h 388"/>
                <a:gd name="T6" fmla="*/ 2147483647 w 299"/>
                <a:gd name="T7" fmla="*/ 2147483647 h 388"/>
                <a:gd name="T8" fmla="*/ 2147483647 w 299"/>
                <a:gd name="T9" fmla="*/ 2147483647 h 388"/>
                <a:gd name="T10" fmla="*/ 2147483647 w 299"/>
                <a:gd name="T11" fmla="*/ 2147483647 h 388"/>
                <a:gd name="T12" fmla="*/ 2147483647 w 299"/>
                <a:gd name="T13" fmla="*/ 2147483647 h 388"/>
                <a:gd name="T14" fmla="*/ 2147483647 w 299"/>
                <a:gd name="T15" fmla="*/ 2147483647 h 388"/>
                <a:gd name="T16" fmla="*/ 2147483647 w 299"/>
                <a:gd name="T17" fmla="*/ 2147483647 h 388"/>
                <a:gd name="T18" fmla="*/ 2147483647 w 299"/>
                <a:gd name="T19" fmla="*/ 2147483647 h 388"/>
                <a:gd name="T20" fmla="*/ 2147483647 w 299"/>
                <a:gd name="T21" fmla="*/ 2147483647 h 388"/>
                <a:gd name="T22" fmla="*/ 2147483647 w 299"/>
                <a:gd name="T23" fmla="*/ 2147483647 h 388"/>
                <a:gd name="T24" fmla="*/ 2147483647 w 299"/>
                <a:gd name="T25" fmla="*/ 2147483647 h 388"/>
                <a:gd name="T26" fmla="*/ 2147483647 w 299"/>
                <a:gd name="T27" fmla="*/ 2147483647 h 388"/>
                <a:gd name="T28" fmla="*/ 2147483647 w 299"/>
                <a:gd name="T29" fmla="*/ 2147483647 h 388"/>
                <a:gd name="T30" fmla="*/ 2147483647 w 299"/>
                <a:gd name="T31" fmla="*/ 2147483647 h 388"/>
                <a:gd name="T32" fmla="*/ 2147483647 w 299"/>
                <a:gd name="T33" fmla="*/ 2147483647 h 388"/>
                <a:gd name="T34" fmla="*/ 2147483647 w 299"/>
                <a:gd name="T35" fmla="*/ 2147483647 h 388"/>
                <a:gd name="T36" fmla="*/ 2147483647 w 299"/>
                <a:gd name="T37" fmla="*/ 2147483647 h 388"/>
                <a:gd name="T38" fmla="*/ 2147483647 w 299"/>
                <a:gd name="T39" fmla="*/ 2147483647 h 388"/>
                <a:gd name="T40" fmla="*/ 2147483647 w 299"/>
                <a:gd name="T41" fmla="*/ 2147483647 h 388"/>
                <a:gd name="T42" fmla="*/ 2147483647 w 299"/>
                <a:gd name="T43" fmla="*/ 2147483647 h 388"/>
                <a:gd name="T44" fmla="*/ 2147483647 w 299"/>
                <a:gd name="T45" fmla="*/ 2147483647 h 388"/>
                <a:gd name="T46" fmla="*/ 2147483647 w 299"/>
                <a:gd name="T47" fmla="*/ 0 h 388"/>
                <a:gd name="T48" fmla="*/ 2147483647 w 299"/>
                <a:gd name="T49" fmla="*/ 2147483647 h 388"/>
                <a:gd name="T50" fmla="*/ 2147483647 w 299"/>
                <a:gd name="T51" fmla="*/ 2147483647 h 388"/>
                <a:gd name="T52" fmla="*/ 2147483647 w 299"/>
                <a:gd name="T53" fmla="*/ 2147483647 h 388"/>
                <a:gd name="T54" fmla="*/ 2147483647 w 299"/>
                <a:gd name="T55" fmla="*/ 2147483647 h 388"/>
                <a:gd name="T56" fmla="*/ 2147483647 w 299"/>
                <a:gd name="T57" fmla="*/ 2147483647 h 388"/>
                <a:gd name="T58" fmla="*/ 2147483647 w 299"/>
                <a:gd name="T59" fmla="*/ 2147483647 h 388"/>
                <a:gd name="T60" fmla="*/ 2147483647 w 299"/>
                <a:gd name="T61" fmla="*/ 2147483647 h 388"/>
                <a:gd name="T62" fmla="*/ 2147483647 w 299"/>
                <a:gd name="T63" fmla="*/ 2147483647 h 388"/>
                <a:gd name="T64" fmla="*/ 2147483647 w 299"/>
                <a:gd name="T65" fmla="*/ 2147483647 h 388"/>
                <a:gd name="T66" fmla="*/ 2147483647 w 299"/>
                <a:gd name="T67" fmla="*/ 2147483647 h 388"/>
                <a:gd name="T68" fmla="*/ 2147483647 w 299"/>
                <a:gd name="T69" fmla="*/ 2147483647 h 388"/>
                <a:gd name="T70" fmla="*/ 2147483647 w 299"/>
                <a:gd name="T71" fmla="*/ 2147483647 h 388"/>
                <a:gd name="T72" fmla="*/ 2147483647 w 299"/>
                <a:gd name="T73" fmla="*/ 2147483647 h 388"/>
                <a:gd name="T74" fmla="*/ 2147483647 w 299"/>
                <a:gd name="T75" fmla="*/ 2147483647 h 388"/>
                <a:gd name="T76" fmla="*/ 2147483647 w 299"/>
                <a:gd name="T77" fmla="*/ 2147483647 h 388"/>
                <a:gd name="T78" fmla="*/ 2147483647 w 299"/>
                <a:gd name="T79" fmla="*/ 2147483647 h 388"/>
                <a:gd name="T80" fmla="*/ 2147483647 w 299"/>
                <a:gd name="T81" fmla="*/ 2147483647 h 388"/>
                <a:gd name="T82" fmla="*/ 2147483647 w 299"/>
                <a:gd name="T83" fmla="*/ 2147483647 h 388"/>
                <a:gd name="T84" fmla="*/ 2147483647 w 299"/>
                <a:gd name="T85" fmla="*/ 2147483647 h 388"/>
                <a:gd name="T86" fmla="*/ 2147483647 w 299"/>
                <a:gd name="T87" fmla="*/ 2147483647 h 388"/>
                <a:gd name="T88" fmla="*/ 2147483647 w 299"/>
                <a:gd name="T89" fmla="*/ 2147483647 h 388"/>
                <a:gd name="T90" fmla="*/ 2147483647 w 299"/>
                <a:gd name="T91" fmla="*/ 2147483647 h 388"/>
                <a:gd name="T92" fmla="*/ 2147483647 w 299"/>
                <a:gd name="T93" fmla="*/ 2147483647 h 388"/>
                <a:gd name="T94" fmla="*/ 2147483647 w 299"/>
                <a:gd name="T95" fmla="*/ 2147483647 h 388"/>
                <a:gd name="T96" fmla="*/ 2147483647 w 299"/>
                <a:gd name="T97" fmla="*/ 2147483647 h 388"/>
                <a:gd name="T98" fmla="*/ 2147483647 w 299"/>
                <a:gd name="T99" fmla="*/ 2147483647 h 388"/>
                <a:gd name="T100" fmla="*/ 2147483647 w 299"/>
                <a:gd name="T101" fmla="*/ 2147483647 h 388"/>
                <a:gd name="T102" fmla="*/ 2147483647 w 299"/>
                <a:gd name="T103" fmla="*/ 2147483647 h 388"/>
                <a:gd name="T104" fmla="*/ 2147483647 w 299"/>
                <a:gd name="T105" fmla="*/ 2147483647 h 388"/>
                <a:gd name="T106" fmla="*/ 2147483647 w 299"/>
                <a:gd name="T107" fmla="*/ 2147483647 h 388"/>
                <a:gd name="T108" fmla="*/ 2147483647 w 299"/>
                <a:gd name="T109" fmla="*/ 2147483647 h 388"/>
                <a:gd name="T110" fmla="*/ 2147483647 w 299"/>
                <a:gd name="T111" fmla="*/ 2147483647 h 388"/>
                <a:gd name="T112" fmla="*/ 2147483647 w 299"/>
                <a:gd name="T113" fmla="*/ 2147483647 h 388"/>
                <a:gd name="T114" fmla="*/ 2147483647 w 299"/>
                <a:gd name="T115" fmla="*/ 2147483647 h 388"/>
                <a:gd name="T116" fmla="*/ 2147483647 w 299"/>
                <a:gd name="T117" fmla="*/ 2147483647 h 388"/>
                <a:gd name="T118" fmla="*/ 2147483647 w 299"/>
                <a:gd name="T119" fmla="*/ 2147483647 h 388"/>
                <a:gd name="T120" fmla="*/ 2147483647 w 299"/>
                <a:gd name="T121" fmla="*/ 2147483647 h 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9"/>
                <a:gd name="T184" fmla="*/ 0 h 388"/>
                <a:gd name="T185" fmla="*/ 299 w 299"/>
                <a:gd name="T186" fmla="*/ 388 h 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9" h="388">
                  <a:moveTo>
                    <a:pt x="251" y="358"/>
                  </a:moveTo>
                  <a:lnTo>
                    <a:pt x="251" y="358"/>
                  </a:lnTo>
                  <a:lnTo>
                    <a:pt x="251" y="353"/>
                  </a:lnTo>
                  <a:lnTo>
                    <a:pt x="248" y="350"/>
                  </a:lnTo>
                  <a:lnTo>
                    <a:pt x="245" y="348"/>
                  </a:lnTo>
                  <a:lnTo>
                    <a:pt x="238" y="347"/>
                  </a:lnTo>
                  <a:lnTo>
                    <a:pt x="238" y="345"/>
                  </a:lnTo>
                  <a:lnTo>
                    <a:pt x="237" y="342"/>
                  </a:lnTo>
                  <a:lnTo>
                    <a:pt x="237" y="337"/>
                  </a:lnTo>
                  <a:lnTo>
                    <a:pt x="236" y="331"/>
                  </a:lnTo>
                  <a:lnTo>
                    <a:pt x="232" y="324"/>
                  </a:lnTo>
                  <a:lnTo>
                    <a:pt x="227" y="317"/>
                  </a:lnTo>
                  <a:lnTo>
                    <a:pt x="218" y="311"/>
                  </a:lnTo>
                  <a:lnTo>
                    <a:pt x="204" y="304"/>
                  </a:lnTo>
                  <a:lnTo>
                    <a:pt x="203" y="303"/>
                  </a:lnTo>
                  <a:lnTo>
                    <a:pt x="200" y="302"/>
                  </a:lnTo>
                  <a:lnTo>
                    <a:pt x="200" y="297"/>
                  </a:lnTo>
                  <a:lnTo>
                    <a:pt x="200" y="292"/>
                  </a:lnTo>
                  <a:lnTo>
                    <a:pt x="204" y="289"/>
                  </a:lnTo>
                  <a:lnTo>
                    <a:pt x="205" y="289"/>
                  </a:lnTo>
                  <a:lnTo>
                    <a:pt x="209" y="289"/>
                  </a:lnTo>
                  <a:lnTo>
                    <a:pt x="212" y="289"/>
                  </a:lnTo>
                  <a:lnTo>
                    <a:pt x="214" y="288"/>
                  </a:lnTo>
                  <a:lnTo>
                    <a:pt x="217" y="286"/>
                  </a:lnTo>
                  <a:lnTo>
                    <a:pt x="219" y="284"/>
                  </a:lnTo>
                  <a:lnTo>
                    <a:pt x="221" y="278"/>
                  </a:lnTo>
                  <a:lnTo>
                    <a:pt x="222" y="265"/>
                  </a:lnTo>
                  <a:lnTo>
                    <a:pt x="222" y="258"/>
                  </a:lnTo>
                  <a:lnTo>
                    <a:pt x="222" y="251"/>
                  </a:lnTo>
                  <a:lnTo>
                    <a:pt x="222" y="248"/>
                  </a:lnTo>
                  <a:lnTo>
                    <a:pt x="223" y="246"/>
                  </a:lnTo>
                  <a:lnTo>
                    <a:pt x="227" y="245"/>
                  </a:lnTo>
                  <a:lnTo>
                    <a:pt x="231" y="244"/>
                  </a:lnTo>
                  <a:lnTo>
                    <a:pt x="233" y="244"/>
                  </a:lnTo>
                  <a:lnTo>
                    <a:pt x="233" y="243"/>
                  </a:lnTo>
                  <a:lnTo>
                    <a:pt x="236" y="232"/>
                  </a:lnTo>
                  <a:lnTo>
                    <a:pt x="237" y="225"/>
                  </a:lnTo>
                  <a:lnTo>
                    <a:pt x="238" y="215"/>
                  </a:lnTo>
                  <a:lnTo>
                    <a:pt x="241" y="212"/>
                  </a:lnTo>
                  <a:lnTo>
                    <a:pt x="245" y="208"/>
                  </a:lnTo>
                  <a:lnTo>
                    <a:pt x="259" y="196"/>
                  </a:lnTo>
                  <a:lnTo>
                    <a:pt x="262" y="193"/>
                  </a:lnTo>
                  <a:lnTo>
                    <a:pt x="264" y="190"/>
                  </a:lnTo>
                  <a:lnTo>
                    <a:pt x="264" y="189"/>
                  </a:lnTo>
                  <a:lnTo>
                    <a:pt x="261" y="182"/>
                  </a:lnTo>
                  <a:lnTo>
                    <a:pt x="260" y="174"/>
                  </a:lnTo>
                  <a:lnTo>
                    <a:pt x="260" y="165"/>
                  </a:lnTo>
                  <a:lnTo>
                    <a:pt x="260" y="157"/>
                  </a:lnTo>
                  <a:lnTo>
                    <a:pt x="261" y="148"/>
                  </a:lnTo>
                  <a:lnTo>
                    <a:pt x="264" y="139"/>
                  </a:lnTo>
                  <a:lnTo>
                    <a:pt x="268" y="131"/>
                  </a:lnTo>
                  <a:lnTo>
                    <a:pt x="273" y="125"/>
                  </a:lnTo>
                  <a:lnTo>
                    <a:pt x="275" y="123"/>
                  </a:lnTo>
                  <a:lnTo>
                    <a:pt x="278" y="122"/>
                  </a:lnTo>
                  <a:lnTo>
                    <a:pt x="285" y="118"/>
                  </a:lnTo>
                  <a:lnTo>
                    <a:pt x="289" y="117"/>
                  </a:lnTo>
                  <a:lnTo>
                    <a:pt x="292" y="115"/>
                  </a:lnTo>
                  <a:lnTo>
                    <a:pt x="295" y="111"/>
                  </a:lnTo>
                  <a:lnTo>
                    <a:pt x="299" y="105"/>
                  </a:lnTo>
                  <a:lnTo>
                    <a:pt x="293" y="99"/>
                  </a:lnTo>
                  <a:lnTo>
                    <a:pt x="287" y="93"/>
                  </a:lnTo>
                  <a:lnTo>
                    <a:pt x="280" y="87"/>
                  </a:lnTo>
                  <a:lnTo>
                    <a:pt x="278" y="85"/>
                  </a:lnTo>
                  <a:lnTo>
                    <a:pt x="276" y="81"/>
                  </a:lnTo>
                  <a:lnTo>
                    <a:pt x="276" y="75"/>
                  </a:lnTo>
                  <a:lnTo>
                    <a:pt x="276" y="69"/>
                  </a:lnTo>
                  <a:lnTo>
                    <a:pt x="276" y="64"/>
                  </a:lnTo>
                  <a:lnTo>
                    <a:pt x="276" y="58"/>
                  </a:lnTo>
                  <a:lnTo>
                    <a:pt x="275" y="55"/>
                  </a:lnTo>
                  <a:lnTo>
                    <a:pt x="273" y="52"/>
                  </a:lnTo>
                  <a:lnTo>
                    <a:pt x="271" y="49"/>
                  </a:lnTo>
                  <a:lnTo>
                    <a:pt x="270" y="47"/>
                  </a:lnTo>
                  <a:lnTo>
                    <a:pt x="271" y="39"/>
                  </a:lnTo>
                  <a:lnTo>
                    <a:pt x="270" y="32"/>
                  </a:lnTo>
                  <a:lnTo>
                    <a:pt x="268" y="24"/>
                  </a:lnTo>
                  <a:lnTo>
                    <a:pt x="266" y="21"/>
                  </a:lnTo>
                  <a:lnTo>
                    <a:pt x="262" y="20"/>
                  </a:lnTo>
                  <a:lnTo>
                    <a:pt x="254" y="13"/>
                  </a:lnTo>
                  <a:lnTo>
                    <a:pt x="247" y="8"/>
                  </a:lnTo>
                  <a:lnTo>
                    <a:pt x="246" y="4"/>
                  </a:lnTo>
                  <a:lnTo>
                    <a:pt x="246" y="0"/>
                  </a:lnTo>
                  <a:lnTo>
                    <a:pt x="235" y="0"/>
                  </a:lnTo>
                  <a:lnTo>
                    <a:pt x="228" y="1"/>
                  </a:lnTo>
                  <a:lnTo>
                    <a:pt x="227" y="1"/>
                  </a:lnTo>
                  <a:lnTo>
                    <a:pt x="226" y="2"/>
                  </a:lnTo>
                  <a:lnTo>
                    <a:pt x="222" y="11"/>
                  </a:lnTo>
                  <a:lnTo>
                    <a:pt x="219" y="15"/>
                  </a:lnTo>
                  <a:lnTo>
                    <a:pt x="218" y="17"/>
                  </a:lnTo>
                  <a:lnTo>
                    <a:pt x="215" y="18"/>
                  </a:lnTo>
                  <a:lnTo>
                    <a:pt x="214" y="18"/>
                  </a:lnTo>
                  <a:lnTo>
                    <a:pt x="214" y="21"/>
                  </a:lnTo>
                  <a:lnTo>
                    <a:pt x="214" y="24"/>
                  </a:lnTo>
                  <a:lnTo>
                    <a:pt x="212" y="26"/>
                  </a:lnTo>
                  <a:lnTo>
                    <a:pt x="208" y="27"/>
                  </a:lnTo>
                  <a:lnTo>
                    <a:pt x="204" y="26"/>
                  </a:lnTo>
                  <a:lnTo>
                    <a:pt x="202" y="23"/>
                  </a:lnTo>
                  <a:lnTo>
                    <a:pt x="199" y="20"/>
                  </a:lnTo>
                  <a:lnTo>
                    <a:pt x="64" y="22"/>
                  </a:lnTo>
                  <a:lnTo>
                    <a:pt x="63" y="59"/>
                  </a:lnTo>
                  <a:lnTo>
                    <a:pt x="54" y="61"/>
                  </a:lnTo>
                  <a:lnTo>
                    <a:pt x="53" y="75"/>
                  </a:lnTo>
                  <a:lnTo>
                    <a:pt x="52" y="138"/>
                  </a:lnTo>
                  <a:lnTo>
                    <a:pt x="49" y="147"/>
                  </a:lnTo>
                  <a:lnTo>
                    <a:pt x="47" y="149"/>
                  </a:lnTo>
                  <a:lnTo>
                    <a:pt x="45" y="150"/>
                  </a:lnTo>
                  <a:lnTo>
                    <a:pt x="44" y="150"/>
                  </a:lnTo>
                  <a:lnTo>
                    <a:pt x="39" y="148"/>
                  </a:lnTo>
                  <a:lnTo>
                    <a:pt x="34" y="148"/>
                  </a:lnTo>
                  <a:lnTo>
                    <a:pt x="29" y="148"/>
                  </a:lnTo>
                  <a:lnTo>
                    <a:pt x="28" y="150"/>
                  </a:lnTo>
                  <a:lnTo>
                    <a:pt x="26" y="152"/>
                  </a:lnTo>
                  <a:lnTo>
                    <a:pt x="26" y="158"/>
                  </a:lnTo>
                  <a:lnTo>
                    <a:pt x="25" y="161"/>
                  </a:lnTo>
                  <a:lnTo>
                    <a:pt x="25" y="163"/>
                  </a:lnTo>
                  <a:lnTo>
                    <a:pt x="21" y="170"/>
                  </a:lnTo>
                  <a:lnTo>
                    <a:pt x="19" y="179"/>
                  </a:lnTo>
                  <a:lnTo>
                    <a:pt x="16" y="186"/>
                  </a:lnTo>
                  <a:lnTo>
                    <a:pt x="12" y="193"/>
                  </a:lnTo>
                  <a:lnTo>
                    <a:pt x="11" y="196"/>
                  </a:lnTo>
                  <a:lnTo>
                    <a:pt x="8" y="199"/>
                  </a:lnTo>
                  <a:lnTo>
                    <a:pt x="5" y="202"/>
                  </a:lnTo>
                  <a:lnTo>
                    <a:pt x="2" y="206"/>
                  </a:lnTo>
                  <a:lnTo>
                    <a:pt x="0" y="209"/>
                  </a:lnTo>
                  <a:lnTo>
                    <a:pt x="1" y="213"/>
                  </a:lnTo>
                  <a:lnTo>
                    <a:pt x="1" y="215"/>
                  </a:lnTo>
                  <a:lnTo>
                    <a:pt x="2" y="216"/>
                  </a:lnTo>
                  <a:lnTo>
                    <a:pt x="6" y="216"/>
                  </a:lnTo>
                  <a:lnTo>
                    <a:pt x="10" y="216"/>
                  </a:lnTo>
                  <a:lnTo>
                    <a:pt x="14" y="216"/>
                  </a:lnTo>
                  <a:lnTo>
                    <a:pt x="15" y="216"/>
                  </a:lnTo>
                  <a:lnTo>
                    <a:pt x="16" y="218"/>
                  </a:lnTo>
                  <a:lnTo>
                    <a:pt x="16" y="225"/>
                  </a:lnTo>
                  <a:lnTo>
                    <a:pt x="17" y="233"/>
                  </a:lnTo>
                  <a:lnTo>
                    <a:pt x="20" y="240"/>
                  </a:lnTo>
                  <a:lnTo>
                    <a:pt x="21" y="244"/>
                  </a:lnTo>
                  <a:lnTo>
                    <a:pt x="21" y="248"/>
                  </a:lnTo>
                  <a:lnTo>
                    <a:pt x="25" y="250"/>
                  </a:lnTo>
                  <a:lnTo>
                    <a:pt x="28" y="251"/>
                  </a:lnTo>
                  <a:lnTo>
                    <a:pt x="29" y="252"/>
                  </a:lnTo>
                  <a:lnTo>
                    <a:pt x="29" y="258"/>
                  </a:lnTo>
                  <a:lnTo>
                    <a:pt x="29" y="264"/>
                  </a:lnTo>
                  <a:lnTo>
                    <a:pt x="29" y="270"/>
                  </a:lnTo>
                  <a:lnTo>
                    <a:pt x="31" y="276"/>
                  </a:lnTo>
                  <a:lnTo>
                    <a:pt x="33" y="280"/>
                  </a:lnTo>
                  <a:lnTo>
                    <a:pt x="34" y="285"/>
                  </a:lnTo>
                  <a:lnTo>
                    <a:pt x="34" y="290"/>
                  </a:lnTo>
                  <a:lnTo>
                    <a:pt x="34" y="295"/>
                  </a:lnTo>
                  <a:lnTo>
                    <a:pt x="36" y="297"/>
                  </a:lnTo>
                  <a:lnTo>
                    <a:pt x="39" y="299"/>
                  </a:lnTo>
                  <a:lnTo>
                    <a:pt x="45" y="303"/>
                  </a:lnTo>
                  <a:lnTo>
                    <a:pt x="52" y="305"/>
                  </a:lnTo>
                  <a:lnTo>
                    <a:pt x="59" y="308"/>
                  </a:lnTo>
                  <a:lnTo>
                    <a:pt x="61" y="310"/>
                  </a:lnTo>
                  <a:lnTo>
                    <a:pt x="63" y="312"/>
                  </a:lnTo>
                  <a:lnTo>
                    <a:pt x="80" y="324"/>
                  </a:lnTo>
                  <a:lnTo>
                    <a:pt x="87" y="330"/>
                  </a:lnTo>
                  <a:lnTo>
                    <a:pt x="90" y="335"/>
                  </a:lnTo>
                  <a:lnTo>
                    <a:pt x="92" y="339"/>
                  </a:lnTo>
                  <a:lnTo>
                    <a:pt x="95" y="347"/>
                  </a:lnTo>
                  <a:lnTo>
                    <a:pt x="96" y="352"/>
                  </a:lnTo>
                  <a:lnTo>
                    <a:pt x="97" y="355"/>
                  </a:lnTo>
                  <a:lnTo>
                    <a:pt x="102" y="359"/>
                  </a:lnTo>
                  <a:lnTo>
                    <a:pt x="105" y="362"/>
                  </a:lnTo>
                  <a:lnTo>
                    <a:pt x="108" y="366"/>
                  </a:lnTo>
                  <a:lnTo>
                    <a:pt x="111" y="367"/>
                  </a:lnTo>
                  <a:lnTo>
                    <a:pt x="116" y="368"/>
                  </a:lnTo>
                  <a:lnTo>
                    <a:pt x="120" y="368"/>
                  </a:lnTo>
                  <a:lnTo>
                    <a:pt x="125" y="367"/>
                  </a:lnTo>
                  <a:lnTo>
                    <a:pt x="135" y="363"/>
                  </a:lnTo>
                  <a:lnTo>
                    <a:pt x="138" y="363"/>
                  </a:lnTo>
                  <a:lnTo>
                    <a:pt x="139" y="365"/>
                  </a:lnTo>
                  <a:lnTo>
                    <a:pt x="143" y="369"/>
                  </a:lnTo>
                  <a:lnTo>
                    <a:pt x="147" y="375"/>
                  </a:lnTo>
                  <a:lnTo>
                    <a:pt x="151" y="381"/>
                  </a:lnTo>
                  <a:lnTo>
                    <a:pt x="155" y="385"/>
                  </a:lnTo>
                  <a:lnTo>
                    <a:pt x="160" y="388"/>
                  </a:lnTo>
                  <a:lnTo>
                    <a:pt x="165" y="386"/>
                  </a:lnTo>
                  <a:lnTo>
                    <a:pt x="171" y="386"/>
                  </a:lnTo>
                  <a:lnTo>
                    <a:pt x="177" y="386"/>
                  </a:lnTo>
                  <a:lnTo>
                    <a:pt x="184" y="385"/>
                  </a:lnTo>
                  <a:lnTo>
                    <a:pt x="188" y="382"/>
                  </a:lnTo>
                  <a:lnTo>
                    <a:pt x="191" y="380"/>
                  </a:lnTo>
                  <a:lnTo>
                    <a:pt x="199" y="374"/>
                  </a:lnTo>
                  <a:lnTo>
                    <a:pt x="203" y="373"/>
                  </a:lnTo>
                  <a:lnTo>
                    <a:pt x="205" y="373"/>
                  </a:lnTo>
                  <a:lnTo>
                    <a:pt x="213" y="374"/>
                  </a:lnTo>
                  <a:lnTo>
                    <a:pt x="217" y="373"/>
                  </a:lnTo>
                  <a:lnTo>
                    <a:pt x="221" y="372"/>
                  </a:lnTo>
                  <a:lnTo>
                    <a:pt x="227" y="363"/>
                  </a:lnTo>
                  <a:lnTo>
                    <a:pt x="231" y="359"/>
                  </a:lnTo>
                  <a:lnTo>
                    <a:pt x="236" y="355"/>
                  </a:lnTo>
                  <a:lnTo>
                    <a:pt x="238" y="354"/>
                  </a:lnTo>
                  <a:lnTo>
                    <a:pt x="241" y="355"/>
                  </a:lnTo>
                  <a:lnTo>
                    <a:pt x="246" y="359"/>
                  </a:lnTo>
                  <a:lnTo>
                    <a:pt x="248" y="359"/>
                  </a:lnTo>
                  <a:lnTo>
                    <a:pt x="251" y="35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5" name="Freeform 724"/>
            <p:cNvSpPr>
              <a:spLocks/>
            </p:cNvSpPr>
            <p:nvPr/>
          </p:nvSpPr>
          <p:spPr bwMode="auto">
            <a:xfrm>
              <a:off x="4652963" y="4243393"/>
              <a:ext cx="481012" cy="587375"/>
            </a:xfrm>
            <a:custGeom>
              <a:avLst/>
              <a:gdLst>
                <a:gd name="T0" fmla="*/ 2147483647 w 328"/>
                <a:gd name="T1" fmla="*/ 2147483647 h 370"/>
                <a:gd name="T2" fmla="*/ 2147483647 w 328"/>
                <a:gd name="T3" fmla="*/ 2147483647 h 370"/>
                <a:gd name="T4" fmla="*/ 2147483647 w 328"/>
                <a:gd name="T5" fmla="*/ 2147483647 h 370"/>
                <a:gd name="T6" fmla="*/ 2147483647 w 328"/>
                <a:gd name="T7" fmla="*/ 2147483647 h 370"/>
                <a:gd name="T8" fmla="*/ 2147483647 w 328"/>
                <a:gd name="T9" fmla="*/ 2147483647 h 370"/>
                <a:gd name="T10" fmla="*/ 2147483647 w 328"/>
                <a:gd name="T11" fmla="*/ 2147483647 h 370"/>
                <a:gd name="T12" fmla="*/ 2147483647 w 328"/>
                <a:gd name="T13" fmla="*/ 2147483647 h 370"/>
                <a:gd name="T14" fmla="*/ 2147483647 w 328"/>
                <a:gd name="T15" fmla="*/ 2147483647 h 370"/>
                <a:gd name="T16" fmla="*/ 2147483647 w 328"/>
                <a:gd name="T17" fmla="*/ 2147483647 h 370"/>
                <a:gd name="T18" fmla="*/ 2147483647 w 328"/>
                <a:gd name="T19" fmla="*/ 2147483647 h 370"/>
                <a:gd name="T20" fmla="*/ 2147483647 w 328"/>
                <a:gd name="T21" fmla="*/ 2147483647 h 370"/>
                <a:gd name="T22" fmla="*/ 2147483647 w 328"/>
                <a:gd name="T23" fmla="*/ 2147483647 h 370"/>
                <a:gd name="T24" fmla="*/ 2147483647 w 328"/>
                <a:gd name="T25" fmla="*/ 2147483647 h 370"/>
                <a:gd name="T26" fmla="*/ 2147483647 w 328"/>
                <a:gd name="T27" fmla="*/ 2147483647 h 370"/>
                <a:gd name="T28" fmla="*/ 2147483647 w 328"/>
                <a:gd name="T29" fmla="*/ 2147483647 h 370"/>
                <a:gd name="T30" fmla="*/ 2147483647 w 328"/>
                <a:gd name="T31" fmla="*/ 2147483647 h 370"/>
                <a:gd name="T32" fmla="*/ 2147483647 w 328"/>
                <a:gd name="T33" fmla="*/ 2147483647 h 370"/>
                <a:gd name="T34" fmla="*/ 2147483647 w 328"/>
                <a:gd name="T35" fmla="*/ 2147483647 h 370"/>
                <a:gd name="T36" fmla="*/ 2147483647 w 328"/>
                <a:gd name="T37" fmla="*/ 2147483647 h 370"/>
                <a:gd name="T38" fmla="*/ 2147483647 w 328"/>
                <a:gd name="T39" fmla="*/ 2147483647 h 370"/>
                <a:gd name="T40" fmla="*/ 2147483647 w 328"/>
                <a:gd name="T41" fmla="*/ 2147483647 h 370"/>
                <a:gd name="T42" fmla="*/ 2147483647 w 328"/>
                <a:gd name="T43" fmla="*/ 2147483647 h 370"/>
                <a:gd name="T44" fmla="*/ 2147483647 w 328"/>
                <a:gd name="T45" fmla="*/ 2147483647 h 370"/>
                <a:gd name="T46" fmla="*/ 2147483647 w 328"/>
                <a:gd name="T47" fmla="*/ 2147483647 h 370"/>
                <a:gd name="T48" fmla="*/ 2147483647 w 328"/>
                <a:gd name="T49" fmla="*/ 2147483647 h 370"/>
                <a:gd name="T50" fmla="*/ 2147483647 w 328"/>
                <a:gd name="T51" fmla="*/ 2147483647 h 370"/>
                <a:gd name="T52" fmla="*/ 2147483647 w 328"/>
                <a:gd name="T53" fmla="*/ 2147483647 h 370"/>
                <a:gd name="T54" fmla="*/ 2147483647 w 328"/>
                <a:gd name="T55" fmla="*/ 2147483647 h 370"/>
                <a:gd name="T56" fmla="*/ 2147483647 w 328"/>
                <a:gd name="T57" fmla="*/ 2147483647 h 370"/>
                <a:gd name="T58" fmla="*/ 2147483647 w 328"/>
                <a:gd name="T59" fmla="*/ 2147483647 h 370"/>
                <a:gd name="T60" fmla="*/ 2147483647 w 328"/>
                <a:gd name="T61" fmla="*/ 2147483647 h 370"/>
                <a:gd name="T62" fmla="*/ 2147483647 w 328"/>
                <a:gd name="T63" fmla="*/ 2147483647 h 370"/>
                <a:gd name="T64" fmla="*/ 2147483647 w 328"/>
                <a:gd name="T65" fmla="*/ 2147483647 h 370"/>
                <a:gd name="T66" fmla="*/ 2147483647 w 328"/>
                <a:gd name="T67" fmla="*/ 2147483647 h 370"/>
                <a:gd name="T68" fmla="*/ 2147483647 w 328"/>
                <a:gd name="T69" fmla="*/ 2147483647 h 370"/>
                <a:gd name="T70" fmla="*/ 2147483647 w 328"/>
                <a:gd name="T71" fmla="*/ 2147483647 h 370"/>
                <a:gd name="T72" fmla="*/ 2147483647 w 328"/>
                <a:gd name="T73" fmla="*/ 2147483647 h 370"/>
                <a:gd name="T74" fmla="*/ 2147483647 w 328"/>
                <a:gd name="T75" fmla="*/ 2147483647 h 370"/>
                <a:gd name="T76" fmla="*/ 2147483647 w 328"/>
                <a:gd name="T77" fmla="*/ 2147483647 h 370"/>
                <a:gd name="T78" fmla="*/ 2147483647 w 328"/>
                <a:gd name="T79" fmla="*/ 2147483647 h 370"/>
                <a:gd name="T80" fmla="*/ 2147483647 w 328"/>
                <a:gd name="T81" fmla="*/ 2147483647 h 370"/>
                <a:gd name="T82" fmla="*/ 2147483647 w 328"/>
                <a:gd name="T83" fmla="*/ 2147483647 h 370"/>
                <a:gd name="T84" fmla="*/ 2147483647 w 328"/>
                <a:gd name="T85" fmla="*/ 2147483647 h 370"/>
                <a:gd name="T86" fmla="*/ 2147483647 w 328"/>
                <a:gd name="T87" fmla="*/ 2147483647 h 370"/>
                <a:gd name="T88" fmla="*/ 2147483647 w 328"/>
                <a:gd name="T89" fmla="*/ 2147483647 h 370"/>
                <a:gd name="T90" fmla="*/ 2147483647 w 328"/>
                <a:gd name="T91" fmla="*/ 2147483647 h 370"/>
                <a:gd name="T92" fmla="*/ 2147483647 w 328"/>
                <a:gd name="T93" fmla="*/ 2147483647 h 370"/>
                <a:gd name="T94" fmla="*/ 2147483647 w 328"/>
                <a:gd name="T95" fmla="*/ 2147483647 h 370"/>
                <a:gd name="T96" fmla="*/ 2147483647 w 328"/>
                <a:gd name="T97" fmla="*/ 2147483647 h 370"/>
                <a:gd name="T98" fmla="*/ 2147483647 w 328"/>
                <a:gd name="T99" fmla="*/ 2147483647 h 370"/>
                <a:gd name="T100" fmla="*/ 2147483647 w 328"/>
                <a:gd name="T101" fmla="*/ 2147483647 h 370"/>
                <a:gd name="T102" fmla="*/ 2147483647 w 328"/>
                <a:gd name="T103" fmla="*/ 2147483647 h 370"/>
                <a:gd name="T104" fmla="*/ 2147483647 w 328"/>
                <a:gd name="T105" fmla="*/ 2147483647 h 370"/>
                <a:gd name="T106" fmla="*/ 2147483647 w 328"/>
                <a:gd name="T107" fmla="*/ 2147483647 h 370"/>
                <a:gd name="T108" fmla="*/ 2147483647 w 328"/>
                <a:gd name="T109" fmla="*/ 2147483647 h 370"/>
                <a:gd name="T110" fmla="*/ 2147483647 w 328"/>
                <a:gd name="T111" fmla="*/ 2147483647 h 370"/>
                <a:gd name="T112" fmla="*/ 2147483647 w 328"/>
                <a:gd name="T113" fmla="*/ 2147483647 h 370"/>
                <a:gd name="T114" fmla="*/ 2147483647 w 328"/>
                <a:gd name="T115" fmla="*/ 2147483647 h 370"/>
                <a:gd name="T116" fmla="*/ 0 w 328"/>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370"/>
                <a:gd name="T179" fmla="*/ 328 w 328"/>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370">
                  <a:moveTo>
                    <a:pt x="0" y="214"/>
                  </a:moveTo>
                  <a:lnTo>
                    <a:pt x="0" y="214"/>
                  </a:lnTo>
                  <a:lnTo>
                    <a:pt x="6" y="213"/>
                  </a:lnTo>
                  <a:lnTo>
                    <a:pt x="7" y="211"/>
                  </a:lnTo>
                  <a:lnTo>
                    <a:pt x="8" y="211"/>
                  </a:lnTo>
                  <a:lnTo>
                    <a:pt x="8" y="208"/>
                  </a:lnTo>
                  <a:lnTo>
                    <a:pt x="10" y="204"/>
                  </a:lnTo>
                  <a:lnTo>
                    <a:pt x="14" y="201"/>
                  </a:lnTo>
                  <a:lnTo>
                    <a:pt x="17" y="196"/>
                  </a:lnTo>
                  <a:lnTo>
                    <a:pt x="20" y="198"/>
                  </a:lnTo>
                  <a:lnTo>
                    <a:pt x="24" y="198"/>
                  </a:lnTo>
                  <a:lnTo>
                    <a:pt x="25" y="197"/>
                  </a:lnTo>
                  <a:lnTo>
                    <a:pt x="26" y="196"/>
                  </a:lnTo>
                  <a:lnTo>
                    <a:pt x="28" y="191"/>
                  </a:lnTo>
                  <a:lnTo>
                    <a:pt x="29" y="189"/>
                  </a:lnTo>
                  <a:lnTo>
                    <a:pt x="30" y="187"/>
                  </a:lnTo>
                  <a:lnTo>
                    <a:pt x="34" y="185"/>
                  </a:lnTo>
                  <a:lnTo>
                    <a:pt x="36" y="185"/>
                  </a:lnTo>
                  <a:lnTo>
                    <a:pt x="39" y="187"/>
                  </a:lnTo>
                  <a:lnTo>
                    <a:pt x="42" y="190"/>
                  </a:lnTo>
                  <a:lnTo>
                    <a:pt x="44" y="192"/>
                  </a:lnTo>
                  <a:lnTo>
                    <a:pt x="47" y="192"/>
                  </a:lnTo>
                  <a:lnTo>
                    <a:pt x="48" y="191"/>
                  </a:lnTo>
                  <a:lnTo>
                    <a:pt x="54" y="187"/>
                  </a:lnTo>
                  <a:lnTo>
                    <a:pt x="58" y="184"/>
                  </a:lnTo>
                  <a:lnTo>
                    <a:pt x="63" y="183"/>
                  </a:lnTo>
                  <a:lnTo>
                    <a:pt x="67" y="182"/>
                  </a:lnTo>
                  <a:lnTo>
                    <a:pt x="69" y="181"/>
                  </a:lnTo>
                  <a:lnTo>
                    <a:pt x="73" y="175"/>
                  </a:lnTo>
                  <a:lnTo>
                    <a:pt x="75" y="171"/>
                  </a:lnTo>
                  <a:lnTo>
                    <a:pt x="73" y="168"/>
                  </a:lnTo>
                  <a:lnTo>
                    <a:pt x="72" y="164"/>
                  </a:lnTo>
                  <a:lnTo>
                    <a:pt x="71" y="159"/>
                  </a:lnTo>
                  <a:lnTo>
                    <a:pt x="69" y="156"/>
                  </a:lnTo>
                  <a:lnTo>
                    <a:pt x="69" y="155"/>
                  </a:lnTo>
                  <a:lnTo>
                    <a:pt x="71" y="153"/>
                  </a:lnTo>
                  <a:lnTo>
                    <a:pt x="76" y="146"/>
                  </a:lnTo>
                  <a:lnTo>
                    <a:pt x="77" y="143"/>
                  </a:lnTo>
                  <a:lnTo>
                    <a:pt x="78" y="139"/>
                  </a:lnTo>
                  <a:lnTo>
                    <a:pt x="80" y="138"/>
                  </a:lnTo>
                  <a:lnTo>
                    <a:pt x="81" y="137"/>
                  </a:lnTo>
                  <a:lnTo>
                    <a:pt x="85" y="134"/>
                  </a:lnTo>
                  <a:lnTo>
                    <a:pt x="88" y="131"/>
                  </a:lnTo>
                  <a:lnTo>
                    <a:pt x="92" y="126"/>
                  </a:lnTo>
                  <a:lnTo>
                    <a:pt x="94" y="123"/>
                  </a:lnTo>
                  <a:lnTo>
                    <a:pt x="95" y="118"/>
                  </a:lnTo>
                  <a:lnTo>
                    <a:pt x="99" y="110"/>
                  </a:lnTo>
                  <a:lnTo>
                    <a:pt x="99" y="106"/>
                  </a:lnTo>
                  <a:lnTo>
                    <a:pt x="97" y="102"/>
                  </a:lnTo>
                  <a:lnTo>
                    <a:pt x="95" y="94"/>
                  </a:lnTo>
                  <a:lnTo>
                    <a:pt x="94" y="87"/>
                  </a:lnTo>
                  <a:lnTo>
                    <a:pt x="95" y="81"/>
                  </a:lnTo>
                  <a:lnTo>
                    <a:pt x="96" y="76"/>
                  </a:lnTo>
                  <a:lnTo>
                    <a:pt x="97" y="74"/>
                  </a:lnTo>
                  <a:lnTo>
                    <a:pt x="97" y="72"/>
                  </a:lnTo>
                  <a:lnTo>
                    <a:pt x="99" y="67"/>
                  </a:lnTo>
                  <a:lnTo>
                    <a:pt x="104" y="53"/>
                  </a:lnTo>
                  <a:lnTo>
                    <a:pt x="106" y="45"/>
                  </a:lnTo>
                  <a:lnTo>
                    <a:pt x="108" y="36"/>
                  </a:lnTo>
                  <a:lnTo>
                    <a:pt x="108" y="31"/>
                  </a:lnTo>
                  <a:lnTo>
                    <a:pt x="108" y="30"/>
                  </a:lnTo>
                  <a:lnTo>
                    <a:pt x="110" y="29"/>
                  </a:lnTo>
                  <a:lnTo>
                    <a:pt x="111" y="28"/>
                  </a:lnTo>
                  <a:lnTo>
                    <a:pt x="113" y="27"/>
                  </a:lnTo>
                  <a:lnTo>
                    <a:pt x="114" y="18"/>
                  </a:lnTo>
                  <a:lnTo>
                    <a:pt x="119" y="16"/>
                  </a:lnTo>
                  <a:lnTo>
                    <a:pt x="122" y="12"/>
                  </a:lnTo>
                  <a:lnTo>
                    <a:pt x="125" y="4"/>
                  </a:lnTo>
                  <a:lnTo>
                    <a:pt x="127" y="3"/>
                  </a:lnTo>
                  <a:lnTo>
                    <a:pt x="129" y="4"/>
                  </a:lnTo>
                  <a:lnTo>
                    <a:pt x="135" y="5"/>
                  </a:lnTo>
                  <a:lnTo>
                    <a:pt x="139" y="6"/>
                  </a:lnTo>
                  <a:lnTo>
                    <a:pt x="142" y="6"/>
                  </a:lnTo>
                  <a:lnTo>
                    <a:pt x="146" y="11"/>
                  </a:lnTo>
                  <a:lnTo>
                    <a:pt x="148" y="15"/>
                  </a:lnTo>
                  <a:lnTo>
                    <a:pt x="151" y="16"/>
                  </a:lnTo>
                  <a:lnTo>
                    <a:pt x="153" y="17"/>
                  </a:lnTo>
                  <a:lnTo>
                    <a:pt x="160" y="18"/>
                  </a:lnTo>
                  <a:lnTo>
                    <a:pt x="168" y="18"/>
                  </a:lnTo>
                  <a:lnTo>
                    <a:pt x="177" y="17"/>
                  </a:lnTo>
                  <a:lnTo>
                    <a:pt x="181" y="16"/>
                  </a:lnTo>
                  <a:lnTo>
                    <a:pt x="185" y="13"/>
                  </a:lnTo>
                  <a:lnTo>
                    <a:pt x="189" y="9"/>
                  </a:lnTo>
                  <a:lnTo>
                    <a:pt x="190" y="8"/>
                  </a:lnTo>
                  <a:lnTo>
                    <a:pt x="193" y="9"/>
                  </a:lnTo>
                  <a:lnTo>
                    <a:pt x="200" y="11"/>
                  </a:lnTo>
                  <a:lnTo>
                    <a:pt x="208" y="12"/>
                  </a:lnTo>
                  <a:lnTo>
                    <a:pt x="215" y="11"/>
                  </a:lnTo>
                  <a:lnTo>
                    <a:pt x="219" y="10"/>
                  </a:lnTo>
                  <a:lnTo>
                    <a:pt x="222" y="9"/>
                  </a:lnTo>
                  <a:lnTo>
                    <a:pt x="227" y="5"/>
                  </a:lnTo>
                  <a:lnTo>
                    <a:pt x="232" y="2"/>
                  </a:lnTo>
                  <a:lnTo>
                    <a:pt x="237" y="0"/>
                  </a:lnTo>
                  <a:lnTo>
                    <a:pt x="240" y="0"/>
                  </a:lnTo>
                  <a:lnTo>
                    <a:pt x="243" y="2"/>
                  </a:lnTo>
                  <a:lnTo>
                    <a:pt x="250" y="3"/>
                  </a:lnTo>
                  <a:lnTo>
                    <a:pt x="254" y="4"/>
                  </a:lnTo>
                  <a:lnTo>
                    <a:pt x="257" y="5"/>
                  </a:lnTo>
                  <a:lnTo>
                    <a:pt x="262" y="9"/>
                  </a:lnTo>
                  <a:lnTo>
                    <a:pt x="265" y="12"/>
                  </a:lnTo>
                  <a:lnTo>
                    <a:pt x="268" y="16"/>
                  </a:lnTo>
                  <a:lnTo>
                    <a:pt x="271" y="17"/>
                  </a:lnTo>
                  <a:lnTo>
                    <a:pt x="276" y="18"/>
                  </a:lnTo>
                  <a:lnTo>
                    <a:pt x="280" y="18"/>
                  </a:lnTo>
                  <a:lnTo>
                    <a:pt x="285" y="17"/>
                  </a:lnTo>
                  <a:lnTo>
                    <a:pt x="295" y="13"/>
                  </a:lnTo>
                  <a:lnTo>
                    <a:pt x="298" y="13"/>
                  </a:lnTo>
                  <a:lnTo>
                    <a:pt x="299" y="15"/>
                  </a:lnTo>
                  <a:lnTo>
                    <a:pt x="303" y="19"/>
                  </a:lnTo>
                  <a:lnTo>
                    <a:pt x="307" y="25"/>
                  </a:lnTo>
                  <a:lnTo>
                    <a:pt x="311" y="31"/>
                  </a:lnTo>
                  <a:lnTo>
                    <a:pt x="315" y="35"/>
                  </a:lnTo>
                  <a:lnTo>
                    <a:pt x="320" y="38"/>
                  </a:lnTo>
                  <a:lnTo>
                    <a:pt x="322" y="40"/>
                  </a:lnTo>
                  <a:lnTo>
                    <a:pt x="325" y="42"/>
                  </a:lnTo>
                  <a:lnTo>
                    <a:pt x="325" y="45"/>
                  </a:lnTo>
                  <a:lnTo>
                    <a:pt x="325" y="48"/>
                  </a:lnTo>
                  <a:lnTo>
                    <a:pt x="326" y="55"/>
                  </a:lnTo>
                  <a:lnTo>
                    <a:pt x="328" y="62"/>
                  </a:lnTo>
                  <a:lnTo>
                    <a:pt x="328" y="64"/>
                  </a:lnTo>
                  <a:lnTo>
                    <a:pt x="328" y="67"/>
                  </a:lnTo>
                  <a:lnTo>
                    <a:pt x="321" y="75"/>
                  </a:lnTo>
                  <a:lnTo>
                    <a:pt x="317" y="82"/>
                  </a:lnTo>
                  <a:lnTo>
                    <a:pt x="313" y="91"/>
                  </a:lnTo>
                  <a:lnTo>
                    <a:pt x="313" y="95"/>
                  </a:lnTo>
                  <a:lnTo>
                    <a:pt x="313" y="100"/>
                  </a:lnTo>
                  <a:lnTo>
                    <a:pt x="312" y="104"/>
                  </a:lnTo>
                  <a:lnTo>
                    <a:pt x="309" y="106"/>
                  </a:lnTo>
                  <a:lnTo>
                    <a:pt x="306" y="108"/>
                  </a:lnTo>
                  <a:lnTo>
                    <a:pt x="304" y="111"/>
                  </a:lnTo>
                  <a:lnTo>
                    <a:pt x="304" y="114"/>
                  </a:lnTo>
                  <a:lnTo>
                    <a:pt x="304" y="119"/>
                  </a:lnTo>
                  <a:lnTo>
                    <a:pt x="306" y="123"/>
                  </a:lnTo>
                  <a:lnTo>
                    <a:pt x="306" y="125"/>
                  </a:lnTo>
                  <a:lnTo>
                    <a:pt x="299" y="132"/>
                  </a:lnTo>
                  <a:lnTo>
                    <a:pt x="293" y="139"/>
                  </a:lnTo>
                  <a:lnTo>
                    <a:pt x="290" y="144"/>
                  </a:lnTo>
                  <a:lnTo>
                    <a:pt x="289" y="149"/>
                  </a:lnTo>
                  <a:lnTo>
                    <a:pt x="288" y="155"/>
                  </a:lnTo>
                  <a:lnTo>
                    <a:pt x="289" y="157"/>
                  </a:lnTo>
                  <a:lnTo>
                    <a:pt x="290" y="157"/>
                  </a:lnTo>
                  <a:lnTo>
                    <a:pt x="293" y="164"/>
                  </a:lnTo>
                  <a:lnTo>
                    <a:pt x="297" y="171"/>
                  </a:lnTo>
                  <a:lnTo>
                    <a:pt x="301" y="177"/>
                  </a:lnTo>
                  <a:lnTo>
                    <a:pt x="302" y="183"/>
                  </a:lnTo>
                  <a:lnTo>
                    <a:pt x="301" y="195"/>
                  </a:lnTo>
                  <a:lnTo>
                    <a:pt x="302" y="208"/>
                  </a:lnTo>
                  <a:lnTo>
                    <a:pt x="304" y="221"/>
                  </a:lnTo>
                  <a:lnTo>
                    <a:pt x="307" y="233"/>
                  </a:lnTo>
                  <a:lnTo>
                    <a:pt x="312" y="243"/>
                  </a:lnTo>
                  <a:lnTo>
                    <a:pt x="318" y="253"/>
                  </a:lnTo>
                  <a:lnTo>
                    <a:pt x="323" y="262"/>
                  </a:lnTo>
                  <a:lnTo>
                    <a:pt x="326" y="268"/>
                  </a:lnTo>
                  <a:lnTo>
                    <a:pt x="327" y="273"/>
                  </a:lnTo>
                  <a:lnTo>
                    <a:pt x="323" y="272"/>
                  </a:lnTo>
                  <a:lnTo>
                    <a:pt x="316" y="268"/>
                  </a:lnTo>
                  <a:lnTo>
                    <a:pt x="308" y="268"/>
                  </a:lnTo>
                  <a:lnTo>
                    <a:pt x="292" y="268"/>
                  </a:lnTo>
                  <a:lnTo>
                    <a:pt x="292" y="270"/>
                  </a:lnTo>
                  <a:lnTo>
                    <a:pt x="290" y="272"/>
                  </a:lnTo>
                  <a:lnTo>
                    <a:pt x="290" y="274"/>
                  </a:lnTo>
                  <a:lnTo>
                    <a:pt x="290" y="277"/>
                  </a:lnTo>
                  <a:lnTo>
                    <a:pt x="285" y="284"/>
                  </a:lnTo>
                  <a:lnTo>
                    <a:pt x="283" y="292"/>
                  </a:lnTo>
                  <a:lnTo>
                    <a:pt x="282" y="305"/>
                  </a:lnTo>
                  <a:lnTo>
                    <a:pt x="280" y="323"/>
                  </a:lnTo>
                  <a:lnTo>
                    <a:pt x="280" y="328"/>
                  </a:lnTo>
                  <a:lnTo>
                    <a:pt x="282" y="332"/>
                  </a:lnTo>
                  <a:lnTo>
                    <a:pt x="284" y="337"/>
                  </a:lnTo>
                  <a:lnTo>
                    <a:pt x="288" y="342"/>
                  </a:lnTo>
                  <a:lnTo>
                    <a:pt x="290" y="345"/>
                  </a:lnTo>
                  <a:lnTo>
                    <a:pt x="295" y="348"/>
                  </a:lnTo>
                  <a:lnTo>
                    <a:pt x="299" y="350"/>
                  </a:lnTo>
                  <a:lnTo>
                    <a:pt x="303" y="350"/>
                  </a:lnTo>
                  <a:lnTo>
                    <a:pt x="304" y="350"/>
                  </a:lnTo>
                  <a:lnTo>
                    <a:pt x="304" y="353"/>
                  </a:lnTo>
                  <a:lnTo>
                    <a:pt x="304" y="357"/>
                  </a:lnTo>
                  <a:lnTo>
                    <a:pt x="304" y="369"/>
                  </a:lnTo>
                  <a:lnTo>
                    <a:pt x="303" y="370"/>
                  </a:lnTo>
                  <a:lnTo>
                    <a:pt x="299" y="370"/>
                  </a:lnTo>
                  <a:lnTo>
                    <a:pt x="294" y="369"/>
                  </a:lnTo>
                  <a:lnTo>
                    <a:pt x="292" y="368"/>
                  </a:lnTo>
                  <a:lnTo>
                    <a:pt x="289" y="364"/>
                  </a:lnTo>
                  <a:lnTo>
                    <a:pt x="288" y="362"/>
                  </a:lnTo>
                  <a:lnTo>
                    <a:pt x="287" y="358"/>
                  </a:lnTo>
                  <a:lnTo>
                    <a:pt x="284" y="356"/>
                  </a:lnTo>
                  <a:lnTo>
                    <a:pt x="279" y="354"/>
                  </a:lnTo>
                  <a:lnTo>
                    <a:pt x="275" y="349"/>
                  </a:lnTo>
                  <a:lnTo>
                    <a:pt x="268" y="340"/>
                  </a:lnTo>
                  <a:lnTo>
                    <a:pt x="265" y="335"/>
                  </a:lnTo>
                  <a:lnTo>
                    <a:pt x="262" y="332"/>
                  </a:lnTo>
                  <a:lnTo>
                    <a:pt x="261" y="332"/>
                  </a:lnTo>
                  <a:lnTo>
                    <a:pt x="260" y="332"/>
                  </a:lnTo>
                  <a:lnTo>
                    <a:pt x="248" y="340"/>
                  </a:lnTo>
                  <a:lnTo>
                    <a:pt x="243" y="341"/>
                  </a:lnTo>
                  <a:lnTo>
                    <a:pt x="237" y="341"/>
                  </a:lnTo>
                  <a:lnTo>
                    <a:pt x="232" y="340"/>
                  </a:lnTo>
                  <a:lnTo>
                    <a:pt x="229" y="338"/>
                  </a:lnTo>
                  <a:lnTo>
                    <a:pt x="229" y="336"/>
                  </a:lnTo>
                  <a:lnTo>
                    <a:pt x="229" y="332"/>
                  </a:lnTo>
                  <a:lnTo>
                    <a:pt x="231" y="328"/>
                  </a:lnTo>
                  <a:lnTo>
                    <a:pt x="223" y="330"/>
                  </a:lnTo>
                  <a:lnTo>
                    <a:pt x="219" y="331"/>
                  </a:lnTo>
                  <a:lnTo>
                    <a:pt x="217" y="330"/>
                  </a:lnTo>
                  <a:lnTo>
                    <a:pt x="212" y="325"/>
                  </a:lnTo>
                  <a:lnTo>
                    <a:pt x="205" y="323"/>
                  </a:lnTo>
                  <a:lnTo>
                    <a:pt x="200" y="324"/>
                  </a:lnTo>
                  <a:lnTo>
                    <a:pt x="194" y="325"/>
                  </a:lnTo>
                  <a:lnTo>
                    <a:pt x="182" y="328"/>
                  </a:lnTo>
                  <a:lnTo>
                    <a:pt x="180" y="326"/>
                  </a:lnTo>
                  <a:lnTo>
                    <a:pt x="177" y="325"/>
                  </a:lnTo>
                  <a:lnTo>
                    <a:pt x="177" y="324"/>
                  </a:lnTo>
                  <a:lnTo>
                    <a:pt x="177" y="312"/>
                  </a:lnTo>
                  <a:lnTo>
                    <a:pt x="176" y="300"/>
                  </a:lnTo>
                  <a:lnTo>
                    <a:pt x="172" y="289"/>
                  </a:lnTo>
                  <a:lnTo>
                    <a:pt x="167" y="277"/>
                  </a:lnTo>
                  <a:lnTo>
                    <a:pt x="167" y="274"/>
                  </a:lnTo>
                  <a:lnTo>
                    <a:pt x="168" y="271"/>
                  </a:lnTo>
                  <a:lnTo>
                    <a:pt x="168" y="267"/>
                  </a:lnTo>
                  <a:lnTo>
                    <a:pt x="167" y="264"/>
                  </a:lnTo>
                  <a:lnTo>
                    <a:pt x="166" y="262"/>
                  </a:lnTo>
                  <a:lnTo>
                    <a:pt x="165" y="257"/>
                  </a:lnTo>
                  <a:lnTo>
                    <a:pt x="165" y="254"/>
                  </a:lnTo>
                  <a:lnTo>
                    <a:pt x="162" y="253"/>
                  </a:lnTo>
                  <a:lnTo>
                    <a:pt x="158" y="252"/>
                  </a:lnTo>
                  <a:lnTo>
                    <a:pt x="156" y="253"/>
                  </a:lnTo>
                  <a:lnTo>
                    <a:pt x="153" y="252"/>
                  </a:lnTo>
                  <a:lnTo>
                    <a:pt x="151" y="252"/>
                  </a:lnTo>
                  <a:lnTo>
                    <a:pt x="146" y="252"/>
                  </a:lnTo>
                  <a:lnTo>
                    <a:pt x="143" y="251"/>
                  </a:lnTo>
                  <a:lnTo>
                    <a:pt x="142" y="249"/>
                  </a:lnTo>
                  <a:lnTo>
                    <a:pt x="141" y="247"/>
                  </a:lnTo>
                  <a:lnTo>
                    <a:pt x="138" y="245"/>
                  </a:lnTo>
                  <a:lnTo>
                    <a:pt x="134" y="243"/>
                  </a:lnTo>
                  <a:lnTo>
                    <a:pt x="129" y="245"/>
                  </a:lnTo>
                  <a:lnTo>
                    <a:pt x="127" y="247"/>
                  </a:lnTo>
                  <a:lnTo>
                    <a:pt x="124" y="251"/>
                  </a:lnTo>
                  <a:lnTo>
                    <a:pt x="124" y="255"/>
                  </a:lnTo>
                  <a:lnTo>
                    <a:pt x="124" y="261"/>
                  </a:lnTo>
                  <a:lnTo>
                    <a:pt x="124" y="262"/>
                  </a:lnTo>
                  <a:lnTo>
                    <a:pt x="123" y="265"/>
                  </a:lnTo>
                  <a:lnTo>
                    <a:pt x="116" y="267"/>
                  </a:lnTo>
                  <a:lnTo>
                    <a:pt x="110" y="268"/>
                  </a:lnTo>
                  <a:lnTo>
                    <a:pt x="104" y="267"/>
                  </a:lnTo>
                  <a:lnTo>
                    <a:pt x="102" y="266"/>
                  </a:lnTo>
                  <a:lnTo>
                    <a:pt x="100" y="265"/>
                  </a:lnTo>
                  <a:lnTo>
                    <a:pt x="97" y="257"/>
                  </a:lnTo>
                  <a:lnTo>
                    <a:pt x="96" y="246"/>
                  </a:lnTo>
                  <a:lnTo>
                    <a:pt x="94" y="236"/>
                  </a:lnTo>
                  <a:lnTo>
                    <a:pt x="91" y="233"/>
                  </a:lnTo>
                  <a:lnTo>
                    <a:pt x="87" y="229"/>
                  </a:lnTo>
                  <a:lnTo>
                    <a:pt x="78" y="226"/>
                  </a:lnTo>
                  <a:lnTo>
                    <a:pt x="69" y="225"/>
                  </a:lnTo>
                  <a:lnTo>
                    <a:pt x="59" y="225"/>
                  </a:lnTo>
                  <a:lnTo>
                    <a:pt x="50" y="225"/>
                  </a:lnTo>
                  <a:lnTo>
                    <a:pt x="42" y="223"/>
                  </a:lnTo>
                  <a:lnTo>
                    <a:pt x="33" y="221"/>
                  </a:lnTo>
                  <a:lnTo>
                    <a:pt x="26" y="221"/>
                  </a:lnTo>
                  <a:lnTo>
                    <a:pt x="22" y="223"/>
                  </a:lnTo>
                  <a:lnTo>
                    <a:pt x="19" y="227"/>
                  </a:lnTo>
                  <a:lnTo>
                    <a:pt x="16" y="228"/>
                  </a:lnTo>
                  <a:lnTo>
                    <a:pt x="11" y="229"/>
                  </a:lnTo>
                  <a:lnTo>
                    <a:pt x="6" y="229"/>
                  </a:lnTo>
                  <a:lnTo>
                    <a:pt x="3" y="229"/>
                  </a:lnTo>
                  <a:lnTo>
                    <a:pt x="2" y="228"/>
                  </a:lnTo>
                  <a:lnTo>
                    <a:pt x="0" y="226"/>
                  </a:lnTo>
                  <a:lnTo>
                    <a:pt x="0" y="222"/>
                  </a:lnTo>
                  <a:lnTo>
                    <a:pt x="0" y="217"/>
                  </a:lnTo>
                  <a:lnTo>
                    <a:pt x="0" y="2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6" name="Freeform 725"/>
            <p:cNvSpPr>
              <a:spLocks/>
            </p:cNvSpPr>
            <p:nvPr/>
          </p:nvSpPr>
          <p:spPr bwMode="auto">
            <a:xfrm>
              <a:off x="4640264" y="4595812"/>
              <a:ext cx="315912" cy="381000"/>
            </a:xfrm>
            <a:custGeom>
              <a:avLst/>
              <a:gdLst>
                <a:gd name="T0" fmla="*/ 2147483647 w 215"/>
                <a:gd name="T1" fmla="*/ 2147483647 h 240"/>
                <a:gd name="T2" fmla="*/ 2147483647 w 215"/>
                <a:gd name="T3" fmla="*/ 0 h 240"/>
                <a:gd name="T4" fmla="*/ 2147483647 w 215"/>
                <a:gd name="T5" fmla="*/ 2147483647 h 240"/>
                <a:gd name="T6" fmla="*/ 2147483647 w 215"/>
                <a:gd name="T7" fmla="*/ 2147483647 h 240"/>
                <a:gd name="T8" fmla="*/ 2147483647 w 215"/>
                <a:gd name="T9" fmla="*/ 2147483647 h 240"/>
                <a:gd name="T10" fmla="*/ 2147483647 w 215"/>
                <a:gd name="T11" fmla="*/ 2147483647 h 240"/>
                <a:gd name="T12" fmla="*/ 2147483647 w 215"/>
                <a:gd name="T13" fmla="*/ 2147483647 h 240"/>
                <a:gd name="T14" fmla="*/ 2147483647 w 215"/>
                <a:gd name="T15" fmla="*/ 2147483647 h 240"/>
                <a:gd name="T16" fmla="*/ 2147483647 w 215"/>
                <a:gd name="T17" fmla="*/ 2147483647 h 240"/>
                <a:gd name="T18" fmla="*/ 2147483647 w 215"/>
                <a:gd name="T19" fmla="*/ 2147483647 h 240"/>
                <a:gd name="T20" fmla="*/ 2147483647 w 215"/>
                <a:gd name="T21" fmla="*/ 2147483647 h 240"/>
                <a:gd name="T22" fmla="*/ 2147483647 w 215"/>
                <a:gd name="T23" fmla="*/ 2147483647 h 240"/>
                <a:gd name="T24" fmla="*/ 2147483647 w 215"/>
                <a:gd name="T25" fmla="*/ 2147483647 h 240"/>
                <a:gd name="T26" fmla="*/ 2147483647 w 215"/>
                <a:gd name="T27" fmla="*/ 2147483647 h 240"/>
                <a:gd name="T28" fmla="*/ 2147483647 w 215"/>
                <a:gd name="T29" fmla="*/ 2147483647 h 240"/>
                <a:gd name="T30" fmla="*/ 2147483647 w 215"/>
                <a:gd name="T31" fmla="*/ 2147483647 h 240"/>
                <a:gd name="T32" fmla="*/ 2147483647 w 215"/>
                <a:gd name="T33" fmla="*/ 2147483647 h 240"/>
                <a:gd name="T34" fmla="*/ 2147483647 w 215"/>
                <a:gd name="T35" fmla="*/ 2147483647 h 240"/>
                <a:gd name="T36" fmla="*/ 2147483647 w 215"/>
                <a:gd name="T37" fmla="*/ 2147483647 h 240"/>
                <a:gd name="T38" fmla="*/ 2147483647 w 215"/>
                <a:gd name="T39" fmla="*/ 2147483647 h 240"/>
                <a:gd name="T40" fmla="*/ 2147483647 w 215"/>
                <a:gd name="T41" fmla="*/ 2147483647 h 240"/>
                <a:gd name="T42" fmla="*/ 2147483647 w 215"/>
                <a:gd name="T43" fmla="*/ 2147483647 h 240"/>
                <a:gd name="T44" fmla="*/ 2147483647 w 215"/>
                <a:gd name="T45" fmla="*/ 2147483647 h 240"/>
                <a:gd name="T46" fmla="*/ 2147483647 w 215"/>
                <a:gd name="T47" fmla="*/ 2147483647 h 240"/>
                <a:gd name="T48" fmla="*/ 2147483647 w 215"/>
                <a:gd name="T49" fmla="*/ 2147483647 h 240"/>
                <a:gd name="T50" fmla="*/ 2147483647 w 215"/>
                <a:gd name="T51" fmla="*/ 2147483647 h 240"/>
                <a:gd name="T52" fmla="*/ 2147483647 w 215"/>
                <a:gd name="T53" fmla="*/ 2147483647 h 240"/>
                <a:gd name="T54" fmla="*/ 2147483647 w 215"/>
                <a:gd name="T55" fmla="*/ 2147483647 h 240"/>
                <a:gd name="T56" fmla="*/ 2147483647 w 215"/>
                <a:gd name="T57" fmla="*/ 2147483647 h 240"/>
                <a:gd name="T58" fmla="*/ 2147483647 w 215"/>
                <a:gd name="T59" fmla="*/ 2147483647 h 240"/>
                <a:gd name="T60" fmla="*/ 2147483647 w 215"/>
                <a:gd name="T61" fmla="*/ 2147483647 h 240"/>
                <a:gd name="T62" fmla="*/ 2147483647 w 215"/>
                <a:gd name="T63" fmla="*/ 2147483647 h 240"/>
                <a:gd name="T64" fmla="*/ 2147483647 w 215"/>
                <a:gd name="T65" fmla="*/ 2147483647 h 240"/>
                <a:gd name="T66" fmla="*/ 2147483647 w 215"/>
                <a:gd name="T67" fmla="*/ 2147483647 h 240"/>
                <a:gd name="T68" fmla="*/ 2147483647 w 215"/>
                <a:gd name="T69" fmla="*/ 2147483647 h 240"/>
                <a:gd name="T70" fmla="*/ 2147483647 w 215"/>
                <a:gd name="T71" fmla="*/ 2147483647 h 240"/>
                <a:gd name="T72" fmla="*/ 2147483647 w 215"/>
                <a:gd name="T73" fmla="*/ 2147483647 h 240"/>
                <a:gd name="T74" fmla="*/ 2147483647 w 215"/>
                <a:gd name="T75" fmla="*/ 2147483647 h 240"/>
                <a:gd name="T76" fmla="*/ 2147483647 w 215"/>
                <a:gd name="T77" fmla="*/ 2147483647 h 240"/>
                <a:gd name="T78" fmla="*/ 2147483647 w 215"/>
                <a:gd name="T79" fmla="*/ 2147483647 h 240"/>
                <a:gd name="T80" fmla="*/ 2147483647 w 215"/>
                <a:gd name="T81" fmla="*/ 2147483647 h 240"/>
                <a:gd name="T82" fmla="*/ 2147483647 w 215"/>
                <a:gd name="T83" fmla="*/ 2147483647 h 240"/>
                <a:gd name="T84" fmla="*/ 2147483647 w 215"/>
                <a:gd name="T85" fmla="*/ 2147483647 h 240"/>
                <a:gd name="T86" fmla="*/ 2147483647 w 215"/>
                <a:gd name="T87" fmla="*/ 2147483647 h 240"/>
                <a:gd name="T88" fmla="*/ 2147483647 w 215"/>
                <a:gd name="T89" fmla="*/ 2147483647 h 240"/>
                <a:gd name="T90" fmla="*/ 2147483647 w 215"/>
                <a:gd name="T91" fmla="*/ 2147483647 h 240"/>
                <a:gd name="T92" fmla="*/ 2147483647 w 215"/>
                <a:gd name="T93" fmla="*/ 2147483647 h 2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5"/>
                <a:gd name="T142" fmla="*/ 0 h 240"/>
                <a:gd name="T143" fmla="*/ 215 w 215"/>
                <a:gd name="T144" fmla="*/ 240 h 2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5" h="240">
                  <a:moveTo>
                    <a:pt x="20" y="8"/>
                  </a:moveTo>
                  <a:lnTo>
                    <a:pt x="25" y="7"/>
                  </a:lnTo>
                  <a:lnTo>
                    <a:pt x="28" y="6"/>
                  </a:lnTo>
                  <a:lnTo>
                    <a:pt x="32" y="3"/>
                  </a:lnTo>
                  <a:lnTo>
                    <a:pt x="36" y="0"/>
                  </a:lnTo>
                  <a:lnTo>
                    <a:pt x="42" y="0"/>
                  </a:lnTo>
                  <a:lnTo>
                    <a:pt x="51" y="3"/>
                  </a:lnTo>
                  <a:lnTo>
                    <a:pt x="60" y="4"/>
                  </a:lnTo>
                  <a:lnTo>
                    <a:pt x="69" y="4"/>
                  </a:lnTo>
                  <a:lnTo>
                    <a:pt x="79" y="4"/>
                  </a:lnTo>
                  <a:lnTo>
                    <a:pt x="88" y="5"/>
                  </a:lnTo>
                  <a:lnTo>
                    <a:pt x="96" y="8"/>
                  </a:lnTo>
                  <a:lnTo>
                    <a:pt x="100" y="12"/>
                  </a:lnTo>
                  <a:lnTo>
                    <a:pt x="103" y="16"/>
                  </a:lnTo>
                  <a:lnTo>
                    <a:pt x="105" y="25"/>
                  </a:lnTo>
                  <a:lnTo>
                    <a:pt x="107" y="36"/>
                  </a:lnTo>
                  <a:lnTo>
                    <a:pt x="109" y="44"/>
                  </a:lnTo>
                  <a:lnTo>
                    <a:pt x="112" y="45"/>
                  </a:lnTo>
                  <a:lnTo>
                    <a:pt x="113" y="46"/>
                  </a:lnTo>
                  <a:lnTo>
                    <a:pt x="119" y="48"/>
                  </a:lnTo>
                  <a:lnTo>
                    <a:pt x="126" y="46"/>
                  </a:lnTo>
                  <a:lnTo>
                    <a:pt x="132" y="44"/>
                  </a:lnTo>
                  <a:lnTo>
                    <a:pt x="133" y="42"/>
                  </a:lnTo>
                  <a:lnTo>
                    <a:pt x="133" y="40"/>
                  </a:lnTo>
                  <a:lnTo>
                    <a:pt x="133" y="35"/>
                  </a:lnTo>
                  <a:lnTo>
                    <a:pt x="133" y="30"/>
                  </a:lnTo>
                  <a:lnTo>
                    <a:pt x="136" y="26"/>
                  </a:lnTo>
                  <a:lnTo>
                    <a:pt x="138" y="24"/>
                  </a:lnTo>
                  <a:lnTo>
                    <a:pt x="143" y="23"/>
                  </a:lnTo>
                  <a:lnTo>
                    <a:pt x="147" y="24"/>
                  </a:lnTo>
                  <a:lnTo>
                    <a:pt x="150" y="26"/>
                  </a:lnTo>
                  <a:lnTo>
                    <a:pt x="151" y="29"/>
                  </a:lnTo>
                  <a:lnTo>
                    <a:pt x="152" y="30"/>
                  </a:lnTo>
                  <a:lnTo>
                    <a:pt x="155" y="31"/>
                  </a:lnTo>
                  <a:lnTo>
                    <a:pt x="160" y="31"/>
                  </a:lnTo>
                  <a:lnTo>
                    <a:pt x="163" y="31"/>
                  </a:lnTo>
                  <a:lnTo>
                    <a:pt x="165" y="32"/>
                  </a:lnTo>
                  <a:lnTo>
                    <a:pt x="168" y="31"/>
                  </a:lnTo>
                  <a:lnTo>
                    <a:pt x="171" y="32"/>
                  </a:lnTo>
                  <a:lnTo>
                    <a:pt x="174" y="33"/>
                  </a:lnTo>
                  <a:lnTo>
                    <a:pt x="174" y="36"/>
                  </a:lnTo>
                  <a:lnTo>
                    <a:pt x="175" y="42"/>
                  </a:lnTo>
                  <a:lnTo>
                    <a:pt x="176" y="43"/>
                  </a:lnTo>
                  <a:lnTo>
                    <a:pt x="178" y="46"/>
                  </a:lnTo>
                  <a:lnTo>
                    <a:pt x="178" y="50"/>
                  </a:lnTo>
                  <a:lnTo>
                    <a:pt x="176" y="53"/>
                  </a:lnTo>
                  <a:lnTo>
                    <a:pt x="176" y="56"/>
                  </a:lnTo>
                  <a:lnTo>
                    <a:pt x="182" y="68"/>
                  </a:lnTo>
                  <a:lnTo>
                    <a:pt x="185" y="80"/>
                  </a:lnTo>
                  <a:lnTo>
                    <a:pt x="187" y="91"/>
                  </a:lnTo>
                  <a:lnTo>
                    <a:pt x="187" y="103"/>
                  </a:lnTo>
                  <a:lnTo>
                    <a:pt x="187" y="104"/>
                  </a:lnTo>
                  <a:lnTo>
                    <a:pt x="189" y="106"/>
                  </a:lnTo>
                  <a:lnTo>
                    <a:pt x="192" y="107"/>
                  </a:lnTo>
                  <a:lnTo>
                    <a:pt x="203" y="104"/>
                  </a:lnTo>
                  <a:lnTo>
                    <a:pt x="210" y="103"/>
                  </a:lnTo>
                  <a:lnTo>
                    <a:pt x="215" y="102"/>
                  </a:lnTo>
                  <a:lnTo>
                    <a:pt x="215" y="138"/>
                  </a:lnTo>
                  <a:lnTo>
                    <a:pt x="199" y="140"/>
                  </a:lnTo>
                  <a:lnTo>
                    <a:pt x="188" y="141"/>
                  </a:lnTo>
                  <a:lnTo>
                    <a:pt x="182" y="141"/>
                  </a:lnTo>
                  <a:lnTo>
                    <a:pt x="179" y="234"/>
                  </a:lnTo>
                  <a:lnTo>
                    <a:pt x="168" y="237"/>
                  </a:lnTo>
                  <a:lnTo>
                    <a:pt x="156" y="238"/>
                  </a:lnTo>
                  <a:lnTo>
                    <a:pt x="143" y="240"/>
                  </a:lnTo>
                  <a:lnTo>
                    <a:pt x="138" y="238"/>
                  </a:lnTo>
                  <a:lnTo>
                    <a:pt x="132" y="237"/>
                  </a:lnTo>
                  <a:lnTo>
                    <a:pt x="128" y="234"/>
                  </a:lnTo>
                  <a:lnTo>
                    <a:pt x="124" y="230"/>
                  </a:lnTo>
                  <a:lnTo>
                    <a:pt x="122" y="225"/>
                  </a:lnTo>
                  <a:lnTo>
                    <a:pt x="119" y="224"/>
                  </a:lnTo>
                  <a:lnTo>
                    <a:pt x="100" y="223"/>
                  </a:lnTo>
                  <a:lnTo>
                    <a:pt x="81" y="223"/>
                  </a:lnTo>
                  <a:lnTo>
                    <a:pt x="62" y="223"/>
                  </a:lnTo>
                  <a:lnTo>
                    <a:pt x="43" y="221"/>
                  </a:lnTo>
                  <a:lnTo>
                    <a:pt x="36" y="218"/>
                  </a:lnTo>
                  <a:lnTo>
                    <a:pt x="32" y="218"/>
                  </a:lnTo>
                  <a:lnTo>
                    <a:pt x="28" y="218"/>
                  </a:lnTo>
                  <a:lnTo>
                    <a:pt x="27" y="219"/>
                  </a:lnTo>
                  <a:lnTo>
                    <a:pt x="25" y="222"/>
                  </a:lnTo>
                  <a:lnTo>
                    <a:pt x="24" y="224"/>
                  </a:lnTo>
                  <a:lnTo>
                    <a:pt x="23" y="225"/>
                  </a:lnTo>
                  <a:lnTo>
                    <a:pt x="22" y="225"/>
                  </a:lnTo>
                  <a:lnTo>
                    <a:pt x="19" y="224"/>
                  </a:lnTo>
                  <a:lnTo>
                    <a:pt x="18" y="222"/>
                  </a:lnTo>
                  <a:lnTo>
                    <a:pt x="15" y="219"/>
                  </a:lnTo>
                  <a:lnTo>
                    <a:pt x="13" y="218"/>
                  </a:lnTo>
                  <a:lnTo>
                    <a:pt x="10" y="219"/>
                  </a:lnTo>
                  <a:lnTo>
                    <a:pt x="5" y="222"/>
                  </a:lnTo>
                  <a:lnTo>
                    <a:pt x="1" y="218"/>
                  </a:lnTo>
                  <a:lnTo>
                    <a:pt x="0" y="216"/>
                  </a:lnTo>
                  <a:lnTo>
                    <a:pt x="1" y="214"/>
                  </a:lnTo>
                  <a:lnTo>
                    <a:pt x="3" y="206"/>
                  </a:lnTo>
                  <a:lnTo>
                    <a:pt x="4" y="199"/>
                  </a:lnTo>
                  <a:lnTo>
                    <a:pt x="5" y="197"/>
                  </a:lnTo>
                  <a:lnTo>
                    <a:pt x="6" y="195"/>
                  </a:lnTo>
                  <a:lnTo>
                    <a:pt x="9" y="192"/>
                  </a:lnTo>
                  <a:lnTo>
                    <a:pt x="9" y="191"/>
                  </a:lnTo>
                  <a:lnTo>
                    <a:pt x="10" y="177"/>
                  </a:lnTo>
                  <a:lnTo>
                    <a:pt x="11" y="170"/>
                  </a:lnTo>
                  <a:lnTo>
                    <a:pt x="15" y="163"/>
                  </a:lnTo>
                  <a:lnTo>
                    <a:pt x="16" y="160"/>
                  </a:lnTo>
                  <a:lnTo>
                    <a:pt x="16" y="157"/>
                  </a:lnTo>
                  <a:lnTo>
                    <a:pt x="16" y="154"/>
                  </a:lnTo>
                  <a:lnTo>
                    <a:pt x="18" y="151"/>
                  </a:lnTo>
                  <a:lnTo>
                    <a:pt x="20" y="148"/>
                  </a:lnTo>
                  <a:lnTo>
                    <a:pt x="22" y="145"/>
                  </a:lnTo>
                  <a:lnTo>
                    <a:pt x="23" y="139"/>
                  </a:lnTo>
                  <a:lnTo>
                    <a:pt x="27" y="134"/>
                  </a:lnTo>
                  <a:lnTo>
                    <a:pt x="30" y="129"/>
                  </a:lnTo>
                  <a:lnTo>
                    <a:pt x="36" y="126"/>
                  </a:lnTo>
                  <a:lnTo>
                    <a:pt x="37" y="122"/>
                  </a:lnTo>
                  <a:lnTo>
                    <a:pt x="38" y="119"/>
                  </a:lnTo>
                  <a:lnTo>
                    <a:pt x="39" y="108"/>
                  </a:lnTo>
                  <a:lnTo>
                    <a:pt x="39" y="109"/>
                  </a:lnTo>
                  <a:lnTo>
                    <a:pt x="37" y="107"/>
                  </a:lnTo>
                  <a:lnTo>
                    <a:pt x="37" y="104"/>
                  </a:lnTo>
                  <a:lnTo>
                    <a:pt x="34" y="100"/>
                  </a:lnTo>
                  <a:lnTo>
                    <a:pt x="30" y="91"/>
                  </a:lnTo>
                  <a:lnTo>
                    <a:pt x="29" y="87"/>
                  </a:lnTo>
                  <a:lnTo>
                    <a:pt x="29" y="82"/>
                  </a:lnTo>
                  <a:lnTo>
                    <a:pt x="28" y="80"/>
                  </a:lnTo>
                  <a:lnTo>
                    <a:pt x="25" y="77"/>
                  </a:lnTo>
                  <a:lnTo>
                    <a:pt x="25" y="75"/>
                  </a:lnTo>
                  <a:lnTo>
                    <a:pt x="28" y="67"/>
                  </a:lnTo>
                  <a:lnTo>
                    <a:pt x="29" y="62"/>
                  </a:lnTo>
                  <a:lnTo>
                    <a:pt x="30" y="56"/>
                  </a:lnTo>
                  <a:lnTo>
                    <a:pt x="29" y="50"/>
                  </a:lnTo>
                  <a:lnTo>
                    <a:pt x="28" y="44"/>
                  </a:lnTo>
                  <a:lnTo>
                    <a:pt x="24" y="39"/>
                  </a:lnTo>
                  <a:lnTo>
                    <a:pt x="19" y="33"/>
                  </a:lnTo>
                  <a:lnTo>
                    <a:pt x="18" y="32"/>
                  </a:lnTo>
                  <a:lnTo>
                    <a:pt x="18" y="31"/>
                  </a:lnTo>
                  <a:lnTo>
                    <a:pt x="16" y="26"/>
                  </a:lnTo>
                  <a:lnTo>
                    <a:pt x="15" y="24"/>
                  </a:lnTo>
                  <a:lnTo>
                    <a:pt x="13" y="23"/>
                  </a:lnTo>
                  <a:lnTo>
                    <a:pt x="10" y="21"/>
                  </a:lnTo>
                  <a:lnTo>
                    <a:pt x="9" y="19"/>
                  </a:lnTo>
                  <a:lnTo>
                    <a:pt x="8" y="16"/>
                  </a:lnTo>
                  <a:lnTo>
                    <a:pt x="9" y="13"/>
                  </a:lnTo>
                  <a:lnTo>
                    <a:pt x="10" y="13"/>
                  </a:lnTo>
                  <a:lnTo>
                    <a:pt x="15" y="12"/>
                  </a:lnTo>
                  <a:lnTo>
                    <a:pt x="20"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7" name="Freeform 726"/>
            <p:cNvSpPr>
              <a:spLocks/>
            </p:cNvSpPr>
            <p:nvPr/>
          </p:nvSpPr>
          <p:spPr bwMode="auto">
            <a:xfrm>
              <a:off x="4638678" y="4941892"/>
              <a:ext cx="352425" cy="384175"/>
            </a:xfrm>
            <a:custGeom>
              <a:avLst/>
              <a:gdLst>
                <a:gd name="T0" fmla="*/ 2147483647 w 240"/>
                <a:gd name="T1" fmla="*/ 2147483647 h 242"/>
                <a:gd name="T2" fmla="*/ 2147483647 w 240"/>
                <a:gd name="T3" fmla="*/ 2147483647 h 242"/>
                <a:gd name="T4" fmla="*/ 2147483647 w 240"/>
                <a:gd name="T5" fmla="*/ 2147483647 h 242"/>
                <a:gd name="T6" fmla="*/ 2147483647 w 240"/>
                <a:gd name="T7" fmla="*/ 2147483647 h 242"/>
                <a:gd name="T8" fmla="*/ 2147483647 w 240"/>
                <a:gd name="T9" fmla="*/ 2147483647 h 242"/>
                <a:gd name="T10" fmla="*/ 2147483647 w 240"/>
                <a:gd name="T11" fmla="*/ 0 h 242"/>
                <a:gd name="T12" fmla="*/ 2147483647 w 240"/>
                <a:gd name="T13" fmla="*/ 0 h 242"/>
                <a:gd name="T14" fmla="*/ 2147483647 w 240"/>
                <a:gd name="T15" fmla="*/ 2147483647 h 242"/>
                <a:gd name="T16" fmla="*/ 2147483647 w 240"/>
                <a:gd name="T17" fmla="*/ 2147483647 h 242"/>
                <a:gd name="T18" fmla="*/ 2147483647 w 240"/>
                <a:gd name="T19" fmla="*/ 2147483647 h 242"/>
                <a:gd name="T20" fmla="*/ 2147483647 w 240"/>
                <a:gd name="T21" fmla="*/ 2147483647 h 242"/>
                <a:gd name="T22" fmla="*/ 2147483647 w 240"/>
                <a:gd name="T23" fmla="*/ 2147483647 h 242"/>
                <a:gd name="T24" fmla="*/ 2147483647 w 240"/>
                <a:gd name="T25" fmla="*/ 2147483647 h 242"/>
                <a:gd name="T26" fmla="*/ 2147483647 w 240"/>
                <a:gd name="T27" fmla="*/ 2147483647 h 242"/>
                <a:gd name="T28" fmla="*/ 2147483647 w 240"/>
                <a:gd name="T29" fmla="*/ 2147483647 h 242"/>
                <a:gd name="T30" fmla="*/ 2147483647 w 240"/>
                <a:gd name="T31" fmla="*/ 2147483647 h 242"/>
                <a:gd name="T32" fmla="*/ 2147483647 w 240"/>
                <a:gd name="T33" fmla="*/ 2147483647 h 242"/>
                <a:gd name="T34" fmla="*/ 2147483647 w 240"/>
                <a:gd name="T35" fmla="*/ 2147483647 h 242"/>
                <a:gd name="T36" fmla="*/ 2147483647 w 240"/>
                <a:gd name="T37" fmla="*/ 2147483647 h 242"/>
                <a:gd name="T38" fmla="*/ 2147483647 w 240"/>
                <a:gd name="T39" fmla="*/ 2147483647 h 242"/>
                <a:gd name="T40" fmla="*/ 2147483647 w 240"/>
                <a:gd name="T41" fmla="*/ 2147483647 h 242"/>
                <a:gd name="T42" fmla="*/ 2147483647 w 240"/>
                <a:gd name="T43" fmla="*/ 2147483647 h 242"/>
                <a:gd name="T44" fmla="*/ 2147483647 w 240"/>
                <a:gd name="T45" fmla="*/ 2147483647 h 242"/>
                <a:gd name="T46" fmla="*/ 2147483647 w 240"/>
                <a:gd name="T47" fmla="*/ 2147483647 h 242"/>
                <a:gd name="T48" fmla="*/ 2147483647 w 240"/>
                <a:gd name="T49" fmla="*/ 2147483647 h 242"/>
                <a:gd name="T50" fmla="*/ 2147483647 w 240"/>
                <a:gd name="T51" fmla="*/ 2147483647 h 242"/>
                <a:gd name="T52" fmla="*/ 2147483647 w 240"/>
                <a:gd name="T53" fmla="*/ 2147483647 h 242"/>
                <a:gd name="T54" fmla="*/ 2147483647 w 240"/>
                <a:gd name="T55" fmla="*/ 2147483647 h 242"/>
                <a:gd name="T56" fmla="*/ 2147483647 w 240"/>
                <a:gd name="T57" fmla="*/ 2147483647 h 242"/>
                <a:gd name="T58" fmla="*/ 2147483647 w 240"/>
                <a:gd name="T59" fmla="*/ 2147483647 h 242"/>
                <a:gd name="T60" fmla="*/ 2147483647 w 240"/>
                <a:gd name="T61" fmla="*/ 2147483647 h 242"/>
                <a:gd name="T62" fmla="*/ 2147483647 w 240"/>
                <a:gd name="T63" fmla="*/ 2147483647 h 242"/>
                <a:gd name="T64" fmla="*/ 2147483647 w 240"/>
                <a:gd name="T65" fmla="*/ 2147483647 h 242"/>
                <a:gd name="T66" fmla="*/ 2147483647 w 240"/>
                <a:gd name="T67" fmla="*/ 2147483647 h 242"/>
                <a:gd name="T68" fmla="*/ 2147483647 w 240"/>
                <a:gd name="T69" fmla="*/ 2147483647 h 242"/>
                <a:gd name="T70" fmla="*/ 2147483647 w 240"/>
                <a:gd name="T71" fmla="*/ 2147483647 h 242"/>
                <a:gd name="T72" fmla="*/ 2147483647 w 240"/>
                <a:gd name="T73" fmla="*/ 2147483647 h 242"/>
                <a:gd name="T74" fmla="*/ 2147483647 w 240"/>
                <a:gd name="T75" fmla="*/ 2147483647 h 242"/>
                <a:gd name="T76" fmla="*/ 2147483647 w 240"/>
                <a:gd name="T77" fmla="*/ 2147483647 h 242"/>
                <a:gd name="T78" fmla="*/ 2147483647 w 240"/>
                <a:gd name="T79" fmla="*/ 2147483647 h 242"/>
                <a:gd name="T80" fmla="*/ 2147483647 w 240"/>
                <a:gd name="T81" fmla="*/ 2147483647 h 242"/>
                <a:gd name="T82" fmla="*/ 2147483647 w 240"/>
                <a:gd name="T83" fmla="*/ 2147483647 h 242"/>
                <a:gd name="T84" fmla="*/ 2147483647 w 240"/>
                <a:gd name="T85" fmla="*/ 2147483647 h 242"/>
                <a:gd name="T86" fmla="*/ 2147483647 w 240"/>
                <a:gd name="T87" fmla="*/ 2147483647 h 242"/>
                <a:gd name="T88" fmla="*/ 2147483647 w 240"/>
                <a:gd name="T89" fmla="*/ 2147483647 h 242"/>
                <a:gd name="T90" fmla="*/ 2147483647 w 240"/>
                <a:gd name="T91" fmla="*/ 2147483647 h 242"/>
                <a:gd name="T92" fmla="*/ 2147483647 w 240"/>
                <a:gd name="T93" fmla="*/ 2147483647 h 242"/>
                <a:gd name="T94" fmla="*/ 2147483647 w 240"/>
                <a:gd name="T95" fmla="*/ 2147483647 h 242"/>
                <a:gd name="T96" fmla="*/ 2147483647 w 240"/>
                <a:gd name="T97" fmla="*/ 2147483647 h 242"/>
                <a:gd name="T98" fmla="*/ 2147483647 w 240"/>
                <a:gd name="T99" fmla="*/ 2147483647 h 242"/>
                <a:gd name="T100" fmla="*/ 2147483647 w 240"/>
                <a:gd name="T101" fmla="*/ 2147483647 h 242"/>
                <a:gd name="T102" fmla="*/ 2147483647 w 240"/>
                <a:gd name="T103" fmla="*/ 2147483647 h 242"/>
                <a:gd name="T104" fmla="*/ 2147483647 w 240"/>
                <a:gd name="T105" fmla="*/ 2147483647 h 242"/>
                <a:gd name="T106" fmla="*/ 2147483647 w 240"/>
                <a:gd name="T107" fmla="*/ 2147483647 h 242"/>
                <a:gd name="T108" fmla="*/ 2147483647 w 240"/>
                <a:gd name="T109" fmla="*/ 2147483647 h 242"/>
                <a:gd name="T110" fmla="*/ 2147483647 w 240"/>
                <a:gd name="T111" fmla="*/ 2147483647 h 242"/>
                <a:gd name="T112" fmla="*/ 2147483647 w 240"/>
                <a:gd name="T113" fmla="*/ 2147483647 h 242"/>
                <a:gd name="T114" fmla="*/ 2147483647 w 240"/>
                <a:gd name="T115" fmla="*/ 2147483647 h 242"/>
                <a:gd name="T116" fmla="*/ 2147483647 w 240"/>
                <a:gd name="T117" fmla="*/ 2147483647 h 2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0"/>
                <a:gd name="T178" fmla="*/ 0 h 242"/>
                <a:gd name="T179" fmla="*/ 240 w 240"/>
                <a:gd name="T180" fmla="*/ 242 h 2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0" h="242">
                  <a:moveTo>
                    <a:pt x="6" y="4"/>
                  </a:moveTo>
                  <a:lnTo>
                    <a:pt x="11" y="1"/>
                  </a:lnTo>
                  <a:lnTo>
                    <a:pt x="14" y="0"/>
                  </a:lnTo>
                  <a:lnTo>
                    <a:pt x="16" y="1"/>
                  </a:lnTo>
                  <a:lnTo>
                    <a:pt x="19" y="4"/>
                  </a:lnTo>
                  <a:lnTo>
                    <a:pt x="20" y="6"/>
                  </a:lnTo>
                  <a:lnTo>
                    <a:pt x="23" y="7"/>
                  </a:lnTo>
                  <a:lnTo>
                    <a:pt x="24" y="7"/>
                  </a:lnTo>
                  <a:lnTo>
                    <a:pt x="25" y="6"/>
                  </a:lnTo>
                  <a:lnTo>
                    <a:pt x="26" y="4"/>
                  </a:lnTo>
                  <a:lnTo>
                    <a:pt x="28" y="1"/>
                  </a:lnTo>
                  <a:lnTo>
                    <a:pt x="29" y="0"/>
                  </a:lnTo>
                  <a:lnTo>
                    <a:pt x="33" y="0"/>
                  </a:lnTo>
                  <a:lnTo>
                    <a:pt x="37" y="0"/>
                  </a:lnTo>
                  <a:lnTo>
                    <a:pt x="44" y="3"/>
                  </a:lnTo>
                  <a:lnTo>
                    <a:pt x="63" y="5"/>
                  </a:lnTo>
                  <a:lnTo>
                    <a:pt x="82" y="5"/>
                  </a:lnTo>
                  <a:lnTo>
                    <a:pt x="101" y="5"/>
                  </a:lnTo>
                  <a:lnTo>
                    <a:pt x="120" y="6"/>
                  </a:lnTo>
                  <a:lnTo>
                    <a:pt x="123" y="7"/>
                  </a:lnTo>
                  <a:lnTo>
                    <a:pt x="125" y="12"/>
                  </a:lnTo>
                  <a:lnTo>
                    <a:pt x="129" y="16"/>
                  </a:lnTo>
                  <a:lnTo>
                    <a:pt x="133" y="19"/>
                  </a:lnTo>
                  <a:lnTo>
                    <a:pt x="139" y="20"/>
                  </a:lnTo>
                  <a:lnTo>
                    <a:pt x="144" y="22"/>
                  </a:lnTo>
                  <a:lnTo>
                    <a:pt x="157" y="20"/>
                  </a:lnTo>
                  <a:lnTo>
                    <a:pt x="169" y="19"/>
                  </a:lnTo>
                  <a:lnTo>
                    <a:pt x="180" y="16"/>
                  </a:lnTo>
                  <a:lnTo>
                    <a:pt x="202" y="12"/>
                  </a:lnTo>
                  <a:lnTo>
                    <a:pt x="213" y="11"/>
                  </a:lnTo>
                  <a:lnTo>
                    <a:pt x="223" y="11"/>
                  </a:lnTo>
                  <a:lnTo>
                    <a:pt x="228" y="15"/>
                  </a:lnTo>
                  <a:lnTo>
                    <a:pt x="233" y="15"/>
                  </a:lnTo>
                  <a:lnTo>
                    <a:pt x="240" y="15"/>
                  </a:lnTo>
                  <a:lnTo>
                    <a:pt x="240" y="17"/>
                  </a:lnTo>
                  <a:lnTo>
                    <a:pt x="238" y="18"/>
                  </a:lnTo>
                  <a:lnTo>
                    <a:pt x="226" y="22"/>
                  </a:lnTo>
                  <a:lnTo>
                    <a:pt x="219" y="24"/>
                  </a:lnTo>
                  <a:lnTo>
                    <a:pt x="213" y="26"/>
                  </a:lnTo>
                  <a:lnTo>
                    <a:pt x="212" y="26"/>
                  </a:lnTo>
                  <a:lnTo>
                    <a:pt x="209" y="25"/>
                  </a:lnTo>
                  <a:lnTo>
                    <a:pt x="205" y="22"/>
                  </a:lnTo>
                  <a:lnTo>
                    <a:pt x="166" y="29"/>
                  </a:lnTo>
                  <a:lnTo>
                    <a:pt x="165" y="97"/>
                  </a:lnTo>
                  <a:lnTo>
                    <a:pt x="144" y="97"/>
                  </a:lnTo>
                  <a:lnTo>
                    <a:pt x="144" y="163"/>
                  </a:lnTo>
                  <a:lnTo>
                    <a:pt x="144" y="224"/>
                  </a:lnTo>
                  <a:lnTo>
                    <a:pt x="143" y="228"/>
                  </a:lnTo>
                  <a:lnTo>
                    <a:pt x="142" y="230"/>
                  </a:lnTo>
                  <a:lnTo>
                    <a:pt x="138" y="234"/>
                  </a:lnTo>
                  <a:lnTo>
                    <a:pt x="134" y="236"/>
                  </a:lnTo>
                  <a:lnTo>
                    <a:pt x="132" y="236"/>
                  </a:lnTo>
                  <a:lnTo>
                    <a:pt x="127" y="240"/>
                  </a:lnTo>
                  <a:lnTo>
                    <a:pt x="119" y="242"/>
                  </a:lnTo>
                  <a:lnTo>
                    <a:pt x="114" y="242"/>
                  </a:lnTo>
                  <a:lnTo>
                    <a:pt x="110" y="242"/>
                  </a:lnTo>
                  <a:lnTo>
                    <a:pt x="108" y="241"/>
                  </a:lnTo>
                  <a:lnTo>
                    <a:pt x="105" y="239"/>
                  </a:lnTo>
                  <a:lnTo>
                    <a:pt x="103" y="236"/>
                  </a:lnTo>
                  <a:lnTo>
                    <a:pt x="101" y="233"/>
                  </a:lnTo>
                  <a:lnTo>
                    <a:pt x="101" y="230"/>
                  </a:lnTo>
                  <a:lnTo>
                    <a:pt x="101" y="227"/>
                  </a:lnTo>
                  <a:lnTo>
                    <a:pt x="100" y="224"/>
                  </a:lnTo>
                  <a:lnTo>
                    <a:pt x="97" y="224"/>
                  </a:lnTo>
                  <a:lnTo>
                    <a:pt x="96" y="224"/>
                  </a:lnTo>
                  <a:lnTo>
                    <a:pt x="96" y="226"/>
                  </a:lnTo>
                  <a:lnTo>
                    <a:pt x="96" y="229"/>
                  </a:lnTo>
                  <a:lnTo>
                    <a:pt x="95" y="231"/>
                  </a:lnTo>
                  <a:lnTo>
                    <a:pt x="94" y="233"/>
                  </a:lnTo>
                  <a:lnTo>
                    <a:pt x="90" y="233"/>
                  </a:lnTo>
                  <a:lnTo>
                    <a:pt x="89" y="233"/>
                  </a:lnTo>
                  <a:lnTo>
                    <a:pt x="87" y="234"/>
                  </a:lnTo>
                  <a:lnTo>
                    <a:pt x="86" y="235"/>
                  </a:lnTo>
                  <a:lnTo>
                    <a:pt x="85" y="236"/>
                  </a:lnTo>
                  <a:lnTo>
                    <a:pt x="78" y="229"/>
                  </a:lnTo>
                  <a:lnTo>
                    <a:pt x="68" y="220"/>
                  </a:lnTo>
                  <a:lnTo>
                    <a:pt x="63" y="214"/>
                  </a:lnTo>
                  <a:lnTo>
                    <a:pt x="59" y="208"/>
                  </a:lnTo>
                  <a:lnTo>
                    <a:pt x="54" y="196"/>
                  </a:lnTo>
                  <a:lnTo>
                    <a:pt x="52" y="184"/>
                  </a:lnTo>
                  <a:lnTo>
                    <a:pt x="51" y="172"/>
                  </a:lnTo>
                  <a:lnTo>
                    <a:pt x="52" y="160"/>
                  </a:lnTo>
                  <a:lnTo>
                    <a:pt x="53" y="154"/>
                  </a:lnTo>
                  <a:lnTo>
                    <a:pt x="52" y="148"/>
                  </a:lnTo>
                  <a:lnTo>
                    <a:pt x="51" y="143"/>
                  </a:lnTo>
                  <a:lnTo>
                    <a:pt x="47" y="137"/>
                  </a:lnTo>
                  <a:lnTo>
                    <a:pt x="45" y="134"/>
                  </a:lnTo>
                  <a:lnTo>
                    <a:pt x="47" y="132"/>
                  </a:lnTo>
                  <a:lnTo>
                    <a:pt x="52" y="130"/>
                  </a:lnTo>
                  <a:lnTo>
                    <a:pt x="51" y="126"/>
                  </a:lnTo>
                  <a:lnTo>
                    <a:pt x="52" y="122"/>
                  </a:lnTo>
                  <a:lnTo>
                    <a:pt x="54" y="120"/>
                  </a:lnTo>
                  <a:lnTo>
                    <a:pt x="57" y="118"/>
                  </a:lnTo>
                  <a:lnTo>
                    <a:pt x="58" y="115"/>
                  </a:lnTo>
                  <a:lnTo>
                    <a:pt x="58" y="113"/>
                  </a:lnTo>
                  <a:lnTo>
                    <a:pt x="57" y="112"/>
                  </a:lnTo>
                  <a:lnTo>
                    <a:pt x="54" y="111"/>
                  </a:lnTo>
                  <a:lnTo>
                    <a:pt x="49" y="109"/>
                  </a:lnTo>
                  <a:lnTo>
                    <a:pt x="45" y="107"/>
                  </a:lnTo>
                  <a:lnTo>
                    <a:pt x="43" y="105"/>
                  </a:lnTo>
                  <a:lnTo>
                    <a:pt x="42" y="101"/>
                  </a:lnTo>
                  <a:lnTo>
                    <a:pt x="39" y="94"/>
                  </a:lnTo>
                  <a:lnTo>
                    <a:pt x="37" y="87"/>
                  </a:lnTo>
                  <a:lnTo>
                    <a:pt x="29" y="70"/>
                  </a:lnTo>
                  <a:lnTo>
                    <a:pt x="25" y="61"/>
                  </a:lnTo>
                  <a:lnTo>
                    <a:pt x="25" y="56"/>
                  </a:lnTo>
                  <a:lnTo>
                    <a:pt x="26" y="51"/>
                  </a:lnTo>
                  <a:lnTo>
                    <a:pt x="26" y="47"/>
                  </a:lnTo>
                  <a:lnTo>
                    <a:pt x="24" y="45"/>
                  </a:lnTo>
                  <a:lnTo>
                    <a:pt x="17" y="42"/>
                  </a:lnTo>
                  <a:lnTo>
                    <a:pt x="15" y="39"/>
                  </a:lnTo>
                  <a:lnTo>
                    <a:pt x="15" y="37"/>
                  </a:lnTo>
                  <a:lnTo>
                    <a:pt x="6" y="26"/>
                  </a:lnTo>
                  <a:lnTo>
                    <a:pt x="2" y="22"/>
                  </a:lnTo>
                  <a:lnTo>
                    <a:pt x="0" y="15"/>
                  </a:lnTo>
                  <a:lnTo>
                    <a:pt x="5" y="15"/>
                  </a:lnTo>
                  <a:lnTo>
                    <a:pt x="7" y="11"/>
                  </a:lnTo>
                  <a:lnTo>
                    <a:pt x="7" y="7"/>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8" name="Freeform 727"/>
            <p:cNvSpPr>
              <a:spLocks/>
            </p:cNvSpPr>
            <p:nvPr/>
          </p:nvSpPr>
          <p:spPr bwMode="auto">
            <a:xfrm>
              <a:off x="4638679" y="4594227"/>
              <a:ext cx="314325" cy="379413"/>
            </a:xfrm>
            <a:custGeom>
              <a:avLst/>
              <a:gdLst>
                <a:gd name="T0" fmla="*/ 2147483647 w 214"/>
                <a:gd name="T1" fmla="*/ 2147483647 h 239"/>
                <a:gd name="T2" fmla="*/ 2147483647 w 214"/>
                <a:gd name="T3" fmla="*/ 2147483647 h 239"/>
                <a:gd name="T4" fmla="*/ 2147483647 w 214"/>
                <a:gd name="T5" fmla="*/ 2147483647 h 239"/>
                <a:gd name="T6" fmla="*/ 2147483647 w 214"/>
                <a:gd name="T7" fmla="*/ 2147483647 h 239"/>
                <a:gd name="T8" fmla="*/ 2147483647 w 214"/>
                <a:gd name="T9" fmla="*/ 2147483647 h 239"/>
                <a:gd name="T10" fmla="*/ 2147483647 w 214"/>
                <a:gd name="T11" fmla="*/ 2147483647 h 239"/>
                <a:gd name="T12" fmla="*/ 2147483647 w 214"/>
                <a:gd name="T13" fmla="*/ 2147483647 h 239"/>
                <a:gd name="T14" fmla="*/ 2147483647 w 214"/>
                <a:gd name="T15" fmla="*/ 2147483647 h 239"/>
                <a:gd name="T16" fmla="*/ 2147483647 w 214"/>
                <a:gd name="T17" fmla="*/ 2147483647 h 239"/>
                <a:gd name="T18" fmla="*/ 2147483647 w 214"/>
                <a:gd name="T19" fmla="*/ 2147483647 h 239"/>
                <a:gd name="T20" fmla="*/ 2147483647 w 214"/>
                <a:gd name="T21" fmla="*/ 2147483647 h 239"/>
                <a:gd name="T22" fmla="*/ 2147483647 w 214"/>
                <a:gd name="T23" fmla="*/ 2147483647 h 239"/>
                <a:gd name="T24" fmla="*/ 2147483647 w 214"/>
                <a:gd name="T25" fmla="*/ 2147483647 h 239"/>
                <a:gd name="T26" fmla="*/ 2147483647 w 214"/>
                <a:gd name="T27" fmla="*/ 2147483647 h 239"/>
                <a:gd name="T28" fmla="*/ 2147483647 w 214"/>
                <a:gd name="T29" fmla="*/ 2147483647 h 239"/>
                <a:gd name="T30" fmla="*/ 2147483647 w 214"/>
                <a:gd name="T31" fmla="*/ 2147483647 h 239"/>
                <a:gd name="T32" fmla="*/ 2147483647 w 214"/>
                <a:gd name="T33" fmla="*/ 2147483647 h 239"/>
                <a:gd name="T34" fmla="*/ 2147483647 w 214"/>
                <a:gd name="T35" fmla="*/ 2147483647 h 239"/>
                <a:gd name="T36" fmla="*/ 2147483647 w 214"/>
                <a:gd name="T37" fmla="*/ 2147483647 h 239"/>
                <a:gd name="T38" fmla="*/ 2147483647 w 214"/>
                <a:gd name="T39" fmla="*/ 2147483647 h 239"/>
                <a:gd name="T40" fmla="*/ 2147483647 w 214"/>
                <a:gd name="T41" fmla="*/ 2147483647 h 239"/>
                <a:gd name="T42" fmla="*/ 2147483647 w 214"/>
                <a:gd name="T43" fmla="*/ 2147483647 h 239"/>
                <a:gd name="T44" fmla="*/ 2147483647 w 214"/>
                <a:gd name="T45" fmla="*/ 2147483647 h 239"/>
                <a:gd name="T46" fmla="*/ 2147483647 w 214"/>
                <a:gd name="T47" fmla="*/ 2147483647 h 239"/>
                <a:gd name="T48" fmla="*/ 2147483647 w 214"/>
                <a:gd name="T49" fmla="*/ 2147483647 h 239"/>
                <a:gd name="T50" fmla="*/ 2147483647 w 214"/>
                <a:gd name="T51" fmla="*/ 2147483647 h 239"/>
                <a:gd name="T52" fmla="*/ 2147483647 w 214"/>
                <a:gd name="T53" fmla="*/ 2147483647 h 239"/>
                <a:gd name="T54" fmla="*/ 2147483647 w 214"/>
                <a:gd name="T55" fmla="*/ 2147483647 h 239"/>
                <a:gd name="T56" fmla="*/ 2147483647 w 214"/>
                <a:gd name="T57" fmla="*/ 2147483647 h 239"/>
                <a:gd name="T58" fmla="*/ 2147483647 w 214"/>
                <a:gd name="T59" fmla="*/ 2147483647 h 239"/>
                <a:gd name="T60" fmla="*/ 2147483647 w 214"/>
                <a:gd name="T61" fmla="*/ 2147483647 h 239"/>
                <a:gd name="T62" fmla="*/ 2147483647 w 214"/>
                <a:gd name="T63" fmla="*/ 2147483647 h 239"/>
                <a:gd name="T64" fmla="*/ 2147483647 w 214"/>
                <a:gd name="T65" fmla="*/ 2147483647 h 239"/>
                <a:gd name="T66" fmla="*/ 2147483647 w 214"/>
                <a:gd name="T67" fmla="*/ 2147483647 h 239"/>
                <a:gd name="T68" fmla="*/ 2147483647 w 214"/>
                <a:gd name="T69" fmla="*/ 2147483647 h 239"/>
                <a:gd name="T70" fmla="*/ 2147483647 w 214"/>
                <a:gd name="T71" fmla="*/ 2147483647 h 239"/>
                <a:gd name="T72" fmla="*/ 2147483647 w 214"/>
                <a:gd name="T73" fmla="*/ 2147483647 h 239"/>
                <a:gd name="T74" fmla="*/ 2147483647 w 214"/>
                <a:gd name="T75" fmla="*/ 2147483647 h 239"/>
                <a:gd name="T76" fmla="*/ 2147483647 w 214"/>
                <a:gd name="T77" fmla="*/ 2147483647 h 239"/>
                <a:gd name="T78" fmla="*/ 2147483647 w 214"/>
                <a:gd name="T79" fmla="*/ 2147483647 h 239"/>
                <a:gd name="T80" fmla="*/ 2147483647 w 214"/>
                <a:gd name="T81" fmla="*/ 2147483647 h 239"/>
                <a:gd name="T82" fmla="*/ 2147483647 w 214"/>
                <a:gd name="T83" fmla="*/ 2147483647 h 239"/>
                <a:gd name="T84" fmla="*/ 2147483647 w 214"/>
                <a:gd name="T85" fmla="*/ 2147483647 h 239"/>
                <a:gd name="T86" fmla="*/ 2147483647 w 214"/>
                <a:gd name="T87" fmla="*/ 2147483647 h 239"/>
                <a:gd name="T88" fmla="*/ 2147483647 w 214"/>
                <a:gd name="T89" fmla="*/ 2147483647 h 239"/>
                <a:gd name="T90" fmla="*/ 2147483647 w 214"/>
                <a:gd name="T91" fmla="*/ 2147483647 h 239"/>
                <a:gd name="T92" fmla="*/ 2147483647 w 214"/>
                <a:gd name="T93" fmla="*/ 2147483647 h 239"/>
                <a:gd name="T94" fmla="*/ 2147483647 w 214"/>
                <a:gd name="T95" fmla="*/ 2147483647 h 239"/>
                <a:gd name="T96" fmla="*/ 2147483647 w 214"/>
                <a:gd name="T97" fmla="*/ 2147483647 h 239"/>
                <a:gd name="T98" fmla="*/ 2147483647 w 214"/>
                <a:gd name="T99" fmla="*/ 2147483647 h 239"/>
                <a:gd name="T100" fmla="*/ 2147483647 w 214"/>
                <a:gd name="T101" fmla="*/ 2147483647 h 239"/>
                <a:gd name="T102" fmla="*/ 2147483647 w 214"/>
                <a:gd name="T103" fmla="*/ 2147483647 h 239"/>
                <a:gd name="T104" fmla="*/ 2147483647 w 214"/>
                <a:gd name="T105" fmla="*/ 2147483647 h 239"/>
                <a:gd name="T106" fmla="*/ 2147483647 w 214"/>
                <a:gd name="T107" fmla="*/ 2147483647 h 239"/>
                <a:gd name="T108" fmla="*/ 2147483647 w 214"/>
                <a:gd name="T109" fmla="*/ 2147483647 h 239"/>
                <a:gd name="T110" fmla="*/ 2147483647 w 214"/>
                <a:gd name="T111" fmla="*/ 2147483647 h 239"/>
                <a:gd name="T112" fmla="*/ 2147483647 w 214"/>
                <a:gd name="T113" fmla="*/ 2147483647 h 239"/>
                <a:gd name="T114" fmla="*/ 2147483647 w 214"/>
                <a:gd name="T115" fmla="*/ 2147483647 h 239"/>
                <a:gd name="T116" fmla="*/ 2147483647 w 214"/>
                <a:gd name="T117" fmla="*/ 2147483647 h 239"/>
                <a:gd name="T118" fmla="*/ 2147483647 w 214"/>
                <a:gd name="T119" fmla="*/ 2147483647 h 239"/>
                <a:gd name="T120" fmla="*/ 2147483647 w 214"/>
                <a:gd name="T121" fmla="*/ 2147483647 h 239"/>
                <a:gd name="T122" fmla="*/ 2147483647 w 214"/>
                <a:gd name="T123" fmla="*/ 2147483647 h 2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4"/>
                <a:gd name="T187" fmla="*/ 0 h 239"/>
                <a:gd name="T188" fmla="*/ 214 w 214"/>
                <a:gd name="T189" fmla="*/ 239 h 2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4" h="239">
                  <a:moveTo>
                    <a:pt x="20" y="8"/>
                  </a:moveTo>
                  <a:lnTo>
                    <a:pt x="20" y="8"/>
                  </a:lnTo>
                  <a:lnTo>
                    <a:pt x="25" y="7"/>
                  </a:lnTo>
                  <a:lnTo>
                    <a:pt x="28" y="6"/>
                  </a:lnTo>
                  <a:lnTo>
                    <a:pt x="31" y="2"/>
                  </a:lnTo>
                  <a:lnTo>
                    <a:pt x="35" y="0"/>
                  </a:lnTo>
                  <a:lnTo>
                    <a:pt x="42" y="0"/>
                  </a:lnTo>
                  <a:lnTo>
                    <a:pt x="51" y="2"/>
                  </a:lnTo>
                  <a:lnTo>
                    <a:pt x="59" y="4"/>
                  </a:lnTo>
                  <a:lnTo>
                    <a:pt x="68" y="4"/>
                  </a:lnTo>
                  <a:lnTo>
                    <a:pt x="78" y="4"/>
                  </a:lnTo>
                  <a:lnTo>
                    <a:pt x="87" y="5"/>
                  </a:lnTo>
                  <a:lnTo>
                    <a:pt x="96" y="8"/>
                  </a:lnTo>
                  <a:lnTo>
                    <a:pt x="100" y="12"/>
                  </a:lnTo>
                  <a:lnTo>
                    <a:pt x="103" y="15"/>
                  </a:lnTo>
                  <a:lnTo>
                    <a:pt x="105" y="25"/>
                  </a:lnTo>
                  <a:lnTo>
                    <a:pt x="106" y="36"/>
                  </a:lnTo>
                  <a:lnTo>
                    <a:pt x="109" y="44"/>
                  </a:lnTo>
                  <a:lnTo>
                    <a:pt x="111" y="45"/>
                  </a:lnTo>
                  <a:lnTo>
                    <a:pt x="113" y="46"/>
                  </a:lnTo>
                  <a:lnTo>
                    <a:pt x="119" y="47"/>
                  </a:lnTo>
                  <a:lnTo>
                    <a:pt x="125" y="46"/>
                  </a:lnTo>
                  <a:lnTo>
                    <a:pt x="132" y="44"/>
                  </a:lnTo>
                  <a:lnTo>
                    <a:pt x="133" y="41"/>
                  </a:lnTo>
                  <a:lnTo>
                    <a:pt x="133" y="40"/>
                  </a:lnTo>
                  <a:lnTo>
                    <a:pt x="133" y="34"/>
                  </a:lnTo>
                  <a:lnTo>
                    <a:pt x="133" y="30"/>
                  </a:lnTo>
                  <a:lnTo>
                    <a:pt x="136" y="26"/>
                  </a:lnTo>
                  <a:lnTo>
                    <a:pt x="138" y="24"/>
                  </a:lnTo>
                  <a:lnTo>
                    <a:pt x="143" y="22"/>
                  </a:lnTo>
                  <a:lnTo>
                    <a:pt x="147" y="24"/>
                  </a:lnTo>
                  <a:lnTo>
                    <a:pt x="150" y="26"/>
                  </a:lnTo>
                  <a:lnTo>
                    <a:pt x="151" y="28"/>
                  </a:lnTo>
                  <a:lnTo>
                    <a:pt x="152" y="30"/>
                  </a:lnTo>
                  <a:lnTo>
                    <a:pt x="155" y="31"/>
                  </a:lnTo>
                  <a:lnTo>
                    <a:pt x="160" y="31"/>
                  </a:lnTo>
                  <a:lnTo>
                    <a:pt x="162" y="31"/>
                  </a:lnTo>
                  <a:lnTo>
                    <a:pt x="165" y="32"/>
                  </a:lnTo>
                  <a:lnTo>
                    <a:pt x="167" y="31"/>
                  </a:lnTo>
                  <a:lnTo>
                    <a:pt x="171" y="32"/>
                  </a:lnTo>
                  <a:lnTo>
                    <a:pt x="174" y="33"/>
                  </a:lnTo>
                  <a:lnTo>
                    <a:pt x="174" y="36"/>
                  </a:lnTo>
                  <a:lnTo>
                    <a:pt x="175" y="41"/>
                  </a:lnTo>
                  <a:lnTo>
                    <a:pt x="176" y="43"/>
                  </a:lnTo>
                  <a:lnTo>
                    <a:pt x="177" y="46"/>
                  </a:lnTo>
                  <a:lnTo>
                    <a:pt x="177" y="50"/>
                  </a:lnTo>
                  <a:lnTo>
                    <a:pt x="176" y="53"/>
                  </a:lnTo>
                  <a:lnTo>
                    <a:pt x="176" y="56"/>
                  </a:lnTo>
                  <a:lnTo>
                    <a:pt x="181" y="68"/>
                  </a:lnTo>
                  <a:lnTo>
                    <a:pt x="185" y="79"/>
                  </a:lnTo>
                  <a:lnTo>
                    <a:pt x="186" y="91"/>
                  </a:lnTo>
                  <a:lnTo>
                    <a:pt x="186" y="103"/>
                  </a:lnTo>
                  <a:lnTo>
                    <a:pt x="186" y="104"/>
                  </a:lnTo>
                  <a:lnTo>
                    <a:pt x="189" y="105"/>
                  </a:lnTo>
                  <a:lnTo>
                    <a:pt x="191" y="107"/>
                  </a:lnTo>
                  <a:lnTo>
                    <a:pt x="203" y="104"/>
                  </a:lnTo>
                  <a:lnTo>
                    <a:pt x="209" y="103"/>
                  </a:lnTo>
                  <a:lnTo>
                    <a:pt x="214" y="102"/>
                  </a:lnTo>
                  <a:lnTo>
                    <a:pt x="214" y="137"/>
                  </a:lnTo>
                  <a:lnTo>
                    <a:pt x="199" y="140"/>
                  </a:lnTo>
                  <a:lnTo>
                    <a:pt x="188" y="141"/>
                  </a:lnTo>
                  <a:lnTo>
                    <a:pt x="181" y="141"/>
                  </a:lnTo>
                  <a:lnTo>
                    <a:pt x="179" y="234"/>
                  </a:lnTo>
                  <a:lnTo>
                    <a:pt x="167" y="237"/>
                  </a:lnTo>
                  <a:lnTo>
                    <a:pt x="156" y="238"/>
                  </a:lnTo>
                  <a:lnTo>
                    <a:pt x="143" y="239"/>
                  </a:lnTo>
                  <a:lnTo>
                    <a:pt x="138" y="238"/>
                  </a:lnTo>
                  <a:lnTo>
                    <a:pt x="132" y="237"/>
                  </a:lnTo>
                  <a:lnTo>
                    <a:pt x="128" y="234"/>
                  </a:lnTo>
                  <a:lnTo>
                    <a:pt x="124" y="230"/>
                  </a:lnTo>
                  <a:lnTo>
                    <a:pt x="122" y="225"/>
                  </a:lnTo>
                  <a:lnTo>
                    <a:pt x="119" y="224"/>
                  </a:lnTo>
                  <a:lnTo>
                    <a:pt x="100" y="223"/>
                  </a:lnTo>
                  <a:lnTo>
                    <a:pt x="81" y="223"/>
                  </a:lnTo>
                  <a:lnTo>
                    <a:pt x="62" y="223"/>
                  </a:lnTo>
                  <a:lnTo>
                    <a:pt x="43" y="220"/>
                  </a:lnTo>
                  <a:lnTo>
                    <a:pt x="35" y="218"/>
                  </a:lnTo>
                  <a:lnTo>
                    <a:pt x="31" y="218"/>
                  </a:lnTo>
                  <a:lnTo>
                    <a:pt x="28" y="218"/>
                  </a:lnTo>
                  <a:lnTo>
                    <a:pt x="26" y="219"/>
                  </a:lnTo>
                  <a:lnTo>
                    <a:pt x="25" y="222"/>
                  </a:lnTo>
                  <a:lnTo>
                    <a:pt x="24" y="224"/>
                  </a:lnTo>
                  <a:lnTo>
                    <a:pt x="23" y="225"/>
                  </a:lnTo>
                  <a:lnTo>
                    <a:pt x="21" y="225"/>
                  </a:lnTo>
                  <a:lnTo>
                    <a:pt x="19" y="224"/>
                  </a:lnTo>
                  <a:lnTo>
                    <a:pt x="17" y="222"/>
                  </a:lnTo>
                  <a:lnTo>
                    <a:pt x="15" y="219"/>
                  </a:lnTo>
                  <a:lnTo>
                    <a:pt x="12" y="218"/>
                  </a:lnTo>
                  <a:lnTo>
                    <a:pt x="10" y="219"/>
                  </a:lnTo>
                  <a:lnTo>
                    <a:pt x="5" y="222"/>
                  </a:lnTo>
                  <a:lnTo>
                    <a:pt x="1" y="218"/>
                  </a:lnTo>
                  <a:lnTo>
                    <a:pt x="0" y="216"/>
                  </a:lnTo>
                  <a:lnTo>
                    <a:pt x="1" y="213"/>
                  </a:lnTo>
                  <a:lnTo>
                    <a:pt x="2" y="206"/>
                  </a:lnTo>
                  <a:lnTo>
                    <a:pt x="4" y="199"/>
                  </a:lnTo>
                  <a:lnTo>
                    <a:pt x="5" y="197"/>
                  </a:lnTo>
                  <a:lnTo>
                    <a:pt x="6" y="194"/>
                  </a:lnTo>
                  <a:lnTo>
                    <a:pt x="9" y="192"/>
                  </a:lnTo>
                  <a:lnTo>
                    <a:pt x="9" y="191"/>
                  </a:lnTo>
                  <a:lnTo>
                    <a:pt x="10" y="177"/>
                  </a:lnTo>
                  <a:lnTo>
                    <a:pt x="11" y="169"/>
                  </a:lnTo>
                  <a:lnTo>
                    <a:pt x="15" y="162"/>
                  </a:lnTo>
                  <a:lnTo>
                    <a:pt x="16" y="160"/>
                  </a:lnTo>
                  <a:lnTo>
                    <a:pt x="16" y="156"/>
                  </a:lnTo>
                  <a:lnTo>
                    <a:pt x="16" y="154"/>
                  </a:lnTo>
                  <a:lnTo>
                    <a:pt x="17" y="151"/>
                  </a:lnTo>
                  <a:lnTo>
                    <a:pt x="20" y="148"/>
                  </a:lnTo>
                  <a:lnTo>
                    <a:pt x="21" y="145"/>
                  </a:lnTo>
                  <a:lnTo>
                    <a:pt x="23" y="139"/>
                  </a:lnTo>
                  <a:lnTo>
                    <a:pt x="26" y="134"/>
                  </a:lnTo>
                  <a:lnTo>
                    <a:pt x="30" y="129"/>
                  </a:lnTo>
                  <a:lnTo>
                    <a:pt x="35" y="126"/>
                  </a:lnTo>
                  <a:lnTo>
                    <a:pt x="37" y="122"/>
                  </a:lnTo>
                  <a:lnTo>
                    <a:pt x="38" y="119"/>
                  </a:lnTo>
                  <a:lnTo>
                    <a:pt x="39" y="108"/>
                  </a:lnTo>
                  <a:lnTo>
                    <a:pt x="39" y="109"/>
                  </a:lnTo>
                  <a:lnTo>
                    <a:pt x="37" y="107"/>
                  </a:lnTo>
                  <a:lnTo>
                    <a:pt x="37" y="104"/>
                  </a:lnTo>
                  <a:lnTo>
                    <a:pt x="34" y="100"/>
                  </a:lnTo>
                  <a:lnTo>
                    <a:pt x="30" y="91"/>
                  </a:lnTo>
                  <a:lnTo>
                    <a:pt x="29" y="86"/>
                  </a:lnTo>
                  <a:lnTo>
                    <a:pt x="29" y="82"/>
                  </a:lnTo>
                  <a:lnTo>
                    <a:pt x="28" y="79"/>
                  </a:lnTo>
                  <a:lnTo>
                    <a:pt x="25" y="77"/>
                  </a:lnTo>
                  <a:lnTo>
                    <a:pt x="25" y="75"/>
                  </a:lnTo>
                  <a:lnTo>
                    <a:pt x="28" y="66"/>
                  </a:lnTo>
                  <a:lnTo>
                    <a:pt x="29" y="62"/>
                  </a:lnTo>
                  <a:lnTo>
                    <a:pt x="30" y="56"/>
                  </a:lnTo>
                  <a:lnTo>
                    <a:pt x="29" y="50"/>
                  </a:lnTo>
                  <a:lnTo>
                    <a:pt x="28" y="44"/>
                  </a:lnTo>
                  <a:lnTo>
                    <a:pt x="24" y="39"/>
                  </a:lnTo>
                  <a:lnTo>
                    <a:pt x="19" y="33"/>
                  </a:lnTo>
                  <a:lnTo>
                    <a:pt x="17" y="32"/>
                  </a:lnTo>
                  <a:lnTo>
                    <a:pt x="17" y="31"/>
                  </a:lnTo>
                  <a:lnTo>
                    <a:pt x="16" y="26"/>
                  </a:lnTo>
                  <a:lnTo>
                    <a:pt x="15" y="24"/>
                  </a:lnTo>
                  <a:lnTo>
                    <a:pt x="12" y="22"/>
                  </a:lnTo>
                  <a:lnTo>
                    <a:pt x="10" y="21"/>
                  </a:lnTo>
                  <a:lnTo>
                    <a:pt x="9" y="19"/>
                  </a:lnTo>
                  <a:lnTo>
                    <a:pt x="7" y="15"/>
                  </a:lnTo>
                  <a:lnTo>
                    <a:pt x="9" y="13"/>
                  </a:lnTo>
                  <a:lnTo>
                    <a:pt x="10" y="13"/>
                  </a:lnTo>
                  <a:lnTo>
                    <a:pt x="15" y="12"/>
                  </a:lnTo>
                  <a:lnTo>
                    <a:pt x="20"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29" name="Freeform 728"/>
            <p:cNvSpPr>
              <a:spLocks/>
            </p:cNvSpPr>
            <p:nvPr/>
          </p:nvSpPr>
          <p:spPr bwMode="auto">
            <a:xfrm>
              <a:off x="4637091" y="4940301"/>
              <a:ext cx="350837" cy="384175"/>
            </a:xfrm>
            <a:custGeom>
              <a:avLst/>
              <a:gdLst>
                <a:gd name="T0" fmla="*/ 2147483647 w 240"/>
                <a:gd name="T1" fmla="*/ 2147483647 h 242"/>
                <a:gd name="T2" fmla="*/ 2147483647 w 240"/>
                <a:gd name="T3" fmla="*/ 2147483647 h 242"/>
                <a:gd name="T4" fmla="*/ 2147483647 w 240"/>
                <a:gd name="T5" fmla="*/ 2147483647 h 242"/>
                <a:gd name="T6" fmla="*/ 2147483647 w 240"/>
                <a:gd name="T7" fmla="*/ 2147483647 h 242"/>
                <a:gd name="T8" fmla="*/ 2147483647 w 240"/>
                <a:gd name="T9" fmla="*/ 0 h 242"/>
                <a:gd name="T10" fmla="*/ 2147483647 w 240"/>
                <a:gd name="T11" fmla="*/ 0 h 242"/>
                <a:gd name="T12" fmla="*/ 2147483647 w 240"/>
                <a:gd name="T13" fmla="*/ 2147483647 h 242"/>
                <a:gd name="T14" fmla="*/ 2147483647 w 240"/>
                <a:gd name="T15" fmla="*/ 2147483647 h 242"/>
                <a:gd name="T16" fmla="*/ 2147483647 w 240"/>
                <a:gd name="T17" fmla="*/ 2147483647 h 242"/>
                <a:gd name="T18" fmla="*/ 2147483647 w 240"/>
                <a:gd name="T19" fmla="*/ 2147483647 h 242"/>
                <a:gd name="T20" fmla="*/ 2147483647 w 240"/>
                <a:gd name="T21" fmla="*/ 2147483647 h 242"/>
                <a:gd name="T22" fmla="*/ 2147483647 w 240"/>
                <a:gd name="T23" fmla="*/ 2147483647 h 242"/>
                <a:gd name="T24" fmla="*/ 2147483647 w 240"/>
                <a:gd name="T25" fmla="*/ 2147483647 h 242"/>
                <a:gd name="T26" fmla="*/ 2147483647 w 240"/>
                <a:gd name="T27" fmla="*/ 2147483647 h 242"/>
                <a:gd name="T28" fmla="*/ 2147483647 w 240"/>
                <a:gd name="T29" fmla="*/ 2147483647 h 242"/>
                <a:gd name="T30" fmla="*/ 2147483647 w 240"/>
                <a:gd name="T31" fmla="*/ 2147483647 h 242"/>
                <a:gd name="T32" fmla="*/ 2147483647 w 240"/>
                <a:gd name="T33" fmla="*/ 2147483647 h 242"/>
                <a:gd name="T34" fmla="*/ 2147483647 w 240"/>
                <a:gd name="T35" fmla="*/ 2147483647 h 242"/>
                <a:gd name="T36" fmla="*/ 2147483647 w 240"/>
                <a:gd name="T37" fmla="*/ 2147483647 h 242"/>
                <a:gd name="T38" fmla="*/ 2147483647 w 240"/>
                <a:gd name="T39" fmla="*/ 2147483647 h 242"/>
                <a:gd name="T40" fmla="*/ 2147483647 w 240"/>
                <a:gd name="T41" fmla="*/ 2147483647 h 242"/>
                <a:gd name="T42" fmla="*/ 2147483647 w 240"/>
                <a:gd name="T43" fmla="*/ 2147483647 h 242"/>
                <a:gd name="T44" fmla="*/ 2147483647 w 240"/>
                <a:gd name="T45" fmla="*/ 2147483647 h 242"/>
                <a:gd name="T46" fmla="*/ 2147483647 w 240"/>
                <a:gd name="T47" fmla="*/ 2147483647 h 242"/>
                <a:gd name="T48" fmla="*/ 2147483647 w 240"/>
                <a:gd name="T49" fmla="*/ 2147483647 h 242"/>
                <a:gd name="T50" fmla="*/ 2147483647 w 240"/>
                <a:gd name="T51" fmla="*/ 2147483647 h 242"/>
                <a:gd name="T52" fmla="*/ 2147483647 w 240"/>
                <a:gd name="T53" fmla="*/ 2147483647 h 242"/>
                <a:gd name="T54" fmla="*/ 2147483647 w 240"/>
                <a:gd name="T55" fmla="*/ 2147483647 h 242"/>
                <a:gd name="T56" fmla="*/ 2147483647 w 240"/>
                <a:gd name="T57" fmla="*/ 2147483647 h 242"/>
                <a:gd name="T58" fmla="*/ 2147483647 w 240"/>
                <a:gd name="T59" fmla="*/ 2147483647 h 242"/>
                <a:gd name="T60" fmla="*/ 2147483647 w 240"/>
                <a:gd name="T61" fmla="*/ 2147483647 h 242"/>
                <a:gd name="T62" fmla="*/ 2147483647 w 240"/>
                <a:gd name="T63" fmla="*/ 2147483647 h 242"/>
                <a:gd name="T64" fmla="*/ 2147483647 w 240"/>
                <a:gd name="T65" fmla="*/ 2147483647 h 242"/>
                <a:gd name="T66" fmla="*/ 2147483647 w 240"/>
                <a:gd name="T67" fmla="*/ 2147483647 h 242"/>
                <a:gd name="T68" fmla="*/ 2147483647 w 240"/>
                <a:gd name="T69" fmla="*/ 2147483647 h 242"/>
                <a:gd name="T70" fmla="*/ 2147483647 w 240"/>
                <a:gd name="T71" fmla="*/ 2147483647 h 242"/>
                <a:gd name="T72" fmla="*/ 2147483647 w 240"/>
                <a:gd name="T73" fmla="*/ 2147483647 h 242"/>
                <a:gd name="T74" fmla="*/ 2147483647 w 240"/>
                <a:gd name="T75" fmla="*/ 2147483647 h 242"/>
                <a:gd name="T76" fmla="*/ 2147483647 w 240"/>
                <a:gd name="T77" fmla="*/ 2147483647 h 242"/>
                <a:gd name="T78" fmla="*/ 2147483647 w 240"/>
                <a:gd name="T79" fmla="*/ 2147483647 h 242"/>
                <a:gd name="T80" fmla="*/ 2147483647 w 240"/>
                <a:gd name="T81" fmla="*/ 2147483647 h 242"/>
                <a:gd name="T82" fmla="*/ 2147483647 w 240"/>
                <a:gd name="T83" fmla="*/ 2147483647 h 242"/>
                <a:gd name="T84" fmla="*/ 2147483647 w 240"/>
                <a:gd name="T85" fmla="*/ 2147483647 h 242"/>
                <a:gd name="T86" fmla="*/ 2147483647 w 240"/>
                <a:gd name="T87" fmla="*/ 2147483647 h 242"/>
                <a:gd name="T88" fmla="*/ 2147483647 w 240"/>
                <a:gd name="T89" fmla="*/ 2147483647 h 242"/>
                <a:gd name="T90" fmla="*/ 2147483647 w 240"/>
                <a:gd name="T91" fmla="*/ 2147483647 h 242"/>
                <a:gd name="T92" fmla="*/ 2147483647 w 240"/>
                <a:gd name="T93" fmla="*/ 2147483647 h 242"/>
                <a:gd name="T94" fmla="*/ 2147483647 w 240"/>
                <a:gd name="T95" fmla="*/ 2147483647 h 242"/>
                <a:gd name="T96" fmla="*/ 2147483647 w 240"/>
                <a:gd name="T97" fmla="*/ 2147483647 h 242"/>
                <a:gd name="T98" fmla="*/ 2147483647 w 240"/>
                <a:gd name="T99" fmla="*/ 2147483647 h 242"/>
                <a:gd name="T100" fmla="*/ 2147483647 w 240"/>
                <a:gd name="T101" fmla="*/ 2147483647 h 2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0"/>
                <a:gd name="T154" fmla="*/ 0 h 242"/>
                <a:gd name="T155" fmla="*/ 240 w 240"/>
                <a:gd name="T156" fmla="*/ 242 h 2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0" h="242">
                  <a:moveTo>
                    <a:pt x="7" y="4"/>
                  </a:moveTo>
                  <a:lnTo>
                    <a:pt x="7" y="4"/>
                  </a:lnTo>
                  <a:lnTo>
                    <a:pt x="12" y="1"/>
                  </a:lnTo>
                  <a:lnTo>
                    <a:pt x="14" y="0"/>
                  </a:lnTo>
                  <a:lnTo>
                    <a:pt x="17" y="1"/>
                  </a:lnTo>
                  <a:lnTo>
                    <a:pt x="19" y="4"/>
                  </a:lnTo>
                  <a:lnTo>
                    <a:pt x="21" y="6"/>
                  </a:lnTo>
                  <a:lnTo>
                    <a:pt x="23" y="7"/>
                  </a:lnTo>
                  <a:lnTo>
                    <a:pt x="25" y="7"/>
                  </a:lnTo>
                  <a:lnTo>
                    <a:pt x="26" y="6"/>
                  </a:lnTo>
                  <a:lnTo>
                    <a:pt x="27" y="4"/>
                  </a:lnTo>
                  <a:lnTo>
                    <a:pt x="28" y="1"/>
                  </a:lnTo>
                  <a:lnTo>
                    <a:pt x="30" y="0"/>
                  </a:lnTo>
                  <a:lnTo>
                    <a:pt x="33" y="0"/>
                  </a:lnTo>
                  <a:lnTo>
                    <a:pt x="37" y="0"/>
                  </a:lnTo>
                  <a:lnTo>
                    <a:pt x="45" y="2"/>
                  </a:lnTo>
                  <a:lnTo>
                    <a:pt x="64" y="5"/>
                  </a:lnTo>
                  <a:lnTo>
                    <a:pt x="83" y="5"/>
                  </a:lnTo>
                  <a:lnTo>
                    <a:pt x="102" y="5"/>
                  </a:lnTo>
                  <a:lnTo>
                    <a:pt x="121" y="6"/>
                  </a:lnTo>
                  <a:lnTo>
                    <a:pt x="124" y="7"/>
                  </a:lnTo>
                  <a:lnTo>
                    <a:pt x="126" y="12"/>
                  </a:lnTo>
                  <a:lnTo>
                    <a:pt x="130" y="16"/>
                  </a:lnTo>
                  <a:lnTo>
                    <a:pt x="134" y="19"/>
                  </a:lnTo>
                  <a:lnTo>
                    <a:pt x="140" y="20"/>
                  </a:lnTo>
                  <a:lnTo>
                    <a:pt x="145" y="21"/>
                  </a:lnTo>
                  <a:lnTo>
                    <a:pt x="158" y="20"/>
                  </a:lnTo>
                  <a:lnTo>
                    <a:pt x="169" y="19"/>
                  </a:lnTo>
                  <a:lnTo>
                    <a:pt x="181" y="16"/>
                  </a:lnTo>
                  <a:lnTo>
                    <a:pt x="202" y="12"/>
                  </a:lnTo>
                  <a:lnTo>
                    <a:pt x="214" y="11"/>
                  </a:lnTo>
                  <a:lnTo>
                    <a:pt x="224" y="11"/>
                  </a:lnTo>
                  <a:lnTo>
                    <a:pt x="229" y="14"/>
                  </a:lnTo>
                  <a:lnTo>
                    <a:pt x="234" y="14"/>
                  </a:lnTo>
                  <a:lnTo>
                    <a:pt x="240" y="14"/>
                  </a:lnTo>
                  <a:lnTo>
                    <a:pt x="240" y="17"/>
                  </a:lnTo>
                  <a:lnTo>
                    <a:pt x="239" y="18"/>
                  </a:lnTo>
                  <a:lnTo>
                    <a:pt x="226" y="21"/>
                  </a:lnTo>
                  <a:lnTo>
                    <a:pt x="220" y="24"/>
                  </a:lnTo>
                  <a:lnTo>
                    <a:pt x="214" y="26"/>
                  </a:lnTo>
                  <a:lnTo>
                    <a:pt x="213" y="26"/>
                  </a:lnTo>
                  <a:lnTo>
                    <a:pt x="210" y="25"/>
                  </a:lnTo>
                  <a:lnTo>
                    <a:pt x="206" y="21"/>
                  </a:lnTo>
                  <a:lnTo>
                    <a:pt x="167" y="29"/>
                  </a:lnTo>
                  <a:lnTo>
                    <a:pt x="166" y="97"/>
                  </a:lnTo>
                  <a:lnTo>
                    <a:pt x="145" y="97"/>
                  </a:lnTo>
                  <a:lnTo>
                    <a:pt x="145" y="163"/>
                  </a:lnTo>
                  <a:lnTo>
                    <a:pt x="145" y="224"/>
                  </a:lnTo>
                  <a:lnTo>
                    <a:pt x="144" y="228"/>
                  </a:lnTo>
                  <a:lnTo>
                    <a:pt x="143" y="230"/>
                  </a:lnTo>
                  <a:lnTo>
                    <a:pt x="139" y="234"/>
                  </a:lnTo>
                  <a:lnTo>
                    <a:pt x="135" y="236"/>
                  </a:lnTo>
                  <a:lnTo>
                    <a:pt x="133" y="236"/>
                  </a:lnTo>
                  <a:lnTo>
                    <a:pt x="127" y="240"/>
                  </a:lnTo>
                  <a:lnTo>
                    <a:pt x="120" y="242"/>
                  </a:lnTo>
                  <a:lnTo>
                    <a:pt x="115" y="242"/>
                  </a:lnTo>
                  <a:lnTo>
                    <a:pt x="111" y="242"/>
                  </a:lnTo>
                  <a:lnTo>
                    <a:pt x="108" y="241"/>
                  </a:lnTo>
                  <a:lnTo>
                    <a:pt x="106" y="238"/>
                  </a:lnTo>
                  <a:lnTo>
                    <a:pt x="103" y="236"/>
                  </a:lnTo>
                  <a:lnTo>
                    <a:pt x="102" y="232"/>
                  </a:lnTo>
                  <a:lnTo>
                    <a:pt x="102" y="230"/>
                  </a:lnTo>
                  <a:lnTo>
                    <a:pt x="102" y="227"/>
                  </a:lnTo>
                  <a:lnTo>
                    <a:pt x="101" y="224"/>
                  </a:lnTo>
                  <a:lnTo>
                    <a:pt x="98" y="224"/>
                  </a:lnTo>
                  <a:lnTo>
                    <a:pt x="97" y="224"/>
                  </a:lnTo>
                  <a:lnTo>
                    <a:pt x="97" y="225"/>
                  </a:lnTo>
                  <a:lnTo>
                    <a:pt x="97" y="229"/>
                  </a:lnTo>
                  <a:lnTo>
                    <a:pt x="96" y="231"/>
                  </a:lnTo>
                  <a:lnTo>
                    <a:pt x="94" y="232"/>
                  </a:lnTo>
                  <a:lnTo>
                    <a:pt x="91" y="232"/>
                  </a:lnTo>
                  <a:lnTo>
                    <a:pt x="89" y="232"/>
                  </a:lnTo>
                  <a:lnTo>
                    <a:pt x="88" y="234"/>
                  </a:lnTo>
                  <a:lnTo>
                    <a:pt x="87" y="235"/>
                  </a:lnTo>
                  <a:lnTo>
                    <a:pt x="86" y="236"/>
                  </a:lnTo>
                  <a:lnTo>
                    <a:pt x="79" y="229"/>
                  </a:lnTo>
                  <a:lnTo>
                    <a:pt x="69" y="219"/>
                  </a:lnTo>
                  <a:lnTo>
                    <a:pt x="64" y="213"/>
                  </a:lnTo>
                  <a:lnTo>
                    <a:pt x="60" y="208"/>
                  </a:lnTo>
                  <a:lnTo>
                    <a:pt x="55" y="196"/>
                  </a:lnTo>
                  <a:lnTo>
                    <a:pt x="53" y="184"/>
                  </a:lnTo>
                  <a:lnTo>
                    <a:pt x="51" y="172"/>
                  </a:lnTo>
                  <a:lnTo>
                    <a:pt x="53" y="160"/>
                  </a:lnTo>
                  <a:lnTo>
                    <a:pt x="54" y="154"/>
                  </a:lnTo>
                  <a:lnTo>
                    <a:pt x="53" y="148"/>
                  </a:lnTo>
                  <a:lnTo>
                    <a:pt x="51" y="142"/>
                  </a:lnTo>
                  <a:lnTo>
                    <a:pt x="47" y="136"/>
                  </a:lnTo>
                  <a:lnTo>
                    <a:pt x="46" y="134"/>
                  </a:lnTo>
                  <a:lnTo>
                    <a:pt x="47" y="132"/>
                  </a:lnTo>
                  <a:lnTo>
                    <a:pt x="53" y="129"/>
                  </a:lnTo>
                  <a:lnTo>
                    <a:pt x="51" y="126"/>
                  </a:lnTo>
                  <a:lnTo>
                    <a:pt x="53" y="122"/>
                  </a:lnTo>
                  <a:lnTo>
                    <a:pt x="55" y="120"/>
                  </a:lnTo>
                  <a:lnTo>
                    <a:pt x="58" y="117"/>
                  </a:lnTo>
                  <a:lnTo>
                    <a:pt x="59" y="115"/>
                  </a:lnTo>
                  <a:lnTo>
                    <a:pt x="59" y="113"/>
                  </a:lnTo>
                  <a:lnTo>
                    <a:pt x="58" y="112"/>
                  </a:lnTo>
                  <a:lnTo>
                    <a:pt x="55" y="110"/>
                  </a:lnTo>
                  <a:lnTo>
                    <a:pt x="50" y="109"/>
                  </a:lnTo>
                  <a:lnTo>
                    <a:pt x="46" y="107"/>
                  </a:lnTo>
                  <a:lnTo>
                    <a:pt x="44" y="104"/>
                  </a:lnTo>
                  <a:lnTo>
                    <a:pt x="42" y="101"/>
                  </a:lnTo>
                  <a:lnTo>
                    <a:pt x="40" y="94"/>
                  </a:lnTo>
                  <a:lnTo>
                    <a:pt x="37" y="87"/>
                  </a:lnTo>
                  <a:lnTo>
                    <a:pt x="30" y="70"/>
                  </a:lnTo>
                  <a:lnTo>
                    <a:pt x="26" y="61"/>
                  </a:lnTo>
                  <a:lnTo>
                    <a:pt x="26" y="56"/>
                  </a:lnTo>
                  <a:lnTo>
                    <a:pt x="27" y="51"/>
                  </a:lnTo>
                  <a:lnTo>
                    <a:pt x="27" y="46"/>
                  </a:lnTo>
                  <a:lnTo>
                    <a:pt x="25" y="45"/>
                  </a:lnTo>
                  <a:lnTo>
                    <a:pt x="18" y="42"/>
                  </a:lnTo>
                  <a:lnTo>
                    <a:pt x="16" y="39"/>
                  </a:lnTo>
                  <a:lnTo>
                    <a:pt x="16" y="37"/>
                  </a:lnTo>
                  <a:lnTo>
                    <a:pt x="7" y="26"/>
                  </a:lnTo>
                  <a:lnTo>
                    <a:pt x="3" y="21"/>
                  </a:lnTo>
                  <a:lnTo>
                    <a:pt x="0" y="14"/>
                  </a:lnTo>
                  <a:lnTo>
                    <a:pt x="6" y="14"/>
                  </a:lnTo>
                  <a:lnTo>
                    <a:pt x="8" y="11"/>
                  </a:lnTo>
                  <a:lnTo>
                    <a:pt x="8" y="7"/>
                  </a:lnTo>
                  <a:lnTo>
                    <a:pt x="7"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0" name="Freeform 729"/>
            <p:cNvSpPr>
              <a:spLocks/>
            </p:cNvSpPr>
            <p:nvPr/>
          </p:nvSpPr>
          <p:spPr bwMode="auto">
            <a:xfrm>
              <a:off x="4764090" y="5102229"/>
              <a:ext cx="427037" cy="428625"/>
            </a:xfrm>
            <a:custGeom>
              <a:avLst/>
              <a:gdLst>
                <a:gd name="T0" fmla="*/ 2147483647 w 291"/>
                <a:gd name="T1" fmla="*/ 2147483647 h 270"/>
                <a:gd name="T2" fmla="*/ 2147483647 w 291"/>
                <a:gd name="T3" fmla="*/ 2147483647 h 270"/>
                <a:gd name="T4" fmla="*/ 2147483647 w 291"/>
                <a:gd name="T5" fmla="*/ 2147483647 h 270"/>
                <a:gd name="T6" fmla="*/ 2147483647 w 291"/>
                <a:gd name="T7" fmla="*/ 2147483647 h 270"/>
                <a:gd name="T8" fmla="*/ 2147483647 w 291"/>
                <a:gd name="T9" fmla="*/ 2147483647 h 270"/>
                <a:gd name="T10" fmla="*/ 2147483647 w 291"/>
                <a:gd name="T11" fmla="*/ 2147483647 h 270"/>
                <a:gd name="T12" fmla="*/ 2147483647 w 291"/>
                <a:gd name="T13" fmla="*/ 2147483647 h 270"/>
                <a:gd name="T14" fmla="*/ 2147483647 w 291"/>
                <a:gd name="T15" fmla="*/ 2147483647 h 270"/>
                <a:gd name="T16" fmla="*/ 2147483647 w 291"/>
                <a:gd name="T17" fmla="*/ 2147483647 h 270"/>
                <a:gd name="T18" fmla="*/ 2147483647 w 291"/>
                <a:gd name="T19" fmla="*/ 2147483647 h 270"/>
                <a:gd name="T20" fmla="*/ 2147483647 w 291"/>
                <a:gd name="T21" fmla="*/ 2147483647 h 270"/>
                <a:gd name="T22" fmla="*/ 2147483647 w 291"/>
                <a:gd name="T23" fmla="*/ 2147483647 h 270"/>
                <a:gd name="T24" fmla="*/ 2147483647 w 291"/>
                <a:gd name="T25" fmla="*/ 2147483647 h 270"/>
                <a:gd name="T26" fmla="*/ 2147483647 w 291"/>
                <a:gd name="T27" fmla="*/ 2147483647 h 270"/>
                <a:gd name="T28" fmla="*/ 2147483647 w 291"/>
                <a:gd name="T29" fmla="*/ 2147483647 h 270"/>
                <a:gd name="T30" fmla="*/ 2147483647 w 291"/>
                <a:gd name="T31" fmla="*/ 2147483647 h 270"/>
                <a:gd name="T32" fmla="*/ 2147483647 w 291"/>
                <a:gd name="T33" fmla="*/ 2147483647 h 270"/>
                <a:gd name="T34" fmla="*/ 2147483647 w 291"/>
                <a:gd name="T35" fmla="*/ 2147483647 h 270"/>
                <a:gd name="T36" fmla="*/ 2147483647 w 291"/>
                <a:gd name="T37" fmla="*/ 2147483647 h 270"/>
                <a:gd name="T38" fmla="*/ 2147483647 w 291"/>
                <a:gd name="T39" fmla="*/ 2147483647 h 270"/>
                <a:gd name="T40" fmla="*/ 2147483647 w 291"/>
                <a:gd name="T41" fmla="*/ 2147483647 h 270"/>
                <a:gd name="T42" fmla="*/ 2147483647 w 291"/>
                <a:gd name="T43" fmla="*/ 2147483647 h 270"/>
                <a:gd name="T44" fmla="*/ 2147483647 w 291"/>
                <a:gd name="T45" fmla="*/ 2147483647 h 270"/>
                <a:gd name="T46" fmla="*/ 2147483647 w 291"/>
                <a:gd name="T47" fmla="*/ 2147483647 h 270"/>
                <a:gd name="T48" fmla="*/ 2147483647 w 291"/>
                <a:gd name="T49" fmla="*/ 2147483647 h 270"/>
                <a:gd name="T50" fmla="*/ 2147483647 w 291"/>
                <a:gd name="T51" fmla="*/ 2147483647 h 270"/>
                <a:gd name="T52" fmla="*/ 2147483647 w 291"/>
                <a:gd name="T53" fmla="*/ 2147483647 h 270"/>
                <a:gd name="T54" fmla="*/ 2147483647 w 291"/>
                <a:gd name="T55" fmla="*/ 2147483647 h 270"/>
                <a:gd name="T56" fmla="*/ 2147483647 w 291"/>
                <a:gd name="T57" fmla="*/ 2147483647 h 270"/>
                <a:gd name="T58" fmla="*/ 2147483647 w 291"/>
                <a:gd name="T59" fmla="*/ 2147483647 h 270"/>
                <a:gd name="T60" fmla="*/ 2147483647 w 291"/>
                <a:gd name="T61" fmla="*/ 2147483647 h 270"/>
                <a:gd name="T62" fmla="*/ 2147483647 w 291"/>
                <a:gd name="T63" fmla="*/ 2147483647 h 270"/>
                <a:gd name="T64" fmla="*/ 2147483647 w 291"/>
                <a:gd name="T65" fmla="*/ 2147483647 h 270"/>
                <a:gd name="T66" fmla="*/ 2147483647 w 291"/>
                <a:gd name="T67" fmla="*/ 2147483647 h 270"/>
                <a:gd name="T68" fmla="*/ 2147483647 w 291"/>
                <a:gd name="T69" fmla="*/ 2147483647 h 270"/>
                <a:gd name="T70" fmla="*/ 2147483647 w 291"/>
                <a:gd name="T71" fmla="*/ 2147483647 h 270"/>
                <a:gd name="T72" fmla="*/ 2147483647 w 291"/>
                <a:gd name="T73" fmla="*/ 2147483647 h 270"/>
                <a:gd name="T74" fmla="*/ 2147483647 w 291"/>
                <a:gd name="T75" fmla="*/ 2147483647 h 270"/>
                <a:gd name="T76" fmla="*/ 2147483647 w 291"/>
                <a:gd name="T77" fmla="*/ 2147483647 h 270"/>
                <a:gd name="T78" fmla="*/ 2147483647 w 291"/>
                <a:gd name="T79" fmla="*/ 2147483647 h 270"/>
                <a:gd name="T80" fmla="*/ 2147483647 w 291"/>
                <a:gd name="T81" fmla="*/ 2147483647 h 270"/>
                <a:gd name="T82" fmla="*/ 2147483647 w 291"/>
                <a:gd name="T83" fmla="*/ 2147483647 h 270"/>
                <a:gd name="T84" fmla="*/ 2147483647 w 291"/>
                <a:gd name="T85" fmla="*/ 2147483647 h 270"/>
                <a:gd name="T86" fmla="*/ 2147483647 w 291"/>
                <a:gd name="T87" fmla="*/ 2147483647 h 270"/>
                <a:gd name="T88" fmla="*/ 2147483647 w 291"/>
                <a:gd name="T89" fmla="*/ 2147483647 h 270"/>
                <a:gd name="T90" fmla="*/ 2147483647 w 291"/>
                <a:gd name="T91" fmla="*/ 2147483647 h 270"/>
                <a:gd name="T92" fmla="*/ 2147483647 w 291"/>
                <a:gd name="T93" fmla="*/ 2147483647 h 270"/>
                <a:gd name="T94" fmla="*/ 2147483647 w 291"/>
                <a:gd name="T95" fmla="*/ 2147483647 h 270"/>
                <a:gd name="T96" fmla="*/ 2147483647 w 291"/>
                <a:gd name="T97" fmla="*/ 2147483647 h 270"/>
                <a:gd name="T98" fmla="*/ 2147483647 w 291"/>
                <a:gd name="T99" fmla="*/ 2147483647 h 270"/>
                <a:gd name="T100" fmla="*/ 2147483647 w 291"/>
                <a:gd name="T101" fmla="*/ 2147483647 h 270"/>
                <a:gd name="T102" fmla="*/ 2147483647 w 291"/>
                <a:gd name="T103" fmla="*/ 2147483647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1"/>
                <a:gd name="T157" fmla="*/ 0 h 270"/>
                <a:gd name="T158" fmla="*/ 291 w 291"/>
                <a:gd name="T159" fmla="*/ 270 h 2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1" h="270">
                  <a:moveTo>
                    <a:pt x="0" y="135"/>
                  </a:moveTo>
                  <a:lnTo>
                    <a:pt x="1" y="134"/>
                  </a:lnTo>
                  <a:lnTo>
                    <a:pt x="2" y="133"/>
                  </a:lnTo>
                  <a:lnTo>
                    <a:pt x="4" y="132"/>
                  </a:lnTo>
                  <a:lnTo>
                    <a:pt x="5" y="132"/>
                  </a:lnTo>
                  <a:lnTo>
                    <a:pt x="9" y="132"/>
                  </a:lnTo>
                  <a:lnTo>
                    <a:pt x="10" y="130"/>
                  </a:lnTo>
                  <a:lnTo>
                    <a:pt x="11" y="128"/>
                  </a:lnTo>
                  <a:lnTo>
                    <a:pt x="11" y="125"/>
                  </a:lnTo>
                  <a:lnTo>
                    <a:pt x="11" y="123"/>
                  </a:lnTo>
                  <a:lnTo>
                    <a:pt x="12" y="123"/>
                  </a:lnTo>
                  <a:lnTo>
                    <a:pt x="15" y="123"/>
                  </a:lnTo>
                  <a:lnTo>
                    <a:pt x="16" y="126"/>
                  </a:lnTo>
                  <a:lnTo>
                    <a:pt x="16" y="129"/>
                  </a:lnTo>
                  <a:lnTo>
                    <a:pt x="16" y="132"/>
                  </a:lnTo>
                  <a:lnTo>
                    <a:pt x="18" y="135"/>
                  </a:lnTo>
                  <a:lnTo>
                    <a:pt x="20" y="138"/>
                  </a:lnTo>
                  <a:lnTo>
                    <a:pt x="23" y="140"/>
                  </a:lnTo>
                  <a:lnTo>
                    <a:pt x="25" y="141"/>
                  </a:lnTo>
                  <a:lnTo>
                    <a:pt x="29" y="141"/>
                  </a:lnTo>
                  <a:lnTo>
                    <a:pt x="34" y="141"/>
                  </a:lnTo>
                  <a:lnTo>
                    <a:pt x="42" y="139"/>
                  </a:lnTo>
                  <a:lnTo>
                    <a:pt x="47" y="135"/>
                  </a:lnTo>
                  <a:lnTo>
                    <a:pt x="49" y="135"/>
                  </a:lnTo>
                  <a:lnTo>
                    <a:pt x="53" y="133"/>
                  </a:lnTo>
                  <a:lnTo>
                    <a:pt x="57" y="129"/>
                  </a:lnTo>
                  <a:lnTo>
                    <a:pt x="58" y="127"/>
                  </a:lnTo>
                  <a:lnTo>
                    <a:pt x="59" y="123"/>
                  </a:lnTo>
                  <a:lnTo>
                    <a:pt x="59" y="62"/>
                  </a:lnTo>
                  <a:lnTo>
                    <a:pt x="65" y="64"/>
                  </a:lnTo>
                  <a:lnTo>
                    <a:pt x="68" y="68"/>
                  </a:lnTo>
                  <a:lnTo>
                    <a:pt x="71" y="71"/>
                  </a:lnTo>
                  <a:lnTo>
                    <a:pt x="73" y="75"/>
                  </a:lnTo>
                  <a:lnTo>
                    <a:pt x="77" y="84"/>
                  </a:lnTo>
                  <a:lnTo>
                    <a:pt x="79" y="95"/>
                  </a:lnTo>
                  <a:lnTo>
                    <a:pt x="80" y="96"/>
                  </a:lnTo>
                  <a:lnTo>
                    <a:pt x="82" y="96"/>
                  </a:lnTo>
                  <a:lnTo>
                    <a:pt x="87" y="95"/>
                  </a:lnTo>
                  <a:lnTo>
                    <a:pt x="94" y="93"/>
                  </a:lnTo>
                  <a:lnTo>
                    <a:pt x="99" y="91"/>
                  </a:lnTo>
                  <a:lnTo>
                    <a:pt x="101" y="90"/>
                  </a:lnTo>
                  <a:lnTo>
                    <a:pt x="103" y="88"/>
                  </a:lnTo>
                  <a:lnTo>
                    <a:pt x="104" y="85"/>
                  </a:lnTo>
                  <a:lnTo>
                    <a:pt x="106" y="84"/>
                  </a:lnTo>
                  <a:lnTo>
                    <a:pt x="109" y="83"/>
                  </a:lnTo>
                  <a:lnTo>
                    <a:pt x="112" y="78"/>
                  </a:lnTo>
                  <a:lnTo>
                    <a:pt x="114" y="72"/>
                  </a:lnTo>
                  <a:lnTo>
                    <a:pt x="117" y="68"/>
                  </a:lnTo>
                  <a:lnTo>
                    <a:pt x="119" y="66"/>
                  </a:lnTo>
                  <a:lnTo>
                    <a:pt x="122" y="66"/>
                  </a:lnTo>
                  <a:lnTo>
                    <a:pt x="127" y="69"/>
                  </a:lnTo>
                  <a:lnTo>
                    <a:pt x="131" y="71"/>
                  </a:lnTo>
                  <a:lnTo>
                    <a:pt x="134" y="74"/>
                  </a:lnTo>
                  <a:lnTo>
                    <a:pt x="138" y="75"/>
                  </a:lnTo>
                  <a:lnTo>
                    <a:pt x="139" y="74"/>
                  </a:lnTo>
                  <a:lnTo>
                    <a:pt x="145" y="72"/>
                  </a:lnTo>
                  <a:lnTo>
                    <a:pt x="150" y="71"/>
                  </a:lnTo>
                  <a:lnTo>
                    <a:pt x="155" y="69"/>
                  </a:lnTo>
                  <a:lnTo>
                    <a:pt x="159" y="65"/>
                  </a:lnTo>
                  <a:lnTo>
                    <a:pt x="161" y="62"/>
                  </a:lnTo>
                  <a:lnTo>
                    <a:pt x="164" y="57"/>
                  </a:lnTo>
                  <a:lnTo>
                    <a:pt x="165" y="52"/>
                  </a:lnTo>
                  <a:lnTo>
                    <a:pt x="166" y="47"/>
                  </a:lnTo>
                  <a:lnTo>
                    <a:pt x="167" y="46"/>
                  </a:lnTo>
                  <a:lnTo>
                    <a:pt x="170" y="45"/>
                  </a:lnTo>
                  <a:lnTo>
                    <a:pt x="172" y="44"/>
                  </a:lnTo>
                  <a:lnTo>
                    <a:pt x="174" y="43"/>
                  </a:lnTo>
                  <a:lnTo>
                    <a:pt x="176" y="38"/>
                  </a:lnTo>
                  <a:lnTo>
                    <a:pt x="178" y="32"/>
                  </a:lnTo>
                  <a:lnTo>
                    <a:pt x="179" y="29"/>
                  </a:lnTo>
                  <a:lnTo>
                    <a:pt x="181" y="27"/>
                  </a:lnTo>
                  <a:lnTo>
                    <a:pt x="183" y="26"/>
                  </a:lnTo>
                  <a:lnTo>
                    <a:pt x="190" y="24"/>
                  </a:lnTo>
                  <a:lnTo>
                    <a:pt x="197" y="20"/>
                  </a:lnTo>
                  <a:lnTo>
                    <a:pt x="202" y="17"/>
                  </a:lnTo>
                  <a:lnTo>
                    <a:pt x="208" y="14"/>
                  </a:lnTo>
                  <a:lnTo>
                    <a:pt x="214" y="13"/>
                  </a:lnTo>
                  <a:lnTo>
                    <a:pt x="219" y="11"/>
                  </a:lnTo>
                  <a:lnTo>
                    <a:pt x="221" y="8"/>
                  </a:lnTo>
                  <a:lnTo>
                    <a:pt x="222" y="7"/>
                  </a:lnTo>
                  <a:lnTo>
                    <a:pt x="223" y="4"/>
                  </a:lnTo>
                  <a:lnTo>
                    <a:pt x="226" y="2"/>
                  </a:lnTo>
                  <a:lnTo>
                    <a:pt x="230" y="2"/>
                  </a:lnTo>
                  <a:lnTo>
                    <a:pt x="235" y="1"/>
                  </a:lnTo>
                  <a:lnTo>
                    <a:pt x="240" y="0"/>
                  </a:lnTo>
                  <a:lnTo>
                    <a:pt x="246" y="1"/>
                  </a:lnTo>
                  <a:lnTo>
                    <a:pt x="251" y="4"/>
                  </a:lnTo>
                  <a:lnTo>
                    <a:pt x="256" y="7"/>
                  </a:lnTo>
                  <a:lnTo>
                    <a:pt x="255" y="13"/>
                  </a:lnTo>
                  <a:lnTo>
                    <a:pt x="255" y="18"/>
                  </a:lnTo>
                  <a:lnTo>
                    <a:pt x="259" y="23"/>
                  </a:lnTo>
                  <a:lnTo>
                    <a:pt x="261" y="34"/>
                  </a:lnTo>
                  <a:lnTo>
                    <a:pt x="265" y="46"/>
                  </a:lnTo>
                  <a:lnTo>
                    <a:pt x="269" y="57"/>
                  </a:lnTo>
                  <a:lnTo>
                    <a:pt x="272" y="63"/>
                  </a:lnTo>
                  <a:lnTo>
                    <a:pt x="274" y="68"/>
                  </a:lnTo>
                  <a:lnTo>
                    <a:pt x="275" y="71"/>
                  </a:lnTo>
                  <a:lnTo>
                    <a:pt x="274" y="74"/>
                  </a:lnTo>
                  <a:lnTo>
                    <a:pt x="272" y="76"/>
                  </a:lnTo>
                  <a:lnTo>
                    <a:pt x="270" y="75"/>
                  </a:lnTo>
                  <a:lnTo>
                    <a:pt x="266" y="71"/>
                  </a:lnTo>
                  <a:lnTo>
                    <a:pt x="263" y="70"/>
                  </a:lnTo>
                  <a:lnTo>
                    <a:pt x="259" y="71"/>
                  </a:lnTo>
                  <a:lnTo>
                    <a:pt x="256" y="76"/>
                  </a:lnTo>
                  <a:lnTo>
                    <a:pt x="252" y="83"/>
                  </a:lnTo>
                  <a:lnTo>
                    <a:pt x="252" y="89"/>
                  </a:lnTo>
                  <a:lnTo>
                    <a:pt x="252" y="93"/>
                  </a:lnTo>
                  <a:lnTo>
                    <a:pt x="255" y="95"/>
                  </a:lnTo>
                  <a:lnTo>
                    <a:pt x="256" y="97"/>
                  </a:lnTo>
                  <a:lnTo>
                    <a:pt x="259" y="98"/>
                  </a:lnTo>
                  <a:lnTo>
                    <a:pt x="261" y="98"/>
                  </a:lnTo>
                  <a:lnTo>
                    <a:pt x="264" y="98"/>
                  </a:lnTo>
                  <a:lnTo>
                    <a:pt x="268" y="95"/>
                  </a:lnTo>
                  <a:lnTo>
                    <a:pt x="273" y="91"/>
                  </a:lnTo>
                  <a:lnTo>
                    <a:pt x="274" y="90"/>
                  </a:lnTo>
                  <a:lnTo>
                    <a:pt x="277" y="90"/>
                  </a:lnTo>
                  <a:lnTo>
                    <a:pt x="278" y="91"/>
                  </a:lnTo>
                  <a:lnTo>
                    <a:pt x="279" y="91"/>
                  </a:lnTo>
                  <a:lnTo>
                    <a:pt x="284" y="90"/>
                  </a:lnTo>
                  <a:lnTo>
                    <a:pt x="288" y="91"/>
                  </a:lnTo>
                  <a:lnTo>
                    <a:pt x="291" y="93"/>
                  </a:lnTo>
                  <a:lnTo>
                    <a:pt x="291" y="94"/>
                  </a:lnTo>
                  <a:lnTo>
                    <a:pt x="291" y="101"/>
                  </a:lnTo>
                  <a:lnTo>
                    <a:pt x="288" y="107"/>
                  </a:lnTo>
                  <a:lnTo>
                    <a:pt x="286" y="110"/>
                  </a:lnTo>
                  <a:lnTo>
                    <a:pt x="282" y="121"/>
                  </a:lnTo>
                  <a:lnTo>
                    <a:pt x="279" y="130"/>
                  </a:lnTo>
                  <a:lnTo>
                    <a:pt x="274" y="140"/>
                  </a:lnTo>
                  <a:lnTo>
                    <a:pt x="270" y="144"/>
                  </a:lnTo>
                  <a:lnTo>
                    <a:pt x="265" y="147"/>
                  </a:lnTo>
                  <a:lnTo>
                    <a:pt x="261" y="152"/>
                  </a:lnTo>
                  <a:lnTo>
                    <a:pt x="259" y="157"/>
                  </a:lnTo>
                  <a:lnTo>
                    <a:pt x="255" y="167"/>
                  </a:lnTo>
                  <a:lnTo>
                    <a:pt x="249" y="176"/>
                  </a:lnTo>
                  <a:lnTo>
                    <a:pt x="235" y="192"/>
                  </a:lnTo>
                  <a:lnTo>
                    <a:pt x="228" y="199"/>
                  </a:lnTo>
                  <a:lnTo>
                    <a:pt x="222" y="206"/>
                  </a:lnTo>
                  <a:lnTo>
                    <a:pt x="213" y="218"/>
                  </a:lnTo>
                  <a:lnTo>
                    <a:pt x="203" y="229"/>
                  </a:lnTo>
                  <a:lnTo>
                    <a:pt x="199" y="232"/>
                  </a:lnTo>
                  <a:lnTo>
                    <a:pt x="194" y="236"/>
                  </a:lnTo>
                  <a:lnTo>
                    <a:pt x="189" y="238"/>
                  </a:lnTo>
                  <a:lnTo>
                    <a:pt x="184" y="240"/>
                  </a:lnTo>
                  <a:lnTo>
                    <a:pt x="181" y="242"/>
                  </a:lnTo>
                  <a:lnTo>
                    <a:pt x="179" y="244"/>
                  </a:lnTo>
                  <a:lnTo>
                    <a:pt x="176" y="247"/>
                  </a:lnTo>
                  <a:lnTo>
                    <a:pt x="175" y="248"/>
                  </a:lnTo>
                  <a:lnTo>
                    <a:pt x="165" y="247"/>
                  </a:lnTo>
                  <a:lnTo>
                    <a:pt x="160" y="248"/>
                  </a:lnTo>
                  <a:lnTo>
                    <a:pt x="156" y="251"/>
                  </a:lnTo>
                  <a:lnTo>
                    <a:pt x="153" y="253"/>
                  </a:lnTo>
                  <a:lnTo>
                    <a:pt x="152" y="253"/>
                  </a:lnTo>
                  <a:lnTo>
                    <a:pt x="147" y="253"/>
                  </a:lnTo>
                  <a:lnTo>
                    <a:pt x="142" y="253"/>
                  </a:lnTo>
                  <a:lnTo>
                    <a:pt x="136" y="251"/>
                  </a:lnTo>
                  <a:lnTo>
                    <a:pt x="137" y="251"/>
                  </a:lnTo>
                  <a:lnTo>
                    <a:pt x="133" y="250"/>
                  </a:lnTo>
                  <a:lnTo>
                    <a:pt x="131" y="250"/>
                  </a:lnTo>
                  <a:lnTo>
                    <a:pt x="126" y="251"/>
                  </a:lnTo>
                  <a:lnTo>
                    <a:pt x="117" y="257"/>
                  </a:lnTo>
                  <a:lnTo>
                    <a:pt x="113" y="257"/>
                  </a:lnTo>
                  <a:lnTo>
                    <a:pt x="110" y="257"/>
                  </a:lnTo>
                  <a:lnTo>
                    <a:pt x="108" y="256"/>
                  </a:lnTo>
                  <a:lnTo>
                    <a:pt x="105" y="255"/>
                  </a:lnTo>
                  <a:lnTo>
                    <a:pt x="103" y="255"/>
                  </a:lnTo>
                  <a:lnTo>
                    <a:pt x="99" y="257"/>
                  </a:lnTo>
                  <a:lnTo>
                    <a:pt x="96" y="260"/>
                  </a:lnTo>
                  <a:lnTo>
                    <a:pt x="94" y="262"/>
                  </a:lnTo>
                  <a:lnTo>
                    <a:pt x="91" y="262"/>
                  </a:lnTo>
                  <a:lnTo>
                    <a:pt x="81" y="261"/>
                  </a:lnTo>
                  <a:lnTo>
                    <a:pt x="77" y="260"/>
                  </a:lnTo>
                  <a:lnTo>
                    <a:pt x="72" y="261"/>
                  </a:lnTo>
                  <a:lnTo>
                    <a:pt x="70" y="263"/>
                  </a:lnTo>
                  <a:lnTo>
                    <a:pt x="68" y="266"/>
                  </a:lnTo>
                  <a:lnTo>
                    <a:pt x="66" y="269"/>
                  </a:lnTo>
                  <a:lnTo>
                    <a:pt x="63" y="270"/>
                  </a:lnTo>
                  <a:lnTo>
                    <a:pt x="61" y="270"/>
                  </a:lnTo>
                  <a:lnTo>
                    <a:pt x="58" y="269"/>
                  </a:lnTo>
                  <a:lnTo>
                    <a:pt x="53" y="267"/>
                  </a:lnTo>
                  <a:lnTo>
                    <a:pt x="49" y="262"/>
                  </a:lnTo>
                  <a:lnTo>
                    <a:pt x="46" y="257"/>
                  </a:lnTo>
                  <a:lnTo>
                    <a:pt x="42" y="255"/>
                  </a:lnTo>
                  <a:lnTo>
                    <a:pt x="39" y="255"/>
                  </a:lnTo>
                  <a:lnTo>
                    <a:pt x="37" y="256"/>
                  </a:lnTo>
                  <a:lnTo>
                    <a:pt x="34" y="257"/>
                  </a:lnTo>
                  <a:lnTo>
                    <a:pt x="33" y="257"/>
                  </a:lnTo>
                  <a:lnTo>
                    <a:pt x="33" y="256"/>
                  </a:lnTo>
                  <a:lnTo>
                    <a:pt x="32" y="245"/>
                  </a:lnTo>
                  <a:lnTo>
                    <a:pt x="30" y="241"/>
                  </a:lnTo>
                  <a:lnTo>
                    <a:pt x="26" y="236"/>
                  </a:lnTo>
                  <a:lnTo>
                    <a:pt x="26" y="234"/>
                  </a:lnTo>
                  <a:lnTo>
                    <a:pt x="25" y="230"/>
                  </a:lnTo>
                  <a:lnTo>
                    <a:pt x="24" y="224"/>
                  </a:lnTo>
                  <a:lnTo>
                    <a:pt x="24" y="222"/>
                  </a:lnTo>
                  <a:lnTo>
                    <a:pt x="25" y="219"/>
                  </a:lnTo>
                  <a:lnTo>
                    <a:pt x="29" y="218"/>
                  </a:lnTo>
                  <a:lnTo>
                    <a:pt x="33" y="218"/>
                  </a:lnTo>
                  <a:lnTo>
                    <a:pt x="34" y="215"/>
                  </a:lnTo>
                  <a:lnTo>
                    <a:pt x="34" y="210"/>
                  </a:lnTo>
                  <a:lnTo>
                    <a:pt x="32" y="202"/>
                  </a:lnTo>
                  <a:lnTo>
                    <a:pt x="26" y="194"/>
                  </a:lnTo>
                  <a:lnTo>
                    <a:pt x="23" y="191"/>
                  </a:lnTo>
                  <a:lnTo>
                    <a:pt x="19" y="189"/>
                  </a:lnTo>
                  <a:lnTo>
                    <a:pt x="16" y="187"/>
                  </a:lnTo>
                  <a:lnTo>
                    <a:pt x="15" y="185"/>
                  </a:lnTo>
                  <a:lnTo>
                    <a:pt x="15" y="179"/>
                  </a:lnTo>
                  <a:lnTo>
                    <a:pt x="14" y="167"/>
                  </a:lnTo>
                  <a:lnTo>
                    <a:pt x="11" y="157"/>
                  </a:lnTo>
                  <a:lnTo>
                    <a:pt x="6" y="145"/>
                  </a:lnTo>
                  <a:lnTo>
                    <a:pt x="0" y="1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1" name="Freeform 730"/>
            <p:cNvSpPr>
              <a:spLocks/>
            </p:cNvSpPr>
            <p:nvPr/>
          </p:nvSpPr>
          <p:spPr bwMode="auto">
            <a:xfrm>
              <a:off x="5133979" y="5213351"/>
              <a:ext cx="36513" cy="44450"/>
            </a:xfrm>
            <a:custGeom>
              <a:avLst/>
              <a:gdLst>
                <a:gd name="T0" fmla="*/ 2147483647 w 25"/>
                <a:gd name="T1" fmla="*/ 2147483647 h 28"/>
                <a:gd name="T2" fmla="*/ 2147483647 w 25"/>
                <a:gd name="T3" fmla="*/ 2147483647 h 28"/>
                <a:gd name="T4" fmla="*/ 2147483647 w 25"/>
                <a:gd name="T5" fmla="*/ 2147483647 h 28"/>
                <a:gd name="T6" fmla="*/ 2147483647 w 25"/>
                <a:gd name="T7" fmla="*/ 0 h 28"/>
                <a:gd name="T8" fmla="*/ 2147483647 w 25"/>
                <a:gd name="T9" fmla="*/ 2147483647 h 28"/>
                <a:gd name="T10" fmla="*/ 2147483647 w 25"/>
                <a:gd name="T11" fmla="*/ 2147483647 h 28"/>
                <a:gd name="T12" fmla="*/ 0 w 25"/>
                <a:gd name="T13" fmla="*/ 2147483647 h 28"/>
                <a:gd name="T14" fmla="*/ 0 w 25"/>
                <a:gd name="T15" fmla="*/ 2147483647 h 28"/>
                <a:gd name="T16" fmla="*/ 0 w 25"/>
                <a:gd name="T17" fmla="*/ 2147483647 h 28"/>
                <a:gd name="T18" fmla="*/ 2147483647 w 25"/>
                <a:gd name="T19" fmla="*/ 2147483647 h 28"/>
                <a:gd name="T20" fmla="*/ 2147483647 w 25"/>
                <a:gd name="T21" fmla="*/ 2147483647 h 28"/>
                <a:gd name="T22" fmla="*/ 2147483647 w 25"/>
                <a:gd name="T23" fmla="*/ 2147483647 h 28"/>
                <a:gd name="T24" fmla="*/ 2147483647 w 25"/>
                <a:gd name="T25" fmla="*/ 2147483647 h 28"/>
                <a:gd name="T26" fmla="*/ 2147483647 w 25"/>
                <a:gd name="T27" fmla="*/ 2147483647 h 28"/>
                <a:gd name="T28" fmla="*/ 2147483647 w 25"/>
                <a:gd name="T29" fmla="*/ 2147483647 h 28"/>
                <a:gd name="T30" fmla="*/ 2147483647 w 25"/>
                <a:gd name="T31" fmla="*/ 2147483647 h 28"/>
                <a:gd name="T32" fmla="*/ 2147483647 w 25"/>
                <a:gd name="T33" fmla="*/ 2147483647 h 28"/>
                <a:gd name="T34" fmla="*/ 2147483647 w 25"/>
                <a:gd name="T35" fmla="*/ 2147483647 h 28"/>
                <a:gd name="T36" fmla="*/ 2147483647 w 25"/>
                <a:gd name="T37" fmla="*/ 2147483647 h 28"/>
                <a:gd name="T38" fmla="*/ 2147483647 w 25"/>
                <a:gd name="T39" fmla="*/ 2147483647 h 28"/>
                <a:gd name="T40" fmla="*/ 2147483647 w 25"/>
                <a:gd name="T41" fmla="*/ 214748364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8"/>
                <a:gd name="T65" fmla="*/ 25 w 25"/>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8">
                  <a:moveTo>
                    <a:pt x="20" y="6"/>
                  </a:moveTo>
                  <a:lnTo>
                    <a:pt x="18" y="5"/>
                  </a:lnTo>
                  <a:lnTo>
                    <a:pt x="14" y="1"/>
                  </a:lnTo>
                  <a:lnTo>
                    <a:pt x="11" y="0"/>
                  </a:lnTo>
                  <a:lnTo>
                    <a:pt x="7" y="1"/>
                  </a:lnTo>
                  <a:lnTo>
                    <a:pt x="4" y="6"/>
                  </a:lnTo>
                  <a:lnTo>
                    <a:pt x="0" y="13"/>
                  </a:lnTo>
                  <a:lnTo>
                    <a:pt x="0" y="19"/>
                  </a:lnTo>
                  <a:lnTo>
                    <a:pt x="0" y="23"/>
                  </a:lnTo>
                  <a:lnTo>
                    <a:pt x="3" y="25"/>
                  </a:lnTo>
                  <a:lnTo>
                    <a:pt x="4" y="27"/>
                  </a:lnTo>
                  <a:lnTo>
                    <a:pt x="7" y="28"/>
                  </a:lnTo>
                  <a:lnTo>
                    <a:pt x="9" y="28"/>
                  </a:lnTo>
                  <a:lnTo>
                    <a:pt x="12" y="28"/>
                  </a:lnTo>
                  <a:lnTo>
                    <a:pt x="16" y="25"/>
                  </a:lnTo>
                  <a:lnTo>
                    <a:pt x="21" y="21"/>
                  </a:lnTo>
                  <a:lnTo>
                    <a:pt x="22" y="20"/>
                  </a:lnTo>
                  <a:lnTo>
                    <a:pt x="25" y="20"/>
                  </a:lnTo>
                  <a:lnTo>
                    <a:pt x="23" y="13"/>
                  </a:lnTo>
                  <a:lnTo>
                    <a:pt x="22" y="9"/>
                  </a:lnTo>
                  <a:lnTo>
                    <a:pt x="2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2" name="Freeform 731"/>
            <p:cNvSpPr>
              <a:spLocks/>
            </p:cNvSpPr>
            <p:nvPr/>
          </p:nvSpPr>
          <p:spPr bwMode="auto">
            <a:xfrm>
              <a:off x="4762502" y="5100641"/>
              <a:ext cx="425450" cy="428625"/>
            </a:xfrm>
            <a:custGeom>
              <a:avLst/>
              <a:gdLst>
                <a:gd name="T0" fmla="*/ 2147483647 w 290"/>
                <a:gd name="T1" fmla="*/ 2147483647 h 270"/>
                <a:gd name="T2" fmla="*/ 2147483647 w 290"/>
                <a:gd name="T3" fmla="*/ 2147483647 h 270"/>
                <a:gd name="T4" fmla="*/ 2147483647 w 290"/>
                <a:gd name="T5" fmla="*/ 2147483647 h 270"/>
                <a:gd name="T6" fmla="*/ 2147483647 w 290"/>
                <a:gd name="T7" fmla="*/ 2147483647 h 270"/>
                <a:gd name="T8" fmla="*/ 2147483647 w 290"/>
                <a:gd name="T9" fmla="*/ 2147483647 h 270"/>
                <a:gd name="T10" fmla="*/ 2147483647 w 290"/>
                <a:gd name="T11" fmla="*/ 2147483647 h 270"/>
                <a:gd name="T12" fmla="*/ 2147483647 w 290"/>
                <a:gd name="T13" fmla="*/ 2147483647 h 270"/>
                <a:gd name="T14" fmla="*/ 2147483647 w 290"/>
                <a:gd name="T15" fmla="*/ 2147483647 h 270"/>
                <a:gd name="T16" fmla="*/ 2147483647 w 290"/>
                <a:gd name="T17" fmla="*/ 2147483647 h 270"/>
                <a:gd name="T18" fmla="*/ 2147483647 w 290"/>
                <a:gd name="T19" fmla="*/ 2147483647 h 270"/>
                <a:gd name="T20" fmla="*/ 2147483647 w 290"/>
                <a:gd name="T21" fmla="*/ 2147483647 h 270"/>
                <a:gd name="T22" fmla="*/ 2147483647 w 290"/>
                <a:gd name="T23" fmla="*/ 2147483647 h 270"/>
                <a:gd name="T24" fmla="*/ 2147483647 w 290"/>
                <a:gd name="T25" fmla="*/ 2147483647 h 270"/>
                <a:gd name="T26" fmla="*/ 2147483647 w 290"/>
                <a:gd name="T27" fmla="*/ 2147483647 h 270"/>
                <a:gd name="T28" fmla="*/ 2147483647 w 290"/>
                <a:gd name="T29" fmla="*/ 2147483647 h 270"/>
                <a:gd name="T30" fmla="*/ 2147483647 w 290"/>
                <a:gd name="T31" fmla="*/ 2147483647 h 270"/>
                <a:gd name="T32" fmla="*/ 2147483647 w 290"/>
                <a:gd name="T33" fmla="*/ 2147483647 h 270"/>
                <a:gd name="T34" fmla="*/ 2147483647 w 290"/>
                <a:gd name="T35" fmla="*/ 2147483647 h 270"/>
                <a:gd name="T36" fmla="*/ 2147483647 w 290"/>
                <a:gd name="T37" fmla="*/ 2147483647 h 270"/>
                <a:gd name="T38" fmla="*/ 2147483647 w 290"/>
                <a:gd name="T39" fmla="*/ 2147483647 h 270"/>
                <a:gd name="T40" fmla="*/ 2147483647 w 290"/>
                <a:gd name="T41" fmla="*/ 2147483647 h 270"/>
                <a:gd name="T42" fmla="*/ 2147483647 w 290"/>
                <a:gd name="T43" fmla="*/ 2147483647 h 270"/>
                <a:gd name="T44" fmla="*/ 2147483647 w 290"/>
                <a:gd name="T45" fmla="*/ 2147483647 h 270"/>
                <a:gd name="T46" fmla="*/ 2147483647 w 290"/>
                <a:gd name="T47" fmla="*/ 2147483647 h 270"/>
                <a:gd name="T48" fmla="*/ 2147483647 w 290"/>
                <a:gd name="T49" fmla="*/ 2147483647 h 270"/>
                <a:gd name="T50" fmla="*/ 2147483647 w 290"/>
                <a:gd name="T51" fmla="*/ 2147483647 h 270"/>
                <a:gd name="T52" fmla="*/ 2147483647 w 290"/>
                <a:gd name="T53" fmla="*/ 2147483647 h 270"/>
                <a:gd name="T54" fmla="*/ 2147483647 w 290"/>
                <a:gd name="T55" fmla="*/ 2147483647 h 270"/>
                <a:gd name="T56" fmla="*/ 2147483647 w 290"/>
                <a:gd name="T57" fmla="*/ 2147483647 h 270"/>
                <a:gd name="T58" fmla="*/ 2147483647 w 290"/>
                <a:gd name="T59" fmla="*/ 2147483647 h 270"/>
                <a:gd name="T60" fmla="*/ 2147483647 w 290"/>
                <a:gd name="T61" fmla="*/ 2147483647 h 270"/>
                <a:gd name="T62" fmla="*/ 2147483647 w 290"/>
                <a:gd name="T63" fmla="*/ 2147483647 h 270"/>
                <a:gd name="T64" fmla="*/ 2147483647 w 290"/>
                <a:gd name="T65" fmla="*/ 2147483647 h 270"/>
                <a:gd name="T66" fmla="*/ 2147483647 w 290"/>
                <a:gd name="T67" fmla="*/ 2147483647 h 270"/>
                <a:gd name="T68" fmla="*/ 2147483647 w 290"/>
                <a:gd name="T69" fmla="*/ 2147483647 h 270"/>
                <a:gd name="T70" fmla="*/ 2147483647 w 290"/>
                <a:gd name="T71" fmla="*/ 2147483647 h 270"/>
                <a:gd name="T72" fmla="*/ 2147483647 w 290"/>
                <a:gd name="T73" fmla="*/ 2147483647 h 270"/>
                <a:gd name="T74" fmla="*/ 2147483647 w 290"/>
                <a:gd name="T75" fmla="*/ 2147483647 h 270"/>
                <a:gd name="T76" fmla="*/ 2147483647 w 290"/>
                <a:gd name="T77" fmla="*/ 2147483647 h 270"/>
                <a:gd name="T78" fmla="*/ 2147483647 w 290"/>
                <a:gd name="T79" fmla="*/ 2147483647 h 270"/>
                <a:gd name="T80" fmla="*/ 2147483647 w 290"/>
                <a:gd name="T81" fmla="*/ 2147483647 h 270"/>
                <a:gd name="T82" fmla="*/ 2147483647 w 290"/>
                <a:gd name="T83" fmla="*/ 2147483647 h 270"/>
                <a:gd name="T84" fmla="*/ 2147483647 w 290"/>
                <a:gd name="T85" fmla="*/ 2147483647 h 270"/>
                <a:gd name="T86" fmla="*/ 2147483647 w 290"/>
                <a:gd name="T87" fmla="*/ 2147483647 h 270"/>
                <a:gd name="T88" fmla="*/ 2147483647 w 290"/>
                <a:gd name="T89" fmla="*/ 2147483647 h 270"/>
                <a:gd name="T90" fmla="*/ 2147483647 w 290"/>
                <a:gd name="T91" fmla="*/ 2147483647 h 270"/>
                <a:gd name="T92" fmla="*/ 2147483647 w 290"/>
                <a:gd name="T93" fmla="*/ 2147483647 h 270"/>
                <a:gd name="T94" fmla="*/ 2147483647 w 290"/>
                <a:gd name="T95" fmla="*/ 2147483647 h 270"/>
                <a:gd name="T96" fmla="*/ 2147483647 w 290"/>
                <a:gd name="T97" fmla="*/ 2147483647 h 270"/>
                <a:gd name="T98" fmla="*/ 2147483647 w 290"/>
                <a:gd name="T99" fmla="*/ 2147483647 h 270"/>
                <a:gd name="T100" fmla="*/ 2147483647 w 290"/>
                <a:gd name="T101" fmla="*/ 2147483647 h 270"/>
                <a:gd name="T102" fmla="*/ 2147483647 w 290"/>
                <a:gd name="T103" fmla="*/ 2147483647 h 270"/>
                <a:gd name="T104" fmla="*/ 2147483647 w 290"/>
                <a:gd name="T105" fmla="*/ 2147483647 h 270"/>
                <a:gd name="T106" fmla="*/ 2147483647 w 290"/>
                <a:gd name="T107" fmla="*/ 2147483647 h 27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0"/>
                <a:gd name="T163" fmla="*/ 0 h 270"/>
                <a:gd name="T164" fmla="*/ 290 w 290"/>
                <a:gd name="T165" fmla="*/ 270 h 27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0" h="270">
                  <a:moveTo>
                    <a:pt x="0" y="135"/>
                  </a:moveTo>
                  <a:lnTo>
                    <a:pt x="0" y="135"/>
                  </a:lnTo>
                  <a:lnTo>
                    <a:pt x="1" y="134"/>
                  </a:lnTo>
                  <a:lnTo>
                    <a:pt x="2" y="133"/>
                  </a:lnTo>
                  <a:lnTo>
                    <a:pt x="3" y="131"/>
                  </a:lnTo>
                  <a:lnTo>
                    <a:pt x="5" y="131"/>
                  </a:lnTo>
                  <a:lnTo>
                    <a:pt x="8" y="131"/>
                  </a:lnTo>
                  <a:lnTo>
                    <a:pt x="10" y="130"/>
                  </a:lnTo>
                  <a:lnTo>
                    <a:pt x="11" y="128"/>
                  </a:lnTo>
                  <a:lnTo>
                    <a:pt x="11" y="124"/>
                  </a:lnTo>
                  <a:lnTo>
                    <a:pt x="11" y="123"/>
                  </a:lnTo>
                  <a:lnTo>
                    <a:pt x="12" y="123"/>
                  </a:lnTo>
                  <a:lnTo>
                    <a:pt x="15" y="123"/>
                  </a:lnTo>
                  <a:lnTo>
                    <a:pt x="16" y="126"/>
                  </a:lnTo>
                  <a:lnTo>
                    <a:pt x="16" y="129"/>
                  </a:lnTo>
                  <a:lnTo>
                    <a:pt x="16" y="131"/>
                  </a:lnTo>
                  <a:lnTo>
                    <a:pt x="17" y="135"/>
                  </a:lnTo>
                  <a:lnTo>
                    <a:pt x="20" y="137"/>
                  </a:lnTo>
                  <a:lnTo>
                    <a:pt x="22" y="140"/>
                  </a:lnTo>
                  <a:lnTo>
                    <a:pt x="25" y="141"/>
                  </a:lnTo>
                  <a:lnTo>
                    <a:pt x="29" y="141"/>
                  </a:lnTo>
                  <a:lnTo>
                    <a:pt x="34" y="141"/>
                  </a:lnTo>
                  <a:lnTo>
                    <a:pt x="41" y="139"/>
                  </a:lnTo>
                  <a:lnTo>
                    <a:pt x="47" y="135"/>
                  </a:lnTo>
                  <a:lnTo>
                    <a:pt x="49" y="135"/>
                  </a:lnTo>
                  <a:lnTo>
                    <a:pt x="53" y="133"/>
                  </a:lnTo>
                  <a:lnTo>
                    <a:pt x="57" y="129"/>
                  </a:lnTo>
                  <a:lnTo>
                    <a:pt x="58" y="127"/>
                  </a:lnTo>
                  <a:lnTo>
                    <a:pt x="59" y="123"/>
                  </a:lnTo>
                  <a:lnTo>
                    <a:pt x="59" y="62"/>
                  </a:lnTo>
                  <a:lnTo>
                    <a:pt x="64" y="64"/>
                  </a:lnTo>
                  <a:lnTo>
                    <a:pt x="68" y="67"/>
                  </a:lnTo>
                  <a:lnTo>
                    <a:pt x="71" y="71"/>
                  </a:lnTo>
                  <a:lnTo>
                    <a:pt x="73" y="75"/>
                  </a:lnTo>
                  <a:lnTo>
                    <a:pt x="77" y="84"/>
                  </a:lnTo>
                  <a:lnTo>
                    <a:pt x="78" y="95"/>
                  </a:lnTo>
                  <a:lnTo>
                    <a:pt x="80" y="96"/>
                  </a:lnTo>
                  <a:lnTo>
                    <a:pt x="82" y="96"/>
                  </a:lnTo>
                  <a:lnTo>
                    <a:pt x="87" y="95"/>
                  </a:lnTo>
                  <a:lnTo>
                    <a:pt x="93" y="92"/>
                  </a:lnTo>
                  <a:lnTo>
                    <a:pt x="99" y="91"/>
                  </a:lnTo>
                  <a:lnTo>
                    <a:pt x="101" y="90"/>
                  </a:lnTo>
                  <a:lnTo>
                    <a:pt x="102" y="88"/>
                  </a:lnTo>
                  <a:lnTo>
                    <a:pt x="104" y="85"/>
                  </a:lnTo>
                  <a:lnTo>
                    <a:pt x="106" y="84"/>
                  </a:lnTo>
                  <a:lnTo>
                    <a:pt x="109" y="83"/>
                  </a:lnTo>
                  <a:lnTo>
                    <a:pt x="111" y="78"/>
                  </a:lnTo>
                  <a:lnTo>
                    <a:pt x="114" y="72"/>
                  </a:lnTo>
                  <a:lnTo>
                    <a:pt x="116" y="67"/>
                  </a:lnTo>
                  <a:lnTo>
                    <a:pt x="119" y="66"/>
                  </a:lnTo>
                  <a:lnTo>
                    <a:pt x="121" y="66"/>
                  </a:lnTo>
                  <a:lnTo>
                    <a:pt x="127" y="69"/>
                  </a:lnTo>
                  <a:lnTo>
                    <a:pt x="130" y="71"/>
                  </a:lnTo>
                  <a:lnTo>
                    <a:pt x="134" y="73"/>
                  </a:lnTo>
                  <a:lnTo>
                    <a:pt x="138" y="75"/>
                  </a:lnTo>
                  <a:lnTo>
                    <a:pt x="139" y="73"/>
                  </a:lnTo>
                  <a:lnTo>
                    <a:pt x="144" y="72"/>
                  </a:lnTo>
                  <a:lnTo>
                    <a:pt x="149" y="71"/>
                  </a:lnTo>
                  <a:lnTo>
                    <a:pt x="154" y="69"/>
                  </a:lnTo>
                  <a:lnTo>
                    <a:pt x="158" y="65"/>
                  </a:lnTo>
                  <a:lnTo>
                    <a:pt x="161" y="62"/>
                  </a:lnTo>
                  <a:lnTo>
                    <a:pt x="163" y="57"/>
                  </a:lnTo>
                  <a:lnTo>
                    <a:pt x="165" y="52"/>
                  </a:lnTo>
                  <a:lnTo>
                    <a:pt x="166" y="47"/>
                  </a:lnTo>
                  <a:lnTo>
                    <a:pt x="167" y="46"/>
                  </a:lnTo>
                  <a:lnTo>
                    <a:pt x="170" y="45"/>
                  </a:lnTo>
                  <a:lnTo>
                    <a:pt x="172" y="44"/>
                  </a:lnTo>
                  <a:lnTo>
                    <a:pt x="173" y="43"/>
                  </a:lnTo>
                  <a:lnTo>
                    <a:pt x="176" y="38"/>
                  </a:lnTo>
                  <a:lnTo>
                    <a:pt x="177" y="32"/>
                  </a:lnTo>
                  <a:lnTo>
                    <a:pt x="179" y="28"/>
                  </a:lnTo>
                  <a:lnTo>
                    <a:pt x="181" y="27"/>
                  </a:lnTo>
                  <a:lnTo>
                    <a:pt x="182" y="26"/>
                  </a:lnTo>
                  <a:lnTo>
                    <a:pt x="190" y="24"/>
                  </a:lnTo>
                  <a:lnTo>
                    <a:pt x="196" y="20"/>
                  </a:lnTo>
                  <a:lnTo>
                    <a:pt x="201" y="16"/>
                  </a:lnTo>
                  <a:lnTo>
                    <a:pt x="208" y="14"/>
                  </a:lnTo>
                  <a:lnTo>
                    <a:pt x="214" y="13"/>
                  </a:lnTo>
                  <a:lnTo>
                    <a:pt x="219" y="11"/>
                  </a:lnTo>
                  <a:lnTo>
                    <a:pt x="220" y="8"/>
                  </a:lnTo>
                  <a:lnTo>
                    <a:pt x="222" y="7"/>
                  </a:lnTo>
                  <a:lnTo>
                    <a:pt x="223" y="3"/>
                  </a:lnTo>
                  <a:lnTo>
                    <a:pt x="226" y="2"/>
                  </a:lnTo>
                  <a:lnTo>
                    <a:pt x="229" y="2"/>
                  </a:lnTo>
                  <a:lnTo>
                    <a:pt x="234" y="1"/>
                  </a:lnTo>
                  <a:lnTo>
                    <a:pt x="240" y="0"/>
                  </a:lnTo>
                  <a:lnTo>
                    <a:pt x="246" y="1"/>
                  </a:lnTo>
                  <a:lnTo>
                    <a:pt x="251" y="3"/>
                  </a:lnTo>
                  <a:lnTo>
                    <a:pt x="256" y="7"/>
                  </a:lnTo>
                  <a:lnTo>
                    <a:pt x="255" y="13"/>
                  </a:lnTo>
                  <a:lnTo>
                    <a:pt x="255" y="18"/>
                  </a:lnTo>
                  <a:lnTo>
                    <a:pt x="259" y="22"/>
                  </a:lnTo>
                  <a:lnTo>
                    <a:pt x="261" y="34"/>
                  </a:lnTo>
                  <a:lnTo>
                    <a:pt x="265" y="46"/>
                  </a:lnTo>
                  <a:lnTo>
                    <a:pt x="269" y="57"/>
                  </a:lnTo>
                  <a:lnTo>
                    <a:pt x="271" y="63"/>
                  </a:lnTo>
                  <a:lnTo>
                    <a:pt x="274" y="67"/>
                  </a:lnTo>
                  <a:lnTo>
                    <a:pt x="275" y="71"/>
                  </a:lnTo>
                  <a:lnTo>
                    <a:pt x="274" y="73"/>
                  </a:lnTo>
                  <a:lnTo>
                    <a:pt x="271" y="76"/>
                  </a:lnTo>
                  <a:lnTo>
                    <a:pt x="270" y="75"/>
                  </a:lnTo>
                  <a:lnTo>
                    <a:pt x="266" y="71"/>
                  </a:lnTo>
                  <a:lnTo>
                    <a:pt x="262" y="70"/>
                  </a:lnTo>
                  <a:lnTo>
                    <a:pt x="259" y="71"/>
                  </a:lnTo>
                  <a:lnTo>
                    <a:pt x="256" y="76"/>
                  </a:lnTo>
                  <a:lnTo>
                    <a:pt x="252" y="83"/>
                  </a:lnTo>
                  <a:lnTo>
                    <a:pt x="252" y="89"/>
                  </a:lnTo>
                  <a:lnTo>
                    <a:pt x="252" y="92"/>
                  </a:lnTo>
                  <a:lnTo>
                    <a:pt x="255" y="95"/>
                  </a:lnTo>
                  <a:lnTo>
                    <a:pt x="256" y="97"/>
                  </a:lnTo>
                  <a:lnTo>
                    <a:pt x="259" y="98"/>
                  </a:lnTo>
                  <a:lnTo>
                    <a:pt x="261" y="98"/>
                  </a:lnTo>
                  <a:lnTo>
                    <a:pt x="264" y="98"/>
                  </a:lnTo>
                  <a:lnTo>
                    <a:pt x="267" y="95"/>
                  </a:lnTo>
                  <a:lnTo>
                    <a:pt x="273" y="91"/>
                  </a:lnTo>
                  <a:lnTo>
                    <a:pt x="274" y="90"/>
                  </a:lnTo>
                  <a:lnTo>
                    <a:pt x="276" y="90"/>
                  </a:lnTo>
                  <a:lnTo>
                    <a:pt x="278" y="91"/>
                  </a:lnTo>
                  <a:lnTo>
                    <a:pt x="279" y="91"/>
                  </a:lnTo>
                  <a:lnTo>
                    <a:pt x="284" y="90"/>
                  </a:lnTo>
                  <a:lnTo>
                    <a:pt x="288" y="91"/>
                  </a:lnTo>
                  <a:lnTo>
                    <a:pt x="290" y="92"/>
                  </a:lnTo>
                  <a:lnTo>
                    <a:pt x="290" y="94"/>
                  </a:lnTo>
                  <a:lnTo>
                    <a:pt x="290" y="101"/>
                  </a:lnTo>
                  <a:lnTo>
                    <a:pt x="288" y="107"/>
                  </a:lnTo>
                  <a:lnTo>
                    <a:pt x="285" y="110"/>
                  </a:lnTo>
                  <a:lnTo>
                    <a:pt x="281" y="121"/>
                  </a:lnTo>
                  <a:lnTo>
                    <a:pt x="279" y="130"/>
                  </a:lnTo>
                  <a:lnTo>
                    <a:pt x="274" y="140"/>
                  </a:lnTo>
                  <a:lnTo>
                    <a:pt x="270" y="143"/>
                  </a:lnTo>
                  <a:lnTo>
                    <a:pt x="265" y="147"/>
                  </a:lnTo>
                  <a:lnTo>
                    <a:pt x="261" y="152"/>
                  </a:lnTo>
                  <a:lnTo>
                    <a:pt x="259" y="156"/>
                  </a:lnTo>
                  <a:lnTo>
                    <a:pt x="255" y="167"/>
                  </a:lnTo>
                  <a:lnTo>
                    <a:pt x="248" y="175"/>
                  </a:lnTo>
                  <a:lnTo>
                    <a:pt x="234" y="192"/>
                  </a:lnTo>
                  <a:lnTo>
                    <a:pt x="228" y="199"/>
                  </a:lnTo>
                  <a:lnTo>
                    <a:pt x="222" y="206"/>
                  </a:lnTo>
                  <a:lnTo>
                    <a:pt x="213" y="218"/>
                  </a:lnTo>
                  <a:lnTo>
                    <a:pt x="203" y="229"/>
                  </a:lnTo>
                  <a:lnTo>
                    <a:pt x="199" y="232"/>
                  </a:lnTo>
                  <a:lnTo>
                    <a:pt x="194" y="236"/>
                  </a:lnTo>
                  <a:lnTo>
                    <a:pt x="189" y="238"/>
                  </a:lnTo>
                  <a:lnTo>
                    <a:pt x="184" y="239"/>
                  </a:lnTo>
                  <a:lnTo>
                    <a:pt x="181" y="242"/>
                  </a:lnTo>
                  <a:lnTo>
                    <a:pt x="179" y="244"/>
                  </a:lnTo>
                  <a:lnTo>
                    <a:pt x="176" y="246"/>
                  </a:lnTo>
                  <a:lnTo>
                    <a:pt x="175" y="248"/>
                  </a:lnTo>
                  <a:lnTo>
                    <a:pt x="165" y="246"/>
                  </a:lnTo>
                  <a:lnTo>
                    <a:pt x="160" y="248"/>
                  </a:lnTo>
                  <a:lnTo>
                    <a:pt x="156" y="251"/>
                  </a:lnTo>
                  <a:lnTo>
                    <a:pt x="153" y="252"/>
                  </a:lnTo>
                  <a:lnTo>
                    <a:pt x="152" y="252"/>
                  </a:lnTo>
                  <a:lnTo>
                    <a:pt x="147" y="252"/>
                  </a:lnTo>
                  <a:lnTo>
                    <a:pt x="142" y="252"/>
                  </a:lnTo>
                  <a:lnTo>
                    <a:pt x="135" y="251"/>
                  </a:lnTo>
                  <a:lnTo>
                    <a:pt x="137" y="251"/>
                  </a:lnTo>
                  <a:lnTo>
                    <a:pt x="133" y="250"/>
                  </a:lnTo>
                  <a:lnTo>
                    <a:pt x="130" y="250"/>
                  </a:lnTo>
                  <a:lnTo>
                    <a:pt x="125" y="251"/>
                  </a:lnTo>
                  <a:lnTo>
                    <a:pt x="116" y="257"/>
                  </a:lnTo>
                  <a:lnTo>
                    <a:pt x="113" y="257"/>
                  </a:lnTo>
                  <a:lnTo>
                    <a:pt x="110" y="257"/>
                  </a:lnTo>
                  <a:lnTo>
                    <a:pt x="107" y="256"/>
                  </a:lnTo>
                  <a:lnTo>
                    <a:pt x="105" y="255"/>
                  </a:lnTo>
                  <a:lnTo>
                    <a:pt x="102" y="255"/>
                  </a:lnTo>
                  <a:lnTo>
                    <a:pt x="99" y="257"/>
                  </a:lnTo>
                  <a:lnTo>
                    <a:pt x="96" y="260"/>
                  </a:lnTo>
                  <a:lnTo>
                    <a:pt x="93" y="262"/>
                  </a:lnTo>
                  <a:lnTo>
                    <a:pt x="91" y="262"/>
                  </a:lnTo>
                  <a:lnTo>
                    <a:pt x="81" y="261"/>
                  </a:lnTo>
                  <a:lnTo>
                    <a:pt x="77" y="260"/>
                  </a:lnTo>
                  <a:lnTo>
                    <a:pt x="72" y="261"/>
                  </a:lnTo>
                  <a:lnTo>
                    <a:pt x="69" y="263"/>
                  </a:lnTo>
                  <a:lnTo>
                    <a:pt x="68" y="265"/>
                  </a:lnTo>
                  <a:lnTo>
                    <a:pt x="66" y="269"/>
                  </a:lnTo>
                  <a:lnTo>
                    <a:pt x="63" y="270"/>
                  </a:lnTo>
                  <a:lnTo>
                    <a:pt x="60" y="270"/>
                  </a:lnTo>
                  <a:lnTo>
                    <a:pt x="58" y="269"/>
                  </a:lnTo>
                  <a:lnTo>
                    <a:pt x="53" y="267"/>
                  </a:lnTo>
                  <a:lnTo>
                    <a:pt x="49" y="262"/>
                  </a:lnTo>
                  <a:lnTo>
                    <a:pt x="45" y="257"/>
                  </a:lnTo>
                  <a:lnTo>
                    <a:pt x="41" y="255"/>
                  </a:lnTo>
                  <a:lnTo>
                    <a:pt x="39" y="255"/>
                  </a:lnTo>
                  <a:lnTo>
                    <a:pt x="36" y="256"/>
                  </a:lnTo>
                  <a:lnTo>
                    <a:pt x="34" y="257"/>
                  </a:lnTo>
                  <a:lnTo>
                    <a:pt x="33" y="257"/>
                  </a:lnTo>
                  <a:lnTo>
                    <a:pt x="33" y="256"/>
                  </a:lnTo>
                  <a:lnTo>
                    <a:pt x="31" y="245"/>
                  </a:lnTo>
                  <a:lnTo>
                    <a:pt x="30" y="241"/>
                  </a:lnTo>
                  <a:lnTo>
                    <a:pt x="26" y="236"/>
                  </a:lnTo>
                  <a:lnTo>
                    <a:pt x="26" y="233"/>
                  </a:lnTo>
                  <a:lnTo>
                    <a:pt x="25" y="230"/>
                  </a:lnTo>
                  <a:lnTo>
                    <a:pt x="24" y="224"/>
                  </a:lnTo>
                  <a:lnTo>
                    <a:pt x="24" y="222"/>
                  </a:lnTo>
                  <a:lnTo>
                    <a:pt x="25" y="219"/>
                  </a:lnTo>
                  <a:lnTo>
                    <a:pt x="29" y="218"/>
                  </a:lnTo>
                  <a:lnTo>
                    <a:pt x="33" y="218"/>
                  </a:lnTo>
                  <a:lnTo>
                    <a:pt x="34" y="214"/>
                  </a:lnTo>
                  <a:lnTo>
                    <a:pt x="34" y="210"/>
                  </a:lnTo>
                  <a:lnTo>
                    <a:pt x="31" y="201"/>
                  </a:lnTo>
                  <a:lnTo>
                    <a:pt x="26" y="194"/>
                  </a:lnTo>
                  <a:lnTo>
                    <a:pt x="22" y="191"/>
                  </a:lnTo>
                  <a:lnTo>
                    <a:pt x="19" y="188"/>
                  </a:lnTo>
                  <a:lnTo>
                    <a:pt x="16" y="187"/>
                  </a:lnTo>
                  <a:lnTo>
                    <a:pt x="15" y="185"/>
                  </a:lnTo>
                  <a:lnTo>
                    <a:pt x="15" y="179"/>
                  </a:lnTo>
                  <a:lnTo>
                    <a:pt x="13" y="167"/>
                  </a:lnTo>
                  <a:lnTo>
                    <a:pt x="11" y="156"/>
                  </a:lnTo>
                  <a:lnTo>
                    <a:pt x="6" y="145"/>
                  </a:lnTo>
                  <a:lnTo>
                    <a:pt x="0" y="1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3" name="Freeform 732"/>
            <p:cNvSpPr>
              <a:spLocks/>
            </p:cNvSpPr>
            <p:nvPr/>
          </p:nvSpPr>
          <p:spPr bwMode="auto">
            <a:xfrm>
              <a:off x="5132389" y="5211763"/>
              <a:ext cx="34925" cy="44450"/>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0 h 28"/>
                <a:gd name="T12" fmla="*/ 2147483647 w 24"/>
                <a:gd name="T13" fmla="*/ 2147483647 h 28"/>
                <a:gd name="T14" fmla="*/ 2147483647 w 24"/>
                <a:gd name="T15" fmla="*/ 2147483647 h 28"/>
                <a:gd name="T16" fmla="*/ 2147483647 w 24"/>
                <a:gd name="T17" fmla="*/ 2147483647 h 28"/>
                <a:gd name="T18" fmla="*/ 0 w 24"/>
                <a:gd name="T19" fmla="*/ 2147483647 h 28"/>
                <a:gd name="T20" fmla="*/ 0 w 24"/>
                <a:gd name="T21" fmla="*/ 2147483647 h 28"/>
                <a:gd name="T22" fmla="*/ 0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2147483647 w 24"/>
                <a:gd name="T43" fmla="*/ 2147483647 h 28"/>
                <a:gd name="T44" fmla="*/ 2147483647 w 24"/>
                <a:gd name="T45" fmla="*/ 2147483647 h 28"/>
                <a:gd name="T46" fmla="*/ 2147483647 w 24"/>
                <a:gd name="T47" fmla="*/ 2147483647 h 28"/>
                <a:gd name="T48" fmla="*/ 2147483647 w 24"/>
                <a:gd name="T49" fmla="*/ 2147483647 h 28"/>
                <a:gd name="T50" fmla="*/ 2147483647 w 24"/>
                <a:gd name="T51" fmla="*/ 2147483647 h 28"/>
                <a:gd name="T52" fmla="*/ 2147483647 w 24"/>
                <a:gd name="T53" fmla="*/ 2147483647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28"/>
                <a:gd name="T83" fmla="*/ 24 w 24"/>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28">
                  <a:moveTo>
                    <a:pt x="19" y="6"/>
                  </a:moveTo>
                  <a:lnTo>
                    <a:pt x="19" y="6"/>
                  </a:lnTo>
                  <a:lnTo>
                    <a:pt x="18" y="5"/>
                  </a:lnTo>
                  <a:lnTo>
                    <a:pt x="14" y="1"/>
                  </a:lnTo>
                  <a:lnTo>
                    <a:pt x="10" y="0"/>
                  </a:lnTo>
                  <a:lnTo>
                    <a:pt x="7" y="1"/>
                  </a:lnTo>
                  <a:lnTo>
                    <a:pt x="4" y="6"/>
                  </a:lnTo>
                  <a:lnTo>
                    <a:pt x="0" y="13"/>
                  </a:lnTo>
                  <a:lnTo>
                    <a:pt x="0" y="19"/>
                  </a:lnTo>
                  <a:lnTo>
                    <a:pt x="0" y="22"/>
                  </a:lnTo>
                  <a:lnTo>
                    <a:pt x="3" y="25"/>
                  </a:lnTo>
                  <a:lnTo>
                    <a:pt x="4" y="27"/>
                  </a:lnTo>
                  <a:lnTo>
                    <a:pt x="7" y="28"/>
                  </a:lnTo>
                  <a:lnTo>
                    <a:pt x="9" y="28"/>
                  </a:lnTo>
                  <a:lnTo>
                    <a:pt x="12" y="28"/>
                  </a:lnTo>
                  <a:lnTo>
                    <a:pt x="15" y="25"/>
                  </a:lnTo>
                  <a:lnTo>
                    <a:pt x="21" y="21"/>
                  </a:lnTo>
                  <a:lnTo>
                    <a:pt x="22" y="20"/>
                  </a:lnTo>
                  <a:lnTo>
                    <a:pt x="24" y="20"/>
                  </a:lnTo>
                  <a:lnTo>
                    <a:pt x="23" y="13"/>
                  </a:lnTo>
                  <a:lnTo>
                    <a:pt x="22" y="9"/>
                  </a:lnTo>
                  <a:lnTo>
                    <a:pt x="19"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4" name="Freeform 733"/>
            <p:cNvSpPr>
              <a:spLocks/>
            </p:cNvSpPr>
            <p:nvPr/>
          </p:nvSpPr>
          <p:spPr bwMode="auto">
            <a:xfrm>
              <a:off x="5111753" y="4730754"/>
              <a:ext cx="273049" cy="514350"/>
            </a:xfrm>
            <a:custGeom>
              <a:avLst/>
              <a:gdLst>
                <a:gd name="T0" fmla="*/ 2147483647 w 187"/>
                <a:gd name="T1" fmla="*/ 2147483647 h 324"/>
                <a:gd name="T2" fmla="*/ 2147483647 w 187"/>
                <a:gd name="T3" fmla="*/ 2147483647 h 324"/>
                <a:gd name="T4" fmla="*/ 2147483647 w 187"/>
                <a:gd name="T5" fmla="*/ 2147483647 h 324"/>
                <a:gd name="T6" fmla="*/ 2147483647 w 187"/>
                <a:gd name="T7" fmla="*/ 2147483647 h 324"/>
                <a:gd name="T8" fmla="*/ 2147483647 w 187"/>
                <a:gd name="T9" fmla="*/ 2147483647 h 324"/>
                <a:gd name="T10" fmla="*/ 2147483647 w 187"/>
                <a:gd name="T11" fmla="*/ 2147483647 h 324"/>
                <a:gd name="T12" fmla="*/ 2147483647 w 187"/>
                <a:gd name="T13" fmla="*/ 2147483647 h 324"/>
                <a:gd name="T14" fmla="*/ 2147483647 w 187"/>
                <a:gd name="T15" fmla="*/ 2147483647 h 324"/>
                <a:gd name="T16" fmla="*/ 2147483647 w 187"/>
                <a:gd name="T17" fmla="*/ 2147483647 h 324"/>
                <a:gd name="T18" fmla="*/ 2147483647 w 187"/>
                <a:gd name="T19" fmla="*/ 2147483647 h 324"/>
                <a:gd name="T20" fmla="*/ 0 w 187"/>
                <a:gd name="T21" fmla="*/ 2147483647 h 324"/>
                <a:gd name="T22" fmla="*/ 2147483647 w 187"/>
                <a:gd name="T23" fmla="*/ 2147483647 h 324"/>
                <a:gd name="T24" fmla="*/ 2147483647 w 187"/>
                <a:gd name="T25" fmla="*/ 2147483647 h 324"/>
                <a:gd name="T26" fmla="*/ 2147483647 w 187"/>
                <a:gd name="T27" fmla="*/ 2147483647 h 324"/>
                <a:gd name="T28" fmla="*/ 2147483647 w 187"/>
                <a:gd name="T29" fmla="*/ 2147483647 h 324"/>
                <a:gd name="T30" fmla="*/ 2147483647 w 187"/>
                <a:gd name="T31" fmla="*/ 2147483647 h 324"/>
                <a:gd name="T32" fmla="*/ 2147483647 w 187"/>
                <a:gd name="T33" fmla="*/ 2147483647 h 324"/>
                <a:gd name="T34" fmla="*/ 2147483647 w 187"/>
                <a:gd name="T35" fmla="*/ 2147483647 h 324"/>
                <a:gd name="T36" fmla="*/ 2147483647 w 187"/>
                <a:gd name="T37" fmla="*/ 2147483647 h 324"/>
                <a:gd name="T38" fmla="*/ 2147483647 w 187"/>
                <a:gd name="T39" fmla="*/ 2147483647 h 324"/>
                <a:gd name="T40" fmla="*/ 2147483647 w 187"/>
                <a:gd name="T41" fmla="*/ 2147483647 h 324"/>
                <a:gd name="T42" fmla="*/ 2147483647 w 187"/>
                <a:gd name="T43" fmla="*/ 2147483647 h 324"/>
                <a:gd name="T44" fmla="*/ 2147483647 w 187"/>
                <a:gd name="T45" fmla="*/ 2147483647 h 324"/>
                <a:gd name="T46" fmla="*/ 2147483647 w 187"/>
                <a:gd name="T47" fmla="*/ 2147483647 h 324"/>
                <a:gd name="T48" fmla="*/ 2147483647 w 187"/>
                <a:gd name="T49" fmla="*/ 2147483647 h 324"/>
                <a:gd name="T50" fmla="*/ 2147483647 w 187"/>
                <a:gd name="T51" fmla="*/ 2147483647 h 324"/>
                <a:gd name="T52" fmla="*/ 2147483647 w 187"/>
                <a:gd name="T53" fmla="*/ 2147483647 h 324"/>
                <a:gd name="T54" fmla="*/ 2147483647 w 187"/>
                <a:gd name="T55" fmla="*/ 2147483647 h 324"/>
                <a:gd name="T56" fmla="*/ 2147483647 w 187"/>
                <a:gd name="T57" fmla="*/ 2147483647 h 324"/>
                <a:gd name="T58" fmla="*/ 2147483647 w 187"/>
                <a:gd name="T59" fmla="*/ 2147483647 h 324"/>
                <a:gd name="T60" fmla="*/ 2147483647 w 187"/>
                <a:gd name="T61" fmla="*/ 2147483647 h 324"/>
                <a:gd name="T62" fmla="*/ 2147483647 w 187"/>
                <a:gd name="T63" fmla="*/ 2147483647 h 324"/>
                <a:gd name="T64" fmla="*/ 2147483647 w 187"/>
                <a:gd name="T65" fmla="*/ 2147483647 h 324"/>
                <a:gd name="T66" fmla="*/ 2147483647 w 187"/>
                <a:gd name="T67" fmla="*/ 2147483647 h 324"/>
                <a:gd name="T68" fmla="*/ 2147483647 w 187"/>
                <a:gd name="T69" fmla="*/ 2147483647 h 324"/>
                <a:gd name="T70" fmla="*/ 2147483647 w 187"/>
                <a:gd name="T71" fmla="*/ 2147483647 h 324"/>
                <a:gd name="T72" fmla="*/ 2147483647 w 187"/>
                <a:gd name="T73" fmla="*/ 2147483647 h 324"/>
                <a:gd name="T74" fmla="*/ 2147483647 w 187"/>
                <a:gd name="T75" fmla="*/ 2147483647 h 324"/>
                <a:gd name="T76" fmla="*/ 2147483647 w 187"/>
                <a:gd name="T77" fmla="*/ 2147483647 h 324"/>
                <a:gd name="T78" fmla="*/ 2147483647 w 187"/>
                <a:gd name="T79" fmla="*/ 2147483647 h 324"/>
                <a:gd name="T80" fmla="*/ 2147483647 w 187"/>
                <a:gd name="T81" fmla="*/ 2147483647 h 324"/>
                <a:gd name="T82" fmla="*/ 2147483647 w 187"/>
                <a:gd name="T83" fmla="*/ 2147483647 h 324"/>
                <a:gd name="T84" fmla="*/ 2147483647 w 187"/>
                <a:gd name="T85" fmla="*/ 2147483647 h 324"/>
                <a:gd name="T86" fmla="*/ 2147483647 w 187"/>
                <a:gd name="T87" fmla="*/ 0 h 324"/>
                <a:gd name="T88" fmla="*/ 2147483647 w 187"/>
                <a:gd name="T89" fmla="*/ 2147483647 h 324"/>
                <a:gd name="T90" fmla="*/ 2147483647 w 187"/>
                <a:gd name="T91" fmla="*/ 2147483647 h 324"/>
                <a:gd name="T92" fmla="*/ 2147483647 w 187"/>
                <a:gd name="T93" fmla="*/ 2147483647 h 324"/>
                <a:gd name="T94" fmla="*/ 2147483647 w 187"/>
                <a:gd name="T95" fmla="*/ 2147483647 h 324"/>
                <a:gd name="T96" fmla="*/ 2147483647 w 187"/>
                <a:gd name="T97" fmla="*/ 2147483647 h 324"/>
                <a:gd name="T98" fmla="*/ 2147483647 w 187"/>
                <a:gd name="T99" fmla="*/ 2147483647 h 324"/>
                <a:gd name="T100" fmla="*/ 2147483647 w 187"/>
                <a:gd name="T101" fmla="*/ 2147483647 h 3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
                <a:gd name="T154" fmla="*/ 0 h 324"/>
                <a:gd name="T155" fmla="*/ 187 w 187"/>
                <a:gd name="T156" fmla="*/ 324 h 3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 h="324">
                  <a:moveTo>
                    <a:pt x="87" y="62"/>
                  </a:moveTo>
                  <a:lnTo>
                    <a:pt x="92" y="65"/>
                  </a:lnTo>
                  <a:lnTo>
                    <a:pt x="97" y="69"/>
                  </a:lnTo>
                  <a:lnTo>
                    <a:pt x="101" y="75"/>
                  </a:lnTo>
                  <a:lnTo>
                    <a:pt x="102" y="78"/>
                  </a:lnTo>
                  <a:lnTo>
                    <a:pt x="103" y="80"/>
                  </a:lnTo>
                  <a:lnTo>
                    <a:pt x="103" y="86"/>
                  </a:lnTo>
                  <a:lnTo>
                    <a:pt x="102" y="93"/>
                  </a:lnTo>
                  <a:lnTo>
                    <a:pt x="99" y="100"/>
                  </a:lnTo>
                  <a:lnTo>
                    <a:pt x="95" y="107"/>
                  </a:lnTo>
                  <a:lnTo>
                    <a:pt x="94" y="115"/>
                  </a:lnTo>
                  <a:lnTo>
                    <a:pt x="94" y="124"/>
                  </a:lnTo>
                  <a:lnTo>
                    <a:pt x="94" y="132"/>
                  </a:lnTo>
                  <a:lnTo>
                    <a:pt x="94" y="134"/>
                  </a:lnTo>
                  <a:lnTo>
                    <a:pt x="92" y="137"/>
                  </a:lnTo>
                  <a:lnTo>
                    <a:pt x="89" y="137"/>
                  </a:lnTo>
                  <a:lnTo>
                    <a:pt x="88" y="136"/>
                  </a:lnTo>
                  <a:lnTo>
                    <a:pt x="85" y="133"/>
                  </a:lnTo>
                  <a:lnTo>
                    <a:pt x="80" y="123"/>
                  </a:lnTo>
                  <a:lnTo>
                    <a:pt x="76" y="118"/>
                  </a:lnTo>
                  <a:lnTo>
                    <a:pt x="70" y="114"/>
                  </a:lnTo>
                  <a:lnTo>
                    <a:pt x="69" y="113"/>
                  </a:lnTo>
                  <a:lnTo>
                    <a:pt x="68" y="112"/>
                  </a:lnTo>
                  <a:lnTo>
                    <a:pt x="68" y="107"/>
                  </a:lnTo>
                  <a:lnTo>
                    <a:pt x="71" y="98"/>
                  </a:lnTo>
                  <a:lnTo>
                    <a:pt x="74" y="94"/>
                  </a:lnTo>
                  <a:lnTo>
                    <a:pt x="75" y="91"/>
                  </a:lnTo>
                  <a:lnTo>
                    <a:pt x="75" y="88"/>
                  </a:lnTo>
                  <a:lnTo>
                    <a:pt x="74" y="87"/>
                  </a:lnTo>
                  <a:lnTo>
                    <a:pt x="70" y="83"/>
                  </a:lnTo>
                  <a:lnTo>
                    <a:pt x="66" y="83"/>
                  </a:lnTo>
                  <a:lnTo>
                    <a:pt x="62" y="83"/>
                  </a:lnTo>
                  <a:lnTo>
                    <a:pt x="57" y="85"/>
                  </a:lnTo>
                  <a:lnTo>
                    <a:pt x="54" y="85"/>
                  </a:lnTo>
                  <a:lnTo>
                    <a:pt x="52" y="83"/>
                  </a:lnTo>
                  <a:lnTo>
                    <a:pt x="51" y="82"/>
                  </a:lnTo>
                  <a:lnTo>
                    <a:pt x="50" y="79"/>
                  </a:lnTo>
                  <a:lnTo>
                    <a:pt x="49" y="74"/>
                  </a:lnTo>
                  <a:lnTo>
                    <a:pt x="38" y="80"/>
                  </a:lnTo>
                  <a:lnTo>
                    <a:pt x="27" y="85"/>
                  </a:lnTo>
                  <a:lnTo>
                    <a:pt x="5" y="93"/>
                  </a:lnTo>
                  <a:lnTo>
                    <a:pt x="3" y="94"/>
                  </a:lnTo>
                  <a:lnTo>
                    <a:pt x="0" y="98"/>
                  </a:lnTo>
                  <a:lnTo>
                    <a:pt x="0" y="102"/>
                  </a:lnTo>
                  <a:lnTo>
                    <a:pt x="0" y="107"/>
                  </a:lnTo>
                  <a:lnTo>
                    <a:pt x="3" y="112"/>
                  </a:lnTo>
                  <a:lnTo>
                    <a:pt x="7" y="114"/>
                  </a:lnTo>
                  <a:lnTo>
                    <a:pt x="17" y="119"/>
                  </a:lnTo>
                  <a:lnTo>
                    <a:pt x="27" y="124"/>
                  </a:lnTo>
                  <a:lnTo>
                    <a:pt x="32" y="126"/>
                  </a:lnTo>
                  <a:lnTo>
                    <a:pt x="37" y="127"/>
                  </a:lnTo>
                  <a:lnTo>
                    <a:pt x="42" y="130"/>
                  </a:lnTo>
                  <a:lnTo>
                    <a:pt x="46" y="133"/>
                  </a:lnTo>
                  <a:lnTo>
                    <a:pt x="49" y="139"/>
                  </a:lnTo>
                  <a:lnTo>
                    <a:pt x="49" y="145"/>
                  </a:lnTo>
                  <a:lnTo>
                    <a:pt x="50" y="159"/>
                  </a:lnTo>
                  <a:lnTo>
                    <a:pt x="50" y="163"/>
                  </a:lnTo>
                  <a:lnTo>
                    <a:pt x="47" y="166"/>
                  </a:lnTo>
                  <a:lnTo>
                    <a:pt x="45" y="169"/>
                  </a:lnTo>
                  <a:lnTo>
                    <a:pt x="43" y="172"/>
                  </a:lnTo>
                  <a:lnTo>
                    <a:pt x="42" y="176"/>
                  </a:lnTo>
                  <a:lnTo>
                    <a:pt x="42" y="180"/>
                  </a:lnTo>
                  <a:lnTo>
                    <a:pt x="43" y="185"/>
                  </a:lnTo>
                  <a:lnTo>
                    <a:pt x="47" y="193"/>
                  </a:lnTo>
                  <a:lnTo>
                    <a:pt x="50" y="200"/>
                  </a:lnTo>
                  <a:lnTo>
                    <a:pt x="51" y="207"/>
                  </a:lnTo>
                  <a:lnTo>
                    <a:pt x="50" y="212"/>
                  </a:lnTo>
                  <a:lnTo>
                    <a:pt x="49" y="217"/>
                  </a:lnTo>
                  <a:lnTo>
                    <a:pt x="45" y="221"/>
                  </a:lnTo>
                  <a:lnTo>
                    <a:pt x="35" y="229"/>
                  </a:lnTo>
                  <a:lnTo>
                    <a:pt x="24" y="236"/>
                  </a:lnTo>
                  <a:lnTo>
                    <a:pt x="21" y="239"/>
                  </a:lnTo>
                  <a:lnTo>
                    <a:pt x="19" y="240"/>
                  </a:lnTo>
                  <a:lnTo>
                    <a:pt x="19" y="241"/>
                  </a:lnTo>
                  <a:lnTo>
                    <a:pt x="18" y="247"/>
                  </a:lnTo>
                  <a:lnTo>
                    <a:pt x="18" y="252"/>
                  </a:lnTo>
                  <a:lnTo>
                    <a:pt x="22" y="257"/>
                  </a:lnTo>
                  <a:lnTo>
                    <a:pt x="24" y="268"/>
                  </a:lnTo>
                  <a:lnTo>
                    <a:pt x="28" y="280"/>
                  </a:lnTo>
                  <a:lnTo>
                    <a:pt x="32" y="291"/>
                  </a:lnTo>
                  <a:lnTo>
                    <a:pt x="35" y="297"/>
                  </a:lnTo>
                  <a:lnTo>
                    <a:pt x="37" y="302"/>
                  </a:lnTo>
                  <a:lnTo>
                    <a:pt x="38" y="305"/>
                  </a:lnTo>
                  <a:lnTo>
                    <a:pt x="37" y="308"/>
                  </a:lnTo>
                  <a:lnTo>
                    <a:pt x="35" y="310"/>
                  </a:lnTo>
                  <a:lnTo>
                    <a:pt x="37" y="313"/>
                  </a:lnTo>
                  <a:lnTo>
                    <a:pt x="38" y="317"/>
                  </a:lnTo>
                  <a:lnTo>
                    <a:pt x="40" y="324"/>
                  </a:lnTo>
                  <a:lnTo>
                    <a:pt x="41" y="316"/>
                  </a:lnTo>
                  <a:lnTo>
                    <a:pt x="43" y="309"/>
                  </a:lnTo>
                  <a:lnTo>
                    <a:pt x="49" y="304"/>
                  </a:lnTo>
                  <a:lnTo>
                    <a:pt x="54" y="300"/>
                  </a:lnTo>
                  <a:lnTo>
                    <a:pt x="59" y="298"/>
                  </a:lnTo>
                  <a:lnTo>
                    <a:pt x="65" y="297"/>
                  </a:lnTo>
                  <a:lnTo>
                    <a:pt x="71" y="296"/>
                  </a:lnTo>
                  <a:lnTo>
                    <a:pt x="80" y="292"/>
                  </a:lnTo>
                  <a:lnTo>
                    <a:pt x="85" y="291"/>
                  </a:lnTo>
                  <a:lnTo>
                    <a:pt x="89" y="289"/>
                  </a:lnTo>
                  <a:lnTo>
                    <a:pt x="93" y="286"/>
                  </a:lnTo>
                  <a:lnTo>
                    <a:pt x="95" y="284"/>
                  </a:lnTo>
                  <a:lnTo>
                    <a:pt x="97" y="281"/>
                  </a:lnTo>
                  <a:lnTo>
                    <a:pt x="97" y="279"/>
                  </a:lnTo>
                  <a:lnTo>
                    <a:pt x="94" y="276"/>
                  </a:lnTo>
                  <a:lnTo>
                    <a:pt x="93" y="273"/>
                  </a:lnTo>
                  <a:lnTo>
                    <a:pt x="92" y="271"/>
                  </a:lnTo>
                  <a:lnTo>
                    <a:pt x="94" y="267"/>
                  </a:lnTo>
                  <a:lnTo>
                    <a:pt x="95" y="265"/>
                  </a:lnTo>
                  <a:lnTo>
                    <a:pt x="98" y="263"/>
                  </a:lnTo>
                  <a:lnTo>
                    <a:pt x="98" y="259"/>
                  </a:lnTo>
                  <a:lnTo>
                    <a:pt x="95" y="249"/>
                  </a:lnTo>
                  <a:lnTo>
                    <a:pt x="94" y="240"/>
                  </a:lnTo>
                  <a:lnTo>
                    <a:pt x="93" y="236"/>
                  </a:lnTo>
                  <a:lnTo>
                    <a:pt x="92" y="234"/>
                  </a:lnTo>
                  <a:lnTo>
                    <a:pt x="90" y="232"/>
                  </a:lnTo>
                  <a:lnTo>
                    <a:pt x="89" y="228"/>
                  </a:lnTo>
                  <a:lnTo>
                    <a:pt x="89" y="223"/>
                  </a:lnTo>
                  <a:lnTo>
                    <a:pt x="90" y="217"/>
                  </a:lnTo>
                  <a:lnTo>
                    <a:pt x="90" y="215"/>
                  </a:lnTo>
                  <a:lnTo>
                    <a:pt x="90" y="213"/>
                  </a:lnTo>
                  <a:lnTo>
                    <a:pt x="87" y="210"/>
                  </a:lnTo>
                  <a:lnTo>
                    <a:pt x="84" y="208"/>
                  </a:lnTo>
                  <a:lnTo>
                    <a:pt x="83" y="207"/>
                  </a:lnTo>
                  <a:lnTo>
                    <a:pt x="82" y="204"/>
                  </a:lnTo>
                  <a:lnTo>
                    <a:pt x="82" y="203"/>
                  </a:lnTo>
                  <a:lnTo>
                    <a:pt x="80" y="201"/>
                  </a:lnTo>
                  <a:lnTo>
                    <a:pt x="75" y="197"/>
                  </a:lnTo>
                  <a:lnTo>
                    <a:pt x="74" y="195"/>
                  </a:lnTo>
                  <a:lnTo>
                    <a:pt x="74" y="193"/>
                  </a:lnTo>
                  <a:lnTo>
                    <a:pt x="76" y="184"/>
                  </a:lnTo>
                  <a:lnTo>
                    <a:pt x="78" y="183"/>
                  </a:lnTo>
                  <a:lnTo>
                    <a:pt x="80" y="183"/>
                  </a:lnTo>
                  <a:lnTo>
                    <a:pt x="84" y="183"/>
                  </a:lnTo>
                  <a:lnTo>
                    <a:pt x="90" y="182"/>
                  </a:lnTo>
                  <a:lnTo>
                    <a:pt x="94" y="181"/>
                  </a:lnTo>
                  <a:lnTo>
                    <a:pt x="102" y="172"/>
                  </a:lnTo>
                  <a:lnTo>
                    <a:pt x="103" y="171"/>
                  </a:lnTo>
                  <a:lnTo>
                    <a:pt x="106" y="170"/>
                  </a:lnTo>
                  <a:lnTo>
                    <a:pt x="108" y="170"/>
                  </a:lnTo>
                  <a:lnTo>
                    <a:pt x="111" y="172"/>
                  </a:lnTo>
                  <a:lnTo>
                    <a:pt x="113" y="171"/>
                  </a:lnTo>
                  <a:lnTo>
                    <a:pt x="115" y="169"/>
                  </a:lnTo>
                  <a:lnTo>
                    <a:pt x="117" y="165"/>
                  </a:lnTo>
                  <a:lnTo>
                    <a:pt x="121" y="161"/>
                  </a:lnTo>
                  <a:lnTo>
                    <a:pt x="122" y="157"/>
                  </a:lnTo>
                  <a:lnTo>
                    <a:pt x="123" y="155"/>
                  </a:lnTo>
                  <a:lnTo>
                    <a:pt x="122" y="152"/>
                  </a:lnTo>
                  <a:lnTo>
                    <a:pt x="122" y="150"/>
                  </a:lnTo>
                  <a:lnTo>
                    <a:pt x="125" y="148"/>
                  </a:lnTo>
                  <a:lnTo>
                    <a:pt x="127" y="146"/>
                  </a:lnTo>
                  <a:lnTo>
                    <a:pt x="129" y="146"/>
                  </a:lnTo>
                  <a:lnTo>
                    <a:pt x="134" y="146"/>
                  </a:lnTo>
                  <a:lnTo>
                    <a:pt x="136" y="146"/>
                  </a:lnTo>
                  <a:lnTo>
                    <a:pt x="139" y="145"/>
                  </a:lnTo>
                  <a:lnTo>
                    <a:pt x="149" y="138"/>
                  </a:lnTo>
                  <a:lnTo>
                    <a:pt x="155" y="136"/>
                  </a:lnTo>
                  <a:lnTo>
                    <a:pt x="162" y="133"/>
                  </a:lnTo>
                  <a:lnTo>
                    <a:pt x="165" y="131"/>
                  </a:lnTo>
                  <a:lnTo>
                    <a:pt x="167" y="127"/>
                  </a:lnTo>
                  <a:lnTo>
                    <a:pt x="170" y="119"/>
                  </a:lnTo>
                  <a:lnTo>
                    <a:pt x="174" y="113"/>
                  </a:lnTo>
                  <a:lnTo>
                    <a:pt x="178" y="107"/>
                  </a:lnTo>
                  <a:lnTo>
                    <a:pt x="187" y="95"/>
                  </a:lnTo>
                  <a:lnTo>
                    <a:pt x="187" y="93"/>
                  </a:lnTo>
                  <a:lnTo>
                    <a:pt x="187" y="92"/>
                  </a:lnTo>
                  <a:lnTo>
                    <a:pt x="186" y="89"/>
                  </a:lnTo>
                  <a:lnTo>
                    <a:pt x="186" y="87"/>
                  </a:lnTo>
                  <a:lnTo>
                    <a:pt x="186" y="70"/>
                  </a:lnTo>
                  <a:lnTo>
                    <a:pt x="184" y="62"/>
                  </a:lnTo>
                  <a:lnTo>
                    <a:pt x="183" y="54"/>
                  </a:lnTo>
                  <a:lnTo>
                    <a:pt x="181" y="46"/>
                  </a:lnTo>
                  <a:lnTo>
                    <a:pt x="181" y="35"/>
                  </a:lnTo>
                  <a:lnTo>
                    <a:pt x="182" y="14"/>
                  </a:lnTo>
                  <a:lnTo>
                    <a:pt x="183" y="9"/>
                  </a:lnTo>
                  <a:lnTo>
                    <a:pt x="183" y="6"/>
                  </a:lnTo>
                  <a:lnTo>
                    <a:pt x="182" y="4"/>
                  </a:lnTo>
                  <a:lnTo>
                    <a:pt x="177" y="0"/>
                  </a:lnTo>
                  <a:lnTo>
                    <a:pt x="173" y="5"/>
                  </a:lnTo>
                  <a:lnTo>
                    <a:pt x="172" y="8"/>
                  </a:lnTo>
                  <a:lnTo>
                    <a:pt x="169" y="9"/>
                  </a:lnTo>
                  <a:lnTo>
                    <a:pt x="163" y="11"/>
                  </a:lnTo>
                  <a:lnTo>
                    <a:pt x="158" y="15"/>
                  </a:lnTo>
                  <a:lnTo>
                    <a:pt x="153" y="18"/>
                  </a:lnTo>
                  <a:lnTo>
                    <a:pt x="148" y="22"/>
                  </a:lnTo>
                  <a:lnTo>
                    <a:pt x="145" y="23"/>
                  </a:lnTo>
                  <a:lnTo>
                    <a:pt x="142" y="23"/>
                  </a:lnTo>
                  <a:lnTo>
                    <a:pt x="139" y="21"/>
                  </a:lnTo>
                  <a:lnTo>
                    <a:pt x="136" y="18"/>
                  </a:lnTo>
                  <a:lnTo>
                    <a:pt x="135" y="17"/>
                  </a:lnTo>
                  <a:lnTo>
                    <a:pt x="132" y="17"/>
                  </a:lnTo>
                  <a:lnTo>
                    <a:pt x="120" y="23"/>
                  </a:lnTo>
                  <a:lnTo>
                    <a:pt x="112" y="25"/>
                  </a:lnTo>
                  <a:lnTo>
                    <a:pt x="104" y="25"/>
                  </a:lnTo>
                  <a:lnTo>
                    <a:pt x="98" y="24"/>
                  </a:lnTo>
                  <a:lnTo>
                    <a:pt x="92" y="24"/>
                  </a:lnTo>
                  <a:lnTo>
                    <a:pt x="87" y="25"/>
                  </a:lnTo>
                  <a:lnTo>
                    <a:pt x="82" y="28"/>
                  </a:lnTo>
                  <a:lnTo>
                    <a:pt x="78" y="30"/>
                  </a:lnTo>
                  <a:lnTo>
                    <a:pt x="76" y="35"/>
                  </a:lnTo>
                  <a:lnTo>
                    <a:pt x="75" y="41"/>
                  </a:lnTo>
                  <a:lnTo>
                    <a:pt x="76" y="47"/>
                  </a:lnTo>
                  <a:lnTo>
                    <a:pt x="78" y="51"/>
                  </a:lnTo>
                  <a:lnTo>
                    <a:pt x="79" y="55"/>
                  </a:lnTo>
                  <a:lnTo>
                    <a:pt x="80" y="59"/>
                  </a:lnTo>
                  <a:lnTo>
                    <a:pt x="80" y="61"/>
                  </a:lnTo>
                  <a:lnTo>
                    <a:pt x="87" y="6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5" name="Freeform 734"/>
            <p:cNvSpPr>
              <a:spLocks/>
            </p:cNvSpPr>
            <p:nvPr/>
          </p:nvSpPr>
          <p:spPr bwMode="auto">
            <a:xfrm>
              <a:off x="4849816" y="4970464"/>
              <a:ext cx="246062" cy="284162"/>
            </a:xfrm>
            <a:custGeom>
              <a:avLst/>
              <a:gdLst>
                <a:gd name="T0" fmla="*/ 2147483647 w 167"/>
                <a:gd name="T1" fmla="*/ 2147483647 h 179"/>
                <a:gd name="T2" fmla="*/ 2147483647 w 167"/>
                <a:gd name="T3" fmla="*/ 2147483647 h 179"/>
                <a:gd name="T4" fmla="*/ 2147483647 w 167"/>
                <a:gd name="T5" fmla="*/ 2147483647 h 179"/>
                <a:gd name="T6" fmla="*/ 2147483647 w 167"/>
                <a:gd name="T7" fmla="*/ 2147483647 h 179"/>
                <a:gd name="T8" fmla="*/ 2147483647 w 167"/>
                <a:gd name="T9" fmla="*/ 2147483647 h 179"/>
                <a:gd name="T10" fmla="*/ 2147483647 w 167"/>
                <a:gd name="T11" fmla="*/ 2147483647 h 179"/>
                <a:gd name="T12" fmla="*/ 2147483647 w 167"/>
                <a:gd name="T13" fmla="*/ 2147483647 h 179"/>
                <a:gd name="T14" fmla="*/ 2147483647 w 167"/>
                <a:gd name="T15" fmla="*/ 2147483647 h 179"/>
                <a:gd name="T16" fmla="*/ 2147483647 w 167"/>
                <a:gd name="T17" fmla="*/ 2147483647 h 179"/>
                <a:gd name="T18" fmla="*/ 2147483647 w 167"/>
                <a:gd name="T19" fmla="*/ 2147483647 h 179"/>
                <a:gd name="T20" fmla="*/ 2147483647 w 167"/>
                <a:gd name="T21" fmla="*/ 2147483647 h 179"/>
                <a:gd name="T22" fmla="*/ 2147483647 w 167"/>
                <a:gd name="T23" fmla="*/ 2147483647 h 179"/>
                <a:gd name="T24" fmla="*/ 2147483647 w 167"/>
                <a:gd name="T25" fmla="*/ 2147483647 h 179"/>
                <a:gd name="T26" fmla="*/ 2147483647 w 167"/>
                <a:gd name="T27" fmla="*/ 2147483647 h 179"/>
                <a:gd name="T28" fmla="*/ 2147483647 w 167"/>
                <a:gd name="T29" fmla="*/ 2147483647 h 179"/>
                <a:gd name="T30" fmla="*/ 2147483647 w 167"/>
                <a:gd name="T31" fmla="*/ 2147483647 h 179"/>
                <a:gd name="T32" fmla="*/ 2147483647 w 167"/>
                <a:gd name="T33" fmla="*/ 2147483647 h 179"/>
                <a:gd name="T34" fmla="*/ 2147483647 w 167"/>
                <a:gd name="T35" fmla="*/ 2147483647 h 179"/>
                <a:gd name="T36" fmla="*/ 2147483647 w 167"/>
                <a:gd name="T37" fmla="*/ 2147483647 h 179"/>
                <a:gd name="T38" fmla="*/ 2147483647 w 167"/>
                <a:gd name="T39" fmla="*/ 2147483647 h 179"/>
                <a:gd name="T40" fmla="*/ 2147483647 w 167"/>
                <a:gd name="T41" fmla="*/ 2147483647 h 179"/>
                <a:gd name="T42" fmla="*/ 2147483647 w 167"/>
                <a:gd name="T43" fmla="*/ 2147483647 h 179"/>
                <a:gd name="T44" fmla="*/ 2147483647 w 167"/>
                <a:gd name="T45" fmla="*/ 2147483647 h 179"/>
                <a:gd name="T46" fmla="*/ 2147483647 w 167"/>
                <a:gd name="T47" fmla="*/ 2147483647 h 179"/>
                <a:gd name="T48" fmla="*/ 2147483647 w 167"/>
                <a:gd name="T49" fmla="*/ 2147483647 h 179"/>
                <a:gd name="T50" fmla="*/ 2147483647 w 167"/>
                <a:gd name="T51" fmla="*/ 2147483647 h 179"/>
                <a:gd name="T52" fmla="*/ 0 w 167"/>
                <a:gd name="T53" fmla="*/ 2147483647 h 179"/>
                <a:gd name="T54" fmla="*/ 2147483647 w 167"/>
                <a:gd name="T55" fmla="*/ 2147483647 h 179"/>
                <a:gd name="T56" fmla="*/ 2147483647 w 167"/>
                <a:gd name="T57" fmla="*/ 2147483647 h 179"/>
                <a:gd name="T58" fmla="*/ 2147483647 w 167"/>
                <a:gd name="T59" fmla="*/ 2147483647 h 179"/>
                <a:gd name="T60" fmla="*/ 2147483647 w 167"/>
                <a:gd name="T61" fmla="*/ 2147483647 h 179"/>
                <a:gd name="T62" fmla="*/ 2147483647 w 167"/>
                <a:gd name="T63" fmla="*/ 0 h 179"/>
                <a:gd name="T64" fmla="*/ 2147483647 w 167"/>
                <a:gd name="T65" fmla="*/ 2147483647 h 179"/>
                <a:gd name="T66" fmla="*/ 2147483647 w 167"/>
                <a:gd name="T67" fmla="*/ 2147483647 h 179"/>
                <a:gd name="T68" fmla="*/ 2147483647 w 167"/>
                <a:gd name="T69" fmla="*/ 2147483647 h 179"/>
                <a:gd name="T70" fmla="*/ 2147483647 w 167"/>
                <a:gd name="T71" fmla="*/ 2147483647 h 179"/>
                <a:gd name="T72" fmla="*/ 2147483647 w 167"/>
                <a:gd name="T73" fmla="*/ 2147483647 h 179"/>
                <a:gd name="T74" fmla="*/ 2147483647 w 167"/>
                <a:gd name="T75" fmla="*/ 2147483647 h 179"/>
                <a:gd name="T76" fmla="*/ 2147483647 w 167"/>
                <a:gd name="T77" fmla="*/ 2147483647 h 179"/>
                <a:gd name="T78" fmla="*/ 2147483647 w 167"/>
                <a:gd name="T79" fmla="*/ 2147483647 h 179"/>
                <a:gd name="T80" fmla="*/ 2147483647 w 167"/>
                <a:gd name="T81" fmla="*/ 2147483647 h 1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7"/>
                <a:gd name="T124" fmla="*/ 0 h 179"/>
                <a:gd name="T125" fmla="*/ 167 w 167"/>
                <a:gd name="T126" fmla="*/ 179 h 1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7" h="179">
                  <a:moveTo>
                    <a:pt x="167" y="85"/>
                  </a:moveTo>
                  <a:lnTo>
                    <a:pt x="164" y="87"/>
                  </a:lnTo>
                  <a:lnTo>
                    <a:pt x="163" y="90"/>
                  </a:lnTo>
                  <a:lnTo>
                    <a:pt x="162" y="91"/>
                  </a:lnTo>
                  <a:lnTo>
                    <a:pt x="160" y="94"/>
                  </a:lnTo>
                  <a:lnTo>
                    <a:pt x="155" y="96"/>
                  </a:lnTo>
                  <a:lnTo>
                    <a:pt x="149" y="97"/>
                  </a:lnTo>
                  <a:lnTo>
                    <a:pt x="143" y="100"/>
                  </a:lnTo>
                  <a:lnTo>
                    <a:pt x="138" y="103"/>
                  </a:lnTo>
                  <a:lnTo>
                    <a:pt x="131" y="107"/>
                  </a:lnTo>
                  <a:lnTo>
                    <a:pt x="124" y="109"/>
                  </a:lnTo>
                  <a:lnTo>
                    <a:pt x="122" y="110"/>
                  </a:lnTo>
                  <a:lnTo>
                    <a:pt x="120" y="112"/>
                  </a:lnTo>
                  <a:lnTo>
                    <a:pt x="119" y="115"/>
                  </a:lnTo>
                  <a:lnTo>
                    <a:pt x="117" y="121"/>
                  </a:lnTo>
                  <a:lnTo>
                    <a:pt x="115" y="126"/>
                  </a:lnTo>
                  <a:lnTo>
                    <a:pt x="113" y="127"/>
                  </a:lnTo>
                  <a:lnTo>
                    <a:pt x="111" y="128"/>
                  </a:lnTo>
                  <a:lnTo>
                    <a:pt x="108" y="129"/>
                  </a:lnTo>
                  <a:lnTo>
                    <a:pt x="107" y="130"/>
                  </a:lnTo>
                  <a:lnTo>
                    <a:pt x="106" y="135"/>
                  </a:lnTo>
                  <a:lnTo>
                    <a:pt x="105" y="140"/>
                  </a:lnTo>
                  <a:lnTo>
                    <a:pt x="102" y="145"/>
                  </a:lnTo>
                  <a:lnTo>
                    <a:pt x="100" y="148"/>
                  </a:lnTo>
                  <a:lnTo>
                    <a:pt x="96" y="152"/>
                  </a:lnTo>
                  <a:lnTo>
                    <a:pt x="91" y="154"/>
                  </a:lnTo>
                  <a:lnTo>
                    <a:pt x="86" y="155"/>
                  </a:lnTo>
                  <a:lnTo>
                    <a:pt x="80" y="157"/>
                  </a:lnTo>
                  <a:lnTo>
                    <a:pt x="79" y="158"/>
                  </a:lnTo>
                  <a:lnTo>
                    <a:pt x="75" y="157"/>
                  </a:lnTo>
                  <a:lnTo>
                    <a:pt x="72" y="154"/>
                  </a:lnTo>
                  <a:lnTo>
                    <a:pt x="68" y="152"/>
                  </a:lnTo>
                  <a:lnTo>
                    <a:pt x="63" y="149"/>
                  </a:lnTo>
                  <a:lnTo>
                    <a:pt x="60" y="149"/>
                  </a:lnTo>
                  <a:lnTo>
                    <a:pt x="58" y="151"/>
                  </a:lnTo>
                  <a:lnTo>
                    <a:pt x="55" y="155"/>
                  </a:lnTo>
                  <a:lnTo>
                    <a:pt x="53" y="161"/>
                  </a:lnTo>
                  <a:lnTo>
                    <a:pt x="50" y="166"/>
                  </a:lnTo>
                  <a:lnTo>
                    <a:pt x="47" y="167"/>
                  </a:lnTo>
                  <a:lnTo>
                    <a:pt x="45" y="168"/>
                  </a:lnTo>
                  <a:lnTo>
                    <a:pt x="44" y="171"/>
                  </a:lnTo>
                  <a:lnTo>
                    <a:pt x="42" y="173"/>
                  </a:lnTo>
                  <a:lnTo>
                    <a:pt x="40" y="174"/>
                  </a:lnTo>
                  <a:lnTo>
                    <a:pt x="35" y="176"/>
                  </a:lnTo>
                  <a:lnTo>
                    <a:pt x="28" y="178"/>
                  </a:lnTo>
                  <a:lnTo>
                    <a:pt x="23" y="179"/>
                  </a:lnTo>
                  <a:lnTo>
                    <a:pt x="21" y="179"/>
                  </a:lnTo>
                  <a:lnTo>
                    <a:pt x="20" y="178"/>
                  </a:lnTo>
                  <a:lnTo>
                    <a:pt x="18" y="167"/>
                  </a:lnTo>
                  <a:lnTo>
                    <a:pt x="14" y="158"/>
                  </a:lnTo>
                  <a:lnTo>
                    <a:pt x="12" y="154"/>
                  </a:lnTo>
                  <a:lnTo>
                    <a:pt x="9" y="151"/>
                  </a:lnTo>
                  <a:lnTo>
                    <a:pt x="6" y="147"/>
                  </a:lnTo>
                  <a:lnTo>
                    <a:pt x="0" y="145"/>
                  </a:lnTo>
                  <a:lnTo>
                    <a:pt x="0" y="79"/>
                  </a:lnTo>
                  <a:lnTo>
                    <a:pt x="21" y="79"/>
                  </a:lnTo>
                  <a:lnTo>
                    <a:pt x="22" y="11"/>
                  </a:lnTo>
                  <a:lnTo>
                    <a:pt x="61" y="4"/>
                  </a:lnTo>
                  <a:lnTo>
                    <a:pt x="65" y="7"/>
                  </a:lnTo>
                  <a:lnTo>
                    <a:pt x="68" y="8"/>
                  </a:lnTo>
                  <a:lnTo>
                    <a:pt x="69" y="8"/>
                  </a:lnTo>
                  <a:lnTo>
                    <a:pt x="75" y="6"/>
                  </a:lnTo>
                  <a:lnTo>
                    <a:pt x="82" y="4"/>
                  </a:lnTo>
                  <a:lnTo>
                    <a:pt x="94" y="0"/>
                  </a:lnTo>
                  <a:lnTo>
                    <a:pt x="97" y="1"/>
                  </a:lnTo>
                  <a:lnTo>
                    <a:pt x="100" y="4"/>
                  </a:lnTo>
                  <a:lnTo>
                    <a:pt x="103" y="8"/>
                  </a:lnTo>
                  <a:lnTo>
                    <a:pt x="110" y="19"/>
                  </a:lnTo>
                  <a:lnTo>
                    <a:pt x="116" y="29"/>
                  </a:lnTo>
                  <a:lnTo>
                    <a:pt x="120" y="32"/>
                  </a:lnTo>
                  <a:lnTo>
                    <a:pt x="124" y="36"/>
                  </a:lnTo>
                  <a:lnTo>
                    <a:pt x="129" y="39"/>
                  </a:lnTo>
                  <a:lnTo>
                    <a:pt x="135" y="40"/>
                  </a:lnTo>
                  <a:lnTo>
                    <a:pt x="139" y="43"/>
                  </a:lnTo>
                  <a:lnTo>
                    <a:pt x="141" y="46"/>
                  </a:lnTo>
                  <a:lnTo>
                    <a:pt x="143" y="57"/>
                  </a:lnTo>
                  <a:lnTo>
                    <a:pt x="145" y="68"/>
                  </a:lnTo>
                  <a:lnTo>
                    <a:pt x="147" y="71"/>
                  </a:lnTo>
                  <a:lnTo>
                    <a:pt x="149" y="75"/>
                  </a:lnTo>
                  <a:lnTo>
                    <a:pt x="153" y="77"/>
                  </a:lnTo>
                  <a:lnTo>
                    <a:pt x="158" y="78"/>
                  </a:lnTo>
                  <a:lnTo>
                    <a:pt x="167" y="8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6" name="Freeform 735"/>
            <p:cNvSpPr>
              <a:spLocks/>
            </p:cNvSpPr>
            <p:nvPr/>
          </p:nvSpPr>
          <p:spPr bwMode="auto">
            <a:xfrm>
              <a:off x="5110167" y="4729166"/>
              <a:ext cx="273049" cy="514350"/>
            </a:xfrm>
            <a:custGeom>
              <a:avLst/>
              <a:gdLst>
                <a:gd name="T0" fmla="*/ 2147483647 w 187"/>
                <a:gd name="T1" fmla="*/ 2147483647 h 324"/>
                <a:gd name="T2" fmla="*/ 2147483647 w 187"/>
                <a:gd name="T3" fmla="*/ 2147483647 h 324"/>
                <a:gd name="T4" fmla="*/ 2147483647 w 187"/>
                <a:gd name="T5" fmla="*/ 2147483647 h 324"/>
                <a:gd name="T6" fmla="*/ 2147483647 w 187"/>
                <a:gd name="T7" fmla="*/ 2147483647 h 324"/>
                <a:gd name="T8" fmla="*/ 2147483647 w 187"/>
                <a:gd name="T9" fmla="*/ 2147483647 h 324"/>
                <a:gd name="T10" fmla="*/ 2147483647 w 187"/>
                <a:gd name="T11" fmla="*/ 2147483647 h 324"/>
                <a:gd name="T12" fmla="*/ 2147483647 w 187"/>
                <a:gd name="T13" fmla="*/ 2147483647 h 324"/>
                <a:gd name="T14" fmla="*/ 2147483647 w 187"/>
                <a:gd name="T15" fmla="*/ 2147483647 h 324"/>
                <a:gd name="T16" fmla="*/ 2147483647 w 187"/>
                <a:gd name="T17" fmla="*/ 2147483647 h 324"/>
                <a:gd name="T18" fmla="*/ 2147483647 w 187"/>
                <a:gd name="T19" fmla="*/ 2147483647 h 324"/>
                <a:gd name="T20" fmla="*/ 2147483647 w 187"/>
                <a:gd name="T21" fmla="*/ 2147483647 h 324"/>
                <a:gd name="T22" fmla="*/ 0 w 187"/>
                <a:gd name="T23" fmla="*/ 2147483647 h 324"/>
                <a:gd name="T24" fmla="*/ 2147483647 w 187"/>
                <a:gd name="T25" fmla="*/ 2147483647 h 324"/>
                <a:gd name="T26" fmla="*/ 2147483647 w 187"/>
                <a:gd name="T27" fmla="*/ 2147483647 h 324"/>
                <a:gd name="T28" fmla="*/ 2147483647 w 187"/>
                <a:gd name="T29" fmla="*/ 2147483647 h 324"/>
                <a:gd name="T30" fmla="*/ 2147483647 w 187"/>
                <a:gd name="T31" fmla="*/ 2147483647 h 324"/>
                <a:gd name="T32" fmla="*/ 2147483647 w 187"/>
                <a:gd name="T33" fmla="*/ 2147483647 h 324"/>
                <a:gd name="T34" fmla="*/ 2147483647 w 187"/>
                <a:gd name="T35" fmla="*/ 2147483647 h 324"/>
                <a:gd name="T36" fmla="*/ 2147483647 w 187"/>
                <a:gd name="T37" fmla="*/ 2147483647 h 324"/>
                <a:gd name="T38" fmla="*/ 2147483647 w 187"/>
                <a:gd name="T39" fmla="*/ 2147483647 h 324"/>
                <a:gd name="T40" fmla="*/ 2147483647 w 187"/>
                <a:gd name="T41" fmla="*/ 2147483647 h 324"/>
                <a:gd name="T42" fmla="*/ 2147483647 w 187"/>
                <a:gd name="T43" fmla="*/ 2147483647 h 324"/>
                <a:gd name="T44" fmla="*/ 2147483647 w 187"/>
                <a:gd name="T45" fmla="*/ 2147483647 h 324"/>
                <a:gd name="T46" fmla="*/ 2147483647 w 187"/>
                <a:gd name="T47" fmla="*/ 2147483647 h 324"/>
                <a:gd name="T48" fmla="*/ 2147483647 w 187"/>
                <a:gd name="T49" fmla="*/ 2147483647 h 324"/>
                <a:gd name="T50" fmla="*/ 2147483647 w 187"/>
                <a:gd name="T51" fmla="*/ 2147483647 h 324"/>
                <a:gd name="T52" fmla="*/ 2147483647 w 187"/>
                <a:gd name="T53" fmla="*/ 2147483647 h 324"/>
                <a:gd name="T54" fmla="*/ 2147483647 w 187"/>
                <a:gd name="T55" fmla="*/ 2147483647 h 324"/>
                <a:gd name="T56" fmla="*/ 2147483647 w 187"/>
                <a:gd name="T57" fmla="*/ 2147483647 h 324"/>
                <a:gd name="T58" fmla="*/ 2147483647 w 187"/>
                <a:gd name="T59" fmla="*/ 2147483647 h 324"/>
                <a:gd name="T60" fmla="*/ 2147483647 w 187"/>
                <a:gd name="T61" fmla="*/ 2147483647 h 324"/>
                <a:gd name="T62" fmla="*/ 2147483647 w 187"/>
                <a:gd name="T63" fmla="*/ 2147483647 h 324"/>
                <a:gd name="T64" fmla="*/ 2147483647 w 187"/>
                <a:gd name="T65" fmla="*/ 2147483647 h 324"/>
                <a:gd name="T66" fmla="*/ 2147483647 w 187"/>
                <a:gd name="T67" fmla="*/ 2147483647 h 324"/>
                <a:gd name="T68" fmla="*/ 2147483647 w 187"/>
                <a:gd name="T69" fmla="*/ 2147483647 h 324"/>
                <a:gd name="T70" fmla="*/ 2147483647 w 187"/>
                <a:gd name="T71" fmla="*/ 2147483647 h 324"/>
                <a:gd name="T72" fmla="*/ 2147483647 w 187"/>
                <a:gd name="T73" fmla="*/ 2147483647 h 324"/>
                <a:gd name="T74" fmla="*/ 2147483647 w 187"/>
                <a:gd name="T75" fmla="*/ 2147483647 h 324"/>
                <a:gd name="T76" fmla="*/ 2147483647 w 187"/>
                <a:gd name="T77" fmla="*/ 2147483647 h 324"/>
                <a:gd name="T78" fmla="*/ 2147483647 w 187"/>
                <a:gd name="T79" fmla="*/ 2147483647 h 324"/>
                <a:gd name="T80" fmla="*/ 2147483647 w 187"/>
                <a:gd name="T81" fmla="*/ 2147483647 h 324"/>
                <a:gd name="T82" fmla="*/ 2147483647 w 187"/>
                <a:gd name="T83" fmla="*/ 2147483647 h 324"/>
                <a:gd name="T84" fmla="*/ 2147483647 w 187"/>
                <a:gd name="T85" fmla="*/ 2147483647 h 324"/>
                <a:gd name="T86" fmla="*/ 2147483647 w 187"/>
                <a:gd name="T87" fmla="*/ 2147483647 h 324"/>
                <a:gd name="T88" fmla="*/ 2147483647 w 187"/>
                <a:gd name="T89" fmla="*/ 2147483647 h 324"/>
                <a:gd name="T90" fmla="*/ 2147483647 w 187"/>
                <a:gd name="T91" fmla="*/ 2147483647 h 324"/>
                <a:gd name="T92" fmla="*/ 2147483647 w 187"/>
                <a:gd name="T93" fmla="*/ 2147483647 h 324"/>
                <a:gd name="T94" fmla="*/ 2147483647 w 187"/>
                <a:gd name="T95" fmla="*/ 2147483647 h 324"/>
                <a:gd name="T96" fmla="*/ 2147483647 w 187"/>
                <a:gd name="T97" fmla="*/ 2147483647 h 324"/>
                <a:gd name="T98" fmla="*/ 2147483647 w 187"/>
                <a:gd name="T99" fmla="*/ 2147483647 h 324"/>
                <a:gd name="T100" fmla="*/ 2147483647 w 187"/>
                <a:gd name="T101" fmla="*/ 2147483647 h 324"/>
                <a:gd name="T102" fmla="*/ 2147483647 w 187"/>
                <a:gd name="T103" fmla="*/ 2147483647 h 324"/>
                <a:gd name="T104" fmla="*/ 2147483647 w 187"/>
                <a:gd name="T105" fmla="*/ 2147483647 h 324"/>
                <a:gd name="T106" fmla="*/ 2147483647 w 187"/>
                <a:gd name="T107" fmla="*/ 2147483647 h 32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7"/>
                <a:gd name="T163" fmla="*/ 0 h 324"/>
                <a:gd name="T164" fmla="*/ 187 w 187"/>
                <a:gd name="T165" fmla="*/ 324 h 32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7" h="324">
                  <a:moveTo>
                    <a:pt x="86" y="62"/>
                  </a:moveTo>
                  <a:lnTo>
                    <a:pt x="86" y="62"/>
                  </a:lnTo>
                  <a:lnTo>
                    <a:pt x="91" y="64"/>
                  </a:lnTo>
                  <a:lnTo>
                    <a:pt x="96" y="69"/>
                  </a:lnTo>
                  <a:lnTo>
                    <a:pt x="100" y="75"/>
                  </a:lnTo>
                  <a:lnTo>
                    <a:pt x="102" y="77"/>
                  </a:lnTo>
                  <a:lnTo>
                    <a:pt x="103" y="80"/>
                  </a:lnTo>
                  <a:lnTo>
                    <a:pt x="103" y="86"/>
                  </a:lnTo>
                  <a:lnTo>
                    <a:pt x="102" y="93"/>
                  </a:lnTo>
                  <a:lnTo>
                    <a:pt x="99" y="100"/>
                  </a:lnTo>
                  <a:lnTo>
                    <a:pt x="95" y="107"/>
                  </a:lnTo>
                  <a:lnTo>
                    <a:pt x="94" y="115"/>
                  </a:lnTo>
                  <a:lnTo>
                    <a:pt x="94" y="124"/>
                  </a:lnTo>
                  <a:lnTo>
                    <a:pt x="94" y="132"/>
                  </a:lnTo>
                  <a:lnTo>
                    <a:pt x="94" y="134"/>
                  </a:lnTo>
                  <a:lnTo>
                    <a:pt x="91" y="137"/>
                  </a:lnTo>
                  <a:lnTo>
                    <a:pt x="89" y="137"/>
                  </a:lnTo>
                  <a:lnTo>
                    <a:pt x="88" y="135"/>
                  </a:lnTo>
                  <a:lnTo>
                    <a:pt x="85" y="133"/>
                  </a:lnTo>
                  <a:lnTo>
                    <a:pt x="80" y="122"/>
                  </a:lnTo>
                  <a:lnTo>
                    <a:pt x="76" y="118"/>
                  </a:lnTo>
                  <a:lnTo>
                    <a:pt x="70" y="114"/>
                  </a:lnTo>
                  <a:lnTo>
                    <a:pt x="69" y="113"/>
                  </a:lnTo>
                  <a:lnTo>
                    <a:pt x="67" y="112"/>
                  </a:lnTo>
                  <a:lnTo>
                    <a:pt x="67" y="107"/>
                  </a:lnTo>
                  <a:lnTo>
                    <a:pt x="71" y="98"/>
                  </a:lnTo>
                  <a:lnTo>
                    <a:pt x="74" y="94"/>
                  </a:lnTo>
                  <a:lnTo>
                    <a:pt x="75" y="90"/>
                  </a:lnTo>
                  <a:lnTo>
                    <a:pt x="75" y="88"/>
                  </a:lnTo>
                  <a:lnTo>
                    <a:pt x="74" y="87"/>
                  </a:lnTo>
                  <a:lnTo>
                    <a:pt x="70" y="83"/>
                  </a:lnTo>
                  <a:lnTo>
                    <a:pt x="66" y="83"/>
                  </a:lnTo>
                  <a:lnTo>
                    <a:pt x="62" y="83"/>
                  </a:lnTo>
                  <a:lnTo>
                    <a:pt x="57" y="84"/>
                  </a:lnTo>
                  <a:lnTo>
                    <a:pt x="53" y="84"/>
                  </a:lnTo>
                  <a:lnTo>
                    <a:pt x="52" y="83"/>
                  </a:lnTo>
                  <a:lnTo>
                    <a:pt x="51" y="82"/>
                  </a:lnTo>
                  <a:lnTo>
                    <a:pt x="50" y="79"/>
                  </a:lnTo>
                  <a:lnTo>
                    <a:pt x="48" y="74"/>
                  </a:lnTo>
                  <a:lnTo>
                    <a:pt x="38" y="80"/>
                  </a:lnTo>
                  <a:lnTo>
                    <a:pt x="27" y="84"/>
                  </a:lnTo>
                  <a:lnTo>
                    <a:pt x="5" y="93"/>
                  </a:lnTo>
                  <a:lnTo>
                    <a:pt x="3" y="94"/>
                  </a:lnTo>
                  <a:lnTo>
                    <a:pt x="0" y="98"/>
                  </a:lnTo>
                  <a:lnTo>
                    <a:pt x="0" y="102"/>
                  </a:lnTo>
                  <a:lnTo>
                    <a:pt x="0" y="107"/>
                  </a:lnTo>
                  <a:lnTo>
                    <a:pt x="3" y="112"/>
                  </a:lnTo>
                  <a:lnTo>
                    <a:pt x="6" y="114"/>
                  </a:lnTo>
                  <a:lnTo>
                    <a:pt x="16" y="119"/>
                  </a:lnTo>
                  <a:lnTo>
                    <a:pt x="27" y="124"/>
                  </a:lnTo>
                  <a:lnTo>
                    <a:pt x="32" y="126"/>
                  </a:lnTo>
                  <a:lnTo>
                    <a:pt x="37" y="127"/>
                  </a:lnTo>
                  <a:lnTo>
                    <a:pt x="42" y="130"/>
                  </a:lnTo>
                  <a:lnTo>
                    <a:pt x="46" y="133"/>
                  </a:lnTo>
                  <a:lnTo>
                    <a:pt x="48" y="139"/>
                  </a:lnTo>
                  <a:lnTo>
                    <a:pt x="48" y="145"/>
                  </a:lnTo>
                  <a:lnTo>
                    <a:pt x="50" y="159"/>
                  </a:lnTo>
                  <a:lnTo>
                    <a:pt x="50" y="163"/>
                  </a:lnTo>
                  <a:lnTo>
                    <a:pt x="47" y="166"/>
                  </a:lnTo>
                  <a:lnTo>
                    <a:pt x="44" y="169"/>
                  </a:lnTo>
                  <a:lnTo>
                    <a:pt x="43" y="172"/>
                  </a:lnTo>
                  <a:lnTo>
                    <a:pt x="42" y="176"/>
                  </a:lnTo>
                  <a:lnTo>
                    <a:pt x="42" y="179"/>
                  </a:lnTo>
                  <a:lnTo>
                    <a:pt x="43" y="185"/>
                  </a:lnTo>
                  <a:lnTo>
                    <a:pt x="47" y="192"/>
                  </a:lnTo>
                  <a:lnTo>
                    <a:pt x="50" y="199"/>
                  </a:lnTo>
                  <a:lnTo>
                    <a:pt x="51" y="207"/>
                  </a:lnTo>
                  <a:lnTo>
                    <a:pt x="50" y="211"/>
                  </a:lnTo>
                  <a:lnTo>
                    <a:pt x="48" y="217"/>
                  </a:lnTo>
                  <a:lnTo>
                    <a:pt x="44" y="221"/>
                  </a:lnTo>
                  <a:lnTo>
                    <a:pt x="34" y="229"/>
                  </a:lnTo>
                  <a:lnTo>
                    <a:pt x="24" y="236"/>
                  </a:lnTo>
                  <a:lnTo>
                    <a:pt x="20" y="239"/>
                  </a:lnTo>
                  <a:lnTo>
                    <a:pt x="19" y="240"/>
                  </a:lnTo>
                  <a:lnTo>
                    <a:pt x="19" y="241"/>
                  </a:lnTo>
                  <a:lnTo>
                    <a:pt x="18" y="247"/>
                  </a:lnTo>
                  <a:lnTo>
                    <a:pt x="18" y="252"/>
                  </a:lnTo>
                  <a:lnTo>
                    <a:pt x="22" y="256"/>
                  </a:lnTo>
                  <a:lnTo>
                    <a:pt x="24" y="268"/>
                  </a:lnTo>
                  <a:lnTo>
                    <a:pt x="28" y="280"/>
                  </a:lnTo>
                  <a:lnTo>
                    <a:pt x="32" y="291"/>
                  </a:lnTo>
                  <a:lnTo>
                    <a:pt x="34" y="297"/>
                  </a:lnTo>
                  <a:lnTo>
                    <a:pt x="37" y="301"/>
                  </a:lnTo>
                  <a:lnTo>
                    <a:pt x="38" y="305"/>
                  </a:lnTo>
                  <a:lnTo>
                    <a:pt x="37" y="307"/>
                  </a:lnTo>
                  <a:lnTo>
                    <a:pt x="34" y="310"/>
                  </a:lnTo>
                  <a:lnTo>
                    <a:pt x="37" y="313"/>
                  </a:lnTo>
                  <a:lnTo>
                    <a:pt x="38" y="317"/>
                  </a:lnTo>
                  <a:lnTo>
                    <a:pt x="39" y="324"/>
                  </a:lnTo>
                  <a:lnTo>
                    <a:pt x="41" y="316"/>
                  </a:lnTo>
                  <a:lnTo>
                    <a:pt x="43" y="309"/>
                  </a:lnTo>
                  <a:lnTo>
                    <a:pt x="48" y="304"/>
                  </a:lnTo>
                  <a:lnTo>
                    <a:pt x="53" y="300"/>
                  </a:lnTo>
                  <a:lnTo>
                    <a:pt x="58" y="298"/>
                  </a:lnTo>
                  <a:lnTo>
                    <a:pt x="65" y="297"/>
                  </a:lnTo>
                  <a:lnTo>
                    <a:pt x="71" y="296"/>
                  </a:lnTo>
                  <a:lnTo>
                    <a:pt x="80" y="292"/>
                  </a:lnTo>
                  <a:lnTo>
                    <a:pt x="85" y="291"/>
                  </a:lnTo>
                  <a:lnTo>
                    <a:pt x="89" y="288"/>
                  </a:lnTo>
                  <a:lnTo>
                    <a:pt x="93" y="286"/>
                  </a:lnTo>
                  <a:lnTo>
                    <a:pt x="95" y="284"/>
                  </a:lnTo>
                  <a:lnTo>
                    <a:pt x="96" y="281"/>
                  </a:lnTo>
                  <a:lnTo>
                    <a:pt x="96" y="279"/>
                  </a:lnTo>
                  <a:lnTo>
                    <a:pt x="94" y="275"/>
                  </a:lnTo>
                  <a:lnTo>
                    <a:pt x="93" y="273"/>
                  </a:lnTo>
                  <a:lnTo>
                    <a:pt x="91" y="271"/>
                  </a:lnTo>
                  <a:lnTo>
                    <a:pt x="94" y="267"/>
                  </a:lnTo>
                  <a:lnTo>
                    <a:pt x="95" y="265"/>
                  </a:lnTo>
                  <a:lnTo>
                    <a:pt x="98" y="262"/>
                  </a:lnTo>
                  <a:lnTo>
                    <a:pt x="98" y="259"/>
                  </a:lnTo>
                  <a:lnTo>
                    <a:pt x="95" y="249"/>
                  </a:lnTo>
                  <a:lnTo>
                    <a:pt x="94" y="240"/>
                  </a:lnTo>
                  <a:lnTo>
                    <a:pt x="93" y="236"/>
                  </a:lnTo>
                  <a:lnTo>
                    <a:pt x="91" y="234"/>
                  </a:lnTo>
                  <a:lnTo>
                    <a:pt x="90" y="231"/>
                  </a:lnTo>
                  <a:lnTo>
                    <a:pt x="89" y="228"/>
                  </a:lnTo>
                  <a:lnTo>
                    <a:pt x="89" y="223"/>
                  </a:lnTo>
                  <a:lnTo>
                    <a:pt x="90" y="217"/>
                  </a:lnTo>
                  <a:lnTo>
                    <a:pt x="90" y="215"/>
                  </a:lnTo>
                  <a:lnTo>
                    <a:pt x="90" y="213"/>
                  </a:lnTo>
                  <a:lnTo>
                    <a:pt x="86" y="210"/>
                  </a:lnTo>
                  <a:lnTo>
                    <a:pt x="84" y="208"/>
                  </a:lnTo>
                  <a:lnTo>
                    <a:pt x="83" y="207"/>
                  </a:lnTo>
                  <a:lnTo>
                    <a:pt x="81" y="204"/>
                  </a:lnTo>
                  <a:lnTo>
                    <a:pt x="81" y="203"/>
                  </a:lnTo>
                  <a:lnTo>
                    <a:pt x="80" y="201"/>
                  </a:lnTo>
                  <a:lnTo>
                    <a:pt x="75" y="197"/>
                  </a:lnTo>
                  <a:lnTo>
                    <a:pt x="74" y="195"/>
                  </a:lnTo>
                  <a:lnTo>
                    <a:pt x="74" y="192"/>
                  </a:lnTo>
                  <a:lnTo>
                    <a:pt x="76" y="184"/>
                  </a:lnTo>
                  <a:lnTo>
                    <a:pt x="77" y="183"/>
                  </a:lnTo>
                  <a:lnTo>
                    <a:pt x="80" y="183"/>
                  </a:lnTo>
                  <a:lnTo>
                    <a:pt x="84" y="183"/>
                  </a:lnTo>
                  <a:lnTo>
                    <a:pt x="90" y="182"/>
                  </a:lnTo>
                  <a:lnTo>
                    <a:pt x="94" y="181"/>
                  </a:lnTo>
                  <a:lnTo>
                    <a:pt x="102" y="172"/>
                  </a:lnTo>
                  <a:lnTo>
                    <a:pt x="103" y="171"/>
                  </a:lnTo>
                  <a:lnTo>
                    <a:pt x="105" y="170"/>
                  </a:lnTo>
                  <a:lnTo>
                    <a:pt x="108" y="170"/>
                  </a:lnTo>
                  <a:lnTo>
                    <a:pt x="110" y="172"/>
                  </a:lnTo>
                  <a:lnTo>
                    <a:pt x="113" y="171"/>
                  </a:lnTo>
                  <a:lnTo>
                    <a:pt x="114" y="169"/>
                  </a:lnTo>
                  <a:lnTo>
                    <a:pt x="117" y="165"/>
                  </a:lnTo>
                  <a:lnTo>
                    <a:pt x="121" y="160"/>
                  </a:lnTo>
                  <a:lnTo>
                    <a:pt x="122" y="157"/>
                  </a:lnTo>
                  <a:lnTo>
                    <a:pt x="123" y="154"/>
                  </a:lnTo>
                  <a:lnTo>
                    <a:pt x="122" y="152"/>
                  </a:lnTo>
                  <a:lnTo>
                    <a:pt x="122" y="150"/>
                  </a:lnTo>
                  <a:lnTo>
                    <a:pt x="124" y="147"/>
                  </a:lnTo>
                  <a:lnTo>
                    <a:pt x="127" y="146"/>
                  </a:lnTo>
                  <a:lnTo>
                    <a:pt x="128" y="146"/>
                  </a:lnTo>
                  <a:lnTo>
                    <a:pt x="133" y="146"/>
                  </a:lnTo>
                  <a:lnTo>
                    <a:pt x="136" y="146"/>
                  </a:lnTo>
                  <a:lnTo>
                    <a:pt x="138" y="145"/>
                  </a:lnTo>
                  <a:lnTo>
                    <a:pt x="149" y="138"/>
                  </a:lnTo>
                  <a:lnTo>
                    <a:pt x="155" y="135"/>
                  </a:lnTo>
                  <a:lnTo>
                    <a:pt x="161" y="133"/>
                  </a:lnTo>
                  <a:lnTo>
                    <a:pt x="165" y="131"/>
                  </a:lnTo>
                  <a:lnTo>
                    <a:pt x="166" y="127"/>
                  </a:lnTo>
                  <a:lnTo>
                    <a:pt x="170" y="119"/>
                  </a:lnTo>
                  <a:lnTo>
                    <a:pt x="174" y="113"/>
                  </a:lnTo>
                  <a:lnTo>
                    <a:pt x="178" y="107"/>
                  </a:lnTo>
                  <a:lnTo>
                    <a:pt x="187" y="95"/>
                  </a:lnTo>
                  <a:lnTo>
                    <a:pt x="187" y="93"/>
                  </a:lnTo>
                  <a:lnTo>
                    <a:pt x="187" y="92"/>
                  </a:lnTo>
                  <a:lnTo>
                    <a:pt x="185" y="89"/>
                  </a:lnTo>
                  <a:lnTo>
                    <a:pt x="185" y="87"/>
                  </a:lnTo>
                  <a:lnTo>
                    <a:pt x="185" y="70"/>
                  </a:lnTo>
                  <a:lnTo>
                    <a:pt x="184" y="62"/>
                  </a:lnTo>
                  <a:lnTo>
                    <a:pt x="183" y="54"/>
                  </a:lnTo>
                  <a:lnTo>
                    <a:pt x="180" y="45"/>
                  </a:lnTo>
                  <a:lnTo>
                    <a:pt x="180" y="35"/>
                  </a:lnTo>
                  <a:lnTo>
                    <a:pt x="182" y="13"/>
                  </a:lnTo>
                  <a:lnTo>
                    <a:pt x="183" y="9"/>
                  </a:lnTo>
                  <a:lnTo>
                    <a:pt x="183" y="6"/>
                  </a:lnTo>
                  <a:lnTo>
                    <a:pt x="182" y="4"/>
                  </a:lnTo>
                  <a:lnTo>
                    <a:pt x="176" y="0"/>
                  </a:lnTo>
                  <a:lnTo>
                    <a:pt x="173" y="5"/>
                  </a:lnTo>
                  <a:lnTo>
                    <a:pt x="171" y="7"/>
                  </a:lnTo>
                  <a:lnTo>
                    <a:pt x="169" y="9"/>
                  </a:lnTo>
                  <a:lnTo>
                    <a:pt x="163" y="11"/>
                  </a:lnTo>
                  <a:lnTo>
                    <a:pt x="157" y="15"/>
                  </a:lnTo>
                  <a:lnTo>
                    <a:pt x="152" y="18"/>
                  </a:lnTo>
                  <a:lnTo>
                    <a:pt x="147" y="22"/>
                  </a:lnTo>
                  <a:lnTo>
                    <a:pt x="145" y="23"/>
                  </a:lnTo>
                  <a:lnTo>
                    <a:pt x="142" y="23"/>
                  </a:lnTo>
                  <a:lnTo>
                    <a:pt x="138" y="20"/>
                  </a:lnTo>
                  <a:lnTo>
                    <a:pt x="136" y="18"/>
                  </a:lnTo>
                  <a:lnTo>
                    <a:pt x="135" y="17"/>
                  </a:lnTo>
                  <a:lnTo>
                    <a:pt x="132" y="17"/>
                  </a:lnTo>
                  <a:lnTo>
                    <a:pt x="119" y="23"/>
                  </a:lnTo>
                  <a:lnTo>
                    <a:pt x="112" y="25"/>
                  </a:lnTo>
                  <a:lnTo>
                    <a:pt x="104" y="25"/>
                  </a:lnTo>
                  <a:lnTo>
                    <a:pt x="98" y="24"/>
                  </a:lnTo>
                  <a:lnTo>
                    <a:pt x="91" y="24"/>
                  </a:lnTo>
                  <a:lnTo>
                    <a:pt x="86" y="25"/>
                  </a:lnTo>
                  <a:lnTo>
                    <a:pt x="81" y="28"/>
                  </a:lnTo>
                  <a:lnTo>
                    <a:pt x="77" y="30"/>
                  </a:lnTo>
                  <a:lnTo>
                    <a:pt x="76" y="35"/>
                  </a:lnTo>
                  <a:lnTo>
                    <a:pt x="75" y="41"/>
                  </a:lnTo>
                  <a:lnTo>
                    <a:pt x="76" y="47"/>
                  </a:lnTo>
                  <a:lnTo>
                    <a:pt x="77" y="51"/>
                  </a:lnTo>
                  <a:lnTo>
                    <a:pt x="79" y="55"/>
                  </a:lnTo>
                  <a:lnTo>
                    <a:pt x="80" y="58"/>
                  </a:lnTo>
                  <a:lnTo>
                    <a:pt x="80" y="61"/>
                  </a:lnTo>
                  <a:lnTo>
                    <a:pt x="86" y="6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7" name="Freeform 736"/>
            <p:cNvSpPr>
              <a:spLocks/>
            </p:cNvSpPr>
            <p:nvPr/>
          </p:nvSpPr>
          <p:spPr bwMode="auto">
            <a:xfrm>
              <a:off x="4848226" y="4968878"/>
              <a:ext cx="246063" cy="284163"/>
            </a:xfrm>
            <a:custGeom>
              <a:avLst/>
              <a:gdLst>
                <a:gd name="T0" fmla="*/ 2147483647 w 167"/>
                <a:gd name="T1" fmla="*/ 2147483647 h 179"/>
                <a:gd name="T2" fmla="*/ 2147483647 w 167"/>
                <a:gd name="T3" fmla="*/ 2147483647 h 179"/>
                <a:gd name="T4" fmla="*/ 2147483647 w 167"/>
                <a:gd name="T5" fmla="*/ 2147483647 h 179"/>
                <a:gd name="T6" fmla="*/ 2147483647 w 167"/>
                <a:gd name="T7" fmla="*/ 2147483647 h 179"/>
                <a:gd name="T8" fmla="*/ 2147483647 w 167"/>
                <a:gd name="T9" fmla="*/ 2147483647 h 179"/>
                <a:gd name="T10" fmla="*/ 2147483647 w 167"/>
                <a:gd name="T11" fmla="*/ 2147483647 h 179"/>
                <a:gd name="T12" fmla="*/ 2147483647 w 167"/>
                <a:gd name="T13" fmla="*/ 2147483647 h 179"/>
                <a:gd name="T14" fmla="*/ 2147483647 w 167"/>
                <a:gd name="T15" fmla="*/ 2147483647 h 179"/>
                <a:gd name="T16" fmla="*/ 2147483647 w 167"/>
                <a:gd name="T17" fmla="*/ 2147483647 h 179"/>
                <a:gd name="T18" fmla="*/ 2147483647 w 167"/>
                <a:gd name="T19" fmla="*/ 2147483647 h 179"/>
                <a:gd name="T20" fmla="*/ 2147483647 w 167"/>
                <a:gd name="T21" fmla="*/ 2147483647 h 179"/>
                <a:gd name="T22" fmla="*/ 2147483647 w 167"/>
                <a:gd name="T23" fmla="*/ 2147483647 h 179"/>
                <a:gd name="T24" fmla="*/ 2147483647 w 167"/>
                <a:gd name="T25" fmla="*/ 2147483647 h 179"/>
                <a:gd name="T26" fmla="*/ 2147483647 w 167"/>
                <a:gd name="T27" fmla="*/ 2147483647 h 179"/>
                <a:gd name="T28" fmla="*/ 2147483647 w 167"/>
                <a:gd name="T29" fmla="*/ 2147483647 h 179"/>
                <a:gd name="T30" fmla="*/ 2147483647 w 167"/>
                <a:gd name="T31" fmla="*/ 2147483647 h 179"/>
                <a:gd name="T32" fmla="*/ 2147483647 w 167"/>
                <a:gd name="T33" fmla="*/ 2147483647 h 179"/>
                <a:gd name="T34" fmla="*/ 2147483647 w 167"/>
                <a:gd name="T35" fmla="*/ 2147483647 h 179"/>
                <a:gd name="T36" fmla="*/ 2147483647 w 167"/>
                <a:gd name="T37" fmla="*/ 2147483647 h 179"/>
                <a:gd name="T38" fmla="*/ 2147483647 w 167"/>
                <a:gd name="T39" fmla="*/ 2147483647 h 179"/>
                <a:gd name="T40" fmla="*/ 2147483647 w 167"/>
                <a:gd name="T41" fmla="*/ 2147483647 h 179"/>
                <a:gd name="T42" fmla="*/ 2147483647 w 167"/>
                <a:gd name="T43" fmla="*/ 2147483647 h 179"/>
                <a:gd name="T44" fmla="*/ 2147483647 w 167"/>
                <a:gd name="T45" fmla="*/ 2147483647 h 179"/>
                <a:gd name="T46" fmla="*/ 2147483647 w 167"/>
                <a:gd name="T47" fmla="*/ 2147483647 h 179"/>
                <a:gd name="T48" fmla="*/ 2147483647 w 167"/>
                <a:gd name="T49" fmla="*/ 2147483647 h 179"/>
                <a:gd name="T50" fmla="*/ 2147483647 w 167"/>
                <a:gd name="T51" fmla="*/ 2147483647 h 179"/>
                <a:gd name="T52" fmla="*/ 2147483647 w 167"/>
                <a:gd name="T53" fmla="*/ 2147483647 h 179"/>
                <a:gd name="T54" fmla="*/ 2147483647 w 167"/>
                <a:gd name="T55" fmla="*/ 2147483647 h 179"/>
                <a:gd name="T56" fmla="*/ 2147483647 w 167"/>
                <a:gd name="T57" fmla="*/ 2147483647 h 179"/>
                <a:gd name="T58" fmla="*/ 2147483647 w 167"/>
                <a:gd name="T59" fmla="*/ 2147483647 h 179"/>
                <a:gd name="T60" fmla="*/ 2147483647 w 167"/>
                <a:gd name="T61" fmla="*/ 2147483647 h 179"/>
                <a:gd name="T62" fmla="*/ 2147483647 w 167"/>
                <a:gd name="T63" fmla="*/ 2147483647 h 179"/>
                <a:gd name="T64" fmla="*/ 2147483647 w 167"/>
                <a:gd name="T65" fmla="*/ 2147483647 h 179"/>
                <a:gd name="T66" fmla="*/ 0 w 167"/>
                <a:gd name="T67" fmla="*/ 2147483647 h 179"/>
                <a:gd name="T68" fmla="*/ 2147483647 w 167"/>
                <a:gd name="T69" fmla="*/ 2147483647 h 179"/>
                <a:gd name="T70" fmla="*/ 2147483647 w 167"/>
                <a:gd name="T71" fmla="*/ 2147483647 h 179"/>
                <a:gd name="T72" fmla="*/ 2147483647 w 167"/>
                <a:gd name="T73" fmla="*/ 2147483647 h 179"/>
                <a:gd name="T74" fmla="*/ 2147483647 w 167"/>
                <a:gd name="T75" fmla="*/ 2147483647 h 179"/>
                <a:gd name="T76" fmla="*/ 2147483647 w 167"/>
                <a:gd name="T77" fmla="*/ 2147483647 h 179"/>
                <a:gd name="T78" fmla="*/ 2147483647 w 167"/>
                <a:gd name="T79" fmla="*/ 0 h 179"/>
                <a:gd name="T80" fmla="*/ 2147483647 w 167"/>
                <a:gd name="T81" fmla="*/ 2147483647 h 179"/>
                <a:gd name="T82" fmla="*/ 2147483647 w 167"/>
                <a:gd name="T83" fmla="*/ 2147483647 h 179"/>
                <a:gd name="T84" fmla="*/ 2147483647 w 167"/>
                <a:gd name="T85" fmla="*/ 2147483647 h 179"/>
                <a:gd name="T86" fmla="*/ 2147483647 w 167"/>
                <a:gd name="T87" fmla="*/ 2147483647 h 179"/>
                <a:gd name="T88" fmla="*/ 2147483647 w 167"/>
                <a:gd name="T89" fmla="*/ 2147483647 h 179"/>
                <a:gd name="T90" fmla="*/ 2147483647 w 167"/>
                <a:gd name="T91" fmla="*/ 2147483647 h 179"/>
                <a:gd name="T92" fmla="*/ 2147483647 w 167"/>
                <a:gd name="T93" fmla="*/ 2147483647 h 179"/>
                <a:gd name="T94" fmla="*/ 2147483647 w 167"/>
                <a:gd name="T95" fmla="*/ 2147483647 h 179"/>
                <a:gd name="T96" fmla="*/ 2147483647 w 167"/>
                <a:gd name="T97" fmla="*/ 2147483647 h 179"/>
                <a:gd name="T98" fmla="*/ 2147483647 w 167"/>
                <a:gd name="T99" fmla="*/ 2147483647 h 179"/>
                <a:gd name="T100" fmla="*/ 2147483647 w 167"/>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179"/>
                <a:gd name="T155" fmla="*/ 167 w 167"/>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179">
                  <a:moveTo>
                    <a:pt x="167" y="85"/>
                  </a:moveTo>
                  <a:lnTo>
                    <a:pt x="167" y="85"/>
                  </a:lnTo>
                  <a:lnTo>
                    <a:pt x="164" y="86"/>
                  </a:lnTo>
                  <a:lnTo>
                    <a:pt x="163" y="90"/>
                  </a:lnTo>
                  <a:lnTo>
                    <a:pt x="161" y="91"/>
                  </a:lnTo>
                  <a:lnTo>
                    <a:pt x="160" y="94"/>
                  </a:lnTo>
                  <a:lnTo>
                    <a:pt x="155" y="96"/>
                  </a:lnTo>
                  <a:lnTo>
                    <a:pt x="149" y="97"/>
                  </a:lnTo>
                  <a:lnTo>
                    <a:pt x="142" y="99"/>
                  </a:lnTo>
                  <a:lnTo>
                    <a:pt x="137" y="103"/>
                  </a:lnTo>
                  <a:lnTo>
                    <a:pt x="131" y="107"/>
                  </a:lnTo>
                  <a:lnTo>
                    <a:pt x="123" y="109"/>
                  </a:lnTo>
                  <a:lnTo>
                    <a:pt x="122" y="110"/>
                  </a:lnTo>
                  <a:lnTo>
                    <a:pt x="120" y="111"/>
                  </a:lnTo>
                  <a:lnTo>
                    <a:pt x="118" y="115"/>
                  </a:lnTo>
                  <a:lnTo>
                    <a:pt x="117" y="121"/>
                  </a:lnTo>
                  <a:lnTo>
                    <a:pt x="114" y="126"/>
                  </a:lnTo>
                  <a:lnTo>
                    <a:pt x="113" y="127"/>
                  </a:lnTo>
                  <a:lnTo>
                    <a:pt x="111" y="128"/>
                  </a:lnTo>
                  <a:lnTo>
                    <a:pt x="108" y="129"/>
                  </a:lnTo>
                  <a:lnTo>
                    <a:pt x="107" y="130"/>
                  </a:lnTo>
                  <a:lnTo>
                    <a:pt x="106" y="135"/>
                  </a:lnTo>
                  <a:lnTo>
                    <a:pt x="104" y="140"/>
                  </a:lnTo>
                  <a:lnTo>
                    <a:pt x="102" y="145"/>
                  </a:lnTo>
                  <a:lnTo>
                    <a:pt x="99" y="148"/>
                  </a:lnTo>
                  <a:lnTo>
                    <a:pt x="95" y="152"/>
                  </a:lnTo>
                  <a:lnTo>
                    <a:pt x="90" y="154"/>
                  </a:lnTo>
                  <a:lnTo>
                    <a:pt x="85" y="155"/>
                  </a:lnTo>
                  <a:lnTo>
                    <a:pt x="80" y="156"/>
                  </a:lnTo>
                  <a:lnTo>
                    <a:pt x="79" y="158"/>
                  </a:lnTo>
                  <a:lnTo>
                    <a:pt x="75" y="156"/>
                  </a:lnTo>
                  <a:lnTo>
                    <a:pt x="71" y="154"/>
                  </a:lnTo>
                  <a:lnTo>
                    <a:pt x="68" y="152"/>
                  </a:lnTo>
                  <a:lnTo>
                    <a:pt x="62" y="149"/>
                  </a:lnTo>
                  <a:lnTo>
                    <a:pt x="60" y="149"/>
                  </a:lnTo>
                  <a:lnTo>
                    <a:pt x="57" y="150"/>
                  </a:lnTo>
                  <a:lnTo>
                    <a:pt x="55" y="155"/>
                  </a:lnTo>
                  <a:lnTo>
                    <a:pt x="52" y="161"/>
                  </a:lnTo>
                  <a:lnTo>
                    <a:pt x="50" y="166"/>
                  </a:lnTo>
                  <a:lnTo>
                    <a:pt x="47" y="167"/>
                  </a:lnTo>
                  <a:lnTo>
                    <a:pt x="45" y="168"/>
                  </a:lnTo>
                  <a:lnTo>
                    <a:pt x="43" y="171"/>
                  </a:lnTo>
                  <a:lnTo>
                    <a:pt x="42" y="173"/>
                  </a:lnTo>
                  <a:lnTo>
                    <a:pt x="40" y="174"/>
                  </a:lnTo>
                  <a:lnTo>
                    <a:pt x="34" y="175"/>
                  </a:lnTo>
                  <a:lnTo>
                    <a:pt x="28" y="178"/>
                  </a:lnTo>
                  <a:lnTo>
                    <a:pt x="23" y="179"/>
                  </a:lnTo>
                  <a:lnTo>
                    <a:pt x="21" y="179"/>
                  </a:lnTo>
                  <a:lnTo>
                    <a:pt x="19" y="178"/>
                  </a:lnTo>
                  <a:lnTo>
                    <a:pt x="18" y="167"/>
                  </a:lnTo>
                  <a:lnTo>
                    <a:pt x="14" y="158"/>
                  </a:lnTo>
                  <a:lnTo>
                    <a:pt x="12" y="154"/>
                  </a:lnTo>
                  <a:lnTo>
                    <a:pt x="9" y="150"/>
                  </a:lnTo>
                  <a:lnTo>
                    <a:pt x="5" y="147"/>
                  </a:lnTo>
                  <a:lnTo>
                    <a:pt x="0" y="145"/>
                  </a:lnTo>
                  <a:lnTo>
                    <a:pt x="0" y="79"/>
                  </a:lnTo>
                  <a:lnTo>
                    <a:pt x="21" y="79"/>
                  </a:lnTo>
                  <a:lnTo>
                    <a:pt x="22" y="11"/>
                  </a:lnTo>
                  <a:lnTo>
                    <a:pt x="61" y="3"/>
                  </a:lnTo>
                  <a:lnTo>
                    <a:pt x="65" y="7"/>
                  </a:lnTo>
                  <a:lnTo>
                    <a:pt x="68" y="8"/>
                  </a:lnTo>
                  <a:lnTo>
                    <a:pt x="69" y="8"/>
                  </a:lnTo>
                  <a:lnTo>
                    <a:pt x="75" y="6"/>
                  </a:lnTo>
                  <a:lnTo>
                    <a:pt x="81" y="3"/>
                  </a:lnTo>
                  <a:lnTo>
                    <a:pt x="94" y="0"/>
                  </a:lnTo>
                  <a:lnTo>
                    <a:pt x="97" y="1"/>
                  </a:lnTo>
                  <a:lnTo>
                    <a:pt x="99" y="3"/>
                  </a:lnTo>
                  <a:lnTo>
                    <a:pt x="103" y="8"/>
                  </a:lnTo>
                  <a:lnTo>
                    <a:pt x="109" y="19"/>
                  </a:lnTo>
                  <a:lnTo>
                    <a:pt x="116" y="28"/>
                  </a:lnTo>
                  <a:lnTo>
                    <a:pt x="120" y="32"/>
                  </a:lnTo>
                  <a:lnTo>
                    <a:pt x="123" y="35"/>
                  </a:lnTo>
                  <a:lnTo>
                    <a:pt x="128" y="39"/>
                  </a:lnTo>
                  <a:lnTo>
                    <a:pt x="135" y="40"/>
                  </a:lnTo>
                  <a:lnTo>
                    <a:pt x="139" y="43"/>
                  </a:lnTo>
                  <a:lnTo>
                    <a:pt x="141" y="46"/>
                  </a:lnTo>
                  <a:lnTo>
                    <a:pt x="142" y="57"/>
                  </a:lnTo>
                  <a:lnTo>
                    <a:pt x="145" y="67"/>
                  </a:lnTo>
                  <a:lnTo>
                    <a:pt x="146" y="71"/>
                  </a:lnTo>
                  <a:lnTo>
                    <a:pt x="149" y="75"/>
                  </a:lnTo>
                  <a:lnTo>
                    <a:pt x="153" y="77"/>
                  </a:lnTo>
                  <a:lnTo>
                    <a:pt x="158" y="78"/>
                  </a:lnTo>
                  <a:lnTo>
                    <a:pt x="167" y="8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8" name="Freeform 737"/>
            <p:cNvSpPr>
              <a:spLocks/>
            </p:cNvSpPr>
            <p:nvPr/>
          </p:nvSpPr>
          <p:spPr bwMode="auto">
            <a:xfrm>
              <a:off x="4987925" y="4899030"/>
              <a:ext cx="198438" cy="214313"/>
            </a:xfrm>
            <a:custGeom>
              <a:avLst/>
              <a:gdLst>
                <a:gd name="T0" fmla="*/ 2147483647 w 135"/>
                <a:gd name="T1" fmla="*/ 2147483647 h 135"/>
                <a:gd name="T2" fmla="*/ 2147483647 w 135"/>
                <a:gd name="T3" fmla="*/ 2147483647 h 135"/>
                <a:gd name="T4" fmla="*/ 2147483647 w 135"/>
                <a:gd name="T5" fmla="*/ 2147483647 h 135"/>
                <a:gd name="T6" fmla="*/ 2147483647 w 135"/>
                <a:gd name="T7" fmla="*/ 2147483647 h 135"/>
                <a:gd name="T8" fmla="*/ 2147483647 w 135"/>
                <a:gd name="T9" fmla="*/ 2147483647 h 135"/>
                <a:gd name="T10" fmla="*/ 2147483647 w 135"/>
                <a:gd name="T11" fmla="*/ 2147483647 h 135"/>
                <a:gd name="T12" fmla="*/ 2147483647 w 135"/>
                <a:gd name="T13" fmla="*/ 2147483647 h 135"/>
                <a:gd name="T14" fmla="*/ 2147483647 w 135"/>
                <a:gd name="T15" fmla="*/ 2147483647 h 135"/>
                <a:gd name="T16" fmla="*/ 2147483647 w 135"/>
                <a:gd name="T17" fmla="*/ 2147483647 h 135"/>
                <a:gd name="T18" fmla="*/ 2147483647 w 135"/>
                <a:gd name="T19" fmla="*/ 2147483647 h 135"/>
                <a:gd name="T20" fmla="*/ 2147483647 w 135"/>
                <a:gd name="T21" fmla="*/ 2147483647 h 135"/>
                <a:gd name="T22" fmla="*/ 2147483647 w 135"/>
                <a:gd name="T23" fmla="*/ 2147483647 h 135"/>
                <a:gd name="T24" fmla="*/ 2147483647 w 135"/>
                <a:gd name="T25" fmla="*/ 2147483647 h 135"/>
                <a:gd name="T26" fmla="*/ 2147483647 w 135"/>
                <a:gd name="T27" fmla="*/ 2147483647 h 135"/>
                <a:gd name="T28" fmla="*/ 2147483647 w 135"/>
                <a:gd name="T29" fmla="*/ 2147483647 h 135"/>
                <a:gd name="T30" fmla="*/ 2147483647 w 135"/>
                <a:gd name="T31" fmla="*/ 2147483647 h 135"/>
                <a:gd name="T32" fmla="*/ 2147483647 w 135"/>
                <a:gd name="T33" fmla="*/ 2147483647 h 135"/>
                <a:gd name="T34" fmla="*/ 2147483647 w 135"/>
                <a:gd name="T35" fmla="*/ 2147483647 h 135"/>
                <a:gd name="T36" fmla="*/ 2147483647 w 135"/>
                <a:gd name="T37" fmla="*/ 2147483647 h 135"/>
                <a:gd name="T38" fmla="*/ 2147483647 w 135"/>
                <a:gd name="T39" fmla="*/ 2147483647 h 135"/>
                <a:gd name="T40" fmla="*/ 2147483647 w 135"/>
                <a:gd name="T41" fmla="*/ 2147483647 h 135"/>
                <a:gd name="T42" fmla="*/ 2147483647 w 135"/>
                <a:gd name="T43" fmla="*/ 0 h 135"/>
                <a:gd name="T44" fmla="*/ 2147483647 w 135"/>
                <a:gd name="T45" fmla="*/ 2147483647 h 135"/>
                <a:gd name="T46" fmla="*/ 2147483647 w 135"/>
                <a:gd name="T47" fmla="*/ 2147483647 h 135"/>
                <a:gd name="T48" fmla="*/ 2147483647 w 135"/>
                <a:gd name="T49" fmla="*/ 2147483647 h 135"/>
                <a:gd name="T50" fmla="*/ 2147483647 w 135"/>
                <a:gd name="T51" fmla="*/ 2147483647 h 135"/>
                <a:gd name="T52" fmla="*/ 2147483647 w 135"/>
                <a:gd name="T53" fmla="*/ 2147483647 h 135"/>
                <a:gd name="T54" fmla="*/ 2147483647 w 135"/>
                <a:gd name="T55" fmla="*/ 2147483647 h 135"/>
                <a:gd name="T56" fmla="*/ 2147483647 w 135"/>
                <a:gd name="T57" fmla="*/ 2147483647 h 135"/>
                <a:gd name="T58" fmla="*/ 2147483647 w 135"/>
                <a:gd name="T59" fmla="*/ 2147483647 h 135"/>
                <a:gd name="T60" fmla="*/ 2147483647 w 135"/>
                <a:gd name="T61" fmla="*/ 2147483647 h 135"/>
                <a:gd name="T62" fmla="*/ 2147483647 w 135"/>
                <a:gd name="T63" fmla="*/ 2147483647 h 135"/>
                <a:gd name="T64" fmla="*/ 2147483647 w 135"/>
                <a:gd name="T65" fmla="*/ 2147483647 h 135"/>
                <a:gd name="T66" fmla="*/ 2147483647 w 135"/>
                <a:gd name="T67" fmla="*/ 2147483647 h 135"/>
                <a:gd name="T68" fmla="*/ 2147483647 w 135"/>
                <a:gd name="T69" fmla="*/ 2147483647 h 135"/>
                <a:gd name="T70" fmla="*/ 2147483647 w 135"/>
                <a:gd name="T71" fmla="*/ 2147483647 h 135"/>
                <a:gd name="T72" fmla="*/ 2147483647 w 135"/>
                <a:gd name="T73" fmla="*/ 2147483647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35"/>
                <a:gd name="T113" fmla="*/ 135 w 135"/>
                <a:gd name="T114" fmla="*/ 135 h 1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35">
                  <a:moveTo>
                    <a:pt x="103" y="135"/>
                  </a:moveTo>
                  <a:lnTo>
                    <a:pt x="98" y="132"/>
                  </a:lnTo>
                  <a:lnTo>
                    <a:pt x="93" y="129"/>
                  </a:lnTo>
                  <a:lnTo>
                    <a:pt x="87" y="128"/>
                  </a:lnTo>
                  <a:lnTo>
                    <a:pt x="82" y="129"/>
                  </a:lnTo>
                  <a:lnTo>
                    <a:pt x="77" y="130"/>
                  </a:lnTo>
                  <a:lnTo>
                    <a:pt x="73" y="130"/>
                  </a:lnTo>
                  <a:lnTo>
                    <a:pt x="64" y="123"/>
                  </a:lnTo>
                  <a:lnTo>
                    <a:pt x="59" y="122"/>
                  </a:lnTo>
                  <a:lnTo>
                    <a:pt x="55" y="120"/>
                  </a:lnTo>
                  <a:lnTo>
                    <a:pt x="53" y="116"/>
                  </a:lnTo>
                  <a:lnTo>
                    <a:pt x="51" y="113"/>
                  </a:lnTo>
                  <a:lnTo>
                    <a:pt x="49" y="102"/>
                  </a:lnTo>
                  <a:lnTo>
                    <a:pt x="47" y="91"/>
                  </a:lnTo>
                  <a:lnTo>
                    <a:pt x="45" y="88"/>
                  </a:lnTo>
                  <a:lnTo>
                    <a:pt x="41" y="85"/>
                  </a:lnTo>
                  <a:lnTo>
                    <a:pt x="35" y="84"/>
                  </a:lnTo>
                  <a:lnTo>
                    <a:pt x="30" y="81"/>
                  </a:lnTo>
                  <a:lnTo>
                    <a:pt x="26" y="77"/>
                  </a:lnTo>
                  <a:lnTo>
                    <a:pt x="22" y="74"/>
                  </a:lnTo>
                  <a:lnTo>
                    <a:pt x="16" y="64"/>
                  </a:lnTo>
                  <a:lnTo>
                    <a:pt x="9" y="53"/>
                  </a:lnTo>
                  <a:lnTo>
                    <a:pt x="6" y="49"/>
                  </a:lnTo>
                  <a:lnTo>
                    <a:pt x="3" y="46"/>
                  </a:lnTo>
                  <a:lnTo>
                    <a:pt x="0" y="45"/>
                  </a:lnTo>
                  <a:lnTo>
                    <a:pt x="2" y="44"/>
                  </a:lnTo>
                  <a:lnTo>
                    <a:pt x="2" y="42"/>
                  </a:lnTo>
                  <a:lnTo>
                    <a:pt x="9" y="40"/>
                  </a:lnTo>
                  <a:lnTo>
                    <a:pt x="13" y="40"/>
                  </a:lnTo>
                  <a:lnTo>
                    <a:pt x="17" y="42"/>
                  </a:lnTo>
                  <a:lnTo>
                    <a:pt x="19" y="43"/>
                  </a:lnTo>
                  <a:lnTo>
                    <a:pt x="23" y="43"/>
                  </a:lnTo>
                  <a:lnTo>
                    <a:pt x="30" y="40"/>
                  </a:lnTo>
                  <a:lnTo>
                    <a:pt x="37" y="36"/>
                  </a:lnTo>
                  <a:lnTo>
                    <a:pt x="44" y="28"/>
                  </a:lnTo>
                  <a:lnTo>
                    <a:pt x="50" y="23"/>
                  </a:lnTo>
                  <a:lnTo>
                    <a:pt x="58" y="18"/>
                  </a:lnTo>
                  <a:lnTo>
                    <a:pt x="59" y="15"/>
                  </a:lnTo>
                  <a:lnTo>
                    <a:pt x="60" y="14"/>
                  </a:lnTo>
                  <a:lnTo>
                    <a:pt x="63" y="9"/>
                  </a:lnTo>
                  <a:lnTo>
                    <a:pt x="65" y="5"/>
                  </a:lnTo>
                  <a:lnTo>
                    <a:pt x="72" y="1"/>
                  </a:lnTo>
                  <a:lnTo>
                    <a:pt x="75" y="0"/>
                  </a:lnTo>
                  <a:lnTo>
                    <a:pt x="78" y="0"/>
                  </a:lnTo>
                  <a:lnTo>
                    <a:pt x="82" y="0"/>
                  </a:lnTo>
                  <a:lnTo>
                    <a:pt x="84" y="1"/>
                  </a:lnTo>
                  <a:lnTo>
                    <a:pt x="87" y="6"/>
                  </a:lnTo>
                  <a:lnTo>
                    <a:pt x="91" y="8"/>
                  </a:lnTo>
                  <a:lnTo>
                    <a:pt x="101" y="13"/>
                  </a:lnTo>
                  <a:lnTo>
                    <a:pt x="111" y="18"/>
                  </a:lnTo>
                  <a:lnTo>
                    <a:pt x="116" y="20"/>
                  </a:lnTo>
                  <a:lnTo>
                    <a:pt x="121" y="21"/>
                  </a:lnTo>
                  <a:lnTo>
                    <a:pt x="126" y="24"/>
                  </a:lnTo>
                  <a:lnTo>
                    <a:pt x="130" y="27"/>
                  </a:lnTo>
                  <a:lnTo>
                    <a:pt x="133" y="33"/>
                  </a:lnTo>
                  <a:lnTo>
                    <a:pt x="133" y="39"/>
                  </a:lnTo>
                  <a:lnTo>
                    <a:pt x="134" y="53"/>
                  </a:lnTo>
                  <a:lnTo>
                    <a:pt x="134" y="57"/>
                  </a:lnTo>
                  <a:lnTo>
                    <a:pt x="131" y="60"/>
                  </a:lnTo>
                  <a:lnTo>
                    <a:pt x="129" y="63"/>
                  </a:lnTo>
                  <a:lnTo>
                    <a:pt x="127" y="66"/>
                  </a:lnTo>
                  <a:lnTo>
                    <a:pt x="126" y="70"/>
                  </a:lnTo>
                  <a:lnTo>
                    <a:pt x="126" y="74"/>
                  </a:lnTo>
                  <a:lnTo>
                    <a:pt x="127" y="79"/>
                  </a:lnTo>
                  <a:lnTo>
                    <a:pt x="131" y="87"/>
                  </a:lnTo>
                  <a:lnTo>
                    <a:pt x="134" y="94"/>
                  </a:lnTo>
                  <a:lnTo>
                    <a:pt x="135" y="101"/>
                  </a:lnTo>
                  <a:lnTo>
                    <a:pt x="134" y="106"/>
                  </a:lnTo>
                  <a:lnTo>
                    <a:pt x="133" y="111"/>
                  </a:lnTo>
                  <a:lnTo>
                    <a:pt x="129" y="115"/>
                  </a:lnTo>
                  <a:lnTo>
                    <a:pt x="119" y="123"/>
                  </a:lnTo>
                  <a:lnTo>
                    <a:pt x="108" y="130"/>
                  </a:lnTo>
                  <a:lnTo>
                    <a:pt x="105" y="133"/>
                  </a:lnTo>
                  <a:lnTo>
                    <a:pt x="103" y="134"/>
                  </a:lnTo>
                  <a:lnTo>
                    <a:pt x="103" y="1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39" name="Freeform 738"/>
            <p:cNvSpPr>
              <a:spLocks/>
            </p:cNvSpPr>
            <p:nvPr/>
          </p:nvSpPr>
          <p:spPr bwMode="auto">
            <a:xfrm>
              <a:off x="4903791" y="4672014"/>
              <a:ext cx="295275" cy="295275"/>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2147483647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2147483647 h 186"/>
                <a:gd name="T22" fmla="*/ 2147483647 w 202"/>
                <a:gd name="T23" fmla="*/ 2147483647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2147483647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2147483647 w 202"/>
                <a:gd name="T83" fmla="*/ 2147483647 h 186"/>
                <a:gd name="T84" fmla="*/ 2147483647 w 202"/>
                <a:gd name="T85" fmla="*/ 0 h 186"/>
                <a:gd name="T86" fmla="*/ 2147483647 w 202"/>
                <a:gd name="T87" fmla="*/ 0 h 186"/>
                <a:gd name="T88" fmla="*/ 2147483647 w 202"/>
                <a:gd name="T89" fmla="*/ 2147483647 h 186"/>
                <a:gd name="T90" fmla="*/ 2147483647 w 202"/>
                <a:gd name="T91" fmla="*/ 2147483647 h 186"/>
                <a:gd name="T92" fmla="*/ 2147483647 w 202"/>
                <a:gd name="T93" fmla="*/ 2147483647 h 186"/>
                <a:gd name="T94" fmla="*/ 2147483647 w 202"/>
                <a:gd name="T95" fmla="*/ 2147483647 h 186"/>
                <a:gd name="T96" fmla="*/ 2147483647 w 202"/>
                <a:gd name="T97" fmla="*/ 2147483647 h 186"/>
                <a:gd name="T98" fmla="*/ 2147483647 w 202"/>
                <a:gd name="T99" fmla="*/ 2147483647 h 186"/>
                <a:gd name="T100" fmla="*/ 2147483647 w 202"/>
                <a:gd name="T101" fmla="*/ 2147483647 h 186"/>
                <a:gd name="T102" fmla="*/ 2147483647 w 202"/>
                <a:gd name="T103" fmla="*/ 2147483647 h 186"/>
                <a:gd name="T104" fmla="*/ 2147483647 w 202"/>
                <a:gd name="T105" fmla="*/ 2147483647 h 186"/>
                <a:gd name="T106" fmla="*/ 2147483647 w 202"/>
                <a:gd name="T107" fmla="*/ 2147483647 h 186"/>
                <a:gd name="T108" fmla="*/ 2147483647 w 202"/>
                <a:gd name="T109" fmla="*/ 2147483647 h 186"/>
                <a:gd name="T110" fmla="*/ 2147483647 w 202"/>
                <a:gd name="T111" fmla="*/ 2147483647 h 1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86"/>
                <a:gd name="T170" fmla="*/ 202 w 202"/>
                <a:gd name="T171" fmla="*/ 186 h 1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86">
                  <a:moveTo>
                    <a:pt x="191" y="111"/>
                  </a:moveTo>
                  <a:lnTo>
                    <a:pt x="180" y="117"/>
                  </a:lnTo>
                  <a:lnTo>
                    <a:pt x="169" y="122"/>
                  </a:lnTo>
                  <a:lnTo>
                    <a:pt x="147" y="130"/>
                  </a:lnTo>
                  <a:lnTo>
                    <a:pt x="145" y="131"/>
                  </a:lnTo>
                  <a:lnTo>
                    <a:pt x="142" y="135"/>
                  </a:lnTo>
                  <a:lnTo>
                    <a:pt x="142" y="139"/>
                  </a:lnTo>
                  <a:lnTo>
                    <a:pt x="142" y="144"/>
                  </a:lnTo>
                  <a:lnTo>
                    <a:pt x="140" y="143"/>
                  </a:lnTo>
                  <a:lnTo>
                    <a:pt x="136" y="143"/>
                  </a:lnTo>
                  <a:lnTo>
                    <a:pt x="133" y="143"/>
                  </a:lnTo>
                  <a:lnTo>
                    <a:pt x="130" y="144"/>
                  </a:lnTo>
                  <a:lnTo>
                    <a:pt x="123" y="148"/>
                  </a:lnTo>
                  <a:lnTo>
                    <a:pt x="121" y="152"/>
                  </a:lnTo>
                  <a:lnTo>
                    <a:pt x="118" y="157"/>
                  </a:lnTo>
                  <a:lnTo>
                    <a:pt x="117" y="158"/>
                  </a:lnTo>
                  <a:lnTo>
                    <a:pt x="116" y="161"/>
                  </a:lnTo>
                  <a:lnTo>
                    <a:pt x="108" y="166"/>
                  </a:lnTo>
                  <a:lnTo>
                    <a:pt x="102" y="171"/>
                  </a:lnTo>
                  <a:lnTo>
                    <a:pt x="95" y="179"/>
                  </a:lnTo>
                  <a:lnTo>
                    <a:pt x="88" y="183"/>
                  </a:lnTo>
                  <a:lnTo>
                    <a:pt x="81" y="186"/>
                  </a:lnTo>
                  <a:lnTo>
                    <a:pt x="77" y="186"/>
                  </a:lnTo>
                  <a:lnTo>
                    <a:pt x="75" y="185"/>
                  </a:lnTo>
                  <a:lnTo>
                    <a:pt x="71" y="183"/>
                  </a:lnTo>
                  <a:lnTo>
                    <a:pt x="67" y="183"/>
                  </a:lnTo>
                  <a:lnTo>
                    <a:pt x="60" y="185"/>
                  </a:lnTo>
                  <a:lnTo>
                    <a:pt x="53" y="185"/>
                  </a:lnTo>
                  <a:lnTo>
                    <a:pt x="48" y="185"/>
                  </a:lnTo>
                  <a:lnTo>
                    <a:pt x="43" y="181"/>
                  </a:lnTo>
                  <a:lnTo>
                    <a:pt x="33" y="181"/>
                  </a:lnTo>
                  <a:lnTo>
                    <a:pt x="22" y="182"/>
                  </a:lnTo>
                  <a:lnTo>
                    <a:pt x="0" y="186"/>
                  </a:lnTo>
                  <a:lnTo>
                    <a:pt x="3" y="93"/>
                  </a:lnTo>
                  <a:lnTo>
                    <a:pt x="9" y="93"/>
                  </a:lnTo>
                  <a:lnTo>
                    <a:pt x="20" y="92"/>
                  </a:lnTo>
                  <a:lnTo>
                    <a:pt x="36" y="90"/>
                  </a:lnTo>
                  <a:lnTo>
                    <a:pt x="36" y="54"/>
                  </a:lnTo>
                  <a:lnTo>
                    <a:pt x="42" y="56"/>
                  </a:lnTo>
                  <a:lnTo>
                    <a:pt x="47" y="61"/>
                  </a:lnTo>
                  <a:lnTo>
                    <a:pt x="50" y="62"/>
                  </a:lnTo>
                  <a:lnTo>
                    <a:pt x="53" y="61"/>
                  </a:lnTo>
                  <a:lnTo>
                    <a:pt x="61" y="59"/>
                  </a:lnTo>
                  <a:lnTo>
                    <a:pt x="60" y="64"/>
                  </a:lnTo>
                  <a:lnTo>
                    <a:pt x="60" y="67"/>
                  </a:lnTo>
                  <a:lnTo>
                    <a:pt x="60" y="70"/>
                  </a:lnTo>
                  <a:lnTo>
                    <a:pt x="62" y="71"/>
                  </a:lnTo>
                  <a:lnTo>
                    <a:pt x="67" y="72"/>
                  </a:lnTo>
                  <a:lnTo>
                    <a:pt x="74" y="72"/>
                  </a:lnTo>
                  <a:lnTo>
                    <a:pt x="79" y="71"/>
                  </a:lnTo>
                  <a:lnTo>
                    <a:pt x="90" y="64"/>
                  </a:lnTo>
                  <a:lnTo>
                    <a:pt x="91" y="64"/>
                  </a:lnTo>
                  <a:lnTo>
                    <a:pt x="93" y="64"/>
                  </a:lnTo>
                  <a:lnTo>
                    <a:pt x="95" y="66"/>
                  </a:lnTo>
                  <a:lnTo>
                    <a:pt x="98" y="71"/>
                  </a:lnTo>
                  <a:lnTo>
                    <a:pt x="105" y="80"/>
                  </a:lnTo>
                  <a:lnTo>
                    <a:pt x="109" y="85"/>
                  </a:lnTo>
                  <a:lnTo>
                    <a:pt x="114" y="87"/>
                  </a:lnTo>
                  <a:lnTo>
                    <a:pt x="117" y="90"/>
                  </a:lnTo>
                  <a:lnTo>
                    <a:pt x="118" y="93"/>
                  </a:lnTo>
                  <a:lnTo>
                    <a:pt x="119" y="96"/>
                  </a:lnTo>
                  <a:lnTo>
                    <a:pt x="122" y="99"/>
                  </a:lnTo>
                  <a:lnTo>
                    <a:pt x="124" y="100"/>
                  </a:lnTo>
                  <a:lnTo>
                    <a:pt x="130" y="102"/>
                  </a:lnTo>
                  <a:lnTo>
                    <a:pt x="133" y="102"/>
                  </a:lnTo>
                  <a:lnTo>
                    <a:pt x="135" y="100"/>
                  </a:lnTo>
                  <a:lnTo>
                    <a:pt x="135" y="88"/>
                  </a:lnTo>
                  <a:lnTo>
                    <a:pt x="135" y="84"/>
                  </a:lnTo>
                  <a:lnTo>
                    <a:pt x="135" y="81"/>
                  </a:lnTo>
                  <a:lnTo>
                    <a:pt x="133" y="81"/>
                  </a:lnTo>
                  <a:lnTo>
                    <a:pt x="130" y="81"/>
                  </a:lnTo>
                  <a:lnTo>
                    <a:pt x="126" y="79"/>
                  </a:lnTo>
                  <a:lnTo>
                    <a:pt x="121" y="77"/>
                  </a:lnTo>
                  <a:lnTo>
                    <a:pt x="118" y="73"/>
                  </a:lnTo>
                  <a:lnTo>
                    <a:pt x="114" y="68"/>
                  </a:lnTo>
                  <a:lnTo>
                    <a:pt x="112" y="64"/>
                  </a:lnTo>
                  <a:lnTo>
                    <a:pt x="111" y="59"/>
                  </a:lnTo>
                  <a:lnTo>
                    <a:pt x="111" y="54"/>
                  </a:lnTo>
                  <a:lnTo>
                    <a:pt x="112" y="36"/>
                  </a:lnTo>
                  <a:lnTo>
                    <a:pt x="113" y="23"/>
                  </a:lnTo>
                  <a:lnTo>
                    <a:pt x="116" y="15"/>
                  </a:lnTo>
                  <a:lnTo>
                    <a:pt x="121" y="8"/>
                  </a:lnTo>
                  <a:lnTo>
                    <a:pt x="121" y="5"/>
                  </a:lnTo>
                  <a:lnTo>
                    <a:pt x="121" y="3"/>
                  </a:lnTo>
                  <a:lnTo>
                    <a:pt x="122" y="1"/>
                  </a:lnTo>
                  <a:lnTo>
                    <a:pt x="122" y="0"/>
                  </a:lnTo>
                  <a:lnTo>
                    <a:pt x="138" y="0"/>
                  </a:lnTo>
                  <a:lnTo>
                    <a:pt x="146" y="0"/>
                  </a:lnTo>
                  <a:lnTo>
                    <a:pt x="154" y="3"/>
                  </a:lnTo>
                  <a:lnTo>
                    <a:pt x="157" y="4"/>
                  </a:lnTo>
                  <a:lnTo>
                    <a:pt x="168" y="11"/>
                  </a:lnTo>
                  <a:lnTo>
                    <a:pt x="173" y="14"/>
                  </a:lnTo>
                  <a:lnTo>
                    <a:pt x="179" y="16"/>
                  </a:lnTo>
                  <a:lnTo>
                    <a:pt x="180" y="17"/>
                  </a:lnTo>
                  <a:lnTo>
                    <a:pt x="183" y="20"/>
                  </a:lnTo>
                  <a:lnTo>
                    <a:pt x="187" y="21"/>
                  </a:lnTo>
                  <a:lnTo>
                    <a:pt x="191" y="22"/>
                  </a:lnTo>
                  <a:lnTo>
                    <a:pt x="191" y="24"/>
                  </a:lnTo>
                  <a:lnTo>
                    <a:pt x="191" y="26"/>
                  </a:lnTo>
                  <a:lnTo>
                    <a:pt x="197" y="37"/>
                  </a:lnTo>
                  <a:lnTo>
                    <a:pt x="199" y="43"/>
                  </a:lnTo>
                  <a:lnTo>
                    <a:pt x="199" y="49"/>
                  </a:lnTo>
                  <a:lnTo>
                    <a:pt x="199" y="67"/>
                  </a:lnTo>
                  <a:lnTo>
                    <a:pt x="199" y="77"/>
                  </a:lnTo>
                  <a:lnTo>
                    <a:pt x="202" y="85"/>
                  </a:lnTo>
                  <a:lnTo>
                    <a:pt x="202" y="87"/>
                  </a:lnTo>
                  <a:lnTo>
                    <a:pt x="201" y="90"/>
                  </a:lnTo>
                  <a:lnTo>
                    <a:pt x="197" y="93"/>
                  </a:lnTo>
                  <a:lnTo>
                    <a:pt x="193" y="97"/>
                  </a:lnTo>
                  <a:lnTo>
                    <a:pt x="191" y="100"/>
                  </a:lnTo>
                  <a:lnTo>
                    <a:pt x="189" y="103"/>
                  </a:lnTo>
                  <a:lnTo>
                    <a:pt x="189" y="106"/>
                  </a:lnTo>
                  <a:lnTo>
                    <a:pt x="191" y="1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0" name="Freeform 739"/>
            <p:cNvSpPr>
              <a:spLocks/>
            </p:cNvSpPr>
            <p:nvPr/>
          </p:nvSpPr>
          <p:spPr bwMode="auto">
            <a:xfrm>
              <a:off x="4986339" y="4897439"/>
              <a:ext cx="198437" cy="214312"/>
            </a:xfrm>
            <a:custGeom>
              <a:avLst/>
              <a:gdLst>
                <a:gd name="T0" fmla="*/ 2147483647 w 135"/>
                <a:gd name="T1" fmla="*/ 2147483647 h 135"/>
                <a:gd name="T2" fmla="*/ 2147483647 w 135"/>
                <a:gd name="T3" fmla="*/ 2147483647 h 135"/>
                <a:gd name="T4" fmla="*/ 2147483647 w 135"/>
                <a:gd name="T5" fmla="*/ 2147483647 h 135"/>
                <a:gd name="T6" fmla="*/ 2147483647 w 135"/>
                <a:gd name="T7" fmla="*/ 2147483647 h 135"/>
                <a:gd name="T8" fmla="*/ 2147483647 w 135"/>
                <a:gd name="T9" fmla="*/ 2147483647 h 135"/>
                <a:gd name="T10" fmla="*/ 2147483647 w 135"/>
                <a:gd name="T11" fmla="*/ 2147483647 h 135"/>
                <a:gd name="T12" fmla="*/ 2147483647 w 135"/>
                <a:gd name="T13" fmla="*/ 2147483647 h 135"/>
                <a:gd name="T14" fmla="*/ 2147483647 w 135"/>
                <a:gd name="T15" fmla="*/ 2147483647 h 135"/>
                <a:gd name="T16" fmla="*/ 2147483647 w 135"/>
                <a:gd name="T17" fmla="*/ 2147483647 h 135"/>
                <a:gd name="T18" fmla="*/ 2147483647 w 135"/>
                <a:gd name="T19" fmla="*/ 2147483647 h 135"/>
                <a:gd name="T20" fmla="*/ 2147483647 w 135"/>
                <a:gd name="T21" fmla="*/ 2147483647 h 135"/>
                <a:gd name="T22" fmla="*/ 2147483647 w 135"/>
                <a:gd name="T23" fmla="*/ 2147483647 h 135"/>
                <a:gd name="T24" fmla="*/ 2147483647 w 135"/>
                <a:gd name="T25" fmla="*/ 2147483647 h 135"/>
                <a:gd name="T26" fmla="*/ 2147483647 w 135"/>
                <a:gd name="T27" fmla="*/ 2147483647 h 135"/>
                <a:gd name="T28" fmla="*/ 2147483647 w 135"/>
                <a:gd name="T29" fmla="*/ 2147483647 h 135"/>
                <a:gd name="T30" fmla="*/ 0 w 135"/>
                <a:gd name="T31" fmla="*/ 2147483647 h 135"/>
                <a:gd name="T32" fmla="*/ 2147483647 w 135"/>
                <a:gd name="T33" fmla="*/ 2147483647 h 135"/>
                <a:gd name="T34" fmla="*/ 2147483647 w 135"/>
                <a:gd name="T35" fmla="*/ 2147483647 h 135"/>
                <a:gd name="T36" fmla="*/ 2147483647 w 135"/>
                <a:gd name="T37" fmla="*/ 2147483647 h 135"/>
                <a:gd name="T38" fmla="*/ 2147483647 w 135"/>
                <a:gd name="T39" fmla="*/ 2147483647 h 135"/>
                <a:gd name="T40" fmla="*/ 2147483647 w 135"/>
                <a:gd name="T41" fmla="*/ 2147483647 h 135"/>
                <a:gd name="T42" fmla="*/ 2147483647 w 135"/>
                <a:gd name="T43" fmla="*/ 2147483647 h 135"/>
                <a:gd name="T44" fmla="*/ 2147483647 w 135"/>
                <a:gd name="T45" fmla="*/ 2147483647 h 135"/>
                <a:gd name="T46" fmla="*/ 2147483647 w 135"/>
                <a:gd name="T47" fmla="*/ 2147483647 h 135"/>
                <a:gd name="T48" fmla="*/ 2147483647 w 135"/>
                <a:gd name="T49" fmla="*/ 2147483647 h 135"/>
                <a:gd name="T50" fmla="*/ 2147483647 w 135"/>
                <a:gd name="T51" fmla="*/ 2147483647 h 135"/>
                <a:gd name="T52" fmla="*/ 2147483647 w 135"/>
                <a:gd name="T53" fmla="*/ 2147483647 h 135"/>
                <a:gd name="T54" fmla="*/ 2147483647 w 135"/>
                <a:gd name="T55" fmla="*/ 0 h 135"/>
                <a:gd name="T56" fmla="*/ 2147483647 w 135"/>
                <a:gd name="T57" fmla="*/ 0 h 135"/>
                <a:gd name="T58" fmla="*/ 2147483647 w 135"/>
                <a:gd name="T59" fmla="*/ 2147483647 h 135"/>
                <a:gd name="T60" fmla="*/ 2147483647 w 135"/>
                <a:gd name="T61" fmla="*/ 2147483647 h 135"/>
                <a:gd name="T62" fmla="*/ 2147483647 w 135"/>
                <a:gd name="T63" fmla="*/ 2147483647 h 135"/>
                <a:gd name="T64" fmla="*/ 2147483647 w 135"/>
                <a:gd name="T65" fmla="*/ 2147483647 h 135"/>
                <a:gd name="T66" fmla="*/ 2147483647 w 135"/>
                <a:gd name="T67" fmla="*/ 2147483647 h 135"/>
                <a:gd name="T68" fmla="*/ 2147483647 w 135"/>
                <a:gd name="T69" fmla="*/ 2147483647 h 135"/>
                <a:gd name="T70" fmla="*/ 2147483647 w 135"/>
                <a:gd name="T71" fmla="*/ 2147483647 h 135"/>
                <a:gd name="T72" fmla="*/ 2147483647 w 135"/>
                <a:gd name="T73" fmla="*/ 2147483647 h 135"/>
                <a:gd name="T74" fmla="*/ 2147483647 w 135"/>
                <a:gd name="T75" fmla="*/ 2147483647 h 135"/>
                <a:gd name="T76" fmla="*/ 2147483647 w 135"/>
                <a:gd name="T77" fmla="*/ 2147483647 h 135"/>
                <a:gd name="T78" fmla="*/ 2147483647 w 135"/>
                <a:gd name="T79" fmla="*/ 2147483647 h 135"/>
                <a:gd name="T80" fmla="*/ 2147483647 w 135"/>
                <a:gd name="T81" fmla="*/ 2147483647 h 135"/>
                <a:gd name="T82" fmla="*/ 2147483647 w 135"/>
                <a:gd name="T83" fmla="*/ 2147483647 h 135"/>
                <a:gd name="T84" fmla="*/ 2147483647 w 135"/>
                <a:gd name="T85" fmla="*/ 2147483647 h 135"/>
                <a:gd name="T86" fmla="*/ 2147483647 w 135"/>
                <a:gd name="T87" fmla="*/ 2147483647 h 135"/>
                <a:gd name="T88" fmla="*/ 2147483647 w 135"/>
                <a:gd name="T89" fmla="*/ 2147483647 h 135"/>
                <a:gd name="T90" fmla="*/ 2147483647 w 135"/>
                <a:gd name="T91" fmla="*/ 2147483647 h 135"/>
                <a:gd name="T92" fmla="*/ 2147483647 w 135"/>
                <a:gd name="T93" fmla="*/ 2147483647 h 135"/>
                <a:gd name="T94" fmla="*/ 2147483647 w 135"/>
                <a:gd name="T95" fmla="*/ 2147483647 h 135"/>
                <a:gd name="T96" fmla="*/ 2147483647 w 135"/>
                <a:gd name="T97" fmla="*/ 2147483647 h 13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5"/>
                <a:gd name="T148" fmla="*/ 0 h 135"/>
                <a:gd name="T149" fmla="*/ 135 w 135"/>
                <a:gd name="T150" fmla="*/ 135 h 13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5" h="135">
                  <a:moveTo>
                    <a:pt x="103" y="135"/>
                  </a:moveTo>
                  <a:lnTo>
                    <a:pt x="103" y="135"/>
                  </a:lnTo>
                  <a:lnTo>
                    <a:pt x="98" y="131"/>
                  </a:lnTo>
                  <a:lnTo>
                    <a:pt x="93" y="129"/>
                  </a:lnTo>
                  <a:lnTo>
                    <a:pt x="87" y="128"/>
                  </a:lnTo>
                  <a:lnTo>
                    <a:pt x="81" y="129"/>
                  </a:lnTo>
                  <a:lnTo>
                    <a:pt x="76" y="130"/>
                  </a:lnTo>
                  <a:lnTo>
                    <a:pt x="73" y="130"/>
                  </a:lnTo>
                  <a:lnTo>
                    <a:pt x="64" y="123"/>
                  </a:lnTo>
                  <a:lnTo>
                    <a:pt x="59" y="122"/>
                  </a:lnTo>
                  <a:lnTo>
                    <a:pt x="55" y="120"/>
                  </a:lnTo>
                  <a:lnTo>
                    <a:pt x="52" y="116"/>
                  </a:lnTo>
                  <a:lnTo>
                    <a:pt x="51" y="112"/>
                  </a:lnTo>
                  <a:lnTo>
                    <a:pt x="48" y="102"/>
                  </a:lnTo>
                  <a:lnTo>
                    <a:pt x="47" y="91"/>
                  </a:lnTo>
                  <a:lnTo>
                    <a:pt x="45" y="88"/>
                  </a:lnTo>
                  <a:lnTo>
                    <a:pt x="41" y="85"/>
                  </a:lnTo>
                  <a:lnTo>
                    <a:pt x="34" y="84"/>
                  </a:lnTo>
                  <a:lnTo>
                    <a:pt x="29" y="80"/>
                  </a:lnTo>
                  <a:lnTo>
                    <a:pt x="26" y="77"/>
                  </a:lnTo>
                  <a:lnTo>
                    <a:pt x="22" y="73"/>
                  </a:lnTo>
                  <a:lnTo>
                    <a:pt x="15" y="64"/>
                  </a:lnTo>
                  <a:lnTo>
                    <a:pt x="9" y="53"/>
                  </a:lnTo>
                  <a:lnTo>
                    <a:pt x="5" y="48"/>
                  </a:lnTo>
                  <a:lnTo>
                    <a:pt x="3" y="46"/>
                  </a:lnTo>
                  <a:lnTo>
                    <a:pt x="0" y="45"/>
                  </a:lnTo>
                  <a:lnTo>
                    <a:pt x="1" y="44"/>
                  </a:lnTo>
                  <a:lnTo>
                    <a:pt x="1" y="41"/>
                  </a:lnTo>
                  <a:lnTo>
                    <a:pt x="9" y="40"/>
                  </a:lnTo>
                  <a:lnTo>
                    <a:pt x="13" y="40"/>
                  </a:lnTo>
                  <a:lnTo>
                    <a:pt x="17" y="41"/>
                  </a:lnTo>
                  <a:lnTo>
                    <a:pt x="19" y="43"/>
                  </a:lnTo>
                  <a:lnTo>
                    <a:pt x="23" y="43"/>
                  </a:lnTo>
                  <a:lnTo>
                    <a:pt x="29" y="40"/>
                  </a:lnTo>
                  <a:lnTo>
                    <a:pt x="37" y="35"/>
                  </a:lnTo>
                  <a:lnTo>
                    <a:pt x="43" y="28"/>
                  </a:lnTo>
                  <a:lnTo>
                    <a:pt x="50" y="22"/>
                  </a:lnTo>
                  <a:lnTo>
                    <a:pt x="57" y="18"/>
                  </a:lnTo>
                  <a:lnTo>
                    <a:pt x="59" y="15"/>
                  </a:lnTo>
                  <a:lnTo>
                    <a:pt x="60" y="14"/>
                  </a:lnTo>
                  <a:lnTo>
                    <a:pt x="62" y="9"/>
                  </a:lnTo>
                  <a:lnTo>
                    <a:pt x="65" y="5"/>
                  </a:lnTo>
                  <a:lnTo>
                    <a:pt x="71" y="1"/>
                  </a:lnTo>
                  <a:lnTo>
                    <a:pt x="75" y="0"/>
                  </a:lnTo>
                  <a:lnTo>
                    <a:pt x="78" y="0"/>
                  </a:lnTo>
                  <a:lnTo>
                    <a:pt x="81" y="0"/>
                  </a:lnTo>
                  <a:lnTo>
                    <a:pt x="84" y="1"/>
                  </a:lnTo>
                  <a:lnTo>
                    <a:pt x="87" y="6"/>
                  </a:lnTo>
                  <a:lnTo>
                    <a:pt x="90" y="8"/>
                  </a:lnTo>
                  <a:lnTo>
                    <a:pt x="100" y="13"/>
                  </a:lnTo>
                  <a:lnTo>
                    <a:pt x="111" y="18"/>
                  </a:lnTo>
                  <a:lnTo>
                    <a:pt x="116" y="20"/>
                  </a:lnTo>
                  <a:lnTo>
                    <a:pt x="121" y="21"/>
                  </a:lnTo>
                  <a:lnTo>
                    <a:pt x="126" y="24"/>
                  </a:lnTo>
                  <a:lnTo>
                    <a:pt x="130" y="27"/>
                  </a:lnTo>
                  <a:lnTo>
                    <a:pt x="132" y="33"/>
                  </a:lnTo>
                  <a:lnTo>
                    <a:pt x="132" y="39"/>
                  </a:lnTo>
                  <a:lnTo>
                    <a:pt x="134" y="53"/>
                  </a:lnTo>
                  <a:lnTo>
                    <a:pt x="134" y="57"/>
                  </a:lnTo>
                  <a:lnTo>
                    <a:pt x="131" y="60"/>
                  </a:lnTo>
                  <a:lnTo>
                    <a:pt x="128" y="63"/>
                  </a:lnTo>
                  <a:lnTo>
                    <a:pt x="127" y="66"/>
                  </a:lnTo>
                  <a:lnTo>
                    <a:pt x="126" y="70"/>
                  </a:lnTo>
                  <a:lnTo>
                    <a:pt x="126" y="73"/>
                  </a:lnTo>
                  <a:lnTo>
                    <a:pt x="127" y="79"/>
                  </a:lnTo>
                  <a:lnTo>
                    <a:pt x="131" y="86"/>
                  </a:lnTo>
                  <a:lnTo>
                    <a:pt x="134" y="93"/>
                  </a:lnTo>
                  <a:lnTo>
                    <a:pt x="135" y="101"/>
                  </a:lnTo>
                  <a:lnTo>
                    <a:pt x="134" y="105"/>
                  </a:lnTo>
                  <a:lnTo>
                    <a:pt x="132" y="111"/>
                  </a:lnTo>
                  <a:lnTo>
                    <a:pt x="128" y="115"/>
                  </a:lnTo>
                  <a:lnTo>
                    <a:pt x="118" y="123"/>
                  </a:lnTo>
                  <a:lnTo>
                    <a:pt x="108" y="130"/>
                  </a:lnTo>
                  <a:lnTo>
                    <a:pt x="104" y="133"/>
                  </a:lnTo>
                  <a:lnTo>
                    <a:pt x="103" y="134"/>
                  </a:lnTo>
                  <a:lnTo>
                    <a:pt x="103" y="1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1" name="Freeform 740"/>
            <p:cNvSpPr>
              <a:spLocks/>
            </p:cNvSpPr>
            <p:nvPr/>
          </p:nvSpPr>
          <p:spPr bwMode="auto">
            <a:xfrm>
              <a:off x="4902204" y="4668841"/>
              <a:ext cx="295275" cy="296862"/>
            </a:xfrm>
            <a:custGeom>
              <a:avLst/>
              <a:gdLst>
                <a:gd name="T0" fmla="*/ 2147483647 w 202"/>
                <a:gd name="T1" fmla="*/ 2147483647 h 187"/>
                <a:gd name="T2" fmla="*/ 2147483647 w 202"/>
                <a:gd name="T3" fmla="*/ 2147483647 h 187"/>
                <a:gd name="T4" fmla="*/ 2147483647 w 202"/>
                <a:gd name="T5" fmla="*/ 2147483647 h 187"/>
                <a:gd name="T6" fmla="*/ 2147483647 w 202"/>
                <a:gd name="T7" fmla="*/ 2147483647 h 187"/>
                <a:gd name="T8" fmla="*/ 2147483647 w 202"/>
                <a:gd name="T9" fmla="*/ 2147483647 h 187"/>
                <a:gd name="T10" fmla="*/ 2147483647 w 202"/>
                <a:gd name="T11" fmla="*/ 2147483647 h 187"/>
                <a:gd name="T12" fmla="*/ 2147483647 w 202"/>
                <a:gd name="T13" fmla="*/ 2147483647 h 187"/>
                <a:gd name="T14" fmla="*/ 2147483647 w 202"/>
                <a:gd name="T15" fmla="*/ 2147483647 h 187"/>
                <a:gd name="T16" fmla="*/ 2147483647 w 202"/>
                <a:gd name="T17" fmla="*/ 2147483647 h 187"/>
                <a:gd name="T18" fmla="*/ 2147483647 w 202"/>
                <a:gd name="T19" fmla="*/ 2147483647 h 187"/>
                <a:gd name="T20" fmla="*/ 2147483647 w 202"/>
                <a:gd name="T21" fmla="*/ 2147483647 h 187"/>
                <a:gd name="T22" fmla="*/ 2147483647 w 202"/>
                <a:gd name="T23" fmla="*/ 2147483647 h 187"/>
                <a:gd name="T24" fmla="*/ 2147483647 w 202"/>
                <a:gd name="T25" fmla="*/ 2147483647 h 187"/>
                <a:gd name="T26" fmla="*/ 2147483647 w 202"/>
                <a:gd name="T27" fmla="*/ 2147483647 h 187"/>
                <a:gd name="T28" fmla="*/ 2147483647 w 202"/>
                <a:gd name="T29" fmla="*/ 2147483647 h 187"/>
                <a:gd name="T30" fmla="*/ 2147483647 w 202"/>
                <a:gd name="T31" fmla="*/ 2147483647 h 187"/>
                <a:gd name="T32" fmla="*/ 2147483647 w 202"/>
                <a:gd name="T33" fmla="*/ 2147483647 h 187"/>
                <a:gd name="T34" fmla="*/ 2147483647 w 202"/>
                <a:gd name="T35" fmla="*/ 2147483647 h 187"/>
                <a:gd name="T36" fmla="*/ 2147483647 w 202"/>
                <a:gd name="T37" fmla="*/ 2147483647 h 187"/>
                <a:gd name="T38" fmla="*/ 2147483647 w 202"/>
                <a:gd name="T39" fmla="*/ 2147483647 h 187"/>
                <a:gd name="T40" fmla="*/ 2147483647 w 202"/>
                <a:gd name="T41" fmla="*/ 2147483647 h 187"/>
                <a:gd name="T42" fmla="*/ 2147483647 w 202"/>
                <a:gd name="T43" fmla="*/ 2147483647 h 187"/>
                <a:gd name="T44" fmla="*/ 2147483647 w 202"/>
                <a:gd name="T45" fmla="*/ 2147483647 h 187"/>
                <a:gd name="T46" fmla="*/ 2147483647 w 202"/>
                <a:gd name="T47" fmla="*/ 2147483647 h 187"/>
                <a:gd name="T48" fmla="*/ 2147483647 w 202"/>
                <a:gd name="T49" fmla="*/ 2147483647 h 187"/>
                <a:gd name="T50" fmla="*/ 2147483647 w 202"/>
                <a:gd name="T51" fmla="*/ 2147483647 h 187"/>
                <a:gd name="T52" fmla="*/ 2147483647 w 202"/>
                <a:gd name="T53" fmla="*/ 2147483647 h 187"/>
                <a:gd name="T54" fmla="*/ 2147483647 w 202"/>
                <a:gd name="T55" fmla="*/ 2147483647 h 187"/>
                <a:gd name="T56" fmla="*/ 2147483647 w 202"/>
                <a:gd name="T57" fmla="*/ 2147483647 h 187"/>
                <a:gd name="T58" fmla="*/ 2147483647 w 202"/>
                <a:gd name="T59" fmla="*/ 2147483647 h 187"/>
                <a:gd name="T60" fmla="*/ 2147483647 w 202"/>
                <a:gd name="T61" fmla="*/ 2147483647 h 187"/>
                <a:gd name="T62" fmla="*/ 2147483647 w 202"/>
                <a:gd name="T63" fmla="*/ 2147483647 h 187"/>
                <a:gd name="T64" fmla="*/ 2147483647 w 202"/>
                <a:gd name="T65" fmla="*/ 2147483647 h 187"/>
                <a:gd name="T66" fmla="*/ 2147483647 w 202"/>
                <a:gd name="T67" fmla="*/ 2147483647 h 187"/>
                <a:gd name="T68" fmla="*/ 2147483647 w 202"/>
                <a:gd name="T69" fmla="*/ 2147483647 h 187"/>
                <a:gd name="T70" fmla="*/ 2147483647 w 202"/>
                <a:gd name="T71" fmla="*/ 2147483647 h 187"/>
                <a:gd name="T72" fmla="*/ 2147483647 w 202"/>
                <a:gd name="T73" fmla="*/ 0 h 187"/>
                <a:gd name="T74" fmla="*/ 2147483647 w 202"/>
                <a:gd name="T75" fmla="*/ 0 h 187"/>
                <a:gd name="T76" fmla="*/ 2147483647 w 202"/>
                <a:gd name="T77" fmla="*/ 2147483647 h 187"/>
                <a:gd name="T78" fmla="*/ 2147483647 w 202"/>
                <a:gd name="T79" fmla="*/ 2147483647 h 187"/>
                <a:gd name="T80" fmla="*/ 2147483647 w 202"/>
                <a:gd name="T81" fmla="*/ 2147483647 h 187"/>
                <a:gd name="T82" fmla="*/ 2147483647 w 202"/>
                <a:gd name="T83" fmla="*/ 2147483647 h 187"/>
                <a:gd name="T84" fmla="*/ 2147483647 w 202"/>
                <a:gd name="T85" fmla="*/ 2147483647 h 187"/>
                <a:gd name="T86" fmla="*/ 2147483647 w 202"/>
                <a:gd name="T87" fmla="*/ 2147483647 h 187"/>
                <a:gd name="T88" fmla="*/ 2147483647 w 202"/>
                <a:gd name="T89" fmla="*/ 2147483647 h 187"/>
                <a:gd name="T90" fmla="*/ 2147483647 w 202"/>
                <a:gd name="T91" fmla="*/ 2147483647 h 187"/>
                <a:gd name="T92" fmla="*/ 2147483647 w 202"/>
                <a:gd name="T93" fmla="*/ 2147483647 h 187"/>
                <a:gd name="T94" fmla="*/ 2147483647 w 202"/>
                <a:gd name="T95" fmla="*/ 2147483647 h 187"/>
                <a:gd name="T96" fmla="*/ 2147483647 w 202"/>
                <a:gd name="T97" fmla="*/ 2147483647 h 187"/>
                <a:gd name="T98" fmla="*/ 2147483647 w 202"/>
                <a:gd name="T99" fmla="*/ 2147483647 h 1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87"/>
                <a:gd name="T152" fmla="*/ 202 w 202"/>
                <a:gd name="T153" fmla="*/ 187 h 1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87">
                  <a:moveTo>
                    <a:pt x="190" y="112"/>
                  </a:moveTo>
                  <a:lnTo>
                    <a:pt x="190" y="112"/>
                  </a:lnTo>
                  <a:lnTo>
                    <a:pt x="180" y="118"/>
                  </a:lnTo>
                  <a:lnTo>
                    <a:pt x="169" y="122"/>
                  </a:lnTo>
                  <a:lnTo>
                    <a:pt x="147" y="131"/>
                  </a:lnTo>
                  <a:lnTo>
                    <a:pt x="145" y="132"/>
                  </a:lnTo>
                  <a:lnTo>
                    <a:pt x="142" y="136"/>
                  </a:lnTo>
                  <a:lnTo>
                    <a:pt x="142" y="140"/>
                  </a:lnTo>
                  <a:lnTo>
                    <a:pt x="142" y="145"/>
                  </a:lnTo>
                  <a:lnTo>
                    <a:pt x="139" y="144"/>
                  </a:lnTo>
                  <a:lnTo>
                    <a:pt x="136" y="144"/>
                  </a:lnTo>
                  <a:lnTo>
                    <a:pt x="133" y="144"/>
                  </a:lnTo>
                  <a:lnTo>
                    <a:pt x="129" y="145"/>
                  </a:lnTo>
                  <a:lnTo>
                    <a:pt x="123" y="149"/>
                  </a:lnTo>
                  <a:lnTo>
                    <a:pt x="120" y="153"/>
                  </a:lnTo>
                  <a:lnTo>
                    <a:pt x="118" y="158"/>
                  </a:lnTo>
                  <a:lnTo>
                    <a:pt x="117" y="159"/>
                  </a:lnTo>
                  <a:lnTo>
                    <a:pt x="115" y="162"/>
                  </a:lnTo>
                  <a:lnTo>
                    <a:pt x="108" y="166"/>
                  </a:lnTo>
                  <a:lnTo>
                    <a:pt x="101" y="172"/>
                  </a:lnTo>
                  <a:lnTo>
                    <a:pt x="95" y="179"/>
                  </a:lnTo>
                  <a:lnTo>
                    <a:pt x="87" y="184"/>
                  </a:lnTo>
                  <a:lnTo>
                    <a:pt x="81" y="187"/>
                  </a:lnTo>
                  <a:lnTo>
                    <a:pt x="77" y="187"/>
                  </a:lnTo>
                  <a:lnTo>
                    <a:pt x="75" y="185"/>
                  </a:lnTo>
                  <a:lnTo>
                    <a:pt x="71" y="184"/>
                  </a:lnTo>
                  <a:lnTo>
                    <a:pt x="67" y="184"/>
                  </a:lnTo>
                  <a:lnTo>
                    <a:pt x="59" y="185"/>
                  </a:lnTo>
                  <a:lnTo>
                    <a:pt x="53" y="185"/>
                  </a:lnTo>
                  <a:lnTo>
                    <a:pt x="48" y="185"/>
                  </a:lnTo>
                  <a:lnTo>
                    <a:pt x="43" y="182"/>
                  </a:lnTo>
                  <a:lnTo>
                    <a:pt x="33" y="182"/>
                  </a:lnTo>
                  <a:lnTo>
                    <a:pt x="21" y="183"/>
                  </a:lnTo>
                  <a:lnTo>
                    <a:pt x="0" y="187"/>
                  </a:lnTo>
                  <a:lnTo>
                    <a:pt x="2" y="94"/>
                  </a:lnTo>
                  <a:lnTo>
                    <a:pt x="9" y="94"/>
                  </a:lnTo>
                  <a:lnTo>
                    <a:pt x="20" y="93"/>
                  </a:lnTo>
                  <a:lnTo>
                    <a:pt x="35" y="90"/>
                  </a:lnTo>
                  <a:lnTo>
                    <a:pt x="35" y="55"/>
                  </a:lnTo>
                  <a:lnTo>
                    <a:pt x="42" y="57"/>
                  </a:lnTo>
                  <a:lnTo>
                    <a:pt x="47" y="62"/>
                  </a:lnTo>
                  <a:lnTo>
                    <a:pt x="49" y="63"/>
                  </a:lnTo>
                  <a:lnTo>
                    <a:pt x="53" y="62"/>
                  </a:lnTo>
                  <a:lnTo>
                    <a:pt x="61" y="60"/>
                  </a:lnTo>
                  <a:lnTo>
                    <a:pt x="59" y="64"/>
                  </a:lnTo>
                  <a:lnTo>
                    <a:pt x="59" y="68"/>
                  </a:lnTo>
                  <a:lnTo>
                    <a:pt x="59" y="70"/>
                  </a:lnTo>
                  <a:lnTo>
                    <a:pt x="62" y="72"/>
                  </a:lnTo>
                  <a:lnTo>
                    <a:pt x="67" y="73"/>
                  </a:lnTo>
                  <a:lnTo>
                    <a:pt x="73" y="73"/>
                  </a:lnTo>
                  <a:lnTo>
                    <a:pt x="78" y="72"/>
                  </a:lnTo>
                  <a:lnTo>
                    <a:pt x="90" y="64"/>
                  </a:lnTo>
                  <a:lnTo>
                    <a:pt x="91" y="64"/>
                  </a:lnTo>
                  <a:lnTo>
                    <a:pt x="92" y="64"/>
                  </a:lnTo>
                  <a:lnTo>
                    <a:pt x="95" y="67"/>
                  </a:lnTo>
                  <a:lnTo>
                    <a:pt x="98" y="72"/>
                  </a:lnTo>
                  <a:lnTo>
                    <a:pt x="105" y="81"/>
                  </a:lnTo>
                  <a:lnTo>
                    <a:pt x="109" y="86"/>
                  </a:lnTo>
                  <a:lnTo>
                    <a:pt x="114" y="88"/>
                  </a:lnTo>
                  <a:lnTo>
                    <a:pt x="117" y="90"/>
                  </a:lnTo>
                  <a:lnTo>
                    <a:pt x="118" y="94"/>
                  </a:lnTo>
                  <a:lnTo>
                    <a:pt x="119" y="96"/>
                  </a:lnTo>
                  <a:lnTo>
                    <a:pt x="122" y="100"/>
                  </a:lnTo>
                  <a:lnTo>
                    <a:pt x="124" y="101"/>
                  </a:lnTo>
                  <a:lnTo>
                    <a:pt x="129" y="102"/>
                  </a:lnTo>
                  <a:lnTo>
                    <a:pt x="133" y="102"/>
                  </a:lnTo>
                  <a:lnTo>
                    <a:pt x="134" y="101"/>
                  </a:lnTo>
                  <a:lnTo>
                    <a:pt x="134" y="89"/>
                  </a:lnTo>
                  <a:lnTo>
                    <a:pt x="134" y="85"/>
                  </a:lnTo>
                  <a:lnTo>
                    <a:pt x="134" y="82"/>
                  </a:lnTo>
                  <a:lnTo>
                    <a:pt x="133" y="82"/>
                  </a:lnTo>
                  <a:lnTo>
                    <a:pt x="129" y="82"/>
                  </a:lnTo>
                  <a:lnTo>
                    <a:pt x="125" y="80"/>
                  </a:lnTo>
                  <a:lnTo>
                    <a:pt x="120" y="77"/>
                  </a:lnTo>
                  <a:lnTo>
                    <a:pt x="118" y="74"/>
                  </a:lnTo>
                  <a:lnTo>
                    <a:pt x="114" y="69"/>
                  </a:lnTo>
                  <a:lnTo>
                    <a:pt x="112" y="64"/>
                  </a:lnTo>
                  <a:lnTo>
                    <a:pt x="110" y="60"/>
                  </a:lnTo>
                  <a:lnTo>
                    <a:pt x="110" y="55"/>
                  </a:lnTo>
                  <a:lnTo>
                    <a:pt x="112" y="37"/>
                  </a:lnTo>
                  <a:lnTo>
                    <a:pt x="113" y="24"/>
                  </a:lnTo>
                  <a:lnTo>
                    <a:pt x="115" y="16"/>
                  </a:lnTo>
                  <a:lnTo>
                    <a:pt x="120" y="9"/>
                  </a:lnTo>
                  <a:lnTo>
                    <a:pt x="120" y="6"/>
                  </a:lnTo>
                  <a:lnTo>
                    <a:pt x="120" y="4"/>
                  </a:lnTo>
                  <a:lnTo>
                    <a:pt x="122" y="2"/>
                  </a:lnTo>
                  <a:lnTo>
                    <a:pt x="122" y="0"/>
                  </a:lnTo>
                  <a:lnTo>
                    <a:pt x="138" y="0"/>
                  </a:lnTo>
                  <a:lnTo>
                    <a:pt x="146" y="0"/>
                  </a:lnTo>
                  <a:lnTo>
                    <a:pt x="153" y="4"/>
                  </a:lnTo>
                  <a:lnTo>
                    <a:pt x="157" y="5"/>
                  </a:lnTo>
                  <a:lnTo>
                    <a:pt x="167" y="12"/>
                  </a:lnTo>
                  <a:lnTo>
                    <a:pt x="172" y="15"/>
                  </a:lnTo>
                  <a:lnTo>
                    <a:pt x="179" y="17"/>
                  </a:lnTo>
                  <a:lnTo>
                    <a:pt x="180" y="18"/>
                  </a:lnTo>
                  <a:lnTo>
                    <a:pt x="183" y="21"/>
                  </a:lnTo>
                  <a:lnTo>
                    <a:pt x="186" y="22"/>
                  </a:lnTo>
                  <a:lnTo>
                    <a:pt x="190" y="23"/>
                  </a:lnTo>
                  <a:lnTo>
                    <a:pt x="190" y="25"/>
                  </a:lnTo>
                  <a:lnTo>
                    <a:pt x="190" y="26"/>
                  </a:lnTo>
                  <a:lnTo>
                    <a:pt x="197" y="38"/>
                  </a:lnTo>
                  <a:lnTo>
                    <a:pt x="199" y="44"/>
                  </a:lnTo>
                  <a:lnTo>
                    <a:pt x="199" y="50"/>
                  </a:lnTo>
                  <a:lnTo>
                    <a:pt x="199" y="68"/>
                  </a:lnTo>
                  <a:lnTo>
                    <a:pt x="199" y="77"/>
                  </a:lnTo>
                  <a:lnTo>
                    <a:pt x="202" y="86"/>
                  </a:lnTo>
                  <a:lnTo>
                    <a:pt x="202" y="88"/>
                  </a:lnTo>
                  <a:lnTo>
                    <a:pt x="200" y="90"/>
                  </a:lnTo>
                  <a:lnTo>
                    <a:pt x="197" y="94"/>
                  </a:lnTo>
                  <a:lnTo>
                    <a:pt x="193" y="98"/>
                  </a:lnTo>
                  <a:lnTo>
                    <a:pt x="190" y="101"/>
                  </a:lnTo>
                  <a:lnTo>
                    <a:pt x="189" y="104"/>
                  </a:lnTo>
                  <a:lnTo>
                    <a:pt x="189" y="107"/>
                  </a:lnTo>
                  <a:lnTo>
                    <a:pt x="190" y="1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2" name="Freeform 741"/>
            <p:cNvSpPr>
              <a:spLocks/>
            </p:cNvSpPr>
            <p:nvPr/>
          </p:nvSpPr>
          <p:spPr bwMode="auto">
            <a:xfrm>
              <a:off x="5351463" y="4567239"/>
              <a:ext cx="11112" cy="17462"/>
            </a:xfrm>
            <a:custGeom>
              <a:avLst/>
              <a:gdLst>
                <a:gd name="T0" fmla="*/ 2147483647 w 8"/>
                <a:gd name="T1" fmla="*/ 2147483647 h 11"/>
                <a:gd name="T2" fmla="*/ 2147483647 w 8"/>
                <a:gd name="T3" fmla="*/ 2147483647 h 11"/>
                <a:gd name="T4" fmla="*/ 2147483647 w 8"/>
                <a:gd name="T5" fmla="*/ 0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0 w 8"/>
                <a:gd name="T19" fmla="*/ 2147483647 h 11"/>
                <a:gd name="T20" fmla="*/ 2147483647 w 8"/>
                <a:gd name="T21" fmla="*/ 2147483647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1"/>
                <a:gd name="T35" fmla="*/ 8 w 8"/>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1">
                  <a:moveTo>
                    <a:pt x="1" y="5"/>
                  </a:moveTo>
                  <a:lnTo>
                    <a:pt x="3" y="2"/>
                  </a:lnTo>
                  <a:lnTo>
                    <a:pt x="4" y="0"/>
                  </a:lnTo>
                  <a:lnTo>
                    <a:pt x="6" y="2"/>
                  </a:lnTo>
                  <a:lnTo>
                    <a:pt x="8" y="3"/>
                  </a:lnTo>
                  <a:lnTo>
                    <a:pt x="8" y="6"/>
                  </a:lnTo>
                  <a:lnTo>
                    <a:pt x="5" y="10"/>
                  </a:lnTo>
                  <a:lnTo>
                    <a:pt x="3" y="11"/>
                  </a:lnTo>
                  <a:lnTo>
                    <a:pt x="0" y="9"/>
                  </a:lnTo>
                  <a:lnTo>
                    <a:pt x="0" y="6"/>
                  </a:lnTo>
                  <a:lnTo>
                    <a:pt x="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3" name="Freeform 742"/>
            <p:cNvSpPr>
              <a:spLocks/>
            </p:cNvSpPr>
            <p:nvPr/>
          </p:nvSpPr>
          <p:spPr bwMode="auto">
            <a:xfrm>
              <a:off x="5343525" y="4595815"/>
              <a:ext cx="7938" cy="19050"/>
            </a:xfrm>
            <a:custGeom>
              <a:avLst/>
              <a:gdLst>
                <a:gd name="T0" fmla="*/ 2147483647 w 6"/>
                <a:gd name="T1" fmla="*/ 2147483647 h 12"/>
                <a:gd name="T2" fmla="*/ 2147483647 w 6"/>
                <a:gd name="T3" fmla="*/ 2147483647 h 12"/>
                <a:gd name="T4" fmla="*/ 2147483647 w 6"/>
                <a:gd name="T5" fmla="*/ 2147483647 h 12"/>
                <a:gd name="T6" fmla="*/ 0 w 6"/>
                <a:gd name="T7" fmla="*/ 2147483647 h 12"/>
                <a:gd name="T8" fmla="*/ 0 w 6"/>
                <a:gd name="T9" fmla="*/ 2147483647 h 12"/>
                <a:gd name="T10" fmla="*/ 2147483647 w 6"/>
                <a:gd name="T11" fmla="*/ 2147483647 h 12"/>
                <a:gd name="T12" fmla="*/ 2147483647 w 6"/>
                <a:gd name="T13" fmla="*/ 2147483647 h 12"/>
                <a:gd name="T14" fmla="*/ 0 w 6"/>
                <a:gd name="T15" fmla="*/ 2147483647 h 12"/>
                <a:gd name="T16" fmla="*/ 0 w 6"/>
                <a:gd name="T17" fmla="*/ 0 h 12"/>
                <a:gd name="T18" fmla="*/ 2147483647 w 6"/>
                <a:gd name="T19" fmla="*/ 0 h 12"/>
                <a:gd name="T20" fmla="*/ 2147483647 w 6"/>
                <a:gd name="T21" fmla="*/ 0 h 12"/>
                <a:gd name="T22" fmla="*/ 2147483647 w 6"/>
                <a:gd name="T23" fmla="*/ 2147483647 h 12"/>
                <a:gd name="T24" fmla="*/ 2147483647 w 6"/>
                <a:gd name="T25" fmla="*/ 2147483647 h 12"/>
                <a:gd name="T26" fmla="*/ 2147483647 w 6"/>
                <a:gd name="T27" fmla="*/ 2147483647 h 12"/>
                <a:gd name="T28" fmla="*/ 2147483647 w 6"/>
                <a:gd name="T29" fmla="*/ 2147483647 h 12"/>
                <a:gd name="T30" fmla="*/ 2147483647 w 6"/>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2"/>
                <a:gd name="T50" fmla="*/ 6 w 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2">
                  <a:moveTo>
                    <a:pt x="6" y="11"/>
                  </a:moveTo>
                  <a:lnTo>
                    <a:pt x="4" y="12"/>
                  </a:lnTo>
                  <a:lnTo>
                    <a:pt x="1" y="12"/>
                  </a:lnTo>
                  <a:lnTo>
                    <a:pt x="0" y="10"/>
                  </a:lnTo>
                  <a:lnTo>
                    <a:pt x="0" y="8"/>
                  </a:lnTo>
                  <a:lnTo>
                    <a:pt x="1" y="6"/>
                  </a:lnTo>
                  <a:lnTo>
                    <a:pt x="1" y="5"/>
                  </a:lnTo>
                  <a:lnTo>
                    <a:pt x="0" y="3"/>
                  </a:lnTo>
                  <a:lnTo>
                    <a:pt x="0" y="0"/>
                  </a:lnTo>
                  <a:lnTo>
                    <a:pt x="1" y="0"/>
                  </a:lnTo>
                  <a:lnTo>
                    <a:pt x="2" y="0"/>
                  </a:lnTo>
                  <a:lnTo>
                    <a:pt x="5" y="1"/>
                  </a:lnTo>
                  <a:lnTo>
                    <a:pt x="5" y="4"/>
                  </a:lnTo>
                  <a:lnTo>
                    <a:pt x="6" y="7"/>
                  </a:lnTo>
                  <a:lnTo>
                    <a:pt x="6" y="8"/>
                  </a:lnTo>
                  <a:lnTo>
                    <a:pt x="6"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4" name="Freeform 743"/>
            <p:cNvSpPr>
              <a:spLocks/>
            </p:cNvSpPr>
            <p:nvPr/>
          </p:nvSpPr>
          <p:spPr bwMode="auto">
            <a:xfrm>
              <a:off x="5349879" y="4565655"/>
              <a:ext cx="11113" cy="17463"/>
            </a:xfrm>
            <a:custGeom>
              <a:avLst/>
              <a:gdLst>
                <a:gd name="T0" fmla="*/ 2147483647 w 7"/>
                <a:gd name="T1" fmla="*/ 2147483647 h 11"/>
                <a:gd name="T2" fmla="*/ 2147483647 w 7"/>
                <a:gd name="T3" fmla="*/ 2147483647 h 11"/>
                <a:gd name="T4" fmla="*/ 2147483647 w 7"/>
                <a:gd name="T5" fmla="*/ 2147483647 h 11"/>
                <a:gd name="T6" fmla="*/ 2147483647 w 7"/>
                <a:gd name="T7" fmla="*/ 0 h 11"/>
                <a:gd name="T8" fmla="*/ 2147483647 w 7"/>
                <a:gd name="T9" fmla="*/ 0 h 11"/>
                <a:gd name="T10" fmla="*/ 2147483647 w 7"/>
                <a:gd name="T11" fmla="*/ 2147483647 h 11"/>
                <a:gd name="T12" fmla="*/ 2147483647 w 7"/>
                <a:gd name="T13" fmla="*/ 2147483647 h 11"/>
                <a:gd name="T14" fmla="*/ 2147483647 w 7"/>
                <a:gd name="T15" fmla="*/ 2147483647 h 11"/>
                <a:gd name="T16" fmla="*/ 2147483647 w 7"/>
                <a:gd name="T17" fmla="*/ 2147483647 h 11"/>
                <a:gd name="T18" fmla="*/ 2147483647 w 7"/>
                <a:gd name="T19" fmla="*/ 2147483647 h 11"/>
                <a:gd name="T20" fmla="*/ 2147483647 w 7"/>
                <a:gd name="T21" fmla="*/ 2147483647 h 11"/>
                <a:gd name="T22" fmla="*/ 0 w 7"/>
                <a:gd name="T23" fmla="*/ 2147483647 h 11"/>
                <a:gd name="T24" fmla="*/ 0 w 7"/>
                <a:gd name="T25" fmla="*/ 2147483647 h 11"/>
                <a:gd name="T26" fmla="*/ 2147483647 w 7"/>
                <a:gd name="T27" fmla="*/ 2147483647 h 11"/>
                <a:gd name="T28" fmla="*/ 2147483647 w 7"/>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11"/>
                <a:gd name="T47" fmla="*/ 7 w 7"/>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11">
                  <a:moveTo>
                    <a:pt x="1" y="5"/>
                  </a:moveTo>
                  <a:lnTo>
                    <a:pt x="1" y="5"/>
                  </a:lnTo>
                  <a:lnTo>
                    <a:pt x="2" y="1"/>
                  </a:lnTo>
                  <a:lnTo>
                    <a:pt x="4" y="0"/>
                  </a:lnTo>
                  <a:lnTo>
                    <a:pt x="6" y="1"/>
                  </a:lnTo>
                  <a:lnTo>
                    <a:pt x="7" y="3"/>
                  </a:lnTo>
                  <a:lnTo>
                    <a:pt x="7" y="6"/>
                  </a:lnTo>
                  <a:lnTo>
                    <a:pt x="5" y="10"/>
                  </a:lnTo>
                  <a:lnTo>
                    <a:pt x="2" y="11"/>
                  </a:lnTo>
                  <a:lnTo>
                    <a:pt x="0" y="8"/>
                  </a:lnTo>
                  <a:lnTo>
                    <a:pt x="0" y="6"/>
                  </a:lnTo>
                  <a:lnTo>
                    <a:pt x="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5" name="Freeform 744"/>
            <p:cNvSpPr>
              <a:spLocks/>
            </p:cNvSpPr>
            <p:nvPr/>
          </p:nvSpPr>
          <p:spPr bwMode="auto">
            <a:xfrm>
              <a:off x="5340352" y="4594226"/>
              <a:ext cx="9525" cy="19050"/>
            </a:xfrm>
            <a:custGeom>
              <a:avLst/>
              <a:gdLst>
                <a:gd name="T0" fmla="*/ 2147483647 w 7"/>
                <a:gd name="T1" fmla="*/ 2147483647 h 12"/>
                <a:gd name="T2" fmla="*/ 2147483647 w 7"/>
                <a:gd name="T3" fmla="*/ 2147483647 h 12"/>
                <a:gd name="T4" fmla="*/ 2147483647 w 7"/>
                <a:gd name="T5" fmla="*/ 2147483647 h 12"/>
                <a:gd name="T6" fmla="*/ 2147483647 w 7"/>
                <a:gd name="T7" fmla="*/ 2147483647 h 12"/>
                <a:gd name="T8" fmla="*/ 0 w 7"/>
                <a:gd name="T9" fmla="*/ 2147483647 h 12"/>
                <a:gd name="T10" fmla="*/ 0 w 7"/>
                <a:gd name="T11" fmla="*/ 2147483647 h 12"/>
                <a:gd name="T12" fmla="*/ 0 w 7"/>
                <a:gd name="T13" fmla="*/ 2147483647 h 12"/>
                <a:gd name="T14" fmla="*/ 2147483647 w 7"/>
                <a:gd name="T15" fmla="*/ 2147483647 h 12"/>
                <a:gd name="T16" fmla="*/ 2147483647 w 7"/>
                <a:gd name="T17" fmla="*/ 2147483647 h 12"/>
                <a:gd name="T18" fmla="*/ 0 w 7"/>
                <a:gd name="T19" fmla="*/ 2147483647 h 12"/>
                <a:gd name="T20" fmla="*/ 0 w 7"/>
                <a:gd name="T21" fmla="*/ 2147483647 h 12"/>
                <a:gd name="T22" fmla="*/ 0 w 7"/>
                <a:gd name="T23" fmla="*/ 0 h 12"/>
                <a:gd name="T24" fmla="*/ 2147483647 w 7"/>
                <a:gd name="T25" fmla="*/ 0 h 12"/>
                <a:gd name="T26" fmla="*/ 2147483647 w 7"/>
                <a:gd name="T27" fmla="*/ 0 h 12"/>
                <a:gd name="T28" fmla="*/ 2147483647 w 7"/>
                <a:gd name="T29" fmla="*/ 0 h 12"/>
                <a:gd name="T30" fmla="*/ 2147483647 w 7"/>
                <a:gd name="T31" fmla="*/ 2147483647 h 12"/>
                <a:gd name="T32" fmla="*/ 2147483647 w 7"/>
                <a:gd name="T33" fmla="*/ 2147483647 h 12"/>
                <a:gd name="T34" fmla="*/ 2147483647 w 7"/>
                <a:gd name="T35" fmla="*/ 2147483647 h 12"/>
                <a:gd name="T36" fmla="*/ 2147483647 w 7"/>
                <a:gd name="T37" fmla="*/ 2147483647 h 12"/>
                <a:gd name="T38" fmla="*/ 2147483647 w 7"/>
                <a:gd name="T39" fmla="*/ 2147483647 h 12"/>
                <a:gd name="T40" fmla="*/ 2147483647 w 7"/>
                <a:gd name="T41" fmla="*/ 2147483647 h 12"/>
                <a:gd name="T42" fmla="*/ 2147483647 w 7"/>
                <a:gd name="T43" fmla="*/ 2147483647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
                <a:gd name="T67" fmla="*/ 0 h 12"/>
                <a:gd name="T68" fmla="*/ 7 w 7"/>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 h="12">
                  <a:moveTo>
                    <a:pt x="7" y="11"/>
                  </a:moveTo>
                  <a:lnTo>
                    <a:pt x="7" y="11"/>
                  </a:lnTo>
                  <a:lnTo>
                    <a:pt x="4" y="12"/>
                  </a:lnTo>
                  <a:lnTo>
                    <a:pt x="2" y="12"/>
                  </a:lnTo>
                  <a:lnTo>
                    <a:pt x="0" y="9"/>
                  </a:lnTo>
                  <a:lnTo>
                    <a:pt x="0" y="8"/>
                  </a:lnTo>
                  <a:lnTo>
                    <a:pt x="2" y="6"/>
                  </a:lnTo>
                  <a:lnTo>
                    <a:pt x="2" y="5"/>
                  </a:lnTo>
                  <a:lnTo>
                    <a:pt x="0" y="2"/>
                  </a:lnTo>
                  <a:lnTo>
                    <a:pt x="0" y="0"/>
                  </a:lnTo>
                  <a:lnTo>
                    <a:pt x="2" y="0"/>
                  </a:lnTo>
                  <a:lnTo>
                    <a:pt x="3" y="0"/>
                  </a:lnTo>
                  <a:lnTo>
                    <a:pt x="6" y="1"/>
                  </a:lnTo>
                  <a:lnTo>
                    <a:pt x="6" y="4"/>
                  </a:lnTo>
                  <a:lnTo>
                    <a:pt x="7" y="7"/>
                  </a:lnTo>
                  <a:lnTo>
                    <a:pt x="7" y="8"/>
                  </a:lnTo>
                  <a:lnTo>
                    <a:pt x="7"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6" name="Freeform 745"/>
            <p:cNvSpPr>
              <a:spLocks/>
            </p:cNvSpPr>
            <p:nvPr/>
          </p:nvSpPr>
          <p:spPr bwMode="auto">
            <a:xfrm>
              <a:off x="5353054" y="4645029"/>
              <a:ext cx="11113" cy="20638"/>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0 w 8"/>
                <a:gd name="T9" fmla="*/ 2147483647 h 13"/>
                <a:gd name="T10" fmla="*/ 0 w 8"/>
                <a:gd name="T11" fmla="*/ 2147483647 h 13"/>
                <a:gd name="T12" fmla="*/ 0 w 8"/>
                <a:gd name="T13" fmla="*/ 2147483647 h 13"/>
                <a:gd name="T14" fmla="*/ 2147483647 w 8"/>
                <a:gd name="T15" fmla="*/ 2147483647 h 13"/>
                <a:gd name="T16" fmla="*/ 2147483647 w 8"/>
                <a:gd name="T17" fmla="*/ 2147483647 h 13"/>
                <a:gd name="T18" fmla="*/ 2147483647 w 8"/>
                <a:gd name="T19" fmla="*/ 0 h 13"/>
                <a:gd name="T20" fmla="*/ 2147483647 w 8"/>
                <a:gd name="T21" fmla="*/ 2147483647 h 13"/>
                <a:gd name="T22" fmla="*/ 2147483647 w 8"/>
                <a:gd name="T23" fmla="*/ 2147483647 h 13"/>
                <a:gd name="T24" fmla="*/ 2147483647 w 8"/>
                <a:gd name="T25" fmla="*/ 2147483647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3"/>
                <a:gd name="T41" fmla="*/ 8 w 8"/>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3">
                  <a:moveTo>
                    <a:pt x="8" y="7"/>
                  </a:moveTo>
                  <a:lnTo>
                    <a:pt x="7" y="9"/>
                  </a:lnTo>
                  <a:lnTo>
                    <a:pt x="5" y="12"/>
                  </a:lnTo>
                  <a:lnTo>
                    <a:pt x="3" y="13"/>
                  </a:lnTo>
                  <a:lnTo>
                    <a:pt x="0" y="11"/>
                  </a:lnTo>
                  <a:lnTo>
                    <a:pt x="0" y="7"/>
                  </a:lnTo>
                  <a:lnTo>
                    <a:pt x="0" y="4"/>
                  </a:lnTo>
                  <a:lnTo>
                    <a:pt x="3" y="1"/>
                  </a:lnTo>
                  <a:lnTo>
                    <a:pt x="5" y="1"/>
                  </a:lnTo>
                  <a:lnTo>
                    <a:pt x="7" y="0"/>
                  </a:lnTo>
                  <a:lnTo>
                    <a:pt x="8" y="1"/>
                  </a:lnTo>
                  <a:lnTo>
                    <a:pt x="8" y="2"/>
                  </a:lnTo>
                  <a:lnTo>
                    <a:pt x="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7" name="Freeform 746"/>
            <p:cNvSpPr>
              <a:spLocks/>
            </p:cNvSpPr>
            <p:nvPr/>
          </p:nvSpPr>
          <p:spPr bwMode="auto">
            <a:xfrm>
              <a:off x="5095877" y="4433889"/>
              <a:ext cx="274638" cy="341312"/>
            </a:xfrm>
            <a:custGeom>
              <a:avLst/>
              <a:gdLst>
                <a:gd name="T0" fmla="*/ 2147483647 w 188"/>
                <a:gd name="T1" fmla="*/ 2147483647 h 215"/>
                <a:gd name="T2" fmla="*/ 2147483647 w 188"/>
                <a:gd name="T3" fmla="*/ 2147483647 h 215"/>
                <a:gd name="T4" fmla="*/ 2147483647 w 188"/>
                <a:gd name="T5" fmla="*/ 2147483647 h 215"/>
                <a:gd name="T6" fmla="*/ 2147483647 w 188"/>
                <a:gd name="T7" fmla="*/ 2147483647 h 215"/>
                <a:gd name="T8" fmla="*/ 2147483647 w 188"/>
                <a:gd name="T9" fmla="*/ 2147483647 h 215"/>
                <a:gd name="T10" fmla="*/ 2147483647 w 188"/>
                <a:gd name="T11" fmla="*/ 2147483647 h 215"/>
                <a:gd name="T12" fmla="*/ 2147483647 w 188"/>
                <a:gd name="T13" fmla="*/ 2147483647 h 215"/>
                <a:gd name="T14" fmla="*/ 2147483647 w 188"/>
                <a:gd name="T15" fmla="*/ 2147483647 h 215"/>
                <a:gd name="T16" fmla="*/ 2147483647 w 188"/>
                <a:gd name="T17" fmla="*/ 2147483647 h 215"/>
                <a:gd name="T18" fmla="*/ 2147483647 w 188"/>
                <a:gd name="T19" fmla="*/ 2147483647 h 215"/>
                <a:gd name="T20" fmla="*/ 2147483647 w 188"/>
                <a:gd name="T21" fmla="*/ 2147483647 h 215"/>
                <a:gd name="T22" fmla="*/ 2147483647 w 188"/>
                <a:gd name="T23" fmla="*/ 2147483647 h 215"/>
                <a:gd name="T24" fmla="*/ 2147483647 w 188"/>
                <a:gd name="T25" fmla="*/ 2147483647 h 215"/>
                <a:gd name="T26" fmla="*/ 2147483647 w 188"/>
                <a:gd name="T27" fmla="*/ 2147483647 h 215"/>
                <a:gd name="T28" fmla="*/ 2147483647 w 188"/>
                <a:gd name="T29" fmla="*/ 2147483647 h 215"/>
                <a:gd name="T30" fmla="*/ 2147483647 w 188"/>
                <a:gd name="T31" fmla="*/ 2147483647 h 215"/>
                <a:gd name="T32" fmla="*/ 2147483647 w 188"/>
                <a:gd name="T33" fmla="*/ 2147483647 h 215"/>
                <a:gd name="T34" fmla="*/ 2147483647 w 188"/>
                <a:gd name="T35" fmla="*/ 2147483647 h 215"/>
                <a:gd name="T36" fmla="*/ 2147483647 w 188"/>
                <a:gd name="T37" fmla="*/ 2147483647 h 215"/>
                <a:gd name="T38" fmla="*/ 2147483647 w 188"/>
                <a:gd name="T39" fmla="*/ 2147483647 h 215"/>
                <a:gd name="T40" fmla="*/ 2147483647 w 188"/>
                <a:gd name="T41" fmla="*/ 2147483647 h 215"/>
                <a:gd name="T42" fmla="*/ 2147483647 w 188"/>
                <a:gd name="T43" fmla="*/ 2147483647 h 215"/>
                <a:gd name="T44" fmla="*/ 2147483647 w 188"/>
                <a:gd name="T45" fmla="*/ 2147483647 h 215"/>
                <a:gd name="T46" fmla="*/ 0 w 188"/>
                <a:gd name="T47" fmla="*/ 2147483647 h 215"/>
                <a:gd name="T48" fmla="*/ 2147483647 w 188"/>
                <a:gd name="T49" fmla="*/ 2147483647 h 215"/>
                <a:gd name="T50" fmla="*/ 2147483647 w 188"/>
                <a:gd name="T51" fmla="*/ 2147483647 h 215"/>
                <a:gd name="T52" fmla="*/ 2147483647 w 188"/>
                <a:gd name="T53" fmla="*/ 2147483647 h 215"/>
                <a:gd name="T54" fmla="*/ 2147483647 w 188"/>
                <a:gd name="T55" fmla="*/ 2147483647 h 215"/>
                <a:gd name="T56" fmla="*/ 2147483647 w 188"/>
                <a:gd name="T57" fmla="*/ 2147483647 h 215"/>
                <a:gd name="T58" fmla="*/ 2147483647 w 188"/>
                <a:gd name="T59" fmla="*/ 2147483647 h 215"/>
                <a:gd name="T60" fmla="*/ 2147483647 w 188"/>
                <a:gd name="T61" fmla="*/ 2147483647 h 215"/>
                <a:gd name="T62" fmla="*/ 2147483647 w 188"/>
                <a:gd name="T63" fmla="*/ 0 h 215"/>
                <a:gd name="T64" fmla="*/ 2147483647 w 188"/>
                <a:gd name="T65" fmla="*/ 2147483647 h 215"/>
                <a:gd name="T66" fmla="*/ 2147483647 w 188"/>
                <a:gd name="T67" fmla="*/ 2147483647 h 215"/>
                <a:gd name="T68" fmla="*/ 2147483647 w 188"/>
                <a:gd name="T69" fmla="*/ 2147483647 h 215"/>
                <a:gd name="T70" fmla="*/ 2147483647 w 188"/>
                <a:gd name="T71" fmla="*/ 2147483647 h 215"/>
                <a:gd name="T72" fmla="*/ 2147483647 w 188"/>
                <a:gd name="T73" fmla="*/ 2147483647 h 215"/>
                <a:gd name="T74" fmla="*/ 2147483647 w 188"/>
                <a:gd name="T75" fmla="*/ 2147483647 h 215"/>
                <a:gd name="T76" fmla="*/ 2147483647 w 188"/>
                <a:gd name="T77" fmla="*/ 2147483647 h 215"/>
                <a:gd name="T78" fmla="*/ 2147483647 w 188"/>
                <a:gd name="T79" fmla="*/ 2147483647 h 215"/>
                <a:gd name="T80" fmla="*/ 2147483647 w 188"/>
                <a:gd name="T81" fmla="*/ 2147483647 h 215"/>
                <a:gd name="T82" fmla="*/ 2147483647 w 188"/>
                <a:gd name="T83" fmla="*/ 2147483647 h 215"/>
                <a:gd name="T84" fmla="*/ 2147483647 w 188"/>
                <a:gd name="T85" fmla="*/ 2147483647 h 215"/>
                <a:gd name="T86" fmla="*/ 2147483647 w 188"/>
                <a:gd name="T87" fmla="*/ 2147483647 h 215"/>
                <a:gd name="T88" fmla="*/ 2147483647 w 188"/>
                <a:gd name="T89" fmla="*/ 2147483647 h 215"/>
                <a:gd name="T90" fmla="*/ 2147483647 w 188"/>
                <a:gd name="T91" fmla="*/ 2147483647 h 215"/>
                <a:gd name="T92" fmla="*/ 2147483647 w 188"/>
                <a:gd name="T93" fmla="*/ 2147483647 h 215"/>
                <a:gd name="T94" fmla="*/ 2147483647 w 188"/>
                <a:gd name="T95" fmla="*/ 2147483647 h 215"/>
                <a:gd name="T96" fmla="*/ 2147483647 w 188"/>
                <a:gd name="T97" fmla="*/ 2147483647 h 215"/>
                <a:gd name="T98" fmla="*/ 2147483647 w 188"/>
                <a:gd name="T99" fmla="*/ 2147483647 h 2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8"/>
                <a:gd name="T151" fmla="*/ 0 h 215"/>
                <a:gd name="T152" fmla="*/ 188 w 188"/>
                <a:gd name="T153" fmla="*/ 215 h 2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8" h="215">
                  <a:moveTo>
                    <a:pt x="188" y="187"/>
                  </a:moveTo>
                  <a:lnTo>
                    <a:pt x="184" y="192"/>
                  </a:lnTo>
                  <a:lnTo>
                    <a:pt x="183" y="195"/>
                  </a:lnTo>
                  <a:lnTo>
                    <a:pt x="180" y="196"/>
                  </a:lnTo>
                  <a:lnTo>
                    <a:pt x="174" y="198"/>
                  </a:lnTo>
                  <a:lnTo>
                    <a:pt x="169" y="202"/>
                  </a:lnTo>
                  <a:lnTo>
                    <a:pt x="164" y="205"/>
                  </a:lnTo>
                  <a:lnTo>
                    <a:pt x="159" y="209"/>
                  </a:lnTo>
                  <a:lnTo>
                    <a:pt x="156" y="210"/>
                  </a:lnTo>
                  <a:lnTo>
                    <a:pt x="153" y="210"/>
                  </a:lnTo>
                  <a:lnTo>
                    <a:pt x="150" y="208"/>
                  </a:lnTo>
                  <a:lnTo>
                    <a:pt x="147" y="205"/>
                  </a:lnTo>
                  <a:lnTo>
                    <a:pt x="146" y="204"/>
                  </a:lnTo>
                  <a:lnTo>
                    <a:pt x="143" y="204"/>
                  </a:lnTo>
                  <a:lnTo>
                    <a:pt x="131" y="210"/>
                  </a:lnTo>
                  <a:lnTo>
                    <a:pt x="123" y="212"/>
                  </a:lnTo>
                  <a:lnTo>
                    <a:pt x="115" y="212"/>
                  </a:lnTo>
                  <a:lnTo>
                    <a:pt x="109" y="211"/>
                  </a:lnTo>
                  <a:lnTo>
                    <a:pt x="103" y="211"/>
                  </a:lnTo>
                  <a:lnTo>
                    <a:pt x="98" y="212"/>
                  </a:lnTo>
                  <a:lnTo>
                    <a:pt x="93" y="215"/>
                  </a:lnTo>
                  <a:lnTo>
                    <a:pt x="91" y="205"/>
                  </a:lnTo>
                  <a:lnTo>
                    <a:pt x="91" y="197"/>
                  </a:lnTo>
                  <a:lnTo>
                    <a:pt x="91" y="193"/>
                  </a:lnTo>
                  <a:lnTo>
                    <a:pt x="90" y="190"/>
                  </a:lnTo>
                  <a:lnTo>
                    <a:pt x="84" y="180"/>
                  </a:lnTo>
                  <a:lnTo>
                    <a:pt x="77" y="172"/>
                  </a:lnTo>
                  <a:lnTo>
                    <a:pt x="76" y="172"/>
                  </a:lnTo>
                  <a:lnTo>
                    <a:pt x="75" y="174"/>
                  </a:lnTo>
                  <a:lnTo>
                    <a:pt x="76" y="176"/>
                  </a:lnTo>
                  <a:lnTo>
                    <a:pt x="71" y="174"/>
                  </a:lnTo>
                  <a:lnTo>
                    <a:pt x="66" y="172"/>
                  </a:lnTo>
                  <a:lnTo>
                    <a:pt x="60" y="172"/>
                  </a:lnTo>
                  <a:lnTo>
                    <a:pt x="56" y="171"/>
                  </a:lnTo>
                  <a:lnTo>
                    <a:pt x="52" y="170"/>
                  </a:lnTo>
                  <a:lnTo>
                    <a:pt x="49" y="167"/>
                  </a:lnTo>
                  <a:lnTo>
                    <a:pt x="48" y="166"/>
                  </a:lnTo>
                  <a:lnTo>
                    <a:pt x="42" y="164"/>
                  </a:lnTo>
                  <a:lnTo>
                    <a:pt x="37" y="161"/>
                  </a:lnTo>
                  <a:lnTo>
                    <a:pt x="26" y="154"/>
                  </a:lnTo>
                  <a:lnTo>
                    <a:pt x="25" y="150"/>
                  </a:lnTo>
                  <a:lnTo>
                    <a:pt x="23" y="144"/>
                  </a:lnTo>
                  <a:lnTo>
                    <a:pt x="18" y="134"/>
                  </a:lnTo>
                  <a:lnTo>
                    <a:pt x="11" y="125"/>
                  </a:lnTo>
                  <a:lnTo>
                    <a:pt x="6" y="114"/>
                  </a:lnTo>
                  <a:lnTo>
                    <a:pt x="4" y="102"/>
                  </a:lnTo>
                  <a:lnTo>
                    <a:pt x="1" y="89"/>
                  </a:lnTo>
                  <a:lnTo>
                    <a:pt x="0" y="76"/>
                  </a:lnTo>
                  <a:lnTo>
                    <a:pt x="1" y="64"/>
                  </a:lnTo>
                  <a:lnTo>
                    <a:pt x="7" y="58"/>
                  </a:lnTo>
                  <a:lnTo>
                    <a:pt x="11" y="54"/>
                  </a:lnTo>
                  <a:lnTo>
                    <a:pt x="13" y="51"/>
                  </a:lnTo>
                  <a:lnTo>
                    <a:pt x="13" y="48"/>
                  </a:lnTo>
                  <a:lnTo>
                    <a:pt x="10" y="42"/>
                  </a:lnTo>
                  <a:lnTo>
                    <a:pt x="9" y="36"/>
                  </a:lnTo>
                  <a:lnTo>
                    <a:pt x="11" y="35"/>
                  </a:lnTo>
                  <a:lnTo>
                    <a:pt x="14" y="32"/>
                  </a:lnTo>
                  <a:lnTo>
                    <a:pt x="15" y="29"/>
                  </a:lnTo>
                  <a:lnTo>
                    <a:pt x="16" y="22"/>
                  </a:lnTo>
                  <a:lnTo>
                    <a:pt x="15" y="13"/>
                  </a:lnTo>
                  <a:lnTo>
                    <a:pt x="15" y="6"/>
                  </a:lnTo>
                  <a:lnTo>
                    <a:pt x="30" y="6"/>
                  </a:lnTo>
                  <a:lnTo>
                    <a:pt x="46" y="5"/>
                  </a:lnTo>
                  <a:lnTo>
                    <a:pt x="76" y="0"/>
                  </a:lnTo>
                  <a:lnTo>
                    <a:pt x="93" y="14"/>
                  </a:lnTo>
                  <a:lnTo>
                    <a:pt x="109" y="27"/>
                  </a:lnTo>
                  <a:lnTo>
                    <a:pt x="127" y="44"/>
                  </a:lnTo>
                  <a:lnTo>
                    <a:pt x="134" y="50"/>
                  </a:lnTo>
                  <a:lnTo>
                    <a:pt x="138" y="58"/>
                  </a:lnTo>
                  <a:lnTo>
                    <a:pt x="141" y="62"/>
                  </a:lnTo>
                  <a:lnTo>
                    <a:pt x="145" y="65"/>
                  </a:lnTo>
                  <a:lnTo>
                    <a:pt x="155" y="71"/>
                  </a:lnTo>
                  <a:lnTo>
                    <a:pt x="165" y="77"/>
                  </a:lnTo>
                  <a:lnTo>
                    <a:pt x="169" y="81"/>
                  </a:lnTo>
                  <a:lnTo>
                    <a:pt x="171" y="83"/>
                  </a:lnTo>
                  <a:lnTo>
                    <a:pt x="169" y="89"/>
                  </a:lnTo>
                  <a:lnTo>
                    <a:pt x="165" y="95"/>
                  </a:lnTo>
                  <a:lnTo>
                    <a:pt x="162" y="99"/>
                  </a:lnTo>
                  <a:lnTo>
                    <a:pt x="161" y="102"/>
                  </a:lnTo>
                  <a:lnTo>
                    <a:pt x="161" y="107"/>
                  </a:lnTo>
                  <a:lnTo>
                    <a:pt x="162" y="110"/>
                  </a:lnTo>
                  <a:lnTo>
                    <a:pt x="162" y="115"/>
                  </a:lnTo>
                  <a:lnTo>
                    <a:pt x="165" y="119"/>
                  </a:lnTo>
                  <a:lnTo>
                    <a:pt x="167" y="121"/>
                  </a:lnTo>
                  <a:lnTo>
                    <a:pt x="170" y="125"/>
                  </a:lnTo>
                  <a:lnTo>
                    <a:pt x="171" y="128"/>
                  </a:lnTo>
                  <a:lnTo>
                    <a:pt x="171" y="132"/>
                  </a:lnTo>
                  <a:lnTo>
                    <a:pt x="169" y="138"/>
                  </a:lnTo>
                  <a:lnTo>
                    <a:pt x="169" y="141"/>
                  </a:lnTo>
                  <a:lnTo>
                    <a:pt x="170" y="145"/>
                  </a:lnTo>
                  <a:lnTo>
                    <a:pt x="171" y="150"/>
                  </a:lnTo>
                  <a:lnTo>
                    <a:pt x="173" y="154"/>
                  </a:lnTo>
                  <a:lnTo>
                    <a:pt x="176" y="159"/>
                  </a:lnTo>
                  <a:lnTo>
                    <a:pt x="180" y="164"/>
                  </a:lnTo>
                  <a:lnTo>
                    <a:pt x="181" y="169"/>
                  </a:lnTo>
                  <a:lnTo>
                    <a:pt x="181" y="173"/>
                  </a:lnTo>
                  <a:lnTo>
                    <a:pt x="183" y="183"/>
                  </a:lnTo>
                  <a:lnTo>
                    <a:pt x="184" y="185"/>
                  </a:lnTo>
                  <a:lnTo>
                    <a:pt x="186" y="186"/>
                  </a:lnTo>
                  <a:lnTo>
                    <a:pt x="188" y="18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8" name="Freeform 747"/>
            <p:cNvSpPr>
              <a:spLocks/>
            </p:cNvSpPr>
            <p:nvPr/>
          </p:nvSpPr>
          <p:spPr bwMode="auto">
            <a:xfrm>
              <a:off x="5351463" y="4643442"/>
              <a:ext cx="11112" cy="20637"/>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2147483647 w 8"/>
                <a:gd name="T9" fmla="*/ 2147483647 h 13"/>
                <a:gd name="T10" fmla="*/ 0 w 8"/>
                <a:gd name="T11" fmla="*/ 2147483647 h 13"/>
                <a:gd name="T12" fmla="*/ 0 w 8"/>
                <a:gd name="T13" fmla="*/ 2147483647 h 13"/>
                <a:gd name="T14" fmla="*/ 0 w 8"/>
                <a:gd name="T15" fmla="*/ 2147483647 h 13"/>
                <a:gd name="T16" fmla="*/ 0 w 8"/>
                <a:gd name="T17" fmla="*/ 2147483647 h 13"/>
                <a:gd name="T18" fmla="*/ 2147483647 w 8"/>
                <a:gd name="T19" fmla="*/ 2147483647 h 13"/>
                <a:gd name="T20" fmla="*/ 2147483647 w 8"/>
                <a:gd name="T21" fmla="*/ 2147483647 h 13"/>
                <a:gd name="T22" fmla="*/ 2147483647 w 8"/>
                <a:gd name="T23" fmla="*/ 0 h 13"/>
                <a:gd name="T24" fmla="*/ 2147483647 w 8"/>
                <a:gd name="T25" fmla="*/ 0 h 13"/>
                <a:gd name="T26" fmla="*/ 2147483647 w 8"/>
                <a:gd name="T27" fmla="*/ 2147483647 h 13"/>
                <a:gd name="T28" fmla="*/ 2147483647 w 8"/>
                <a:gd name="T29" fmla="*/ 2147483647 h 13"/>
                <a:gd name="T30" fmla="*/ 2147483647 w 8"/>
                <a:gd name="T31" fmla="*/ 2147483647 h 13"/>
                <a:gd name="T32" fmla="*/ 2147483647 w 8"/>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3"/>
                <a:gd name="T53" fmla="*/ 8 w 8"/>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3">
                  <a:moveTo>
                    <a:pt x="8" y="7"/>
                  </a:moveTo>
                  <a:lnTo>
                    <a:pt x="8" y="7"/>
                  </a:lnTo>
                  <a:lnTo>
                    <a:pt x="6" y="9"/>
                  </a:lnTo>
                  <a:lnTo>
                    <a:pt x="5" y="12"/>
                  </a:lnTo>
                  <a:lnTo>
                    <a:pt x="3" y="13"/>
                  </a:lnTo>
                  <a:lnTo>
                    <a:pt x="0" y="10"/>
                  </a:lnTo>
                  <a:lnTo>
                    <a:pt x="0" y="7"/>
                  </a:lnTo>
                  <a:lnTo>
                    <a:pt x="0" y="3"/>
                  </a:lnTo>
                  <a:lnTo>
                    <a:pt x="3" y="1"/>
                  </a:lnTo>
                  <a:lnTo>
                    <a:pt x="5" y="1"/>
                  </a:lnTo>
                  <a:lnTo>
                    <a:pt x="6" y="0"/>
                  </a:lnTo>
                  <a:lnTo>
                    <a:pt x="8" y="1"/>
                  </a:lnTo>
                  <a:lnTo>
                    <a:pt x="8" y="2"/>
                  </a:lnTo>
                  <a:lnTo>
                    <a:pt x="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49" name="Freeform 748"/>
            <p:cNvSpPr>
              <a:spLocks/>
            </p:cNvSpPr>
            <p:nvPr/>
          </p:nvSpPr>
          <p:spPr bwMode="auto">
            <a:xfrm>
              <a:off x="5094292" y="4432304"/>
              <a:ext cx="273049" cy="341313"/>
            </a:xfrm>
            <a:custGeom>
              <a:avLst/>
              <a:gdLst>
                <a:gd name="T0" fmla="*/ 2147483647 w 187"/>
                <a:gd name="T1" fmla="*/ 2147483647 h 215"/>
                <a:gd name="T2" fmla="*/ 2147483647 w 187"/>
                <a:gd name="T3" fmla="*/ 2147483647 h 215"/>
                <a:gd name="T4" fmla="*/ 2147483647 w 187"/>
                <a:gd name="T5" fmla="*/ 2147483647 h 215"/>
                <a:gd name="T6" fmla="*/ 2147483647 w 187"/>
                <a:gd name="T7" fmla="*/ 2147483647 h 215"/>
                <a:gd name="T8" fmla="*/ 2147483647 w 187"/>
                <a:gd name="T9" fmla="*/ 2147483647 h 215"/>
                <a:gd name="T10" fmla="*/ 2147483647 w 187"/>
                <a:gd name="T11" fmla="*/ 2147483647 h 215"/>
                <a:gd name="T12" fmla="*/ 2147483647 w 187"/>
                <a:gd name="T13" fmla="*/ 2147483647 h 215"/>
                <a:gd name="T14" fmla="*/ 2147483647 w 187"/>
                <a:gd name="T15" fmla="*/ 2147483647 h 215"/>
                <a:gd name="T16" fmla="*/ 2147483647 w 187"/>
                <a:gd name="T17" fmla="*/ 2147483647 h 215"/>
                <a:gd name="T18" fmla="*/ 2147483647 w 187"/>
                <a:gd name="T19" fmla="*/ 2147483647 h 215"/>
                <a:gd name="T20" fmla="*/ 2147483647 w 187"/>
                <a:gd name="T21" fmla="*/ 2147483647 h 215"/>
                <a:gd name="T22" fmla="*/ 2147483647 w 187"/>
                <a:gd name="T23" fmla="*/ 2147483647 h 215"/>
                <a:gd name="T24" fmla="*/ 2147483647 w 187"/>
                <a:gd name="T25" fmla="*/ 2147483647 h 215"/>
                <a:gd name="T26" fmla="*/ 2147483647 w 187"/>
                <a:gd name="T27" fmla="*/ 2147483647 h 215"/>
                <a:gd name="T28" fmla="*/ 2147483647 w 187"/>
                <a:gd name="T29" fmla="*/ 2147483647 h 215"/>
                <a:gd name="T30" fmla="*/ 2147483647 w 187"/>
                <a:gd name="T31" fmla="*/ 2147483647 h 215"/>
                <a:gd name="T32" fmla="*/ 2147483647 w 187"/>
                <a:gd name="T33" fmla="*/ 2147483647 h 215"/>
                <a:gd name="T34" fmla="*/ 2147483647 w 187"/>
                <a:gd name="T35" fmla="*/ 2147483647 h 215"/>
                <a:gd name="T36" fmla="*/ 2147483647 w 187"/>
                <a:gd name="T37" fmla="*/ 2147483647 h 215"/>
                <a:gd name="T38" fmla="*/ 2147483647 w 187"/>
                <a:gd name="T39" fmla="*/ 2147483647 h 215"/>
                <a:gd name="T40" fmla="*/ 2147483647 w 187"/>
                <a:gd name="T41" fmla="*/ 2147483647 h 215"/>
                <a:gd name="T42" fmla="*/ 2147483647 w 187"/>
                <a:gd name="T43" fmla="*/ 2147483647 h 215"/>
                <a:gd name="T44" fmla="*/ 2147483647 w 187"/>
                <a:gd name="T45" fmla="*/ 2147483647 h 215"/>
                <a:gd name="T46" fmla="*/ 2147483647 w 187"/>
                <a:gd name="T47" fmla="*/ 2147483647 h 215"/>
                <a:gd name="T48" fmla="*/ 2147483647 w 187"/>
                <a:gd name="T49" fmla="*/ 2147483647 h 215"/>
                <a:gd name="T50" fmla="*/ 2147483647 w 187"/>
                <a:gd name="T51" fmla="*/ 2147483647 h 215"/>
                <a:gd name="T52" fmla="*/ 2147483647 w 187"/>
                <a:gd name="T53" fmla="*/ 2147483647 h 215"/>
                <a:gd name="T54" fmla="*/ 2147483647 w 187"/>
                <a:gd name="T55" fmla="*/ 2147483647 h 215"/>
                <a:gd name="T56" fmla="*/ 2147483647 w 187"/>
                <a:gd name="T57" fmla="*/ 0 h 215"/>
                <a:gd name="T58" fmla="*/ 2147483647 w 187"/>
                <a:gd name="T59" fmla="*/ 2147483647 h 215"/>
                <a:gd name="T60" fmla="*/ 2147483647 w 187"/>
                <a:gd name="T61" fmla="*/ 2147483647 h 215"/>
                <a:gd name="T62" fmla="*/ 2147483647 w 187"/>
                <a:gd name="T63" fmla="*/ 2147483647 h 215"/>
                <a:gd name="T64" fmla="*/ 2147483647 w 187"/>
                <a:gd name="T65" fmla="*/ 2147483647 h 215"/>
                <a:gd name="T66" fmla="*/ 2147483647 w 187"/>
                <a:gd name="T67" fmla="*/ 2147483647 h 215"/>
                <a:gd name="T68" fmla="*/ 2147483647 w 187"/>
                <a:gd name="T69" fmla="*/ 2147483647 h 215"/>
                <a:gd name="T70" fmla="*/ 2147483647 w 187"/>
                <a:gd name="T71" fmla="*/ 2147483647 h 215"/>
                <a:gd name="T72" fmla="*/ 2147483647 w 187"/>
                <a:gd name="T73" fmla="*/ 2147483647 h 215"/>
                <a:gd name="T74" fmla="*/ 2147483647 w 187"/>
                <a:gd name="T75" fmla="*/ 2147483647 h 215"/>
                <a:gd name="T76" fmla="*/ 2147483647 w 187"/>
                <a:gd name="T77" fmla="*/ 2147483647 h 215"/>
                <a:gd name="T78" fmla="*/ 2147483647 w 187"/>
                <a:gd name="T79" fmla="*/ 2147483647 h 215"/>
                <a:gd name="T80" fmla="*/ 2147483647 w 187"/>
                <a:gd name="T81" fmla="*/ 2147483647 h 215"/>
                <a:gd name="T82" fmla="*/ 2147483647 w 187"/>
                <a:gd name="T83" fmla="*/ 2147483647 h 215"/>
                <a:gd name="T84" fmla="*/ 2147483647 w 187"/>
                <a:gd name="T85" fmla="*/ 2147483647 h 215"/>
                <a:gd name="T86" fmla="*/ 2147483647 w 187"/>
                <a:gd name="T87" fmla="*/ 2147483647 h 215"/>
                <a:gd name="T88" fmla="*/ 2147483647 w 187"/>
                <a:gd name="T89" fmla="*/ 2147483647 h 215"/>
                <a:gd name="T90" fmla="*/ 2147483647 w 187"/>
                <a:gd name="T91" fmla="*/ 2147483647 h 2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7"/>
                <a:gd name="T139" fmla="*/ 0 h 215"/>
                <a:gd name="T140" fmla="*/ 187 w 187"/>
                <a:gd name="T141" fmla="*/ 215 h 2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7" h="215">
                  <a:moveTo>
                    <a:pt x="187" y="187"/>
                  </a:moveTo>
                  <a:lnTo>
                    <a:pt x="187" y="187"/>
                  </a:lnTo>
                  <a:lnTo>
                    <a:pt x="184" y="192"/>
                  </a:lnTo>
                  <a:lnTo>
                    <a:pt x="182" y="194"/>
                  </a:lnTo>
                  <a:lnTo>
                    <a:pt x="180" y="196"/>
                  </a:lnTo>
                  <a:lnTo>
                    <a:pt x="174" y="198"/>
                  </a:lnTo>
                  <a:lnTo>
                    <a:pt x="168" y="202"/>
                  </a:lnTo>
                  <a:lnTo>
                    <a:pt x="163" y="205"/>
                  </a:lnTo>
                  <a:lnTo>
                    <a:pt x="158" y="209"/>
                  </a:lnTo>
                  <a:lnTo>
                    <a:pt x="156" y="210"/>
                  </a:lnTo>
                  <a:lnTo>
                    <a:pt x="153" y="210"/>
                  </a:lnTo>
                  <a:lnTo>
                    <a:pt x="149" y="207"/>
                  </a:lnTo>
                  <a:lnTo>
                    <a:pt x="147" y="205"/>
                  </a:lnTo>
                  <a:lnTo>
                    <a:pt x="146" y="204"/>
                  </a:lnTo>
                  <a:lnTo>
                    <a:pt x="143" y="204"/>
                  </a:lnTo>
                  <a:lnTo>
                    <a:pt x="130" y="210"/>
                  </a:lnTo>
                  <a:lnTo>
                    <a:pt x="123" y="212"/>
                  </a:lnTo>
                  <a:lnTo>
                    <a:pt x="115" y="212"/>
                  </a:lnTo>
                  <a:lnTo>
                    <a:pt x="109" y="211"/>
                  </a:lnTo>
                  <a:lnTo>
                    <a:pt x="102" y="211"/>
                  </a:lnTo>
                  <a:lnTo>
                    <a:pt x="97" y="212"/>
                  </a:lnTo>
                  <a:lnTo>
                    <a:pt x="92" y="215"/>
                  </a:lnTo>
                  <a:lnTo>
                    <a:pt x="91" y="205"/>
                  </a:lnTo>
                  <a:lnTo>
                    <a:pt x="91" y="197"/>
                  </a:lnTo>
                  <a:lnTo>
                    <a:pt x="91" y="193"/>
                  </a:lnTo>
                  <a:lnTo>
                    <a:pt x="90" y="190"/>
                  </a:lnTo>
                  <a:lnTo>
                    <a:pt x="83" y="180"/>
                  </a:lnTo>
                  <a:lnTo>
                    <a:pt x="77" y="172"/>
                  </a:lnTo>
                  <a:lnTo>
                    <a:pt x="76" y="172"/>
                  </a:lnTo>
                  <a:lnTo>
                    <a:pt x="74" y="174"/>
                  </a:lnTo>
                  <a:lnTo>
                    <a:pt x="76" y="175"/>
                  </a:lnTo>
                  <a:lnTo>
                    <a:pt x="71" y="174"/>
                  </a:lnTo>
                  <a:lnTo>
                    <a:pt x="66" y="172"/>
                  </a:lnTo>
                  <a:lnTo>
                    <a:pt x="59" y="172"/>
                  </a:lnTo>
                  <a:lnTo>
                    <a:pt x="55" y="171"/>
                  </a:lnTo>
                  <a:lnTo>
                    <a:pt x="52" y="170"/>
                  </a:lnTo>
                  <a:lnTo>
                    <a:pt x="49" y="167"/>
                  </a:lnTo>
                  <a:lnTo>
                    <a:pt x="48" y="166"/>
                  </a:lnTo>
                  <a:lnTo>
                    <a:pt x="41" y="164"/>
                  </a:lnTo>
                  <a:lnTo>
                    <a:pt x="36" y="161"/>
                  </a:lnTo>
                  <a:lnTo>
                    <a:pt x="26" y="154"/>
                  </a:lnTo>
                  <a:lnTo>
                    <a:pt x="25" y="149"/>
                  </a:lnTo>
                  <a:lnTo>
                    <a:pt x="22" y="143"/>
                  </a:lnTo>
                  <a:lnTo>
                    <a:pt x="17" y="134"/>
                  </a:lnTo>
                  <a:lnTo>
                    <a:pt x="11" y="124"/>
                  </a:lnTo>
                  <a:lnTo>
                    <a:pt x="6" y="114"/>
                  </a:lnTo>
                  <a:lnTo>
                    <a:pt x="3" y="102"/>
                  </a:lnTo>
                  <a:lnTo>
                    <a:pt x="1" y="89"/>
                  </a:lnTo>
                  <a:lnTo>
                    <a:pt x="0" y="76"/>
                  </a:lnTo>
                  <a:lnTo>
                    <a:pt x="1" y="64"/>
                  </a:lnTo>
                  <a:lnTo>
                    <a:pt x="7" y="58"/>
                  </a:lnTo>
                  <a:lnTo>
                    <a:pt x="11" y="53"/>
                  </a:lnTo>
                  <a:lnTo>
                    <a:pt x="12" y="51"/>
                  </a:lnTo>
                  <a:lnTo>
                    <a:pt x="12" y="47"/>
                  </a:lnTo>
                  <a:lnTo>
                    <a:pt x="10" y="41"/>
                  </a:lnTo>
                  <a:lnTo>
                    <a:pt x="8" y="36"/>
                  </a:lnTo>
                  <a:lnTo>
                    <a:pt x="11" y="34"/>
                  </a:lnTo>
                  <a:lnTo>
                    <a:pt x="14" y="32"/>
                  </a:lnTo>
                  <a:lnTo>
                    <a:pt x="15" y="28"/>
                  </a:lnTo>
                  <a:lnTo>
                    <a:pt x="16" y="21"/>
                  </a:lnTo>
                  <a:lnTo>
                    <a:pt x="15" y="13"/>
                  </a:lnTo>
                  <a:lnTo>
                    <a:pt x="15" y="6"/>
                  </a:lnTo>
                  <a:lnTo>
                    <a:pt x="30" y="6"/>
                  </a:lnTo>
                  <a:lnTo>
                    <a:pt x="45" y="5"/>
                  </a:lnTo>
                  <a:lnTo>
                    <a:pt x="76" y="0"/>
                  </a:lnTo>
                  <a:lnTo>
                    <a:pt x="92" y="14"/>
                  </a:lnTo>
                  <a:lnTo>
                    <a:pt x="109" y="27"/>
                  </a:lnTo>
                  <a:lnTo>
                    <a:pt x="127" y="44"/>
                  </a:lnTo>
                  <a:lnTo>
                    <a:pt x="134" y="50"/>
                  </a:lnTo>
                  <a:lnTo>
                    <a:pt x="138" y="58"/>
                  </a:lnTo>
                  <a:lnTo>
                    <a:pt x="141" y="62"/>
                  </a:lnTo>
                  <a:lnTo>
                    <a:pt x="144" y="65"/>
                  </a:lnTo>
                  <a:lnTo>
                    <a:pt x="154" y="71"/>
                  </a:lnTo>
                  <a:lnTo>
                    <a:pt x="165" y="77"/>
                  </a:lnTo>
                  <a:lnTo>
                    <a:pt x="168" y="81"/>
                  </a:lnTo>
                  <a:lnTo>
                    <a:pt x="171" y="83"/>
                  </a:lnTo>
                  <a:lnTo>
                    <a:pt x="168" y="89"/>
                  </a:lnTo>
                  <a:lnTo>
                    <a:pt x="165" y="95"/>
                  </a:lnTo>
                  <a:lnTo>
                    <a:pt x="162" y="98"/>
                  </a:lnTo>
                  <a:lnTo>
                    <a:pt x="161" y="102"/>
                  </a:lnTo>
                  <a:lnTo>
                    <a:pt x="161" y="107"/>
                  </a:lnTo>
                  <a:lnTo>
                    <a:pt x="162" y="110"/>
                  </a:lnTo>
                  <a:lnTo>
                    <a:pt x="162" y="115"/>
                  </a:lnTo>
                  <a:lnTo>
                    <a:pt x="165" y="119"/>
                  </a:lnTo>
                  <a:lnTo>
                    <a:pt x="167" y="121"/>
                  </a:lnTo>
                  <a:lnTo>
                    <a:pt x="170" y="124"/>
                  </a:lnTo>
                  <a:lnTo>
                    <a:pt x="171" y="128"/>
                  </a:lnTo>
                  <a:lnTo>
                    <a:pt x="171" y="132"/>
                  </a:lnTo>
                  <a:lnTo>
                    <a:pt x="168" y="138"/>
                  </a:lnTo>
                  <a:lnTo>
                    <a:pt x="168" y="141"/>
                  </a:lnTo>
                  <a:lnTo>
                    <a:pt x="170" y="145"/>
                  </a:lnTo>
                  <a:lnTo>
                    <a:pt x="171" y="149"/>
                  </a:lnTo>
                  <a:lnTo>
                    <a:pt x="172" y="154"/>
                  </a:lnTo>
                  <a:lnTo>
                    <a:pt x="176" y="159"/>
                  </a:lnTo>
                  <a:lnTo>
                    <a:pt x="180" y="164"/>
                  </a:lnTo>
                  <a:lnTo>
                    <a:pt x="181" y="168"/>
                  </a:lnTo>
                  <a:lnTo>
                    <a:pt x="181" y="173"/>
                  </a:lnTo>
                  <a:lnTo>
                    <a:pt x="182" y="183"/>
                  </a:lnTo>
                  <a:lnTo>
                    <a:pt x="184" y="185"/>
                  </a:lnTo>
                  <a:lnTo>
                    <a:pt x="186" y="186"/>
                  </a:lnTo>
                  <a:lnTo>
                    <a:pt x="187" y="18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0" name="Freeform 749"/>
            <p:cNvSpPr>
              <a:spLocks/>
            </p:cNvSpPr>
            <p:nvPr/>
          </p:nvSpPr>
          <p:spPr bwMode="auto">
            <a:xfrm>
              <a:off x="5076830" y="4443417"/>
              <a:ext cx="41275" cy="52387"/>
            </a:xfrm>
            <a:custGeom>
              <a:avLst/>
              <a:gdLst>
                <a:gd name="T0" fmla="*/ 2147483647 w 29"/>
                <a:gd name="T1" fmla="*/ 2147483647 h 33"/>
                <a:gd name="T2" fmla="*/ 2147483647 w 29"/>
                <a:gd name="T3" fmla="*/ 2147483647 h 33"/>
                <a:gd name="T4" fmla="*/ 0 w 29"/>
                <a:gd name="T5" fmla="*/ 2147483647 h 33"/>
                <a:gd name="T6" fmla="*/ 2147483647 w 29"/>
                <a:gd name="T7" fmla="*/ 2147483647 h 33"/>
                <a:gd name="T8" fmla="*/ 2147483647 w 29"/>
                <a:gd name="T9" fmla="*/ 2147483647 h 33"/>
                <a:gd name="T10" fmla="*/ 2147483647 w 29"/>
                <a:gd name="T11" fmla="*/ 2147483647 h 33"/>
                <a:gd name="T12" fmla="*/ 2147483647 w 29"/>
                <a:gd name="T13" fmla="*/ 2147483647 h 33"/>
                <a:gd name="T14" fmla="*/ 2147483647 w 29"/>
                <a:gd name="T15" fmla="*/ 0 h 33"/>
                <a:gd name="T16" fmla="*/ 2147483647 w 29"/>
                <a:gd name="T17" fmla="*/ 0 h 33"/>
                <a:gd name="T18" fmla="*/ 2147483647 w 29"/>
                <a:gd name="T19" fmla="*/ 2147483647 h 33"/>
                <a:gd name="T20" fmla="*/ 2147483647 w 29"/>
                <a:gd name="T21" fmla="*/ 2147483647 h 33"/>
                <a:gd name="T22" fmla="*/ 2147483647 w 29"/>
                <a:gd name="T23" fmla="*/ 2147483647 h 33"/>
                <a:gd name="T24" fmla="*/ 2147483647 w 29"/>
                <a:gd name="T25" fmla="*/ 2147483647 h 33"/>
                <a:gd name="T26" fmla="*/ 2147483647 w 29"/>
                <a:gd name="T27" fmla="*/ 2147483647 h 33"/>
                <a:gd name="T28" fmla="*/ 2147483647 w 29"/>
                <a:gd name="T29" fmla="*/ 2147483647 h 33"/>
                <a:gd name="T30" fmla="*/ 2147483647 w 29"/>
                <a:gd name="T31" fmla="*/ 2147483647 h 33"/>
                <a:gd name="T32" fmla="*/ 2147483647 w 29"/>
                <a:gd name="T33" fmla="*/ 2147483647 h 33"/>
                <a:gd name="T34" fmla="*/ 2147483647 w 29"/>
                <a:gd name="T35" fmla="*/ 2147483647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
                <a:gd name="T55" fmla="*/ 0 h 33"/>
                <a:gd name="T56" fmla="*/ 29 w 29"/>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 h="33">
                  <a:moveTo>
                    <a:pt x="3" y="32"/>
                  </a:moveTo>
                  <a:lnTo>
                    <a:pt x="1" y="32"/>
                  </a:lnTo>
                  <a:lnTo>
                    <a:pt x="0" y="30"/>
                  </a:lnTo>
                  <a:lnTo>
                    <a:pt x="1" y="24"/>
                  </a:lnTo>
                  <a:lnTo>
                    <a:pt x="3" y="19"/>
                  </a:lnTo>
                  <a:lnTo>
                    <a:pt x="5" y="14"/>
                  </a:lnTo>
                  <a:lnTo>
                    <a:pt x="12" y="7"/>
                  </a:lnTo>
                  <a:lnTo>
                    <a:pt x="18" y="0"/>
                  </a:lnTo>
                  <a:lnTo>
                    <a:pt x="28" y="0"/>
                  </a:lnTo>
                  <a:lnTo>
                    <a:pt x="28" y="7"/>
                  </a:lnTo>
                  <a:lnTo>
                    <a:pt x="29" y="16"/>
                  </a:lnTo>
                  <a:lnTo>
                    <a:pt x="28" y="23"/>
                  </a:lnTo>
                  <a:lnTo>
                    <a:pt x="27" y="26"/>
                  </a:lnTo>
                  <a:lnTo>
                    <a:pt x="24" y="29"/>
                  </a:lnTo>
                  <a:lnTo>
                    <a:pt x="22" y="30"/>
                  </a:lnTo>
                  <a:lnTo>
                    <a:pt x="12" y="33"/>
                  </a:lnTo>
                  <a:lnTo>
                    <a:pt x="6" y="33"/>
                  </a:lnTo>
                  <a:lnTo>
                    <a:pt x="3"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1" name="Freeform 750"/>
            <p:cNvSpPr>
              <a:spLocks/>
            </p:cNvSpPr>
            <p:nvPr/>
          </p:nvSpPr>
          <p:spPr bwMode="auto">
            <a:xfrm>
              <a:off x="5080000" y="4491038"/>
              <a:ext cx="34925" cy="44450"/>
            </a:xfrm>
            <a:custGeom>
              <a:avLst/>
              <a:gdLst>
                <a:gd name="T0" fmla="*/ 2147483647 w 23"/>
                <a:gd name="T1" fmla="*/ 2147483647 h 28"/>
                <a:gd name="T2" fmla="*/ 2147483647 w 23"/>
                <a:gd name="T3" fmla="*/ 2147483647 h 28"/>
                <a:gd name="T4" fmla="*/ 2147483647 w 23"/>
                <a:gd name="T5" fmla="*/ 2147483647 h 28"/>
                <a:gd name="T6" fmla="*/ 2147483647 w 23"/>
                <a:gd name="T7" fmla="*/ 2147483647 h 28"/>
                <a:gd name="T8" fmla="*/ 0 w 23"/>
                <a:gd name="T9" fmla="*/ 2147483647 h 28"/>
                <a:gd name="T10" fmla="*/ 2147483647 w 23"/>
                <a:gd name="T11" fmla="*/ 2147483647 h 28"/>
                <a:gd name="T12" fmla="*/ 2147483647 w 23"/>
                <a:gd name="T13" fmla="*/ 2147483647 h 28"/>
                <a:gd name="T14" fmla="*/ 2147483647 w 23"/>
                <a:gd name="T15" fmla="*/ 0 h 28"/>
                <a:gd name="T16" fmla="*/ 2147483647 w 23"/>
                <a:gd name="T17" fmla="*/ 2147483647 h 28"/>
                <a:gd name="T18" fmla="*/ 2147483647 w 23"/>
                <a:gd name="T19" fmla="*/ 2147483647 h 28"/>
                <a:gd name="T20" fmla="*/ 2147483647 w 23"/>
                <a:gd name="T21" fmla="*/ 2147483647 h 28"/>
                <a:gd name="T22" fmla="*/ 2147483647 w 23"/>
                <a:gd name="T23" fmla="*/ 2147483647 h 28"/>
                <a:gd name="T24" fmla="*/ 2147483647 w 23"/>
                <a:gd name="T25" fmla="*/ 2147483647 h 28"/>
                <a:gd name="T26" fmla="*/ 2147483647 w 23"/>
                <a:gd name="T27" fmla="*/ 2147483647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28"/>
                <a:gd name="T44" fmla="*/ 23 w 23"/>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28">
                  <a:moveTo>
                    <a:pt x="11" y="28"/>
                  </a:moveTo>
                  <a:lnTo>
                    <a:pt x="10" y="22"/>
                  </a:lnTo>
                  <a:lnTo>
                    <a:pt x="6" y="16"/>
                  </a:lnTo>
                  <a:lnTo>
                    <a:pt x="2" y="9"/>
                  </a:lnTo>
                  <a:lnTo>
                    <a:pt x="0" y="2"/>
                  </a:lnTo>
                  <a:lnTo>
                    <a:pt x="3" y="3"/>
                  </a:lnTo>
                  <a:lnTo>
                    <a:pt x="9" y="3"/>
                  </a:lnTo>
                  <a:lnTo>
                    <a:pt x="19" y="0"/>
                  </a:lnTo>
                  <a:lnTo>
                    <a:pt x="20" y="6"/>
                  </a:lnTo>
                  <a:lnTo>
                    <a:pt x="23" y="12"/>
                  </a:lnTo>
                  <a:lnTo>
                    <a:pt x="23" y="15"/>
                  </a:lnTo>
                  <a:lnTo>
                    <a:pt x="21" y="18"/>
                  </a:lnTo>
                  <a:lnTo>
                    <a:pt x="17" y="22"/>
                  </a:lnTo>
                  <a:lnTo>
                    <a:pt x="11"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2" name="Freeform 751"/>
            <p:cNvSpPr>
              <a:spLocks/>
            </p:cNvSpPr>
            <p:nvPr/>
          </p:nvSpPr>
          <p:spPr bwMode="auto">
            <a:xfrm>
              <a:off x="5075242" y="4441826"/>
              <a:ext cx="41275" cy="52388"/>
            </a:xfrm>
            <a:custGeom>
              <a:avLst/>
              <a:gdLst>
                <a:gd name="T0" fmla="*/ 2147483647 w 29"/>
                <a:gd name="T1" fmla="*/ 2147483647 h 33"/>
                <a:gd name="T2" fmla="*/ 2147483647 w 29"/>
                <a:gd name="T3" fmla="*/ 2147483647 h 33"/>
                <a:gd name="T4" fmla="*/ 2147483647 w 29"/>
                <a:gd name="T5" fmla="*/ 2147483647 h 33"/>
                <a:gd name="T6" fmla="*/ 0 w 29"/>
                <a:gd name="T7" fmla="*/ 2147483647 h 33"/>
                <a:gd name="T8" fmla="*/ 2147483647 w 29"/>
                <a:gd name="T9" fmla="*/ 2147483647 h 33"/>
                <a:gd name="T10" fmla="*/ 2147483647 w 29"/>
                <a:gd name="T11" fmla="*/ 2147483647 h 33"/>
                <a:gd name="T12" fmla="*/ 2147483647 w 29"/>
                <a:gd name="T13" fmla="*/ 2147483647 h 33"/>
                <a:gd name="T14" fmla="*/ 2147483647 w 29"/>
                <a:gd name="T15" fmla="*/ 2147483647 h 33"/>
                <a:gd name="T16" fmla="*/ 2147483647 w 29"/>
                <a:gd name="T17" fmla="*/ 2147483647 h 33"/>
                <a:gd name="T18" fmla="*/ 2147483647 w 29"/>
                <a:gd name="T19" fmla="*/ 0 h 33"/>
                <a:gd name="T20" fmla="*/ 2147483647 w 29"/>
                <a:gd name="T21" fmla="*/ 0 h 33"/>
                <a:gd name="T22" fmla="*/ 2147483647 w 29"/>
                <a:gd name="T23" fmla="*/ 0 h 33"/>
                <a:gd name="T24" fmla="*/ 2147483647 w 29"/>
                <a:gd name="T25" fmla="*/ 0 h 33"/>
                <a:gd name="T26" fmla="*/ 2147483647 w 29"/>
                <a:gd name="T27" fmla="*/ 2147483647 h 33"/>
                <a:gd name="T28" fmla="*/ 2147483647 w 29"/>
                <a:gd name="T29" fmla="*/ 2147483647 h 33"/>
                <a:gd name="T30" fmla="*/ 2147483647 w 29"/>
                <a:gd name="T31" fmla="*/ 2147483647 h 33"/>
                <a:gd name="T32" fmla="*/ 2147483647 w 29"/>
                <a:gd name="T33" fmla="*/ 2147483647 h 33"/>
                <a:gd name="T34" fmla="*/ 2147483647 w 29"/>
                <a:gd name="T35" fmla="*/ 2147483647 h 33"/>
                <a:gd name="T36" fmla="*/ 2147483647 w 29"/>
                <a:gd name="T37" fmla="*/ 2147483647 h 33"/>
                <a:gd name="T38" fmla="*/ 2147483647 w 29"/>
                <a:gd name="T39" fmla="*/ 2147483647 h 33"/>
                <a:gd name="T40" fmla="*/ 2147483647 w 29"/>
                <a:gd name="T41" fmla="*/ 2147483647 h 33"/>
                <a:gd name="T42" fmla="*/ 2147483647 w 29"/>
                <a:gd name="T43" fmla="*/ 2147483647 h 33"/>
                <a:gd name="T44" fmla="*/ 2147483647 w 29"/>
                <a:gd name="T45" fmla="*/ 2147483647 h 33"/>
                <a:gd name="T46" fmla="*/ 2147483647 w 29"/>
                <a:gd name="T47" fmla="*/ 2147483647 h 33"/>
                <a:gd name="T48" fmla="*/ 2147483647 w 29"/>
                <a:gd name="T49" fmla="*/ 2147483647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
                <a:gd name="T76" fmla="*/ 0 h 33"/>
                <a:gd name="T77" fmla="*/ 29 w 29"/>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 h="33">
                  <a:moveTo>
                    <a:pt x="2" y="32"/>
                  </a:moveTo>
                  <a:lnTo>
                    <a:pt x="2" y="32"/>
                  </a:lnTo>
                  <a:lnTo>
                    <a:pt x="1" y="32"/>
                  </a:lnTo>
                  <a:lnTo>
                    <a:pt x="0" y="30"/>
                  </a:lnTo>
                  <a:lnTo>
                    <a:pt x="1" y="24"/>
                  </a:lnTo>
                  <a:lnTo>
                    <a:pt x="2" y="19"/>
                  </a:lnTo>
                  <a:lnTo>
                    <a:pt x="5" y="14"/>
                  </a:lnTo>
                  <a:lnTo>
                    <a:pt x="11" y="7"/>
                  </a:lnTo>
                  <a:lnTo>
                    <a:pt x="18" y="0"/>
                  </a:lnTo>
                  <a:lnTo>
                    <a:pt x="28" y="0"/>
                  </a:lnTo>
                  <a:lnTo>
                    <a:pt x="28" y="7"/>
                  </a:lnTo>
                  <a:lnTo>
                    <a:pt x="29" y="15"/>
                  </a:lnTo>
                  <a:lnTo>
                    <a:pt x="28" y="22"/>
                  </a:lnTo>
                  <a:lnTo>
                    <a:pt x="27" y="26"/>
                  </a:lnTo>
                  <a:lnTo>
                    <a:pt x="24" y="28"/>
                  </a:lnTo>
                  <a:lnTo>
                    <a:pt x="21" y="30"/>
                  </a:lnTo>
                  <a:lnTo>
                    <a:pt x="11" y="33"/>
                  </a:lnTo>
                  <a:lnTo>
                    <a:pt x="6" y="33"/>
                  </a:lnTo>
                  <a:lnTo>
                    <a:pt x="2"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3" name="Freeform 752"/>
            <p:cNvSpPr>
              <a:spLocks/>
            </p:cNvSpPr>
            <p:nvPr/>
          </p:nvSpPr>
          <p:spPr bwMode="auto">
            <a:xfrm>
              <a:off x="5076827" y="4489451"/>
              <a:ext cx="34925" cy="44450"/>
            </a:xfrm>
            <a:custGeom>
              <a:avLst/>
              <a:gdLst>
                <a:gd name="T0" fmla="*/ 2147483647 w 23"/>
                <a:gd name="T1" fmla="*/ 2147483647 h 28"/>
                <a:gd name="T2" fmla="*/ 2147483647 w 23"/>
                <a:gd name="T3" fmla="*/ 2147483647 h 28"/>
                <a:gd name="T4" fmla="*/ 2147483647 w 23"/>
                <a:gd name="T5" fmla="*/ 2147483647 h 28"/>
                <a:gd name="T6" fmla="*/ 2147483647 w 23"/>
                <a:gd name="T7" fmla="*/ 2147483647 h 28"/>
                <a:gd name="T8" fmla="*/ 2147483647 w 23"/>
                <a:gd name="T9" fmla="*/ 2147483647 h 28"/>
                <a:gd name="T10" fmla="*/ 2147483647 w 23"/>
                <a:gd name="T11" fmla="*/ 2147483647 h 28"/>
                <a:gd name="T12" fmla="*/ 2147483647 w 23"/>
                <a:gd name="T13" fmla="*/ 2147483647 h 28"/>
                <a:gd name="T14" fmla="*/ 0 w 23"/>
                <a:gd name="T15" fmla="*/ 2147483647 h 28"/>
                <a:gd name="T16" fmla="*/ 0 w 23"/>
                <a:gd name="T17" fmla="*/ 2147483647 h 28"/>
                <a:gd name="T18" fmla="*/ 2147483647 w 23"/>
                <a:gd name="T19" fmla="*/ 2147483647 h 28"/>
                <a:gd name="T20" fmla="*/ 2147483647 w 23"/>
                <a:gd name="T21" fmla="*/ 2147483647 h 28"/>
                <a:gd name="T22" fmla="*/ 2147483647 w 23"/>
                <a:gd name="T23" fmla="*/ 0 h 28"/>
                <a:gd name="T24" fmla="*/ 2147483647 w 23"/>
                <a:gd name="T25" fmla="*/ 0 h 28"/>
                <a:gd name="T26" fmla="*/ 2147483647 w 23"/>
                <a:gd name="T27" fmla="*/ 2147483647 h 28"/>
                <a:gd name="T28" fmla="*/ 2147483647 w 23"/>
                <a:gd name="T29" fmla="*/ 2147483647 h 28"/>
                <a:gd name="T30" fmla="*/ 2147483647 w 23"/>
                <a:gd name="T31" fmla="*/ 2147483647 h 28"/>
                <a:gd name="T32" fmla="*/ 2147483647 w 23"/>
                <a:gd name="T33" fmla="*/ 2147483647 h 28"/>
                <a:gd name="T34" fmla="*/ 2147483647 w 23"/>
                <a:gd name="T35" fmla="*/ 2147483647 h 28"/>
                <a:gd name="T36" fmla="*/ 2147483647 w 23"/>
                <a:gd name="T37" fmla="*/ 2147483647 h 28"/>
                <a:gd name="T38" fmla="*/ 2147483647 w 23"/>
                <a:gd name="T39" fmla="*/ 2147483647 h 28"/>
                <a:gd name="T40" fmla="*/ 2147483647 w 23"/>
                <a:gd name="T41" fmla="*/ 2147483647 h 28"/>
                <a:gd name="T42" fmla="*/ 2147483647 w 23"/>
                <a:gd name="T43" fmla="*/ 2147483647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28"/>
                <a:gd name="T68" fmla="*/ 23 w 23"/>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28">
                  <a:moveTo>
                    <a:pt x="12" y="28"/>
                  </a:moveTo>
                  <a:lnTo>
                    <a:pt x="12" y="28"/>
                  </a:lnTo>
                  <a:lnTo>
                    <a:pt x="11" y="22"/>
                  </a:lnTo>
                  <a:lnTo>
                    <a:pt x="7" y="16"/>
                  </a:lnTo>
                  <a:lnTo>
                    <a:pt x="3" y="9"/>
                  </a:lnTo>
                  <a:lnTo>
                    <a:pt x="0" y="2"/>
                  </a:lnTo>
                  <a:lnTo>
                    <a:pt x="4" y="3"/>
                  </a:lnTo>
                  <a:lnTo>
                    <a:pt x="9" y="3"/>
                  </a:lnTo>
                  <a:lnTo>
                    <a:pt x="19" y="0"/>
                  </a:lnTo>
                  <a:lnTo>
                    <a:pt x="21" y="5"/>
                  </a:lnTo>
                  <a:lnTo>
                    <a:pt x="23" y="11"/>
                  </a:lnTo>
                  <a:lnTo>
                    <a:pt x="23" y="15"/>
                  </a:lnTo>
                  <a:lnTo>
                    <a:pt x="22" y="17"/>
                  </a:lnTo>
                  <a:lnTo>
                    <a:pt x="18" y="22"/>
                  </a:lnTo>
                  <a:lnTo>
                    <a:pt x="12" y="2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4" name="Freeform 753"/>
            <p:cNvSpPr>
              <a:spLocks/>
            </p:cNvSpPr>
            <p:nvPr/>
          </p:nvSpPr>
          <p:spPr bwMode="auto">
            <a:xfrm>
              <a:off x="5207004" y="4251328"/>
              <a:ext cx="225425" cy="314325"/>
            </a:xfrm>
            <a:custGeom>
              <a:avLst/>
              <a:gdLst>
                <a:gd name="T0" fmla="*/ 2147483647 w 154"/>
                <a:gd name="T1" fmla="*/ 2147483647 h 198"/>
                <a:gd name="T2" fmla="*/ 2147483647 w 154"/>
                <a:gd name="T3" fmla="*/ 2147483647 h 198"/>
                <a:gd name="T4" fmla="*/ 2147483647 w 154"/>
                <a:gd name="T5" fmla="*/ 2147483647 h 198"/>
                <a:gd name="T6" fmla="*/ 2147483647 w 154"/>
                <a:gd name="T7" fmla="*/ 2147483647 h 198"/>
                <a:gd name="T8" fmla="*/ 2147483647 w 154"/>
                <a:gd name="T9" fmla="*/ 2147483647 h 198"/>
                <a:gd name="T10" fmla="*/ 0 w 154"/>
                <a:gd name="T11" fmla="*/ 2147483647 h 198"/>
                <a:gd name="T12" fmla="*/ 2147483647 w 154"/>
                <a:gd name="T13" fmla="*/ 2147483647 h 198"/>
                <a:gd name="T14" fmla="*/ 2147483647 w 154"/>
                <a:gd name="T15" fmla="*/ 2147483647 h 198"/>
                <a:gd name="T16" fmla="*/ 2147483647 w 154"/>
                <a:gd name="T17" fmla="*/ 2147483647 h 198"/>
                <a:gd name="T18" fmla="*/ 2147483647 w 154"/>
                <a:gd name="T19" fmla="*/ 2147483647 h 198"/>
                <a:gd name="T20" fmla="*/ 2147483647 w 154"/>
                <a:gd name="T21" fmla="*/ 2147483647 h 198"/>
                <a:gd name="T22" fmla="*/ 2147483647 w 154"/>
                <a:gd name="T23" fmla="*/ 2147483647 h 198"/>
                <a:gd name="T24" fmla="*/ 2147483647 w 154"/>
                <a:gd name="T25" fmla="*/ 2147483647 h 198"/>
                <a:gd name="T26" fmla="*/ 2147483647 w 154"/>
                <a:gd name="T27" fmla="*/ 2147483647 h 198"/>
                <a:gd name="T28" fmla="*/ 2147483647 w 154"/>
                <a:gd name="T29" fmla="*/ 2147483647 h 198"/>
                <a:gd name="T30" fmla="*/ 2147483647 w 154"/>
                <a:gd name="T31" fmla="*/ 2147483647 h 198"/>
                <a:gd name="T32" fmla="*/ 2147483647 w 154"/>
                <a:gd name="T33" fmla="*/ 2147483647 h 198"/>
                <a:gd name="T34" fmla="*/ 2147483647 w 154"/>
                <a:gd name="T35" fmla="*/ 2147483647 h 198"/>
                <a:gd name="T36" fmla="*/ 2147483647 w 154"/>
                <a:gd name="T37" fmla="*/ 2147483647 h 198"/>
                <a:gd name="T38" fmla="*/ 2147483647 w 154"/>
                <a:gd name="T39" fmla="*/ 2147483647 h 198"/>
                <a:gd name="T40" fmla="*/ 2147483647 w 154"/>
                <a:gd name="T41" fmla="*/ 2147483647 h 198"/>
                <a:gd name="T42" fmla="*/ 2147483647 w 154"/>
                <a:gd name="T43" fmla="*/ 2147483647 h 198"/>
                <a:gd name="T44" fmla="*/ 2147483647 w 154"/>
                <a:gd name="T45" fmla="*/ 2147483647 h 198"/>
                <a:gd name="T46" fmla="*/ 2147483647 w 154"/>
                <a:gd name="T47" fmla="*/ 2147483647 h 198"/>
                <a:gd name="T48" fmla="*/ 2147483647 w 154"/>
                <a:gd name="T49" fmla="*/ 2147483647 h 198"/>
                <a:gd name="T50" fmla="*/ 2147483647 w 154"/>
                <a:gd name="T51" fmla="*/ 2147483647 h 198"/>
                <a:gd name="T52" fmla="*/ 2147483647 w 154"/>
                <a:gd name="T53" fmla="*/ 2147483647 h 198"/>
                <a:gd name="T54" fmla="*/ 2147483647 w 154"/>
                <a:gd name="T55" fmla="*/ 2147483647 h 198"/>
                <a:gd name="T56" fmla="*/ 2147483647 w 154"/>
                <a:gd name="T57" fmla="*/ 2147483647 h 198"/>
                <a:gd name="T58" fmla="*/ 2147483647 w 154"/>
                <a:gd name="T59" fmla="*/ 2147483647 h 198"/>
                <a:gd name="T60" fmla="*/ 2147483647 w 154"/>
                <a:gd name="T61" fmla="*/ 2147483647 h 198"/>
                <a:gd name="T62" fmla="*/ 2147483647 w 154"/>
                <a:gd name="T63" fmla="*/ 2147483647 h 198"/>
                <a:gd name="T64" fmla="*/ 2147483647 w 154"/>
                <a:gd name="T65" fmla="*/ 2147483647 h 198"/>
                <a:gd name="T66" fmla="*/ 2147483647 w 154"/>
                <a:gd name="T67" fmla="*/ 2147483647 h 198"/>
                <a:gd name="T68" fmla="*/ 2147483647 w 154"/>
                <a:gd name="T69" fmla="*/ 2147483647 h 198"/>
                <a:gd name="T70" fmla="*/ 2147483647 w 154"/>
                <a:gd name="T71" fmla="*/ 2147483647 h 198"/>
                <a:gd name="T72" fmla="*/ 2147483647 w 154"/>
                <a:gd name="T73" fmla="*/ 2147483647 h 198"/>
                <a:gd name="T74" fmla="*/ 2147483647 w 154"/>
                <a:gd name="T75" fmla="*/ 2147483647 h 198"/>
                <a:gd name="T76" fmla="*/ 2147483647 w 154"/>
                <a:gd name="T77" fmla="*/ 2147483647 h 198"/>
                <a:gd name="T78" fmla="*/ 2147483647 w 154"/>
                <a:gd name="T79" fmla="*/ 2147483647 h 198"/>
                <a:gd name="T80" fmla="*/ 2147483647 w 154"/>
                <a:gd name="T81" fmla="*/ 2147483647 h 1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4"/>
                <a:gd name="T124" fmla="*/ 0 h 198"/>
                <a:gd name="T125" fmla="*/ 154 w 154"/>
                <a:gd name="T126" fmla="*/ 198 h 1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4" h="198">
                  <a:moveTo>
                    <a:pt x="95" y="198"/>
                  </a:moveTo>
                  <a:lnTo>
                    <a:pt x="93" y="196"/>
                  </a:lnTo>
                  <a:lnTo>
                    <a:pt x="89" y="192"/>
                  </a:lnTo>
                  <a:lnTo>
                    <a:pt x="79" y="186"/>
                  </a:lnTo>
                  <a:lnTo>
                    <a:pt x="69" y="180"/>
                  </a:lnTo>
                  <a:lnTo>
                    <a:pt x="65" y="177"/>
                  </a:lnTo>
                  <a:lnTo>
                    <a:pt x="62" y="173"/>
                  </a:lnTo>
                  <a:lnTo>
                    <a:pt x="58" y="165"/>
                  </a:lnTo>
                  <a:lnTo>
                    <a:pt x="51" y="159"/>
                  </a:lnTo>
                  <a:lnTo>
                    <a:pt x="33" y="142"/>
                  </a:lnTo>
                  <a:lnTo>
                    <a:pt x="17" y="129"/>
                  </a:lnTo>
                  <a:lnTo>
                    <a:pt x="0" y="115"/>
                  </a:lnTo>
                  <a:lnTo>
                    <a:pt x="1" y="99"/>
                  </a:lnTo>
                  <a:lnTo>
                    <a:pt x="3" y="91"/>
                  </a:lnTo>
                  <a:lnTo>
                    <a:pt x="4" y="84"/>
                  </a:lnTo>
                  <a:lnTo>
                    <a:pt x="6" y="80"/>
                  </a:lnTo>
                  <a:lnTo>
                    <a:pt x="10" y="75"/>
                  </a:lnTo>
                  <a:lnTo>
                    <a:pt x="15" y="70"/>
                  </a:lnTo>
                  <a:lnTo>
                    <a:pt x="20" y="67"/>
                  </a:lnTo>
                  <a:lnTo>
                    <a:pt x="22" y="65"/>
                  </a:lnTo>
                  <a:lnTo>
                    <a:pt x="23" y="63"/>
                  </a:lnTo>
                  <a:lnTo>
                    <a:pt x="22" y="57"/>
                  </a:lnTo>
                  <a:lnTo>
                    <a:pt x="14" y="42"/>
                  </a:lnTo>
                  <a:lnTo>
                    <a:pt x="13" y="33"/>
                  </a:lnTo>
                  <a:lnTo>
                    <a:pt x="10" y="25"/>
                  </a:lnTo>
                  <a:lnTo>
                    <a:pt x="10" y="24"/>
                  </a:lnTo>
                  <a:lnTo>
                    <a:pt x="9" y="23"/>
                  </a:lnTo>
                  <a:lnTo>
                    <a:pt x="5" y="20"/>
                  </a:lnTo>
                  <a:lnTo>
                    <a:pt x="4" y="18"/>
                  </a:lnTo>
                  <a:lnTo>
                    <a:pt x="10" y="10"/>
                  </a:lnTo>
                  <a:lnTo>
                    <a:pt x="14" y="5"/>
                  </a:lnTo>
                  <a:lnTo>
                    <a:pt x="19" y="1"/>
                  </a:lnTo>
                  <a:lnTo>
                    <a:pt x="22" y="0"/>
                  </a:lnTo>
                  <a:lnTo>
                    <a:pt x="24" y="1"/>
                  </a:lnTo>
                  <a:lnTo>
                    <a:pt x="29" y="5"/>
                  </a:lnTo>
                  <a:lnTo>
                    <a:pt x="32" y="5"/>
                  </a:lnTo>
                  <a:lnTo>
                    <a:pt x="34" y="4"/>
                  </a:lnTo>
                  <a:lnTo>
                    <a:pt x="36" y="6"/>
                  </a:lnTo>
                  <a:lnTo>
                    <a:pt x="37" y="8"/>
                  </a:lnTo>
                  <a:lnTo>
                    <a:pt x="38" y="11"/>
                  </a:lnTo>
                  <a:lnTo>
                    <a:pt x="38" y="12"/>
                  </a:lnTo>
                  <a:lnTo>
                    <a:pt x="39" y="13"/>
                  </a:lnTo>
                  <a:lnTo>
                    <a:pt x="42" y="14"/>
                  </a:lnTo>
                  <a:lnTo>
                    <a:pt x="46" y="16"/>
                  </a:lnTo>
                  <a:lnTo>
                    <a:pt x="51" y="14"/>
                  </a:lnTo>
                  <a:lnTo>
                    <a:pt x="56" y="14"/>
                  </a:lnTo>
                  <a:lnTo>
                    <a:pt x="60" y="17"/>
                  </a:lnTo>
                  <a:lnTo>
                    <a:pt x="71" y="24"/>
                  </a:lnTo>
                  <a:lnTo>
                    <a:pt x="77" y="26"/>
                  </a:lnTo>
                  <a:lnTo>
                    <a:pt x="83" y="27"/>
                  </a:lnTo>
                  <a:lnTo>
                    <a:pt x="89" y="27"/>
                  </a:lnTo>
                  <a:lnTo>
                    <a:pt x="94" y="27"/>
                  </a:lnTo>
                  <a:lnTo>
                    <a:pt x="100" y="25"/>
                  </a:lnTo>
                  <a:lnTo>
                    <a:pt x="107" y="22"/>
                  </a:lnTo>
                  <a:lnTo>
                    <a:pt x="110" y="22"/>
                  </a:lnTo>
                  <a:lnTo>
                    <a:pt x="116" y="20"/>
                  </a:lnTo>
                  <a:lnTo>
                    <a:pt x="126" y="20"/>
                  </a:lnTo>
                  <a:lnTo>
                    <a:pt x="136" y="23"/>
                  </a:lnTo>
                  <a:lnTo>
                    <a:pt x="147" y="20"/>
                  </a:lnTo>
                  <a:lnTo>
                    <a:pt x="154" y="20"/>
                  </a:lnTo>
                  <a:lnTo>
                    <a:pt x="149" y="25"/>
                  </a:lnTo>
                  <a:lnTo>
                    <a:pt x="145" y="31"/>
                  </a:lnTo>
                  <a:lnTo>
                    <a:pt x="140" y="36"/>
                  </a:lnTo>
                  <a:lnTo>
                    <a:pt x="136" y="40"/>
                  </a:lnTo>
                  <a:lnTo>
                    <a:pt x="131" y="45"/>
                  </a:lnTo>
                  <a:lnTo>
                    <a:pt x="130" y="50"/>
                  </a:lnTo>
                  <a:lnTo>
                    <a:pt x="130" y="82"/>
                  </a:lnTo>
                  <a:lnTo>
                    <a:pt x="130" y="110"/>
                  </a:lnTo>
                  <a:lnTo>
                    <a:pt x="131" y="114"/>
                  </a:lnTo>
                  <a:lnTo>
                    <a:pt x="133" y="118"/>
                  </a:lnTo>
                  <a:lnTo>
                    <a:pt x="140" y="125"/>
                  </a:lnTo>
                  <a:lnTo>
                    <a:pt x="132" y="137"/>
                  </a:lnTo>
                  <a:lnTo>
                    <a:pt x="130" y="144"/>
                  </a:lnTo>
                  <a:lnTo>
                    <a:pt x="127" y="146"/>
                  </a:lnTo>
                  <a:lnTo>
                    <a:pt x="126" y="148"/>
                  </a:lnTo>
                  <a:lnTo>
                    <a:pt x="118" y="152"/>
                  </a:lnTo>
                  <a:lnTo>
                    <a:pt x="112" y="157"/>
                  </a:lnTo>
                  <a:lnTo>
                    <a:pt x="108" y="163"/>
                  </a:lnTo>
                  <a:lnTo>
                    <a:pt x="105" y="170"/>
                  </a:lnTo>
                  <a:lnTo>
                    <a:pt x="100" y="184"/>
                  </a:lnTo>
                  <a:lnTo>
                    <a:pt x="98" y="191"/>
                  </a:lnTo>
                  <a:lnTo>
                    <a:pt x="95" y="19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5" name="Freeform 754"/>
            <p:cNvSpPr>
              <a:spLocks/>
            </p:cNvSpPr>
            <p:nvPr/>
          </p:nvSpPr>
          <p:spPr bwMode="auto">
            <a:xfrm>
              <a:off x="5397501" y="4044950"/>
              <a:ext cx="254000" cy="404813"/>
            </a:xfrm>
            <a:custGeom>
              <a:avLst/>
              <a:gdLst>
                <a:gd name="T0" fmla="*/ 2147483647 w 174"/>
                <a:gd name="T1" fmla="*/ 2147483647 h 255"/>
                <a:gd name="T2" fmla="*/ 0 w 174"/>
                <a:gd name="T3" fmla="*/ 2147483647 h 255"/>
                <a:gd name="T4" fmla="*/ 0 w 174"/>
                <a:gd name="T5" fmla="*/ 2147483647 h 255"/>
                <a:gd name="T6" fmla="*/ 2147483647 w 174"/>
                <a:gd name="T7" fmla="*/ 2147483647 h 255"/>
                <a:gd name="T8" fmla="*/ 2147483647 w 174"/>
                <a:gd name="T9" fmla="*/ 2147483647 h 255"/>
                <a:gd name="T10" fmla="*/ 2147483647 w 174"/>
                <a:gd name="T11" fmla="*/ 2147483647 h 255"/>
                <a:gd name="T12" fmla="*/ 2147483647 w 174"/>
                <a:gd name="T13" fmla="*/ 2147483647 h 255"/>
                <a:gd name="T14" fmla="*/ 2147483647 w 174"/>
                <a:gd name="T15" fmla="*/ 2147483647 h 255"/>
                <a:gd name="T16" fmla="*/ 2147483647 w 174"/>
                <a:gd name="T17" fmla="*/ 2147483647 h 255"/>
                <a:gd name="T18" fmla="*/ 2147483647 w 174"/>
                <a:gd name="T19" fmla="*/ 2147483647 h 255"/>
                <a:gd name="T20" fmla="*/ 2147483647 w 174"/>
                <a:gd name="T21" fmla="*/ 2147483647 h 255"/>
                <a:gd name="T22" fmla="*/ 2147483647 w 174"/>
                <a:gd name="T23" fmla="*/ 2147483647 h 255"/>
                <a:gd name="T24" fmla="*/ 2147483647 w 174"/>
                <a:gd name="T25" fmla="*/ 2147483647 h 255"/>
                <a:gd name="T26" fmla="*/ 2147483647 w 174"/>
                <a:gd name="T27" fmla="*/ 2147483647 h 255"/>
                <a:gd name="T28" fmla="*/ 2147483647 w 174"/>
                <a:gd name="T29" fmla="*/ 2147483647 h 255"/>
                <a:gd name="T30" fmla="*/ 2147483647 w 174"/>
                <a:gd name="T31" fmla="*/ 2147483647 h 255"/>
                <a:gd name="T32" fmla="*/ 2147483647 w 174"/>
                <a:gd name="T33" fmla="*/ 2147483647 h 255"/>
                <a:gd name="T34" fmla="*/ 2147483647 w 174"/>
                <a:gd name="T35" fmla="*/ 2147483647 h 255"/>
                <a:gd name="T36" fmla="*/ 2147483647 w 174"/>
                <a:gd name="T37" fmla="*/ 2147483647 h 255"/>
                <a:gd name="T38" fmla="*/ 2147483647 w 174"/>
                <a:gd name="T39" fmla="*/ 2147483647 h 255"/>
                <a:gd name="T40" fmla="*/ 2147483647 w 174"/>
                <a:gd name="T41" fmla="*/ 2147483647 h 255"/>
                <a:gd name="T42" fmla="*/ 2147483647 w 174"/>
                <a:gd name="T43" fmla="*/ 2147483647 h 255"/>
                <a:gd name="T44" fmla="*/ 2147483647 w 174"/>
                <a:gd name="T45" fmla="*/ 2147483647 h 255"/>
                <a:gd name="T46" fmla="*/ 2147483647 w 174"/>
                <a:gd name="T47" fmla="*/ 2147483647 h 255"/>
                <a:gd name="T48" fmla="*/ 2147483647 w 174"/>
                <a:gd name="T49" fmla="*/ 2147483647 h 255"/>
                <a:gd name="T50" fmla="*/ 2147483647 w 174"/>
                <a:gd name="T51" fmla="*/ 2147483647 h 255"/>
                <a:gd name="T52" fmla="*/ 2147483647 w 174"/>
                <a:gd name="T53" fmla="*/ 2147483647 h 255"/>
                <a:gd name="T54" fmla="*/ 2147483647 w 174"/>
                <a:gd name="T55" fmla="*/ 2147483647 h 255"/>
                <a:gd name="T56" fmla="*/ 2147483647 w 174"/>
                <a:gd name="T57" fmla="*/ 2147483647 h 255"/>
                <a:gd name="T58" fmla="*/ 2147483647 w 174"/>
                <a:gd name="T59" fmla="*/ 2147483647 h 255"/>
                <a:gd name="T60" fmla="*/ 2147483647 w 174"/>
                <a:gd name="T61" fmla="*/ 2147483647 h 255"/>
                <a:gd name="T62" fmla="*/ 2147483647 w 174"/>
                <a:gd name="T63" fmla="*/ 2147483647 h 255"/>
                <a:gd name="T64" fmla="*/ 2147483647 w 174"/>
                <a:gd name="T65" fmla="*/ 2147483647 h 255"/>
                <a:gd name="T66" fmla="*/ 2147483647 w 174"/>
                <a:gd name="T67" fmla="*/ 2147483647 h 255"/>
                <a:gd name="T68" fmla="*/ 2147483647 w 174"/>
                <a:gd name="T69" fmla="*/ 2147483647 h 255"/>
                <a:gd name="T70" fmla="*/ 2147483647 w 174"/>
                <a:gd name="T71" fmla="*/ 0 h 255"/>
                <a:gd name="T72" fmla="*/ 2147483647 w 174"/>
                <a:gd name="T73" fmla="*/ 2147483647 h 255"/>
                <a:gd name="T74" fmla="*/ 2147483647 w 174"/>
                <a:gd name="T75" fmla="*/ 2147483647 h 255"/>
                <a:gd name="T76" fmla="*/ 2147483647 w 174"/>
                <a:gd name="T77" fmla="*/ 2147483647 h 255"/>
                <a:gd name="T78" fmla="*/ 2147483647 w 174"/>
                <a:gd name="T79" fmla="*/ 2147483647 h 255"/>
                <a:gd name="T80" fmla="*/ 2147483647 w 174"/>
                <a:gd name="T81" fmla="*/ 2147483647 h 255"/>
                <a:gd name="T82" fmla="*/ 2147483647 w 174"/>
                <a:gd name="T83" fmla="*/ 2147483647 h 255"/>
                <a:gd name="T84" fmla="*/ 2147483647 w 174"/>
                <a:gd name="T85" fmla="*/ 2147483647 h 255"/>
                <a:gd name="T86" fmla="*/ 2147483647 w 174"/>
                <a:gd name="T87" fmla="*/ 2147483647 h 255"/>
                <a:gd name="T88" fmla="*/ 2147483647 w 174"/>
                <a:gd name="T89" fmla="*/ 2147483647 h 255"/>
                <a:gd name="T90" fmla="*/ 2147483647 w 174"/>
                <a:gd name="T91" fmla="*/ 2147483647 h 255"/>
                <a:gd name="T92" fmla="*/ 2147483647 w 174"/>
                <a:gd name="T93" fmla="*/ 2147483647 h 255"/>
                <a:gd name="T94" fmla="*/ 2147483647 w 174"/>
                <a:gd name="T95" fmla="*/ 2147483647 h 255"/>
                <a:gd name="T96" fmla="*/ 2147483647 w 174"/>
                <a:gd name="T97" fmla="*/ 2147483647 h 255"/>
                <a:gd name="T98" fmla="*/ 2147483647 w 174"/>
                <a:gd name="T99" fmla="*/ 2147483647 h 255"/>
                <a:gd name="T100" fmla="*/ 2147483647 w 174"/>
                <a:gd name="T101" fmla="*/ 2147483647 h 255"/>
                <a:gd name="T102" fmla="*/ 2147483647 w 174"/>
                <a:gd name="T103" fmla="*/ 2147483647 h 255"/>
                <a:gd name="T104" fmla="*/ 2147483647 w 174"/>
                <a:gd name="T105" fmla="*/ 2147483647 h 255"/>
                <a:gd name="T106" fmla="*/ 2147483647 w 174"/>
                <a:gd name="T107" fmla="*/ 2147483647 h 255"/>
                <a:gd name="T108" fmla="*/ 2147483647 w 174"/>
                <a:gd name="T109" fmla="*/ 2147483647 h 255"/>
                <a:gd name="T110" fmla="*/ 2147483647 w 174"/>
                <a:gd name="T111" fmla="*/ 2147483647 h 255"/>
                <a:gd name="T112" fmla="*/ 2147483647 w 174"/>
                <a:gd name="T113" fmla="*/ 2147483647 h 255"/>
                <a:gd name="T114" fmla="*/ 2147483647 w 174"/>
                <a:gd name="T115" fmla="*/ 2147483647 h 255"/>
                <a:gd name="T116" fmla="*/ 2147483647 w 174"/>
                <a:gd name="T117" fmla="*/ 2147483647 h 255"/>
                <a:gd name="T118" fmla="*/ 2147483647 w 174"/>
                <a:gd name="T119" fmla="*/ 2147483647 h 255"/>
                <a:gd name="T120" fmla="*/ 2147483647 w 174"/>
                <a:gd name="T121" fmla="*/ 2147483647 h 255"/>
                <a:gd name="T122" fmla="*/ 2147483647 w 174"/>
                <a:gd name="T123" fmla="*/ 2147483647 h 2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255"/>
                <a:gd name="T188" fmla="*/ 174 w 174"/>
                <a:gd name="T189" fmla="*/ 255 h 2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255">
                  <a:moveTo>
                    <a:pt x="10" y="255"/>
                  </a:moveTo>
                  <a:lnTo>
                    <a:pt x="3" y="248"/>
                  </a:lnTo>
                  <a:lnTo>
                    <a:pt x="1" y="244"/>
                  </a:lnTo>
                  <a:lnTo>
                    <a:pt x="0" y="240"/>
                  </a:lnTo>
                  <a:lnTo>
                    <a:pt x="0" y="212"/>
                  </a:lnTo>
                  <a:lnTo>
                    <a:pt x="0" y="180"/>
                  </a:lnTo>
                  <a:lnTo>
                    <a:pt x="1" y="175"/>
                  </a:lnTo>
                  <a:lnTo>
                    <a:pt x="6" y="170"/>
                  </a:lnTo>
                  <a:lnTo>
                    <a:pt x="10" y="166"/>
                  </a:lnTo>
                  <a:lnTo>
                    <a:pt x="15" y="161"/>
                  </a:lnTo>
                  <a:lnTo>
                    <a:pt x="19" y="155"/>
                  </a:lnTo>
                  <a:lnTo>
                    <a:pt x="24" y="150"/>
                  </a:lnTo>
                  <a:lnTo>
                    <a:pt x="30" y="150"/>
                  </a:lnTo>
                  <a:lnTo>
                    <a:pt x="36" y="149"/>
                  </a:lnTo>
                  <a:lnTo>
                    <a:pt x="40" y="147"/>
                  </a:lnTo>
                  <a:lnTo>
                    <a:pt x="45" y="144"/>
                  </a:lnTo>
                  <a:lnTo>
                    <a:pt x="49" y="142"/>
                  </a:lnTo>
                  <a:lnTo>
                    <a:pt x="52" y="141"/>
                  </a:lnTo>
                  <a:lnTo>
                    <a:pt x="60" y="141"/>
                  </a:lnTo>
                  <a:lnTo>
                    <a:pt x="66" y="141"/>
                  </a:lnTo>
                  <a:lnTo>
                    <a:pt x="71" y="140"/>
                  </a:lnTo>
                  <a:lnTo>
                    <a:pt x="73" y="137"/>
                  </a:lnTo>
                  <a:lnTo>
                    <a:pt x="76" y="133"/>
                  </a:lnTo>
                  <a:lnTo>
                    <a:pt x="87" y="117"/>
                  </a:lnTo>
                  <a:lnTo>
                    <a:pt x="100" y="104"/>
                  </a:lnTo>
                  <a:lnTo>
                    <a:pt x="113" y="90"/>
                  </a:lnTo>
                  <a:lnTo>
                    <a:pt x="118" y="83"/>
                  </a:lnTo>
                  <a:lnTo>
                    <a:pt x="121" y="74"/>
                  </a:lnTo>
                  <a:lnTo>
                    <a:pt x="120" y="73"/>
                  </a:lnTo>
                  <a:lnTo>
                    <a:pt x="119" y="73"/>
                  </a:lnTo>
                  <a:lnTo>
                    <a:pt x="111" y="73"/>
                  </a:lnTo>
                  <a:lnTo>
                    <a:pt x="104" y="72"/>
                  </a:lnTo>
                  <a:lnTo>
                    <a:pt x="97" y="70"/>
                  </a:lnTo>
                  <a:lnTo>
                    <a:pt x="90" y="67"/>
                  </a:lnTo>
                  <a:lnTo>
                    <a:pt x="77" y="61"/>
                  </a:lnTo>
                  <a:lnTo>
                    <a:pt x="63" y="55"/>
                  </a:lnTo>
                  <a:lnTo>
                    <a:pt x="57" y="53"/>
                  </a:lnTo>
                  <a:lnTo>
                    <a:pt x="49" y="50"/>
                  </a:lnTo>
                  <a:lnTo>
                    <a:pt x="43" y="46"/>
                  </a:lnTo>
                  <a:lnTo>
                    <a:pt x="38" y="41"/>
                  </a:lnTo>
                  <a:lnTo>
                    <a:pt x="27" y="32"/>
                  </a:lnTo>
                  <a:lnTo>
                    <a:pt x="20" y="20"/>
                  </a:lnTo>
                  <a:lnTo>
                    <a:pt x="22" y="18"/>
                  </a:lnTo>
                  <a:lnTo>
                    <a:pt x="26" y="12"/>
                  </a:lnTo>
                  <a:lnTo>
                    <a:pt x="29" y="8"/>
                  </a:lnTo>
                  <a:lnTo>
                    <a:pt x="31" y="6"/>
                  </a:lnTo>
                  <a:lnTo>
                    <a:pt x="31" y="9"/>
                  </a:lnTo>
                  <a:lnTo>
                    <a:pt x="33" y="12"/>
                  </a:lnTo>
                  <a:lnTo>
                    <a:pt x="41" y="19"/>
                  </a:lnTo>
                  <a:lnTo>
                    <a:pt x="50" y="23"/>
                  </a:lnTo>
                  <a:lnTo>
                    <a:pt x="54" y="25"/>
                  </a:lnTo>
                  <a:lnTo>
                    <a:pt x="59" y="26"/>
                  </a:lnTo>
                  <a:lnTo>
                    <a:pt x="66" y="27"/>
                  </a:lnTo>
                  <a:lnTo>
                    <a:pt x="72" y="26"/>
                  </a:lnTo>
                  <a:lnTo>
                    <a:pt x="83" y="22"/>
                  </a:lnTo>
                  <a:lnTo>
                    <a:pt x="96" y="19"/>
                  </a:lnTo>
                  <a:lnTo>
                    <a:pt x="107" y="15"/>
                  </a:lnTo>
                  <a:lnTo>
                    <a:pt x="120" y="13"/>
                  </a:lnTo>
                  <a:lnTo>
                    <a:pt x="121" y="13"/>
                  </a:lnTo>
                  <a:lnTo>
                    <a:pt x="123" y="14"/>
                  </a:lnTo>
                  <a:lnTo>
                    <a:pt x="124" y="14"/>
                  </a:lnTo>
                  <a:lnTo>
                    <a:pt x="125" y="15"/>
                  </a:lnTo>
                  <a:lnTo>
                    <a:pt x="130" y="13"/>
                  </a:lnTo>
                  <a:lnTo>
                    <a:pt x="134" y="10"/>
                  </a:lnTo>
                  <a:lnTo>
                    <a:pt x="139" y="9"/>
                  </a:lnTo>
                  <a:lnTo>
                    <a:pt x="144" y="9"/>
                  </a:lnTo>
                  <a:lnTo>
                    <a:pt x="147" y="9"/>
                  </a:lnTo>
                  <a:lnTo>
                    <a:pt x="151" y="9"/>
                  </a:lnTo>
                  <a:lnTo>
                    <a:pt x="157" y="6"/>
                  </a:lnTo>
                  <a:lnTo>
                    <a:pt x="165" y="2"/>
                  </a:lnTo>
                  <a:lnTo>
                    <a:pt x="168" y="0"/>
                  </a:lnTo>
                  <a:lnTo>
                    <a:pt x="172" y="0"/>
                  </a:lnTo>
                  <a:lnTo>
                    <a:pt x="174" y="1"/>
                  </a:lnTo>
                  <a:lnTo>
                    <a:pt x="174" y="3"/>
                  </a:lnTo>
                  <a:lnTo>
                    <a:pt x="172" y="8"/>
                  </a:lnTo>
                  <a:lnTo>
                    <a:pt x="171" y="13"/>
                  </a:lnTo>
                  <a:lnTo>
                    <a:pt x="171" y="19"/>
                  </a:lnTo>
                  <a:lnTo>
                    <a:pt x="172" y="23"/>
                  </a:lnTo>
                  <a:lnTo>
                    <a:pt x="174" y="27"/>
                  </a:lnTo>
                  <a:lnTo>
                    <a:pt x="174" y="29"/>
                  </a:lnTo>
                  <a:lnTo>
                    <a:pt x="171" y="35"/>
                  </a:lnTo>
                  <a:lnTo>
                    <a:pt x="157" y="61"/>
                  </a:lnTo>
                  <a:lnTo>
                    <a:pt x="144" y="86"/>
                  </a:lnTo>
                  <a:lnTo>
                    <a:pt x="140" y="93"/>
                  </a:lnTo>
                  <a:lnTo>
                    <a:pt x="138" y="97"/>
                  </a:lnTo>
                  <a:lnTo>
                    <a:pt x="138" y="99"/>
                  </a:lnTo>
                  <a:lnTo>
                    <a:pt x="137" y="109"/>
                  </a:lnTo>
                  <a:lnTo>
                    <a:pt x="134" y="118"/>
                  </a:lnTo>
                  <a:lnTo>
                    <a:pt x="133" y="123"/>
                  </a:lnTo>
                  <a:lnTo>
                    <a:pt x="130" y="127"/>
                  </a:lnTo>
                  <a:lnTo>
                    <a:pt x="127" y="130"/>
                  </a:lnTo>
                  <a:lnTo>
                    <a:pt x="123" y="133"/>
                  </a:lnTo>
                  <a:lnTo>
                    <a:pt x="121" y="135"/>
                  </a:lnTo>
                  <a:lnTo>
                    <a:pt x="120" y="137"/>
                  </a:lnTo>
                  <a:lnTo>
                    <a:pt x="119" y="141"/>
                  </a:lnTo>
                  <a:lnTo>
                    <a:pt x="118" y="142"/>
                  </a:lnTo>
                  <a:lnTo>
                    <a:pt x="113" y="146"/>
                  </a:lnTo>
                  <a:lnTo>
                    <a:pt x="110" y="150"/>
                  </a:lnTo>
                  <a:lnTo>
                    <a:pt x="106" y="160"/>
                  </a:lnTo>
                  <a:lnTo>
                    <a:pt x="102" y="168"/>
                  </a:lnTo>
                  <a:lnTo>
                    <a:pt x="96" y="174"/>
                  </a:lnTo>
                  <a:lnTo>
                    <a:pt x="90" y="179"/>
                  </a:lnTo>
                  <a:lnTo>
                    <a:pt x="83" y="184"/>
                  </a:lnTo>
                  <a:lnTo>
                    <a:pt x="76" y="188"/>
                  </a:lnTo>
                  <a:lnTo>
                    <a:pt x="71" y="193"/>
                  </a:lnTo>
                  <a:lnTo>
                    <a:pt x="64" y="202"/>
                  </a:lnTo>
                  <a:lnTo>
                    <a:pt x="62" y="205"/>
                  </a:lnTo>
                  <a:lnTo>
                    <a:pt x="57" y="207"/>
                  </a:lnTo>
                  <a:lnTo>
                    <a:pt x="53" y="210"/>
                  </a:lnTo>
                  <a:lnTo>
                    <a:pt x="50" y="213"/>
                  </a:lnTo>
                  <a:lnTo>
                    <a:pt x="49" y="216"/>
                  </a:lnTo>
                  <a:lnTo>
                    <a:pt x="48" y="218"/>
                  </a:lnTo>
                  <a:lnTo>
                    <a:pt x="44" y="221"/>
                  </a:lnTo>
                  <a:lnTo>
                    <a:pt x="40" y="223"/>
                  </a:lnTo>
                  <a:lnTo>
                    <a:pt x="36" y="226"/>
                  </a:lnTo>
                  <a:lnTo>
                    <a:pt x="33" y="230"/>
                  </a:lnTo>
                  <a:lnTo>
                    <a:pt x="30" y="232"/>
                  </a:lnTo>
                  <a:lnTo>
                    <a:pt x="24" y="237"/>
                  </a:lnTo>
                  <a:lnTo>
                    <a:pt x="21" y="239"/>
                  </a:lnTo>
                  <a:lnTo>
                    <a:pt x="20" y="243"/>
                  </a:lnTo>
                  <a:lnTo>
                    <a:pt x="19" y="245"/>
                  </a:lnTo>
                  <a:lnTo>
                    <a:pt x="16" y="248"/>
                  </a:lnTo>
                  <a:lnTo>
                    <a:pt x="14" y="250"/>
                  </a:lnTo>
                  <a:lnTo>
                    <a:pt x="10" y="25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6" name="Freeform 755"/>
            <p:cNvSpPr>
              <a:spLocks/>
            </p:cNvSpPr>
            <p:nvPr/>
          </p:nvSpPr>
          <p:spPr bwMode="auto">
            <a:xfrm>
              <a:off x="5205415" y="4249741"/>
              <a:ext cx="223837" cy="314325"/>
            </a:xfrm>
            <a:custGeom>
              <a:avLst/>
              <a:gdLst>
                <a:gd name="T0" fmla="*/ 2147483647 w 153"/>
                <a:gd name="T1" fmla="*/ 2147483647 h 198"/>
                <a:gd name="T2" fmla="*/ 2147483647 w 153"/>
                <a:gd name="T3" fmla="*/ 2147483647 h 198"/>
                <a:gd name="T4" fmla="*/ 2147483647 w 153"/>
                <a:gd name="T5" fmla="*/ 2147483647 h 198"/>
                <a:gd name="T6" fmla="*/ 2147483647 w 153"/>
                <a:gd name="T7" fmla="*/ 2147483647 h 198"/>
                <a:gd name="T8" fmla="*/ 2147483647 w 153"/>
                <a:gd name="T9" fmla="*/ 2147483647 h 198"/>
                <a:gd name="T10" fmla="*/ 2147483647 w 153"/>
                <a:gd name="T11" fmla="*/ 2147483647 h 198"/>
                <a:gd name="T12" fmla="*/ 2147483647 w 153"/>
                <a:gd name="T13" fmla="*/ 2147483647 h 198"/>
                <a:gd name="T14" fmla="*/ 0 w 153"/>
                <a:gd name="T15" fmla="*/ 2147483647 h 198"/>
                <a:gd name="T16" fmla="*/ 2147483647 w 153"/>
                <a:gd name="T17" fmla="*/ 2147483647 h 198"/>
                <a:gd name="T18" fmla="*/ 2147483647 w 153"/>
                <a:gd name="T19" fmla="*/ 2147483647 h 198"/>
                <a:gd name="T20" fmla="*/ 2147483647 w 153"/>
                <a:gd name="T21" fmla="*/ 2147483647 h 198"/>
                <a:gd name="T22" fmla="*/ 2147483647 w 153"/>
                <a:gd name="T23" fmla="*/ 2147483647 h 198"/>
                <a:gd name="T24" fmla="*/ 2147483647 w 153"/>
                <a:gd name="T25" fmla="*/ 2147483647 h 198"/>
                <a:gd name="T26" fmla="*/ 2147483647 w 153"/>
                <a:gd name="T27" fmla="*/ 2147483647 h 198"/>
                <a:gd name="T28" fmla="*/ 2147483647 w 153"/>
                <a:gd name="T29" fmla="*/ 2147483647 h 198"/>
                <a:gd name="T30" fmla="*/ 2147483647 w 153"/>
                <a:gd name="T31" fmla="*/ 2147483647 h 198"/>
                <a:gd name="T32" fmla="*/ 2147483647 w 153"/>
                <a:gd name="T33" fmla="*/ 2147483647 h 198"/>
                <a:gd name="T34" fmla="*/ 2147483647 w 153"/>
                <a:gd name="T35" fmla="*/ 2147483647 h 198"/>
                <a:gd name="T36" fmla="*/ 2147483647 w 153"/>
                <a:gd name="T37" fmla="*/ 2147483647 h 198"/>
                <a:gd name="T38" fmla="*/ 2147483647 w 153"/>
                <a:gd name="T39" fmla="*/ 2147483647 h 198"/>
                <a:gd name="T40" fmla="*/ 2147483647 w 153"/>
                <a:gd name="T41" fmla="*/ 2147483647 h 198"/>
                <a:gd name="T42" fmla="*/ 2147483647 w 153"/>
                <a:gd name="T43" fmla="*/ 0 h 198"/>
                <a:gd name="T44" fmla="*/ 2147483647 w 153"/>
                <a:gd name="T45" fmla="*/ 2147483647 h 198"/>
                <a:gd name="T46" fmla="*/ 2147483647 w 153"/>
                <a:gd name="T47" fmla="*/ 2147483647 h 198"/>
                <a:gd name="T48" fmla="*/ 2147483647 w 153"/>
                <a:gd name="T49" fmla="*/ 2147483647 h 198"/>
                <a:gd name="T50" fmla="*/ 2147483647 w 153"/>
                <a:gd name="T51" fmla="*/ 2147483647 h 198"/>
                <a:gd name="T52" fmla="*/ 2147483647 w 153"/>
                <a:gd name="T53" fmla="*/ 2147483647 h 198"/>
                <a:gd name="T54" fmla="*/ 2147483647 w 153"/>
                <a:gd name="T55" fmla="*/ 2147483647 h 198"/>
                <a:gd name="T56" fmla="*/ 2147483647 w 153"/>
                <a:gd name="T57" fmla="*/ 2147483647 h 198"/>
                <a:gd name="T58" fmla="*/ 2147483647 w 153"/>
                <a:gd name="T59" fmla="*/ 2147483647 h 198"/>
                <a:gd name="T60" fmla="*/ 2147483647 w 153"/>
                <a:gd name="T61" fmla="*/ 2147483647 h 198"/>
                <a:gd name="T62" fmla="*/ 2147483647 w 153"/>
                <a:gd name="T63" fmla="*/ 2147483647 h 198"/>
                <a:gd name="T64" fmla="*/ 2147483647 w 153"/>
                <a:gd name="T65" fmla="*/ 2147483647 h 198"/>
                <a:gd name="T66" fmla="*/ 2147483647 w 153"/>
                <a:gd name="T67" fmla="*/ 2147483647 h 198"/>
                <a:gd name="T68" fmla="*/ 2147483647 w 153"/>
                <a:gd name="T69" fmla="*/ 2147483647 h 198"/>
                <a:gd name="T70" fmla="*/ 2147483647 w 153"/>
                <a:gd name="T71" fmla="*/ 2147483647 h 198"/>
                <a:gd name="T72" fmla="*/ 2147483647 w 153"/>
                <a:gd name="T73" fmla="*/ 2147483647 h 198"/>
                <a:gd name="T74" fmla="*/ 2147483647 w 153"/>
                <a:gd name="T75" fmla="*/ 2147483647 h 198"/>
                <a:gd name="T76" fmla="*/ 2147483647 w 153"/>
                <a:gd name="T77" fmla="*/ 2147483647 h 198"/>
                <a:gd name="T78" fmla="*/ 2147483647 w 153"/>
                <a:gd name="T79" fmla="*/ 2147483647 h 198"/>
                <a:gd name="T80" fmla="*/ 2147483647 w 153"/>
                <a:gd name="T81" fmla="*/ 2147483647 h 198"/>
                <a:gd name="T82" fmla="*/ 2147483647 w 153"/>
                <a:gd name="T83" fmla="*/ 2147483647 h 198"/>
                <a:gd name="T84" fmla="*/ 2147483647 w 153"/>
                <a:gd name="T85" fmla="*/ 2147483647 h 198"/>
                <a:gd name="T86" fmla="*/ 2147483647 w 153"/>
                <a:gd name="T87" fmla="*/ 2147483647 h 198"/>
                <a:gd name="T88" fmla="*/ 2147483647 w 153"/>
                <a:gd name="T89" fmla="*/ 2147483647 h 198"/>
                <a:gd name="T90" fmla="*/ 2147483647 w 153"/>
                <a:gd name="T91" fmla="*/ 2147483647 h 198"/>
                <a:gd name="T92" fmla="*/ 2147483647 w 153"/>
                <a:gd name="T93" fmla="*/ 2147483647 h 198"/>
                <a:gd name="T94" fmla="*/ 2147483647 w 153"/>
                <a:gd name="T95" fmla="*/ 2147483647 h 198"/>
                <a:gd name="T96" fmla="*/ 2147483647 w 153"/>
                <a:gd name="T97" fmla="*/ 2147483647 h 198"/>
                <a:gd name="T98" fmla="*/ 2147483647 w 153"/>
                <a:gd name="T99" fmla="*/ 2147483647 h 198"/>
                <a:gd name="T100" fmla="*/ 2147483647 w 153"/>
                <a:gd name="T101" fmla="*/ 2147483647 h 198"/>
                <a:gd name="T102" fmla="*/ 2147483647 w 153"/>
                <a:gd name="T103" fmla="*/ 2147483647 h 198"/>
                <a:gd name="T104" fmla="*/ 2147483647 w 153"/>
                <a:gd name="T105" fmla="*/ 2147483647 h 198"/>
                <a:gd name="T106" fmla="*/ 2147483647 w 153"/>
                <a:gd name="T107" fmla="*/ 2147483647 h 19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198"/>
                <a:gd name="T164" fmla="*/ 153 w 153"/>
                <a:gd name="T165" fmla="*/ 198 h 19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198">
                  <a:moveTo>
                    <a:pt x="95" y="198"/>
                  </a:moveTo>
                  <a:lnTo>
                    <a:pt x="95" y="198"/>
                  </a:lnTo>
                  <a:lnTo>
                    <a:pt x="92" y="196"/>
                  </a:lnTo>
                  <a:lnTo>
                    <a:pt x="89" y="192"/>
                  </a:lnTo>
                  <a:lnTo>
                    <a:pt x="78" y="186"/>
                  </a:lnTo>
                  <a:lnTo>
                    <a:pt x="68" y="180"/>
                  </a:lnTo>
                  <a:lnTo>
                    <a:pt x="65" y="177"/>
                  </a:lnTo>
                  <a:lnTo>
                    <a:pt x="62" y="173"/>
                  </a:lnTo>
                  <a:lnTo>
                    <a:pt x="58" y="165"/>
                  </a:lnTo>
                  <a:lnTo>
                    <a:pt x="51" y="159"/>
                  </a:lnTo>
                  <a:lnTo>
                    <a:pt x="33" y="142"/>
                  </a:lnTo>
                  <a:lnTo>
                    <a:pt x="16" y="129"/>
                  </a:lnTo>
                  <a:lnTo>
                    <a:pt x="0" y="115"/>
                  </a:lnTo>
                  <a:lnTo>
                    <a:pt x="1" y="98"/>
                  </a:lnTo>
                  <a:lnTo>
                    <a:pt x="2" y="91"/>
                  </a:lnTo>
                  <a:lnTo>
                    <a:pt x="4" y="84"/>
                  </a:lnTo>
                  <a:lnTo>
                    <a:pt x="6" y="79"/>
                  </a:lnTo>
                  <a:lnTo>
                    <a:pt x="10" y="75"/>
                  </a:lnTo>
                  <a:lnTo>
                    <a:pt x="15" y="70"/>
                  </a:lnTo>
                  <a:lnTo>
                    <a:pt x="20" y="66"/>
                  </a:lnTo>
                  <a:lnTo>
                    <a:pt x="21" y="65"/>
                  </a:lnTo>
                  <a:lnTo>
                    <a:pt x="23" y="63"/>
                  </a:lnTo>
                  <a:lnTo>
                    <a:pt x="21" y="57"/>
                  </a:lnTo>
                  <a:lnTo>
                    <a:pt x="14" y="41"/>
                  </a:lnTo>
                  <a:lnTo>
                    <a:pt x="12" y="33"/>
                  </a:lnTo>
                  <a:lnTo>
                    <a:pt x="10" y="25"/>
                  </a:lnTo>
                  <a:lnTo>
                    <a:pt x="10" y="24"/>
                  </a:lnTo>
                  <a:lnTo>
                    <a:pt x="9" y="23"/>
                  </a:lnTo>
                  <a:lnTo>
                    <a:pt x="5" y="20"/>
                  </a:lnTo>
                  <a:lnTo>
                    <a:pt x="4" y="18"/>
                  </a:lnTo>
                  <a:lnTo>
                    <a:pt x="10" y="9"/>
                  </a:lnTo>
                  <a:lnTo>
                    <a:pt x="14" y="5"/>
                  </a:lnTo>
                  <a:lnTo>
                    <a:pt x="19" y="1"/>
                  </a:lnTo>
                  <a:lnTo>
                    <a:pt x="21" y="0"/>
                  </a:lnTo>
                  <a:lnTo>
                    <a:pt x="24" y="1"/>
                  </a:lnTo>
                  <a:lnTo>
                    <a:pt x="29" y="5"/>
                  </a:lnTo>
                  <a:lnTo>
                    <a:pt x="31" y="5"/>
                  </a:lnTo>
                  <a:lnTo>
                    <a:pt x="34" y="4"/>
                  </a:lnTo>
                  <a:lnTo>
                    <a:pt x="35" y="6"/>
                  </a:lnTo>
                  <a:lnTo>
                    <a:pt x="37" y="8"/>
                  </a:lnTo>
                  <a:lnTo>
                    <a:pt x="38" y="11"/>
                  </a:lnTo>
                  <a:lnTo>
                    <a:pt x="38" y="12"/>
                  </a:lnTo>
                  <a:lnTo>
                    <a:pt x="39" y="13"/>
                  </a:lnTo>
                  <a:lnTo>
                    <a:pt x="42" y="14"/>
                  </a:lnTo>
                  <a:lnTo>
                    <a:pt x="45" y="15"/>
                  </a:lnTo>
                  <a:lnTo>
                    <a:pt x="51" y="14"/>
                  </a:lnTo>
                  <a:lnTo>
                    <a:pt x="56" y="14"/>
                  </a:lnTo>
                  <a:lnTo>
                    <a:pt x="59" y="17"/>
                  </a:lnTo>
                  <a:lnTo>
                    <a:pt x="71" y="24"/>
                  </a:lnTo>
                  <a:lnTo>
                    <a:pt x="77" y="26"/>
                  </a:lnTo>
                  <a:lnTo>
                    <a:pt x="82" y="27"/>
                  </a:lnTo>
                  <a:lnTo>
                    <a:pt x="89" y="27"/>
                  </a:lnTo>
                  <a:lnTo>
                    <a:pt x="94" y="27"/>
                  </a:lnTo>
                  <a:lnTo>
                    <a:pt x="100" y="25"/>
                  </a:lnTo>
                  <a:lnTo>
                    <a:pt x="106" y="21"/>
                  </a:lnTo>
                  <a:lnTo>
                    <a:pt x="110" y="21"/>
                  </a:lnTo>
                  <a:lnTo>
                    <a:pt x="115" y="20"/>
                  </a:lnTo>
                  <a:lnTo>
                    <a:pt x="125" y="20"/>
                  </a:lnTo>
                  <a:lnTo>
                    <a:pt x="136" y="23"/>
                  </a:lnTo>
                  <a:lnTo>
                    <a:pt x="147" y="20"/>
                  </a:lnTo>
                  <a:lnTo>
                    <a:pt x="153" y="20"/>
                  </a:lnTo>
                  <a:lnTo>
                    <a:pt x="148" y="25"/>
                  </a:lnTo>
                  <a:lnTo>
                    <a:pt x="145" y="31"/>
                  </a:lnTo>
                  <a:lnTo>
                    <a:pt x="139" y="36"/>
                  </a:lnTo>
                  <a:lnTo>
                    <a:pt x="136" y="40"/>
                  </a:lnTo>
                  <a:lnTo>
                    <a:pt x="131" y="45"/>
                  </a:lnTo>
                  <a:lnTo>
                    <a:pt x="129" y="50"/>
                  </a:lnTo>
                  <a:lnTo>
                    <a:pt x="129" y="82"/>
                  </a:lnTo>
                  <a:lnTo>
                    <a:pt x="129" y="110"/>
                  </a:lnTo>
                  <a:lnTo>
                    <a:pt x="131" y="114"/>
                  </a:lnTo>
                  <a:lnTo>
                    <a:pt x="133" y="117"/>
                  </a:lnTo>
                  <a:lnTo>
                    <a:pt x="139" y="124"/>
                  </a:lnTo>
                  <a:lnTo>
                    <a:pt x="132" y="136"/>
                  </a:lnTo>
                  <a:lnTo>
                    <a:pt x="129" y="143"/>
                  </a:lnTo>
                  <a:lnTo>
                    <a:pt x="127" y="146"/>
                  </a:lnTo>
                  <a:lnTo>
                    <a:pt x="125" y="148"/>
                  </a:lnTo>
                  <a:lnTo>
                    <a:pt x="118" y="152"/>
                  </a:lnTo>
                  <a:lnTo>
                    <a:pt x="111" y="156"/>
                  </a:lnTo>
                  <a:lnTo>
                    <a:pt x="108" y="162"/>
                  </a:lnTo>
                  <a:lnTo>
                    <a:pt x="105" y="170"/>
                  </a:lnTo>
                  <a:lnTo>
                    <a:pt x="100" y="184"/>
                  </a:lnTo>
                  <a:lnTo>
                    <a:pt x="98" y="191"/>
                  </a:lnTo>
                  <a:lnTo>
                    <a:pt x="95" y="19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7" name="Freeform 756"/>
            <p:cNvSpPr>
              <a:spLocks/>
            </p:cNvSpPr>
            <p:nvPr/>
          </p:nvSpPr>
          <p:spPr bwMode="auto">
            <a:xfrm>
              <a:off x="5394325" y="4043367"/>
              <a:ext cx="254000" cy="403225"/>
            </a:xfrm>
            <a:custGeom>
              <a:avLst/>
              <a:gdLst>
                <a:gd name="T0" fmla="*/ 2147483647 w 174"/>
                <a:gd name="T1" fmla="*/ 2147483647 h 254"/>
                <a:gd name="T2" fmla="*/ 0 w 174"/>
                <a:gd name="T3" fmla="*/ 2147483647 h 254"/>
                <a:gd name="T4" fmla="*/ 0 w 174"/>
                <a:gd name="T5" fmla="*/ 2147483647 h 254"/>
                <a:gd name="T6" fmla="*/ 2147483647 w 174"/>
                <a:gd name="T7" fmla="*/ 2147483647 h 254"/>
                <a:gd name="T8" fmla="*/ 2147483647 w 174"/>
                <a:gd name="T9" fmla="*/ 2147483647 h 254"/>
                <a:gd name="T10" fmla="*/ 2147483647 w 174"/>
                <a:gd name="T11" fmla="*/ 2147483647 h 254"/>
                <a:gd name="T12" fmla="*/ 2147483647 w 174"/>
                <a:gd name="T13" fmla="*/ 2147483647 h 254"/>
                <a:gd name="T14" fmla="*/ 2147483647 w 174"/>
                <a:gd name="T15" fmla="*/ 2147483647 h 254"/>
                <a:gd name="T16" fmla="*/ 2147483647 w 174"/>
                <a:gd name="T17" fmla="*/ 2147483647 h 254"/>
                <a:gd name="T18" fmla="*/ 2147483647 w 174"/>
                <a:gd name="T19" fmla="*/ 2147483647 h 254"/>
                <a:gd name="T20" fmla="*/ 2147483647 w 174"/>
                <a:gd name="T21" fmla="*/ 2147483647 h 254"/>
                <a:gd name="T22" fmla="*/ 2147483647 w 174"/>
                <a:gd name="T23" fmla="*/ 2147483647 h 254"/>
                <a:gd name="T24" fmla="*/ 2147483647 w 174"/>
                <a:gd name="T25" fmla="*/ 2147483647 h 254"/>
                <a:gd name="T26" fmla="*/ 2147483647 w 174"/>
                <a:gd name="T27" fmla="*/ 2147483647 h 254"/>
                <a:gd name="T28" fmla="*/ 2147483647 w 174"/>
                <a:gd name="T29" fmla="*/ 2147483647 h 254"/>
                <a:gd name="T30" fmla="*/ 2147483647 w 174"/>
                <a:gd name="T31" fmla="*/ 2147483647 h 254"/>
                <a:gd name="T32" fmla="*/ 2147483647 w 174"/>
                <a:gd name="T33" fmla="*/ 2147483647 h 254"/>
                <a:gd name="T34" fmla="*/ 2147483647 w 174"/>
                <a:gd name="T35" fmla="*/ 2147483647 h 254"/>
                <a:gd name="T36" fmla="*/ 2147483647 w 174"/>
                <a:gd name="T37" fmla="*/ 2147483647 h 254"/>
                <a:gd name="T38" fmla="*/ 2147483647 w 174"/>
                <a:gd name="T39" fmla="*/ 2147483647 h 254"/>
                <a:gd name="T40" fmla="*/ 2147483647 w 174"/>
                <a:gd name="T41" fmla="*/ 2147483647 h 254"/>
                <a:gd name="T42" fmla="*/ 2147483647 w 174"/>
                <a:gd name="T43" fmla="*/ 2147483647 h 254"/>
                <a:gd name="T44" fmla="*/ 2147483647 w 174"/>
                <a:gd name="T45" fmla="*/ 2147483647 h 254"/>
                <a:gd name="T46" fmla="*/ 2147483647 w 174"/>
                <a:gd name="T47" fmla="*/ 2147483647 h 254"/>
                <a:gd name="T48" fmla="*/ 2147483647 w 174"/>
                <a:gd name="T49" fmla="*/ 2147483647 h 254"/>
                <a:gd name="T50" fmla="*/ 2147483647 w 174"/>
                <a:gd name="T51" fmla="*/ 2147483647 h 254"/>
                <a:gd name="T52" fmla="*/ 2147483647 w 174"/>
                <a:gd name="T53" fmla="*/ 2147483647 h 254"/>
                <a:gd name="T54" fmla="*/ 2147483647 w 174"/>
                <a:gd name="T55" fmla="*/ 2147483647 h 254"/>
                <a:gd name="T56" fmla="*/ 2147483647 w 174"/>
                <a:gd name="T57" fmla="*/ 2147483647 h 254"/>
                <a:gd name="T58" fmla="*/ 2147483647 w 174"/>
                <a:gd name="T59" fmla="*/ 2147483647 h 254"/>
                <a:gd name="T60" fmla="*/ 2147483647 w 174"/>
                <a:gd name="T61" fmla="*/ 0 h 254"/>
                <a:gd name="T62" fmla="*/ 2147483647 w 174"/>
                <a:gd name="T63" fmla="*/ 2147483647 h 254"/>
                <a:gd name="T64" fmla="*/ 2147483647 w 174"/>
                <a:gd name="T65" fmla="*/ 2147483647 h 254"/>
                <a:gd name="T66" fmla="*/ 2147483647 w 174"/>
                <a:gd name="T67" fmla="*/ 2147483647 h 254"/>
                <a:gd name="T68" fmla="*/ 2147483647 w 174"/>
                <a:gd name="T69" fmla="*/ 2147483647 h 254"/>
                <a:gd name="T70" fmla="*/ 2147483647 w 174"/>
                <a:gd name="T71" fmla="*/ 2147483647 h 254"/>
                <a:gd name="T72" fmla="*/ 2147483647 w 174"/>
                <a:gd name="T73" fmla="*/ 2147483647 h 254"/>
                <a:gd name="T74" fmla="*/ 2147483647 w 174"/>
                <a:gd name="T75" fmla="*/ 2147483647 h 254"/>
                <a:gd name="T76" fmla="*/ 2147483647 w 174"/>
                <a:gd name="T77" fmla="*/ 2147483647 h 254"/>
                <a:gd name="T78" fmla="*/ 2147483647 w 174"/>
                <a:gd name="T79" fmla="*/ 2147483647 h 254"/>
                <a:gd name="T80" fmla="*/ 2147483647 w 174"/>
                <a:gd name="T81" fmla="*/ 2147483647 h 254"/>
                <a:gd name="T82" fmla="*/ 2147483647 w 174"/>
                <a:gd name="T83" fmla="*/ 2147483647 h 254"/>
                <a:gd name="T84" fmla="*/ 2147483647 w 174"/>
                <a:gd name="T85" fmla="*/ 2147483647 h 254"/>
                <a:gd name="T86" fmla="*/ 2147483647 w 174"/>
                <a:gd name="T87" fmla="*/ 2147483647 h 254"/>
                <a:gd name="T88" fmla="*/ 2147483647 w 174"/>
                <a:gd name="T89" fmla="*/ 2147483647 h 254"/>
                <a:gd name="T90" fmla="*/ 2147483647 w 174"/>
                <a:gd name="T91" fmla="*/ 2147483647 h 254"/>
                <a:gd name="T92" fmla="*/ 2147483647 w 174"/>
                <a:gd name="T93" fmla="*/ 2147483647 h 254"/>
                <a:gd name="T94" fmla="*/ 2147483647 w 174"/>
                <a:gd name="T95" fmla="*/ 2147483647 h 254"/>
                <a:gd name="T96" fmla="*/ 2147483647 w 174"/>
                <a:gd name="T97" fmla="*/ 2147483647 h 254"/>
                <a:gd name="T98" fmla="*/ 2147483647 w 174"/>
                <a:gd name="T99" fmla="*/ 2147483647 h 254"/>
                <a:gd name="T100" fmla="*/ 2147483647 w 174"/>
                <a:gd name="T101" fmla="*/ 2147483647 h 254"/>
                <a:gd name="T102" fmla="*/ 2147483647 w 174"/>
                <a:gd name="T103" fmla="*/ 2147483647 h 254"/>
                <a:gd name="T104" fmla="*/ 2147483647 w 174"/>
                <a:gd name="T105" fmla="*/ 2147483647 h 2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
                <a:gd name="T160" fmla="*/ 0 h 254"/>
                <a:gd name="T161" fmla="*/ 174 w 174"/>
                <a:gd name="T162" fmla="*/ 254 h 2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 h="254">
                  <a:moveTo>
                    <a:pt x="10" y="254"/>
                  </a:moveTo>
                  <a:lnTo>
                    <a:pt x="10" y="254"/>
                  </a:lnTo>
                  <a:lnTo>
                    <a:pt x="4" y="247"/>
                  </a:lnTo>
                  <a:lnTo>
                    <a:pt x="2" y="244"/>
                  </a:lnTo>
                  <a:lnTo>
                    <a:pt x="0" y="240"/>
                  </a:lnTo>
                  <a:lnTo>
                    <a:pt x="0" y="212"/>
                  </a:lnTo>
                  <a:lnTo>
                    <a:pt x="0" y="180"/>
                  </a:lnTo>
                  <a:lnTo>
                    <a:pt x="2" y="175"/>
                  </a:lnTo>
                  <a:lnTo>
                    <a:pt x="7" y="170"/>
                  </a:lnTo>
                  <a:lnTo>
                    <a:pt x="10" y="166"/>
                  </a:lnTo>
                  <a:lnTo>
                    <a:pt x="16" y="161"/>
                  </a:lnTo>
                  <a:lnTo>
                    <a:pt x="19" y="155"/>
                  </a:lnTo>
                  <a:lnTo>
                    <a:pt x="24" y="150"/>
                  </a:lnTo>
                  <a:lnTo>
                    <a:pt x="31" y="150"/>
                  </a:lnTo>
                  <a:lnTo>
                    <a:pt x="37" y="149"/>
                  </a:lnTo>
                  <a:lnTo>
                    <a:pt x="41" y="147"/>
                  </a:lnTo>
                  <a:lnTo>
                    <a:pt x="46" y="144"/>
                  </a:lnTo>
                  <a:lnTo>
                    <a:pt x="50" y="142"/>
                  </a:lnTo>
                  <a:lnTo>
                    <a:pt x="52" y="141"/>
                  </a:lnTo>
                  <a:lnTo>
                    <a:pt x="61" y="141"/>
                  </a:lnTo>
                  <a:lnTo>
                    <a:pt x="66" y="141"/>
                  </a:lnTo>
                  <a:lnTo>
                    <a:pt x="71" y="139"/>
                  </a:lnTo>
                  <a:lnTo>
                    <a:pt x="74" y="137"/>
                  </a:lnTo>
                  <a:lnTo>
                    <a:pt x="76" y="132"/>
                  </a:lnTo>
                  <a:lnTo>
                    <a:pt x="88" y="117"/>
                  </a:lnTo>
                  <a:lnTo>
                    <a:pt x="101" y="104"/>
                  </a:lnTo>
                  <a:lnTo>
                    <a:pt x="113" y="90"/>
                  </a:lnTo>
                  <a:lnTo>
                    <a:pt x="118" y="83"/>
                  </a:lnTo>
                  <a:lnTo>
                    <a:pt x="122" y="74"/>
                  </a:lnTo>
                  <a:lnTo>
                    <a:pt x="121" y="73"/>
                  </a:lnTo>
                  <a:lnTo>
                    <a:pt x="120" y="73"/>
                  </a:lnTo>
                  <a:lnTo>
                    <a:pt x="112" y="73"/>
                  </a:lnTo>
                  <a:lnTo>
                    <a:pt x="104" y="72"/>
                  </a:lnTo>
                  <a:lnTo>
                    <a:pt x="98" y="70"/>
                  </a:lnTo>
                  <a:lnTo>
                    <a:pt x="90" y="67"/>
                  </a:lnTo>
                  <a:lnTo>
                    <a:pt x="78" y="61"/>
                  </a:lnTo>
                  <a:lnTo>
                    <a:pt x="64" y="55"/>
                  </a:lnTo>
                  <a:lnTo>
                    <a:pt x="57" y="53"/>
                  </a:lnTo>
                  <a:lnTo>
                    <a:pt x="50" y="49"/>
                  </a:lnTo>
                  <a:lnTo>
                    <a:pt x="43" y="46"/>
                  </a:lnTo>
                  <a:lnTo>
                    <a:pt x="38" y="41"/>
                  </a:lnTo>
                  <a:lnTo>
                    <a:pt x="28" y="32"/>
                  </a:lnTo>
                  <a:lnTo>
                    <a:pt x="21" y="20"/>
                  </a:lnTo>
                  <a:lnTo>
                    <a:pt x="23" y="17"/>
                  </a:lnTo>
                  <a:lnTo>
                    <a:pt x="27" y="11"/>
                  </a:lnTo>
                  <a:lnTo>
                    <a:pt x="29" y="8"/>
                  </a:lnTo>
                  <a:lnTo>
                    <a:pt x="32" y="6"/>
                  </a:lnTo>
                  <a:lnTo>
                    <a:pt x="32" y="9"/>
                  </a:lnTo>
                  <a:lnTo>
                    <a:pt x="33" y="11"/>
                  </a:lnTo>
                  <a:lnTo>
                    <a:pt x="42" y="19"/>
                  </a:lnTo>
                  <a:lnTo>
                    <a:pt x="51" y="23"/>
                  </a:lnTo>
                  <a:lnTo>
                    <a:pt x="55" y="24"/>
                  </a:lnTo>
                  <a:lnTo>
                    <a:pt x="60" y="26"/>
                  </a:lnTo>
                  <a:lnTo>
                    <a:pt x="66" y="27"/>
                  </a:lnTo>
                  <a:lnTo>
                    <a:pt x="73" y="26"/>
                  </a:lnTo>
                  <a:lnTo>
                    <a:pt x="84" y="22"/>
                  </a:lnTo>
                  <a:lnTo>
                    <a:pt x="97" y="19"/>
                  </a:lnTo>
                  <a:lnTo>
                    <a:pt x="108" y="15"/>
                  </a:lnTo>
                  <a:lnTo>
                    <a:pt x="121" y="13"/>
                  </a:lnTo>
                  <a:lnTo>
                    <a:pt x="122" y="13"/>
                  </a:lnTo>
                  <a:lnTo>
                    <a:pt x="123" y="14"/>
                  </a:lnTo>
                  <a:lnTo>
                    <a:pt x="125" y="14"/>
                  </a:lnTo>
                  <a:lnTo>
                    <a:pt x="126" y="15"/>
                  </a:lnTo>
                  <a:lnTo>
                    <a:pt x="131" y="13"/>
                  </a:lnTo>
                  <a:lnTo>
                    <a:pt x="135" y="10"/>
                  </a:lnTo>
                  <a:lnTo>
                    <a:pt x="140" y="9"/>
                  </a:lnTo>
                  <a:lnTo>
                    <a:pt x="145" y="9"/>
                  </a:lnTo>
                  <a:lnTo>
                    <a:pt x="148" y="9"/>
                  </a:lnTo>
                  <a:lnTo>
                    <a:pt x="151" y="9"/>
                  </a:lnTo>
                  <a:lnTo>
                    <a:pt x="158" y="6"/>
                  </a:lnTo>
                  <a:lnTo>
                    <a:pt x="165" y="2"/>
                  </a:lnTo>
                  <a:lnTo>
                    <a:pt x="169" y="0"/>
                  </a:lnTo>
                  <a:lnTo>
                    <a:pt x="173" y="0"/>
                  </a:lnTo>
                  <a:lnTo>
                    <a:pt x="174" y="1"/>
                  </a:lnTo>
                  <a:lnTo>
                    <a:pt x="174" y="3"/>
                  </a:lnTo>
                  <a:lnTo>
                    <a:pt x="173" y="8"/>
                  </a:lnTo>
                  <a:lnTo>
                    <a:pt x="172" y="13"/>
                  </a:lnTo>
                  <a:lnTo>
                    <a:pt x="172" y="19"/>
                  </a:lnTo>
                  <a:lnTo>
                    <a:pt x="173" y="23"/>
                  </a:lnTo>
                  <a:lnTo>
                    <a:pt x="174" y="27"/>
                  </a:lnTo>
                  <a:lnTo>
                    <a:pt x="174" y="29"/>
                  </a:lnTo>
                  <a:lnTo>
                    <a:pt x="172" y="35"/>
                  </a:lnTo>
                  <a:lnTo>
                    <a:pt x="158" y="61"/>
                  </a:lnTo>
                  <a:lnTo>
                    <a:pt x="145" y="86"/>
                  </a:lnTo>
                  <a:lnTo>
                    <a:pt x="141" y="93"/>
                  </a:lnTo>
                  <a:lnTo>
                    <a:pt x="139" y="97"/>
                  </a:lnTo>
                  <a:lnTo>
                    <a:pt x="139" y="99"/>
                  </a:lnTo>
                  <a:lnTo>
                    <a:pt x="137" y="109"/>
                  </a:lnTo>
                  <a:lnTo>
                    <a:pt x="135" y="118"/>
                  </a:lnTo>
                  <a:lnTo>
                    <a:pt x="134" y="123"/>
                  </a:lnTo>
                  <a:lnTo>
                    <a:pt x="131" y="126"/>
                  </a:lnTo>
                  <a:lnTo>
                    <a:pt x="127" y="130"/>
                  </a:lnTo>
                  <a:lnTo>
                    <a:pt x="123" y="132"/>
                  </a:lnTo>
                  <a:lnTo>
                    <a:pt x="122" y="135"/>
                  </a:lnTo>
                  <a:lnTo>
                    <a:pt x="121" y="137"/>
                  </a:lnTo>
                  <a:lnTo>
                    <a:pt x="120" y="141"/>
                  </a:lnTo>
                  <a:lnTo>
                    <a:pt x="118" y="142"/>
                  </a:lnTo>
                  <a:lnTo>
                    <a:pt x="113" y="145"/>
                  </a:lnTo>
                  <a:lnTo>
                    <a:pt x="111" y="150"/>
                  </a:lnTo>
                  <a:lnTo>
                    <a:pt x="107" y="160"/>
                  </a:lnTo>
                  <a:lnTo>
                    <a:pt x="103" y="168"/>
                  </a:lnTo>
                  <a:lnTo>
                    <a:pt x="97" y="174"/>
                  </a:lnTo>
                  <a:lnTo>
                    <a:pt x="90" y="179"/>
                  </a:lnTo>
                  <a:lnTo>
                    <a:pt x="84" y="183"/>
                  </a:lnTo>
                  <a:lnTo>
                    <a:pt x="76" y="188"/>
                  </a:lnTo>
                  <a:lnTo>
                    <a:pt x="71" y="193"/>
                  </a:lnTo>
                  <a:lnTo>
                    <a:pt x="65" y="202"/>
                  </a:lnTo>
                  <a:lnTo>
                    <a:pt x="62" y="205"/>
                  </a:lnTo>
                  <a:lnTo>
                    <a:pt x="57" y="207"/>
                  </a:lnTo>
                  <a:lnTo>
                    <a:pt x="54" y="209"/>
                  </a:lnTo>
                  <a:lnTo>
                    <a:pt x="51" y="213"/>
                  </a:lnTo>
                  <a:lnTo>
                    <a:pt x="50" y="215"/>
                  </a:lnTo>
                  <a:lnTo>
                    <a:pt x="49" y="218"/>
                  </a:lnTo>
                  <a:lnTo>
                    <a:pt x="45" y="221"/>
                  </a:lnTo>
                  <a:lnTo>
                    <a:pt x="41" y="222"/>
                  </a:lnTo>
                  <a:lnTo>
                    <a:pt x="37" y="226"/>
                  </a:lnTo>
                  <a:lnTo>
                    <a:pt x="33" y="230"/>
                  </a:lnTo>
                  <a:lnTo>
                    <a:pt x="31" y="232"/>
                  </a:lnTo>
                  <a:lnTo>
                    <a:pt x="24" y="237"/>
                  </a:lnTo>
                  <a:lnTo>
                    <a:pt x="22" y="239"/>
                  </a:lnTo>
                  <a:lnTo>
                    <a:pt x="21" y="243"/>
                  </a:lnTo>
                  <a:lnTo>
                    <a:pt x="19" y="245"/>
                  </a:lnTo>
                  <a:lnTo>
                    <a:pt x="17" y="247"/>
                  </a:lnTo>
                  <a:lnTo>
                    <a:pt x="14" y="250"/>
                  </a:lnTo>
                  <a:lnTo>
                    <a:pt x="10" y="2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8" name="Freeform 757"/>
            <p:cNvSpPr>
              <a:spLocks/>
            </p:cNvSpPr>
            <p:nvPr/>
          </p:nvSpPr>
          <p:spPr bwMode="auto">
            <a:xfrm>
              <a:off x="5408617" y="4029076"/>
              <a:ext cx="41275" cy="49214"/>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0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0 w 28"/>
                <a:gd name="T39" fmla="*/ 2147483647 h 31"/>
                <a:gd name="T40" fmla="*/ 0 w 28"/>
                <a:gd name="T41" fmla="*/ 2147483647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31"/>
                <a:gd name="T77" fmla="*/ 28 w 28"/>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31">
                  <a:moveTo>
                    <a:pt x="12" y="30"/>
                  </a:moveTo>
                  <a:lnTo>
                    <a:pt x="14" y="28"/>
                  </a:lnTo>
                  <a:lnTo>
                    <a:pt x="18" y="22"/>
                  </a:lnTo>
                  <a:lnTo>
                    <a:pt x="21" y="18"/>
                  </a:lnTo>
                  <a:lnTo>
                    <a:pt x="23" y="16"/>
                  </a:lnTo>
                  <a:lnTo>
                    <a:pt x="22" y="13"/>
                  </a:lnTo>
                  <a:lnTo>
                    <a:pt x="23" y="11"/>
                  </a:lnTo>
                  <a:lnTo>
                    <a:pt x="27" y="9"/>
                  </a:lnTo>
                  <a:lnTo>
                    <a:pt x="28" y="7"/>
                  </a:lnTo>
                  <a:lnTo>
                    <a:pt x="28" y="5"/>
                  </a:lnTo>
                  <a:lnTo>
                    <a:pt x="26" y="3"/>
                  </a:lnTo>
                  <a:lnTo>
                    <a:pt x="21" y="1"/>
                  </a:lnTo>
                  <a:lnTo>
                    <a:pt x="19" y="1"/>
                  </a:lnTo>
                  <a:lnTo>
                    <a:pt x="18" y="0"/>
                  </a:lnTo>
                  <a:lnTo>
                    <a:pt x="13" y="4"/>
                  </a:lnTo>
                  <a:lnTo>
                    <a:pt x="8" y="9"/>
                  </a:lnTo>
                  <a:lnTo>
                    <a:pt x="4" y="13"/>
                  </a:lnTo>
                  <a:lnTo>
                    <a:pt x="3" y="20"/>
                  </a:lnTo>
                  <a:lnTo>
                    <a:pt x="2" y="22"/>
                  </a:lnTo>
                  <a:lnTo>
                    <a:pt x="0" y="24"/>
                  </a:lnTo>
                  <a:lnTo>
                    <a:pt x="0" y="28"/>
                  </a:lnTo>
                  <a:lnTo>
                    <a:pt x="2" y="30"/>
                  </a:lnTo>
                  <a:lnTo>
                    <a:pt x="3" y="31"/>
                  </a:lnTo>
                  <a:lnTo>
                    <a:pt x="6" y="31"/>
                  </a:lnTo>
                  <a:lnTo>
                    <a:pt x="12"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59" name="Freeform 758"/>
            <p:cNvSpPr>
              <a:spLocks/>
            </p:cNvSpPr>
            <p:nvPr/>
          </p:nvSpPr>
          <p:spPr bwMode="auto">
            <a:xfrm>
              <a:off x="5183191" y="3856038"/>
              <a:ext cx="390525" cy="438150"/>
            </a:xfrm>
            <a:custGeom>
              <a:avLst/>
              <a:gdLst>
                <a:gd name="T0" fmla="*/ 2147483647 w 267"/>
                <a:gd name="T1" fmla="*/ 2147483647 h 276"/>
                <a:gd name="T2" fmla="*/ 2147483647 w 267"/>
                <a:gd name="T3" fmla="*/ 2147483647 h 276"/>
                <a:gd name="T4" fmla="*/ 2147483647 w 267"/>
                <a:gd name="T5" fmla="*/ 2147483647 h 276"/>
                <a:gd name="T6" fmla="*/ 2147483647 w 267"/>
                <a:gd name="T7" fmla="*/ 2147483647 h 276"/>
                <a:gd name="T8" fmla="*/ 2147483647 w 267"/>
                <a:gd name="T9" fmla="*/ 2147483647 h 276"/>
                <a:gd name="T10" fmla="*/ 2147483647 w 267"/>
                <a:gd name="T11" fmla="*/ 2147483647 h 276"/>
                <a:gd name="T12" fmla="*/ 2147483647 w 267"/>
                <a:gd name="T13" fmla="*/ 2147483647 h 276"/>
                <a:gd name="T14" fmla="*/ 2147483647 w 267"/>
                <a:gd name="T15" fmla="*/ 2147483647 h 276"/>
                <a:gd name="T16" fmla="*/ 2147483647 w 267"/>
                <a:gd name="T17" fmla="*/ 2147483647 h 276"/>
                <a:gd name="T18" fmla="*/ 2147483647 w 267"/>
                <a:gd name="T19" fmla="*/ 2147483647 h 276"/>
                <a:gd name="T20" fmla="*/ 2147483647 w 267"/>
                <a:gd name="T21" fmla="*/ 2147483647 h 276"/>
                <a:gd name="T22" fmla="*/ 2147483647 w 267"/>
                <a:gd name="T23" fmla="*/ 2147483647 h 276"/>
                <a:gd name="T24" fmla="*/ 2147483647 w 267"/>
                <a:gd name="T25" fmla="*/ 2147483647 h 276"/>
                <a:gd name="T26" fmla="*/ 2147483647 w 267"/>
                <a:gd name="T27" fmla="*/ 2147483647 h 276"/>
                <a:gd name="T28" fmla="*/ 2147483647 w 267"/>
                <a:gd name="T29" fmla="*/ 2147483647 h 276"/>
                <a:gd name="T30" fmla="*/ 2147483647 w 267"/>
                <a:gd name="T31" fmla="*/ 2147483647 h 276"/>
                <a:gd name="T32" fmla="*/ 2147483647 w 267"/>
                <a:gd name="T33" fmla="*/ 2147483647 h 276"/>
                <a:gd name="T34" fmla="*/ 2147483647 w 267"/>
                <a:gd name="T35" fmla="*/ 2147483647 h 276"/>
                <a:gd name="T36" fmla="*/ 2147483647 w 267"/>
                <a:gd name="T37" fmla="*/ 2147483647 h 276"/>
                <a:gd name="T38" fmla="*/ 2147483647 w 267"/>
                <a:gd name="T39" fmla="*/ 2147483647 h 276"/>
                <a:gd name="T40" fmla="*/ 2147483647 w 267"/>
                <a:gd name="T41" fmla="*/ 2147483647 h 276"/>
                <a:gd name="T42" fmla="*/ 2147483647 w 267"/>
                <a:gd name="T43" fmla="*/ 2147483647 h 276"/>
                <a:gd name="T44" fmla="*/ 2147483647 w 267"/>
                <a:gd name="T45" fmla="*/ 2147483647 h 276"/>
                <a:gd name="T46" fmla="*/ 2147483647 w 267"/>
                <a:gd name="T47" fmla="*/ 2147483647 h 276"/>
                <a:gd name="T48" fmla="*/ 2147483647 w 267"/>
                <a:gd name="T49" fmla="*/ 2147483647 h 276"/>
                <a:gd name="T50" fmla="*/ 2147483647 w 267"/>
                <a:gd name="T51" fmla="*/ 2147483647 h 276"/>
                <a:gd name="T52" fmla="*/ 0 w 267"/>
                <a:gd name="T53" fmla="*/ 2147483647 h 276"/>
                <a:gd name="T54" fmla="*/ 2147483647 w 267"/>
                <a:gd name="T55" fmla="*/ 2147483647 h 276"/>
                <a:gd name="T56" fmla="*/ 2147483647 w 267"/>
                <a:gd name="T57" fmla="*/ 2147483647 h 276"/>
                <a:gd name="T58" fmla="*/ 2147483647 w 267"/>
                <a:gd name="T59" fmla="*/ 2147483647 h 276"/>
                <a:gd name="T60" fmla="*/ 2147483647 w 267"/>
                <a:gd name="T61" fmla="*/ 2147483647 h 276"/>
                <a:gd name="T62" fmla="*/ 2147483647 w 267"/>
                <a:gd name="T63" fmla="*/ 2147483647 h 276"/>
                <a:gd name="T64" fmla="*/ 2147483647 w 267"/>
                <a:gd name="T65" fmla="*/ 2147483647 h 276"/>
                <a:gd name="T66" fmla="*/ 2147483647 w 267"/>
                <a:gd name="T67" fmla="*/ 2147483647 h 276"/>
                <a:gd name="T68" fmla="*/ 2147483647 w 267"/>
                <a:gd name="T69" fmla="*/ 2147483647 h 276"/>
                <a:gd name="T70" fmla="*/ 2147483647 w 267"/>
                <a:gd name="T71" fmla="*/ 2147483647 h 276"/>
                <a:gd name="T72" fmla="*/ 2147483647 w 267"/>
                <a:gd name="T73" fmla="*/ 2147483647 h 276"/>
                <a:gd name="T74" fmla="*/ 2147483647 w 267"/>
                <a:gd name="T75" fmla="*/ 2147483647 h 276"/>
                <a:gd name="T76" fmla="*/ 2147483647 w 267"/>
                <a:gd name="T77" fmla="*/ 2147483647 h 276"/>
                <a:gd name="T78" fmla="*/ 2147483647 w 267"/>
                <a:gd name="T79" fmla="*/ 2147483647 h 276"/>
                <a:gd name="T80" fmla="*/ 2147483647 w 267"/>
                <a:gd name="T81" fmla="*/ 2147483647 h 276"/>
                <a:gd name="T82" fmla="*/ 2147483647 w 267"/>
                <a:gd name="T83" fmla="*/ 2147483647 h 276"/>
                <a:gd name="T84" fmla="*/ 2147483647 w 267"/>
                <a:gd name="T85" fmla="*/ 2147483647 h 276"/>
                <a:gd name="T86" fmla="*/ 2147483647 w 267"/>
                <a:gd name="T87" fmla="*/ 2147483647 h 276"/>
                <a:gd name="T88" fmla="*/ 2147483647 w 267"/>
                <a:gd name="T89" fmla="*/ 2147483647 h 276"/>
                <a:gd name="T90" fmla="*/ 2147483647 w 267"/>
                <a:gd name="T91" fmla="*/ 2147483647 h 276"/>
                <a:gd name="T92" fmla="*/ 2147483647 w 267"/>
                <a:gd name="T93" fmla="*/ 2147483647 h 276"/>
                <a:gd name="T94" fmla="*/ 2147483647 w 267"/>
                <a:gd name="T95" fmla="*/ 2147483647 h 2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7"/>
                <a:gd name="T145" fmla="*/ 0 h 276"/>
                <a:gd name="T146" fmla="*/ 267 w 267"/>
                <a:gd name="T147" fmla="*/ 276 h 2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7" h="276">
                  <a:moveTo>
                    <a:pt x="172" y="109"/>
                  </a:moveTo>
                  <a:lnTo>
                    <a:pt x="167" y="113"/>
                  </a:lnTo>
                  <a:lnTo>
                    <a:pt x="162" y="118"/>
                  </a:lnTo>
                  <a:lnTo>
                    <a:pt x="158" y="122"/>
                  </a:lnTo>
                  <a:lnTo>
                    <a:pt x="157" y="129"/>
                  </a:lnTo>
                  <a:lnTo>
                    <a:pt x="156" y="131"/>
                  </a:lnTo>
                  <a:lnTo>
                    <a:pt x="154" y="133"/>
                  </a:lnTo>
                  <a:lnTo>
                    <a:pt x="154" y="137"/>
                  </a:lnTo>
                  <a:lnTo>
                    <a:pt x="156" y="139"/>
                  </a:lnTo>
                  <a:lnTo>
                    <a:pt x="157" y="140"/>
                  </a:lnTo>
                  <a:lnTo>
                    <a:pt x="160" y="140"/>
                  </a:lnTo>
                  <a:lnTo>
                    <a:pt x="166" y="139"/>
                  </a:lnTo>
                  <a:lnTo>
                    <a:pt x="173" y="151"/>
                  </a:lnTo>
                  <a:lnTo>
                    <a:pt x="184" y="160"/>
                  </a:lnTo>
                  <a:lnTo>
                    <a:pt x="189" y="165"/>
                  </a:lnTo>
                  <a:lnTo>
                    <a:pt x="195" y="169"/>
                  </a:lnTo>
                  <a:lnTo>
                    <a:pt x="203" y="172"/>
                  </a:lnTo>
                  <a:lnTo>
                    <a:pt x="209" y="174"/>
                  </a:lnTo>
                  <a:lnTo>
                    <a:pt x="223" y="180"/>
                  </a:lnTo>
                  <a:lnTo>
                    <a:pt x="236" y="186"/>
                  </a:lnTo>
                  <a:lnTo>
                    <a:pt x="243" y="189"/>
                  </a:lnTo>
                  <a:lnTo>
                    <a:pt x="250" y="191"/>
                  </a:lnTo>
                  <a:lnTo>
                    <a:pt x="257" y="192"/>
                  </a:lnTo>
                  <a:lnTo>
                    <a:pt x="265" y="192"/>
                  </a:lnTo>
                  <a:lnTo>
                    <a:pt x="266" y="192"/>
                  </a:lnTo>
                  <a:lnTo>
                    <a:pt x="267" y="193"/>
                  </a:lnTo>
                  <a:lnTo>
                    <a:pt x="264" y="202"/>
                  </a:lnTo>
                  <a:lnTo>
                    <a:pt x="259" y="209"/>
                  </a:lnTo>
                  <a:lnTo>
                    <a:pt x="246" y="223"/>
                  </a:lnTo>
                  <a:lnTo>
                    <a:pt x="233" y="236"/>
                  </a:lnTo>
                  <a:lnTo>
                    <a:pt x="222" y="252"/>
                  </a:lnTo>
                  <a:lnTo>
                    <a:pt x="219" y="256"/>
                  </a:lnTo>
                  <a:lnTo>
                    <a:pt x="217" y="259"/>
                  </a:lnTo>
                  <a:lnTo>
                    <a:pt x="212" y="260"/>
                  </a:lnTo>
                  <a:lnTo>
                    <a:pt x="206" y="260"/>
                  </a:lnTo>
                  <a:lnTo>
                    <a:pt x="198" y="260"/>
                  </a:lnTo>
                  <a:lnTo>
                    <a:pt x="195" y="261"/>
                  </a:lnTo>
                  <a:lnTo>
                    <a:pt x="191" y="263"/>
                  </a:lnTo>
                  <a:lnTo>
                    <a:pt x="186" y="266"/>
                  </a:lnTo>
                  <a:lnTo>
                    <a:pt x="182" y="268"/>
                  </a:lnTo>
                  <a:lnTo>
                    <a:pt x="176" y="269"/>
                  </a:lnTo>
                  <a:lnTo>
                    <a:pt x="170" y="269"/>
                  </a:lnTo>
                  <a:lnTo>
                    <a:pt x="163" y="269"/>
                  </a:lnTo>
                  <a:lnTo>
                    <a:pt x="152" y="272"/>
                  </a:lnTo>
                  <a:lnTo>
                    <a:pt x="142" y="269"/>
                  </a:lnTo>
                  <a:lnTo>
                    <a:pt x="132" y="269"/>
                  </a:lnTo>
                  <a:lnTo>
                    <a:pt x="126" y="271"/>
                  </a:lnTo>
                  <a:lnTo>
                    <a:pt x="123" y="271"/>
                  </a:lnTo>
                  <a:lnTo>
                    <a:pt x="116" y="274"/>
                  </a:lnTo>
                  <a:lnTo>
                    <a:pt x="110" y="276"/>
                  </a:lnTo>
                  <a:lnTo>
                    <a:pt x="105" y="276"/>
                  </a:lnTo>
                  <a:lnTo>
                    <a:pt x="99" y="276"/>
                  </a:lnTo>
                  <a:lnTo>
                    <a:pt x="93" y="275"/>
                  </a:lnTo>
                  <a:lnTo>
                    <a:pt x="87" y="273"/>
                  </a:lnTo>
                  <a:lnTo>
                    <a:pt x="76" y="266"/>
                  </a:lnTo>
                  <a:lnTo>
                    <a:pt x="72" y="263"/>
                  </a:lnTo>
                  <a:lnTo>
                    <a:pt x="67" y="263"/>
                  </a:lnTo>
                  <a:lnTo>
                    <a:pt x="62" y="265"/>
                  </a:lnTo>
                  <a:lnTo>
                    <a:pt x="58" y="263"/>
                  </a:lnTo>
                  <a:lnTo>
                    <a:pt x="55" y="262"/>
                  </a:lnTo>
                  <a:lnTo>
                    <a:pt x="54" y="261"/>
                  </a:lnTo>
                  <a:lnTo>
                    <a:pt x="54" y="260"/>
                  </a:lnTo>
                  <a:lnTo>
                    <a:pt x="53" y="257"/>
                  </a:lnTo>
                  <a:lnTo>
                    <a:pt x="52" y="255"/>
                  </a:lnTo>
                  <a:lnTo>
                    <a:pt x="50" y="253"/>
                  </a:lnTo>
                  <a:lnTo>
                    <a:pt x="50" y="248"/>
                  </a:lnTo>
                  <a:lnTo>
                    <a:pt x="48" y="246"/>
                  </a:lnTo>
                  <a:lnTo>
                    <a:pt x="44" y="243"/>
                  </a:lnTo>
                  <a:lnTo>
                    <a:pt x="38" y="242"/>
                  </a:lnTo>
                  <a:lnTo>
                    <a:pt x="38" y="240"/>
                  </a:lnTo>
                  <a:lnTo>
                    <a:pt x="36" y="237"/>
                  </a:lnTo>
                  <a:lnTo>
                    <a:pt x="36" y="233"/>
                  </a:lnTo>
                  <a:lnTo>
                    <a:pt x="35" y="227"/>
                  </a:lnTo>
                  <a:lnTo>
                    <a:pt x="31" y="220"/>
                  </a:lnTo>
                  <a:lnTo>
                    <a:pt x="26" y="212"/>
                  </a:lnTo>
                  <a:lnTo>
                    <a:pt x="17" y="206"/>
                  </a:lnTo>
                  <a:lnTo>
                    <a:pt x="3" y="199"/>
                  </a:lnTo>
                  <a:lnTo>
                    <a:pt x="2" y="198"/>
                  </a:lnTo>
                  <a:lnTo>
                    <a:pt x="0" y="197"/>
                  </a:lnTo>
                  <a:lnTo>
                    <a:pt x="0" y="192"/>
                  </a:lnTo>
                  <a:lnTo>
                    <a:pt x="0" y="188"/>
                  </a:lnTo>
                  <a:lnTo>
                    <a:pt x="3" y="184"/>
                  </a:lnTo>
                  <a:lnTo>
                    <a:pt x="5" y="184"/>
                  </a:lnTo>
                  <a:lnTo>
                    <a:pt x="8" y="184"/>
                  </a:lnTo>
                  <a:lnTo>
                    <a:pt x="11" y="184"/>
                  </a:lnTo>
                  <a:lnTo>
                    <a:pt x="13" y="183"/>
                  </a:lnTo>
                  <a:lnTo>
                    <a:pt x="16" y="182"/>
                  </a:lnTo>
                  <a:lnTo>
                    <a:pt x="19" y="179"/>
                  </a:lnTo>
                  <a:lnTo>
                    <a:pt x="20" y="173"/>
                  </a:lnTo>
                  <a:lnTo>
                    <a:pt x="21" y="160"/>
                  </a:lnTo>
                  <a:lnTo>
                    <a:pt x="21" y="153"/>
                  </a:lnTo>
                  <a:lnTo>
                    <a:pt x="21" y="146"/>
                  </a:lnTo>
                  <a:lnTo>
                    <a:pt x="21" y="144"/>
                  </a:lnTo>
                  <a:lnTo>
                    <a:pt x="22" y="141"/>
                  </a:lnTo>
                  <a:lnTo>
                    <a:pt x="26" y="140"/>
                  </a:lnTo>
                  <a:lnTo>
                    <a:pt x="30" y="139"/>
                  </a:lnTo>
                  <a:lnTo>
                    <a:pt x="33" y="139"/>
                  </a:lnTo>
                  <a:lnTo>
                    <a:pt x="33" y="138"/>
                  </a:lnTo>
                  <a:lnTo>
                    <a:pt x="35" y="127"/>
                  </a:lnTo>
                  <a:lnTo>
                    <a:pt x="36" y="120"/>
                  </a:lnTo>
                  <a:lnTo>
                    <a:pt x="38" y="110"/>
                  </a:lnTo>
                  <a:lnTo>
                    <a:pt x="40" y="107"/>
                  </a:lnTo>
                  <a:lnTo>
                    <a:pt x="44" y="103"/>
                  </a:lnTo>
                  <a:lnTo>
                    <a:pt x="58" y="91"/>
                  </a:lnTo>
                  <a:lnTo>
                    <a:pt x="62" y="88"/>
                  </a:lnTo>
                  <a:lnTo>
                    <a:pt x="63" y="86"/>
                  </a:lnTo>
                  <a:lnTo>
                    <a:pt x="63" y="84"/>
                  </a:lnTo>
                  <a:lnTo>
                    <a:pt x="60" y="77"/>
                  </a:lnTo>
                  <a:lnTo>
                    <a:pt x="59" y="69"/>
                  </a:lnTo>
                  <a:lnTo>
                    <a:pt x="59" y="61"/>
                  </a:lnTo>
                  <a:lnTo>
                    <a:pt x="59" y="52"/>
                  </a:lnTo>
                  <a:lnTo>
                    <a:pt x="60" y="43"/>
                  </a:lnTo>
                  <a:lnTo>
                    <a:pt x="63" y="35"/>
                  </a:lnTo>
                  <a:lnTo>
                    <a:pt x="67" y="26"/>
                  </a:lnTo>
                  <a:lnTo>
                    <a:pt x="72" y="20"/>
                  </a:lnTo>
                  <a:lnTo>
                    <a:pt x="74" y="18"/>
                  </a:lnTo>
                  <a:lnTo>
                    <a:pt x="77" y="17"/>
                  </a:lnTo>
                  <a:lnTo>
                    <a:pt x="85" y="13"/>
                  </a:lnTo>
                  <a:lnTo>
                    <a:pt x="88" y="12"/>
                  </a:lnTo>
                  <a:lnTo>
                    <a:pt x="91" y="10"/>
                  </a:lnTo>
                  <a:lnTo>
                    <a:pt x="95" y="6"/>
                  </a:lnTo>
                  <a:lnTo>
                    <a:pt x="99" y="0"/>
                  </a:lnTo>
                  <a:lnTo>
                    <a:pt x="101" y="6"/>
                  </a:lnTo>
                  <a:lnTo>
                    <a:pt x="104" y="13"/>
                  </a:lnTo>
                  <a:lnTo>
                    <a:pt x="109" y="29"/>
                  </a:lnTo>
                  <a:lnTo>
                    <a:pt x="110" y="36"/>
                  </a:lnTo>
                  <a:lnTo>
                    <a:pt x="114" y="41"/>
                  </a:lnTo>
                  <a:lnTo>
                    <a:pt x="118" y="44"/>
                  </a:lnTo>
                  <a:lnTo>
                    <a:pt x="119" y="45"/>
                  </a:lnTo>
                  <a:lnTo>
                    <a:pt x="121" y="45"/>
                  </a:lnTo>
                  <a:lnTo>
                    <a:pt x="123" y="45"/>
                  </a:lnTo>
                  <a:lnTo>
                    <a:pt x="124" y="48"/>
                  </a:lnTo>
                  <a:lnTo>
                    <a:pt x="125" y="51"/>
                  </a:lnTo>
                  <a:lnTo>
                    <a:pt x="128" y="56"/>
                  </a:lnTo>
                  <a:lnTo>
                    <a:pt x="130" y="59"/>
                  </a:lnTo>
                  <a:lnTo>
                    <a:pt x="138" y="64"/>
                  </a:lnTo>
                  <a:lnTo>
                    <a:pt x="146" y="70"/>
                  </a:lnTo>
                  <a:lnTo>
                    <a:pt x="151" y="76"/>
                  </a:lnTo>
                  <a:lnTo>
                    <a:pt x="157" y="83"/>
                  </a:lnTo>
                  <a:lnTo>
                    <a:pt x="161" y="87"/>
                  </a:lnTo>
                  <a:lnTo>
                    <a:pt x="165" y="91"/>
                  </a:lnTo>
                  <a:lnTo>
                    <a:pt x="167" y="96"/>
                  </a:lnTo>
                  <a:lnTo>
                    <a:pt x="170" y="100"/>
                  </a:lnTo>
                  <a:lnTo>
                    <a:pt x="172" y="10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0" name="Freeform 759"/>
            <p:cNvSpPr>
              <a:spLocks/>
            </p:cNvSpPr>
            <p:nvPr/>
          </p:nvSpPr>
          <p:spPr bwMode="auto">
            <a:xfrm>
              <a:off x="5407029" y="4027488"/>
              <a:ext cx="41275" cy="49212"/>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2147483647 w 28"/>
                <a:gd name="T39" fmla="*/ 0 h 31"/>
                <a:gd name="T40" fmla="*/ 2147483647 w 28"/>
                <a:gd name="T41" fmla="*/ 0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2147483647 w 28"/>
                <a:gd name="T51" fmla="*/ 2147483647 h 31"/>
                <a:gd name="T52" fmla="*/ 2147483647 w 28"/>
                <a:gd name="T53" fmla="*/ 2147483647 h 31"/>
                <a:gd name="T54" fmla="*/ 0 w 28"/>
                <a:gd name="T55" fmla="*/ 2147483647 h 31"/>
                <a:gd name="T56" fmla="*/ 0 w 28"/>
                <a:gd name="T57" fmla="*/ 2147483647 h 31"/>
                <a:gd name="T58" fmla="*/ 2147483647 w 28"/>
                <a:gd name="T59" fmla="*/ 2147483647 h 31"/>
                <a:gd name="T60" fmla="*/ 2147483647 w 28"/>
                <a:gd name="T61" fmla="*/ 2147483647 h 31"/>
                <a:gd name="T62" fmla="*/ 2147483647 w 28"/>
                <a:gd name="T63" fmla="*/ 2147483647 h 31"/>
                <a:gd name="T64" fmla="*/ 2147483647 w 28"/>
                <a:gd name="T65" fmla="*/ 2147483647 h 31"/>
                <a:gd name="T66" fmla="*/ 2147483647 w 28"/>
                <a:gd name="T67" fmla="*/ 2147483647 h 31"/>
                <a:gd name="T68" fmla="*/ 2147483647 w 28"/>
                <a:gd name="T69" fmla="*/ 2147483647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
                <a:gd name="T106" fmla="*/ 0 h 31"/>
                <a:gd name="T107" fmla="*/ 28 w 28"/>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 h="31">
                  <a:moveTo>
                    <a:pt x="12" y="30"/>
                  </a:moveTo>
                  <a:lnTo>
                    <a:pt x="12" y="30"/>
                  </a:lnTo>
                  <a:lnTo>
                    <a:pt x="14" y="27"/>
                  </a:lnTo>
                  <a:lnTo>
                    <a:pt x="18" y="21"/>
                  </a:lnTo>
                  <a:lnTo>
                    <a:pt x="20" y="18"/>
                  </a:lnTo>
                  <a:lnTo>
                    <a:pt x="23" y="16"/>
                  </a:lnTo>
                  <a:lnTo>
                    <a:pt x="22" y="13"/>
                  </a:lnTo>
                  <a:lnTo>
                    <a:pt x="23" y="11"/>
                  </a:lnTo>
                  <a:lnTo>
                    <a:pt x="27" y="8"/>
                  </a:lnTo>
                  <a:lnTo>
                    <a:pt x="28" y="7"/>
                  </a:lnTo>
                  <a:lnTo>
                    <a:pt x="28" y="5"/>
                  </a:lnTo>
                  <a:lnTo>
                    <a:pt x="26" y="2"/>
                  </a:lnTo>
                  <a:lnTo>
                    <a:pt x="20" y="1"/>
                  </a:lnTo>
                  <a:lnTo>
                    <a:pt x="19" y="1"/>
                  </a:lnTo>
                  <a:lnTo>
                    <a:pt x="18" y="0"/>
                  </a:lnTo>
                  <a:lnTo>
                    <a:pt x="13" y="4"/>
                  </a:lnTo>
                  <a:lnTo>
                    <a:pt x="8" y="8"/>
                  </a:lnTo>
                  <a:lnTo>
                    <a:pt x="4" y="13"/>
                  </a:lnTo>
                  <a:lnTo>
                    <a:pt x="3" y="20"/>
                  </a:lnTo>
                  <a:lnTo>
                    <a:pt x="1" y="21"/>
                  </a:lnTo>
                  <a:lnTo>
                    <a:pt x="0" y="24"/>
                  </a:lnTo>
                  <a:lnTo>
                    <a:pt x="0" y="27"/>
                  </a:lnTo>
                  <a:lnTo>
                    <a:pt x="1" y="30"/>
                  </a:lnTo>
                  <a:lnTo>
                    <a:pt x="3" y="31"/>
                  </a:lnTo>
                  <a:lnTo>
                    <a:pt x="5" y="31"/>
                  </a:lnTo>
                  <a:lnTo>
                    <a:pt x="12" y="3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1" name="Freeform 760"/>
            <p:cNvSpPr>
              <a:spLocks/>
            </p:cNvSpPr>
            <p:nvPr/>
          </p:nvSpPr>
          <p:spPr bwMode="auto">
            <a:xfrm>
              <a:off x="5180013" y="3854450"/>
              <a:ext cx="392112" cy="438150"/>
            </a:xfrm>
            <a:custGeom>
              <a:avLst/>
              <a:gdLst>
                <a:gd name="T0" fmla="*/ 2147483647 w 268"/>
                <a:gd name="T1" fmla="*/ 2147483647 h 276"/>
                <a:gd name="T2" fmla="*/ 2147483647 w 268"/>
                <a:gd name="T3" fmla="*/ 2147483647 h 276"/>
                <a:gd name="T4" fmla="*/ 2147483647 w 268"/>
                <a:gd name="T5" fmla="*/ 2147483647 h 276"/>
                <a:gd name="T6" fmla="*/ 2147483647 w 268"/>
                <a:gd name="T7" fmla="*/ 2147483647 h 276"/>
                <a:gd name="T8" fmla="*/ 2147483647 w 268"/>
                <a:gd name="T9" fmla="*/ 2147483647 h 276"/>
                <a:gd name="T10" fmla="*/ 2147483647 w 268"/>
                <a:gd name="T11" fmla="*/ 2147483647 h 276"/>
                <a:gd name="T12" fmla="*/ 2147483647 w 268"/>
                <a:gd name="T13" fmla="*/ 2147483647 h 276"/>
                <a:gd name="T14" fmla="*/ 2147483647 w 268"/>
                <a:gd name="T15" fmla="*/ 2147483647 h 276"/>
                <a:gd name="T16" fmla="*/ 2147483647 w 268"/>
                <a:gd name="T17" fmla="*/ 2147483647 h 276"/>
                <a:gd name="T18" fmla="*/ 2147483647 w 268"/>
                <a:gd name="T19" fmla="*/ 2147483647 h 276"/>
                <a:gd name="T20" fmla="*/ 2147483647 w 268"/>
                <a:gd name="T21" fmla="*/ 2147483647 h 276"/>
                <a:gd name="T22" fmla="*/ 2147483647 w 268"/>
                <a:gd name="T23" fmla="*/ 2147483647 h 276"/>
                <a:gd name="T24" fmla="*/ 2147483647 w 268"/>
                <a:gd name="T25" fmla="*/ 2147483647 h 276"/>
                <a:gd name="T26" fmla="*/ 2147483647 w 268"/>
                <a:gd name="T27" fmla="*/ 2147483647 h 276"/>
                <a:gd name="T28" fmla="*/ 2147483647 w 268"/>
                <a:gd name="T29" fmla="*/ 2147483647 h 276"/>
                <a:gd name="T30" fmla="*/ 2147483647 w 268"/>
                <a:gd name="T31" fmla="*/ 2147483647 h 276"/>
                <a:gd name="T32" fmla="*/ 2147483647 w 268"/>
                <a:gd name="T33" fmla="*/ 2147483647 h 276"/>
                <a:gd name="T34" fmla="*/ 2147483647 w 268"/>
                <a:gd name="T35" fmla="*/ 2147483647 h 276"/>
                <a:gd name="T36" fmla="*/ 2147483647 w 268"/>
                <a:gd name="T37" fmla="*/ 2147483647 h 276"/>
                <a:gd name="T38" fmla="*/ 2147483647 w 268"/>
                <a:gd name="T39" fmla="*/ 2147483647 h 276"/>
                <a:gd name="T40" fmla="*/ 2147483647 w 268"/>
                <a:gd name="T41" fmla="*/ 2147483647 h 276"/>
                <a:gd name="T42" fmla="*/ 2147483647 w 268"/>
                <a:gd name="T43" fmla="*/ 2147483647 h 276"/>
                <a:gd name="T44" fmla="*/ 2147483647 w 268"/>
                <a:gd name="T45" fmla="*/ 2147483647 h 276"/>
                <a:gd name="T46" fmla="*/ 2147483647 w 268"/>
                <a:gd name="T47" fmla="*/ 2147483647 h 276"/>
                <a:gd name="T48" fmla="*/ 2147483647 w 268"/>
                <a:gd name="T49" fmla="*/ 2147483647 h 276"/>
                <a:gd name="T50" fmla="*/ 2147483647 w 268"/>
                <a:gd name="T51" fmla="*/ 2147483647 h 276"/>
                <a:gd name="T52" fmla="*/ 2147483647 w 268"/>
                <a:gd name="T53" fmla="*/ 2147483647 h 276"/>
                <a:gd name="T54" fmla="*/ 2147483647 w 268"/>
                <a:gd name="T55" fmla="*/ 2147483647 h 276"/>
                <a:gd name="T56" fmla="*/ 2147483647 w 268"/>
                <a:gd name="T57" fmla="*/ 2147483647 h 276"/>
                <a:gd name="T58" fmla="*/ 2147483647 w 268"/>
                <a:gd name="T59" fmla="*/ 2147483647 h 276"/>
                <a:gd name="T60" fmla="*/ 2147483647 w 268"/>
                <a:gd name="T61" fmla="*/ 2147483647 h 276"/>
                <a:gd name="T62" fmla="*/ 2147483647 w 268"/>
                <a:gd name="T63" fmla="*/ 2147483647 h 276"/>
                <a:gd name="T64" fmla="*/ 2147483647 w 268"/>
                <a:gd name="T65" fmla="*/ 2147483647 h 276"/>
                <a:gd name="T66" fmla="*/ 0 w 268"/>
                <a:gd name="T67" fmla="*/ 2147483647 h 276"/>
                <a:gd name="T68" fmla="*/ 2147483647 w 268"/>
                <a:gd name="T69" fmla="*/ 2147483647 h 276"/>
                <a:gd name="T70" fmla="*/ 2147483647 w 268"/>
                <a:gd name="T71" fmla="*/ 2147483647 h 276"/>
                <a:gd name="T72" fmla="*/ 2147483647 w 268"/>
                <a:gd name="T73" fmla="*/ 2147483647 h 276"/>
                <a:gd name="T74" fmla="*/ 2147483647 w 268"/>
                <a:gd name="T75" fmla="*/ 2147483647 h 276"/>
                <a:gd name="T76" fmla="*/ 2147483647 w 268"/>
                <a:gd name="T77" fmla="*/ 2147483647 h 276"/>
                <a:gd name="T78" fmla="*/ 2147483647 w 268"/>
                <a:gd name="T79" fmla="*/ 2147483647 h 276"/>
                <a:gd name="T80" fmla="*/ 2147483647 w 268"/>
                <a:gd name="T81" fmla="*/ 2147483647 h 276"/>
                <a:gd name="T82" fmla="*/ 2147483647 w 268"/>
                <a:gd name="T83" fmla="*/ 2147483647 h 276"/>
                <a:gd name="T84" fmla="*/ 2147483647 w 268"/>
                <a:gd name="T85" fmla="*/ 2147483647 h 276"/>
                <a:gd name="T86" fmla="*/ 2147483647 w 268"/>
                <a:gd name="T87" fmla="*/ 2147483647 h 276"/>
                <a:gd name="T88" fmla="*/ 2147483647 w 268"/>
                <a:gd name="T89" fmla="*/ 2147483647 h 276"/>
                <a:gd name="T90" fmla="*/ 2147483647 w 268"/>
                <a:gd name="T91" fmla="*/ 2147483647 h 276"/>
                <a:gd name="T92" fmla="*/ 2147483647 w 268"/>
                <a:gd name="T93" fmla="*/ 2147483647 h 276"/>
                <a:gd name="T94" fmla="*/ 2147483647 w 268"/>
                <a:gd name="T95" fmla="*/ 2147483647 h 276"/>
                <a:gd name="T96" fmla="*/ 2147483647 w 268"/>
                <a:gd name="T97" fmla="*/ 2147483647 h 276"/>
                <a:gd name="T98" fmla="*/ 2147483647 w 268"/>
                <a:gd name="T99" fmla="*/ 2147483647 h 276"/>
                <a:gd name="T100" fmla="*/ 2147483647 w 268"/>
                <a:gd name="T101" fmla="*/ 2147483647 h 276"/>
                <a:gd name="T102" fmla="*/ 2147483647 w 268"/>
                <a:gd name="T103" fmla="*/ 2147483647 h 276"/>
                <a:gd name="T104" fmla="*/ 2147483647 w 268"/>
                <a:gd name="T105" fmla="*/ 2147483647 h 276"/>
                <a:gd name="T106" fmla="*/ 2147483647 w 268"/>
                <a:gd name="T107" fmla="*/ 2147483647 h 276"/>
                <a:gd name="T108" fmla="*/ 2147483647 w 268"/>
                <a:gd name="T109" fmla="*/ 2147483647 h 276"/>
                <a:gd name="T110" fmla="*/ 2147483647 w 268"/>
                <a:gd name="T111" fmla="*/ 2147483647 h 276"/>
                <a:gd name="T112" fmla="*/ 2147483647 w 268"/>
                <a:gd name="T113" fmla="*/ 2147483647 h 276"/>
                <a:gd name="T114" fmla="*/ 2147483647 w 268"/>
                <a:gd name="T115" fmla="*/ 2147483647 h 276"/>
                <a:gd name="T116" fmla="*/ 2147483647 w 268"/>
                <a:gd name="T117" fmla="*/ 2147483647 h 276"/>
                <a:gd name="T118" fmla="*/ 2147483647 w 268"/>
                <a:gd name="T119" fmla="*/ 2147483647 h 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8"/>
                <a:gd name="T181" fmla="*/ 0 h 276"/>
                <a:gd name="T182" fmla="*/ 268 w 268"/>
                <a:gd name="T183" fmla="*/ 276 h 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8" h="276">
                  <a:moveTo>
                    <a:pt x="173" y="109"/>
                  </a:moveTo>
                  <a:lnTo>
                    <a:pt x="173" y="109"/>
                  </a:lnTo>
                  <a:lnTo>
                    <a:pt x="168" y="113"/>
                  </a:lnTo>
                  <a:lnTo>
                    <a:pt x="163" y="117"/>
                  </a:lnTo>
                  <a:lnTo>
                    <a:pt x="159" y="122"/>
                  </a:lnTo>
                  <a:lnTo>
                    <a:pt x="158" y="129"/>
                  </a:lnTo>
                  <a:lnTo>
                    <a:pt x="156" y="130"/>
                  </a:lnTo>
                  <a:lnTo>
                    <a:pt x="155" y="133"/>
                  </a:lnTo>
                  <a:lnTo>
                    <a:pt x="155" y="136"/>
                  </a:lnTo>
                  <a:lnTo>
                    <a:pt x="156" y="139"/>
                  </a:lnTo>
                  <a:lnTo>
                    <a:pt x="158" y="140"/>
                  </a:lnTo>
                  <a:lnTo>
                    <a:pt x="160" y="140"/>
                  </a:lnTo>
                  <a:lnTo>
                    <a:pt x="167" y="139"/>
                  </a:lnTo>
                  <a:lnTo>
                    <a:pt x="174" y="151"/>
                  </a:lnTo>
                  <a:lnTo>
                    <a:pt x="184" y="160"/>
                  </a:lnTo>
                  <a:lnTo>
                    <a:pt x="189" y="165"/>
                  </a:lnTo>
                  <a:lnTo>
                    <a:pt x="196" y="168"/>
                  </a:lnTo>
                  <a:lnTo>
                    <a:pt x="203" y="172"/>
                  </a:lnTo>
                  <a:lnTo>
                    <a:pt x="210" y="174"/>
                  </a:lnTo>
                  <a:lnTo>
                    <a:pt x="224" y="180"/>
                  </a:lnTo>
                  <a:lnTo>
                    <a:pt x="236" y="186"/>
                  </a:lnTo>
                  <a:lnTo>
                    <a:pt x="244" y="189"/>
                  </a:lnTo>
                  <a:lnTo>
                    <a:pt x="250" y="191"/>
                  </a:lnTo>
                  <a:lnTo>
                    <a:pt x="258" y="192"/>
                  </a:lnTo>
                  <a:lnTo>
                    <a:pt x="266" y="192"/>
                  </a:lnTo>
                  <a:lnTo>
                    <a:pt x="267" y="192"/>
                  </a:lnTo>
                  <a:lnTo>
                    <a:pt x="268" y="193"/>
                  </a:lnTo>
                  <a:lnTo>
                    <a:pt x="264" y="202"/>
                  </a:lnTo>
                  <a:lnTo>
                    <a:pt x="259" y="209"/>
                  </a:lnTo>
                  <a:lnTo>
                    <a:pt x="247" y="223"/>
                  </a:lnTo>
                  <a:lnTo>
                    <a:pt x="234" y="236"/>
                  </a:lnTo>
                  <a:lnTo>
                    <a:pt x="222" y="251"/>
                  </a:lnTo>
                  <a:lnTo>
                    <a:pt x="220" y="256"/>
                  </a:lnTo>
                  <a:lnTo>
                    <a:pt x="217" y="258"/>
                  </a:lnTo>
                  <a:lnTo>
                    <a:pt x="212" y="260"/>
                  </a:lnTo>
                  <a:lnTo>
                    <a:pt x="207" y="260"/>
                  </a:lnTo>
                  <a:lnTo>
                    <a:pt x="198" y="260"/>
                  </a:lnTo>
                  <a:lnTo>
                    <a:pt x="196" y="261"/>
                  </a:lnTo>
                  <a:lnTo>
                    <a:pt x="192" y="263"/>
                  </a:lnTo>
                  <a:lnTo>
                    <a:pt x="187" y="266"/>
                  </a:lnTo>
                  <a:lnTo>
                    <a:pt x="183" y="268"/>
                  </a:lnTo>
                  <a:lnTo>
                    <a:pt x="177" y="269"/>
                  </a:lnTo>
                  <a:lnTo>
                    <a:pt x="170" y="269"/>
                  </a:lnTo>
                  <a:lnTo>
                    <a:pt x="164" y="269"/>
                  </a:lnTo>
                  <a:lnTo>
                    <a:pt x="153" y="272"/>
                  </a:lnTo>
                  <a:lnTo>
                    <a:pt x="142" y="269"/>
                  </a:lnTo>
                  <a:lnTo>
                    <a:pt x="132" y="269"/>
                  </a:lnTo>
                  <a:lnTo>
                    <a:pt x="127" y="270"/>
                  </a:lnTo>
                  <a:lnTo>
                    <a:pt x="123" y="270"/>
                  </a:lnTo>
                  <a:lnTo>
                    <a:pt x="117" y="274"/>
                  </a:lnTo>
                  <a:lnTo>
                    <a:pt x="111" y="276"/>
                  </a:lnTo>
                  <a:lnTo>
                    <a:pt x="106" y="276"/>
                  </a:lnTo>
                  <a:lnTo>
                    <a:pt x="99" y="276"/>
                  </a:lnTo>
                  <a:lnTo>
                    <a:pt x="94" y="275"/>
                  </a:lnTo>
                  <a:lnTo>
                    <a:pt x="88" y="273"/>
                  </a:lnTo>
                  <a:lnTo>
                    <a:pt x="76" y="266"/>
                  </a:lnTo>
                  <a:lnTo>
                    <a:pt x="73" y="263"/>
                  </a:lnTo>
                  <a:lnTo>
                    <a:pt x="68" y="263"/>
                  </a:lnTo>
                  <a:lnTo>
                    <a:pt x="62" y="264"/>
                  </a:lnTo>
                  <a:lnTo>
                    <a:pt x="59" y="263"/>
                  </a:lnTo>
                  <a:lnTo>
                    <a:pt x="56" y="262"/>
                  </a:lnTo>
                  <a:lnTo>
                    <a:pt x="55" y="261"/>
                  </a:lnTo>
                  <a:lnTo>
                    <a:pt x="55" y="260"/>
                  </a:lnTo>
                  <a:lnTo>
                    <a:pt x="54" y="257"/>
                  </a:lnTo>
                  <a:lnTo>
                    <a:pt x="52" y="255"/>
                  </a:lnTo>
                  <a:lnTo>
                    <a:pt x="51" y="253"/>
                  </a:lnTo>
                  <a:lnTo>
                    <a:pt x="51" y="248"/>
                  </a:lnTo>
                  <a:lnTo>
                    <a:pt x="48" y="245"/>
                  </a:lnTo>
                  <a:lnTo>
                    <a:pt x="45" y="243"/>
                  </a:lnTo>
                  <a:lnTo>
                    <a:pt x="38" y="242"/>
                  </a:lnTo>
                  <a:lnTo>
                    <a:pt x="38" y="240"/>
                  </a:lnTo>
                  <a:lnTo>
                    <a:pt x="37" y="237"/>
                  </a:lnTo>
                  <a:lnTo>
                    <a:pt x="37" y="232"/>
                  </a:lnTo>
                  <a:lnTo>
                    <a:pt x="36" y="226"/>
                  </a:lnTo>
                  <a:lnTo>
                    <a:pt x="32" y="219"/>
                  </a:lnTo>
                  <a:lnTo>
                    <a:pt x="27" y="212"/>
                  </a:lnTo>
                  <a:lnTo>
                    <a:pt x="18" y="206"/>
                  </a:lnTo>
                  <a:lnTo>
                    <a:pt x="4" y="199"/>
                  </a:lnTo>
                  <a:lnTo>
                    <a:pt x="3" y="198"/>
                  </a:lnTo>
                  <a:lnTo>
                    <a:pt x="0" y="197"/>
                  </a:lnTo>
                  <a:lnTo>
                    <a:pt x="0" y="192"/>
                  </a:lnTo>
                  <a:lnTo>
                    <a:pt x="0" y="187"/>
                  </a:lnTo>
                  <a:lnTo>
                    <a:pt x="4" y="184"/>
                  </a:lnTo>
                  <a:lnTo>
                    <a:pt x="5" y="184"/>
                  </a:lnTo>
                  <a:lnTo>
                    <a:pt x="9" y="184"/>
                  </a:lnTo>
                  <a:lnTo>
                    <a:pt x="12" y="184"/>
                  </a:lnTo>
                  <a:lnTo>
                    <a:pt x="14" y="183"/>
                  </a:lnTo>
                  <a:lnTo>
                    <a:pt x="17" y="181"/>
                  </a:lnTo>
                  <a:lnTo>
                    <a:pt x="19" y="179"/>
                  </a:lnTo>
                  <a:lnTo>
                    <a:pt x="21" y="173"/>
                  </a:lnTo>
                  <a:lnTo>
                    <a:pt x="22" y="160"/>
                  </a:lnTo>
                  <a:lnTo>
                    <a:pt x="22" y="153"/>
                  </a:lnTo>
                  <a:lnTo>
                    <a:pt x="22" y="146"/>
                  </a:lnTo>
                  <a:lnTo>
                    <a:pt x="22" y="143"/>
                  </a:lnTo>
                  <a:lnTo>
                    <a:pt x="23" y="141"/>
                  </a:lnTo>
                  <a:lnTo>
                    <a:pt x="27" y="140"/>
                  </a:lnTo>
                  <a:lnTo>
                    <a:pt x="31" y="139"/>
                  </a:lnTo>
                  <a:lnTo>
                    <a:pt x="33" y="139"/>
                  </a:lnTo>
                  <a:lnTo>
                    <a:pt x="33" y="138"/>
                  </a:lnTo>
                  <a:lnTo>
                    <a:pt x="36" y="127"/>
                  </a:lnTo>
                  <a:lnTo>
                    <a:pt x="37" y="120"/>
                  </a:lnTo>
                  <a:lnTo>
                    <a:pt x="38" y="110"/>
                  </a:lnTo>
                  <a:lnTo>
                    <a:pt x="41" y="107"/>
                  </a:lnTo>
                  <a:lnTo>
                    <a:pt x="45" y="103"/>
                  </a:lnTo>
                  <a:lnTo>
                    <a:pt x="59" y="91"/>
                  </a:lnTo>
                  <a:lnTo>
                    <a:pt x="62" y="88"/>
                  </a:lnTo>
                  <a:lnTo>
                    <a:pt x="64" y="85"/>
                  </a:lnTo>
                  <a:lnTo>
                    <a:pt x="64" y="84"/>
                  </a:lnTo>
                  <a:lnTo>
                    <a:pt x="61" y="77"/>
                  </a:lnTo>
                  <a:lnTo>
                    <a:pt x="60" y="69"/>
                  </a:lnTo>
                  <a:lnTo>
                    <a:pt x="60" y="60"/>
                  </a:lnTo>
                  <a:lnTo>
                    <a:pt x="60" y="52"/>
                  </a:lnTo>
                  <a:lnTo>
                    <a:pt x="61" y="43"/>
                  </a:lnTo>
                  <a:lnTo>
                    <a:pt x="64" y="34"/>
                  </a:lnTo>
                  <a:lnTo>
                    <a:pt x="68" y="26"/>
                  </a:lnTo>
                  <a:lnTo>
                    <a:pt x="73" y="20"/>
                  </a:lnTo>
                  <a:lnTo>
                    <a:pt x="75" y="18"/>
                  </a:lnTo>
                  <a:lnTo>
                    <a:pt x="78" y="17"/>
                  </a:lnTo>
                  <a:lnTo>
                    <a:pt x="85" y="13"/>
                  </a:lnTo>
                  <a:lnTo>
                    <a:pt x="89" y="12"/>
                  </a:lnTo>
                  <a:lnTo>
                    <a:pt x="92" y="10"/>
                  </a:lnTo>
                  <a:lnTo>
                    <a:pt x="95" y="6"/>
                  </a:lnTo>
                  <a:lnTo>
                    <a:pt x="99" y="0"/>
                  </a:lnTo>
                  <a:lnTo>
                    <a:pt x="102" y="6"/>
                  </a:lnTo>
                  <a:lnTo>
                    <a:pt x="104" y="13"/>
                  </a:lnTo>
                  <a:lnTo>
                    <a:pt x="109" y="28"/>
                  </a:lnTo>
                  <a:lnTo>
                    <a:pt x="111" y="36"/>
                  </a:lnTo>
                  <a:lnTo>
                    <a:pt x="115" y="40"/>
                  </a:lnTo>
                  <a:lnTo>
                    <a:pt x="118" y="44"/>
                  </a:lnTo>
                  <a:lnTo>
                    <a:pt x="120" y="45"/>
                  </a:lnTo>
                  <a:lnTo>
                    <a:pt x="122" y="45"/>
                  </a:lnTo>
                  <a:lnTo>
                    <a:pt x="123" y="45"/>
                  </a:lnTo>
                  <a:lnTo>
                    <a:pt x="125" y="47"/>
                  </a:lnTo>
                  <a:lnTo>
                    <a:pt x="126" y="51"/>
                  </a:lnTo>
                  <a:lnTo>
                    <a:pt x="128" y="56"/>
                  </a:lnTo>
                  <a:lnTo>
                    <a:pt x="131" y="59"/>
                  </a:lnTo>
                  <a:lnTo>
                    <a:pt x="139" y="64"/>
                  </a:lnTo>
                  <a:lnTo>
                    <a:pt x="146" y="70"/>
                  </a:lnTo>
                  <a:lnTo>
                    <a:pt x="151" y="76"/>
                  </a:lnTo>
                  <a:lnTo>
                    <a:pt x="158" y="83"/>
                  </a:lnTo>
                  <a:lnTo>
                    <a:pt x="162" y="87"/>
                  </a:lnTo>
                  <a:lnTo>
                    <a:pt x="165" y="91"/>
                  </a:lnTo>
                  <a:lnTo>
                    <a:pt x="168" y="96"/>
                  </a:lnTo>
                  <a:lnTo>
                    <a:pt x="170" y="100"/>
                  </a:lnTo>
                  <a:lnTo>
                    <a:pt x="173" y="10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2" name="Freeform 761"/>
            <p:cNvSpPr>
              <a:spLocks/>
            </p:cNvSpPr>
            <p:nvPr/>
          </p:nvSpPr>
          <p:spPr bwMode="auto">
            <a:xfrm>
              <a:off x="7572379" y="4302128"/>
              <a:ext cx="11113" cy="19050"/>
            </a:xfrm>
            <a:custGeom>
              <a:avLst/>
              <a:gdLst>
                <a:gd name="T0" fmla="*/ 2147483647 w 7"/>
                <a:gd name="T1" fmla="*/ 2147483647 h 12"/>
                <a:gd name="T2" fmla="*/ 2147483647 w 7"/>
                <a:gd name="T3" fmla="*/ 2147483647 h 12"/>
                <a:gd name="T4" fmla="*/ 2147483647 w 7"/>
                <a:gd name="T5" fmla="*/ 2147483647 h 12"/>
                <a:gd name="T6" fmla="*/ 2147483647 w 7"/>
                <a:gd name="T7" fmla="*/ 0 h 12"/>
                <a:gd name="T8" fmla="*/ 2147483647 w 7"/>
                <a:gd name="T9" fmla="*/ 2147483647 h 12"/>
                <a:gd name="T10" fmla="*/ 2147483647 w 7"/>
                <a:gd name="T11" fmla="*/ 2147483647 h 12"/>
                <a:gd name="T12" fmla="*/ 0 w 7"/>
                <a:gd name="T13" fmla="*/ 2147483647 h 12"/>
                <a:gd name="T14" fmla="*/ 0 w 7"/>
                <a:gd name="T15" fmla="*/ 2147483647 h 12"/>
                <a:gd name="T16" fmla="*/ 2147483647 w 7"/>
                <a:gd name="T17" fmla="*/ 2147483647 h 12"/>
                <a:gd name="T18" fmla="*/ 2147483647 w 7"/>
                <a:gd name="T19" fmla="*/ 2147483647 h 12"/>
                <a:gd name="T20" fmla="*/ 2147483647 w 7"/>
                <a:gd name="T21" fmla="*/ 2147483647 h 12"/>
                <a:gd name="T22" fmla="*/ 2147483647 w 7"/>
                <a:gd name="T23" fmla="*/ 2147483647 h 12"/>
                <a:gd name="T24" fmla="*/ 2147483647 w 7"/>
                <a:gd name="T25" fmla="*/ 2147483647 h 12"/>
                <a:gd name="T26" fmla="*/ 2147483647 w 7"/>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2"/>
                <a:gd name="T44" fmla="*/ 7 w 7"/>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2">
                  <a:moveTo>
                    <a:pt x="7" y="8"/>
                  </a:moveTo>
                  <a:lnTo>
                    <a:pt x="7" y="5"/>
                  </a:lnTo>
                  <a:lnTo>
                    <a:pt x="7" y="1"/>
                  </a:lnTo>
                  <a:lnTo>
                    <a:pt x="5" y="0"/>
                  </a:lnTo>
                  <a:lnTo>
                    <a:pt x="3" y="1"/>
                  </a:lnTo>
                  <a:lnTo>
                    <a:pt x="2" y="1"/>
                  </a:lnTo>
                  <a:lnTo>
                    <a:pt x="0" y="4"/>
                  </a:lnTo>
                  <a:lnTo>
                    <a:pt x="0" y="7"/>
                  </a:lnTo>
                  <a:lnTo>
                    <a:pt x="2" y="11"/>
                  </a:lnTo>
                  <a:lnTo>
                    <a:pt x="3" y="11"/>
                  </a:lnTo>
                  <a:lnTo>
                    <a:pt x="3" y="12"/>
                  </a:lnTo>
                  <a:lnTo>
                    <a:pt x="4" y="12"/>
                  </a:lnTo>
                  <a:lnTo>
                    <a:pt x="5" y="11"/>
                  </a:lnTo>
                  <a:lnTo>
                    <a:pt x="7"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3" name="Freeform 762"/>
            <p:cNvSpPr>
              <a:spLocks/>
            </p:cNvSpPr>
            <p:nvPr/>
          </p:nvSpPr>
          <p:spPr bwMode="auto">
            <a:xfrm>
              <a:off x="7537451" y="4256092"/>
              <a:ext cx="15875" cy="26987"/>
            </a:xfrm>
            <a:custGeom>
              <a:avLst/>
              <a:gdLst>
                <a:gd name="T0" fmla="*/ 2147483647 w 10"/>
                <a:gd name="T1" fmla="*/ 2147483647 h 17"/>
                <a:gd name="T2" fmla="*/ 2147483647 w 10"/>
                <a:gd name="T3" fmla="*/ 2147483647 h 17"/>
                <a:gd name="T4" fmla="*/ 2147483647 w 10"/>
                <a:gd name="T5" fmla="*/ 2147483647 h 17"/>
                <a:gd name="T6" fmla="*/ 2147483647 w 10"/>
                <a:gd name="T7" fmla="*/ 2147483647 h 17"/>
                <a:gd name="T8" fmla="*/ 2147483647 w 10"/>
                <a:gd name="T9" fmla="*/ 0 h 17"/>
                <a:gd name="T10" fmla="*/ 2147483647 w 10"/>
                <a:gd name="T11" fmla="*/ 0 h 17"/>
                <a:gd name="T12" fmla="*/ 2147483647 w 10"/>
                <a:gd name="T13" fmla="*/ 2147483647 h 17"/>
                <a:gd name="T14" fmla="*/ 2147483647 w 10"/>
                <a:gd name="T15" fmla="*/ 2147483647 h 17"/>
                <a:gd name="T16" fmla="*/ 0 w 10"/>
                <a:gd name="T17" fmla="*/ 2147483647 h 17"/>
                <a:gd name="T18" fmla="*/ 2147483647 w 10"/>
                <a:gd name="T19" fmla="*/ 2147483647 h 17"/>
                <a:gd name="T20" fmla="*/ 2147483647 w 10"/>
                <a:gd name="T21" fmla="*/ 2147483647 h 17"/>
                <a:gd name="T22" fmla="*/ 2147483647 w 10"/>
                <a:gd name="T23" fmla="*/ 2147483647 h 17"/>
                <a:gd name="T24" fmla="*/ 2147483647 w 10"/>
                <a:gd name="T25" fmla="*/ 2147483647 h 17"/>
                <a:gd name="T26" fmla="*/ 2147483647 w 10"/>
                <a:gd name="T27" fmla="*/ 2147483647 h 17"/>
                <a:gd name="T28" fmla="*/ 2147483647 w 10"/>
                <a:gd name="T29" fmla="*/ 2147483647 h 17"/>
                <a:gd name="T30" fmla="*/ 2147483647 w 10"/>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7"/>
                <a:gd name="T50" fmla="*/ 10 w 10"/>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7">
                  <a:moveTo>
                    <a:pt x="10" y="10"/>
                  </a:moveTo>
                  <a:lnTo>
                    <a:pt x="10" y="5"/>
                  </a:lnTo>
                  <a:lnTo>
                    <a:pt x="9" y="2"/>
                  </a:lnTo>
                  <a:lnTo>
                    <a:pt x="8" y="1"/>
                  </a:lnTo>
                  <a:lnTo>
                    <a:pt x="5" y="0"/>
                  </a:lnTo>
                  <a:lnTo>
                    <a:pt x="4" y="0"/>
                  </a:lnTo>
                  <a:lnTo>
                    <a:pt x="3" y="1"/>
                  </a:lnTo>
                  <a:lnTo>
                    <a:pt x="1" y="8"/>
                  </a:lnTo>
                  <a:lnTo>
                    <a:pt x="0" y="14"/>
                  </a:lnTo>
                  <a:lnTo>
                    <a:pt x="1" y="15"/>
                  </a:lnTo>
                  <a:lnTo>
                    <a:pt x="3" y="16"/>
                  </a:lnTo>
                  <a:lnTo>
                    <a:pt x="5" y="17"/>
                  </a:lnTo>
                  <a:lnTo>
                    <a:pt x="6" y="17"/>
                  </a:lnTo>
                  <a:lnTo>
                    <a:pt x="9" y="15"/>
                  </a:lnTo>
                  <a:lnTo>
                    <a:pt x="10" y="14"/>
                  </a:lnTo>
                  <a:lnTo>
                    <a:pt x="10"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4" name="Freeform 763"/>
            <p:cNvSpPr>
              <a:spLocks/>
            </p:cNvSpPr>
            <p:nvPr/>
          </p:nvSpPr>
          <p:spPr bwMode="auto">
            <a:xfrm>
              <a:off x="7572375" y="4300538"/>
              <a:ext cx="7938" cy="19050"/>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2147483647 w 6"/>
                <a:gd name="T11" fmla="*/ 0 h 12"/>
                <a:gd name="T12" fmla="*/ 2147483647 w 6"/>
                <a:gd name="T13" fmla="*/ 2147483647 h 12"/>
                <a:gd name="T14" fmla="*/ 2147483647 w 6"/>
                <a:gd name="T15" fmla="*/ 2147483647 h 12"/>
                <a:gd name="T16" fmla="*/ 0 w 6"/>
                <a:gd name="T17" fmla="*/ 2147483647 h 12"/>
                <a:gd name="T18" fmla="*/ 0 w 6"/>
                <a:gd name="T19" fmla="*/ 2147483647 h 12"/>
                <a:gd name="T20" fmla="*/ 0 w 6"/>
                <a:gd name="T21" fmla="*/ 2147483647 h 12"/>
                <a:gd name="T22" fmla="*/ 2147483647 w 6"/>
                <a:gd name="T23" fmla="*/ 2147483647 h 12"/>
                <a:gd name="T24" fmla="*/ 2147483647 w 6"/>
                <a:gd name="T25" fmla="*/ 2147483647 h 12"/>
                <a:gd name="T26" fmla="*/ 2147483647 w 6"/>
                <a:gd name="T27" fmla="*/ 2147483647 h 12"/>
                <a:gd name="T28" fmla="*/ 2147483647 w 6"/>
                <a:gd name="T29" fmla="*/ 2147483647 h 12"/>
                <a:gd name="T30" fmla="*/ 2147483647 w 6"/>
                <a:gd name="T31" fmla="*/ 2147483647 h 12"/>
                <a:gd name="T32" fmla="*/ 2147483647 w 6"/>
                <a:gd name="T33" fmla="*/ 2147483647 h 12"/>
                <a:gd name="T34" fmla="*/ 2147483647 w 6"/>
                <a:gd name="T35" fmla="*/ 2147483647 h 12"/>
                <a:gd name="T36" fmla="*/ 2147483647 w 6"/>
                <a:gd name="T37" fmla="*/ 2147483647 h 12"/>
                <a:gd name="T38" fmla="*/ 2147483647 w 6"/>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12"/>
                <a:gd name="T62" fmla="*/ 6 w 6"/>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12">
                  <a:moveTo>
                    <a:pt x="6" y="8"/>
                  </a:moveTo>
                  <a:lnTo>
                    <a:pt x="6" y="8"/>
                  </a:lnTo>
                  <a:lnTo>
                    <a:pt x="6" y="5"/>
                  </a:lnTo>
                  <a:lnTo>
                    <a:pt x="6" y="1"/>
                  </a:lnTo>
                  <a:lnTo>
                    <a:pt x="5" y="0"/>
                  </a:lnTo>
                  <a:lnTo>
                    <a:pt x="3" y="1"/>
                  </a:lnTo>
                  <a:lnTo>
                    <a:pt x="1" y="1"/>
                  </a:lnTo>
                  <a:lnTo>
                    <a:pt x="0" y="4"/>
                  </a:lnTo>
                  <a:lnTo>
                    <a:pt x="0" y="7"/>
                  </a:lnTo>
                  <a:lnTo>
                    <a:pt x="1" y="11"/>
                  </a:lnTo>
                  <a:lnTo>
                    <a:pt x="3" y="11"/>
                  </a:lnTo>
                  <a:lnTo>
                    <a:pt x="3" y="12"/>
                  </a:lnTo>
                  <a:lnTo>
                    <a:pt x="4" y="12"/>
                  </a:lnTo>
                  <a:lnTo>
                    <a:pt x="5" y="11"/>
                  </a:lnTo>
                  <a:lnTo>
                    <a:pt x="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5" name="Freeform 764"/>
            <p:cNvSpPr>
              <a:spLocks/>
            </p:cNvSpPr>
            <p:nvPr/>
          </p:nvSpPr>
          <p:spPr bwMode="auto">
            <a:xfrm>
              <a:off x="7535863" y="4252913"/>
              <a:ext cx="15875" cy="28575"/>
            </a:xfrm>
            <a:custGeom>
              <a:avLst/>
              <a:gdLst>
                <a:gd name="T0" fmla="*/ 2147483647 w 10"/>
                <a:gd name="T1" fmla="*/ 2147483647 h 18"/>
                <a:gd name="T2" fmla="*/ 2147483647 w 10"/>
                <a:gd name="T3" fmla="*/ 2147483647 h 18"/>
                <a:gd name="T4" fmla="*/ 2147483647 w 10"/>
                <a:gd name="T5" fmla="*/ 2147483647 h 18"/>
                <a:gd name="T6" fmla="*/ 2147483647 w 10"/>
                <a:gd name="T7" fmla="*/ 2147483647 h 18"/>
                <a:gd name="T8" fmla="*/ 2147483647 w 10"/>
                <a:gd name="T9" fmla="*/ 2147483647 h 18"/>
                <a:gd name="T10" fmla="*/ 2147483647 w 10"/>
                <a:gd name="T11" fmla="*/ 2147483647 h 18"/>
                <a:gd name="T12" fmla="*/ 2147483647 w 10"/>
                <a:gd name="T13" fmla="*/ 0 h 18"/>
                <a:gd name="T14" fmla="*/ 2147483647 w 10"/>
                <a:gd name="T15" fmla="*/ 0 h 18"/>
                <a:gd name="T16" fmla="*/ 2147483647 w 10"/>
                <a:gd name="T17" fmla="*/ 2147483647 h 18"/>
                <a:gd name="T18" fmla="*/ 2147483647 w 10"/>
                <a:gd name="T19" fmla="*/ 2147483647 h 18"/>
                <a:gd name="T20" fmla="*/ 2147483647 w 10"/>
                <a:gd name="T21" fmla="*/ 2147483647 h 18"/>
                <a:gd name="T22" fmla="*/ 0 w 10"/>
                <a:gd name="T23" fmla="*/ 2147483647 h 18"/>
                <a:gd name="T24" fmla="*/ 0 w 10"/>
                <a:gd name="T25" fmla="*/ 2147483647 h 18"/>
                <a:gd name="T26" fmla="*/ 2147483647 w 10"/>
                <a:gd name="T27" fmla="*/ 2147483647 h 18"/>
                <a:gd name="T28" fmla="*/ 2147483647 w 10"/>
                <a:gd name="T29" fmla="*/ 2147483647 h 18"/>
                <a:gd name="T30" fmla="*/ 2147483647 w 10"/>
                <a:gd name="T31" fmla="*/ 2147483647 h 18"/>
                <a:gd name="T32" fmla="*/ 2147483647 w 10"/>
                <a:gd name="T33" fmla="*/ 2147483647 h 18"/>
                <a:gd name="T34" fmla="*/ 2147483647 w 10"/>
                <a:gd name="T35" fmla="*/ 2147483647 h 18"/>
                <a:gd name="T36" fmla="*/ 2147483647 w 10"/>
                <a:gd name="T37" fmla="*/ 2147483647 h 18"/>
                <a:gd name="T38" fmla="*/ 2147483647 w 10"/>
                <a:gd name="T39" fmla="*/ 2147483647 h 18"/>
                <a:gd name="T40" fmla="*/ 2147483647 w 10"/>
                <a:gd name="T41" fmla="*/ 2147483647 h 18"/>
                <a:gd name="T42" fmla="*/ 2147483647 w 10"/>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18"/>
                <a:gd name="T68" fmla="*/ 10 w 1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18">
                  <a:moveTo>
                    <a:pt x="10" y="11"/>
                  </a:moveTo>
                  <a:lnTo>
                    <a:pt x="10" y="11"/>
                  </a:lnTo>
                  <a:lnTo>
                    <a:pt x="10" y="6"/>
                  </a:lnTo>
                  <a:lnTo>
                    <a:pt x="9" y="3"/>
                  </a:lnTo>
                  <a:lnTo>
                    <a:pt x="7" y="2"/>
                  </a:lnTo>
                  <a:lnTo>
                    <a:pt x="5" y="0"/>
                  </a:lnTo>
                  <a:lnTo>
                    <a:pt x="4" y="0"/>
                  </a:lnTo>
                  <a:lnTo>
                    <a:pt x="2" y="2"/>
                  </a:lnTo>
                  <a:lnTo>
                    <a:pt x="1" y="9"/>
                  </a:lnTo>
                  <a:lnTo>
                    <a:pt x="0" y="15"/>
                  </a:lnTo>
                  <a:lnTo>
                    <a:pt x="1" y="16"/>
                  </a:lnTo>
                  <a:lnTo>
                    <a:pt x="2" y="17"/>
                  </a:lnTo>
                  <a:lnTo>
                    <a:pt x="5" y="18"/>
                  </a:lnTo>
                  <a:lnTo>
                    <a:pt x="6" y="18"/>
                  </a:lnTo>
                  <a:lnTo>
                    <a:pt x="9" y="16"/>
                  </a:lnTo>
                  <a:lnTo>
                    <a:pt x="10" y="15"/>
                  </a:lnTo>
                  <a:lnTo>
                    <a:pt x="10"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6" name="Freeform 765"/>
            <p:cNvSpPr>
              <a:spLocks/>
            </p:cNvSpPr>
            <p:nvPr/>
          </p:nvSpPr>
          <p:spPr bwMode="auto">
            <a:xfrm>
              <a:off x="7545388" y="4329114"/>
              <a:ext cx="42862" cy="101600"/>
            </a:xfrm>
            <a:custGeom>
              <a:avLst/>
              <a:gdLst>
                <a:gd name="T0" fmla="*/ 2147483647 w 29"/>
                <a:gd name="T1" fmla="*/ 2147483647 h 64"/>
                <a:gd name="T2" fmla="*/ 2147483647 w 29"/>
                <a:gd name="T3" fmla="*/ 2147483647 h 64"/>
                <a:gd name="T4" fmla="*/ 2147483647 w 29"/>
                <a:gd name="T5" fmla="*/ 2147483647 h 64"/>
                <a:gd name="T6" fmla="*/ 2147483647 w 29"/>
                <a:gd name="T7" fmla="*/ 2147483647 h 64"/>
                <a:gd name="T8" fmla="*/ 2147483647 w 29"/>
                <a:gd name="T9" fmla="*/ 2147483647 h 64"/>
                <a:gd name="T10" fmla="*/ 2147483647 w 29"/>
                <a:gd name="T11" fmla="*/ 2147483647 h 64"/>
                <a:gd name="T12" fmla="*/ 2147483647 w 29"/>
                <a:gd name="T13" fmla="*/ 2147483647 h 64"/>
                <a:gd name="T14" fmla="*/ 2147483647 w 29"/>
                <a:gd name="T15" fmla="*/ 2147483647 h 64"/>
                <a:gd name="T16" fmla="*/ 2147483647 w 29"/>
                <a:gd name="T17" fmla="*/ 2147483647 h 64"/>
                <a:gd name="T18" fmla="*/ 2147483647 w 29"/>
                <a:gd name="T19" fmla="*/ 2147483647 h 64"/>
                <a:gd name="T20" fmla="*/ 2147483647 w 29"/>
                <a:gd name="T21" fmla="*/ 2147483647 h 64"/>
                <a:gd name="T22" fmla="*/ 2147483647 w 29"/>
                <a:gd name="T23" fmla="*/ 2147483647 h 64"/>
                <a:gd name="T24" fmla="*/ 2147483647 w 29"/>
                <a:gd name="T25" fmla="*/ 2147483647 h 64"/>
                <a:gd name="T26" fmla="*/ 2147483647 w 29"/>
                <a:gd name="T27" fmla="*/ 2147483647 h 64"/>
                <a:gd name="T28" fmla="*/ 2147483647 w 29"/>
                <a:gd name="T29" fmla="*/ 2147483647 h 64"/>
                <a:gd name="T30" fmla="*/ 2147483647 w 29"/>
                <a:gd name="T31" fmla="*/ 2147483647 h 64"/>
                <a:gd name="T32" fmla="*/ 2147483647 w 29"/>
                <a:gd name="T33" fmla="*/ 2147483647 h 64"/>
                <a:gd name="T34" fmla="*/ 2147483647 w 29"/>
                <a:gd name="T35" fmla="*/ 0 h 64"/>
                <a:gd name="T36" fmla="*/ 2147483647 w 29"/>
                <a:gd name="T37" fmla="*/ 0 h 64"/>
                <a:gd name="T38" fmla="*/ 2147483647 w 29"/>
                <a:gd name="T39" fmla="*/ 2147483647 h 64"/>
                <a:gd name="T40" fmla="*/ 2147483647 w 29"/>
                <a:gd name="T41" fmla="*/ 2147483647 h 64"/>
                <a:gd name="T42" fmla="*/ 2147483647 w 29"/>
                <a:gd name="T43" fmla="*/ 2147483647 h 64"/>
                <a:gd name="T44" fmla="*/ 0 w 29"/>
                <a:gd name="T45" fmla="*/ 2147483647 h 64"/>
                <a:gd name="T46" fmla="*/ 2147483647 w 29"/>
                <a:gd name="T47" fmla="*/ 2147483647 h 64"/>
                <a:gd name="T48" fmla="*/ 2147483647 w 29"/>
                <a:gd name="T49" fmla="*/ 2147483647 h 64"/>
                <a:gd name="T50" fmla="*/ 2147483647 w 29"/>
                <a:gd name="T51" fmla="*/ 2147483647 h 64"/>
                <a:gd name="T52" fmla="*/ 2147483647 w 29"/>
                <a:gd name="T53" fmla="*/ 2147483647 h 64"/>
                <a:gd name="T54" fmla="*/ 2147483647 w 29"/>
                <a:gd name="T55" fmla="*/ 2147483647 h 64"/>
                <a:gd name="T56" fmla="*/ 2147483647 w 29"/>
                <a:gd name="T57" fmla="*/ 2147483647 h 64"/>
                <a:gd name="T58" fmla="*/ 2147483647 w 29"/>
                <a:gd name="T59" fmla="*/ 2147483647 h 64"/>
                <a:gd name="T60" fmla="*/ 2147483647 w 29"/>
                <a:gd name="T61" fmla="*/ 2147483647 h 64"/>
                <a:gd name="T62" fmla="*/ 2147483647 w 29"/>
                <a:gd name="T63" fmla="*/ 2147483647 h 64"/>
                <a:gd name="T64" fmla="*/ 2147483647 w 29"/>
                <a:gd name="T65" fmla="*/ 2147483647 h 64"/>
                <a:gd name="T66" fmla="*/ 2147483647 w 29"/>
                <a:gd name="T67" fmla="*/ 2147483647 h 64"/>
                <a:gd name="T68" fmla="*/ 2147483647 w 29"/>
                <a:gd name="T69" fmla="*/ 2147483647 h 64"/>
                <a:gd name="T70" fmla="*/ 2147483647 w 29"/>
                <a:gd name="T71" fmla="*/ 2147483647 h 64"/>
                <a:gd name="T72" fmla="*/ 2147483647 w 29"/>
                <a:gd name="T73" fmla="*/ 2147483647 h 64"/>
                <a:gd name="T74" fmla="*/ 2147483647 w 29"/>
                <a:gd name="T75" fmla="*/ 2147483647 h 64"/>
                <a:gd name="T76" fmla="*/ 2147483647 w 29"/>
                <a:gd name="T77" fmla="*/ 2147483647 h 64"/>
                <a:gd name="T78" fmla="*/ 2147483647 w 29"/>
                <a:gd name="T79" fmla="*/ 2147483647 h 64"/>
                <a:gd name="T80" fmla="*/ 2147483647 w 29"/>
                <a:gd name="T81" fmla="*/ 2147483647 h 64"/>
                <a:gd name="T82" fmla="*/ 2147483647 w 29"/>
                <a:gd name="T83" fmla="*/ 2147483647 h 64"/>
                <a:gd name="T84" fmla="*/ 2147483647 w 29"/>
                <a:gd name="T85" fmla="*/ 2147483647 h 64"/>
                <a:gd name="T86" fmla="*/ 2147483647 w 29"/>
                <a:gd name="T87" fmla="*/ 2147483647 h 64"/>
                <a:gd name="T88" fmla="*/ 2147483647 w 29"/>
                <a:gd name="T89" fmla="*/ 2147483647 h 64"/>
                <a:gd name="T90" fmla="*/ 2147483647 w 29"/>
                <a:gd name="T91" fmla="*/ 2147483647 h 64"/>
                <a:gd name="T92" fmla="*/ 2147483647 w 29"/>
                <a:gd name="T93" fmla="*/ 2147483647 h 64"/>
                <a:gd name="T94" fmla="*/ 2147483647 w 29"/>
                <a:gd name="T95" fmla="*/ 2147483647 h 64"/>
                <a:gd name="T96" fmla="*/ 2147483647 w 29"/>
                <a:gd name="T97" fmla="*/ 2147483647 h 64"/>
                <a:gd name="T98" fmla="*/ 2147483647 w 29"/>
                <a:gd name="T99" fmla="*/ 2147483647 h 64"/>
                <a:gd name="T100" fmla="*/ 2147483647 w 29"/>
                <a:gd name="T101" fmla="*/ 2147483647 h 64"/>
                <a:gd name="T102" fmla="*/ 2147483647 w 29"/>
                <a:gd name="T103" fmla="*/ 2147483647 h 64"/>
                <a:gd name="T104" fmla="*/ 2147483647 w 29"/>
                <a:gd name="T105" fmla="*/ 2147483647 h 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9"/>
                <a:gd name="T160" fmla="*/ 0 h 64"/>
                <a:gd name="T161" fmla="*/ 29 w 29"/>
                <a:gd name="T162" fmla="*/ 64 h 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9" h="64">
                  <a:moveTo>
                    <a:pt x="28" y="16"/>
                  </a:moveTo>
                  <a:lnTo>
                    <a:pt x="28" y="10"/>
                  </a:lnTo>
                  <a:lnTo>
                    <a:pt x="28" y="8"/>
                  </a:lnTo>
                  <a:lnTo>
                    <a:pt x="27" y="7"/>
                  </a:lnTo>
                  <a:lnTo>
                    <a:pt x="26" y="7"/>
                  </a:lnTo>
                  <a:lnTo>
                    <a:pt x="23" y="9"/>
                  </a:lnTo>
                  <a:lnTo>
                    <a:pt x="21" y="13"/>
                  </a:lnTo>
                  <a:lnTo>
                    <a:pt x="19" y="15"/>
                  </a:lnTo>
                  <a:lnTo>
                    <a:pt x="15" y="18"/>
                  </a:lnTo>
                  <a:lnTo>
                    <a:pt x="14" y="19"/>
                  </a:lnTo>
                  <a:lnTo>
                    <a:pt x="12" y="18"/>
                  </a:lnTo>
                  <a:lnTo>
                    <a:pt x="12" y="16"/>
                  </a:lnTo>
                  <a:lnTo>
                    <a:pt x="12" y="15"/>
                  </a:lnTo>
                  <a:lnTo>
                    <a:pt x="14" y="12"/>
                  </a:lnTo>
                  <a:lnTo>
                    <a:pt x="14" y="10"/>
                  </a:lnTo>
                  <a:lnTo>
                    <a:pt x="14" y="8"/>
                  </a:lnTo>
                  <a:lnTo>
                    <a:pt x="13" y="2"/>
                  </a:lnTo>
                  <a:lnTo>
                    <a:pt x="10" y="0"/>
                  </a:lnTo>
                  <a:lnTo>
                    <a:pt x="9" y="0"/>
                  </a:lnTo>
                  <a:lnTo>
                    <a:pt x="8" y="1"/>
                  </a:lnTo>
                  <a:lnTo>
                    <a:pt x="4" y="5"/>
                  </a:lnTo>
                  <a:lnTo>
                    <a:pt x="1" y="9"/>
                  </a:lnTo>
                  <a:lnTo>
                    <a:pt x="0" y="14"/>
                  </a:lnTo>
                  <a:lnTo>
                    <a:pt x="1" y="19"/>
                  </a:lnTo>
                  <a:lnTo>
                    <a:pt x="3" y="26"/>
                  </a:lnTo>
                  <a:lnTo>
                    <a:pt x="4" y="32"/>
                  </a:lnTo>
                  <a:lnTo>
                    <a:pt x="5" y="46"/>
                  </a:lnTo>
                  <a:lnTo>
                    <a:pt x="7" y="52"/>
                  </a:lnTo>
                  <a:lnTo>
                    <a:pt x="10" y="58"/>
                  </a:lnTo>
                  <a:lnTo>
                    <a:pt x="15" y="61"/>
                  </a:lnTo>
                  <a:lnTo>
                    <a:pt x="19" y="63"/>
                  </a:lnTo>
                  <a:lnTo>
                    <a:pt x="23" y="64"/>
                  </a:lnTo>
                  <a:lnTo>
                    <a:pt x="22" y="61"/>
                  </a:lnTo>
                  <a:lnTo>
                    <a:pt x="17" y="56"/>
                  </a:lnTo>
                  <a:lnTo>
                    <a:pt x="13" y="50"/>
                  </a:lnTo>
                  <a:lnTo>
                    <a:pt x="10" y="44"/>
                  </a:lnTo>
                  <a:lnTo>
                    <a:pt x="10" y="37"/>
                  </a:lnTo>
                  <a:lnTo>
                    <a:pt x="10" y="35"/>
                  </a:lnTo>
                  <a:lnTo>
                    <a:pt x="13" y="35"/>
                  </a:lnTo>
                  <a:lnTo>
                    <a:pt x="19" y="39"/>
                  </a:lnTo>
                  <a:lnTo>
                    <a:pt x="23" y="39"/>
                  </a:lnTo>
                  <a:lnTo>
                    <a:pt x="27" y="38"/>
                  </a:lnTo>
                  <a:lnTo>
                    <a:pt x="29" y="35"/>
                  </a:lnTo>
                  <a:lnTo>
                    <a:pt x="29" y="33"/>
                  </a:lnTo>
                  <a:lnTo>
                    <a:pt x="26" y="28"/>
                  </a:lnTo>
                  <a:lnTo>
                    <a:pt x="21" y="28"/>
                  </a:lnTo>
                  <a:lnTo>
                    <a:pt x="18" y="27"/>
                  </a:lnTo>
                  <a:lnTo>
                    <a:pt x="18" y="26"/>
                  </a:lnTo>
                  <a:lnTo>
                    <a:pt x="19" y="25"/>
                  </a:lnTo>
                  <a:lnTo>
                    <a:pt x="22" y="22"/>
                  </a:lnTo>
                  <a:lnTo>
                    <a:pt x="26" y="20"/>
                  </a:lnTo>
                  <a:lnTo>
                    <a:pt x="27" y="19"/>
                  </a:lnTo>
                  <a:lnTo>
                    <a:pt x="28"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7" name="Freeform 766"/>
            <p:cNvSpPr>
              <a:spLocks/>
            </p:cNvSpPr>
            <p:nvPr/>
          </p:nvSpPr>
          <p:spPr bwMode="auto">
            <a:xfrm>
              <a:off x="7539040" y="4411667"/>
              <a:ext cx="17462" cy="22225"/>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2147483647 w 12"/>
                <a:gd name="T13" fmla="*/ 2147483647 h 14"/>
                <a:gd name="T14" fmla="*/ 0 w 12"/>
                <a:gd name="T15" fmla="*/ 2147483647 h 14"/>
                <a:gd name="T16" fmla="*/ 2147483647 w 12"/>
                <a:gd name="T17" fmla="*/ 2147483647 h 14"/>
                <a:gd name="T18" fmla="*/ 2147483647 w 12"/>
                <a:gd name="T19" fmla="*/ 2147483647 h 14"/>
                <a:gd name="T20" fmla="*/ 2147483647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4"/>
                <a:gd name="T47" fmla="*/ 12 w 12"/>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4">
                  <a:moveTo>
                    <a:pt x="11" y="12"/>
                  </a:moveTo>
                  <a:lnTo>
                    <a:pt x="7" y="7"/>
                  </a:lnTo>
                  <a:lnTo>
                    <a:pt x="4" y="4"/>
                  </a:lnTo>
                  <a:lnTo>
                    <a:pt x="4" y="1"/>
                  </a:lnTo>
                  <a:lnTo>
                    <a:pt x="4" y="0"/>
                  </a:lnTo>
                  <a:lnTo>
                    <a:pt x="3" y="0"/>
                  </a:lnTo>
                  <a:lnTo>
                    <a:pt x="2" y="1"/>
                  </a:lnTo>
                  <a:lnTo>
                    <a:pt x="0" y="6"/>
                  </a:lnTo>
                  <a:lnTo>
                    <a:pt x="2" y="11"/>
                  </a:lnTo>
                  <a:lnTo>
                    <a:pt x="3" y="12"/>
                  </a:lnTo>
                  <a:lnTo>
                    <a:pt x="5" y="13"/>
                  </a:lnTo>
                  <a:lnTo>
                    <a:pt x="8" y="14"/>
                  </a:lnTo>
                  <a:lnTo>
                    <a:pt x="11" y="14"/>
                  </a:lnTo>
                  <a:lnTo>
                    <a:pt x="12" y="13"/>
                  </a:lnTo>
                  <a:lnTo>
                    <a:pt x="11"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8" name="Freeform 767"/>
            <p:cNvSpPr>
              <a:spLocks/>
            </p:cNvSpPr>
            <p:nvPr/>
          </p:nvSpPr>
          <p:spPr bwMode="auto">
            <a:xfrm>
              <a:off x="7543802" y="4327525"/>
              <a:ext cx="42863" cy="101600"/>
            </a:xfrm>
            <a:custGeom>
              <a:avLst/>
              <a:gdLst>
                <a:gd name="T0" fmla="*/ 2147483647 w 29"/>
                <a:gd name="T1" fmla="*/ 2147483647 h 64"/>
                <a:gd name="T2" fmla="*/ 2147483647 w 29"/>
                <a:gd name="T3" fmla="*/ 2147483647 h 64"/>
                <a:gd name="T4" fmla="*/ 2147483647 w 29"/>
                <a:gd name="T5" fmla="*/ 2147483647 h 64"/>
                <a:gd name="T6" fmla="*/ 2147483647 w 29"/>
                <a:gd name="T7" fmla="*/ 2147483647 h 64"/>
                <a:gd name="T8" fmla="*/ 2147483647 w 29"/>
                <a:gd name="T9" fmla="*/ 2147483647 h 64"/>
                <a:gd name="T10" fmla="*/ 2147483647 w 29"/>
                <a:gd name="T11" fmla="*/ 2147483647 h 64"/>
                <a:gd name="T12" fmla="*/ 2147483647 w 29"/>
                <a:gd name="T13" fmla="*/ 2147483647 h 64"/>
                <a:gd name="T14" fmla="*/ 2147483647 w 29"/>
                <a:gd name="T15" fmla="*/ 2147483647 h 64"/>
                <a:gd name="T16" fmla="*/ 2147483647 w 29"/>
                <a:gd name="T17" fmla="*/ 2147483647 h 64"/>
                <a:gd name="T18" fmla="*/ 2147483647 w 29"/>
                <a:gd name="T19" fmla="*/ 2147483647 h 64"/>
                <a:gd name="T20" fmla="*/ 2147483647 w 29"/>
                <a:gd name="T21" fmla="*/ 2147483647 h 64"/>
                <a:gd name="T22" fmla="*/ 2147483647 w 29"/>
                <a:gd name="T23" fmla="*/ 0 h 64"/>
                <a:gd name="T24" fmla="*/ 2147483647 w 29"/>
                <a:gd name="T25" fmla="*/ 2147483647 h 64"/>
                <a:gd name="T26" fmla="*/ 2147483647 w 29"/>
                <a:gd name="T27" fmla="*/ 2147483647 h 64"/>
                <a:gd name="T28" fmla="*/ 2147483647 w 29"/>
                <a:gd name="T29" fmla="*/ 2147483647 h 64"/>
                <a:gd name="T30" fmla="*/ 2147483647 w 29"/>
                <a:gd name="T31" fmla="*/ 2147483647 h 64"/>
                <a:gd name="T32" fmla="*/ 2147483647 w 29"/>
                <a:gd name="T33" fmla="*/ 2147483647 h 64"/>
                <a:gd name="T34" fmla="*/ 2147483647 w 29"/>
                <a:gd name="T35" fmla="*/ 2147483647 h 64"/>
                <a:gd name="T36" fmla="*/ 2147483647 w 29"/>
                <a:gd name="T37" fmla="*/ 2147483647 h 64"/>
                <a:gd name="T38" fmla="*/ 2147483647 w 29"/>
                <a:gd name="T39" fmla="*/ 2147483647 h 64"/>
                <a:gd name="T40" fmla="*/ 2147483647 w 29"/>
                <a:gd name="T41" fmla="*/ 2147483647 h 64"/>
                <a:gd name="T42" fmla="*/ 2147483647 w 29"/>
                <a:gd name="T43" fmla="*/ 2147483647 h 64"/>
                <a:gd name="T44" fmla="*/ 2147483647 w 29"/>
                <a:gd name="T45" fmla="*/ 2147483647 h 64"/>
                <a:gd name="T46" fmla="*/ 2147483647 w 29"/>
                <a:gd name="T47" fmla="*/ 2147483647 h 64"/>
                <a:gd name="T48" fmla="*/ 2147483647 w 29"/>
                <a:gd name="T49" fmla="*/ 2147483647 h 64"/>
                <a:gd name="T50" fmla="*/ 2147483647 w 29"/>
                <a:gd name="T51" fmla="*/ 2147483647 h 64"/>
                <a:gd name="T52" fmla="*/ 2147483647 w 29"/>
                <a:gd name="T53" fmla="*/ 2147483647 h 64"/>
                <a:gd name="T54" fmla="*/ 2147483647 w 29"/>
                <a:gd name="T55" fmla="*/ 2147483647 h 64"/>
                <a:gd name="T56" fmla="*/ 2147483647 w 29"/>
                <a:gd name="T57" fmla="*/ 2147483647 h 64"/>
                <a:gd name="T58" fmla="*/ 2147483647 w 29"/>
                <a:gd name="T59" fmla="*/ 2147483647 h 64"/>
                <a:gd name="T60" fmla="*/ 2147483647 w 29"/>
                <a:gd name="T61" fmla="*/ 2147483647 h 64"/>
                <a:gd name="T62" fmla="*/ 2147483647 w 29"/>
                <a:gd name="T63" fmla="*/ 2147483647 h 64"/>
                <a:gd name="T64" fmla="*/ 2147483647 w 29"/>
                <a:gd name="T65" fmla="*/ 2147483647 h 64"/>
                <a:gd name="T66" fmla="*/ 2147483647 w 29"/>
                <a:gd name="T67" fmla="*/ 2147483647 h 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
                <a:gd name="T103" fmla="*/ 0 h 64"/>
                <a:gd name="T104" fmla="*/ 29 w 29"/>
                <a:gd name="T105" fmla="*/ 64 h 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 h="64">
                  <a:moveTo>
                    <a:pt x="28" y="16"/>
                  </a:moveTo>
                  <a:lnTo>
                    <a:pt x="28" y="16"/>
                  </a:lnTo>
                  <a:lnTo>
                    <a:pt x="28" y="10"/>
                  </a:lnTo>
                  <a:lnTo>
                    <a:pt x="28" y="8"/>
                  </a:lnTo>
                  <a:lnTo>
                    <a:pt x="27" y="7"/>
                  </a:lnTo>
                  <a:lnTo>
                    <a:pt x="25" y="7"/>
                  </a:lnTo>
                  <a:lnTo>
                    <a:pt x="23" y="9"/>
                  </a:lnTo>
                  <a:lnTo>
                    <a:pt x="20" y="13"/>
                  </a:lnTo>
                  <a:lnTo>
                    <a:pt x="19" y="15"/>
                  </a:lnTo>
                  <a:lnTo>
                    <a:pt x="15" y="17"/>
                  </a:lnTo>
                  <a:lnTo>
                    <a:pt x="14" y="19"/>
                  </a:lnTo>
                  <a:lnTo>
                    <a:pt x="11" y="17"/>
                  </a:lnTo>
                  <a:lnTo>
                    <a:pt x="11" y="16"/>
                  </a:lnTo>
                  <a:lnTo>
                    <a:pt x="11" y="15"/>
                  </a:lnTo>
                  <a:lnTo>
                    <a:pt x="14" y="11"/>
                  </a:lnTo>
                  <a:lnTo>
                    <a:pt x="14" y="10"/>
                  </a:lnTo>
                  <a:lnTo>
                    <a:pt x="14" y="8"/>
                  </a:lnTo>
                  <a:lnTo>
                    <a:pt x="13" y="2"/>
                  </a:lnTo>
                  <a:lnTo>
                    <a:pt x="10" y="0"/>
                  </a:lnTo>
                  <a:lnTo>
                    <a:pt x="9" y="0"/>
                  </a:lnTo>
                  <a:lnTo>
                    <a:pt x="8" y="1"/>
                  </a:lnTo>
                  <a:lnTo>
                    <a:pt x="4" y="4"/>
                  </a:lnTo>
                  <a:lnTo>
                    <a:pt x="1" y="9"/>
                  </a:lnTo>
                  <a:lnTo>
                    <a:pt x="0" y="14"/>
                  </a:lnTo>
                  <a:lnTo>
                    <a:pt x="1" y="19"/>
                  </a:lnTo>
                  <a:lnTo>
                    <a:pt x="2" y="26"/>
                  </a:lnTo>
                  <a:lnTo>
                    <a:pt x="4" y="32"/>
                  </a:lnTo>
                  <a:lnTo>
                    <a:pt x="5" y="46"/>
                  </a:lnTo>
                  <a:lnTo>
                    <a:pt x="6" y="52"/>
                  </a:lnTo>
                  <a:lnTo>
                    <a:pt x="10" y="58"/>
                  </a:lnTo>
                  <a:lnTo>
                    <a:pt x="15" y="61"/>
                  </a:lnTo>
                  <a:lnTo>
                    <a:pt x="19" y="62"/>
                  </a:lnTo>
                  <a:lnTo>
                    <a:pt x="23" y="64"/>
                  </a:lnTo>
                  <a:lnTo>
                    <a:pt x="22" y="61"/>
                  </a:lnTo>
                  <a:lnTo>
                    <a:pt x="16" y="55"/>
                  </a:lnTo>
                  <a:lnTo>
                    <a:pt x="13" y="49"/>
                  </a:lnTo>
                  <a:lnTo>
                    <a:pt x="10" y="43"/>
                  </a:lnTo>
                  <a:lnTo>
                    <a:pt x="10" y="36"/>
                  </a:lnTo>
                  <a:lnTo>
                    <a:pt x="10" y="35"/>
                  </a:lnTo>
                  <a:lnTo>
                    <a:pt x="13" y="35"/>
                  </a:lnTo>
                  <a:lnTo>
                    <a:pt x="19" y="39"/>
                  </a:lnTo>
                  <a:lnTo>
                    <a:pt x="23" y="39"/>
                  </a:lnTo>
                  <a:lnTo>
                    <a:pt x="27" y="38"/>
                  </a:lnTo>
                  <a:lnTo>
                    <a:pt x="29" y="35"/>
                  </a:lnTo>
                  <a:lnTo>
                    <a:pt x="29" y="33"/>
                  </a:lnTo>
                  <a:lnTo>
                    <a:pt x="25" y="28"/>
                  </a:lnTo>
                  <a:lnTo>
                    <a:pt x="20" y="28"/>
                  </a:lnTo>
                  <a:lnTo>
                    <a:pt x="18" y="27"/>
                  </a:lnTo>
                  <a:lnTo>
                    <a:pt x="18" y="26"/>
                  </a:lnTo>
                  <a:lnTo>
                    <a:pt x="19" y="24"/>
                  </a:lnTo>
                  <a:lnTo>
                    <a:pt x="22" y="22"/>
                  </a:lnTo>
                  <a:lnTo>
                    <a:pt x="25" y="20"/>
                  </a:lnTo>
                  <a:lnTo>
                    <a:pt x="27" y="19"/>
                  </a:lnTo>
                  <a:lnTo>
                    <a:pt x="28"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69" name="Freeform 768"/>
            <p:cNvSpPr>
              <a:spLocks/>
            </p:cNvSpPr>
            <p:nvPr/>
          </p:nvSpPr>
          <p:spPr bwMode="auto">
            <a:xfrm>
              <a:off x="7537454" y="4410080"/>
              <a:ext cx="17463" cy="22225"/>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0 h 14"/>
                <a:gd name="T14" fmla="*/ 2147483647 w 12"/>
                <a:gd name="T15" fmla="*/ 0 h 14"/>
                <a:gd name="T16" fmla="*/ 2147483647 w 12"/>
                <a:gd name="T17" fmla="*/ 2147483647 h 14"/>
                <a:gd name="T18" fmla="*/ 2147483647 w 12"/>
                <a:gd name="T19" fmla="*/ 2147483647 h 14"/>
                <a:gd name="T20" fmla="*/ 0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2147483647 w 12"/>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0" y="12"/>
                  </a:moveTo>
                  <a:lnTo>
                    <a:pt x="10" y="12"/>
                  </a:lnTo>
                  <a:lnTo>
                    <a:pt x="6" y="7"/>
                  </a:lnTo>
                  <a:lnTo>
                    <a:pt x="4" y="3"/>
                  </a:lnTo>
                  <a:lnTo>
                    <a:pt x="4" y="1"/>
                  </a:lnTo>
                  <a:lnTo>
                    <a:pt x="4" y="0"/>
                  </a:lnTo>
                  <a:lnTo>
                    <a:pt x="3" y="0"/>
                  </a:lnTo>
                  <a:lnTo>
                    <a:pt x="1" y="1"/>
                  </a:lnTo>
                  <a:lnTo>
                    <a:pt x="0" y="6"/>
                  </a:lnTo>
                  <a:lnTo>
                    <a:pt x="1" y="10"/>
                  </a:lnTo>
                  <a:lnTo>
                    <a:pt x="3" y="12"/>
                  </a:lnTo>
                  <a:lnTo>
                    <a:pt x="5" y="13"/>
                  </a:lnTo>
                  <a:lnTo>
                    <a:pt x="8" y="14"/>
                  </a:lnTo>
                  <a:lnTo>
                    <a:pt x="10" y="14"/>
                  </a:lnTo>
                  <a:lnTo>
                    <a:pt x="12" y="13"/>
                  </a:lnTo>
                  <a:lnTo>
                    <a:pt x="10"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0" name="Freeform 769"/>
            <p:cNvSpPr>
              <a:spLocks/>
            </p:cNvSpPr>
            <p:nvPr/>
          </p:nvSpPr>
          <p:spPr bwMode="auto">
            <a:xfrm>
              <a:off x="7523166" y="4454525"/>
              <a:ext cx="15875" cy="7938"/>
            </a:xfrm>
            <a:custGeom>
              <a:avLst/>
              <a:gdLst>
                <a:gd name="T0" fmla="*/ 2147483647 w 11"/>
                <a:gd name="T1" fmla="*/ 2147483647 h 5"/>
                <a:gd name="T2" fmla="*/ 2147483647 w 11"/>
                <a:gd name="T3" fmla="*/ 2147483647 h 5"/>
                <a:gd name="T4" fmla="*/ 2147483647 w 11"/>
                <a:gd name="T5" fmla="*/ 2147483647 h 5"/>
                <a:gd name="T6" fmla="*/ 2147483647 w 11"/>
                <a:gd name="T7" fmla="*/ 0 h 5"/>
                <a:gd name="T8" fmla="*/ 0 w 11"/>
                <a:gd name="T9" fmla="*/ 0 h 5"/>
                <a:gd name="T10" fmla="*/ 2147483647 w 11"/>
                <a:gd name="T11" fmla="*/ 2147483647 h 5"/>
                <a:gd name="T12" fmla="*/ 2147483647 w 11"/>
                <a:gd name="T13" fmla="*/ 2147483647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5"/>
                <a:gd name="T35" fmla="*/ 11 w 11"/>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5">
                  <a:moveTo>
                    <a:pt x="11" y="5"/>
                  </a:moveTo>
                  <a:lnTo>
                    <a:pt x="11" y="3"/>
                  </a:lnTo>
                  <a:lnTo>
                    <a:pt x="10" y="1"/>
                  </a:lnTo>
                  <a:lnTo>
                    <a:pt x="8" y="0"/>
                  </a:lnTo>
                  <a:lnTo>
                    <a:pt x="0" y="0"/>
                  </a:lnTo>
                  <a:lnTo>
                    <a:pt x="3" y="3"/>
                  </a:lnTo>
                  <a:lnTo>
                    <a:pt x="5" y="5"/>
                  </a:lnTo>
                  <a:lnTo>
                    <a:pt x="9" y="5"/>
                  </a:lnTo>
                  <a:lnTo>
                    <a:pt x="11" y="5"/>
                  </a:lnTo>
                  <a:lnTo>
                    <a:pt x="11" y="4"/>
                  </a:lnTo>
                  <a:lnTo>
                    <a:pt x="1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1" name="Freeform 770"/>
            <p:cNvSpPr>
              <a:spLocks/>
            </p:cNvSpPr>
            <p:nvPr/>
          </p:nvSpPr>
          <p:spPr bwMode="auto">
            <a:xfrm>
              <a:off x="7553329" y="4454526"/>
              <a:ext cx="22225" cy="15875"/>
            </a:xfrm>
            <a:custGeom>
              <a:avLst/>
              <a:gdLst>
                <a:gd name="T0" fmla="*/ 2147483647 w 16"/>
                <a:gd name="T1" fmla="*/ 2147483647 h 10"/>
                <a:gd name="T2" fmla="*/ 2147483647 w 16"/>
                <a:gd name="T3" fmla="*/ 2147483647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2147483647 w 16"/>
                <a:gd name="T21" fmla="*/ 2147483647 h 10"/>
                <a:gd name="T22" fmla="*/ 2147483647 w 16"/>
                <a:gd name="T23" fmla="*/ 2147483647 h 10"/>
                <a:gd name="T24" fmla="*/ 2147483647 w 16"/>
                <a:gd name="T25" fmla="*/ 2147483647 h 10"/>
                <a:gd name="T26" fmla="*/ 2147483647 w 16"/>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0"/>
                <a:gd name="T44" fmla="*/ 16 w 16"/>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0">
                  <a:moveTo>
                    <a:pt x="16" y="7"/>
                  </a:moveTo>
                  <a:lnTo>
                    <a:pt x="12" y="4"/>
                  </a:lnTo>
                  <a:lnTo>
                    <a:pt x="8" y="0"/>
                  </a:lnTo>
                  <a:lnTo>
                    <a:pt x="4" y="0"/>
                  </a:lnTo>
                  <a:lnTo>
                    <a:pt x="2" y="1"/>
                  </a:lnTo>
                  <a:lnTo>
                    <a:pt x="0" y="4"/>
                  </a:lnTo>
                  <a:lnTo>
                    <a:pt x="2" y="7"/>
                  </a:lnTo>
                  <a:lnTo>
                    <a:pt x="2" y="9"/>
                  </a:lnTo>
                  <a:lnTo>
                    <a:pt x="3" y="9"/>
                  </a:lnTo>
                  <a:lnTo>
                    <a:pt x="7" y="9"/>
                  </a:lnTo>
                  <a:lnTo>
                    <a:pt x="10" y="9"/>
                  </a:lnTo>
                  <a:lnTo>
                    <a:pt x="14" y="10"/>
                  </a:lnTo>
                  <a:lnTo>
                    <a:pt x="16" y="9"/>
                  </a:lnTo>
                  <a:lnTo>
                    <a:pt x="1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2" name="Freeform 771"/>
            <p:cNvSpPr>
              <a:spLocks/>
            </p:cNvSpPr>
            <p:nvPr/>
          </p:nvSpPr>
          <p:spPr bwMode="auto">
            <a:xfrm>
              <a:off x="7521578" y="4452942"/>
              <a:ext cx="15875" cy="7937"/>
            </a:xfrm>
            <a:custGeom>
              <a:avLst/>
              <a:gdLst>
                <a:gd name="T0" fmla="*/ 2147483647 w 11"/>
                <a:gd name="T1" fmla="*/ 2147483647 h 5"/>
                <a:gd name="T2" fmla="*/ 2147483647 w 11"/>
                <a:gd name="T3" fmla="*/ 2147483647 h 5"/>
                <a:gd name="T4" fmla="*/ 2147483647 w 11"/>
                <a:gd name="T5" fmla="*/ 2147483647 h 5"/>
                <a:gd name="T6" fmla="*/ 2147483647 w 11"/>
                <a:gd name="T7" fmla="*/ 2147483647 h 5"/>
                <a:gd name="T8" fmla="*/ 2147483647 w 11"/>
                <a:gd name="T9" fmla="*/ 0 h 5"/>
                <a:gd name="T10" fmla="*/ 0 w 11"/>
                <a:gd name="T11" fmla="*/ 0 h 5"/>
                <a:gd name="T12" fmla="*/ 0 w 11"/>
                <a:gd name="T13" fmla="*/ 0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2147483647 w 11"/>
                <a:gd name="T23" fmla="*/ 2147483647 h 5"/>
                <a:gd name="T24" fmla="*/ 2147483647 w 11"/>
                <a:gd name="T25" fmla="*/ 2147483647 h 5"/>
                <a:gd name="T26" fmla="*/ 2147483647 w 11"/>
                <a:gd name="T27" fmla="*/ 2147483647 h 5"/>
                <a:gd name="T28" fmla="*/ 2147483647 w 11"/>
                <a:gd name="T29" fmla="*/ 2147483647 h 5"/>
                <a:gd name="T30" fmla="*/ 2147483647 w 11"/>
                <a:gd name="T31" fmla="*/ 2147483647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5"/>
                <a:gd name="T50" fmla="*/ 11 w 11"/>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5">
                  <a:moveTo>
                    <a:pt x="11" y="5"/>
                  </a:moveTo>
                  <a:lnTo>
                    <a:pt x="11" y="5"/>
                  </a:lnTo>
                  <a:lnTo>
                    <a:pt x="11" y="2"/>
                  </a:lnTo>
                  <a:lnTo>
                    <a:pt x="10" y="1"/>
                  </a:lnTo>
                  <a:lnTo>
                    <a:pt x="7" y="0"/>
                  </a:lnTo>
                  <a:lnTo>
                    <a:pt x="0" y="0"/>
                  </a:lnTo>
                  <a:lnTo>
                    <a:pt x="2" y="2"/>
                  </a:lnTo>
                  <a:lnTo>
                    <a:pt x="5" y="5"/>
                  </a:lnTo>
                  <a:lnTo>
                    <a:pt x="9" y="5"/>
                  </a:lnTo>
                  <a:lnTo>
                    <a:pt x="11" y="5"/>
                  </a:lnTo>
                  <a:lnTo>
                    <a:pt x="11" y="4"/>
                  </a:lnTo>
                  <a:lnTo>
                    <a:pt x="1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3" name="Freeform 772"/>
            <p:cNvSpPr>
              <a:spLocks/>
            </p:cNvSpPr>
            <p:nvPr/>
          </p:nvSpPr>
          <p:spPr bwMode="auto">
            <a:xfrm>
              <a:off x="7551739" y="4452942"/>
              <a:ext cx="20637" cy="15875"/>
            </a:xfrm>
            <a:custGeom>
              <a:avLst/>
              <a:gdLst>
                <a:gd name="T0" fmla="*/ 2147483647 w 15"/>
                <a:gd name="T1" fmla="*/ 2147483647 h 10"/>
                <a:gd name="T2" fmla="*/ 2147483647 w 15"/>
                <a:gd name="T3" fmla="*/ 2147483647 h 10"/>
                <a:gd name="T4" fmla="*/ 2147483647 w 15"/>
                <a:gd name="T5" fmla="*/ 2147483647 h 10"/>
                <a:gd name="T6" fmla="*/ 2147483647 w 15"/>
                <a:gd name="T7" fmla="*/ 0 h 10"/>
                <a:gd name="T8" fmla="*/ 2147483647 w 15"/>
                <a:gd name="T9" fmla="*/ 0 h 10"/>
                <a:gd name="T10" fmla="*/ 2147483647 w 15"/>
                <a:gd name="T11" fmla="*/ 0 h 10"/>
                <a:gd name="T12" fmla="*/ 2147483647 w 15"/>
                <a:gd name="T13" fmla="*/ 2147483647 h 10"/>
                <a:gd name="T14" fmla="*/ 0 w 15"/>
                <a:gd name="T15" fmla="*/ 2147483647 h 10"/>
                <a:gd name="T16" fmla="*/ 2147483647 w 15"/>
                <a:gd name="T17" fmla="*/ 2147483647 h 10"/>
                <a:gd name="T18" fmla="*/ 2147483647 w 15"/>
                <a:gd name="T19" fmla="*/ 2147483647 h 10"/>
                <a:gd name="T20" fmla="*/ 2147483647 w 15"/>
                <a:gd name="T21" fmla="*/ 2147483647 h 10"/>
                <a:gd name="T22" fmla="*/ 2147483647 w 15"/>
                <a:gd name="T23" fmla="*/ 2147483647 h 10"/>
                <a:gd name="T24" fmla="*/ 2147483647 w 15"/>
                <a:gd name="T25" fmla="*/ 2147483647 h 10"/>
                <a:gd name="T26" fmla="*/ 2147483647 w 15"/>
                <a:gd name="T27" fmla="*/ 2147483647 h 10"/>
                <a:gd name="T28" fmla="*/ 2147483647 w 15"/>
                <a:gd name="T29" fmla="*/ 2147483647 h 10"/>
                <a:gd name="T30" fmla="*/ 2147483647 w 15"/>
                <a:gd name="T31" fmla="*/ 2147483647 h 10"/>
                <a:gd name="T32" fmla="*/ 2147483647 w 15"/>
                <a:gd name="T33" fmla="*/ 2147483647 h 10"/>
                <a:gd name="T34" fmla="*/ 2147483647 w 15"/>
                <a:gd name="T35" fmla="*/ 2147483647 h 10"/>
                <a:gd name="T36" fmla="*/ 2147483647 w 15"/>
                <a:gd name="T37" fmla="*/ 2147483647 h 10"/>
                <a:gd name="T38" fmla="*/ 2147483647 w 15"/>
                <a:gd name="T39" fmla="*/ 2147483647 h 10"/>
                <a:gd name="T40" fmla="*/ 2147483647 w 15"/>
                <a:gd name="T41" fmla="*/ 2147483647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0"/>
                <a:gd name="T65" fmla="*/ 15 w 15"/>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0">
                  <a:moveTo>
                    <a:pt x="15" y="7"/>
                  </a:moveTo>
                  <a:lnTo>
                    <a:pt x="15" y="7"/>
                  </a:lnTo>
                  <a:lnTo>
                    <a:pt x="11" y="4"/>
                  </a:lnTo>
                  <a:lnTo>
                    <a:pt x="8" y="0"/>
                  </a:lnTo>
                  <a:lnTo>
                    <a:pt x="4" y="0"/>
                  </a:lnTo>
                  <a:lnTo>
                    <a:pt x="1" y="1"/>
                  </a:lnTo>
                  <a:lnTo>
                    <a:pt x="0" y="4"/>
                  </a:lnTo>
                  <a:lnTo>
                    <a:pt x="1" y="7"/>
                  </a:lnTo>
                  <a:lnTo>
                    <a:pt x="1" y="8"/>
                  </a:lnTo>
                  <a:lnTo>
                    <a:pt x="3" y="8"/>
                  </a:lnTo>
                  <a:lnTo>
                    <a:pt x="6" y="8"/>
                  </a:lnTo>
                  <a:lnTo>
                    <a:pt x="10" y="8"/>
                  </a:lnTo>
                  <a:lnTo>
                    <a:pt x="14" y="10"/>
                  </a:lnTo>
                  <a:lnTo>
                    <a:pt x="15" y="8"/>
                  </a:lnTo>
                  <a:lnTo>
                    <a:pt x="15"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4" name="Freeform 773"/>
            <p:cNvSpPr>
              <a:spLocks/>
            </p:cNvSpPr>
            <p:nvPr/>
          </p:nvSpPr>
          <p:spPr bwMode="auto">
            <a:xfrm>
              <a:off x="7605713" y="4459292"/>
              <a:ext cx="25400" cy="14288"/>
            </a:xfrm>
            <a:custGeom>
              <a:avLst/>
              <a:gdLst>
                <a:gd name="T0" fmla="*/ 2147483647 w 18"/>
                <a:gd name="T1" fmla="*/ 2147483647 h 9"/>
                <a:gd name="T2" fmla="*/ 2147483647 w 18"/>
                <a:gd name="T3" fmla="*/ 2147483647 h 9"/>
                <a:gd name="T4" fmla="*/ 2147483647 w 18"/>
                <a:gd name="T5" fmla="*/ 2147483647 h 9"/>
                <a:gd name="T6" fmla="*/ 2147483647 w 18"/>
                <a:gd name="T7" fmla="*/ 0 h 9"/>
                <a:gd name="T8" fmla="*/ 2147483647 w 18"/>
                <a:gd name="T9" fmla="*/ 0 h 9"/>
                <a:gd name="T10" fmla="*/ 2147483647 w 18"/>
                <a:gd name="T11" fmla="*/ 2147483647 h 9"/>
                <a:gd name="T12" fmla="*/ 2147483647 w 18"/>
                <a:gd name="T13" fmla="*/ 2147483647 h 9"/>
                <a:gd name="T14" fmla="*/ 2147483647 w 18"/>
                <a:gd name="T15" fmla="*/ 2147483647 h 9"/>
                <a:gd name="T16" fmla="*/ 0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2147483647 w 18"/>
                <a:gd name="T33" fmla="*/ 2147483647 h 9"/>
                <a:gd name="T34" fmla="*/ 2147483647 w 1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9"/>
                <a:gd name="T56" fmla="*/ 18 w 1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9">
                  <a:moveTo>
                    <a:pt x="18" y="4"/>
                  </a:moveTo>
                  <a:lnTo>
                    <a:pt x="16" y="3"/>
                  </a:lnTo>
                  <a:lnTo>
                    <a:pt x="16" y="2"/>
                  </a:lnTo>
                  <a:lnTo>
                    <a:pt x="16" y="0"/>
                  </a:lnTo>
                  <a:lnTo>
                    <a:pt x="15" y="0"/>
                  </a:lnTo>
                  <a:lnTo>
                    <a:pt x="7" y="1"/>
                  </a:lnTo>
                  <a:lnTo>
                    <a:pt x="5" y="1"/>
                  </a:lnTo>
                  <a:lnTo>
                    <a:pt x="1" y="2"/>
                  </a:lnTo>
                  <a:lnTo>
                    <a:pt x="0" y="4"/>
                  </a:lnTo>
                  <a:lnTo>
                    <a:pt x="1" y="6"/>
                  </a:lnTo>
                  <a:lnTo>
                    <a:pt x="2" y="7"/>
                  </a:lnTo>
                  <a:lnTo>
                    <a:pt x="6" y="7"/>
                  </a:lnTo>
                  <a:lnTo>
                    <a:pt x="9" y="8"/>
                  </a:lnTo>
                  <a:lnTo>
                    <a:pt x="13" y="9"/>
                  </a:lnTo>
                  <a:lnTo>
                    <a:pt x="16" y="9"/>
                  </a:lnTo>
                  <a:lnTo>
                    <a:pt x="18" y="8"/>
                  </a:lnTo>
                  <a:lnTo>
                    <a:pt x="18" y="6"/>
                  </a:lnTo>
                  <a:lnTo>
                    <a:pt x="18"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5" name="Freeform 774"/>
            <p:cNvSpPr>
              <a:spLocks/>
            </p:cNvSpPr>
            <p:nvPr/>
          </p:nvSpPr>
          <p:spPr bwMode="auto">
            <a:xfrm>
              <a:off x="7631113" y="4429126"/>
              <a:ext cx="17462" cy="20638"/>
            </a:xfrm>
            <a:custGeom>
              <a:avLst/>
              <a:gdLst>
                <a:gd name="T0" fmla="*/ 2147483647 w 11"/>
                <a:gd name="T1" fmla="*/ 2147483647 h 13"/>
                <a:gd name="T2" fmla="*/ 0 w 11"/>
                <a:gd name="T3" fmla="*/ 2147483647 h 13"/>
                <a:gd name="T4" fmla="*/ 0 w 11"/>
                <a:gd name="T5" fmla="*/ 2147483647 h 13"/>
                <a:gd name="T6" fmla="*/ 0 w 11"/>
                <a:gd name="T7" fmla="*/ 2147483647 h 13"/>
                <a:gd name="T8" fmla="*/ 2147483647 w 11"/>
                <a:gd name="T9" fmla="*/ 2147483647 h 13"/>
                <a:gd name="T10" fmla="*/ 2147483647 w 11"/>
                <a:gd name="T11" fmla="*/ 0 h 13"/>
                <a:gd name="T12" fmla="*/ 2147483647 w 11"/>
                <a:gd name="T13" fmla="*/ 2147483647 h 13"/>
                <a:gd name="T14" fmla="*/ 2147483647 w 11"/>
                <a:gd name="T15" fmla="*/ 2147483647 h 13"/>
                <a:gd name="T16" fmla="*/ 2147483647 w 11"/>
                <a:gd name="T17" fmla="*/ 2147483647 h 13"/>
                <a:gd name="T18" fmla="*/ 2147483647 w 11"/>
                <a:gd name="T19" fmla="*/ 2147483647 h 13"/>
                <a:gd name="T20" fmla="*/ 2147483647 w 11"/>
                <a:gd name="T21" fmla="*/ 2147483647 h 13"/>
                <a:gd name="T22" fmla="*/ 2147483647 w 11"/>
                <a:gd name="T23" fmla="*/ 2147483647 h 13"/>
                <a:gd name="T24" fmla="*/ 2147483647 w 11"/>
                <a:gd name="T25" fmla="*/ 2147483647 h 13"/>
                <a:gd name="T26" fmla="*/ 2147483647 w 11"/>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3"/>
                <a:gd name="T44" fmla="*/ 11 w 1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3">
                  <a:moveTo>
                    <a:pt x="2" y="13"/>
                  </a:moveTo>
                  <a:lnTo>
                    <a:pt x="0" y="4"/>
                  </a:lnTo>
                  <a:lnTo>
                    <a:pt x="0" y="2"/>
                  </a:lnTo>
                  <a:lnTo>
                    <a:pt x="0" y="1"/>
                  </a:lnTo>
                  <a:lnTo>
                    <a:pt x="1" y="1"/>
                  </a:lnTo>
                  <a:lnTo>
                    <a:pt x="3" y="0"/>
                  </a:lnTo>
                  <a:lnTo>
                    <a:pt x="6" y="1"/>
                  </a:lnTo>
                  <a:lnTo>
                    <a:pt x="9" y="3"/>
                  </a:lnTo>
                  <a:lnTo>
                    <a:pt x="10" y="6"/>
                  </a:lnTo>
                  <a:lnTo>
                    <a:pt x="11" y="9"/>
                  </a:lnTo>
                  <a:lnTo>
                    <a:pt x="6" y="10"/>
                  </a:lnTo>
                  <a:lnTo>
                    <a:pt x="5" y="11"/>
                  </a:lnTo>
                  <a:lnTo>
                    <a:pt x="5" y="13"/>
                  </a:lnTo>
                  <a:lnTo>
                    <a:pt x="2"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6" name="Freeform 775"/>
            <p:cNvSpPr>
              <a:spLocks/>
            </p:cNvSpPr>
            <p:nvPr/>
          </p:nvSpPr>
          <p:spPr bwMode="auto">
            <a:xfrm>
              <a:off x="7604126" y="4456114"/>
              <a:ext cx="25400" cy="15875"/>
            </a:xfrm>
            <a:custGeom>
              <a:avLst/>
              <a:gdLst>
                <a:gd name="T0" fmla="*/ 2147483647 w 17"/>
                <a:gd name="T1" fmla="*/ 2147483647 h 10"/>
                <a:gd name="T2" fmla="*/ 2147483647 w 17"/>
                <a:gd name="T3" fmla="*/ 2147483647 h 10"/>
                <a:gd name="T4" fmla="*/ 2147483647 w 17"/>
                <a:gd name="T5" fmla="*/ 2147483647 h 10"/>
                <a:gd name="T6" fmla="*/ 2147483647 w 17"/>
                <a:gd name="T7" fmla="*/ 2147483647 h 10"/>
                <a:gd name="T8" fmla="*/ 2147483647 w 17"/>
                <a:gd name="T9" fmla="*/ 0 h 10"/>
                <a:gd name="T10" fmla="*/ 2147483647 w 17"/>
                <a:gd name="T11" fmla="*/ 0 h 10"/>
                <a:gd name="T12" fmla="*/ 2147483647 w 17"/>
                <a:gd name="T13" fmla="*/ 0 h 10"/>
                <a:gd name="T14" fmla="*/ 2147483647 w 17"/>
                <a:gd name="T15" fmla="*/ 2147483647 h 10"/>
                <a:gd name="T16" fmla="*/ 2147483647 w 17"/>
                <a:gd name="T17" fmla="*/ 2147483647 h 10"/>
                <a:gd name="T18" fmla="*/ 2147483647 w 17"/>
                <a:gd name="T19" fmla="*/ 2147483647 h 10"/>
                <a:gd name="T20" fmla="*/ 2147483647 w 17"/>
                <a:gd name="T21" fmla="*/ 2147483647 h 10"/>
                <a:gd name="T22" fmla="*/ 0 w 17"/>
                <a:gd name="T23" fmla="*/ 2147483647 h 10"/>
                <a:gd name="T24" fmla="*/ 2147483647 w 17"/>
                <a:gd name="T25" fmla="*/ 2147483647 h 10"/>
                <a:gd name="T26" fmla="*/ 2147483647 w 17"/>
                <a:gd name="T27" fmla="*/ 2147483647 h 10"/>
                <a:gd name="T28" fmla="*/ 2147483647 w 17"/>
                <a:gd name="T29" fmla="*/ 2147483647 h 10"/>
                <a:gd name="T30" fmla="*/ 2147483647 w 17"/>
                <a:gd name="T31" fmla="*/ 2147483647 h 10"/>
                <a:gd name="T32" fmla="*/ 2147483647 w 17"/>
                <a:gd name="T33" fmla="*/ 2147483647 h 10"/>
                <a:gd name="T34" fmla="*/ 2147483647 w 17"/>
                <a:gd name="T35" fmla="*/ 2147483647 h 10"/>
                <a:gd name="T36" fmla="*/ 2147483647 w 17"/>
                <a:gd name="T37" fmla="*/ 2147483647 h 10"/>
                <a:gd name="T38" fmla="*/ 2147483647 w 17"/>
                <a:gd name="T39" fmla="*/ 2147483647 h 10"/>
                <a:gd name="T40" fmla="*/ 2147483647 w 17"/>
                <a:gd name="T41" fmla="*/ 2147483647 h 10"/>
                <a:gd name="T42" fmla="*/ 2147483647 w 17"/>
                <a:gd name="T43" fmla="*/ 2147483647 h 10"/>
                <a:gd name="T44" fmla="*/ 2147483647 w 17"/>
                <a:gd name="T45" fmla="*/ 2147483647 h 10"/>
                <a:gd name="T46" fmla="*/ 2147483647 w 17"/>
                <a:gd name="T47" fmla="*/ 2147483647 h 1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0"/>
                <a:gd name="T74" fmla="*/ 17 w 17"/>
                <a:gd name="T75" fmla="*/ 10 h 1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0">
                  <a:moveTo>
                    <a:pt x="17" y="5"/>
                  </a:moveTo>
                  <a:lnTo>
                    <a:pt x="17" y="5"/>
                  </a:lnTo>
                  <a:lnTo>
                    <a:pt x="16" y="4"/>
                  </a:lnTo>
                  <a:lnTo>
                    <a:pt x="16" y="3"/>
                  </a:lnTo>
                  <a:lnTo>
                    <a:pt x="16" y="0"/>
                  </a:lnTo>
                  <a:lnTo>
                    <a:pt x="15" y="0"/>
                  </a:lnTo>
                  <a:lnTo>
                    <a:pt x="7" y="2"/>
                  </a:lnTo>
                  <a:lnTo>
                    <a:pt x="5" y="2"/>
                  </a:lnTo>
                  <a:lnTo>
                    <a:pt x="1" y="3"/>
                  </a:lnTo>
                  <a:lnTo>
                    <a:pt x="0" y="5"/>
                  </a:lnTo>
                  <a:lnTo>
                    <a:pt x="1" y="6"/>
                  </a:lnTo>
                  <a:lnTo>
                    <a:pt x="2" y="8"/>
                  </a:lnTo>
                  <a:lnTo>
                    <a:pt x="6" y="8"/>
                  </a:lnTo>
                  <a:lnTo>
                    <a:pt x="8" y="9"/>
                  </a:lnTo>
                  <a:lnTo>
                    <a:pt x="12" y="10"/>
                  </a:lnTo>
                  <a:lnTo>
                    <a:pt x="16" y="10"/>
                  </a:lnTo>
                  <a:lnTo>
                    <a:pt x="17" y="9"/>
                  </a:lnTo>
                  <a:lnTo>
                    <a:pt x="17" y="6"/>
                  </a:lnTo>
                  <a:lnTo>
                    <a:pt x="17"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7" name="Freeform 776"/>
            <p:cNvSpPr>
              <a:spLocks/>
            </p:cNvSpPr>
            <p:nvPr/>
          </p:nvSpPr>
          <p:spPr bwMode="auto">
            <a:xfrm>
              <a:off x="7629528" y="4425954"/>
              <a:ext cx="17463" cy="20638"/>
            </a:xfrm>
            <a:custGeom>
              <a:avLst/>
              <a:gdLst>
                <a:gd name="T0" fmla="*/ 2147483647 w 12"/>
                <a:gd name="T1" fmla="*/ 2147483647 h 13"/>
                <a:gd name="T2" fmla="*/ 2147483647 w 12"/>
                <a:gd name="T3" fmla="*/ 2147483647 h 13"/>
                <a:gd name="T4" fmla="*/ 0 w 12"/>
                <a:gd name="T5" fmla="*/ 2147483647 h 13"/>
                <a:gd name="T6" fmla="*/ 0 w 12"/>
                <a:gd name="T7" fmla="*/ 2147483647 h 13"/>
                <a:gd name="T8" fmla="*/ 0 w 12"/>
                <a:gd name="T9" fmla="*/ 2147483647 h 13"/>
                <a:gd name="T10" fmla="*/ 0 w 12"/>
                <a:gd name="T11" fmla="*/ 2147483647 h 13"/>
                <a:gd name="T12" fmla="*/ 2147483647 w 12"/>
                <a:gd name="T13" fmla="*/ 2147483647 h 13"/>
                <a:gd name="T14" fmla="*/ 2147483647 w 12"/>
                <a:gd name="T15" fmla="*/ 2147483647 h 13"/>
                <a:gd name="T16" fmla="*/ 2147483647 w 12"/>
                <a:gd name="T17" fmla="*/ 0 h 13"/>
                <a:gd name="T18" fmla="*/ 2147483647 w 12"/>
                <a:gd name="T19" fmla="*/ 2147483647 h 13"/>
                <a:gd name="T20" fmla="*/ 2147483647 w 12"/>
                <a:gd name="T21" fmla="*/ 2147483647 h 13"/>
                <a:gd name="T22" fmla="*/ 2147483647 w 12"/>
                <a:gd name="T23" fmla="*/ 2147483647 h 13"/>
                <a:gd name="T24" fmla="*/ 2147483647 w 12"/>
                <a:gd name="T25" fmla="*/ 2147483647 h 13"/>
                <a:gd name="T26" fmla="*/ 2147483647 w 12"/>
                <a:gd name="T27" fmla="*/ 2147483647 h 13"/>
                <a:gd name="T28" fmla="*/ 2147483647 w 12"/>
                <a:gd name="T29" fmla="*/ 2147483647 h 13"/>
                <a:gd name="T30" fmla="*/ 2147483647 w 12"/>
                <a:gd name="T31" fmla="*/ 2147483647 h 13"/>
                <a:gd name="T32" fmla="*/ 2147483647 w 12"/>
                <a:gd name="T33" fmla="*/ 2147483647 h 13"/>
                <a:gd name="T34" fmla="*/ 2147483647 w 12"/>
                <a:gd name="T35" fmla="*/ 2147483647 h 13"/>
                <a:gd name="T36" fmla="*/ 2147483647 w 12"/>
                <a:gd name="T37" fmla="*/ 2147483647 h 13"/>
                <a:gd name="T38" fmla="*/ 2147483647 w 12"/>
                <a:gd name="T39" fmla="*/ 2147483647 h 13"/>
                <a:gd name="T40" fmla="*/ 2147483647 w 12"/>
                <a:gd name="T41" fmla="*/ 2147483647 h 13"/>
                <a:gd name="T42" fmla="*/ 2147483647 w 12"/>
                <a:gd name="T43" fmla="*/ 2147483647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13"/>
                <a:gd name="T68" fmla="*/ 12 w 12"/>
                <a:gd name="T69" fmla="*/ 13 h 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13">
                  <a:moveTo>
                    <a:pt x="3" y="13"/>
                  </a:moveTo>
                  <a:lnTo>
                    <a:pt x="3" y="13"/>
                  </a:lnTo>
                  <a:lnTo>
                    <a:pt x="0" y="5"/>
                  </a:lnTo>
                  <a:lnTo>
                    <a:pt x="0" y="3"/>
                  </a:lnTo>
                  <a:lnTo>
                    <a:pt x="0" y="2"/>
                  </a:lnTo>
                  <a:lnTo>
                    <a:pt x="2" y="2"/>
                  </a:lnTo>
                  <a:lnTo>
                    <a:pt x="4" y="0"/>
                  </a:lnTo>
                  <a:lnTo>
                    <a:pt x="7" y="2"/>
                  </a:lnTo>
                  <a:lnTo>
                    <a:pt x="9" y="4"/>
                  </a:lnTo>
                  <a:lnTo>
                    <a:pt x="11" y="6"/>
                  </a:lnTo>
                  <a:lnTo>
                    <a:pt x="12" y="10"/>
                  </a:lnTo>
                  <a:lnTo>
                    <a:pt x="7" y="11"/>
                  </a:lnTo>
                  <a:lnTo>
                    <a:pt x="5" y="12"/>
                  </a:lnTo>
                  <a:lnTo>
                    <a:pt x="5" y="13"/>
                  </a:lnTo>
                  <a:lnTo>
                    <a:pt x="3"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8" name="Freeform 777"/>
            <p:cNvSpPr>
              <a:spLocks/>
            </p:cNvSpPr>
            <p:nvPr/>
          </p:nvSpPr>
          <p:spPr bwMode="auto">
            <a:xfrm>
              <a:off x="7629529" y="4405315"/>
              <a:ext cx="30163" cy="14288"/>
            </a:xfrm>
            <a:custGeom>
              <a:avLst/>
              <a:gdLst>
                <a:gd name="T0" fmla="*/ 2147483647 w 21"/>
                <a:gd name="T1" fmla="*/ 2147483647 h 9"/>
                <a:gd name="T2" fmla="*/ 2147483647 w 21"/>
                <a:gd name="T3" fmla="*/ 0 h 9"/>
                <a:gd name="T4" fmla="*/ 2147483647 w 21"/>
                <a:gd name="T5" fmla="*/ 2147483647 h 9"/>
                <a:gd name="T6" fmla="*/ 2147483647 w 21"/>
                <a:gd name="T7" fmla="*/ 2147483647 h 9"/>
                <a:gd name="T8" fmla="*/ 2147483647 w 21"/>
                <a:gd name="T9" fmla="*/ 2147483647 h 9"/>
                <a:gd name="T10" fmla="*/ 2147483647 w 21"/>
                <a:gd name="T11" fmla="*/ 2147483647 h 9"/>
                <a:gd name="T12" fmla="*/ 2147483647 w 21"/>
                <a:gd name="T13" fmla="*/ 2147483647 h 9"/>
                <a:gd name="T14" fmla="*/ 2147483647 w 21"/>
                <a:gd name="T15" fmla="*/ 0 h 9"/>
                <a:gd name="T16" fmla="*/ 2147483647 w 21"/>
                <a:gd name="T17" fmla="*/ 0 h 9"/>
                <a:gd name="T18" fmla="*/ 0 w 21"/>
                <a:gd name="T19" fmla="*/ 2147483647 h 9"/>
                <a:gd name="T20" fmla="*/ 0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2147483647 h 9"/>
                <a:gd name="T36" fmla="*/ 2147483647 w 21"/>
                <a:gd name="T37" fmla="*/ 2147483647 h 9"/>
                <a:gd name="T38" fmla="*/ 2147483647 w 21"/>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9"/>
                <a:gd name="T62" fmla="*/ 21 w 21"/>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9">
                  <a:moveTo>
                    <a:pt x="18" y="2"/>
                  </a:moveTo>
                  <a:lnTo>
                    <a:pt x="16" y="0"/>
                  </a:lnTo>
                  <a:lnTo>
                    <a:pt x="14" y="2"/>
                  </a:lnTo>
                  <a:lnTo>
                    <a:pt x="12" y="3"/>
                  </a:lnTo>
                  <a:lnTo>
                    <a:pt x="9" y="4"/>
                  </a:lnTo>
                  <a:lnTo>
                    <a:pt x="8" y="3"/>
                  </a:lnTo>
                  <a:lnTo>
                    <a:pt x="5" y="2"/>
                  </a:lnTo>
                  <a:lnTo>
                    <a:pt x="4" y="0"/>
                  </a:lnTo>
                  <a:lnTo>
                    <a:pt x="3" y="0"/>
                  </a:lnTo>
                  <a:lnTo>
                    <a:pt x="0" y="2"/>
                  </a:lnTo>
                  <a:lnTo>
                    <a:pt x="0" y="4"/>
                  </a:lnTo>
                  <a:lnTo>
                    <a:pt x="2" y="6"/>
                  </a:lnTo>
                  <a:lnTo>
                    <a:pt x="3" y="6"/>
                  </a:lnTo>
                  <a:lnTo>
                    <a:pt x="7" y="8"/>
                  </a:lnTo>
                  <a:lnTo>
                    <a:pt x="11" y="8"/>
                  </a:lnTo>
                  <a:lnTo>
                    <a:pt x="14" y="9"/>
                  </a:lnTo>
                  <a:lnTo>
                    <a:pt x="18" y="9"/>
                  </a:lnTo>
                  <a:lnTo>
                    <a:pt x="19" y="8"/>
                  </a:lnTo>
                  <a:lnTo>
                    <a:pt x="21" y="6"/>
                  </a:lnTo>
                  <a:lnTo>
                    <a:pt x="18"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79" name="Freeform 778"/>
            <p:cNvSpPr>
              <a:spLocks/>
            </p:cNvSpPr>
            <p:nvPr/>
          </p:nvSpPr>
          <p:spPr bwMode="auto">
            <a:xfrm>
              <a:off x="7523164" y="4492625"/>
              <a:ext cx="23812" cy="28575"/>
            </a:xfrm>
            <a:custGeom>
              <a:avLst/>
              <a:gdLst>
                <a:gd name="T0" fmla="*/ 2147483647 w 16"/>
                <a:gd name="T1" fmla="*/ 2147483647 h 18"/>
                <a:gd name="T2" fmla="*/ 2147483647 w 16"/>
                <a:gd name="T3" fmla="*/ 2147483647 h 18"/>
                <a:gd name="T4" fmla="*/ 2147483647 w 16"/>
                <a:gd name="T5" fmla="*/ 2147483647 h 18"/>
                <a:gd name="T6" fmla="*/ 2147483647 w 16"/>
                <a:gd name="T7" fmla="*/ 0 h 18"/>
                <a:gd name="T8" fmla="*/ 2147483647 w 16"/>
                <a:gd name="T9" fmla="*/ 0 h 18"/>
                <a:gd name="T10" fmla="*/ 2147483647 w 16"/>
                <a:gd name="T11" fmla="*/ 2147483647 h 18"/>
                <a:gd name="T12" fmla="*/ 0 w 16"/>
                <a:gd name="T13" fmla="*/ 2147483647 h 18"/>
                <a:gd name="T14" fmla="*/ 0 w 16"/>
                <a:gd name="T15" fmla="*/ 2147483647 h 18"/>
                <a:gd name="T16" fmla="*/ 2147483647 w 16"/>
                <a:gd name="T17" fmla="*/ 2147483647 h 18"/>
                <a:gd name="T18" fmla="*/ 2147483647 w 16"/>
                <a:gd name="T19" fmla="*/ 2147483647 h 18"/>
                <a:gd name="T20" fmla="*/ 2147483647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2147483647 w 1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8"/>
                <a:gd name="T50" fmla="*/ 16 w 1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8">
                  <a:moveTo>
                    <a:pt x="16" y="7"/>
                  </a:moveTo>
                  <a:lnTo>
                    <a:pt x="16" y="3"/>
                  </a:lnTo>
                  <a:lnTo>
                    <a:pt x="14" y="2"/>
                  </a:lnTo>
                  <a:lnTo>
                    <a:pt x="8" y="0"/>
                  </a:lnTo>
                  <a:lnTo>
                    <a:pt x="4" y="0"/>
                  </a:lnTo>
                  <a:lnTo>
                    <a:pt x="1" y="2"/>
                  </a:lnTo>
                  <a:lnTo>
                    <a:pt x="0" y="6"/>
                  </a:lnTo>
                  <a:lnTo>
                    <a:pt x="0" y="9"/>
                  </a:lnTo>
                  <a:lnTo>
                    <a:pt x="3" y="13"/>
                  </a:lnTo>
                  <a:lnTo>
                    <a:pt x="5" y="17"/>
                  </a:lnTo>
                  <a:lnTo>
                    <a:pt x="8" y="18"/>
                  </a:lnTo>
                  <a:lnTo>
                    <a:pt x="9" y="18"/>
                  </a:lnTo>
                  <a:lnTo>
                    <a:pt x="11" y="18"/>
                  </a:lnTo>
                  <a:lnTo>
                    <a:pt x="14" y="15"/>
                  </a:lnTo>
                  <a:lnTo>
                    <a:pt x="15" y="12"/>
                  </a:lnTo>
                  <a:lnTo>
                    <a:pt x="1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0" name="Freeform 779"/>
            <p:cNvSpPr>
              <a:spLocks/>
            </p:cNvSpPr>
            <p:nvPr/>
          </p:nvSpPr>
          <p:spPr bwMode="auto">
            <a:xfrm>
              <a:off x="7627939" y="4403725"/>
              <a:ext cx="28574" cy="14288"/>
            </a:xfrm>
            <a:custGeom>
              <a:avLst/>
              <a:gdLst>
                <a:gd name="T0" fmla="*/ 2147483647 w 20"/>
                <a:gd name="T1" fmla="*/ 2147483647 h 9"/>
                <a:gd name="T2" fmla="*/ 2147483647 w 20"/>
                <a:gd name="T3" fmla="*/ 2147483647 h 9"/>
                <a:gd name="T4" fmla="*/ 2147483647 w 20"/>
                <a:gd name="T5" fmla="*/ 0 h 9"/>
                <a:gd name="T6" fmla="*/ 2147483647 w 20"/>
                <a:gd name="T7" fmla="*/ 2147483647 h 9"/>
                <a:gd name="T8" fmla="*/ 2147483647 w 20"/>
                <a:gd name="T9" fmla="*/ 2147483647 h 9"/>
                <a:gd name="T10" fmla="*/ 2147483647 w 20"/>
                <a:gd name="T11" fmla="*/ 2147483647 h 9"/>
                <a:gd name="T12" fmla="*/ 2147483647 w 20"/>
                <a:gd name="T13" fmla="*/ 2147483647 h 9"/>
                <a:gd name="T14" fmla="*/ 2147483647 w 20"/>
                <a:gd name="T15" fmla="*/ 2147483647 h 9"/>
                <a:gd name="T16" fmla="*/ 2147483647 w 20"/>
                <a:gd name="T17" fmla="*/ 2147483647 h 9"/>
                <a:gd name="T18" fmla="*/ 2147483647 w 20"/>
                <a:gd name="T19" fmla="*/ 0 h 9"/>
                <a:gd name="T20" fmla="*/ 2147483647 w 20"/>
                <a:gd name="T21" fmla="*/ 0 h 9"/>
                <a:gd name="T22" fmla="*/ 2147483647 w 20"/>
                <a:gd name="T23" fmla="*/ 0 h 9"/>
                <a:gd name="T24" fmla="*/ 0 w 20"/>
                <a:gd name="T25" fmla="*/ 2147483647 h 9"/>
                <a:gd name="T26" fmla="*/ 0 w 20"/>
                <a:gd name="T27" fmla="*/ 2147483647 h 9"/>
                <a:gd name="T28" fmla="*/ 2147483647 w 20"/>
                <a:gd name="T29" fmla="*/ 2147483647 h 9"/>
                <a:gd name="T30" fmla="*/ 2147483647 w 20"/>
                <a:gd name="T31" fmla="*/ 2147483647 h 9"/>
                <a:gd name="T32" fmla="*/ 2147483647 w 20"/>
                <a:gd name="T33" fmla="*/ 2147483647 h 9"/>
                <a:gd name="T34" fmla="*/ 2147483647 w 20"/>
                <a:gd name="T35" fmla="*/ 2147483647 h 9"/>
                <a:gd name="T36" fmla="*/ 2147483647 w 20"/>
                <a:gd name="T37" fmla="*/ 2147483647 h 9"/>
                <a:gd name="T38" fmla="*/ 2147483647 w 20"/>
                <a:gd name="T39" fmla="*/ 2147483647 h 9"/>
                <a:gd name="T40" fmla="*/ 2147483647 w 20"/>
                <a:gd name="T41" fmla="*/ 2147483647 h 9"/>
                <a:gd name="T42" fmla="*/ 2147483647 w 20"/>
                <a:gd name="T43" fmla="*/ 2147483647 h 9"/>
                <a:gd name="T44" fmla="*/ 2147483647 w 20"/>
                <a:gd name="T45" fmla="*/ 2147483647 h 9"/>
                <a:gd name="T46" fmla="*/ 2147483647 w 20"/>
                <a:gd name="T47" fmla="*/ 2147483647 h 9"/>
                <a:gd name="T48" fmla="*/ 2147483647 w 20"/>
                <a:gd name="T49" fmla="*/ 2147483647 h 9"/>
                <a:gd name="T50" fmla="*/ 2147483647 w 20"/>
                <a:gd name="T51" fmla="*/ 2147483647 h 9"/>
                <a:gd name="T52" fmla="*/ 2147483647 w 20"/>
                <a:gd name="T53" fmla="*/ 2147483647 h 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9"/>
                <a:gd name="T83" fmla="*/ 20 w 20"/>
                <a:gd name="T84" fmla="*/ 9 h 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9">
                  <a:moveTo>
                    <a:pt x="18" y="1"/>
                  </a:moveTo>
                  <a:lnTo>
                    <a:pt x="18" y="1"/>
                  </a:lnTo>
                  <a:lnTo>
                    <a:pt x="15" y="0"/>
                  </a:lnTo>
                  <a:lnTo>
                    <a:pt x="14" y="1"/>
                  </a:lnTo>
                  <a:lnTo>
                    <a:pt x="12" y="3"/>
                  </a:lnTo>
                  <a:lnTo>
                    <a:pt x="9" y="4"/>
                  </a:lnTo>
                  <a:lnTo>
                    <a:pt x="8" y="3"/>
                  </a:lnTo>
                  <a:lnTo>
                    <a:pt x="5" y="1"/>
                  </a:lnTo>
                  <a:lnTo>
                    <a:pt x="4" y="0"/>
                  </a:lnTo>
                  <a:lnTo>
                    <a:pt x="3" y="0"/>
                  </a:lnTo>
                  <a:lnTo>
                    <a:pt x="0" y="1"/>
                  </a:lnTo>
                  <a:lnTo>
                    <a:pt x="0" y="4"/>
                  </a:lnTo>
                  <a:lnTo>
                    <a:pt x="1" y="6"/>
                  </a:lnTo>
                  <a:lnTo>
                    <a:pt x="3" y="6"/>
                  </a:lnTo>
                  <a:lnTo>
                    <a:pt x="6" y="7"/>
                  </a:lnTo>
                  <a:lnTo>
                    <a:pt x="10" y="7"/>
                  </a:lnTo>
                  <a:lnTo>
                    <a:pt x="14" y="9"/>
                  </a:lnTo>
                  <a:lnTo>
                    <a:pt x="18" y="9"/>
                  </a:lnTo>
                  <a:lnTo>
                    <a:pt x="19" y="7"/>
                  </a:lnTo>
                  <a:lnTo>
                    <a:pt x="20" y="6"/>
                  </a:lnTo>
                  <a:lnTo>
                    <a:pt x="18"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1" name="Freeform 780"/>
            <p:cNvSpPr>
              <a:spLocks/>
            </p:cNvSpPr>
            <p:nvPr/>
          </p:nvSpPr>
          <p:spPr bwMode="auto">
            <a:xfrm>
              <a:off x="7521575" y="4491042"/>
              <a:ext cx="23813" cy="28575"/>
            </a:xfrm>
            <a:custGeom>
              <a:avLst/>
              <a:gdLst>
                <a:gd name="T0" fmla="*/ 2147483647 w 16"/>
                <a:gd name="T1" fmla="*/ 2147483647 h 18"/>
                <a:gd name="T2" fmla="*/ 2147483647 w 16"/>
                <a:gd name="T3" fmla="*/ 2147483647 h 18"/>
                <a:gd name="T4" fmla="*/ 2147483647 w 16"/>
                <a:gd name="T5" fmla="*/ 2147483647 h 18"/>
                <a:gd name="T6" fmla="*/ 2147483647 w 16"/>
                <a:gd name="T7" fmla="*/ 2147483647 h 18"/>
                <a:gd name="T8" fmla="*/ 2147483647 w 16"/>
                <a:gd name="T9" fmla="*/ 2147483647 h 18"/>
                <a:gd name="T10" fmla="*/ 2147483647 w 16"/>
                <a:gd name="T11" fmla="*/ 0 h 18"/>
                <a:gd name="T12" fmla="*/ 2147483647 w 16"/>
                <a:gd name="T13" fmla="*/ 0 h 18"/>
                <a:gd name="T14" fmla="*/ 2147483647 w 16"/>
                <a:gd name="T15" fmla="*/ 2147483647 h 18"/>
                <a:gd name="T16" fmla="*/ 2147483647 w 16"/>
                <a:gd name="T17" fmla="*/ 2147483647 h 18"/>
                <a:gd name="T18" fmla="*/ 0 w 16"/>
                <a:gd name="T19" fmla="*/ 2147483647 h 18"/>
                <a:gd name="T20" fmla="*/ 0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2147483647 w 16"/>
                <a:gd name="T31" fmla="*/ 2147483647 h 18"/>
                <a:gd name="T32" fmla="*/ 2147483647 w 16"/>
                <a:gd name="T33" fmla="*/ 2147483647 h 18"/>
                <a:gd name="T34" fmla="*/ 2147483647 w 16"/>
                <a:gd name="T35" fmla="*/ 2147483647 h 18"/>
                <a:gd name="T36" fmla="*/ 2147483647 w 16"/>
                <a:gd name="T37" fmla="*/ 2147483647 h 18"/>
                <a:gd name="T38" fmla="*/ 2147483647 w 16"/>
                <a:gd name="T39" fmla="*/ 2147483647 h 18"/>
                <a:gd name="T40" fmla="*/ 2147483647 w 16"/>
                <a:gd name="T41" fmla="*/ 2147483647 h 18"/>
                <a:gd name="T42" fmla="*/ 2147483647 w 16"/>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18"/>
                <a:gd name="T68" fmla="*/ 16 w 16"/>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18">
                  <a:moveTo>
                    <a:pt x="16" y="7"/>
                  </a:moveTo>
                  <a:lnTo>
                    <a:pt x="16" y="7"/>
                  </a:lnTo>
                  <a:lnTo>
                    <a:pt x="16" y="3"/>
                  </a:lnTo>
                  <a:lnTo>
                    <a:pt x="14" y="2"/>
                  </a:lnTo>
                  <a:lnTo>
                    <a:pt x="7" y="0"/>
                  </a:lnTo>
                  <a:lnTo>
                    <a:pt x="4" y="0"/>
                  </a:lnTo>
                  <a:lnTo>
                    <a:pt x="1" y="2"/>
                  </a:lnTo>
                  <a:lnTo>
                    <a:pt x="0" y="6"/>
                  </a:lnTo>
                  <a:lnTo>
                    <a:pt x="0" y="9"/>
                  </a:lnTo>
                  <a:lnTo>
                    <a:pt x="2" y="13"/>
                  </a:lnTo>
                  <a:lnTo>
                    <a:pt x="5" y="16"/>
                  </a:lnTo>
                  <a:lnTo>
                    <a:pt x="7" y="18"/>
                  </a:lnTo>
                  <a:lnTo>
                    <a:pt x="9" y="18"/>
                  </a:lnTo>
                  <a:lnTo>
                    <a:pt x="11" y="18"/>
                  </a:lnTo>
                  <a:lnTo>
                    <a:pt x="14" y="15"/>
                  </a:lnTo>
                  <a:lnTo>
                    <a:pt x="15" y="12"/>
                  </a:lnTo>
                  <a:lnTo>
                    <a:pt x="1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2" name="Freeform 781"/>
            <p:cNvSpPr>
              <a:spLocks/>
            </p:cNvSpPr>
            <p:nvPr/>
          </p:nvSpPr>
          <p:spPr bwMode="auto">
            <a:xfrm>
              <a:off x="7575550" y="4492625"/>
              <a:ext cx="63500" cy="33338"/>
            </a:xfrm>
            <a:custGeom>
              <a:avLst/>
              <a:gdLst>
                <a:gd name="T0" fmla="*/ 2147483647 w 43"/>
                <a:gd name="T1" fmla="*/ 2147483647 h 21"/>
                <a:gd name="T2" fmla="*/ 2147483647 w 43"/>
                <a:gd name="T3" fmla="*/ 2147483647 h 21"/>
                <a:gd name="T4" fmla="*/ 2147483647 w 43"/>
                <a:gd name="T5" fmla="*/ 2147483647 h 21"/>
                <a:gd name="T6" fmla="*/ 2147483647 w 43"/>
                <a:gd name="T7" fmla="*/ 2147483647 h 21"/>
                <a:gd name="T8" fmla="*/ 2147483647 w 43"/>
                <a:gd name="T9" fmla="*/ 2147483647 h 21"/>
                <a:gd name="T10" fmla="*/ 2147483647 w 43"/>
                <a:gd name="T11" fmla="*/ 2147483647 h 21"/>
                <a:gd name="T12" fmla="*/ 2147483647 w 43"/>
                <a:gd name="T13" fmla="*/ 2147483647 h 21"/>
                <a:gd name="T14" fmla="*/ 2147483647 w 43"/>
                <a:gd name="T15" fmla="*/ 2147483647 h 21"/>
                <a:gd name="T16" fmla="*/ 2147483647 w 43"/>
                <a:gd name="T17" fmla="*/ 0 h 21"/>
                <a:gd name="T18" fmla="*/ 2147483647 w 43"/>
                <a:gd name="T19" fmla="*/ 2147483647 h 21"/>
                <a:gd name="T20" fmla="*/ 2147483647 w 43"/>
                <a:gd name="T21" fmla="*/ 2147483647 h 21"/>
                <a:gd name="T22" fmla="*/ 2147483647 w 43"/>
                <a:gd name="T23" fmla="*/ 2147483647 h 21"/>
                <a:gd name="T24" fmla="*/ 2147483647 w 43"/>
                <a:gd name="T25" fmla="*/ 2147483647 h 21"/>
                <a:gd name="T26" fmla="*/ 2147483647 w 43"/>
                <a:gd name="T27" fmla="*/ 2147483647 h 21"/>
                <a:gd name="T28" fmla="*/ 0 w 43"/>
                <a:gd name="T29" fmla="*/ 2147483647 h 21"/>
                <a:gd name="T30" fmla="*/ 0 w 43"/>
                <a:gd name="T31" fmla="*/ 2147483647 h 21"/>
                <a:gd name="T32" fmla="*/ 2147483647 w 43"/>
                <a:gd name="T33" fmla="*/ 2147483647 h 21"/>
                <a:gd name="T34" fmla="*/ 2147483647 w 43"/>
                <a:gd name="T35" fmla="*/ 2147483647 h 21"/>
                <a:gd name="T36" fmla="*/ 2147483647 w 43"/>
                <a:gd name="T37" fmla="*/ 2147483647 h 21"/>
                <a:gd name="T38" fmla="*/ 2147483647 w 43"/>
                <a:gd name="T39" fmla="*/ 2147483647 h 21"/>
                <a:gd name="T40" fmla="*/ 2147483647 w 43"/>
                <a:gd name="T41" fmla="*/ 2147483647 h 21"/>
                <a:gd name="T42" fmla="*/ 2147483647 w 43"/>
                <a:gd name="T43" fmla="*/ 2147483647 h 21"/>
                <a:gd name="T44" fmla="*/ 2147483647 w 43"/>
                <a:gd name="T45" fmla="*/ 2147483647 h 21"/>
                <a:gd name="T46" fmla="*/ 2147483647 w 43"/>
                <a:gd name="T47" fmla="*/ 2147483647 h 21"/>
                <a:gd name="T48" fmla="*/ 2147483647 w 43"/>
                <a:gd name="T49" fmla="*/ 2147483647 h 21"/>
                <a:gd name="T50" fmla="*/ 2147483647 w 43"/>
                <a:gd name="T51" fmla="*/ 2147483647 h 21"/>
                <a:gd name="T52" fmla="*/ 2147483647 w 43"/>
                <a:gd name="T53" fmla="*/ 2147483647 h 21"/>
                <a:gd name="T54" fmla="*/ 2147483647 w 43"/>
                <a:gd name="T55" fmla="*/ 2147483647 h 21"/>
                <a:gd name="T56" fmla="*/ 2147483647 w 43"/>
                <a:gd name="T57" fmla="*/ 2147483647 h 21"/>
                <a:gd name="T58" fmla="*/ 2147483647 w 43"/>
                <a:gd name="T59" fmla="*/ 2147483647 h 21"/>
                <a:gd name="T60" fmla="*/ 2147483647 w 43"/>
                <a:gd name="T61" fmla="*/ 2147483647 h 21"/>
                <a:gd name="T62" fmla="*/ 2147483647 w 43"/>
                <a:gd name="T63" fmla="*/ 2147483647 h 21"/>
                <a:gd name="T64" fmla="*/ 2147483647 w 43"/>
                <a:gd name="T65" fmla="*/ 2147483647 h 21"/>
                <a:gd name="T66" fmla="*/ 2147483647 w 43"/>
                <a:gd name="T67" fmla="*/ 2147483647 h 21"/>
                <a:gd name="T68" fmla="*/ 2147483647 w 43"/>
                <a:gd name="T69" fmla="*/ 2147483647 h 21"/>
                <a:gd name="T70" fmla="*/ 2147483647 w 43"/>
                <a:gd name="T71" fmla="*/ 2147483647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
                <a:gd name="T109" fmla="*/ 0 h 21"/>
                <a:gd name="T110" fmla="*/ 43 w 43"/>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 h="21">
                  <a:moveTo>
                    <a:pt x="43" y="19"/>
                  </a:moveTo>
                  <a:lnTo>
                    <a:pt x="43" y="15"/>
                  </a:lnTo>
                  <a:lnTo>
                    <a:pt x="41" y="12"/>
                  </a:lnTo>
                  <a:lnTo>
                    <a:pt x="40" y="9"/>
                  </a:lnTo>
                  <a:lnTo>
                    <a:pt x="38" y="7"/>
                  </a:lnTo>
                  <a:lnTo>
                    <a:pt x="33" y="3"/>
                  </a:lnTo>
                  <a:lnTo>
                    <a:pt x="25" y="2"/>
                  </a:lnTo>
                  <a:lnTo>
                    <a:pt x="22" y="1"/>
                  </a:lnTo>
                  <a:lnTo>
                    <a:pt x="21" y="0"/>
                  </a:lnTo>
                  <a:lnTo>
                    <a:pt x="17" y="1"/>
                  </a:lnTo>
                  <a:lnTo>
                    <a:pt x="13" y="1"/>
                  </a:lnTo>
                  <a:lnTo>
                    <a:pt x="6" y="1"/>
                  </a:lnTo>
                  <a:lnTo>
                    <a:pt x="3" y="1"/>
                  </a:lnTo>
                  <a:lnTo>
                    <a:pt x="1" y="3"/>
                  </a:lnTo>
                  <a:lnTo>
                    <a:pt x="0" y="6"/>
                  </a:lnTo>
                  <a:lnTo>
                    <a:pt x="0" y="8"/>
                  </a:lnTo>
                  <a:lnTo>
                    <a:pt x="1" y="9"/>
                  </a:lnTo>
                  <a:lnTo>
                    <a:pt x="1" y="11"/>
                  </a:lnTo>
                  <a:lnTo>
                    <a:pt x="3" y="9"/>
                  </a:lnTo>
                  <a:lnTo>
                    <a:pt x="6" y="8"/>
                  </a:lnTo>
                  <a:lnTo>
                    <a:pt x="8" y="7"/>
                  </a:lnTo>
                  <a:lnTo>
                    <a:pt x="10" y="7"/>
                  </a:lnTo>
                  <a:lnTo>
                    <a:pt x="11" y="9"/>
                  </a:lnTo>
                  <a:lnTo>
                    <a:pt x="12" y="12"/>
                  </a:lnTo>
                  <a:lnTo>
                    <a:pt x="13" y="12"/>
                  </a:lnTo>
                  <a:lnTo>
                    <a:pt x="16" y="12"/>
                  </a:lnTo>
                  <a:lnTo>
                    <a:pt x="20" y="11"/>
                  </a:lnTo>
                  <a:lnTo>
                    <a:pt x="24" y="11"/>
                  </a:lnTo>
                  <a:lnTo>
                    <a:pt x="25" y="11"/>
                  </a:lnTo>
                  <a:lnTo>
                    <a:pt x="26" y="12"/>
                  </a:lnTo>
                  <a:lnTo>
                    <a:pt x="31" y="17"/>
                  </a:lnTo>
                  <a:lnTo>
                    <a:pt x="36" y="20"/>
                  </a:lnTo>
                  <a:lnTo>
                    <a:pt x="39" y="21"/>
                  </a:lnTo>
                  <a:lnTo>
                    <a:pt x="40" y="21"/>
                  </a:lnTo>
                  <a:lnTo>
                    <a:pt x="41" y="20"/>
                  </a:lnTo>
                  <a:lnTo>
                    <a:pt x="43" y="1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3" name="Freeform 782"/>
            <p:cNvSpPr>
              <a:spLocks/>
            </p:cNvSpPr>
            <p:nvPr/>
          </p:nvSpPr>
          <p:spPr bwMode="auto">
            <a:xfrm>
              <a:off x="7764466" y="4424363"/>
              <a:ext cx="14287" cy="17462"/>
            </a:xfrm>
            <a:custGeom>
              <a:avLst/>
              <a:gdLst>
                <a:gd name="T0" fmla="*/ 2147483647 w 9"/>
                <a:gd name="T1" fmla="*/ 2147483647 h 11"/>
                <a:gd name="T2" fmla="*/ 2147483647 w 9"/>
                <a:gd name="T3" fmla="*/ 2147483647 h 11"/>
                <a:gd name="T4" fmla="*/ 2147483647 w 9"/>
                <a:gd name="T5" fmla="*/ 0 h 11"/>
                <a:gd name="T6" fmla="*/ 2147483647 w 9"/>
                <a:gd name="T7" fmla="*/ 0 h 11"/>
                <a:gd name="T8" fmla="*/ 0 w 9"/>
                <a:gd name="T9" fmla="*/ 2147483647 h 11"/>
                <a:gd name="T10" fmla="*/ 0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1"/>
                <a:gd name="T35" fmla="*/ 9 w 9"/>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1">
                  <a:moveTo>
                    <a:pt x="8" y="9"/>
                  </a:moveTo>
                  <a:lnTo>
                    <a:pt x="5" y="4"/>
                  </a:lnTo>
                  <a:lnTo>
                    <a:pt x="3" y="0"/>
                  </a:lnTo>
                  <a:lnTo>
                    <a:pt x="1" y="0"/>
                  </a:lnTo>
                  <a:lnTo>
                    <a:pt x="0" y="1"/>
                  </a:lnTo>
                  <a:lnTo>
                    <a:pt x="0" y="4"/>
                  </a:lnTo>
                  <a:lnTo>
                    <a:pt x="3" y="9"/>
                  </a:lnTo>
                  <a:lnTo>
                    <a:pt x="6" y="11"/>
                  </a:lnTo>
                  <a:lnTo>
                    <a:pt x="8" y="10"/>
                  </a:lnTo>
                  <a:lnTo>
                    <a:pt x="9" y="10"/>
                  </a:lnTo>
                  <a:lnTo>
                    <a:pt x="8"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4" name="Freeform 783"/>
            <p:cNvSpPr>
              <a:spLocks/>
            </p:cNvSpPr>
            <p:nvPr/>
          </p:nvSpPr>
          <p:spPr bwMode="auto">
            <a:xfrm>
              <a:off x="7572375" y="4491041"/>
              <a:ext cx="63500" cy="33337"/>
            </a:xfrm>
            <a:custGeom>
              <a:avLst/>
              <a:gdLst>
                <a:gd name="T0" fmla="*/ 2147483647 w 43"/>
                <a:gd name="T1" fmla="*/ 2147483647 h 21"/>
                <a:gd name="T2" fmla="*/ 2147483647 w 43"/>
                <a:gd name="T3" fmla="*/ 2147483647 h 21"/>
                <a:gd name="T4" fmla="*/ 2147483647 w 43"/>
                <a:gd name="T5" fmla="*/ 2147483647 h 21"/>
                <a:gd name="T6" fmla="*/ 2147483647 w 43"/>
                <a:gd name="T7" fmla="*/ 2147483647 h 21"/>
                <a:gd name="T8" fmla="*/ 2147483647 w 43"/>
                <a:gd name="T9" fmla="*/ 2147483647 h 21"/>
                <a:gd name="T10" fmla="*/ 2147483647 w 43"/>
                <a:gd name="T11" fmla="*/ 2147483647 h 21"/>
                <a:gd name="T12" fmla="*/ 2147483647 w 43"/>
                <a:gd name="T13" fmla="*/ 2147483647 h 21"/>
                <a:gd name="T14" fmla="*/ 2147483647 w 43"/>
                <a:gd name="T15" fmla="*/ 2147483647 h 21"/>
                <a:gd name="T16" fmla="*/ 2147483647 w 43"/>
                <a:gd name="T17" fmla="*/ 2147483647 h 21"/>
                <a:gd name="T18" fmla="*/ 2147483647 w 43"/>
                <a:gd name="T19" fmla="*/ 2147483647 h 21"/>
                <a:gd name="T20" fmla="*/ 2147483647 w 43"/>
                <a:gd name="T21" fmla="*/ 0 h 21"/>
                <a:gd name="T22" fmla="*/ 2147483647 w 43"/>
                <a:gd name="T23" fmla="*/ 0 h 21"/>
                <a:gd name="T24" fmla="*/ 2147483647 w 43"/>
                <a:gd name="T25" fmla="*/ 2147483647 h 21"/>
                <a:gd name="T26" fmla="*/ 2147483647 w 43"/>
                <a:gd name="T27" fmla="*/ 2147483647 h 21"/>
                <a:gd name="T28" fmla="*/ 2147483647 w 43"/>
                <a:gd name="T29" fmla="*/ 2147483647 h 21"/>
                <a:gd name="T30" fmla="*/ 2147483647 w 43"/>
                <a:gd name="T31" fmla="*/ 2147483647 h 21"/>
                <a:gd name="T32" fmla="*/ 2147483647 w 43"/>
                <a:gd name="T33" fmla="*/ 2147483647 h 21"/>
                <a:gd name="T34" fmla="*/ 2147483647 w 43"/>
                <a:gd name="T35" fmla="*/ 2147483647 h 21"/>
                <a:gd name="T36" fmla="*/ 0 w 43"/>
                <a:gd name="T37" fmla="*/ 2147483647 h 21"/>
                <a:gd name="T38" fmla="*/ 0 w 43"/>
                <a:gd name="T39" fmla="*/ 2147483647 h 21"/>
                <a:gd name="T40" fmla="*/ 0 w 43"/>
                <a:gd name="T41" fmla="*/ 2147483647 h 21"/>
                <a:gd name="T42" fmla="*/ 2147483647 w 43"/>
                <a:gd name="T43" fmla="*/ 2147483647 h 21"/>
                <a:gd name="T44" fmla="*/ 2147483647 w 43"/>
                <a:gd name="T45" fmla="*/ 2147483647 h 21"/>
                <a:gd name="T46" fmla="*/ 2147483647 w 43"/>
                <a:gd name="T47" fmla="*/ 2147483647 h 21"/>
                <a:gd name="T48" fmla="*/ 2147483647 w 43"/>
                <a:gd name="T49" fmla="*/ 2147483647 h 21"/>
                <a:gd name="T50" fmla="*/ 2147483647 w 43"/>
                <a:gd name="T51" fmla="*/ 2147483647 h 21"/>
                <a:gd name="T52" fmla="*/ 2147483647 w 43"/>
                <a:gd name="T53" fmla="*/ 2147483647 h 21"/>
                <a:gd name="T54" fmla="*/ 2147483647 w 43"/>
                <a:gd name="T55" fmla="*/ 2147483647 h 21"/>
                <a:gd name="T56" fmla="*/ 2147483647 w 43"/>
                <a:gd name="T57" fmla="*/ 2147483647 h 21"/>
                <a:gd name="T58" fmla="*/ 2147483647 w 43"/>
                <a:gd name="T59" fmla="*/ 2147483647 h 21"/>
                <a:gd name="T60" fmla="*/ 2147483647 w 43"/>
                <a:gd name="T61" fmla="*/ 2147483647 h 21"/>
                <a:gd name="T62" fmla="*/ 2147483647 w 43"/>
                <a:gd name="T63" fmla="*/ 2147483647 h 21"/>
                <a:gd name="T64" fmla="*/ 2147483647 w 43"/>
                <a:gd name="T65" fmla="*/ 2147483647 h 21"/>
                <a:gd name="T66" fmla="*/ 2147483647 w 43"/>
                <a:gd name="T67" fmla="*/ 2147483647 h 21"/>
                <a:gd name="T68" fmla="*/ 2147483647 w 43"/>
                <a:gd name="T69" fmla="*/ 2147483647 h 21"/>
                <a:gd name="T70" fmla="*/ 2147483647 w 43"/>
                <a:gd name="T71" fmla="*/ 2147483647 h 21"/>
                <a:gd name="T72" fmla="*/ 2147483647 w 43"/>
                <a:gd name="T73" fmla="*/ 2147483647 h 21"/>
                <a:gd name="T74" fmla="*/ 2147483647 w 43"/>
                <a:gd name="T75" fmla="*/ 2147483647 h 21"/>
                <a:gd name="T76" fmla="*/ 2147483647 w 43"/>
                <a:gd name="T77" fmla="*/ 2147483647 h 21"/>
                <a:gd name="T78" fmla="*/ 2147483647 w 43"/>
                <a:gd name="T79" fmla="*/ 2147483647 h 21"/>
                <a:gd name="T80" fmla="*/ 2147483647 w 43"/>
                <a:gd name="T81" fmla="*/ 2147483647 h 21"/>
                <a:gd name="T82" fmla="*/ 2147483647 w 43"/>
                <a:gd name="T83" fmla="*/ 2147483647 h 21"/>
                <a:gd name="T84" fmla="*/ 2147483647 w 43"/>
                <a:gd name="T85" fmla="*/ 2147483647 h 21"/>
                <a:gd name="T86" fmla="*/ 2147483647 w 43"/>
                <a:gd name="T87" fmla="*/ 2147483647 h 21"/>
                <a:gd name="T88" fmla="*/ 2147483647 w 43"/>
                <a:gd name="T89" fmla="*/ 2147483647 h 21"/>
                <a:gd name="T90" fmla="*/ 2147483647 w 43"/>
                <a:gd name="T91" fmla="*/ 2147483647 h 21"/>
                <a:gd name="T92" fmla="*/ 2147483647 w 43"/>
                <a:gd name="T93" fmla="*/ 2147483647 h 21"/>
                <a:gd name="T94" fmla="*/ 2147483647 w 43"/>
                <a:gd name="T95" fmla="*/ 2147483647 h 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
                <a:gd name="T145" fmla="*/ 0 h 21"/>
                <a:gd name="T146" fmla="*/ 43 w 43"/>
                <a:gd name="T147" fmla="*/ 21 h 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 h="21">
                  <a:moveTo>
                    <a:pt x="43" y="19"/>
                  </a:moveTo>
                  <a:lnTo>
                    <a:pt x="43" y="19"/>
                  </a:lnTo>
                  <a:lnTo>
                    <a:pt x="43" y="15"/>
                  </a:lnTo>
                  <a:lnTo>
                    <a:pt x="42" y="12"/>
                  </a:lnTo>
                  <a:lnTo>
                    <a:pt x="41" y="9"/>
                  </a:lnTo>
                  <a:lnTo>
                    <a:pt x="38" y="7"/>
                  </a:lnTo>
                  <a:lnTo>
                    <a:pt x="33" y="3"/>
                  </a:lnTo>
                  <a:lnTo>
                    <a:pt x="26" y="2"/>
                  </a:lnTo>
                  <a:lnTo>
                    <a:pt x="23" y="1"/>
                  </a:lnTo>
                  <a:lnTo>
                    <a:pt x="22" y="0"/>
                  </a:lnTo>
                  <a:lnTo>
                    <a:pt x="18" y="1"/>
                  </a:lnTo>
                  <a:lnTo>
                    <a:pt x="14" y="1"/>
                  </a:lnTo>
                  <a:lnTo>
                    <a:pt x="7" y="1"/>
                  </a:lnTo>
                  <a:lnTo>
                    <a:pt x="4" y="1"/>
                  </a:lnTo>
                  <a:lnTo>
                    <a:pt x="2" y="3"/>
                  </a:lnTo>
                  <a:lnTo>
                    <a:pt x="0" y="6"/>
                  </a:lnTo>
                  <a:lnTo>
                    <a:pt x="0" y="8"/>
                  </a:lnTo>
                  <a:lnTo>
                    <a:pt x="2" y="9"/>
                  </a:lnTo>
                  <a:lnTo>
                    <a:pt x="2" y="10"/>
                  </a:lnTo>
                  <a:lnTo>
                    <a:pt x="4" y="9"/>
                  </a:lnTo>
                  <a:lnTo>
                    <a:pt x="7" y="8"/>
                  </a:lnTo>
                  <a:lnTo>
                    <a:pt x="9" y="7"/>
                  </a:lnTo>
                  <a:lnTo>
                    <a:pt x="10" y="7"/>
                  </a:lnTo>
                  <a:lnTo>
                    <a:pt x="12" y="9"/>
                  </a:lnTo>
                  <a:lnTo>
                    <a:pt x="13" y="12"/>
                  </a:lnTo>
                  <a:lnTo>
                    <a:pt x="14" y="12"/>
                  </a:lnTo>
                  <a:lnTo>
                    <a:pt x="17" y="12"/>
                  </a:lnTo>
                  <a:lnTo>
                    <a:pt x="21" y="10"/>
                  </a:lnTo>
                  <a:lnTo>
                    <a:pt x="24" y="10"/>
                  </a:lnTo>
                  <a:lnTo>
                    <a:pt x="26" y="10"/>
                  </a:lnTo>
                  <a:lnTo>
                    <a:pt x="27" y="12"/>
                  </a:lnTo>
                  <a:lnTo>
                    <a:pt x="32" y="16"/>
                  </a:lnTo>
                  <a:lnTo>
                    <a:pt x="37" y="20"/>
                  </a:lnTo>
                  <a:lnTo>
                    <a:pt x="40" y="21"/>
                  </a:lnTo>
                  <a:lnTo>
                    <a:pt x="41" y="21"/>
                  </a:lnTo>
                  <a:lnTo>
                    <a:pt x="42" y="20"/>
                  </a:lnTo>
                  <a:lnTo>
                    <a:pt x="43" y="1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5" name="Freeform 784"/>
            <p:cNvSpPr>
              <a:spLocks/>
            </p:cNvSpPr>
            <p:nvPr/>
          </p:nvSpPr>
          <p:spPr bwMode="auto">
            <a:xfrm>
              <a:off x="7762875" y="4422779"/>
              <a:ext cx="14288" cy="17463"/>
            </a:xfrm>
            <a:custGeom>
              <a:avLst/>
              <a:gdLst>
                <a:gd name="T0" fmla="*/ 2147483647 w 9"/>
                <a:gd name="T1" fmla="*/ 2147483647 h 11"/>
                <a:gd name="T2" fmla="*/ 2147483647 w 9"/>
                <a:gd name="T3" fmla="*/ 2147483647 h 11"/>
                <a:gd name="T4" fmla="*/ 2147483647 w 9"/>
                <a:gd name="T5" fmla="*/ 2147483647 h 11"/>
                <a:gd name="T6" fmla="*/ 2147483647 w 9"/>
                <a:gd name="T7" fmla="*/ 0 h 11"/>
                <a:gd name="T8" fmla="*/ 2147483647 w 9"/>
                <a:gd name="T9" fmla="*/ 0 h 11"/>
                <a:gd name="T10" fmla="*/ 2147483647 w 9"/>
                <a:gd name="T11" fmla="*/ 0 h 11"/>
                <a:gd name="T12" fmla="*/ 0 w 9"/>
                <a:gd name="T13" fmla="*/ 2147483647 h 11"/>
                <a:gd name="T14" fmla="*/ 0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1"/>
                <a:gd name="T59" fmla="*/ 9 w 9"/>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1">
                  <a:moveTo>
                    <a:pt x="7" y="8"/>
                  </a:moveTo>
                  <a:lnTo>
                    <a:pt x="7" y="8"/>
                  </a:lnTo>
                  <a:lnTo>
                    <a:pt x="5" y="4"/>
                  </a:lnTo>
                  <a:lnTo>
                    <a:pt x="2" y="0"/>
                  </a:lnTo>
                  <a:lnTo>
                    <a:pt x="1" y="0"/>
                  </a:lnTo>
                  <a:lnTo>
                    <a:pt x="0" y="1"/>
                  </a:lnTo>
                  <a:lnTo>
                    <a:pt x="0" y="4"/>
                  </a:lnTo>
                  <a:lnTo>
                    <a:pt x="2" y="8"/>
                  </a:lnTo>
                  <a:lnTo>
                    <a:pt x="6" y="11"/>
                  </a:lnTo>
                  <a:lnTo>
                    <a:pt x="7" y="10"/>
                  </a:lnTo>
                  <a:lnTo>
                    <a:pt x="9" y="10"/>
                  </a:lnTo>
                  <a:lnTo>
                    <a:pt x="7"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6" name="Freeform 785"/>
            <p:cNvSpPr>
              <a:spLocks/>
            </p:cNvSpPr>
            <p:nvPr/>
          </p:nvSpPr>
          <p:spPr bwMode="auto">
            <a:xfrm>
              <a:off x="7762879" y="4459291"/>
              <a:ext cx="30163" cy="6350"/>
            </a:xfrm>
            <a:custGeom>
              <a:avLst/>
              <a:gdLst>
                <a:gd name="T0" fmla="*/ 2147483647 w 21"/>
                <a:gd name="T1" fmla="*/ 2147483647 h 4"/>
                <a:gd name="T2" fmla="*/ 2147483647 w 21"/>
                <a:gd name="T3" fmla="*/ 2147483647 h 4"/>
                <a:gd name="T4" fmla="*/ 2147483647 w 21"/>
                <a:gd name="T5" fmla="*/ 2147483647 h 4"/>
                <a:gd name="T6" fmla="*/ 2147483647 w 21"/>
                <a:gd name="T7" fmla="*/ 0 h 4"/>
                <a:gd name="T8" fmla="*/ 2147483647 w 21"/>
                <a:gd name="T9" fmla="*/ 0 h 4"/>
                <a:gd name="T10" fmla="*/ 2147483647 w 21"/>
                <a:gd name="T11" fmla="*/ 2147483647 h 4"/>
                <a:gd name="T12" fmla="*/ 0 w 21"/>
                <a:gd name="T13" fmla="*/ 2147483647 h 4"/>
                <a:gd name="T14" fmla="*/ 0 w 21"/>
                <a:gd name="T15" fmla="*/ 2147483647 h 4"/>
                <a:gd name="T16" fmla="*/ 2147483647 w 21"/>
                <a:gd name="T17" fmla="*/ 2147483647 h 4"/>
                <a:gd name="T18" fmla="*/ 2147483647 w 21"/>
                <a:gd name="T19" fmla="*/ 2147483647 h 4"/>
                <a:gd name="T20" fmla="*/ 2147483647 w 21"/>
                <a:gd name="T21" fmla="*/ 2147483647 h 4"/>
                <a:gd name="T22" fmla="*/ 2147483647 w 21"/>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4"/>
                <a:gd name="T38" fmla="*/ 21 w 21"/>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4">
                  <a:moveTo>
                    <a:pt x="20" y="4"/>
                  </a:moveTo>
                  <a:lnTo>
                    <a:pt x="21" y="3"/>
                  </a:lnTo>
                  <a:lnTo>
                    <a:pt x="21" y="1"/>
                  </a:lnTo>
                  <a:lnTo>
                    <a:pt x="21" y="0"/>
                  </a:lnTo>
                  <a:lnTo>
                    <a:pt x="19" y="0"/>
                  </a:lnTo>
                  <a:lnTo>
                    <a:pt x="10" y="1"/>
                  </a:lnTo>
                  <a:lnTo>
                    <a:pt x="0" y="1"/>
                  </a:lnTo>
                  <a:lnTo>
                    <a:pt x="0" y="2"/>
                  </a:lnTo>
                  <a:lnTo>
                    <a:pt x="5" y="4"/>
                  </a:lnTo>
                  <a:lnTo>
                    <a:pt x="10" y="4"/>
                  </a:lnTo>
                  <a:lnTo>
                    <a:pt x="15" y="4"/>
                  </a:lnTo>
                  <a:lnTo>
                    <a:pt x="20"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7" name="Freeform 786"/>
            <p:cNvSpPr>
              <a:spLocks/>
            </p:cNvSpPr>
            <p:nvPr/>
          </p:nvSpPr>
          <p:spPr bwMode="auto">
            <a:xfrm>
              <a:off x="7731125" y="4578350"/>
              <a:ext cx="12700" cy="12700"/>
            </a:xfrm>
            <a:custGeom>
              <a:avLst/>
              <a:gdLst>
                <a:gd name="T0" fmla="*/ 2147483647 w 8"/>
                <a:gd name="T1" fmla="*/ 2147483647 h 8"/>
                <a:gd name="T2" fmla="*/ 2147483647 w 8"/>
                <a:gd name="T3" fmla="*/ 2147483647 h 8"/>
                <a:gd name="T4" fmla="*/ 2147483647 w 8"/>
                <a:gd name="T5" fmla="*/ 0 h 8"/>
                <a:gd name="T6" fmla="*/ 2147483647 w 8"/>
                <a:gd name="T7" fmla="*/ 0 h 8"/>
                <a:gd name="T8" fmla="*/ 2147483647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2147483647 w 8"/>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8" y="5"/>
                  </a:moveTo>
                  <a:lnTo>
                    <a:pt x="8" y="2"/>
                  </a:lnTo>
                  <a:lnTo>
                    <a:pt x="7" y="0"/>
                  </a:lnTo>
                  <a:lnTo>
                    <a:pt x="4" y="0"/>
                  </a:lnTo>
                  <a:lnTo>
                    <a:pt x="1" y="2"/>
                  </a:lnTo>
                  <a:lnTo>
                    <a:pt x="0" y="4"/>
                  </a:lnTo>
                  <a:lnTo>
                    <a:pt x="0" y="5"/>
                  </a:lnTo>
                  <a:lnTo>
                    <a:pt x="1" y="6"/>
                  </a:lnTo>
                  <a:lnTo>
                    <a:pt x="3" y="8"/>
                  </a:lnTo>
                  <a:lnTo>
                    <a:pt x="5" y="8"/>
                  </a:lnTo>
                  <a:lnTo>
                    <a:pt x="7" y="8"/>
                  </a:lnTo>
                  <a:lnTo>
                    <a:pt x="8"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8" name="Freeform 787"/>
            <p:cNvSpPr>
              <a:spLocks/>
            </p:cNvSpPr>
            <p:nvPr/>
          </p:nvSpPr>
          <p:spPr bwMode="auto">
            <a:xfrm>
              <a:off x="7759700" y="4456117"/>
              <a:ext cx="31750" cy="7937"/>
            </a:xfrm>
            <a:custGeom>
              <a:avLst/>
              <a:gdLst>
                <a:gd name="T0" fmla="*/ 2147483647 w 22"/>
                <a:gd name="T1" fmla="*/ 2147483647 h 5"/>
                <a:gd name="T2" fmla="*/ 2147483647 w 22"/>
                <a:gd name="T3" fmla="*/ 2147483647 h 5"/>
                <a:gd name="T4" fmla="*/ 2147483647 w 22"/>
                <a:gd name="T5" fmla="*/ 2147483647 h 5"/>
                <a:gd name="T6" fmla="*/ 2147483647 w 22"/>
                <a:gd name="T7" fmla="*/ 2147483647 h 5"/>
                <a:gd name="T8" fmla="*/ 2147483647 w 22"/>
                <a:gd name="T9" fmla="*/ 0 h 5"/>
                <a:gd name="T10" fmla="*/ 2147483647 w 22"/>
                <a:gd name="T11" fmla="*/ 0 h 5"/>
                <a:gd name="T12" fmla="*/ 2147483647 w 22"/>
                <a:gd name="T13" fmla="*/ 0 h 5"/>
                <a:gd name="T14" fmla="*/ 2147483647 w 22"/>
                <a:gd name="T15" fmla="*/ 2147483647 h 5"/>
                <a:gd name="T16" fmla="*/ 0 w 22"/>
                <a:gd name="T17" fmla="*/ 2147483647 h 5"/>
                <a:gd name="T18" fmla="*/ 0 w 22"/>
                <a:gd name="T19" fmla="*/ 2147483647 h 5"/>
                <a:gd name="T20" fmla="*/ 0 w 22"/>
                <a:gd name="T21" fmla="*/ 2147483647 h 5"/>
                <a:gd name="T22" fmla="*/ 0 w 22"/>
                <a:gd name="T23" fmla="*/ 2147483647 h 5"/>
                <a:gd name="T24" fmla="*/ 2147483647 w 22"/>
                <a:gd name="T25" fmla="*/ 2147483647 h 5"/>
                <a:gd name="T26" fmla="*/ 2147483647 w 22"/>
                <a:gd name="T27" fmla="*/ 2147483647 h 5"/>
                <a:gd name="T28" fmla="*/ 2147483647 w 22"/>
                <a:gd name="T29" fmla="*/ 2147483647 h 5"/>
                <a:gd name="T30" fmla="*/ 2147483647 w 22"/>
                <a:gd name="T31" fmla="*/ 2147483647 h 5"/>
                <a:gd name="T32" fmla="*/ 2147483647 w 22"/>
                <a:gd name="T33" fmla="*/ 2147483647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5"/>
                <a:gd name="T53" fmla="*/ 22 w 22"/>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5">
                  <a:moveTo>
                    <a:pt x="21" y="5"/>
                  </a:moveTo>
                  <a:lnTo>
                    <a:pt x="21" y="5"/>
                  </a:lnTo>
                  <a:lnTo>
                    <a:pt x="22" y="4"/>
                  </a:lnTo>
                  <a:lnTo>
                    <a:pt x="22" y="2"/>
                  </a:lnTo>
                  <a:lnTo>
                    <a:pt x="22" y="0"/>
                  </a:lnTo>
                  <a:lnTo>
                    <a:pt x="19" y="0"/>
                  </a:lnTo>
                  <a:lnTo>
                    <a:pt x="10" y="2"/>
                  </a:lnTo>
                  <a:lnTo>
                    <a:pt x="0" y="2"/>
                  </a:lnTo>
                  <a:lnTo>
                    <a:pt x="0" y="3"/>
                  </a:lnTo>
                  <a:lnTo>
                    <a:pt x="5" y="5"/>
                  </a:lnTo>
                  <a:lnTo>
                    <a:pt x="10" y="5"/>
                  </a:lnTo>
                  <a:lnTo>
                    <a:pt x="15" y="5"/>
                  </a:lnTo>
                  <a:lnTo>
                    <a:pt x="2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89" name="Freeform 788"/>
            <p:cNvSpPr>
              <a:spLocks/>
            </p:cNvSpPr>
            <p:nvPr/>
          </p:nvSpPr>
          <p:spPr bwMode="auto">
            <a:xfrm>
              <a:off x="7729540" y="4576763"/>
              <a:ext cx="12700" cy="11112"/>
            </a:xfrm>
            <a:custGeom>
              <a:avLst/>
              <a:gdLst>
                <a:gd name="T0" fmla="*/ 2147483647 w 8"/>
                <a:gd name="T1" fmla="*/ 2147483647 h 7"/>
                <a:gd name="T2" fmla="*/ 2147483647 w 8"/>
                <a:gd name="T3" fmla="*/ 2147483647 h 7"/>
                <a:gd name="T4" fmla="*/ 2147483647 w 8"/>
                <a:gd name="T5" fmla="*/ 2147483647 h 7"/>
                <a:gd name="T6" fmla="*/ 2147483647 w 8"/>
                <a:gd name="T7" fmla="*/ 0 h 7"/>
                <a:gd name="T8" fmla="*/ 2147483647 w 8"/>
                <a:gd name="T9" fmla="*/ 0 h 7"/>
                <a:gd name="T10" fmla="*/ 2147483647 w 8"/>
                <a:gd name="T11" fmla="*/ 0 h 7"/>
                <a:gd name="T12" fmla="*/ 2147483647 w 8"/>
                <a:gd name="T13" fmla="*/ 2147483647 h 7"/>
                <a:gd name="T14" fmla="*/ 2147483647 w 8"/>
                <a:gd name="T15" fmla="*/ 2147483647 h 7"/>
                <a:gd name="T16" fmla="*/ 0 w 8"/>
                <a:gd name="T17" fmla="*/ 2147483647 h 7"/>
                <a:gd name="T18" fmla="*/ 0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2147483647 w 8"/>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7"/>
                <a:gd name="T53" fmla="*/ 8 w 8"/>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7">
                  <a:moveTo>
                    <a:pt x="8" y="5"/>
                  </a:moveTo>
                  <a:lnTo>
                    <a:pt x="8" y="5"/>
                  </a:lnTo>
                  <a:lnTo>
                    <a:pt x="8" y="1"/>
                  </a:lnTo>
                  <a:lnTo>
                    <a:pt x="6" y="0"/>
                  </a:lnTo>
                  <a:lnTo>
                    <a:pt x="4" y="0"/>
                  </a:lnTo>
                  <a:lnTo>
                    <a:pt x="1" y="1"/>
                  </a:lnTo>
                  <a:lnTo>
                    <a:pt x="0" y="4"/>
                  </a:lnTo>
                  <a:lnTo>
                    <a:pt x="0" y="5"/>
                  </a:lnTo>
                  <a:lnTo>
                    <a:pt x="1" y="6"/>
                  </a:lnTo>
                  <a:lnTo>
                    <a:pt x="2" y="7"/>
                  </a:lnTo>
                  <a:lnTo>
                    <a:pt x="5" y="7"/>
                  </a:lnTo>
                  <a:lnTo>
                    <a:pt x="6" y="7"/>
                  </a:lnTo>
                  <a:lnTo>
                    <a:pt x="8"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0" name="Freeform 789"/>
            <p:cNvSpPr>
              <a:spLocks/>
            </p:cNvSpPr>
            <p:nvPr/>
          </p:nvSpPr>
          <p:spPr bwMode="auto">
            <a:xfrm>
              <a:off x="7694614" y="4573592"/>
              <a:ext cx="12700" cy="22225"/>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0 h 14"/>
                <a:gd name="T12" fmla="*/ 2147483647 w 9"/>
                <a:gd name="T13" fmla="*/ 2147483647 h 14"/>
                <a:gd name="T14" fmla="*/ 0 w 9"/>
                <a:gd name="T15" fmla="*/ 2147483647 h 14"/>
                <a:gd name="T16" fmla="*/ 0 w 9"/>
                <a:gd name="T17" fmla="*/ 2147483647 h 14"/>
                <a:gd name="T18" fmla="*/ 0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4"/>
                <a:gd name="T47" fmla="*/ 9 w 9"/>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4">
                  <a:moveTo>
                    <a:pt x="6" y="7"/>
                  </a:moveTo>
                  <a:lnTo>
                    <a:pt x="9" y="3"/>
                  </a:lnTo>
                  <a:lnTo>
                    <a:pt x="9" y="1"/>
                  </a:lnTo>
                  <a:lnTo>
                    <a:pt x="7" y="0"/>
                  </a:lnTo>
                  <a:lnTo>
                    <a:pt x="6" y="0"/>
                  </a:lnTo>
                  <a:lnTo>
                    <a:pt x="5" y="0"/>
                  </a:lnTo>
                  <a:lnTo>
                    <a:pt x="2" y="2"/>
                  </a:lnTo>
                  <a:lnTo>
                    <a:pt x="0" y="7"/>
                  </a:lnTo>
                  <a:lnTo>
                    <a:pt x="0" y="11"/>
                  </a:lnTo>
                  <a:lnTo>
                    <a:pt x="0" y="13"/>
                  </a:lnTo>
                  <a:lnTo>
                    <a:pt x="1" y="14"/>
                  </a:lnTo>
                  <a:lnTo>
                    <a:pt x="2" y="14"/>
                  </a:lnTo>
                  <a:lnTo>
                    <a:pt x="4" y="13"/>
                  </a:lnTo>
                  <a:lnTo>
                    <a:pt x="5" y="12"/>
                  </a:lnTo>
                  <a:lnTo>
                    <a:pt x="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1" name="Freeform 790"/>
            <p:cNvSpPr>
              <a:spLocks/>
            </p:cNvSpPr>
            <p:nvPr/>
          </p:nvSpPr>
          <p:spPr bwMode="auto">
            <a:xfrm>
              <a:off x="7813676" y="4643438"/>
              <a:ext cx="28574" cy="25400"/>
            </a:xfrm>
            <a:custGeom>
              <a:avLst/>
              <a:gdLst>
                <a:gd name="T0" fmla="*/ 2147483647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0 w 20"/>
                <a:gd name="T11" fmla="*/ 2147483647 h 16"/>
                <a:gd name="T12" fmla="*/ 0 w 20"/>
                <a:gd name="T13" fmla="*/ 2147483647 h 16"/>
                <a:gd name="T14" fmla="*/ 0 w 20"/>
                <a:gd name="T15" fmla="*/ 2147483647 h 16"/>
                <a:gd name="T16" fmla="*/ 2147483647 w 20"/>
                <a:gd name="T17" fmla="*/ 2147483647 h 16"/>
                <a:gd name="T18" fmla="*/ 2147483647 w 20"/>
                <a:gd name="T19" fmla="*/ 2147483647 h 16"/>
                <a:gd name="T20" fmla="*/ 2147483647 w 20"/>
                <a:gd name="T21" fmla="*/ 2147483647 h 16"/>
                <a:gd name="T22" fmla="*/ 2147483647 w 20"/>
                <a:gd name="T23" fmla="*/ 0 h 16"/>
                <a:gd name="T24" fmla="*/ 2147483647 w 20"/>
                <a:gd name="T25" fmla="*/ 0 h 16"/>
                <a:gd name="T26" fmla="*/ 2147483647 w 20"/>
                <a:gd name="T27" fmla="*/ 2147483647 h 16"/>
                <a:gd name="T28" fmla="*/ 2147483647 w 20"/>
                <a:gd name="T29" fmla="*/ 2147483647 h 16"/>
                <a:gd name="T30" fmla="*/ 2147483647 w 20"/>
                <a:gd name="T31" fmla="*/ 2147483647 h 16"/>
                <a:gd name="T32" fmla="*/ 2147483647 w 20"/>
                <a:gd name="T33" fmla="*/ 2147483647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6"/>
                <a:gd name="T53" fmla="*/ 20 w 20"/>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6">
                  <a:moveTo>
                    <a:pt x="15" y="14"/>
                  </a:moveTo>
                  <a:lnTo>
                    <a:pt x="11" y="15"/>
                  </a:lnTo>
                  <a:lnTo>
                    <a:pt x="8" y="15"/>
                  </a:lnTo>
                  <a:lnTo>
                    <a:pt x="4" y="16"/>
                  </a:lnTo>
                  <a:lnTo>
                    <a:pt x="1" y="16"/>
                  </a:lnTo>
                  <a:lnTo>
                    <a:pt x="0" y="16"/>
                  </a:lnTo>
                  <a:lnTo>
                    <a:pt x="0" y="14"/>
                  </a:lnTo>
                  <a:lnTo>
                    <a:pt x="0" y="10"/>
                  </a:lnTo>
                  <a:lnTo>
                    <a:pt x="3" y="8"/>
                  </a:lnTo>
                  <a:lnTo>
                    <a:pt x="5" y="6"/>
                  </a:lnTo>
                  <a:lnTo>
                    <a:pt x="11" y="1"/>
                  </a:lnTo>
                  <a:lnTo>
                    <a:pt x="17" y="0"/>
                  </a:lnTo>
                  <a:lnTo>
                    <a:pt x="18" y="0"/>
                  </a:lnTo>
                  <a:lnTo>
                    <a:pt x="19" y="1"/>
                  </a:lnTo>
                  <a:lnTo>
                    <a:pt x="20" y="6"/>
                  </a:lnTo>
                  <a:lnTo>
                    <a:pt x="19" y="10"/>
                  </a:lnTo>
                  <a:lnTo>
                    <a:pt x="15"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2" name="Freeform 791"/>
            <p:cNvSpPr>
              <a:spLocks/>
            </p:cNvSpPr>
            <p:nvPr/>
          </p:nvSpPr>
          <p:spPr bwMode="auto">
            <a:xfrm>
              <a:off x="7693026" y="4572004"/>
              <a:ext cx="12700" cy="22225"/>
            </a:xfrm>
            <a:custGeom>
              <a:avLst/>
              <a:gdLst>
                <a:gd name="T0" fmla="*/ 2147483647 w 8"/>
                <a:gd name="T1" fmla="*/ 2147483647 h 14"/>
                <a:gd name="T2" fmla="*/ 2147483647 w 8"/>
                <a:gd name="T3" fmla="*/ 2147483647 h 14"/>
                <a:gd name="T4" fmla="*/ 2147483647 w 8"/>
                <a:gd name="T5" fmla="*/ 2147483647 h 14"/>
                <a:gd name="T6" fmla="*/ 2147483647 w 8"/>
                <a:gd name="T7" fmla="*/ 2147483647 h 14"/>
                <a:gd name="T8" fmla="*/ 2147483647 w 8"/>
                <a:gd name="T9" fmla="*/ 0 h 14"/>
                <a:gd name="T10" fmla="*/ 2147483647 w 8"/>
                <a:gd name="T11" fmla="*/ 0 h 14"/>
                <a:gd name="T12" fmla="*/ 2147483647 w 8"/>
                <a:gd name="T13" fmla="*/ 0 h 14"/>
                <a:gd name="T14" fmla="*/ 2147483647 w 8"/>
                <a:gd name="T15" fmla="*/ 0 h 14"/>
                <a:gd name="T16" fmla="*/ 2147483647 w 8"/>
                <a:gd name="T17" fmla="*/ 2147483647 h 14"/>
                <a:gd name="T18" fmla="*/ 0 w 8"/>
                <a:gd name="T19" fmla="*/ 2147483647 h 14"/>
                <a:gd name="T20" fmla="*/ 0 w 8"/>
                <a:gd name="T21" fmla="*/ 2147483647 h 14"/>
                <a:gd name="T22" fmla="*/ 0 w 8"/>
                <a:gd name="T23" fmla="*/ 2147483647 h 14"/>
                <a:gd name="T24" fmla="*/ 0 w 8"/>
                <a:gd name="T25" fmla="*/ 2147483647 h 14"/>
                <a:gd name="T26" fmla="*/ 2147483647 w 8"/>
                <a:gd name="T27" fmla="*/ 2147483647 h 14"/>
                <a:gd name="T28" fmla="*/ 2147483647 w 8"/>
                <a:gd name="T29" fmla="*/ 2147483647 h 14"/>
                <a:gd name="T30" fmla="*/ 2147483647 w 8"/>
                <a:gd name="T31" fmla="*/ 2147483647 h 14"/>
                <a:gd name="T32" fmla="*/ 2147483647 w 8"/>
                <a:gd name="T33" fmla="*/ 2147483647 h 14"/>
                <a:gd name="T34" fmla="*/ 2147483647 w 8"/>
                <a:gd name="T35" fmla="*/ 2147483647 h 14"/>
                <a:gd name="T36" fmla="*/ 2147483647 w 8"/>
                <a:gd name="T37" fmla="*/ 2147483647 h 14"/>
                <a:gd name="T38" fmla="*/ 2147483647 w 8"/>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4"/>
                <a:gd name="T62" fmla="*/ 8 w 8"/>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4">
                  <a:moveTo>
                    <a:pt x="6" y="7"/>
                  </a:moveTo>
                  <a:lnTo>
                    <a:pt x="6" y="7"/>
                  </a:lnTo>
                  <a:lnTo>
                    <a:pt x="8" y="3"/>
                  </a:lnTo>
                  <a:lnTo>
                    <a:pt x="8" y="1"/>
                  </a:lnTo>
                  <a:lnTo>
                    <a:pt x="7" y="0"/>
                  </a:lnTo>
                  <a:lnTo>
                    <a:pt x="6" y="0"/>
                  </a:lnTo>
                  <a:lnTo>
                    <a:pt x="5" y="0"/>
                  </a:lnTo>
                  <a:lnTo>
                    <a:pt x="2" y="2"/>
                  </a:lnTo>
                  <a:lnTo>
                    <a:pt x="0" y="7"/>
                  </a:lnTo>
                  <a:lnTo>
                    <a:pt x="0" y="10"/>
                  </a:lnTo>
                  <a:lnTo>
                    <a:pt x="0" y="13"/>
                  </a:lnTo>
                  <a:lnTo>
                    <a:pt x="1" y="14"/>
                  </a:lnTo>
                  <a:lnTo>
                    <a:pt x="2" y="14"/>
                  </a:lnTo>
                  <a:lnTo>
                    <a:pt x="3" y="13"/>
                  </a:lnTo>
                  <a:lnTo>
                    <a:pt x="5" y="12"/>
                  </a:lnTo>
                  <a:lnTo>
                    <a:pt x="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3" name="Freeform 792"/>
            <p:cNvSpPr>
              <a:spLocks/>
            </p:cNvSpPr>
            <p:nvPr/>
          </p:nvSpPr>
          <p:spPr bwMode="auto">
            <a:xfrm>
              <a:off x="7812090" y="4641850"/>
              <a:ext cx="28574" cy="25400"/>
            </a:xfrm>
            <a:custGeom>
              <a:avLst/>
              <a:gdLst>
                <a:gd name="T0" fmla="*/ 2147483647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2147483647 h 16"/>
                <a:gd name="T14" fmla="*/ 0 w 20"/>
                <a:gd name="T15" fmla="*/ 2147483647 h 16"/>
                <a:gd name="T16" fmla="*/ 0 w 20"/>
                <a:gd name="T17" fmla="*/ 2147483647 h 16"/>
                <a:gd name="T18" fmla="*/ 0 w 20"/>
                <a:gd name="T19" fmla="*/ 2147483647 h 16"/>
                <a:gd name="T20" fmla="*/ 0 w 20"/>
                <a:gd name="T21" fmla="*/ 2147483647 h 16"/>
                <a:gd name="T22" fmla="*/ 2147483647 w 20"/>
                <a:gd name="T23" fmla="*/ 2147483647 h 16"/>
                <a:gd name="T24" fmla="*/ 2147483647 w 20"/>
                <a:gd name="T25" fmla="*/ 2147483647 h 16"/>
                <a:gd name="T26" fmla="*/ 2147483647 w 20"/>
                <a:gd name="T27" fmla="*/ 2147483647 h 16"/>
                <a:gd name="T28" fmla="*/ 2147483647 w 20"/>
                <a:gd name="T29" fmla="*/ 0 h 16"/>
                <a:gd name="T30" fmla="*/ 2147483647 w 20"/>
                <a:gd name="T31" fmla="*/ 0 h 16"/>
                <a:gd name="T32" fmla="*/ 2147483647 w 20"/>
                <a:gd name="T33" fmla="*/ 0 h 16"/>
                <a:gd name="T34" fmla="*/ 2147483647 w 20"/>
                <a:gd name="T35" fmla="*/ 2147483647 h 16"/>
                <a:gd name="T36" fmla="*/ 2147483647 w 20"/>
                <a:gd name="T37" fmla="*/ 2147483647 h 16"/>
                <a:gd name="T38" fmla="*/ 2147483647 w 20"/>
                <a:gd name="T39" fmla="*/ 2147483647 h 16"/>
                <a:gd name="T40" fmla="*/ 2147483647 w 20"/>
                <a:gd name="T41" fmla="*/ 2147483647 h 16"/>
                <a:gd name="T42" fmla="*/ 2147483647 w 20"/>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16"/>
                <a:gd name="T68" fmla="*/ 20 w 20"/>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16">
                  <a:moveTo>
                    <a:pt x="15" y="14"/>
                  </a:moveTo>
                  <a:lnTo>
                    <a:pt x="15" y="14"/>
                  </a:lnTo>
                  <a:lnTo>
                    <a:pt x="11" y="15"/>
                  </a:lnTo>
                  <a:lnTo>
                    <a:pt x="7" y="15"/>
                  </a:lnTo>
                  <a:lnTo>
                    <a:pt x="4" y="16"/>
                  </a:lnTo>
                  <a:lnTo>
                    <a:pt x="1" y="16"/>
                  </a:lnTo>
                  <a:lnTo>
                    <a:pt x="0" y="16"/>
                  </a:lnTo>
                  <a:lnTo>
                    <a:pt x="0" y="14"/>
                  </a:lnTo>
                  <a:lnTo>
                    <a:pt x="0" y="10"/>
                  </a:lnTo>
                  <a:lnTo>
                    <a:pt x="2" y="8"/>
                  </a:lnTo>
                  <a:lnTo>
                    <a:pt x="5" y="6"/>
                  </a:lnTo>
                  <a:lnTo>
                    <a:pt x="11" y="1"/>
                  </a:lnTo>
                  <a:lnTo>
                    <a:pt x="16" y="0"/>
                  </a:lnTo>
                  <a:lnTo>
                    <a:pt x="18" y="0"/>
                  </a:lnTo>
                  <a:lnTo>
                    <a:pt x="19" y="1"/>
                  </a:lnTo>
                  <a:lnTo>
                    <a:pt x="20" y="6"/>
                  </a:lnTo>
                  <a:lnTo>
                    <a:pt x="19" y="10"/>
                  </a:lnTo>
                  <a:lnTo>
                    <a:pt x="15"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4" name="Freeform 793"/>
            <p:cNvSpPr>
              <a:spLocks/>
            </p:cNvSpPr>
            <p:nvPr/>
          </p:nvSpPr>
          <p:spPr bwMode="auto">
            <a:xfrm>
              <a:off x="7516814" y="4638679"/>
              <a:ext cx="34925" cy="19050"/>
            </a:xfrm>
            <a:custGeom>
              <a:avLst/>
              <a:gdLst>
                <a:gd name="T0" fmla="*/ 2147483647 w 23"/>
                <a:gd name="T1" fmla="*/ 2147483647 h 12"/>
                <a:gd name="T2" fmla="*/ 2147483647 w 23"/>
                <a:gd name="T3" fmla="*/ 0 h 12"/>
                <a:gd name="T4" fmla="*/ 2147483647 w 23"/>
                <a:gd name="T5" fmla="*/ 2147483647 h 12"/>
                <a:gd name="T6" fmla="*/ 2147483647 w 23"/>
                <a:gd name="T7" fmla="*/ 2147483647 h 12"/>
                <a:gd name="T8" fmla="*/ 2147483647 w 23"/>
                <a:gd name="T9" fmla="*/ 2147483647 h 12"/>
                <a:gd name="T10" fmla="*/ 2147483647 w 23"/>
                <a:gd name="T11" fmla="*/ 2147483647 h 12"/>
                <a:gd name="T12" fmla="*/ 2147483647 w 23"/>
                <a:gd name="T13" fmla="*/ 2147483647 h 12"/>
                <a:gd name="T14" fmla="*/ 2147483647 w 23"/>
                <a:gd name="T15" fmla="*/ 2147483647 h 12"/>
                <a:gd name="T16" fmla="*/ 2147483647 w 23"/>
                <a:gd name="T17" fmla="*/ 2147483647 h 12"/>
                <a:gd name="T18" fmla="*/ 2147483647 w 23"/>
                <a:gd name="T19" fmla="*/ 2147483647 h 12"/>
                <a:gd name="T20" fmla="*/ 2147483647 w 23"/>
                <a:gd name="T21" fmla="*/ 2147483647 h 12"/>
                <a:gd name="T22" fmla="*/ 0 w 23"/>
                <a:gd name="T23" fmla="*/ 2147483647 h 12"/>
                <a:gd name="T24" fmla="*/ 2147483647 w 23"/>
                <a:gd name="T25" fmla="*/ 2147483647 h 12"/>
                <a:gd name="T26" fmla="*/ 2147483647 w 23"/>
                <a:gd name="T27" fmla="*/ 2147483647 h 12"/>
                <a:gd name="T28" fmla="*/ 2147483647 w 23"/>
                <a:gd name="T29" fmla="*/ 2147483647 h 12"/>
                <a:gd name="T30" fmla="*/ 2147483647 w 23"/>
                <a:gd name="T31" fmla="*/ 2147483647 h 12"/>
                <a:gd name="T32" fmla="*/ 2147483647 w 23"/>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2"/>
                <a:gd name="T53" fmla="*/ 23 w 2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2">
                  <a:moveTo>
                    <a:pt x="18" y="2"/>
                  </a:moveTo>
                  <a:lnTo>
                    <a:pt x="19" y="0"/>
                  </a:lnTo>
                  <a:lnTo>
                    <a:pt x="20" y="2"/>
                  </a:lnTo>
                  <a:lnTo>
                    <a:pt x="23" y="4"/>
                  </a:lnTo>
                  <a:lnTo>
                    <a:pt x="23" y="6"/>
                  </a:lnTo>
                  <a:lnTo>
                    <a:pt x="22" y="9"/>
                  </a:lnTo>
                  <a:lnTo>
                    <a:pt x="17" y="11"/>
                  </a:lnTo>
                  <a:lnTo>
                    <a:pt x="10" y="12"/>
                  </a:lnTo>
                  <a:lnTo>
                    <a:pt x="5" y="12"/>
                  </a:lnTo>
                  <a:lnTo>
                    <a:pt x="3" y="11"/>
                  </a:lnTo>
                  <a:lnTo>
                    <a:pt x="1" y="10"/>
                  </a:lnTo>
                  <a:lnTo>
                    <a:pt x="0" y="8"/>
                  </a:lnTo>
                  <a:lnTo>
                    <a:pt x="1" y="5"/>
                  </a:lnTo>
                  <a:lnTo>
                    <a:pt x="3" y="4"/>
                  </a:lnTo>
                  <a:lnTo>
                    <a:pt x="5" y="4"/>
                  </a:lnTo>
                  <a:lnTo>
                    <a:pt x="13" y="3"/>
                  </a:lnTo>
                  <a:lnTo>
                    <a:pt x="18"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5" name="Freeform 794"/>
            <p:cNvSpPr>
              <a:spLocks/>
            </p:cNvSpPr>
            <p:nvPr/>
          </p:nvSpPr>
          <p:spPr bwMode="auto">
            <a:xfrm>
              <a:off x="7607300" y="4652963"/>
              <a:ext cx="7938"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0 w 6"/>
                <a:gd name="T13" fmla="*/ 0 h 7"/>
                <a:gd name="T14" fmla="*/ 2147483647 w 6"/>
                <a:gd name="T15" fmla="*/ 0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5" y="3"/>
                  </a:moveTo>
                  <a:lnTo>
                    <a:pt x="6" y="6"/>
                  </a:lnTo>
                  <a:lnTo>
                    <a:pt x="4" y="7"/>
                  </a:lnTo>
                  <a:lnTo>
                    <a:pt x="3" y="7"/>
                  </a:lnTo>
                  <a:lnTo>
                    <a:pt x="0" y="6"/>
                  </a:lnTo>
                  <a:lnTo>
                    <a:pt x="0" y="2"/>
                  </a:lnTo>
                  <a:lnTo>
                    <a:pt x="0" y="0"/>
                  </a:lnTo>
                  <a:lnTo>
                    <a:pt x="3" y="0"/>
                  </a:lnTo>
                  <a:lnTo>
                    <a:pt x="4" y="1"/>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6" name="Freeform 795"/>
            <p:cNvSpPr>
              <a:spLocks/>
            </p:cNvSpPr>
            <p:nvPr/>
          </p:nvSpPr>
          <p:spPr bwMode="auto">
            <a:xfrm>
              <a:off x="7515226" y="4637091"/>
              <a:ext cx="34925" cy="19050"/>
            </a:xfrm>
            <a:custGeom>
              <a:avLst/>
              <a:gdLst>
                <a:gd name="T0" fmla="*/ 2147483647 w 23"/>
                <a:gd name="T1" fmla="*/ 2147483647 h 12"/>
                <a:gd name="T2" fmla="*/ 2147483647 w 23"/>
                <a:gd name="T3" fmla="*/ 2147483647 h 12"/>
                <a:gd name="T4" fmla="*/ 2147483647 w 23"/>
                <a:gd name="T5" fmla="*/ 0 h 12"/>
                <a:gd name="T6" fmla="*/ 2147483647 w 23"/>
                <a:gd name="T7" fmla="*/ 2147483647 h 12"/>
                <a:gd name="T8" fmla="*/ 2147483647 w 23"/>
                <a:gd name="T9" fmla="*/ 2147483647 h 12"/>
                <a:gd name="T10" fmla="*/ 2147483647 w 23"/>
                <a:gd name="T11" fmla="*/ 2147483647 h 12"/>
                <a:gd name="T12" fmla="*/ 2147483647 w 23"/>
                <a:gd name="T13" fmla="*/ 2147483647 h 12"/>
                <a:gd name="T14" fmla="*/ 2147483647 w 23"/>
                <a:gd name="T15" fmla="*/ 2147483647 h 12"/>
                <a:gd name="T16" fmla="*/ 2147483647 w 23"/>
                <a:gd name="T17" fmla="*/ 2147483647 h 12"/>
                <a:gd name="T18" fmla="*/ 2147483647 w 23"/>
                <a:gd name="T19" fmla="*/ 2147483647 h 12"/>
                <a:gd name="T20" fmla="*/ 2147483647 w 23"/>
                <a:gd name="T21" fmla="*/ 2147483647 h 12"/>
                <a:gd name="T22" fmla="*/ 2147483647 w 23"/>
                <a:gd name="T23" fmla="*/ 2147483647 h 12"/>
                <a:gd name="T24" fmla="*/ 2147483647 w 23"/>
                <a:gd name="T25" fmla="*/ 2147483647 h 12"/>
                <a:gd name="T26" fmla="*/ 2147483647 w 23"/>
                <a:gd name="T27" fmla="*/ 2147483647 h 12"/>
                <a:gd name="T28" fmla="*/ 0 w 23"/>
                <a:gd name="T29" fmla="*/ 2147483647 h 12"/>
                <a:gd name="T30" fmla="*/ 2147483647 w 23"/>
                <a:gd name="T31" fmla="*/ 2147483647 h 12"/>
                <a:gd name="T32" fmla="*/ 2147483647 w 23"/>
                <a:gd name="T33" fmla="*/ 2147483647 h 12"/>
                <a:gd name="T34" fmla="*/ 2147483647 w 23"/>
                <a:gd name="T35" fmla="*/ 2147483647 h 12"/>
                <a:gd name="T36" fmla="*/ 2147483647 w 23"/>
                <a:gd name="T37" fmla="*/ 2147483647 h 12"/>
                <a:gd name="T38" fmla="*/ 2147483647 w 23"/>
                <a:gd name="T39" fmla="*/ 2147483647 h 12"/>
                <a:gd name="T40" fmla="*/ 2147483647 w 23"/>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
                <a:gd name="T64" fmla="*/ 0 h 12"/>
                <a:gd name="T65" fmla="*/ 23 w 23"/>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 h="12">
                  <a:moveTo>
                    <a:pt x="18" y="1"/>
                  </a:moveTo>
                  <a:lnTo>
                    <a:pt x="18" y="1"/>
                  </a:lnTo>
                  <a:lnTo>
                    <a:pt x="19" y="0"/>
                  </a:lnTo>
                  <a:lnTo>
                    <a:pt x="20" y="1"/>
                  </a:lnTo>
                  <a:lnTo>
                    <a:pt x="23" y="4"/>
                  </a:lnTo>
                  <a:lnTo>
                    <a:pt x="23" y="6"/>
                  </a:lnTo>
                  <a:lnTo>
                    <a:pt x="21" y="9"/>
                  </a:lnTo>
                  <a:lnTo>
                    <a:pt x="16" y="11"/>
                  </a:lnTo>
                  <a:lnTo>
                    <a:pt x="10" y="12"/>
                  </a:lnTo>
                  <a:lnTo>
                    <a:pt x="5" y="12"/>
                  </a:lnTo>
                  <a:lnTo>
                    <a:pt x="2" y="11"/>
                  </a:lnTo>
                  <a:lnTo>
                    <a:pt x="1" y="10"/>
                  </a:lnTo>
                  <a:lnTo>
                    <a:pt x="0" y="7"/>
                  </a:lnTo>
                  <a:lnTo>
                    <a:pt x="1" y="5"/>
                  </a:lnTo>
                  <a:lnTo>
                    <a:pt x="2" y="4"/>
                  </a:lnTo>
                  <a:lnTo>
                    <a:pt x="5" y="4"/>
                  </a:lnTo>
                  <a:lnTo>
                    <a:pt x="13" y="3"/>
                  </a:lnTo>
                  <a:lnTo>
                    <a:pt x="18"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7" name="Freeform 796"/>
            <p:cNvSpPr>
              <a:spLocks/>
            </p:cNvSpPr>
            <p:nvPr/>
          </p:nvSpPr>
          <p:spPr bwMode="auto">
            <a:xfrm>
              <a:off x="7605718" y="4651376"/>
              <a:ext cx="7937"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0 w 6"/>
                <a:gd name="T11" fmla="*/ 2147483647 h 7"/>
                <a:gd name="T12" fmla="*/ 0 w 6"/>
                <a:gd name="T13" fmla="*/ 2147483647 h 7"/>
                <a:gd name="T14" fmla="*/ 0 w 6"/>
                <a:gd name="T15" fmla="*/ 2147483647 h 7"/>
                <a:gd name="T16" fmla="*/ 0 w 6"/>
                <a:gd name="T17" fmla="*/ 0 h 7"/>
                <a:gd name="T18" fmla="*/ 2147483647 w 6"/>
                <a:gd name="T19" fmla="*/ 0 h 7"/>
                <a:gd name="T20" fmla="*/ 2147483647 w 6"/>
                <a:gd name="T21" fmla="*/ 0 h 7"/>
                <a:gd name="T22" fmla="*/ 2147483647 w 6"/>
                <a:gd name="T23" fmla="*/ 0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5" y="3"/>
                  </a:moveTo>
                  <a:lnTo>
                    <a:pt x="5" y="3"/>
                  </a:lnTo>
                  <a:lnTo>
                    <a:pt x="6" y="5"/>
                  </a:lnTo>
                  <a:lnTo>
                    <a:pt x="4" y="7"/>
                  </a:lnTo>
                  <a:lnTo>
                    <a:pt x="2" y="7"/>
                  </a:lnTo>
                  <a:lnTo>
                    <a:pt x="0" y="5"/>
                  </a:lnTo>
                  <a:lnTo>
                    <a:pt x="0" y="2"/>
                  </a:lnTo>
                  <a:lnTo>
                    <a:pt x="0" y="0"/>
                  </a:lnTo>
                  <a:lnTo>
                    <a:pt x="2" y="0"/>
                  </a:lnTo>
                  <a:lnTo>
                    <a:pt x="4" y="1"/>
                  </a:lnTo>
                  <a:lnTo>
                    <a:pt x="5"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8" name="Freeform 797"/>
            <p:cNvSpPr>
              <a:spLocks/>
            </p:cNvSpPr>
            <p:nvPr/>
          </p:nvSpPr>
          <p:spPr bwMode="auto">
            <a:xfrm>
              <a:off x="7642225" y="4637088"/>
              <a:ext cx="20638" cy="25400"/>
            </a:xfrm>
            <a:custGeom>
              <a:avLst/>
              <a:gdLst>
                <a:gd name="T0" fmla="*/ 2147483647 w 14"/>
                <a:gd name="T1" fmla="*/ 2147483647 h 16"/>
                <a:gd name="T2" fmla="*/ 2147483647 w 14"/>
                <a:gd name="T3" fmla="*/ 2147483647 h 16"/>
                <a:gd name="T4" fmla="*/ 0 w 14"/>
                <a:gd name="T5" fmla="*/ 2147483647 h 16"/>
                <a:gd name="T6" fmla="*/ 0 w 14"/>
                <a:gd name="T7" fmla="*/ 2147483647 h 16"/>
                <a:gd name="T8" fmla="*/ 2147483647 w 14"/>
                <a:gd name="T9" fmla="*/ 2147483647 h 16"/>
                <a:gd name="T10" fmla="*/ 2147483647 w 14"/>
                <a:gd name="T11" fmla="*/ 2147483647 h 16"/>
                <a:gd name="T12" fmla="*/ 2147483647 w 14"/>
                <a:gd name="T13" fmla="*/ 0 h 16"/>
                <a:gd name="T14" fmla="*/ 2147483647 w 14"/>
                <a:gd name="T15" fmla="*/ 0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7" y="14"/>
                  </a:moveTo>
                  <a:lnTo>
                    <a:pt x="3" y="16"/>
                  </a:lnTo>
                  <a:lnTo>
                    <a:pt x="0" y="14"/>
                  </a:lnTo>
                  <a:lnTo>
                    <a:pt x="0" y="13"/>
                  </a:lnTo>
                  <a:lnTo>
                    <a:pt x="2" y="9"/>
                  </a:lnTo>
                  <a:lnTo>
                    <a:pt x="5" y="4"/>
                  </a:lnTo>
                  <a:lnTo>
                    <a:pt x="9" y="0"/>
                  </a:lnTo>
                  <a:lnTo>
                    <a:pt x="12" y="0"/>
                  </a:lnTo>
                  <a:lnTo>
                    <a:pt x="13" y="1"/>
                  </a:lnTo>
                  <a:lnTo>
                    <a:pt x="14" y="5"/>
                  </a:lnTo>
                  <a:lnTo>
                    <a:pt x="13" y="9"/>
                  </a:lnTo>
                  <a:lnTo>
                    <a:pt x="10" y="12"/>
                  </a:lnTo>
                  <a:lnTo>
                    <a:pt x="7"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799" name="Freeform 798"/>
            <p:cNvSpPr>
              <a:spLocks/>
            </p:cNvSpPr>
            <p:nvPr/>
          </p:nvSpPr>
          <p:spPr bwMode="auto">
            <a:xfrm>
              <a:off x="7721604" y="4608516"/>
              <a:ext cx="11113" cy="19050"/>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2147483647 h 12"/>
                <a:gd name="T12" fmla="*/ 0 w 8"/>
                <a:gd name="T13" fmla="*/ 2147483647 h 12"/>
                <a:gd name="T14" fmla="*/ 2147483647 w 8"/>
                <a:gd name="T15" fmla="*/ 0 h 12"/>
                <a:gd name="T16" fmla="*/ 2147483647 w 8"/>
                <a:gd name="T17" fmla="*/ 0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9"/>
                  </a:moveTo>
                  <a:lnTo>
                    <a:pt x="7" y="11"/>
                  </a:lnTo>
                  <a:lnTo>
                    <a:pt x="6" y="12"/>
                  </a:lnTo>
                  <a:lnTo>
                    <a:pt x="3" y="12"/>
                  </a:lnTo>
                  <a:lnTo>
                    <a:pt x="2" y="11"/>
                  </a:lnTo>
                  <a:lnTo>
                    <a:pt x="0" y="8"/>
                  </a:lnTo>
                  <a:lnTo>
                    <a:pt x="0" y="3"/>
                  </a:lnTo>
                  <a:lnTo>
                    <a:pt x="1" y="0"/>
                  </a:lnTo>
                  <a:lnTo>
                    <a:pt x="3" y="0"/>
                  </a:lnTo>
                  <a:lnTo>
                    <a:pt x="6" y="2"/>
                  </a:lnTo>
                  <a:lnTo>
                    <a:pt x="7" y="5"/>
                  </a:lnTo>
                  <a:lnTo>
                    <a:pt x="8"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0" name="Freeform 799"/>
            <p:cNvSpPr>
              <a:spLocks/>
            </p:cNvSpPr>
            <p:nvPr/>
          </p:nvSpPr>
          <p:spPr bwMode="auto">
            <a:xfrm>
              <a:off x="7640639" y="4635504"/>
              <a:ext cx="20637" cy="23813"/>
            </a:xfrm>
            <a:custGeom>
              <a:avLst/>
              <a:gdLst>
                <a:gd name="T0" fmla="*/ 2147483647 w 14"/>
                <a:gd name="T1" fmla="*/ 2147483647 h 15"/>
                <a:gd name="T2" fmla="*/ 2147483647 w 14"/>
                <a:gd name="T3" fmla="*/ 2147483647 h 15"/>
                <a:gd name="T4" fmla="*/ 2147483647 w 14"/>
                <a:gd name="T5" fmla="*/ 2147483647 h 15"/>
                <a:gd name="T6" fmla="*/ 0 w 14"/>
                <a:gd name="T7" fmla="*/ 2147483647 h 15"/>
                <a:gd name="T8" fmla="*/ 0 w 14"/>
                <a:gd name="T9" fmla="*/ 2147483647 h 15"/>
                <a:gd name="T10" fmla="*/ 0 w 14"/>
                <a:gd name="T11" fmla="*/ 2147483647 h 15"/>
                <a:gd name="T12" fmla="*/ 2147483647 w 14"/>
                <a:gd name="T13" fmla="*/ 2147483647 h 15"/>
                <a:gd name="T14" fmla="*/ 2147483647 w 14"/>
                <a:gd name="T15" fmla="*/ 2147483647 h 15"/>
                <a:gd name="T16" fmla="*/ 2147483647 w 14"/>
                <a:gd name="T17" fmla="*/ 0 h 15"/>
                <a:gd name="T18" fmla="*/ 2147483647 w 14"/>
                <a:gd name="T19" fmla="*/ 0 h 15"/>
                <a:gd name="T20" fmla="*/ 2147483647 w 14"/>
                <a:gd name="T21" fmla="*/ 2147483647 h 15"/>
                <a:gd name="T22" fmla="*/ 2147483647 w 14"/>
                <a:gd name="T23" fmla="*/ 2147483647 h 15"/>
                <a:gd name="T24" fmla="*/ 2147483647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5"/>
                <a:gd name="T53" fmla="*/ 14 w 1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5">
                  <a:moveTo>
                    <a:pt x="6" y="14"/>
                  </a:moveTo>
                  <a:lnTo>
                    <a:pt x="6" y="14"/>
                  </a:lnTo>
                  <a:lnTo>
                    <a:pt x="3" y="15"/>
                  </a:lnTo>
                  <a:lnTo>
                    <a:pt x="0" y="14"/>
                  </a:lnTo>
                  <a:lnTo>
                    <a:pt x="0" y="13"/>
                  </a:lnTo>
                  <a:lnTo>
                    <a:pt x="1" y="8"/>
                  </a:lnTo>
                  <a:lnTo>
                    <a:pt x="5" y="4"/>
                  </a:lnTo>
                  <a:lnTo>
                    <a:pt x="9" y="0"/>
                  </a:lnTo>
                  <a:lnTo>
                    <a:pt x="11" y="0"/>
                  </a:lnTo>
                  <a:lnTo>
                    <a:pt x="13" y="1"/>
                  </a:lnTo>
                  <a:lnTo>
                    <a:pt x="14" y="5"/>
                  </a:lnTo>
                  <a:lnTo>
                    <a:pt x="13" y="8"/>
                  </a:lnTo>
                  <a:lnTo>
                    <a:pt x="10" y="12"/>
                  </a:lnTo>
                  <a:lnTo>
                    <a:pt x="6"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1" name="Freeform 800"/>
            <p:cNvSpPr>
              <a:spLocks/>
            </p:cNvSpPr>
            <p:nvPr/>
          </p:nvSpPr>
          <p:spPr bwMode="auto">
            <a:xfrm>
              <a:off x="7718425" y="4606926"/>
              <a:ext cx="12700" cy="19050"/>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2147483647 h 12"/>
                <a:gd name="T12" fmla="*/ 2147483647 w 9"/>
                <a:gd name="T13" fmla="*/ 2147483647 h 12"/>
                <a:gd name="T14" fmla="*/ 0 w 9"/>
                <a:gd name="T15" fmla="*/ 2147483647 h 12"/>
                <a:gd name="T16" fmla="*/ 0 w 9"/>
                <a:gd name="T17" fmla="*/ 2147483647 h 12"/>
                <a:gd name="T18" fmla="*/ 2147483647 w 9"/>
                <a:gd name="T19" fmla="*/ 0 h 12"/>
                <a:gd name="T20" fmla="*/ 2147483647 w 9"/>
                <a:gd name="T21" fmla="*/ 0 h 12"/>
                <a:gd name="T22" fmla="*/ 2147483647 w 9"/>
                <a:gd name="T23" fmla="*/ 0 h 12"/>
                <a:gd name="T24" fmla="*/ 2147483647 w 9"/>
                <a:gd name="T25" fmla="*/ 2147483647 h 12"/>
                <a:gd name="T26" fmla="*/ 2147483647 w 9"/>
                <a:gd name="T27" fmla="*/ 2147483647 h 12"/>
                <a:gd name="T28" fmla="*/ 2147483647 w 9"/>
                <a:gd name="T29" fmla="*/ 2147483647 h 12"/>
                <a:gd name="T30" fmla="*/ 2147483647 w 9"/>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2"/>
                <a:gd name="T50" fmla="*/ 9 w 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2">
                  <a:moveTo>
                    <a:pt x="9" y="9"/>
                  </a:moveTo>
                  <a:lnTo>
                    <a:pt x="9" y="9"/>
                  </a:lnTo>
                  <a:lnTo>
                    <a:pt x="8" y="11"/>
                  </a:lnTo>
                  <a:lnTo>
                    <a:pt x="7" y="12"/>
                  </a:lnTo>
                  <a:lnTo>
                    <a:pt x="4" y="12"/>
                  </a:lnTo>
                  <a:lnTo>
                    <a:pt x="3" y="11"/>
                  </a:lnTo>
                  <a:lnTo>
                    <a:pt x="0" y="7"/>
                  </a:lnTo>
                  <a:lnTo>
                    <a:pt x="0" y="3"/>
                  </a:lnTo>
                  <a:lnTo>
                    <a:pt x="2" y="0"/>
                  </a:lnTo>
                  <a:lnTo>
                    <a:pt x="4" y="0"/>
                  </a:lnTo>
                  <a:lnTo>
                    <a:pt x="7" y="1"/>
                  </a:lnTo>
                  <a:lnTo>
                    <a:pt x="8" y="5"/>
                  </a:lnTo>
                  <a:lnTo>
                    <a:pt x="9"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2" name="Freeform 801"/>
            <p:cNvSpPr>
              <a:spLocks/>
            </p:cNvSpPr>
            <p:nvPr/>
          </p:nvSpPr>
          <p:spPr bwMode="auto">
            <a:xfrm>
              <a:off x="7731125" y="4597400"/>
              <a:ext cx="12700" cy="11113"/>
            </a:xfrm>
            <a:custGeom>
              <a:avLst/>
              <a:gdLst>
                <a:gd name="T0" fmla="*/ 2147483647 w 9"/>
                <a:gd name="T1" fmla="*/ 2147483647 h 7"/>
                <a:gd name="T2" fmla="*/ 2147483647 w 9"/>
                <a:gd name="T3" fmla="*/ 2147483647 h 7"/>
                <a:gd name="T4" fmla="*/ 2147483647 w 9"/>
                <a:gd name="T5" fmla="*/ 2147483647 h 7"/>
                <a:gd name="T6" fmla="*/ 0 w 9"/>
                <a:gd name="T7" fmla="*/ 2147483647 h 7"/>
                <a:gd name="T8" fmla="*/ 2147483647 w 9"/>
                <a:gd name="T9" fmla="*/ 2147483647 h 7"/>
                <a:gd name="T10" fmla="*/ 2147483647 w 9"/>
                <a:gd name="T11" fmla="*/ 0 h 7"/>
                <a:gd name="T12" fmla="*/ 2147483647 w 9"/>
                <a:gd name="T13" fmla="*/ 2147483647 h 7"/>
                <a:gd name="T14" fmla="*/ 2147483647 w 9"/>
                <a:gd name="T15" fmla="*/ 2147483647 h 7"/>
                <a:gd name="T16" fmla="*/ 2147483647 w 9"/>
                <a:gd name="T17" fmla="*/ 2147483647 h 7"/>
                <a:gd name="T18" fmla="*/ 2147483647 w 9"/>
                <a:gd name="T19" fmla="*/ 2147483647 h 7"/>
                <a:gd name="T20" fmla="*/ 2147483647 w 9"/>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7" y="7"/>
                  </a:moveTo>
                  <a:lnTo>
                    <a:pt x="4" y="7"/>
                  </a:lnTo>
                  <a:lnTo>
                    <a:pt x="1" y="6"/>
                  </a:lnTo>
                  <a:lnTo>
                    <a:pt x="0" y="4"/>
                  </a:lnTo>
                  <a:lnTo>
                    <a:pt x="1" y="2"/>
                  </a:lnTo>
                  <a:lnTo>
                    <a:pt x="5" y="0"/>
                  </a:lnTo>
                  <a:lnTo>
                    <a:pt x="8" y="2"/>
                  </a:lnTo>
                  <a:lnTo>
                    <a:pt x="9" y="3"/>
                  </a:lnTo>
                  <a:lnTo>
                    <a:pt x="9" y="5"/>
                  </a:lnTo>
                  <a:lnTo>
                    <a:pt x="9" y="7"/>
                  </a:lnTo>
                  <a:lnTo>
                    <a:pt x="7"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3" name="Freeform 802"/>
            <p:cNvSpPr>
              <a:spLocks/>
            </p:cNvSpPr>
            <p:nvPr/>
          </p:nvSpPr>
          <p:spPr bwMode="auto">
            <a:xfrm>
              <a:off x="6764342" y="4321176"/>
              <a:ext cx="14287" cy="12700"/>
            </a:xfrm>
            <a:custGeom>
              <a:avLst/>
              <a:gdLst>
                <a:gd name="T0" fmla="*/ 2147483647 w 10"/>
                <a:gd name="T1" fmla="*/ 2147483647 h 8"/>
                <a:gd name="T2" fmla="*/ 2147483647 w 10"/>
                <a:gd name="T3" fmla="*/ 2147483647 h 8"/>
                <a:gd name="T4" fmla="*/ 2147483647 w 10"/>
                <a:gd name="T5" fmla="*/ 2147483647 h 8"/>
                <a:gd name="T6" fmla="*/ 2147483647 w 10"/>
                <a:gd name="T7" fmla="*/ 2147483647 h 8"/>
                <a:gd name="T8" fmla="*/ 2147483647 w 10"/>
                <a:gd name="T9" fmla="*/ 2147483647 h 8"/>
                <a:gd name="T10" fmla="*/ 2147483647 w 10"/>
                <a:gd name="T11" fmla="*/ 2147483647 h 8"/>
                <a:gd name="T12" fmla="*/ 2147483647 w 10"/>
                <a:gd name="T13" fmla="*/ 2147483647 h 8"/>
                <a:gd name="T14" fmla="*/ 0 w 10"/>
                <a:gd name="T15" fmla="*/ 0 h 8"/>
                <a:gd name="T16" fmla="*/ 2147483647 w 10"/>
                <a:gd name="T17" fmla="*/ 2147483647 h 8"/>
                <a:gd name="T18" fmla="*/ 2147483647 w 10"/>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8"/>
                <a:gd name="T32" fmla="*/ 10 w 1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8">
                  <a:moveTo>
                    <a:pt x="6" y="4"/>
                  </a:moveTo>
                  <a:lnTo>
                    <a:pt x="10" y="6"/>
                  </a:lnTo>
                  <a:lnTo>
                    <a:pt x="10" y="7"/>
                  </a:lnTo>
                  <a:lnTo>
                    <a:pt x="9" y="8"/>
                  </a:lnTo>
                  <a:lnTo>
                    <a:pt x="6" y="8"/>
                  </a:lnTo>
                  <a:lnTo>
                    <a:pt x="4" y="7"/>
                  </a:lnTo>
                  <a:lnTo>
                    <a:pt x="1" y="4"/>
                  </a:lnTo>
                  <a:lnTo>
                    <a:pt x="0" y="0"/>
                  </a:lnTo>
                  <a:lnTo>
                    <a:pt x="4"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4" name="Freeform 803"/>
            <p:cNvSpPr>
              <a:spLocks/>
            </p:cNvSpPr>
            <p:nvPr/>
          </p:nvSpPr>
          <p:spPr bwMode="auto">
            <a:xfrm>
              <a:off x="7729541" y="4595813"/>
              <a:ext cx="14287" cy="11112"/>
            </a:xfrm>
            <a:custGeom>
              <a:avLst/>
              <a:gdLst>
                <a:gd name="T0" fmla="*/ 2147483647 w 9"/>
                <a:gd name="T1" fmla="*/ 2147483647 h 7"/>
                <a:gd name="T2" fmla="*/ 2147483647 w 9"/>
                <a:gd name="T3" fmla="*/ 2147483647 h 7"/>
                <a:gd name="T4" fmla="*/ 2147483647 w 9"/>
                <a:gd name="T5" fmla="*/ 2147483647 h 7"/>
                <a:gd name="T6" fmla="*/ 2147483647 w 9"/>
                <a:gd name="T7" fmla="*/ 2147483647 h 7"/>
                <a:gd name="T8" fmla="*/ 0 w 9"/>
                <a:gd name="T9" fmla="*/ 2147483647 h 7"/>
                <a:gd name="T10" fmla="*/ 2147483647 w 9"/>
                <a:gd name="T11" fmla="*/ 2147483647 h 7"/>
                <a:gd name="T12" fmla="*/ 2147483647 w 9"/>
                <a:gd name="T13" fmla="*/ 2147483647 h 7"/>
                <a:gd name="T14" fmla="*/ 2147483647 w 9"/>
                <a:gd name="T15" fmla="*/ 0 h 7"/>
                <a:gd name="T16" fmla="*/ 2147483647 w 9"/>
                <a:gd name="T17" fmla="*/ 2147483647 h 7"/>
                <a:gd name="T18" fmla="*/ 2147483647 w 9"/>
                <a:gd name="T19" fmla="*/ 2147483647 h 7"/>
                <a:gd name="T20" fmla="*/ 2147483647 w 9"/>
                <a:gd name="T21" fmla="*/ 2147483647 h 7"/>
                <a:gd name="T22" fmla="*/ 2147483647 w 9"/>
                <a:gd name="T23" fmla="*/ 2147483647 h 7"/>
                <a:gd name="T24" fmla="*/ 2147483647 w 9"/>
                <a:gd name="T25" fmla="*/ 2147483647 h 7"/>
                <a:gd name="T26" fmla="*/ 2147483647 w 9"/>
                <a:gd name="T27" fmla="*/ 2147483647 h 7"/>
                <a:gd name="T28" fmla="*/ 2147483647 w 9"/>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7"/>
                <a:gd name="T47" fmla="*/ 9 w 9"/>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7">
                  <a:moveTo>
                    <a:pt x="6" y="7"/>
                  </a:moveTo>
                  <a:lnTo>
                    <a:pt x="6" y="7"/>
                  </a:lnTo>
                  <a:lnTo>
                    <a:pt x="4" y="7"/>
                  </a:lnTo>
                  <a:lnTo>
                    <a:pt x="1" y="6"/>
                  </a:lnTo>
                  <a:lnTo>
                    <a:pt x="0" y="4"/>
                  </a:lnTo>
                  <a:lnTo>
                    <a:pt x="1" y="1"/>
                  </a:lnTo>
                  <a:lnTo>
                    <a:pt x="5" y="0"/>
                  </a:lnTo>
                  <a:lnTo>
                    <a:pt x="8" y="1"/>
                  </a:lnTo>
                  <a:lnTo>
                    <a:pt x="9" y="3"/>
                  </a:lnTo>
                  <a:lnTo>
                    <a:pt x="9" y="5"/>
                  </a:lnTo>
                  <a:lnTo>
                    <a:pt x="9" y="7"/>
                  </a:lnTo>
                  <a:lnTo>
                    <a:pt x="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5" name="Freeform 804"/>
            <p:cNvSpPr>
              <a:spLocks/>
            </p:cNvSpPr>
            <p:nvPr/>
          </p:nvSpPr>
          <p:spPr bwMode="auto">
            <a:xfrm>
              <a:off x="6762750" y="4319588"/>
              <a:ext cx="14288" cy="12700"/>
            </a:xfrm>
            <a:custGeom>
              <a:avLst/>
              <a:gdLst>
                <a:gd name="T0" fmla="*/ 2147483647 w 10"/>
                <a:gd name="T1" fmla="*/ 2147483647 h 8"/>
                <a:gd name="T2" fmla="*/ 2147483647 w 10"/>
                <a:gd name="T3" fmla="*/ 2147483647 h 8"/>
                <a:gd name="T4" fmla="*/ 2147483647 w 10"/>
                <a:gd name="T5" fmla="*/ 2147483647 h 8"/>
                <a:gd name="T6" fmla="*/ 2147483647 w 10"/>
                <a:gd name="T7" fmla="*/ 2147483647 h 8"/>
                <a:gd name="T8" fmla="*/ 2147483647 w 10"/>
                <a:gd name="T9" fmla="*/ 2147483647 h 8"/>
                <a:gd name="T10" fmla="*/ 2147483647 w 10"/>
                <a:gd name="T11" fmla="*/ 2147483647 h 8"/>
                <a:gd name="T12" fmla="*/ 2147483647 w 10"/>
                <a:gd name="T13" fmla="*/ 2147483647 h 8"/>
                <a:gd name="T14" fmla="*/ 2147483647 w 10"/>
                <a:gd name="T15" fmla="*/ 2147483647 h 8"/>
                <a:gd name="T16" fmla="*/ 2147483647 w 10"/>
                <a:gd name="T17" fmla="*/ 2147483647 h 8"/>
                <a:gd name="T18" fmla="*/ 0 w 10"/>
                <a:gd name="T19" fmla="*/ 0 h 8"/>
                <a:gd name="T20" fmla="*/ 0 w 10"/>
                <a:gd name="T21" fmla="*/ 0 h 8"/>
                <a:gd name="T22" fmla="*/ 2147483647 w 10"/>
                <a:gd name="T23" fmla="*/ 2147483647 h 8"/>
                <a:gd name="T24" fmla="*/ 2147483647 w 10"/>
                <a:gd name="T25" fmla="*/ 2147483647 h 8"/>
                <a:gd name="T26" fmla="*/ 2147483647 w 10"/>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8"/>
                <a:gd name="T44" fmla="*/ 10 w 10"/>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8">
                  <a:moveTo>
                    <a:pt x="6" y="3"/>
                  </a:moveTo>
                  <a:lnTo>
                    <a:pt x="6" y="3"/>
                  </a:lnTo>
                  <a:lnTo>
                    <a:pt x="10" y="6"/>
                  </a:lnTo>
                  <a:lnTo>
                    <a:pt x="10" y="7"/>
                  </a:lnTo>
                  <a:lnTo>
                    <a:pt x="8" y="8"/>
                  </a:lnTo>
                  <a:lnTo>
                    <a:pt x="6" y="8"/>
                  </a:lnTo>
                  <a:lnTo>
                    <a:pt x="3" y="7"/>
                  </a:lnTo>
                  <a:lnTo>
                    <a:pt x="1" y="3"/>
                  </a:lnTo>
                  <a:lnTo>
                    <a:pt x="0" y="0"/>
                  </a:lnTo>
                  <a:lnTo>
                    <a:pt x="3" y="1"/>
                  </a:lnTo>
                  <a:lnTo>
                    <a:pt x="6"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6" name="Freeform 805"/>
            <p:cNvSpPr>
              <a:spLocks/>
            </p:cNvSpPr>
            <p:nvPr/>
          </p:nvSpPr>
          <p:spPr bwMode="auto">
            <a:xfrm>
              <a:off x="6805615" y="4364040"/>
              <a:ext cx="20637" cy="31751"/>
            </a:xfrm>
            <a:custGeom>
              <a:avLst/>
              <a:gdLst>
                <a:gd name="T0" fmla="*/ 2147483647 w 14"/>
                <a:gd name="T1" fmla="*/ 2147483647 h 20"/>
                <a:gd name="T2" fmla="*/ 2147483647 w 14"/>
                <a:gd name="T3" fmla="*/ 2147483647 h 20"/>
                <a:gd name="T4" fmla="*/ 2147483647 w 14"/>
                <a:gd name="T5" fmla="*/ 2147483647 h 20"/>
                <a:gd name="T6" fmla="*/ 2147483647 w 14"/>
                <a:gd name="T7" fmla="*/ 2147483647 h 20"/>
                <a:gd name="T8" fmla="*/ 2147483647 w 14"/>
                <a:gd name="T9" fmla="*/ 2147483647 h 20"/>
                <a:gd name="T10" fmla="*/ 2147483647 w 14"/>
                <a:gd name="T11" fmla="*/ 2147483647 h 20"/>
                <a:gd name="T12" fmla="*/ 2147483647 w 14"/>
                <a:gd name="T13" fmla="*/ 2147483647 h 20"/>
                <a:gd name="T14" fmla="*/ 2147483647 w 14"/>
                <a:gd name="T15" fmla="*/ 2147483647 h 20"/>
                <a:gd name="T16" fmla="*/ 2147483647 w 14"/>
                <a:gd name="T17" fmla="*/ 2147483647 h 20"/>
                <a:gd name="T18" fmla="*/ 0 w 14"/>
                <a:gd name="T19" fmla="*/ 2147483647 h 20"/>
                <a:gd name="T20" fmla="*/ 2147483647 w 14"/>
                <a:gd name="T21" fmla="*/ 2147483647 h 20"/>
                <a:gd name="T22" fmla="*/ 2147483647 w 14"/>
                <a:gd name="T23" fmla="*/ 0 h 20"/>
                <a:gd name="T24" fmla="*/ 2147483647 w 14"/>
                <a:gd name="T25" fmla="*/ 0 h 20"/>
                <a:gd name="T26" fmla="*/ 2147483647 w 14"/>
                <a:gd name="T27" fmla="*/ 2147483647 h 20"/>
                <a:gd name="T28" fmla="*/ 2147483647 w 14"/>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0"/>
                <a:gd name="T47" fmla="*/ 14 w 14"/>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0">
                  <a:moveTo>
                    <a:pt x="11" y="10"/>
                  </a:moveTo>
                  <a:lnTo>
                    <a:pt x="14" y="13"/>
                  </a:lnTo>
                  <a:lnTo>
                    <a:pt x="14" y="17"/>
                  </a:lnTo>
                  <a:lnTo>
                    <a:pt x="13" y="19"/>
                  </a:lnTo>
                  <a:lnTo>
                    <a:pt x="11" y="20"/>
                  </a:lnTo>
                  <a:lnTo>
                    <a:pt x="10" y="20"/>
                  </a:lnTo>
                  <a:lnTo>
                    <a:pt x="7" y="18"/>
                  </a:lnTo>
                  <a:lnTo>
                    <a:pt x="4" y="13"/>
                  </a:lnTo>
                  <a:lnTo>
                    <a:pt x="1" y="9"/>
                  </a:lnTo>
                  <a:lnTo>
                    <a:pt x="0" y="4"/>
                  </a:lnTo>
                  <a:lnTo>
                    <a:pt x="1" y="1"/>
                  </a:lnTo>
                  <a:lnTo>
                    <a:pt x="2" y="0"/>
                  </a:lnTo>
                  <a:lnTo>
                    <a:pt x="4" y="0"/>
                  </a:lnTo>
                  <a:lnTo>
                    <a:pt x="5" y="1"/>
                  </a:lnTo>
                  <a:lnTo>
                    <a:pt x="11"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7" name="Freeform 806"/>
            <p:cNvSpPr>
              <a:spLocks/>
            </p:cNvSpPr>
            <p:nvPr/>
          </p:nvSpPr>
          <p:spPr bwMode="auto">
            <a:xfrm>
              <a:off x="6869117" y="4491043"/>
              <a:ext cx="7937" cy="9525"/>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6"/>
                  </a:moveTo>
                  <a:lnTo>
                    <a:pt x="4" y="6"/>
                  </a:lnTo>
                  <a:lnTo>
                    <a:pt x="3" y="6"/>
                  </a:lnTo>
                  <a:lnTo>
                    <a:pt x="0" y="3"/>
                  </a:lnTo>
                  <a:lnTo>
                    <a:pt x="0" y="1"/>
                  </a:lnTo>
                  <a:lnTo>
                    <a:pt x="2" y="0"/>
                  </a:lnTo>
                  <a:lnTo>
                    <a:pt x="3" y="0"/>
                  </a:lnTo>
                  <a:lnTo>
                    <a:pt x="5" y="1"/>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8" name="Freeform 807"/>
            <p:cNvSpPr>
              <a:spLocks/>
            </p:cNvSpPr>
            <p:nvPr/>
          </p:nvSpPr>
          <p:spPr bwMode="auto">
            <a:xfrm>
              <a:off x="6804025" y="4362452"/>
              <a:ext cx="20638" cy="31751"/>
            </a:xfrm>
            <a:custGeom>
              <a:avLst/>
              <a:gdLst>
                <a:gd name="T0" fmla="*/ 2147483647 w 14"/>
                <a:gd name="T1" fmla="*/ 2147483647 h 20"/>
                <a:gd name="T2" fmla="*/ 2147483647 w 14"/>
                <a:gd name="T3" fmla="*/ 2147483647 h 20"/>
                <a:gd name="T4" fmla="*/ 2147483647 w 14"/>
                <a:gd name="T5" fmla="*/ 2147483647 h 20"/>
                <a:gd name="T6" fmla="*/ 2147483647 w 14"/>
                <a:gd name="T7" fmla="*/ 2147483647 h 20"/>
                <a:gd name="T8" fmla="*/ 2147483647 w 14"/>
                <a:gd name="T9" fmla="*/ 2147483647 h 20"/>
                <a:gd name="T10" fmla="*/ 2147483647 w 14"/>
                <a:gd name="T11" fmla="*/ 2147483647 h 20"/>
                <a:gd name="T12" fmla="*/ 2147483647 w 14"/>
                <a:gd name="T13" fmla="*/ 2147483647 h 20"/>
                <a:gd name="T14" fmla="*/ 2147483647 w 14"/>
                <a:gd name="T15" fmla="*/ 2147483647 h 20"/>
                <a:gd name="T16" fmla="*/ 2147483647 w 14"/>
                <a:gd name="T17" fmla="*/ 2147483647 h 20"/>
                <a:gd name="T18" fmla="*/ 2147483647 w 14"/>
                <a:gd name="T19" fmla="*/ 2147483647 h 20"/>
                <a:gd name="T20" fmla="*/ 2147483647 w 14"/>
                <a:gd name="T21" fmla="*/ 2147483647 h 20"/>
                <a:gd name="T22" fmla="*/ 0 w 14"/>
                <a:gd name="T23" fmla="*/ 2147483647 h 20"/>
                <a:gd name="T24" fmla="*/ 0 w 14"/>
                <a:gd name="T25" fmla="*/ 2147483647 h 20"/>
                <a:gd name="T26" fmla="*/ 2147483647 w 14"/>
                <a:gd name="T27" fmla="*/ 2147483647 h 20"/>
                <a:gd name="T28" fmla="*/ 2147483647 w 14"/>
                <a:gd name="T29" fmla="*/ 0 h 20"/>
                <a:gd name="T30" fmla="*/ 2147483647 w 14"/>
                <a:gd name="T31" fmla="*/ 0 h 20"/>
                <a:gd name="T32" fmla="*/ 2147483647 w 14"/>
                <a:gd name="T33" fmla="*/ 2147483647 h 20"/>
                <a:gd name="T34" fmla="*/ 2147483647 w 14"/>
                <a:gd name="T35" fmla="*/ 2147483647 h 20"/>
                <a:gd name="T36" fmla="*/ 2147483647 w 14"/>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20"/>
                <a:gd name="T59" fmla="*/ 14 w 14"/>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20">
                  <a:moveTo>
                    <a:pt x="11" y="10"/>
                  </a:moveTo>
                  <a:lnTo>
                    <a:pt x="11" y="10"/>
                  </a:lnTo>
                  <a:lnTo>
                    <a:pt x="14" y="13"/>
                  </a:lnTo>
                  <a:lnTo>
                    <a:pt x="14" y="17"/>
                  </a:lnTo>
                  <a:lnTo>
                    <a:pt x="12" y="19"/>
                  </a:lnTo>
                  <a:lnTo>
                    <a:pt x="11" y="20"/>
                  </a:lnTo>
                  <a:lnTo>
                    <a:pt x="10" y="20"/>
                  </a:lnTo>
                  <a:lnTo>
                    <a:pt x="7" y="18"/>
                  </a:lnTo>
                  <a:lnTo>
                    <a:pt x="3" y="13"/>
                  </a:lnTo>
                  <a:lnTo>
                    <a:pt x="1" y="8"/>
                  </a:lnTo>
                  <a:lnTo>
                    <a:pt x="0" y="4"/>
                  </a:lnTo>
                  <a:lnTo>
                    <a:pt x="1" y="1"/>
                  </a:lnTo>
                  <a:lnTo>
                    <a:pt x="2" y="0"/>
                  </a:lnTo>
                  <a:lnTo>
                    <a:pt x="3" y="0"/>
                  </a:lnTo>
                  <a:lnTo>
                    <a:pt x="5" y="1"/>
                  </a:lnTo>
                  <a:lnTo>
                    <a:pt x="11"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09" name="Freeform 808"/>
            <p:cNvSpPr>
              <a:spLocks/>
            </p:cNvSpPr>
            <p:nvPr/>
          </p:nvSpPr>
          <p:spPr bwMode="auto">
            <a:xfrm>
              <a:off x="6867525" y="4489450"/>
              <a:ext cx="7938" cy="7938"/>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2147483647 w 5"/>
                <a:gd name="T9" fmla="*/ 2147483647 h 5"/>
                <a:gd name="T10" fmla="*/ 2147483647 w 5"/>
                <a:gd name="T11" fmla="*/ 2147483647 h 5"/>
                <a:gd name="T12" fmla="*/ 0 w 5"/>
                <a:gd name="T13" fmla="*/ 2147483647 h 5"/>
                <a:gd name="T14" fmla="*/ 0 w 5"/>
                <a:gd name="T15" fmla="*/ 2147483647 h 5"/>
                <a:gd name="T16" fmla="*/ 2147483647 w 5"/>
                <a:gd name="T17" fmla="*/ 0 h 5"/>
                <a:gd name="T18" fmla="*/ 2147483647 w 5"/>
                <a:gd name="T19" fmla="*/ 0 h 5"/>
                <a:gd name="T20" fmla="*/ 2147483647 w 5"/>
                <a:gd name="T21" fmla="*/ 0 h 5"/>
                <a:gd name="T22" fmla="*/ 2147483647 w 5"/>
                <a:gd name="T23" fmla="*/ 2147483647 h 5"/>
                <a:gd name="T24" fmla="*/ 2147483647 w 5"/>
                <a:gd name="T25" fmla="*/ 2147483647 h 5"/>
                <a:gd name="T26" fmla="*/ 2147483647 w 5"/>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5"/>
                <a:gd name="T44" fmla="*/ 5 w 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5">
                  <a:moveTo>
                    <a:pt x="5" y="5"/>
                  </a:moveTo>
                  <a:lnTo>
                    <a:pt x="5" y="5"/>
                  </a:lnTo>
                  <a:lnTo>
                    <a:pt x="4" y="5"/>
                  </a:lnTo>
                  <a:lnTo>
                    <a:pt x="3" y="5"/>
                  </a:lnTo>
                  <a:lnTo>
                    <a:pt x="0" y="3"/>
                  </a:lnTo>
                  <a:lnTo>
                    <a:pt x="0" y="1"/>
                  </a:lnTo>
                  <a:lnTo>
                    <a:pt x="1" y="0"/>
                  </a:lnTo>
                  <a:lnTo>
                    <a:pt x="3" y="0"/>
                  </a:lnTo>
                  <a:lnTo>
                    <a:pt x="5" y="1"/>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0" name="Freeform 809"/>
            <p:cNvSpPr>
              <a:spLocks/>
            </p:cNvSpPr>
            <p:nvPr/>
          </p:nvSpPr>
          <p:spPr bwMode="auto">
            <a:xfrm>
              <a:off x="6880227" y="4510091"/>
              <a:ext cx="6350" cy="6350"/>
            </a:xfrm>
            <a:custGeom>
              <a:avLst/>
              <a:gdLst>
                <a:gd name="T0" fmla="*/ 2147483647 w 5"/>
                <a:gd name="T1" fmla="*/ 2147483647 h 4"/>
                <a:gd name="T2" fmla="*/ 2147483647 w 5"/>
                <a:gd name="T3" fmla="*/ 2147483647 h 4"/>
                <a:gd name="T4" fmla="*/ 2147483647 w 5"/>
                <a:gd name="T5" fmla="*/ 2147483647 h 4"/>
                <a:gd name="T6" fmla="*/ 0 w 5"/>
                <a:gd name="T7" fmla="*/ 2147483647 h 4"/>
                <a:gd name="T8" fmla="*/ 0 w 5"/>
                <a:gd name="T9" fmla="*/ 0 h 4"/>
                <a:gd name="T10" fmla="*/ 2147483647 w 5"/>
                <a:gd name="T11" fmla="*/ 0 h 4"/>
                <a:gd name="T12" fmla="*/ 2147483647 w 5"/>
                <a:gd name="T13" fmla="*/ 2147483647 h 4"/>
                <a:gd name="T14" fmla="*/ 2147483647 w 5"/>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3"/>
                  </a:moveTo>
                  <a:lnTo>
                    <a:pt x="2" y="4"/>
                  </a:lnTo>
                  <a:lnTo>
                    <a:pt x="1" y="3"/>
                  </a:lnTo>
                  <a:lnTo>
                    <a:pt x="0" y="1"/>
                  </a:lnTo>
                  <a:lnTo>
                    <a:pt x="0" y="0"/>
                  </a:lnTo>
                  <a:lnTo>
                    <a:pt x="2" y="0"/>
                  </a:lnTo>
                  <a:lnTo>
                    <a:pt x="5" y="1"/>
                  </a:lnTo>
                  <a:lnTo>
                    <a:pt x="5"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1" name="Freeform 810"/>
            <p:cNvSpPr>
              <a:spLocks/>
            </p:cNvSpPr>
            <p:nvPr/>
          </p:nvSpPr>
          <p:spPr bwMode="auto">
            <a:xfrm>
              <a:off x="6970714" y="4424366"/>
              <a:ext cx="9525"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6" y="4"/>
                  </a:moveTo>
                  <a:lnTo>
                    <a:pt x="6" y="6"/>
                  </a:lnTo>
                  <a:lnTo>
                    <a:pt x="5" y="7"/>
                  </a:lnTo>
                  <a:lnTo>
                    <a:pt x="2" y="7"/>
                  </a:lnTo>
                  <a:lnTo>
                    <a:pt x="0" y="5"/>
                  </a:lnTo>
                  <a:lnTo>
                    <a:pt x="0" y="3"/>
                  </a:lnTo>
                  <a:lnTo>
                    <a:pt x="1" y="0"/>
                  </a:lnTo>
                  <a:lnTo>
                    <a:pt x="2" y="0"/>
                  </a:lnTo>
                  <a:lnTo>
                    <a:pt x="4" y="1"/>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2" name="Freeform 811"/>
            <p:cNvSpPr>
              <a:spLocks/>
            </p:cNvSpPr>
            <p:nvPr/>
          </p:nvSpPr>
          <p:spPr bwMode="auto">
            <a:xfrm>
              <a:off x="6877050" y="4506918"/>
              <a:ext cx="7938" cy="7937"/>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0 w 5"/>
                <a:gd name="T9" fmla="*/ 2147483647 h 5"/>
                <a:gd name="T10" fmla="*/ 0 w 5"/>
                <a:gd name="T11" fmla="*/ 2147483647 h 5"/>
                <a:gd name="T12" fmla="*/ 0 w 5"/>
                <a:gd name="T13" fmla="*/ 0 h 5"/>
                <a:gd name="T14" fmla="*/ 0 w 5"/>
                <a:gd name="T15" fmla="*/ 0 h 5"/>
                <a:gd name="T16" fmla="*/ 2147483647 w 5"/>
                <a:gd name="T17" fmla="*/ 0 h 5"/>
                <a:gd name="T18" fmla="*/ 2147483647 w 5"/>
                <a:gd name="T19" fmla="*/ 2147483647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5" y="4"/>
                  </a:moveTo>
                  <a:lnTo>
                    <a:pt x="5" y="4"/>
                  </a:lnTo>
                  <a:lnTo>
                    <a:pt x="3" y="5"/>
                  </a:lnTo>
                  <a:lnTo>
                    <a:pt x="2" y="4"/>
                  </a:lnTo>
                  <a:lnTo>
                    <a:pt x="0" y="2"/>
                  </a:lnTo>
                  <a:lnTo>
                    <a:pt x="0" y="0"/>
                  </a:lnTo>
                  <a:lnTo>
                    <a:pt x="3" y="0"/>
                  </a:lnTo>
                  <a:lnTo>
                    <a:pt x="5" y="2"/>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3" name="Freeform 812"/>
            <p:cNvSpPr>
              <a:spLocks/>
            </p:cNvSpPr>
            <p:nvPr/>
          </p:nvSpPr>
          <p:spPr bwMode="auto">
            <a:xfrm>
              <a:off x="6969126" y="4422778"/>
              <a:ext cx="9525" cy="11113"/>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6" y="4"/>
                  </a:moveTo>
                  <a:lnTo>
                    <a:pt x="6" y="4"/>
                  </a:lnTo>
                  <a:lnTo>
                    <a:pt x="6" y="6"/>
                  </a:lnTo>
                  <a:lnTo>
                    <a:pt x="5" y="7"/>
                  </a:lnTo>
                  <a:lnTo>
                    <a:pt x="2" y="7"/>
                  </a:lnTo>
                  <a:lnTo>
                    <a:pt x="0" y="5"/>
                  </a:lnTo>
                  <a:lnTo>
                    <a:pt x="0" y="2"/>
                  </a:lnTo>
                  <a:lnTo>
                    <a:pt x="1" y="0"/>
                  </a:lnTo>
                  <a:lnTo>
                    <a:pt x="2" y="0"/>
                  </a:lnTo>
                  <a:lnTo>
                    <a:pt x="3" y="1"/>
                  </a:lnTo>
                  <a:lnTo>
                    <a:pt x="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4" name="Freeform 813"/>
            <p:cNvSpPr>
              <a:spLocks/>
            </p:cNvSpPr>
            <p:nvPr/>
          </p:nvSpPr>
          <p:spPr bwMode="auto">
            <a:xfrm>
              <a:off x="6970713" y="4402142"/>
              <a:ext cx="19050" cy="22225"/>
            </a:xfrm>
            <a:custGeom>
              <a:avLst/>
              <a:gdLst>
                <a:gd name="T0" fmla="*/ 2147483647 w 13"/>
                <a:gd name="T1" fmla="*/ 2147483647 h 14"/>
                <a:gd name="T2" fmla="*/ 2147483647 w 13"/>
                <a:gd name="T3" fmla="*/ 2147483647 h 14"/>
                <a:gd name="T4" fmla="*/ 2147483647 w 13"/>
                <a:gd name="T5" fmla="*/ 2147483647 h 14"/>
                <a:gd name="T6" fmla="*/ 2147483647 w 13"/>
                <a:gd name="T7" fmla="*/ 2147483647 h 14"/>
                <a:gd name="T8" fmla="*/ 2147483647 w 13"/>
                <a:gd name="T9" fmla="*/ 0 h 14"/>
                <a:gd name="T10" fmla="*/ 2147483647 w 13"/>
                <a:gd name="T11" fmla="*/ 0 h 14"/>
                <a:gd name="T12" fmla="*/ 0 w 13"/>
                <a:gd name="T13" fmla="*/ 2147483647 h 14"/>
                <a:gd name="T14" fmla="*/ 0 w 13"/>
                <a:gd name="T15" fmla="*/ 2147483647 h 14"/>
                <a:gd name="T16" fmla="*/ 0 w 13"/>
                <a:gd name="T17" fmla="*/ 2147483647 h 14"/>
                <a:gd name="T18" fmla="*/ 2147483647 w 13"/>
                <a:gd name="T19" fmla="*/ 2147483647 h 14"/>
                <a:gd name="T20" fmla="*/ 2147483647 w 13"/>
                <a:gd name="T21" fmla="*/ 2147483647 h 14"/>
                <a:gd name="T22" fmla="*/ 2147483647 w 13"/>
                <a:gd name="T23" fmla="*/ 2147483647 h 14"/>
                <a:gd name="T24" fmla="*/ 2147483647 w 13"/>
                <a:gd name="T25" fmla="*/ 2147483647 h 14"/>
                <a:gd name="T26" fmla="*/ 2147483647 w 13"/>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4"/>
                <a:gd name="T44" fmla="*/ 13 w 13"/>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4">
                  <a:moveTo>
                    <a:pt x="13" y="11"/>
                  </a:moveTo>
                  <a:lnTo>
                    <a:pt x="13" y="10"/>
                  </a:lnTo>
                  <a:lnTo>
                    <a:pt x="11" y="8"/>
                  </a:lnTo>
                  <a:lnTo>
                    <a:pt x="7" y="4"/>
                  </a:lnTo>
                  <a:lnTo>
                    <a:pt x="2" y="0"/>
                  </a:lnTo>
                  <a:lnTo>
                    <a:pt x="1" y="0"/>
                  </a:lnTo>
                  <a:lnTo>
                    <a:pt x="0" y="1"/>
                  </a:lnTo>
                  <a:lnTo>
                    <a:pt x="0" y="2"/>
                  </a:lnTo>
                  <a:lnTo>
                    <a:pt x="0" y="4"/>
                  </a:lnTo>
                  <a:lnTo>
                    <a:pt x="4" y="11"/>
                  </a:lnTo>
                  <a:lnTo>
                    <a:pt x="6" y="14"/>
                  </a:lnTo>
                  <a:lnTo>
                    <a:pt x="10" y="14"/>
                  </a:lnTo>
                  <a:lnTo>
                    <a:pt x="11" y="13"/>
                  </a:lnTo>
                  <a:lnTo>
                    <a:pt x="13"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5" name="Freeform 814"/>
            <p:cNvSpPr>
              <a:spLocks/>
            </p:cNvSpPr>
            <p:nvPr/>
          </p:nvSpPr>
          <p:spPr bwMode="auto">
            <a:xfrm>
              <a:off x="6997704" y="4452938"/>
              <a:ext cx="41275" cy="49212"/>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0 w 28"/>
                <a:gd name="T9" fmla="*/ 2147483647 h 31"/>
                <a:gd name="T10" fmla="*/ 0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0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2147483647 w 28"/>
                <a:gd name="T39" fmla="*/ 2147483647 h 31"/>
                <a:gd name="T40" fmla="*/ 2147483647 w 28"/>
                <a:gd name="T41" fmla="*/ 2147483647 h 31"/>
                <a:gd name="T42" fmla="*/ 2147483647 w 28"/>
                <a:gd name="T43" fmla="*/ 2147483647 h 31"/>
                <a:gd name="T44" fmla="*/ 2147483647 w 28"/>
                <a:gd name="T45" fmla="*/ 2147483647 h 31"/>
                <a:gd name="T46" fmla="*/ 2147483647 w 28"/>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31"/>
                <a:gd name="T74" fmla="*/ 28 w 28"/>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31">
                  <a:moveTo>
                    <a:pt x="19" y="28"/>
                  </a:moveTo>
                  <a:lnTo>
                    <a:pt x="11" y="21"/>
                  </a:lnTo>
                  <a:lnTo>
                    <a:pt x="5" y="14"/>
                  </a:lnTo>
                  <a:lnTo>
                    <a:pt x="2" y="12"/>
                  </a:lnTo>
                  <a:lnTo>
                    <a:pt x="0" y="11"/>
                  </a:lnTo>
                  <a:lnTo>
                    <a:pt x="0" y="8"/>
                  </a:lnTo>
                  <a:lnTo>
                    <a:pt x="1" y="7"/>
                  </a:lnTo>
                  <a:lnTo>
                    <a:pt x="3" y="6"/>
                  </a:lnTo>
                  <a:lnTo>
                    <a:pt x="5" y="4"/>
                  </a:lnTo>
                  <a:lnTo>
                    <a:pt x="10" y="1"/>
                  </a:lnTo>
                  <a:lnTo>
                    <a:pt x="11" y="0"/>
                  </a:lnTo>
                  <a:lnTo>
                    <a:pt x="14" y="1"/>
                  </a:lnTo>
                  <a:lnTo>
                    <a:pt x="16" y="2"/>
                  </a:lnTo>
                  <a:lnTo>
                    <a:pt x="16" y="4"/>
                  </a:lnTo>
                  <a:lnTo>
                    <a:pt x="16" y="13"/>
                  </a:lnTo>
                  <a:lnTo>
                    <a:pt x="17" y="17"/>
                  </a:lnTo>
                  <a:lnTo>
                    <a:pt x="21" y="19"/>
                  </a:lnTo>
                  <a:lnTo>
                    <a:pt x="24" y="21"/>
                  </a:lnTo>
                  <a:lnTo>
                    <a:pt x="26" y="24"/>
                  </a:lnTo>
                  <a:lnTo>
                    <a:pt x="28" y="26"/>
                  </a:lnTo>
                  <a:lnTo>
                    <a:pt x="26" y="30"/>
                  </a:lnTo>
                  <a:lnTo>
                    <a:pt x="25" y="31"/>
                  </a:lnTo>
                  <a:lnTo>
                    <a:pt x="22" y="31"/>
                  </a:lnTo>
                  <a:lnTo>
                    <a:pt x="19"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6" name="Freeform 815"/>
            <p:cNvSpPr>
              <a:spLocks/>
            </p:cNvSpPr>
            <p:nvPr/>
          </p:nvSpPr>
          <p:spPr bwMode="auto">
            <a:xfrm>
              <a:off x="6969129" y="4400554"/>
              <a:ext cx="17463" cy="22225"/>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0 h 14"/>
                <a:gd name="T14" fmla="*/ 2147483647 w 12"/>
                <a:gd name="T15" fmla="*/ 0 h 14"/>
                <a:gd name="T16" fmla="*/ 2147483647 w 12"/>
                <a:gd name="T17" fmla="*/ 0 h 14"/>
                <a:gd name="T18" fmla="*/ 0 w 12"/>
                <a:gd name="T19" fmla="*/ 2147483647 h 14"/>
                <a:gd name="T20" fmla="*/ 0 w 12"/>
                <a:gd name="T21" fmla="*/ 2147483647 h 14"/>
                <a:gd name="T22" fmla="*/ 0 w 12"/>
                <a:gd name="T23" fmla="*/ 2147483647 h 14"/>
                <a:gd name="T24" fmla="*/ 0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2147483647 w 12"/>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2" y="11"/>
                  </a:moveTo>
                  <a:lnTo>
                    <a:pt x="12" y="11"/>
                  </a:lnTo>
                  <a:lnTo>
                    <a:pt x="12" y="9"/>
                  </a:lnTo>
                  <a:lnTo>
                    <a:pt x="11" y="8"/>
                  </a:lnTo>
                  <a:lnTo>
                    <a:pt x="7" y="3"/>
                  </a:lnTo>
                  <a:lnTo>
                    <a:pt x="2" y="0"/>
                  </a:lnTo>
                  <a:lnTo>
                    <a:pt x="1" y="0"/>
                  </a:lnTo>
                  <a:lnTo>
                    <a:pt x="0" y="1"/>
                  </a:lnTo>
                  <a:lnTo>
                    <a:pt x="0" y="2"/>
                  </a:lnTo>
                  <a:lnTo>
                    <a:pt x="0" y="3"/>
                  </a:lnTo>
                  <a:lnTo>
                    <a:pt x="3" y="11"/>
                  </a:lnTo>
                  <a:lnTo>
                    <a:pt x="6" y="14"/>
                  </a:lnTo>
                  <a:lnTo>
                    <a:pt x="10" y="14"/>
                  </a:lnTo>
                  <a:lnTo>
                    <a:pt x="11" y="13"/>
                  </a:lnTo>
                  <a:lnTo>
                    <a:pt x="12"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7" name="Freeform 816"/>
            <p:cNvSpPr>
              <a:spLocks/>
            </p:cNvSpPr>
            <p:nvPr/>
          </p:nvSpPr>
          <p:spPr bwMode="auto">
            <a:xfrm>
              <a:off x="6994529" y="4451353"/>
              <a:ext cx="41275" cy="49214"/>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0 w 28"/>
                <a:gd name="T13" fmla="*/ 2147483647 h 31"/>
                <a:gd name="T14" fmla="*/ 0 w 28"/>
                <a:gd name="T15" fmla="*/ 2147483647 h 31"/>
                <a:gd name="T16" fmla="*/ 0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0 h 31"/>
                <a:gd name="T32" fmla="*/ 2147483647 w 28"/>
                <a:gd name="T33" fmla="*/ 2147483647 h 31"/>
                <a:gd name="T34" fmla="*/ 2147483647 w 28"/>
                <a:gd name="T35" fmla="*/ 2147483647 h 31"/>
                <a:gd name="T36" fmla="*/ 2147483647 w 28"/>
                <a:gd name="T37" fmla="*/ 2147483647 h 31"/>
                <a:gd name="T38" fmla="*/ 2147483647 w 28"/>
                <a:gd name="T39" fmla="*/ 2147483647 h 31"/>
                <a:gd name="T40" fmla="*/ 2147483647 w 28"/>
                <a:gd name="T41" fmla="*/ 2147483647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2147483647 w 28"/>
                <a:gd name="T51" fmla="*/ 2147483647 h 31"/>
                <a:gd name="T52" fmla="*/ 2147483647 w 28"/>
                <a:gd name="T53" fmla="*/ 2147483647 h 31"/>
                <a:gd name="T54" fmla="*/ 2147483647 w 28"/>
                <a:gd name="T55" fmla="*/ 2147483647 h 31"/>
                <a:gd name="T56" fmla="*/ 2147483647 w 28"/>
                <a:gd name="T57" fmla="*/ 2147483647 h 31"/>
                <a:gd name="T58" fmla="*/ 2147483647 w 28"/>
                <a:gd name="T59" fmla="*/ 2147483647 h 31"/>
                <a:gd name="T60" fmla="*/ 2147483647 w 28"/>
                <a:gd name="T61" fmla="*/ 2147483647 h 31"/>
                <a:gd name="T62" fmla="*/ 2147483647 w 28"/>
                <a:gd name="T63" fmla="*/ 2147483647 h 31"/>
                <a:gd name="T64" fmla="*/ 2147483647 w 28"/>
                <a:gd name="T65" fmla="*/ 2147483647 h 3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
                <a:gd name="T100" fmla="*/ 0 h 31"/>
                <a:gd name="T101" fmla="*/ 28 w 28"/>
                <a:gd name="T102" fmla="*/ 31 h 3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 h="31">
                  <a:moveTo>
                    <a:pt x="19" y="28"/>
                  </a:moveTo>
                  <a:lnTo>
                    <a:pt x="19" y="28"/>
                  </a:lnTo>
                  <a:lnTo>
                    <a:pt x="12" y="21"/>
                  </a:lnTo>
                  <a:lnTo>
                    <a:pt x="5" y="14"/>
                  </a:lnTo>
                  <a:lnTo>
                    <a:pt x="3" y="12"/>
                  </a:lnTo>
                  <a:lnTo>
                    <a:pt x="0" y="11"/>
                  </a:lnTo>
                  <a:lnTo>
                    <a:pt x="0" y="8"/>
                  </a:lnTo>
                  <a:lnTo>
                    <a:pt x="2" y="7"/>
                  </a:lnTo>
                  <a:lnTo>
                    <a:pt x="4" y="6"/>
                  </a:lnTo>
                  <a:lnTo>
                    <a:pt x="5" y="3"/>
                  </a:lnTo>
                  <a:lnTo>
                    <a:pt x="10" y="1"/>
                  </a:lnTo>
                  <a:lnTo>
                    <a:pt x="12" y="0"/>
                  </a:lnTo>
                  <a:lnTo>
                    <a:pt x="14" y="1"/>
                  </a:lnTo>
                  <a:lnTo>
                    <a:pt x="17" y="2"/>
                  </a:lnTo>
                  <a:lnTo>
                    <a:pt x="17" y="3"/>
                  </a:lnTo>
                  <a:lnTo>
                    <a:pt x="17" y="13"/>
                  </a:lnTo>
                  <a:lnTo>
                    <a:pt x="18" y="16"/>
                  </a:lnTo>
                  <a:lnTo>
                    <a:pt x="22" y="19"/>
                  </a:lnTo>
                  <a:lnTo>
                    <a:pt x="24" y="21"/>
                  </a:lnTo>
                  <a:lnTo>
                    <a:pt x="27" y="24"/>
                  </a:lnTo>
                  <a:lnTo>
                    <a:pt x="28" y="26"/>
                  </a:lnTo>
                  <a:lnTo>
                    <a:pt x="27" y="29"/>
                  </a:lnTo>
                  <a:lnTo>
                    <a:pt x="26" y="31"/>
                  </a:lnTo>
                  <a:lnTo>
                    <a:pt x="23" y="31"/>
                  </a:lnTo>
                  <a:lnTo>
                    <a:pt x="19" y="2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8" name="Freeform 817"/>
            <p:cNvSpPr>
              <a:spLocks/>
            </p:cNvSpPr>
            <p:nvPr/>
          </p:nvSpPr>
          <p:spPr bwMode="auto">
            <a:xfrm>
              <a:off x="6753227" y="4235453"/>
              <a:ext cx="260350" cy="357188"/>
            </a:xfrm>
            <a:custGeom>
              <a:avLst/>
              <a:gdLst>
                <a:gd name="T0" fmla="*/ 2147483647 w 178"/>
                <a:gd name="T1" fmla="*/ 2147483647 h 225"/>
                <a:gd name="T2" fmla="*/ 2147483647 w 178"/>
                <a:gd name="T3" fmla="*/ 2147483647 h 225"/>
                <a:gd name="T4" fmla="*/ 2147483647 w 178"/>
                <a:gd name="T5" fmla="*/ 2147483647 h 225"/>
                <a:gd name="T6" fmla="*/ 2147483647 w 178"/>
                <a:gd name="T7" fmla="*/ 2147483647 h 225"/>
                <a:gd name="T8" fmla="*/ 2147483647 w 178"/>
                <a:gd name="T9" fmla="*/ 2147483647 h 225"/>
                <a:gd name="T10" fmla="*/ 2147483647 w 178"/>
                <a:gd name="T11" fmla="*/ 2147483647 h 225"/>
                <a:gd name="T12" fmla="*/ 2147483647 w 178"/>
                <a:gd name="T13" fmla="*/ 2147483647 h 225"/>
                <a:gd name="T14" fmla="*/ 2147483647 w 178"/>
                <a:gd name="T15" fmla="*/ 2147483647 h 225"/>
                <a:gd name="T16" fmla="*/ 2147483647 w 178"/>
                <a:gd name="T17" fmla="*/ 2147483647 h 225"/>
                <a:gd name="T18" fmla="*/ 2147483647 w 178"/>
                <a:gd name="T19" fmla="*/ 2147483647 h 225"/>
                <a:gd name="T20" fmla="*/ 2147483647 w 178"/>
                <a:gd name="T21" fmla="*/ 2147483647 h 225"/>
                <a:gd name="T22" fmla="*/ 2147483647 w 178"/>
                <a:gd name="T23" fmla="*/ 2147483647 h 225"/>
                <a:gd name="T24" fmla="*/ 2147483647 w 178"/>
                <a:gd name="T25" fmla="*/ 2147483647 h 225"/>
                <a:gd name="T26" fmla="*/ 2147483647 w 178"/>
                <a:gd name="T27" fmla="*/ 2147483647 h 225"/>
                <a:gd name="T28" fmla="*/ 2147483647 w 178"/>
                <a:gd name="T29" fmla="*/ 2147483647 h 225"/>
                <a:gd name="T30" fmla="*/ 2147483647 w 178"/>
                <a:gd name="T31" fmla="*/ 2147483647 h 225"/>
                <a:gd name="T32" fmla="*/ 2147483647 w 178"/>
                <a:gd name="T33" fmla="*/ 2147483647 h 225"/>
                <a:gd name="T34" fmla="*/ 2147483647 w 178"/>
                <a:gd name="T35" fmla="*/ 2147483647 h 225"/>
                <a:gd name="T36" fmla="*/ 0 w 178"/>
                <a:gd name="T37" fmla="*/ 2147483647 h 225"/>
                <a:gd name="T38" fmla="*/ 2147483647 w 178"/>
                <a:gd name="T39" fmla="*/ 0 h 225"/>
                <a:gd name="T40" fmla="*/ 2147483647 w 178"/>
                <a:gd name="T41" fmla="*/ 2147483647 h 225"/>
                <a:gd name="T42" fmla="*/ 2147483647 w 178"/>
                <a:gd name="T43" fmla="*/ 2147483647 h 225"/>
                <a:gd name="T44" fmla="*/ 2147483647 w 178"/>
                <a:gd name="T45" fmla="*/ 2147483647 h 225"/>
                <a:gd name="T46" fmla="*/ 2147483647 w 178"/>
                <a:gd name="T47" fmla="*/ 2147483647 h 225"/>
                <a:gd name="T48" fmla="*/ 2147483647 w 178"/>
                <a:gd name="T49" fmla="*/ 2147483647 h 225"/>
                <a:gd name="T50" fmla="*/ 2147483647 w 178"/>
                <a:gd name="T51" fmla="*/ 2147483647 h 225"/>
                <a:gd name="T52" fmla="*/ 2147483647 w 178"/>
                <a:gd name="T53" fmla="*/ 2147483647 h 225"/>
                <a:gd name="T54" fmla="*/ 2147483647 w 178"/>
                <a:gd name="T55" fmla="*/ 2147483647 h 225"/>
                <a:gd name="T56" fmla="*/ 2147483647 w 178"/>
                <a:gd name="T57" fmla="*/ 2147483647 h 225"/>
                <a:gd name="T58" fmla="*/ 2147483647 w 178"/>
                <a:gd name="T59" fmla="*/ 2147483647 h 225"/>
                <a:gd name="T60" fmla="*/ 2147483647 w 178"/>
                <a:gd name="T61" fmla="*/ 2147483647 h 225"/>
                <a:gd name="T62" fmla="*/ 2147483647 w 178"/>
                <a:gd name="T63" fmla="*/ 2147483647 h 225"/>
                <a:gd name="T64" fmla="*/ 2147483647 w 178"/>
                <a:gd name="T65" fmla="*/ 2147483647 h 225"/>
                <a:gd name="T66" fmla="*/ 2147483647 w 178"/>
                <a:gd name="T67" fmla="*/ 2147483647 h 225"/>
                <a:gd name="T68" fmla="*/ 2147483647 w 178"/>
                <a:gd name="T69" fmla="*/ 2147483647 h 225"/>
                <a:gd name="T70" fmla="*/ 2147483647 w 178"/>
                <a:gd name="T71" fmla="*/ 2147483647 h 225"/>
                <a:gd name="T72" fmla="*/ 2147483647 w 178"/>
                <a:gd name="T73" fmla="*/ 2147483647 h 225"/>
                <a:gd name="T74" fmla="*/ 2147483647 w 178"/>
                <a:gd name="T75" fmla="*/ 2147483647 h 225"/>
                <a:gd name="T76" fmla="*/ 2147483647 w 178"/>
                <a:gd name="T77" fmla="*/ 2147483647 h 225"/>
                <a:gd name="T78" fmla="*/ 2147483647 w 178"/>
                <a:gd name="T79" fmla="*/ 2147483647 h 225"/>
                <a:gd name="T80" fmla="*/ 2147483647 w 178"/>
                <a:gd name="T81" fmla="*/ 2147483647 h 225"/>
                <a:gd name="T82" fmla="*/ 2147483647 w 178"/>
                <a:gd name="T83" fmla="*/ 2147483647 h 225"/>
                <a:gd name="T84" fmla="*/ 2147483647 w 178"/>
                <a:gd name="T85" fmla="*/ 2147483647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8"/>
                <a:gd name="T130" fmla="*/ 0 h 225"/>
                <a:gd name="T131" fmla="*/ 178 w 178"/>
                <a:gd name="T132" fmla="*/ 225 h 2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8" h="225">
                  <a:moveTo>
                    <a:pt x="169" y="214"/>
                  </a:moveTo>
                  <a:lnTo>
                    <a:pt x="167" y="213"/>
                  </a:lnTo>
                  <a:lnTo>
                    <a:pt x="165" y="213"/>
                  </a:lnTo>
                  <a:lnTo>
                    <a:pt x="163" y="214"/>
                  </a:lnTo>
                  <a:lnTo>
                    <a:pt x="162" y="218"/>
                  </a:lnTo>
                  <a:lnTo>
                    <a:pt x="162" y="219"/>
                  </a:lnTo>
                  <a:lnTo>
                    <a:pt x="160" y="219"/>
                  </a:lnTo>
                  <a:lnTo>
                    <a:pt x="156" y="221"/>
                  </a:lnTo>
                  <a:lnTo>
                    <a:pt x="153" y="224"/>
                  </a:lnTo>
                  <a:lnTo>
                    <a:pt x="151" y="225"/>
                  </a:lnTo>
                  <a:lnTo>
                    <a:pt x="150" y="225"/>
                  </a:lnTo>
                  <a:lnTo>
                    <a:pt x="149" y="221"/>
                  </a:lnTo>
                  <a:lnTo>
                    <a:pt x="146" y="218"/>
                  </a:lnTo>
                  <a:lnTo>
                    <a:pt x="142" y="214"/>
                  </a:lnTo>
                  <a:lnTo>
                    <a:pt x="140" y="211"/>
                  </a:lnTo>
                  <a:lnTo>
                    <a:pt x="137" y="207"/>
                  </a:lnTo>
                  <a:lnTo>
                    <a:pt x="130" y="200"/>
                  </a:lnTo>
                  <a:lnTo>
                    <a:pt x="123" y="192"/>
                  </a:lnTo>
                  <a:lnTo>
                    <a:pt x="116" y="184"/>
                  </a:lnTo>
                  <a:lnTo>
                    <a:pt x="108" y="177"/>
                  </a:lnTo>
                  <a:lnTo>
                    <a:pt x="103" y="171"/>
                  </a:lnTo>
                  <a:lnTo>
                    <a:pt x="99" y="168"/>
                  </a:lnTo>
                  <a:lnTo>
                    <a:pt x="98" y="165"/>
                  </a:lnTo>
                  <a:lnTo>
                    <a:pt x="97" y="162"/>
                  </a:lnTo>
                  <a:lnTo>
                    <a:pt x="95" y="149"/>
                  </a:lnTo>
                  <a:lnTo>
                    <a:pt x="94" y="143"/>
                  </a:lnTo>
                  <a:lnTo>
                    <a:pt x="92" y="137"/>
                  </a:lnTo>
                  <a:lnTo>
                    <a:pt x="89" y="131"/>
                  </a:lnTo>
                  <a:lnTo>
                    <a:pt x="87" y="125"/>
                  </a:lnTo>
                  <a:lnTo>
                    <a:pt x="84" y="119"/>
                  </a:lnTo>
                  <a:lnTo>
                    <a:pt x="80" y="115"/>
                  </a:lnTo>
                  <a:lnTo>
                    <a:pt x="78" y="112"/>
                  </a:lnTo>
                  <a:lnTo>
                    <a:pt x="75" y="111"/>
                  </a:lnTo>
                  <a:lnTo>
                    <a:pt x="70" y="103"/>
                  </a:lnTo>
                  <a:lnTo>
                    <a:pt x="66" y="94"/>
                  </a:lnTo>
                  <a:lnTo>
                    <a:pt x="61" y="77"/>
                  </a:lnTo>
                  <a:lnTo>
                    <a:pt x="61" y="75"/>
                  </a:lnTo>
                  <a:lnTo>
                    <a:pt x="60" y="74"/>
                  </a:lnTo>
                  <a:lnTo>
                    <a:pt x="55" y="73"/>
                  </a:lnTo>
                  <a:lnTo>
                    <a:pt x="50" y="73"/>
                  </a:lnTo>
                  <a:lnTo>
                    <a:pt x="46" y="72"/>
                  </a:lnTo>
                  <a:lnTo>
                    <a:pt x="43" y="71"/>
                  </a:lnTo>
                  <a:lnTo>
                    <a:pt x="42" y="68"/>
                  </a:lnTo>
                  <a:lnTo>
                    <a:pt x="40" y="61"/>
                  </a:lnTo>
                  <a:lnTo>
                    <a:pt x="35" y="55"/>
                  </a:lnTo>
                  <a:lnTo>
                    <a:pt x="32" y="48"/>
                  </a:lnTo>
                  <a:lnTo>
                    <a:pt x="29" y="41"/>
                  </a:lnTo>
                  <a:lnTo>
                    <a:pt x="28" y="40"/>
                  </a:lnTo>
                  <a:lnTo>
                    <a:pt x="27" y="40"/>
                  </a:lnTo>
                  <a:lnTo>
                    <a:pt x="26" y="36"/>
                  </a:lnTo>
                  <a:lnTo>
                    <a:pt x="24" y="35"/>
                  </a:lnTo>
                  <a:lnTo>
                    <a:pt x="13" y="29"/>
                  </a:lnTo>
                  <a:lnTo>
                    <a:pt x="9" y="24"/>
                  </a:lnTo>
                  <a:lnTo>
                    <a:pt x="4" y="21"/>
                  </a:lnTo>
                  <a:lnTo>
                    <a:pt x="2" y="16"/>
                  </a:lnTo>
                  <a:lnTo>
                    <a:pt x="0" y="11"/>
                  </a:lnTo>
                  <a:lnTo>
                    <a:pt x="0" y="7"/>
                  </a:lnTo>
                  <a:lnTo>
                    <a:pt x="2" y="1"/>
                  </a:lnTo>
                  <a:lnTo>
                    <a:pt x="4" y="0"/>
                  </a:lnTo>
                  <a:lnTo>
                    <a:pt x="5" y="0"/>
                  </a:lnTo>
                  <a:lnTo>
                    <a:pt x="10" y="2"/>
                  </a:lnTo>
                  <a:lnTo>
                    <a:pt x="15" y="5"/>
                  </a:lnTo>
                  <a:lnTo>
                    <a:pt x="19" y="10"/>
                  </a:lnTo>
                  <a:lnTo>
                    <a:pt x="22" y="11"/>
                  </a:lnTo>
                  <a:lnTo>
                    <a:pt x="23" y="11"/>
                  </a:lnTo>
                  <a:lnTo>
                    <a:pt x="31" y="11"/>
                  </a:lnTo>
                  <a:lnTo>
                    <a:pt x="37" y="13"/>
                  </a:lnTo>
                  <a:lnTo>
                    <a:pt x="43" y="14"/>
                  </a:lnTo>
                  <a:lnTo>
                    <a:pt x="50" y="17"/>
                  </a:lnTo>
                  <a:lnTo>
                    <a:pt x="57" y="23"/>
                  </a:lnTo>
                  <a:lnTo>
                    <a:pt x="62" y="30"/>
                  </a:lnTo>
                  <a:lnTo>
                    <a:pt x="74" y="45"/>
                  </a:lnTo>
                  <a:lnTo>
                    <a:pt x="79" y="52"/>
                  </a:lnTo>
                  <a:lnTo>
                    <a:pt x="85" y="58"/>
                  </a:lnTo>
                  <a:lnTo>
                    <a:pt x="92" y="64"/>
                  </a:lnTo>
                  <a:lnTo>
                    <a:pt x="101" y="68"/>
                  </a:lnTo>
                  <a:lnTo>
                    <a:pt x="104" y="72"/>
                  </a:lnTo>
                  <a:lnTo>
                    <a:pt x="108" y="75"/>
                  </a:lnTo>
                  <a:lnTo>
                    <a:pt x="112" y="80"/>
                  </a:lnTo>
                  <a:lnTo>
                    <a:pt x="117" y="84"/>
                  </a:lnTo>
                  <a:lnTo>
                    <a:pt x="120" y="87"/>
                  </a:lnTo>
                  <a:lnTo>
                    <a:pt x="121" y="88"/>
                  </a:lnTo>
                  <a:lnTo>
                    <a:pt x="122" y="90"/>
                  </a:lnTo>
                  <a:lnTo>
                    <a:pt x="125" y="90"/>
                  </a:lnTo>
                  <a:lnTo>
                    <a:pt x="127" y="90"/>
                  </a:lnTo>
                  <a:lnTo>
                    <a:pt x="129" y="91"/>
                  </a:lnTo>
                  <a:lnTo>
                    <a:pt x="130" y="93"/>
                  </a:lnTo>
                  <a:lnTo>
                    <a:pt x="131" y="101"/>
                  </a:lnTo>
                  <a:lnTo>
                    <a:pt x="132" y="104"/>
                  </a:lnTo>
                  <a:lnTo>
                    <a:pt x="136" y="104"/>
                  </a:lnTo>
                  <a:lnTo>
                    <a:pt x="137" y="104"/>
                  </a:lnTo>
                  <a:lnTo>
                    <a:pt x="139" y="105"/>
                  </a:lnTo>
                  <a:lnTo>
                    <a:pt x="139" y="106"/>
                  </a:lnTo>
                  <a:lnTo>
                    <a:pt x="140" y="115"/>
                  </a:lnTo>
                  <a:lnTo>
                    <a:pt x="140" y="116"/>
                  </a:lnTo>
                  <a:lnTo>
                    <a:pt x="137" y="117"/>
                  </a:lnTo>
                  <a:lnTo>
                    <a:pt x="136" y="118"/>
                  </a:lnTo>
                  <a:lnTo>
                    <a:pt x="134" y="120"/>
                  </a:lnTo>
                  <a:lnTo>
                    <a:pt x="134" y="122"/>
                  </a:lnTo>
                  <a:lnTo>
                    <a:pt x="134" y="124"/>
                  </a:lnTo>
                  <a:lnTo>
                    <a:pt x="134" y="125"/>
                  </a:lnTo>
                  <a:lnTo>
                    <a:pt x="134" y="129"/>
                  </a:lnTo>
                  <a:lnTo>
                    <a:pt x="135" y="130"/>
                  </a:lnTo>
                  <a:lnTo>
                    <a:pt x="144" y="135"/>
                  </a:lnTo>
                  <a:lnTo>
                    <a:pt x="151" y="142"/>
                  </a:lnTo>
                  <a:lnTo>
                    <a:pt x="154" y="145"/>
                  </a:lnTo>
                  <a:lnTo>
                    <a:pt x="156" y="149"/>
                  </a:lnTo>
                  <a:lnTo>
                    <a:pt x="156" y="154"/>
                  </a:lnTo>
                  <a:lnTo>
                    <a:pt x="156" y="158"/>
                  </a:lnTo>
                  <a:lnTo>
                    <a:pt x="158" y="161"/>
                  </a:lnTo>
                  <a:lnTo>
                    <a:pt x="160" y="161"/>
                  </a:lnTo>
                  <a:lnTo>
                    <a:pt x="163" y="161"/>
                  </a:lnTo>
                  <a:lnTo>
                    <a:pt x="164" y="160"/>
                  </a:lnTo>
                  <a:lnTo>
                    <a:pt x="167" y="160"/>
                  </a:lnTo>
                  <a:lnTo>
                    <a:pt x="172" y="164"/>
                  </a:lnTo>
                  <a:lnTo>
                    <a:pt x="175" y="165"/>
                  </a:lnTo>
                  <a:lnTo>
                    <a:pt x="178" y="168"/>
                  </a:lnTo>
                  <a:lnTo>
                    <a:pt x="178" y="169"/>
                  </a:lnTo>
                  <a:lnTo>
                    <a:pt x="178" y="171"/>
                  </a:lnTo>
                  <a:lnTo>
                    <a:pt x="177" y="175"/>
                  </a:lnTo>
                  <a:lnTo>
                    <a:pt x="175" y="179"/>
                  </a:lnTo>
                  <a:lnTo>
                    <a:pt x="174" y="183"/>
                  </a:lnTo>
                  <a:lnTo>
                    <a:pt x="174" y="199"/>
                  </a:lnTo>
                  <a:lnTo>
                    <a:pt x="175" y="215"/>
                  </a:lnTo>
                  <a:lnTo>
                    <a:pt x="175" y="218"/>
                  </a:lnTo>
                  <a:lnTo>
                    <a:pt x="175" y="220"/>
                  </a:lnTo>
                  <a:lnTo>
                    <a:pt x="174" y="220"/>
                  </a:lnTo>
                  <a:lnTo>
                    <a:pt x="170" y="219"/>
                  </a:lnTo>
                  <a:lnTo>
                    <a:pt x="169" y="216"/>
                  </a:lnTo>
                  <a:lnTo>
                    <a:pt x="169" y="2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19" name="Freeform 818"/>
            <p:cNvSpPr>
              <a:spLocks/>
            </p:cNvSpPr>
            <p:nvPr/>
          </p:nvSpPr>
          <p:spPr bwMode="auto">
            <a:xfrm>
              <a:off x="6842126" y="4435479"/>
              <a:ext cx="20638" cy="30163"/>
            </a:xfrm>
            <a:custGeom>
              <a:avLst/>
              <a:gdLst>
                <a:gd name="T0" fmla="*/ 2147483647 w 14"/>
                <a:gd name="T1" fmla="*/ 2147483647 h 19"/>
                <a:gd name="T2" fmla="*/ 0 w 14"/>
                <a:gd name="T3" fmla="*/ 2147483647 h 19"/>
                <a:gd name="T4" fmla="*/ 0 w 14"/>
                <a:gd name="T5" fmla="*/ 2147483647 h 19"/>
                <a:gd name="T6" fmla="*/ 0 w 14"/>
                <a:gd name="T7" fmla="*/ 2147483647 h 19"/>
                <a:gd name="T8" fmla="*/ 2147483647 w 14"/>
                <a:gd name="T9" fmla="*/ 0 h 19"/>
                <a:gd name="T10" fmla="*/ 2147483647 w 14"/>
                <a:gd name="T11" fmla="*/ 2147483647 h 19"/>
                <a:gd name="T12" fmla="*/ 2147483647 w 14"/>
                <a:gd name="T13" fmla="*/ 2147483647 h 19"/>
                <a:gd name="T14" fmla="*/ 2147483647 w 14"/>
                <a:gd name="T15" fmla="*/ 2147483647 h 19"/>
                <a:gd name="T16" fmla="*/ 2147483647 w 14"/>
                <a:gd name="T17" fmla="*/ 2147483647 h 19"/>
                <a:gd name="T18" fmla="*/ 2147483647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9"/>
                <a:gd name="T47" fmla="*/ 14 w 14"/>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9">
                  <a:moveTo>
                    <a:pt x="4" y="12"/>
                  </a:moveTo>
                  <a:lnTo>
                    <a:pt x="0" y="5"/>
                  </a:lnTo>
                  <a:lnTo>
                    <a:pt x="0" y="3"/>
                  </a:lnTo>
                  <a:lnTo>
                    <a:pt x="0" y="2"/>
                  </a:lnTo>
                  <a:lnTo>
                    <a:pt x="3" y="0"/>
                  </a:lnTo>
                  <a:lnTo>
                    <a:pt x="5" y="2"/>
                  </a:lnTo>
                  <a:lnTo>
                    <a:pt x="8" y="3"/>
                  </a:lnTo>
                  <a:lnTo>
                    <a:pt x="12" y="7"/>
                  </a:lnTo>
                  <a:lnTo>
                    <a:pt x="14" y="13"/>
                  </a:lnTo>
                  <a:lnTo>
                    <a:pt x="14" y="17"/>
                  </a:lnTo>
                  <a:lnTo>
                    <a:pt x="13" y="18"/>
                  </a:lnTo>
                  <a:lnTo>
                    <a:pt x="12" y="19"/>
                  </a:lnTo>
                  <a:lnTo>
                    <a:pt x="10" y="19"/>
                  </a:lnTo>
                  <a:lnTo>
                    <a:pt x="8" y="17"/>
                  </a:lnTo>
                  <a:lnTo>
                    <a:pt x="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0" name="Freeform 819"/>
            <p:cNvSpPr>
              <a:spLocks/>
            </p:cNvSpPr>
            <p:nvPr/>
          </p:nvSpPr>
          <p:spPr bwMode="auto">
            <a:xfrm>
              <a:off x="6751639" y="4232279"/>
              <a:ext cx="260350" cy="358775"/>
            </a:xfrm>
            <a:custGeom>
              <a:avLst/>
              <a:gdLst>
                <a:gd name="T0" fmla="*/ 2147483647 w 178"/>
                <a:gd name="T1" fmla="*/ 2147483647 h 226"/>
                <a:gd name="T2" fmla="*/ 2147483647 w 178"/>
                <a:gd name="T3" fmla="*/ 2147483647 h 226"/>
                <a:gd name="T4" fmla="*/ 2147483647 w 178"/>
                <a:gd name="T5" fmla="*/ 2147483647 h 226"/>
                <a:gd name="T6" fmla="*/ 2147483647 w 178"/>
                <a:gd name="T7" fmla="*/ 2147483647 h 226"/>
                <a:gd name="T8" fmla="*/ 2147483647 w 178"/>
                <a:gd name="T9" fmla="*/ 2147483647 h 226"/>
                <a:gd name="T10" fmla="*/ 2147483647 w 178"/>
                <a:gd name="T11" fmla="*/ 2147483647 h 226"/>
                <a:gd name="T12" fmla="*/ 2147483647 w 178"/>
                <a:gd name="T13" fmla="*/ 2147483647 h 226"/>
                <a:gd name="T14" fmla="*/ 2147483647 w 178"/>
                <a:gd name="T15" fmla="*/ 2147483647 h 226"/>
                <a:gd name="T16" fmla="*/ 2147483647 w 178"/>
                <a:gd name="T17" fmla="*/ 2147483647 h 226"/>
                <a:gd name="T18" fmla="*/ 2147483647 w 178"/>
                <a:gd name="T19" fmla="*/ 2147483647 h 226"/>
                <a:gd name="T20" fmla="*/ 2147483647 w 178"/>
                <a:gd name="T21" fmla="*/ 2147483647 h 226"/>
                <a:gd name="T22" fmla="*/ 2147483647 w 178"/>
                <a:gd name="T23" fmla="*/ 2147483647 h 226"/>
                <a:gd name="T24" fmla="*/ 2147483647 w 178"/>
                <a:gd name="T25" fmla="*/ 2147483647 h 226"/>
                <a:gd name="T26" fmla="*/ 2147483647 w 178"/>
                <a:gd name="T27" fmla="*/ 2147483647 h 226"/>
                <a:gd name="T28" fmla="*/ 2147483647 w 178"/>
                <a:gd name="T29" fmla="*/ 2147483647 h 226"/>
                <a:gd name="T30" fmla="*/ 2147483647 w 178"/>
                <a:gd name="T31" fmla="*/ 2147483647 h 226"/>
                <a:gd name="T32" fmla="*/ 2147483647 w 178"/>
                <a:gd name="T33" fmla="*/ 2147483647 h 226"/>
                <a:gd name="T34" fmla="*/ 2147483647 w 178"/>
                <a:gd name="T35" fmla="*/ 2147483647 h 226"/>
                <a:gd name="T36" fmla="*/ 2147483647 w 178"/>
                <a:gd name="T37" fmla="*/ 2147483647 h 226"/>
                <a:gd name="T38" fmla="*/ 2147483647 w 178"/>
                <a:gd name="T39" fmla="*/ 2147483647 h 226"/>
                <a:gd name="T40" fmla="*/ 2147483647 w 178"/>
                <a:gd name="T41" fmla="*/ 2147483647 h 226"/>
                <a:gd name="T42" fmla="*/ 2147483647 w 178"/>
                <a:gd name="T43" fmla="*/ 2147483647 h 226"/>
                <a:gd name="T44" fmla="*/ 2147483647 w 178"/>
                <a:gd name="T45" fmla="*/ 2147483647 h 226"/>
                <a:gd name="T46" fmla="*/ 2147483647 w 178"/>
                <a:gd name="T47" fmla="*/ 2147483647 h 226"/>
                <a:gd name="T48" fmla="*/ 0 w 178"/>
                <a:gd name="T49" fmla="*/ 2147483647 h 226"/>
                <a:gd name="T50" fmla="*/ 2147483647 w 178"/>
                <a:gd name="T51" fmla="*/ 2147483647 h 226"/>
                <a:gd name="T52" fmla="*/ 2147483647 w 178"/>
                <a:gd name="T53" fmla="*/ 2147483647 h 226"/>
                <a:gd name="T54" fmla="*/ 2147483647 w 178"/>
                <a:gd name="T55" fmla="*/ 2147483647 h 226"/>
                <a:gd name="T56" fmla="*/ 2147483647 w 178"/>
                <a:gd name="T57" fmla="*/ 2147483647 h 226"/>
                <a:gd name="T58" fmla="*/ 2147483647 w 178"/>
                <a:gd name="T59" fmla="*/ 2147483647 h 226"/>
                <a:gd name="T60" fmla="*/ 2147483647 w 178"/>
                <a:gd name="T61" fmla="*/ 2147483647 h 226"/>
                <a:gd name="T62" fmla="*/ 2147483647 w 178"/>
                <a:gd name="T63" fmla="*/ 2147483647 h 226"/>
                <a:gd name="T64" fmla="*/ 2147483647 w 178"/>
                <a:gd name="T65" fmla="*/ 2147483647 h 226"/>
                <a:gd name="T66" fmla="*/ 2147483647 w 178"/>
                <a:gd name="T67" fmla="*/ 2147483647 h 226"/>
                <a:gd name="T68" fmla="*/ 2147483647 w 178"/>
                <a:gd name="T69" fmla="*/ 2147483647 h 226"/>
                <a:gd name="T70" fmla="*/ 2147483647 w 178"/>
                <a:gd name="T71" fmla="*/ 2147483647 h 226"/>
                <a:gd name="T72" fmla="*/ 2147483647 w 178"/>
                <a:gd name="T73" fmla="*/ 2147483647 h 226"/>
                <a:gd name="T74" fmla="*/ 2147483647 w 178"/>
                <a:gd name="T75" fmla="*/ 2147483647 h 226"/>
                <a:gd name="T76" fmla="*/ 2147483647 w 178"/>
                <a:gd name="T77" fmla="*/ 2147483647 h 226"/>
                <a:gd name="T78" fmla="*/ 2147483647 w 178"/>
                <a:gd name="T79" fmla="*/ 2147483647 h 226"/>
                <a:gd name="T80" fmla="*/ 2147483647 w 178"/>
                <a:gd name="T81" fmla="*/ 2147483647 h 226"/>
                <a:gd name="T82" fmla="*/ 2147483647 w 178"/>
                <a:gd name="T83" fmla="*/ 2147483647 h 226"/>
                <a:gd name="T84" fmla="*/ 2147483647 w 178"/>
                <a:gd name="T85" fmla="*/ 2147483647 h 226"/>
                <a:gd name="T86" fmla="*/ 2147483647 w 178"/>
                <a:gd name="T87" fmla="*/ 2147483647 h 226"/>
                <a:gd name="T88" fmla="*/ 2147483647 w 178"/>
                <a:gd name="T89" fmla="*/ 2147483647 h 226"/>
                <a:gd name="T90" fmla="*/ 2147483647 w 178"/>
                <a:gd name="T91" fmla="*/ 2147483647 h 226"/>
                <a:gd name="T92" fmla="*/ 2147483647 w 178"/>
                <a:gd name="T93" fmla="*/ 2147483647 h 226"/>
                <a:gd name="T94" fmla="*/ 2147483647 w 178"/>
                <a:gd name="T95" fmla="*/ 2147483647 h 226"/>
                <a:gd name="T96" fmla="*/ 2147483647 w 178"/>
                <a:gd name="T97" fmla="*/ 2147483647 h 226"/>
                <a:gd name="T98" fmla="*/ 2147483647 w 178"/>
                <a:gd name="T99" fmla="*/ 2147483647 h 226"/>
                <a:gd name="T100" fmla="*/ 2147483647 w 178"/>
                <a:gd name="T101" fmla="*/ 2147483647 h 226"/>
                <a:gd name="T102" fmla="*/ 2147483647 w 178"/>
                <a:gd name="T103" fmla="*/ 2147483647 h 226"/>
                <a:gd name="T104" fmla="*/ 2147483647 w 178"/>
                <a:gd name="T105" fmla="*/ 2147483647 h 226"/>
                <a:gd name="T106" fmla="*/ 2147483647 w 178"/>
                <a:gd name="T107" fmla="*/ 2147483647 h 226"/>
                <a:gd name="T108" fmla="*/ 2147483647 w 178"/>
                <a:gd name="T109" fmla="*/ 2147483647 h 226"/>
                <a:gd name="T110" fmla="*/ 2147483647 w 178"/>
                <a:gd name="T111" fmla="*/ 2147483647 h 226"/>
                <a:gd name="T112" fmla="*/ 2147483647 w 178"/>
                <a:gd name="T113" fmla="*/ 2147483647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8"/>
                <a:gd name="T172" fmla="*/ 0 h 226"/>
                <a:gd name="T173" fmla="*/ 178 w 178"/>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8" h="226">
                  <a:moveTo>
                    <a:pt x="169" y="215"/>
                  </a:moveTo>
                  <a:lnTo>
                    <a:pt x="169" y="215"/>
                  </a:lnTo>
                  <a:lnTo>
                    <a:pt x="166" y="214"/>
                  </a:lnTo>
                  <a:lnTo>
                    <a:pt x="165" y="214"/>
                  </a:lnTo>
                  <a:lnTo>
                    <a:pt x="163" y="215"/>
                  </a:lnTo>
                  <a:lnTo>
                    <a:pt x="161" y="218"/>
                  </a:lnTo>
                  <a:lnTo>
                    <a:pt x="161" y="220"/>
                  </a:lnTo>
                  <a:lnTo>
                    <a:pt x="160" y="220"/>
                  </a:lnTo>
                  <a:lnTo>
                    <a:pt x="156" y="222"/>
                  </a:lnTo>
                  <a:lnTo>
                    <a:pt x="152" y="224"/>
                  </a:lnTo>
                  <a:lnTo>
                    <a:pt x="151" y="226"/>
                  </a:lnTo>
                  <a:lnTo>
                    <a:pt x="150" y="226"/>
                  </a:lnTo>
                  <a:lnTo>
                    <a:pt x="149" y="222"/>
                  </a:lnTo>
                  <a:lnTo>
                    <a:pt x="146" y="218"/>
                  </a:lnTo>
                  <a:lnTo>
                    <a:pt x="142" y="215"/>
                  </a:lnTo>
                  <a:lnTo>
                    <a:pt x="140" y="211"/>
                  </a:lnTo>
                  <a:lnTo>
                    <a:pt x="137" y="208"/>
                  </a:lnTo>
                  <a:lnTo>
                    <a:pt x="130" y="201"/>
                  </a:lnTo>
                  <a:lnTo>
                    <a:pt x="123" y="192"/>
                  </a:lnTo>
                  <a:lnTo>
                    <a:pt x="116" y="185"/>
                  </a:lnTo>
                  <a:lnTo>
                    <a:pt x="108" y="178"/>
                  </a:lnTo>
                  <a:lnTo>
                    <a:pt x="103" y="172"/>
                  </a:lnTo>
                  <a:lnTo>
                    <a:pt x="99" y="169"/>
                  </a:lnTo>
                  <a:lnTo>
                    <a:pt x="98" y="166"/>
                  </a:lnTo>
                  <a:lnTo>
                    <a:pt x="96" y="163"/>
                  </a:lnTo>
                  <a:lnTo>
                    <a:pt x="95" y="150"/>
                  </a:lnTo>
                  <a:lnTo>
                    <a:pt x="94" y="144"/>
                  </a:lnTo>
                  <a:lnTo>
                    <a:pt x="91" y="138"/>
                  </a:lnTo>
                  <a:lnTo>
                    <a:pt x="89" y="132"/>
                  </a:lnTo>
                  <a:lnTo>
                    <a:pt x="86" y="126"/>
                  </a:lnTo>
                  <a:lnTo>
                    <a:pt x="84" y="120"/>
                  </a:lnTo>
                  <a:lnTo>
                    <a:pt x="80" y="115"/>
                  </a:lnTo>
                  <a:lnTo>
                    <a:pt x="77" y="113"/>
                  </a:lnTo>
                  <a:lnTo>
                    <a:pt x="75" y="112"/>
                  </a:lnTo>
                  <a:lnTo>
                    <a:pt x="70" y="103"/>
                  </a:lnTo>
                  <a:lnTo>
                    <a:pt x="66" y="95"/>
                  </a:lnTo>
                  <a:lnTo>
                    <a:pt x="61" y="77"/>
                  </a:lnTo>
                  <a:lnTo>
                    <a:pt x="61" y="76"/>
                  </a:lnTo>
                  <a:lnTo>
                    <a:pt x="60" y="75"/>
                  </a:lnTo>
                  <a:lnTo>
                    <a:pt x="55" y="74"/>
                  </a:lnTo>
                  <a:lnTo>
                    <a:pt x="50" y="74"/>
                  </a:lnTo>
                  <a:lnTo>
                    <a:pt x="46" y="73"/>
                  </a:lnTo>
                  <a:lnTo>
                    <a:pt x="43" y="71"/>
                  </a:lnTo>
                  <a:lnTo>
                    <a:pt x="42" y="69"/>
                  </a:lnTo>
                  <a:lnTo>
                    <a:pt x="39" y="62"/>
                  </a:lnTo>
                  <a:lnTo>
                    <a:pt x="34" y="56"/>
                  </a:lnTo>
                  <a:lnTo>
                    <a:pt x="32" y="49"/>
                  </a:lnTo>
                  <a:lnTo>
                    <a:pt x="29" y="42"/>
                  </a:lnTo>
                  <a:lnTo>
                    <a:pt x="28" y="41"/>
                  </a:lnTo>
                  <a:lnTo>
                    <a:pt x="27" y="41"/>
                  </a:lnTo>
                  <a:lnTo>
                    <a:pt x="25" y="37"/>
                  </a:lnTo>
                  <a:lnTo>
                    <a:pt x="24" y="36"/>
                  </a:lnTo>
                  <a:lnTo>
                    <a:pt x="13" y="30"/>
                  </a:lnTo>
                  <a:lnTo>
                    <a:pt x="9" y="25"/>
                  </a:lnTo>
                  <a:lnTo>
                    <a:pt x="4" y="22"/>
                  </a:lnTo>
                  <a:lnTo>
                    <a:pt x="1" y="17"/>
                  </a:lnTo>
                  <a:lnTo>
                    <a:pt x="0" y="12"/>
                  </a:lnTo>
                  <a:lnTo>
                    <a:pt x="0" y="7"/>
                  </a:lnTo>
                  <a:lnTo>
                    <a:pt x="1" y="2"/>
                  </a:lnTo>
                  <a:lnTo>
                    <a:pt x="4" y="0"/>
                  </a:lnTo>
                  <a:lnTo>
                    <a:pt x="5" y="0"/>
                  </a:lnTo>
                  <a:lnTo>
                    <a:pt x="10" y="3"/>
                  </a:lnTo>
                  <a:lnTo>
                    <a:pt x="15" y="6"/>
                  </a:lnTo>
                  <a:lnTo>
                    <a:pt x="19" y="11"/>
                  </a:lnTo>
                  <a:lnTo>
                    <a:pt x="22" y="12"/>
                  </a:lnTo>
                  <a:lnTo>
                    <a:pt x="23" y="12"/>
                  </a:lnTo>
                  <a:lnTo>
                    <a:pt x="30" y="12"/>
                  </a:lnTo>
                  <a:lnTo>
                    <a:pt x="37" y="13"/>
                  </a:lnTo>
                  <a:lnTo>
                    <a:pt x="43" y="15"/>
                  </a:lnTo>
                  <a:lnTo>
                    <a:pt x="50" y="18"/>
                  </a:lnTo>
                  <a:lnTo>
                    <a:pt x="57" y="24"/>
                  </a:lnTo>
                  <a:lnTo>
                    <a:pt x="62" y="31"/>
                  </a:lnTo>
                  <a:lnTo>
                    <a:pt x="74" y="45"/>
                  </a:lnTo>
                  <a:lnTo>
                    <a:pt x="79" y="52"/>
                  </a:lnTo>
                  <a:lnTo>
                    <a:pt x="85" y="58"/>
                  </a:lnTo>
                  <a:lnTo>
                    <a:pt x="91" y="64"/>
                  </a:lnTo>
                  <a:lnTo>
                    <a:pt x="100" y="69"/>
                  </a:lnTo>
                  <a:lnTo>
                    <a:pt x="104" y="73"/>
                  </a:lnTo>
                  <a:lnTo>
                    <a:pt x="108" y="76"/>
                  </a:lnTo>
                  <a:lnTo>
                    <a:pt x="112" y="81"/>
                  </a:lnTo>
                  <a:lnTo>
                    <a:pt x="117" y="84"/>
                  </a:lnTo>
                  <a:lnTo>
                    <a:pt x="119" y="88"/>
                  </a:lnTo>
                  <a:lnTo>
                    <a:pt x="121" y="89"/>
                  </a:lnTo>
                  <a:lnTo>
                    <a:pt x="122" y="90"/>
                  </a:lnTo>
                  <a:lnTo>
                    <a:pt x="124" y="90"/>
                  </a:lnTo>
                  <a:lnTo>
                    <a:pt x="127" y="90"/>
                  </a:lnTo>
                  <a:lnTo>
                    <a:pt x="128" y="92"/>
                  </a:lnTo>
                  <a:lnTo>
                    <a:pt x="130" y="94"/>
                  </a:lnTo>
                  <a:lnTo>
                    <a:pt x="131" y="102"/>
                  </a:lnTo>
                  <a:lnTo>
                    <a:pt x="132" y="105"/>
                  </a:lnTo>
                  <a:lnTo>
                    <a:pt x="136" y="105"/>
                  </a:lnTo>
                  <a:lnTo>
                    <a:pt x="137" y="105"/>
                  </a:lnTo>
                  <a:lnTo>
                    <a:pt x="138" y="106"/>
                  </a:lnTo>
                  <a:lnTo>
                    <a:pt x="138" y="107"/>
                  </a:lnTo>
                  <a:lnTo>
                    <a:pt x="140" y="115"/>
                  </a:lnTo>
                  <a:lnTo>
                    <a:pt x="140" y="117"/>
                  </a:lnTo>
                  <a:lnTo>
                    <a:pt x="137" y="118"/>
                  </a:lnTo>
                  <a:lnTo>
                    <a:pt x="136" y="119"/>
                  </a:lnTo>
                  <a:lnTo>
                    <a:pt x="133" y="121"/>
                  </a:lnTo>
                  <a:lnTo>
                    <a:pt x="133" y="122"/>
                  </a:lnTo>
                  <a:lnTo>
                    <a:pt x="133" y="125"/>
                  </a:lnTo>
                  <a:lnTo>
                    <a:pt x="133" y="126"/>
                  </a:lnTo>
                  <a:lnTo>
                    <a:pt x="133" y="130"/>
                  </a:lnTo>
                  <a:lnTo>
                    <a:pt x="135" y="131"/>
                  </a:lnTo>
                  <a:lnTo>
                    <a:pt x="143" y="135"/>
                  </a:lnTo>
                  <a:lnTo>
                    <a:pt x="151" y="143"/>
                  </a:lnTo>
                  <a:lnTo>
                    <a:pt x="154" y="146"/>
                  </a:lnTo>
                  <a:lnTo>
                    <a:pt x="156" y="150"/>
                  </a:lnTo>
                  <a:lnTo>
                    <a:pt x="156" y="154"/>
                  </a:lnTo>
                  <a:lnTo>
                    <a:pt x="156" y="159"/>
                  </a:lnTo>
                  <a:lnTo>
                    <a:pt x="157" y="162"/>
                  </a:lnTo>
                  <a:lnTo>
                    <a:pt x="160" y="162"/>
                  </a:lnTo>
                  <a:lnTo>
                    <a:pt x="163" y="162"/>
                  </a:lnTo>
                  <a:lnTo>
                    <a:pt x="164" y="160"/>
                  </a:lnTo>
                  <a:lnTo>
                    <a:pt x="166" y="160"/>
                  </a:lnTo>
                  <a:lnTo>
                    <a:pt x="171" y="165"/>
                  </a:lnTo>
                  <a:lnTo>
                    <a:pt x="175" y="166"/>
                  </a:lnTo>
                  <a:lnTo>
                    <a:pt x="178" y="169"/>
                  </a:lnTo>
                  <a:lnTo>
                    <a:pt x="178" y="170"/>
                  </a:lnTo>
                  <a:lnTo>
                    <a:pt x="178" y="172"/>
                  </a:lnTo>
                  <a:lnTo>
                    <a:pt x="176" y="176"/>
                  </a:lnTo>
                  <a:lnTo>
                    <a:pt x="175" y="179"/>
                  </a:lnTo>
                  <a:lnTo>
                    <a:pt x="174" y="184"/>
                  </a:lnTo>
                  <a:lnTo>
                    <a:pt x="174" y="199"/>
                  </a:lnTo>
                  <a:lnTo>
                    <a:pt x="175" y="216"/>
                  </a:lnTo>
                  <a:lnTo>
                    <a:pt x="175" y="218"/>
                  </a:lnTo>
                  <a:lnTo>
                    <a:pt x="175" y="221"/>
                  </a:lnTo>
                  <a:lnTo>
                    <a:pt x="174" y="221"/>
                  </a:lnTo>
                  <a:lnTo>
                    <a:pt x="170" y="220"/>
                  </a:lnTo>
                  <a:lnTo>
                    <a:pt x="169" y="217"/>
                  </a:lnTo>
                  <a:lnTo>
                    <a:pt x="169" y="2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1" name="Freeform 820"/>
            <p:cNvSpPr>
              <a:spLocks/>
            </p:cNvSpPr>
            <p:nvPr/>
          </p:nvSpPr>
          <p:spPr bwMode="auto">
            <a:xfrm>
              <a:off x="6840540" y="4433888"/>
              <a:ext cx="20637" cy="30162"/>
            </a:xfrm>
            <a:custGeom>
              <a:avLst/>
              <a:gdLst>
                <a:gd name="T0" fmla="*/ 2147483647 w 14"/>
                <a:gd name="T1" fmla="*/ 2147483647 h 19"/>
                <a:gd name="T2" fmla="*/ 2147483647 w 14"/>
                <a:gd name="T3" fmla="*/ 2147483647 h 19"/>
                <a:gd name="T4" fmla="*/ 0 w 14"/>
                <a:gd name="T5" fmla="*/ 2147483647 h 19"/>
                <a:gd name="T6" fmla="*/ 0 w 14"/>
                <a:gd name="T7" fmla="*/ 2147483647 h 19"/>
                <a:gd name="T8" fmla="*/ 0 w 14"/>
                <a:gd name="T9" fmla="*/ 2147483647 h 19"/>
                <a:gd name="T10" fmla="*/ 2147483647 w 14"/>
                <a:gd name="T11" fmla="*/ 0 h 19"/>
                <a:gd name="T12" fmla="*/ 2147483647 w 14"/>
                <a:gd name="T13" fmla="*/ 0 h 19"/>
                <a:gd name="T14" fmla="*/ 2147483647 w 14"/>
                <a:gd name="T15" fmla="*/ 2147483647 h 19"/>
                <a:gd name="T16" fmla="*/ 2147483647 w 14"/>
                <a:gd name="T17" fmla="*/ 2147483647 h 19"/>
                <a:gd name="T18" fmla="*/ 2147483647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2147483647 w 14"/>
                <a:gd name="T37" fmla="*/ 2147483647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9"/>
                <a:gd name="T59" fmla="*/ 14 w 14"/>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9">
                  <a:moveTo>
                    <a:pt x="4" y="12"/>
                  </a:moveTo>
                  <a:lnTo>
                    <a:pt x="4" y="12"/>
                  </a:lnTo>
                  <a:lnTo>
                    <a:pt x="0" y="5"/>
                  </a:lnTo>
                  <a:lnTo>
                    <a:pt x="0" y="3"/>
                  </a:lnTo>
                  <a:lnTo>
                    <a:pt x="0" y="1"/>
                  </a:lnTo>
                  <a:lnTo>
                    <a:pt x="2" y="0"/>
                  </a:lnTo>
                  <a:lnTo>
                    <a:pt x="5" y="1"/>
                  </a:lnTo>
                  <a:lnTo>
                    <a:pt x="8" y="3"/>
                  </a:lnTo>
                  <a:lnTo>
                    <a:pt x="11" y="7"/>
                  </a:lnTo>
                  <a:lnTo>
                    <a:pt x="14" y="13"/>
                  </a:lnTo>
                  <a:lnTo>
                    <a:pt x="14" y="17"/>
                  </a:lnTo>
                  <a:lnTo>
                    <a:pt x="13" y="18"/>
                  </a:lnTo>
                  <a:lnTo>
                    <a:pt x="11" y="19"/>
                  </a:lnTo>
                  <a:lnTo>
                    <a:pt x="10" y="19"/>
                  </a:lnTo>
                  <a:lnTo>
                    <a:pt x="8" y="17"/>
                  </a:lnTo>
                  <a:lnTo>
                    <a:pt x="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2" name="Freeform 821"/>
            <p:cNvSpPr>
              <a:spLocks/>
            </p:cNvSpPr>
            <p:nvPr/>
          </p:nvSpPr>
          <p:spPr bwMode="auto">
            <a:xfrm>
              <a:off x="7261226" y="4514850"/>
              <a:ext cx="15875" cy="25400"/>
            </a:xfrm>
            <a:custGeom>
              <a:avLst/>
              <a:gdLst>
                <a:gd name="T0" fmla="*/ 2147483647 w 11"/>
                <a:gd name="T1" fmla="*/ 2147483647 h 16"/>
                <a:gd name="T2" fmla="*/ 2147483647 w 11"/>
                <a:gd name="T3" fmla="*/ 2147483647 h 16"/>
                <a:gd name="T4" fmla="*/ 2147483647 w 11"/>
                <a:gd name="T5" fmla="*/ 2147483647 h 16"/>
                <a:gd name="T6" fmla="*/ 2147483647 w 11"/>
                <a:gd name="T7" fmla="*/ 2147483647 h 16"/>
                <a:gd name="T8" fmla="*/ 0 w 11"/>
                <a:gd name="T9" fmla="*/ 2147483647 h 16"/>
                <a:gd name="T10" fmla="*/ 0 w 11"/>
                <a:gd name="T11" fmla="*/ 2147483647 h 16"/>
                <a:gd name="T12" fmla="*/ 2147483647 w 11"/>
                <a:gd name="T13" fmla="*/ 2147483647 h 16"/>
                <a:gd name="T14" fmla="*/ 2147483647 w 11"/>
                <a:gd name="T15" fmla="*/ 2147483647 h 16"/>
                <a:gd name="T16" fmla="*/ 2147483647 w 11"/>
                <a:gd name="T17" fmla="*/ 0 h 16"/>
                <a:gd name="T18" fmla="*/ 2147483647 w 11"/>
                <a:gd name="T19" fmla="*/ 2147483647 h 16"/>
                <a:gd name="T20" fmla="*/ 2147483647 w 11"/>
                <a:gd name="T21" fmla="*/ 2147483647 h 16"/>
                <a:gd name="T22" fmla="*/ 2147483647 w 11"/>
                <a:gd name="T23" fmla="*/ 2147483647 h 16"/>
                <a:gd name="T24" fmla="*/ 2147483647 w 11"/>
                <a:gd name="T25" fmla="*/ 2147483647 h 16"/>
                <a:gd name="T26" fmla="*/ 2147483647 w 11"/>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6"/>
                <a:gd name="T44" fmla="*/ 11 w 11"/>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6">
                  <a:moveTo>
                    <a:pt x="8" y="13"/>
                  </a:moveTo>
                  <a:lnTo>
                    <a:pt x="5" y="14"/>
                  </a:lnTo>
                  <a:lnTo>
                    <a:pt x="2" y="16"/>
                  </a:lnTo>
                  <a:lnTo>
                    <a:pt x="1" y="14"/>
                  </a:lnTo>
                  <a:lnTo>
                    <a:pt x="0" y="13"/>
                  </a:lnTo>
                  <a:lnTo>
                    <a:pt x="0" y="8"/>
                  </a:lnTo>
                  <a:lnTo>
                    <a:pt x="1" y="4"/>
                  </a:lnTo>
                  <a:lnTo>
                    <a:pt x="5" y="1"/>
                  </a:lnTo>
                  <a:lnTo>
                    <a:pt x="8" y="0"/>
                  </a:lnTo>
                  <a:lnTo>
                    <a:pt x="10" y="1"/>
                  </a:lnTo>
                  <a:lnTo>
                    <a:pt x="11" y="3"/>
                  </a:lnTo>
                  <a:lnTo>
                    <a:pt x="11" y="6"/>
                  </a:lnTo>
                  <a:lnTo>
                    <a:pt x="10" y="10"/>
                  </a:lnTo>
                  <a:lnTo>
                    <a:pt x="8"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3" name="Freeform 822"/>
            <p:cNvSpPr>
              <a:spLocks/>
            </p:cNvSpPr>
            <p:nvPr/>
          </p:nvSpPr>
          <p:spPr bwMode="auto">
            <a:xfrm>
              <a:off x="7481888" y="4451354"/>
              <a:ext cx="30162" cy="17463"/>
            </a:xfrm>
            <a:custGeom>
              <a:avLst/>
              <a:gdLst>
                <a:gd name="T0" fmla="*/ 2147483647 w 20"/>
                <a:gd name="T1" fmla="*/ 2147483647 h 11"/>
                <a:gd name="T2" fmla="*/ 2147483647 w 20"/>
                <a:gd name="T3" fmla="*/ 2147483647 h 11"/>
                <a:gd name="T4" fmla="*/ 2147483647 w 20"/>
                <a:gd name="T5" fmla="*/ 2147483647 h 11"/>
                <a:gd name="T6" fmla="*/ 2147483647 w 20"/>
                <a:gd name="T7" fmla="*/ 2147483647 h 11"/>
                <a:gd name="T8" fmla="*/ 0 w 20"/>
                <a:gd name="T9" fmla="*/ 2147483647 h 11"/>
                <a:gd name="T10" fmla="*/ 2147483647 w 20"/>
                <a:gd name="T11" fmla="*/ 2147483647 h 11"/>
                <a:gd name="T12" fmla="*/ 2147483647 w 20"/>
                <a:gd name="T13" fmla="*/ 2147483647 h 11"/>
                <a:gd name="T14" fmla="*/ 2147483647 w 20"/>
                <a:gd name="T15" fmla="*/ 0 h 11"/>
                <a:gd name="T16" fmla="*/ 2147483647 w 20"/>
                <a:gd name="T17" fmla="*/ 0 h 11"/>
                <a:gd name="T18" fmla="*/ 2147483647 w 20"/>
                <a:gd name="T19" fmla="*/ 2147483647 h 11"/>
                <a:gd name="T20" fmla="*/ 2147483647 w 20"/>
                <a:gd name="T21" fmla="*/ 2147483647 h 11"/>
                <a:gd name="T22" fmla="*/ 2147483647 w 20"/>
                <a:gd name="T23" fmla="*/ 2147483647 h 11"/>
                <a:gd name="T24" fmla="*/ 2147483647 w 20"/>
                <a:gd name="T25" fmla="*/ 2147483647 h 11"/>
                <a:gd name="T26" fmla="*/ 2147483647 w 20"/>
                <a:gd name="T27" fmla="*/ 2147483647 h 11"/>
                <a:gd name="T28" fmla="*/ 2147483647 w 20"/>
                <a:gd name="T29" fmla="*/ 2147483647 h 11"/>
                <a:gd name="T30" fmla="*/ 2147483647 w 20"/>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1"/>
                <a:gd name="T50" fmla="*/ 20 w 20"/>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1">
                  <a:moveTo>
                    <a:pt x="10" y="11"/>
                  </a:moveTo>
                  <a:lnTo>
                    <a:pt x="5" y="11"/>
                  </a:lnTo>
                  <a:lnTo>
                    <a:pt x="3" y="9"/>
                  </a:lnTo>
                  <a:lnTo>
                    <a:pt x="1" y="8"/>
                  </a:lnTo>
                  <a:lnTo>
                    <a:pt x="0" y="5"/>
                  </a:lnTo>
                  <a:lnTo>
                    <a:pt x="1" y="2"/>
                  </a:lnTo>
                  <a:lnTo>
                    <a:pt x="4" y="1"/>
                  </a:lnTo>
                  <a:lnTo>
                    <a:pt x="6" y="0"/>
                  </a:lnTo>
                  <a:lnTo>
                    <a:pt x="10" y="0"/>
                  </a:lnTo>
                  <a:lnTo>
                    <a:pt x="15" y="1"/>
                  </a:lnTo>
                  <a:lnTo>
                    <a:pt x="19" y="3"/>
                  </a:lnTo>
                  <a:lnTo>
                    <a:pt x="20" y="6"/>
                  </a:lnTo>
                  <a:lnTo>
                    <a:pt x="20" y="8"/>
                  </a:lnTo>
                  <a:lnTo>
                    <a:pt x="19" y="9"/>
                  </a:lnTo>
                  <a:lnTo>
                    <a:pt x="17" y="11"/>
                  </a:lnTo>
                  <a:lnTo>
                    <a:pt x="10"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4" name="Freeform 823"/>
            <p:cNvSpPr>
              <a:spLocks/>
            </p:cNvSpPr>
            <p:nvPr/>
          </p:nvSpPr>
          <p:spPr bwMode="auto">
            <a:xfrm>
              <a:off x="7259638" y="4513263"/>
              <a:ext cx="15875" cy="23812"/>
            </a:xfrm>
            <a:custGeom>
              <a:avLst/>
              <a:gdLst>
                <a:gd name="T0" fmla="*/ 2147483647 w 11"/>
                <a:gd name="T1" fmla="*/ 2147483647 h 15"/>
                <a:gd name="T2" fmla="*/ 2147483647 w 11"/>
                <a:gd name="T3" fmla="*/ 2147483647 h 15"/>
                <a:gd name="T4" fmla="*/ 2147483647 w 11"/>
                <a:gd name="T5" fmla="*/ 2147483647 h 15"/>
                <a:gd name="T6" fmla="*/ 2147483647 w 11"/>
                <a:gd name="T7" fmla="*/ 2147483647 h 15"/>
                <a:gd name="T8" fmla="*/ 2147483647 w 11"/>
                <a:gd name="T9" fmla="*/ 2147483647 h 15"/>
                <a:gd name="T10" fmla="*/ 0 w 11"/>
                <a:gd name="T11" fmla="*/ 2147483647 h 15"/>
                <a:gd name="T12" fmla="*/ 0 w 11"/>
                <a:gd name="T13" fmla="*/ 2147483647 h 15"/>
                <a:gd name="T14" fmla="*/ 0 w 11"/>
                <a:gd name="T15" fmla="*/ 2147483647 h 15"/>
                <a:gd name="T16" fmla="*/ 2147483647 w 11"/>
                <a:gd name="T17" fmla="*/ 2147483647 h 15"/>
                <a:gd name="T18" fmla="*/ 2147483647 w 11"/>
                <a:gd name="T19" fmla="*/ 2147483647 h 15"/>
                <a:gd name="T20" fmla="*/ 2147483647 w 11"/>
                <a:gd name="T21" fmla="*/ 0 h 15"/>
                <a:gd name="T22" fmla="*/ 2147483647 w 11"/>
                <a:gd name="T23" fmla="*/ 2147483647 h 15"/>
                <a:gd name="T24" fmla="*/ 2147483647 w 11"/>
                <a:gd name="T25" fmla="*/ 2147483647 h 15"/>
                <a:gd name="T26" fmla="*/ 2147483647 w 11"/>
                <a:gd name="T27" fmla="*/ 2147483647 h 15"/>
                <a:gd name="T28" fmla="*/ 2147483647 w 11"/>
                <a:gd name="T29" fmla="*/ 2147483647 h 15"/>
                <a:gd name="T30" fmla="*/ 2147483647 w 11"/>
                <a:gd name="T31" fmla="*/ 2147483647 h 15"/>
                <a:gd name="T32" fmla="*/ 2147483647 w 11"/>
                <a:gd name="T33" fmla="*/ 2147483647 h 15"/>
                <a:gd name="T34" fmla="*/ 2147483647 w 11"/>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5"/>
                <a:gd name="T56" fmla="*/ 11 w 11"/>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5">
                  <a:moveTo>
                    <a:pt x="7" y="13"/>
                  </a:moveTo>
                  <a:lnTo>
                    <a:pt x="7" y="13"/>
                  </a:lnTo>
                  <a:lnTo>
                    <a:pt x="5" y="14"/>
                  </a:lnTo>
                  <a:lnTo>
                    <a:pt x="2" y="15"/>
                  </a:lnTo>
                  <a:lnTo>
                    <a:pt x="1" y="14"/>
                  </a:lnTo>
                  <a:lnTo>
                    <a:pt x="0" y="13"/>
                  </a:lnTo>
                  <a:lnTo>
                    <a:pt x="0" y="8"/>
                  </a:lnTo>
                  <a:lnTo>
                    <a:pt x="1" y="4"/>
                  </a:lnTo>
                  <a:lnTo>
                    <a:pt x="5" y="1"/>
                  </a:lnTo>
                  <a:lnTo>
                    <a:pt x="7" y="0"/>
                  </a:lnTo>
                  <a:lnTo>
                    <a:pt x="10" y="1"/>
                  </a:lnTo>
                  <a:lnTo>
                    <a:pt x="11" y="2"/>
                  </a:lnTo>
                  <a:lnTo>
                    <a:pt x="11" y="6"/>
                  </a:lnTo>
                  <a:lnTo>
                    <a:pt x="10" y="9"/>
                  </a:lnTo>
                  <a:lnTo>
                    <a:pt x="7"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5" name="Freeform 824"/>
            <p:cNvSpPr>
              <a:spLocks/>
            </p:cNvSpPr>
            <p:nvPr/>
          </p:nvSpPr>
          <p:spPr bwMode="auto">
            <a:xfrm>
              <a:off x="7480304" y="4449764"/>
              <a:ext cx="30163" cy="15875"/>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2147483647 h 10"/>
                <a:gd name="T10" fmla="*/ 2147483647 w 20"/>
                <a:gd name="T11" fmla="*/ 2147483647 h 10"/>
                <a:gd name="T12" fmla="*/ 0 w 20"/>
                <a:gd name="T13" fmla="*/ 2147483647 h 10"/>
                <a:gd name="T14" fmla="*/ 2147483647 w 20"/>
                <a:gd name="T15" fmla="*/ 2147483647 h 10"/>
                <a:gd name="T16" fmla="*/ 2147483647 w 20"/>
                <a:gd name="T17" fmla="*/ 2147483647 h 10"/>
                <a:gd name="T18" fmla="*/ 2147483647 w 20"/>
                <a:gd name="T19" fmla="*/ 0 h 10"/>
                <a:gd name="T20" fmla="*/ 2147483647 w 20"/>
                <a:gd name="T21" fmla="*/ 0 h 10"/>
                <a:gd name="T22" fmla="*/ 2147483647 w 20"/>
                <a:gd name="T23" fmla="*/ 0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2147483647 w 20"/>
                <a:gd name="T35" fmla="*/ 2147483647 h 10"/>
                <a:gd name="T36" fmla="*/ 2147483647 w 20"/>
                <a:gd name="T37" fmla="*/ 2147483647 h 10"/>
                <a:gd name="T38" fmla="*/ 2147483647 w 20"/>
                <a:gd name="T39" fmla="*/ 2147483647 h 10"/>
                <a:gd name="T40" fmla="*/ 2147483647 w 20"/>
                <a:gd name="T41" fmla="*/ 2147483647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0"/>
                <a:gd name="T65" fmla="*/ 20 w 2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0">
                  <a:moveTo>
                    <a:pt x="10" y="10"/>
                  </a:moveTo>
                  <a:lnTo>
                    <a:pt x="10" y="10"/>
                  </a:lnTo>
                  <a:lnTo>
                    <a:pt x="5" y="10"/>
                  </a:lnTo>
                  <a:lnTo>
                    <a:pt x="2" y="9"/>
                  </a:lnTo>
                  <a:lnTo>
                    <a:pt x="1" y="8"/>
                  </a:lnTo>
                  <a:lnTo>
                    <a:pt x="0" y="4"/>
                  </a:lnTo>
                  <a:lnTo>
                    <a:pt x="1" y="2"/>
                  </a:lnTo>
                  <a:lnTo>
                    <a:pt x="4" y="1"/>
                  </a:lnTo>
                  <a:lnTo>
                    <a:pt x="6" y="0"/>
                  </a:lnTo>
                  <a:lnTo>
                    <a:pt x="10" y="0"/>
                  </a:lnTo>
                  <a:lnTo>
                    <a:pt x="15" y="1"/>
                  </a:lnTo>
                  <a:lnTo>
                    <a:pt x="19" y="3"/>
                  </a:lnTo>
                  <a:lnTo>
                    <a:pt x="20" y="6"/>
                  </a:lnTo>
                  <a:lnTo>
                    <a:pt x="20" y="8"/>
                  </a:lnTo>
                  <a:lnTo>
                    <a:pt x="19" y="9"/>
                  </a:lnTo>
                  <a:lnTo>
                    <a:pt x="16" y="10"/>
                  </a:lnTo>
                  <a:lnTo>
                    <a:pt x="10"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6" name="Freeform 825"/>
            <p:cNvSpPr>
              <a:spLocks/>
            </p:cNvSpPr>
            <p:nvPr/>
          </p:nvSpPr>
          <p:spPr bwMode="auto">
            <a:xfrm>
              <a:off x="7448550" y="4424367"/>
              <a:ext cx="20638" cy="15875"/>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0 h 10"/>
                <a:gd name="T10" fmla="*/ 0 w 14"/>
                <a:gd name="T11" fmla="*/ 2147483647 h 10"/>
                <a:gd name="T12" fmla="*/ 0 w 14"/>
                <a:gd name="T13" fmla="*/ 2147483647 h 10"/>
                <a:gd name="T14" fmla="*/ 0 w 14"/>
                <a:gd name="T15" fmla="*/ 2147483647 h 10"/>
                <a:gd name="T16" fmla="*/ 2147483647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3" y="5"/>
                  </a:moveTo>
                  <a:lnTo>
                    <a:pt x="10" y="3"/>
                  </a:lnTo>
                  <a:lnTo>
                    <a:pt x="8" y="0"/>
                  </a:lnTo>
                  <a:lnTo>
                    <a:pt x="5" y="0"/>
                  </a:lnTo>
                  <a:lnTo>
                    <a:pt x="3" y="0"/>
                  </a:lnTo>
                  <a:lnTo>
                    <a:pt x="0" y="3"/>
                  </a:lnTo>
                  <a:lnTo>
                    <a:pt x="0" y="5"/>
                  </a:lnTo>
                  <a:lnTo>
                    <a:pt x="0" y="7"/>
                  </a:lnTo>
                  <a:lnTo>
                    <a:pt x="3" y="9"/>
                  </a:lnTo>
                  <a:lnTo>
                    <a:pt x="9" y="10"/>
                  </a:lnTo>
                  <a:lnTo>
                    <a:pt x="12" y="9"/>
                  </a:lnTo>
                  <a:lnTo>
                    <a:pt x="14" y="7"/>
                  </a:lnTo>
                  <a:lnTo>
                    <a:pt x="14" y="6"/>
                  </a:lnTo>
                  <a:lnTo>
                    <a:pt x="1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7" name="Freeform 826"/>
            <p:cNvSpPr>
              <a:spLocks/>
            </p:cNvSpPr>
            <p:nvPr/>
          </p:nvSpPr>
          <p:spPr bwMode="auto">
            <a:xfrm>
              <a:off x="7446965" y="4445004"/>
              <a:ext cx="23812" cy="23813"/>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2147483647 w 16"/>
                <a:gd name="T15" fmla="*/ 0 h 15"/>
                <a:gd name="T16" fmla="*/ 2147483647 w 16"/>
                <a:gd name="T17" fmla="*/ 0 h 15"/>
                <a:gd name="T18" fmla="*/ 0 w 16"/>
                <a:gd name="T19" fmla="*/ 2147483647 h 15"/>
                <a:gd name="T20" fmla="*/ 0 w 16"/>
                <a:gd name="T21" fmla="*/ 2147483647 h 15"/>
                <a:gd name="T22" fmla="*/ 0 w 16"/>
                <a:gd name="T23" fmla="*/ 2147483647 h 15"/>
                <a:gd name="T24" fmla="*/ 2147483647 w 16"/>
                <a:gd name="T25" fmla="*/ 2147483647 h 15"/>
                <a:gd name="T26" fmla="*/ 2147483647 w 16"/>
                <a:gd name="T27" fmla="*/ 2147483647 h 15"/>
                <a:gd name="T28" fmla="*/ 2147483647 w 16"/>
                <a:gd name="T29" fmla="*/ 2147483647 h 15"/>
                <a:gd name="T30" fmla="*/ 2147483647 w 16"/>
                <a:gd name="T31" fmla="*/ 2147483647 h 15"/>
                <a:gd name="T32" fmla="*/ 2147483647 w 16"/>
                <a:gd name="T33" fmla="*/ 2147483647 h 15"/>
                <a:gd name="T34" fmla="*/ 2147483647 w 16"/>
                <a:gd name="T35" fmla="*/ 2147483647 h 15"/>
                <a:gd name="T36" fmla="*/ 2147483647 w 16"/>
                <a:gd name="T37" fmla="*/ 2147483647 h 15"/>
                <a:gd name="T38" fmla="*/ 2147483647 w 16"/>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
                <a:gd name="T61" fmla="*/ 0 h 15"/>
                <a:gd name="T62" fmla="*/ 16 w 16"/>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 h="15">
                  <a:moveTo>
                    <a:pt x="14" y="6"/>
                  </a:moveTo>
                  <a:lnTo>
                    <a:pt x="16" y="5"/>
                  </a:lnTo>
                  <a:lnTo>
                    <a:pt x="16" y="4"/>
                  </a:lnTo>
                  <a:lnTo>
                    <a:pt x="15" y="3"/>
                  </a:lnTo>
                  <a:lnTo>
                    <a:pt x="13" y="1"/>
                  </a:lnTo>
                  <a:lnTo>
                    <a:pt x="9" y="1"/>
                  </a:lnTo>
                  <a:lnTo>
                    <a:pt x="5" y="1"/>
                  </a:lnTo>
                  <a:lnTo>
                    <a:pt x="2" y="0"/>
                  </a:lnTo>
                  <a:lnTo>
                    <a:pt x="1" y="0"/>
                  </a:lnTo>
                  <a:lnTo>
                    <a:pt x="0" y="1"/>
                  </a:lnTo>
                  <a:lnTo>
                    <a:pt x="0" y="4"/>
                  </a:lnTo>
                  <a:lnTo>
                    <a:pt x="0" y="5"/>
                  </a:lnTo>
                  <a:lnTo>
                    <a:pt x="2" y="7"/>
                  </a:lnTo>
                  <a:lnTo>
                    <a:pt x="4" y="9"/>
                  </a:lnTo>
                  <a:lnTo>
                    <a:pt x="6" y="15"/>
                  </a:lnTo>
                  <a:lnTo>
                    <a:pt x="8" y="15"/>
                  </a:lnTo>
                  <a:lnTo>
                    <a:pt x="10" y="13"/>
                  </a:lnTo>
                  <a:lnTo>
                    <a:pt x="11" y="10"/>
                  </a:lnTo>
                  <a:lnTo>
                    <a:pt x="13" y="7"/>
                  </a:lnTo>
                  <a:lnTo>
                    <a:pt x="14"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8" name="Freeform 827"/>
            <p:cNvSpPr>
              <a:spLocks/>
            </p:cNvSpPr>
            <p:nvPr/>
          </p:nvSpPr>
          <p:spPr bwMode="auto">
            <a:xfrm>
              <a:off x="7446964" y="4422779"/>
              <a:ext cx="20637" cy="15875"/>
            </a:xfrm>
            <a:custGeom>
              <a:avLst/>
              <a:gdLst>
                <a:gd name="T0" fmla="*/ 2147483647 w 14"/>
                <a:gd name="T1" fmla="*/ 2147483647 h 10"/>
                <a:gd name="T2" fmla="*/ 2147483647 w 14"/>
                <a:gd name="T3" fmla="*/ 2147483647 h 10"/>
                <a:gd name="T4" fmla="*/ 2147483647 w 14"/>
                <a:gd name="T5" fmla="*/ 2147483647 h 10"/>
                <a:gd name="T6" fmla="*/ 2147483647 w 14"/>
                <a:gd name="T7" fmla="*/ 0 h 10"/>
                <a:gd name="T8" fmla="*/ 2147483647 w 14"/>
                <a:gd name="T9" fmla="*/ 0 h 10"/>
                <a:gd name="T10" fmla="*/ 2147483647 w 14"/>
                <a:gd name="T11" fmla="*/ 0 h 10"/>
                <a:gd name="T12" fmla="*/ 2147483647 w 14"/>
                <a:gd name="T13" fmla="*/ 0 h 10"/>
                <a:gd name="T14" fmla="*/ 0 w 14"/>
                <a:gd name="T15" fmla="*/ 2147483647 h 10"/>
                <a:gd name="T16" fmla="*/ 0 w 14"/>
                <a:gd name="T17" fmla="*/ 2147483647 h 10"/>
                <a:gd name="T18" fmla="*/ 0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13" y="5"/>
                  </a:moveTo>
                  <a:lnTo>
                    <a:pt x="13" y="5"/>
                  </a:lnTo>
                  <a:lnTo>
                    <a:pt x="10" y="2"/>
                  </a:lnTo>
                  <a:lnTo>
                    <a:pt x="8" y="0"/>
                  </a:lnTo>
                  <a:lnTo>
                    <a:pt x="5" y="0"/>
                  </a:lnTo>
                  <a:lnTo>
                    <a:pt x="2" y="0"/>
                  </a:lnTo>
                  <a:lnTo>
                    <a:pt x="0" y="2"/>
                  </a:lnTo>
                  <a:lnTo>
                    <a:pt x="0" y="5"/>
                  </a:lnTo>
                  <a:lnTo>
                    <a:pt x="0" y="7"/>
                  </a:lnTo>
                  <a:lnTo>
                    <a:pt x="2" y="8"/>
                  </a:lnTo>
                  <a:lnTo>
                    <a:pt x="9" y="10"/>
                  </a:lnTo>
                  <a:lnTo>
                    <a:pt x="11" y="8"/>
                  </a:lnTo>
                  <a:lnTo>
                    <a:pt x="14" y="7"/>
                  </a:lnTo>
                  <a:lnTo>
                    <a:pt x="14" y="6"/>
                  </a:lnTo>
                  <a:lnTo>
                    <a:pt x="1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29" name="Freeform 828"/>
            <p:cNvSpPr>
              <a:spLocks/>
            </p:cNvSpPr>
            <p:nvPr/>
          </p:nvSpPr>
          <p:spPr bwMode="auto">
            <a:xfrm>
              <a:off x="7445376" y="4443417"/>
              <a:ext cx="23813" cy="22225"/>
            </a:xfrm>
            <a:custGeom>
              <a:avLst/>
              <a:gdLst>
                <a:gd name="T0" fmla="*/ 2147483647 w 16"/>
                <a:gd name="T1" fmla="*/ 2147483647 h 14"/>
                <a:gd name="T2" fmla="*/ 2147483647 w 16"/>
                <a:gd name="T3" fmla="*/ 2147483647 h 14"/>
                <a:gd name="T4" fmla="*/ 2147483647 w 16"/>
                <a:gd name="T5" fmla="*/ 2147483647 h 14"/>
                <a:gd name="T6" fmla="*/ 2147483647 w 16"/>
                <a:gd name="T7" fmla="*/ 2147483647 h 14"/>
                <a:gd name="T8" fmla="*/ 2147483647 w 16"/>
                <a:gd name="T9" fmla="*/ 2147483647 h 14"/>
                <a:gd name="T10" fmla="*/ 2147483647 w 16"/>
                <a:gd name="T11" fmla="*/ 2147483647 h 14"/>
                <a:gd name="T12" fmla="*/ 2147483647 w 16"/>
                <a:gd name="T13" fmla="*/ 2147483647 h 14"/>
                <a:gd name="T14" fmla="*/ 2147483647 w 16"/>
                <a:gd name="T15" fmla="*/ 2147483647 h 14"/>
                <a:gd name="T16" fmla="*/ 2147483647 w 16"/>
                <a:gd name="T17" fmla="*/ 2147483647 h 14"/>
                <a:gd name="T18" fmla="*/ 2147483647 w 16"/>
                <a:gd name="T19" fmla="*/ 0 h 14"/>
                <a:gd name="T20" fmla="*/ 2147483647 w 16"/>
                <a:gd name="T21" fmla="*/ 0 h 14"/>
                <a:gd name="T22" fmla="*/ 2147483647 w 16"/>
                <a:gd name="T23" fmla="*/ 0 h 14"/>
                <a:gd name="T24" fmla="*/ 0 w 16"/>
                <a:gd name="T25" fmla="*/ 2147483647 h 14"/>
                <a:gd name="T26" fmla="*/ 0 w 16"/>
                <a:gd name="T27" fmla="*/ 2147483647 h 14"/>
                <a:gd name="T28" fmla="*/ 0 w 16"/>
                <a:gd name="T29" fmla="*/ 2147483647 h 14"/>
                <a:gd name="T30" fmla="*/ 0 w 16"/>
                <a:gd name="T31" fmla="*/ 2147483647 h 14"/>
                <a:gd name="T32" fmla="*/ 2147483647 w 16"/>
                <a:gd name="T33" fmla="*/ 2147483647 h 14"/>
                <a:gd name="T34" fmla="*/ 2147483647 w 16"/>
                <a:gd name="T35" fmla="*/ 2147483647 h 14"/>
                <a:gd name="T36" fmla="*/ 2147483647 w 16"/>
                <a:gd name="T37" fmla="*/ 2147483647 h 14"/>
                <a:gd name="T38" fmla="*/ 2147483647 w 16"/>
                <a:gd name="T39" fmla="*/ 2147483647 h 14"/>
                <a:gd name="T40" fmla="*/ 2147483647 w 16"/>
                <a:gd name="T41" fmla="*/ 2147483647 h 14"/>
                <a:gd name="T42" fmla="*/ 2147483647 w 16"/>
                <a:gd name="T43" fmla="*/ 2147483647 h 14"/>
                <a:gd name="T44" fmla="*/ 2147483647 w 16"/>
                <a:gd name="T45" fmla="*/ 2147483647 h 14"/>
                <a:gd name="T46" fmla="*/ 2147483647 w 16"/>
                <a:gd name="T47" fmla="*/ 2147483647 h 14"/>
                <a:gd name="T48" fmla="*/ 2147483647 w 16"/>
                <a:gd name="T49" fmla="*/ 2147483647 h 14"/>
                <a:gd name="T50" fmla="*/ 2147483647 w 16"/>
                <a:gd name="T51" fmla="*/ 2147483647 h 14"/>
                <a:gd name="T52" fmla="*/ 2147483647 w 16"/>
                <a:gd name="T53" fmla="*/ 2147483647 h 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
                <a:gd name="T82" fmla="*/ 0 h 14"/>
                <a:gd name="T83" fmla="*/ 16 w 16"/>
                <a:gd name="T84" fmla="*/ 14 h 1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 h="14">
                  <a:moveTo>
                    <a:pt x="14" y="6"/>
                  </a:moveTo>
                  <a:lnTo>
                    <a:pt x="14" y="6"/>
                  </a:lnTo>
                  <a:lnTo>
                    <a:pt x="16" y="5"/>
                  </a:lnTo>
                  <a:lnTo>
                    <a:pt x="16" y="4"/>
                  </a:lnTo>
                  <a:lnTo>
                    <a:pt x="15" y="2"/>
                  </a:lnTo>
                  <a:lnTo>
                    <a:pt x="12" y="1"/>
                  </a:lnTo>
                  <a:lnTo>
                    <a:pt x="9" y="1"/>
                  </a:lnTo>
                  <a:lnTo>
                    <a:pt x="5" y="1"/>
                  </a:lnTo>
                  <a:lnTo>
                    <a:pt x="2" y="0"/>
                  </a:lnTo>
                  <a:lnTo>
                    <a:pt x="1" y="0"/>
                  </a:lnTo>
                  <a:lnTo>
                    <a:pt x="0" y="1"/>
                  </a:lnTo>
                  <a:lnTo>
                    <a:pt x="0" y="4"/>
                  </a:lnTo>
                  <a:lnTo>
                    <a:pt x="0" y="5"/>
                  </a:lnTo>
                  <a:lnTo>
                    <a:pt x="2" y="7"/>
                  </a:lnTo>
                  <a:lnTo>
                    <a:pt x="3" y="8"/>
                  </a:lnTo>
                  <a:lnTo>
                    <a:pt x="6" y="14"/>
                  </a:lnTo>
                  <a:lnTo>
                    <a:pt x="7" y="14"/>
                  </a:lnTo>
                  <a:lnTo>
                    <a:pt x="10" y="13"/>
                  </a:lnTo>
                  <a:lnTo>
                    <a:pt x="11" y="10"/>
                  </a:lnTo>
                  <a:lnTo>
                    <a:pt x="12" y="7"/>
                  </a:lnTo>
                  <a:lnTo>
                    <a:pt x="14"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0" name="Freeform 829"/>
            <p:cNvSpPr>
              <a:spLocks/>
            </p:cNvSpPr>
            <p:nvPr/>
          </p:nvSpPr>
          <p:spPr bwMode="auto">
            <a:xfrm>
              <a:off x="7073901" y="4264025"/>
              <a:ext cx="271463" cy="273050"/>
            </a:xfrm>
            <a:custGeom>
              <a:avLst/>
              <a:gdLst>
                <a:gd name="T0" fmla="*/ 2147483647 w 186"/>
                <a:gd name="T1" fmla="*/ 0 h 172"/>
                <a:gd name="T2" fmla="*/ 2147483647 w 186"/>
                <a:gd name="T3" fmla="*/ 2147483647 h 172"/>
                <a:gd name="T4" fmla="*/ 2147483647 w 186"/>
                <a:gd name="T5" fmla="*/ 2147483647 h 172"/>
                <a:gd name="T6" fmla="*/ 2147483647 w 186"/>
                <a:gd name="T7" fmla="*/ 2147483647 h 172"/>
                <a:gd name="T8" fmla="*/ 2147483647 w 186"/>
                <a:gd name="T9" fmla="*/ 2147483647 h 172"/>
                <a:gd name="T10" fmla="*/ 2147483647 w 186"/>
                <a:gd name="T11" fmla="*/ 2147483647 h 172"/>
                <a:gd name="T12" fmla="*/ 2147483647 w 186"/>
                <a:gd name="T13" fmla="*/ 2147483647 h 172"/>
                <a:gd name="T14" fmla="*/ 2147483647 w 186"/>
                <a:gd name="T15" fmla="*/ 2147483647 h 172"/>
                <a:gd name="T16" fmla="*/ 2147483647 w 186"/>
                <a:gd name="T17" fmla="*/ 2147483647 h 172"/>
                <a:gd name="T18" fmla="*/ 2147483647 w 186"/>
                <a:gd name="T19" fmla="*/ 2147483647 h 172"/>
                <a:gd name="T20" fmla="*/ 2147483647 w 186"/>
                <a:gd name="T21" fmla="*/ 2147483647 h 172"/>
                <a:gd name="T22" fmla="*/ 0 w 186"/>
                <a:gd name="T23" fmla="*/ 2147483647 h 172"/>
                <a:gd name="T24" fmla="*/ 2147483647 w 186"/>
                <a:gd name="T25" fmla="*/ 2147483647 h 172"/>
                <a:gd name="T26" fmla="*/ 2147483647 w 186"/>
                <a:gd name="T27" fmla="*/ 2147483647 h 172"/>
                <a:gd name="T28" fmla="*/ 2147483647 w 186"/>
                <a:gd name="T29" fmla="*/ 2147483647 h 172"/>
                <a:gd name="T30" fmla="*/ 2147483647 w 186"/>
                <a:gd name="T31" fmla="*/ 2147483647 h 172"/>
                <a:gd name="T32" fmla="*/ 2147483647 w 186"/>
                <a:gd name="T33" fmla="*/ 2147483647 h 172"/>
                <a:gd name="T34" fmla="*/ 2147483647 w 186"/>
                <a:gd name="T35" fmla="*/ 2147483647 h 172"/>
                <a:gd name="T36" fmla="*/ 2147483647 w 186"/>
                <a:gd name="T37" fmla="*/ 2147483647 h 172"/>
                <a:gd name="T38" fmla="*/ 2147483647 w 186"/>
                <a:gd name="T39" fmla="*/ 2147483647 h 172"/>
                <a:gd name="T40" fmla="*/ 2147483647 w 186"/>
                <a:gd name="T41" fmla="*/ 2147483647 h 172"/>
                <a:gd name="T42" fmla="*/ 2147483647 w 186"/>
                <a:gd name="T43" fmla="*/ 2147483647 h 172"/>
                <a:gd name="T44" fmla="*/ 2147483647 w 186"/>
                <a:gd name="T45" fmla="*/ 2147483647 h 172"/>
                <a:gd name="T46" fmla="*/ 2147483647 w 186"/>
                <a:gd name="T47" fmla="*/ 2147483647 h 172"/>
                <a:gd name="T48" fmla="*/ 2147483647 w 186"/>
                <a:gd name="T49" fmla="*/ 2147483647 h 172"/>
                <a:gd name="T50" fmla="*/ 2147483647 w 186"/>
                <a:gd name="T51" fmla="*/ 2147483647 h 172"/>
                <a:gd name="T52" fmla="*/ 2147483647 w 186"/>
                <a:gd name="T53" fmla="*/ 2147483647 h 172"/>
                <a:gd name="T54" fmla="*/ 2147483647 w 186"/>
                <a:gd name="T55" fmla="*/ 2147483647 h 172"/>
                <a:gd name="T56" fmla="*/ 2147483647 w 186"/>
                <a:gd name="T57" fmla="*/ 2147483647 h 172"/>
                <a:gd name="T58" fmla="*/ 2147483647 w 186"/>
                <a:gd name="T59" fmla="*/ 2147483647 h 172"/>
                <a:gd name="T60" fmla="*/ 2147483647 w 186"/>
                <a:gd name="T61" fmla="*/ 2147483647 h 172"/>
                <a:gd name="T62" fmla="*/ 2147483647 w 186"/>
                <a:gd name="T63" fmla="*/ 2147483647 h 172"/>
                <a:gd name="T64" fmla="*/ 2147483647 w 186"/>
                <a:gd name="T65" fmla="*/ 2147483647 h 172"/>
                <a:gd name="T66" fmla="*/ 2147483647 w 186"/>
                <a:gd name="T67" fmla="*/ 2147483647 h 172"/>
                <a:gd name="T68" fmla="*/ 2147483647 w 186"/>
                <a:gd name="T69" fmla="*/ 2147483647 h 172"/>
                <a:gd name="T70" fmla="*/ 2147483647 w 186"/>
                <a:gd name="T71" fmla="*/ 2147483647 h 172"/>
                <a:gd name="T72" fmla="*/ 2147483647 w 186"/>
                <a:gd name="T73" fmla="*/ 2147483647 h 172"/>
                <a:gd name="T74" fmla="*/ 2147483647 w 186"/>
                <a:gd name="T75" fmla="*/ 2147483647 h 172"/>
                <a:gd name="T76" fmla="*/ 2147483647 w 186"/>
                <a:gd name="T77" fmla="*/ 2147483647 h 172"/>
                <a:gd name="T78" fmla="*/ 2147483647 w 186"/>
                <a:gd name="T79" fmla="*/ 2147483647 h 172"/>
                <a:gd name="T80" fmla="*/ 2147483647 w 186"/>
                <a:gd name="T81" fmla="*/ 2147483647 h 172"/>
                <a:gd name="T82" fmla="*/ 2147483647 w 186"/>
                <a:gd name="T83" fmla="*/ 2147483647 h 172"/>
                <a:gd name="T84" fmla="*/ 2147483647 w 186"/>
                <a:gd name="T85" fmla="*/ 2147483647 h 172"/>
                <a:gd name="T86" fmla="*/ 2147483647 w 186"/>
                <a:gd name="T87" fmla="*/ 2147483647 h 172"/>
                <a:gd name="T88" fmla="*/ 2147483647 w 186"/>
                <a:gd name="T89" fmla="*/ 2147483647 h 172"/>
                <a:gd name="T90" fmla="*/ 2147483647 w 186"/>
                <a:gd name="T91" fmla="*/ 2147483647 h 172"/>
                <a:gd name="T92" fmla="*/ 2147483647 w 186"/>
                <a:gd name="T93" fmla="*/ 2147483647 h 172"/>
                <a:gd name="T94" fmla="*/ 2147483647 w 186"/>
                <a:gd name="T95" fmla="*/ 2147483647 h 172"/>
                <a:gd name="T96" fmla="*/ 2147483647 w 186"/>
                <a:gd name="T97" fmla="*/ 2147483647 h 172"/>
                <a:gd name="T98" fmla="*/ 2147483647 w 186"/>
                <a:gd name="T99" fmla="*/ 2147483647 h 172"/>
                <a:gd name="T100" fmla="*/ 2147483647 w 186"/>
                <a:gd name="T101" fmla="*/ 2147483647 h 172"/>
                <a:gd name="T102" fmla="*/ 2147483647 w 186"/>
                <a:gd name="T103" fmla="*/ 2147483647 h 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6"/>
                <a:gd name="T157" fmla="*/ 0 h 172"/>
                <a:gd name="T158" fmla="*/ 186 w 186"/>
                <a:gd name="T159" fmla="*/ 172 h 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6" h="172">
                  <a:moveTo>
                    <a:pt x="153" y="3"/>
                  </a:moveTo>
                  <a:lnTo>
                    <a:pt x="146" y="0"/>
                  </a:lnTo>
                  <a:lnTo>
                    <a:pt x="138" y="0"/>
                  </a:lnTo>
                  <a:lnTo>
                    <a:pt x="136" y="0"/>
                  </a:lnTo>
                  <a:lnTo>
                    <a:pt x="132" y="2"/>
                  </a:lnTo>
                  <a:lnTo>
                    <a:pt x="129" y="3"/>
                  </a:lnTo>
                  <a:lnTo>
                    <a:pt x="127" y="6"/>
                  </a:lnTo>
                  <a:lnTo>
                    <a:pt x="123" y="12"/>
                  </a:lnTo>
                  <a:lnTo>
                    <a:pt x="120" y="21"/>
                  </a:lnTo>
                  <a:lnTo>
                    <a:pt x="115" y="27"/>
                  </a:lnTo>
                  <a:lnTo>
                    <a:pt x="113" y="30"/>
                  </a:lnTo>
                  <a:lnTo>
                    <a:pt x="110" y="32"/>
                  </a:lnTo>
                  <a:lnTo>
                    <a:pt x="103" y="42"/>
                  </a:lnTo>
                  <a:lnTo>
                    <a:pt x="96" y="49"/>
                  </a:lnTo>
                  <a:lnTo>
                    <a:pt x="94" y="50"/>
                  </a:lnTo>
                  <a:lnTo>
                    <a:pt x="91" y="51"/>
                  </a:lnTo>
                  <a:lnTo>
                    <a:pt x="76" y="51"/>
                  </a:lnTo>
                  <a:lnTo>
                    <a:pt x="72" y="53"/>
                  </a:lnTo>
                  <a:lnTo>
                    <a:pt x="70" y="53"/>
                  </a:lnTo>
                  <a:lnTo>
                    <a:pt x="63" y="57"/>
                  </a:lnTo>
                  <a:lnTo>
                    <a:pt x="52" y="64"/>
                  </a:lnTo>
                  <a:lnTo>
                    <a:pt x="43" y="69"/>
                  </a:lnTo>
                  <a:lnTo>
                    <a:pt x="39" y="70"/>
                  </a:lnTo>
                  <a:lnTo>
                    <a:pt x="35" y="70"/>
                  </a:lnTo>
                  <a:lnTo>
                    <a:pt x="33" y="69"/>
                  </a:lnTo>
                  <a:lnTo>
                    <a:pt x="29" y="68"/>
                  </a:lnTo>
                  <a:lnTo>
                    <a:pt x="25" y="63"/>
                  </a:lnTo>
                  <a:lnTo>
                    <a:pt x="19" y="53"/>
                  </a:lnTo>
                  <a:lnTo>
                    <a:pt x="16" y="54"/>
                  </a:lnTo>
                  <a:lnTo>
                    <a:pt x="12" y="55"/>
                  </a:lnTo>
                  <a:lnTo>
                    <a:pt x="10" y="56"/>
                  </a:lnTo>
                  <a:lnTo>
                    <a:pt x="9" y="59"/>
                  </a:lnTo>
                  <a:lnTo>
                    <a:pt x="6" y="72"/>
                  </a:lnTo>
                  <a:lnTo>
                    <a:pt x="3" y="78"/>
                  </a:lnTo>
                  <a:lnTo>
                    <a:pt x="0" y="83"/>
                  </a:lnTo>
                  <a:lnTo>
                    <a:pt x="0" y="85"/>
                  </a:lnTo>
                  <a:lnTo>
                    <a:pt x="0" y="87"/>
                  </a:lnTo>
                  <a:lnTo>
                    <a:pt x="3" y="91"/>
                  </a:lnTo>
                  <a:lnTo>
                    <a:pt x="6" y="95"/>
                  </a:lnTo>
                  <a:lnTo>
                    <a:pt x="12" y="105"/>
                  </a:lnTo>
                  <a:lnTo>
                    <a:pt x="14" y="106"/>
                  </a:lnTo>
                  <a:lnTo>
                    <a:pt x="16" y="106"/>
                  </a:lnTo>
                  <a:lnTo>
                    <a:pt x="19" y="107"/>
                  </a:lnTo>
                  <a:lnTo>
                    <a:pt x="20" y="110"/>
                  </a:lnTo>
                  <a:lnTo>
                    <a:pt x="21" y="114"/>
                  </a:lnTo>
                  <a:lnTo>
                    <a:pt x="21" y="118"/>
                  </a:lnTo>
                  <a:lnTo>
                    <a:pt x="24" y="121"/>
                  </a:lnTo>
                  <a:lnTo>
                    <a:pt x="28" y="125"/>
                  </a:lnTo>
                  <a:lnTo>
                    <a:pt x="28" y="126"/>
                  </a:lnTo>
                  <a:lnTo>
                    <a:pt x="28" y="129"/>
                  </a:lnTo>
                  <a:lnTo>
                    <a:pt x="28" y="133"/>
                  </a:lnTo>
                  <a:lnTo>
                    <a:pt x="29" y="140"/>
                  </a:lnTo>
                  <a:lnTo>
                    <a:pt x="33" y="149"/>
                  </a:lnTo>
                  <a:lnTo>
                    <a:pt x="36" y="150"/>
                  </a:lnTo>
                  <a:lnTo>
                    <a:pt x="40" y="151"/>
                  </a:lnTo>
                  <a:lnTo>
                    <a:pt x="43" y="153"/>
                  </a:lnTo>
                  <a:lnTo>
                    <a:pt x="45" y="155"/>
                  </a:lnTo>
                  <a:lnTo>
                    <a:pt x="48" y="156"/>
                  </a:lnTo>
                  <a:lnTo>
                    <a:pt x="49" y="157"/>
                  </a:lnTo>
                  <a:lnTo>
                    <a:pt x="54" y="156"/>
                  </a:lnTo>
                  <a:lnTo>
                    <a:pt x="59" y="153"/>
                  </a:lnTo>
                  <a:lnTo>
                    <a:pt x="64" y="153"/>
                  </a:lnTo>
                  <a:lnTo>
                    <a:pt x="64" y="155"/>
                  </a:lnTo>
                  <a:lnTo>
                    <a:pt x="64" y="157"/>
                  </a:lnTo>
                  <a:lnTo>
                    <a:pt x="61" y="164"/>
                  </a:lnTo>
                  <a:lnTo>
                    <a:pt x="61" y="168"/>
                  </a:lnTo>
                  <a:lnTo>
                    <a:pt x="62" y="168"/>
                  </a:lnTo>
                  <a:lnTo>
                    <a:pt x="64" y="168"/>
                  </a:lnTo>
                  <a:lnTo>
                    <a:pt x="68" y="166"/>
                  </a:lnTo>
                  <a:lnTo>
                    <a:pt x="73" y="164"/>
                  </a:lnTo>
                  <a:lnTo>
                    <a:pt x="75" y="163"/>
                  </a:lnTo>
                  <a:lnTo>
                    <a:pt x="77" y="163"/>
                  </a:lnTo>
                  <a:lnTo>
                    <a:pt x="80" y="163"/>
                  </a:lnTo>
                  <a:lnTo>
                    <a:pt x="81" y="165"/>
                  </a:lnTo>
                  <a:lnTo>
                    <a:pt x="82" y="164"/>
                  </a:lnTo>
                  <a:lnTo>
                    <a:pt x="86" y="164"/>
                  </a:lnTo>
                  <a:lnTo>
                    <a:pt x="90" y="164"/>
                  </a:lnTo>
                  <a:lnTo>
                    <a:pt x="92" y="162"/>
                  </a:lnTo>
                  <a:lnTo>
                    <a:pt x="94" y="159"/>
                  </a:lnTo>
                  <a:lnTo>
                    <a:pt x="96" y="158"/>
                  </a:lnTo>
                  <a:lnTo>
                    <a:pt x="97" y="158"/>
                  </a:lnTo>
                  <a:lnTo>
                    <a:pt x="100" y="161"/>
                  </a:lnTo>
                  <a:lnTo>
                    <a:pt x="105" y="166"/>
                  </a:lnTo>
                  <a:lnTo>
                    <a:pt x="110" y="171"/>
                  </a:lnTo>
                  <a:lnTo>
                    <a:pt x="111" y="172"/>
                  </a:lnTo>
                  <a:lnTo>
                    <a:pt x="113" y="172"/>
                  </a:lnTo>
                  <a:lnTo>
                    <a:pt x="115" y="170"/>
                  </a:lnTo>
                  <a:lnTo>
                    <a:pt x="116" y="169"/>
                  </a:lnTo>
                  <a:lnTo>
                    <a:pt x="119" y="166"/>
                  </a:lnTo>
                  <a:lnTo>
                    <a:pt x="120" y="164"/>
                  </a:lnTo>
                  <a:lnTo>
                    <a:pt x="124" y="157"/>
                  </a:lnTo>
                  <a:lnTo>
                    <a:pt x="128" y="151"/>
                  </a:lnTo>
                  <a:lnTo>
                    <a:pt x="134" y="146"/>
                  </a:lnTo>
                  <a:lnTo>
                    <a:pt x="142" y="142"/>
                  </a:lnTo>
                  <a:lnTo>
                    <a:pt x="143" y="139"/>
                  </a:lnTo>
                  <a:lnTo>
                    <a:pt x="144" y="137"/>
                  </a:lnTo>
                  <a:lnTo>
                    <a:pt x="142" y="130"/>
                  </a:lnTo>
                  <a:lnTo>
                    <a:pt x="142" y="126"/>
                  </a:lnTo>
                  <a:lnTo>
                    <a:pt x="143" y="123"/>
                  </a:lnTo>
                  <a:lnTo>
                    <a:pt x="148" y="118"/>
                  </a:lnTo>
                  <a:lnTo>
                    <a:pt x="153" y="114"/>
                  </a:lnTo>
                  <a:lnTo>
                    <a:pt x="158" y="111"/>
                  </a:lnTo>
                  <a:lnTo>
                    <a:pt x="160" y="107"/>
                  </a:lnTo>
                  <a:lnTo>
                    <a:pt x="161" y="105"/>
                  </a:lnTo>
                  <a:lnTo>
                    <a:pt x="161" y="101"/>
                  </a:lnTo>
                  <a:lnTo>
                    <a:pt x="160" y="100"/>
                  </a:lnTo>
                  <a:lnTo>
                    <a:pt x="156" y="97"/>
                  </a:lnTo>
                  <a:lnTo>
                    <a:pt x="156" y="95"/>
                  </a:lnTo>
                  <a:lnTo>
                    <a:pt x="156" y="94"/>
                  </a:lnTo>
                  <a:lnTo>
                    <a:pt x="157" y="88"/>
                  </a:lnTo>
                  <a:lnTo>
                    <a:pt x="160" y="83"/>
                  </a:lnTo>
                  <a:lnTo>
                    <a:pt x="162" y="80"/>
                  </a:lnTo>
                  <a:lnTo>
                    <a:pt x="163" y="75"/>
                  </a:lnTo>
                  <a:lnTo>
                    <a:pt x="163" y="73"/>
                  </a:lnTo>
                  <a:lnTo>
                    <a:pt x="165" y="70"/>
                  </a:lnTo>
                  <a:lnTo>
                    <a:pt x="166" y="69"/>
                  </a:lnTo>
                  <a:lnTo>
                    <a:pt x="169" y="70"/>
                  </a:lnTo>
                  <a:lnTo>
                    <a:pt x="171" y="73"/>
                  </a:lnTo>
                  <a:lnTo>
                    <a:pt x="175" y="73"/>
                  </a:lnTo>
                  <a:lnTo>
                    <a:pt x="176" y="72"/>
                  </a:lnTo>
                  <a:lnTo>
                    <a:pt x="179" y="73"/>
                  </a:lnTo>
                  <a:lnTo>
                    <a:pt x="181" y="74"/>
                  </a:lnTo>
                  <a:lnTo>
                    <a:pt x="185" y="74"/>
                  </a:lnTo>
                  <a:lnTo>
                    <a:pt x="186" y="73"/>
                  </a:lnTo>
                  <a:lnTo>
                    <a:pt x="186" y="70"/>
                  </a:lnTo>
                  <a:lnTo>
                    <a:pt x="183" y="66"/>
                  </a:lnTo>
                  <a:lnTo>
                    <a:pt x="179" y="63"/>
                  </a:lnTo>
                  <a:lnTo>
                    <a:pt x="174" y="60"/>
                  </a:lnTo>
                  <a:lnTo>
                    <a:pt x="170" y="57"/>
                  </a:lnTo>
                  <a:lnTo>
                    <a:pt x="169" y="56"/>
                  </a:lnTo>
                  <a:lnTo>
                    <a:pt x="169" y="55"/>
                  </a:lnTo>
                  <a:lnTo>
                    <a:pt x="169" y="54"/>
                  </a:lnTo>
                  <a:lnTo>
                    <a:pt x="170" y="51"/>
                  </a:lnTo>
                  <a:lnTo>
                    <a:pt x="171" y="50"/>
                  </a:lnTo>
                  <a:lnTo>
                    <a:pt x="172" y="48"/>
                  </a:lnTo>
                  <a:lnTo>
                    <a:pt x="171" y="44"/>
                  </a:lnTo>
                  <a:lnTo>
                    <a:pt x="169" y="42"/>
                  </a:lnTo>
                  <a:lnTo>
                    <a:pt x="163" y="37"/>
                  </a:lnTo>
                  <a:lnTo>
                    <a:pt x="162" y="36"/>
                  </a:lnTo>
                  <a:lnTo>
                    <a:pt x="160" y="37"/>
                  </a:lnTo>
                  <a:lnTo>
                    <a:pt x="158" y="37"/>
                  </a:lnTo>
                  <a:lnTo>
                    <a:pt x="157" y="37"/>
                  </a:lnTo>
                  <a:lnTo>
                    <a:pt x="156" y="35"/>
                  </a:lnTo>
                  <a:lnTo>
                    <a:pt x="156" y="31"/>
                  </a:lnTo>
                  <a:lnTo>
                    <a:pt x="158" y="27"/>
                  </a:lnTo>
                  <a:lnTo>
                    <a:pt x="160" y="24"/>
                  </a:lnTo>
                  <a:lnTo>
                    <a:pt x="158" y="23"/>
                  </a:lnTo>
                  <a:lnTo>
                    <a:pt x="156" y="21"/>
                  </a:lnTo>
                  <a:lnTo>
                    <a:pt x="156" y="19"/>
                  </a:lnTo>
                  <a:lnTo>
                    <a:pt x="156" y="18"/>
                  </a:lnTo>
                  <a:lnTo>
                    <a:pt x="158" y="17"/>
                  </a:lnTo>
                  <a:lnTo>
                    <a:pt x="158" y="15"/>
                  </a:lnTo>
                  <a:lnTo>
                    <a:pt x="158" y="14"/>
                  </a:lnTo>
                  <a:lnTo>
                    <a:pt x="157" y="10"/>
                  </a:lnTo>
                  <a:lnTo>
                    <a:pt x="155" y="6"/>
                  </a:lnTo>
                  <a:lnTo>
                    <a:pt x="15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1" name="Freeform 830"/>
            <p:cNvSpPr>
              <a:spLocks/>
            </p:cNvSpPr>
            <p:nvPr/>
          </p:nvSpPr>
          <p:spPr bwMode="auto">
            <a:xfrm>
              <a:off x="7008814" y="4594227"/>
              <a:ext cx="212725" cy="85725"/>
            </a:xfrm>
            <a:custGeom>
              <a:avLst/>
              <a:gdLst>
                <a:gd name="T0" fmla="*/ 2147483647 w 145"/>
                <a:gd name="T1" fmla="*/ 2147483647 h 54"/>
                <a:gd name="T2" fmla="*/ 2147483647 w 145"/>
                <a:gd name="T3" fmla="*/ 2147483647 h 54"/>
                <a:gd name="T4" fmla="*/ 2147483647 w 145"/>
                <a:gd name="T5" fmla="*/ 2147483647 h 54"/>
                <a:gd name="T6" fmla="*/ 2147483647 w 145"/>
                <a:gd name="T7" fmla="*/ 2147483647 h 54"/>
                <a:gd name="T8" fmla="*/ 2147483647 w 145"/>
                <a:gd name="T9" fmla="*/ 2147483647 h 54"/>
                <a:gd name="T10" fmla="*/ 2147483647 w 145"/>
                <a:gd name="T11" fmla="*/ 2147483647 h 54"/>
                <a:gd name="T12" fmla="*/ 2147483647 w 145"/>
                <a:gd name="T13" fmla="*/ 2147483647 h 54"/>
                <a:gd name="T14" fmla="*/ 2147483647 w 145"/>
                <a:gd name="T15" fmla="*/ 2147483647 h 54"/>
                <a:gd name="T16" fmla="*/ 2147483647 w 145"/>
                <a:gd name="T17" fmla="*/ 2147483647 h 54"/>
                <a:gd name="T18" fmla="*/ 2147483647 w 145"/>
                <a:gd name="T19" fmla="*/ 2147483647 h 54"/>
                <a:gd name="T20" fmla="*/ 2147483647 w 145"/>
                <a:gd name="T21" fmla="*/ 2147483647 h 54"/>
                <a:gd name="T22" fmla="*/ 2147483647 w 145"/>
                <a:gd name="T23" fmla="*/ 2147483647 h 54"/>
                <a:gd name="T24" fmla="*/ 2147483647 w 145"/>
                <a:gd name="T25" fmla="*/ 2147483647 h 54"/>
                <a:gd name="T26" fmla="*/ 2147483647 w 145"/>
                <a:gd name="T27" fmla="*/ 2147483647 h 54"/>
                <a:gd name="T28" fmla="*/ 2147483647 w 145"/>
                <a:gd name="T29" fmla="*/ 2147483647 h 54"/>
                <a:gd name="T30" fmla="*/ 2147483647 w 145"/>
                <a:gd name="T31" fmla="*/ 0 h 54"/>
                <a:gd name="T32" fmla="*/ 2147483647 w 145"/>
                <a:gd name="T33" fmla="*/ 2147483647 h 54"/>
                <a:gd name="T34" fmla="*/ 2147483647 w 145"/>
                <a:gd name="T35" fmla="*/ 2147483647 h 54"/>
                <a:gd name="T36" fmla="*/ 2147483647 w 145"/>
                <a:gd name="T37" fmla="*/ 0 h 54"/>
                <a:gd name="T38" fmla="*/ 2147483647 w 145"/>
                <a:gd name="T39" fmla="*/ 2147483647 h 54"/>
                <a:gd name="T40" fmla="*/ 0 w 145"/>
                <a:gd name="T41" fmla="*/ 2147483647 h 54"/>
                <a:gd name="T42" fmla="*/ 2147483647 w 145"/>
                <a:gd name="T43" fmla="*/ 2147483647 h 54"/>
                <a:gd name="T44" fmla="*/ 2147483647 w 145"/>
                <a:gd name="T45" fmla="*/ 2147483647 h 54"/>
                <a:gd name="T46" fmla="*/ 2147483647 w 145"/>
                <a:gd name="T47" fmla="*/ 2147483647 h 54"/>
                <a:gd name="T48" fmla="*/ 2147483647 w 145"/>
                <a:gd name="T49" fmla="*/ 2147483647 h 54"/>
                <a:gd name="T50" fmla="*/ 2147483647 w 145"/>
                <a:gd name="T51" fmla="*/ 2147483647 h 54"/>
                <a:gd name="T52" fmla="*/ 2147483647 w 145"/>
                <a:gd name="T53" fmla="*/ 2147483647 h 54"/>
                <a:gd name="T54" fmla="*/ 2147483647 w 145"/>
                <a:gd name="T55" fmla="*/ 2147483647 h 54"/>
                <a:gd name="T56" fmla="*/ 2147483647 w 145"/>
                <a:gd name="T57" fmla="*/ 2147483647 h 54"/>
                <a:gd name="T58" fmla="*/ 2147483647 w 145"/>
                <a:gd name="T59" fmla="*/ 2147483647 h 54"/>
                <a:gd name="T60" fmla="*/ 2147483647 w 145"/>
                <a:gd name="T61" fmla="*/ 2147483647 h 54"/>
                <a:gd name="T62" fmla="*/ 2147483647 w 145"/>
                <a:gd name="T63" fmla="*/ 2147483647 h 54"/>
                <a:gd name="T64" fmla="*/ 2147483647 w 145"/>
                <a:gd name="T65" fmla="*/ 2147483647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54"/>
                <a:gd name="T101" fmla="*/ 145 w 145"/>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54">
                  <a:moveTo>
                    <a:pt x="144" y="51"/>
                  </a:moveTo>
                  <a:lnTo>
                    <a:pt x="143" y="49"/>
                  </a:lnTo>
                  <a:lnTo>
                    <a:pt x="143" y="47"/>
                  </a:lnTo>
                  <a:lnTo>
                    <a:pt x="145" y="41"/>
                  </a:lnTo>
                  <a:lnTo>
                    <a:pt x="145" y="39"/>
                  </a:lnTo>
                  <a:lnTo>
                    <a:pt x="144" y="38"/>
                  </a:lnTo>
                  <a:lnTo>
                    <a:pt x="141" y="37"/>
                  </a:lnTo>
                  <a:lnTo>
                    <a:pt x="139" y="37"/>
                  </a:lnTo>
                  <a:lnTo>
                    <a:pt x="134" y="37"/>
                  </a:lnTo>
                  <a:lnTo>
                    <a:pt x="129" y="36"/>
                  </a:lnTo>
                  <a:lnTo>
                    <a:pt x="126" y="34"/>
                  </a:lnTo>
                  <a:lnTo>
                    <a:pt x="124" y="32"/>
                  </a:lnTo>
                  <a:lnTo>
                    <a:pt x="121" y="31"/>
                  </a:lnTo>
                  <a:lnTo>
                    <a:pt x="120" y="31"/>
                  </a:lnTo>
                  <a:lnTo>
                    <a:pt x="117" y="31"/>
                  </a:lnTo>
                  <a:lnTo>
                    <a:pt x="116" y="31"/>
                  </a:lnTo>
                  <a:lnTo>
                    <a:pt x="110" y="24"/>
                  </a:lnTo>
                  <a:lnTo>
                    <a:pt x="102" y="19"/>
                  </a:lnTo>
                  <a:lnTo>
                    <a:pt x="93" y="17"/>
                  </a:lnTo>
                  <a:lnTo>
                    <a:pt x="89" y="17"/>
                  </a:lnTo>
                  <a:lnTo>
                    <a:pt x="86" y="17"/>
                  </a:lnTo>
                  <a:lnTo>
                    <a:pt x="70" y="19"/>
                  </a:lnTo>
                  <a:lnTo>
                    <a:pt x="64" y="19"/>
                  </a:lnTo>
                  <a:lnTo>
                    <a:pt x="56" y="18"/>
                  </a:lnTo>
                  <a:lnTo>
                    <a:pt x="54" y="15"/>
                  </a:lnTo>
                  <a:lnTo>
                    <a:pt x="53" y="13"/>
                  </a:lnTo>
                  <a:lnTo>
                    <a:pt x="51" y="11"/>
                  </a:lnTo>
                  <a:lnTo>
                    <a:pt x="49" y="9"/>
                  </a:lnTo>
                  <a:lnTo>
                    <a:pt x="42" y="7"/>
                  </a:lnTo>
                  <a:lnTo>
                    <a:pt x="37" y="5"/>
                  </a:lnTo>
                  <a:lnTo>
                    <a:pt x="28" y="0"/>
                  </a:lnTo>
                  <a:lnTo>
                    <a:pt x="27" y="0"/>
                  </a:lnTo>
                  <a:lnTo>
                    <a:pt x="25" y="1"/>
                  </a:lnTo>
                  <a:lnTo>
                    <a:pt x="21" y="2"/>
                  </a:lnTo>
                  <a:lnTo>
                    <a:pt x="18" y="2"/>
                  </a:lnTo>
                  <a:lnTo>
                    <a:pt x="17" y="2"/>
                  </a:lnTo>
                  <a:lnTo>
                    <a:pt x="16" y="1"/>
                  </a:lnTo>
                  <a:lnTo>
                    <a:pt x="16" y="0"/>
                  </a:lnTo>
                  <a:lnTo>
                    <a:pt x="12" y="1"/>
                  </a:lnTo>
                  <a:lnTo>
                    <a:pt x="9" y="2"/>
                  </a:lnTo>
                  <a:lnTo>
                    <a:pt x="6" y="6"/>
                  </a:lnTo>
                  <a:lnTo>
                    <a:pt x="0" y="17"/>
                  </a:lnTo>
                  <a:lnTo>
                    <a:pt x="6" y="20"/>
                  </a:lnTo>
                  <a:lnTo>
                    <a:pt x="9" y="25"/>
                  </a:lnTo>
                  <a:lnTo>
                    <a:pt x="12" y="27"/>
                  </a:lnTo>
                  <a:lnTo>
                    <a:pt x="16" y="30"/>
                  </a:lnTo>
                  <a:lnTo>
                    <a:pt x="21" y="31"/>
                  </a:lnTo>
                  <a:lnTo>
                    <a:pt x="25" y="32"/>
                  </a:lnTo>
                  <a:lnTo>
                    <a:pt x="27" y="32"/>
                  </a:lnTo>
                  <a:lnTo>
                    <a:pt x="30" y="32"/>
                  </a:lnTo>
                  <a:lnTo>
                    <a:pt x="36" y="34"/>
                  </a:lnTo>
                  <a:lnTo>
                    <a:pt x="40" y="37"/>
                  </a:lnTo>
                  <a:lnTo>
                    <a:pt x="44" y="38"/>
                  </a:lnTo>
                  <a:lnTo>
                    <a:pt x="46" y="38"/>
                  </a:lnTo>
                  <a:lnTo>
                    <a:pt x="49" y="36"/>
                  </a:lnTo>
                  <a:lnTo>
                    <a:pt x="50" y="36"/>
                  </a:lnTo>
                  <a:lnTo>
                    <a:pt x="51" y="36"/>
                  </a:lnTo>
                  <a:lnTo>
                    <a:pt x="70" y="41"/>
                  </a:lnTo>
                  <a:lnTo>
                    <a:pt x="89" y="45"/>
                  </a:lnTo>
                  <a:lnTo>
                    <a:pt x="110" y="49"/>
                  </a:lnTo>
                  <a:lnTo>
                    <a:pt x="130" y="50"/>
                  </a:lnTo>
                  <a:lnTo>
                    <a:pt x="133" y="52"/>
                  </a:lnTo>
                  <a:lnTo>
                    <a:pt x="136" y="54"/>
                  </a:lnTo>
                  <a:lnTo>
                    <a:pt x="139" y="54"/>
                  </a:lnTo>
                  <a:lnTo>
                    <a:pt x="140" y="53"/>
                  </a:lnTo>
                  <a:lnTo>
                    <a:pt x="141" y="51"/>
                  </a:lnTo>
                  <a:lnTo>
                    <a:pt x="144" y="5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2" name="Freeform 831"/>
            <p:cNvSpPr>
              <a:spLocks/>
            </p:cNvSpPr>
            <p:nvPr/>
          </p:nvSpPr>
          <p:spPr bwMode="auto">
            <a:xfrm>
              <a:off x="7070729" y="4262441"/>
              <a:ext cx="273049" cy="273050"/>
            </a:xfrm>
            <a:custGeom>
              <a:avLst/>
              <a:gdLst>
                <a:gd name="T0" fmla="*/ 2147483647 w 187"/>
                <a:gd name="T1" fmla="*/ 0 h 172"/>
                <a:gd name="T2" fmla="*/ 2147483647 w 187"/>
                <a:gd name="T3" fmla="*/ 2147483647 h 172"/>
                <a:gd name="T4" fmla="*/ 2147483647 w 187"/>
                <a:gd name="T5" fmla="*/ 2147483647 h 172"/>
                <a:gd name="T6" fmla="*/ 2147483647 w 187"/>
                <a:gd name="T7" fmla="*/ 2147483647 h 172"/>
                <a:gd name="T8" fmla="*/ 2147483647 w 187"/>
                <a:gd name="T9" fmla="*/ 2147483647 h 172"/>
                <a:gd name="T10" fmla="*/ 2147483647 w 187"/>
                <a:gd name="T11" fmla="*/ 2147483647 h 172"/>
                <a:gd name="T12" fmla="*/ 2147483647 w 187"/>
                <a:gd name="T13" fmla="*/ 2147483647 h 172"/>
                <a:gd name="T14" fmla="*/ 2147483647 w 187"/>
                <a:gd name="T15" fmla="*/ 2147483647 h 172"/>
                <a:gd name="T16" fmla="*/ 2147483647 w 187"/>
                <a:gd name="T17" fmla="*/ 2147483647 h 172"/>
                <a:gd name="T18" fmla="*/ 2147483647 w 187"/>
                <a:gd name="T19" fmla="*/ 2147483647 h 172"/>
                <a:gd name="T20" fmla="*/ 0 w 187"/>
                <a:gd name="T21" fmla="*/ 2147483647 h 172"/>
                <a:gd name="T22" fmla="*/ 2147483647 w 187"/>
                <a:gd name="T23" fmla="*/ 2147483647 h 172"/>
                <a:gd name="T24" fmla="*/ 2147483647 w 187"/>
                <a:gd name="T25" fmla="*/ 2147483647 h 172"/>
                <a:gd name="T26" fmla="*/ 2147483647 w 187"/>
                <a:gd name="T27" fmla="*/ 2147483647 h 172"/>
                <a:gd name="T28" fmla="*/ 2147483647 w 187"/>
                <a:gd name="T29" fmla="*/ 2147483647 h 172"/>
                <a:gd name="T30" fmla="*/ 2147483647 w 187"/>
                <a:gd name="T31" fmla="*/ 2147483647 h 172"/>
                <a:gd name="T32" fmla="*/ 2147483647 w 187"/>
                <a:gd name="T33" fmla="*/ 2147483647 h 172"/>
                <a:gd name="T34" fmla="*/ 2147483647 w 187"/>
                <a:gd name="T35" fmla="*/ 2147483647 h 172"/>
                <a:gd name="T36" fmla="*/ 2147483647 w 187"/>
                <a:gd name="T37" fmla="*/ 2147483647 h 172"/>
                <a:gd name="T38" fmla="*/ 2147483647 w 187"/>
                <a:gd name="T39" fmla="*/ 2147483647 h 172"/>
                <a:gd name="T40" fmla="*/ 2147483647 w 187"/>
                <a:gd name="T41" fmla="*/ 2147483647 h 172"/>
                <a:gd name="T42" fmla="*/ 2147483647 w 187"/>
                <a:gd name="T43" fmla="*/ 2147483647 h 172"/>
                <a:gd name="T44" fmla="*/ 2147483647 w 187"/>
                <a:gd name="T45" fmla="*/ 2147483647 h 172"/>
                <a:gd name="T46" fmla="*/ 2147483647 w 187"/>
                <a:gd name="T47" fmla="*/ 2147483647 h 172"/>
                <a:gd name="T48" fmla="*/ 2147483647 w 187"/>
                <a:gd name="T49" fmla="*/ 2147483647 h 172"/>
                <a:gd name="T50" fmla="*/ 2147483647 w 187"/>
                <a:gd name="T51" fmla="*/ 2147483647 h 172"/>
                <a:gd name="T52" fmla="*/ 2147483647 w 187"/>
                <a:gd name="T53" fmla="*/ 2147483647 h 172"/>
                <a:gd name="T54" fmla="*/ 2147483647 w 187"/>
                <a:gd name="T55" fmla="*/ 2147483647 h 172"/>
                <a:gd name="T56" fmla="*/ 2147483647 w 187"/>
                <a:gd name="T57" fmla="*/ 2147483647 h 172"/>
                <a:gd name="T58" fmla="*/ 2147483647 w 187"/>
                <a:gd name="T59" fmla="*/ 2147483647 h 172"/>
                <a:gd name="T60" fmla="*/ 2147483647 w 187"/>
                <a:gd name="T61" fmla="*/ 2147483647 h 172"/>
                <a:gd name="T62" fmla="*/ 2147483647 w 187"/>
                <a:gd name="T63" fmla="*/ 2147483647 h 172"/>
                <a:gd name="T64" fmla="*/ 2147483647 w 187"/>
                <a:gd name="T65" fmla="*/ 2147483647 h 172"/>
                <a:gd name="T66" fmla="*/ 2147483647 w 187"/>
                <a:gd name="T67" fmla="*/ 2147483647 h 172"/>
                <a:gd name="T68" fmla="*/ 2147483647 w 187"/>
                <a:gd name="T69" fmla="*/ 2147483647 h 172"/>
                <a:gd name="T70" fmla="*/ 2147483647 w 187"/>
                <a:gd name="T71" fmla="*/ 2147483647 h 172"/>
                <a:gd name="T72" fmla="*/ 2147483647 w 187"/>
                <a:gd name="T73" fmla="*/ 2147483647 h 172"/>
                <a:gd name="T74" fmla="*/ 2147483647 w 187"/>
                <a:gd name="T75" fmla="*/ 2147483647 h 172"/>
                <a:gd name="T76" fmla="*/ 2147483647 w 187"/>
                <a:gd name="T77" fmla="*/ 2147483647 h 172"/>
                <a:gd name="T78" fmla="*/ 2147483647 w 187"/>
                <a:gd name="T79" fmla="*/ 2147483647 h 172"/>
                <a:gd name="T80" fmla="*/ 2147483647 w 187"/>
                <a:gd name="T81" fmla="*/ 2147483647 h 172"/>
                <a:gd name="T82" fmla="*/ 2147483647 w 187"/>
                <a:gd name="T83" fmla="*/ 2147483647 h 172"/>
                <a:gd name="T84" fmla="*/ 2147483647 w 187"/>
                <a:gd name="T85" fmla="*/ 2147483647 h 172"/>
                <a:gd name="T86" fmla="*/ 2147483647 w 187"/>
                <a:gd name="T87" fmla="*/ 2147483647 h 172"/>
                <a:gd name="T88" fmla="*/ 2147483647 w 187"/>
                <a:gd name="T89" fmla="*/ 2147483647 h 172"/>
                <a:gd name="T90" fmla="*/ 2147483647 w 187"/>
                <a:gd name="T91" fmla="*/ 2147483647 h 172"/>
                <a:gd name="T92" fmla="*/ 2147483647 w 187"/>
                <a:gd name="T93" fmla="*/ 2147483647 h 172"/>
                <a:gd name="T94" fmla="*/ 2147483647 w 187"/>
                <a:gd name="T95" fmla="*/ 2147483647 h 172"/>
                <a:gd name="T96" fmla="*/ 2147483647 w 187"/>
                <a:gd name="T97" fmla="*/ 2147483647 h 172"/>
                <a:gd name="T98" fmla="*/ 2147483647 w 187"/>
                <a:gd name="T99" fmla="*/ 2147483647 h 172"/>
                <a:gd name="T100" fmla="*/ 2147483647 w 187"/>
                <a:gd name="T101" fmla="*/ 2147483647 h 1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
                <a:gd name="T154" fmla="*/ 0 h 172"/>
                <a:gd name="T155" fmla="*/ 187 w 187"/>
                <a:gd name="T156" fmla="*/ 172 h 1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 h="172">
                  <a:moveTo>
                    <a:pt x="154" y="3"/>
                  </a:moveTo>
                  <a:lnTo>
                    <a:pt x="154" y="3"/>
                  </a:lnTo>
                  <a:lnTo>
                    <a:pt x="146" y="0"/>
                  </a:lnTo>
                  <a:lnTo>
                    <a:pt x="139" y="0"/>
                  </a:lnTo>
                  <a:lnTo>
                    <a:pt x="136" y="0"/>
                  </a:lnTo>
                  <a:lnTo>
                    <a:pt x="132" y="1"/>
                  </a:lnTo>
                  <a:lnTo>
                    <a:pt x="130" y="3"/>
                  </a:lnTo>
                  <a:lnTo>
                    <a:pt x="127" y="6"/>
                  </a:lnTo>
                  <a:lnTo>
                    <a:pt x="124" y="12"/>
                  </a:lnTo>
                  <a:lnTo>
                    <a:pt x="121" y="20"/>
                  </a:lnTo>
                  <a:lnTo>
                    <a:pt x="116" y="26"/>
                  </a:lnTo>
                  <a:lnTo>
                    <a:pt x="113" y="30"/>
                  </a:lnTo>
                  <a:lnTo>
                    <a:pt x="111" y="32"/>
                  </a:lnTo>
                  <a:lnTo>
                    <a:pt x="103" y="42"/>
                  </a:lnTo>
                  <a:lnTo>
                    <a:pt x="97" y="49"/>
                  </a:lnTo>
                  <a:lnTo>
                    <a:pt x="94" y="50"/>
                  </a:lnTo>
                  <a:lnTo>
                    <a:pt x="92" y="51"/>
                  </a:lnTo>
                  <a:lnTo>
                    <a:pt x="77" y="51"/>
                  </a:lnTo>
                  <a:lnTo>
                    <a:pt x="73" y="52"/>
                  </a:lnTo>
                  <a:lnTo>
                    <a:pt x="70" y="52"/>
                  </a:lnTo>
                  <a:lnTo>
                    <a:pt x="64" y="57"/>
                  </a:lnTo>
                  <a:lnTo>
                    <a:pt x="52" y="64"/>
                  </a:lnTo>
                  <a:lnTo>
                    <a:pt x="44" y="69"/>
                  </a:lnTo>
                  <a:lnTo>
                    <a:pt x="40" y="70"/>
                  </a:lnTo>
                  <a:lnTo>
                    <a:pt x="36" y="70"/>
                  </a:lnTo>
                  <a:lnTo>
                    <a:pt x="33" y="69"/>
                  </a:lnTo>
                  <a:lnTo>
                    <a:pt x="30" y="68"/>
                  </a:lnTo>
                  <a:lnTo>
                    <a:pt x="26" y="63"/>
                  </a:lnTo>
                  <a:lnTo>
                    <a:pt x="19" y="52"/>
                  </a:lnTo>
                  <a:lnTo>
                    <a:pt x="17" y="54"/>
                  </a:lnTo>
                  <a:lnTo>
                    <a:pt x="13" y="55"/>
                  </a:lnTo>
                  <a:lnTo>
                    <a:pt x="11" y="56"/>
                  </a:lnTo>
                  <a:lnTo>
                    <a:pt x="9" y="58"/>
                  </a:lnTo>
                  <a:lnTo>
                    <a:pt x="7" y="71"/>
                  </a:lnTo>
                  <a:lnTo>
                    <a:pt x="4" y="77"/>
                  </a:lnTo>
                  <a:lnTo>
                    <a:pt x="0" y="83"/>
                  </a:lnTo>
                  <a:lnTo>
                    <a:pt x="0" y="84"/>
                  </a:lnTo>
                  <a:lnTo>
                    <a:pt x="0" y="87"/>
                  </a:lnTo>
                  <a:lnTo>
                    <a:pt x="4" y="90"/>
                  </a:lnTo>
                  <a:lnTo>
                    <a:pt x="7" y="95"/>
                  </a:lnTo>
                  <a:lnTo>
                    <a:pt x="13" y="105"/>
                  </a:lnTo>
                  <a:lnTo>
                    <a:pt x="14" y="106"/>
                  </a:lnTo>
                  <a:lnTo>
                    <a:pt x="17" y="106"/>
                  </a:lnTo>
                  <a:lnTo>
                    <a:pt x="19" y="107"/>
                  </a:lnTo>
                  <a:lnTo>
                    <a:pt x="21" y="109"/>
                  </a:lnTo>
                  <a:lnTo>
                    <a:pt x="22" y="114"/>
                  </a:lnTo>
                  <a:lnTo>
                    <a:pt x="22" y="118"/>
                  </a:lnTo>
                  <a:lnTo>
                    <a:pt x="25" y="121"/>
                  </a:lnTo>
                  <a:lnTo>
                    <a:pt x="28" y="125"/>
                  </a:lnTo>
                  <a:lnTo>
                    <a:pt x="28" y="126"/>
                  </a:lnTo>
                  <a:lnTo>
                    <a:pt x="28" y="128"/>
                  </a:lnTo>
                  <a:lnTo>
                    <a:pt x="28" y="133"/>
                  </a:lnTo>
                  <a:lnTo>
                    <a:pt x="30" y="140"/>
                  </a:lnTo>
                  <a:lnTo>
                    <a:pt x="33" y="148"/>
                  </a:lnTo>
                  <a:lnTo>
                    <a:pt x="37" y="150"/>
                  </a:lnTo>
                  <a:lnTo>
                    <a:pt x="41" y="151"/>
                  </a:lnTo>
                  <a:lnTo>
                    <a:pt x="44" y="153"/>
                  </a:lnTo>
                  <a:lnTo>
                    <a:pt x="46" y="154"/>
                  </a:lnTo>
                  <a:lnTo>
                    <a:pt x="49" y="156"/>
                  </a:lnTo>
                  <a:lnTo>
                    <a:pt x="50" y="157"/>
                  </a:lnTo>
                  <a:lnTo>
                    <a:pt x="55" y="156"/>
                  </a:lnTo>
                  <a:lnTo>
                    <a:pt x="60" y="153"/>
                  </a:lnTo>
                  <a:lnTo>
                    <a:pt x="65" y="153"/>
                  </a:lnTo>
                  <a:lnTo>
                    <a:pt x="65" y="154"/>
                  </a:lnTo>
                  <a:lnTo>
                    <a:pt x="65" y="157"/>
                  </a:lnTo>
                  <a:lnTo>
                    <a:pt x="61" y="164"/>
                  </a:lnTo>
                  <a:lnTo>
                    <a:pt x="61" y="167"/>
                  </a:lnTo>
                  <a:lnTo>
                    <a:pt x="63" y="167"/>
                  </a:lnTo>
                  <a:lnTo>
                    <a:pt x="65" y="167"/>
                  </a:lnTo>
                  <a:lnTo>
                    <a:pt x="69" y="166"/>
                  </a:lnTo>
                  <a:lnTo>
                    <a:pt x="74" y="164"/>
                  </a:lnTo>
                  <a:lnTo>
                    <a:pt x="75" y="163"/>
                  </a:lnTo>
                  <a:lnTo>
                    <a:pt x="78" y="163"/>
                  </a:lnTo>
                  <a:lnTo>
                    <a:pt x="80" y="163"/>
                  </a:lnTo>
                  <a:lnTo>
                    <a:pt x="82" y="165"/>
                  </a:lnTo>
                  <a:lnTo>
                    <a:pt x="83" y="164"/>
                  </a:lnTo>
                  <a:lnTo>
                    <a:pt x="87" y="164"/>
                  </a:lnTo>
                  <a:lnTo>
                    <a:pt x="91" y="164"/>
                  </a:lnTo>
                  <a:lnTo>
                    <a:pt x="93" y="162"/>
                  </a:lnTo>
                  <a:lnTo>
                    <a:pt x="94" y="159"/>
                  </a:lnTo>
                  <a:lnTo>
                    <a:pt x="97" y="158"/>
                  </a:lnTo>
                  <a:lnTo>
                    <a:pt x="98" y="158"/>
                  </a:lnTo>
                  <a:lnTo>
                    <a:pt x="101" y="160"/>
                  </a:lnTo>
                  <a:lnTo>
                    <a:pt x="106" y="166"/>
                  </a:lnTo>
                  <a:lnTo>
                    <a:pt x="111" y="171"/>
                  </a:lnTo>
                  <a:lnTo>
                    <a:pt x="112" y="172"/>
                  </a:lnTo>
                  <a:lnTo>
                    <a:pt x="113" y="172"/>
                  </a:lnTo>
                  <a:lnTo>
                    <a:pt x="116" y="170"/>
                  </a:lnTo>
                  <a:lnTo>
                    <a:pt x="117" y="169"/>
                  </a:lnTo>
                  <a:lnTo>
                    <a:pt x="120" y="166"/>
                  </a:lnTo>
                  <a:lnTo>
                    <a:pt x="121" y="164"/>
                  </a:lnTo>
                  <a:lnTo>
                    <a:pt x="125" y="157"/>
                  </a:lnTo>
                  <a:lnTo>
                    <a:pt x="129" y="151"/>
                  </a:lnTo>
                  <a:lnTo>
                    <a:pt x="135" y="146"/>
                  </a:lnTo>
                  <a:lnTo>
                    <a:pt x="143" y="141"/>
                  </a:lnTo>
                  <a:lnTo>
                    <a:pt x="144" y="139"/>
                  </a:lnTo>
                  <a:lnTo>
                    <a:pt x="145" y="137"/>
                  </a:lnTo>
                  <a:lnTo>
                    <a:pt x="143" y="130"/>
                  </a:lnTo>
                  <a:lnTo>
                    <a:pt x="143" y="126"/>
                  </a:lnTo>
                  <a:lnTo>
                    <a:pt x="144" y="122"/>
                  </a:lnTo>
                  <a:lnTo>
                    <a:pt x="149" y="118"/>
                  </a:lnTo>
                  <a:lnTo>
                    <a:pt x="154" y="114"/>
                  </a:lnTo>
                  <a:lnTo>
                    <a:pt x="159" y="111"/>
                  </a:lnTo>
                  <a:lnTo>
                    <a:pt x="160" y="107"/>
                  </a:lnTo>
                  <a:lnTo>
                    <a:pt x="162" y="105"/>
                  </a:lnTo>
                  <a:lnTo>
                    <a:pt x="162" y="101"/>
                  </a:lnTo>
                  <a:lnTo>
                    <a:pt x="160" y="100"/>
                  </a:lnTo>
                  <a:lnTo>
                    <a:pt x="157" y="96"/>
                  </a:lnTo>
                  <a:lnTo>
                    <a:pt x="157" y="95"/>
                  </a:lnTo>
                  <a:lnTo>
                    <a:pt x="157" y="94"/>
                  </a:lnTo>
                  <a:lnTo>
                    <a:pt x="158" y="88"/>
                  </a:lnTo>
                  <a:lnTo>
                    <a:pt x="160" y="83"/>
                  </a:lnTo>
                  <a:lnTo>
                    <a:pt x="163" y="80"/>
                  </a:lnTo>
                  <a:lnTo>
                    <a:pt x="164" y="75"/>
                  </a:lnTo>
                  <a:lnTo>
                    <a:pt x="164" y="73"/>
                  </a:lnTo>
                  <a:lnTo>
                    <a:pt x="165" y="70"/>
                  </a:lnTo>
                  <a:lnTo>
                    <a:pt x="167" y="69"/>
                  </a:lnTo>
                  <a:lnTo>
                    <a:pt x="169" y="70"/>
                  </a:lnTo>
                  <a:lnTo>
                    <a:pt x="172" y="73"/>
                  </a:lnTo>
                  <a:lnTo>
                    <a:pt x="176" y="73"/>
                  </a:lnTo>
                  <a:lnTo>
                    <a:pt x="177" y="71"/>
                  </a:lnTo>
                  <a:lnTo>
                    <a:pt x="179" y="73"/>
                  </a:lnTo>
                  <a:lnTo>
                    <a:pt x="182" y="74"/>
                  </a:lnTo>
                  <a:lnTo>
                    <a:pt x="186" y="74"/>
                  </a:lnTo>
                  <a:lnTo>
                    <a:pt x="187" y="73"/>
                  </a:lnTo>
                  <a:lnTo>
                    <a:pt x="187" y="70"/>
                  </a:lnTo>
                  <a:lnTo>
                    <a:pt x="183" y="65"/>
                  </a:lnTo>
                  <a:lnTo>
                    <a:pt x="179" y="63"/>
                  </a:lnTo>
                  <a:lnTo>
                    <a:pt x="174" y="60"/>
                  </a:lnTo>
                  <a:lnTo>
                    <a:pt x="171" y="57"/>
                  </a:lnTo>
                  <a:lnTo>
                    <a:pt x="169" y="56"/>
                  </a:lnTo>
                  <a:lnTo>
                    <a:pt x="169" y="55"/>
                  </a:lnTo>
                  <a:lnTo>
                    <a:pt x="169" y="54"/>
                  </a:lnTo>
                  <a:lnTo>
                    <a:pt x="171" y="51"/>
                  </a:lnTo>
                  <a:lnTo>
                    <a:pt x="172" y="50"/>
                  </a:lnTo>
                  <a:lnTo>
                    <a:pt x="173" y="48"/>
                  </a:lnTo>
                  <a:lnTo>
                    <a:pt x="172" y="44"/>
                  </a:lnTo>
                  <a:lnTo>
                    <a:pt x="169" y="42"/>
                  </a:lnTo>
                  <a:lnTo>
                    <a:pt x="164" y="37"/>
                  </a:lnTo>
                  <a:lnTo>
                    <a:pt x="163" y="36"/>
                  </a:lnTo>
                  <a:lnTo>
                    <a:pt x="160" y="37"/>
                  </a:lnTo>
                  <a:lnTo>
                    <a:pt x="159" y="37"/>
                  </a:lnTo>
                  <a:lnTo>
                    <a:pt x="158" y="37"/>
                  </a:lnTo>
                  <a:lnTo>
                    <a:pt x="157" y="35"/>
                  </a:lnTo>
                  <a:lnTo>
                    <a:pt x="157" y="31"/>
                  </a:lnTo>
                  <a:lnTo>
                    <a:pt x="159" y="26"/>
                  </a:lnTo>
                  <a:lnTo>
                    <a:pt x="160" y="24"/>
                  </a:lnTo>
                  <a:lnTo>
                    <a:pt x="159" y="23"/>
                  </a:lnTo>
                  <a:lnTo>
                    <a:pt x="157" y="20"/>
                  </a:lnTo>
                  <a:lnTo>
                    <a:pt x="157" y="19"/>
                  </a:lnTo>
                  <a:lnTo>
                    <a:pt x="157" y="18"/>
                  </a:lnTo>
                  <a:lnTo>
                    <a:pt x="159" y="17"/>
                  </a:lnTo>
                  <a:lnTo>
                    <a:pt x="159" y="15"/>
                  </a:lnTo>
                  <a:lnTo>
                    <a:pt x="159" y="13"/>
                  </a:lnTo>
                  <a:lnTo>
                    <a:pt x="158" y="10"/>
                  </a:lnTo>
                  <a:lnTo>
                    <a:pt x="155" y="6"/>
                  </a:lnTo>
                  <a:lnTo>
                    <a:pt x="154"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3" name="Freeform 832"/>
            <p:cNvSpPr>
              <a:spLocks/>
            </p:cNvSpPr>
            <p:nvPr/>
          </p:nvSpPr>
          <p:spPr bwMode="auto">
            <a:xfrm>
              <a:off x="7007226" y="4592638"/>
              <a:ext cx="212725" cy="85725"/>
            </a:xfrm>
            <a:custGeom>
              <a:avLst/>
              <a:gdLst>
                <a:gd name="T0" fmla="*/ 2147483647 w 145"/>
                <a:gd name="T1" fmla="*/ 2147483647 h 54"/>
                <a:gd name="T2" fmla="*/ 2147483647 w 145"/>
                <a:gd name="T3" fmla="*/ 2147483647 h 54"/>
                <a:gd name="T4" fmla="*/ 2147483647 w 145"/>
                <a:gd name="T5" fmla="*/ 2147483647 h 54"/>
                <a:gd name="T6" fmla="*/ 2147483647 w 145"/>
                <a:gd name="T7" fmla="*/ 2147483647 h 54"/>
                <a:gd name="T8" fmla="*/ 2147483647 w 145"/>
                <a:gd name="T9" fmla="*/ 2147483647 h 54"/>
                <a:gd name="T10" fmla="*/ 2147483647 w 145"/>
                <a:gd name="T11" fmla="*/ 2147483647 h 54"/>
                <a:gd name="T12" fmla="*/ 2147483647 w 145"/>
                <a:gd name="T13" fmla="*/ 2147483647 h 54"/>
                <a:gd name="T14" fmla="*/ 2147483647 w 145"/>
                <a:gd name="T15" fmla="*/ 2147483647 h 54"/>
                <a:gd name="T16" fmla="*/ 2147483647 w 145"/>
                <a:gd name="T17" fmla="*/ 2147483647 h 54"/>
                <a:gd name="T18" fmla="*/ 2147483647 w 145"/>
                <a:gd name="T19" fmla="*/ 2147483647 h 54"/>
                <a:gd name="T20" fmla="*/ 2147483647 w 145"/>
                <a:gd name="T21" fmla="*/ 2147483647 h 54"/>
                <a:gd name="T22" fmla="*/ 2147483647 w 145"/>
                <a:gd name="T23" fmla="*/ 2147483647 h 54"/>
                <a:gd name="T24" fmla="*/ 2147483647 w 145"/>
                <a:gd name="T25" fmla="*/ 2147483647 h 54"/>
                <a:gd name="T26" fmla="*/ 2147483647 w 145"/>
                <a:gd name="T27" fmla="*/ 2147483647 h 54"/>
                <a:gd name="T28" fmla="*/ 2147483647 w 145"/>
                <a:gd name="T29" fmla="*/ 2147483647 h 54"/>
                <a:gd name="T30" fmla="*/ 2147483647 w 145"/>
                <a:gd name="T31" fmla="*/ 2147483647 h 54"/>
                <a:gd name="T32" fmla="*/ 2147483647 w 145"/>
                <a:gd name="T33" fmla="*/ 2147483647 h 54"/>
                <a:gd name="T34" fmla="*/ 2147483647 w 145"/>
                <a:gd name="T35" fmla="*/ 2147483647 h 54"/>
                <a:gd name="T36" fmla="*/ 2147483647 w 145"/>
                <a:gd name="T37" fmla="*/ 2147483647 h 54"/>
                <a:gd name="T38" fmla="*/ 2147483647 w 145"/>
                <a:gd name="T39" fmla="*/ 0 h 54"/>
                <a:gd name="T40" fmla="*/ 2147483647 w 145"/>
                <a:gd name="T41" fmla="*/ 2147483647 h 54"/>
                <a:gd name="T42" fmla="*/ 2147483647 w 145"/>
                <a:gd name="T43" fmla="*/ 2147483647 h 54"/>
                <a:gd name="T44" fmla="*/ 2147483647 w 145"/>
                <a:gd name="T45" fmla="*/ 2147483647 h 54"/>
                <a:gd name="T46" fmla="*/ 2147483647 w 145"/>
                <a:gd name="T47" fmla="*/ 0 h 54"/>
                <a:gd name="T48" fmla="*/ 2147483647 w 145"/>
                <a:gd name="T49" fmla="*/ 2147483647 h 54"/>
                <a:gd name="T50" fmla="*/ 2147483647 w 145"/>
                <a:gd name="T51" fmla="*/ 2147483647 h 54"/>
                <a:gd name="T52" fmla="*/ 0 w 145"/>
                <a:gd name="T53" fmla="*/ 2147483647 h 54"/>
                <a:gd name="T54" fmla="*/ 2147483647 w 145"/>
                <a:gd name="T55" fmla="*/ 2147483647 h 54"/>
                <a:gd name="T56" fmla="*/ 2147483647 w 145"/>
                <a:gd name="T57" fmla="*/ 2147483647 h 54"/>
                <a:gd name="T58" fmla="*/ 2147483647 w 145"/>
                <a:gd name="T59" fmla="*/ 2147483647 h 54"/>
                <a:gd name="T60" fmla="*/ 2147483647 w 145"/>
                <a:gd name="T61" fmla="*/ 2147483647 h 54"/>
                <a:gd name="T62" fmla="*/ 2147483647 w 145"/>
                <a:gd name="T63" fmla="*/ 2147483647 h 54"/>
                <a:gd name="T64" fmla="*/ 2147483647 w 145"/>
                <a:gd name="T65" fmla="*/ 2147483647 h 54"/>
                <a:gd name="T66" fmla="*/ 2147483647 w 145"/>
                <a:gd name="T67" fmla="*/ 2147483647 h 54"/>
                <a:gd name="T68" fmla="*/ 2147483647 w 145"/>
                <a:gd name="T69" fmla="*/ 2147483647 h 54"/>
                <a:gd name="T70" fmla="*/ 2147483647 w 145"/>
                <a:gd name="T71" fmla="*/ 2147483647 h 54"/>
                <a:gd name="T72" fmla="*/ 2147483647 w 145"/>
                <a:gd name="T73" fmla="*/ 2147483647 h 54"/>
                <a:gd name="T74" fmla="*/ 2147483647 w 145"/>
                <a:gd name="T75" fmla="*/ 2147483647 h 54"/>
                <a:gd name="T76" fmla="*/ 2147483647 w 145"/>
                <a:gd name="T77" fmla="*/ 2147483647 h 54"/>
                <a:gd name="T78" fmla="*/ 2147483647 w 145"/>
                <a:gd name="T79" fmla="*/ 2147483647 h 54"/>
                <a:gd name="T80" fmla="*/ 2147483647 w 145"/>
                <a:gd name="T81" fmla="*/ 2147483647 h 54"/>
                <a:gd name="T82" fmla="*/ 2147483647 w 145"/>
                <a:gd name="T83" fmla="*/ 2147483647 h 54"/>
                <a:gd name="T84" fmla="*/ 2147483647 w 145"/>
                <a:gd name="T85" fmla="*/ 2147483647 h 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54"/>
                <a:gd name="T131" fmla="*/ 145 w 145"/>
                <a:gd name="T132" fmla="*/ 54 h 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54">
                  <a:moveTo>
                    <a:pt x="144" y="51"/>
                  </a:moveTo>
                  <a:lnTo>
                    <a:pt x="144" y="51"/>
                  </a:lnTo>
                  <a:lnTo>
                    <a:pt x="142" y="48"/>
                  </a:lnTo>
                  <a:lnTo>
                    <a:pt x="142" y="47"/>
                  </a:lnTo>
                  <a:lnTo>
                    <a:pt x="145" y="41"/>
                  </a:lnTo>
                  <a:lnTo>
                    <a:pt x="145" y="39"/>
                  </a:lnTo>
                  <a:lnTo>
                    <a:pt x="144" y="38"/>
                  </a:lnTo>
                  <a:lnTo>
                    <a:pt x="141" y="37"/>
                  </a:lnTo>
                  <a:lnTo>
                    <a:pt x="139" y="37"/>
                  </a:lnTo>
                  <a:lnTo>
                    <a:pt x="134" y="37"/>
                  </a:lnTo>
                  <a:lnTo>
                    <a:pt x="128" y="35"/>
                  </a:lnTo>
                  <a:lnTo>
                    <a:pt x="126" y="34"/>
                  </a:lnTo>
                  <a:lnTo>
                    <a:pt x="123" y="32"/>
                  </a:lnTo>
                  <a:lnTo>
                    <a:pt x="121" y="31"/>
                  </a:lnTo>
                  <a:lnTo>
                    <a:pt x="120" y="31"/>
                  </a:lnTo>
                  <a:lnTo>
                    <a:pt x="117" y="31"/>
                  </a:lnTo>
                  <a:lnTo>
                    <a:pt x="116" y="31"/>
                  </a:lnTo>
                  <a:lnTo>
                    <a:pt x="109" y="23"/>
                  </a:lnTo>
                  <a:lnTo>
                    <a:pt x="102" y="19"/>
                  </a:lnTo>
                  <a:lnTo>
                    <a:pt x="93" y="16"/>
                  </a:lnTo>
                  <a:lnTo>
                    <a:pt x="89" y="16"/>
                  </a:lnTo>
                  <a:lnTo>
                    <a:pt x="85" y="16"/>
                  </a:lnTo>
                  <a:lnTo>
                    <a:pt x="70" y="19"/>
                  </a:lnTo>
                  <a:lnTo>
                    <a:pt x="64" y="19"/>
                  </a:lnTo>
                  <a:lnTo>
                    <a:pt x="56" y="18"/>
                  </a:lnTo>
                  <a:lnTo>
                    <a:pt x="54" y="15"/>
                  </a:lnTo>
                  <a:lnTo>
                    <a:pt x="52" y="13"/>
                  </a:lnTo>
                  <a:lnTo>
                    <a:pt x="51" y="10"/>
                  </a:lnTo>
                  <a:lnTo>
                    <a:pt x="48" y="9"/>
                  </a:lnTo>
                  <a:lnTo>
                    <a:pt x="42" y="7"/>
                  </a:lnTo>
                  <a:lnTo>
                    <a:pt x="37" y="5"/>
                  </a:lnTo>
                  <a:lnTo>
                    <a:pt x="28" y="0"/>
                  </a:lnTo>
                  <a:lnTo>
                    <a:pt x="27" y="0"/>
                  </a:lnTo>
                  <a:lnTo>
                    <a:pt x="24" y="1"/>
                  </a:lnTo>
                  <a:lnTo>
                    <a:pt x="21" y="2"/>
                  </a:lnTo>
                  <a:lnTo>
                    <a:pt x="18" y="2"/>
                  </a:lnTo>
                  <a:lnTo>
                    <a:pt x="17" y="2"/>
                  </a:lnTo>
                  <a:lnTo>
                    <a:pt x="15" y="1"/>
                  </a:lnTo>
                  <a:lnTo>
                    <a:pt x="15" y="0"/>
                  </a:lnTo>
                  <a:lnTo>
                    <a:pt x="12" y="1"/>
                  </a:lnTo>
                  <a:lnTo>
                    <a:pt x="9" y="2"/>
                  </a:lnTo>
                  <a:lnTo>
                    <a:pt x="5" y="6"/>
                  </a:lnTo>
                  <a:lnTo>
                    <a:pt x="0" y="16"/>
                  </a:lnTo>
                  <a:lnTo>
                    <a:pt x="5" y="20"/>
                  </a:lnTo>
                  <a:lnTo>
                    <a:pt x="9" y="25"/>
                  </a:lnTo>
                  <a:lnTo>
                    <a:pt x="12" y="27"/>
                  </a:lnTo>
                  <a:lnTo>
                    <a:pt x="15" y="29"/>
                  </a:lnTo>
                  <a:lnTo>
                    <a:pt x="21" y="31"/>
                  </a:lnTo>
                  <a:lnTo>
                    <a:pt x="24" y="32"/>
                  </a:lnTo>
                  <a:lnTo>
                    <a:pt x="27" y="32"/>
                  </a:lnTo>
                  <a:lnTo>
                    <a:pt x="29" y="32"/>
                  </a:lnTo>
                  <a:lnTo>
                    <a:pt x="36" y="34"/>
                  </a:lnTo>
                  <a:lnTo>
                    <a:pt x="40" y="37"/>
                  </a:lnTo>
                  <a:lnTo>
                    <a:pt x="43" y="38"/>
                  </a:lnTo>
                  <a:lnTo>
                    <a:pt x="46" y="38"/>
                  </a:lnTo>
                  <a:lnTo>
                    <a:pt x="48" y="35"/>
                  </a:lnTo>
                  <a:lnTo>
                    <a:pt x="50" y="35"/>
                  </a:lnTo>
                  <a:lnTo>
                    <a:pt x="51" y="35"/>
                  </a:lnTo>
                  <a:lnTo>
                    <a:pt x="70" y="41"/>
                  </a:lnTo>
                  <a:lnTo>
                    <a:pt x="89" y="45"/>
                  </a:lnTo>
                  <a:lnTo>
                    <a:pt x="109" y="48"/>
                  </a:lnTo>
                  <a:lnTo>
                    <a:pt x="130" y="50"/>
                  </a:lnTo>
                  <a:lnTo>
                    <a:pt x="132" y="52"/>
                  </a:lnTo>
                  <a:lnTo>
                    <a:pt x="136" y="54"/>
                  </a:lnTo>
                  <a:lnTo>
                    <a:pt x="139" y="54"/>
                  </a:lnTo>
                  <a:lnTo>
                    <a:pt x="140" y="53"/>
                  </a:lnTo>
                  <a:lnTo>
                    <a:pt x="141" y="51"/>
                  </a:lnTo>
                  <a:lnTo>
                    <a:pt x="144" y="5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4" name="Freeform 833"/>
            <p:cNvSpPr>
              <a:spLocks/>
            </p:cNvSpPr>
            <p:nvPr/>
          </p:nvSpPr>
          <p:spPr bwMode="auto">
            <a:xfrm>
              <a:off x="7191375" y="4622802"/>
              <a:ext cx="33338" cy="11113"/>
            </a:xfrm>
            <a:custGeom>
              <a:avLst/>
              <a:gdLst>
                <a:gd name="T0" fmla="*/ 2147483647 w 23"/>
                <a:gd name="T1" fmla="*/ 0 h 7"/>
                <a:gd name="T2" fmla="*/ 2147483647 w 23"/>
                <a:gd name="T3" fmla="*/ 0 h 7"/>
                <a:gd name="T4" fmla="*/ 2147483647 w 23"/>
                <a:gd name="T5" fmla="*/ 0 h 7"/>
                <a:gd name="T6" fmla="*/ 2147483647 w 23"/>
                <a:gd name="T7" fmla="*/ 2147483647 h 7"/>
                <a:gd name="T8" fmla="*/ 2147483647 w 23"/>
                <a:gd name="T9" fmla="*/ 2147483647 h 7"/>
                <a:gd name="T10" fmla="*/ 2147483647 w 23"/>
                <a:gd name="T11" fmla="*/ 2147483647 h 7"/>
                <a:gd name="T12" fmla="*/ 2147483647 w 23"/>
                <a:gd name="T13" fmla="*/ 2147483647 h 7"/>
                <a:gd name="T14" fmla="*/ 2147483647 w 23"/>
                <a:gd name="T15" fmla="*/ 2147483647 h 7"/>
                <a:gd name="T16" fmla="*/ 2147483647 w 23"/>
                <a:gd name="T17" fmla="*/ 2147483647 h 7"/>
                <a:gd name="T18" fmla="*/ 2147483647 w 23"/>
                <a:gd name="T19" fmla="*/ 2147483647 h 7"/>
                <a:gd name="T20" fmla="*/ 2147483647 w 23"/>
                <a:gd name="T21" fmla="*/ 2147483647 h 7"/>
                <a:gd name="T22" fmla="*/ 0 w 23"/>
                <a:gd name="T23" fmla="*/ 2147483647 h 7"/>
                <a:gd name="T24" fmla="*/ 2147483647 w 23"/>
                <a:gd name="T25" fmla="*/ 2147483647 h 7"/>
                <a:gd name="T26" fmla="*/ 2147483647 w 23"/>
                <a:gd name="T27" fmla="*/ 0 h 7"/>
                <a:gd name="T28" fmla="*/ 2147483647 w 23"/>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7"/>
                <a:gd name="T47" fmla="*/ 23 w 2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7">
                  <a:moveTo>
                    <a:pt x="9" y="0"/>
                  </a:moveTo>
                  <a:lnTo>
                    <a:pt x="14" y="0"/>
                  </a:lnTo>
                  <a:lnTo>
                    <a:pt x="19" y="0"/>
                  </a:lnTo>
                  <a:lnTo>
                    <a:pt x="21" y="1"/>
                  </a:lnTo>
                  <a:lnTo>
                    <a:pt x="23" y="2"/>
                  </a:lnTo>
                  <a:lnTo>
                    <a:pt x="21" y="3"/>
                  </a:lnTo>
                  <a:lnTo>
                    <a:pt x="20" y="6"/>
                  </a:lnTo>
                  <a:lnTo>
                    <a:pt x="16" y="7"/>
                  </a:lnTo>
                  <a:lnTo>
                    <a:pt x="11" y="7"/>
                  </a:lnTo>
                  <a:lnTo>
                    <a:pt x="2" y="7"/>
                  </a:lnTo>
                  <a:lnTo>
                    <a:pt x="1" y="6"/>
                  </a:lnTo>
                  <a:lnTo>
                    <a:pt x="0" y="4"/>
                  </a:lnTo>
                  <a:lnTo>
                    <a:pt x="2" y="2"/>
                  </a:lnTo>
                  <a:lnTo>
                    <a:pt x="5" y="0"/>
                  </a:lnTo>
                  <a:lnTo>
                    <a:pt x="9"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5" name="Freeform 834"/>
            <p:cNvSpPr>
              <a:spLocks/>
            </p:cNvSpPr>
            <p:nvPr/>
          </p:nvSpPr>
          <p:spPr bwMode="auto">
            <a:xfrm>
              <a:off x="7267579" y="4664080"/>
              <a:ext cx="17463" cy="22225"/>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0 w 11"/>
                <a:gd name="T9" fmla="*/ 2147483647 h 14"/>
                <a:gd name="T10" fmla="*/ 0 w 11"/>
                <a:gd name="T11" fmla="*/ 2147483647 h 14"/>
                <a:gd name="T12" fmla="*/ 2147483647 w 11"/>
                <a:gd name="T13" fmla="*/ 2147483647 h 14"/>
                <a:gd name="T14" fmla="*/ 2147483647 w 11"/>
                <a:gd name="T15" fmla="*/ 2147483647 h 14"/>
                <a:gd name="T16" fmla="*/ 2147483647 w 11"/>
                <a:gd name="T17" fmla="*/ 0 h 14"/>
                <a:gd name="T18" fmla="*/ 2147483647 w 11"/>
                <a:gd name="T19" fmla="*/ 0 h 14"/>
                <a:gd name="T20" fmla="*/ 2147483647 w 11"/>
                <a:gd name="T21" fmla="*/ 0 h 14"/>
                <a:gd name="T22" fmla="*/ 2147483647 w 11"/>
                <a:gd name="T23" fmla="*/ 2147483647 h 14"/>
                <a:gd name="T24" fmla="*/ 2147483647 w 11"/>
                <a:gd name="T25" fmla="*/ 2147483647 h 14"/>
                <a:gd name="T26" fmla="*/ 2147483647 w 11"/>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4"/>
                <a:gd name="T44" fmla="*/ 11 w 11"/>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4">
                  <a:moveTo>
                    <a:pt x="10" y="9"/>
                  </a:moveTo>
                  <a:lnTo>
                    <a:pt x="8" y="13"/>
                  </a:lnTo>
                  <a:lnTo>
                    <a:pt x="5" y="14"/>
                  </a:lnTo>
                  <a:lnTo>
                    <a:pt x="3" y="14"/>
                  </a:lnTo>
                  <a:lnTo>
                    <a:pt x="0" y="13"/>
                  </a:lnTo>
                  <a:lnTo>
                    <a:pt x="0" y="8"/>
                  </a:lnTo>
                  <a:lnTo>
                    <a:pt x="1" y="3"/>
                  </a:lnTo>
                  <a:lnTo>
                    <a:pt x="3" y="1"/>
                  </a:lnTo>
                  <a:lnTo>
                    <a:pt x="5" y="0"/>
                  </a:lnTo>
                  <a:lnTo>
                    <a:pt x="8" y="0"/>
                  </a:lnTo>
                  <a:lnTo>
                    <a:pt x="10" y="0"/>
                  </a:lnTo>
                  <a:lnTo>
                    <a:pt x="11" y="1"/>
                  </a:lnTo>
                  <a:lnTo>
                    <a:pt x="11" y="3"/>
                  </a:lnTo>
                  <a:lnTo>
                    <a:pt x="10"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6" name="Freeform 835"/>
            <p:cNvSpPr>
              <a:spLocks/>
            </p:cNvSpPr>
            <p:nvPr/>
          </p:nvSpPr>
          <p:spPr bwMode="auto">
            <a:xfrm>
              <a:off x="7188200" y="4621217"/>
              <a:ext cx="33338" cy="11112"/>
            </a:xfrm>
            <a:custGeom>
              <a:avLst/>
              <a:gdLst>
                <a:gd name="T0" fmla="*/ 2147483647 w 23"/>
                <a:gd name="T1" fmla="*/ 0 h 7"/>
                <a:gd name="T2" fmla="*/ 2147483647 w 23"/>
                <a:gd name="T3" fmla="*/ 0 h 7"/>
                <a:gd name="T4" fmla="*/ 2147483647 w 23"/>
                <a:gd name="T5" fmla="*/ 0 h 7"/>
                <a:gd name="T6" fmla="*/ 2147483647 w 23"/>
                <a:gd name="T7" fmla="*/ 0 h 7"/>
                <a:gd name="T8" fmla="*/ 2147483647 w 23"/>
                <a:gd name="T9" fmla="*/ 2147483647 h 7"/>
                <a:gd name="T10" fmla="*/ 2147483647 w 23"/>
                <a:gd name="T11" fmla="*/ 2147483647 h 7"/>
                <a:gd name="T12" fmla="*/ 2147483647 w 23"/>
                <a:gd name="T13" fmla="*/ 2147483647 h 7"/>
                <a:gd name="T14" fmla="*/ 2147483647 w 23"/>
                <a:gd name="T15" fmla="*/ 2147483647 h 7"/>
                <a:gd name="T16" fmla="*/ 2147483647 w 23"/>
                <a:gd name="T17" fmla="*/ 2147483647 h 7"/>
                <a:gd name="T18" fmla="*/ 2147483647 w 23"/>
                <a:gd name="T19" fmla="*/ 2147483647 h 7"/>
                <a:gd name="T20" fmla="*/ 2147483647 w 23"/>
                <a:gd name="T21" fmla="*/ 2147483647 h 7"/>
                <a:gd name="T22" fmla="*/ 2147483647 w 23"/>
                <a:gd name="T23" fmla="*/ 2147483647 h 7"/>
                <a:gd name="T24" fmla="*/ 2147483647 w 23"/>
                <a:gd name="T25" fmla="*/ 2147483647 h 7"/>
                <a:gd name="T26" fmla="*/ 2147483647 w 23"/>
                <a:gd name="T27" fmla="*/ 2147483647 h 7"/>
                <a:gd name="T28" fmla="*/ 0 w 23"/>
                <a:gd name="T29" fmla="*/ 2147483647 h 7"/>
                <a:gd name="T30" fmla="*/ 2147483647 w 23"/>
                <a:gd name="T31" fmla="*/ 2147483647 h 7"/>
                <a:gd name="T32" fmla="*/ 2147483647 w 23"/>
                <a:gd name="T33" fmla="*/ 0 h 7"/>
                <a:gd name="T34" fmla="*/ 2147483647 w 23"/>
                <a:gd name="T35" fmla="*/ 0 h 7"/>
                <a:gd name="T36" fmla="*/ 2147483647 w 23"/>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7"/>
                <a:gd name="T59" fmla="*/ 23 w 23"/>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7">
                  <a:moveTo>
                    <a:pt x="9" y="0"/>
                  </a:moveTo>
                  <a:lnTo>
                    <a:pt x="9" y="0"/>
                  </a:lnTo>
                  <a:lnTo>
                    <a:pt x="14" y="0"/>
                  </a:lnTo>
                  <a:lnTo>
                    <a:pt x="19" y="0"/>
                  </a:lnTo>
                  <a:lnTo>
                    <a:pt x="22" y="1"/>
                  </a:lnTo>
                  <a:lnTo>
                    <a:pt x="23" y="2"/>
                  </a:lnTo>
                  <a:lnTo>
                    <a:pt x="22" y="3"/>
                  </a:lnTo>
                  <a:lnTo>
                    <a:pt x="21" y="5"/>
                  </a:lnTo>
                  <a:lnTo>
                    <a:pt x="17" y="7"/>
                  </a:lnTo>
                  <a:lnTo>
                    <a:pt x="12" y="7"/>
                  </a:lnTo>
                  <a:lnTo>
                    <a:pt x="3" y="7"/>
                  </a:lnTo>
                  <a:lnTo>
                    <a:pt x="2" y="5"/>
                  </a:lnTo>
                  <a:lnTo>
                    <a:pt x="0" y="4"/>
                  </a:lnTo>
                  <a:lnTo>
                    <a:pt x="3" y="2"/>
                  </a:lnTo>
                  <a:lnTo>
                    <a:pt x="5" y="0"/>
                  </a:lnTo>
                  <a:lnTo>
                    <a:pt x="9"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7" name="Freeform 836"/>
            <p:cNvSpPr>
              <a:spLocks/>
            </p:cNvSpPr>
            <p:nvPr/>
          </p:nvSpPr>
          <p:spPr bwMode="auto">
            <a:xfrm>
              <a:off x="7267577" y="4662492"/>
              <a:ext cx="15875" cy="22225"/>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2147483647 w 11"/>
                <a:gd name="T9" fmla="*/ 2147483647 h 14"/>
                <a:gd name="T10" fmla="*/ 0 w 11"/>
                <a:gd name="T11" fmla="*/ 2147483647 h 14"/>
                <a:gd name="T12" fmla="*/ 0 w 11"/>
                <a:gd name="T13" fmla="*/ 2147483647 h 14"/>
                <a:gd name="T14" fmla="*/ 0 w 11"/>
                <a:gd name="T15" fmla="*/ 2147483647 h 14"/>
                <a:gd name="T16" fmla="*/ 2147483647 w 11"/>
                <a:gd name="T17" fmla="*/ 2147483647 h 14"/>
                <a:gd name="T18" fmla="*/ 2147483647 w 11"/>
                <a:gd name="T19" fmla="*/ 2147483647 h 14"/>
                <a:gd name="T20" fmla="*/ 2147483647 w 11"/>
                <a:gd name="T21" fmla="*/ 0 h 14"/>
                <a:gd name="T22" fmla="*/ 2147483647 w 11"/>
                <a:gd name="T23" fmla="*/ 0 h 14"/>
                <a:gd name="T24" fmla="*/ 2147483647 w 11"/>
                <a:gd name="T25" fmla="*/ 0 h 14"/>
                <a:gd name="T26" fmla="*/ 2147483647 w 11"/>
                <a:gd name="T27" fmla="*/ 0 h 14"/>
                <a:gd name="T28" fmla="*/ 2147483647 w 11"/>
                <a:gd name="T29" fmla="*/ 2147483647 h 14"/>
                <a:gd name="T30" fmla="*/ 2147483647 w 11"/>
                <a:gd name="T31" fmla="*/ 2147483647 h 14"/>
                <a:gd name="T32" fmla="*/ 2147483647 w 11"/>
                <a:gd name="T33" fmla="*/ 2147483647 h 14"/>
                <a:gd name="T34" fmla="*/ 2147483647 w 11"/>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4"/>
                <a:gd name="T56" fmla="*/ 11 w 11"/>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4">
                  <a:moveTo>
                    <a:pt x="10" y="9"/>
                  </a:moveTo>
                  <a:lnTo>
                    <a:pt x="10" y="9"/>
                  </a:lnTo>
                  <a:lnTo>
                    <a:pt x="7" y="13"/>
                  </a:lnTo>
                  <a:lnTo>
                    <a:pt x="5" y="14"/>
                  </a:lnTo>
                  <a:lnTo>
                    <a:pt x="2" y="14"/>
                  </a:lnTo>
                  <a:lnTo>
                    <a:pt x="0" y="13"/>
                  </a:lnTo>
                  <a:lnTo>
                    <a:pt x="0" y="8"/>
                  </a:lnTo>
                  <a:lnTo>
                    <a:pt x="1" y="3"/>
                  </a:lnTo>
                  <a:lnTo>
                    <a:pt x="2" y="1"/>
                  </a:lnTo>
                  <a:lnTo>
                    <a:pt x="5" y="0"/>
                  </a:lnTo>
                  <a:lnTo>
                    <a:pt x="7" y="0"/>
                  </a:lnTo>
                  <a:lnTo>
                    <a:pt x="10" y="0"/>
                  </a:lnTo>
                  <a:lnTo>
                    <a:pt x="11" y="1"/>
                  </a:lnTo>
                  <a:lnTo>
                    <a:pt x="11" y="3"/>
                  </a:lnTo>
                  <a:lnTo>
                    <a:pt x="10"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8" name="Freeform 837"/>
            <p:cNvSpPr>
              <a:spLocks/>
            </p:cNvSpPr>
            <p:nvPr/>
          </p:nvSpPr>
          <p:spPr bwMode="auto">
            <a:xfrm>
              <a:off x="7337428" y="4699001"/>
              <a:ext cx="47625" cy="26988"/>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0 w 33"/>
                <a:gd name="T13" fmla="*/ 2147483647 h 17"/>
                <a:gd name="T14" fmla="*/ 0 w 33"/>
                <a:gd name="T15" fmla="*/ 2147483647 h 17"/>
                <a:gd name="T16" fmla="*/ 2147483647 w 33"/>
                <a:gd name="T17" fmla="*/ 2147483647 h 17"/>
                <a:gd name="T18" fmla="*/ 2147483647 w 33"/>
                <a:gd name="T19" fmla="*/ 2147483647 h 17"/>
                <a:gd name="T20" fmla="*/ 2147483647 w 33"/>
                <a:gd name="T21" fmla="*/ 0 h 17"/>
                <a:gd name="T22" fmla="*/ 2147483647 w 33"/>
                <a:gd name="T23" fmla="*/ 0 h 17"/>
                <a:gd name="T24" fmla="*/ 2147483647 w 33"/>
                <a:gd name="T25" fmla="*/ 0 h 17"/>
                <a:gd name="T26" fmla="*/ 2147483647 w 33"/>
                <a:gd name="T27" fmla="*/ 2147483647 h 17"/>
                <a:gd name="T28" fmla="*/ 2147483647 w 33"/>
                <a:gd name="T29" fmla="*/ 2147483647 h 17"/>
                <a:gd name="T30" fmla="*/ 2147483647 w 33"/>
                <a:gd name="T31" fmla="*/ 2147483647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17"/>
                <a:gd name="T65" fmla="*/ 33 w 33"/>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17">
                  <a:moveTo>
                    <a:pt x="23" y="16"/>
                  </a:moveTo>
                  <a:lnTo>
                    <a:pt x="18" y="11"/>
                  </a:lnTo>
                  <a:lnTo>
                    <a:pt x="16" y="11"/>
                  </a:lnTo>
                  <a:lnTo>
                    <a:pt x="11" y="11"/>
                  </a:lnTo>
                  <a:lnTo>
                    <a:pt x="3" y="11"/>
                  </a:lnTo>
                  <a:lnTo>
                    <a:pt x="1" y="11"/>
                  </a:lnTo>
                  <a:lnTo>
                    <a:pt x="0" y="9"/>
                  </a:lnTo>
                  <a:lnTo>
                    <a:pt x="0" y="7"/>
                  </a:lnTo>
                  <a:lnTo>
                    <a:pt x="1" y="4"/>
                  </a:lnTo>
                  <a:lnTo>
                    <a:pt x="4" y="2"/>
                  </a:lnTo>
                  <a:lnTo>
                    <a:pt x="8" y="0"/>
                  </a:lnTo>
                  <a:lnTo>
                    <a:pt x="13" y="0"/>
                  </a:lnTo>
                  <a:lnTo>
                    <a:pt x="19" y="0"/>
                  </a:lnTo>
                  <a:lnTo>
                    <a:pt x="24" y="2"/>
                  </a:lnTo>
                  <a:lnTo>
                    <a:pt x="29" y="4"/>
                  </a:lnTo>
                  <a:lnTo>
                    <a:pt x="32" y="7"/>
                  </a:lnTo>
                  <a:lnTo>
                    <a:pt x="33" y="12"/>
                  </a:lnTo>
                  <a:lnTo>
                    <a:pt x="32" y="16"/>
                  </a:lnTo>
                  <a:lnTo>
                    <a:pt x="29" y="17"/>
                  </a:lnTo>
                  <a:lnTo>
                    <a:pt x="25" y="17"/>
                  </a:lnTo>
                  <a:lnTo>
                    <a:pt x="23"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39" name="Freeform 838"/>
            <p:cNvSpPr>
              <a:spLocks/>
            </p:cNvSpPr>
            <p:nvPr/>
          </p:nvSpPr>
          <p:spPr bwMode="auto">
            <a:xfrm>
              <a:off x="7383466" y="4595813"/>
              <a:ext cx="6350" cy="17462"/>
            </a:xfrm>
            <a:custGeom>
              <a:avLst/>
              <a:gdLst>
                <a:gd name="T0" fmla="*/ 2147483647 w 4"/>
                <a:gd name="T1" fmla="*/ 2147483647 h 11"/>
                <a:gd name="T2" fmla="*/ 2147483647 w 4"/>
                <a:gd name="T3" fmla="*/ 2147483647 h 11"/>
                <a:gd name="T4" fmla="*/ 2147483647 w 4"/>
                <a:gd name="T5" fmla="*/ 2147483647 h 11"/>
                <a:gd name="T6" fmla="*/ 0 w 4"/>
                <a:gd name="T7" fmla="*/ 2147483647 h 11"/>
                <a:gd name="T8" fmla="*/ 0 w 4"/>
                <a:gd name="T9" fmla="*/ 2147483647 h 11"/>
                <a:gd name="T10" fmla="*/ 0 w 4"/>
                <a:gd name="T11" fmla="*/ 2147483647 h 11"/>
                <a:gd name="T12" fmla="*/ 2147483647 w 4"/>
                <a:gd name="T13" fmla="*/ 0 h 11"/>
                <a:gd name="T14" fmla="*/ 2147483647 w 4"/>
                <a:gd name="T15" fmla="*/ 2147483647 h 11"/>
                <a:gd name="T16" fmla="*/ 2147483647 w 4"/>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4" y="7"/>
                  </a:moveTo>
                  <a:lnTo>
                    <a:pt x="2" y="8"/>
                  </a:lnTo>
                  <a:lnTo>
                    <a:pt x="2" y="11"/>
                  </a:lnTo>
                  <a:lnTo>
                    <a:pt x="0" y="8"/>
                  </a:lnTo>
                  <a:lnTo>
                    <a:pt x="0" y="5"/>
                  </a:lnTo>
                  <a:lnTo>
                    <a:pt x="0" y="3"/>
                  </a:lnTo>
                  <a:lnTo>
                    <a:pt x="2" y="0"/>
                  </a:lnTo>
                  <a:lnTo>
                    <a:pt x="4" y="4"/>
                  </a:lnTo>
                  <a:lnTo>
                    <a:pt x="4"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0" name="Freeform 839"/>
            <p:cNvSpPr>
              <a:spLocks/>
            </p:cNvSpPr>
            <p:nvPr/>
          </p:nvSpPr>
          <p:spPr bwMode="auto">
            <a:xfrm>
              <a:off x="7335842" y="4697416"/>
              <a:ext cx="47625" cy="26987"/>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2147483647 w 33"/>
                <a:gd name="T13" fmla="*/ 2147483647 h 17"/>
                <a:gd name="T14" fmla="*/ 2147483647 w 33"/>
                <a:gd name="T15" fmla="*/ 2147483647 h 17"/>
                <a:gd name="T16" fmla="*/ 0 w 33"/>
                <a:gd name="T17" fmla="*/ 2147483647 h 17"/>
                <a:gd name="T18" fmla="*/ 0 w 33"/>
                <a:gd name="T19" fmla="*/ 2147483647 h 17"/>
                <a:gd name="T20" fmla="*/ 2147483647 w 33"/>
                <a:gd name="T21" fmla="*/ 2147483647 h 17"/>
                <a:gd name="T22" fmla="*/ 2147483647 w 33"/>
                <a:gd name="T23" fmla="*/ 2147483647 h 17"/>
                <a:gd name="T24" fmla="*/ 2147483647 w 33"/>
                <a:gd name="T25" fmla="*/ 2147483647 h 17"/>
                <a:gd name="T26" fmla="*/ 2147483647 w 33"/>
                <a:gd name="T27" fmla="*/ 0 h 17"/>
                <a:gd name="T28" fmla="*/ 2147483647 w 33"/>
                <a:gd name="T29" fmla="*/ 0 h 17"/>
                <a:gd name="T30" fmla="*/ 2147483647 w 33"/>
                <a:gd name="T31" fmla="*/ 0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2147483647 w 33"/>
                <a:gd name="T49" fmla="*/ 2147483647 h 17"/>
                <a:gd name="T50" fmla="*/ 2147483647 w 33"/>
                <a:gd name="T51" fmla="*/ 2147483647 h 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17"/>
                <a:gd name="T80" fmla="*/ 33 w 33"/>
                <a:gd name="T81" fmla="*/ 17 h 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17">
                  <a:moveTo>
                    <a:pt x="23" y="16"/>
                  </a:moveTo>
                  <a:lnTo>
                    <a:pt x="23" y="16"/>
                  </a:lnTo>
                  <a:lnTo>
                    <a:pt x="17" y="11"/>
                  </a:lnTo>
                  <a:lnTo>
                    <a:pt x="16" y="11"/>
                  </a:lnTo>
                  <a:lnTo>
                    <a:pt x="11" y="11"/>
                  </a:lnTo>
                  <a:lnTo>
                    <a:pt x="2" y="11"/>
                  </a:lnTo>
                  <a:lnTo>
                    <a:pt x="1" y="11"/>
                  </a:lnTo>
                  <a:lnTo>
                    <a:pt x="0" y="8"/>
                  </a:lnTo>
                  <a:lnTo>
                    <a:pt x="0" y="7"/>
                  </a:lnTo>
                  <a:lnTo>
                    <a:pt x="1" y="4"/>
                  </a:lnTo>
                  <a:lnTo>
                    <a:pt x="4" y="1"/>
                  </a:lnTo>
                  <a:lnTo>
                    <a:pt x="7" y="0"/>
                  </a:lnTo>
                  <a:lnTo>
                    <a:pt x="12" y="0"/>
                  </a:lnTo>
                  <a:lnTo>
                    <a:pt x="19" y="0"/>
                  </a:lnTo>
                  <a:lnTo>
                    <a:pt x="24" y="1"/>
                  </a:lnTo>
                  <a:lnTo>
                    <a:pt x="29" y="4"/>
                  </a:lnTo>
                  <a:lnTo>
                    <a:pt x="31" y="7"/>
                  </a:lnTo>
                  <a:lnTo>
                    <a:pt x="33" y="12"/>
                  </a:lnTo>
                  <a:lnTo>
                    <a:pt x="31" y="16"/>
                  </a:lnTo>
                  <a:lnTo>
                    <a:pt x="29" y="17"/>
                  </a:lnTo>
                  <a:lnTo>
                    <a:pt x="25" y="17"/>
                  </a:lnTo>
                  <a:lnTo>
                    <a:pt x="23"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1" name="Freeform 840"/>
            <p:cNvSpPr>
              <a:spLocks/>
            </p:cNvSpPr>
            <p:nvPr/>
          </p:nvSpPr>
          <p:spPr bwMode="auto">
            <a:xfrm>
              <a:off x="7381877" y="4594230"/>
              <a:ext cx="4763" cy="17463"/>
            </a:xfrm>
            <a:custGeom>
              <a:avLst/>
              <a:gdLst>
                <a:gd name="T0" fmla="*/ 2147483647 w 4"/>
                <a:gd name="T1" fmla="*/ 2147483647 h 11"/>
                <a:gd name="T2" fmla="*/ 2147483647 w 4"/>
                <a:gd name="T3" fmla="*/ 2147483647 h 11"/>
                <a:gd name="T4" fmla="*/ 2147483647 w 4"/>
                <a:gd name="T5" fmla="*/ 2147483647 h 11"/>
                <a:gd name="T6" fmla="*/ 2147483647 w 4"/>
                <a:gd name="T7" fmla="*/ 2147483647 h 11"/>
                <a:gd name="T8" fmla="*/ 2147483647 w 4"/>
                <a:gd name="T9" fmla="*/ 2147483647 h 11"/>
                <a:gd name="T10" fmla="*/ 0 w 4"/>
                <a:gd name="T11" fmla="*/ 2147483647 h 11"/>
                <a:gd name="T12" fmla="*/ 0 w 4"/>
                <a:gd name="T13" fmla="*/ 2147483647 h 11"/>
                <a:gd name="T14" fmla="*/ 0 w 4"/>
                <a:gd name="T15" fmla="*/ 2147483647 h 11"/>
                <a:gd name="T16" fmla="*/ 2147483647 w 4"/>
                <a:gd name="T17" fmla="*/ 0 h 11"/>
                <a:gd name="T18" fmla="*/ 2147483647 w 4"/>
                <a:gd name="T19" fmla="*/ 0 h 11"/>
                <a:gd name="T20" fmla="*/ 2147483647 w 4"/>
                <a:gd name="T21" fmla="*/ 2147483647 h 11"/>
                <a:gd name="T22" fmla="*/ 2147483647 w 4"/>
                <a:gd name="T23" fmla="*/ 2147483647 h 11"/>
                <a:gd name="T24" fmla="*/ 2147483647 w 4"/>
                <a:gd name="T25" fmla="*/ 2147483647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1"/>
                <a:gd name="T41" fmla="*/ 4 w 4"/>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1">
                  <a:moveTo>
                    <a:pt x="4" y="7"/>
                  </a:moveTo>
                  <a:lnTo>
                    <a:pt x="4" y="7"/>
                  </a:lnTo>
                  <a:lnTo>
                    <a:pt x="3" y="8"/>
                  </a:lnTo>
                  <a:lnTo>
                    <a:pt x="3" y="11"/>
                  </a:lnTo>
                  <a:lnTo>
                    <a:pt x="0" y="8"/>
                  </a:lnTo>
                  <a:lnTo>
                    <a:pt x="0" y="5"/>
                  </a:lnTo>
                  <a:lnTo>
                    <a:pt x="0" y="2"/>
                  </a:lnTo>
                  <a:lnTo>
                    <a:pt x="3" y="0"/>
                  </a:lnTo>
                  <a:lnTo>
                    <a:pt x="4" y="4"/>
                  </a:lnTo>
                  <a:lnTo>
                    <a:pt x="4"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2" name="Freeform 841"/>
            <p:cNvSpPr>
              <a:spLocks/>
            </p:cNvSpPr>
            <p:nvPr/>
          </p:nvSpPr>
          <p:spPr bwMode="auto">
            <a:xfrm>
              <a:off x="7226301" y="4662489"/>
              <a:ext cx="33338" cy="20637"/>
            </a:xfrm>
            <a:custGeom>
              <a:avLst/>
              <a:gdLst>
                <a:gd name="T0" fmla="*/ 2147483647 w 23"/>
                <a:gd name="T1" fmla="*/ 2147483647 h 13"/>
                <a:gd name="T2" fmla="*/ 2147483647 w 23"/>
                <a:gd name="T3" fmla="*/ 2147483647 h 13"/>
                <a:gd name="T4" fmla="*/ 2147483647 w 23"/>
                <a:gd name="T5" fmla="*/ 2147483647 h 13"/>
                <a:gd name="T6" fmla="*/ 2147483647 w 23"/>
                <a:gd name="T7" fmla="*/ 2147483647 h 13"/>
                <a:gd name="T8" fmla="*/ 2147483647 w 23"/>
                <a:gd name="T9" fmla="*/ 2147483647 h 13"/>
                <a:gd name="T10" fmla="*/ 2147483647 w 23"/>
                <a:gd name="T11" fmla="*/ 0 h 13"/>
                <a:gd name="T12" fmla="*/ 2147483647 w 23"/>
                <a:gd name="T13" fmla="*/ 0 h 13"/>
                <a:gd name="T14" fmla="*/ 2147483647 w 23"/>
                <a:gd name="T15" fmla="*/ 0 h 13"/>
                <a:gd name="T16" fmla="*/ 2147483647 w 23"/>
                <a:gd name="T17" fmla="*/ 2147483647 h 13"/>
                <a:gd name="T18" fmla="*/ 0 w 23"/>
                <a:gd name="T19" fmla="*/ 2147483647 h 13"/>
                <a:gd name="T20" fmla="*/ 0 w 23"/>
                <a:gd name="T21" fmla="*/ 2147483647 h 13"/>
                <a:gd name="T22" fmla="*/ 2147483647 w 23"/>
                <a:gd name="T23" fmla="*/ 2147483647 h 13"/>
                <a:gd name="T24" fmla="*/ 2147483647 w 23"/>
                <a:gd name="T25" fmla="*/ 2147483647 h 13"/>
                <a:gd name="T26" fmla="*/ 2147483647 w 23"/>
                <a:gd name="T27" fmla="*/ 2147483647 h 13"/>
                <a:gd name="T28" fmla="*/ 2147483647 w 23"/>
                <a:gd name="T29" fmla="*/ 2147483647 h 13"/>
                <a:gd name="T30" fmla="*/ 2147483647 w 23"/>
                <a:gd name="T31" fmla="*/ 2147483647 h 13"/>
                <a:gd name="T32" fmla="*/ 2147483647 w 23"/>
                <a:gd name="T33" fmla="*/ 2147483647 h 13"/>
                <a:gd name="T34" fmla="*/ 2147483647 w 23"/>
                <a:gd name="T35" fmla="*/ 2147483647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3"/>
                <a:gd name="T56" fmla="*/ 23 w 23"/>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3">
                  <a:moveTo>
                    <a:pt x="15" y="11"/>
                  </a:moveTo>
                  <a:lnTo>
                    <a:pt x="19" y="10"/>
                  </a:lnTo>
                  <a:lnTo>
                    <a:pt x="21" y="8"/>
                  </a:lnTo>
                  <a:lnTo>
                    <a:pt x="23" y="4"/>
                  </a:lnTo>
                  <a:lnTo>
                    <a:pt x="21" y="1"/>
                  </a:lnTo>
                  <a:lnTo>
                    <a:pt x="20" y="0"/>
                  </a:lnTo>
                  <a:lnTo>
                    <a:pt x="18" y="0"/>
                  </a:lnTo>
                  <a:lnTo>
                    <a:pt x="12" y="0"/>
                  </a:lnTo>
                  <a:lnTo>
                    <a:pt x="1" y="3"/>
                  </a:lnTo>
                  <a:lnTo>
                    <a:pt x="0" y="4"/>
                  </a:lnTo>
                  <a:lnTo>
                    <a:pt x="0" y="6"/>
                  </a:lnTo>
                  <a:lnTo>
                    <a:pt x="1" y="7"/>
                  </a:lnTo>
                  <a:lnTo>
                    <a:pt x="2" y="7"/>
                  </a:lnTo>
                  <a:lnTo>
                    <a:pt x="5" y="7"/>
                  </a:lnTo>
                  <a:lnTo>
                    <a:pt x="7" y="8"/>
                  </a:lnTo>
                  <a:lnTo>
                    <a:pt x="11" y="13"/>
                  </a:lnTo>
                  <a:lnTo>
                    <a:pt x="12" y="13"/>
                  </a:lnTo>
                  <a:lnTo>
                    <a:pt x="15"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3" name="Freeform 842"/>
            <p:cNvSpPr>
              <a:spLocks/>
            </p:cNvSpPr>
            <p:nvPr/>
          </p:nvSpPr>
          <p:spPr bwMode="auto">
            <a:xfrm>
              <a:off x="7292976" y="4675189"/>
              <a:ext cx="28574" cy="14288"/>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2147483647 w 19"/>
                <a:gd name="T9" fmla="*/ 2147483647 h 9"/>
                <a:gd name="T10" fmla="*/ 0 w 19"/>
                <a:gd name="T11" fmla="*/ 2147483647 h 9"/>
                <a:gd name="T12" fmla="*/ 0 w 19"/>
                <a:gd name="T13" fmla="*/ 2147483647 h 9"/>
                <a:gd name="T14" fmla="*/ 2147483647 w 19"/>
                <a:gd name="T15" fmla="*/ 2147483647 h 9"/>
                <a:gd name="T16" fmla="*/ 2147483647 w 19"/>
                <a:gd name="T17" fmla="*/ 2147483647 h 9"/>
                <a:gd name="T18" fmla="*/ 2147483647 w 19"/>
                <a:gd name="T19" fmla="*/ 2147483647 h 9"/>
                <a:gd name="T20" fmla="*/ 2147483647 w 19"/>
                <a:gd name="T21" fmla="*/ 2147483647 h 9"/>
                <a:gd name="T22" fmla="*/ 2147483647 w 19"/>
                <a:gd name="T23" fmla="*/ 2147483647 h 9"/>
                <a:gd name="T24" fmla="*/ 2147483647 w 19"/>
                <a:gd name="T25" fmla="*/ 2147483647 h 9"/>
                <a:gd name="T26" fmla="*/ 2147483647 w 19"/>
                <a:gd name="T27" fmla="*/ 2147483647 h 9"/>
                <a:gd name="T28" fmla="*/ 2147483647 w 19"/>
                <a:gd name="T29" fmla="*/ 2147483647 h 9"/>
                <a:gd name="T30" fmla="*/ 2147483647 w 19"/>
                <a:gd name="T31" fmla="*/ 2147483647 h 9"/>
                <a:gd name="T32" fmla="*/ 2147483647 w 19"/>
                <a:gd name="T33" fmla="*/ 2147483647 h 9"/>
                <a:gd name="T34" fmla="*/ 2147483647 w 19"/>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9"/>
                <a:gd name="T56" fmla="*/ 19 w 19"/>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9">
                  <a:moveTo>
                    <a:pt x="16" y="2"/>
                  </a:moveTo>
                  <a:lnTo>
                    <a:pt x="10" y="1"/>
                  </a:lnTo>
                  <a:lnTo>
                    <a:pt x="5" y="0"/>
                  </a:lnTo>
                  <a:lnTo>
                    <a:pt x="3" y="1"/>
                  </a:lnTo>
                  <a:lnTo>
                    <a:pt x="1" y="2"/>
                  </a:lnTo>
                  <a:lnTo>
                    <a:pt x="0" y="5"/>
                  </a:lnTo>
                  <a:lnTo>
                    <a:pt x="0" y="7"/>
                  </a:lnTo>
                  <a:lnTo>
                    <a:pt x="2" y="7"/>
                  </a:lnTo>
                  <a:lnTo>
                    <a:pt x="6" y="7"/>
                  </a:lnTo>
                  <a:lnTo>
                    <a:pt x="8" y="7"/>
                  </a:lnTo>
                  <a:lnTo>
                    <a:pt x="12" y="8"/>
                  </a:lnTo>
                  <a:lnTo>
                    <a:pt x="15" y="9"/>
                  </a:lnTo>
                  <a:lnTo>
                    <a:pt x="16" y="9"/>
                  </a:lnTo>
                  <a:lnTo>
                    <a:pt x="17" y="8"/>
                  </a:lnTo>
                  <a:lnTo>
                    <a:pt x="19" y="6"/>
                  </a:lnTo>
                  <a:lnTo>
                    <a:pt x="19" y="5"/>
                  </a:lnTo>
                  <a:lnTo>
                    <a:pt x="17" y="3"/>
                  </a:lnTo>
                  <a:lnTo>
                    <a:pt x="1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4" name="Freeform 843"/>
            <p:cNvSpPr>
              <a:spLocks/>
            </p:cNvSpPr>
            <p:nvPr/>
          </p:nvSpPr>
          <p:spPr bwMode="auto">
            <a:xfrm>
              <a:off x="7224713" y="4659317"/>
              <a:ext cx="31750" cy="20637"/>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0 h 13"/>
                <a:gd name="T16" fmla="*/ 2147483647 w 22"/>
                <a:gd name="T17" fmla="*/ 0 h 13"/>
                <a:gd name="T18" fmla="*/ 2147483647 w 22"/>
                <a:gd name="T19" fmla="*/ 0 h 13"/>
                <a:gd name="T20" fmla="*/ 2147483647 w 22"/>
                <a:gd name="T21" fmla="*/ 0 h 13"/>
                <a:gd name="T22" fmla="*/ 2147483647 w 22"/>
                <a:gd name="T23" fmla="*/ 2147483647 h 13"/>
                <a:gd name="T24" fmla="*/ 2147483647 w 22"/>
                <a:gd name="T25" fmla="*/ 2147483647 h 13"/>
                <a:gd name="T26" fmla="*/ 0 w 22"/>
                <a:gd name="T27" fmla="*/ 2147483647 h 13"/>
                <a:gd name="T28" fmla="*/ 0 w 22"/>
                <a:gd name="T29" fmla="*/ 2147483647 h 13"/>
                <a:gd name="T30" fmla="*/ 2147483647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2147483647 w 22"/>
                <a:gd name="T43" fmla="*/ 2147483647 h 13"/>
                <a:gd name="T44" fmla="*/ 2147483647 w 22"/>
                <a:gd name="T45" fmla="*/ 2147483647 h 13"/>
                <a:gd name="T46" fmla="*/ 2147483647 w 22"/>
                <a:gd name="T47" fmla="*/ 2147483647 h 13"/>
                <a:gd name="T48" fmla="*/ 2147483647 w 22"/>
                <a:gd name="T49" fmla="*/ 2147483647 h 13"/>
                <a:gd name="T50" fmla="*/ 2147483647 w 22"/>
                <a:gd name="T51" fmla="*/ 2147483647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13"/>
                <a:gd name="T80" fmla="*/ 22 w 22"/>
                <a:gd name="T81" fmla="*/ 13 h 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13">
                  <a:moveTo>
                    <a:pt x="15" y="12"/>
                  </a:moveTo>
                  <a:lnTo>
                    <a:pt x="15" y="12"/>
                  </a:lnTo>
                  <a:lnTo>
                    <a:pt x="19" y="11"/>
                  </a:lnTo>
                  <a:lnTo>
                    <a:pt x="21" y="9"/>
                  </a:lnTo>
                  <a:lnTo>
                    <a:pt x="22" y="5"/>
                  </a:lnTo>
                  <a:lnTo>
                    <a:pt x="21" y="2"/>
                  </a:lnTo>
                  <a:lnTo>
                    <a:pt x="20" y="0"/>
                  </a:lnTo>
                  <a:lnTo>
                    <a:pt x="17" y="0"/>
                  </a:lnTo>
                  <a:lnTo>
                    <a:pt x="12" y="0"/>
                  </a:lnTo>
                  <a:lnTo>
                    <a:pt x="1" y="4"/>
                  </a:lnTo>
                  <a:lnTo>
                    <a:pt x="0" y="5"/>
                  </a:lnTo>
                  <a:lnTo>
                    <a:pt x="0" y="6"/>
                  </a:lnTo>
                  <a:lnTo>
                    <a:pt x="1" y="8"/>
                  </a:lnTo>
                  <a:lnTo>
                    <a:pt x="2" y="8"/>
                  </a:lnTo>
                  <a:lnTo>
                    <a:pt x="5" y="8"/>
                  </a:lnTo>
                  <a:lnTo>
                    <a:pt x="7" y="9"/>
                  </a:lnTo>
                  <a:lnTo>
                    <a:pt x="11" y="13"/>
                  </a:lnTo>
                  <a:lnTo>
                    <a:pt x="12" y="13"/>
                  </a:lnTo>
                  <a:lnTo>
                    <a:pt x="15"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5" name="Freeform 844"/>
            <p:cNvSpPr>
              <a:spLocks/>
            </p:cNvSpPr>
            <p:nvPr/>
          </p:nvSpPr>
          <p:spPr bwMode="auto">
            <a:xfrm>
              <a:off x="7289803" y="4673600"/>
              <a:ext cx="28574" cy="14288"/>
            </a:xfrm>
            <a:custGeom>
              <a:avLst/>
              <a:gdLst>
                <a:gd name="T0" fmla="*/ 2147483647 w 19"/>
                <a:gd name="T1" fmla="*/ 2147483647 h 9"/>
                <a:gd name="T2" fmla="*/ 2147483647 w 19"/>
                <a:gd name="T3" fmla="*/ 2147483647 h 9"/>
                <a:gd name="T4" fmla="*/ 2147483647 w 19"/>
                <a:gd name="T5" fmla="*/ 2147483647 h 9"/>
                <a:gd name="T6" fmla="*/ 2147483647 w 19"/>
                <a:gd name="T7" fmla="*/ 0 h 9"/>
                <a:gd name="T8" fmla="*/ 2147483647 w 19"/>
                <a:gd name="T9" fmla="*/ 0 h 9"/>
                <a:gd name="T10" fmla="*/ 2147483647 w 19"/>
                <a:gd name="T11" fmla="*/ 2147483647 h 9"/>
                <a:gd name="T12" fmla="*/ 2147483647 w 19"/>
                <a:gd name="T13" fmla="*/ 2147483647 h 9"/>
                <a:gd name="T14" fmla="*/ 0 w 19"/>
                <a:gd name="T15" fmla="*/ 2147483647 h 9"/>
                <a:gd name="T16" fmla="*/ 0 w 19"/>
                <a:gd name="T17" fmla="*/ 2147483647 h 9"/>
                <a:gd name="T18" fmla="*/ 0 w 19"/>
                <a:gd name="T19" fmla="*/ 2147483647 h 9"/>
                <a:gd name="T20" fmla="*/ 2147483647 w 19"/>
                <a:gd name="T21" fmla="*/ 2147483647 h 9"/>
                <a:gd name="T22" fmla="*/ 2147483647 w 19"/>
                <a:gd name="T23" fmla="*/ 2147483647 h 9"/>
                <a:gd name="T24" fmla="*/ 2147483647 w 19"/>
                <a:gd name="T25" fmla="*/ 2147483647 h 9"/>
                <a:gd name="T26" fmla="*/ 2147483647 w 19"/>
                <a:gd name="T27" fmla="*/ 2147483647 h 9"/>
                <a:gd name="T28" fmla="*/ 2147483647 w 19"/>
                <a:gd name="T29" fmla="*/ 2147483647 h 9"/>
                <a:gd name="T30" fmla="*/ 2147483647 w 19"/>
                <a:gd name="T31" fmla="*/ 2147483647 h 9"/>
                <a:gd name="T32" fmla="*/ 2147483647 w 19"/>
                <a:gd name="T33" fmla="*/ 2147483647 h 9"/>
                <a:gd name="T34" fmla="*/ 2147483647 w 19"/>
                <a:gd name="T35" fmla="*/ 2147483647 h 9"/>
                <a:gd name="T36" fmla="*/ 2147483647 w 19"/>
                <a:gd name="T37" fmla="*/ 2147483647 h 9"/>
                <a:gd name="T38" fmla="*/ 2147483647 w 19"/>
                <a:gd name="T39" fmla="*/ 2147483647 h 9"/>
                <a:gd name="T40" fmla="*/ 2147483647 w 19"/>
                <a:gd name="T41" fmla="*/ 2147483647 h 9"/>
                <a:gd name="T42" fmla="*/ 2147483647 w 19"/>
                <a:gd name="T43" fmla="*/ 2147483647 h 9"/>
                <a:gd name="T44" fmla="*/ 2147483647 w 19"/>
                <a:gd name="T45" fmla="*/ 2147483647 h 9"/>
                <a:gd name="T46" fmla="*/ 2147483647 w 19"/>
                <a:gd name="T47" fmla="*/ 2147483647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9"/>
                <a:gd name="T74" fmla="*/ 19 w 1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9">
                  <a:moveTo>
                    <a:pt x="17" y="2"/>
                  </a:moveTo>
                  <a:lnTo>
                    <a:pt x="17" y="2"/>
                  </a:lnTo>
                  <a:lnTo>
                    <a:pt x="10" y="1"/>
                  </a:lnTo>
                  <a:lnTo>
                    <a:pt x="5" y="0"/>
                  </a:lnTo>
                  <a:lnTo>
                    <a:pt x="4" y="1"/>
                  </a:lnTo>
                  <a:lnTo>
                    <a:pt x="2" y="2"/>
                  </a:lnTo>
                  <a:lnTo>
                    <a:pt x="0" y="4"/>
                  </a:lnTo>
                  <a:lnTo>
                    <a:pt x="0" y="7"/>
                  </a:lnTo>
                  <a:lnTo>
                    <a:pt x="3" y="7"/>
                  </a:lnTo>
                  <a:lnTo>
                    <a:pt x="7" y="7"/>
                  </a:lnTo>
                  <a:lnTo>
                    <a:pt x="9" y="7"/>
                  </a:lnTo>
                  <a:lnTo>
                    <a:pt x="13" y="8"/>
                  </a:lnTo>
                  <a:lnTo>
                    <a:pt x="15" y="9"/>
                  </a:lnTo>
                  <a:lnTo>
                    <a:pt x="17" y="9"/>
                  </a:lnTo>
                  <a:lnTo>
                    <a:pt x="18" y="8"/>
                  </a:lnTo>
                  <a:lnTo>
                    <a:pt x="19" y="6"/>
                  </a:lnTo>
                  <a:lnTo>
                    <a:pt x="19" y="4"/>
                  </a:lnTo>
                  <a:lnTo>
                    <a:pt x="18" y="3"/>
                  </a:lnTo>
                  <a:lnTo>
                    <a:pt x="17"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6" name="Freeform 845"/>
            <p:cNvSpPr>
              <a:spLocks/>
            </p:cNvSpPr>
            <p:nvPr/>
          </p:nvSpPr>
          <p:spPr bwMode="auto">
            <a:xfrm>
              <a:off x="7323138" y="4665663"/>
              <a:ext cx="38100" cy="17462"/>
            </a:xfrm>
            <a:custGeom>
              <a:avLst/>
              <a:gdLst>
                <a:gd name="T0" fmla="*/ 2147483647 w 26"/>
                <a:gd name="T1" fmla="*/ 2147483647 h 11"/>
                <a:gd name="T2" fmla="*/ 2147483647 w 26"/>
                <a:gd name="T3" fmla="*/ 2147483647 h 11"/>
                <a:gd name="T4" fmla="*/ 2147483647 w 26"/>
                <a:gd name="T5" fmla="*/ 2147483647 h 11"/>
                <a:gd name="T6" fmla="*/ 2147483647 w 26"/>
                <a:gd name="T7" fmla="*/ 2147483647 h 11"/>
                <a:gd name="T8" fmla="*/ 2147483647 w 26"/>
                <a:gd name="T9" fmla="*/ 2147483647 h 11"/>
                <a:gd name="T10" fmla="*/ 2147483647 w 26"/>
                <a:gd name="T11" fmla="*/ 2147483647 h 11"/>
                <a:gd name="T12" fmla="*/ 2147483647 w 26"/>
                <a:gd name="T13" fmla="*/ 2147483647 h 11"/>
                <a:gd name="T14" fmla="*/ 2147483647 w 26"/>
                <a:gd name="T15" fmla="*/ 0 h 11"/>
                <a:gd name="T16" fmla="*/ 2147483647 w 26"/>
                <a:gd name="T17" fmla="*/ 0 h 11"/>
                <a:gd name="T18" fmla="*/ 0 w 26"/>
                <a:gd name="T19" fmla="*/ 0 h 11"/>
                <a:gd name="T20" fmla="*/ 0 w 26"/>
                <a:gd name="T21" fmla="*/ 2147483647 h 11"/>
                <a:gd name="T22" fmla="*/ 0 w 26"/>
                <a:gd name="T23" fmla="*/ 2147483647 h 11"/>
                <a:gd name="T24" fmla="*/ 2147483647 w 26"/>
                <a:gd name="T25" fmla="*/ 2147483647 h 11"/>
                <a:gd name="T26" fmla="*/ 2147483647 w 26"/>
                <a:gd name="T27" fmla="*/ 2147483647 h 11"/>
                <a:gd name="T28" fmla="*/ 2147483647 w 26"/>
                <a:gd name="T29" fmla="*/ 2147483647 h 11"/>
                <a:gd name="T30" fmla="*/ 2147483647 w 26"/>
                <a:gd name="T31" fmla="*/ 2147483647 h 11"/>
                <a:gd name="T32" fmla="*/ 2147483647 w 26"/>
                <a:gd name="T33" fmla="*/ 2147483647 h 11"/>
                <a:gd name="T34" fmla="*/ 2147483647 w 26"/>
                <a:gd name="T35" fmla="*/ 2147483647 h 11"/>
                <a:gd name="T36" fmla="*/ 2147483647 w 26"/>
                <a:gd name="T37" fmla="*/ 2147483647 h 11"/>
                <a:gd name="T38" fmla="*/ 2147483647 w 26"/>
                <a:gd name="T39" fmla="*/ 2147483647 h 11"/>
                <a:gd name="T40" fmla="*/ 2147483647 w 26"/>
                <a:gd name="T41" fmla="*/ 2147483647 h 11"/>
                <a:gd name="T42" fmla="*/ 2147483647 w 26"/>
                <a:gd name="T43" fmla="*/ 2147483647 h 11"/>
                <a:gd name="T44" fmla="*/ 2147483647 w 26"/>
                <a:gd name="T45" fmla="*/ 2147483647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11"/>
                <a:gd name="T71" fmla="*/ 26 w 26"/>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11">
                  <a:moveTo>
                    <a:pt x="18" y="1"/>
                  </a:moveTo>
                  <a:lnTo>
                    <a:pt x="15" y="1"/>
                  </a:lnTo>
                  <a:lnTo>
                    <a:pt x="13" y="1"/>
                  </a:lnTo>
                  <a:lnTo>
                    <a:pt x="11" y="2"/>
                  </a:lnTo>
                  <a:lnTo>
                    <a:pt x="9" y="2"/>
                  </a:lnTo>
                  <a:lnTo>
                    <a:pt x="6" y="2"/>
                  </a:lnTo>
                  <a:lnTo>
                    <a:pt x="5" y="1"/>
                  </a:lnTo>
                  <a:lnTo>
                    <a:pt x="4" y="0"/>
                  </a:lnTo>
                  <a:lnTo>
                    <a:pt x="1" y="0"/>
                  </a:lnTo>
                  <a:lnTo>
                    <a:pt x="0" y="0"/>
                  </a:lnTo>
                  <a:lnTo>
                    <a:pt x="0" y="2"/>
                  </a:lnTo>
                  <a:lnTo>
                    <a:pt x="0" y="5"/>
                  </a:lnTo>
                  <a:lnTo>
                    <a:pt x="5" y="8"/>
                  </a:lnTo>
                  <a:lnTo>
                    <a:pt x="7" y="11"/>
                  </a:lnTo>
                  <a:lnTo>
                    <a:pt x="11" y="11"/>
                  </a:lnTo>
                  <a:lnTo>
                    <a:pt x="14" y="9"/>
                  </a:lnTo>
                  <a:lnTo>
                    <a:pt x="21" y="8"/>
                  </a:lnTo>
                  <a:lnTo>
                    <a:pt x="24" y="7"/>
                  </a:lnTo>
                  <a:lnTo>
                    <a:pt x="26" y="5"/>
                  </a:lnTo>
                  <a:lnTo>
                    <a:pt x="26" y="4"/>
                  </a:lnTo>
                  <a:lnTo>
                    <a:pt x="25" y="2"/>
                  </a:lnTo>
                  <a:lnTo>
                    <a:pt x="21" y="2"/>
                  </a:lnTo>
                  <a:lnTo>
                    <a:pt x="18"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7" name="Freeform 846"/>
            <p:cNvSpPr>
              <a:spLocks/>
            </p:cNvSpPr>
            <p:nvPr/>
          </p:nvSpPr>
          <p:spPr bwMode="auto">
            <a:xfrm>
              <a:off x="7364416" y="4664075"/>
              <a:ext cx="77787" cy="20638"/>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0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0 h 13"/>
                <a:gd name="T34" fmla="*/ 2147483647 w 53"/>
                <a:gd name="T35" fmla="*/ 0 h 13"/>
                <a:gd name="T36" fmla="*/ 2147483647 w 53"/>
                <a:gd name="T37" fmla="*/ 2147483647 h 13"/>
                <a:gd name="T38" fmla="*/ 2147483647 w 53"/>
                <a:gd name="T39" fmla="*/ 2147483647 h 13"/>
                <a:gd name="T40" fmla="*/ 2147483647 w 53"/>
                <a:gd name="T41" fmla="*/ 2147483647 h 13"/>
                <a:gd name="T42" fmla="*/ 2147483647 w 53"/>
                <a:gd name="T43" fmla="*/ 2147483647 h 13"/>
                <a:gd name="T44" fmla="*/ 2147483647 w 53"/>
                <a:gd name="T45" fmla="*/ 21474836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
                <a:gd name="T70" fmla="*/ 0 h 13"/>
                <a:gd name="T71" fmla="*/ 53 w 53"/>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 h="13">
                  <a:moveTo>
                    <a:pt x="48" y="9"/>
                  </a:moveTo>
                  <a:lnTo>
                    <a:pt x="36" y="12"/>
                  </a:lnTo>
                  <a:lnTo>
                    <a:pt x="24" y="13"/>
                  </a:lnTo>
                  <a:lnTo>
                    <a:pt x="1" y="12"/>
                  </a:lnTo>
                  <a:lnTo>
                    <a:pt x="0" y="10"/>
                  </a:lnTo>
                  <a:lnTo>
                    <a:pt x="3" y="8"/>
                  </a:lnTo>
                  <a:lnTo>
                    <a:pt x="8" y="2"/>
                  </a:lnTo>
                  <a:lnTo>
                    <a:pt x="10" y="1"/>
                  </a:lnTo>
                  <a:lnTo>
                    <a:pt x="11" y="1"/>
                  </a:lnTo>
                  <a:lnTo>
                    <a:pt x="18" y="2"/>
                  </a:lnTo>
                  <a:lnTo>
                    <a:pt x="23" y="3"/>
                  </a:lnTo>
                  <a:lnTo>
                    <a:pt x="28" y="5"/>
                  </a:lnTo>
                  <a:lnTo>
                    <a:pt x="37" y="5"/>
                  </a:lnTo>
                  <a:lnTo>
                    <a:pt x="47" y="3"/>
                  </a:lnTo>
                  <a:lnTo>
                    <a:pt x="48" y="2"/>
                  </a:lnTo>
                  <a:lnTo>
                    <a:pt x="50" y="1"/>
                  </a:lnTo>
                  <a:lnTo>
                    <a:pt x="51" y="0"/>
                  </a:lnTo>
                  <a:lnTo>
                    <a:pt x="52" y="0"/>
                  </a:lnTo>
                  <a:lnTo>
                    <a:pt x="52" y="1"/>
                  </a:lnTo>
                  <a:lnTo>
                    <a:pt x="52" y="2"/>
                  </a:lnTo>
                  <a:lnTo>
                    <a:pt x="53" y="7"/>
                  </a:lnTo>
                  <a:lnTo>
                    <a:pt x="52" y="8"/>
                  </a:lnTo>
                  <a:lnTo>
                    <a:pt x="48"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8" name="Freeform 847"/>
            <p:cNvSpPr>
              <a:spLocks/>
            </p:cNvSpPr>
            <p:nvPr/>
          </p:nvSpPr>
          <p:spPr bwMode="auto">
            <a:xfrm>
              <a:off x="7321553" y="4664078"/>
              <a:ext cx="38100" cy="15875"/>
            </a:xfrm>
            <a:custGeom>
              <a:avLst/>
              <a:gdLst>
                <a:gd name="T0" fmla="*/ 2147483647 w 26"/>
                <a:gd name="T1" fmla="*/ 2147483647 h 10"/>
                <a:gd name="T2" fmla="*/ 2147483647 w 26"/>
                <a:gd name="T3" fmla="*/ 2147483647 h 10"/>
                <a:gd name="T4" fmla="*/ 2147483647 w 26"/>
                <a:gd name="T5" fmla="*/ 2147483647 h 10"/>
                <a:gd name="T6" fmla="*/ 2147483647 w 26"/>
                <a:gd name="T7" fmla="*/ 2147483647 h 10"/>
                <a:gd name="T8" fmla="*/ 2147483647 w 26"/>
                <a:gd name="T9" fmla="*/ 2147483647 h 10"/>
                <a:gd name="T10" fmla="*/ 2147483647 w 26"/>
                <a:gd name="T11" fmla="*/ 2147483647 h 10"/>
                <a:gd name="T12" fmla="*/ 2147483647 w 26"/>
                <a:gd name="T13" fmla="*/ 2147483647 h 10"/>
                <a:gd name="T14" fmla="*/ 2147483647 w 26"/>
                <a:gd name="T15" fmla="*/ 2147483647 h 10"/>
                <a:gd name="T16" fmla="*/ 2147483647 w 26"/>
                <a:gd name="T17" fmla="*/ 2147483647 h 10"/>
                <a:gd name="T18" fmla="*/ 2147483647 w 26"/>
                <a:gd name="T19" fmla="*/ 0 h 10"/>
                <a:gd name="T20" fmla="*/ 2147483647 w 26"/>
                <a:gd name="T21" fmla="*/ 0 h 10"/>
                <a:gd name="T22" fmla="*/ 2147483647 w 26"/>
                <a:gd name="T23" fmla="*/ 0 h 10"/>
                <a:gd name="T24" fmla="*/ 0 w 26"/>
                <a:gd name="T25" fmla="*/ 0 h 10"/>
                <a:gd name="T26" fmla="*/ 0 w 26"/>
                <a:gd name="T27" fmla="*/ 2147483647 h 10"/>
                <a:gd name="T28" fmla="*/ 0 w 26"/>
                <a:gd name="T29" fmla="*/ 2147483647 h 10"/>
                <a:gd name="T30" fmla="*/ 0 w 26"/>
                <a:gd name="T31" fmla="*/ 2147483647 h 10"/>
                <a:gd name="T32" fmla="*/ 2147483647 w 26"/>
                <a:gd name="T33" fmla="*/ 2147483647 h 10"/>
                <a:gd name="T34" fmla="*/ 2147483647 w 26"/>
                <a:gd name="T35" fmla="*/ 2147483647 h 10"/>
                <a:gd name="T36" fmla="*/ 2147483647 w 26"/>
                <a:gd name="T37" fmla="*/ 2147483647 h 10"/>
                <a:gd name="T38" fmla="*/ 2147483647 w 26"/>
                <a:gd name="T39" fmla="*/ 2147483647 h 10"/>
                <a:gd name="T40" fmla="*/ 2147483647 w 26"/>
                <a:gd name="T41" fmla="*/ 2147483647 h 10"/>
                <a:gd name="T42" fmla="*/ 2147483647 w 26"/>
                <a:gd name="T43" fmla="*/ 2147483647 h 10"/>
                <a:gd name="T44" fmla="*/ 2147483647 w 26"/>
                <a:gd name="T45" fmla="*/ 2147483647 h 10"/>
                <a:gd name="T46" fmla="*/ 2147483647 w 26"/>
                <a:gd name="T47" fmla="*/ 2147483647 h 10"/>
                <a:gd name="T48" fmla="*/ 2147483647 w 26"/>
                <a:gd name="T49" fmla="*/ 2147483647 h 10"/>
                <a:gd name="T50" fmla="*/ 2147483647 w 26"/>
                <a:gd name="T51" fmla="*/ 2147483647 h 10"/>
                <a:gd name="T52" fmla="*/ 2147483647 w 26"/>
                <a:gd name="T53" fmla="*/ 2147483647 h 10"/>
                <a:gd name="T54" fmla="*/ 2147483647 w 26"/>
                <a:gd name="T55" fmla="*/ 2147483647 h 10"/>
                <a:gd name="T56" fmla="*/ 2147483647 w 26"/>
                <a:gd name="T57" fmla="*/ 2147483647 h 10"/>
                <a:gd name="T58" fmla="*/ 2147483647 w 26"/>
                <a:gd name="T59" fmla="*/ 2147483647 h 10"/>
                <a:gd name="T60" fmla="*/ 2147483647 w 26"/>
                <a:gd name="T61" fmla="*/ 2147483647 h 10"/>
                <a:gd name="T62" fmla="*/ 2147483647 w 26"/>
                <a:gd name="T63" fmla="*/ 2147483647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
                <a:gd name="T97" fmla="*/ 0 h 10"/>
                <a:gd name="T98" fmla="*/ 26 w 26"/>
                <a:gd name="T99" fmla="*/ 10 h 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 h="10">
                  <a:moveTo>
                    <a:pt x="17" y="1"/>
                  </a:moveTo>
                  <a:lnTo>
                    <a:pt x="17" y="1"/>
                  </a:lnTo>
                  <a:lnTo>
                    <a:pt x="15" y="1"/>
                  </a:lnTo>
                  <a:lnTo>
                    <a:pt x="12" y="1"/>
                  </a:lnTo>
                  <a:lnTo>
                    <a:pt x="11" y="2"/>
                  </a:lnTo>
                  <a:lnTo>
                    <a:pt x="8" y="2"/>
                  </a:lnTo>
                  <a:lnTo>
                    <a:pt x="6" y="2"/>
                  </a:lnTo>
                  <a:lnTo>
                    <a:pt x="5" y="1"/>
                  </a:lnTo>
                  <a:lnTo>
                    <a:pt x="3" y="0"/>
                  </a:lnTo>
                  <a:lnTo>
                    <a:pt x="1" y="0"/>
                  </a:lnTo>
                  <a:lnTo>
                    <a:pt x="0" y="0"/>
                  </a:lnTo>
                  <a:lnTo>
                    <a:pt x="0" y="2"/>
                  </a:lnTo>
                  <a:lnTo>
                    <a:pt x="0" y="5"/>
                  </a:lnTo>
                  <a:lnTo>
                    <a:pt x="5" y="8"/>
                  </a:lnTo>
                  <a:lnTo>
                    <a:pt x="7" y="10"/>
                  </a:lnTo>
                  <a:lnTo>
                    <a:pt x="11" y="10"/>
                  </a:lnTo>
                  <a:lnTo>
                    <a:pt x="14" y="9"/>
                  </a:lnTo>
                  <a:lnTo>
                    <a:pt x="21" y="8"/>
                  </a:lnTo>
                  <a:lnTo>
                    <a:pt x="24" y="7"/>
                  </a:lnTo>
                  <a:lnTo>
                    <a:pt x="26" y="5"/>
                  </a:lnTo>
                  <a:lnTo>
                    <a:pt x="26" y="3"/>
                  </a:lnTo>
                  <a:lnTo>
                    <a:pt x="25" y="2"/>
                  </a:lnTo>
                  <a:lnTo>
                    <a:pt x="21" y="2"/>
                  </a:lnTo>
                  <a:lnTo>
                    <a:pt x="17"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49" name="Freeform 848"/>
            <p:cNvSpPr>
              <a:spLocks/>
            </p:cNvSpPr>
            <p:nvPr/>
          </p:nvSpPr>
          <p:spPr bwMode="auto">
            <a:xfrm>
              <a:off x="7362826" y="4662489"/>
              <a:ext cx="77788" cy="20637"/>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0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2147483647 h 13"/>
                <a:gd name="T34" fmla="*/ 2147483647 w 53"/>
                <a:gd name="T35" fmla="*/ 2147483647 h 13"/>
                <a:gd name="T36" fmla="*/ 2147483647 w 53"/>
                <a:gd name="T37" fmla="*/ 2147483647 h 13"/>
                <a:gd name="T38" fmla="*/ 2147483647 w 53"/>
                <a:gd name="T39" fmla="*/ 2147483647 h 13"/>
                <a:gd name="T40" fmla="*/ 2147483647 w 53"/>
                <a:gd name="T41" fmla="*/ 2147483647 h 13"/>
                <a:gd name="T42" fmla="*/ 2147483647 w 53"/>
                <a:gd name="T43" fmla="*/ 2147483647 h 13"/>
                <a:gd name="T44" fmla="*/ 2147483647 w 53"/>
                <a:gd name="T45" fmla="*/ 0 h 13"/>
                <a:gd name="T46" fmla="*/ 2147483647 w 53"/>
                <a:gd name="T47" fmla="*/ 0 h 13"/>
                <a:gd name="T48" fmla="*/ 2147483647 w 53"/>
                <a:gd name="T49" fmla="*/ 0 h 13"/>
                <a:gd name="T50" fmla="*/ 2147483647 w 53"/>
                <a:gd name="T51" fmla="*/ 2147483647 h 13"/>
                <a:gd name="T52" fmla="*/ 2147483647 w 53"/>
                <a:gd name="T53" fmla="*/ 2147483647 h 13"/>
                <a:gd name="T54" fmla="*/ 2147483647 w 53"/>
                <a:gd name="T55" fmla="*/ 2147483647 h 13"/>
                <a:gd name="T56" fmla="*/ 2147483647 w 53"/>
                <a:gd name="T57" fmla="*/ 2147483647 h 13"/>
                <a:gd name="T58" fmla="*/ 2147483647 w 53"/>
                <a:gd name="T59" fmla="*/ 2147483647 h 13"/>
                <a:gd name="T60" fmla="*/ 2147483647 w 53"/>
                <a:gd name="T61" fmla="*/ 2147483647 h 13"/>
                <a:gd name="T62" fmla="*/ 2147483647 w 53"/>
                <a:gd name="T63" fmla="*/ 2147483647 h 13"/>
                <a:gd name="T64" fmla="*/ 2147483647 w 53"/>
                <a:gd name="T65" fmla="*/ 2147483647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3"/>
                <a:gd name="T101" fmla="*/ 53 w 53"/>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3">
                  <a:moveTo>
                    <a:pt x="48" y="9"/>
                  </a:moveTo>
                  <a:lnTo>
                    <a:pt x="48" y="9"/>
                  </a:lnTo>
                  <a:lnTo>
                    <a:pt x="35" y="11"/>
                  </a:lnTo>
                  <a:lnTo>
                    <a:pt x="24" y="13"/>
                  </a:lnTo>
                  <a:lnTo>
                    <a:pt x="1" y="11"/>
                  </a:lnTo>
                  <a:lnTo>
                    <a:pt x="0" y="10"/>
                  </a:lnTo>
                  <a:lnTo>
                    <a:pt x="2" y="8"/>
                  </a:lnTo>
                  <a:lnTo>
                    <a:pt x="7" y="2"/>
                  </a:lnTo>
                  <a:lnTo>
                    <a:pt x="10" y="1"/>
                  </a:lnTo>
                  <a:lnTo>
                    <a:pt x="11" y="1"/>
                  </a:lnTo>
                  <a:lnTo>
                    <a:pt x="18" y="2"/>
                  </a:lnTo>
                  <a:lnTo>
                    <a:pt x="23" y="3"/>
                  </a:lnTo>
                  <a:lnTo>
                    <a:pt x="28" y="4"/>
                  </a:lnTo>
                  <a:lnTo>
                    <a:pt x="37" y="4"/>
                  </a:lnTo>
                  <a:lnTo>
                    <a:pt x="47" y="3"/>
                  </a:lnTo>
                  <a:lnTo>
                    <a:pt x="48" y="2"/>
                  </a:lnTo>
                  <a:lnTo>
                    <a:pt x="49" y="1"/>
                  </a:lnTo>
                  <a:lnTo>
                    <a:pt x="51" y="0"/>
                  </a:lnTo>
                  <a:lnTo>
                    <a:pt x="52" y="0"/>
                  </a:lnTo>
                  <a:lnTo>
                    <a:pt x="52" y="1"/>
                  </a:lnTo>
                  <a:lnTo>
                    <a:pt x="52" y="2"/>
                  </a:lnTo>
                  <a:lnTo>
                    <a:pt x="53" y="7"/>
                  </a:lnTo>
                  <a:lnTo>
                    <a:pt x="52" y="8"/>
                  </a:lnTo>
                  <a:lnTo>
                    <a:pt x="48"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0" name="Freeform 849"/>
            <p:cNvSpPr>
              <a:spLocks/>
            </p:cNvSpPr>
            <p:nvPr/>
          </p:nvSpPr>
          <p:spPr bwMode="auto">
            <a:xfrm>
              <a:off x="7486653" y="4664074"/>
              <a:ext cx="15875" cy="7938"/>
            </a:xfrm>
            <a:custGeom>
              <a:avLst/>
              <a:gdLst>
                <a:gd name="T0" fmla="*/ 2147483647 w 11"/>
                <a:gd name="T1" fmla="*/ 2147483647 h 5"/>
                <a:gd name="T2" fmla="*/ 2147483647 w 11"/>
                <a:gd name="T3" fmla="*/ 2147483647 h 5"/>
                <a:gd name="T4" fmla="*/ 0 w 11"/>
                <a:gd name="T5" fmla="*/ 2147483647 h 5"/>
                <a:gd name="T6" fmla="*/ 2147483647 w 11"/>
                <a:gd name="T7" fmla="*/ 2147483647 h 5"/>
                <a:gd name="T8" fmla="*/ 2147483647 w 11"/>
                <a:gd name="T9" fmla="*/ 2147483647 h 5"/>
                <a:gd name="T10" fmla="*/ 2147483647 w 11"/>
                <a:gd name="T11" fmla="*/ 2147483647 h 5"/>
                <a:gd name="T12" fmla="*/ 2147483647 w 11"/>
                <a:gd name="T13" fmla="*/ 2147483647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2147483647 w 11"/>
                <a:gd name="T23" fmla="*/ 0 h 5"/>
                <a:gd name="T24" fmla="*/ 2147483647 w 11"/>
                <a:gd name="T25" fmla="*/ 0 h 5"/>
                <a:gd name="T26" fmla="*/ 2147483647 w 11"/>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5"/>
                <a:gd name="T44" fmla="*/ 11 w 11"/>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5">
                  <a:moveTo>
                    <a:pt x="2" y="1"/>
                  </a:moveTo>
                  <a:lnTo>
                    <a:pt x="1" y="3"/>
                  </a:lnTo>
                  <a:lnTo>
                    <a:pt x="0" y="3"/>
                  </a:lnTo>
                  <a:lnTo>
                    <a:pt x="1" y="5"/>
                  </a:lnTo>
                  <a:lnTo>
                    <a:pt x="3" y="5"/>
                  </a:lnTo>
                  <a:lnTo>
                    <a:pt x="5" y="3"/>
                  </a:lnTo>
                  <a:lnTo>
                    <a:pt x="6" y="2"/>
                  </a:lnTo>
                  <a:lnTo>
                    <a:pt x="8" y="3"/>
                  </a:lnTo>
                  <a:lnTo>
                    <a:pt x="10" y="3"/>
                  </a:lnTo>
                  <a:lnTo>
                    <a:pt x="11" y="3"/>
                  </a:lnTo>
                  <a:lnTo>
                    <a:pt x="11" y="1"/>
                  </a:lnTo>
                  <a:lnTo>
                    <a:pt x="8" y="0"/>
                  </a:lnTo>
                  <a:lnTo>
                    <a:pt x="6" y="0"/>
                  </a:lnTo>
                  <a:lnTo>
                    <a:pt x="2"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1" name="Freeform 850"/>
            <p:cNvSpPr>
              <a:spLocks/>
            </p:cNvSpPr>
            <p:nvPr/>
          </p:nvSpPr>
          <p:spPr bwMode="auto">
            <a:xfrm>
              <a:off x="7454902" y="4668841"/>
              <a:ext cx="98425" cy="60325"/>
            </a:xfrm>
            <a:custGeom>
              <a:avLst/>
              <a:gdLst>
                <a:gd name="T0" fmla="*/ 2147483647 w 67"/>
                <a:gd name="T1" fmla="*/ 2147483647 h 38"/>
                <a:gd name="T2" fmla="*/ 2147483647 w 67"/>
                <a:gd name="T3" fmla="*/ 2147483647 h 38"/>
                <a:gd name="T4" fmla="*/ 2147483647 w 67"/>
                <a:gd name="T5" fmla="*/ 2147483647 h 38"/>
                <a:gd name="T6" fmla="*/ 2147483647 w 67"/>
                <a:gd name="T7" fmla="*/ 2147483647 h 38"/>
                <a:gd name="T8" fmla="*/ 2147483647 w 67"/>
                <a:gd name="T9" fmla="*/ 2147483647 h 38"/>
                <a:gd name="T10" fmla="*/ 2147483647 w 67"/>
                <a:gd name="T11" fmla="*/ 2147483647 h 38"/>
                <a:gd name="T12" fmla="*/ 2147483647 w 67"/>
                <a:gd name="T13" fmla="*/ 2147483647 h 38"/>
                <a:gd name="T14" fmla="*/ 2147483647 w 67"/>
                <a:gd name="T15" fmla="*/ 2147483647 h 38"/>
                <a:gd name="T16" fmla="*/ 2147483647 w 67"/>
                <a:gd name="T17" fmla="*/ 2147483647 h 38"/>
                <a:gd name="T18" fmla="*/ 2147483647 w 67"/>
                <a:gd name="T19" fmla="*/ 2147483647 h 38"/>
                <a:gd name="T20" fmla="*/ 0 w 67"/>
                <a:gd name="T21" fmla="*/ 2147483647 h 38"/>
                <a:gd name="T22" fmla="*/ 2147483647 w 67"/>
                <a:gd name="T23" fmla="*/ 2147483647 h 38"/>
                <a:gd name="T24" fmla="*/ 2147483647 w 67"/>
                <a:gd name="T25" fmla="*/ 2147483647 h 38"/>
                <a:gd name="T26" fmla="*/ 2147483647 w 67"/>
                <a:gd name="T27" fmla="*/ 2147483647 h 38"/>
                <a:gd name="T28" fmla="*/ 2147483647 w 67"/>
                <a:gd name="T29" fmla="*/ 2147483647 h 38"/>
                <a:gd name="T30" fmla="*/ 2147483647 w 67"/>
                <a:gd name="T31" fmla="*/ 2147483647 h 38"/>
                <a:gd name="T32" fmla="*/ 2147483647 w 67"/>
                <a:gd name="T33" fmla="*/ 2147483647 h 38"/>
                <a:gd name="T34" fmla="*/ 2147483647 w 67"/>
                <a:gd name="T35" fmla="*/ 2147483647 h 38"/>
                <a:gd name="T36" fmla="*/ 2147483647 w 67"/>
                <a:gd name="T37" fmla="*/ 2147483647 h 38"/>
                <a:gd name="T38" fmla="*/ 2147483647 w 67"/>
                <a:gd name="T39" fmla="*/ 2147483647 h 38"/>
                <a:gd name="T40" fmla="*/ 2147483647 w 67"/>
                <a:gd name="T41" fmla="*/ 2147483647 h 38"/>
                <a:gd name="T42" fmla="*/ 2147483647 w 67"/>
                <a:gd name="T43" fmla="*/ 2147483647 h 38"/>
                <a:gd name="T44" fmla="*/ 2147483647 w 67"/>
                <a:gd name="T45" fmla="*/ 2147483647 h 38"/>
                <a:gd name="T46" fmla="*/ 2147483647 w 67"/>
                <a:gd name="T47" fmla="*/ 2147483647 h 38"/>
                <a:gd name="T48" fmla="*/ 2147483647 w 67"/>
                <a:gd name="T49" fmla="*/ 2147483647 h 38"/>
                <a:gd name="T50" fmla="*/ 2147483647 w 67"/>
                <a:gd name="T51" fmla="*/ 2147483647 h 38"/>
                <a:gd name="T52" fmla="*/ 2147483647 w 67"/>
                <a:gd name="T53" fmla="*/ 2147483647 h 38"/>
                <a:gd name="T54" fmla="*/ 2147483647 w 67"/>
                <a:gd name="T55" fmla="*/ 2147483647 h 38"/>
                <a:gd name="T56" fmla="*/ 2147483647 w 67"/>
                <a:gd name="T57" fmla="*/ 0 h 38"/>
                <a:gd name="T58" fmla="*/ 2147483647 w 67"/>
                <a:gd name="T59" fmla="*/ 2147483647 h 38"/>
                <a:gd name="T60" fmla="*/ 2147483647 w 67"/>
                <a:gd name="T61" fmla="*/ 2147483647 h 38"/>
                <a:gd name="T62" fmla="*/ 2147483647 w 67"/>
                <a:gd name="T63" fmla="*/ 2147483647 h 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38"/>
                <a:gd name="T98" fmla="*/ 67 w 67"/>
                <a:gd name="T99" fmla="*/ 38 h 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38">
                  <a:moveTo>
                    <a:pt x="34" y="4"/>
                  </a:moveTo>
                  <a:lnTo>
                    <a:pt x="33" y="5"/>
                  </a:lnTo>
                  <a:lnTo>
                    <a:pt x="30" y="7"/>
                  </a:lnTo>
                  <a:lnTo>
                    <a:pt x="27" y="10"/>
                  </a:lnTo>
                  <a:lnTo>
                    <a:pt x="22" y="11"/>
                  </a:lnTo>
                  <a:lnTo>
                    <a:pt x="16" y="12"/>
                  </a:lnTo>
                  <a:lnTo>
                    <a:pt x="13" y="16"/>
                  </a:lnTo>
                  <a:lnTo>
                    <a:pt x="8" y="21"/>
                  </a:lnTo>
                  <a:lnTo>
                    <a:pt x="4" y="26"/>
                  </a:lnTo>
                  <a:lnTo>
                    <a:pt x="1" y="31"/>
                  </a:lnTo>
                  <a:lnTo>
                    <a:pt x="0" y="34"/>
                  </a:lnTo>
                  <a:lnTo>
                    <a:pt x="1" y="36"/>
                  </a:lnTo>
                  <a:lnTo>
                    <a:pt x="3" y="38"/>
                  </a:lnTo>
                  <a:lnTo>
                    <a:pt x="5" y="38"/>
                  </a:lnTo>
                  <a:lnTo>
                    <a:pt x="10" y="37"/>
                  </a:lnTo>
                  <a:lnTo>
                    <a:pt x="18" y="34"/>
                  </a:lnTo>
                  <a:lnTo>
                    <a:pt x="24" y="31"/>
                  </a:lnTo>
                  <a:lnTo>
                    <a:pt x="25" y="30"/>
                  </a:lnTo>
                  <a:lnTo>
                    <a:pt x="25" y="29"/>
                  </a:lnTo>
                  <a:lnTo>
                    <a:pt x="27" y="26"/>
                  </a:lnTo>
                  <a:lnTo>
                    <a:pt x="30" y="22"/>
                  </a:lnTo>
                  <a:lnTo>
                    <a:pt x="33" y="19"/>
                  </a:lnTo>
                  <a:lnTo>
                    <a:pt x="36" y="18"/>
                  </a:lnTo>
                  <a:lnTo>
                    <a:pt x="39" y="16"/>
                  </a:lnTo>
                  <a:lnTo>
                    <a:pt x="44" y="16"/>
                  </a:lnTo>
                  <a:lnTo>
                    <a:pt x="48" y="15"/>
                  </a:lnTo>
                  <a:lnTo>
                    <a:pt x="53" y="12"/>
                  </a:lnTo>
                  <a:lnTo>
                    <a:pt x="67" y="3"/>
                  </a:lnTo>
                  <a:lnTo>
                    <a:pt x="67" y="0"/>
                  </a:lnTo>
                  <a:lnTo>
                    <a:pt x="51" y="3"/>
                  </a:lnTo>
                  <a:lnTo>
                    <a:pt x="42" y="4"/>
                  </a:lnTo>
                  <a:lnTo>
                    <a:pt x="3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2" name="Freeform 851"/>
            <p:cNvSpPr>
              <a:spLocks/>
            </p:cNvSpPr>
            <p:nvPr/>
          </p:nvSpPr>
          <p:spPr bwMode="auto">
            <a:xfrm>
              <a:off x="7483478" y="4662488"/>
              <a:ext cx="17463" cy="6350"/>
            </a:xfrm>
            <a:custGeom>
              <a:avLst/>
              <a:gdLst>
                <a:gd name="T0" fmla="*/ 2147483647 w 12"/>
                <a:gd name="T1" fmla="*/ 2147483647 h 4"/>
                <a:gd name="T2" fmla="*/ 2147483647 w 12"/>
                <a:gd name="T3" fmla="*/ 2147483647 h 4"/>
                <a:gd name="T4" fmla="*/ 2147483647 w 12"/>
                <a:gd name="T5" fmla="*/ 2147483647 h 4"/>
                <a:gd name="T6" fmla="*/ 0 w 12"/>
                <a:gd name="T7" fmla="*/ 2147483647 h 4"/>
                <a:gd name="T8" fmla="*/ 2147483647 w 12"/>
                <a:gd name="T9" fmla="*/ 2147483647 h 4"/>
                <a:gd name="T10" fmla="*/ 2147483647 w 12"/>
                <a:gd name="T11" fmla="*/ 2147483647 h 4"/>
                <a:gd name="T12" fmla="*/ 2147483647 w 12"/>
                <a:gd name="T13" fmla="*/ 2147483647 h 4"/>
                <a:gd name="T14" fmla="*/ 2147483647 w 12"/>
                <a:gd name="T15" fmla="*/ 2147483647 h 4"/>
                <a:gd name="T16" fmla="*/ 2147483647 w 12"/>
                <a:gd name="T17" fmla="*/ 2147483647 h 4"/>
                <a:gd name="T18" fmla="*/ 2147483647 w 12"/>
                <a:gd name="T19" fmla="*/ 2147483647 h 4"/>
                <a:gd name="T20" fmla="*/ 2147483647 w 12"/>
                <a:gd name="T21" fmla="*/ 2147483647 h 4"/>
                <a:gd name="T22" fmla="*/ 2147483647 w 12"/>
                <a:gd name="T23" fmla="*/ 2147483647 h 4"/>
                <a:gd name="T24" fmla="*/ 2147483647 w 12"/>
                <a:gd name="T25" fmla="*/ 2147483647 h 4"/>
                <a:gd name="T26" fmla="*/ 2147483647 w 12"/>
                <a:gd name="T27" fmla="*/ 2147483647 h 4"/>
                <a:gd name="T28" fmla="*/ 2147483647 w 12"/>
                <a:gd name="T29" fmla="*/ 2147483647 h 4"/>
                <a:gd name="T30" fmla="*/ 2147483647 w 12"/>
                <a:gd name="T31" fmla="*/ 0 h 4"/>
                <a:gd name="T32" fmla="*/ 2147483647 w 12"/>
                <a:gd name="T33" fmla="*/ 0 h 4"/>
                <a:gd name="T34" fmla="*/ 2147483647 w 12"/>
                <a:gd name="T35" fmla="*/ 0 h 4"/>
                <a:gd name="T36" fmla="*/ 2147483647 w 12"/>
                <a:gd name="T37" fmla="*/ 2147483647 h 4"/>
                <a:gd name="T38" fmla="*/ 2147483647 w 12"/>
                <a:gd name="T39" fmla="*/ 2147483647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4"/>
                <a:gd name="T62" fmla="*/ 12 w 12"/>
                <a:gd name="T63" fmla="*/ 4 h 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4">
                  <a:moveTo>
                    <a:pt x="3" y="1"/>
                  </a:moveTo>
                  <a:lnTo>
                    <a:pt x="3" y="1"/>
                  </a:lnTo>
                  <a:lnTo>
                    <a:pt x="2" y="3"/>
                  </a:lnTo>
                  <a:lnTo>
                    <a:pt x="0" y="3"/>
                  </a:lnTo>
                  <a:lnTo>
                    <a:pt x="2" y="4"/>
                  </a:lnTo>
                  <a:lnTo>
                    <a:pt x="4" y="4"/>
                  </a:lnTo>
                  <a:lnTo>
                    <a:pt x="5" y="3"/>
                  </a:lnTo>
                  <a:lnTo>
                    <a:pt x="7" y="2"/>
                  </a:lnTo>
                  <a:lnTo>
                    <a:pt x="9" y="3"/>
                  </a:lnTo>
                  <a:lnTo>
                    <a:pt x="10" y="3"/>
                  </a:lnTo>
                  <a:lnTo>
                    <a:pt x="12" y="3"/>
                  </a:lnTo>
                  <a:lnTo>
                    <a:pt x="12" y="1"/>
                  </a:lnTo>
                  <a:lnTo>
                    <a:pt x="9" y="0"/>
                  </a:lnTo>
                  <a:lnTo>
                    <a:pt x="7" y="0"/>
                  </a:lnTo>
                  <a:lnTo>
                    <a:pt x="3"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3" name="Freeform 852"/>
            <p:cNvSpPr>
              <a:spLocks/>
            </p:cNvSpPr>
            <p:nvPr/>
          </p:nvSpPr>
          <p:spPr bwMode="auto">
            <a:xfrm>
              <a:off x="7453314" y="4667255"/>
              <a:ext cx="98425" cy="60325"/>
            </a:xfrm>
            <a:custGeom>
              <a:avLst/>
              <a:gdLst>
                <a:gd name="T0" fmla="*/ 2147483647 w 67"/>
                <a:gd name="T1" fmla="*/ 2147483647 h 38"/>
                <a:gd name="T2" fmla="*/ 2147483647 w 67"/>
                <a:gd name="T3" fmla="*/ 2147483647 h 38"/>
                <a:gd name="T4" fmla="*/ 2147483647 w 67"/>
                <a:gd name="T5" fmla="*/ 2147483647 h 38"/>
                <a:gd name="T6" fmla="*/ 2147483647 w 67"/>
                <a:gd name="T7" fmla="*/ 2147483647 h 38"/>
                <a:gd name="T8" fmla="*/ 2147483647 w 67"/>
                <a:gd name="T9" fmla="*/ 2147483647 h 38"/>
                <a:gd name="T10" fmla="*/ 2147483647 w 67"/>
                <a:gd name="T11" fmla="*/ 2147483647 h 38"/>
                <a:gd name="T12" fmla="*/ 2147483647 w 67"/>
                <a:gd name="T13" fmla="*/ 2147483647 h 38"/>
                <a:gd name="T14" fmla="*/ 2147483647 w 67"/>
                <a:gd name="T15" fmla="*/ 2147483647 h 38"/>
                <a:gd name="T16" fmla="*/ 2147483647 w 67"/>
                <a:gd name="T17" fmla="*/ 2147483647 h 38"/>
                <a:gd name="T18" fmla="*/ 2147483647 w 67"/>
                <a:gd name="T19" fmla="*/ 2147483647 h 38"/>
                <a:gd name="T20" fmla="*/ 2147483647 w 67"/>
                <a:gd name="T21" fmla="*/ 2147483647 h 38"/>
                <a:gd name="T22" fmla="*/ 2147483647 w 67"/>
                <a:gd name="T23" fmla="*/ 2147483647 h 38"/>
                <a:gd name="T24" fmla="*/ 2147483647 w 67"/>
                <a:gd name="T25" fmla="*/ 2147483647 h 38"/>
                <a:gd name="T26" fmla="*/ 2147483647 w 67"/>
                <a:gd name="T27" fmla="*/ 2147483647 h 38"/>
                <a:gd name="T28" fmla="*/ 0 w 67"/>
                <a:gd name="T29" fmla="*/ 2147483647 h 38"/>
                <a:gd name="T30" fmla="*/ 2147483647 w 67"/>
                <a:gd name="T31" fmla="*/ 2147483647 h 38"/>
                <a:gd name="T32" fmla="*/ 2147483647 w 67"/>
                <a:gd name="T33" fmla="*/ 2147483647 h 38"/>
                <a:gd name="T34" fmla="*/ 2147483647 w 67"/>
                <a:gd name="T35" fmla="*/ 2147483647 h 38"/>
                <a:gd name="T36" fmla="*/ 2147483647 w 67"/>
                <a:gd name="T37" fmla="*/ 2147483647 h 38"/>
                <a:gd name="T38" fmla="*/ 2147483647 w 67"/>
                <a:gd name="T39" fmla="*/ 2147483647 h 38"/>
                <a:gd name="T40" fmla="*/ 2147483647 w 67"/>
                <a:gd name="T41" fmla="*/ 2147483647 h 38"/>
                <a:gd name="T42" fmla="*/ 2147483647 w 67"/>
                <a:gd name="T43" fmla="*/ 2147483647 h 38"/>
                <a:gd name="T44" fmla="*/ 2147483647 w 67"/>
                <a:gd name="T45" fmla="*/ 2147483647 h 38"/>
                <a:gd name="T46" fmla="*/ 2147483647 w 67"/>
                <a:gd name="T47" fmla="*/ 2147483647 h 38"/>
                <a:gd name="T48" fmla="*/ 2147483647 w 67"/>
                <a:gd name="T49" fmla="*/ 2147483647 h 38"/>
                <a:gd name="T50" fmla="*/ 2147483647 w 67"/>
                <a:gd name="T51" fmla="*/ 2147483647 h 38"/>
                <a:gd name="T52" fmla="*/ 2147483647 w 67"/>
                <a:gd name="T53" fmla="*/ 2147483647 h 38"/>
                <a:gd name="T54" fmla="*/ 2147483647 w 67"/>
                <a:gd name="T55" fmla="*/ 2147483647 h 38"/>
                <a:gd name="T56" fmla="*/ 2147483647 w 67"/>
                <a:gd name="T57" fmla="*/ 2147483647 h 38"/>
                <a:gd name="T58" fmla="*/ 2147483647 w 67"/>
                <a:gd name="T59" fmla="*/ 2147483647 h 38"/>
                <a:gd name="T60" fmla="*/ 2147483647 w 67"/>
                <a:gd name="T61" fmla="*/ 2147483647 h 38"/>
                <a:gd name="T62" fmla="*/ 2147483647 w 67"/>
                <a:gd name="T63" fmla="*/ 2147483647 h 38"/>
                <a:gd name="T64" fmla="*/ 2147483647 w 67"/>
                <a:gd name="T65" fmla="*/ 2147483647 h 38"/>
                <a:gd name="T66" fmla="*/ 2147483647 w 67"/>
                <a:gd name="T67" fmla="*/ 2147483647 h 38"/>
                <a:gd name="T68" fmla="*/ 2147483647 w 67"/>
                <a:gd name="T69" fmla="*/ 2147483647 h 38"/>
                <a:gd name="T70" fmla="*/ 2147483647 w 67"/>
                <a:gd name="T71" fmla="*/ 2147483647 h 38"/>
                <a:gd name="T72" fmla="*/ 2147483647 w 67"/>
                <a:gd name="T73" fmla="*/ 2147483647 h 38"/>
                <a:gd name="T74" fmla="*/ 2147483647 w 67"/>
                <a:gd name="T75" fmla="*/ 2147483647 h 38"/>
                <a:gd name="T76" fmla="*/ 2147483647 w 67"/>
                <a:gd name="T77" fmla="*/ 0 h 38"/>
                <a:gd name="T78" fmla="*/ 2147483647 w 67"/>
                <a:gd name="T79" fmla="*/ 0 h 38"/>
                <a:gd name="T80" fmla="*/ 2147483647 w 67"/>
                <a:gd name="T81" fmla="*/ 2147483647 h 38"/>
                <a:gd name="T82" fmla="*/ 2147483647 w 67"/>
                <a:gd name="T83" fmla="*/ 2147483647 h 38"/>
                <a:gd name="T84" fmla="*/ 2147483647 w 67"/>
                <a:gd name="T85" fmla="*/ 2147483647 h 38"/>
                <a:gd name="T86" fmla="*/ 2147483647 w 67"/>
                <a:gd name="T87" fmla="*/ 2147483647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
                <a:gd name="T133" fmla="*/ 0 h 38"/>
                <a:gd name="T134" fmla="*/ 67 w 67"/>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 h="38">
                  <a:moveTo>
                    <a:pt x="34" y="4"/>
                  </a:moveTo>
                  <a:lnTo>
                    <a:pt x="34" y="4"/>
                  </a:lnTo>
                  <a:lnTo>
                    <a:pt x="33" y="5"/>
                  </a:lnTo>
                  <a:lnTo>
                    <a:pt x="30" y="7"/>
                  </a:lnTo>
                  <a:lnTo>
                    <a:pt x="26" y="10"/>
                  </a:lnTo>
                  <a:lnTo>
                    <a:pt x="21" y="11"/>
                  </a:lnTo>
                  <a:lnTo>
                    <a:pt x="16" y="12"/>
                  </a:lnTo>
                  <a:lnTo>
                    <a:pt x="12" y="16"/>
                  </a:lnTo>
                  <a:lnTo>
                    <a:pt x="7" y="20"/>
                  </a:lnTo>
                  <a:lnTo>
                    <a:pt x="4" y="26"/>
                  </a:lnTo>
                  <a:lnTo>
                    <a:pt x="1" y="31"/>
                  </a:lnTo>
                  <a:lnTo>
                    <a:pt x="0" y="33"/>
                  </a:lnTo>
                  <a:lnTo>
                    <a:pt x="1" y="36"/>
                  </a:lnTo>
                  <a:lnTo>
                    <a:pt x="2" y="38"/>
                  </a:lnTo>
                  <a:lnTo>
                    <a:pt x="5" y="38"/>
                  </a:lnTo>
                  <a:lnTo>
                    <a:pt x="10" y="37"/>
                  </a:lnTo>
                  <a:lnTo>
                    <a:pt x="17" y="33"/>
                  </a:lnTo>
                  <a:lnTo>
                    <a:pt x="24" y="31"/>
                  </a:lnTo>
                  <a:lnTo>
                    <a:pt x="25" y="30"/>
                  </a:lnTo>
                  <a:lnTo>
                    <a:pt x="25" y="29"/>
                  </a:lnTo>
                  <a:lnTo>
                    <a:pt x="26" y="26"/>
                  </a:lnTo>
                  <a:lnTo>
                    <a:pt x="30" y="22"/>
                  </a:lnTo>
                  <a:lnTo>
                    <a:pt x="33" y="19"/>
                  </a:lnTo>
                  <a:lnTo>
                    <a:pt x="35" y="18"/>
                  </a:lnTo>
                  <a:lnTo>
                    <a:pt x="39" y="16"/>
                  </a:lnTo>
                  <a:lnTo>
                    <a:pt x="44" y="16"/>
                  </a:lnTo>
                  <a:lnTo>
                    <a:pt x="48" y="14"/>
                  </a:lnTo>
                  <a:lnTo>
                    <a:pt x="53" y="12"/>
                  </a:lnTo>
                  <a:lnTo>
                    <a:pt x="67" y="3"/>
                  </a:lnTo>
                  <a:lnTo>
                    <a:pt x="67" y="0"/>
                  </a:lnTo>
                  <a:lnTo>
                    <a:pt x="51" y="3"/>
                  </a:lnTo>
                  <a:lnTo>
                    <a:pt x="42" y="4"/>
                  </a:lnTo>
                  <a:lnTo>
                    <a:pt x="3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4" name="Freeform 853"/>
            <p:cNvSpPr>
              <a:spLocks/>
            </p:cNvSpPr>
            <p:nvPr/>
          </p:nvSpPr>
          <p:spPr bwMode="auto">
            <a:xfrm>
              <a:off x="7339013" y="4338641"/>
              <a:ext cx="165100" cy="247650"/>
            </a:xfrm>
            <a:custGeom>
              <a:avLst/>
              <a:gdLst>
                <a:gd name="T0" fmla="*/ 2147483647 w 113"/>
                <a:gd name="T1" fmla="*/ 2147483647 h 156"/>
                <a:gd name="T2" fmla="*/ 2147483647 w 113"/>
                <a:gd name="T3" fmla="*/ 2147483647 h 156"/>
                <a:gd name="T4" fmla="*/ 2147483647 w 113"/>
                <a:gd name="T5" fmla="*/ 2147483647 h 156"/>
                <a:gd name="T6" fmla="*/ 2147483647 w 113"/>
                <a:gd name="T7" fmla="*/ 2147483647 h 156"/>
                <a:gd name="T8" fmla="*/ 2147483647 w 113"/>
                <a:gd name="T9" fmla="*/ 2147483647 h 156"/>
                <a:gd name="T10" fmla="*/ 0 w 113"/>
                <a:gd name="T11" fmla="*/ 2147483647 h 156"/>
                <a:gd name="T12" fmla="*/ 2147483647 w 113"/>
                <a:gd name="T13" fmla="*/ 2147483647 h 156"/>
                <a:gd name="T14" fmla="*/ 2147483647 w 113"/>
                <a:gd name="T15" fmla="*/ 2147483647 h 156"/>
                <a:gd name="T16" fmla="*/ 2147483647 w 113"/>
                <a:gd name="T17" fmla="*/ 2147483647 h 156"/>
                <a:gd name="T18" fmla="*/ 2147483647 w 113"/>
                <a:gd name="T19" fmla="*/ 2147483647 h 156"/>
                <a:gd name="T20" fmla="*/ 2147483647 w 113"/>
                <a:gd name="T21" fmla="*/ 2147483647 h 156"/>
                <a:gd name="T22" fmla="*/ 2147483647 w 113"/>
                <a:gd name="T23" fmla="*/ 2147483647 h 156"/>
                <a:gd name="T24" fmla="*/ 2147483647 w 113"/>
                <a:gd name="T25" fmla="*/ 2147483647 h 156"/>
                <a:gd name="T26" fmla="*/ 2147483647 w 113"/>
                <a:gd name="T27" fmla="*/ 2147483647 h 156"/>
                <a:gd name="T28" fmla="*/ 2147483647 w 113"/>
                <a:gd name="T29" fmla="*/ 2147483647 h 156"/>
                <a:gd name="T30" fmla="*/ 2147483647 w 113"/>
                <a:gd name="T31" fmla="*/ 2147483647 h 156"/>
                <a:gd name="T32" fmla="*/ 2147483647 w 113"/>
                <a:gd name="T33" fmla="*/ 2147483647 h 156"/>
                <a:gd name="T34" fmla="*/ 2147483647 w 113"/>
                <a:gd name="T35" fmla="*/ 2147483647 h 156"/>
                <a:gd name="T36" fmla="*/ 2147483647 w 113"/>
                <a:gd name="T37" fmla="*/ 2147483647 h 156"/>
                <a:gd name="T38" fmla="*/ 2147483647 w 113"/>
                <a:gd name="T39" fmla="*/ 2147483647 h 156"/>
                <a:gd name="T40" fmla="*/ 2147483647 w 113"/>
                <a:gd name="T41" fmla="*/ 0 h 156"/>
                <a:gd name="T42" fmla="*/ 2147483647 w 113"/>
                <a:gd name="T43" fmla="*/ 2147483647 h 156"/>
                <a:gd name="T44" fmla="*/ 2147483647 w 113"/>
                <a:gd name="T45" fmla="*/ 2147483647 h 156"/>
                <a:gd name="T46" fmla="*/ 2147483647 w 113"/>
                <a:gd name="T47" fmla="*/ 2147483647 h 156"/>
                <a:gd name="T48" fmla="*/ 2147483647 w 113"/>
                <a:gd name="T49" fmla="*/ 2147483647 h 156"/>
                <a:gd name="T50" fmla="*/ 2147483647 w 113"/>
                <a:gd name="T51" fmla="*/ 2147483647 h 156"/>
                <a:gd name="T52" fmla="*/ 2147483647 w 113"/>
                <a:gd name="T53" fmla="*/ 2147483647 h 156"/>
                <a:gd name="T54" fmla="*/ 2147483647 w 113"/>
                <a:gd name="T55" fmla="*/ 2147483647 h 156"/>
                <a:gd name="T56" fmla="*/ 2147483647 w 113"/>
                <a:gd name="T57" fmla="*/ 2147483647 h 156"/>
                <a:gd name="T58" fmla="*/ 2147483647 w 113"/>
                <a:gd name="T59" fmla="*/ 2147483647 h 156"/>
                <a:gd name="T60" fmla="*/ 2147483647 w 113"/>
                <a:gd name="T61" fmla="*/ 2147483647 h 156"/>
                <a:gd name="T62" fmla="*/ 2147483647 w 113"/>
                <a:gd name="T63" fmla="*/ 2147483647 h 156"/>
                <a:gd name="T64" fmla="*/ 2147483647 w 113"/>
                <a:gd name="T65" fmla="*/ 2147483647 h 156"/>
                <a:gd name="T66" fmla="*/ 2147483647 w 113"/>
                <a:gd name="T67" fmla="*/ 2147483647 h 156"/>
                <a:gd name="T68" fmla="*/ 2147483647 w 113"/>
                <a:gd name="T69" fmla="*/ 2147483647 h 156"/>
                <a:gd name="T70" fmla="*/ 2147483647 w 113"/>
                <a:gd name="T71" fmla="*/ 2147483647 h 156"/>
                <a:gd name="T72" fmla="*/ 2147483647 w 113"/>
                <a:gd name="T73" fmla="*/ 2147483647 h 156"/>
                <a:gd name="T74" fmla="*/ 2147483647 w 113"/>
                <a:gd name="T75" fmla="*/ 2147483647 h 156"/>
                <a:gd name="T76" fmla="*/ 2147483647 w 113"/>
                <a:gd name="T77" fmla="*/ 2147483647 h 156"/>
                <a:gd name="T78" fmla="*/ 2147483647 w 113"/>
                <a:gd name="T79" fmla="*/ 2147483647 h 156"/>
                <a:gd name="T80" fmla="*/ 2147483647 w 113"/>
                <a:gd name="T81" fmla="*/ 2147483647 h 156"/>
                <a:gd name="T82" fmla="*/ 2147483647 w 113"/>
                <a:gd name="T83" fmla="*/ 2147483647 h 156"/>
                <a:gd name="T84" fmla="*/ 2147483647 w 113"/>
                <a:gd name="T85" fmla="*/ 2147483647 h 156"/>
                <a:gd name="T86" fmla="*/ 2147483647 w 113"/>
                <a:gd name="T87" fmla="*/ 2147483647 h 156"/>
                <a:gd name="T88" fmla="*/ 2147483647 w 113"/>
                <a:gd name="T89" fmla="*/ 2147483647 h 156"/>
                <a:gd name="T90" fmla="*/ 2147483647 w 113"/>
                <a:gd name="T91" fmla="*/ 2147483647 h 156"/>
                <a:gd name="T92" fmla="*/ 2147483647 w 113"/>
                <a:gd name="T93" fmla="*/ 2147483647 h 156"/>
                <a:gd name="T94" fmla="*/ 2147483647 w 113"/>
                <a:gd name="T95" fmla="*/ 2147483647 h 156"/>
                <a:gd name="T96" fmla="*/ 2147483647 w 113"/>
                <a:gd name="T97" fmla="*/ 2147483647 h 156"/>
                <a:gd name="T98" fmla="*/ 2147483647 w 113"/>
                <a:gd name="T99" fmla="*/ 2147483647 h 156"/>
                <a:gd name="T100" fmla="*/ 2147483647 w 113"/>
                <a:gd name="T101" fmla="*/ 2147483647 h 156"/>
                <a:gd name="T102" fmla="*/ 2147483647 w 113"/>
                <a:gd name="T103" fmla="*/ 2147483647 h 156"/>
                <a:gd name="T104" fmla="*/ 2147483647 w 113"/>
                <a:gd name="T105" fmla="*/ 2147483647 h 156"/>
                <a:gd name="T106" fmla="*/ 2147483647 w 113"/>
                <a:gd name="T107" fmla="*/ 2147483647 h 156"/>
                <a:gd name="T108" fmla="*/ 2147483647 w 113"/>
                <a:gd name="T109" fmla="*/ 2147483647 h 156"/>
                <a:gd name="T110" fmla="*/ 2147483647 w 113"/>
                <a:gd name="T111" fmla="*/ 2147483647 h 1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3"/>
                <a:gd name="T169" fmla="*/ 0 h 156"/>
                <a:gd name="T170" fmla="*/ 113 w 113"/>
                <a:gd name="T171" fmla="*/ 156 h 1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3" h="156">
                  <a:moveTo>
                    <a:pt x="36" y="149"/>
                  </a:moveTo>
                  <a:lnTo>
                    <a:pt x="36" y="151"/>
                  </a:lnTo>
                  <a:lnTo>
                    <a:pt x="35" y="154"/>
                  </a:lnTo>
                  <a:lnTo>
                    <a:pt x="32" y="155"/>
                  </a:lnTo>
                  <a:lnTo>
                    <a:pt x="29" y="156"/>
                  </a:lnTo>
                  <a:lnTo>
                    <a:pt x="26" y="156"/>
                  </a:lnTo>
                  <a:lnTo>
                    <a:pt x="21" y="155"/>
                  </a:lnTo>
                  <a:lnTo>
                    <a:pt x="18" y="153"/>
                  </a:lnTo>
                  <a:lnTo>
                    <a:pt x="14" y="149"/>
                  </a:lnTo>
                  <a:lnTo>
                    <a:pt x="14" y="142"/>
                  </a:lnTo>
                  <a:lnTo>
                    <a:pt x="14" y="135"/>
                  </a:lnTo>
                  <a:lnTo>
                    <a:pt x="14" y="128"/>
                  </a:lnTo>
                  <a:lnTo>
                    <a:pt x="12" y="121"/>
                  </a:lnTo>
                  <a:lnTo>
                    <a:pt x="8" y="116"/>
                  </a:lnTo>
                  <a:lnTo>
                    <a:pt x="4" y="111"/>
                  </a:lnTo>
                  <a:lnTo>
                    <a:pt x="0" y="105"/>
                  </a:lnTo>
                  <a:lnTo>
                    <a:pt x="0" y="103"/>
                  </a:lnTo>
                  <a:lnTo>
                    <a:pt x="0" y="99"/>
                  </a:lnTo>
                  <a:lnTo>
                    <a:pt x="3" y="90"/>
                  </a:lnTo>
                  <a:lnTo>
                    <a:pt x="5" y="82"/>
                  </a:lnTo>
                  <a:lnTo>
                    <a:pt x="8" y="72"/>
                  </a:lnTo>
                  <a:lnTo>
                    <a:pt x="10" y="67"/>
                  </a:lnTo>
                  <a:lnTo>
                    <a:pt x="13" y="63"/>
                  </a:lnTo>
                  <a:lnTo>
                    <a:pt x="14" y="60"/>
                  </a:lnTo>
                  <a:lnTo>
                    <a:pt x="15" y="57"/>
                  </a:lnTo>
                  <a:lnTo>
                    <a:pt x="15" y="51"/>
                  </a:lnTo>
                  <a:lnTo>
                    <a:pt x="14" y="44"/>
                  </a:lnTo>
                  <a:lnTo>
                    <a:pt x="14" y="40"/>
                  </a:lnTo>
                  <a:lnTo>
                    <a:pt x="15" y="38"/>
                  </a:lnTo>
                  <a:lnTo>
                    <a:pt x="19" y="32"/>
                  </a:lnTo>
                  <a:lnTo>
                    <a:pt x="22" y="28"/>
                  </a:lnTo>
                  <a:lnTo>
                    <a:pt x="23" y="25"/>
                  </a:lnTo>
                  <a:lnTo>
                    <a:pt x="23" y="23"/>
                  </a:lnTo>
                  <a:lnTo>
                    <a:pt x="24" y="23"/>
                  </a:lnTo>
                  <a:lnTo>
                    <a:pt x="28" y="22"/>
                  </a:lnTo>
                  <a:lnTo>
                    <a:pt x="32" y="22"/>
                  </a:lnTo>
                  <a:lnTo>
                    <a:pt x="35" y="21"/>
                  </a:lnTo>
                  <a:lnTo>
                    <a:pt x="36" y="20"/>
                  </a:lnTo>
                  <a:lnTo>
                    <a:pt x="36" y="19"/>
                  </a:lnTo>
                  <a:lnTo>
                    <a:pt x="35" y="16"/>
                  </a:lnTo>
                  <a:lnTo>
                    <a:pt x="33" y="15"/>
                  </a:lnTo>
                  <a:lnTo>
                    <a:pt x="33" y="14"/>
                  </a:lnTo>
                  <a:lnTo>
                    <a:pt x="35" y="14"/>
                  </a:lnTo>
                  <a:lnTo>
                    <a:pt x="42" y="15"/>
                  </a:lnTo>
                  <a:lnTo>
                    <a:pt x="50" y="17"/>
                  </a:lnTo>
                  <a:lnTo>
                    <a:pt x="54" y="20"/>
                  </a:lnTo>
                  <a:lnTo>
                    <a:pt x="56" y="22"/>
                  </a:lnTo>
                  <a:lnTo>
                    <a:pt x="57" y="23"/>
                  </a:lnTo>
                  <a:lnTo>
                    <a:pt x="59" y="23"/>
                  </a:lnTo>
                  <a:lnTo>
                    <a:pt x="62" y="22"/>
                  </a:lnTo>
                  <a:lnTo>
                    <a:pt x="66" y="22"/>
                  </a:lnTo>
                  <a:lnTo>
                    <a:pt x="70" y="22"/>
                  </a:lnTo>
                  <a:lnTo>
                    <a:pt x="74" y="23"/>
                  </a:lnTo>
                  <a:lnTo>
                    <a:pt x="78" y="23"/>
                  </a:lnTo>
                  <a:lnTo>
                    <a:pt x="90" y="22"/>
                  </a:lnTo>
                  <a:lnTo>
                    <a:pt x="101" y="19"/>
                  </a:lnTo>
                  <a:lnTo>
                    <a:pt x="103" y="17"/>
                  </a:lnTo>
                  <a:lnTo>
                    <a:pt x="104" y="16"/>
                  </a:lnTo>
                  <a:lnTo>
                    <a:pt x="106" y="12"/>
                  </a:lnTo>
                  <a:lnTo>
                    <a:pt x="107" y="2"/>
                  </a:lnTo>
                  <a:lnTo>
                    <a:pt x="107" y="1"/>
                  </a:lnTo>
                  <a:lnTo>
                    <a:pt x="108" y="0"/>
                  </a:lnTo>
                  <a:lnTo>
                    <a:pt x="113" y="0"/>
                  </a:lnTo>
                  <a:lnTo>
                    <a:pt x="113" y="6"/>
                  </a:lnTo>
                  <a:lnTo>
                    <a:pt x="113" y="13"/>
                  </a:lnTo>
                  <a:lnTo>
                    <a:pt x="113" y="15"/>
                  </a:lnTo>
                  <a:lnTo>
                    <a:pt x="113" y="17"/>
                  </a:lnTo>
                  <a:lnTo>
                    <a:pt x="111" y="20"/>
                  </a:lnTo>
                  <a:lnTo>
                    <a:pt x="108" y="21"/>
                  </a:lnTo>
                  <a:lnTo>
                    <a:pt x="106" y="23"/>
                  </a:lnTo>
                  <a:lnTo>
                    <a:pt x="103" y="26"/>
                  </a:lnTo>
                  <a:lnTo>
                    <a:pt x="103" y="31"/>
                  </a:lnTo>
                  <a:lnTo>
                    <a:pt x="102" y="33"/>
                  </a:lnTo>
                  <a:lnTo>
                    <a:pt x="99" y="33"/>
                  </a:lnTo>
                  <a:lnTo>
                    <a:pt x="90" y="33"/>
                  </a:lnTo>
                  <a:lnTo>
                    <a:pt x="82" y="32"/>
                  </a:lnTo>
                  <a:lnTo>
                    <a:pt x="73" y="31"/>
                  </a:lnTo>
                  <a:lnTo>
                    <a:pt x="64" y="32"/>
                  </a:lnTo>
                  <a:lnTo>
                    <a:pt x="54" y="33"/>
                  </a:lnTo>
                  <a:lnTo>
                    <a:pt x="45" y="33"/>
                  </a:lnTo>
                  <a:lnTo>
                    <a:pt x="37" y="32"/>
                  </a:lnTo>
                  <a:lnTo>
                    <a:pt x="28" y="33"/>
                  </a:lnTo>
                  <a:lnTo>
                    <a:pt x="26" y="35"/>
                  </a:lnTo>
                  <a:lnTo>
                    <a:pt x="23" y="38"/>
                  </a:lnTo>
                  <a:lnTo>
                    <a:pt x="22" y="40"/>
                  </a:lnTo>
                  <a:lnTo>
                    <a:pt x="22" y="44"/>
                  </a:lnTo>
                  <a:lnTo>
                    <a:pt x="24" y="51"/>
                  </a:lnTo>
                  <a:lnTo>
                    <a:pt x="27" y="55"/>
                  </a:lnTo>
                  <a:lnTo>
                    <a:pt x="32" y="60"/>
                  </a:lnTo>
                  <a:lnTo>
                    <a:pt x="33" y="64"/>
                  </a:lnTo>
                  <a:lnTo>
                    <a:pt x="35" y="66"/>
                  </a:lnTo>
                  <a:lnTo>
                    <a:pt x="36" y="67"/>
                  </a:lnTo>
                  <a:lnTo>
                    <a:pt x="37" y="68"/>
                  </a:lnTo>
                  <a:lnTo>
                    <a:pt x="41" y="68"/>
                  </a:lnTo>
                  <a:lnTo>
                    <a:pt x="45" y="66"/>
                  </a:lnTo>
                  <a:lnTo>
                    <a:pt x="51" y="60"/>
                  </a:lnTo>
                  <a:lnTo>
                    <a:pt x="59" y="59"/>
                  </a:lnTo>
                  <a:lnTo>
                    <a:pt x="66" y="59"/>
                  </a:lnTo>
                  <a:lnTo>
                    <a:pt x="70" y="59"/>
                  </a:lnTo>
                  <a:lnTo>
                    <a:pt x="71" y="60"/>
                  </a:lnTo>
                  <a:lnTo>
                    <a:pt x="71" y="63"/>
                  </a:lnTo>
                  <a:lnTo>
                    <a:pt x="66" y="68"/>
                  </a:lnTo>
                  <a:lnTo>
                    <a:pt x="61" y="74"/>
                  </a:lnTo>
                  <a:lnTo>
                    <a:pt x="56" y="78"/>
                  </a:lnTo>
                  <a:lnTo>
                    <a:pt x="47" y="82"/>
                  </a:lnTo>
                  <a:lnTo>
                    <a:pt x="46" y="82"/>
                  </a:lnTo>
                  <a:lnTo>
                    <a:pt x="45" y="83"/>
                  </a:lnTo>
                  <a:lnTo>
                    <a:pt x="43" y="85"/>
                  </a:lnTo>
                  <a:lnTo>
                    <a:pt x="45" y="86"/>
                  </a:lnTo>
                  <a:lnTo>
                    <a:pt x="46" y="89"/>
                  </a:lnTo>
                  <a:lnTo>
                    <a:pt x="49" y="89"/>
                  </a:lnTo>
                  <a:lnTo>
                    <a:pt x="51" y="90"/>
                  </a:lnTo>
                  <a:lnTo>
                    <a:pt x="54" y="91"/>
                  </a:lnTo>
                  <a:lnTo>
                    <a:pt x="59" y="97"/>
                  </a:lnTo>
                  <a:lnTo>
                    <a:pt x="65" y="105"/>
                  </a:lnTo>
                  <a:lnTo>
                    <a:pt x="66" y="109"/>
                  </a:lnTo>
                  <a:lnTo>
                    <a:pt x="66" y="112"/>
                  </a:lnTo>
                  <a:lnTo>
                    <a:pt x="65" y="117"/>
                  </a:lnTo>
                  <a:lnTo>
                    <a:pt x="62" y="121"/>
                  </a:lnTo>
                  <a:lnTo>
                    <a:pt x="61" y="122"/>
                  </a:lnTo>
                  <a:lnTo>
                    <a:pt x="61" y="123"/>
                  </a:lnTo>
                  <a:lnTo>
                    <a:pt x="64" y="125"/>
                  </a:lnTo>
                  <a:lnTo>
                    <a:pt x="68" y="128"/>
                  </a:lnTo>
                  <a:lnTo>
                    <a:pt x="69" y="129"/>
                  </a:lnTo>
                  <a:lnTo>
                    <a:pt x="69" y="130"/>
                  </a:lnTo>
                  <a:lnTo>
                    <a:pt x="69" y="131"/>
                  </a:lnTo>
                  <a:lnTo>
                    <a:pt x="68" y="132"/>
                  </a:lnTo>
                  <a:lnTo>
                    <a:pt x="65" y="131"/>
                  </a:lnTo>
                  <a:lnTo>
                    <a:pt x="61" y="131"/>
                  </a:lnTo>
                  <a:lnTo>
                    <a:pt x="59" y="132"/>
                  </a:lnTo>
                  <a:lnTo>
                    <a:pt x="56" y="136"/>
                  </a:lnTo>
                  <a:lnTo>
                    <a:pt x="56" y="137"/>
                  </a:lnTo>
                  <a:lnTo>
                    <a:pt x="57" y="140"/>
                  </a:lnTo>
                  <a:lnTo>
                    <a:pt x="60" y="141"/>
                  </a:lnTo>
                  <a:lnTo>
                    <a:pt x="62" y="143"/>
                  </a:lnTo>
                  <a:lnTo>
                    <a:pt x="62" y="146"/>
                  </a:lnTo>
                  <a:lnTo>
                    <a:pt x="61" y="148"/>
                  </a:lnTo>
                  <a:lnTo>
                    <a:pt x="60" y="149"/>
                  </a:lnTo>
                  <a:lnTo>
                    <a:pt x="59" y="148"/>
                  </a:lnTo>
                  <a:lnTo>
                    <a:pt x="55" y="142"/>
                  </a:lnTo>
                  <a:lnTo>
                    <a:pt x="52" y="138"/>
                  </a:lnTo>
                  <a:lnTo>
                    <a:pt x="49" y="137"/>
                  </a:lnTo>
                  <a:lnTo>
                    <a:pt x="47" y="136"/>
                  </a:lnTo>
                  <a:lnTo>
                    <a:pt x="47" y="135"/>
                  </a:lnTo>
                  <a:lnTo>
                    <a:pt x="47" y="129"/>
                  </a:lnTo>
                  <a:lnTo>
                    <a:pt x="46" y="125"/>
                  </a:lnTo>
                  <a:lnTo>
                    <a:pt x="41" y="117"/>
                  </a:lnTo>
                  <a:lnTo>
                    <a:pt x="40" y="115"/>
                  </a:lnTo>
                  <a:lnTo>
                    <a:pt x="41" y="112"/>
                  </a:lnTo>
                  <a:lnTo>
                    <a:pt x="42" y="108"/>
                  </a:lnTo>
                  <a:lnTo>
                    <a:pt x="42" y="105"/>
                  </a:lnTo>
                  <a:lnTo>
                    <a:pt x="42" y="103"/>
                  </a:lnTo>
                  <a:lnTo>
                    <a:pt x="40" y="100"/>
                  </a:lnTo>
                  <a:lnTo>
                    <a:pt x="37" y="99"/>
                  </a:lnTo>
                  <a:lnTo>
                    <a:pt x="33" y="99"/>
                  </a:lnTo>
                  <a:lnTo>
                    <a:pt x="31" y="100"/>
                  </a:lnTo>
                  <a:lnTo>
                    <a:pt x="28" y="103"/>
                  </a:lnTo>
                  <a:lnTo>
                    <a:pt x="27" y="105"/>
                  </a:lnTo>
                  <a:lnTo>
                    <a:pt x="27" y="109"/>
                  </a:lnTo>
                  <a:lnTo>
                    <a:pt x="28" y="112"/>
                  </a:lnTo>
                  <a:lnTo>
                    <a:pt x="31" y="116"/>
                  </a:lnTo>
                  <a:lnTo>
                    <a:pt x="31" y="119"/>
                  </a:lnTo>
                  <a:lnTo>
                    <a:pt x="29" y="127"/>
                  </a:lnTo>
                  <a:lnTo>
                    <a:pt x="28" y="136"/>
                  </a:lnTo>
                  <a:lnTo>
                    <a:pt x="28" y="138"/>
                  </a:lnTo>
                  <a:lnTo>
                    <a:pt x="28" y="141"/>
                  </a:lnTo>
                  <a:lnTo>
                    <a:pt x="31" y="146"/>
                  </a:lnTo>
                  <a:lnTo>
                    <a:pt x="33" y="148"/>
                  </a:lnTo>
                  <a:lnTo>
                    <a:pt x="36" y="14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5" name="Freeform 854"/>
            <p:cNvSpPr>
              <a:spLocks/>
            </p:cNvSpPr>
            <p:nvPr/>
          </p:nvSpPr>
          <p:spPr bwMode="auto">
            <a:xfrm>
              <a:off x="7432676" y="4551366"/>
              <a:ext cx="20638" cy="36512"/>
            </a:xfrm>
            <a:custGeom>
              <a:avLst/>
              <a:gdLst>
                <a:gd name="T0" fmla="*/ 2147483647 w 14"/>
                <a:gd name="T1" fmla="*/ 2147483647 h 23"/>
                <a:gd name="T2" fmla="*/ 2147483647 w 14"/>
                <a:gd name="T3" fmla="*/ 2147483647 h 23"/>
                <a:gd name="T4" fmla="*/ 2147483647 w 14"/>
                <a:gd name="T5" fmla="*/ 2147483647 h 23"/>
                <a:gd name="T6" fmla="*/ 2147483647 w 14"/>
                <a:gd name="T7" fmla="*/ 2147483647 h 23"/>
                <a:gd name="T8" fmla="*/ 0 w 14"/>
                <a:gd name="T9" fmla="*/ 2147483647 h 23"/>
                <a:gd name="T10" fmla="*/ 0 w 14"/>
                <a:gd name="T11" fmla="*/ 2147483647 h 23"/>
                <a:gd name="T12" fmla="*/ 2147483647 w 14"/>
                <a:gd name="T13" fmla="*/ 2147483647 h 23"/>
                <a:gd name="T14" fmla="*/ 2147483647 w 14"/>
                <a:gd name="T15" fmla="*/ 2147483647 h 23"/>
                <a:gd name="T16" fmla="*/ 2147483647 w 14"/>
                <a:gd name="T17" fmla="*/ 2147483647 h 23"/>
                <a:gd name="T18" fmla="*/ 2147483647 w 14"/>
                <a:gd name="T19" fmla="*/ 0 h 23"/>
                <a:gd name="T20" fmla="*/ 2147483647 w 14"/>
                <a:gd name="T21" fmla="*/ 0 h 23"/>
                <a:gd name="T22" fmla="*/ 2147483647 w 14"/>
                <a:gd name="T23" fmla="*/ 2147483647 h 23"/>
                <a:gd name="T24" fmla="*/ 2147483647 w 14"/>
                <a:gd name="T25" fmla="*/ 2147483647 h 23"/>
                <a:gd name="T26" fmla="*/ 2147483647 w 14"/>
                <a:gd name="T27" fmla="*/ 2147483647 h 23"/>
                <a:gd name="T28" fmla="*/ 2147483647 w 14"/>
                <a:gd name="T29" fmla="*/ 2147483647 h 23"/>
                <a:gd name="T30" fmla="*/ 2147483647 w 14"/>
                <a:gd name="T31" fmla="*/ 2147483647 h 23"/>
                <a:gd name="T32" fmla="*/ 2147483647 w 14"/>
                <a:gd name="T33" fmla="*/ 2147483647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3"/>
                <a:gd name="T53" fmla="*/ 14 w 14"/>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3">
                  <a:moveTo>
                    <a:pt x="12" y="15"/>
                  </a:moveTo>
                  <a:lnTo>
                    <a:pt x="7" y="20"/>
                  </a:lnTo>
                  <a:lnTo>
                    <a:pt x="2" y="23"/>
                  </a:lnTo>
                  <a:lnTo>
                    <a:pt x="1" y="23"/>
                  </a:lnTo>
                  <a:lnTo>
                    <a:pt x="0" y="23"/>
                  </a:lnTo>
                  <a:lnTo>
                    <a:pt x="0" y="21"/>
                  </a:lnTo>
                  <a:lnTo>
                    <a:pt x="2" y="15"/>
                  </a:lnTo>
                  <a:lnTo>
                    <a:pt x="6" y="7"/>
                  </a:lnTo>
                  <a:lnTo>
                    <a:pt x="9" y="2"/>
                  </a:lnTo>
                  <a:lnTo>
                    <a:pt x="11" y="0"/>
                  </a:lnTo>
                  <a:lnTo>
                    <a:pt x="14" y="0"/>
                  </a:lnTo>
                  <a:lnTo>
                    <a:pt x="14" y="2"/>
                  </a:lnTo>
                  <a:lnTo>
                    <a:pt x="12" y="7"/>
                  </a:lnTo>
                  <a:lnTo>
                    <a:pt x="12" y="9"/>
                  </a:lnTo>
                  <a:lnTo>
                    <a:pt x="14" y="13"/>
                  </a:lnTo>
                  <a:lnTo>
                    <a:pt x="14" y="14"/>
                  </a:lnTo>
                  <a:lnTo>
                    <a:pt x="12"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6" name="Freeform 855"/>
            <p:cNvSpPr>
              <a:spLocks/>
            </p:cNvSpPr>
            <p:nvPr/>
          </p:nvSpPr>
          <p:spPr bwMode="auto">
            <a:xfrm>
              <a:off x="7337425" y="4337051"/>
              <a:ext cx="165100" cy="247650"/>
            </a:xfrm>
            <a:custGeom>
              <a:avLst/>
              <a:gdLst>
                <a:gd name="T0" fmla="*/ 2147483647 w 113"/>
                <a:gd name="T1" fmla="*/ 2147483647 h 156"/>
                <a:gd name="T2" fmla="*/ 2147483647 w 113"/>
                <a:gd name="T3" fmla="*/ 2147483647 h 156"/>
                <a:gd name="T4" fmla="*/ 2147483647 w 113"/>
                <a:gd name="T5" fmla="*/ 2147483647 h 156"/>
                <a:gd name="T6" fmla="*/ 2147483647 w 113"/>
                <a:gd name="T7" fmla="*/ 2147483647 h 156"/>
                <a:gd name="T8" fmla="*/ 0 w 113"/>
                <a:gd name="T9" fmla="*/ 2147483647 h 156"/>
                <a:gd name="T10" fmla="*/ 2147483647 w 113"/>
                <a:gd name="T11" fmla="*/ 2147483647 h 156"/>
                <a:gd name="T12" fmla="*/ 2147483647 w 113"/>
                <a:gd name="T13" fmla="*/ 2147483647 h 156"/>
                <a:gd name="T14" fmla="*/ 2147483647 w 113"/>
                <a:gd name="T15" fmla="*/ 2147483647 h 156"/>
                <a:gd name="T16" fmla="*/ 2147483647 w 113"/>
                <a:gd name="T17" fmla="*/ 2147483647 h 156"/>
                <a:gd name="T18" fmla="*/ 2147483647 w 113"/>
                <a:gd name="T19" fmla="*/ 2147483647 h 156"/>
                <a:gd name="T20" fmla="*/ 2147483647 w 113"/>
                <a:gd name="T21" fmla="*/ 2147483647 h 156"/>
                <a:gd name="T22" fmla="*/ 2147483647 w 113"/>
                <a:gd name="T23" fmla="*/ 2147483647 h 156"/>
                <a:gd name="T24" fmla="*/ 2147483647 w 113"/>
                <a:gd name="T25" fmla="*/ 2147483647 h 156"/>
                <a:gd name="T26" fmla="*/ 2147483647 w 113"/>
                <a:gd name="T27" fmla="*/ 2147483647 h 156"/>
                <a:gd name="T28" fmla="*/ 2147483647 w 113"/>
                <a:gd name="T29" fmla="*/ 2147483647 h 156"/>
                <a:gd name="T30" fmla="*/ 2147483647 w 113"/>
                <a:gd name="T31" fmla="*/ 2147483647 h 156"/>
                <a:gd name="T32" fmla="*/ 2147483647 w 113"/>
                <a:gd name="T33" fmla="*/ 2147483647 h 156"/>
                <a:gd name="T34" fmla="*/ 2147483647 w 113"/>
                <a:gd name="T35" fmla="*/ 2147483647 h 156"/>
                <a:gd name="T36" fmla="*/ 2147483647 w 113"/>
                <a:gd name="T37" fmla="*/ 2147483647 h 156"/>
                <a:gd name="T38" fmla="*/ 2147483647 w 113"/>
                <a:gd name="T39" fmla="*/ 0 h 156"/>
                <a:gd name="T40" fmla="*/ 2147483647 w 113"/>
                <a:gd name="T41" fmla="*/ 2147483647 h 156"/>
                <a:gd name="T42" fmla="*/ 2147483647 w 113"/>
                <a:gd name="T43" fmla="*/ 2147483647 h 156"/>
                <a:gd name="T44" fmla="*/ 2147483647 w 113"/>
                <a:gd name="T45" fmla="*/ 2147483647 h 156"/>
                <a:gd name="T46" fmla="*/ 2147483647 w 113"/>
                <a:gd name="T47" fmla="*/ 2147483647 h 156"/>
                <a:gd name="T48" fmla="*/ 2147483647 w 113"/>
                <a:gd name="T49" fmla="*/ 2147483647 h 156"/>
                <a:gd name="T50" fmla="*/ 2147483647 w 113"/>
                <a:gd name="T51" fmla="*/ 2147483647 h 156"/>
                <a:gd name="T52" fmla="*/ 2147483647 w 113"/>
                <a:gd name="T53" fmla="*/ 2147483647 h 156"/>
                <a:gd name="T54" fmla="*/ 2147483647 w 113"/>
                <a:gd name="T55" fmla="*/ 2147483647 h 156"/>
                <a:gd name="T56" fmla="*/ 2147483647 w 113"/>
                <a:gd name="T57" fmla="*/ 2147483647 h 156"/>
                <a:gd name="T58" fmla="*/ 2147483647 w 113"/>
                <a:gd name="T59" fmla="*/ 2147483647 h 156"/>
                <a:gd name="T60" fmla="*/ 2147483647 w 113"/>
                <a:gd name="T61" fmla="*/ 2147483647 h 156"/>
                <a:gd name="T62" fmla="*/ 2147483647 w 113"/>
                <a:gd name="T63" fmla="*/ 2147483647 h 156"/>
                <a:gd name="T64" fmla="*/ 2147483647 w 113"/>
                <a:gd name="T65" fmla="*/ 2147483647 h 156"/>
                <a:gd name="T66" fmla="*/ 2147483647 w 113"/>
                <a:gd name="T67" fmla="*/ 2147483647 h 156"/>
                <a:gd name="T68" fmla="*/ 2147483647 w 113"/>
                <a:gd name="T69" fmla="*/ 2147483647 h 156"/>
                <a:gd name="T70" fmla="*/ 2147483647 w 113"/>
                <a:gd name="T71" fmla="*/ 2147483647 h 156"/>
                <a:gd name="T72" fmla="*/ 2147483647 w 113"/>
                <a:gd name="T73" fmla="*/ 2147483647 h 156"/>
                <a:gd name="T74" fmla="*/ 2147483647 w 113"/>
                <a:gd name="T75" fmla="*/ 2147483647 h 156"/>
                <a:gd name="T76" fmla="*/ 2147483647 w 113"/>
                <a:gd name="T77" fmla="*/ 2147483647 h 156"/>
                <a:gd name="T78" fmla="*/ 2147483647 w 113"/>
                <a:gd name="T79" fmla="*/ 2147483647 h 156"/>
                <a:gd name="T80" fmla="*/ 2147483647 w 113"/>
                <a:gd name="T81" fmla="*/ 2147483647 h 156"/>
                <a:gd name="T82" fmla="*/ 2147483647 w 113"/>
                <a:gd name="T83" fmla="*/ 2147483647 h 156"/>
                <a:gd name="T84" fmla="*/ 2147483647 w 113"/>
                <a:gd name="T85" fmla="*/ 2147483647 h 156"/>
                <a:gd name="T86" fmla="*/ 2147483647 w 113"/>
                <a:gd name="T87" fmla="*/ 2147483647 h 156"/>
                <a:gd name="T88" fmla="*/ 2147483647 w 113"/>
                <a:gd name="T89" fmla="*/ 2147483647 h 156"/>
                <a:gd name="T90" fmla="*/ 2147483647 w 113"/>
                <a:gd name="T91" fmla="*/ 2147483647 h 156"/>
                <a:gd name="T92" fmla="*/ 2147483647 w 113"/>
                <a:gd name="T93" fmla="*/ 2147483647 h 156"/>
                <a:gd name="T94" fmla="*/ 2147483647 w 113"/>
                <a:gd name="T95" fmla="*/ 2147483647 h 156"/>
                <a:gd name="T96" fmla="*/ 2147483647 w 113"/>
                <a:gd name="T97" fmla="*/ 2147483647 h 156"/>
                <a:gd name="T98" fmla="*/ 2147483647 w 113"/>
                <a:gd name="T99" fmla="*/ 2147483647 h 156"/>
                <a:gd name="T100" fmla="*/ 2147483647 w 113"/>
                <a:gd name="T101" fmla="*/ 2147483647 h 156"/>
                <a:gd name="T102" fmla="*/ 2147483647 w 113"/>
                <a:gd name="T103" fmla="*/ 2147483647 h 156"/>
                <a:gd name="T104" fmla="*/ 2147483647 w 113"/>
                <a:gd name="T105" fmla="*/ 2147483647 h 156"/>
                <a:gd name="T106" fmla="*/ 2147483647 w 113"/>
                <a:gd name="T107" fmla="*/ 2147483647 h 1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
                <a:gd name="T163" fmla="*/ 0 h 156"/>
                <a:gd name="T164" fmla="*/ 113 w 113"/>
                <a:gd name="T165" fmla="*/ 156 h 1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 h="156">
                  <a:moveTo>
                    <a:pt x="36" y="149"/>
                  </a:moveTo>
                  <a:lnTo>
                    <a:pt x="36" y="149"/>
                  </a:lnTo>
                  <a:lnTo>
                    <a:pt x="36" y="151"/>
                  </a:lnTo>
                  <a:lnTo>
                    <a:pt x="34" y="154"/>
                  </a:lnTo>
                  <a:lnTo>
                    <a:pt x="32" y="155"/>
                  </a:lnTo>
                  <a:lnTo>
                    <a:pt x="29" y="156"/>
                  </a:lnTo>
                  <a:lnTo>
                    <a:pt x="25" y="156"/>
                  </a:lnTo>
                  <a:lnTo>
                    <a:pt x="20" y="155"/>
                  </a:lnTo>
                  <a:lnTo>
                    <a:pt x="18" y="152"/>
                  </a:lnTo>
                  <a:lnTo>
                    <a:pt x="14" y="149"/>
                  </a:lnTo>
                  <a:lnTo>
                    <a:pt x="14" y="142"/>
                  </a:lnTo>
                  <a:lnTo>
                    <a:pt x="14" y="135"/>
                  </a:lnTo>
                  <a:lnTo>
                    <a:pt x="14" y="128"/>
                  </a:lnTo>
                  <a:lnTo>
                    <a:pt x="11" y="120"/>
                  </a:lnTo>
                  <a:lnTo>
                    <a:pt x="8" y="116"/>
                  </a:lnTo>
                  <a:lnTo>
                    <a:pt x="4" y="111"/>
                  </a:lnTo>
                  <a:lnTo>
                    <a:pt x="0" y="105"/>
                  </a:lnTo>
                  <a:lnTo>
                    <a:pt x="0" y="103"/>
                  </a:lnTo>
                  <a:lnTo>
                    <a:pt x="0" y="99"/>
                  </a:lnTo>
                  <a:lnTo>
                    <a:pt x="3" y="90"/>
                  </a:lnTo>
                  <a:lnTo>
                    <a:pt x="5" y="81"/>
                  </a:lnTo>
                  <a:lnTo>
                    <a:pt x="8" y="72"/>
                  </a:lnTo>
                  <a:lnTo>
                    <a:pt x="10" y="67"/>
                  </a:lnTo>
                  <a:lnTo>
                    <a:pt x="13" y="62"/>
                  </a:lnTo>
                  <a:lnTo>
                    <a:pt x="14" y="60"/>
                  </a:lnTo>
                  <a:lnTo>
                    <a:pt x="15" y="56"/>
                  </a:lnTo>
                  <a:lnTo>
                    <a:pt x="15" y="51"/>
                  </a:lnTo>
                  <a:lnTo>
                    <a:pt x="14" y="43"/>
                  </a:lnTo>
                  <a:lnTo>
                    <a:pt x="14" y="40"/>
                  </a:lnTo>
                  <a:lnTo>
                    <a:pt x="15" y="37"/>
                  </a:lnTo>
                  <a:lnTo>
                    <a:pt x="19" y="32"/>
                  </a:lnTo>
                  <a:lnTo>
                    <a:pt x="22" y="28"/>
                  </a:lnTo>
                  <a:lnTo>
                    <a:pt x="23" y="24"/>
                  </a:lnTo>
                  <a:lnTo>
                    <a:pt x="23" y="23"/>
                  </a:lnTo>
                  <a:lnTo>
                    <a:pt x="24" y="23"/>
                  </a:lnTo>
                  <a:lnTo>
                    <a:pt x="28" y="22"/>
                  </a:lnTo>
                  <a:lnTo>
                    <a:pt x="32" y="22"/>
                  </a:lnTo>
                  <a:lnTo>
                    <a:pt x="34" y="21"/>
                  </a:lnTo>
                  <a:lnTo>
                    <a:pt x="36" y="20"/>
                  </a:lnTo>
                  <a:lnTo>
                    <a:pt x="36" y="18"/>
                  </a:lnTo>
                  <a:lnTo>
                    <a:pt x="34" y="16"/>
                  </a:lnTo>
                  <a:lnTo>
                    <a:pt x="33" y="15"/>
                  </a:lnTo>
                  <a:lnTo>
                    <a:pt x="33" y="14"/>
                  </a:lnTo>
                  <a:lnTo>
                    <a:pt x="34" y="14"/>
                  </a:lnTo>
                  <a:lnTo>
                    <a:pt x="42" y="15"/>
                  </a:lnTo>
                  <a:lnTo>
                    <a:pt x="50" y="17"/>
                  </a:lnTo>
                  <a:lnTo>
                    <a:pt x="53" y="20"/>
                  </a:lnTo>
                  <a:lnTo>
                    <a:pt x="56" y="22"/>
                  </a:lnTo>
                  <a:lnTo>
                    <a:pt x="57" y="23"/>
                  </a:lnTo>
                  <a:lnTo>
                    <a:pt x="58" y="23"/>
                  </a:lnTo>
                  <a:lnTo>
                    <a:pt x="62" y="22"/>
                  </a:lnTo>
                  <a:lnTo>
                    <a:pt x="66" y="22"/>
                  </a:lnTo>
                  <a:lnTo>
                    <a:pt x="70" y="22"/>
                  </a:lnTo>
                  <a:lnTo>
                    <a:pt x="74" y="23"/>
                  </a:lnTo>
                  <a:lnTo>
                    <a:pt x="77" y="23"/>
                  </a:lnTo>
                  <a:lnTo>
                    <a:pt x="90" y="22"/>
                  </a:lnTo>
                  <a:lnTo>
                    <a:pt x="100" y="18"/>
                  </a:lnTo>
                  <a:lnTo>
                    <a:pt x="103" y="17"/>
                  </a:lnTo>
                  <a:lnTo>
                    <a:pt x="104" y="16"/>
                  </a:lnTo>
                  <a:lnTo>
                    <a:pt x="105" y="11"/>
                  </a:lnTo>
                  <a:lnTo>
                    <a:pt x="107" y="2"/>
                  </a:lnTo>
                  <a:lnTo>
                    <a:pt x="107" y="1"/>
                  </a:lnTo>
                  <a:lnTo>
                    <a:pt x="108" y="0"/>
                  </a:lnTo>
                  <a:lnTo>
                    <a:pt x="113" y="0"/>
                  </a:lnTo>
                  <a:lnTo>
                    <a:pt x="113" y="5"/>
                  </a:lnTo>
                  <a:lnTo>
                    <a:pt x="113" y="13"/>
                  </a:lnTo>
                  <a:lnTo>
                    <a:pt x="113" y="15"/>
                  </a:lnTo>
                  <a:lnTo>
                    <a:pt x="113" y="17"/>
                  </a:lnTo>
                  <a:lnTo>
                    <a:pt x="110" y="20"/>
                  </a:lnTo>
                  <a:lnTo>
                    <a:pt x="108" y="21"/>
                  </a:lnTo>
                  <a:lnTo>
                    <a:pt x="105" y="23"/>
                  </a:lnTo>
                  <a:lnTo>
                    <a:pt x="103" y="26"/>
                  </a:lnTo>
                  <a:lnTo>
                    <a:pt x="103" y="30"/>
                  </a:lnTo>
                  <a:lnTo>
                    <a:pt x="102" y="33"/>
                  </a:lnTo>
                  <a:lnTo>
                    <a:pt x="99" y="33"/>
                  </a:lnTo>
                  <a:lnTo>
                    <a:pt x="90" y="33"/>
                  </a:lnTo>
                  <a:lnTo>
                    <a:pt x="81" y="32"/>
                  </a:lnTo>
                  <a:lnTo>
                    <a:pt x="72" y="30"/>
                  </a:lnTo>
                  <a:lnTo>
                    <a:pt x="63" y="32"/>
                  </a:lnTo>
                  <a:lnTo>
                    <a:pt x="53" y="33"/>
                  </a:lnTo>
                  <a:lnTo>
                    <a:pt x="44" y="33"/>
                  </a:lnTo>
                  <a:lnTo>
                    <a:pt x="37" y="32"/>
                  </a:lnTo>
                  <a:lnTo>
                    <a:pt x="28" y="33"/>
                  </a:lnTo>
                  <a:lnTo>
                    <a:pt x="25" y="35"/>
                  </a:lnTo>
                  <a:lnTo>
                    <a:pt x="23" y="37"/>
                  </a:lnTo>
                  <a:lnTo>
                    <a:pt x="22" y="40"/>
                  </a:lnTo>
                  <a:lnTo>
                    <a:pt x="22" y="43"/>
                  </a:lnTo>
                  <a:lnTo>
                    <a:pt x="24" y="51"/>
                  </a:lnTo>
                  <a:lnTo>
                    <a:pt x="27" y="55"/>
                  </a:lnTo>
                  <a:lnTo>
                    <a:pt x="32" y="60"/>
                  </a:lnTo>
                  <a:lnTo>
                    <a:pt x="33" y="64"/>
                  </a:lnTo>
                  <a:lnTo>
                    <a:pt x="34" y="66"/>
                  </a:lnTo>
                  <a:lnTo>
                    <a:pt x="36" y="67"/>
                  </a:lnTo>
                  <a:lnTo>
                    <a:pt x="37" y="68"/>
                  </a:lnTo>
                  <a:lnTo>
                    <a:pt x="41" y="68"/>
                  </a:lnTo>
                  <a:lnTo>
                    <a:pt x="44" y="66"/>
                  </a:lnTo>
                  <a:lnTo>
                    <a:pt x="51" y="60"/>
                  </a:lnTo>
                  <a:lnTo>
                    <a:pt x="58" y="59"/>
                  </a:lnTo>
                  <a:lnTo>
                    <a:pt x="66" y="59"/>
                  </a:lnTo>
                  <a:lnTo>
                    <a:pt x="70" y="59"/>
                  </a:lnTo>
                  <a:lnTo>
                    <a:pt x="71" y="60"/>
                  </a:lnTo>
                  <a:lnTo>
                    <a:pt x="71" y="62"/>
                  </a:lnTo>
                  <a:lnTo>
                    <a:pt x="66" y="68"/>
                  </a:lnTo>
                  <a:lnTo>
                    <a:pt x="61" y="74"/>
                  </a:lnTo>
                  <a:lnTo>
                    <a:pt x="56" y="78"/>
                  </a:lnTo>
                  <a:lnTo>
                    <a:pt x="47" y="81"/>
                  </a:lnTo>
                  <a:lnTo>
                    <a:pt x="46" y="81"/>
                  </a:lnTo>
                  <a:lnTo>
                    <a:pt x="44" y="83"/>
                  </a:lnTo>
                  <a:lnTo>
                    <a:pt x="43" y="85"/>
                  </a:lnTo>
                  <a:lnTo>
                    <a:pt x="44" y="86"/>
                  </a:lnTo>
                  <a:lnTo>
                    <a:pt x="46" y="88"/>
                  </a:lnTo>
                  <a:lnTo>
                    <a:pt x="48" y="88"/>
                  </a:lnTo>
                  <a:lnTo>
                    <a:pt x="51" y="90"/>
                  </a:lnTo>
                  <a:lnTo>
                    <a:pt x="53" y="91"/>
                  </a:lnTo>
                  <a:lnTo>
                    <a:pt x="58" y="97"/>
                  </a:lnTo>
                  <a:lnTo>
                    <a:pt x="65" y="105"/>
                  </a:lnTo>
                  <a:lnTo>
                    <a:pt x="66" y="109"/>
                  </a:lnTo>
                  <a:lnTo>
                    <a:pt x="66" y="112"/>
                  </a:lnTo>
                  <a:lnTo>
                    <a:pt x="65" y="117"/>
                  </a:lnTo>
                  <a:lnTo>
                    <a:pt x="62" y="120"/>
                  </a:lnTo>
                  <a:lnTo>
                    <a:pt x="61" y="122"/>
                  </a:lnTo>
                  <a:lnTo>
                    <a:pt x="61" y="123"/>
                  </a:lnTo>
                  <a:lnTo>
                    <a:pt x="63" y="125"/>
                  </a:lnTo>
                  <a:lnTo>
                    <a:pt x="67" y="128"/>
                  </a:lnTo>
                  <a:lnTo>
                    <a:pt x="69" y="129"/>
                  </a:lnTo>
                  <a:lnTo>
                    <a:pt x="69" y="130"/>
                  </a:lnTo>
                  <a:lnTo>
                    <a:pt x="69" y="131"/>
                  </a:lnTo>
                  <a:lnTo>
                    <a:pt x="67" y="132"/>
                  </a:lnTo>
                  <a:lnTo>
                    <a:pt x="65" y="131"/>
                  </a:lnTo>
                  <a:lnTo>
                    <a:pt x="61" y="131"/>
                  </a:lnTo>
                  <a:lnTo>
                    <a:pt x="58" y="132"/>
                  </a:lnTo>
                  <a:lnTo>
                    <a:pt x="56" y="136"/>
                  </a:lnTo>
                  <a:lnTo>
                    <a:pt x="56" y="137"/>
                  </a:lnTo>
                  <a:lnTo>
                    <a:pt x="57" y="139"/>
                  </a:lnTo>
                  <a:lnTo>
                    <a:pt x="60" y="141"/>
                  </a:lnTo>
                  <a:lnTo>
                    <a:pt x="62" y="143"/>
                  </a:lnTo>
                  <a:lnTo>
                    <a:pt x="62" y="145"/>
                  </a:lnTo>
                  <a:lnTo>
                    <a:pt x="61" y="148"/>
                  </a:lnTo>
                  <a:lnTo>
                    <a:pt x="60" y="149"/>
                  </a:lnTo>
                  <a:lnTo>
                    <a:pt x="58" y="148"/>
                  </a:lnTo>
                  <a:lnTo>
                    <a:pt x="55" y="142"/>
                  </a:lnTo>
                  <a:lnTo>
                    <a:pt x="52" y="138"/>
                  </a:lnTo>
                  <a:lnTo>
                    <a:pt x="48" y="137"/>
                  </a:lnTo>
                  <a:lnTo>
                    <a:pt x="47" y="136"/>
                  </a:lnTo>
                  <a:lnTo>
                    <a:pt x="47" y="135"/>
                  </a:lnTo>
                  <a:lnTo>
                    <a:pt x="47" y="129"/>
                  </a:lnTo>
                  <a:lnTo>
                    <a:pt x="46" y="125"/>
                  </a:lnTo>
                  <a:lnTo>
                    <a:pt x="41" y="117"/>
                  </a:lnTo>
                  <a:lnTo>
                    <a:pt x="39" y="115"/>
                  </a:lnTo>
                  <a:lnTo>
                    <a:pt x="41" y="112"/>
                  </a:lnTo>
                  <a:lnTo>
                    <a:pt x="42" y="107"/>
                  </a:lnTo>
                  <a:lnTo>
                    <a:pt x="42" y="105"/>
                  </a:lnTo>
                  <a:lnTo>
                    <a:pt x="42" y="103"/>
                  </a:lnTo>
                  <a:lnTo>
                    <a:pt x="39" y="100"/>
                  </a:lnTo>
                  <a:lnTo>
                    <a:pt x="37" y="99"/>
                  </a:lnTo>
                  <a:lnTo>
                    <a:pt x="33" y="99"/>
                  </a:lnTo>
                  <a:lnTo>
                    <a:pt x="30" y="100"/>
                  </a:lnTo>
                  <a:lnTo>
                    <a:pt x="28" y="103"/>
                  </a:lnTo>
                  <a:lnTo>
                    <a:pt x="27" y="105"/>
                  </a:lnTo>
                  <a:lnTo>
                    <a:pt x="27" y="109"/>
                  </a:lnTo>
                  <a:lnTo>
                    <a:pt x="28" y="112"/>
                  </a:lnTo>
                  <a:lnTo>
                    <a:pt x="30" y="116"/>
                  </a:lnTo>
                  <a:lnTo>
                    <a:pt x="30" y="119"/>
                  </a:lnTo>
                  <a:lnTo>
                    <a:pt x="29" y="126"/>
                  </a:lnTo>
                  <a:lnTo>
                    <a:pt x="28" y="136"/>
                  </a:lnTo>
                  <a:lnTo>
                    <a:pt x="28" y="138"/>
                  </a:lnTo>
                  <a:lnTo>
                    <a:pt x="28" y="141"/>
                  </a:lnTo>
                  <a:lnTo>
                    <a:pt x="30" y="145"/>
                  </a:lnTo>
                  <a:lnTo>
                    <a:pt x="33" y="148"/>
                  </a:lnTo>
                  <a:lnTo>
                    <a:pt x="36" y="14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7" name="Freeform 856"/>
            <p:cNvSpPr>
              <a:spLocks/>
            </p:cNvSpPr>
            <p:nvPr/>
          </p:nvSpPr>
          <p:spPr bwMode="auto">
            <a:xfrm>
              <a:off x="7429500" y="4548191"/>
              <a:ext cx="20638" cy="38100"/>
            </a:xfrm>
            <a:custGeom>
              <a:avLst/>
              <a:gdLst>
                <a:gd name="T0" fmla="*/ 2147483647 w 14"/>
                <a:gd name="T1" fmla="*/ 2147483647 h 24"/>
                <a:gd name="T2" fmla="*/ 2147483647 w 14"/>
                <a:gd name="T3" fmla="*/ 2147483647 h 24"/>
                <a:gd name="T4" fmla="*/ 2147483647 w 14"/>
                <a:gd name="T5" fmla="*/ 2147483647 h 24"/>
                <a:gd name="T6" fmla="*/ 2147483647 w 14"/>
                <a:gd name="T7" fmla="*/ 2147483647 h 24"/>
                <a:gd name="T8" fmla="*/ 2147483647 w 14"/>
                <a:gd name="T9" fmla="*/ 2147483647 h 24"/>
                <a:gd name="T10" fmla="*/ 2147483647 w 14"/>
                <a:gd name="T11" fmla="*/ 2147483647 h 24"/>
                <a:gd name="T12" fmla="*/ 0 w 14"/>
                <a:gd name="T13" fmla="*/ 2147483647 h 24"/>
                <a:gd name="T14" fmla="*/ 0 w 14"/>
                <a:gd name="T15" fmla="*/ 2147483647 h 24"/>
                <a:gd name="T16" fmla="*/ 2147483647 w 14"/>
                <a:gd name="T17" fmla="*/ 2147483647 h 24"/>
                <a:gd name="T18" fmla="*/ 2147483647 w 14"/>
                <a:gd name="T19" fmla="*/ 2147483647 h 24"/>
                <a:gd name="T20" fmla="*/ 2147483647 w 14"/>
                <a:gd name="T21" fmla="*/ 2147483647 h 24"/>
                <a:gd name="T22" fmla="*/ 2147483647 w 14"/>
                <a:gd name="T23" fmla="*/ 2147483647 h 24"/>
                <a:gd name="T24" fmla="*/ 2147483647 w 14"/>
                <a:gd name="T25" fmla="*/ 0 h 24"/>
                <a:gd name="T26" fmla="*/ 2147483647 w 14"/>
                <a:gd name="T27" fmla="*/ 0 h 24"/>
                <a:gd name="T28" fmla="*/ 2147483647 w 14"/>
                <a:gd name="T29" fmla="*/ 0 h 24"/>
                <a:gd name="T30" fmla="*/ 2147483647 w 14"/>
                <a:gd name="T31" fmla="*/ 0 h 24"/>
                <a:gd name="T32" fmla="*/ 2147483647 w 14"/>
                <a:gd name="T33" fmla="*/ 2147483647 h 24"/>
                <a:gd name="T34" fmla="*/ 2147483647 w 14"/>
                <a:gd name="T35" fmla="*/ 2147483647 h 24"/>
                <a:gd name="T36" fmla="*/ 2147483647 w 14"/>
                <a:gd name="T37" fmla="*/ 2147483647 h 24"/>
                <a:gd name="T38" fmla="*/ 2147483647 w 14"/>
                <a:gd name="T39" fmla="*/ 2147483647 h 24"/>
                <a:gd name="T40" fmla="*/ 2147483647 w 14"/>
                <a:gd name="T41" fmla="*/ 2147483647 h 24"/>
                <a:gd name="T42" fmla="*/ 2147483647 w 14"/>
                <a:gd name="T43" fmla="*/ 2147483647 h 24"/>
                <a:gd name="T44" fmla="*/ 2147483647 w 14"/>
                <a:gd name="T45" fmla="*/ 2147483647 h 24"/>
                <a:gd name="T46" fmla="*/ 2147483647 w 14"/>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24"/>
                <a:gd name="T74" fmla="*/ 14 w 14"/>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24">
                  <a:moveTo>
                    <a:pt x="13" y="16"/>
                  </a:moveTo>
                  <a:lnTo>
                    <a:pt x="13" y="16"/>
                  </a:lnTo>
                  <a:lnTo>
                    <a:pt x="8" y="21"/>
                  </a:lnTo>
                  <a:lnTo>
                    <a:pt x="3" y="24"/>
                  </a:lnTo>
                  <a:lnTo>
                    <a:pt x="2" y="24"/>
                  </a:lnTo>
                  <a:lnTo>
                    <a:pt x="0" y="24"/>
                  </a:lnTo>
                  <a:lnTo>
                    <a:pt x="0" y="22"/>
                  </a:lnTo>
                  <a:lnTo>
                    <a:pt x="3" y="16"/>
                  </a:lnTo>
                  <a:lnTo>
                    <a:pt x="7" y="8"/>
                  </a:lnTo>
                  <a:lnTo>
                    <a:pt x="9" y="3"/>
                  </a:lnTo>
                  <a:lnTo>
                    <a:pt x="12" y="0"/>
                  </a:lnTo>
                  <a:lnTo>
                    <a:pt x="14" y="0"/>
                  </a:lnTo>
                  <a:lnTo>
                    <a:pt x="14" y="3"/>
                  </a:lnTo>
                  <a:lnTo>
                    <a:pt x="13" y="8"/>
                  </a:lnTo>
                  <a:lnTo>
                    <a:pt x="13" y="10"/>
                  </a:lnTo>
                  <a:lnTo>
                    <a:pt x="14" y="14"/>
                  </a:lnTo>
                  <a:lnTo>
                    <a:pt x="14" y="15"/>
                  </a:lnTo>
                  <a:lnTo>
                    <a:pt x="13"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8" name="Freeform 857"/>
            <p:cNvSpPr>
              <a:spLocks/>
            </p:cNvSpPr>
            <p:nvPr/>
          </p:nvSpPr>
          <p:spPr bwMode="auto">
            <a:xfrm>
              <a:off x="7656513" y="4424367"/>
              <a:ext cx="246062" cy="263525"/>
            </a:xfrm>
            <a:custGeom>
              <a:avLst/>
              <a:gdLst>
                <a:gd name="T0" fmla="*/ 2147483647 w 168"/>
                <a:gd name="T1" fmla="*/ 2147483647 h 166"/>
                <a:gd name="T2" fmla="*/ 2147483647 w 168"/>
                <a:gd name="T3" fmla="*/ 2147483647 h 166"/>
                <a:gd name="T4" fmla="*/ 2147483647 w 168"/>
                <a:gd name="T5" fmla="*/ 2147483647 h 166"/>
                <a:gd name="T6" fmla="*/ 2147483647 w 168"/>
                <a:gd name="T7" fmla="*/ 2147483647 h 166"/>
                <a:gd name="T8" fmla="*/ 2147483647 w 168"/>
                <a:gd name="T9" fmla="*/ 2147483647 h 166"/>
                <a:gd name="T10" fmla="*/ 2147483647 w 168"/>
                <a:gd name="T11" fmla="*/ 2147483647 h 166"/>
                <a:gd name="T12" fmla="*/ 2147483647 w 168"/>
                <a:gd name="T13" fmla="*/ 2147483647 h 166"/>
                <a:gd name="T14" fmla="*/ 2147483647 w 168"/>
                <a:gd name="T15" fmla="*/ 2147483647 h 166"/>
                <a:gd name="T16" fmla="*/ 2147483647 w 168"/>
                <a:gd name="T17" fmla="*/ 2147483647 h 166"/>
                <a:gd name="T18" fmla="*/ 2147483647 w 168"/>
                <a:gd name="T19" fmla="*/ 2147483647 h 166"/>
                <a:gd name="T20" fmla="*/ 2147483647 w 168"/>
                <a:gd name="T21" fmla="*/ 2147483647 h 166"/>
                <a:gd name="T22" fmla="*/ 2147483647 w 168"/>
                <a:gd name="T23" fmla="*/ 2147483647 h 166"/>
                <a:gd name="T24" fmla="*/ 2147483647 w 168"/>
                <a:gd name="T25" fmla="*/ 2147483647 h 166"/>
                <a:gd name="T26" fmla="*/ 2147483647 w 168"/>
                <a:gd name="T27" fmla="*/ 2147483647 h 166"/>
                <a:gd name="T28" fmla="*/ 2147483647 w 168"/>
                <a:gd name="T29" fmla="*/ 2147483647 h 166"/>
                <a:gd name="T30" fmla="*/ 2147483647 w 168"/>
                <a:gd name="T31" fmla="*/ 2147483647 h 166"/>
                <a:gd name="T32" fmla="*/ 2147483647 w 168"/>
                <a:gd name="T33" fmla="*/ 2147483647 h 166"/>
                <a:gd name="T34" fmla="*/ 2147483647 w 168"/>
                <a:gd name="T35" fmla="*/ 2147483647 h 166"/>
                <a:gd name="T36" fmla="*/ 2147483647 w 168"/>
                <a:gd name="T37" fmla="*/ 2147483647 h 166"/>
                <a:gd name="T38" fmla="*/ 2147483647 w 168"/>
                <a:gd name="T39" fmla="*/ 2147483647 h 166"/>
                <a:gd name="T40" fmla="*/ 2147483647 w 168"/>
                <a:gd name="T41" fmla="*/ 2147483647 h 166"/>
                <a:gd name="T42" fmla="*/ 2147483647 w 168"/>
                <a:gd name="T43" fmla="*/ 0 h 166"/>
                <a:gd name="T44" fmla="*/ 2147483647 w 168"/>
                <a:gd name="T45" fmla="*/ 0 h 166"/>
                <a:gd name="T46" fmla="*/ 2147483647 w 168"/>
                <a:gd name="T47" fmla="*/ 2147483647 h 166"/>
                <a:gd name="T48" fmla="*/ 2147483647 w 168"/>
                <a:gd name="T49" fmla="*/ 2147483647 h 166"/>
                <a:gd name="T50" fmla="*/ 0 w 168"/>
                <a:gd name="T51" fmla="*/ 2147483647 h 166"/>
                <a:gd name="T52" fmla="*/ 2147483647 w 168"/>
                <a:gd name="T53" fmla="*/ 2147483647 h 166"/>
                <a:gd name="T54" fmla="*/ 2147483647 w 168"/>
                <a:gd name="T55" fmla="*/ 2147483647 h 166"/>
                <a:gd name="T56" fmla="*/ 2147483647 w 168"/>
                <a:gd name="T57" fmla="*/ 2147483647 h 166"/>
                <a:gd name="T58" fmla="*/ 2147483647 w 168"/>
                <a:gd name="T59" fmla="*/ 2147483647 h 166"/>
                <a:gd name="T60" fmla="*/ 2147483647 w 168"/>
                <a:gd name="T61" fmla="*/ 2147483647 h 166"/>
                <a:gd name="T62" fmla="*/ 2147483647 w 168"/>
                <a:gd name="T63" fmla="*/ 2147483647 h 166"/>
                <a:gd name="T64" fmla="*/ 2147483647 w 168"/>
                <a:gd name="T65" fmla="*/ 2147483647 h 166"/>
                <a:gd name="T66" fmla="*/ 2147483647 w 168"/>
                <a:gd name="T67" fmla="*/ 2147483647 h 166"/>
                <a:gd name="T68" fmla="*/ 2147483647 w 168"/>
                <a:gd name="T69" fmla="*/ 2147483647 h 166"/>
                <a:gd name="T70" fmla="*/ 2147483647 w 168"/>
                <a:gd name="T71" fmla="*/ 2147483647 h 166"/>
                <a:gd name="T72" fmla="*/ 2147483647 w 168"/>
                <a:gd name="T73" fmla="*/ 2147483647 h 166"/>
                <a:gd name="T74" fmla="*/ 2147483647 w 168"/>
                <a:gd name="T75" fmla="*/ 2147483647 h 166"/>
                <a:gd name="T76" fmla="*/ 2147483647 w 168"/>
                <a:gd name="T77" fmla="*/ 2147483647 h 166"/>
                <a:gd name="T78" fmla="*/ 2147483647 w 168"/>
                <a:gd name="T79" fmla="*/ 2147483647 h 166"/>
                <a:gd name="T80" fmla="*/ 2147483647 w 168"/>
                <a:gd name="T81" fmla="*/ 2147483647 h 166"/>
                <a:gd name="T82" fmla="*/ 2147483647 w 168"/>
                <a:gd name="T83" fmla="*/ 2147483647 h 166"/>
                <a:gd name="T84" fmla="*/ 2147483647 w 168"/>
                <a:gd name="T85" fmla="*/ 2147483647 h 166"/>
                <a:gd name="T86" fmla="*/ 2147483647 w 168"/>
                <a:gd name="T87" fmla="*/ 2147483647 h 166"/>
                <a:gd name="T88" fmla="*/ 2147483647 w 168"/>
                <a:gd name="T89" fmla="*/ 2147483647 h 166"/>
                <a:gd name="T90" fmla="*/ 2147483647 w 168"/>
                <a:gd name="T91" fmla="*/ 2147483647 h 166"/>
                <a:gd name="T92" fmla="*/ 2147483647 w 168"/>
                <a:gd name="T93" fmla="*/ 2147483647 h 166"/>
                <a:gd name="T94" fmla="*/ 2147483647 w 168"/>
                <a:gd name="T95" fmla="*/ 2147483647 h 166"/>
                <a:gd name="T96" fmla="*/ 2147483647 w 168"/>
                <a:gd name="T97" fmla="*/ 2147483647 h 166"/>
                <a:gd name="T98" fmla="*/ 2147483647 w 168"/>
                <a:gd name="T99" fmla="*/ 2147483647 h 166"/>
                <a:gd name="T100" fmla="*/ 2147483647 w 168"/>
                <a:gd name="T101" fmla="*/ 2147483647 h 166"/>
                <a:gd name="T102" fmla="*/ 2147483647 w 168"/>
                <a:gd name="T103" fmla="*/ 2147483647 h 166"/>
                <a:gd name="T104" fmla="*/ 2147483647 w 168"/>
                <a:gd name="T105" fmla="*/ 2147483647 h 166"/>
                <a:gd name="T106" fmla="*/ 2147483647 w 168"/>
                <a:gd name="T107" fmla="*/ 2147483647 h 166"/>
                <a:gd name="T108" fmla="*/ 2147483647 w 168"/>
                <a:gd name="T109" fmla="*/ 2147483647 h 166"/>
                <a:gd name="T110" fmla="*/ 2147483647 w 168"/>
                <a:gd name="T111" fmla="*/ 2147483647 h 166"/>
                <a:gd name="T112" fmla="*/ 2147483647 w 168"/>
                <a:gd name="T113" fmla="*/ 2147483647 h 166"/>
                <a:gd name="T114" fmla="*/ 2147483647 w 168"/>
                <a:gd name="T115" fmla="*/ 2147483647 h 166"/>
                <a:gd name="T116" fmla="*/ 2147483647 w 168"/>
                <a:gd name="T117" fmla="*/ 2147483647 h 166"/>
                <a:gd name="T118" fmla="*/ 2147483647 w 168"/>
                <a:gd name="T119" fmla="*/ 2147483647 h 166"/>
                <a:gd name="T120" fmla="*/ 2147483647 w 168"/>
                <a:gd name="T121" fmla="*/ 2147483647 h 166"/>
                <a:gd name="T122" fmla="*/ 2147483647 w 168"/>
                <a:gd name="T123" fmla="*/ 2147483647 h 1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8"/>
                <a:gd name="T187" fmla="*/ 0 h 166"/>
                <a:gd name="T188" fmla="*/ 168 w 168"/>
                <a:gd name="T189" fmla="*/ 166 h 1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8" h="166">
                  <a:moveTo>
                    <a:pt x="168" y="166"/>
                  </a:moveTo>
                  <a:lnTo>
                    <a:pt x="165" y="139"/>
                  </a:lnTo>
                  <a:lnTo>
                    <a:pt x="165" y="125"/>
                  </a:lnTo>
                  <a:lnTo>
                    <a:pt x="167" y="111"/>
                  </a:lnTo>
                  <a:lnTo>
                    <a:pt x="165" y="37"/>
                  </a:lnTo>
                  <a:lnTo>
                    <a:pt x="154" y="35"/>
                  </a:lnTo>
                  <a:lnTo>
                    <a:pt x="143" y="35"/>
                  </a:lnTo>
                  <a:lnTo>
                    <a:pt x="138" y="33"/>
                  </a:lnTo>
                  <a:lnTo>
                    <a:pt x="135" y="33"/>
                  </a:lnTo>
                  <a:lnTo>
                    <a:pt x="132" y="32"/>
                  </a:lnTo>
                  <a:lnTo>
                    <a:pt x="120" y="23"/>
                  </a:lnTo>
                  <a:lnTo>
                    <a:pt x="113" y="19"/>
                  </a:lnTo>
                  <a:lnTo>
                    <a:pt x="111" y="19"/>
                  </a:lnTo>
                  <a:lnTo>
                    <a:pt x="107" y="19"/>
                  </a:lnTo>
                  <a:lnTo>
                    <a:pt x="106" y="19"/>
                  </a:lnTo>
                  <a:lnTo>
                    <a:pt x="105" y="20"/>
                  </a:lnTo>
                  <a:lnTo>
                    <a:pt x="103" y="24"/>
                  </a:lnTo>
                  <a:lnTo>
                    <a:pt x="103" y="28"/>
                  </a:lnTo>
                  <a:lnTo>
                    <a:pt x="103" y="29"/>
                  </a:lnTo>
                  <a:lnTo>
                    <a:pt x="102" y="30"/>
                  </a:lnTo>
                  <a:lnTo>
                    <a:pt x="97" y="31"/>
                  </a:lnTo>
                  <a:lnTo>
                    <a:pt x="93" y="32"/>
                  </a:lnTo>
                  <a:lnTo>
                    <a:pt x="85" y="38"/>
                  </a:lnTo>
                  <a:lnTo>
                    <a:pt x="79" y="44"/>
                  </a:lnTo>
                  <a:lnTo>
                    <a:pt x="72" y="49"/>
                  </a:lnTo>
                  <a:lnTo>
                    <a:pt x="69" y="49"/>
                  </a:lnTo>
                  <a:lnTo>
                    <a:pt x="66" y="49"/>
                  </a:lnTo>
                  <a:lnTo>
                    <a:pt x="65" y="48"/>
                  </a:lnTo>
                  <a:lnTo>
                    <a:pt x="64" y="45"/>
                  </a:lnTo>
                  <a:lnTo>
                    <a:pt x="63" y="39"/>
                  </a:lnTo>
                  <a:lnTo>
                    <a:pt x="61" y="33"/>
                  </a:lnTo>
                  <a:lnTo>
                    <a:pt x="60" y="31"/>
                  </a:lnTo>
                  <a:lnTo>
                    <a:pt x="60" y="30"/>
                  </a:lnTo>
                  <a:lnTo>
                    <a:pt x="58" y="30"/>
                  </a:lnTo>
                  <a:lnTo>
                    <a:pt x="56" y="33"/>
                  </a:lnTo>
                  <a:lnTo>
                    <a:pt x="54" y="37"/>
                  </a:lnTo>
                  <a:lnTo>
                    <a:pt x="52" y="38"/>
                  </a:lnTo>
                  <a:lnTo>
                    <a:pt x="50" y="30"/>
                  </a:lnTo>
                  <a:lnTo>
                    <a:pt x="49" y="22"/>
                  </a:lnTo>
                  <a:lnTo>
                    <a:pt x="47" y="13"/>
                  </a:lnTo>
                  <a:lnTo>
                    <a:pt x="45" y="5"/>
                  </a:lnTo>
                  <a:lnTo>
                    <a:pt x="44" y="3"/>
                  </a:lnTo>
                  <a:lnTo>
                    <a:pt x="41" y="1"/>
                  </a:lnTo>
                  <a:lnTo>
                    <a:pt x="35" y="0"/>
                  </a:lnTo>
                  <a:lnTo>
                    <a:pt x="28" y="0"/>
                  </a:lnTo>
                  <a:lnTo>
                    <a:pt x="23" y="0"/>
                  </a:lnTo>
                  <a:lnTo>
                    <a:pt x="16" y="1"/>
                  </a:lnTo>
                  <a:lnTo>
                    <a:pt x="9" y="4"/>
                  </a:lnTo>
                  <a:lnTo>
                    <a:pt x="5" y="6"/>
                  </a:lnTo>
                  <a:lnTo>
                    <a:pt x="2" y="10"/>
                  </a:lnTo>
                  <a:lnTo>
                    <a:pt x="0" y="14"/>
                  </a:lnTo>
                  <a:lnTo>
                    <a:pt x="0" y="16"/>
                  </a:lnTo>
                  <a:lnTo>
                    <a:pt x="2" y="18"/>
                  </a:lnTo>
                  <a:lnTo>
                    <a:pt x="4" y="19"/>
                  </a:lnTo>
                  <a:lnTo>
                    <a:pt x="8" y="20"/>
                  </a:lnTo>
                  <a:lnTo>
                    <a:pt x="12" y="22"/>
                  </a:lnTo>
                  <a:lnTo>
                    <a:pt x="14" y="23"/>
                  </a:lnTo>
                  <a:lnTo>
                    <a:pt x="16" y="26"/>
                  </a:lnTo>
                  <a:lnTo>
                    <a:pt x="18" y="29"/>
                  </a:lnTo>
                  <a:lnTo>
                    <a:pt x="21" y="31"/>
                  </a:lnTo>
                  <a:lnTo>
                    <a:pt x="25" y="31"/>
                  </a:lnTo>
                  <a:lnTo>
                    <a:pt x="31" y="32"/>
                  </a:lnTo>
                  <a:lnTo>
                    <a:pt x="37" y="33"/>
                  </a:lnTo>
                  <a:lnTo>
                    <a:pt x="38" y="35"/>
                  </a:lnTo>
                  <a:lnTo>
                    <a:pt x="40" y="37"/>
                  </a:lnTo>
                  <a:lnTo>
                    <a:pt x="38" y="41"/>
                  </a:lnTo>
                  <a:lnTo>
                    <a:pt x="37" y="43"/>
                  </a:lnTo>
                  <a:lnTo>
                    <a:pt x="36" y="44"/>
                  </a:lnTo>
                  <a:lnTo>
                    <a:pt x="33" y="45"/>
                  </a:lnTo>
                  <a:lnTo>
                    <a:pt x="31" y="44"/>
                  </a:lnTo>
                  <a:lnTo>
                    <a:pt x="22" y="42"/>
                  </a:lnTo>
                  <a:lnTo>
                    <a:pt x="17" y="41"/>
                  </a:lnTo>
                  <a:lnTo>
                    <a:pt x="12" y="39"/>
                  </a:lnTo>
                  <a:lnTo>
                    <a:pt x="11" y="41"/>
                  </a:lnTo>
                  <a:lnTo>
                    <a:pt x="7" y="42"/>
                  </a:lnTo>
                  <a:lnTo>
                    <a:pt x="5" y="43"/>
                  </a:lnTo>
                  <a:lnTo>
                    <a:pt x="5" y="44"/>
                  </a:lnTo>
                  <a:lnTo>
                    <a:pt x="8" y="45"/>
                  </a:lnTo>
                  <a:lnTo>
                    <a:pt x="12" y="48"/>
                  </a:lnTo>
                  <a:lnTo>
                    <a:pt x="16" y="50"/>
                  </a:lnTo>
                  <a:lnTo>
                    <a:pt x="19" y="57"/>
                  </a:lnTo>
                  <a:lnTo>
                    <a:pt x="23" y="64"/>
                  </a:lnTo>
                  <a:lnTo>
                    <a:pt x="27" y="70"/>
                  </a:lnTo>
                  <a:lnTo>
                    <a:pt x="28" y="71"/>
                  </a:lnTo>
                  <a:lnTo>
                    <a:pt x="30" y="70"/>
                  </a:lnTo>
                  <a:lnTo>
                    <a:pt x="33" y="65"/>
                  </a:lnTo>
                  <a:lnTo>
                    <a:pt x="36" y="58"/>
                  </a:lnTo>
                  <a:lnTo>
                    <a:pt x="40" y="52"/>
                  </a:lnTo>
                  <a:lnTo>
                    <a:pt x="41" y="51"/>
                  </a:lnTo>
                  <a:lnTo>
                    <a:pt x="44" y="52"/>
                  </a:lnTo>
                  <a:lnTo>
                    <a:pt x="45" y="54"/>
                  </a:lnTo>
                  <a:lnTo>
                    <a:pt x="46" y="56"/>
                  </a:lnTo>
                  <a:lnTo>
                    <a:pt x="46" y="65"/>
                  </a:lnTo>
                  <a:lnTo>
                    <a:pt x="49" y="69"/>
                  </a:lnTo>
                  <a:lnTo>
                    <a:pt x="51" y="71"/>
                  </a:lnTo>
                  <a:lnTo>
                    <a:pt x="65" y="77"/>
                  </a:lnTo>
                  <a:lnTo>
                    <a:pt x="73" y="81"/>
                  </a:lnTo>
                  <a:lnTo>
                    <a:pt x="79" y="86"/>
                  </a:lnTo>
                  <a:lnTo>
                    <a:pt x="82" y="87"/>
                  </a:lnTo>
                  <a:lnTo>
                    <a:pt x="85" y="87"/>
                  </a:lnTo>
                  <a:lnTo>
                    <a:pt x="89" y="87"/>
                  </a:lnTo>
                  <a:lnTo>
                    <a:pt x="93" y="88"/>
                  </a:lnTo>
                  <a:lnTo>
                    <a:pt x="101" y="93"/>
                  </a:lnTo>
                  <a:lnTo>
                    <a:pt x="106" y="99"/>
                  </a:lnTo>
                  <a:lnTo>
                    <a:pt x="112" y="105"/>
                  </a:lnTo>
                  <a:lnTo>
                    <a:pt x="116" y="111"/>
                  </a:lnTo>
                  <a:lnTo>
                    <a:pt x="121" y="118"/>
                  </a:lnTo>
                  <a:lnTo>
                    <a:pt x="125" y="126"/>
                  </a:lnTo>
                  <a:lnTo>
                    <a:pt x="129" y="134"/>
                  </a:lnTo>
                  <a:lnTo>
                    <a:pt x="134" y="141"/>
                  </a:lnTo>
                  <a:lnTo>
                    <a:pt x="134" y="143"/>
                  </a:lnTo>
                  <a:lnTo>
                    <a:pt x="134" y="145"/>
                  </a:lnTo>
                  <a:lnTo>
                    <a:pt x="132" y="147"/>
                  </a:lnTo>
                  <a:lnTo>
                    <a:pt x="131" y="151"/>
                  </a:lnTo>
                  <a:lnTo>
                    <a:pt x="131" y="152"/>
                  </a:lnTo>
                  <a:lnTo>
                    <a:pt x="135" y="154"/>
                  </a:lnTo>
                  <a:lnTo>
                    <a:pt x="139" y="156"/>
                  </a:lnTo>
                  <a:lnTo>
                    <a:pt x="144" y="156"/>
                  </a:lnTo>
                  <a:lnTo>
                    <a:pt x="149" y="154"/>
                  </a:lnTo>
                  <a:lnTo>
                    <a:pt x="150" y="154"/>
                  </a:lnTo>
                  <a:lnTo>
                    <a:pt x="152" y="156"/>
                  </a:lnTo>
                  <a:lnTo>
                    <a:pt x="155" y="158"/>
                  </a:lnTo>
                  <a:lnTo>
                    <a:pt x="160" y="163"/>
                  </a:lnTo>
                  <a:lnTo>
                    <a:pt x="168" y="16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59" name="Freeform 858"/>
            <p:cNvSpPr>
              <a:spLocks/>
            </p:cNvSpPr>
            <p:nvPr/>
          </p:nvSpPr>
          <p:spPr bwMode="auto">
            <a:xfrm>
              <a:off x="2867025" y="5375276"/>
              <a:ext cx="139700" cy="165100"/>
            </a:xfrm>
            <a:custGeom>
              <a:avLst/>
              <a:gdLst>
                <a:gd name="T0" fmla="*/ 0 w 95"/>
                <a:gd name="T1" fmla="*/ 2147483647 h 104"/>
                <a:gd name="T2" fmla="*/ 2147483647 w 95"/>
                <a:gd name="T3" fmla="*/ 2147483647 h 104"/>
                <a:gd name="T4" fmla="*/ 2147483647 w 95"/>
                <a:gd name="T5" fmla="*/ 2147483647 h 104"/>
                <a:gd name="T6" fmla="*/ 2147483647 w 95"/>
                <a:gd name="T7" fmla="*/ 2147483647 h 104"/>
                <a:gd name="T8" fmla="*/ 2147483647 w 95"/>
                <a:gd name="T9" fmla="*/ 2147483647 h 104"/>
                <a:gd name="T10" fmla="*/ 2147483647 w 95"/>
                <a:gd name="T11" fmla="*/ 2147483647 h 104"/>
                <a:gd name="T12" fmla="*/ 2147483647 w 95"/>
                <a:gd name="T13" fmla="*/ 2147483647 h 104"/>
                <a:gd name="T14" fmla="*/ 2147483647 w 95"/>
                <a:gd name="T15" fmla="*/ 2147483647 h 104"/>
                <a:gd name="T16" fmla="*/ 2147483647 w 95"/>
                <a:gd name="T17" fmla="*/ 0 h 104"/>
                <a:gd name="T18" fmla="*/ 2147483647 w 95"/>
                <a:gd name="T19" fmla="*/ 2147483647 h 104"/>
                <a:gd name="T20" fmla="*/ 2147483647 w 95"/>
                <a:gd name="T21" fmla="*/ 2147483647 h 104"/>
                <a:gd name="T22" fmla="*/ 2147483647 w 95"/>
                <a:gd name="T23" fmla="*/ 2147483647 h 104"/>
                <a:gd name="T24" fmla="*/ 2147483647 w 95"/>
                <a:gd name="T25" fmla="*/ 2147483647 h 104"/>
                <a:gd name="T26" fmla="*/ 2147483647 w 95"/>
                <a:gd name="T27" fmla="*/ 2147483647 h 104"/>
                <a:gd name="T28" fmla="*/ 2147483647 w 95"/>
                <a:gd name="T29" fmla="*/ 2147483647 h 104"/>
                <a:gd name="T30" fmla="*/ 2147483647 w 95"/>
                <a:gd name="T31" fmla="*/ 2147483647 h 104"/>
                <a:gd name="T32" fmla="*/ 2147483647 w 95"/>
                <a:gd name="T33" fmla="*/ 2147483647 h 104"/>
                <a:gd name="T34" fmla="*/ 2147483647 w 95"/>
                <a:gd name="T35" fmla="*/ 2147483647 h 104"/>
                <a:gd name="T36" fmla="*/ 2147483647 w 95"/>
                <a:gd name="T37" fmla="*/ 2147483647 h 104"/>
                <a:gd name="T38" fmla="*/ 2147483647 w 95"/>
                <a:gd name="T39" fmla="*/ 2147483647 h 104"/>
                <a:gd name="T40" fmla="*/ 2147483647 w 95"/>
                <a:gd name="T41" fmla="*/ 2147483647 h 104"/>
                <a:gd name="T42" fmla="*/ 2147483647 w 95"/>
                <a:gd name="T43" fmla="*/ 2147483647 h 104"/>
                <a:gd name="T44" fmla="*/ 2147483647 w 95"/>
                <a:gd name="T45" fmla="*/ 2147483647 h 104"/>
                <a:gd name="T46" fmla="*/ 2147483647 w 95"/>
                <a:gd name="T47" fmla="*/ 2147483647 h 104"/>
                <a:gd name="T48" fmla="*/ 2147483647 w 95"/>
                <a:gd name="T49" fmla="*/ 2147483647 h 104"/>
                <a:gd name="T50" fmla="*/ 2147483647 w 95"/>
                <a:gd name="T51" fmla="*/ 2147483647 h 104"/>
                <a:gd name="T52" fmla="*/ 2147483647 w 95"/>
                <a:gd name="T53" fmla="*/ 2147483647 h 104"/>
                <a:gd name="T54" fmla="*/ 2147483647 w 95"/>
                <a:gd name="T55" fmla="*/ 2147483647 h 104"/>
                <a:gd name="T56" fmla="*/ 2147483647 w 95"/>
                <a:gd name="T57" fmla="*/ 2147483647 h 104"/>
                <a:gd name="T58" fmla="*/ 2147483647 w 95"/>
                <a:gd name="T59" fmla="*/ 2147483647 h 104"/>
                <a:gd name="T60" fmla="*/ 2147483647 w 95"/>
                <a:gd name="T61" fmla="*/ 2147483647 h 104"/>
                <a:gd name="T62" fmla="*/ 2147483647 w 95"/>
                <a:gd name="T63" fmla="*/ 2147483647 h 104"/>
                <a:gd name="T64" fmla="*/ 2147483647 w 95"/>
                <a:gd name="T65" fmla="*/ 2147483647 h 104"/>
                <a:gd name="T66" fmla="*/ 2147483647 w 95"/>
                <a:gd name="T67" fmla="*/ 2147483647 h 104"/>
                <a:gd name="T68" fmla="*/ 2147483647 w 95"/>
                <a:gd name="T69" fmla="*/ 2147483647 h 104"/>
                <a:gd name="T70" fmla="*/ 2147483647 w 95"/>
                <a:gd name="T71" fmla="*/ 2147483647 h 104"/>
                <a:gd name="T72" fmla="*/ 2147483647 w 95"/>
                <a:gd name="T73" fmla="*/ 2147483647 h 104"/>
                <a:gd name="T74" fmla="*/ 0 w 95"/>
                <a:gd name="T75" fmla="*/ 2147483647 h 104"/>
                <a:gd name="T76" fmla="*/ 0 w 95"/>
                <a:gd name="T77" fmla="*/ 2147483647 h 1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5"/>
                <a:gd name="T118" fmla="*/ 0 h 104"/>
                <a:gd name="T119" fmla="*/ 95 w 95"/>
                <a:gd name="T120" fmla="*/ 104 h 1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5" h="104">
                  <a:moveTo>
                    <a:pt x="0" y="62"/>
                  </a:moveTo>
                  <a:lnTo>
                    <a:pt x="2" y="56"/>
                  </a:lnTo>
                  <a:lnTo>
                    <a:pt x="4" y="53"/>
                  </a:lnTo>
                  <a:lnTo>
                    <a:pt x="5" y="51"/>
                  </a:lnTo>
                  <a:lnTo>
                    <a:pt x="5" y="31"/>
                  </a:lnTo>
                  <a:lnTo>
                    <a:pt x="5" y="21"/>
                  </a:lnTo>
                  <a:lnTo>
                    <a:pt x="7" y="12"/>
                  </a:lnTo>
                  <a:lnTo>
                    <a:pt x="11" y="6"/>
                  </a:lnTo>
                  <a:lnTo>
                    <a:pt x="14" y="0"/>
                  </a:lnTo>
                  <a:lnTo>
                    <a:pt x="16" y="1"/>
                  </a:lnTo>
                  <a:lnTo>
                    <a:pt x="18" y="2"/>
                  </a:lnTo>
                  <a:lnTo>
                    <a:pt x="23" y="2"/>
                  </a:lnTo>
                  <a:lnTo>
                    <a:pt x="26" y="2"/>
                  </a:lnTo>
                  <a:lnTo>
                    <a:pt x="28" y="4"/>
                  </a:lnTo>
                  <a:lnTo>
                    <a:pt x="37" y="13"/>
                  </a:lnTo>
                  <a:lnTo>
                    <a:pt x="44" y="20"/>
                  </a:lnTo>
                  <a:lnTo>
                    <a:pt x="54" y="26"/>
                  </a:lnTo>
                  <a:lnTo>
                    <a:pt x="70" y="33"/>
                  </a:lnTo>
                  <a:lnTo>
                    <a:pt x="76" y="38"/>
                  </a:lnTo>
                  <a:lnTo>
                    <a:pt x="82" y="44"/>
                  </a:lnTo>
                  <a:lnTo>
                    <a:pt x="86" y="58"/>
                  </a:lnTo>
                  <a:lnTo>
                    <a:pt x="89" y="64"/>
                  </a:lnTo>
                  <a:lnTo>
                    <a:pt x="95" y="71"/>
                  </a:lnTo>
                  <a:lnTo>
                    <a:pt x="84" y="82"/>
                  </a:lnTo>
                  <a:lnTo>
                    <a:pt x="75" y="95"/>
                  </a:lnTo>
                  <a:lnTo>
                    <a:pt x="70" y="100"/>
                  </a:lnTo>
                  <a:lnTo>
                    <a:pt x="65" y="102"/>
                  </a:lnTo>
                  <a:lnTo>
                    <a:pt x="58" y="104"/>
                  </a:lnTo>
                  <a:lnTo>
                    <a:pt x="52" y="103"/>
                  </a:lnTo>
                  <a:lnTo>
                    <a:pt x="46" y="102"/>
                  </a:lnTo>
                  <a:lnTo>
                    <a:pt x="38" y="101"/>
                  </a:lnTo>
                  <a:lnTo>
                    <a:pt x="26" y="96"/>
                  </a:lnTo>
                  <a:lnTo>
                    <a:pt x="13" y="91"/>
                  </a:lnTo>
                  <a:lnTo>
                    <a:pt x="9" y="88"/>
                  </a:lnTo>
                  <a:lnTo>
                    <a:pt x="5" y="85"/>
                  </a:lnTo>
                  <a:lnTo>
                    <a:pt x="4" y="82"/>
                  </a:lnTo>
                  <a:lnTo>
                    <a:pt x="1" y="78"/>
                  </a:lnTo>
                  <a:lnTo>
                    <a:pt x="0" y="70"/>
                  </a:lnTo>
                  <a:lnTo>
                    <a:pt x="0" y="6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0" name="Freeform 859"/>
            <p:cNvSpPr>
              <a:spLocks/>
            </p:cNvSpPr>
            <p:nvPr/>
          </p:nvSpPr>
          <p:spPr bwMode="auto">
            <a:xfrm>
              <a:off x="7654926" y="4422779"/>
              <a:ext cx="246063" cy="263525"/>
            </a:xfrm>
            <a:custGeom>
              <a:avLst/>
              <a:gdLst>
                <a:gd name="T0" fmla="*/ 2147483647 w 168"/>
                <a:gd name="T1" fmla="*/ 2147483647 h 166"/>
                <a:gd name="T2" fmla="*/ 2147483647 w 168"/>
                <a:gd name="T3" fmla="*/ 2147483647 h 166"/>
                <a:gd name="T4" fmla="*/ 2147483647 w 168"/>
                <a:gd name="T5" fmla="*/ 2147483647 h 166"/>
                <a:gd name="T6" fmla="*/ 2147483647 w 168"/>
                <a:gd name="T7" fmla="*/ 2147483647 h 166"/>
                <a:gd name="T8" fmla="*/ 2147483647 w 168"/>
                <a:gd name="T9" fmla="*/ 2147483647 h 166"/>
                <a:gd name="T10" fmla="*/ 2147483647 w 168"/>
                <a:gd name="T11" fmla="*/ 2147483647 h 166"/>
                <a:gd name="T12" fmla="*/ 2147483647 w 168"/>
                <a:gd name="T13" fmla="*/ 2147483647 h 166"/>
                <a:gd name="T14" fmla="*/ 2147483647 w 168"/>
                <a:gd name="T15" fmla="*/ 2147483647 h 166"/>
                <a:gd name="T16" fmla="*/ 2147483647 w 168"/>
                <a:gd name="T17" fmla="*/ 2147483647 h 166"/>
                <a:gd name="T18" fmla="*/ 2147483647 w 168"/>
                <a:gd name="T19" fmla="*/ 2147483647 h 166"/>
                <a:gd name="T20" fmla="*/ 2147483647 w 168"/>
                <a:gd name="T21" fmla="*/ 2147483647 h 166"/>
                <a:gd name="T22" fmla="*/ 2147483647 w 168"/>
                <a:gd name="T23" fmla="*/ 2147483647 h 166"/>
                <a:gd name="T24" fmla="*/ 2147483647 w 168"/>
                <a:gd name="T25" fmla="*/ 2147483647 h 166"/>
                <a:gd name="T26" fmla="*/ 2147483647 w 168"/>
                <a:gd name="T27" fmla="*/ 2147483647 h 166"/>
                <a:gd name="T28" fmla="*/ 2147483647 w 168"/>
                <a:gd name="T29" fmla="*/ 2147483647 h 166"/>
                <a:gd name="T30" fmla="*/ 2147483647 w 168"/>
                <a:gd name="T31" fmla="*/ 2147483647 h 166"/>
                <a:gd name="T32" fmla="*/ 2147483647 w 168"/>
                <a:gd name="T33" fmla="*/ 2147483647 h 166"/>
                <a:gd name="T34" fmla="*/ 2147483647 w 168"/>
                <a:gd name="T35" fmla="*/ 2147483647 h 166"/>
                <a:gd name="T36" fmla="*/ 2147483647 w 168"/>
                <a:gd name="T37" fmla="*/ 0 h 166"/>
                <a:gd name="T38" fmla="*/ 2147483647 w 168"/>
                <a:gd name="T39" fmla="*/ 0 h 166"/>
                <a:gd name="T40" fmla="*/ 2147483647 w 168"/>
                <a:gd name="T41" fmla="*/ 2147483647 h 166"/>
                <a:gd name="T42" fmla="*/ 0 w 168"/>
                <a:gd name="T43" fmla="*/ 2147483647 h 166"/>
                <a:gd name="T44" fmla="*/ 2147483647 w 168"/>
                <a:gd name="T45" fmla="*/ 2147483647 h 166"/>
                <a:gd name="T46" fmla="*/ 2147483647 w 168"/>
                <a:gd name="T47" fmla="*/ 2147483647 h 166"/>
                <a:gd name="T48" fmla="*/ 2147483647 w 168"/>
                <a:gd name="T49" fmla="*/ 2147483647 h 166"/>
                <a:gd name="T50" fmla="*/ 2147483647 w 168"/>
                <a:gd name="T51" fmla="*/ 2147483647 h 166"/>
                <a:gd name="T52" fmla="*/ 2147483647 w 168"/>
                <a:gd name="T53" fmla="*/ 2147483647 h 166"/>
                <a:gd name="T54" fmla="*/ 2147483647 w 168"/>
                <a:gd name="T55" fmla="*/ 2147483647 h 166"/>
                <a:gd name="T56" fmla="*/ 2147483647 w 168"/>
                <a:gd name="T57" fmla="*/ 2147483647 h 166"/>
                <a:gd name="T58" fmla="*/ 2147483647 w 168"/>
                <a:gd name="T59" fmla="*/ 2147483647 h 166"/>
                <a:gd name="T60" fmla="*/ 2147483647 w 168"/>
                <a:gd name="T61" fmla="*/ 2147483647 h 166"/>
                <a:gd name="T62" fmla="*/ 2147483647 w 168"/>
                <a:gd name="T63" fmla="*/ 2147483647 h 166"/>
                <a:gd name="T64" fmla="*/ 2147483647 w 168"/>
                <a:gd name="T65" fmla="*/ 2147483647 h 166"/>
                <a:gd name="T66" fmla="*/ 2147483647 w 168"/>
                <a:gd name="T67" fmla="*/ 2147483647 h 166"/>
                <a:gd name="T68" fmla="*/ 2147483647 w 168"/>
                <a:gd name="T69" fmla="*/ 2147483647 h 166"/>
                <a:gd name="T70" fmla="*/ 2147483647 w 168"/>
                <a:gd name="T71" fmla="*/ 2147483647 h 166"/>
                <a:gd name="T72" fmla="*/ 2147483647 w 168"/>
                <a:gd name="T73" fmla="*/ 2147483647 h 166"/>
                <a:gd name="T74" fmla="*/ 2147483647 w 168"/>
                <a:gd name="T75" fmla="*/ 2147483647 h 166"/>
                <a:gd name="T76" fmla="*/ 2147483647 w 168"/>
                <a:gd name="T77" fmla="*/ 2147483647 h 166"/>
                <a:gd name="T78" fmla="*/ 2147483647 w 168"/>
                <a:gd name="T79" fmla="*/ 2147483647 h 166"/>
                <a:gd name="T80" fmla="*/ 2147483647 w 168"/>
                <a:gd name="T81" fmla="*/ 2147483647 h 166"/>
                <a:gd name="T82" fmla="*/ 2147483647 w 168"/>
                <a:gd name="T83" fmla="*/ 2147483647 h 166"/>
                <a:gd name="T84" fmla="*/ 2147483647 w 168"/>
                <a:gd name="T85" fmla="*/ 2147483647 h 166"/>
                <a:gd name="T86" fmla="*/ 2147483647 w 168"/>
                <a:gd name="T87" fmla="*/ 2147483647 h 166"/>
                <a:gd name="T88" fmla="*/ 2147483647 w 168"/>
                <a:gd name="T89" fmla="*/ 2147483647 h 166"/>
                <a:gd name="T90" fmla="*/ 2147483647 w 168"/>
                <a:gd name="T91" fmla="*/ 2147483647 h 166"/>
                <a:gd name="T92" fmla="*/ 2147483647 w 168"/>
                <a:gd name="T93" fmla="*/ 2147483647 h 166"/>
                <a:gd name="T94" fmla="*/ 2147483647 w 168"/>
                <a:gd name="T95" fmla="*/ 2147483647 h 166"/>
                <a:gd name="T96" fmla="*/ 2147483647 w 168"/>
                <a:gd name="T97" fmla="*/ 2147483647 h 166"/>
                <a:gd name="T98" fmla="*/ 2147483647 w 168"/>
                <a:gd name="T99" fmla="*/ 2147483647 h 166"/>
                <a:gd name="T100" fmla="*/ 2147483647 w 168"/>
                <a:gd name="T101" fmla="*/ 2147483647 h 166"/>
                <a:gd name="T102" fmla="*/ 2147483647 w 168"/>
                <a:gd name="T103" fmla="*/ 2147483647 h 166"/>
                <a:gd name="T104" fmla="*/ 2147483647 w 168"/>
                <a:gd name="T105" fmla="*/ 2147483647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8"/>
                <a:gd name="T160" fmla="*/ 0 h 166"/>
                <a:gd name="T161" fmla="*/ 168 w 168"/>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8" h="166">
                  <a:moveTo>
                    <a:pt x="168" y="166"/>
                  </a:moveTo>
                  <a:lnTo>
                    <a:pt x="168" y="166"/>
                  </a:lnTo>
                  <a:lnTo>
                    <a:pt x="165" y="139"/>
                  </a:lnTo>
                  <a:lnTo>
                    <a:pt x="165" y="125"/>
                  </a:lnTo>
                  <a:lnTo>
                    <a:pt x="166" y="110"/>
                  </a:lnTo>
                  <a:lnTo>
                    <a:pt x="165" y="37"/>
                  </a:lnTo>
                  <a:lnTo>
                    <a:pt x="154" y="34"/>
                  </a:lnTo>
                  <a:lnTo>
                    <a:pt x="142" y="34"/>
                  </a:lnTo>
                  <a:lnTo>
                    <a:pt x="137" y="33"/>
                  </a:lnTo>
                  <a:lnTo>
                    <a:pt x="135" y="33"/>
                  </a:lnTo>
                  <a:lnTo>
                    <a:pt x="132" y="32"/>
                  </a:lnTo>
                  <a:lnTo>
                    <a:pt x="119" y="23"/>
                  </a:lnTo>
                  <a:lnTo>
                    <a:pt x="113" y="19"/>
                  </a:lnTo>
                  <a:lnTo>
                    <a:pt x="111" y="19"/>
                  </a:lnTo>
                  <a:lnTo>
                    <a:pt x="107" y="19"/>
                  </a:lnTo>
                  <a:lnTo>
                    <a:pt x="106" y="19"/>
                  </a:lnTo>
                  <a:lnTo>
                    <a:pt x="104" y="20"/>
                  </a:lnTo>
                  <a:lnTo>
                    <a:pt x="103" y="24"/>
                  </a:lnTo>
                  <a:lnTo>
                    <a:pt x="103" y="27"/>
                  </a:lnTo>
                  <a:lnTo>
                    <a:pt x="103" y="29"/>
                  </a:lnTo>
                  <a:lnTo>
                    <a:pt x="102" y="30"/>
                  </a:lnTo>
                  <a:lnTo>
                    <a:pt x="97" y="31"/>
                  </a:lnTo>
                  <a:lnTo>
                    <a:pt x="93" y="32"/>
                  </a:lnTo>
                  <a:lnTo>
                    <a:pt x="85" y="38"/>
                  </a:lnTo>
                  <a:lnTo>
                    <a:pt x="79" y="44"/>
                  </a:lnTo>
                  <a:lnTo>
                    <a:pt x="71" y="49"/>
                  </a:lnTo>
                  <a:lnTo>
                    <a:pt x="69" y="49"/>
                  </a:lnTo>
                  <a:lnTo>
                    <a:pt x="66" y="49"/>
                  </a:lnTo>
                  <a:lnTo>
                    <a:pt x="65" y="47"/>
                  </a:lnTo>
                  <a:lnTo>
                    <a:pt x="64" y="45"/>
                  </a:lnTo>
                  <a:lnTo>
                    <a:pt x="62" y="39"/>
                  </a:lnTo>
                  <a:lnTo>
                    <a:pt x="61" y="33"/>
                  </a:lnTo>
                  <a:lnTo>
                    <a:pt x="60" y="31"/>
                  </a:lnTo>
                  <a:lnTo>
                    <a:pt x="60" y="30"/>
                  </a:lnTo>
                  <a:lnTo>
                    <a:pt x="57" y="30"/>
                  </a:lnTo>
                  <a:lnTo>
                    <a:pt x="56" y="33"/>
                  </a:lnTo>
                  <a:lnTo>
                    <a:pt x="53" y="37"/>
                  </a:lnTo>
                  <a:lnTo>
                    <a:pt x="52" y="38"/>
                  </a:lnTo>
                  <a:lnTo>
                    <a:pt x="50" y="30"/>
                  </a:lnTo>
                  <a:lnTo>
                    <a:pt x="48" y="21"/>
                  </a:lnTo>
                  <a:lnTo>
                    <a:pt x="47" y="13"/>
                  </a:lnTo>
                  <a:lnTo>
                    <a:pt x="45" y="5"/>
                  </a:lnTo>
                  <a:lnTo>
                    <a:pt x="43" y="2"/>
                  </a:lnTo>
                  <a:lnTo>
                    <a:pt x="41" y="1"/>
                  </a:lnTo>
                  <a:lnTo>
                    <a:pt x="34" y="0"/>
                  </a:lnTo>
                  <a:lnTo>
                    <a:pt x="28" y="0"/>
                  </a:lnTo>
                  <a:lnTo>
                    <a:pt x="23" y="0"/>
                  </a:lnTo>
                  <a:lnTo>
                    <a:pt x="15" y="1"/>
                  </a:lnTo>
                  <a:lnTo>
                    <a:pt x="9" y="4"/>
                  </a:lnTo>
                  <a:lnTo>
                    <a:pt x="5" y="6"/>
                  </a:lnTo>
                  <a:lnTo>
                    <a:pt x="1" y="10"/>
                  </a:lnTo>
                  <a:lnTo>
                    <a:pt x="0" y="14"/>
                  </a:lnTo>
                  <a:lnTo>
                    <a:pt x="0" y="15"/>
                  </a:lnTo>
                  <a:lnTo>
                    <a:pt x="1" y="18"/>
                  </a:lnTo>
                  <a:lnTo>
                    <a:pt x="4" y="19"/>
                  </a:lnTo>
                  <a:lnTo>
                    <a:pt x="8" y="20"/>
                  </a:lnTo>
                  <a:lnTo>
                    <a:pt x="12" y="21"/>
                  </a:lnTo>
                  <a:lnTo>
                    <a:pt x="14" y="23"/>
                  </a:lnTo>
                  <a:lnTo>
                    <a:pt x="15" y="26"/>
                  </a:lnTo>
                  <a:lnTo>
                    <a:pt x="18" y="29"/>
                  </a:lnTo>
                  <a:lnTo>
                    <a:pt x="20" y="31"/>
                  </a:lnTo>
                  <a:lnTo>
                    <a:pt x="24" y="31"/>
                  </a:lnTo>
                  <a:lnTo>
                    <a:pt x="31" y="32"/>
                  </a:lnTo>
                  <a:lnTo>
                    <a:pt x="37" y="33"/>
                  </a:lnTo>
                  <a:lnTo>
                    <a:pt x="38" y="34"/>
                  </a:lnTo>
                  <a:lnTo>
                    <a:pt x="39" y="37"/>
                  </a:lnTo>
                  <a:lnTo>
                    <a:pt x="38" y="40"/>
                  </a:lnTo>
                  <a:lnTo>
                    <a:pt x="37" y="43"/>
                  </a:lnTo>
                  <a:lnTo>
                    <a:pt x="36" y="44"/>
                  </a:lnTo>
                  <a:lnTo>
                    <a:pt x="33" y="45"/>
                  </a:lnTo>
                  <a:lnTo>
                    <a:pt x="31" y="44"/>
                  </a:lnTo>
                  <a:lnTo>
                    <a:pt x="22" y="42"/>
                  </a:lnTo>
                  <a:lnTo>
                    <a:pt x="17" y="40"/>
                  </a:lnTo>
                  <a:lnTo>
                    <a:pt x="12" y="39"/>
                  </a:lnTo>
                  <a:lnTo>
                    <a:pt x="10" y="40"/>
                  </a:lnTo>
                  <a:lnTo>
                    <a:pt x="6" y="42"/>
                  </a:lnTo>
                  <a:lnTo>
                    <a:pt x="5" y="43"/>
                  </a:lnTo>
                  <a:lnTo>
                    <a:pt x="5" y="44"/>
                  </a:lnTo>
                  <a:lnTo>
                    <a:pt x="8" y="45"/>
                  </a:lnTo>
                  <a:lnTo>
                    <a:pt x="12" y="47"/>
                  </a:lnTo>
                  <a:lnTo>
                    <a:pt x="15" y="50"/>
                  </a:lnTo>
                  <a:lnTo>
                    <a:pt x="19" y="57"/>
                  </a:lnTo>
                  <a:lnTo>
                    <a:pt x="23" y="64"/>
                  </a:lnTo>
                  <a:lnTo>
                    <a:pt x="27" y="70"/>
                  </a:lnTo>
                  <a:lnTo>
                    <a:pt x="28" y="71"/>
                  </a:lnTo>
                  <a:lnTo>
                    <a:pt x="29" y="70"/>
                  </a:lnTo>
                  <a:lnTo>
                    <a:pt x="33" y="65"/>
                  </a:lnTo>
                  <a:lnTo>
                    <a:pt x="36" y="58"/>
                  </a:lnTo>
                  <a:lnTo>
                    <a:pt x="39" y="52"/>
                  </a:lnTo>
                  <a:lnTo>
                    <a:pt x="41" y="51"/>
                  </a:lnTo>
                  <a:lnTo>
                    <a:pt x="43" y="52"/>
                  </a:lnTo>
                  <a:lnTo>
                    <a:pt x="45" y="53"/>
                  </a:lnTo>
                  <a:lnTo>
                    <a:pt x="46" y="56"/>
                  </a:lnTo>
                  <a:lnTo>
                    <a:pt x="46" y="65"/>
                  </a:lnTo>
                  <a:lnTo>
                    <a:pt x="48" y="69"/>
                  </a:lnTo>
                  <a:lnTo>
                    <a:pt x="51" y="71"/>
                  </a:lnTo>
                  <a:lnTo>
                    <a:pt x="65" y="77"/>
                  </a:lnTo>
                  <a:lnTo>
                    <a:pt x="73" y="81"/>
                  </a:lnTo>
                  <a:lnTo>
                    <a:pt x="79" y="85"/>
                  </a:lnTo>
                  <a:lnTo>
                    <a:pt x="81" y="87"/>
                  </a:lnTo>
                  <a:lnTo>
                    <a:pt x="85" y="87"/>
                  </a:lnTo>
                  <a:lnTo>
                    <a:pt x="89" y="87"/>
                  </a:lnTo>
                  <a:lnTo>
                    <a:pt x="93" y="88"/>
                  </a:lnTo>
                  <a:lnTo>
                    <a:pt x="100" y="93"/>
                  </a:lnTo>
                  <a:lnTo>
                    <a:pt x="106" y="98"/>
                  </a:lnTo>
                  <a:lnTo>
                    <a:pt x="112" y="104"/>
                  </a:lnTo>
                  <a:lnTo>
                    <a:pt x="116" y="110"/>
                  </a:lnTo>
                  <a:lnTo>
                    <a:pt x="121" y="117"/>
                  </a:lnTo>
                  <a:lnTo>
                    <a:pt x="125" y="126"/>
                  </a:lnTo>
                  <a:lnTo>
                    <a:pt x="128" y="134"/>
                  </a:lnTo>
                  <a:lnTo>
                    <a:pt x="133" y="141"/>
                  </a:lnTo>
                  <a:lnTo>
                    <a:pt x="133" y="142"/>
                  </a:lnTo>
                  <a:lnTo>
                    <a:pt x="133" y="145"/>
                  </a:lnTo>
                  <a:lnTo>
                    <a:pt x="132" y="147"/>
                  </a:lnTo>
                  <a:lnTo>
                    <a:pt x="131" y="151"/>
                  </a:lnTo>
                  <a:lnTo>
                    <a:pt x="131" y="152"/>
                  </a:lnTo>
                  <a:lnTo>
                    <a:pt x="135" y="154"/>
                  </a:lnTo>
                  <a:lnTo>
                    <a:pt x="139" y="155"/>
                  </a:lnTo>
                  <a:lnTo>
                    <a:pt x="144" y="155"/>
                  </a:lnTo>
                  <a:lnTo>
                    <a:pt x="149" y="154"/>
                  </a:lnTo>
                  <a:lnTo>
                    <a:pt x="150" y="154"/>
                  </a:lnTo>
                  <a:lnTo>
                    <a:pt x="151" y="155"/>
                  </a:lnTo>
                  <a:lnTo>
                    <a:pt x="155" y="158"/>
                  </a:lnTo>
                  <a:lnTo>
                    <a:pt x="160" y="162"/>
                  </a:lnTo>
                  <a:lnTo>
                    <a:pt x="168" y="16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1" name="Freeform 860"/>
            <p:cNvSpPr>
              <a:spLocks/>
            </p:cNvSpPr>
            <p:nvPr/>
          </p:nvSpPr>
          <p:spPr bwMode="auto">
            <a:xfrm>
              <a:off x="2867025" y="5373689"/>
              <a:ext cx="138113" cy="165100"/>
            </a:xfrm>
            <a:custGeom>
              <a:avLst/>
              <a:gdLst>
                <a:gd name="T0" fmla="*/ 0 w 95"/>
                <a:gd name="T1" fmla="*/ 2147483647 h 104"/>
                <a:gd name="T2" fmla="*/ 0 w 95"/>
                <a:gd name="T3" fmla="*/ 2147483647 h 104"/>
                <a:gd name="T4" fmla="*/ 2147483647 w 95"/>
                <a:gd name="T5" fmla="*/ 2147483647 h 104"/>
                <a:gd name="T6" fmla="*/ 2147483647 w 95"/>
                <a:gd name="T7" fmla="*/ 2147483647 h 104"/>
                <a:gd name="T8" fmla="*/ 2147483647 w 95"/>
                <a:gd name="T9" fmla="*/ 2147483647 h 104"/>
                <a:gd name="T10" fmla="*/ 2147483647 w 95"/>
                <a:gd name="T11" fmla="*/ 2147483647 h 104"/>
                <a:gd name="T12" fmla="*/ 2147483647 w 95"/>
                <a:gd name="T13" fmla="*/ 2147483647 h 104"/>
                <a:gd name="T14" fmla="*/ 2147483647 w 95"/>
                <a:gd name="T15" fmla="*/ 2147483647 h 104"/>
                <a:gd name="T16" fmla="*/ 2147483647 w 95"/>
                <a:gd name="T17" fmla="*/ 2147483647 h 104"/>
                <a:gd name="T18" fmla="*/ 2147483647 w 95"/>
                <a:gd name="T19" fmla="*/ 2147483647 h 104"/>
                <a:gd name="T20" fmla="*/ 2147483647 w 95"/>
                <a:gd name="T21" fmla="*/ 2147483647 h 104"/>
                <a:gd name="T22" fmla="*/ 2147483647 w 95"/>
                <a:gd name="T23" fmla="*/ 2147483647 h 104"/>
                <a:gd name="T24" fmla="*/ 2147483647 w 95"/>
                <a:gd name="T25" fmla="*/ 0 h 104"/>
                <a:gd name="T26" fmla="*/ 2147483647 w 95"/>
                <a:gd name="T27" fmla="*/ 0 h 104"/>
                <a:gd name="T28" fmla="*/ 2147483647 w 95"/>
                <a:gd name="T29" fmla="*/ 2147483647 h 104"/>
                <a:gd name="T30" fmla="*/ 2147483647 w 95"/>
                <a:gd name="T31" fmla="*/ 2147483647 h 104"/>
                <a:gd name="T32" fmla="*/ 2147483647 w 95"/>
                <a:gd name="T33" fmla="*/ 2147483647 h 104"/>
                <a:gd name="T34" fmla="*/ 2147483647 w 95"/>
                <a:gd name="T35" fmla="*/ 2147483647 h 104"/>
                <a:gd name="T36" fmla="*/ 2147483647 w 95"/>
                <a:gd name="T37" fmla="*/ 2147483647 h 104"/>
                <a:gd name="T38" fmla="*/ 2147483647 w 95"/>
                <a:gd name="T39" fmla="*/ 2147483647 h 104"/>
                <a:gd name="T40" fmla="*/ 2147483647 w 95"/>
                <a:gd name="T41" fmla="*/ 2147483647 h 104"/>
                <a:gd name="T42" fmla="*/ 2147483647 w 95"/>
                <a:gd name="T43" fmla="*/ 2147483647 h 104"/>
                <a:gd name="T44" fmla="*/ 2147483647 w 95"/>
                <a:gd name="T45" fmla="*/ 2147483647 h 104"/>
                <a:gd name="T46" fmla="*/ 2147483647 w 95"/>
                <a:gd name="T47" fmla="*/ 2147483647 h 104"/>
                <a:gd name="T48" fmla="*/ 2147483647 w 95"/>
                <a:gd name="T49" fmla="*/ 2147483647 h 104"/>
                <a:gd name="T50" fmla="*/ 2147483647 w 95"/>
                <a:gd name="T51" fmla="*/ 2147483647 h 104"/>
                <a:gd name="T52" fmla="*/ 2147483647 w 95"/>
                <a:gd name="T53" fmla="*/ 2147483647 h 104"/>
                <a:gd name="T54" fmla="*/ 2147483647 w 95"/>
                <a:gd name="T55" fmla="*/ 2147483647 h 104"/>
                <a:gd name="T56" fmla="*/ 2147483647 w 95"/>
                <a:gd name="T57" fmla="*/ 2147483647 h 104"/>
                <a:gd name="T58" fmla="*/ 2147483647 w 95"/>
                <a:gd name="T59" fmla="*/ 2147483647 h 104"/>
                <a:gd name="T60" fmla="*/ 2147483647 w 95"/>
                <a:gd name="T61" fmla="*/ 2147483647 h 104"/>
                <a:gd name="T62" fmla="*/ 2147483647 w 95"/>
                <a:gd name="T63" fmla="*/ 2147483647 h 104"/>
                <a:gd name="T64" fmla="*/ 2147483647 w 95"/>
                <a:gd name="T65" fmla="*/ 2147483647 h 104"/>
                <a:gd name="T66" fmla="*/ 2147483647 w 95"/>
                <a:gd name="T67" fmla="*/ 2147483647 h 104"/>
                <a:gd name="T68" fmla="*/ 2147483647 w 95"/>
                <a:gd name="T69" fmla="*/ 2147483647 h 104"/>
                <a:gd name="T70" fmla="*/ 2147483647 w 95"/>
                <a:gd name="T71" fmla="*/ 2147483647 h 104"/>
                <a:gd name="T72" fmla="*/ 2147483647 w 95"/>
                <a:gd name="T73" fmla="*/ 2147483647 h 104"/>
                <a:gd name="T74" fmla="*/ 2147483647 w 95"/>
                <a:gd name="T75" fmla="*/ 2147483647 h 104"/>
                <a:gd name="T76" fmla="*/ 2147483647 w 95"/>
                <a:gd name="T77" fmla="*/ 2147483647 h 104"/>
                <a:gd name="T78" fmla="*/ 2147483647 w 95"/>
                <a:gd name="T79" fmla="*/ 2147483647 h 104"/>
                <a:gd name="T80" fmla="*/ 2147483647 w 95"/>
                <a:gd name="T81" fmla="*/ 2147483647 h 104"/>
                <a:gd name="T82" fmla="*/ 2147483647 w 95"/>
                <a:gd name="T83" fmla="*/ 2147483647 h 104"/>
                <a:gd name="T84" fmla="*/ 2147483647 w 95"/>
                <a:gd name="T85" fmla="*/ 2147483647 h 104"/>
                <a:gd name="T86" fmla="*/ 2147483647 w 95"/>
                <a:gd name="T87" fmla="*/ 2147483647 h 104"/>
                <a:gd name="T88" fmla="*/ 2147483647 w 95"/>
                <a:gd name="T89" fmla="*/ 2147483647 h 104"/>
                <a:gd name="T90" fmla="*/ 2147483647 w 95"/>
                <a:gd name="T91" fmla="*/ 2147483647 h 104"/>
                <a:gd name="T92" fmla="*/ 2147483647 w 95"/>
                <a:gd name="T93" fmla="*/ 2147483647 h 104"/>
                <a:gd name="T94" fmla="*/ 2147483647 w 95"/>
                <a:gd name="T95" fmla="*/ 2147483647 h 104"/>
                <a:gd name="T96" fmla="*/ 2147483647 w 95"/>
                <a:gd name="T97" fmla="*/ 2147483647 h 104"/>
                <a:gd name="T98" fmla="*/ 2147483647 w 95"/>
                <a:gd name="T99" fmla="*/ 2147483647 h 104"/>
                <a:gd name="T100" fmla="*/ 0 w 95"/>
                <a:gd name="T101" fmla="*/ 2147483647 h 104"/>
                <a:gd name="T102" fmla="*/ 0 w 95"/>
                <a:gd name="T103" fmla="*/ 2147483647 h 104"/>
                <a:gd name="T104" fmla="*/ 0 w 95"/>
                <a:gd name="T105" fmla="*/ 2147483647 h 1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5"/>
                <a:gd name="T160" fmla="*/ 0 h 104"/>
                <a:gd name="T161" fmla="*/ 95 w 95"/>
                <a:gd name="T162" fmla="*/ 104 h 1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5" h="104">
                  <a:moveTo>
                    <a:pt x="0" y="61"/>
                  </a:moveTo>
                  <a:lnTo>
                    <a:pt x="0" y="61"/>
                  </a:lnTo>
                  <a:lnTo>
                    <a:pt x="2" y="55"/>
                  </a:lnTo>
                  <a:lnTo>
                    <a:pt x="3" y="53"/>
                  </a:lnTo>
                  <a:lnTo>
                    <a:pt x="5" y="51"/>
                  </a:lnTo>
                  <a:lnTo>
                    <a:pt x="5" y="31"/>
                  </a:lnTo>
                  <a:lnTo>
                    <a:pt x="5" y="21"/>
                  </a:lnTo>
                  <a:lnTo>
                    <a:pt x="7" y="12"/>
                  </a:lnTo>
                  <a:lnTo>
                    <a:pt x="11" y="6"/>
                  </a:lnTo>
                  <a:lnTo>
                    <a:pt x="14" y="0"/>
                  </a:lnTo>
                  <a:lnTo>
                    <a:pt x="16" y="1"/>
                  </a:lnTo>
                  <a:lnTo>
                    <a:pt x="17" y="2"/>
                  </a:lnTo>
                  <a:lnTo>
                    <a:pt x="22" y="2"/>
                  </a:lnTo>
                  <a:lnTo>
                    <a:pt x="26" y="2"/>
                  </a:lnTo>
                  <a:lnTo>
                    <a:pt x="27" y="3"/>
                  </a:lnTo>
                  <a:lnTo>
                    <a:pt x="36" y="13"/>
                  </a:lnTo>
                  <a:lnTo>
                    <a:pt x="44" y="20"/>
                  </a:lnTo>
                  <a:lnTo>
                    <a:pt x="54" y="26"/>
                  </a:lnTo>
                  <a:lnTo>
                    <a:pt x="69" y="33"/>
                  </a:lnTo>
                  <a:lnTo>
                    <a:pt x="76" y="38"/>
                  </a:lnTo>
                  <a:lnTo>
                    <a:pt x="82" y="44"/>
                  </a:lnTo>
                  <a:lnTo>
                    <a:pt x="86" y="58"/>
                  </a:lnTo>
                  <a:lnTo>
                    <a:pt x="88" y="64"/>
                  </a:lnTo>
                  <a:lnTo>
                    <a:pt x="95" y="71"/>
                  </a:lnTo>
                  <a:lnTo>
                    <a:pt x="83" y="82"/>
                  </a:lnTo>
                  <a:lnTo>
                    <a:pt x="74" y="95"/>
                  </a:lnTo>
                  <a:lnTo>
                    <a:pt x="69" y="99"/>
                  </a:lnTo>
                  <a:lnTo>
                    <a:pt x="64" y="102"/>
                  </a:lnTo>
                  <a:lnTo>
                    <a:pt x="58" y="104"/>
                  </a:lnTo>
                  <a:lnTo>
                    <a:pt x="52" y="103"/>
                  </a:lnTo>
                  <a:lnTo>
                    <a:pt x="45" y="102"/>
                  </a:lnTo>
                  <a:lnTo>
                    <a:pt x="38" y="101"/>
                  </a:lnTo>
                  <a:lnTo>
                    <a:pt x="26" y="96"/>
                  </a:lnTo>
                  <a:lnTo>
                    <a:pt x="12" y="91"/>
                  </a:lnTo>
                  <a:lnTo>
                    <a:pt x="8" y="88"/>
                  </a:lnTo>
                  <a:lnTo>
                    <a:pt x="5" y="85"/>
                  </a:lnTo>
                  <a:lnTo>
                    <a:pt x="3" y="82"/>
                  </a:lnTo>
                  <a:lnTo>
                    <a:pt x="1" y="78"/>
                  </a:lnTo>
                  <a:lnTo>
                    <a:pt x="0" y="70"/>
                  </a:lnTo>
                  <a:lnTo>
                    <a:pt x="0" y="6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2" name="Freeform 861"/>
            <p:cNvSpPr>
              <a:spLocks/>
            </p:cNvSpPr>
            <p:nvPr/>
          </p:nvSpPr>
          <p:spPr bwMode="auto">
            <a:xfrm>
              <a:off x="3062291" y="4398967"/>
              <a:ext cx="26987" cy="26987"/>
            </a:xfrm>
            <a:custGeom>
              <a:avLst/>
              <a:gdLst>
                <a:gd name="T0" fmla="*/ 2147483647 w 18"/>
                <a:gd name="T1" fmla="*/ 2147483647 h 17"/>
                <a:gd name="T2" fmla="*/ 2147483647 w 18"/>
                <a:gd name="T3" fmla="*/ 2147483647 h 17"/>
                <a:gd name="T4" fmla="*/ 2147483647 w 18"/>
                <a:gd name="T5" fmla="*/ 2147483647 h 17"/>
                <a:gd name="T6" fmla="*/ 2147483647 w 18"/>
                <a:gd name="T7" fmla="*/ 2147483647 h 17"/>
                <a:gd name="T8" fmla="*/ 2147483647 w 18"/>
                <a:gd name="T9" fmla="*/ 2147483647 h 17"/>
                <a:gd name="T10" fmla="*/ 2147483647 w 18"/>
                <a:gd name="T11" fmla="*/ 0 h 17"/>
                <a:gd name="T12" fmla="*/ 2147483647 w 18"/>
                <a:gd name="T13" fmla="*/ 2147483647 h 17"/>
                <a:gd name="T14" fmla="*/ 2147483647 w 18"/>
                <a:gd name="T15" fmla="*/ 2147483647 h 17"/>
                <a:gd name="T16" fmla="*/ 2147483647 w 18"/>
                <a:gd name="T17" fmla="*/ 2147483647 h 17"/>
                <a:gd name="T18" fmla="*/ 2147483647 w 18"/>
                <a:gd name="T19" fmla="*/ 2147483647 h 17"/>
                <a:gd name="T20" fmla="*/ 0 w 18"/>
                <a:gd name="T21" fmla="*/ 2147483647 h 17"/>
                <a:gd name="T22" fmla="*/ 0 w 18"/>
                <a:gd name="T23" fmla="*/ 2147483647 h 17"/>
                <a:gd name="T24" fmla="*/ 2147483647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7"/>
                <a:gd name="T53" fmla="*/ 18 w 18"/>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7">
                  <a:moveTo>
                    <a:pt x="9" y="13"/>
                  </a:moveTo>
                  <a:lnTo>
                    <a:pt x="14" y="10"/>
                  </a:lnTo>
                  <a:lnTo>
                    <a:pt x="18" y="8"/>
                  </a:lnTo>
                  <a:lnTo>
                    <a:pt x="18" y="6"/>
                  </a:lnTo>
                  <a:lnTo>
                    <a:pt x="17" y="1"/>
                  </a:lnTo>
                  <a:lnTo>
                    <a:pt x="14" y="0"/>
                  </a:lnTo>
                  <a:lnTo>
                    <a:pt x="13" y="1"/>
                  </a:lnTo>
                  <a:lnTo>
                    <a:pt x="10" y="3"/>
                  </a:lnTo>
                  <a:lnTo>
                    <a:pt x="5" y="8"/>
                  </a:lnTo>
                  <a:lnTo>
                    <a:pt x="1" y="13"/>
                  </a:lnTo>
                  <a:lnTo>
                    <a:pt x="0" y="15"/>
                  </a:lnTo>
                  <a:lnTo>
                    <a:pt x="0" y="16"/>
                  </a:lnTo>
                  <a:lnTo>
                    <a:pt x="1" y="17"/>
                  </a:lnTo>
                  <a:lnTo>
                    <a:pt x="3" y="17"/>
                  </a:lnTo>
                  <a:lnTo>
                    <a:pt x="5" y="16"/>
                  </a:lnTo>
                  <a:lnTo>
                    <a:pt x="7" y="14"/>
                  </a:lnTo>
                  <a:lnTo>
                    <a:pt x="9"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3" name="Freeform 862"/>
            <p:cNvSpPr>
              <a:spLocks/>
            </p:cNvSpPr>
            <p:nvPr/>
          </p:nvSpPr>
          <p:spPr bwMode="auto">
            <a:xfrm>
              <a:off x="3040064" y="4433888"/>
              <a:ext cx="15875" cy="25400"/>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0 w 10"/>
                <a:gd name="T9" fmla="*/ 2147483647 h 16"/>
                <a:gd name="T10" fmla="*/ 0 w 10"/>
                <a:gd name="T11" fmla="*/ 2147483647 h 16"/>
                <a:gd name="T12" fmla="*/ 0 w 10"/>
                <a:gd name="T13" fmla="*/ 2147483647 h 16"/>
                <a:gd name="T14" fmla="*/ 2147483647 w 10"/>
                <a:gd name="T15" fmla="*/ 2147483647 h 16"/>
                <a:gd name="T16" fmla="*/ 2147483647 w 10"/>
                <a:gd name="T17" fmla="*/ 2147483647 h 16"/>
                <a:gd name="T18" fmla="*/ 2147483647 w 10"/>
                <a:gd name="T19" fmla="*/ 0 h 16"/>
                <a:gd name="T20" fmla="*/ 2147483647 w 10"/>
                <a:gd name="T21" fmla="*/ 2147483647 h 16"/>
                <a:gd name="T22" fmla="*/ 2147483647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2"/>
                  </a:moveTo>
                  <a:lnTo>
                    <a:pt x="6" y="13"/>
                  </a:lnTo>
                  <a:lnTo>
                    <a:pt x="4" y="14"/>
                  </a:lnTo>
                  <a:lnTo>
                    <a:pt x="2" y="16"/>
                  </a:lnTo>
                  <a:lnTo>
                    <a:pt x="0" y="14"/>
                  </a:lnTo>
                  <a:lnTo>
                    <a:pt x="0" y="12"/>
                  </a:lnTo>
                  <a:lnTo>
                    <a:pt x="0" y="10"/>
                  </a:lnTo>
                  <a:lnTo>
                    <a:pt x="2" y="6"/>
                  </a:lnTo>
                  <a:lnTo>
                    <a:pt x="6" y="3"/>
                  </a:lnTo>
                  <a:lnTo>
                    <a:pt x="10" y="0"/>
                  </a:lnTo>
                  <a:lnTo>
                    <a:pt x="9" y="3"/>
                  </a:lnTo>
                  <a:lnTo>
                    <a:pt x="9" y="6"/>
                  </a:lnTo>
                  <a:lnTo>
                    <a:pt x="9" y="10"/>
                  </a:lnTo>
                  <a:lnTo>
                    <a:pt x="8" y="11"/>
                  </a:lnTo>
                  <a:lnTo>
                    <a:pt x="6"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4" name="Freeform 863"/>
            <p:cNvSpPr>
              <a:spLocks/>
            </p:cNvSpPr>
            <p:nvPr/>
          </p:nvSpPr>
          <p:spPr bwMode="auto">
            <a:xfrm>
              <a:off x="3060702" y="4395789"/>
              <a:ext cx="26988" cy="28575"/>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0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0 w 18"/>
                <a:gd name="T29" fmla="*/ 2147483647 h 18"/>
                <a:gd name="T30" fmla="*/ 0 w 18"/>
                <a:gd name="T31" fmla="*/ 2147483647 h 18"/>
                <a:gd name="T32" fmla="*/ 0 w 18"/>
                <a:gd name="T33" fmla="*/ 2147483647 h 18"/>
                <a:gd name="T34" fmla="*/ 2147483647 w 18"/>
                <a:gd name="T35" fmla="*/ 2147483647 h 18"/>
                <a:gd name="T36" fmla="*/ 2147483647 w 18"/>
                <a:gd name="T37" fmla="*/ 2147483647 h 18"/>
                <a:gd name="T38" fmla="*/ 2147483647 w 18"/>
                <a:gd name="T39" fmla="*/ 2147483647 h 18"/>
                <a:gd name="T40" fmla="*/ 2147483647 w 18"/>
                <a:gd name="T41" fmla="*/ 2147483647 h 18"/>
                <a:gd name="T42" fmla="*/ 2147483647 w 18"/>
                <a:gd name="T43" fmla="*/ 2147483647 h 18"/>
                <a:gd name="T44" fmla="*/ 2147483647 w 18"/>
                <a:gd name="T45" fmla="*/ 2147483647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18"/>
                <a:gd name="T71" fmla="*/ 18 w 18"/>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18">
                  <a:moveTo>
                    <a:pt x="9" y="14"/>
                  </a:moveTo>
                  <a:lnTo>
                    <a:pt x="9" y="14"/>
                  </a:lnTo>
                  <a:lnTo>
                    <a:pt x="14" y="11"/>
                  </a:lnTo>
                  <a:lnTo>
                    <a:pt x="18" y="9"/>
                  </a:lnTo>
                  <a:lnTo>
                    <a:pt x="18" y="6"/>
                  </a:lnTo>
                  <a:lnTo>
                    <a:pt x="16" y="2"/>
                  </a:lnTo>
                  <a:lnTo>
                    <a:pt x="14" y="0"/>
                  </a:lnTo>
                  <a:lnTo>
                    <a:pt x="13" y="2"/>
                  </a:lnTo>
                  <a:lnTo>
                    <a:pt x="10" y="4"/>
                  </a:lnTo>
                  <a:lnTo>
                    <a:pt x="5" y="9"/>
                  </a:lnTo>
                  <a:lnTo>
                    <a:pt x="1" y="14"/>
                  </a:lnTo>
                  <a:lnTo>
                    <a:pt x="0" y="16"/>
                  </a:lnTo>
                  <a:lnTo>
                    <a:pt x="0" y="17"/>
                  </a:lnTo>
                  <a:lnTo>
                    <a:pt x="1" y="18"/>
                  </a:lnTo>
                  <a:lnTo>
                    <a:pt x="2" y="18"/>
                  </a:lnTo>
                  <a:lnTo>
                    <a:pt x="5" y="17"/>
                  </a:lnTo>
                  <a:lnTo>
                    <a:pt x="6" y="15"/>
                  </a:lnTo>
                  <a:lnTo>
                    <a:pt x="9"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5" name="Freeform 864"/>
            <p:cNvSpPr>
              <a:spLocks/>
            </p:cNvSpPr>
            <p:nvPr/>
          </p:nvSpPr>
          <p:spPr bwMode="auto">
            <a:xfrm>
              <a:off x="3038476" y="4432303"/>
              <a:ext cx="15875" cy="23813"/>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2147483647 h 15"/>
                <a:gd name="T14" fmla="*/ 0 w 10"/>
                <a:gd name="T15" fmla="*/ 2147483647 h 15"/>
                <a:gd name="T16" fmla="*/ 0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2147483647 w 10"/>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5"/>
                <a:gd name="T65" fmla="*/ 10 w 10"/>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5">
                  <a:moveTo>
                    <a:pt x="6" y="12"/>
                  </a:moveTo>
                  <a:lnTo>
                    <a:pt x="6" y="12"/>
                  </a:lnTo>
                  <a:lnTo>
                    <a:pt x="6" y="13"/>
                  </a:lnTo>
                  <a:lnTo>
                    <a:pt x="3" y="14"/>
                  </a:lnTo>
                  <a:lnTo>
                    <a:pt x="2" y="15"/>
                  </a:lnTo>
                  <a:lnTo>
                    <a:pt x="0" y="14"/>
                  </a:lnTo>
                  <a:lnTo>
                    <a:pt x="0" y="12"/>
                  </a:lnTo>
                  <a:lnTo>
                    <a:pt x="0" y="9"/>
                  </a:lnTo>
                  <a:lnTo>
                    <a:pt x="2" y="6"/>
                  </a:lnTo>
                  <a:lnTo>
                    <a:pt x="6" y="2"/>
                  </a:lnTo>
                  <a:lnTo>
                    <a:pt x="10" y="0"/>
                  </a:lnTo>
                  <a:lnTo>
                    <a:pt x="9" y="2"/>
                  </a:lnTo>
                  <a:lnTo>
                    <a:pt x="9" y="6"/>
                  </a:lnTo>
                  <a:lnTo>
                    <a:pt x="9" y="9"/>
                  </a:lnTo>
                  <a:lnTo>
                    <a:pt x="7" y="11"/>
                  </a:lnTo>
                  <a:lnTo>
                    <a:pt x="6"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6" name="Freeform 865"/>
            <p:cNvSpPr>
              <a:spLocks/>
            </p:cNvSpPr>
            <p:nvPr/>
          </p:nvSpPr>
          <p:spPr bwMode="auto">
            <a:xfrm>
              <a:off x="2474915" y="4252918"/>
              <a:ext cx="993775" cy="1235075"/>
            </a:xfrm>
            <a:custGeom>
              <a:avLst/>
              <a:gdLst>
                <a:gd name="T0" fmla="*/ 2147483647 w 678"/>
                <a:gd name="T1" fmla="*/ 2147483647 h 778"/>
                <a:gd name="T2" fmla="*/ 2147483647 w 678"/>
                <a:gd name="T3" fmla="*/ 2147483647 h 778"/>
                <a:gd name="T4" fmla="*/ 2147483647 w 678"/>
                <a:gd name="T5" fmla="*/ 2147483647 h 778"/>
                <a:gd name="T6" fmla="*/ 2147483647 w 678"/>
                <a:gd name="T7" fmla="*/ 2147483647 h 778"/>
                <a:gd name="T8" fmla="*/ 2147483647 w 678"/>
                <a:gd name="T9" fmla="*/ 2147483647 h 778"/>
                <a:gd name="T10" fmla="*/ 2147483647 w 678"/>
                <a:gd name="T11" fmla="*/ 2147483647 h 778"/>
                <a:gd name="T12" fmla="*/ 2147483647 w 678"/>
                <a:gd name="T13" fmla="*/ 2147483647 h 778"/>
                <a:gd name="T14" fmla="*/ 2147483647 w 678"/>
                <a:gd name="T15" fmla="*/ 2147483647 h 778"/>
                <a:gd name="T16" fmla="*/ 2147483647 w 678"/>
                <a:gd name="T17" fmla="*/ 2147483647 h 778"/>
                <a:gd name="T18" fmla="*/ 2147483647 w 678"/>
                <a:gd name="T19" fmla="*/ 2147483647 h 778"/>
                <a:gd name="T20" fmla="*/ 2147483647 w 678"/>
                <a:gd name="T21" fmla="*/ 2147483647 h 778"/>
                <a:gd name="T22" fmla="*/ 2147483647 w 678"/>
                <a:gd name="T23" fmla="*/ 2147483647 h 778"/>
                <a:gd name="T24" fmla="*/ 2147483647 w 678"/>
                <a:gd name="T25" fmla="*/ 2147483647 h 778"/>
                <a:gd name="T26" fmla="*/ 2147483647 w 678"/>
                <a:gd name="T27" fmla="*/ 2147483647 h 778"/>
                <a:gd name="T28" fmla="*/ 2147483647 w 678"/>
                <a:gd name="T29" fmla="*/ 2147483647 h 778"/>
                <a:gd name="T30" fmla="*/ 2147483647 w 678"/>
                <a:gd name="T31" fmla="*/ 2147483647 h 778"/>
                <a:gd name="T32" fmla="*/ 2147483647 w 678"/>
                <a:gd name="T33" fmla="*/ 2147483647 h 778"/>
                <a:gd name="T34" fmla="*/ 2147483647 w 678"/>
                <a:gd name="T35" fmla="*/ 2147483647 h 778"/>
                <a:gd name="T36" fmla="*/ 2147483647 w 678"/>
                <a:gd name="T37" fmla="*/ 2147483647 h 778"/>
                <a:gd name="T38" fmla="*/ 2147483647 w 678"/>
                <a:gd name="T39" fmla="*/ 2147483647 h 778"/>
                <a:gd name="T40" fmla="*/ 2147483647 w 678"/>
                <a:gd name="T41" fmla="*/ 2147483647 h 778"/>
                <a:gd name="T42" fmla="*/ 2147483647 w 678"/>
                <a:gd name="T43" fmla="*/ 2147483647 h 778"/>
                <a:gd name="T44" fmla="*/ 2147483647 w 678"/>
                <a:gd name="T45" fmla="*/ 2147483647 h 778"/>
                <a:gd name="T46" fmla="*/ 2147483647 w 678"/>
                <a:gd name="T47" fmla="*/ 2147483647 h 778"/>
                <a:gd name="T48" fmla="*/ 2147483647 w 678"/>
                <a:gd name="T49" fmla="*/ 2147483647 h 778"/>
                <a:gd name="T50" fmla="*/ 2147483647 w 678"/>
                <a:gd name="T51" fmla="*/ 2147483647 h 778"/>
                <a:gd name="T52" fmla="*/ 2147483647 w 678"/>
                <a:gd name="T53" fmla="*/ 2147483647 h 778"/>
                <a:gd name="T54" fmla="*/ 2147483647 w 678"/>
                <a:gd name="T55" fmla="*/ 2147483647 h 778"/>
                <a:gd name="T56" fmla="*/ 2147483647 w 678"/>
                <a:gd name="T57" fmla="*/ 2147483647 h 778"/>
                <a:gd name="T58" fmla="*/ 2147483647 w 678"/>
                <a:gd name="T59" fmla="*/ 2147483647 h 778"/>
                <a:gd name="T60" fmla="*/ 2147483647 w 678"/>
                <a:gd name="T61" fmla="*/ 2147483647 h 778"/>
                <a:gd name="T62" fmla="*/ 2147483647 w 678"/>
                <a:gd name="T63" fmla="*/ 2147483647 h 778"/>
                <a:gd name="T64" fmla="*/ 2147483647 w 678"/>
                <a:gd name="T65" fmla="*/ 2147483647 h 778"/>
                <a:gd name="T66" fmla="*/ 2147483647 w 678"/>
                <a:gd name="T67" fmla="*/ 2147483647 h 778"/>
                <a:gd name="T68" fmla="*/ 2147483647 w 678"/>
                <a:gd name="T69" fmla="*/ 2147483647 h 778"/>
                <a:gd name="T70" fmla="*/ 2147483647 w 678"/>
                <a:gd name="T71" fmla="*/ 2147483647 h 778"/>
                <a:gd name="T72" fmla="*/ 2147483647 w 678"/>
                <a:gd name="T73" fmla="*/ 2147483647 h 778"/>
                <a:gd name="T74" fmla="*/ 2147483647 w 678"/>
                <a:gd name="T75" fmla="*/ 2147483647 h 778"/>
                <a:gd name="T76" fmla="*/ 2147483647 w 678"/>
                <a:gd name="T77" fmla="*/ 2147483647 h 778"/>
                <a:gd name="T78" fmla="*/ 2147483647 w 678"/>
                <a:gd name="T79" fmla="*/ 2147483647 h 778"/>
                <a:gd name="T80" fmla="*/ 2147483647 w 678"/>
                <a:gd name="T81" fmla="*/ 2147483647 h 778"/>
                <a:gd name="T82" fmla="*/ 2147483647 w 678"/>
                <a:gd name="T83" fmla="*/ 2147483647 h 778"/>
                <a:gd name="T84" fmla="*/ 2147483647 w 678"/>
                <a:gd name="T85" fmla="*/ 2147483647 h 778"/>
                <a:gd name="T86" fmla="*/ 2147483647 w 678"/>
                <a:gd name="T87" fmla="*/ 2147483647 h 778"/>
                <a:gd name="T88" fmla="*/ 2147483647 w 678"/>
                <a:gd name="T89" fmla="*/ 2147483647 h 778"/>
                <a:gd name="T90" fmla="*/ 2147483647 w 678"/>
                <a:gd name="T91" fmla="*/ 2147483647 h 778"/>
                <a:gd name="T92" fmla="*/ 2147483647 w 678"/>
                <a:gd name="T93" fmla="*/ 2147483647 h 778"/>
                <a:gd name="T94" fmla="*/ 2147483647 w 678"/>
                <a:gd name="T95" fmla="*/ 2147483647 h 778"/>
                <a:gd name="T96" fmla="*/ 2147483647 w 678"/>
                <a:gd name="T97" fmla="*/ 2147483647 h 778"/>
                <a:gd name="T98" fmla="*/ 2147483647 w 678"/>
                <a:gd name="T99" fmla="*/ 2147483647 h 778"/>
                <a:gd name="T100" fmla="*/ 2147483647 w 678"/>
                <a:gd name="T101" fmla="*/ 2147483647 h 778"/>
                <a:gd name="T102" fmla="*/ 2147483647 w 678"/>
                <a:gd name="T103" fmla="*/ 2147483647 h 778"/>
                <a:gd name="T104" fmla="*/ 2147483647 w 678"/>
                <a:gd name="T105" fmla="*/ 2147483647 h 778"/>
                <a:gd name="T106" fmla="*/ 2147483647 w 678"/>
                <a:gd name="T107" fmla="*/ 2147483647 h 778"/>
                <a:gd name="T108" fmla="*/ 2147483647 w 678"/>
                <a:gd name="T109" fmla="*/ 2147483647 h 778"/>
                <a:gd name="T110" fmla="*/ 2147483647 w 678"/>
                <a:gd name="T111" fmla="*/ 0 h 778"/>
                <a:gd name="T112" fmla="*/ 2147483647 w 678"/>
                <a:gd name="T113" fmla="*/ 2147483647 h 778"/>
                <a:gd name="T114" fmla="*/ 2147483647 w 678"/>
                <a:gd name="T115" fmla="*/ 2147483647 h 778"/>
                <a:gd name="T116" fmla="*/ 2147483647 w 678"/>
                <a:gd name="T117" fmla="*/ 2147483647 h 778"/>
                <a:gd name="T118" fmla="*/ 2147483647 w 678"/>
                <a:gd name="T119" fmla="*/ 2147483647 h 778"/>
                <a:gd name="T120" fmla="*/ 2147483647 w 678"/>
                <a:gd name="T121" fmla="*/ 2147483647 h 778"/>
                <a:gd name="T122" fmla="*/ 2147483647 w 678"/>
                <a:gd name="T123" fmla="*/ 2147483647 h 77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8"/>
                <a:gd name="T187" fmla="*/ 0 h 778"/>
                <a:gd name="T188" fmla="*/ 678 w 678"/>
                <a:gd name="T189" fmla="*/ 778 h 77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8" h="778">
                  <a:moveTo>
                    <a:pt x="388" y="12"/>
                  </a:moveTo>
                  <a:lnTo>
                    <a:pt x="392" y="22"/>
                  </a:lnTo>
                  <a:lnTo>
                    <a:pt x="396" y="31"/>
                  </a:lnTo>
                  <a:lnTo>
                    <a:pt x="397" y="42"/>
                  </a:lnTo>
                  <a:lnTo>
                    <a:pt x="400" y="55"/>
                  </a:lnTo>
                  <a:lnTo>
                    <a:pt x="401" y="58"/>
                  </a:lnTo>
                  <a:lnTo>
                    <a:pt x="405" y="62"/>
                  </a:lnTo>
                  <a:lnTo>
                    <a:pt x="406" y="64"/>
                  </a:lnTo>
                  <a:lnTo>
                    <a:pt x="409" y="66"/>
                  </a:lnTo>
                  <a:lnTo>
                    <a:pt x="414" y="68"/>
                  </a:lnTo>
                  <a:lnTo>
                    <a:pt x="418" y="69"/>
                  </a:lnTo>
                  <a:lnTo>
                    <a:pt x="418" y="71"/>
                  </a:lnTo>
                  <a:lnTo>
                    <a:pt x="418" y="74"/>
                  </a:lnTo>
                  <a:lnTo>
                    <a:pt x="416" y="81"/>
                  </a:lnTo>
                  <a:lnTo>
                    <a:pt x="414" y="85"/>
                  </a:lnTo>
                  <a:lnTo>
                    <a:pt x="411" y="88"/>
                  </a:lnTo>
                  <a:lnTo>
                    <a:pt x="402" y="94"/>
                  </a:lnTo>
                  <a:lnTo>
                    <a:pt x="401" y="98"/>
                  </a:lnTo>
                  <a:lnTo>
                    <a:pt x="399" y="100"/>
                  </a:lnTo>
                  <a:lnTo>
                    <a:pt x="392" y="105"/>
                  </a:lnTo>
                  <a:lnTo>
                    <a:pt x="388" y="111"/>
                  </a:lnTo>
                  <a:lnTo>
                    <a:pt x="381" y="122"/>
                  </a:lnTo>
                  <a:lnTo>
                    <a:pt x="374" y="128"/>
                  </a:lnTo>
                  <a:lnTo>
                    <a:pt x="371" y="132"/>
                  </a:lnTo>
                  <a:lnTo>
                    <a:pt x="369" y="137"/>
                  </a:lnTo>
                  <a:lnTo>
                    <a:pt x="371" y="138"/>
                  </a:lnTo>
                  <a:lnTo>
                    <a:pt x="372" y="139"/>
                  </a:lnTo>
                  <a:lnTo>
                    <a:pt x="374" y="138"/>
                  </a:lnTo>
                  <a:lnTo>
                    <a:pt x="378" y="138"/>
                  </a:lnTo>
                  <a:lnTo>
                    <a:pt x="385" y="137"/>
                  </a:lnTo>
                  <a:lnTo>
                    <a:pt x="390" y="136"/>
                  </a:lnTo>
                  <a:lnTo>
                    <a:pt x="395" y="133"/>
                  </a:lnTo>
                  <a:lnTo>
                    <a:pt x="399" y="130"/>
                  </a:lnTo>
                  <a:lnTo>
                    <a:pt x="402" y="125"/>
                  </a:lnTo>
                  <a:lnTo>
                    <a:pt x="405" y="120"/>
                  </a:lnTo>
                  <a:lnTo>
                    <a:pt x="410" y="111"/>
                  </a:lnTo>
                  <a:lnTo>
                    <a:pt x="411" y="109"/>
                  </a:lnTo>
                  <a:lnTo>
                    <a:pt x="413" y="108"/>
                  </a:lnTo>
                  <a:lnTo>
                    <a:pt x="427" y="108"/>
                  </a:lnTo>
                  <a:lnTo>
                    <a:pt x="441" y="107"/>
                  </a:lnTo>
                  <a:lnTo>
                    <a:pt x="442" y="107"/>
                  </a:lnTo>
                  <a:lnTo>
                    <a:pt x="442" y="108"/>
                  </a:lnTo>
                  <a:lnTo>
                    <a:pt x="442" y="112"/>
                  </a:lnTo>
                  <a:lnTo>
                    <a:pt x="439" y="121"/>
                  </a:lnTo>
                  <a:lnTo>
                    <a:pt x="437" y="125"/>
                  </a:lnTo>
                  <a:lnTo>
                    <a:pt x="434" y="127"/>
                  </a:lnTo>
                  <a:lnTo>
                    <a:pt x="429" y="131"/>
                  </a:lnTo>
                  <a:lnTo>
                    <a:pt x="424" y="136"/>
                  </a:lnTo>
                  <a:lnTo>
                    <a:pt x="421" y="140"/>
                  </a:lnTo>
                  <a:lnTo>
                    <a:pt x="420" y="143"/>
                  </a:lnTo>
                  <a:lnTo>
                    <a:pt x="421" y="146"/>
                  </a:lnTo>
                  <a:lnTo>
                    <a:pt x="421" y="147"/>
                  </a:lnTo>
                  <a:lnTo>
                    <a:pt x="423" y="147"/>
                  </a:lnTo>
                  <a:lnTo>
                    <a:pt x="428" y="143"/>
                  </a:lnTo>
                  <a:lnTo>
                    <a:pt x="433" y="139"/>
                  </a:lnTo>
                  <a:lnTo>
                    <a:pt x="438" y="137"/>
                  </a:lnTo>
                  <a:lnTo>
                    <a:pt x="444" y="133"/>
                  </a:lnTo>
                  <a:lnTo>
                    <a:pt x="446" y="131"/>
                  </a:lnTo>
                  <a:lnTo>
                    <a:pt x="446" y="127"/>
                  </a:lnTo>
                  <a:lnTo>
                    <a:pt x="447" y="124"/>
                  </a:lnTo>
                  <a:lnTo>
                    <a:pt x="447" y="121"/>
                  </a:lnTo>
                  <a:lnTo>
                    <a:pt x="448" y="119"/>
                  </a:lnTo>
                  <a:lnTo>
                    <a:pt x="451" y="117"/>
                  </a:lnTo>
                  <a:lnTo>
                    <a:pt x="454" y="117"/>
                  </a:lnTo>
                  <a:lnTo>
                    <a:pt x="463" y="119"/>
                  </a:lnTo>
                  <a:lnTo>
                    <a:pt x="468" y="120"/>
                  </a:lnTo>
                  <a:lnTo>
                    <a:pt x="474" y="122"/>
                  </a:lnTo>
                  <a:lnTo>
                    <a:pt x="479" y="124"/>
                  </a:lnTo>
                  <a:lnTo>
                    <a:pt x="484" y="125"/>
                  </a:lnTo>
                  <a:lnTo>
                    <a:pt x="494" y="127"/>
                  </a:lnTo>
                  <a:lnTo>
                    <a:pt x="498" y="130"/>
                  </a:lnTo>
                  <a:lnTo>
                    <a:pt x="503" y="133"/>
                  </a:lnTo>
                  <a:lnTo>
                    <a:pt x="504" y="134"/>
                  </a:lnTo>
                  <a:lnTo>
                    <a:pt x="504" y="137"/>
                  </a:lnTo>
                  <a:lnTo>
                    <a:pt x="504" y="140"/>
                  </a:lnTo>
                  <a:lnTo>
                    <a:pt x="504" y="145"/>
                  </a:lnTo>
                  <a:lnTo>
                    <a:pt x="504" y="150"/>
                  </a:lnTo>
                  <a:lnTo>
                    <a:pt x="505" y="153"/>
                  </a:lnTo>
                  <a:lnTo>
                    <a:pt x="504" y="157"/>
                  </a:lnTo>
                  <a:lnTo>
                    <a:pt x="503" y="159"/>
                  </a:lnTo>
                  <a:lnTo>
                    <a:pt x="503" y="163"/>
                  </a:lnTo>
                  <a:lnTo>
                    <a:pt x="505" y="164"/>
                  </a:lnTo>
                  <a:lnTo>
                    <a:pt x="508" y="164"/>
                  </a:lnTo>
                  <a:lnTo>
                    <a:pt x="510" y="162"/>
                  </a:lnTo>
                  <a:lnTo>
                    <a:pt x="512" y="159"/>
                  </a:lnTo>
                  <a:lnTo>
                    <a:pt x="513" y="153"/>
                  </a:lnTo>
                  <a:lnTo>
                    <a:pt x="514" y="151"/>
                  </a:lnTo>
                  <a:lnTo>
                    <a:pt x="515" y="151"/>
                  </a:lnTo>
                  <a:lnTo>
                    <a:pt x="517" y="151"/>
                  </a:lnTo>
                  <a:lnTo>
                    <a:pt x="519" y="153"/>
                  </a:lnTo>
                  <a:lnTo>
                    <a:pt x="521" y="153"/>
                  </a:lnTo>
                  <a:lnTo>
                    <a:pt x="524" y="153"/>
                  </a:lnTo>
                  <a:lnTo>
                    <a:pt x="528" y="156"/>
                  </a:lnTo>
                  <a:lnTo>
                    <a:pt x="531" y="157"/>
                  </a:lnTo>
                  <a:lnTo>
                    <a:pt x="534" y="158"/>
                  </a:lnTo>
                  <a:lnTo>
                    <a:pt x="540" y="158"/>
                  </a:lnTo>
                  <a:lnTo>
                    <a:pt x="542" y="158"/>
                  </a:lnTo>
                  <a:lnTo>
                    <a:pt x="545" y="159"/>
                  </a:lnTo>
                  <a:lnTo>
                    <a:pt x="548" y="162"/>
                  </a:lnTo>
                  <a:lnTo>
                    <a:pt x="554" y="163"/>
                  </a:lnTo>
                  <a:lnTo>
                    <a:pt x="557" y="163"/>
                  </a:lnTo>
                  <a:lnTo>
                    <a:pt x="561" y="163"/>
                  </a:lnTo>
                  <a:lnTo>
                    <a:pt x="570" y="160"/>
                  </a:lnTo>
                  <a:lnTo>
                    <a:pt x="578" y="158"/>
                  </a:lnTo>
                  <a:lnTo>
                    <a:pt x="580" y="158"/>
                  </a:lnTo>
                  <a:lnTo>
                    <a:pt x="581" y="159"/>
                  </a:lnTo>
                  <a:lnTo>
                    <a:pt x="584" y="162"/>
                  </a:lnTo>
                  <a:lnTo>
                    <a:pt x="587" y="163"/>
                  </a:lnTo>
                  <a:lnTo>
                    <a:pt x="589" y="163"/>
                  </a:lnTo>
                  <a:lnTo>
                    <a:pt x="590" y="163"/>
                  </a:lnTo>
                  <a:lnTo>
                    <a:pt x="593" y="163"/>
                  </a:lnTo>
                  <a:lnTo>
                    <a:pt x="594" y="164"/>
                  </a:lnTo>
                  <a:lnTo>
                    <a:pt x="597" y="166"/>
                  </a:lnTo>
                  <a:lnTo>
                    <a:pt x="601" y="170"/>
                  </a:lnTo>
                  <a:lnTo>
                    <a:pt x="608" y="176"/>
                  </a:lnTo>
                  <a:lnTo>
                    <a:pt x="614" y="183"/>
                  </a:lnTo>
                  <a:lnTo>
                    <a:pt x="621" y="189"/>
                  </a:lnTo>
                  <a:lnTo>
                    <a:pt x="627" y="196"/>
                  </a:lnTo>
                  <a:lnTo>
                    <a:pt x="631" y="198"/>
                  </a:lnTo>
                  <a:lnTo>
                    <a:pt x="635" y="200"/>
                  </a:lnTo>
                  <a:lnTo>
                    <a:pt x="642" y="201"/>
                  </a:lnTo>
                  <a:lnTo>
                    <a:pt x="651" y="202"/>
                  </a:lnTo>
                  <a:lnTo>
                    <a:pt x="655" y="203"/>
                  </a:lnTo>
                  <a:lnTo>
                    <a:pt x="659" y="204"/>
                  </a:lnTo>
                  <a:lnTo>
                    <a:pt x="663" y="207"/>
                  </a:lnTo>
                  <a:lnTo>
                    <a:pt x="665" y="210"/>
                  </a:lnTo>
                  <a:lnTo>
                    <a:pt x="668" y="215"/>
                  </a:lnTo>
                  <a:lnTo>
                    <a:pt x="669" y="219"/>
                  </a:lnTo>
                  <a:lnTo>
                    <a:pt x="669" y="223"/>
                  </a:lnTo>
                  <a:lnTo>
                    <a:pt x="670" y="227"/>
                  </a:lnTo>
                  <a:lnTo>
                    <a:pt x="675" y="236"/>
                  </a:lnTo>
                  <a:lnTo>
                    <a:pt x="678" y="246"/>
                  </a:lnTo>
                  <a:lnTo>
                    <a:pt x="678" y="255"/>
                  </a:lnTo>
                  <a:lnTo>
                    <a:pt x="678" y="265"/>
                  </a:lnTo>
                  <a:lnTo>
                    <a:pt x="675" y="274"/>
                  </a:lnTo>
                  <a:lnTo>
                    <a:pt x="672" y="284"/>
                  </a:lnTo>
                  <a:lnTo>
                    <a:pt x="667" y="292"/>
                  </a:lnTo>
                  <a:lnTo>
                    <a:pt x="660" y="299"/>
                  </a:lnTo>
                  <a:lnTo>
                    <a:pt x="656" y="301"/>
                  </a:lnTo>
                  <a:lnTo>
                    <a:pt x="653" y="304"/>
                  </a:lnTo>
                  <a:lnTo>
                    <a:pt x="648" y="310"/>
                  </a:lnTo>
                  <a:lnTo>
                    <a:pt x="644" y="313"/>
                  </a:lnTo>
                  <a:lnTo>
                    <a:pt x="640" y="317"/>
                  </a:lnTo>
                  <a:lnTo>
                    <a:pt x="637" y="320"/>
                  </a:lnTo>
                  <a:lnTo>
                    <a:pt x="635" y="325"/>
                  </a:lnTo>
                  <a:lnTo>
                    <a:pt x="634" y="329"/>
                  </a:lnTo>
                  <a:lnTo>
                    <a:pt x="631" y="331"/>
                  </a:lnTo>
                  <a:lnTo>
                    <a:pt x="628" y="337"/>
                  </a:lnTo>
                  <a:lnTo>
                    <a:pt x="625" y="344"/>
                  </a:lnTo>
                  <a:lnTo>
                    <a:pt x="621" y="349"/>
                  </a:lnTo>
                  <a:lnTo>
                    <a:pt x="614" y="352"/>
                  </a:lnTo>
                  <a:lnTo>
                    <a:pt x="608" y="357"/>
                  </a:lnTo>
                  <a:lnTo>
                    <a:pt x="606" y="361"/>
                  </a:lnTo>
                  <a:lnTo>
                    <a:pt x="604" y="367"/>
                  </a:lnTo>
                  <a:lnTo>
                    <a:pt x="606" y="373"/>
                  </a:lnTo>
                  <a:lnTo>
                    <a:pt x="604" y="380"/>
                  </a:lnTo>
                  <a:lnTo>
                    <a:pt x="604" y="387"/>
                  </a:lnTo>
                  <a:lnTo>
                    <a:pt x="602" y="392"/>
                  </a:lnTo>
                  <a:lnTo>
                    <a:pt x="602" y="396"/>
                  </a:lnTo>
                  <a:lnTo>
                    <a:pt x="602" y="399"/>
                  </a:lnTo>
                  <a:lnTo>
                    <a:pt x="603" y="401"/>
                  </a:lnTo>
                  <a:lnTo>
                    <a:pt x="604" y="405"/>
                  </a:lnTo>
                  <a:lnTo>
                    <a:pt x="606" y="411"/>
                  </a:lnTo>
                  <a:lnTo>
                    <a:pt x="606" y="413"/>
                  </a:lnTo>
                  <a:lnTo>
                    <a:pt x="606" y="415"/>
                  </a:lnTo>
                  <a:lnTo>
                    <a:pt x="603" y="421"/>
                  </a:lnTo>
                  <a:lnTo>
                    <a:pt x="601" y="428"/>
                  </a:lnTo>
                  <a:lnTo>
                    <a:pt x="601" y="435"/>
                  </a:lnTo>
                  <a:lnTo>
                    <a:pt x="601" y="441"/>
                  </a:lnTo>
                  <a:lnTo>
                    <a:pt x="601" y="444"/>
                  </a:lnTo>
                  <a:lnTo>
                    <a:pt x="599" y="446"/>
                  </a:lnTo>
                  <a:lnTo>
                    <a:pt x="598" y="447"/>
                  </a:lnTo>
                  <a:lnTo>
                    <a:pt x="598" y="450"/>
                  </a:lnTo>
                  <a:lnTo>
                    <a:pt x="601" y="454"/>
                  </a:lnTo>
                  <a:lnTo>
                    <a:pt x="598" y="462"/>
                  </a:lnTo>
                  <a:lnTo>
                    <a:pt x="597" y="469"/>
                  </a:lnTo>
                  <a:lnTo>
                    <a:pt x="598" y="476"/>
                  </a:lnTo>
                  <a:lnTo>
                    <a:pt x="598" y="479"/>
                  </a:lnTo>
                  <a:lnTo>
                    <a:pt x="595" y="484"/>
                  </a:lnTo>
                  <a:lnTo>
                    <a:pt x="592" y="489"/>
                  </a:lnTo>
                  <a:lnTo>
                    <a:pt x="587" y="492"/>
                  </a:lnTo>
                  <a:lnTo>
                    <a:pt x="583" y="497"/>
                  </a:lnTo>
                  <a:lnTo>
                    <a:pt x="581" y="499"/>
                  </a:lnTo>
                  <a:lnTo>
                    <a:pt x="581" y="501"/>
                  </a:lnTo>
                  <a:lnTo>
                    <a:pt x="580" y="507"/>
                  </a:lnTo>
                  <a:lnTo>
                    <a:pt x="579" y="511"/>
                  </a:lnTo>
                  <a:lnTo>
                    <a:pt x="576" y="513"/>
                  </a:lnTo>
                  <a:lnTo>
                    <a:pt x="574" y="513"/>
                  </a:lnTo>
                  <a:lnTo>
                    <a:pt x="574" y="514"/>
                  </a:lnTo>
                  <a:lnTo>
                    <a:pt x="571" y="518"/>
                  </a:lnTo>
                  <a:lnTo>
                    <a:pt x="570" y="523"/>
                  </a:lnTo>
                  <a:lnTo>
                    <a:pt x="569" y="527"/>
                  </a:lnTo>
                  <a:lnTo>
                    <a:pt x="566" y="529"/>
                  </a:lnTo>
                  <a:lnTo>
                    <a:pt x="565" y="531"/>
                  </a:lnTo>
                  <a:lnTo>
                    <a:pt x="566" y="533"/>
                  </a:lnTo>
                  <a:lnTo>
                    <a:pt x="569" y="537"/>
                  </a:lnTo>
                  <a:lnTo>
                    <a:pt x="569" y="540"/>
                  </a:lnTo>
                  <a:lnTo>
                    <a:pt x="569" y="542"/>
                  </a:lnTo>
                  <a:lnTo>
                    <a:pt x="562" y="547"/>
                  </a:lnTo>
                  <a:lnTo>
                    <a:pt x="559" y="549"/>
                  </a:lnTo>
                  <a:lnTo>
                    <a:pt x="555" y="549"/>
                  </a:lnTo>
                  <a:lnTo>
                    <a:pt x="554" y="550"/>
                  </a:lnTo>
                  <a:lnTo>
                    <a:pt x="551" y="552"/>
                  </a:lnTo>
                  <a:lnTo>
                    <a:pt x="550" y="558"/>
                  </a:lnTo>
                  <a:lnTo>
                    <a:pt x="548" y="559"/>
                  </a:lnTo>
                  <a:lnTo>
                    <a:pt x="546" y="558"/>
                  </a:lnTo>
                  <a:lnTo>
                    <a:pt x="541" y="556"/>
                  </a:lnTo>
                  <a:lnTo>
                    <a:pt x="536" y="555"/>
                  </a:lnTo>
                  <a:lnTo>
                    <a:pt x="526" y="556"/>
                  </a:lnTo>
                  <a:lnTo>
                    <a:pt x="517" y="559"/>
                  </a:lnTo>
                  <a:lnTo>
                    <a:pt x="507" y="560"/>
                  </a:lnTo>
                  <a:lnTo>
                    <a:pt x="505" y="561"/>
                  </a:lnTo>
                  <a:lnTo>
                    <a:pt x="505" y="564"/>
                  </a:lnTo>
                  <a:lnTo>
                    <a:pt x="507" y="566"/>
                  </a:lnTo>
                  <a:lnTo>
                    <a:pt x="507" y="568"/>
                  </a:lnTo>
                  <a:lnTo>
                    <a:pt x="505" y="569"/>
                  </a:lnTo>
                  <a:lnTo>
                    <a:pt x="503" y="568"/>
                  </a:lnTo>
                  <a:lnTo>
                    <a:pt x="500" y="568"/>
                  </a:lnTo>
                  <a:lnTo>
                    <a:pt x="499" y="568"/>
                  </a:lnTo>
                  <a:lnTo>
                    <a:pt x="495" y="574"/>
                  </a:lnTo>
                  <a:lnTo>
                    <a:pt x="490" y="578"/>
                  </a:lnTo>
                  <a:lnTo>
                    <a:pt x="485" y="578"/>
                  </a:lnTo>
                  <a:lnTo>
                    <a:pt x="477" y="577"/>
                  </a:lnTo>
                  <a:lnTo>
                    <a:pt x="472" y="578"/>
                  </a:lnTo>
                  <a:lnTo>
                    <a:pt x="470" y="580"/>
                  </a:lnTo>
                  <a:lnTo>
                    <a:pt x="468" y="584"/>
                  </a:lnTo>
                  <a:lnTo>
                    <a:pt x="467" y="588"/>
                  </a:lnTo>
                  <a:lnTo>
                    <a:pt x="466" y="591"/>
                  </a:lnTo>
                  <a:lnTo>
                    <a:pt x="463" y="592"/>
                  </a:lnTo>
                  <a:lnTo>
                    <a:pt x="457" y="594"/>
                  </a:lnTo>
                  <a:lnTo>
                    <a:pt x="451" y="598"/>
                  </a:lnTo>
                  <a:lnTo>
                    <a:pt x="447" y="600"/>
                  </a:lnTo>
                  <a:lnTo>
                    <a:pt x="442" y="603"/>
                  </a:lnTo>
                  <a:lnTo>
                    <a:pt x="437" y="607"/>
                  </a:lnTo>
                  <a:lnTo>
                    <a:pt x="433" y="612"/>
                  </a:lnTo>
                  <a:lnTo>
                    <a:pt x="430" y="617"/>
                  </a:lnTo>
                  <a:lnTo>
                    <a:pt x="429" y="623"/>
                  </a:lnTo>
                  <a:lnTo>
                    <a:pt x="428" y="629"/>
                  </a:lnTo>
                  <a:lnTo>
                    <a:pt x="428" y="633"/>
                  </a:lnTo>
                  <a:lnTo>
                    <a:pt x="430" y="638"/>
                  </a:lnTo>
                  <a:lnTo>
                    <a:pt x="433" y="643"/>
                  </a:lnTo>
                  <a:lnTo>
                    <a:pt x="434" y="645"/>
                  </a:lnTo>
                  <a:lnTo>
                    <a:pt x="435" y="649"/>
                  </a:lnTo>
                  <a:lnTo>
                    <a:pt x="435" y="652"/>
                  </a:lnTo>
                  <a:lnTo>
                    <a:pt x="435" y="657"/>
                  </a:lnTo>
                  <a:lnTo>
                    <a:pt x="432" y="664"/>
                  </a:lnTo>
                  <a:lnTo>
                    <a:pt x="428" y="673"/>
                  </a:lnTo>
                  <a:lnTo>
                    <a:pt x="425" y="676"/>
                  </a:lnTo>
                  <a:lnTo>
                    <a:pt x="423" y="679"/>
                  </a:lnTo>
                  <a:lnTo>
                    <a:pt x="420" y="684"/>
                  </a:lnTo>
                  <a:lnTo>
                    <a:pt x="418" y="689"/>
                  </a:lnTo>
                  <a:lnTo>
                    <a:pt x="413" y="693"/>
                  </a:lnTo>
                  <a:lnTo>
                    <a:pt x="409" y="697"/>
                  </a:lnTo>
                  <a:lnTo>
                    <a:pt x="409" y="699"/>
                  </a:lnTo>
                  <a:lnTo>
                    <a:pt x="409" y="700"/>
                  </a:lnTo>
                  <a:lnTo>
                    <a:pt x="409" y="702"/>
                  </a:lnTo>
                  <a:lnTo>
                    <a:pt x="409" y="703"/>
                  </a:lnTo>
                  <a:lnTo>
                    <a:pt x="405" y="707"/>
                  </a:lnTo>
                  <a:lnTo>
                    <a:pt x="405" y="708"/>
                  </a:lnTo>
                  <a:lnTo>
                    <a:pt x="405" y="711"/>
                  </a:lnTo>
                  <a:lnTo>
                    <a:pt x="404" y="714"/>
                  </a:lnTo>
                  <a:lnTo>
                    <a:pt x="402" y="718"/>
                  </a:lnTo>
                  <a:lnTo>
                    <a:pt x="400" y="721"/>
                  </a:lnTo>
                  <a:lnTo>
                    <a:pt x="396" y="728"/>
                  </a:lnTo>
                  <a:lnTo>
                    <a:pt x="392" y="735"/>
                  </a:lnTo>
                  <a:lnTo>
                    <a:pt x="390" y="739"/>
                  </a:lnTo>
                  <a:lnTo>
                    <a:pt x="387" y="741"/>
                  </a:lnTo>
                  <a:lnTo>
                    <a:pt x="385" y="743"/>
                  </a:lnTo>
                  <a:lnTo>
                    <a:pt x="381" y="743"/>
                  </a:lnTo>
                  <a:lnTo>
                    <a:pt x="380" y="743"/>
                  </a:lnTo>
                  <a:lnTo>
                    <a:pt x="381" y="741"/>
                  </a:lnTo>
                  <a:lnTo>
                    <a:pt x="382" y="738"/>
                  </a:lnTo>
                  <a:lnTo>
                    <a:pt x="386" y="734"/>
                  </a:lnTo>
                  <a:lnTo>
                    <a:pt x="388" y="731"/>
                  </a:lnTo>
                  <a:lnTo>
                    <a:pt x="392" y="722"/>
                  </a:lnTo>
                  <a:lnTo>
                    <a:pt x="396" y="713"/>
                  </a:lnTo>
                  <a:lnTo>
                    <a:pt x="396" y="711"/>
                  </a:lnTo>
                  <a:lnTo>
                    <a:pt x="396" y="708"/>
                  </a:lnTo>
                  <a:lnTo>
                    <a:pt x="397" y="705"/>
                  </a:lnTo>
                  <a:lnTo>
                    <a:pt x="397" y="699"/>
                  </a:lnTo>
                  <a:lnTo>
                    <a:pt x="396" y="693"/>
                  </a:lnTo>
                  <a:lnTo>
                    <a:pt x="395" y="693"/>
                  </a:lnTo>
                  <a:lnTo>
                    <a:pt x="394" y="694"/>
                  </a:lnTo>
                  <a:lnTo>
                    <a:pt x="392" y="699"/>
                  </a:lnTo>
                  <a:lnTo>
                    <a:pt x="391" y="702"/>
                  </a:lnTo>
                  <a:lnTo>
                    <a:pt x="387" y="712"/>
                  </a:lnTo>
                  <a:lnTo>
                    <a:pt x="383" y="721"/>
                  </a:lnTo>
                  <a:lnTo>
                    <a:pt x="378" y="731"/>
                  </a:lnTo>
                  <a:lnTo>
                    <a:pt x="374" y="740"/>
                  </a:lnTo>
                  <a:lnTo>
                    <a:pt x="373" y="743"/>
                  </a:lnTo>
                  <a:lnTo>
                    <a:pt x="371" y="746"/>
                  </a:lnTo>
                  <a:lnTo>
                    <a:pt x="369" y="757"/>
                  </a:lnTo>
                  <a:lnTo>
                    <a:pt x="368" y="767"/>
                  </a:lnTo>
                  <a:lnTo>
                    <a:pt x="366" y="773"/>
                  </a:lnTo>
                  <a:lnTo>
                    <a:pt x="363" y="778"/>
                  </a:lnTo>
                  <a:lnTo>
                    <a:pt x="357" y="771"/>
                  </a:lnTo>
                  <a:lnTo>
                    <a:pt x="354" y="765"/>
                  </a:lnTo>
                  <a:lnTo>
                    <a:pt x="350" y="751"/>
                  </a:lnTo>
                  <a:lnTo>
                    <a:pt x="344" y="745"/>
                  </a:lnTo>
                  <a:lnTo>
                    <a:pt x="338" y="740"/>
                  </a:lnTo>
                  <a:lnTo>
                    <a:pt x="322" y="733"/>
                  </a:lnTo>
                  <a:lnTo>
                    <a:pt x="312" y="727"/>
                  </a:lnTo>
                  <a:lnTo>
                    <a:pt x="305" y="720"/>
                  </a:lnTo>
                  <a:lnTo>
                    <a:pt x="296" y="711"/>
                  </a:lnTo>
                  <a:lnTo>
                    <a:pt x="294" y="709"/>
                  </a:lnTo>
                  <a:lnTo>
                    <a:pt x="291" y="709"/>
                  </a:lnTo>
                  <a:lnTo>
                    <a:pt x="286" y="709"/>
                  </a:lnTo>
                  <a:lnTo>
                    <a:pt x="284" y="708"/>
                  </a:lnTo>
                  <a:lnTo>
                    <a:pt x="282" y="707"/>
                  </a:lnTo>
                  <a:lnTo>
                    <a:pt x="284" y="703"/>
                  </a:lnTo>
                  <a:lnTo>
                    <a:pt x="287" y="700"/>
                  </a:lnTo>
                  <a:lnTo>
                    <a:pt x="291" y="695"/>
                  </a:lnTo>
                  <a:lnTo>
                    <a:pt x="293" y="690"/>
                  </a:lnTo>
                  <a:lnTo>
                    <a:pt x="298" y="680"/>
                  </a:lnTo>
                  <a:lnTo>
                    <a:pt x="300" y="679"/>
                  </a:lnTo>
                  <a:lnTo>
                    <a:pt x="301" y="677"/>
                  </a:lnTo>
                  <a:lnTo>
                    <a:pt x="307" y="676"/>
                  </a:lnTo>
                  <a:lnTo>
                    <a:pt x="312" y="673"/>
                  </a:lnTo>
                  <a:lnTo>
                    <a:pt x="329" y="657"/>
                  </a:lnTo>
                  <a:lnTo>
                    <a:pt x="336" y="649"/>
                  </a:lnTo>
                  <a:lnTo>
                    <a:pt x="347" y="643"/>
                  </a:lnTo>
                  <a:lnTo>
                    <a:pt x="348" y="642"/>
                  </a:lnTo>
                  <a:lnTo>
                    <a:pt x="348" y="641"/>
                  </a:lnTo>
                  <a:lnTo>
                    <a:pt x="349" y="637"/>
                  </a:lnTo>
                  <a:lnTo>
                    <a:pt x="348" y="631"/>
                  </a:lnTo>
                  <a:lnTo>
                    <a:pt x="348" y="625"/>
                  </a:lnTo>
                  <a:lnTo>
                    <a:pt x="347" y="619"/>
                  </a:lnTo>
                  <a:lnTo>
                    <a:pt x="348" y="613"/>
                  </a:lnTo>
                  <a:lnTo>
                    <a:pt x="343" y="613"/>
                  </a:lnTo>
                  <a:lnTo>
                    <a:pt x="339" y="613"/>
                  </a:lnTo>
                  <a:lnTo>
                    <a:pt x="330" y="612"/>
                  </a:lnTo>
                  <a:lnTo>
                    <a:pt x="331" y="603"/>
                  </a:lnTo>
                  <a:lnTo>
                    <a:pt x="334" y="592"/>
                  </a:lnTo>
                  <a:lnTo>
                    <a:pt x="338" y="582"/>
                  </a:lnTo>
                  <a:lnTo>
                    <a:pt x="340" y="572"/>
                  </a:lnTo>
                  <a:lnTo>
                    <a:pt x="336" y="574"/>
                  </a:lnTo>
                  <a:lnTo>
                    <a:pt x="330" y="575"/>
                  </a:lnTo>
                  <a:lnTo>
                    <a:pt x="326" y="577"/>
                  </a:lnTo>
                  <a:lnTo>
                    <a:pt x="324" y="575"/>
                  </a:lnTo>
                  <a:lnTo>
                    <a:pt x="321" y="574"/>
                  </a:lnTo>
                  <a:lnTo>
                    <a:pt x="320" y="571"/>
                  </a:lnTo>
                  <a:lnTo>
                    <a:pt x="321" y="556"/>
                  </a:lnTo>
                  <a:lnTo>
                    <a:pt x="320" y="549"/>
                  </a:lnTo>
                  <a:lnTo>
                    <a:pt x="317" y="546"/>
                  </a:lnTo>
                  <a:lnTo>
                    <a:pt x="315" y="543"/>
                  </a:lnTo>
                  <a:lnTo>
                    <a:pt x="310" y="541"/>
                  </a:lnTo>
                  <a:lnTo>
                    <a:pt x="303" y="539"/>
                  </a:lnTo>
                  <a:lnTo>
                    <a:pt x="292" y="536"/>
                  </a:lnTo>
                  <a:lnTo>
                    <a:pt x="281" y="534"/>
                  </a:lnTo>
                  <a:lnTo>
                    <a:pt x="278" y="533"/>
                  </a:lnTo>
                  <a:lnTo>
                    <a:pt x="277" y="531"/>
                  </a:lnTo>
                  <a:lnTo>
                    <a:pt x="277" y="524"/>
                  </a:lnTo>
                  <a:lnTo>
                    <a:pt x="277" y="514"/>
                  </a:lnTo>
                  <a:lnTo>
                    <a:pt x="277" y="509"/>
                  </a:lnTo>
                  <a:lnTo>
                    <a:pt x="275" y="503"/>
                  </a:lnTo>
                  <a:lnTo>
                    <a:pt x="273" y="498"/>
                  </a:lnTo>
                  <a:lnTo>
                    <a:pt x="269" y="494"/>
                  </a:lnTo>
                  <a:lnTo>
                    <a:pt x="270" y="488"/>
                  </a:lnTo>
                  <a:lnTo>
                    <a:pt x="272" y="482"/>
                  </a:lnTo>
                  <a:lnTo>
                    <a:pt x="274" y="476"/>
                  </a:lnTo>
                  <a:lnTo>
                    <a:pt x="275" y="471"/>
                  </a:lnTo>
                  <a:lnTo>
                    <a:pt x="277" y="465"/>
                  </a:lnTo>
                  <a:lnTo>
                    <a:pt x="277" y="459"/>
                  </a:lnTo>
                  <a:lnTo>
                    <a:pt x="275" y="454"/>
                  </a:lnTo>
                  <a:lnTo>
                    <a:pt x="273" y="449"/>
                  </a:lnTo>
                  <a:lnTo>
                    <a:pt x="269" y="444"/>
                  </a:lnTo>
                  <a:lnTo>
                    <a:pt x="264" y="440"/>
                  </a:lnTo>
                  <a:lnTo>
                    <a:pt x="263" y="439"/>
                  </a:lnTo>
                  <a:lnTo>
                    <a:pt x="264" y="437"/>
                  </a:lnTo>
                  <a:lnTo>
                    <a:pt x="267" y="433"/>
                  </a:lnTo>
                  <a:lnTo>
                    <a:pt x="267" y="428"/>
                  </a:lnTo>
                  <a:lnTo>
                    <a:pt x="264" y="426"/>
                  </a:lnTo>
                  <a:lnTo>
                    <a:pt x="261" y="424"/>
                  </a:lnTo>
                  <a:lnTo>
                    <a:pt x="258" y="422"/>
                  </a:lnTo>
                  <a:lnTo>
                    <a:pt x="249" y="421"/>
                  </a:lnTo>
                  <a:lnTo>
                    <a:pt x="240" y="420"/>
                  </a:lnTo>
                  <a:lnTo>
                    <a:pt x="237" y="418"/>
                  </a:lnTo>
                  <a:lnTo>
                    <a:pt x="236" y="416"/>
                  </a:lnTo>
                  <a:lnTo>
                    <a:pt x="234" y="411"/>
                  </a:lnTo>
                  <a:lnTo>
                    <a:pt x="232" y="405"/>
                  </a:lnTo>
                  <a:lnTo>
                    <a:pt x="234" y="399"/>
                  </a:lnTo>
                  <a:lnTo>
                    <a:pt x="235" y="392"/>
                  </a:lnTo>
                  <a:lnTo>
                    <a:pt x="234" y="386"/>
                  </a:lnTo>
                  <a:lnTo>
                    <a:pt x="230" y="379"/>
                  </a:lnTo>
                  <a:lnTo>
                    <a:pt x="227" y="373"/>
                  </a:lnTo>
                  <a:lnTo>
                    <a:pt x="220" y="370"/>
                  </a:lnTo>
                  <a:lnTo>
                    <a:pt x="212" y="369"/>
                  </a:lnTo>
                  <a:lnTo>
                    <a:pt x="204" y="367"/>
                  </a:lnTo>
                  <a:lnTo>
                    <a:pt x="198" y="362"/>
                  </a:lnTo>
                  <a:lnTo>
                    <a:pt x="189" y="354"/>
                  </a:lnTo>
                  <a:lnTo>
                    <a:pt x="184" y="349"/>
                  </a:lnTo>
                  <a:lnTo>
                    <a:pt x="179" y="345"/>
                  </a:lnTo>
                  <a:lnTo>
                    <a:pt x="161" y="339"/>
                  </a:lnTo>
                  <a:lnTo>
                    <a:pt x="156" y="337"/>
                  </a:lnTo>
                  <a:lnTo>
                    <a:pt x="152" y="335"/>
                  </a:lnTo>
                  <a:lnTo>
                    <a:pt x="150" y="331"/>
                  </a:lnTo>
                  <a:lnTo>
                    <a:pt x="147" y="328"/>
                  </a:lnTo>
                  <a:lnTo>
                    <a:pt x="147" y="322"/>
                  </a:lnTo>
                  <a:lnTo>
                    <a:pt x="146" y="313"/>
                  </a:lnTo>
                  <a:lnTo>
                    <a:pt x="146" y="312"/>
                  </a:lnTo>
                  <a:lnTo>
                    <a:pt x="143" y="311"/>
                  </a:lnTo>
                  <a:lnTo>
                    <a:pt x="141" y="312"/>
                  </a:lnTo>
                  <a:lnTo>
                    <a:pt x="138" y="312"/>
                  </a:lnTo>
                  <a:lnTo>
                    <a:pt x="124" y="315"/>
                  </a:lnTo>
                  <a:lnTo>
                    <a:pt x="119" y="316"/>
                  </a:lnTo>
                  <a:lnTo>
                    <a:pt x="114" y="320"/>
                  </a:lnTo>
                  <a:lnTo>
                    <a:pt x="110" y="324"/>
                  </a:lnTo>
                  <a:lnTo>
                    <a:pt x="99" y="334"/>
                  </a:lnTo>
                  <a:lnTo>
                    <a:pt x="86" y="344"/>
                  </a:lnTo>
                  <a:lnTo>
                    <a:pt x="86" y="338"/>
                  </a:lnTo>
                  <a:lnTo>
                    <a:pt x="85" y="334"/>
                  </a:lnTo>
                  <a:lnTo>
                    <a:pt x="81" y="329"/>
                  </a:lnTo>
                  <a:lnTo>
                    <a:pt x="77" y="325"/>
                  </a:lnTo>
                  <a:lnTo>
                    <a:pt x="68" y="319"/>
                  </a:lnTo>
                  <a:lnTo>
                    <a:pt x="60" y="312"/>
                  </a:lnTo>
                  <a:lnTo>
                    <a:pt x="58" y="310"/>
                  </a:lnTo>
                  <a:lnTo>
                    <a:pt x="57" y="306"/>
                  </a:lnTo>
                  <a:lnTo>
                    <a:pt x="57" y="301"/>
                  </a:lnTo>
                  <a:lnTo>
                    <a:pt x="60" y="297"/>
                  </a:lnTo>
                  <a:lnTo>
                    <a:pt x="60" y="293"/>
                  </a:lnTo>
                  <a:lnTo>
                    <a:pt x="60" y="291"/>
                  </a:lnTo>
                  <a:lnTo>
                    <a:pt x="57" y="290"/>
                  </a:lnTo>
                  <a:lnTo>
                    <a:pt x="56" y="288"/>
                  </a:lnTo>
                  <a:lnTo>
                    <a:pt x="54" y="288"/>
                  </a:lnTo>
                  <a:lnTo>
                    <a:pt x="51" y="290"/>
                  </a:lnTo>
                  <a:lnTo>
                    <a:pt x="43" y="296"/>
                  </a:lnTo>
                  <a:lnTo>
                    <a:pt x="41" y="296"/>
                  </a:lnTo>
                  <a:lnTo>
                    <a:pt x="39" y="294"/>
                  </a:lnTo>
                  <a:lnTo>
                    <a:pt x="35" y="291"/>
                  </a:lnTo>
                  <a:lnTo>
                    <a:pt x="32" y="287"/>
                  </a:lnTo>
                  <a:lnTo>
                    <a:pt x="28" y="285"/>
                  </a:lnTo>
                  <a:lnTo>
                    <a:pt x="25" y="285"/>
                  </a:lnTo>
                  <a:lnTo>
                    <a:pt x="23" y="286"/>
                  </a:lnTo>
                  <a:lnTo>
                    <a:pt x="21" y="285"/>
                  </a:lnTo>
                  <a:lnTo>
                    <a:pt x="20" y="284"/>
                  </a:lnTo>
                  <a:lnTo>
                    <a:pt x="16" y="279"/>
                  </a:lnTo>
                  <a:lnTo>
                    <a:pt x="11" y="273"/>
                  </a:lnTo>
                  <a:lnTo>
                    <a:pt x="10" y="271"/>
                  </a:lnTo>
                  <a:lnTo>
                    <a:pt x="8" y="268"/>
                  </a:lnTo>
                  <a:lnTo>
                    <a:pt x="5" y="267"/>
                  </a:lnTo>
                  <a:lnTo>
                    <a:pt x="2" y="267"/>
                  </a:lnTo>
                  <a:lnTo>
                    <a:pt x="0" y="262"/>
                  </a:lnTo>
                  <a:lnTo>
                    <a:pt x="0" y="258"/>
                  </a:lnTo>
                  <a:lnTo>
                    <a:pt x="1" y="252"/>
                  </a:lnTo>
                  <a:lnTo>
                    <a:pt x="2" y="247"/>
                  </a:lnTo>
                  <a:lnTo>
                    <a:pt x="8" y="235"/>
                  </a:lnTo>
                  <a:lnTo>
                    <a:pt x="13" y="224"/>
                  </a:lnTo>
                  <a:lnTo>
                    <a:pt x="13" y="221"/>
                  </a:lnTo>
                  <a:lnTo>
                    <a:pt x="13" y="217"/>
                  </a:lnTo>
                  <a:lnTo>
                    <a:pt x="15" y="213"/>
                  </a:lnTo>
                  <a:lnTo>
                    <a:pt x="19" y="208"/>
                  </a:lnTo>
                  <a:lnTo>
                    <a:pt x="27" y="200"/>
                  </a:lnTo>
                  <a:lnTo>
                    <a:pt x="37" y="192"/>
                  </a:lnTo>
                  <a:lnTo>
                    <a:pt x="47" y="189"/>
                  </a:lnTo>
                  <a:lnTo>
                    <a:pt x="54" y="188"/>
                  </a:lnTo>
                  <a:lnTo>
                    <a:pt x="63" y="188"/>
                  </a:lnTo>
                  <a:lnTo>
                    <a:pt x="67" y="186"/>
                  </a:lnTo>
                  <a:lnTo>
                    <a:pt x="71" y="185"/>
                  </a:lnTo>
                  <a:lnTo>
                    <a:pt x="74" y="184"/>
                  </a:lnTo>
                  <a:lnTo>
                    <a:pt x="76" y="181"/>
                  </a:lnTo>
                  <a:lnTo>
                    <a:pt x="76" y="179"/>
                  </a:lnTo>
                  <a:lnTo>
                    <a:pt x="75" y="179"/>
                  </a:lnTo>
                  <a:lnTo>
                    <a:pt x="72" y="179"/>
                  </a:lnTo>
                  <a:lnTo>
                    <a:pt x="68" y="179"/>
                  </a:lnTo>
                  <a:lnTo>
                    <a:pt x="65" y="179"/>
                  </a:lnTo>
                  <a:lnTo>
                    <a:pt x="66" y="177"/>
                  </a:lnTo>
                  <a:lnTo>
                    <a:pt x="67" y="173"/>
                  </a:lnTo>
                  <a:lnTo>
                    <a:pt x="70" y="165"/>
                  </a:lnTo>
                  <a:lnTo>
                    <a:pt x="77" y="153"/>
                  </a:lnTo>
                  <a:lnTo>
                    <a:pt x="82" y="140"/>
                  </a:lnTo>
                  <a:lnTo>
                    <a:pt x="85" y="133"/>
                  </a:lnTo>
                  <a:lnTo>
                    <a:pt x="84" y="127"/>
                  </a:lnTo>
                  <a:lnTo>
                    <a:pt x="81" y="121"/>
                  </a:lnTo>
                  <a:lnTo>
                    <a:pt x="80" y="119"/>
                  </a:lnTo>
                  <a:lnTo>
                    <a:pt x="76" y="117"/>
                  </a:lnTo>
                  <a:lnTo>
                    <a:pt x="75" y="115"/>
                  </a:lnTo>
                  <a:lnTo>
                    <a:pt x="75" y="112"/>
                  </a:lnTo>
                  <a:lnTo>
                    <a:pt x="76" y="104"/>
                  </a:lnTo>
                  <a:lnTo>
                    <a:pt x="76" y="101"/>
                  </a:lnTo>
                  <a:lnTo>
                    <a:pt x="79" y="101"/>
                  </a:lnTo>
                  <a:lnTo>
                    <a:pt x="89" y="101"/>
                  </a:lnTo>
                  <a:lnTo>
                    <a:pt x="96" y="99"/>
                  </a:lnTo>
                  <a:lnTo>
                    <a:pt x="100" y="98"/>
                  </a:lnTo>
                  <a:lnTo>
                    <a:pt x="100" y="95"/>
                  </a:lnTo>
                  <a:lnTo>
                    <a:pt x="100" y="94"/>
                  </a:lnTo>
                  <a:lnTo>
                    <a:pt x="99" y="94"/>
                  </a:lnTo>
                  <a:lnTo>
                    <a:pt x="96" y="94"/>
                  </a:lnTo>
                  <a:lnTo>
                    <a:pt x="94" y="90"/>
                  </a:lnTo>
                  <a:lnTo>
                    <a:pt x="91" y="88"/>
                  </a:lnTo>
                  <a:lnTo>
                    <a:pt x="88" y="87"/>
                  </a:lnTo>
                  <a:lnTo>
                    <a:pt x="82" y="87"/>
                  </a:lnTo>
                  <a:lnTo>
                    <a:pt x="80" y="86"/>
                  </a:lnTo>
                  <a:lnTo>
                    <a:pt x="80" y="83"/>
                  </a:lnTo>
                  <a:lnTo>
                    <a:pt x="80" y="81"/>
                  </a:lnTo>
                  <a:lnTo>
                    <a:pt x="82" y="79"/>
                  </a:lnTo>
                  <a:lnTo>
                    <a:pt x="86" y="76"/>
                  </a:lnTo>
                  <a:lnTo>
                    <a:pt x="91" y="75"/>
                  </a:lnTo>
                  <a:lnTo>
                    <a:pt x="100" y="74"/>
                  </a:lnTo>
                  <a:lnTo>
                    <a:pt x="104" y="73"/>
                  </a:lnTo>
                  <a:lnTo>
                    <a:pt x="108" y="70"/>
                  </a:lnTo>
                  <a:lnTo>
                    <a:pt x="110" y="67"/>
                  </a:lnTo>
                  <a:lnTo>
                    <a:pt x="112" y="63"/>
                  </a:lnTo>
                  <a:lnTo>
                    <a:pt x="113" y="61"/>
                  </a:lnTo>
                  <a:lnTo>
                    <a:pt x="115" y="60"/>
                  </a:lnTo>
                  <a:lnTo>
                    <a:pt x="118" y="64"/>
                  </a:lnTo>
                  <a:lnTo>
                    <a:pt x="118" y="69"/>
                  </a:lnTo>
                  <a:lnTo>
                    <a:pt x="119" y="73"/>
                  </a:lnTo>
                  <a:lnTo>
                    <a:pt x="121" y="75"/>
                  </a:lnTo>
                  <a:lnTo>
                    <a:pt x="123" y="75"/>
                  </a:lnTo>
                  <a:lnTo>
                    <a:pt x="126" y="75"/>
                  </a:lnTo>
                  <a:lnTo>
                    <a:pt x="127" y="77"/>
                  </a:lnTo>
                  <a:lnTo>
                    <a:pt x="128" y="80"/>
                  </a:lnTo>
                  <a:lnTo>
                    <a:pt x="131" y="85"/>
                  </a:lnTo>
                  <a:lnTo>
                    <a:pt x="134" y="87"/>
                  </a:lnTo>
                  <a:lnTo>
                    <a:pt x="136" y="88"/>
                  </a:lnTo>
                  <a:lnTo>
                    <a:pt x="138" y="88"/>
                  </a:lnTo>
                  <a:lnTo>
                    <a:pt x="145" y="86"/>
                  </a:lnTo>
                  <a:lnTo>
                    <a:pt x="150" y="83"/>
                  </a:lnTo>
                  <a:lnTo>
                    <a:pt x="156" y="81"/>
                  </a:lnTo>
                  <a:lnTo>
                    <a:pt x="162" y="80"/>
                  </a:lnTo>
                  <a:lnTo>
                    <a:pt x="165" y="79"/>
                  </a:lnTo>
                  <a:lnTo>
                    <a:pt x="165" y="77"/>
                  </a:lnTo>
                  <a:lnTo>
                    <a:pt x="165" y="73"/>
                  </a:lnTo>
                  <a:lnTo>
                    <a:pt x="168" y="68"/>
                  </a:lnTo>
                  <a:lnTo>
                    <a:pt x="171" y="64"/>
                  </a:lnTo>
                  <a:lnTo>
                    <a:pt x="175" y="62"/>
                  </a:lnTo>
                  <a:lnTo>
                    <a:pt x="180" y="60"/>
                  </a:lnTo>
                  <a:lnTo>
                    <a:pt x="181" y="58"/>
                  </a:lnTo>
                  <a:lnTo>
                    <a:pt x="183" y="56"/>
                  </a:lnTo>
                  <a:lnTo>
                    <a:pt x="181" y="55"/>
                  </a:lnTo>
                  <a:lnTo>
                    <a:pt x="180" y="55"/>
                  </a:lnTo>
                  <a:lnTo>
                    <a:pt x="176" y="55"/>
                  </a:lnTo>
                  <a:lnTo>
                    <a:pt x="171" y="55"/>
                  </a:lnTo>
                  <a:lnTo>
                    <a:pt x="168" y="53"/>
                  </a:lnTo>
                  <a:lnTo>
                    <a:pt x="166" y="49"/>
                  </a:lnTo>
                  <a:lnTo>
                    <a:pt x="165" y="42"/>
                  </a:lnTo>
                  <a:lnTo>
                    <a:pt x="162" y="35"/>
                  </a:lnTo>
                  <a:lnTo>
                    <a:pt x="159" y="29"/>
                  </a:lnTo>
                  <a:lnTo>
                    <a:pt x="154" y="23"/>
                  </a:lnTo>
                  <a:lnTo>
                    <a:pt x="154" y="22"/>
                  </a:lnTo>
                  <a:lnTo>
                    <a:pt x="154" y="19"/>
                  </a:lnTo>
                  <a:lnTo>
                    <a:pt x="156" y="18"/>
                  </a:lnTo>
                  <a:lnTo>
                    <a:pt x="162" y="21"/>
                  </a:lnTo>
                  <a:lnTo>
                    <a:pt x="169" y="23"/>
                  </a:lnTo>
                  <a:lnTo>
                    <a:pt x="184" y="26"/>
                  </a:lnTo>
                  <a:lnTo>
                    <a:pt x="187" y="28"/>
                  </a:lnTo>
                  <a:lnTo>
                    <a:pt x="188" y="30"/>
                  </a:lnTo>
                  <a:lnTo>
                    <a:pt x="189" y="29"/>
                  </a:lnTo>
                  <a:lnTo>
                    <a:pt x="193" y="26"/>
                  </a:lnTo>
                  <a:lnTo>
                    <a:pt x="197" y="24"/>
                  </a:lnTo>
                  <a:lnTo>
                    <a:pt x="204" y="22"/>
                  </a:lnTo>
                  <a:lnTo>
                    <a:pt x="209" y="19"/>
                  </a:lnTo>
                  <a:lnTo>
                    <a:pt x="214" y="16"/>
                  </a:lnTo>
                  <a:lnTo>
                    <a:pt x="221" y="13"/>
                  </a:lnTo>
                  <a:lnTo>
                    <a:pt x="227" y="11"/>
                  </a:lnTo>
                  <a:lnTo>
                    <a:pt x="228" y="10"/>
                  </a:lnTo>
                  <a:lnTo>
                    <a:pt x="230" y="6"/>
                  </a:lnTo>
                  <a:lnTo>
                    <a:pt x="230" y="3"/>
                  </a:lnTo>
                  <a:lnTo>
                    <a:pt x="230" y="0"/>
                  </a:lnTo>
                  <a:lnTo>
                    <a:pt x="235" y="0"/>
                  </a:lnTo>
                  <a:lnTo>
                    <a:pt x="239" y="0"/>
                  </a:lnTo>
                  <a:lnTo>
                    <a:pt x="240" y="3"/>
                  </a:lnTo>
                  <a:lnTo>
                    <a:pt x="240" y="5"/>
                  </a:lnTo>
                  <a:lnTo>
                    <a:pt x="241" y="10"/>
                  </a:lnTo>
                  <a:lnTo>
                    <a:pt x="242" y="12"/>
                  </a:lnTo>
                  <a:lnTo>
                    <a:pt x="245" y="15"/>
                  </a:lnTo>
                  <a:lnTo>
                    <a:pt x="250" y="18"/>
                  </a:lnTo>
                  <a:lnTo>
                    <a:pt x="253" y="21"/>
                  </a:lnTo>
                  <a:lnTo>
                    <a:pt x="254" y="23"/>
                  </a:lnTo>
                  <a:lnTo>
                    <a:pt x="254" y="26"/>
                  </a:lnTo>
                  <a:lnTo>
                    <a:pt x="253" y="29"/>
                  </a:lnTo>
                  <a:lnTo>
                    <a:pt x="251" y="31"/>
                  </a:lnTo>
                  <a:lnTo>
                    <a:pt x="249" y="32"/>
                  </a:lnTo>
                  <a:lnTo>
                    <a:pt x="246" y="36"/>
                  </a:lnTo>
                  <a:lnTo>
                    <a:pt x="244" y="39"/>
                  </a:lnTo>
                  <a:lnTo>
                    <a:pt x="244" y="45"/>
                  </a:lnTo>
                  <a:lnTo>
                    <a:pt x="244" y="53"/>
                  </a:lnTo>
                  <a:lnTo>
                    <a:pt x="245" y="58"/>
                  </a:lnTo>
                  <a:lnTo>
                    <a:pt x="248" y="66"/>
                  </a:lnTo>
                  <a:lnTo>
                    <a:pt x="250" y="71"/>
                  </a:lnTo>
                  <a:lnTo>
                    <a:pt x="254" y="77"/>
                  </a:lnTo>
                  <a:lnTo>
                    <a:pt x="258" y="81"/>
                  </a:lnTo>
                  <a:lnTo>
                    <a:pt x="260" y="81"/>
                  </a:lnTo>
                  <a:lnTo>
                    <a:pt x="263" y="79"/>
                  </a:lnTo>
                  <a:lnTo>
                    <a:pt x="268" y="75"/>
                  </a:lnTo>
                  <a:lnTo>
                    <a:pt x="273" y="73"/>
                  </a:lnTo>
                  <a:lnTo>
                    <a:pt x="277" y="73"/>
                  </a:lnTo>
                  <a:lnTo>
                    <a:pt x="281" y="71"/>
                  </a:lnTo>
                  <a:lnTo>
                    <a:pt x="284" y="69"/>
                  </a:lnTo>
                  <a:lnTo>
                    <a:pt x="288" y="68"/>
                  </a:lnTo>
                  <a:lnTo>
                    <a:pt x="292" y="66"/>
                  </a:lnTo>
                  <a:lnTo>
                    <a:pt x="301" y="68"/>
                  </a:lnTo>
                  <a:lnTo>
                    <a:pt x="305" y="67"/>
                  </a:lnTo>
                  <a:lnTo>
                    <a:pt x="306" y="67"/>
                  </a:lnTo>
                  <a:lnTo>
                    <a:pt x="307" y="64"/>
                  </a:lnTo>
                  <a:lnTo>
                    <a:pt x="308" y="60"/>
                  </a:lnTo>
                  <a:lnTo>
                    <a:pt x="308" y="56"/>
                  </a:lnTo>
                  <a:lnTo>
                    <a:pt x="311" y="55"/>
                  </a:lnTo>
                  <a:lnTo>
                    <a:pt x="315" y="53"/>
                  </a:lnTo>
                  <a:lnTo>
                    <a:pt x="320" y="53"/>
                  </a:lnTo>
                  <a:lnTo>
                    <a:pt x="324" y="54"/>
                  </a:lnTo>
                  <a:lnTo>
                    <a:pt x="329" y="56"/>
                  </a:lnTo>
                  <a:lnTo>
                    <a:pt x="334" y="57"/>
                  </a:lnTo>
                  <a:lnTo>
                    <a:pt x="339" y="58"/>
                  </a:lnTo>
                  <a:lnTo>
                    <a:pt x="341" y="60"/>
                  </a:lnTo>
                  <a:lnTo>
                    <a:pt x="343" y="62"/>
                  </a:lnTo>
                  <a:lnTo>
                    <a:pt x="344" y="64"/>
                  </a:lnTo>
                  <a:lnTo>
                    <a:pt x="347" y="67"/>
                  </a:lnTo>
                  <a:lnTo>
                    <a:pt x="349" y="67"/>
                  </a:lnTo>
                  <a:lnTo>
                    <a:pt x="350" y="67"/>
                  </a:lnTo>
                  <a:lnTo>
                    <a:pt x="353" y="63"/>
                  </a:lnTo>
                  <a:lnTo>
                    <a:pt x="357" y="62"/>
                  </a:lnTo>
                  <a:lnTo>
                    <a:pt x="362" y="60"/>
                  </a:lnTo>
                  <a:lnTo>
                    <a:pt x="369" y="60"/>
                  </a:lnTo>
                  <a:lnTo>
                    <a:pt x="374" y="57"/>
                  </a:lnTo>
                  <a:lnTo>
                    <a:pt x="377" y="55"/>
                  </a:lnTo>
                  <a:lnTo>
                    <a:pt x="378" y="51"/>
                  </a:lnTo>
                  <a:lnTo>
                    <a:pt x="380" y="48"/>
                  </a:lnTo>
                  <a:lnTo>
                    <a:pt x="381" y="43"/>
                  </a:lnTo>
                  <a:lnTo>
                    <a:pt x="382" y="37"/>
                  </a:lnTo>
                  <a:lnTo>
                    <a:pt x="383" y="31"/>
                  </a:lnTo>
                  <a:lnTo>
                    <a:pt x="385" y="25"/>
                  </a:lnTo>
                  <a:lnTo>
                    <a:pt x="386" y="19"/>
                  </a:lnTo>
                  <a:lnTo>
                    <a:pt x="387" y="15"/>
                  </a:lnTo>
                  <a:lnTo>
                    <a:pt x="387" y="13"/>
                  </a:lnTo>
                  <a:lnTo>
                    <a:pt x="388"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7" name="Freeform 866"/>
            <p:cNvSpPr>
              <a:spLocks/>
            </p:cNvSpPr>
            <p:nvPr/>
          </p:nvSpPr>
          <p:spPr bwMode="auto">
            <a:xfrm>
              <a:off x="2765426" y="5022852"/>
              <a:ext cx="207963" cy="261936"/>
            </a:xfrm>
            <a:custGeom>
              <a:avLst/>
              <a:gdLst>
                <a:gd name="T0" fmla="*/ 2147483647 w 142"/>
                <a:gd name="T1" fmla="*/ 2147483647 h 165"/>
                <a:gd name="T2" fmla="*/ 2147483647 w 142"/>
                <a:gd name="T3" fmla="*/ 2147483647 h 165"/>
                <a:gd name="T4" fmla="*/ 2147483647 w 142"/>
                <a:gd name="T5" fmla="*/ 2147483647 h 165"/>
                <a:gd name="T6" fmla="*/ 2147483647 w 142"/>
                <a:gd name="T7" fmla="*/ 2147483647 h 165"/>
                <a:gd name="T8" fmla="*/ 2147483647 w 142"/>
                <a:gd name="T9" fmla="*/ 2147483647 h 165"/>
                <a:gd name="T10" fmla="*/ 2147483647 w 142"/>
                <a:gd name="T11" fmla="*/ 2147483647 h 165"/>
                <a:gd name="T12" fmla="*/ 2147483647 w 142"/>
                <a:gd name="T13" fmla="*/ 2147483647 h 165"/>
                <a:gd name="T14" fmla="*/ 2147483647 w 142"/>
                <a:gd name="T15" fmla="*/ 2147483647 h 165"/>
                <a:gd name="T16" fmla="*/ 2147483647 w 142"/>
                <a:gd name="T17" fmla="*/ 2147483647 h 165"/>
                <a:gd name="T18" fmla="*/ 2147483647 w 142"/>
                <a:gd name="T19" fmla="*/ 2147483647 h 165"/>
                <a:gd name="T20" fmla="*/ 2147483647 w 142"/>
                <a:gd name="T21" fmla="*/ 2147483647 h 165"/>
                <a:gd name="T22" fmla="*/ 2147483647 w 142"/>
                <a:gd name="T23" fmla="*/ 2147483647 h 165"/>
                <a:gd name="T24" fmla="*/ 2147483647 w 142"/>
                <a:gd name="T25" fmla="*/ 2147483647 h 165"/>
                <a:gd name="T26" fmla="*/ 2147483647 w 142"/>
                <a:gd name="T27" fmla="*/ 2147483647 h 165"/>
                <a:gd name="T28" fmla="*/ 2147483647 w 142"/>
                <a:gd name="T29" fmla="*/ 2147483647 h 165"/>
                <a:gd name="T30" fmla="*/ 2147483647 w 142"/>
                <a:gd name="T31" fmla="*/ 2147483647 h 165"/>
                <a:gd name="T32" fmla="*/ 2147483647 w 142"/>
                <a:gd name="T33" fmla="*/ 2147483647 h 165"/>
                <a:gd name="T34" fmla="*/ 2147483647 w 142"/>
                <a:gd name="T35" fmla="*/ 2147483647 h 165"/>
                <a:gd name="T36" fmla="*/ 2147483647 w 142"/>
                <a:gd name="T37" fmla="*/ 2147483647 h 165"/>
                <a:gd name="T38" fmla="*/ 2147483647 w 142"/>
                <a:gd name="T39" fmla="*/ 2147483647 h 165"/>
                <a:gd name="T40" fmla="*/ 2147483647 w 142"/>
                <a:gd name="T41" fmla="*/ 2147483647 h 165"/>
                <a:gd name="T42" fmla="*/ 2147483647 w 142"/>
                <a:gd name="T43" fmla="*/ 2147483647 h 165"/>
                <a:gd name="T44" fmla="*/ 2147483647 w 142"/>
                <a:gd name="T45" fmla="*/ 2147483647 h 165"/>
                <a:gd name="T46" fmla="*/ 2147483647 w 142"/>
                <a:gd name="T47" fmla="*/ 2147483647 h 165"/>
                <a:gd name="T48" fmla="*/ 2147483647 w 142"/>
                <a:gd name="T49" fmla="*/ 2147483647 h 165"/>
                <a:gd name="T50" fmla="*/ 0 w 142"/>
                <a:gd name="T51" fmla="*/ 2147483647 h 165"/>
                <a:gd name="T52" fmla="*/ 2147483647 w 142"/>
                <a:gd name="T53" fmla="*/ 2147483647 h 165"/>
                <a:gd name="T54" fmla="*/ 2147483647 w 142"/>
                <a:gd name="T55" fmla="*/ 2147483647 h 165"/>
                <a:gd name="T56" fmla="*/ 2147483647 w 142"/>
                <a:gd name="T57" fmla="*/ 2147483647 h 165"/>
                <a:gd name="T58" fmla="*/ 2147483647 w 142"/>
                <a:gd name="T59" fmla="*/ 2147483647 h 165"/>
                <a:gd name="T60" fmla="*/ 2147483647 w 142"/>
                <a:gd name="T61" fmla="*/ 2147483647 h 165"/>
                <a:gd name="T62" fmla="*/ 2147483647 w 142"/>
                <a:gd name="T63" fmla="*/ 0 h 165"/>
                <a:gd name="T64" fmla="*/ 2147483647 w 142"/>
                <a:gd name="T65" fmla="*/ 0 h 165"/>
                <a:gd name="T66" fmla="*/ 2147483647 w 142"/>
                <a:gd name="T67" fmla="*/ 2147483647 h 165"/>
                <a:gd name="T68" fmla="*/ 2147483647 w 142"/>
                <a:gd name="T69" fmla="*/ 2147483647 h 165"/>
                <a:gd name="T70" fmla="*/ 2147483647 w 142"/>
                <a:gd name="T71" fmla="*/ 2147483647 h 165"/>
                <a:gd name="T72" fmla="*/ 2147483647 w 142"/>
                <a:gd name="T73" fmla="*/ 2147483647 h 165"/>
                <a:gd name="T74" fmla="*/ 2147483647 w 142"/>
                <a:gd name="T75" fmla="*/ 2147483647 h 165"/>
                <a:gd name="T76" fmla="*/ 2147483647 w 142"/>
                <a:gd name="T77" fmla="*/ 2147483647 h 165"/>
                <a:gd name="T78" fmla="*/ 2147483647 w 142"/>
                <a:gd name="T79" fmla="*/ 2147483647 h 165"/>
                <a:gd name="T80" fmla="*/ 2147483647 w 142"/>
                <a:gd name="T81" fmla="*/ 2147483647 h 165"/>
                <a:gd name="T82" fmla="*/ 2147483647 w 142"/>
                <a:gd name="T83" fmla="*/ 2147483647 h 165"/>
                <a:gd name="T84" fmla="*/ 2147483647 w 142"/>
                <a:gd name="T85" fmla="*/ 2147483647 h 165"/>
                <a:gd name="T86" fmla="*/ 2147483647 w 142"/>
                <a:gd name="T87" fmla="*/ 2147483647 h 165"/>
                <a:gd name="T88" fmla="*/ 2147483647 w 142"/>
                <a:gd name="T89" fmla="*/ 2147483647 h 165"/>
                <a:gd name="T90" fmla="*/ 2147483647 w 142"/>
                <a:gd name="T91" fmla="*/ 2147483647 h 165"/>
                <a:gd name="T92" fmla="*/ 2147483647 w 142"/>
                <a:gd name="T93" fmla="*/ 2147483647 h 165"/>
                <a:gd name="T94" fmla="*/ 2147483647 w 142"/>
                <a:gd name="T95" fmla="*/ 2147483647 h 1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2"/>
                <a:gd name="T145" fmla="*/ 0 h 165"/>
                <a:gd name="T146" fmla="*/ 142 w 142"/>
                <a:gd name="T147" fmla="*/ 165 h 1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2" h="165">
                  <a:moveTo>
                    <a:pt x="132" y="127"/>
                  </a:moveTo>
                  <a:lnTo>
                    <a:pt x="133" y="133"/>
                  </a:lnTo>
                  <a:lnTo>
                    <a:pt x="135" y="140"/>
                  </a:lnTo>
                  <a:lnTo>
                    <a:pt x="133" y="144"/>
                  </a:lnTo>
                  <a:lnTo>
                    <a:pt x="131" y="146"/>
                  </a:lnTo>
                  <a:lnTo>
                    <a:pt x="128" y="147"/>
                  </a:lnTo>
                  <a:lnTo>
                    <a:pt x="126" y="150"/>
                  </a:lnTo>
                  <a:lnTo>
                    <a:pt x="121" y="156"/>
                  </a:lnTo>
                  <a:lnTo>
                    <a:pt x="117" y="161"/>
                  </a:lnTo>
                  <a:lnTo>
                    <a:pt x="113" y="164"/>
                  </a:lnTo>
                  <a:lnTo>
                    <a:pt x="109" y="164"/>
                  </a:lnTo>
                  <a:lnTo>
                    <a:pt x="105" y="161"/>
                  </a:lnTo>
                  <a:lnTo>
                    <a:pt x="102" y="159"/>
                  </a:lnTo>
                  <a:lnTo>
                    <a:pt x="99" y="161"/>
                  </a:lnTo>
                  <a:lnTo>
                    <a:pt x="95" y="164"/>
                  </a:lnTo>
                  <a:lnTo>
                    <a:pt x="93" y="165"/>
                  </a:lnTo>
                  <a:lnTo>
                    <a:pt x="91" y="165"/>
                  </a:lnTo>
                  <a:lnTo>
                    <a:pt x="90" y="164"/>
                  </a:lnTo>
                  <a:lnTo>
                    <a:pt x="84" y="163"/>
                  </a:lnTo>
                  <a:lnTo>
                    <a:pt x="80" y="163"/>
                  </a:lnTo>
                  <a:lnTo>
                    <a:pt x="77" y="161"/>
                  </a:lnTo>
                  <a:lnTo>
                    <a:pt x="75" y="161"/>
                  </a:lnTo>
                  <a:lnTo>
                    <a:pt x="72" y="161"/>
                  </a:lnTo>
                  <a:lnTo>
                    <a:pt x="70" y="160"/>
                  </a:lnTo>
                  <a:lnTo>
                    <a:pt x="69" y="160"/>
                  </a:lnTo>
                  <a:lnTo>
                    <a:pt x="69" y="158"/>
                  </a:lnTo>
                  <a:lnTo>
                    <a:pt x="69" y="156"/>
                  </a:lnTo>
                  <a:lnTo>
                    <a:pt x="71" y="151"/>
                  </a:lnTo>
                  <a:lnTo>
                    <a:pt x="75" y="145"/>
                  </a:lnTo>
                  <a:lnTo>
                    <a:pt x="77" y="140"/>
                  </a:lnTo>
                  <a:lnTo>
                    <a:pt x="79" y="132"/>
                  </a:lnTo>
                  <a:lnTo>
                    <a:pt x="80" y="125"/>
                  </a:lnTo>
                  <a:lnTo>
                    <a:pt x="79" y="121"/>
                  </a:lnTo>
                  <a:lnTo>
                    <a:pt x="77" y="118"/>
                  </a:lnTo>
                  <a:lnTo>
                    <a:pt x="75" y="114"/>
                  </a:lnTo>
                  <a:lnTo>
                    <a:pt x="72" y="112"/>
                  </a:lnTo>
                  <a:lnTo>
                    <a:pt x="62" y="107"/>
                  </a:lnTo>
                  <a:lnTo>
                    <a:pt x="53" y="102"/>
                  </a:lnTo>
                  <a:lnTo>
                    <a:pt x="43" y="97"/>
                  </a:lnTo>
                  <a:lnTo>
                    <a:pt x="34" y="90"/>
                  </a:lnTo>
                  <a:lnTo>
                    <a:pt x="33" y="89"/>
                  </a:lnTo>
                  <a:lnTo>
                    <a:pt x="33" y="87"/>
                  </a:lnTo>
                  <a:lnTo>
                    <a:pt x="32" y="82"/>
                  </a:lnTo>
                  <a:lnTo>
                    <a:pt x="32" y="77"/>
                  </a:lnTo>
                  <a:lnTo>
                    <a:pt x="30" y="76"/>
                  </a:lnTo>
                  <a:lnTo>
                    <a:pt x="29" y="75"/>
                  </a:lnTo>
                  <a:lnTo>
                    <a:pt x="22" y="70"/>
                  </a:lnTo>
                  <a:lnTo>
                    <a:pt x="15" y="65"/>
                  </a:lnTo>
                  <a:lnTo>
                    <a:pt x="11" y="62"/>
                  </a:lnTo>
                  <a:lnTo>
                    <a:pt x="9" y="58"/>
                  </a:lnTo>
                  <a:lnTo>
                    <a:pt x="5" y="54"/>
                  </a:lnTo>
                  <a:lnTo>
                    <a:pt x="0" y="51"/>
                  </a:lnTo>
                  <a:lnTo>
                    <a:pt x="4" y="49"/>
                  </a:lnTo>
                  <a:lnTo>
                    <a:pt x="5" y="46"/>
                  </a:lnTo>
                  <a:lnTo>
                    <a:pt x="8" y="39"/>
                  </a:lnTo>
                  <a:lnTo>
                    <a:pt x="10" y="35"/>
                  </a:lnTo>
                  <a:lnTo>
                    <a:pt x="11" y="29"/>
                  </a:lnTo>
                  <a:lnTo>
                    <a:pt x="14" y="17"/>
                  </a:lnTo>
                  <a:lnTo>
                    <a:pt x="16" y="11"/>
                  </a:lnTo>
                  <a:lnTo>
                    <a:pt x="19" y="6"/>
                  </a:lnTo>
                  <a:lnTo>
                    <a:pt x="23" y="4"/>
                  </a:lnTo>
                  <a:lnTo>
                    <a:pt x="29" y="3"/>
                  </a:lnTo>
                  <a:lnTo>
                    <a:pt x="37" y="1"/>
                  </a:lnTo>
                  <a:lnTo>
                    <a:pt x="43" y="0"/>
                  </a:lnTo>
                  <a:lnTo>
                    <a:pt x="50" y="0"/>
                  </a:lnTo>
                  <a:lnTo>
                    <a:pt x="52" y="0"/>
                  </a:lnTo>
                  <a:lnTo>
                    <a:pt x="56" y="1"/>
                  </a:lnTo>
                  <a:lnTo>
                    <a:pt x="65" y="5"/>
                  </a:lnTo>
                  <a:lnTo>
                    <a:pt x="69" y="6"/>
                  </a:lnTo>
                  <a:lnTo>
                    <a:pt x="71" y="9"/>
                  </a:lnTo>
                  <a:lnTo>
                    <a:pt x="75" y="13"/>
                  </a:lnTo>
                  <a:lnTo>
                    <a:pt x="77" y="18"/>
                  </a:lnTo>
                  <a:lnTo>
                    <a:pt x="79" y="24"/>
                  </a:lnTo>
                  <a:lnTo>
                    <a:pt x="79" y="29"/>
                  </a:lnTo>
                  <a:lnTo>
                    <a:pt x="79" y="39"/>
                  </a:lnTo>
                  <a:lnTo>
                    <a:pt x="79" y="46"/>
                  </a:lnTo>
                  <a:lnTo>
                    <a:pt x="80" y="48"/>
                  </a:lnTo>
                  <a:lnTo>
                    <a:pt x="83" y="49"/>
                  </a:lnTo>
                  <a:lnTo>
                    <a:pt x="94" y="51"/>
                  </a:lnTo>
                  <a:lnTo>
                    <a:pt x="105" y="54"/>
                  </a:lnTo>
                  <a:lnTo>
                    <a:pt x="112" y="56"/>
                  </a:lnTo>
                  <a:lnTo>
                    <a:pt x="117" y="58"/>
                  </a:lnTo>
                  <a:lnTo>
                    <a:pt x="119" y="61"/>
                  </a:lnTo>
                  <a:lnTo>
                    <a:pt x="122" y="64"/>
                  </a:lnTo>
                  <a:lnTo>
                    <a:pt x="123" y="71"/>
                  </a:lnTo>
                  <a:lnTo>
                    <a:pt x="122" y="86"/>
                  </a:lnTo>
                  <a:lnTo>
                    <a:pt x="123" y="89"/>
                  </a:lnTo>
                  <a:lnTo>
                    <a:pt x="126" y="90"/>
                  </a:lnTo>
                  <a:lnTo>
                    <a:pt x="128" y="92"/>
                  </a:lnTo>
                  <a:lnTo>
                    <a:pt x="132" y="90"/>
                  </a:lnTo>
                  <a:lnTo>
                    <a:pt x="138" y="89"/>
                  </a:lnTo>
                  <a:lnTo>
                    <a:pt x="142" y="87"/>
                  </a:lnTo>
                  <a:lnTo>
                    <a:pt x="140" y="97"/>
                  </a:lnTo>
                  <a:lnTo>
                    <a:pt x="136" y="107"/>
                  </a:lnTo>
                  <a:lnTo>
                    <a:pt x="133" y="118"/>
                  </a:lnTo>
                  <a:lnTo>
                    <a:pt x="132" y="12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8" name="Freeform 867"/>
            <p:cNvSpPr>
              <a:spLocks/>
            </p:cNvSpPr>
            <p:nvPr/>
          </p:nvSpPr>
          <p:spPr bwMode="auto">
            <a:xfrm>
              <a:off x="2473327" y="4251329"/>
              <a:ext cx="993775" cy="1235075"/>
            </a:xfrm>
            <a:custGeom>
              <a:avLst/>
              <a:gdLst>
                <a:gd name="T0" fmla="*/ 2147483647 w 678"/>
                <a:gd name="T1" fmla="*/ 2147483647 h 778"/>
                <a:gd name="T2" fmla="*/ 2147483647 w 678"/>
                <a:gd name="T3" fmla="*/ 2147483647 h 778"/>
                <a:gd name="T4" fmla="*/ 2147483647 w 678"/>
                <a:gd name="T5" fmla="*/ 2147483647 h 778"/>
                <a:gd name="T6" fmla="*/ 2147483647 w 678"/>
                <a:gd name="T7" fmla="*/ 2147483647 h 778"/>
                <a:gd name="T8" fmla="*/ 2147483647 w 678"/>
                <a:gd name="T9" fmla="*/ 2147483647 h 778"/>
                <a:gd name="T10" fmla="*/ 2147483647 w 678"/>
                <a:gd name="T11" fmla="*/ 2147483647 h 778"/>
                <a:gd name="T12" fmla="*/ 2147483647 w 678"/>
                <a:gd name="T13" fmla="*/ 2147483647 h 778"/>
                <a:gd name="T14" fmla="*/ 2147483647 w 678"/>
                <a:gd name="T15" fmla="*/ 2147483647 h 778"/>
                <a:gd name="T16" fmla="*/ 2147483647 w 678"/>
                <a:gd name="T17" fmla="*/ 2147483647 h 778"/>
                <a:gd name="T18" fmla="*/ 2147483647 w 678"/>
                <a:gd name="T19" fmla="*/ 2147483647 h 778"/>
                <a:gd name="T20" fmla="*/ 2147483647 w 678"/>
                <a:gd name="T21" fmla="*/ 2147483647 h 778"/>
                <a:gd name="T22" fmla="*/ 2147483647 w 678"/>
                <a:gd name="T23" fmla="*/ 2147483647 h 778"/>
                <a:gd name="T24" fmla="*/ 2147483647 w 678"/>
                <a:gd name="T25" fmla="*/ 2147483647 h 778"/>
                <a:gd name="T26" fmla="*/ 2147483647 w 678"/>
                <a:gd name="T27" fmla="*/ 2147483647 h 778"/>
                <a:gd name="T28" fmla="*/ 2147483647 w 678"/>
                <a:gd name="T29" fmla="*/ 2147483647 h 778"/>
                <a:gd name="T30" fmla="*/ 2147483647 w 678"/>
                <a:gd name="T31" fmla="*/ 2147483647 h 778"/>
                <a:gd name="T32" fmla="*/ 2147483647 w 678"/>
                <a:gd name="T33" fmla="*/ 2147483647 h 778"/>
                <a:gd name="T34" fmla="*/ 2147483647 w 678"/>
                <a:gd name="T35" fmla="*/ 2147483647 h 778"/>
                <a:gd name="T36" fmla="*/ 2147483647 w 678"/>
                <a:gd name="T37" fmla="*/ 2147483647 h 778"/>
                <a:gd name="T38" fmla="*/ 2147483647 w 678"/>
                <a:gd name="T39" fmla="*/ 2147483647 h 778"/>
                <a:gd name="T40" fmla="*/ 2147483647 w 678"/>
                <a:gd name="T41" fmla="*/ 2147483647 h 778"/>
                <a:gd name="T42" fmla="*/ 2147483647 w 678"/>
                <a:gd name="T43" fmla="*/ 2147483647 h 778"/>
                <a:gd name="T44" fmla="*/ 2147483647 w 678"/>
                <a:gd name="T45" fmla="*/ 2147483647 h 778"/>
                <a:gd name="T46" fmla="*/ 2147483647 w 678"/>
                <a:gd name="T47" fmla="*/ 2147483647 h 778"/>
                <a:gd name="T48" fmla="*/ 2147483647 w 678"/>
                <a:gd name="T49" fmla="*/ 2147483647 h 778"/>
                <a:gd name="T50" fmla="*/ 2147483647 w 678"/>
                <a:gd name="T51" fmla="*/ 2147483647 h 778"/>
                <a:gd name="T52" fmla="*/ 2147483647 w 678"/>
                <a:gd name="T53" fmla="*/ 2147483647 h 778"/>
                <a:gd name="T54" fmla="*/ 2147483647 w 678"/>
                <a:gd name="T55" fmla="*/ 2147483647 h 778"/>
                <a:gd name="T56" fmla="*/ 2147483647 w 678"/>
                <a:gd name="T57" fmla="*/ 2147483647 h 778"/>
                <a:gd name="T58" fmla="*/ 2147483647 w 678"/>
                <a:gd name="T59" fmla="*/ 2147483647 h 778"/>
                <a:gd name="T60" fmla="*/ 2147483647 w 678"/>
                <a:gd name="T61" fmla="*/ 2147483647 h 778"/>
                <a:gd name="T62" fmla="*/ 2147483647 w 678"/>
                <a:gd name="T63" fmla="*/ 2147483647 h 778"/>
                <a:gd name="T64" fmla="*/ 2147483647 w 678"/>
                <a:gd name="T65" fmla="*/ 2147483647 h 778"/>
                <a:gd name="T66" fmla="*/ 2147483647 w 678"/>
                <a:gd name="T67" fmla="*/ 2147483647 h 778"/>
                <a:gd name="T68" fmla="*/ 2147483647 w 678"/>
                <a:gd name="T69" fmla="*/ 2147483647 h 778"/>
                <a:gd name="T70" fmla="*/ 2147483647 w 678"/>
                <a:gd name="T71" fmla="*/ 2147483647 h 778"/>
                <a:gd name="T72" fmla="*/ 2147483647 w 678"/>
                <a:gd name="T73" fmla="*/ 2147483647 h 778"/>
                <a:gd name="T74" fmla="*/ 2147483647 w 678"/>
                <a:gd name="T75" fmla="*/ 2147483647 h 778"/>
                <a:gd name="T76" fmla="*/ 2147483647 w 678"/>
                <a:gd name="T77" fmla="*/ 2147483647 h 778"/>
                <a:gd name="T78" fmla="*/ 2147483647 w 678"/>
                <a:gd name="T79" fmla="*/ 2147483647 h 778"/>
                <a:gd name="T80" fmla="*/ 2147483647 w 678"/>
                <a:gd name="T81" fmla="*/ 2147483647 h 778"/>
                <a:gd name="T82" fmla="*/ 2147483647 w 678"/>
                <a:gd name="T83" fmla="*/ 2147483647 h 778"/>
                <a:gd name="T84" fmla="*/ 2147483647 w 678"/>
                <a:gd name="T85" fmla="*/ 2147483647 h 778"/>
                <a:gd name="T86" fmla="*/ 2147483647 w 678"/>
                <a:gd name="T87" fmla="*/ 2147483647 h 778"/>
                <a:gd name="T88" fmla="*/ 2147483647 w 678"/>
                <a:gd name="T89" fmla="*/ 2147483647 h 778"/>
                <a:gd name="T90" fmla="*/ 2147483647 w 678"/>
                <a:gd name="T91" fmla="*/ 2147483647 h 778"/>
                <a:gd name="T92" fmla="*/ 2147483647 w 678"/>
                <a:gd name="T93" fmla="*/ 2147483647 h 778"/>
                <a:gd name="T94" fmla="*/ 2147483647 w 678"/>
                <a:gd name="T95" fmla="*/ 2147483647 h 778"/>
                <a:gd name="T96" fmla="*/ 2147483647 w 678"/>
                <a:gd name="T97" fmla="*/ 2147483647 h 778"/>
                <a:gd name="T98" fmla="*/ 2147483647 w 678"/>
                <a:gd name="T99" fmla="*/ 2147483647 h 778"/>
                <a:gd name="T100" fmla="*/ 2147483647 w 678"/>
                <a:gd name="T101" fmla="*/ 2147483647 h 778"/>
                <a:gd name="T102" fmla="*/ 2147483647 w 678"/>
                <a:gd name="T103" fmla="*/ 2147483647 h 778"/>
                <a:gd name="T104" fmla="*/ 2147483647 w 678"/>
                <a:gd name="T105" fmla="*/ 2147483647 h 778"/>
                <a:gd name="T106" fmla="*/ 2147483647 w 678"/>
                <a:gd name="T107" fmla="*/ 2147483647 h 778"/>
                <a:gd name="T108" fmla="*/ 2147483647 w 678"/>
                <a:gd name="T109" fmla="*/ 2147483647 h 778"/>
                <a:gd name="T110" fmla="*/ 2147483647 w 678"/>
                <a:gd name="T111" fmla="*/ 2147483647 h 778"/>
                <a:gd name="T112" fmla="*/ 2147483647 w 678"/>
                <a:gd name="T113" fmla="*/ 2147483647 h 778"/>
                <a:gd name="T114" fmla="*/ 2147483647 w 678"/>
                <a:gd name="T115" fmla="*/ 2147483647 h 778"/>
                <a:gd name="T116" fmla="*/ 2147483647 w 678"/>
                <a:gd name="T117" fmla="*/ 2147483647 h 778"/>
                <a:gd name="T118" fmla="*/ 2147483647 w 678"/>
                <a:gd name="T119" fmla="*/ 2147483647 h 778"/>
                <a:gd name="T120" fmla="*/ 2147483647 w 678"/>
                <a:gd name="T121" fmla="*/ 2147483647 h 778"/>
                <a:gd name="T122" fmla="*/ 2147483647 w 678"/>
                <a:gd name="T123" fmla="*/ 2147483647 h 778"/>
                <a:gd name="T124" fmla="*/ 2147483647 w 678"/>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78"/>
                <a:gd name="T190" fmla="*/ 0 h 778"/>
                <a:gd name="T191" fmla="*/ 678 w 678"/>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78" h="778">
                  <a:moveTo>
                    <a:pt x="388" y="12"/>
                  </a:moveTo>
                  <a:lnTo>
                    <a:pt x="388" y="12"/>
                  </a:lnTo>
                  <a:lnTo>
                    <a:pt x="392" y="22"/>
                  </a:lnTo>
                  <a:lnTo>
                    <a:pt x="396" y="31"/>
                  </a:lnTo>
                  <a:lnTo>
                    <a:pt x="397" y="42"/>
                  </a:lnTo>
                  <a:lnTo>
                    <a:pt x="400" y="55"/>
                  </a:lnTo>
                  <a:lnTo>
                    <a:pt x="401" y="58"/>
                  </a:lnTo>
                  <a:lnTo>
                    <a:pt x="405" y="62"/>
                  </a:lnTo>
                  <a:lnTo>
                    <a:pt x="406" y="64"/>
                  </a:lnTo>
                  <a:lnTo>
                    <a:pt x="409" y="65"/>
                  </a:lnTo>
                  <a:lnTo>
                    <a:pt x="414" y="68"/>
                  </a:lnTo>
                  <a:lnTo>
                    <a:pt x="417" y="69"/>
                  </a:lnTo>
                  <a:lnTo>
                    <a:pt x="417" y="71"/>
                  </a:lnTo>
                  <a:lnTo>
                    <a:pt x="417" y="74"/>
                  </a:lnTo>
                  <a:lnTo>
                    <a:pt x="416" y="81"/>
                  </a:lnTo>
                  <a:lnTo>
                    <a:pt x="414" y="84"/>
                  </a:lnTo>
                  <a:lnTo>
                    <a:pt x="411" y="88"/>
                  </a:lnTo>
                  <a:lnTo>
                    <a:pt x="402" y="94"/>
                  </a:lnTo>
                  <a:lnTo>
                    <a:pt x="401" y="97"/>
                  </a:lnTo>
                  <a:lnTo>
                    <a:pt x="398" y="100"/>
                  </a:lnTo>
                  <a:lnTo>
                    <a:pt x="392" y="105"/>
                  </a:lnTo>
                  <a:lnTo>
                    <a:pt x="388" y="110"/>
                  </a:lnTo>
                  <a:lnTo>
                    <a:pt x="381" y="122"/>
                  </a:lnTo>
                  <a:lnTo>
                    <a:pt x="374" y="128"/>
                  </a:lnTo>
                  <a:lnTo>
                    <a:pt x="370" y="132"/>
                  </a:lnTo>
                  <a:lnTo>
                    <a:pt x="369" y="137"/>
                  </a:lnTo>
                  <a:lnTo>
                    <a:pt x="370" y="138"/>
                  </a:lnTo>
                  <a:lnTo>
                    <a:pt x="372" y="139"/>
                  </a:lnTo>
                  <a:lnTo>
                    <a:pt x="374" y="138"/>
                  </a:lnTo>
                  <a:lnTo>
                    <a:pt x="378" y="138"/>
                  </a:lnTo>
                  <a:lnTo>
                    <a:pt x="384" y="137"/>
                  </a:lnTo>
                  <a:lnTo>
                    <a:pt x="389" y="135"/>
                  </a:lnTo>
                  <a:lnTo>
                    <a:pt x="395" y="133"/>
                  </a:lnTo>
                  <a:lnTo>
                    <a:pt x="398" y="129"/>
                  </a:lnTo>
                  <a:lnTo>
                    <a:pt x="402" y="125"/>
                  </a:lnTo>
                  <a:lnTo>
                    <a:pt x="405" y="120"/>
                  </a:lnTo>
                  <a:lnTo>
                    <a:pt x="410" y="110"/>
                  </a:lnTo>
                  <a:lnTo>
                    <a:pt x="411" y="109"/>
                  </a:lnTo>
                  <a:lnTo>
                    <a:pt x="412" y="108"/>
                  </a:lnTo>
                  <a:lnTo>
                    <a:pt x="426" y="108"/>
                  </a:lnTo>
                  <a:lnTo>
                    <a:pt x="440" y="107"/>
                  </a:lnTo>
                  <a:lnTo>
                    <a:pt x="442" y="107"/>
                  </a:lnTo>
                  <a:lnTo>
                    <a:pt x="442" y="108"/>
                  </a:lnTo>
                  <a:lnTo>
                    <a:pt x="442" y="112"/>
                  </a:lnTo>
                  <a:lnTo>
                    <a:pt x="439" y="121"/>
                  </a:lnTo>
                  <a:lnTo>
                    <a:pt x="436" y="125"/>
                  </a:lnTo>
                  <a:lnTo>
                    <a:pt x="434" y="127"/>
                  </a:lnTo>
                  <a:lnTo>
                    <a:pt x="429" y="131"/>
                  </a:lnTo>
                  <a:lnTo>
                    <a:pt x="424" y="135"/>
                  </a:lnTo>
                  <a:lnTo>
                    <a:pt x="421" y="140"/>
                  </a:lnTo>
                  <a:lnTo>
                    <a:pt x="420" y="142"/>
                  </a:lnTo>
                  <a:lnTo>
                    <a:pt x="421" y="146"/>
                  </a:lnTo>
                  <a:lnTo>
                    <a:pt x="421" y="147"/>
                  </a:lnTo>
                  <a:lnTo>
                    <a:pt x="422" y="147"/>
                  </a:lnTo>
                  <a:lnTo>
                    <a:pt x="428" y="142"/>
                  </a:lnTo>
                  <a:lnTo>
                    <a:pt x="433" y="139"/>
                  </a:lnTo>
                  <a:lnTo>
                    <a:pt x="438" y="137"/>
                  </a:lnTo>
                  <a:lnTo>
                    <a:pt x="444" y="133"/>
                  </a:lnTo>
                  <a:lnTo>
                    <a:pt x="445" y="131"/>
                  </a:lnTo>
                  <a:lnTo>
                    <a:pt x="445" y="127"/>
                  </a:lnTo>
                  <a:lnTo>
                    <a:pt x="447" y="123"/>
                  </a:lnTo>
                  <a:lnTo>
                    <a:pt x="447" y="121"/>
                  </a:lnTo>
                  <a:lnTo>
                    <a:pt x="448" y="119"/>
                  </a:lnTo>
                  <a:lnTo>
                    <a:pt x="450" y="116"/>
                  </a:lnTo>
                  <a:lnTo>
                    <a:pt x="454" y="116"/>
                  </a:lnTo>
                  <a:lnTo>
                    <a:pt x="463" y="119"/>
                  </a:lnTo>
                  <a:lnTo>
                    <a:pt x="468" y="120"/>
                  </a:lnTo>
                  <a:lnTo>
                    <a:pt x="473" y="122"/>
                  </a:lnTo>
                  <a:lnTo>
                    <a:pt x="478" y="123"/>
                  </a:lnTo>
                  <a:lnTo>
                    <a:pt x="483" y="125"/>
                  </a:lnTo>
                  <a:lnTo>
                    <a:pt x="494" y="127"/>
                  </a:lnTo>
                  <a:lnTo>
                    <a:pt x="497" y="129"/>
                  </a:lnTo>
                  <a:lnTo>
                    <a:pt x="502" y="133"/>
                  </a:lnTo>
                  <a:lnTo>
                    <a:pt x="504" y="134"/>
                  </a:lnTo>
                  <a:lnTo>
                    <a:pt x="504" y="137"/>
                  </a:lnTo>
                  <a:lnTo>
                    <a:pt x="504" y="140"/>
                  </a:lnTo>
                  <a:lnTo>
                    <a:pt x="504" y="145"/>
                  </a:lnTo>
                  <a:lnTo>
                    <a:pt x="504" y="150"/>
                  </a:lnTo>
                  <a:lnTo>
                    <a:pt x="505" y="153"/>
                  </a:lnTo>
                  <a:lnTo>
                    <a:pt x="504" y="157"/>
                  </a:lnTo>
                  <a:lnTo>
                    <a:pt x="502" y="159"/>
                  </a:lnTo>
                  <a:lnTo>
                    <a:pt x="502" y="163"/>
                  </a:lnTo>
                  <a:lnTo>
                    <a:pt x="505" y="164"/>
                  </a:lnTo>
                  <a:lnTo>
                    <a:pt x="508" y="164"/>
                  </a:lnTo>
                  <a:lnTo>
                    <a:pt x="510" y="161"/>
                  </a:lnTo>
                  <a:lnTo>
                    <a:pt x="511" y="159"/>
                  </a:lnTo>
                  <a:lnTo>
                    <a:pt x="513" y="153"/>
                  </a:lnTo>
                  <a:lnTo>
                    <a:pt x="514" y="151"/>
                  </a:lnTo>
                  <a:lnTo>
                    <a:pt x="515" y="151"/>
                  </a:lnTo>
                  <a:lnTo>
                    <a:pt x="516" y="151"/>
                  </a:lnTo>
                  <a:lnTo>
                    <a:pt x="519" y="153"/>
                  </a:lnTo>
                  <a:lnTo>
                    <a:pt x="520" y="153"/>
                  </a:lnTo>
                  <a:lnTo>
                    <a:pt x="524" y="153"/>
                  </a:lnTo>
                  <a:lnTo>
                    <a:pt x="528" y="155"/>
                  </a:lnTo>
                  <a:lnTo>
                    <a:pt x="530" y="157"/>
                  </a:lnTo>
                  <a:lnTo>
                    <a:pt x="534" y="158"/>
                  </a:lnTo>
                  <a:lnTo>
                    <a:pt x="539" y="158"/>
                  </a:lnTo>
                  <a:lnTo>
                    <a:pt x="542" y="158"/>
                  </a:lnTo>
                  <a:lnTo>
                    <a:pt x="544" y="159"/>
                  </a:lnTo>
                  <a:lnTo>
                    <a:pt x="548" y="161"/>
                  </a:lnTo>
                  <a:lnTo>
                    <a:pt x="553" y="163"/>
                  </a:lnTo>
                  <a:lnTo>
                    <a:pt x="557" y="163"/>
                  </a:lnTo>
                  <a:lnTo>
                    <a:pt x="561" y="163"/>
                  </a:lnTo>
                  <a:lnTo>
                    <a:pt x="570" y="160"/>
                  </a:lnTo>
                  <a:lnTo>
                    <a:pt x="577" y="158"/>
                  </a:lnTo>
                  <a:lnTo>
                    <a:pt x="580" y="158"/>
                  </a:lnTo>
                  <a:lnTo>
                    <a:pt x="581" y="159"/>
                  </a:lnTo>
                  <a:lnTo>
                    <a:pt x="584" y="161"/>
                  </a:lnTo>
                  <a:lnTo>
                    <a:pt x="586" y="163"/>
                  </a:lnTo>
                  <a:lnTo>
                    <a:pt x="589" y="163"/>
                  </a:lnTo>
                  <a:lnTo>
                    <a:pt x="590" y="163"/>
                  </a:lnTo>
                  <a:lnTo>
                    <a:pt x="593" y="163"/>
                  </a:lnTo>
                  <a:lnTo>
                    <a:pt x="594" y="164"/>
                  </a:lnTo>
                  <a:lnTo>
                    <a:pt x="596" y="166"/>
                  </a:lnTo>
                  <a:lnTo>
                    <a:pt x="600" y="170"/>
                  </a:lnTo>
                  <a:lnTo>
                    <a:pt x="608" y="176"/>
                  </a:lnTo>
                  <a:lnTo>
                    <a:pt x="614" y="183"/>
                  </a:lnTo>
                  <a:lnTo>
                    <a:pt x="621" y="189"/>
                  </a:lnTo>
                  <a:lnTo>
                    <a:pt x="627" y="196"/>
                  </a:lnTo>
                  <a:lnTo>
                    <a:pt x="631" y="198"/>
                  </a:lnTo>
                  <a:lnTo>
                    <a:pt x="635" y="199"/>
                  </a:lnTo>
                  <a:lnTo>
                    <a:pt x="642" y="201"/>
                  </a:lnTo>
                  <a:lnTo>
                    <a:pt x="651" y="202"/>
                  </a:lnTo>
                  <a:lnTo>
                    <a:pt x="655" y="203"/>
                  </a:lnTo>
                  <a:lnTo>
                    <a:pt x="659" y="204"/>
                  </a:lnTo>
                  <a:lnTo>
                    <a:pt x="662" y="206"/>
                  </a:lnTo>
                  <a:lnTo>
                    <a:pt x="665" y="210"/>
                  </a:lnTo>
                  <a:lnTo>
                    <a:pt x="668" y="215"/>
                  </a:lnTo>
                  <a:lnTo>
                    <a:pt x="669" y="218"/>
                  </a:lnTo>
                  <a:lnTo>
                    <a:pt x="669" y="223"/>
                  </a:lnTo>
                  <a:lnTo>
                    <a:pt x="670" y="227"/>
                  </a:lnTo>
                  <a:lnTo>
                    <a:pt x="675" y="236"/>
                  </a:lnTo>
                  <a:lnTo>
                    <a:pt x="678" y="246"/>
                  </a:lnTo>
                  <a:lnTo>
                    <a:pt x="678" y="255"/>
                  </a:lnTo>
                  <a:lnTo>
                    <a:pt x="678" y="265"/>
                  </a:lnTo>
                  <a:lnTo>
                    <a:pt x="675" y="274"/>
                  </a:lnTo>
                  <a:lnTo>
                    <a:pt x="671" y="284"/>
                  </a:lnTo>
                  <a:lnTo>
                    <a:pt x="666" y="292"/>
                  </a:lnTo>
                  <a:lnTo>
                    <a:pt x="660" y="299"/>
                  </a:lnTo>
                  <a:lnTo>
                    <a:pt x="656" y="301"/>
                  </a:lnTo>
                  <a:lnTo>
                    <a:pt x="652" y="304"/>
                  </a:lnTo>
                  <a:lnTo>
                    <a:pt x="647" y="310"/>
                  </a:lnTo>
                  <a:lnTo>
                    <a:pt x="643" y="313"/>
                  </a:lnTo>
                  <a:lnTo>
                    <a:pt x="640" y="317"/>
                  </a:lnTo>
                  <a:lnTo>
                    <a:pt x="637" y="320"/>
                  </a:lnTo>
                  <a:lnTo>
                    <a:pt x="635" y="325"/>
                  </a:lnTo>
                  <a:lnTo>
                    <a:pt x="633" y="329"/>
                  </a:lnTo>
                  <a:lnTo>
                    <a:pt x="631" y="331"/>
                  </a:lnTo>
                  <a:lnTo>
                    <a:pt x="628" y="337"/>
                  </a:lnTo>
                  <a:lnTo>
                    <a:pt x="624" y="344"/>
                  </a:lnTo>
                  <a:lnTo>
                    <a:pt x="621" y="349"/>
                  </a:lnTo>
                  <a:lnTo>
                    <a:pt x="614" y="352"/>
                  </a:lnTo>
                  <a:lnTo>
                    <a:pt x="608" y="357"/>
                  </a:lnTo>
                  <a:lnTo>
                    <a:pt x="605" y="361"/>
                  </a:lnTo>
                  <a:lnTo>
                    <a:pt x="604" y="367"/>
                  </a:lnTo>
                  <a:lnTo>
                    <a:pt x="605" y="372"/>
                  </a:lnTo>
                  <a:lnTo>
                    <a:pt x="604" y="380"/>
                  </a:lnTo>
                  <a:lnTo>
                    <a:pt x="604" y="387"/>
                  </a:lnTo>
                  <a:lnTo>
                    <a:pt x="602" y="391"/>
                  </a:lnTo>
                  <a:lnTo>
                    <a:pt x="602" y="396"/>
                  </a:lnTo>
                  <a:lnTo>
                    <a:pt x="602" y="399"/>
                  </a:lnTo>
                  <a:lnTo>
                    <a:pt x="603" y="401"/>
                  </a:lnTo>
                  <a:lnTo>
                    <a:pt x="604" y="404"/>
                  </a:lnTo>
                  <a:lnTo>
                    <a:pt x="605" y="410"/>
                  </a:lnTo>
                  <a:lnTo>
                    <a:pt x="605" y="413"/>
                  </a:lnTo>
                  <a:lnTo>
                    <a:pt x="605" y="415"/>
                  </a:lnTo>
                  <a:lnTo>
                    <a:pt x="603" y="421"/>
                  </a:lnTo>
                  <a:lnTo>
                    <a:pt x="600" y="428"/>
                  </a:lnTo>
                  <a:lnTo>
                    <a:pt x="600" y="435"/>
                  </a:lnTo>
                  <a:lnTo>
                    <a:pt x="600" y="441"/>
                  </a:lnTo>
                  <a:lnTo>
                    <a:pt x="600" y="444"/>
                  </a:lnTo>
                  <a:lnTo>
                    <a:pt x="599" y="446"/>
                  </a:lnTo>
                  <a:lnTo>
                    <a:pt x="598" y="447"/>
                  </a:lnTo>
                  <a:lnTo>
                    <a:pt x="598" y="450"/>
                  </a:lnTo>
                  <a:lnTo>
                    <a:pt x="600" y="454"/>
                  </a:lnTo>
                  <a:lnTo>
                    <a:pt x="598" y="461"/>
                  </a:lnTo>
                  <a:lnTo>
                    <a:pt x="596" y="468"/>
                  </a:lnTo>
                  <a:lnTo>
                    <a:pt x="598" y="476"/>
                  </a:lnTo>
                  <a:lnTo>
                    <a:pt x="598" y="479"/>
                  </a:lnTo>
                  <a:lnTo>
                    <a:pt x="595" y="484"/>
                  </a:lnTo>
                  <a:lnTo>
                    <a:pt x="591" y="489"/>
                  </a:lnTo>
                  <a:lnTo>
                    <a:pt x="586" y="492"/>
                  </a:lnTo>
                  <a:lnTo>
                    <a:pt x="582" y="497"/>
                  </a:lnTo>
                  <a:lnTo>
                    <a:pt x="581" y="499"/>
                  </a:lnTo>
                  <a:lnTo>
                    <a:pt x="581" y="500"/>
                  </a:lnTo>
                  <a:lnTo>
                    <a:pt x="580" y="506"/>
                  </a:lnTo>
                  <a:lnTo>
                    <a:pt x="579" y="511"/>
                  </a:lnTo>
                  <a:lnTo>
                    <a:pt x="576" y="512"/>
                  </a:lnTo>
                  <a:lnTo>
                    <a:pt x="574" y="512"/>
                  </a:lnTo>
                  <a:lnTo>
                    <a:pt x="574" y="514"/>
                  </a:lnTo>
                  <a:lnTo>
                    <a:pt x="571" y="518"/>
                  </a:lnTo>
                  <a:lnTo>
                    <a:pt x="570" y="523"/>
                  </a:lnTo>
                  <a:lnTo>
                    <a:pt x="569" y="527"/>
                  </a:lnTo>
                  <a:lnTo>
                    <a:pt x="566" y="529"/>
                  </a:lnTo>
                  <a:lnTo>
                    <a:pt x="565" y="531"/>
                  </a:lnTo>
                  <a:lnTo>
                    <a:pt x="566" y="532"/>
                  </a:lnTo>
                  <a:lnTo>
                    <a:pt x="569" y="537"/>
                  </a:lnTo>
                  <a:lnTo>
                    <a:pt x="569" y="540"/>
                  </a:lnTo>
                  <a:lnTo>
                    <a:pt x="569" y="542"/>
                  </a:lnTo>
                  <a:lnTo>
                    <a:pt x="562" y="547"/>
                  </a:lnTo>
                  <a:lnTo>
                    <a:pt x="558" y="549"/>
                  </a:lnTo>
                  <a:lnTo>
                    <a:pt x="555" y="549"/>
                  </a:lnTo>
                  <a:lnTo>
                    <a:pt x="553" y="550"/>
                  </a:lnTo>
                  <a:lnTo>
                    <a:pt x="551" y="551"/>
                  </a:lnTo>
                  <a:lnTo>
                    <a:pt x="549" y="557"/>
                  </a:lnTo>
                  <a:lnTo>
                    <a:pt x="548" y="559"/>
                  </a:lnTo>
                  <a:lnTo>
                    <a:pt x="546" y="557"/>
                  </a:lnTo>
                  <a:lnTo>
                    <a:pt x="541" y="556"/>
                  </a:lnTo>
                  <a:lnTo>
                    <a:pt x="535" y="555"/>
                  </a:lnTo>
                  <a:lnTo>
                    <a:pt x="525" y="556"/>
                  </a:lnTo>
                  <a:lnTo>
                    <a:pt x="516" y="559"/>
                  </a:lnTo>
                  <a:lnTo>
                    <a:pt x="506" y="560"/>
                  </a:lnTo>
                  <a:lnTo>
                    <a:pt x="505" y="561"/>
                  </a:lnTo>
                  <a:lnTo>
                    <a:pt x="505" y="563"/>
                  </a:lnTo>
                  <a:lnTo>
                    <a:pt x="506" y="566"/>
                  </a:lnTo>
                  <a:lnTo>
                    <a:pt x="506" y="568"/>
                  </a:lnTo>
                  <a:lnTo>
                    <a:pt x="505" y="569"/>
                  </a:lnTo>
                  <a:lnTo>
                    <a:pt x="502" y="568"/>
                  </a:lnTo>
                  <a:lnTo>
                    <a:pt x="500" y="568"/>
                  </a:lnTo>
                  <a:lnTo>
                    <a:pt x="499" y="568"/>
                  </a:lnTo>
                  <a:lnTo>
                    <a:pt x="495" y="574"/>
                  </a:lnTo>
                  <a:lnTo>
                    <a:pt x="490" y="578"/>
                  </a:lnTo>
                  <a:lnTo>
                    <a:pt x="485" y="578"/>
                  </a:lnTo>
                  <a:lnTo>
                    <a:pt x="477" y="576"/>
                  </a:lnTo>
                  <a:lnTo>
                    <a:pt x="472" y="578"/>
                  </a:lnTo>
                  <a:lnTo>
                    <a:pt x="469" y="580"/>
                  </a:lnTo>
                  <a:lnTo>
                    <a:pt x="468" y="583"/>
                  </a:lnTo>
                  <a:lnTo>
                    <a:pt x="467" y="588"/>
                  </a:lnTo>
                  <a:lnTo>
                    <a:pt x="466" y="591"/>
                  </a:lnTo>
                  <a:lnTo>
                    <a:pt x="463" y="592"/>
                  </a:lnTo>
                  <a:lnTo>
                    <a:pt x="457" y="594"/>
                  </a:lnTo>
                  <a:lnTo>
                    <a:pt x="450" y="598"/>
                  </a:lnTo>
                  <a:lnTo>
                    <a:pt x="447" y="600"/>
                  </a:lnTo>
                  <a:lnTo>
                    <a:pt x="442" y="602"/>
                  </a:lnTo>
                  <a:lnTo>
                    <a:pt x="436" y="607"/>
                  </a:lnTo>
                  <a:lnTo>
                    <a:pt x="433" y="612"/>
                  </a:lnTo>
                  <a:lnTo>
                    <a:pt x="430" y="617"/>
                  </a:lnTo>
                  <a:lnTo>
                    <a:pt x="429" y="623"/>
                  </a:lnTo>
                  <a:lnTo>
                    <a:pt x="428" y="629"/>
                  </a:lnTo>
                  <a:lnTo>
                    <a:pt x="428" y="633"/>
                  </a:lnTo>
                  <a:lnTo>
                    <a:pt x="430" y="638"/>
                  </a:lnTo>
                  <a:lnTo>
                    <a:pt x="433" y="643"/>
                  </a:lnTo>
                  <a:lnTo>
                    <a:pt x="434" y="645"/>
                  </a:lnTo>
                  <a:lnTo>
                    <a:pt x="435" y="649"/>
                  </a:lnTo>
                  <a:lnTo>
                    <a:pt x="435" y="652"/>
                  </a:lnTo>
                  <a:lnTo>
                    <a:pt x="435" y="657"/>
                  </a:lnTo>
                  <a:lnTo>
                    <a:pt x="431" y="664"/>
                  </a:lnTo>
                  <a:lnTo>
                    <a:pt x="428" y="672"/>
                  </a:lnTo>
                  <a:lnTo>
                    <a:pt x="425" y="676"/>
                  </a:lnTo>
                  <a:lnTo>
                    <a:pt x="422" y="678"/>
                  </a:lnTo>
                  <a:lnTo>
                    <a:pt x="420" y="684"/>
                  </a:lnTo>
                  <a:lnTo>
                    <a:pt x="417" y="689"/>
                  </a:lnTo>
                  <a:lnTo>
                    <a:pt x="412" y="693"/>
                  </a:lnTo>
                  <a:lnTo>
                    <a:pt x="409" y="697"/>
                  </a:lnTo>
                  <a:lnTo>
                    <a:pt x="409" y="698"/>
                  </a:lnTo>
                  <a:lnTo>
                    <a:pt x="409" y="700"/>
                  </a:lnTo>
                  <a:lnTo>
                    <a:pt x="409" y="702"/>
                  </a:lnTo>
                  <a:lnTo>
                    <a:pt x="409" y="703"/>
                  </a:lnTo>
                  <a:lnTo>
                    <a:pt x="405" y="707"/>
                  </a:lnTo>
                  <a:lnTo>
                    <a:pt x="405" y="708"/>
                  </a:lnTo>
                  <a:lnTo>
                    <a:pt x="405" y="710"/>
                  </a:lnTo>
                  <a:lnTo>
                    <a:pt x="403" y="714"/>
                  </a:lnTo>
                  <a:lnTo>
                    <a:pt x="402" y="717"/>
                  </a:lnTo>
                  <a:lnTo>
                    <a:pt x="400" y="721"/>
                  </a:lnTo>
                  <a:lnTo>
                    <a:pt x="396" y="728"/>
                  </a:lnTo>
                  <a:lnTo>
                    <a:pt x="392" y="735"/>
                  </a:lnTo>
                  <a:lnTo>
                    <a:pt x="389" y="739"/>
                  </a:lnTo>
                  <a:lnTo>
                    <a:pt x="387" y="741"/>
                  </a:lnTo>
                  <a:lnTo>
                    <a:pt x="384" y="742"/>
                  </a:lnTo>
                  <a:lnTo>
                    <a:pt x="381" y="742"/>
                  </a:lnTo>
                  <a:lnTo>
                    <a:pt x="379" y="742"/>
                  </a:lnTo>
                  <a:lnTo>
                    <a:pt x="381" y="741"/>
                  </a:lnTo>
                  <a:lnTo>
                    <a:pt x="382" y="738"/>
                  </a:lnTo>
                  <a:lnTo>
                    <a:pt x="386" y="734"/>
                  </a:lnTo>
                  <a:lnTo>
                    <a:pt x="388" y="730"/>
                  </a:lnTo>
                  <a:lnTo>
                    <a:pt x="392" y="722"/>
                  </a:lnTo>
                  <a:lnTo>
                    <a:pt x="396" y="713"/>
                  </a:lnTo>
                  <a:lnTo>
                    <a:pt x="396" y="710"/>
                  </a:lnTo>
                  <a:lnTo>
                    <a:pt x="396" y="708"/>
                  </a:lnTo>
                  <a:lnTo>
                    <a:pt x="397" y="704"/>
                  </a:lnTo>
                  <a:lnTo>
                    <a:pt x="397" y="698"/>
                  </a:lnTo>
                  <a:lnTo>
                    <a:pt x="396" y="693"/>
                  </a:lnTo>
                  <a:lnTo>
                    <a:pt x="395" y="693"/>
                  </a:lnTo>
                  <a:lnTo>
                    <a:pt x="393" y="694"/>
                  </a:lnTo>
                  <a:lnTo>
                    <a:pt x="392" y="698"/>
                  </a:lnTo>
                  <a:lnTo>
                    <a:pt x="391" y="702"/>
                  </a:lnTo>
                  <a:lnTo>
                    <a:pt x="387" y="712"/>
                  </a:lnTo>
                  <a:lnTo>
                    <a:pt x="383" y="721"/>
                  </a:lnTo>
                  <a:lnTo>
                    <a:pt x="378" y="730"/>
                  </a:lnTo>
                  <a:lnTo>
                    <a:pt x="374" y="740"/>
                  </a:lnTo>
                  <a:lnTo>
                    <a:pt x="373" y="742"/>
                  </a:lnTo>
                  <a:lnTo>
                    <a:pt x="370" y="746"/>
                  </a:lnTo>
                  <a:lnTo>
                    <a:pt x="369" y="757"/>
                  </a:lnTo>
                  <a:lnTo>
                    <a:pt x="368" y="767"/>
                  </a:lnTo>
                  <a:lnTo>
                    <a:pt x="365" y="773"/>
                  </a:lnTo>
                  <a:lnTo>
                    <a:pt x="363" y="778"/>
                  </a:lnTo>
                  <a:lnTo>
                    <a:pt x="356" y="771"/>
                  </a:lnTo>
                  <a:lnTo>
                    <a:pt x="354" y="765"/>
                  </a:lnTo>
                  <a:lnTo>
                    <a:pt x="350" y="751"/>
                  </a:lnTo>
                  <a:lnTo>
                    <a:pt x="344" y="745"/>
                  </a:lnTo>
                  <a:lnTo>
                    <a:pt x="337" y="740"/>
                  </a:lnTo>
                  <a:lnTo>
                    <a:pt x="322" y="733"/>
                  </a:lnTo>
                  <a:lnTo>
                    <a:pt x="312" y="727"/>
                  </a:lnTo>
                  <a:lnTo>
                    <a:pt x="304" y="720"/>
                  </a:lnTo>
                  <a:lnTo>
                    <a:pt x="295" y="710"/>
                  </a:lnTo>
                  <a:lnTo>
                    <a:pt x="294" y="709"/>
                  </a:lnTo>
                  <a:lnTo>
                    <a:pt x="290" y="709"/>
                  </a:lnTo>
                  <a:lnTo>
                    <a:pt x="285" y="709"/>
                  </a:lnTo>
                  <a:lnTo>
                    <a:pt x="284" y="708"/>
                  </a:lnTo>
                  <a:lnTo>
                    <a:pt x="282" y="707"/>
                  </a:lnTo>
                  <a:lnTo>
                    <a:pt x="284" y="703"/>
                  </a:lnTo>
                  <a:lnTo>
                    <a:pt x="287" y="700"/>
                  </a:lnTo>
                  <a:lnTo>
                    <a:pt x="290" y="695"/>
                  </a:lnTo>
                  <a:lnTo>
                    <a:pt x="293" y="690"/>
                  </a:lnTo>
                  <a:lnTo>
                    <a:pt x="298" y="680"/>
                  </a:lnTo>
                  <a:lnTo>
                    <a:pt x="299" y="678"/>
                  </a:lnTo>
                  <a:lnTo>
                    <a:pt x="301" y="677"/>
                  </a:lnTo>
                  <a:lnTo>
                    <a:pt x="307" y="676"/>
                  </a:lnTo>
                  <a:lnTo>
                    <a:pt x="312" y="672"/>
                  </a:lnTo>
                  <a:lnTo>
                    <a:pt x="329" y="657"/>
                  </a:lnTo>
                  <a:lnTo>
                    <a:pt x="336" y="649"/>
                  </a:lnTo>
                  <a:lnTo>
                    <a:pt x="346" y="643"/>
                  </a:lnTo>
                  <a:lnTo>
                    <a:pt x="348" y="642"/>
                  </a:lnTo>
                  <a:lnTo>
                    <a:pt x="348" y="640"/>
                  </a:lnTo>
                  <a:lnTo>
                    <a:pt x="349" y="637"/>
                  </a:lnTo>
                  <a:lnTo>
                    <a:pt x="348" y="631"/>
                  </a:lnTo>
                  <a:lnTo>
                    <a:pt x="348" y="625"/>
                  </a:lnTo>
                  <a:lnTo>
                    <a:pt x="346" y="619"/>
                  </a:lnTo>
                  <a:lnTo>
                    <a:pt x="348" y="613"/>
                  </a:lnTo>
                  <a:lnTo>
                    <a:pt x="342" y="613"/>
                  </a:lnTo>
                  <a:lnTo>
                    <a:pt x="339" y="613"/>
                  </a:lnTo>
                  <a:lnTo>
                    <a:pt x="330" y="612"/>
                  </a:lnTo>
                  <a:lnTo>
                    <a:pt x="331" y="602"/>
                  </a:lnTo>
                  <a:lnTo>
                    <a:pt x="334" y="592"/>
                  </a:lnTo>
                  <a:lnTo>
                    <a:pt x="337" y="582"/>
                  </a:lnTo>
                  <a:lnTo>
                    <a:pt x="340" y="572"/>
                  </a:lnTo>
                  <a:lnTo>
                    <a:pt x="336" y="574"/>
                  </a:lnTo>
                  <a:lnTo>
                    <a:pt x="330" y="575"/>
                  </a:lnTo>
                  <a:lnTo>
                    <a:pt x="326" y="576"/>
                  </a:lnTo>
                  <a:lnTo>
                    <a:pt x="323" y="575"/>
                  </a:lnTo>
                  <a:lnTo>
                    <a:pt x="321" y="574"/>
                  </a:lnTo>
                  <a:lnTo>
                    <a:pt x="320" y="570"/>
                  </a:lnTo>
                  <a:lnTo>
                    <a:pt x="321" y="556"/>
                  </a:lnTo>
                  <a:lnTo>
                    <a:pt x="320" y="549"/>
                  </a:lnTo>
                  <a:lnTo>
                    <a:pt x="317" y="546"/>
                  </a:lnTo>
                  <a:lnTo>
                    <a:pt x="315" y="543"/>
                  </a:lnTo>
                  <a:lnTo>
                    <a:pt x="309" y="541"/>
                  </a:lnTo>
                  <a:lnTo>
                    <a:pt x="303" y="538"/>
                  </a:lnTo>
                  <a:lnTo>
                    <a:pt x="292" y="536"/>
                  </a:lnTo>
                  <a:lnTo>
                    <a:pt x="280" y="534"/>
                  </a:lnTo>
                  <a:lnTo>
                    <a:pt x="278" y="532"/>
                  </a:lnTo>
                  <a:lnTo>
                    <a:pt x="276" y="531"/>
                  </a:lnTo>
                  <a:lnTo>
                    <a:pt x="276" y="524"/>
                  </a:lnTo>
                  <a:lnTo>
                    <a:pt x="276" y="514"/>
                  </a:lnTo>
                  <a:lnTo>
                    <a:pt x="276" y="509"/>
                  </a:lnTo>
                  <a:lnTo>
                    <a:pt x="275" y="503"/>
                  </a:lnTo>
                  <a:lnTo>
                    <a:pt x="273" y="498"/>
                  </a:lnTo>
                  <a:lnTo>
                    <a:pt x="269" y="493"/>
                  </a:lnTo>
                  <a:lnTo>
                    <a:pt x="270" y="487"/>
                  </a:lnTo>
                  <a:lnTo>
                    <a:pt x="271" y="482"/>
                  </a:lnTo>
                  <a:lnTo>
                    <a:pt x="274" y="476"/>
                  </a:lnTo>
                  <a:lnTo>
                    <a:pt x="275" y="471"/>
                  </a:lnTo>
                  <a:lnTo>
                    <a:pt x="276" y="465"/>
                  </a:lnTo>
                  <a:lnTo>
                    <a:pt x="276" y="459"/>
                  </a:lnTo>
                  <a:lnTo>
                    <a:pt x="275" y="454"/>
                  </a:lnTo>
                  <a:lnTo>
                    <a:pt x="273" y="448"/>
                  </a:lnTo>
                  <a:lnTo>
                    <a:pt x="269" y="444"/>
                  </a:lnTo>
                  <a:lnTo>
                    <a:pt x="264" y="440"/>
                  </a:lnTo>
                  <a:lnTo>
                    <a:pt x="262" y="439"/>
                  </a:lnTo>
                  <a:lnTo>
                    <a:pt x="264" y="436"/>
                  </a:lnTo>
                  <a:lnTo>
                    <a:pt x="266" y="433"/>
                  </a:lnTo>
                  <a:lnTo>
                    <a:pt x="266" y="428"/>
                  </a:lnTo>
                  <a:lnTo>
                    <a:pt x="264" y="426"/>
                  </a:lnTo>
                  <a:lnTo>
                    <a:pt x="261" y="423"/>
                  </a:lnTo>
                  <a:lnTo>
                    <a:pt x="257" y="422"/>
                  </a:lnTo>
                  <a:lnTo>
                    <a:pt x="249" y="421"/>
                  </a:lnTo>
                  <a:lnTo>
                    <a:pt x="240" y="420"/>
                  </a:lnTo>
                  <a:lnTo>
                    <a:pt x="237" y="417"/>
                  </a:lnTo>
                  <a:lnTo>
                    <a:pt x="236" y="416"/>
                  </a:lnTo>
                  <a:lnTo>
                    <a:pt x="233" y="410"/>
                  </a:lnTo>
                  <a:lnTo>
                    <a:pt x="232" y="404"/>
                  </a:lnTo>
                  <a:lnTo>
                    <a:pt x="233" y="399"/>
                  </a:lnTo>
                  <a:lnTo>
                    <a:pt x="235" y="391"/>
                  </a:lnTo>
                  <a:lnTo>
                    <a:pt x="233" y="385"/>
                  </a:lnTo>
                  <a:lnTo>
                    <a:pt x="229" y="378"/>
                  </a:lnTo>
                  <a:lnTo>
                    <a:pt x="227" y="372"/>
                  </a:lnTo>
                  <a:lnTo>
                    <a:pt x="219" y="370"/>
                  </a:lnTo>
                  <a:lnTo>
                    <a:pt x="212" y="369"/>
                  </a:lnTo>
                  <a:lnTo>
                    <a:pt x="204" y="367"/>
                  </a:lnTo>
                  <a:lnTo>
                    <a:pt x="198" y="362"/>
                  </a:lnTo>
                  <a:lnTo>
                    <a:pt x="189" y="353"/>
                  </a:lnTo>
                  <a:lnTo>
                    <a:pt x="184" y="349"/>
                  </a:lnTo>
                  <a:lnTo>
                    <a:pt x="179" y="345"/>
                  </a:lnTo>
                  <a:lnTo>
                    <a:pt x="161" y="339"/>
                  </a:lnTo>
                  <a:lnTo>
                    <a:pt x="156" y="337"/>
                  </a:lnTo>
                  <a:lnTo>
                    <a:pt x="152" y="335"/>
                  </a:lnTo>
                  <a:lnTo>
                    <a:pt x="149" y="331"/>
                  </a:lnTo>
                  <a:lnTo>
                    <a:pt x="147" y="327"/>
                  </a:lnTo>
                  <a:lnTo>
                    <a:pt x="147" y="321"/>
                  </a:lnTo>
                  <a:lnTo>
                    <a:pt x="146" y="313"/>
                  </a:lnTo>
                  <a:lnTo>
                    <a:pt x="146" y="312"/>
                  </a:lnTo>
                  <a:lnTo>
                    <a:pt x="143" y="311"/>
                  </a:lnTo>
                  <a:lnTo>
                    <a:pt x="141" y="312"/>
                  </a:lnTo>
                  <a:lnTo>
                    <a:pt x="138" y="312"/>
                  </a:lnTo>
                  <a:lnTo>
                    <a:pt x="124" y="314"/>
                  </a:lnTo>
                  <a:lnTo>
                    <a:pt x="119" y="316"/>
                  </a:lnTo>
                  <a:lnTo>
                    <a:pt x="114" y="320"/>
                  </a:lnTo>
                  <a:lnTo>
                    <a:pt x="110" y="324"/>
                  </a:lnTo>
                  <a:lnTo>
                    <a:pt x="99" y="333"/>
                  </a:lnTo>
                  <a:lnTo>
                    <a:pt x="86" y="344"/>
                  </a:lnTo>
                  <a:lnTo>
                    <a:pt x="86" y="338"/>
                  </a:lnTo>
                  <a:lnTo>
                    <a:pt x="85" y="333"/>
                  </a:lnTo>
                  <a:lnTo>
                    <a:pt x="81" y="329"/>
                  </a:lnTo>
                  <a:lnTo>
                    <a:pt x="77" y="325"/>
                  </a:lnTo>
                  <a:lnTo>
                    <a:pt x="68" y="319"/>
                  </a:lnTo>
                  <a:lnTo>
                    <a:pt x="59" y="312"/>
                  </a:lnTo>
                  <a:lnTo>
                    <a:pt x="58" y="310"/>
                  </a:lnTo>
                  <a:lnTo>
                    <a:pt x="57" y="306"/>
                  </a:lnTo>
                  <a:lnTo>
                    <a:pt x="57" y="301"/>
                  </a:lnTo>
                  <a:lnTo>
                    <a:pt x="59" y="297"/>
                  </a:lnTo>
                  <a:lnTo>
                    <a:pt x="59" y="293"/>
                  </a:lnTo>
                  <a:lnTo>
                    <a:pt x="59" y="291"/>
                  </a:lnTo>
                  <a:lnTo>
                    <a:pt x="57" y="289"/>
                  </a:lnTo>
                  <a:lnTo>
                    <a:pt x="55" y="288"/>
                  </a:lnTo>
                  <a:lnTo>
                    <a:pt x="54" y="288"/>
                  </a:lnTo>
                  <a:lnTo>
                    <a:pt x="50" y="289"/>
                  </a:lnTo>
                  <a:lnTo>
                    <a:pt x="43" y="295"/>
                  </a:lnTo>
                  <a:lnTo>
                    <a:pt x="40" y="295"/>
                  </a:lnTo>
                  <a:lnTo>
                    <a:pt x="39" y="294"/>
                  </a:lnTo>
                  <a:lnTo>
                    <a:pt x="35" y="291"/>
                  </a:lnTo>
                  <a:lnTo>
                    <a:pt x="31" y="287"/>
                  </a:lnTo>
                  <a:lnTo>
                    <a:pt x="28" y="285"/>
                  </a:lnTo>
                  <a:lnTo>
                    <a:pt x="25" y="285"/>
                  </a:lnTo>
                  <a:lnTo>
                    <a:pt x="22" y="286"/>
                  </a:lnTo>
                  <a:lnTo>
                    <a:pt x="21" y="285"/>
                  </a:lnTo>
                  <a:lnTo>
                    <a:pt x="20" y="284"/>
                  </a:lnTo>
                  <a:lnTo>
                    <a:pt x="16" y="279"/>
                  </a:lnTo>
                  <a:lnTo>
                    <a:pt x="11" y="273"/>
                  </a:lnTo>
                  <a:lnTo>
                    <a:pt x="10" y="270"/>
                  </a:lnTo>
                  <a:lnTo>
                    <a:pt x="7" y="268"/>
                  </a:lnTo>
                  <a:lnTo>
                    <a:pt x="5" y="267"/>
                  </a:lnTo>
                  <a:lnTo>
                    <a:pt x="2" y="267"/>
                  </a:lnTo>
                  <a:lnTo>
                    <a:pt x="0" y="262"/>
                  </a:lnTo>
                  <a:lnTo>
                    <a:pt x="0" y="257"/>
                  </a:lnTo>
                  <a:lnTo>
                    <a:pt x="1" y="252"/>
                  </a:lnTo>
                  <a:lnTo>
                    <a:pt x="2" y="247"/>
                  </a:lnTo>
                  <a:lnTo>
                    <a:pt x="7" y="235"/>
                  </a:lnTo>
                  <a:lnTo>
                    <a:pt x="12" y="224"/>
                  </a:lnTo>
                  <a:lnTo>
                    <a:pt x="12" y="221"/>
                  </a:lnTo>
                  <a:lnTo>
                    <a:pt x="12" y="217"/>
                  </a:lnTo>
                  <a:lnTo>
                    <a:pt x="15" y="212"/>
                  </a:lnTo>
                  <a:lnTo>
                    <a:pt x="19" y="208"/>
                  </a:lnTo>
                  <a:lnTo>
                    <a:pt x="26" y="199"/>
                  </a:lnTo>
                  <a:lnTo>
                    <a:pt x="36" y="192"/>
                  </a:lnTo>
                  <a:lnTo>
                    <a:pt x="47" y="189"/>
                  </a:lnTo>
                  <a:lnTo>
                    <a:pt x="54" y="187"/>
                  </a:lnTo>
                  <a:lnTo>
                    <a:pt x="63" y="187"/>
                  </a:lnTo>
                  <a:lnTo>
                    <a:pt x="67" y="186"/>
                  </a:lnTo>
                  <a:lnTo>
                    <a:pt x="71" y="185"/>
                  </a:lnTo>
                  <a:lnTo>
                    <a:pt x="73" y="184"/>
                  </a:lnTo>
                  <a:lnTo>
                    <a:pt x="76" y="180"/>
                  </a:lnTo>
                  <a:lnTo>
                    <a:pt x="76" y="179"/>
                  </a:lnTo>
                  <a:lnTo>
                    <a:pt x="75" y="179"/>
                  </a:lnTo>
                  <a:lnTo>
                    <a:pt x="72" y="179"/>
                  </a:lnTo>
                  <a:lnTo>
                    <a:pt x="68" y="179"/>
                  </a:lnTo>
                  <a:lnTo>
                    <a:pt x="64" y="179"/>
                  </a:lnTo>
                  <a:lnTo>
                    <a:pt x="66" y="177"/>
                  </a:lnTo>
                  <a:lnTo>
                    <a:pt x="67" y="173"/>
                  </a:lnTo>
                  <a:lnTo>
                    <a:pt x="69" y="165"/>
                  </a:lnTo>
                  <a:lnTo>
                    <a:pt x="77" y="153"/>
                  </a:lnTo>
                  <a:lnTo>
                    <a:pt x="82" y="140"/>
                  </a:lnTo>
                  <a:lnTo>
                    <a:pt x="85" y="133"/>
                  </a:lnTo>
                  <a:lnTo>
                    <a:pt x="83" y="127"/>
                  </a:lnTo>
                  <a:lnTo>
                    <a:pt x="81" y="121"/>
                  </a:lnTo>
                  <a:lnTo>
                    <a:pt x="80" y="119"/>
                  </a:lnTo>
                  <a:lnTo>
                    <a:pt x="76" y="116"/>
                  </a:lnTo>
                  <a:lnTo>
                    <a:pt x="75" y="115"/>
                  </a:lnTo>
                  <a:lnTo>
                    <a:pt x="75" y="112"/>
                  </a:lnTo>
                  <a:lnTo>
                    <a:pt x="76" y="103"/>
                  </a:lnTo>
                  <a:lnTo>
                    <a:pt x="76" y="101"/>
                  </a:lnTo>
                  <a:lnTo>
                    <a:pt x="78" y="101"/>
                  </a:lnTo>
                  <a:lnTo>
                    <a:pt x="89" y="101"/>
                  </a:lnTo>
                  <a:lnTo>
                    <a:pt x="96" y="99"/>
                  </a:lnTo>
                  <a:lnTo>
                    <a:pt x="100" y="97"/>
                  </a:lnTo>
                  <a:lnTo>
                    <a:pt x="100" y="95"/>
                  </a:lnTo>
                  <a:lnTo>
                    <a:pt x="100" y="94"/>
                  </a:lnTo>
                  <a:lnTo>
                    <a:pt x="99" y="94"/>
                  </a:lnTo>
                  <a:lnTo>
                    <a:pt x="96" y="94"/>
                  </a:lnTo>
                  <a:lnTo>
                    <a:pt x="94" y="90"/>
                  </a:lnTo>
                  <a:lnTo>
                    <a:pt x="91" y="88"/>
                  </a:lnTo>
                  <a:lnTo>
                    <a:pt x="87" y="87"/>
                  </a:lnTo>
                  <a:lnTo>
                    <a:pt x="82" y="87"/>
                  </a:lnTo>
                  <a:lnTo>
                    <a:pt x="80" y="86"/>
                  </a:lnTo>
                  <a:lnTo>
                    <a:pt x="80" y="83"/>
                  </a:lnTo>
                  <a:lnTo>
                    <a:pt x="80" y="81"/>
                  </a:lnTo>
                  <a:lnTo>
                    <a:pt x="82" y="78"/>
                  </a:lnTo>
                  <a:lnTo>
                    <a:pt x="86" y="76"/>
                  </a:lnTo>
                  <a:lnTo>
                    <a:pt x="91" y="75"/>
                  </a:lnTo>
                  <a:lnTo>
                    <a:pt x="100" y="74"/>
                  </a:lnTo>
                  <a:lnTo>
                    <a:pt x="104" y="72"/>
                  </a:lnTo>
                  <a:lnTo>
                    <a:pt x="108" y="70"/>
                  </a:lnTo>
                  <a:lnTo>
                    <a:pt x="110" y="67"/>
                  </a:lnTo>
                  <a:lnTo>
                    <a:pt x="111" y="63"/>
                  </a:lnTo>
                  <a:lnTo>
                    <a:pt x="113" y="61"/>
                  </a:lnTo>
                  <a:lnTo>
                    <a:pt x="115" y="59"/>
                  </a:lnTo>
                  <a:lnTo>
                    <a:pt x="118" y="64"/>
                  </a:lnTo>
                  <a:lnTo>
                    <a:pt x="118" y="69"/>
                  </a:lnTo>
                  <a:lnTo>
                    <a:pt x="119" y="72"/>
                  </a:lnTo>
                  <a:lnTo>
                    <a:pt x="120" y="75"/>
                  </a:lnTo>
                  <a:lnTo>
                    <a:pt x="123" y="75"/>
                  </a:lnTo>
                  <a:lnTo>
                    <a:pt x="125" y="75"/>
                  </a:lnTo>
                  <a:lnTo>
                    <a:pt x="127" y="77"/>
                  </a:lnTo>
                  <a:lnTo>
                    <a:pt x="128" y="80"/>
                  </a:lnTo>
                  <a:lnTo>
                    <a:pt x="130" y="84"/>
                  </a:lnTo>
                  <a:lnTo>
                    <a:pt x="134" y="87"/>
                  </a:lnTo>
                  <a:lnTo>
                    <a:pt x="135" y="88"/>
                  </a:lnTo>
                  <a:lnTo>
                    <a:pt x="138" y="88"/>
                  </a:lnTo>
                  <a:lnTo>
                    <a:pt x="144" y="86"/>
                  </a:lnTo>
                  <a:lnTo>
                    <a:pt x="149" y="83"/>
                  </a:lnTo>
                  <a:lnTo>
                    <a:pt x="156" y="81"/>
                  </a:lnTo>
                  <a:lnTo>
                    <a:pt x="162" y="80"/>
                  </a:lnTo>
                  <a:lnTo>
                    <a:pt x="165" y="78"/>
                  </a:lnTo>
                  <a:lnTo>
                    <a:pt x="165" y="77"/>
                  </a:lnTo>
                  <a:lnTo>
                    <a:pt x="165" y="72"/>
                  </a:lnTo>
                  <a:lnTo>
                    <a:pt x="167" y="68"/>
                  </a:lnTo>
                  <a:lnTo>
                    <a:pt x="171" y="64"/>
                  </a:lnTo>
                  <a:lnTo>
                    <a:pt x="175" y="62"/>
                  </a:lnTo>
                  <a:lnTo>
                    <a:pt x="180" y="59"/>
                  </a:lnTo>
                  <a:lnTo>
                    <a:pt x="181" y="58"/>
                  </a:lnTo>
                  <a:lnTo>
                    <a:pt x="182" y="56"/>
                  </a:lnTo>
                  <a:lnTo>
                    <a:pt x="181" y="55"/>
                  </a:lnTo>
                  <a:lnTo>
                    <a:pt x="180" y="55"/>
                  </a:lnTo>
                  <a:lnTo>
                    <a:pt x="176" y="55"/>
                  </a:lnTo>
                  <a:lnTo>
                    <a:pt x="171" y="55"/>
                  </a:lnTo>
                  <a:lnTo>
                    <a:pt x="167" y="52"/>
                  </a:lnTo>
                  <a:lnTo>
                    <a:pt x="166" y="49"/>
                  </a:lnTo>
                  <a:lnTo>
                    <a:pt x="165" y="42"/>
                  </a:lnTo>
                  <a:lnTo>
                    <a:pt x="162" y="35"/>
                  </a:lnTo>
                  <a:lnTo>
                    <a:pt x="158" y="29"/>
                  </a:lnTo>
                  <a:lnTo>
                    <a:pt x="153" y="23"/>
                  </a:lnTo>
                  <a:lnTo>
                    <a:pt x="153" y="22"/>
                  </a:lnTo>
                  <a:lnTo>
                    <a:pt x="153" y="19"/>
                  </a:lnTo>
                  <a:lnTo>
                    <a:pt x="156" y="18"/>
                  </a:lnTo>
                  <a:lnTo>
                    <a:pt x="162" y="20"/>
                  </a:lnTo>
                  <a:lnTo>
                    <a:pt x="169" y="23"/>
                  </a:lnTo>
                  <a:lnTo>
                    <a:pt x="184" y="26"/>
                  </a:lnTo>
                  <a:lnTo>
                    <a:pt x="186" y="27"/>
                  </a:lnTo>
                  <a:lnTo>
                    <a:pt x="188" y="30"/>
                  </a:lnTo>
                  <a:lnTo>
                    <a:pt x="189" y="29"/>
                  </a:lnTo>
                  <a:lnTo>
                    <a:pt x="193" y="26"/>
                  </a:lnTo>
                  <a:lnTo>
                    <a:pt x="196" y="24"/>
                  </a:lnTo>
                  <a:lnTo>
                    <a:pt x="204" y="22"/>
                  </a:lnTo>
                  <a:lnTo>
                    <a:pt x="209" y="19"/>
                  </a:lnTo>
                  <a:lnTo>
                    <a:pt x="214" y="16"/>
                  </a:lnTo>
                  <a:lnTo>
                    <a:pt x="221" y="13"/>
                  </a:lnTo>
                  <a:lnTo>
                    <a:pt x="227" y="11"/>
                  </a:lnTo>
                  <a:lnTo>
                    <a:pt x="228" y="10"/>
                  </a:lnTo>
                  <a:lnTo>
                    <a:pt x="229" y="6"/>
                  </a:lnTo>
                  <a:lnTo>
                    <a:pt x="229" y="3"/>
                  </a:lnTo>
                  <a:lnTo>
                    <a:pt x="229" y="0"/>
                  </a:lnTo>
                  <a:lnTo>
                    <a:pt x="235" y="0"/>
                  </a:lnTo>
                  <a:lnTo>
                    <a:pt x="238" y="0"/>
                  </a:lnTo>
                  <a:lnTo>
                    <a:pt x="240" y="3"/>
                  </a:lnTo>
                  <a:lnTo>
                    <a:pt x="240" y="5"/>
                  </a:lnTo>
                  <a:lnTo>
                    <a:pt x="241" y="10"/>
                  </a:lnTo>
                  <a:lnTo>
                    <a:pt x="242" y="12"/>
                  </a:lnTo>
                  <a:lnTo>
                    <a:pt x="245" y="14"/>
                  </a:lnTo>
                  <a:lnTo>
                    <a:pt x="250" y="18"/>
                  </a:lnTo>
                  <a:lnTo>
                    <a:pt x="252" y="20"/>
                  </a:lnTo>
                  <a:lnTo>
                    <a:pt x="254" y="23"/>
                  </a:lnTo>
                  <a:lnTo>
                    <a:pt x="254" y="26"/>
                  </a:lnTo>
                  <a:lnTo>
                    <a:pt x="252" y="29"/>
                  </a:lnTo>
                  <a:lnTo>
                    <a:pt x="251" y="31"/>
                  </a:lnTo>
                  <a:lnTo>
                    <a:pt x="249" y="32"/>
                  </a:lnTo>
                  <a:lnTo>
                    <a:pt x="246" y="36"/>
                  </a:lnTo>
                  <a:lnTo>
                    <a:pt x="243" y="39"/>
                  </a:lnTo>
                  <a:lnTo>
                    <a:pt x="243" y="45"/>
                  </a:lnTo>
                  <a:lnTo>
                    <a:pt x="243" y="52"/>
                  </a:lnTo>
                  <a:lnTo>
                    <a:pt x="245" y="58"/>
                  </a:lnTo>
                  <a:lnTo>
                    <a:pt x="247" y="65"/>
                  </a:lnTo>
                  <a:lnTo>
                    <a:pt x="250" y="71"/>
                  </a:lnTo>
                  <a:lnTo>
                    <a:pt x="254" y="77"/>
                  </a:lnTo>
                  <a:lnTo>
                    <a:pt x="257" y="81"/>
                  </a:lnTo>
                  <a:lnTo>
                    <a:pt x="260" y="81"/>
                  </a:lnTo>
                  <a:lnTo>
                    <a:pt x="262" y="78"/>
                  </a:lnTo>
                  <a:lnTo>
                    <a:pt x="268" y="75"/>
                  </a:lnTo>
                  <a:lnTo>
                    <a:pt x="273" y="72"/>
                  </a:lnTo>
                  <a:lnTo>
                    <a:pt x="276" y="72"/>
                  </a:lnTo>
                  <a:lnTo>
                    <a:pt x="280" y="71"/>
                  </a:lnTo>
                  <a:lnTo>
                    <a:pt x="284" y="69"/>
                  </a:lnTo>
                  <a:lnTo>
                    <a:pt x="288" y="68"/>
                  </a:lnTo>
                  <a:lnTo>
                    <a:pt x="292" y="65"/>
                  </a:lnTo>
                  <a:lnTo>
                    <a:pt x="301" y="68"/>
                  </a:lnTo>
                  <a:lnTo>
                    <a:pt x="304" y="67"/>
                  </a:lnTo>
                  <a:lnTo>
                    <a:pt x="306" y="67"/>
                  </a:lnTo>
                  <a:lnTo>
                    <a:pt x="307" y="64"/>
                  </a:lnTo>
                  <a:lnTo>
                    <a:pt x="308" y="59"/>
                  </a:lnTo>
                  <a:lnTo>
                    <a:pt x="308" y="56"/>
                  </a:lnTo>
                  <a:lnTo>
                    <a:pt x="311" y="55"/>
                  </a:lnTo>
                  <a:lnTo>
                    <a:pt x="315" y="52"/>
                  </a:lnTo>
                  <a:lnTo>
                    <a:pt x="320" y="52"/>
                  </a:lnTo>
                  <a:lnTo>
                    <a:pt x="323" y="54"/>
                  </a:lnTo>
                  <a:lnTo>
                    <a:pt x="329" y="56"/>
                  </a:lnTo>
                  <a:lnTo>
                    <a:pt x="334" y="57"/>
                  </a:lnTo>
                  <a:lnTo>
                    <a:pt x="339" y="58"/>
                  </a:lnTo>
                  <a:lnTo>
                    <a:pt x="341" y="59"/>
                  </a:lnTo>
                  <a:lnTo>
                    <a:pt x="342" y="62"/>
                  </a:lnTo>
                  <a:lnTo>
                    <a:pt x="344" y="64"/>
                  </a:lnTo>
                  <a:lnTo>
                    <a:pt x="346" y="67"/>
                  </a:lnTo>
                  <a:lnTo>
                    <a:pt x="349" y="67"/>
                  </a:lnTo>
                  <a:lnTo>
                    <a:pt x="350" y="67"/>
                  </a:lnTo>
                  <a:lnTo>
                    <a:pt x="353" y="63"/>
                  </a:lnTo>
                  <a:lnTo>
                    <a:pt x="356" y="62"/>
                  </a:lnTo>
                  <a:lnTo>
                    <a:pt x="362" y="59"/>
                  </a:lnTo>
                  <a:lnTo>
                    <a:pt x="369" y="59"/>
                  </a:lnTo>
                  <a:lnTo>
                    <a:pt x="374" y="57"/>
                  </a:lnTo>
                  <a:lnTo>
                    <a:pt x="377" y="55"/>
                  </a:lnTo>
                  <a:lnTo>
                    <a:pt x="378" y="51"/>
                  </a:lnTo>
                  <a:lnTo>
                    <a:pt x="379" y="48"/>
                  </a:lnTo>
                  <a:lnTo>
                    <a:pt x="381" y="43"/>
                  </a:lnTo>
                  <a:lnTo>
                    <a:pt x="382" y="37"/>
                  </a:lnTo>
                  <a:lnTo>
                    <a:pt x="383" y="31"/>
                  </a:lnTo>
                  <a:lnTo>
                    <a:pt x="384" y="25"/>
                  </a:lnTo>
                  <a:lnTo>
                    <a:pt x="386" y="19"/>
                  </a:lnTo>
                  <a:lnTo>
                    <a:pt x="387" y="14"/>
                  </a:lnTo>
                  <a:lnTo>
                    <a:pt x="387" y="13"/>
                  </a:lnTo>
                  <a:lnTo>
                    <a:pt x="388"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69" name="Freeform 868"/>
            <p:cNvSpPr>
              <a:spLocks/>
            </p:cNvSpPr>
            <p:nvPr/>
          </p:nvSpPr>
          <p:spPr bwMode="auto">
            <a:xfrm>
              <a:off x="2763840" y="5021268"/>
              <a:ext cx="207962" cy="261936"/>
            </a:xfrm>
            <a:custGeom>
              <a:avLst/>
              <a:gdLst>
                <a:gd name="T0" fmla="*/ 2147483647 w 142"/>
                <a:gd name="T1" fmla="*/ 2147483647 h 165"/>
                <a:gd name="T2" fmla="*/ 2147483647 w 142"/>
                <a:gd name="T3" fmla="*/ 2147483647 h 165"/>
                <a:gd name="T4" fmla="*/ 2147483647 w 142"/>
                <a:gd name="T5" fmla="*/ 2147483647 h 165"/>
                <a:gd name="T6" fmla="*/ 2147483647 w 142"/>
                <a:gd name="T7" fmla="*/ 2147483647 h 165"/>
                <a:gd name="T8" fmla="*/ 2147483647 w 142"/>
                <a:gd name="T9" fmla="*/ 2147483647 h 165"/>
                <a:gd name="T10" fmla="*/ 2147483647 w 142"/>
                <a:gd name="T11" fmla="*/ 2147483647 h 165"/>
                <a:gd name="T12" fmla="*/ 2147483647 w 142"/>
                <a:gd name="T13" fmla="*/ 2147483647 h 165"/>
                <a:gd name="T14" fmla="*/ 2147483647 w 142"/>
                <a:gd name="T15" fmla="*/ 2147483647 h 165"/>
                <a:gd name="T16" fmla="*/ 2147483647 w 142"/>
                <a:gd name="T17" fmla="*/ 2147483647 h 165"/>
                <a:gd name="T18" fmla="*/ 2147483647 w 142"/>
                <a:gd name="T19" fmla="*/ 2147483647 h 165"/>
                <a:gd name="T20" fmla="*/ 2147483647 w 142"/>
                <a:gd name="T21" fmla="*/ 2147483647 h 165"/>
                <a:gd name="T22" fmla="*/ 2147483647 w 142"/>
                <a:gd name="T23" fmla="*/ 2147483647 h 165"/>
                <a:gd name="T24" fmla="*/ 2147483647 w 142"/>
                <a:gd name="T25" fmla="*/ 2147483647 h 165"/>
                <a:gd name="T26" fmla="*/ 2147483647 w 142"/>
                <a:gd name="T27" fmla="*/ 2147483647 h 165"/>
                <a:gd name="T28" fmla="*/ 2147483647 w 142"/>
                <a:gd name="T29" fmla="*/ 2147483647 h 165"/>
                <a:gd name="T30" fmla="*/ 2147483647 w 142"/>
                <a:gd name="T31" fmla="*/ 2147483647 h 165"/>
                <a:gd name="T32" fmla="*/ 2147483647 w 142"/>
                <a:gd name="T33" fmla="*/ 2147483647 h 165"/>
                <a:gd name="T34" fmla="*/ 2147483647 w 142"/>
                <a:gd name="T35" fmla="*/ 2147483647 h 165"/>
                <a:gd name="T36" fmla="*/ 2147483647 w 142"/>
                <a:gd name="T37" fmla="*/ 2147483647 h 165"/>
                <a:gd name="T38" fmla="*/ 2147483647 w 142"/>
                <a:gd name="T39" fmla="*/ 2147483647 h 165"/>
                <a:gd name="T40" fmla="*/ 2147483647 w 142"/>
                <a:gd name="T41" fmla="*/ 2147483647 h 165"/>
                <a:gd name="T42" fmla="*/ 2147483647 w 142"/>
                <a:gd name="T43" fmla="*/ 2147483647 h 165"/>
                <a:gd name="T44" fmla="*/ 2147483647 w 142"/>
                <a:gd name="T45" fmla="*/ 2147483647 h 165"/>
                <a:gd name="T46" fmla="*/ 2147483647 w 142"/>
                <a:gd name="T47" fmla="*/ 2147483647 h 165"/>
                <a:gd name="T48" fmla="*/ 2147483647 w 142"/>
                <a:gd name="T49" fmla="*/ 2147483647 h 165"/>
                <a:gd name="T50" fmla="*/ 2147483647 w 142"/>
                <a:gd name="T51" fmla="*/ 2147483647 h 165"/>
                <a:gd name="T52" fmla="*/ 2147483647 w 142"/>
                <a:gd name="T53" fmla="*/ 2147483647 h 165"/>
                <a:gd name="T54" fmla="*/ 2147483647 w 142"/>
                <a:gd name="T55" fmla="*/ 2147483647 h 165"/>
                <a:gd name="T56" fmla="*/ 2147483647 w 142"/>
                <a:gd name="T57" fmla="*/ 2147483647 h 165"/>
                <a:gd name="T58" fmla="*/ 2147483647 w 142"/>
                <a:gd name="T59" fmla="*/ 2147483647 h 165"/>
                <a:gd name="T60" fmla="*/ 2147483647 w 142"/>
                <a:gd name="T61" fmla="*/ 2147483647 h 165"/>
                <a:gd name="T62" fmla="*/ 2147483647 w 142"/>
                <a:gd name="T63" fmla="*/ 2147483647 h 165"/>
                <a:gd name="T64" fmla="*/ 2147483647 w 142"/>
                <a:gd name="T65" fmla="*/ 2147483647 h 165"/>
                <a:gd name="T66" fmla="*/ 2147483647 w 142"/>
                <a:gd name="T67" fmla="*/ 2147483647 h 165"/>
                <a:gd name="T68" fmla="*/ 0 w 142"/>
                <a:gd name="T69" fmla="*/ 2147483647 h 165"/>
                <a:gd name="T70" fmla="*/ 2147483647 w 142"/>
                <a:gd name="T71" fmla="*/ 2147483647 h 165"/>
                <a:gd name="T72" fmla="*/ 2147483647 w 142"/>
                <a:gd name="T73" fmla="*/ 2147483647 h 165"/>
                <a:gd name="T74" fmla="*/ 2147483647 w 142"/>
                <a:gd name="T75" fmla="*/ 2147483647 h 165"/>
                <a:gd name="T76" fmla="*/ 2147483647 w 142"/>
                <a:gd name="T77" fmla="*/ 2147483647 h 165"/>
                <a:gd name="T78" fmla="*/ 2147483647 w 142"/>
                <a:gd name="T79" fmla="*/ 2147483647 h 165"/>
                <a:gd name="T80" fmla="*/ 2147483647 w 142"/>
                <a:gd name="T81" fmla="*/ 2147483647 h 165"/>
                <a:gd name="T82" fmla="*/ 2147483647 w 142"/>
                <a:gd name="T83" fmla="*/ 0 h 165"/>
                <a:gd name="T84" fmla="*/ 2147483647 w 142"/>
                <a:gd name="T85" fmla="*/ 0 h 165"/>
                <a:gd name="T86" fmla="*/ 2147483647 w 142"/>
                <a:gd name="T87" fmla="*/ 2147483647 h 165"/>
                <a:gd name="T88" fmla="*/ 2147483647 w 142"/>
                <a:gd name="T89" fmla="*/ 2147483647 h 165"/>
                <a:gd name="T90" fmla="*/ 2147483647 w 142"/>
                <a:gd name="T91" fmla="*/ 2147483647 h 165"/>
                <a:gd name="T92" fmla="*/ 2147483647 w 142"/>
                <a:gd name="T93" fmla="*/ 2147483647 h 165"/>
                <a:gd name="T94" fmla="*/ 2147483647 w 142"/>
                <a:gd name="T95" fmla="*/ 2147483647 h 165"/>
                <a:gd name="T96" fmla="*/ 2147483647 w 142"/>
                <a:gd name="T97" fmla="*/ 2147483647 h 165"/>
                <a:gd name="T98" fmla="*/ 2147483647 w 142"/>
                <a:gd name="T99" fmla="*/ 2147483647 h 165"/>
                <a:gd name="T100" fmla="*/ 2147483647 w 142"/>
                <a:gd name="T101" fmla="*/ 2147483647 h 165"/>
                <a:gd name="T102" fmla="*/ 2147483647 w 142"/>
                <a:gd name="T103" fmla="*/ 2147483647 h 165"/>
                <a:gd name="T104" fmla="*/ 2147483647 w 142"/>
                <a:gd name="T105" fmla="*/ 2147483647 h 165"/>
                <a:gd name="T106" fmla="*/ 2147483647 w 142"/>
                <a:gd name="T107" fmla="*/ 2147483647 h 165"/>
                <a:gd name="T108" fmla="*/ 2147483647 w 142"/>
                <a:gd name="T109" fmla="*/ 2147483647 h 165"/>
                <a:gd name="T110" fmla="*/ 2147483647 w 142"/>
                <a:gd name="T111" fmla="*/ 2147483647 h 165"/>
                <a:gd name="T112" fmla="*/ 2147483647 w 142"/>
                <a:gd name="T113" fmla="*/ 2147483647 h 165"/>
                <a:gd name="T114" fmla="*/ 2147483647 w 142"/>
                <a:gd name="T115" fmla="*/ 2147483647 h 165"/>
                <a:gd name="T116" fmla="*/ 2147483647 w 142"/>
                <a:gd name="T117" fmla="*/ 2147483647 h 165"/>
                <a:gd name="T118" fmla="*/ 2147483647 w 142"/>
                <a:gd name="T119" fmla="*/ 2147483647 h 165"/>
                <a:gd name="T120" fmla="*/ 2147483647 w 142"/>
                <a:gd name="T121" fmla="*/ 2147483647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2"/>
                <a:gd name="T184" fmla="*/ 0 h 165"/>
                <a:gd name="T185" fmla="*/ 142 w 142"/>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2" h="165">
                  <a:moveTo>
                    <a:pt x="132" y="127"/>
                  </a:moveTo>
                  <a:lnTo>
                    <a:pt x="132" y="127"/>
                  </a:lnTo>
                  <a:lnTo>
                    <a:pt x="133" y="133"/>
                  </a:lnTo>
                  <a:lnTo>
                    <a:pt x="134" y="140"/>
                  </a:lnTo>
                  <a:lnTo>
                    <a:pt x="133" y="144"/>
                  </a:lnTo>
                  <a:lnTo>
                    <a:pt x="131" y="146"/>
                  </a:lnTo>
                  <a:lnTo>
                    <a:pt x="128" y="147"/>
                  </a:lnTo>
                  <a:lnTo>
                    <a:pt x="125" y="149"/>
                  </a:lnTo>
                  <a:lnTo>
                    <a:pt x="120" y="155"/>
                  </a:lnTo>
                  <a:lnTo>
                    <a:pt x="117" y="161"/>
                  </a:lnTo>
                  <a:lnTo>
                    <a:pt x="113" y="164"/>
                  </a:lnTo>
                  <a:lnTo>
                    <a:pt x="109" y="164"/>
                  </a:lnTo>
                  <a:lnTo>
                    <a:pt x="105" y="161"/>
                  </a:lnTo>
                  <a:lnTo>
                    <a:pt x="101" y="159"/>
                  </a:lnTo>
                  <a:lnTo>
                    <a:pt x="99" y="161"/>
                  </a:lnTo>
                  <a:lnTo>
                    <a:pt x="95" y="164"/>
                  </a:lnTo>
                  <a:lnTo>
                    <a:pt x="92" y="165"/>
                  </a:lnTo>
                  <a:lnTo>
                    <a:pt x="91" y="165"/>
                  </a:lnTo>
                  <a:lnTo>
                    <a:pt x="90" y="164"/>
                  </a:lnTo>
                  <a:lnTo>
                    <a:pt x="84" y="162"/>
                  </a:lnTo>
                  <a:lnTo>
                    <a:pt x="80" y="162"/>
                  </a:lnTo>
                  <a:lnTo>
                    <a:pt x="77" y="161"/>
                  </a:lnTo>
                  <a:lnTo>
                    <a:pt x="75" y="161"/>
                  </a:lnTo>
                  <a:lnTo>
                    <a:pt x="72" y="161"/>
                  </a:lnTo>
                  <a:lnTo>
                    <a:pt x="70" y="160"/>
                  </a:lnTo>
                  <a:lnTo>
                    <a:pt x="68" y="160"/>
                  </a:lnTo>
                  <a:lnTo>
                    <a:pt x="68" y="158"/>
                  </a:lnTo>
                  <a:lnTo>
                    <a:pt x="68" y="155"/>
                  </a:lnTo>
                  <a:lnTo>
                    <a:pt x="71" y="151"/>
                  </a:lnTo>
                  <a:lnTo>
                    <a:pt x="75" y="145"/>
                  </a:lnTo>
                  <a:lnTo>
                    <a:pt x="77" y="140"/>
                  </a:lnTo>
                  <a:lnTo>
                    <a:pt x="78" y="132"/>
                  </a:lnTo>
                  <a:lnTo>
                    <a:pt x="80" y="125"/>
                  </a:lnTo>
                  <a:lnTo>
                    <a:pt x="78" y="121"/>
                  </a:lnTo>
                  <a:lnTo>
                    <a:pt x="77" y="117"/>
                  </a:lnTo>
                  <a:lnTo>
                    <a:pt x="75" y="114"/>
                  </a:lnTo>
                  <a:lnTo>
                    <a:pt x="72" y="112"/>
                  </a:lnTo>
                  <a:lnTo>
                    <a:pt x="62" y="107"/>
                  </a:lnTo>
                  <a:lnTo>
                    <a:pt x="53" y="102"/>
                  </a:lnTo>
                  <a:lnTo>
                    <a:pt x="43" y="97"/>
                  </a:lnTo>
                  <a:lnTo>
                    <a:pt x="34" y="90"/>
                  </a:lnTo>
                  <a:lnTo>
                    <a:pt x="33" y="89"/>
                  </a:lnTo>
                  <a:lnTo>
                    <a:pt x="33" y="87"/>
                  </a:lnTo>
                  <a:lnTo>
                    <a:pt x="31" y="82"/>
                  </a:lnTo>
                  <a:lnTo>
                    <a:pt x="31" y="77"/>
                  </a:lnTo>
                  <a:lnTo>
                    <a:pt x="30" y="76"/>
                  </a:lnTo>
                  <a:lnTo>
                    <a:pt x="29" y="75"/>
                  </a:lnTo>
                  <a:lnTo>
                    <a:pt x="21" y="70"/>
                  </a:lnTo>
                  <a:lnTo>
                    <a:pt x="15" y="65"/>
                  </a:lnTo>
                  <a:lnTo>
                    <a:pt x="11" y="62"/>
                  </a:lnTo>
                  <a:lnTo>
                    <a:pt x="9" y="58"/>
                  </a:lnTo>
                  <a:lnTo>
                    <a:pt x="5" y="53"/>
                  </a:lnTo>
                  <a:lnTo>
                    <a:pt x="0" y="51"/>
                  </a:lnTo>
                  <a:lnTo>
                    <a:pt x="4" y="49"/>
                  </a:lnTo>
                  <a:lnTo>
                    <a:pt x="5" y="46"/>
                  </a:lnTo>
                  <a:lnTo>
                    <a:pt x="7" y="39"/>
                  </a:lnTo>
                  <a:lnTo>
                    <a:pt x="10" y="34"/>
                  </a:lnTo>
                  <a:lnTo>
                    <a:pt x="11" y="29"/>
                  </a:lnTo>
                  <a:lnTo>
                    <a:pt x="14" y="17"/>
                  </a:lnTo>
                  <a:lnTo>
                    <a:pt x="16" y="11"/>
                  </a:lnTo>
                  <a:lnTo>
                    <a:pt x="19" y="6"/>
                  </a:lnTo>
                  <a:lnTo>
                    <a:pt x="23" y="4"/>
                  </a:lnTo>
                  <a:lnTo>
                    <a:pt x="29" y="2"/>
                  </a:lnTo>
                  <a:lnTo>
                    <a:pt x="37" y="1"/>
                  </a:lnTo>
                  <a:lnTo>
                    <a:pt x="43" y="0"/>
                  </a:lnTo>
                  <a:lnTo>
                    <a:pt x="49" y="0"/>
                  </a:lnTo>
                  <a:lnTo>
                    <a:pt x="52" y="0"/>
                  </a:lnTo>
                  <a:lnTo>
                    <a:pt x="56" y="1"/>
                  </a:lnTo>
                  <a:lnTo>
                    <a:pt x="64" y="5"/>
                  </a:lnTo>
                  <a:lnTo>
                    <a:pt x="68" y="6"/>
                  </a:lnTo>
                  <a:lnTo>
                    <a:pt x="71" y="8"/>
                  </a:lnTo>
                  <a:lnTo>
                    <a:pt x="75" y="13"/>
                  </a:lnTo>
                  <a:lnTo>
                    <a:pt x="77" y="18"/>
                  </a:lnTo>
                  <a:lnTo>
                    <a:pt x="78" y="24"/>
                  </a:lnTo>
                  <a:lnTo>
                    <a:pt x="78" y="29"/>
                  </a:lnTo>
                  <a:lnTo>
                    <a:pt x="78" y="39"/>
                  </a:lnTo>
                  <a:lnTo>
                    <a:pt x="78" y="46"/>
                  </a:lnTo>
                  <a:lnTo>
                    <a:pt x="80" y="47"/>
                  </a:lnTo>
                  <a:lnTo>
                    <a:pt x="82" y="49"/>
                  </a:lnTo>
                  <a:lnTo>
                    <a:pt x="94" y="51"/>
                  </a:lnTo>
                  <a:lnTo>
                    <a:pt x="105" y="53"/>
                  </a:lnTo>
                  <a:lnTo>
                    <a:pt x="111" y="56"/>
                  </a:lnTo>
                  <a:lnTo>
                    <a:pt x="117" y="58"/>
                  </a:lnTo>
                  <a:lnTo>
                    <a:pt x="119" y="61"/>
                  </a:lnTo>
                  <a:lnTo>
                    <a:pt x="122" y="64"/>
                  </a:lnTo>
                  <a:lnTo>
                    <a:pt x="123" y="71"/>
                  </a:lnTo>
                  <a:lnTo>
                    <a:pt x="122" y="85"/>
                  </a:lnTo>
                  <a:lnTo>
                    <a:pt x="123" y="89"/>
                  </a:lnTo>
                  <a:lnTo>
                    <a:pt x="125" y="90"/>
                  </a:lnTo>
                  <a:lnTo>
                    <a:pt x="128" y="91"/>
                  </a:lnTo>
                  <a:lnTo>
                    <a:pt x="132" y="90"/>
                  </a:lnTo>
                  <a:lnTo>
                    <a:pt x="138" y="89"/>
                  </a:lnTo>
                  <a:lnTo>
                    <a:pt x="142" y="87"/>
                  </a:lnTo>
                  <a:lnTo>
                    <a:pt x="139" y="97"/>
                  </a:lnTo>
                  <a:lnTo>
                    <a:pt x="136" y="107"/>
                  </a:lnTo>
                  <a:lnTo>
                    <a:pt x="133" y="117"/>
                  </a:lnTo>
                  <a:lnTo>
                    <a:pt x="132" y="12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0" name="Freeform 869"/>
            <p:cNvSpPr>
              <a:spLocks/>
            </p:cNvSpPr>
            <p:nvPr/>
          </p:nvSpPr>
          <p:spPr bwMode="auto">
            <a:xfrm>
              <a:off x="2586042" y="4746629"/>
              <a:ext cx="295275" cy="377825"/>
            </a:xfrm>
            <a:custGeom>
              <a:avLst/>
              <a:gdLst>
                <a:gd name="T0" fmla="*/ 2147483647 w 201"/>
                <a:gd name="T1" fmla="*/ 2147483647 h 238"/>
                <a:gd name="T2" fmla="*/ 2147483647 w 201"/>
                <a:gd name="T3" fmla="*/ 2147483647 h 238"/>
                <a:gd name="T4" fmla="*/ 2147483647 w 201"/>
                <a:gd name="T5" fmla="*/ 2147483647 h 238"/>
                <a:gd name="T6" fmla="*/ 2147483647 w 201"/>
                <a:gd name="T7" fmla="*/ 2147483647 h 238"/>
                <a:gd name="T8" fmla="*/ 2147483647 w 201"/>
                <a:gd name="T9" fmla="*/ 2147483647 h 238"/>
                <a:gd name="T10" fmla="*/ 2147483647 w 201"/>
                <a:gd name="T11" fmla="*/ 2147483647 h 238"/>
                <a:gd name="T12" fmla="*/ 2147483647 w 201"/>
                <a:gd name="T13" fmla="*/ 2147483647 h 238"/>
                <a:gd name="T14" fmla="*/ 2147483647 w 201"/>
                <a:gd name="T15" fmla="*/ 2147483647 h 238"/>
                <a:gd name="T16" fmla="*/ 2147483647 w 201"/>
                <a:gd name="T17" fmla="*/ 2147483647 h 238"/>
                <a:gd name="T18" fmla="*/ 2147483647 w 201"/>
                <a:gd name="T19" fmla="*/ 2147483647 h 238"/>
                <a:gd name="T20" fmla="*/ 2147483647 w 201"/>
                <a:gd name="T21" fmla="*/ 2147483647 h 238"/>
                <a:gd name="T22" fmla="*/ 2147483647 w 201"/>
                <a:gd name="T23" fmla="*/ 2147483647 h 238"/>
                <a:gd name="T24" fmla="*/ 2147483647 w 201"/>
                <a:gd name="T25" fmla="*/ 2147483647 h 238"/>
                <a:gd name="T26" fmla="*/ 2147483647 w 201"/>
                <a:gd name="T27" fmla="*/ 2147483647 h 238"/>
                <a:gd name="T28" fmla="*/ 2147483647 w 201"/>
                <a:gd name="T29" fmla="*/ 2147483647 h 238"/>
                <a:gd name="T30" fmla="*/ 2147483647 w 201"/>
                <a:gd name="T31" fmla="*/ 2147483647 h 238"/>
                <a:gd name="T32" fmla="*/ 2147483647 w 201"/>
                <a:gd name="T33" fmla="*/ 2147483647 h 238"/>
                <a:gd name="T34" fmla="*/ 2147483647 w 201"/>
                <a:gd name="T35" fmla="*/ 2147483647 h 238"/>
                <a:gd name="T36" fmla="*/ 2147483647 w 201"/>
                <a:gd name="T37" fmla="*/ 2147483647 h 238"/>
                <a:gd name="T38" fmla="*/ 2147483647 w 201"/>
                <a:gd name="T39" fmla="*/ 2147483647 h 238"/>
                <a:gd name="T40" fmla="*/ 2147483647 w 201"/>
                <a:gd name="T41" fmla="*/ 2147483647 h 238"/>
                <a:gd name="T42" fmla="*/ 2147483647 w 201"/>
                <a:gd name="T43" fmla="*/ 2147483647 h 238"/>
                <a:gd name="T44" fmla="*/ 2147483647 w 201"/>
                <a:gd name="T45" fmla="*/ 2147483647 h 238"/>
                <a:gd name="T46" fmla="*/ 2147483647 w 201"/>
                <a:gd name="T47" fmla="*/ 2147483647 h 238"/>
                <a:gd name="T48" fmla="*/ 2147483647 w 201"/>
                <a:gd name="T49" fmla="*/ 2147483647 h 238"/>
                <a:gd name="T50" fmla="*/ 2147483647 w 201"/>
                <a:gd name="T51" fmla="*/ 2147483647 h 238"/>
                <a:gd name="T52" fmla="*/ 2147483647 w 201"/>
                <a:gd name="T53" fmla="*/ 2147483647 h 238"/>
                <a:gd name="T54" fmla="*/ 2147483647 w 201"/>
                <a:gd name="T55" fmla="*/ 2147483647 h 238"/>
                <a:gd name="T56" fmla="*/ 2147483647 w 201"/>
                <a:gd name="T57" fmla="*/ 2147483647 h 238"/>
                <a:gd name="T58" fmla="*/ 2147483647 w 201"/>
                <a:gd name="T59" fmla="*/ 2147483647 h 238"/>
                <a:gd name="T60" fmla="*/ 2147483647 w 201"/>
                <a:gd name="T61" fmla="*/ 2147483647 h 238"/>
                <a:gd name="T62" fmla="*/ 0 w 201"/>
                <a:gd name="T63" fmla="*/ 2147483647 h 238"/>
                <a:gd name="T64" fmla="*/ 2147483647 w 201"/>
                <a:gd name="T65" fmla="*/ 2147483647 h 238"/>
                <a:gd name="T66" fmla="*/ 2147483647 w 201"/>
                <a:gd name="T67" fmla="*/ 2147483647 h 238"/>
                <a:gd name="T68" fmla="*/ 2147483647 w 201"/>
                <a:gd name="T69" fmla="*/ 2147483647 h 238"/>
                <a:gd name="T70" fmla="*/ 2147483647 w 201"/>
                <a:gd name="T71" fmla="*/ 2147483647 h 238"/>
                <a:gd name="T72" fmla="*/ 2147483647 w 201"/>
                <a:gd name="T73" fmla="*/ 2147483647 h 238"/>
                <a:gd name="T74" fmla="*/ 2147483647 w 201"/>
                <a:gd name="T75" fmla="*/ 2147483647 h 238"/>
                <a:gd name="T76" fmla="*/ 2147483647 w 201"/>
                <a:gd name="T77" fmla="*/ 2147483647 h 238"/>
                <a:gd name="T78" fmla="*/ 2147483647 w 201"/>
                <a:gd name="T79" fmla="*/ 2147483647 h 238"/>
                <a:gd name="T80" fmla="*/ 2147483647 w 201"/>
                <a:gd name="T81" fmla="*/ 2147483647 h 238"/>
                <a:gd name="T82" fmla="*/ 2147483647 w 201"/>
                <a:gd name="T83" fmla="*/ 2147483647 h 238"/>
                <a:gd name="T84" fmla="*/ 2147483647 w 201"/>
                <a:gd name="T85" fmla="*/ 2147483647 h 238"/>
                <a:gd name="T86" fmla="*/ 2147483647 w 201"/>
                <a:gd name="T87" fmla="*/ 2147483647 h 238"/>
                <a:gd name="T88" fmla="*/ 2147483647 w 201"/>
                <a:gd name="T89" fmla="*/ 2147483647 h 238"/>
                <a:gd name="T90" fmla="*/ 2147483647 w 201"/>
                <a:gd name="T91" fmla="*/ 2147483647 h 238"/>
                <a:gd name="T92" fmla="*/ 2147483647 w 201"/>
                <a:gd name="T93" fmla="*/ 2147483647 h 238"/>
                <a:gd name="T94" fmla="*/ 2147483647 w 201"/>
                <a:gd name="T95" fmla="*/ 2147483647 h 238"/>
                <a:gd name="T96" fmla="*/ 2147483647 w 201"/>
                <a:gd name="T97" fmla="*/ 2147483647 h 238"/>
                <a:gd name="T98" fmla="*/ 2147483647 w 201"/>
                <a:gd name="T99" fmla="*/ 2147483647 h 238"/>
                <a:gd name="T100" fmla="*/ 2147483647 w 201"/>
                <a:gd name="T101" fmla="*/ 2147483647 h 238"/>
                <a:gd name="T102" fmla="*/ 2147483647 w 201"/>
                <a:gd name="T103" fmla="*/ 2147483647 h 238"/>
                <a:gd name="T104" fmla="*/ 2147483647 w 201"/>
                <a:gd name="T105" fmla="*/ 2147483647 h 238"/>
                <a:gd name="T106" fmla="*/ 2147483647 w 201"/>
                <a:gd name="T107" fmla="*/ 2147483647 h 238"/>
                <a:gd name="T108" fmla="*/ 2147483647 w 201"/>
                <a:gd name="T109" fmla="*/ 2147483647 h 238"/>
                <a:gd name="T110" fmla="*/ 2147483647 w 201"/>
                <a:gd name="T111" fmla="*/ 2147483647 h 238"/>
                <a:gd name="T112" fmla="*/ 2147483647 w 201"/>
                <a:gd name="T113" fmla="*/ 2147483647 h 238"/>
                <a:gd name="T114" fmla="*/ 2147483647 w 201"/>
                <a:gd name="T115" fmla="*/ 2147483647 h 238"/>
                <a:gd name="T116" fmla="*/ 2147483647 w 201"/>
                <a:gd name="T117" fmla="*/ 2147483647 h 238"/>
                <a:gd name="T118" fmla="*/ 2147483647 w 201"/>
                <a:gd name="T119" fmla="*/ 2147483647 h 238"/>
                <a:gd name="T120" fmla="*/ 2147483647 w 201"/>
                <a:gd name="T121" fmla="*/ 2147483647 h 238"/>
                <a:gd name="T122" fmla="*/ 2147483647 w 201"/>
                <a:gd name="T123" fmla="*/ 2147483647 h 238"/>
                <a:gd name="T124" fmla="*/ 2147483647 w 201"/>
                <a:gd name="T125" fmla="*/ 2147483647 h 2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1"/>
                <a:gd name="T190" fmla="*/ 0 h 238"/>
                <a:gd name="T191" fmla="*/ 201 w 201"/>
                <a:gd name="T192" fmla="*/ 238 h 2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1" h="238">
                  <a:moveTo>
                    <a:pt x="193" y="183"/>
                  </a:moveTo>
                  <a:lnTo>
                    <a:pt x="194" y="177"/>
                  </a:lnTo>
                  <a:lnTo>
                    <a:pt x="196" y="171"/>
                  </a:lnTo>
                  <a:lnTo>
                    <a:pt x="198" y="165"/>
                  </a:lnTo>
                  <a:lnTo>
                    <a:pt x="199" y="160"/>
                  </a:lnTo>
                  <a:lnTo>
                    <a:pt x="201" y="154"/>
                  </a:lnTo>
                  <a:lnTo>
                    <a:pt x="201" y="148"/>
                  </a:lnTo>
                  <a:lnTo>
                    <a:pt x="199" y="143"/>
                  </a:lnTo>
                  <a:lnTo>
                    <a:pt x="197" y="138"/>
                  </a:lnTo>
                  <a:lnTo>
                    <a:pt x="193" y="133"/>
                  </a:lnTo>
                  <a:lnTo>
                    <a:pt x="188" y="129"/>
                  </a:lnTo>
                  <a:lnTo>
                    <a:pt x="187" y="128"/>
                  </a:lnTo>
                  <a:lnTo>
                    <a:pt x="188" y="126"/>
                  </a:lnTo>
                  <a:lnTo>
                    <a:pt x="191" y="122"/>
                  </a:lnTo>
                  <a:lnTo>
                    <a:pt x="191" y="117"/>
                  </a:lnTo>
                  <a:lnTo>
                    <a:pt x="188" y="115"/>
                  </a:lnTo>
                  <a:lnTo>
                    <a:pt x="185" y="113"/>
                  </a:lnTo>
                  <a:lnTo>
                    <a:pt x="182" y="111"/>
                  </a:lnTo>
                  <a:lnTo>
                    <a:pt x="173" y="110"/>
                  </a:lnTo>
                  <a:lnTo>
                    <a:pt x="164" y="109"/>
                  </a:lnTo>
                  <a:lnTo>
                    <a:pt x="161" y="107"/>
                  </a:lnTo>
                  <a:lnTo>
                    <a:pt x="160" y="105"/>
                  </a:lnTo>
                  <a:lnTo>
                    <a:pt x="158" y="100"/>
                  </a:lnTo>
                  <a:lnTo>
                    <a:pt x="156" y="94"/>
                  </a:lnTo>
                  <a:lnTo>
                    <a:pt x="158" y="88"/>
                  </a:lnTo>
                  <a:lnTo>
                    <a:pt x="159" y="81"/>
                  </a:lnTo>
                  <a:lnTo>
                    <a:pt x="158" y="75"/>
                  </a:lnTo>
                  <a:lnTo>
                    <a:pt x="154" y="68"/>
                  </a:lnTo>
                  <a:lnTo>
                    <a:pt x="151" y="62"/>
                  </a:lnTo>
                  <a:lnTo>
                    <a:pt x="144" y="59"/>
                  </a:lnTo>
                  <a:lnTo>
                    <a:pt x="136" y="58"/>
                  </a:lnTo>
                  <a:lnTo>
                    <a:pt x="128" y="56"/>
                  </a:lnTo>
                  <a:lnTo>
                    <a:pt x="122" y="51"/>
                  </a:lnTo>
                  <a:lnTo>
                    <a:pt x="113" y="43"/>
                  </a:lnTo>
                  <a:lnTo>
                    <a:pt x="108" y="38"/>
                  </a:lnTo>
                  <a:lnTo>
                    <a:pt x="103" y="34"/>
                  </a:lnTo>
                  <a:lnTo>
                    <a:pt x="85" y="28"/>
                  </a:lnTo>
                  <a:lnTo>
                    <a:pt x="80" y="26"/>
                  </a:lnTo>
                  <a:lnTo>
                    <a:pt x="76" y="24"/>
                  </a:lnTo>
                  <a:lnTo>
                    <a:pt x="74" y="20"/>
                  </a:lnTo>
                  <a:lnTo>
                    <a:pt x="71" y="17"/>
                  </a:lnTo>
                  <a:lnTo>
                    <a:pt x="71" y="11"/>
                  </a:lnTo>
                  <a:lnTo>
                    <a:pt x="70" y="2"/>
                  </a:lnTo>
                  <a:lnTo>
                    <a:pt x="70" y="1"/>
                  </a:lnTo>
                  <a:lnTo>
                    <a:pt x="67" y="0"/>
                  </a:lnTo>
                  <a:lnTo>
                    <a:pt x="65" y="1"/>
                  </a:lnTo>
                  <a:lnTo>
                    <a:pt x="62" y="1"/>
                  </a:lnTo>
                  <a:lnTo>
                    <a:pt x="48" y="4"/>
                  </a:lnTo>
                  <a:lnTo>
                    <a:pt x="43" y="5"/>
                  </a:lnTo>
                  <a:lnTo>
                    <a:pt x="38" y="9"/>
                  </a:lnTo>
                  <a:lnTo>
                    <a:pt x="34" y="13"/>
                  </a:lnTo>
                  <a:lnTo>
                    <a:pt x="23" y="23"/>
                  </a:lnTo>
                  <a:lnTo>
                    <a:pt x="10" y="33"/>
                  </a:lnTo>
                  <a:lnTo>
                    <a:pt x="6" y="36"/>
                  </a:lnTo>
                  <a:lnTo>
                    <a:pt x="4" y="39"/>
                  </a:lnTo>
                  <a:lnTo>
                    <a:pt x="3" y="43"/>
                  </a:lnTo>
                  <a:lnTo>
                    <a:pt x="3" y="46"/>
                  </a:lnTo>
                  <a:lnTo>
                    <a:pt x="4" y="75"/>
                  </a:lnTo>
                  <a:lnTo>
                    <a:pt x="9" y="103"/>
                  </a:lnTo>
                  <a:lnTo>
                    <a:pt x="9" y="108"/>
                  </a:lnTo>
                  <a:lnTo>
                    <a:pt x="8" y="114"/>
                  </a:lnTo>
                  <a:lnTo>
                    <a:pt x="3" y="123"/>
                  </a:lnTo>
                  <a:lnTo>
                    <a:pt x="0" y="128"/>
                  </a:lnTo>
                  <a:lnTo>
                    <a:pt x="0" y="134"/>
                  </a:lnTo>
                  <a:lnTo>
                    <a:pt x="0" y="139"/>
                  </a:lnTo>
                  <a:lnTo>
                    <a:pt x="3" y="143"/>
                  </a:lnTo>
                  <a:lnTo>
                    <a:pt x="6" y="148"/>
                  </a:lnTo>
                  <a:lnTo>
                    <a:pt x="13" y="155"/>
                  </a:lnTo>
                  <a:lnTo>
                    <a:pt x="17" y="164"/>
                  </a:lnTo>
                  <a:lnTo>
                    <a:pt x="20" y="173"/>
                  </a:lnTo>
                  <a:lnTo>
                    <a:pt x="22" y="183"/>
                  </a:lnTo>
                  <a:lnTo>
                    <a:pt x="22" y="190"/>
                  </a:lnTo>
                  <a:lnTo>
                    <a:pt x="24" y="197"/>
                  </a:lnTo>
                  <a:lnTo>
                    <a:pt x="28" y="209"/>
                  </a:lnTo>
                  <a:lnTo>
                    <a:pt x="32" y="220"/>
                  </a:lnTo>
                  <a:lnTo>
                    <a:pt x="36" y="229"/>
                  </a:lnTo>
                  <a:lnTo>
                    <a:pt x="38" y="236"/>
                  </a:lnTo>
                  <a:lnTo>
                    <a:pt x="41" y="238"/>
                  </a:lnTo>
                  <a:lnTo>
                    <a:pt x="43" y="238"/>
                  </a:lnTo>
                  <a:lnTo>
                    <a:pt x="46" y="237"/>
                  </a:lnTo>
                  <a:lnTo>
                    <a:pt x="48" y="234"/>
                  </a:lnTo>
                  <a:lnTo>
                    <a:pt x="51" y="229"/>
                  </a:lnTo>
                  <a:lnTo>
                    <a:pt x="55" y="226"/>
                  </a:lnTo>
                  <a:lnTo>
                    <a:pt x="56" y="225"/>
                  </a:lnTo>
                  <a:lnTo>
                    <a:pt x="60" y="225"/>
                  </a:lnTo>
                  <a:lnTo>
                    <a:pt x="62" y="228"/>
                  </a:lnTo>
                  <a:lnTo>
                    <a:pt x="64" y="230"/>
                  </a:lnTo>
                  <a:lnTo>
                    <a:pt x="66" y="231"/>
                  </a:lnTo>
                  <a:lnTo>
                    <a:pt x="67" y="231"/>
                  </a:lnTo>
                  <a:lnTo>
                    <a:pt x="70" y="230"/>
                  </a:lnTo>
                  <a:lnTo>
                    <a:pt x="72" y="228"/>
                  </a:lnTo>
                  <a:lnTo>
                    <a:pt x="75" y="226"/>
                  </a:lnTo>
                  <a:lnTo>
                    <a:pt x="79" y="228"/>
                  </a:lnTo>
                  <a:lnTo>
                    <a:pt x="81" y="229"/>
                  </a:lnTo>
                  <a:lnTo>
                    <a:pt x="84" y="231"/>
                  </a:lnTo>
                  <a:lnTo>
                    <a:pt x="85" y="234"/>
                  </a:lnTo>
                  <a:lnTo>
                    <a:pt x="86" y="237"/>
                  </a:lnTo>
                  <a:lnTo>
                    <a:pt x="89" y="238"/>
                  </a:lnTo>
                  <a:lnTo>
                    <a:pt x="92" y="238"/>
                  </a:lnTo>
                  <a:lnTo>
                    <a:pt x="94" y="237"/>
                  </a:lnTo>
                  <a:lnTo>
                    <a:pt x="95" y="230"/>
                  </a:lnTo>
                  <a:lnTo>
                    <a:pt x="98" y="228"/>
                  </a:lnTo>
                  <a:lnTo>
                    <a:pt x="99" y="226"/>
                  </a:lnTo>
                  <a:lnTo>
                    <a:pt x="103" y="225"/>
                  </a:lnTo>
                  <a:lnTo>
                    <a:pt x="105" y="225"/>
                  </a:lnTo>
                  <a:lnTo>
                    <a:pt x="113" y="226"/>
                  </a:lnTo>
                  <a:lnTo>
                    <a:pt x="121" y="225"/>
                  </a:lnTo>
                  <a:lnTo>
                    <a:pt x="122" y="225"/>
                  </a:lnTo>
                  <a:lnTo>
                    <a:pt x="126" y="223"/>
                  </a:lnTo>
                  <a:lnTo>
                    <a:pt x="127" y="220"/>
                  </a:lnTo>
                  <a:lnTo>
                    <a:pt x="130" y="213"/>
                  </a:lnTo>
                  <a:lnTo>
                    <a:pt x="132" y="209"/>
                  </a:lnTo>
                  <a:lnTo>
                    <a:pt x="133" y="203"/>
                  </a:lnTo>
                  <a:lnTo>
                    <a:pt x="136" y="191"/>
                  </a:lnTo>
                  <a:lnTo>
                    <a:pt x="138" y="185"/>
                  </a:lnTo>
                  <a:lnTo>
                    <a:pt x="141" y="180"/>
                  </a:lnTo>
                  <a:lnTo>
                    <a:pt x="145" y="178"/>
                  </a:lnTo>
                  <a:lnTo>
                    <a:pt x="151" y="177"/>
                  </a:lnTo>
                  <a:lnTo>
                    <a:pt x="159" y="175"/>
                  </a:lnTo>
                  <a:lnTo>
                    <a:pt x="165" y="174"/>
                  </a:lnTo>
                  <a:lnTo>
                    <a:pt x="172" y="174"/>
                  </a:lnTo>
                  <a:lnTo>
                    <a:pt x="174" y="174"/>
                  </a:lnTo>
                  <a:lnTo>
                    <a:pt x="178" y="175"/>
                  </a:lnTo>
                  <a:lnTo>
                    <a:pt x="187" y="179"/>
                  </a:lnTo>
                  <a:lnTo>
                    <a:pt x="191" y="180"/>
                  </a:lnTo>
                  <a:lnTo>
                    <a:pt x="193" y="18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1" name="Freeform 870"/>
            <p:cNvSpPr>
              <a:spLocks/>
            </p:cNvSpPr>
            <p:nvPr/>
          </p:nvSpPr>
          <p:spPr bwMode="auto">
            <a:xfrm>
              <a:off x="2295525" y="4408492"/>
              <a:ext cx="304800" cy="579437"/>
            </a:xfrm>
            <a:custGeom>
              <a:avLst/>
              <a:gdLst>
                <a:gd name="T0" fmla="*/ 2147483647 w 209"/>
                <a:gd name="T1" fmla="*/ 2147483647 h 365"/>
                <a:gd name="T2" fmla="*/ 2147483647 w 209"/>
                <a:gd name="T3" fmla="*/ 2147483647 h 365"/>
                <a:gd name="T4" fmla="*/ 2147483647 w 209"/>
                <a:gd name="T5" fmla="*/ 2147483647 h 365"/>
                <a:gd name="T6" fmla="*/ 2147483647 w 209"/>
                <a:gd name="T7" fmla="*/ 2147483647 h 365"/>
                <a:gd name="T8" fmla="*/ 2147483647 w 209"/>
                <a:gd name="T9" fmla="*/ 2147483647 h 365"/>
                <a:gd name="T10" fmla="*/ 2147483647 w 209"/>
                <a:gd name="T11" fmla="*/ 2147483647 h 365"/>
                <a:gd name="T12" fmla="*/ 2147483647 w 209"/>
                <a:gd name="T13" fmla="*/ 2147483647 h 365"/>
                <a:gd name="T14" fmla="*/ 2147483647 w 209"/>
                <a:gd name="T15" fmla="*/ 2147483647 h 365"/>
                <a:gd name="T16" fmla="*/ 2147483647 w 209"/>
                <a:gd name="T17" fmla="*/ 2147483647 h 365"/>
                <a:gd name="T18" fmla="*/ 2147483647 w 209"/>
                <a:gd name="T19" fmla="*/ 2147483647 h 365"/>
                <a:gd name="T20" fmla="*/ 2147483647 w 209"/>
                <a:gd name="T21" fmla="*/ 2147483647 h 365"/>
                <a:gd name="T22" fmla="*/ 2147483647 w 209"/>
                <a:gd name="T23" fmla="*/ 2147483647 h 365"/>
                <a:gd name="T24" fmla="*/ 2147483647 w 209"/>
                <a:gd name="T25" fmla="*/ 2147483647 h 365"/>
                <a:gd name="T26" fmla="*/ 2147483647 w 209"/>
                <a:gd name="T27" fmla="*/ 2147483647 h 365"/>
                <a:gd name="T28" fmla="*/ 2147483647 w 209"/>
                <a:gd name="T29" fmla="*/ 2147483647 h 365"/>
                <a:gd name="T30" fmla="*/ 2147483647 w 209"/>
                <a:gd name="T31" fmla="*/ 2147483647 h 365"/>
                <a:gd name="T32" fmla="*/ 2147483647 w 209"/>
                <a:gd name="T33" fmla="*/ 2147483647 h 365"/>
                <a:gd name="T34" fmla="*/ 2147483647 w 209"/>
                <a:gd name="T35" fmla="*/ 2147483647 h 365"/>
                <a:gd name="T36" fmla="*/ 2147483647 w 209"/>
                <a:gd name="T37" fmla="*/ 2147483647 h 365"/>
                <a:gd name="T38" fmla="*/ 2147483647 w 209"/>
                <a:gd name="T39" fmla="*/ 2147483647 h 365"/>
                <a:gd name="T40" fmla="*/ 2147483647 w 209"/>
                <a:gd name="T41" fmla="*/ 2147483647 h 365"/>
                <a:gd name="T42" fmla="*/ 2147483647 w 209"/>
                <a:gd name="T43" fmla="*/ 2147483647 h 365"/>
                <a:gd name="T44" fmla="*/ 2147483647 w 209"/>
                <a:gd name="T45" fmla="*/ 2147483647 h 365"/>
                <a:gd name="T46" fmla="*/ 2147483647 w 209"/>
                <a:gd name="T47" fmla="*/ 2147483647 h 365"/>
                <a:gd name="T48" fmla="*/ 2147483647 w 209"/>
                <a:gd name="T49" fmla="*/ 0 h 365"/>
                <a:gd name="T50" fmla="*/ 2147483647 w 209"/>
                <a:gd name="T51" fmla="*/ 2147483647 h 365"/>
                <a:gd name="T52" fmla="*/ 2147483647 w 209"/>
                <a:gd name="T53" fmla="*/ 2147483647 h 365"/>
                <a:gd name="T54" fmla="*/ 2147483647 w 209"/>
                <a:gd name="T55" fmla="*/ 2147483647 h 365"/>
                <a:gd name="T56" fmla="*/ 2147483647 w 209"/>
                <a:gd name="T57" fmla="*/ 2147483647 h 365"/>
                <a:gd name="T58" fmla="*/ 2147483647 w 209"/>
                <a:gd name="T59" fmla="*/ 2147483647 h 365"/>
                <a:gd name="T60" fmla="*/ 2147483647 w 209"/>
                <a:gd name="T61" fmla="*/ 2147483647 h 365"/>
                <a:gd name="T62" fmla="*/ 2147483647 w 209"/>
                <a:gd name="T63" fmla="*/ 2147483647 h 365"/>
                <a:gd name="T64" fmla="*/ 2147483647 w 209"/>
                <a:gd name="T65" fmla="*/ 2147483647 h 365"/>
                <a:gd name="T66" fmla="*/ 2147483647 w 209"/>
                <a:gd name="T67" fmla="*/ 2147483647 h 365"/>
                <a:gd name="T68" fmla="*/ 2147483647 w 209"/>
                <a:gd name="T69" fmla="*/ 2147483647 h 365"/>
                <a:gd name="T70" fmla="*/ 0 w 209"/>
                <a:gd name="T71" fmla="*/ 2147483647 h 365"/>
                <a:gd name="T72" fmla="*/ 2147483647 w 209"/>
                <a:gd name="T73" fmla="*/ 2147483647 h 365"/>
                <a:gd name="T74" fmla="*/ 2147483647 w 209"/>
                <a:gd name="T75" fmla="*/ 2147483647 h 365"/>
                <a:gd name="T76" fmla="*/ 2147483647 w 209"/>
                <a:gd name="T77" fmla="*/ 2147483647 h 365"/>
                <a:gd name="T78" fmla="*/ 2147483647 w 209"/>
                <a:gd name="T79" fmla="*/ 2147483647 h 365"/>
                <a:gd name="T80" fmla="*/ 2147483647 w 209"/>
                <a:gd name="T81" fmla="*/ 2147483647 h 365"/>
                <a:gd name="T82" fmla="*/ 2147483647 w 209"/>
                <a:gd name="T83" fmla="*/ 2147483647 h 365"/>
                <a:gd name="T84" fmla="*/ 2147483647 w 209"/>
                <a:gd name="T85" fmla="*/ 2147483647 h 365"/>
                <a:gd name="T86" fmla="*/ 2147483647 w 209"/>
                <a:gd name="T87" fmla="*/ 2147483647 h 365"/>
                <a:gd name="T88" fmla="*/ 2147483647 w 209"/>
                <a:gd name="T89" fmla="*/ 2147483647 h 365"/>
                <a:gd name="T90" fmla="*/ 2147483647 w 209"/>
                <a:gd name="T91" fmla="*/ 2147483647 h 365"/>
                <a:gd name="T92" fmla="*/ 2147483647 w 209"/>
                <a:gd name="T93" fmla="*/ 2147483647 h 365"/>
                <a:gd name="T94" fmla="*/ 2147483647 w 209"/>
                <a:gd name="T95" fmla="*/ 2147483647 h 365"/>
                <a:gd name="T96" fmla="*/ 2147483647 w 209"/>
                <a:gd name="T97" fmla="*/ 2147483647 h 36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9"/>
                <a:gd name="T148" fmla="*/ 0 h 365"/>
                <a:gd name="T149" fmla="*/ 209 w 209"/>
                <a:gd name="T150" fmla="*/ 365 h 36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9" h="365">
                  <a:moveTo>
                    <a:pt x="184" y="365"/>
                  </a:moveTo>
                  <a:lnTo>
                    <a:pt x="190" y="365"/>
                  </a:lnTo>
                  <a:lnTo>
                    <a:pt x="195" y="364"/>
                  </a:lnTo>
                  <a:lnTo>
                    <a:pt x="205" y="361"/>
                  </a:lnTo>
                  <a:lnTo>
                    <a:pt x="202" y="356"/>
                  </a:lnTo>
                  <a:lnTo>
                    <a:pt x="199" y="352"/>
                  </a:lnTo>
                  <a:lnTo>
                    <a:pt x="199" y="347"/>
                  </a:lnTo>
                  <a:lnTo>
                    <a:pt x="199" y="341"/>
                  </a:lnTo>
                  <a:lnTo>
                    <a:pt x="202" y="336"/>
                  </a:lnTo>
                  <a:lnTo>
                    <a:pt x="207" y="327"/>
                  </a:lnTo>
                  <a:lnTo>
                    <a:pt x="208" y="321"/>
                  </a:lnTo>
                  <a:lnTo>
                    <a:pt x="208" y="316"/>
                  </a:lnTo>
                  <a:lnTo>
                    <a:pt x="203" y="288"/>
                  </a:lnTo>
                  <a:lnTo>
                    <a:pt x="202" y="259"/>
                  </a:lnTo>
                  <a:lnTo>
                    <a:pt x="202" y="256"/>
                  </a:lnTo>
                  <a:lnTo>
                    <a:pt x="203" y="252"/>
                  </a:lnTo>
                  <a:lnTo>
                    <a:pt x="205" y="249"/>
                  </a:lnTo>
                  <a:lnTo>
                    <a:pt x="209" y="246"/>
                  </a:lnTo>
                  <a:lnTo>
                    <a:pt x="209" y="240"/>
                  </a:lnTo>
                  <a:lnTo>
                    <a:pt x="208" y="236"/>
                  </a:lnTo>
                  <a:lnTo>
                    <a:pt x="204" y="231"/>
                  </a:lnTo>
                  <a:lnTo>
                    <a:pt x="200" y="227"/>
                  </a:lnTo>
                  <a:lnTo>
                    <a:pt x="191" y="221"/>
                  </a:lnTo>
                  <a:lnTo>
                    <a:pt x="183" y="214"/>
                  </a:lnTo>
                  <a:lnTo>
                    <a:pt x="181" y="212"/>
                  </a:lnTo>
                  <a:lnTo>
                    <a:pt x="180" y="208"/>
                  </a:lnTo>
                  <a:lnTo>
                    <a:pt x="180" y="203"/>
                  </a:lnTo>
                  <a:lnTo>
                    <a:pt x="183" y="199"/>
                  </a:lnTo>
                  <a:lnTo>
                    <a:pt x="183" y="195"/>
                  </a:lnTo>
                  <a:lnTo>
                    <a:pt x="183" y="193"/>
                  </a:lnTo>
                  <a:lnTo>
                    <a:pt x="180" y="192"/>
                  </a:lnTo>
                  <a:lnTo>
                    <a:pt x="179" y="190"/>
                  </a:lnTo>
                  <a:lnTo>
                    <a:pt x="177" y="190"/>
                  </a:lnTo>
                  <a:lnTo>
                    <a:pt x="174" y="192"/>
                  </a:lnTo>
                  <a:lnTo>
                    <a:pt x="166" y="198"/>
                  </a:lnTo>
                  <a:lnTo>
                    <a:pt x="164" y="198"/>
                  </a:lnTo>
                  <a:lnTo>
                    <a:pt x="162" y="196"/>
                  </a:lnTo>
                  <a:lnTo>
                    <a:pt x="158" y="193"/>
                  </a:lnTo>
                  <a:lnTo>
                    <a:pt x="155" y="189"/>
                  </a:lnTo>
                  <a:lnTo>
                    <a:pt x="151" y="187"/>
                  </a:lnTo>
                  <a:lnTo>
                    <a:pt x="148" y="187"/>
                  </a:lnTo>
                  <a:lnTo>
                    <a:pt x="146" y="188"/>
                  </a:lnTo>
                  <a:lnTo>
                    <a:pt x="144" y="187"/>
                  </a:lnTo>
                  <a:lnTo>
                    <a:pt x="143" y="186"/>
                  </a:lnTo>
                  <a:lnTo>
                    <a:pt x="139" y="181"/>
                  </a:lnTo>
                  <a:lnTo>
                    <a:pt x="134" y="175"/>
                  </a:lnTo>
                  <a:lnTo>
                    <a:pt x="133" y="173"/>
                  </a:lnTo>
                  <a:lnTo>
                    <a:pt x="131" y="170"/>
                  </a:lnTo>
                  <a:lnTo>
                    <a:pt x="128" y="169"/>
                  </a:lnTo>
                  <a:lnTo>
                    <a:pt x="125" y="169"/>
                  </a:lnTo>
                  <a:lnTo>
                    <a:pt x="123" y="164"/>
                  </a:lnTo>
                  <a:lnTo>
                    <a:pt x="123" y="160"/>
                  </a:lnTo>
                  <a:lnTo>
                    <a:pt x="124" y="154"/>
                  </a:lnTo>
                  <a:lnTo>
                    <a:pt x="125" y="149"/>
                  </a:lnTo>
                  <a:lnTo>
                    <a:pt x="131" y="137"/>
                  </a:lnTo>
                  <a:lnTo>
                    <a:pt x="136" y="126"/>
                  </a:lnTo>
                  <a:lnTo>
                    <a:pt x="136" y="123"/>
                  </a:lnTo>
                  <a:lnTo>
                    <a:pt x="136" y="119"/>
                  </a:lnTo>
                  <a:lnTo>
                    <a:pt x="138" y="115"/>
                  </a:lnTo>
                  <a:lnTo>
                    <a:pt x="142" y="110"/>
                  </a:lnTo>
                  <a:lnTo>
                    <a:pt x="150" y="102"/>
                  </a:lnTo>
                  <a:lnTo>
                    <a:pt x="160" y="94"/>
                  </a:lnTo>
                  <a:lnTo>
                    <a:pt x="170" y="91"/>
                  </a:lnTo>
                  <a:lnTo>
                    <a:pt x="177" y="90"/>
                  </a:lnTo>
                  <a:lnTo>
                    <a:pt x="186" y="90"/>
                  </a:lnTo>
                  <a:lnTo>
                    <a:pt x="190" y="88"/>
                  </a:lnTo>
                  <a:lnTo>
                    <a:pt x="194" y="87"/>
                  </a:lnTo>
                  <a:lnTo>
                    <a:pt x="197" y="86"/>
                  </a:lnTo>
                  <a:lnTo>
                    <a:pt x="199" y="83"/>
                  </a:lnTo>
                  <a:lnTo>
                    <a:pt x="199" y="81"/>
                  </a:lnTo>
                  <a:lnTo>
                    <a:pt x="198" y="81"/>
                  </a:lnTo>
                  <a:lnTo>
                    <a:pt x="195" y="81"/>
                  </a:lnTo>
                  <a:lnTo>
                    <a:pt x="191" y="81"/>
                  </a:lnTo>
                  <a:lnTo>
                    <a:pt x="188" y="81"/>
                  </a:lnTo>
                  <a:lnTo>
                    <a:pt x="184" y="83"/>
                  </a:lnTo>
                  <a:lnTo>
                    <a:pt x="180" y="83"/>
                  </a:lnTo>
                  <a:lnTo>
                    <a:pt x="176" y="81"/>
                  </a:lnTo>
                  <a:lnTo>
                    <a:pt x="174" y="79"/>
                  </a:lnTo>
                  <a:lnTo>
                    <a:pt x="176" y="73"/>
                  </a:lnTo>
                  <a:lnTo>
                    <a:pt x="180" y="65"/>
                  </a:lnTo>
                  <a:lnTo>
                    <a:pt x="190" y="48"/>
                  </a:lnTo>
                  <a:lnTo>
                    <a:pt x="188" y="46"/>
                  </a:lnTo>
                  <a:lnTo>
                    <a:pt x="184" y="45"/>
                  </a:lnTo>
                  <a:lnTo>
                    <a:pt x="180" y="45"/>
                  </a:lnTo>
                  <a:lnTo>
                    <a:pt x="176" y="43"/>
                  </a:lnTo>
                  <a:lnTo>
                    <a:pt x="171" y="40"/>
                  </a:lnTo>
                  <a:lnTo>
                    <a:pt x="167" y="36"/>
                  </a:lnTo>
                  <a:lnTo>
                    <a:pt x="164" y="35"/>
                  </a:lnTo>
                  <a:lnTo>
                    <a:pt x="158" y="36"/>
                  </a:lnTo>
                  <a:lnTo>
                    <a:pt x="155" y="38"/>
                  </a:lnTo>
                  <a:lnTo>
                    <a:pt x="151" y="36"/>
                  </a:lnTo>
                  <a:lnTo>
                    <a:pt x="147" y="34"/>
                  </a:lnTo>
                  <a:lnTo>
                    <a:pt x="144" y="30"/>
                  </a:lnTo>
                  <a:lnTo>
                    <a:pt x="143" y="27"/>
                  </a:lnTo>
                  <a:lnTo>
                    <a:pt x="141" y="24"/>
                  </a:lnTo>
                  <a:lnTo>
                    <a:pt x="128" y="21"/>
                  </a:lnTo>
                  <a:lnTo>
                    <a:pt x="124" y="20"/>
                  </a:lnTo>
                  <a:lnTo>
                    <a:pt x="109" y="6"/>
                  </a:lnTo>
                  <a:lnTo>
                    <a:pt x="105" y="3"/>
                  </a:lnTo>
                  <a:lnTo>
                    <a:pt x="99" y="0"/>
                  </a:lnTo>
                  <a:lnTo>
                    <a:pt x="101" y="6"/>
                  </a:lnTo>
                  <a:lnTo>
                    <a:pt x="104" y="10"/>
                  </a:lnTo>
                  <a:lnTo>
                    <a:pt x="106" y="16"/>
                  </a:lnTo>
                  <a:lnTo>
                    <a:pt x="109" y="21"/>
                  </a:lnTo>
                  <a:lnTo>
                    <a:pt x="110" y="26"/>
                  </a:lnTo>
                  <a:lnTo>
                    <a:pt x="109" y="29"/>
                  </a:lnTo>
                  <a:lnTo>
                    <a:pt x="108" y="34"/>
                  </a:lnTo>
                  <a:lnTo>
                    <a:pt x="105" y="38"/>
                  </a:lnTo>
                  <a:lnTo>
                    <a:pt x="97" y="45"/>
                  </a:lnTo>
                  <a:lnTo>
                    <a:pt x="91" y="51"/>
                  </a:lnTo>
                  <a:lnTo>
                    <a:pt x="82" y="56"/>
                  </a:lnTo>
                  <a:lnTo>
                    <a:pt x="73" y="62"/>
                  </a:lnTo>
                  <a:lnTo>
                    <a:pt x="66" y="68"/>
                  </a:lnTo>
                  <a:lnTo>
                    <a:pt x="62" y="73"/>
                  </a:lnTo>
                  <a:lnTo>
                    <a:pt x="61" y="78"/>
                  </a:lnTo>
                  <a:lnTo>
                    <a:pt x="58" y="84"/>
                  </a:lnTo>
                  <a:lnTo>
                    <a:pt x="57" y="87"/>
                  </a:lnTo>
                  <a:lnTo>
                    <a:pt x="54" y="90"/>
                  </a:lnTo>
                  <a:lnTo>
                    <a:pt x="52" y="92"/>
                  </a:lnTo>
                  <a:lnTo>
                    <a:pt x="47" y="93"/>
                  </a:lnTo>
                  <a:lnTo>
                    <a:pt x="44" y="94"/>
                  </a:lnTo>
                  <a:lnTo>
                    <a:pt x="43" y="97"/>
                  </a:lnTo>
                  <a:lnTo>
                    <a:pt x="39" y="97"/>
                  </a:lnTo>
                  <a:lnTo>
                    <a:pt x="38" y="97"/>
                  </a:lnTo>
                  <a:lnTo>
                    <a:pt x="35" y="94"/>
                  </a:lnTo>
                  <a:lnTo>
                    <a:pt x="33" y="93"/>
                  </a:lnTo>
                  <a:lnTo>
                    <a:pt x="29" y="94"/>
                  </a:lnTo>
                  <a:lnTo>
                    <a:pt x="23" y="96"/>
                  </a:lnTo>
                  <a:lnTo>
                    <a:pt x="20" y="96"/>
                  </a:lnTo>
                  <a:lnTo>
                    <a:pt x="19" y="96"/>
                  </a:lnTo>
                  <a:lnTo>
                    <a:pt x="16" y="93"/>
                  </a:lnTo>
                  <a:lnTo>
                    <a:pt x="16" y="90"/>
                  </a:lnTo>
                  <a:lnTo>
                    <a:pt x="17" y="86"/>
                  </a:lnTo>
                  <a:lnTo>
                    <a:pt x="20" y="83"/>
                  </a:lnTo>
                  <a:lnTo>
                    <a:pt x="21" y="78"/>
                  </a:lnTo>
                  <a:lnTo>
                    <a:pt x="21" y="75"/>
                  </a:lnTo>
                  <a:lnTo>
                    <a:pt x="20" y="73"/>
                  </a:lnTo>
                  <a:lnTo>
                    <a:pt x="16" y="75"/>
                  </a:lnTo>
                  <a:lnTo>
                    <a:pt x="14" y="75"/>
                  </a:lnTo>
                  <a:lnTo>
                    <a:pt x="10" y="78"/>
                  </a:lnTo>
                  <a:lnTo>
                    <a:pt x="7" y="81"/>
                  </a:lnTo>
                  <a:lnTo>
                    <a:pt x="5" y="85"/>
                  </a:lnTo>
                  <a:lnTo>
                    <a:pt x="2" y="88"/>
                  </a:lnTo>
                  <a:lnTo>
                    <a:pt x="0" y="92"/>
                  </a:lnTo>
                  <a:lnTo>
                    <a:pt x="0" y="96"/>
                  </a:lnTo>
                  <a:lnTo>
                    <a:pt x="5" y="107"/>
                  </a:lnTo>
                  <a:lnTo>
                    <a:pt x="6" y="113"/>
                  </a:lnTo>
                  <a:lnTo>
                    <a:pt x="6" y="121"/>
                  </a:lnTo>
                  <a:lnTo>
                    <a:pt x="7" y="124"/>
                  </a:lnTo>
                  <a:lnTo>
                    <a:pt x="9" y="128"/>
                  </a:lnTo>
                  <a:lnTo>
                    <a:pt x="15" y="132"/>
                  </a:lnTo>
                  <a:lnTo>
                    <a:pt x="21" y="138"/>
                  </a:lnTo>
                  <a:lnTo>
                    <a:pt x="26" y="144"/>
                  </a:lnTo>
                  <a:lnTo>
                    <a:pt x="31" y="155"/>
                  </a:lnTo>
                  <a:lnTo>
                    <a:pt x="35" y="158"/>
                  </a:lnTo>
                  <a:lnTo>
                    <a:pt x="40" y="163"/>
                  </a:lnTo>
                  <a:lnTo>
                    <a:pt x="42" y="164"/>
                  </a:lnTo>
                  <a:lnTo>
                    <a:pt x="42" y="167"/>
                  </a:lnTo>
                  <a:lnTo>
                    <a:pt x="43" y="171"/>
                  </a:lnTo>
                  <a:lnTo>
                    <a:pt x="43" y="176"/>
                  </a:lnTo>
                  <a:lnTo>
                    <a:pt x="51" y="190"/>
                  </a:lnTo>
                  <a:lnTo>
                    <a:pt x="57" y="203"/>
                  </a:lnTo>
                  <a:lnTo>
                    <a:pt x="70" y="232"/>
                  </a:lnTo>
                  <a:lnTo>
                    <a:pt x="72" y="236"/>
                  </a:lnTo>
                  <a:lnTo>
                    <a:pt x="75" y="238"/>
                  </a:lnTo>
                  <a:lnTo>
                    <a:pt x="78" y="251"/>
                  </a:lnTo>
                  <a:lnTo>
                    <a:pt x="81" y="257"/>
                  </a:lnTo>
                  <a:lnTo>
                    <a:pt x="85" y="264"/>
                  </a:lnTo>
                  <a:lnTo>
                    <a:pt x="86" y="266"/>
                  </a:lnTo>
                  <a:lnTo>
                    <a:pt x="86" y="270"/>
                  </a:lnTo>
                  <a:lnTo>
                    <a:pt x="85" y="277"/>
                  </a:lnTo>
                  <a:lnTo>
                    <a:pt x="86" y="284"/>
                  </a:lnTo>
                  <a:lnTo>
                    <a:pt x="90" y="289"/>
                  </a:lnTo>
                  <a:lnTo>
                    <a:pt x="95" y="294"/>
                  </a:lnTo>
                  <a:lnTo>
                    <a:pt x="101" y="297"/>
                  </a:lnTo>
                  <a:lnTo>
                    <a:pt x="104" y="300"/>
                  </a:lnTo>
                  <a:lnTo>
                    <a:pt x="106" y="302"/>
                  </a:lnTo>
                  <a:lnTo>
                    <a:pt x="109" y="309"/>
                  </a:lnTo>
                  <a:lnTo>
                    <a:pt x="111" y="310"/>
                  </a:lnTo>
                  <a:lnTo>
                    <a:pt x="114" y="313"/>
                  </a:lnTo>
                  <a:lnTo>
                    <a:pt x="118" y="317"/>
                  </a:lnTo>
                  <a:lnTo>
                    <a:pt x="120" y="320"/>
                  </a:lnTo>
                  <a:lnTo>
                    <a:pt x="123" y="321"/>
                  </a:lnTo>
                  <a:lnTo>
                    <a:pt x="133" y="324"/>
                  </a:lnTo>
                  <a:lnTo>
                    <a:pt x="142" y="328"/>
                  </a:lnTo>
                  <a:lnTo>
                    <a:pt x="151" y="333"/>
                  </a:lnTo>
                  <a:lnTo>
                    <a:pt x="158" y="339"/>
                  </a:lnTo>
                  <a:lnTo>
                    <a:pt x="161" y="341"/>
                  </a:lnTo>
                  <a:lnTo>
                    <a:pt x="165" y="343"/>
                  </a:lnTo>
                  <a:lnTo>
                    <a:pt x="169" y="346"/>
                  </a:lnTo>
                  <a:lnTo>
                    <a:pt x="170" y="349"/>
                  </a:lnTo>
                  <a:lnTo>
                    <a:pt x="172" y="354"/>
                  </a:lnTo>
                  <a:lnTo>
                    <a:pt x="176" y="359"/>
                  </a:lnTo>
                  <a:lnTo>
                    <a:pt x="181" y="362"/>
                  </a:lnTo>
                  <a:lnTo>
                    <a:pt x="183" y="364"/>
                  </a:lnTo>
                  <a:lnTo>
                    <a:pt x="184" y="36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2" name="Freeform 871"/>
            <p:cNvSpPr>
              <a:spLocks/>
            </p:cNvSpPr>
            <p:nvPr/>
          </p:nvSpPr>
          <p:spPr bwMode="auto">
            <a:xfrm>
              <a:off x="2584451" y="4745043"/>
              <a:ext cx="293688" cy="377825"/>
            </a:xfrm>
            <a:custGeom>
              <a:avLst/>
              <a:gdLst>
                <a:gd name="T0" fmla="*/ 2147483647 w 200"/>
                <a:gd name="T1" fmla="*/ 2147483647 h 238"/>
                <a:gd name="T2" fmla="*/ 2147483647 w 200"/>
                <a:gd name="T3" fmla="*/ 2147483647 h 238"/>
                <a:gd name="T4" fmla="*/ 2147483647 w 200"/>
                <a:gd name="T5" fmla="*/ 2147483647 h 238"/>
                <a:gd name="T6" fmla="*/ 2147483647 w 200"/>
                <a:gd name="T7" fmla="*/ 2147483647 h 238"/>
                <a:gd name="T8" fmla="*/ 2147483647 w 200"/>
                <a:gd name="T9" fmla="*/ 2147483647 h 238"/>
                <a:gd name="T10" fmla="*/ 2147483647 w 200"/>
                <a:gd name="T11" fmla="*/ 2147483647 h 238"/>
                <a:gd name="T12" fmla="*/ 2147483647 w 200"/>
                <a:gd name="T13" fmla="*/ 2147483647 h 238"/>
                <a:gd name="T14" fmla="*/ 2147483647 w 200"/>
                <a:gd name="T15" fmla="*/ 2147483647 h 238"/>
                <a:gd name="T16" fmla="*/ 2147483647 w 200"/>
                <a:gd name="T17" fmla="*/ 2147483647 h 238"/>
                <a:gd name="T18" fmla="*/ 2147483647 w 200"/>
                <a:gd name="T19" fmla="*/ 2147483647 h 238"/>
                <a:gd name="T20" fmla="*/ 2147483647 w 200"/>
                <a:gd name="T21" fmla="*/ 2147483647 h 238"/>
                <a:gd name="T22" fmla="*/ 2147483647 w 200"/>
                <a:gd name="T23" fmla="*/ 2147483647 h 238"/>
                <a:gd name="T24" fmla="*/ 2147483647 w 200"/>
                <a:gd name="T25" fmla="*/ 2147483647 h 238"/>
                <a:gd name="T26" fmla="*/ 2147483647 w 200"/>
                <a:gd name="T27" fmla="*/ 2147483647 h 238"/>
                <a:gd name="T28" fmla="*/ 2147483647 w 200"/>
                <a:gd name="T29" fmla="*/ 2147483647 h 238"/>
                <a:gd name="T30" fmla="*/ 2147483647 w 200"/>
                <a:gd name="T31" fmla="*/ 2147483647 h 238"/>
                <a:gd name="T32" fmla="*/ 2147483647 w 200"/>
                <a:gd name="T33" fmla="*/ 2147483647 h 238"/>
                <a:gd name="T34" fmla="*/ 2147483647 w 200"/>
                <a:gd name="T35" fmla="*/ 2147483647 h 238"/>
                <a:gd name="T36" fmla="*/ 2147483647 w 200"/>
                <a:gd name="T37" fmla="*/ 2147483647 h 238"/>
                <a:gd name="T38" fmla="*/ 2147483647 w 200"/>
                <a:gd name="T39" fmla="*/ 2147483647 h 238"/>
                <a:gd name="T40" fmla="*/ 2147483647 w 200"/>
                <a:gd name="T41" fmla="*/ 2147483647 h 238"/>
                <a:gd name="T42" fmla="*/ 2147483647 w 200"/>
                <a:gd name="T43" fmla="*/ 2147483647 h 238"/>
                <a:gd name="T44" fmla="*/ 2147483647 w 200"/>
                <a:gd name="T45" fmla="*/ 2147483647 h 238"/>
                <a:gd name="T46" fmla="*/ 2147483647 w 200"/>
                <a:gd name="T47" fmla="*/ 2147483647 h 238"/>
                <a:gd name="T48" fmla="*/ 2147483647 w 200"/>
                <a:gd name="T49" fmla="*/ 2147483647 h 238"/>
                <a:gd name="T50" fmla="*/ 2147483647 w 200"/>
                <a:gd name="T51" fmla="*/ 2147483647 h 238"/>
                <a:gd name="T52" fmla="*/ 0 w 200"/>
                <a:gd name="T53" fmla="*/ 2147483647 h 238"/>
                <a:gd name="T54" fmla="*/ 2147483647 w 200"/>
                <a:gd name="T55" fmla="*/ 2147483647 h 238"/>
                <a:gd name="T56" fmla="*/ 2147483647 w 200"/>
                <a:gd name="T57" fmla="*/ 2147483647 h 238"/>
                <a:gd name="T58" fmla="*/ 2147483647 w 200"/>
                <a:gd name="T59" fmla="*/ 2147483647 h 238"/>
                <a:gd name="T60" fmla="*/ 2147483647 w 200"/>
                <a:gd name="T61" fmla="*/ 2147483647 h 238"/>
                <a:gd name="T62" fmla="*/ 2147483647 w 200"/>
                <a:gd name="T63" fmla="*/ 2147483647 h 238"/>
                <a:gd name="T64" fmla="*/ 2147483647 w 200"/>
                <a:gd name="T65" fmla="*/ 2147483647 h 238"/>
                <a:gd name="T66" fmla="*/ 2147483647 w 200"/>
                <a:gd name="T67" fmla="*/ 2147483647 h 238"/>
                <a:gd name="T68" fmla="*/ 2147483647 w 200"/>
                <a:gd name="T69" fmla="*/ 2147483647 h 238"/>
                <a:gd name="T70" fmla="*/ 2147483647 w 200"/>
                <a:gd name="T71" fmla="*/ 2147483647 h 238"/>
                <a:gd name="T72" fmla="*/ 2147483647 w 200"/>
                <a:gd name="T73" fmla="*/ 2147483647 h 238"/>
                <a:gd name="T74" fmla="*/ 2147483647 w 200"/>
                <a:gd name="T75" fmla="*/ 2147483647 h 238"/>
                <a:gd name="T76" fmla="*/ 2147483647 w 200"/>
                <a:gd name="T77" fmla="*/ 2147483647 h 238"/>
                <a:gd name="T78" fmla="*/ 2147483647 w 200"/>
                <a:gd name="T79" fmla="*/ 2147483647 h 238"/>
                <a:gd name="T80" fmla="*/ 2147483647 w 200"/>
                <a:gd name="T81" fmla="*/ 2147483647 h 238"/>
                <a:gd name="T82" fmla="*/ 2147483647 w 200"/>
                <a:gd name="T83" fmla="*/ 2147483647 h 238"/>
                <a:gd name="T84" fmla="*/ 2147483647 w 200"/>
                <a:gd name="T85" fmla="*/ 2147483647 h 238"/>
                <a:gd name="T86" fmla="*/ 2147483647 w 200"/>
                <a:gd name="T87" fmla="*/ 2147483647 h 238"/>
                <a:gd name="T88" fmla="*/ 2147483647 w 200"/>
                <a:gd name="T89" fmla="*/ 2147483647 h 238"/>
                <a:gd name="T90" fmla="*/ 2147483647 w 200"/>
                <a:gd name="T91" fmla="*/ 2147483647 h 238"/>
                <a:gd name="T92" fmla="*/ 2147483647 w 200"/>
                <a:gd name="T93" fmla="*/ 2147483647 h 238"/>
                <a:gd name="T94" fmla="*/ 2147483647 w 200"/>
                <a:gd name="T95" fmla="*/ 2147483647 h 238"/>
                <a:gd name="T96" fmla="*/ 2147483647 w 200"/>
                <a:gd name="T97" fmla="*/ 2147483647 h 238"/>
                <a:gd name="T98" fmla="*/ 2147483647 w 200"/>
                <a:gd name="T99" fmla="*/ 2147483647 h 238"/>
                <a:gd name="T100" fmla="*/ 2147483647 w 200"/>
                <a:gd name="T101" fmla="*/ 2147483647 h 238"/>
                <a:gd name="T102" fmla="*/ 2147483647 w 200"/>
                <a:gd name="T103" fmla="*/ 2147483647 h 238"/>
                <a:gd name="T104" fmla="*/ 2147483647 w 200"/>
                <a:gd name="T105" fmla="*/ 2147483647 h 238"/>
                <a:gd name="T106" fmla="*/ 2147483647 w 200"/>
                <a:gd name="T107" fmla="*/ 2147483647 h 2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
                <a:gd name="T163" fmla="*/ 0 h 238"/>
                <a:gd name="T164" fmla="*/ 200 w 200"/>
                <a:gd name="T165" fmla="*/ 238 h 2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 h="238">
                  <a:moveTo>
                    <a:pt x="193" y="182"/>
                  </a:moveTo>
                  <a:lnTo>
                    <a:pt x="193" y="182"/>
                  </a:lnTo>
                  <a:lnTo>
                    <a:pt x="194" y="176"/>
                  </a:lnTo>
                  <a:lnTo>
                    <a:pt x="195" y="171"/>
                  </a:lnTo>
                  <a:lnTo>
                    <a:pt x="198" y="165"/>
                  </a:lnTo>
                  <a:lnTo>
                    <a:pt x="199" y="160"/>
                  </a:lnTo>
                  <a:lnTo>
                    <a:pt x="200" y="154"/>
                  </a:lnTo>
                  <a:lnTo>
                    <a:pt x="200" y="148"/>
                  </a:lnTo>
                  <a:lnTo>
                    <a:pt x="199" y="143"/>
                  </a:lnTo>
                  <a:lnTo>
                    <a:pt x="197" y="137"/>
                  </a:lnTo>
                  <a:lnTo>
                    <a:pt x="193" y="133"/>
                  </a:lnTo>
                  <a:lnTo>
                    <a:pt x="188" y="129"/>
                  </a:lnTo>
                  <a:lnTo>
                    <a:pt x="186" y="128"/>
                  </a:lnTo>
                  <a:lnTo>
                    <a:pt x="188" y="125"/>
                  </a:lnTo>
                  <a:lnTo>
                    <a:pt x="190" y="122"/>
                  </a:lnTo>
                  <a:lnTo>
                    <a:pt x="190" y="117"/>
                  </a:lnTo>
                  <a:lnTo>
                    <a:pt x="188" y="115"/>
                  </a:lnTo>
                  <a:lnTo>
                    <a:pt x="185" y="112"/>
                  </a:lnTo>
                  <a:lnTo>
                    <a:pt x="181" y="111"/>
                  </a:lnTo>
                  <a:lnTo>
                    <a:pt x="173" y="110"/>
                  </a:lnTo>
                  <a:lnTo>
                    <a:pt x="164" y="109"/>
                  </a:lnTo>
                  <a:lnTo>
                    <a:pt x="161" y="106"/>
                  </a:lnTo>
                  <a:lnTo>
                    <a:pt x="160" y="105"/>
                  </a:lnTo>
                  <a:lnTo>
                    <a:pt x="157" y="99"/>
                  </a:lnTo>
                  <a:lnTo>
                    <a:pt x="156" y="93"/>
                  </a:lnTo>
                  <a:lnTo>
                    <a:pt x="157" y="88"/>
                  </a:lnTo>
                  <a:lnTo>
                    <a:pt x="159" y="80"/>
                  </a:lnTo>
                  <a:lnTo>
                    <a:pt x="157" y="74"/>
                  </a:lnTo>
                  <a:lnTo>
                    <a:pt x="153" y="67"/>
                  </a:lnTo>
                  <a:lnTo>
                    <a:pt x="151" y="61"/>
                  </a:lnTo>
                  <a:lnTo>
                    <a:pt x="143" y="59"/>
                  </a:lnTo>
                  <a:lnTo>
                    <a:pt x="136" y="58"/>
                  </a:lnTo>
                  <a:lnTo>
                    <a:pt x="128" y="56"/>
                  </a:lnTo>
                  <a:lnTo>
                    <a:pt x="122" y="51"/>
                  </a:lnTo>
                  <a:lnTo>
                    <a:pt x="113" y="42"/>
                  </a:lnTo>
                  <a:lnTo>
                    <a:pt x="108" y="38"/>
                  </a:lnTo>
                  <a:lnTo>
                    <a:pt x="103" y="34"/>
                  </a:lnTo>
                  <a:lnTo>
                    <a:pt x="85" y="28"/>
                  </a:lnTo>
                  <a:lnTo>
                    <a:pt x="80" y="26"/>
                  </a:lnTo>
                  <a:lnTo>
                    <a:pt x="76" y="24"/>
                  </a:lnTo>
                  <a:lnTo>
                    <a:pt x="73" y="20"/>
                  </a:lnTo>
                  <a:lnTo>
                    <a:pt x="71" y="16"/>
                  </a:lnTo>
                  <a:lnTo>
                    <a:pt x="71" y="10"/>
                  </a:lnTo>
                  <a:lnTo>
                    <a:pt x="70" y="2"/>
                  </a:lnTo>
                  <a:lnTo>
                    <a:pt x="70" y="1"/>
                  </a:lnTo>
                  <a:lnTo>
                    <a:pt x="67" y="0"/>
                  </a:lnTo>
                  <a:lnTo>
                    <a:pt x="65" y="1"/>
                  </a:lnTo>
                  <a:lnTo>
                    <a:pt x="62" y="1"/>
                  </a:lnTo>
                  <a:lnTo>
                    <a:pt x="48" y="3"/>
                  </a:lnTo>
                  <a:lnTo>
                    <a:pt x="43" y="5"/>
                  </a:lnTo>
                  <a:lnTo>
                    <a:pt x="38" y="9"/>
                  </a:lnTo>
                  <a:lnTo>
                    <a:pt x="34" y="13"/>
                  </a:lnTo>
                  <a:lnTo>
                    <a:pt x="23" y="22"/>
                  </a:lnTo>
                  <a:lnTo>
                    <a:pt x="10" y="33"/>
                  </a:lnTo>
                  <a:lnTo>
                    <a:pt x="6" y="35"/>
                  </a:lnTo>
                  <a:lnTo>
                    <a:pt x="4" y="39"/>
                  </a:lnTo>
                  <a:lnTo>
                    <a:pt x="2" y="42"/>
                  </a:lnTo>
                  <a:lnTo>
                    <a:pt x="2" y="46"/>
                  </a:lnTo>
                  <a:lnTo>
                    <a:pt x="4" y="74"/>
                  </a:lnTo>
                  <a:lnTo>
                    <a:pt x="9" y="103"/>
                  </a:lnTo>
                  <a:lnTo>
                    <a:pt x="9" y="108"/>
                  </a:lnTo>
                  <a:lnTo>
                    <a:pt x="7" y="114"/>
                  </a:lnTo>
                  <a:lnTo>
                    <a:pt x="2" y="123"/>
                  </a:lnTo>
                  <a:lnTo>
                    <a:pt x="0" y="128"/>
                  </a:lnTo>
                  <a:lnTo>
                    <a:pt x="0" y="134"/>
                  </a:lnTo>
                  <a:lnTo>
                    <a:pt x="0" y="139"/>
                  </a:lnTo>
                  <a:lnTo>
                    <a:pt x="2" y="143"/>
                  </a:lnTo>
                  <a:lnTo>
                    <a:pt x="6" y="148"/>
                  </a:lnTo>
                  <a:lnTo>
                    <a:pt x="13" y="155"/>
                  </a:lnTo>
                  <a:lnTo>
                    <a:pt x="16" y="163"/>
                  </a:lnTo>
                  <a:lnTo>
                    <a:pt x="20" y="173"/>
                  </a:lnTo>
                  <a:lnTo>
                    <a:pt x="21" y="182"/>
                  </a:lnTo>
                  <a:lnTo>
                    <a:pt x="21" y="189"/>
                  </a:lnTo>
                  <a:lnTo>
                    <a:pt x="24" y="197"/>
                  </a:lnTo>
                  <a:lnTo>
                    <a:pt x="28" y="208"/>
                  </a:lnTo>
                  <a:lnTo>
                    <a:pt x="32" y="220"/>
                  </a:lnTo>
                  <a:lnTo>
                    <a:pt x="35" y="229"/>
                  </a:lnTo>
                  <a:lnTo>
                    <a:pt x="38" y="236"/>
                  </a:lnTo>
                  <a:lnTo>
                    <a:pt x="40" y="238"/>
                  </a:lnTo>
                  <a:lnTo>
                    <a:pt x="43" y="238"/>
                  </a:lnTo>
                  <a:lnTo>
                    <a:pt x="46" y="237"/>
                  </a:lnTo>
                  <a:lnTo>
                    <a:pt x="48" y="233"/>
                  </a:lnTo>
                  <a:lnTo>
                    <a:pt x="51" y="229"/>
                  </a:lnTo>
                  <a:lnTo>
                    <a:pt x="54" y="226"/>
                  </a:lnTo>
                  <a:lnTo>
                    <a:pt x="56" y="225"/>
                  </a:lnTo>
                  <a:lnTo>
                    <a:pt x="59" y="225"/>
                  </a:lnTo>
                  <a:lnTo>
                    <a:pt x="62" y="227"/>
                  </a:lnTo>
                  <a:lnTo>
                    <a:pt x="63" y="230"/>
                  </a:lnTo>
                  <a:lnTo>
                    <a:pt x="66" y="231"/>
                  </a:lnTo>
                  <a:lnTo>
                    <a:pt x="67" y="231"/>
                  </a:lnTo>
                  <a:lnTo>
                    <a:pt x="70" y="230"/>
                  </a:lnTo>
                  <a:lnTo>
                    <a:pt x="72" y="227"/>
                  </a:lnTo>
                  <a:lnTo>
                    <a:pt x="75" y="226"/>
                  </a:lnTo>
                  <a:lnTo>
                    <a:pt x="79" y="227"/>
                  </a:lnTo>
                  <a:lnTo>
                    <a:pt x="81" y="229"/>
                  </a:lnTo>
                  <a:lnTo>
                    <a:pt x="84" y="231"/>
                  </a:lnTo>
                  <a:lnTo>
                    <a:pt x="85" y="233"/>
                  </a:lnTo>
                  <a:lnTo>
                    <a:pt x="86" y="237"/>
                  </a:lnTo>
                  <a:lnTo>
                    <a:pt x="89" y="238"/>
                  </a:lnTo>
                  <a:lnTo>
                    <a:pt x="91" y="238"/>
                  </a:lnTo>
                  <a:lnTo>
                    <a:pt x="94" y="237"/>
                  </a:lnTo>
                  <a:lnTo>
                    <a:pt x="95" y="230"/>
                  </a:lnTo>
                  <a:lnTo>
                    <a:pt x="98" y="227"/>
                  </a:lnTo>
                  <a:lnTo>
                    <a:pt x="99" y="226"/>
                  </a:lnTo>
                  <a:lnTo>
                    <a:pt x="103" y="225"/>
                  </a:lnTo>
                  <a:lnTo>
                    <a:pt x="105" y="225"/>
                  </a:lnTo>
                  <a:lnTo>
                    <a:pt x="113" y="226"/>
                  </a:lnTo>
                  <a:lnTo>
                    <a:pt x="120" y="225"/>
                  </a:lnTo>
                  <a:lnTo>
                    <a:pt x="122" y="225"/>
                  </a:lnTo>
                  <a:lnTo>
                    <a:pt x="126" y="223"/>
                  </a:lnTo>
                  <a:lnTo>
                    <a:pt x="127" y="220"/>
                  </a:lnTo>
                  <a:lnTo>
                    <a:pt x="129" y="213"/>
                  </a:lnTo>
                  <a:lnTo>
                    <a:pt x="132" y="208"/>
                  </a:lnTo>
                  <a:lnTo>
                    <a:pt x="133" y="203"/>
                  </a:lnTo>
                  <a:lnTo>
                    <a:pt x="136" y="191"/>
                  </a:lnTo>
                  <a:lnTo>
                    <a:pt x="138" y="185"/>
                  </a:lnTo>
                  <a:lnTo>
                    <a:pt x="141" y="180"/>
                  </a:lnTo>
                  <a:lnTo>
                    <a:pt x="145" y="178"/>
                  </a:lnTo>
                  <a:lnTo>
                    <a:pt x="151" y="176"/>
                  </a:lnTo>
                  <a:lnTo>
                    <a:pt x="159" y="175"/>
                  </a:lnTo>
                  <a:lnTo>
                    <a:pt x="165" y="174"/>
                  </a:lnTo>
                  <a:lnTo>
                    <a:pt x="171" y="174"/>
                  </a:lnTo>
                  <a:lnTo>
                    <a:pt x="174" y="174"/>
                  </a:lnTo>
                  <a:lnTo>
                    <a:pt x="178" y="175"/>
                  </a:lnTo>
                  <a:lnTo>
                    <a:pt x="186" y="179"/>
                  </a:lnTo>
                  <a:lnTo>
                    <a:pt x="190" y="180"/>
                  </a:lnTo>
                  <a:lnTo>
                    <a:pt x="193" y="18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3" name="Freeform 872"/>
            <p:cNvSpPr>
              <a:spLocks/>
            </p:cNvSpPr>
            <p:nvPr/>
          </p:nvSpPr>
          <p:spPr bwMode="auto">
            <a:xfrm>
              <a:off x="2292351" y="4405316"/>
              <a:ext cx="307975" cy="581025"/>
            </a:xfrm>
            <a:custGeom>
              <a:avLst/>
              <a:gdLst>
                <a:gd name="T0" fmla="*/ 2147483647 w 210"/>
                <a:gd name="T1" fmla="*/ 2147483647 h 366"/>
                <a:gd name="T2" fmla="*/ 2147483647 w 210"/>
                <a:gd name="T3" fmla="*/ 2147483647 h 366"/>
                <a:gd name="T4" fmla="*/ 2147483647 w 210"/>
                <a:gd name="T5" fmla="*/ 2147483647 h 366"/>
                <a:gd name="T6" fmla="*/ 2147483647 w 210"/>
                <a:gd name="T7" fmla="*/ 2147483647 h 366"/>
                <a:gd name="T8" fmla="*/ 2147483647 w 210"/>
                <a:gd name="T9" fmla="*/ 2147483647 h 366"/>
                <a:gd name="T10" fmla="*/ 2147483647 w 210"/>
                <a:gd name="T11" fmla="*/ 2147483647 h 366"/>
                <a:gd name="T12" fmla="*/ 2147483647 w 210"/>
                <a:gd name="T13" fmla="*/ 2147483647 h 366"/>
                <a:gd name="T14" fmla="*/ 2147483647 w 210"/>
                <a:gd name="T15" fmla="*/ 2147483647 h 366"/>
                <a:gd name="T16" fmla="*/ 2147483647 w 210"/>
                <a:gd name="T17" fmla="*/ 2147483647 h 366"/>
                <a:gd name="T18" fmla="*/ 2147483647 w 210"/>
                <a:gd name="T19" fmla="*/ 2147483647 h 366"/>
                <a:gd name="T20" fmla="*/ 2147483647 w 210"/>
                <a:gd name="T21" fmla="*/ 2147483647 h 366"/>
                <a:gd name="T22" fmla="*/ 2147483647 w 210"/>
                <a:gd name="T23" fmla="*/ 2147483647 h 366"/>
                <a:gd name="T24" fmla="*/ 2147483647 w 210"/>
                <a:gd name="T25" fmla="*/ 2147483647 h 366"/>
                <a:gd name="T26" fmla="*/ 2147483647 w 210"/>
                <a:gd name="T27" fmla="*/ 2147483647 h 366"/>
                <a:gd name="T28" fmla="*/ 2147483647 w 210"/>
                <a:gd name="T29" fmla="*/ 2147483647 h 366"/>
                <a:gd name="T30" fmla="*/ 2147483647 w 210"/>
                <a:gd name="T31" fmla="*/ 2147483647 h 366"/>
                <a:gd name="T32" fmla="*/ 2147483647 w 210"/>
                <a:gd name="T33" fmla="*/ 2147483647 h 366"/>
                <a:gd name="T34" fmla="*/ 2147483647 w 210"/>
                <a:gd name="T35" fmla="*/ 2147483647 h 366"/>
                <a:gd name="T36" fmla="*/ 2147483647 w 210"/>
                <a:gd name="T37" fmla="*/ 2147483647 h 366"/>
                <a:gd name="T38" fmla="*/ 2147483647 w 210"/>
                <a:gd name="T39" fmla="*/ 2147483647 h 366"/>
                <a:gd name="T40" fmla="*/ 2147483647 w 210"/>
                <a:gd name="T41" fmla="*/ 2147483647 h 366"/>
                <a:gd name="T42" fmla="*/ 2147483647 w 210"/>
                <a:gd name="T43" fmla="*/ 2147483647 h 366"/>
                <a:gd name="T44" fmla="*/ 2147483647 w 210"/>
                <a:gd name="T45" fmla="*/ 2147483647 h 366"/>
                <a:gd name="T46" fmla="*/ 2147483647 w 210"/>
                <a:gd name="T47" fmla="*/ 2147483647 h 366"/>
                <a:gd name="T48" fmla="*/ 2147483647 w 210"/>
                <a:gd name="T49" fmla="*/ 2147483647 h 366"/>
                <a:gd name="T50" fmla="*/ 2147483647 w 210"/>
                <a:gd name="T51" fmla="*/ 2147483647 h 366"/>
                <a:gd name="T52" fmla="*/ 2147483647 w 210"/>
                <a:gd name="T53" fmla="*/ 2147483647 h 366"/>
                <a:gd name="T54" fmla="*/ 2147483647 w 210"/>
                <a:gd name="T55" fmla="*/ 2147483647 h 366"/>
                <a:gd name="T56" fmla="*/ 2147483647 w 210"/>
                <a:gd name="T57" fmla="*/ 2147483647 h 366"/>
                <a:gd name="T58" fmla="*/ 2147483647 w 210"/>
                <a:gd name="T59" fmla="*/ 2147483647 h 366"/>
                <a:gd name="T60" fmla="*/ 2147483647 w 210"/>
                <a:gd name="T61" fmla="*/ 2147483647 h 366"/>
                <a:gd name="T62" fmla="*/ 2147483647 w 210"/>
                <a:gd name="T63" fmla="*/ 0 h 366"/>
                <a:gd name="T64" fmla="*/ 2147483647 w 210"/>
                <a:gd name="T65" fmla="*/ 2147483647 h 366"/>
                <a:gd name="T66" fmla="*/ 2147483647 w 210"/>
                <a:gd name="T67" fmla="*/ 2147483647 h 366"/>
                <a:gd name="T68" fmla="*/ 2147483647 w 210"/>
                <a:gd name="T69" fmla="*/ 2147483647 h 366"/>
                <a:gd name="T70" fmla="*/ 2147483647 w 210"/>
                <a:gd name="T71" fmla="*/ 2147483647 h 366"/>
                <a:gd name="T72" fmla="*/ 2147483647 w 210"/>
                <a:gd name="T73" fmla="*/ 2147483647 h 366"/>
                <a:gd name="T74" fmla="*/ 2147483647 w 210"/>
                <a:gd name="T75" fmla="*/ 2147483647 h 366"/>
                <a:gd name="T76" fmla="*/ 2147483647 w 210"/>
                <a:gd name="T77" fmla="*/ 2147483647 h 366"/>
                <a:gd name="T78" fmla="*/ 2147483647 w 210"/>
                <a:gd name="T79" fmla="*/ 2147483647 h 366"/>
                <a:gd name="T80" fmla="*/ 2147483647 w 210"/>
                <a:gd name="T81" fmla="*/ 2147483647 h 366"/>
                <a:gd name="T82" fmla="*/ 2147483647 w 210"/>
                <a:gd name="T83" fmla="*/ 2147483647 h 366"/>
                <a:gd name="T84" fmla="*/ 2147483647 w 210"/>
                <a:gd name="T85" fmla="*/ 2147483647 h 366"/>
                <a:gd name="T86" fmla="*/ 2147483647 w 210"/>
                <a:gd name="T87" fmla="*/ 2147483647 h 366"/>
                <a:gd name="T88" fmla="*/ 2147483647 w 210"/>
                <a:gd name="T89" fmla="*/ 2147483647 h 366"/>
                <a:gd name="T90" fmla="*/ 0 w 210"/>
                <a:gd name="T91" fmla="*/ 2147483647 h 366"/>
                <a:gd name="T92" fmla="*/ 2147483647 w 210"/>
                <a:gd name="T93" fmla="*/ 2147483647 h 366"/>
                <a:gd name="T94" fmla="*/ 2147483647 w 210"/>
                <a:gd name="T95" fmla="*/ 2147483647 h 366"/>
                <a:gd name="T96" fmla="*/ 2147483647 w 210"/>
                <a:gd name="T97" fmla="*/ 2147483647 h 366"/>
                <a:gd name="T98" fmla="*/ 2147483647 w 210"/>
                <a:gd name="T99" fmla="*/ 2147483647 h 366"/>
                <a:gd name="T100" fmla="*/ 2147483647 w 210"/>
                <a:gd name="T101" fmla="*/ 2147483647 h 366"/>
                <a:gd name="T102" fmla="*/ 2147483647 w 210"/>
                <a:gd name="T103" fmla="*/ 2147483647 h 366"/>
                <a:gd name="T104" fmla="*/ 2147483647 w 210"/>
                <a:gd name="T105" fmla="*/ 2147483647 h 366"/>
                <a:gd name="T106" fmla="*/ 2147483647 w 210"/>
                <a:gd name="T107" fmla="*/ 2147483647 h 366"/>
                <a:gd name="T108" fmla="*/ 2147483647 w 210"/>
                <a:gd name="T109" fmla="*/ 2147483647 h 366"/>
                <a:gd name="T110" fmla="*/ 2147483647 w 210"/>
                <a:gd name="T111" fmla="*/ 2147483647 h 366"/>
                <a:gd name="T112" fmla="*/ 2147483647 w 210"/>
                <a:gd name="T113" fmla="*/ 2147483647 h 366"/>
                <a:gd name="T114" fmla="*/ 2147483647 w 210"/>
                <a:gd name="T115" fmla="*/ 2147483647 h 366"/>
                <a:gd name="T116" fmla="*/ 2147483647 w 210"/>
                <a:gd name="T117" fmla="*/ 2147483647 h 366"/>
                <a:gd name="T118" fmla="*/ 2147483647 w 210"/>
                <a:gd name="T119" fmla="*/ 2147483647 h 366"/>
                <a:gd name="T120" fmla="*/ 2147483647 w 210"/>
                <a:gd name="T121" fmla="*/ 2147483647 h 366"/>
                <a:gd name="T122" fmla="*/ 2147483647 w 210"/>
                <a:gd name="T123" fmla="*/ 2147483647 h 366"/>
                <a:gd name="T124" fmla="*/ 2147483647 w 210"/>
                <a:gd name="T125" fmla="*/ 2147483647 h 3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0"/>
                <a:gd name="T190" fmla="*/ 0 h 366"/>
                <a:gd name="T191" fmla="*/ 210 w 210"/>
                <a:gd name="T192" fmla="*/ 366 h 3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0" h="366">
                  <a:moveTo>
                    <a:pt x="185" y="366"/>
                  </a:moveTo>
                  <a:lnTo>
                    <a:pt x="185" y="366"/>
                  </a:lnTo>
                  <a:lnTo>
                    <a:pt x="191" y="366"/>
                  </a:lnTo>
                  <a:lnTo>
                    <a:pt x="196" y="364"/>
                  </a:lnTo>
                  <a:lnTo>
                    <a:pt x="206" y="362"/>
                  </a:lnTo>
                  <a:lnTo>
                    <a:pt x="202" y="357"/>
                  </a:lnTo>
                  <a:lnTo>
                    <a:pt x="200" y="353"/>
                  </a:lnTo>
                  <a:lnTo>
                    <a:pt x="200" y="348"/>
                  </a:lnTo>
                  <a:lnTo>
                    <a:pt x="200" y="342"/>
                  </a:lnTo>
                  <a:lnTo>
                    <a:pt x="202" y="337"/>
                  </a:lnTo>
                  <a:lnTo>
                    <a:pt x="207" y="328"/>
                  </a:lnTo>
                  <a:lnTo>
                    <a:pt x="209" y="322"/>
                  </a:lnTo>
                  <a:lnTo>
                    <a:pt x="209" y="317"/>
                  </a:lnTo>
                  <a:lnTo>
                    <a:pt x="204" y="288"/>
                  </a:lnTo>
                  <a:lnTo>
                    <a:pt x="202" y="260"/>
                  </a:lnTo>
                  <a:lnTo>
                    <a:pt x="202" y="256"/>
                  </a:lnTo>
                  <a:lnTo>
                    <a:pt x="204" y="253"/>
                  </a:lnTo>
                  <a:lnTo>
                    <a:pt x="206" y="249"/>
                  </a:lnTo>
                  <a:lnTo>
                    <a:pt x="210" y="247"/>
                  </a:lnTo>
                  <a:lnTo>
                    <a:pt x="210" y="241"/>
                  </a:lnTo>
                  <a:lnTo>
                    <a:pt x="209" y="236"/>
                  </a:lnTo>
                  <a:lnTo>
                    <a:pt x="205" y="232"/>
                  </a:lnTo>
                  <a:lnTo>
                    <a:pt x="201" y="228"/>
                  </a:lnTo>
                  <a:lnTo>
                    <a:pt x="192" y="222"/>
                  </a:lnTo>
                  <a:lnTo>
                    <a:pt x="183" y="215"/>
                  </a:lnTo>
                  <a:lnTo>
                    <a:pt x="182" y="213"/>
                  </a:lnTo>
                  <a:lnTo>
                    <a:pt x="181" y="209"/>
                  </a:lnTo>
                  <a:lnTo>
                    <a:pt x="181" y="204"/>
                  </a:lnTo>
                  <a:lnTo>
                    <a:pt x="183" y="200"/>
                  </a:lnTo>
                  <a:lnTo>
                    <a:pt x="183" y="196"/>
                  </a:lnTo>
                  <a:lnTo>
                    <a:pt x="183" y="194"/>
                  </a:lnTo>
                  <a:lnTo>
                    <a:pt x="181" y="192"/>
                  </a:lnTo>
                  <a:lnTo>
                    <a:pt x="179" y="191"/>
                  </a:lnTo>
                  <a:lnTo>
                    <a:pt x="178" y="191"/>
                  </a:lnTo>
                  <a:lnTo>
                    <a:pt x="174" y="192"/>
                  </a:lnTo>
                  <a:lnTo>
                    <a:pt x="167" y="198"/>
                  </a:lnTo>
                  <a:lnTo>
                    <a:pt x="164" y="198"/>
                  </a:lnTo>
                  <a:lnTo>
                    <a:pt x="163" y="197"/>
                  </a:lnTo>
                  <a:lnTo>
                    <a:pt x="159" y="194"/>
                  </a:lnTo>
                  <a:lnTo>
                    <a:pt x="155" y="190"/>
                  </a:lnTo>
                  <a:lnTo>
                    <a:pt x="152" y="188"/>
                  </a:lnTo>
                  <a:lnTo>
                    <a:pt x="149" y="188"/>
                  </a:lnTo>
                  <a:lnTo>
                    <a:pt x="146" y="189"/>
                  </a:lnTo>
                  <a:lnTo>
                    <a:pt x="145" y="188"/>
                  </a:lnTo>
                  <a:lnTo>
                    <a:pt x="144" y="187"/>
                  </a:lnTo>
                  <a:lnTo>
                    <a:pt x="140" y="182"/>
                  </a:lnTo>
                  <a:lnTo>
                    <a:pt x="135" y="176"/>
                  </a:lnTo>
                  <a:lnTo>
                    <a:pt x="134" y="173"/>
                  </a:lnTo>
                  <a:lnTo>
                    <a:pt x="131" y="171"/>
                  </a:lnTo>
                  <a:lnTo>
                    <a:pt x="129" y="170"/>
                  </a:lnTo>
                  <a:lnTo>
                    <a:pt x="126" y="170"/>
                  </a:lnTo>
                  <a:lnTo>
                    <a:pt x="124" y="165"/>
                  </a:lnTo>
                  <a:lnTo>
                    <a:pt x="124" y="160"/>
                  </a:lnTo>
                  <a:lnTo>
                    <a:pt x="125" y="155"/>
                  </a:lnTo>
                  <a:lnTo>
                    <a:pt x="126" y="150"/>
                  </a:lnTo>
                  <a:lnTo>
                    <a:pt x="131" y="138"/>
                  </a:lnTo>
                  <a:lnTo>
                    <a:pt x="136" y="127"/>
                  </a:lnTo>
                  <a:lnTo>
                    <a:pt x="136" y="124"/>
                  </a:lnTo>
                  <a:lnTo>
                    <a:pt x="136" y="120"/>
                  </a:lnTo>
                  <a:lnTo>
                    <a:pt x="139" y="115"/>
                  </a:lnTo>
                  <a:lnTo>
                    <a:pt x="143" y="111"/>
                  </a:lnTo>
                  <a:lnTo>
                    <a:pt x="150" y="102"/>
                  </a:lnTo>
                  <a:lnTo>
                    <a:pt x="160" y="95"/>
                  </a:lnTo>
                  <a:lnTo>
                    <a:pt x="171" y="92"/>
                  </a:lnTo>
                  <a:lnTo>
                    <a:pt x="178" y="90"/>
                  </a:lnTo>
                  <a:lnTo>
                    <a:pt x="187" y="90"/>
                  </a:lnTo>
                  <a:lnTo>
                    <a:pt x="191" y="89"/>
                  </a:lnTo>
                  <a:lnTo>
                    <a:pt x="195" y="88"/>
                  </a:lnTo>
                  <a:lnTo>
                    <a:pt x="197" y="87"/>
                  </a:lnTo>
                  <a:lnTo>
                    <a:pt x="200" y="83"/>
                  </a:lnTo>
                  <a:lnTo>
                    <a:pt x="200" y="82"/>
                  </a:lnTo>
                  <a:lnTo>
                    <a:pt x="199" y="82"/>
                  </a:lnTo>
                  <a:lnTo>
                    <a:pt x="196" y="82"/>
                  </a:lnTo>
                  <a:lnTo>
                    <a:pt x="192" y="82"/>
                  </a:lnTo>
                  <a:lnTo>
                    <a:pt x="188" y="82"/>
                  </a:lnTo>
                  <a:lnTo>
                    <a:pt x="185" y="83"/>
                  </a:lnTo>
                  <a:lnTo>
                    <a:pt x="181" y="83"/>
                  </a:lnTo>
                  <a:lnTo>
                    <a:pt x="177" y="82"/>
                  </a:lnTo>
                  <a:lnTo>
                    <a:pt x="174" y="80"/>
                  </a:lnTo>
                  <a:lnTo>
                    <a:pt x="177" y="74"/>
                  </a:lnTo>
                  <a:lnTo>
                    <a:pt x="181" y="66"/>
                  </a:lnTo>
                  <a:lnTo>
                    <a:pt x="191" y="49"/>
                  </a:lnTo>
                  <a:lnTo>
                    <a:pt x="188" y="47"/>
                  </a:lnTo>
                  <a:lnTo>
                    <a:pt x="185" y="45"/>
                  </a:lnTo>
                  <a:lnTo>
                    <a:pt x="181" y="45"/>
                  </a:lnTo>
                  <a:lnTo>
                    <a:pt x="177" y="44"/>
                  </a:lnTo>
                  <a:lnTo>
                    <a:pt x="172" y="41"/>
                  </a:lnTo>
                  <a:lnTo>
                    <a:pt x="168" y="37"/>
                  </a:lnTo>
                  <a:lnTo>
                    <a:pt x="164" y="36"/>
                  </a:lnTo>
                  <a:lnTo>
                    <a:pt x="159" y="37"/>
                  </a:lnTo>
                  <a:lnTo>
                    <a:pt x="155" y="38"/>
                  </a:lnTo>
                  <a:lnTo>
                    <a:pt x="152" y="37"/>
                  </a:lnTo>
                  <a:lnTo>
                    <a:pt x="148" y="35"/>
                  </a:lnTo>
                  <a:lnTo>
                    <a:pt x="145" y="31"/>
                  </a:lnTo>
                  <a:lnTo>
                    <a:pt x="144" y="28"/>
                  </a:lnTo>
                  <a:lnTo>
                    <a:pt x="141" y="25"/>
                  </a:lnTo>
                  <a:lnTo>
                    <a:pt x="129" y="22"/>
                  </a:lnTo>
                  <a:lnTo>
                    <a:pt x="125" y="21"/>
                  </a:lnTo>
                  <a:lnTo>
                    <a:pt x="110" y="6"/>
                  </a:lnTo>
                  <a:lnTo>
                    <a:pt x="106" y="4"/>
                  </a:lnTo>
                  <a:lnTo>
                    <a:pt x="99" y="0"/>
                  </a:lnTo>
                  <a:lnTo>
                    <a:pt x="102" y="6"/>
                  </a:lnTo>
                  <a:lnTo>
                    <a:pt x="105" y="11"/>
                  </a:lnTo>
                  <a:lnTo>
                    <a:pt x="107" y="17"/>
                  </a:lnTo>
                  <a:lnTo>
                    <a:pt x="110" y="22"/>
                  </a:lnTo>
                  <a:lnTo>
                    <a:pt x="111" y="26"/>
                  </a:lnTo>
                  <a:lnTo>
                    <a:pt x="110" y="30"/>
                  </a:lnTo>
                  <a:lnTo>
                    <a:pt x="108" y="35"/>
                  </a:lnTo>
                  <a:lnTo>
                    <a:pt x="106" y="38"/>
                  </a:lnTo>
                  <a:lnTo>
                    <a:pt x="98" y="45"/>
                  </a:lnTo>
                  <a:lnTo>
                    <a:pt x="92" y="51"/>
                  </a:lnTo>
                  <a:lnTo>
                    <a:pt x="83" y="57"/>
                  </a:lnTo>
                  <a:lnTo>
                    <a:pt x="74" y="63"/>
                  </a:lnTo>
                  <a:lnTo>
                    <a:pt x="66" y="69"/>
                  </a:lnTo>
                  <a:lnTo>
                    <a:pt x="63" y="74"/>
                  </a:lnTo>
                  <a:lnTo>
                    <a:pt x="61" y="79"/>
                  </a:lnTo>
                  <a:lnTo>
                    <a:pt x="59" y="85"/>
                  </a:lnTo>
                  <a:lnTo>
                    <a:pt x="58" y="88"/>
                  </a:lnTo>
                  <a:lnTo>
                    <a:pt x="55" y="90"/>
                  </a:lnTo>
                  <a:lnTo>
                    <a:pt x="53" y="93"/>
                  </a:lnTo>
                  <a:lnTo>
                    <a:pt x="47" y="94"/>
                  </a:lnTo>
                  <a:lnTo>
                    <a:pt x="45" y="95"/>
                  </a:lnTo>
                  <a:lnTo>
                    <a:pt x="44" y="98"/>
                  </a:lnTo>
                  <a:lnTo>
                    <a:pt x="40" y="98"/>
                  </a:lnTo>
                  <a:lnTo>
                    <a:pt x="39" y="98"/>
                  </a:lnTo>
                  <a:lnTo>
                    <a:pt x="36" y="95"/>
                  </a:lnTo>
                  <a:lnTo>
                    <a:pt x="33" y="94"/>
                  </a:lnTo>
                  <a:lnTo>
                    <a:pt x="30" y="95"/>
                  </a:lnTo>
                  <a:lnTo>
                    <a:pt x="23" y="96"/>
                  </a:lnTo>
                  <a:lnTo>
                    <a:pt x="21" y="96"/>
                  </a:lnTo>
                  <a:lnTo>
                    <a:pt x="19" y="96"/>
                  </a:lnTo>
                  <a:lnTo>
                    <a:pt x="17" y="94"/>
                  </a:lnTo>
                  <a:lnTo>
                    <a:pt x="17" y="90"/>
                  </a:lnTo>
                  <a:lnTo>
                    <a:pt x="18" y="87"/>
                  </a:lnTo>
                  <a:lnTo>
                    <a:pt x="21" y="83"/>
                  </a:lnTo>
                  <a:lnTo>
                    <a:pt x="22" y="79"/>
                  </a:lnTo>
                  <a:lnTo>
                    <a:pt x="22" y="76"/>
                  </a:lnTo>
                  <a:lnTo>
                    <a:pt x="21" y="74"/>
                  </a:lnTo>
                  <a:lnTo>
                    <a:pt x="17" y="76"/>
                  </a:lnTo>
                  <a:lnTo>
                    <a:pt x="14" y="76"/>
                  </a:lnTo>
                  <a:lnTo>
                    <a:pt x="11" y="79"/>
                  </a:lnTo>
                  <a:lnTo>
                    <a:pt x="8" y="82"/>
                  </a:lnTo>
                  <a:lnTo>
                    <a:pt x="6" y="86"/>
                  </a:lnTo>
                  <a:lnTo>
                    <a:pt x="3" y="89"/>
                  </a:lnTo>
                  <a:lnTo>
                    <a:pt x="0" y="93"/>
                  </a:lnTo>
                  <a:lnTo>
                    <a:pt x="0" y="96"/>
                  </a:lnTo>
                  <a:lnTo>
                    <a:pt x="6" y="108"/>
                  </a:lnTo>
                  <a:lnTo>
                    <a:pt x="7" y="114"/>
                  </a:lnTo>
                  <a:lnTo>
                    <a:pt x="7" y="121"/>
                  </a:lnTo>
                  <a:lnTo>
                    <a:pt x="8" y="125"/>
                  </a:lnTo>
                  <a:lnTo>
                    <a:pt x="9" y="128"/>
                  </a:lnTo>
                  <a:lnTo>
                    <a:pt x="16" y="133"/>
                  </a:lnTo>
                  <a:lnTo>
                    <a:pt x="22" y="139"/>
                  </a:lnTo>
                  <a:lnTo>
                    <a:pt x="27" y="145"/>
                  </a:lnTo>
                  <a:lnTo>
                    <a:pt x="32" y="156"/>
                  </a:lnTo>
                  <a:lnTo>
                    <a:pt x="36" y="159"/>
                  </a:lnTo>
                  <a:lnTo>
                    <a:pt x="41" y="164"/>
                  </a:lnTo>
                  <a:lnTo>
                    <a:pt x="42" y="165"/>
                  </a:lnTo>
                  <a:lnTo>
                    <a:pt x="42" y="168"/>
                  </a:lnTo>
                  <a:lnTo>
                    <a:pt x="44" y="172"/>
                  </a:lnTo>
                  <a:lnTo>
                    <a:pt x="44" y="177"/>
                  </a:lnTo>
                  <a:lnTo>
                    <a:pt x="51" y="191"/>
                  </a:lnTo>
                  <a:lnTo>
                    <a:pt x="58" y="204"/>
                  </a:lnTo>
                  <a:lnTo>
                    <a:pt x="70" y="233"/>
                  </a:lnTo>
                  <a:lnTo>
                    <a:pt x="73" y="236"/>
                  </a:lnTo>
                  <a:lnTo>
                    <a:pt x="75" y="239"/>
                  </a:lnTo>
                  <a:lnTo>
                    <a:pt x="79" y="252"/>
                  </a:lnTo>
                  <a:lnTo>
                    <a:pt x="82" y="258"/>
                  </a:lnTo>
                  <a:lnTo>
                    <a:pt x="86" y="265"/>
                  </a:lnTo>
                  <a:lnTo>
                    <a:pt x="87" y="267"/>
                  </a:lnTo>
                  <a:lnTo>
                    <a:pt x="87" y="271"/>
                  </a:lnTo>
                  <a:lnTo>
                    <a:pt x="86" y="278"/>
                  </a:lnTo>
                  <a:lnTo>
                    <a:pt x="87" y="285"/>
                  </a:lnTo>
                  <a:lnTo>
                    <a:pt x="91" y="290"/>
                  </a:lnTo>
                  <a:lnTo>
                    <a:pt x="96" y="294"/>
                  </a:lnTo>
                  <a:lnTo>
                    <a:pt x="102" y="298"/>
                  </a:lnTo>
                  <a:lnTo>
                    <a:pt x="105" y="300"/>
                  </a:lnTo>
                  <a:lnTo>
                    <a:pt x="107" y="303"/>
                  </a:lnTo>
                  <a:lnTo>
                    <a:pt x="110" y="310"/>
                  </a:lnTo>
                  <a:lnTo>
                    <a:pt x="112" y="311"/>
                  </a:lnTo>
                  <a:lnTo>
                    <a:pt x="115" y="313"/>
                  </a:lnTo>
                  <a:lnTo>
                    <a:pt x="119" y="318"/>
                  </a:lnTo>
                  <a:lnTo>
                    <a:pt x="121" y="320"/>
                  </a:lnTo>
                  <a:lnTo>
                    <a:pt x="124" y="322"/>
                  </a:lnTo>
                  <a:lnTo>
                    <a:pt x="134" y="325"/>
                  </a:lnTo>
                  <a:lnTo>
                    <a:pt x="143" y="329"/>
                  </a:lnTo>
                  <a:lnTo>
                    <a:pt x="152" y="334"/>
                  </a:lnTo>
                  <a:lnTo>
                    <a:pt x="159" y="339"/>
                  </a:lnTo>
                  <a:lnTo>
                    <a:pt x="162" y="342"/>
                  </a:lnTo>
                  <a:lnTo>
                    <a:pt x="166" y="344"/>
                  </a:lnTo>
                  <a:lnTo>
                    <a:pt x="169" y="347"/>
                  </a:lnTo>
                  <a:lnTo>
                    <a:pt x="171" y="350"/>
                  </a:lnTo>
                  <a:lnTo>
                    <a:pt x="173" y="355"/>
                  </a:lnTo>
                  <a:lnTo>
                    <a:pt x="177" y="360"/>
                  </a:lnTo>
                  <a:lnTo>
                    <a:pt x="182" y="363"/>
                  </a:lnTo>
                  <a:lnTo>
                    <a:pt x="183" y="364"/>
                  </a:lnTo>
                  <a:lnTo>
                    <a:pt x="185" y="36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4" name="Freeform 873"/>
            <p:cNvSpPr>
              <a:spLocks/>
            </p:cNvSpPr>
            <p:nvPr/>
          </p:nvSpPr>
          <p:spPr bwMode="auto">
            <a:xfrm>
              <a:off x="2297113" y="4370392"/>
              <a:ext cx="158750" cy="192087"/>
            </a:xfrm>
            <a:custGeom>
              <a:avLst/>
              <a:gdLst>
                <a:gd name="T0" fmla="*/ 2147483647 w 108"/>
                <a:gd name="T1" fmla="*/ 2147483647 h 121"/>
                <a:gd name="T2" fmla="*/ 2147483647 w 108"/>
                <a:gd name="T3" fmla="*/ 2147483647 h 121"/>
                <a:gd name="T4" fmla="*/ 2147483647 w 108"/>
                <a:gd name="T5" fmla="*/ 2147483647 h 121"/>
                <a:gd name="T6" fmla="*/ 2147483647 w 108"/>
                <a:gd name="T7" fmla="*/ 2147483647 h 121"/>
                <a:gd name="T8" fmla="*/ 2147483647 w 108"/>
                <a:gd name="T9" fmla="*/ 2147483647 h 121"/>
                <a:gd name="T10" fmla="*/ 2147483647 w 108"/>
                <a:gd name="T11" fmla="*/ 2147483647 h 121"/>
                <a:gd name="T12" fmla="*/ 2147483647 w 108"/>
                <a:gd name="T13" fmla="*/ 2147483647 h 121"/>
                <a:gd name="T14" fmla="*/ 2147483647 w 108"/>
                <a:gd name="T15" fmla="*/ 2147483647 h 121"/>
                <a:gd name="T16" fmla="*/ 2147483647 w 108"/>
                <a:gd name="T17" fmla="*/ 2147483647 h 121"/>
                <a:gd name="T18" fmla="*/ 2147483647 w 108"/>
                <a:gd name="T19" fmla="*/ 2147483647 h 121"/>
                <a:gd name="T20" fmla="*/ 2147483647 w 108"/>
                <a:gd name="T21" fmla="*/ 2147483647 h 121"/>
                <a:gd name="T22" fmla="*/ 2147483647 w 108"/>
                <a:gd name="T23" fmla="*/ 2147483647 h 121"/>
                <a:gd name="T24" fmla="*/ 2147483647 w 108"/>
                <a:gd name="T25" fmla="*/ 2147483647 h 121"/>
                <a:gd name="T26" fmla="*/ 2147483647 w 108"/>
                <a:gd name="T27" fmla="*/ 2147483647 h 121"/>
                <a:gd name="T28" fmla="*/ 2147483647 w 108"/>
                <a:gd name="T29" fmla="*/ 2147483647 h 121"/>
                <a:gd name="T30" fmla="*/ 2147483647 w 108"/>
                <a:gd name="T31" fmla="*/ 2147483647 h 121"/>
                <a:gd name="T32" fmla="*/ 2147483647 w 108"/>
                <a:gd name="T33" fmla="*/ 2147483647 h 121"/>
                <a:gd name="T34" fmla="*/ 2147483647 w 108"/>
                <a:gd name="T35" fmla="*/ 2147483647 h 121"/>
                <a:gd name="T36" fmla="*/ 2147483647 w 108"/>
                <a:gd name="T37" fmla="*/ 2147483647 h 121"/>
                <a:gd name="T38" fmla="*/ 2147483647 w 108"/>
                <a:gd name="T39" fmla="*/ 2147483647 h 121"/>
                <a:gd name="T40" fmla="*/ 2147483647 w 108"/>
                <a:gd name="T41" fmla="*/ 2147483647 h 121"/>
                <a:gd name="T42" fmla="*/ 2147483647 w 108"/>
                <a:gd name="T43" fmla="*/ 2147483647 h 121"/>
                <a:gd name="T44" fmla="*/ 2147483647 w 108"/>
                <a:gd name="T45" fmla="*/ 2147483647 h 121"/>
                <a:gd name="T46" fmla="*/ 2147483647 w 108"/>
                <a:gd name="T47" fmla="*/ 0 h 121"/>
                <a:gd name="T48" fmla="*/ 2147483647 w 108"/>
                <a:gd name="T49" fmla="*/ 2147483647 h 121"/>
                <a:gd name="T50" fmla="*/ 2147483647 w 108"/>
                <a:gd name="T51" fmla="*/ 2147483647 h 121"/>
                <a:gd name="T52" fmla="*/ 2147483647 w 108"/>
                <a:gd name="T53" fmla="*/ 2147483647 h 121"/>
                <a:gd name="T54" fmla="*/ 2147483647 w 108"/>
                <a:gd name="T55" fmla="*/ 2147483647 h 121"/>
                <a:gd name="T56" fmla="*/ 2147483647 w 108"/>
                <a:gd name="T57" fmla="*/ 2147483647 h 121"/>
                <a:gd name="T58" fmla="*/ 0 w 108"/>
                <a:gd name="T59" fmla="*/ 2147483647 h 121"/>
                <a:gd name="T60" fmla="*/ 2147483647 w 108"/>
                <a:gd name="T61" fmla="*/ 2147483647 h 121"/>
                <a:gd name="T62" fmla="*/ 2147483647 w 108"/>
                <a:gd name="T63" fmla="*/ 2147483647 h 121"/>
                <a:gd name="T64" fmla="*/ 2147483647 w 108"/>
                <a:gd name="T65" fmla="*/ 2147483647 h 121"/>
                <a:gd name="T66" fmla="*/ 2147483647 w 108"/>
                <a:gd name="T67" fmla="*/ 2147483647 h 121"/>
                <a:gd name="T68" fmla="*/ 2147483647 w 108"/>
                <a:gd name="T69" fmla="*/ 2147483647 h 121"/>
                <a:gd name="T70" fmla="*/ 2147483647 w 108"/>
                <a:gd name="T71" fmla="*/ 2147483647 h 121"/>
                <a:gd name="T72" fmla="*/ 2147483647 w 108"/>
                <a:gd name="T73" fmla="*/ 2147483647 h 121"/>
                <a:gd name="T74" fmla="*/ 2147483647 w 108"/>
                <a:gd name="T75" fmla="*/ 2147483647 h 1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8"/>
                <a:gd name="T115" fmla="*/ 0 h 121"/>
                <a:gd name="T116" fmla="*/ 108 w 108"/>
                <a:gd name="T117" fmla="*/ 121 h 1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8" h="121">
                  <a:moveTo>
                    <a:pt x="18" y="97"/>
                  </a:moveTo>
                  <a:lnTo>
                    <a:pt x="19" y="99"/>
                  </a:lnTo>
                  <a:lnTo>
                    <a:pt x="19" y="102"/>
                  </a:lnTo>
                  <a:lnTo>
                    <a:pt x="18" y="107"/>
                  </a:lnTo>
                  <a:lnTo>
                    <a:pt x="15" y="110"/>
                  </a:lnTo>
                  <a:lnTo>
                    <a:pt x="14" y="114"/>
                  </a:lnTo>
                  <a:lnTo>
                    <a:pt x="14" y="117"/>
                  </a:lnTo>
                  <a:lnTo>
                    <a:pt x="17" y="120"/>
                  </a:lnTo>
                  <a:lnTo>
                    <a:pt x="18" y="120"/>
                  </a:lnTo>
                  <a:lnTo>
                    <a:pt x="21" y="120"/>
                  </a:lnTo>
                  <a:lnTo>
                    <a:pt x="27" y="118"/>
                  </a:lnTo>
                  <a:lnTo>
                    <a:pt x="31" y="117"/>
                  </a:lnTo>
                  <a:lnTo>
                    <a:pt x="33" y="118"/>
                  </a:lnTo>
                  <a:lnTo>
                    <a:pt x="36" y="121"/>
                  </a:lnTo>
                  <a:lnTo>
                    <a:pt x="37" y="121"/>
                  </a:lnTo>
                  <a:lnTo>
                    <a:pt x="41" y="121"/>
                  </a:lnTo>
                  <a:lnTo>
                    <a:pt x="42" y="118"/>
                  </a:lnTo>
                  <a:lnTo>
                    <a:pt x="45" y="117"/>
                  </a:lnTo>
                  <a:lnTo>
                    <a:pt x="50" y="116"/>
                  </a:lnTo>
                  <a:lnTo>
                    <a:pt x="52" y="114"/>
                  </a:lnTo>
                  <a:lnTo>
                    <a:pt x="55" y="111"/>
                  </a:lnTo>
                  <a:lnTo>
                    <a:pt x="56" y="108"/>
                  </a:lnTo>
                  <a:lnTo>
                    <a:pt x="59" y="102"/>
                  </a:lnTo>
                  <a:lnTo>
                    <a:pt x="60" y="97"/>
                  </a:lnTo>
                  <a:lnTo>
                    <a:pt x="64" y="92"/>
                  </a:lnTo>
                  <a:lnTo>
                    <a:pt x="71" y="86"/>
                  </a:lnTo>
                  <a:lnTo>
                    <a:pt x="80" y="80"/>
                  </a:lnTo>
                  <a:lnTo>
                    <a:pt x="89" y="75"/>
                  </a:lnTo>
                  <a:lnTo>
                    <a:pt x="95" y="69"/>
                  </a:lnTo>
                  <a:lnTo>
                    <a:pt x="103" y="62"/>
                  </a:lnTo>
                  <a:lnTo>
                    <a:pt x="106" y="58"/>
                  </a:lnTo>
                  <a:lnTo>
                    <a:pt x="107" y="53"/>
                  </a:lnTo>
                  <a:lnTo>
                    <a:pt x="108" y="50"/>
                  </a:lnTo>
                  <a:lnTo>
                    <a:pt x="107" y="45"/>
                  </a:lnTo>
                  <a:lnTo>
                    <a:pt x="104" y="40"/>
                  </a:lnTo>
                  <a:lnTo>
                    <a:pt x="102" y="34"/>
                  </a:lnTo>
                  <a:lnTo>
                    <a:pt x="99" y="30"/>
                  </a:lnTo>
                  <a:lnTo>
                    <a:pt x="97" y="24"/>
                  </a:lnTo>
                  <a:lnTo>
                    <a:pt x="83" y="20"/>
                  </a:lnTo>
                  <a:lnTo>
                    <a:pt x="74" y="19"/>
                  </a:lnTo>
                  <a:lnTo>
                    <a:pt x="68" y="19"/>
                  </a:lnTo>
                  <a:lnTo>
                    <a:pt x="65" y="16"/>
                  </a:lnTo>
                  <a:lnTo>
                    <a:pt x="62" y="14"/>
                  </a:lnTo>
                  <a:lnTo>
                    <a:pt x="59" y="8"/>
                  </a:lnTo>
                  <a:lnTo>
                    <a:pt x="56" y="6"/>
                  </a:lnTo>
                  <a:lnTo>
                    <a:pt x="52" y="3"/>
                  </a:lnTo>
                  <a:lnTo>
                    <a:pt x="47" y="1"/>
                  </a:lnTo>
                  <a:lnTo>
                    <a:pt x="41" y="0"/>
                  </a:lnTo>
                  <a:lnTo>
                    <a:pt x="38" y="3"/>
                  </a:lnTo>
                  <a:lnTo>
                    <a:pt x="35" y="6"/>
                  </a:lnTo>
                  <a:lnTo>
                    <a:pt x="28" y="9"/>
                  </a:lnTo>
                  <a:lnTo>
                    <a:pt x="22" y="14"/>
                  </a:lnTo>
                  <a:lnTo>
                    <a:pt x="18" y="16"/>
                  </a:lnTo>
                  <a:lnTo>
                    <a:pt x="17" y="19"/>
                  </a:lnTo>
                  <a:lnTo>
                    <a:pt x="13" y="26"/>
                  </a:lnTo>
                  <a:lnTo>
                    <a:pt x="12" y="33"/>
                  </a:lnTo>
                  <a:lnTo>
                    <a:pt x="8" y="40"/>
                  </a:lnTo>
                  <a:lnTo>
                    <a:pt x="4" y="46"/>
                  </a:lnTo>
                  <a:lnTo>
                    <a:pt x="2" y="51"/>
                  </a:lnTo>
                  <a:lnTo>
                    <a:pt x="0" y="56"/>
                  </a:lnTo>
                  <a:lnTo>
                    <a:pt x="2" y="60"/>
                  </a:lnTo>
                  <a:lnTo>
                    <a:pt x="4" y="65"/>
                  </a:lnTo>
                  <a:lnTo>
                    <a:pt x="7" y="69"/>
                  </a:lnTo>
                  <a:lnTo>
                    <a:pt x="12" y="72"/>
                  </a:lnTo>
                  <a:lnTo>
                    <a:pt x="17" y="75"/>
                  </a:lnTo>
                  <a:lnTo>
                    <a:pt x="22" y="76"/>
                  </a:lnTo>
                  <a:lnTo>
                    <a:pt x="23" y="77"/>
                  </a:lnTo>
                  <a:lnTo>
                    <a:pt x="19" y="80"/>
                  </a:lnTo>
                  <a:lnTo>
                    <a:pt x="18" y="83"/>
                  </a:lnTo>
                  <a:lnTo>
                    <a:pt x="19" y="85"/>
                  </a:lnTo>
                  <a:lnTo>
                    <a:pt x="22" y="88"/>
                  </a:lnTo>
                  <a:lnTo>
                    <a:pt x="23" y="89"/>
                  </a:lnTo>
                  <a:lnTo>
                    <a:pt x="23" y="91"/>
                  </a:lnTo>
                  <a:lnTo>
                    <a:pt x="22" y="92"/>
                  </a:lnTo>
                  <a:lnTo>
                    <a:pt x="19" y="94"/>
                  </a:lnTo>
                  <a:lnTo>
                    <a:pt x="18" y="96"/>
                  </a:lnTo>
                  <a:lnTo>
                    <a:pt x="18" y="9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5" name="Freeform 874"/>
            <p:cNvSpPr>
              <a:spLocks/>
            </p:cNvSpPr>
            <p:nvPr/>
          </p:nvSpPr>
          <p:spPr bwMode="auto">
            <a:xfrm>
              <a:off x="2690813" y="4086228"/>
              <a:ext cx="12700" cy="4763"/>
            </a:xfrm>
            <a:custGeom>
              <a:avLst/>
              <a:gdLst>
                <a:gd name="T0" fmla="*/ 2147483647 w 9"/>
                <a:gd name="T1" fmla="*/ 2147483647 h 3"/>
                <a:gd name="T2" fmla="*/ 0 w 9"/>
                <a:gd name="T3" fmla="*/ 2147483647 h 3"/>
                <a:gd name="T4" fmla="*/ 2147483647 w 9"/>
                <a:gd name="T5" fmla="*/ 0 h 3"/>
                <a:gd name="T6" fmla="*/ 2147483647 w 9"/>
                <a:gd name="T7" fmla="*/ 0 h 3"/>
                <a:gd name="T8" fmla="*/ 2147483647 w 9"/>
                <a:gd name="T9" fmla="*/ 0 h 3"/>
                <a:gd name="T10" fmla="*/ 2147483647 w 9"/>
                <a:gd name="T11" fmla="*/ 2147483647 h 3"/>
                <a:gd name="T12" fmla="*/ 2147483647 w 9"/>
                <a:gd name="T13" fmla="*/ 2147483647 h 3"/>
                <a:gd name="T14" fmla="*/ 2147483647 w 9"/>
                <a:gd name="T15" fmla="*/ 2147483647 h 3"/>
                <a:gd name="T16" fmla="*/ 2147483647 w 9"/>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3"/>
                <a:gd name="T29" fmla="*/ 9 w 9"/>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3">
                  <a:moveTo>
                    <a:pt x="4" y="3"/>
                  </a:moveTo>
                  <a:lnTo>
                    <a:pt x="0" y="3"/>
                  </a:lnTo>
                  <a:lnTo>
                    <a:pt x="1" y="0"/>
                  </a:lnTo>
                  <a:lnTo>
                    <a:pt x="4" y="0"/>
                  </a:lnTo>
                  <a:lnTo>
                    <a:pt x="7" y="0"/>
                  </a:lnTo>
                  <a:lnTo>
                    <a:pt x="9" y="1"/>
                  </a:lnTo>
                  <a:lnTo>
                    <a:pt x="9" y="3"/>
                  </a:lnTo>
                  <a:lnTo>
                    <a:pt x="8" y="3"/>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6" name="Freeform 875"/>
            <p:cNvSpPr>
              <a:spLocks/>
            </p:cNvSpPr>
            <p:nvPr/>
          </p:nvSpPr>
          <p:spPr bwMode="auto">
            <a:xfrm>
              <a:off x="2295525" y="4368800"/>
              <a:ext cx="158750" cy="192088"/>
            </a:xfrm>
            <a:custGeom>
              <a:avLst/>
              <a:gdLst>
                <a:gd name="T0" fmla="*/ 2147483647 w 108"/>
                <a:gd name="T1" fmla="*/ 2147483647 h 121"/>
                <a:gd name="T2" fmla="*/ 2147483647 w 108"/>
                <a:gd name="T3" fmla="*/ 2147483647 h 121"/>
                <a:gd name="T4" fmla="*/ 2147483647 w 108"/>
                <a:gd name="T5" fmla="*/ 2147483647 h 121"/>
                <a:gd name="T6" fmla="*/ 2147483647 w 108"/>
                <a:gd name="T7" fmla="*/ 2147483647 h 121"/>
                <a:gd name="T8" fmla="*/ 2147483647 w 108"/>
                <a:gd name="T9" fmla="*/ 2147483647 h 121"/>
                <a:gd name="T10" fmla="*/ 2147483647 w 108"/>
                <a:gd name="T11" fmla="*/ 2147483647 h 121"/>
                <a:gd name="T12" fmla="*/ 2147483647 w 108"/>
                <a:gd name="T13" fmla="*/ 2147483647 h 121"/>
                <a:gd name="T14" fmla="*/ 2147483647 w 108"/>
                <a:gd name="T15" fmla="*/ 2147483647 h 121"/>
                <a:gd name="T16" fmla="*/ 2147483647 w 108"/>
                <a:gd name="T17" fmla="*/ 2147483647 h 121"/>
                <a:gd name="T18" fmla="*/ 2147483647 w 108"/>
                <a:gd name="T19" fmla="*/ 2147483647 h 121"/>
                <a:gd name="T20" fmla="*/ 2147483647 w 108"/>
                <a:gd name="T21" fmla="*/ 2147483647 h 121"/>
                <a:gd name="T22" fmla="*/ 2147483647 w 108"/>
                <a:gd name="T23" fmla="*/ 2147483647 h 121"/>
                <a:gd name="T24" fmla="*/ 2147483647 w 108"/>
                <a:gd name="T25" fmla="*/ 2147483647 h 121"/>
                <a:gd name="T26" fmla="*/ 2147483647 w 108"/>
                <a:gd name="T27" fmla="*/ 2147483647 h 121"/>
                <a:gd name="T28" fmla="*/ 2147483647 w 108"/>
                <a:gd name="T29" fmla="*/ 2147483647 h 121"/>
                <a:gd name="T30" fmla="*/ 2147483647 w 108"/>
                <a:gd name="T31" fmla="*/ 2147483647 h 121"/>
                <a:gd name="T32" fmla="*/ 2147483647 w 108"/>
                <a:gd name="T33" fmla="*/ 2147483647 h 121"/>
                <a:gd name="T34" fmla="*/ 2147483647 w 108"/>
                <a:gd name="T35" fmla="*/ 2147483647 h 121"/>
                <a:gd name="T36" fmla="*/ 2147483647 w 108"/>
                <a:gd name="T37" fmla="*/ 2147483647 h 121"/>
                <a:gd name="T38" fmla="*/ 2147483647 w 108"/>
                <a:gd name="T39" fmla="*/ 2147483647 h 121"/>
                <a:gd name="T40" fmla="*/ 2147483647 w 108"/>
                <a:gd name="T41" fmla="*/ 2147483647 h 121"/>
                <a:gd name="T42" fmla="*/ 2147483647 w 108"/>
                <a:gd name="T43" fmla="*/ 2147483647 h 121"/>
                <a:gd name="T44" fmla="*/ 2147483647 w 108"/>
                <a:gd name="T45" fmla="*/ 2147483647 h 121"/>
                <a:gd name="T46" fmla="*/ 2147483647 w 108"/>
                <a:gd name="T47" fmla="*/ 2147483647 h 121"/>
                <a:gd name="T48" fmla="*/ 2147483647 w 108"/>
                <a:gd name="T49" fmla="*/ 2147483647 h 121"/>
                <a:gd name="T50" fmla="*/ 2147483647 w 108"/>
                <a:gd name="T51" fmla="*/ 2147483647 h 121"/>
                <a:gd name="T52" fmla="*/ 2147483647 w 108"/>
                <a:gd name="T53" fmla="*/ 2147483647 h 121"/>
                <a:gd name="T54" fmla="*/ 2147483647 w 108"/>
                <a:gd name="T55" fmla="*/ 2147483647 h 121"/>
                <a:gd name="T56" fmla="*/ 2147483647 w 108"/>
                <a:gd name="T57" fmla="*/ 2147483647 h 121"/>
                <a:gd name="T58" fmla="*/ 2147483647 w 108"/>
                <a:gd name="T59" fmla="*/ 0 h 121"/>
                <a:gd name="T60" fmla="*/ 2147483647 w 108"/>
                <a:gd name="T61" fmla="*/ 2147483647 h 121"/>
                <a:gd name="T62" fmla="*/ 2147483647 w 108"/>
                <a:gd name="T63" fmla="*/ 2147483647 h 121"/>
                <a:gd name="T64" fmla="*/ 2147483647 w 108"/>
                <a:gd name="T65" fmla="*/ 2147483647 h 121"/>
                <a:gd name="T66" fmla="*/ 2147483647 w 108"/>
                <a:gd name="T67" fmla="*/ 2147483647 h 121"/>
                <a:gd name="T68" fmla="*/ 2147483647 w 108"/>
                <a:gd name="T69" fmla="*/ 2147483647 h 121"/>
                <a:gd name="T70" fmla="*/ 2147483647 w 108"/>
                <a:gd name="T71" fmla="*/ 2147483647 h 121"/>
                <a:gd name="T72" fmla="*/ 2147483647 w 108"/>
                <a:gd name="T73" fmla="*/ 2147483647 h 121"/>
                <a:gd name="T74" fmla="*/ 2147483647 w 108"/>
                <a:gd name="T75" fmla="*/ 2147483647 h 121"/>
                <a:gd name="T76" fmla="*/ 2147483647 w 108"/>
                <a:gd name="T77" fmla="*/ 2147483647 h 121"/>
                <a:gd name="T78" fmla="*/ 2147483647 w 108"/>
                <a:gd name="T79" fmla="*/ 2147483647 h 121"/>
                <a:gd name="T80" fmla="*/ 2147483647 w 108"/>
                <a:gd name="T81" fmla="*/ 2147483647 h 121"/>
                <a:gd name="T82" fmla="*/ 2147483647 w 108"/>
                <a:gd name="T83" fmla="*/ 2147483647 h 121"/>
                <a:gd name="T84" fmla="*/ 2147483647 w 108"/>
                <a:gd name="T85" fmla="*/ 2147483647 h 121"/>
                <a:gd name="T86" fmla="*/ 2147483647 w 108"/>
                <a:gd name="T87" fmla="*/ 2147483647 h 121"/>
                <a:gd name="T88" fmla="*/ 2147483647 w 108"/>
                <a:gd name="T89" fmla="*/ 2147483647 h 121"/>
                <a:gd name="T90" fmla="*/ 2147483647 w 108"/>
                <a:gd name="T91" fmla="*/ 2147483647 h 121"/>
                <a:gd name="T92" fmla="*/ 2147483647 w 108"/>
                <a:gd name="T93" fmla="*/ 2147483647 h 121"/>
                <a:gd name="T94" fmla="*/ 2147483647 w 108"/>
                <a:gd name="T95" fmla="*/ 2147483647 h 121"/>
                <a:gd name="T96" fmla="*/ 2147483647 w 108"/>
                <a:gd name="T97" fmla="*/ 2147483647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8"/>
                <a:gd name="T148" fmla="*/ 0 h 121"/>
                <a:gd name="T149" fmla="*/ 108 w 108"/>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8" h="121">
                  <a:moveTo>
                    <a:pt x="18" y="97"/>
                  </a:moveTo>
                  <a:lnTo>
                    <a:pt x="18" y="97"/>
                  </a:lnTo>
                  <a:lnTo>
                    <a:pt x="19" y="99"/>
                  </a:lnTo>
                  <a:lnTo>
                    <a:pt x="19" y="102"/>
                  </a:lnTo>
                  <a:lnTo>
                    <a:pt x="18" y="106"/>
                  </a:lnTo>
                  <a:lnTo>
                    <a:pt x="15" y="110"/>
                  </a:lnTo>
                  <a:lnTo>
                    <a:pt x="14" y="113"/>
                  </a:lnTo>
                  <a:lnTo>
                    <a:pt x="14" y="117"/>
                  </a:lnTo>
                  <a:lnTo>
                    <a:pt x="16" y="119"/>
                  </a:lnTo>
                  <a:lnTo>
                    <a:pt x="18" y="119"/>
                  </a:lnTo>
                  <a:lnTo>
                    <a:pt x="20" y="119"/>
                  </a:lnTo>
                  <a:lnTo>
                    <a:pt x="27" y="118"/>
                  </a:lnTo>
                  <a:lnTo>
                    <a:pt x="30" y="117"/>
                  </a:lnTo>
                  <a:lnTo>
                    <a:pt x="33" y="118"/>
                  </a:lnTo>
                  <a:lnTo>
                    <a:pt x="36" y="121"/>
                  </a:lnTo>
                  <a:lnTo>
                    <a:pt x="37" y="121"/>
                  </a:lnTo>
                  <a:lnTo>
                    <a:pt x="41" y="121"/>
                  </a:lnTo>
                  <a:lnTo>
                    <a:pt x="42" y="118"/>
                  </a:lnTo>
                  <a:lnTo>
                    <a:pt x="44" y="117"/>
                  </a:lnTo>
                  <a:lnTo>
                    <a:pt x="50" y="116"/>
                  </a:lnTo>
                  <a:lnTo>
                    <a:pt x="52" y="113"/>
                  </a:lnTo>
                  <a:lnTo>
                    <a:pt x="55" y="111"/>
                  </a:lnTo>
                  <a:lnTo>
                    <a:pt x="56" y="108"/>
                  </a:lnTo>
                  <a:lnTo>
                    <a:pt x="58" y="102"/>
                  </a:lnTo>
                  <a:lnTo>
                    <a:pt x="60" y="97"/>
                  </a:lnTo>
                  <a:lnTo>
                    <a:pt x="63" y="92"/>
                  </a:lnTo>
                  <a:lnTo>
                    <a:pt x="71" y="86"/>
                  </a:lnTo>
                  <a:lnTo>
                    <a:pt x="80" y="80"/>
                  </a:lnTo>
                  <a:lnTo>
                    <a:pt x="89" y="74"/>
                  </a:lnTo>
                  <a:lnTo>
                    <a:pt x="95" y="68"/>
                  </a:lnTo>
                  <a:lnTo>
                    <a:pt x="103" y="61"/>
                  </a:lnTo>
                  <a:lnTo>
                    <a:pt x="105" y="58"/>
                  </a:lnTo>
                  <a:lnTo>
                    <a:pt x="107" y="53"/>
                  </a:lnTo>
                  <a:lnTo>
                    <a:pt x="108" y="49"/>
                  </a:lnTo>
                  <a:lnTo>
                    <a:pt x="107" y="45"/>
                  </a:lnTo>
                  <a:lnTo>
                    <a:pt x="104" y="40"/>
                  </a:lnTo>
                  <a:lnTo>
                    <a:pt x="102" y="34"/>
                  </a:lnTo>
                  <a:lnTo>
                    <a:pt x="99" y="29"/>
                  </a:lnTo>
                  <a:lnTo>
                    <a:pt x="96" y="23"/>
                  </a:lnTo>
                  <a:lnTo>
                    <a:pt x="83" y="20"/>
                  </a:lnTo>
                  <a:lnTo>
                    <a:pt x="74" y="19"/>
                  </a:lnTo>
                  <a:lnTo>
                    <a:pt x="67" y="19"/>
                  </a:lnTo>
                  <a:lnTo>
                    <a:pt x="65" y="16"/>
                  </a:lnTo>
                  <a:lnTo>
                    <a:pt x="62" y="14"/>
                  </a:lnTo>
                  <a:lnTo>
                    <a:pt x="58" y="8"/>
                  </a:lnTo>
                  <a:lnTo>
                    <a:pt x="56" y="6"/>
                  </a:lnTo>
                  <a:lnTo>
                    <a:pt x="52" y="3"/>
                  </a:lnTo>
                  <a:lnTo>
                    <a:pt x="47" y="1"/>
                  </a:lnTo>
                  <a:lnTo>
                    <a:pt x="41" y="0"/>
                  </a:lnTo>
                  <a:lnTo>
                    <a:pt x="38" y="3"/>
                  </a:lnTo>
                  <a:lnTo>
                    <a:pt x="34" y="6"/>
                  </a:lnTo>
                  <a:lnTo>
                    <a:pt x="28" y="9"/>
                  </a:lnTo>
                  <a:lnTo>
                    <a:pt x="22" y="14"/>
                  </a:lnTo>
                  <a:lnTo>
                    <a:pt x="18" y="16"/>
                  </a:lnTo>
                  <a:lnTo>
                    <a:pt x="16" y="19"/>
                  </a:lnTo>
                  <a:lnTo>
                    <a:pt x="13" y="26"/>
                  </a:lnTo>
                  <a:lnTo>
                    <a:pt x="11" y="33"/>
                  </a:lnTo>
                  <a:lnTo>
                    <a:pt x="8" y="40"/>
                  </a:lnTo>
                  <a:lnTo>
                    <a:pt x="4" y="46"/>
                  </a:lnTo>
                  <a:lnTo>
                    <a:pt x="1" y="51"/>
                  </a:lnTo>
                  <a:lnTo>
                    <a:pt x="0" y="55"/>
                  </a:lnTo>
                  <a:lnTo>
                    <a:pt x="1" y="60"/>
                  </a:lnTo>
                  <a:lnTo>
                    <a:pt x="4" y="65"/>
                  </a:lnTo>
                  <a:lnTo>
                    <a:pt x="6" y="68"/>
                  </a:lnTo>
                  <a:lnTo>
                    <a:pt x="11" y="72"/>
                  </a:lnTo>
                  <a:lnTo>
                    <a:pt x="16" y="74"/>
                  </a:lnTo>
                  <a:lnTo>
                    <a:pt x="22" y="76"/>
                  </a:lnTo>
                  <a:lnTo>
                    <a:pt x="23" y="77"/>
                  </a:lnTo>
                  <a:lnTo>
                    <a:pt x="19" y="80"/>
                  </a:lnTo>
                  <a:lnTo>
                    <a:pt x="18" y="83"/>
                  </a:lnTo>
                  <a:lnTo>
                    <a:pt x="19" y="85"/>
                  </a:lnTo>
                  <a:lnTo>
                    <a:pt x="22" y="87"/>
                  </a:lnTo>
                  <a:lnTo>
                    <a:pt x="23" y="89"/>
                  </a:lnTo>
                  <a:lnTo>
                    <a:pt x="23" y="91"/>
                  </a:lnTo>
                  <a:lnTo>
                    <a:pt x="22" y="92"/>
                  </a:lnTo>
                  <a:lnTo>
                    <a:pt x="19" y="93"/>
                  </a:lnTo>
                  <a:lnTo>
                    <a:pt x="18" y="96"/>
                  </a:lnTo>
                  <a:lnTo>
                    <a:pt x="18" y="9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7" name="Freeform 876"/>
            <p:cNvSpPr>
              <a:spLocks/>
            </p:cNvSpPr>
            <p:nvPr/>
          </p:nvSpPr>
          <p:spPr bwMode="auto">
            <a:xfrm>
              <a:off x="2689225" y="4084639"/>
              <a:ext cx="12700" cy="4762"/>
            </a:xfrm>
            <a:custGeom>
              <a:avLst/>
              <a:gdLst>
                <a:gd name="T0" fmla="*/ 2147483647 w 9"/>
                <a:gd name="T1" fmla="*/ 2147483647 h 3"/>
                <a:gd name="T2" fmla="*/ 2147483647 w 9"/>
                <a:gd name="T3" fmla="*/ 2147483647 h 3"/>
                <a:gd name="T4" fmla="*/ 0 w 9"/>
                <a:gd name="T5" fmla="*/ 2147483647 h 3"/>
                <a:gd name="T6" fmla="*/ 0 w 9"/>
                <a:gd name="T7" fmla="*/ 2147483647 h 3"/>
                <a:gd name="T8" fmla="*/ 2147483647 w 9"/>
                <a:gd name="T9" fmla="*/ 0 h 3"/>
                <a:gd name="T10" fmla="*/ 2147483647 w 9"/>
                <a:gd name="T11" fmla="*/ 0 h 3"/>
                <a:gd name="T12" fmla="*/ 2147483647 w 9"/>
                <a:gd name="T13" fmla="*/ 0 h 3"/>
                <a:gd name="T14" fmla="*/ 2147483647 w 9"/>
                <a:gd name="T15" fmla="*/ 2147483647 h 3"/>
                <a:gd name="T16" fmla="*/ 2147483647 w 9"/>
                <a:gd name="T17" fmla="*/ 2147483647 h 3"/>
                <a:gd name="T18" fmla="*/ 2147483647 w 9"/>
                <a:gd name="T19" fmla="*/ 2147483647 h 3"/>
                <a:gd name="T20" fmla="*/ 2147483647 w 9"/>
                <a:gd name="T21" fmla="*/ 2147483647 h 3"/>
                <a:gd name="T22" fmla="*/ 2147483647 w 9"/>
                <a:gd name="T23" fmla="*/ 2147483647 h 3"/>
                <a:gd name="T24" fmla="*/ 2147483647 w 9"/>
                <a:gd name="T25" fmla="*/ 2147483647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4" y="3"/>
                  </a:moveTo>
                  <a:lnTo>
                    <a:pt x="4" y="3"/>
                  </a:lnTo>
                  <a:lnTo>
                    <a:pt x="0" y="3"/>
                  </a:lnTo>
                  <a:lnTo>
                    <a:pt x="1" y="0"/>
                  </a:lnTo>
                  <a:lnTo>
                    <a:pt x="4" y="0"/>
                  </a:lnTo>
                  <a:lnTo>
                    <a:pt x="6" y="0"/>
                  </a:lnTo>
                  <a:lnTo>
                    <a:pt x="9" y="1"/>
                  </a:lnTo>
                  <a:lnTo>
                    <a:pt x="9" y="3"/>
                  </a:lnTo>
                  <a:lnTo>
                    <a:pt x="8" y="3"/>
                  </a:lnTo>
                  <a:lnTo>
                    <a:pt x="4"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8" name="Freeform 877"/>
            <p:cNvSpPr>
              <a:spLocks/>
            </p:cNvSpPr>
            <p:nvPr/>
          </p:nvSpPr>
          <p:spPr bwMode="auto">
            <a:xfrm>
              <a:off x="2600325" y="4037015"/>
              <a:ext cx="7938"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0 w 6"/>
                <a:gd name="T9" fmla="*/ 2147483647 h 8"/>
                <a:gd name="T10" fmla="*/ 0 w 6"/>
                <a:gd name="T11" fmla="*/ 2147483647 h 8"/>
                <a:gd name="T12" fmla="*/ 0 w 6"/>
                <a:gd name="T13" fmla="*/ 2147483647 h 8"/>
                <a:gd name="T14" fmla="*/ 2147483647 w 6"/>
                <a:gd name="T15" fmla="*/ 0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5" y="5"/>
                  </a:moveTo>
                  <a:lnTo>
                    <a:pt x="6" y="7"/>
                  </a:lnTo>
                  <a:lnTo>
                    <a:pt x="5" y="8"/>
                  </a:lnTo>
                  <a:lnTo>
                    <a:pt x="1" y="7"/>
                  </a:lnTo>
                  <a:lnTo>
                    <a:pt x="0" y="5"/>
                  </a:lnTo>
                  <a:lnTo>
                    <a:pt x="0" y="2"/>
                  </a:lnTo>
                  <a:lnTo>
                    <a:pt x="0" y="1"/>
                  </a:lnTo>
                  <a:lnTo>
                    <a:pt x="3" y="0"/>
                  </a:lnTo>
                  <a:lnTo>
                    <a:pt x="4" y="1"/>
                  </a:lnTo>
                  <a:lnTo>
                    <a:pt x="5"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79" name="Freeform 878"/>
            <p:cNvSpPr>
              <a:spLocks/>
            </p:cNvSpPr>
            <p:nvPr/>
          </p:nvSpPr>
          <p:spPr bwMode="auto">
            <a:xfrm>
              <a:off x="2614614" y="4037017"/>
              <a:ext cx="6350" cy="7937"/>
            </a:xfrm>
            <a:custGeom>
              <a:avLst/>
              <a:gdLst>
                <a:gd name="T0" fmla="*/ 2147483647 w 5"/>
                <a:gd name="T1" fmla="*/ 2147483647 h 5"/>
                <a:gd name="T2" fmla="*/ 0 w 5"/>
                <a:gd name="T3" fmla="*/ 2147483647 h 5"/>
                <a:gd name="T4" fmla="*/ 0 w 5"/>
                <a:gd name="T5" fmla="*/ 2147483647 h 5"/>
                <a:gd name="T6" fmla="*/ 2147483647 w 5"/>
                <a:gd name="T7" fmla="*/ 0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5"/>
                <a:gd name="T29" fmla="*/ 5 w 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5">
                  <a:moveTo>
                    <a:pt x="3" y="5"/>
                  </a:moveTo>
                  <a:lnTo>
                    <a:pt x="0" y="2"/>
                  </a:lnTo>
                  <a:lnTo>
                    <a:pt x="0" y="1"/>
                  </a:lnTo>
                  <a:lnTo>
                    <a:pt x="1" y="0"/>
                  </a:lnTo>
                  <a:lnTo>
                    <a:pt x="4" y="1"/>
                  </a:lnTo>
                  <a:lnTo>
                    <a:pt x="5" y="2"/>
                  </a:lnTo>
                  <a:lnTo>
                    <a:pt x="5" y="5"/>
                  </a:lnTo>
                  <a:lnTo>
                    <a:pt x="4" y="5"/>
                  </a:lnTo>
                  <a:lnTo>
                    <a:pt x="3"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0" name="Freeform 879"/>
            <p:cNvSpPr>
              <a:spLocks/>
            </p:cNvSpPr>
            <p:nvPr/>
          </p:nvSpPr>
          <p:spPr bwMode="auto">
            <a:xfrm>
              <a:off x="2598742" y="4035425"/>
              <a:ext cx="7937"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0 w 6"/>
                <a:gd name="T13" fmla="*/ 2147483647 h 8"/>
                <a:gd name="T14" fmla="*/ 0 w 6"/>
                <a:gd name="T15" fmla="*/ 2147483647 h 8"/>
                <a:gd name="T16" fmla="*/ 0 w 6"/>
                <a:gd name="T17" fmla="*/ 2147483647 h 8"/>
                <a:gd name="T18" fmla="*/ 0 w 6"/>
                <a:gd name="T19" fmla="*/ 2147483647 h 8"/>
                <a:gd name="T20" fmla="*/ 2147483647 w 6"/>
                <a:gd name="T21" fmla="*/ 0 h 8"/>
                <a:gd name="T22" fmla="*/ 2147483647 w 6"/>
                <a:gd name="T23" fmla="*/ 2147483647 h 8"/>
                <a:gd name="T24" fmla="*/ 2147483647 w 6"/>
                <a:gd name="T25" fmla="*/ 2147483647 h 8"/>
                <a:gd name="T26" fmla="*/ 2147483647 w 6"/>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5" y="5"/>
                  </a:moveTo>
                  <a:lnTo>
                    <a:pt x="5" y="5"/>
                  </a:lnTo>
                  <a:lnTo>
                    <a:pt x="6" y="7"/>
                  </a:lnTo>
                  <a:lnTo>
                    <a:pt x="5" y="8"/>
                  </a:lnTo>
                  <a:lnTo>
                    <a:pt x="1" y="7"/>
                  </a:lnTo>
                  <a:lnTo>
                    <a:pt x="0" y="5"/>
                  </a:lnTo>
                  <a:lnTo>
                    <a:pt x="0" y="2"/>
                  </a:lnTo>
                  <a:lnTo>
                    <a:pt x="0" y="1"/>
                  </a:lnTo>
                  <a:lnTo>
                    <a:pt x="2" y="0"/>
                  </a:lnTo>
                  <a:lnTo>
                    <a:pt x="4" y="1"/>
                  </a:lnTo>
                  <a:lnTo>
                    <a:pt x="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1" name="Freeform 880"/>
            <p:cNvSpPr>
              <a:spLocks/>
            </p:cNvSpPr>
            <p:nvPr/>
          </p:nvSpPr>
          <p:spPr bwMode="auto">
            <a:xfrm>
              <a:off x="2613025" y="4035425"/>
              <a:ext cx="6350" cy="7938"/>
            </a:xfrm>
            <a:custGeom>
              <a:avLst/>
              <a:gdLst>
                <a:gd name="T0" fmla="*/ 2147483647 w 5"/>
                <a:gd name="T1" fmla="*/ 2147483647 h 5"/>
                <a:gd name="T2" fmla="*/ 2147483647 w 5"/>
                <a:gd name="T3" fmla="*/ 2147483647 h 5"/>
                <a:gd name="T4" fmla="*/ 0 w 5"/>
                <a:gd name="T5" fmla="*/ 2147483647 h 5"/>
                <a:gd name="T6" fmla="*/ 0 w 5"/>
                <a:gd name="T7" fmla="*/ 2147483647 h 5"/>
                <a:gd name="T8" fmla="*/ 2147483647 w 5"/>
                <a:gd name="T9" fmla="*/ 0 h 5"/>
                <a:gd name="T10" fmla="*/ 2147483647 w 5"/>
                <a:gd name="T11" fmla="*/ 0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2147483647 h 5"/>
                <a:gd name="T24" fmla="*/ 2147483647 w 5"/>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5"/>
                <a:gd name="T41" fmla="*/ 5 w 5"/>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5">
                  <a:moveTo>
                    <a:pt x="2" y="5"/>
                  </a:moveTo>
                  <a:lnTo>
                    <a:pt x="2" y="5"/>
                  </a:lnTo>
                  <a:lnTo>
                    <a:pt x="0" y="2"/>
                  </a:lnTo>
                  <a:lnTo>
                    <a:pt x="0" y="1"/>
                  </a:lnTo>
                  <a:lnTo>
                    <a:pt x="1" y="0"/>
                  </a:lnTo>
                  <a:lnTo>
                    <a:pt x="4" y="1"/>
                  </a:lnTo>
                  <a:lnTo>
                    <a:pt x="5" y="2"/>
                  </a:lnTo>
                  <a:lnTo>
                    <a:pt x="5" y="5"/>
                  </a:lnTo>
                  <a:lnTo>
                    <a:pt x="4" y="5"/>
                  </a:lnTo>
                  <a:lnTo>
                    <a:pt x="2"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2" name="Freeform 881"/>
            <p:cNvSpPr>
              <a:spLocks/>
            </p:cNvSpPr>
            <p:nvPr/>
          </p:nvSpPr>
          <p:spPr bwMode="auto">
            <a:xfrm>
              <a:off x="2495550" y="4040190"/>
              <a:ext cx="331788" cy="352425"/>
            </a:xfrm>
            <a:custGeom>
              <a:avLst/>
              <a:gdLst>
                <a:gd name="T0" fmla="*/ 2147483647 w 226"/>
                <a:gd name="T1" fmla="*/ 2147483647 h 222"/>
                <a:gd name="T2" fmla="*/ 0 w 226"/>
                <a:gd name="T3" fmla="*/ 2147483647 h 222"/>
                <a:gd name="T4" fmla="*/ 2147483647 w 226"/>
                <a:gd name="T5" fmla="*/ 2147483647 h 222"/>
                <a:gd name="T6" fmla="*/ 2147483647 w 226"/>
                <a:gd name="T7" fmla="*/ 2147483647 h 222"/>
                <a:gd name="T8" fmla="*/ 2147483647 w 226"/>
                <a:gd name="T9" fmla="*/ 2147483647 h 222"/>
                <a:gd name="T10" fmla="*/ 2147483647 w 226"/>
                <a:gd name="T11" fmla="*/ 2147483647 h 222"/>
                <a:gd name="T12" fmla="*/ 2147483647 w 226"/>
                <a:gd name="T13" fmla="*/ 2147483647 h 222"/>
                <a:gd name="T14" fmla="*/ 2147483647 w 226"/>
                <a:gd name="T15" fmla="*/ 2147483647 h 222"/>
                <a:gd name="T16" fmla="*/ 2147483647 w 226"/>
                <a:gd name="T17" fmla="*/ 2147483647 h 222"/>
                <a:gd name="T18" fmla="*/ 2147483647 w 226"/>
                <a:gd name="T19" fmla="*/ 2147483647 h 222"/>
                <a:gd name="T20" fmla="*/ 2147483647 w 226"/>
                <a:gd name="T21" fmla="*/ 2147483647 h 222"/>
                <a:gd name="T22" fmla="*/ 2147483647 w 226"/>
                <a:gd name="T23" fmla="*/ 2147483647 h 222"/>
                <a:gd name="T24" fmla="*/ 2147483647 w 226"/>
                <a:gd name="T25" fmla="*/ 2147483647 h 222"/>
                <a:gd name="T26" fmla="*/ 2147483647 w 226"/>
                <a:gd name="T27" fmla="*/ 2147483647 h 222"/>
                <a:gd name="T28" fmla="*/ 2147483647 w 226"/>
                <a:gd name="T29" fmla="*/ 2147483647 h 222"/>
                <a:gd name="T30" fmla="*/ 2147483647 w 226"/>
                <a:gd name="T31" fmla="*/ 2147483647 h 222"/>
                <a:gd name="T32" fmla="*/ 2147483647 w 226"/>
                <a:gd name="T33" fmla="*/ 2147483647 h 222"/>
                <a:gd name="T34" fmla="*/ 2147483647 w 226"/>
                <a:gd name="T35" fmla="*/ 2147483647 h 222"/>
                <a:gd name="T36" fmla="*/ 2147483647 w 226"/>
                <a:gd name="T37" fmla="*/ 2147483647 h 222"/>
                <a:gd name="T38" fmla="*/ 2147483647 w 226"/>
                <a:gd name="T39" fmla="*/ 2147483647 h 222"/>
                <a:gd name="T40" fmla="*/ 2147483647 w 226"/>
                <a:gd name="T41" fmla="*/ 2147483647 h 222"/>
                <a:gd name="T42" fmla="*/ 2147483647 w 226"/>
                <a:gd name="T43" fmla="*/ 2147483647 h 222"/>
                <a:gd name="T44" fmla="*/ 2147483647 w 226"/>
                <a:gd name="T45" fmla="*/ 2147483647 h 222"/>
                <a:gd name="T46" fmla="*/ 2147483647 w 226"/>
                <a:gd name="T47" fmla="*/ 2147483647 h 222"/>
                <a:gd name="T48" fmla="*/ 2147483647 w 226"/>
                <a:gd name="T49" fmla="*/ 2147483647 h 222"/>
                <a:gd name="T50" fmla="*/ 2147483647 w 226"/>
                <a:gd name="T51" fmla="*/ 2147483647 h 222"/>
                <a:gd name="T52" fmla="*/ 2147483647 w 226"/>
                <a:gd name="T53" fmla="*/ 2147483647 h 222"/>
                <a:gd name="T54" fmla="*/ 2147483647 w 226"/>
                <a:gd name="T55" fmla="*/ 2147483647 h 222"/>
                <a:gd name="T56" fmla="*/ 2147483647 w 226"/>
                <a:gd name="T57" fmla="*/ 2147483647 h 222"/>
                <a:gd name="T58" fmla="*/ 2147483647 w 226"/>
                <a:gd name="T59" fmla="*/ 2147483647 h 222"/>
                <a:gd name="T60" fmla="*/ 2147483647 w 226"/>
                <a:gd name="T61" fmla="*/ 2147483647 h 222"/>
                <a:gd name="T62" fmla="*/ 2147483647 w 226"/>
                <a:gd name="T63" fmla="*/ 2147483647 h 222"/>
                <a:gd name="T64" fmla="*/ 2147483647 w 226"/>
                <a:gd name="T65" fmla="*/ 2147483647 h 222"/>
                <a:gd name="T66" fmla="*/ 2147483647 w 226"/>
                <a:gd name="T67" fmla="*/ 2147483647 h 222"/>
                <a:gd name="T68" fmla="*/ 2147483647 w 226"/>
                <a:gd name="T69" fmla="*/ 2147483647 h 222"/>
                <a:gd name="T70" fmla="*/ 2147483647 w 226"/>
                <a:gd name="T71" fmla="*/ 2147483647 h 222"/>
                <a:gd name="T72" fmla="*/ 2147483647 w 226"/>
                <a:gd name="T73" fmla="*/ 2147483647 h 222"/>
                <a:gd name="T74" fmla="*/ 2147483647 w 226"/>
                <a:gd name="T75" fmla="*/ 2147483647 h 222"/>
                <a:gd name="T76" fmla="*/ 2147483647 w 226"/>
                <a:gd name="T77" fmla="*/ 2147483647 h 222"/>
                <a:gd name="T78" fmla="*/ 2147483647 w 226"/>
                <a:gd name="T79" fmla="*/ 2147483647 h 222"/>
                <a:gd name="T80" fmla="*/ 2147483647 w 226"/>
                <a:gd name="T81" fmla="*/ 2147483647 h 222"/>
                <a:gd name="T82" fmla="*/ 2147483647 w 226"/>
                <a:gd name="T83" fmla="*/ 2147483647 h 222"/>
                <a:gd name="T84" fmla="*/ 2147483647 w 226"/>
                <a:gd name="T85" fmla="*/ 2147483647 h 222"/>
                <a:gd name="T86" fmla="*/ 2147483647 w 226"/>
                <a:gd name="T87" fmla="*/ 2147483647 h 222"/>
                <a:gd name="T88" fmla="*/ 2147483647 w 226"/>
                <a:gd name="T89" fmla="*/ 2147483647 h 222"/>
                <a:gd name="T90" fmla="*/ 2147483647 w 226"/>
                <a:gd name="T91" fmla="*/ 2147483647 h 222"/>
                <a:gd name="T92" fmla="*/ 2147483647 w 226"/>
                <a:gd name="T93" fmla="*/ 2147483647 h 222"/>
                <a:gd name="T94" fmla="*/ 2147483647 w 226"/>
                <a:gd name="T95" fmla="*/ 2147483647 h 222"/>
                <a:gd name="T96" fmla="*/ 2147483647 w 226"/>
                <a:gd name="T97" fmla="*/ 2147483647 h 222"/>
                <a:gd name="T98" fmla="*/ 2147483647 w 226"/>
                <a:gd name="T99" fmla="*/ 2147483647 h 222"/>
                <a:gd name="T100" fmla="*/ 2147483647 w 226"/>
                <a:gd name="T101" fmla="*/ 2147483647 h 222"/>
                <a:gd name="T102" fmla="*/ 2147483647 w 226"/>
                <a:gd name="T103" fmla="*/ 2147483647 h 222"/>
                <a:gd name="T104" fmla="*/ 2147483647 w 226"/>
                <a:gd name="T105" fmla="*/ 2147483647 h 222"/>
                <a:gd name="T106" fmla="*/ 2147483647 w 226"/>
                <a:gd name="T107" fmla="*/ 2147483647 h 222"/>
                <a:gd name="T108" fmla="*/ 2147483647 w 226"/>
                <a:gd name="T109" fmla="*/ 2147483647 h 222"/>
                <a:gd name="T110" fmla="*/ 2147483647 w 226"/>
                <a:gd name="T111" fmla="*/ 2147483647 h 222"/>
                <a:gd name="T112" fmla="*/ 2147483647 w 226"/>
                <a:gd name="T113" fmla="*/ 2147483647 h 222"/>
                <a:gd name="T114" fmla="*/ 2147483647 w 226"/>
                <a:gd name="T115" fmla="*/ 2147483647 h 222"/>
                <a:gd name="T116" fmla="*/ 2147483647 w 226"/>
                <a:gd name="T117" fmla="*/ 2147483647 h 2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6"/>
                <a:gd name="T178" fmla="*/ 0 h 222"/>
                <a:gd name="T179" fmla="*/ 226 w 226"/>
                <a:gd name="T180" fmla="*/ 222 h 2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6" h="222">
                  <a:moveTo>
                    <a:pt x="21" y="15"/>
                  </a:moveTo>
                  <a:lnTo>
                    <a:pt x="14" y="16"/>
                  </a:lnTo>
                  <a:lnTo>
                    <a:pt x="9" y="19"/>
                  </a:lnTo>
                  <a:lnTo>
                    <a:pt x="5" y="24"/>
                  </a:lnTo>
                  <a:lnTo>
                    <a:pt x="4" y="30"/>
                  </a:lnTo>
                  <a:lnTo>
                    <a:pt x="1" y="43"/>
                  </a:lnTo>
                  <a:lnTo>
                    <a:pt x="0" y="56"/>
                  </a:lnTo>
                  <a:lnTo>
                    <a:pt x="0" y="58"/>
                  </a:lnTo>
                  <a:lnTo>
                    <a:pt x="0" y="61"/>
                  </a:lnTo>
                  <a:lnTo>
                    <a:pt x="5" y="64"/>
                  </a:lnTo>
                  <a:lnTo>
                    <a:pt x="10" y="67"/>
                  </a:lnTo>
                  <a:lnTo>
                    <a:pt x="15" y="70"/>
                  </a:lnTo>
                  <a:lnTo>
                    <a:pt x="16" y="72"/>
                  </a:lnTo>
                  <a:lnTo>
                    <a:pt x="16" y="73"/>
                  </a:lnTo>
                  <a:lnTo>
                    <a:pt x="15" y="76"/>
                  </a:lnTo>
                  <a:lnTo>
                    <a:pt x="15" y="82"/>
                  </a:lnTo>
                  <a:lnTo>
                    <a:pt x="18" y="88"/>
                  </a:lnTo>
                  <a:lnTo>
                    <a:pt x="23" y="93"/>
                  </a:lnTo>
                  <a:lnTo>
                    <a:pt x="28" y="96"/>
                  </a:lnTo>
                  <a:lnTo>
                    <a:pt x="34" y="100"/>
                  </a:lnTo>
                  <a:lnTo>
                    <a:pt x="40" y="102"/>
                  </a:lnTo>
                  <a:lnTo>
                    <a:pt x="48" y="104"/>
                  </a:lnTo>
                  <a:lnTo>
                    <a:pt x="54" y="105"/>
                  </a:lnTo>
                  <a:lnTo>
                    <a:pt x="56" y="105"/>
                  </a:lnTo>
                  <a:lnTo>
                    <a:pt x="57" y="106"/>
                  </a:lnTo>
                  <a:lnTo>
                    <a:pt x="60" y="111"/>
                  </a:lnTo>
                  <a:lnTo>
                    <a:pt x="63" y="114"/>
                  </a:lnTo>
                  <a:lnTo>
                    <a:pt x="68" y="117"/>
                  </a:lnTo>
                  <a:lnTo>
                    <a:pt x="74" y="118"/>
                  </a:lnTo>
                  <a:lnTo>
                    <a:pt x="79" y="118"/>
                  </a:lnTo>
                  <a:lnTo>
                    <a:pt x="84" y="117"/>
                  </a:lnTo>
                  <a:lnTo>
                    <a:pt x="89" y="114"/>
                  </a:lnTo>
                  <a:lnTo>
                    <a:pt x="94" y="112"/>
                  </a:lnTo>
                  <a:lnTo>
                    <a:pt x="93" y="118"/>
                  </a:lnTo>
                  <a:lnTo>
                    <a:pt x="94" y="125"/>
                  </a:lnTo>
                  <a:lnTo>
                    <a:pt x="95" y="138"/>
                  </a:lnTo>
                  <a:lnTo>
                    <a:pt x="99" y="151"/>
                  </a:lnTo>
                  <a:lnTo>
                    <a:pt x="100" y="164"/>
                  </a:lnTo>
                  <a:lnTo>
                    <a:pt x="100" y="166"/>
                  </a:lnTo>
                  <a:lnTo>
                    <a:pt x="99" y="168"/>
                  </a:lnTo>
                  <a:lnTo>
                    <a:pt x="95" y="172"/>
                  </a:lnTo>
                  <a:lnTo>
                    <a:pt x="94" y="176"/>
                  </a:lnTo>
                  <a:lnTo>
                    <a:pt x="93" y="177"/>
                  </a:lnTo>
                  <a:lnTo>
                    <a:pt x="94" y="178"/>
                  </a:lnTo>
                  <a:lnTo>
                    <a:pt x="104" y="183"/>
                  </a:lnTo>
                  <a:lnTo>
                    <a:pt x="109" y="185"/>
                  </a:lnTo>
                  <a:lnTo>
                    <a:pt x="112" y="190"/>
                  </a:lnTo>
                  <a:lnTo>
                    <a:pt x="113" y="195"/>
                  </a:lnTo>
                  <a:lnTo>
                    <a:pt x="114" y="200"/>
                  </a:lnTo>
                  <a:lnTo>
                    <a:pt x="113" y="204"/>
                  </a:lnTo>
                  <a:lnTo>
                    <a:pt x="112" y="209"/>
                  </a:lnTo>
                  <a:lnTo>
                    <a:pt x="113" y="211"/>
                  </a:lnTo>
                  <a:lnTo>
                    <a:pt x="114" y="214"/>
                  </a:lnTo>
                  <a:lnTo>
                    <a:pt x="117" y="219"/>
                  </a:lnTo>
                  <a:lnTo>
                    <a:pt x="120" y="221"/>
                  </a:lnTo>
                  <a:lnTo>
                    <a:pt x="122" y="222"/>
                  </a:lnTo>
                  <a:lnTo>
                    <a:pt x="124" y="222"/>
                  </a:lnTo>
                  <a:lnTo>
                    <a:pt x="131" y="220"/>
                  </a:lnTo>
                  <a:lnTo>
                    <a:pt x="136" y="217"/>
                  </a:lnTo>
                  <a:lnTo>
                    <a:pt x="142" y="215"/>
                  </a:lnTo>
                  <a:lnTo>
                    <a:pt x="148" y="214"/>
                  </a:lnTo>
                  <a:lnTo>
                    <a:pt x="151" y="213"/>
                  </a:lnTo>
                  <a:lnTo>
                    <a:pt x="151" y="211"/>
                  </a:lnTo>
                  <a:lnTo>
                    <a:pt x="151" y="207"/>
                  </a:lnTo>
                  <a:lnTo>
                    <a:pt x="154" y="202"/>
                  </a:lnTo>
                  <a:lnTo>
                    <a:pt x="157" y="198"/>
                  </a:lnTo>
                  <a:lnTo>
                    <a:pt x="161" y="196"/>
                  </a:lnTo>
                  <a:lnTo>
                    <a:pt x="166" y="194"/>
                  </a:lnTo>
                  <a:lnTo>
                    <a:pt x="167" y="192"/>
                  </a:lnTo>
                  <a:lnTo>
                    <a:pt x="169" y="190"/>
                  </a:lnTo>
                  <a:lnTo>
                    <a:pt x="167" y="189"/>
                  </a:lnTo>
                  <a:lnTo>
                    <a:pt x="166" y="189"/>
                  </a:lnTo>
                  <a:lnTo>
                    <a:pt x="162" y="189"/>
                  </a:lnTo>
                  <a:lnTo>
                    <a:pt x="157" y="189"/>
                  </a:lnTo>
                  <a:lnTo>
                    <a:pt x="154" y="187"/>
                  </a:lnTo>
                  <a:lnTo>
                    <a:pt x="152" y="183"/>
                  </a:lnTo>
                  <a:lnTo>
                    <a:pt x="151" y="176"/>
                  </a:lnTo>
                  <a:lnTo>
                    <a:pt x="148" y="169"/>
                  </a:lnTo>
                  <a:lnTo>
                    <a:pt x="145" y="163"/>
                  </a:lnTo>
                  <a:lnTo>
                    <a:pt x="140" y="157"/>
                  </a:lnTo>
                  <a:lnTo>
                    <a:pt x="140" y="156"/>
                  </a:lnTo>
                  <a:lnTo>
                    <a:pt x="140" y="153"/>
                  </a:lnTo>
                  <a:lnTo>
                    <a:pt x="142" y="152"/>
                  </a:lnTo>
                  <a:lnTo>
                    <a:pt x="148" y="155"/>
                  </a:lnTo>
                  <a:lnTo>
                    <a:pt x="155" y="157"/>
                  </a:lnTo>
                  <a:lnTo>
                    <a:pt x="170" y="160"/>
                  </a:lnTo>
                  <a:lnTo>
                    <a:pt x="173" y="162"/>
                  </a:lnTo>
                  <a:lnTo>
                    <a:pt x="174" y="164"/>
                  </a:lnTo>
                  <a:lnTo>
                    <a:pt x="175" y="163"/>
                  </a:lnTo>
                  <a:lnTo>
                    <a:pt x="179" y="160"/>
                  </a:lnTo>
                  <a:lnTo>
                    <a:pt x="183" y="158"/>
                  </a:lnTo>
                  <a:lnTo>
                    <a:pt x="190" y="156"/>
                  </a:lnTo>
                  <a:lnTo>
                    <a:pt x="195" y="153"/>
                  </a:lnTo>
                  <a:lnTo>
                    <a:pt x="200" y="150"/>
                  </a:lnTo>
                  <a:lnTo>
                    <a:pt x="207" y="147"/>
                  </a:lnTo>
                  <a:lnTo>
                    <a:pt x="213" y="145"/>
                  </a:lnTo>
                  <a:lnTo>
                    <a:pt x="214" y="144"/>
                  </a:lnTo>
                  <a:lnTo>
                    <a:pt x="216" y="140"/>
                  </a:lnTo>
                  <a:lnTo>
                    <a:pt x="216" y="137"/>
                  </a:lnTo>
                  <a:lnTo>
                    <a:pt x="216" y="134"/>
                  </a:lnTo>
                  <a:lnTo>
                    <a:pt x="212" y="133"/>
                  </a:lnTo>
                  <a:lnTo>
                    <a:pt x="209" y="132"/>
                  </a:lnTo>
                  <a:lnTo>
                    <a:pt x="208" y="131"/>
                  </a:lnTo>
                  <a:lnTo>
                    <a:pt x="203" y="123"/>
                  </a:lnTo>
                  <a:lnTo>
                    <a:pt x="197" y="114"/>
                  </a:lnTo>
                  <a:lnTo>
                    <a:pt x="197" y="112"/>
                  </a:lnTo>
                  <a:lnTo>
                    <a:pt x="198" y="111"/>
                  </a:lnTo>
                  <a:lnTo>
                    <a:pt x="204" y="108"/>
                  </a:lnTo>
                  <a:lnTo>
                    <a:pt x="211" y="106"/>
                  </a:lnTo>
                  <a:lnTo>
                    <a:pt x="217" y="104"/>
                  </a:lnTo>
                  <a:lnTo>
                    <a:pt x="220" y="101"/>
                  </a:lnTo>
                  <a:lnTo>
                    <a:pt x="222" y="99"/>
                  </a:lnTo>
                  <a:lnTo>
                    <a:pt x="222" y="98"/>
                  </a:lnTo>
                  <a:lnTo>
                    <a:pt x="221" y="96"/>
                  </a:lnTo>
                  <a:lnTo>
                    <a:pt x="218" y="93"/>
                  </a:lnTo>
                  <a:lnTo>
                    <a:pt x="216" y="89"/>
                  </a:lnTo>
                  <a:lnTo>
                    <a:pt x="216" y="88"/>
                  </a:lnTo>
                  <a:lnTo>
                    <a:pt x="216" y="87"/>
                  </a:lnTo>
                  <a:lnTo>
                    <a:pt x="217" y="83"/>
                  </a:lnTo>
                  <a:lnTo>
                    <a:pt x="221" y="81"/>
                  </a:lnTo>
                  <a:lnTo>
                    <a:pt x="226" y="75"/>
                  </a:lnTo>
                  <a:lnTo>
                    <a:pt x="222" y="73"/>
                  </a:lnTo>
                  <a:lnTo>
                    <a:pt x="220" y="72"/>
                  </a:lnTo>
                  <a:lnTo>
                    <a:pt x="213" y="72"/>
                  </a:lnTo>
                  <a:lnTo>
                    <a:pt x="209" y="72"/>
                  </a:lnTo>
                  <a:lnTo>
                    <a:pt x="208" y="70"/>
                  </a:lnTo>
                  <a:lnTo>
                    <a:pt x="207" y="69"/>
                  </a:lnTo>
                  <a:lnTo>
                    <a:pt x="207" y="64"/>
                  </a:lnTo>
                  <a:lnTo>
                    <a:pt x="207" y="61"/>
                  </a:lnTo>
                  <a:lnTo>
                    <a:pt x="206" y="57"/>
                  </a:lnTo>
                  <a:lnTo>
                    <a:pt x="203" y="54"/>
                  </a:lnTo>
                  <a:lnTo>
                    <a:pt x="200" y="51"/>
                  </a:lnTo>
                  <a:lnTo>
                    <a:pt x="197" y="50"/>
                  </a:lnTo>
                  <a:lnTo>
                    <a:pt x="192" y="49"/>
                  </a:lnTo>
                  <a:lnTo>
                    <a:pt x="185" y="50"/>
                  </a:lnTo>
                  <a:lnTo>
                    <a:pt x="179" y="53"/>
                  </a:lnTo>
                  <a:lnTo>
                    <a:pt x="176" y="53"/>
                  </a:lnTo>
                  <a:lnTo>
                    <a:pt x="174" y="51"/>
                  </a:lnTo>
                  <a:lnTo>
                    <a:pt x="174" y="49"/>
                  </a:lnTo>
                  <a:lnTo>
                    <a:pt x="174" y="47"/>
                  </a:lnTo>
                  <a:lnTo>
                    <a:pt x="175" y="47"/>
                  </a:lnTo>
                  <a:lnTo>
                    <a:pt x="175" y="43"/>
                  </a:lnTo>
                  <a:lnTo>
                    <a:pt x="176" y="42"/>
                  </a:lnTo>
                  <a:lnTo>
                    <a:pt x="180" y="40"/>
                  </a:lnTo>
                  <a:lnTo>
                    <a:pt x="185" y="38"/>
                  </a:lnTo>
                  <a:lnTo>
                    <a:pt x="190" y="36"/>
                  </a:lnTo>
                  <a:lnTo>
                    <a:pt x="193" y="34"/>
                  </a:lnTo>
                  <a:lnTo>
                    <a:pt x="193" y="32"/>
                  </a:lnTo>
                  <a:lnTo>
                    <a:pt x="192" y="31"/>
                  </a:lnTo>
                  <a:lnTo>
                    <a:pt x="189" y="30"/>
                  </a:lnTo>
                  <a:lnTo>
                    <a:pt x="185" y="30"/>
                  </a:lnTo>
                  <a:lnTo>
                    <a:pt x="178" y="34"/>
                  </a:lnTo>
                  <a:lnTo>
                    <a:pt x="175" y="34"/>
                  </a:lnTo>
                  <a:lnTo>
                    <a:pt x="173" y="34"/>
                  </a:lnTo>
                  <a:lnTo>
                    <a:pt x="170" y="35"/>
                  </a:lnTo>
                  <a:lnTo>
                    <a:pt x="167" y="34"/>
                  </a:lnTo>
                  <a:lnTo>
                    <a:pt x="161" y="32"/>
                  </a:lnTo>
                  <a:lnTo>
                    <a:pt x="156" y="31"/>
                  </a:lnTo>
                  <a:lnTo>
                    <a:pt x="154" y="31"/>
                  </a:lnTo>
                  <a:lnTo>
                    <a:pt x="151" y="32"/>
                  </a:lnTo>
                  <a:lnTo>
                    <a:pt x="150" y="35"/>
                  </a:lnTo>
                  <a:lnTo>
                    <a:pt x="150" y="37"/>
                  </a:lnTo>
                  <a:lnTo>
                    <a:pt x="150" y="41"/>
                  </a:lnTo>
                  <a:lnTo>
                    <a:pt x="148" y="42"/>
                  </a:lnTo>
                  <a:lnTo>
                    <a:pt x="147" y="42"/>
                  </a:lnTo>
                  <a:lnTo>
                    <a:pt x="143" y="42"/>
                  </a:lnTo>
                  <a:lnTo>
                    <a:pt x="140" y="42"/>
                  </a:lnTo>
                  <a:lnTo>
                    <a:pt x="136" y="41"/>
                  </a:lnTo>
                  <a:lnTo>
                    <a:pt x="132" y="41"/>
                  </a:lnTo>
                  <a:lnTo>
                    <a:pt x="124" y="44"/>
                  </a:lnTo>
                  <a:lnTo>
                    <a:pt x="120" y="44"/>
                  </a:lnTo>
                  <a:lnTo>
                    <a:pt x="119" y="44"/>
                  </a:lnTo>
                  <a:lnTo>
                    <a:pt x="118" y="43"/>
                  </a:lnTo>
                  <a:lnTo>
                    <a:pt x="118" y="41"/>
                  </a:lnTo>
                  <a:lnTo>
                    <a:pt x="118" y="37"/>
                  </a:lnTo>
                  <a:lnTo>
                    <a:pt x="118" y="34"/>
                  </a:lnTo>
                  <a:lnTo>
                    <a:pt x="115" y="31"/>
                  </a:lnTo>
                  <a:lnTo>
                    <a:pt x="114" y="30"/>
                  </a:lnTo>
                  <a:lnTo>
                    <a:pt x="112" y="30"/>
                  </a:lnTo>
                  <a:lnTo>
                    <a:pt x="108" y="31"/>
                  </a:lnTo>
                  <a:lnTo>
                    <a:pt x="103" y="34"/>
                  </a:lnTo>
                  <a:lnTo>
                    <a:pt x="99" y="35"/>
                  </a:lnTo>
                  <a:lnTo>
                    <a:pt x="96" y="35"/>
                  </a:lnTo>
                  <a:lnTo>
                    <a:pt x="94" y="34"/>
                  </a:lnTo>
                  <a:lnTo>
                    <a:pt x="89" y="32"/>
                  </a:lnTo>
                  <a:lnTo>
                    <a:pt x="86" y="31"/>
                  </a:lnTo>
                  <a:lnTo>
                    <a:pt x="84" y="32"/>
                  </a:lnTo>
                  <a:lnTo>
                    <a:pt x="82" y="32"/>
                  </a:lnTo>
                  <a:lnTo>
                    <a:pt x="81" y="30"/>
                  </a:lnTo>
                  <a:lnTo>
                    <a:pt x="81" y="26"/>
                  </a:lnTo>
                  <a:lnTo>
                    <a:pt x="80" y="23"/>
                  </a:lnTo>
                  <a:lnTo>
                    <a:pt x="79" y="19"/>
                  </a:lnTo>
                  <a:lnTo>
                    <a:pt x="75" y="17"/>
                  </a:lnTo>
                  <a:lnTo>
                    <a:pt x="72" y="16"/>
                  </a:lnTo>
                  <a:lnTo>
                    <a:pt x="71" y="16"/>
                  </a:lnTo>
                  <a:lnTo>
                    <a:pt x="66" y="17"/>
                  </a:lnTo>
                  <a:lnTo>
                    <a:pt x="62" y="18"/>
                  </a:lnTo>
                  <a:lnTo>
                    <a:pt x="57" y="19"/>
                  </a:lnTo>
                  <a:lnTo>
                    <a:pt x="56" y="19"/>
                  </a:lnTo>
                  <a:lnTo>
                    <a:pt x="54" y="18"/>
                  </a:lnTo>
                  <a:lnTo>
                    <a:pt x="53" y="16"/>
                  </a:lnTo>
                  <a:lnTo>
                    <a:pt x="53" y="11"/>
                  </a:lnTo>
                  <a:lnTo>
                    <a:pt x="54" y="9"/>
                  </a:lnTo>
                  <a:lnTo>
                    <a:pt x="57" y="3"/>
                  </a:lnTo>
                  <a:lnTo>
                    <a:pt x="57" y="2"/>
                  </a:lnTo>
                  <a:lnTo>
                    <a:pt x="54" y="0"/>
                  </a:lnTo>
                  <a:lnTo>
                    <a:pt x="53" y="0"/>
                  </a:lnTo>
                  <a:lnTo>
                    <a:pt x="51" y="3"/>
                  </a:lnTo>
                  <a:lnTo>
                    <a:pt x="51" y="5"/>
                  </a:lnTo>
                  <a:lnTo>
                    <a:pt x="51" y="8"/>
                  </a:lnTo>
                  <a:lnTo>
                    <a:pt x="51" y="11"/>
                  </a:lnTo>
                  <a:lnTo>
                    <a:pt x="49" y="15"/>
                  </a:lnTo>
                  <a:lnTo>
                    <a:pt x="48" y="18"/>
                  </a:lnTo>
                  <a:lnTo>
                    <a:pt x="46" y="21"/>
                  </a:lnTo>
                  <a:lnTo>
                    <a:pt x="40" y="24"/>
                  </a:lnTo>
                  <a:lnTo>
                    <a:pt x="37" y="26"/>
                  </a:lnTo>
                  <a:lnTo>
                    <a:pt x="34" y="29"/>
                  </a:lnTo>
                  <a:lnTo>
                    <a:pt x="34" y="32"/>
                  </a:lnTo>
                  <a:lnTo>
                    <a:pt x="35" y="40"/>
                  </a:lnTo>
                  <a:lnTo>
                    <a:pt x="39" y="48"/>
                  </a:lnTo>
                  <a:lnTo>
                    <a:pt x="42" y="56"/>
                  </a:lnTo>
                  <a:lnTo>
                    <a:pt x="42" y="58"/>
                  </a:lnTo>
                  <a:lnTo>
                    <a:pt x="40" y="61"/>
                  </a:lnTo>
                  <a:lnTo>
                    <a:pt x="38" y="62"/>
                  </a:lnTo>
                  <a:lnTo>
                    <a:pt x="35" y="62"/>
                  </a:lnTo>
                  <a:lnTo>
                    <a:pt x="34" y="61"/>
                  </a:lnTo>
                  <a:lnTo>
                    <a:pt x="34" y="58"/>
                  </a:lnTo>
                  <a:lnTo>
                    <a:pt x="28" y="60"/>
                  </a:lnTo>
                  <a:lnTo>
                    <a:pt x="23" y="60"/>
                  </a:lnTo>
                  <a:lnTo>
                    <a:pt x="18" y="56"/>
                  </a:lnTo>
                  <a:lnTo>
                    <a:pt x="16" y="54"/>
                  </a:lnTo>
                  <a:lnTo>
                    <a:pt x="16" y="51"/>
                  </a:lnTo>
                  <a:lnTo>
                    <a:pt x="18" y="49"/>
                  </a:lnTo>
                  <a:lnTo>
                    <a:pt x="19" y="45"/>
                  </a:lnTo>
                  <a:lnTo>
                    <a:pt x="25" y="37"/>
                  </a:lnTo>
                  <a:lnTo>
                    <a:pt x="27" y="32"/>
                  </a:lnTo>
                  <a:lnTo>
                    <a:pt x="27" y="26"/>
                  </a:lnTo>
                  <a:lnTo>
                    <a:pt x="25" y="21"/>
                  </a:lnTo>
                  <a:lnTo>
                    <a:pt x="21"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3" name="Freeform 882"/>
            <p:cNvSpPr>
              <a:spLocks/>
            </p:cNvSpPr>
            <p:nvPr/>
          </p:nvSpPr>
          <p:spPr bwMode="auto">
            <a:xfrm>
              <a:off x="2784475" y="4159250"/>
              <a:ext cx="120650" cy="222250"/>
            </a:xfrm>
            <a:custGeom>
              <a:avLst/>
              <a:gdLst>
                <a:gd name="T0" fmla="*/ 2147483647 w 82"/>
                <a:gd name="T1" fmla="*/ 2147483647 h 140"/>
                <a:gd name="T2" fmla="*/ 2147483647 w 82"/>
                <a:gd name="T3" fmla="*/ 2147483647 h 140"/>
                <a:gd name="T4" fmla="*/ 2147483647 w 82"/>
                <a:gd name="T5" fmla="*/ 2147483647 h 140"/>
                <a:gd name="T6" fmla="*/ 2147483647 w 82"/>
                <a:gd name="T7" fmla="*/ 2147483647 h 140"/>
                <a:gd name="T8" fmla="*/ 2147483647 w 82"/>
                <a:gd name="T9" fmla="*/ 2147483647 h 140"/>
                <a:gd name="T10" fmla="*/ 2147483647 w 82"/>
                <a:gd name="T11" fmla="*/ 2147483647 h 140"/>
                <a:gd name="T12" fmla="*/ 2147483647 w 82"/>
                <a:gd name="T13" fmla="*/ 2147483647 h 140"/>
                <a:gd name="T14" fmla="*/ 2147483647 w 82"/>
                <a:gd name="T15" fmla="*/ 2147483647 h 140"/>
                <a:gd name="T16" fmla="*/ 2147483647 w 82"/>
                <a:gd name="T17" fmla="*/ 2147483647 h 140"/>
                <a:gd name="T18" fmla="*/ 2147483647 w 82"/>
                <a:gd name="T19" fmla="*/ 2147483647 h 140"/>
                <a:gd name="T20" fmla="*/ 2147483647 w 82"/>
                <a:gd name="T21" fmla="*/ 2147483647 h 140"/>
                <a:gd name="T22" fmla="*/ 2147483647 w 82"/>
                <a:gd name="T23" fmla="*/ 2147483647 h 140"/>
                <a:gd name="T24" fmla="*/ 2147483647 w 82"/>
                <a:gd name="T25" fmla="*/ 2147483647 h 140"/>
                <a:gd name="T26" fmla="*/ 2147483647 w 82"/>
                <a:gd name="T27" fmla="*/ 2147483647 h 140"/>
                <a:gd name="T28" fmla="*/ 2147483647 w 82"/>
                <a:gd name="T29" fmla="*/ 2147483647 h 140"/>
                <a:gd name="T30" fmla="*/ 2147483647 w 82"/>
                <a:gd name="T31" fmla="*/ 2147483647 h 140"/>
                <a:gd name="T32" fmla="*/ 2147483647 w 82"/>
                <a:gd name="T33" fmla="*/ 2147483647 h 140"/>
                <a:gd name="T34" fmla="*/ 2147483647 w 82"/>
                <a:gd name="T35" fmla="*/ 2147483647 h 140"/>
                <a:gd name="T36" fmla="*/ 0 w 82"/>
                <a:gd name="T37" fmla="*/ 2147483647 h 140"/>
                <a:gd name="T38" fmla="*/ 2147483647 w 82"/>
                <a:gd name="T39" fmla="*/ 2147483647 h 140"/>
                <a:gd name="T40" fmla="*/ 2147483647 w 82"/>
                <a:gd name="T41" fmla="*/ 2147483647 h 140"/>
                <a:gd name="T42" fmla="*/ 2147483647 w 82"/>
                <a:gd name="T43" fmla="*/ 2147483647 h 140"/>
                <a:gd name="T44" fmla="*/ 2147483647 w 82"/>
                <a:gd name="T45" fmla="*/ 2147483647 h 140"/>
                <a:gd name="T46" fmla="*/ 2147483647 w 82"/>
                <a:gd name="T47" fmla="*/ 2147483647 h 140"/>
                <a:gd name="T48" fmla="*/ 2147483647 w 82"/>
                <a:gd name="T49" fmla="*/ 2147483647 h 140"/>
                <a:gd name="T50" fmla="*/ 2147483647 w 82"/>
                <a:gd name="T51" fmla="*/ 2147483647 h 140"/>
                <a:gd name="T52" fmla="*/ 2147483647 w 82"/>
                <a:gd name="T53" fmla="*/ 0 h 140"/>
                <a:gd name="T54" fmla="*/ 2147483647 w 82"/>
                <a:gd name="T55" fmla="*/ 2147483647 h 140"/>
                <a:gd name="T56" fmla="*/ 2147483647 w 82"/>
                <a:gd name="T57" fmla="*/ 2147483647 h 140"/>
                <a:gd name="T58" fmla="*/ 2147483647 w 82"/>
                <a:gd name="T59" fmla="*/ 2147483647 h 140"/>
                <a:gd name="T60" fmla="*/ 2147483647 w 82"/>
                <a:gd name="T61" fmla="*/ 2147483647 h 140"/>
                <a:gd name="T62" fmla="*/ 2147483647 w 82"/>
                <a:gd name="T63" fmla="*/ 2147483647 h 140"/>
                <a:gd name="T64" fmla="*/ 2147483647 w 82"/>
                <a:gd name="T65" fmla="*/ 2147483647 h 140"/>
                <a:gd name="T66" fmla="*/ 2147483647 w 82"/>
                <a:gd name="T67" fmla="*/ 2147483647 h 140"/>
                <a:gd name="T68" fmla="*/ 2147483647 w 82"/>
                <a:gd name="T69" fmla="*/ 2147483647 h 140"/>
                <a:gd name="T70" fmla="*/ 2147483647 w 82"/>
                <a:gd name="T71" fmla="*/ 2147483647 h 140"/>
                <a:gd name="T72" fmla="*/ 2147483647 w 82"/>
                <a:gd name="T73" fmla="*/ 2147483647 h 140"/>
                <a:gd name="T74" fmla="*/ 2147483647 w 82"/>
                <a:gd name="T75" fmla="*/ 2147483647 h 140"/>
                <a:gd name="T76" fmla="*/ 2147483647 w 82"/>
                <a:gd name="T77" fmla="*/ 2147483647 h 140"/>
                <a:gd name="T78" fmla="*/ 2147483647 w 82"/>
                <a:gd name="T79" fmla="*/ 2147483647 h 140"/>
                <a:gd name="T80" fmla="*/ 2147483647 w 82"/>
                <a:gd name="T81" fmla="*/ 2147483647 h 140"/>
                <a:gd name="T82" fmla="*/ 2147483647 w 82"/>
                <a:gd name="T83" fmla="*/ 2147483647 h 140"/>
                <a:gd name="T84" fmla="*/ 2147483647 w 82"/>
                <a:gd name="T85" fmla="*/ 2147483647 h 140"/>
                <a:gd name="T86" fmla="*/ 2147483647 w 82"/>
                <a:gd name="T87" fmla="*/ 2147483647 h 1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2"/>
                <a:gd name="T133" fmla="*/ 0 h 140"/>
                <a:gd name="T134" fmla="*/ 82 w 82"/>
                <a:gd name="T135" fmla="*/ 140 h 1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2" h="140">
                  <a:moveTo>
                    <a:pt x="81" y="125"/>
                  </a:moveTo>
                  <a:lnTo>
                    <a:pt x="77" y="127"/>
                  </a:lnTo>
                  <a:lnTo>
                    <a:pt x="73" y="128"/>
                  </a:lnTo>
                  <a:lnTo>
                    <a:pt x="70" y="130"/>
                  </a:lnTo>
                  <a:lnTo>
                    <a:pt x="66" y="132"/>
                  </a:lnTo>
                  <a:lnTo>
                    <a:pt x="62" y="132"/>
                  </a:lnTo>
                  <a:lnTo>
                    <a:pt x="57" y="134"/>
                  </a:lnTo>
                  <a:lnTo>
                    <a:pt x="52" y="138"/>
                  </a:lnTo>
                  <a:lnTo>
                    <a:pt x="49" y="140"/>
                  </a:lnTo>
                  <a:lnTo>
                    <a:pt x="47" y="140"/>
                  </a:lnTo>
                  <a:lnTo>
                    <a:pt x="43" y="136"/>
                  </a:lnTo>
                  <a:lnTo>
                    <a:pt x="39" y="130"/>
                  </a:lnTo>
                  <a:lnTo>
                    <a:pt x="37" y="125"/>
                  </a:lnTo>
                  <a:lnTo>
                    <a:pt x="34" y="117"/>
                  </a:lnTo>
                  <a:lnTo>
                    <a:pt x="33" y="112"/>
                  </a:lnTo>
                  <a:lnTo>
                    <a:pt x="33" y="104"/>
                  </a:lnTo>
                  <a:lnTo>
                    <a:pt x="33" y="98"/>
                  </a:lnTo>
                  <a:lnTo>
                    <a:pt x="35" y="95"/>
                  </a:lnTo>
                  <a:lnTo>
                    <a:pt x="38" y="91"/>
                  </a:lnTo>
                  <a:lnTo>
                    <a:pt x="40" y="90"/>
                  </a:lnTo>
                  <a:lnTo>
                    <a:pt x="42" y="88"/>
                  </a:lnTo>
                  <a:lnTo>
                    <a:pt x="43" y="85"/>
                  </a:lnTo>
                  <a:lnTo>
                    <a:pt x="43" y="82"/>
                  </a:lnTo>
                  <a:lnTo>
                    <a:pt x="42" y="80"/>
                  </a:lnTo>
                  <a:lnTo>
                    <a:pt x="39" y="77"/>
                  </a:lnTo>
                  <a:lnTo>
                    <a:pt x="34" y="74"/>
                  </a:lnTo>
                  <a:lnTo>
                    <a:pt x="31" y="71"/>
                  </a:lnTo>
                  <a:lnTo>
                    <a:pt x="30" y="69"/>
                  </a:lnTo>
                  <a:lnTo>
                    <a:pt x="29" y="64"/>
                  </a:lnTo>
                  <a:lnTo>
                    <a:pt x="29" y="62"/>
                  </a:lnTo>
                  <a:lnTo>
                    <a:pt x="28" y="59"/>
                  </a:lnTo>
                  <a:lnTo>
                    <a:pt x="24" y="59"/>
                  </a:lnTo>
                  <a:lnTo>
                    <a:pt x="19" y="59"/>
                  </a:lnTo>
                  <a:lnTo>
                    <a:pt x="15" y="58"/>
                  </a:lnTo>
                  <a:lnTo>
                    <a:pt x="12" y="57"/>
                  </a:lnTo>
                  <a:lnTo>
                    <a:pt x="11" y="56"/>
                  </a:lnTo>
                  <a:lnTo>
                    <a:pt x="6" y="48"/>
                  </a:lnTo>
                  <a:lnTo>
                    <a:pt x="0" y="39"/>
                  </a:lnTo>
                  <a:lnTo>
                    <a:pt x="0" y="37"/>
                  </a:lnTo>
                  <a:lnTo>
                    <a:pt x="1" y="36"/>
                  </a:lnTo>
                  <a:lnTo>
                    <a:pt x="7" y="33"/>
                  </a:lnTo>
                  <a:lnTo>
                    <a:pt x="14" y="31"/>
                  </a:lnTo>
                  <a:lnTo>
                    <a:pt x="20" y="29"/>
                  </a:lnTo>
                  <a:lnTo>
                    <a:pt x="23" y="26"/>
                  </a:lnTo>
                  <a:lnTo>
                    <a:pt x="25" y="24"/>
                  </a:lnTo>
                  <a:lnTo>
                    <a:pt x="25" y="23"/>
                  </a:lnTo>
                  <a:lnTo>
                    <a:pt x="24" y="21"/>
                  </a:lnTo>
                  <a:lnTo>
                    <a:pt x="21" y="18"/>
                  </a:lnTo>
                  <a:lnTo>
                    <a:pt x="19" y="14"/>
                  </a:lnTo>
                  <a:lnTo>
                    <a:pt x="19" y="13"/>
                  </a:lnTo>
                  <a:lnTo>
                    <a:pt x="19" y="12"/>
                  </a:lnTo>
                  <a:lnTo>
                    <a:pt x="20" y="8"/>
                  </a:lnTo>
                  <a:lnTo>
                    <a:pt x="24" y="6"/>
                  </a:lnTo>
                  <a:lnTo>
                    <a:pt x="29" y="0"/>
                  </a:lnTo>
                  <a:lnTo>
                    <a:pt x="31" y="0"/>
                  </a:lnTo>
                  <a:lnTo>
                    <a:pt x="34" y="1"/>
                  </a:lnTo>
                  <a:lnTo>
                    <a:pt x="39" y="1"/>
                  </a:lnTo>
                  <a:lnTo>
                    <a:pt x="40" y="4"/>
                  </a:lnTo>
                  <a:lnTo>
                    <a:pt x="43" y="6"/>
                  </a:lnTo>
                  <a:lnTo>
                    <a:pt x="48" y="13"/>
                  </a:lnTo>
                  <a:lnTo>
                    <a:pt x="50" y="21"/>
                  </a:lnTo>
                  <a:lnTo>
                    <a:pt x="52" y="26"/>
                  </a:lnTo>
                  <a:lnTo>
                    <a:pt x="52" y="27"/>
                  </a:lnTo>
                  <a:lnTo>
                    <a:pt x="54" y="30"/>
                  </a:lnTo>
                  <a:lnTo>
                    <a:pt x="56" y="30"/>
                  </a:lnTo>
                  <a:lnTo>
                    <a:pt x="57" y="30"/>
                  </a:lnTo>
                  <a:lnTo>
                    <a:pt x="58" y="29"/>
                  </a:lnTo>
                  <a:lnTo>
                    <a:pt x="62" y="29"/>
                  </a:lnTo>
                  <a:lnTo>
                    <a:pt x="64" y="30"/>
                  </a:lnTo>
                  <a:lnTo>
                    <a:pt x="68" y="34"/>
                  </a:lnTo>
                  <a:lnTo>
                    <a:pt x="71" y="36"/>
                  </a:lnTo>
                  <a:lnTo>
                    <a:pt x="73" y="37"/>
                  </a:lnTo>
                  <a:lnTo>
                    <a:pt x="76" y="37"/>
                  </a:lnTo>
                  <a:lnTo>
                    <a:pt x="78" y="38"/>
                  </a:lnTo>
                  <a:lnTo>
                    <a:pt x="81" y="39"/>
                  </a:lnTo>
                  <a:lnTo>
                    <a:pt x="82" y="42"/>
                  </a:lnTo>
                  <a:lnTo>
                    <a:pt x="82" y="48"/>
                  </a:lnTo>
                  <a:lnTo>
                    <a:pt x="81" y="53"/>
                  </a:lnTo>
                  <a:lnTo>
                    <a:pt x="78" y="59"/>
                  </a:lnTo>
                  <a:lnTo>
                    <a:pt x="75" y="65"/>
                  </a:lnTo>
                  <a:lnTo>
                    <a:pt x="71" y="71"/>
                  </a:lnTo>
                  <a:lnTo>
                    <a:pt x="70" y="77"/>
                  </a:lnTo>
                  <a:lnTo>
                    <a:pt x="68" y="82"/>
                  </a:lnTo>
                  <a:lnTo>
                    <a:pt x="70" y="88"/>
                  </a:lnTo>
                  <a:lnTo>
                    <a:pt x="72" y="95"/>
                  </a:lnTo>
                  <a:lnTo>
                    <a:pt x="73" y="102"/>
                  </a:lnTo>
                  <a:lnTo>
                    <a:pt x="77" y="116"/>
                  </a:lnTo>
                  <a:lnTo>
                    <a:pt x="81" y="12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4" name="Freeform 883"/>
            <p:cNvSpPr>
              <a:spLocks/>
            </p:cNvSpPr>
            <p:nvPr/>
          </p:nvSpPr>
          <p:spPr bwMode="auto">
            <a:xfrm>
              <a:off x="2493967" y="4038602"/>
              <a:ext cx="331787" cy="352425"/>
            </a:xfrm>
            <a:custGeom>
              <a:avLst/>
              <a:gdLst>
                <a:gd name="T0" fmla="*/ 2147483647 w 226"/>
                <a:gd name="T1" fmla="*/ 2147483647 h 222"/>
                <a:gd name="T2" fmla="*/ 0 w 226"/>
                <a:gd name="T3" fmla="*/ 2147483647 h 222"/>
                <a:gd name="T4" fmla="*/ 2147483647 w 226"/>
                <a:gd name="T5" fmla="*/ 2147483647 h 222"/>
                <a:gd name="T6" fmla="*/ 2147483647 w 226"/>
                <a:gd name="T7" fmla="*/ 2147483647 h 222"/>
                <a:gd name="T8" fmla="*/ 2147483647 w 226"/>
                <a:gd name="T9" fmla="*/ 2147483647 h 222"/>
                <a:gd name="T10" fmla="*/ 2147483647 w 226"/>
                <a:gd name="T11" fmla="*/ 2147483647 h 222"/>
                <a:gd name="T12" fmla="*/ 2147483647 w 226"/>
                <a:gd name="T13" fmla="*/ 2147483647 h 222"/>
                <a:gd name="T14" fmla="*/ 2147483647 w 226"/>
                <a:gd name="T15" fmla="*/ 2147483647 h 222"/>
                <a:gd name="T16" fmla="*/ 2147483647 w 226"/>
                <a:gd name="T17" fmla="*/ 2147483647 h 222"/>
                <a:gd name="T18" fmla="*/ 2147483647 w 226"/>
                <a:gd name="T19" fmla="*/ 2147483647 h 222"/>
                <a:gd name="T20" fmla="*/ 2147483647 w 226"/>
                <a:gd name="T21" fmla="*/ 2147483647 h 222"/>
                <a:gd name="T22" fmla="*/ 2147483647 w 226"/>
                <a:gd name="T23" fmla="*/ 2147483647 h 222"/>
                <a:gd name="T24" fmla="*/ 2147483647 w 226"/>
                <a:gd name="T25" fmla="*/ 2147483647 h 222"/>
                <a:gd name="T26" fmla="*/ 2147483647 w 226"/>
                <a:gd name="T27" fmla="*/ 2147483647 h 222"/>
                <a:gd name="T28" fmla="*/ 2147483647 w 226"/>
                <a:gd name="T29" fmla="*/ 2147483647 h 222"/>
                <a:gd name="T30" fmla="*/ 2147483647 w 226"/>
                <a:gd name="T31" fmla="*/ 2147483647 h 222"/>
                <a:gd name="T32" fmla="*/ 2147483647 w 226"/>
                <a:gd name="T33" fmla="*/ 2147483647 h 222"/>
                <a:gd name="T34" fmla="*/ 2147483647 w 226"/>
                <a:gd name="T35" fmla="*/ 2147483647 h 222"/>
                <a:gd name="T36" fmla="*/ 2147483647 w 226"/>
                <a:gd name="T37" fmla="*/ 2147483647 h 222"/>
                <a:gd name="T38" fmla="*/ 2147483647 w 226"/>
                <a:gd name="T39" fmla="*/ 2147483647 h 222"/>
                <a:gd name="T40" fmla="*/ 2147483647 w 226"/>
                <a:gd name="T41" fmla="*/ 2147483647 h 222"/>
                <a:gd name="T42" fmla="*/ 2147483647 w 226"/>
                <a:gd name="T43" fmla="*/ 2147483647 h 222"/>
                <a:gd name="T44" fmla="*/ 2147483647 w 226"/>
                <a:gd name="T45" fmla="*/ 2147483647 h 222"/>
                <a:gd name="T46" fmla="*/ 2147483647 w 226"/>
                <a:gd name="T47" fmla="*/ 2147483647 h 222"/>
                <a:gd name="T48" fmla="*/ 2147483647 w 226"/>
                <a:gd name="T49" fmla="*/ 2147483647 h 222"/>
                <a:gd name="T50" fmla="*/ 2147483647 w 226"/>
                <a:gd name="T51" fmla="*/ 2147483647 h 222"/>
                <a:gd name="T52" fmla="*/ 2147483647 w 226"/>
                <a:gd name="T53" fmla="*/ 2147483647 h 222"/>
                <a:gd name="T54" fmla="*/ 2147483647 w 226"/>
                <a:gd name="T55" fmla="*/ 2147483647 h 222"/>
                <a:gd name="T56" fmla="*/ 2147483647 w 226"/>
                <a:gd name="T57" fmla="*/ 2147483647 h 222"/>
                <a:gd name="T58" fmla="*/ 2147483647 w 226"/>
                <a:gd name="T59" fmla="*/ 2147483647 h 222"/>
                <a:gd name="T60" fmla="*/ 2147483647 w 226"/>
                <a:gd name="T61" fmla="*/ 2147483647 h 222"/>
                <a:gd name="T62" fmla="*/ 2147483647 w 226"/>
                <a:gd name="T63" fmla="*/ 2147483647 h 222"/>
                <a:gd name="T64" fmla="*/ 2147483647 w 226"/>
                <a:gd name="T65" fmla="*/ 2147483647 h 222"/>
                <a:gd name="T66" fmla="*/ 2147483647 w 226"/>
                <a:gd name="T67" fmla="*/ 2147483647 h 222"/>
                <a:gd name="T68" fmla="*/ 2147483647 w 226"/>
                <a:gd name="T69" fmla="*/ 2147483647 h 222"/>
                <a:gd name="T70" fmla="*/ 2147483647 w 226"/>
                <a:gd name="T71" fmla="*/ 2147483647 h 222"/>
                <a:gd name="T72" fmla="*/ 2147483647 w 226"/>
                <a:gd name="T73" fmla="*/ 2147483647 h 222"/>
                <a:gd name="T74" fmla="*/ 2147483647 w 226"/>
                <a:gd name="T75" fmla="*/ 2147483647 h 222"/>
                <a:gd name="T76" fmla="*/ 2147483647 w 226"/>
                <a:gd name="T77" fmla="*/ 2147483647 h 222"/>
                <a:gd name="T78" fmla="*/ 2147483647 w 226"/>
                <a:gd name="T79" fmla="*/ 2147483647 h 222"/>
                <a:gd name="T80" fmla="*/ 2147483647 w 226"/>
                <a:gd name="T81" fmla="*/ 2147483647 h 222"/>
                <a:gd name="T82" fmla="*/ 2147483647 w 226"/>
                <a:gd name="T83" fmla="*/ 2147483647 h 222"/>
                <a:gd name="T84" fmla="*/ 2147483647 w 226"/>
                <a:gd name="T85" fmla="*/ 2147483647 h 222"/>
                <a:gd name="T86" fmla="*/ 2147483647 w 226"/>
                <a:gd name="T87" fmla="*/ 2147483647 h 222"/>
                <a:gd name="T88" fmla="*/ 2147483647 w 226"/>
                <a:gd name="T89" fmla="*/ 2147483647 h 222"/>
                <a:gd name="T90" fmla="*/ 2147483647 w 226"/>
                <a:gd name="T91" fmla="*/ 2147483647 h 222"/>
                <a:gd name="T92" fmla="*/ 2147483647 w 226"/>
                <a:gd name="T93" fmla="*/ 2147483647 h 222"/>
                <a:gd name="T94" fmla="*/ 2147483647 w 226"/>
                <a:gd name="T95" fmla="*/ 2147483647 h 222"/>
                <a:gd name="T96" fmla="*/ 2147483647 w 226"/>
                <a:gd name="T97" fmla="*/ 2147483647 h 222"/>
                <a:gd name="T98" fmla="*/ 2147483647 w 226"/>
                <a:gd name="T99" fmla="*/ 2147483647 h 222"/>
                <a:gd name="T100" fmla="*/ 2147483647 w 226"/>
                <a:gd name="T101" fmla="*/ 2147483647 h 222"/>
                <a:gd name="T102" fmla="*/ 2147483647 w 226"/>
                <a:gd name="T103" fmla="*/ 2147483647 h 222"/>
                <a:gd name="T104" fmla="*/ 2147483647 w 226"/>
                <a:gd name="T105" fmla="*/ 2147483647 h 222"/>
                <a:gd name="T106" fmla="*/ 2147483647 w 226"/>
                <a:gd name="T107" fmla="*/ 2147483647 h 222"/>
                <a:gd name="T108" fmla="*/ 2147483647 w 226"/>
                <a:gd name="T109" fmla="*/ 2147483647 h 222"/>
                <a:gd name="T110" fmla="*/ 2147483647 w 226"/>
                <a:gd name="T111" fmla="*/ 2147483647 h 222"/>
                <a:gd name="T112" fmla="*/ 2147483647 w 226"/>
                <a:gd name="T113" fmla="*/ 2147483647 h 222"/>
                <a:gd name="T114" fmla="*/ 2147483647 w 226"/>
                <a:gd name="T115" fmla="*/ 2147483647 h 222"/>
                <a:gd name="T116" fmla="*/ 2147483647 w 226"/>
                <a:gd name="T117" fmla="*/ 2147483647 h 222"/>
                <a:gd name="T118" fmla="*/ 2147483647 w 226"/>
                <a:gd name="T119" fmla="*/ 2147483647 h 2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6"/>
                <a:gd name="T181" fmla="*/ 0 h 222"/>
                <a:gd name="T182" fmla="*/ 226 w 226"/>
                <a:gd name="T183" fmla="*/ 222 h 2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6" h="222">
                  <a:moveTo>
                    <a:pt x="21" y="14"/>
                  </a:moveTo>
                  <a:lnTo>
                    <a:pt x="21" y="14"/>
                  </a:lnTo>
                  <a:lnTo>
                    <a:pt x="14" y="16"/>
                  </a:lnTo>
                  <a:lnTo>
                    <a:pt x="8" y="19"/>
                  </a:lnTo>
                  <a:lnTo>
                    <a:pt x="5" y="24"/>
                  </a:lnTo>
                  <a:lnTo>
                    <a:pt x="3" y="30"/>
                  </a:lnTo>
                  <a:lnTo>
                    <a:pt x="1" y="43"/>
                  </a:lnTo>
                  <a:lnTo>
                    <a:pt x="0" y="56"/>
                  </a:lnTo>
                  <a:lnTo>
                    <a:pt x="0" y="58"/>
                  </a:lnTo>
                  <a:lnTo>
                    <a:pt x="0" y="61"/>
                  </a:lnTo>
                  <a:lnTo>
                    <a:pt x="5" y="64"/>
                  </a:lnTo>
                  <a:lnTo>
                    <a:pt x="10" y="67"/>
                  </a:lnTo>
                  <a:lnTo>
                    <a:pt x="15" y="70"/>
                  </a:lnTo>
                  <a:lnTo>
                    <a:pt x="16" y="71"/>
                  </a:lnTo>
                  <a:lnTo>
                    <a:pt x="16" y="73"/>
                  </a:lnTo>
                  <a:lnTo>
                    <a:pt x="15" y="76"/>
                  </a:lnTo>
                  <a:lnTo>
                    <a:pt x="15" y="82"/>
                  </a:lnTo>
                  <a:lnTo>
                    <a:pt x="17" y="88"/>
                  </a:lnTo>
                  <a:lnTo>
                    <a:pt x="22" y="93"/>
                  </a:lnTo>
                  <a:lnTo>
                    <a:pt x="28" y="96"/>
                  </a:lnTo>
                  <a:lnTo>
                    <a:pt x="34" y="100"/>
                  </a:lnTo>
                  <a:lnTo>
                    <a:pt x="40" y="102"/>
                  </a:lnTo>
                  <a:lnTo>
                    <a:pt x="48" y="103"/>
                  </a:lnTo>
                  <a:lnTo>
                    <a:pt x="54" y="105"/>
                  </a:lnTo>
                  <a:lnTo>
                    <a:pt x="55" y="105"/>
                  </a:lnTo>
                  <a:lnTo>
                    <a:pt x="57" y="106"/>
                  </a:lnTo>
                  <a:lnTo>
                    <a:pt x="59" y="110"/>
                  </a:lnTo>
                  <a:lnTo>
                    <a:pt x="63" y="114"/>
                  </a:lnTo>
                  <a:lnTo>
                    <a:pt x="68" y="116"/>
                  </a:lnTo>
                  <a:lnTo>
                    <a:pt x="73" y="118"/>
                  </a:lnTo>
                  <a:lnTo>
                    <a:pt x="78" y="118"/>
                  </a:lnTo>
                  <a:lnTo>
                    <a:pt x="83" y="116"/>
                  </a:lnTo>
                  <a:lnTo>
                    <a:pt x="88" y="114"/>
                  </a:lnTo>
                  <a:lnTo>
                    <a:pt x="94" y="112"/>
                  </a:lnTo>
                  <a:lnTo>
                    <a:pt x="92" y="118"/>
                  </a:lnTo>
                  <a:lnTo>
                    <a:pt x="94" y="125"/>
                  </a:lnTo>
                  <a:lnTo>
                    <a:pt x="95" y="138"/>
                  </a:lnTo>
                  <a:lnTo>
                    <a:pt x="99" y="151"/>
                  </a:lnTo>
                  <a:lnTo>
                    <a:pt x="100" y="164"/>
                  </a:lnTo>
                  <a:lnTo>
                    <a:pt x="100" y="166"/>
                  </a:lnTo>
                  <a:lnTo>
                    <a:pt x="99" y="167"/>
                  </a:lnTo>
                  <a:lnTo>
                    <a:pt x="95" y="172"/>
                  </a:lnTo>
                  <a:lnTo>
                    <a:pt x="94" y="176"/>
                  </a:lnTo>
                  <a:lnTo>
                    <a:pt x="92" y="177"/>
                  </a:lnTo>
                  <a:lnTo>
                    <a:pt x="94" y="178"/>
                  </a:lnTo>
                  <a:lnTo>
                    <a:pt x="104" y="183"/>
                  </a:lnTo>
                  <a:lnTo>
                    <a:pt x="109" y="185"/>
                  </a:lnTo>
                  <a:lnTo>
                    <a:pt x="111" y="190"/>
                  </a:lnTo>
                  <a:lnTo>
                    <a:pt x="113" y="195"/>
                  </a:lnTo>
                  <a:lnTo>
                    <a:pt x="114" y="199"/>
                  </a:lnTo>
                  <a:lnTo>
                    <a:pt x="113" y="204"/>
                  </a:lnTo>
                  <a:lnTo>
                    <a:pt x="111" y="209"/>
                  </a:lnTo>
                  <a:lnTo>
                    <a:pt x="113" y="211"/>
                  </a:lnTo>
                  <a:lnTo>
                    <a:pt x="114" y="214"/>
                  </a:lnTo>
                  <a:lnTo>
                    <a:pt x="116" y="218"/>
                  </a:lnTo>
                  <a:lnTo>
                    <a:pt x="120" y="221"/>
                  </a:lnTo>
                  <a:lnTo>
                    <a:pt x="121" y="222"/>
                  </a:lnTo>
                  <a:lnTo>
                    <a:pt x="124" y="222"/>
                  </a:lnTo>
                  <a:lnTo>
                    <a:pt x="130" y="220"/>
                  </a:lnTo>
                  <a:lnTo>
                    <a:pt x="135" y="217"/>
                  </a:lnTo>
                  <a:lnTo>
                    <a:pt x="142" y="215"/>
                  </a:lnTo>
                  <a:lnTo>
                    <a:pt x="148" y="214"/>
                  </a:lnTo>
                  <a:lnTo>
                    <a:pt x="151" y="212"/>
                  </a:lnTo>
                  <a:lnTo>
                    <a:pt x="151" y="211"/>
                  </a:lnTo>
                  <a:lnTo>
                    <a:pt x="151" y="206"/>
                  </a:lnTo>
                  <a:lnTo>
                    <a:pt x="153" y="202"/>
                  </a:lnTo>
                  <a:lnTo>
                    <a:pt x="157" y="198"/>
                  </a:lnTo>
                  <a:lnTo>
                    <a:pt x="161" y="196"/>
                  </a:lnTo>
                  <a:lnTo>
                    <a:pt x="166" y="193"/>
                  </a:lnTo>
                  <a:lnTo>
                    <a:pt x="167" y="192"/>
                  </a:lnTo>
                  <a:lnTo>
                    <a:pt x="168" y="190"/>
                  </a:lnTo>
                  <a:lnTo>
                    <a:pt x="167" y="189"/>
                  </a:lnTo>
                  <a:lnTo>
                    <a:pt x="166" y="189"/>
                  </a:lnTo>
                  <a:lnTo>
                    <a:pt x="162" y="189"/>
                  </a:lnTo>
                  <a:lnTo>
                    <a:pt x="157" y="189"/>
                  </a:lnTo>
                  <a:lnTo>
                    <a:pt x="153" y="186"/>
                  </a:lnTo>
                  <a:lnTo>
                    <a:pt x="152" y="183"/>
                  </a:lnTo>
                  <a:lnTo>
                    <a:pt x="151" y="176"/>
                  </a:lnTo>
                  <a:lnTo>
                    <a:pt x="148" y="169"/>
                  </a:lnTo>
                  <a:lnTo>
                    <a:pt x="144" y="163"/>
                  </a:lnTo>
                  <a:lnTo>
                    <a:pt x="139" y="157"/>
                  </a:lnTo>
                  <a:lnTo>
                    <a:pt x="139" y="156"/>
                  </a:lnTo>
                  <a:lnTo>
                    <a:pt x="139" y="153"/>
                  </a:lnTo>
                  <a:lnTo>
                    <a:pt x="142" y="152"/>
                  </a:lnTo>
                  <a:lnTo>
                    <a:pt x="148" y="154"/>
                  </a:lnTo>
                  <a:lnTo>
                    <a:pt x="155" y="157"/>
                  </a:lnTo>
                  <a:lnTo>
                    <a:pt x="170" y="160"/>
                  </a:lnTo>
                  <a:lnTo>
                    <a:pt x="172" y="161"/>
                  </a:lnTo>
                  <a:lnTo>
                    <a:pt x="174" y="164"/>
                  </a:lnTo>
                  <a:lnTo>
                    <a:pt x="175" y="163"/>
                  </a:lnTo>
                  <a:lnTo>
                    <a:pt x="179" y="160"/>
                  </a:lnTo>
                  <a:lnTo>
                    <a:pt x="182" y="158"/>
                  </a:lnTo>
                  <a:lnTo>
                    <a:pt x="190" y="156"/>
                  </a:lnTo>
                  <a:lnTo>
                    <a:pt x="195" y="153"/>
                  </a:lnTo>
                  <a:lnTo>
                    <a:pt x="200" y="150"/>
                  </a:lnTo>
                  <a:lnTo>
                    <a:pt x="207" y="147"/>
                  </a:lnTo>
                  <a:lnTo>
                    <a:pt x="213" y="145"/>
                  </a:lnTo>
                  <a:lnTo>
                    <a:pt x="214" y="144"/>
                  </a:lnTo>
                  <a:lnTo>
                    <a:pt x="215" y="140"/>
                  </a:lnTo>
                  <a:lnTo>
                    <a:pt x="215" y="137"/>
                  </a:lnTo>
                  <a:lnTo>
                    <a:pt x="215" y="134"/>
                  </a:lnTo>
                  <a:lnTo>
                    <a:pt x="212" y="133"/>
                  </a:lnTo>
                  <a:lnTo>
                    <a:pt x="209" y="132"/>
                  </a:lnTo>
                  <a:lnTo>
                    <a:pt x="208" y="131"/>
                  </a:lnTo>
                  <a:lnTo>
                    <a:pt x="203" y="122"/>
                  </a:lnTo>
                  <a:lnTo>
                    <a:pt x="196" y="114"/>
                  </a:lnTo>
                  <a:lnTo>
                    <a:pt x="196" y="112"/>
                  </a:lnTo>
                  <a:lnTo>
                    <a:pt x="198" y="110"/>
                  </a:lnTo>
                  <a:lnTo>
                    <a:pt x="204" y="108"/>
                  </a:lnTo>
                  <a:lnTo>
                    <a:pt x="210" y="106"/>
                  </a:lnTo>
                  <a:lnTo>
                    <a:pt x="217" y="103"/>
                  </a:lnTo>
                  <a:lnTo>
                    <a:pt x="219" y="101"/>
                  </a:lnTo>
                  <a:lnTo>
                    <a:pt x="222" y="99"/>
                  </a:lnTo>
                  <a:lnTo>
                    <a:pt x="222" y="97"/>
                  </a:lnTo>
                  <a:lnTo>
                    <a:pt x="221" y="96"/>
                  </a:lnTo>
                  <a:lnTo>
                    <a:pt x="218" y="93"/>
                  </a:lnTo>
                  <a:lnTo>
                    <a:pt x="215" y="89"/>
                  </a:lnTo>
                  <a:lnTo>
                    <a:pt x="215" y="88"/>
                  </a:lnTo>
                  <a:lnTo>
                    <a:pt x="215" y="87"/>
                  </a:lnTo>
                  <a:lnTo>
                    <a:pt x="217" y="83"/>
                  </a:lnTo>
                  <a:lnTo>
                    <a:pt x="221" y="81"/>
                  </a:lnTo>
                  <a:lnTo>
                    <a:pt x="226" y="75"/>
                  </a:lnTo>
                  <a:lnTo>
                    <a:pt x="222" y="73"/>
                  </a:lnTo>
                  <a:lnTo>
                    <a:pt x="219" y="71"/>
                  </a:lnTo>
                  <a:lnTo>
                    <a:pt x="213" y="71"/>
                  </a:lnTo>
                  <a:lnTo>
                    <a:pt x="209" y="71"/>
                  </a:lnTo>
                  <a:lnTo>
                    <a:pt x="208" y="70"/>
                  </a:lnTo>
                  <a:lnTo>
                    <a:pt x="207" y="69"/>
                  </a:lnTo>
                  <a:lnTo>
                    <a:pt x="207" y="64"/>
                  </a:lnTo>
                  <a:lnTo>
                    <a:pt x="207" y="61"/>
                  </a:lnTo>
                  <a:lnTo>
                    <a:pt x="205" y="57"/>
                  </a:lnTo>
                  <a:lnTo>
                    <a:pt x="203" y="54"/>
                  </a:lnTo>
                  <a:lnTo>
                    <a:pt x="200" y="51"/>
                  </a:lnTo>
                  <a:lnTo>
                    <a:pt x="196" y="50"/>
                  </a:lnTo>
                  <a:lnTo>
                    <a:pt x="191" y="49"/>
                  </a:lnTo>
                  <a:lnTo>
                    <a:pt x="185" y="50"/>
                  </a:lnTo>
                  <a:lnTo>
                    <a:pt x="179" y="52"/>
                  </a:lnTo>
                  <a:lnTo>
                    <a:pt x="176" y="52"/>
                  </a:lnTo>
                  <a:lnTo>
                    <a:pt x="174" y="51"/>
                  </a:lnTo>
                  <a:lnTo>
                    <a:pt x="174" y="49"/>
                  </a:lnTo>
                  <a:lnTo>
                    <a:pt x="174" y="46"/>
                  </a:lnTo>
                  <a:lnTo>
                    <a:pt x="175" y="46"/>
                  </a:lnTo>
                  <a:lnTo>
                    <a:pt x="175" y="43"/>
                  </a:lnTo>
                  <a:lnTo>
                    <a:pt x="176" y="42"/>
                  </a:lnTo>
                  <a:lnTo>
                    <a:pt x="180" y="39"/>
                  </a:lnTo>
                  <a:lnTo>
                    <a:pt x="185" y="38"/>
                  </a:lnTo>
                  <a:lnTo>
                    <a:pt x="190" y="36"/>
                  </a:lnTo>
                  <a:lnTo>
                    <a:pt x="193" y="33"/>
                  </a:lnTo>
                  <a:lnTo>
                    <a:pt x="193" y="32"/>
                  </a:lnTo>
                  <a:lnTo>
                    <a:pt x="191" y="31"/>
                  </a:lnTo>
                  <a:lnTo>
                    <a:pt x="189" y="30"/>
                  </a:lnTo>
                  <a:lnTo>
                    <a:pt x="185" y="30"/>
                  </a:lnTo>
                  <a:lnTo>
                    <a:pt x="177" y="33"/>
                  </a:lnTo>
                  <a:lnTo>
                    <a:pt x="175" y="33"/>
                  </a:lnTo>
                  <a:lnTo>
                    <a:pt x="172" y="33"/>
                  </a:lnTo>
                  <a:lnTo>
                    <a:pt x="170" y="35"/>
                  </a:lnTo>
                  <a:lnTo>
                    <a:pt x="167" y="33"/>
                  </a:lnTo>
                  <a:lnTo>
                    <a:pt x="161" y="32"/>
                  </a:lnTo>
                  <a:lnTo>
                    <a:pt x="156" y="31"/>
                  </a:lnTo>
                  <a:lnTo>
                    <a:pt x="153" y="31"/>
                  </a:lnTo>
                  <a:lnTo>
                    <a:pt x="151" y="32"/>
                  </a:lnTo>
                  <a:lnTo>
                    <a:pt x="149" y="35"/>
                  </a:lnTo>
                  <a:lnTo>
                    <a:pt x="149" y="37"/>
                  </a:lnTo>
                  <a:lnTo>
                    <a:pt x="149" y="41"/>
                  </a:lnTo>
                  <a:lnTo>
                    <a:pt x="148" y="42"/>
                  </a:lnTo>
                  <a:lnTo>
                    <a:pt x="147" y="42"/>
                  </a:lnTo>
                  <a:lnTo>
                    <a:pt x="143" y="42"/>
                  </a:lnTo>
                  <a:lnTo>
                    <a:pt x="139" y="42"/>
                  </a:lnTo>
                  <a:lnTo>
                    <a:pt x="135" y="41"/>
                  </a:lnTo>
                  <a:lnTo>
                    <a:pt x="132" y="41"/>
                  </a:lnTo>
                  <a:lnTo>
                    <a:pt x="124" y="44"/>
                  </a:lnTo>
                  <a:lnTo>
                    <a:pt x="120" y="44"/>
                  </a:lnTo>
                  <a:lnTo>
                    <a:pt x="119" y="44"/>
                  </a:lnTo>
                  <a:lnTo>
                    <a:pt x="118" y="43"/>
                  </a:lnTo>
                  <a:lnTo>
                    <a:pt x="118" y="41"/>
                  </a:lnTo>
                  <a:lnTo>
                    <a:pt x="118" y="37"/>
                  </a:lnTo>
                  <a:lnTo>
                    <a:pt x="118" y="33"/>
                  </a:lnTo>
                  <a:lnTo>
                    <a:pt x="115" y="31"/>
                  </a:lnTo>
                  <a:lnTo>
                    <a:pt x="114" y="30"/>
                  </a:lnTo>
                  <a:lnTo>
                    <a:pt x="111" y="30"/>
                  </a:lnTo>
                  <a:lnTo>
                    <a:pt x="108" y="31"/>
                  </a:lnTo>
                  <a:lnTo>
                    <a:pt x="102" y="33"/>
                  </a:lnTo>
                  <a:lnTo>
                    <a:pt x="99" y="35"/>
                  </a:lnTo>
                  <a:lnTo>
                    <a:pt x="96" y="35"/>
                  </a:lnTo>
                  <a:lnTo>
                    <a:pt x="94" y="33"/>
                  </a:lnTo>
                  <a:lnTo>
                    <a:pt x="88" y="32"/>
                  </a:lnTo>
                  <a:lnTo>
                    <a:pt x="86" y="31"/>
                  </a:lnTo>
                  <a:lnTo>
                    <a:pt x="83" y="32"/>
                  </a:lnTo>
                  <a:lnTo>
                    <a:pt x="82" y="32"/>
                  </a:lnTo>
                  <a:lnTo>
                    <a:pt x="81" y="30"/>
                  </a:lnTo>
                  <a:lnTo>
                    <a:pt x="81" y="26"/>
                  </a:lnTo>
                  <a:lnTo>
                    <a:pt x="80" y="23"/>
                  </a:lnTo>
                  <a:lnTo>
                    <a:pt x="78" y="19"/>
                  </a:lnTo>
                  <a:lnTo>
                    <a:pt x="75" y="17"/>
                  </a:lnTo>
                  <a:lnTo>
                    <a:pt x="72" y="16"/>
                  </a:lnTo>
                  <a:lnTo>
                    <a:pt x="71" y="16"/>
                  </a:lnTo>
                  <a:lnTo>
                    <a:pt x="66" y="17"/>
                  </a:lnTo>
                  <a:lnTo>
                    <a:pt x="62" y="18"/>
                  </a:lnTo>
                  <a:lnTo>
                    <a:pt x="57" y="19"/>
                  </a:lnTo>
                  <a:lnTo>
                    <a:pt x="55" y="19"/>
                  </a:lnTo>
                  <a:lnTo>
                    <a:pt x="54" y="18"/>
                  </a:lnTo>
                  <a:lnTo>
                    <a:pt x="53" y="16"/>
                  </a:lnTo>
                  <a:lnTo>
                    <a:pt x="53" y="11"/>
                  </a:lnTo>
                  <a:lnTo>
                    <a:pt x="54" y="9"/>
                  </a:lnTo>
                  <a:lnTo>
                    <a:pt x="57" y="3"/>
                  </a:lnTo>
                  <a:lnTo>
                    <a:pt x="57" y="1"/>
                  </a:lnTo>
                  <a:lnTo>
                    <a:pt x="54" y="0"/>
                  </a:lnTo>
                  <a:lnTo>
                    <a:pt x="53" y="0"/>
                  </a:lnTo>
                  <a:lnTo>
                    <a:pt x="50" y="3"/>
                  </a:lnTo>
                  <a:lnTo>
                    <a:pt x="50" y="5"/>
                  </a:lnTo>
                  <a:lnTo>
                    <a:pt x="50" y="7"/>
                  </a:lnTo>
                  <a:lnTo>
                    <a:pt x="50" y="11"/>
                  </a:lnTo>
                  <a:lnTo>
                    <a:pt x="49" y="14"/>
                  </a:lnTo>
                  <a:lnTo>
                    <a:pt x="48" y="18"/>
                  </a:lnTo>
                  <a:lnTo>
                    <a:pt x="45" y="20"/>
                  </a:lnTo>
                  <a:lnTo>
                    <a:pt x="40" y="24"/>
                  </a:lnTo>
                  <a:lnTo>
                    <a:pt x="36" y="26"/>
                  </a:lnTo>
                  <a:lnTo>
                    <a:pt x="34" y="29"/>
                  </a:lnTo>
                  <a:lnTo>
                    <a:pt x="34" y="32"/>
                  </a:lnTo>
                  <a:lnTo>
                    <a:pt x="35" y="39"/>
                  </a:lnTo>
                  <a:lnTo>
                    <a:pt x="39" y="48"/>
                  </a:lnTo>
                  <a:lnTo>
                    <a:pt x="41" y="56"/>
                  </a:lnTo>
                  <a:lnTo>
                    <a:pt x="41" y="58"/>
                  </a:lnTo>
                  <a:lnTo>
                    <a:pt x="40" y="61"/>
                  </a:lnTo>
                  <a:lnTo>
                    <a:pt x="38" y="62"/>
                  </a:lnTo>
                  <a:lnTo>
                    <a:pt x="35" y="62"/>
                  </a:lnTo>
                  <a:lnTo>
                    <a:pt x="34" y="61"/>
                  </a:lnTo>
                  <a:lnTo>
                    <a:pt x="34" y="58"/>
                  </a:lnTo>
                  <a:lnTo>
                    <a:pt x="28" y="59"/>
                  </a:lnTo>
                  <a:lnTo>
                    <a:pt x="22" y="59"/>
                  </a:lnTo>
                  <a:lnTo>
                    <a:pt x="17" y="56"/>
                  </a:lnTo>
                  <a:lnTo>
                    <a:pt x="16" y="54"/>
                  </a:lnTo>
                  <a:lnTo>
                    <a:pt x="16" y="51"/>
                  </a:lnTo>
                  <a:lnTo>
                    <a:pt x="17" y="49"/>
                  </a:lnTo>
                  <a:lnTo>
                    <a:pt x="19" y="45"/>
                  </a:lnTo>
                  <a:lnTo>
                    <a:pt x="25" y="37"/>
                  </a:lnTo>
                  <a:lnTo>
                    <a:pt x="26" y="32"/>
                  </a:lnTo>
                  <a:lnTo>
                    <a:pt x="26" y="26"/>
                  </a:lnTo>
                  <a:lnTo>
                    <a:pt x="25" y="20"/>
                  </a:lnTo>
                  <a:lnTo>
                    <a:pt x="21"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5" name="Freeform 884"/>
            <p:cNvSpPr>
              <a:spLocks/>
            </p:cNvSpPr>
            <p:nvPr/>
          </p:nvSpPr>
          <p:spPr bwMode="auto">
            <a:xfrm>
              <a:off x="2781304" y="4157662"/>
              <a:ext cx="122237" cy="222250"/>
            </a:xfrm>
            <a:custGeom>
              <a:avLst/>
              <a:gdLst>
                <a:gd name="T0" fmla="*/ 2147483647 w 83"/>
                <a:gd name="T1" fmla="*/ 2147483647 h 140"/>
                <a:gd name="T2" fmla="*/ 2147483647 w 83"/>
                <a:gd name="T3" fmla="*/ 2147483647 h 140"/>
                <a:gd name="T4" fmla="*/ 2147483647 w 83"/>
                <a:gd name="T5" fmla="*/ 2147483647 h 140"/>
                <a:gd name="T6" fmla="*/ 2147483647 w 83"/>
                <a:gd name="T7" fmla="*/ 2147483647 h 140"/>
                <a:gd name="T8" fmla="*/ 2147483647 w 83"/>
                <a:gd name="T9" fmla="*/ 2147483647 h 140"/>
                <a:gd name="T10" fmla="*/ 2147483647 w 83"/>
                <a:gd name="T11" fmla="*/ 2147483647 h 140"/>
                <a:gd name="T12" fmla="*/ 2147483647 w 83"/>
                <a:gd name="T13" fmla="*/ 2147483647 h 140"/>
                <a:gd name="T14" fmla="*/ 2147483647 w 83"/>
                <a:gd name="T15" fmla="*/ 2147483647 h 140"/>
                <a:gd name="T16" fmla="*/ 2147483647 w 83"/>
                <a:gd name="T17" fmla="*/ 2147483647 h 140"/>
                <a:gd name="T18" fmla="*/ 2147483647 w 83"/>
                <a:gd name="T19" fmla="*/ 2147483647 h 140"/>
                <a:gd name="T20" fmla="*/ 2147483647 w 83"/>
                <a:gd name="T21" fmla="*/ 2147483647 h 140"/>
                <a:gd name="T22" fmla="*/ 2147483647 w 83"/>
                <a:gd name="T23" fmla="*/ 2147483647 h 140"/>
                <a:gd name="T24" fmla="*/ 2147483647 w 83"/>
                <a:gd name="T25" fmla="*/ 2147483647 h 140"/>
                <a:gd name="T26" fmla="*/ 2147483647 w 83"/>
                <a:gd name="T27" fmla="*/ 2147483647 h 140"/>
                <a:gd name="T28" fmla="*/ 2147483647 w 83"/>
                <a:gd name="T29" fmla="*/ 2147483647 h 140"/>
                <a:gd name="T30" fmla="*/ 2147483647 w 83"/>
                <a:gd name="T31" fmla="*/ 2147483647 h 140"/>
                <a:gd name="T32" fmla="*/ 2147483647 w 83"/>
                <a:gd name="T33" fmla="*/ 2147483647 h 140"/>
                <a:gd name="T34" fmla="*/ 2147483647 w 83"/>
                <a:gd name="T35" fmla="*/ 2147483647 h 140"/>
                <a:gd name="T36" fmla="*/ 2147483647 w 83"/>
                <a:gd name="T37" fmla="*/ 2147483647 h 140"/>
                <a:gd name="T38" fmla="*/ 2147483647 w 83"/>
                <a:gd name="T39" fmla="*/ 2147483647 h 140"/>
                <a:gd name="T40" fmla="*/ 2147483647 w 83"/>
                <a:gd name="T41" fmla="*/ 2147483647 h 140"/>
                <a:gd name="T42" fmla="*/ 2147483647 w 83"/>
                <a:gd name="T43" fmla="*/ 2147483647 h 140"/>
                <a:gd name="T44" fmla="*/ 2147483647 w 83"/>
                <a:gd name="T45" fmla="*/ 2147483647 h 140"/>
                <a:gd name="T46" fmla="*/ 2147483647 w 83"/>
                <a:gd name="T47" fmla="*/ 2147483647 h 140"/>
                <a:gd name="T48" fmla="*/ 0 w 83"/>
                <a:gd name="T49" fmla="*/ 2147483647 h 140"/>
                <a:gd name="T50" fmla="*/ 0 w 83"/>
                <a:gd name="T51" fmla="*/ 2147483647 h 140"/>
                <a:gd name="T52" fmla="*/ 2147483647 w 83"/>
                <a:gd name="T53" fmla="*/ 2147483647 h 140"/>
                <a:gd name="T54" fmla="*/ 2147483647 w 83"/>
                <a:gd name="T55" fmla="*/ 2147483647 h 140"/>
                <a:gd name="T56" fmla="*/ 2147483647 w 83"/>
                <a:gd name="T57" fmla="*/ 2147483647 h 140"/>
                <a:gd name="T58" fmla="*/ 2147483647 w 83"/>
                <a:gd name="T59" fmla="*/ 2147483647 h 140"/>
                <a:gd name="T60" fmla="*/ 2147483647 w 83"/>
                <a:gd name="T61" fmla="*/ 2147483647 h 140"/>
                <a:gd name="T62" fmla="*/ 2147483647 w 83"/>
                <a:gd name="T63" fmla="*/ 2147483647 h 140"/>
                <a:gd name="T64" fmla="*/ 2147483647 w 83"/>
                <a:gd name="T65" fmla="*/ 2147483647 h 140"/>
                <a:gd name="T66" fmla="*/ 2147483647 w 83"/>
                <a:gd name="T67" fmla="*/ 2147483647 h 140"/>
                <a:gd name="T68" fmla="*/ 2147483647 w 83"/>
                <a:gd name="T69" fmla="*/ 0 h 140"/>
                <a:gd name="T70" fmla="*/ 2147483647 w 83"/>
                <a:gd name="T71" fmla="*/ 0 h 140"/>
                <a:gd name="T72" fmla="*/ 2147483647 w 83"/>
                <a:gd name="T73" fmla="*/ 2147483647 h 140"/>
                <a:gd name="T74" fmla="*/ 2147483647 w 83"/>
                <a:gd name="T75" fmla="*/ 2147483647 h 140"/>
                <a:gd name="T76" fmla="*/ 2147483647 w 83"/>
                <a:gd name="T77" fmla="*/ 2147483647 h 140"/>
                <a:gd name="T78" fmla="*/ 2147483647 w 83"/>
                <a:gd name="T79" fmla="*/ 2147483647 h 140"/>
                <a:gd name="T80" fmla="*/ 2147483647 w 83"/>
                <a:gd name="T81" fmla="*/ 2147483647 h 140"/>
                <a:gd name="T82" fmla="*/ 2147483647 w 83"/>
                <a:gd name="T83" fmla="*/ 2147483647 h 140"/>
                <a:gd name="T84" fmla="*/ 2147483647 w 83"/>
                <a:gd name="T85" fmla="*/ 2147483647 h 140"/>
                <a:gd name="T86" fmla="*/ 2147483647 w 83"/>
                <a:gd name="T87" fmla="*/ 2147483647 h 140"/>
                <a:gd name="T88" fmla="*/ 2147483647 w 83"/>
                <a:gd name="T89" fmla="*/ 2147483647 h 140"/>
                <a:gd name="T90" fmla="*/ 2147483647 w 83"/>
                <a:gd name="T91" fmla="*/ 2147483647 h 140"/>
                <a:gd name="T92" fmla="*/ 2147483647 w 83"/>
                <a:gd name="T93" fmla="*/ 2147483647 h 140"/>
                <a:gd name="T94" fmla="*/ 2147483647 w 83"/>
                <a:gd name="T95" fmla="*/ 2147483647 h 140"/>
                <a:gd name="T96" fmla="*/ 2147483647 w 83"/>
                <a:gd name="T97" fmla="*/ 2147483647 h 140"/>
                <a:gd name="T98" fmla="*/ 2147483647 w 83"/>
                <a:gd name="T99" fmla="*/ 2147483647 h 140"/>
                <a:gd name="T100" fmla="*/ 2147483647 w 83"/>
                <a:gd name="T101" fmla="*/ 2147483647 h 140"/>
                <a:gd name="T102" fmla="*/ 2147483647 w 83"/>
                <a:gd name="T103" fmla="*/ 2147483647 h 140"/>
                <a:gd name="T104" fmla="*/ 2147483647 w 83"/>
                <a:gd name="T105" fmla="*/ 2147483647 h 140"/>
                <a:gd name="T106" fmla="*/ 2147483647 w 83"/>
                <a:gd name="T107" fmla="*/ 2147483647 h 140"/>
                <a:gd name="T108" fmla="*/ 2147483647 w 83"/>
                <a:gd name="T109" fmla="*/ 2147483647 h 140"/>
                <a:gd name="T110" fmla="*/ 2147483647 w 83"/>
                <a:gd name="T111" fmla="*/ 2147483647 h 140"/>
                <a:gd name="T112" fmla="*/ 2147483647 w 83"/>
                <a:gd name="T113" fmla="*/ 2147483647 h 140"/>
                <a:gd name="T114" fmla="*/ 2147483647 w 83"/>
                <a:gd name="T115" fmla="*/ 2147483647 h 1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140"/>
                <a:gd name="T176" fmla="*/ 83 w 83"/>
                <a:gd name="T177" fmla="*/ 140 h 1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140">
                  <a:moveTo>
                    <a:pt x="82" y="124"/>
                  </a:moveTo>
                  <a:lnTo>
                    <a:pt x="82" y="124"/>
                  </a:lnTo>
                  <a:lnTo>
                    <a:pt x="78" y="127"/>
                  </a:lnTo>
                  <a:lnTo>
                    <a:pt x="74" y="128"/>
                  </a:lnTo>
                  <a:lnTo>
                    <a:pt x="70" y="130"/>
                  </a:lnTo>
                  <a:lnTo>
                    <a:pt x="66" y="131"/>
                  </a:lnTo>
                  <a:lnTo>
                    <a:pt x="63" y="131"/>
                  </a:lnTo>
                  <a:lnTo>
                    <a:pt x="58" y="134"/>
                  </a:lnTo>
                  <a:lnTo>
                    <a:pt x="52" y="137"/>
                  </a:lnTo>
                  <a:lnTo>
                    <a:pt x="50" y="140"/>
                  </a:lnTo>
                  <a:lnTo>
                    <a:pt x="47" y="140"/>
                  </a:lnTo>
                  <a:lnTo>
                    <a:pt x="44" y="136"/>
                  </a:lnTo>
                  <a:lnTo>
                    <a:pt x="40" y="130"/>
                  </a:lnTo>
                  <a:lnTo>
                    <a:pt x="37" y="124"/>
                  </a:lnTo>
                  <a:lnTo>
                    <a:pt x="35" y="117"/>
                  </a:lnTo>
                  <a:lnTo>
                    <a:pt x="33" y="111"/>
                  </a:lnTo>
                  <a:lnTo>
                    <a:pt x="33" y="104"/>
                  </a:lnTo>
                  <a:lnTo>
                    <a:pt x="33" y="98"/>
                  </a:lnTo>
                  <a:lnTo>
                    <a:pt x="36" y="95"/>
                  </a:lnTo>
                  <a:lnTo>
                    <a:pt x="39" y="91"/>
                  </a:lnTo>
                  <a:lnTo>
                    <a:pt x="41" y="90"/>
                  </a:lnTo>
                  <a:lnTo>
                    <a:pt x="42" y="88"/>
                  </a:lnTo>
                  <a:lnTo>
                    <a:pt x="44" y="85"/>
                  </a:lnTo>
                  <a:lnTo>
                    <a:pt x="44" y="82"/>
                  </a:lnTo>
                  <a:lnTo>
                    <a:pt x="42" y="79"/>
                  </a:lnTo>
                  <a:lnTo>
                    <a:pt x="40" y="77"/>
                  </a:lnTo>
                  <a:lnTo>
                    <a:pt x="35" y="73"/>
                  </a:lnTo>
                  <a:lnTo>
                    <a:pt x="32" y="71"/>
                  </a:lnTo>
                  <a:lnTo>
                    <a:pt x="31" y="69"/>
                  </a:lnTo>
                  <a:lnTo>
                    <a:pt x="30" y="64"/>
                  </a:lnTo>
                  <a:lnTo>
                    <a:pt x="30" y="62"/>
                  </a:lnTo>
                  <a:lnTo>
                    <a:pt x="28" y="59"/>
                  </a:lnTo>
                  <a:lnTo>
                    <a:pt x="25" y="59"/>
                  </a:lnTo>
                  <a:lnTo>
                    <a:pt x="19" y="59"/>
                  </a:lnTo>
                  <a:lnTo>
                    <a:pt x="16" y="58"/>
                  </a:lnTo>
                  <a:lnTo>
                    <a:pt x="13" y="57"/>
                  </a:lnTo>
                  <a:lnTo>
                    <a:pt x="12" y="56"/>
                  </a:lnTo>
                  <a:lnTo>
                    <a:pt x="7" y="47"/>
                  </a:lnTo>
                  <a:lnTo>
                    <a:pt x="0" y="39"/>
                  </a:lnTo>
                  <a:lnTo>
                    <a:pt x="0" y="37"/>
                  </a:lnTo>
                  <a:lnTo>
                    <a:pt x="2" y="35"/>
                  </a:lnTo>
                  <a:lnTo>
                    <a:pt x="8" y="33"/>
                  </a:lnTo>
                  <a:lnTo>
                    <a:pt x="14" y="31"/>
                  </a:lnTo>
                  <a:lnTo>
                    <a:pt x="21" y="28"/>
                  </a:lnTo>
                  <a:lnTo>
                    <a:pt x="23" y="26"/>
                  </a:lnTo>
                  <a:lnTo>
                    <a:pt x="26" y="24"/>
                  </a:lnTo>
                  <a:lnTo>
                    <a:pt x="26" y="22"/>
                  </a:lnTo>
                  <a:lnTo>
                    <a:pt x="25" y="21"/>
                  </a:lnTo>
                  <a:lnTo>
                    <a:pt x="22" y="18"/>
                  </a:lnTo>
                  <a:lnTo>
                    <a:pt x="19" y="14"/>
                  </a:lnTo>
                  <a:lnTo>
                    <a:pt x="19" y="13"/>
                  </a:lnTo>
                  <a:lnTo>
                    <a:pt x="19" y="12"/>
                  </a:lnTo>
                  <a:lnTo>
                    <a:pt x="21" y="8"/>
                  </a:lnTo>
                  <a:lnTo>
                    <a:pt x="25" y="6"/>
                  </a:lnTo>
                  <a:lnTo>
                    <a:pt x="30" y="0"/>
                  </a:lnTo>
                  <a:lnTo>
                    <a:pt x="32" y="0"/>
                  </a:lnTo>
                  <a:lnTo>
                    <a:pt x="35" y="1"/>
                  </a:lnTo>
                  <a:lnTo>
                    <a:pt x="40" y="1"/>
                  </a:lnTo>
                  <a:lnTo>
                    <a:pt x="41" y="3"/>
                  </a:lnTo>
                  <a:lnTo>
                    <a:pt x="44" y="6"/>
                  </a:lnTo>
                  <a:lnTo>
                    <a:pt x="49" y="13"/>
                  </a:lnTo>
                  <a:lnTo>
                    <a:pt x="51" y="21"/>
                  </a:lnTo>
                  <a:lnTo>
                    <a:pt x="52" y="26"/>
                  </a:lnTo>
                  <a:lnTo>
                    <a:pt x="52" y="27"/>
                  </a:lnTo>
                  <a:lnTo>
                    <a:pt x="55" y="30"/>
                  </a:lnTo>
                  <a:lnTo>
                    <a:pt x="56" y="30"/>
                  </a:lnTo>
                  <a:lnTo>
                    <a:pt x="58" y="30"/>
                  </a:lnTo>
                  <a:lnTo>
                    <a:pt x="59" y="28"/>
                  </a:lnTo>
                  <a:lnTo>
                    <a:pt x="63" y="28"/>
                  </a:lnTo>
                  <a:lnTo>
                    <a:pt x="65" y="30"/>
                  </a:lnTo>
                  <a:lnTo>
                    <a:pt x="69" y="34"/>
                  </a:lnTo>
                  <a:lnTo>
                    <a:pt x="72" y="35"/>
                  </a:lnTo>
                  <a:lnTo>
                    <a:pt x="74" y="37"/>
                  </a:lnTo>
                  <a:lnTo>
                    <a:pt x="77" y="37"/>
                  </a:lnTo>
                  <a:lnTo>
                    <a:pt x="79" y="38"/>
                  </a:lnTo>
                  <a:lnTo>
                    <a:pt x="82" y="39"/>
                  </a:lnTo>
                  <a:lnTo>
                    <a:pt x="83" y="41"/>
                  </a:lnTo>
                  <a:lnTo>
                    <a:pt x="83" y="47"/>
                  </a:lnTo>
                  <a:lnTo>
                    <a:pt x="82" y="53"/>
                  </a:lnTo>
                  <a:lnTo>
                    <a:pt x="79" y="59"/>
                  </a:lnTo>
                  <a:lnTo>
                    <a:pt x="75" y="65"/>
                  </a:lnTo>
                  <a:lnTo>
                    <a:pt x="72" y="71"/>
                  </a:lnTo>
                  <a:lnTo>
                    <a:pt x="70" y="77"/>
                  </a:lnTo>
                  <a:lnTo>
                    <a:pt x="69" y="82"/>
                  </a:lnTo>
                  <a:lnTo>
                    <a:pt x="70" y="88"/>
                  </a:lnTo>
                  <a:lnTo>
                    <a:pt x="73" y="95"/>
                  </a:lnTo>
                  <a:lnTo>
                    <a:pt x="74" y="102"/>
                  </a:lnTo>
                  <a:lnTo>
                    <a:pt x="78" y="116"/>
                  </a:lnTo>
                  <a:lnTo>
                    <a:pt x="82" y="12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6" name="Freeform 885"/>
            <p:cNvSpPr>
              <a:spLocks/>
            </p:cNvSpPr>
            <p:nvPr/>
          </p:nvSpPr>
          <p:spPr bwMode="auto">
            <a:xfrm>
              <a:off x="2884489" y="4225924"/>
              <a:ext cx="98425" cy="134938"/>
            </a:xfrm>
            <a:custGeom>
              <a:avLst/>
              <a:gdLst>
                <a:gd name="T0" fmla="*/ 2147483647 w 68"/>
                <a:gd name="T1" fmla="*/ 0 h 85"/>
                <a:gd name="T2" fmla="*/ 2147483647 w 68"/>
                <a:gd name="T3" fmla="*/ 2147483647 h 85"/>
                <a:gd name="T4" fmla="*/ 2147483647 w 68"/>
                <a:gd name="T5" fmla="*/ 2147483647 h 85"/>
                <a:gd name="T6" fmla="*/ 2147483647 w 68"/>
                <a:gd name="T7" fmla="*/ 2147483647 h 85"/>
                <a:gd name="T8" fmla="*/ 2147483647 w 68"/>
                <a:gd name="T9" fmla="*/ 2147483647 h 85"/>
                <a:gd name="T10" fmla="*/ 2147483647 w 68"/>
                <a:gd name="T11" fmla="*/ 2147483647 h 85"/>
                <a:gd name="T12" fmla="*/ 2147483647 w 68"/>
                <a:gd name="T13" fmla="*/ 2147483647 h 85"/>
                <a:gd name="T14" fmla="*/ 0 w 68"/>
                <a:gd name="T15" fmla="*/ 2147483647 h 85"/>
                <a:gd name="T16" fmla="*/ 2147483647 w 68"/>
                <a:gd name="T17" fmla="*/ 2147483647 h 85"/>
                <a:gd name="T18" fmla="*/ 2147483647 w 68"/>
                <a:gd name="T19" fmla="*/ 2147483647 h 85"/>
                <a:gd name="T20" fmla="*/ 2147483647 w 68"/>
                <a:gd name="T21" fmla="*/ 2147483647 h 85"/>
                <a:gd name="T22" fmla="*/ 2147483647 w 68"/>
                <a:gd name="T23" fmla="*/ 2147483647 h 85"/>
                <a:gd name="T24" fmla="*/ 2147483647 w 68"/>
                <a:gd name="T25" fmla="*/ 2147483647 h 85"/>
                <a:gd name="T26" fmla="*/ 2147483647 w 68"/>
                <a:gd name="T27" fmla="*/ 2147483647 h 85"/>
                <a:gd name="T28" fmla="*/ 2147483647 w 68"/>
                <a:gd name="T29" fmla="*/ 2147483647 h 85"/>
                <a:gd name="T30" fmla="*/ 2147483647 w 68"/>
                <a:gd name="T31" fmla="*/ 2147483647 h 85"/>
                <a:gd name="T32" fmla="*/ 2147483647 w 68"/>
                <a:gd name="T33" fmla="*/ 2147483647 h 85"/>
                <a:gd name="T34" fmla="*/ 2147483647 w 68"/>
                <a:gd name="T35" fmla="*/ 2147483647 h 85"/>
                <a:gd name="T36" fmla="*/ 2147483647 w 68"/>
                <a:gd name="T37" fmla="*/ 2147483647 h 85"/>
                <a:gd name="T38" fmla="*/ 2147483647 w 68"/>
                <a:gd name="T39" fmla="*/ 2147483647 h 85"/>
                <a:gd name="T40" fmla="*/ 2147483647 w 68"/>
                <a:gd name="T41" fmla="*/ 2147483647 h 85"/>
                <a:gd name="T42" fmla="*/ 2147483647 w 68"/>
                <a:gd name="T43" fmla="*/ 2147483647 h 85"/>
                <a:gd name="T44" fmla="*/ 2147483647 w 68"/>
                <a:gd name="T45" fmla="*/ 2147483647 h 85"/>
                <a:gd name="T46" fmla="*/ 2147483647 w 68"/>
                <a:gd name="T47" fmla="*/ 2147483647 h 85"/>
                <a:gd name="T48" fmla="*/ 2147483647 w 68"/>
                <a:gd name="T49" fmla="*/ 2147483647 h 85"/>
                <a:gd name="T50" fmla="*/ 2147483647 w 68"/>
                <a:gd name="T51" fmla="*/ 2147483647 h 85"/>
                <a:gd name="T52" fmla="*/ 2147483647 w 68"/>
                <a:gd name="T53" fmla="*/ 2147483647 h 85"/>
                <a:gd name="T54" fmla="*/ 2147483647 w 68"/>
                <a:gd name="T55" fmla="*/ 2147483647 h 85"/>
                <a:gd name="T56" fmla="*/ 2147483647 w 68"/>
                <a:gd name="T57" fmla="*/ 2147483647 h 85"/>
                <a:gd name="T58" fmla="*/ 2147483647 w 68"/>
                <a:gd name="T59" fmla="*/ 2147483647 h 85"/>
                <a:gd name="T60" fmla="*/ 2147483647 w 68"/>
                <a:gd name="T61" fmla="*/ 2147483647 h 85"/>
                <a:gd name="T62" fmla="*/ 2147483647 w 68"/>
                <a:gd name="T63" fmla="*/ 2147483647 h 85"/>
                <a:gd name="T64" fmla="*/ 2147483647 w 68"/>
                <a:gd name="T65" fmla="*/ 2147483647 h 85"/>
                <a:gd name="T66" fmla="*/ 2147483647 w 68"/>
                <a:gd name="T67" fmla="*/ 2147483647 h 85"/>
                <a:gd name="T68" fmla="*/ 2147483647 w 68"/>
                <a:gd name="T69" fmla="*/ 2147483647 h 85"/>
                <a:gd name="T70" fmla="*/ 2147483647 w 68"/>
                <a:gd name="T71" fmla="*/ 2147483647 h 85"/>
                <a:gd name="T72" fmla="*/ 2147483647 w 68"/>
                <a:gd name="T73" fmla="*/ 2147483647 h 85"/>
                <a:gd name="T74" fmla="*/ 2147483647 w 68"/>
                <a:gd name="T75" fmla="*/ 2147483647 h 85"/>
                <a:gd name="T76" fmla="*/ 2147483647 w 68"/>
                <a:gd name="T77" fmla="*/ 2147483647 h 85"/>
                <a:gd name="T78" fmla="*/ 2147483647 w 68"/>
                <a:gd name="T79" fmla="*/ 2147483647 h 85"/>
                <a:gd name="T80" fmla="*/ 2147483647 w 68"/>
                <a:gd name="T81" fmla="*/ 2147483647 h 85"/>
                <a:gd name="T82" fmla="*/ 2147483647 w 68"/>
                <a:gd name="T83" fmla="*/ 2147483647 h 85"/>
                <a:gd name="T84" fmla="*/ 2147483647 w 68"/>
                <a:gd name="T85" fmla="*/ 2147483647 h 85"/>
                <a:gd name="T86" fmla="*/ 2147483647 w 68"/>
                <a:gd name="T87" fmla="*/ 2147483647 h 85"/>
                <a:gd name="T88" fmla="*/ 2147483647 w 68"/>
                <a:gd name="T89" fmla="*/ 0 h 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8"/>
                <a:gd name="T136" fmla="*/ 0 h 85"/>
                <a:gd name="T137" fmla="*/ 68 w 68"/>
                <a:gd name="T138" fmla="*/ 85 h 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8" h="85">
                  <a:moveTo>
                    <a:pt x="14" y="0"/>
                  </a:moveTo>
                  <a:lnTo>
                    <a:pt x="14" y="6"/>
                  </a:lnTo>
                  <a:lnTo>
                    <a:pt x="13" y="11"/>
                  </a:lnTo>
                  <a:lnTo>
                    <a:pt x="10" y="17"/>
                  </a:lnTo>
                  <a:lnTo>
                    <a:pt x="7" y="23"/>
                  </a:lnTo>
                  <a:lnTo>
                    <a:pt x="3" y="29"/>
                  </a:lnTo>
                  <a:lnTo>
                    <a:pt x="2" y="35"/>
                  </a:lnTo>
                  <a:lnTo>
                    <a:pt x="0" y="40"/>
                  </a:lnTo>
                  <a:lnTo>
                    <a:pt x="2" y="46"/>
                  </a:lnTo>
                  <a:lnTo>
                    <a:pt x="4" y="53"/>
                  </a:lnTo>
                  <a:lnTo>
                    <a:pt x="5" y="60"/>
                  </a:lnTo>
                  <a:lnTo>
                    <a:pt x="9" y="74"/>
                  </a:lnTo>
                  <a:lnTo>
                    <a:pt x="13" y="83"/>
                  </a:lnTo>
                  <a:lnTo>
                    <a:pt x="22" y="85"/>
                  </a:lnTo>
                  <a:lnTo>
                    <a:pt x="26" y="84"/>
                  </a:lnTo>
                  <a:lnTo>
                    <a:pt x="27" y="84"/>
                  </a:lnTo>
                  <a:lnTo>
                    <a:pt x="28" y="81"/>
                  </a:lnTo>
                  <a:lnTo>
                    <a:pt x="29" y="77"/>
                  </a:lnTo>
                  <a:lnTo>
                    <a:pt x="29" y="73"/>
                  </a:lnTo>
                  <a:lnTo>
                    <a:pt x="32" y="72"/>
                  </a:lnTo>
                  <a:lnTo>
                    <a:pt x="36" y="70"/>
                  </a:lnTo>
                  <a:lnTo>
                    <a:pt x="41" y="70"/>
                  </a:lnTo>
                  <a:lnTo>
                    <a:pt x="45" y="71"/>
                  </a:lnTo>
                  <a:lnTo>
                    <a:pt x="50" y="73"/>
                  </a:lnTo>
                  <a:lnTo>
                    <a:pt x="55" y="74"/>
                  </a:lnTo>
                  <a:lnTo>
                    <a:pt x="60" y="75"/>
                  </a:lnTo>
                  <a:lnTo>
                    <a:pt x="60" y="71"/>
                  </a:lnTo>
                  <a:lnTo>
                    <a:pt x="62" y="67"/>
                  </a:lnTo>
                  <a:lnTo>
                    <a:pt x="65" y="64"/>
                  </a:lnTo>
                  <a:lnTo>
                    <a:pt x="68" y="59"/>
                  </a:lnTo>
                  <a:lnTo>
                    <a:pt x="68" y="54"/>
                  </a:lnTo>
                  <a:lnTo>
                    <a:pt x="66" y="51"/>
                  </a:lnTo>
                  <a:lnTo>
                    <a:pt x="62" y="46"/>
                  </a:lnTo>
                  <a:lnTo>
                    <a:pt x="60" y="41"/>
                  </a:lnTo>
                  <a:lnTo>
                    <a:pt x="59" y="36"/>
                  </a:lnTo>
                  <a:lnTo>
                    <a:pt x="57" y="32"/>
                  </a:lnTo>
                  <a:lnTo>
                    <a:pt x="57" y="27"/>
                  </a:lnTo>
                  <a:lnTo>
                    <a:pt x="59" y="22"/>
                  </a:lnTo>
                  <a:lnTo>
                    <a:pt x="61" y="16"/>
                  </a:lnTo>
                  <a:lnTo>
                    <a:pt x="64" y="13"/>
                  </a:lnTo>
                  <a:lnTo>
                    <a:pt x="59" y="9"/>
                  </a:lnTo>
                  <a:lnTo>
                    <a:pt x="52" y="6"/>
                  </a:lnTo>
                  <a:lnTo>
                    <a:pt x="45" y="6"/>
                  </a:lnTo>
                  <a:lnTo>
                    <a:pt x="37" y="4"/>
                  </a:lnTo>
                  <a:lnTo>
                    <a:pt x="14"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7" name="Freeform 886"/>
            <p:cNvSpPr>
              <a:spLocks/>
            </p:cNvSpPr>
            <p:nvPr/>
          </p:nvSpPr>
          <p:spPr bwMode="auto">
            <a:xfrm>
              <a:off x="2967038" y="4246566"/>
              <a:ext cx="76200" cy="112712"/>
            </a:xfrm>
            <a:custGeom>
              <a:avLst/>
              <a:gdLst>
                <a:gd name="T0" fmla="*/ 2147483647 w 52"/>
                <a:gd name="T1" fmla="*/ 0 h 71"/>
                <a:gd name="T2" fmla="*/ 2147483647 w 52"/>
                <a:gd name="T3" fmla="*/ 2147483647 h 71"/>
                <a:gd name="T4" fmla="*/ 2147483647 w 52"/>
                <a:gd name="T5" fmla="*/ 2147483647 h 71"/>
                <a:gd name="T6" fmla="*/ 0 w 52"/>
                <a:gd name="T7" fmla="*/ 2147483647 h 71"/>
                <a:gd name="T8" fmla="*/ 0 w 52"/>
                <a:gd name="T9" fmla="*/ 2147483647 h 71"/>
                <a:gd name="T10" fmla="*/ 2147483647 w 52"/>
                <a:gd name="T11" fmla="*/ 2147483647 h 71"/>
                <a:gd name="T12" fmla="*/ 2147483647 w 52"/>
                <a:gd name="T13" fmla="*/ 2147483647 h 71"/>
                <a:gd name="T14" fmla="*/ 2147483647 w 52"/>
                <a:gd name="T15" fmla="*/ 2147483647 h 71"/>
                <a:gd name="T16" fmla="*/ 2147483647 w 52"/>
                <a:gd name="T17" fmla="*/ 2147483647 h 71"/>
                <a:gd name="T18" fmla="*/ 2147483647 w 52"/>
                <a:gd name="T19" fmla="*/ 2147483647 h 71"/>
                <a:gd name="T20" fmla="*/ 2147483647 w 52"/>
                <a:gd name="T21" fmla="*/ 2147483647 h 71"/>
                <a:gd name="T22" fmla="*/ 2147483647 w 52"/>
                <a:gd name="T23" fmla="*/ 2147483647 h 71"/>
                <a:gd name="T24" fmla="*/ 2147483647 w 52"/>
                <a:gd name="T25" fmla="*/ 2147483647 h 71"/>
                <a:gd name="T26" fmla="*/ 2147483647 w 52"/>
                <a:gd name="T27" fmla="*/ 2147483647 h 71"/>
                <a:gd name="T28" fmla="*/ 2147483647 w 52"/>
                <a:gd name="T29" fmla="*/ 2147483647 h 71"/>
                <a:gd name="T30" fmla="*/ 2147483647 w 52"/>
                <a:gd name="T31" fmla="*/ 2147483647 h 71"/>
                <a:gd name="T32" fmla="*/ 2147483647 w 52"/>
                <a:gd name="T33" fmla="*/ 2147483647 h 71"/>
                <a:gd name="T34" fmla="*/ 2147483647 w 52"/>
                <a:gd name="T35" fmla="*/ 2147483647 h 71"/>
                <a:gd name="T36" fmla="*/ 2147483647 w 52"/>
                <a:gd name="T37" fmla="*/ 2147483647 h 71"/>
                <a:gd name="T38" fmla="*/ 2147483647 w 52"/>
                <a:gd name="T39" fmla="*/ 2147483647 h 71"/>
                <a:gd name="T40" fmla="*/ 2147483647 w 52"/>
                <a:gd name="T41" fmla="*/ 2147483647 h 71"/>
                <a:gd name="T42" fmla="*/ 2147483647 w 52"/>
                <a:gd name="T43" fmla="*/ 2147483647 h 71"/>
                <a:gd name="T44" fmla="*/ 2147483647 w 52"/>
                <a:gd name="T45" fmla="*/ 2147483647 h 71"/>
                <a:gd name="T46" fmla="*/ 2147483647 w 52"/>
                <a:gd name="T47" fmla="*/ 2147483647 h 71"/>
                <a:gd name="T48" fmla="*/ 2147483647 w 52"/>
                <a:gd name="T49" fmla="*/ 2147483647 h 71"/>
                <a:gd name="T50" fmla="*/ 2147483647 w 52"/>
                <a:gd name="T51" fmla="*/ 2147483647 h 71"/>
                <a:gd name="T52" fmla="*/ 2147483647 w 52"/>
                <a:gd name="T53" fmla="*/ 2147483647 h 71"/>
                <a:gd name="T54" fmla="*/ 2147483647 w 52"/>
                <a:gd name="T55" fmla="*/ 2147483647 h 71"/>
                <a:gd name="T56" fmla="*/ 2147483647 w 52"/>
                <a:gd name="T57" fmla="*/ 2147483647 h 71"/>
                <a:gd name="T58" fmla="*/ 2147483647 w 52"/>
                <a:gd name="T59" fmla="*/ 2147483647 h 71"/>
                <a:gd name="T60" fmla="*/ 2147483647 w 52"/>
                <a:gd name="T61" fmla="*/ 2147483647 h 71"/>
                <a:gd name="T62" fmla="*/ 2147483647 w 52"/>
                <a:gd name="T63" fmla="*/ 2147483647 h 71"/>
                <a:gd name="T64" fmla="*/ 2147483647 w 52"/>
                <a:gd name="T65" fmla="*/ 2147483647 h 71"/>
                <a:gd name="T66" fmla="*/ 2147483647 w 52"/>
                <a:gd name="T67" fmla="*/ 2147483647 h 71"/>
                <a:gd name="T68" fmla="*/ 2147483647 w 52"/>
                <a:gd name="T69" fmla="*/ 2147483647 h 71"/>
                <a:gd name="T70" fmla="*/ 2147483647 w 52"/>
                <a:gd name="T71" fmla="*/ 2147483647 h 71"/>
                <a:gd name="T72" fmla="*/ 2147483647 w 52"/>
                <a:gd name="T73" fmla="*/ 2147483647 h 71"/>
                <a:gd name="T74" fmla="*/ 2147483647 w 52"/>
                <a:gd name="T75" fmla="*/ 2147483647 h 71"/>
                <a:gd name="T76" fmla="*/ 2147483647 w 52"/>
                <a:gd name="T77" fmla="*/ 2147483647 h 71"/>
                <a:gd name="T78" fmla="*/ 2147483647 w 52"/>
                <a:gd name="T79" fmla="*/ 2147483647 h 71"/>
                <a:gd name="T80" fmla="*/ 2147483647 w 52"/>
                <a:gd name="T81" fmla="*/ 2147483647 h 71"/>
                <a:gd name="T82" fmla="*/ 2147483647 w 52"/>
                <a:gd name="T83" fmla="*/ 2147483647 h 71"/>
                <a:gd name="T84" fmla="*/ 2147483647 w 52"/>
                <a:gd name="T85" fmla="*/ 2147483647 h 71"/>
                <a:gd name="T86" fmla="*/ 2147483647 w 52"/>
                <a:gd name="T87" fmla="*/ 2147483647 h 71"/>
                <a:gd name="T88" fmla="*/ 2147483647 w 52"/>
                <a:gd name="T89" fmla="*/ 2147483647 h 71"/>
                <a:gd name="T90" fmla="*/ 2147483647 w 52"/>
                <a:gd name="T91" fmla="*/ 0 h 71"/>
                <a:gd name="T92" fmla="*/ 2147483647 w 52"/>
                <a:gd name="T93" fmla="*/ 0 h 71"/>
                <a:gd name="T94" fmla="*/ 2147483647 w 52"/>
                <a:gd name="T95" fmla="*/ 0 h 71"/>
                <a:gd name="T96" fmla="*/ 2147483647 w 52"/>
                <a:gd name="T97" fmla="*/ 0 h 71"/>
                <a:gd name="T98" fmla="*/ 2147483647 w 52"/>
                <a:gd name="T99" fmla="*/ 0 h 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71"/>
                <a:gd name="T152" fmla="*/ 52 w 52"/>
                <a:gd name="T153" fmla="*/ 71 h 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71">
                  <a:moveTo>
                    <a:pt x="7" y="0"/>
                  </a:moveTo>
                  <a:lnTo>
                    <a:pt x="4" y="3"/>
                  </a:lnTo>
                  <a:lnTo>
                    <a:pt x="2" y="9"/>
                  </a:lnTo>
                  <a:lnTo>
                    <a:pt x="0" y="14"/>
                  </a:lnTo>
                  <a:lnTo>
                    <a:pt x="0" y="19"/>
                  </a:lnTo>
                  <a:lnTo>
                    <a:pt x="2" y="23"/>
                  </a:lnTo>
                  <a:lnTo>
                    <a:pt x="3" y="28"/>
                  </a:lnTo>
                  <a:lnTo>
                    <a:pt x="5" y="33"/>
                  </a:lnTo>
                  <a:lnTo>
                    <a:pt x="9" y="38"/>
                  </a:lnTo>
                  <a:lnTo>
                    <a:pt x="11" y="41"/>
                  </a:lnTo>
                  <a:lnTo>
                    <a:pt x="11" y="46"/>
                  </a:lnTo>
                  <a:lnTo>
                    <a:pt x="8" y="51"/>
                  </a:lnTo>
                  <a:lnTo>
                    <a:pt x="5" y="54"/>
                  </a:lnTo>
                  <a:lnTo>
                    <a:pt x="3" y="58"/>
                  </a:lnTo>
                  <a:lnTo>
                    <a:pt x="3" y="62"/>
                  </a:lnTo>
                  <a:lnTo>
                    <a:pt x="5" y="64"/>
                  </a:lnTo>
                  <a:lnTo>
                    <a:pt x="7" y="66"/>
                  </a:lnTo>
                  <a:lnTo>
                    <a:pt x="8" y="68"/>
                  </a:lnTo>
                  <a:lnTo>
                    <a:pt x="11" y="71"/>
                  </a:lnTo>
                  <a:lnTo>
                    <a:pt x="13" y="71"/>
                  </a:lnTo>
                  <a:lnTo>
                    <a:pt x="14" y="71"/>
                  </a:lnTo>
                  <a:lnTo>
                    <a:pt x="17" y="67"/>
                  </a:lnTo>
                  <a:lnTo>
                    <a:pt x="21" y="66"/>
                  </a:lnTo>
                  <a:lnTo>
                    <a:pt x="26" y="64"/>
                  </a:lnTo>
                  <a:lnTo>
                    <a:pt x="33" y="64"/>
                  </a:lnTo>
                  <a:lnTo>
                    <a:pt x="38" y="61"/>
                  </a:lnTo>
                  <a:lnTo>
                    <a:pt x="41" y="59"/>
                  </a:lnTo>
                  <a:lnTo>
                    <a:pt x="42" y="55"/>
                  </a:lnTo>
                  <a:lnTo>
                    <a:pt x="44" y="52"/>
                  </a:lnTo>
                  <a:lnTo>
                    <a:pt x="45" y="47"/>
                  </a:lnTo>
                  <a:lnTo>
                    <a:pt x="46" y="41"/>
                  </a:lnTo>
                  <a:lnTo>
                    <a:pt x="47" y="35"/>
                  </a:lnTo>
                  <a:lnTo>
                    <a:pt x="49" y="29"/>
                  </a:lnTo>
                  <a:lnTo>
                    <a:pt x="50" y="23"/>
                  </a:lnTo>
                  <a:lnTo>
                    <a:pt x="51" y="19"/>
                  </a:lnTo>
                  <a:lnTo>
                    <a:pt x="51" y="17"/>
                  </a:lnTo>
                  <a:lnTo>
                    <a:pt x="52" y="16"/>
                  </a:lnTo>
                  <a:lnTo>
                    <a:pt x="50" y="10"/>
                  </a:lnTo>
                  <a:lnTo>
                    <a:pt x="49" y="9"/>
                  </a:lnTo>
                  <a:lnTo>
                    <a:pt x="46" y="10"/>
                  </a:lnTo>
                  <a:lnTo>
                    <a:pt x="44" y="10"/>
                  </a:lnTo>
                  <a:lnTo>
                    <a:pt x="40" y="10"/>
                  </a:lnTo>
                  <a:lnTo>
                    <a:pt x="40" y="8"/>
                  </a:lnTo>
                  <a:lnTo>
                    <a:pt x="33" y="7"/>
                  </a:lnTo>
                  <a:lnTo>
                    <a:pt x="27" y="4"/>
                  </a:lnTo>
                  <a:lnTo>
                    <a:pt x="16" y="0"/>
                  </a:lnTo>
                  <a:lnTo>
                    <a:pt x="14" y="0"/>
                  </a:lnTo>
                  <a:lnTo>
                    <a:pt x="12" y="0"/>
                  </a:lnTo>
                  <a:lnTo>
                    <a:pt x="9" y="0"/>
                  </a:lnTo>
                  <a:lnTo>
                    <a:pt x="7"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8" name="Freeform 887"/>
            <p:cNvSpPr>
              <a:spLocks/>
            </p:cNvSpPr>
            <p:nvPr/>
          </p:nvSpPr>
          <p:spPr bwMode="auto">
            <a:xfrm>
              <a:off x="2882901" y="4222754"/>
              <a:ext cx="98425" cy="136525"/>
            </a:xfrm>
            <a:custGeom>
              <a:avLst/>
              <a:gdLst>
                <a:gd name="T0" fmla="*/ 2147483647 w 67"/>
                <a:gd name="T1" fmla="*/ 0 h 86"/>
                <a:gd name="T2" fmla="*/ 2147483647 w 67"/>
                <a:gd name="T3" fmla="*/ 0 h 86"/>
                <a:gd name="T4" fmla="*/ 2147483647 w 67"/>
                <a:gd name="T5" fmla="*/ 2147483647 h 86"/>
                <a:gd name="T6" fmla="*/ 2147483647 w 67"/>
                <a:gd name="T7" fmla="*/ 2147483647 h 86"/>
                <a:gd name="T8" fmla="*/ 2147483647 w 67"/>
                <a:gd name="T9" fmla="*/ 2147483647 h 86"/>
                <a:gd name="T10" fmla="*/ 2147483647 w 67"/>
                <a:gd name="T11" fmla="*/ 2147483647 h 86"/>
                <a:gd name="T12" fmla="*/ 2147483647 w 67"/>
                <a:gd name="T13" fmla="*/ 2147483647 h 86"/>
                <a:gd name="T14" fmla="*/ 2147483647 w 67"/>
                <a:gd name="T15" fmla="*/ 2147483647 h 86"/>
                <a:gd name="T16" fmla="*/ 2147483647 w 67"/>
                <a:gd name="T17" fmla="*/ 2147483647 h 86"/>
                <a:gd name="T18" fmla="*/ 0 w 67"/>
                <a:gd name="T19" fmla="*/ 2147483647 h 86"/>
                <a:gd name="T20" fmla="*/ 2147483647 w 67"/>
                <a:gd name="T21" fmla="*/ 2147483647 h 86"/>
                <a:gd name="T22" fmla="*/ 2147483647 w 67"/>
                <a:gd name="T23" fmla="*/ 2147483647 h 86"/>
                <a:gd name="T24" fmla="*/ 2147483647 w 67"/>
                <a:gd name="T25" fmla="*/ 2147483647 h 86"/>
                <a:gd name="T26" fmla="*/ 2147483647 w 67"/>
                <a:gd name="T27" fmla="*/ 2147483647 h 86"/>
                <a:gd name="T28" fmla="*/ 2147483647 w 67"/>
                <a:gd name="T29" fmla="*/ 2147483647 h 86"/>
                <a:gd name="T30" fmla="*/ 2147483647 w 67"/>
                <a:gd name="T31" fmla="*/ 2147483647 h 86"/>
                <a:gd name="T32" fmla="*/ 2147483647 w 67"/>
                <a:gd name="T33" fmla="*/ 2147483647 h 86"/>
                <a:gd name="T34" fmla="*/ 2147483647 w 67"/>
                <a:gd name="T35" fmla="*/ 2147483647 h 86"/>
                <a:gd name="T36" fmla="*/ 2147483647 w 67"/>
                <a:gd name="T37" fmla="*/ 2147483647 h 86"/>
                <a:gd name="T38" fmla="*/ 2147483647 w 67"/>
                <a:gd name="T39" fmla="*/ 2147483647 h 86"/>
                <a:gd name="T40" fmla="*/ 2147483647 w 67"/>
                <a:gd name="T41" fmla="*/ 2147483647 h 86"/>
                <a:gd name="T42" fmla="*/ 2147483647 w 67"/>
                <a:gd name="T43" fmla="*/ 2147483647 h 86"/>
                <a:gd name="T44" fmla="*/ 2147483647 w 67"/>
                <a:gd name="T45" fmla="*/ 2147483647 h 86"/>
                <a:gd name="T46" fmla="*/ 2147483647 w 67"/>
                <a:gd name="T47" fmla="*/ 2147483647 h 86"/>
                <a:gd name="T48" fmla="*/ 2147483647 w 67"/>
                <a:gd name="T49" fmla="*/ 2147483647 h 86"/>
                <a:gd name="T50" fmla="*/ 2147483647 w 67"/>
                <a:gd name="T51" fmla="*/ 2147483647 h 86"/>
                <a:gd name="T52" fmla="*/ 2147483647 w 67"/>
                <a:gd name="T53" fmla="*/ 2147483647 h 86"/>
                <a:gd name="T54" fmla="*/ 2147483647 w 67"/>
                <a:gd name="T55" fmla="*/ 2147483647 h 86"/>
                <a:gd name="T56" fmla="*/ 2147483647 w 67"/>
                <a:gd name="T57" fmla="*/ 2147483647 h 86"/>
                <a:gd name="T58" fmla="*/ 2147483647 w 67"/>
                <a:gd name="T59" fmla="*/ 2147483647 h 86"/>
                <a:gd name="T60" fmla="*/ 2147483647 w 67"/>
                <a:gd name="T61" fmla="*/ 2147483647 h 86"/>
                <a:gd name="T62" fmla="*/ 2147483647 w 67"/>
                <a:gd name="T63" fmla="*/ 2147483647 h 86"/>
                <a:gd name="T64" fmla="*/ 2147483647 w 67"/>
                <a:gd name="T65" fmla="*/ 2147483647 h 86"/>
                <a:gd name="T66" fmla="*/ 2147483647 w 67"/>
                <a:gd name="T67" fmla="*/ 2147483647 h 86"/>
                <a:gd name="T68" fmla="*/ 2147483647 w 67"/>
                <a:gd name="T69" fmla="*/ 2147483647 h 86"/>
                <a:gd name="T70" fmla="*/ 2147483647 w 67"/>
                <a:gd name="T71" fmla="*/ 2147483647 h 86"/>
                <a:gd name="T72" fmla="*/ 2147483647 w 67"/>
                <a:gd name="T73" fmla="*/ 2147483647 h 86"/>
                <a:gd name="T74" fmla="*/ 2147483647 w 67"/>
                <a:gd name="T75" fmla="*/ 2147483647 h 86"/>
                <a:gd name="T76" fmla="*/ 2147483647 w 67"/>
                <a:gd name="T77" fmla="*/ 2147483647 h 86"/>
                <a:gd name="T78" fmla="*/ 2147483647 w 67"/>
                <a:gd name="T79" fmla="*/ 2147483647 h 86"/>
                <a:gd name="T80" fmla="*/ 2147483647 w 67"/>
                <a:gd name="T81" fmla="*/ 2147483647 h 86"/>
                <a:gd name="T82" fmla="*/ 2147483647 w 67"/>
                <a:gd name="T83" fmla="*/ 2147483647 h 86"/>
                <a:gd name="T84" fmla="*/ 2147483647 w 67"/>
                <a:gd name="T85" fmla="*/ 2147483647 h 86"/>
                <a:gd name="T86" fmla="*/ 2147483647 w 67"/>
                <a:gd name="T87" fmla="*/ 2147483647 h 86"/>
                <a:gd name="T88" fmla="*/ 2147483647 w 67"/>
                <a:gd name="T89" fmla="*/ 2147483647 h 86"/>
                <a:gd name="T90" fmla="*/ 2147483647 w 67"/>
                <a:gd name="T91" fmla="*/ 2147483647 h 86"/>
                <a:gd name="T92" fmla="*/ 2147483647 w 67"/>
                <a:gd name="T93" fmla="*/ 2147483647 h 86"/>
                <a:gd name="T94" fmla="*/ 2147483647 w 67"/>
                <a:gd name="T95" fmla="*/ 2147483647 h 86"/>
                <a:gd name="T96" fmla="*/ 2147483647 w 67"/>
                <a:gd name="T97" fmla="*/ 2147483647 h 86"/>
                <a:gd name="T98" fmla="*/ 2147483647 w 67"/>
                <a:gd name="T99" fmla="*/ 2147483647 h 86"/>
                <a:gd name="T100" fmla="*/ 2147483647 w 67"/>
                <a:gd name="T101" fmla="*/ 2147483647 h 86"/>
                <a:gd name="T102" fmla="*/ 2147483647 w 67"/>
                <a:gd name="T103" fmla="*/ 2147483647 h 86"/>
                <a:gd name="T104" fmla="*/ 2147483647 w 67"/>
                <a:gd name="T105" fmla="*/ 2147483647 h 86"/>
                <a:gd name="T106" fmla="*/ 2147483647 w 67"/>
                <a:gd name="T107" fmla="*/ 2147483647 h 86"/>
                <a:gd name="T108" fmla="*/ 2147483647 w 67"/>
                <a:gd name="T109" fmla="*/ 2147483647 h 86"/>
                <a:gd name="T110" fmla="*/ 2147483647 w 67"/>
                <a:gd name="T111" fmla="*/ 2147483647 h 86"/>
                <a:gd name="T112" fmla="*/ 2147483647 w 67"/>
                <a:gd name="T113" fmla="*/ 2147483647 h 86"/>
                <a:gd name="T114" fmla="*/ 2147483647 w 67"/>
                <a:gd name="T115" fmla="*/ 2147483647 h 86"/>
                <a:gd name="T116" fmla="*/ 2147483647 w 67"/>
                <a:gd name="T117" fmla="*/ 0 h 86"/>
                <a:gd name="T118" fmla="*/ 2147483647 w 67"/>
                <a:gd name="T119" fmla="*/ 0 h 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7"/>
                <a:gd name="T181" fmla="*/ 0 h 86"/>
                <a:gd name="T182" fmla="*/ 67 w 67"/>
                <a:gd name="T183" fmla="*/ 86 h 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7" h="86">
                  <a:moveTo>
                    <a:pt x="14" y="0"/>
                  </a:moveTo>
                  <a:lnTo>
                    <a:pt x="14" y="0"/>
                  </a:lnTo>
                  <a:lnTo>
                    <a:pt x="14" y="6"/>
                  </a:lnTo>
                  <a:lnTo>
                    <a:pt x="13" y="12"/>
                  </a:lnTo>
                  <a:lnTo>
                    <a:pt x="10" y="18"/>
                  </a:lnTo>
                  <a:lnTo>
                    <a:pt x="6" y="24"/>
                  </a:lnTo>
                  <a:lnTo>
                    <a:pt x="3" y="30"/>
                  </a:lnTo>
                  <a:lnTo>
                    <a:pt x="1" y="36"/>
                  </a:lnTo>
                  <a:lnTo>
                    <a:pt x="0" y="41"/>
                  </a:lnTo>
                  <a:lnTo>
                    <a:pt x="1" y="47"/>
                  </a:lnTo>
                  <a:lnTo>
                    <a:pt x="4" y="54"/>
                  </a:lnTo>
                  <a:lnTo>
                    <a:pt x="5" y="61"/>
                  </a:lnTo>
                  <a:lnTo>
                    <a:pt x="9" y="75"/>
                  </a:lnTo>
                  <a:lnTo>
                    <a:pt x="13" y="83"/>
                  </a:lnTo>
                  <a:lnTo>
                    <a:pt x="22" y="86"/>
                  </a:lnTo>
                  <a:lnTo>
                    <a:pt x="25" y="85"/>
                  </a:lnTo>
                  <a:lnTo>
                    <a:pt x="27" y="85"/>
                  </a:lnTo>
                  <a:lnTo>
                    <a:pt x="28" y="82"/>
                  </a:lnTo>
                  <a:lnTo>
                    <a:pt x="29" y="77"/>
                  </a:lnTo>
                  <a:lnTo>
                    <a:pt x="29" y="74"/>
                  </a:lnTo>
                  <a:lnTo>
                    <a:pt x="32" y="73"/>
                  </a:lnTo>
                  <a:lnTo>
                    <a:pt x="36" y="70"/>
                  </a:lnTo>
                  <a:lnTo>
                    <a:pt x="41" y="70"/>
                  </a:lnTo>
                  <a:lnTo>
                    <a:pt x="44" y="72"/>
                  </a:lnTo>
                  <a:lnTo>
                    <a:pt x="50" y="74"/>
                  </a:lnTo>
                  <a:lnTo>
                    <a:pt x="55" y="75"/>
                  </a:lnTo>
                  <a:lnTo>
                    <a:pt x="60" y="76"/>
                  </a:lnTo>
                  <a:lnTo>
                    <a:pt x="60" y="72"/>
                  </a:lnTo>
                  <a:lnTo>
                    <a:pt x="62" y="68"/>
                  </a:lnTo>
                  <a:lnTo>
                    <a:pt x="65" y="64"/>
                  </a:lnTo>
                  <a:lnTo>
                    <a:pt x="67" y="60"/>
                  </a:lnTo>
                  <a:lnTo>
                    <a:pt x="67" y="55"/>
                  </a:lnTo>
                  <a:lnTo>
                    <a:pt x="66" y="51"/>
                  </a:lnTo>
                  <a:lnTo>
                    <a:pt x="62" y="47"/>
                  </a:lnTo>
                  <a:lnTo>
                    <a:pt x="60" y="42"/>
                  </a:lnTo>
                  <a:lnTo>
                    <a:pt x="58" y="37"/>
                  </a:lnTo>
                  <a:lnTo>
                    <a:pt x="57" y="32"/>
                  </a:lnTo>
                  <a:lnTo>
                    <a:pt x="57" y="28"/>
                  </a:lnTo>
                  <a:lnTo>
                    <a:pt x="58" y="23"/>
                  </a:lnTo>
                  <a:lnTo>
                    <a:pt x="61" y="17"/>
                  </a:lnTo>
                  <a:lnTo>
                    <a:pt x="63" y="13"/>
                  </a:lnTo>
                  <a:lnTo>
                    <a:pt x="58" y="10"/>
                  </a:lnTo>
                  <a:lnTo>
                    <a:pt x="52" y="6"/>
                  </a:lnTo>
                  <a:lnTo>
                    <a:pt x="44" y="6"/>
                  </a:lnTo>
                  <a:lnTo>
                    <a:pt x="37" y="5"/>
                  </a:lnTo>
                  <a:lnTo>
                    <a:pt x="14"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89" name="Freeform 888"/>
            <p:cNvSpPr>
              <a:spLocks/>
            </p:cNvSpPr>
            <p:nvPr/>
          </p:nvSpPr>
          <p:spPr bwMode="auto">
            <a:xfrm>
              <a:off x="2965451" y="4243389"/>
              <a:ext cx="76200" cy="114300"/>
            </a:xfrm>
            <a:custGeom>
              <a:avLst/>
              <a:gdLst>
                <a:gd name="T0" fmla="*/ 2147483647 w 52"/>
                <a:gd name="T1" fmla="*/ 0 h 72"/>
                <a:gd name="T2" fmla="*/ 2147483647 w 52"/>
                <a:gd name="T3" fmla="*/ 2147483647 h 72"/>
                <a:gd name="T4" fmla="*/ 0 w 52"/>
                <a:gd name="T5" fmla="*/ 2147483647 h 72"/>
                <a:gd name="T6" fmla="*/ 2147483647 w 52"/>
                <a:gd name="T7" fmla="*/ 2147483647 h 72"/>
                <a:gd name="T8" fmla="*/ 2147483647 w 52"/>
                <a:gd name="T9" fmla="*/ 2147483647 h 72"/>
                <a:gd name="T10" fmla="*/ 2147483647 w 52"/>
                <a:gd name="T11" fmla="*/ 2147483647 h 72"/>
                <a:gd name="T12" fmla="*/ 2147483647 w 52"/>
                <a:gd name="T13" fmla="*/ 2147483647 h 72"/>
                <a:gd name="T14" fmla="*/ 2147483647 w 52"/>
                <a:gd name="T15" fmla="*/ 2147483647 h 72"/>
                <a:gd name="T16" fmla="*/ 2147483647 w 52"/>
                <a:gd name="T17" fmla="*/ 2147483647 h 72"/>
                <a:gd name="T18" fmla="*/ 2147483647 w 52"/>
                <a:gd name="T19" fmla="*/ 2147483647 h 72"/>
                <a:gd name="T20" fmla="*/ 2147483647 w 52"/>
                <a:gd name="T21" fmla="*/ 2147483647 h 72"/>
                <a:gd name="T22" fmla="*/ 2147483647 w 52"/>
                <a:gd name="T23" fmla="*/ 2147483647 h 72"/>
                <a:gd name="T24" fmla="*/ 2147483647 w 52"/>
                <a:gd name="T25" fmla="*/ 2147483647 h 72"/>
                <a:gd name="T26" fmla="*/ 2147483647 w 52"/>
                <a:gd name="T27" fmla="*/ 2147483647 h 72"/>
                <a:gd name="T28" fmla="*/ 2147483647 w 52"/>
                <a:gd name="T29" fmla="*/ 2147483647 h 72"/>
                <a:gd name="T30" fmla="*/ 2147483647 w 52"/>
                <a:gd name="T31" fmla="*/ 2147483647 h 72"/>
                <a:gd name="T32" fmla="*/ 2147483647 w 52"/>
                <a:gd name="T33" fmla="*/ 2147483647 h 72"/>
                <a:gd name="T34" fmla="*/ 2147483647 w 52"/>
                <a:gd name="T35" fmla="*/ 2147483647 h 72"/>
                <a:gd name="T36" fmla="*/ 2147483647 w 52"/>
                <a:gd name="T37" fmla="*/ 2147483647 h 72"/>
                <a:gd name="T38" fmla="*/ 2147483647 w 52"/>
                <a:gd name="T39" fmla="*/ 2147483647 h 72"/>
                <a:gd name="T40" fmla="*/ 2147483647 w 52"/>
                <a:gd name="T41" fmla="*/ 2147483647 h 72"/>
                <a:gd name="T42" fmla="*/ 2147483647 w 52"/>
                <a:gd name="T43" fmla="*/ 2147483647 h 72"/>
                <a:gd name="T44" fmla="*/ 2147483647 w 52"/>
                <a:gd name="T45" fmla="*/ 2147483647 h 72"/>
                <a:gd name="T46" fmla="*/ 2147483647 w 52"/>
                <a:gd name="T47" fmla="*/ 2147483647 h 72"/>
                <a:gd name="T48" fmla="*/ 2147483647 w 52"/>
                <a:gd name="T49" fmla="*/ 2147483647 h 72"/>
                <a:gd name="T50" fmla="*/ 2147483647 w 52"/>
                <a:gd name="T51" fmla="*/ 2147483647 h 72"/>
                <a:gd name="T52" fmla="*/ 2147483647 w 52"/>
                <a:gd name="T53" fmla="*/ 2147483647 h 72"/>
                <a:gd name="T54" fmla="*/ 2147483647 w 52"/>
                <a:gd name="T55" fmla="*/ 2147483647 h 72"/>
                <a:gd name="T56" fmla="*/ 2147483647 w 52"/>
                <a:gd name="T57" fmla="*/ 2147483647 h 72"/>
                <a:gd name="T58" fmla="*/ 2147483647 w 52"/>
                <a:gd name="T59" fmla="*/ 0 h 72"/>
                <a:gd name="T60" fmla="*/ 2147483647 w 52"/>
                <a:gd name="T61" fmla="*/ 0 h 72"/>
                <a:gd name="T62" fmla="*/ 2147483647 w 52"/>
                <a:gd name="T63" fmla="*/ 0 h 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72"/>
                <a:gd name="T98" fmla="*/ 52 w 52"/>
                <a:gd name="T99" fmla="*/ 72 h 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72">
                  <a:moveTo>
                    <a:pt x="6" y="0"/>
                  </a:moveTo>
                  <a:lnTo>
                    <a:pt x="6" y="0"/>
                  </a:lnTo>
                  <a:lnTo>
                    <a:pt x="4" y="4"/>
                  </a:lnTo>
                  <a:lnTo>
                    <a:pt x="1" y="10"/>
                  </a:lnTo>
                  <a:lnTo>
                    <a:pt x="0" y="15"/>
                  </a:lnTo>
                  <a:lnTo>
                    <a:pt x="0" y="19"/>
                  </a:lnTo>
                  <a:lnTo>
                    <a:pt x="1" y="24"/>
                  </a:lnTo>
                  <a:lnTo>
                    <a:pt x="3" y="29"/>
                  </a:lnTo>
                  <a:lnTo>
                    <a:pt x="5" y="34"/>
                  </a:lnTo>
                  <a:lnTo>
                    <a:pt x="9" y="38"/>
                  </a:lnTo>
                  <a:lnTo>
                    <a:pt x="10" y="42"/>
                  </a:lnTo>
                  <a:lnTo>
                    <a:pt x="10" y="47"/>
                  </a:lnTo>
                  <a:lnTo>
                    <a:pt x="8" y="51"/>
                  </a:lnTo>
                  <a:lnTo>
                    <a:pt x="5" y="55"/>
                  </a:lnTo>
                  <a:lnTo>
                    <a:pt x="3" y="59"/>
                  </a:lnTo>
                  <a:lnTo>
                    <a:pt x="3" y="63"/>
                  </a:lnTo>
                  <a:lnTo>
                    <a:pt x="5" y="64"/>
                  </a:lnTo>
                  <a:lnTo>
                    <a:pt x="6" y="67"/>
                  </a:lnTo>
                  <a:lnTo>
                    <a:pt x="8" y="69"/>
                  </a:lnTo>
                  <a:lnTo>
                    <a:pt x="10" y="72"/>
                  </a:lnTo>
                  <a:lnTo>
                    <a:pt x="13" y="72"/>
                  </a:lnTo>
                  <a:lnTo>
                    <a:pt x="14" y="72"/>
                  </a:lnTo>
                  <a:lnTo>
                    <a:pt x="17" y="68"/>
                  </a:lnTo>
                  <a:lnTo>
                    <a:pt x="20" y="67"/>
                  </a:lnTo>
                  <a:lnTo>
                    <a:pt x="26" y="64"/>
                  </a:lnTo>
                  <a:lnTo>
                    <a:pt x="33" y="64"/>
                  </a:lnTo>
                  <a:lnTo>
                    <a:pt x="38" y="62"/>
                  </a:lnTo>
                  <a:lnTo>
                    <a:pt x="41" y="60"/>
                  </a:lnTo>
                  <a:lnTo>
                    <a:pt x="42" y="56"/>
                  </a:lnTo>
                  <a:lnTo>
                    <a:pt x="43" y="53"/>
                  </a:lnTo>
                  <a:lnTo>
                    <a:pt x="45" y="48"/>
                  </a:lnTo>
                  <a:lnTo>
                    <a:pt x="46" y="42"/>
                  </a:lnTo>
                  <a:lnTo>
                    <a:pt x="47" y="36"/>
                  </a:lnTo>
                  <a:lnTo>
                    <a:pt x="48" y="30"/>
                  </a:lnTo>
                  <a:lnTo>
                    <a:pt x="50" y="24"/>
                  </a:lnTo>
                  <a:lnTo>
                    <a:pt x="51" y="19"/>
                  </a:lnTo>
                  <a:lnTo>
                    <a:pt x="51" y="18"/>
                  </a:lnTo>
                  <a:lnTo>
                    <a:pt x="52" y="17"/>
                  </a:lnTo>
                  <a:lnTo>
                    <a:pt x="50" y="11"/>
                  </a:lnTo>
                  <a:lnTo>
                    <a:pt x="48" y="10"/>
                  </a:lnTo>
                  <a:lnTo>
                    <a:pt x="46" y="11"/>
                  </a:lnTo>
                  <a:lnTo>
                    <a:pt x="43" y="11"/>
                  </a:lnTo>
                  <a:lnTo>
                    <a:pt x="39" y="11"/>
                  </a:lnTo>
                  <a:lnTo>
                    <a:pt x="39" y="9"/>
                  </a:lnTo>
                  <a:lnTo>
                    <a:pt x="33" y="8"/>
                  </a:lnTo>
                  <a:lnTo>
                    <a:pt x="27" y="5"/>
                  </a:lnTo>
                  <a:lnTo>
                    <a:pt x="15" y="0"/>
                  </a:lnTo>
                  <a:lnTo>
                    <a:pt x="14" y="0"/>
                  </a:lnTo>
                  <a:lnTo>
                    <a:pt x="12" y="0"/>
                  </a:lnTo>
                  <a:lnTo>
                    <a:pt x="9" y="0"/>
                  </a:lnTo>
                  <a:lnTo>
                    <a:pt x="6"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0" name="Freeform 889"/>
            <p:cNvSpPr>
              <a:spLocks/>
            </p:cNvSpPr>
            <p:nvPr/>
          </p:nvSpPr>
          <p:spPr bwMode="auto">
            <a:xfrm>
              <a:off x="2466979" y="3795717"/>
              <a:ext cx="73025" cy="66675"/>
            </a:xfrm>
            <a:custGeom>
              <a:avLst/>
              <a:gdLst>
                <a:gd name="T0" fmla="*/ 2147483647 w 49"/>
                <a:gd name="T1" fmla="*/ 2147483647 h 42"/>
                <a:gd name="T2" fmla="*/ 2147483647 w 49"/>
                <a:gd name="T3" fmla="*/ 2147483647 h 42"/>
                <a:gd name="T4" fmla="*/ 2147483647 w 49"/>
                <a:gd name="T5" fmla="*/ 2147483647 h 42"/>
                <a:gd name="T6" fmla="*/ 2147483647 w 49"/>
                <a:gd name="T7" fmla="*/ 2147483647 h 42"/>
                <a:gd name="T8" fmla="*/ 2147483647 w 49"/>
                <a:gd name="T9" fmla="*/ 2147483647 h 42"/>
                <a:gd name="T10" fmla="*/ 2147483647 w 49"/>
                <a:gd name="T11" fmla="*/ 2147483647 h 42"/>
                <a:gd name="T12" fmla="*/ 2147483647 w 49"/>
                <a:gd name="T13" fmla="*/ 2147483647 h 42"/>
                <a:gd name="T14" fmla="*/ 2147483647 w 49"/>
                <a:gd name="T15" fmla="*/ 2147483647 h 42"/>
                <a:gd name="T16" fmla="*/ 2147483647 w 49"/>
                <a:gd name="T17" fmla="*/ 2147483647 h 42"/>
                <a:gd name="T18" fmla="*/ 2147483647 w 49"/>
                <a:gd name="T19" fmla="*/ 2147483647 h 42"/>
                <a:gd name="T20" fmla="*/ 2147483647 w 49"/>
                <a:gd name="T21" fmla="*/ 2147483647 h 42"/>
                <a:gd name="T22" fmla="*/ 2147483647 w 49"/>
                <a:gd name="T23" fmla="*/ 2147483647 h 42"/>
                <a:gd name="T24" fmla="*/ 2147483647 w 49"/>
                <a:gd name="T25" fmla="*/ 2147483647 h 42"/>
                <a:gd name="T26" fmla="*/ 2147483647 w 49"/>
                <a:gd name="T27" fmla="*/ 2147483647 h 42"/>
                <a:gd name="T28" fmla="*/ 2147483647 w 49"/>
                <a:gd name="T29" fmla="*/ 0 h 42"/>
                <a:gd name="T30" fmla="*/ 2147483647 w 49"/>
                <a:gd name="T31" fmla="*/ 0 h 42"/>
                <a:gd name="T32" fmla="*/ 2147483647 w 49"/>
                <a:gd name="T33" fmla="*/ 2147483647 h 42"/>
                <a:gd name="T34" fmla="*/ 2147483647 w 49"/>
                <a:gd name="T35" fmla="*/ 2147483647 h 42"/>
                <a:gd name="T36" fmla="*/ 2147483647 w 49"/>
                <a:gd name="T37" fmla="*/ 2147483647 h 42"/>
                <a:gd name="T38" fmla="*/ 2147483647 w 49"/>
                <a:gd name="T39" fmla="*/ 2147483647 h 42"/>
                <a:gd name="T40" fmla="*/ 2147483647 w 49"/>
                <a:gd name="T41" fmla="*/ 2147483647 h 42"/>
                <a:gd name="T42" fmla="*/ 2147483647 w 49"/>
                <a:gd name="T43" fmla="*/ 2147483647 h 42"/>
                <a:gd name="T44" fmla="*/ 2147483647 w 49"/>
                <a:gd name="T45" fmla="*/ 2147483647 h 42"/>
                <a:gd name="T46" fmla="*/ 2147483647 w 49"/>
                <a:gd name="T47" fmla="*/ 2147483647 h 42"/>
                <a:gd name="T48" fmla="*/ 2147483647 w 49"/>
                <a:gd name="T49" fmla="*/ 2147483647 h 42"/>
                <a:gd name="T50" fmla="*/ 2147483647 w 49"/>
                <a:gd name="T51" fmla="*/ 2147483647 h 42"/>
                <a:gd name="T52" fmla="*/ 2147483647 w 49"/>
                <a:gd name="T53" fmla="*/ 2147483647 h 42"/>
                <a:gd name="T54" fmla="*/ 2147483647 w 49"/>
                <a:gd name="T55" fmla="*/ 2147483647 h 42"/>
                <a:gd name="T56" fmla="*/ 2147483647 w 49"/>
                <a:gd name="T57" fmla="*/ 2147483647 h 42"/>
                <a:gd name="T58" fmla="*/ 2147483647 w 49"/>
                <a:gd name="T59" fmla="*/ 2147483647 h 42"/>
                <a:gd name="T60" fmla="*/ 2147483647 w 49"/>
                <a:gd name="T61" fmla="*/ 2147483647 h 42"/>
                <a:gd name="T62" fmla="*/ 2147483647 w 49"/>
                <a:gd name="T63" fmla="*/ 2147483647 h 42"/>
                <a:gd name="T64" fmla="*/ 2147483647 w 49"/>
                <a:gd name="T65" fmla="*/ 2147483647 h 42"/>
                <a:gd name="T66" fmla="*/ 0 w 49"/>
                <a:gd name="T67" fmla="*/ 2147483647 h 42"/>
                <a:gd name="T68" fmla="*/ 0 w 49"/>
                <a:gd name="T69" fmla="*/ 2147483647 h 42"/>
                <a:gd name="T70" fmla="*/ 2147483647 w 49"/>
                <a:gd name="T71" fmla="*/ 2147483647 h 42"/>
                <a:gd name="T72" fmla="*/ 2147483647 w 49"/>
                <a:gd name="T73" fmla="*/ 2147483647 h 42"/>
                <a:gd name="T74" fmla="*/ 2147483647 w 49"/>
                <a:gd name="T75" fmla="*/ 2147483647 h 42"/>
                <a:gd name="T76" fmla="*/ 2147483647 w 49"/>
                <a:gd name="T77" fmla="*/ 2147483647 h 42"/>
                <a:gd name="T78" fmla="*/ 2147483647 w 49"/>
                <a:gd name="T79" fmla="*/ 2147483647 h 42"/>
                <a:gd name="T80" fmla="*/ 2147483647 w 49"/>
                <a:gd name="T81" fmla="*/ 2147483647 h 42"/>
                <a:gd name="T82" fmla="*/ 2147483647 w 49"/>
                <a:gd name="T83" fmla="*/ 2147483647 h 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
                <a:gd name="T127" fmla="*/ 0 h 42"/>
                <a:gd name="T128" fmla="*/ 49 w 49"/>
                <a:gd name="T129" fmla="*/ 42 h 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 h="42">
                  <a:moveTo>
                    <a:pt x="43" y="42"/>
                  </a:moveTo>
                  <a:lnTo>
                    <a:pt x="46" y="41"/>
                  </a:lnTo>
                  <a:lnTo>
                    <a:pt x="47" y="38"/>
                  </a:lnTo>
                  <a:lnTo>
                    <a:pt x="47" y="36"/>
                  </a:lnTo>
                  <a:lnTo>
                    <a:pt x="47" y="33"/>
                  </a:lnTo>
                  <a:lnTo>
                    <a:pt x="44" y="29"/>
                  </a:lnTo>
                  <a:lnTo>
                    <a:pt x="43" y="28"/>
                  </a:lnTo>
                  <a:lnTo>
                    <a:pt x="44" y="25"/>
                  </a:lnTo>
                  <a:lnTo>
                    <a:pt x="47" y="20"/>
                  </a:lnTo>
                  <a:lnTo>
                    <a:pt x="48" y="16"/>
                  </a:lnTo>
                  <a:lnTo>
                    <a:pt x="49" y="10"/>
                  </a:lnTo>
                  <a:lnTo>
                    <a:pt x="49" y="4"/>
                  </a:lnTo>
                  <a:lnTo>
                    <a:pt x="43" y="4"/>
                  </a:lnTo>
                  <a:lnTo>
                    <a:pt x="38" y="3"/>
                  </a:lnTo>
                  <a:lnTo>
                    <a:pt x="32" y="0"/>
                  </a:lnTo>
                  <a:lnTo>
                    <a:pt x="23" y="0"/>
                  </a:lnTo>
                  <a:lnTo>
                    <a:pt x="20" y="1"/>
                  </a:lnTo>
                  <a:lnTo>
                    <a:pt x="18" y="3"/>
                  </a:lnTo>
                  <a:lnTo>
                    <a:pt x="16" y="5"/>
                  </a:lnTo>
                  <a:lnTo>
                    <a:pt x="18" y="9"/>
                  </a:lnTo>
                  <a:lnTo>
                    <a:pt x="19" y="11"/>
                  </a:lnTo>
                  <a:lnTo>
                    <a:pt x="21" y="12"/>
                  </a:lnTo>
                  <a:lnTo>
                    <a:pt x="26" y="16"/>
                  </a:lnTo>
                  <a:lnTo>
                    <a:pt x="29" y="17"/>
                  </a:lnTo>
                  <a:lnTo>
                    <a:pt x="30" y="19"/>
                  </a:lnTo>
                  <a:lnTo>
                    <a:pt x="32" y="20"/>
                  </a:lnTo>
                  <a:lnTo>
                    <a:pt x="29" y="23"/>
                  </a:lnTo>
                  <a:lnTo>
                    <a:pt x="26" y="25"/>
                  </a:lnTo>
                  <a:lnTo>
                    <a:pt x="24" y="25"/>
                  </a:lnTo>
                  <a:lnTo>
                    <a:pt x="16" y="25"/>
                  </a:lnTo>
                  <a:lnTo>
                    <a:pt x="9" y="25"/>
                  </a:lnTo>
                  <a:lnTo>
                    <a:pt x="5" y="25"/>
                  </a:lnTo>
                  <a:lnTo>
                    <a:pt x="1" y="28"/>
                  </a:lnTo>
                  <a:lnTo>
                    <a:pt x="0" y="29"/>
                  </a:lnTo>
                  <a:lnTo>
                    <a:pt x="0" y="30"/>
                  </a:lnTo>
                  <a:lnTo>
                    <a:pt x="2" y="33"/>
                  </a:lnTo>
                  <a:lnTo>
                    <a:pt x="5" y="35"/>
                  </a:lnTo>
                  <a:lnTo>
                    <a:pt x="9" y="36"/>
                  </a:lnTo>
                  <a:lnTo>
                    <a:pt x="18" y="36"/>
                  </a:lnTo>
                  <a:lnTo>
                    <a:pt x="26" y="36"/>
                  </a:lnTo>
                  <a:lnTo>
                    <a:pt x="35" y="38"/>
                  </a:lnTo>
                  <a:lnTo>
                    <a:pt x="43" y="4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1" name="Freeform 890"/>
            <p:cNvSpPr>
              <a:spLocks/>
            </p:cNvSpPr>
            <p:nvPr/>
          </p:nvSpPr>
          <p:spPr bwMode="auto">
            <a:xfrm>
              <a:off x="2174875" y="4075113"/>
              <a:ext cx="84138" cy="80962"/>
            </a:xfrm>
            <a:custGeom>
              <a:avLst/>
              <a:gdLst>
                <a:gd name="T0" fmla="*/ 2147483647 w 58"/>
                <a:gd name="T1" fmla="*/ 2147483647 h 51"/>
                <a:gd name="T2" fmla="*/ 2147483647 w 58"/>
                <a:gd name="T3" fmla="*/ 2147483647 h 51"/>
                <a:gd name="T4" fmla="*/ 2147483647 w 58"/>
                <a:gd name="T5" fmla="*/ 2147483647 h 51"/>
                <a:gd name="T6" fmla="*/ 2147483647 w 58"/>
                <a:gd name="T7" fmla="*/ 2147483647 h 51"/>
                <a:gd name="T8" fmla="*/ 2147483647 w 58"/>
                <a:gd name="T9" fmla="*/ 2147483647 h 51"/>
                <a:gd name="T10" fmla="*/ 2147483647 w 58"/>
                <a:gd name="T11" fmla="*/ 2147483647 h 51"/>
                <a:gd name="T12" fmla="*/ 2147483647 w 58"/>
                <a:gd name="T13" fmla="*/ 2147483647 h 51"/>
                <a:gd name="T14" fmla="*/ 2147483647 w 58"/>
                <a:gd name="T15" fmla="*/ 2147483647 h 51"/>
                <a:gd name="T16" fmla="*/ 2147483647 w 58"/>
                <a:gd name="T17" fmla="*/ 2147483647 h 51"/>
                <a:gd name="T18" fmla="*/ 2147483647 w 58"/>
                <a:gd name="T19" fmla="*/ 2147483647 h 51"/>
                <a:gd name="T20" fmla="*/ 2147483647 w 58"/>
                <a:gd name="T21" fmla="*/ 2147483647 h 51"/>
                <a:gd name="T22" fmla="*/ 2147483647 w 58"/>
                <a:gd name="T23" fmla="*/ 2147483647 h 51"/>
                <a:gd name="T24" fmla="*/ 2147483647 w 58"/>
                <a:gd name="T25" fmla="*/ 2147483647 h 51"/>
                <a:gd name="T26" fmla="*/ 2147483647 w 58"/>
                <a:gd name="T27" fmla="*/ 2147483647 h 51"/>
                <a:gd name="T28" fmla="*/ 2147483647 w 58"/>
                <a:gd name="T29" fmla="*/ 2147483647 h 51"/>
                <a:gd name="T30" fmla="*/ 2147483647 w 58"/>
                <a:gd name="T31" fmla="*/ 2147483647 h 51"/>
                <a:gd name="T32" fmla="*/ 2147483647 w 58"/>
                <a:gd name="T33" fmla="*/ 2147483647 h 51"/>
                <a:gd name="T34" fmla="*/ 2147483647 w 58"/>
                <a:gd name="T35" fmla="*/ 2147483647 h 51"/>
                <a:gd name="T36" fmla="*/ 2147483647 w 58"/>
                <a:gd name="T37" fmla="*/ 2147483647 h 51"/>
                <a:gd name="T38" fmla="*/ 2147483647 w 58"/>
                <a:gd name="T39" fmla="*/ 2147483647 h 51"/>
                <a:gd name="T40" fmla="*/ 2147483647 w 58"/>
                <a:gd name="T41" fmla="*/ 2147483647 h 51"/>
                <a:gd name="T42" fmla="*/ 2147483647 w 58"/>
                <a:gd name="T43" fmla="*/ 2147483647 h 51"/>
                <a:gd name="T44" fmla="*/ 2147483647 w 58"/>
                <a:gd name="T45" fmla="*/ 2147483647 h 51"/>
                <a:gd name="T46" fmla="*/ 2147483647 w 58"/>
                <a:gd name="T47" fmla="*/ 2147483647 h 51"/>
                <a:gd name="T48" fmla="*/ 2147483647 w 58"/>
                <a:gd name="T49" fmla="*/ 2147483647 h 51"/>
                <a:gd name="T50" fmla="*/ 2147483647 w 58"/>
                <a:gd name="T51" fmla="*/ 2147483647 h 51"/>
                <a:gd name="T52" fmla="*/ 2147483647 w 58"/>
                <a:gd name="T53" fmla="*/ 2147483647 h 51"/>
                <a:gd name="T54" fmla="*/ 2147483647 w 58"/>
                <a:gd name="T55" fmla="*/ 2147483647 h 51"/>
                <a:gd name="T56" fmla="*/ 2147483647 w 58"/>
                <a:gd name="T57" fmla="*/ 2147483647 h 51"/>
                <a:gd name="T58" fmla="*/ 2147483647 w 58"/>
                <a:gd name="T59" fmla="*/ 2147483647 h 51"/>
                <a:gd name="T60" fmla="*/ 2147483647 w 58"/>
                <a:gd name="T61" fmla="*/ 2147483647 h 51"/>
                <a:gd name="T62" fmla="*/ 2147483647 w 58"/>
                <a:gd name="T63" fmla="*/ 2147483647 h 51"/>
                <a:gd name="T64" fmla="*/ 2147483647 w 58"/>
                <a:gd name="T65" fmla="*/ 2147483647 h 51"/>
                <a:gd name="T66" fmla="*/ 2147483647 w 58"/>
                <a:gd name="T67" fmla="*/ 2147483647 h 51"/>
                <a:gd name="T68" fmla="*/ 2147483647 w 58"/>
                <a:gd name="T69" fmla="*/ 2147483647 h 51"/>
                <a:gd name="T70" fmla="*/ 2147483647 w 58"/>
                <a:gd name="T71" fmla="*/ 2147483647 h 51"/>
                <a:gd name="T72" fmla="*/ 2147483647 w 58"/>
                <a:gd name="T73" fmla="*/ 2147483647 h 51"/>
                <a:gd name="T74" fmla="*/ 0 w 58"/>
                <a:gd name="T75" fmla="*/ 2147483647 h 51"/>
                <a:gd name="T76" fmla="*/ 2147483647 w 58"/>
                <a:gd name="T77" fmla="*/ 2147483647 h 51"/>
                <a:gd name="T78" fmla="*/ 2147483647 w 58"/>
                <a:gd name="T79" fmla="*/ 0 h 51"/>
                <a:gd name="T80" fmla="*/ 2147483647 w 58"/>
                <a:gd name="T81" fmla="*/ 2147483647 h 51"/>
                <a:gd name="T82" fmla="*/ 2147483647 w 58"/>
                <a:gd name="T83" fmla="*/ 2147483647 h 51"/>
                <a:gd name="T84" fmla="*/ 2147483647 w 58"/>
                <a:gd name="T85" fmla="*/ 2147483647 h 51"/>
                <a:gd name="T86" fmla="*/ 2147483647 w 58"/>
                <a:gd name="T87" fmla="*/ 2147483647 h 51"/>
                <a:gd name="T88" fmla="*/ 2147483647 w 58"/>
                <a:gd name="T89" fmla="*/ 2147483647 h 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51"/>
                <a:gd name="T137" fmla="*/ 58 w 58"/>
                <a:gd name="T138" fmla="*/ 51 h 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51">
                  <a:moveTo>
                    <a:pt x="36" y="2"/>
                  </a:moveTo>
                  <a:lnTo>
                    <a:pt x="39" y="4"/>
                  </a:lnTo>
                  <a:lnTo>
                    <a:pt x="41" y="7"/>
                  </a:lnTo>
                  <a:lnTo>
                    <a:pt x="42" y="12"/>
                  </a:lnTo>
                  <a:lnTo>
                    <a:pt x="44" y="19"/>
                  </a:lnTo>
                  <a:lnTo>
                    <a:pt x="46" y="20"/>
                  </a:lnTo>
                  <a:lnTo>
                    <a:pt x="49" y="21"/>
                  </a:lnTo>
                  <a:lnTo>
                    <a:pt x="51" y="21"/>
                  </a:lnTo>
                  <a:lnTo>
                    <a:pt x="55" y="22"/>
                  </a:lnTo>
                  <a:lnTo>
                    <a:pt x="51" y="29"/>
                  </a:lnTo>
                  <a:lnTo>
                    <a:pt x="51" y="33"/>
                  </a:lnTo>
                  <a:lnTo>
                    <a:pt x="53" y="35"/>
                  </a:lnTo>
                  <a:lnTo>
                    <a:pt x="56" y="42"/>
                  </a:lnTo>
                  <a:lnTo>
                    <a:pt x="58" y="46"/>
                  </a:lnTo>
                  <a:lnTo>
                    <a:pt x="55" y="50"/>
                  </a:lnTo>
                  <a:lnTo>
                    <a:pt x="50" y="50"/>
                  </a:lnTo>
                  <a:lnTo>
                    <a:pt x="45" y="51"/>
                  </a:lnTo>
                  <a:lnTo>
                    <a:pt x="42" y="51"/>
                  </a:lnTo>
                  <a:lnTo>
                    <a:pt x="41" y="50"/>
                  </a:lnTo>
                  <a:lnTo>
                    <a:pt x="39" y="46"/>
                  </a:lnTo>
                  <a:lnTo>
                    <a:pt x="39" y="41"/>
                  </a:lnTo>
                  <a:lnTo>
                    <a:pt x="37" y="36"/>
                  </a:lnTo>
                  <a:lnTo>
                    <a:pt x="36" y="35"/>
                  </a:lnTo>
                  <a:lnTo>
                    <a:pt x="35" y="34"/>
                  </a:lnTo>
                  <a:lnTo>
                    <a:pt x="31" y="33"/>
                  </a:lnTo>
                  <a:lnTo>
                    <a:pt x="28" y="31"/>
                  </a:lnTo>
                  <a:lnTo>
                    <a:pt x="26" y="28"/>
                  </a:lnTo>
                  <a:lnTo>
                    <a:pt x="23" y="27"/>
                  </a:lnTo>
                  <a:lnTo>
                    <a:pt x="22" y="27"/>
                  </a:lnTo>
                  <a:lnTo>
                    <a:pt x="21" y="28"/>
                  </a:lnTo>
                  <a:lnTo>
                    <a:pt x="21" y="31"/>
                  </a:lnTo>
                  <a:lnTo>
                    <a:pt x="19" y="31"/>
                  </a:lnTo>
                  <a:lnTo>
                    <a:pt x="14" y="32"/>
                  </a:lnTo>
                  <a:lnTo>
                    <a:pt x="9" y="29"/>
                  </a:lnTo>
                  <a:lnTo>
                    <a:pt x="7" y="27"/>
                  </a:lnTo>
                  <a:lnTo>
                    <a:pt x="4" y="22"/>
                  </a:lnTo>
                  <a:lnTo>
                    <a:pt x="3" y="14"/>
                  </a:lnTo>
                  <a:lnTo>
                    <a:pt x="0" y="4"/>
                  </a:lnTo>
                  <a:lnTo>
                    <a:pt x="3" y="2"/>
                  </a:lnTo>
                  <a:lnTo>
                    <a:pt x="4" y="0"/>
                  </a:lnTo>
                  <a:lnTo>
                    <a:pt x="13" y="1"/>
                  </a:lnTo>
                  <a:lnTo>
                    <a:pt x="21" y="2"/>
                  </a:lnTo>
                  <a:lnTo>
                    <a:pt x="28" y="3"/>
                  </a:lnTo>
                  <a:lnTo>
                    <a:pt x="32" y="3"/>
                  </a:lnTo>
                  <a:lnTo>
                    <a:pt x="36"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2" name="Freeform 891"/>
            <p:cNvSpPr>
              <a:spLocks/>
            </p:cNvSpPr>
            <p:nvPr/>
          </p:nvSpPr>
          <p:spPr bwMode="auto">
            <a:xfrm>
              <a:off x="2466976" y="3794129"/>
              <a:ext cx="71438" cy="66675"/>
            </a:xfrm>
            <a:custGeom>
              <a:avLst/>
              <a:gdLst>
                <a:gd name="T0" fmla="*/ 2147483647 w 49"/>
                <a:gd name="T1" fmla="*/ 2147483647 h 42"/>
                <a:gd name="T2" fmla="*/ 2147483647 w 49"/>
                <a:gd name="T3" fmla="*/ 2147483647 h 42"/>
                <a:gd name="T4" fmla="*/ 2147483647 w 49"/>
                <a:gd name="T5" fmla="*/ 2147483647 h 42"/>
                <a:gd name="T6" fmla="*/ 2147483647 w 49"/>
                <a:gd name="T7" fmla="*/ 2147483647 h 42"/>
                <a:gd name="T8" fmla="*/ 2147483647 w 49"/>
                <a:gd name="T9" fmla="*/ 2147483647 h 42"/>
                <a:gd name="T10" fmla="*/ 2147483647 w 49"/>
                <a:gd name="T11" fmla="*/ 2147483647 h 42"/>
                <a:gd name="T12" fmla="*/ 2147483647 w 49"/>
                <a:gd name="T13" fmla="*/ 2147483647 h 42"/>
                <a:gd name="T14" fmla="*/ 2147483647 w 49"/>
                <a:gd name="T15" fmla="*/ 2147483647 h 42"/>
                <a:gd name="T16" fmla="*/ 2147483647 w 49"/>
                <a:gd name="T17" fmla="*/ 2147483647 h 42"/>
                <a:gd name="T18" fmla="*/ 2147483647 w 49"/>
                <a:gd name="T19" fmla="*/ 2147483647 h 42"/>
                <a:gd name="T20" fmla="*/ 2147483647 w 49"/>
                <a:gd name="T21" fmla="*/ 2147483647 h 42"/>
                <a:gd name="T22" fmla="*/ 2147483647 w 49"/>
                <a:gd name="T23" fmla="*/ 2147483647 h 42"/>
                <a:gd name="T24" fmla="*/ 2147483647 w 49"/>
                <a:gd name="T25" fmla="*/ 2147483647 h 42"/>
                <a:gd name="T26" fmla="*/ 2147483647 w 49"/>
                <a:gd name="T27" fmla="*/ 2147483647 h 42"/>
                <a:gd name="T28" fmla="*/ 2147483647 w 49"/>
                <a:gd name="T29" fmla="*/ 2147483647 h 42"/>
                <a:gd name="T30" fmla="*/ 2147483647 w 49"/>
                <a:gd name="T31" fmla="*/ 2147483647 h 42"/>
                <a:gd name="T32" fmla="*/ 2147483647 w 49"/>
                <a:gd name="T33" fmla="*/ 2147483647 h 42"/>
                <a:gd name="T34" fmla="*/ 2147483647 w 49"/>
                <a:gd name="T35" fmla="*/ 2147483647 h 42"/>
                <a:gd name="T36" fmla="*/ 2147483647 w 49"/>
                <a:gd name="T37" fmla="*/ 2147483647 h 42"/>
                <a:gd name="T38" fmla="*/ 2147483647 w 49"/>
                <a:gd name="T39" fmla="*/ 0 h 42"/>
                <a:gd name="T40" fmla="*/ 2147483647 w 49"/>
                <a:gd name="T41" fmla="*/ 0 h 42"/>
                <a:gd name="T42" fmla="*/ 2147483647 w 49"/>
                <a:gd name="T43" fmla="*/ 2147483647 h 42"/>
                <a:gd name="T44" fmla="*/ 2147483647 w 49"/>
                <a:gd name="T45" fmla="*/ 2147483647 h 42"/>
                <a:gd name="T46" fmla="*/ 2147483647 w 49"/>
                <a:gd name="T47" fmla="*/ 2147483647 h 42"/>
                <a:gd name="T48" fmla="*/ 2147483647 w 49"/>
                <a:gd name="T49" fmla="*/ 2147483647 h 42"/>
                <a:gd name="T50" fmla="*/ 2147483647 w 49"/>
                <a:gd name="T51" fmla="*/ 2147483647 h 42"/>
                <a:gd name="T52" fmla="*/ 2147483647 w 49"/>
                <a:gd name="T53" fmla="*/ 2147483647 h 42"/>
                <a:gd name="T54" fmla="*/ 2147483647 w 49"/>
                <a:gd name="T55" fmla="*/ 2147483647 h 42"/>
                <a:gd name="T56" fmla="*/ 2147483647 w 49"/>
                <a:gd name="T57" fmla="*/ 2147483647 h 42"/>
                <a:gd name="T58" fmla="*/ 2147483647 w 49"/>
                <a:gd name="T59" fmla="*/ 2147483647 h 42"/>
                <a:gd name="T60" fmla="*/ 2147483647 w 49"/>
                <a:gd name="T61" fmla="*/ 2147483647 h 42"/>
                <a:gd name="T62" fmla="*/ 2147483647 w 49"/>
                <a:gd name="T63" fmla="*/ 2147483647 h 42"/>
                <a:gd name="T64" fmla="*/ 2147483647 w 49"/>
                <a:gd name="T65" fmla="*/ 2147483647 h 42"/>
                <a:gd name="T66" fmla="*/ 2147483647 w 49"/>
                <a:gd name="T67" fmla="*/ 2147483647 h 42"/>
                <a:gd name="T68" fmla="*/ 2147483647 w 49"/>
                <a:gd name="T69" fmla="*/ 2147483647 h 42"/>
                <a:gd name="T70" fmla="*/ 2147483647 w 49"/>
                <a:gd name="T71" fmla="*/ 2147483647 h 42"/>
                <a:gd name="T72" fmla="*/ 2147483647 w 49"/>
                <a:gd name="T73" fmla="*/ 2147483647 h 42"/>
                <a:gd name="T74" fmla="*/ 2147483647 w 49"/>
                <a:gd name="T75" fmla="*/ 2147483647 h 42"/>
                <a:gd name="T76" fmla="*/ 2147483647 w 49"/>
                <a:gd name="T77" fmla="*/ 2147483647 h 42"/>
                <a:gd name="T78" fmla="*/ 2147483647 w 49"/>
                <a:gd name="T79" fmla="*/ 2147483647 h 42"/>
                <a:gd name="T80" fmla="*/ 2147483647 w 49"/>
                <a:gd name="T81" fmla="*/ 2147483647 h 42"/>
                <a:gd name="T82" fmla="*/ 0 w 49"/>
                <a:gd name="T83" fmla="*/ 2147483647 h 42"/>
                <a:gd name="T84" fmla="*/ 0 w 49"/>
                <a:gd name="T85" fmla="*/ 2147483647 h 42"/>
                <a:gd name="T86" fmla="*/ 2147483647 w 49"/>
                <a:gd name="T87" fmla="*/ 2147483647 h 42"/>
                <a:gd name="T88" fmla="*/ 2147483647 w 49"/>
                <a:gd name="T89" fmla="*/ 2147483647 h 42"/>
                <a:gd name="T90" fmla="*/ 2147483647 w 49"/>
                <a:gd name="T91" fmla="*/ 2147483647 h 42"/>
                <a:gd name="T92" fmla="*/ 2147483647 w 49"/>
                <a:gd name="T93" fmla="*/ 2147483647 h 42"/>
                <a:gd name="T94" fmla="*/ 2147483647 w 49"/>
                <a:gd name="T95" fmla="*/ 2147483647 h 42"/>
                <a:gd name="T96" fmla="*/ 2147483647 w 49"/>
                <a:gd name="T97" fmla="*/ 2147483647 h 42"/>
                <a:gd name="T98" fmla="*/ 2147483647 w 49"/>
                <a:gd name="T99" fmla="*/ 2147483647 h 42"/>
                <a:gd name="T100" fmla="*/ 2147483647 w 49"/>
                <a:gd name="T101" fmla="*/ 2147483647 h 42"/>
                <a:gd name="T102" fmla="*/ 2147483647 w 49"/>
                <a:gd name="T103" fmla="*/ 2147483647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9"/>
                <a:gd name="T157" fmla="*/ 0 h 42"/>
                <a:gd name="T158" fmla="*/ 49 w 49"/>
                <a:gd name="T159" fmla="*/ 42 h 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9" h="42">
                  <a:moveTo>
                    <a:pt x="43" y="42"/>
                  </a:moveTo>
                  <a:lnTo>
                    <a:pt x="43" y="42"/>
                  </a:lnTo>
                  <a:lnTo>
                    <a:pt x="45" y="40"/>
                  </a:lnTo>
                  <a:lnTo>
                    <a:pt x="47" y="38"/>
                  </a:lnTo>
                  <a:lnTo>
                    <a:pt x="47" y="36"/>
                  </a:lnTo>
                  <a:lnTo>
                    <a:pt x="47" y="33"/>
                  </a:lnTo>
                  <a:lnTo>
                    <a:pt x="44" y="29"/>
                  </a:lnTo>
                  <a:lnTo>
                    <a:pt x="43" y="27"/>
                  </a:lnTo>
                  <a:lnTo>
                    <a:pt x="44" y="25"/>
                  </a:lnTo>
                  <a:lnTo>
                    <a:pt x="47" y="20"/>
                  </a:lnTo>
                  <a:lnTo>
                    <a:pt x="48" y="15"/>
                  </a:lnTo>
                  <a:lnTo>
                    <a:pt x="49" y="10"/>
                  </a:lnTo>
                  <a:lnTo>
                    <a:pt x="49" y="4"/>
                  </a:lnTo>
                  <a:lnTo>
                    <a:pt x="43" y="4"/>
                  </a:lnTo>
                  <a:lnTo>
                    <a:pt x="38" y="2"/>
                  </a:lnTo>
                  <a:lnTo>
                    <a:pt x="31" y="0"/>
                  </a:lnTo>
                  <a:lnTo>
                    <a:pt x="22" y="0"/>
                  </a:lnTo>
                  <a:lnTo>
                    <a:pt x="20" y="1"/>
                  </a:lnTo>
                  <a:lnTo>
                    <a:pt x="17" y="2"/>
                  </a:lnTo>
                  <a:lnTo>
                    <a:pt x="16" y="5"/>
                  </a:lnTo>
                  <a:lnTo>
                    <a:pt x="17" y="8"/>
                  </a:lnTo>
                  <a:lnTo>
                    <a:pt x="19" y="11"/>
                  </a:lnTo>
                  <a:lnTo>
                    <a:pt x="21" y="12"/>
                  </a:lnTo>
                  <a:lnTo>
                    <a:pt x="26" y="15"/>
                  </a:lnTo>
                  <a:lnTo>
                    <a:pt x="29" y="17"/>
                  </a:lnTo>
                  <a:lnTo>
                    <a:pt x="30" y="19"/>
                  </a:lnTo>
                  <a:lnTo>
                    <a:pt x="31" y="20"/>
                  </a:lnTo>
                  <a:lnTo>
                    <a:pt x="29" y="23"/>
                  </a:lnTo>
                  <a:lnTo>
                    <a:pt x="26" y="25"/>
                  </a:lnTo>
                  <a:lnTo>
                    <a:pt x="24" y="25"/>
                  </a:lnTo>
                  <a:lnTo>
                    <a:pt x="16" y="25"/>
                  </a:lnTo>
                  <a:lnTo>
                    <a:pt x="8" y="25"/>
                  </a:lnTo>
                  <a:lnTo>
                    <a:pt x="5" y="25"/>
                  </a:lnTo>
                  <a:lnTo>
                    <a:pt x="1" y="27"/>
                  </a:lnTo>
                  <a:lnTo>
                    <a:pt x="0" y="29"/>
                  </a:lnTo>
                  <a:lnTo>
                    <a:pt x="0" y="30"/>
                  </a:lnTo>
                  <a:lnTo>
                    <a:pt x="2" y="33"/>
                  </a:lnTo>
                  <a:lnTo>
                    <a:pt x="5" y="34"/>
                  </a:lnTo>
                  <a:lnTo>
                    <a:pt x="8" y="36"/>
                  </a:lnTo>
                  <a:lnTo>
                    <a:pt x="17" y="36"/>
                  </a:lnTo>
                  <a:lnTo>
                    <a:pt x="26" y="36"/>
                  </a:lnTo>
                  <a:lnTo>
                    <a:pt x="35" y="38"/>
                  </a:lnTo>
                  <a:lnTo>
                    <a:pt x="43" y="4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3" name="Freeform 892"/>
            <p:cNvSpPr>
              <a:spLocks/>
            </p:cNvSpPr>
            <p:nvPr/>
          </p:nvSpPr>
          <p:spPr bwMode="auto">
            <a:xfrm>
              <a:off x="2173290" y="4073526"/>
              <a:ext cx="84137" cy="80963"/>
            </a:xfrm>
            <a:custGeom>
              <a:avLst/>
              <a:gdLst>
                <a:gd name="T0" fmla="*/ 2147483647 w 57"/>
                <a:gd name="T1" fmla="*/ 2147483647 h 51"/>
                <a:gd name="T2" fmla="*/ 2147483647 w 57"/>
                <a:gd name="T3" fmla="*/ 2147483647 h 51"/>
                <a:gd name="T4" fmla="*/ 2147483647 w 57"/>
                <a:gd name="T5" fmla="*/ 2147483647 h 51"/>
                <a:gd name="T6" fmla="*/ 2147483647 w 57"/>
                <a:gd name="T7" fmla="*/ 2147483647 h 51"/>
                <a:gd name="T8" fmla="*/ 2147483647 w 57"/>
                <a:gd name="T9" fmla="*/ 2147483647 h 51"/>
                <a:gd name="T10" fmla="*/ 2147483647 w 57"/>
                <a:gd name="T11" fmla="*/ 2147483647 h 51"/>
                <a:gd name="T12" fmla="*/ 2147483647 w 57"/>
                <a:gd name="T13" fmla="*/ 2147483647 h 51"/>
                <a:gd name="T14" fmla="*/ 2147483647 w 57"/>
                <a:gd name="T15" fmla="*/ 2147483647 h 51"/>
                <a:gd name="T16" fmla="*/ 2147483647 w 57"/>
                <a:gd name="T17" fmla="*/ 2147483647 h 51"/>
                <a:gd name="T18" fmla="*/ 2147483647 w 57"/>
                <a:gd name="T19" fmla="*/ 2147483647 h 51"/>
                <a:gd name="T20" fmla="*/ 2147483647 w 57"/>
                <a:gd name="T21" fmla="*/ 2147483647 h 51"/>
                <a:gd name="T22" fmla="*/ 2147483647 w 57"/>
                <a:gd name="T23" fmla="*/ 2147483647 h 51"/>
                <a:gd name="T24" fmla="*/ 2147483647 w 57"/>
                <a:gd name="T25" fmla="*/ 2147483647 h 51"/>
                <a:gd name="T26" fmla="*/ 2147483647 w 57"/>
                <a:gd name="T27" fmla="*/ 2147483647 h 51"/>
                <a:gd name="T28" fmla="*/ 2147483647 w 57"/>
                <a:gd name="T29" fmla="*/ 2147483647 h 51"/>
                <a:gd name="T30" fmla="*/ 2147483647 w 57"/>
                <a:gd name="T31" fmla="*/ 2147483647 h 51"/>
                <a:gd name="T32" fmla="*/ 2147483647 w 57"/>
                <a:gd name="T33" fmla="*/ 2147483647 h 51"/>
                <a:gd name="T34" fmla="*/ 2147483647 w 57"/>
                <a:gd name="T35" fmla="*/ 2147483647 h 51"/>
                <a:gd name="T36" fmla="*/ 2147483647 w 57"/>
                <a:gd name="T37" fmla="*/ 2147483647 h 51"/>
                <a:gd name="T38" fmla="*/ 2147483647 w 57"/>
                <a:gd name="T39" fmla="*/ 2147483647 h 51"/>
                <a:gd name="T40" fmla="*/ 2147483647 w 57"/>
                <a:gd name="T41" fmla="*/ 2147483647 h 51"/>
                <a:gd name="T42" fmla="*/ 2147483647 w 57"/>
                <a:gd name="T43" fmla="*/ 2147483647 h 51"/>
                <a:gd name="T44" fmla="*/ 2147483647 w 57"/>
                <a:gd name="T45" fmla="*/ 2147483647 h 51"/>
                <a:gd name="T46" fmla="*/ 2147483647 w 57"/>
                <a:gd name="T47" fmla="*/ 2147483647 h 51"/>
                <a:gd name="T48" fmla="*/ 2147483647 w 57"/>
                <a:gd name="T49" fmla="*/ 2147483647 h 51"/>
                <a:gd name="T50" fmla="*/ 2147483647 w 57"/>
                <a:gd name="T51" fmla="*/ 2147483647 h 51"/>
                <a:gd name="T52" fmla="*/ 2147483647 w 57"/>
                <a:gd name="T53" fmla="*/ 2147483647 h 51"/>
                <a:gd name="T54" fmla="*/ 2147483647 w 57"/>
                <a:gd name="T55" fmla="*/ 2147483647 h 51"/>
                <a:gd name="T56" fmla="*/ 2147483647 w 57"/>
                <a:gd name="T57" fmla="*/ 2147483647 h 51"/>
                <a:gd name="T58" fmla="*/ 2147483647 w 57"/>
                <a:gd name="T59" fmla="*/ 2147483647 h 51"/>
                <a:gd name="T60" fmla="*/ 2147483647 w 57"/>
                <a:gd name="T61" fmla="*/ 2147483647 h 51"/>
                <a:gd name="T62" fmla="*/ 2147483647 w 57"/>
                <a:gd name="T63" fmla="*/ 2147483647 h 51"/>
                <a:gd name="T64" fmla="*/ 2147483647 w 57"/>
                <a:gd name="T65" fmla="*/ 2147483647 h 51"/>
                <a:gd name="T66" fmla="*/ 2147483647 w 57"/>
                <a:gd name="T67" fmla="*/ 2147483647 h 51"/>
                <a:gd name="T68" fmla="*/ 2147483647 w 57"/>
                <a:gd name="T69" fmla="*/ 2147483647 h 51"/>
                <a:gd name="T70" fmla="*/ 2147483647 w 57"/>
                <a:gd name="T71" fmla="*/ 2147483647 h 51"/>
                <a:gd name="T72" fmla="*/ 2147483647 w 57"/>
                <a:gd name="T73" fmla="*/ 2147483647 h 51"/>
                <a:gd name="T74" fmla="*/ 2147483647 w 57"/>
                <a:gd name="T75" fmla="*/ 2147483647 h 51"/>
                <a:gd name="T76" fmla="*/ 2147483647 w 57"/>
                <a:gd name="T77" fmla="*/ 2147483647 h 51"/>
                <a:gd name="T78" fmla="*/ 2147483647 w 57"/>
                <a:gd name="T79" fmla="*/ 2147483647 h 51"/>
                <a:gd name="T80" fmla="*/ 2147483647 w 57"/>
                <a:gd name="T81" fmla="*/ 2147483647 h 51"/>
                <a:gd name="T82" fmla="*/ 2147483647 w 57"/>
                <a:gd name="T83" fmla="*/ 2147483647 h 51"/>
                <a:gd name="T84" fmla="*/ 2147483647 w 57"/>
                <a:gd name="T85" fmla="*/ 2147483647 h 51"/>
                <a:gd name="T86" fmla="*/ 2147483647 w 57"/>
                <a:gd name="T87" fmla="*/ 2147483647 h 51"/>
                <a:gd name="T88" fmla="*/ 2147483647 w 57"/>
                <a:gd name="T89" fmla="*/ 2147483647 h 51"/>
                <a:gd name="T90" fmla="*/ 2147483647 w 57"/>
                <a:gd name="T91" fmla="*/ 2147483647 h 51"/>
                <a:gd name="T92" fmla="*/ 2147483647 w 57"/>
                <a:gd name="T93" fmla="*/ 2147483647 h 51"/>
                <a:gd name="T94" fmla="*/ 2147483647 w 57"/>
                <a:gd name="T95" fmla="*/ 2147483647 h 51"/>
                <a:gd name="T96" fmla="*/ 2147483647 w 57"/>
                <a:gd name="T97" fmla="*/ 2147483647 h 51"/>
                <a:gd name="T98" fmla="*/ 0 w 57"/>
                <a:gd name="T99" fmla="*/ 2147483647 h 51"/>
                <a:gd name="T100" fmla="*/ 0 w 57"/>
                <a:gd name="T101" fmla="*/ 2147483647 h 51"/>
                <a:gd name="T102" fmla="*/ 2147483647 w 57"/>
                <a:gd name="T103" fmla="*/ 2147483647 h 51"/>
                <a:gd name="T104" fmla="*/ 2147483647 w 57"/>
                <a:gd name="T105" fmla="*/ 0 h 51"/>
                <a:gd name="T106" fmla="*/ 2147483647 w 57"/>
                <a:gd name="T107" fmla="*/ 0 h 51"/>
                <a:gd name="T108" fmla="*/ 2147483647 w 57"/>
                <a:gd name="T109" fmla="*/ 2147483647 h 51"/>
                <a:gd name="T110" fmla="*/ 2147483647 w 57"/>
                <a:gd name="T111" fmla="*/ 2147483647 h 51"/>
                <a:gd name="T112" fmla="*/ 2147483647 w 57"/>
                <a:gd name="T113" fmla="*/ 2147483647 h 51"/>
                <a:gd name="T114" fmla="*/ 2147483647 w 57"/>
                <a:gd name="T115" fmla="*/ 2147483647 h 51"/>
                <a:gd name="T116" fmla="*/ 2147483647 w 57"/>
                <a:gd name="T117" fmla="*/ 2147483647 h 51"/>
                <a:gd name="T118" fmla="*/ 2147483647 w 57"/>
                <a:gd name="T119" fmla="*/ 2147483647 h 5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7"/>
                <a:gd name="T181" fmla="*/ 0 h 51"/>
                <a:gd name="T182" fmla="*/ 57 w 57"/>
                <a:gd name="T183" fmla="*/ 51 h 5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7" h="51">
                  <a:moveTo>
                    <a:pt x="36" y="2"/>
                  </a:moveTo>
                  <a:lnTo>
                    <a:pt x="36" y="2"/>
                  </a:lnTo>
                  <a:lnTo>
                    <a:pt x="38" y="4"/>
                  </a:lnTo>
                  <a:lnTo>
                    <a:pt x="41" y="7"/>
                  </a:lnTo>
                  <a:lnTo>
                    <a:pt x="42" y="11"/>
                  </a:lnTo>
                  <a:lnTo>
                    <a:pt x="43" y="19"/>
                  </a:lnTo>
                  <a:lnTo>
                    <a:pt x="46" y="20"/>
                  </a:lnTo>
                  <a:lnTo>
                    <a:pt x="48" y="21"/>
                  </a:lnTo>
                  <a:lnTo>
                    <a:pt x="51" y="21"/>
                  </a:lnTo>
                  <a:lnTo>
                    <a:pt x="55" y="22"/>
                  </a:lnTo>
                  <a:lnTo>
                    <a:pt x="51" y="29"/>
                  </a:lnTo>
                  <a:lnTo>
                    <a:pt x="51" y="33"/>
                  </a:lnTo>
                  <a:lnTo>
                    <a:pt x="52" y="35"/>
                  </a:lnTo>
                  <a:lnTo>
                    <a:pt x="56" y="42"/>
                  </a:lnTo>
                  <a:lnTo>
                    <a:pt x="57" y="46"/>
                  </a:lnTo>
                  <a:lnTo>
                    <a:pt x="55" y="49"/>
                  </a:lnTo>
                  <a:lnTo>
                    <a:pt x="50" y="49"/>
                  </a:lnTo>
                  <a:lnTo>
                    <a:pt x="45" y="51"/>
                  </a:lnTo>
                  <a:lnTo>
                    <a:pt x="42" y="51"/>
                  </a:lnTo>
                  <a:lnTo>
                    <a:pt x="41" y="49"/>
                  </a:lnTo>
                  <a:lnTo>
                    <a:pt x="38" y="46"/>
                  </a:lnTo>
                  <a:lnTo>
                    <a:pt x="38" y="41"/>
                  </a:lnTo>
                  <a:lnTo>
                    <a:pt x="37" y="36"/>
                  </a:lnTo>
                  <a:lnTo>
                    <a:pt x="36" y="35"/>
                  </a:lnTo>
                  <a:lnTo>
                    <a:pt x="34" y="34"/>
                  </a:lnTo>
                  <a:lnTo>
                    <a:pt x="31" y="33"/>
                  </a:lnTo>
                  <a:lnTo>
                    <a:pt x="28" y="30"/>
                  </a:lnTo>
                  <a:lnTo>
                    <a:pt x="26" y="28"/>
                  </a:lnTo>
                  <a:lnTo>
                    <a:pt x="23" y="27"/>
                  </a:lnTo>
                  <a:lnTo>
                    <a:pt x="22" y="27"/>
                  </a:lnTo>
                  <a:lnTo>
                    <a:pt x="20" y="28"/>
                  </a:lnTo>
                  <a:lnTo>
                    <a:pt x="20" y="30"/>
                  </a:lnTo>
                  <a:lnTo>
                    <a:pt x="19" y="30"/>
                  </a:lnTo>
                  <a:lnTo>
                    <a:pt x="14" y="32"/>
                  </a:lnTo>
                  <a:lnTo>
                    <a:pt x="9" y="29"/>
                  </a:lnTo>
                  <a:lnTo>
                    <a:pt x="7" y="27"/>
                  </a:lnTo>
                  <a:lnTo>
                    <a:pt x="4" y="22"/>
                  </a:lnTo>
                  <a:lnTo>
                    <a:pt x="3" y="14"/>
                  </a:lnTo>
                  <a:lnTo>
                    <a:pt x="0" y="4"/>
                  </a:lnTo>
                  <a:lnTo>
                    <a:pt x="3" y="2"/>
                  </a:lnTo>
                  <a:lnTo>
                    <a:pt x="4" y="0"/>
                  </a:lnTo>
                  <a:lnTo>
                    <a:pt x="13" y="1"/>
                  </a:lnTo>
                  <a:lnTo>
                    <a:pt x="20" y="2"/>
                  </a:lnTo>
                  <a:lnTo>
                    <a:pt x="28" y="3"/>
                  </a:lnTo>
                  <a:lnTo>
                    <a:pt x="32" y="3"/>
                  </a:lnTo>
                  <a:lnTo>
                    <a:pt x="36"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4" name="Freeform 893"/>
            <p:cNvSpPr>
              <a:spLocks/>
            </p:cNvSpPr>
            <p:nvPr/>
          </p:nvSpPr>
          <p:spPr bwMode="auto">
            <a:xfrm>
              <a:off x="2130426" y="3944942"/>
              <a:ext cx="109538" cy="136525"/>
            </a:xfrm>
            <a:custGeom>
              <a:avLst/>
              <a:gdLst>
                <a:gd name="T0" fmla="*/ 2147483647 w 75"/>
                <a:gd name="T1" fmla="*/ 2147483647 h 86"/>
                <a:gd name="T2" fmla="*/ 2147483647 w 75"/>
                <a:gd name="T3" fmla="*/ 2147483647 h 86"/>
                <a:gd name="T4" fmla="*/ 2147483647 w 75"/>
                <a:gd name="T5" fmla="*/ 2147483647 h 86"/>
                <a:gd name="T6" fmla="*/ 2147483647 w 75"/>
                <a:gd name="T7" fmla="*/ 2147483647 h 86"/>
                <a:gd name="T8" fmla="*/ 2147483647 w 75"/>
                <a:gd name="T9" fmla="*/ 2147483647 h 86"/>
                <a:gd name="T10" fmla="*/ 2147483647 w 75"/>
                <a:gd name="T11" fmla="*/ 2147483647 h 86"/>
                <a:gd name="T12" fmla="*/ 2147483647 w 75"/>
                <a:gd name="T13" fmla="*/ 2147483647 h 86"/>
                <a:gd name="T14" fmla="*/ 2147483647 w 75"/>
                <a:gd name="T15" fmla="*/ 2147483647 h 86"/>
                <a:gd name="T16" fmla="*/ 2147483647 w 75"/>
                <a:gd name="T17" fmla="*/ 2147483647 h 86"/>
                <a:gd name="T18" fmla="*/ 2147483647 w 75"/>
                <a:gd name="T19" fmla="*/ 2147483647 h 86"/>
                <a:gd name="T20" fmla="*/ 2147483647 w 75"/>
                <a:gd name="T21" fmla="*/ 2147483647 h 86"/>
                <a:gd name="T22" fmla="*/ 2147483647 w 75"/>
                <a:gd name="T23" fmla="*/ 2147483647 h 86"/>
                <a:gd name="T24" fmla="*/ 2147483647 w 75"/>
                <a:gd name="T25" fmla="*/ 2147483647 h 86"/>
                <a:gd name="T26" fmla="*/ 2147483647 w 75"/>
                <a:gd name="T27" fmla="*/ 2147483647 h 86"/>
                <a:gd name="T28" fmla="*/ 2147483647 w 75"/>
                <a:gd name="T29" fmla="*/ 2147483647 h 86"/>
                <a:gd name="T30" fmla="*/ 2147483647 w 75"/>
                <a:gd name="T31" fmla="*/ 2147483647 h 86"/>
                <a:gd name="T32" fmla="*/ 2147483647 w 75"/>
                <a:gd name="T33" fmla="*/ 2147483647 h 86"/>
                <a:gd name="T34" fmla="*/ 2147483647 w 75"/>
                <a:gd name="T35" fmla="*/ 2147483647 h 86"/>
                <a:gd name="T36" fmla="*/ 2147483647 w 75"/>
                <a:gd name="T37" fmla="*/ 2147483647 h 86"/>
                <a:gd name="T38" fmla="*/ 2147483647 w 75"/>
                <a:gd name="T39" fmla="*/ 2147483647 h 86"/>
                <a:gd name="T40" fmla="*/ 2147483647 w 75"/>
                <a:gd name="T41" fmla="*/ 0 h 86"/>
                <a:gd name="T42" fmla="*/ 2147483647 w 75"/>
                <a:gd name="T43" fmla="*/ 2147483647 h 86"/>
                <a:gd name="T44" fmla="*/ 2147483647 w 75"/>
                <a:gd name="T45" fmla="*/ 2147483647 h 86"/>
                <a:gd name="T46" fmla="*/ 2147483647 w 75"/>
                <a:gd name="T47" fmla="*/ 2147483647 h 86"/>
                <a:gd name="T48" fmla="*/ 2147483647 w 75"/>
                <a:gd name="T49" fmla="*/ 2147483647 h 86"/>
                <a:gd name="T50" fmla="*/ 2147483647 w 75"/>
                <a:gd name="T51" fmla="*/ 2147483647 h 86"/>
                <a:gd name="T52" fmla="*/ 2147483647 w 75"/>
                <a:gd name="T53" fmla="*/ 2147483647 h 86"/>
                <a:gd name="T54" fmla="*/ 2147483647 w 75"/>
                <a:gd name="T55" fmla="*/ 2147483647 h 86"/>
                <a:gd name="T56" fmla="*/ 2147483647 w 75"/>
                <a:gd name="T57" fmla="*/ 2147483647 h 86"/>
                <a:gd name="T58" fmla="*/ 2147483647 w 75"/>
                <a:gd name="T59" fmla="*/ 2147483647 h 86"/>
                <a:gd name="T60" fmla="*/ 2147483647 w 75"/>
                <a:gd name="T61" fmla="*/ 2147483647 h 86"/>
                <a:gd name="T62" fmla="*/ 2147483647 w 75"/>
                <a:gd name="T63" fmla="*/ 2147483647 h 86"/>
                <a:gd name="T64" fmla="*/ 2147483647 w 75"/>
                <a:gd name="T65" fmla="*/ 2147483647 h 86"/>
                <a:gd name="T66" fmla="*/ 2147483647 w 75"/>
                <a:gd name="T67" fmla="*/ 2147483647 h 86"/>
                <a:gd name="T68" fmla="*/ 2147483647 w 75"/>
                <a:gd name="T69" fmla="*/ 2147483647 h 86"/>
                <a:gd name="T70" fmla="*/ 2147483647 w 75"/>
                <a:gd name="T71" fmla="*/ 2147483647 h 86"/>
                <a:gd name="T72" fmla="*/ 2147483647 w 75"/>
                <a:gd name="T73" fmla="*/ 2147483647 h 86"/>
                <a:gd name="T74" fmla="*/ 2147483647 w 75"/>
                <a:gd name="T75" fmla="*/ 2147483647 h 86"/>
                <a:gd name="T76" fmla="*/ 0 w 75"/>
                <a:gd name="T77" fmla="*/ 2147483647 h 86"/>
                <a:gd name="T78" fmla="*/ 2147483647 w 75"/>
                <a:gd name="T79" fmla="*/ 2147483647 h 86"/>
                <a:gd name="T80" fmla="*/ 2147483647 w 75"/>
                <a:gd name="T81" fmla="*/ 2147483647 h 86"/>
                <a:gd name="T82" fmla="*/ 2147483647 w 75"/>
                <a:gd name="T83" fmla="*/ 2147483647 h 86"/>
                <a:gd name="T84" fmla="*/ 2147483647 w 75"/>
                <a:gd name="T85" fmla="*/ 2147483647 h 86"/>
                <a:gd name="T86" fmla="*/ 2147483647 w 75"/>
                <a:gd name="T87" fmla="*/ 2147483647 h 86"/>
                <a:gd name="T88" fmla="*/ 2147483647 w 75"/>
                <a:gd name="T89" fmla="*/ 2147483647 h 86"/>
                <a:gd name="T90" fmla="*/ 2147483647 w 75"/>
                <a:gd name="T91" fmla="*/ 2147483647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86"/>
                <a:gd name="T140" fmla="*/ 75 w 75"/>
                <a:gd name="T141" fmla="*/ 86 h 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86">
                  <a:moveTo>
                    <a:pt x="30" y="86"/>
                  </a:moveTo>
                  <a:lnTo>
                    <a:pt x="33" y="84"/>
                  </a:lnTo>
                  <a:lnTo>
                    <a:pt x="34" y="82"/>
                  </a:lnTo>
                  <a:lnTo>
                    <a:pt x="43" y="83"/>
                  </a:lnTo>
                  <a:lnTo>
                    <a:pt x="51" y="84"/>
                  </a:lnTo>
                  <a:lnTo>
                    <a:pt x="58" y="85"/>
                  </a:lnTo>
                  <a:lnTo>
                    <a:pt x="62" y="85"/>
                  </a:lnTo>
                  <a:lnTo>
                    <a:pt x="66" y="84"/>
                  </a:lnTo>
                  <a:lnTo>
                    <a:pt x="65" y="82"/>
                  </a:lnTo>
                  <a:lnTo>
                    <a:pt x="65" y="78"/>
                  </a:lnTo>
                  <a:lnTo>
                    <a:pt x="65" y="75"/>
                  </a:lnTo>
                  <a:lnTo>
                    <a:pt x="67" y="68"/>
                  </a:lnTo>
                  <a:lnTo>
                    <a:pt x="69" y="60"/>
                  </a:lnTo>
                  <a:lnTo>
                    <a:pt x="69" y="52"/>
                  </a:lnTo>
                  <a:lnTo>
                    <a:pt x="70" y="50"/>
                  </a:lnTo>
                  <a:lnTo>
                    <a:pt x="71" y="46"/>
                  </a:lnTo>
                  <a:lnTo>
                    <a:pt x="72" y="38"/>
                  </a:lnTo>
                  <a:lnTo>
                    <a:pt x="72" y="30"/>
                  </a:lnTo>
                  <a:lnTo>
                    <a:pt x="71" y="21"/>
                  </a:lnTo>
                  <a:lnTo>
                    <a:pt x="72" y="12"/>
                  </a:lnTo>
                  <a:lnTo>
                    <a:pt x="75" y="0"/>
                  </a:lnTo>
                  <a:lnTo>
                    <a:pt x="71" y="1"/>
                  </a:lnTo>
                  <a:lnTo>
                    <a:pt x="66" y="2"/>
                  </a:lnTo>
                  <a:lnTo>
                    <a:pt x="58" y="8"/>
                  </a:lnTo>
                  <a:lnTo>
                    <a:pt x="55" y="9"/>
                  </a:lnTo>
                  <a:lnTo>
                    <a:pt x="51" y="9"/>
                  </a:lnTo>
                  <a:lnTo>
                    <a:pt x="47" y="9"/>
                  </a:lnTo>
                  <a:lnTo>
                    <a:pt x="44" y="12"/>
                  </a:lnTo>
                  <a:lnTo>
                    <a:pt x="34" y="20"/>
                  </a:lnTo>
                  <a:lnTo>
                    <a:pt x="30" y="24"/>
                  </a:lnTo>
                  <a:lnTo>
                    <a:pt x="27" y="25"/>
                  </a:lnTo>
                  <a:lnTo>
                    <a:pt x="22" y="26"/>
                  </a:lnTo>
                  <a:lnTo>
                    <a:pt x="16" y="27"/>
                  </a:lnTo>
                  <a:lnTo>
                    <a:pt x="11" y="28"/>
                  </a:lnTo>
                  <a:lnTo>
                    <a:pt x="10" y="30"/>
                  </a:lnTo>
                  <a:lnTo>
                    <a:pt x="10" y="32"/>
                  </a:lnTo>
                  <a:lnTo>
                    <a:pt x="9" y="34"/>
                  </a:lnTo>
                  <a:lnTo>
                    <a:pt x="4" y="38"/>
                  </a:lnTo>
                  <a:lnTo>
                    <a:pt x="0" y="41"/>
                  </a:lnTo>
                  <a:lnTo>
                    <a:pt x="5" y="46"/>
                  </a:lnTo>
                  <a:lnTo>
                    <a:pt x="8" y="52"/>
                  </a:lnTo>
                  <a:lnTo>
                    <a:pt x="11" y="60"/>
                  </a:lnTo>
                  <a:lnTo>
                    <a:pt x="15" y="66"/>
                  </a:lnTo>
                  <a:lnTo>
                    <a:pt x="27" y="79"/>
                  </a:lnTo>
                  <a:lnTo>
                    <a:pt x="29" y="83"/>
                  </a:lnTo>
                  <a:lnTo>
                    <a:pt x="30" y="8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5" name="Freeform 894"/>
            <p:cNvSpPr>
              <a:spLocks/>
            </p:cNvSpPr>
            <p:nvPr/>
          </p:nvSpPr>
          <p:spPr bwMode="auto">
            <a:xfrm>
              <a:off x="2087563" y="3924300"/>
              <a:ext cx="152400" cy="85725"/>
            </a:xfrm>
            <a:custGeom>
              <a:avLst/>
              <a:gdLst>
                <a:gd name="T0" fmla="*/ 2147483647 w 104"/>
                <a:gd name="T1" fmla="*/ 2147483647 h 54"/>
                <a:gd name="T2" fmla="*/ 2147483647 w 104"/>
                <a:gd name="T3" fmla="*/ 2147483647 h 54"/>
                <a:gd name="T4" fmla="*/ 2147483647 w 104"/>
                <a:gd name="T5" fmla="*/ 2147483647 h 54"/>
                <a:gd name="T6" fmla="*/ 2147483647 w 104"/>
                <a:gd name="T7" fmla="*/ 2147483647 h 54"/>
                <a:gd name="T8" fmla="*/ 2147483647 w 104"/>
                <a:gd name="T9" fmla="*/ 2147483647 h 54"/>
                <a:gd name="T10" fmla="*/ 2147483647 w 104"/>
                <a:gd name="T11" fmla="*/ 2147483647 h 54"/>
                <a:gd name="T12" fmla="*/ 2147483647 w 104"/>
                <a:gd name="T13" fmla="*/ 2147483647 h 54"/>
                <a:gd name="T14" fmla="*/ 2147483647 w 104"/>
                <a:gd name="T15" fmla="*/ 2147483647 h 54"/>
                <a:gd name="T16" fmla="*/ 2147483647 w 104"/>
                <a:gd name="T17" fmla="*/ 2147483647 h 54"/>
                <a:gd name="T18" fmla="*/ 2147483647 w 104"/>
                <a:gd name="T19" fmla="*/ 2147483647 h 54"/>
                <a:gd name="T20" fmla="*/ 2147483647 w 104"/>
                <a:gd name="T21" fmla="*/ 2147483647 h 54"/>
                <a:gd name="T22" fmla="*/ 2147483647 w 104"/>
                <a:gd name="T23" fmla="*/ 2147483647 h 54"/>
                <a:gd name="T24" fmla="*/ 2147483647 w 104"/>
                <a:gd name="T25" fmla="*/ 2147483647 h 54"/>
                <a:gd name="T26" fmla="*/ 2147483647 w 104"/>
                <a:gd name="T27" fmla="*/ 2147483647 h 54"/>
                <a:gd name="T28" fmla="*/ 2147483647 w 104"/>
                <a:gd name="T29" fmla="*/ 2147483647 h 54"/>
                <a:gd name="T30" fmla="*/ 2147483647 w 104"/>
                <a:gd name="T31" fmla="*/ 2147483647 h 54"/>
                <a:gd name="T32" fmla="*/ 2147483647 w 104"/>
                <a:gd name="T33" fmla="*/ 2147483647 h 54"/>
                <a:gd name="T34" fmla="*/ 2147483647 w 104"/>
                <a:gd name="T35" fmla="*/ 2147483647 h 54"/>
                <a:gd name="T36" fmla="*/ 2147483647 w 104"/>
                <a:gd name="T37" fmla="*/ 2147483647 h 54"/>
                <a:gd name="T38" fmla="*/ 2147483647 w 104"/>
                <a:gd name="T39" fmla="*/ 2147483647 h 54"/>
                <a:gd name="T40" fmla="*/ 2147483647 w 104"/>
                <a:gd name="T41" fmla="*/ 2147483647 h 54"/>
                <a:gd name="T42" fmla="*/ 2147483647 w 104"/>
                <a:gd name="T43" fmla="*/ 2147483647 h 54"/>
                <a:gd name="T44" fmla="*/ 2147483647 w 104"/>
                <a:gd name="T45" fmla="*/ 2147483647 h 54"/>
                <a:gd name="T46" fmla="*/ 2147483647 w 104"/>
                <a:gd name="T47" fmla="*/ 0 h 54"/>
                <a:gd name="T48" fmla="*/ 2147483647 w 104"/>
                <a:gd name="T49" fmla="*/ 2147483647 h 54"/>
                <a:gd name="T50" fmla="*/ 2147483647 w 104"/>
                <a:gd name="T51" fmla="*/ 2147483647 h 54"/>
                <a:gd name="T52" fmla="*/ 2147483647 w 104"/>
                <a:gd name="T53" fmla="*/ 0 h 54"/>
                <a:gd name="T54" fmla="*/ 2147483647 w 104"/>
                <a:gd name="T55" fmla="*/ 0 h 54"/>
                <a:gd name="T56" fmla="*/ 2147483647 w 104"/>
                <a:gd name="T57" fmla="*/ 2147483647 h 54"/>
                <a:gd name="T58" fmla="*/ 2147483647 w 104"/>
                <a:gd name="T59" fmla="*/ 2147483647 h 54"/>
                <a:gd name="T60" fmla="*/ 2147483647 w 104"/>
                <a:gd name="T61" fmla="*/ 2147483647 h 54"/>
                <a:gd name="T62" fmla="*/ 2147483647 w 104"/>
                <a:gd name="T63" fmla="*/ 2147483647 h 54"/>
                <a:gd name="T64" fmla="*/ 2147483647 w 104"/>
                <a:gd name="T65" fmla="*/ 2147483647 h 54"/>
                <a:gd name="T66" fmla="*/ 2147483647 w 104"/>
                <a:gd name="T67" fmla="*/ 2147483647 h 54"/>
                <a:gd name="T68" fmla="*/ 2147483647 w 104"/>
                <a:gd name="T69" fmla="*/ 2147483647 h 54"/>
                <a:gd name="T70" fmla="*/ 2147483647 w 104"/>
                <a:gd name="T71" fmla="*/ 2147483647 h 54"/>
                <a:gd name="T72" fmla="*/ 0 w 104"/>
                <a:gd name="T73" fmla="*/ 2147483647 h 54"/>
                <a:gd name="T74" fmla="*/ 0 w 104"/>
                <a:gd name="T75" fmla="*/ 2147483647 h 54"/>
                <a:gd name="T76" fmla="*/ 0 w 104"/>
                <a:gd name="T77" fmla="*/ 2147483647 h 54"/>
                <a:gd name="T78" fmla="*/ 2147483647 w 104"/>
                <a:gd name="T79" fmla="*/ 2147483647 h 54"/>
                <a:gd name="T80" fmla="*/ 2147483647 w 104"/>
                <a:gd name="T81" fmla="*/ 2147483647 h 54"/>
                <a:gd name="T82" fmla="*/ 2147483647 w 104"/>
                <a:gd name="T83" fmla="*/ 2147483647 h 54"/>
                <a:gd name="T84" fmla="*/ 2147483647 w 104"/>
                <a:gd name="T85" fmla="*/ 2147483647 h 54"/>
                <a:gd name="T86" fmla="*/ 2147483647 w 104"/>
                <a:gd name="T87" fmla="*/ 2147483647 h 54"/>
                <a:gd name="T88" fmla="*/ 2147483647 w 104"/>
                <a:gd name="T89" fmla="*/ 2147483647 h 54"/>
                <a:gd name="T90" fmla="*/ 2147483647 w 104"/>
                <a:gd name="T91" fmla="*/ 2147483647 h 54"/>
                <a:gd name="T92" fmla="*/ 2147483647 w 104"/>
                <a:gd name="T93" fmla="*/ 2147483647 h 54"/>
                <a:gd name="T94" fmla="*/ 2147483647 w 104"/>
                <a:gd name="T95" fmla="*/ 2147483647 h 54"/>
                <a:gd name="T96" fmla="*/ 2147483647 w 104"/>
                <a:gd name="T97" fmla="*/ 2147483647 h 54"/>
                <a:gd name="T98" fmla="*/ 2147483647 w 104"/>
                <a:gd name="T99" fmla="*/ 2147483647 h 54"/>
                <a:gd name="T100" fmla="*/ 2147483647 w 104"/>
                <a:gd name="T101" fmla="*/ 2147483647 h 54"/>
                <a:gd name="T102" fmla="*/ 2147483647 w 104"/>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
                <a:gd name="T157" fmla="*/ 0 h 54"/>
                <a:gd name="T158" fmla="*/ 104 w 104"/>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 h="54">
                  <a:moveTo>
                    <a:pt x="29" y="54"/>
                  </a:moveTo>
                  <a:lnTo>
                    <a:pt x="33" y="51"/>
                  </a:lnTo>
                  <a:lnTo>
                    <a:pt x="38" y="47"/>
                  </a:lnTo>
                  <a:lnTo>
                    <a:pt x="39" y="45"/>
                  </a:lnTo>
                  <a:lnTo>
                    <a:pt x="39" y="43"/>
                  </a:lnTo>
                  <a:lnTo>
                    <a:pt x="40" y="41"/>
                  </a:lnTo>
                  <a:lnTo>
                    <a:pt x="45" y="40"/>
                  </a:lnTo>
                  <a:lnTo>
                    <a:pt x="51" y="39"/>
                  </a:lnTo>
                  <a:lnTo>
                    <a:pt x="56" y="38"/>
                  </a:lnTo>
                  <a:lnTo>
                    <a:pt x="59" y="37"/>
                  </a:lnTo>
                  <a:lnTo>
                    <a:pt x="63" y="33"/>
                  </a:lnTo>
                  <a:lnTo>
                    <a:pt x="73" y="25"/>
                  </a:lnTo>
                  <a:lnTo>
                    <a:pt x="76" y="22"/>
                  </a:lnTo>
                  <a:lnTo>
                    <a:pt x="80" y="22"/>
                  </a:lnTo>
                  <a:lnTo>
                    <a:pt x="84" y="22"/>
                  </a:lnTo>
                  <a:lnTo>
                    <a:pt x="87" y="21"/>
                  </a:lnTo>
                  <a:lnTo>
                    <a:pt x="95" y="15"/>
                  </a:lnTo>
                  <a:lnTo>
                    <a:pt x="100" y="14"/>
                  </a:lnTo>
                  <a:lnTo>
                    <a:pt x="104" y="13"/>
                  </a:lnTo>
                  <a:lnTo>
                    <a:pt x="104" y="8"/>
                  </a:lnTo>
                  <a:lnTo>
                    <a:pt x="104" y="5"/>
                  </a:lnTo>
                  <a:lnTo>
                    <a:pt x="101" y="2"/>
                  </a:lnTo>
                  <a:lnTo>
                    <a:pt x="98" y="1"/>
                  </a:lnTo>
                  <a:lnTo>
                    <a:pt x="82" y="0"/>
                  </a:lnTo>
                  <a:lnTo>
                    <a:pt x="67" y="1"/>
                  </a:lnTo>
                  <a:lnTo>
                    <a:pt x="52" y="1"/>
                  </a:lnTo>
                  <a:lnTo>
                    <a:pt x="37" y="0"/>
                  </a:lnTo>
                  <a:lnTo>
                    <a:pt x="33" y="0"/>
                  </a:lnTo>
                  <a:lnTo>
                    <a:pt x="29" y="1"/>
                  </a:lnTo>
                  <a:lnTo>
                    <a:pt x="25" y="2"/>
                  </a:lnTo>
                  <a:lnTo>
                    <a:pt x="21" y="2"/>
                  </a:lnTo>
                  <a:lnTo>
                    <a:pt x="16" y="2"/>
                  </a:lnTo>
                  <a:lnTo>
                    <a:pt x="11" y="1"/>
                  </a:lnTo>
                  <a:lnTo>
                    <a:pt x="10" y="3"/>
                  </a:lnTo>
                  <a:lnTo>
                    <a:pt x="7" y="7"/>
                  </a:lnTo>
                  <a:lnTo>
                    <a:pt x="2" y="12"/>
                  </a:lnTo>
                  <a:lnTo>
                    <a:pt x="0" y="13"/>
                  </a:lnTo>
                  <a:lnTo>
                    <a:pt x="0" y="14"/>
                  </a:lnTo>
                  <a:lnTo>
                    <a:pt x="0" y="18"/>
                  </a:lnTo>
                  <a:lnTo>
                    <a:pt x="1" y="22"/>
                  </a:lnTo>
                  <a:lnTo>
                    <a:pt x="4" y="26"/>
                  </a:lnTo>
                  <a:lnTo>
                    <a:pt x="6" y="28"/>
                  </a:lnTo>
                  <a:lnTo>
                    <a:pt x="9" y="30"/>
                  </a:lnTo>
                  <a:lnTo>
                    <a:pt x="15" y="32"/>
                  </a:lnTo>
                  <a:lnTo>
                    <a:pt x="21" y="32"/>
                  </a:lnTo>
                  <a:lnTo>
                    <a:pt x="26" y="34"/>
                  </a:lnTo>
                  <a:lnTo>
                    <a:pt x="28" y="35"/>
                  </a:lnTo>
                  <a:lnTo>
                    <a:pt x="29" y="37"/>
                  </a:lnTo>
                  <a:lnTo>
                    <a:pt x="28" y="41"/>
                  </a:lnTo>
                  <a:lnTo>
                    <a:pt x="25" y="46"/>
                  </a:lnTo>
                  <a:lnTo>
                    <a:pt x="21" y="50"/>
                  </a:lnTo>
                  <a:lnTo>
                    <a:pt x="29" y="5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6" name="Freeform 895"/>
            <p:cNvSpPr>
              <a:spLocks/>
            </p:cNvSpPr>
            <p:nvPr/>
          </p:nvSpPr>
          <p:spPr bwMode="auto">
            <a:xfrm>
              <a:off x="2128841" y="3943355"/>
              <a:ext cx="109537" cy="136525"/>
            </a:xfrm>
            <a:custGeom>
              <a:avLst/>
              <a:gdLst>
                <a:gd name="T0" fmla="*/ 2147483647 w 75"/>
                <a:gd name="T1" fmla="*/ 2147483647 h 86"/>
                <a:gd name="T2" fmla="*/ 2147483647 w 75"/>
                <a:gd name="T3" fmla="*/ 2147483647 h 86"/>
                <a:gd name="T4" fmla="*/ 2147483647 w 75"/>
                <a:gd name="T5" fmla="*/ 2147483647 h 86"/>
                <a:gd name="T6" fmla="*/ 2147483647 w 75"/>
                <a:gd name="T7" fmla="*/ 2147483647 h 86"/>
                <a:gd name="T8" fmla="*/ 2147483647 w 75"/>
                <a:gd name="T9" fmla="*/ 2147483647 h 86"/>
                <a:gd name="T10" fmla="*/ 2147483647 w 75"/>
                <a:gd name="T11" fmla="*/ 2147483647 h 86"/>
                <a:gd name="T12" fmla="*/ 2147483647 w 75"/>
                <a:gd name="T13" fmla="*/ 2147483647 h 86"/>
                <a:gd name="T14" fmla="*/ 2147483647 w 75"/>
                <a:gd name="T15" fmla="*/ 2147483647 h 86"/>
                <a:gd name="T16" fmla="*/ 2147483647 w 75"/>
                <a:gd name="T17" fmla="*/ 2147483647 h 86"/>
                <a:gd name="T18" fmla="*/ 2147483647 w 75"/>
                <a:gd name="T19" fmla="*/ 2147483647 h 86"/>
                <a:gd name="T20" fmla="*/ 2147483647 w 75"/>
                <a:gd name="T21" fmla="*/ 2147483647 h 86"/>
                <a:gd name="T22" fmla="*/ 2147483647 w 75"/>
                <a:gd name="T23" fmla="*/ 2147483647 h 86"/>
                <a:gd name="T24" fmla="*/ 2147483647 w 75"/>
                <a:gd name="T25" fmla="*/ 2147483647 h 86"/>
                <a:gd name="T26" fmla="*/ 2147483647 w 75"/>
                <a:gd name="T27" fmla="*/ 0 h 86"/>
                <a:gd name="T28" fmla="*/ 2147483647 w 75"/>
                <a:gd name="T29" fmla="*/ 2147483647 h 86"/>
                <a:gd name="T30" fmla="*/ 2147483647 w 75"/>
                <a:gd name="T31" fmla="*/ 2147483647 h 86"/>
                <a:gd name="T32" fmla="*/ 2147483647 w 75"/>
                <a:gd name="T33" fmla="*/ 2147483647 h 86"/>
                <a:gd name="T34" fmla="*/ 2147483647 w 75"/>
                <a:gd name="T35" fmla="*/ 2147483647 h 86"/>
                <a:gd name="T36" fmla="*/ 2147483647 w 75"/>
                <a:gd name="T37" fmla="*/ 2147483647 h 86"/>
                <a:gd name="T38" fmla="*/ 2147483647 w 75"/>
                <a:gd name="T39" fmla="*/ 2147483647 h 86"/>
                <a:gd name="T40" fmla="*/ 2147483647 w 75"/>
                <a:gd name="T41" fmla="*/ 2147483647 h 86"/>
                <a:gd name="T42" fmla="*/ 2147483647 w 75"/>
                <a:gd name="T43" fmla="*/ 2147483647 h 86"/>
                <a:gd name="T44" fmla="*/ 2147483647 w 75"/>
                <a:gd name="T45" fmla="*/ 2147483647 h 86"/>
                <a:gd name="T46" fmla="*/ 2147483647 w 75"/>
                <a:gd name="T47" fmla="*/ 2147483647 h 86"/>
                <a:gd name="T48" fmla="*/ 2147483647 w 75"/>
                <a:gd name="T49" fmla="*/ 2147483647 h 86"/>
                <a:gd name="T50" fmla="*/ 2147483647 w 75"/>
                <a:gd name="T51" fmla="*/ 2147483647 h 86"/>
                <a:gd name="T52" fmla="*/ 0 w 75"/>
                <a:gd name="T53" fmla="*/ 2147483647 h 86"/>
                <a:gd name="T54" fmla="*/ 2147483647 w 75"/>
                <a:gd name="T55" fmla="*/ 2147483647 h 86"/>
                <a:gd name="T56" fmla="*/ 2147483647 w 75"/>
                <a:gd name="T57" fmla="*/ 2147483647 h 86"/>
                <a:gd name="T58" fmla="*/ 2147483647 w 75"/>
                <a:gd name="T59" fmla="*/ 2147483647 h 86"/>
                <a:gd name="T60" fmla="*/ 2147483647 w 75"/>
                <a:gd name="T61" fmla="*/ 2147483647 h 86"/>
                <a:gd name="T62" fmla="*/ 2147483647 w 75"/>
                <a:gd name="T63" fmla="*/ 2147483647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5"/>
                <a:gd name="T97" fmla="*/ 0 h 86"/>
                <a:gd name="T98" fmla="*/ 75 w 75"/>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5" h="86">
                  <a:moveTo>
                    <a:pt x="30" y="86"/>
                  </a:moveTo>
                  <a:lnTo>
                    <a:pt x="30" y="86"/>
                  </a:lnTo>
                  <a:lnTo>
                    <a:pt x="33" y="84"/>
                  </a:lnTo>
                  <a:lnTo>
                    <a:pt x="34" y="82"/>
                  </a:lnTo>
                  <a:lnTo>
                    <a:pt x="43" y="83"/>
                  </a:lnTo>
                  <a:lnTo>
                    <a:pt x="50" y="84"/>
                  </a:lnTo>
                  <a:lnTo>
                    <a:pt x="58" y="85"/>
                  </a:lnTo>
                  <a:lnTo>
                    <a:pt x="62" y="85"/>
                  </a:lnTo>
                  <a:lnTo>
                    <a:pt x="66" y="84"/>
                  </a:lnTo>
                  <a:lnTo>
                    <a:pt x="64" y="82"/>
                  </a:lnTo>
                  <a:lnTo>
                    <a:pt x="64" y="78"/>
                  </a:lnTo>
                  <a:lnTo>
                    <a:pt x="64" y="74"/>
                  </a:lnTo>
                  <a:lnTo>
                    <a:pt x="67" y="67"/>
                  </a:lnTo>
                  <a:lnTo>
                    <a:pt x="68" y="60"/>
                  </a:lnTo>
                  <a:lnTo>
                    <a:pt x="68" y="52"/>
                  </a:lnTo>
                  <a:lnTo>
                    <a:pt x="70" y="50"/>
                  </a:lnTo>
                  <a:lnTo>
                    <a:pt x="71" y="46"/>
                  </a:lnTo>
                  <a:lnTo>
                    <a:pt x="72" y="38"/>
                  </a:lnTo>
                  <a:lnTo>
                    <a:pt x="72" y="29"/>
                  </a:lnTo>
                  <a:lnTo>
                    <a:pt x="71" y="21"/>
                  </a:lnTo>
                  <a:lnTo>
                    <a:pt x="72" y="12"/>
                  </a:lnTo>
                  <a:lnTo>
                    <a:pt x="75" y="0"/>
                  </a:lnTo>
                  <a:lnTo>
                    <a:pt x="71" y="1"/>
                  </a:lnTo>
                  <a:lnTo>
                    <a:pt x="66" y="2"/>
                  </a:lnTo>
                  <a:lnTo>
                    <a:pt x="58" y="8"/>
                  </a:lnTo>
                  <a:lnTo>
                    <a:pt x="54" y="9"/>
                  </a:lnTo>
                  <a:lnTo>
                    <a:pt x="50" y="9"/>
                  </a:lnTo>
                  <a:lnTo>
                    <a:pt x="47" y="9"/>
                  </a:lnTo>
                  <a:lnTo>
                    <a:pt x="44" y="12"/>
                  </a:lnTo>
                  <a:lnTo>
                    <a:pt x="34" y="20"/>
                  </a:lnTo>
                  <a:lnTo>
                    <a:pt x="30" y="23"/>
                  </a:lnTo>
                  <a:lnTo>
                    <a:pt x="26" y="25"/>
                  </a:lnTo>
                  <a:lnTo>
                    <a:pt x="21" y="26"/>
                  </a:lnTo>
                  <a:lnTo>
                    <a:pt x="16" y="27"/>
                  </a:lnTo>
                  <a:lnTo>
                    <a:pt x="11" y="28"/>
                  </a:lnTo>
                  <a:lnTo>
                    <a:pt x="10" y="29"/>
                  </a:lnTo>
                  <a:lnTo>
                    <a:pt x="10" y="32"/>
                  </a:lnTo>
                  <a:lnTo>
                    <a:pt x="9" y="34"/>
                  </a:lnTo>
                  <a:lnTo>
                    <a:pt x="4" y="38"/>
                  </a:lnTo>
                  <a:lnTo>
                    <a:pt x="0" y="41"/>
                  </a:lnTo>
                  <a:lnTo>
                    <a:pt x="5" y="46"/>
                  </a:lnTo>
                  <a:lnTo>
                    <a:pt x="7" y="52"/>
                  </a:lnTo>
                  <a:lnTo>
                    <a:pt x="11" y="60"/>
                  </a:lnTo>
                  <a:lnTo>
                    <a:pt x="15" y="66"/>
                  </a:lnTo>
                  <a:lnTo>
                    <a:pt x="26" y="79"/>
                  </a:lnTo>
                  <a:lnTo>
                    <a:pt x="29" y="83"/>
                  </a:lnTo>
                  <a:lnTo>
                    <a:pt x="30" y="8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7" name="Freeform 896"/>
            <p:cNvSpPr>
              <a:spLocks/>
            </p:cNvSpPr>
            <p:nvPr/>
          </p:nvSpPr>
          <p:spPr bwMode="auto">
            <a:xfrm>
              <a:off x="2085975" y="3922717"/>
              <a:ext cx="152400" cy="85725"/>
            </a:xfrm>
            <a:custGeom>
              <a:avLst/>
              <a:gdLst>
                <a:gd name="T0" fmla="*/ 2147483647 w 105"/>
                <a:gd name="T1" fmla="*/ 2147483647 h 54"/>
                <a:gd name="T2" fmla="*/ 2147483647 w 105"/>
                <a:gd name="T3" fmla="*/ 2147483647 h 54"/>
                <a:gd name="T4" fmla="*/ 2147483647 w 105"/>
                <a:gd name="T5" fmla="*/ 2147483647 h 54"/>
                <a:gd name="T6" fmla="*/ 2147483647 w 105"/>
                <a:gd name="T7" fmla="*/ 2147483647 h 54"/>
                <a:gd name="T8" fmla="*/ 2147483647 w 105"/>
                <a:gd name="T9" fmla="*/ 2147483647 h 54"/>
                <a:gd name="T10" fmla="*/ 2147483647 w 105"/>
                <a:gd name="T11" fmla="*/ 2147483647 h 54"/>
                <a:gd name="T12" fmla="*/ 2147483647 w 105"/>
                <a:gd name="T13" fmla="*/ 2147483647 h 54"/>
                <a:gd name="T14" fmla="*/ 2147483647 w 105"/>
                <a:gd name="T15" fmla="*/ 2147483647 h 54"/>
                <a:gd name="T16" fmla="*/ 2147483647 w 105"/>
                <a:gd name="T17" fmla="*/ 2147483647 h 54"/>
                <a:gd name="T18" fmla="*/ 2147483647 w 105"/>
                <a:gd name="T19" fmla="*/ 2147483647 h 54"/>
                <a:gd name="T20" fmla="*/ 2147483647 w 105"/>
                <a:gd name="T21" fmla="*/ 2147483647 h 54"/>
                <a:gd name="T22" fmla="*/ 2147483647 w 105"/>
                <a:gd name="T23" fmla="*/ 2147483647 h 54"/>
                <a:gd name="T24" fmla="*/ 2147483647 w 105"/>
                <a:gd name="T25" fmla="*/ 2147483647 h 54"/>
                <a:gd name="T26" fmla="*/ 2147483647 w 105"/>
                <a:gd name="T27" fmla="*/ 2147483647 h 54"/>
                <a:gd name="T28" fmla="*/ 2147483647 w 105"/>
                <a:gd name="T29" fmla="*/ 2147483647 h 54"/>
                <a:gd name="T30" fmla="*/ 2147483647 w 105"/>
                <a:gd name="T31" fmla="*/ 2147483647 h 54"/>
                <a:gd name="T32" fmla="*/ 2147483647 w 105"/>
                <a:gd name="T33" fmla="*/ 2147483647 h 54"/>
                <a:gd name="T34" fmla="*/ 2147483647 w 105"/>
                <a:gd name="T35" fmla="*/ 0 h 54"/>
                <a:gd name="T36" fmla="*/ 2147483647 w 105"/>
                <a:gd name="T37" fmla="*/ 0 h 54"/>
                <a:gd name="T38" fmla="*/ 2147483647 w 105"/>
                <a:gd name="T39" fmla="*/ 2147483647 h 54"/>
                <a:gd name="T40" fmla="*/ 2147483647 w 105"/>
                <a:gd name="T41" fmla="*/ 2147483647 h 54"/>
                <a:gd name="T42" fmla="*/ 2147483647 w 105"/>
                <a:gd name="T43" fmla="*/ 2147483647 h 54"/>
                <a:gd name="T44" fmla="*/ 2147483647 w 105"/>
                <a:gd name="T45" fmla="*/ 2147483647 h 54"/>
                <a:gd name="T46" fmla="*/ 2147483647 w 105"/>
                <a:gd name="T47" fmla="*/ 2147483647 h 54"/>
                <a:gd name="T48" fmla="*/ 0 w 105"/>
                <a:gd name="T49" fmla="*/ 2147483647 h 54"/>
                <a:gd name="T50" fmla="*/ 0 w 105"/>
                <a:gd name="T51" fmla="*/ 2147483647 h 54"/>
                <a:gd name="T52" fmla="*/ 2147483647 w 105"/>
                <a:gd name="T53" fmla="*/ 2147483647 h 54"/>
                <a:gd name="T54" fmla="*/ 2147483647 w 105"/>
                <a:gd name="T55" fmla="*/ 2147483647 h 54"/>
                <a:gd name="T56" fmla="*/ 2147483647 w 105"/>
                <a:gd name="T57" fmla="*/ 2147483647 h 54"/>
                <a:gd name="T58" fmla="*/ 2147483647 w 105"/>
                <a:gd name="T59" fmla="*/ 2147483647 h 54"/>
                <a:gd name="T60" fmla="*/ 2147483647 w 105"/>
                <a:gd name="T61" fmla="*/ 2147483647 h 54"/>
                <a:gd name="T62" fmla="*/ 2147483647 w 105"/>
                <a:gd name="T63" fmla="*/ 2147483647 h 54"/>
                <a:gd name="T64" fmla="*/ 2147483647 w 105"/>
                <a:gd name="T65" fmla="*/ 2147483647 h 54"/>
                <a:gd name="T66" fmla="*/ 2147483647 w 105"/>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5"/>
                <a:gd name="T103" fmla="*/ 0 h 54"/>
                <a:gd name="T104" fmla="*/ 105 w 105"/>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5" h="54">
                  <a:moveTo>
                    <a:pt x="30" y="54"/>
                  </a:moveTo>
                  <a:lnTo>
                    <a:pt x="30" y="54"/>
                  </a:lnTo>
                  <a:lnTo>
                    <a:pt x="34" y="51"/>
                  </a:lnTo>
                  <a:lnTo>
                    <a:pt x="39" y="47"/>
                  </a:lnTo>
                  <a:lnTo>
                    <a:pt x="40" y="45"/>
                  </a:lnTo>
                  <a:lnTo>
                    <a:pt x="40" y="42"/>
                  </a:lnTo>
                  <a:lnTo>
                    <a:pt x="41" y="41"/>
                  </a:lnTo>
                  <a:lnTo>
                    <a:pt x="46" y="40"/>
                  </a:lnTo>
                  <a:lnTo>
                    <a:pt x="51" y="39"/>
                  </a:lnTo>
                  <a:lnTo>
                    <a:pt x="56" y="38"/>
                  </a:lnTo>
                  <a:lnTo>
                    <a:pt x="60" y="36"/>
                  </a:lnTo>
                  <a:lnTo>
                    <a:pt x="64" y="33"/>
                  </a:lnTo>
                  <a:lnTo>
                    <a:pt x="74" y="25"/>
                  </a:lnTo>
                  <a:lnTo>
                    <a:pt x="77" y="22"/>
                  </a:lnTo>
                  <a:lnTo>
                    <a:pt x="80" y="22"/>
                  </a:lnTo>
                  <a:lnTo>
                    <a:pt x="84" y="22"/>
                  </a:lnTo>
                  <a:lnTo>
                    <a:pt x="88" y="21"/>
                  </a:lnTo>
                  <a:lnTo>
                    <a:pt x="96" y="15"/>
                  </a:lnTo>
                  <a:lnTo>
                    <a:pt x="101" y="14"/>
                  </a:lnTo>
                  <a:lnTo>
                    <a:pt x="105" y="13"/>
                  </a:lnTo>
                  <a:lnTo>
                    <a:pt x="105" y="8"/>
                  </a:lnTo>
                  <a:lnTo>
                    <a:pt x="105" y="4"/>
                  </a:lnTo>
                  <a:lnTo>
                    <a:pt x="102" y="2"/>
                  </a:lnTo>
                  <a:lnTo>
                    <a:pt x="98" y="1"/>
                  </a:lnTo>
                  <a:lnTo>
                    <a:pt x="83" y="0"/>
                  </a:lnTo>
                  <a:lnTo>
                    <a:pt x="68" y="1"/>
                  </a:lnTo>
                  <a:lnTo>
                    <a:pt x="53" y="1"/>
                  </a:lnTo>
                  <a:lnTo>
                    <a:pt x="37" y="0"/>
                  </a:lnTo>
                  <a:lnTo>
                    <a:pt x="34" y="0"/>
                  </a:lnTo>
                  <a:lnTo>
                    <a:pt x="30" y="1"/>
                  </a:lnTo>
                  <a:lnTo>
                    <a:pt x="26" y="2"/>
                  </a:lnTo>
                  <a:lnTo>
                    <a:pt x="22" y="2"/>
                  </a:lnTo>
                  <a:lnTo>
                    <a:pt x="17" y="2"/>
                  </a:lnTo>
                  <a:lnTo>
                    <a:pt x="12" y="1"/>
                  </a:lnTo>
                  <a:lnTo>
                    <a:pt x="11" y="3"/>
                  </a:lnTo>
                  <a:lnTo>
                    <a:pt x="8" y="7"/>
                  </a:lnTo>
                  <a:lnTo>
                    <a:pt x="3" y="12"/>
                  </a:lnTo>
                  <a:lnTo>
                    <a:pt x="0" y="13"/>
                  </a:lnTo>
                  <a:lnTo>
                    <a:pt x="0" y="14"/>
                  </a:lnTo>
                  <a:lnTo>
                    <a:pt x="0" y="17"/>
                  </a:lnTo>
                  <a:lnTo>
                    <a:pt x="2" y="22"/>
                  </a:lnTo>
                  <a:lnTo>
                    <a:pt x="4" y="26"/>
                  </a:lnTo>
                  <a:lnTo>
                    <a:pt x="7" y="28"/>
                  </a:lnTo>
                  <a:lnTo>
                    <a:pt x="9" y="29"/>
                  </a:lnTo>
                  <a:lnTo>
                    <a:pt x="16" y="32"/>
                  </a:lnTo>
                  <a:lnTo>
                    <a:pt x="22" y="32"/>
                  </a:lnTo>
                  <a:lnTo>
                    <a:pt x="27" y="34"/>
                  </a:lnTo>
                  <a:lnTo>
                    <a:pt x="28" y="35"/>
                  </a:lnTo>
                  <a:lnTo>
                    <a:pt x="30" y="36"/>
                  </a:lnTo>
                  <a:lnTo>
                    <a:pt x="28" y="41"/>
                  </a:lnTo>
                  <a:lnTo>
                    <a:pt x="26" y="46"/>
                  </a:lnTo>
                  <a:lnTo>
                    <a:pt x="22" y="49"/>
                  </a:lnTo>
                  <a:lnTo>
                    <a:pt x="30" y="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8" name="Freeform 897"/>
            <p:cNvSpPr>
              <a:spLocks/>
            </p:cNvSpPr>
            <p:nvPr/>
          </p:nvSpPr>
          <p:spPr bwMode="auto">
            <a:xfrm>
              <a:off x="2068513" y="3963992"/>
              <a:ext cx="61912" cy="39687"/>
            </a:xfrm>
            <a:custGeom>
              <a:avLst/>
              <a:gdLst>
                <a:gd name="T0" fmla="*/ 2147483647 w 42"/>
                <a:gd name="T1" fmla="*/ 2147483647 h 25"/>
                <a:gd name="T2" fmla="*/ 2147483647 w 42"/>
                <a:gd name="T3" fmla="*/ 2147483647 h 25"/>
                <a:gd name="T4" fmla="*/ 2147483647 w 42"/>
                <a:gd name="T5" fmla="*/ 2147483647 h 25"/>
                <a:gd name="T6" fmla="*/ 2147483647 w 42"/>
                <a:gd name="T7" fmla="*/ 2147483647 h 25"/>
                <a:gd name="T8" fmla="*/ 2147483647 w 42"/>
                <a:gd name="T9" fmla="*/ 2147483647 h 25"/>
                <a:gd name="T10" fmla="*/ 2147483647 w 42"/>
                <a:gd name="T11" fmla="*/ 2147483647 h 25"/>
                <a:gd name="T12" fmla="*/ 2147483647 w 42"/>
                <a:gd name="T13" fmla="*/ 2147483647 h 25"/>
                <a:gd name="T14" fmla="*/ 2147483647 w 42"/>
                <a:gd name="T15" fmla="*/ 2147483647 h 25"/>
                <a:gd name="T16" fmla="*/ 2147483647 w 42"/>
                <a:gd name="T17" fmla="*/ 2147483647 h 25"/>
                <a:gd name="T18" fmla="*/ 2147483647 w 42"/>
                <a:gd name="T19" fmla="*/ 2147483647 h 25"/>
                <a:gd name="T20" fmla="*/ 2147483647 w 42"/>
                <a:gd name="T21" fmla="*/ 2147483647 h 25"/>
                <a:gd name="T22" fmla="*/ 2147483647 w 42"/>
                <a:gd name="T23" fmla="*/ 2147483647 h 25"/>
                <a:gd name="T24" fmla="*/ 2147483647 w 42"/>
                <a:gd name="T25" fmla="*/ 2147483647 h 25"/>
                <a:gd name="T26" fmla="*/ 2147483647 w 42"/>
                <a:gd name="T27" fmla="*/ 0 h 25"/>
                <a:gd name="T28" fmla="*/ 2147483647 w 42"/>
                <a:gd name="T29" fmla="*/ 2147483647 h 25"/>
                <a:gd name="T30" fmla="*/ 2147483647 w 42"/>
                <a:gd name="T31" fmla="*/ 2147483647 h 25"/>
                <a:gd name="T32" fmla="*/ 2147483647 w 42"/>
                <a:gd name="T33" fmla="*/ 2147483647 h 25"/>
                <a:gd name="T34" fmla="*/ 2147483647 w 42"/>
                <a:gd name="T35" fmla="*/ 2147483647 h 25"/>
                <a:gd name="T36" fmla="*/ 2147483647 w 42"/>
                <a:gd name="T37" fmla="*/ 2147483647 h 25"/>
                <a:gd name="T38" fmla="*/ 0 w 42"/>
                <a:gd name="T39" fmla="*/ 2147483647 h 25"/>
                <a:gd name="T40" fmla="*/ 2147483647 w 42"/>
                <a:gd name="T41" fmla="*/ 2147483647 h 25"/>
                <a:gd name="T42" fmla="*/ 2147483647 w 42"/>
                <a:gd name="T43" fmla="*/ 2147483647 h 25"/>
                <a:gd name="T44" fmla="*/ 2147483647 w 42"/>
                <a:gd name="T45" fmla="*/ 2147483647 h 25"/>
                <a:gd name="T46" fmla="*/ 2147483647 w 42"/>
                <a:gd name="T47" fmla="*/ 2147483647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
                <a:gd name="T73" fmla="*/ 0 h 25"/>
                <a:gd name="T74" fmla="*/ 42 w 42"/>
                <a:gd name="T75" fmla="*/ 25 h 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 h="25">
                  <a:moveTo>
                    <a:pt x="34" y="25"/>
                  </a:moveTo>
                  <a:lnTo>
                    <a:pt x="38" y="21"/>
                  </a:lnTo>
                  <a:lnTo>
                    <a:pt x="41" y="16"/>
                  </a:lnTo>
                  <a:lnTo>
                    <a:pt x="42" y="12"/>
                  </a:lnTo>
                  <a:lnTo>
                    <a:pt x="41" y="10"/>
                  </a:lnTo>
                  <a:lnTo>
                    <a:pt x="39" y="9"/>
                  </a:lnTo>
                  <a:lnTo>
                    <a:pt x="34" y="7"/>
                  </a:lnTo>
                  <a:lnTo>
                    <a:pt x="28" y="7"/>
                  </a:lnTo>
                  <a:lnTo>
                    <a:pt x="22" y="5"/>
                  </a:lnTo>
                  <a:lnTo>
                    <a:pt x="19" y="3"/>
                  </a:lnTo>
                  <a:lnTo>
                    <a:pt x="17" y="1"/>
                  </a:lnTo>
                  <a:lnTo>
                    <a:pt x="14" y="1"/>
                  </a:lnTo>
                  <a:lnTo>
                    <a:pt x="10" y="1"/>
                  </a:lnTo>
                  <a:lnTo>
                    <a:pt x="8" y="0"/>
                  </a:lnTo>
                  <a:lnTo>
                    <a:pt x="5" y="1"/>
                  </a:lnTo>
                  <a:lnTo>
                    <a:pt x="4" y="2"/>
                  </a:lnTo>
                  <a:lnTo>
                    <a:pt x="3" y="5"/>
                  </a:lnTo>
                  <a:lnTo>
                    <a:pt x="1" y="8"/>
                  </a:lnTo>
                  <a:lnTo>
                    <a:pt x="1" y="13"/>
                  </a:lnTo>
                  <a:lnTo>
                    <a:pt x="0" y="18"/>
                  </a:lnTo>
                  <a:lnTo>
                    <a:pt x="3" y="19"/>
                  </a:lnTo>
                  <a:lnTo>
                    <a:pt x="18" y="21"/>
                  </a:lnTo>
                  <a:lnTo>
                    <a:pt x="27" y="22"/>
                  </a:lnTo>
                  <a:lnTo>
                    <a:pt x="34" y="2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899" name="Freeform 898"/>
            <p:cNvSpPr>
              <a:spLocks/>
            </p:cNvSpPr>
            <p:nvPr/>
          </p:nvSpPr>
          <p:spPr bwMode="auto">
            <a:xfrm>
              <a:off x="2000253" y="3860804"/>
              <a:ext cx="104775" cy="131763"/>
            </a:xfrm>
            <a:custGeom>
              <a:avLst/>
              <a:gdLst>
                <a:gd name="T0" fmla="*/ 2147483647 w 71"/>
                <a:gd name="T1" fmla="*/ 2147483647 h 83"/>
                <a:gd name="T2" fmla="*/ 2147483647 w 71"/>
                <a:gd name="T3" fmla="*/ 2147483647 h 83"/>
                <a:gd name="T4" fmla="*/ 2147483647 w 71"/>
                <a:gd name="T5" fmla="*/ 2147483647 h 83"/>
                <a:gd name="T6" fmla="*/ 2147483647 w 71"/>
                <a:gd name="T7" fmla="*/ 2147483647 h 83"/>
                <a:gd name="T8" fmla="*/ 2147483647 w 71"/>
                <a:gd name="T9" fmla="*/ 2147483647 h 83"/>
                <a:gd name="T10" fmla="*/ 2147483647 w 71"/>
                <a:gd name="T11" fmla="*/ 2147483647 h 83"/>
                <a:gd name="T12" fmla="*/ 2147483647 w 71"/>
                <a:gd name="T13" fmla="*/ 2147483647 h 83"/>
                <a:gd name="T14" fmla="*/ 2147483647 w 71"/>
                <a:gd name="T15" fmla="*/ 2147483647 h 83"/>
                <a:gd name="T16" fmla="*/ 2147483647 w 71"/>
                <a:gd name="T17" fmla="*/ 2147483647 h 83"/>
                <a:gd name="T18" fmla="*/ 2147483647 w 71"/>
                <a:gd name="T19" fmla="*/ 2147483647 h 83"/>
                <a:gd name="T20" fmla="*/ 2147483647 w 71"/>
                <a:gd name="T21" fmla="*/ 2147483647 h 83"/>
                <a:gd name="T22" fmla="*/ 2147483647 w 71"/>
                <a:gd name="T23" fmla="*/ 2147483647 h 83"/>
                <a:gd name="T24" fmla="*/ 2147483647 w 71"/>
                <a:gd name="T25" fmla="*/ 2147483647 h 83"/>
                <a:gd name="T26" fmla="*/ 2147483647 w 71"/>
                <a:gd name="T27" fmla="*/ 2147483647 h 83"/>
                <a:gd name="T28" fmla="*/ 2147483647 w 71"/>
                <a:gd name="T29" fmla="*/ 2147483647 h 83"/>
                <a:gd name="T30" fmla="*/ 2147483647 w 71"/>
                <a:gd name="T31" fmla="*/ 2147483647 h 83"/>
                <a:gd name="T32" fmla="*/ 2147483647 w 71"/>
                <a:gd name="T33" fmla="*/ 2147483647 h 83"/>
                <a:gd name="T34" fmla="*/ 2147483647 w 71"/>
                <a:gd name="T35" fmla="*/ 2147483647 h 83"/>
                <a:gd name="T36" fmla="*/ 2147483647 w 71"/>
                <a:gd name="T37" fmla="*/ 2147483647 h 83"/>
                <a:gd name="T38" fmla="*/ 2147483647 w 71"/>
                <a:gd name="T39" fmla="*/ 2147483647 h 83"/>
                <a:gd name="T40" fmla="*/ 2147483647 w 71"/>
                <a:gd name="T41" fmla="*/ 2147483647 h 83"/>
                <a:gd name="T42" fmla="*/ 2147483647 w 71"/>
                <a:gd name="T43" fmla="*/ 2147483647 h 83"/>
                <a:gd name="T44" fmla="*/ 2147483647 w 71"/>
                <a:gd name="T45" fmla="*/ 2147483647 h 83"/>
                <a:gd name="T46" fmla="*/ 2147483647 w 71"/>
                <a:gd name="T47" fmla="*/ 2147483647 h 83"/>
                <a:gd name="T48" fmla="*/ 2147483647 w 71"/>
                <a:gd name="T49" fmla="*/ 2147483647 h 83"/>
                <a:gd name="T50" fmla="*/ 2147483647 w 71"/>
                <a:gd name="T51" fmla="*/ 0 h 83"/>
                <a:gd name="T52" fmla="*/ 2147483647 w 71"/>
                <a:gd name="T53" fmla="*/ 2147483647 h 83"/>
                <a:gd name="T54" fmla="*/ 2147483647 w 71"/>
                <a:gd name="T55" fmla="*/ 2147483647 h 83"/>
                <a:gd name="T56" fmla="*/ 2147483647 w 71"/>
                <a:gd name="T57" fmla="*/ 0 h 83"/>
                <a:gd name="T58" fmla="*/ 2147483647 w 71"/>
                <a:gd name="T59" fmla="*/ 0 h 83"/>
                <a:gd name="T60" fmla="*/ 2147483647 w 71"/>
                <a:gd name="T61" fmla="*/ 2147483647 h 83"/>
                <a:gd name="T62" fmla="*/ 2147483647 w 71"/>
                <a:gd name="T63" fmla="*/ 2147483647 h 83"/>
                <a:gd name="T64" fmla="*/ 2147483647 w 71"/>
                <a:gd name="T65" fmla="*/ 2147483647 h 83"/>
                <a:gd name="T66" fmla="*/ 2147483647 w 71"/>
                <a:gd name="T67" fmla="*/ 2147483647 h 83"/>
                <a:gd name="T68" fmla="*/ 2147483647 w 71"/>
                <a:gd name="T69" fmla="*/ 2147483647 h 83"/>
                <a:gd name="T70" fmla="*/ 2147483647 w 71"/>
                <a:gd name="T71" fmla="*/ 2147483647 h 83"/>
                <a:gd name="T72" fmla="*/ 2147483647 w 71"/>
                <a:gd name="T73" fmla="*/ 2147483647 h 83"/>
                <a:gd name="T74" fmla="*/ 2147483647 w 71"/>
                <a:gd name="T75" fmla="*/ 2147483647 h 83"/>
                <a:gd name="T76" fmla="*/ 2147483647 w 71"/>
                <a:gd name="T77" fmla="*/ 2147483647 h 83"/>
                <a:gd name="T78" fmla="*/ 2147483647 w 71"/>
                <a:gd name="T79" fmla="*/ 2147483647 h 83"/>
                <a:gd name="T80" fmla="*/ 2147483647 w 71"/>
                <a:gd name="T81" fmla="*/ 2147483647 h 83"/>
                <a:gd name="T82" fmla="*/ 2147483647 w 71"/>
                <a:gd name="T83" fmla="*/ 2147483647 h 83"/>
                <a:gd name="T84" fmla="*/ 2147483647 w 71"/>
                <a:gd name="T85" fmla="*/ 2147483647 h 83"/>
                <a:gd name="T86" fmla="*/ 2147483647 w 71"/>
                <a:gd name="T87" fmla="*/ 2147483647 h 83"/>
                <a:gd name="T88" fmla="*/ 2147483647 w 71"/>
                <a:gd name="T89" fmla="*/ 2147483647 h 83"/>
                <a:gd name="T90" fmla="*/ 2147483647 w 71"/>
                <a:gd name="T91" fmla="*/ 2147483647 h 83"/>
                <a:gd name="T92" fmla="*/ 2147483647 w 71"/>
                <a:gd name="T93" fmla="*/ 2147483647 h 83"/>
                <a:gd name="T94" fmla="*/ 2147483647 w 71"/>
                <a:gd name="T95" fmla="*/ 2147483647 h 83"/>
                <a:gd name="T96" fmla="*/ 2147483647 w 71"/>
                <a:gd name="T97" fmla="*/ 2147483647 h 83"/>
                <a:gd name="T98" fmla="*/ 2147483647 w 71"/>
                <a:gd name="T99" fmla="*/ 2147483647 h 83"/>
                <a:gd name="T100" fmla="*/ 0 w 71"/>
                <a:gd name="T101" fmla="*/ 2147483647 h 83"/>
                <a:gd name="T102" fmla="*/ 2147483647 w 71"/>
                <a:gd name="T103" fmla="*/ 2147483647 h 83"/>
                <a:gd name="T104" fmla="*/ 2147483647 w 71"/>
                <a:gd name="T105" fmla="*/ 2147483647 h 83"/>
                <a:gd name="T106" fmla="*/ 2147483647 w 71"/>
                <a:gd name="T107" fmla="*/ 2147483647 h 83"/>
                <a:gd name="T108" fmla="*/ 2147483647 w 71"/>
                <a:gd name="T109" fmla="*/ 2147483647 h 83"/>
                <a:gd name="T110" fmla="*/ 2147483647 w 71"/>
                <a:gd name="T111" fmla="*/ 2147483647 h 83"/>
                <a:gd name="T112" fmla="*/ 2147483647 w 71"/>
                <a:gd name="T113" fmla="*/ 2147483647 h 83"/>
                <a:gd name="T114" fmla="*/ 2147483647 w 71"/>
                <a:gd name="T115" fmla="*/ 2147483647 h 83"/>
                <a:gd name="T116" fmla="*/ 2147483647 w 71"/>
                <a:gd name="T117" fmla="*/ 2147483647 h 83"/>
                <a:gd name="T118" fmla="*/ 2147483647 w 71"/>
                <a:gd name="T119" fmla="*/ 2147483647 h 83"/>
                <a:gd name="T120" fmla="*/ 2147483647 w 71"/>
                <a:gd name="T121" fmla="*/ 2147483647 h 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83"/>
                <a:gd name="T185" fmla="*/ 71 w 71"/>
                <a:gd name="T186" fmla="*/ 83 h 8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83">
                  <a:moveTo>
                    <a:pt x="47" y="83"/>
                  </a:moveTo>
                  <a:lnTo>
                    <a:pt x="48" y="78"/>
                  </a:lnTo>
                  <a:lnTo>
                    <a:pt x="48" y="73"/>
                  </a:lnTo>
                  <a:lnTo>
                    <a:pt x="50" y="70"/>
                  </a:lnTo>
                  <a:lnTo>
                    <a:pt x="51" y="67"/>
                  </a:lnTo>
                  <a:lnTo>
                    <a:pt x="52" y="66"/>
                  </a:lnTo>
                  <a:lnTo>
                    <a:pt x="55" y="65"/>
                  </a:lnTo>
                  <a:lnTo>
                    <a:pt x="57" y="66"/>
                  </a:lnTo>
                  <a:lnTo>
                    <a:pt x="61" y="66"/>
                  </a:lnTo>
                  <a:lnTo>
                    <a:pt x="64" y="66"/>
                  </a:lnTo>
                  <a:lnTo>
                    <a:pt x="61" y="62"/>
                  </a:lnTo>
                  <a:lnTo>
                    <a:pt x="60" y="58"/>
                  </a:lnTo>
                  <a:lnTo>
                    <a:pt x="60" y="54"/>
                  </a:lnTo>
                  <a:lnTo>
                    <a:pt x="60" y="53"/>
                  </a:lnTo>
                  <a:lnTo>
                    <a:pt x="62" y="52"/>
                  </a:lnTo>
                  <a:lnTo>
                    <a:pt x="67" y="47"/>
                  </a:lnTo>
                  <a:lnTo>
                    <a:pt x="70" y="43"/>
                  </a:lnTo>
                  <a:lnTo>
                    <a:pt x="71" y="41"/>
                  </a:lnTo>
                  <a:lnTo>
                    <a:pt x="69" y="41"/>
                  </a:lnTo>
                  <a:lnTo>
                    <a:pt x="66" y="41"/>
                  </a:lnTo>
                  <a:lnTo>
                    <a:pt x="64" y="40"/>
                  </a:lnTo>
                  <a:lnTo>
                    <a:pt x="64" y="39"/>
                  </a:lnTo>
                  <a:lnTo>
                    <a:pt x="64" y="36"/>
                  </a:lnTo>
                  <a:lnTo>
                    <a:pt x="57" y="36"/>
                  </a:lnTo>
                  <a:lnTo>
                    <a:pt x="55" y="38"/>
                  </a:lnTo>
                  <a:lnTo>
                    <a:pt x="55" y="0"/>
                  </a:lnTo>
                  <a:lnTo>
                    <a:pt x="51" y="1"/>
                  </a:lnTo>
                  <a:lnTo>
                    <a:pt x="46" y="1"/>
                  </a:lnTo>
                  <a:lnTo>
                    <a:pt x="41" y="0"/>
                  </a:lnTo>
                  <a:lnTo>
                    <a:pt x="34" y="0"/>
                  </a:lnTo>
                  <a:lnTo>
                    <a:pt x="31" y="2"/>
                  </a:lnTo>
                  <a:lnTo>
                    <a:pt x="29" y="3"/>
                  </a:lnTo>
                  <a:lnTo>
                    <a:pt x="28" y="6"/>
                  </a:lnTo>
                  <a:lnTo>
                    <a:pt x="28" y="7"/>
                  </a:lnTo>
                  <a:lnTo>
                    <a:pt x="29" y="8"/>
                  </a:lnTo>
                  <a:lnTo>
                    <a:pt x="31" y="10"/>
                  </a:lnTo>
                  <a:lnTo>
                    <a:pt x="31" y="16"/>
                  </a:lnTo>
                  <a:lnTo>
                    <a:pt x="32" y="19"/>
                  </a:lnTo>
                  <a:lnTo>
                    <a:pt x="33" y="21"/>
                  </a:lnTo>
                  <a:lnTo>
                    <a:pt x="34" y="22"/>
                  </a:lnTo>
                  <a:lnTo>
                    <a:pt x="36" y="23"/>
                  </a:lnTo>
                  <a:lnTo>
                    <a:pt x="37" y="23"/>
                  </a:lnTo>
                  <a:lnTo>
                    <a:pt x="38" y="26"/>
                  </a:lnTo>
                  <a:lnTo>
                    <a:pt x="37" y="28"/>
                  </a:lnTo>
                  <a:lnTo>
                    <a:pt x="34" y="30"/>
                  </a:lnTo>
                  <a:lnTo>
                    <a:pt x="24" y="32"/>
                  </a:lnTo>
                  <a:lnTo>
                    <a:pt x="20" y="33"/>
                  </a:lnTo>
                  <a:lnTo>
                    <a:pt x="17" y="36"/>
                  </a:lnTo>
                  <a:lnTo>
                    <a:pt x="9" y="45"/>
                  </a:lnTo>
                  <a:lnTo>
                    <a:pt x="4" y="48"/>
                  </a:lnTo>
                  <a:lnTo>
                    <a:pt x="0" y="52"/>
                  </a:lnTo>
                  <a:lnTo>
                    <a:pt x="5" y="59"/>
                  </a:lnTo>
                  <a:lnTo>
                    <a:pt x="10" y="66"/>
                  </a:lnTo>
                  <a:lnTo>
                    <a:pt x="13" y="68"/>
                  </a:lnTo>
                  <a:lnTo>
                    <a:pt x="15" y="70"/>
                  </a:lnTo>
                  <a:lnTo>
                    <a:pt x="22" y="70"/>
                  </a:lnTo>
                  <a:lnTo>
                    <a:pt x="27" y="71"/>
                  </a:lnTo>
                  <a:lnTo>
                    <a:pt x="32" y="73"/>
                  </a:lnTo>
                  <a:lnTo>
                    <a:pt x="37" y="77"/>
                  </a:lnTo>
                  <a:lnTo>
                    <a:pt x="42" y="79"/>
                  </a:lnTo>
                  <a:lnTo>
                    <a:pt x="47" y="8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0" name="Freeform 899"/>
            <p:cNvSpPr>
              <a:spLocks/>
            </p:cNvSpPr>
            <p:nvPr/>
          </p:nvSpPr>
          <p:spPr bwMode="auto">
            <a:xfrm>
              <a:off x="2066929" y="3962400"/>
              <a:ext cx="61913" cy="38100"/>
            </a:xfrm>
            <a:custGeom>
              <a:avLst/>
              <a:gdLst>
                <a:gd name="T0" fmla="*/ 2147483647 w 42"/>
                <a:gd name="T1" fmla="*/ 2147483647 h 24"/>
                <a:gd name="T2" fmla="*/ 2147483647 w 42"/>
                <a:gd name="T3" fmla="*/ 2147483647 h 24"/>
                <a:gd name="T4" fmla="*/ 2147483647 w 42"/>
                <a:gd name="T5" fmla="*/ 2147483647 h 24"/>
                <a:gd name="T6" fmla="*/ 2147483647 w 42"/>
                <a:gd name="T7" fmla="*/ 2147483647 h 24"/>
                <a:gd name="T8" fmla="*/ 2147483647 w 42"/>
                <a:gd name="T9" fmla="*/ 2147483647 h 24"/>
                <a:gd name="T10" fmla="*/ 2147483647 w 42"/>
                <a:gd name="T11" fmla="*/ 2147483647 h 24"/>
                <a:gd name="T12" fmla="*/ 2147483647 w 42"/>
                <a:gd name="T13" fmla="*/ 2147483647 h 24"/>
                <a:gd name="T14" fmla="*/ 2147483647 w 42"/>
                <a:gd name="T15" fmla="*/ 2147483647 h 24"/>
                <a:gd name="T16" fmla="*/ 2147483647 w 42"/>
                <a:gd name="T17" fmla="*/ 2147483647 h 24"/>
                <a:gd name="T18" fmla="*/ 2147483647 w 42"/>
                <a:gd name="T19" fmla="*/ 2147483647 h 24"/>
                <a:gd name="T20" fmla="*/ 2147483647 w 42"/>
                <a:gd name="T21" fmla="*/ 2147483647 h 24"/>
                <a:gd name="T22" fmla="*/ 2147483647 w 42"/>
                <a:gd name="T23" fmla="*/ 2147483647 h 24"/>
                <a:gd name="T24" fmla="*/ 2147483647 w 42"/>
                <a:gd name="T25" fmla="*/ 2147483647 h 24"/>
                <a:gd name="T26" fmla="*/ 2147483647 w 42"/>
                <a:gd name="T27" fmla="*/ 2147483647 h 24"/>
                <a:gd name="T28" fmla="*/ 2147483647 w 42"/>
                <a:gd name="T29" fmla="*/ 2147483647 h 24"/>
                <a:gd name="T30" fmla="*/ 2147483647 w 42"/>
                <a:gd name="T31" fmla="*/ 2147483647 h 24"/>
                <a:gd name="T32" fmla="*/ 2147483647 w 42"/>
                <a:gd name="T33" fmla="*/ 0 h 24"/>
                <a:gd name="T34" fmla="*/ 2147483647 w 42"/>
                <a:gd name="T35" fmla="*/ 2147483647 h 24"/>
                <a:gd name="T36" fmla="*/ 2147483647 w 42"/>
                <a:gd name="T37" fmla="*/ 2147483647 h 24"/>
                <a:gd name="T38" fmla="*/ 2147483647 w 42"/>
                <a:gd name="T39" fmla="*/ 2147483647 h 24"/>
                <a:gd name="T40" fmla="*/ 2147483647 w 42"/>
                <a:gd name="T41" fmla="*/ 2147483647 h 24"/>
                <a:gd name="T42" fmla="*/ 2147483647 w 42"/>
                <a:gd name="T43" fmla="*/ 2147483647 h 24"/>
                <a:gd name="T44" fmla="*/ 2147483647 w 42"/>
                <a:gd name="T45" fmla="*/ 2147483647 h 24"/>
                <a:gd name="T46" fmla="*/ 0 w 42"/>
                <a:gd name="T47" fmla="*/ 2147483647 h 24"/>
                <a:gd name="T48" fmla="*/ 0 w 42"/>
                <a:gd name="T49" fmla="*/ 2147483647 h 24"/>
                <a:gd name="T50" fmla="*/ 2147483647 w 42"/>
                <a:gd name="T51" fmla="*/ 2147483647 h 24"/>
                <a:gd name="T52" fmla="*/ 2147483647 w 42"/>
                <a:gd name="T53" fmla="*/ 2147483647 h 24"/>
                <a:gd name="T54" fmla="*/ 2147483647 w 42"/>
                <a:gd name="T55" fmla="*/ 2147483647 h 24"/>
                <a:gd name="T56" fmla="*/ 2147483647 w 42"/>
                <a:gd name="T57" fmla="*/ 2147483647 h 24"/>
                <a:gd name="T58" fmla="*/ 2147483647 w 42"/>
                <a:gd name="T59" fmla="*/ 2147483647 h 24"/>
                <a:gd name="T60" fmla="*/ 2147483647 w 42"/>
                <a:gd name="T61" fmla="*/ 2147483647 h 2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2"/>
                <a:gd name="T94" fmla="*/ 0 h 24"/>
                <a:gd name="T95" fmla="*/ 42 w 42"/>
                <a:gd name="T96" fmla="*/ 24 h 2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2" h="24">
                  <a:moveTo>
                    <a:pt x="34" y="24"/>
                  </a:moveTo>
                  <a:lnTo>
                    <a:pt x="34" y="24"/>
                  </a:lnTo>
                  <a:lnTo>
                    <a:pt x="38" y="21"/>
                  </a:lnTo>
                  <a:lnTo>
                    <a:pt x="40" y="16"/>
                  </a:lnTo>
                  <a:lnTo>
                    <a:pt x="42" y="11"/>
                  </a:lnTo>
                  <a:lnTo>
                    <a:pt x="40" y="10"/>
                  </a:lnTo>
                  <a:lnTo>
                    <a:pt x="39" y="9"/>
                  </a:lnTo>
                  <a:lnTo>
                    <a:pt x="34" y="7"/>
                  </a:lnTo>
                  <a:lnTo>
                    <a:pt x="28" y="7"/>
                  </a:lnTo>
                  <a:lnTo>
                    <a:pt x="21" y="4"/>
                  </a:lnTo>
                  <a:lnTo>
                    <a:pt x="19" y="3"/>
                  </a:lnTo>
                  <a:lnTo>
                    <a:pt x="16" y="1"/>
                  </a:lnTo>
                  <a:lnTo>
                    <a:pt x="14" y="1"/>
                  </a:lnTo>
                  <a:lnTo>
                    <a:pt x="10" y="1"/>
                  </a:lnTo>
                  <a:lnTo>
                    <a:pt x="7" y="0"/>
                  </a:lnTo>
                  <a:lnTo>
                    <a:pt x="5" y="1"/>
                  </a:lnTo>
                  <a:lnTo>
                    <a:pt x="4" y="2"/>
                  </a:lnTo>
                  <a:lnTo>
                    <a:pt x="2" y="4"/>
                  </a:lnTo>
                  <a:lnTo>
                    <a:pt x="1" y="8"/>
                  </a:lnTo>
                  <a:lnTo>
                    <a:pt x="1" y="13"/>
                  </a:lnTo>
                  <a:lnTo>
                    <a:pt x="0" y="17"/>
                  </a:lnTo>
                  <a:lnTo>
                    <a:pt x="2" y="19"/>
                  </a:lnTo>
                  <a:lnTo>
                    <a:pt x="18" y="21"/>
                  </a:lnTo>
                  <a:lnTo>
                    <a:pt x="26" y="22"/>
                  </a:lnTo>
                  <a:lnTo>
                    <a:pt x="34" y="2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1" name="Freeform 900"/>
            <p:cNvSpPr>
              <a:spLocks/>
            </p:cNvSpPr>
            <p:nvPr/>
          </p:nvSpPr>
          <p:spPr bwMode="auto">
            <a:xfrm>
              <a:off x="1998665" y="3857628"/>
              <a:ext cx="104775" cy="131763"/>
            </a:xfrm>
            <a:custGeom>
              <a:avLst/>
              <a:gdLst>
                <a:gd name="T0" fmla="*/ 2147483647 w 71"/>
                <a:gd name="T1" fmla="*/ 2147483647 h 83"/>
                <a:gd name="T2" fmla="*/ 2147483647 w 71"/>
                <a:gd name="T3" fmla="*/ 2147483647 h 83"/>
                <a:gd name="T4" fmla="*/ 2147483647 w 71"/>
                <a:gd name="T5" fmla="*/ 2147483647 h 83"/>
                <a:gd name="T6" fmla="*/ 2147483647 w 71"/>
                <a:gd name="T7" fmla="*/ 2147483647 h 83"/>
                <a:gd name="T8" fmla="*/ 2147483647 w 71"/>
                <a:gd name="T9" fmla="*/ 2147483647 h 83"/>
                <a:gd name="T10" fmla="*/ 2147483647 w 71"/>
                <a:gd name="T11" fmla="*/ 2147483647 h 83"/>
                <a:gd name="T12" fmla="*/ 2147483647 w 71"/>
                <a:gd name="T13" fmla="*/ 2147483647 h 83"/>
                <a:gd name="T14" fmla="*/ 2147483647 w 71"/>
                <a:gd name="T15" fmla="*/ 2147483647 h 83"/>
                <a:gd name="T16" fmla="*/ 2147483647 w 71"/>
                <a:gd name="T17" fmla="*/ 2147483647 h 83"/>
                <a:gd name="T18" fmla="*/ 2147483647 w 71"/>
                <a:gd name="T19" fmla="*/ 2147483647 h 83"/>
                <a:gd name="T20" fmla="*/ 2147483647 w 71"/>
                <a:gd name="T21" fmla="*/ 2147483647 h 83"/>
                <a:gd name="T22" fmla="*/ 2147483647 w 71"/>
                <a:gd name="T23" fmla="*/ 2147483647 h 83"/>
                <a:gd name="T24" fmla="*/ 2147483647 w 71"/>
                <a:gd name="T25" fmla="*/ 2147483647 h 83"/>
                <a:gd name="T26" fmla="*/ 2147483647 w 71"/>
                <a:gd name="T27" fmla="*/ 2147483647 h 83"/>
                <a:gd name="T28" fmla="*/ 2147483647 w 71"/>
                <a:gd name="T29" fmla="*/ 2147483647 h 83"/>
                <a:gd name="T30" fmla="*/ 2147483647 w 71"/>
                <a:gd name="T31" fmla="*/ 2147483647 h 83"/>
                <a:gd name="T32" fmla="*/ 2147483647 w 71"/>
                <a:gd name="T33" fmla="*/ 0 h 83"/>
                <a:gd name="T34" fmla="*/ 2147483647 w 71"/>
                <a:gd name="T35" fmla="*/ 2147483647 h 83"/>
                <a:gd name="T36" fmla="*/ 2147483647 w 71"/>
                <a:gd name="T37" fmla="*/ 0 h 83"/>
                <a:gd name="T38" fmla="*/ 2147483647 w 71"/>
                <a:gd name="T39" fmla="*/ 0 h 83"/>
                <a:gd name="T40" fmla="*/ 2147483647 w 71"/>
                <a:gd name="T41" fmla="*/ 2147483647 h 83"/>
                <a:gd name="T42" fmla="*/ 2147483647 w 71"/>
                <a:gd name="T43" fmla="*/ 2147483647 h 83"/>
                <a:gd name="T44" fmla="*/ 2147483647 w 71"/>
                <a:gd name="T45" fmla="*/ 2147483647 h 83"/>
                <a:gd name="T46" fmla="*/ 2147483647 w 71"/>
                <a:gd name="T47" fmla="*/ 2147483647 h 83"/>
                <a:gd name="T48" fmla="*/ 2147483647 w 71"/>
                <a:gd name="T49" fmla="*/ 2147483647 h 83"/>
                <a:gd name="T50" fmla="*/ 2147483647 w 71"/>
                <a:gd name="T51" fmla="*/ 2147483647 h 83"/>
                <a:gd name="T52" fmla="*/ 2147483647 w 71"/>
                <a:gd name="T53" fmla="*/ 2147483647 h 83"/>
                <a:gd name="T54" fmla="*/ 2147483647 w 71"/>
                <a:gd name="T55" fmla="*/ 2147483647 h 83"/>
                <a:gd name="T56" fmla="*/ 2147483647 w 71"/>
                <a:gd name="T57" fmla="*/ 2147483647 h 83"/>
                <a:gd name="T58" fmla="*/ 2147483647 w 71"/>
                <a:gd name="T59" fmla="*/ 2147483647 h 83"/>
                <a:gd name="T60" fmla="*/ 2147483647 w 71"/>
                <a:gd name="T61" fmla="*/ 2147483647 h 83"/>
                <a:gd name="T62" fmla="*/ 2147483647 w 71"/>
                <a:gd name="T63" fmla="*/ 2147483647 h 83"/>
                <a:gd name="T64" fmla="*/ 2147483647 w 71"/>
                <a:gd name="T65" fmla="*/ 2147483647 h 83"/>
                <a:gd name="T66" fmla="*/ 0 w 71"/>
                <a:gd name="T67" fmla="*/ 2147483647 h 83"/>
                <a:gd name="T68" fmla="*/ 2147483647 w 71"/>
                <a:gd name="T69" fmla="*/ 2147483647 h 83"/>
                <a:gd name="T70" fmla="*/ 2147483647 w 71"/>
                <a:gd name="T71" fmla="*/ 2147483647 h 83"/>
                <a:gd name="T72" fmla="*/ 2147483647 w 71"/>
                <a:gd name="T73" fmla="*/ 2147483647 h 83"/>
                <a:gd name="T74" fmla="*/ 2147483647 w 71"/>
                <a:gd name="T75" fmla="*/ 2147483647 h 83"/>
                <a:gd name="T76" fmla="*/ 2147483647 w 71"/>
                <a:gd name="T77" fmla="*/ 2147483647 h 83"/>
                <a:gd name="T78" fmla="*/ 2147483647 w 71"/>
                <a:gd name="T79" fmla="*/ 2147483647 h 83"/>
                <a:gd name="T80" fmla="*/ 2147483647 w 71"/>
                <a:gd name="T81" fmla="*/ 2147483647 h 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83"/>
                <a:gd name="T125" fmla="*/ 71 w 71"/>
                <a:gd name="T126" fmla="*/ 83 h 8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83">
                  <a:moveTo>
                    <a:pt x="47" y="83"/>
                  </a:moveTo>
                  <a:lnTo>
                    <a:pt x="47" y="83"/>
                  </a:lnTo>
                  <a:lnTo>
                    <a:pt x="48" y="79"/>
                  </a:lnTo>
                  <a:lnTo>
                    <a:pt x="48" y="74"/>
                  </a:lnTo>
                  <a:lnTo>
                    <a:pt x="49" y="70"/>
                  </a:lnTo>
                  <a:lnTo>
                    <a:pt x="51" y="68"/>
                  </a:lnTo>
                  <a:lnTo>
                    <a:pt x="52" y="67"/>
                  </a:lnTo>
                  <a:lnTo>
                    <a:pt x="54" y="66"/>
                  </a:lnTo>
                  <a:lnTo>
                    <a:pt x="57" y="67"/>
                  </a:lnTo>
                  <a:lnTo>
                    <a:pt x="61" y="67"/>
                  </a:lnTo>
                  <a:lnTo>
                    <a:pt x="63" y="67"/>
                  </a:lnTo>
                  <a:lnTo>
                    <a:pt x="61" y="63"/>
                  </a:lnTo>
                  <a:lnTo>
                    <a:pt x="59" y="58"/>
                  </a:lnTo>
                  <a:lnTo>
                    <a:pt x="59" y="55"/>
                  </a:lnTo>
                  <a:lnTo>
                    <a:pt x="59" y="54"/>
                  </a:lnTo>
                  <a:lnTo>
                    <a:pt x="62" y="53"/>
                  </a:lnTo>
                  <a:lnTo>
                    <a:pt x="67" y="48"/>
                  </a:lnTo>
                  <a:lnTo>
                    <a:pt x="70" y="44"/>
                  </a:lnTo>
                  <a:lnTo>
                    <a:pt x="71" y="42"/>
                  </a:lnTo>
                  <a:lnTo>
                    <a:pt x="68" y="42"/>
                  </a:lnTo>
                  <a:lnTo>
                    <a:pt x="66" y="42"/>
                  </a:lnTo>
                  <a:lnTo>
                    <a:pt x="63" y="41"/>
                  </a:lnTo>
                  <a:lnTo>
                    <a:pt x="63" y="40"/>
                  </a:lnTo>
                  <a:lnTo>
                    <a:pt x="63" y="37"/>
                  </a:lnTo>
                  <a:lnTo>
                    <a:pt x="57" y="37"/>
                  </a:lnTo>
                  <a:lnTo>
                    <a:pt x="54" y="38"/>
                  </a:lnTo>
                  <a:lnTo>
                    <a:pt x="54" y="0"/>
                  </a:lnTo>
                  <a:lnTo>
                    <a:pt x="51" y="2"/>
                  </a:lnTo>
                  <a:lnTo>
                    <a:pt x="46" y="2"/>
                  </a:lnTo>
                  <a:lnTo>
                    <a:pt x="40" y="0"/>
                  </a:lnTo>
                  <a:lnTo>
                    <a:pt x="34" y="0"/>
                  </a:lnTo>
                  <a:lnTo>
                    <a:pt x="30" y="3"/>
                  </a:lnTo>
                  <a:lnTo>
                    <a:pt x="29" y="4"/>
                  </a:lnTo>
                  <a:lnTo>
                    <a:pt x="28" y="6"/>
                  </a:lnTo>
                  <a:lnTo>
                    <a:pt x="28" y="8"/>
                  </a:lnTo>
                  <a:lnTo>
                    <a:pt x="29" y="9"/>
                  </a:lnTo>
                  <a:lnTo>
                    <a:pt x="30" y="11"/>
                  </a:lnTo>
                  <a:lnTo>
                    <a:pt x="30" y="17"/>
                  </a:lnTo>
                  <a:lnTo>
                    <a:pt x="32" y="19"/>
                  </a:lnTo>
                  <a:lnTo>
                    <a:pt x="33" y="22"/>
                  </a:lnTo>
                  <a:lnTo>
                    <a:pt x="34" y="23"/>
                  </a:lnTo>
                  <a:lnTo>
                    <a:pt x="35" y="24"/>
                  </a:lnTo>
                  <a:lnTo>
                    <a:pt x="37" y="24"/>
                  </a:lnTo>
                  <a:lnTo>
                    <a:pt x="38" y="26"/>
                  </a:lnTo>
                  <a:lnTo>
                    <a:pt x="37" y="29"/>
                  </a:lnTo>
                  <a:lnTo>
                    <a:pt x="34" y="31"/>
                  </a:lnTo>
                  <a:lnTo>
                    <a:pt x="24" y="32"/>
                  </a:lnTo>
                  <a:lnTo>
                    <a:pt x="20" y="34"/>
                  </a:lnTo>
                  <a:lnTo>
                    <a:pt x="16" y="37"/>
                  </a:lnTo>
                  <a:lnTo>
                    <a:pt x="9" y="45"/>
                  </a:lnTo>
                  <a:lnTo>
                    <a:pt x="4" y="49"/>
                  </a:lnTo>
                  <a:lnTo>
                    <a:pt x="0" y="53"/>
                  </a:lnTo>
                  <a:lnTo>
                    <a:pt x="5" y="60"/>
                  </a:lnTo>
                  <a:lnTo>
                    <a:pt x="10" y="67"/>
                  </a:lnTo>
                  <a:lnTo>
                    <a:pt x="13" y="69"/>
                  </a:lnTo>
                  <a:lnTo>
                    <a:pt x="15" y="70"/>
                  </a:lnTo>
                  <a:lnTo>
                    <a:pt x="21" y="70"/>
                  </a:lnTo>
                  <a:lnTo>
                    <a:pt x="26" y="72"/>
                  </a:lnTo>
                  <a:lnTo>
                    <a:pt x="32" y="74"/>
                  </a:lnTo>
                  <a:lnTo>
                    <a:pt x="37" y="77"/>
                  </a:lnTo>
                  <a:lnTo>
                    <a:pt x="42" y="80"/>
                  </a:lnTo>
                  <a:lnTo>
                    <a:pt x="47" y="8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2" name="Freeform 901"/>
            <p:cNvSpPr>
              <a:spLocks/>
            </p:cNvSpPr>
            <p:nvPr/>
          </p:nvSpPr>
          <p:spPr bwMode="auto">
            <a:xfrm>
              <a:off x="2081213" y="3844926"/>
              <a:ext cx="42862" cy="76200"/>
            </a:xfrm>
            <a:custGeom>
              <a:avLst/>
              <a:gdLst>
                <a:gd name="T0" fmla="*/ 2147483647 w 30"/>
                <a:gd name="T1" fmla="*/ 2147483647 h 48"/>
                <a:gd name="T2" fmla="*/ 2147483647 w 30"/>
                <a:gd name="T3" fmla="*/ 2147483647 h 48"/>
                <a:gd name="T4" fmla="*/ 0 w 30"/>
                <a:gd name="T5" fmla="*/ 2147483647 h 48"/>
                <a:gd name="T6" fmla="*/ 0 w 30"/>
                <a:gd name="T7" fmla="*/ 2147483647 h 48"/>
                <a:gd name="T8" fmla="*/ 2147483647 w 30"/>
                <a:gd name="T9" fmla="*/ 2147483647 h 48"/>
                <a:gd name="T10" fmla="*/ 2147483647 w 30"/>
                <a:gd name="T11" fmla="*/ 2147483647 h 48"/>
                <a:gd name="T12" fmla="*/ 2147483647 w 30"/>
                <a:gd name="T13" fmla="*/ 2147483647 h 48"/>
                <a:gd name="T14" fmla="*/ 2147483647 w 30"/>
                <a:gd name="T15" fmla="*/ 2147483647 h 48"/>
                <a:gd name="T16" fmla="*/ 2147483647 w 30"/>
                <a:gd name="T17" fmla="*/ 2147483647 h 48"/>
                <a:gd name="T18" fmla="*/ 2147483647 w 30"/>
                <a:gd name="T19" fmla="*/ 0 h 48"/>
                <a:gd name="T20" fmla="*/ 2147483647 w 30"/>
                <a:gd name="T21" fmla="*/ 0 h 48"/>
                <a:gd name="T22" fmla="*/ 2147483647 w 30"/>
                <a:gd name="T23" fmla="*/ 0 h 48"/>
                <a:gd name="T24" fmla="*/ 2147483647 w 30"/>
                <a:gd name="T25" fmla="*/ 2147483647 h 48"/>
                <a:gd name="T26" fmla="*/ 2147483647 w 30"/>
                <a:gd name="T27" fmla="*/ 2147483647 h 48"/>
                <a:gd name="T28" fmla="*/ 2147483647 w 30"/>
                <a:gd name="T29" fmla="*/ 2147483647 h 48"/>
                <a:gd name="T30" fmla="*/ 2147483647 w 30"/>
                <a:gd name="T31" fmla="*/ 2147483647 h 48"/>
                <a:gd name="T32" fmla="*/ 2147483647 w 30"/>
                <a:gd name="T33" fmla="*/ 2147483647 h 48"/>
                <a:gd name="T34" fmla="*/ 2147483647 w 30"/>
                <a:gd name="T35" fmla="*/ 2147483647 h 48"/>
                <a:gd name="T36" fmla="*/ 2147483647 w 30"/>
                <a:gd name="T37" fmla="*/ 2147483647 h 48"/>
                <a:gd name="T38" fmla="*/ 2147483647 w 30"/>
                <a:gd name="T39" fmla="*/ 2147483647 h 48"/>
                <a:gd name="T40" fmla="*/ 2147483647 w 30"/>
                <a:gd name="T41" fmla="*/ 2147483647 h 48"/>
                <a:gd name="T42" fmla="*/ 2147483647 w 30"/>
                <a:gd name="T43" fmla="*/ 2147483647 h 48"/>
                <a:gd name="T44" fmla="*/ 2147483647 w 30"/>
                <a:gd name="T45" fmla="*/ 2147483647 h 48"/>
                <a:gd name="T46" fmla="*/ 2147483647 w 30"/>
                <a:gd name="T47" fmla="*/ 2147483647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48"/>
                <a:gd name="T74" fmla="*/ 30 w 30"/>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48">
                  <a:moveTo>
                    <a:pt x="9" y="46"/>
                  </a:moveTo>
                  <a:lnTo>
                    <a:pt x="2" y="46"/>
                  </a:lnTo>
                  <a:lnTo>
                    <a:pt x="0" y="48"/>
                  </a:lnTo>
                  <a:lnTo>
                    <a:pt x="0" y="10"/>
                  </a:lnTo>
                  <a:lnTo>
                    <a:pt x="5" y="8"/>
                  </a:lnTo>
                  <a:lnTo>
                    <a:pt x="12" y="8"/>
                  </a:lnTo>
                  <a:lnTo>
                    <a:pt x="15" y="7"/>
                  </a:lnTo>
                  <a:lnTo>
                    <a:pt x="17" y="5"/>
                  </a:lnTo>
                  <a:lnTo>
                    <a:pt x="20" y="1"/>
                  </a:lnTo>
                  <a:lnTo>
                    <a:pt x="24" y="0"/>
                  </a:lnTo>
                  <a:lnTo>
                    <a:pt x="26" y="0"/>
                  </a:lnTo>
                  <a:lnTo>
                    <a:pt x="30" y="0"/>
                  </a:lnTo>
                  <a:lnTo>
                    <a:pt x="26" y="4"/>
                  </a:lnTo>
                  <a:lnTo>
                    <a:pt x="24" y="7"/>
                  </a:lnTo>
                  <a:lnTo>
                    <a:pt x="23" y="11"/>
                  </a:lnTo>
                  <a:lnTo>
                    <a:pt x="21" y="16"/>
                  </a:lnTo>
                  <a:lnTo>
                    <a:pt x="21" y="25"/>
                  </a:lnTo>
                  <a:lnTo>
                    <a:pt x="20" y="33"/>
                  </a:lnTo>
                  <a:lnTo>
                    <a:pt x="19" y="37"/>
                  </a:lnTo>
                  <a:lnTo>
                    <a:pt x="16" y="42"/>
                  </a:lnTo>
                  <a:lnTo>
                    <a:pt x="14" y="43"/>
                  </a:lnTo>
                  <a:lnTo>
                    <a:pt x="11" y="43"/>
                  </a:lnTo>
                  <a:lnTo>
                    <a:pt x="10" y="43"/>
                  </a:lnTo>
                  <a:lnTo>
                    <a:pt x="9" y="4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3" name="Freeform 902"/>
            <p:cNvSpPr>
              <a:spLocks/>
            </p:cNvSpPr>
            <p:nvPr/>
          </p:nvSpPr>
          <p:spPr bwMode="auto">
            <a:xfrm>
              <a:off x="1384301" y="3368679"/>
              <a:ext cx="762001" cy="574675"/>
            </a:xfrm>
            <a:custGeom>
              <a:avLst/>
              <a:gdLst>
                <a:gd name="T0" fmla="*/ 2147483647 w 520"/>
                <a:gd name="T1" fmla="*/ 2147483647 h 362"/>
                <a:gd name="T2" fmla="*/ 2147483647 w 520"/>
                <a:gd name="T3" fmla="*/ 2147483647 h 362"/>
                <a:gd name="T4" fmla="*/ 2147483647 w 520"/>
                <a:gd name="T5" fmla="*/ 2147483647 h 362"/>
                <a:gd name="T6" fmla="*/ 2147483647 w 520"/>
                <a:gd name="T7" fmla="*/ 2147483647 h 362"/>
                <a:gd name="T8" fmla="*/ 2147483647 w 520"/>
                <a:gd name="T9" fmla="*/ 2147483647 h 362"/>
                <a:gd name="T10" fmla="*/ 2147483647 w 520"/>
                <a:gd name="T11" fmla="*/ 2147483647 h 362"/>
                <a:gd name="T12" fmla="*/ 2147483647 w 520"/>
                <a:gd name="T13" fmla="*/ 2147483647 h 362"/>
                <a:gd name="T14" fmla="*/ 2147483647 w 520"/>
                <a:gd name="T15" fmla="*/ 2147483647 h 362"/>
                <a:gd name="T16" fmla="*/ 2147483647 w 520"/>
                <a:gd name="T17" fmla="*/ 2147483647 h 362"/>
                <a:gd name="T18" fmla="*/ 2147483647 w 520"/>
                <a:gd name="T19" fmla="*/ 2147483647 h 362"/>
                <a:gd name="T20" fmla="*/ 2147483647 w 520"/>
                <a:gd name="T21" fmla="*/ 2147483647 h 362"/>
                <a:gd name="T22" fmla="*/ 2147483647 w 520"/>
                <a:gd name="T23" fmla="*/ 2147483647 h 362"/>
                <a:gd name="T24" fmla="*/ 2147483647 w 520"/>
                <a:gd name="T25" fmla="*/ 2147483647 h 362"/>
                <a:gd name="T26" fmla="*/ 2147483647 w 520"/>
                <a:gd name="T27" fmla="*/ 2147483647 h 362"/>
                <a:gd name="T28" fmla="*/ 2147483647 w 520"/>
                <a:gd name="T29" fmla="*/ 2147483647 h 362"/>
                <a:gd name="T30" fmla="*/ 2147483647 w 520"/>
                <a:gd name="T31" fmla="*/ 2147483647 h 362"/>
                <a:gd name="T32" fmla="*/ 2147483647 w 520"/>
                <a:gd name="T33" fmla="*/ 2147483647 h 362"/>
                <a:gd name="T34" fmla="*/ 2147483647 w 520"/>
                <a:gd name="T35" fmla="*/ 2147483647 h 362"/>
                <a:gd name="T36" fmla="*/ 2147483647 w 520"/>
                <a:gd name="T37" fmla="*/ 2147483647 h 362"/>
                <a:gd name="T38" fmla="*/ 2147483647 w 520"/>
                <a:gd name="T39" fmla="*/ 2147483647 h 362"/>
                <a:gd name="T40" fmla="*/ 2147483647 w 520"/>
                <a:gd name="T41" fmla="*/ 2147483647 h 362"/>
                <a:gd name="T42" fmla="*/ 2147483647 w 520"/>
                <a:gd name="T43" fmla="*/ 2147483647 h 362"/>
                <a:gd name="T44" fmla="*/ 2147483647 w 520"/>
                <a:gd name="T45" fmla="*/ 2147483647 h 362"/>
                <a:gd name="T46" fmla="*/ 2147483647 w 520"/>
                <a:gd name="T47" fmla="*/ 2147483647 h 362"/>
                <a:gd name="T48" fmla="*/ 2147483647 w 520"/>
                <a:gd name="T49" fmla="*/ 2147483647 h 362"/>
                <a:gd name="T50" fmla="*/ 2147483647 w 520"/>
                <a:gd name="T51" fmla="*/ 2147483647 h 362"/>
                <a:gd name="T52" fmla="*/ 2147483647 w 520"/>
                <a:gd name="T53" fmla="*/ 2147483647 h 362"/>
                <a:gd name="T54" fmla="*/ 2147483647 w 520"/>
                <a:gd name="T55" fmla="*/ 2147483647 h 362"/>
                <a:gd name="T56" fmla="*/ 2147483647 w 520"/>
                <a:gd name="T57" fmla="*/ 2147483647 h 362"/>
                <a:gd name="T58" fmla="*/ 2147483647 w 520"/>
                <a:gd name="T59" fmla="*/ 2147483647 h 362"/>
                <a:gd name="T60" fmla="*/ 2147483647 w 520"/>
                <a:gd name="T61" fmla="*/ 2147483647 h 362"/>
                <a:gd name="T62" fmla="*/ 2147483647 w 520"/>
                <a:gd name="T63" fmla="*/ 2147483647 h 362"/>
                <a:gd name="T64" fmla="*/ 2147483647 w 520"/>
                <a:gd name="T65" fmla="*/ 2147483647 h 362"/>
                <a:gd name="T66" fmla="*/ 2147483647 w 520"/>
                <a:gd name="T67" fmla="*/ 2147483647 h 362"/>
                <a:gd name="T68" fmla="*/ 2147483647 w 520"/>
                <a:gd name="T69" fmla="*/ 2147483647 h 362"/>
                <a:gd name="T70" fmla="*/ 2147483647 w 520"/>
                <a:gd name="T71" fmla="*/ 0 h 362"/>
                <a:gd name="T72" fmla="*/ 2147483647 w 520"/>
                <a:gd name="T73" fmla="*/ 2147483647 h 362"/>
                <a:gd name="T74" fmla="*/ 2147483647 w 520"/>
                <a:gd name="T75" fmla="*/ 2147483647 h 362"/>
                <a:gd name="T76" fmla="*/ 2147483647 w 520"/>
                <a:gd name="T77" fmla="*/ 2147483647 h 362"/>
                <a:gd name="T78" fmla="*/ 2147483647 w 520"/>
                <a:gd name="T79" fmla="*/ 2147483647 h 362"/>
                <a:gd name="T80" fmla="*/ 2147483647 w 520"/>
                <a:gd name="T81" fmla="*/ 2147483647 h 362"/>
                <a:gd name="T82" fmla="*/ 2147483647 w 520"/>
                <a:gd name="T83" fmla="*/ 2147483647 h 362"/>
                <a:gd name="T84" fmla="*/ 2147483647 w 520"/>
                <a:gd name="T85" fmla="*/ 2147483647 h 362"/>
                <a:gd name="T86" fmla="*/ 2147483647 w 520"/>
                <a:gd name="T87" fmla="*/ 2147483647 h 362"/>
                <a:gd name="T88" fmla="*/ 2147483647 w 520"/>
                <a:gd name="T89" fmla="*/ 2147483647 h 362"/>
                <a:gd name="T90" fmla="*/ 2147483647 w 520"/>
                <a:gd name="T91" fmla="*/ 2147483647 h 362"/>
                <a:gd name="T92" fmla="*/ 2147483647 w 520"/>
                <a:gd name="T93" fmla="*/ 2147483647 h 362"/>
                <a:gd name="T94" fmla="*/ 2147483647 w 520"/>
                <a:gd name="T95" fmla="*/ 2147483647 h 362"/>
                <a:gd name="T96" fmla="*/ 2147483647 w 520"/>
                <a:gd name="T97" fmla="*/ 2147483647 h 362"/>
                <a:gd name="T98" fmla="*/ 2147483647 w 520"/>
                <a:gd name="T99" fmla="*/ 2147483647 h 362"/>
                <a:gd name="T100" fmla="*/ 2147483647 w 520"/>
                <a:gd name="T101" fmla="*/ 2147483647 h 362"/>
                <a:gd name="T102" fmla="*/ 2147483647 w 520"/>
                <a:gd name="T103" fmla="*/ 2147483647 h 362"/>
                <a:gd name="T104" fmla="*/ 2147483647 w 520"/>
                <a:gd name="T105" fmla="*/ 2147483647 h 362"/>
                <a:gd name="T106" fmla="*/ 2147483647 w 520"/>
                <a:gd name="T107" fmla="*/ 2147483647 h 362"/>
                <a:gd name="T108" fmla="*/ 2147483647 w 520"/>
                <a:gd name="T109" fmla="*/ 2147483647 h 362"/>
                <a:gd name="T110" fmla="*/ 2147483647 w 520"/>
                <a:gd name="T111" fmla="*/ 2147483647 h 362"/>
                <a:gd name="T112" fmla="*/ 2147483647 w 520"/>
                <a:gd name="T113" fmla="*/ 2147483647 h 362"/>
                <a:gd name="T114" fmla="*/ 2147483647 w 520"/>
                <a:gd name="T115" fmla="*/ 2147483647 h 3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0"/>
                <a:gd name="T175" fmla="*/ 0 h 362"/>
                <a:gd name="T176" fmla="*/ 520 w 520"/>
                <a:gd name="T177" fmla="*/ 362 h 36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0" h="362">
                  <a:moveTo>
                    <a:pt x="505" y="300"/>
                  </a:moveTo>
                  <a:lnTo>
                    <a:pt x="501" y="300"/>
                  </a:lnTo>
                  <a:lnTo>
                    <a:pt x="499" y="300"/>
                  </a:lnTo>
                  <a:lnTo>
                    <a:pt x="495" y="301"/>
                  </a:lnTo>
                  <a:lnTo>
                    <a:pt x="492" y="305"/>
                  </a:lnTo>
                  <a:lnTo>
                    <a:pt x="490" y="307"/>
                  </a:lnTo>
                  <a:lnTo>
                    <a:pt x="487" y="308"/>
                  </a:lnTo>
                  <a:lnTo>
                    <a:pt x="480" y="308"/>
                  </a:lnTo>
                  <a:lnTo>
                    <a:pt x="475" y="310"/>
                  </a:lnTo>
                  <a:lnTo>
                    <a:pt x="471" y="311"/>
                  </a:lnTo>
                  <a:lnTo>
                    <a:pt x="466" y="311"/>
                  </a:lnTo>
                  <a:lnTo>
                    <a:pt x="461" y="310"/>
                  </a:lnTo>
                  <a:lnTo>
                    <a:pt x="454" y="310"/>
                  </a:lnTo>
                  <a:lnTo>
                    <a:pt x="451" y="312"/>
                  </a:lnTo>
                  <a:lnTo>
                    <a:pt x="449" y="313"/>
                  </a:lnTo>
                  <a:lnTo>
                    <a:pt x="448" y="316"/>
                  </a:lnTo>
                  <a:lnTo>
                    <a:pt x="448" y="317"/>
                  </a:lnTo>
                  <a:lnTo>
                    <a:pt x="449" y="318"/>
                  </a:lnTo>
                  <a:lnTo>
                    <a:pt x="451" y="320"/>
                  </a:lnTo>
                  <a:lnTo>
                    <a:pt x="451" y="326"/>
                  </a:lnTo>
                  <a:lnTo>
                    <a:pt x="452" y="329"/>
                  </a:lnTo>
                  <a:lnTo>
                    <a:pt x="453" y="331"/>
                  </a:lnTo>
                  <a:lnTo>
                    <a:pt x="454" y="332"/>
                  </a:lnTo>
                  <a:lnTo>
                    <a:pt x="456" y="333"/>
                  </a:lnTo>
                  <a:lnTo>
                    <a:pt x="457" y="333"/>
                  </a:lnTo>
                  <a:lnTo>
                    <a:pt x="458" y="336"/>
                  </a:lnTo>
                  <a:lnTo>
                    <a:pt x="457" y="338"/>
                  </a:lnTo>
                  <a:lnTo>
                    <a:pt x="454" y="340"/>
                  </a:lnTo>
                  <a:lnTo>
                    <a:pt x="444" y="342"/>
                  </a:lnTo>
                  <a:lnTo>
                    <a:pt x="440" y="343"/>
                  </a:lnTo>
                  <a:lnTo>
                    <a:pt x="437" y="346"/>
                  </a:lnTo>
                  <a:lnTo>
                    <a:pt x="429" y="355"/>
                  </a:lnTo>
                  <a:lnTo>
                    <a:pt x="424" y="358"/>
                  </a:lnTo>
                  <a:lnTo>
                    <a:pt x="420" y="362"/>
                  </a:lnTo>
                  <a:lnTo>
                    <a:pt x="415" y="355"/>
                  </a:lnTo>
                  <a:lnTo>
                    <a:pt x="410" y="348"/>
                  </a:lnTo>
                  <a:lnTo>
                    <a:pt x="404" y="343"/>
                  </a:lnTo>
                  <a:lnTo>
                    <a:pt x="398" y="340"/>
                  </a:lnTo>
                  <a:lnTo>
                    <a:pt x="395" y="339"/>
                  </a:lnTo>
                  <a:lnTo>
                    <a:pt x="391" y="339"/>
                  </a:lnTo>
                  <a:lnTo>
                    <a:pt x="387" y="342"/>
                  </a:lnTo>
                  <a:lnTo>
                    <a:pt x="382" y="346"/>
                  </a:lnTo>
                  <a:lnTo>
                    <a:pt x="378" y="350"/>
                  </a:lnTo>
                  <a:lnTo>
                    <a:pt x="374" y="352"/>
                  </a:lnTo>
                  <a:lnTo>
                    <a:pt x="369" y="353"/>
                  </a:lnTo>
                  <a:lnTo>
                    <a:pt x="365" y="353"/>
                  </a:lnTo>
                  <a:lnTo>
                    <a:pt x="355" y="351"/>
                  </a:lnTo>
                  <a:lnTo>
                    <a:pt x="346" y="348"/>
                  </a:lnTo>
                  <a:lnTo>
                    <a:pt x="343" y="346"/>
                  </a:lnTo>
                  <a:lnTo>
                    <a:pt x="340" y="346"/>
                  </a:lnTo>
                  <a:lnTo>
                    <a:pt x="334" y="346"/>
                  </a:lnTo>
                  <a:lnTo>
                    <a:pt x="325" y="344"/>
                  </a:lnTo>
                  <a:lnTo>
                    <a:pt x="317" y="339"/>
                  </a:lnTo>
                  <a:lnTo>
                    <a:pt x="312" y="338"/>
                  </a:lnTo>
                  <a:lnTo>
                    <a:pt x="307" y="338"/>
                  </a:lnTo>
                  <a:lnTo>
                    <a:pt x="302" y="338"/>
                  </a:lnTo>
                  <a:lnTo>
                    <a:pt x="299" y="337"/>
                  </a:lnTo>
                  <a:lnTo>
                    <a:pt x="297" y="336"/>
                  </a:lnTo>
                  <a:lnTo>
                    <a:pt x="293" y="332"/>
                  </a:lnTo>
                  <a:lnTo>
                    <a:pt x="291" y="330"/>
                  </a:lnTo>
                  <a:lnTo>
                    <a:pt x="289" y="329"/>
                  </a:lnTo>
                  <a:lnTo>
                    <a:pt x="280" y="326"/>
                  </a:lnTo>
                  <a:lnTo>
                    <a:pt x="273" y="323"/>
                  </a:lnTo>
                  <a:lnTo>
                    <a:pt x="265" y="317"/>
                  </a:lnTo>
                  <a:lnTo>
                    <a:pt x="263" y="313"/>
                  </a:lnTo>
                  <a:lnTo>
                    <a:pt x="261" y="310"/>
                  </a:lnTo>
                  <a:lnTo>
                    <a:pt x="259" y="308"/>
                  </a:lnTo>
                  <a:lnTo>
                    <a:pt x="256" y="307"/>
                  </a:lnTo>
                  <a:lnTo>
                    <a:pt x="242" y="306"/>
                  </a:lnTo>
                  <a:lnTo>
                    <a:pt x="235" y="304"/>
                  </a:lnTo>
                  <a:lnTo>
                    <a:pt x="230" y="300"/>
                  </a:lnTo>
                  <a:lnTo>
                    <a:pt x="225" y="295"/>
                  </a:lnTo>
                  <a:lnTo>
                    <a:pt x="223" y="292"/>
                  </a:lnTo>
                  <a:lnTo>
                    <a:pt x="221" y="291"/>
                  </a:lnTo>
                  <a:lnTo>
                    <a:pt x="213" y="288"/>
                  </a:lnTo>
                  <a:lnTo>
                    <a:pt x="207" y="283"/>
                  </a:lnTo>
                  <a:lnTo>
                    <a:pt x="202" y="279"/>
                  </a:lnTo>
                  <a:lnTo>
                    <a:pt x="198" y="273"/>
                  </a:lnTo>
                  <a:lnTo>
                    <a:pt x="195" y="266"/>
                  </a:lnTo>
                  <a:lnTo>
                    <a:pt x="195" y="259"/>
                  </a:lnTo>
                  <a:lnTo>
                    <a:pt x="195" y="251"/>
                  </a:lnTo>
                  <a:lnTo>
                    <a:pt x="198" y="244"/>
                  </a:lnTo>
                  <a:lnTo>
                    <a:pt x="199" y="241"/>
                  </a:lnTo>
                  <a:lnTo>
                    <a:pt x="199" y="237"/>
                  </a:lnTo>
                  <a:lnTo>
                    <a:pt x="198" y="234"/>
                  </a:lnTo>
                  <a:lnTo>
                    <a:pt x="195" y="230"/>
                  </a:lnTo>
                  <a:lnTo>
                    <a:pt x="192" y="223"/>
                  </a:lnTo>
                  <a:lnTo>
                    <a:pt x="185" y="212"/>
                  </a:lnTo>
                  <a:lnTo>
                    <a:pt x="179" y="204"/>
                  </a:lnTo>
                  <a:lnTo>
                    <a:pt x="165" y="186"/>
                  </a:lnTo>
                  <a:lnTo>
                    <a:pt x="162" y="183"/>
                  </a:lnTo>
                  <a:lnTo>
                    <a:pt x="160" y="178"/>
                  </a:lnTo>
                  <a:lnTo>
                    <a:pt x="152" y="166"/>
                  </a:lnTo>
                  <a:lnTo>
                    <a:pt x="147" y="160"/>
                  </a:lnTo>
                  <a:lnTo>
                    <a:pt x="142" y="155"/>
                  </a:lnTo>
                  <a:lnTo>
                    <a:pt x="137" y="150"/>
                  </a:lnTo>
                  <a:lnTo>
                    <a:pt x="134" y="144"/>
                  </a:lnTo>
                  <a:lnTo>
                    <a:pt x="132" y="136"/>
                  </a:lnTo>
                  <a:lnTo>
                    <a:pt x="128" y="131"/>
                  </a:lnTo>
                  <a:lnTo>
                    <a:pt x="125" y="129"/>
                  </a:lnTo>
                  <a:lnTo>
                    <a:pt x="124" y="128"/>
                  </a:lnTo>
                  <a:lnTo>
                    <a:pt x="119" y="123"/>
                  </a:lnTo>
                  <a:lnTo>
                    <a:pt x="115" y="119"/>
                  </a:lnTo>
                  <a:lnTo>
                    <a:pt x="108" y="110"/>
                  </a:lnTo>
                  <a:lnTo>
                    <a:pt x="104" y="107"/>
                  </a:lnTo>
                  <a:lnTo>
                    <a:pt x="99" y="104"/>
                  </a:lnTo>
                  <a:lnTo>
                    <a:pt x="96" y="102"/>
                  </a:lnTo>
                  <a:lnTo>
                    <a:pt x="94" y="100"/>
                  </a:lnTo>
                  <a:lnTo>
                    <a:pt x="91" y="94"/>
                  </a:lnTo>
                  <a:lnTo>
                    <a:pt x="89" y="87"/>
                  </a:lnTo>
                  <a:lnTo>
                    <a:pt x="86" y="83"/>
                  </a:lnTo>
                  <a:lnTo>
                    <a:pt x="84" y="81"/>
                  </a:lnTo>
                  <a:lnTo>
                    <a:pt x="80" y="78"/>
                  </a:lnTo>
                  <a:lnTo>
                    <a:pt x="77" y="76"/>
                  </a:lnTo>
                  <a:lnTo>
                    <a:pt x="76" y="72"/>
                  </a:lnTo>
                  <a:lnTo>
                    <a:pt x="75" y="69"/>
                  </a:lnTo>
                  <a:lnTo>
                    <a:pt x="73" y="62"/>
                  </a:lnTo>
                  <a:lnTo>
                    <a:pt x="71" y="55"/>
                  </a:lnTo>
                  <a:lnTo>
                    <a:pt x="70" y="52"/>
                  </a:lnTo>
                  <a:lnTo>
                    <a:pt x="66" y="50"/>
                  </a:lnTo>
                  <a:lnTo>
                    <a:pt x="65" y="49"/>
                  </a:lnTo>
                  <a:lnTo>
                    <a:pt x="63" y="46"/>
                  </a:lnTo>
                  <a:lnTo>
                    <a:pt x="65" y="43"/>
                  </a:lnTo>
                  <a:lnTo>
                    <a:pt x="66" y="39"/>
                  </a:lnTo>
                  <a:lnTo>
                    <a:pt x="66" y="36"/>
                  </a:lnTo>
                  <a:lnTo>
                    <a:pt x="66" y="35"/>
                  </a:lnTo>
                  <a:lnTo>
                    <a:pt x="63" y="33"/>
                  </a:lnTo>
                  <a:lnTo>
                    <a:pt x="61" y="33"/>
                  </a:lnTo>
                  <a:lnTo>
                    <a:pt x="59" y="35"/>
                  </a:lnTo>
                  <a:lnTo>
                    <a:pt x="58" y="33"/>
                  </a:lnTo>
                  <a:lnTo>
                    <a:pt x="56" y="32"/>
                  </a:lnTo>
                  <a:lnTo>
                    <a:pt x="53" y="32"/>
                  </a:lnTo>
                  <a:lnTo>
                    <a:pt x="47" y="35"/>
                  </a:lnTo>
                  <a:lnTo>
                    <a:pt x="44" y="33"/>
                  </a:lnTo>
                  <a:lnTo>
                    <a:pt x="43" y="32"/>
                  </a:lnTo>
                  <a:lnTo>
                    <a:pt x="42" y="30"/>
                  </a:lnTo>
                  <a:lnTo>
                    <a:pt x="40" y="29"/>
                  </a:lnTo>
                  <a:lnTo>
                    <a:pt x="39" y="27"/>
                  </a:lnTo>
                  <a:lnTo>
                    <a:pt x="38" y="27"/>
                  </a:lnTo>
                  <a:lnTo>
                    <a:pt x="37" y="33"/>
                  </a:lnTo>
                  <a:lnTo>
                    <a:pt x="37" y="38"/>
                  </a:lnTo>
                  <a:lnTo>
                    <a:pt x="38" y="45"/>
                  </a:lnTo>
                  <a:lnTo>
                    <a:pt x="39" y="51"/>
                  </a:lnTo>
                  <a:lnTo>
                    <a:pt x="40" y="64"/>
                  </a:lnTo>
                  <a:lnTo>
                    <a:pt x="42" y="68"/>
                  </a:lnTo>
                  <a:lnTo>
                    <a:pt x="43" y="70"/>
                  </a:lnTo>
                  <a:lnTo>
                    <a:pt x="47" y="72"/>
                  </a:lnTo>
                  <a:lnTo>
                    <a:pt x="52" y="75"/>
                  </a:lnTo>
                  <a:lnTo>
                    <a:pt x="56" y="77"/>
                  </a:lnTo>
                  <a:lnTo>
                    <a:pt x="58" y="81"/>
                  </a:lnTo>
                  <a:lnTo>
                    <a:pt x="61" y="90"/>
                  </a:lnTo>
                  <a:lnTo>
                    <a:pt x="59" y="91"/>
                  </a:lnTo>
                  <a:lnTo>
                    <a:pt x="62" y="93"/>
                  </a:lnTo>
                  <a:lnTo>
                    <a:pt x="70" y="100"/>
                  </a:lnTo>
                  <a:lnTo>
                    <a:pt x="71" y="102"/>
                  </a:lnTo>
                  <a:lnTo>
                    <a:pt x="71" y="104"/>
                  </a:lnTo>
                  <a:lnTo>
                    <a:pt x="71" y="108"/>
                  </a:lnTo>
                  <a:lnTo>
                    <a:pt x="71" y="110"/>
                  </a:lnTo>
                  <a:lnTo>
                    <a:pt x="73" y="113"/>
                  </a:lnTo>
                  <a:lnTo>
                    <a:pt x="77" y="116"/>
                  </a:lnTo>
                  <a:lnTo>
                    <a:pt x="78" y="121"/>
                  </a:lnTo>
                  <a:lnTo>
                    <a:pt x="80" y="123"/>
                  </a:lnTo>
                  <a:lnTo>
                    <a:pt x="82" y="123"/>
                  </a:lnTo>
                  <a:lnTo>
                    <a:pt x="84" y="129"/>
                  </a:lnTo>
                  <a:lnTo>
                    <a:pt x="86" y="133"/>
                  </a:lnTo>
                  <a:lnTo>
                    <a:pt x="90" y="135"/>
                  </a:lnTo>
                  <a:lnTo>
                    <a:pt x="94" y="136"/>
                  </a:lnTo>
                  <a:lnTo>
                    <a:pt x="95" y="138"/>
                  </a:lnTo>
                  <a:lnTo>
                    <a:pt x="95" y="140"/>
                  </a:lnTo>
                  <a:lnTo>
                    <a:pt x="94" y="142"/>
                  </a:lnTo>
                  <a:lnTo>
                    <a:pt x="94" y="145"/>
                  </a:lnTo>
                  <a:lnTo>
                    <a:pt x="99" y="158"/>
                  </a:lnTo>
                  <a:lnTo>
                    <a:pt x="103" y="161"/>
                  </a:lnTo>
                  <a:lnTo>
                    <a:pt x="106" y="165"/>
                  </a:lnTo>
                  <a:lnTo>
                    <a:pt x="108" y="170"/>
                  </a:lnTo>
                  <a:lnTo>
                    <a:pt x="108" y="173"/>
                  </a:lnTo>
                  <a:lnTo>
                    <a:pt x="110" y="177"/>
                  </a:lnTo>
                  <a:lnTo>
                    <a:pt x="114" y="179"/>
                  </a:lnTo>
                  <a:lnTo>
                    <a:pt x="118" y="182"/>
                  </a:lnTo>
                  <a:lnTo>
                    <a:pt x="120" y="184"/>
                  </a:lnTo>
                  <a:lnTo>
                    <a:pt x="125" y="191"/>
                  </a:lnTo>
                  <a:lnTo>
                    <a:pt x="129" y="199"/>
                  </a:lnTo>
                  <a:lnTo>
                    <a:pt x="131" y="201"/>
                  </a:lnTo>
                  <a:lnTo>
                    <a:pt x="129" y="202"/>
                  </a:lnTo>
                  <a:lnTo>
                    <a:pt x="128" y="204"/>
                  </a:lnTo>
                  <a:lnTo>
                    <a:pt x="120" y="206"/>
                  </a:lnTo>
                  <a:lnTo>
                    <a:pt x="118" y="206"/>
                  </a:lnTo>
                  <a:lnTo>
                    <a:pt x="117" y="205"/>
                  </a:lnTo>
                  <a:lnTo>
                    <a:pt x="115" y="203"/>
                  </a:lnTo>
                  <a:lnTo>
                    <a:pt x="115" y="201"/>
                  </a:lnTo>
                  <a:lnTo>
                    <a:pt x="114" y="196"/>
                  </a:lnTo>
                  <a:lnTo>
                    <a:pt x="112" y="193"/>
                  </a:lnTo>
                  <a:lnTo>
                    <a:pt x="108" y="191"/>
                  </a:lnTo>
                  <a:lnTo>
                    <a:pt x="103" y="191"/>
                  </a:lnTo>
                  <a:lnTo>
                    <a:pt x="101" y="186"/>
                  </a:lnTo>
                  <a:lnTo>
                    <a:pt x="99" y="183"/>
                  </a:lnTo>
                  <a:lnTo>
                    <a:pt x="92" y="179"/>
                  </a:lnTo>
                  <a:lnTo>
                    <a:pt x="87" y="174"/>
                  </a:lnTo>
                  <a:lnTo>
                    <a:pt x="85" y="173"/>
                  </a:lnTo>
                  <a:lnTo>
                    <a:pt x="82" y="172"/>
                  </a:lnTo>
                  <a:lnTo>
                    <a:pt x="81" y="167"/>
                  </a:lnTo>
                  <a:lnTo>
                    <a:pt x="80" y="163"/>
                  </a:lnTo>
                  <a:lnTo>
                    <a:pt x="78" y="152"/>
                  </a:lnTo>
                  <a:lnTo>
                    <a:pt x="77" y="146"/>
                  </a:lnTo>
                  <a:lnTo>
                    <a:pt x="76" y="141"/>
                  </a:lnTo>
                  <a:lnTo>
                    <a:pt x="72" y="138"/>
                  </a:lnTo>
                  <a:lnTo>
                    <a:pt x="67" y="135"/>
                  </a:lnTo>
                  <a:lnTo>
                    <a:pt x="66" y="134"/>
                  </a:lnTo>
                  <a:lnTo>
                    <a:pt x="65" y="131"/>
                  </a:lnTo>
                  <a:lnTo>
                    <a:pt x="63" y="128"/>
                  </a:lnTo>
                  <a:lnTo>
                    <a:pt x="62" y="128"/>
                  </a:lnTo>
                  <a:lnTo>
                    <a:pt x="58" y="129"/>
                  </a:lnTo>
                  <a:lnTo>
                    <a:pt x="56" y="131"/>
                  </a:lnTo>
                  <a:lnTo>
                    <a:pt x="53" y="131"/>
                  </a:lnTo>
                  <a:lnTo>
                    <a:pt x="52" y="129"/>
                  </a:lnTo>
                  <a:lnTo>
                    <a:pt x="52" y="128"/>
                  </a:lnTo>
                  <a:lnTo>
                    <a:pt x="51" y="126"/>
                  </a:lnTo>
                  <a:lnTo>
                    <a:pt x="47" y="125"/>
                  </a:lnTo>
                  <a:lnTo>
                    <a:pt x="43" y="116"/>
                  </a:lnTo>
                  <a:lnTo>
                    <a:pt x="37" y="108"/>
                  </a:lnTo>
                  <a:lnTo>
                    <a:pt x="40" y="107"/>
                  </a:lnTo>
                  <a:lnTo>
                    <a:pt x="43" y="108"/>
                  </a:lnTo>
                  <a:lnTo>
                    <a:pt x="45" y="107"/>
                  </a:lnTo>
                  <a:lnTo>
                    <a:pt x="48" y="106"/>
                  </a:lnTo>
                  <a:lnTo>
                    <a:pt x="51" y="103"/>
                  </a:lnTo>
                  <a:lnTo>
                    <a:pt x="51" y="102"/>
                  </a:lnTo>
                  <a:lnTo>
                    <a:pt x="51" y="101"/>
                  </a:lnTo>
                  <a:lnTo>
                    <a:pt x="48" y="97"/>
                  </a:lnTo>
                  <a:lnTo>
                    <a:pt x="47" y="96"/>
                  </a:lnTo>
                  <a:lnTo>
                    <a:pt x="45" y="94"/>
                  </a:lnTo>
                  <a:lnTo>
                    <a:pt x="44" y="93"/>
                  </a:lnTo>
                  <a:lnTo>
                    <a:pt x="43" y="93"/>
                  </a:lnTo>
                  <a:lnTo>
                    <a:pt x="42" y="88"/>
                  </a:lnTo>
                  <a:lnTo>
                    <a:pt x="39" y="86"/>
                  </a:lnTo>
                  <a:lnTo>
                    <a:pt x="32" y="81"/>
                  </a:lnTo>
                  <a:lnTo>
                    <a:pt x="30" y="78"/>
                  </a:lnTo>
                  <a:lnTo>
                    <a:pt x="30" y="76"/>
                  </a:lnTo>
                  <a:lnTo>
                    <a:pt x="29" y="74"/>
                  </a:lnTo>
                  <a:lnTo>
                    <a:pt x="28" y="72"/>
                  </a:lnTo>
                  <a:lnTo>
                    <a:pt x="26" y="71"/>
                  </a:lnTo>
                  <a:lnTo>
                    <a:pt x="25" y="70"/>
                  </a:lnTo>
                  <a:lnTo>
                    <a:pt x="23" y="61"/>
                  </a:lnTo>
                  <a:lnTo>
                    <a:pt x="19" y="51"/>
                  </a:lnTo>
                  <a:lnTo>
                    <a:pt x="10" y="32"/>
                  </a:lnTo>
                  <a:lnTo>
                    <a:pt x="10" y="29"/>
                  </a:lnTo>
                  <a:lnTo>
                    <a:pt x="9" y="25"/>
                  </a:lnTo>
                  <a:lnTo>
                    <a:pt x="6" y="23"/>
                  </a:lnTo>
                  <a:lnTo>
                    <a:pt x="5" y="20"/>
                  </a:lnTo>
                  <a:lnTo>
                    <a:pt x="4" y="17"/>
                  </a:lnTo>
                  <a:lnTo>
                    <a:pt x="2" y="8"/>
                  </a:lnTo>
                  <a:lnTo>
                    <a:pt x="0" y="1"/>
                  </a:lnTo>
                  <a:lnTo>
                    <a:pt x="40" y="0"/>
                  </a:lnTo>
                  <a:lnTo>
                    <a:pt x="43" y="1"/>
                  </a:lnTo>
                  <a:lnTo>
                    <a:pt x="45" y="3"/>
                  </a:lnTo>
                  <a:lnTo>
                    <a:pt x="45" y="5"/>
                  </a:lnTo>
                  <a:lnTo>
                    <a:pt x="43" y="7"/>
                  </a:lnTo>
                  <a:lnTo>
                    <a:pt x="42" y="8"/>
                  </a:lnTo>
                  <a:lnTo>
                    <a:pt x="42" y="10"/>
                  </a:lnTo>
                  <a:lnTo>
                    <a:pt x="43" y="12"/>
                  </a:lnTo>
                  <a:lnTo>
                    <a:pt x="47" y="13"/>
                  </a:lnTo>
                  <a:lnTo>
                    <a:pt x="57" y="14"/>
                  </a:lnTo>
                  <a:lnTo>
                    <a:pt x="73" y="19"/>
                  </a:lnTo>
                  <a:lnTo>
                    <a:pt x="89" y="25"/>
                  </a:lnTo>
                  <a:lnTo>
                    <a:pt x="99" y="29"/>
                  </a:lnTo>
                  <a:lnTo>
                    <a:pt x="109" y="32"/>
                  </a:lnTo>
                  <a:lnTo>
                    <a:pt x="114" y="32"/>
                  </a:lnTo>
                  <a:lnTo>
                    <a:pt x="117" y="32"/>
                  </a:lnTo>
                  <a:lnTo>
                    <a:pt x="125" y="31"/>
                  </a:lnTo>
                  <a:lnTo>
                    <a:pt x="136" y="32"/>
                  </a:lnTo>
                  <a:lnTo>
                    <a:pt x="138" y="31"/>
                  </a:lnTo>
                  <a:lnTo>
                    <a:pt x="139" y="31"/>
                  </a:lnTo>
                  <a:lnTo>
                    <a:pt x="141" y="29"/>
                  </a:lnTo>
                  <a:lnTo>
                    <a:pt x="141" y="25"/>
                  </a:lnTo>
                  <a:lnTo>
                    <a:pt x="142" y="23"/>
                  </a:lnTo>
                  <a:lnTo>
                    <a:pt x="143" y="21"/>
                  </a:lnTo>
                  <a:lnTo>
                    <a:pt x="145" y="20"/>
                  </a:lnTo>
                  <a:lnTo>
                    <a:pt x="185" y="19"/>
                  </a:lnTo>
                  <a:lnTo>
                    <a:pt x="188" y="19"/>
                  </a:lnTo>
                  <a:lnTo>
                    <a:pt x="189" y="20"/>
                  </a:lnTo>
                  <a:lnTo>
                    <a:pt x="192" y="24"/>
                  </a:lnTo>
                  <a:lnTo>
                    <a:pt x="207" y="44"/>
                  </a:lnTo>
                  <a:lnTo>
                    <a:pt x="218" y="59"/>
                  </a:lnTo>
                  <a:lnTo>
                    <a:pt x="230" y="70"/>
                  </a:lnTo>
                  <a:lnTo>
                    <a:pt x="233" y="74"/>
                  </a:lnTo>
                  <a:lnTo>
                    <a:pt x="237" y="75"/>
                  </a:lnTo>
                  <a:lnTo>
                    <a:pt x="240" y="75"/>
                  </a:lnTo>
                  <a:lnTo>
                    <a:pt x="242" y="74"/>
                  </a:lnTo>
                  <a:lnTo>
                    <a:pt x="245" y="70"/>
                  </a:lnTo>
                  <a:lnTo>
                    <a:pt x="247" y="65"/>
                  </a:lnTo>
                  <a:lnTo>
                    <a:pt x="250" y="63"/>
                  </a:lnTo>
                  <a:lnTo>
                    <a:pt x="254" y="62"/>
                  </a:lnTo>
                  <a:lnTo>
                    <a:pt x="256" y="62"/>
                  </a:lnTo>
                  <a:lnTo>
                    <a:pt x="259" y="63"/>
                  </a:lnTo>
                  <a:lnTo>
                    <a:pt x="261" y="64"/>
                  </a:lnTo>
                  <a:lnTo>
                    <a:pt x="265" y="65"/>
                  </a:lnTo>
                  <a:lnTo>
                    <a:pt x="273" y="68"/>
                  </a:lnTo>
                  <a:lnTo>
                    <a:pt x="275" y="69"/>
                  </a:lnTo>
                  <a:lnTo>
                    <a:pt x="279" y="71"/>
                  </a:lnTo>
                  <a:lnTo>
                    <a:pt x="283" y="76"/>
                  </a:lnTo>
                  <a:lnTo>
                    <a:pt x="284" y="81"/>
                  </a:lnTo>
                  <a:lnTo>
                    <a:pt x="284" y="86"/>
                  </a:lnTo>
                  <a:lnTo>
                    <a:pt x="287" y="91"/>
                  </a:lnTo>
                  <a:lnTo>
                    <a:pt x="289" y="97"/>
                  </a:lnTo>
                  <a:lnTo>
                    <a:pt x="292" y="101"/>
                  </a:lnTo>
                  <a:lnTo>
                    <a:pt x="296" y="104"/>
                  </a:lnTo>
                  <a:lnTo>
                    <a:pt x="298" y="113"/>
                  </a:lnTo>
                  <a:lnTo>
                    <a:pt x="303" y="126"/>
                  </a:lnTo>
                  <a:lnTo>
                    <a:pt x="305" y="128"/>
                  </a:lnTo>
                  <a:lnTo>
                    <a:pt x="307" y="132"/>
                  </a:lnTo>
                  <a:lnTo>
                    <a:pt x="310" y="133"/>
                  </a:lnTo>
                  <a:lnTo>
                    <a:pt x="316" y="134"/>
                  </a:lnTo>
                  <a:lnTo>
                    <a:pt x="322" y="135"/>
                  </a:lnTo>
                  <a:lnTo>
                    <a:pt x="331" y="138"/>
                  </a:lnTo>
                  <a:lnTo>
                    <a:pt x="340" y="141"/>
                  </a:lnTo>
                  <a:lnTo>
                    <a:pt x="340" y="146"/>
                  </a:lnTo>
                  <a:lnTo>
                    <a:pt x="340" y="151"/>
                  </a:lnTo>
                  <a:lnTo>
                    <a:pt x="340" y="158"/>
                  </a:lnTo>
                  <a:lnTo>
                    <a:pt x="340" y="163"/>
                  </a:lnTo>
                  <a:lnTo>
                    <a:pt x="339" y="164"/>
                  </a:lnTo>
                  <a:lnTo>
                    <a:pt x="338" y="164"/>
                  </a:lnTo>
                  <a:lnTo>
                    <a:pt x="336" y="161"/>
                  </a:lnTo>
                  <a:lnTo>
                    <a:pt x="334" y="159"/>
                  </a:lnTo>
                  <a:lnTo>
                    <a:pt x="332" y="158"/>
                  </a:lnTo>
                  <a:lnTo>
                    <a:pt x="331" y="158"/>
                  </a:lnTo>
                  <a:lnTo>
                    <a:pt x="330" y="160"/>
                  </a:lnTo>
                  <a:lnTo>
                    <a:pt x="330" y="167"/>
                  </a:lnTo>
                  <a:lnTo>
                    <a:pt x="330" y="174"/>
                  </a:lnTo>
                  <a:lnTo>
                    <a:pt x="331" y="182"/>
                  </a:lnTo>
                  <a:lnTo>
                    <a:pt x="332" y="180"/>
                  </a:lnTo>
                  <a:lnTo>
                    <a:pt x="332" y="179"/>
                  </a:lnTo>
                  <a:lnTo>
                    <a:pt x="334" y="174"/>
                  </a:lnTo>
                  <a:lnTo>
                    <a:pt x="335" y="177"/>
                  </a:lnTo>
                  <a:lnTo>
                    <a:pt x="336" y="182"/>
                  </a:lnTo>
                  <a:lnTo>
                    <a:pt x="336" y="192"/>
                  </a:lnTo>
                  <a:lnTo>
                    <a:pt x="336" y="203"/>
                  </a:lnTo>
                  <a:lnTo>
                    <a:pt x="332" y="224"/>
                  </a:lnTo>
                  <a:lnTo>
                    <a:pt x="332" y="223"/>
                  </a:lnTo>
                  <a:lnTo>
                    <a:pt x="332" y="225"/>
                  </a:lnTo>
                  <a:lnTo>
                    <a:pt x="332" y="228"/>
                  </a:lnTo>
                  <a:lnTo>
                    <a:pt x="335" y="229"/>
                  </a:lnTo>
                  <a:lnTo>
                    <a:pt x="336" y="231"/>
                  </a:lnTo>
                  <a:lnTo>
                    <a:pt x="340" y="244"/>
                  </a:lnTo>
                  <a:lnTo>
                    <a:pt x="345" y="256"/>
                  </a:lnTo>
                  <a:lnTo>
                    <a:pt x="352" y="267"/>
                  </a:lnTo>
                  <a:lnTo>
                    <a:pt x="362" y="276"/>
                  </a:lnTo>
                  <a:lnTo>
                    <a:pt x="365" y="281"/>
                  </a:lnTo>
                  <a:lnTo>
                    <a:pt x="367" y="283"/>
                  </a:lnTo>
                  <a:lnTo>
                    <a:pt x="369" y="286"/>
                  </a:lnTo>
                  <a:lnTo>
                    <a:pt x="374" y="291"/>
                  </a:lnTo>
                  <a:lnTo>
                    <a:pt x="379" y="295"/>
                  </a:lnTo>
                  <a:lnTo>
                    <a:pt x="385" y="300"/>
                  </a:lnTo>
                  <a:lnTo>
                    <a:pt x="388" y="301"/>
                  </a:lnTo>
                  <a:lnTo>
                    <a:pt x="392" y="301"/>
                  </a:lnTo>
                  <a:lnTo>
                    <a:pt x="396" y="301"/>
                  </a:lnTo>
                  <a:lnTo>
                    <a:pt x="400" y="300"/>
                  </a:lnTo>
                  <a:lnTo>
                    <a:pt x="402" y="300"/>
                  </a:lnTo>
                  <a:lnTo>
                    <a:pt x="406" y="301"/>
                  </a:lnTo>
                  <a:lnTo>
                    <a:pt x="409" y="299"/>
                  </a:lnTo>
                  <a:lnTo>
                    <a:pt x="412" y="298"/>
                  </a:lnTo>
                  <a:lnTo>
                    <a:pt x="414" y="298"/>
                  </a:lnTo>
                  <a:lnTo>
                    <a:pt x="416" y="299"/>
                  </a:lnTo>
                  <a:lnTo>
                    <a:pt x="418" y="300"/>
                  </a:lnTo>
                  <a:lnTo>
                    <a:pt x="420" y="300"/>
                  </a:lnTo>
                  <a:lnTo>
                    <a:pt x="426" y="298"/>
                  </a:lnTo>
                  <a:lnTo>
                    <a:pt x="429" y="297"/>
                  </a:lnTo>
                  <a:lnTo>
                    <a:pt x="433" y="298"/>
                  </a:lnTo>
                  <a:lnTo>
                    <a:pt x="434" y="300"/>
                  </a:lnTo>
                  <a:lnTo>
                    <a:pt x="435" y="301"/>
                  </a:lnTo>
                  <a:lnTo>
                    <a:pt x="435" y="304"/>
                  </a:lnTo>
                  <a:lnTo>
                    <a:pt x="438" y="304"/>
                  </a:lnTo>
                  <a:lnTo>
                    <a:pt x="444" y="302"/>
                  </a:lnTo>
                  <a:lnTo>
                    <a:pt x="447" y="300"/>
                  </a:lnTo>
                  <a:lnTo>
                    <a:pt x="448" y="299"/>
                  </a:lnTo>
                  <a:lnTo>
                    <a:pt x="449" y="293"/>
                  </a:lnTo>
                  <a:lnTo>
                    <a:pt x="451" y="291"/>
                  </a:lnTo>
                  <a:lnTo>
                    <a:pt x="452" y="288"/>
                  </a:lnTo>
                  <a:lnTo>
                    <a:pt x="453" y="286"/>
                  </a:lnTo>
                  <a:lnTo>
                    <a:pt x="453" y="285"/>
                  </a:lnTo>
                  <a:lnTo>
                    <a:pt x="453" y="280"/>
                  </a:lnTo>
                  <a:lnTo>
                    <a:pt x="454" y="274"/>
                  </a:lnTo>
                  <a:lnTo>
                    <a:pt x="456" y="269"/>
                  </a:lnTo>
                  <a:lnTo>
                    <a:pt x="458" y="267"/>
                  </a:lnTo>
                  <a:lnTo>
                    <a:pt x="461" y="263"/>
                  </a:lnTo>
                  <a:lnTo>
                    <a:pt x="462" y="261"/>
                  </a:lnTo>
                  <a:lnTo>
                    <a:pt x="462" y="259"/>
                  </a:lnTo>
                  <a:lnTo>
                    <a:pt x="463" y="254"/>
                  </a:lnTo>
                  <a:lnTo>
                    <a:pt x="466" y="250"/>
                  </a:lnTo>
                  <a:lnTo>
                    <a:pt x="468" y="248"/>
                  </a:lnTo>
                  <a:lnTo>
                    <a:pt x="471" y="248"/>
                  </a:lnTo>
                  <a:lnTo>
                    <a:pt x="475" y="248"/>
                  </a:lnTo>
                  <a:lnTo>
                    <a:pt x="477" y="248"/>
                  </a:lnTo>
                  <a:lnTo>
                    <a:pt x="480" y="248"/>
                  </a:lnTo>
                  <a:lnTo>
                    <a:pt x="489" y="244"/>
                  </a:lnTo>
                  <a:lnTo>
                    <a:pt x="498" y="242"/>
                  </a:lnTo>
                  <a:lnTo>
                    <a:pt x="517" y="241"/>
                  </a:lnTo>
                  <a:lnTo>
                    <a:pt x="518" y="241"/>
                  </a:lnTo>
                  <a:lnTo>
                    <a:pt x="519" y="243"/>
                  </a:lnTo>
                  <a:lnTo>
                    <a:pt x="520" y="246"/>
                  </a:lnTo>
                  <a:lnTo>
                    <a:pt x="519" y="248"/>
                  </a:lnTo>
                  <a:lnTo>
                    <a:pt x="515" y="254"/>
                  </a:lnTo>
                  <a:lnTo>
                    <a:pt x="513" y="260"/>
                  </a:lnTo>
                  <a:lnTo>
                    <a:pt x="512" y="266"/>
                  </a:lnTo>
                  <a:lnTo>
                    <a:pt x="510" y="272"/>
                  </a:lnTo>
                  <a:lnTo>
                    <a:pt x="510" y="283"/>
                  </a:lnTo>
                  <a:lnTo>
                    <a:pt x="510" y="297"/>
                  </a:lnTo>
                  <a:lnTo>
                    <a:pt x="510" y="298"/>
                  </a:lnTo>
                  <a:lnTo>
                    <a:pt x="508" y="299"/>
                  </a:lnTo>
                  <a:lnTo>
                    <a:pt x="505" y="30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4" name="Freeform 903"/>
            <p:cNvSpPr>
              <a:spLocks/>
            </p:cNvSpPr>
            <p:nvPr/>
          </p:nvSpPr>
          <p:spPr bwMode="auto">
            <a:xfrm>
              <a:off x="2078040" y="3843339"/>
              <a:ext cx="46037" cy="74612"/>
            </a:xfrm>
            <a:custGeom>
              <a:avLst/>
              <a:gdLst>
                <a:gd name="T0" fmla="*/ 2147483647 w 31"/>
                <a:gd name="T1" fmla="*/ 2147483647 h 47"/>
                <a:gd name="T2" fmla="*/ 2147483647 w 31"/>
                <a:gd name="T3" fmla="*/ 2147483647 h 47"/>
                <a:gd name="T4" fmla="*/ 2147483647 w 31"/>
                <a:gd name="T5" fmla="*/ 2147483647 h 47"/>
                <a:gd name="T6" fmla="*/ 0 w 31"/>
                <a:gd name="T7" fmla="*/ 2147483647 h 47"/>
                <a:gd name="T8" fmla="*/ 0 w 31"/>
                <a:gd name="T9" fmla="*/ 2147483647 h 47"/>
                <a:gd name="T10" fmla="*/ 0 w 31"/>
                <a:gd name="T11" fmla="*/ 2147483647 h 47"/>
                <a:gd name="T12" fmla="*/ 2147483647 w 31"/>
                <a:gd name="T13" fmla="*/ 2147483647 h 47"/>
                <a:gd name="T14" fmla="*/ 2147483647 w 31"/>
                <a:gd name="T15" fmla="*/ 2147483647 h 47"/>
                <a:gd name="T16" fmla="*/ 2147483647 w 31"/>
                <a:gd name="T17" fmla="*/ 2147483647 h 47"/>
                <a:gd name="T18" fmla="*/ 2147483647 w 31"/>
                <a:gd name="T19" fmla="*/ 2147483647 h 47"/>
                <a:gd name="T20" fmla="*/ 2147483647 w 31"/>
                <a:gd name="T21" fmla="*/ 2147483647 h 47"/>
                <a:gd name="T22" fmla="*/ 2147483647 w 31"/>
                <a:gd name="T23" fmla="*/ 2147483647 h 47"/>
                <a:gd name="T24" fmla="*/ 2147483647 w 31"/>
                <a:gd name="T25" fmla="*/ 0 h 47"/>
                <a:gd name="T26" fmla="*/ 2147483647 w 31"/>
                <a:gd name="T27" fmla="*/ 0 h 47"/>
                <a:gd name="T28" fmla="*/ 2147483647 w 31"/>
                <a:gd name="T29" fmla="*/ 0 h 47"/>
                <a:gd name="T30" fmla="*/ 2147483647 w 31"/>
                <a:gd name="T31" fmla="*/ 0 h 47"/>
                <a:gd name="T32" fmla="*/ 2147483647 w 31"/>
                <a:gd name="T33" fmla="*/ 0 h 47"/>
                <a:gd name="T34" fmla="*/ 2147483647 w 31"/>
                <a:gd name="T35" fmla="*/ 2147483647 h 47"/>
                <a:gd name="T36" fmla="*/ 2147483647 w 31"/>
                <a:gd name="T37" fmla="*/ 2147483647 h 47"/>
                <a:gd name="T38" fmla="*/ 2147483647 w 31"/>
                <a:gd name="T39" fmla="*/ 2147483647 h 47"/>
                <a:gd name="T40" fmla="*/ 2147483647 w 31"/>
                <a:gd name="T41" fmla="*/ 2147483647 h 47"/>
                <a:gd name="T42" fmla="*/ 2147483647 w 31"/>
                <a:gd name="T43" fmla="*/ 2147483647 h 47"/>
                <a:gd name="T44" fmla="*/ 2147483647 w 31"/>
                <a:gd name="T45" fmla="*/ 2147483647 h 47"/>
                <a:gd name="T46" fmla="*/ 2147483647 w 31"/>
                <a:gd name="T47" fmla="*/ 2147483647 h 47"/>
                <a:gd name="T48" fmla="*/ 2147483647 w 31"/>
                <a:gd name="T49" fmla="*/ 2147483647 h 47"/>
                <a:gd name="T50" fmla="*/ 2147483647 w 31"/>
                <a:gd name="T51" fmla="*/ 2147483647 h 47"/>
                <a:gd name="T52" fmla="*/ 2147483647 w 31"/>
                <a:gd name="T53" fmla="*/ 2147483647 h 47"/>
                <a:gd name="T54" fmla="*/ 2147483647 w 31"/>
                <a:gd name="T55" fmla="*/ 2147483647 h 47"/>
                <a:gd name="T56" fmla="*/ 2147483647 w 31"/>
                <a:gd name="T57" fmla="*/ 2147483647 h 47"/>
                <a:gd name="T58" fmla="*/ 2147483647 w 31"/>
                <a:gd name="T59" fmla="*/ 2147483647 h 47"/>
                <a:gd name="T60" fmla="*/ 2147483647 w 31"/>
                <a:gd name="T61" fmla="*/ 2147483647 h 47"/>
                <a:gd name="T62" fmla="*/ 2147483647 w 31"/>
                <a:gd name="T63" fmla="*/ 2147483647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1"/>
                <a:gd name="T97" fmla="*/ 0 h 47"/>
                <a:gd name="T98" fmla="*/ 31 w 31"/>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1" h="47">
                  <a:moveTo>
                    <a:pt x="9" y="46"/>
                  </a:moveTo>
                  <a:lnTo>
                    <a:pt x="9" y="46"/>
                  </a:lnTo>
                  <a:lnTo>
                    <a:pt x="3" y="46"/>
                  </a:lnTo>
                  <a:lnTo>
                    <a:pt x="0" y="47"/>
                  </a:lnTo>
                  <a:lnTo>
                    <a:pt x="0" y="9"/>
                  </a:lnTo>
                  <a:lnTo>
                    <a:pt x="5" y="8"/>
                  </a:lnTo>
                  <a:lnTo>
                    <a:pt x="13" y="8"/>
                  </a:lnTo>
                  <a:lnTo>
                    <a:pt x="16" y="7"/>
                  </a:lnTo>
                  <a:lnTo>
                    <a:pt x="18" y="5"/>
                  </a:lnTo>
                  <a:lnTo>
                    <a:pt x="21" y="1"/>
                  </a:lnTo>
                  <a:lnTo>
                    <a:pt x="25" y="0"/>
                  </a:lnTo>
                  <a:lnTo>
                    <a:pt x="27" y="0"/>
                  </a:lnTo>
                  <a:lnTo>
                    <a:pt x="31" y="0"/>
                  </a:lnTo>
                  <a:lnTo>
                    <a:pt x="27" y="3"/>
                  </a:lnTo>
                  <a:lnTo>
                    <a:pt x="25" y="7"/>
                  </a:lnTo>
                  <a:lnTo>
                    <a:pt x="23" y="11"/>
                  </a:lnTo>
                  <a:lnTo>
                    <a:pt x="22" y="15"/>
                  </a:lnTo>
                  <a:lnTo>
                    <a:pt x="22" y="25"/>
                  </a:lnTo>
                  <a:lnTo>
                    <a:pt x="21" y="33"/>
                  </a:lnTo>
                  <a:lnTo>
                    <a:pt x="19" y="37"/>
                  </a:lnTo>
                  <a:lnTo>
                    <a:pt x="17" y="41"/>
                  </a:lnTo>
                  <a:lnTo>
                    <a:pt x="14" y="43"/>
                  </a:lnTo>
                  <a:lnTo>
                    <a:pt x="12" y="43"/>
                  </a:lnTo>
                  <a:lnTo>
                    <a:pt x="11" y="43"/>
                  </a:lnTo>
                  <a:lnTo>
                    <a:pt x="9" y="4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5" name="Freeform 904"/>
            <p:cNvSpPr>
              <a:spLocks/>
            </p:cNvSpPr>
            <p:nvPr/>
          </p:nvSpPr>
          <p:spPr bwMode="auto">
            <a:xfrm>
              <a:off x="1381125" y="3367093"/>
              <a:ext cx="763588" cy="574675"/>
            </a:xfrm>
            <a:custGeom>
              <a:avLst/>
              <a:gdLst>
                <a:gd name="T0" fmla="*/ 2147483647 w 521"/>
                <a:gd name="T1" fmla="*/ 2147483647 h 362"/>
                <a:gd name="T2" fmla="*/ 2147483647 w 521"/>
                <a:gd name="T3" fmla="*/ 2147483647 h 362"/>
                <a:gd name="T4" fmla="*/ 2147483647 w 521"/>
                <a:gd name="T5" fmla="*/ 2147483647 h 362"/>
                <a:gd name="T6" fmla="*/ 2147483647 w 521"/>
                <a:gd name="T7" fmla="*/ 2147483647 h 362"/>
                <a:gd name="T8" fmla="*/ 2147483647 w 521"/>
                <a:gd name="T9" fmla="*/ 2147483647 h 362"/>
                <a:gd name="T10" fmla="*/ 2147483647 w 521"/>
                <a:gd name="T11" fmla="*/ 2147483647 h 362"/>
                <a:gd name="T12" fmla="*/ 2147483647 w 521"/>
                <a:gd name="T13" fmla="*/ 2147483647 h 362"/>
                <a:gd name="T14" fmla="*/ 2147483647 w 521"/>
                <a:gd name="T15" fmla="*/ 2147483647 h 362"/>
                <a:gd name="T16" fmla="*/ 2147483647 w 521"/>
                <a:gd name="T17" fmla="*/ 2147483647 h 362"/>
                <a:gd name="T18" fmla="*/ 2147483647 w 521"/>
                <a:gd name="T19" fmla="*/ 2147483647 h 362"/>
                <a:gd name="T20" fmla="*/ 2147483647 w 521"/>
                <a:gd name="T21" fmla="*/ 2147483647 h 362"/>
                <a:gd name="T22" fmla="*/ 2147483647 w 521"/>
                <a:gd name="T23" fmla="*/ 2147483647 h 362"/>
                <a:gd name="T24" fmla="*/ 2147483647 w 521"/>
                <a:gd name="T25" fmla="*/ 2147483647 h 362"/>
                <a:gd name="T26" fmla="*/ 2147483647 w 521"/>
                <a:gd name="T27" fmla="*/ 2147483647 h 362"/>
                <a:gd name="T28" fmla="*/ 2147483647 w 521"/>
                <a:gd name="T29" fmla="*/ 2147483647 h 362"/>
                <a:gd name="T30" fmla="*/ 2147483647 w 521"/>
                <a:gd name="T31" fmla="*/ 2147483647 h 362"/>
                <a:gd name="T32" fmla="*/ 2147483647 w 521"/>
                <a:gd name="T33" fmla="*/ 2147483647 h 362"/>
                <a:gd name="T34" fmla="*/ 2147483647 w 521"/>
                <a:gd name="T35" fmla="*/ 2147483647 h 362"/>
                <a:gd name="T36" fmla="*/ 2147483647 w 521"/>
                <a:gd name="T37" fmla="*/ 2147483647 h 362"/>
                <a:gd name="T38" fmla="*/ 2147483647 w 521"/>
                <a:gd name="T39" fmla="*/ 2147483647 h 362"/>
                <a:gd name="T40" fmla="*/ 2147483647 w 521"/>
                <a:gd name="T41" fmla="*/ 2147483647 h 362"/>
                <a:gd name="T42" fmla="*/ 2147483647 w 521"/>
                <a:gd name="T43" fmla="*/ 2147483647 h 362"/>
                <a:gd name="T44" fmla="*/ 2147483647 w 521"/>
                <a:gd name="T45" fmla="*/ 2147483647 h 362"/>
                <a:gd name="T46" fmla="*/ 2147483647 w 521"/>
                <a:gd name="T47" fmla="*/ 2147483647 h 362"/>
                <a:gd name="T48" fmla="*/ 2147483647 w 521"/>
                <a:gd name="T49" fmla="*/ 2147483647 h 362"/>
                <a:gd name="T50" fmla="*/ 2147483647 w 521"/>
                <a:gd name="T51" fmla="*/ 2147483647 h 362"/>
                <a:gd name="T52" fmla="*/ 2147483647 w 521"/>
                <a:gd name="T53" fmla="*/ 2147483647 h 362"/>
                <a:gd name="T54" fmla="*/ 2147483647 w 521"/>
                <a:gd name="T55" fmla="*/ 2147483647 h 362"/>
                <a:gd name="T56" fmla="*/ 2147483647 w 521"/>
                <a:gd name="T57" fmla="*/ 2147483647 h 362"/>
                <a:gd name="T58" fmla="*/ 2147483647 w 521"/>
                <a:gd name="T59" fmla="*/ 2147483647 h 362"/>
                <a:gd name="T60" fmla="*/ 2147483647 w 521"/>
                <a:gd name="T61" fmla="*/ 2147483647 h 362"/>
                <a:gd name="T62" fmla="*/ 2147483647 w 521"/>
                <a:gd name="T63" fmla="*/ 2147483647 h 362"/>
                <a:gd name="T64" fmla="*/ 2147483647 w 521"/>
                <a:gd name="T65" fmla="*/ 2147483647 h 362"/>
                <a:gd name="T66" fmla="*/ 2147483647 w 521"/>
                <a:gd name="T67" fmla="*/ 2147483647 h 362"/>
                <a:gd name="T68" fmla="*/ 2147483647 w 521"/>
                <a:gd name="T69" fmla="*/ 2147483647 h 362"/>
                <a:gd name="T70" fmla="*/ 2147483647 w 521"/>
                <a:gd name="T71" fmla="*/ 2147483647 h 362"/>
                <a:gd name="T72" fmla="*/ 0 w 521"/>
                <a:gd name="T73" fmla="*/ 2147483647 h 362"/>
                <a:gd name="T74" fmla="*/ 2147483647 w 521"/>
                <a:gd name="T75" fmla="*/ 2147483647 h 362"/>
                <a:gd name="T76" fmla="*/ 2147483647 w 521"/>
                <a:gd name="T77" fmla="*/ 2147483647 h 362"/>
                <a:gd name="T78" fmla="*/ 2147483647 w 521"/>
                <a:gd name="T79" fmla="*/ 2147483647 h 362"/>
                <a:gd name="T80" fmla="*/ 2147483647 w 521"/>
                <a:gd name="T81" fmla="*/ 2147483647 h 362"/>
                <a:gd name="T82" fmla="*/ 2147483647 w 521"/>
                <a:gd name="T83" fmla="*/ 2147483647 h 362"/>
                <a:gd name="T84" fmla="*/ 2147483647 w 521"/>
                <a:gd name="T85" fmla="*/ 2147483647 h 362"/>
                <a:gd name="T86" fmla="*/ 2147483647 w 521"/>
                <a:gd name="T87" fmla="*/ 2147483647 h 362"/>
                <a:gd name="T88" fmla="*/ 2147483647 w 521"/>
                <a:gd name="T89" fmla="*/ 2147483647 h 362"/>
                <a:gd name="T90" fmla="*/ 2147483647 w 521"/>
                <a:gd name="T91" fmla="*/ 2147483647 h 362"/>
                <a:gd name="T92" fmla="*/ 2147483647 w 521"/>
                <a:gd name="T93" fmla="*/ 2147483647 h 362"/>
                <a:gd name="T94" fmla="*/ 2147483647 w 521"/>
                <a:gd name="T95" fmla="*/ 2147483647 h 362"/>
                <a:gd name="T96" fmla="*/ 2147483647 w 521"/>
                <a:gd name="T97" fmla="*/ 2147483647 h 362"/>
                <a:gd name="T98" fmla="*/ 2147483647 w 521"/>
                <a:gd name="T99" fmla="*/ 2147483647 h 362"/>
                <a:gd name="T100" fmla="*/ 2147483647 w 521"/>
                <a:gd name="T101" fmla="*/ 2147483647 h 362"/>
                <a:gd name="T102" fmla="*/ 2147483647 w 521"/>
                <a:gd name="T103" fmla="*/ 2147483647 h 362"/>
                <a:gd name="T104" fmla="*/ 2147483647 w 521"/>
                <a:gd name="T105" fmla="*/ 2147483647 h 362"/>
                <a:gd name="T106" fmla="*/ 2147483647 w 521"/>
                <a:gd name="T107" fmla="*/ 2147483647 h 362"/>
                <a:gd name="T108" fmla="*/ 2147483647 w 521"/>
                <a:gd name="T109" fmla="*/ 2147483647 h 362"/>
                <a:gd name="T110" fmla="*/ 2147483647 w 521"/>
                <a:gd name="T111" fmla="*/ 2147483647 h 362"/>
                <a:gd name="T112" fmla="*/ 2147483647 w 521"/>
                <a:gd name="T113" fmla="*/ 2147483647 h 362"/>
                <a:gd name="T114" fmla="*/ 2147483647 w 521"/>
                <a:gd name="T115" fmla="*/ 2147483647 h 362"/>
                <a:gd name="T116" fmla="*/ 2147483647 w 521"/>
                <a:gd name="T117" fmla="*/ 2147483647 h 362"/>
                <a:gd name="T118" fmla="*/ 2147483647 w 521"/>
                <a:gd name="T119" fmla="*/ 2147483647 h 3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21"/>
                <a:gd name="T181" fmla="*/ 0 h 362"/>
                <a:gd name="T182" fmla="*/ 521 w 521"/>
                <a:gd name="T183" fmla="*/ 362 h 3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21" h="362">
                  <a:moveTo>
                    <a:pt x="506" y="300"/>
                  </a:moveTo>
                  <a:lnTo>
                    <a:pt x="506" y="300"/>
                  </a:lnTo>
                  <a:lnTo>
                    <a:pt x="502" y="300"/>
                  </a:lnTo>
                  <a:lnTo>
                    <a:pt x="500" y="300"/>
                  </a:lnTo>
                  <a:lnTo>
                    <a:pt x="496" y="301"/>
                  </a:lnTo>
                  <a:lnTo>
                    <a:pt x="493" y="305"/>
                  </a:lnTo>
                  <a:lnTo>
                    <a:pt x="491" y="307"/>
                  </a:lnTo>
                  <a:lnTo>
                    <a:pt x="488" y="308"/>
                  </a:lnTo>
                  <a:lnTo>
                    <a:pt x="480" y="308"/>
                  </a:lnTo>
                  <a:lnTo>
                    <a:pt x="475" y="309"/>
                  </a:lnTo>
                  <a:lnTo>
                    <a:pt x="472" y="311"/>
                  </a:lnTo>
                  <a:lnTo>
                    <a:pt x="467" y="311"/>
                  </a:lnTo>
                  <a:lnTo>
                    <a:pt x="461" y="309"/>
                  </a:lnTo>
                  <a:lnTo>
                    <a:pt x="455" y="309"/>
                  </a:lnTo>
                  <a:lnTo>
                    <a:pt x="451" y="312"/>
                  </a:lnTo>
                  <a:lnTo>
                    <a:pt x="450" y="313"/>
                  </a:lnTo>
                  <a:lnTo>
                    <a:pt x="449" y="315"/>
                  </a:lnTo>
                  <a:lnTo>
                    <a:pt x="449" y="317"/>
                  </a:lnTo>
                  <a:lnTo>
                    <a:pt x="450" y="318"/>
                  </a:lnTo>
                  <a:lnTo>
                    <a:pt x="451" y="320"/>
                  </a:lnTo>
                  <a:lnTo>
                    <a:pt x="451" y="326"/>
                  </a:lnTo>
                  <a:lnTo>
                    <a:pt x="453" y="328"/>
                  </a:lnTo>
                  <a:lnTo>
                    <a:pt x="454" y="331"/>
                  </a:lnTo>
                  <a:lnTo>
                    <a:pt x="455" y="332"/>
                  </a:lnTo>
                  <a:lnTo>
                    <a:pt x="456" y="333"/>
                  </a:lnTo>
                  <a:lnTo>
                    <a:pt x="458" y="333"/>
                  </a:lnTo>
                  <a:lnTo>
                    <a:pt x="459" y="335"/>
                  </a:lnTo>
                  <a:lnTo>
                    <a:pt x="458" y="338"/>
                  </a:lnTo>
                  <a:lnTo>
                    <a:pt x="455" y="340"/>
                  </a:lnTo>
                  <a:lnTo>
                    <a:pt x="445" y="341"/>
                  </a:lnTo>
                  <a:lnTo>
                    <a:pt x="441" y="343"/>
                  </a:lnTo>
                  <a:lnTo>
                    <a:pt x="437" y="346"/>
                  </a:lnTo>
                  <a:lnTo>
                    <a:pt x="430" y="354"/>
                  </a:lnTo>
                  <a:lnTo>
                    <a:pt x="425" y="358"/>
                  </a:lnTo>
                  <a:lnTo>
                    <a:pt x="421" y="362"/>
                  </a:lnTo>
                  <a:lnTo>
                    <a:pt x="416" y="354"/>
                  </a:lnTo>
                  <a:lnTo>
                    <a:pt x="411" y="347"/>
                  </a:lnTo>
                  <a:lnTo>
                    <a:pt x="404" y="343"/>
                  </a:lnTo>
                  <a:lnTo>
                    <a:pt x="399" y="340"/>
                  </a:lnTo>
                  <a:lnTo>
                    <a:pt x="395" y="339"/>
                  </a:lnTo>
                  <a:lnTo>
                    <a:pt x="392" y="339"/>
                  </a:lnTo>
                  <a:lnTo>
                    <a:pt x="388" y="341"/>
                  </a:lnTo>
                  <a:lnTo>
                    <a:pt x="383" y="346"/>
                  </a:lnTo>
                  <a:lnTo>
                    <a:pt x="379" y="350"/>
                  </a:lnTo>
                  <a:lnTo>
                    <a:pt x="375" y="352"/>
                  </a:lnTo>
                  <a:lnTo>
                    <a:pt x="370" y="353"/>
                  </a:lnTo>
                  <a:lnTo>
                    <a:pt x="366" y="353"/>
                  </a:lnTo>
                  <a:lnTo>
                    <a:pt x="356" y="351"/>
                  </a:lnTo>
                  <a:lnTo>
                    <a:pt x="347" y="347"/>
                  </a:lnTo>
                  <a:lnTo>
                    <a:pt x="343" y="346"/>
                  </a:lnTo>
                  <a:lnTo>
                    <a:pt x="341" y="346"/>
                  </a:lnTo>
                  <a:lnTo>
                    <a:pt x="334" y="346"/>
                  </a:lnTo>
                  <a:lnTo>
                    <a:pt x="326" y="344"/>
                  </a:lnTo>
                  <a:lnTo>
                    <a:pt x="318" y="339"/>
                  </a:lnTo>
                  <a:lnTo>
                    <a:pt x="313" y="338"/>
                  </a:lnTo>
                  <a:lnTo>
                    <a:pt x="308" y="338"/>
                  </a:lnTo>
                  <a:lnTo>
                    <a:pt x="303" y="338"/>
                  </a:lnTo>
                  <a:lnTo>
                    <a:pt x="300" y="337"/>
                  </a:lnTo>
                  <a:lnTo>
                    <a:pt x="298" y="335"/>
                  </a:lnTo>
                  <a:lnTo>
                    <a:pt x="294" y="332"/>
                  </a:lnTo>
                  <a:lnTo>
                    <a:pt x="291" y="330"/>
                  </a:lnTo>
                  <a:lnTo>
                    <a:pt x="290" y="328"/>
                  </a:lnTo>
                  <a:lnTo>
                    <a:pt x="281" y="326"/>
                  </a:lnTo>
                  <a:lnTo>
                    <a:pt x="274" y="322"/>
                  </a:lnTo>
                  <a:lnTo>
                    <a:pt x="266" y="317"/>
                  </a:lnTo>
                  <a:lnTo>
                    <a:pt x="263" y="313"/>
                  </a:lnTo>
                  <a:lnTo>
                    <a:pt x="262" y="309"/>
                  </a:lnTo>
                  <a:lnTo>
                    <a:pt x="260" y="308"/>
                  </a:lnTo>
                  <a:lnTo>
                    <a:pt x="257" y="307"/>
                  </a:lnTo>
                  <a:lnTo>
                    <a:pt x="243" y="306"/>
                  </a:lnTo>
                  <a:lnTo>
                    <a:pt x="235" y="303"/>
                  </a:lnTo>
                  <a:lnTo>
                    <a:pt x="230" y="300"/>
                  </a:lnTo>
                  <a:lnTo>
                    <a:pt x="225" y="295"/>
                  </a:lnTo>
                  <a:lnTo>
                    <a:pt x="224" y="292"/>
                  </a:lnTo>
                  <a:lnTo>
                    <a:pt x="221" y="290"/>
                  </a:lnTo>
                  <a:lnTo>
                    <a:pt x="214" y="288"/>
                  </a:lnTo>
                  <a:lnTo>
                    <a:pt x="207" y="283"/>
                  </a:lnTo>
                  <a:lnTo>
                    <a:pt x="202" y="279"/>
                  </a:lnTo>
                  <a:lnTo>
                    <a:pt x="199" y="273"/>
                  </a:lnTo>
                  <a:lnTo>
                    <a:pt x="196" y="266"/>
                  </a:lnTo>
                  <a:lnTo>
                    <a:pt x="196" y="258"/>
                  </a:lnTo>
                  <a:lnTo>
                    <a:pt x="196" y="251"/>
                  </a:lnTo>
                  <a:lnTo>
                    <a:pt x="199" y="244"/>
                  </a:lnTo>
                  <a:lnTo>
                    <a:pt x="200" y="241"/>
                  </a:lnTo>
                  <a:lnTo>
                    <a:pt x="200" y="237"/>
                  </a:lnTo>
                  <a:lnTo>
                    <a:pt x="199" y="234"/>
                  </a:lnTo>
                  <a:lnTo>
                    <a:pt x="196" y="230"/>
                  </a:lnTo>
                  <a:lnTo>
                    <a:pt x="192" y="223"/>
                  </a:lnTo>
                  <a:lnTo>
                    <a:pt x="186" y="212"/>
                  </a:lnTo>
                  <a:lnTo>
                    <a:pt x="180" y="204"/>
                  </a:lnTo>
                  <a:lnTo>
                    <a:pt x="166" y="186"/>
                  </a:lnTo>
                  <a:lnTo>
                    <a:pt x="163" y="183"/>
                  </a:lnTo>
                  <a:lnTo>
                    <a:pt x="160" y="178"/>
                  </a:lnTo>
                  <a:lnTo>
                    <a:pt x="153" y="166"/>
                  </a:lnTo>
                  <a:lnTo>
                    <a:pt x="148" y="160"/>
                  </a:lnTo>
                  <a:lnTo>
                    <a:pt x="143" y="155"/>
                  </a:lnTo>
                  <a:lnTo>
                    <a:pt x="138" y="149"/>
                  </a:lnTo>
                  <a:lnTo>
                    <a:pt x="135" y="143"/>
                  </a:lnTo>
                  <a:lnTo>
                    <a:pt x="133" y="136"/>
                  </a:lnTo>
                  <a:lnTo>
                    <a:pt x="129" y="130"/>
                  </a:lnTo>
                  <a:lnTo>
                    <a:pt x="126" y="129"/>
                  </a:lnTo>
                  <a:lnTo>
                    <a:pt x="125" y="128"/>
                  </a:lnTo>
                  <a:lnTo>
                    <a:pt x="120" y="123"/>
                  </a:lnTo>
                  <a:lnTo>
                    <a:pt x="116" y="119"/>
                  </a:lnTo>
                  <a:lnTo>
                    <a:pt x="108" y="110"/>
                  </a:lnTo>
                  <a:lnTo>
                    <a:pt x="105" y="107"/>
                  </a:lnTo>
                  <a:lnTo>
                    <a:pt x="100" y="104"/>
                  </a:lnTo>
                  <a:lnTo>
                    <a:pt x="97" y="102"/>
                  </a:lnTo>
                  <a:lnTo>
                    <a:pt x="94" y="100"/>
                  </a:lnTo>
                  <a:lnTo>
                    <a:pt x="92" y="94"/>
                  </a:lnTo>
                  <a:lnTo>
                    <a:pt x="89" y="87"/>
                  </a:lnTo>
                  <a:lnTo>
                    <a:pt x="87" y="83"/>
                  </a:lnTo>
                  <a:lnTo>
                    <a:pt x="84" y="81"/>
                  </a:lnTo>
                  <a:lnTo>
                    <a:pt x="80" y="78"/>
                  </a:lnTo>
                  <a:lnTo>
                    <a:pt x="78" y="76"/>
                  </a:lnTo>
                  <a:lnTo>
                    <a:pt x="77" y="72"/>
                  </a:lnTo>
                  <a:lnTo>
                    <a:pt x="75" y="69"/>
                  </a:lnTo>
                  <a:lnTo>
                    <a:pt x="74" y="62"/>
                  </a:lnTo>
                  <a:lnTo>
                    <a:pt x="72" y="54"/>
                  </a:lnTo>
                  <a:lnTo>
                    <a:pt x="70" y="52"/>
                  </a:lnTo>
                  <a:lnTo>
                    <a:pt x="67" y="50"/>
                  </a:lnTo>
                  <a:lnTo>
                    <a:pt x="65" y="49"/>
                  </a:lnTo>
                  <a:lnTo>
                    <a:pt x="64" y="46"/>
                  </a:lnTo>
                  <a:lnTo>
                    <a:pt x="65" y="43"/>
                  </a:lnTo>
                  <a:lnTo>
                    <a:pt x="67" y="39"/>
                  </a:lnTo>
                  <a:lnTo>
                    <a:pt x="67" y="36"/>
                  </a:lnTo>
                  <a:lnTo>
                    <a:pt x="67" y="34"/>
                  </a:lnTo>
                  <a:lnTo>
                    <a:pt x="64" y="33"/>
                  </a:lnTo>
                  <a:lnTo>
                    <a:pt x="61" y="33"/>
                  </a:lnTo>
                  <a:lnTo>
                    <a:pt x="60" y="34"/>
                  </a:lnTo>
                  <a:lnTo>
                    <a:pt x="59" y="33"/>
                  </a:lnTo>
                  <a:lnTo>
                    <a:pt x="56" y="32"/>
                  </a:lnTo>
                  <a:lnTo>
                    <a:pt x="54" y="32"/>
                  </a:lnTo>
                  <a:lnTo>
                    <a:pt x="47" y="34"/>
                  </a:lnTo>
                  <a:lnTo>
                    <a:pt x="45" y="33"/>
                  </a:lnTo>
                  <a:lnTo>
                    <a:pt x="44" y="32"/>
                  </a:lnTo>
                  <a:lnTo>
                    <a:pt x="42" y="30"/>
                  </a:lnTo>
                  <a:lnTo>
                    <a:pt x="41" y="28"/>
                  </a:lnTo>
                  <a:lnTo>
                    <a:pt x="40" y="27"/>
                  </a:lnTo>
                  <a:lnTo>
                    <a:pt x="39" y="27"/>
                  </a:lnTo>
                  <a:lnTo>
                    <a:pt x="37" y="33"/>
                  </a:lnTo>
                  <a:lnTo>
                    <a:pt x="37" y="38"/>
                  </a:lnTo>
                  <a:lnTo>
                    <a:pt x="39" y="45"/>
                  </a:lnTo>
                  <a:lnTo>
                    <a:pt x="40" y="51"/>
                  </a:lnTo>
                  <a:lnTo>
                    <a:pt x="41" y="64"/>
                  </a:lnTo>
                  <a:lnTo>
                    <a:pt x="42" y="68"/>
                  </a:lnTo>
                  <a:lnTo>
                    <a:pt x="44" y="70"/>
                  </a:lnTo>
                  <a:lnTo>
                    <a:pt x="47" y="72"/>
                  </a:lnTo>
                  <a:lnTo>
                    <a:pt x="53" y="75"/>
                  </a:lnTo>
                  <a:lnTo>
                    <a:pt x="56" y="77"/>
                  </a:lnTo>
                  <a:lnTo>
                    <a:pt x="59" y="81"/>
                  </a:lnTo>
                  <a:lnTo>
                    <a:pt x="61" y="90"/>
                  </a:lnTo>
                  <a:lnTo>
                    <a:pt x="60" y="91"/>
                  </a:lnTo>
                  <a:lnTo>
                    <a:pt x="63" y="92"/>
                  </a:lnTo>
                  <a:lnTo>
                    <a:pt x="70" y="100"/>
                  </a:lnTo>
                  <a:lnTo>
                    <a:pt x="72" y="102"/>
                  </a:lnTo>
                  <a:lnTo>
                    <a:pt x="72" y="104"/>
                  </a:lnTo>
                  <a:lnTo>
                    <a:pt x="72" y="108"/>
                  </a:lnTo>
                  <a:lnTo>
                    <a:pt x="72" y="110"/>
                  </a:lnTo>
                  <a:lnTo>
                    <a:pt x="74" y="113"/>
                  </a:lnTo>
                  <a:lnTo>
                    <a:pt x="78" y="116"/>
                  </a:lnTo>
                  <a:lnTo>
                    <a:pt x="79" y="121"/>
                  </a:lnTo>
                  <a:lnTo>
                    <a:pt x="80" y="123"/>
                  </a:lnTo>
                  <a:lnTo>
                    <a:pt x="83" y="123"/>
                  </a:lnTo>
                  <a:lnTo>
                    <a:pt x="84" y="129"/>
                  </a:lnTo>
                  <a:lnTo>
                    <a:pt x="87" y="133"/>
                  </a:lnTo>
                  <a:lnTo>
                    <a:pt x="91" y="135"/>
                  </a:lnTo>
                  <a:lnTo>
                    <a:pt x="94" y="136"/>
                  </a:lnTo>
                  <a:lnTo>
                    <a:pt x="96" y="137"/>
                  </a:lnTo>
                  <a:lnTo>
                    <a:pt x="96" y="140"/>
                  </a:lnTo>
                  <a:lnTo>
                    <a:pt x="94" y="142"/>
                  </a:lnTo>
                  <a:lnTo>
                    <a:pt x="94" y="145"/>
                  </a:lnTo>
                  <a:lnTo>
                    <a:pt x="100" y="158"/>
                  </a:lnTo>
                  <a:lnTo>
                    <a:pt x="103" y="161"/>
                  </a:lnTo>
                  <a:lnTo>
                    <a:pt x="107" y="165"/>
                  </a:lnTo>
                  <a:lnTo>
                    <a:pt x="108" y="169"/>
                  </a:lnTo>
                  <a:lnTo>
                    <a:pt x="108" y="173"/>
                  </a:lnTo>
                  <a:lnTo>
                    <a:pt x="111" y="177"/>
                  </a:lnTo>
                  <a:lnTo>
                    <a:pt x="115" y="179"/>
                  </a:lnTo>
                  <a:lnTo>
                    <a:pt x="119" y="181"/>
                  </a:lnTo>
                  <a:lnTo>
                    <a:pt x="121" y="184"/>
                  </a:lnTo>
                  <a:lnTo>
                    <a:pt x="126" y="191"/>
                  </a:lnTo>
                  <a:lnTo>
                    <a:pt x="130" y="199"/>
                  </a:lnTo>
                  <a:lnTo>
                    <a:pt x="131" y="200"/>
                  </a:lnTo>
                  <a:lnTo>
                    <a:pt x="130" y="202"/>
                  </a:lnTo>
                  <a:lnTo>
                    <a:pt x="129" y="204"/>
                  </a:lnTo>
                  <a:lnTo>
                    <a:pt x="121" y="206"/>
                  </a:lnTo>
                  <a:lnTo>
                    <a:pt x="119" y="206"/>
                  </a:lnTo>
                  <a:lnTo>
                    <a:pt x="117" y="205"/>
                  </a:lnTo>
                  <a:lnTo>
                    <a:pt x="116" y="203"/>
                  </a:lnTo>
                  <a:lnTo>
                    <a:pt x="116" y="200"/>
                  </a:lnTo>
                  <a:lnTo>
                    <a:pt x="115" y="196"/>
                  </a:lnTo>
                  <a:lnTo>
                    <a:pt x="112" y="193"/>
                  </a:lnTo>
                  <a:lnTo>
                    <a:pt x="108" y="191"/>
                  </a:lnTo>
                  <a:lnTo>
                    <a:pt x="103" y="191"/>
                  </a:lnTo>
                  <a:lnTo>
                    <a:pt x="102" y="186"/>
                  </a:lnTo>
                  <a:lnTo>
                    <a:pt x="100" y="183"/>
                  </a:lnTo>
                  <a:lnTo>
                    <a:pt x="93" y="179"/>
                  </a:lnTo>
                  <a:lnTo>
                    <a:pt x="88" y="174"/>
                  </a:lnTo>
                  <a:lnTo>
                    <a:pt x="86" y="173"/>
                  </a:lnTo>
                  <a:lnTo>
                    <a:pt x="83" y="172"/>
                  </a:lnTo>
                  <a:lnTo>
                    <a:pt x="82" y="167"/>
                  </a:lnTo>
                  <a:lnTo>
                    <a:pt x="80" y="162"/>
                  </a:lnTo>
                  <a:lnTo>
                    <a:pt x="79" y="152"/>
                  </a:lnTo>
                  <a:lnTo>
                    <a:pt x="78" y="146"/>
                  </a:lnTo>
                  <a:lnTo>
                    <a:pt x="77" y="141"/>
                  </a:lnTo>
                  <a:lnTo>
                    <a:pt x="73" y="137"/>
                  </a:lnTo>
                  <a:lnTo>
                    <a:pt x="68" y="135"/>
                  </a:lnTo>
                  <a:lnTo>
                    <a:pt x="67" y="134"/>
                  </a:lnTo>
                  <a:lnTo>
                    <a:pt x="65" y="130"/>
                  </a:lnTo>
                  <a:lnTo>
                    <a:pt x="64" y="128"/>
                  </a:lnTo>
                  <a:lnTo>
                    <a:pt x="63" y="128"/>
                  </a:lnTo>
                  <a:lnTo>
                    <a:pt x="59" y="129"/>
                  </a:lnTo>
                  <a:lnTo>
                    <a:pt x="56" y="130"/>
                  </a:lnTo>
                  <a:lnTo>
                    <a:pt x="54" y="130"/>
                  </a:lnTo>
                  <a:lnTo>
                    <a:pt x="53" y="129"/>
                  </a:lnTo>
                  <a:lnTo>
                    <a:pt x="53" y="128"/>
                  </a:lnTo>
                  <a:lnTo>
                    <a:pt x="51" y="126"/>
                  </a:lnTo>
                  <a:lnTo>
                    <a:pt x="47" y="124"/>
                  </a:lnTo>
                  <a:lnTo>
                    <a:pt x="44" y="116"/>
                  </a:lnTo>
                  <a:lnTo>
                    <a:pt x="37" y="108"/>
                  </a:lnTo>
                  <a:lnTo>
                    <a:pt x="41" y="107"/>
                  </a:lnTo>
                  <a:lnTo>
                    <a:pt x="44" y="108"/>
                  </a:lnTo>
                  <a:lnTo>
                    <a:pt x="46" y="107"/>
                  </a:lnTo>
                  <a:lnTo>
                    <a:pt x="49" y="105"/>
                  </a:lnTo>
                  <a:lnTo>
                    <a:pt x="51" y="103"/>
                  </a:lnTo>
                  <a:lnTo>
                    <a:pt x="51" y="102"/>
                  </a:lnTo>
                  <a:lnTo>
                    <a:pt x="51" y="101"/>
                  </a:lnTo>
                  <a:lnTo>
                    <a:pt x="49" y="97"/>
                  </a:lnTo>
                  <a:lnTo>
                    <a:pt x="47" y="96"/>
                  </a:lnTo>
                  <a:lnTo>
                    <a:pt x="46" y="94"/>
                  </a:lnTo>
                  <a:lnTo>
                    <a:pt x="45" y="92"/>
                  </a:lnTo>
                  <a:lnTo>
                    <a:pt x="44" y="92"/>
                  </a:lnTo>
                  <a:lnTo>
                    <a:pt x="42" y="88"/>
                  </a:lnTo>
                  <a:lnTo>
                    <a:pt x="40" y="85"/>
                  </a:lnTo>
                  <a:lnTo>
                    <a:pt x="32" y="81"/>
                  </a:lnTo>
                  <a:lnTo>
                    <a:pt x="31" y="78"/>
                  </a:lnTo>
                  <a:lnTo>
                    <a:pt x="31" y="76"/>
                  </a:lnTo>
                  <a:lnTo>
                    <a:pt x="30" y="73"/>
                  </a:lnTo>
                  <a:lnTo>
                    <a:pt x="28" y="72"/>
                  </a:lnTo>
                  <a:lnTo>
                    <a:pt x="27" y="71"/>
                  </a:lnTo>
                  <a:lnTo>
                    <a:pt x="26" y="70"/>
                  </a:lnTo>
                  <a:lnTo>
                    <a:pt x="23" y="60"/>
                  </a:lnTo>
                  <a:lnTo>
                    <a:pt x="20" y="51"/>
                  </a:lnTo>
                  <a:lnTo>
                    <a:pt x="11" y="32"/>
                  </a:lnTo>
                  <a:lnTo>
                    <a:pt x="11" y="28"/>
                  </a:lnTo>
                  <a:lnTo>
                    <a:pt x="9" y="25"/>
                  </a:lnTo>
                  <a:lnTo>
                    <a:pt x="7" y="22"/>
                  </a:lnTo>
                  <a:lnTo>
                    <a:pt x="6" y="20"/>
                  </a:lnTo>
                  <a:lnTo>
                    <a:pt x="4" y="17"/>
                  </a:lnTo>
                  <a:lnTo>
                    <a:pt x="3" y="8"/>
                  </a:lnTo>
                  <a:lnTo>
                    <a:pt x="0" y="1"/>
                  </a:lnTo>
                  <a:lnTo>
                    <a:pt x="41" y="0"/>
                  </a:lnTo>
                  <a:lnTo>
                    <a:pt x="44" y="1"/>
                  </a:lnTo>
                  <a:lnTo>
                    <a:pt x="46" y="2"/>
                  </a:lnTo>
                  <a:lnTo>
                    <a:pt x="46" y="5"/>
                  </a:lnTo>
                  <a:lnTo>
                    <a:pt x="44" y="7"/>
                  </a:lnTo>
                  <a:lnTo>
                    <a:pt x="42" y="8"/>
                  </a:lnTo>
                  <a:lnTo>
                    <a:pt x="42" y="9"/>
                  </a:lnTo>
                  <a:lnTo>
                    <a:pt x="44" y="12"/>
                  </a:lnTo>
                  <a:lnTo>
                    <a:pt x="47" y="13"/>
                  </a:lnTo>
                  <a:lnTo>
                    <a:pt x="58" y="14"/>
                  </a:lnTo>
                  <a:lnTo>
                    <a:pt x="74" y="19"/>
                  </a:lnTo>
                  <a:lnTo>
                    <a:pt x="89" y="25"/>
                  </a:lnTo>
                  <a:lnTo>
                    <a:pt x="100" y="28"/>
                  </a:lnTo>
                  <a:lnTo>
                    <a:pt x="110" y="32"/>
                  </a:lnTo>
                  <a:lnTo>
                    <a:pt x="115" y="32"/>
                  </a:lnTo>
                  <a:lnTo>
                    <a:pt x="117" y="32"/>
                  </a:lnTo>
                  <a:lnTo>
                    <a:pt x="126" y="31"/>
                  </a:lnTo>
                  <a:lnTo>
                    <a:pt x="136" y="32"/>
                  </a:lnTo>
                  <a:lnTo>
                    <a:pt x="139" y="31"/>
                  </a:lnTo>
                  <a:lnTo>
                    <a:pt x="140" y="31"/>
                  </a:lnTo>
                  <a:lnTo>
                    <a:pt x="141" y="28"/>
                  </a:lnTo>
                  <a:lnTo>
                    <a:pt x="141" y="25"/>
                  </a:lnTo>
                  <a:lnTo>
                    <a:pt x="143" y="22"/>
                  </a:lnTo>
                  <a:lnTo>
                    <a:pt x="144" y="21"/>
                  </a:lnTo>
                  <a:lnTo>
                    <a:pt x="145" y="20"/>
                  </a:lnTo>
                  <a:lnTo>
                    <a:pt x="186" y="19"/>
                  </a:lnTo>
                  <a:lnTo>
                    <a:pt x="188" y="19"/>
                  </a:lnTo>
                  <a:lnTo>
                    <a:pt x="190" y="20"/>
                  </a:lnTo>
                  <a:lnTo>
                    <a:pt x="192" y="24"/>
                  </a:lnTo>
                  <a:lnTo>
                    <a:pt x="207" y="44"/>
                  </a:lnTo>
                  <a:lnTo>
                    <a:pt x="219" y="59"/>
                  </a:lnTo>
                  <a:lnTo>
                    <a:pt x="230" y="70"/>
                  </a:lnTo>
                  <a:lnTo>
                    <a:pt x="234" y="73"/>
                  </a:lnTo>
                  <a:lnTo>
                    <a:pt x="238" y="75"/>
                  </a:lnTo>
                  <a:lnTo>
                    <a:pt x="240" y="75"/>
                  </a:lnTo>
                  <a:lnTo>
                    <a:pt x="243" y="73"/>
                  </a:lnTo>
                  <a:lnTo>
                    <a:pt x="246" y="70"/>
                  </a:lnTo>
                  <a:lnTo>
                    <a:pt x="248" y="65"/>
                  </a:lnTo>
                  <a:lnTo>
                    <a:pt x="251" y="63"/>
                  </a:lnTo>
                  <a:lnTo>
                    <a:pt x="254" y="62"/>
                  </a:lnTo>
                  <a:lnTo>
                    <a:pt x="257" y="62"/>
                  </a:lnTo>
                  <a:lnTo>
                    <a:pt x="260" y="63"/>
                  </a:lnTo>
                  <a:lnTo>
                    <a:pt x="262" y="64"/>
                  </a:lnTo>
                  <a:lnTo>
                    <a:pt x="266" y="65"/>
                  </a:lnTo>
                  <a:lnTo>
                    <a:pt x="274" y="68"/>
                  </a:lnTo>
                  <a:lnTo>
                    <a:pt x="276" y="69"/>
                  </a:lnTo>
                  <a:lnTo>
                    <a:pt x="280" y="71"/>
                  </a:lnTo>
                  <a:lnTo>
                    <a:pt x="284" y="76"/>
                  </a:lnTo>
                  <a:lnTo>
                    <a:pt x="285" y="81"/>
                  </a:lnTo>
                  <a:lnTo>
                    <a:pt x="285" y="85"/>
                  </a:lnTo>
                  <a:lnTo>
                    <a:pt x="287" y="91"/>
                  </a:lnTo>
                  <a:lnTo>
                    <a:pt x="290" y="97"/>
                  </a:lnTo>
                  <a:lnTo>
                    <a:pt x="293" y="101"/>
                  </a:lnTo>
                  <a:lnTo>
                    <a:pt x="296" y="104"/>
                  </a:lnTo>
                  <a:lnTo>
                    <a:pt x="299" y="113"/>
                  </a:lnTo>
                  <a:lnTo>
                    <a:pt x="304" y="126"/>
                  </a:lnTo>
                  <a:lnTo>
                    <a:pt x="305" y="128"/>
                  </a:lnTo>
                  <a:lnTo>
                    <a:pt x="308" y="132"/>
                  </a:lnTo>
                  <a:lnTo>
                    <a:pt x="310" y="133"/>
                  </a:lnTo>
                  <a:lnTo>
                    <a:pt x="317" y="134"/>
                  </a:lnTo>
                  <a:lnTo>
                    <a:pt x="323" y="135"/>
                  </a:lnTo>
                  <a:lnTo>
                    <a:pt x="332" y="137"/>
                  </a:lnTo>
                  <a:lnTo>
                    <a:pt x="341" y="141"/>
                  </a:lnTo>
                  <a:lnTo>
                    <a:pt x="341" y="146"/>
                  </a:lnTo>
                  <a:lnTo>
                    <a:pt x="341" y="151"/>
                  </a:lnTo>
                  <a:lnTo>
                    <a:pt x="341" y="158"/>
                  </a:lnTo>
                  <a:lnTo>
                    <a:pt x="341" y="162"/>
                  </a:lnTo>
                  <a:lnTo>
                    <a:pt x="340" y="164"/>
                  </a:lnTo>
                  <a:lnTo>
                    <a:pt x="338" y="164"/>
                  </a:lnTo>
                  <a:lnTo>
                    <a:pt x="337" y="161"/>
                  </a:lnTo>
                  <a:lnTo>
                    <a:pt x="334" y="159"/>
                  </a:lnTo>
                  <a:lnTo>
                    <a:pt x="333" y="158"/>
                  </a:lnTo>
                  <a:lnTo>
                    <a:pt x="332" y="158"/>
                  </a:lnTo>
                  <a:lnTo>
                    <a:pt x="331" y="160"/>
                  </a:lnTo>
                  <a:lnTo>
                    <a:pt x="331" y="167"/>
                  </a:lnTo>
                  <a:lnTo>
                    <a:pt x="331" y="174"/>
                  </a:lnTo>
                  <a:lnTo>
                    <a:pt x="332" y="181"/>
                  </a:lnTo>
                  <a:lnTo>
                    <a:pt x="333" y="180"/>
                  </a:lnTo>
                  <a:lnTo>
                    <a:pt x="333" y="179"/>
                  </a:lnTo>
                  <a:lnTo>
                    <a:pt x="334" y="174"/>
                  </a:lnTo>
                  <a:lnTo>
                    <a:pt x="336" y="177"/>
                  </a:lnTo>
                  <a:lnTo>
                    <a:pt x="337" y="181"/>
                  </a:lnTo>
                  <a:lnTo>
                    <a:pt x="337" y="192"/>
                  </a:lnTo>
                  <a:lnTo>
                    <a:pt x="337" y="203"/>
                  </a:lnTo>
                  <a:lnTo>
                    <a:pt x="333" y="224"/>
                  </a:lnTo>
                  <a:lnTo>
                    <a:pt x="333" y="223"/>
                  </a:lnTo>
                  <a:lnTo>
                    <a:pt x="333" y="225"/>
                  </a:lnTo>
                  <a:lnTo>
                    <a:pt x="333" y="228"/>
                  </a:lnTo>
                  <a:lnTo>
                    <a:pt x="336" y="229"/>
                  </a:lnTo>
                  <a:lnTo>
                    <a:pt x="337" y="231"/>
                  </a:lnTo>
                  <a:lnTo>
                    <a:pt x="341" y="244"/>
                  </a:lnTo>
                  <a:lnTo>
                    <a:pt x="346" y="256"/>
                  </a:lnTo>
                  <a:lnTo>
                    <a:pt x="352" y="267"/>
                  </a:lnTo>
                  <a:lnTo>
                    <a:pt x="362" y="276"/>
                  </a:lnTo>
                  <a:lnTo>
                    <a:pt x="366" y="281"/>
                  </a:lnTo>
                  <a:lnTo>
                    <a:pt x="367" y="283"/>
                  </a:lnTo>
                  <a:lnTo>
                    <a:pt x="370" y="286"/>
                  </a:lnTo>
                  <a:lnTo>
                    <a:pt x="375" y="290"/>
                  </a:lnTo>
                  <a:lnTo>
                    <a:pt x="380" y="295"/>
                  </a:lnTo>
                  <a:lnTo>
                    <a:pt x="385" y="300"/>
                  </a:lnTo>
                  <a:lnTo>
                    <a:pt x="389" y="301"/>
                  </a:lnTo>
                  <a:lnTo>
                    <a:pt x="393" y="301"/>
                  </a:lnTo>
                  <a:lnTo>
                    <a:pt x="397" y="301"/>
                  </a:lnTo>
                  <a:lnTo>
                    <a:pt x="400" y="300"/>
                  </a:lnTo>
                  <a:lnTo>
                    <a:pt x="403" y="300"/>
                  </a:lnTo>
                  <a:lnTo>
                    <a:pt x="407" y="301"/>
                  </a:lnTo>
                  <a:lnTo>
                    <a:pt x="409" y="299"/>
                  </a:lnTo>
                  <a:lnTo>
                    <a:pt x="413" y="298"/>
                  </a:lnTo>
                  <a:lnTo>
                    <a:pt x="414" y="298"/>
                  </a:lnTo>
                  <a:lnTo>
                    <a:pt x="417" y="299"/>
                  </a:lnTo>
                  <a:lnTo>
                    <a:pt x="418" y="300"/>
                  </a:lnTo>
                  <a:lnTo>
                    <a:pt x="421" y="300"/>
                  </a:lnTo>
                  <a:lnTo>
                    <a:pt x="427" y="298"/>
                  </a:lnTo>
                  <a:lnTo>
                    <a:pt x="430" y="296"/>
                  </a:lnTo>
                  <a:lnTo>
                    <a:pt x="434" y="298"/>
                  </a:lnTo>
                  <a:lnTo>
                    <a:pt x="435" y="300"/>
                  </a:lnTo>
                  <a:lnTo>
                    <a:pt x="436" y="301"/>
                  </a:lnTo>
                  <a:lnTo>
                    <a:pt x="436" y="303"/>
                  </a:lnTo>
                  <a:lnTo>
                    <a:pt x="439" y="303"/>
                  </a:lnTo>
                  <a:lnTo>
                    <a:pt x="445" y="302"/>
                  </a:lnTo>
                  <a:lnTo>
                    <a:pt x="447" y="300"/>
                  </a:lnTo>
                  <a:lnTo>
                    <a:pt x="449" y="299"/>
                  </a:lnTo>
                  <a:lnTo>
                    <a:pt x="450" y="293"/>
                  </a:lnTo>
                  <a:lnTo>
                    <a:pt x="451" y="290"/>
                  </a:lnTo>
                  <a:lnTo>
                    <a:pt x="453" y="288"/>
                  </a:lnTo>
                  <a:lnTo>
                    <a:pt x="454" y="286"/>
                  </a:lnTo>
                  <a:lnTo>
                    <a:pt x="454" y="284"/>
                  </a:lnTo>
                  <a:lnTo>
                    <a:pt x="454" y="280"/>
                  </a:lnTo>
                  <a:lnTo>
                    <a:pt x="455" y="274"/>
                  </a:lnTo>
                  <a:lnTo>
                    <a:pt x="456" y="269"/>
                  </a:lnTo>
                  <a:lnTo>
                    <a:pt x="459" y="267"/>
                  </a:lnTo>
                  <a:lnTo>
                    <a:pt x="461" y="263"/>
                  </a:lnTo>
                  <a:lnTo>
                    <a:pt x="463" y="261"/>
                  </a:lnTo>
                  <a:lnTo>
                    <a:pt x="463" y="258"/>
                  </a:lnTo>
                  <a:lnTo>
                    <a:pt x="464" y="254"/>
                  </a:lnTo>
                  <a:lnTo>
                    <a:pt x="467" y="250"/>
                  </a:lnTo>
                  <a:lnTo>
                    <a:pt x="469" y="248"/>
                  </a:lnTo>
                  <a:lnTo>
                    <a:pt x="472" y="248"/>
                  </a:lnTo>
                  <a:lnTo>
                    <a:pt x="475" y="248"/>
                  </a:lnTo>
                  <a:lnTo>
                    <a:pt x="478" y="248"/>
                  </a:lnTo>
                  <a:lnTo>
                    <a:pt x="480" y="248"/>
                  </a:lnTo>
                  <a:lnTo>
                    <a:pt x="489" y="244"/>
                  </a:lnTo>
                  <a:lnTo>
                    <a:pt x="498" y="242"/>
                  </a:lnTo>
                  <a:lnTo>
                    <a:pt x="517" y="241"/>
                  </a:lnTo>
                  <a:lnTo>
                    <a:pt x="519" y="241"/>
                  </a:lnTo>
                  <a:lnTo>
                    <a:pt x="520" y="243"/>
                  </a:lnTo>
                  <a:lnTo>
                    <a:pt x="521" y="245"/>
                  </a:lnTo>
                  <a:lnTo>
                    <a:pt x="520" y="248"/>
                  </a:lnTo>
                  <a:lnTo>
                    <a:pt x="516" y="254"/>
                  </a:lnTo>
                  <a:lnTo>
                    <a:pt x="514" y="260"/>
                  </a:lnTo>
                  <a:lnTo>
                    <a:pt x="512" y="266"/>
                  </a:lnTo>
                  <a:lnTo>
                    <a:pt x="511" y="271"/>
                  </a:lnTo>
                  <a:lnTo>
                    <a:pt x="511" y="283"/>
                  </a:lnTo>
                  <a:lnTo>
                    <a:pt x="511" y="296"/>
                  </a:lnTo>
                  <a:lnTo>
                    <a:pt x="511" y="298"/>
                  </a:lnTo>
                  <a:lnTo>
                    <a:pt x="508" y="299"/>
                  </a:lnTo>
                  <a:lnTo>
                    <a:pt x="506" y="30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6" name="Freeform 905"/>
            <p:cNvSpPr>
              <a:spLocks/>
            </p:cNvSpPr>
            <p:nvPr/>
          </p:nvSpPr>
          <p:spPr bwMode="auto">
            <a:xfrm>
              <a:off x="2728917" y="2871788"/>
              <a:ext cx="52387" cy="38100"/>
            </a:xfrm>
            <a:custGeom>
              <a:avLst/>
              <a:gdLst>
                <a:gd name="T0" fmla="*/ 0 w 36"/>
                <a:gd name="T1" fmla="*/ 2147483647 h 24"/>
                <a:gd name="T2" fmla="*/ 2147483647 w 36"/>
                <a:gd name="T3" fmla="*/ 2147483647 h 24"/>
                <a:gd name="T4" fmla="*/ 2147483647 w 36"/>
                <a:gd name="T5" fmla="*/ 2147483647 h 24"/>
                <a:gd name="T6" fmla="*/ 2147483647 w 36"/>
                <a:gd name="T7" fmla="*/ 2147483647 h 24"/>
                <a:gd name="T8" fmla="*/ 2147483647 w 36"/>
                <a:gd name="T9" fmla="*/ 2147483647 h 24"/>
                <a:gd name="T10" fmla="*/ 2147483647 w 36"/>
                <a:gd name="T11" fmla="*/ 2147483647 h 24"/>
                <a:gd name="T12" fmla="*/ 2147483647 w 36"/>
                <a:gd name="T13" fmla="*/ 2147483647 h 24"/>
                <a:gd name="T14" fmla="*/ 2147483647 w 36"/>
                <a:gd name="T15" fmla="*/ 2147483647 h 24"/>
                <a:gd name="T16" fmla="*/ 2147483647 w 36"/>
                <a:gd name="T17" fmla="*/ 2147483647 h 24"/>
                <a:gd name="T18" fmla="*/ 2147483647 w 36"/>
                <a:gd name="T19" fmla="*/ 2147483647 h 24"/>
                <a:gd name="T20" fmla="*/ 2147483647 w 36"/>
                <a:gd name="T21" fmla="*/ 2147483647 h 24"/>
                <a:gd name="T22" fmla="*/ 2147483647 w 36"/>
                <a:gd name="T23" fmla="*/ 2147483647 h 24"/>
                <a:gd name="T24" fmla="*/ 2147483647 w 36"/>
                <a:gd name="T25" fmla="*/ 2147483647 h 24"/>
                <a:gd name="T26" fmla="*/ 2147483647 w 36"/>
                <a:gd name="T27" fmla="*/ 2147483647 h 24"/>
                <a:gd name="T28" fmla="*/ 2147483647 w 36"/>
                <a:gd name="T29" fmla="*/ 2147483647 h 24"/>
                <a:gd name="T30" fmla="*/ 2147483647 w 36"/>
                <a:gd name="T31" fmla="*/ 2147483647 h 24"/>
                <a:gd name="T32" fmla="*/ 2147483647 w 36"/>
                <a:gd name="T33" fmla="*/ 2147483647 h 24"/>
                <a:gd name="T34" fmla="*/ 2147483647 w 36"/>
                <a:gd name="T35" fmla="*/ 2147483647 h 24"/>
                <a:gd name="T36" fmla="*/ 2147483647 w 36"/>
                <a:gd name="T37" fmla="*/ 2147483647 h 24"/>
                <a:gd name="T38" fmla="*/ 2147483647 w 36"/>
                <a:gd name="T39" fmla="*/ 2147483647 h 24"/>
                <a:gd name="T40" fmla="*/ 2147483647 w 36"/>
                <a:gd name="T41" fmla="*/ 2147483647 h 24"/>
                <a:gd name="T42" fmla="*/ 2147483647 w 36"/>
                <a:gd name="T43" fmla="*/ 2147483647 h 24"/>
                <a:gd name="T44" fmla="*/ 2147483647 w 36"/>
                <a:gd name="T45" fmla="*/ 2147483647 h 24"/>
                <a:gd name="T46" fmla="*/ 2147483647 w 36"/>
                <a:gd name="T47" fmla="*/ 2147483647 h 24"/>
                <a:gd name="T48" fmla="*/ 0 w 36"/>
                <a:gd name="T49" fmla="*/ 0 h 24"/>
                <a:gd name="T50" fmla="*/ 0 w 36"/>
                <a:gd name="T51" fmla="*/ 2147483647 h 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
                <a:gd name="T79" fmla="*/ 0 h 24"/>
                <a:gd name="T80" fmla="*/ 36 w 36"/>
                <a:gd name="T81" fmla="*/ 24 h 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 h="24">
                  <a:moveTo>
                    <a:pt x="0" y="10"/>
                  </a:moveTo>
                  <a:lnTo>
                    <a:pt x="1" y="11"/>
                  </a:lnTo>
                  <a:lnTo>
                    <a:pt x="3" y="12"/>
                  </a:lnTo>
                  <a:lnTo>
                    <a:pt x="6" y="13"/>
                  </a:lnTo>
                  <a:lnTo>
                    <a:pt x="10" y="16"/>
                  </a:lnTo>
                  <a:lnTo>
                    <a:pt x="15" y="20"/>
                  </a:lnTo>
                  <a:lnTo>
                    <a:pt x="19" y="23"/>
                  </a:lnTo>
                  <a:lnTo>
                    <a:pt x="24" y="24"/>
                  </a:lnTo>
                  <a:lnTo>
                    <a:pt x="29" y="24"/>
                  </a:lnTo>
                  <a:lnTo>
                    <a:pt x="34" y="23"/>
                  </a:lnTo>
                  <a:lnTo>
                    <a:pt x="35" y="21"/>
                  </a:lnTo>
                  <a:lnTo>
                    <a:pt x="36" y="19"/>
                  </a:lnTo>
                  <a:lnTo>
                    <a:pt x="36" y="13"/>
                  </a:lnTo>
                  <a:lnTo>
                    <a:pt x="36" y="12"/>
                  </a:lnTo>
                  <a:lnTo>
                    <a:pt x="35" y="11"/>
                  </a:lnTo>
                  <a:lnTo>
                    <a:pt x="33" y="10"/>
                  </a:lnTo>
                  <a:lnTo>
                    <a:pt x="30" y="10"/>
                  </a:lnTo>
                  <a:lnTo>
                    <a:pt x="28" y="10"/>
                  </a:lnTo>
                  <a:lnTo>
                    <a:pt x="24" y="10"/>
                  </a:lnTo>
                  <a:lnTo>
                    <a:pt x="21" y="10"/>
                  </a:lnTo>
                  <a:lnTo>
                    <a:pt x="19" y="8"/>
                  </a:lnTo>
                  <a:lnTo>
                    <a:pt x="12" y="7"/>
                  </a:lnTo>
                  <a:lnTo>
                    <a:pt x="8" y="6"/>
                  </a:lnTo>
                  <a:lnTo>
                    <a:pt x="3" y="4"/>
                  </a:lnTo>
                  <a:lnTo>
                    <a:pt x="0" y="0"/>
                  </a:lnTo>
                  <a:lnTo>
                    <a:pt x="0"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7" name="Freeform 906"/>
            <p:cNvSpPr>
              <a:spLocks/>
            </p:cNvSpPr>
            <p:nvPr/>
          </p:nvSpPr>
          <p:spPr bwMode="auto">
            <a:xfrm>
              <a:off x="2801941" y="2863853"/>
              <a:ext cx="38100" cy="66675"/>
            </a:xfrm>
            <a:custGeom>
              <a:avLst/>
              <a:gdLst>
                <a:gd name="T0" fmla="*/ 2147483647 w 26"/>
                <a:gd name="T1" fmla="*/ 2147483647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2147483647 h 42"/>
                <a:gd name="T12" fmla="*/ 2147483647 w 26"/>
                <a:gd name="T13" fmla="*/ 2147483647 h 42"/>
                <a:gd name="T14" fmla="*/ 2147483647 w 26"/>
                <a:gd name="T15" fmla="*/ 2147483647 h 42"/>
                <a:gd name="T16" fmla="*/ 2147483647 w 26"/>
                <a:gd name="T17" fmla="*/ 2147483647 h 42"/>
                <a:gd name="T18" fmla="*/ 2147483647 w 26"/>
                <a:gd name="T19" fmla="*/ 2147483647 h 42"/>
                <a:gd name="T20" fmla="*/ 2147483647 w 26"/>
                <a:gd name="T21" fmla="*/ 2147483647 h 42"/>
                <a:gd name="T22" fmla="*/ 2147483647 w 26"/>
                <a:gd name="T23" fmla="*/ 2147483647 h 42"/>
                <a:gd name="T24" fmla="*/ 2147483647 w 26"/>
                <a:gd name="T25" fmla="*/ 2147483647 h 42"/>
                <a:gd name="T26" fmla="*/ 2147483647 w 26"/>
                <a:gd name="T27" fmla="*/ 2147483647 h 42"/>
                <a:gd name="T28" fmla="*/ 2147483647 w 26"/>
                <a:gd name="T29" fmla="*/ 2147483647 h 42"/>
                <a:gd name="T30" fmla="*/ 2147483647 w 26"/>
                <a:gd name="T31" fmla="*/ 2147483647 h 42"/>
                <a:gd name="T32" fmla="*/ 2147483647 w 26"/>
                <a:gd name="T33" fmla="*/ 2147483647 h 42"/>
                <a:gd name="T34" fmla="*/ 2147483647 w 26"/>
                <a:gd name="T35" fmla="*/ 2147483647 h 42"/>
                <a:gd name="T36" fmla="*/ 2147483647 w 26"/>
                <a:gd name="T37" fmla="*/ 2147483647 h 42"/>
                <a:gd name="T38" fmla="*/ 2147483647 w 26"/>
                <a:gd name="T39" fmla="*/ 2147483647 h 42"/>
                <a:gd name="T40" fmla="*/ 0 w 26"/>
                <a:gd name="T41" fmla="*/ 2147483647 h 42"/>
                <a:gd name="T42" fmla="*/ 0 w 26"/>
                <a:gd name="T43" fmla="*/ 2147483647 h 42"/>
                <a:gd name="T44" fmla="*/ 0 w 26"/>
                <a:gd name="T45" fmla="*/ 2147483647 h 42"/>
                <a:gd name="T46" fmla="*/ 0 w 26"/>
                <a:gd name="T47" fmla="*/ 2147483647 h 42"/>
                <a:gd name="T48" fmla="*/ 0 w 26"/>
                <a:gd name="T49" fmla="*/ 2147483647 h 42"/>
                <a:gd name="T50" fmla="*/ 2147483647 w 26"/>
                <a:gd name="T51" fmla="*/ 2147483647 h 42"/>
                <a:gd name="T52" fmla="*/ 2147483647 w 26"/>
                <a:gd name="T53" fmla="*/ 2147483647 h 42"/>
                <a:gd name="T54" fmla="*/ 2147483647 w 26"/>
                <a:gd name="T55" fmla="*/ 2147483647 h 42"/>
                <a:gd name="T56" fmla="*/ 2147483647 w 26"/>
                <a:gd name="T57" fmla="*/ 2147483647 h 42"/>
                <a:gd name="T58" fmla="*/ 2147483647 w 26"/>
                <a:gd name="T59" fmla="*/ 2147483647 h 42"/>
                <a:gd name="T60" fmla="*/ 2147483647 w 26"/>
                <a:gd name="T61" fmla="*/ 0 h 42"/>
                <a:gd name="T62" fmla="*/ 2147483647 w 26"/>
                <a:gd name="T63" fmla="*/ 2147483647 h 42"/>
                <a:gd name="T64" fmla="*/ 2147483647 w 26"/>
                <a:gd name="T65" fmla="*/ 2147483647 h 42"/>
                <a:gd name="T66" fmla="*/ 2147483647 w 26"/>
                <a:gd name="T67" fmla="*/ 2147483647 h 42"/>
                <a:gd name="T68" fmla="*/ 2147483647 w 26"/>
                <a:gd name="T69" fmla="*/ 2147483647 h 42"/>
                <a:gd name="T70" fmla="*/ 2147483647 w 26"/>
                <a:gd name="T71" fmla="*/ 2147483647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
                <a:gd name="T109" fmla="*/ 0 h 42"/>
                <a:gd name="T110" fmla="*/ 26 w 2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 h="42">
                  <a:moveTo>
                    <a:pt x="12" y="17"/>
                  </a:moveTo>
                  <a:lnTo>
                    <a:pt x="11" y="19"/>
                  </a:lnTo>
                  <a:lnTo>
                    <a:pt x="11" y="24"/>
                  </a:lnTo>
                  <a:lnTo>
                    <a:pt x="9" y="28"/>
                  </a:lnTo>
                  <a:lnTo>
                    <a:pt x="11" y="30"/>
                  </a:lnTo>
                  <a:lnTo>
                    <a:pt x="13" y="30"/>
                  </a:lnTo>
                  <a:lnTo>
                    <a:pt x="14" y="29"/>
                  </a:lnTo>
                  <a:lnTo>
                    <a:pt x="17" y="26"/>
                  </a:lnTo>
                  <a:lnTo>
                    <a:pt x="19" y="24"/>
                  </a:lnTo>
                  <a:lnTo>
                    <a:pt x="21" y="23"/>
                  </a:lnTo>
                  <a:lnTo>
                    <a:pt x="22" y="24"/>
                  </a:lnTo>
                  <a:lnTo>
                    <a:pt x="25" y="26"/>
                  </a:lnTo>
                  <a:lnTo>
                    <a:pt x="26" y="29"/>
                  </a:lnTo>
                  <a:lnTo>
                    <a:pt x="26" y="32"/>
                  </a:lnTo>
                  <a:lnTo>
                    <a:pt x="25" y="35"/>
                  </a:lnTo>
                  <a:lnTo>
                    <a:pt x="18" y="41"/>
                  </a:lnTo>
                  <a:lnTo>
                    <a:pt x="13" y="42"/>
                  </a:lnTo>
                  <a:lnTo>
                    <a:pt x="9" y="42"/>
                  </a:lnTo>
                  <a:lnTo>
                    <a:pt x="4" y="41"/>
                  </a:lnTo>
                  <a:lnTo>
                    <a:pt x="2" y="38"/>
                  </a:lnTo>
                  <a:lnTo>
                    <a:pt x="0" y="36"/>
                  </a:lnTo>
                  <a:lnTo>
                    <a:pt x="0" y="32"/>
                  </a:lnTo>
                  <a:lnTo>
                    <a:pt x="0" y="25"/>
                  </a:lnTo>
                  <a:lnTo>
                    <a:pt x="0" y="18"/>
                  </a:lnTo>
                  <a:lnTo>
                    <a:pt x="0" y="16"/>
                  </a:lnTo>
                  <a:lnTo>
                    <a:pt x="2" y="12"/>
                  </a:lnTo>
                  <a:lnTo>
                    <a:pt x="3" y="8"/>
                  </a:lnTo>
                  <a:lnTo>
                    <a:pt x="5" y="8"/>
                  </a:lnTo>
                  <a:lnTo>
                    <a:pt x="7" y="4"/>
                  </a:lnTo>
                  <a:lnTo>
                    <a:pt x="9" y="2"/>
                  </a:lnTo>
                  <a:lnTo>
                    <a:pt x="12" y="0"/>
                  </a:lnTo>
                  <a:lnTo>
                    <a:pt x="14" y="2"/>
                  </a:lnTo>
                  <a:lnTo>
                    <a:pt x="16" y="5"/>
                  </a:lnTo>
                  <a:lnTo>
                    <a:pt x="17" y="10"/>
                  </a:lnTo>
                  <a:lnTo>
                    <a:pt x="16" y="15"/>
                  </a:lnTo>
                  <a:lnTo>
                    <a:pt x="12" y="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8" name="Freeform 907"/>
            <p:cNvSpPr>
              <a:spLocks/>
            </p:cNvSpPr>
            <p:nvPr/>
          </p:nvSpPr>
          <p:spPr bwMode="auto">
            <a:xfrm>
              <a:off x="2725739" y="2870203"/>
              <a:ext cx="53975" cy="38100"/>
            </a:xfrm>
            <a:custGeom>
              <a:avLst/>
              <a:gdLst>
                <a:gd name="T0" fmla="*/ 0 w 37"/>
                <a:gd name="T1" fmla="*/ 2147483647 h 24"/>
                <a:gd name="T2" fmla="*/ 0 w 37"/>
                <a:gd name="T3" fmla="*/ 2147483647 h 24"/>
                <a:gd name="T4" fmla="*/ 2147483647 w 37"/>
                <a:gd name="T5" fmla="*/ 2147483647 h 24"/>
                <a:gd name="T6" fmla="*/ 2147483647 w 37"/>
                <a:gd name="T7" fmla="*/ 2147483647 h 24"/>
                <a:gd name="T8" fmla="*/ 2147483647 w 37"/>
                <a:gd name="T9" fmla="*/ 2147483647 h 24"/>
                <a:gd name="T10" fmla="*/ 2147483647 w 37"/>
                <a:gd name="T11" fmla="*/ 2147483647 h 24"/>
                <a:gd name="T12" fmla="*/ 2147483647 w 37"/>
                <a:gd name="T13" fmla="*/ 2147483647 h 24"/>
                <a:gd name="T14" fmla="*/ 2147483647 w 37"/>
                <a:gd name="T15" fmla="*/ 2147483647 h 24"/>
                <a:gd name="T16" fmla="*/ 2147483647 w 37"/>
                <a:gd name="T17" fmla="*/ 2147483647 h 24"/>
                <a:gd name="T18" fmla="*/ 2147483647 w 37"/>
                <a:gd name="T19" fmla="*/ 2147483647 h 24"/>
                <a:gd name="T20" fmla="*/ 2147483647 w 37"/>
                <a:gd name="T21" fmla="*/ 2147483647 h 24"/>
                <a:gd name="T22" fmla="*/ 2147483647 w 37"/>
                <a:gd name="T23" fmla="*/ 2147483647 h 24"/>
                <a:gd name="T24" fmla="*/ 2147483647 w 37"/>
                <a:gd name="T25" fmla="*/ 2147483647 h 24"/>
                <a:gd name="T26" fmla="*/ 2147483647 w 37"/>
                <a:gd name="T27" fmla="*/ 2147483647 h 24"/>
                <a:gd name="T28" fmla="*/ 2147483647 w 37"/>
                <a:gd name="T29" fmla="*/ 2147483647 h 24"/>
                <a:gd name="T30" fmla="*/ 2147483647 w 37"/>
                <a:gd name="T31" fmla="*/ 2147483647 h 24"/>
                <a:gd name="T32" fmla="*/ 2147483647 w 37"/>
                <a:gd name="T33" fmla="*/ 2147483647 h 24"/>
                <a:gd name="T34" fmla="*/ 2147483647 w 37"/>
                <a:gd name="T35" fmla="*/ 2147483647 h 24"/>
                <a:gd name="T36" fmla="*/ 2147483647 w 37"/>
                <a:gd name="T37" fmla="*/ 2147483647 h 24"/>
                <a:gd name="T38" fmla="*/ 2147483647 w 37"/>
                <a:gd name="T39" fmla="*/ 2147483647 h 24"/>
                <a:gd name="T40" fmla="*/ 2147483647 w 37"/>
                <a:gd name="T41" fmla="*/ 2147483647 h 24"/>
                <a:gd name="T42" fmla="*/ 2147483647 w 37"/>
                <a:gd name="T43" fmla="*/ 2147483647 h 24"/>
                <a:gd name="T44" fmla="*/ 2147483647 w 37"/>
                <a:gd name="T45" fmla="*/ 2147483647 h 24"/>
                <a:gd name="T46" fmla="*/ 2147483647 w 37"/>
                <a:gd name="T47" fmla="*/ 2147483647 h 24"/>
                <a:gd name="T48" fmla="*/ 2147483647 w 37"/>
                <a:gd name="T49" fmla="*/ 2147483647 h 24"/>
                <a:gd name="T50" fmla="*/ 2147483647 w 37"/>
                <a:gd name="T51" fmla="*/ 2147483647 h 24"/>
                <a:gd name="T52" fmla="*/ 2147483647 w 37"/>
                <a:gd name="T53" fmla="*/ 2147483647 h 24"/>
                <a:gd name="T54" fmla="*/ 2147483647 w 37"/>
                <a:gd name="T55" fmla="*/ 2147483647 h 24"/>
                <a:gd name="T56" fmla="*/ 2147483647 w 37"/>
                <a:gd name="T57" fmla="*/ 2147483647 h 24"/>
                <a:gd name="T58" fmla="*/ 2147483647 w 37"/>
                <a:gd name="T59" fmla="*/ 2147483647 h 24"/>
                <a:gd name="T60" fmla="*/ 2147483647 w 37"/>
                <a:gd name="T61" fmla="*/ 2147483647 h 24"/>
                <a:gd name="T62" fmla="*/ 2147483647 w 37"/>
                <a:gd name="T63" fmla="*/ 2147483647 h 24"/>
                <a:gd name="T64" fmla="*/ 0 w 37"/>
                <a:gd name="T65" fmla="*/ 0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7"/>
                <a:gd name="T100" fmla="*/ 0 h 24"/>
                <a:gd name="T101" fmla="*/ 37 w 37"/>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7" h="24">
                  <a:moveTo>
                    <a:pt x="0" y="9"/>
                  </a:moveTo>
                  <a:lnTo>
                    <a:pt x="0" y="9"/>
                  </a:lnTo>
                  <a:lnTo>
                    <a:pt x="2" y="11"/>
                  </a:lnTo>
                  <a:lnTo>
                    <a:pt x="4" y="12"/>
                  </a:lnTo>
                  <a:lnTo>
                    <a:pt x="7" y="13"/>
                  </a:lnTo>
                  <a:lnTo>
                    <a:pt x="10" y="15"/>
                  </a:lnTo>
                  <a:lnTo>
                    <a:pt x="16" y="20"/>
                  </a:lnTo>
                  <a:lnTo>
                    <a:pt x="19" y="22"/>
                  </a:lnTo>
                  <a:lnTo>
                    <a:pt x="24" y="24"/>
                  </a:lnTo>
                  <a:lnTo>
                    <a:pt x="30" y="24"/>
                  </a:lnTo>
                  <a:lnTo>
                    <a:pt x="35" y="22"/>
                  </a:lnTo>
                  <a:lnTo>
                    <a:pt x="36" y="21"/>
                  </a:lnTo>
                  <a:lnTo>
                    <a:pt x="37" y="19"/>
                  </a:lnTo>
                  <a:lnTo>
                    <a:pt x="37" y="13"/>
                  </a:lnTo>
                  <a:lnTo>
                    <a:pt x="37" y="12"/>
                  </a:lnTo>
                  <a:lnTo>
                    <a:pt x="36" y="11"/>
                  </a:lnTo>
                  <a:lnTo>
                    <a:pt x="33" y="9"/>
                  </a:lnTo>
                  <a:lnTo>
                    <a:pt x="31" y="9"/>
                  </a:lnTo>
                  <a:lnTo>
                    <a:pt x="28" y="9"/>
                  </a:lnTo>
                  <a:lnTo>
                    <a:pt x="24" y="9"/>
                  </a:lnTo>
                  <a:lnTo>
                    <a:pt x="22" y="9"/>
                  </a:lnTo>
                  <a:lnTo>
                    <a:pt x="19" y="8"/>
                  </a:lnTo>
                  <a:lnTo>
                    <a:pt x="13" y="7"/>
                  </a:lnTo>
                  <a:lnTo>
                    <a:pt x="9" y="6"/>
                  </a:lnTo>
                  <a:lnTo>
                    <a:pt x="4" y="4"/>
                  </a:lnTo>
                  <a:lnTo>
                    <a:pt x="0"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09" name="Freeform 908"/>
            <p:cNvSpPr>
              <a:spLocks/>
            </p:cNvSpPr>
            <p:nvPr/>
          </p:nvSpPr>
          <p:spPr bwMode="auto">
            <a:xfrm>
              <a:off x="2800353" y="2862266"/>
              <a:ext cx="38100" cy="66675"/>
            </a:xfrm>
            <a:custGeom>
              <a:avLst/>
              <a:gdLst>
                <a:gd name="T0" fmla="*/ 2147483647 w 26"/>
                <a:gd name="T1" fmla="*/ 2147483647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2147483647 h 42"/>
                <a:gd name="T12" fmla="*/ 2147483647 w 26"/>
                <a:gd name="T13" fmla="*/ 2147483647 h 42"/>
                <a:gd name="T14" fmla="*/ 2147483647 w 26"/>
                <a:gd name="T15" fmla="*/ 2147483647 h 42"/>
                <a:gd name="T16" fmla="*/ 2147483647 w 26"/>
                <a:gd name="T17" fmla="*/ 2147483647 h 42"/>
                <a:gd name="T18" fmla="*/ 2147483647 w 26"/>
                <a:gd name="T19" fmla="*/ 2147483647 h 42"/>
                <a:gd name="T20" fmla="*/ 2147483647 w 26"/>
                <a:gd name="T21" fmla="*/ 2147483647 h 42"/>
                <a:gd name="T22" fmla="*/ 2147483647 w 26"/>
                <a:gd name="T23" fmla="*/ 2147483647 h 42"/>
                <a:gd name="T24" fmla="*/ 2147483647 w 26"/>
                <a:gd name="T25" fmla="*/ 2147483647 h 42"/>
                <a:gd name="T26" fmla="*/ 2147483647 w 26"/>
                <a:gd name="T27" fmla="*/ 2147483647 h 42"/>
                <a:gd name="T28" fmla="*/ 2147483647 w 26"/>
                <a:gd name="T29" fmla="*/ 2147483647 h 42"/>
                <a:gd name="T30" fmla="*/ 2147483647 w 26"/>
                <a:gd name="T31" fmla="*/ 2147483647 h 42"/>
                <a:gd name="T32" fmla="*/ 2147483647 w 26"/>
                <a:gd name="T33" fmla="*/ 2147483647 h 42"/>
                <a:gd name="T34" fmla="*/ 2147483647 w 26"/>
                <a:gd name="T35" fmla="*/ 2147483647 h 42"/>
                <a:gd name="T36" fmla="*/ 2147483647 w 26"/>
                <a:gd name="T37" fmla="*/ 2147483647 h 42"/>
                <a:gd name="T38" fmla="*/ 2147483647 w 26"/>
                <a:gd name="T39" fmla="*/ 2147483647 h 42"/>
                <a:gd name="T40" fmla="*/ 2147483647 w 26"/>
                <a:gd name="T41" fmla="*/ 2147483647 h 42"/>
                <a:gd name="T42" fmla="*/ 2147483647 w 26"/>
                <a:gd name="T43" fmla="*/ 2147483647 h 42"/>
                <a:gd name="T44" fmla="*/ 2147483647 w 26"/>
                <a:gd name="T45" fmla="*/ 2147483647 h 42"/>
                <a:gd name="T46" fmla="*/ 2147483647 w 26"/>
                <a:gd name="T47" fmla="*/ 2147483647 h 42"/>
                <a:gd name="T48" fmla="*/ 2147483647 w 26"/>
                <a:gd name="T49" fmla="*/ 2147483647 h 42"/>
                <a:gd name="T50" fmla="*/ 0 w 26"/>
                <a:gd name="T51" fmla="*/ 2147483647 h 42"/>
                <a:gd name="T52" fmla="*/ 0 w 26"/>
                <a:gd name="T53" fmla="*/ 2147483647 h 42"/>
                <a:gd name="T54" fmla="*/ 0 w 26"/>
                <a:gd name="T55" fmla="*/ 2147483647 h 42"/>
                <a:gd name="T56" fmla="*/ 0 w 26"/>
                <a:gd name="T57" fmla="*/ 2147483647 h 42"/>
                <a:gd name="T58" fmla="*/ 0 w 26"/>
                <a:gd name="T59" fmla="*/ 2147483647 h 42"/>
                <a:gd name="T60" fmla="*/ 0 w 26"/>
                <a:gd name="T61" fmla="*/ 2147483647 h 42"/>
                <a:gd name="T62" fmla="*/ 2147483647 w 26"/>
                <a:gd name="T63" fmla="*/ 2147483647 h 42"/>
                <a:gd name="T64" fmla="*/ 2147483647 w 26"/>
                <a:gd name="T65" fmla="*/ 2147483647 h 42"/>
                <a:gd name="T66" fmla="*/ 2147483647 w 26"/>
                <a:gd name="T67" fmla="*/ 2147483647 h 42"/>
                <a:gd name="T68" fmla="*/ 2147483647 w 26"/>
                <a:gd name="T69" fmla="*/ 2147483647 h 42"/>
                <a:gd name="T70" fmla="*/ 2147483647 w 26"/>
                <a:gd name="T71" fmla="*/ 2147483647 h 42"/>
                <a:gd name="T72" fmla="*/ 2147483647 w 26"/>
                <a:gd name="T73" fmla="*/ 2147483647 h 42"/>
                <a:gd name="T74" fmla="*/ 2147483647 w 26"/>
                <a:gd name="T75" fmla="*/ 2147483647 h 42"/>
                <a:gd name="T76" fmla="*/ 2147483647 w 26"/>
                <a:gd name="T77" fmla="*/ 0 h 42"/>
                <a:gd name="T78" fmla="*/ 2147483647 w 26"/>
                <a:gd name="T79" fmla="*/ 2147483647 h 42"/>
                <a:gd name="T80" fmla="*/ 2147483647 w 26"/>
                <a:gd name="T81" fmla="*/ 2147483647 h 42"/>
                <a:gd name="T82" fmla="*/ 2147483647 w 26"/>
                <a:gd name="T83" fmla="*/ 2147483647 h 42"/>
                <a:gd name="T84" fmla="*/ 2147483647 w 26"/>
                <a:gd name="T85" fmla="*/ 2147483647 h 42"/>
                <a:gd name="T86" fmla="*/ 2147483647 w 26"/>
                <a:gd name="T87" fmla="*/ 2147483647 h 42"/>
                <a:gd name="T88" fmla="*/ 2147483647 w 26"/>
                <a:gd name="T89" fmla="*/ 2147483647 h 42"/>
                <a:gd name="T90" fmla="*/ 2147483647 w 26"/>
                <a:gd name="T91" fmla="*/ 2147483647 h 4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
                <a:gd name="T139" fmla="*/ 0 h 42"/>
                <a:gd name="T140" fmla="*/ 26 w 26"/>
                <a:gd name="T141" fmla="*/ 42 h 4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 h="42">
                  <a:moveTo>
                    <a:pt x="12" y="17"/>
                  </a:moveTo>
                  <a:lnTo>
                    <a:pt x="12" y="17"/>
                  </a:lnTo>
                  <a:lnTo>
                    <a:pt x="10" y="19"/>
                  </a:lnTo>
                  <a:lnTo>
                    <a:pt x="10" y="24"/>
                  </a:lnTo>
                  <a:lnTo>
                    <a:pt x="9" y="27"/>
                  </a:lnTo>
                  <a:lnTo>
                    <a:pt x="10" y="30"/>
                  </a:lnTo>
                  <a:lnTo>
                    <a:pt x="13" y="30"/>
                  </a:lnTo>
                  <a:lnTo>
                    <a:pt x="14" y="29"/>
                  </a:lnTo>
                  <a:lnTo>
                    <a:pt x="17" y="26"/>
                  </a:lnTo>
                  <a:lnTo>
                    <a:pt x="19" y="24"/>
                  </a:lnTo>
                  <a:lnTo>
                    <a:pt x="20" y="23"/>
                  </a:lnTo>
                  <a:lnTo>
                    <a:pt x="22" y="24"/>
                  </a:lnTo>
                  <a:lnTo>
                    <a:pt x="24" y="26"/>
                  </a:lnTo>
                  <a:lnTo>
                    <a:pt x="26" y="29"/>
                  </a:lnTo>
                  <a:lnTo>
                    <a:pt x="26" y="32"/>
                  </a:lnTo>
                  <a:lnTo>
                    <a:pt x="24" y="35"/>
                  </a:lnTo>
                  <a:lnTo>
                    <a:pt x="18" y="41"/>
                  </a:lnTo>
                  <a:lnTo>
                    <a:pt x="13" y="42"/>
                  </a:lnTo>
                  <a:lnTo>
                    <a:pt x="9" y="42"/>
                  </a:lnTo>
                  <a:lnTo>
                    <a:pt x="4" y="41"/>
                  </a:lnTo>
                  <a:lnTo>
                    <a:pt x="1" y="38"/>
                  </a:lnTo>
                  <a:lnTo>
                    <a:pt x="0" y="36"/>
                  </a:lnTo>
                  <a:lnTo>
                    <a:pt x="0" y="32"/>
                  </a:lnTo>
                  <a:lnTo>
                    <a:pt x="0" y="25"/>
                  </a:lnTo>
                  <a:lnTo>
                    <a:pt x="0" y="18"/>
                  </a:lnTo>
                  <a:lnTo>
                    <a:pt x="0" y="16"/>
                  </a:lnTo>
                  <a:lnTo>
                    <a:pt x="1" y="12"/>
                  </a:lnTo>
                  <a:lnTo>
                    <a:pt x="3" y="7"/>
                  </a:lnTo>
                  <a:lnTo>
                    <a:pt x="5" y="7"/>
                  </a:lnTo>
                  <a:lnTo>
                    <a:pt x="6" y="4"/>
                  </a:lnTo>
                  <a:lnTo>
                    <a:pt x="9" y="1"/>
                  </a:lnTo>
                  <a:lnTo>
                    <a:pt x="12" y="0"/>
                  </a:lnTo>
                  <a:lnTo>
                    <a:pt x="14" y="1"/>
                  </a:lnTo>
                  <a:lnTo>
                    <a:pt x="15" y="5"/>
                  </a:lnTo>
                  <a:lnTo>
                    <a:pt x="17" y="10"/>
                  </a:lnTo>
                  <a:lnTo>
                    <a:pt x="15" y="14"/>
                  </a:lnTo>
                  <a:lnTo>
                    <a:pt x="12"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0" name="Freeform 909"/>
            <p:cNvSpPr>
              <a:spLocks/>
            </p:cNvSpPr>
            <p:nvPr/>
          </p:nvSpPr>
          <p:spPr bwMode="auto">
            <a:xfrm>
              <a:off x="2852741" y="2698753"/>
              <a:ext cx="173037" cy="200025"/>
            </a:xfrm>
            <a:custGeom>
              <a:avLst/>
              <a:gdLst>
                <a:gd name="T0" fmla="*/ 2147483647 w 118"/>
                <a:gd name="T1" fmla="*/ 2147483647 h 126"/>
                <a:gd name="T2" fmla="*/ 2147483647 w 118"/>
                <a:gd name="T3" fmla="*/ 2147483647 h 126"/>
                <a:gd name="T4" fmla="*/ 2147483647 w 118"/>
                <a:gd name="T5" fmla="*/ 2147483647 h 126"/>
                <a:gd name="T6" fmla="*/ 2147483647 w 118"/>
                <a:gd name="T7" fmla="*/ 2147483647 h 126"/>
                <a:gd name="T8" fmla="*/ 2147483647 w 118"/>
                <a:gd name="T9" fmla="*/ 2147483647 h 126"/>
                <a:gd name="T10" fmla="*/ 2147483647 w 118"/>
                <a:gd name="T11" fmla="*/ 2147483647 h 126"/>
                <a:gd name="T12" fmla="*/ 2147483647 w 118"/>
                <a:gd name="T13" fmla="*/ 2147483647 h 126"/>
                <a:gd name="T14" fmla="*/ 2147483647 w 118"/>
                <a:gd name="T15" fmla="*/ 2147483647 h 126"/>
                <a:gd name="T16" fmla="*/ 2147483647 w 118"/>
                <a:gd name="T17" fmla="*/ 2147483647 h 126"/>
                <a:gd name="T18" fmla="*/ 2147483647 w 118"/>
                <a:gd name="T19" fmla="*/ 2147483647 h 126"/>
                <a:gd name="T20" fmla="*/ 2147483647 w 118"/>
                <a:gd name="T21" fmla="*/ 2147483647 h 126"/>
                <a:gd name="T22" fmla="*/ 2147483647 w 118"/>
                <a:gd name="T23" fmla="*/ 2147483647 h 126"/>
                <a:gd name="T24" fmla="*/ 2147483647 w 118"/>
                <a:gd name="T25" fmla="*/ 2147483647 h 126"/>
                <a:gd name="T26" fmla="*/ 2147483647 w 118"/>
                <a:gd name="T27" fmla="*/ 2147483647 h 126"/>
                <a:gd name="T28" fmla="*/ 2147483647 w 118"/>
                <a:gd name="T29" fmla="*/ 2147483647 h 126"/>
                <a:gd name="T30" fmla="*/ 2147483647 w 118"/>
                <a:gd name="T31" fmla="*/ 2147483647 h 126"/>
                <a:gd name="T32" fmla="*/ 2147483647 w 118"/>
                <a:gd name="T33" fmla="*/ 2147483647 h 126"/>
                <a:gd name="T34" fmla="*/ 2147483647 w 118"/>
                <a:gd name="T35" fmla="*/ 2147483647 h 126"/>
                <a:gd name="T36" fmla="*/ 2147483647 w 118"/>
                <a:gd name="T37" fmla="*/ 2147483647 h 126"/>
                <a:gd name="T38" fmla="*/ 2147483647 w 118"/>
                <a:gd name="T39" fmla="*/ 2147483647 h 126"/>
                <a:gd name="T40" fmla="*/ 2147483647 w 118"/>
                <a:gd name="T41" fmla="*/ 2147483647 h 126"/>
                <a:gd name="T42" fmla="*/ 2147483647 w 118"/>
                <a:gd name="T43" fmla="*/ 2147483647 h 126"/>
                <a:gd name="T44" fmla="*/ 2147483647 w 118"/>
                <a:gd name="T45" fmla="*/ 2147483647 h 126"/>
                <a:gd name="T46" fmla="*/ 2147483647 w 118"/>
                <a:gd name="T47" fmla="*/ 2147483647 h 126"/>
                <a:gd name="T48" fmla="*/ 2147483647 w 118"/>
                <a:gd name="T49" fmla="*/ 2147483647 h 126"/>
                <a:gd name="T50" fmla="*/ 2147483647 w 118"/>
                <a:gd name="T51" fmla="*/ 2147483647 h 126"/>
                <a:gd name="T52" fmla="*/ 2147483647 w 118"/>
                <a:gd name="T53" fmla="*/ 2147483647 h 126"/>
                <a:gd name="T54" fmla="*/ 2147483647 w 118"/>
                <a:gd name="T55" fmla="*/ 2147483647 h 126"/>
                <a:gd name="T56" fmla="*/ 2147483647 w 118"/>
                <a:gd name="T57" fmla="*/ 2147483647 h 126"/>
                <a:gd name="T58" fmla="*/ 2147483647 w 118"/>
                <a:gd name="T59" fmla="*/ 2147483647 h 126"/>
                <a:gd name="T60" fmla="*/ 2147483647 w 118"/>
                <a:gd name="T61" fmla="*/ 2147483647 h 126"/>
                <a:gd name="T62" fmla="*/ 2147483647 w 118"/>
                <a:gd name="T63" fmla="*/ 2147483647 h 126"/>
                <a:gd name="T64" fmla="*/ 2147483647 w 118"/>
                <a:gd name="T65" fmla="*/ 2147483647 h 126"/>
                <a:gd name="T66" fmla="*/ 2147483647 w 118"/>
                <a:gd name="T67" fmla="*/ 2147483647 h 126"/>
                <a:gd name="T68" fmla="*/ 2147483647 w 118"/>
                <a:gd name="T69" fmla="*/ 2147483647 h 126"/>
                <a:gd name="T70" fmla="*/ 2147483647 w 118"/>
                <a:gd name="T71" fmla="*/ 2147483647 h 126"/>
                <a:gd name="T72" fmla="*/ 2147483647 w 118"/>
                <a:gd name="T73" fmla="*/ 2147483647 h 126"/>
                <a:gd name="T74" fmla="*/ 2147483647 w 118"/>
                <a:gd name="T75" fmla="*/ 2147483647 h 126"/>
                <a:gd name="T76" fmla="*/ 0 w 118"/>
                <a:gd name="T77" fmla="*/ 2147483647 h 126"/>
                <a:gd name="T78" fmla="*/ 2147483647 w 118"/>
                <a:gd name="T79" fmla="*/ 2147483647 h 126"/>
                <a:gd name="T80" fmla="*/ 2147483647 w 118"/>
                <a:gd name="T81" fmla="*/ 2147483647 h 126"/>
                <a:gd name="T82" fmla="*/ 2147483647 w 118"/>
                <a:gd name="T83" fmla="*/ 2147483647 h 126"/>
                <a:gd name="T84" fmla="*/ 2147483647 w 118"/>
                <a:gd name="T85" fmla="*/ 2147483647 h 126"/>
                <a:gd name="T86" fmla="*/ 2147483647 w 118"/>
                <a:gd name="T87" fmla="*/ 2147483647 h 126"/>
                <a:gd name="T88" fmla="*/ 2147483647 w 118"/>
                <a:gd name="T89" fmla="*/ 2147483647 h 126"/>
                <a:gd name="T90" fmla="*/ 2147483647 w 118"/>
                <a:gd name="T91" fmla="*/ 2147483647 h 126"/>
                <a:gd name="T92" fmla="*/ 2147483647 w 118"/>
                <a:gd name="T93" fmla="*/ 2147483647 h 126"/>
                <a:gd name="T94" fmla="*/ 2147483647 w 118"/>
                <a:gd name="T95" fmla="*/ 2147483647 h 126"/>
                <a:gd name="T96" fmla="*/ 2147483647 w 118"/>
                <a:gd name="T97" fmla="*/ 2147483647 h 126"/>
                <a:gd name="T98" fmla="*/ 2147483647 w 118"/>
                <a:gd name="T99" fmla="*/ 2147483647 h 126"/>
                <a:gd name="T100" fmla="*/ 2147483647 w 118"/>
                <a:gd name="T101" fmla="*/ 2147483647 h 126"/>
                <a:gd name="T102" fmla="*/ 2147483647 w 118"/>
                <a:gd name="T103" fmla="*/ 2147483647 h 126"/>
                <a:gd name="T104" fmla="*/ 2147483647 w 118"/>
                <a:gd name="T105" fmla="*/ 2147483647 h 126"/>
                <a:gd name="T106" fmla="*/ 2147483647 w 118"/>
                <a:gd name="T107" fmla="*/ 2147483647 h 126"/>
                <a:gd name="T108" fmla="*/ 2147483647 w 118"/>
                <a:gd name="T109" fmla="*/ 2147483647 h 126"/>
                <a:gd name="T110" fmla="*/ 2147483647 w 118"/>
                <a:gd name="T111" fmla="*/ 2147483647 h 126"/>
                <a:gd name="T112" fmla="*/ 2147483647 w 118"/>
                <a:gd name="T113" fmla="*/ 2147483647 h 126"/>
                <a:gd name="T114" fmla="*/ 2147483647 w 118"/>
                <a:gd name="T115" fmla="*/ 2147483647 h 126"/>
                <a:gd name="T116" fmla="*/ 2147483647 w 118"/>
                <a:gd name="T117" fmla="*/ 2147483647 h 1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8"/>
                <a:gd name="T178" fmla="*/ 0 h 126"/>
                <a:gd name="T179" fmla="*/ 118 w 118"/>
                <a:gd name="T180" fmla="*/ 126 h 1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8" h="126">
                  <a:moveTo>
                    <a:pt x="96" y="121"/>
                  </a:moveTo>
                  <a:lnTo>
                    <a:pt x="97" y="125"/>
                  </a:lnTo>
                  <a:lnTo>
                    <a:pt x="99" y="126"/>
                  </a:lnTo>
                  <a:lnTo>
                    <a:pt x="100" y="126"/>
                  </a:lnTo>
                  <a:lnTo>
                    <a:pt x="103" y="125"/>
                  </a:lnTo>
                  <a:lnTo>
                    <a:pt x="104" y="121"/>
                  </a:lnTo>
                  <a:lnTo>
                    <a:pt x="105" y="115"/>
                  </a:lnTo>
                  <a:lnTo>
                    <a:pt x="109" y="109"/>
                  </a:lnTo>
                  <a:lnTo>
                    <a:pt x="113" y="103"/>
                  </a:lnTo>
                  <a:lnTo>
                    <a:pt x="118" y="98"/>
                  </a:lnTo>
                  <a:lnTo>
                    <a:pt x="113" y="95"/>
                  </a:lnTo>
                  <a:lnTo>
                    <a:pt x="111" y="94"/>
                  </a:lnTo>
                  <a:lnTo>
                    <a:pt x="113" y="90"/>
                  </a:lnTo>
                  <a:lnTo>
                    <a:pt x="116" y="84"/>
                  </a:lnTo>
                  <a:lnTo>
                    <a:pt x="116" y="81"/>
                  </a:lnTo>
                  <a:lnTo>
                    <a:pt x="116" y="80"/>
                  </a:lnTo>
                  <a:lnTo>
                    <a:pt x="115" y="78"/>
                  </a:lnTo>
                  <a:lnTo>
                    <a:pt x="113" y="77"/>
                  </a:lnTo>
                  <a:lnTo>
                    <a:pt x="109" y="78"/>
                  </a:lnTo>
                  <a:lnTo>
                    <a:pt x="104" y="83"/>
                  </a:lnTo>
                  <a:lnTo>
                    <a:pt x="103" y="83"/>
                  </a:lnTo>
                  <a:lnTo>
                    <a:pt x="101" y="82"/>
                  </a:lnTo>
                  <a:lnTo>
                    <a:pt x="103" y="78"/>
                  </a:lnTo>
                  <a:lnTo>
                    <a:pt x="104" y="76"/>
                  </a:lnTo>
                  <a:lnTo>
                    <a:pt x="101" y="75"/>
                  </a:lnTo>
                  <a:lnTo>
                    <a:pt x="100" y="75"/>
                  </a:lnTo>
                  <a:lnTo>
                    <a:pt x="99" y="75"/>
                  </a:lnTo>
                  <a:lnTo>
                    <a:pt x="97" y="76"/>
                  </a:lnTo>
                  <a:lnTo>
                    <a:pt x="95" y="76"/>
                  </a:lnTo>
                  <a:lnTo>
                    <a:pt x="94" y="75"/>
                  </a:lnTo>
                  <a:lnTo>
                    <a:pt x="92" y="72"/>
                  </a:lnTo>
                  <a:lnTo>
                    <a:pt x="92" y="69"/>
                  </a:lnTo>
                  <a:lnTo>
                    <a:pt x="92" y="65"/>
                  </a:lnTo>
                  <a:lnTo>
                    <a:pt x="92" y="62"/>
                  </a:lnTo>
                  <a:lnTo>
                    <a:pt x="90" y="59"/>
                  </a:lnTo>
                  <a:lnTo>
                    <a:pt x="89" y="59"/>
                  </a:lnTo>
                  <a:lnTo>
                    <a:pt x="89" y="58"/>
                  </a:lnTo>
                  <a:lnTo>
                    <a:pt x="89" y="56"/>
                  </a:lnTo>
                  <a:lnTo>
                    <a:pt x="90" y="53"/>
                  </a:lnTo>
                  <a:lnTo>
                    <a:pt x="91" y="51"/>
                  </a:lnTo>
                  <a:lnTo>
                    <a:pt x="90" y="50"/>
                  </a:lnTo>
                  <a:lnTo>
                    <a:pt x="87" y="50"/>
                  </a:lnTo>
                  <a:lnTo>
                    <a:pt x="85" y="51"/>
                  </a:lnTo>
                  <a:lnTo>
                    <a:pt x="83" y="52"/>
                  </a:lnTo>
                  <a:lnTo>
                    <a:pt x="81" y="52"/>
                  </a:lnTo>
                  <a:lnTo>
                    <a:pt x="80" y="51"/>
                  </a:lnTo>
                  <a:lnTo>
                    <a:pt x="78" y="50"/>
                  </a:lnTo>
                  <a:lnTo>
                    <a:pt x="75" y="55"/>
                  </a:lnTo>
                  <a:lnTo>
                    <a:pt x="73" y="57"/>
                  </a:lnTo>
                  <a:lnTo>
                    <a:pt x="72" y="58"/>
                  </a:lnTo>
                  <a:lnTo>
                    <a:pt x="70" y="58"/>
                  </a:lnTo>
                  <a:lnTo>
                    <a:pt x="68" y="58"/>
                  </a:lnTo>
                  <a:lnTo>
                    <a:pt x="64" y="56"/>
                  </a:lnTo>
                  <a:lnTo>
                    <a:pt x="63" y="56"/>
                  </a:lnTo>
                  <a:lnTo>
                    <a:pt x="61" y="57"/>
                  </a:lnTo>
                  <a:lnTo>
                    <a:pt x="58" y="57"/>
                  </a:lnTo>
                  <a:lnTo>
                    <a:pt x="57" y="56"/>
                  </a:lnTo>
                  <a:lnTo>
                    <a:pt x="56" y="55"/>
                  </a:lnTo>
                  <a:lnTo>
                    <a:pt x="57" y="52"/>
                  </a:lnTo>
                  <a:lnTo>
                    <a:pt x="59" y="50"/>
                  </a:lnTo>
                  <a:lnTo>
                    <a:pt x="61" y="46"/>
                  </a:lnTo>
                  <a:lnTo>
                    <a:pt x="61" y="44"/>
                  </a:lnTo>
                  <a:lnTo>
                    <a:pt x="59" y="42"/>
                  </a:lnTo>
                  <a:lnTo>
                    <a:pt x="56" y="39"/>
                  </a:lnTo>
                  <a:lnTo>
                    <a:pt x="54" y="40"/>
                  </a:lnTo>
                  <a:lnTo>
                    <a:pt x="52" y="40"/>
                  </a:lnTo>
                  <a:lnTo>
                    <a:pt x="48" y="44"/>
                  </a:lnTo>
                  <a:lnTo>
                    <a:pt x="44" y="48"/>
                  </a:lnTo>
                  <a:lnTo>
                    <a:pt x="43" y="48"/>
                  </a:lnTo>
                  <a:lnTo>
                    <a:pt x="42" y="46"/>
                  </a:lnTo>
                  <a:lnTo>
                    <a:pt x="40" y="42"/>
                  </a:lnTo>
                  <a:lnTo>
                    <a:pt x="39" y="37"/>
                  </a:lnTo>
                  <a:lnTo>
                    <a:pt x="40" y="32"/>
                  </a:lnTo>
                  <a:lnTo>
                    <a:pt x="43" y="31"/>
                  </a:lnTo>
                  <a:lnTo>
                    <a:pt x="44" y="30"/>
                  </a:lnTo>
                  <a:lnTo>
                    <a:pt x="49" y="27"/>
                  </a:lnTo>
                  <a:lnTo>
                    <a:pt x="53" y="24"/>
                  </a:lnTo>
                  <a:lnTo>
                    <a:pt x="56" y="19"/>
                  </a:lnTo>
                  <a:lnTo>
                    <a:pt x="56" y="14"/>
                  </a:lnTo>
                  <a:lnTo>
                    <a:pt x="57" y="13"/>
                  </a:lnTo>
                  <a:lnTo>
                    <a:pt x="58" y="12"/>
                  </a:lnTo>
                  <a:lnTo>
                    <a:pt x="61" y="11"/>
                  </a:lnTo>
                  <a:lnTo>
                    <a:pt x="63" y="10"/>
                  </a:lnTo>
                  <a:lnTo>
                    <a:pt x="66" y="8"/>
                  </a:lnTo>
                  <a:lnTo>
                    <a:pt x="67" y="6"/>
                  </a:lnTo>
                  <a:lnTo>
                    <a:pt x="68" y="4"/>
                  </a:lnTo>
                  <a:lnTo>
                    <a:pt x="70" y="2"/>
                  </a:lnTo>
                  <a:lnTo>
                    <a:pt x="68" y="0"/>
                  </a:lnTo>
                  <a:lnTo>
                    <a:pt x="66" y="1"/>
                  </a:lnTo>
                  <a:lnTo>
                    <a:pt x="61" y="2"/>
                  </a:lnTo>
                  <a:lnTo>
                    <a:pt x="57" y="1"/>
                  </a:lnTo>
                  <a:lnTo>
                    <a:pt x="53" y="1"/>
                  </a:lnTo>
                  <a:lnTo>
                    <a:pt x="49" y="5"/>
                  </a:lnTo>
                  <a:lnTo>
                    <a:pt x="45" y="7"/>
                  </a:lnTo>
                  <a:lnTo>
                    <a:pt x="40" y="8"/>
                  </a:lnTo>
                  <a:lnTo>
                    <a:pt x="36" y="10"/>
                  </a:lnTo>
                  <a:lnTo>
                    <a:pt x="31" y="15"/>
                  </a:lnTo>
                  <a:lnTo>
                    <a:pt x="28" y="24"/>
                  </a:lnTo>
                  <a:lnTo>
                    <a:pt x="25" y="34"/>
                  </a:lnTo>
                  <a:lnTo>
                    <a:pt x="24" y="44"/>
                  </a:lnTo>
                  <a:lnTo>
                    <a:pt x="23" y="46"/>
                  </a:lnTo>
                  <a:lnTo>
                    <a:pt x="21" y="48"/>
                  </a:lnTo>
                  <a:lnTo>
                    <a:pt x="19" y="49"/>
                  </a:lnTo>
                  <a:lnTo>
                    <a:pt x="17" y="50"/>
                  </a:lnTo>
                  <a:lnTo>
                    <a:pt x="17" y="53"/>
                  </a:lnTo>
                  <a:lnTo>
                    <a:pt x="16" y="57"/>
                  </a:lnTo>
                  <a:lnTo>
                    <a:pt x="12" y="63"/>
                  </a:lnTo>
                  <a:lnTo>
                    <a:pt x="7" y="68"/>
                  </a:lnTo>
                  <a:lnTo>
                    <a:pt x="1" y="71"/>
                  </a:lnTo>
                  <a:lnTo>
                    <a:pt x="1" y="72"/>
                  </a:lnTo>
                  <a:lnTo>
                    <a:pt x="2" y="74"/>
                  </a:lnTo>
                  <a:lnTo>
                    <a:pt x="6" y="76"/>
                  </a:lnTo>
                  <a:lnTo>
                    <a:pt x="7" y="77"/>
                  </a:lnTo>
                  <a:lnTo>
                    <a:pt x="6" y="80"/>
                  </a:lnTo>
                  <a:lnTo>
                    <a:pt x="3" y="83"/>
                  </a:lnTo>
                  <a:lnTo>
                    <a:pt x="0" y="88"/>
                  </a:lnTo>
                  <a:lnTo>
                    <a:pt x="0" y="93"/>
                  </a:lnTo>
                  <a:lnTo>
                    <a:pt x="0" y="97"/>
                  </a:lnTo>
                  <a:lnTo>
                    <a:pt x="2" y="98"/>
                  </a:lnTo>
                  <a:lnTo>
                    <a:pt x="3" y="98"/>
                  </a:lnTo>
                  <a:lnTo>
                    <a:pt x="10" y="95"/>
                  </a:lnTo>
                  <a:lnTo>
                    <a:pt x="14" y="93"/>
                  </a:lnTo>
                  <a:lnTo>
                    <a:pt x="17" y="93"/>
                  </a:lnTo>
                  <a:lnTo>
                    <a:pt x="24" y="93"/>
                  </a:lnTo>
                  <a:lnTo>
                    <a:pt x="30" y="94"/>
                  </a:lnTo>
                  <a:lnTo>
                    <a:pt x="38" y="95"/>
                  </a:lnTo>
                  <a:lnTo>
                    <a:pt x="44" y="95"/>
                  </a:lnTo>
                  <a:lnTo>
                    <a:pt x="47" y="94"/>
                  </a:lnTo>
                  <a:lnTo>
                    <a:pt x="49" y="93"/>
                  </a:lnTo>
                  <a:lnTo>
                    <a:pt x="54" y="90"/>
                  </a:lnTo>
                  <a:lnTo>
                    <a:pt x="56" y="90"/>
                  </a:lnTo>
                  <a:lnTo>
                    <a:pt x="56" y="91"/>
                  </a:lnTo>
                  <a:lnTo>
                    <a:pt x="57" y="94"/>
                  </a:lnTo>
                  <a:lnTo>
                    <a:pt x="58" y="96"/>
                  </a:lnTo>
                  <a:lnTo>
                    <a:pt x="59" y="98"/>
                  </a:lnTo>
                  <a:lnTo>
                    <a:pt x="62" y="98"/>
                  </a:lnTo>
                  <a:lnTo>
                    <a:pt x="64" y="97"/>
                  </a:lnTo>
                  <a:lnTo>
                    <a:pt x="70" y="94"/>
                  </a:lnTo>
                  <a:lnTo>
                    <a:pt x="72" y="93"/>
                  </a:lnTo>
                  <a:lnTo>
                    <a:pt x="75" y="94"/>
                  </a:lnTo>
                  <a:lnTo>
                    <a:pt x="76" y="95"/>
                  </a:lnTo>
                  <a:lnTo>
                    <a:pt x="76" y="96"/>
                  </a:lnTo>
                  <a:lnTo>
                    <a:pt x="73" y="97"/>
                  </a:lnTo>
                  <a:lnTo>
                    <a:pt x="70" y="101"/>
                  </a:lnTo>
                  <a:lnTo>
                    <a:pt x="67" y="104"/>
                  </a:lnTo>
                  <a:lnTo>
                    <a:pt x="63" y="108"/>
                  </a:lnTo>
                  <a:lnTo>
                    <a:pt x="61" y="112"/>
                  </a:lnTo>
                  <a:lnTo>
                    <a:pt x="57" y="112"/>
                  </a:lnTo>
                  <a:lnTo>
                    <a:pt x="53" y="113"/>
                  </a:lnTo>
                  <a:lnTo>
                    <a:pt x="50" y="114"/>
                  </a:lnTo>
                  <a:lnTo>
                    <a:pt x="50" y="115"/>
                  </a:lnTo>
                  <a:lnTo>
                    <a:pt x="50" y="116"/>
                  </a:lnTo>
                  <a:lnTo>
                    <a:pt x="53" y="119"/>
                  </a:lnTo>
                  <a:lnTo>
                    <a:pt x="56" y="119"/>
                  </a:lnTo>
                  <a:lnTo>
                    <a:pt x="62" y="117"/>
                  </a:lnTo>
                  <a:lnTo>
                    <a:pt x="67" y="115"/>
                  </a:lnTo>
                  <a:lnTo>
                    <a:pt x="71" y="112"/>
                  </a:lnTo>
                  <a:lnTo>
                    <a:pt x="76" y="106"/>
                  </a:lnTo>
                  <a:lnTo>
                    <a:pt x="80" y="100"/>
                  </a:lnTo>
                  <a:lnTo>
                    <a:pt x="85" y="95"/>
                  </a:lnTo>
                  <a:lnTo>
                    <a:pt x="87" y="93"/>
                  </a:lnTo>
                  <a:lnTo>
                    <a:pt x="91" y="93"/>
                  </a:lnTo>
                  <a:lnTo>
                    <a:pt x="92" y="93"/>
                  </a:lnTo>
                  <a:lnTo>
                    <a:pt x="92" y="94"/>
                  </a:lnTo>
                  <a:lnTo>
                    <a:pt x="92" y="96"/>
                  </a:lnTo>
                  <a:lnTo>
                    <a:pt x="90" y="101"/>
                  </a:lnTo>
                  <a:lnTo>
                    <a:pt x="86" y="106"/>
                  </a:lnTo>
                  <a:lnTo>
                    <a:pt x="83" y="109"/>
                  </a:lnTo>
                  <a:lnTo>
                    <a:pt x="85" y="112"/>
                  </a:lnTo>
                  <a:lnTo>
                    <a:pt x="86" y="114"/>
                  </a:lnTo>
                  <a:lnTo>
                    <a:pt x="87" y="114"/>
                  </a:lnTo>
                  <a:lnTo>
                    <a:pt x="89" y="114"/>
                  </a:lnTo>
                  <a:lnTo>
                    <a:pt x="90" y="112"/>
                  </a:lnTo>
                  <a:lnTo>
                    <a:pt x="92" y="109"/>
                  </a:lnTo>
                  <a:lnTo>
                    <a:pt x="94" y="109"/>
                  </a:lnTo>
                  <a:lnTo>
                    <a:pt x="95" y="110"/>
                  </a:lnTo>
                  <a:lnTo>
                    <a:pt x="97" y="112"/>
                  </a:lnTo>
                  <a:lnTo>
                    <a:pt x="97" y="115"/>
                  </a:lnTo>
                  <a:lnTo>
                    <a:pt x="96" y="12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1" name="Freeform 910"/>
            <p:cNvSpPr>
              <a:spLocks/>
            </p:cNvSpPr>
            <p:nvPr/>
          </p:nvSpPr>
          <p:spPr bwMode="auto">
            <a:xfrm>
              <a:off x="2047879" y="1247778"/>
              <a:ext cx="741363" cy="387350"/>
            </a:xfrm>
            <a:custGeom>
              <a:avLst/>
              <a:gdLst>
                <a:gd name="T0" fmla="*/ 2147483647 w 505"/>
                <a:gd name="T1" fmla="*/ 2147483647 h 244"/>
                <a:gd name="T2" fmla="*/ 2147483647 w 505"/>
                <a:gd name="T3" fmla="*/ 2147483647 h 244"/>
                <a:gd name="T4" fmla="*/ 2147483647 w 505"/>
                <a:gd name="T5" fmla="*/ 2147483647 h 244"/>
                <a:gd name="T6" fmla="*/ 2147483647 w 505"/>
                <a:gd name="T7" fmla="*/ 2147483647 h 244"/>
                <a:gd name="T8" fmla="*/ 2147483647 w 505"/>
                <a:gd name="T9" fmla="*/ 2147483647 h 244"/>
                <a:gd name="T10" fmla="*/ 2147483647 w 505"/>
                <a:gd name="T11" fmla="*/ 2147483647 h 244"/>
                <a:gd name="T12" fmla="*/ 2147483647 w 505"/>
                <a:gd name="T13" fmla="*/ 2147483647 h 244"/>
                <a:gd name="T14" fmla="*/ 2147483647 w 505"/>
                <a:gd name="T15" fmla="*/ 2147483647 h 244"/>
                <a:gd name="T16" fmla="*/ 2147483647 w 505"/>
                <a:gd name="T17" fmla="*/ 2147483647 h 244"/>
                <a:gd name="T18" fmla="*/ 2147483647 w 505"/>
                <a:gd name="T19" fmla="*/ 2147483647 h 244"/>
                <a:gd name="T20" fmla="*/ 2147483647 w 505"/>
                <a:gd name="T21" fmla="*/ 2147483647 h 244"/>
                <a:gd name="T22" fmla="*/ 2147483647 w 505"/>
                <a:gd name="T23" fmla="*/ 2147483647 h 244"/>
                <a:gd name="T24" fmla="*/ 2147483647 w 505"/>
                <a:gd name="T25" fmla="*/ 2147483647 h 244"/>
                <a:gd name="T26" fmla="*/ 2147483647 w 505"/>
                <a:gd name="T27" fmla="*/ 2147483647 h 244"/>
                <a:gd name="T28" fmla="*/ 2147483647 w 505"/>
                <a:gd name="T29" fmla="*/ 2147483647 h 244"/>
                <a:gd name="T30" fmla="*/ 2147483647 w 505"/>
                <a:gd name="T31" fmla="*/ 2147483647 h 244"/>
                <a:gd name="T32" fmla="*/ 2147483647 w 505"/>
                <a:gd name="T33" fmla="*/ 2147483647 h 244"/>
                <a:gd name="T34" fmla="*/ 2147483647 w 505"/>
                <a:gd name="T35" fmla="*/ 2147483647 h 244"/>
                <a:gd name="T36" fmla="*/ 2147483647 w 505"/>
                <a:gd name="T37" fmla="*/ 2147483647 h 244"/>
                <a:gd name="T38" fmla="*/ 2147483647 w 505"/>
                <a:gd name="T39" fmla="*/ 2147483647 h 244"/>
                <a:gd name="T40" fmla="*/ 2147483647 w 505"/>
                <a:gd name="T41" fmla="*/ 2147483647 h 244"/>
                <a:gd name="T42" fmla="*/ 2147483647 w 505"/>
                <a:gd name="T43" fmla="*/ 2147483647 h 244"/>
                <a:gd name="T44" fmla="*/ 2147483647 w 505"/>
                <a:gd name="T45" fmla="*/ 2147483647 h 244"/>
                <a:gd name="T46" fmla="*/ 2147483647 w 505"/>
                <a:gd name="T47" fmla="*/ 2147483647 h 244"/>
                <a:gd name="T48" fmla="*/ 2147483647 w 505"/>
                <a:gd name="T49" fmla="*/ 2147483647 h 244"/>
                <a:gd name="T50" fmla="*/ 2147483647 w 505"/>
                <a:gd name="T51" fmla="*/ 2147483647 h 244"/>
                <a:gd name="T52" fmla="*/ 2147483647 w 505"/>
                <a:gd name="T53" fmla="*/ 2147483647 h 244"/>
                <a:gd name="T54" fmla="*/ 2147483647 w 505"/>
                <a:gd name="T55" fmla="*/ 2147483647 h 244"/>
                <a:gd name="T56" fmla="*/ 2147483647 w 505"/>
                <a:gd name="T57" fmla="*/ 2147483647 h 244"/>
                <a:gd name="T58" fmla="*/ 2147483647 w 505"/>
                <a:gd name="T59" fmla="*/ 2147483647 h 244"/>
                <a:gd name="T60" fmla="*/ 2147483647 w 505"/>
                <a:gd name="T61" fmla="*/ 2147483647 h 244"/>
                <a:gd name="T62" fmla="*/ 2147483647 w 505"/>
                <a:gd name="T63" fmla="*/ 2147483647 h 244"/>
                <a:gd name="T64" fmla="*/ 2147483647 w 505"/>
                <a:gd name="T65" fmla="*/ 2147483647 h 244"/>
                <a:gd name="T66" fmla="*/ 2147483647 w 505"/>
                <a:gd name="T67" fmla="*/ 2147483647 h 244"/>
                <a:gd name="T68" fmla="*/ 2147483647 w 505"/>
                <a:gd name="T69" fmla="*/ 2147483647 h 244"/>
                <a:gd name="T70" fmla="*/ 2147483647 w 505"/>
                <a:gd name="T71" fmla="*/ 2147483647 h 244"/>
                <a:gd name="T72" fmla="*/ 2147483647 w 505"/>
                <a:gd name="T73" fmla="*/ 2147483647 h 244"/>
                <a:gd name="T74" fmla="*/ 2147483647 w 505"/>
                <a:gd name="T75" fmla="*/ 2147483647 h 244"/>
                <a:gd name="T76" fmla="*/ 2147483647 w 505"/>
                <a:gd name="T77" fmla="*/ 2147483647 h 244"/>
                <a:gd name="T78" fmla="*/ 2147483647 w 505"/>
                <a:gd name="T79" fmla="*/ 2147483647 h 244"/>
                <a:gd name="T80" fmla="*/ 2147483647 w 505"/>
                <a:gd name="T81" fmla="*/ 2147483647 h 244"/>
                <a:gd name="T82" fmla="*/ 2147483647 w 505"/>
                <a:gd name="T83" fmla="*/ 2147483647 h 244"/>
                <a:gd name="T84" fmla="*/ 2147483647 w 505"/>
                <a:gd name="T85" fmla="*/ 2147483647 h 244"/>
                <a:gd name="T86" fmla="*/ 2147483647 w 505"/>
                <a:gd name="T87" fmla="*/ 2147483647 h 244"/>
                <a:gd name="T88" fmla="*/ 2147483647 w 505"/>
                <a:gd name="T89" fmla="*/ 2147483647 h 244"/>
                <a:gd name="T90" fmla="*/ 2147483647 w 505"/>
                <a:gd name="T91" fmla="*/ 2147483647 h 244"/>
                <a:gd name="T92" fmla="*/ 2147483647 w 505"/>
                <a:gd name="T93" fmla="*/ 2147483647 h 244"/>
                <a:gd name="T94" fmla="*/ 2147483647 w 505"/>
                <a:gd name="T95" fmla="*/ 2147483647 h 244"/>
                <a:gd name="T96" fmla="*/ 2147483647 w 505"/>
                <a:gd name="T97" fmla="*/ 2147483647 h 244"/>
                <a:gd name="T98" fmla="*/ 2147483647 w 505"/>
                <a:gd name="T99" fmla="*/ 2147483647 h 244"/>
                <a:gd name="T100" fmla="*/ 2147483647 w 505"/>
                <a:gd name="T101" fmla="*/ 2147483647 h 244"/>
                <a:gd name="T102" fmla="*/ 2147483647 w 505"/>
                <a:gd name="T103" fmla="*/ 2147483647 h 244"/>
                <a:gd name="T104" fmla="*/ 2147483647 w 505"/>
                <a:gd name="T105" fmla="*/ 2147483647 h 244"/>
                <a:gd name="T106" fmla="*/ 2147483647 w 505"/>
                <a:gd name="T107" fmla="*/ 2147483647 h 244"/>
                <a:gd name="T108" fmla="*/ 2147483647 w 505"/>
                <a:gd name="T109" fmla="*/ 2147483647 h 244"/>
                <a:gd name="T110" fmla="*/ 2147483647 w 505"/>
                <a:gd name="T111" fmla="*/ 2147483647 h 244"/>
                <a:gd name="T112" fmla="*/ 2147483647 w 505"/>
                <a:gd name="T113" fmla="*/ 2147483647 h 244"/>
                <a:gd name="T114" fmla="*/ 2147483647 w 505"/>
                <a:gd name="T115" fmla="*/ 2147483647 h 244"/>
                <a:gd name="T116" fmla="*/ 2147483647 w 505"/>
                <a:gd name="T117" fmla="*/ 2147483647 h 2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05"/>
                <a:gd name="T178" fmla="*/ 0 h 244"/>
                <a:gd name="T179" fmla="*/ 505 w 505"/>
                <a:gd name="T180" fmla="*/ 244 h 24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05" h="244">
                  <a:moveTo>
                    <a:pt x="465" y="69"/>
                  </a:moveTo>
                  <a:lnTo>
                    <a:pt x="459" y="71"/>
                  </a:lnTo>
                  <a:lnTo>
                    <a:pt x="451" y="72"/>
                  </a:lnTo>
                  <a:lnTo>
                    <a:pt x="443" y="74"/>
                  </a:lnTo>
                  <a:lnTo>
                    <a:pt x="436" y="77"/>
                  </a:lnTo>
                  <a:lnTo>
                    <a:pt x="433" y="77"/>
                  </a:lnTo>
                  <a:lnTo>
                    <a:pt x="429" y="77"/>
                  </a:lnTo>
                  <a:lnTo>
                    <a:pt x="427" y="77"/>
                  </a:lnTo>
                  <a:lnTo>
                    <a:pt x="423" y="78"/>
                  </a:lnTo>
                  <a:lnTo>
                    <a:pt x="420" y="82"/>
                  </a:lnTo>
                  <a:lnTo>
                    <a:pt x="418" y="85"/>
                  </a:lnTo>
                  <a:lnTo>
                    <a:pt x="414" y="89"/>
                  </a:lnTo>
                  <a:lnTo>
                    <a:pt x="413" y="89"/>
                  </a:lnTo>
                  <a:lnTo>
                    <a:pt x="410" y="89"/>
                  </a:lnTo>
                  <a:lnTo>
                    <a:pt x="406" y="88"/>
                  </a:lnTo>
                  <a:lnTo>
                    <a:pt x="405" y="88"/>
                  </a:lnTo>
                  <a:lnTo>
                    <a:pt x="403" y="88"/>
                  </a:lnTo>
                  <a:lnTo>
                    <a:pt x="398" y="90"/>
                  </a:lnTo>
                  <a:lnTo>
                    <a:pt x="391" y="91"/>
                  </a:lnTo>
                  <a:lnTo>
                    <a:pt x="386" y="92"/>
                  </a:lnTo>
                  <a:lnTo>
                    <a:pt x="381" y="94"/>
                  </a:lnTo>
                  <a:lnTo>
                    <a:pt x="377" y="95"/>
                  </a:lnTo>
                  <a:lnTo>
                    <a:pt x="373" y="96"/>
                  </a:lnTo>
                  <a:lnTo>
                    <a:pt x="371" y="95"/>
                  </a:lnTo>
                  <a:lnTo>
                    <a:pt x="367" y="94"/>
                  </a:lnTo>
                  <a:lnTo>
                    <a:pt x="365" y="94"/>
                  </a:lnTo>
                  <a:lnTo>
                    <a:pt x="363" y="94"/>
                  </a:lnTo>
                  <a:lnTo>
                    <a:pt x="361" y="98"/>
                  </a:lnTo>
                  <a:lnTo>
                    <a:pt x="358" y="101"/>
                  </a:lnTo>
                  <a:lnTo>
                    <a:pt x="354" y="103"/>
                  </a:lnTo>
                  <a:lnTo>
                    <a:pt x="349" y="103"/>
                  </a:lnTo>
                  <a:lnTo>
                    <a:pt x="353" y="107"/>
                  </a:lnTo>
                  <a:lnTo>
                    <a:pt x="354" y="109"/>
                  </a:lnTo>
                  <a:lnTo>
                    <a:pt x="353" y="111"/>
                  </a:lnTo>
                  <a:lnTo>
                    <a:pt x="353" y="113"/>
                  </a:lnTo>
                  <a:lnTo>
                    <a:pt x="351" y="113"/>
                  </a:lnTo>
                  <a:lnTo>
                    <a:pt x="347" y="113"/>
                  </a:lnTo>
                  <a:lnTo>
                    <a:pt x="345" y="110"/>
                  </a:lnTo>
                  <a:lnTo>
                    <a:pt x="344" y="110"/>
                  </a:lnTo>
                  <a:lnTo>
                    <a:pt x="342" y="111"/>
                  </a:lnTo>
                  <a:lnTo>
                    <a:pt x="339" y="111"/>
                  </a:lnTo>
                  <a:lnTo>
                    <a:pt x="334" y="111"/>
                  </a:lnTo>
                  <a:lnTo>
                    <a:pt x="334" y="113"/>
                  </a:lnTo>
                  <a:lnTo>
                    <a:pt x="333" y="113"/>
                  </a:lnTo>
                  <a:lnTo>
                    <a:pt x="335" y="117"/>
                  </a:lnTo>
                  <a:lnTo>
                    <a:pt x="335" y="120"/>
                  </a:lnTo>
                  <a:lnTo>
                    <a:pt x="335" y="121"/>
                  </a:lnTo>
                  <a:lnTo>
                    <a:pt x="330" y="122"/>
                  </a:lnTo>
                  <a:lnTo>
                    <a:pt x="326" y="122"/>
                  </a:lnTo>
                  <a:lnTo>
                    <a:pt x="321" y="123"/>
                  </a:lnTo>
                  <a:lnTo>
                    <a:pt x="318" y="126"/>
                  </a:lnTo>
                  <a:lnTo>
                    <a:pt x="315" y="126"/>
                  </a:lnTo>
                  <a:lnTo>
                    <a:pt x="311" y="122"/>
                  </a:lnTo>
                  <a:lnTo>
                    <a:pt x="306" y="121"/>
                  </a:lnTo>
                  <a:lnTo>
                    <a:pt x="301" y="120"/>
                  </a:lnTo>
                  <a:lnTo>
                    <a:pt x="296" y="117"/>
                  </a:lnTo>
                  <a:lnTo>
                    <a:pt x="295" y="117"/>
                  </a:lnTo>
                  <a:lnTo>
                    <a:pt x="293" y="117"/>
                  </a:lnTo>
                  <a:lnTo>
                    <a:pt x="292" y="119"/>
                  </a:lnTo>
                  <a:lnTo>
                    <a:pt x="293" y="120"/>
                  </a:lnTo>
                  <a:lnTo>
                    <a:pt x="295" y="121"/>
                  </a:lnTo>
                  <a:lnTo>
                    <a:pt x="297" y="122"/>
                  </a:lnTo>
                  <a:lnTo>
                    <a:pt x="300" y="122"/>
                  </a:lnTo>
                  <a:lnTo>
                    <a:pt x="302" y="123"/>
                  </a:lnTo>
                  <a:lnTo>
                    <a:pt x="304" y="126"/>
                  </a:lnTo>
                  <a:lnTo>
                    <a:pt x="304" y="127"/>
                  </a:lnTo>
                  <a:lnTo>
                    <a:pt x="302" y="128"/>
                  </a:lnTo>
                  <a:lnTo>
                    <a:pt x="300" y="128"/>
                  </a:lnTo>
                  <a:lnTo>
                    <a:pt x="299" y="127"/>
                  </a:lnTo>
                  <a:lnTo>
                    <a:pt x="297" y="127"/>
                  </a:lnTo>
                  <a:lnTo>
                    <a:pt x="295" y="127"/>
                  </a:lnTo>
                  <a:lnTo>
                    <a:pt x="291" y="129"/>
                  </a:lnTo>
                  <a:lnTo>
                    <a:pt x="286" y="130"/>
                  </a:lnTo>
                  <a:lnTo>
                    <a:pt x="276" y="130"/>
                  </a:lnTo>
                  <a:lnTo>
                    <a:pt x="265" y="129"/>
                  </a:lnTo>
                  <a:lnTo>
                    <a:pt x="257" y="126"/>
                  </a:lnTo>
                  <a:lnTo>
                    <a:pt x="252" y="126"/>
                  </a:lnTo>
                  <a:lnTo>
                    <a:pt x="246" y="124"/>
                  </a:lnTo>
                  <a:lnTo>
                    <a:pt x="243" y="123"/>
                  </a:lnTo>
                  <a:lnTo>
                    <a:pt x="240" y="123"/>
                  </a:lnTo>
                  <a:lnTo>
                    <a:pt x="239" y="123"/>
                  </a:lnTo>
                  <a:lnTo>
                    <a:pt x="239" y="126"/>
                  </a:lnTo>
                  <a:lnTo>
                    <a:pt x="239" y="127"/>
                  </a:lnTo>
                  <a:lnTo>
                    <a:pt x="243" y="129"/>
                  </a:lnTo>
                  <a:lnTo>
                    <a:pt x="246" y="130"/>
                  </a:lnTo>
                  <a:lnTo>
                    <a:pt x="250" y="132"/>
                  </a:lnTo>
                  <a:lnTo>
                    <a:pt x="254" y="134"/>
                  </a:lnTo>
                  <a:lnTo>
                    <a:pt x="259" y="136"/>
                  </a:lnTo>
                  <a:lnTo>
                    <a:pt x="265" y="138"/>
                  </a:lnTo>
                  <a:lnTo>
                    <a:pt x="271" y="139"/>
                  </a:lnTo>
                  <a:lnTo>
                    <a:pt x="276" y="140"/>
                  </a:lnTo>
                  <a:lnTo>
                    <a:pt x="278" y="141"/>
                  </a:lnTo>
                  <a:lnTo>
                    <a:pt x="278" y="143"/>
                  </a:lnTo>
                  <a:lnTo>
                    <a:pt x="268" y="142"/>
                  </a:lnTo>
                  <a:lnTo>
                    <a:pt x="258" y="141"/>
                  </a:lnTo>
                  <a:lnTo>
                    <a:pt x="248" y="140"/>
                  </a:lnTo>
                  <a:lnTo>
                    <a:pt x="239" y="138"/>
                  </a:lnTo>
                  <a:lnTo>
                    <a:pt x="235" y="135"/>
                  </a:lnTo>
                  <a:lnTo>
                    <a:pt x="232" y="133"/>
                  </a:lnTo>
                  <a:lnTo>
                    <a:pt x="230" y="133"/>
                  </a:lnTo>
                  <a:lnTo>
                    <a:pt x="229" y="133"/>
                  </a:lnTo>
                  <a:lnTo>
                    <a:pt x="226" y="136"/>
                  </a:lnTo>
                  <a:lnTo>
                    <a:pt x="226" y="139"/>
                  </a:lnTo>
                  <a:lnTo>
                    <a:pt x="227" y="141"/>
                  </a:lnTo>
                  <a:lnTo>
                    <a:pt x="231" y="143"/>
                  </a:lnTo>
                  <a:lnTo>
                    <a:pt x="235" y="146"/>
                  </a:lnTo>
                  <a:lnTo>
                    <a:pt x="243" y="146"/>
                  </a:lnTo>
                  <a:lnTo>
                    <a:pt x="241" y="148"/>
                  </a:lnTo>
                  <a:lnTo>
                    <a:pt x="239" y="149"/>
                  </a:lnTo>
                  <a:lnTo>
                    <a:pt x="235" y="151"/>
                  </a:lnTo>
                  <a:lnTo>
                    <a:pt x="232" y="152"/>
                  </a:lnTo>
                  <a:lnTo>
                    <a:pt x="231" y="154"/>
                  </a:lnTo>
                  <a:lnTo>
                    <a:pt x="231" y="155"/>
                  </a:lnTo>
                  <a:lnTo>
                    <a:pt x="234" y="157"/>
                  </a:lnTo>
                  <a:lnTo>
                    <a:pt x="239" y="158"/>
                  </a:lnTo>
                  <a:lnTo>
                    <a:pt x="243" y="158"/>
                  </a:lnTo>
                  <a:lnTo>
                    <a:pt x="252" y="155"/>
                  </a:lnTo>
                  <a:lnTo>
                    <a:pt x="254" y="157"/>
                  </a:lnTo>
                  <a:lnTo>
                    <a:pt x="255" y="157"/>
                  </a:lnTo>
                  <a:lnTo>
                    <a:pt x="259" y="153"/>
                  </a:lnTo>
                  <a:lnTo>
                    <a:pt x="262" y="153"/>
                  </a:lnTo>
                  <a:lnTo>
                    <a:pt x="263" y="153"/>
                  </a:lnTo>
                  <a:lnTo>
                    <a:pt x="271" y="157"/>
                  </a:lnTo>
                  <a:lnTo>
                    <a:pt x="276" y="158"/>
                  </a:lnTo>
                  <a:lnTo>
                    <a:pt x="279" y="159"/>
                  </a:lnTo>
                  <a:lnTo>
                    <a:pt x="281" y="159"/>
                  </a:lnTo>
                  <a:lnTo>
                    <a:pt x="281" y="160"/>
                  </a:lnTo>
                  <a:lnTo>
                    <a:pt x="279" y="162"/>
                  </a:lnTo>
                  <a:lnTo>
                    <a:pt x="278" y="162"/>
                  </a:lnTo>
                  <a:lnTo>
                    <a:pt x="277" y="162"/>
                  </a:lnTo>
                  <a:lnTo>
                    <a:pt x="274" y="162"/>
                  </a:lnTo>
                  <a:lnTo>
                    <a:pt x="271" y="165"/>
                  </a:lnTo>
                  <a:lnTo>
                    <a:pt x="267" y="166"/>
                  </a:lnTo>
                  <a:lnTo>
                    <a:pt x="259" y="168"/>
                  </a:lnTo>
                  <a:lnTo>
                    <a:pt x="258" y="170"/>
                  </a:lnTo>
                  <a:lnTo>
                    <a:pt x="255" y="172"/>
                  </a:lnTo>
                  <a:lnTo>
                    <a:pt x="254" y="173"/>
                  </a:lnTo>
                  <a:lnTo>
                    <a:pt x="250" y="173"/>
                  </a:lnTo>
                  <a:lnTo>
                    <a:pt x="248" y="173"/>
                  </a:lnTo>
                  <a:lnTo>
                    <a:pt x="246" y="173"/>
                  </a:lnTo>
                  <a:lnTo>
                    <a:pt x="243" y="174"/>
                  </a:lnTo>
                  <a:lnTo>
                    <a:pt x="239" y="174"/>
                  </a:lnTo>
                  <a:lnTo>
                    <a:pt x="235" y="173"/>
                  </a:lnTo>
                  <a:lnTo>
                    <a:pt x="232" y="172"/>
                  </a:lnTo>
                  <a:lnTo>
                    <a:pt x="229" y="172"/>
                  </a:lnTo>
                  <a:lnTo>
                    <a:pt x="227" y="172"/>
                  </a:lnTo>
                  <a:lnTo>
                    <a:pt x="227" y="184"/>
                  </a:lnTo>
                  <a:lnTo>
                    <a:pt x="226" y="190"/>
                  </a:lnTo>
                  <a:lnTo>
                    <a:pt x="224" y="194"/>
                  </a:lnTo>
                  <a:lnTo>
                    <a:pt x="222" y="196"/>
                  </a:lnTo>
                  <a:lnTo>
                    <a:pt x="219" y="196"/>
                  </a:lnTo>
                  <a:lnTo>
                    <a:pt x="211" y="196"/>
                  </a:lnTo>
                  <a:lnTo>
                    <a:pt x="203" y="196"/>
                  </a:lnTo>
                  <a:lnTo>
                    <a:pt x="196" y="198"/>
                  </a:lnTo>
                  <a:lnTo>
                    <a:pt x="187" y="198"/>
                  </a:lnTo>
                  <a:lnTo>
                    <a:pt x="183" y="197"/>
                  </a:lnTo>
                  <a:lnTo>
                    <a:pt x="179" y="196"/>
                  </a:lnTo>
                  <a:lnTo>
                    <a:pt x="172" y="190"/>
                  </a:lnTo>
                  <a:lnTo>
                    <a:pt x="168" y="187"/>
                  </a:lnTo>
                  <a:lnTo>
                    <a:pt x="163" y="186"/>
                  </a:lnTo>
                  <a:lnTo>
                    <a:pt x="163" y="189"/>
                  </a:lnTo>
                  <a:lnTo>
                    <a:pt x="164" y="189"/>
                  </a:lnTo>
                  <a:lnTo>
                    <a:pt x="164" y="190"/>
                  </a:lnTo>
                  <a:lnTo>
                    <a:pt x="168" y="196"/>
                  </a:lnTo>
                  <a:lnTo>
                    <a:pt x="170" y="202"/>
                  </a:lnTo>
                  <a:lnTo>
                    <a:pt x="173" y="204"/>
                  </a:lnTo>
                  <a:lnTo>
                    <a:pt x="175" y="205"/>
                  </a:lnTo>
                  <a:lnTo>
                    <a:pt x="179" y="206"/>
                  </a:lnTo>
                  <a:lnTo>
                    <a:pt x="183" y="205"/>
                  </a:lnTo>
                  <a:lnTo>
                    <a:pt x="194" y="204"/>
                  </a:lnTo>
                  <a:lnTo>
                    <a:pt x="199" y="204"/>
                  </a:lnTo>
                  <a:lnTo>
                    <a:pt x="205" y="206"/>
                  </a:lnTo>
                  <a:lnTo>
                    <a:pt x="216" y="216"/>
                  </a:lnTo>
                  <a:lnTo>
                    <a:pt x="222" y="221"/>
                  </a:lnTo>
                  <a:lnTo>
                    <a:pt x="229" y="223"/>
                  </a:lnTo>
                  <a:lnTo>
                    <a:pt x="229" y="224"/>
                  </a:lnTo>
                  <a:lnTo>
                    <a:pt x="227" y="225"/>
                  </a:lnTo>
                  <a:lnTo>
                    <a:pt x="217" y="228"/>
                  </a:lnTo>
                  <a:lnTo>
                    <a:pt x="210" y="232"/>
                  </a:lnTo>
                  <a:lnTo>
                    <a:pt x="201" y="237"/>
                  </a:lnTo>
                  <a:lnTo>
                    <a:pt x="193" y="241"/>
                  </a:lnTo>
                  <a:lnTo>
                    <a:pt x="188" y="243"/>
                  </a:lnTo>
                  <a:lnTo>
                    <a:pt x="185" y="244"/>
                  </a:lnTo>
                  <a:lnTo>
                    <a:pt x="183" y="243"/>
                  </a:lnTo>
                  <a:lnTo>
                    <a:pt x="182" y="242"/>
                  </a:lnTo>
                  <a:lnTo>
                    <a:pt x="180" y="239"/>
                  </a:lnTo>
                  <a:lnTo>
                    <a:pt x="180" y="236"/>
                  </a:lnTo>
                  <a:lnTo>
                    <a:pt x="179" y="232"/>
                  </a:lnTo>
                  <a:lnTo>
                    <a:pt x="178" y="232"/>
                  </a:lnTo>
                  <a:lnTo>
                    <a:pt x="175" y="231"/>
                  </a:lnTo>
                  <a:lnTo>
                    <a:pt x="172" y="232"/>
                  </a:lnTo>
                  <a:lnTo>
                    <a:pt x="168" y="231"/>
                  </a:lnTo>
                  <a:lnTo>
                    <a:pt x="155" y="229"/>
                  </a:lnTo>
                  <a:lnTo>
                    <a:pt x="150" y="229"/>
                  </a:lnTo>
                  <a:lnTo>
                    <a:pt x="146" y="230"/>
                  </a:lnTo>
                  <a:lnTo>
                    <a:pt x="144" y="232"/>
                  </a:lnTo>
                  <a:lnTo>
                    <a:pt x="141" y="232"/>
                  </a:lnTo>
                  <a:lnTo>
                    <a:pt x="141" y="234"/>
                  </a:lnTo>
                  <a:lnTo>
                    <a:pt x="140" y="234"/>
                  </a:lnTo>
                  <a:lnTo>
                    <a:pt x="137" y="234"/>
                  </a:lnTo>
                  <a:lnTo>
                    <a:pt x="136" y="231"/>
                  </a:lnTo>
                  <a:lnTo>
                    <a:pt x="135" y="230"/>
                  </a:lnTo>
                  <a:lnTo>
                    <a:pt x="130" y="230"/>
                  </a:lnTo>
                  <a:lnTo>
                    <a:pt x="123" y="230"/>
                  </a:lnTo>
                  <a:lnTo>
                    <a:pt x="118" y="230"/>
                  </a:lnTo>
                  <a:lnTo>
                    <a:pt x="117" y="229"/>
                  </a:lnTo>
                  <a:lnTo>
                    <a:pt x="116" y="228"/>
                  </a:lnTo>
                  <a:lnTo>
                    <a:pt x="114" y="224"/>
                  </a:lnTo>
                  <a:lnTo>
                    <a:pt x="111" y="223"/>
                  </a:lnTo>
                  <a:lnTo>
                    <a:pt x="108" y="224"/>
                  </a:lnTo>
                  <a:lnTo>
                    <a:pt x="104" y="225"/>
                  </a:lnTo>
                  <a:lnTo>
                    <a:pt x="102" y="228"/>
                  </a:lnTo>
                  <a:lnTo>
                    <a:pt x="102" y="229"/>
                  </a:lnTo>
                  <a:lnTo>
                    <a:pt x="103" y="230"/>
                  </a:lnTo>
                  <a:lnTo>
                    <a:pt x="104" y="232"/>
                  </a:lnTo>
                  <a:lnTo>
                    <a:pt x="105" y="234"/>
                  </a:lnTo>
                  <a:lnTo>
                    <a:pt x="104" y="236"/>
                  </a:lnTo>
                  <a:lnTo>
                    <a:pt x="103" y="237"/>
                  </a:lnTo>
                  <a:lnTo>
                    <a:pt x="102" y="237"/>
                  </a:lnTo>
                  <a:lnTo>
                    <a:pt x="100" y="237"/>
                  </a:lnTo>
                  <a:lnTo>
                    <a:pt x="93" y="235"/>
                  </a:lnTo>
                  <a:lnTo>
                    <a:pt x="85" y="235"/>
                  </a:lnTo>
                  <a:lnTo>
                    <a:pt x="71" y="237"/>
                  </a:lnTo>
                  <a:lnTo>
                    <a:pt x="70" y="236"/>
                  </a:lnTo>
                  <a:lnTo>
                    <a:pt x="69" y="235"/>
                  </a:lnTo>
                  <a:lnTo>
                    <a:pt x="66" y="232"/>
                  </a:lnTo>
                  <a:lnTo>
                    <a:pt x="64" y="232"/>
                  </a:lnTo>
                  <a:lnTo>
                    <a:pt x="61" y="234"/>
                  </a:lnTo>
                  <a:lnTo>
                    <a:pt x="59" y="235"/>
                  </a:lnTo>
                  <a:lnTo>
                    <a:pt x="55" y="235"/>
                  </a:lnTo>
                  <a:lnTo>
                    <a:pt x="51" y="234"/>
                  </a:lnTo>
                  <a:lnTo>
                    <a:pt x="48" y="235"/>
                  </a:lnTo>
                  <a:lnTo>
                    <a:pt x="45" y="235"/>
                  </a:lnTo>
                  <a:lnTo>
                    <a:pt x="41" y="234"/>
                  </a:lnTo>
                  <a:lnTo>
                    <a:pt x="38" y="231"/>
                  </a:lnTo>
                  <a:lnTo>
                    <a:pt x="38" y="228"/>
                  </a:lnTo>
                  <a:lnTo>
                    <a:pt x="38" y="224"/>
                  </a:lnTo>
                  <a:lnTo>
                    <a:pt x="39" y="221"/>
                  </a:lnTo>
                  <a:lnTo>
                    <a:pt x="41" y="221"/>
                  </a:lnTo>
                  <a:lnTo>
                    <a:pt x="43" y="223"/>
                  </a:lnTo>
                  <a:lnTo>
                    <a:pt x="47" y="219"/>
                  </a:lnTo>
                  <a:lnTo>
                    <a:pt x="50" y="215"/>
                  </a:lnTo>
                  <a:lnTo>
                    <a:pt x="51" y="215"/>
                  </a:lnTo>
                  <a:lnTo>
                    <a:pt x="55" y="215"/>
                  </a:lnTo>
                  <a:lnTo>
                    <a:pt x="59" y="215"/>
                  </a:lnTo>
                  <a:lnTo>
                    <a:pt x="62" y="213"/>
                  </a:lnTo>
                  <a:lnTo>
                    <a:pt x="64" y="210"/>
                  </a:lnTo>
                  <a:lnTo>
                    <a:pt x="57" y="207"/>
                  </a:lnTo>
                  <a:lnTo>
                    <a:pt x="52" y="204"/>
                  </a:lnTo>
                  <a:lnTo>
                    <a:pt x="50" y="199"/>
                  </a:lnTo>
                  <a:lnTo>
                    <a:pt x="48" y="197"/>
                  </a:lnTo>
                  <a:lnTo>
                    <a:pt x="50" y="193"/>
                  </a:lnTo>
                  <a:lnTo>
                    <a:pt x="51" y="191"/>
                  </a:lnTo>
                  <a:lnTo>
                    <a:pt x="55" y="190"/>
                  </a:lnTo>
                  <a:lnTo>
                    <a:pt x="62" y="187"/>
                  </a:lnTo>
                  <a:lnTo>
                    <a:pt x="65" y="186"/>
                  </a:lnTo>
                  <a:lnTo>
                    <a:pt x="69" y="187"/>
                  </a:lnTo>
                  <a:lnTo>
                    <a:pt x="74" y="189"/>
                  </a:lnTo>
                  <a:lnTo>
                    <a:pt x="80" y="192"/>
                  </a:lnTo>
                  <a:lnTo>
                    <a:pt x="85" y="196"/>
                  </a:lnTo>
                  <a:lnTo>
                    <a:pt x="90" y="199"/>
                  </a:lnTo>
                  <a:lnTo>
                    <a:pt x="93" y="199"/>
                  </a:lnTo>
                  <a:lnTo>
                    <a:pt x="95" y="199"/>
                  </a:lnTo>
                  <a:lnTo>
                    <a:pt x="99" y="198"/>
                  </a:lnTo>
                  <a:lnTo>
                    <a:pt x="103" y="198"/>
                  </a:lnTo>
                  <a:lnTo>
                    <a:pt x="108" y="198"/>
                  </a:lnTo>
                  <a:lnTo>
                    <a:pt x="116" y="197"/>
                  </a:lnTo>
                  <a:lnTo>
                    <a:pt x="122" y="194"/>
                  </a:lnTo>
                  <a:lnTo>
                    <a:pt x="123" y="192"/>
                  </a:lnTo>
                  <a:lnTo>
                    <a:pt x="125" y="190"/>
                  </a:lnTo>
                  <a:lnTo>
                    <a:pt x="125" y="187"/>
                  </a:lnTo>
                  <a:lnTo>
                    <a:pt x="126" y="184"/>
                  </a:lnTo>
                  <a:lnTo>
                    <a:pt x="130" y="178"/>
                  </a:lnTo>
                  <a:lnTo>
                    <a:pt x="132" y="174"/>
                  </a:lnTo>
                  <a:lnTo>
                    <a:pt x="133" y="173"/>
                  </a:lnTo>
                  <a:lnTo>
                    <a:pt x="132" y="173"/>
                  </a:lnTo>
                  <a:lnTo>
                    <a:pt x="122" y="177"/>
                  </a:lnTo>
                  <a:lnTo>
                    <a:pt x="117" y="183"/>
                  </a:lnTo>
                  <a:lnTo>
                    <a:pt x="113" y="185"/>
                  </a:lnTo>
                  <a:lnTo>
                    <a:pt x="107" y="185"/>
                  </a:lnTo>
                  <a:lnTo>
                    <a:pt x="100" y="184"/>
                  </a:lnTo>
                  <a:lnTo>
                    <a:pt x="95" y="181"/>
                  </a:lnTo>
                  <a:lnTo>
                    <a:pt x="92" y="179"/>
                  </a:lnTo>
                  <a:lnTo>
                    <a:pt x="92" y="175"/>
                  </a:lnTo>
                  <a:lnTo>
                    <a:pt x="93" y="171"/>
                  </a:lnTo>
                  <a:lnTo>
                    <a:pt x="92" y="170"/>
                  </a:lnTo>
                  <a:lnTo>
                    <a:pt x="90" y="171"/>
                  </a:lnTo>
                  <a:lnTo>
                    <a:pt x="86" y="174"/>
                  </a:lnTo>
                  <a:lnTo>
                    <a:pt x="83" y="177"/>
                  </a:lnTo>
                  <a:lnTo>
                    <a:pt x="79" y="178"/>
                  </a:lnTo>
                  <a:lnTo>
                    <a:pt x="75" y="178"/>
                  </a:lnTo>
                  <a:lnTo>
                    <a:pt x="71" y="178"/>
                  </a:lnTo>
                  <a:lnTo>
                    <a:pt x="67" y="179"/>
                  </a:lnTo>
                  <a:lnTo>
                    <a:pt x="60" y="181"/>
                  </a:lnTo>
                  <a:lnTo>
                    <a:pt x="56" y="183"/>
                  </a:lnTo>
                  <a:lnTo>
                    <a:pt x="52" y="181"/>
                  </a:lnTo>
                  <a:lnTo>
                    <a:pt x="50" y="180"/>
                  </a:lnTo>
                  <a:lnTo>
                    <a:pt x="48" y="179"/>
                  </a:lnTo>
                  <a:lnTo>
                    <a:pt x="48" y="177"/>
                  </a:lnTo>
                  <a:lnTo>
                    <a:pt x="48" y="174"/>
                  </a:lnTo>
                  <a:lnTo>
                    <a:pt x="56" y="165"/>
                  </a:lnTo>
                  <a:lnTo>
                    <a:pt x="57" y="164"/>
                  </a:lnTo>
                  <a:lnTo>
                    <a:pt x="60" y="162"/>
                  </a:lnTo>
                  <a:lnTo>
                    <a:pt x="65" y="161"/>
                  </a:lnTo>
                  <a:lnTo>
                    <a:pt x="66" y="160"/>
                  </a:lnTo>
                  <a:lnTo>
                    <a:pt x="67" y="158"/>
                  </a:lnTo>
                  <a:lnTo>
                    <a:pt x="70" y="154"/>
                  </a:lnTo>
                  <a:lnTo>
                    <a:pt x="71" y="152"/>
                  </a:lnTo>
                  <a:lnTo>
                    <a:pt x="74" y="152"/>
                  </a:lnTo>
                  <a:lnTo>
                    <a:pt x="78" y="155"/>
                  </a:lnTo>
                  <a:lnTo>
                    <a:pt x="80" y="157"/>
                  </a:lnTo>
                  <a:lnTo>
                    <a:pt x="83" y="157"/>
                  </a:lnTo>
                  <a:lnTo>
                    <a:pt x="85" y="155"/>
                  </a:lnTo>
                  <a:lnTo>
                    <a:pt x="86" y="153"/>
                  </a:lnTo>
                  <a:lnTo>
                    <a:pt x="89" y="153"/>
                  </a:lnTo>
                  <a:lnTo>
                    <a:pt x="92" y="154"/>
                  </a:lnTo>
                  <a:lnTo>
                    <a:pt x="94" y="155"/>
                  </a:lnTo>
                  <a:lnTo>
                    <a:pt x="97" y="155"/>
                  </a:lnTo>
                  <a:lnTo>
                    <a:pt x="100" y="154"/>
                  </a:lnTo>
                  <a:lnTo>
                    <a:pt x="104" y="154"/>
                  </a:lnTo>
                  <a:lnTo>
                    <a:pt x="107" y="154"/>
                  </a:lnTo>
                  <a:lnTo>
                    <a:pt x="111" y="154"/>
                  </a:lnTo>
                  <a:lnTo>
                    <a:pt x="112" y="153"/>
                  </a:lnTo>
                  <a:lnTo>
                    <a:pt x="113" y="151"/>
                  </a:lnTo>
                  <a:lnTo>
                    <a:pt x="116" y="151"/>
                  </a:lnTo>
                  <a:lnTo>
                    <a:pt x="119" y="152"/>
                  </a:lnTo>
                  <a:lnTo>
                    <a:pt x="121" y="152"/>
                  </a:lnTo>
                  <a:lnTo>
                    <a:pt x="123" y="151"/>
                  </a:lnTo>
                  <a:lnTo>
                    <a:pt x="128" y="147"/>
                  </a:lnTo>
                  <a:lnTo>
                    <a:pt x="130" y="145"/>
                  </a:lnTo>
                  <a:lnTo>
                    <a:pt x="130" y="142"/>
                  </a:lnTo>
                  <a:lnTo>
                    <a:pt x="128" y="141"/>
                  </a:lnTo>
                  <a:lnTo>
                    <a:pt x="122" y="145"/>
                  </a:lnTo>
                  <a:lnTo>
                    <a:pt x="116" y="147"/>
                  </a:lnTo>
                  <a:lnTo>
                    <a:pt x="109" y="147"/>
                  </a:lnTo>
                  <a:lnTo>
                    <a:pt x="103" y="146"/>
                  </a:lnTo>
                  <a:lnTo>
                    <a:pt x="98" y="145"/>
                  </a:lnTo>
                  <a:lnTo>
                    <a:pt x="93" y="145"/>
                  </a:lnTo>
                  <a:lnTo>
                    <a:pt x="88" y="146"/>
                  </a:lnTo>
                  <a:lnTo>
                    <a:pt x="84" y="145"/>
                  </a:lnTo>
                  <a:lnTo>
                    <a:pt x="83" y="143"/>
                  </a:lnTo>
                  <a:lnTo>
                    <a:pt x="81" y="142"/>
                  </a:lnTo>
                  <a:lnTo>
                    <a:pt x="81" y="139"/>
                  </a:lnTo>
                  <a:lnTo>
                    <a:pt x="83" y="134"/>
                  </a:lnTo>
                  <a:lnTo>
                    <a:pt x="83" y="130"/>
                  </a:lnTo>
                  <a:lnTo>
                    <a:pt x="79" y="128"/>
                  </a:lnTo>
                  <a:lnTo>
                    <a:pt x="76" y="128"/>
                  </a:lnTo>
                  <a:lnTo>
                    <a:pt x="72" y="128"/>
                  </a:lnTo>
                  <a:lnTo>
                    <a:pt x="69" y="128"/>
                  </a:lnTo>
                  <a:lnTo>
                    <a:pt x="67" y="126"/>
                  </a:lnTo>
                  <a:lnTo>
                    <a:pt x="65" y="123"/>
                  </a:lnTo>
                  <a:lnTo>
                    <a:pt x="64" y="117"/>
                  </a:lnTo>
                  <a:lnTo>
                    <a:pt x="64" y="111"/>
                  </a:lnTo>
                  <a:lnTo>
                    <a:pt x="65" y="107"/>
                  </a:lnTo>
                  <a:lnTo>
                    <a:pt x="67" y="104"/>
                  </a:lnTo>
                  <a:lnTo>
                    <a:pt x="71" y="102"/>
                  </a:lnTo>
                  <a:lnTo>
                    <a:pt x="76" y="102"/>
                  </a:lnTo>
                  <a:lnTo>
                    <a:pt x="81" y="103"/>
                  </a:lnTo>
                  <a:lnTo>
                    <a:pt x="92" y="104"/>
                  </a:lnTo>
                  <a:lnTo>
                    <a:pt x="98" y="106"/>
                  </a:lnTo>
                  <a:lnTo>
                    <a:pt x="103" y="104"/>
                  </a:lnTo>
                  <a:lnTo>
                    <a:pt x="114" y="103"/>
                  </a:lnTo>
                  <a:lnTo>
                    <a:pt x="119" y="103"/>
                  </a:lnTo>
                  <a:lnTo>
                    <a:pt x="126" y="104"/>
                  </a:lnTo>
                  <a:lnTo>
                    <a:pt x="128" y="106"/>
                  </a:lnTo>
                  <a:lnTo>
                    <a:pt x="131" y="108"/>
                  </a:lnTo>
                  <a:lnTo>
                    <a:pt x="133" y="114"/>
                  </a:lnTo>
                  <a:lnTo>
                    <a:pt x="136" y="119"/>
                  </a:lnTo>
                  <a:lnTo>
                    <a:pt x="137" y="121"/>
                  </a:lnTo>
                  <a:lnTo>
                    <a:pt x="140" y="123"/>
                  </a:lnTo>
                  <a:lnTo>
                    <a:pt x="144" y="123"/>
                  </a:lnTo>
                  <a:lnTo>
                    <a:pt x="147" y="124"/>
                  </a:lnTo>
                  <a:lnTo>
                    <a:pt x="151" y="129"/>
                  </a:lnTo>
                  <a:lnTo>
                    <a:pt x="154" y="132"/>
                  </a:lnTo>
                  <a:lnTo>
                    <a:pt x="158" y="133"/>
                  </a:lnTo>
                  <a:lnTo>
                    <a:pt x="164" y="133"/>
                  </a:lnTo>
                  <a:lnTo>
                    <a:pt x="170" y="133"/>
                  </a:lnTo>
                  <a:lnTo>
                    <a:pt x="177" y="130"/>
                  </a:lnTo>
                  <a:lnTo>
                    <a:pt x="182" y="127"/>
                  </a:lnTo>
                  <a:lnTo>
                    <a:pt x="174" y="124"/>
                  </a:lnTo>
                  <a:lnTo>
                    <a:pt x="165" y="122"/>
                  </a:lnTo>
                  <a:lnTo>
                    <a:pt x="161" y="121"/>
                  </a:lnTo>
                  <a:lnTo>
                    <a:pt x="159" y="117"/>
                  </a:lnTo>
                  <a:lnTo>
                    <a:pt x="156" y="115"/>
                  </a:lnTo>
                  <a:lnTo>
                    <a:pt x="156" y="110"/>
                  </a:lnTo>
                  <a:lnTo>
                    <a:pt x="156" y="109"/>
                  </a:lnTo>
                  <a:lnTo>
                    <a:pt x="154" y="108"/>
                  </a:lnTo>
                  <a:lnTo>
                    <a:pt x="151" y="107"/>
                  </a:lnTo>
                  <a:lnTo>
                    <a:pt x="150" y="106"/>
                  </a:lnTo>
                  <a:lnTo>
                    <a:pt x="151" y="102"/>
                  </a:lnTo>
                  <a:lnTo>
                    <a:pt x="152" y="101"/>
                  </a:lnTo>
                  <a:lnTo>
                    <a:pt x="155" y="100"/>
                  </a:lnTo>
                  <a:lnTo>
                    <a:pt x="159" y="100"/>
                  </a:lnTo>
                  <a:lnTo>
                    <a:pt x="163" y="100"/>
                  </a:lnTo>
                  <a:lnTo>
                    <a:pt x="170" y="97"/>
                  </a:lnTo>
                  <a:lnTo>
                    <a:pt x="179" y="96"/>
                  </a:lnTo>
                  <a:lnTo>
                    <a:pt x="194" y="96"/>
                  </a:lnTo>
                  <a:lnTo>
                    <a:pt x="198" y="95"/>
                  </a:lnTo>
                  <a:lnTo>
                    <a:pt x="202" y="92"/>
                  </a:lnTo>
                  <a:lnTo>
                    <a:pt x="206" y="90"/>
                  </a:lnTo>
                  <a:lnTo>
                    <a:pt x="208" y="88"/>
                  </a:lnTo>
                  <a:lnTo>
                    <a:pt x="215" y="87"/>
                  </a:lnTo>
                  <a:lnTo>
                    <a:pt x="221" y="87"/>
                  </a:lnTo>
                  <a:lnTo>
                    <a:pt x="227" y="87"/>
                  </a:lnTo>
                  <a:lnTo>
                    <a:pt x="234" y="84"/>
                  </a:lnTo>
                  <a:lnTo>
                    <a:pt x="235" y="83"/>
                  </a:lnTo>
                  <a:lnTo>
                    <a:pt x="235" y="82"/>
                  </a:lnTo>
                  <a:lnTo>
                    <a:pt x="235" y="79"/>
                  </a:lnTo>
                  <a:lnTo>
                    <a:pt x="234" y="79"/>
                  </a:lnTo>
                  <a:lnTo>
                    <a:pt x="227" y="78"/>
                  </a:lnTo>
                  <a:lnTo>
                    <a:pt x="220" y="79"/>
                  </a:lnTo>
                  <a:lnTo>
                    <a:pt x="213" y="81"/>
                  </a:lnTo>
                  <a:lnTo>
                    <a:pt x="210" y="81"/>
                  </a:lnTo>
                  <a:lnTo>
                    <a:pt x="207" y="79"/>
                  </a:lnTo>
                  <a:lnTo>
                    <a:pt x="208" y="77"/>
                  </a:lnTo>
                  <a:lnTo>
                    <a:pt x="221" y="72"/>
                  </a:lnTo>
                  <a:lnTo>
                    <a:pt x="226" y="70"/>
                  </a:lnTo>
                  <a:lnTo>
                    <a:pt x="226" y="69"/>
                  </a:lnTo>
                  <a:lnTo>
                    <a:pt x="221" y="66"/>
                  </a:lnTo>
                  <a:lnTo>
                    <a:pt x="216" y="65"/>
                  </a:lnTo>
                  <a:lnTo>
                    <a:pt x="211" y="66"/>
                  </a:lnTo>
                  <a:lnTo>
                    <a:pt x="206" y="69"/>
                  </a:lnTo>
                  <a:lnTo>
                    <a:pt x="196" y="76"/>
                  </a:lnTo>
                  <a:lnTo>
                    <a:pt x="187" y="84"/>
                  </a:lnTo>
                  <a:lnTo>
                    <a:pt x="183" y="85"/>
                  </a:lnTo>
                  <a:lnTo>
                    <a:pt x="178" y="87"/>
                  </a:lnTo>
                  <a:lnTo>
                    <a:pt x="147" y="90"/>
                  </a:lnTo>
                  <a:lnTo>
                    <a:pt x="117" y="92"/>
                  </a:lnTo>
                  <a:lnTo>
                    <a:pt x="89" y="92"/>
                  </a:lnTo>
                  <a:lnTo>
                    <a:pt x="75" y="92"/>
                  </a:lnTo>
                  <a:lnTo>
                    <a:pt x="61" y="91"/>
                  </a:lnTo>
                  <a:lnTo>
                    <a:pt x="55" y="89"/>
                  </a:lnTo>
                  <a:lnTo>
                    <a:pt x="52" y="88"/>
                  </a:lnTo>
                  <a:lnTo>
                    <a:pt x="52" y="87"/>
                  </a:lnTo>
                  <a:lnTo>
                    <a:pt x="52" y="85"/>
                  </a:lnTo>
                  <a:lnTo>
                    <a:pt x="56" y="82"/>
                  </a:lnTo>
                  <a:lnTo>
                    <a:pt x="61" y="79"/>
                  </a:lnTo>
                  <a:lnTo>
                    <a:pt x="66" y="76"/>
                  </a:lnTo>
                  <a:lnTo>
                    <a:pt x="70" y="71"/>
                  </a:lnTo>
                  <a:lnTo>
                    <a:pt x="69" y="71"/>
                  </a:lnTo>
                  <a:lnTo>
                    <a:pt x="66" y="71"/>
                  </a:lnTo>
                  <a:lnTo>
                    <a:pt x="64" y="72"/>
                  </a:lnTo>
                  <a:lnTo>
                    <a:pt x="62" y="74"/>
                  </a:lnTo>
                  <a:lnTo>
                    <a:pt x="55" y="75"/>
                  </a:lnTo>
                  <a:lnTo>
                    <a:pt x="48" y="77"/>
                  </a:lnTo>
                  <a:lnTo>
                    <a:pt x="43" y="79"/>
                  </a:lnTo>
                  <a:lnTo>
                    <a:pt x="36" y="82"/>
                  </a:lnTo>
                  <a:lnTo>
                    <a:pt x="33" y="82"/>
                  </a:lnTo>
                  <a:lnTo>
                    <a:pt x="29" y="79"/>
                  </a:lnTo>
                  <a:lnTo>
                    <a:pt x="25" y="77"/>
                  </a:lnTo>
                  <a:lnTo>
                    <a:pt x="23" y="74"/>
                  </a:lnTo>
                  <a:lnTo>
                    <a:pt x="27" y="71"/>
                  </a:lnTo>
                  <a:lnTo>
                    <a:pt x="31" y="69"/>
                  </a:lnTo>
                  <a:lnTo>
                    <a:pt x="37" y="62"/>
                  </a:lnTo>
                  <a:lnTo>
                    <a:pt x="36" y="60"/>
                  </a:lnTo>
                  <a:lnTo>
                    <a:pt x="34" y="60"/>
                  </a:lnTo>
                  <a:lnTo>
                    <a:pt x="32" y="62"/>
                  </a:lnTo>
                  <a:lnTo>
                    <a:pt x="29" y="64"/>
                  </a:lnTo>
                  <a:lnTo>
                    <a:pt x="25" y="65"/>
                  </a:lnTo>
                  <a:lnTo>
                    <a:pt x="23" y="65"/>
                  </a:lnTo>
                  <a:lnTo>
                    <a:pt x="18" y="63"/>
                  </a:lnTo>
                  <a:lnTo>
                    <a:pt x="15" y="63"/>
                  </a:lnTo>
                  <a:lnTo>
                    <a:pt x="13" y="64"/>
                  </a:lnTo>
                  <a:lnTo>
                    <a:pt x="9" y="64"/>
                  </a:lnTo>
                  <a:lnTo>
                    <a:pt x="5" y="64"/>
                  </a:lnTo>
                  <a:lnTo>
                    <a:pt x="4" y="64"/>
                  </a:lnTo>
                  <a:lnTo>
                    <a:pt x="3" y="64"/>
                  </a:lnTo>
                  <a:lnTo>
                    <a:pt x="1" y="60"/>
                  </a:lnTo>
                  <a:lnTo>
                    <a:pt x="0" y="53"/>
                  </a:lnTo>
                  <a:lnTo>
                    <a:pt x="1" y="50"/>
                  </a:lnTo>
                  <a:lnTo>
                    <a:pt x="4" y="47"/>
                  </a:lnTo>
                  <a:lnTo>
                    <a:pt x="8" y="46"/>
                  </a:lnTo>
                  <a:lnTo>
                    <a:pt x="12" y="45"/>
                  </a:lnTo>
                  <a:lnTo>
                    <a:pt x="15" y="46"/>
                  </a:lnTo>
                  <a:lnTo>
                    <a:pt x="18" y="45"/>
                  </a:lnTo>
                  <a:lnTo>
                    <a:pt x="33" y="43"/>
                  </a:lnTo>
                  <a:lnTo>
                    <a:pt x="47" y="43"/>
                  </a:lnTo>
                  <a:lnTo>
                    <a:pt x="52" y="43"/>
                  </a:lnTo>
                  <a:lnTo>
                    <a:pt x="56" y="42"/>
                  </a:lnTo>
                  <a:lnTo>
                    <a:pt x="65" y="40"/>
                  </a:lnTo>
                  <a:lnTo>
                    <a:pt x="72" y="39"/>
                  </a:lnTo>
                  <a:lnTo>
                    <a:pt x="81" y="37"/>
                  </a:lnTo>
                  <a:lnTo>
                    <a:pt x="89" y="37"/>
                  </a:lnTo>
                  <a:lnTo>
                    <a:pt x="100" y="38"/>
                  </a:lnTo>
                  <a:lnTo>
                    <a:pt x="111" y="38"/>
                  </a:lnTo>
                  <a:lnTo>
                    <a:pt x="122" y="37"/>
                  </a:lnTo>
                  <a:lnTo>
                    <a:pt x="131" y="34"/>
                  </a:lnTo>
                  <a:lnTo>
                    <a:pt x="136" y="31"/>
                  </a:lnTo>
                  <a:lnTo>
                    <a:pt x="141" y="26"/>
                  </a:lnTo>
                  <a:lnTo>
                    <a:pt x="146" y="25"/>
                  </a:lnTo>
                  <a:lnTo>
                    <a:pt x="151" y="24"/>
                  </a:lnTo>
                  <a:lnTo>
                    <a:pt x="161" y="21"/>
                  </a:lnTo>
                  <a:lnTo>
                    <a:pt x="168" y="20"/>
                  </a:lnTo>
                  <a:lnTo>
                    <a:pt x="173" y="20"/>
                  </a:lnTo>
                  <a:lnTo>
                    <a:pt x="179" y="19"/>
                  </a:lnTo>
                  <a:lnTo>
                    <a:pt x="185" y="18"/>
                  </a:lnTo>
                  <a:lnTo>
                    <a:pt x="194" y="17"/>
                  </a:lnTo>
                  <a:lnTo>
                    <a:pt x="205" y="17"/>
                  </a:lnTo>
                  <a:lnTo>
                    <a:pt x="213" y="17"/>
                  </a:lnTo>
                  <a:lnTo>
                    <a:pt x="224" y="17"/>
                  </a:lnTo>
                  <a:lnTo>
                    <a:pt x="238" y="15"/>
                  </a:lnTo>
                  <a:lnTo>
                    <a:pt x="252" y="13"/>
                  </a:lnTo>
                  <a:lnTo>
                    <a:pt x="265" y="12"/>
                  </a:lnTo>
                  <a:lnTo>
                    <a:pt x="279" y="12"/>
                  </a:lnTo>
                  <a:lnTo>
                    <a:pt x="290" y="12"/>
                  </a:lnTo>
                  <a:lnTo>
                    <a:pt x="295" y="12"/>
                  </a:lnTo>
                  <a:lnTo>
                    <a:pt x="300" y="11"/>
                  </a:lnTo>
                  <a:lnTo>
                    <a:pt x="306" y="8"/>
                  </a:lnTo>
                  <a:lnTo>
                    <a:pt x="312" y="7"/>
                  </a:lnTo>
                  <a:lnTo>
                    <a:pt x="326" y="4"/>
                  </a:lnTo>
                  <a:lnTo>
                    <a:pt x="328" y="4"/>
                  </a:lnTo>
                  <a:lnTo>
                    <a:pt x="329" y="4"/>
                  </a:lnTo>
                  <a:lnTo>
                    <a:pt x="334" y="9"/>
                  </a:lnTo>
                  <a:lnTo>
                    <a:pt x="337" y="11"/>
                  </a:lnTo>
                  <a:lnTo>
                    <a:pt x="338" y="11"/>
                  </a:lnTo>
                  <a:lnTo>
                    <a:pt x="339" y="9"/>
                  </a:lnTo>
                  <a:lnTo>
                    <a:pt x="348" y="4"/>
                  </a:lnTo>
                  <a:lnTo>
                    <a:pt x="352" y="1"/>
                  </a:lnTo>
                  <a:lnTo>
                    <a:pt x="354" y="0"/>
                  </a:lnTo>
                  <a:lnTo>
                    <a:pt x="372" y="4"/>
                  </a:lnTo>
                  <a:lnTo>
                    <a:pt x="387" y="7"/>
                  </a:lnTo>
                  <a:lnTo>
                    <a:pt x="404" y="8"/>
                  </a:lnTo>
                  <a:lnTo>
                    <a:pt x="423" y="8"/>
                  </a:lnTo>
                  <a:lnTo>
                    <a:pt x="423" y="11"/>
                  </a:lnTo>
                  <a:lnTo>
                    <a:pt x="422" y="11"/>
                  </a:lnTo>
                  <a:lnTo>
                    <a:pt x="418" y="12"/>
                  </a:lnTo>
                  <a:lnTo>
                    <a:pt x="413" y="13"/>
                  </a:lnTo>
                  <a:lnTo>
                    <a:pt x="412" y="14"/>
                  </a:lnTo>
                  <a:lnTo>
                    <a:pt x="410" y="15"/>
                  </a:lnTo>
                  <a:lnTo>
                    <a:pt x="418" y="17"/>
                  </a:lnTo>
                  <a:lnTo>
                    <a:pt x="424" y="15"/>
                  </a:lnTo>
                  <a:lnTo>
                    <a:pt x="439" y="13"/>
                  </a:lnTo>
                  <a:lnTo>
                    <a:pt x="446" y="11"/>
                  </a:lnTo>
                  <a:lnTo>
                    <a:pt x="450" y="11"/>
                  </a:lnTo>
                  <a:lnTo>
                    <a:pt x="452" y="12"/>
                  </a:lnTo>
                  <a:lnTo>
                    <a:pt x="455" y="14"/>
                  </a:lnTo>
                  <a:lnTo>
                    <a:pt x="459" y="17"/>
                  </a:lnTo>
                  <a:lnTo>
                    <a:pt x="462" y="17"/>
                  </a:lnTo>
                  <a:lnTo>
                    <a:pt x="465" y="15"/>
                  </a:lnTo>
                  <a:lnTo>
                    <a:pt x="474" y="14"/>
                  </a:lnTo>
                  <a:lnTo>
                    <a:pt x="478" y="15"/>
                  </a:lnTo>
                  <a:lnTo>
                    <a:pt x="483" y="19"/>
                  </a:lnTo>
                  <a:lnTo>
                    <a:pt x="484" y="19"/>
                  </a:lnTo>
                  <a:lnTo>
                    <a:pt x="485" y="19"/>
                  </a:lnTo>
                  <a:lnTo>
                    <a:pt x="486" y="23"/>
                  </a:lnTo>
                  <a:lnTo>
                    <a:pt x="489" y="25"/>
                  </a:lnTo>
                  <a:lnTo>
                    <a:pt x="493" y="28"/>
                  </a:lnTo>
                  <a:lnTo>
                    <a:pt x="499" y="30"/>
                  </a:lnTo>
                  <a:lnTo>
                    <a:pt x="505" y="31"/>
                  </a:lnTo>
                  <a:lnTo>
                    <a:pt x="505" y="32"/>
                  </a:lnTo>
                  <a:lnTo>
                    <a:pt x="505" y="33"/>
                  </a:lnTo>
                  <a:lnTo>
                    <a:pt x="500" y="36"/>
                  </a:lnTo>
                  <a:lnTo>
                    <a:pt x="497" y="38"/>
                  </a:lnTo>
                  <a:lnTo>
                    <a:pt x="489" y="44"/>
                  </a:lnTo>
                  <a:lnTo>
                    <a:pt x="483" y="46"/>
                  </a:lnTo>
                  <a:lnTo>
                    <a:pt x="476" y="47"/>
                  </a:lnTo>
                  <a:lnTo>
                    <a:pt x="470" y="50"/>
                  </a:lnTo>
                  <a:lnTo>
                    <a:pt x="465" y="52"/>
                  </a:lnTo>
                  <a:lnTo>
                    <a:pt x="461" y="52"/>
                  </a:lnTo>
                  <a:lnTo>
                    <a:pt x="457" y="51"/>
                  </a:lnTo>
                  <a:lnTo>
                    <a:pt x="451" y="49"/>
                  </a:lnTo>
                  <a:lnTo>
                    <a:pt x="446" y="47"/>
                  </a:lnTo>
                  <a:lnTo>
                    <a:pt x="442" y="49"/>
                  </a:lnTo>
                  <a:lnTo>
                    <a:pt x="437" y="50"/>
                  </a:lnTo>
                  <a:lnTo>
                    <a:pt x="432" y="52"/>
                  </a:lnTo>
                  <a:lnTo>
                    <a:pt x="427" y="53"/>
                  </a:lnTo>
                  <a:lnTo>
                    <a:pt x="422" y="55"/>
                  </a:lnTo>
                  <a:lnTo>
                    <a:pt x="410" y="53"/>
                  </a:lnTo>
                  <a:lnTo>
                    <a:pt x="399" y="53"/>
                  </a:lnTo>
                  <a:lnTo>
                    <a:pt x="394" y="55"/>
                  </a:lnTo>
                  <a:lnTo>
                    <a:pt x="389" y="57"/>
                  </a:lnTo>
                  <a:lnTo>
                    <a:pt x="392" y="58"/>
                  </a:lnTo>
                  <a:lnTo>
                    <a:pt x="396" y="59"/>
                  </a:lnTo>
                  <a:lnTo>
                    <a:pt x="404" y="60"/>
                  </a:lnTo>
                  <a:lnTo>
                    <a:pt x="413" y="60"/>
                  </a:lnTo>
                  <a:lnTo>
                    <a:pt x="420" y="62"/>
                  </a:lnTo>
                  <a:lnTo>
                    <a:pt x="419" y="63"/>
                  </a:lnTo>
                  <a:lnTo>
                    <a:pt x="396" y="63"/>
                  </a:lnTo>
                  <a:lnTo>
                    <a:pt x="385" y="65"/>
                  </a:lnTo>
                  <a:lnTo>
                    <a:pt x="380" y="66"/>
                  </a:lnTo>
                  <a:lnTo>
                    <a:pt x="375" y="70"/>
                  </a:lnTo>
                  <a:lnTo>
                    <a:pt x="376" y="72"/>
                  </a:lnTo>
                  <a:lnTo>
                    <a:pt x="377" y="74"/>
                  </a:lnTo>
                  <a:lnTo>
                    <a:pt x="380" y="74"/>
                  </a:lnTo>
                  <a:lnTo>
                    <a:pt x="391" y="75"/>
                  </a:lnTo>
                  <a:lnTo>
                    <a:pt x="410" y="74"/>
                  </a:lnTo>
                  <a:lnTo>
                    <a:pt x="428" y="70"/>
                  </a:lnTo>
                  <a:lnTo>
                    <a:pt x="438" y="68"/>
                  </a:lnTo>
                  <a:lnTo>
                    <a:pt x="448" y="64"/>
                  </a:lnTo>
                  <a:lnTo>
                    <a:pt x="455" y="63"/>
                  </a:lnTo>
                  <a:lnTo>
                    <a:pt x="461" y="63"/>
                  </a:lnTo>
                  <a:lnTo>
                    <a:pt x="462" y="62"/>
                  </a:lnTo>
                  <a:lnTo>
                    <a:pt x="465" y="62"/>
                  </a:lnTo>
                  <a:lnTo>
                    <a:pt x="466" y="60"/>
                  </a:lnTo>
                  <a:lnTo>
                    <a:pt x="469" y="62"/>
                  </a:lnTo>
                  <a:lnTo>
                    <a:pt x="470" y="64"/>
                  </a:lnTo>
                  <a:lnTo>
                    <a:pt x="470" y="66"/>
                  </a:lnTo>
                  <a:lnTo>
                    <a:pt x="469" y="68"/>
                  </a:lnTo>
                  <a:lnTo>
                    <a:pt x="465" y="6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2" name="Freeform 911"/>
            <p:cNvSpPr>
              <a:spLocks/>
            </p:cNvSpPr>
            <p:nvPr/>
          </p:nvSpPr>
          <p:spPr bwMode="auto">
            <a:xfrm>
              <a:off x="2849566" y="2697164"/>
              <a:ext cx="173037" cy="200025"/>
            </a:xfrm>
            <a:custGeom>
              <a:avLst/>
              <a:gdLst>
                <a:gd name="T0" fmla="*/ 2147483647 w 118"/>
                <a:gd name="T1" fmla="*/ 2147483647 h 126"/>
                <a:gd name="T2" fmla="*/ 2147483647 w 118"/>
                <a:gd name="T3" fmla="*/ 2147483647 h 126"/>
                <a:gd name="T4" fmla="*/ 2147483647 w 118"/>
                <a:gd name="T5" fmla="*/ 2147483647 h 126"/>
                <a:gd name="T6" fmla="*/ 2147483647 w 118"/>
                <a:gd name="T7" fmla="*/ 2147483647 h 126"/>
                <a:gd name="T8" fmla="*/ 2147483647 w 118"/>
                <a:gd name="T9" fmla="*/ 2147483647 h 126"/>
                <a:gd name="T10" fmla="*/ 2147483647 w 118"/>
                <a:gd name="T11" fmla="*/ 2147483647 h 126"/>
                <a:gd name="T12" fmla="*/ 2147483647 w 118"/>
                <a:gd name="T13" fmla="*/ 2147483647 h 126"/>
                <a:gd name="T14" fmla="*/ 2147483647 w 118"/>
                <a:gd name="T15" fmla="*/ 2147483647 h 126"/>
                <a:gd name="T16" fmla="*/ 2147483647 w 118"/>
                <a:gd name="T17" fmla="*/ 2147483647 h 126"/>
                <a:gd name="T18" fmla="*/ 2147483647 w 118"/>
                <a:gd name="T19" fmla="*/ 2147483647 h 126"/>
                <a:gd name="T20" fmla="*/ 2147483647 w 118"/>
                <a:gd name="T21" fmla="*/ 2147483647 h 126"/>
                <a:gd name="T22" fmla="*/ 2147483647 w 118"/>
                <a:gd name="T23" fmla="*/ 2147483647 h 126"/>
                <a:gd name="T24" fmla="*/ 2147483647 w 118"/>
                <a:gd name="T25" fmla="*/ 2147483647 h 126"/>
                <a:gd name="T26" fmla="*/ 2147483647 w 118"/>
                <a:gd name="T27" fmla="*/ 2147483647 h 126"/>
                <a:gd name="T28" fmla="*/ 2147483647 w 118"/>
                <a:gd name="T29" fmla="*/ 2147483647 h 126"/>
                <a:gd name="T30" fmla="*/ 2147483647 w 118"/>
                <a:gd name="T31" fmla="*/ 2147483647 h 126"/>
                <a:gd name="T32" fmla="*/ 2147483647 w 118"/>
                <a:gd name="T33" fmla="*/ 2147483647 h 126"/>
                <a:gd name="T34" fmla="*/ 2147483647 w 118"/>
                <a:gd name="T35" fmla="*/ 2147483647 h 126"/>
                <a:gd name="T36" fmla="*/ 2147483647 w 118"/>
                <a:gd name="T37" fmla="*/ 2147483647 h 126"/>
                <a:gd name="T38" fmla="*/ 2147483647 w 118"/>
                <a:gd name="T39" fmla="*/ 2147483647 h 126"/>
                <a:gd name="T40" fmla="*/ 2147483647 w 118"/>
                <a:gd name="T41" fmla="*/ 2147483647 h 126"/>
                <a:gd name="T42" fmla="*/ 2147483647 w 118"/>
                <a:gd name="T43" fmla="*/ 2147483647 h 126"/>
                <a:gd name="T44" fmla="*/ 2147483647 w 118"/>
                <a:gd name="T45" fmla="*/ 2147483647 h 126"/>
                <a:gd name="T46" fmla="*/ 2147483647 w 118"/>
                <a:gd name="T47" fmla="*/ 2147483647 h 126"/>
                <a:gd name="T48" fmla="*/ 2147483647 w 118"/>
                <a:gd name="T49" fmla="*/ 2147483647 h 126"/>
                <a:gd name="T50" fmla="*/ 2147483647 w 118"/>
                <a:gd name="T51" fmla="*/ 2147483647 h 126"/>
                <a:gd name="T52" fmla="*/ 2147483647 w 118"/>
                <a:gd name="T53" fmla="*/ 2147483647 h 126"/>
                <a:gd name="T54" fmla="*/ 2147483647 w 118"/>
                <a:gd name="T55" fmla="*/ 2147483647 h 126"/>
                <a:gd name="T56" fmla="*/ 2147483647 w 118"/>
                <a:gd name="T57" fmla="*/ 2147483647 h 126"/>
                <a:gd name="T58" fmla="*/ 2147483647 w 118"/>
                <a:gd name="T59" fmla="*/ 2147483647 h 126"/>
                <a:gd name="T60" fmla="*/ 2147483647 w 118"/>
                <a:gd name="T61" fmla="*/ 2147483647 h 126"/>
                <a:gd name="T62" fmla="*/ 2147483647 w 118"/>
                <a:gd name="T63" fmla="*/ 2147483647 h 126"/>
                <a:gd name="T64" fmla="*/ 2147483647 w 118"/>
                <a:gd name="T65" fmla="*/ 2147483647 h 126"/>
                <a:gd name="T66" fmla="*/ 2147483647 w 118"/>
                <a:gd name="T67" fmla="*/ 2147483647 h 126"/>
                <a:gd name="T68" fmla="*/ 2147483647 w 118"/>
                <a:gd name="T69" fmla="*/ 2147483647 h 126"/>
                <a:gd name="T70" fmla="*/ 2147483647 w 118"/>
                <a:gd name="T71" fmla="*/ 2147483647 h 126"/>
                <a:gd name="T72" fmla="*/ 2147483647 w 118"/>
                <a:gd name="T73" fmla="*/ 2147483647 h 126"/>
                <a:gd name="T74" fmla="*/ 0 w 118"/>
                <a:gd name="T75" fmla="*/ 2147483647 h 126"/>
                <a:gd name="T76" fmla="*/ 2147483647 w 118"/>
                <a:gd name="T77" fmla="*/ 2147483647 h 126"/>
                <a:gd name="T78" fmla="*/ 2147483647 w 118"/>
                <a:gd name="T79" fmla="*/ 2147483647 h 126"/>
                <a:gd name="T80" fmla="*/ 2147483647 w 118"/>
                <a:gd name="T81" fmla="*/ 2147483647 h 126"/>
                <a:gd name="T82" fmla="*/ 2147483647 w 118"/>
                <a:gd name="T83" fmla="*/ 2147483647 h 126"/>
                <a:gd name="T84" fmla="*/ 2147483647 w 118"/>
                <a:gd name="T85" fmla="*/ 2147483647 h 126"/>
                <a:gd name="T86" fmla="*/ 2147483647 w 118"/>
                <a:gd name="T87" fmla="*/ 2147483647 h 126"/>
                <a:gd name="T88" fmla="*/ 2147483647 w 118"/>
                <a:gd name="T89" fmla="*/ 2147483647 h 126"/>
                <a:gd name="T90" fmla="*/ 2147483647 w 118"/>
                <a:gd name="T91" fmla="*/ 2147483647 h 126"/>
                <a:gd name="T92" fmla="*/ 2147483647 w 118"/>
                <a:gd name="T93" fmla="*/ 2147483647 h 126"/>
                <a:gd name="T94" fmla="*/ 2147483647 w 118"/>
                <a:gd name="T95" fmla="*/ 2147483647 h 126"/>
                <a:gd name="T96" fmla="*/ 2147483647 w 118"/>
                <a:gd name="T97" fmla="*/ 2147483647 h 126"/>
                <a:gd name="T98" fmla="*/ 2147483647 w 118"/>
                <a:gd name="T99" fmla="*/ 2147483647 h 126"/>
                <a:gd name="T100" fmla="*/ 2147483647 w 118"/>
                <a:gd name="T101" fmla="*/ 2147483647 h 126"/>
                <a:gd name="T102" fmla="*/ 2147483647 w 118"/>
                <a:gd name="T103" fmla="*/ 2147483647 h 126"/>
                <a:gd name="T104" fmla="*/ 2147483647 w 118"/>
                <a:gd name="T105" fmla="*/ 2147483647 h 126"/>
                <a:gd name="T106" fmla="*/ 2147483647 w 118"/>
                <a:gd name="T107" fmla="*/ 2147483647 h 126"/>
                <a:gd name="T108" fmla="*/ 2147483647 w 118"/>
                <a:gd name="T109" fmla="*/ 2147483647 h 126"/>
                <a:gd name="T110" fmla="*/ 2147483647 w 118"/>
                <a:gd name="T111" fmla="*/ 2147483647 h 126"/>
                <a:gd name="T112" fmla="*/ 2147483647 w 118"/>
                <a:gd name="T113" fmla="*/ 2147483647 h 126"/>
                <a:gd name="T114" fmla="*/ 2147483647 w 118"/>
                <a:gd name="T115" fmla="*/ 2147483647 h 1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
                <a:gd name="T175" fmla="*/ 0 h 126"/>
                <a:gd name="T176" fmla="*/ 118 w 118"/>
                <a:gd name="T177" fmla="*/ 126 h 1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 h="126">
                  <a:moveTo>
                    <a:pt x="97" y="121"/>
                  </a:moveTo>
                  <a:lnTo>
                    <a:pt x="97" y="121"/>
                  </a:lnTo>
                  <a:lnTo>
                    <a:pt x="98" y="124"/>
                  </a:lnTo>
                  <a:lnTo>
                    <a:pt x="99" y="126"/>
                  </a:lnTo>
                  <a:lnTo>
                    <a:pt x="101" y="126"/>
                  </a:lnTo>
                  <a:lnTo>
                    <a:pt x="103" y="124"/>
                  </a:lnTo>
                  <a:lnTo>
                    <a:pt x="105" y="121"/>
                  </a:lnTo>
                  <a:lnTo>
                    <a:pt x="106" y="115"/>
                  </a:lnTo>
                  <a:lnTo>
                    <a:pt x="110" y="109"/>
                  </a:lnTo>
                  <a:lnTo>
                    <a:pt x="113" y="103"/>
                  </a:lnTo>
                  <a:lnTo>
                    <a:pt x="118" y="98"/>
                  </a:lnTo>
                  <a:lnTo>
                    <a:pt x="113" y="95"/>
                  </a:lnTo>
                  <a:lnTo>
                    <a:pt x="112" y="94"/>
                  </a:lnTo>
                  <a:lnTo>
                    <a:pt x="113" y="90"/>
                  </a:lnTo>
                  <a:lnTo>
                    <a:pt x="117" y="84"/>
                  </a:lnTo>
                  <a:lnTo>
                    <a:pt x="117" y="81"/>
                  </a:lnTo>
                  <a:lnTo>
                    <a:pt x="117" y="79"/>
                  </a:lnTo>
                  <a:lnTo>
                    <a:pt x="116" y="78"/>
                  </a:lnTo>
                  <a:lnTo>
                    <a:pt x="113" y="77"/>
                  </a:lnTo>
                  <a:lnTo>
                    <a:pt x="110" y="78"/>
                  </a:lnTo>
                  <a:lnTo>
                    <a:pt x="105" y="83"/>
                  </a:lnTo>
                  <a:lnTo>
                    <a:pt x="103" y="83"/>
                  </a:lnTo>
                  <a:lnTo>
                    <a:pt x="102" y="82"/>
                  </a:lnTo>
                  <a:lnTo>
                    <a:pt x="103" y="78"/>
                  </a:lnTo>
                  <a:lnTo>
                    <a:pt x="105" y="76"/>
                  </a:lnTo>
                  <a:lnTo>
                    <a:pt x="102" y="75"/>
                  </a:lnTo>
                  <a:lnTo>
                    <a:pt x="101" y="75"/>
                  </a:lnTo>
                  <a:lnTo>
                    <a:pt x="99" y="75"/>
                  </a:lnTo>
                  <a:lnTo>
                    <a:pt x="98" y="76"/>
                  </a:lnTo>
                  <a:lnTo>
                    <a:pt x="96" y="76"/>
                  </a:lnTo>
                  <a:lnTo>
                    <a:pt x="94" y="75"/>
                  </a:lnTo>
                  <a:lnTo>
                    <a:pt x="93" y="72"/>
                  </a:lnTo>
                  <a:lnTo>
                    <a:pt x="93" y="69"/>
                  </a:lnTo>
                  <a:lnTo>
                    <a:pt x="93" y="65"/>
                  </a:lnTo>
                  <a:lnTo>
                    <a:pt x="93" y="62"/>
                  </a:lnTo>
                  <a:lnTo>
                    <a:pt x="91" y="59"/>
                  </a:lnTo>
                  <a:lnTo>
                    <a:pt x="89" y="59"/>
                  </a:lnTo>
                  <a:lnTo>
                    <a:pt x="89" y="58"/>
                  </a:lnTo>
                  <a:lnTo>
                    <a:pt x="89" y="56"/>
                  </a:lnTo>
                  <a:lnTo>
                    <a:pt x="91" y="53"/>
                  </a:lnTo>
                  <a:lnTo>
                    <a:pt x="92" y="51"/>
                  </a:lnTo>
                  <a:lnTo>
                    <a:pt x="91" y="50"/>
                  </a:lnTo>
                  <a:lnTo>
                    <a:pt x="88" y="50"/>
                  </a:lnTo>
                  <a:lnTo>
                    <a:pt x="85" y="51"/>
                  </a:lnTo>
                  <a:lnTo>
                    <a:pt x="84" y="52"/>
                  </a:lnTo>
                  <a:lnTo>
                    <a:pt x="82" y="52"/>
                  </a:lnTo>
                  <a:lnTo>
                    <a:pt x="80" y="51"/>
                  </a:lnTo>
                  <a:lnTo>
                    <a:pt x="79" y="50"/>
                  </a:lnTo>
                  <a:lnTo>
                    <a:pt x="75" y="54"/>
                  </a:lnTo>
                  <a:lnTo>
                    <a:pt x="74" y="57"/>
                  </a:lnTo>
                  <a:lnTo>
                    <a:pt x="73" y="58"/>
                  </a:lnTo>
                  <a:lnTo>
                    <a:pt x="70" y="58"/>
                  </a:lnTo>
                  <a:lnTo>
                    <a:pt x="69" y="58"/>
                  </a:lnTo>
                  <a:lnTo>
                    <a:pt x="65" y="56"/>
                  </a:lnTo>
                  <a:lnTo>
                    <a:pt x="64" y="56"/>
                  </a:lnTo>
                  <a:lnTo>
                    <a:pt x="61" y="57"/>
                  </a:lnTo>
                  <a:lnTo>
                    <a:pt x="59" y="57"/>
                  </a:lnTo>
                  <a:lnTo>
                    <a:pt x="58" y="56"/>
                  </a:lnTo>
                  <a:lnTo>
                    <a:pt x="56" y="54"/>
                  </a:lnTo>
                  <a:lnTo>
                    <a:pt x="58" y="52"/>
                  </a:lnTo>
                  <a:lnTo>
                    <a:pt x="60" y="50"/>
                  </a:lnTo>
                  <a:lnTo>
                    <a:pt x="61" y="46"/>
                  </a:lnTo>
                  <a:lnTo>
                    <a:pt x="61" y="44"/>
                  </a:lnTo>
                  <a:lnTo>
                    <a:pt x="60" y="41"/>
                  </a:lnTo>
                  <a:lnTo>
                    <a:pt x="56" y="39"/>
                  </a:lnTo>
                  <a:lnTo>
                    <a:pt x="55" y="40"/>
                  </a:lnTo>
                  <a:lnTo>
                    <a:pt x="52" y="40"/>
                  </a:lnTo>
                  <a:lnTo>
                    <a:pt x="49" y="44"/>
                  </a:lnTo>
                  <a:lnTo>
                    <a:pt x="45" y="47"/>
                  </a:lnTo>
                  <a:lnTo>
                    <a:pt x="44" y="47"/>
                  </a:lnTo>
                  <a:lnTo>
                    <a:pt x="42" y="46"/>
                  </a:lnTo>
                  <a:lnTo>
                    <a:pt x="41" y="41"/>
                  </a:lnTo>
                  <a:lnTo>
                    <a:pt x="40" y="37"/>
                  </a:lnTo>
                  <a:lnTo>
                    <a:pt x="41" y="32"/>
                  </a:lnTo>
                  <a:lnTo>
                    <a:pt x="44" y="31"/>
                  </a:lnTo>
                  <a:lnTo>
                    <a:pt x="45" y="30"/>
                  </a:lnTo>
                  <a:lnTo>
                    <a:pt x="50" y="27"/>
                  </a:lnTo>
                  <a:lnTo>
                    <a:pt x="54" y="24"/>
                  </a:lnTo>
                  <a:lnTo>
                    <a:pt x="56" y="19"/>
                  </a:lnTo>
                  <a:lnTo>
                    <a:pt x="56" y="14"/>
                  </a:lnTo>
                  <a:lnTo>
                    <a:pt x="58" y="13"/>
                  </a:lnTo>
                  <a:lnTo>
                    <a:pt x="59" y="12"/>
                  </a:lnTo>
                  <a:lnTo>
                    <a:pt x="61" y="11"/>
                  </a:lnTo>
                  <a:lnTo>
                    <a:pt x="64" y="9"/>
                  </a:lnTo>
                  <a:lnTo>
                    <a:pt x="66" y="8"/>
                  </a:lnTo>
                  <a:lnTo>
                    <a:pt x="68" y="6"/>
                  </a:lnTo>
                  <a:lnTo>
                    <a:pt x="69" y="3"/>
                  </a:lnTo>
                  <a:lnTo>
                    <a:pt x="70" y="2"/>
                  </a:lnTo>
                  <a:lnTo>
                    <a:pt x="69" y="0"/>
                  </a:lnTo>
                  <a:lnTo>
                    <a:pt x="66" y="1"/>
                  </a:lnTo>
                  <a:lnTo>
                    <a:pt x="61" y="2"/>
                  </a:lnTo>
                  <a:lnTo>
                    <a:pt x="58" y="1"/>
                  </a:lnTo>
                  <a:lnTo>
                    <a:pt x="54" y="1"/>
                  </a:lnTo>
                  <a:lnTo>
                    <a:pt x="50" y="5"/>
                  </a:lnTo>
                  <a:lnTo>
                    <a:pt x="46" y="7"/>
                  </a:lnTo>
                  <a:lnTo>
                    <a:pt x="41" y="8"/>
                  </a:lnTo>
                  <a:lnTo>
                    <a:pt x="37" y="9"/>
                  </a:lnTo>
                  <a:lnTo>
                    <a:pt x="32" y="15"/>
                  </a:lnTo>
                  <a:lnTo>
                    <a:pt x="28" y="24"/>
                  </a:lnTo>
                  <a:lnTo>
                    <a:pt x="26" y="34"/>
                  </a:lnTo>
                  <a:lnTo>
                    <a:pt x="25" y="44"/>
                  </a:lnTo>
                  <a:lnTo>
                    <a:pt x="23" y="46"/>
                  </a:lnTo>
                  <a:lnTo>
                    <a:pt x="22" y="47"/>
                  </a:lnTo>
                  <a:lnTo>
                    <a:pt x="19" y="49"/>
                  </a:lnTo>
                  <a:lnTo>
                    <a:pt x="18" y="50"/>
                  </a:lnTo>
                  <a:lnTo>
                    <a:pt x="18" y="53"/>
                  </a:lnTo>
                  <a:lnTo>
                    <a:pt x="17" y="57"/>
                  </a:lnTo>
                  <a:lnTo>
                    <a:pt x="13" y="63"/>
                  </a:lnTo>
                  <a:lnTo>
                    <a:pt x="8" y="67"/>
                  </a:lnTo>
                  <a:lnTo>
                    <a:pt x="2" y="71"/>
                  </a:lnTo>
                  <a:lnTo>
                    <a:pt x="2" y="72"/>
                  </a:lnTo>
                  <a:lnTo>
                    <a:pt x="3" y="73"/>
                  </a:lnTo>
                  <a:lnTo>
                    <a:pt x="7" y="76"/>
                  </a:lnTo>
                  <a:lnTo>
                    <a:pt x="8" y="77"/>
                  </a:lnTo>
                  <a:lnTo>
                    <a:pt x="7" y="79"/>
                  </a:lnTo>
                  <a:lnTo>
                    <a:pt x="4" y="83"/>
                  </a:lnTo>
                  <a:lnTo>
                    <a:pt x="0" y="88"/>
                  </a:lnTo>
                  <a:lnTo>
                    <a:pt x="0" y="92"/>
                  </a:lnTo>
                  <a:lnTo>
                    <a:pt x="0" y="97"/>
                  </a:lnTo>
                  <a:lnTo>
                    <a:pt x="3" y="98"/>
                  </a:lnTo>
                  <a:lnTo>
                    <a:pt x="4" y="98"/>
                  </a:lnTo>
                  <a:lnTo>
                    <a:pt x="11" y="95"/>
                  </a:lnTo>
                  <a:lnTo>
                    <a:pt x="14" y="92"/>
                  </a:lnTo>
                  <a:lnTo>
                    <a:pt x="18" y="92"/>
                  </a:lnTo>
                  <a:lnTo>
                    <a:pt x="25" y="92"/>
                  </a:lnTo>
                  <a:lnTo>
                    <a:pt x="31" y="94"/>
                  </a:lnTo>
                  <a:lnTo>
                    <a:pt x="38" y="95"/>
                  </a:lnTo>
                  <a:lnTo>
                    <a:pt x="45" y="95"/>
                  </a:lnTo>
                  <a:lnTo>
                    <a:pt x="47" y="94"/>
                  </a:lnTo>
                  <a:lnTo>
                    <a:pt x="50" y="92"/>
                  </a:lnTo>
                  <a:lnTo>
                    <a:pt x="55" y="90"/>
                  </a:lnTo>
                  <a:lnTo>
                    <a:pt x="56" y="90"/>
                  </a:lnTo>
                  <a:lnTo>
                    <a:pt x="56" y="91"/>
                  </a:lnTo>
                  <a:lnTo>
                    <a:pt x="58" y="94"/>
                  </a:lnTo>
                  <a:lnTo>
                    <a:pt x="59" y="96"/>
                  </a:lnTo>
                  <a:lnTo>
                    <a:pt x="60" y="98"/>
                  </a:lnTo>
                  <a:lnTo>
                    <a:pt x="63" y="98"/>
                  </a:lnTo>
                  <a:lnTo>
                    <a:pt x="65" y="97"/>
                  </a:lnTo>
                  <a:lnTo>
                    <a:pt x="70" y="94"/>
                  </a:lnTo>
                  <a:lnTo>
                    <a:pt x="73" y="92"/>
                  </a:lnTo>
                  <a:lnTo>
                    <a:pt x="75" y="94"/>
                  </a:lnTo>
                  <a:lnTo>
                    <a:pt x="77" y="95"/>
                  </a:lnTo>
                  <a:lnTo>
                    <a:pt x="77" y="96"/>
                  </a:lnTo>
                  <a:lnTo>
                    <a:pt x="74" y="97"/>
                  </a:lnTo>
                  <a:lnTo>
                    <a:pt x="70" y="101"/>
                  </a:lnTo>
                  <a:lnTo>
                    <a:pt x="68" y="104"/>
                  </a:lnTo>
                  <a:lnTo>
                    <a:pt x="64" y="108"/>
                  </a:lnTo>
                  <a:lnTo>
                    <a:pt x="61" y="111"/>
                  </a:lnTo>
                  <a:lnTo>
                    <a:pt x="58" y="111"/>
                  </a:lnTo>
                  <a:lnTo>
                    <a:pt x="54" y="113"/>
                  </a:lnTo>
                  <a:lnTo>
                    <a:pt x="51" y="114"/>
                  </a:lnTo>
                  <a:lnTo>
                    <a:pt x="51" y="115"/>
                  </a:lnTo>
                  <a:lnTo>
                    <a:pt x="51" y="116"/>
                  </a:lnTo>
                  <a:lnTo>
                    <a:pt x="54" y="118"/>
                  </a:lnTo>
                  <a:lnTo>
                    <a:pt x="56" y="118"/>
                  </a:lnTo>
                  <a:lnTo>
                    <a:pt x="63" y="117"/>
                  </a:lnTo>
                  <a:lnTo>
                    <a:pt x="68" y="115"/>
                  </a:lnTo>
                  <a:lnTo>
                    <a:pt x="72" y="111"/>
                  </a:lnTo>
                  <a:lnTo>
                    <a:pt x="77" y="105"/>
                  </a:lnTo>
                  <a:lnTo>
                    <a:pt x="80" y="99"/>
                  </a:lnTo>
                  <a:lnTo>
                    <a:pt x="85" y="95"/>
                  </a:lnTo>
                  <a:lnTo>
                    <a:pt x="88" y="92"/>
                  </a:lnTo>
                  <a:lnTo>
                    <a:pt x="92" y="92"/>
                  </a:lnTo>
                  <a:lnTo>
                    <a:pt x="93" y="92"/>
                  </a:lnTo>
                  <a:lnTo>
                    <a:pt x="93" y="94"/>
                  </a:lnTo>
                  <a:lnTo>
                    <a:pt x="93" y="96"/>
                  </a:lnTo>
                  <a:lnTo>
                    <a:pt x="91" y="101"/>
                  </a:lnTo>
                  <a:lnTo>
                    <a:pt x="87" y="105"/>
                  </a:lnTo>
                  <a:lnTo>
                    <a:pt x="84" y="109"/>
                  </a:lnTo>
                  <a:lnTo>
                    <a:pt x="85" y="111"/>
                  </a:lnTo>
                  <a:lnTo>
                    <a:pt x="87" y="114"/>
                  </a:lnTo>
                  <a:lnTo>
                    <a:pt x="88" y="114"/>
                  </a:lnTo>
                  <a:lnTo>
                    <a:pt x="89" y="114"/>
                  </a:lnTo>
                  <a:lnTo>
                    <a:pt x="91" y="111"/>
                  </a:lnTo>
                  <a:lnTo>
                    <a:pt x="93" y="109"/>
                  </a:lnTo>
                  <a:lnTo>
                    <a:pt x="94" y="109"/>
                  </a:lnTo>
                  <a:lnTo>
                    <a:pt x="96" y="110"/>
                  </a:lnTo>
                  <a:lnTo>
                    <a:pt x="98" y="111"/>
                  </a:lnTo>
                  <a:lnTo>
                    <a:pt x="98" y="115"/>
                  </a:lnTo>
                  <a:lnTo>
                    <a:pt x="97" y="12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3" name="Freeform 912"/>
            <p:cNvSpPr>
              <a:spLocks/>
            </p:cNvSpPr>
            <p:nvPr/>
          </p:nvSpPr>
          <p:spPr bwMode="auto">
            <a:xfrm>
              <a:off x="2047878" y="1246189"/>
              <a:ext cx="739775" cy="387350"/>
            </a:xfrm>
            <a:custGeom>
              <a:avLst/>
              <a:gdLst>
                <a:gd name="T0" fmla="*/ 2147483647 w 505"/>
                <a:gd name="T1" fmla="*/ 2147483647 h 244"/>
                <a:gd name="T2" fmla="*/ 2147483647 w 505"/>
                <a:gd name="T3" fmla="*/ 2147483647 h 244"/>
                <a:gd name="T4" fmla="*/ 2147483647 w 505"/>
                <a:gd name="T5" fmla="*/ 2147483647 h 244"/>
                <a:gd name="T6" fmla="*/ 2147483647 w 505"/>
                <a:gd name="T7" fmla="*/ 2147483647 h 244"/>
                <a:gd name="T8" fmla="*/ 2147483647 w 505"/>
                <a:gd name="T9" fmla="*/ 2147483647 h 244"/>
                <a:gd name="T10" fmla="*/ 2147483647 w 505"/>
                <a:gd name="T11" fmla="*/ 2147483647 h 244"/>
                <a:gd name="T12" fmla="*/ 2147483647 w 505"/>
                <a:gd name="T13" fmla="*/ 2147483647 h 244"/>
                <a:gd name="T14" fmla="*/ 2147483647 w 505"/>
                <a:gd name="T15" fmla="*/ 2147483647 h 244"/>
                <a:gd name="T16" fmla="*/ 2147483647 w 505"/>
                <a:gd name="T17" fmla="*/ 2147483647 h 244"/>
                <a:gd name="T18" fmla="*/ 2147483647 w 505"/>
                <a:gd name="T19" fmla="*/ 2147483647 h 244"/>
                <a:gd name="T20" fmla="*/ 2147483647 w 505"/>
                <a:gd name="T21" fmla="*/ 2147483647 h 244"/>
                <a:gd name="T22" fmla="*/ 2147483647 w 505"/>
                <a:gd name="T23" fmla="*/ 2147483647 h 244"/>
                <a:gd name="T24" fmla="*/ 2147483647 w 505"/>
                <a:gd name="T25" fmla="*/ 2147483647 h 244"/>
                <a:gd name="T26" fmla="*/ 2147483647 w 505"/>
                <a:gd name="T27" fmla="*/ 2147483647 h 244"/>
                <a:gd name="T28" fmla="*/ 2147483647 w 505"/>
                <a:gd name="T29" fmla="*/ 2147483647 h 244"/>
                <a:gd name="T30" fmla="*/ 2147483647 w 505"/>
                <a:gd name="T31" fmla="*/ 2147483647 h 244"/>
                <a:gd name="T32" fmla="*/ 2147483647 w 505"/>
                <a:gd name="T33" fmla="*/ 2147483647 h 244"/>
                <a:gd name="T34" fmla="*/ 2147483647 w 505"/>
                <a:gd name="T35" fmla="*/ 2147483647 h 244"/>
                <a:gd name="T36" fmla="*/ 2147483647 w 505"/>
                <a:gd name="T37" fmla="*/ 2147483647 h 244"/>
                <a:gd name="T38" fmla="*/ 2147483647 w 505"/>
                <a:gd name="T39" fmla="*/ 2147483647 h 244"/>
                <a:gd name="T40" fmla="*/ 2147483647 w 505"/>
                <a:gd name="T41" fmla="*/ 2147483647 h 244"/>
                <a:gd name="T42" fmla="*/ 2147483647 w 505"/>
                <a:gd name="T43" fmla="*/ 2147483647 h 244"/>
                <a:gd name="T44" fmla="*/ 2147483647 w 505"/>
                <a:gd name="T45" fmla="*/ 2147483647 h 244"/>
                <a:gd name="T46" fmla="*/ 2147483647 w 505"/>
                <a:gd name="T47" fmla="*/ 2147483647 h 244"/>
                <a:gd name="T48" fmla="*/ 2147483647 w 505"/>
                <a:gd name="T49" fmla="*/ 2147483647 h 244"/>
                <a:gd name="T50" fmla="*/ 2147483647 w 505"/>
                <a:gd name="T51" fmla="*/ 2147483647 h 244"/>
                <a:gd name="T52" fmla="*/ 2147483647 w 505"/>
                <a:gd name="T53" fmla="*/ 2147483647 h 244"/>
                <a:gd name="T54" fmla="*/ 2147483647 w 505"/>
                <a:gd name="T55" fmla="*/ 2147483647 h 244"/>
                <a:gd name="T56" fmla="*/ 2147483647 w 505"/>
                <a:gd name="T57" fmla="*/ 2147483647 h 244"/>
                <a:gd name="T58" fmla="*/ 2147483647 w 505"/>
                <a:gd name="T59" fmla="*/ 2147483647 h 244"/>
                <a:gd name="T60" fmla="*/ 2147483647 w 505"/>
                <a:gd name="T61" fmla="*/ 2147483647 h 244"/>
                <a:gd name="T62" fmla="*/ 2147483647 w 505"/>
                <a:gd name="T63" fmla="*/ 2147483647 h 244"/>
                <a:gd name="T64" fmla="*/ 2147483647 w 505"/>
                <a:gd name="T65" fmla="*/ 2147483647 h 244"/>
                <a:gd name="T66" fmla="*/ 2147483647 w 505"/>
                <a:gd name="T67" fmla="*/ 2147483647 h 244"/>
                <a:gd name="T68" fmla="*/ 2147483647 w 505"/>
                <a:gd name="T69" fmla="*/ 2147483647 h 244"/>
                <a:gd name="T70" fmla="*/ 2147483647 w 505"/>
                <a:gd name="T71" fmla="*/ 2147483647 h 244"/>
                <a:gd name="T72" fmla="*/ 2147483647 w 505"/>
                <a:gd name="T73" fmla="*/ 2147483647 h 244"/>
                <a:gd name="T74" fmla="*/ 2147483647 w 505"/>
                <a:gd name="T75" fmla="*/ 2147483647 h 244"/>
                <a:gd name="T76" fmla="*/ 2147483647 w 505"/>
                <a:gd name="T77" fmla="*/ 2147483647 h 244"/>
                <a:gd name="T78" fmla="*/ 2147483647 w 505"/>
                <a:gd name="T79" fmla="*/ 2147483647 h 244"/>
                <a:gd name="T80" fmla="*/ 2147483647 w 505"/>
                <a:gd name="T81" fmla="*/ 2147483647 h 244"/>
                <a:gd name="T82" fmla="*/ 2147483647 w 505"/>
                <a:gd name="T83" fmla="*/ 2147483647 h 244"/>
                <a:gd name="T84" fmla="*/ 2147483647 w 505"/>
                <a:gd name="T85" fmla="*/ 2147483647 h 244"/>
                <a:gd name="T86" fmla="*/ 2147483647 w 505"/>
                <a:gd name="T87" fmla="*/ 2147483647 h 244"/>
                <a:gd name="T88" fmla="*/ 2147483647 w 505"/>
                <a:gd name="T89" fmla="*/ 2147483647 h 244"/>
                <a:gd name="T90" fmla="*/ 2147483647 w 505"/>
                <a:gd name="T91" fmla="*/ 2147483647 h 244"/>
                <a:gd name="T92" fmla="*/ 2147483647 w 505"/>
                <a:gd name="T93" fmla="*/ 2147483647 h 244"/>
                <a:gd name="T94" fmla="*/ 2147483647 w 505"/>
                <a:gd name="T95" fmla="*/ 2147483647 h 244"/>
                <a:gd name="T96" fmla="*/ 2147483647 w 505"/>
                <a:gd name="T97" fmla="*/ 2147483647 h 244"/>
                <a:gd name="T98" fmla="*/ 2147483647 w 505"/>
                <a:gd name="T99" fmla="*/ 2147483647 h 244"/>
                <a:gd name="T100" fmla="*/ 2147483647 w 505"/>
                <a:gd name="T101" fmla="*/ 2147483647 h 244"/>
                <a:gd name="T102" fmla="*/ 2147483647 w 505"/>
                <a:gd name="T103" fmla="*/ 2147483647 h 244"/>
                <a:gd name="T104" fmla="*/ 2147483647 w 505"/>
                <a:gd name="T105" fmla="*/ 2147483647 h 244"/>
                <a:gd name="T106" fmla="*/ 2147483647 w 505"/>
                <a:gd name="T107" fmla="*/ 2147483647 h 244"/>
                <a:gd name="T108" fmla="*/ 2147483647 w 505"/>
                <a:gd name="T109" fmla="*/ 2147483647 h 244"/>
                <a:gd name="T110" fmla="*/ 2147483647 w 505"/>
                <a:gd name="T111" fmla="*/ 2147483647 h 244"/>
                <a:gd name="T112" fmla="*/ 2147483647 w 505"/>
                <a:gd name="T113" fmla="*/ 2147483647 h 244"/>
                <a:gd name="T114" fmla="*/ 2147483647 w 505"/>
                <a:gd name="T115" fmla="*/ 2147483647 h 244"/>
                <a:gd name="T116" fmla="*/ 2147483647 w 505"/>
                <a:gd name="T117" fmla="*/ 2147483647 h 244"/>
                <a:gd name="T118" fmla="*/ 2147483647 w 505"/>
                <a:gd name="T119" fmla="*/ 2147483647 h 244"/>
                <a:gd name="T120" fmla="*/ 2147483647 w 505"/>
                <a:gd name="T121" fmla="*/ 2147483647 h 2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5"/>
                <a:gd name="T184" fmla="*/ 0 h 244"/>
                <a:gd name="T185" fmla="*/ 505 w 505"/>
                <a:gd name="T186" fmla="*/ 244 h 2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5" h="244">
                  <a:moveTo>
                    <a:pt x="465" y="69"/>
                  </a:moveTo>
                  <a:lnTo>
                    <a:pt x="465" y="69"/>
                  </a:lnTo>
                  <a:lnTo>
                    <a:pt x="458" y="71"/>
                  </a:lnTo>
                  <a:lnTo>
                    <a:pt x="451" y="72"/>
                  </a:lnTo>
                  <a:lnTo>
                    <a:pt x="443" y="73"/>
                  </a:lnTo>
                  <a:lnTo>
                    <a:pt x="435" y="77"/>
                  </a:lnTo>
                  <a:lnTo>
                    <a:pt x="433" y="77"/>
                  </a:lnTo>
                  <a:lnTo>
                    <a:pt x="429" y="77"/>
                  </a:lnTo>
                  <a:lnTo>
                    <a:pt x="426" y="77"/>
                  </a:lnTo>
                  <a:lnTo>
                    <a:pt x="423" y="78"/>
                  </a:lnTo>
                  <a:lnTo>
                    <a:pt x="420" y="82"/>
                  </a:lnTo>
                  <a:lnTo>
                    <a:pt x="418" y="85"/>
                  </a:lnTo>
                  <a:lnTo>
                    <a:pt x="414" y="89"/>
                  </a:lnTo>
                  <a:lnTo>
                    <a:pt x="413" y="89"/>
                  </a:lnTo>
                  <a:lnTo>
                    <a:pt x="410" y="89"/>
                  </a:lnTo>
                  <a:lnTo>
                    <a:pt x="406" y="88"/>
                  </a:lnTo>
                  <a:lnTo>
                    <a:pt x="405" y="88"/>
                  </a:lnTo>
                  <a:lnTo>
                    <a:pt x="402" y="88"/>
                  </a:lnTo>
                  <a:lnTo>
                    <a:pt x="397" y="90"/>
                  </a:lnTo>
                  <a:lnTo>
                    <a:pt x="391" y="91"/>
                  </a:lnTo>
                  <a:lnTo>
                    <a:pt x="386" y="92"/>
                  </a:lnTo>
                  <a:lnTo>
                    <a:pt x="381" y="93"/>
                  </a:lnTo>
                  <a:lnTo>
                    <a:pt x="377" y="95"/>
                  </a:lnTo>
                  <a:lnTo>
                    <a:pt x="373" y="96"/>
                  </a:lnTo>
                  <a:lnTo>
                    <a:pt x="371" y="95"/>
                  </a:lnTo>
                  <a:lnTo>
                    <a:pt x="367" y="93"/>
                  </a:lnTo>
                  <a:lnTo>
                    <a:pt x="364" y="93"/>
                  </a:lnTo>
                  <a:lnTo>
                    <a:pt x="363" y="93"/>
                  </a:lnTo>
                  <a:lnTo>
                    <a:pt x="360" y="98"/>
                  </a:lnTo>
                  <a:lnTo>
                    <a:pt x="358" y="101"/>
                  </a:lnTo>
                  <a:lnTo>
                    <a:pt x="354" y="103"/>
                  </a:lnTo>
                  <a:lnTo>
                    <a:pt x="349" y="103"/>
                  </a:lnTo>
                  <a:lnTo>
                    <a:pt x="353" y="107"/>
                  </a:lnTo>
                  <a:lnTo>
                    <a:pt x="354" y="109"/>
                  </a:lnTo>
                  <a:lnTo>
                    <a:pt x="353" y="111"/>
                  </a:lnTo>
                  <a:lnTo>
                    <a:pt x="353" y="112"/>
                  </a:lnTo>
                  <a:lnTo>
                    <a:pt x="350" y="112"/>
                  </a:lnTo>
                  <a:lnTo>
                    <a:pt x="346" y="112"/>
                  </a:lnTo>
                  <a:lnTo>
                    <a:pt x="345" y="110"/>
                  </a:lnTo>
                  <a:lnTo>
                    <a:pt x="344" y="110"/>
                  </a:lnTo>
                  <a:lnTo>
                    <a:pt x="341" y="111"/>
                  </a:lnTo>
                  <a:lnTo>
                    <a:pt x="339" y="111"/>
                  </a:lnTo>
                  <a:lnTo>
                    <a:pt x="334" y="111"/>
                  </a:lnTo>
                  <a:lnTo>
                    <a:pt x="334" y="112"/>
                  </a:lnTo>
                  <a:lnTo>
                    <a:pt x="333" y="112"/>
                  </a:lnTo>
                  <a:lnTo>
                    <a:pt x="335" y="117"/>
                  </a:lnTo>
                  <a:lnTo>
                    <a:pt x="335" y="120"/>
                  </a:lnTo>
                  <a:lnTo>
                    <a:pt x="335" y="121"/>
                  </a:lnTo>
                  <a:lnTo>
                    <a:pt x="330" y="122"/>
                  </a:lnTo>
                  <a:lnTo>
                    <a:pt x="326" y="122"/>
                  </a:lnTo>
                  <a:lnTo>
                    <a:pt x="321" y="123"/>
                  </a:lnTo>
                  <a:lnTo>
                    <a:pt x="317" y="125"/>
                  </a:lnTo>
                  <a:lnTo>
                    <a:pt x="315" y="125"/>
                  </a:lnTo>
                  <a:lnTo>
                    <a:pt x="311" y="122"/>
                  </a:lnTo>
                  <a:lnTo>
                    <a:pt x="306" y="121"/>
                  </a:lnTo>
                  <a:lnTo>
                    <a:pt x="301" y="120"/>
                  </a:lnTo>
                  <a:lnTo>
                    <a:pt x="296" y="117"/>
                  </a:lnTo>
                  <a:lnTo>
                    <a:pt x="294" y="117"/>
                  </a:lnTo>
                  <a:lnTo>
                    <a:pt x="293" y="117"/>
                  </a:lnTo>
                  <a:lnTo>
                    <a:pt x="292" y="118"/>
                  </a:lnTo>
                  <a:lnTo>
                    <a:pt x="293" y="120"/>
                  </a:lnTo>
                  <a:lnTo>
                    <a:pt x="294" y="121"/>
                  </a:lnTo>
                  <a:lnTo>
                    <a:pt x="297" y="122"/>
                  </a:lnTo>
                  <a:lnTo>
                    <a:pt x="300" y="122"/>
                  </a:lnTo>
                  <a:lnTo>
                    <a:pt x="302" y="123"/>
                  </a:lnTo>
                  <a:lnTo>
                    <a:pt x="303" y="125"/>
                  </a:lnTo>
                  <a:lnTo>
                    <a:pt x="303" y="127"/>
                  </a:lnTo>
                  <a:lnTo>
                    <a:pt x="302" y="128"/>
                  </a:lnTo>
                  <a:lnTo>
                    <a:pt x="300" y="128"/>
                  </a:lnTo>
                  <a:lnTo>
                    <a:pt x="298" y="127"/>
                  </a:lnTo>
                  <a:lnTo>
                    <a:pt x="297" y="127"/>
                  </a:lnTo>
                  <a:lnTo>
                    <a:pt x="294" y="127"/>
                  </a:lnTo>
                  <a:lnTo>
                    <a:pt x="291" y="129"/>
                  </a:lnTo>
                  <a:lnTo>
                    <a:pt x="286" y="130"/>
                  </a:lnTo>
                  <a:lnTo>
                    <a:pt x="275" y="130"/>
                  </a:lnTo>
                  <a:lnTo>
                    <a:pt x="265" y="129"/>
                  </a:lnTo>
                  <a:lnTo>
                    <a:pt x="256" y="125"/>
                  </a:lnTo>
                  <a:lnTo>
                    <a:pt x="251" y="125"/>
                  </a:lnTo>
                  <a:lnTo>
                    <a:pt x="246" y="124"/>
                  </a:lnTo>
                  <a:lnTo>
                    <a:pt x="242" y="123"/>
                  </a:lnTo>
                  <a:lnTo>
                    <a:pt x="240" y="123"/>
                  </a:lnTo>
                  <a:lnTo>
                    <a:pt x="239" y="123"/>
                  </a:lnTo>
                  <a:lnTo>
                    <a:pt x="239" y="125"/>
                  </a:lnTo>
                  <a:lnTo>
                    <a:pt x="239" y="127"/>
                  </a:lnTo>
                  <a:lnTo>
                    <a:pt x="242" y="129"/>
                  </a:lnTo>
                  <a:lnTo>
                    <a:pt x="246" y="130"/>
                  </a:lnTo>
                  <a:lnTo>
                    <a:pt x="250" y="131"/>
                  </a:lnTo>
                  <a:lnTo>
                    <a:pt x="254" y="134"/>
                  </a:lnTo>
                  <a:lnTo>
                    <a:pt x="259" y="136"/>
                  </a:lnTo>
                  <a:lnTo>
                    <a:pt x="265" y="137"/>
                  </a:lnTo>
                  <a:lnTo>
                    <a:pt x="270" y="139"/>
                  </a:lnTo>
                  <a:lnTo>
                    <a:pt x="275" y="140"/>
                  </a:lnTo>
                  <a:lnTo>
                    <a:pt x="278" y="141"/>
                  </a:lnTo>
                  <a:lnTo>
                    <a:pt x="278" y="143"/>
                  </a:lnTo>
                  <a:lnTo>
                    <a:pt x="268" y="142"/>
                  </a:lnTo>
                  <a:lnTo>
                    <a:pt x="258" y="141"/>
                  </a:lnTo>
                  <a:lnTo>
                    <a:pt x="247" y="140"/>
                  </a:lnTo>
                  <a:lnTo>
                    <a:pt x="239" y="137"/>
                  </a:lnTo>
                  <a:lnTo>
                    <a:pt x="235" y="135"/>
                  </a:lnTo>
                  <a:lnTo>
                    <a:pt x="232" y="133"/>
                  </a:lnTo>
                  <a:lnTo>
                    <a:pt x="230" y="133"/>
                  </a:lnTo>
                  <a:lnTo>
                    <a:pt x="228" y="133"/>
                  </a:lnTo>
                  <a:lnTo>
                    <a:pt x="226" y="136"/>
                  </a:lnTo>
                  <a:lnTo>
                    <a:pt x="226" y="139"/>
                  </a:lnTo>
                  <a:lnTo>
                    <a:pt x="227" y="141"/>
                  </a:lnTo>
                  <a:lnTo>
                    <a:pt x="231" y="143"/>
                  </a:lnTo>
                  <a:lnTo>
                    <a:pt x="235" y="146"/>
                  </a:lnTo>
                  <a:lnTo>
                    <a:pt x="242" y="146"/>
                  </a:lnTo>
                  <a:lnTo>
                    <a:pt x="241" y="148"/>
                  </a:lnTo>
                  <a:lnTo>
                    <a:pt x="239" y="149"/>
                  </a:lnTo>
                  <a:lnTo>
                    <a:pt x="235" y="150"/>
                  </a:lnTo>
                  <a:lnTo>
                    <a:pt x="232" y="152"/>
                  </a:lnTo>
                  <a:lnTo>
                    <a:pt x="231" y="154"/>
                  </a:lnTo>
                  <a:lnTo>
                    <a:pt x="231" y="155"/>
                  </a:lnTo>
                  <a:lnTo>
                    <a:pt x="233" y="156"/>
                  </a:lnTo>
                  <a:lnTo>
                    <a:pt x="239" y="158"/>
                  </a:lnTo>
                  <a:lnTo>
                    <a:pt x="242" y="158"/>
                  </a:lnTo>
                  <a:lnTo>
                    <a:pt x="251" y="155"/>
                  </a:lnTo>
                  <a:lnTo>
                    <a:pt x="254" y="156"/>
                  </a:lnTo>
                  <a:lnTo>
                    <a:pt x="255" y="156"/>
                  </a:lnTo>
                  <a:lnTo>
                    <a:pt x="259" y="153"/>
                  </a:lnTo>
                  <a:lnTo>
                    <a:pt x="261" y="153"/>
                  </a:lnTo>
                  <a:lnTo>
                    <a:pt x="263" y="153"/>
                  </a:lnTo>
                  <a:lnTo>
                    <a:pt x="270" y="156"/>
                  </a:lnTo>
                  <a:lnTo>
                    <a:pt x="275" y="158"/>
                  </a:lnTo>
                  <a:lnTo>
                    <a:pt x="279" y="159"/>
                  </a:lnTo>
                  <a:lnTo>
                    <a:pt x="280" y="159"/>
                  </a:lnTo>
                  <a:lnTo>
                    <a:pt x="280" y="160"/>
                  </a:lnTo>
                  <a:lnTo>
                    <a:pt x="279" y="162"/>
                  </a:lnTo>
                  <a:lnTo>
                    <a:pt x="278" y="162"/>
                  </a:lnTo>
                  <a:lnTo>
                    <a:pt x="277" y="162"/>
                  </a:lnTo>
                  <a:lnTo>
                    <a:pt x="274" y="162"/>
                  </a:lnTo>
                  <a:lnTo>
                    <a:pt x="270" y="165"/>
                  </a:lnTo>
                  <a:lnTo>
                    <a:pt x="266" y="166"/>
                  </a:lnTo>
                  <a:lnTo>
                    <a:pt x="259" y="168"/>
                  </a:lnTo>
                  <a:lnTo>
                    <a:pt x="258" y="169"/>
                  </a:lnTo>
                  <a:lnTo>
                    <a:pt x="255" y="172"/>
                  </a:lnTo>
                  <a:lnTo>
                    <a:pt x="254" y="173"/>
                  </a:lnTo>
                  <a:lnTo>
                    <a:pt x="250" y="173"/>
                  </a:lnTo>
                  <a:lnTo>
                    <a:pt x="247" y="173"/>
                  </a:lnTo>
                  <a:lnTo>
                    <a:pt x="246" y="173"/>
                  </a:lnTo>
                  <a:lnTo>
                    <a:pt x="242" y="174"/>
                  </a:lnTo>
                  <a:lnTo>
                    <a:pt x="239" y="174"/>
                  </a:lnTo>
                  <a:lnTo>
                    <a:pt x="235" y="173"/>
                  </a:lnTo>
                  <a:lnTo>
                    <a:pt x="232" y="172"/>
                  </a:lnTo>
                  <a:lnTo>
                    <a:pt x="228" y="172"/>
                  </a:lnTo>
                  <a:lnTo>
                    <a:pt x="227" y="172"/>
                  </a:lnTo>
                  <a:lnTo>
                    <a:pt x="227" y="184"/>
                  </a:lnTo>
                  <a:lnTo>
                    <a:pt x="226" y="190"/>
                  </a:lnTo>
                  <a:lnTo>
                    <a:pt x="223" y="194"/>
                  </a:lnTo>
                  <a:lnTo>
                    <a:pt x="222" y="195"/>
                  </a:lnTo>
                  <a:lnTo>
                    <a:pt x="218" y="195"/>
                  </a:lnTo>
                  <a:lnTo>
                    <a:pt x="211" y="195"/>
                  </a:lnTo>
                  <a:lnTo>
                    <a:pt x="203" y="195"/>
                  </a:lnTo>
                  <a:lnTo>
                    <a:pt x="195" y="198"/>
                  </a:lnTo>
                  <a:lnTo>
                    <a:pt x="186" y="198"/>
                  </a:lnTo>
                  <a:lnTo>
                    <a:pt x="183" y="197"/>
                  </a:lnTo>
                  <a:lnTo>
                    <a:pt x="179" y="195"/>
                  </a:lnTo>
                  <a:lnTo>
                    <a:pt x="171" y="190"/>
                  </a:lnTo>
                  <a:lnTo>
                    <a:pt x="167" y="187"/>
                  </a:lnTo>
                  <a:lnTo>
                    <a:pt x="162" y="186"/>
                  </a:lnTo>
                  <a:lnTo>
                    <a:pt x="162" y="188"/>
                  </a:lnTo>
                  <a:lnTo>
                    <a:pt x="164" y="188"/>
                  </a:lnTo>
                  <a:lnTo>
                    <a:pt x="164" y="190"/>
                  </a:lnTo>
                  <a:lnTo>
                    <a:pt x="167" y="195"/>
                  </a:lnTo>
                  <a:lnTo>
                    <a:pt x="170" y="201"/>
                  </a:lnTo>
                  <a:lnTo>
                    <a:pt x="173" y="204"/>
                  </a:lnTo>
                  <a:lnTo>
                    <a:pt x="175" y="205"/>
                  </a:lnTo>
                  <a:lnTo>
                    <a:pt x="179" y="206"/>
                  </a:lnTo>
                  <a:lnTo>
                    <a:pt x="183" y="205"/>
                  </a:lnTo>
                  <a:lnTo>
                    <a:pt x="194" y="204"/>
                  </a:lnTo>
                  <a:lnTo>
                    <a:pt x="199" y="204"/>
                  </a:lnTo>
                  <a:lnTo>
                    <a:pt x="204" y="206"/>
                  </a:lnTo>
                  <a:lnTo>
                    <a:pt x="216" y="216"/>
                  </a:lnTo>
                  <a:lnTo>
                    <a:pt x="222" y="220"/>
                  </a:lnTo>
                  <a:lnTo>
                    <a:pt x="228" y="223"/>
                  </a:lnTo>
                  <a:lnTo>
                    <a:pt x="228" y="224"/>
                  </a:lnTo>
                  <a:lnTo>
                    <a:pt x="227" y="225"/>
                  </a:lnTo>
                  <a:lnTo>
                    <a:pt x="217" y="227"/>
                  </a:lnTo>
                  <a:lnTo>
                    <a:pt x="209" y="232"/>
                  </a:lnTo>
                  <a:lnTo>
                    <a:pt x="200" y="237"/>
                  </a:lnTo>
                  <a:lnTo>
                    <a:pt x="193" y="240"/>
                  </a:lnTo>
                  <a:lnTo>
                    <a:pt x="188" y="243"/>
                  </a:lnTo>
                  <a:lnTo>
                    <a:pt x="185" y="244"/>
                  </a:lnTo>
                  <a:lnTo>
                    <a:pt x="183" y="243"/>
                  </a:lnTo>
                  <a:lnTo>
                    <a:pt x="181" y="242"/>
                  </a:lnTo>
                  <a:lnTo>
                    <a:pt x="180" y="239"/>
                  </a:lnTo>
                  <a:lnTo>
                    <a:pt x="180" y="236"/>
                  </a:lnTo>
                  <a:lnTo>
                    <a:pt x="179" y="232"/>
                  </a:lnTo>
                  <a:lnTo>
                    <a:pt x="178" y="232"/>
                  </a:lnTo>
                  <a:lnTo>
                    <a:pt x="175" y="231"/>
                  </a:lnTo>
                  <a:lnTo>
                    <a:pt x="171" y="232"/>
                  </a:lnTo>
                  <a:lnTo>
                    <a:pt x="167" y="231"/>
                  </a:lnTo>
                  <a:lnTo>
                    <a:pt x="155" y="229"/>
                  </a:lnTo>
                  <a:lnTo>
                    <a:pt x="150" y="229"/>
                  </a:lnTo>
                  <a:lnTo>
                    <a:pt x="146" y="230"/>
                  </a:lnTo>
                  <a:lnTo>
                    <a:pt x="143" y="232"/>
                  </a:lnTo>
                  <a:lnTo>
                    <a:pt x="141" y="232"/>
                  </a:lnTo>
                  <a:lnTo>
                    <a:pt x="141" y="233"/>
                  </a:lnTo>
                  <a:lnTo>
                    <a:pt x="140" y="233"/>
                  </a:lnTo>
                  <a:lnTo>
                    <a:pt x="137" y="233"/>
                  </a:lnTo>
                  <a:lnTo>
                    <a:pt x="136" y="231"/>
                  </a:lnTo>
                  <a:lnTo>
                    <a:pt x="134" y="230"/>
                  </a:lnTo>
                  <a:lnTo>
                    <a:pt x="129" y="230"/>
                  </a:lnTo>
                  <a:lnTo>
                    <a:pt x="123" y="230"/>
                  </a:lnTo>
                  <a:lnTo>
                    <a:pt x="118" y="230"/>
                  </a:lnTo>
                  <a:lnTo>
                    <a:pt x="117" y="229"/>
                  </a:lnTo>
                  <a:lnTo>
                    <a:pt x="115" y="227"/>
                  </a:lnTo>
                  <a:lnTo>
                    <a:pt x="114" y="224"/>
                  </a:lnTo>
                  <a:lnTo>
                    <a:pt x="110" y="223"/>
                  </a:lnTo>
                  <a:lnTo>
                    <a:pt x="108" y="224"/>
                  </a:lnTo>
                  <a:lnTo>
                    <a:pt x="104" y="225"/>
                  </a:lnTo>
                  <a:lnTo>
                    <a:pt x="101" y="227"/>
                  </a:lnTo>
                  <a:lnTo>
                    <a:pt x="101" y="229"/>
                  </a:lnTo>
                  <a:lnTo>
                    <a:pt x="103" y="230"/>
                  </a:lnTo>
                  <a:lnTo>
                    <a:pt x="104" y="232"/>
                  </a:lnTo>
                  <a:lnTo>
                    <a:pt x="105" y="233"/>
                  </a:lnTo>
                  <a:lnTo>
                    <a:pt x="104" y="236"/>
                  </a:lnTo>
                  <a:lnTo>
                    <a:pt x="103" y="237"/>
                  </a:lnTo>
                  <a:lnTo>
                    <a:pt x="101" y="237"/>
                  </a:lnTo>
                  <a:lnTo>
                    <a:pt x="100" y="237"/>
                  </a:lnTo>
                  <a:lnTo>
                    <a:pt x="93" y="235"/>
                  </a:lnTo>
                  <a:lnTo>
                    <a:pt x="85" y="235"/>
                  </a:lnTo>
                  <a:lnTo>
                    <a:pt x="71" y="237"/>
                  </a:lnTo>
                  <a:lnTo>
                    <a:pt x="70" y="236"/>
                  </a:lnTo>
                  <a:lnTo>
                    <a:pt x="68" y="235"/>
                  </a:lnTo>
                  <a:lnTo>
                    <a:pt x="66" y="232"/>
                  </a:lnTo>
                  <a:lnTo>
                    <a:pt x="63" y="232"/>
                  </a:lnTo>
                  <a:lnTo>
                    <a:pt x="61" y="233"/>
                  </a:lnTo>
                  <a:lnTo>
                    <a:pt x="58" y="235"/>
                  </a:lnTo>
                  <a:lnTo>
                    <a:pt x="54" y="235"/>
                  </a:lnTo>
                  <a:lnTo>
                    <a:pt x="51" y="233"/>
                  </a:lnTo>
                  <a:lnTo>
                    <a:pt x="48" y="235"/>
                  </a:lnTo>
                  <a:lnTo>
                    <a:pt x="44" y="235"/>
                  </a:lnTo>
                  <a:lnTo>
                    <a:pt x="40" y="233"/>
                  </a:lnTo>
                  <a:lnTo>
                    <a:pt x="38" y="231"/>
                  </a:lnTo>
                  <a:lnTo>
                    <a:pt x="38" y="227"/>
                  </a:lnTo>
                  <a:lnTo>
                    <a:pt x="38" y="224"/>
                  </a:lnTo>
                  <a:lnTo>
                    <a:pt x="39" y="220"/>
                  </a:lnTo>
                  <a:lnTo>
                    <a:pt x="40" y="220"/>
                  </a:lnTo>
                  <a:lnTo>
                    <a:pt x="43" y="223"/>
                  </a:lnTo>
                  <a:lnTo>
                    <a:pt x="47" y="219"/>
                  </a:lnTo>
                  <a:lnTo>
                    <a:pt x="49" y="214"/>
                  </a:lnTo>
                  <a:lnTo>
                    <a:pt x="51" y="214"/>
                  </a:lnTo>
                  <a:lnTo>
                    <a:pt x="54" y="214"/>
                  </a:lnTo>
                  <a:lnTo>
                    <a:pt x="58" y="214"/>
                  </a:lnTo>
                  <a:lnTo>
                    <a:pt x="62" y="213"/>
                  </a:lnTo>
                  <a:lnTo>
                    <a:pt x="63" y="210"/>
                  </a:lnTo>
                  <a:lnTo>
                    <a:pt x="57" y="207"/>
                  </a:lnTo>
                  <a:lnTo>
                    <a:pt x="52" y="204"/>
                  </a:lnTo>
                  <a:lnTo>
                    <a:pt x="49" y="199"/>
                  </a:lnTo>
                  <a:lnTo>
                    <a:pt x="48" y="197"/>
                  </a:lnTo>
                  <a:lnTo>
                    <a:pt x="49" y="193"/>
                  </a:lnTo>
                  <a:lnTo>
                    <a:pt x="51" y="191"/>
                  </a:lnTo>
                  <a:lnTo>
                    <a:pt x="54" y="190"/>
                  </a:lnTo>
                  <a:lnTo>
                    <a:pt x="62" y="187"/>
                  </a:lnTo>
                  <a:lnTo>
                    <a:pt x="65" y="186"/>
                  </a:lnTo>
                  <a:lnTo>
                    <a:pt x="68" y="187"/>
                  </a:lnTo>
                  <a:lnTo>
                    <a:pt x="73" y="188"/>
                  </a:lnTo>
                  <a:lnTo>
                    <a:pt x="80" y="192"/>
                  </a:lnTo>
                  <a:lnTo>
                    <a:pt x="85" y="195"/>
                  </a:lnTo>
                  <a:lnTo>
                    <a:pt x="90" y="199"/>
                  </a:lnTo>
                  <a:lnTo>
                    <a:pt x="93" y="199"/>
                  </a:lnTo>
                  <a:lnTo>
                    <a:pt x="95" y="199"/>
                  </a:lnTo>
                  <a:lnTo>
                    <a:pt x="99" y="198"/>
                  </a:lnTo>
                  <a:lnTo>
                    <a:pt x="103" y="198"/>
                  </a:lnTo>
                  <a:lnTo>
                    <a:pt x="108" y="198"/>
                  </a:lnTo>
                  <a:lnTo>
                    <a:pt x="115" y="197"/>
                  </a:lnTo>
                  <a:lnTo>
                    <a:pt x="122" y="194"/>
                  </a:lnTo>
                  <a:lnTo>
                    <a:pt x="123" y="192"/>
                  </a:lnTo>
                  <a:lnTo>
                    <a:pt x="124" y="190"/>
                  </a:lnTo>
                  <a:lnTo>
                    <a:pt x="124" y="187"/>
                  </a:lnTo>
                  <a:lnTo>
                    <a:pt x="126" y="184"/>
                  </a:lnTo>
                  <a:lnTo>
                    <a:pt x="129" y="178"/>
                  </a:lnTo>
                  <a:lnTo>
                    <a:pt x="132" y="174"/>
                  </a:lnTo>
                  <a:lnTo>
                    <a:pt x="133" y="173"/>
                  </a:lnTo>
                  <a:lnTo>
                    <a:pt x="132" y="173"/>
                  </a:lnTo>
                  <a:lnTo>
                    <a:pt x="122" y="176"/>
                  </a:lnTo>
                  <a:lnTo>
                    <a:pt x="117" y="182"/>
                  </a:lnTo>
                  <a:lnTo>
                    <a:pt x="113" y="185"/>
                  </a:lnTo>
                  <a:lnTo>
                    <a:pt x="106" y="185"/>
                  </a:lnTo>
                  <a:lnTo>
                    <a:pt x="100" y="184"/>
                  </a:lnTo>
                  <a:lnTo>
                    <a:pt x="95" y="181"/>
                  </a:lnTo>
                  <a:lnTo>
                    <a:pt x="91" y="179"/>
                  </a:lnTo>
                  <a:lnTo>
                    <a:pt x="91" y="175"/>
                  </a:lnTo>
                  <a:lnTo>
                    <a:pt x="93" y="171"/>
                  </a:lnTo>
                  <a:lnTo>
                    <a:pt x="91" y="169"/>
                  </a:lnTo>
                  <a:lnTo>
                    <a:pt x="90" y="171"/>
                  </a:lnTo>
                  <a:lnTo>
                    <a:pt x="86" y="174"/>
                  </a:lnTo>
                  <a:lnTo>
                    <a:pt x="82" y="176"/>
                  </a:lnTo>
                  <a:lnTo>
                    <a:pt x="79" y="178"/>
                  </a:lnTo>
                  <a:lnTo>
                    <a:pt x="75" y="178"/>
                  </a:lnTo>
                  <a:lnTo>
                    <a:pt x="71" y="178"/>
                  </a:lnTo>
                  <a:lnTo>
                    <a:pt x="67" y="179"/>
                  </a:lnTo>
                  <a:lnTo>
                    <a:pt x="60" y="181"/>
                  </a:lnTo>
                  <a:lnTo>
                    <a:pt x="56" y="182"/>
                  </a:lnTo>
                  <a:lnTo>
                    <a:pt x="52" y="181"/>
                  </a:lnTo>
                  <a:lnTo>
                    <a:pt x="49" y="180"/>
                  </a:lnTo>
                  <a:lnTo>
                    <a:pt x="48" y="179"/>
                  </a:lnTo>
                  <a:lnTo>
                    <a:pt x="48" y="176"/>
                  </a:lnTo>
                  <a:lnTo>
                    <a:pt x="48" y="174"/>
                  </a:lnTo>
                  <a:lnTo>
                    <a:pt x="56" y="165"/>
                  </a:lnTo>
                  <a:lnTo>
                    <a:pt x="57" y="163"/>
                  </a:lnTo>
                  <a:lnTo>
                    <a:pt x="60" y="162"/>
                  </a:lnTo>
                  <a:lnTo>
                    <a:pt x="65" y="161"/>
                  </a:lnTo>
                  <a:lnTo>
                    <a:pt x="66" y="160"/>
                  </a:lnTo>
                  <a:lnTo>
                    <a:pt x="67" y="158"/>
                  </a:lnTo>
                  <a:lnTo>
                    <a:pt x="70" y="154"/>
                  </a:lnTo>
                  <a:lnTo>
                    <a:pt x="71" y="152"/>
                  </a:lnTo>
                  <a:lnTo>
                    <a:pt x="73" y="152"/>
                  </a:lnTo>
                  <a:lnTo>
                    <a:pt x="77" y="155"/>
                  </a:lnTo>
                  <a:lnTo>
                    <a:pt x="80" y="156"/>
                  </a:lnTo>
                  <a:lnTo>
                    <a:pt x="82" y="156"/>
                  </a:lnTo>
                  <a:lnTo>
                    <a:pt x="85" y="155"/>
                  </a:lnTo>
                  <a:lnTo>
                    <a:pt x="86" y="153"/>
                  </a:lnTo>
                  <a:lnTo>
                    <a:pt x="89" y="153"/>
                  </a:lnTo>
                  <a:lnTo>
                    <a:pt x="91" y="154"/>
                  </a:lnTo>
                  <a:lnTo>
                    <a:pt x="94" y="155"/>
                  </a:lnTo>
                  <a:lnTo>
                    <a:pt x="96" y="155"/>
                  </a:lnTo>
                  <a:lnTo>
                    <a:pt x="100" y="154"/>
                  </a:lnTo>
                  <a:lnTo>
                    <a:pt x="104" y="154"/>
                  </a:lnTo>
                  <a:lnTo>
                    <a:pt x="106" y="154"/>
                  </a:lnTo>
                  <a:lnTo>
                    <a:pt x="110" y="154"/>
                  </a:lnTo>
                  <a:lnTo>
                    <a:pt x="112" y="153"/>
                  </a:lnTo>
                  <a:lnTo>
                    <a:pt x="113" y="150"/>
                  </a:lnTo>
                  <a:lnTo>
                    <a:pt x="115" y="150"/>
                  </a:lnTo>
                  <a:lnTo>
                    <a:pt x="119" y="152"/>
                  </a:lnTo>
                  <a:lnTo>
                    <a:pt x="120" y="152"/>
                  </a:lnTo>
                  <a:lnTo>
                    <a:pt x="123" y="150"/>
                  </a:lnTo>
                  <a:lnTo>
                    <a:pt x="128" y="147"/>
                  </a:lnTo>
                  <a:lnTo>
                    <a:pt x="129" y="144"/>
                  </a:lnTo>
                  <a:lnTo>
                    <a:pt x="129" y="142"/>
                  </a:lnTo>
                  <a:lnTo>
                    <a:pt x="128" y="141"/>
                  </a:lnTo>
                  <a:lnTo>
                    <a:pt x="122" y="144"/>
                  </a:lnTo>
                  <a:lnTo>
                    <a:pt x="115" y="147"/>
                  </a:lnTo>
                  <a:lnTo>
                    <a:pt x="109" y="147"/>
                  </a:lnTo>
                  <a:lnTo>
                    <a:pt x="103" y="146"/>
                  </a:lnTo>
                  <a:lnTo>
                    <a:pt x="98" y="144"/>
                  </a:lnTo>
                  <a:lnTo>
                    <a:pt x="93" y="144"/>
                  </a:lnTo>
                  <a:lnTo>
                    <a:pt x="87" y="146"/>
                  </a:lnTo>
                  <a:lnTo>
                    <a:pt x="84" y="144"/>
                  </a:lnTo>
                  <a:lnTo>
                    <a:pt x="82" y="143"/>
                  </a:lnTo>
                  <a:lnTo>
                    <a:pt x="81" y="142"/>
                  </a:lnTo>
                  <a:lnTo>
                    <a:pt x="81" y="139"/>
                  </a:lnTo>
                  <a:lnTo>
                    <a:pt x="82" y="134"/>
                  </a:lnTo>
                  <a:lnTo>
                    <a:pt x="82" y="130"/>
                  </a:lnTo>
                  <a:lnTo>
                    <a:pt x="79" y="128"/>
                  </a:lnTo>
                  <a:lnTo>
                    <a:pt x="76" y="128"/>
                  </a:lnTo>
                  <a:lnTo>
                    <a:pt x="72" y="128"/>
                  </a:lnTo>
                  <a:lnTo>
                    <a:pt x="68" y="128"/>
                  </a:lnTo>
                  <a:lnTo>
                    <a:pt x="67" y="125"/>
                  </a:lnTo>
                  <a:lnTo>
                    <a:pt x="65" y="123"/>
                  </a:lnTo>
                  <a:lnTo>
                    <a:pt x="63" y="117"/>
                  </a:lnTo>
                  <a:lnTo>
                    <a:pt x="63" y="111"/>
                  </a:lnTo>
                  <a:lnTo>
                    <a:pt x="65" y="107"/>
                  </a:lnTo>
                  <a:lnTo>
                    <a:pt x="67" y="104"/>
                  </a:lnTo>
                  <a:lnTo>
                    <a:pt x="71" y="102"/>
                  </a:lnTo>
                  <a:lnTo>
                    <a:pt x="76" y="102"/>
                  </a:lnTo>
                  <a:lnTo>
                    <a:pt x="81" y="103"/>
                  </a:lnTo>
                  <a:lnTo>
                    <a:pt x="91" y="104"/>
                  </a:lnTo>
                  <a:lnTo>
                    <a:pt x="98" y="105"/>
                  </a:lnTo>
                  <a:lnTo>
                    <a:pt x="103" y="104"/>
                  </a:lnTo>
                  <a:lnTo>
                    <a:pt x="114" y="103"/>
                  </a:lnTo>
                  <a:lnTo>
                    <a:pt x="119" y="103"/>
                  </a:lnTo>
                  <a:lnTo>
                    <a:pt x="126" y="104"/>
                  </a:lnTo>
                  <a:lnTo>
                    <a:pt x="128" y="105"/>
                  </a:lnTo>
                  <a:lnTo>
                    <a:pt x="131" y="108"/>
                  </a:lnTo>
                  <a:lnTo>
                    <a:pt x="133" y="114"/>
                  </a:lnTo>
                  <a:lnTo>
                    <a:pt x="136" y="118"/>
                  </a:lnTo>
                  <a:lnTo>
                    <a:pt x="137" y="121"/>
                  </a:lnTo>
                  <a:lnTo>
                    <a:pt x="140" y="123"/>
                  </a:lnTo>
                  <a:lnTo>
                    <a:pt x="143" y="123"/>
                  </a:lnTo>
                  <a:lnTo>
                    <a:pt x="147" y="124"/>
                  </a:lnTo>
                  <a:lnTo>
                    <a:pt x="151" y="129"/>
                  </a:lnTo>
                  <a:lnTo>
                    <a:pt x="153" y="131"/>
                  </a:lnTo>
                  <a:lnTo>
                    <a:pt x="157" y="133"/>
                  </a:lnTo>
                  <a:lnTo>
                    <a:pt x="164" y="133"/>
                  </a:lnTo>
                  <a:lnTo>
                    <a:pt x="170" y="133"/>
                  </a:lnTo>
                  <a:lnTo>
                    <a:pt x="176" y="130"/>
                  </a:lnTo>
                  <a:lnTo>
                    <a:pt x="181" y="127"/>
                  </a:lnTo>
                  <a:lnTo>
                    <a:pt x="174" y="124"/>
                  </a:lnTo>
                  <a:lnTo>
                    <a:pt x="165" y="122"/>
                  </a:lnTo>
                  <a:lnTo>
                    <a:pt x="161" y="121"/>
                  </a:lnTo>
                  <a:lnTo>
                    <a:pt x="159" y="117"/>
                  </a:lnTo>
                  <a:lnTo>
                    <a:pt x="156" y="115"/>
                  </a:lnTo>
                  <a:lnTo>
                    <a:pt x="156" y="110"/>
                  </a:lnTo>
                  <a:lnTo>
                    <a:pt x="156" y="109"/>
                  </a:lnTo>
                  <a:lnTo>
                    <a:pt x="153" y="108"/>
                  </a:lnTo>
                  <a:lnTo>
                    <a:pt x="151" y="107"/>
                  </a:lnTo>
                  <a:lnTo>
                    <a:pt x="150" y="105"/>
                  </a:lnTo>
                  <a:lnTo>
                    <a:pt x="151" y="102"/>
                  </a:lnTo>
                  <a:lnTo>
                    <a:pt x="152" y="101"/>
                  </a:lnTo>
                  <a:lnTo>
                    <a:pt x="155" y="99"/>
                  </a:lnTo>
                  <a:lnTo>
                    <a:pt x="159" y="99"/>
                  </a:lnTo>
                  <a:lnTo>
                    <a:pt x="162" y="99"/>
                  </a:lnTo>
                  <a:lnTo>
                    <a:pt x="170" y="97"/>
                  </a:lnTo>
                  <a:lnTo>
                    <a:pt x="179" y="96"/>
                  </a:lnTo>
                  <a:lnTo>
                    <a:pt x="194" y="96"/>
                  </a:lnTo>
                  <a:lnTo>
                    <a:pt x="198" y="95"/>
                  </a:lnTo>
                  <a:lnTo>
                    <a:pt x="202" y="92"/>
                  </a:lnTo>
                  <a:lnTo>
                    <a:pt x="206" y="90"/>
                  </a:lnTo>
                  <a:lnTo>
                    <a:pt x="208" y="88"/>
                  </a:lnTo>
                  <a:lnTo>
                    <a:pt x="214" y="86"/>
                  </a:lnTo>
                  <a:lnTo>
                    <a:pt x="221" y="86"/>
                  </a:lnTo>
                  <a:lnTo>
                    <a:pt x="227" y="86"/>
                  </a:lnTo>
                  <a:lnTo>
                    <a:pt x="233" y="84"/>
                  </a:lnTo>
                  <a:lnTo>
                    <a:pt x="235" y="83"/>
                  </a:lnTo>
                  <a:lnTo>
                    <a:pt x="235" y="82"/>
                  </a:lnTo>
                  <a:lnTo>
                    <a:pt x="235" y="79"/>
                  </a:lnTo>
                  <a:lnTo>
                    <a:pt x="233" y="79"/>
                  </a:lnTo>
                  <a:lnTo>
                    <a:pt x="227" y="78"/>
                  </a:lnTo>
                  <a:lnTo>
                    <a:pt x="220" y="79"/>
                  </a:lnTo>
                  <a:lnTo>
                    <a:pt x="213" y="80"/>
                  </a:lnTo>
                  <a:lnTo>
                    <a:pt x="209" y="80"/>
                  </a:lnTo>
                  <a:lnTo>
                    <a:pt x="207" y="79"/>
                  </a:lnTo>
                  <a:lnTo>
                    <a:pt x="208" y="77"/>
                  </a:lnTo>
                  <a:lnTo>
                    <a:pt x="221" y="72"/>
                  </a:lnTo>
                  <a:lnTo>
                    <a:pt x="226" y="70"/>
                  </a:lnTo>
                  <a:lnTo>
                    <a:pt x="226" y="69"/>
                  </a:lnTo>
                  <a:lnTo>
                    <a:pt x="221" y="66"/>
                  </a:lnTo>
                  <a:lnTo>
                    <a:pt x="216" y="65"/>
                  </a:lnTo>
                  <a:lnTo>
                    <a:pt x="211" y="66"/>
                  </a:lnTo>
                  <a:lnTo>
                    <a:pt x="206" y="69"/>
                  </a:lnTo>
                  <a:lnTo>
                    <a:pt x="195" y="76"/>
                  </a:lnTo>
                  <a:lnTo>
                    <a:pt x="186" y="84"/>
                  </a:lnTo>
                  <a:lnTo>
                    <a:pt x="183" y="85"/>
                  </a:lnTo>
                  <a:lnTo>
                    <a:pt x="178" y="86"/>
                  </a:lnTo>
                  <a:lnTo>
                    <a:pt x="147" y="90"/>
                  </a:lnTo>
                  <a:lnTo>
                    <a:pt x="117" y="92"/>
                  </a:lnTo>
                  <a:lnTo>
                    <a:pt x="89" y="92"/>
                  </a:lnTo>
                  <a:lnTo>
                    <a:pt x="75" y="92"/>
                  </a:lnTo>
                  <a:lnTo>
                    <a:pt x="61" y="91"/>
                  </a:lnTo>
                  <a:lnTo>
                    <a:pt x="54" y="89"/>
                  </a:lnTo>
                  <a:lnTo>
                    <a:pt x="52" y="88"/>
                  </a:lnTo>
                  <a:lnTo>
                    <a:pt x="52" y="86"/>
                  </a:lnTo>
                  <a:lnTo>
                    <a:pt x="52" y="85"/>
                  </a:lnTo>
                  <a:lnTo>
                    <a:pt x="56" y="82"/>
                  </a:lnTo>
                  <a:lnTo>
                    <a:pt x="61" y="79"/>
                  </a:lnTo>
                  <a:lnTo>
                    <a:pt x="66" y="76"/>
                  </a:lnTo>
                  <a:lnTo>
                    <a:pt x="70" y="71"/>
                  </a:lnTo>
                  <a:lnTo>
                    <a:pt x="68" y="71"/>
                  </a:lnTo>
                  <a:lnTo>
                    <a:pt x="66" y="71"/>
                  </a:lnTo>
                  <a:lnTo>
                    <a:pt x="63" y="72"/>
                  </a:lnTo>
                  <a:lnTo>
                    <a:pt x="62" y="73"/>
                  </a:lnTo>
                  <a:lnTo>
                    <a:pt x="54" y="75"/>
                  </a:lnTo>
                  <a:lnTo>
                    <a:pt x="48" y="77"/>
                  </a:lnTo>
                  <a:lnTo>
                    <a:pt x="43" y="79"/>
                  </a:lnTo>
                  <a:lnTo>
                    <a:pt x="35" y="82"/>
                  </a:lnTo>
                  <a:lnTo>
                    <a:pt x="33" y="82"/>
                  </a:lnTo>
                  <a:lnTo>
                    <a:pt x="29" y="79"/>
                  </a:lnTo>
                  <a:lnTo>
                    <a:pt x="25" y="77"/>
                  </a:lnTo>
                  <a:lnTo>
                    <a:pt x="23" y="73"/>
                  </a:lnTo>
                  <a:lnTo>
                    <a:pt x="26" y="71"/>
                  </a:lnTo>
                  <a:lnTo>
                    <a:pt x="30" y="69"/>
                  </a:lnTo>
                  <a:lnTo>
                    <a:pt x="37" y="61"/>
                  </a:lnTo>
                  <a:lnTo>
                    <a:pt x="35" y="60"/>
                  </a:lnTo>
                  <a:lnTo>
                    <a:pt x="34" y="60"/>
                  </a:lnTo>
                  <a:lnTo>
                    <a:pt x="32" y="61"/>
                  </a:lnTo>
                  <a:lnTo>
                    <a:pt x="29" y="64"/>
                  </a:lnTo>
                  <a:lnTo>
                    <a:pt x="25" y="65"/>
                  </a:lnTo>
                  <a:lnTo>
                    <a:pt x="23" y="65"/>
                  </a:lnTo>
                  <a:lnTo>
                    <a:pt x="18" y="63"/>
                  </a:lnTo>
                  <a:lnTo>
                    <a:pt x="15" y="63"/>
                  </a:lnTo>
                  <a:lnTo>
                    <a:pt x="13" y="64"/>
                  </a:lnTo>
                  <a:lnTo>
                    <a:pt x="9" y="64"/>
                  </a:lnTo>
                  <a:lnTo>
                    <a:pt x="5" y="64"/>
                  </a:lnTo>
                  <a:lnTo>
                    <a:pt x="4" y="64"/>
                  </a:lnTo>
                  <a:lnTo>
                    <a:pt x="2" y="64"/>
                  </a:lnTo>
                  <a:lnTo>
                    <a:pt x="1" y="60"/>
                  </a:lnTo>
                  <a:lnTo>
                    <a:pt x="0" y="53"/>
                  </a:lnTo>
                  <a:lnTo>
                    <a:pt x="1" y="50"/>
                  </a:lnTo>
                  <a:lnTo>
                    <a:pt x="4" y="47"/>
                  </a:lnTo>
                  <a:lnTo>
                    <a:pt x="7" y="46"/>
                  </a:lnTo>
                  <a:lnTo>
                    <a:pt x="11" y="45"/>
                  </a:lnTo>
                  <a:lnTo>
                    <a:pt x="15" y="46"/>
                  </a:lnTo>
                  <a:lnTo>
                    <a:pt x="18" y="45"/>
                  </a:lnTo>
                  <a:lnTo>
                    <a:pt x="33" y="43"/>
                  </a:lnTo>
                  <a:lnTo>
                    <a:pt x="47" y="43"/>
                  </a:lnTo>
                  <a:lnTo>
                    <a:pt x="52" y="43"/>
                  </a:lnTo>
                  <a:lnTo>
                    <a:pt x="56" y="41"/>
                  </a:lnTo>
                  <a:lnTo>
                    <a:pt x="65" y="40"/>
                  </a:lnTo>
                  <a:lnTo>
                    <a:pt x="72" y="39"/>
                  </a:lnTo>
                  <a:lnTo>
                    <a:pt x="81" y="37"/>
                  </a:lnTo>
                  <a:lnTo>
                    <a:pt x="89" y="37"/>
                  </a:lnTo>
                  <a:lnTo>
                    <a:pt x="100" y="38"/>
                  </a:lnTo>
                  <a:lnTo>
                    <a:pt x="110" y="38"/>
                  </a:lnTo>
                  <a:lnTo>
                    <a:pt x="122" y="37"/>
                  </a:lnTo>
                  <a:lnTo>
                    <a:pt x="131" y="34"/>
                  </a:lnTo>
                  <a:lnTo>
                    <a:pt x="136" y="31"/>
                  </a:lnTo>
                  <a:lnTo>
                    <a:pt x="141" y="26"/>
                  </a:lnTo>
                  <a:lnTo>
                    <a:pt x="146" y="25"/>
                  </a:lnTo>
                  <a:lnTo>
                    <a:pt x="151" y="24"/>
                  </a:lnTo>
                  <a:lnTo>
                    <a:pt x="161" y="21"/>
                  </a:lnTo>
                  <a:lnTo>
                    <a:pt x="167" y="20"/>
                  </a:lnTo>
                  <a:lnTo>
                    <a:pt x="173" y="20"/>
                  </a:lnTo>
                  <a:lnTo>
                    <a:pt x="179" y="19"/>
                  </a:lnTo>
                  <a:lnTo>
                    <a:pt x="185" y="18"/>
                  </a:lnTo>
                  <a:lnTo>
                    <a:pt x="194" y="16"/>
                  </a:lnTo>
                  <a:lnTo>
                    <a:pt x="204" y="16"/>
                  </a:lnTo>
                  <a:lnTo>
                    <a:pt x="213" y="16"/>
                  </a:lnTo>
                  <a:lnTo>
                    <a:pt x="223" y="16"/>
                  </a:lnTo>
                  <a:lnTo>
                    <a:pt x="237" y="15"/>
                  </a:lnTo>
                  <a:lnTo>
                    <a:pt x="251" y="13"/>
                  </a:lnTo>
                  <a:lnTo>
                    <a:pt x="265" y="12"/>
                  </a:lnTo>
                  <a:lnTo>
                    <a:pt x="279" y="12"/>
                  </a:lnTo>
                  <a:lnTo>
                    <a:pt x="289" y="12"/>
                  </a:lnTo>
                  <a:lnTo>
                    <a:pt x="294" y="12"/>
                  </a:lnTo>
                  <a:lnTo>
                    <a:pt x="300" y="10"/>
                  </a:lnTo>
                  <a:lnTo>
                    <a:pt x="306" y="8"/>
                  </a:lnTo>
                  <a:lnTo>
                    <a:pt x="312" y="7"/>
                  </a:lnTo>
                  <a:lnTo>
                    <a:pt x="326" y="3"/>
                  </a:lnTo>
                  <a:lnTo>
                    <a:pt x="327" y="3"/>
                  </a:lnTo>
                  <a:lnTo>
                    <a:pt x="329" y="3"/>
                  </a:lnTo>
                  <a:lnTo>
                    <a:pt x="334" y="9"/>
                  </a:lnTo>
                  <a:lnTo>
                    <a:pt x="336" y="10"/>
                  </a:lnTo>
                  <a:lnTo>
                    <a:pt x="338" y="10"/>
                  </a:lnTo>
                  <a:lnTo>
                    <a:pt x="339" y="9"/>
                  </a:lnTo>
                  <a:lnTo>
                    <a:pt x="348" y="3"/>
                  </a:lnTo>
                  <a:lnTo>
                    <a:pt x="352" y="1"/>
                  </a:lnTo>
                  <a:lnTo>
                    <a:pt x="354" y="0"/>
                  </a:lnTo>
                  <a:lnTo>
                    <a:pt x="372" y="3"/>
                  </a:lnTo>
                  <a:lnTo>
                    <a:pt x="387" y="7"/>
                  </a:lnTo>
                  <a:lnTo>
                    <a:pt x="404" y="8"/>
                  </a:lnTo>
                  <a:lnTo>
                    <a:pt x="423" y="8"/>
                  </a:lnTo>
                  <a:lnTo>
                    <a:pt x="423" y="10"/>
                  </a:lnTo>
                  <a:lnTo>
                    <a:pt x="421" y="10"/>
                  </a:lnTo>
                  <a:lnTo>
                    <a:pt x="418" y="12"/>
                  </a:lnTo>
                  <a:lnTo>
                    <a:pt x="413" y="13"/>
                  </a:lnTo>
                  <a:lnTo>
                    <a:pt x="411" y="14"/>
                  </a:lnTo>
                  <a:lnTo>
                    <a:pt x="410" y="15"/>
                  </a:lnTo>
                  <a:lnTo>
                    <a:pt x="418" y="16"/>
                  </a:lnTo>
                  <a:lnTo>
                    <a:pt x="424" y="15"/>
                  </a:lnTo>
                  <a:lnTo>
                    <a:pt x="439" y="13"/>
                  </a:lnTo>
                  <a:lnTo>
                    <a:pt x="446" y="10"/>
                  </a:lnTo>
                  <a:lnTo>
                    <a:pt x="449" y="10"/>
                  </a:lnTo>
                  <a:lnTo>
                    <a:pt x="452" y="12"/>
                  </a:lnTo>
                  <a:lnTo>
                    <a:pt x="454" y="14"/>
                  </a:lnTo>
                  <a:lnTo>
                    <a:pt x="458" y="16"/>
                  </a:lnTo>
                  <a:lnTo>
                    <a:pt x="462" y="16"/>
                  </a:lnTo>
                  <a:lnTo>
                    <a:pt x="465" y="15"/>
                  </a:lnTo>
                  <a:lnTo>
                    <a:pt x="473" y="14"/>
                  </a:lnTo>
                  <a:lnTo>
                    <a:pt x="477" y="15"/>
                  </a:lnTo>
                  <a:lnTo>
                    <a:pt x="482" y="19"/>
                  </a:lnTo>
                  <a:lnTo>
                    <a:pt x="484" y="19"/>
                  </a:lnTo>
                  <a:lnTo>
                    <a:pt x="485" y="19"/>
                  </a:lnTo>
                  <a:lnTo>
                    <a:pt x="486" y="22"/>
                  </a:lnTo>
                  <a:lnTo>
                    <a:pt x="489" y="25"/>
                  </a:lnTo>
                  <a:lnTo>
                    <a:pt x="493" y="28"/>
                  </a:lnTo>
                  <a:lnTo>
                    <a:pt x="499" y="29"/>
                  </a:lnTo>
                  <a:lnTo>
                    <a:pt x="505" y="31"/>
                  </a:lnTo>
                  <a:lnTo>
                    <a:pt x="505" y="32"/>
                  </a:lnTo>
                  <a:lnTo>
                    <a:pt x="505" y="33"/>
                  </a:lnTo>
                  <a:lnTo>
                    <a:pt x="500" y="35"/>
                  </a:lnTo>
                  <a:lnTo>
                    <a:pt x="496" y="38"/>
                  </a:lnTo>
                  <a:lnTo>
                    <a:pt x="489" y="44"/>
                  </a:lnTo>
                  <a:lnTo>
                    <a:pt x="482" y="46"/>
                  </a:lnTo>
                  <a:lnTo>
                    <a:pt x="476" y="47"/>
                  </a:lnTo>
                  <a:lnTo>
                    <a:pt x="470" y="50"/>
                  </a:lnTo>
                  <a:lnTo>
                    <a:pt x="465" y="52"/>
                  </a:lnTo>
                  <a:lnTo>
                    <a:pt x="461" y="52"/>
                  </a:lnTo>
                  <a:lnTo>
                    <a:pt x="457" y="51"/>
                  </a:lnTo>
                  <a:lnTo>
                    <a:pt x="451" y="48"/>
                  </a:lnTo>
                  <a:lnTo>
                    <a:pt x="446" y="47"/>
                  </a:lnTo>
                  <a:lnTo>
                    <a:pt x="442" y="48"/>
                  </a:lnTo>
                  <a:lnTo>
                    <a:pt x="437" y="50"/>
                  </a:lnTo>
                  <a:lnTo>
                    <a:pt x="432" y="52"/>
                  </a:lnTo>
                  <a:lnTo>
                    <a:pt x="426" y="53"/>
                  </a:lnTo>
                  <a:lnTo>
                    <a:pt x="421" y="54"/>
                  </a:lnTo>
                  <a:lnTo>
                    <a:pt x="410" y="53"/>
                  </a:lnTo>
                  <a:lnTo>
                    <a:pt x="399" y="53"/>
                  </a:lnTo>
                  <a:lnTo>
                    <a:pt x="393" y="54"/>
                  </a:lnTo>
                  <a:lnTo>
                    <a:pt x="388" y="57"/>
                  </a:lnTo>
                  <a:lnTo>
                    <a:pt x="392" y="58"/>
                  </a:lnTo>
                  <a:lnTo>
                    <a:pt x="396" y="59"/>
                  </a:lnTo>
                  <a:lnTo>
                    <a:pt x="404" y="60"/>
                  </a:lnTo>
                  <a:lnTo>
                    <a:pt x="413" y="60"/>
                  </a:lnTo>
                  <a:lnTo>
                    <a:pt x="420" y="61"/>
                  </a:lnTo>
                  <a:lnTo>
                    <a:pt x="419" y="63"/>
                  </a:lnTo>
                  <a:lnTo>
                    <a:pt x="396" y="63"/>
                  </a:lnTo>
                  <a:lnTo>
                    <a:pt x="385" y="65"/>
                  </a:lnTo>
                  <a:lnTo>
                    <a:pt x="380" y="66"/>
                  </a:lnTo>
                  <a:lnTo>
                    <a:pt x="374" y="70"/>
                  </a:lnTo>
                  <a:lnTo>
                    <a:pt x="376" y="72"/>
                  </a:lnTo>
                  <a:lnTo>
                    <a:pt x="377" y="73"/>
                  </a:lnTo>
                  <a:lnTo>
                    <a:pt x="380" y="73"/>
                  </a:lnTo>
                  <a:lnTo>
                    <a:pt x="391" y="75"/>
                  </a:lnTo>
                  <a:lnTo>
                    <a:pt x="410" y="73"/>
                  </a:lnTo>
                  <a:lnTo>
                    <a:pt x="428" y="70"/>
                  </a:lnTo>
                  <a:lnTo>
                    <a:pt x="438" y="67"/>
                  </a:lnTo>
                  <a:lnTo>
                    <a:pt x="448" y="64"/>
                  </a:lnTo>
                  <a:lnTo>
                    <a:pt x="454" y="63"/>
                  </a:lnTo>
                  <a:lnTo>
                    <a:pt x="461" y="63"/>
                  </a:lnTo>
                  <a:lnTo>
                    <a:pt x="462" y="61"/>
                  </a:lnTo>
                  <a:lnTo>
                    <a:pt x="465" y="61"/>
                  </a:lnTo>
                  <a:lnTo>
                    <a:pt x="466" y="60"/>
                  </a:lnTo>
                  <a:lnTo>
                    <a:pt x="468" y="61"/>
                  </a:lnTo>
                  <a:lnTo>
                    <a:pt x="470" y="64"/>
                  </a:lnTo>
                  <a:lnTo>
                    <a:pt x="470" y="66"/>
                  </a:lnTo>
                  <a:lnTo>
                    <a:pt x="468" y="67"/>
                  </a:lnTo>
                  <a:lnTo>
                    <a:pt x="465" y="6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4" name="Freeform 913"/>
            <p:cNvSpPr>
              <a:spLocks/>
            </p:cNvSpPr>
            <p:nvPr/>
          </p:nvSpPr>
          <p:spPr bwMode="auto">
            <a:xfrm>
              <a:off x="2389192" y="1571628"/>
              <a:ext cx="3175" cy="3175"/>
            </a:xfrm>
            <a:custGeom>
              <a:avLst/>
              <a:gdLst>
                <a:gd name="T0" fmla="*/ 2147483647 w 3"/>
                <a:gd name="T1" fmla="*/ 2147483647 h 2"/>
                <a:gd name="T2" fmla="*/ 2147483647 w 3"/>
                <a:gd name="T3" fmla="*/ 2147483647 h 2"/>
                <a:gd name="T4" fmla="*/ 2147483647 w 3"/>
                <a:gd name="T5" fmla="*/ 2147483647 h 2"/>
                <a:gd name="T6" fmla="*/ 0 w 3"/>
                <a:gd name="T7" fmla="*/ 2147483647 h 2"/>
                <a:gd name="T8" fmla="*/ 0 w 3"/>
                <a:gd name="T9" fmla="*/ 2147483647 h 2"/>
                <a:gd name="T10" fmla="*/ 2147483647 w 3"/>
                <a:gd name="T11" fmla="*/ 0 h 2"/>
                <a:gd name="T12" fmla="*/ 2147483647 w 3"/>
                <a:gd name="T13" fmla="*/ 2147483647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3" y="2"/>
                  </a:lnTo>
                  <a:lnTo>
                    <a:pt x="2" y="2"/>
                  </a:lnTo>
                  <a:lnTo>
                    <a:pt x="0" y="2"/>
                  </a:lnTo>
                  <a:lnTo>
                    <a:pt x="0" y="1"/>
                  </a:lnTo>
                  <a:lnTo>
                    <a:pt x="2" y="0"/>
                  </a:lnTo>
                  <a:lnTo>
                    <a:pt x="3" y="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5" name="Freeform 914"/>
            <p:cNvSpPr>
              <a:spLocks/>
            </p:cNvSpPr>
            <p:nvPr/>
          </p:nvSpPr>
          <p:spPr bwMode="auto">
            <a:xfrm>
              <a:off x="1958976" y="1347789"/>
              <a:ext cx="184150" cy="185737"/>
            </a:xfrm>
            <a:custGeom>
              <a:avLst/>
              <a:gdLst>
                <a:gd name="T0" fmla="*/ 2147483647 w 125"/>
                <a:gd name="T1" fmla="*/ 2147483647 h 117"/>
                <a:gd name="T2" fmla="*/ 2147483647 w 125"/>
                <a:gd name="T3" fmla="*/ 2147483647 h 117"/>
                <a:gd name="T4" fmla="*/ 2147483647 w 125"/>
                <a:gd name="T5" fmla="*/ 2147483647 h 117"/>
                <a:gd name="T6" fmla="*/ 2147483647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2147483647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0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w 125"/>
                <a:gd name="T67" fmla="*/ 2147483647 h 117"/>
                <a:gd name="T68" fmla="*/ 2147483647 w 125"/>
                <a:gd name="T69" fmla="*/ 2147483647 h 117"/>
                <a:gd name="T70" fmla="*/ 2147483647 w 125"/>
                <a:gd name="T71" fmla="*/ 2147483647 h 117"/>
                <a:gd name="T72" fmla="*/ 2147483647 w 125"/>
                <a:gd name="T73" fmla="*/ 2147483647 h 117"/>
                <a:gd name="T74" fmla="*/ 2147483647 w 125"/>
                <a:gd name="T75" fmla="*/ 2147483647 h 117"/>
                <a:gd name="T76" fmla="*/ 2147483647 w 125"/>
                <a:gd name="T77" fmla="*/ 2147483647 h 117"/>
                <a:gd name="T78" fmla="*/ 2147483647 w 125"/>
                <a:gd name="T79" fmla="*/ 2147483647 h 117"/>
                <a:gd name="T80" fmla="*/ 2147483647 w 125"/>
                <a:gd name="T81" fmla="*/ 2147483647 h 117"/>
                <a:gd name="T82" fmla="*/ 2147483647 w 125"/>
                <a:gd name="T83" fmla="*/ 2147483647 h 117"/>
                <a:gd name="T84" fmla="*/ 2147483647 w 125"/>
                <a:gd name="T85" fmla="*/ 2147483647 h 117"/>
                <a:gd name="T86" fmla="*/ 2147483647 w 125"/>
                <a:gd name="T87" fmla="*/ 2147483647 h 117"/>
                <a:gd name="T88" fmla="*/ 2147483647 w 125"/>
                <a:gd name="T89" fmla="*/ 2147483647 h 117"/>
                <a:gd name="T90" fmla="*/ 2147483647 w 125"/>
                <a:gd name="T91" fmla="*/ 2147483647 h 117"/>
                <a:gd name="T92" fmla="*/ 2147483647 w 125"/>
                <a:gd name="T93" fmla="*/ 2147483647 h 117"/>
                <a:gd name="T94" fmla="*/ 2147483647 w 125"/>
                <a:gd name="T95" fmla="*/ 2147483647 h 1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117"/>
                <a:gd name="T146" fmla="*/ 125 w 125"/>
                <a:gd name="T147" fmla="*/ 117 h 1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117">
                  <a:moveTo>
                    <a:pt x="57" y="114"/>
                  </a:moveTo>
                  <a:lnTo>
                    <a:pt x="61" y="115"/>
                  </a:lnTo>
                  <a:lnTo>
                    <a:pt x="66" y="115"/>
                  </a:lnTo>
                  <a:lnTo>
                    <a:pt x="69" y="114"/>
                  </a:lnTo>
                  <a:lnTo>
                    <a:pt x="73" y="111"/>
                  </a:lnTo>
                  <a:lnTo>
                    <a:pt x="76" y="107"/>
                  </a:lnTo>
                  <a:lnTo>
                    <a:pt x="80" y="98"/>
                  </a:lnTo>
                  <a:lnTo>
                    <a:pt x="81" y="97"/>
                  </a:lnTo>
                  <a:lnTo>
                    <a:pt x="84" y="101"/>
                  </a:lnTo>
                  <a:lnTo>
                    <a:pt x="85" y="104"/>
                  </a:lnTo>
                  <a:lnTo>
                    <a:pt x="88" y="108"/>
                  </a:lnTo>
                  <a:lnTo>
                    <a:pt x="90" y="108"/>
                  </a:lnTo>
                  <a:lnTo>
                    <a:pt x="92" y="107"/>
                  </a:lnTo>
                  <a:lnTo>
                    <a:pt x="94" y="104"/>
                  </a:lnTo>
                  <a:lnTo>
                    <a:pt x="99" y="103"/>
                  </a:lnTo>
                  <a:lnTo>
                    <a:pt x="102" y="103"/>
                  </a:lnTo>
                  <a:lnTo>
                    <a:pt x="103" y="101"/>
                  </a:lnTo>
                  <a:lnTo>
                    <a:pt x="107" y="96"/>
                  </a:lnTo>
                  <a:lnTo>
                    <a:pt x="111" y="91"/>
                  </a:lnTo>
                  <a:lnTo>
                    <a:pt x="117" y="88"/>
                  </a:lnTo>
                  <a:lnTo>
                    <a:pt x="123" y="85"/>
                  </a:lnTo>
                  <a:lnTo>
                    <a:pt x="125" y="85"/>
                  </a:lnTo>
                  <a:lnTo>
                    <a:pt x="125" y="84"/>
                  </a:lnTo>
                  <a:lnTo>
                    <a:pt x="123" y="80"/>
                  </a:lnTo>
                  <a:lnTo>
                    <a:pt x="120" y="75"/>
                  </a:lnTo>
                  <a:lnTo>
                    <a:pt x="116" y="69"/>
                  </a:lnTo>
                  <a:lnTo>
                    <a:pt x="112" y="63"/>
                  </a:lnTo>
                  <a:lnTo>
                    <a:pt x="111" y="60"/>
                  </a:lnTo>
                  <a:lnTo>
                    <a:pt x="108" y="61"/>
                  </a:lnTo>
                  <a:lnTo>
                    <a:pt x="104" y="63"/>
                  </a:lnTo>
                  <a:lnTo>
                    <a:pt x="102" y="63"/>
                  </a:lnTo>
                  <a:lnTo>
                    <a:pt x="99" y="61"/>
                  </a:lnTo>
                  <a:lnTo>
                    <a:pt x="98" y="60"/>
                  </a:lnTo>
                  <a:lnTo>
                    <a:pt x="98" y="59"/>
                  </a:lnTo>
                  <a:lnTo>
                    <a:pt x="102" y="57"/>
                  </a:lnTo>
                  <a:lnTo>
                    <a:pt x="103" y="53"/>
                  </a:lnTo>
                  <a:lnTo>
                    <a:pt x="103" y="50"/>
                  </a:lnTo>
                  <a:lnTo>
                    <a:pt x="102" y="46"/>
                  </a:lnTo>
                  <a:lnTo>
                    <a:pt x="98" y="39"/>
                  </a:lnTo>
                  <a:lnTo>
                    <a:pt x="93" y="32"/>
                  </a:lnTo>
                  <a:lnTo>
                    <a:pt x="92" y="32"/>
                  </a:lnTo>
                  <a:lnTo>
                    <a:pt x="89" y="33"/>
                  </a:lnTo>
                  <a:lnTo>
                    <a:pt x="86" y="35"/>
                  </a:lnTo>
                  <a:lnTo>
                    <a:pt x="84" y="37"/>
                  </a:lnTo>
                  <a:lnTo>
                    <a:pt x="83" y="35"/>
                  </a:lnTo>
                  <a:lnTo>
                    <a:pt x="81" y="34"/>
                  </a:lnTo>
                  <a:lnTo>
                    <a:pt x="81" y="29"/>
                  </a:lnTo>
                  <a:lnTo>
                    <a:pt x="75" y="31"/>
                  </a:lnTo>
                  <a:lnTo>
                    <a:pt x="70" y="31"/>
                  </a:lnTo>
                  <a:lnTo>
                    <a:pt x="65" y="28"/>
                  </a:lnTo>
                  <a:lnTo>
                    <a:pt x="60" y="24"/>
                  </a:lnTo>
                  <a:lnTo>
                    <a:pt x="52" y="14"/>
                  </a:lnTo>
                  <a:lnTo>
                    <a:pt x="45" y="3"/>
                  </a:lnTo>
                  <a:lnTo>
                    <a:pt x="43" y="2"/>
                  </a:lnTo>
                  <a:lnTo>
                    <a:pt x="42" y="3"/>
                  </a:lnTo>
                  <a:lnTo>
                    <a:pt x="40" y="3"/>
                  </a:lnTo>
                  <a:lnTo>
                    <a:pt x="36" y="2"/>
                  </a:lnTo>
                  <a:lnTo>
                    <a:pt x="32" y="0"/>
                  </a:lnTo>
                  <a:lnTo>
                    <a:pt x="31" y="0"/>
                  </a:lnTo>
                  <a:lnTo>
                    <a:pt x="28" y="0"/>
                  </a:lnTo>
                  <a:lnTo>
                    <a:pt x="28" y="1"/>
                  </a:lnTo>
                  <a:lnTo>
                    <a:pt x="27" y="1"/>
                  </a:lnTo>
                  <a:lnTo>
                    <a:pt x="29" y="7"/>
                  </a:lnTo>
                  <a:lnTo>
                    <a:pt x="29" y="9"/>
                  </a:lnTo>
                  <a:lnTo>
                    <a:pt x="28" y="11"/>
                  </a:lnTo>
                  <a:lnTo>
                    <a:pt x="23" y="13"/>
                  </a:lnTo>
                  <a:lnTo>
                    <a:pt x="18" y="16"/>
                  </a:lnTo>
                  <a:lnTo>
                    <a:pt x="15" y="21"/>
                  </a:lnTo>
                  <a:lnTo>
                    <a:pt x="15" y="26"/>
                  </a:lnTo>
                  <a:lnTo>
                    <a:pt x="17" y="27"/>
                  </a:lnTo>
                  <a:lnTo>
                    <a:pt x="19" y="28"/>
                  </a:lnTo>
                  <a:lnTo>
                    <a:pt x="23" y="28"/>
                  </a:lnTo>
                  <a:lnTo>
                    <a:pt x="24" y="29"/>
                  </a:lnTo>
                  <a:lnTo>
                    <a:pt x="26" y="32"/>
                  </a:lnTo>
                  <a:lnTo>
                    <a:pt x="27" y="34"/>
                  </a:lnTo>
                  <a:lnTo>
                    <a:pt x="26" y="35"/>
                  </a:lnTo>
                  <a:lnTo>
                    <a:pt x="23" y="37"/>
                  </a:lnTo>
                  <a:lnTo>
                    <a:pt x="20" y="37"/>
                  </a:lnTo>
                  <a:lnTo>
                    <a:pt x="15" y="37"/>
                  </a:lnTo>
                  <a:lnTo>
                    <a:pt x="13" y="37"/>
                  </a:lnTo>
                  <a:lnTo>
                    <a:pt x="10" y="35"/>
                  </a:lnTo>
                  <a:lnTo>
                    <a:pt x="6" y="35"/>
                  </a:lnTo>
                  <a:lnTo>
                    <a:pt x="4" y="35"/>
                  </a:lnTo>
                  <a:lnTo>
                    <a:pt x="3" y="37"/>
                  </a:lnTo>
                  <a:lnTo>
                    <a:pt x="3" y="38"/>
                  </a:lnTo>
                  <a:lnTo>
                    <a:pt x="4" y="41"/>
                  </a:lnTo>
                  <a:lnTo>
                    <a:pt x="6" y="43"/>
                  </a:lnTo>
                  <a:lnTo>
                    <a:pt x="9" y="43"/>
                  </a:lnTo>
                  <a:lnTo>
                    <a:pt x="13" y="43"/>
                  </a:lnTo>
                  <a:lnTo>
                    <a:pt x="15" y="41"/>
                  </a:lnTo>
                  <a:lnTo>
                    <a:pt x="17" y="43"/>
                  </a:lnTo>
                  <a:lnTo>
                    <a:pt x="18" y="43"/>
                  </a:lnTo>
                  <a:lnTo>
                    <a:pt x="18" y="46"/>
                  </a:lnTo>
                  <a:lnTo>
                    <a:pt x="18" y="48"/>
                  </a:lnTo>
                  <a:lnTo>
                    <a:pt x="15" y="51"/>
                  </a:lnTo>
                  <a:lnTo>
                    <a:pt x="13" y="52"/>
                  </a:lnTo>
                  <a:lnTo>
                    <a:pt x="9" y="53"/>
                  </a:lnTo>
                  <a:lnTo>
                    <a:pt x="4" y="53"/>
                  </a:lnTo>
                  <a:lnTo>
                    <a:pt x="3" y="52"/>
                  </a:lnTo>
                  <a:lnTo>
                    <a:pt x="1" y="51"/>
                  </a:lnTo>
                  <a:lnTo>
                    <a:pt x="0" y="52"/>
                  </a:lnTo>
                  <a:lnTo>
                    <a:pt x="0" y="54"/>
                  </a:lnTo>
                  <a:lnTo>
                    <a:pt x="4" y="63"/>
                  </a:lnTo>
                  <a:lnTo>
                    <a:pt x="6" y="67"/>
                  </a:lnTo>
                  <a:lnTo>
                    <a:pt x="5" y="72"/>
                  </a:lnTo>
                  <a:lnTo>
                    <a:pt x="8" y="72"/>
                  </a:lnTo>
                  <a:lnTo>
                    <a:pt x="9" y="72"/>
                  </a:lnTo>
                  <a:lnTo>
                    <a:pt x="15" y="70"/>
                  </a:lnTo>
                  <a:lnTo>
                    <a:pt x="18" y="69"/>
                  </a:lnTo>
                  <a:lnTo>
                    <a:pt x="20" y="69"/>
                  </a:lnTo>
                  <a:lnTo>
                    <a:pt x="23" y="70"/>
                  </a:lnTo>
                  <a:lnTo>
                    <a:pt x="24" y="72"/>
                  </a:lnTo>
                  <a:lnTo>
                    <a:pt x="26" y="73"/>
                  </a:lnTo>
                  <a:lnTo>
                    <a:pt x="28" y="75"/>
                  </a:lnTo>
                  <a:lnTo>
                    <a:pt x="40" y="75"/>
                  </a:lnTo>
                  <a:lnTo>
                    <a:pt x="42" y="75"/>
                  </a:lnTo>
                  <a:lnTo>
                    <a:pt x="45" y="76"/>
                  </a:lnTo>
                  <a:lnTo>
                    <a:pt x="45" y="78"/>
                  </a:lnTo>
                  <a:lnTo>
                    <a:pt x="45" y="80"/>
                  </a:lnTo>
                  <a:lnTo>
                    <a:pt x="42" y="83"/>
                  </a:lnTo>
                  <a:lnTo>
                    <a:pt x="40" y="84"/>
                  </a:lnTo>
                  <a:lnTo>
                    <a:pt x="33" y="84"/>
                  </a:lnTo>
                  <a:lnTo>
                    <a:pt x="26" y="84"/>
                  </a:lnTo>
                  <a:lnTo>
                    <a:pt x="18" y="86"/>
                  </a:lnTo>
                  <a:lnTo>
                    <a:pt x="17" y="86"/>
                  </a:lnTo>
                  <a:lnTo>
                    <a:pt x="17" y="89"/>
                  </a:lnTo>
                  <a:lnTo>
                    <a:pt x="20" y="94"/>
                  </a:lnTo>
                  <a:lnTo>
                    <a:pt x="22" y="98"/>
                  </a:lnTo>
                  <a:lnTo>
                    <a:pt x="24" y="101"/>
                  </a:lnTo>
                  <a:lnTo>
                    <a:pt x="28" y="101"/>
                  </a:lnTo>
                  <a:lnTo>
                    <a:pt x="28" y="102"/>
                  </a:lnTo>
                  <a:lnTo>
                    <a:pt x="34" y="102"/>
                  </a:lnTo>
                  <a:lnTo>
                    <a:pt x="36" y="103"/>
                  </a:lnTo>
                  <a:lnTo>
                    <a:pt x="33" y="105"/>
                  </a:lnTo>
                  <a:lnTo>
                    <a:pt x="32" y="108"/>
                  </a:lnTo>
                  <a:lnTo>
                    <a:pt x="33" y="111"/>
                  </a:lnTo>
                  <a:lnTo>
                    <a:pt x="37" y="116"/>
                  </a:lnTo>
                  <a:lnTo>
                    <a:pt x="41" y="117"/>
                  </a:lnTo>
                  <a:lnTo>
                    <a:pt x="43" y="117"/>
                  </a:lnTo>
                  <a:lnTo>
                    <a:pt x="46" y="117"/>
                  </a:lnTo>
                  <a:lnTo>
                    <a:pt x="46" y="116"/>
                  </a:lnTo>
                  <a:lnTo>
                    <a:pt x="48" y="115"/>
                  </a:lnTo>
                  <a:lnTo>
                    <a:pt x="51" y="115"/>
                  </a:lnTo>
                  <a:lnTo>
                    <a:pt x="55" y="115"/>
                  </a:lnTo>
                  <a:lnTo>
                    <a:pt x="57" y="1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6" name="Freeform 915"/>
            <p:cNvSpPr>
              <a:spLocks/>
            </p:cNvSpPr>
            <p:nvPr/>
          </p:nvSpPr>
          <p:spPr bwMode="auto">
            <a:xfrm>
              <a:off x="2387603" y="1570041"/>
              <a:ext cx="3175" cy="3175"/>
            </a:xfrm>
            <a:custGeom>
              <a:avLst/>
              <a:gdLst>
                <a:gd name="T0" fmla="*/ 2147483647 w 3"/>
                <a:gd name="T1" fmla="*/ 2147483647 h 2"/>
                <a:gd name="T2" fmla="*/ 2147483647 w 3"/>
                <a:gd name="T3" fmla="*/ 2147483647 h 2"/>
                <a:gd name="T4" fmla="*/ 2147483647 w 3"/>
                <a:gd name="T5" fmla="*/ 2147483647 h 2"/>
                <a:gd name="T6" fmla="*/ 2147483647 w 3"/>
                <a:gd name="T7" fmla="*/ 2147483647 h 2"/>
                <a:gd name="T8" fmla="*/ 2147483647 w 3"/>
                <a:gd name="T9" fmla="*/ 2147483647 h 2"/>
                <a:gd name="T10" fmla="*/ 0 w 3"/>
                <a:gd name="T11" fmla="*/ 2147483647 h 2"/>
                <a:gd name="T12" fmla="*/ 0 w 3"/>
                <a:gd name="T13" fmla="*/ 2147483647 h 2"/>
                <a:gd name="T14" fmla="*/ 0 w 3"/>
                <a:gd name="T15" fmla="*/ 2147483647 h 2"/>
                <a:gd name="T16" fmla="*/ 2147483647 w 3"/>
                <a:gd name="T17" fmla="*/ 0 h 2"/>
                <a:gd name="T18" fmla="*/ 2147483647 w 3"/>
                <a:gd name="T19" fmla="*/ 2147483647 h 2"/>
                <a:gd name="T20" fmla="*/ 2147483647 w 3"/>
                <a:gd name="T21" fmla="*/ 2147483647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2"/>
                <a:gd name="T35" fmla="*/ 3 w 3"/>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2">
                  <a:moveTo>
                    <a:pt x="3" y="1"/>
                  </a:moveTo>
                  <a:lnTo>
                    <a:pt x="3" y="1"/>
                  </a:lnTo>
                  <a:lnTo>
                    <a:pt x="3" y="2"/>
                  </a:lnTo>
                  <a:lnTo>
                    <a:pt x="1" y="2"/>
                  </a:lnTo>
                  <a:lnTo>
                    <a:pt x="0" y="2"/>
                  </a:lnTo>
                  <a:lnTo>
                    <a:pt x="0" y="1"/>
                  </a:lnTo>
                  <a:lnTo>
                    <a:pt x="1" y="0"/>
                  </a:lnTo>
                  <a:lnTo>
                    <a:pt x="3"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7" name="Freeform 916"/>
            <p:cNvSpPr>
              <a:spLocks/>
            </p:cNvSpPr>
            <p:nvPr/>
          </p:nvSpPr>
          <p:spPr bwMode="auto">
            <a:xfrm>
              <a:off x="1957389" y="1346203"/>
              <a:ext cx="182562" cy="185738"/>
            </a:xfrm>
            <a:custGeom>
              <a:avLst/>
              <a:gdLst>
                <a:gd name="T0" fmla="*/ 2147483647 w 124"/>
                <a:gd name="T1" fmla="*/ 2147483647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0 h 117"/>
                <a:gd name="T38" fmla="*/ 2147483647 w 124"/>
                <a:gd name="T39" fmla="*/ 2147483647 h 117"/>
                <a:gd name="T40" fmla="*/ 2147483647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0 w 124"/>
                <a:gd name="T65" fmla="*/ 2147483647 h 117"/>
                <a:gd name="T66" fmla="*/ 2147483647 w 124"/>
                <a:gd name="T67" fmla="*/ 2147483647 h 117"/>
                <a:gd name="T68" fmla="*/ 2147483647 w 124"/>
                <a:gd name="T69" fmla="*/ 2147483647 h 117"/>
                <a:gd name="T70" fmla="*/ 2147483647 w 124"/>
                <a:gd name="T71" fmla="*/ 2147483647 h 117"/>
                <a:gd name="T72" fmla="*/ 2147483647 w 124"/>
                <a:gd name="T73" fmla="*/ 2147483647 h 117"/>
                <a:gd name="T74" fmla="*/ 2147483647 w 124"/>
                <a:gd name="T75" fmla="*/ 2147483647 h 117"/>
                <a:gd name="T76" fmla="*/ 2147483647 w 124"/>
                <a:gd name="T77" fmla="*/ 2147483647 h 117"/>
                <a:gd name="T78" fmla="*/ 2147483647 w 124"/>
                <a:gd name="T79" fmla="*/ 2147483647 h 117"/>
                <a:gd name="T80" fmla="*/ 2147483647 w 124"/>
                <a:gd name="T81" fmla="*/ 2147483647 h 117"/>
                <a:gd name="T82" fmla="*/ 2147483647 w 124"/>
                <a:gd name="T83" fmla="*/ 2147483647 h 117"/>
                <a:gd name="T84" fmla="*/ 2147483647 w 124"/>
                <a:gd name="T85" fmla="*/ 2147483647 h 117"/>
                <a:gd name="T86" fmla="*/ 2147483647 w 124"/>
                <a:gd name="T87" fmla="*/ 2147483647 h 117"/>
                <a:gd name="T88" fmla="*/ 2147483647 w 124"/>
                <a:gd name="T89" fmla="*/ 2147483647 h 117"/>
                <a:gd name="T90" fmla="*/ 2147483647 w 124"/>
                <a:gd name="T91" fmla="*/ 2147483647 h 117"/>
                <a:gd name="T92" fmla="*/ 2147483647 w 124"/>
                <a:gd name="T93" fmla="*/ 2147483647 h 117"/>
                <a:gd name="T94" fmla="*/ 2147483647 w 124"/>
                <a:gd name="T95" fmla="*/ 2147483647 h 1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4"/>
                <a:gd name="T145" fmla="*/ 0 h 117"/>
                <a:gd name="T146" fmla="*/ 124 w 124"/>
                <a:gd name="T147" fmla="*/ 117 h 1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4" h="117">
                  <a:moveTo>
                    <a:pt x="57" y="113"/>
                  </a:moveTo>
                  <a:lnTo>
                    <a:pt x="57" y="113"/>
                  </a:lnTo>
                  <a:lnTo>
                    <a:pt x="61" y="115"/>
                  </a:lnTo>
                  <a:lnTo>
                    <a:pt x="66" y="115"/>
                  </a:lnTo>
                  <a:lnTo>
                    <a:pt x="68" y="113"/>
                  </a:lnTo>
                  <a:lnTo>
                    <a:pt x="72" y="111"/>
                  </a:lnTo>
                  <a:lnTo>
                    <a:pt x="76" y="106"/>
                  </a:lnTo>
                  <a:lnTo>
                    <a:pt x="80" y="98"/>
                  </a:lnTo>
                  <a:lnTo>
                    <a:pt x="81" y="97"/>
                  </a:lnTo>
                  <a:lnTo>
                    <a:pt x="84" y="100"/>
                  </a:lnTo>
                  <a:lnTo>
                    <a:pt x="85" y="104"/>
                  </a:lnTo>
                  <a:lnTo>
                    <a:pt x="87" y="108"/>
                  </a:lnTo>
                  <a:lnTo>
                    <a:pt x="90" y="108"/>
                  </a:lnTo>
                  <a:lnTo>
                    <a:pt x="91" y="106"/>
                  </a:lnTo>
                  <a:lnTo>
                    <a:pt x="94" y="104"/>
                  </a:lnTo>
                  <a:lnTo>
                    <a:pt x="99" y="103"/>
                  </a:lnTo>
                  <a:lnTo>
                    <a:pt x="101" y="103"/>
                  </a:lnTo>
                  <a:lnTo>
                    <a:pt x="103" y="100"/>
                  </a:lnTo>
                  <a:lnTo>
                    <a:pt x="107" y="96"/>
                  </a:lnTo>
                  <a:lnTo>
                    <a:pt x="110" y="91"/>
                  </a:lnTo>
                  <a:lnTo>
                    <a:pt x="117" y="87"/>
                  </a:lnTo>
                  <a:lnTo>
                    <a:pt x="123" y="85"/>
                  </a:lnTo>
                  <a:lnTo>
                    <a:pt x="124" y="85"/>
                  </a:lnTo>
                  <a:lnTo>
                    <a:pt x="124" y="84"/>
                  </a:lnTo>
                  <a:lnTo>
                    <a:pt x="123" y="80"/>
                  </a:lnTo>
                  <a:lnTo>
                    <a:pt x="119" y="74"/>
                  </a:lnTo>
                  <a:lnTo>
                    <a:pt x="115" y="68"/>
                  </a:lnTo>
                  <a:lnTo>
                    <a:pt x="112" y="62"/>
                  </a:lnTo>
                  <a:lnTo>
                    <a:pt x="110" y="60"/>
                  </a:lnTo>
                  <a:lnTo>
                    <a:pt x="108" y="61"/>
                  </a:lnTo>
                  <a:lnTo>
                    <a:pt x="104" y="62"/>
                  </a:lnTo>
                  <a:lnTo>
                    <a:pt x="101" y="62"/>
                  </a:lnTo>
                  <a:lnTo>
                    <a:pt x="99" y="61"/>
                  </a:lnTo>
                  <a:lnTo>
                    <a:pt x="98" y="60"/>
                  </a:lnTo>
                  <a:lnTo>
                    <a:pt x="98" y="59"/>
                  </a:lnTo>
                  <a:lnTo>
                    <a:pt x="101" y="57"/>
                  </a:lnTo>
                  <a:lnTo>
                    <a:pt x="103" y="53"/>
                  </a:lnTo>
                  <a:lnTo>
                    <a:pt x="103" y="49"/>
                  </a:lnTo>
                  <a:lnTo>
                    <a:pt x="101" y="46"/>
                  </a:lnTo>
                  <a:lnTo>
                    <a:pt x="98" y="39"/>
                  </a:lnTo>
                  <a:lnTo>
                    <a:pt x="93" y="32"/>
                  </a:lnTo>
                  <a:lnTo>
                    <a:pt x="91" y="32"/>
                  </a:lnTo>
                  <a:lnTo>
                    <a:pt x="89" y="33"/>
                  </a:lnTo>
                  <a:lnTo>
                    <a:pt x="86" y="35"/>
                  </a:lnTo>
                  <a:lnTo>
                    <a:pt x="84" y="36"/>
                  </a:lnTo>
                  <a:lnTo>
                    <a:pt x="82" y="35"/>
                  </a:lnTo>
                  <a:lnTo>
                    <a:pt x="81" y="34"/>
                  </a:lnTo>
                  <a:lnTo>
                    <a:pt x="81" y="29"/>
                  </a:lnTo>
                  <a:lnTo>
                    <a:pt x="75" y="30"/>
                  </a:lnTo>
                  <a:lnTo>
                    <a:pt x="70" y="30"/>
                  </a:lnTo>
                  <a:lnTo>
                    <a:pt x="65" y="28"/>
                  </a:lnTo>
                  <a:lnTo>
                    <a:pt x="60" y="23"/>
                  </a:lnTo>
                  <a:lnTo>
                    <a:pt x="52" y="14"/>
                  </a:lnTo>
                  <a:lnTo>
                    <a:pt x="44" y="3"/>
                  </a:lnTo>
                  <a:lnTo>
                    <a:pt x="43" y="2"/>
                  </a:lnTo>
                  <a:lnTo>
                    <a:pt x="42" y="3"/>
                  </a:lnTo>
                  <a:lnTo>
                    <a:pt x="39" y="3"/>
                  </a:lnTo>
                  <a:lnTo>
                    <a:pt x="35" y="2"/>
                  </a:lnTo>
                  <a:lnTo>
                    <a:pt x="32" y="0"/>
                  </a:lnTo>
                  <a:lnTo>
                    <a:pt x="30" y="0"/>
                  </a:lnTo>
                  <a:lnTo>
                    <a:pt x="28" y="0"/>
                  </a:lnTo>
                  <a:lnTo>
                    <a:pt x="28" y="1"/>
                  </a:lnTo>
                  <a:lnTo>
                    <a:pt x="27" y="1"/>
                  </a:lnTo>
                  <a:lnTo>
                    <a:pt x="29" y="7"/>
                  </a:lnTo>
                  <a:lnTo>
                    <a:pt x="29" y="9"/>
                  </a:lnTo>
                  <a:lnTo>
                    <a:pt x="28" y="10"/>
                  </a:lnTo>
                  <a:lnTo>
                    <a:pt x="23" y="13"/>
                  </a:lnTo>
                  <a:lnTo>
                    <a:pt x="18" y="16"/>
                  </a:lnTo>
                  <a:lnTo>
                    <a:pt x="15" y="21"/>
                  </a:lnTo>
                  <a:lnTo>
                    <a:pt x="15" y="26"/>
                  </a:lnTo>
                  <a:lnTo>
                    <a:pt x="16" y="27"/>
                  </a:lnTo>
                  <a:lnTo>
                    <a:pt x="19" y="28"/>
                  </a:lnTo>
                  <a:lnTo>
                    <a:pt x="23" y="28"/>
                  </a:lnTo>
                  <a:lnTo>
                    <a:pt x="24" y="29"/>
                  </a:lnTo>
                  <a:lnTo>
                    <a:pt x="25" y="32"/>
                  </a:lnTo>
                  <a:lnTo>
                    <a:pt x="27" y="34"/>
                  </a:lnTo>
                  <a:lnTo>
                    <a:pt x="25" y="35"/>
                  </a:lnTo>
                  <a:lnTo>
                    <a:pt x="23" y="36"/>
                  </a:lnTo>
                  <a:lnTo>
                    <a:pt x="20" y="36"/>
                  </a:lnTo>
                  <a:lnTo>
                    <a:pt x="15" y="36"/>
                  </a:lnTo>
                  <a:lnTo>
                    <a:pt x="13" y="36"/>
                  </a:lnTo>
                  <a:lnTo>
                    <a:pt x="10" y="35"/>
                  </a:lnTo>
                  <a:lnTo>
                    <a:pt x="6" y="35"/>
                  </a:lnTo>
                  <a:lnTo>
                    <a:pt x="4" y="35"/>
                  </a:lnTo>
                  <a:lnTo>
                    <a:pt x="2" y="36"/>
                  </a:lnTo>
                  <a:lnTo>
                    <a:pt x="2" y="38"/>
                  </a:lnTo>
                  <a:lnTo>
                    <a:pt x="4" y="41"/>
                  </a:lnTo>
                  <a:lnTo>
                    <a:pt x="6" y="42"/>
                  </a:lnTo>
                  <a:lnTo>
                    <a:pt x="9" y="42"/>
                  </a:lnTo>
                  <a:lnTo>
                    <a:pt x="13" y="42"/>
                  </a:lnTo>
                  <a:lnTo>
                    <a:pt x="15" y="41"/>
                  </a:lnTo>
                  <a:lnTo>
                    <a:pt x="16" y="42"/>
                  </a:lnTo>
                  <a:lnTo>
                    <a:pt x="18" y="42"/>
                  </a:lnTo>
                  <a:lnTo>
                    <a:pt x="18" y="46"/>
                  </a:lnTo>
                  <a:lnTo>
                    <a:pt x="18" y="48"/>
                  </a:lnTo>
                  <a:lnTo>
                    <a:pt x="15" y="51"/>
                  </a:lnTo>
                  <a:lnTo>
                    <a:pt x="13" y="52"/>
                  </a:lnTo>
                  <a:lnTo>
                    <a:pt x="9" y="53"/>
                  </a:lnTo>
                  <a:lnTo>
                    <a:pt x="4" y="53"/>
                  </a:lnTo>
                  <a:lnTo>
                    <a:pt x="2" y="52"/>
                  </a:lnTo>
                  <a:lnTo>
                    <a:pt x="1" y="51"/>
                  </a:lnTo>
                  <a:lnTo>
                    <a:pt x="0" y="52"/>
                  </a:lnTo>
                  <a:lnTo>
                    <a:pt x="0" y="54"/>
                  </a:lnTo>
                  <a:lnTo>
                    <a:pt x="4" y="62"/>
                  </a:lnTo>
                  <a:lnTo>
                    <a:pt x="6" y="67"/>
                  </a:lnTo>
                  <a:lnTo>
                    <a:pt x="5" y="72"/>
                  </a:lnTo>
                  <a:lnTo>
                    <a:pt x="7" y="72"/>
                  </a:lnTo>
                  <a:lnTo>
                    <a:pt x="9" y="72"/>
                  </a:lnTo>
                  <a:lnTo>
                    <a:pt x="15" y="70"/>
                  </a:lnTo>
                  <a:lnTo>
                    <a:pt x="18" y="68"/>
                  </a:lnTo>
                  <a:lnTo>
                    <a:pt x="20" y="68"/>
                  </a:lnTo>
                  <a:lnTo>
                    <a:pt x="23" y="70"/>
                  </a:lnTo>
                  <a:lnTo>
                    <a:pt x="24" y="72"/>
                  </a:lnTo>
                  <a:lnTo>
                    <a:pt x="25" y="73"/>
                  </a:lnTo>
                  <a:lnTo>
                    <a:pt x="28" y="74"/>
                  </a:lnTo>
                  <a:lnTo>
                    <a:pt x="39" y="74"/>
                  </a:lnTo>
                  <a:lnTo>
                    <a:pt x="42" y="74"/>
                  </a:lnTo>
                  <a:lnTo>
                    <a:pt x="44" y="76"/>
                  </a:lnTo>
                  <a:lnTo>
                    <a:pt x="44" y="78"/>
                  </a:lnTo>
                  <a:lnTo>
                    <a:pt x="44" y="80"/>
                  </a:lnTo>
                  <a:lnTo>
                    <a:pt x="42" y="83"/>
                  </a:lnTo>
                  <a:lnTo>
                    <a:pt x="39" y="84"/>
                  </a:lnTo>
                  <a:lnTo>
                    <a:pt x="33" y="84"/>
                  </a:lnTo>
                  <a:lnTo>
                    <a:pt x="25" y="84"/>
                  </a:lnTo>
                  <a:lnTo>
                    <a:pt x="18" y="86"/>
                  </a:lnTo>
                  <a:lnTo>
                    <a:pt x="16" y="86"/>
                  </a:lnTo>
                  <a:lnTo>
                    <a:pt x="16" y="89"/>
                  </a:lnTo>
                  <a:lnTo>
                    <a:pt x="20" y="93"/>
                  </a:lnTo>
                  <a:lnTo>
                    <a:pt x="21" y="98"/>
                  </a:lnTo>
                  <a:lnTo>
                    <a:pt x="24" y="100"/>
                  </a:lnTo>
                  <a:lnTo>
                    <a:pt x="28" y="100"/>
                  </a:lnTo>
                  <a:lnTo>
                    <a:pt x="28" y="102"/>
                  </a:lnTo>
                  <a:lnTo>
                    <a:pt x="34" y="102"/>
                  </a:lnTo>
                  <a:lnTo>
                    <a:pt x="35" y="103"/>
                  </a:lnTo>
                  <a:lnTo>
                    <a:pt x="33" y="105"/>
                  </a:lnTo>
                  <a:lnTo>
                    <a:pt x="32" y="108"/>
                  </a:lnTo>
                  <a:lnTo>
                    <a:pt x="33" y="111"/>
                  </a:lnTo>
                  <a:lnTo>
                    <a:pt x="37" y="116"/>
                  </a:lnTo>
                  <a:lnTo>
                    <a:pt x="41" y="117"/>
                  </a:lnTo>
                  <a:lnTo>
                    <a:pt x="43" y="117"/>
                  </a:lnTo>
                  <a:lnTo>
                    <a:pt x="46" y="117"/>
                  </a:lnTo>
                  <a:lnTo>
                    <a:pt x="46" y="116"/>
                  </a:lnTo>
                  <a:lnTo>
                    <a:pt x="48" y="115"/>
                  </a:lnTo>
                  <a:lnTo>
                    <a:pt x="51" y="115"/>
                  </a:lnTo>
                  <a:lnTo>
                    <a:pt x="54" y="115"/>
                  </a:lnTo>
                  <a:lnTo>
                    <a:pt x="57" y="1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8" name="Freeform 917"/>
            <p:cNvSpPr>
              <a:spLocks/>
            </p:cNvSpPr>
            <p:nvPr/>
          </p:nvSpPr>
          <p:spPr bwMode="auto">
            <a:xfrm>
              <a:off x="2049463" y="1554167"/>
              <a:ext cx="34925" cy="22225"/>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0 h 14"/>
                <a:gd name="T16" fmla="*/ 2147483647 w 23"/>
                <a:gd name="T17" fmla="*/ 0 h 14"/>
                <a:gd name="T18" fmla="*/ 2147483647 w 23"/>
                <a:gd name="T19" fmla="*/ 2147483647 h 14"/>
                <a:gd name="T20" fmla="*/ 2147483647 w 23"/>
                <a:gd name="T21" fmla="*/ 2147483647 h 14"/>
                <a:gd name="T22" fmla="*/ 0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2147483647 w 23"/>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4"/>
                <a:gd name="T56" fmla="*/ 23 w 23"/>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4">
                  <a:moveTo>
                    <a:pt x="17" y="14"/>
                  </a:moveTo>
                  <a:lnTo>
                    <a:pt x="19" y="13"/>
                  </a:lnTo>
                  <a:lnTo>
                    <a:pt x="22" y="12"/>
                  </a:lnTo>
                  <a:lnTo>
                    <a:pt x="23" y="10"/>
                  </a:lnTo>
                  <a:lnTo>
                    <a:pt x="22" y="9"/>
                  </a:lnTo>
                  <a:lnTo>
                    <a:pt x="16" y="5"/>
                  </a:lnTo>
                  <a:lnTo>
                    <a:pt x="12" y="3"/>
                  </a:lnTo>
                  <a:lnTo>
                    <a:pt x="8" y="0"/>
                  </a:lnTo>
                  <a:lnTo>
                    <a:pt x="7" y="0"/>
                  </a:lnTo>
                  <a:lnTo>
                    <a:pt x="3" y="1"/>
                  </a:lnTo>
                  <a:lnTo>
                    <a:pt x="2" y="3"/>
                  </a:lnTo>
                  <a:lnTo>
                    <a:pt x="0" y="4"/>
                  </a:lnTo>
                  <a:lnTo>
                    <a:pt x="2" y="5"/>
                  </a:lnTo>
                  <a:lnTo>
                    <a:pt x="4" y="10"/>
                  </a:lnTo>
                  <a:lnTo>
                    <a:pt x="8" y="14"/>
                  </a:lnTo>
                  <a:lnTo>
                    <a:pt x="11" y="14"/>
                  </a:lnTo>
                  <a:lnTo>
                    <a:pt x="12" y="14"/>
                  </a:lnTo>
                  <a:lnTo>
                    <a:pt x="17"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19" name="Freeform 918"/>
            <p:cNvSpPr>
              <a:spLocks/>
            </p:cNvSpPr>
            <p:nvPr/>
          </p:nvSpPr>
          <p:spPr bwMode="auto">
            <a:xfrm>
              <a:off x="1914530" y="1549404"/>
              <a:ext cx="61913" cy="22225"/>
            </a:xfrm>
            <a:custGeom>
              <a:avLst/>
              <a:gdLst>
                <a:gd name="T0" fmla="*/ 2147483647 w 42"/>
                <a:gd name="T1" fmla="*/ 2147483647 h 14"/>
                <a:gd name="T2" fmla="*/ 2147483647 w 42"/>
                <a:gd name="T3" fmla="*/ 2147483647 h 14"/>
                <a:gd name="T4" fmla="*/ 2147483647 w 42"/>
                <a:gd name="T5" fmla="*/ 2147483647 h 14"/>
                <a:gd name="T6" fmla="*/ 2147483647 w 42"/>
                <a:gd name="T7" fmla="*/ 2147483647 h 14"/>
                <a:gd name="T8" fmla="*/ 2147483647 w 42"/>
                <a:gd name="T9" fmla="*/ 2147483647 h 14"/>
                <a:gd name="T10" fmla="*/ 2147483647 w 42"/>
                <a:gd name="T11" fmla="*/ 0 h 14"/>
                <a:gd name="T12" fmla="*/ 2147483647 w 42"/>
                <a:gd name="T13" fmla="*/ 2147483647 h 14"/>
                <a:gd name="T14" fmla="*/ 2147483647 w 42"/>
                <a:gd name="T15" fmla="*/ 2147483647 h 14"/>
                <a:gd name="T16" fmla="*/ 2147483647 w 42"/>
                <a:gd name="T17" fmla="*/ 2147483647 h 14"/>
                <a:gd name="T18" fmla="*/ 2147483647 w 42"/>
                <a:gd name="T19" fmla="*/ 2147483647 h 14"/>
                <a:gd name="T20" fmla="*/ 2147483647 w 42"/>
                <a:gd name="T21" fmla="*/ 2147483647 h 14"/>
                <a:gd name="T22" fmla="*/ 2147483647 w 42"/>
                <a:gd name="T23" fmla="*/ 0 h 14"/>
                <a:gd name="T24" fmla="*/ 2147483647 w 42"/>
                <a:gd name="T25" fmla="*/ 0 h 14"/>
                <a:gd name="T26" fmla="*/ 2147483647 w 42"/>
                <a:gd name="T27" fmla="*/ 2147483647 h 14"/>
                <a:gd name="T28" fmla="*/ 0 w 42"/>
                <a:gd name="T29" fmla="*/ 2147483647 h 14"/>
                <a:gd name="T30" fmla="*/ 0 w 42"/>
                <a:gd name="T31" fmla="*/ 2147483647 h 14"/>
                <a:gd name="T32" fmla="*/ 0 w 42"/>
                <a:gd name="T33" fmla="*/ 2147483647 h 14"/>
                <a:gd name="T34" fmla="*/ 2147483647 w 42"/>
                <a:gd name="T35" fmla="*/ 2147483647 h 14"/>
                <a:gd name="T36" fmla="*/ 2147483647 w 42"/>
                <a:gd name="T37" fmla="*/ 2147483647 h 14"/>
                <a:gd name="T38" fmla="*/ 2147483647 w 42"/>
                <a:gd name="T39" fmla="*/ 2147483647 h 14"/>
                <a:gd name="T40" fmla="*/ 2147483647 w 42"/>
                <a:gd name="T41" fmla="*/ 2147483647 h 14"/>
                <a:gd name="T42" fmla="*/ 2147483647 w 42"/>
                <a:gd name="T43" fmla="*/ 2147483647 h 14"/>
                <a:gd name="T44" fmla="*/ 2147483647 w 42"/>
                <a:gd name="T45" fmla="*/ 2147483647 h 14"/>
                <a:gd name="T46" fmla="*/ 2147483647 w 42"/>
                <a:gd name="T47" fmla="*/ 2147483647 h 14"/>
                <a:gd name="T48" fmla="*/ 2147483647 w 42"/>
                <a:gd name="T49" fmla="*/ 2147483647 h 14"/>
                <a:gd name="T50" fmla="*/ 2147483647 w 42"/>
                <a:gd name="T51" fmla="*/ 2147483647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14"/>
                <a:gd name="T80" fmla="*/ 42 w 42"/>
                <a:gd name="T81" fmla="*/ 14 h 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14">
                  <a:moveTo>
                    <a:pt x="40" y="8"/>
                  </a:moveTo>
                  <a:lnTo>
                    <a:pt x="42" y="6"/>
                  </a:lnTo>
                  <a:lnTo>
                    <a:pt x="42" y="4"/>
                  </a:lnTo>
                  <a:lnTo>
                    <a:pt x="42" y="3"/>
                  </a:lnTo>
                  <a:lnTo>
                    <a:pt x="40" y="1"/>
                  </a:lnTo>
                  <a:lnTo>
                    <a:pt x="38" y="0"/>
                  </a:lnTo>
                  <a:lnTo>
                    <a:pt x="34" y="1"/>
                  </a:lnTo>
                  <a:lnTo>
                    <a:pt x="29" y="2"/>
                  </a:lnTo>
                  <a:lnTo>
                    <a:pt x="25" y="3"/>
                  </a:lnTo>
                  <a:lnTo>
                    <a:pt x="23" y="2"/>
                  </a:lnTo>
                  <a:lnTo>
                    <a:pt x="20" y="1"/>
                  </a:lnTo>
                  <a:lnTo>
                    <a:pt x="17" y="0"/>
                  </a:lnTo>
                  <a:lnTo>
                    <a:pt x="15" y="0"/>
                  </a:lnTo>
                  <a:lnTo>
                    <a:pt x="1" y="9"/>
                  </a:lnTo>
                  <a:lnTo>
                    <a:pt x="0" y="10"/>
                  </a:lnTo>
                  <a:lnTo>
                    <a:pt x="0" y="12"/>
                  </a:lnTo>
                  <a:lnTo>
                    <a:pt x="0" y="13"/>
                  </a:lnTo>
                  <a:lnTo>
                    <a:pt x="2" y="14"/>
                  </a:lnTo>
                  <a:lnTo>
                    <a:pt x="10" y="13"/>
                  </a:lnTo>
                  <a:lnTo>
                    <a:pt x="19" y="12"/>
                  </a:lnTo>
                  <a:lnTo>
                    <a:pt x="26" y="10"/>
                  </a:lnTo>
                  <a:lnTo>
                    <a:pt x="30" y="10"/>
                  </a:lnTo>
                  <a:lnTo>
                    <a:pt x="34" y="12"/>
                  </a:lnTo>
                  <a:lnTo>
                    <a:pt x="35" y="12"/>
                  </a:lnTo>
                  <a:lnTo>
                    <a:pt x="36" y="10"/>
                  </a:lnTo>
                  <a:lnTo>
                    <a:pt x="40"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0" name="Freeform 919"/>
            <p:cNvSpPr>
              <a:spLocks/>
            </p:cNvSpPr>
            <p:nvPr/>
          </p:nvSpPr>
          <p:spPr bwMode="auto">
            <a:xfrm>
              <a:off x="2047875" y="1552579"/>
              <a:ext cx="34925" cy="22225"/>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2147483647 w 23"/>
                <a:gd name="T17" fmla="*/ 2147483647 h 14"/>
                <a:gd name="T18" fmla="*/ 2147483647 w 23"/>
                <a:gd name="T19" fmla="*/ 0 h 14"/>
                <a:gd name="T20" fmla="*/ 2147483647 w 23"/>
                <a:gd name="T21" fmla="*/ 0 h 14"/>
                <a:gd name="T22" fmla="*/ 2147483647 w 23"/>
                <a:gd name="T23" fmla="*/ 0 h 14"/>
                <a:gd name="T24" fmla="*/ 2147483647 w 23"/>
                <a:gd name="T25" fmla="*/ 2147483647 h 14"/>
                <a:gd name="T26" fmla="*/ 2147483647 w 23"/>
                <a:gd name="T27" fmla="*/ 2147483647 h 14"/>
                <a:gd name="T28" fmla="*/ 0 w 23"/>
                <a:gd name="T29" fmla="*/ 2147483647 h 14"/>
                <a:gd name="T30" fmla="*/ 2147483647 w 23"/>
                <a:gd name="T31" fmla="*/ 2147483647 h 14"/>
                <a:gd name="T32" fmla="*/ 2147483647 w 23"/>
                <a:gd name="T33" fmla="*/ 2147483647 h 14"/>
                <a:gd name="T34" fmla="*/ 2147483647 w 23"/>
                <a:gd name="T35" fmla="*/ 2147483647 h 14"/>
                <a:gd name="T36" fmla="*/ 2147483647 w 23"/>
                <a:gd name="T37" fmla="*/ 2147483647 h 14"/>
                <a:gd name="T38" fmla="*/ 2147483647 w 23"/>
                <a:gd name="T39" fmla="*/ 2147483647 h 14"/>
                <a:gd name="T40" fmla="*/ 2147483647 w 23"/>
                <a:gd name="T41" fmla="*/ 2147483647 h 14"/>
                <a:gd name="T42" fmla="*/ 2147483647 w 23"/>
                <a:gd name="T43" fmla="*/ 2147483647 h 14"/>
                <a:gd name="T44" fmla="*/ 2147483647 w 23"/>
                <a:gd name="T45" fmla="*/ 2147483647 h 14"/>
                <a:gd name="T46" fmla="*/ 2147483647 w 23"/>
                <a:gd name="T47" fmla="*/ 2147483647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14"/>
                <a:gd name="T74" fmla="*/ 23 w 23"/>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14">
                  <a:moveTo>
                    <a:pt x="17" y="14"/>
                  </a:moveTo>
                  <a:lnTo>
                    <a:pt x="17" y="14"/>
                  </a:lnTo>
                  <a:lnTo>
                    <a:pt x="19" y="13"/>
                  </a:lnTo>
                  <a:lnTo>
                    <a:pt x="22" y="12"/>
                  </a:lnTo>
                  <a:lnTo>
                    <a:pt x="23" y="10"/>
                  </a:lnTo>
                  <a:lnTo>
                    <a:pt x="22" y="8"/>
                  </a:lnTo>
                  <a:lnTo>
                    <a:pt x="15" y="5"/>
                  </a:lnTo>
                  <a:lnTo>
                    <a:pt x="12" y="2"/>
                  </a:lnTo>
                  <a:lnTo>
                    <a:pt x="8" y="0"/>
                  </a:lnTo>
                  <a:lnTo>
                    <a:pt x="6" y="0"/>
                  </a:lnTo>
                  <a:lnTo>
                    <a:pt x="3" y="1"/>
                  </a:lnTo>
                  <a:lnTo>
                    <a:pt x="1" y="2"/>
                  </a:lnTo>
                  <a:lnTo>
                    <a:pt x="0" y="4"/>
                  </a:lnTo>
                  <a:lnTo>
                    <a:pt x="1" y="5"/>
                  </a:lnTo>
                  <a:lnTo>
                    <a:pt x="4" y="10"/>
                  </a:lnTo>
                  <a:lnTo>
                    <a:pt x="8" y="14"/>
                  </a:lnTo>
                  <a:lnTo>
                    <a:pt x="10" y="14"/>
                  </a:lnTo>
                  <a:lnTo>
                    <a:pt x="12" y="14"/>
                  </a:lnTo>
                  <a:lnTo>
                    <a:pt x="17"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1" name="Freeform 920"/>
            <p:cNvSpPr>
              <a:spLocks/>
            </p:cNvSpPr>
            <p:nvPr/>
          </p:nvSpPr>
          <p:spPr bwMode="auto">
            <a:xfrm>
              <a:off x="1912939" y="1547817"/>
              <a:ext cx="60325" cy="22225"/>
            </a:xfrm>
            <a:custGeom>
              <a:avLst/>
              <a:gdLst>
                <a:gd name="T0" fmla="*/ 2147483647 w 42"/>
                <a:gd name="T1" fmla="*/ 2147483647 h 14"/>
                <a:gd name="T2" fmla="*/ 2147483647 w 42"/>
                <a:gd name="T3" fmla="*/ 2147483647 h 14"/>
                <a:gd name="T4" fmla="*/ 2147483647 w 42"/>
                <a:gd name="T5" fmla="*/ 2147483647 h 14"/>
                <a:gd name="T6" fmla="*/ 2147483647 w 42"/>
                <a:gd name="T7" fmla="*/ 2147483647 h 14"/>
                <a:gd name="T8" fmla="*/ 2147483647 w 42"/>
                <a:gd name="T9" fmla="*/ 2147483647 h 14"/>
                <a:gd name="T10" fmla="*/ 2147483647 w 42"/>
                <a:gd name="T11" fmla="*/ 2147483647 h 14"/>
                <a:gd name="T12" fmla="*/ 2147483647 w 42"/>
                <a:gd name="T13" fmla="*/ 2147483647 h 14"/>
                <a:gd name="T14" fmla="*/ 2147483647 w 42"/>
                <a:gd name="T15" fmla="*/ 0 h 14"/>
                <a:gd name="T16" fmla="*/ 2147483647 w 42"/>
                <a:gd name="T17" fmla="*/ 2147483647 h 14"/>
                <a:gd name="T18" fmla="*/ 2147483647 w 42"/>
                <a:gd name="T19" fmla="*/ 2147483647 h 14"/>
                <a:gd name="T20" fmla="*/ 2147483647 w 42"/>
                <a:gd name="T21" fmla="*/ 2147483647 h 14"/>
                <a:gd name="T22" fmla="*/ 2147483647 w 42"/>
                <a:gd name="T23" fmla="*/ 2147483647 h 14"/>
                <a:gd name="T24" fmla="*/ 2147483647 w 42"/>
                <a:gd name="T25" fmla="*/ 2147483647 h 14"/>
                <a:gd name="T26" fmla="*/ 2147483647 w 42"/>
                <a:gd name="T27" fmla="*/ 2147483647 h 14"/>
                <a:gd name="T28" fmla="*/ 2147483647 w 42"/>
                <a:gd name="T29" fmla="*/ 0 h 14"/>
                <a:gd name="T30" fmla="*/ 2147483647 w 42"/>
                <a:gd name="T31" fmla="*/ 0 h 14"/>
                <a:gd name="T32" fmla="*/ 2147483647 w 42"/>
                <a:gd name="T33" fmla="*/ 0 h 14"/>
                <a:gd name="T34" fmla="*/ 2147483647 w 42"/>
                <a:gd name="T35" fmla="*/ 2147483647 h 14"/>
                <a:gd name="T36" fmla="*/ 2147483647 w 42"/>
                <a:gd name="T37" fmla="*/ 2147483647 h 14"/>
                <a:gd name="T38" fmla="*/ 0 w 42"/>
                <a:gd name="T39" fmla="*/ 2147483647 h 14"/>
                <a:gd name="T40" fmla="*/ 0 w 42"/>
                <a:gd name="T41" fmla="*/ 2147483647 h 14"/>
                <a:gd name="T42" fmla="*/ 0 w 42"/>
                <a:gd name="T43" fmla="*/ 2147483647 h 14"/>
                <a:gd name="T44" fmla="*/ 2147483647 w 42"/>
                <a:gd name="T45" fmla="*/ 2147483647 h 14"/>
                <a:gd name="T46" fmla="*/ 2147483647 w 42"/>
                <a:gd name="T47" fmla="*/ 2147483647 h 14"/>
                <a:gd name="T48" fmla="*/ 2147483647 w 42"/>
                <a:gd name="T49" fmla="*/ 2147483647 h 14"/>
                <a:gd name="T50" fmla="*/ 2147483647 w 42"/>
                <a:gd name="T51" fmla="*/ 2147483647 h 14"/>
                <a:gd name="T52" fmla="*/ 2147483647 w 42"/>
                <a:gd name="T53" fmla="*/ 2147483647 h 14"/>
                <a:gd name="T54" fmla="*/ 2147483647 w 42"/>
                <a:gd name="T55" fmla="*/ 2147483647 h 14"/>
                <a:gd name="T56" fmla="*/ 2147483647 w 42"/>
                <a:gd name="T57" fmla="*/ 2147483647 h 14"/>
                <a:gd name="T58" fmla="*/ 2147483647 w 42"/>
                <a:gd name="T59" fmla="*/ 2147483647 h 14"/>
                <a:gd name="T60" fmla="*/ 2147483647 w 42"/>
                <a:gd name="T61" fmla="*/ 2147483647 h 14"/>
                <a:gd name="T62" fmla="*/ 2147483647 w 42"/>
                <a:gd name="T63" fmla="*/ 2147483647 h 14"/>
                <a:gd name="T64" fmla="*/ 2147483647 w 42"/>
                <a:gd name="T65" fmla="*/ 2147483647 h 14"/>
                <a:gd name="T66" fmla="*/ 2147483647 w 42"/>
                <a:gd name="T67" fmla="*/ 2147483647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14"/>
                <a:gd name="T104" fmla="*/ 42 w 42"/>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14">
                  <a:moveTo>
                    <a:pt x="41" y="8"/>
                  </a:moveTo>
                  <a:lnTo>
                    <a:pt x="41" y="8"/>
                  </a:lnTo>
                  <a:lnTo>
                    <a:pt x="42" y="5"/>
                  </a:lnTo>
                  <a:lnTo>
                    <a:pt x="42" y="4"/>
                  </a:lnTo>
                  <a:lnTo>
                    <a:pt x="42" y="3"/>
                  </a:lnTo>
                  <a:lnTo>
                    <a:pt x="41" y="1"/>
                  </a:lnTo>
                  <a:lnTo>
                    <a:pt x="38" y="0"/>
                  </a:lnTo>
                  <a:lnTo>
                    <a:pt x="35" y="1"/>
                  </a:lnTo>
                  <a:lnTo>
                    <a:pt x="30" y="2"/>
                  </a:lnTo>
                  <a:lnTo>
                    <a:pt x="26" y="3"/>
                  </a:lnTo>
                  <a:lnTo>
                    <a:pt x="23" y="2"/>
                  </a:lnTo>
                  <a:lnTo>
                    <a:pt x="21" y="1"/>
                  </a:lnTo>
                  <a:lnTo>
                    <a:pt x="18" y="0"/>
                  </a:lnTo>
                  <a:lnTo>
                    <a:pt x="16" y="0"/>
                  </a:lnTo>
                  <a:lnTo>
                    <a:pt x="2" y="9"/>
                  </a:lnTo>
                  <a:lnTo>
                    <a:pt x="0" y="10"/>
                  </a:lnTo>
                  <a:lnTo>
                    <a:pt x="0" y="11"/>
                  </a:lnTo>
                  <a:lnTo>
                    <a:pt x="0" y="13"/>
                  </a:lnTo>
                  <a:lnTo>
                    <a:pt x="3" y="14"/>
                  </a:lnTo>
                  <a:lnTo>
                    <a:pt x="11" y="13"/>
                  </a:lnTo>
                  <a:lnTo>
                    <a:pt x="19" y="11"/>
                  </a:lnTo>
                  <a:lnTo>
                    <a:pt x="27" y="10"/>
                  </a:lnTo>
                  <a:lnTo>
                    <a:pt x="31" y="10"/>
                  </a:lnTo>
                  <a:lnTo>
                    <a:pt x="35" y="11"/>
                  </a:lnTo>
                  <a:lnTo>
                    <a:pt x="36" y="11"/>
                  </a:lnTo>
                  <a:lnTo>
                    <a:pt x="37" y="10"/>
                  </a:lnTo>
                  <a:lnTo>
                    <a:pt x="41"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2" name="Freeform 921"/>
            <p:cNvSpPr>
              <a:spLocks/>
            </p:cNvSpPr>
            <p:nvPr/>
          </p:nvSpPr>
          <p:spPr bwMode="auto">
            <a:xfrm>
              <a:off x="1833563" y="1420812"/>
              <a:ext cx="25400" cy="31751"/>
            </a:xfrm>
            <a:custGeom>
              <a:avLst/>
              <a:gdLst>
                <a:gd name="T0" fmla="*/ 2147483647 w 18"/>
                <a:gd name="T1" fmla="*/ 2147483647 h 20"/>
                <a:gd name="T2" fmla="*/ 2147483647 w 18"/>
                <a:gd name="T3" fmla="*/ 2147483647 h 20"/>
                <a:gd name="T4" fmla="*/ 0 w 18"/>
                <a:gd name="T5" fmla="*/ 2147483647 h 20"/>
                <a:gd name="T6" fmla="*/ 0 w 18"/>
                <a:gd name="T7" fmla="*/ 2147483647 h 20"/>
                <a:gd name="T8" fmla="*/ 2147483647 w 18"/>
                <a:gd name="T9" fmla="*/ 0 h 20"/>
                <a:gd name="T10" fmla="*/ 2147483647 w 18"/>
                <a:gd name="T11" fmla="*/ 0 h 20"/>
                <a:gd name="T12" fmla="*/ 2147483647 w 18"/>
                <a:gd name="T13" fmla="*/ 0 h 20"/>
                <a:gd name="T14" fmla="*/ 2147483647 w 18"/>
                <a:gd name="T15" fmla="*/ 2147483647 h 20"/>
                <a:gd name="T16" fmla="*/ 2147483647 w 18"/>
                <a:gd name="T17" fmla="*/ 2147483647 h 20"/>
                <a:gd name="T18" fmla="*/ 2147483647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2" y="10"/>
                  </a:moveTo>
                  <a:lnTo>
                    <a:pt x="1" y="7"/>
                  </a:lnTo>
                  <a:lnTo>
                    <a:pt x="0" y="5"/>
                  </a:lnTo>
                  <a:lnTo>
                    <a:pt x="0" y="2"/>
                  </a:lnTo>
                  <a:lnTo>
                    <a:pt x="2" y="0"/>
                  </a:lnTo>
                  <a:lnTo>
                    <a:pt x="9" y="0"/>
                  </a:lnTo>
                  <a:lnTo>
                    <a:pt x="12" y="0"/>
                  </a:lnTo>
                  <a:lnTo>
                    <a:pt x="14" y="2"/>
                  </a:lnTo>
                  <a:lnTo>
                    <a:pt x="16" y="7"/>
                  </a:lnTo>
                  <a:lnTo>
                    <a:pt x="18" y="13"/>
                  </a:lnTo>
                  <a:lnTo>
                    <a:pt x="16" y="17"/>
                  </a:lnTo>
                  <a:lnTo>
                    <a:pt x="14" y="19"/>
                  </a:lnTo>
                  <a:lnTo>
                    <a:pt x="11" y="19"/>
                  </a:lnTo>
                  <a:lnTo>
                    <a:pt x="10" y="20"/>
                  </a:lnTo>
                  <a:lnTo>
                    <a:pt x="7" y="19"/>
                  </a:lnTo>
                  <a:lnTo>
                    <a:pt x="6" y="17"/>
                  </a:lnTo>
                  <a:lnTo>
                    <a:pt x="2"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3" name="Freeform 922"/>
            <p:cNvSpPr>
              <a:spLocks/>
            </p:cNvSpPr>
            <p:nvPr/>
          </p:nvSpPr>
          <p:spPr bwMode="auto">
            <a:xfrm>
              <a:off x="1733550" y="1543050"/>
              <a:ext cx="46038" cy="28575"/>
            </a:xfrm>
            <a:custGeom>
              <a:avLst/>
              <a:gdLst>
                <a:gd name="T0" fmla="*/ 2147483647 w 31"/>
                <a:gd name="T1" fmla="*/ 2147483647 h 18"/>
                <a:gd name="T2" fmla="*/ 2147483647 w 31"/>
                <a:gd name="T3" fmla="*/ 2147483647 h 18"/>
                <a:gd name="T4" fmla="*/ 2147483647 w 31"/>
                <a:gd name="T5" fmla="*/ 2147483647 h 18"/>
                <a:gd name="T6" fmla="*/ 2147483647 w 31"/>
                <a:gd name="T7" fmla="*/ 2147483647 h 18"/>
                <a:gd name="T8" fmla="*/ 0 w 31"/>
                <a:gd name="T9" fmla="*/ 2147483647 h 18"/>
                <a:gd name="T10" fmla="*/ 0 w 31"/>
                <a:gd name="T11" fmla="*/ 2147483647 h 18"/>
                <a:gd name="T12" fmla="*/ 2147483647 w 31"/>
                <a:gd name="T13" fmla="*/ 2147483647 h 18"/>
                <a:gd name="T14" fmla="*/ 2147483647 w 31"/>
                <a:gd name="T15" fmla="*/ 2147483647 h 18"/>
                <a:gd name="T16" fmla="*/ 2147483647 w 31"/>
                <a:gd name="T17" fmla="*/ 2147483647 h 18"/>
                <a:gd name="T18" fmla="*/ 2147483647 w 31"/>
                <a:gd name="T19" fmla="*/ 0 h 18"/>
                <a:gd name="T20" fmla="*/ 2147483647 w 31"/>
                <a:gd name="T21" fmla="*/ 2147483647 h 18"/>
                <a:gd name="T22" fmla="*/ 2147483647 w 31"/>
                <a:gd name="T23" fmla="*/ 2147483647 h 18"/>
                <a:gd name="T24" fmla="*/ 2147483647 w 31"/>
                <a:gd name="T25" fmla="*/ 2147483647 h 18"/>
                <a:gd name="T26" fmla="*/ 2147483647 w 31"/>
                <a:gd name="T27" fmla="*/ 2147483647 h 18"/>
                <a:gd name="T28" fmla="*/ 2147483647 w 31"/>
                <a:gd name="T29" fmla="*/ 2147483647 h 18"/>
                <a:gd name="T30" fmla="*/ 2147483647 w 31"/>
                <a:gd name="T31" fmla="*/ 2147483647 h 18"/>
                <a:gd name="T32" fmla="*/ 2147483647 w 31"/>
                <a:gd name="T33" fmla="*/ 2147483647 h 18"/>
                <a:gd name="T34" fmla="*/ 2147483647 w 31"/>
                <a:gd name="T35" fmla="*/ 2147483647 h 18"/>
                <a:gd name="T36" fmla="*/ 2147483647 w 31"/>
                <a:gd name="T37" fmla="*/ 214748364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18"/>
                <a:gd name="T59" fmla="*/ 31 w 31"/>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18">
                  <a:moveTo>
                    <a:pt x="16" y="18"/>
                  </a:moveTo>
                  <a:lnTo>
                    <a:pt x="11" y="18"/>
                  </a:lnTo>
                  <a:lnTo>
                    <a:pt x="7" y="17"/>
                  </a:lnTo>
                  <a:lnTo>
                    <a:pt x="3" y="14"/>
                  </a:lnTo>
                  <a:lnTo>
                    <a:pt x="0" y="11"/>
                  </a:lnTo>
                  <a:lnTo>
                    <a:pt x="0" y="7"/>
                  </a:lnTo>
                  <a:lnTo>
                    <a:pt x="2" y="5"/>
                  </a:lnTo>
                  <a:lnTo>
                    <a:pt x="3" y="3"/>
                  </a:lnTo>
                  <a:lnTo>
                    <a:pt x="6" y="1"/>
                  </a:lnTo>
                  <a:lnTo>
                    <a:pt x="13" y="0"/>
                  </a:lnTo>
                  <a:lnTo>
                    <a:pt x="20" y="1"/>
                  </a:lnTo>
                  <a:lnTo>
                    <a:pt x="26" y="5"/>
                  </a:lnTo>
                  <a:lnTo>
                    <a:pt x="30" y="10"/>
                  </a:lnTo>
                  <a:lnTo>
                    <a:pt x="31" y="12"/>
                  </a:lnTo>
                  <a:lnTo>
                    <a:pt x="31" y="14"/>
                  </a:lnTo>
                  <a:lnTo>
                    <a:pt x="30" y="16"/>
                  </a:lnTo>
                  <a:lnTo>
                    <a:pt x="27" y="17"/>
                  </a:lnTo>
                  <a:lnTo>
                    <a:pt x="22" y="18"/>
                  </a:lnTo>
                  <a:lnTo>
                    <a:pt x="16" y="1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4" name="Freeform 923"/>
            <p:cNvSpPr>
              <a:spLocks/>
            </p:cNvSpPr>
            <p:nvPr/>
          </p:nvSpPr>
          <p:spPr bwMode="auto">
            <a:xfrm>
              <a:off x="1831975" y="1419224"/>
              <a:ext cx="25400" cy="31751"/>
            </a:xfrm>
            <a:custGeom>
              <a:avLst/>
              <a:gdLst>
                <a:gd name="T0" fmla="*/ 2147483647 w 17"/>
                <a:gd name="T1" fmla="*/ 2147483647 h 20"/>
                <a:gd name="T2" fmla="*/ 2147483647 w 17"/>
                <a:gd name="T3" fmla="*/ 2147483647 h 20"/>
                <a:gd name="T4" fmla="*/ 2147483647 w 17"/>
                <a:gd name="T5" fmla="*/ 2147483647 h 20"/>
                <a:gd name="T6" fmla="*/ 0 w 17"/>
                <a:gd name="T7" fmla="*/ 2147483647 h 20"/>
                <a:gd name="T8" fmla="*/ 0 w 17"/>
                <a:gd name="T9" fmla="*/ 2147483647 h 20"/>
                <a:gd name="T10" fmla="*/ 2147483647 w 17"/>
                <a:gd name="T11" fmla="*/ 0 h 20"/>
                <a:gd name="T12" fmla="*/ 2147483647 w 17"/>
                <a:gd name="T13" fmla="*/ 0 h 20"/>
                <a:gd name="T14" fmla="*/ 2147483647 w 17"/>
                <a:gd name="T15" fmla="*/ 0 h 20"/>
                <a:gd name="T16" fmla="*/ 2147483647 w 17"/>
                <a:gd name="T17" fmla="*/ 0 h 20"/>
                <a:gd name="T18" fmla="*/ 2147483647 w 17"/>
                <a:gd name="T19" fmla="*/ 2147483647 h 20"/>
                <a:gd name="T20" fmla="*/ 2147483647 w 17"/>
                <a:gd name="T21" fmla="*/ 2147483647 h 20"/>
                <a:gd name="T22" fmla="*/ 2147483647 w 17"/>
                <a:gd name="T23" fmla="*/ 2147483647 h 20"/>
                <a:gd name="T24" fmla="*/ 2147483647 w 17"/>
                <a:gd name="T25" fmla="*/ 2147483647 h 20"/>
                <a:gd name="T26" fmla="*/ 2147483647 w 17"/>
                <a:gd name="T27" fmla="*/ 2147483647 h 20"/>
                <a:gd name="T28" fmla="*/ 2147483647 w 17"/>
                <a:gd name="T29" fmla="*/ 2147483647 h 20"/>
                <a:gd name="T30" fmla="*/ 2147483647 w 17"/>
                <a:gd name="T31" fmla="*/ 2147483647 h 20"/>
                <a:gd name="T32" fmla="*/ 2147483647 w 17"/>
                <a:gd name="T33" fmla="*/ 2147483647 h 20"/>
                <a:gd name="T34" fmla="*/ 2147483647 w 17"/>
                <a:gd name="T35" fmla="*/ 2147483647 h 20"/>
                <a:gd name="T36" fmla="*/ 2147483647 w 17"/>
                <a:gd name="T37" fmla="*/ 2147483647 h 20"/>
                <a:gd name="T38" fmla="*/ 2147483647 w 17"/>
                <a:gd name="T39" fmla="*/ 2147483647 h 20"/>
                <a:gd name="T40" fmla="*/ 2147483647 w 17"/>
                <a:gd name="T41" fmla="*/ 2147483647 h 20"/>
                <a:gd name="T42" fmla="*/ 2147483647 w 17"/>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20"/>
                <a:gd name="T68" fmla="*/ 17 w 17"/>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20">
                  <a:moveTo>
                    <a:pt x="2" y="9"/>
                  </a:moveTo>
                  <a:lnTo>
                    <a:pt x="2" y="9"/>
                  </a:lnTo>
                  <a:lnTo>
                    <a:pt x="1" y="7"/>
                  </a:lnTo>
                  <a:lnTo>
                    <a:pt x="0" y="5"/>
                  </a:lnTo>
                  <a:lnTo>
                    <a:pt x="0" y="2"/>
                  </a:lnTo>
                  <a:lnTo>
                    <a:pt x="2" y="0"/>
                  </a:lnTo>
                  <a:lnTo>
                    <a:pt x="8" y="0"/>
                  </a:lnTo>
                  <a:lnTo>
                    <a:pt x="12" y="0"/>
                  </a:lnTo>
                  <a:lnTo>
                    <a:pt x="13" y="2"/>
                  </a:lnTo>
                  <a:lnTo>
                    <a:pt x="16" y="7"/>
                  </a:lnTo>
                  <a:lnTo>
                    <a:pt x="17" y="13"/>
                  </a:lnTo>
                  <a:lnTo>
                    <a:pt x="16" y="16"/>
                  </a:lnTo>
                  <a:lnTo>
                    <a:pt x="13" y="19"/>
                  </a:lnTo>
                  <a:lnTo>
                    <a:pt x="11" y="19"/>
                  </a:lnTo>
                  <a:lnTo>
                    <a:pt x="10" y="20"/>
                  </a:lnTo>
                  <a:lnTo>
                    <a:pt x="7" y="19"/>
                  </a:lnTo>
                  <a:lnTo>
                    <a:pt x="6" y="16"/>
                  </a:lnTo>
                  <a:lnTo>
                    <a:pt x="2"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5" name="Freeform 924"/>
            <p:cNvSpPr>
              <a:spLocks/>
            </p:cNvSpPr>
            <p:nvPr/>
          </p:nvSpPr>
          <p:spPr bwMode="auto">
            <a:xfrm>
              <a:off x="1731963" y="1541466"/>
              <a:ext cx="46037" cy="28575"/>
            </a:xfrm>
            <a:custGeom>
              <a:avLst/>
              <a:gdLst>
                <a:gd name="T0" fmla="*/ 2147483647 w 31"/>
                <a:gd name="T1" fmla="*/ 2147483647 h 18"/>
                <a:gd name="T2" fmla="*/ 2147483647 w 31"/>
                <a:gd name="T3" fmla="*/ 2147483647 h 18"/>
                <a:gd name="T4" fmla="*/ 2147483647 w 31"/>
                <a:gd name="T5" fmla="*/ 2147483647 h 18"/>
                <a:gd name="T6" fmla="*/ 2147483647 w 31"/>
                <a:gd name="T7" fmla="*/ 2147483647 h 18"/>
                <a:gd name="T8" fmla="*/ 2147483647 w 31"/>
                <a:gd name="T9" fmla="*/ 2147483647 h 18"/>
                <a:gd name="T10" fmla="*/ 0 w 31"/>
                <a:gd name="T11" fmla="*/ 2147483647 h 18"/>
                <a:gd name="T12" fmla="*/ 0 w 31"/>
                <a:gd name="T13" fmla="*/ 2147483647 h 18"/>
                <a:gd name="T14" fmla="*/ 0 w 31"/>
                <a:gd name="T15" fmla="*/ 2147483647 h 18"/>
                <a:gd name="T16" fmla="*/ 2147483647 w 31"/>
                <a:gd name="T17" fmla="*/ 2147483647 h 18"/>
                <a:gd name="T18" fmla="*/ 2147483647 w 31"/>
                <a:gd name="T19" fmla="*/ 2147483647 h 18"/>
                <a:gd name="T20" fmla="*/ 2147483647 w 31"/>
                <a:gd name="T21" fmla="*/ 2147483647 h 18"/>
                <a:gd name="T22" fmla="*/ 2147483647 w 31"/>
                <a:gd name="T23" fmla="*/ 2147483647 h 18"/>
                <a:gd name="T24" fmla="*/ 2147483647 w 31"/>
                <a:gd name="T25" fmla="*/ 0 h 18"/>
                <a:gd name="T26" fmla="*/ 2147483647 w 31"/>
                <a:gd name="T27" fmla="*/ 2147483647 h 18"/>
                <a:gd name="T28" fmla="*/ 2147483647 w 31"/>
                <a:gd name="T29" fmla="*/ 2147483647 h 18"/>
                <a:gd name="T30" fmla="*/ 2147483647 w 31"/>
                <a:gd name="T31" fmla="*/ 2147483647 h 18"/>
                <a:gd name="T32" fmla="*/ 2147483647 w 31"/>
                <a:gd name="T33" fmla="*/ 2147483647 h 18"/>
                <a:gd name="T34" fmla="*/ 2147483647 w 31"/>
                <a:gd name="T35" fmla="*/ 2147483647 h 18"/>
                <a:gd name="T36" fmla="*/ 2147483647 w 31"/>
                <a:gd name="T37" fmla="*/ 2147483647 h 18"/>
                <a:gd name="T38" fmla="*/ 2147483647 w 31"/>
                <a:gd name="T39" fmla="*/ 2147483647 h 18"/>
                <a:gd name="T40" fmla="*/ 2147483647 w 31"/>
                <a:gd name="T41" fmla="*/ 2147483647 h 18"/>
                <a:gd name="T42" fmla="*/ 2147483647 w 31"/>
                <a:gd name="T43" fmla="*/ 2147483647 h 18"/>
                <a:gd name="T44" fmla="*/ 2147483647 w 31"/>
                <a:gd name="T45" fmla="*/ 2147483647 h 18"/>
                <a:gd name="T46" fmla="*/ 2147483647 w 31"/>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18"/>
                <a:gd name="T74" fmla="*/ 31 w 31"/>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18">
                  <a:moveTo>
                    <a:pt x="15" y="18"/>
                  </a:moveTo>
                  <a:lnTo>
                    <a:pt x="15" y="18"/>
                  </a:lnTo>
                  <a:lnTo>
                    <a:pt x="10" y="18"/>
                  </a:lnTo>
                  <a:lnTo>
                    <a:pt x="7" y="17"/>
                  </a:lnTo>
                  <a:lnTo>
                    <a:pt x="3" y="14"/>
                  </a:lnTo>
                  <a:lnTo>
                    <a:pt x="0" y="11"/>
                  </a:lnTo>
                  <a:lnTo>
                    <a:pt x="0" y="7"/>
                  </a:lnTo>
                  <a:lnTo>
                    <a:pt x="1" y="5"/>
                  </a:lnTo>
                  <a:lnTo>
                    <a:pt x="3" y="2"/>
                  </a:lnTo>
                  <a:lnTo>
                    <a:pt x="5" y="1"/>
                  </a:lnTo>
                  <a:lnTo>
                    <a:pt x="13" y="0"/>
                  </a:lnTo>
                  <a:lnTo>
                    <a:pt x="19" y="1"/>
                  </a:lnTo>
                  <a:lnTo>
                    <a:pt x="26" y="5"/>
                  </a:lnTo>
                  <a:lnTo>
                    <a:pt x="29" y="9"/>
                  </a:lnTo>
                  <a:lnTo>
                    <a:pt x="31" y="12"/>
                  </a:lnTo>
                  <a:lnTo>
                    <a:pt x="31" y="14"/>
                  </a:lnTo>
                  <a:lnTo>
                    <a:pt x="29" y="15"/>
                  </a:lnTo>
                  <a:lnTo>
                    <a:pt x="27" y="17"/>
                  </a:lnTo>
                  <a:lnTo>
                    <a:pt x="22" y="18"/>
                  </a:lnTo>
                  <a:lnTo>
                    <a:pt x="15" y="1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6" name="Freeform 925"/>
            <p:cNvSpPr>
              <a:spLocks/>
            </p:cNvSpPr>
            <p:nvPr/>
          </p:nvSpPr>
          <p:spPr bwMode="auto">
            <a:xfrm>
              <a:off x="1890717" y="1649418"/>
              <a:ext cx="22225" cy="22225"/>
            </a:xfrm>
            <a:custGeom>
              <a:avLst/>
              <a:gdLst>
                <a:gd name="T0" fmla="*/ 2147483647 w 15"/>
                <a:gd name="T1" fmla="*/ 2147483647 h 14"/>
                <a:gd name="T2" fmla="*/ 2147483647 w 15"/>
                <a:gd name="T3" fmla="*/ 2147483647 h 14"/>
                <a:gd name="T4" fmla="*/ 2147483647 w 15"/>
                <a:gd name="T5" fmla="*/ 2147483647 h 14"/>
                <a:gd name="T6" fmla="*/ 2147483647 w 15"/>
                <a:gd name="T7" fmla="*/ 2147483647 h 14"/>
                <a:gd name="T8" fmla="*/ 2147483647 w 15"/>
                <a:gd name="T9" fmla="*/ 2147483647 h 14"/>
                <a:gd name="T10" fmla="*/ 2147483647 w 15"/>
                <a:gd name="T11" fmla="*/ 2147483647 h 14"/>
                <a:gd name="T12" fmla="*/ 0 w 15"/>
                <a:gd name="T13" fmla="*/ 2147483647 h 14"/>
                <a:gd name="T14" fmla="*/ 0 w 15"/>
                <a:gd name="T15" fmla="*/ 2147483647 h 14"/>
                <a:gd name="T16" fmla="*/ 2147483647 w 15"/>
                <a:gd name="T17" fmla="*/ 2147483647 h 14"/>
                <a:gd name="T18" fmla="*/ 2147483647 w 15"/>
                <a:gd name="T19" fmla="*/ 2147483647 h 14"/>
                <a:gd name="T20" fmla="*/ 2147483647 w 15"/>
                <a:gd name="T21" fmla="*/ 0 h 14"/>
                <a:gd name="T22" fmla="*/ 2147483647 w 15"/>
                <a:gd name="T23" fmla="*/ 0 h 14"/>
                <a:gd name="T24" fmla="*/ 2147483647 w 15"/>
                <a:gd name="T25" fmla="*/ 2147483647 h 14"/>
                <a:gd name="T26" fmla="*/ 2147483647 w 15"/>
                <a:gd name="T27" fmla="*/ 2147483647 h 14"/>
                <a:gd name="T28" fmla="*/ 2147483647 w 15"/>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4"/>
                <a:gd name="T47" fmla="*/ 15 w 15"/>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4">
                  <a:moveTo>
                    <a:pt x="12" y="9"/>
                  </a:moveTo>
                  <a:lnTo>
                    <a:pt x="10" y="13"/>
                  </a:lnTo>
                  <a:lnTo>
                    <a:pt x="9" y="14"/>
                  </a:lnTo>
                  <a:lnTo>
                    <a:pt x="8" y="14"/>
                  </a:lnTo>
                  <a:lnTo>
                    <a:pt x="5" y="14"/>
                  </a:lnTo>
                  <a:lnTo>
                    <a:pt x="1" y="13"/>
                  </a:lnTo>
                  <a:lnTo>
                    <a:pt x="0" y="10"/>
                  </a:lnTo>
                  <a:lnTo>
                    <a:pt x="0" y="8"/>
                  </a:lnTo>
                  <a:lnTo>
                    <a:pt x="1" y="4"/>
                  </a:lnTo>
                  <a:lnTo>
                    <a:pt x="5" y="2"/>
                  </a:lnTo>
                  <a:lnTo>
                    <a:pt x="9" y="0"/>
                  </a:lnTo>
                  <a:lnTo>
                    <a:pt x="13" y="0"/>
                  </a:lnTo>
                  <a:lnTo>
                    <a:pt x="15" y="2"/>
                  </a:lnTo>
                  <a:lnTo>
                    <a:pt x="15" y="4"/>
                  </a:lnTo>
                  <a:lnTo>
                    <a:pt x="12"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7" name="Freeform 926"/>
            <p:cNvSpPr>
              <a:spLocks/>
            </p:cNvSpPr>
            <p:nvPr/>
          </p:nvSpPr>
          <p:spPr bwMode="auto">
            <a:xfrm>
              <a:off x="1724029" y="1643064"/>
              <a:ext cx="22225" cy="19050"/>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0 w 16"/>
                <a:gd name="T13" fmla="*/ 2147483647 h 12"/>
                <a:gd name="T14" fmla="*/ 0 w 16"/>
                <a:gd name="T15" fmla="*/ 2147483647 h 12"/>
                <a:gd name="T16" fmla="*/ 2147483647 w 16"/>
                <a:gd name="T17" fmla="*/ 2147483647 h 12"/>
                <a:gd name="T18" fmla="*/ 2147483647 w 16"/>
                <a:gd name="T19" fmla="*/ 2147483647 h 12"/>
                <a:gd name="T20" fmla="*/ 2147483647 w 16"/>
                <a:gd name="T21" fmla="*/ 0 h 12"/>
                <a:gd name="T22" fmla="*/ 2147483647 w 16"/>
                <a:gd name="T23" fmla="*/ 0 h 12"/>
                <a:gd name="T24" fmla="*/ 2147483647 w 16"/>
                <a:gd name="T25" fmla="*/ 0 h 12"/>
                <a:gd name="T26" fmla="*/ 2147483647 w 16"/>
                <a:gd name="T27" fmla="*/ 0 h 12"/>
                <a:gd name="T28" fmla="*/ 2147483647 w 16"/>
                <a:gd name="T29" fmla="*/ 2147483647 h 12"/>
                <a:gd name="T30" fmla="*/ 2147483647 w 16"/>
                <a:gd name="T31" fmla="*/ 2147483647 h 12"/>
                <a:gd name="T32" fmla="*/ 2147483647 w 16"/>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2"/>
                <a:gd name="T53" fmla="*/ 16 w 16"/>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2">
                  <a:moveTo>
                    <a:pt x="10" y="8"/>
                  </a:moveTo>
                  <a:lnTo>
                    <a:pt x="9" y="9"/>
                  </a:lnTo>
                  <a:lnTo>
                    <a:pt x="7" y="11"/>
                  </a:lnTo>
                  <a:lnTo>
                    <a:pt x="6" y="12"/>
                  </a:lnTo>
                  <a:lnTo>
                    <a:pt x="4" y="11"/>
                  </a:lnTo>
                  <a:lnTo>
                    <a:pt x="1" y="9"/>
                  </a:lnTo>
                  <a:lnTo>
                    <a:pt x="0" y="8"/>
                  </a:lnTo>
                  <a:lnTo>
                    <a:pt x="0" y="6"/>
                  </a:lnTo>
                  <a:lnTo>
                    <a:pt x="2" y="4"/>
                  </a:lnTo>
                  <a:lnTo>
                    <a:pt x="6" y="1"/>
                  </a:lnTo>
                  <a:lnTo>
                    <a:pt x="10" y="0"/>
                  </a:lnTo>
                  <a:lnTo>
                    <a:pt x="14" y="0"/>
                  </a:lnTo>
                  <a:lnTo>
                    <a:pt x="15" y="0"/>
                  </a:lnTo>
                  <a:lnTo>
                    <a:pt x="16" y="0"/>
                  </a:lnTo>
                  <a:lnTo>
                    <a:pt x="14" y="2"/>
                  </a:lnTo>
                  <a:lnTo>
                    <a:pt x="11" y="6"/>
                  </a:lnTo>
                  <a:lnTo>
                    <a:pt x="10"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8" name="Freeform 927"/>
            <p:cNvSpPr>
              <a:spLocks/>
            </p:cNvSpPr>
            <p:nvPr/>
          </p:nvSpPr>
          <p:spPr bwMode="auto">
            <a:xfrm>
              <a:off x="1889129" y="1646241"/>
              <a:ext cx="22225" cy="23812"/>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0 w 15"/>
                <a:gd name="T17" fmla="*/ 2147483647 h 15"/>
                <a:gd name="T18" fmla="*/ 0 w 15"/>
                <a:gd name="T19" fmla="*/ 2147483647 h 15"/>
                <a:gd name="T20" fmla="*/ 0 w 15"/>
                <a:gd name="T21" fmla="*/ 2147483647 h 15"/>
                <a:gd name="T22" fmla="*/ 2147483647 w 15"/>
                <a:gd name="T23" fmla="*/ 2147483647 h 15"/>
                <a:gd name="T24" fmla="*/ 2147483647 w 15"/>
                <a:gd name="T25" fmla="*/ 2147483647 h 15"/>
                <a:gd name="T26" fmla="*/ 2147483647 w 15"/>
                <a:gd name="T27" fmla="*/ 0 h 15"/>
                <a:gd name="T28" fmla="*/ 2147483647 w 15"/>
                <a:gd name="T29" fmla="*/ 0 h 15"/>
                <a:gd name="T30" fmla="*/ 2147483647 w 15"/>
                <a:gd name="T31" fmla="*/ 0 h 15"/>
                <a:gd name="T32" fmla="*/ 2147483647 w 15"/>
                <a:gd name="T33" fmla="*/ 2147483647 h 15"/>
                <a:gd name="T34" fmla="*/ 2147483647 w 15"/>
                <a:gd name="T35" fmla="*/ 2147483647 h 15"/>
                <a:gd name="T36" fmla="*/ 2147483647 w 15"/>
                <a:gd name="T37" fmla="*/ 2147483647 h 15"/>
                <a:gd name="T38" fmla="*/ 2147483647 w 15"/>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5"/>
                <a:gd name="T62" fmla="*/ 15 w 1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5">
                  <a:moveTo>
                    <a:pt x="11" y="10"/>
                  </a:moveTo>
                  <a:lnTo>
                    <a:pt x="11" y="10"/>
                  </a:lnTo>
                  <a:lnTo>
                    <a:pt x="10" y="13"/>
                  </a:lnTo>
                  <a:lnTo>
                    <a:pt x="9" y="15"/>
                  </a:lnTo>
                  <a:lnTo>
                    <a:pt x="8" y="15"/>
                  </a:lnTo>
                  <a:lnTo>
                    <a:pt x="5" y="15"/>
                  </a:lnTo>
                  <a:lnTo>
                    <a:pt x="1" y="13"/>
                  </a:lnTo>
                  <a:lnTo>
                    <a:pt x="0" y="11"/>
                  </a:lnTo>
                  <a:lnTo>
                    <a:pt x="0" y="9"/>
                  </a:lnTo>
                  <a:lnTo>
                    <a:pt x="1" y="5"/>
                  </a:lnTo>
                  <a:lnTo>
                    <a:pt x="5" y="3"/>
                  </a:lnTo>
                  <a:lnTo>
                    <a:pt x="9" y="0"/>
                  </a:lnTo>
                  <a:lnTo>
                    <a:pt x="13" y="0"/>
                  </a:lnTo>
                  <a:lnTo>
                    <a:pt x="15" y="3"/>
                  </a:lnTo>
                  <a:lnTo>
                    <a:pt x="15" y="5"/>
                  </a:lnTo>
                  <a:lnTo>
                    <a:pt x="11"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29" name="Freeform 928"/>
            <p:cNvSpPr>
              <a:spLocks/>
            </p:cNvSpPr>
            <p:nvPr/>
          </p:nvSpPr>
          <p:spPr bwMode="auto">
            <a:xfrm>
              <a:off x="1722442" y="1641478"/>
              <a:ext cx="22225" cy="19050"/>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0 w 16"/>
                <a:gd name="T17" fmla="*/ 2147483647 h 12"/>
                <a:gd name="T18" fmla="*/ 0 w 16"/>
                <a:gd name="T19" fmla="*/ 2147483647 h 12"/>
                <a:gd name="T20" fmla="*/ 0 w 16"/>
                <a:gd name="T21" fmla="*/ 2147483647 h 12"/>
                <a:gd name="T22" fmla="*/ 2147483647 w 16"/>
                <a:gd name="T23" fmla="*/ 2147483647 h 12"/>
                <a:gd name="T24" fmla="*/ 2147483647 w 16"/>
                <a:gd name="T25" fmla="*/ 2147483647 h 12"/>
                <a:gd name="T26" fmla="*/ 2147483647 w 16"/>
                <a:gd name="T27" fmla="*/ 0 h 12"/>
                <a:gd name="T28" fmla="*/ 2147483647 w 16"/>
                <a:gd name="T29" fmla="*/ 0 h 12"/>
                <a:gd name="T30" fmla="*/ 2147483647 w 16"/>
                <a:gd name="T31" fmla="*/ 0 h 12"/>
                <a:gd name="T32" fmla="*/ 2147483647 w 16"/>
                <a:gd name="T33" fmla="*/ 0 h 12"/>
                <a:gd name="T34" fmla="*/ 2147483647 w 16"/>
                <a:gd name="T35" fmla="*/ 0 h 12"/>
                <a:gd name="T36" fmla="*/ 2147483647 w 16"/>
                <a:gd name="T37" fmla="*/ 2147483647 h 12"/>
                <a:gd name="T38" fmla="*/ 2147483647 w 16"/>
                <a:gd name="T39" fmla="*/ 2147483647 h 12"/>
                <a:gd name="T40" fmla="*/ 2147483647 w 16"/>
                <a:gd name="T41" fmla="*/ 2147483647 h 12"/>
                <a:gd name="T42" fmla="*/ 2147483647 w 16"/>
                <a:gd name="T43" fmla="*/ 2147483647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12"/>
                <a:gd name="T68" fmla="*/ 16 w 16"/>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12">
                  <a:moveTo>
                    <a:pt x="10" y="8"/>
                  </a:moveTo>
                  <a:lnTo>
                    <a:pt x="10" y="8"/>
                  </a:lnTo>
                  <a:lnTo>
                    <a:pt x="8" y="9"/>
                  </a:lnTo>
                  <a:lnTo>
                    <a:pt x="7" y="10"/>
                  </a:lnTo>
                  <a:lnTo>
                    <a:pt x="6" y="12"/>
                  </a:lnTo>
                  <a:lnTo>
                    <a:pt x="3" y="10"/>
                  </a:lnTo>
                  <a:lnTo>
                    <a:pt x="1" y="9"/>
                  </a:lnTo>
                  <a:lnTo>
                    <a:pt x="0" y="8"/>
                  </a:lnTo>
                  <a:lnTo>
                    <a:pt x="0" y="6"/>
                  </a:lnTo>
                  <a:lnTo>
                    <a:pt x="2" y="3"/>
                  </a:lnTo>
                  <a:lnTo>
                    <a:pt x="6" y="1"/>
                  </a:lnTo>
                  <a:lnTo>
                    <a:pt x="10" y="0"/>
                  </a:lnTo>
                  <a:lnTo>
                    <a:pt x="14" y="0"/>
                  </a:lnTo>
                  <a:lnTo>
                    <a:pt x="15" y="0"/>
                  </a:lnTo>
                  <a:lnTo>
                    <a:pt x="16" y="0"/>
                  </a:lnTo>
                  <a:lnTo>
                    <a:pt x="14" y="2"/>
                  </a:lnTo>
                  <a:lnTo>
                    <a:pt x="11" y="6"/>
                  </a:lnTo>
                  <a:lnTo>
                    <a:pt x="10"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0" name="Freeform 929"/>
            <p:cNvSpPr>
              <a:spLocks/>
            </p:cNvSpPr>
            <p:nvPr/>
          </p:nvSpPr>
          <p:spPr bwMode="auto">
            <a:xfrm>
              <a:off x="1693864" y="1606551"/>
              <a:ext cx="36512" cy="26988"/>
            </a:xfrm>
            <a:custGeom>
              <a:avLst/>
              <a:gdLst>
                <a:gd name="T0" fmla="*/ 2147483647 w 25"/>
                <a:gd name="T1" fmla="*/ 2147483647 h 17"/>
                <a:gd name="T2" fmla="*/ 2147483647 w 25"/>
                <a:gd name="T3" fmla="*/ 2147483647 h 17"/>
                <a:gd name="T4" fmla="*/ 2147483647 w 25"/>
                <a:gd name="T5" fmla="*/ 2147483647 h 17"/>
                <a:gd name="T6" fmla="*/ 2147483647 w 25"/>
                <a:gd name="T7" fmla="*/ 2147483647 h 17"/>
                <a:gd name="T8" fmla="*/ 0 w 25"/>
                <a:gd name="T9" fmla="*/ 2147483647 h 17"/>
                <a:gd name="T10" fmla="*/ 0 w 25"/>
                <a:gd name="T11" fmla="*/ 2147483647 h 17"/>
                <a:gd name="T12" fmla="*/ 0 w 25"/>
                <a:gd name="T13" fmla="*/ 2147483647 h 17"/>
                <a:gd name="T14" fmla="*/ 2147483647 w 25"/>
                <a:gd name="T15" fmla="*/ 2147483647 h 17"/>
                <a:gd name="T16" fmla="*/ 2147483647 w 25"/>
                <a:gd name="T17" fmla="*/ 2147483647 h 17"/>
                <a:gd name="T18" fmla="*/ 2147483647 w 25"/>
                <a:gd name="T19" fmla="*/ 2147483647 h 17"/>
                <a:gd name="T20" fmla="*/ 2147483647 w 25"/>
                <a:gd name="T21" fmla="*/ 0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7"/>
                <a:gd name="T53" fmla="*/ 25 w 25"/>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7">
                  <a:moveTo>
                    <a:pt x="12" y="13"/>
                  </a:moveTo>
                  <a:lnTo>
                    <a:pt x="7" y="17"/>
                  </a:lnTo>
                  <a:lnTo>
                    <a:pt x="5" y="17"/>
                  </a:lnTo>
                  <a:lnTo>
                    <a:pt x="2" y="16"/>
                  </a:lnTo>
                  <a:lnTo>
                    <a:pt x="0" y="15"/>
                  </a:lnTo>
                  <a:lnTo>
                    <a:pt x="0" y="12"/>
                  </a:lnTo>
                  <a:lnTo>
                    <a:pt x="0" y="10"/>
                  </a:lnTo>
                  <a:lnTo>
                    <a:pt x="1" y="8"/>
                  </a:lnTo>
                  <a:lnTo>
                    <a:pt x="6" y="4"/>
                  </a:lnTo>
                  <a:lnTo>
                    <a:pt x="11" y="2"/>
                  </a:lnTo>
                  <a:lnTo>
                    <a:pt x="17" y="0"/>
                  </a:lnTo>
                  <a:lnTo>
                    <a:pt x="22" y="2"/>
                  </a:lnTo>
                  <a:lnTo>
                    <a:pt x="25" y="4"/>
                  </a:lnTo>
                  <a:lnTo>
                    <a:pt x="25" y="5"/>
                  </a:lnTo>
                  <a:lnTo>
                    <a:pt x="25" y="8"/>
                  </a:lnTo>
                  <a:lnTo>
                    <a:pt x="22" y="9"/>
                  </a:lnTo>
                  <a:lnTo>
                    <a:pt x="12"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1" name="Freeform 930"/>
            <p:cNvSpPr>
              <a:spLocks/>
            </p:cNvSpPr>
            <p:nvPr/>
          </p:nvSpPr>
          <p:spPr bwMode="auto">
            <a:xfrm>
              <a:off x="1682750" y="1581154"/>
              <a:ext cx="25400" cy="28575"/>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0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0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2147483647 h 18"/>
                <a:gd name="T36" fmla="*/ 2147483647 w 18"/>
                <a:gd name="T37" fmla="*/ 214748364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18"/>
                <a:gd name="T59" fmla="*/ 18 w 18"/>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18">
                  <a:moveTo>
                    <a:pt x="10" y="16"/>
                  </a:moveTo>
                  <a:lnTo>
                    <a:pt x="8" y="18"/>
                  </a:lnTo>
                  <a:lnTo>
                    <a:pt x="5" y="16"/>
                  </a:lnTo>
                  <a:lnTo>
                    <a:pt x="2" y="15"/>
                  </a:lnTo>
                  <a:lnTo>
                    <a:pt x="1" y="13"/>
                  </a:lnTo>
                  <a:lnTo>
                    <a:pt x="0" y="9"/>
                  </a:lnTo>
                  <a:lnTo>
                    <a:pt x="1" y="7"/>
                  </a:lnTo>
                  <a:lnTo>
                    <a:pt x="2" y="3"/>
                  </a:lnTo>
                  <a:lnTo>
                    <a:pt x="5" y="1"/>
                  </a:lnTo>
                  <a:lnTo>
                    <a:pt x="8" y="0"/>
                  </a:lnTo>
                  <a:lnTo>
                    <a:pt x="11" y="1"/>
                  </a:lnTo>
                  <a:lnTo>
                    <a:pt x="14" y="2"/>
                  </a:lnTo>
                  <a:lnTo>
                    <a:pt x="15" y="3"/>
                  </a:lnTo>
                  <a:lnTo>
                    <a:pt x="16" y="6"/>
                  </a:lnTo>
                  <a:lnTo>
                    <a:pt x="18" y="8"/>
                  </a:lnTo>
                  <a:lnTo>
                    <a:pt x="16" y="11"/>
                  </a:lnTo>
                  <a:lnTo>
                    <a:pt x="15" y="13"/>
                  </a:lnTo>
                  <a:lnTo>
                    <a:pt x="14" y="15"/>
                  </a:lnTo>
                  <a:lnTo>
                    <a:pt x="10"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2" name="Freeform 931"/>
            <p:cNvSpPr>
              <a:spLocks/>
            </p:cNvSpPr>
            <p:nvPr/>
          </p:nvSpPr>
          <p:spPr bwMode="auto">
            <a:xfrm>
              <a:off x="1690688" y="1604967"/>
              <a:ext cx="38100" cy="26987"/>
            </a:xfrm>
            <a:custGeom>
              <a:avLst/>
              <a:gdLst>
                <a:gd name="T0" fmla="*/ 2147483647 w 26"/>
                <a:gd name="T1" fmla="*/ 2147483647 h 17"/>
                <a:gd name="T2" fmla="*/ 2147483647 w 26"/>
                <a:gd name="T3" fmla="*/ 2147483647 h 17"/>
                <a:gd name="T4" fmla="*/ 2147483647 w 26"/>
                <a:gd name="T5" fmla="*/ 2147483647 h 17"/>
                <a:gd name="T6" fmla="*/ 2147483647 w 26"/>
                <a:gd name="T7" fmla="*/ 2147483647 h 17"/>
                <a:gd name="T8" fmla="*/ 2147483647 w 26"/>
                <a:gd name="T9" fmla="*/ 2147483647 h 17"/>
                <a:gd name="T10" fmla="*/ 2147483647 w 26"/>
                <a:gd name="T11" fmla="*/ 2147483647 h 17"/>
                <a:gd name="T12" fmla="*/ 0 w 26"/>
                <a:gd name="T13" fmla="*/ 2147483647 h 17"/>
                <a:gd name="T14" fmla="*/ 0 w 26"/>
                <a:gd name="T15" fmla="*/ 2147483647 h 17"/>
                <a:gd name="T16" fmla="*/ 0 w 26"/>
                <a:gd name="T17" fmla="*/ 2147483647 h 17"/>
                <a:gd name="T18" fmla="*/ 2147483647 w 26"/>
                <a:gd name="T19" fmla="*/ 2147483647 h 17"/>
                <a:gd name="T20" fmla="*/ 2147483647 w 26"/>
                <a:gd name="T21" fmla="*/ 2147483647 h 17"/>
                <a:gd name="T22" fmla="*/ 2147483647 w 26"/>
                <a:gd name="T23" fmla="*/ 2147483647 h 17"/>
                <a:gd name="T24" fmla="*/ 2147483647 w 26"/>
                <a:gd name="T25" fmla="*/ 2147483647 h 17"/>
                <a:gd name="T26" fmla="*/ 2147483647 w 26"/>
                <a:gd name="T27" fmla="*/ 0 h 17"/>
                <a:gd name="T28" fmla="*/ 2147483647 w 26"/>
                <a:gd name="T29" fmla="*/ 2147483647 h 17"/>
                <a:gd name="T30" fmla="*/ 2147483647 w 26"/>
                <a:gd name="T31" fmla="*/ 2147483647 h 17"/>
                <a:gd name="T32" fmla="*/ 2147483647 w 26"/>
                <a:gd name="T33" fmla="*/ 2147483647 h 17"/>
                <a:gd name="T34" fmla="*/ 2147483647 w 26"/>
                <a:gd name="T35" fmla="*/ 2147483647 h 17"/>
                <a:gd name="T36" fmla="*/ 2147483647 w 26"/>
                <a:gd name="T37" fmla="*/ 2147483647 h 17"/>
                <a:gd name="T38" fmla="*/ 2147483647 w 26"/>
                <a:gd name="T39" fmla="*/ 2147483647 h 17"/>
                <a:gd name="T40" fmla="*/ 2147483647 w 26"/>
                <a:gd name="T41" fmla="*/ 2147483647 h 17"/>
                <a:gd name="T42" fmla="*/ 2147483647 w 26"/>
                <a:gd name="T43" fmla="*/ 2147483647 h 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
                <a:gd name="T67" fmla="*/ 0 h 17"/>
                <a:gd name="T68" fmla="*/ 26 w 26"/>
                <a:gd name="T69" fmla="*/ 17 h 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 h="17">
                  <a:moveTo>
                    <a:pt x="13" y="13"/>
                  </a:moveTo>
                  <a:lnTo>
                    <a:pt x="13" y="13"/>
                  </a:lnTo>
                  <a:lnTo>
                    <a:pt x="8" y="17"/>
                  </a:lnTo>
                  <a:lnTo>
                    <a:pt x="5" y="17"/>
                  </a:lnTo>
                  <a:lnTo>
                    <a:pt x="3" y="16"/>
                  </a:lnTo>
                  <a:lnTo>
                    <a:pt x="0" y="14"/>
                  </a:lnTo>
                  <a:lnTo>
                    <a:pt x="0" y="12"/>
                  </a:lnTo>
                  <a:lnTo>
                    <a:pt x="0" y="10"/>
                  </a:lnTo>
                  <a:lnTo>
                    <a:pt x="2" y="7"/>
                  </a:lnTo>
                  <a:lnTo>
                    <a:pt x="7" y="4"/>
                  </a:lnTo>
                  <a:lnTo>
                    <a:pt x="12" y="1"/>
                  </a:lnTo>
                  <a:lnTo>
                    <a:pt x="18" y="0"/>
                  </a:lnTo>
                  <a:lnTo>
                    <a:pt x="23" y="1"/>
                  </a:lnTo>
                  <a:lnTo>
                    <a:pt x="26" y="4"/>
                  </a:lnTo>
                  <a:lnTo>
                    <a:pt x="26" y="5"/>
                  </a:lnTo>
                  <a:lnTo>
                    <a:pt x="26" y="7"/>
                  </a:lnTo>
                  <a:lnTo>
                    <a:pt x="23" y="9"/>
                  </a:lnTo>
                  <a:lnTo>
                    <a:pt x="13"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3" name="Freeform 932"/>
            <p:cNvSpPr>
              <a:spLocks/>
            </p:cNvSpPr>
            <p:nvPr/>
          </p:nvSpPr>
          <p:spPr bwMode="auto">
            <a:xfrm>
              <a:off x="1681164" y="1579566"/>
              <a:ext cx="23812" cy="26987"/>
            </a:xfrm>
            <a:custGeom>
              <a:avLst/>
              <a:gdLst>
                <a:gd name="T0" fmla="*/ 2147483647 w 17"/>
                <a:gd name="T1" fmla="*/ 2147483647 h 17"/>
                <a:gd name="T2" fmla="*/ 2147483647 w 17"/>
                <a:gd name="T3" fmla="*/ 2147483647 h 17"/>
                <a:gd name="T4" fmla="*/ 2147483647 w 17"/>
                <a:gd name="T5" fmla="*/ 2147483647 h 17"/>
                <a:gd name="T6" fmla="*/ 2147483647 w 17"/>
                <a:gd name="T7" fmla="*/ 2147483647 h 17"/>
                <a:gd name="T8" fmla="*/ 2147483647 w 17"/>
                <a:gd name="T9" fmla="*/ 2147483647 h 17"/>
                <a:gd name="T10" fmla="*/ 2147483647 w 17"/>
                <a:gd name="T11" fmla="*/ 2147483647 h 17"/>
                <a:gd name="T12" fmla="*/ 2147483647 w 17"/>
                <a:gd name="T13" fmla="*/ 2147483647 h 17"/>
                <a:gd name="T14" fmla="*/ 0 w 17"/>
                <a:gd name="T15" fmla="*/ 2147483647 h 17"/>
                <a:gd name="T16" fmla="*/ 2147483647 w 17"/>
                <a:gd name="T17" fmla="*/ 2147483647 h 17"/>
                <a:gd name="T18" fmla="*/ 2147483647 w 17"/>
                <a:gd name="T19" fmla="*/ 2147483647 h 17"/>
                <a:gd name="T20" fmla="*/ 2147483647 w 17"/>
                <a:gd name="T21" fmla="*/ 2147483647 h 17"/>
                <a:gd name="T22" fmla="*/ 2147483647 w 17"/>
                <a:gd name="T23" fmla="*/ 2147483647 h 17"/>
                <a:gd name="T24" fmla="*/ 2147483647 w 17"/>
                <a:gd name="T25" fmla="*/ 0 h 17"/>
                <a:gd name="T26" fmla="*/ 2147483647 w 17"/>
                <a:gd name="T27" fmla="*/ 2147483647 h 17"/>
                <a:gd name="T28" fmla="*/ 2147483647 w 17"/>
                <a:gd name="T29" fmla="*/ 2147483647 h 17"/>
                <a:gd name="T30" fmla="*/ 2147483647 w 17"/>
                <a:gd name="T31" fmla="*/ 2147483647 h 17"/>
                <a:gd name="T32" fmla="*/ 2147483647 w 17"/>
                <a:gd name="T33" fmla="*/ 2147483647 h 17"/>
                <a:gd name="T34" fmla="*/ 2147483647 w 17"/>
                <a:gd name="T35" fmla="*/ 2147483647 h 17"/>
                <a:gd name="T36" fmla="*/ 2147483647 w 17"/>
                <a:gd name="T37" fmla="*/ 2147483647 h 17"/>
                <a:gd name="T38" fmla="*/ 2147483647 w 17"/>
                <a:gd name="T39" fmla="*/ 2147483647 h 17"/>
                <a:gd name="T40" fmla="*/ 2147483647 w 17"/>
                <a:gd name="T41" fmla="*/ 2147483647 h 17"/>
                <a:gd name="T42" fmla="*/ 2147483647 w 17"/>
                <a:gd name="T43" fmla="*/ 2147483647 h 17"/>
                <a:gd name="T44" fmla="*/ 2147483647 w 17"/>
                <a:gd name="T45" fmla="*/ 2147483647 h 17"/>
                <a:gd name="T46" fmla="*/ 2147483647 w 17"/>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7"/>
                <a:gd name="T74" fmla="*/ 17 w 17"/>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7">
                  <a:moveTo>
                    <a:pt x="10" y="16"/>
                  </a:moveTo>
                  <a:lnTo>
                    <a:pt x="10" y="16"/>
                  </a:lnTo>
                  <a:lnTo>
                    <a:pt x="7" y="17"/>
                  </a:lnTo>
                  <a:lnTo>
                    <a:pt x="5" y="16"/>
                  </a:lnTo>
                  <a:lnTo>
                    <a:pt x="2" y="15"/>
                  </a:lnTo>
                  <a:lnTo>
                    <a:pt x="1" y="13"/>
                  </a:lnTo>
                  <a:lnTo>
                    <a:pt x="0" y="9"/>
                  </a:lnTo>
                  <a:lnTo>
                    <a:pt x="1" y="7"/>
                  </a:lnTo>
                  <a:lnTo>
                    <a:pt x="2" y="3"/>
                  </a:lnTo>
                  <a:lnTo>
                    <a:pt x="5" y="1"/>
                  </a:lnTo>
                  <a:lnTo>
                    <a:pt x="7" y="0"/>
                  </a:lnTo>
                  <a:lnTo>
                    <a:pt x="11" y="1"/>
                  </a:lnTo>
                  <a:lnTo>
                    <a:pt x="14" y="2"/>
                  </a:lnTo>
                  <a:lnTo>
                    <a:pt x="15" y="3"/>
                  </a:lnTo>
                  <a:lnTo>
                    <a:pt x="16" y="6"/>
                  </a:lnTo>
                  <a:lnTo>
                    <a:pt x="17" y="8"/>
                  </a:lnTo>
                  <a:lnTo>
                    <a:pt x="16" y="10"/>
                  </a:lnTo>
                  <a:lnTo>
                    <a:pt x="15" y="13"/>
                  </a:lnTo>
                  <a:lnTo>
                    <a:pt x="14" y="15"/>
                  </a:lnTo>
                  <a:lnTo>
                    <a:pt x="10"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4" name="Freeform 933"/>
            <p:cNvSpPr>
              <a:spLocks/>
            </p:cNvSpPr>
            <p:nvPr/>
          </p:nvSpPr>
          <p:spPr bwMode="auto">
            <a:xfrm>
              <a:off x="1851029" y="1489076"/>
              <a:ext cx="85725" cy="65088"/>
            </a:xfrm>
            <a:custGeom>
              <a:avLst/>
              <a:gdLst>
                <a:gd name="T0" fmla="*/ 2147483647 w 59"/>
                <a:gd name="T1" fmla="*/ 2147483647 h 41"/>
                <a:gd name="T2" fmla="*/ 2147483647 w 59"/>
                <a:gd name="T3" fmla="*/ 2147483647 h 41"/>
                <a:gd name="T4" fmla="*/ 2147483647 w 59"/>
                <a:gd name="T5" fmla="*/ 2147483647 h 41"/>
                <a:gd name="T6" fmla="*/ 2147483647 w 59"/>
                <a:gd name="T7" fmla="*/ 2147483647 h 41"/>
                <a:gd name="T8" fmla="*/ 2147483647 w 59"/>
                <a:gd name="T9" fmla="*/ 2147483647 h 41"/>
                <a:gd name="T10" fmla="*/ 2147483647 w 59"/>
                <a:gd name="T11" fmla="*/ 2147483647 h 41"/>
                <a:gd name="T12" fmla="*/ 2147483647 w 59"/>
                <a:gd name="T13" fmla="*/ 0 h 41"/>
                <a:gd name="T14" fmla="*/ 2147483647 w 59"/>
                <a:gd name="T15" fmla="*/ 2147483647 h 41"/>
                <a:gd name="T16" fmla="*/ 2147483647 w 59"/>
                <a:gd name="T17" fmla="*/ 2147483647 h 41"/>
                <a:gd name="T18" fmla="*/ 2147483647 w 59"/>
                <a:gd name="T19" fmla="*/ 2147483647 h 41"/>
                <a:gd name="T20" fmla="*/ 0 w 59"/>
                <a:gd name="T21" fmla="*/ 2147483647 h 41"/>
                <a:gd name="T22" fmla="*/ 0 w 59"/>
                <a:gd name="T23" fmla="*/ 2147483647 h 41"/>
                <a:gd name="T24" fmla="*/ 2147483647 w 59"/>
                <a:gd name="T25" fmla="*/ 2147483647 h 41"/>
                <a:gd name="T26" fmla="*/ 2147483647 w 59"/>
                <a:gd name="T27" fmla="*/ 2147483647 h 41"/>
                <a:gd name="T28" fmla="*/ 2147483647 w 59"/>
                <a:gd name="T29" fmla="*/ 2147483647 h 41"/>
                <a:gd name="T30" fmla="*/ 2147483647 w 59"/>
                <a:gd name="T31" fmla="*/ 2147483647 h 41"/>
                <a:gd name="T32" fmla="*/ 2147483647 w 59"/>
                <a:gd name="T33" fmla="*/ 2147483647 h 41"/>
                <a:gd name="T34" fmla="*/ 2147483647 w 59"/>
                <a:gd name="T35" fmla="*/ 2147483647 h 41"/>
                <a:gd name="T36" fmla="*/ 2147483647 w 59"/>
                <a:gd name="T37" fmla="*/ 2147483647 h 41"/>
                <a:gd name="T38" fmla="*/ 2147483647 w 59"/>
                <a:gd name="T39" fmla="*/ 2147483647 h 41"/>
                <a:gd name="T40" fmla="*/ 2147483647 w 59"/>
                <a:gd name="T41" fmla="*/ 2147483647 h 41"/>
                <a:gd name="T42" fmla="*/ 2147483647 w 59"/>
                <a:gd name="T43" fmla="*/ 2147483647 h 41"/>
                <a:gd name="T44" fmla="*/ 2147483647 w 59"/>
                <a:gd name="T45" fmla="*/ 2147483647 h 41"/>
                <a:gd name="T46" fmla="*/ 2147483647 w 59"/>
                <a:gd name="T47" fmla="*/ 2147483647 h 41"/>
                <a:gd name="T48" fmla="*/ 2147483647 w 59"/>
                <a:gd name="T49" fmla="*/ 2147483647 h 41"/>
                <a:gd name="T50" fmla="*/ 2147483647 w 59"/>
                <a:gd name="T51" fmla="*/ 2147483647 h 41"/>
                <a:gd name="T52" fmla="*/ 2147483647 w 59"/>
                <a:gd name="T53" fmla="*/ 2147483647 h 41"/>
                <a:gd name="T54" fmla="*/ 2147483647 w 59"/>
                <a:gd name="T55" fmla="*/ 2147483647 h 41"/>
                <a:gd name="T56" fmla="*/ 2147483647 w 59"/>
                <a:gd name="T57" fmla="*/ 2147483647 h 41"/>
                <a:gd name="T58" fmla="*/ 2147483647 w 59"/>
                <a:gd name="T59" fmla="*/ 2147483647 h 41"/>
                <a:gd name="T60" fmla="*/ 2147483647 w 59"/>
                <a:gd name="T61" fmla="*/ 2147483647 h 41"/>
                <a:gd name="T62" fmla="*/ 2147483647 w 59"/>
                <a:gd name="T63" fmla="*/ 2147483647 h 41"/>
                <a:gd name="T64" fmla="*/ 2147483647 w 59"/>
                <a:gd name="T65" fmla="*/ 2147483647 h 41"/>
                <a:gd name="T66" fmla="*/ 2147483647 w 59"/>
                <a:gd name="T67" fmla="*/ 2147483647 h 41"/>
                <a:gd name="T68" fmla="*/ 2147483647 w 59"/>
                <a:gd name="T69" fmla="*/ 2147483647 h 41"/>
                <a:gd name="T70" fmla="*/ 2147483647 w 59"/>
                <a:gd name="T71" fmla="*/ 2147483647 h 41"/>
                <a:gd name="T72" fmla="*/ 2147483647 w 59"/>
                <a:gd name="T73" fmla="*/ 2147483647 h 41"/>
                <a:gd name="T74" fmla="*/ 2147483647 w 59"/>
                <a:gd name="T75" fmla="*/ 2147483647 h 41"/>
                <a:gd name="T76" fmla="*/ 2147483647 w 59"/>
                <a:gd name="T77" fmla="*/ 2147483647 h 41"/>
                <a:gd name="T78" fmla="*/ 2147483647 w 59"/>
                <a:gd name="T79" fmla="*/ 2147483647 h 41"/>
                <a:gd name="T80" fmla="*/ 2147483647 w 59"/>
                <a:gd name="T81" fmla="*/ 2147483647 h 41"/>
                <a:gd name="T82" fmla="*/ 2147483647 w 59"/>
                <a:gd name="T83" fmla="*/ 2147483647 h 41"/>
                <a:gd name="T84" fmla="*/ 2147483647 w 59"/>
                <a:gd name="T85" fmla="*/ 2147483647 h 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
                <a:gd name="T130" fmla="*/ 0 h 41"/>
                <a:gd name="T131" fmla="*/ 59 w 59"/>
                <a:gd name="T132" fmla="*/ 41 h 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 h="41">
                  <a:moveTo>
                    <a:pt x="44" y="13"/>
                  </a:moveTo>
                  <a:lnTo>
                    <a:pt x="37" y="10"/>
                  </a:lnTo>
                  <a:lnTo>
                    <a:pt x="32" y="7"/>
                  </a:lnTo>
                  <a:lnTo>
                    <a:pt x="23" y="6"/>
                  </a:lnTo>
                  <a:lnTo>
                    <a:pt x="20" y="5"/>
                  </a:lnTo>
                  <a:lnTo>
                    <a:pt x="14" y="2"/>
                  </a:lnTo>
                  <a:lnTo>
                    <a:pt x="12" y="0"/>
                  </a:lnTo>
                  <a:lnTo>
                    <a:pt x="7" y="1"/>
                  </a:lnTo>
                  <a:lnTo>
                    <a:pt x="4" y="2"/>
                  </a:lnTo>
                  <a:lnTo>
                    <a:pt x="2" y="5"/>
                  </a:lnTo>
                  <a:lnTo>
                    <a:pt x="0" y="12"/>
                  </a:lnTo>
                  <a:lnTo>
                    <a:pt x="0" y="15"/>
                  </a:lnTo>
                  <a:lnTo>
                    <a:pt x="2" y="19"/>
                  </a:lnTo>
                  <a:lnTo>
                    <a:pt x="6" y="21"/>
                  </a:lnTo>
                  <a:lnTo>
                    <a:pt x="8" y="25"/>
                  </a:lnTo>
                  <a:lnTo>
                    <a:pt x="9" y="28"/>
                  </a:lnTo>
                  <a:lnTo>
                    <a:pt x="9" y="31"/>
                  </a:lnTo>
                  <a:lnTo>
                    <a:pt x="11" y="34"/>
                  </a:lnTo>
                  <a:lnTo>
                    <a:pt x="13" y="38"/>
                  </a:lnTo>
                  <a:lnTo>
                    <a:pt x="17" y="39"/>
                  </a:lnTo>
                  <a:lnTo>
                    <a:pt x="21" y="40"/>
                  </a:lnTo>
                  <a:lnTo>
                    <a:pt x="25" y="41"/>
                  </a:lnTo>
                  <a:lnTo>
                    <a:pt x="30" y="41"/>
                  </a:lnTo>
                  <a:lnTo>
                    <a:pt x="34" y="40"/>
                  </a:lnTo>
                  <a:lnTo>
                    <a:pt x="37" y="38"/>
                  </a:lnTo>
                  <a:lnTo>
                    <a:pt x="39" y="38"/>
                  </a:lnTo>
                  <a:lnTo>
                    <a:pt x="40" y="38"/>
                  </a:lnTo>
                  <a:lnTo>
                    <a:pt x="44" y="40"/>
                  </a:lnTo>
                  <a:lnTo>
                    <a:pt x="45" y="40"/>
                  </a:lnTo>
                  <a:lnTo>
                    <a:pt x="46" y="38"/>
                  </a:lnTo>
                  <a:lnTo>
                    <a:pt x="47" y="35"/>
                  </a:lnTo>
                  <a:lnTo>
                    <a:pt x="53" y="33"/>
                  </a:lnTo>
                  <a:lnTo>
                    <a:pt x="56" y="32"/>
                  </a:lnTo>
                  <a:lnTo>
                    <a:pt x="58" y="31"/>
                  </a:lnTo>
                  <a:lnTo>
                    <a:pt x="59" y="28"/>
                  </a:lnTo>
                  <a:lnTo>
                    <a:pt x="59" y="25"/>
                  </a:lnTo>
                  <a:lnTo>
                    <a:pt x="56" y="21"/>
                  </a:lnTo>
                  <a:lnTo>
                    <a:pt x="55" y="16"/>
                  </a:lnTo>
                  <a:lnTo>
                    <a:pt x="56" y="13"/>
                  </a:lnTo>
                  <a:lnTo>
                    <a:pt x="53" y="12"/>
                  </a:lnTo>
                  <a:lnTo>
                    <a:pt x="47" y="13"/>
                  </a:lnTo>
                  <a:lnTo>
                    <a:pt x="46" y="14"/>
                  </a:lnTo>
                  <a:lnTo>
                    <a:pt x="44"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5" name="Freeform 934"/>
            <p:cNvSpPr>
              <a:spLocks/>
            </p:cNvSpPr>
            <p:nvPr/>
          </p:nvSpPr>
          <p:spPr bwMode="auto">
            <a:xfrm>
              <a:off x="1682750" y="1436692"/>
              <a:ext cx="165100" cy="117475"/>
            </a:xfrm>
            <a:custGeom>
              <a:avLst/>
              <a:gdLst>
                <a:gd name="T0" fmla="*/ 2147483647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0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2147483647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2147483647 w 113"/>
                <a:gd name="T51" fmla="*/ 2147483647 h 74"/>
                <a:gd name="T52" fmla="*/ 2147483647 w 113"/>
                <a:gd name="T53" fmla="*/ 2147483647 h 74"/>
                <a:gd name="T54" fmla="*/ 2147483647 w 113"/>
                <a:gd name="T55" fmla="*/ 2147483647 h 74"/>
                <a:gd name="T56" fmla="*/ 2147483647 w 113"/>
                <a:gd name="T57" fmla="*/ 2147483647 h 74"/>
                <a:gd name="T58" fmla="*/ 2147483647 w 113"/>
                <a:gd name="T59" fmla="*/ 2147483647 h 74"/>
                <a:gd name="T60" fmla="*/ 2147483647 w 113"/>
                <a:gd name="T61" fmla="*/ 2147483647 h 74"/>
                <a:gd name="T62" fmla="*/ 2147483647 w 113"/>
                <a:gd name="T63" fmla="*/ 2147483647 h 74"/>
                <a:gd name="T64" fmla="*/ 2147483647 w 113"/>
                <a:gd name="T65" fmla="*/ 2147483647 h 74"/>
                <a:gd name="T66" fmla="*/ 2147483647 w 113"/>
                <a:gd name="T67" fmla="*/ 2147483647 h 74"/>
                <a:gd name="T68" fmla="*/ 2147483647 w 113"/>
                <a:gd name="T69" fmla="*/ 2147483647 h 74"/>
                <a:gd name="T70" fmla="*/ 2147483647 w 113"/>
                <a:gd name="T71" fmla="*/ 2147483647 h 74"/>
                <a:gd name="T72" fmla="*/ 2147483647 w 113"/>
                <a:gd name="T73" fmla="*/ 2147483647 h 74"/>
                <a:gd name="T74" fmla="*/ 2147483647 w 113"/>
                <a:gd name="T75" fmla="*/ 2147483647 h 74"/>
                <a:gd name="T76" fmla="*/ 2147483647 w 113"/>
                <a:gd name="T77" fmla="*/ 2147483647 h 74"/>
                <a:gd name="T78" fmla="*/ 2147483647 w 113"/>
                <a:gd name="T79" fmla="*/ 2147483647 h 74"/>
                <a:gd name="T80" fmla="*/ 2147483647 w 113"/>
                <a:gd name="T81" fmla="*/ 2147483647 h 74"/>
                <a:gd name="T82" fmla="*/ 2147483647 w 113"/>
                <a:gd name="T83" fmla="*/ 2147483647 h 74"/>
                <a:gd name="T84" fmla="*/ 2147483647 w 113"/>
                <a:gd name="T85" fmla="*/ 2147483647 h 74"/>
                <a:gd name="T86" fmla="*/ 2147483647 w 113"/>
                <a:gd name="T87" fmla="*/ 2147483647 h 74"/>
                <a:gd name="T88" fmla="*/ 2147483647 w 113"/>
                <a:gd name="T89" fmla="*/ 2147483647 h 74"/>
                <a:gd name="T90" fmla="*/ 2147483647 w 113"/>
                <a:gd name="T91" fmla="*/ 2147483647 h 74"/>
                <a:gd name="T92" fmla="*/ 2147483647 w 113"/>
                <a:gd name="T93" fmla="*/ 2147483647 h 74"/>
                <a:gd name="T94" fmla="*/ 2147483647 w 113"/>
                <a:gd name="T95" fmla="*/ 2147483647 h 7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3"/>
                <a:gd name="T145" fmla="*/ 0 h 74"/>
                <a:gd name="T146" fmla="*/ 113 w 113"/>
                <a:gd name="T147" fmla="*/ 74 h 7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3" h="74">
                  <a:moveTo>
                    <a:pt x="47" y="17"/>
                  </a:moveTo>
                  <a:lnTo>
                    <a:pt x="44" y="17"/>
                  </a:lnTo>
                  <a:lnTo>
                    <a:pt x="42" y="17"/>
                  </a:lnTo>
                  <a:lnTo>
                    <a:pt x="37" y="15"/>
                  </a:lnTo>
                  <a:lnTo>
                    <a:pt x="32" y="13"/>
                  </a:lnTo>
                  <a:lnTo>
                    <a:pt x="27" y="10"/>
                  </a:lnTo>
                  <a:lnTo>
                    <a:pt x="20" y="7"/>
                  </a:lnTo>
                  <a:lnTo>
                    <a:pt x="15" y="2"/>
                  </a:lnTo>
                  <a:lnTo>
                    <a:pt x="13" y="1"/>
                  </a:lnTo>
                  <a:lnTo>
                    <a:pt x="10" y="0"/>
                  </a:lnTo>
                  <a:lnTo>
                    <a:pt x="9" y="1"/>
                  </a:lnTo>
                  <a:lnTo>
                    <a:pt x="8" y="4"/>
                  </a:lnTo>
                  <a:lnTo>
                    <a:pt x="8" y="5"/>
                  </a:lnTo>
                  <a:lnTo>
                    <a:pt x="4" y="8"/>
                  </a:lnTo>
                  <a:lnTo>
                    <a:pt x="2" y="9"/>
                  </a:lnTo>
                  <a:lnTo>
                    <a:pt x="1" y="11"/>
                  </a:lnTo>
                  <a:lnTo>
                    <a:pt x="0" y="14"/>
                  </a:lnTo>
                  <a:lnTo>
                    <a:pt x="1" y="19"/>
                  </a:lnTo>
                  <a:lnTo>
                    <a:pt x="2" y="24"/>
                  </a:lnTo>
                  <a:lnTo>
                    <a:pt x="4" y="26"/>
                  </a:lnTo>
                  <a:lnTo>
                    <a:pt x="6" y="27"/>
                  </a:lnTo>
                  <a:lnTo>
                    <a:pt x="10" y="28"/>
                  </a:lnTo>
                  <a:lnTo>
                    <a:pt x="22" y="27"/>
                  </a:lnTo>
                  <a:lnTo>
                    <a:pt x="20" y="32"/>
                  </a:lnTo>
                  <a:lnTo>
                    <a:pt x="22" y="33"/>
                  </a:lnTo>
                  <a:lnTo>
                    <a:pt x="23" y="35"/>
                  </a:lnTo>
                  <a:lnTo>
                    <a:pt x="23" y="36"/>
                  </a:lnTo>
                  <a:lnTo>
                    <a:pt x="22" y="38"/>
                  </a:lnTo>
                  <a:lnTo>
                    <a:pt x="18" y="36"/>
                  </a:lnTo>
                  <a:lnTo>
                    <a:pt x="13" y="36"/>
                  </a:lnTo>
                  <a:lnTo>
                    <a:pt x="11" y="36"/>
                  </a:lnTo>
                  <a:lnTo>
                    <a:pt x="10" y="38"/>
                  </a:lnTo>
                  <a:lnTo>
                    <a:pt x="10" y="40"/>
                  </a:lnTo>
                  <a:lnTo>
                    <a:pt x="10" y="42"/>
                  </a:lnTo>
                  <a:lnTo>
                    <a:pt x="14" y="46"/>
                  </a:lnTo>
                  <a:lnTo>
                    <a:pt x="18" y="49"/>
                  </a:lnTo>
                  <a:lnTo>
                    <a:pt x="22" y="52"/>
                  </a:lnTo>
                  <a:lnTo>
                    <a:pt x="23" y="52"/>
                  </a:lnTo>
                  <a:lnTo>
                    <a:pt x="25" y="52"/>
                  </a:lnTo>
                  <a:lnTo>
                    <a:pt x="30" y="48"/>
                  </a:lnTo>
                  <a:lnTo>
                    <a:pt x="35" y="47"/>
                  </a:lnTo>
                  <a:lnTo>
                    <a:pt x="41" y="46"/>
                  </a:lnTo>
                  <a:lnTo>
                    <a:pt x="43" y="47"/>
                  </a:lnTo>
                  <a:lnTo>
                    <a:pt x="46" y="49"/>
                  </a:lnTo>
                  <a:lnTo>
                    <a:pt x="47" y="48"/>
                  </a:lnTo>
                  <a:lnTo>
                    <a:pt x="48" y="47"/>
                  </a:lnTo>
                  <a:lnTo>
                    <a:pt x="49" y="48"/>
                  </a:lnTo>
                  <a:lnTo>
                    <a:pt x="52" y="51"/>
                  </a:lnTo>
                  <a:lnTo>
                    <a:pt x="56" y="52"/>
                  </a:lnTo>
                  <a:lnTo>
                    <a:pt x="62" y="49"/>
                  </a:lnTo>
                  <a:lnTo>
                    <a:pt x="65" y="49"/>
                  </a:lnTo>
                  <a:lnTo>
                    <a:pt x="67" y="51"/>
                  </a:lnTo>
                  <a:lnTo>
                    <a:pt x="70" y="52"/>
                  </a:lnTo>
                  <a:lnTo>
                    <a:pt x="71" y="55"/>
                  </a:lnTo>
                  <a:lnTo>
                    <a:pt x="74" y="66"/>
                  </a:lnTo>
                  <a:lnTo>
                    <a:pt x="76" y="67"/>
                  </a:lnTo>
                  <a:lnTo>
                    <a:pt x="81" y="66"/>
                  </a:lnTo>
                  <a:lnTo>
                    <a:pt x="85" y="65"/>
                  </a:lnTo>
                  <a:lnTo>
                    <a:pt x="89" y="64"/>
                  </a:lnTo>
                  <a:lnTo>
                    <a:pt x="93" y="65"/>
                  </a:lnTo>
                  <a:lnTo>
                    <a:pt x="99" y="72"/>
                  </a:lnTo>
                  <a:lnTo>
                    <a:pt x="104" y="74"/>
                  </a:lnTo>
                  <a:lnTo>
                    <a:pt x="107" y="74"/>
                  </a:lnTo>
                  <a:lnTo>
                    <a:pt x="109" y="73"/>
                  </a:lnTo>
                  <a:lnTo>
                    <a:pt x="112" y="71"/>
                  </a:lnTo>
                  <a:lnTo>
                    <a:pt x="113" y="70"/>
                  </a:lnTo>
                  <a:lnTo>
                    <a:pt x="112" y="68"/>
                  </a:lnTo>
                  <a:lnTo>
                    <a:pt x="107" y="67"/>
                  </a:lnTo>
                  <a:lnTo>
                    <a:pt x="104" y="65"/>
                  </a:lnTo>
                  <a:lnTo>
                    <a:pt x="103" y="61"/>
                  </a:lnTo>
                  <a:lnTo>
                    <a:pt x="102" y="58"/>
                  </a:lnTo>
                  <a:lnTo>
                    <a:pt x="103" y="49"/>
                  </a:lnTo>
                  <a:lnTo>
                    <a:pt x="103" y="46"/>
                  </a:lnTo>
                  <a:lnTo>
                    <a:pt x="103" y="42"/>
                  </a:lnTo>
                  <a:lnTo>
                    <a:pt x="100" y="39"/>
                  </a:lnTo>
                  <a:lnTo>
                    <a:pt x="96" y="36"/>
                  </a:lnTo>
                  <a:lnTo>
                    <a:pt x="93" y="34"/>
                  </a:lnTo>
                  <a:lnTo>
                    <a:pt x="89" y="30"/>
                  </a:lnTo>
                  <a:lnTo>
                    <a:pt x="88" y="29"/>
                  </a:lnTo>
                  <a:lnTo>
                    <a:pt x="85" y="29"/>
                  </a:lnTo>
                  <a:lnTo>
                    <a:pt x="81" y="32"/>
                  </a:lnTo>
                  <a:lnTo>
                    <a:pt x="77" y="32"/>
                  </a:lnTo>
                  <a:lnTo>
                    <a:pt x="75" y="30"/>
                  </a:lnTo>
                  <a:lnTo>
                    <a:pt x="71" y="27"/>
                  </a:lnTo>
                  <a:lnTo>
                    <a:pt x="70" y="27"/>
                  </a:lnTo>
                  <a:lnTo>
                    <a:pt x="69" y="28"/>
                  </a:lnTo>
                  <a:lnTo>
                    <a:pt x="67" y="29"/>
                  </a:lnTo>
                  <a:lnTo>
                    <a:pt x="65" y="29"/>
                  </a:lnTo>
                  <a:lnTo>
                    <a:pt x="62" y="27"/>
                  </a:lnTo>
                  <a:lnTo>
                    <a:pt x="61" y="24"/>
                  </a:lnTo>
                  <a:lnTo>
                    <a:pt x="58" y="19"/>
                  </a:lnTo>
                  <a:lnTo>
                    <a:pt x="57" y="17"/>
                  </a:lnTo>
                  <a:lnTo>
                    <a:pt x="55" y="16"/>
                  </a:lnTo>
                  <a:lnTo>
                    <a:pt x="51" y="16"/>
                  </a:lnTo>
                  <a:lnTo>
                    <a:pt x="44" y="17"/>
                  </a:lnTo>
                  <a:lnTo>
                    <a:pt x="47" y="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6" name="Freeform 935"/>
            <p:cNvSpPr>
              <a:spLocks/>
            </p:cNvSpPr>
            <p:nvPr/>
          </p:nvSpPr>
          <p:spPr bwMode="auto">
            <a:xfrm>
              <a:off x="1849442" y="1487493"/>
              <a:ext cx="85725" cy="65087"/>
            </a:xfrm>
            <a:custGeom>
              <a:avLst/>
              <a:gdLst>
                <a:gd name="T0" fmla="*/ 2147483647 w 59"/>
                <a:gd name="T1" fmla="*/ 2147483647 h 41"/>
                <a:gd name="T2" fmla="*/ 2147483647 w 59"/>
                <a:gd name="T3" fmla="*/ 2147483647 h 41"/>
                <a:gd name="T4" fmla="*/ 2147483647 w 59"/>
                <a:gd name="T5" fmla="*/ 2147483647 h 41"/>
                <a:gd name="T6" fmla="*/ 2147483647 w 59"/>
                <a:gd name="T7" fmla="*/ 2147483647 h 41"/>
                <a:gd name="T8" fmla="*/ 2147483647 w 59"/>
                <a:gd name="T9" fmla="*/ 2147483647 h 41"/>
                <a:gd name="T10" fmla="*/ 2147483647 w 59"/>
                <a:gd name="T11" fmla="*/ 2147483647 h 41"/>
                <a:gd name="T12" fmla="*/ 2147483647 w 59"/>
                <a:gd name="T13" fmla="*/ 2147483647 h 41"/>
                <a:gd name="T14" fmla="*/ 2147483647 w 59"/>
                <a:gd name="T15" fmla="*/ 2147483647 h 41"/>
                <a:gd name="T16" fmla="*/ 2147483647 w 59"/>
                <a:gd name="T17" fmla="*/ 2147483647 h 41"/>
                <a:gd name="T18" fmla="*/ 2147483647 w 59"/>
                <a:gd name="T19" fmla="*/ 0 h 41"/>
                <a:gd name="T20" fmla="*/ 2147483647 w 59"/>
                <a:gd name="T21" fmla="*/ 2147483647 h 41"/>
                <a:gd name="T22" fmla="*/ 2147483647 w 59"/>
                <a:gd name="T23" fmla="*/ 2147483647 h 41"/>
                <a:gd name="T24" fmla="*/ 2147483647 w 59"/>
                <a:gd name="T25" fmla="*/ 2147483647 h 41"/>
                <a:gd name="T26" fmla="*/ 2147483647 w 59"/>
                <a:gd name="T27" fmla="*/ 2147483647 h 41"/>
                <a:gd name="T28" fmla="*/ 0 w 59"/>
                <a:gd name="T29" fmla="*/ 2147483647 h 41"/>
                <a:gd name="T30" fmla="*/ 0 w 59"/>
                <a:gd name="T31" fmla="*/ 2147483647 h 41"/>
                <a:gd name="T32" fmla="*/ 2147483647 w 59"/>
                <a:gd name="T33" fmla="*/ 2147483647 h 41"/>
                <a:gd name="T34" fmla="*/ 2147483647 w 59"/>
                <a:gd name="T35" fmla="*/ 2147483647 h 41"/>
                <a:gd name="T36" fmla="*/ 2147483647 w 59"/>
                <a:gd name="T37" fmla="*/ 2147483647 h 41"/>
                <a:gd name="T38" fmla="*/ 2147483647 w 59"/>
                <a:gd name="T39" fmla="*/ 2147483647 h 41"/>
                <a:gd name="T40" fmla="*/ 2147483647 w 59"/>
                <a:gd name="T41" fmla="*/ 2147483647 h 41"/>
                <a:gd name="T42" fmla="*/ 2147483647 w 59"/>
                <a:gd name="T43" fmla="*/ 2147483647 h 41"/>
                <a:gd name="T44" fmla="*/ 2147483647 w 59"/>
                <a:gd name="T45" fmla="*/ 2147483647 h 41"/>
                <a:gd name="T46" fmla="*/ 2147483647 w 59"/>
                <a:gd name="T47" fmla="*/ 2147483647 h 41"/>
                <a:gd name="T48" fmla="*/ 2147483647 w 59"/>
                <a:gd name="T49" fmla="*/ 2147483647 h 41"/>
                <a:gd name="T50" fmla="*/ 2147483647 w 59"/>
                <a:gd name="T51" fmla="*/ 2147483647 h 41"/>
                <a:gd name="T52" fmla="*/ 2147483647 w 59"/>
                <a:gd name="T53" fmla="*/ 2147483647 h 41"/>
                <a:gd name="T54" fmla="*/ 2147483647 w 59"/>
                <a:gd name="T55" fmla="*/ 2147483647 h 41"/>
                <a:gd name="T56" fmla="*/ 2147483647 w 59"/>
                <a:gd name="T57" fmla="*/ 2147483647 h 41"/>
                <a:gd name="T58" fmla="*/ 2147483647 w 59"/>
                <a:gd name="T59" fmla="*/ 2147483647 h 41"/>
                <a:gd name="T60" fmla="*/ 2147483647 w 59"/>
                <a:gd name="T61" fmla="*/ 2147483647 h 41"/>
                <a:gd name="T62" fmla="*/ 2147483647 w 59"/>
                <a:gd name="T63" fmla="*/ 2147483647 h 41"/>
                <a:gd name="T64" fmla="*/ 2147483647 w 59"/>
                <a:gd name="T65" fmla="*/ 2147483647 h 41"/>
                <a:gd name="T66" fmla="*/ 2147483647 w 59"/>
                <a:gd name="T67" fmla="*/ 2147483647 h 41"/>
                <a:gd name="T68" fmla="*/ 2147483647 w 59"/>
                <a:gd name="T69" fmla="*/ 2147483647 h 41"/>
                <a:gd name="T70" fmla="*/ 2147483647 w 59"/>
                <a:gd name="T71" fmla="*/ 2147483647 h 41"/>
                <a:gd name="T72" fmla="*/ 2147483647 w 59"/>
                <a:gd name="T73" fmla="*/ 2147483647 h 41"/>
                <a:gd name="T74" fmla="*/ 2147483647 w 59"/>
                <a:gd name="T75" fmla="*/ 2147483647 h 41"/>
                <a:gd name="T76" fmla="*/ 2147483647 w 59"/>
                <a:gd name="T77" fmla="*/ 2147483647 h 41"/>
                <a:gd name="T78" fmla="*/ 2147483647 w 59"/>
                <a:gd name="T79" fmla="*/ 2147483647 h 41"/>
                <a:gd name="T80" fmla="*/ 2147483647 w 59"/>
                <a:gd name="T81" fmla="*/ 2147483647 h 41"/>
                <a:gd name="T82" fmla="*/ 2147483647 w 59"/>
                <a:gd name="T83" fmla="*/ 2147483647 h 41"/>
                <a:gd name="T84" fmla="*/ 2147483647 w 59"/>
                <a:gd name="T85" fmla="*/ 2147483647 h 41"/>
                <a:gd name="T86" fmla="*/ 2147483647 w 59"/>
                <a:gd name="T87" fmla="*/ 2147483647 h 41"/>
                <a:gd name="T88" fmla="*/ 2147483647 w 59"/>
                <a:gd name="T89" fmla="*/ 2147483647 h 41"/>
                <a:gd name="T90" fmla="*/ 2147483647 w 59"/>
                <a:gd name="T91" fmla="*/ 2147483647 h 41"/>
                <a:gd name="T92" fmla="*/ 2147483647 w 59"/>
                <a:gd name="T93" fmla="*/ 2147483647 h 41"/>
                <a:gd name="T94" fmla="*/ 2147483647 w 59"/>
                <a:gd name="T95" fmla="*/ 2147483647 h 41"/>
                <a:gd name="T96" fmla="*/ 2147483647 w 59"/>
                <a:gd name="T97" fmla="*/ 2147483647 h 41"/>
                <a:gd name="T98" fmla="*/ 2147483647 w 59"/>
                <a:gd name="T99" fmla="*/ 2147483647 h 41"/>
                <a:gd name="T100" fmla="*/ 2147483647 w 59"/>
                <a:gd name="T101" fmla="*/ 2147483647 h 41"/>
                <a:gd name="T102" fmla="*/ 2147483647 w 59"/>
                <a:gd name="T103" fmla="*/ 2147483647 h 41"/>
                <a:gd name="T104" fmla="*/ 2147483647 w 59"/>
                <a:gd name="T105" fmla="*/ 2147483647 h 41"/>
                <a:gd name="T106" fmla="*/ 2147483647 w 59"/>
                <a:gd name="T107" fmla="*/ 2147483647 h 41"/>
                <a:gd name="T108" fmla="*/ 2147483647 w 59"/>
                <a:gd name="T109" fmla="*/ 2147483647 h 41"/>
                <a:gd name="T110" fmla="*/ 2147483647 w 59"/>
                <a:gd name="T111" fmla="*/ 2147483647 h 4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
                <a:gd name="T169" fmla="*/ 0 h 41"/>
                <a:gd name="T170" fmla="*/ 59 w 59"/>
                <a:gd name="T171" fmla="*/ 41 h 4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 h="41">
                  <a:moveTo>
                    <a:pt x="43" y="13"/>
                  </a:moveTo>
                  <a:lnTo>
                    <a:pt x="43" y="13"/>
                  </a:lnTo>
                  <a:lnTo>
                    <a:pt x="37" y="10"/>
                  </a:lnTo>
                  <a:lnTo>
                    <a:pt x="32" y="7"/>
                  </a:lnTo>
                  <a:lnTo>
                    <a:pt x="23" y="6"/>
                  </a:lnTo>
                  <a:lnTo>
                    <a:pt x="19" y="4"/>
                  </a:lnTo>
                  <a:lnTo>
                    <a:pt x="14" y="2"/>
                  </a:lnTo>
                  <a:lnTo>
                    <a:pt x="12" y="0"/>
                  </a:lnTo>
                  <a:lnTo>
                    <a:pt x="7" y="1"/>
                  </a:lnTo>
                  <a:lnTo>
                    <a:pt x="4" y="2"/>
                  </a:lnTo>
                  <a:lnTo>
                    <a:pt x="1" y="4"/>
                  </a:lnTo>
                  <a:lnTo>
                    <a:pt x="0" y="11"/>
                  </a:lnTo>
                  <a:lnTo>
                    <a:pt x="0" y="15"/>
                  </a:lnTo>
                  <a:lnTo>
                    <a:pt x="1" y="19"/>
                  </a:lnTo>
                  <a:lnTo>
                    <a:pt x="5" y="21"/>
                  </a:lnTo>
                  <a:lnTo>
                    <a:pt x="8" y="24"/>
                  </a:lnTo>
                  <a:lnTo>
                    <a:pt x="9" y="28"/>
                  </a:lnTo>
                  <a:lnTo>
                    <a:pt x="9" y="30"/>
                  </a:lnTo>
                  <a:lnTo>
                    <a:pt x="10" y="34"/>
                  </a:lnTo>
                  <a:lnTo>
                    <a:pt x="13" y="38"/>
                  </a:lnTo>
                  <a:lnTo>
                    <a:pt x="17" y="39"/>
                  </a:lnTo>
                  <a:lnTo>
                    <a:pt x="21" y="40"/>
                  </a:lnTo>
                  <a:lnTo>
                    <a:pt x="24" y="41"/>
                  </a:lnTo>
                  <a:lnTo>
                    <a:pt x="29" y="41"/>
                  </a:lnTo>
                  <a:lnTo>
                    <a:pt x="33" y="40"/>
                  </a:lnTo>
                  <a:lnTo>
                    <a:pt x="37" y="38"/>
                  </a:lnTo>
                  <a:lnTo>
                    <a:pt x="38" y="38"/>
                  </a:lnTo>
                  <a:lnTo>
                    <a:pt x="40" y="38"/>
                  </a:lnTo>
                  <a:lnTo>
                    <a:pt x="43" y="40"/>
                  </a:lnTo>
                  <a:lnTo>
                    <a:pt x="45" y="40"/>
                  </a:lnTo>
                  <a:lnTo>
                    <a:pt x="46" y="38"/>
                  </a:lnTo>
                  <a:lnTo>
                    <a:pt x="47" y="35"/>
                  </a:lnTo>
                  <a:lnTo>
                    <a:pt x="52" y="33"/>
                  </a:lnTo>
                  <a:lnTo>
                    <a:pt x="56" y="32"/>
                  </a:lnTo>
                  <a:lnTo>
                    <a:pt x="57" y="30"/>
                  </a:lnTo>
                  <a:lnTo>
                    <a:pt x="59" y="28"/>
                  </a:lnTo>
                  <a:lnTo>
                    <a:pt x="59" y="24"/>
                  </a:lnTo>
                  <a:lnTo>
                    <a:pt x="56" y="21"/>
                  </a:lnTo>
                  <a:lnTo>
                    <a:pt x="55" y="16"/>
                  </a:lnTo>
                  <a:lnTo>
                    <a:pt x="56" y="13"/>
                  </a:lnTo>
                  <a:lnTo>
                    <a:pt x="52" y="11"/>
                  </a:lnTo>
                  <a:lnTo>
                    <a:pt x="47" y="13"/>
                  </a:lnTo>
                  <a:lnTo>
                    <a:pt x="46" y="14"/>
                  </a:lnTo>
                  <a:lnTo>
                    <a:pt x="43"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7" name="Freeform 936"/>
            <p:cNvSpPr>
              <a:spLocks/>
            </p:cNvSpPr>
            <p:nvPr/>
          </p:nvSpPr>
          <p:spPr bwMode="auto">
            <a:xfrm>
              <a:off x="1681163" y="1433513"/>
              <a:ext cx="165100" cy="119062"/>
            </a:xfrm>
            <a:custGeom>
              <a:avLst/>
              <a:gdLst>
                <a:gd name="T0" fmla="*/ 2147483647 w 113"/>
                <a:gd name="T1" fmla="*/ 2147483647 h 75"/>
                <a:gd name="T2" fmla="*/ 2147483647 w 113"/>
                <a:gd name="T3" fmla="*/ 2147483647 h 75"/>
                <a:gd name="T4" fmla="*/ 2147483647 w 113"/>
                <a:gd name="T5" fmla="*/ 2147483647 h 75"/>
                <a:gd name="T6" fmla="*/ 2147483647 w 113"/>
                <a:gd name="T7" fmla="*/ 2147483647 h 75"/>
                <a:gd name="T8" fmla="*/ 2147483647 w 113"/>
                <a:gd name="T9" fmla="*/ 2147483647 h 75"/>
                <a:gd name="T10" fmla="*/ 2147483647 w 113"/>
                <a:gd name="T11" fmla="*/ 2147483647 h 75"/>
                <a:gd name="T12" fmla="*/ 2147483647 w 113"/>
                <a:gd name="T13" fmla="*/ 2147483647 h 75"/>
                <a:gd name="T14" fmla="*/ 2147483647 w 113"/>
                <a:gd name="T15" fmla="*/ 2147483647 h 75"/>
                <a:gd name="T16" fmla="*/ 2147483647 w 113"/>
                <a:gd name="T17" fmla="*/ 2147483647 h 75"/>
                <a:gd name="T18" fmla="*/ 2147483647 w 113"/>
                <a:gd name="T19" fmla="*/ 2147483647 h 75"/>
                <a:gd name="T20" fmla="*/ 0 w 113"/>
                <a:gd name="T21" fmla="*/ 2147483647 h 75"/>
                <a:gd name="T22" fmla="*/ 2147483647 w 113"/>
                <a:gd name="T23" fmla="*/ 2147483647 h 75"/>
                <a:gd name="T24" fmla="*/ 2147483647 w 113"/>
                <a:gd name="T25" fmla="*/ 2147483647 h 75"/>
                <a:gd name="T26" fmla="*/ 2147483647 w 113"/>
                <a:gd name="T27" fmla="*/ 2147483647 h 75"/>
                <a:gd name="T28" fmla="*/ 2147483647 w 113"/>
                <a:gd name="T29" fmla="*/ 2147483647 h 75"/>
                <a:gd name="T30" fmla="*/ 2147483647 w 113"/>
                <a:gd name="T31" fmla="*/ 2147483647 h 75"/>
                <a:gd name="T32" fmla="*/ 2147483647 w 113"/>
                <a:gd name="T33" fmla="*/ 2147483647 h 75"/>
                <a:gd name="T34" fmla="*/ 2147483647 w 113"/>
                <a:gd name="T35" fmla="*/ 2147483647 h 75"/>
                <a:gd name="T36" fmla="*/ 2147483647 w 113"/>
                <a:gd name="T37" fmla="*/ 2147483647 h 75"/>
                <a:gd name="T38" fmla="*/ 2147483647 w 113"/>
                <a:gd name="T39" fmla="*/ 2147483647 h 75"/>
                <a:gd name="T40" fmla="*/ 2147483647 w 113"/>
                <a:gd name="T41" fmla="*/ 2147483647 h 75"/>
                <a:gd name="T42" fmla="*/ 2147483647 w 113"/>
                <a:gd name="T43" fmla="*/ 2147483647 h 75"/>
                <a:gd name="T44" fmla="*/ 2147483647 w 113"/>
                <a:gd name="T45" fmla="*/ 2147483647 h 75"/>
                <a:gd name="T46" fmla="*/ 2147483647 w 113"/>
                <a:gd name="T47" fmla="*/ 2147483647 h 75"/>
                <a:gd name="T48" fmla="*/ 2147483647 w 113"/>
                <a:gd name="T49" fmla="*/ 2147483647 h 75"/>
                <a:gd name="T50" fmla="*/ 2147483647 w 113"/>
                <a:gd name="T51" fmla="*/ 2147483647 h 75"/>
                <a:gd name="T52" fmla="*/ 2147483647 w 113"/>
                <a:gd name="T53" fmla="*/ 2147483647 h 75"/>
                <a:gd name="T54" fmla="*/ 2147483647 w 113"/>
                <a:gd name="T55" fmla="*/ 2147483647 h 75"/>
                <a:gd name="T56" fmla="*/ 2147483647 w 113"/>
                <a:gd name="T57" fmla="*/ 2147483647 h 75"/>
                <a:gd name="T58" fmla="*/ 2147483647 w 113"/>
                <a:gd name="T59" fmla="*/ 2147483647 h 75"/>
                <a:gd name="T60" fmla="*/ 2147483647 w 113"/>
                <a:gd name="T61" fmla="*/ 2147483647 h 75"/>
                <a:gd name="T62" fmla="*/ 2147483647 w 113"/>
                <a:gd name="T63" fmla="*/ 2147483647 h 75"/>
                <a:gd name="T64" fmla="*/ 2147483647 w 113"/>
                <a:gd name="T65" fmla="*/ 2147483647 h 75"/>
                <a:gd name="T66" fmla="*/ 2147483647 w 113"/>
                <a:gd name="T67" fmla="*/ 2147483647 h 75"/>
                <a:gd name="T68" fmla="*/ 2147483647 w 113"/>
                <a:gd name="T69" fmla="*/ 2147483647 h 75"/>
                <a:gd name="T70" fmla="*/ 2147483647 w 113"/>
                <a:gd name="T71" fmla="*/ 2147483647 h 75"/>
                <a:gd name="T72" fmla="*/ 2147483647 w 113"/>
                <a:gd name="T73" fmla="*/ 2147483647 h 75"/>
                <a:gd name="T74" fmla="*/ 2147483647 w 113"/>
                <a:gd name="T75" fmla="*/ 2147483647 h 75"/>
                <a:gd name="T76" fmla="*/ 2147483647 w 113"/>
                <a:gd name="T77" fmla="*/ 2147483647 h 75"/>
                <a:gd name="T78" fmla="*/ 2147483647 w 113"/>
                <a:gd name="T79" fmla="*/ 2147483647 h 75"/>
                <a:gd name="T80" fmla="*/ 2147483647 w 113"/>
                <a:gd name="T81" fmla="*/ 2147483647 h 75"/>
                <a:gd name="T82" fmla="*/ 2147483647 w 113"/>
                <a:gd name="T83" fmla="*/ 2147483647 h 75"/>
                <a:gd name="T84" fmla="*/ 2147483647 w 113"/>
                <a:gd name="T85" fmla="*/ 2147483647 h 75"/>
                <a:gd name="T86" fmla="*/ 2147483647 w 113"/>
                <a:gd name="T87" fmla="*/ 2147483647 h 75"/>
                <a:gd name="T88" fmla="*/ 2147483647 w 113"/>
                <a:gd name="T89" fmla="*/ 2147483647 h 75"/>
                <a:gd name="T90" fmla="*/ 2147483647 w 113"/>
                <a:gd name="T91" fmla="*/ 2147483647 h 75"/>
                <a:gd name="T92" fmla="*/ 2147483647 w 113"/>
                <a:gd name="T93" fmla="*/ 2147483647 h 75"/>
                <a:gd name="T94" fmla="*/ 2147483647 w 113"/>
                <a:gd name="T95" fmla="*/ 2147483647 h 75"/>
                <a:gd name="T96" fmla="*/ 2147483647 w 113"/>
                <a:gd name="T97" fmla="*/ 2147483647 h 75"/>
                <a:gd name="T98" fmla="*/ 2147483647 w 113"/>
                <a:gd name="T99" fmla="*/ 2147483647 h 75"/>
                <a:gd name="T100" fmla="*/ 2147483647 w 113"/>
                <a:gd name="T101" fmla="*/ 2147483647 h 75"/>
                <a:gd name="T102" fmla="*/ 2147483647 w 113"/>
                <a:gd name="T103" fmla="*/ 2147483647 h 75"/>
                <a:gd name="T104" fmla="*/ 2147483647 w 113"/>
                <a:gd name="T105" fmla="*/ 2147483647 h 75"/>
                <a:gd name="T106" fmla="*/ 2147483647 w 113"/>
                <a:gd name="T107" fmla="*/ 2147483647 h 75"/>
                <a:gd name="T108" fmla="*/ 2147483647 w 113"/>
                <a:gd name="T109" fmla="*/ 2147483647 h 75"/>
                <a:gd name="T110" fmla="*/ 2147483647 w 113"/>
                <a:gd name="T111" fmla="*/ 2147483647 h 75"/>
                <a:gd name="T112" fmla="*/ 2147483647 w 113"/>
                <a:gd name="T113" fmla="*/ 2147483647 h 75"/>
                <a:gd name="T114" fmla="*/ 2147483647 w 113"/>
                <a:gd name="T115" fmla="*/ 2147483647 h 75"/>
                <a:gd name="T116" fmla="*/ 2147483647 w 113"/>
                <a:gd name="T117" fmla="*/ 2147483647 h 75"/>
                <a:gd name="T118" fmla="*/ 2147483647 w 113"/>
                <a:gd name="T119" fmla="*/ 2147483647 h 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3"/>
                <a:gd name="T181" fmla="*/ 0 h 75"/>
                <a:gd name="T182" fmla="*/ 113 w 113"/>
                <a:gd name="T183" fmla="*/ 75 h 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3" h="75">
                  <a:moveTo>
                    <a:pt x="47" y="18"/>
                  </a:moveTo>
                  <a:lnTo>
                    <a:pt x="47" y="18"/>
                  </a:lnTo>
                  <a:lnTo>
                    <a:pt x="44" y="18"/>
                  </a:lnTo>
                  <a:lnTo>
                    <a:pt x="42" y="18"/>
                  </a:lnTo>
                  <a:lnTo>
                    <a:pt x="36" y="16"/>
                  </a:lnTo>
                  <a:lnTo>
                    <a:pt x="31" y="13"/>
                  </a:lnTo>
                  <a:lnTo>
                    <a:pt x="26" y="11"/>
                  </a:lnTo>
                  <a:lnTo>
                    <a:pt x="20" y="7"/>
                  </a:lnTo>
                  <a:lnTo>
                    <a:pt x="15" y="3"/>
                  </a:lnTo>
                  <a:lnTo>
                    <a:pt x="12" y="2"/>
                  </a:lnTo>
                  <a:lnTo>
                    <a:pt x="10" y="0"/>
                  </a:lnTo>
                  <a:lnTo>
                    <a:pt x="9" y="2"/>
                  </a:lnTo>
                  <a:lnTo>
                    <a:pt x="7" y="5"/>
                  </a:lnTo>
                  <a:lnTo>
                    <a:pt x="7" y="6"/>
                  </a:lnTo>
                  <a:lnTo>
                    <a:pt x="3" y="9"/>
                  </a:lnTo>
                  <a:lnTo>
                    <a:pt x="2" y="10"/>
                  </a:lnTo>
                  <a:lnTo>
                    <a:pt x="1" y="12"/>
                  </a:lnTo>
                  <a:lnTo>
                    <a:pt x="0" y="15"/>
                  </a:lnTo>
                  <a:lnTo>
                    <a:pt x="1" y="19"/>
                  </a:lnTo>
                  <a:lnTo>
                    <a:pt x="2" y="25"/>
                  </a:lnTo>
                  <a:lnTo>
                    <a:pt x="3" y="26"/>
                  </a:lnTo>
                  <a:lnTo>
                    <a:pt x="6" y="28"/>
                  </a:lnTo>
                  <a:lnTo>
                    <a:pt x="10" y="29"/>
                  </a:lnTo>
                  <a:lnTo>
                    <a:pt x="21" y="28"/>
                  </a:lnTo>
                  <a:lnTo>
                    <a:pt x="20" y="32"/>
                  </a:lnTo>
                  <a:lnTo>
                    <a:pt x="21" y="34"/>
                  </a:lnTo>
                  <a:lnTo>
                    <a:pt x="23" y="36"/>
                  </a:lnTo>
                  <a:lnTo>
                    <a:pt x="23" y="37"/>
                  </a:lnTo>
                  <a:lnTo>
                    <a:pt x="21" y="38"/>
                  </a:lnTo>
                  <a:lnTo>
                    <a:pt x="17" y="37"/>
                  </a:lnTo>
                  <a:lnTo>
                    <a:pt x="12" y="37"/>
                  </a:lnTo>
                  <a:lnTo>
                    <a:pt x="11" y="37"/>
                  </a:lnTo>
                  <a:lnTo>
                    <a:pt x="10" y="38"/>
                  </a:lnTo>
                  <a:lnTo>
                    <a:pt x="10" y="41"/>
                  </a:lnTo>
                  <a:lnTo>
                    <a:pt x="10" y="43"/>
                  </a:lnTo>
                  <a:lnTo>
                    <a:pt x="14" y="47"/>
                  </a:lnTo>
                  <a:lnTo>
                    <a:pt x="17" y="50"/>
                  </a:lnTo>
                  <a:lnTo>
                    <a:pt x="21" y="53"/>
                  </a:lnTo>
                  <a:lnTo>
                    <a:pt x="23" y="53"/>
                  </a:lnTo>
                  <a:lnTo>
                    <a:pt x="25" y="53"/>
                  </a:lnTo>
                  <a:lnTo>
                    <a:pt x="30" y="49"/>
                  </a:lnTo>
                  <a:lnTo>
                    <a:pt x="35" y="48"/>
                  </a:lnTo>
                  <a:lnTo>
                    <a:pt x="40" y="47"/>
                  </a:lnTo>
                  <a:lnTo>
                    <a:pt x="43" y="48"/>
                  </a:lnTo>
                  <a:lnTo>
                    <a:pt x="45" y="50"/>
                  </a:lnTo>
                  <a:lnTo>
                    <a:pt x="47" y="49"/>
                  </a:lnTo>
                  <a:lnTo>
                    <a:pt x="48" y="48"/>
                  </a:lnTo>
                  <a:lnTo>
                    <a:pt x="49" y="49"/>
                  </a:lnTo>
                  <a:lnTo>
                    <a:pt x="52" y="51"/>
                  </a:lnTo>
                  <a:lnTo>
                    <a:pt x="56" y="53"/>
                  </a:lnTo>
                  <a:lnTo>
                    <a:pt x="62" y="50"/>
                  </a:lnTo>
                  <a:lnTo>
                    <a:pt x="64" y="50"/>
                  </a:lnTo>
                  <a:lnTo>
                    <a:pt x="67" y="51"/>
                  </a:lnTo>
                  <a:lnTo>
                    <a:pt x="70" y="53"/>
                  </a:lnTo>
                  <a:lnTo>
                    <a:pt x="71" y="56"/>
                  </a:lnTo>
                  <a:lnTo>
                    <a:pt x="73" y="67"/>
                  </a:lnTo>
                  <a:lnTo>
                    <a:pt x="76" y="68"/>
                  </a:lnTo>
                  <a:lnTo>
                    <a:pt x="81" y="67"/>
                  </a:lnTo>
                  <a:lnTo>
                    <a:pt x="85" y="66"/>
                  </a:lnTo>
                  <a:lnTo>
                    <a:pt x="89" y="64"/>
                  </a:lnTo>
                  <a:lnTo>
                    <a:pt x="92" y="66"/>
                  </a:lnTo>
                  <a:lnTo>
                    <a:pt x="99" y="73"/>
                  </a:lnTo>
                  <a:lnTo>
                    <a:pt x="104" y="75"/>
                  </a:lnTo>
                  <a:lnTo>
                    <a:pt x="106" y="75"/>
                  </a:lnTo>
                  <a:lnTo>
                    <a:pt x="109" y="74"/>
                  </a:lnTo>
                  <a:lnTo>
                    <a:pt x="111" y="72"/>
                  </a:lnTo>
                  <a:lnTo>
                    <a:pt x="113" y="70"/>
                  </a:lnTo>
                  <a:lnTo>
                    <a:pt x="111" y="69"/>
                  </a:lnTo>
                  <a:lnTo>
                    <a:pt x="106" y="68"/>
                  </a:lnTo>
                  <a:lnTo>
                    <a:pt x="104" y="66"/>
                  </a:lnTo>
                  <a:lnTo>
                    <a:pt x="103" y="62"/>
                  </a:lnTo>
                  <a:lnTo>
                    <a:pt x="101" y="58"/>
                  </a:lnTo>
                  <a:lnTo>
                    <a:pt x="103" y="50"/>
                  </a:lnTo>
                  <a:lnTo>
                    <a:pt x="103" y="47"/>
                  </a:lnTo>
                  <a:lnTo>
                    <a:pt x="103" y="43"/>
                  </a:lnTo>
                  <a:lnTo>
                    <a:pt x="100" y="40"/>
                  </a:lnTo>
                  <a:lnTo>
                    <a:pt x="96" y="37"/>
                  </a:lnTo>
                  <a:lnTo>
                    <a:pt x="92" y="35"/>
                  </a:lnTo>
                  <a:lnTo>
                    <a:pt x="89" y="31"/>
                  </a:lnTo>
                  <a:lnTo>
                    <a:pt x="87" y="30"/>
                  </a:lnTo>
                  <a:lnTo>
                    <a:pt x="85" y="30"/>
                  </a:lnTo>
                  <a:lnTo>
                    <a:pt x="81" y="32"/>
                  </a:lnTo>
                  <a:lnTo>
                    <a:pt x="77" y="32"/>
                  </a:lnTo>
                  <a:lnTo>
                    <a:pt x="75" y="31"/>
                  </a:lnTo>
                  <a:lnTo>
                    <a:pt x="71" y="28"/>
                  </a:lnTo>
                  <a:lnTo>
                    <a:pt x="70" y="28"/>
                  </a:lnTo>
                  <a:lnTo>
                    <a:pt x="68" y="29"/>
                  </a:lnTo>
                  <a:lnTo>
                    <a:pt x="67" y="30"/>
                  </a:lnTo>
                  <a:lnTo>
                    <a:pt x="64" y="30"/>
                  </a:lnTo>
                  <a:lnTo>
                    <a:pt x="62" y="28"/>
                  </a:lnTo>
                  <a:lnTo>
                    <a:pt x="61" y="25"/>
                  </a:lnTo>
                  <a:lnTo>
                    <a:pt x="58" y="19"/>
                  </a:lnTo>
                  <a:lnTo>
                    <a:pt x="57" y="18"/>
                  </a:lnTo>
                  <a:lnTo>
                    <a:pt x="54" y="17"/>
                  </a:lnTo>
                  <a:lnTo>
                    <a:pt x="50" y="17"/>
                  </a:lnTo>
                  <a:lnTo>
                    <a:pt x="44" y="18"/>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8" name="Freeform 937"/>
            <p:cNvSpPr>
              <a:spLocks/>
            </p:cNvSpPr>
            <p:nvPr/>
          </p:nvSpPr>
          <p:spPr bwMode="auto">
            <a:xfrm>
              <a:off x="1649413" y="1520825"/>
              <a:ext cx="31750" cy="52388"/>
            </a:xfrm>
            <a:custGeom>
              <a:avLst/>
              <a:gdLst>
                <a:gd name="T0" fmla="*/ 2147483647 w 21"/>
                <a:gd name="T1" fmla="*/ 2147483647 h 33"/>
                <a:gd name="T2" fmla="*/ 2147483647 w 21"/>
                <a:gd name="T3" fmla="*/ 2147483647 h 33"/>
                <a:gd name="T4" fmla="*/ 2147483647 w 21"/>
                <a:gd name="T5" fmla="*/ 2147483647 h 33"/>
                <a:gd name="T6" fmla="*/ 2147483647 w 21"/>
                <a:gd name="T7" fmla="*/ 2147483647 h 33"/>
                <a:gd name="T8" fmla="*/ 2147483647 w 21"/>
                <a:gd name="T9" fmla="*/ 2147483647 h 33"/>
                <a:gd name="T10" fmla="*/ 2147483647 w 21"/>
                <a:gd name="T11" fmla="*/ 2147483647 h 33"/>
                <a:gd name="T12" fmla="*/ 2147483647 w 21"/>
                <a:gd name="T13" fmla="*/ 2147483647 h 33"/>
                <a:gd name="T14" fmla="*/ 2147483647 w 21"/>
                <a:gd name="T15" fmla="*/ 2147483647 h 33"/>
                <a:gd name="T16" fmla="*/ 2147483647 w 21"/>
                <a:gd name="T17" fmla="*/ 2147483647 h 33"/>
                <a:gd name="T18" fmla="*/ 2147483647 w 21"/>
                <a:gd name="T19" fmla="*/ 2147483647 h 33"/>
                <a:gd name="T20" fmla="*/ 0 w 21"/>
                <a:gd name="T21" fmla="*/ 2147483647 h 33"/>
                <a:gd name="T22" fmla="*/ 0 w 21"/>
                <a:gd name="T23" fmla="*/ 2147483647 h 33"/>
                <a:gd name="T24" fmla="*/ 2147483647 w 21"/>
                <a:gd name="T25" fmla="*/ 2147483647 h 33"/>
                <a:gd name="T26" fmla="*/ 2147483647 w 21"/>
                <a:gd name="T27" fmla="*/ 2147483647 h 33"/>
                <a:gd name="T28" fmla="*/ 2147483647 w 21"/>
                <a:gd name="T29" fmla="*/ 0 h 33"/>
                <a:gd name="T30" fmla="*/ 2147483647 w 21"/>
                <a:gd name="T31" fmla="*/ 0 h 33"/>
                <a:gd name="T32" fmla="*/ 2147483647 w 21"/>
                <a:gd name="T33" fmla="*/ 0 h 33"/>
                <a:gd name="T34" fmla="*/ 2147483647 w 21"/>
                <a:gd name="T35" fmla="*/ 2147483647 h 33"/>
                <a:gd name="T36" fmla="*/ 2147483647 w 21"/>
                <a:gd name="T37" fmla="*/ 2147483647 h 33"/>
                <a:gd name="T38" fmla="*/ 2147483647 w 21"/>
                <a:gd name="T39" fmla="*/ 2147483647 h 33"/>
                <a:gd name="T40" fmla="*/ 2147483647 w 21"/>
                <a:gd name="T41" fmla="*/ 2147483647 h 33"/>
                <a:gd name="T42" fmla="*/ 2147483647 w 21"/>
                <a:gd name="T43" fmla="*/ 2147483647 h 3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33"/>
                <a:gd name="T68" fmla="*/ 21 w 21"/>
                <a:gd name="T69" fmla="*/ 33 h 3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33">
                  <a:moveTo>
                    <a:pt x="16" y="14"/>
                  </a:moveTo>
                  <a:lnTo>
                    <a:pt x="19" y="17"/>
                  </a:lnTo>
                  <a:lnTo>
                    <a:pt x="21" y="19"/>
                  </a:lnTo>
                  <a:lnTo>
                    <a:pt x="21" y="24"/>
                  </a:lnTo>
                  <a:lnTo>
                    <a:pt x="19" y="30"/>
                  </a:lnTo>
                  <a:lnTo>
                    <a:pt x="16" y="32"/>
                  </a:lnTo>
                  <a:lnTo>
                    <a:pt x="14" y="33"/>
                  </a:lnTo>
                  <a:lnTo>
                    <a:pt x="12" y="32"/>
                  </a:lnTo>
                  <a:lnTo>
                    <a:pt x="5" y="27"/>
                  </a:lnTo>
                  <a:lnTo>
                    <a:pt x="2" y="19"/>
                  </a:lnTo>
                  <a:lnTo>
                    <a:pt x="0" y="15"/>
                  </a:lnTo>
                  <a:lnTo>
                    <a:pt x="0" y="11"/>
                  </a:lnTo>
                  <a:lnTo>
                    <a:pt x="2" y="6"/>
                  </a:lnTo>
                  <a:lnTo>
                    <a:pt x="3" y="2"/>
                  </a:lnTo>
                  <a:lnTo>
                    <a:pt x="5" y="0"/>
                  </a:lnTo>
                  <a:lnTo>
                    <a:pt x="7" y="0"/>
                  </a:lnTo>
                  <a:lnTo>
                    <a:pt x="8" y="0"/>
                  </a:lnTo>
                  <a:lnTo>
                    <a:pt x="11" y="1"/>
                  </a:lnTo>
                  <a:lnTo>
                    <a:pt x="12" y="3"/>
                  </a:lnTo>
                  <a:lnTo>
                    <a:pt x="13" y="11"/>
                  </a:lnTo>
                  <a:lnTo>
                    <a:pt x="14" y="12"/>
                  </a:lnTo>
                  <a:lnTo>
                    <a:pt x="16"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39" name="Freeform 938"/>
            <p:cNvSpPr>
              <a:spLocks/>
            </p:cNvSpPr>
            <p:nvPr/>
          </p:nvSpPr>
          <p:spPr bwMode="auto">
            <a:xfrm>
              <a:off x="1443042" y="1497014"/>
              <a:ext cx="33337" cy="38100"/>
            </a:xfrm>
            <a:custGeom>
              <a:avLst/>
              <a:gdLst>
                <a:gd name="T0" fmla="*/ 2147483647 w 22"/>
                <a:gd name="T1" fmla="*/ 2147483647 h 24"/>
                <a:gd name="T2" fmla="*/ 2147483647 w 22"/>
                <a:gd name="T3" fmla="*/ 2147483647 h 24"/>
                <a:gd name="T4" fmla="*/ 2147483647 w 22"/>
                <a:gd name="T5" fmla="*/ 2147483647 h 24"/>
                <a:gd name="T6" fmla="*/ 2147483647 w 22"/>
                <a:gd name="T7" fmla="*/ 2147483647 h 24"/>
                <a:gd name="T8" fmla="*/ 2147483647 w 22"/>
                <a:gd name="T9" fmla="*/ 2147483647 h 24"/>
                <a:gd name="T10" fmla="*/ 2147483647 w 22"/>
                <a:gd name="T11" fmla="*/ 2147483647 h 24"/>
                <a:gd name="T12" fmla="*/ 2147483647 w 22"/>
                <a:gd name="T13" fmla="*/ 2147483647 h 24"/>
                <a:gd name="T14" fmla="*/ 2147483647 w 22"/>
                <a:gd name="T15" fmla="*/ 2147483647 h 24"/>
                <a:gd name="T16" fmla="*/ 2147483647 w 22"/>
                <a:gd name="T17" fmla="*/ 2147483647 h 24"/>
                <a:gd name="T18" fmla="*/ 2147483647 w 22"/>
                <a:gd name="T19" fmla="*/ 2147483647 h 24"/>
                <a:gd name="T20" fmla="*/ 0 w 22"/>
                <a:gd name="T21" fmla="*/ 2147483647 h 24"/>
                <a:gd name="T22" fmla="*/ 2147483647 w 22"/>
                <a:gd name="T23" fmla="*/ 2147483647 h 24"/>
                <a:gd name="T24" fmla="*/ 2147483647 w 22"/>
                <a:gd name="T25" fmla="*/ 2147483647 h 24"/>
                <a:gd name="T26" fmla="*/ 2147483647 w 22"/>
                <a:gd name="T27" fmla="*/ 2147483647 h 24"/>
                <a:gd name="T28" fmla="*/ 2147483647 w 22"/>
                <a:gd name="T29" fmla="*/ 0 h 24"/>
                <a:gd name="T30" fmla="*/ 2147483647 w 22"/>
                <a:gd name="T31" fmla="*/ 2147483647 h 24"/>
                <a:gd name="T32" fmla="*/ 2147483647 w 22"/>
                <a:gd name="T33" fmla="*/ 2147483647 h 24"/>
                <a:gd name="T34" fmla="*/ 2147483647 w 22"/>
                <a:gd name="T35" fmla="*/ 2147483647 h 24"/>
                <a:gd name="T36" fmla="*/ 2147483647 w 22"/>
                <a:gd name="T37" fmla="*/ 2147483647 h 24"/>
                <a:gd name="T38" fmla="*/ 2147483647 w 22"/>
                <a:gd name="T39" fmla="*/ 2147483647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24"/>
                <a:gd name="T62" fmla="*/ 22 w 22"/>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24">
                  <a:moveTo>
                    <a:pt x="19" y="9"/>
                  </a:moveTo>
                  <a:lnTo>
                    <a:pt x="22" y="11"/>
                  </a:lnTo>
                  <a:lnTo>
                    <a:pt x="22" y="15"/>
                  </a:lnTo>
                  <a:lnTo>
                    <a:pt x="21" y="18"/>
                  </a:lnTo>
                  <a:lnTo>
                    <a:pt x="18" y="21"/>
                  </a:lnTo>
                  <a:lnTo>
                    <a:pt x="14" y="23"/>
                  </a:lnTo>
                  <a:lnTo>
                    <a:pt x="9" y="24"/>
                  </a:lnTo>
                  <a:lnTo>
                    <a:pt x="5" y="23"/>
                  </a:lnTo>
                  <a:lnTo>
                    <a:pt x="4" y="22"/>
                  </a:lnTo>
                  <a:lnTo>
                    <a:pt x="3" y="21"/>
                  </a:lnTo>
                  <a:lnTo>
                    <a:pt x="0" y="14"/>
                  </a:lnTo>
                  <a:lnTo>
                    <a:pt x="2" y="7"/>
                  </a:lnTo>
                  <a:lnTo>
                    <a:pt x="3" y="3"/>
                  </a:lnTo>
                  <a:lnTo>
                    <a:pt x="5" y="1"/>
                  </a:lnTo>
                  <a:lnTo>
                    <a:pt x="8" y="0"/>
                  </a:lnTo>
                  <a:lnTo>
                    <a:pt x="13" y="1"/>
                  </a:lnTo>
                  <a:lnTo>
                    <a:pt x="16" y="2"/>
                  </a:lnTo>
                  <a:lnTo>
                    <a:pt x="17" y="4"/>
                  </a:lnTo>
                  <a:lnTo>
                    <a:pt x="18" y="7"/>
                  </a:lnTo>
                  <a:lnTo>
                    <a:pt x="1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0" name="Freeform 939"/>
            <p:cNvSpPr>
              <a:spLocks/>
            </p:cNvSpPr>
            <p:nvPr/>
          </p:nvSpPr>
          <p:spPr bwMode="auto">
            <a:xfrm>
              <a:off x="1647829" y="1519241"/>
              <a:ext cx="30163" cy="52387"/>
            </a:xfrm>
            <a:custGeom>
              <a:avLst/>
              <a:gdLst>
                <a:gd name="T0" fmla="*/ 2147483647 w 20"/>
                <a:gd name="T1" fmla="*/ 2147483647 h 33"/>
                <a:gd name="T2" fmla="*/ 2147483647 w 20"/>
                <a:gd name="T3" fmla="*/ 2147483647 h 33"/>
                <a:gd name="T4" fmla="*/ 2147483647 w 20"/>
                <a:gd name="T5" fmla="*/ 2147483647 h 33"/>
                <a:gd name="T6" fmla="*/ 2147483647 w 20"/>
                <a:gd name="T7" fmla="*/ 2147483647 h 33"/>
                <a:gd name="T8" fmla="*/ 2147483647 w 20"/>
                <a:gd name="T9" fmla="*/ 2147483647 h 33"/>
                <a:gd name="T10" fmla="*/ 2147483647 w 20"/>
                <a:gd name="T11" fmla="*/ 2147483647 h 33"/>
                <a:gd name="T12" fmla="*/ 2147483647 w 20"/>
                <a:gd name="T13" fmla="*/ 2147483647 h 33"/>
                <a:gd name="T14" fmla="*/ 2147483647 w 20"/>
                <a:gd name="T15" fmla="*/ 2147483647 h 33"/>
                <a:gd name="T16" fmla="*/ 2147483647 w 20"/>
                <a:gd name="T17" fmla="*/ 2147483647 h 33"/>
                <a:gd name="T18" fmla="*/ 2147483647 w 20"/>
                <a:gd name="T19" fmla="*/ 2147483647 h 33"/>
                <a:gd name="T20" fmla="*/ 2147483647 w 20"/>
                <a:gd name="T21" fmla="*/ 2147483647 h 33"/>
                <a:gd name="T22" fmla="*/ 2147483647 w 20"/>
                <a:gd name="T23" fmla="*/ 2147483647 h 33"/>
                <a:gd name="T24" fmla="*/ 2147483647 w 20"/>
                <a:gd name="T25" fmla="*/ 2147483647 h 33"/>
                <a:gd name="T26" fmla="*/ 0 w 20"/>
                <a:gd name="T27" fmla="*/ 2147483647 h 33"/>
                <a:gd name="T28" fmla="*/ 0 w 20"/>
                <a:gd name="T29" fmla="*/ 2147483647 h 33"/>
                <a:gd name="T30" fmla="*/ 2147483647 w 20"/>
                <a:gd name="T31" fmla="*/ 2147483647 h 33"/>
                <a:gd name="T32" fmla="*/ 2147483647 w 20"/>
                <a:gd name="T33" fmla="*/ 2147483647 h 33"/>
                <a:gd name="T34" fmla="*/ 2147483647 w 20"/>
                <a:gd name="T35" fmla="*/ 2147483647 h 33"/>
                <a:gd name="T36" fmla="*/ 2147483647 w 20"/>
                <a:gd name="T37" fmla="*/ 0 h 33"/>
                <a:gd name="T38" fmla="*/ 2147483647 w 20"/>
                <a:gd name="T39" fmla="*/ 0 h 33"/>
                <a:gd name="T40" fmla="*/ 2147483647 w 20"/>
                <a:gd name="T41" fmla="*/ 0 h 33"/>
                <a:gd name="T42" fmla="*/ 2147483647 w 20"/>
                <a:gd name="T43" fmla="*/ 0 h 33"/>
                <a:gd name="T44" fmla="*/ 2147483647 w 20"/>
                <a:gd name="T45" fmla="*/ 2147483647 h 33"/>
                <a:gd name="T46" fmla="*/ 2147483647 w 20"/>
                <a:gd name="T47" fmla="*/ 2147483647 h 33"/>
                <a:gd name="T48" fmla="*/ 2147483647 w 20"/>
                <a:gd name="T49" fmla="*/ 2147483647 h 33"/>
                <a:gd name="T50" fmla="*/ 2147483647 w 20"/>
                <a:gd name="T51" fmla="*/ 2147483647 h 33"/>
                <a:gd name="T52" fmla="*/ 2147483647 w 20"/>
                <a:gd name="T53" fmla="*/ 2147483647 h 33"/>
                <a:gd name="T54" fmla="*/ 2147483647 w 20"/>
                <a:gd name="T55" fmla="*/ 2147483647 h 33"/>
                <a:gd name="T56" fmla="*/ 2147483647 w 20"/>
                <a:gd name="T57" fmla="*/ 2147483647 h 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33"/>
                <a:gd name="T89" fmla="*/ 20 w 20"/>
                <a:gd name="T90" fmla="*/ 33 h 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33">
                  <a:moveTo>
                    <a:pt x="15" y="14"/>
                  </a:moveTo>
                  <a:lnTo>
                    <a:pt x="15" y="14"/>
                  </a:lnTo>
                  <a:lnTo>
                    <a:pt x="19" y="16"/>
                  </a:lnTo>
                  <a:lnTo>
                    <a:pt x="20" y="19"/>
                  </a:lnTo>
                  <a:lnTo>
                    <a:pt x="20" y="23"/>
                  </a:lnTo>
                  <a:lnTo>
                    <a:pt x="19" y="29"/>
                  </a:lnTo>
                  <a:lnTo>
                    <a:pt x="15" y="32"/>
                  </a:lnTo>
                  <a:lnTo>
                    <a:pt x="14" y="33"/>
                  </a:lnTo>
                  <a:lnTo>
                    <a:pt x="12" y="32"/>
                  </a:lnTo>
                  <a:lnTo>
                    <a:pt x="5" y="27"/>
                  </a:lnTo>
                  <a:lnTo>
                    <a:pt x="1" y="19"/>
                  </a:lnTo>
                  <a:lnTo>
                    <a:pt x="0" y="15"/>
                  </a:lnTo>
                  <a:lnTo>
                    <a:pt x="0" y="10"/>
                  </a:lnTo>
                  <a:lnTo>
                    <a:pt x="1" y="6"/>
                  </a:lnTo>
                  <a:lnTo>
                    <a:pt x="3" y="2"/>
                  </a:lnTo>
                  <a:lnTo>
                    <a:pt x="5" y="0"/>
                  </a:lnTo>
                  <a:lnTo>
                    <a:pt x="6" y="0"/>
                  </a:lnTo>
                  <a:lnTo>
                    <a:pt x="8" y="0"/>
                  </a:lnTo>
                  <a:lnTo>
                    <a:pt x="10" y="1"/>
                  </a:lnTo>
                  <a:lnTo>
                    <a:pt x="12" y="3"/>
                  </a:lnTo>
                  <a:lnTo>
                    <a:pt x="13" y="10"/>
                  </a:lnTo>
                  <a:lnTo>
                    <a:pt x="14" y="12"/>
                  </a:lnTo>
                  <a:lnTo>
                    <a:pt x="15"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1" name="Freeform 940"/>
            <p:cNvSpPr>
              <a:spLocks/>
            </p:cNvSpPr>
            <p:nvPr/>
          </p:nvSpPr>
          <p:spPr bwMode="auto">
            <a:xfrm>
              <a:off x="1441450" y="1493843"/>
              <a:ext cx="33338" cy="39687"/>
            </a:xfrm>
            <a:custGeom>
              <a:avLst/>
              <a:gdLst>
                <a:gd name="T0" fmla="*/ 2147483647 w 22"/>
                <a:gd name="T1" fmla="*/ 2147483647 h 25"/>
                <a:gd name="T2" fmla="*/ 2147483647 w 22"/>
                <a:gd name="T3" fmla="*/ 2147483647 h 25"/>
                <a:gd name="T4" fmla="*/ 2147483647 w 22"/>
                <a:gd name="T5" fmla="*/ 2147483647 h 25"/>
                <a:gd name="T6" fmla="*/ 2147483647 w 22"/>
                <a:gd name="T7" fmla="*/ 2147483647 h 25"/>
                <a:gd name="T8" fmla="*/ 2147483647 w 22"/>
                <a:gd name="T9" fmla="*/ 2147483647 h 25"/>
                <a:gd name="T10" fmla="*/ 2147483647 w 22"/>
                <a:gd name="T11" fmla="*/ 2147483647 h 25"/>
                <a:gd name="T12" fmla="*/ 2147483647 w 22"/>
                <a:gd name="T13" fmla="*/ 2147483647 h 25"/>
                <a:gd name="T14" fmla="*/ 2147483647 w 22"/>
                <a:gd name="T15" fmla="*/ 2147483647 h 25"/>
                <a:gd name="T16" fmla="*/ 2147483647 w 22"/>
                <a:gd name="T17" fmla="*/ 2147483647 h 25"/>
                <a:gd name="T18" fmla="*/ 2147483647 w 22"/>
                <a:gd name="T19" fmla="*/ 2147483647 h 25"/>
                <a:gd name="T20" fmla="*/ 2147483647 w 22"/>
                <a:gd name="T21" fmla="*/ 2147483647 h 25"/>
                <a:gd name="T22" fmla="*/ 2147483647 w 22"/>
                <a:gd name="T23" fmla="*/ 2147483647 h 25"/>
                <a:gd name="T24" fmla="*/ 2147483647 w 22"/>
                <a:gd name="T25" fmla="*/ 2147483647 h 25"/>
                <a:gd name="T26" fmla="*/ 0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0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2147483647 w 22"/>
                <a:gd name="T47" fmla="*/ 2147483647 h 25"/>
                <a:gd name="T48" fmla="*/ 2147483647 w 22"/>
                <a:gd name="T49" fmla="*/ 2147483647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25"/>
                <a:gd name="T77" fmla="*/ 22 w 22"/>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25">
                  <a:moveTo>
                    <a:pt x="19" y="10"/>
                  </a:moveTo>
                  <a:lnTo>
                    <a:pt x="19" y="10"/>
                  </a:lnTo>
                  <a:lnTo>
                    <a:pt x="22" y="12"/>
                  </a:lnTo>
                  <a:lnTo>
                    <a:pt x="22" y="16"/>
                  </a:lnTo>
                  <a:lnTo>
                    <a:pt x="20" y="19"/>
                  </a:lnTo>
                  <a:lnTo>
                    <a:pt x="18" y="22"/>
                  </a:lnTo>
                  <a:lnTo>
                    <a:pt x="14" y="24"/>
                  </a:lnTo>
                  <a:lnTo>
                    <a:pt x="9" y="25"/>
                  </a:lnTo>
                  <a:lnTo>
                    <a:pt x="5" y="24"/>
                  </a:lnTo>
                  <a:lnTo>
                    <a:pt x="4" y="23"/>
                  </a:lnTo>
                  <a:lnTo>
                    <a:pt x="3" y="22"/>
                  </a:lnTo>
                  <a:lnTo>
                    <a:pt x="0" y="15"/>
                  </a:lnTo>
                  <a:lnTo>
                    <a:pt x="1" y="7"/>
                  </a:lnTo>
                  <a:lnTo>
                    <a:pt x="3" y="4"/>
                  </a:lnTo>
                  <a:lnTo>
                    <a:pt x="5" y="2"/>
                  </a:lnTo>
                  <a:lnTo>
                    <a:pt x="8" y="0"/>
                  </a:lnTo>
                  <a:lnTo>
                    <a:pt x="13" y="2"/>
                  </a:lnTo>
                  <a:lnTo>
                    <a:pt x="15" y="3"/>
                  </a:lnTo>
                  <a:lnTo>
                    <a:pt x="17" y="5"/>
                  </a:lnTo>
                  <a:lnTo>
                    <a:pt x="18" y="7"/>
                  </a:lnTo>
                  <a:lnTo>
                    <a:pt x="19"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2" name="Freeform 941"/>
            <p:cNvSpPr>
              <a:spLocks/>
            </p:cNvSpPr>
            <p:nvPr/>
          </p:nvSpPr>
          <p:spPr bwMode="auto">
            <a:xfrm>
              <a:off x="1498600" y="1458915"/>
              <a:ext cx="101600" cy="46037"/>
            </a:xfrm>
            <a:custGeom>
              <a:avLst/>
              <a:gdLst>
                <a:gd name="T0" fmla="*/ 2147483647 w 69"/>
                <a:gd name="T1" fmla="*/ 2147483647 h 29"/>
                <a:gd name="T2" fmla="*/ 2147483647 w 69"/>
                <a:gd name="T3" fmla="*/ 2147483647 h 29"/>
                <a:gd name="T4" fmla="*/ 2147483647 w 69"/>
                <a:gd name="T5" fmla="*/ 2147483647 h 29"/>
                <a:gd name="T6" fmla="*/ 2147483647 w 69"/>
                <a:gd name="T7" fmla="*/ 2147483647 h 29"/>
                <a:gd name="T8" fmla="*/ 2147483647 w 69"/>
                <a:gd name="T9" fmla="*/ 2147483647 h 29"/>
                <a:gd name="T10" fmla="*/ 2147483647 w 69"/>
                <a:gd name="T11" fmla="*/ 2147483647 h 29"/>
                <a:gd name="T12" fmla="*/ 2147483647 w 69"/>
                <a:gd name="T13" fmla="*/ 2147483647 h 29"/>
                <a:gd name="T14" fmla="*/ 2147483647 w 69"/>
                <a:gd name="T15" fmla="*/ 0 h 29"/>
                <a:gd name="T16" fmla="*/ 2147483647 w 69"/>
                <a:gd name="T17" fmla="*/ 0 h 29"/>
                <a:gd name="T18" fmla="*/ 2147483647 w 69"/>
                <a:gd name="T19" fmla="*/ 2147483647 h 29"/>
                <a:gd name="T20" fmla="*/ 2147483647 w 69"/>
                <a:gd name="T21" fmla="*/ 2147483647 h 29"/>
                <a:gd name="T22" fmla="*/ 2147483647 w 69"/>
                <a:gd name="T23" fmla="*/ 2147483647 h 29"/>
                <a:gd name="T24" fmla="*/ 2147483647 w 69"/>
                <a:gd name="T25" fmla="*/ 2147483647 h 29"/>
                <a:gd name="T26" fmla="*/ 2147483647 w 69"/>
                <a:gd name="T27" fmla="*/ 2147483647 h 29"/>
                <a:gd name="T28" fmla="*/ 2147483647 w 69"/>
                <a:gd name="T29" fmla="*/ 2147483647 h 29"/>
                <a:gd name="T30" fmla="*/ 2147483647 w 69"/>
                <a:gd name="T31" fmla="*/ 2147483647 h 29"/>
                <a:gd name="T32" fmla="*/ 0 w 69"/>
                <a:gd name="T33" fmla="*/ 2147483647 h 29"/>
                <a:gd name="T34" fmla="*/ 0 w 69"/>
                <a:gd name="T35" fmla="*/ 2147483647 h 29"/>
                <a:gd name="T36" fmla="*/ 2147483647 w 69"/>
                <a:gd name="T37" fmla="*/ 2147483647 h 29"/>
                <a:gd name="T38" fmla="*/ 2147483647 w 69"/>
                <a:gd name="T39" fmla="*/ 2147483647 h 29"/>
                <a:gd name="T40" fmla="*/ 2147483647 w 69"/>
                <a:gd name="T41" fmla="*/ 2147483647 h 29"/>
                <a:gd name="T42" fmla="*/ 2147483647 w 69"/>
                <a:gd name="T43" fmla="*/ 2147483647 h 29"/>
                <a:gd name="T44" fmla="*/ 2147483647 w 69"/>
                <a:gd name="T45" fmla="*/ 2147483647 h 29"/>
                <a:gd name="T46" fmla="*/ 2147483647 w 69"/>
                <a:gd name="T47" fmla="*/ 2147483647 h 29"/>
                <a:gd name="T48" fmla="*/ 2147483647 w 69"/>
                <a:gd name="T49" fmla="*/ 2147483647 h 29"/>
                <a:gd name="T50" fmla="*/ 2147483647 w 69"/>
                <a:gd name="T51" fmla="*/ 2147483647 h 29"/>
                <a:gd name="T52" fmla="*/ 2147483647 w 69"/>
                <a:gd name="T53" fmla="*/ 2147483647 h 29"/>
                <a:gd name="T54" fmla="*/ 2147483647 w 69"/>
                <a:gd name="T55" fmla="*/ 2147483647 h 29"/>
                <a:gd name="T56" fmla="*/ 2147483647 w 69"/>
                <a:gd name="T57" fmla="*/ 2147483647 h 29"/>
                <a:gd name="T58" fmla="*/ 2147483647 w 69"/>
                <a:gd name="T59" fmla="*/ 2147483647 h 29"/>
                <a:gd name="T60" fmla="*/ 2147483647 w 69"/>
                <a:gd name="T61" fmla="*/ 2147483647 h 29"/>
                <a:gd name="T62" fmla="*/ 2147483647 w 69"/>
                <a:gd name="T63" fmla="*/ 2147483647 h 29"/>
                <a:gd name="T64" fmla="*/ 2147483647 w 69"/>
                <a:gd name="T65" fmla="*/ 2147483647 h 29"/>
                <a:gd name="T66" fmla="*/ 2147483647 w 69"/>
                <a:gd name="T67" fmla="*/ 2147483647 h 29"/>
                <a:gd name="T68" fmla="*/ 2147483647 w 69"/>
                <a:gd name="T69" fmla="*/ 2147483647 h 29"/>
                <a:gd name="T70" fmla="*/ 2147483647 w 69"/>
                <a:gd name="T71" fmla="*/ 2147483647 h 29"/>
                <a:gd name="T72" fmla="*/ 2147483647 w 69"/>
                <a:gd name="T73" fmla="*/ 2147483647 h 29"/>
                <a:gd name="T74" fmla="*/ 2147483647 w 69"/>
                <a:gd name="T75" fmla="*/ 2147483647 h 29"/>
                <a:gd name="T76" fmla="*/ 2147483647 w 69"/>
                <a:gd name="T77" fmla="*/ 2147483647 h 29"/>
                <a:gd name="T78" fmla="*/ 2147483647 w 69"/>
                <a:gd name="T79" fmla="*/ 2147483647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29"/>
                <a:gd name="T122" fmla="*/ 69 w 69"/>
                <a:gd name="T123" fmla="*/ 29 h 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29">
                  <a:moveTo>
                    <a:pt x="68" y="22"/>
                  </a:moveTo>
                  <a:lnTo>
                    <a:pt x="69" y="18"/>
                  </a:lnTo>
                  <a:lnTo>
                    <a:pt x="69" y="15"/>
                  </a:lnTo>
                  <a:lnTo>
                    <a:pt x="68" y="14"/>
                  </a:lnTo>
                  <a:lnTo>
                    <a:pt x="59" y="9"/>
                  </a:lnTo>
                  <a:lnTo>
                    <a:pt x="54" y="6"/>
                  </a:lnTo>
                  <a:lnTo>
                    <a:pt x="50" y="2"/>
                  </a:lnTo>
                  <a:lnTo>
                    <a:pt x="46" y="0"/>
                  </a:lnTo>
                  <a:lnTo>
                    <a:pt x="44" y="0"/>
                  </a:lnTo>
                  <a:lnTo>
                    <a:pt x="42" y="1"/>
                  </a:lnTo>
                  <a:lnTo>
                    <a:pt x="39" y="5"/>
                  </a:lnTo>
                  <a:lnTo>
                    <a:pt x="36" y="6"/>
                  </a:lnTo>
                  <a:lnTo>
                    <a:pt x="28" y="7"/>
                  </a:lnTo>
                  <a:lnTo>
                    <a:pt x="22" y="8"/>
                  </a:lnTo>
                  <a:lnTo>
                    <a:pt x="16" y="12"/>
                  </a:lnTo>
                  <a:lnTo>
                    <a:pt x="3" y="18"/>
                  </a:lnTo>
                  <a:lnTo>
                    <a:pt x="0" y="20"/>
                  </a:lnTo>
                  <a:lnTo>
                    <a:pt x="0" y="22"/>
                  </a:lnTo>
                  <a:lnTo>
                    <a:pt x="2" y="24"/>
                  </a:lnTo>
                  <a:lnTo>
                    <a:pt x="4" y="24"/>
                  </a:lnTo>
                  <a:lnTo>
                    <a:pt x="11" y="20"/>
                  </a:lnTo>
                  <a:lnTo>
                    <a:pt x="14" y="19"/>
                  </a:lnTo>
                  <a:lnTo>
                    <a:pt x="18" y="21"/>
                  </a:lnTo>
                  <a:lnTo>
                    <a:pt x="21" y="25"/>
                  </a:lnTo>
                  <a:lnTo>
                    <a:pt x="22" y="26"/>
                  </a:lnTo>
                  <a:lnTo>
                    <a:pt x="23" y="27"/>
                  </a:lnTo>
                  <a:lnTo>
                    <a:pt x="27" y="27"/>
                  </a:lnTo>
                  <a:lnTo>
                    <a:pt x="30" y="26"/>
                  </a:lnTo>
                  <a:lnTo>
                    <a:pt x="35" y="21"/>
                  </a:lnTo>
                  <a:lnTo>
                    <a:pt x="36" y="21"/>
                  </a:lnTo>
                  <a:lnTo>
                    <a:pt x="37" y="21"/>
                  </a:lnTo>
                  <a:lnTo>
                    <a:pt x="40" y="24"/>
                  </a:lnTo>
                  <a:lnTo>
                    <a:pt x="44" y="26"/>
                  </a:lnTo>
                  <a:lnTo>
                    <a:pt x="47" y="26"/>
                  </a:lnTo>
                  <a:lnTo>
                    <a:pt x="51" y="26"/>
                  </a:lnTo>
                  <a:lnTo>
                    <a:pt x="55" y="26"/>
                  </a:lnTo>
                  <a:lnTo>
                    <a:pt x="59" y="27"/>
                  </a:lnTo>
                  <a:lnTo>
                    <a:pt x="65" y="29"/>
                  </a:lnTo>
                  <a:lnTo>
                    <a:pt x="67" y="26"/>
                  </a:lnTo>
                  <a:lnTo>
                    <a:pt x="68"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3" name="Freeform 942"/>
            <p:cNvSpPr>
              <a:spLocks/>
            </p:cNvSpPr>
            <p:nvPr/>
          </p:nvSpPr>
          <p:spPr bwMode="auto">
            <a:xfrm>
              <a:off x="1495429" y="1514476"/>
              <a:ext cx="73025" cy="44450"/>
            </a:xfrm>
            <a:custGeom>
              <a:avLst/>
              <a:gdLst>
                <a:gd name="T0" fmla="*/ 2147483647 w 49"/>
                <a:gd name="T1" fmla="*/ 2147483647 h 28"/>
                <a:gd name="T2" fmla="*/ 2147483647 w 49"/>
                <a:gd name="T3" fmla="*/ 2147483647 h 28"/>
                <a:gd name="T4" fmla="*/ 2147483647 w 49"/>
                <a:gd name="T5" fmla="*/ 2147483647 h 28"/>
                <a:gd name="T6" fmla="*/ 2147483647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2147483647 w 49"/>
                <a:gd name="T17" fmla="*/ 2147483647 h 28"/>
                <a:gd name="T18" fmla="*/ 2147483647 w 49"/>
                <a:gd name="T19" fmla="*/ 2147483647 h 28"/>
                <a:gd name="T20" fmla="*/ 2147483647 w 49"/>
                <a:gd name="T21" fmla="*/ 2147483647 h 28"/>
                <a:gd name="T22" fmla="*/ 2147483647 w 49"/>
                <a:gd name="T23" fmla="*/ 2147483647 h 28"/>
                <a:gd name="T24" fmla="*/ 2147483647 w 49"/>
                <a:gd name="T25" fmla="*/ 2147483647 h 28"/>
                <a:gd name="T26" fmla="*/ 2147483647 w 49"/>
                <a:gd name="T27" fmla="*/ 2147483647 h 28"/>
                <a:gd name="T28" fmla="*/ 2147483647 w 49"/>
                <a:gd name="T29" fmla="*/ 0 h 28"/>
                <a:gd name="T30" fmla="*/ 2147483647 w 49"/>
                <a:gd name="T31" fmla="*/ 0 h 28"/>
                <a:gd name="T32" fmla="*/ 2147483647 w 49"/>
                <a:gd name="T33" fmla="*/ 2147483647 h 28"/>
                <a:gd name="T34" fmla="*/ 2147483647 w 49"/>
                <a:gd name="T35" fmla="*/ 2147483647 h 28"/>
                <a:gd name="T36" fmla="*/ 2147483647 w 49"/>
                <a:gd name="T37" fmla="*/ 0 h 28"/>
                <a:gd name="T38" fmla="*/ 2147483647 w 49"/>
                <a:gd name="T39" fmla="*/ 0 h 28"/>
                <a:gd name="T40" fmla="*/ 2147483647 w 49"/>
                <a:gd name="T41" fmla="*/ 0 h 28"/>
                <a:gd name="T42" fmla="*/ 2147483647 w 49"/>
                <a:gd name="T43" fmla="*/ 2147483647 h 28"/>
                <a:gd name="T44" fmla="*/ 2147483647 w 49"/>
                <a:gd name="T45" fmla="*/ 2147483647 h 28"/>
                <a:gd name="T46" fmla="*/ 0 w 49"/>
                <a:gd name="T47" fmla="*/ 2147483647 h 28"/>
                <a:gd name="T48" fmla="*/ 0 w 49"/>
                <a:gd name="T49" fmla="*/ 2147483647 h 28"/>
                <a:gd name="T50" fmla="*/ 2147483647 w 49"/>
                <a:gd name="T51" fmla="*/ 2147483647 h 28"/>
                <a:gd name="T52" fmla="*/ 2147483647 w 49"/>
                <a:gd name="T53" fmla="*/ 2147483647 h 28"/>
                <a:gd name="T54" fmla="*/ 2147483647 w 49"/>
                <a:gd name="T55" fmla="*/ 2147483647 h 28"/>
                <a:gd name="T56" fmla="*/ 2147483647 w 49"/>
                <a:gd name="T57" fmla="*/ 2147483647 h 28"/>
                <a:gd name="T58" fmla="*/ 2147483647 w 49"/>
                <a:gd name="T59" fmla="*/ 2147483647 h 28"/>
                <a:gd name="T60" fmla="*/ 2147483647 w 49"/>
                <a:gd name="T61" fmla="*/ 2147483647 h 28"/>
                <a:gd name="T62" fmla="*/ 2147483647 w 49"/>
                <a:gd name="T63" fmla="*/ 2147483647 h 28"/>
                <a:gd name="T64" fmla="*/ 2147483647 w 49"/>
                <a:gd name="T65" fmla="*/ 2147483647 h 28"/>
                <a:gd name="T66" fmla="*/ 2147483647 w 49"/>
                <a:gd name="T67" fmla="*/ 2147483647 h 28"/>
                <a:gd name="T68" fmla="*/ 2147483647 w 49"/>
                <a:gd name="T69" fmla="*/ 2147483647 h 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28"/>
                <a:gd name="T107" fmla="*/ 49 w 49"/>
                <a:gd name="T108" fmla="*/ 28 h 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28">
                  <a:moveTo>
                    <a:pt x="44" y="24"/>
                  </a:moveTo>
                  <a:lnTo>
                    <a:pt x="47" y="22"/>
                  </a:lnTo>
                  <a:lnTo>
                    <a:pt x="47" y="21"/>
                  </a:lnTo>
                  <a:lnTo>
                    <a:pt x="47" y="17"/>
                  </a:lnTo>
                  <a:lnTo>
                    <a:pt x="44" y="12"/>
                  </a:lnTo>
                  <a:lnTo>
                    <a:pt x="42" y="10"/>
                  </a:lnTo>
                  <a:lnTo>
                    <a:pt x="42" y="9"/>
                  </a:lnTo>
                  <a:lnTo>
                    <a:pt x="42" y="7"/>
                  </a:lnTo>
                  <a:lnTo>
                    <a:pt x="44" y="7"/>
                  </a:lnTo>
                  <a:lnTo>
                    <a:pt x="47" y="7"/>
                  </a:lnTo>
                  <a:lnTo>
                    <a:pt x="48" y="7"/>
                  </a:lnTo>
                  <a:lnTo>
                    <a:pt x="49" y="6"/>
                  </a:lnTo>
                  <a:lnTo>
                    <a:pt x="48" y="3"/>
                  </a:lnTo>
                  <a:lnTo>
                    <a:pt x="46" y="2"/>
                  </a:lnTo>
                  <a:lnTo>
                    <a:pt x="42" y="0"/>
                  </a:lnTo>
                  <a:lnTo>
                    <a:pt x="38" y="0"/>
                  </a:lnTo>
                  <a:lnTo>
                    <a:pt x="33" y="2"/>
                  </a:lnTo>
                  <a:lnTo>
                    <a:pt x="28" y="3"/>
                  </a:lnTo>
                  <a:lnTo>
                    <a:pt x="19" y="0"/>
                  </a:lnTo>
                  <a:lnTo>
                    <a:pt x="10" y="0"/>
                  </a:lnTo>
                  <a:lnTo>
                    <a:pt x="6" y="0"/>
                  </a:lnTo>
                  <a:lnTo>
                    <a:pt x="4" y="2"/>
                  </a:lnTo>
                  <a:lnTo>
                    <a:pt x="1" y="4"/>
                  </a:lnTo>
                  <a:lnTo>
                    <a:pt x="0" y="7"/>
                  </a:lnTo>
                  <a:lnTo>
                    <a:pt x="0" y="18"/>
                  </a:lnTo>
                  <a:lnTo>
                    <a:pt x="2" y="23"/>
                  </a:lnTo>
                  <a:lnTo>
                    <a:pt x="4" y="26"/>
                  </a:lnTo>
                  <a:lnTo>
                    <a:pt x="6" y="28"/>
                  </a:lnTo>
                  <a:lnTo>
                    <a:pt x="9" y="28"/>
                  </a:lnTo>
                  <a:lnTo>
                    <a:pt x="14" y="26"/>
                  </a:lnTo>
                  <a:lnTo>
                    <a:pt x="20" y="25"/>
                  </a:lnTo>
                  <a:lnTo>
                    <a:pt x="28" y="25"/>
                  </a:lnTo>
                  <a:lnTo>
                    <a:pt x="42" y="28"/>
                  </a:lnTo>
                  <a:lnTo>
                    <a:pt x="43" y="26"/>
                  </a:lnTo>
                  <a:lnTo>
                    <a:pt x="44" y="2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4" name="Freeform 943"/>
            <p:cNvSpPr>
              <a:spLocks/>
            </p:cNvSpPr>
            <p:nvPr/>
          </p:nvSpPr>
          <p:spPr bwMode="auto">
            <a:xfrm>
              <a:off x="1497013" y="1457324"/>
              <a:ext cx="101600" cy="46039"/>
            </a:xfrm>
            <a:custGeom>
              <a:avLst/>
              <a:gdLst>
                <a:gd name="T0" fmla="*/ 2147483647 w 69"/>
                <a:gd name="T1" fmla="*/ 2147483647 h 29"/>
                <a:gd name="T2" fmla="*/ 2147483647 w 69"/>
                <a:gd name="T3" fmla="*/ 2147483647 h 29"/>
                <a:gd name="T4" fmla="*/ 2147483647 w 69"/>
                <a:gd name="T5" fmla="*/ 2147483647 h 29"/>
                <a:gd name="T6" fmla="*/ 2147483647 w 69"/>
                <a:gd name="T7" fmla="*/ 2147483647 h 29"/>
                <a:gd name="T8" fmla="*/ 2147483647 w 69"/>
                <a:gd name="T9" fmla="*/ 2147483647 h 29"/>
                <a:gd name="T10" fmla="*/ 2147483647 w 69"/>
                <a:gd name="T11" fmla="*/ 2147483647 h 29"/>
                <a:gd name="T12" fmla="*/ 2147483647 w 69"/>
                <a:gd name="T13" fmla="*/ 2147483647 h 29"/>
                <a:gd name="T14" fmla="*/ 2147483647 w 69"/>
                <a:gd name="T15" fmla="*/ 2147483647 h 29"/>
                <a:gd name="T16" fmla="*/ 2147483647 w 69"/>
                <a:gd name="T17" fmla="*/ 2147483647 h 29"/>
                <a:gd name="T18" fmla="*/ 2147483647 w 69"/>
                <a:gd name="T19" fmla="*/ 2147483647 h 29"/>
                <a:gd name="T20" fmla="*/ 2147483647 w 69"/>
                <a:gd name="T21" fmla="*/ 0 h 29"/>
                <a:gd name="T22" fmla="*/ 2147483647 w 69"/>
                <a:gd name="T23" fmla="*/ 0 h 29"/>
                <a:gd name="T24" fmla="*/ 2147483647 w 69"/>
                <a:gd name="T25" fmla="*/ 2147483647 h 29"/>
                <a:gd name="T26" fmla="*/ 2147483647 w 69"/>
                <a:gd name="T27" fmla="*/ 2147483647 h 29"/>
                <a:gd name="T28" fmla="*/ 2147483647 w 69"/>
                <a:gd name="T29" fmla="*/ 2147483647 h 29"/>
                <a:gd name="T30" fmla="*/ 2147483647 w 69"/>
                <a:gd name="T31" fmla="*/ 2147483647 h 29"/>
                <a:gd name="T32" fmla="*/ 2147483647 w 69"/>
                <a:gd name="T33" fmla="*/ 2147483647 h 29"/>
                <a:gd name="T34" fmla="*/ 2147483647 w 69"/>
                <a:gd name="T35" fmla="*/ 2147483647 h 29"/>
                <a:gd name="T36" fmla="*/ 2147483647 w 69"/>
                <a:gd name="T37" fmla="*/ 2147483647 h 29"/>
                <a:gd name="T38" fmla="*/ 2147483647 w 69"/>
                <a:gd name="T39" fmla="*/ 2147483647 h 29"/>
                <a:gd name="T40" fmla="*/ 2147483647 w 69"/>
                <a:gd name="T41" fmla="*/ 2147483647 h 29"/>
                <a:gd name="T42" fmla="*/ 2147483647 w 69"/>
                <a:gd name="T43" fmla="*/ 2147483647 h 29"/>
                <a:gd name="T44" fmla="*/ 0 w 69"/>
                <a:gd name="T45" fmla="*/ 2147483647 h 29"/>
                <a:gd name="T46" fmla="*/ 0 w 69"/>
                <a:gd name="T47" fmla="*/ 2147483647 h 29"/>
                <a:gd name="T48" fmla="*/ 2147483647 w 69"/>
                <a:gd name="T49" fmla="*/ 2147483647 h 29"/>
                <a:gd name="T50" fmla="*/ 2147483647 w 69"/>
                <a:gd name="T51" fmla="*/ 2147483647 h 29"/>
                <a:gd name="T52" fmla="*/ 2147483647 w 69"/>
                <a:gd name="T53" fmla="*/ 2147483647 h 29"/>
                <a:gd name="T54" fmla="*/ 2147483647 w 69"/>
                <a:gd name="T55" fmla="*/ 2147483647 h 29"/>
                <a:gd name="T56" fmla="*/ 2147483647 w 69"/>
                <a:gd name="T57" fmla="*/ 2147483647 h 29"/>
                <a:gd name="T58" fmla="*/ 2147483647 w 69"/>
                <a:gd name="T59" fmla="*/ 2147483647 h 29"/>
                <a:gd name="T60" fmla="*/ 2147483647 w 69"/>
                <a:gd name="T61" fmla="*/ 2147483647 h 29"/>
                <a:gd name="T62" fmla="*/ 2147483647 w 69"/>
                <a:gd name="T63" fmla="*/ 2147483647 h 29"/>
                <a:gd name="T64" fmla="*/ 2147483647 w 69"/>
                <a:gd name="T65" fmla="*/ 2147483647 h 29"/>
                <a:gd name="T66" fmla="*/ 2147483647 w 69"/>
                <a:gd name="T67" fmla="*/ 2147483647 h 29"/>
                <a:gd name="T68" fmla="*/ 2147483647 w 69"/>
                <a:gd name="T69" fmla="*/ 2147483647 h 29"/>
                <a:gd name="T70" fmla="*/ 2147483647 w 69"/>
                <a:gd name="T71" fmla="*/ 2147483647 h 29"/>
                <a:gd name="T72" fmla="*/ 2147483647 w 69"/>
                <a:gd name="T73" fmla="*/ 2147483647 h 29"/>
                <a:gd name="T74" fmla="*/ 2147483647 w 69"/>
                <a:gd name="T75" fmla="*/ 2147483647 h 29"/>
                <a:gd name="T76" fmla="*/ 2147483647 w 69"/>
                <a:gd name="T77" fmla="*/ 2147483647 h 29"/>
                <a:gd name="T78" fmla="*/ 2147483647 w 69"/>
                <a:gd name="T79" fmla="*/ 2147483647 h 29"/>
                <a:gd name="T80" fmla="*/ 2147483647 w 69"/>
                <a:gd name="T81" fmla="*/ 2147483647 h 29"/>
                <a:gd name="T82" fmla="*/ 2147483647 w 69"/>
                <a:gd name="T83" fmla="*/ 2147483647 h 29"/>
                <a:gd name="T84" fmla="*/ 2147483647 w 69"/>
                <a:gd name="T85" fmla="*/ 2147483647 h 29"/>
                <a:gd name="T86" fmla="*/ 2147483647 w 69"/>
                <a:gd name="T87" fmla="*/ 2147483647 h 29"/>
                <a:gd name="T88" fmla="*/ 2147483647 w 69"/>
                <a:gd name="T89" fmla="*/ 2147483647 h 29"/>
                <a:gd name="T90" fmla="*/ 2147483647 w 69"/>
                <a:gd name="T91" fmla="*/ 2147483647 h 29"/>
                <a:gd name="T92" fmla="*/ 2147483647 w 69"/>
                <a:gd name="T93" fmla="*/ 2147483647 h 29"/>
                <a:gd name="T94" fmla="*/ 2147483647 w 69"/>
                <a:gd name="T95" fmla="*/ 2147483647 h 29"/>
                <a:gd name="T96" fmla="*/ 2147483647 w 69"/>
                <a:gd name="T97" fmla="*/ 2147483647 h 29"/>
                <a:gd name="T98" fmla="*/ 2147483647 w 69"/>
                <a:gd name="T99" fmla="*/ 2147483647 h 29"/>
                <a:gd name="T100" fmla="*/ 2147483647 w 69"/>
                <a:gd name="T101" fmla="*/ 2147483647 h 29"/>
                <a:gd name="T102" fmla="*/ 2147483647 w 69"/>
                <a:gd name="T103" fmla="*/ 2147483647 h 29"/>
                <a:gd name="T104" fmla="*/ 2147483647 w 69"/>
                <a:gd name="T105" fmla="*/ 2147483647 h 29"/>
                <a:gd name="T106" fmla="*/ 2147483647 w 69"/>
                <a:gd name="T107" fmla="*/ 2147483647 h 29"/>
                <a:gd name="T108" fmla="*/ 2147483647 w 69"/>
                <a:gd name="T109" fmla="*/ 2147483647 h 2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
                <a:gd name="T166" fmla="*/ 0 h 29"/>
                <a:gd name="T167" fmla="*/ 69 w 69"/>
                <a:gd name="T168" fmla="*/ 29 h 2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 h="29">
                  <a:moveTo>
                    <a:pt x="68" y="22"/>
                  </a:moveTo>
                  <a:lnTo>
                    <a:pt x="68" y="22"/>
                  </a:lnTo>
                  <a:lnTo>
                    <a:pt x="69" y="17"/>
                  </a:lnTo>
                  <a:lnTo>
                    <a:pt x="69" y="15"/>
                  </a:lnTo>
                  <a:lnTo>
                    <a:pt x="68" y="14"/>
                  </a:lnTo>
                  <a:lnTo>
                    <a:pt x="59" y="9"/>
                  </a:lnTo>
                  <a:lnTo>
                    <a:pt x="54" y="6"/>
                  </a:lnTo>
                  <a:lnTo>
                    <a:pt x="50" y="2"/>
                  </a:lnTo>
                  <a:lnTo>
                    <a:pt x="46" y="0"/>
                  </a:lnTo>
                  <a:lnTo>
                    <a:pt x="43" y="0"/>
                  </a:lnTo>
                  <a:lnTo>
                    <a:pt x="42" y="1"/>
                  </a:lnTo>
                  <a:lnTo>
                    <a:pt x="38" y="4"/>
                  </a:lnTo>
                  <a:lnTo>
                    <a:pt x="36" y="6"/>
                  </a:lnTo>
                  <a:lnTo>
                    <a:pt x="28" y="7"/>
                  </a:lnTo>
                  <a:lnTo>
                    <a:pt x="22" y="8"/>
                  </a:lnTo>
                  <a:lnTo>
                    <a:pt x="15" y="11"/>
                  </a:lnTo>
                  <a:lnTo>
                    <a:pt x="3" y="17"/>
                  </a:lnTo>
                  <a:lnTo>
                    <a:pt x="0" y="20"/>
                  </a:lnTo>
                  <a:lnTo>
                    <a:pt x="0" y="22"/>
                  </a:lnTo>
                  <a:lnTo>
                    <a:pt x="1" y="23"/>
                  </a:lnTo>
                  <a:lnTo>
                    <a:pt x="4" y="23"/>
                  </a:lnTo>
                  <a:lnTo>
                    <a:pt x="10" y="20"/>
                  </a:lnTo>
                  <a:lnTo>
                    <a:pt x="14" y="19"/>
                  </a:lnTo>
                  <a:lnTo>
                    <a:pt x="18" y="21"/>
                  </a:lnTo>
                  <a:lnTo>
                    <a:pt x="21" y="25"/>
                  </a:lnTo>
                  <a:lnTo>
                    <a:pt x="22" y="26"/>
                  </a:lnTo>
                  <a:lnTo>
                    <a:pt x="23" y="27"/>
                  </a:lnTo>
                  <a:lnTo>
                    <a:pt x="27" y="27"/>
                  </a:lnTo>
                  <a:lnTo>
                    <a:pt x="29" y="26"/>
                  </a:lnTo>
                  <a:lnTo>
                    <a:pt x="35" y="21"/>
                  </a:lnTo>
                  <a:lnTo>
                    <a:pt x="36" y="21"/>
                  </a:lnTo>
                  <a:lnTo>
                    <a:pt x="37" y="21"/>
                  </a:lnTo>
                  <a:lnTo>
                    <a:pt x="40" y="23"/>
                  </a:lnTo>
                  <a:lnTo>
                    <a:pt x="43" y="26"/>
                  </a:lnTo>
                  <a:lnTo>
                    <a:pt x="47" y="26"/>
                  </a:lnTo>
                  <a:lnTo>
                    <a:pt x="51" y="26"/>
                  </a:lnTo>
                  <a:lnTo>
                    <a:pt x="55" y="26"/>
                  </a:lnTo>
                  <a:lnTo>
                    <a:pt x="59" y="27"/>
                  </a:lnTo>
                  <a:lnTo>
                    <a:pt x="65" y="29"/>
                  </a:lnTo>
                  <a:lnTo>
                    <a:pt x="66" y="26"/>
                  </a:lnTo>
                  <a:lnTo>
                    <a:pt x="68" y="2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5" name="Freeform 944"/>
            <p:cNvSpPr>
              <a:spLocks/>
            </p:cNvSpPr>
            <p:nvPr/>
          </p:nvSpPr>
          <p:spPr bwMode="auto">
            <a:xfrm>
              <a:off x="1495425" y="1512888"/>
              <a:ext cx="71438" cy="42862"/>
            </a:xfrm>
            <a:custGeom>
              <a:avLst/>
              <a:gdLst>
                <a:gd name="T0" fmla="*/ 2147483647 w 49"/>
                <a:gd name="T1" fmla="*/ 2147483647 h 27"/>
                <a:gd name="T2" fmla="*/ 2147483647 w 49"/>
                <a:gd name="T3" fmla="*/ 2147483647 h 27"/>
                <a:gd name="T4" fmla="*/ 2147483647 w 49"/>
                <a:gd name="T5" fmla="*/ 2147483647 h 27"/>
                <a:gd name="T6" fmla="*/ 2147483647 w 49"/>
                <a:gd name="T7" fmla="*/ 2147483647 h 27"/>
                <a:gd name="T8" fmla="*/ 2147483647 w 49"/>
                <a:gd name="T9" fmla="*/ 2147483647 h 27"/>
                <a:gd name="T10" fmla="*/ 2147483647 w 49"/>
                <a:gd name="T11" fmla="*/ 2147483647 h 27"/>
                <a:gd name="T12" fmla="*/ 2147483647 w 49"/>
                <a:gd name="T13" fmla="*/ 2147483647 h 27"/>
                <a:gd name="T14" fmla="*/ 2147483647 w 49"/>
                <a:gd name="T15" fmla="*/ 2147483647 h 27"/>
                <a:gd name="T16" fmla="*/ 2147483647 w 49"/>
                <a:gd name="T17" fmla="*/ 2147483647 h 27"/>
                <a:gd name="T18" fmla="*/ 2147483647 w 49"/>
                <a:gd name="T19" fmla="*/ 2147483647 h 27"/>
                <a:gd name="T20" fmla="*/ 2147483647 w 49"/>
                <a:gd name="T21" fmla="*/ 2147483647 h 27"/>
                <a:gd name="T22" fmla="*/ 2147483647 w 49"/>
                <a:gd name="T23" fmla="*/ 2147483647 h 27"/>
                <a:gd name="T24" fmla="*/ 2147483647 w 49"/>
                <a:gd name="T25" fmla="*/ 2147483647 h 27"/>
                <a:gd name="T26" fmla="*/ 2147483647 w 49"/>
                <a:gd name="T27" fmla="*/ 2147483647 h 27"/>
                <a:gd name="T28" fmla="*/ 2147483647 w 49"/>
                <a:gd name="T29" fmla="*/ 2147483647 h 27"/>
                <a:gd name="T30" fmla="*/ 2147483647 w 49"/>
                <a:gd name="T31" fmla="*/ 2147483647 h 27"/>
                <a:gd name="T32" fmla="*/ 2147483647 w 49"/>
                <a:gd name="T33" fmla="*/ 2147483647 h 27"/>
                <a:gd name="T34" fmla="*/ 2147483647 w 49"/>
                <a:gd name="T35" fmla="*/ 2147483647 h 27"/>
                <a:gd name="T36" fmla="*/ 2147483647 w 49"/>
                <a:gd name="T37" fmla="*/ 0 h 27"/>
                <a:gd name="T38" fmla="*/ 2147483647 w 49"/>
                <a:gd name="T39" fmla="*/ 0 h 27"/>
                <a:gd name="T40" fmla="*/ 2147483647 w 49"/>
                <a:gd name="T41" fmla="*/ 0 h 27"/>
                <a:gd name="T42" fmla="*/ 2147483647 w 49"/>
                <a:gd name="T43" fmla="*/ 2147483647 h 27"/>
                <a:gd name="T44" fmla="*/ 2147483647 w 49"/>
                <a:gd name="T45" fmla="*/ 2147483647 h 27"/>
                <a:gd name="T46" fmla="*/ 2147483647 w 49"/>
                <a:gd name="T47" fmla="*/ 2147483647 h 27"/>
                <a:gd name="T48" fmla="*/ 2147483647 w 49"/>
                <a:gd name="T49" fmla="*/ 0 h 27"/>
                <a:gd name="T50" fmla="*/ 2147483647 w 49"/>
                <a:gd name="T51" fmla="*/ 0 h 27"/>
                <a:gd name="T52" fmla="*/ 2147483647 w 49"/>
                <a:gd name="T53" fmla="*/ 0 h 27"/>
                <a:gd name="T54" fmla="*/ 2147483647 w 49"/>
                <a:gd name="T55" fmla="*/ 2147483647 h 27"/>
                <a:gd name="T56" fmla="*/ 2147483647 w 49"/>
                <a:gd name="T57" fmla="*/ 2147483647 h 27"/>
                <a:gd name="T58" fmla="*/ 0 w 49"/>
                <a:gd name="T59" fmla="*/ 2147483647 h 27"/>
                <a:gd name="T60" fmla="*/ 0 w 49"/>
                <a:gd name="T61" fmla="*/ 2147483647 h 27"/>
                <a:gd name="T62" fmla="*/ 0 w 49"/>
                <a:gd name="T63" fmla="*/ 2147483647 h 27"/>
                <a:gd name="T64" fmla="*/ 2147483647 w 49"/>
                <a:gd name="T65" fmla="*/ 2147483647 h 27"/>
                <a:gd name="T66" fmla="*/ 2147483647 w 49"/>
                <a:gd name="T67" fmla="*/ 2147483647 h 27"/>
                <a:gd name="T68" fmla="*/ 2147483647 w 49"/>
                <a:gd name="T69" fmla="*/ 2147483647 h 27"/>
                <a:gd name="T70" fmla="*/ 2147483647 w 49"/>
                <a:gd name="T71" fmla="*/ 2147483647 h 27"/>
                <a:gd name="T72" fmla="*/ 2147483647 w 49"/>
                <a:gd name="T73" fmla="*/ 2147483647 h 27"/>
                <a:gd name="T74" fmla="*/ 2147483647 w 49"/>
                <a:gd name="T75" fmla="*/ 2147483647 h 27"/>
                <a:gd name="T76" fmla="*/ 2147483647 w 49"/>
                <a:gd name="T77" fmla="*/ 2147483647 h 27"/>
                <a:gd name="T78" fmla="*/ 2147483647 w 49"/>
                <a:gd name="T79" fmla="*/ 2147483647 h 27"/>
                <a:gd name="T80" fmla="*/ 2147483647 w 49"/>
                <a:gd name="T81" fmla="*/ 2147483647 h 27"/>
                <a:gd name="T82" fmla="*/ 2147483647 w 49"/>
                <a:gd name="T83" fmla="*/ 2147483647 h 27"/>
                <a:gd name="T84" fmla="*/ 2147483647 w 49"/>
                <a:gd name="T85" fmla="*/ 2147483647 h 27"/>
                <a:gd name="T86" fmla="*/ 2147483647 w 49"/>
                <a:gd name="T87" fmla="*/ 2147483647 h 27"/>
                <a:gd name="T88" fmla="*/ 2147483647 w 49"/>
                <a:gd name="T89" fmla="*/ 2147483647 h 27"/>
                <a:gd name="T90" fmla="*/ 2147483647 w 49"/>
                <a:gd name="T91" fmla="*/ 2147483647 h 2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9"/>
                <a:gd name="T139" fmla="*/ 0 h 27"/>
                <a:gd name="T140" fmla="*/ 49 w 49"/>
                <a:gd name="T141" fmla="*/ 27 h 2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9" h="27">
                  <a:moveTo>
                    <a:pt x="44" y="24"/>
                  </a:moveTo>
                  <a:lnTo>
                    <a:pt x="44" y="24"/>
                  </a:lnTo>
                  <a:lnTo>
                    <a:pt x="47" y="22"/>
                  </a:lnTo>
                  <a:lnTo>
                    <a:pt x="47" y="20"/>
                  </a:lnTo>
                  <a:lnTo>
                    <a:pt x="47" y="17"/>
                  </a:lnTo>
                  <a:lnTo>
                    <a:pt x="44" y="12"/>
                  </a:lnTo>
                  <a:lnTo>
                    <a:pt x="42" y="10"/>
                  </a:lnTo>
                  <a:lnTo>
                    <a:pt x="42" y="8"/>
                  </a:lnTo>
                  <a:lnTo>
                    <a:pt x="42" y="7"/>
                  </a:lnTo>
                  <a:lnTo>
                    <a:pt x="44" y="7"/>
                  </a:lnTo>
                  <a:lnTo>
                    <a:pt x="47" y="7"/>
                  </a:lnTo>
                  <a:lnTo>
                    <a:pt x="48" y="7"/>
                  </a:lnTo>
                  <a:lnTo>
                    <a:pt x="49" y="6"/>
                  </a:lnTo>
                  <a:lnTo>
                    <a:pt x="48" y="3"/>
                  </a:lnTo>
                  <a:lnTo>
                    <a:pt x="45" y="1"/>
                  </a:lnTo>
                  <a:lnTo>
                    <a:pt x="42" y="0"/>
                  </a:lnTo>
                  <a:lnTo>
                    <a:pt x="38" y="0"/>
                  </a:lnTo>
                  <a:lnTo>
                    <a:pt x="33" y="1"/>
                  </a:lnTo>
                  <a:lnTo>
                    <a:pt x="28" y="3"/>
                  </a:lnTo>
                  <a:lnTo>
                    <a:pt x="19" y="0"/>
                  </a:lnTo>
                  <a:lnTo>
                    <a:pt x="10" y="0"/>
                  </a:lnTo>
                  <a:lnTo>
                    <a:pt x="6" y="0"/>
                  </a:lnTo>
                  <a:lnTo>
                    <a:pt x="3" y="1"/>
                  </a:lnTo>
                  <a:lnTo>
                    <a:pt x="1" y="4"/>
                  </a:lnTo>
                  <a:lnTo>
                    <a:pt x="0" y="7"/>
                  </a:lnTo>
                  <a:lnTo>
                    <a:pt x="0" y="18"/>
                  </a:lnTo>
                  <a:lnTo>
                    <a:pt x="2" y="23"/>
                  </a:lnTo>
                  <a:lnTo>
                    <a:pt x="3" y="26"/>
                  </a:lnTo>
                  <a:lnTo>
                    <a:pt x="6" y="27"/>
                  </a:lnTo>
                  <a:lnTo>
                    <a:pt x="9" y="27"/>
                  </a:lnTo>
                  <a:lnTo>
                    <a:pt x="14" y="26"/>
                  </a:lnTo>
                  <a:lnTo>
                    <a:pt x="20" y="25"/>
                  </a:lnTo>
                  <a:lnTo>
                    <a:pt x="28" y="25"/>
                  </a:lnTo>
                  <a:lnTo>
                    <a:pt x="42" y="27"/>
                  </a:lnTo>
                  <a:lnTo>
                    <a:pt x="43" y="26"/>
                  </a:lnTo>
                  <a:lnTo>
                    <a:pt x="44" y="2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6" name="Freeform 945"/>
            <p:cNvSpPr>
              <a:spLocks/>
            </p:cNvSpPr>
            <p:nvPr/>
          </p:nvSpPr>
          <p:spPr bwMode="auto">
            <a:xfrm>
              <a:off x="1682751" y="1663702"/>
              <a:ext cx="28574" cy="33338"/>
            </a:xfrm>
            <a:custGeom>
              <a:avLst/>
              <a:gdLst>
                <a:gd name="T0" fmla="*/ 2147483647 w 20"/>
                <a:gd name="T1" fmla="*/ 2147483647 h 21"/>
                <a:gd name="T2" fmla="*/ 2147483647 w 20"/>
                <a:gd name="T3" fmla="*/ 2147483647 h 21"/>
                <a:gd name="T4" fmla="*/ 2147483647 w 20"/>
                <a:gd name="T5" fmla="*/ 0 h 21"/>
                <a:gd name="T6" fmla="*/ 2147483647 w 20"/>
                <a:gd name="T7" fmla="*/ 0 h 21"/>
                <a:gd name="T8" fmla="*/ 2147483647 w 20"/>
                <a:gd name="T9" fmla="*/ 2147483647 h 21"/>
                <a:gd name="T10" fmla="*/ 2147483647 w 20"/>
                <a:gd name="T11" fmla="*/ 2147483647 h 21"/>
                <a:gd name="T12" fmla="*/ 2147483647 w 20"/>
                <a:gd name="T13" fmla="*/ 2147483647 h 21"/>
                <a:gd name="T14" fmla="*/ 0 w 20"/>
                <a:gd name="T15" fmla="*/ 2147483647 h 21"/>
                <a:gd name="T16" fmla="*/ 0 w 20"/>
                <a:gd name="T17" fmla="*/ 2147483647 h 21"/>
                <a:gd name="T18" fmla="*/ 0 w 20"/>
                <a:gd name="T19" fmla="*/ 2147483647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1"/>
                <a:gd name="T53" fmla="*/ 20 w 20"/>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1">
                  <a:moveTo>
                    <a:pt x="16" y="7"/>
                  </a:moveTo>
                  <a:lnTo>
                    <a:pt x="11" y="1"/>
                  </a:lnTo>
                  <a:lnTo>
                    <a:pt x="8" y="0"/>
                  </a:lnTo>
                  <a:lnTo>
                    <a:pt x="6" y="0"/>
                  </a:lnTo>
                  <a:lnTo>
                    <a:pt x="5" y="1"/>
                  </a:lnTo>
                  <a:lnTo>
                    <a:pt x="2" y="6"/>
                  </a:lnTo>
                  <a:lnTo>
                    <a:pt x="1" y="12"/>
                  </a:lnTo>
                  <a:lnTo>
                    <a:pt x="0" y="14"/>
                  </a:lnTo>
                  <a:lnTo>
                    <a:pt x="0" y="18"/>
                  </a:lnTo>
                  <a:lnTo>
                    <a:pt x="0" y="20"/>
                  </a:lnTo>
                  <a:lnTo>
                    <a:pt x="1" y="21"/>
                  </a:lnTo>
                  <a:lnTo>
                    <a:pt x="2" y="21"/>
                  </a:lnTo>
                  <a:lnTo>
                    <a:pt x="18" y="17"/>
                  </a:lnTo>
                  <a:lnTo>
                    <a:pt x="20" y="15"/>
                  </a:lnTo>
                  <a:lnTo>
                    <a:pt x="20" y="13"/>
                  </a:lnTo>
                  <a:lnTo>
                    <a:pt x="19" y="10"/>
                  </a:lnTo>
                  <a:lnTo>
                    <a:pt x="1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7" name="Freeform 946"/>
            <p:cNvSpPr>
              <a:spLocks/>
            </p:cNvSpPr>
            <p:nvPr/>
          </p:nvSpPr>
          <p:spPr bwMode="auto">
            <a:xfrm>
              <a:off x="1912942" y="1643066"/>
              <a:ext cx="73025" cy="60325"/>
            </a:xfrm>
            <a:custGeom>
              <a:avLst/>
              <a:gdLst>
                <a:gd name="T0" fmla="*/ 2147483647 w 50"/>
                <a:gd name="T1" fmla="*/ 2147483647 h 38"/>
                <a:gd name="T2" fmla="*/ 2147483647 w 50"/>
                <a:gd name="T3" fmla="*/ 2147483647 h 38"/>
                <a:gd name="T4" fmla="*/ 2147483647 w 50"/>
                <a:gd name="T5" fmla="*/ 2147483647 h 38"/>
                <a:gd name="T6" fmla="*/ 2147483647 w 50"/>
                <a:gd name="T7" fmla="*/ 2147483647 h 38"/>
                <a:gd name="T8" fmla="*/ 2147483647 w 50"/>
                <a:gd name="T9" fmla="*/ 0 h 38"/>
                <a:gd name="T10" fmla="*/ 2147483647 w 50"/>
                <a:gd name="T11" fmla="*/ 2147483647 h 38"/>
                <a:gd name="T12" fmla="*/ 2147483647 w 50"/>
                <a:gd name="T13" fmla="*/ 2147483647 h 38"/>
                <a:gd name="T14" fmla="*/ 2147483647 w 50"/>
                <a:gd name="T15" fmla="*/ 2147483647 h 38"/>
                <a:gd name="T16" fmla="*/ 2147483647 w 50"/>
                <a:gd name="T17" fmla="*/ 2147483647 h 38"/>
                <a:gd name="T18" fmla="*/ 2147483647 w 50"/>
                <a:gd name="T19" fmla="*/ 2147483647 h 38"/>
                <a:gd name="T20" fmla="*/ 2147483647 w 50"/>
                <a:gd name="T21" fmla="*/ 2147483647 h 38"/>
                <a:gd name="T22" fmla="*/ 2147483647 w 50"/>
                <a:gd name="T23" fmla="*/ 2147483647 h 38"/>
                <a:gd name="T24" fmla="*/ 0 w 50"/>
                <a:gd name="T25" fmla="*/ 2147483647 h 38"/>
                <a:gd name="T26" fmla="*/ 2147483647 w 50"/>
                <a:gd name="T27" fmla="*/ 2147483647 h 38"/>
                <a:gd name="T28" fmla="*/ 2147483647 w 50"/>
                <a:gd name="T29" fmla="*/ 2147483647 h 38"/>
                <a:gd name="T30" fmla="*/ 2147483647 w 50"/>
                <a:gd name="T31" fmla="*/ 2147483647 h 38"/>
                <a:gd name="T32" fmla="*/ 2147483647 w 50"/>
                <a:gd name="T33" fmla="*/ 2147483647 h 38"/>
                <a:gd name="T34" fmla="*/ 2147483647 w 50"/>
                <a:gd name="T35" fmla="*/ 2147483647 h 38"/>
                <a:gd name="T36" fmla="*/ 2147483647 w 50"/>
                <a:gd name="T37" fmla="*/ 2147483647 h 38"/>
                <a:gd name="T38" fmla="*/ 2147483647 w 50"/>
                <a:gd name="T39" fmla="*/ 2147483647 h 38"/>
                <a:gd name="T40" fmla="*/ 2147483647 w 50"/>
                <a:gd name="T41" fmla="*/ 2147483647 h 38"/>
                <a:gd name="T42" fmla="*/ 2147483647 w 50"/>
                <a:gd name="T43" fmla="*/ 2147483647 h 38"/>
                <a:gd name="T44" fmla="*/ 2147483647 w 50"/>
                <a:gd name="T45" fmla="*/ 2147483647 h 38"/>
                <a:gd name="T46" fmla="*/ 2147483647 w 50"/>
                <a:gd name="T47" fmla="*/ 2147483647 h 38"/>
                <a:gd name="T48" fmla="*/ 2147483647 w 50"/>
                <a:gd name="T49" fmla="*/ 2147483647 h 38"/>
                <a:gd name="T50" fmla="*/ 2147483647 w 50"/>
                <a:gd name="T51" fmla="*/ 2147483647 h 38"/>
                <a:gd name="T52" fmla="*/ 2147483647 w 50"/>
                <a:gd name="T53" fmla="*/ 2147483647 h 38"/>
                <a:gd name="T54" fmla="*/ 2147483647 w 50"/>
                <a:gd name="T55" fmla="*/ 2147483647 h 38"/>
                <a:gd name="T56" fmla="*/ 2147483647 w 50"/>
                <a:gd name="T57" fmla="*/ 2147483647 h 38"/>
                <a:gd name="T58" fmla="*/ 2147483647 w 50"/>
                <a:gd name="T59" fmla="*/ 2147483647 h 38"/>
                <a:gd name="T60" fmla="*/ 2147483647 w 50"/>
                <a:gd name="T61" fmla="*/ 2147483647 h 38"/>
                <a:gd name="T62" fmla="*/ 2147483647 w 50"/>
                <a:gd name="T63" fmla="*/ 2147483647 h 38"/>
                <a:gd name="T64" fmla="*/ 2147483647 w 50"/>
                <a:gd name="T65" fmla="*/ 2147483647 h 38"/>
                <a:gd name="T66" fmla="*/ 2147483647 w 50"/>
                <a:gd name="T67" fmla="*/ 2147483647 h 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38"/>
                <a:gd name="T104" fmla="*/ 50 w 50"/>
                <a:gd name="T105" fmla="*/ 38 h 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38">
                  <a:moveTo>
                    <a:pt x="35" y="12"/>
                  </a:moveTo>
                  <a:lnTo>
                    <a:pt x="30" y="6"/>
                  </a:lnTo>
                  <a:lnTo>
                    <a:pt x="27" y="2"/>
                  </a:lnTo>
                  <a:lnTo>
                    <a:pt x="23" y="1"/>
                  </a:lnTo>
                  <a:lnTo>
                    <a:pt x="19" y="0"/>
                  </a:lnTo>
                  <a:lnTo>
                    <a:pt x="17" y="1"/>
                  </a:lnTo>
                  <a:lnTo>
                    <a:pt x="14" y="2"/>
                  </a:lnTo>
                  <a:lnTo>
                    <a:pt x="13" y="5"/>
                  </a:lnTo>
                  <a:lnTo>
                    <a:pt x="12" y="9"/>
                  </a:lnTo>
                  <a:lnTo>
                    <a:pt x="9" y="13"/>
                  </a:lnTo>
                  <a:lnTo>
                    <a:pt x="3" y="21"/>
                  </a:lnTo>
                  <a:lnTo>
                    <a:pt x="2" y="24"/>
                  </a:lnTo>
                  <a:lnTo>
                    <a:pt x="0" y="27"/>
                  </a:lnTo>
                  <a:lnTo>
                    <a:pt x="2" y="30"/>
                  </a:lnTo>
                  <a:lnTo>
                    <a:pt x="4" y="31"/>
                  </a:lnTo>
                  <a:lnTo>
                    <a:pt x="12" y="32"/>
                  </a:lnTo>
                  <a:lnTo>
                    <a:pt x="16" y="32"/>
                  </a:lnTo>
                  <a:lnTo>
                    <a:pt x="19" y="33"/>
                  </a:lnTo>
                  <a:lnTo>
                    <a:pt x="21" y="33"/>
                  </a:lnTo>
                  <a:lnTo>
                    <a:pt x="22" y="33"/>
                  </a:lnTo>
                  <a:lnTo>
                    <a:pt x="25" y="32"/>
                  </a:lnTo>
                  <a:lnTo>
                    <a:pt x="26" y="32"/>
                  </a:lnTo>
                  <a:lnTo>
                    <a:pt x="32" y="36"/>
                  </a:lnTo>
                  <a:lnTo>
                    <a:pt x="40" y="38"/>
                  </a:lnTo>
                  <a:lnTo>
                    <a:pt x="44" y="38"/>
                  </a:lnTo>
                  <a:lnTo>
                    <a:pt x="46" y="37"/>
                  </a:lnTo>
                  <a:lnTo>
                    <a:pt x="49" y="36"/>
                  </a:lnTo>
                  <a:lnTo>
                    <a:pt x="50" y="33"/>
                  </a:lnTo>
                  <a:lnTo>
                    <a:pt x="49" y="28"/>
                  </a:lnTo>
                  <a:lnTo>
                    <a:pt x="47" y="25"/>
                  </a:lnTo>
                  <a:lnTo>
                    <a:pt x="42" y="17"/>
                  </a:lnTo>
                  <a:lnTo>
                    <a:pt x="41" y="15"/>
                  </a:lnTo>
                  <a:lnTo>
                    <a:pt x="38" y="14"/>
                  </a:lnTo>
                  <a:lnTo>
                    <a:pt x="35"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8" name="Freeform 947"/>
            <p:cNvSpPr>
              <a:spLocks/>
            </p:cNvSpPr>
            <p:nvPr/>
          </p:nvSpPr>
          <p:spPr bwMode="auto">
            <a:xfrm>
              <a:off x="1681164" y="1662117"/>
              <a:ext cx="28574" cy="33337"/>
            </a:xfrm>
            <a:custGeom>
              <a:avLst/>
              <a:gdLst>
                <a:gd name="T0" fmla="*/ 2147483647 w 20"/>
                <a:gd name="T1" fmla="*/ 2147483647 h 21"/>
                <a:gd name="T2" fmla="*/ 2147483647 w 20"/>
                <a:gd name="T3" fmla="*/ 2147483647 h 21"/>
                <a:gd name="T4" fmla="*/ 2147483647 w 20"/>
                <a:gd name="T5" fmla="*/ 2147483647 h 21"/>
                <a:gd name="T6" fmla="*/ 2147483647 w 20"/>
                <a:gd name="T7" fmla="*/ 0 h 21"/>
                <a:gd name="T8" fmla="*/ 2147483647 w 20"/>
                <a:gd name="T9" fmla="*/ 0 h 21"/>
                <a:gd name="T10" fmla="*/ 2147483647 w 20"/>
                <a:gd name="T11" fmla="*/ 2147483647 h 21"/>
                <a:gd name="T12" fmla="*/ 2147483647 w 20"/>
                <a:gd name="T13" fmla="*/ 2147483647 h 21"/>
                <a:gd name="T14" fmla="*/ 2147483647 w 20"/>
                <a:gd name="T15" fmla="*/ 2147483647 h 21"/>
                <a:gd name="T16" fmla="*/ 2147483647 w 20"/>
                <a:gd name="T17" fmla="*/ 2147483647 h 21"/>
                <a:gd name="T18" fmla="*/ 2147483647 w 20"/>
                <a:gd name="T19" fmla="*/ 2147483647 h 21"/>
                <a:gd name="T20" fmla="*/ 2147483647 w 20"/>
                <a:gd name="T21" fmla="*/ 2147483647 h 21"/>
                <a:gd name="T22" fmla="*/ 2147483647 w 20"/>
                <a:gd name="T23" fmla="*/ 2147483647 h 21"/>
                <a:gd name="T24" fmla="*/ 0 w 20"/>
                <a:gd name="T25" fmla="*/ 2147483647 h 21"/>
                <a:gd name="T26" fmla="*/ 0 w 20"/>
                <a:gd name="T27" fmla="*/ 2147483647 h 21"/>
                <a:gd name="T28" fmla="*/ 0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2147483647 w 20"/>
                <a:gd name="T39" fmla="*/ 2147483647 h 21"/>
                <a:gd name="T40" fmla="*/ 2147483647 w 20"/>
                <a:gd name="T41" fmla="*/ 2147483647 h 21"/>
                <a:gd name="T42" fmla="*/ 2147483647 w 20"/>
                <a:gd name="T43" fmla="*/ 2147483647 h 21"/>
                <a:gd name="T44" fmla="*/ 2147483647 w 20"/>
                <a:gd name="T45" fmla="*/ 2147483647 h 21"/>
                <a:gd name="T46" fmla="*/ 2147483647 w 20"/>
                <a:gd name="T47" fmla="*/ 2147483647 h 21"/>
                <a:gd name="T48" fmla="*/ 2147483647 w 20"/>
                <a:gd name="T49" fmla="*/ 2147483647 h 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
                <a:gd name="T76" fmla="*/ 0 h 21"/>
                <a:gd name="T77" fmla="*/ 20 w 20"/>
                <a:gd name="T78" fmla="*/ 21 h 2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 h="21">
                  <a:moveTo>
                    <a:pt x="16" y="7"/>
                  </a:moveTo>
                  <a:lnTo>
                    <a:pt x="16" y="7"/>
                  </a:lnTo>
                  <a:lnTo>
                    <a:pt x="11" y="1"/>
                  </a:lnTo>
                  <a:lnTo>
                    <a:pt x="7" y="0"/>
                  </a:lnTo>
                  <a:lnTo>
                    <a:pt x="6" y="0"/>
                  </a:lnTo>
                  <a:lnTo>
                    <a:pt x="5" y="1"/>
                  </a:lnTo>
                  <a:lnTo>
                    <a:pt x="2" y="6"/>
                  </a:lnTo>
                  <a:lnTo>
                    <a:pt x="1" y="12"/>
                  </a:lnTo>
                  <a:lnTo>
                    <a:pt x="0" y="14"/>
                  </a:lnTo>
                  <a:lnTo>
                    <a:pt x="0" y="18"/>
                  </a:lnTo>
                  <a:lnTo>
                    <a:pt x="0" y="20"/>
                  </a:lnTo>
                  <a:lnTo>
                    <a:pt x="1" y="21"/>
                  </a:lnTo>
                  <a:lnTo>
                    <a:pt x="2" y="21"/>
                  </a:lnTo>
                  <a:lnTo>
                    <a:pt x="17" y="16"/>
                  </a:lnTo>
                  <a:lnTo>
                    <a:pt x="20" y="15"/>
                  </a:lnTo>
                  <a:lnTo>
                    <a:pt x="20" y="13"/>
                  </a:lnTo>
                  <a:lnTo>
                    <a:pt x="19" y="9"/>
                  </a:lnTo>
                  <a:lnTo>
                    <a:pt x="1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49" name="Freeform 948"/>
            <p:cNvSpPr>
              <a:spLocks/>
            </p:cNvSpPr>
            <p:nvPr/>
          </p:nvSpPr>
          <p:spPr bwMode="auto">
            <a:xfrm>
              <a:off x="1911354" y="1641479"/>
              <a:ext cx="73025" cy="60325"/>
            </a:xfrm>
            <a:custGeom>
              <a:avLst/>
              <a:gdLst>
                <a:gd name="T0" fmla="*/ 2147483647 w 50"/>
                <a:gd name="T1" fmla="*/ 2147483647 h 38"/>
                <a:gd name="T2" fmla="*/ 2147483647 w 50"/>
                <a:gd name="T3" fmla="*/ 2147483647 h 38"/>
                <a:gd name="T4" fmla="*/ 2147483647 w 50"/>
                <a:gd name="T5" fmla="*/ 2147483647 h 38"/>
                <a:gd name="T6" fmla="*/ 2147483647 w 50"/>
                <a:gd name="T7" fmla="*/ 2147483647 h 38"/>
                <a:gd name="T8" fmla="*/ 2147483647 w 50"/>
                <a:gd name="T9" fmla="*/ 2147483647 h 38"/>
                <a:gd name="T10" fmla="*/ 2147483647 w 50"/>
                <a:gd name="T11" fmla="*/ 2147483647 h 38"/>
                <a:gd name="T12" fmla="*/ 2147483647 w 50"/>
                <a:gd name="T13" fmla="*/ 0 h 38"/>
                <a:gd name="T14" fmla="*/ 2147483647 w 50"/>
                <a:gd name="T15" fmla="*/ 2147483647 h 38"/>
                <a:gd name="T16" fmla="*/ 2147483647 w 50"/>
                <a:gd name="T17" fmla="*/ 2147483647 h 38"/>
                <a:gd name="T18" fmla="*/ 2147483647 w 50"/>
                <a:gd name="T19" fmla="*/ 2147483647 h 38"/>
                <a:gd name="T20" fmla="*/ 2147483647 w 50"/>
                <a:gd name="T21" fmla="*/ 2147483647 h 38"/>
                <a:gd name="T22" fmla="*/ 2147483647 w 50"/>
                <a:gd name="T23" fmla="*/ 2147483647 h 38"/>
                <a:gd name="T24" fmla="*/ 2147483647 w 50"/>
                <a:gd name="T25" fmla="*/ 2147483647 h 38"/>
                <a:gd name="T26" fmla="*/ 2147483647 w 50"/>
                <a:gd name="T27" fmla="*/ 2147483647 h 38"/>
                <a:gd name="T28" fmla="*/ 2147483647 w 50"/>
                <a:gd name="T29" fmla="*/ 2147483647 h 38"/>
                <a:gd name="T30" fmla="*/ 2147483647 w 50"/>
                <a:gd name="T31" fmla="*/ 2147483647 h 38"/>
                <a:gd name="T32" fmla="*/ 0 w 50"/>
                <a:gd name="T33" fmla="*/ 2147483647 h 38"/>
                <a:gd name="T34" fmla="*/ 2147483647 w 50"/>
                <a:gd name="T35" fmla="*/ 2147483647 h 38"/>
                <a:gd name="T36" fmla="*/ 2147483647 w 50"/>
                <a:gd name="T37" fmla="*/ 2147483647 h 38"/>
                <a:gd name="T38" fmla="*/ 2147483647 w 50"/>
                <a:gd name="T39" fmla="*/ 2147483647 h 38"/>
                <a:gd name="T40" fmla="*/ 2147483647 w 50"/>
                <a:gd name="T41" fmla="*/ 2147483647 h 38"/>
                <a:gd name="T42" fmla="*/ 2147483647 w 50"/>
                <a:gd name="T43" fmla="*/ 2147483647 h 38"/>
                <a:gd name="T44" fmla="*/ 2147483647 w 50"/>
                <a:gd name="T45" fmla="*/ 2147483647 h 38"/>
                <a:gd name="T46" fmla="*/ 2147483647 w 50"/>
                <a:gd name="T47" fmla="*/ 2147483647 h 38"/>
                <a:gd name="T48" fmla="*/ 2147483647 w 50"/>
                <a:gd name="T49" fmla="*/ 2147483647 h 38"/>
                <a:gd name="T50" fmla="*/ 2147483647 w 50"/>
                <a:gd name="T51" fmla="*/ 2147483647 h 38"/>
                <a:gd name="T52" fmla="*/ 2147483647 w 50"/>
                <a:gd name="T53" fmla="*/ 2147483647 h 38"/>
                <a:gd name="T54" fmla="*/ 2147483647 w 50"/>
                <a:gd name="T55" fmla="*/ 2147483647 h 38"/>
                <a:gd name="T56" fmla="*/ 2147483647 w 50"/>
                <a:gd name="T57" fmla="*/ 2147483647 h 38"/>
                <a:gd name="T58" fmla="*/ 2147483647 w 50"/>
                <a:gd name="T59" fmla="*/ 2147483647 h 38"/>
                <a:gd name="T60" fmla="*/ 2147483647 w 50"/>
                <a:gd name="T61" fmla="*/ 2147483647 h 38"/>
                <a:gd name="T62" fmla="*/ 2147483647 w 50"/>
                <a:gd name="T63" fmla="*/ 2147483647 h 38"/>
                <a:gd name="T64" fmla="*/ 2147483647 w 50"/>
                <a:gd name="T65" fmla="*/ 2147483647 h 38"/>
                <a:gd name="T66" fmla="*/ 2147483647 w 50"/>
                <a:gd name="T67" fmla="*/ 2147483647 h 38"/>
                <a:gd name="T68" fmla="*/ 2147483647 w 50"/>
                <a:gd name="T69" fmla="*/ 2147483647 h 38"/>
                <a:gd name="T70" fmla="*/ 2147483647 w 50"/>
                <a:gd name="T71" fmla="*/ 2147483647 h 38"/>
                <a:gd name="T72" fmla="*/ 2147483647 w 50"/>
                <a:gd name="T73" fmla="*/ 2147483647 h 38"/>
                <a:gd name="T74" fmla="*/ 2147483647 w 50"/>
                <a:gd name="T75" fmla="*/ 2147483647 h 38"/>
                <a:gd name="T76" fmla="*/ 2147483647 w 50"/>
                <a:gd name="T77" fmla="*/ 2147483647 h 38"/>
                <a:gd name="T78" fmla="*/ 2147483647 w 50"/>
                <a:gd name="T79" fmla="*/ 2147483647 h 38"/>
                <a:gd name="T80" fmla="*/ 2147483647 w 50"/>
                <a:gd name="T81" fmla="*/ 2147483647 h 38"/>
                <a:gd name="T82" fmla="*/ 2147483647 w 50"/>
                <a:gd name="T83" fmla="*/ 2147483647 h 38"/>
                <a:gd name="T84" fmla="*/ 2147483647 w 50"/>
                <a:gd name="T85" fmla="*/ 2147483647 h 38"/>
                <a:gd name="T86" fmla="*/ 2147483647 w 50"/>
                <a:gd name="T87" fmla="*/ 2147483647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0"/>
                <a:gd name="T133" fmla="*/ 0 h 38"/>
                <a:gd name="T134" fmla="*/ 50 w 50"/>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0" h="38">
                  <a:moveTo>
                    <a:pt x="34" y="12"/>
                  </a:moveTo>
                  <a:lnTo>
                    <a:pt x="34" y="12"/>
                  </a:lnTo>
                  <a:lnTo>
                    <a:pt x="29" y="6"/>
                  </a:lnTo>
                  <a:lnTo>
                    <a:pt x="27" y="2"/>
                  </a:lnTo>
                  <a:lnTo>
                    <a:pt x="23" y="1"/>
                  </a:lnTo>
                  <a:lnTo>
                    <a:pt x="19" y="0"/>
                  </a:lnTo>
                  <a:lnTo>
                    <a:pt x="17" y="1"/>
                  </a:lnTo>
                  <a:lnTo>
                    <a:pt x="14" y="2"/>
                  </a:lnTo>
                  <a:lnTo>
                    <a:pt x="13" y="5"/>
                  </a:lnTo>
                  <a:lnTo>
                    <a:pt x="12" y="9"/>
                  </a:lnTo>
                  <a:lnTo>
                    <a:pt x="9" y="13"/>
                  </a:lnTo>
                  <a:lnTo>
                    <a:pt x="3" y="21"/>
                  </a:lnTo>
                  <a:lnTo>
                    <a:pt x="1" y="24"/>
                  </a:lnTo>
                  <a:lnTo>
                    <a:pt x="0" y="27"/>
                  </a:lnTo>
                  <a:lnTo>
                    <a:pt x="1" y="29"/>
                  </a:lnTo>
                  <a:lnTo>
                    <a:pt x="4" y="31"/>
                  </a:lnTo>
                  <a:lnTo>
                    <a:pt x="12" y="32"/>
                  </a:lnTo>
                  <a:lnTo>
                    <a:pt x="15" y="32"/>
                  </a:lnTo>
                  <a:lnTo>
                    <a:pt x="19" y="33"/>
                  </a:lnTo>
                  <a:lnTo>
                    <a:pt x="20" y="33"/>
                  </a:lnTo>
                  <a:lnTo>
                    <a:pt x="22" y="33"/>
                  </a:lnTo>
                  <a:lnTo>
                    <a:pt x="24" y="32"/>
                  </a:lnTo>
                  <a:lnTo>
                    <a:pt x="26" y="32"/>
                  </a:lnTo>
                  <a:lnTo>
                    <a:pt x="32" y="35"/>
                  </a:lnTo>
                  <a:lnTo>
                    <a:pt x="39" y="38"/>
                  </a:lnTo>
                  <a:lnTo>
                    <a:pt x="43" y="38"/>
                  </a:lnTo>
                  <a:lnTo>
                    <a:pt x="46" y="37"/>
                  </a:lnTo>
                  <a:lnTo>
                    <a:pt x="48" y="35"/>
                  </a:lnTo>
                  <a:lnTo>
                    <a:pt x="50" y="33"/>
                  </a:lnTo>
                  <a:lnTo>
                    <a:pt x="48" y="28"/>
                  </a:lnTo>
                  <a:lnTo>
                    <a:pt x="47" y="25"/>
                  </a:lnTo>
                  <a:lnTo>
                    <a:pt x="42" y="16"/>
                  </a:lnTo>
                  <a:lnTo>
                    <a:pt x="41" y="15"/>
                  </a:lnTo>
                  <a:lnTo>
                    <a:pt x="38" y="14"/>
                  </a:lnTo>
                  <a:lnTo>
                    <a:pt x="3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0" name="Freeform 949"/>
            <p:cNvSpPr>
              <a:spLocks/>
            </p:cNvSpPr>
            <p:nvPr/>
          </p:nvSpPr>
          <p:spPr bwMode="auto">
            <a:xfrm>
              <a:off x="1911353" y="1576392"/>
              <a:ext cx="423863" cy="141287"/>
            </a:xfrm>
            <a:custGeom>
              <a:avLst/>
              <a:gdLst>
                <a:gd name="T0" fmla="*/ 2147483647 w 290"/>
                <a:gd name="T1" fmla="*/ 2147483647 h 89"/>
                <a:gd name="T2" fmla="*/ 2147483647 w 290"/>
                <a:gd name="T3" fmla="*/ 2147483647 h 89"/>
                <a:gd name="T4" fmla="*/ 2147483647 w 290"/>
                <a:gd name="T5" fmla="*/ 2147483647 h 89"/>
                <a:gd name="T6" fmla="*/ 2147483647 w 290"/>
                <a:gd name="T7" fmla="*/ 2147483647 h 89"/>
                <a:gd name="T8" fmla="*/ 2147483647 w 290"/>
                <a:gd name="T9" fmla="*/ 2147483647 h 89"/>
                <a:gd name="T10" fmla="*/ 2147483647 w 290"/>
                <a:gd name="T11" fmla="*/ 2147483647 h 89"/>
                <a:gd name="T12" fmla="*/ 2147483647 w 290"/>
                <a:gd name="T13" fmla="*/ 2147483647 h 89"/>
                <a:gd name="T14" fmla="*/ 2147483647 w 290"/>
                <a:gd name="T15" fmla="*/ 2147483647 h 89"/>
                <a:gd name="T16" fmla="*/ 2147483647 w 290"/>
                <a:gd name="T17" fmla="*/ 2147483647 h 89"/>
                <a:gd name="T18" fmla="*/ 2147483647 w 290"/>
                <a:gd name="T19" fmla="*/ 2147483647 h 89"/>
                <a:gd name="T20" fmla="*/ 2147483647 w 290"/>
                <a:gd name="T21" fmla="*/ 2147483647 h 89"/>
                <a:gd name="T22" fmla="*/ 2147483647 w 290"/>
                <a:gd name="T23" fmla="*/ 2147483647 h 89"/>
                <a:gd name="T24" fmla="*/ 2147483647 w 290"/>
                <a:gd name="T25" fmla="*/ 2147483647 h 89"/>
                <a:gd name="T26" fmla="*/ 2147483647 w 290"/>
                <a:gd name="T27" fmla="*/ 2147483647 h 89"/>
                <a:gd name="T28" fmla="*/ 2147483647 w 290"/>
                <a:gd name="T29" fmla="*/ 2147483647 h 89"/>
                <a:gd name="T30" fmla="*/ 2147483647 w 290"/>
                <a:gd name="T31" fmla="*/ 2147483647 h 89"/>
                <a:gd name="T32" fmla="*/ 2147483647 w 290"/>
                <a:gd name="T33" fmla="*/ 2147483647 h 89"/>
                <a:gd name="T34" fmla="*/ 2147483647 w 290"/>
                <a:gd name="T35" fmla="*/ 2147483647 h 89"/>
                <a:gd name="T36" fmla="*/ 2147483647 w 290"/>
                <a:gd name="T37" fmla="*/ 2147483647 h 89"/>
                <a:gd name="T38" fmla="*/ 2147483647 w 290"/>
                <a:gd name="T39" fmla="*/ 2147483647 h 89"/>
                <a:gd name="T40" fmla="*/ 2147483647 w 290"/>
                <a:gd name="T41" fmla="*/ 2147483647 h 89"/>
                <a:gd name="T42" fmla="*/ 2147483647 w 290"/>
                <a:gd name="T43" fmla="*/ 2147483647 h 89"/>
                <a:gd name="T44" fmla="*/ 2147483647 w 290"/>
                <a:gd name="T45" fmla="*/ 2147483647 h 89"/>
                <a:gd name="T46" fmla="*/ 2147483647 w 290"/>
                <a:gd name="T47" fmla="*/ 2147483647 h 89"/>
                <a:gd name="T48" fmla="*/ 2147483647 w 290"/>
                <a:gd name="T49" fmla="*/ 2147483647 h 89"/>
                <a:gd name="T50" fmla="*/ 2147483647 w 290"/>
                <a:gd name="T51" fmla="*/ 2147483647 h 89"/>
                <a:gd name="T52" fmla="*/ 2147483647 w 290"/>
                <a:gd name="T53" fmla="*/ 2147483647 h 89"/>
                <a:gd name="T54" fmla="*/ 2147483647 w 290"/>
                <a:gd name="T55" fmla="*/ 2147483647 h 89"/>
                <a:gd name="T56" fmla="*/ 2147483647 w 290"/>
                <a:gd name="T57" fmla="*/ 2147483647 h 89"/>
                <a:gd name="T58" fmla="*/ 2147483647 w 290"/>
                <a:gd name="T59" fmla="*/ 2147483647 h 89"/>
                <a:gd name="T60" fmla="*/ 2147483647 w 290"/>
                <a:gd name="T61" fmla="*/ 2147483647 h 89"/>
                <a:gd name="T62" fmla="*/ 2147483647 w 290"/>
                <a:gd name="T63" fmla="*/ 2147483647 h 89"/>
                <a:gd name="T64" fmla="*/ 2147483647 w 290"/>
                <a:gd name="T65" fmla="*/ 2147483647 h 89"/>
                <a:gd name="T66" fmla="*/ 2147483647 w 290"/>
                <a:gd name="T67" fmla="*/ 2147483647 h 89"/>
                <a:gd name="T68" fmla="*/ 2147483647 w 290"/>
                <a:gd name="T69" fmla="*/ 2147483647 h 89"/>
                <a:gd name="T70" fmla="*/ 2147483647 w 290"/>
                <a:gd name="T71" fmla="*/ 2147483647 h 89"/>
                <a:gd name="T72" fmla="*/ 2147483647 w 290"/>
                <a:gd name="T73" fmla="*/ 2147483647 h 89"/>
                <a:gd name="T74" fmla="*/ 2147483647 w 290"/>
                <a:gd name="T75" fmla="*/ 2147483647 h 89"/>
                <a:gd name="T76" fmla="*/ 2147483647 w 290"/>
                <a:gd name="T77" fmla="*/ 2147483647 h 89"/>
                <a:gd name="T78" fmla="*/ 2147483647 w 290"/>
                <a:gd name="T79" fmla="*/ 2147483647 h 89"/>
                <a:gd name="T80" fmla="*/ 2147483647 w 290"/>
                <a:gd name="T81" fmla="*/ 2147483647 h 89"/>
                <a:gd name="T82" fmla="*/ 2147483647 w 290"/>
                <a:gd name="T83" fmla="*/ 2147483647 h 89"/>
                <a:gd name="T84" fmla="*/ 2147483647 w 290"/>
                <a:gd name="T85" fmla="*/ 2147483647 h 89"/>
                <a:gd name="T86" fmla="*/ 2147483647 w 290"/>
                <a:gd name="T87" fmla="*/ 2147483647 h 89"/>
                <a:gd name="T88" fmla="*/ 2147483647 w 290"/>
                <a:gd name="T89" fmla="*/ 2147483647 h 89"/>
                <a:gd name="T90" fmla="*/ 2147483647 w 290"/>
                <a:gd name="T91" fmla="*/ 2147483647 h 89"/>
                <a:gd name="T92" fmla="*/ 2147483647 w 290"/>
                <a:gd name="T93" fmla="*/ 2147483647 h 89"/>
                <a:gd name="T94" fmla="*/ 2147483647 w 290"/>
                <a:gd name="T95" fmla="*/ 2147483647 h 89"/>
                <a:gd name="T96" fmla="*/ 2147483647 w 290"/>
                <a:gd name="T97" fmla="*/ 2147483647 h 89"/>
                <a:gd name="T98" fmla="*/ 2147483647 w 290"/>
                <a:gd name="T99" fmla="*/ 2147483647 h 89"/>
                <a:gd name="T100" fmla="*/ 2147483647 w 290"/>
                <a:gd name="T101" fmla="*/ 2147483647 h 89"/>
                <a:gd name="T102" fmla="*/ 2147483647 w 290"/>
                <a:gd name="T103" fmla="*/ 2147483647 h 89"/>
                <a:gd name="T104" fmla="*/ 2147483647 w 290"/>
                <a:gd name="T105" fmla="*/ 2147483647 h 89"/>
                <a:gd name="T106" fmla="*/ 2147483647 w 290"/>
                <a:gd name="T107" fmla="*/ 2147483647 h 89"/>
                <a:gd name="T108" fmla="*/ 2147483647 w 290"/>
                <a:gd name="T109" fmla="*/ 2147483647 h 89"/>
                <a:gd name="T110" fmla="*/ 2147483647 w 290"/>
                <a:gd name="T111" fmla="*/ 2147483647 h 89"/>
                <a:gd name="T112" fmla="*/ 2147483647 w 290"/>
                <a:gd name="T113" fmla="*/ 2147483647 h 89"/>
                <a:gd name="T114" fmla="*/ 2147483647 w 290"/>
                <a:gd name="T115" fmla="*/ 2147483647 h 89"/>
                <a:gd name="T116" fmla="*/ 2147483647 w 290"/>
                <a:gd name="T117" fmla="*/ 2147483647 h 89"/>
                <a:gd name="T118" fmla="*/ 2147483647 w 290"/>
                <a:gd name="T119" fmla="*/ 2147483647 h 89"/>
                <a:gd name="T120" fmla="*/ 2147483647 w 290"/>
                <a:gd name="T121" fmla="*/ 2147483647 h 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0"/>
                <a:gd name="T184" fmla="*/ 0 h 89"/>
                <a:gd name="T185" fmla="*/ 290 w 290"/>
                <a:gd name="T186" fmla="*/ 89 h 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0" h="89">
                  <a:moveTo>
                    <a:pt x="76" y="41"/>
                  </a:moveTo>
                  <a:lnTo>
                    <a:pt x="76" y="42"/>
                  </a:lnTo>
                  <a:lnTo>
                    <a:pt x="78" y="43"/>
                  </a:lnTo>
                  <a:lnTo>
                    <a:pt x="79" y="46"/>
                  </a:lnTo>
                  <a:lnTo>
                    <a:pt x="79" y="47"/>
                  </a:lnTo>
                  <a:lnTo>
                    <a:pt x="79" y="54"/>
                  </a:lnTo>
                  <a:lnTo>
                    <a:pt x="79" y="56"/>
                  </a:lnTo>
                  <a:lnTo>
                    <a:pt x="80" y="59"/>
                  </a:lnTo>
                  <a:lnTo>
                    <a:pt x="84" y="61"/>
                  </a:lnTo>
                  <a:lnTo>
                    <a:pt x="85" y="65"/>
                  </a:lnTo>
                  <a:lnTo>
                    <a:pt x="85" y="70"/>
                  </a:lnTo>
                  <a:lnTo>
                    <a:pt x="85" y="74"/>
                  </a:lnTo>
                  <a:lnTo>
                    <a:pt x="86" y="78"/>
                  </a:lnTo>
                  <a:lnTo>
                    <a:pt x="89" y="79"/>
                  </a:lnTo>
                  <a:lnTo>
                    <a:pt x="93" y="80"/>
                  </a:lnTo>
                  <a:lnTo>
                    <a:pt x="99" y="78"/>
                  </a:lnTo>
                  <a:lnTo>
                    <a:pt x="102" y="79"/>
                  </a:lnTo>
                  <a:lnTo>
                    <a:pt x="104" y="80"/>
                  </a:lnTo>
                  <a:lnTo>
                    <a:pt x="108" y="82"/>
                  </a:lnTo>
                  <a:lnTo>
                    <a:pt x="111" y="82"/>
                  </a:lnTo>
                  <a:lnTo>
                    <a:pt x="113" y="81"/>
                  </a:lnTo>
                  <a:lnTo>
                    <a:pt x="114" y="80"/>
                  </a:lnTo>
                  <a:lnTo>
                    <a:pt x="121" y="79"/>
                  </a:lnTo>
                  <a:lnTo>
                    <a:pt x="126" y="75"/>
                  </a:lnTo>
                  <a:lnTo>
                    <a:pt x="128" y="72"/>
                  </a:lnTo>
                  <a:lnTo>
                    <a:pt x="131" y="66"/>
                  </a:lnTo>
                  <a:lnTo>
                    <a:pt x="132" y="65"/>
                  </a:lnTo>
                  <a:lnTo>
                    <a:pt x="133" y="65"/>
                  </a:lnTo>
                  <a:lnTo>
                    <a:pt x="136" y="65"/>
                  </a:lnTo>
                  <a:lnTo>
                    <a:pt x="137" y="66"/>
                  </a:lnTo>
                  <a:lnTo>
                    <a:pt x="139" y="67"/>
                  </a:lnTo>
                  <a:lnTo>
                    <a:pt x="139" y="70"/>
                  </a:lnTo>
                  <a:lnTo>
                    <a:pt x="136" y="74"/>
                  </a:lnTo>
                  <a:lnTo>
                    <a:pt x="135" y="76"/>
                  </a:lnTo>
                  <a:lnTo>
                    <a:pt x="135" y="78"/>
                  </a:lnTo>
                  <a:lnTo>
                    <a:pt x="136" y="81"/>
                  </a:lnTo>
                  <a:lnTo>
                    <a:pt x="140" y="83"/>
                  </a:lnTo>
                  <a:lnTo>
                    <a:pt x="144" y="85"/>
                  </a:lnTo>
                  <a:lnTo>
                    <a:pt x="147" y="85"/>
                  </a:lnTo>
                  <a:lnTo>
                    <a:pt x="147" y="87"/>
                  </a:lnTo>
                  <a:lnTo>
                    <a:pt x="149" y="87"/>
                  </a:lnTo>
                  <a:lnTo>
                    <a:pt x="151" y="87"/>
                  </a:lnTo>
                  <a:lnTo>
                    <a:pt x="150" y="87"/>
                  </a:lnTo>
                  <a:lnTo>
                    <a:pt x="154" y="87"/>
                  </a:lnTo>
                  <a:lnTo>
                    <a:pt x="158" y="86"/>
                  </a:lnTo>
                  <a:lnTo>
                    <a:pt x="160" y="85"/>
                  </a:lnTo>
                  <a:lnTo>
                    <a:pt x="164" y="86"/>
                  </a:lnTo>
                  <a:lnTo>
                    <a:pt x="173" y="87"/>
                  </a:lnTo>
                  <a:lnTo>
                    <a:pt x="188" y="87"/>
                  </a:lnTo>
                  <a:lnTo>
                    <a:pt x="203" y="89"/>
                  </a:lnTo>
                  <a:lnTo>
                    <a:pt x="206" y="89"/>
                  </a:lnTo>
                  <a:lnTo>
                    <a:pt x="210" y="88"/>
                  </a:lnTo>
                  <a:lnTo>
                    <a:pt x="216" y="86"/>
                  </a:lnTo>
                  <a:lnTo>
                    <a:pt x="220" y="85"/>
                  </a:lnTo>
                  <a:lnTo>
                    <a:pt x="224" y="86"/>
                  </a:lnTo>
                  <a:lnTo>
                    <a:pt x="226" y="86"/>
                  </a:lnTo>
                  <a:lnTo>
                    <a:pt x="230" y="85"/>
                  </a:lnTo>
                  <a:lnTo>
                    <a:pt x="231" y="83"/>
                  </a:lnTo>
                  <a:lnTo>
                    <a:pt x="233" y="81"/>
                  </a:lnTo>
                  <a:lnTo>
                    <a:pt x="233" y="78"/>
                  </a:lnTo>
                  <a:lnTo>
                    <a:pt x="234" y="73"/>
                  </a:lnTo>
                  <a:lnTo>
                    <a:pt x="235" y="72"/>
                  </a:lnTo>
                  <a:lnTo>
                    <a:pt x="238" y="72"/>
                  </a:lnTo>
                  <a:lnTo>
                    <a:pt x="239" y="73"/>
                  </a:lnTo>
                  <a:lnTo>
                    <a:pt x="240" y="75"/>
                  </a:lnTo>
                  <a:lnTo>
                    <a:pt x="241" y="82"/>
                  </a:lnTo>
                  <a:lnTo>
                    <a:pt x="243" y="83"/>
                  </a:lnTo>
                  <a:lnTo>
                    <a:pt x="245" y="85"/>
                  </a:lnTo>
                  <a:lnTo>
                    <a:pt x="250" y="87"/>
                  </a:lnTo>
                  <a:lnTo>
                    <a:pt x="263" y="88"/>
                  </a:lnTo>
                  <a:lnTo>
                    <a:pt x="266" y="88"/>
                  </a:lnTo>
                  <a:lnTo>
                    <a:pt x="268" y="87"/>
                  </a:lnTo>
                  <a:lnTo>
                    <a:pt x="271" y="86"/>
                  </a:lnTo>
                  <a:lnTo>
                    <a:pt x="273" y="83"/>
                  </a:lnTo>
                  <a:lnTo>
                    <a:pt x="274" y="78"/>
                  </a:lnTo>
                  <a:lnTo>
                    <a:pt x="277" y="72"/>
                  </a:lnTo>
                  <a:lnTo>
                    <a:pt x="278" y="69"/>
                  </a:lnTo>
                  <a:lnTo>
                    <a:pt x="281" y="68"/>
                  </a:lnTo>
                  <a:lnTo>
                    <a:pt x="283" y="67"/>
                  </a:lnTo>
                  <a:lnTo>
                    <a:pt x="287" y="66"/>
                  </a:lnTo>
                  <a:lnTo>
                    <a:pt x="290" y="66"/>
                  </a:lnTo>
                  <a:lnTo>
                    <a:pt x="290" y="63"/>
                  </a:lnTo>
                  <a:lnTo>
                    <a:pt x="290" y="61"/>
                  </a:lnTo>
                  <a:lnTo>
                    <a:pt x="288" y="59"/>
                  </a:lnTo>
                  <a:lnTo>
                    <a:pt x="287" y="56"/>
                  </a:lnTo>
                  <a:lnTo>
                    <a:pt x="286" y="54"/>
                  </a:lnTo>
                  <a:lnTo>
                    <a:pt x="285" y="50"/>
                  </a:lnTo>
                  <a:lnTo>
                    <a:pt x="283" y="48"/>
                  </a:lnTo>
                  <a:lnTo>
                    <a:pt x="279" y="48"/>
                  </a:lnTo>
                  <a:lnTo>
                    <a:pt x="276" y="49"/>
                  </a:lnTo>
                  <a:lnTo>
                    <a:pt x="268" y="47"/>
                  </a:lnTo>
                  <a:lnTo>
                    <a:pt x="258" y="46"/>
                  </a:lnTo>
                  <a:lnTo>
                    <a:pt x="248" y="44"/>
                  </a:lnTo>
                  <a:lnTo>
                    <a:pt x="236" y="46"/>
                  </a:lnTo>
                  <a:lnTo>
                    <a:pt x="216" y="48"/>
                  </a:lnTo>
                  <a:lnTo>
                    <a:pt x="199" y="53"/>
                  </a:lnTo>
                  <a:lnTo>
                    <a:pt x="197" y="55"/>
                  </a:lnTo>
                  <a:lnTo>
                    <a:pt x="194" y="59"/>
                  </a:lnTo>
                  <a:lnTo>
                    <a:pt x="193" y="60"/>
                  </a:lnTo>
                  <a:lnTo>
                    <a:pt x="191" y="61"/>
                  </a:lnTo>
                  <a:lnTo>
                    <a:pt x="187" y="61"/>
                  </a:lnTo>
                  <a:lnTo>
                    <a:pt x="183" y="61"/>
                  </a:lnTo>
                  <a:lnTo>
                    <a:pt x="180" y="59"/>
                  </a:lnTo>
                  <a:lnTo>
                    <a:pt x="178" y="57"/>
                  </a:lnTo>
                  <a:lnTo>
                    <a:pt x="175" y="55"/>
                  </a:lnTo>
                  <a:lnTo>
                    <a:pt x="172" y="54"/>
                  </a:lnTo>
                  <a:lnTo>
                    <a:pt x="169" y="53"/>
                  </a:lnTo>
                  <a:lnTo>
                    <a:pt x="166" y="51"/>
                  </a:lnTo>
                  <a:lnTo>
                    <a:pt x="165" y="51"/>
                  </a:lnTo>
                  <a:lnTo>
                    <a:pt x="161" y="54"/>
                  </a:lnTo>
                  <a:lnTo>
                    <a:pt x="159" y="55"/>
                  </a:lnTo>
                  <a:lnTo>
                    <a:pt x="156" y="54"/>
                  </a:lnTo>
                  <a:lnTo>
                    <a:pt x="153" y="54"/>
                  </a:lnTo>
                  <a:lnTo>
                    <a:pt x="147" y="50"/>
                  </a:lnTo>
                  <a:lnTo>
                    <a:pt x="141" y="47"/>
                  </a:lnTo>
                  <a:lnTo>
                    <a:pt x="140" y="47"/>
                  </a:lnTo>
                  <a:lnTo>
                    <a:pt x="137" y="48"/>
                  </a:lnTo>
                  <a:lnTo>
                    <a:pt x="136" y="48"/>
                  </a:lnTo>
                  <a:lnTo>
                    <a:pt x="133" y="48"/>
                  </a:lnTo>
                  <a:lnTo>
                    <a:pt x="128" y="46"/>
                  </a:lnTo>
                  <a:lnTo>
                    <a:pt x="125" y="42"/>
                  </a:lnTo>
                  <a:lnTo>
                    <a:pt x="118" y="41"/>
                  </a:lnTo>
                  <a:lnTo>
                    <a:pt x="112" y="40"/>
                  </a:lnTo>
                  <a:lnTo>
                    <a:pt x="107" y="38"/>
                  </a:lnTo>
                  <a:lnTo>
                    <a:pt x="106" y="36"/>
                  </a:lnTo>
                  <a:lnTo>
                    <a:pt x="104" y="35"/>
                  </a:lnTo>
                  <a:lnTo>
                    <a:pt x="104" y="32"/>
                  </a:lnTo>
                  <a:lnTo>
                    <a:pt x="108" y="31"/>
                  </a:lnTo>
                  <a:lnTo>
                    <a:pt x="112" y="31"/>
                  </a:lnTo>
                  <a:lnTo>
                    <a:pt x="116" y="30"/>
                  </a:lnTo>
                  <a:lnTo>
                    <a:pt x="117" y="29"/>
                  </a:lnTo>
                  <a:lnTo>
                    <a:pt x="117" y="27"/>
                  </a:lnTo>
                  <a:lnTo>
                    <a:pt x="114" y="25"/>
                  </a:lnTo>
                  <a:lnTo>
                    <a:pt x="112" y="24"/>
                  </a:lnTo>
                  <a:lnTo>
                    <a:pt x="109" y="24"/>
                  </a:lnTo>
                  <a:lnTo>
                    <a:pt x="107" y="23"/>
                  </a:lnTo>
                  <a:lnTo>
                    <a:pt x="106" y="21"/>
                  </a:lnTo>
                  <a:lnTo>
                    <a:pt x="104" y="17"/>
                  </a:lnTo>
                  <a:lnTo>
                    <a:pt x="104" y="14"/>
                  </a:lnTo>
                  <a:lnTo>
                    <a:pt x="102" y="11"/>
                  </a:lnTo>
                  <a:lnTo>
                    <a:pt x="100" y="10"/>
                  </a:lnTo>
                  <a:lnTo>
                    <a:pt x="98" y="11"/>
                  </a:lnTo>
                  <a:lnTo>
                    <a:pt x="94" y="12"/>
                  </a:lnTo>
                  <a:lnTo>
                    <a:pt x="89" y="12"/>
                  </a:lnTo>
                  <a:lnTo>
                    <a:pt x="83" y="12"/>
                  </a:lnTo>
                  <a:lnTo>
                    <a:pt x="76" y="14"/>
                  </a:lnTo>
                  <a:lnTo>
                    <a:pt x="73" y="16"/>
                  </a:lnTo>
                  <a:lnTo>
                    <a:pt x="69" y="17"/>
                  </a:lnTo>
                  <a:lnTo>
                    <a:pt x="66" y="18"/>
                  </a:lnTo>
                  <a:lnTo>
                    <a:pt x="65" y="17"/>
                  </a:lnTo>
                  <a:lnTo>
                    <a:pt x="61" y="14"/>
                  </a:lnTo>
                  <a:lnTo>
                    <a:pt x="59" y="10"/>
                  </a:lnTo>
                  <a:lnTo>
                    <a:pt x="56" y="9"/>
                  </a:lnTo>
                  <a:lnTo>
                    <a:pt x="55" y="8"/>
                  </a:lnTo>
                  <a:lnTo>
                    <a:pt x="37" y="5"/>
                  </a:lnTo>
                  <a:lnTo>
                    <a:pt x="20" y="2"/>
                  </a:lnTo>
                  <a:lnTo>
                    <a:pt x="15" y="0"/>
                  </a:lnTo>
                  <a:lnTo>
                    <a:pt x="10" y="2"/>
                  </a:lnTo>
                  <a:lnTo>
                    <a:pt x="5" y="3"/>
                  </a:lnTo>
                  <a:lnTo>
                    <a:pt x="1" y="6"/>
                  </a:lnTo>
                  <a:lnTo>
                    <a:pt x="0" y="10"/>
                  </a:lnTo>
                  <a:lnTo>
                    <a:pt x="1" y="14"/>
                  </a:lnTo>
                  <a:lnTo>
                    <a:pt x="3" y="17"/>
                  </a:lnTo>
                  <a:lnTo>
                    <a:pt x="5" y="19"/>
                  </a:lnTo>
                  <a:lnTo>
                    <a:pt x="8" y="21"/>
                  </a:lnTo>
                  <a:lnTo>
                    <a:pt x="10" y="21"/>
                  </a:lnTo>
                  <a:lnTo>
                    <a:pt x="13" y="22"/>
                  </a:lnTo>
                  <a:lnTo>
                    <a:pt x="15" y="22"/>
                  </a:lnTo>
                  <a:lnTo>
                    <a:pt x="22" y="28"/>
                  </a:lnTo>
                  <a:lnTo>
                    <a:pt x="31" y="32"/>
                  </a:lnTo>
                  <a:lnTo>
                    <a:pt x="39" y="34"/>
                  </a:lnTo>
                  <a:lnTo>
                    <a:pt x="48" y="32"/>
                  </a:lnTo>
                  <a:lnTo>
                    <a:pt x="51" y="31"/>
                  </a:lnTo>
                  <a:lnTo>
                    <a:pt x="52" y="29"/>
                  </a:lnTo>
                  <a:lnTo>
                    <a:pt x="55" y="27"/>
                  </a:lnTo>
                  <a:lnTo>
                    <a:pt x="56" y="25"/>
                  </a:lnTo>
                  <a:lnTo>
                    <a:pt x="59" y="25"/>
                  </a:lnTo>
                  <a:lnTo>
                    <a:pt x="61" y="27"/>
                  </a:lnTo>
                  <a:lnTo>
                    <a:pt x="64" y="27"/>
                  </a:lnTo>
                  <a:lnTo>
                    <a:pt x="66" y="27"/>
                  </a:lnTo>
                  <a:lnTo>
                    <a:pt x="66" y="28"/>
                  </a:lnTo>
                  <a:lnTo>
                    <a:pt x="70" y="34"/>
                  </a:lnTo>
                  <a:lnTo>
                    <a:pt x="75" y="38"/>
                  </a:lnTo>
                  <a:lnTo>
                    <a:pt x="76" y="40"/>
                  </a:lnTo>
                  <a:lnTo>
                    <a:pt x="76" y="4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1" name="Freeform 950"/>
            <p:cNvSpPr>
              <a:spLocks/>
            </p:cNvSpPr>
            <p:nvPr/>
          </p:nvSpPr>
          <p:spPr bwMode="auto">
            <a:xfrm>
              <a:off x="1752603" y="1581150"/>
              <a:ext cx="123825" cy="103188"/>
            </a:xfrm>
            <a:custGeom>
              <a:avLst/>
              <a:gdLst>
                <a:gd name="T0" fmla="*/ 2147483647 w 84"/>
                <a:gd name="T1" fmla="*/ 2147483647 h 65"/>
                <a:gd name="T2" fmla="*/ 2147483647 w 84"/>
                <a:gd name="T3" fmla="*/ 2147483647 h 65"/>
                <a:gd name="T4" fmla="*/ 2147483647 w 84"/>
                <a:gd name="T5" fmla="*/ 2147483647 h 65"/>
                <a:gd name="T6" fmla="*/ 2147483647 w 84"/>
                <a:gd name="T7" fmla="*/ 2147483647 h 65"/>
                <a:gd name="T8" fmla="*/ 2147483647 w 84"/>
                <a:gd name="T9" fmla="*/ 2147483647 h 65"/>
                <a:gd name="T10" fmla="*/ 2147483647 w 84"/>
                <a:gd name="T11" fmla="*/ 2147483647 h 65"/>
                <a:gd name="T12" fmla="*/ 2147483647 w 84"/>
                <a:gd name="T13" fmla="*/ 2147483647 h 65"/>
                <a:gd name="T14" fmla="*/ 2147483647 w 84"/>
                <a:gd name="T15" fmla="*/ 2147483647 h 65"/>
                <a:gd name="T16" fmla="*/ 2147483647 w 84"/>
                <a:gd name="T17" fmla="*/ 2147483647 h 65"/>
                <a:gd name="T18" fmla="*/ 2147483647 w 84"/>
                <a:gd name="T19" fmla="*/ 2147483647 h 65"/>
                <a:gd name="T20" fmla="*/ 2147483647 w 84"/>
                <a:gd name="T21" fmla="*/ 2147483647 h 65"/>
                <a:gd name="T22" fmla="*/ 2147483647 w 84"/>
                <a:gd name="T23" fmla="*/ 2147483647 h 65"/>
                <a:gd name="T24" fmla="*/ 2147483647 w 84"/>
                <a:gd name="T25" fmla="*/ 0 h 65"/>
                <a:gd name="T26" fmla="*/ 2147483647 w 84"/>
                <a:gd name="T27" fmla="*/ 0 h 65"/>
                <a:gd name="T28" fmla="*/ 2147483647 w 84"/>
                <a:gd name="T29" fmla="*/ 2147483647 h 65"/>
                <a:gd name="T30" fmla="*/ 2147483647 w 84"/>
                <a:gd name="T31" fmla="*/ 2147483647 h 65"/>
                <a:gd name="T32" fmla="*/ 2147483647 w 84"/>
                <a:gd name="T33" fmla="*/ 2147483647 h 65"/>
                <a:gd name="T34" fmla="*/ 2147483647 w 84"/>
                <a:gd name="T35" fmla="*/ 2147483647 h 65"/>
                <a:gd name="T36" fmla="*/ 2147483647 w 84"/>
                <a:gd name="T37" fmla="*/ 2147483647 h 65"/>
                <a:gd name="T38" fmla="*/ 2147483647 w 84"/>
                <a:gd name="T39" fmla="*/ 2147483647 h 65"/>
                <a:gd name="T40" fmla="*/ 2147483647 w 84"/>
                <a:gd name="T41" fmla="*/ 2147483647 h 65"/>
                <a:gd name="T42" fmla="*/ 2147483647 w 84"/>
                <a:gd name="T43" fmla="*/ 2147483647 h 65"/>
                <a:gd name="T44" fmla="*/ 2147483647 w 84"/>
                <a:gd name="T45" fmla="*/ 2147483647 h 65"/>
                <a:gd name="T46" fmla="*/ 2147483647 w 84"/>
                <a:gd name="T47" fmla="*/ 2147483647 h 65"/>
                <a:gd name="T48" fmla="*/ 2147483647 w 84"/>
                <a:gd name="T49" fmla="*/ 2147483647 h 65"/>
                <a:gd name="T50" fmla="*/ 2147483647 w 84"/>
                <a:gd name="T51" fmla="*/ 2147483647 h 65"/>
                <a:gd name="T52" fmla="*/ 2147483647 w 84"/>
                <a:gd name="T53" fmla="*/ 2147483647 h 65"/>
                <a:gd name="T54" fmla="*/ 2147483647 w 84"/>
                <a:gd name="T55" fmla="*/ 2147483647 h 65"/>
                <a:gd name="T56" fmla="*/ 2147483647 w 84"/>
                <a:gd name="T57" fmla="*/ 2147483647 h 65"/>
                <a:gd name="T58" fmla="*/ 2147483647 w 84"/>
                <a:gd name="T59" fmla="*/ 2147483647 h 65"/>
                <a:gd name="T60" fmla="*/ 2147483647 w 84"/>
                <a:gd name="T61" fmla="*/ 2147483647 h 65"/>
                <a:gd name="T62" fmla="*/ 2147483647 w 84"/>
                <a:gd name="T63" fmla="*/ 2147483647 h 65"/>
                <a:gd name="T64" fmla="*/ 2147483647 w 84"/>
                <a:gd name="T65" fmla="*/ 2147483647 h 65"/>
                <a:gd name="T66" fmla="*/ 0 w 84"/>
                <a:gd name="T67" fmla="*/ 2147483647 h 65"/>
                <a:gd name="T68" fmla="*/ 2147483647 w 84"/>
                <a:gd name="T69" fmla="*/ 2147483647 h 65"/>
                <a:gd name="T70" fmla="*/ 2147483647 w 84"/>
                <a:gd name="T71" fmla="*/ 2147483647 h 65"/>
                <a:gd name="T72" fmla="*/ 2147483647 w 84"/>
                <a:gd name="T73" fmla="*/ 2147483647 h 65"/>
                <a:gd name="T74" fmla="*/ 2147483647 w 84"/>
                <a:gd name="T75" fmla="*/ 2147483647 h 65"/>
                <a:gd name="T76" fmla="*/ 2147483647 w 84"/>
                <a:gd name="T77" fmla="*/ 2147483647 h 65"/>
                <a:gd name="T78" fmla="*/ 2147483647 w 84"/>
                <a:gd name="T79" fmla="*/ 2147483647 h 65"/>
                <a:gd name="T80" fmla="*/ 2147483647 w 84"/>
                <a:gd name="T81" fmla="*/ 2147483647 h 65"/>
                <a:gd name="T82" fmla="*/ 2147483647 w 84"/>
                <a:gd name="T83" fmla="*/ 2147483647 h 65"/>
                <a:gd name="T84" fmla="*/ 2147483647 w 84"/>
                <a:gd name="T85" fmla="*/ 2147483647 h 65"/>
                <a:gd name="T86" fmla="*/ 2147483647 w 84"/>
                <a:gd name="T87" fmla="*/ 2147483647 h 65"/>
                <a:gd name="T88" fmla="*/ 2147483647 w 84"/>
                <a:gd name="T89" fmla="*/ 2147483647 h 65"/>
                <a:gd name="T90" fmla="*/ 2147483647 w 84"/>
                <a:gd name="T91" fmla="*/ 2147483647 h 65"/>
                <a:gd name="T92" fmla="*/ 2147483647 w 84"/>
                <a:gd name="T93" fmla="*/ 2147483647 h 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4"/>
                <a:gd name="T142" fmla="*/ 0 h 65"/>
                <a:gd name="T143" fmla="*/ 84 w 84"/>
                <a:gd name="T144" fmla="*/ 65 h 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4" h="65">
                  <a:moveTo>
                    <a:pt x="78" y="53"/>
                  </a:moveTo>
                  <a:lnTo>
                    <a:pt x="81" y="50"/>
                  </a:lnTo>
                  <a:lnTo>
                    <a:pt x="83" y="47"/>
                  </a:lnTo>
                  <a:lnTo>
                    <a:pt x="83" y="46"/>
                  </a:lnTo>
                  <a:lnTo>
                    <a:pt x="80" y="41"/>
                  </a:lnTo>
                  <a:lnTo>
                    <a:pt x="80" y="37"/>
                  </a:lnTo>
                  <a:lnTo>
                    <a:pt x="81" y="32"/>
                  </a:lnTo>
                  <a:lnTo>
                    <a:pt x="84" y="28"/>
                  </a:lnTo>
                  <a:lnTo>
                    <a:pt x="84" y="26"/>
                  </a:lnTo>
                  <a:lnTo>
                    <a:pt x="84" y="24"/>
                  </a:lnTo>
                  <a:lnTo>
                    <a:pt x="81" y="20"/>
                  </a:lnTo>
                  <a:lnTo>
                    <a:pt x="81" y="16"/>
                  </a:lnTo>
                  <a:lnTo>
                    <a:pt x="81" y="14"/>
                  </a:lnTo>
                  <a:lnTo>
                    <a:pt x="83" y="12"/>
                  </a:lnTo>
                  <a:lnTo>
                    <a:pt x="81" y="9"/>
                  </a:lnTo>
                  <a:lnTo>
                    <a:pt x="80" y="7"/>
                  </a:lnTo>
                  <a:lnTo>
                    <a:pt x="78" y="6"/>
                  </a:lnTo>
                  <a:lnTo>
                    <a:pt x="73" y="6"/>
                  </a:lnTo>
                  <a:lnTo>
                    <a:pt x="67" y="7"/>
                  </a:lnTo>
                  <a:lnTo>
                    <a:pt x="62" y="9"/>
                  </a:lnTo>
                  <a:lnTo>
                    <a:pt x="60" y="9"/>
                  </a:lnTo>
                  <a:lnTo>
                    <a:pt x="59" y="8"/>
                  </a:lnTo>
                  <a:lnTo>
                    <a:pt x="52" y="6"/>
                  </a:lnTo>
                  <a:lnTo>
                    <a:pt x="47" y="2"/>
                  </a:lnTo>
                  <a:lnTo>
                    <a:pt x="42" y="0"/>
                  </a:lnTo>
                  <a:lnTo>
                    <a:pt x="40" y="0"/>
                  </a:lnTo>
                  <a:lnTo>
                    <a:pt x="37" y="0"/>
                  </a:lnTo>
                  <a:lnTo>
                    <a:pt x="34" y="0"/>
                  </a:lnTo>
                  <a:lnTo>
                    <a:pt x="33" y="2"/>
                  </a:lnTo>
                  <a:lnTo>
                    <a:pt x="33" y="3"/>
                  </a:lnTo>
                  <a:lnTo>
                    <a:pt x="33" y="6"/>
                  </a:lnTo>
                  <a:lnTo>
                    <a:pt x="34" y="8"/>
                  </a:lnTo>
                  <a:lnTo>
                    <a:pt x="37" y="9"/>
                  </a:lnTo>
                  <a:lnTo>
                    <a:pt x="38" y="11"/>
                  </a:lnTo>
                  <a:lnTo>
                    <a:pt x="38" y="13"/>
                  </a:lnTo>
                  <a:lnTo>
                    <a:pt x="37" y="16"/>
                  </a:lnTo>
                  <a:lnTo>
                    <a:pt x="37" y="18"/>
                  </a:lnTo>
                  <a:lnTo>
                    <a:pt x="37" y="20"/>
                  </a:lnTo>
                  <a:lnTo>
                    <a:pt x="40" y="21"/>
                  </a:lnTo>
                  <a:lnTo>
                    <a:pt x="41" y="22"/>
                  </a:lnTo>
                  <a:lnTo>
                    <a:pt x="45" y="24"/>
                  </a:lnTo>
                  <a:lnTo>
                    <a:pt x="46" y="25"/>
                  </a:lnTo>
                  <a:lnTo>
                    <a:pt x="46" y="27"/>
                  </a:lnTo>
                  <a:lnTo>
                    <a:pt x="45" y="28"/>
                  </a:lnTo>
                  <a:lnTo>
                    <a:pt x="43" y="28"/>
                  </a:lnTo>
                  <a:lnTo>
                    <a:pt x="41" y="28"/>
                  </a:lnTo>
                  <a:lnTo>
                    <a:pt x="38" y="27"/>
                  </a:lnTo>
                  <a:lnTo>
                    <a:pt x="34" y="25"/>
                  </a:lnTo>
                  <a:lnTo>
                    <a:pt x="28" y="15"/>
                  </a:lnTo>
                  <a:lnTo>
                    <a:pt x="26" y="13"/>
                  </a:lnTo>
                  <a:lnTo>
                    <a:pt x="24" y="12"/>
                  </a:lnTo>
                  <a:lnTo>
                    <a:pt x="22" y="12"/>
                  </a:lnTo>
                  <a:lnTo>
                    <a:pt x="19" y="13"/>
                  </a:lnTo>
                  <a:lnTo>
                    <a:pt x="17" y="15"/>
                  </a:lnTo>
                  <a:lnTo>
                    <a:pt x="14" y="19"/>
                  </a:lnTo>
                  <a:lnTo>
                    <a:pt x="13" y="21"/>
                  </a:lnTo>
                  <a:lnTo>
                    <a:pt x="13" y="24"/>
                  </a:lnTo>
                  <a:lnTo>
                    <a:pt x="14" y="28"/>
                  </a:lnTo>
                  <a:lnTo>
                    <a:pt x="15" y="33"/>
                  </a:lnTo>
                  <a:lnTo>
                    <a:pt x="15" y="34"/>
                  </a:lnTo>
                  <a:lnTo>
                    <a:pt x="15" y="37"/>
                  </a:lnTo>
                  <a:lnTo>
                    <a:pt x="14" y="38"/>
                  </a:lnTo>
                  <a:lnTo>
                    <a:pt x="13" y="39"/>
                  </a:lnTo>
                  <a:lnTo>
                    <a:pt x="9" y="40"/>
                  </a:lnTo>
                  <a:lnTo>
                    <a:pt x="5" y="40"/>
                  </a:lnTo>
                  <a:lnTo>
                    <a:pt x="4" y="41"/>
                  </a:lnTo>
                  <a:lnTo>
                    <a:pt x="1" y="43"/>
                  </a:lnTo>
                  <a:lnTo>
                    <a:pt x="0" y="46"/>
                  </a:lnTo>
                  <a:lnTo>
                    <a:pt x="0" y="48"/>
                  </a:lnTo>
                  <a:lnTo>
                    <a:pt x="3" y="50"/>
                  </a:lnTo>
                  <a:lnTo>
                    <a:pt x="4" y="51"/>
                  </a:lnTo>
                  <a:lnTo>
                    <a:pt x="5" y="50"/>
                  </a:lnTo>
                  <a:lnTo>
                    <a:pt x="9" y="47"/>
                  </a:lnTo>
                  <a:lnTo>
                    <a:pt x="14" y="47"/>
                  </a:lnTo>
                  <a:lnTo>
                    <a:pt x="18" y="47"/>
                  </a:lnTo>
                  <a:lnTo>
                    <a:pt x="23" y="50"/>
                  </a:lnTo>
                  <a:lnTo>
                    <a:pt x="27" y="50"/>
                  </a:lnTo>
                  <a:lnTo>
                    <a:pt x="29" y="50"/>
                  </a:lnTo>
                  <a:lnTo>
                    <a:pt x="34" y="47"/>
                  </a:lnTo>
                  <a:lnTo>
                    <a:pt x="37" y="46"/>
                  </a:lnTo>
                  <a:lnTo>
                    <a:pt x="40" y="47"/>
                  </a:lnTo>
                  <a:lnTo>
                    <a:pt x="42" y="51"/>
                  </a:lnTo>
                  <a:lnTo>
                    <a:pt x="45" y="54"/>
                  </a:lnTo>
                  <a:lnTo>
                    <a:pt x="45" y="58"/>
                  </a:lnTo>
                  <a:lnTo>
                    <a:pt x="43" y="63"/>
                  </a:lnTo>
                  <a:lnTo>
                    <a:pt x="45" y="64"/>
                  </a:lnTo>
                  <a:lnTo>
                    <a:pt x="46" y="65"/>
                  </a:lnTo>
                  <a:lnTo>
                    <a:pt x="62" y="64"/>
                  </a:lnTo>
                  <a:lnTo>
                    <a:pt x="79" y="64"/>
                  </a:lnTo>
                  <a:lnTo>
                    <a:pt x="80" y="63"/>
                  </a:lnTo>
                  <a:lnTo>
                    <a:pt x="80" y="62"/>
                  </a:lnTo>
                  <a:lnTo>
                    <a:pt x="80" y="59"/>
                  </a:lnTo>
                  <a:lnTo>
                    <a:pt x="79" y="57"/>
                  </a:lnTo>
                  <a:lnTo>
                    <a:pt x="78" y="56"/>
                  </a:lnTo>
                  <a:lnTo>
                    <a:pt x="78" y="5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2" name="Freeform 951"/>
            <p:cNvSpPr>
              <a:spLocks/>
            </p:cNvSpPr>
            <p:nvPr/>
          </p:nvSpPr>
          <p:spPr bwMode="auto">
            <a:xfrm>
              <a:off x="1909766" y="1574804"/>
              <a:ext cx="423863" cy="141287"/>
            </a:xfrm>
            <a:custGeom>
              <a:avLst/>
              <a:gdLst>
                <a:gd name="T0" fmla="*/ 2147483647 w 289"/>
                <a:gd name="T1" fmla="*/ 2147483647 h 89"/>
                <a:gd name="T2" fmla="*/ 2147483647 w 289"/>
                <a:gd name="T3" fmla="*/ 2147483647 h 89"/>
                <a:gd name="T4" fmla="*/ 2147483647 w 289"/>
                <a:gd name="T5" fmla="*/ 2147483647 h 89"/>
                <a:gd name="T6" fmla="*/ 2147483647 w 289"/>
                <a:gd name="T7" fmla="*/ 2147483647 h 89"/>
                <a:gd name="T8" fmla="*/ 2147483647 w 289"/>
                <a:gd name="T9" fmla="*/ 2147483647 h 89"/>
                <a:gd name="T10" fmla="*/ 2147483647 w 289"/>
                <a:gd name="T11" fmla="*/ 2147483647 h 89"/>
                <a:gd name="T12" fmla="*/ 2147483647 w 289"/>
                <a:gd name="T13" fmla="*/ 2147483647 h 89"/>
                <a:gd name="T14" fmla="*/ 2147483647 w 289"/>
                <a:gd name="T15" fmla="*/ 2147483647 h 89"/>
                <a:gd name="T16" fmla="*/ 2147483647 w 289"/>
                <a:gd name="T17" fmla="*/ 2147483647 h 89"/>
                <a:gd name="T18" fmla="*/ 2147483647 w 289"/>
                <a:gd name="T19" fmla="*/ 2147483647 h 89"/>
                <a:gd name="T20" fmla="*/ 2147483647 w 289"/>
                <a:gd name="T21" fmla="*/ 2147483647 h 89"/>
                <a:gd name="T22" fmla="*/ 2147483647 w 289"/>
                <a:gd name="T23" fmla="*/ 2147483647 h 89"/>
                <a:gd name="T24" fmla="*/ 2147483647 w 289"/>
                <a:gd name="T25" fmla="*/ 2147483647 h 89"/>
                <a:gd name="T26" fmla="*/ 2147483647 w 289"/>
                <a:gd name="T27" fmla="*/ 2147483647 h 89"/>
                <a:gd name="T28" fmla="*/ 2147483647 w 289"/>
                <a:gd name="T29" fmla="*/ 2147483647 h 89"/>
                <a:gd name="T30" fmla="*/ 2147483647 w 289"/>
                <a:gd name="T31" fmla="*/ 2147483647 h 89"/>
                <a:gd name="T32" fmla="*/ 2147483647 w 289"/>
                <a:gd name="T33" fmla="*/ 2147483647 h 89"/>
                <a:gd name="T34" fmla="*/ 2147483647 w 289"/>
                <a:gd name="T35" fmla="*/ 2147483647 h 89"/>
                <a:gd name="T36" fmla="*/ 2147483647 w 289"/>
                <a:gd name="T37" fmla="*/ 2147483647 h 89"/>
                <a:gd name="T38" fmla="*/ 2147483647 w 289"/>
                <a:gd name="T39" fmla="*/ 2147483647 h 89"/>
                <a:gd name="T40" fmla="*/ 2147483647 w 289"/>
                <a:gd name="T41" fmla="*/ 2147483647 h 89"/>
                <a:gd name="T42" fmla="*/ 2147483647 w 289"/>
                <a:gd name="T43" fmla="*/ 2147483647 h 89"/>
                <a:gd name="T44" fmla="*/ 2147483647 w 289"/>
                <a:gd name="T45" fmla="*/ 2147483647 h 89"/>
                <a:gd name="T46" fmla="*/ 2147483647 w 289"/>
                <a:gd name="T47" fmla="*/ 2147483647 h 89"/>
                <a:gd name="T48" fmla="*/ 2147483647 w 289"/>
                <a:gd name="T49" fmla="*/ 2147483647 h 89"/>
                <a:gd name="T50" fmla="*/ 2147483647 w 289"/>
                <a:gd name="T51" fmla="*/ 2147483647 h 89"/>
                <a:gd name="T52" fmla="*/ 2147483647 w 289"/>
                <a:gd name="T53" fmla="*/ 2147483647 h 89"/>
                <a:gd name="T54" fmla="*/ 2147483647 w 289"/>
                <a:gd name="T55" fmla="*/ 2147483647 h 89"/>
                <a:gd name="T56" fmla="*/ 2147483647 w 289"/>
                <a:gd name="T57" fmla="*/ 2147483647 h 89"/>
                <a:gd name="T58" fmla="*/ 2147483647 w 289"/>
                <a:gd name="T59" fmla="*/ 2147483647 h 89"/>
                <a:gd name="T60" fmla="*/ 2147483647 w 289"/>
                <a:gd name="T61" fmla="*/ 2147483647 h 89"/>
                <a:gd name="T62" fmla="*/ 2147483647 w 289"/>
                <a:gd name="T63" fmla="*/ 2147483647 h 89"/>
                <a:gd name="T64" fmla="*/ 2147483647 w 289"/>
                <a:gd name="T65" fmla="*/ 2147483647 h 89"/>
                <a:gd name="T66" fmla="*/ 2147483647 w 289"/>
                <a:gd name="T67" fmla="*/ 2147483647 h 89"/>
                <a:gd name="T68" fmla="*/ 2147483647 w 289"/>
                <a:gd name="T69" fmla="*/ 2147483647 h 89"/>
                <a:gd name="T70" fmla="*/ 2147483647 w 289"/>
                <a:gd name="T71" fmla="*/ 2147483647 h 89"/>
                <a:gd name="T72" fmla="*/ 2147483647 w 289"/>
                <a:gd name="T73" fmla="*/ 2147483647 h 89"/>
                <a:gd name="T74" fmla="*/ 2147483647 w 289"/>
                <a:gd name="T75" fmla="*/ 2147483647 h 89"/>
                <a:gd name="T76" fmla="*/ 2147483647 w 289"/>
                <a:gd name="T77" fmla="*/ 2147483647 h 89"/>
                <a:gd name="T78" fmla="*/ 2147483647 w 289"/>
                <a:gd name="T79" fmla="*/ 2147483647 h 89"/>
                <a:gd name="T80" fmla="*/ 2147483647 w 289"/>
                <a:gd name="T81" fmla="*/ 2147483647 h 89"/>
                <a:gd name="T82" fmla="*/ 2147483647 w 289"/>
                <a:gd name="T83" fmla="*/ 2147483647 h 89"/>
                <a:gd name="T84" fmla="*/ 2147483647 w 289"/>
                <a:gd name="T85" fmla="*/ 2147483647 h 89"/>
                <a:gd name="T86" fmla="*/ 2147483647 w 289"/>
                <a:gd name="T87" fmla="*/ 2147483647 h 89"/>
                <a:gd name="T88" fmla="*/ 2147483647 w 289"/>
                <a:gd name="T89" fmla="*/ 2147483647 h 89"/>
                <a:gd name="T90" fmla="*/ 2147483647 w 289"/>
                <a:gd name="T91" fmla="*/ 2147483647 h 89"/>
                <a:gd name="T92" fmla="*/ 2147483647 w 289"/>
                <a:gd name="T93" fmla="*/ 2147483647 h 89"/>
                <a:gd name="T94" fmla="*/ 2147483647 w 289"/>
                <a:gd name="T95" fmla="*/ 2147483647 h 89"/>
                <a:gd name="T96" fmla="*/ 2147483647 w 289"/>
                <a:gd name="T97" fmla="*/ 2147483647 h 89"/>
                <a:gd name="T98" fmla="*/ 2147483647 w 289"/>
                <a:gd name="T99" fmla="*/ 2147483647 h 89"/>
                <a:gd name="T100" fmla="*/ 2147483647 w 289"/>
                <a:gd name="T101" fmla="*/ 2147483647 h 89"/>
                <a:gd name="T102" fmla="*/ 2147483647 w 289"/>
                <a:gd name="T103" fmla="*/ 2147483647 h 89"/>
                <a:gd name="T104" fmla="*/ 2147483647 w 289"/>
                <a:gd name="T105" fmla="*/ 2147483647 h 89"/>
                <a:gd name="T106" fmla="*/ 2147483647 w 289"/>
                <a:gd name="T107" fmla="*/ 2147483647 h 89"/>
                <a:gd name="T108" fmla="*/ 2147483647 w 289"/>
                <a:gd name="T109" fmla="*/ 2147483647 h 89"/>
                <a:gd name="T110" fmla="*/ 2147483647 w 289"/>
                <a:gd name="T111" fmla="*/ 2147483647 h 89"/>
                <a:gd name="T112" fmla="*/ 2147483647 w 289"/>
                <a:gd name="T113" fmla="*/ 2147483647 h 89"/>
                <a:gd name="T114" fmla="*/ 2147483647 w 289"/>
                <a:gd name="T115" fmla="*/ 2147483647 h 89"/>
                <a:gd name="T116" fmla="*/ 2147483647 w 289"/>
                <a:gd name="T117" fmla="*/ 2147483647 h 89"/>
                <a:gd name="T118" fmla="*/ 2147483647 w 289"/>
                <a:gd name="T119" fmla="*/ 2147483647 h 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9"/>
                <a:gd name="T181" fmla="*/ 0 h 89"/>
                <a:gd name="T182" fmla="*/ 289 w 289"/>
                <a:gd name="T183" fmla="*/ 89 h 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9" h="89">
                  <a:moveTo>
                    <a:pt x="76" y="41"/>
                  </a:moveTo>
                  <a:lnTo>
                    <a:pt x="76" y="41"/>
                  </a:lnTo>
                  <a:lnTo>
                    <a:pt x="76" y="42"/>
                  </a:lnTo>
                  <a:lnTo>
                    <a:pt x="77" y="43"/>
                  </a:lnTo>
                  <a:lnTo>
                    <a:pt x="79" y="45"/>
                  </a:lnTo>
                  <a:lnTo>
                    <a:pt x="79" y="47"/>
                  </a:lnTo>
                  <a:lnTo>
                    <a:pt x="79" y="54"/>
                  </a:lnTo>
                  <a:lnTo>
                    <a:pt x="79" y="56"/>
                  </a:lnTo>
                  <a:lnTo>
                    <a:pt x="80" y="58"/>
                  </a:lnTo>
                  <a:lnTo>
                    <a:pt x="84" y="61"/>
                  </a:lnTo>
                  <a:lnTo>
                    <a:pt x="85" y="64"/>
                  </a:lnTo>
                  <a:lnTo>
                    <a:pt x="85" y="70"/>
                  </a:lnTo>
                  <a:lnTo>
                    <a:pt x="85" y="74"/>
                  </a:lnTo>
                  <a:lnTo>
                    <a:pt x="86" y="77"/>
                  </a:lnTo>
                  <a:lnTo>
                    <a:pt x="89" y="79"/>
                  </a:lnTo>
                  <a:lnTo>
                    <a:pt x="93" y="80"/>
                  </a:lnTo>
                  <a:lnTo>
                    <a:pt x="99" y="77"/>
                  </a:lnTo>
                  <a:lnTo>
                    <a:pt x="101" y="79"/>
                  </a:lnTo>
                  <a:lnTo>
                    <a:pt x="104" y="80"/>
                  </a:lnTo>
                  <a:lnTo>
                    <a:pt x="108" y="82"/>
                  </a:lnTo>
                  <a:lnTo>
                    <a:pt x="110" y="82"/>
                  </a:lnTo>
                  <a:lnTo>
                    <a:pt x="113" y="81"/>
                  </a:lnTo>
                  <a:lnTo>
                    <a:pt x="114" y="80"/>
                  </a:lnTo>
                  <a:lnTo>
                    <a:pt x="120" y="79"/>
                  </a:lnTo>
                  <a:lnTo>
                    <a:pt x="126" y="75"/>
                  </a:lnTo>
                  <a:lnTo>
                    <a:pt x="128" y="71"/>
                  </a:lnTo>
                  <a:lnTo>
                    <a:pt x="131" y="66"/>
                  </a:lnTo>
                  <a:lnTo>
                    <a:pt x="132" y="64"/>
                  </a:lnTo>
                  <a:lnTo>
                    <a:pt x="133" y="64"/>
                  </a:lnTo>
                  <a:lnTo>
                    <a:pt x="136" y="64"/>
                  </a:lnTo>
                  <a:lnTo>
                    <a:pt x="137" y="66"/>
                  </a:lnTo>
                  <a:lnTo>
                    <a:pt x="138" y="67"/>
                  </a:lnTo>
                  <a:lnTo>
                    <a:pt x="138" y="70"/>
                  </a:lnTo>
                  <a:lnTo>
                    <a:pt x="136" y="74"/>
                  </a:lnTo>
                  <a:lnTo>
                    <a:pt x="134" y="76"/>
                  </a:lnTo>
                  <a:lnTo>
                    <a:pt x="134" y="77"/>
                  </a:lnTo>
                  <a:lnTo>
                    <a:pt x="136" y="81"/>
                  </a:lnTo>
                  <a:lnTo>
                    <a:pt x="140" y="83"/>
                  </a:lnTo>
                  <a:lnTo>
                    <a:pt x="143" y="84"/>
                  </a:lnTo>
                  <a:lnTo>
                    <a:pt x="147" y="84"/>
                  </a:lnTo>
                  <a:lnTo>
                    <a:pt x="147" y="87"/>
                  </a:lnTo>
                  <a:lnTo>
                    <a:pt x="148" y="87"/>
                  </a:lnTo>
                  <a:lnTo>
                    <a:pt x="151" y="87"/>
                  </a:lnTo>
                  <a:lnTo>
                    <a:pt x="150" y="87"/>
                  </a:lnTo>
                  <a:lnTo>
                    <a:pt x="154" y="87"/>
                  </a:lnTo>
                  <a:lnTo>
                    <a:pt x="157" y="86"/>
                  </a:lnTo>
                  <a:lnTo>
                    <a:pt x="160" y="84"/>
                  </a:lnTo>
                  <a:lnTo>
                    <a:pt x="164" y="86"/>
                  </a:lnTo>
                  <a:lnTo>
                    <a:pt x="173" y="87"/>
                  </a:lnTo>
                  <a:lnTo>
                    <a:pt x="188" y="87"/>
                  </a:lnTo>
                  <a:lnTo>
                    <a:pt x="203" y="89"/>
                  </a:lnTo>
                  <a:lnTo>
                    <a:pt x="206" y="89"/>
                  </a:lnTo>
                  <a:lnTo>
                    <a:pt x="209" y="88"/>
                  </a:lnTo>
                  <a:lnTo>
                    <a:pt x="216" y="86"/>
                  </a:lnTo>
                  <a:lnTo>
                    <a:pt x="220" y="84"/>
                  </a:lnTo>
                  <a:lnTo>
                    <a:pt x="223" y="86"/>
                  </a:lnTo>
                  <a:lnTo>
                    <a:pt x="226" y="86"/>
                  </a:lnTo>
                  <a:lnTo>
                    <a:pt x="230" y="84"/>
                  </a:lnTo>
                  <a:lnTo>
                    <a:pt x="231" y="83"/>
                  </a:lnTo>
                  <a:lnTo>
                    <a:pt x="232" y="81"/>
                  </a:lnTo>
                  <a:lnTo>
                    <a:pt x="232" y="77"/>
                  </a:lnTo>
                  <a:lnTo>
                    <a:pt x="234" y="73"/>
                  </a:lnTo>
                  <a:lnTo>
                    <a:pt x="235" y="71"/>
                  </a:lnTo>
                  <a:lnTo>
                    <a:pt x="237" y="71"/>
                  </a:lnTo>
                  <a:lnTo>
                    <a:pt x="239" y="73"/>
                  </a:lnTo>
                  <a:lnTo>
                    <a:pt x="240" y="75"/>
                  </a:lnTo>
                  <a:lnTo>
                    <a:pt x="241" y="82"/>
                  </a:lnTo>
                  <a:lnTo>
                    <a:pt x="242" y="83"/>
                  </a:lnTo>
                  <a:lnTo>
                    <a:pt x="245" y="84"/>
                  </a:lnTo>
                  <a:lnTo>
                    <a:pt x="250" y="87"/>
                  </a:lnTo>
                  <a:lnTo>
                    <a:pt x="263" y="88"/>
                  </a:lnTo>
                  <a:lnTo>
                    <a:pt x="265" y="88"/>
                  </a:lnTo>
                  <a:lnTo>
                    <a:pt x="268" y="87"/>
                  </a:lnTo>
                  <a:lnTo>
                    <a:pt x="270" y="86"/>
                  </a:lnTo>
                  <a:lnTo>
                    <a:pt x="273" y="83"/>
                  </a:lnTo>
                  <a:lnTo>
                    <a:pt x="274" y="77"/>
                  </a:lnTo>
                  <a:lnTo>
                    <a:pt x="277" y="71"/>
                  </a:lnTo>
                  <a:lnTo>
                    <a:pt x="278" y="69"/>
                  </a:lnTo>
                  <a:lnTo>
                    <a:pt x="280" y="68"/>
                  </a:lnTo>
                  <a:lnTo>
                    <a:pt x="283" y="67"/>
                  </a:lnTo>
                  <a:lnTo>
                    <a:pt x="287" y="66"/>
                  </a:lnTo>
                  <a:lnTo>
                    <a:pt x="289" y="66"/>
                  </a:lnTo>
                  <a:lnTo>
                    <a:pt x="289" y="63"/>
                  </a:lnTo>
                  <a:lnTo>
                    <a:pt x="289" y="61"/>
                  </a:lnTo>
                  <a:lnTo>
                    <a:pt x="288" y="58"/>
                  </a:lnTo>
                  <a:lnTo>
                    <a:pt x="287" y="56"/>
                  </a:lnTo>
                  <a:lnTo>
                    <a:pt x="286" y="54"/>
                  </a:lnTo>
                  <a:lnTo>
                    <a:pt x="284" y="50"/>
                  </a:lnTo>
                  <a:lnTo>
                    <a:pt x="283" y="48"/>
                  </a:lnTo>
                  <a:lnTo>
                    <a:pt x="279" y="48"/>
                  </a:lnTo>
                  <a:lnTo>
                    <a:pt x="275" y="49"/>
                  </a:lnTo>
                  <a:lnTo>
                    <a:pt x="268" y="47"/>
                  </a:lnTo>
                  <a:lnTo>
                    <a:pt x="258" y="45"/>
                  </a:lnTo>
                  <a:lnTo>
                    <a:pt x="247" y="44"/>
                  </a:lnTo>
                  <a:lnTo>
                    <a:pt x="236" y="45"/>
                  </a:lnTo>
                  <a:lnTo>
                    <a:pt x="216" y="48"/>
                  </a:lnTo>
                  <a:lnTo>
                    <a:pt x="199" y="52"/>
                  </a:lnTo>
                  <a:lnTo>
                    <a:pt x="197" y="55"/>
                  </a:lnTo>
                  <a:lnTo>
                    <a:pt x="194" y="58"/>
                  </a:lnTo>
                  <a:lnTo>
                    <a:pt x="193" y="60"/>
                  </a:lnTo>
                  <a:lnTo>
                    <a:pt x="190" y="61"/>
                  </a:lnTo>
                  <a:lnTo>
                    <a:pt x="187" y="61"/>
                  </a:lnTo>
                  <a:lnTo>
                    <a:pt x="183" y="61"/>
                  </a:lnTo>
                  <a:lnTo>
                    <a:pt x="180" y="58"/>
                  </a:lnTo>
                  <a:lnTo>
                    <a:pt x="178" y="57"/>
                  </a:lnTo>
                  <a:lnTo>
                    <a:pt x="175" y="55"/>
                  </a:lnTo>
                  <a:lnTo>
                    <a:pt x="171" y="54"/>
                  </a:lnTo>
                  <a:lnTo>
                    <a:pt x="169" y="52"/>
                  </a:lnTo>
                  <a:lnTo>
                    <a:pt x="166" y="51"/>
                  </a:lnTo>
                  <a:lnTo>
                    <a:pt x="165" y="51"/>
                  </a:lnTo>
                  <a:lnTo>
                    <a:pt x="161" y="54"/>
                  </a:lnTo>
                  <a:lnTo>
                    <a:pt x="159" y="55"/>
                  </a:lnTo>
                  <a:lnTo>
                    <a:pt x="156" y="54"/>
                  </a:lnTo>
                  <a:lnTo>
                    <a:pt x="152" y="54"/>
                  </a:lnTo>
                  <a:lnTo>
                    <a:pt x="147" y="50"/>
                  </a:lnTo>
                  <a:lnTo>
                    <a:pt x="141" y="47"/>
                  </a:lnTo>
                  <a:lnTo>
                    <a:pt x="140" y="47"/>
                  </a:lnTo>
                  <a:lnTo>
                    <a:pt x="137" y="48"/>
                  </a:lnTo>
                  <a:lnTo>
                    <a:pt x="136" y="48"/>
                  </a:lnTo>
                  <a:lnTo>
                    <a:pt x="133" y="48"/>
                  </a:lnTo>
                  <a:lnTo>
                    <a:pt x="128" y="45"/>
                  </a:lnTo>
                  <a:lnTo>
                    <a:pt x="124" y="42"/>
                  </a:lnTo>
                  <a:lnTo>
                    <a:pt x="118" y="41"/>
                  </a:lnTo>
                  <a:lnTo>
                    <a:pt x="112" y="39"/>
                  </a:lnTo>
                  <a:lnTo>
                    <a:pt x="107" y="38"/>
                  </a:lnTo>
                  <a:lnTo>
                    <a:pt x="105" y="36"/>
                  </a:lnTo>
                  <a:lnTo>
                    <a:pt x="104" y="35"/>
                  </a:lnTo>
                  <a:lnTo>
                    <a:pt x="104" y="32"/>
                  </a:lnTo>
                  <a:lnTo>
                    <a:pt x="108" y="31"/>
                  </a:lnTo>
                  <a:lnTo>
                    <a:pt x="112" y="31"/>
                  </a:lnTo>
                  <a:lnTo>
                    <a:pt x="115" y="30"/>
                  </a:lnTo>
                  <a:lnTo>
                    <a:pt x="117" y="29"/>
                  </a:lnTo>
                  <a:lnTo>
                    <a:pt x="117" y="26"/>
                  </a:lnTo>
                  <a:lnTo>
                    <a:pt x="114" y="25"/>
                  </a:lnTo>
                  <a:lnTo>
                    <a:pt x="112" y="24"/>
                  </a:lnTo>
                  <a:lnTo>
                    <a:pt x="109" y="24"/>
                  </a:lnTo>
                  <a:lnTo>
                    <a:pt x="107" y="23"/>
                  </a:lnTo>
                  <a:lnTo>
                    <a:pt x="105" y="20"/>
                  </a:lnTo>
                  <a:lnTo>
                    <a:pt x="104" y="17"/>
                  </a:lnTo>
                  <a:lnTo>
                    <a:pt x="104" y="13"/>
                  </a:lnTo>
                  <a:lnTo>
                    <a:pt x="101" y="11"/>
                  </a:lnTo>
                  <a:lnTo>
                    <a:pt x="100" y="10"/>
                  </a:lnTo>
                  <a:lnTo>
                    <a:pt x="98" y="11"/>
                  </a:lnTo>
                  <a:lnTo>
                    <a:pt x="94" y="12"/>
                  </a:lnTo>
                  <a:lnTo>
                    <a:pt x="89" y="12"/>
                  </a:lnTo>
                  <a:lnTo>
                    <a:pt x="82" y="12"/>
                  </a:lnTo>
                  <a:lnTo>
                    <a:pt x="76" y="13"/>
                  </a:lnTo>
                  <a:lnTo>
                    <a:pt x="72" y="16"/>
                  </a:lnTo>
                  <a:lnTo>
                    <a:pt x="68" y="17"/>
                  </a:lnTo>
                  <a:lnTo>
                    <a:pt x="66" y="18"/>
                  </a:lnTo>
                  <a:lnTo>
                    <a:pt x="65" y="17"/>
                  </a:lnTo>
                  <a:lnTo>
                    <a:pt x="61" y="13"/>
                  </a:lnTo>
                  <a:lnTo>
                    <a:pt x="58" y="10"/>
                  </a:lnTo>
                  <a:lnTo>
                    <a:pt x="56" y="9"/>
                  </a:lnTo>
                  <a:lnTo>
                    <a:pt x="54" y="7"/>
                  </a:lnTo>
                  <a:lnTo>
                    <a:pt x="37" y="5"/>
                  </a:lnTo>
                  <a:lnTo>
                    <a:pt x="20" y="1"/>
                  </a:lnTo>
                  <a:lnTo>
                    <a:pt x="15" y="0"/>
                  </a:lnTo>
                  <a:lnTo>
                    <a:pt x="10" y="1"/>
                  </a:lnTo>
                  <a:lnTo>
                    <a:pt x="5" y="3"/>
                  </a:lnTo>
                  <a:lnTo>
                    <a:pt x="1" y="6"/>
                  </a:lnTo>
                  <a:lnTo>
                    <a:pt x="0" y="10"/>
                  </a:lnTo>
                  <a:lnTo>
                    <a:pt x="1" y="13"/>
                  </a:lnTo>
                  <a:lnTo>
                    <a:pt x="2" y="17"/>
                  </a:lnTo>
                  <a:lnTo>
                    <a:pt x="5" y="19"/>
                  </a:lnTo>
                  <a:lnTo>
                    <a:pt x="7" y="20"/>
                  </a:lnTo>
                  <a:lnTo>
                    <a:pt x="10" y="20"/>
                  </a:lnTo>
                  <a:lnTo>
                    <a:pt x="13" y="22"/>
                  </a:lnTo>
                  <a:lnTo>
                    <a:pt x="15" y="22"/>
                  </a:lnTo>
                  <a:lnTo>
                    <a:pt x="21" y="28"/>
                  </a:lnTo>
                  <a:lnTo>
                    <a:pt x="30" y="32"/>
                  </a:lnTo>
                  <a:lnTo>
                    <a:pt x="39" y="33"/>
                  </a:lnTo>
                  <a:lnTo>
                    <a:pt x="48" y="32"/>
                  </a:lnTo>
                  <a:lnTo>
                    <a:pt x="51" y="31"/>
                  </a:lnTo>
                  <a:lnTo>
                    <a:pt x="52" y="29"/>
                  </a:lnTo>
                  <a:lnTo>
                    <a:pt x="54" y="26"/>
                  </a:lnTo>
                  <a:lnTo>
                    <a:pt x="56" y="25"/>
                  </a:lnTo>
                  <a:lnTo>
                    <a:pt x="58" y="25"/>
                  </a:lnTo>
                  <a:lnTo>
                    <a:pt x="61" y="26"/>
                  </a:lnTo>
                  <a:lnTo>
                    <a:pt x="63" y="26"/>
                  </a:lnTo>
                  <a:lnTo>
                    <a:pt x="66" y="26"/>
                  </a:lnTo>
                  <a:lnTo>
                    <a:pt x="66" y="28"/>
                  </a:lnTo>
                  <a:lnTo>
                    <a:pt x="70" y="33"/>
                  </a:lnTo>
                  <a:lnTo>
                    <a:pt x="75" y="38"/>
                  </a:lnTo>
                  <a:lnTo>
                    <a:pt x="76" y="39"/>
                  </a:lnTo>
                  <a:lnTo>
                    <a:pt x="76" y="4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3" name="Freeform 952"/>
            <p:cNvSpPr>
              <a:spLocks/>
            </p:cNvSpPr>
            <p:nvPr/>
          </p:nvSpPr>
          <p:spPr bwMode="auto">
            <a:xfrm>
              <a:off x="1751015" y="1579564"/>
              <a:ext cx="123825" cy="103187"/>
            </a:xfrm>
            <a:custGeom>
              <a:avLst/>
              <a:gdLst>
                <a:gd name="T0" fmla="*/ 2147483647 w 84"/>
                <a:gd name="T1" fmla="*/ 2147483647 h 65"/>
                <a:gd name="T2" fmla="*/ 2147483647 w 84"/>
                <a:gd name="T3" fmla="*/ 2147483647 h 65"/>
                <a:gd name="T4" fmla="*/ 2147483647 w 84"/>
                <a:gd name="T5" fmla="*/ 2147483647 h 65"/>
                <a:gd name="T6" fmla="*/ 2147483647 w 84"/>
                <a:gd name="T7" fmla="*/ 2147483647 h 65"/>
                <a:gd name="T8" fmla="*/ 2147483647 w 84"/>
                <a:gd name="T9" fmla="*/ 2147483647 h 65"/>
                <a:gd name="T10" fmla="*/ 2147483647 w 84"/>
                <a:gd name="T11" fmla="*/ 2147483647 h 65"/>
                <a:gd name="T12" fmla="*/ 2147483647 w 84"/>
                <a:gd name="T13" fmla="*/ 2147483647 h 65"/>
                <a:gd name="T14" fmla="*/ 2147483647 w 84"/>
                <a:gd name="T15" fmla="*/ 2147483647 h 65"/>
                <a:gd name="T16" fmla="*/ 2147483647 w 84"/>
                <a:gd name="T17" fmla="*/ 2147483647 h 65"/>
                <a:gd name="T18" fmla="*/ 2147483647 w 84"/>
                <a:gd name="T19" fmla="*/ 2147483647 h 65"/>
                <a:gd name="T20" fmla="*/ 2147483647 w 84"/>
                <a:gd name="T21" fmla="*/ 2147483647 h 65"/>
                <a:gd name="T22" fmla="*/ 2147483647 w 84"/>
                <a:gd name="T23" fmla="*/ 2147483647 h 65"/>
                <a:gd name="T24" fmla="*/ 2147483647 w 84"/>
                <a:gd name="T25" fmla="*/ 2147483647 h 65"/>
                <a:gd name="T26" fmla="*/ 2147483647 w 84"/>
                <a:gd name="T27" fmla="*/ 2147483647 h 65"/>
                <a:gd name="T28" fmla="*/ 2147483647 w 84"/>
                <a:gd name="T29" fmla="*/ 2147483647 h 65"/>
                <a:gd name="T30" fmla="*/ 2147483647 w 84"/>
                <a:gd name="T31" fmla="*/ 0 h 65"/>
                <a:gd name="T32" fmla="*/ 2147483647 w 84"/>
                <a:gd name="T33" fmla="*/ 0 h 65"/>
                <a:gd name="T34" fmla="*/ 2147483647 w 84"/>
                <a:gd name="T35" fmla="*/ 0 h 65"/>
                <a:gd name="T36" fmla="*/ 2147483647 w 84"/>
                <a:gd name="T37" fmla="*/ 2147483647 h 65"/>
                <a:gd name="T38" fmla="*/ 2147483647 w 84"/>
                <a:gd name="T39" fmla="*/ 2147483647 h 65"/>
                <a:gd name="T40" fmla="*/ 2147483647 w 84"/>
                <a:gd name="T41" fmla="*/ 2147483647 h 65"/>
                <a:gd name="T42" fmla="*/ 2147483647 w 84"/>
                <a:gd name="T43" fmla="*/ 2147483647 h 65"/>
                <a:gd name="T44" fmla="*/ 2147483647 w 84"/>
                <a:gd name="T45" fmla="*/ 2147483647 h 65"/>
                <a:gd name="T46" fmla="*/ 2147483647 w 84"/>
                <a:gd name="T47" fmla="*/ 2147483647 h 65"/>
                <a:gd name="T48" fmla="*/ 2147483647 w 84"/>
                <a:gd name="T49" fmla="*/ 2147483647 h 65"/>
                <a:gd name="T50" fmla="*/ 2147483647 w 84"/>
                <a:gd name="T51" fmla="*/ 2147483647 h 65"/>
                <a:gd name="T52" fmla="*/ 2147483647 w 84"/>
                <a:gd name="T53" fmla="*/ 2147483647 h 65"/>
                <a:gd name="T54" fmla="*/ 2147483647 w 84"/>
                <a:gd name="T55" fmla="*/ 2147483647 h 65"/>
                <a:gd name="T56" fmla="*/ 2147483647 w 84"/>
                <a:gd name="T57" fmla="*/ 2147483647 h 65"/>
                <a:gd name="T58" fmla="*/ 2147483647 w 84"/>
                <a:gd name="T59" fmla="*/ 2147483647 h 65"/>
                <a:gd name="T60" fmla="*/ 2147483647 w 84"/>
                <a:gd name="T61" fmla="*/ 2147483647 h 65"/>
                <a:gd name="T62" fmla="*/ 2147483647 w 84"/>
                <a:gd name="T63" fmla="*/ 2147483647 h 65"/>
                <a:gd name="T64" fmla="*/ 2147483647 w 84"/>
                <a:gd name="T65" fmla="*/ 2147483647 h 65"/>
                <a:gd name="T66" fmla="*/ 2147483647 w 84"/>
                <a:gd name="T67" fmla="*/ 2147483647 h 65"/>
                <a:gd name="T68" fmla="*/ 2147483647 w 84"/>
                <a:gd name="T69" fmla="*/ 2147483647 h 65"/>
                <a:gd name="T70" fmla="*/ 2147483647 w 84"/>
                <a:gd name="T71" fmla="*/ 2147483647 h 65"/>
                <a:gd name="T72" fmla="*/ 2147483647 w 84"/>
                <a:gd name="T73" fmla="*/ 2147483647 h 65"/>
                <a:gd name="T74" fmla="*/ 2147483647 w 84"/>
                <a:gd name="T75" fmla="*/ 2147483647 h 65"/>
                <a:gd name="T76" fmla="*/ 2147483647 w 84"/>
                <a:gd name="T77" fmla="*/ 2147483647 h 65"/>
                <a:gd name="T78" fmla="*/ 2147483647 w 84"/>
                <a:gd name="T79" fmla="*/ 2147483647 h 65"/>
                <a:gd name="T80" fmla="*/ 2147483647 w 84"/>
                <a:gd name="T81" fmla="*/ 2147483647 h 65"/>
                <a:gd name="T82" fmla="*/ 2147483647 w 84"/>
                <a:gd name="T83" fmla="*/ 2147483647 h 65"/>
                <a:gd name="T84" fmla="*/ 0 w 84"/>
                <a:gd name="T85" fmla="*/ 2147483647 h 65"/>
                <a:gd name="T86" fmla="*/ 2147483647 w 84"/>
                <a:gd name="T87" fmla="*/ 2147483647 h 65"/>
                <a:gd name="T88" fmla="*/ 2147483647 w 84"/>
                <a:gd name="T89" fmla="*/ 2147483647 h 65"/>
                <a:gd name="T90" fmla="*/ 2147483647 w 84"/>
                <a:gd name="T91" fmla="*/ 2147483647 h 65"/>
                <a:gd name="T92" fmla="*/ 2147483647 w 84"/>
                <a:gd name="T93" fmla="*/ 2147483647 h 65"/>
                <a:gd name="T94" fmla="*/ 2147483647 w 84"/>
                <a:gd name="T95" fmla="*/ 2147483647 h 65"/>
                <a:gd name="T96" fmla="*/ 2147483647 w 84"/>
                <a:gd name="T97" fmla="*/ 2147483647 h 65"/>
                <a:gd name="T98" fmla="*/ 2147483647 w 84"/>
                <a:gd name="T99" fmla="*/ 2147483647 h 65"/>
                <a:gd name="T100" fmla="*/ 2147483647 w 84"/>
                <a:gd name="T101" fmla="*/ 2147483647 h 65"/>
                <a:gd name="T102" fmla="*/ 2147483647 w 84"/>
                <a:gd name="T103" fmla="*/ 2147483647 h 65"/>
                <a:gd name="T104" fmla="*/ 2147483647 w 84"/>
                <a:gd name="T105" fmla="*/ 2147483647 h 65"/>
                <a:gd name="T106" fmla="*/ 2147483647 w 84"/>
                <a:gd name="T107" fmla="*/ 2147483647 h 65"/>
                <a:gd name="T108" fmla="*/ 2147483647 w 84"/>
                <a:gd name="T109" fmla="*/ 2147483647 h 65"/>
                <a:gd name="T110" fmla="*/ 2147483647 w 84"/>
                <a:gd name="T111" fmla="*/ 2147483647 h 65"/>
                <a:gd name="T112" fmla="*/ 2147483647 w 84"/>
                <a:gd name="T113" fmla="*/ 2147483647 h 65"/>
                <a:gd name="T114" fmla="*/ 2147483647 w 84"/>
                <a:gd name="T115" fmla="*/ 2147483647 h 65"/>
                <a:gd name="T116" fmla="*/ 2147483647 w 84"/>
                <a:gd name="T117" fmla="*/ 2147483647 h 65"/>
                <a:gd name="T118" fmla="*/ 2147483647 w 84"/>
                <a:gd name="T119" fmla="*/ 2147483647 h 65"/>
                <a:gd name="T120" fmla="*/ 2147483647 w 84"/>
                <a:gd name="T121" fmla="*/ 2147483647 h 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4"/>
                <a:gd name="T184" fmla="*/ 0 h 65"/>
                <a:gd name="T185" fmla="*/ 84 w 84"/>
                <a:gd name="T186" fmla="*/ 65 h 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4" h="65">
                  <a:moveTo>
                    <a:pt x="77" y="53"/>
                  </a:moveTo>
                  <a:lnTo>
                    <a:pt x="77" y="53"/>
                  </a:lnTo>
                  <a:lnTo>
                    <a:pt x="81" y="49"/>
                  </a:lnTo>
                  <a:lnTo>
                    <a:pt x="82" y="47"/>
                  </a:lnTo>
                  <a:lnTo>
                    <a:pt x="82" y="46"/>
                  </a:lnTo>
                  <a:lnTo>
                    <a:pt x="80" y="41"/>
                  </a:lnTo>
                  <a:lnTo>
                    <a:pt x="80" y="36"/>
                  </a:lnTo>
                  <a:lnTo>
                    <a:pt x="81" y="32"/>
                  </a:lnTo>
                  <a:lnTo>
                    <a:pt x="84" y="28"/>
                  </a:lnTo>
                  <a:lnTo>
                    <a:pt x="84" y="26"/>
                  </a:lnTo>
                  <a:lnTo>
                    <a:pt x="84" y="23"/>
                  </a:lnTo>
                  <a:lnTo>
                    <a:pt x="81" y="20"/>
                  </a:lnTo>
                  <a:lnTo>
                    <a:pt x="81" y="16"/>
                  </a:lnTo>
                  <a:lnTo>
                    <a:pt x="81" y="14"/>
                  </a:lnTo>
                  <a:lnTo>
                    <a:pt x="82" y="12"/>
                  </a:lnTo>
                  <a:lnTo>
                    <a:pt x="81" y="9"/>
                  </a:lnTo>
                  <a:lnTo>
                    <a:pt x="80" y="7"/>
                  </a:lnTo>
                  <a:lnTo>
                    <a:pt x="77" y="6"/>
                  </a:lnTo>
                  <a:lnTo>
                    <a:pt x="72" y="6"/>
                  </a:lnTo>
                  <a:lnTo>
                    <a:pt x="67" y="7"/>
                  </a:lnTo>
                  <a:lnTo>
                    <a:pt x="62" y="9"/>
                  </a:lnTo>
                  <a:lnTo>
                    <a:pt x="60" y="9"/>
                  </a:lnTo>
                  <a:lnTo>
                    <a:pt x="58" y="8"/>
                  </a:lnTo>
                  <a:lnTo>
                    <a:pt x="52" y="6"/>
                  </a:lnTo>
                  <a:lnTo>
                    <a:pt x="47" y="2"/>
                  </a:lnTo>
                  <a:lnTo>
                    <a:pt x="42" y="0"/>
                  </a:lnTo>
                  <a:lnTo>
                    <a:pt x="39" y="0"/>
                  </a:lnTo>
                  <a:lnTo>
                    <a:pt x="37" y="0"/>
                  </a:lnTo>
                  <a:lnTo>
                    <a:pt x="34" y="0"/>
                  </a:lnTo>
                  <a:lnTo>
                    <a:pt x="33" y="2"/>
                  </a:lnTo>
                  <a:lnTo>
                    <a:pt x="33" y="3"/>
                  </a:lnTo>
                  <a:lnTo>
                    <a:pt x="33" y="6"/>
                  </a:lnTo>
                  <a:lnTo>
                    <a:pt x="34" y="8"/>
                  </a:lnTo>
                  <a:lnTo>
                    <a:pt x="37" y="9"/>
                  </a:lnTo>
                  <a:lnTo>
                    <a:pt x="38" y="10"/>
                  </a:lnTo>
                  <a:lnTo>
                    <a:pt x="38" y="13"/>
                  </a:lnTo>
                  <a:lnTo>
                    <a:pt x="37" y="16"/>
                  </a:lnTo>
                  <a:lnTo>
                    <a:pt x="37" y="17"/>
                  </a:lnTo>
                  <a:lnTo>
                    <a:pt x="37" y="20"/>
                  </a:lnTo>
                  <a:lnTo>
                    <a:pt x="39" y="21"/>
                  </a:lnTo>
                  <a:lnTo>
                    <a:pt x="41" y="22"/>
                  </a:lnTo>
                  <a:lnTo>
                    <a:pt x="44" y="23"/>
                  </a:lnTo>
                  <a:lnTo>
                    <a:pt x="46" y="25"/>
                  </a:lnTo>
                  <a:lnTo>
                    <a:pt x="46" y="27"/>
                  </a:lnTo>
                  <a:lnTo>
                    <a:pt x="44" y="28"/>
                  </a:lnTo>
                  <a:lnTo>
                    <a:pt x="43" y="28"/>
                  </a:lnTo>
                  <a:lnTo>
                    <a:pt x="41" y="28"/>
                  </a:lnTo>
                  <a:lnTo>
                    <a:pt x="38" y="27"/>
                  </a:lnTo>
                  <a:lnTo>
                    <a:pt x="34" y="25"/>
                  </a:lnTo>
                  <a:lnTo>
                    <a:pt x="28" y="15"/>
                  </a:lnTo>
                  <a:lnTo>
                    <a:pt x="25" y="13"/>
                  </a:lnTo>
                  <a:lnTo>
                    <a:pt x="24" y="12"/>
                  </a:lnTo>
                  <a:lnTo>
                    <a:pt x="22" y="12"/>
                  </a:lnTo>
                  <a:lnTo>
                    <a:pt x="19" y="13"/>
                  </a:lnTo>
                  <a:lnTo>
                    <a:pt x="16" y="15"/>
                  </a:lnTo>
                  <a:lnTo>
                    <a:pt x="14" y="19"/>
                  </a:lnTo>
                  <a:lnTo>
                    <a:pt x="13" y="21"/>
                  </a:lnTo>
                  <a:lnTo>
                    <a:pt x="13" y="23"/>
                  </a:lnTo>
                  <a:lnTo>
                    <a:pt x="14" y="28"/>
                  </a:lnTo>
                  <a:lnTo>
                    <a:pt x="15" y="33"/>
                  </a:lnTo>
                  <a:lnTo>
                    <a:pt x="15" y="34"/>
                  </a:lnTo>
                  <a:lnTo>
                    <a:pt x="15" y="36"/>
                  </a:lnTo>
                  <a:lnTo>
                    <a:pt x="14" y="38"/>
                  </a:lnTo>
                  <a:lnTo>
                    <a:pt x="13" y="39"/>
                  </a:lnTo>
                  <a:lnTo>
                    <a:pt x="9" y="40"/>
                  </a:lnTo>
                  <a:lnTo>
                    <a:pt x="5" y="40"/>
                  </a:lnTo>
                  <a:lnTo>
                    <a:pt x="4" y="41"/>
                  </a:lnTo>
                  <a:lnTo>
                    <a:pt x="1" y="42"/>
                  </a:lnTo>
                  <a:lnTo>
                    <a:pt x="0" y="46"/>
                  </a:lnTo>
                  <a:lnTo>
                    <a:pt x="0" y="48"/>
                  </a:lnTo>
                  <a:lnTo>
                    <a:pt x="2" y="49"/>
                  </a:lnTo>
                  <a:lnTo>
                    <a:pt x="4" y="51"/>
                  </a:lnTo>
                  <a:lnTo>
                    <a:pt x="5" y="49"/>
                  </a:lnTo>
                  <a:lnTo>
                    <a:pt x="9" y="47"/>
                  </a:lnTo>
                  <a:lnTo>
                    <a:pt x="14" y="47"/>
                  </a:lnTo>
                  <a:lnTo>
                    <a:pt x="18" y="47"/>
                  </a:lnTo>
                  <a:lnTo>
                    <a:pt x="23" y="49"/>
                  </a:lnTo>
                  <a:lnTo>
                    <a:pt x="27" y="49"/>
                  </a:lnTo>
                  <a:lnTo>
                    <a:pt x="29" y="49"/>
                  </a:lnTo>
                  <a:lnTo>
                    <a:pt x="34" y="47"/>
                  </a:lnTo>
                  <a:lnTo>
                    <a:pt x="37" y="46"/>
                  </a:lnTo>
                  <a:lnTo>
                    <a:pt x="39" y="47"/>
                  </a:lnTo>
                  <a:lnTo>
                    <a:pt x="42" y="51"/>
                  </a:lnTo>
                  <a:lnTo>
                    <a:pt x="44" y="54"/>
                  </a:lnTo>
                  <a:lnTo>
                    <a:pt x="44" y="58"/>
                  </a:lnTo>
                  <a:lnTo>
                    <a:pt x="43" y="63"/>
                  </a:lnTo>
                  <a:lnTo>
                    <a:pt x="44" y="64"/>
                  </a:lnTo>
                  <a:lnTo>
                    <a:pt x="46" y="65"/>
                  </a:lnTo>
                  <a:lnTo>
                    <a:pt x="62" y="64"/>
                  </a:lnTo>
                  <a:lnTo>
                    <a:pt x="79" y="64"/>
                  </a:lnTo>
                  <a:lnTo>
                    <a:pt x="80" y="63"/>
                  </a:lnTo>
                  <a:lnTo>
                    <a:pt x="80" y="61"/>
                  </a:lnTo>
                  <a:lnTo>
                    <a:pt x="80" y="59"/>
                  </a:lnTo>
                  <a:lnTo>
                    <a:pt x="79" y="57"/>
                  </a:lnTo>
                  <a:lnTo>
                    <a:pt x="77" y="55"/>
                  </a:lnTo>
                  <a:lnTo>
                    <a:pt x="77" y="5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4" name="Freeform 953"/>
            <p:cNvSpPr>
              <a:spLocks/>
            </p:cNvSpPr>
            <p:nvPr/>
          </p:nvSpPr>
          <p:spPr bwMode="auto">
            <a:xfrm>
              <a:off x="1928814" y="1716089"/>
              <a:ext cx="138112" cy="115887"/>
            </a:xfrm>
            <a:custGeom>
              <a:avLst/>
              <a:gdLst>
                <a:gd name="T0" fmla="*/ 2147483647 w 95"/>
                <a:gd name="T1" fmla="*/ 2147483647 h 73"/>
                <a:gd name="T2" fmla="*/ 2147483647 w 95"/>
                <a:gd name="T3" fmla="*/ 2147483647 h 73"/>
                <a:gd name="T4" fmla="*/ 2147483647 w 95"/>
                <a:gd name="T5" fmla="*/ 2147483647 h 73"/>
                <a:gd name="T6" fmla="*/ 2147483647 w 95"/>
                <a:gd name="T7" fmla="*/ 2147483647 h 73"/>
                <a:gd name="T8" fmla="*/ 2147483647 w 95"/>
                <a:gd name="T9" fmla="*/ 2147483647 h 73"/>
                <a:gd name="T10" fmla="*/ 2147483647 w 95"/>
                <a:gd name="T11" fmla="*/ 2147483647 h 73"/>
                <a:gd name="T12" fmla="*/ 2147483647 w 95"/>
                <a:gd name="T13" fmla="*/ 2147483647 h 73"/>
                <a:gd name="T14" fmla="*/ 2147483647 w 95"/>
                <a:gd name="T15" fmla="*/ 2147483647 h 73"/>
                <a:gd name="T16" fmla="*/ 2147483647 w 95"/>
                <a:gd name="T17" fmla="*/ 2147483647 h 73"/>
                <a:gd name="T18" fmla="*/ 2147483647 w 95"/>
                <a:gd name="T19" fmla="*/ 2147483647 h 73"/>
                <a:gd name="T20" fmla="*/ 2147483647 w 95"/>
                <a:gd name="T21" fmla="*/ 2147483647 h 73"/>
                <a:gd name="T22" fmla="*/ 2147483647 w 95"/>
                <a:gd name="T23" fmla="*/ 2147483647 h 73"/>
                <a:gd name="T24" fmla="*/ 2147483647 w 95"/>
                <a:gd name="T25" fmla="*/ 2147483647 h 73"/>
                <a:gd name="T26" fmla="*/ 2147483647 w 95"/>
                <a:gd name="T27" fmla="*/ 2147483647 h 73"/>
                <a:gd name="T28" fmla="*/ 2147483647 w 95"/>
                <a:gd name="T29" fmla="*/ 2147483647 h 73"/>
                <a:gd name="T30" fmla="*/ 0 w 95"/>
                <a:gd name="T31" fmla="*/ 2147483647 h 73"/>
                <a:gd name="T32" fmla="*/ 0 w 95"/>
                <a:gd name="T33" fmla="*/ 2147483647 h 73"/>
                <a:gd name="T34" fmla="*/ 2147483647 w 95"/>
                <a:gd name="T35" fmla="*/ 2147483647 h 73"/>
                <a:gd name="T36" fmla="*/ 2147483647 w 95"/>
                <a:gd name="T37" fmla="*/ 2147483647 h 73"/>
                <a:gd name="T38" fmla="*/ 2147483647 w 95"/>
                <a:gd name="T39" fmla="*/ 2147483647 h 73"/>
                <a:gd name="T40" fmla="*/ 2147483647 w 95"/>
                <a:gd name="T41" fmla="*/ 2147483647 h 73"/>
                <a:gd name="T42" fmla="*/ 2147483647 w 95"/>
                <a:gd name="T43" fmla="*/ 2147483647 h 73"/>
                <a:gd name="T44" fmla="*/ 2147483647 w 95"/>
                <a:gd name="T45" fmla="*/ 2147483647 h 73"/>
                <a:gd name="T46" fmla="*/ 2147483647 w 95"/>
                <a:gd name="T47" fmla="*/ 2147483647 h 73"/>
                <a:gd name="T48" fmla="*/ 2147483647 w 95"/>
                <a:gd name="T49" fmla="*/ 2147483647 h 73"/>
                <a:gd name="T50" fmla="*/ 2147483647 w 95"/>
                <a:gd name="T51" fmla="*/ 2147483647 h 73"/>
                <a:gd name="T52" fmla="*/ 2147483647 w 95"/>
                <a:gd name="T53" fmla="*/ 2147483647 h 73"/>
                <a:gd name="T54" fmla="*/ 2147483647 w 95"/>
                <a:gd name="T55" fmla="*/ 2147483647 h 73"/>
                <a:gd name="T56" fmla="*/ 2147483647 w 95"/>
                <a:gd name="T57" fmla="*/ 2147483647 h 73"/>
                <a:gd name="T58" fmla="*/ 2147483647 w 95"/>
                <a:gd name="T59" fmla="*/ 2147483647 h 73"/>
                <a:gd name="T60" fmla="*/ 2147483647 w 95"/>
                <a:gd name="T61" fmla="*/ 2147483647 h 73"/>
                <a:gd name="T62" fmla="*/ 2147483647 w 95"/>
                <a:gd name="T63" fmla="*/ 2147483647 h 73"/>
                <a:gd name="T64" fmla="*/ 2147483647 w 95"/>
                <a:gd name="T65" fmla="*/ 2147483647 h 73"/>
                <a:gd name="T66" fmla="*/ 2147483647 w 95"/>
                <a:gd name="T67" fmla="*/ 2147483647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5"/>
                <a:gd name="T103" fmla="*/ 0 h 73"/>
                <a:gd name="T104" fmla="*/ 95 w 9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5" h="73">
                  <a:moveTo>
                    <a:pt x="83" y="33"/>
                  </a:moveTo>
                  <a:lnTo>
                    <a:pt x="88" y="29"/>
                  </a:lnTo>
                  <a:lnTo>
                    <a:pt x="92" y="23"/>
                  </a:lnTo>
                  <a:lnTo>
                    <a:pt x="95" y="17"/>
                  </a:lnTo>
                  <a:lnTo>
                    <a:pt x="94" y="12"/>
                  </a:lnTo>
                  <a:lnTo>
                    <a:pt x="92" y="11"/>
                  </a:lnTo>
                  <a:lnTo>
                    <a:pt x="91" y="10"/>
                  </a:lnTo>
                  <a:lnTo>
                    <a:pt x="85" y="9"/>
                  </a:lnTo>
                  <a:lnTo>
                    <a:pt x="71" y="9"/>
                  </a:lnTo>
                  <a:lnTo>
                    <a:pt x="66" y="7"/>
                  </a:lnTo>
                  <a:lnTo>
                    <a:pt x="62" y="4"/>
                  </a:lnTo>
                  <a:lnTo>
                    <a:pt x="57" y="1"/>
                  </a:lnTo>
                  <a:lnTo>
                    <a:pt x="50" y="0"/>
                  </a:lnTo>
                  <a:lnTo>
                    <a:pt x="45" y="1"/>
                  </a:lnTo>
                  <a:lnTo>
                    <a:pt x="41" y="3"/>
                  </a:lnTo>
                  <a:lnTo>
                    <a:pt x="38" y="5"/>
                  </a:lnTo>
                  <a:lnTo>
                    <a:pt x="33" y="6"/>
                  </a:lnTo>
                  <a:lnTo>
                    <a:pt x="24" y="7"/>
                  </a:lnTo>
                  <a:lnTo>
                    <a:pt x="16" y="7"/>
                  </a:lnTo>
                  <a:lnTo>
                    <a:pt x="6" y="9"/>
                  </a:lnTo>
                  <a:lnTo>
                    <a:pt x="5" y="9"/>
                  </a:lnTo>
                  <a:lnTo>
                    <a:pt x="3" y="10"/>
                  </a:lnTo>
                  <a:lnTo>
                    <a:pt x="6" y="17"/>
                  </a:lnTo>
                  <a:lnTo>
                    <a:pt x="7" y="20"/>
                  </a:lnTo>
                  <a:lnTo>
                    <a:pt x="8" y="24"/>
                  </a:lnTo>
                  <a:lnTo>
                    <a:pt x="10" y="26"/>
                  </a:lnTo>
                  <a:lnTo>
                    <a:pt x="11" y="29"/>
                  </a:lnTo>
                  <a:lnTo>
                    <a:pt x="10" y="31"/>
                  </a:lnTo>
                  <a:lnTo>
                    <a:pt x="10" y="33"/>
                  </a:lnTo>
                  <a:lnTo>
                    <a:pt x="6" y="37"/>
                  </a:lnTo>
                  <a:lnTo>
                    <a:pt x="0" y="41"/>
                  </a:lnTo>
                  <a:lnTo>
                    <a:pt x="0" y="42"/>
                  </a:lnTo>
                  <a:lnTo>
                    <a:pt x="0" y="44"/>
                  </a:lnTo>
                  <a:lnTo>
                    <a:pt x="0" y="45"/>
                  </a:lnTo>
                  <a:lnTo>
                    <a:pt x="1" y="48"/>
                  </a:lnTo>
                  <a:lnTo>
                    <a:pt x="5" y="51"/>
                  </a:lnTo>
                  <a:lnTo>
                    <a:pt x="7" y="56"/>
                  </a:lnTo>
                  <a:lnTo>
                    <a:pt x="11" y="65"/>
                  </a:lnTo>
                  <a:lnTo>
                    <a:pt x="14" y="68"/>
                  </a:lnTo>
                  <a:lnTo>
                    <a:pt x="15" y="69"/>
                  </a:lnTo>
                  <a:lnTo>
                    <a:pt x="20" y="70"/>
                  </a:lnTo>
                  <a:lnTo>
                    <a:pt x="31" y="73"/>
                  </a:lnTo>
                  <a:lnTo>
                    <a:pt x="35" y="73"/>
                  </a:lnTo>
                  <a:lnTo>
                    <a:pt x="38" y="71"/>
                  </a:lnTo>
                  <a:lnTo>
                    <a:pt x="40" y="69"/>
                  </a:lnTo>
                  <a:lnTo>
                    <a:pt x="41" y="67"/>
                  </a:lnTo>
                  <a:lnTo>
                    <a:pt x="43" y="62"/>
                  </a:lnTo>
                  <a:lnTo>
                    <a:pt x="45" y="58"/>
                  </a:lnTo>
                  <a:lnTo>
                    <a:pt x="45" y="56"/>
                  </a:lnTo>
                  <a:lnTo>
                    <a:pt x="39" y="52"/>
                  </a:lnTo>
                  <a:lnTo>
                    <a:pt x="38" y="50"/>
                  </a:lnTo>
                  <a:lnTo>
                    <a:pt x="39" y="46"/>
                  </a:lnTo>
                  <a:lnTo>
                    <a:pt x="41" y="45"/>
                  </a:lnTo>
                  <a:lnTo>
                    <a:pt x="43" y="45"/>
                  </a:lnTo>
                  <a:lnTo>
                    <a:pt x="44" y="46"/>
                  </a:lnTo>
                  <a:lnTo>
                    <a:pt x="45" y="49"/>
                  </a:lnTo>
                  <a:lnTo>
                    <a:pt x="47" y="49"/>
                  </a:lnTo>
                  <a:lnTo>
                    <a:pt x="48" y="52"/>
                  </a:lnTo>
                  <a:lnTo>
                    <a:pt x="50" y="54"/>
                  </a:lnTo>
                  <a:lnTo>
                    <a:pt x="53" y="55"/>
                  </a:lnTo>
                  <a:lnTo>
                    <a:pt x="57" y="56"/>
                  </a:lnTo>
                  <a:lnTo>
                    <a:pt x="63" y="56"/>
                  </a:lnTo>
                  <a:lnTo>
                    <a:pt x="68" y="54"/>
                  </a:lnTo>
                  <a:lnTo>
                    <a:pt x="72" y="51"/>
                  </a:lnTo>
                  <a:lnTo>
                    <a:pt x="73" y="48"/>
                  </a:lnTo>
                  <a:lnTo>
                    <a:pt x="74" y="39"/>
                  </a:lnTo>
                  <a:lnTo>
                    <a:pt x="76" y="37"/>
                  </a:lnTo>
                  <a:lnTo>
                    <a:pt x="78" y="36"/>
                  </a:lnTo>
                  <a:lnTo>
                    <a:pt x="83" y="3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5" name="Freeform 954"/>
            <p:cNvSpPr>
              <a:spLocks/>
            </p:cNvSpPr>
            <p:nvPr/>
          </p:nvSpPr>
          <p:spPr bwMode="auto">
            <a:xfrm>
              <a:off x="1751013" y="1741488"/>
              <a:ext cx="160337" cy="131762"/>
            </a:xfrm>
            <a:custGeom>
              <a:avLst/>
              <a:gdLst>
                <a:gd name="T0" fmla="*/ 2147483647 w 109"/>
                <a:gd name="T1" fmla="*/ 2147483647 h 83"/>
                <a:gd name="T2" fmla="*/ 2147483647 w 109"/>
                <a:gd name="T3" fmla="*/ 2147483647 h 83"/>
                <a:gd name="T4" fmla="*/ 2147483647 w 109"/>
                <a:gd name="T5" fmla="*/ 2147483647 h 83"/>
                <a:gd name="T6" fmla="*/ 2147483647 w 109"/>
                <a:gd name="T7" fmla="*/ 0 h 83"/>
                <a:gd name="T8" fmla="*/ 2147483647 w 109"/>
                <a:gd name="T9" fmla="*/ 2147483647 h 83"/>
                <a:gd name="T10" fmla="*/ 2147483647 w 109"/>
                <a:gd name="T11" fmla="*/ 2147483647 h 83"/>
                <a:gd name="T12" fmla="*/ 2147483647 w 109"/>
                <a:gd name="T13" fmla="*/ 2147483647 h 83"/>
                <a:gd name="T14" fmla="*/ 2147483647 w 109"/>
                <a:gd name="T15" fmla="*/ 2147483647 h 83"/>
                <a:gd name="T16" fmla="*/ 2147483647 w 109"/>
                <a:gd name="T17" fmla="*/ 2147483647 h 83"/>
                <a:gd name="T18" fmla="*/ 2147483647 w 109"/>
                <a:gd name="T19" fmla="*/ 2147483647 h 83"/>
                <a:gd name="T20" fmla="*/ 2147483647 w 109"/>
                <a:gd name="T21" fmla="*/ 2147483647 h 83"/>
                <a:gd name="T22" fmla="*/ 2147483647 w 109"/>
                <a:gd name="T23" fmla="*/ 2147483647 h 83"/>
                <a:gd name="T24" fmla="*/ 2147483647 w 109"/>
                <a:gd name="T25" fmla="*/ 2147483647 h 83"/>
                <a:gd name="T26" fmla="*/ 2147483647 w 109"/>
                <a:gd name="T27" fmla="*/ 2147483647 h 83"/>
                <a:gd name="T28" fmla="*/ 2147483647 w 109"/>
                <a:gd name="T29" fmla="*/ 2147483647 h 83"/>
                <a:gd name="T30" fmla="*/ 2147483647 w 109"/>
                <a:gd name="T31" fmla="*/ 2147483647 h 83"/>
                <a:gd name="T32" fmla="*/ 2147483647 w 109"/>
                <a:gd name="T33" fmla="*/ 2147483647 h 83"/>
                <a:gd name="T34" fmla="*/ 2147483647 w 109"/>
                <a:gd name="T35" fmla="*/ 2147483647 h 83"/>
                <a:gd name="T36" fmla="*/ 2147483647 w 109"/>
                <a:gd name="T37" fmla="*/ 2147483647 h 83"/>
                <a:gd name="T38" fmla="*/ 2147483647 w 109"/>
                <a:gd name="T39" fmla="*/ 2147483647 h 83"/>
                <a:gd name="T40" fmla="*/ 2147483647 w 109"/>
                <a:gd name="T41" fmla="*/ 2147483647 h 83"/>
                <a:gd name="T42" fmla="*/ 2147483647 w 109"/>
                <a:gd name="T43" fmla="*/ 2147483647 h 83"/>
                <a:gd name="T44" fmla="*/ 2147483647 w 109"/>
                <a:gd name="T45" fmla="*/ 2147483647 h 83"/>
                <a:gd name="T46" fmla="*/ 2147483647 w 109"/>
                <a:gd name="T47" fmla="*/ 2147483647 h 83"/>
                <a:gd name="T48" fmla="*/ 2147483647 w 109"/>
                <a:gd name="T49" fmla="*/ 2147483647 h 83"/>
                <a:gd name="T50" fmla="*/ 2147483647 w 109"/>
                <a:gd name="T51" fmla="*/ 2147483647 h 83"/>
                <a:gd name="T52" fmla="*/ 2147483647 w 109"/>
                <a:gd name="T53" fmla="*/ 2147483647 h 83"/>
                <a:gd name="T54" fmla="*/ 2147483647 w 109"/>
                <a:gd name="T55" fmla="*/ 2147483647 h 83"/>
                <a:gd name="T56" fmla="*/ 2147483647 w 109"/>
                <a:gd name="T57" fmla="*/ 2147483647 h 83"/>
                <a:gd name="T58" fmla="*/ 2147483647 w 109"/>
                <a:gd name="T59" fmla="*/ 2147483647 h 83"/>
                <a:gd name="T60" fmla="*/ 2147483647 w 109"/>
                <a:gd name="T61" fmla="*/ 2147483647 h 83"/>
                <a:gd name="T62" fmla="*/ 2147483647 w 109"/>
                <a:gd name="T63" fmla="*/ 2147483647 h 83"/>
                <a:gd name="T64" fmla="*/ 2147483647 w 109"/>
                <a:gd name="T65" fmla="*/ 2147483647 h 83"/>
                <a:gd name="T66" fmla="*/ 2147483647 w 109"/>
                <a:gd name="T67" fmla="*/ 2147483647 h 83"/>
                <a:gd name="T68" fmla="*/ 2147483647 w 109"/>
                <a:gd name="T69" fmla="*/ 2147483647 h 83"/>
                <a:gd name="T70" fmla="*/ 2147483647 w 109"/>
                <a:gd name="T71" fmla="*/ 2147483647 h 83"/>
                <a:gd name="T72" fmla="*/ 2147483647 w 109"/>
                <a:gd name="T73" fmla="*/ 2147483647 h 83"/>
                <a:gd name="T74" fmla="*/ 2147483647 w 109"/>
                <a:gd name="T75" fmla="*/ 2147483647 h 83"/>
                <a:gd name="T76" fmla="*/ 2147483647 w 109"/>
                <a:gd name="T77" fmla="*/ 2147483647 h 83"/>
                <a:gd name="T78" fmla="*/ 2147483647 w 109"/>
                <a:gd name="T79" fmla="*/ 2147483647 h 83"/>
                <a:gd name="T80" fmla="*/ 2147483647 w 109"/>
                <a:gd name="T81" fmla="*/ 2147483647 h 83"/>
                <a:gd name="T82" fmla="*/ 2147483647 w 109"/>
                <a:gd name="T83" fmla="*/ 2147483647 h 83"/>
                <a:gd name="T84" fmla="*/ 2147483647 w 109"/>
                <a:gd name="T85" fmla="*/ 2147483647 h 83"/>
                <a:gd name="T86" fmla="*/ 2147483647 w 109"/>
                <a:gd name="T87" fmla="*/ 2147483647 h 83"/>
                <a:gd name="T88" fmla="*/ 2147483647 w 109"/>
                <a:gd name="T89" fmla="*/ 2147483647 h 83"/>
                <a:gd name="T90" fmla="*/ 2147483647 w 109"/>
                <a:gd name="T91" fmla="*/ 2147483647 h 83"/>
                <a:gd name="T92" fmla="*/ 2147483647 w 109"/>
                <a:gd name="T93" fmla="*/ 2147483647 h 83"/>
                <a:gd name="T94" fmla="*/ 2147483647 w 109"/>
                <a:gd name="T95" fmla="*/ 2147483647 h 83"/>
                <a:gd name="T96" fmla="*/ 2147483647 w 109"/>
                <a:gd name="T97" fmla="*/ 2147483647 h 83"/>
                <a:gd name="T98" fmla="*/ 2147483647 w 109"/>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9"/>
                <a:gd name="T151" fmla="*/ 0 h 83"/>
                <a:gd name="T152" fmla="*/ 109 w 109"/>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9" h="83">
                  <a:moveTo>
                    <a:pt x="81" y="6"/>
                  </a:moveTo>
                  <a:lnTo>
                    <a:pt x="76" y="6"/>
                  </a:lnTo>
                  <a:lnTo>
                    <a:pt x="74" y="7"/>
                  </a:lnTo>
                  <a:lnTo>
                    <a:pt x="71" y="7"/>
                  </a:lnTo>
                  <a:lnTo>
                    <a:pt x="67" y="6"/>
                  </a:lnTo>
                  <a:lnTo>
                    <a:pt x="61" y="6"/>
                  </a:lnTo>
                  <a:lnTo>
                    <a:pt x="55" y="4"/>
                  </a:lnTo>
                  <a:lnTo>
                    <a:pt x="44" y="0"/>
                  </a:lnTo>
                  <a:lnTo>
                    <a:pt x="41" y="0"/>
                  </a:lnTo>
                  <a:lnTo>
                    <a:pt x="37" y="2"/>
                  </a:lnTo>
                  <a:lnTo>
                    <a:pt x="25" y="14"/>
                  </a:lnTo>
                  <a:lnTo>
                    <a:pt x="25" y="15"/>
                  </a:lnTo>
                  <a:lnTo>
                    <a:pt x="27" y="16"/>
                  </a:lnTo>
                  <a:lnTo>
                    <a:pt x="32" y="17"/>
                  </a:lnTo>
                  <a:lnTo>
                    <a:pt x="37" y="21"/>
                  </a:lnTo>
                  <a:lnTo>
                    <a:pt x="39" y="25"/>
                  </a:lnTo>
                  <a:lnTo>
                    <a:pt x="41" y="29"/>
                  </a:lnTo>
                  <a:lnTo>
                    <a:pt x="42" y="32"/>
                  </a:lnTo>
                  <a:lnTo>
                    <a:pt x="46" y="33"/>
                  </a:lnTo>
                  <a:lnTo>
                    <a:pt x="44" y="35"/>
                  </a:lnTo>
                  <a:lnTo>
                    <a:pt x="41" y="36"/>
                  </a:lnTo>
                  <a:lnTo>
                    <a:pt x="34" y="35"/>
                  </a:lnTo>
                  <a:lnTo>
                    <a:pt x="32" y="35"/>
                  </a:lnTo>
                  <a:lnTo>
                    <a:pt x="29" y="33"/>
                  </a:lnTo>
                  <a:lnTo>
                    <a:pt x="25" y="29"/>
                  </a:lnTo>
                  <a:lnTo>
                    <a:pt x="20" y="26"/>
                  </a:lnTo>
                  <a:lnTo>
                    <a:pt x="14" y="23"/>
                  </a:lnTo>
                  <a:lnTo>
                    <a:pt x="9" y="25"/>
                  </a:lnTo>
                  <a:lnTo>
                    <a:pt x="5" y="28"/>
                  </a:lnTo>
                  <a:lnTo>
                    <a:pt x="2" y="32"/>
                  </a:lnTo>
                  <a:lnTo>
                    <a:pt x="0" y="36"/>
                  </a:lnTo>
                  <a:lnTo>
                    <a:pt x="1" y="40"/>
                  </a:lnTo>
                  <a:lnTo>
                    <a:pt x="4" y="42"/>
                  </a:lnTo>
                  <a:lnTo>
                    <a:pt x="10" y="43"/>
                  </a:lnTo>
                  <a:lnTo>
                    <a:pt x="13" y="45"/>
                  </a:lnTo>
                  <a:lnTo>
                    <a:pt x="14" y="46"/>
                  </a:lnTo>
                  <a:lnTo>
                    <a:pt x="15" y="51"/>
                  </a:lnTo>
                  <a:lnTo>
                    <a:pt x="16" y="55"/>
                  </a:lnTo>
                  <a:lnTo>
                    <a:pt x="18" y="58"/>
                  </a:lnTo>
                  <a:lnTo>
                    <a:pt x="20" y="59"/>
                  </a:lnTo>
                  <a:lnTo>
                    <a:pt x="23" y="59"/>
                  </a:lnTo>
                  <a:lnTo>
                    <a:pt x="25" y="59"/>
                  </a:lnTo>
                  <a:lnTo>
                    <a:pt x="30" y="55"/>
                  </a:lnTo>
                  <a:lnTo>
                    <a:pt x="32" y="55"/>
                  </a:lnTo>
                  <a:lnTo>
                    <a:pt x="34" y="57"/>
                  </a:lnTo>
                  <a:lnTo>
                    <a:pt x="35" y="59"/>
                  </a:lnTo>
                  <a:lnTo>
                    <a:pt x="38" y="59"/>
                  </a:lnTo>
                  <a:lnTo>
                    <a:pt x="44" y="59"/>
                  </a:lnTo>
                  <a:lnTo>
                    <a:pt x="47" y="60"/>
                  </a:lnTo>
                  <a:lnTo>
                    <a:pt x="48" y="61"/>
                  </a:lnTo>
                  <a:lnTo>
                    <a:pt x="52" y="70"/>
                  </a:lnTo>
                  <a:lnTo>
                    <a:pt x="57" y="77"/>
                  </a:lnTo>
                  <a:lnTo>
                    <a:pt x="60" y="79"/>
                  </a:lnTo>
                  <a:lnTo>
                    <a:pt x="63" y="81"/>
                  </a:lnTo>
                  <a:lnTo>
                    <a:pt x="67" y="83"/>
                  </a:lnTo>
                  <a:lnTo>
                    <a:pt x="71" y="83"/>
                  </a:lnTo>
                  <a:lnTo>
                    <a:pt x="74" y="81"/>
                  </a:lnTo>
                  <a:lnTo>
                    <a:pt x="74" y="80"/>
                  </a:lnTo>
                  <a:lnTo>
                    <a:pt x="76" y="77"/>
                  </a:lnTo>
                  <a:lnTo>
                    <a:pt x="79" y="73"/>
                  </a:lnTo>
                  <a:lnTo>
                    <a:pt x="82" y="72"/>
                  </a:lnTo>
                  <a:lnTo>
                    <a:pt x="88" y="71"/>
                  </a:lnTo>
                  <a:lnTo>
                    <a:pt x="91" y="71"/>
                  </a:lnTo>
                  <a:lnTo>
                    <a:pt x="93" y="67"/>
                  </a:lnTo>
                  <a:lnTo>
                    <a:pt x="94" y="65"/>
                  </a:lnTo>
                  <a:lnTo>
                    <a:pt x="96" y="62"/>
                  </a:lnTo>
                  <a:lnTo>
                    <a:pt x="102" y="62"/>
                  </a:lnTo>
                  <a:lnTo>
                    <a:pt x="104" y="65"/>
                  </a:lnTo>
                  <a:lnTo>
                    <a:pt x="105" y="66"/>
                  </a:lnTo>
                  <a:lnTo>
                    <a:pt x="108" y="65"/>
                  </a:lnTo>
                  <a:lnTo>
                    <a:pt x="109" y="64"/>
                  </a:lnTo>
                  <a:lnTo>
                    <a:pt x="109" y="61"/>
                  </a:lnTo>
                  <a:lnTo>
                    <a:pt x="107" y="59"/>
                  </a:lnTo>
                  <a:lnTo>
                    <a:pt x="104" y="57"/>
                  </a:lnTo>
                  <a:lnTo>
                    <a:pt x="103" y="51"/>
                  </a:lnTo>
                  <a:lnTo>
                    <a:pt x="103" y="45"/>
                  </a:lnTo>
                  <a:lnTo>
                    <a:pt x="103" y="39"/>
                  </a:lnTo>
                  <a:lnTo>
                    <a:pt x="102" y="38"/>
                  </a:lnTo>
                  <a:lnTo>
                    <a:pt x="100" y="38"/>
                  </a:lnTo>
                  <a:lnTo>
                    <a:pt x="98" y="38"/>
                  </a:lnTo>
                  <a:lnTo>
                    <a:pt x="96" y="39"/>
                  </a:lnTo>
                  <a:lnTo>
                    <a:pt x="95" y="38"/>
                  </a:lnTo>
                  <a:lnTo>
                    <a:pt x="94" y="35"/>
                  </a:lnTo>
                  <a:lnTo>
                    <a:pt x="94" y="34"/>
                  </a:lnTo>
                  <a:lnTo>
                    <a:pt x="93" y="34"/>
                  </a:lnTo>
                  <a:lnTo>
                    <a:pt x="89" y="33"/>
                  </a:lnTo>
                  <a:lnTo>
                    <a:pt x="86" y="30"/>
                  </a:lnTo>
                  <a:lnTo>
                    <a:pt x="85" y="27"/>
                  </a:lnTo>
                  <a:lnTo>
                    <a:pt x="85" y="23"/>
                  </a:lnTo>
                  <a:lnTo>
                    <a:pt x="86" y="22"/>
                  </a:lnTo>
                  <a:lnTo>
                    <a:pt x="88" y="21"/>
                  </a:lnTo>
                  <a:lnTo>
                    <a:pt x="91" y="20"/>
                  </a:lnTo>
                  <a:lnTo>
                    <a:pt x="96" y="19"/>
                  </a:lnTo>
                  <a:lnTo>
                    <a:pt x="99" y="17"/>
                  </a:lnTo>
                  <a:lnTo>
                    <a:pt x="100" y="15"/>
                  </a:lnTo>
                  <a:lnTo>
                    <a:pt x="99" y="11"/>
                  </a:lnTo>
                  <a:lnTo>
                    <a:pt x="96" y="7"/>
                  </a:lnTo>
                  <a:lnTo>
                    <a:pt x="94" y="4"/>
                  </a:lnTo>
                  <a:lnTo>
                    <a:pt x="90" y="4"/>
                  </a:lnTo>
                  <a:lnTo>
                    <a:pt x="8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6" name="Freeform 955"/>
            <p:cNvSpPr>
              <a:spLocks/>
            </p:cNvSpPr>
            <p:nvPr/>
          </p:nvSpPr>
          <p:spPr bwMode="auto">
            <a:xfrm>
              <a:off x="1925642" y="1714501"/>
              <a:ext cx="141287" cy="114300"/>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2147483647 h 72"/>
                <a:gd name="T14" fmla="*/ 2147483647 w 96"/>
                <a:gd name="T15" fmla="*/ 2147483647 h 72"/>
                <a:gd name="T16" fmla="*/ 2147483647 w 96"/>
                <a:gd name="T17" fmla="*/ 2147483647 h 72"/>
                <a:gd name="T18" fmla="*/ 2147483647 w 96"/>
                <a:gd name="T19" fmla="*/ 2147483647 h 72"/>
                <a:gd name="T20" fmla="*/ 2147483647 w 96"/>
                <a:gd name="T21" fmla="*/ 2147483647 h 72"/>
                <a:gd name="T22" fmla="*/ 2147483647 w 96"/>
                <a:gd name="T23" fmla="*/ 2147483647 h 72"/>
                <a:gd name="T24" fmla="*/ 2147483647 w 96"/>
                <a:gd name="T25" fmla="*/ 2147483647 h 72"/>
                <a:gd name="T26" fmla="*/ 2147483647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w 96"/>
                <a:gd name="T39" fmla="*/ 2147483647 h 72"/>
                <a:gd name="T40" fmla="*/ 0 w 96"/>
                <a:gd name="T41" fmla="*/ 2147483647 h 72"/>
                <a:gd name="T42" fmla="*/ 2147483647 w 96"/>
                <a:gd name="T43" fmla="*/ 2147483647 h 72"/>
                <a:gd name="T44" fmla="*/ 2147483647 w 96"/>
                <a:gd name="T45" fmla="*/ 2147483647 h 72"/>
                <a:gd name="T46" fmla="*/ 2147483647 w 96"/>
                <a:gd name="T47" fmla="*/ 2147483647 h 72"/>
                <a:gd name="T48" fmla="*/ 2147483647 w 96"/>
                <a:gd name="T49" fmla="*/ 2147483647 h 72"/>
                <a:gd name="T50" fmla="*/ 2147483647 w 96"/>
                <a:gd name="T51" fmla="*/ 2147483647 h 72"/>
                <a:gd name="T52" fmla="*/ 2147483647 w 96"/>
                <a:gd name="T53" fmla="*/ 2147483647 h 72"/>
                <a:gd name="T54" fmla="*/ 2147483647 w 96"/>
                <a:gd name="T55" fmla="*/ 2147483647 h 72"/>
                <a:gd name="T56" fmla="*/ 2147483647 w 96"/>
                <a:gd name="T57" fmla="*/ 2147483647 h 72"/>
                <a:gd name="T58" fmla="*/ 2147483647 w 96"/>
                <a:gd name="T59" fmla="*/ 2147483647 h 72"/>
                <a:gd name="T60" fmla="*/ 2147483647 w 96"/>
                <a:gd name="T61" fmla="*/ 2147483647 h 72"/>
                <a:gd name="T62" fmla="*/ 2147483647 w 96"/>
                <a:gd name="T63" fmla="*/ 2147483647 h 72"/>
                <a:gd name="T64" fmla="*/ 2147483647 w 96"/>
                <a:gd name="T65" fmla="*/ 2147483647 h 72"/>
                <a:gd name="T66" fmla="*/ 2147483647 w 96"/>
                <a:gd name="T67" fmla="*/ 2147483647 h 72"/>
                <a:gd name="T68" fmla="*/ 2147483647 w 96"/>
                <a:gd name="T69" fmla="*/ 2147483647 h 72"/>
                <a:gd name="T70" fmla="*/ 2147483647 w 96"/>
                <a:gd name="T71" fmla="*/ 2147483647 h 72"/>
                <a:gd name="T72" fmla="*/ 2147483647 w 96"/>
                <a:gd name="T73" fmla="*/ 2147483647 h 72"/>
                <a:gd name="T74" fmla="*/ 2147483647 w 96"/>
                <a:gd name="T75" fmla="*/ 2147483647 h 72"/>
                <a:gd name="T76" fmla="*/ 2147483647 w 96"/>
                <a:gd name="T77" fmla="*/ 2147483647 h 72"/>
                <a:gd name="T78" fmla="*/ 2147483647 w 96"/>
                <a:gd name="T79" fmla="*/ 2147483647 h 72"/>
                <a:gd name="T80" fmla="*/ 2147483647 w 96"/>
                <a:gd name="T81" fmla="*/ 2147483647 h 72"/>
                <a:gd name="T82" fmla="*/ 2147483647 w 96"/>
                <a:gd name="T83" fmla="*/ 2147483647 h 72"/>
                <a:gd name="T84" fmla="*/ 2147483647 w 96"/>
                <a:gd name="T85" fmla="*/ 2147483647 h 72"/>
                <a:gd name="T86" fmla="*/ 2147483647 w 96"/>
                <a:gd name="T87" fmla="*/ 2147483647 h 72"/>
                <a:gd name="T88" fmla="*/ 2147483647 w 96"/>
                <a:gd name="T89" fmla="*/ 2147483647 h 7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6"/>
                <a:gd name="T136" fmla="*/ 0 h 72"/>
                <a:gd name="T137" fmla="*/ 96 w 96"/>
                <a:gd name="T138" fmla="*/ 72 h 7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6" h="72">
                  <a:moveTo>
                    <a:pt x="84" y="33"/>
                  </a:moveTo>
                  <a:lnTo>
                    <a:pt x="84" y="33"/>
                  </a:lnTo>
                  <a:lnTo>
                    <a:pt x="89" y="28"/>
                  </a:lnTo>
                  <a:lnTo>
                    <a:pt x="93" y="23"/>
                  </a:lnTo>
                  <a:lnTo>
                    <a:pt x="96" y="17"/>
                  </a:lnTo>
                  <a:lnTo>
                    <a:pt x="94" y="12"/>
                  </a:lnTo>
                  <a:lnTo>
                    <a:pt x="93" y="11"/>
                  </a:lnTo>
                  <a:lnTo>
                    <a:pt x="92" y="10"/>
                  </a:lnTo>
                  <a:lnTo>
                    <a:pt x="85" y="8"/>
                  </a:lnTo>
                  <a:lnTo>
                    <a:pt x="71" y="8"/>
                  </a:lnTo>
                  <a:lnTo>
                    <a:pt x="66" y="7"/>
                  </a:lnTo>
                  <a:lnTo>
                    <a:pt x="63" y="4"/>
                  </a:lnTo>
                  <a:lnTo>
                    <a:pt x="57" y="1"/>
                  </a:lnTo>
                  <a:lnTo>
                    <a:pt x="51" y="0"/>
                  </a:lnTo>
                  <a:lnTo>
                    <a:pt x="46" y="1"/>
                  </a:lnTo>
                  <a:lnTo>
                    <a:pt x="42" y="2"/>
                  </a:lnTo>
                  <a:lnTo>
                    <a:pt x="38" y="5"/>
                  </a:lnTo>
                  <a:lnTo>
                    <a:pt x="33" y="6"/>
                  </a:lnTo>
                  <a:lnTo>
                    <a:pt x="24" y="7"/>
                  </a:lnTo>
                  <a:lnTo>
                    <a:pt x="17" y="7"/>
                  </a:lnTo>
                  <a:lnTo>
                    <a:pt x="7" y="8"/>
                  </a:lnTo>
                  <a:lnTo>
                    <a:pt x="5" y="8"/>
                  </a:lnTo>
                  <a:lnTo>
                    <a:pt x="4" y="10"/>
                  </a:lnTo>
                  <a:lnTo>
                    <a:pt x="7" y="17"/>
                  </a:lnTo>
                  <a:lnTo>
                    <a:pt x="8" y="20"/>
                  </a:lnTo>
                  <a:lnTo>
                    <a:pt x="9" y="24"/>
                  </a:lnTo>
                  <a:lnTo>
                    <a:pt x="10" y="26"/>
                  </a:lnTo>
                  <a:lnTo>
                    <a:pt x="12" y="28"/>
                  </a:lnTo>
                  <a:lnTo>
                    <a:pt x="10" y="31"/>
                  </a:lnTo>
                  <a:lnTo>
                    <a:pt x="10" y="33"/>
                  </a:lnTo>
                  <a:lnTo>
                    <a:pt x="7" y="37"/>
                  </a:lnTo>
                  <a:lnTo>
                    <a:pt x="0" y="40"/>
                  </a:lnTo>
                  <a:lnTo>
                    <a:pt x="0" y="42"/>
                  </a:lnTo>
                  <a:lnTo>
                    <a:pt x="0" y="44"/>
                  </a:lnTo>
                  <a:lnTo>
                    <a:pt x="0" y="45"/>
                  </a:lnTo>
                  <a:lnTo>
                    <a:pt x="2" y="47"/>
                  </a:lnTo>
                  <a:lnTo>
                    <a:pt x="5" y="51"/>
                  </a:lnTo>
                  <a:lnTo>
                    <a:pt x="8" y="56"/>
                  </a:lnTo>
                  <a:lnTo>
                    <a:pt x="12" y="65"/>
                  </a:lnTo>
                  <a:lnTo>
                    <a:pt x="14" y="68"/>
                  </a:lnTo>
                  <a:lnTo>
                    <a:pt x="16" y="69"/>
                  </a:lnTo>
                  <a:lnTo>
                    <a:pt x="21" y="70"/>
                  </a:lnTo>
                  <a:lnTo>
                    <a:pt x="32" y="72"/>
                  </a:lnTo>
                  <a:lnTo>
                    <a:pt x="36" y="72"/>
                  </a:lnTo>
                  <a:lnTo>
                    <a:pt x="38" y="71"/>
                  </a:lnTo>
                  <a:lnTo>
                    <a:pt x="41" y="69"/>
                  </a:lnTo>
                  <a:lnTo>
                    <a:pt x="42" y="66"/>
                  </a:lnTo>
                  <a:lnTo>
                    <a:pt x="43" y="62"/>
                  </a:lnTo>
                  <a:lnTo>
                    <a:pt x="46" y="58"/>
                  </a:lnTo>
                  <a:lnTo>
                    <a:pt x="46" y="56"/>
                  </a:lnTo>
                  <a:lnTo>
                    <a:pt x="40" y="52"/>
                  </a:lnTo>
                  <a:lnTo>
                    <a:pt x="38" y="50"/>
                  </a:lnTo>
                  <a:lnTo>
                    <a:pt x="40" y="46"/>
                  </a:lnTo>
                  <a:lnTo>
                    <a:pt x="42" y="45"/>
                  </a:lnTo>
                  <a:lnTo>
                    <a:pt x="43" y="45"/>
                  </a:lnTo>
                  <a:lnTo>
                    <a:pt x="45" y="46"/>
                  </a:lnTo>
                  <a:lnTo>
                    <a:pt x="46" y="49"/>
                  </a:lnTo>
                  <a:lnTo>
                    <a:pt x="47" y="49"/>
                  </a:lnTo>
                  <a:lnTo>
                    <a:pt x="49" y="52"/>
                  </a:lnTo>
                  <a:lnTo>
                    <a:pt x="51" y="53"/>
                  </a:lnTo>
                  <a:lnTo>
                    <a:pt x="54" y="55"/>
                  </a:lnTo>
                  <a:lnTo>
                    <a:pt x="57" y="56"/>
                  </a:lnTo>
                  <a:lnTo>
                    <a:pt x="64" y="56"/>
                  </a:lnTo>
                  <a:lnTo>
                    <a:pt x="69" y="53"/>
                  </a:lnTo>
                  <a:lnTo>
                    <a:pt x="73" y="51"/>
                  </a:lnTo>
                  <a:lnTo>
                    <a:pt x="74" y="47"/>
                  </a:lnTo>
                  <a:lnTo>
                    <a:pt x="75" y="39"/>
                  </a:lnTo>
                  <a:lnTo>
                    <a:pt x="76" y="37"/>
                  </a:lnTo>
                  <a:lnTo>
                    <a:pt x="79" y="36"/>
                  </a:lnTo>
                  <a:lnTo>
                    <a:pt x="84" y="3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7" name="Freeform 956"/>
            <p:cNvSpPr>
              <a:spLocks/>
            </p:cNvSpPr>
            <p:nvPr/>
          </p:nvSpPr>
          <p:spPr bwMode="auto">
            <a:xfrm>
              <a:off x="1749425" y="1738313"/>
              <a:ext cx="160338" cy="131762"/>
            </a:xfrm>
            <a:custGeom>
              <a:avLst/>
              <a:gdLst>
                <a:gd name="T0" fmla="*/ 2147483647 w 109"/>
                <a:gd name="T1" fmla="*/ 2147483647 h 83"/>
                <a:gd name="T2" fmla="*/ 2147483647 w 109"/>
                <a:gd name="T3" fmla="*/ 2147483647 h 83"/>
                <a:gd name="T4" fmla="*/ 2147483647 w 109"/>
                <a:gd name="T5" fmla="*/ 2147483647 h 83"/>
                <a:gd name="T6" fmla="*/ 2147483647 w 109"/>
                <a:gd name="T7" fmla="*/ 0 h 83"/>
                <a:gd name="T8" fmla="*/ 2147483647 w 109"/>
                <a:gd name="T9" fmla="*/ 2147483647 h 83"/>
                <a:gd name="T10" fmla="*/ 2147483647 w 109"/>
                <a:gd name="T11" fmla="*/ 2147483647 h 83"/>
                <a:gd name="T12" fmla="*/ 2147483647 w 109"/>
                <a:gd name="T13" fmla="*/ 2147483647 h 83"/>
                <a:gd name="T14" fmla="*/ 2147483647 w 109"/>
                <a:gd name="T15" fmla="*/ 2147483647 h 83"/>
                <a:gd name="T16" fmla="*/ 2147483647 w 109"/>
                <a:gd name="T17" fmla="*/ 2147483647 h 83"/>
                <a:gd name="T18" fmla="*/ 2147483647 w 109"/>
                <a:gd name="T19" fmla="*/ 2147483647 h 83"/>
                <a:gd name="T20" fmla="*/ 2147483647 w 109"/>
                <a:gd name="T21" fmla="*/ 2147483647 h 83"/>
                <a:gd name="T22" fmla="*/ 2147483647 w 109"/>
                <a:gd name="T23" fmla="*/ 2147483647 h 83"/>
                <a:gd name="T24" fmla="*/ 2147483647 w 109"/>
                <a:gd name="T25" fmla="*/ 2147483647 h 83"/>
                <a:gd name="T26" fmla="*/ 2147483647 w 109"/>
                <a:gd name="T27" fmla="*/ 2147483647 h 83"/>
                <a:gd name="T28" fmla="*/ 2147483647 w 109"/>
                <a:gd name="T29" fmla="*/ 2147483647 h 83"/>
                <a:gd name="T30" fmla="*/ 2147483647 w 109"/>
                <a:gd name="T31" fmla="*/ 2147483647 h 83"/>
                <a:gd name="T32" fmla="*/ 2147483647 w 109"/>
                <a:gd name="T33" fmla="*/ 2147483647 h 83"/>
                <a:gd name="T34" fmla="*/ 2147483647 w 109"/>
                <a:gd name="T35" fmla="*/ 2147483647 h 83"/>
                <a:gd name="T36" fmla="*/ 2147483647 w 109"/>
                <a:gd name="T37" fmla="*/ 2147483647 h 83"/>
                <a:gd name="T38" fmla="*/ 2147483647 w 109"/>
                <a:gd name="T39" fmla="*/ 2147483647 h 83"/>
                <a:gd name="T40" fmla="*/ 2147483647 w 109"/>
                <a:gd name="T41" fmla="*/ 2147483647 h 83"/>
                <a:gd name="T42" fmla="*/ 2147483647 w 109"/>
                <a:gd name="T43" fmla="*/ 2147483647 h 83"/>
                <a:gd name="T44" fmla="*/ 2147483647 w 109"/>
                <a:gd name="T45" fmla="*/ 2147483647 h 83"/>
                <a:gd name="T46" fmla="*/ 2147483647 w 109"/>
                <a:gd name="T47" fmla="*/ 2147483647 h 83"/>
                <a:gd name="T48" fmla="*/ 2147483647 w 109"/>
                <a:gd name="T49" fmla="*/ 2147483647 h 83"/>
                <a:gd name="T50" fmla="*/ 2147483647 w 109"/>
                <a:gd name="T51" fmla="*/ 2147483647 h 83"/>
                <a:gd name="T52" fmla="*/ 2147483647 w 109"/>
                <a:gd name="T53" fmla="*/ 2147483647 h 83"/>
                <a:gd name="T54" fmla="*/ 2147483647 w 109"/>
                <a:gd name="T55" fmla="*/ 2147483647 h 83"/>
                <a:gd name="T56" fmla="*/ 2147483647 w 109"/>
                <a:gd name="T57" fmla="*/ 2147483647 h 83"/>
                <a:gd name="T58" fmla="*/ 2147483647 w 109"/>
                <a:gd name="T59" fmla="*/ 2147483647 h 83"/>
                <a:gd name="T60" fmla="*/ 2147483647 w 109"/>
                <a:gd name="T61" fmla="*/ 2147483647 h 83"/>
                <a:gd name="T62" fmla="*/ 2147483647 w 109"/>
                <a:gd name="T63" fmla="*/ 2147483647 h 83"/>
                <a:gd name="T64" fmla="*/ 2147483647 w 109"/>
                <a:gd name="T65" fmla="*/ 2147483647 h 83"/>
                <a:gd name="T66" fmla="*/ 2147483647 w 109"/>
                <a:gd name="T67" fmla="*/ 2147483647 h 83"/>
                <a:gd name="T68" fmla="*/ 2147483647 w 109"/>
                <a:gd name="T69" fmla="*/ 2147483647 h 83"/>
                <a:gd name="T70" fmla="*/ 2147483647 w 109"/>
                <a:gd name="T71" fmla="*/ 2147483647 h 83"/>
                <a:gd name="T72" fmla="*/ 2147483647 w 109"/>
                <a:gd name="T73" fmla="*/ 2147483647 h 83"/>
                <a:gd name="T74" fmla="*/ 2147483647 w 109"/>
                <a:gd name="T75" fmla="*/ 2147483647 h 83"/>
                <a:gd name="T76" fmla="*/ 2147483647 w 109"/>
                <a:gd name="T77" fmla="*/ 2147483647 h 83"/>
                <a:gd name="T78" fmla="*/ 2147483647 w 109"/>
                <a:gd name="T79" fmla="*/ 2147483647 h 83"/>
                <a:gd name="T80" fmla="*/ 2147483647 w 109"/>
                <a:gd name="T81" fmla="*/ 2147483647 h 83"/>
                <a:gd name="T82" fmla="*/ 2147483647 w 109"/>
                <a:gd name="T83" fmla="*/ 2147483647 h 83"/>
                <a:gd name="T84" fmla="*/ 2147483647 w 109"/>
                <a:gd name="T85" fmla="*/ 2147483647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83"/>
                <a:gd name="T131" fmla="*/ 109 w 109"/>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83">
                  <a:moveTo>
                    <a:pt x="81" y="6"/>
                  </a:moveTo>
                  <a:lnTo>
                    <a:pt x="81" y="6"/>
                  </a:lnTo>
                  <a:lnTo>
                    <a:pt x="76" y="6"/>
                  </a:lnTo>
                  <a:lnTo>
                    <a:pt x="73" y="8"/>
                  </a:lnTo>
                  <a:lnTo>
                    <a:pt x="71" y="8"/>
                  </a:lnTo>
                  <a:lnTo>
                    <a:pt x="67" y="6"/>
                  </a:lnTo>
                  <a:lnTo>
                    <a:pt x="61" y="6"/>
                  </a:lnTo>
                  <a:lnTo>
                    <a:pt x="54" y="5"/>
                  </a:lnTo>
                  <a:lnTo>
                    <a:pt x="44" y="0"/>
                  </a:lnTo>
                  <a:lnTo>
                    <a:pt x="40" y="0"/>
                  </a:lnTo>
                  <a:lnTo>
                    <a:pt x="36" y="3"/>
                  </a:lnTo>
                  <a:lnTo>
                    <a:pt x="25" y="15"/>
                  </a:lnTo>
                  <a:lnTo>
                    <a:pt x="25" y="16"/>
                  </a:lnTo>
                  <a:lnTo>
                    <a:pt x="26" y="17"/>
                  </a:lnTo>
                  <a:lnTo>
                    <a:pt x="31" y="18"/>
                  </a:lnTo>
                  <a:lnTo>
                    <a:pt x="36" y="22"/>
                  </a:lnTo>
                  <a:lnTo>
                    <a:pt x="39" y="25"/>
                  </a:lnTo>
                  <a:lnTo>
                    <a:pt x="40" y="30"/>
                  </a:lnTo>
                  <a:lnTo>
                    <a:pt x="42" y="32"/>
                  </a:lnTo>
                  <a:lnTo>
                    <a:pt x="45" y="34"/>
                  </a:lnTo>
                  <a:lnTo>
                    <a:pt x="44" y="36"/>
                  </a:lnTo>
                  <a:lnTo>
                    <a:pt x="40" y="37"/>
                  </a:lnTo>
                  <a:lnTo>
                    <a:pt x="34" y="36"/>
                  </a:lnTo>
                  <a:lnTo>
                    <a:pt x="31" y="36"/>
                  </a:lnTo>
                  <a:lnTo>
                    <a:pt x="29" y="34"/>
                  </a:lnTo>
                  <a:lnTo>
                    <a:pt x="25" y="30"/>
                  </a:lnTo>
                  <a:lnTo>
                    <a:pt x="20" y="27"/>
                  </a:lnTo>
                  <a:lnTo>
                    <a:pt x="14" y="24"/>
                  </a:lnTo>
                  <a:lnTo>
                    <a:pt x="9" y="25"/>
                  </a:lnTo>
                  <a:lnTo>
                    <a:pt x="5" y="29"/>
                  </a:lnTo>
                  <a:lnTo>
                    <a:pt x="2" y="32"/>
                  </a:lnTo>
                  <a:lnTo>
                    <a:pt x="0" y="37"/>
                  </a:lnTo>
                  <a:lnTo>
                    <a:pt x="1" y="41"/>
                  </a:lnTo>
                  <a:lnTo>
                    <a:pt x="3" y="43"/>
                  </a:lnTo>
                  <a:lnTo>
                    <a:pt x="10" y="44"/>
                  </a:lnTo>
                  <a:lnTo>
                    <a:pt x="12" y="45"/>
                  </a:lnTo>
                  <a:lnTo>
                    <a:pt x="14" y="47"/>
                  </a:lnTo>
                  <a:lnTo>
                    <a:pt x="15" y="51"/>
                  </a:lnTo>
                  <a:lnTo>
                    <a:pt x="16" y="56"/>
                  </a:lnTo>
                  <a:lnTo>
                    <a:pt x="17" y="59"/>
                  </a:lnTo>
                  <a:lnTo>
                    <a:pt x="20" y="60"/>
                  </a:lnTo>
                  <a:lnTo>
                    <a:pt x="23" y="60"/>
                  </a:lnTo>
                  <a:lnTo>
                    <a:pt x="25" y="60"/>
                  </a:lnTo>
                  <a:lnTo>
                    <a:pt x="30" y="56"/>
                  </a:lnTo>
                  <a:lnTo>
                    <a:pt x="31" y="56"/>
                  </a:lnTo>
                  <a:lnTo>
                    <a:pt x="34" y="57"/>
                  </a:lnTo>
                  <a:lnTo>
                    <a:pt x="35" y="60"/>
                  </a:lnTo>
                  <a:lnTo>
                    <a:pt x="38" y="60"/>
                  </a:lnTo>
                  <a:lnTo>
                    <a:pt x="44" y="60"/>
                  </a:lnTo>
                  <a:lnTo>
                    <a:pt x="47" y="61"/>
                  </a:lnTo>
                  <a:lnTo>
                    <a:pt x="48" y="62"/>
                  </a:lnTo>
                  <a:lnTo>
                    <a:pt x="52" y="70"/>
                  </a:lnTo>
                  <a:lnTo>
                    <a:pt x="57" y="78"/>
                  </a:lnTo>
                  <a:lnTo>
                    <a:pt x="59" y="80"/>
                  </a:lnTo>
                  <a:lnTo>
                    <a:pt x="63" y="82"/>
                  </a:lnTo>
                  <a:lnTo>
                    <a:pt x="67" y="83"/>
                  </a:lnTo>
                  <a:lnTo>
                    <a:pt x="71" y="83"/>
                  </a:lnTo>
                  <a:lnTo>
                    <a:pt x="73" y="82"/>
                  </a:lnTo>
                  <a:lnTo>
                    <a:pt x="73" y="81"/>
                  </a:lnTo>
                  <a:lnTo>
                    <a:pt x="76" y="78"/>
                  </a:lnTo>
                  <a:lnTo>
                    <a:pt x="78" y="74"/>
                  </a:lnTo>
                  <a:lnTo>
                    <a:pt x="82" y="73"/>
                  </a:lnTo>
                  <a:lnTo>
                    <a:pt x="87" y="72"/>
                  </a:lnTo>
                  <a:lnTo>
                    <a:pt x="91" y="72"/>
                  </a:lnTo>
                  <a:lnTo>
                    <a:pt x="92" y="68"/>
                  </a:lnTo>
                  <a:lnTo>
                    <a:pt x="94" y="66"/>
                  </a:lnTo>
                  <a:lnTo>
                    <a:pt x="96" y="63"/>
                  </a:lnTo>
                  <a:lnTo>
                    <a:pt x="101" y="63"/>
                  </a:lnTo>
                  <a:lnTo>
                    <a:pt x="104" y="66"/>
                  </a:lnTo>
                  <a:lnTo>
                    <a:pt x="105" y="67"/>
                  </a:lnTo>
                  <a:lnTo>
                    <a:pt x="108" y="66"/>
                  </a:lnTo>
                  <a:lnTo>
                    <a:pt x="109" y="64"/>
                  </a:lnTo>
                  <a:lnTo>
                    <a:pt x="109" y="62"/>
                  </a:lnTo>
                  <a:lnTo>
                    <a:pt x="106" y="60"/>
                  </a:lnTo>
                  <a:lnTo>
                    <a:pt x="104" y="57"/>
                  </a:lnTo>
                  <a:lnTo>
                    <a:pt x="103" y="51"/>
                  </a:lnTo>
                  <a:lnTo>
                    <a:pt x="103" y="45"/>
                  </a:lnTo>
                  <a:lnTo>
                    <a:pt x="103" y="40"/>
                  </a:lnTo>
                  <a:lnTo>
                    <a:pt x="101" y="38"/>
                  </a:lnTo>
                  <a:lnTo>
                    <a:pt x="100" y="38"/>
                  </a:lnTo>
                  <a:lnTo>
                    <a:pt x="97" y="38"/>
                  </a:lnTo>
                  <a:lnTo>
                    <a:pt x="96" y="40"/>
                  </a:lnTo>
                  <a:lnTo>
                    <a:pt x="95" y="38"/>
                  </a:lnTo>
                  <a:lnTo>
                    <a:pt x="94" y="36"/>
                  </a:lnTo>
                  <a:lnTo>
                    <a:pt x="94" y="35"/>
                  </a:lnTo>
                  <a:lnTo>
                    <a:pt x="92" y="35"/>
                  </a:lnTo>
                  <a:lnTo>
                    <a:pt x="89" y="34"/>
                  </a:lnTo>
                  <a:lnTo>
                    <a:pt x="86" y="31"/>
                  </a:lnTo>
                  <a:lnTo>
                    <a:pt x="85" y="28"/>
                  </a:lnTo>
                  <a:lnTo>
                    <a:pt x="85" y="24"/>
                  </a:lnTo>
                  <a:lnTo>
                    <a:pt x="86" y="23"/>
                  </a:lnTo>
                  <a:lnTo>
                    <a:pt x="87" y="22"/>
                  </a:lnTo>
                  <a:lnTo>
                    <a:pt x="91" y="21"/>
                  </a:lnTo>
                  <a:lnTo>
                    <a:pt x="96" y="19"/>
                  </a:lnTo>
                  <a:lnTo>
                    <a:pt x="99" y="18"/>
                  </a:lnTo>
                  <a:lnTo>
                    <a:pt x="100" y="16"/>
                  </a:lnTo>
                  <a:lnTo>
                    <a:pt x="99" y="12"/>
                  </a:lnTo>
                  <a:lnTo>
                    <a:pt x="96" y="8"/>
                  </a:lnTo>
                  <a:lnTo>
                    <a:pt x="94" y="5"/>
                  </a:lnTo>
                  <a:lnTo>
                    <a:pt x="90" y="5"/>
                  </a:lnTo>
                  <a:lnTo>
                    <a:pt x="8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8" name="Freeform 957"/>
            <p:cNvSpPr>
              <a:spLocks/>
            </p:cNvSpPr>
            <p:nvPr/>
          </p:nvSpPr>
          <p:spPr bwMode="auto">
            <a:xfrm>
              <a:off x="1827213" y="1935167"/>
              <a:ext cx="119062" cy="61911"/>
            </a:xfrm>
            <a:custGeom>
              <a:avLst/>
              <a:gdLst>
                <a:gd name="T0" fmla="*/ 2147483647 w 81"/>
                <a:gd name="T1" fmla="*/ 2147483647 h 39"/>
                <a:gd name="T2" fmla="*/ 2147483647 w 81"/>
                <a:gd name="T3" fmla="*/ 2147483647 h 39"/>
                <a:gd name="T4" fmla="*/ 2147483647 w 81"/>
                <a:gd name="T5" fmla="*/ 2147483647 h 39"/>
                <a:gd name="T6" fmla="*/ 2147483647 w 81"/>
                <a:gd name="T7" fmla="*/ 2147483647 h 39"/>
                <a:gd name="T8" fmla="*/ 2147483647 w 81"/>
                <a:gd name="T9" fmla="*/ 2147483647 h 39"/>
                <a:gd name="T10" fmla="*/ 2147483647 w 81"/>
                <a:gd name="T11" fmla="*/ 2147483647 h 39"/>
                <a:gd name="T12" fmla="*/ 2147483647 w 81"/>
                <a:gd name="T13" fmla="*/ 2147483647 h 39"/>
                <a:gd name="T14" fmla="*/ 2147483647 w 81"/>
                <a:gd name="T15" fmla="*/ 2147483647 h 39"/>
                <a:gd name="T16" fmla="*/ 2147483647 w 81"/>
                <a:gd name="T17" fmla="*/ 2147483647 h 39"/>
                <a:gd name="T18" fmla="*/ 2147483647 w 81"/>
                <a:gd name="T19" fmla="*/ 2147483647 h 39"/>
                <a:gd name="T20" fmla="*/ 2147483647 w 81"/>
                <a:gd name="T21" fmla="*/ 2147483647 h 39"/>
                <a:gd name="T22" fmla="*/ 2147483647 w 81"/>
                <a:gd name="T23" fmla="*/ 2147483647 h 39"/>
                <a:gd name="T24" fmla="*/ 2147483647 w 81"/>
                <a:gd name="T25" fmla="*/ 2147483647 h 39"/>
                <a:gd name="T26" fmla="*/ 2147483647 w 81"/>
                <a:gd name="T27" fmla="*/ 2147483647 h 39"/>
                <a:gd name="T28" fmla="*/ 2147483647 w 81"/>
                <a:gd name="T29" fmla="*/ 2147483647 h 39"/>
                <a:gd name="T30" fmla="*/ 0 w 81"/>
                <a:gd name="T31" fmla="*/ 2147483647 h 39"/>
                <a:gd name="T32" fmla="*/ 0 w 81"/>
                <a:gd name="T33" fmla="*/ 2147483647 h 39"/>
                <a:gd name="T34" fmla="*/ 0 w 81"/>
                <a:gd name="T35" fmla="*/ 2147483647 h 39"/>
                <a:gd name="T36" fmla="*/ 2147483647 w 81"/>
                <a:gd name="T37" fmla="*/ 2147483647 h 39"/>
                <a:gd name="T38" fmla="*/ 2147483647 w 81"/>
                <a:gd name="T39" fmla="*/ 2147483647 h 39"/>
                <a:gd name="T40" fmla="*/ 2147483647 w 81"/>
                <a:gd name="T41" fmla="*/ 2147483647 h 39"/>
                <a:gd name="T42" fmla="*/ 2147483647 w 81"/>
                <a:gd name="T43" fmla="*/ 2147483647 h 39"/>
                <a:gd name="T44" fmla="*/ 2147483647 w 81"/>
                <a:gd name="T45" fmla="*/ 2147483647 h 39"/>
                <a:gd name="T46" fmla="*/ 2147483647 w 81"/>
                <a:gd name="T47" fmla="*/ 2147483647 h 39"/>
                <a:gd name="T48" fmla="*/ 2147483647 w 81"/>
                <a:gd name="T49" fmla="*/ 2147483647 h 39"/>
                <a:gd name="T50" fmla="*/ 2147483647 w 81"/>
                <a:gd name="T51" fmla="*/ 2147483647 h 39"/>
                <a:gd name="T52" fmla="*/ 2147483647 w 81"/>
                <a:gd name="T53" fmla="*/ 2147483647 h 39"/>
                <a:gd name="T54" fmla="*/ 2147483647 w 81"/>
                <a:gd name="T55" fmla="*/ 0 h 39"/>
                <a:gd name="T56" fmla="*/ 2147483647 w 81"/>
                <a:gd name="T57" fmla="*/ 0 h 39"/>
                <a:gd name="T58" fmla="*/ 2147483647 w 81"/>
                <a:gd name="T59" fmla="*/ 2147483647 h 39"/>
                <a:gd name="T60" fmla="*/ 2147483647 w 81"/>
                <a:gd name="T61" fmla="*/ 2147483647 h 39"/>
                <a:gd name="T62" fmla="*/ 2147483647 w 81"/>
                <a:gd name="T63" fmla="*/ 2147483647 h 39"/>
                <a:gd name="T64" fmla="*/ 2147483647 w 81"/>
                <a:gd name="T65" fmla="*/ 2147483647 h 39"/>
                <a:gd name="T66" fmla="*/ 2147483647 w 81"/>
                <a:gd name="T67" fmla="*/ 2147483647 h 39"/>
                <a:gd name="T68" fmla="*/ 2147483647 w 81"/>
                <a:gd name="T69" fmla="*/ 2147483647 h 39"/>
                <a:gd name="T70" fmla="*/ 2147483647 w 81"/>
                <a:gd name="T71" fmla="*/ 2147483647 h 39"/>
                <a:gd name="T72" fmla="*/ 2147483647 w 81"/>
                <a:gd name="T73" fmla="*/ 2147483647 h 39"/>
                <a:gd name="T74" fmla="*/ 2147483647 w 81"/>
                <a:gd name="T75" fmla="*/ 2147483647 h 39"/>
                <a:gd name="T76" fmla="*/ 2147483647 w 81"/>
                <a:gd name="T77" fmla="*/ 2147483647 h 39"/>
                <a:gd name="T78" fmla="*/ 2147483647 w 81"/>
                <a:gd name="T79" fmla="*/ 2147483647 h 39"/>
                <a:gd name="T80" fmla="*/ 2147483647 w 81"/>
                <a:gd name="T81" fmla="*/ 2147483647 h 39"/>
                <a:gd name="T82" fmla="*/ 2147483647 w 81"/>
                <a:gd name="T83" fmla="*/ 2147483647 h 39"/>
                <a:gd name="T84" fmla="*/ 2147483647 w 81"/>
                <a:gd name="T85" fmla="*/ 2147483647 h 39"/>
                <a:gd name="T86" fmla="*/ 2147483647 w 81"/>
                <a:gd name="T87" fmla="*/ 2147483647 h 39"/>
                <a:gd name="T88" fmla="*/ 2147483647 w 81"/>
                <a:gd name="T89" fmla="*/ 2147483647 h 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1"/>
                <a:gd name="T136" fmla="*/ 0 h 39"/>
                <a:gd name="T137" fmla="*/ 81 w 81"/>
                <a:gd name="T138" fmla="*/ 39 h 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1" h="39">
                  <a:moveTo>
                    <a:pt x="76" y="26"/>
                  </a:moveTo>
                  <a:lnTo>
                    <a:pt x="74" y="29"/>
                  </a:lnTo>
                  <a:lnTo>
                    <a:pt x="71" y="34"/>
                  </a:lnTo>
                  <a:lnTo>
                    <a:pt x="69" y="38"/>
                  </a:lnTo>
                  <a:lnTo>
                    <a:pt x="67" y="39"/>
                  </a:lnTo>
                  <a:lnTo>
                    <a:pt x="65" y="39"/>
                  </a:lnTo>
                  <a:lnTo>
                    <a:pt x="52" y="39"/>
                  </a:lnTo>
                  <a:lnTo>
                    <a:pt x="41" y="38"/>
                  </a:lnTo>
                  <a:lnTo>
                    <a:pt x="28" y="34"/>
                  </a:lnTo>
                  <a:lnTo>
                    <a:pt x="16" y="29"/>
                  </a:lnTo>
                  <a:lnTo>
                    <a:pt x="13" y="28"/>
                  </a:lnTo>
                  <a:lnTo>
                    <a:pt x="10" y="28"/>
                  </a:lnTo>
                  <a:lnTo>
                    <a:pt x="9" y="28"/>
                  </a:lnTo>
                  <a:lnTo>
                    <a:pt x="4" y="25"/>
                  </a:lnTo>
                  <a:lnTo>
                    <a:pt x="1" y="23"/>
                  </a:lnTo>
                  <a:lnTo>
                    <a:pt x="0" y="21"/>
                  </a:lnTo>
                  <a:lnTo>
                    <a:pt x="0" y="20"/>
                  </a:lnTo>
                  <a:lnTo>
                    <a:pt x="0" y="18"/>
                  </a:lnTo>
                  <a:lnTo>
                    <a:pt x="3" y="16"/>
                  </a:lnTo>
                  <a:lnTo>
                    <a:pt x="4" y="16"/>
                  </a:lnTo>
                  <a:lnTo>
                    <a:pt x="15" y="15"/>
                  </a:lnTo>
                  <a:lnTo>
                    <a:pt x="16" y="15"/>
                  </a:lnTo>
                  <a:lnTo>
                    <a:pt x="16" y="13"/>
                  </a:lnTo>
                  <a:lnTo>
                    <a:pt x="16" y="8"/>
                  </a:lnTo>
                  <a:lnTo>
                    <a:pt x="16" y="7"/>
                  </a:lnTo>
                  <a:lnTo>
                    <a:pt x="19" y="6"/>
                  </a:lnTo>
                  <a:lnTo>
                    <a:pt x="24" y="3"/>
                  </a:lnTo>
                  <a:lnTo>
                    <a:pt x="28" y="0"/>
                  </a:lnTo>
                  <a:lnTo>
                    <a:pt x="29" y="0"/>
                  </a:lnTo>
                  <a:lnTo>
                    <a:pt x="30" y="1"/>
                  </a:lnTo>
                  <a:lnTo>
                    <a:pt x="32" y="2"/>
                  </a:lnTo>
                  <a:lnTo>
                    <a:pt x="36" y="3"/>
                  </a:lnTo>
                  <a:lnTo>
                    <a:pt x="39" y="3"/>
                  </a:lnTo>
                  <a:lnTo>
                    <a:pt x="51" y="9"/>
                  </a:lnTo>
                  <a:lnTo>
                    <a:pt x="57" y="13"/>
                  </a:lnTo>
                  <a:lnTo>
                    <a:pt x="63" y="14"/>
                  </a:lnTo>
                  <a:lnTo>
                    <a:pt x="66" y="13"/>
                  </a:lnTo>
                  <a:lnTo>
                    <a:pt x="67" y="12"/>
                  </a:lnTo>
                  <a:lnTo>
                    <a:pt x="70" y="10"/>
                  </a:lnTo>
                  <a:lnTo>
                    <a:pt x="72" y="9"/>
                  </a:lnTo>
                  <a:lnTo>
                    <a:pt x="79" y="13"/>
                  </a:lnTo>
                  <a:lnTo>
                    <a:pt x="81" y="14"/>
                  </a:lnTo>
                  <a:lnTo>
                    <a:pt x="81" y="16"/>
                  </a:lnTo>
                  <a:lnTo>
                    <a:pt x="80" y="21"/>
                  </a:lnTo>
                  <a:lnTo>
                    <a:pt x="76"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59" name="Freeform 958"/>
            <p:cNvSpPr>
              <a:spLocks/>
            </p:cNvSpPr>
            <p:nvPr/>
          </p:nvSpPr>
          <p:spPr bwMode="auto">
            <a:xfrm>
              <a:off x="2441579" y="1997075"/>
              <a:ext cx="22225" cy="20638"/>
            </a:xfrm>
            <a:custGeom>
              <a:avLst/>
              <a:gdLst>
                <a:gd name="T0" fmla="*/ 2147483647 w 15"/>
                <a:gd name="T1" fmla="*/ 2147483647 h 13"/>
                <a:gd name="T2" fmla="*/ 2147483647 w 15"/>
                <a:gd name="T3" fmla="*/ 2147483647 h 13"/>
                <a:gd name="T4" fmla="*/ 2147483647 w 15"/>
                <a:gd name="T5" fmla="*/ 2147483647 h 13"/>
                <a:gd name="T6" fmla="*/ 2147483647 w 15"/>
                <a:gd name="T7" fmla="*/ 0 h 13"/>
                <a:gd name="T8" fmla="*/ 2147483647 w 15"/>
                <a:gd name="T9" fmla="*/ 0 h 13"/>
                <a:gd name="T10" fmla="*/ 2147483647 w 15"/>
                <a:gd name="T11" fmla="*/ 2147483647 h 13"/>
                <a:gd name="T12" fmla="*/ 2147483647 w 15"/>
                <a:gd name="T13" fmla="*/ 2147483647 h 13"/>
                <a:gd name="T14" fmla="*/ 0 w 15"/>
                <a:gd name="T15" fmla="*/ 2147483647 h 13"/>
                <a:gd name="T16" fmla="*/ 0 w 15"/>
                <a:gd name="T17" fmla="*/ 2147483647 h 13"/>
                <a:gd name="T18" fmla="*/ 2147483647 w 15"/>
                <a:gd name="T19" fmla="*/ 2147483647 h 13"/>
                <a:gd name="T20" fmla="*/ 2147483647 w 15"/>
                <a:gd name="T21" fmla="*/ 2147483647 h 13"/>
                <a:gd name="T22" fmla="*/ 2147483647 w 15"/>
                <a:gd name="T23" fmla="*/ 2147483647 h 13"/>
                <a:gd name="T24" fmla="*/ 2147483647 w 15"/>
                <a:gd name="T25" fmla="*/ 2147483647 h 13"/>
                <a:gd name="T26" fmla="*/ 2147483647 w 15"/>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15" y="7"/>
                  </a:moveTo>
                  <a:lnTo>
                    <a:pt x="15" y="3"/>
                  </a:lnTo>
                  <a:lnTo>
                    <a:pt x="14" y="1"/>
                  </a:lnTo>
                  <a:lnTo>
                    <a:pt x="11" y="0"/>
                  </a:lnTo>
                  <a:lnTo>
                    <a:pt x="10" y="0"/>
                  </a:lnTo>
                  <a:lnTo>
                    <a:pt x="5" y="1"/>
                  </a:lnTo>
                  <a:lnTo>
                    <a:pt x="3" y="5"/>
                  </a:lnTo>
                  <a:lnTo>
                    <a:pt x="0" y="9"/>
                  </a:lnTo>
                  <a:lnTo>
                    <a:pt x="0" y="11"/>
                  </a:lnTo>
                  <a:lnTo>
                    <a:pt x="1" y="12"/>
                  </a:lnTo>
                  <a:lnTo>
                    <a:pt x="5" y="13"/>
                  </a:lnTo>
                  <a:lnTo>
                    <a:pt x="9" y="12"/>
                  </a:lnTo>
                  <a:lnTo>
                    <a:pt x="13" y="11"/>
                  </a:lnTo>
                  <a:lnTo>
                    <a:pt x="1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0" name="Freeform 959"/>
            <p:cNvSpPr>
              <a:spLocks/>
            </p:cNvSpPr>
            <p:nvPr/>
          </p:nvSpPr>
          <p:spPr bwMode="auto">
            <a:xfrm>
              <a:off x="1825627" y="1933578"/>
              <a:ext cx="119063" cy="61913"/>
            </a:xfrm>
            <a:custGeom>
              <a:avLst/>
              <a:gdLst>
                <a:gd name="T0" fmla="*/ 2147483647 w 81"/>
                <a:gd name="T1" fmla="*/ 2147483647 h 39"/>
                <a:gd name="T2" fmla="*/ 2147483647 w 81"/>
                <a:gd name="T3" fmla="*/ 2147483647 h 39"/>
                <a:gd name="T4" fmla="*/ 2147483647 w 81"/>
                <a:gd name="T5" fmla="*/ 2147483647 h 39"/>
                <a:gd name="T6" fmla="*/ 2147483647 w 81"/>
                <a:gd name="T7" fmla="*/ 2147483647 h 39"/>
                <a:gd name="T8" fmla="*/ 2147483647 w 81"/>
                <a:gd name="T9" fmla="*/ 2147483647 h 39"/>
                <a:gd name="T10" fmla="*/ 2147483647 w 81"/>
                <a:gd name="T11" fmla="*/ 2147483647 h 39"/>
                <a:gd name="T12" fmla="*/ 2147483647 w 81"/>
                <a:gd name="T13" fmla="*/ 2147483647 h 39"/>
                <a:gd name="T14" fmla="*/ 2147483647 w 81"/>
                <a:gd name="T15" fmla="*/ 2147483647 h 39"/>
                <a:gd name="T16" fmla="*/ 2147483647 w 81"/>
                <a:gd name="T17" fmla="*/ 2147483647 h 39"/>
                <a:gd name="T18" fmla="*/ 2147483647 w 81"/>
                <a:gd name="T19" fmla="*/ 2147483647 h 39"/>
                <a:gd name="T20" fmla="*/ 2147483647 w 81"/>
                <a:gd name="T21" fmla="*/ 2147483647 h 39"/>
                <a:gd name="T22" fmla="*/ 2147483647 w 81"/>
                <a:gd name="T23" fmla="*/ 2147483647 h 39"/>
                <a:gd name="T24" fmla="*/ 2147483647 w 81"/>
                <a:gd name="T25" fmla="*/ 2147483647 h 39"/>
                <a:gd name="T26" fmla="*/ 2147483647 w 81"/>
                <a:gd name="T27" fmla="*/ 2147483647 h 39"/>
                <a:gd name="T28" fmla="*/ 2147483647 w 81"/>
                <a:gd name="T29" fmla="*/ 2147483647 h 39"/>
                <a:gd name="T30" fmla="*/ 2147483647 w 81"/>
                <a:gd name="T31" fmla="*/ 2147483647 h 39"/>
                <a:gd name="T32" fmla="*/ 2147483647 w 81"/>
                <a:gd name="T33" fmla="*/ 2147483647 h 39"/>
                <a:gd name="T34" fmla="*/ 2147483647 w 81"/>
                <a:gd name="T35" fmla="*/ 2147483647 h 39"/>
                <a:gd name="T36" fmla="*/ 2147483647 w 81"/>
                <a:gd name="T37" fmla="*/ 2147483647 h 39"/>
                <a:gd name="T38" fmla="*/ 0 w 81"/>
                <a:gd name="T39" fmla="*/ 2147483647 h 39"/>
                <a:gd name="T40" fmla="*/ 0 w 81"/>
                <a:gd name="T41" fmla="*/ 2147483647 h 39"/>
                <a:gd name="T42" fmla="*/ 0 w 81"/>
                <a:gd name="T43" fmla="*/ 2147483647 h 39"/>
                <a:gd name="T44" fmla="*/ 0 w 81"/>
                <a:gd name="T45" fmla="*/ 2147483647 h 39"/>
                <a:gd name="T46" fmla="*/ 2147483647 w 81"/>
                <a:gd name="T47" fmla="*/ 2147483647 h 39"/>
                <a:gd name="T48" fmla="*/ 2147483647 w 81"/>
                <a:gd name="T49" fmla="*/ 2147483647 h 39"/>
                <a:gd name="T50" fmla="*/ 2147483647 w 81"/>
                <a:gd name="T51" fmla="*/ 2147483647 h 39"/>
                <a:gd name="T52" fmla="*/ 2147483647 w 81"/>
                <a:gd name="T53" fmla="*/ 2147483647 h 39"/>
                <a:gd name="T54" fmla="*/ 2147483647 w 81"/>
                <a:gd name="T55" fmla="*/ 2147483647 h 39"/>
                <a:gd name="T56" fmla="*/ 2147483647 w 81"/>
                <a:gd name="T57" fmla="*/ 2147483647 h 39"/>
                <a:gd name="T58" fmla="*/ 2147483647 w 81"/>
                <a:gd name="T59" fmla="*/ 2147483647 h 39"/>
                <a:gd name="T60" fmla="*/ 2147483647 w 81"/>
                <a:gd name="T61" fmla="*/ 2147483647 h 39"/>
                <a:gd name="T62" fmla="*/ 2147483647 w 81"/>
                <a:gd name="T63" fmla="*/ 2147483647 h 39"/>
                <a:gd name="T64" fmla="*/ 2147483647 w 81"/>
                <a:gd name="T65" fmla="*/ 2147483647 h 39"/>
                <a:gd name="T66" fmla="*/ 2147483647 w 81"/>
                <a:gd name="T67" fmla="*/ 2147483647 h 39"/>
                <a:gd name="T68" fmla="*/ 2147483647 w 81"/>
                <a:gd name="T69" fmla="*/ 2147483647 h 39"/>
                <a:gd name="T70" fmla="*/ 2147483647 w 81"/>
                <a:gd name="T71" fmla="*/ 0 h 39"/>
                <a:gd name="T72" fmla="*/ 2147483647 w 81"/>
                <a:gd name="T73" fmla="*/ 0 h 39"/>
                <a:gd name="T74" fmla="*/ 2147483647 w 81"/>
                <a:gd name="T75" fmla="*/ 0 h 39"/>
                <a:gd name="T76" fmla="*/ 2147483647 w 81"/>
                <a:gd name="T77" fmla="*/ 2147483647 h 39"/>
                <a:gd name="T78" fmla="*/ 2147483647 w 81"/>
                <a:gd name="T79" fmla="*/ 2147483647 h 39"/>
                <a:gd name="T80" fmla="*/ 2147483647 w 81"/>
                <a:gd name="T81" fmla="*/ 2147483647 h 39"/>
                <a:gd name="T82" fmla="*/ 2147483647 w 81"/>
                <a:gd name="T83" fmla="*/ 2147483647 h 39"/>
                <a:gd name="T84" fmla="*/ 2147483647 w 81"/>
                <a:gd name="T85" fmla="*/ 2147483647 h 39"/>
                <a:gd name="T86" fmla="*/ 2147483647 w 81"/>
                <a:gd name="T87" fmla="*/ 2147483647 h 39"/>
                <a:gd name="T88" fmla="*/ 2147483647 w 81"/>
                <a:gd name="T89" fmla="*/ 2147483647 h 39"/>
                <a:gd name="T90" fmla="*/ 2147483647 w 81"/>
                <a:gd name="T91" fmla="*/ 2147483647 h 39"/>
                <a:gd name="T92" fmla="*/ 2147483647 w 81"/>
                <a:gd name="T93" fmla="*/ 2147483647 h 39"/>
                <a:gd name="T94" fmla="*/ 2147483647 w 81"/>
                <a:gd name="T95" fmla="*/ 2147483647 h 39"/>
                <a:gd name="T96" fmla="*/ 2147483647 w 81"/>
                <a:gd name="T97" fmla="*/ 2147483647 h 39"/>
                <a:gd name="T98" fmla="*/ 2147483647 w 81"/>
                <a:gd name="T99" fmla="*/ 2147483647 h 39"/>
                <a:gd name="T100" fmla="*/ 2147483647 w 81"/>
                <a:gd name="T101" fmla="*/ 2147483647 h 39"/>
                <a:gd name="T102" fmla="*/ 2147483647 w 81"/>
                <a:gd name="T103" fmla="*/ 2147483647 h 39"/>
                <a:gd name="T104" fmla="*/ 2147483647 w 81"/>
                <a:gd name="T105" fmla="*/ 2147483647 h 39"/>
                <a:gd name="T106" fmla="*/ 2147483647 w 81"/>
                <a:gd name="T107" fmla="*/ 2147483647 h 39"/>
                <a:gd name="T108" fmla="*/ 2147483647 w 81"/>
                <a:gd name="T109" fmla="*/ 2147483647 h 39"/>
                <a:gd name="T110" fmla="*/ 2147483647 w 81"/>
                <a:gd name="T111" fmla="*/ 2147483647 h 39"/>
                <a:gd name="T112" fmla="*/ 2147483647 w 81"/>
                <a:gd name="T113" fmla="*/ 2147483647 h 39"/>
                <a:gd name="T114" fmla="*/ 2147483647 w 81"/>
                <a:gd name="T115" fmla="*/ 2147483647 h 39"/>
                <a:gd name="T116" fmla="*/ 2147483647 w 81"/>
                <a:gd name="T117" fmla="*/ 2147483647 h 3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1"/>
                <a:gd name="T178" fmla="*/ 0 h 39"/>
                <a:gd name="T179" fmla="*/ 81 w 81"/>
                <a:gd name="T180" fmla="*/ 39 h 3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1" h="39">
                  <a:moveTo>
                    <a:pt x="76" y="26"/>
                  </a:moveTo>
                  <a:lnTo>
                    <a:pt x="76" y="26"/>
                  </a:lnTo>
                  <a:lnTo>
                    <a:pt x="73" y="29"/>
                  </a:lnTo>
                  <a:lnTo>
                    <a:pt x="71" y="34"/>
                  </a:lnTo>
                  <a:lnTo>
                    <a:pt x="68" y="37"/>
                  </a:lnTo>
                  <a:lnTo>
                    <a:pt x="67" y="39"/>
                  </a:lnTo>
                  <a:lnTo>
                    <a:pt x="64" y="39"/>
                  </a:lnTo>
                  <a:lnTo>
                    <a:pt x="52" y="39"/>
                  </a:lnTo>
                  <a:lnTo>
                    <a:pt x="40" y="37"/>
                  </a:lnTo>
                  <a:lnTo>
                    <a:pt x="28" y="34"/>
                  </a:lnTo>
                  <a:lnTo>
                    <a:pt x="16" y="29"/>
                  </a:lnTo>
                  <a:lnTo>
                    <a:pt x="12" y="28"/>
                  </a:lnTo>
                  <a:lnTo>
                    <a:pt x="10" y="28"/>
                  </a:lnTo>
                  <a:lnTo>
                    <a:pt x="9" y="28"/>
                  </a:lnTo>
                  <a:lnTo>
                    <a:pt x="4" y="24"/>
                  </a:lnTo>
                  <a:lnTo>
                    <a:pt x="1" y="23"/>
                  </a:lnTo>
                  <a:lnTo>
                    <a:pt x="0" y="21"/>
                  </a:lnTo>
                  <a:lnTo>
                    <a:pt x="0" y="20"/>
                  </a:lnTo>
                  <a:lnTo>
                    <a:pt x="0" y="17"/>
                  </a:lnTo>
                  <a:lnTo>
                    <a:pt x="2" y="16"/>
                  </a:lnTo>
                  <a:lnTo>
                    <a:pt x="4" y="16"/>
                  </a:lnTo>
                  <a:lnTo>
                    <a:pt x="15" y="15"/>
                  </a:lnTo>
                  <a:lnTo>
                    <a:pt x="16" y="15"/>
                  </a:lnTo>
                  <a:lnTo>
                    <a:pt x="16" y="13"/>
                  </a:lnTo>
                  <a:lnTo>
                    <a:pt x="16" y="8"/>
                  </a:lnTo>
                  <a:lnTo>
                    <a:pt x="16" y="7"/>
                  </a:lnTo>
                  <a:lnTo>
                    <a:pt x="19" y="5"/>
                  </a:lnTo>
                  <a:lnTo>
                    <a:pt x="24" y="3"/>
                  </a:lnTo>
                  <a:lnTo>
                    <a:pt x="28" y="0"/>
                  </a:lnTo>
                  <a:lnTo>
                    <a:pt x="29" y="0"/>
                  </a:lnTo>
                  <a:lnTo>
                    <a:pt x="30" y="1"/>
                  </a:lnTo>
                  <a:lnTo>
                    <a:pt x="31" y="2"/>
                  </a:lnTo>
                  <a:lnTo>
                    <a:pt x="35" y="3"/>
                  </a:lnTo>
                  <a:lnTo>
                    <a:pt x="39" y="3"/>
                  </a:lnTo>
                  <a:lnTo>
                    <a:pt x="51" y="9"/>
                  </a:lnTo>
                  <a:lnTo>
                    <a:pt x="57" y="13"/>
                  </a:lnTo>
                  <a:lnTo>
                    <a:pt x="63" y="14"/>
                  </a:lnTo>
                  <a:lnTo>
                    <a:pt x="66" y="13"/>
                  </a:lnTo>
                  <a:lnTo>
                    <a:pt x="67" y="11"/>
                  </a:lnTo>
                  <a:lnTo>
                    <a:pt x="70" y="10"/>
                  </a:lnTo>
                  <a:lnTo>
                    <a:pt x="72" y="9"/>
                  </a:lnTo>
                  <a:lnTo>
                    <a:pt x="78" y="13"/>
                  </a:lnTo>
                  <a:lnTo>
                    <a:pt x="81" y="14"/>
                  </a:lnTo>
                  <a:lnTo>
                    <a:pt x="81" y="16"/>
                  </a:lnTo>
                  <a:lnTo>
                    <a:pt x="80" y="21"/>
                  </a:lnTo>
                  <a:lnTo>
                    <a:pt x="76" y="2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1" name="Freeform 960"/>
            <p:cNvSpPr>
              <a:spLocks/>
            </p:cNvSpPr>
            <p:nvPr/>
          </p:nvSpPr>
          <p:spPr bwMode="auto">
            <a:xfrm>
              <a:off x="2439992" y="1995489"/>
              <a:ext cx="22225" cy="20637"/>
            </a:xfrm>
            <a:custGeom>
              <a:avLst/>
              <a:gdLst>
                <a:gd name="T0" fmla="*/ 2147483647 w 15"/>
                <a:gd name="T1" fmla="*/ 2147483647 h 13"/>
                <a:gd name="T2" fmla="*/ 2147483647 w 15"/>
                <a:gd name="T3" fmla="*/ 2147483647 h 13"/>
                <a:gd name="T4" fmla="*/ 2147483647 w 15"/>
                <a:gd name="T5" fmla="*/ 2147483647 h 13"/>
                <a:gd name="T6" fmla="*/ 2147483647 w 15"/>
                <a:gd name="T7" fmla="*/ 2147483647 h 13"/>
                <a:gd name="T8" fmla="*/ 2147483647 w 15"/>
                <a:gd name="T9" fmla="*/ 2147483647 h 13"/>
                <a:gd name="T10" fmla="*/ 2147483647 w 15"/>
                <a:gd name="T11" fmla="*/ 0 h 13"/>
                <a:gd name="T12" fmla="*/ 2147483647 w 15"/>
                <a:gd name="T13" fmla="*/ 0 h 13"/>
                <a:gd name="T14" fmla="*/ 2147483647 w 15"/>
                <a:gd name="T15" fmla="*/ 2147483647 h 13"/>
                <a:gd name="T16" fmla="*/ 2147483647 w 15"/>
                <a:gd name="T17" fmla="*/ 2147483647 h 13"/>
                <a:gd name="T18" fmla="*/ 0 w 15"/>
                <a:gd name="T19" fmla="*/ 2147483647 h 13"/>
                <a:gd name="T20" fmla="*/ 0 w 15"/>
                <a:gd name="T21" fmla="*/ 2147483647 h 13"/>
                <a:gd name="T22" fmla="*/ 0 w 15"/>
                <a:gd name="T23" fmla="*/ 2147483647 h 13"/>
                <a:gd name="T24" fmla="*/ 2147483647 w 15"/>
                <a:gd name="T25" fmla="*/ 2147483647 h 13"/>
                <a:gd name="T26" fmla="*/ 2147483647 w 15"/>
                <a:gd name="T27" fmla="*/ 2147483647 h 13"/>
                <a:gd name="T28" fmla="*/ 2147483647 w 15"/>
                <a:gd name="T29" fmla="*/ 2147483647 h 13"/>
                <a:gd name="T30" fmla="*/ 2147483647 w 15"/>
                <a:gd name="T31" fmla="*/ 2147483647 h 13"/>
                <a:gd name="T32" fmla="*/ 2147483647 w 15"/>
                <a:gd name="T33" fmla="*/ 2147483647 h 13"/>
                <a:gd name="T34" fmla="*/ 2147483647 w 15"/>
                <a:gd name="T35" fmla="*/ 2147483647 h 13"/>
                <a:gd name="T36" fmla="*/ 2147483647 w 15"/>
                <a:gd name="T37" fmla="*/ 2147483647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3"/>
                <a:gd name="T59" fmla="*/ 15 w 15"/>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3">
                  <a:moveTo>
                    <a:pt x="15" y="7"/>
                  </a:moveTo>
                  <a:lnTo>
                    <a:pt x="15" y="7"/>
                  </a:lnTo>
                  <a:lnTo>
                    <a:pt x="15" y="3"/>
                  </a:lnTo>
                  <a:lnTo>
                    <a:pt x="14" y="1"/>
                  </a:lnTo>
                  <a:lnTo>
                    <a:pt x="11" y="0"/>
                  </a:lnTo>
                  <a:lnTo>
                    <a:pt x="10" y="0"/>
                  </a:lnTo>
                  <a:lnTo>
                    <a:pt x="5" y="1"/>
                  </a:lnTo>
                  <a:lnTo>
                    <a:pt x="2" y="4"/>
                  </a:lnTo>
                  <a:lnTo>
                    <a:pt x="0" y="9"/>
                  </a:lnTo>
                  <a:lnTo>
                    <a:pt x="0" y="10"/>
                  </a:lnTo>
                  <a:lnTo>
                    <a:pt x="1" y="12"/>
                  </a:lnTo>
                  <a:lnTo>
                    <a:pt x="5" y="13"/>
                  </a:lnTo>
                  <a:lnTo>
                    <a:pt x="9" y="12"/>
                  </a:lnTo>
                  <a:lnTo>
                    <a:pt x="12" y="10"/>
                  </a:lnTo>
                  <a:lnTo>
                    <a:pt x="15"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2" name="Freeform 961"/>
            <p:cNvSpPr>
              <a:spLocks/>
            </p:cNvSpPr>
            <p:nvPr/>
          </p:nvSpPr>
          <p:spPr bwMode="auto">
            <a:xfrm>
              <a:off x="2390779" y="1995489"/>
              <a:ext cx="41275" cy="50800"/>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2147483647 w 28"/>
                <a:gd name="T9" fmla="*/ 2147483647 h 32"/>
                <a:gd name="T10" fmla="*/ 2147483647 w 28"/>
                <a:gd name="T11" fmla="*/ 2147483647 h 32"/>
                <a:gd name="T12" fmla="*/ 2147483647 w 28"/>
                <a:gd name="T13" fmla="*/ 2147483647 h 32"/>
                <a:gd name="T14" fmla="*/ 2147483647 w 28"/>
                <a:gd name="T15" fmla="*/ 2147483647 h 32"/>
                <a:gd name="T16" fmla="*/ 2147483647 w 28"/>
                <a:gd name="T17" fmla="*/ 2147483647 h 32"/>
                <a:gd name="T18" fmla="*/ 2147483647 w 28"/>
                <a:gd name="T19" fmla="*/ 0 h 32"/>
                <a:gd name="T20" fmla="*/ 2147483647 w 28"/>
                <a:gd name="T21" fmla="*/ 0 h 32"/>
                <a:gd name="T22" fmla="*/ 2147483647 w 28"/>
                <a:gd name="T23" fmla="*/ 2147483647 h 32"/>
                <a:gd name="T24" fmla="*/ 2147483647 w 28"/>
                <a:gd name="T25" fmla="*/ 2147483647 h 32"/>
                <a:gd name="T26" fmla="*/ 2147483647 w 28"/>
                <a:gd name="T27" fmla="*/ 0 h 32"/>
                <a:gd name="T28" fmla="*/ 2147483647 w 28"/>
                <a:gd name="T29" fmla="*/ 2147483647 h 32"/>
                <a:gd name="T30" fmla="*/ 2147483647 w 28"/>
                <a:gd name="T31" fmla="*/ 2147483647 h 32"/>
                <a:gd name="T32" fmla="*/ 2147483647 w 28"/>
                <a:gd name="T33" fmla="*/ 2147483647 h 32"/>
                <a:gd name="T34" fmla="*/ 0 w 28"/>
                <a:gd name="T35" fmla="*/ 2147483647 h 32"/>
                <a:gd name="T36" fmla="*/ 0 w 28"/>
                <a:gd name="T37" fmla="*/ 2147483647 h 32"/>
                <a:gd name="T38" fmla="*/ 2147483647 w 28"/>
                <a:gd name="T39" fmla="*/ 2147483647 h 32"/>
                <a:gd name="T40" fmla="*/ 2147483647 w 28"/>
                <a:gd name="T41" fmla="*/ 2147483647 h 32"/>
                <a:gd name="T42" fmla="*/ 2147483647 w 28"/>
                <a:gd name="T43" fmla="*/ 2147483647 h 32"/>
                <a:gd name="T44" fmla="*/ 2147483647 w 28"/>
                <a:gd name="T45" fmla="*/ 2147483647 h 32"/>
                <a:gd name="T46" fmla="*/ 2147483647 w 28"/>
                <a:gd name="T47" fmla="*/ 2147483647 h 32"/>
                <a:gd name="T48" fmla="*/ 2147483647 w 28"/>
                <a:gd name="T49" fmla="*/ 2147483647 h 32"/>
                <a:gd name="T50" fmla="*/ 2147483647 w 28"/>
                <a:gd name="T51" fmla="*/ 2147483647 h 32"/>
                <a:gd name="T52" fmla="*/ 2147483647 w 28"/>
                <a:gd name="T53" fmla="*/ 2147483647 h 32"/>
                <a:gd name="T54" fmla="*/ 2147483647 w 28"/>
                <a:gd name="T55" fmla="*/ 2147483647 h 32"/>
                <a:gd name="T56" fmla="*/ 2147483647 w 28"/>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
                <a:gd name="T88" fmla="*/ 0 h 32"/>
                <a:gd name="T89" fmla="*/ 28 w 28"/>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 h="32">
                  <a:moveTo>
                    <a:pt x="24" y="26"/>
                  </a:moveTo>
                  <a:lnTo>
                    <a:pt x="26" y="22"/>
                  </a:lnTo>
                  <a:lnTo>
                    <a:pt x="28" y="20"/>
                  </a:lnTo>
                  <a:lnTo>
                    <a:pt x="26" y="19"/>
                  </a:lnTo>
                  <a:lnTo>
                    <a:pt x="24" y="12"/>
                  </a:lnTo>
                  <a:lnTo>
                    <a:pt x="23" y="8"/>
                  </a:lnTo>
                  <a:lnTo>
                    <a:pt x="24" y="3"/>
                  </a:lnTo>
                  <a:lnTo>
                    <a:pt x="24" y="2"/>
                  </a:lnTo>
                  <a:lnTo>
                    <a:pt x="24" y="1"/>
                  </a:lnTo>
                  <a:lnTo>
                    <a:pt x="21" y="0"/>
                  </a:lnTo>
                  <a:lnTo>
                    <a:pt x="19" y="0"/>
                  </a:lnTo>
                  <a:lnTo>
                    <a:pt x="16" y="1"/>
                  </a:lnTo>
                  <a:lnTo>
                    <a:pt x="15" y="1"/>
                  </a:lnTo>
                  <a:lnTo>
                    <a:pt x="11" y="0"/>
                  </a:lnTo>
                  <a:lnTo>
                    <a:pt x="9" y="1"/>
                  </a:lnTo>
                  <a:lnTo>
                    <a:pt x="5" y="4"/>
                  </a:lnTo>
                  <a:lnTo>
                    <a:pt x="1" y="8"/>
                  </a:lnTo>
                  <a:lnTo>
                    <a:pt x="0" y="10"/>
                  </a:lnTo>
                  <a:lnTo>
                    <a:pt x="0" y="12"/>
                  </a:lnTo>
                  <a:lnTo>
                    <a:pt x="4" y="19"/>
                  </a:lnTo>
                  <a:lnTo>
                    <a:pt x="5" y="27"/>
                  </a:lnTo>
                  <a:lnTo>
                    <a:pt x="6" y="28"/>
                  </a:lnTo>
                  <a:lnTo>
                    <a:pt x="10" y="28"/>
                  </a:lnTo>
                  <a:lnTo>
                    <a:pt x="12" y="29"/>
                  </a:lnTo>
                  <a:lnTo>
                    <a:pt x="18" y="32"/>
                  </a:lnTo>
                  <a:lnTo>
                    <a:pt x="20" y="32"/>
                  </a:lnTo>
                  <a:lnTo>
                    <a:pt x="21" y="31"/>
                  </a:lnTo>
                  <a:lnTo>
                    <a:pt x="23" y="28"/>
                  </a:lnTo>
                  <a:lnTo>
                    <a:pt x="24"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3" name="Freeform 962"/>
            <p:cNvSpPr>
              <a:spLocks/>
            </p:cNvSpPr>
            <p:nvPr/>
          </p:nvSpPr>
          <p:spPr bwMode="auto">
            <a:xfrm>
              <a:off x="2084389" y="1736730"/>
              <a:ext cx="722312" cy="557213"/>
            </a:xfrm>
            <a:custGeom>
              <a:avLst/>
              <a:gdLst>
                <a:gd name="T0" fmla="*/ 2147483647 w 493"/>
                <a:gd name="T1" fmla="*/ 2147483647 h 351"/>
                <a:gd name="T2" fmla="*/ 2147483647 w 493"/>
                <a:gd name="T3" fmla="*/ 2147483647 h 351"/>
                <a:gd name="T4" fmla="*/ 2147483647 w 493"/>
                <a:gd name="T5" fmla="*/ 2147483647 h 351"/>
                <a:gd name="T6" fmla="*/ 2147483647 w 493"/>
                <a:gd name="T7" fmla="*/ 2147483647 h 351"/>
                <a:gd name="T8" fmla="*/ 2147483647 w 493"/>
                <a:gd name="T9" fmla="*/ 2147483647 h 351"/>
                <a:gd name="T10" fmla="*/ 2147483647 w 493"/>
                <a:gd name="T11" fmla="*/ 2147483647 h 351"/>
                <a:gd name="T12" fmla="*/ 2147483647 w 493"/>
                <a:gd name="T13" fmla="*/ 2147483647 h 351"/>
                <a:gd name="T14" fmla="*/ 2147483647 w 493"/>
                <a:gd name="T15" fmla="*/ 2147483647 h 351"/>
                <a:gd name="T16" fmla="*/ 2147483647 w 493"/>
                <a:gd name="T17" fmla="*/ 2147483647 h 351"/>
                <a:gd name="T18" fmla="*/ 2147483647 w 493"/>
                <a:gd name="T19" fmla="*/ 2147483647 h 351"/>
                <a:gd name="T20" fmla="*/ 2147483647 w 493"/>
                <a:gd name="T21" fmla="*/ 2147483647 h 351"/>
                <a:gd name="T22" fmla="*/ 2147483647 w 493"/>
                <a:gd name="T23" fmla="*/ 2147483647 h 351"/>
                <a:gd name="T24" fmla="*/ 2147483647 w 493"/>
                <a:gd name="T25" fmla="*/ 2147483647 h 351"/>
                <a:gd name="T26" fmla="*/ 2147483647 w 493"/>
                <a:gd name="T27" fmla="*/ 2147483647 h 351"/>
                <a:gd name="T28" fmla="*/ 2147483647 w 493"/>
                <a:gd name="T29" fmla="*/ 2147483647 h 351"/>
                <a:gd name="T30" fmla="*/ 2147483647 w 493"/>
                <a:gd name="T31" fmla="*/ 2147483647 h 351"/>
                <a:gd name="T32" fmla="*/ 2147483647 w 493"/>
                <a:gd name="T33" fmla="*/ 2147483647 h 351"/>
                <a:gd name="T34" fmla="*/ 2147483647 w 493"/>
                <a:gd name="T35" fmla="*/ 2147483647 h 351"/>
                <a:gd name="T36" fmla="*/ 2147483647 w 493"/>
                <a:gd name="T37" fmla="*/ 2147483647 h 351"/>
                <a:gd name="T38" fmla="*/ 2147483647 w 493"/>
                <a:gd name="T39" fmla="*/ 2147483647 h 351"/>
                <a:gd name="T40" fmla="*/ 2147483647 w 493"/>
                <a:gd name="T41" fmla="*/ 2147483647 h 351"/>
                <a:gd name="T42" fmla="*/ 2147483647 w 493"/>
                <a:gd name="T43" fmla="*/ 2147483647 h 351"/>
                <a:gd name="T44" fmla="*/ 2147483647 w 493"/>
                <a:gd name="T45" fmla="*/ 2147483647 h 351"/>
                <a:gd name="T46" fmla="*/ 2147483647 w 493"/>
                <a:gd name="T47" fmla="*/ 2147483647 h 351"/>
                <a:gd name="T48" fmla="*/ 2147483647 w 493"/>
                <a:gd name="T49" fmla="*/ 2147483647 h 351"/>
                <a:gd name="T50" fmla="*/ 2147483647 w 493"/>
                <a:gd name="T51" fmla="*/ 2147483647 h 351"/>
                <a:gd name="T52" fmla="*/ 2147483647 w 493"/>
                <a:gd name="T53" fmla="*/ 2147483647 h 351"/>
                <a:gd name="T54" fmla="*/ 2147483647 w 493"/>
                <a:gd name="T55" fmla="*/ 2147483647 h 351"/>
                <a:gd name="T56" fmla="*/ 2147483647 w 493"/>
                <a:gd name="T57" fmla="*/ 2147483647 h 351"/>
                <a:gd name="T58" fmla="*/ 0 w 493"/>
                <a:gd name="T59" fmla="*/ 2147483647 h 351"/>
                <a:gd name="T60" fmla="*/ 2147483647 w 493"/>
                <a:gd name="T61" fmla="*/ 2147483647 h 351"/>
                <a:gd name="T62" fmla="*/ 2147483647 w 493"/>
                <a:gd name="T63" fmla="*/ 2147483647 h 351"/>
                <a:gd name="T64" fmla="*/ 2147483647 w 493"/>
                <a:gd name="T65" fmla="*/ 2147483647 h 351"/>
                <a:gd name="T66" fmla="*/ 2147483647 w 493"/>
                <a:gd name="T67" fmla="*/ 2147483647 h 351"/>
                <a:gd name="T68" fmla="*/ 2147483647 w 493"/>
                <a:gd name="T69" fmla="*/ 2147483647 h 351"/>
                <a:gd name="T70" fmla="*/ 2147483647 w 493"/>
                <a:gd name="T71" fmla="*/ 2147483647 h 351"/>
                <a:gd name="T72" fmla="*/ 2147483647 w 493"/>
                <a:gd name="T73" fmla="*/ 2147483647 h 351"/>
                <a:gd name="T74" fmla="*/ 2147483647 w 493"/>
                <a:gd name="T75" fmla="*/ 2147483647 h 351"/>
                <a:gd name="T76" fmla="*/ 2147483647 w 493"/>
                <a:gd name="T77" fmla="*/ 2147483647 h 351"/>
                <a:gd name="T78" fmla="*/ 2147483647 w 493"/>
                <a:gd name="T79" fmla="*/ 2147483647 h 351"/>
                <a:gd name="T80" fmla="*/ 2147483647 w 493"/>
                <a:gd name="T81" fmla="*/ 2147483647 h 351"/>
                <a:gd name="T82" fmla="*/ 2147483647 w 493"/>
                <a:gd name="T83" fmla="*/ 2147483647 h 351"/>
                <a:gd name="T84" fmla="*/ 2147483647 w 493"/>
                <a:gd name="T85" fmla="*/ 2147483647 h 351"/>
                <a:gd name="T86" fmla="*/ 2147483647 w 493"/>
                <a:gd name="T87" fmla="*/ 2147483647 h 351"/>
                <a:gd name="T88" fmla="*/ 2147483647 w 493"/>
                <a:gd name="T89" fmla="*/ 2147483647 h 351"/>
                <a:gd name="T90" fmla="*/ 2147483647 w 493"/>
                <a:gd name="T91" fmla="*/ 2147483647 h 351"/>
                <a:gd name="T92" fmla="*/ 2147483647 w 493"/>
                <a:gd name="T93" fmla="*/ 2147483647 h 351"/>
                <a:gd name="T94" fmla="*/ 2147483647 w 493"/>
                <a:gd name="T95" fmla="*/ 2147483647 h 351"/>
                <a:gd name="T96" fmla="*/ 2147483647 w 493"/>
                <a:gd name="T97" fmla="*/ 2147483647 h 351"/>
                <a:gd name="T98" fmla="*/ 2147483647 w 493"/>
                <a:gd name="T99" fmla="*/ 2147483647 h 351"/>
                <a:gd name="T100" fmla="*/ 2147483647 w 493"/>
                <a:gd name="T101" fmla="*/ 2147483647 h 351"/>
                <a:gd name="T102" fmla="*/ 2147483647 w 493"/>
                <a:gd name="T103" fmla="*/ 2147483647 h 351"/>
                <a:gd name="T104" fmla="*/ 2147483647 w 493"/>
                <a:gd name="T105" fmla="*/ 2147483647 h 351"/>
                <a:gd name="T106" fmla="*/ 2147483647 w 493"/>
                <a:gd name="T107" fmla="*/ 2147483647 h 351"/>
                <a:gd name="T108" fmla="*/ 2147483647 w 493"/>
                <a:gd name="T109" fmla="*/ 2147483647 h 351"/>
                <a:gd name="T110" fmla="*/ 2147483647 w 493"/>
                <a:gd name="T111" fmla="*/ 2147483647 h 351"/>
                <a:gd name="T112" fmla="*/ 2147483647 w 493"/>
                <a:gd name="T113" fmla="*/ 2147483647 h 351"/>
                <a:gd name="T114" fmla="*/ 2147483647 w 493"/>
                <a:gd name="T115" fmla="*/ 2147483647 h 351"/>
                <a:gd name="T116" fmla="*/ 2147483647 w 493"/>
                <a:gd name="T117" fmla="*/ 2147483647 h 351"/>
                <a:gd name="T118" fmla="*/ 2147483647 w 493"/>
                <a:gd name="T119" fmla="*/ 2147483647 h 351"/>
                <a:gd name="T120" fmla="*/ 2147483647 w 493"/>
                <a:gd name="T121" fmla="*/ 2147483647 h 351"/>
                <a:gd name="T122" fmla="*/ 2147483647 w 493"/>
                <a:gd name="T123" fmla="*/ 2147483647 h 3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3"/>
                <a:gd name="T187" fmla="*/ 0 h 351"/>
                <a:gd name="T188" fmla="*/ 493 w 493"/>
                <a:gd name="T189" fmla="*/ 351 h 3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3" h="351">
                  <a:moveTo>
                    <a:pt x="441" y="306"/>
                  </a:moveTo>
                  <a:lnTo>
                    <a:pt x="436" y="298"/>
                  </a:lnTo>
                  <a:lnTo>
                    <a:pt x="432" y="295"/>
                  </a:lnTo>
                  <a:lnTo>
                    <a:pt x="428" y="293"/>
                  </a:lnTo>
                  <a:lnTo>
                    <a:pt x="427" y="292"/>
                  </a:lnTo>
                  <a:lnTo>
                    <a:pt x="426" y="292"/>
                  </a:lnTo>
                  <a:lnTo>
                    <a:pt x="424" y="292"/>
                  </a:lnTo>
                  <a:lnTo>
                    <a:pt x="423" y="294"/>
                  </a:lnTo>
                  <a:lnTo>
                    <a:pt x="424" y="297"/>
                  </a:lnTo>
                  <a:lnTo>
                    <a:pt x="426" y="299"/>
                  </a:lnTo>
                  <a:lnTo>
                    <a:pt x="427" y="300"/>
                  </a:lnTo>
                  <a:lnTo>
                    <a:pt x="428" y="303"/>
                  </a:lnTo>
                  <a:lnTo>
                    <a:pt x="429" y="306"/>
                  </a:lnTo>
                  <a:lnTo>
                    <a:pt x="431" y="310"/>
                  </a:lnTo>
                  <a:lnTo>
                    <a:pt x="435" y="317"/>
                  </a:lnTo>
                  <a:lnTo>
                    <a:pt x="435" y="319"/>
                  </a:lnTo>
                  <a:lnTo>
                    <a:pt x="433" y="323"/>
                  </a:lnTo>
                  <a:lnTo>
                    <a:pt x="432" y="325"/>
                  </a:lnTo>
                  <a:lnTo>
                    <a:pt x="431" y="329"/>
                  </a:lnTo>
                  <a:lnTo>
                    <a:pt x="431" y="330"/>
                  </a:lnTo>
                  <a:lnTo>
                    <a:pt x="428" y="331"/>
                  </a:lnTo>
                  <a:lnTo>
                    <a:pt x="427" y="330"/>
                  </a:lnTo>
                  <a:lnTo>
                    <a:pt x="424" y="330"/>
                  </a:lnTo>
                  <a:lnTo>
                    <a:pt x="422" y="325"/>
                  </a:lnTo>
                  <a:lnTo>
                    <a:pt x="421" y="322"/>
                  </a:lnTo>
                  <a:lnTo>
                    <a:pt x="418" y="317"/>
                  </a:lnTo>
                  <a:lnTo>
                    <a:pt x="415" y="313"/>
                  </a:lnTo>
                  <a:lnTo>
                    <a:pt x="413" y="312"/>
                  </a:lnTo>
                  <a:lnTo>
                    <a:pt x="412" y="312"/>
                  </a:lnTo>
                  <a:lnTo>
                    <a:pt x="407" y="314"/>
                  </a:lnTo>
                  <a:lnTo>
                    <a:pt x="405" y="314"/>
                  </a:lnTo>
                  <a:lnTo>
                    <a:pt x="399" y="307"/>
                  </a:lnTo>
                  <a:lnTo>
                    <a:pt x="391" y="303"/>
                  </a:lnTo>
                  <a:lnTo>
                    <a:pt x="384" y="299"/>
                  </a:lnTo>
                  <a:lnTo>
                    <a:pt x="375" y="297"/>
                  </a:lnTo>
                  <a:lnTo>
                    <a:pt x="374" y="295"/>
                  </a:lnTo>
                  <a:lnTo>
                    <a:pt x="372" y="294"/>
                  </a:lnTo>
                  <a:lnTo>
                    <a:pt x="370" y="293"/>
                  </a:lnTo>
                  <a:lnTo>
                    <a:pt x="368" y="292"/>
                  </a:lnTo>
                  <a:lnTo>
                    <a:pt x="365" y="294"/>
                  </a:lnTo>
                  <a:lnTo>
                    <a:pt x="365" y="295"/>
                  </a:lnTo>
                  <a:lnTo>
                    <a:pt x="366" y="297"/>
                  </a:lnTo>
                  <a:lnTo>
                    <a:pt x="368" y="300"/>
                  </a:lnTo>
                  <a:lnTo>
                    <a:pt x="371" y="303"/>
                  </a:lnTo>
                  <a:lnTo>
                    <a:pt x="372" y="306"/>
                  </a:lnTo>
                  <a:lnTo>
                    <a:pt x="374" y="311"/>
                  </a:lnTo>
                  <a:lnTo>
                    <a:pt x="374" y="312"/>
                  </a:lnTo>
                  <a:lnTo>
                    <a:pt x="375" y="313"/>
                  </a:lnTo>
                  <a:lnTo>
                    <a:pt x="377" y="314"/>
                  </a:lnTo>
                  <a:lnTo>
                    <a:pt x="381" y="314"/>
                  </a:lnTo>
                  <a:lnTo>
                    <a:pt x="382" y="317"/>
                  </a:lnTo>
                  <a:lnTo>
                    <a:pt x="385" y="319"/>
                  </a:lnTo>
                  <a:lnTo>
                    <a:pt x="386" y="322"/>
                  </a:lnTo>
                  <a:lnTo>
                    <a:pt x="391" y="324"/>
                  </a:lnTo>
                  <a:lnTo>
                    <a:pt x="398" y="326"/>
                  </a:lnTo>
                  <a:lnTo>
                    <a:pt x="403" y="329"/>
                  </a:lnTo>
                  <a:lnTo>
                    <a:pt x="405" y="332"/>
                  </a:lnTo>
                  <a:lnTo>
                    <a:pt x="410" y="336"/>
                  </a:lnTo>
                  <a:lnTo>
                    <a:pt x="413" y="342"/>
                  </a:lnTo>
                  <a:lnTo>
                    <a:pt x="414" y="344"/>
                  </a:lnTo>
                  <a:lnTo>
                    <a:pt x="414" y="346"/>
                  </a:lnTo>
                  <a:lnTo>
                    <a:pt x="414" y="349"/>
                  </a:lnTo>
                  <a:lnTo>
                    <a:pt x="412" y="351"/>
                  </a:lnTo>
                  <a:lnTo>
                    <a:pt x="410" y="350"/>
                  </a:lnTo>
                  <a:lnTo>
                    <a:pt x="410" y="349"/>
                  </a:lnTo>
                  <a:lnTo>
                    <a:pt x="410" y="346"/>
                  </a:lnTo>
                  <a:lnTo>
                    <a:pt x="409" y="345"/>
                  </a:lnTo>
                  <a:lnTo>
                    <a:pt x="407" y="345"/>
                  </a:lnTo>
                  <a:lnTo>
                    <a:pt x="403" y="345"/>
                  </a:lnTo>
                  <a:lnTo>
                    <a:pt x="400" y="345"/>
                  </a:lnTo>
                  <a:lnTo>
                    <a:pt x="399" y="344"/>
                  </a:lnTo>
                  <a:lnTo>
                    <a:pt x="394" y="339"/>
                  </a:lnTo>
                  <a:lnTo>
                    <a:pt x="391" y="337"/>
                  </a:lnTo>
                  <a:lnTo>
                    <a:pt x="389" y="336"/>
                  </a:lnTo>
                  <a:lnTo>
                    <a:pt x="386" y="336"/>
                  </a:lnTo>
                  <a:lnTo>
                    <a:pt x="385" y="336"/>
                  </a:lnTo>
                  <a:lnTo>
                    <a:pt x="382" y="336"/>
                  </a:lnTo>
                  <a:lnTo>
                    <a:pt x="380" y="336"/>
                  </a:lnTo>
                  <a:lnTo>
                    <a:pt x="377" y="333"/>
                  </a:lnTo>
                  <a:lnTo>
                    <a:pt x="375" y="331"/>
                  </a:lnTo>
                  <a:lnTo>
                    <a:pt x="371" y="331"/>
                  </a:lnTo>
                  <a:lnTo>
                    <a:pt x="368" y="332"/>
                  </a:lnTo>
                  <a:lnTo>
                    <a:pt x="365" y="333"/>
                  </a:lnTo>
                  <a:lnTo>
                    <a:pt x="362" y="333"/>
                  </a:lnTo>
                  <a:lnTo>
                    <a:pt x="356" y="330"/>
                  </a:lnTo>
                  <a:lnTo>
                    <a:pt x="352" y="327"/>
                  </a:lnTo>
                  <a:lnTo>
                    <a:pt x="349" y="325"/>
                  </a:lnTo>
                  <a:lnTo>
                    <a:pt x="348" y="324"/>
                  </a:lnTo>
                  <a:lnTo>
                    <a:pt x="346" y="324"/>
                  </a:lnTo>
                  <a:lnTo>
                    <a:pt x="333" y="323"/>
                  </a:lnTo>
                  <a:lnTo>
                    <a:pt x="332" y="322"/>
                  </a:lnTo>
                  <a:lnTo>
                    <a:pt x="329" y="319"/>
                  </a:lnTo>
                  <a:lnTo>
                    <a:pt x="328" y="317"/>
                  </a:lnTo>
                  <a:lnTo>
                    <a:pt x="325" y="316"/>
                  </a:lnTo>
                  <a:lnTo>
                    <a:pt x="321" y="314"/>
                  </a:lnTo>
                  <a:lnTo>
                    <a:pt x="316" y="313"/>
                  </a:lnTo>
                  <a:lnTo>
                    <a:pt x="314" y="313"/>
                  </a:lnTo>
                  <a:lnTo>
                    <a:pt x="313" y="311"/>
                  </a:lnTo>
                  <a:lnTo>
                    <a:pt x="313" y="310"/>
                  </a:lnTo>
                  <a:lnTo>
                    <a:pt x="314" y="307"/>
                  </a:lnTo>
                  <a:lnTo>
                    <a:pt x="319" y="305"/>
                  </a:lnTo>
                  <a:lnTo>
                    <a:pt x="321" y="303"/>
                  </a:lnTo>
                  <a:lnTo>
                    <a:pt x="320" y="301"/>
                  </a:lnTo>
                  <a:lnTo>
                    <a:pt x="315" y="299"/>
                  </a:lnTo>
                  <a:lnTo>
                    <a:pt x="310" y="295"/>
                  </a:lnTo>
                  <a:lnTo>
                    <a:pt x="308" y="294"/>
                  </a:lnTo>
                  <a:lnTo>
                    <a:pt x="305" y="295"/>
                  </a:lnTo>
                  <a:lnTo>
                    <a:pt x="302" y="299"/>
                  </a:lnTo>
                  <a:lnTo>
                    <a:pt x="301" y="299"/>
                  </a:lnTo>
                  <a:lnTo>
                    <a:pt x="299" y="299"/>
                  </a:lnTo>
                  <a:lnTo>
                    <a:pt x="296" y="298"/>
                  </a:lnTo>
                  <a:lnTo>
                    <a:pt x="294" y="297"/>
                  </a:lnTo>
                  <a:lnTo>
                    <a:pt x="291" y="292"/>
                  </a:lnTo>
                  <a:lnTo>
                    <a:pt x="288" y="285"/>
                  </a:lnTo>
                  <a:lnTo>
                    <a:pt x="285" y="279"/>
                  </a:lnTo>
                  <a:lnTo>
                    <a:pt x="282" y="276"/>
                  </a:lnTo>
                  <a:lnTo>
                    <a:pt x="278" y="274"/>
                  </a:lnTo>
                  <a:lnTo>
                    <a:pt x="275" y="273"/>
                  </a:lnTo>
                  <a:lnTo>
                    <a:pt x="271" y="274"/>
                  </a:lnTo>
                  <a:lnTo>
                    <a:pt x="268" y="273"/>
                  </a:lnTo>
                  <a:lnTo>
                    <a:pt x="267" y="272"/>
                  </a:lnTo>
                  <a:lnTo>
                    <a:pt x="264" y="266"/>
                  </a:lnTo>
                  <a:lnTo>
                    <a:pt x="263" y="266"/>
                  </a:lnTo>
                  <a:lnTo>
                    <a:pt x="255" y="269"/>
                  </a:lnTo>
                  <a:lnTo>
                    <a:pt x="249" y="272"/>
                  </a:lnTo>
                  <a:lnTo>
                    <a:pt x="239" y="274"/>
                  </a:lnTo>
                  <a:lnTo>
                    <a:pt x="234" y="274"/>
                  </a:lnTo>
                  <a:lnTo>
                    <a:pt x="229" y="273"/>
                  </a:lnTo>
                  <a:lnTo>
                    <a:pt x="226" y="273"/>
                  </a:lnTo>
                  <a:lnTo>
                    <a:pt x="225" y="275"/>
                  </a:lnTo>
                  <a:lnTo>
                    <a:pt x="225" y="281"/>
                  </a:lnTo>
                  <a:lnTo>
                    <a:pt x="224" y="282"/>
                  </a:lnTo>
                  <a:lnTo>
                    <a:pt x="219" y="282"/>
                  </a:lnTo>
                  <a:lnTo>
                    <a:pt x="215" y="281"/>
                  </a:lnTo>
                  <a:lnTo>
                    <a:pt x="207" y="275"/>
                  </a:lnTo>
                  <a:lnTo>
                    <a:pt x="202" y="271"/>
                  </a:lnTo>
                  <a:lnTo>
                    <a:pt x="200" y="263"/>
                  </a:lnTo>
                  <a:lnTo>
                    <a:pt x="198" y="261"/>
                  </a:lnTo>
                  <a:lnTo>
                    <a:pt x="198" y="259"/>
                  </a:lnTo>
                  <a:lnTo>
                    <a:pt x="200" y="255"/>
                  </a:lnTo>
                  <a:lnTo>
                    <a:pt x="201" y="254"/>
                  </a:lnTo>
                  <a:lnTo>
                    <a:pt x="206" y="249"/>
                  </a:lnTo>
                  <a:lnTo>
                    <a:pt x="212" y="247"/>
                  </a:lnTo>
                  <a:lnTo>
                    <a:pt x="211" y="244"/>
                  </a:lnTo>
                  <a:lnTo>
                    <a:pt x="208" y="242"/>
                  </a:lnTo>
                  <a:lnTo>
                    <a:pt x="206" y="240"/>
                  </a:lnTo>
                  <a:lnTo>
                    <a:pt x="203" y="239"/>
                  </a:lnTo>
                  <a:lnTo>
                    <a:pt x="202" y="237"/>
                  </a:lnTo>
                  <a:lnTo>
                    <a:pt x="203" y="235"/>
                  </a:lnTo>
                  <a:lnTo>
                    <a:pt x="205" y="234"/>
                  </a:lnTo>
                  <a:lnTo>
                    <a:pt x="206" y="233"/>
                  </a:lnTo>
                  <a:lnTo>
                    <a:pt x="210" y="233"/>
                  </a:lnTo>
                  <a:lnTo>
                    <a:pt x="214" y="234"/>
                  </a:lnTo>
                  <a:lnTo>
                    <a:pt x="217" y="236"/>
                  </a:lnTo>
                  <a:lnTo>
                    <a:pt x="221" y="241"/>
                  </a:lnTo>
                  <a:lnTo>
                    <a:pt x="226" y="244"/>
                  </a:lnTo>
                  <a:lnTo>
                    <a:pt x="231" y="246"/>
                  </a:lnTo>
                  <a:lnTo>
                    <a:pt x="239" y="246"/>
                  </a:lnTo>
                  <a:lnTo>
                    <a:pt x="247" y="244"/>
                  </a:lnTo>
                  <a:lnTo>
                    <a:pt x="255" y="244"/>
                  </a:lnTo>
                  <a:lnTo>
                    <a:pt x="259" y="244"/>
                  </a:lnTo>
                  <a:lnTo>
                    <a:pt x="263" y="243"/>
                  </a:lnTo>
                  <a:lnTo>
                    <a:pt x="266" y="241"/>
                  </a:lnTo>
                  <a:lnTo>
                    <a:pt x="267" y="239"/>
                  </a:lnTo>
                  <a:lnTo>
                    <a:pt x="266" y="236"/>
                  </a:lnTo>
                  <a:lnTo>
                    <a:pt x="263" y="234"/>
                  </a:lnTo>
                  <a:lnTo>
                    <a:pt x="259" y="230"/>
                  </a:lnTo>
                  <a:lnTo>
                    <a:pt x="257" y="227"/>
                  </a:lnTo>
                  <a:lnTo>
                    <a:pt x="254" y="224"/>
                  </a:lnTo>
                  <a:lnTo>
                    <a:pt x="252" y="222"/>
                  </a:lnTo>
                  <a:lnTo>
                    <a:pt x="250" y="221"/>
                  </a:lnTo>
                  <a:lnTo>
                    <a:pt x="250" y="220"/>
                  </a:lnTo>
                  <a:lnTo>
                    <a:pt x="259" y="214"/>
                  </a:lnTo>
                  <a:lnTo>
                    <a:pt x="263" y="210"/>
                  </a:lnTo>
                  <a:lnTo>
                    <a:pt x="267" y="207"/>
                  </a:lnTo>
                  <a:lnTo>
                    <a:pt x="269" y="205"/>
                  </a:lnTo>
                  <a:lnTo>
                    <a:pt x="271" y="205"/>
                  </a:lnTo>
                  <a:lnTo>
                    <a:pt x="275" y="208"/>
                  </a:lnTo>
                  <a:lnTo>
                    <a:pt x="278" y="208"/>
                  </a:lnTo>
                  <a:lnTo>
                    <a:pt x="282" y="209"/>
                  </a:lnTo>
                  <a:lnTo>
                    <a:pt x="286" y="210"/>
                  </a:lnTo>
                  <a:lnTo>
                    <a:pt x="288" y="211"/>
                  </a:lnTo>
                  <a:lnTo>
                    <a:pt x="292" y="212"/>
                  </a:lnTo>
                  <a:lnTo>
                    <a:pt x="300" y="212"/>
                  </a:lnTo>
                  <a:lnTo>
                    <a:pt x="302" y="214"/>
                  </a:lnTo>
                  <a:lnTo>
                    <a:pt x="304" y="215"/>
                  </a:lnTo>
                  <a:lnTo>
                    <a:pt x="304" y="218"/>
                  </a:lnTo>
                  <a:lnTo>
                    <a:pt x="305" y="222"/>
                  </a:lnTo>
                  <a:lnTo>
                    <a:pt x="305" y="223"/>
                  </a:lnTo>
                  <a:lnTo>
                    <a:pt x="306" y="223"/>
                  </a:lnTo>
                  <a:lnTo>
                    <a:pt x="311" y="223"/>
                  </a:lnTo>
                  <a:lnTo>
                    <a:pt x="316" y="222"/>
                  </a:lnTo>
                  <a:lnTo>
                    <a:pt x="320" y="220"/>
                  </a:lnTo>
                  <a:lnTo>
                    <a:pt x="325" y="217"/>
                  </a:lnTo>
                  <a:lnTo>
                    <a:pt x="330" y="216"/>
                  </a:lnTo>
                  <a:lnTo>
                    <a:pt x="335" y="214"/>
                  </a:lnTo>
                  <a:lnTo>
                    <a:pt x="339" y="210"/>
                  </a:lnTo>
                  <a:lnTo>
                    <a:pt x="339" y="208"/>
                  </a:lnTo>
                  <a:lnTo>
                    <a:pt x="338" y="207"/>
                  </a:lnTo>
                  <a:lnTo>
                    <a:pt x="329" y="201"/>
                  </a:lnTo>
                  <a:lnTo>
                    <a:pt x="324" y="199"/>
                  </a:lnTo>
                  <a:lnTo>
                    <a:pt x="319" y="198"/>
                  </a:lnTo>
                  <a:lnTo>
                    <a:pt x="316" y="197"/>
                  </a:lnTo>
                  <a:lnTo>
                    <a:pt x="314" y="196"/>
                  </a:lnTo>
                  <a:lnTo>
                    <a:pt x="310" y="191"/>
                  </a:lnTo>
                  <a:lnTo>
                    <a:pt x="306" y="186"/>
                  </a:lnTo>
                  <a:lnTo>
                    <a:pt x="302" y="183"/>
                  </a:lnTo>
                  <a:lnTo>
                    <a:pt x="301" y="183"/>
                  </a:lnTo>
                  <a:lnTo>
                    <a:pt x="299" y="183"/>
                  </a:lnTo>
                  <a:lnTo>
                    <a:pt x="295" y="185"/>
                  </a:lnTo>
                  <a:lnTo>
                    <a:pt x="295" y="188"/>
                  </a:lnTo>
                  <a:lnTo>
                    <a:pt x="296" y="190"/>
                  </a:lnTo>
                  <a:lnTo>
                    <a:pt x="297" y="194"/>
                  </a:lnTo>
                  <a:lnTo>
                    <a:pt x="297" y="196"/>
                  </a:lnTo>
                  <a:lnTo>
                    <a:pt x="296" y="199"/>
                  </a:lnTo>
                  <a:lnTo>
                    <a:pt x="292" y="201"/>
                  </a:lnTo>
                  <a:lnTo>
                    <a:pt x="282" y="199"/>
                  </a:lnTo>
                  <a:lnTo>
                    <a:pt x="271" y="198"/>
                  </a:lnTo>
                  <a:lnTo>
                    <a:pt x="268" y="198"/>
                  </a:lnTo>
                  <a:lnTo>
                    <a:pt x="267" y="196"/>
                  </a:lnTo>
                  <a:lnTo>
                    <a:pt x="266" y="194"/>
                  </a:lnTo>
                  <a:lnTo>
                    <a:pt x="267" y="191"/>
                  </a:lnTo>
                  <a:lnTo>
                    <a:pt x="271" y="186"/>
                  </a:lnTo>
                  <a:lnTo>
                    <a:pt x="272" y="182"/>
                  </a:lnTo>
                  <a:lnTo>
                    <a:pt x="272" y="177"/>
                  </a:lnTo>
                  <a:lnTo>
                    <a:pt x="271" y="173"/>
                  </a:lnTo>
                  <a:lnTo>
                    <a:pt x="268" y="169"/>
                  </a:lnTo>
                  <a:lnTo>
                    <a:pt x="264" y="165"/>
                  </a:lnTo>
                  <a:lnTo>
                    <a:pt x="257" y="159"/>
                  </a:lnTo>
                  <a:lnTo>
                    <a:pt x="254" y="157"/>
                  </a:lnTo>
                  <a:lnTo>
                    <a:pt x="253" y="154"/>
                  </a:lnTo>
                  <a:lnTo>
                    <a:pt x="250" y="153"/>
                  </a:lnTo>
                  <a:lnTo>
                    <a:pt x="248" y="153"/>
                  </a:lnTo>
                  <a:lnTo>
                    <a:pt x="245" y="153"/>
                  </a:lnTo>
                  <a:lnTo>
                    <a:pt x="244" y="153"/>
                  </a:lnTo>
                  <a:lnTo>
                    <a:pt x="244" y="151"/>
                  </a:lnTo>
                  <a:lnTo>
                    <a:pt x="244" y="150"/>
                  </a:lnTo>
                  <a:lnTo>
                    <a:pt x="247" y="146"/>
                  </a:lnTo>
                  <a:lnTo>
                    <a:pt x="247" y="145"/>
                  </a:lnTo>
                  <a:lnTo>
                    <a:pt x="240" y="146"/>
                  </a:lnTo>
                  <a:lnTo>
                    <a:pt x="235" y="147"/>
                  </a:lnTo>
                  <a:lnTo>
                    <a:pt x="229" y="150"/>
                  </a:lnTo>
                  <a:lnTo>
                    <a:pt x="224" y="153"/>
                  </a:lnTo>
                  <a:lnTo>
                    <a:pt x="222" y="153"/>
                  </a:lnTo>
                  <a:lnTo>
                    <a:pt x="220" y="153"/>
                  </a:lnTo>
                  <a:lnTo>
                    <a:pt x="219" y="152"/>
                  </a:lnTo>
                  <a:lnTo>
                    <a:pt x="219" y="150"/>
                  </a:lnTo>
                  <a:lnTo>
                    <a:pt x="224" y="145"/>
                  </a:lnTo>
                  <a:lnTo>
                    <a:pt x="225" y="143"/>
                  </a:lnTo>
                  <a:lnTo>
                    <a:pt x="224" y="141"/>
                  </a:lnTo>
                  <a:lnTo>
                    <a:pt x="222" y="140"/>
                  </a:lnTo>
                  <a:lnTo>
                    <a:pt x="217" y="139"/>
                  </a:lnTo>
                  <a:lnTo>
                    <a:pt x="212" y="137"/>
                  </a:lnTo>
                  <a:lnTo>
                    <a:pt x="208" y="134"/>
                  </a:lnTo>
                  <a:lnTo>
                    <a:pt x="206" y="131"/>
                  </a:lnTo>
                  <a:lnTo>
                    <a:pt x="201" y="122"/>
                  </a:lnTo>
                  <a:lnTo>
                    <a:pt x="197" y="114"/>
                  </a:lnTo>
                  <a:lnTo>
                    <a:pt x="196" y="113"/>
                  </a:lnTo>
                  <a:lnTo>
                    <a:pt x="193" y="112"/>
                  </a:lnTo>
                  <a:lnTo>
                    <a:pt x="187" y="111"/>
                  </a:lnTo>
                  <a:lnTo>
                    <a:pt x="183" y="107"/>
                  </a:lnTo>
                  <a:lnTo>
                    <a:pt x="181" y="103"/>
                  </a:lnTo>
                  <a:lnTo>
                    <a:pt x="178" y="100"/>
                  </a:lnTo>
                  <a:lnTo>
                    <a:pt x="177" y="100"/>
                  </a:lnTo>
                  <a:lnTo>
                    <a:pt x="174" y="101"/>
                  </a:lnTo>
                  <a:lnTo>
                    <a:pt x="173" y="103"/>
                  </a:lnTo>
                  <a:lnTo>
                    <a:pt x="173" y="106"/>
                  </a:lnTo>
                  <a:lnTo>
                    <a:pt x="175" y="111"/>
                  </a:lnTo>
                  <a:lnTo>
                    <a:pt x="179" y="115"/>
                  </a:lnTo>
                  <a:lnTo>
                    <a:pt x="182" y="120"/>
                  </a:lnTo>
                  <a:lnTo>
                    <a:pt x="182" y="122"/>
                  </a:lnTo>
                  <a:lnTo>
                    <a:pt x="181" y="124"/>
                  </a:lnTo>
                  <a:lnTo>
                    <a:pt x="175" y="124"/>
                  </a:lnTo>
                  <a:lnTo>
                    <a:pt x="168" y="122"/>
                  </a:lnTo>
                  <a:lnTo>
                    <a:pt x="165" y="122"/>
                  </a:lnTo>
                  <a:lnTo>
                    <a:pt x="163" y="124"/>
                  </a:lnTo>
                  <a:lnTo>
                    <a:pt x="160" y="126"/>
                  </a:lnTo>
                  <a:lnTo>
                    <a:pt x="158" y="128"/>
                  </a:lnTo>
                  <a:lnTo>
                    <a:pt x="154" y="128"/>
                  </a:lnTo>
                  <a:lnTo>
                    <a:pt x="151" y="128"/>
                  </a:lnTo>
                  <a:lnTo>
                    <a:pt x="149" y="127"/>
                  </a:lnTo>
                  <a:lnTo>
                    <a:pt x="148" y="125"/>
                  </a:lnTo>
                  <a:lnTo>
                    <a:pt x="144" y="121"/>
                  </a:lnTo>
                  <a:lnTo>
                    <a:pt x="140" y="120"/>
                  </a:lnTo>
                  <a:lnTo>
                    <a:pt x="136" y="119"/>
                  </a:lnTo>
                  <a:lnTo>
                    <a:pt x="132" y="120"/>
                  </a:lnTo>
                  <a:lnTo>
                    <a:pt x="130" y="122"/>
                  </a:lnTo>
                  <a:lnTo>
                    <a:pt x="127" y="124"/>
                  </a:lnTo>
                  <a:lnTo>
                    <a:pt x="121" y="124"/>
                  </a:lnTo>
                  <a:lnTo>
                    <a:pt x="115" y="121"/>
                  </a:lnTo>
                  <a:lnTo>
                    <a:pt x="108" y="119"/>
                  </a:lnTo>
                  <a:lnTo>
                    <a:pt x="102" y="118"/>
                  </a:lnTo>
                  <a:lnTo>
                    <a:pt x="97" y="115"/>
                  </a:lnTo>
                  <a:lnTo>
                    <a:pt x="93" y="115"/>
                  </a:lnTo>
                  <a:lnTo>
                    <a:pt x="83" y="111"/>
                  </a:lnTo>
                  <a:lnTo>
                    <a:pt x="80" y="111"/>
                  </a:lnTo>
                  <a:lnTo>
                    <a:pt x="78" y="112"/>
                  </a:lnTo>
                  <a:lnTo>
                    <a:pt x="74" y="115"/>
                  </a:lnTo>
                  <a:lnTo>
                    <a:pt x="69" y="118"/>
                  </a:lnTo>
                  <a:lnTo>
                    <a:pt x="65" y="116"/>
                  </a:lnTo>
                  <a:lnTo>
                    <a:pt x="60" y="114"/>
                  </a:lnTo>
                  <a:lnTo>
                    <a:pt x="51" y="108"/>
                  </a:lnTo>
                  <a:lnTo>
                    <a:pt x="46" y="105"/>
                  </a:lnTo>
                  <a:lnTo>
                    <a:pt x="42" y="102"/>
                  </a:lnTo>
                  <a:lnTo>
                    <a:pt x="37" y="101"/>
                  </a:lnTo>
                  <a:lnTo>
                    <a:pt x="33" y="102"/>
                  </a:lnTo>
                  <a:lnTo>
                    <a:pt x="28" y="102"/>
                  </a:lnTo>
                  <a:lnTo>
                    <a:pt x="23" y="100"/>
                  </a:lnTo>
                  <a:lnTo>
                    <a:pt x="15" y="94"/>
                  </a:lnTo>
                  <a:lnTo>
                    <a:pt x="12" y="92"/>
                  </a:lnTo>
                  <a:lnTo>
                    <a:pt x="7" y="89"/>
                  </a:lnTo>
                  <a:lnTo>
                    <a:pt x="4" y="88"/>
                  </a:lnTo>
                  <a:lnTo>
                    <a:pt x="3" y="86"/>
                  </a:lnTo>
                  <a:lnTo>
                    <a:pt x="1" y="83"/>
                  </a:lnTo>
                  <a:lnTo>
                    <a:pt x="1" y="80"/>
                  </a:lnTo>
                  <a:lnTo>
                    <a:pt x="12" y="82"/>
                  </a:lnTo>
                  <a:lnTo>
                    <a:pt x="22" y="83"/>
                  </a:lnTo>
                  <a:lnTo>
                    <a:pt x="31" y="82"/>
                  </a:lnTo>
                  <a:lnTo>
                    <a:pt x="41" y="80"/>
                  </a:lnTo>
                  <a:lnTo>
                    <a:pt x="36" y="75"/>
                  </a:lnTo>
                  <a:lnTo>
                    <a:pt x="32" y="74"/>
                  </a:lnTo>
                  <a:lnTo>
                    <a:pt x="29" y="73"/>
                  </a:lnTo>
                  <a:lnTo>
                    <a:pt x="22" y="74"/>
                  </a:lnTo>
                  <a:lnTo>
                    <a:pt x="14" y="75"/>
                  </a:lnTo>
                  <a:lnTo>
                    <a:pt x="8" y="73"/>
                  </a:lnTo>
                  <a:lnTo>
                    <a:pt x="5" y="71"/>
                  </a:lnTo>
                  <a:lnTo>
                    <a:pt x="3" y="69"/>
                  </a:lnTo>
                  <a:lnTo>
                    <a:pt x="1" y="65"/>
                  </a:lnTo>
                  <a:lnTo>
                    <a:pt x="0" y="62"/>
                  </a:lnTo>
                  <a:lnTo>
                    <a:pt x="0" y="55"/>
                  </a:lnTo>
                  <a:lnTo>
                    <a:pt x="3" y="48"/>
                  </a:lnTo>
                  <a:lnTo>
                    <a:pt x="7" y="41"/>
                  </a:lnTo>
                  <a:lnTo>
                    <a:pt x="7" y="37"/>
                  </a:lnTo>
                  <a:lnTo>
                    <a:pt x="5" y="35"/>
                  </a:lnTo>
                  <a:lnTo>
                    <a:pt x="5" y="32"/>
                  </a:lnTo>
                  <a:lnTo>
                    <a:pt x="5" y="30"/>
                  </a:lnTo>
                  <a:lnTo>
                    <a:pt x="10" y="23"/>
                  </a:lnTo>
                  <a:lnTo>
                    <a:pt x="13" y="18"/>
                  </a:lnTo>
                  <a:lnTo>
                    <a:pt x="14" y="14"/>
                  </a:lnTo>
                  <a:lnTo>
                    <a:pt x="17" y="12"/>
                  </a:lnTo>
                  <a:lnTo>
                    <a:pt x="19" y="11"/>
                  </a:lnTo>
                  <a:lnTo>
                    <a:pt x="23" y="11"/>
                  </a:lnTo>
                  <a:lnTo>
                    <a:pt x="28" y="10"/>
                  </a:lnTo>
                  <a:lnTo>
                    <a:pt x="32" y="10"/>
                  </a:lnTo>
                  <a:lnTo>
                    <a:pt x="37" y="9"/>
                  </a:lnTo>
                  <a:lnTo>
                    <a:pt x="50" y="3"/>
                  </a:lnTo>
                  <a:lnTo>
                    <a:pt x="56" y="1"/>
                  </a:lnTo>
                  <a:lnTo>
                    <a:pt x="62" y="0"/>
                  </a:lnTo>
                  <a:lnTo>
                    <a:pt x="69" y="0"/>
                  </a:lnTo>
                  <a:lnTo>
                    <a:pt x="75" y="1"/>
                  </a:lnTo>
                  <a:lnTo>
                    <a:pt x="80" y="4"/>
                  </a:lnTo>
                  <a:lnTo>
                    <a:pt x="85" y="6"/>
                  </a:lnTo>
                  <a:lnTo>
                    <a:pt x="87" y="7"/>
                  </a:lnTo>
                  <a:lnTo>
                    <a:pt x="85" y="9"/>
                  </a:lnTo>
                  <a:lnTo>
                    <a:pt x="83" y="11"/>
                  </a:lnTo>
                  <a:lnTo>
                    <a:pt x="78" y="13"/>
                  </a:lnTo>
                  <a:lnTo>
                    <a:pt x="74" y="17"/>
                  </a:lnTo>
                  <a:lnTo>
                    <a:pt x="73" y="20"/>
                  </a:lnTo>
                  <a:lnTo>
                    <a:pt x="73" y="24"/>
                  </a:lnTo>
                  <a:lnTo>
                    <a:pt x="74" y="26"/>
                  </a:lnTo>
                  <a:lnTo>
                    <a:pt x="73" y="29"/>
                  </a:lnTo>
                  <a:lnTo>
                    <a:pt x="70" y="35"/>
                  </a:lnTo>
                  <a:lnTo>
                    <a:pt x="69" y="39"/>
                  </a:lnTo>
                  <a:lnTo>
                    <a:pt x="70" y="44"/>
                  </a:lnTo>
                  <a:lnTo>
                    <a:pt x="74" y="48"/>
                  </a:lnTo>
                  <a:lnTo>
                    <a:pt x="71" y="52"/>
                  </a:lnTo>
                  <a:lnTo>
                    <a:pt x="71" y="54"/>
                  </a:lnTo>
                  <a:lnTo>
                    <a:pt x="71" y="56"/>
                  </a:lnTo>
                  <a:lnTo>
                    <a:pt x="71" y="63"/>
                  </a:lnTo>
                  <a:lnTo>
                    <a:pt x="74" y="69"/>
                  </a:lnTo>
                  <a:lnTo>
                    <a:pt x="76" y="75"/>
                  </a:lnTo>
                  <a:lnTo>
                    <a:pt x="79" y="75"/>
                  </a:lnTo>
                  <a:lnTo>
                    <a:pt x="81" y="75"/>
                  </a:lnTo>
                  <a:lnTo>
                    <a:pt x="83" y="74"/>
                  </a:lnTo>
                  <a:lnTo>
                    <a:pt x="84" y="73"/>
                  </a:lnTo>
                  <a:lnTo>
                    <a:pt x="84" y="65"/>
                  </a:lnTo>
                  <a:lnTo>
                    <a:pt x="84" y="58"/>
                  </a:lnTo>
                  <a:lnTo>
                    <a:pt x="84" y="55"/>
                  </a:lnTo>
                  <a:lnTo>
                    <a:pt x="85" y="52"/>
                  </a:lnTo>
                  <a:lnTo>
                    <a:pt x="88" y="51"/>
                  </a:lnTo>
                  <a:lnTo>
                    <a:pt x="90" y="52"/>
                  </a:lnTo>
                  <a:lnTo>
                    <a:pt x="93" y="52"/>
                  </a:lnTo>
                  <a:lnTo>
                    <a:pt x="94" y="51"/>
                  </a:lnTo>
                  <a:lnTo>
                    <a:pt x="89" y="39"/>
                  </a:lnTo>
                  <a:lnTo>
                    <a:pt x="88" y="33"/>
                  </a:lnTo>
                  <a:lnTo>
                    <a:pt x="88" y="28"/>
                  </a:lnTo>
                  <a:lnTo>
                    <a:pt x="90" y="24"/>
                  </a:lnTo>
                  <a:lnTo>
                    <a:pt x="94" y="22"/>
                  </a:lnTo>
                  <a:lnTo>
                    <a:pt x="102" y="18"/>
                  </a:lnTo>
                  <a:lnTo>
                    <a:pt x="102" y="17"/>
                  </a:lnTo>
                  <a:lnTo>
                    <a:pt x="103" y="14"/>
                  </a:lnTo>
                  <a:lnTo>
                    <a:pt x="103" y="11"/>
                  </a:lnTo>
                  <a:lnTo>
                    <a:pt x="107" y="9"/>
                  </a:lnTo>
                  <a:lnTo>
                    <a:pt x="112" y="6"/>
                  </a:lnTo>
                  <a:lnTo>
                    <a:pt x="123" y="4"/>
                  </a:lnTo>
                  <a:lnTo>
                    <a:pt x="134" y="4"/>
                  </a:lnTo>
                  <a:lnTo>
                    <a:pt x="145" y="4"/>
                  </a:lnTo>
                  <a:lnTo>
                    <a:pt x="146" y="5"/>
                  </a:lnTo>
                  <a:lnTo>
                    <a:pt x="148" y="6"/>
                  </a:lnTo>
                  <a:lnTo>
                    <a:pt x="148" y="10"/>
                  </a:lnTo>
                  <a:lnTo>
                    <a:pt x="146" y="13"/>
                  </a:lnTo>
                  <a:lnTo>
                    <a:pt x="144" y="17"/>
                  </a:lnTo>
                  <a:lnTo>
                    <a:pt x="144" y="18"/>
                  </a:lnTo>
                  <a:lnTo>
                    <a:pt x="144" y="19"/>
                  </a:lnTo>
                  <a:lnTo>
                    <a:pt x="149" y="20"/>
                  </a:lnTo>
                  <a:lnTo>
                    <a:pt x="150" y="22"/>
                  </a:lnTo>
                  <a:lnTo>
                    <a:pt x="151" y="24"/>
                  </a:lnTo>
                  <a:lnTo>
                    <a:pt x="150" y="31"/>
                  </a:lnTo>
                  <a:lnTo>
                    <a:pt x="150" y="37"/>
                  </a:lnTo>
                  <a:lnTo>
                    <a:pt x="149" y="43"/>
                  </a:lnTo>
                  <a:lnTo>
                    <a:pt x="148" y="46"/>
                  </a:lnTo>
                  <a:lnTo>
                    <a:pt x="145" y="49"/>
                  </a:lnTo>
                  <a:lnTo>
                    <a:pt x="144" y="51"/>
                  </a:lnTo>
                  <a:lnTo>
                    <a:pt x="145" y="54"/>
                  </a:lnTo>
                  <a:lnTo>
                    <a:pt x="148" y="56"/>
                  </a:lnTo>
                  <a:lnTo>
                    <a:pt x="151" y="56"/>
                  </a:lnTo>
                  <a:lnTo>
                    <a:pt x="154" y="55"/>
                  </a:lnTo>
                  <a:lnTo>
                    <a:pt x="156" y="54"/>
                  </a:lnTo>
                  <a:lnTo>
                    <a:pt x="160" y="49"/>
                  </a:lnTo>
                  <a:lnTo>
                    <a:pt x="165" y="39"/>
                  </a:lnTo>
                  <a:lnTo>
                    <a:pt x="167" y="39"/>
                  </a:lnTo>
                  <a:lnTo>
                    <a:pt x="170" y="44"/>
                  </a:lnTo>
                  <a:lnTo>
                    <a:pt x="174" y="48"/>
                  </a:lnTo>
                  <a:lnTo>
                    <a:pt x="175" y="50"/>
                  </a:lnTo>
                  <a:lnTo>
                    <a:pt x="178" y="50"/>
                  </a:lnTo>
                  <a:lnTo>
                    <a:pt x="182" y="50"/>
                  </a:lnTo>
                  <a:lnTo>
                    <a:pt x="184" y="50"/>
                  </a:lnTo>
                  <a:lnTo>
                    <a:pt x="187" y="51"/>
                  </a:lnTo>
                  <a:lnTo>
                    <a:pt x="189" y="52"/>
                  </a:lnTo>
                  <a:lnTo>
                    <a:pt x="191" y="52"/>
                  </a:lnTo>
                  <a:lnTo>
                    <a:pt x="192" y="51"/>
                  </a:lnTo>
                  <a:lnTo>
                    <a:pt x="193" y="45"/>
                  </a:lnTo>
                  <a:lnTo>
                    <a:pt x="195" y="43"/>
                  </a:lnTo>
                  <a:lnTo>
                    <a:pt x="196" y="41"/>
                  </a:lnTo>
                  <a:lnTo>
                    <a:pt x="208" y="39"/>
                  </a:lnTo>
                  <a:lnTo>
                    <a:pt x="220" y="41"/>
                  </a:lnTo>
                  <a:lnTo>
                    <a:pt x="233" y="43"/>
                  </a:lnTo>
                  <a:lnTo>
                    <a:pt x="244" y="46"/>
                  </a:lnTo>
                  <a:lnTo>
                    <a:pt x="249" y="46"/>
                  </a:lnTo>
                  <a:lnTo>
                    <a:pt x="250" y="46"/>
                  </a:lnTo>
                  <a:lnTo>
                    <a:pt x="253" y="48"/>
                  </a:lnTo>
                  <a:lnTo>
                    <a:pt x="258" y="51"/>
                  </a:lnTo>
                  <a:lnTo>
                    <a:pt x="263" y="54"/>
                  </a:lnTo>
                  <a:lnTo>
                    <a:pt x="266" y="56"/>
                  </a:lnTo>
                  <a:lnTo>
                    <a:pt x="268" y="60"/>
                  </a:lnTo>
                  <a:lnTo>
                    <a:pt x="273" y="68"/>
                  </a:lnTo>
                  <a:lnTo>
                    <a:pt x="275" y="69"/>
                  </a:lnTo>
                  <a:lnTo>
                    <a:pt x="277" y="70"/>
                  </a:lnTo>
                  <a:lnTo>
                    <a:pt x="281" y="71"/>
                  </a:lnTo>
                  <a:lnTo>
                    <a:pt x="286" y="73"/>
                  </a:lnTo>
                  <a:lnTo>
                    <a:pt x="291" y="75"/>
                  </a:lnTo>
                  <a:lnTo>
                    <a:pt x="296" y="76"/>
                  </a:lnTo>
                  <a:lnTo>
                    <a:pt x="301" y="77"/>
                  </a:lnTo>
                  <a:lnTo>
                    <a:pt x="310" y="77"/>
                  </a:lnTo>
                  <a:lnTo>
                    <a:pt x="319" y="75"/>
                  </a:lnTo>
                  <a:lnTo>
                    <a:pt x="323" y="75"/>
                  </a:lnTo>
                  <a:lnTo>
                    <a:pt x="325" y="77"/>
                  </a:lnTo>
                  <a:lnTo>
                    <a:pt x="328" y="81"/>
                  </a:lnTo>
                  <a:lnTo>
                    <a:pt x="328" y="82"/>
                  </a:lnTo>
                  <a:lnTo>
                    <a:pt x="327" y="84"/>
                  </a:lnTo>
                  <a:lnTo>
                    <a:pt x="324" y="86"/>
                  </a:lnTo>
                  <a:lnTo>
                    <a:pt x="320" y="87"/>
                  </a:lnTo>
                  <a:lnTo>
                    <a:pt x="313" y="88"/>
                  </a:lnTo>
                  <a:lnTo>
                    <a:pt x="310" y="90"/>
                  </a:lnTo>
                  <a:lnTo>
                    <a:pt x="309" y="94"/>
                  </a:lnTo>
                  <a:lnTo>
                    <a:pt x="309" y="97"/>
                  </a:lnTo>
                  <a:lnTo>
                    <a:pt x="310" y="99"/>
                  </a:lnTo>
                  <a:lnTo>
                    <a:pt x="313" y="99"/>
                  </a:lnTo>
                  <a:lnTo>
                    <a:pt x="318" y="97"/>
                  </a:lnTo>
                  <a:lnTo>
                    <a:pt x="323" y="95"/>
                  </a:lnTo>
                  <a:lnTo>
                    <a:pt x="327" y="93"/>
                  </a:lnTo>
                  <a:lnTo>
                    <a:pt x="332" y="90"/>
                  </a:lnTo>
                  <a:lnTo>
                    <a:pt x="334" y="92"/>
                  </a:lnTo>
                  <a:lnTo>
                    <a:pt x="335" y="94"/>
                  </a:lnTo>
                  <a:lnTo>
                    <a:pt x="338" y="100"/>
                  </a:lnTo>
                  <a:lnTo>
                    <a:pt x="333" y="100"/>
                  </a:lnTo>
                  <a:lnTo>
                    <a:pt x="327" y="100"/>
                  </a:lnTo>
                  <a:lnTo>
                    <a:pt x="327" y="101"/>
                  </a:lnTo>
                  <a:lnTo>
                    <a:pt x="327" y="102"/>
                  </a:lnTo>
                  <a:lnTo>
                    <a:pt x="327" y="106"/>
                  </a:lnTo>
                  <a:lnTo>
                    <a:pt x="330" y="107"/>
                  </a:lnTo>
                  <a:lnTo>
                    <a:pt x="337" y="107"/>
                  </a:lnTo>
                  <a:lnTo>
                    <a:pt x="343" y="107"/>
                  </a:lnTo>
                  <a:lnTo>
                    <a:pt x="355" y="102"/>
                  </a:lnTo>
                  <a:lnTo>
                    <a:pt x="357" y="101"/>
                  </a:lnTo>
                  <a:lnTo>
                    <a:pt x="360" y="103"/>
                  </a:lnTo>
                  <a:lnTo>
                    <a:pt x="362" y="108"/>
                  </a:lnTo>
                  <a:lnTo>
                    <a:pt x="357" y="109"/>
                  </a:lnTo>
                  <a:lnTo>
                    <a:pt x="353" y="109"/>
                  </a:lnTo>
                  <a:lnTo>
                    <a:pt x="348" y="111"/>
                  </a:lnTo>
                  <a:lnTo>
                    <a:pt x="344" y="112"/>
                  </a:lnTo>
                  <a:lnTo>
                    <a:pt x="348" y="114"/>
                  </a:lnTo>
                  <a:lnTo>
                    <a:pt x="353" y="115"/>
                  </a:lnTo>
                  <a:lnTo>
                    <a:pt x="358" y="114"/>
                  </a:lnTo>
                  <a:lnTo>
                    <a:pt x="362" y="113"/>
                  </a:lnTo>
                  <a:lnTo>
                    <a:pt x="371" y="108"/>
                  </a:lnTo>
                  <a:lnTo>
                    <a:pt x="376" y="107"/>
                  </a:lnTo>
                  <a:lnTo>
                    <a:pt x="380" y="107"/>
                  </a:lnTo>
                  <a:lnTo>
                    <a:pt x="382" y="108"/>
                  </a:lnTo>
                  <a:lnTo>
                    <a:pt x="385" y="112"/>
                  </a:lnTo>
                  <a:lnTo>
                    <a:pt x="389" y="120"/>
                  </a:lnTo>
                  <a:lnTo>
                    <a:pt x="389" y="121"/>
                  </a:lnTo>
                  <a:lnTo>
                    <a:pt x="388" y="121"/>
                  </a:lnTo>
                  <a:lnTo>
                    <a:pt x="384" y="122"/>
                  </a:lnTo>
                  <a:lnTo>
                    <a:pt x="375" y="124"/>
                  </a:lnTo>
                  <a:lnTo>
                    <a:pt x="372" y="126"/>
                  </a:lnTo>
                  <a:lnTo>
                    <a:pt x="368" y="128"/>
                  </a:lnTo>
                  <a:lnTo>
                    <a:pt x="370" y="129"/>
                  </a:lnTo>
                  <a:lnTo>
                    <a:pt x="371" y="131"/>
                  </a:lnTo>
                  <a:lnTo>
                    <a:pt x="372" y="131"/>
                  </a:lnTo>
                  <a:lnTo>
                    <a:pt x="374" y="131"/>
                  </a:lnTo>
                  <a:lnTo>
                    <a:pt x="376" y="128"/>
                  </a:lnTo>
                  <a:lnTo>
                    <a:pt x="377" y="128"/>
                  </a:lnTo>
                  <a:lnTo>
                    <a:pt x="380" y="128"/>
                  </a:lnTo>
                  <a:lnTo>
                    <a:pt x="384" y="129"/>
                  </a:lnTo>
                  <a:lnTo>
                    <a:pt x="386" y="132"/>
                  </a:lnTo>
                  <a:lnTo>
                    <a:pt x="393" y="138"/>
                  </a:lnTo>
                  <a:lnTo>
                    <a:pt x="389" y="139"/>
                  </a:lnTo>
                  <a:lnTo>
                    <a:pt x="384" y="140"/>
                  </a:lnTo>
                  <a:lnTo>
                    <a:pt x="379" y="140"/>
                  </a:lnTo>
                  <a:lnTo>
                    <a:pt x="375" y="141"/>
                  </a:lnTo>
                  <a:lnTo>
                    <a:pt x="374" y="144"/>
                  </a:lnTo>
                  <a:lnTo>
                    <a:pt x="374" y="147"/>
                  </a:lnTo>
                  <a:lnTo>
                    <a:pt x="372" y="154"/>
                  </a:lnTo>
                  <a:lnTo>
                    <a:pt x="372" y="157"/>
                  </a:lnTo>
                  <a:lnTo>
                    <a:pt x="374" y="159"/>
                  </a:lnTo>
                  <a:lnTo>
                    <a:pt x="376" y="160"/>
                  </a:lnTo>
                  <a:lnTo>
                    <a:pt x="380" y="161"/>
                  </a:lnTo>
                  <a:lnTo>
                    <a:pt x="386" y="163"/>
                  </a:lnTo>
                  <a:lnTo>
                    <a:pt x="394" y="164"/>
                  </a:lnTo>
                  <a:lnTo>
                    <a:pt x="395" y="164"/>
                  </a:lnTo>
                  <a:lnTo>
                    <a:pt x="396" y="164"/>
                  </a:lnTo>
                  <a:lnTo>
                    <a:pt x="394" y="167"/>
                  </a:lnTo>
                  <a:lnTo>
                    <a:pt x="393" y="170"/>
                  </a:lnTo>
                  <a:lnTo>
                    <a:pt x="393" y="173"/>
                  </a:lnTo>
                  <a:lnTo>
                    <a:pt x="394" y="175"/>
                  </a:lnTo>
                  <a:lnTo>
                    <a:pt x="396" y="175"/>
                  </a:lnTo>
                  <a:lnTo>
                    <a:pt x="403" y="176"/>
                  </a:lnTo>
                  <a:lnTo>
                    <a:pt x="407" y="177"/>
                  </a:lnTo>
                  <a:lnTo>
                    <a:pt x="409" y="179"/>
                  </a:lnTo>
                  <a:lnTo>
                    <a:pt x="412" y="180"/>
                  </a:lnTo>
                  <a:lnTo>
                    <a:pt x="413" y="180"/>
                  </a:lnTo>
                  <a:lnTo>
                    <a:pt x="417" y="179"/>
                  </a:lnTo>
                  <a:lnTo>
                    <a:pt x="419" y="177"/>
                  </a:lnTo>
                  <a:lnTo>
                    <a:pt x="423" y="177"/>
                  </a:lnTo>
                  <a:lnTo>
                    <a:pt x="429" y="178"/>
                  </a:lnTo>
                  <a:lnTo>
                    <a:pt x="436" y="182"/>
                  </a:lnTo>
                  <a:lnTo>
                    <a:pt x="437" y="184"/>
                  </a:lnTo>
                  <a:lnTo>
                    <a:pt x="438" y="186"/>
                  </a:lnTo>
                  <a:lnTo>
                    <a:pt x="438" y="189"/>
                  </a:lnTo>
                  <a:lnTo>
                    <a:pt x="438" y="192"/>
                  </a:lnTo>
                  <a:lnTo>
                    <a:pt x="440" y="194"/>
                  </a:lnTo>
                  <a:lnTo>
                    <a:pt x="441" y="196"/>
                  </a:lnTo>
                  <a:lnTo>
                    <a:pt x="443" y="197"/>
                  </a:lnTo>
                  <a:lnTo>
                    <a:pt x="447" y="197"/>
                  </a:lnTo>
                  <a:lnTo>
                    <a:pt x="450" y="196"/>
                  </a:lnTo>
                  <a:lnTo>
                    <a:pt x="452" y="196"/>
                  </a:lnTo>
                  <a:lnTo>
                    <a:pt x="454" y="197"/>
                  </a:lnTo>
                  <a:lnTo>
                    <a:pt x="452" y="199"/>
                  </a:lnTo>
                  <a:lnTo>
                    <a:pt x="451" y="201"/>
                  </a:lnTo>
                  <a:lnTo>
                    <a:pt x="450" y="203"/>
                  </a:lnTo>
                  <a:lnTo>
                    <a:pt x="451" y="205"/>
                  </a:lnTo>
                  <a:lnTo>
                    <a:pt x="451" y="207"/>
                  </a:lnTo>
                  <a:lnTo>
                    <a:pt x="452" y="207"/>
                  </a:lnTo>
                  <a:lnTo>
                    <a:pt x="460" y="205"/>
                  </a:lnTo>
                  <a:lnTo>
                    <a:pt x="464" y="207"/>
                  </a:lnTo>
                  <a:lnTo>
                    <a:pt x="466" y="207"/>
                  </a:lnTo>
                  <a:lnTo>
                    <a:pt x="469" y="208"/>
                  </a:lnTo>
                  <a:lnTo>
                    <a:pt x="471" y="208"/>
                  </a:lnTo>
                  <a:lnTo>
                    <a:pt x="480" y="202"/>
                  </a:lnTo>
                  <a:lnTo>
                    <a:pt x="484" y="201"/>
                  </a:lnTo>
                  <a:lnTo>
                    <a:pt x="488" y="201"/>
                  </a:lnTo>
                  <a:lnTo>
                    <a:pt x="489" y="203"/>
                  </a:lnTo>
                  <a:lnTo>
                    <a:pt x="490" y="205"/>
                  </a:lnTo>
                  <a:lnTo>
                    <a:pt x="493" y="211"/>
                  </a:lnTo>
                  <a:lnTo>
                    <a:pt x="493" y="214"/>
                  </a:lnTo>
                  <a:lnTo>
                    <a:pt x="492" y="215"/>
                  </a:lnTo>
                  <a:lnTo>
                    <a:pt x="488" y="216"/>
                  </a:lnTo>
                  <a:lnTo>
                    <a:pt x="483" y="217"/>
                  </a:lnTo>
                  <a:lnTo>
                    <a:pt x="479" y="218"/>
                  </a:lnTo>
                  <a:lnTo>
                    <a:pt x="478" y="220"/>
                  </a:lnTo>
                  <a:lnTo>
                    <a:pt x="479" y="222"/>
                  </a:lnTo>
                  <a:lnTo>
                    <a:pt x="480" y="224"/>
                  </a:lnTo>
                  <a:lnTo>
                    <a:pt x="479" y="227"/>
                  </a:lnTo>
                  <a:lnTo>
                    <a:pt x="476" y="228"/>
                  </a:lnTo>
                  <a:lnTo>
                    <a:pt x="475" y="229"/>
                  </a:lnTo>
                  <a:lnTo>
                    <a:pt x="475" y="230"/>
                  </a:lnTo>
                  <a:lnTo>
                    <a:pt x="476" y="233"/>
                  </a:lnTo>
                  <a:lnTo>
                    <a:pt x="479" y="234"/>
                  </a:lnTo>
                  <a:lnTo>
                    <a:pt x="480" y="235"/>
                  </a:lnTo>
                  <a:lnTo>
                    <a:pt x="480" y="237"/>
                  </a:lnTo>
                  <a:lnTo>
                    <a:pt x="476" y="240"/>
                  </a:lnTo>
                  <a:lnTo>
                    <a:pt x="473" y="240"/>
                  </a:lnTo>
                  <a:lnTo>
                    <a:pt x="468" y="240"/>
                  </a:lnTo>
                  <a:lnTo>
                    <a:pt x="462" y="237"/>
                  </a:lnTo>
                  <a:lnTo>
                    <a:pt x="461" y="237"/>
                  </a:lnTo>
                  <a:lnTo>
                    <a:pt x="460" y="237"/>
                  </a:lnTo>
                  <a:lnTo>
                    <a:pt x="460" y="239"/>
                  </a:lnTo>
                  <a:lnTo>
                    <a:pt x="461" y="241"/>
                  </a:lnTo>
                  <a:lnTo>
                    <a:pt x="462" y="242"/>
                  </a:lnTo>
                  <a:lnTo>
                    <a:pt x="464" y="243"/>
                  </a:lnTo>
                  <a:lnTo>
                    <a:pt x="464" y="244"/>
                  </a:lnTo>
                  <a:lnTo>
                    <a:pt x="462" y="246"/>
                  </a:lnTo>
                  <a:lnTo>
                    <a:pt x="461" y="247"/>
                  </a:lnTo>
                  <a:lnTo>
                    <a:pt x="459" y="248"/>
                  </a:lnTo>
                  <a:lnTo>
                    <a:pt x="459" y="249"/>
                  </a:lnTo>
                  <a:lnTo>
                    <a:pt x="461" y="252"/>
                  </a:lnTo>
                  <a:lnTo>
                    <a:pt x="462" y="254"/>
                  </a:lnTo>
                  <a:lnTo>
                    <a:pt x="462" y="256"/>
                  </a:lnTo>
                  <a:lnTo>
                    <a:pt x="461" y="258"/>
                  </a:lnTo>
                  <a:lnTo>
                    <a:pt x="459" y="260"/>
                  </a:lnTo>
                  <a:lnTo>
                    <a:pt x="459" y="263"/>
                  </a:lnTo>
                  <a:lnTo>
                    <a:pt x="459" y="265"/>
                  </a:lnTo>
                  <a:lnTo>
                    <a:pt x="457" y="265"/>
                  </a:lnTo>
                  <a:lnTo>
                    <a:pt x="456" y="265"/>
                  </a:lnTo>
                  <a:lnTo>
                    <a:pt x="455" y="265"/>
                  </a:lnTo>
                  <a:lnTo>
                    <a:pt x="452" y="262"/>
                  </a:lnTo>
                  <a:lnTo>
                    <a:pt x="451" y="259"/>
                  </a:lnTo>
                  <a:lnTo>
                    <a:pt x="448" y="256"/>
                  </a:lnTo>
                  <a:lnTo>
                    <a:pt x="447" y="255"/>
                  </a:lnTo>
                  <a:lnTo>
                    <a:pt x="443" y="254"/>
                  </a:lnTo>
                  <a:lnTo>
                    <a:pt x="442" y="254"/>
                  </a:lnTo>
                  <a:lnTo>
                    <a:pt x="440" y="254"/>
                  </a:lnTo>
                  <a:lnTo>
                    <a:pt x="438" y="254"/>
                  </a:lnTo>
                  <a:lnTo>
                    <a:pt x="437" y="253"/>
                  </a:lnTo>
                  <a:lnTo>
                    <a:pt x="435" y="249"/>
                  </a:lnTo>
                  <a:lnTo>
                    <a:pt x="432" y="246"/>
                  </a:lnTo>
                  <a:lnTo>
                    <a:pt x="431" y="242"/>
                  </a:lnTo>
                  <a:lnTo>
                    <a:pt x="429" y="237"/>
                  </a:lnTo>
                  <a:lnTo>
                    <a:pt x="429" y="234"/>
                  </a:lnTo>
                  <a:lnTo>
                    <a:pt x="431" y="229"/>
                  </a:lnTo>
                  <a:lnTo>
                    <a:pt x="433" y="226"/>
                  </a:lnTo>
                  <a:lnTo>
                    <a:pt x="436" y="221"/>
                  </a:lnTo>
                  <a:lnTo>
                    <a:pt x="431" y="223"/>
                  </a:lnTo>
                  <a:lnTo>
                    <a:pt x="427" y="226"/>
                  </a:lnTo>
                  <a:lnTo>
                    <a:pt x="422" y="229"/>
                  </a:lnTo>
                  <a:lnTo>
                    <a:pt x="418" y="231"/>
                  </a:lnTo>
                  <a:lnTo>
                    <a:pt x="417" y="231"/>
                  </a:lnTo>
                  <a:lnTo>
                    <a:pt x="415" y="231"/>
                  </a:lnTo>
                  <a:lnTo>
                    <a:pt x="413" y="229"/>
                  </a:lnTo>
                  <a:lnTo>
                    <a:pt x="413" y="226"/>
                  </a:lnTo>
                  <a:lnTo>
                    <a:pt x="415" y="221"/>
                  </a:lnTo>
                  <a:lnTo>
                    <a:pt x="414" y="221"/>
                  </a:lnTo>
                  <a:lnTo>
                    <a:pt x="414" y="220"/>
                  </a:lnTo>
                  <a:lnTo>
                    <a:pt x="409" y="220"/>
                  </a:lnTo>
                  <a:lnTo>
                    <a:pt x="403" y="220"/>
                  </a:lnTo>
                  <a:lnTo>
                    <a:pt x="398" y="217"/>
                  </a:lnTo>
                  <a:lnTo>
                    <a:pt x="393" y="215"/>
                  </a:lnTo>
                  <a:lnTo>
                    <a:pt x="389" y="214"/>
                  </a:lnTo>
                  <a:lnTo>
                    <a:pt x="385" y="214"/>
                  </a:lnTo>
                  <a:lnTo>
                    <a:pt x="382" y="216"/>
                  </a:lnTo>
                  <a:lnTo>
                    <a:pt x="380" y="218"/>
                  </a:lnTo>
                  <a:lnTo>
                    <a:pt x="380" y="222"/>
                  </a:lnTo>
                  <a:lnTo>
                    <a:pt x="381" y="224"/>
                  </a:lnTo>
                  <a:lnTo>
                    <a:pt x="382" y="227"/>
                  </a:lnTo>
                  <a:lnTo>
                    <a:pt x="381" y="229"/>
                  </a:lnTo>
                  <a:lnTo>
                    <a:pt x="380" y="234"/>
                  </a:lnTo>
                  <a:lnTo>
                    <a:pt x="380" y="237"/>
                  </a:lnTo>
                  <a:lnTo>
                    <a:pt x="381" y="241"/>
                  </a:lnTo>
                  <a:lnTo>
                    <a:pt x="382" y="242"/>
                  </a:lnTo>
                  <a:lnTo>
                    <a:pt x="385" y="242"/>
                  </a:lnTo>
                  <a:lnTo>
                    <a:pt x="389" y="242"/>
                  </a:lnTo>
                  <a:lnTo>
                    <a:pt x="390" y="243"/>
                  </a:lnTo>
                  <a:lnTo>
                    <a:pt x="391" y="244"/>
                  </a:lnTo>
                  <a:lnTo>
                    <a:pt x="395" y="250"/>
                  </a:lnTo>
                  <a:lnTo>
                    <a:pt x="400" y="256"/>
                  </a:lnTo>
                  <a:lnTo>
                    <a:pt x="405" y="261"/>
                  </a:lnTo>
                  <a:lnTo>
                    <a:pt x="412" y="265"/>
                  </a:lnTo>
                  <a:lnTo>
                    <a:pt x="415" y="266"/>
                  </a:lnTo>
                  <a:lnTo>
                    <a:pt x="421" y="265"/>
                  </a:lnTo>
                  <a:lnTo>
                    <a:pt x="424" y="265"/>
                  </a:lnTo>
                  <a:lnTo>
                    <a:pt x="428" y="266"/>
                  </a:lnTo>
                  <a:lnTo>
                    <a:pt x="429" y="267"/>
                  </a:lnTo>
                  <a:lnTo>
                    <a:pt x="428" y="269"/>
                  </a:lnTo>
                  <a:lnTo>
                    <a:pt x="427" y="273"/>
                  </a:lnTo>
                  <a:lnTo>
                    <a:pt x="427" y="275"/>
                  </a:lnTo>
                  <a:lnTo>
                    <a:pt x="427" y="278"/>
                  </a:lnTo>
                  <a:lnTo>
                    <a:pt x="428" y="280"/>
                  </a:lnTo>
                  <a:lnTo>
                    <a:pt x="436" y="290"/>
                  </a:lnTo>
                  <a:lnTo>
                    <a:pt x="441" y="292"/>
                  </a:lnTo>
                  <a:lnTo>
                    <a:pt x="441" y="294"/>
                  </a:lnTo>
                  <a:lnTo>
                    <a:pt x="441" y="297"/>
                  </a:lnTo>
                  <a:lnTo>
                    <a:pt x="445" y="301"/>
                  </a:lnTo>
                  <a:lnTo>
                    <a:pt x="447" y="305"/>
                  </a:lnTo>
                  <a:lnTo>
                    <a:pt x="448" y="310"/>
                  </a:lnTo>
                  <a:lnTo>
                    <a:pt x="448" y="311"/>
                  </a:lnTo>
                  <a:lnTo>
                    <a:pt x="446" y="310"/>
                  </a:lnTo>
                  <a:lnTo>
                    <a:pt x="441" y="30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4" name="Freeform 963"/>
            <p:cNvSpPr>
              <a:spLocks/>
            </p:cNvSpPr>
            <p:nvPr/>
          </p:nvSpPr>
          <p:spPr bwMode="auto">
            <a:xfrm>
              <a:off x="2389190" y="1992317"/>
              <a:ext cx="39687" cy="52387"/>
            </a:xfrm>
            <a:custGeom>
              <a:avLst/>
              <a:gdLst>
                <a:gd name="T0" fmla="*/ 2147483647 w 28"/>
                <a:gd name="T1" fmla="*/ 2147483647 h 33"/>
                <a:gd name="T2" fmla="*/ 2147483647 w 28"/>
                <a:gd name="T3" fmla="*/ 2147483647 h 33"/>
                <a:gd name="T4" fmla="*/ 2147483647 w 28"/>
                <a:gd name="T5" fmla="*/ 2147483647 h 33"/>
                <a:gd name="T6" fmla="*/ 2147483647 w 28"/>
                <a:gd name="T7" fmla="*/ 2147483647 h 33"/>
                <a:gd name="T8" fmla="*/ 2147483647 w 28"/>
                <a:gd name="T9" fmla="*/ 2147483647 h 33"/>
                <a:gd name="T10" fmla="*/ 2147483647 w 28"/>
                <a:gd name="T11" fmla="*/ 2147483647 h 33"/>
                <a:gd name="T12" fmla="*/ 2147483647 w 28"/>
                <a:gd name="T13" fmla="*/ 2147483647 h 33"/>
                <a:gd name="T14" fmla="*/ 2147483647 w 28"/>
                <a:gd name="T15" fmla="*/ 2147483647 h 33"/>
                <a:gd name="T16" fmla="*/ 2147483647 w 28"/>
                <a:gd name="T17" fmla="*/ 2147483647 h 33"/>
                <a:gd name="T18" fmla="*/ 2147483647 w 28"/>
                <a:gd name="T19" fmla="*/ 2147483647 h 33"/>
                <a:gd name="T20" fmla="*/ 2147483647 w 28"/>
                <a:gd name="T21" fmla="*/ 2147483647 h 33"/>
                <a:gd name="T22" fmla="*/ 2147483647 w 28"/>
                <a:gd name="T23" fmla="*/ 2147483647 h 33"/>
                <a:gd name="T24" fmla="*/ 2147483647 w 28"/>
                <a:gd name="T25" fmla="*/ 2147483647 h 33"/>
                <a:gd name="T26" fmla="*/ 2147483647 w 28"/>
                <a:gd name="T27" fmla="*/ 0 h 33"/>
                <a:gd name="T28" fmla="*/ 2147483647 w 28"/>
                <a:gd name="T29" fmla="*/ 0 h 33"/>
                <a:gd name="T30" fmla="*/ 2147483647 w 28"/>
                <a:gd name="T31" fmla="*/ 2147483647 h 33"/>
                <a:gd name="T32" fmla="*/ 2147483647 w 28"/>
                <a:gd name="T33" fmla="*/ 2147483647 h 33"/>
                <a:gd name="T34" fmla="*/ 2147483647 w 28"/>
                <a:gd name="T35" fmla="*/ 2147483647 h 33"/>
                <a:gd name="T36" fmla="*/ 2147483647 w 28"/>
                <a:gd name="T37" fmla="*/ 0 h 33"/>
                <a:gd name="T38" fmla="*/ 2147483647 w 28"/>
                <a:gd name="T39" fmla="*/ 2147483647 h 33"/>
                <a:gd name="T40" fmla="*/ 2147483647 w 28"/>
                <a:gd name="T41" fmla="*/ 2147483647 h 33"/>
                <a:gd name="T42" fmla="*/ 2147483647 w 28"/>
                <a:gd name="T43" fmla="*/ 2147483647 h 33"/>
                <a:gd name="T44" fmla="*/ 2147483647 w 28"/>
                <a:gd name="T45" fmla="*/ 2147483647 h 33"/>
                <a:gd name="T46" fmla="*/ 2147483647 w 28"/>
                <a:gd name="T47" fmla="*/ 2147483647 h 33"/>
                <a:gd name="T48" fmla="*/ 0 w 28"/>
                <a:gd name="T49" fmla="*/ 2147483647 h 33"/>
                <a:gd name="T50" fmla="*/ 0 w 28"/>
                <a:gd name="T51" fmla="*/ 2147483647 h 33"/>
                <a:gd name="T52" fmla="*/ 0 w 28"/>
                <a:gd name="T53" fmla="*/ 2147483647 h 33"/>
                <a:gd name="T54" fmla="*/ 2147483647 w 28"/>
                <a:gd name="T55" fmla="*/ 2147483647 h 33"/>
                <a:gd name="T56" fmla="*/ 2147483647 w 28"/>
                <a:gd name="T57" fmla="*/ 2147483647 h 33"/>
                <a:gd name="T58" fmla="*/ 2147483647 w 28"/>
                <a:gd name="T59" fmla="*/ 2147483647 h 33"/>
                <a:gd name="T60" fmla="*/ 2147483647 w 28"/>
                <a:gd name="T61" fmla="*/ 2147483647 h 33"/>
                <a:gd name="T62" fmla="*/ 2147483647 w 28"/>
                <a:gd name="T63" fmla="*/ 2147483647 h 33"/>
                <a:gd name="T64" fmla="*/ 2147483647 w 28"/>
                <a:gd name="T65" fmla="*/ 2147483647 h 33"/>
                <a:gd name="T66" fmla="*/ 2147483647 w 28"/>
                <a:gd name="T67" fmla="*/ 2147483647 h 33"/>
                <a:gd name="T68" fmla="*/ 2147483647 w 28"/>
                <a:gd name="T69" fmla="*/ 2147483647 h 33"/>
                <a:gd name="T70" fmla="*/ 2147483647 w 28"/>
                <a:gd name="T71" fmla="*/ 2147483647 h 33"/>
                <a:gd name="T72" fmla="*/ 2147483647 w 28"/>
                <a:gd name="T73" fmla="*/ 2147483647 h 33"/>
                <a:gd name="T74" fmla="*/ 2147483647 w 28"/>
                <a:gd name="T75" fmla="*/ 2147483647 h 33"/>
                <a:gd name="T76" fmla="*/ 2147483647 w 28"/>
                <a:gd name="T77" fmla="*/ 2147483647 h 33"/>
                <a:gd name="T78" fmla="*/ 2147483647 w 28"/>
                <a:gd name="T79" fmla="*/ 2147483647 h 33"/>
                <a:gd name="T80" fmla="*/ 2147483647 w 28"/>
                <a:gd name="T81" fmla="*/ 2147483647 h 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
                <a:gd name="T124" fmla="*/ 0 h 33"/>
                <a:gd name="T125" fmla="*/ 28 w 28"/>
                <a:gd name="T126" fmla="*/ 33 h 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 h="33">
                  <a:moveTo>
                    <a:pt x="25" y="27"/>
                  </a:moveTo>
                  <a:lnTo>
                    <a:pt x="25" y="27"/>
                  </a:lnTo>
                  <a:lnTo>
                    <a:pt x="27" y="23"/>
                  </a:lnTo>
                  <a:lnTo>
                    <a:pt x="28" y="21"/>
                  </a:lnTo>
                  <a:lnTo>
                    <a:pt x="27" y="19"/>
                  </a:lnTo>
                  <a:lnTo>
                    <a:pt x="25" y="12"/>
                  </a:lnTo>
                  <a:lnTo>
                    <a:pt x="23" y="9"/>
                  </a:lnTo>
                  <a:lnTo>
                    <a:pt x="25" y="4"/>
                  </a:lnTo>
                  <a:lnTo>
                    <a:pt x="25" y="3"/>
                  </a:lnTo>
                  <a:lnTo>
                    <a:pt x="25" y="2"/>
                  </a:lnTo>
                  <a:lnTo>
                    <a:pt x="22" y="0"/>
                  </a:lnTo>
                  <a:lnTo>
                    <a:pt x="20" y="0"/>
                  </a:lnTo>
                  <a:lnTo>
                    <a:pt x="17" y="2"/>
                  </a:lnTo>
                  <a:lnTo>
                    <a:pt x="16" y="2"/>
                  </a:lnTo>
                  <a:lnTo>
                    <a:pt x="12" y="0"/>
                  </a:lnTo>
                  <a:lnTo>
                    <a:pt x="9" y="2"/>
                  </a:lnTo>
                  <a:lnTo>
                    <a:pt x="6" y="5"/>
                  </a:lnTo>
                  <a:lnTo>
                    <a:pt x="2" y="9"/>
                  </a:lnTo>
                  <a:lnTo>
                    <a:pt x="0" y="11"/>
                  </a:lnTo>
                  <a:lnTo>
                    <a:pt x="0" y="12"/>
                  </a:lnTo>
                  <a:lnTo>
                    <a:pt x="4" y="19"/>
                  </a:lnTo>
                  <a:lnTo>
                    <a:pt x="6" y="28"/>
                  </a:lnTo>
                  <a:lnTo>
                    <a:pt x="7" y="29"/>
                  </a:lnTo>
                  <a:lnTo>
                    <a:pt x="11" y="29"/>
                  </a:lnTo>
                  <a:lnTo>
                    <a:pt x="13" y="30"/>
                  </a:lnTo>
                  <a:lnTo>
                    <a:pt x="18" y="33"/>
                  </a:lnTo>
                  <a:lnTo>
                    <a:pt x="21" y="33"/>
                  </a:lnTo>
                  <a:lnTo>
                    <a:pt x="22" y="31"/>
                  </a:lnTo>
                  <a:lnTo>
                    <a:pt x="23" y="29"/>
                  </a:lnTo>
                  <a:lnTo>
                    <a:pt x="25" y="2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5" name="Freeform 964"/>
            <p:cNvSpPr>
              <a:spLocks/>
            </p:cNvSpPr>
            <p:nvPr/>
          </p:nvSpPr>
          <p:spPr bwMode="auto">
            <a:xfrm>
              <a:off x="2082804" y="1735138"/>
              <a:ext cx="722313" cy="557212"/>
            </a:xfrm>
            <a:custGeom>
              <a:avLst/>
              <a:gdLst>
                <a:gd name="T0" fmla="*/ 2147483647 w 493"/>
                <a:gd name="T1" fmla="*/ 2147483647 h 351"/>
                <a:gd name="T2" fmla="*/ 2147483647 w 493"/>
                <a:gd name="T3" fmla="*/ 2147483647 h 351"/>
                <a:gd name="T4" fmla="*/ 2147483647 w 493"/>
                <a:gd name="T5" fmla="*/ 2147483647 h 351"/>
                <a:gd name="T6" fmla="*/ 2147483647 w 493"/>
                <a:gd name="T7" fmla="*/ 2147483647 h 351"/>
                <a:gd name="T8" fmla="*/ 2147483647 w 493"/>
                <a:gd name="T9" fmla="*/ 2147483647 h 351"/>
                <a:gd name="T10" fmla="*/ 2147483647 w 493"/>
                <a:gd name="T11" fmla="*/ 2147483647 h 351"/>
                <a:gd name="T12" fmla="*/ 2147483647 w 493"/>
                <a:gd name="T13" fmla="*/ 2147483647 h 351"/>
                <a:gd name="T14" fmla="*/ 2147483647 w 493"/>
                <a:gd name="T15" fmla="*/ 2147483647 h 351"/>
                <a:gd name="T16" fmla="*/ 2147483647 w 493"/>
                <a:gd name="T17" fmla="*/ 2147483647 h 351"/>
                <a:gd name="T18" fmla="*/ 2147483647 w 493"/>
                <a:gd name="T19" fmla="*/ 2147483647 h 351"/>
                <a:gd name="T20" fmla="*/ 2147483647 w 493"/>
                <a:gd name="T21" fmla="*/ 2147483647 h 351"/>
                <a:gd name="T22" fmla="*/ 2147483647 w 493"/>
                <a:gd name="T23" fmla="*/ 2147483647 h 351"/>
                <a:gd name="T24" fmla="*/ 2147483647 w 493"/>
                <a:gd name="T25" fmla="*/ 2147483647 h 351"/>
                <a:gd name="T26" fmla="*/ 2147483647 w 493"/>
                <a:gd name="T27" fmla="*/ 2147483647 h 351"/>
                <a:gd name="T28" fmla="*/ 2147483647 w 493"/>
                <a:gd name="T29" fmla="*/ 2147483647 h 351"/>
                <a:gd name="T30" fmla="*/ 2147483647 w 493"/>
                <a:gd name="T31" fmla="*/ 2147483647 h 351"/>
                <a:gd name="T32" fmla="*/ 2147483647 w 493"/>
                <a:gd name="T33" fmla="*/ 2147483647 h 351"/>
                <a:gd name="T34" fmla="*/ 2147483647 w 493"/>
                <a:gd name="T35" fmla="*/ 2147483647 h 351"/>
                <a:gd name="T36" fmla="*/ 2147483647 w 493"/>
                <a:gd name="T37" fmla="*/ 2147483647 h 351"/>
                <a:gd name="T38" fmla="*/ 2147483647 w 493"/>
                <a:gd name="T39" fmla="*/ 2147483647 h 351"/>
                <a:gd name="T40" fmla="*/ 2147483647 w 493"/>
                <a:gd name="T41" fmla="*/ 2147483647 h 351"/>
                <a:gd name="T42" fmla="*/ 2147483647 w 493"/>
                <a:gd name="T43" fmla="*/ 2147483647 h 351"/>
                <a:gd name="T44" fmla="*/ 2147483647 w 493"/>
                <a:gd name="T45" fmla="*/ 2147483647 h 351"/>
                <a:gd name="T46" fmla="*/ 2147483647 w 493"/>
                <a:gd name="T47" fmla="*/ 2147483647 h 351"/>
                <a:gd name="T48" fmla="*/ 2147483647 w 493"/>
                <a:gd name="T49" fmla="*/ 2147483647 h 351"/>
                <a:gd name="T50" fmla="*/ 2147483647 w 493"/>
                <a:gd name="T51" fmla="*/ 2147483647 h 351"/>
                <a:gd name="T52" fmla="*/ 2147483647 w 493"/>
                <a:gd name="T53" fmla="*/ 2147483647 h 351"/>
                <a:gd name="T54" fmla="*/ 2147483647 w 493"/>
                <a:gd name="T55" fmla="*/ 2147483647 h 351"/>
                <a:gd name="T56" fmla="*/ 2147483647 w 493"/>
                <a:gd name="T57" fmla="*/ 2147483647 h 351"/>
                <a:gd name="T58" fmla="*/ 2147483647 w 493"/>
                <a:gd name="T59" fmla="*/ 2147483647 h 351"/>
                <a:gd name="T60" fmla="*/ 2147483647 w 493"/>
                <a:gd name="T61" fmla="*/ 2147483647 h 351"/>
                <a:gd name="T62" fmla="*/ 2147483647 w 493"/>
                <a:gd name="T63" fmla="*/ 2147483647 h 351"/>
                <a:gd name="T64" fmla="*/ 2147483647 w 493"/>
                <a:gd name="T65" fmla="*/ 2147483647 h 351"/>
                <a:gd name="T66" fmla="*/ 2147483647 w 493"/>
                <a:gd name="T67" fmla="*/ 2147483647 h 351"/>
                <a:gd name="T68" fmla="*/ 2147483647 w 493"/>
                <a:gd name="T69" fmla="*/ 2147483647 h 351"/>
                <a:gd name="T70" fmla="*/ 2147483647 w 493"/>
                <a:gd name="T71" fmla="*/ 2147483647 h 351"/>
                <a:gd name="T72" fmla="*/ 2147483647 w 493"/>
                <a:gd name="T73" fmla="*/ 2147483647 h 351"/>
                <a:gd name="T74" fmla="*/ 2147483647 w 493"/>
                <a:gd name="T75" fmla="*/ 2147483647 h 351"/>
                <a:gd name="T76" fmla="*/ 2147483647 w 493"/>
                <a:gd name="T77" fmla="*/ 2147483647 h 351"/>
                <a:gd name="T78" fmla="*/ 2147483647 w 493"/>
                <a:gd name="T79" fmla="*/ 2147483647 h 351"/>
                <a:gd name="T80" fmla="*/ 2147483647 w 493"/>
                <a:gd name="T81" fmla="*/ 2147483647 h 351"/>
                <a:gd name="T82" fmla="*/ 2147483647 w 493"/>
                <a:gd name="T83" fmla="*/ 2147483647 h 351"/>
                <a:gd name="T84" fmla="*/ 2147483647 w 493"/>
                <a:gd name="T85" fmla="*/ 2147483647 h 351"/>
                <a:gd name="T86" fmla="*/ 2147483647 w 493"/>
                <a:gd name="T87" fmla="*/ 2147483647 h 351"/>
                <a:gd name="T88" fmla="*/ 2147483647 w 493"/>
                <a:gd name="T89" fmla="*/ 2147483647 h 351"/>
                <a:gd name="T90" fmla="*/ 2147483647 w 493"/>
                <a:gd name="T91" fmla="*/ 2147483647 h 351"/>
                <a:gd name="T92" fmla="*/ 2147483647 w 493"/>
                <a:gd name="T93" fmla="*/ 2147483647 h 351"/>
                <a:gd name="T94" fmla="*/ 2147483647 w 493"/>
                <a:gd name="T95" fmla="*/ 2147483647 h 351"/>
                <a:gd name="T96" fmla="*/ 2147483647 w 493"/>
                <a:gd name="T97" fmla="*/ 2147483647 h 351"/>
                <a:gd name="T98" fmla="*/ 2147483647 w 493"/>
                <a:gd name="T99" fmla="*/ 2147483647 h 351"/>
                <a:gd name="T100" fmla="*/ 2147483647 w 493"/>
                <a:gd name="T101" fmla="*/ 2147483647 h 351"/>
                <a:gd name="T102" fmla="*/ 2147483647 w 493"/>
                <a:gd name="T103" fmla="*/ 2147483647 h 351"/>
                <a:gd name="T104" fmla="*/ 2147483647 w 493"/>
                <a:gd name="T105" fmla="*/ 2147483647 h 351"/>
                <a:gd name="T106" fmla="*/ 2147483647 w 493"/>
                <a:gd name="T107" fmla="*/ 2147483647 h 351"/>
                <a:gd name="T108" fmla="*/ 2147483647 w 493"/>
                <a:gd name="T109" fmla="*/ 2147483647 h 351"/>
                <a:gd name="T110" fmla="*/ 2147483647 w 493"/>
                <a:gd name="T111" fmla="*/ 2147483647 h 351"/>
                <a:gd name="T112" fmla="*/ 2147483647 w 493"/>
                <a:gd name="T113" fmla="*/ 2147483647 h 351"/>
                <a:gd name="T114" fmla="*/ 2147483647 w 493"/>
                <a:gd name="T115" fmla="*/ 2147483647 h 351"/>
                <a:gd name="T116" fmla="*/ 2147483647 w 493"/>
                <a:gd name="T117" fmla="*/ 2147483647 h 351"/>
                <a:gd name="T118" fmla="*/ 2147483647 w 493"/>
                <a:gd name="T119" fmla="*/ 2147483647 h 351"/>
                <a:gd name="T120" fmla="*/ 2147483647 w 493"/>
                <a:gd name="T121" fmla="*/ 2147483647 h 351"/>
                <a:gd name="T122" fmla="*/ 2147483647 w 493"/>
                <a:gd name="T123" fmla="*/ 2147483647 h 351"/>
                <a:gd name="T124" fmla="*/ 2147483647 w 493"/>
                <a:gd name="T125" fmla="*/ 2147483647 h 3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93"/>
                <a:gd name="T190" fmla="*/ 0 h 351"/>
                <a:gd name="T191" fmla="*/ 493 w 493"/>
                <a:gd name="T192" fmla="*/ 351 h 3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93" h="351">
                  <a:moveTo>
                    <a:pt x="441" y="306"/>
                  </a:moveTo>
                  <a:lnTo>
                    <a:pt x="441" y="306"/>
                  </a:lnTo>
                  <a:lnTo>
                    <a:pt x="436" y="298"/>
                  </a:lnTo>
                  <a:lnTo>
                    <a:pt x="432" y="295"/>
                  </a:lnTo>
                  <a:lnTo>
                    <a:pt x="428" y="293"/>
                  </a:lnTo>
                  <a:lnTo>
                    <a:pt x="427" y="292"/>
                  </a:lnTo>
                  <a:lnTo>
                    <a:pt x="425" y="292"/>
                  </a:lnTo>
                  <a:lnTo>
                    <a:pt x="424" y="292"/>
                  </a:lnTo>
                  <a:lnTo>
                    <a:pt x="423" y="294"/>
                  </a:lnTo>
                  <a:lnTo>
                    <a:pt x="424" y="296"/>
                  </a:lnTo>
                  <a:lnTo>
                    <a:pt x="425" y="299"/>
                  </a:lnTo>
                  <a:lnTo>
                    <a:pt x="427" y="300"/>
                  </a:lnTo>
                  <a:lnTo>
                    <a:pt x="428" y="302"/>
                  </a:lnTo>
                  <a:lnTo>
                    <a:pt x="429" y="306"/>
                  </a:lnTo>
                  <a:lnTo>
                    <a:pt x="430" y="310"/>
                  </a:lnTo>
                  <a:lnTo>
                    <a:pt x="434" y="317"/>
                  </a:lnTo>
                  <a:lnTo>
                    <a:pt x="434" y="319"/>
                  </a:lnTo>
                  <a:lnTo>
                    <a:pt x="433" y="323"/>
                  </a:lnTo>
                  <a:lnTo>
                    <a:pt x="432" y="325"/>
                  </a:lnTo>
                  <a:lnTo>
                    <a:pt x="430" y="328"/>
                  </a:lnTo>
                  <a:lnTo>
                    <a:pt x="430" y="330"/>
                  </a:lnTo>
                  <a:lnTo>
                    <a:pt x="428" y="331"/>
                  </a:lnTo>
                  <a:lnTo>
                    <a:pt x="427" y="330"/>
                  </a:lnTo>
                  <a:lnTo>
                    <a:pt x="424" y="330"/>
                  </a:lnTo>
                  <a:lnTo>
                    <a:pt x="422" y="325"/>
                  </a:lnTo>
                  <a:lnTo>
                    <a:pt x="420" y="321"/>
                  </a:lnTo>
                  <a:lnTo>
                    <a:pt x="418" y="317"/>
                  </a:lnTo>
                  <a:lnTo>
                    <a:pt x="415" y="313"/>
                  </a:lnTo>
                  <a:lnTo>
                    <a:pt x="413" y="312"/>
                  </a:lnTo>
                  <a:lnTo>
                    <a:pt x="411" y="312"/>
                  </a:lnTo>
                  <a:lnTo>
                    <a:pt x="406" y="314"/>
                  </a:lnTo>
                  <a:lnTo>
                    <a:pt x="405" y="314"/>
                  </a:lnTo>
                  <a:lnTo>
                    <a:pt x="399" y="307"/>
                  </a:lnTo>
                  <a:lnTo>
                    <a:pt x="391" y="302"/>
                  </a:lnTo>
                  <a:lnTo>
                    <a:pt x="383" y="299"/>
                  </a:lnTo>
                  <a:lnTo>
                    <a:pt x="375" y="296"/>
                  </a:lnTo>
                  <a:lnTo>
                    <a:pt x="373" y="295"/>
                  </a:lnTo>
                  <a:lnTo>
                    <a:pt x="372" y="294"/>
                  </a:lnTo>
                  <a:lnTo>
                    <a:pt x="369" y="293"/>
                  </a:lnTo>
                  <a:lnTo>
                    <a:pt x="368" y="292"/>
                  </a:lnTo>
                  <a:lnTo>
                    <a:pt x="364" y="294"/>
                  </a:lnTo>
                  <a:lnTo>
                    <a:pt x="364" y="295"/>
                  </a:lnTo>
                  <a:lnTo>
                    <a:pt x="366" y="296"/>
                  </a:lnTo>
                  <a:lnTo>
                    <a:pt x="368" y="300"/>
                  </a:lnTo>
                  <a:lnTo>
                    <a:pt x="371" y="302"/>
                  </a:lnTo>
                  <a:lnTo>
                    <a:pt x="372" y="306"/>
                  </a:lnTo>
                  <a:lnTo>
                    <a:pt x="373" y="311"/>
                  </a:lnTo>
                  <a:lnTo>
                    <a:pt x="373" y="312"/>
                  </a:lnTo>
                  <a:lnTo>
                    <a:pt x="375" y="313"/>
                  </a:lnTo>
                  <a:lnTo>
                    <a:pt x="377" y="314"/>
                  </a:lnTo>
                  <a:lnTo>
                    <a:pt x="381" y="314"/>
                  </a:lnTo>
                  <a:lnTo>
                    <a:pt x="382" y="317"/>
                  </a:lnTo>
                  <a:lnTo>
                    <a:pt x="385" y="319"/>
                  </a:lnTo>
                  <a:lnTo>
                    <a:pt x="386" y="321"/>
                  </a:lnTo>
                  <a:lnTo>
                    <a:pt x="391" y="324"/>
                  </a:lnTo>
                  <a:lnTo>
                    <a:pt x="397" y="326"/>
                  </a:lnTo>
                  <a:lnTo>
                    <a:pt x="402" y="328"/>
                  </a:lnTo>
                  <a:lnTo>
                    <a:pt x="405" y="332"/>
                  </a:lnTo>
                  <a:lnTo>
                    <a:pt x="410" y="336"/>
                  </a:lnTo>
                  <a:lnTo>
                    <a:pt x="413" y="342"/>
                  </a:lnTo>
                  <a:lnTo>
                    <a:pt x="414" y="344"/>
                  </a:lnTo>
                  <a:lnTo>
                    <a:pt x="414" y="346"/>
                  </a:lnTo>
                  <a:lnTo>
                    <a:pt x="414" y="349"/>
                  </a:lnTo>
                  <a:lnTo>
                    <a:pt x="411" y="351"/>
                  </a:lnTo>
                  <a:lnTo>
                    <a:pt x="410" y="350"/>
                  </a:lnTo>
                  <a:lnTo>
                    <a:pt x="410" y="349"/>
                  </a:lnTo>
                  <a:lnTo>
                    <a:pt x="410" y="346"/>
                  </a:lnTo>
                  <a:lnTo>
                    <a:pt x="409" y="345"/>
                  </a:lnTo>
                  <a:lnTo>
                    <a:pt x="406" y="345"/>
                  </a:lnTo>
                  <a:lnTo>
                    <a:pt x="402" y="345"/>
                  </a:lnTo>
                  <a:lnTo>
                    <a:pt x="400" y="345"/>
                  </a:lnTo>
                  <a:lnTo>
                    <a:pt x="399" y="344"/>
                  </a:lnTo>
                  <a:lnTo>
                    <a:pt x="394" y="339"/>
                  </a:lnTo>
                  <a:lnTo>
                    <a:pt x="391" y="337"/>
                  </a:lnTo>
                  <a:lnTo>
                    <a:pt x="389" y="336"/>
                  </a:lnTo>
                  <a:lnTo>
                    <a:pt x="386" y="336"/>
                  </a:lnTo>
                  <a:lnTo>
                    <a:pt x="385" y="336"/>
                  </a:lnTo>
                  <a:lnTo>
                    <a:pt x="382" y="336"/>
                  </a:lnTo>
                  <a:lnTo>
                    <a:pt x="380" y="336"/>
                  </a:lnTo>
                  <a:lnTo>
                    <a:pt x="377" y="333"/>
                  </a:lnTo>
                  <a:lnTo>
                    <a:pt x="375" y="331"/>
                  </a:lnTo>
                  <a:lnTo>
                    <a:pt x="371" y="331"/>
                  </a:lnTo>
                  <a:lnTo>
                    <a:pt x="368" y="332"/>
                  </a:lnTo>
                  <a:lnTo>
                    <a:pt x="364" y="333"/>
                  </a:lnTo>
                  <a:lnTo>
                    <a:pt x="362" y="333"/>
                  </a:lnTo>
                  <a:lnTo>
                    <a:pt x="356" y="330"/>
                  </a:lnTo>
                  <a:lnTo>
                    <a:pt x="352" y="327"/>
                  </a:lnTo>
                  <a:lnTo>
                    <a:pt x="349" y="325"/>
                  </a:lnTo>
                  <a:lnTo>
                    <a:pt x="348" y="324"/>
                  </a:lnTo>
                  <a:lnTo>
                    <a:pt x="345" y="324"/>
                  </a:lnTo>
                  <a:lnTo>
                    <a:pt x="333" y="323"/>
                  </a:lnTo>
                  <a:lnTo>
                    <a:pt x="331" y="321"/>
                  </a:lnTo>
                  <a:lnTo>
                    <a:pt x="329" y="319"/>
                  </a:lnTo>
                  <a:lnTo>
                    <a:pt x="328" y="317"/>
                  </a:lnTo>
                  <a:lnTo>
                    <a:pt x="325" y="315"/>
                  </a:lnTo>
                  <a:lnTo>
                    <a:pt x="321" y="314"/>
                  </a:lnTo>
                  <a:lnTo>
                    <a:pt x="316" y="313"/>
                  </a:lnTo>
                  <a:lnTo>
                    <a:pt x="314" y="313"/>
                  </a:lnTo>
                  <a:lnTo>
                    <a:pt x="312" y="311"/>
                  </a:lnTo>
                  <a:lnTo>
                    <a:pt x="312" y="310"/>
                  </a:lnTo>
                  <a:lnTo>
                    <a:pt x="314" y="307"/>
                  </a:lnTo>
                  <a:lnTo>
                    <a:pt x="319" y="305"/>
                  </a:lnTo>
                  <a:lnTo>
                    <a:pt x="321" y="302"/>
                  </a:lnTo>
                  <a:lnTo>
                    <a:pt x="320" y="301"/>
                  </a:lnTo>
                  <a:lnTo>
                    <a:pt x="315" y="299"/>
                  </a:lnTo>
                  <a:lnTo>
                    <a:pt x="310" y="295"/>
                  </a:lnTo>
                  <a:lnTo>
                    <a:pt x="307" y="294"/>
                  </a:lnTo>
                  <a:lnTo>
                    <a:pt x="305" y="295"/>
                  </a:lnTo>
                  <a:lnTo>
                    <a:pt x="302" y="299"/>
                  </a:lnTo>
                  <a:lnTo>
                    <a:pt x="301" y="299"/>
                  </a:lnTo>
                  <a:lnTo>
                    <a:pt x="298" y="299"/>
                  </a:lnTo>
                  <a:lnTo>
                    <a:pt x="296" y="298"/>
                  </a:lnTo>
                  <a:lnTo>
                    <a:pt x="293" y="296"/>
                  </a:lnTo>
                  <a:lnTo>
                    <a:pt x="291" y="292"/>
                  </a:lnTo>
                  <a:lnTo>
                    <a:pt x="288" y="285"/>
                  </a:lnTo>
                  <a:lnTo>
                    <a:pt x="284" y="279"/>
                  </a:lnTo>
                  <a:lnTo>
                    <a:pt x="282" y="276"/>
                  </a:lnTo>
                  <a:lnTo>
                    <a:pt x="278" y="274"/>
                  </a:lnTo>
                  <a:lnTo>
                    <a:pt x="274" y="273"/>
                  </a:lnTo>
                  <a:lnTo>
                    <a:pt x="270" y="274"/>
                  </a:lnTo>
                  <a:lnTo>
                    <a:pt x="268" y="273"/>
                  </a:lnTo>
                  <a:lnTo>
                    <a:pt x="267" y="272"/>
                  </a:lnTo>
                  <a:lnTo>
                    <a:pt x="264" y="266"/>
                  </a:lnTo>
                  <a:lnTo>
                    <a:pt x="263" y="266"/>
                  </a:lnTo>
                  <a:lnTo>
                    <a:pt x="255" y="269"/>
                  </a:lnTo>
                  <a:lnTo>
                    <a:pt x="249" y="272"/>
                  </a:lnTo>
                  <a:lnTo>
                    <a:pt x="239" y="274"/>
                  </a:lnTo>
                  <a:lnTo>
                    <a:pt x="234" y="274"/>
                  </a:lnTo>
                  <a:lnTo>
                    <a:pt x="229" y="273"/>
                  </a:lnTo>
                  <a:lnTo>
                    <a:pt x="226" y="273"/>
                  </a:lnTo>
                  <a:lnTo>
                    <a:pt x="225" y="275"/>
                  </a:lnTo>
                  <a:lnTo>
                    <a:pt x="225" y="281"/>
                  </a:lnTo>
                  <a:lnTo>
                    <a:pt x="223" y="282"/>
                  </a:lnTo>
                  <a:lnTo>
                    <a:pt x="218" y="282"/>
                  </a:lnTo>
                  <a:lnTo>
                    <a:pt x="215" y="281"/>
                  </a:lnTo>
                  <a:lnTo>
                    <a:pt x="207" y="275"/>
                  </a:lnTo>
                  <a:lnTo>
                    <a:pt x="202" y="270"/>
                  </a:lnTo>
                  <a:lnTo>
                    <a:pt x="199" y="263"/>
                  </a:lnTo>
                  <a:lnTo>
                    <a:pt x="198" y="261"/>
                  </a:lnTo>
                  <a:lnTo>
                    <a:pt x="198" y="259"/>
                  </a:lnTo>
                  <a:lnTo>
                    <a:pt x="199" y="255"/>
                  </a:lnTo>
                  <a:lnTo>
                    <a:pt x="201" y="254"/>
                  </a:lnTo>
                  <a:lnTo>
                    <a:pt x="206" y="249"/>
                  </a:lnTo>
                  <a:lnTo>
                    <a:pt x="212" y="247"/>
                  </a:lnTo>
                  <a:lnTo>
                    <a:pt x="211" y="244"/>
                  </a:lnTo>
                  <a:lnTo>
                    <a:pt x="208" y="242"/>
                  </a:lnTo>
                  <a:lnTo>
                    <a:pt x="206" y="240"/>
                  </a:lnTo>
                  <a:lnTo>
                    <a:pt x="203" y="238"/>
                  </a:lnTo>
                  <a:lnTo>
                    <a:pt x="202" y="237"/>
                  </a:lnTo>
                  <a:lnTo>
                    <a:pt x="203" y="235"/>
                  </a:lnTo>
                  <a:lnTo>
                    <a:pt x="204" y="234"/>
                  </a:lnTo>
                  <a:lnTo>
                    <a:pt x="206" y="232"/>
                  </a:lnTo>
                  <a:lnTo>
                    <a:pt x="209" y="232"/>
                  </a:lnTo>
                  <a:lnTo>
                    <a:pt x="213" y="234"/>
                  </a:lnTo>
                  <a:lnTo>
                    <a:pt x="217" y="236"/>
                  </a:lnTo>
                  <a:lnTo>
                    <a:pt x="221" y="241"/>
                  </a:lnTo>
                  <a:lnTo>
                    <a:pt x="226" y="244"/>
                  </a:lnTo>
                  <a:lnTo>
                    <a:pt x="231" y="245"/>
                  </a:lnTo>
                  <a:lnTo>
                    <a:pt x="239" y="245"/>
                  </a:lnTo>
                  <a:lnTo>
                    <a:pt x="246" y="244"/>
                  </a:lnTo>
                  <a:lnTo>
                    <a:pt x="255" y="244"/>
                  </a:lnTo>
                  <a:lnTo>
                    <a:pt x="259" y="244"/>
                  </a:lnTo>
                  <a:lnTo>
                    <a:pt x="263" y="243"/>
                  </a:lnTo>
                  <a:lnTo>
                    <a:pt x="265" y="241"/>
                  </a:lnTo>
                  <a:lnTo>
                    <a:pt x="267" y="238"/>
                  </a:lnTo>
                  <a:lnTo>
                    <a:pt x="265" y="236"/>
                  </a:lnTo>
                  <a:lnTo>
                    <a:pt x="263" y="234"/>
                  </a:lnTo>
                  <a:lnTo>
                    <a:pt x="259" y="230"/>
                  </a:lnTo>
                  <a:lnTo>
                    <a:pt x="256" y="227"/>
                  </a:lnTo>
                  <a:lnTo>
                    <a:pt x="254" y="224"/>
                  </a:lnTo>
                  <a:lnTo>
                    <a:pt x="251" y="222"/>
                  </a:lnTo>
                  <a:lnTo>
                    <a:pt x="250" y="221"/>
                  </a:lnTo>
                  <a:lnTo>
                    <a:pt x="250" y="219"/>
                  </a:lnTo>
                  <a:lnTo>
                    <a:pt x="259" y="213"/>
                  </a:lnTo>
                  <a:lnTo>
                    <a:pt x="263" y="210"/>
                  </a:lnTo>
                  <a:lnTo>
                    <a:pt x="267" y="206"/>
                  </a:lnTo>
                  <a:lnTo>
                    <a:pt x="269" y="205"/>
                  </a:lnTo>
                  <a:lnTo>
                    <a:pt x="270" y="205"/>
                  </a:lnTo>
                  <a:lnTo>
                    <a:pt x="274" y="208"/>
                  </a:lnTo>
                  <a:lnTo>
                    <a:pt x="278" y="208"/>
                  </a:lnTo>
                  <a:lnTo>
                    <a:pt x="282" y="209"/>
                  </a:lnTo>
                  <a:lnTo>
                    <a:pt x="286" y="210"/>
                  </a:lnTo>
                  <a:lnTo>
                    <a:pt x="288" y="211"/>
                  </a:lnTo>
                  <a:lnTo>
                    <a:pt x="292" y="212"/>
                  </a:lnTo>
                  <a:lnTo>
                    <a:pt x="300" y="212"/>
                  </a:lnTo>
                  <a:lnTo>
                    <a:pt x="302" y="213"/>
                  </a:lnTo>
                  <a:lnTo>
                    <a:pt x="303" y="215"/>
                  </a:lnTo>
                  <a:lnTo>
                    <a:pt x="303" y="218"/>
                  </a:lnTo>
                  <a:lnTo>
                    <a:pt x="305" y="222"/>
                  </a:lnTo>
                  <a:lnTo>
                    <a:pt x="305" y="223"/>
                  </a:lnTo>
                  <a:lnTo>
                    <a:pt x="306" y="223"/>
                  </a:lnTo>
                  <a:lnTo>
                    <a:pt x="311" y="223"/>
                  </a:lnTo>
                  <a:lnTo>
                    <a:pt x="316" y="222"/>
                  </a:lnTo>
                  <a:lnTo>
                    <a:pt x="320" y="219"/>
                  </a:lnTo>
                  <a:lnTo>
                    <a:pt x="325" y="217"/>
                  </a:lnTo>
                  <a:lnTo>
                    <a:pt x="330" y="216"/>
                  </a:lnTo>
                  <a:lnTo>
                    <a:pt x="335" y="213"/>
                  </a:lnTo>
                  <a:lnTo>
                    <a:pt x="339" y="210"/>
                  </a:lnTo>
                  <a:lnTo>
                    <a:pt x="339" y="208"/>
                  </a:lnTo>
                  <a:lnTo>
                    <a:pt x="338" y="206"/>
                  </a:lnTo>
                  <a:lnTo>
                    <a:pt x="329" y="200"/>
                  </a:lnTo>
                  <a:lnTo>
                    <a:pt x="324" y="199"/>
                  </a:lnTo>
                  <a:lnTo>
                    <a:pt x="319" y="198"/>
                  </a:lnTo>
                  <a:lnTo>
                    <a:pt x="316" y="197"/>
                  </a:lnTo>
                  <a:lnTo>
                    <a:pt x="314" y="196"/>
                  </a:lnTo>
                  <a:lnTo>
                    <a:pt x="310" y="191"/>
                  </a:lnTo>
                  <a:lnTo>
                    <a:pt x="306" y="186"/>
                  </a:lnTo>
                  <a:lnTo>
                    <a:pt x="302" y="183"/>
                  </a:lnTo>
                  <a:lnTo>
                    <a:pt x="301" y="183"/>
                  </a:lnTo>
                  <a:lnTo>
                    <a:pt x="298" y="183"/>
                  </a:lnTo>
                  <a:lnTo>
                    <a:pt x="295" y="185"/>
                  </a:lnTo>
                  <a:lnTo>
                    <a:pt x="295" y="187"/>
                  </a:lnTo>
                  <a:lnTo>
                    <a:pt x="296" y="190"/>
                  </a:lnTo>
                  <a:lnTo>
                    <a:pt x="297" y="193"/>
                  </a:lnTo>
                  <a:lnTo>
                    <a:pt x="297" y="196"/>
                  </a:lnTo>
                  <a:lnTo>
                    <a:pt x="296" y="199"/>
                  </a:lnTo>
                  <a:lnTo>
                    <a:pt x="292" y="200"/>
                  </a:lnTo>
                  <a:lnTo>
                    <a:pt x="282" y="199"/>
                  </a:lnTo>
                  <a:lnTo>
                    <a:pt x="270" y="198"/>
                  </a:lnTo>
                  <a:lnTo>
                    <a:pt x="268" y="198"/>
                  </a:lnTo>
                  <a:lnTo>
                    <a:pt x="267" y="196"/>
                  </a:lnTo>
                  <a:lnTo>
                    <a:pt x="265" y="193"/>
                  </a:lnTo>
                  <a:lnTo>
                    <a:pt x="267" y="191"/>
                  </a:lnTo>
                  <a:lnTo>
                    <a:pt x="270" y="186"/>
                  </a:lnTo>
                  <a:lnTo>
                    <a:pt x="272" y="181"/>
                  </a:lnTo>
                  <a:lnTo>
                    <a:pt x="272" y="177"/>
                  </a:lnTo>
                  <a:lnTo>
                    <a:pt x="270" y="173"/>
                  </a:lnTo>
                  <a:lnTo>
                    <a:pt x="268" y="168"/>
                  </a:lnTo>
                  <a:lnTo>
                    <a:pt x="264" y="165"/>
                  </a:lnTo>
                  <a:lnTo>
                    <a:pt x="256" y="159"/>
                  </a:lnTo>
                  <a:lnTo>
                    <a:pt x="254" y="157"/>
                  </a:lnTo>
                  <a:lnTo>
                    <a:pt x="253" y="154"/>
                  </a:lnTo>
                  <a:lnTo>
                    <a:pt x="250" y="153"/>
                  </a:lnTo>
                  <a:lnTo>
                    <a:pt x="248" y="153"/>
                  </a:lnTo>
                  <a:lnTo>
                    <a:pt x="245" y="153"/>
                  </a:lnTo>
                  <a:lnTo>
                    <a:pt x="244" y="153"/>
                  </a:lnTo>
                  <a:lnTo>
                    <a:pt x="244" y="151"/>
                  </a:lnTo>
                  <a:lnTo>
                    <a:pt x="244" y="149"/>
                  </a:lnTo>
                  <a:lnTo>
                    <a:pt x="246" y="146"/>
                  </a:lnTo>
                  <a:lnTo>
                    <a:pt x="246" y="145"/>
                  </a:lnTo>
                  <a:lnTo>
                    <a:pt x="240" y="146"/>
                  </a:lnTo>
                  <a:lnTo>
                    <a:pt x="235" y="147"/>
                  </a:lnTo>
                  <a:lnTo>
                    <a:pt x="229" y="149"/>
                  </a:lnTo>
                  <a:lnTo>
                    <a:pt x="223" y="153"/>
                  </a:lnTo>
                  <a:lnTo>
                    <a:pt x="222" y="153"/>
                  </a:lnTo>
                  <a:lnTo>
                    <a:pt x="220" y="153"/>
                  </a:lnTo>
                  <a:lnTo>
                    <a:pt x="218" y="152"/>
                  </a:lnTo>
                  <a:lnTo>
                    <a:pt x="218" y="149"/>
                  </a:lnTo>
                  <a:lnTo>
                    <a:pt x="223" y="145"/>
                  </a:lnTo>
                  <a:lnTo>
                    <a:pt x="225" y="142"/>
                  </a:lnTo>
                  <a:lnTo>
                    <a:pt x="223" y="141"/>
                  </a:lnTo>
                  <a:lnTo>
                    <a:pt x="222" y="140"/>
                  </a:lnTo>
                  <a:lnTo>
                    <a:pt x="217" y="139"/>
                  </a:lnTo>
                  <a:lnTo>
                    <a:pt x="212" y="136"/>
                  </a:lnTo>
                  <a:lnTo>
                    <a:pt x="208" y="134"/>
                  </a:lnTo>
                  <a:lnTo>
                    <a:pt x="206" y="130"/>
                  </a:lnTo>
                  <a:lnTo>
                    <a:pt x="201" y="122"/>
                  </a:lnTo>
                  <a:lnTo>
                    <a:pt x="197" y="114"/>
                  </a:lnTo>
                  <a:lnTo>
                    <a:pt x="196" y="113"/>
                  </a:lnTo>
                  <a:lnTo>
                    <a:pt x="193" y="112"/>
                  </a:lnTo>
                  <a:lnTo>
                    <a:pt x="187" y="110"/>
                  </a:lnTo>
                  <a:lnTo>
                    <a:pt x="183" y="107"/>
                  </a:lnTo>
                  <a:lnTo>
                    <a:pt x="180" y="103"/>
                  </a:lnTo>
                  <a:lnTo>
                    <a:pt x="178" y="100"/>
                  </a:lnTo>
                  <a:lnTo>
                    <a:pt x="176" y="100"/>
                  </a:lnTo>
                  <a:lnTo>
                    <a:pt x="174" y="101"/>
                  </a:lnTo>
                  <a:lnTo>
                    <a:pt x="173" y="103"/>
                  </a:lnTo>
                  <a:lnTo>
                    <a:pt x="173" y="106"/>
                  </a:lnTo>
                  <a:lnTo>
                    <a:pt x="175" y="110"/>
                  </a:lnTo>
                  <a:lnTo>
                    <a:pt x="179" y="115"/>
                  </a:lnTo>
                  <a:lnTo>
                    <a:pt x="182" y="120"/>
                  </a:lnTo>
                  <a:lnTo>
                    <a:pt x="182" y="122"/>
                  </a:lnTo>
                  <a:lnTo>
                    <a:pt x="180" y="123"/>
                  </a:lnTo>
                  <a:lnTo>
                    <a:pt x="175" y="123"/>
                  </a:lnTo>
                  <a:lnTo>
                    <a:pt x="168" y="122"/>
                  </a:lnTo>
                  <a:lnTo>
                    <a:pt x="165" y="122"/>
                  </a:lnTo>
                  <a:lnTo>
                    <a:pt x="162" y="123"/>
                  </a:lnTo>
                  <a:lnTo>
                    <a:pt x="160" y="126"/>
                  </a:lnTo>
                  <a:lnTo>
                    <a:pt x="157" y="128"/>
                  </a:lnTo>
                  <a:lnTo>
                    <a:pt x="154" y="128"/>
                  </a:lnTo>
                  <a:lnTo>
                    <a:pt x="151" y="128"/>
                  </a:lnTo>
                  <a:lnTo>
                    <a:pt x="149" y="127"/>
                  </a:lnTo>
                  <a:lnTo>
                    <a:pt x="147" y="125"/>
                  </a:lnTo>
                  <a:lnTo>
                    <a:pt x="143" y="121"/>
                  </a:lnTo>
                  <a:lnTo>
                    <a:pt x="140" y="120"/>
                  </a:lnTo>
                  <a:lnTo>
                    <a:pt x="136" y="119"/>
                  </a:lnTo>
                  <a:lnTo>
                    <a:pt x="132" y="120"/>
                  </a:lnTo>
                  <a:lnTo>
                    <a:pt x="129" y="122"/>
                  </a:lnTo>
                  <a:lnTo>
                    <a:pt x="127" y="123"/>
                  </a:lnTo>
                  <a:lnTo>
                    <a:pt x="121" y="123"/>
                  </a:lnTo>
                  <a:lnTo>
                    <a:pt x="114" y="121"/>
                  </a:lnTo>
                  <a:lnTo>
                    <a:pt x="108" y="119"/>
                  </a:lnTo>
                  <a:lnTo>
                    <a:pt x="102" y="117"/>
                  </a:lnTo>
                  <a:lnTo>
                    <a:pt x="96" y="115"/>
                  </a:lnTo>
                  <a:lnTo>
                    <a:pt x="93" y="115"/>
                  </a:lnTo>
                  <a:lnTo>
                    <a:pt x="82" y="110"/>
                  </a:lnTo>
                  <a:lnTo>
                    <a:pt x="80" y="110"/>
                  </a:lnTo>
                  <a:lnTo>
                    <a:pt x="77" y="112"/>
                  </a:lnTo>
                  <a:lnTo>
                    <a:pt x="74" y="115"/>
                  </a:lnTo>
                  <a:lnTo>
                    <a:pt x="69" y="117"/>
                  </a:lnTo>
                  <a:lnTo>
                    <a:pt x="65" y="116"/>
                  </a:lnTo>
                  <a:lnTo>
                    <a:pt x="60" y="114"/>
                  </a:lnTo>
                  <a:lnTo>
                    <a:pt x="51" y="108"/>
                  </a:lnTo>
                  <a:lnTo>
                    <a:pt x="46" y="104"/>
                  </a:lnTo>
                  <a:lnTo>
                    <a:pt x="42" y="102"/>
                  </a:lnTo>
                  <a:lnTo>
                    <a:pt x="37" y="101"/>
                  </a:lnTo>
                  <a:lnTo>
                    <a:pt x="33" y="102"/>
                  </a:lnTo>
                  <a:lnTo>
                    <a:pt x="28" y="102"/>
                  </a:lnTo>
                  <a:lnTo>
                    <a:pt x="23" y="100"/>
                  </a:lnTo>
                  <a:lnTo>
                    <a:pt x="15" y="94"/>
                  </a:lnTo>
                  <a:lnTo>
                    <a:pt x="11" y="91"/>
                  </a:lnTo>
                  <a:lnTo>
                    <a:pt x="6" y="89"/>
                  </a:lnTo>
                  <a:lnTo>
                    <a:pt x="4" y="88"/>
                  </a:lnTo>
                  <a:lnTo>
                    <a:pt x="2" y="85"/>
                  </a:lnTo>
                  <a:lnTo>
                    <a:pt x="1" y="83"/>
                  </a:lnTo>
                  <a:lnTo>
                    <a:pt x="1" y="80"/>
                  </a:lnTo>
                  <a:lnTo>
                    <a:pt x="11" y="82"/>
                  </a:lnTo>
                  <a:lnTo>
                    <a:pt x="22" y="83"/>
                  </a:lnTo>
                  <a:lnTo>
                    <a:pt x="30" y="82"/>
                  </a:lnTo>
                  <a:lnTo>
                    <a:pt x="41" y="80"/>
                  </a:lnTo>
                  <a:lnTo>
                    <a:pt x="36" y="75"/>
                  </a:lnTo>
                  <a:lnTo>
                    <a:pt x="32" y="74"/>
                  </a:lnTo>
                  <a:lnTo>
                    <a:pt x="29" y="72"/>
                  </a:lnTo>
                  <a:lnTo>
                    <a:pt x="22" y="74"/>
                  </a:lnTo>
                  <a:lnTo>
                    <a:pt x="14" y="75"/>
                  </a:lnTo>
                  <a:lnTo>
                    <a:pt x="8" y="72"/>
                  </a:lnTo>
                  <a:lnTo>
                    <a:pt x="5" y="71"/>
                  </a:lnTo>
                  <a:lnTo>
                    <a:pt x="2" y="69"/>
                  </a:lnTo>
                  <a:lnTo>
                    <a:pt x="1" y="65"/>
                  </a:lnTo>
                  <a:lnTo>
                    <a:pt x="0" y="62"/>
                  </a:lnTo>
                  <a:lnTo>
                    <a:pt x="0" y="55"/>
                  </a:lnTo>
                  <a:lnTo>
                    <a:pt x="2" y="47"/>
                  </a:lnTo>
                  <a:lnTo>
                    <a:pt x="6" y="40"/>
                  </a:lnTo>
                  <a:lnTo>
                    <a:pt x="6" y="37"/>
                  </a:lnTo>
                  <a:lnTo>
                    <a:pt x="5" y="34"/>
                  </a:lnTo>
                  <a:lnTo>
                    <a:pt x="5" y="32"/>
                  </a:lnTo>
                  <a:lnTo>
                    <a:pt x="5" y="30"/>
                  </a:lnTo>
                  <a:lnTo>
                    <a:pt x="10" y="23"/>
                  </a:lnTo>
                  <a:lnTo>
                    <a:pt x="13" y="18"/>
                  </a:lnTo>
                  <a:lnTo>
                    <a:pt x="14" y="14"/>
                  </a:lnTo>
                  <a:lnTo>
                    <a:pt x="16" y="12"/>
                  </a:lnTo>
                  <a:lnTo>
                    <a:pt x="19" y="11"/>
                  </a:lnTo>
                  <a:lnTo>
                    <a:pt x="23" y="11"/>
                  </a:lnTo>
                  <a:lnTo>
                    <a:pt x="28" y="10"/>
                  </a:lnTo>
                  <a:lnTo>
                    <a:pt x="32" y="10"/>
                  </a:lnTo>
                  <a:lnTo>
                    <a:pt x="37" y="8"/>
                  </a:lnTo>
                  <a:lnTo>
                    <a:pt x="49" y="2"/>
                  </a:lnTo>
                  <a:lnTo>
                    <a:pt x="56" y="1"/>
                  </a:lnTo>
                  <a:lnTo>
                    <a:pt x="62" y="0"/>
                  </a:lnTo>
                  <a:lnTo>
                    <a:pt x="69" y="0"/>
                  </a:lnTo>
                  <a:lnTo>
                    <a:pt x="75" y="1"/>
                  </a:lnTo>
                  <a:lnTo>
                    <a:pt x="80" y="4"/>
                  </a:lnTo>
                  <a:lnTo>
                    <a:pt x="85" y="6"/>
                  </a:lnTo>
                  <a:lnTo>
                    <a:pt x="86" y="7"/>
                  </a:lnTo>
                  <a:lnTo>
                    <a:pt x="85" y="8"/>
                  </a:lnTo>
                  <a:lnTo>
                    <a:pt x="82" y="11"/>
                  </a:lnTo>
                  <a:lnTo>
                    <a:pt x="77" y="13"/>
                  </a:lnTo>
                  <a:lnTo>
                    <a:pt x="74" y="17"/>
                  </a:lnTo>
                  <a:lnTo>
                    <a:pt x="72" y="20"/>
                  </a:lnTo>
                  <a:lnTo>
                    <a:pt x="72" y="24"/>
                  </a:lnTo>
                  <a:lnTo>
                    <a:pt x="74" y="26"/>
                  </a:lnTo>
                  <a:lnTo>
                    <a:pt x="72" y="29"/>
                  </a:lnTo>
                  <a:lnTo>
                    <a:pt x="70" y="34"/>
                  </a:lnTo>
                  <a:lnTo>
                    <a:pt x="69" y="39"/>
                  </a:lnTo>
                  <a:lnTo>
                    <a:pt x="70" y="44"/>
                  </a:lnTo>
                  <a:lnTo>
                    <a:pt x="74" y="47"/>
                  </a:lnTo>
                  <a:lnTo>
                    <a:pt x="71" y="52"/>
                  </a:lnTo>
                  <a:lnTo>
                    <a:pt x="71" y="53"/>
                  </a:lnTo>
                  <a:lnTo>
                    <a:pt x="71" y="56"/>
                  </a:lnTo>
                  <a:lnTo>
                    <a:pt x="71" y="63"/>
                  </a:lnTo>
                  <a:lnTo>
                    <a:pt x="74" y="69"/>
                  </a:lnTo>
                  <a:lnTo>
                    <a:pt x="76" y="75"/>
                  </a:lnTo>
                  <a:lnTo>
                    <a:pt x="79" y="75"/>
                  </a:lnTo>
                  <a:lnTo>
                    <a:pt x="81" y="75"/>
                  </a:lnTo>
                  <a:lnTo>
                    <a:pt x="82" y="74"/>
                  </a:lnTo>
                  <a:lnTo>
                    <a:pt x="84" y="72"/>
                  </a:lnTo>
                  <a:lnTo>
                    <a:pt x="84" y="65"/>
                  </a:lnTo>
                  <a:lnTo>
                    <a:pt x="84" y="58"/>
                  </a:lnTo>
                  <a:lnTo>
                    <a:pt x="84" y="55"/>
                  </a:lnTo>
                  <a:lnTo>
                    <a:pt x="85" y="52"/>
                  </a:lnTo>
                  <a:lnTo>
                    <a:pt x="88" y="51"/>
                  </a:lnTo>
                  <a:lnTo>
                    <a:pt x="90" y="52"/>
                  </a:lnTo>
                  <a:lnTo>
                    <a:pt x="93" y="52"/>
                  </a:lnTo>
                  <a:lnTo>
                    <a:pt x="94" y="51"/>
                  </a:lnTo>
                  <a:lnTo>
                    <a:pt x="89" y="39"/>
                  </a:lnTo>
                  <a:lnTo>
                    <a:pt x="88" y="33"/>
                  </a:lnTo>
                  <a:lnTo>
                    <a:pt x="88" y="27"/>
                  </a:lnTo>
                  <a:lnTo>
                    <a:pt x="90" y="24"/>
                  </a:lnTo>
                  <a:lnTo>
                    <a:pt x="94" y="21"/>
                  </a:lnTo>
                  <a:lnTo>
                    <a:pt x="102" y="18"/>
                  </a:lnTo>
                  <a:lnTo>
                    <a:pt x="102" y="17"/>
                  </a:lnTo>
                  <a:lnTo>
                    <a:pt x="103" y="14"/>
                  </a:lnTo>
                  <a:lnTo>
                    <a:pt x="103" y="11"/>
                  </a:lnTo>
                  <a:lnTo>
                    <a:pt x="107" y="8"/>
                  </a:lnTo>
                  <a:lnTo>
                    <a:pt x="112" y="6"/>
                  </a:lnTo>
                  <a:lnTo>
                    <a:pt x="123" y="4"/>
                  </a:lnTo>
                  <a:lnTo>
                    <a:pt x="133" y="4"/>
                  </a:lnTo>
                  <a:lnTo>
                    <a:pt x="145" y="4"/>
                  </a:lnTo>
                  <a:lnTo>
                    <a:pt x="146" y="5"/>
                  </a:lnTo>
                  <a:lnTo>
                    <a:pt x="147" y="6"/>
                  </a:lnTo>
                  <a:lnTo>
                    <a:pt x="147" y="10"/>
                  </a:lnTo>
                  <a:lnTo>
                    <a:pt x="146" y="13"/>
                  </a:lnTo>
                  <a:lnTo>
                    <a:pt x="143" y="17"/>
                  </a:lnTo>
                  <a:lnTo>
                    <a:pt x="143" y="18"/>
                  </a:lnTo>
                  <a:lnTo>
                    <a:pt x="143" y="19"/>
                  </a:lnTo>
                  <a:lnTo>
                    <a:pt x="149" y="20"/>
                  </a:lnTo>
                  <a:lnTo>
                    <a:pt x="150" y="21"/>
                  </a:lnTo>
                  <a:lnTo>
                    <a:pt x="151" y="24"/>
                  </a:lnTo>
                  <a:lnTo>
                    <a:pt x="150" y="31"/>
                  </a:lnTo>
                  <a:lnTo>
                    <a:pt x="150" y="37"/>
                  </a:lnTo>
                  <a:lnTo>
                    <a:pt x="149" y="43"/>
                  </a:lnTo>
                  <a:lnTo>
                    <a:pt x="147" y="46"/>
                  </a:lnTo>
                  <a:lnTo>
                    <a:pt x="145" y="49"/>
                  </a:lnTo>
                  <a:lnTo>
                    <a:pt x="143" y="51"/>
                  </a:lnTo>
                  <a:lnTo>
                    <a:pt x="145" y="53"/>
                  </a:lnTo>
                  <a:lnTo>
                    <a:pt x="147" y="56"/>
                  </a:lnTo>
                  <a:lnTo>
                    <a:pt x="151" y="56"/>
                  </a:lnTo>
                  <a:lnTo>
                    <a:pt x="154" y="55"/>
                  </a:lnTo>
                  <a:lnTo>
                    <a:pt x="156" y="53"/>
                  </a:lnTo>
                  <a:lnTo>
                    <a:pt x="160" y="49"/>
                  </a:lnTo>
                  <a:lnTo>
                    <a:pt x="165" y="39"/>
                  </a:lnTo>
                  <a:lnTo>
                    <a:pt x="166" y="39"/>
                  </a:lnTo>
                  <a:lnTo>
                    <a:pt x="170" y="44"/>
                  </a:lnTo>
                  <a:lnTo>
                    <a:pt x="174" y="47"/>
                  </a:lnTo>
                  <a:lnTo>
                    <a:pt x="175" y="50"/>
                  </a:lnTo>
                  <a:lnTo>
                    <a:pt x="178" y="50"/>
                  </a:lnTo>
                  <a:lnTo>
                    <a:pt x="182" y="50"/>
                  </a:lnTo>
                  <a:lnTo>
                    <a:pt x="184" y="50"/>
                  </a:lnTo>
                  <a:lnTo>
                    <a:pt x="187" y="51"/>
                  </a:lnTo>
                  <a:lnTo>
                    <a:pt x="189" y="52"/>
                  </a:lnTo>
                  <a:lnTo>
                    <a:pt x="190" y="52"/>
                  </a:lnTo>
                  <a:lnTo>
                    <a:pt x="192" y="51"/>
                  </a:lnTo>
                  <a:lnTo>
                    <a:pt x="193" y="45"/>
                  </a:lnTo>
                  <a:lnTo>
                    <a:pt x="194" y="43"/>
                  </a:lnTo>
                  <a:lnTo>
                    <a:pt x="196" y="40"/>
                  </a:lnTo>
                  <a:lnTo>
                    <a:pt x="208" y="39"/>
                  </a:lnTo>
                  <a:lnTo>
                    <a:pt x="220" y="40"/>
                  </a:lnTo>
                  <a:lnTo>
                    <a:pt x="232" y="43"/>
                  </a:lnTo>
                  <a:lnTo>
                    <a:pt x="244" y="46"/>
                  </a:lnTo>
                  <a:lnTo>
                    <a:pt x="249" y="46"/>
                  </a:lnTo>
                  <a:lnTo>
                    <a:pt x="250" y="46"/>
                  </a:lnTo>
                  <a:lnTo>
                    <a:pt x="253" y="47"/>
                  </a:lnTo>
                  <a:lnTo>
                    <a:pt x="258" y="51"/>
                  </a:lnTo>
                  <a:lnTo>
                    <a:pt x="263" y="53"/>
                  </a:lnTo>
                  <a:lnTo>
                    <a:pt x="265" y="56"/>
                  </a:lnTo>
                  <a:lnTo>
                    <a:pt x="268" y="59"/>
                  </a:lnTo>
                  <a:lnTo>
                    <a:pt x="273" y="68"/>
                  </a:lnTo>
                  <a:lnTo>
                    <a:pt x="274" y="69"/>
                  </a:lnTo>
                  <a:lnTo>
                    <a:pt x="277" y="70"/>
                  </a:lnTo>
                  <a:lnTo>
                    <a:pt x="281" y="71"/>
                  </a:lnTo>
                  <a:lnTo>
                    <a:pt x="286" y="72"/>
                  </a:lnTo>
                  <a:lnTo>
                    <a:pt x="291" y="75"/>
                  </a:lnTo>
                  <a:lnTo>
                    <a:pt x="296" y="76"/>
                  </a:lnTo>
                  <a:lnTo>
                    <a:pt x="301" y="77"/>
                  </a:lnTo>
                  <a:lnTo>
                    <a:pt x="310" y="77"/>
                  </a:lnTo>
                  <a:lnTo>
                    <a:pt x="319" y="75"/>
                  </a:lnTo>
                  <a:lnTo>
                    <a:pt x="322" y="75"/>
                  </a:lnTo>
                  <a:lnTo>
                    <a:pt x="325" y="77"/>
                  </a:lnTo>
                  <a:lnTo>
                    <a:pt x="328" y="81"/>
                  </a:lnTo>
                  <a:lnTo>
                    <a:pt x="328" y="82"/>
                  </a:lnTo>
                  <a:lnTo>
                    <a:pt x="326" y="84"/>
                  </a:lnTo>
                  <a:lnTo>
                    <a:pt x="324" y="85"/>
                  </a:lnTo>
                  <a:lnTo>
                    <a:pt x="320" y="87"/>
                  </a:lnTo>
                  <a:lnTo>
                    <a:pt x="312" y="88"/>
                  </a:lnTo>
                  <a:lnTo>
                    <a:pt x="310" y="90"/>
                  </a:lnTo>
                  <a:lnTo>
                    <a:pt x="309" y="94"/>
                  </a:lnTo>
                  <a:lnTo>
                    <a:pt x="309" y="97"/>
                  </a:lnTo>
                  <a:lnTo>
                    <a:pt x="310" y="98"/>
                  </a:lnTo>
                  <a:lnTo>
                    <a:pt x="312" y="98"/>
                  </a:lnTo>
                  <a:lnTo>
                    <a:pt x="317" y="97"/>
                  </a:lnTo>
                  <a:lnTo>
                    <a:pt x="322" y="95"/>
                  </a:lnTo>
                  <a:lnTo>
                    <a:pt x="326" y="93"/>
                  </a:lnTo>
                  <a:lnTo>
                    <a:pt x="331" y="90"/>
                  </a:lnTo>
                  <a:lnTo>
                    <a:pt x="334" y="91"/>
                  </a:lnTo>
                  <a:lnTo>
                    <a:pt x="335" y="94"/>
                  </a:lnTo>
                  <a:lnTo>
                    <a:pt x="338" y="100"/>
                  </a:lnTo>
                  <a:lnTo>
                    <a:pt x="333" y="100"/>
                  </a:lnTo>
                  <a:lnTo>
                    <a:pt x="326" y="100"/>
                  </a:lnTo>
                  <a:lnTo>
                    <a:pt x="326" y="101"/>
                  </a:lnTo>
                  <a:lnTo>
                    <a:pt x="326" y="102"/>
                  </a:lnTo>
                  <a:lnTo>
                    <a:pt x="326" y="106"/>
                  </a:lnTo>
                  <a:lnTo>
                    <a:pt x="330" y="107"/>
                  </a:lnTo>
                  <a:lnTo>
                    <a:pt x="336" y="107"/>
                  </a:lnTo>
                  <a:lnTo>
                    <a:pt x="343" y="107"/>
                  </a:lnTo>
                  <a:lnTo>
                    <a:pt x="354" y="102"/>
                  </a:lnTo>
                  <a:lnTo>
                    <a:pt x="357" y="101"/>
                  </a:lnTo>
                  <a:lnTo>
                    <a:pt x="359" y="103"/>
                  </a:lnTo>
                  <a:lnTo>
                    <a:pt x="362" y="108"/>
                  </a:lnTo>
                  <a:lnTo>
                    <a:pt x="357" y="109"/>
                  </a:lnTo>
                  <a:lnTo>
                    <a:pt x="353" y="109"/>
                  </a:lnTo>
                  <a:lnTo>
                    <a:pt x="348" y="110"/>
                  </a:lnTo>
                  <a:lnTo>
                    <a:pt x="344" y="112"/>
                  </a:lnTo>
                  <a:lnTo>
                    <a:pt x="348" y="114"/>
                  </a:lnTo>
                  <a:lnTo>
                    <a:pt x="353" y="115"/>
                  </a:lnTo>
                  <a:lnTo>
                    <a:pt x="358" y="114"/>
                  </a:lnTo>
                  <a:lnTo>
                    <a:pt x="362" y="113"/>
                  </a:lnTo>
                  <a:lnTo>
                    <a:pt x="371" y="108"/>
                  </a:lnTo>
                  <a:lnTo>
                    <a:pt x="376" y="107"/>
                  </a:lnTo>
                  <a:lnTo>
                    <a:pt x="380" y="107"/>
                  </a:lnTo>
                  <a:lnTo>
                    <a:pt x="382" y="108"/>
                  </a:lnTo>
                  <a:lnTo>
                    <a:pt x="385" y="112"/>
                  </a:lnTo>
                  <a:lnTo>
                    <a:pt x="389" y="120"/>
                  </a:lnTo>
                  <a:lnTo>
                    <a:pt x="389" y="121"/>
                  </a:lnTo>
                  <a:lnTo>
                    <a:pt x="387" y="121"/>
                  </a:lnTo>
                  <a:lnTo>
                    <a:pt x="383" y="122"/>
                  </a:lnTo>
                  <a:lnTo>
                    <a:pt x="375" y="123"/>
                  </a:lnTo>
                  <a:lnTo>
                    <a:pt x="372" y="126"/>
                  </a:lnTo>
                  <a:lnTo>
                    <a:pt x="368" y="128"/>
                  </a:lnTo>
                  <a:lnTo>
                    <a:pt x="369" y="129"/>
                  </a:lnTo>
                  <a:lnTo>
                    <a:pt x="371" y="130"/>
                  </a:lnTo>
                  <a:lnTo>
                    <a:pt x="372" y="130"/>
                  </a:lnTo>
                  <a:lnTo>
                    <a:pt x="373" y="130"/>
                  </a:lnTo>
                  <a:lnTo>
                    <a:pt x="376" y="128"/>
                  </a:lnTo>
                  <a:lnTo>
                    <a:pt x="377" y="128"/>
                  </a:lnTo>
                  <a:lnTo>
                    <a:pt x="380" y="128"/>
                  </a:lnTo>
                  <a:lnTo>
                    <a:pt x="383" y="129"/>
                  </a:lnTo>
                  <a:lnTo>
                    <a:pt x="386" y="132"/>
                  </a:lnTo>
                  <a:lnTo>
                    <a:pt x="392" y="138"/>
                  </a:lnTo>
                  <a:lnTo>
                    <a:pt x="389" y="139"/>
                  </a:lnTo>
                  <a:lnTo>
                    <a:pt x="383" y="140"/>
                  </a:lnTo>
                  <a:lnTo>
                    <a:pt x="378" y="140"/>
                  </a:lnTo>
                  <a:lnTo>
                    <a:pt x="375" y="141"/>
                  </a:lnTo>
                  <a:lnTo>
                    <a:pt x="373" y="144"/>
                  </a:lnTo>
                  <a:lnTo>
                    <a:pt x="373" y="147"/>
                  </a:lnTo>
                  <a:lnTo>
                    <a:pt x="372" y="154"/>
                  </a:lnTo>
                  <a:lnTo>
                    <a:pt x="372" y="157"/>
                  </a:lnTo>
                  <a:lnTo>
                    <a:pt x="373" y="159"/>
                  </a:lnTo>
                  <a:lnTo>
                    <a:pt x="376" y="160"/>
                  </a:lnTo>
                  <a:lnTo>
                    <a:pt x="380" y="161"/>
                  </a:lnTo>
                  <a:lnTo>
                    <a:pt x="386" y="162"/>
                  </a:lnTo>
                  <a:lnTo>
                    <a:pt x="394" y="164"/>
                  </a:lnTo>
                  <a:lnTo>
                    <a:pt x="395" y="164"/>
                  </a:lnTo>
                  <a:lnTo>
                    <a:pt x="396" y="164"/>
                  </a:lnTo>
                  <a:lnTo>
                    <a:pt x="394" y="167"/>
                  </a:lnTo>
                  <a:lnTo>
                    <a:pt x="392" y="170"/>
                  </a:lnTo>
                  <a:lnTo>
                    <a:pt x="392" y="173"/>
                  </a:lnTo>
                  <a:lnTo>
                    <a:pt x="394" y="174"/>
                  </a:lnTo>
                  <a:lnTo>
                    <a:pt x="396" y="174"/>
                  </a:lnTo>
                  <a:lnTo>
                    <a:pt x="402" y="176"/>
                  </a:lnTo>
                  <a:lnTo>
                    <a:pt x="406" y="177"/>
                  </a:lnTo>
                  <a:lnTo>
                    <a:pt x="409" y="179"/>
                  </a:lnTo>
                  <a:lnTo>
                    <a:pt x="411" y="180"/>
                  </a:lnTo>
                  <a:lnTo>
                    <a:pt x="413" y="180"/>
                  </a:lnTo>
                  <a:lnTo>
                    <a:pt x="416" y="179"/>
                  </a:lnTo>
                  <a:lnTo>
                    <a:pt x="419" y="177"/>
                  </a:lnTo>
                  <a:lnTo>
                    <a:pt x="423" y="177"/>
                  </a:lnTo>
                  <a:lnTo>
                    <a:pt x="429" y="178"/>
                  </a:lnTo>
                  <a:lnTo>
                    <a:pt x="436" y="181"/>
                  </a:lnTo>
                  <a:lnTo>
                    <a:pt x="437" y="184"/>
                  </a:lnTo>
                  <a:lnTo>
                    <a:pt x="438" y="186"/>
                  </a:lnTo>
                  <a:lnTo>
                    <a:pt x="438" y="189"/>
                  </a:lnTo>
                  <a:lnTo>
                    <a:pt x="438" y="192"/>
                  </a:lnTo>
                  <a:lnTo>
                    <a:pt x="439" y="193"/>
                  </a:lnTo>
                  <a:lnTo>
                    <a:pt x="441" y="196"/>
                  </a:lnTo>
                  <a:lnTo>
                    <a:pt x="443" y="197"/>
                  </a:lnTo>
                  <a:lnTo>
                    <a:pt x="447" y="197"/>
                  </a:lnTo>
                  <a:lnTo>
                    <a:pt x="449" y="196"/>
                  </a:lnTo>
                  <a:lnTo>
                    <a:pt x="452" y="196"/>
                  </a:lnTo>
                  <a:lnTo>
                    <a:pt x="453" y="197"/>
                  </a:lnTo>
                  <a:lnTo>
                    <a:pt x="452" y="199"/>
                  </a:lnTo>
                  <a:lnTo>
                    <a:pt x="451" y="200"/>
                  </a:lnTo>
                  <a:lnTo>
                    <a:pt x="449" y="203"/>
                  </a:lnTo>
                  <a:lnTo>
                    <a:pt x="451" y="205"/>
                  </a:lnTo>
                  <a:lnTo>
                    <a:pt x="451" y="206"/>
                  </a:lnTo>
                  <a:lnTo>
                    <a:pt x="452" y="206"/>
                  </a:lnTo>
                  <a:lnTo>
                    <a:pt x="460" y="205"/>
                  </a:lnTo>
                  <a:lnTo>
                    <a:pt x="463" y="206"/>
                  </a:lnTo>
                  <a:lnTo>
                    <a:pt x="466" y="206"/>
                  </a:lnTo>
                  <a:lnTo>
                    <a:pt x="469" y="208"/>
                  </a:lnTo>
                  <a:lnTo>
                    <a:pt x="471" y="208"/>
                  </a:lnTo>
                  <a:lnTo>
                    <a:pt x="480" y="202"/>
                  </a:lnTo>
                  <a:lnTo>
                    <a:pt x="484" y="200"/>
                  </a:lnTo>
                  <a:lnTo>
                    <a:pt x="488" y="200"/>
                  </a:lnTo>
                  <a:lnTo>
                    <a:pt x="489" y="203"/>
                  </a:lnTo>
                  <a:lnTo>
                    <a:pt x="490" y="205"/>
                  </a:lnTo>
                  <a:lnTo>
                    <a:pt x="493" y="211"/>
                  </a:lnTo>
                  <a:lnTo>
                    <a:pt x="493" y="213"/>
                  </a:lnTo>
                  <a:lnTo>
                    <a:pt x="491" y="215"/>
                  </a:lnTo>
                  <a:lnTo>
                    <a:pt x="488" y="216"/>
                  </a:lnTo>
                  <a:lnTo>
                    <a:pt x="482" y="217"/>
                  </a:lnTo>
                  <a:lnTo>
                    <a:pt x="479" y="218"/>
                  </a:lnTo>
                  <a:lnTo>
                    <a:pt x="477" y="219"/>
                  </a:lnTo>
                  <a:lnTo>
                    <a:pt x="479" y="222"/>
                  </a:lnTo>
                  <a:lnTo>
                    <a:pt x="480" y="224"/>
                  </a:lnTo>
                  <a:lnTo>
                    <a:pt x="479" y="227"/>
                  </a:lnTo>
                  <a:lnTo>
                    <a:pt x="476" y="228"/>
                  </a:lnTo>
                  <a:lnTo>
                    <a:pt x="475" y="229"/>
                  </a:lnTo>
                  <a:lnTo>
                    <a:pt x="475" y="230"/>
                  </a:lnTo>
                  <a:lnTo>
                    <a:pt x="476" y="232"/>
                  </a:lnTo>
                  <a:lnTo>
                    <a:pt x="479" y="234"/>
                  </a:lnTo>
                  <a:lnTo>
                    <a:pt x="480" y="235"/>
                  </a:lnTo>
                  <a:lnTo>
                    <a:pt x="480" y="237"/>
                  </a:lnTo>
                  <a:lnTo>
                    <a:pt x="476" y="240"/>
                  </a:lnTo>
                  <a:lnTo>
                    <a:pt x="472" y="240"/>
                  </a:lnTo>
                  <a:lnTo>
                    <a:pt x="467" y="240"/>
                  </a:lnTo>
                  <a:lnTo>
                    <a:pt x="462" y="237"/>
                  </a:lnTo>
                  <a:lnTo>
                    <a:pt x="461" y="237"/>
                  </a:lnTo>
                  <a:lnTo>
                    <a:pt x="460" y="237"/>
                  </a:lnTo>
                  <a:lnTo>
                    <a:pt x="460" y="238"/>
                  </a:lnTo>
                  <a:lnTo>
                    <a:pt x="461" y="241"/>
                  </a:lnTo>
                  <a:lnTo>
                    <a:pt x="462" y="242"/>
                  </a:lnTo>
                  <a:lnTo>
                    <a:pt x="463" y="243"/>
                  </a:lnTo>
                  <a:lnTo>
                    <a:pt x="463" y="244"/>
                  </a:lnTo>
                  <a:lnTo>
                    <a:pt x="462" y="245"/>
                  </a:lnTo>
                  <a:lnTo>
                    <a:pt x="461" y="247"/>
                  </a:lnTo>
                  <a:lnTo>
                    <a:pt x="458" y="248"/>
                  </a:lnTo>
                  <a:lnTo>
                    <a:pt x="458" y="249"/>
                  </a:lnTo>
                  <a:lnTo>
                    <a:pt x="461" y="251"/>
                  </a:lnTo>
                  <a:lnTo>
                    <a:pt x="462" y="254"/>
                  </a:lnTo>
                  <a:lnTo>
                    <a:pt x="462" y="256"/>
                  </a:lnTo>
                  <a:lnTo>
                    <a:pt x="461" y="257"/>
                  </a:lnTo>
                  <a:lnTo>
                    <a:pt x="458" y="260"/>
                  </a:lnTo>
                  <a:lnTo>
                    <a:pt x="458" y="263"/>
                  </a:lnTo>
                  <a:lnTo>
                    <a:pt x="458" y="264"/>
                  </a:lnTo>
                  <a:lnTo>
                    <a:pt x="457" y="264"/>
                  </a:lnTo>
                  <a:lnTo>
                    <a:pt x="456" y="264"/>
                  </a:lnTo>
                  <a:lnTo>
                    <a:pt x="455" y="264"/>
                  </a:lnTo>
                  <a:lnTo>
                    <a:pt x="452" y="262"/>
                  </a:lnTo>
                  <a:lnTo>
                    <a:pt x="451" y="259"/>
                  </a:lnTo>
                  <a:lnTo>
                    <a:pt x="448" y="256"/>
                  </a:lnTo>
                  <a:lnTo>
                    <a:pt x="447" y="255"/>
                  </a:lnTo>
                  <a:lnTo>
                    <a:pt x="443" y="254"/>
                  </a:lnTo>
                  <a:lnTo>
                    <a:pt x="442" y="254"/>
                  </a:lnTo>
                  <a:lnTo>
                    <a:pt x="439" y="254"/>
                  </a:lnTo>
                  <a:lnTo>
                    <a:pt x="438" y="254"/>
                  </a:lnTo>
                  <a:lnTo>
                    <a:pt x="437" y="253"/>
                  </a:lnTo>
                  <a:lnTo>
                    <a:pt x="434" y="249"/>
                  </a:lnTo>
                  <a:lnTo>
                    <a:pt x="432" y="245"/>
                  </a:lnTo>
                  <a:lnTo>
                    <a:pt x="430" y="242"/>
                  </a:lnTo>
                  <a:lnTo>
                    <a:pt x="429" y="237"/>
                  </a:lnTo>
                  <a:lnTo>
                    <a:pt x="429" y="234"/>
                  </a:lnTo>
                  <a:lnTo>
                    <a:pt x="430" y="229"/>
                  </a:lnTo>
                  <a:lnTo>
                    <a:pt x="433" y="225"/>
                  </a:lnTo>
                  <a:lnTo>
                    <a:pt x="436" y="221"/>
                  </a:lnTo>
                  <a:lnTo>
                    <a:pt x="430" y="223"/>
                  </a:lnTo>
                  <a:lnTo>
                    <a:pt x="427" y="225"/>
                  </a:lnTo>
                  <a:lnTo>
                    <a:pt x="422" y="229"/>
                  </a:lnTo>
                  <a:lnTo>
                    <a:pt x="418" y="231"/>
                  </a:lnTo>
                  <a:lnTo>
                    <a:pt x="416" y="231"/>
                  </a:lnTo>
                  <a:lnTo>
                    <a:pt x="415" y="231"/>
                  </a:lnTo>
                  <a:lnTo>
                    <a:pt x="413" y="229"/>
                  </a:lnTo>
                  <a:lnTo>
                    <a:pt x="413" y="225"/>
                  </a:lnTo>
                  <a:lnTo>
                    <a:pt x="415" y="221"/>
                  </a:lnTo>
                  <a:lnTo>
                    <a:pt x="414" y="221"/>
                  </a:lnTo>
                  <a:lnTo>
                    <a:pt x="414" y="219"/>
                  </a:lnTo>
                  <a:lnTo>
                    <a:pt x="409" y="219"/>
                  </a:lnTo>
                  <a:lnTo>
                    <a:pt x="402" y="219"/>
                  </a:lnTo>
                  <a:lnTo>
                    <a:pt x="397" y="217"/>
                  </a:lnTo>
                  <a:lnTo>
                    <a:pt x="392" y="215"/>
                  </a:lnTo>
                  <a:lnTo>
                    <a:pt x="389" y="213"/>
                  </a:lnTo>
                  <a:lnTo>
                    <a:pt x="385" y="213"/>
                  </a:lnTo>
                  <a:lnTo>
                    <a:pt x="382" y="216"/>
                  </a:lnTo>
                  <a:lnTo>
                    <a:pt x="380" y="218"/>
                  </a:lnTo>
                  <a:lnTo>
                    <a:pt x="380" y="222"/>
                  </a:lnTo>
                  <a:lnTo>
                    <a:pt x="381" y="224"/>
                  </a:lnTo>
                  <a:lnTo>
                    <a:pt x="382" y="227"/>
                  </a:lnTo>
                  <a:lnTo>
                    <a:pt x="381" y="229"/>
                  </a:lnTo>
                  <a:lnTo>
                    <a:pt x="380" y="234"/>
                  </a:lnTo>
                  <a:lnTo>
                    <a:pt x="380" y="237"/>
                  </a:lnTo>
                  <a:lnTo>
                    <a:pt x="381" y="241"/>
                  </a:lnTo>
                  <a:lnTo>
                    <a:pt x="382" y="242"/>
                  </a:lnTo>
                  <a:lnTo>
                    <a:pt x="385" y="242"/>
                  </a:lnTo>
                  <a:lnTo>
                    <a:pt x="389" y="242"/>
                  </a:lnTo>
                  <a:lnTo>
                    <a:pt x="390" y="243"/>
                  </a:lnTo>
                  <a:lnTo>
                    <a:pt x="391" y="244"/>
                  </a:lnTo>
                  <a:lnTo>
                    <a:pt x="395" y="250"/>
                  </a:lnTo>
                  <a:lnTo>
                    <a:pt x="400" y="256"/>
                  </a:lnTo>
                  <a:lnTo>
                    <a:pt x="405" y="261"/>
                  </a:lnTo>
                  <a:lnTo>
                    <a:pt x="411" y="264"/>
                  </a:lnTo>
                  <a:lnTo>
                    <a:pt x="415" y="266"/>
                  </a:lnTo>
                  <a:lnTo>
                    <a:pt x="420" y="264"/>
                  </a:lnTo>
                  <a:lnTo>
                    <a:pt x="424" y="264"/>
                  </a:lnTo>
                  <a:lnTo>
                    <a:pt x="428" y="266"/>
                  </a:lnTo>
                  <a:lnTo>
                    <a:pt x="429" y="267"/>
                  </a:lnTo>
                  <a:lnTo>
                    <a:pt x="428" y="269"/>
                  </a:lnTo>
                  <a:lnTo>
                    <a:pt x="427" y="273"/>
                  </a:lnTo>
                  <a:lnTo>
                    <a:pt x="427" y="275"/>
                  </a:lnTo>
                  <a:lnTo>
                    <a:pt x="427" y="277"/>
                  </a:lnTo>
                  <a:lnTo>
                    <a:pt x="428" y="280"/>
                  </a:lnTo>
                  <a:lnTo>
                    <a:pt x="436" y="289"/>
                  </a:lnTo>
                  <a:lnTo>
                    <a:pt x="441" y="292"/>
                  </a:lnTo>
                  <a:lnTo>
                    <a:pt x="441" y="294"/>
                  </a:lnTo>
                  <a:lnTo>
                    <a:pt x="441" y="296"/>
                  </a:lnTo>
                  <a:lnTo>
                    <a:pt x="444" y="301"/>
                  </a:lnTo>
                  <a:lnTo>
                    <a:pt x="447" y="305"/>
                  </a:lnTo>
                  <a:lnTo>
                    <a:pt x="448" y="310"/>
                  </a:lnTo>
                  <a:lnTo>
                    <a:pt x="448" y="311"/>
                  </a:lnTo>
                  <a:lnTo>
                    <a:pt x="446" y="310"/>
                  </a:lnTo>
                  <a:lnTo>
                    <a:pt x="441" y="30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6" name="Freeform 965"/>
            <p:cNvSpPr>
              <a:spLocks/>
            </p:cNvSpPr>
            <p:nvPr/>
          </p:nvSpPr>
          <p:spPr bwMode="auto">
            <a:xfrm>
              <a:off x="2708279" y="2301877"/>
              <a:ext cx="22225" cy="19050"/>
            </a:xfrm>
            <a:custGeom>
              <a:avLst/>
              <a:gdLst>
                <a:gd name="T0" fmla="*/ 2147483647 w 15"/>
                <a:gd name="T1" fmla="*/ 2147483647 h 12"/>
                <a:gd name="T2" fmla="*/ 2147483647 w 15"/>
                <a:gd name="T3" fmla="*/ 2147483647 h 12"/>
                <a:gd name="T4" fmla="*/ 0 w 15"/>
                <a:gd name="T5" fmla="*/ 2147483647 h 12"/>
                <a:gd name="T6" fmla="*/ 2147483647 w 15"/>
                <a:gd name="T7" fmla="*/ 2147483647 h 12"/>
                <a:gd name="T8" fmla="*/ 2147483647 w 15"/>
                <a:gd name="T9" fmla="*/ 0 h 12"/>
                <a:gd name="T10" fmla="*/ 2147483647 w 15"/>
                <a:gd name="T11" fmla="*/ 0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2"/>
                <a:gd name="T47" fmla="*/ 15 w 15"/>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2">
                  <a:moveTo>
                    <a:pt x="3" y="8"/>
                  </a:moveTo>
                  <a:lnTo>
                    <a:pt x="1" y="6"/>
                  </a:lnTo>
                  <a:lnTo>
                    <a:pt x="0" y="3"/>
                  </a:lnTo>
                  <a:lnTo>
                    <a:pt x="1" y="1"/>
                  </a:lnTo>
                  <a:lnTo>
                    <a:pt x="3" y="0"/>
                  </a:lnTo>
                  <a:lnTo>
                    <a:pt x="10" y="0"/>
                  </a:lnTo>
                  <a:lnTo>
                    <a:pt x="12" y="1"/>
                  </a:lnTo>
                  <a:lnTo>
                    <a:pt x="15" y="3"/>
                  </a:lnTo>
                  <a:lnTo>
                    <a:pt x="15" y="6"/>
                  </a:lnTo>
                  <a:lnTo>
                    <a:pt x="15" y="8"/>
                  </a:lnTo>
                  <a:lnTo>
                    <a:pt x="14" y="11"/>
                  </a:lnTo>
                  <a:lnTo>
                    <a:pt x="11" y="12"/>
                  </a:lnTo>
                  <a:lnTo>
                    <a:pt x="10" y="12"/>
                  </a:lnTo>
                  <a:lnTo>
                    <a:pt x="7" y="11"/>
                  </a:lnTo>
                  <a:lnTo>
                    <a:pt x="3"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7" name="Freeform 966"/>
            <p:cNvSpPr>
              <a:spLocks/>
            </p:cNvSpPr>
            <p:nvPr/>
          </p:nvSpPr>
          <p:spPr bwMode="auto">
            <a:xfrm>
              <a:off x="2401889" y="2201863"/>
              <a:ext cx="25400" cy="20637"/>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0 w 17"/>
                <a:gd name="T9" fmla="*/ 2147483647 h 13"/>
                <a:gd name="T10" fmla="*/ 2147483647 w 17"/>
                <a:gd name="T11" fmla="*/ 2147483647 h 13"/>
                <a:gd name="T12" fmla="*/ 2147483647 w 17"/>
                <a:gd name="T13" fmla="*/ 2147483647 h 13"/>
                <a:gd name="T14" fmla="*/ 2147483647 w 17"/>
                <a:gd name="T15" fmla="*/ 0 h 13"/>
                <a:gd name="T16" fmla="*/ 2147483647 w 17"/>
                <a:gd name="T17" fmla="*/ 2147483647 h 13"/>
                <a:gd name="T18" fmla="*/ 2147483647 w 17"/>
                <a:gd name="T19" fmla="*/ 2147483647 h 13"/>
                <a:gd name="T20" fmla="*/ 2147483647 w 17"/>
                <a:gd name="T21" fmla="*/ 2147483647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3"/>
                <a:gd name="T47" fmla="*/ 17 w 17"/>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3">
                  <a:moveTo>
                    <a:pt x="7" y="11"/>
                  </a:moveTo>
                  <a:lnTo>
                    <a:pt x="3" y="11"/>
                  </a:lnTo>
                  <a:lnTo>
                    <a:pt x="2" y="10"/>
                  </a:lnTo>
                  <a:lnTo>
                    <a:pt x="2" y="8"/>
                  </a:lnTo>
                  <a:lnTo>
                    <a:pt x="0" y="6"/>
                  </a:lnTo>
                  <a:lnTo>
                    <a:pt x="2" y="4"/>
                  </a:lnTo>
                  <a:lnTo>
                    <a:pt x="3" y="1"/>
                  </a:lnTo>
                  <a:lnTo>
                    <a:pt x="5" y="0"/>
                  </a:lnTo>
                  <a:lnTo>
                    <a:pt x="11" y="1"/>
                  </a:lnTo>
                  <a:lnTo>
                    <a:pt x="14" y="2"/>
                  </a:lnTo>
                  <a:lnTo>
                    <a:pt x="17" y="6"/>
                  </a:lnTo>
                  <a:lnTo>
                    <a:pt x="17" y="11"/>
                  </a:lnTo>
                  <a:lnTo>
                    <a:pt x="16" y="13"/>
                  </a:lnTo>
                  <a:lnTo>
                    <a:pt x="13" y="13"/>
                  </a:lnTo>
                  <a:lnTo>
                    <a:pt x="7"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8" name="Freeform 967"/>
            <p:cNvSpPr>
              <a:spLocks/>
            </p:cNvSpPr>
            <p:nvPr/>
          </p:nvSpPr>
          <p:spPr bwMode="auto">
            <a:xfrm>
              <a:off x="2705102" y="2300288"/>
              <a:ext cx="23813" cy="19050"/>
            </a:xfrm>
            <a:custGeom>
              <a:avLst/>
              <a:gdLst>
                <a:gd name="T0" fmla="*/ 2147483647 w 16"/>
                <a:gd name="T1" fmla="*/ 2147483647 h 12"/>
                <a:gd name="T2" fmla="*/ 2147483647 w 16"/>
                <a:gd name="T3" fmla="*/ 2147483647 h 12"/>
                <a:gd name="T4" fmla="*/ 2147483647 w 16"/>
                <a:gd name="T5" fmla="*/ 2147483647 h 12"/>
                <a:gd name="T6" fmla="*/ 0 w 16"/>
                <a:gd name="T7" fmla="*/ 2147483647 h 12"/>
                <a:gd name="T8" fmla="*/ 2147483647 w 16"/>
                <a:gd name="T9" fmla="*/ 2147483647 h 12"/>
                <a:gd name="T10" fmla="*/ 2147483647 w 16"/>
                <a:gd name="T11" fmla="*/ 0 h 12"/>
                <a:gd name="T12" fmla="*/ 2147483647 w 16"/>
                <a:gd name="T13" fmla="*/ 0 h 12"/>
                <a:gd name="T14" fmla="*/ 2147483647 w 16"/>
                <a:gd name="T15" fmla="*/ 0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
                <a:gd name="T61" fmla="*/ 0 h 12"/>
                <a:gd name="T62" fmla="*/ 16 w 16"/>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 h="12">
                  <a:moveTo>
                    <a:pt x="4" y="8"/>
                  </a:moveTo>
                  <a:lnTo>
                    <a:pt x="4" y="8"/>
                  </a:lnTo>
                  <a:lnTo>
                    <a:pt x="2" y="6"/>
                  </a:lnTo>
                  <a:lnTo>
                    <a:pt x="0" y="3"/>
                  </a:lnTo>
                  <a:lnTo>
                    <a:pt x="2" y="1"/>
                  </a:lnTo>
                  <a:lnTo>
                    <a:pt x="4" y="0"/>
                  </a:lnTo>
                  <a:lnTo>
                    <a:pt x="11" y="0"/>
                  </a:lnTo>
                  <a:lnTo>
                    <a:pt x="13" y="1"/>
                  </a:lnTo>
                  <a:lnTo>
                    <a:pt x="16" y="3"/>
                  </a:lnTo>
                  <a:lnTo>
                    <a:pt x="16" y="6"/>
                  </a:lnTo>
                  <a:lnTo>
                    <a:pt x="16" y="8"/>
                  </a:lnTo>
                  <a:lnTo>
                    <a:pt x="14" y="10"/>
                  </a:lnTo>
                  <a:lnTo>
                    <a:pt x="12" y="12"/>
                  </a:lnTo>
                  <a:lnTo>
                    <a:pt x="11" y="12"/>
                  </a:lnTo>
                  <a:lnTo>
                    <a:pt x="8" y="10"/>
                  </a:lnTo>
                  <a:lnTo>
                    <a:pt x="4"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69" name="Freeform 968"/>
            <p:cNvSpPr>
              <a:spLocks/>
            </p:cNvSpPr>
            <p:nvPr/>
          </p:nvSpPr>
          <p:spPr bwMode="auto">
            <a:xfrm>
              <a:off x="2400300" y="2200277"/>
              <a:ext cx="25400" cy="20638"/>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2147483647 w 17"/>
                <a:gd name="T9" fmla="*/ 2147483647 h 13"/>
                <a:gd name="T10" fmla="*/ 2147483647 w 17"/>
                <a:gd name="T11" fmla="*/ 2147483647 h 13"/>
                <a:gd name="T12" fmla="*/ 0 w 17"/>
                <a:gd name="T13" fmla="*/ 2147483647 h 13"/>
                <a:gd name="T14" fmla="*/ 2147483647 w 17"/>
                <a:gd name="T15" fmla="*/ 2147483647 h 13"/>
                <a:gd name="T16" fmla="*/ 2147483647 w 17"/>
                <a:gd name="T17" fmla="*/ 2147483647 h 13"/>
                <a:gd name="T18" fmla="*/ 2147483647 w 17"/>
                <a:gd name="T19" fmla="*/ 0 h 13"/>
                <a:gd name="T20" fmla="*/ 2147483647 w 17"/>
                <a:gd name="T21" fmla="*/ 0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2147483647 w 17"/>
                <a:gd name="T31" fmla="*/ 2147483647 h 13"/>
                <a:gd name="T32" fmla="*/ 2147483647 w 17"/>
                <a:gd name="T33" fmla="*/ 2147483647 h 13"/>
                <a:gd name="T34" fmla="*/ 2147483647 w 17"/>
                <a:gd name="T35" fmla="*/ 2147483647 h 13"/>
                <a:gd name="T36" fmla="*/ 2147483647 w 17"/>
                <a:gd name="T37" fmla="*/ 2147483647 h 13"/>
                <a:gd name="T38" fmla="*/ 2147483647 w 17"/>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3"/>
                <a:gd name="T62" fmla="*/ 17 w 17"/>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3">
                  <a:moveTo>
                    <a:pt x="6" y="11"/>
                  </a:moveTo>
                  <a:lnTo>
                    <a:pt x="6" y="11"/>
                  </a:lnTo>
                  <a:lnTo>
                    <a:pt x="3" y="11"/>
                  </a:lnTo>
                  <a:lnTo>
                    <a:pt x="1" y="9"/>
                  </a:lnTo>
                  <a:lnTo>
                    <a:pt x="1" y="8"/>
                  </a:lnTo>
                  <a:lnTo>
                    <a:pt x="0" y="6"/>
                  </a:lnTo>
                  <a:lnTo>
                    <a:pt x="1" y="3"/>
                  </a:lnTo>
                  <a:lnTo>
                    <a:pt x="3" y="1"/>
                  </a:lnTo>
                  <a:lnTo>
                    <a:pt x="5" y="0"/>
                  </a:lnTo>
                  <a:lnTo>
                    <a:pt x="10" y="1"/>
                  </a:lnTo>
                  <a:lnTo>
                    <a:pt x="14" y="2"/>
                  </a:lnTo>
                  <a:lnTo>
                    <a:pt x="17" y="6"/>
                  </a:lnTo>
                  <a:lnTo>
                    <a:pt x="17" y="11"/>
                  </a:lnTo>
                  <a:lnTo>
                    <a:pt x="15" y="13"/>
                  </a:lnTo>
                  <a:lnTo>
                    <a:pt x="13" y="13"/>
                  </a:lnTo>
                  <a:lnTo>
                    <a:pt x="6"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0" name="Freeform 969"/>
            <p:cNvSpPr>
              <a:spLocks/>
            </p:cNvSpPr>
            <p:nvPr/>
          </p:nvSpPr>
          <p:spPr bwMode="auto">
            <a:xfrm>
              <a:off x="2370138" y="2209804"/>
              <a:ext cx="23812" cy="22225"/>
            </a:xfrm>
            <a:custGeom>
              <a:avLst/>
              <a:gdLst>
                <a:gd name="T0" fmla="*/ 2147483647 w 17"/>
                <a:gd name="T1" fmla="*/ 0 h 14"/>
                <a:gd name="T2" fmla="*/ 2147483647 w 17"/>
                <a:gd name="T3" fmla="*/ 2147483647 h 14"/>
                <a:gd name="T4" fmla="*/ 2147483647 w 17"/>
                <a:gd name="T5" fmla="*/ 2147483647 h 14"/>
                <a:gd name="T6" fmla="*/ 2147483647 w 17"/>
                <a:gd name="T7" fmla="*/ 2147483647 h 14"/>
                <a:gd name="T8" fmla="*/ 2147483647 w 17"/>
                <a:gd name="T9" fmla="*/ 2147483647 h 14"/>
                <a:gd name="T10" fmla="*/ 2147483647 w 17"/>
                <a:gd name="T11" fmla="*/ 2147483647 h 14"/>
                <a:gd name="T12" fmla="*/ 2147483647 w 17"/>
                <a:gd name="T13" fmla="*/ 2147483647 h 14"/>
                <a:gd name="T14" fmla="*/ 2147483647 w 17"/>
                <a:gd name="T15" fmla="*/ 2147483647 h 14"/>
                <a:gd name="T16" fmla="*/ 2147483647 w 17"/>
                <a:gd name="T17" fmla="*/ 2147483647 h 14"/>
                <a:gd name="T18" fmla="*/ 0 w 17"/>
                <a:gd name="T19" fmla="*/ 2147483647 h 14"/>
                <a:gd name="T20" fmla="*/ 0 w 17"/>
                <a:gd name="T21" fmla="*/ 2147483647 h 14"/>
                <a:gd name="T22" fmla="*/ 0 w 17"/>
                <a:gd name="T23" fmla="*/ 2147483647 h 14"/>
                <a:gd name="T24" fmla="*/ 2147483647 w 17"/>
                <a:gd name="T25" fmla="*/ 2147483647 h 14"/>
                <a:gd name="T26" fmla="*/ 2147483647 w 17"/>
                <a:gd name="T27" fmla="*/ 0 h 14"/>
                <a:gd name="T28" fmla="*/ 2147483647 w 17"/>
                <a:gd name="T29" fmla="*/ 0 h 14"/>
                <a:gd name="T30" fmla="*/ 2147483647 w 17"/>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4"/>
                <a:gd name="T50" fmla="*/ 17 w 17"/>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4">
                  <a:moveTo>
                    <a:pt x="10" y="0"/>
                  </a:moveTo>
                  <a:lnTo>
                    <a:pt x="13" y="2"/>
                  </a:lnTo>
                  <a:lnTo>
                    <a:pt x="16" y="3"/>
                  </a:lnTo>
                  <a:lnTo>
                    <a:pt x="17" y="7"/>
                  </a:lnTo>
                  <a:lnTo>
                    <a:pt x="17" y="11"/>
                  </a:lnTo>
                  <a:lnTo>
                    <a:pt x="16" y="13"/>
                  </a:lnTo>
                  <a:lnTo>
                    <a:pt x="13" y="14"/>
                  </a:lnTo>
                  <a:lnTo>
                    <a:pt x="8" y="13"/>
                  </a:lnTo>
                  <a:lnTo>
                    <a:pt x="3" y="12"/>
                  </a:lnTo>
                  <a:lnTo>
                    <a:pt x="0" y="8"/>
                  </a:lnTo>
                  <a:lnTo>
                    <a:pt x="0" y="6"/>
                  </a:lnTo>
                  <a:lnTo>
                    <a:pt x="0" y="3"/>
                  </a:lnTo>
                  <a:lnTo>
                    <a:pt x="1" y="1"/>
                  </a:lnTo>
                  <a:lnTo>
                    <a:pt x="3" y="0"/>
                  </a:lnTo>
                  <a:lnTo>
                    <a:pt x="6" y="0"/>
                  </a:lnTo>
                  <a:lnTo>
                    <a:pt x="10"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1" name="Freeform 970"/>
            <p:cNvSpPr>
              <a:spLocks/>
            </p:cNvSpPr>
            <p:nvPr/>
          </p:nvSpPr>
          <p:spPr bwMode="auto">
            <a:xfrm>
              <a:off x="2322516" y="2254251"/>
              <a:ext cx="20637" cy="44450"/>
            </a:xfrm>
            <a:custGeom>
              <a:avLst/>
              <a:gdLst>
                <a:gd name="T0" fmla="*/ 2147483647 w 14"/>
                <a:gd name="T1" fmla="*/ 2147483647 h 28"/>
                <a:gd name="T2" fmla="*/ 2147483647 w 14"/>
                <a:gd name="T3" fmla="*/ 2147483647 h 28"/>
                <a:gd name="T4" fmla="*/ 2147483647 w 14"/>
                <a:gd name="T5" fmla="*/ 2147483647 h 28"/>
                <a:gd name="T6" fmla="*/ 2147483647 w 14"/>
                <a:gd name="T7" fmla="*/ 2147483647 h 28"/>
                <a:gd name="T8" fmla="*/ 2147483647 w 14"/>
                <a:gd name="T9" fmla="*/ 0 h 28"/>
                <a:gd name="T10" fmla="*/ 2147483647 w 14"/>
                <a:gd name="T11" fmla="*/ 0 h 28"/>
                <a:gd name="T12" fmla="*/ 2147483647 w 14"/>
                <a:gd name="T13" fmla="*/ 0 h 28"/>
                <a:gd name="T14" fmla="*/ 2147483647 w 14"/>
                <a:gd name="T15" fmla="*/ 2147483647 h 28"/>
                <a:gd name="T16" fmla="*/ 0 w 14"/>
                <a:gd name="T17" fmla="*/ 2147483647 h 28"/>
                <a:gd name="T18" fmla="*/ 0 w 14"/>
                <a:gd name="T19" fmla="*/ 2147483647 h 28"/>
                <a:gd name="T20" fmla="*/ 2147483647 w 14"/>
                <a:gd name="T21" fmla="*/ 2147483647 h 28"/>
                <a:gd name="T22" fmla="*/ 2147483647 w 14"/>
                <a:gd name="T23" fmla="*/ 2147483647 h 28"/>
                <a:gd name="T24" fmla="*/ 2147483647 w 14"/>
                <a:gd name="T25" fmla="*/ 2147483647 h 28"/>
                <a:gd name="T26" fmla="*/ 2147483647 w 14"/>
                <a:gd name="T27" fmla="*/ 2147483647 h 28"/>
                <a:gd name="T28" fmla="*/ 2147483647 w 14"/>
                <a:gd name="T29" fmla="*/ 2147483647 h 28"/>
                <a:gd name="T30" fmla="*/ 2147483647 w 14"/>
                <a:gd name="T31" fmla="*/ 2147483647 h 28"/>
                <a:gd name="T32" fmla="*/ 2147483647 w 14"/>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8"/>
                <a:gd name="T53" fmla="*/ 14 w 14"/>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8">
                  <a:moveTo>
                    <a:pt x="11" y="13"/>
                  </a:moveTo>
                  <a:lnTo>
                    <a:pt x="12" y="7"/>
                  </a:lnTo>
                  <a:lnTo>
                    <a:pt x="14" y="5"/>
                  </a:lnTo>
                  <a:lnTo>
                    <a:pt x="14" y="1"/>
                  </a:lnTo>
                  <a:lnTo>
                    <a:pt x="12" y="0"/>
                  </a:lnTo>
                  <a:lnTo>
                    <a:pt x="11" y="0"/>
                  </a:lnTo>
                  <a:lnTo>
                    <a:pt x="7" y="0"/>
                  </a:lnTo>
                  <a:lnTo>
                    <a:pt x="2" y="5"/>
                  </a:lnTo>
                  <a:lnTo>
                    <a:pt x="0" y="9"/>
                  </a:lnTo>
                  <a:lnTo>
                    <a:pt x="0" y="11"/>
                  </a:lnTo>
                  <a:lnTo>
                    <a:pt x="1" y="16"/>
                  </a:lnTo>
                  <a:lnTo>
                    <a:pt x="4" y="19"/>
                  </a:lnTo>
                  <a:lnTo>
                    <a:pt x="6" y="23"/>
                  </a:lnTo>
                  <a:lnTo>
                    <a:pt x="9" y="28"/>
                  </a:lnTo>
                  <a:lnTo>
                    <a:pt x="10" y="25"/>
                  </a:lnTo>
                  <a:lnTo>
                    <a:pt x="11" y="22"/>
                  </a:lnTo>
                  <a:lnTo>
                    <a:pt x="11"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2" name="Freeform 971"/>
            <p:cNvSpPr>
              <a:spLocks/>
            </p:cNvSpPr>
            <p:nvPr/>
          </p:nvSpPr>
          <p:spPr bwMode="auto">
            <a:xfrm>
              <a:off x="2366964" y="2208217"/>
              <a:ext cx="25400" cy="22225"/>
            </a:xfrm>
            <a:custGeom>
              <a:avLst/>
              <a:gdLst>
                <a:gd name="T0" fmla="*/ 2147483647 w 18"/>
                <a:gd name="T1" fmla="*/ 0 h 14"/>
                <a:gd name="T2" fmla="*/ 2147483647 w 18"/>
                <a:gd name="T3" fmla="*/ 0 h 14"/>
                <a:gd name="T4" fmla="*/ 2147483647 w 18"/>
                <a:gd name="T5" fmla="*/ 2147483647 h 14"/>
                <a:gd name="T6" fmla="*/ 2147483647 w 18"/>
                <a:gd name="T7" fmla="*/ 2147483647 h 14"/>
                <a:gd name="T8" fmla="*/ 2147483647 w 18"/>
                <a:gd name="T9" fmla="*/ 2147483647 h 14"/>
                <a:gd name="T10" fmla="*/ 2147483647 w 18"/>
                <a:gd name="T11" fmla="*/ 2147483647 h 14"/>
                <a:gd name="T12" fmla="*/ 2147483647 w 18"/>
                <a:gd name="T13" fmla="*/ 2147483647 h 14"/>
                <a:gd name="T14" fmla="*/ 2147483647 w 18"/>
                <a:gd name="T15" fmla="*/ 2147483647 h 14"/>
                <a:gd name="T16" fmla="*/ 2147483647 w 18"/>
                <a:gd name="T17" fmla="*/ 2147483647 h 14"/>
                <a:gd name="T18" fmla="*/ 2147483647 w 18"/>
                <a:gd name="T19" fmla="*/ 2147483647 h 14"/>
                <a:gd name="T20" fmla="*/ 2147483647 w 18"/>
                <a:gd name="T21" fmla="*/ 2147483647 h 14"/>
                <a:gd name="T22" fmla="*/ 2147483647 w 18"/>
                <a:gd name="T23" fmla="*/ 2147483647 h 14"/>
                <a:gd name="T24" fmla="*/ 0 w 18"/>
                <a:gd name="T25" fmla="*/ 2147483647 h 14"/>
                <a:gd name="T26" fmla="*/ 0 w 18"/>
                <a:gd name="T27" fmla="*/ 2147483647 h 14"/>
                <a:gd name="T28" fmla="*/ 0 w 18"/>
                <a:gd name="T29" fmla="*/ 2147483647 h 14"/>
                <a:gd name="T30" fmla="*/ 0 w 18"/>
                <a:gd name="T31" fmla="*/ 2147483647 h 14"/>
                <a:gd name="T32" fmla="*/ 2147483647 w 18"/>
                <a:gd name="T33" fmla="*/ 2147483647 h 14"/>
                <a:gd name="T34" fmla="*/ 2147483647 w 18"/>
                <a:gd name="T35" fmla="*/ 0 h 14"/>
                <a:gd name="T36" fmla="*/ 2147483647 w 18"/>
                <a:gd name="T37" fmla="*/ 0 h 14"/>
                <a:gd name="T38" fmla="*/ 2147483647 w 18"/>
                <a:gd name="T39" fmla="*/ 0 h 14"/>
                <a:gd name="T40" fmla="*/ 2147483647 w 18"/>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4"/>
                <a:gd name="T65" fmla="*/ 18 w 18"/>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4">
                  <a:moveTo>
                    <a:pt x="10" y="0"/>
                  </a:moveTo>
                  <a:lnTo>
                    <a:pt x="10" y="0"/>
                  </a:lnTo>
                  <a:lnTo>
                    <a:pt x="14" y="2"/>
                  </a:lnTo>
                  <a:lnTo>
                    <a:pt x="17" y="3"/>
                  </a:lnTo>
                  <a:lnTo>
                    <a:pt x="18" y="7"/>
                  </a:lnTo>
                  <a:lnTo>
                    <a:pt x="18" y="10"/>
                  </a:lnTo>
                  <a:lnTo>
                    <a:pt x="17" y="13"/>
                  </a:lnTo>
                  <a:lnTo>
                    <a:pt x="14" y="14"/>
                  </a:lnTo>
                  <a:lnTo>
                    <a:pt x="9" y="13"/>
                  </a:lnTo>
                  <a:lnTo>
                    <a:pt x="4" y="12"/>
                  </a:lnTo>
                  <a:lnTo>
                    <a:pt x="0" y="8"/>
                  </a:lnTo>
                  <a:lnTo>
                    <a:pt x="0" y="6"/>
                  </a:lnTo>
                  <a:lnTo>
                    <a:pt x="0" y="3"/>
                  </a:lnTo>
                  <a:lnTo>
                    <a:pt x="2" y="1"/>
                  </a:lnTo>
                  <a:lnTo>
                    <a:pt x="4" y="0"/>
                  </a:lnTo>
                  <a:lnTo>
                    <a:pt x="7" y="0"/>
                  </a:lnTo>
                  <a:lnTo>
                    <a:pt x="10"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3" name="Freeform 972"/>
            <p:cNvSpPr>
              <a:spLocks/>
            </p:cNvSpPr>
            <p:nvPr/>
          </p:nvSpPr>
          <p:spPr bwMode="auto">
            <a:xfrm>
              <a:off x="2319340" y="2252663"/>
              <a:ext cx="20637" cy="42862"/>
            </a:xfrm>
            <a:custGeom>
              <a:avLst/>
              <a:gdLst>
                <a:gd name="T0" fmla="*/ 2147483647 w 14"/>
                <a:gd name="T1" fmla="*/ 2147483647 h 27"/>
                <a:gd name="T2" fmla="*/ 2147483647 w 14"/>
                <a:gd name="T3" fmla="*/ 2147483647 h 27"/>
                <a:gd name="T4" fmla="*/ 2147483647 w 14"/>
                <a:gd name="T5" fmla="*/ 2147483647 h 27"/>
                <a:gd name="T6" fmla="*/ 2147483647 w 14"/>
                <a:gd name="T7" fmla="*/ 2147483647 h 27"/>
                <a:gd name="T8" fmla="*/ 2147483647 w 14"/>
                <a:gd name="T9" fmla="*/ 2147483647 h 27"/>
                <a:gd name="T10" fmla="*/ 2147483647 w 14"/>
                <a:gd name="T11" fmla="*/ 2147483647 h 27"/>
                <a:gd name="T12" fmla="*/ 2147483647 w 14"/>
                <a:gd name="T13" fmla="*/ 0 h 27"/>
                <a:gd name="T14" fmla="*/ 2147483647 w 14"/>
                <a:gd name="T15" fmla="*/ 0 h 27"/>
                <a:gd name="T16" fmla="*/ 2147483647 w 14"/>
                <a:gd name="T17" fmla="*/ 0 h 27"/>
                <a:gd name="T18" fmla="*/ 2147483647 w 14"/>
                <a:gd name="T19" fmla="*/ 0 h 27"/>
                <a:gd name="T20" fmla="*/ 2147483647 w 14"/>
                <a:gd name="T21" fmla="*/ 2147483647 h 27"/>
                <a:gd name="T22" fmla="*/ 0 w 14"/>
                <a:gd name="T23" fmla="*/ 2147483647 h 27"/>
                <a:gd name="T24" fmla="*/ 0 w 14"/>
                <a:gd name="T25" fmla="*/ 2147483647 h 27"/>
                <a:gd name="T26" fmla="*/ 0 w 14"/>
                <a:gd name="T27" fmla="*/ 2147483647 h 27"/>
                <a:gd name="T28" fmla="*/ 2147483647 w 14"/>
                <a:gd name="T29" fmla="*/ 2147483647 h 27"/>
                <a:gd name="T30" fmla="*/ 2147483647 w 14"/>
                <a:gd name="T31" fmla="*/ 2147483647 h 27"/>
                <a:gd name="T32" fmla="*/ 2147483647 w 14"/>
                <a:gd name="T33" fmla="*/ 2147483647 h 27"/>
                <a:gd name="T34" fmla="*/ 2147483647 w 14"/>
                <a:gd name="T35" fmla="*/ 2147483647 h 27"/>
                <a:gd name="T36" fmla="*/ 2147483647 w 14"/>
                <a:gd name="T37" fmla="*/ 2147483647 h 27"/>
                <a:gd name="T38" fmla="*/ 2147483647 w 14"/>
                <a:gd name="T39" fmla="*/ 2147483647 h 27"/>
                <a:gd name="T40" fmla="*/ 2147483647 w 14"/>
                <a:gd name="T41" fmla="*/ 2147483647 h 27"/>
                <a:gd name="T42" fmla="*/ 2147483647 w 14"/>
                <a:gd name="T43" fmla="*/ 2147483647 h 27"/>
                <a:gd name="T44" fmla="*/ 2147483647 w 14"/>
                <a:gd name="T45" fmla="*/ 214748364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27"/>
                <a:gd name="T71" fmla="*/ 14 w 14"/>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27">
                  <a:moveTo>
                    <a:pt x="12" y="13"/>
                  </a:moveTo>
                  <a:lnTo>
                    <a:pt x="12" y="13"/>
                  </a:lnTo>
                  <a:lnTo>
                    <a:pt x="13" y="7"/>
                  </a:lnTo>
                  <a:lnTo>
                    <a:pt x="14" y="5"/>
                  </a:lnTo>
                  <a:lnTo>
                    <a:pt x="14" y="1"/>
                  </a:lnTo>
                  <a:lnTo>
                    <a:pt x="13" y="0"/>
                  </a:lnTo>
                  <a:lnTo>
                    <a:pt x="12" y="0"/>
                  </a:lnTo>
                  <a:lnTo>
                    <a:pt x="8" y="0"/>
                  </a:lnTo>
                  <a:lnTo>
                    <a:pt x="3" y="5"/>
                  </a:lnTo>
                  <a:lnTo>
                    <a:pt x="0" y="8"/>
                  </a:lnTo>
                  <a:lnTo>
                    <a:pt x="0" y="11"/>
                  </a:lnTo>
                  <a:lnTo>
                    <a:pt x="2" y="16"/>
                  </a:lnTo>
                  <a:lnTo>
                    <a:pt x="4" y="19"/>
                  </a:lnTo>
                  <a:lnTo>
                    <a:pt x="7" y="23"/>
                  </a:lnTo>
                  <a:lnTo>
                    <a:pt x="9" y="27"/>
                  </a:lnTo>
                  <a:lnTo>
                    <a:pt x="11" y="25"/>
                  </a:lnTo>
                  <a:lnTo>
                    <a:pt x="12" y="21"/>
                  </a:lnTo>
                  <a:lnTo>
                    <a:pt x="12"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4" name="Freeform 973"/>
            <p:cNvSpPr>
              <a:spLocks/>
            </p:cNvSpPr>
            <p:nvPr/>
          </p:nvSpPr>
          <p:spPr bwMode="auto">
            <a:xfrm>
              <a:off x="2232025" y="2244725"/>
              <a:ext cx="52388" cy="39688"/>
            </a:xfrm>
            <a:custGeom>
              <a:avLst/>
              <a:gdLst>
                <a:gd name="T0" fmla="*/ 2147483647 w 36"/>
                <a:gd name="T1" fmla="*/ 2147483647 h 25"/>
                <a:gd name="T2" fmla="*/ 2147483647 w 36"/>
                <a:gd name="T3" fmla="*/ 2147483647 h 25"/>
                <a:gd name="T4" fmla="*/ 2147483647 w 36"/>
                <a:gd name="T5" fmla="*/ 2147483647 h 25"/>
                <a:gd name="T6" fmla="*/ 2147483647 w 36"/>
                <a:gd name="T7" fmla="*/ 2147483647 h 25"/>
                <a:gd name="T8" fmla="*/ 2147483647 w 36"/>
                <a:gd name="T9" fmla="*/ 2147483647 h 25"/>
                <a:gd name="T10" fmla="*/ 2147483647 w 36"/>
                <a:gd name="T11" fmla="*/ 2147483647 h 25"/>
                <a:gd name="T12" fmla="*/ 2147483647 w 36"/>
                <a:gd name="T13" fmla="*/ 0 h 25"/>
                <a:gd name="T14" fmla="*/ 2147483647 w 36"/>
                <a:gd name="T15" fmla="*/ 2147483647 h 25"/>
                <a:gd name="T16" fmla="*/ 2147483647 w 36"/>
                <a:gd name="T17" fmla="*/ 2147483647 h 25"/>
                <a:gd name="T18" fmla="*/ 2147483647 w 36"/>
                <a:gd name="T19" fmla="*/ 2147483647 h 25"/>
                <a:gd name="T20" fmla="*/ 2147483647 w 36"/>
                <a:gd name="T21" fmla="*/ 2147483647 h 25"/>
                <a:gd name="T22" fmla="*/ 2147483647 w 36"/>
                <a:gd name="T23" fmla="*/ 2147483647 h 25"/>
                <a:gd name="T24" fmla="*/ 0 w 36"/>
                <a:gd name="T25" fmla="*/ 2147483647 h 25"/>
                <a:gd name="T26" fmla="*/ 0 w 36"/>
                <a:gd name="T27" fmla="*/ 2147483647 h 25"/>
                <a:gd name="T28" fmla="*/ 2147483647 w 36"/>
                <a:gd name="T29" fmla="*/ 2147483647 h 25"/>
                <a:gd name="T30" fmla="*/ 2147483647 w 36"/>
                <a:gd name="T31" fmla="*/ 2147483647 h 25"/>
                <a:gd name="T32" fmla="*/ 2147483647 w 36"/>
                <a:gd name="T33" fmla="*/ 2147483647 h 25"/>
                <a:gd name="T34" fmla="*/ 2147483647 w 36"/>
                <a:gd name="T35" fmla="*/ 2147483647 h 25"/>
                <a:gd name="T36" fmla="*/ 2147483647 w 36"/>
                <a:gd name="T37" fmla="*/ 2147483647 h 25"/>
                <a:gd name="T38" fmla="*/ 2147483647 w 36"/>
                <a:gd name="T39" fmla="*/ 2147483647 h 25"/>
                <a:gd name="T40" fmla="*/ 2147483647 w 36"/>
                <a:gd name="T41" fmla="*/ 2147483647 h 25"/>
                <a:gd name="T42" fmla="*/ 2147483647 w 36"/>
                <a:gd name="T43" fmla="*/ 2147483647 h 25"/>
                <a:gd name="T44" fmla="*/ 2147483647 w 36"/>
                <a:gd name="T45" fmla="*/ 2147483647 h 25"/>
                <a:gd name="T46" fmla="*/ 2147483647 w 36"/>
                <a:gd name="T47" fmla="*/ 2147483647 h 25"/>
                <a:gd name="T48" fmla="*/ 2147483647 w 36"/>
                <a:gd name="T49" fmla="*/ 2147483647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25"/>
                <a:gd name="T77" fmla="*/ 36 w 36"/>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25">
                  <a:moveTo>
                    <a:pt x="30" y="15"/>
                  </a:moveTo>
                  <a:lnTo>
                    <a:pt x="33" y="11"/>
                  </a:lnTo>
                  <a:lnTo>
                    <a:pt x="35" y="7"/>
                  </a:lnTo>
                  <a:lnTo>
                    <a:pt x="36" y="4"/>
                  </a:lnTo>
                  <a:lnTo>
                    <a:pt x="35" y="2"/>
                  </a:lnTo>
                  <a:lnTo>
                    <a:pt x="33" y="2"/>
                  </a:lnTo>
                  <a:lnTo>
                    <a:pt x="29" y="0"/>
                  </a:lnTo>
                  <a:lnTo>
                    <a:pt x="24" y="2"/>
                  </a:lnTo>
                  <a:lnTo>
                    <a:pt x="15" y="4"/>
                  </a:lnTo>
                  <a:lnTo>
                    <a:pt x="11" y="5"/>
                  </a:lnTo>
                  <a:lnTo>
                    <a:pt x="7" y="9"/>
                  </a:lnTo>
                  <a:lnTo>
                    <a:pt x="3" y="11"/>
                  </a:lnTo>
                  <a:lnTo>
                    <a:pt x="0" y="15"/>
                  </a:lnTo>
                  <a:lnTo>
                    <a:pt x="0" y="16"/>
                  </a:lnTo>
                  <a:lnTo>
                    <a:pt x="3" y="19"/>
                  </a:lnTo>
                  <a:lnTo>
                    <a:pt x="6" y="23"/>
                  </a:lnTo>
                  <a:lnTo>
                    <a:pt x="10" y="25"/>
                  </a:lnTo>
                  <a:lnTo>
                    <a:pt x="14" y="25"/>
                  </a:lnTo>
                  <a:lnTo>
                    <a:pt x="17" y="24"/>
                  </a:lnTo>
                  <a:lnTo>
                    <a:pt x="19" y="23"/>
                  </a:lnTo>
                  <a:lnTo>
                    <a:pt x="20" y="21"/>
                  </a:lnTo>
                  <a:lnTo>
                    <a:pt x="22" y="18"/>
                  </a:lnTo>
                  <a:lnTo>
                    <a:pt x="24" y="17"/>
                  </a:lnTo>
                  <a:lnTo>
                    <a:pt x="27" y="17"/>
                  </a:lnTo>
                  <a:lnTo>
                    <a:pt x="30"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5" name="Freeform 974"/>
            <p:cNvSpPr>
              <a:spLocks/>
            </p:cNvSpPr>
            <p:nvPr/>
          </p:nvSpPr>
          <p:spPr bwMode="auto">
            <a:xfrm>
              <a:off x="1187454" y="1701800"/>
              <a:ext cx="225425" cy="184150"/>
            </a:xfrm>
            <a:custGeom>
              <a:avLst/>
              <a:gdLst>
                <a:gd name="T0" fmla="*/ 2147483647 w 154"/>
                <a:gd name="T1" fmla="*/ 2147483647 h 116"/>
                <a:gd name="T2" fmla="*/ 2147483647 w 154"/>
                <a:gd name="T3" fmla="*/ 2147483647 h 116"/>
                <a:gd name="T4" fmla="*/ 2147483647 w 154"/>
                <a:gd name="T5" fmla="*/ 2147483647 h 116"/>
                <a:gd name="T6" fmla="*/ 2147483647 w 154"/>
                <a:gd name="T7" fmla="*/ 2147483647 h 116"/>
                <a:gd name="T8" fmla="*/ 2147483647 w 154"/>
                <a:gd name="T9" fmla="*/ 2147483647 h 116"/>
                <a:gd name="T10" fmla="*/ 2147483647 w 154"/>
                <a:gd name="T11" fmla="*/ 2147483647 h 116"/>
                <a:gd name="T12" fmla="*/ 2147483647 w 154"/>
                <a:gd name="T13" fmla="*/ 2147483647 h 116"/>
                <a:gd name="T14" fmla="*/ 2147483647 w 154"/>
                <a:gd name="T15" fmla="*/ 2147483647 h 116"/>
                <a:gd name="T16" fmla="*/ 2147483647 w 154"/>
                <a:gd name="T17" fmla="*/ 2147483647 h 116"/>
                <a:gd name="T18" fmla="*/ 2147483647 w 154"/>
                <a:gd name="T19" fmla="*/ 0 h 116"/>
                <a:gd name="T20" fmla="*/ 2147483647 w 154"/>
                <a:gd name="T21" fmla="*/ 2147483647 h 116"/>
                <a:gd name="T22" fmla="*/ 2147483647 w 154"/>
                <a:gd name="T23" fmla="*/ 2147483647 h 116"/>
                <a:gd name="T24" fmla="*/ 2147483647 w 154"/>
                <a:gd name="T25" fmla="*/ 2147483647 h 116"/>
                <a:gd name="T26" fmla="*/ 2147483647 w 154"/>
                <a:gd name="T27" fmla="*/ 2147483647 h 116"/>
                <a:gd name="T28" fmla="*/ 2147483647 w 154"/>
                <a:gd name="T29" fmla="*/ 2147483647 h 116"/>
                <a:gd name="T30" fmla="*/ 2147483647 w 154"/>
                <a:gd name="T31" fmla="*/ 2147483647 h 116"/>
                <a:gd name="T32" fmla="*/ 2147483647 w 154"/>
                <a:gd name="T33" fmla="*/ 2147483647 h 116"/>
                <a:gd name="T34" fmla="*/ 2147483647 w 154"/>
                <a:gd name="T35" fmla="*/ 2147483647 h 116"/>
                <a:gd name="T36" fmla="*/ 2147483647 w 154"/>
                <a:gd name="T37" fmla="*/ 2147483647 h 116"/>
                <a:gd name="T38" fmla="*/ 2147483647 w 154"/>
                <a:gd name="T39" fmla="*/ 2147483647 h 116"/>
                <a:gd name="T40" fmla="*/ 2147483647 w 154"/>
                <a:gd name="T41" fmla="*/ 2147483647 h 116"/>
                <a:gd name="T42" fmla="*/ 2147483647 w 154"/>
                <a:gd name="T43" fmla="*/ 2147483647 h 116"/>
                <a:gd name="T44" fmla="*/ 0 w 154"/>
                <a:gd name="T45" fmla="*/ 2147483647 h 116"/>
                <a:gd name="T46" fmla="*/ 2147483647 w 154"/>
                <a:gd name="T47" fmla="*/ 2147483647 h 116"/>
                <a:gd name="T48" fmla="*/ 2147483647 w 154"/>
                <a:gd name="T49" fmla="*/ 2147483647 h 116"/>
                <a:gd name="T50" fmla="*/ 2147483647 w 154"/>
                <a:gd name="T51" fmla="*/ 2147483647 h 116"/>
                <a:gd name="T52" fmla="*/ 2147483647 w 154"/>
                <a:gd name="T53" fmla="*/ 2147483647 h 116"/>
                <a:gd name="T54" fmla="*/ 2147483647 w 154"/>
                <a:gd name="T55" fmla="*/ 2147483647 h 116"/>
                <a:gd name="T56" fmla="*/ 2147483647 w 154"/>
                <a:gd name="T57" fmla="*/ 2147483647 h 116"/>
                <a:gd name="T58" fmla="*/ 2147483647 w 154"/>
                <a:gd name="T59" fmla="*/ 2147483647 h 116"/>
                <a:gd name="T60" fmla="*/ 2147483647 w 154"/>
                <a:gd name="T61" fmla="*/ 2147483647 h 116"/>
                <a:gd name="T62" fmla="*/ 2147483647 w 154"/>
                <a:gd name="T63" fmla="*/ 2147483647 h 116"/>
                <a:gd name="T64" fmla="*/ 2147483647 w 154"/>
                <a:gd name="T65" fmla="*/ 2147483647 h 116"/>
                <a:gd name="T66" fmla="*/ 2147483647 w 154"/>
                <a:gd name="T67" fmla="*/ 2147483647 h 116"/>
                <a:gd name="T68" fmla="*/ 2147483647 w 154"/>
                <a:gd name="T69" fmla="*/ 2147483647 h 116"/>
                <a:gd name="T70" fmla="*/ 2147483647 w 154"/>
                <a:gd name="T71" fmla="*/ 2147483647 h 116"/>
                <a:gd name="T72" fmla="*/ 2147483647 w 154"/>
                <a:gd name="T73" fmla="*/ 2147483647 h 116"/>
                <a:gd name="T74" fmla="*/ 2147483647 w 154"/>
                <a:gd name="T75" fmla="*/ 2147483647 h 116"/>
                <a:gd name="T76" fmla="*/ 2147483647 w 154"/>
                <a:gd name="T77" fmla="*/ 2147483647 h 116"/>
                <a:gd name="T78" fmla="*/ 2147483647 w 154"/>
                <a:gd name="T79" fmla="*/ 2147483647 h 116"/>
                <a:gd name="T80" fmla="*/ 2147483647 w 154"/>
                <a:gd name="T81" fmla="*/ 2147483647 h 116"/>
                <a:gd name="T82" fmla="*/ 2147483647 w 154"/>
                <a:gd name="T83" fmla="*/ 2147483647 h 116"/>
                <a:gd name="T84" fmla="*/ 2147483647 w 154"/>
                <a:gd name="T85" fmla="*/ 2147483647 h 116"/>
                <a:gd name="T86" fmla="*/ 2147483647 w 154"/>
                <a:gd name="T87" fmla="*/ 2147483647 h 116"/>
                <a:gd name="T88" fmla="*/ 2147483647 w 154"/>
                <a:gd name="T89" fmla="*/ 2147483647 h 116"/>
                <a:gd name="T90" fmla="*/ 2147483647 w 154"/>
                <a:gd name="T91" fmla="*/ 2147483647 h 116"/>
                <a:gd name="T92" fmla="*/ 2147483647 w 154"/>
                <a:gd name="T93" fmla="*/ 2147483647 h 116"/>
                <a:gd name="T94" fmla="*/ 2147483647 w 154"/>
                <a:gd name="T95" fmla="*/ 2147483647 h 116"/>
                <a:gd name="T96" fmla="*/ 2147483647 w 154"/>
                <a:gd name="T97" fmla="*/ 2147483647 h 116"/>
                <a:gd name="T98" fmla="*/ 2147483647 w 154"/>
                <a:gd name="T99" fmla="*/ 2147483647 h 116"/>
                <a:gd name="T100" fmla="*/ 2147483647 w 154"/>
                <a:gd name="T101" fmla="*/ 2147483647 h 116"/>
                <a:gd name="T102" fmla="*/ 2147483647 w 154"/>
                <a:gd name="T103" fmla="*/ 2147483647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4"/>
                <a:gd name="T157" fmla="*/ 0 h 116"/>
                <a:gd name="T158" fmla="*/ 154 w 154"/>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4" h="116">
                  <a:moveTo>
                    <a:pt x="137" y="22"/>
                  </a:moveTo>
                  <a:lnTo>
                    <a:pt x="132" y="20"/>
                  </a:lnTo>
                  <a:lnTo>
                    <a:pt x="128" y="18"/>
                  </a:lnTo>
                  <a:lnTo>
                    <a:pt x="125" y="14"/>
                  </a:lnTo>
                  <a:lnTo>
                    <a:pt x="121" y="13"/>
                  </a:lnTo>
                  <a:lnTo>
                    <a:pt x="118" y="12"/>
                  </a:lnTo>
                  <a:lnTo>
                    <a:pt x="117" y="13"/>
                  </a:lnTo>
                  <a:lnTo>
                    <a:pt x="113" y="16"/>
                  </a:lnTo>
                  <a:lnTo>
                    <a:pt x="112" y="20"/>
                  </a:lnTo>
                  <a:lnTo>
                    <a:pt x="109" y="25"/>
                  </a:lnTo>
                  <a:lnTo>
                    <a:pt x="107" y="26"/>
                  </a:lnTo>
                  <a:lnTo>
                    <a:pt x="104" y="26"/>
                  </a:lnTo>
                  <a:lnTo>
                    <a:pt x="100" y="22"/>
                  </a:lnTo>
                  <a:lnTo>
                    <a:pt x="97" y="19"/>
                  </a:lnTo>
                  <a:lnTo>
                    <a:pt x="94" y="16"/>
                  </a:lnTo>
                  <a:lnTo>
                    <a:pt x="89" y="14"/>
                  </a:lnTo>
                  <a:lnTo>
                    <a:pt x="76" y="8"/>
                  </a:lnTo>
                  <a:lnTo>
                    <a:pt x="70" y="4"/>
                  </a:lnTo>
                  <a:lnTo>
                    <a:pt x="64" y="1"/>
                  </a:lnTo>
                  <a:lnTo>
                    <a:pt x="61" y="0"/>
                  </a:lnTo>
                  <a:lnTo>
                    <a:pt x="59" y="1"/>
                  </a:lnTo>
                  <a:lnTo>
                    <a:pt x="56" y="3"/>
                  </a:lnTo>
                  <a:lnTo>
                    <a:pt x="52" y="6"/>
                  </a:lnTo>
                  <a:lnTo>
                    <a:pt x="40" y="9"/>
                  </a:lnTo>
                  <a:lnTo>
                    <a:pt x="26" y="14"/>
                  </a:lnTo>
                  <a:lnTo>
                    <a:pt x="24" y="15"/>
                  </a:lnTo>
                  <a:lnTo>
                    <a:pt x="26" y="19"/>
                  </a:lnTo>
                  <a:lnTo>
                    <a:pt x="29" y="26"/>
                  </a:lnTo>
                  <a:lnTo>
                    <a:pt x="31" y="29"/>
                  </a:lnTo>
                  <a:lnTo>
                    <a:pt x="31" y="33"/>
                  </a:lnTo>
                  <a:lnTo>
                    <a:pt x="27" y="36"/>
                  </a:lnTo>
                  <a:lnTo>
                    <a:pt x="23" y="41"/>
                  </a:lnTo>
                  <a:lnTo>
                    <a:pt x="19" y="45"/>
                  </a:lnTo>
                  <a:lnTo>
                    <a:pt x="15" y="50"/>
                  </a:lnTo>
                  <a:lnTo>
                    <a:pt x="14" y="52"/>
                  </a:lnTo>
                  <a:lnTo>
                    <a:pt x="12" y="52"/>
                  </a:lnTo>
                  <a:lnTo>
                    <a:pt x="9" y="52"/>
                  </a:lnTo>
                  <a:lnTo>
                    <a:pt x="7" y="53"/>
                  </a:lnTo>
                  <a:lnTo>
                    <a:pt x="4" y="55"/>
                  </a:lnTo>
                  <a:lnTo>
                    <a:pt x="4" y="58"/>
                  </a:lnTo>
                  <a:lnTo>
                    <a:pt x="4" y="64"/>
                  </a:lnTo>
                  <a:lnTo>
                    <a:pt x="5" y="71"/>
                  </a:lnTo>
                  <a:lnTo>
                    <a:pt x="5" y="77"/>
                  </a:lnTo>
                  <a:lnTo>
                    <a:pt x="3" y="82"/>
                  </a:lnTo>
                  <a:lnTo>
                    <a:pt x="0" y="86"/>
                  </a:lnTo>
                  <a:lnTo>
                    <a:pt x="0" y="89"/>
                  </a:lnTo>
                  <a:lnTo>
                    <a:pt x="1" y="90"/>
                  </a:lnTo>
                  <a:lnTo>
                    <a:pt x="10" y="92"/>
                  </a:lnTo>
                  <a:lnTo>
                    <a:pt x="18" y="95"/>
                  </a:lnTo>
                  <a:lnTo>
                    <a:pt x="26" y="98"/>
                  </a:lnTo>
                  <a:lnTo>
                    <a:pt x="32" y="103"/>
                  </a:lnTo>
                  <a:lnTo>
                    <a:pt x="33" y="105"/>
                  </a:lnTo>
                  <a:lnTo>
                    <a:pt x="33" y="108"/>
                  </a:lnTo>
                  <a:lnTo>
                    <a:pt x="33" y="110"/>
                  </a:lnTo>
                  <a:lnTo>
                    <a:pt x="34" y="112"/>
                  </a:lnTo>
                  <a:lnTo>
                    <a:pt x="37" y="114"/>
                  </a:lnTo>
                  <a:lnTo>
                    <a:pt x="41" y="115"/>
                  </a:lnTo>
                  <a:lnTo>
                    <a:pt x="43" y="115"/>
                  </a:lnTo>
                  <a:lnTo>
                    <a:pt x="47" y="116"/>
                  </a:lnTo>
                  <a:lnTo>
                    <a:pt x="48" y="116"/>
                  </a:lnTo>
                  <a:lnTo>
                    <a:pt x="50" y="115"/>
                  </a:lnTo>
                  <a:lnTo>
                    <a:pt x="51" y="112"/>
                  </a:lnTo>
                  <a:lnTo>
                    <a:pt x="53" y="111"/>
                  </a:lnTo>
                  <a:lnTo>
                    <a:pt x="57" y="110"/>
                  </a:lnTo>
                  <a:lnTo>
                    <a:pt x="60" y="109"/>
                  </a:lnTo>
                  <a:lnTo>
                    <a:pt x="65" y="105"/>
                  </a:lnTo>
                  <a:lnTo>
                    <a:pt x="66" y="105"/>
                  </a:lnTo>
                  <a:lnTo>
                    <a:pt x="67" y="105"/>
                  </a:lnTo>
                  <a:lnTo>
                    <a:pt x="69" y="106"/>
                  </a:lnTo>
                  <a:lnTo>
                    <a:pt x="70" y="106"/>
                  </a:lnTo>
                  <a:lnTo>
                    <a:pt x="79" y="102"/>
                  </a:lnTo>
                  <a:lnTo>
                    <a:pt x="83" y="99"/>
                  </a:lnTo>
                  <a:lnTo>
                    <a:pt x="87" y="97"/>
                  </a:lnTo>
                  <a:lnTo>
                    <a:pt x="87" y="95"/>
                  </a:lnTo>
                  <a:lnTo>
                    <a:pt x="87" y="93"/>
                  </a:lnTo>
                  <a:lnTo>
                    <a:pt x="85" y="90"/>
                  </a:lnTo>
                  <a:lnTo>
                    <a:pt x="85" y="87"/>
                  </a:lnTo>
                  <a:lnTo>
                    <a:pt x="87" y="86"/>
                  </a:lnTo>
                  <a:lnTo>
                    <a:pt x="90" y="85"/>
                  </a:lnTo>
                  <a:lnTo>
                    <a:pt x="93" y="84"/>
                  </a:lnTo>
                  <a:lnTo>
                    <a:pt x="95" y="76"/>
                  </a:lnTo>
                  <a:lnTo>
                    <a:pt x="100" y="68"/>
                  </a:lnTo>
                  <a:lnTo>
                    <a:pt x="103" y="66"/>
                  </a:lnTo>
                  <a:lnTo>
                    <a:pt x="106" y="64"/>
                  </a:lnTo>
                  <a:lnTo>
                    <a:pt x="109" y="61"/>
                  </a:lnTo>
                  <a:lnTo>
                    <a:pt x="113" y="61"/>
                  </a:lnTo>
                  <a:lnTo>
                    <a:pt x="117" y="63"/>
                  </a:lnTo>
                  <a:lnTo>
                    <a:pt x="118" y="63"/>
                  </a:lnTo>
                  <a:lnTo>
                    <a:pt x="121" y="61"/>
                  </a:lnTo>
                  <a:lnTo>
                    <a:pt x="122" y="60"/>
                  </a:lnTo>
                  <a:lnTo>
                    <a:pt x="125" y="58"/>
                  </a:lnTo>
                  <a:lnTo>
                    <a:pt x="126" y="55"/>
                  </a:lnTo>
                  <a:lnTo>
                    <a:pt x="128" y="54"/>
                  </a:lnTo>
                  <a:lnTo>
                    <a:pt x="132" y="54"/>
                  </a:lnTo>
                  <a:lnTo>
                    <a:pt x="135" y="53"/>
                  </a:lnTo>
                  <a:lnTo>
                    <a:pt x="139" y="50"/>
                  </a:lnTo>
                  <a:lnTo>
                    <a:pt x="142" y="46"/>
                  </a:lnTo>
                  <a:lnTo>
                    <a:pt x="150" y="42"/>
                  </a:lnTo>
                  <a:lnTo>
                    <a:pt x="153" y="40"/>
                  </a:lnTo>
                  <a:lnTo>
                    <a:pt x="154" y="38"/>
                  </a:lnTo>
                  <a:lnTo>
                    <a:pt x="153" y="36"/>
                  </a:lnTo>
                  <a:lnTo>
                    <a:pt x="150" y="32"/>
                  </a:lnTo>
                  <a:lnTo>
                    <a:pt x="145" y="28"/>
                  </a:lnTo>
                  <a:lnTo>
                    <a:pt x="133" y="21"/>
                  </a:lnTo>
                  <a:lnTo>
                    <a:pt x="137"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6" name="Freeform 975"/>
            <p:cNvSpPr>
              <a:spLocks/>
            </p:cNvSpPr>
            <p:nvPr/>
          </p:nvSpPr>
          <p:spPr bwMode="auto">
            <a:xfrm>
              <a:off x="2228852" y="2243143"/>
              <a:ext cx="53975" cy="39687"/>
            </a:xfrm>
            <a:custGeom>
              <a:avLst/>
              <a:gdLst>
                <a:gd name="T0" fmla="*/ 2147483647 w 37"/>
                <a:gd name="T1" fmla="*/ 2147483647 h 25"/>
                <a:gd name="T2" fmla="*/ 2147483647 w 37"/>
                <a:gd name="T3" fmla="*/ 2147483647 h 25"/>
                <a:gd name="T4" fmla="*/ 2147483647 w 37"/>
                <a:gd name="T5" fmla="*/ 2147483647 h 25"/>
                <a:gd name="T6" fmla="*/ 2147483647 w 37"/>
                <a:gd name="T7" fmla="*/ 2147483647 h 25"/>
                <a:gd name="T8" fmla="*/ 2147483647 w 37"/>
                <a:gd name="T9" fmla="*/ 2147483647 h 25"/>
                <a:gd name="T10" fmla="*/ 2147483647 w 37"/>
                <a:gd name="T11" fmla="*/ 2147483647 h 25"/>
                <a:gd name="T12" fmla="*/ 2147483647 w 37"/>
                <a:gd name="T13" fmla="*/ 2147483647 h 25"/>
                <a:gd name="T14" fmla="*/ 2147483647 w 37"/>
                <a:gd name="T15" fmla="*/ 2147483647 h 25"/>
                <a:gd name="T16" fmla="*/ 2147483647 w 37"/>
                <a:gd name="T17" fmla="*/ 0 h 25"/>
                <a:gd name="T18" fmla="*/ 2147483647 w 37"/>
                <a:gd name="T19" fmla="*/ 2147483647 h 25"/>
                <a:gd name="T20" fmla="*/ 2147483647 w 37"/>
                <a:gd name="T21" fmla="*/ 2147483647 h 25"/>
                <a:gd name="T22" fmla="*/ 2147483647 w 37"/>
                <a:gd name="T23" fmla="*/ 2147483647 h 25"/>
                <a:gd name="T24" fmla="*/ 2147483647 w 37"/>
                <a:gd name="T25" fmla="*/ 2147483647 h 25"/>
                <a:gd name="T26" fmla="*/ 2147483647 w 37"/>
                <a:gd name="T27" fmla="*/ 2147483647 h 25"/>
                <a:gd name="T28" fmla="*/ 2147483647 w 37"/>
                <a:gd name="T29" fmla="*/ 2147483647 h 25"/>
                <a:gd name="T30" fmla="*/ 0 w 37"/>
                <a:gd name="T31" fmla="*/ 2147483647 h 25"/>
                <a:gd name="T32" fmla="*/ 0 w 37"/>
                <a:gd name="T33" fmla="*/ 2147483647 h 25"/>
                <a:gd name="T34" fmla="*/ 0 w 37"/>
                <a:gd name="T35" fmla="*/ 2147483647 h 25"/>
                <a:gd name="T36" fmla="*/ 0 w 37"/>
                <a:gd name="T37" fmla="*/ 2147483647 h 25"/>
                <a:gd name="T38" fmla="*/ 2147483647 w 37"/>
                <a:gd name="T39" fmla="*/ 2147483647 h 25"/>
                <a:gd name="T40" fmla="*/ 2147483647 w 37"/>
                <a:gd name="T41" fmla="*/ 2147483647 h 25"/>
                <a:gd name="T42" fmla="*/ 2147483647 w 37"/>
                <a:gd name="T43" fmla="*/ 2147483647 h 25"/>
                <a:gd name="T44" fmla="*/ 2147483647 w 37"/>
                <a:gd name="T45" fmla="*/ 2147483647 h 25"/>
                <a:gd name="T46" fmla="*/ 2147483647 w 37"/>
                <a:gd name="T47" fmla="*/ 2147483647 h 25"/>
                <a:gd name="T48" fmla="*/ 2147483647 w 37"/>
                <a:gd name="T49" fmla="*/ 2147483647 h 25"/>
                <a:gd name="T50" fmla="*/ 2147483647 w 37"/>
                <a:gd name="T51" fmla="*/ 2147483647 h 25"/>
                <a:gd name="T52" fmla="*/ 2147483647 w 37"/>
                <a:gd name="T53" fmla="*/ 2147483647 h 25"/>
                <a:gd name="T54" fmla="*/ 2147483647 w 37"/>
                <a:gd name="T55" fmla="*/ 2147483647 h 25"/>
                <a:gd name="T56" fmla="*/ 2147483647 w 37"/>
                <a:gd name="T57" fmla="*/ 2147483647 h 25"/>
                <a:gd name="T58" fmla="*/ 2147483647 w 37"/>
                <a:gd name="T59" fmla="*/ 2147483647 h 25"/>
                <a:gd name="T60" fmla="*/ 2147483647 w 37"/>
                <a:gd name="T61" fmla="*/ 2147483647 h 25"/>
                <a:gd name="T62" fmla="*/ 2147483647 w 37"/>
                <a:gd name="T63" fmla="*/ 2147483647 h 25"/>
                <a:gd name="T64" fmla="*/ 2147483647 w 37"/>
                <a:gd name="T65" fmla="*/ 2147483647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7"/>
                <a:gd name="T100" fmla="*/ 0 h 25"/>
                <a:gd name="T101" fmla="*/ 37 w 37"/>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7" h="25">
                  <a:moveTo>
                    <a:pt x="31" y="14"/>
                  </a:moveTo>
                  <a:lnTo>
                    <a:pt x="31" y="14"/>
                  </a:lnTo>
                  <a:lnTo>
                    <a:pt x="33" y="11"/>
                  </a:lnTo>
                  <a:lnTo>
                    <a:pt x="36" y="7"/>
                  </a:lnTo>
                  <a:lnTo>
                    <a:pt x="37" y="4"/>
                  </a:lnTo>
                  <a:lnTo>
                    <a:pt x="36" y="1"/>
                  </a:lnTo>
                  <a:lnTo>
                    <a:pt x="33" y="1"/>
                  </a:lnTo>
                  <a:lnTo>
                    <a:pt x="29" y="0"/>
                  </a:lnTo>
                  <a:lnTo>
                    <a:pt x="24" y="1"/>
                  </a:lnTo>
                  <a:lnTo>
                    <a:pt x="16" y="4"/>
                  </a:lnTo>
                  <a:lnTo>
                    <a:pt x="12" y="5"/>
                  </a:lnTo>
                  <a:lnTo>
                    <a:pt x="8" y="8"/>
                  </a:lnTo>
                  <a:lnTo>
                    <a:pt x="4" y="11"/>
                  </a:lnTo>
                  <a:lnTo>
                    <a:pt x="0" y="14"/>
                  </a:lnTo>
                  <a:lnTo>
                    <a:pt x="0" y="16"/>
                  </a:lnTo>
                  <a:lnTo>
                    <a:pt x="4" y="19"/>
                  </a:lnTo>
                  <a:lnTo>
                    <a:pt x="7" y="23"/>
                  </a:lnTo>
                  <a:lnTo>
                    <a:pt x="10" y="25"/>
                  </a:lnTo>
                  <a:lnTo>
                    <a:pt x="14" y="25"/>
                  </a:lnTo>
                  <a:lnTo>
                    <a:pt x="18" y="24"/>
                  </a:lnTo>
                  <a:lnTo>
                    <a:pt x="19" y="23"/>
                  </a:lnTo>
                  <a:lnTo>
                    <a:pt x="21" y="20"/>
                  </a:lnTo>
                  <a:lnTo>
                    <a:pt x="23" y="18"/>
                  </a:lnTo>
                  <a:lnTo>
                    <a:pt x="24" y="17"/>
                  </a:lnTo>
                  <a:lnTo>
                    <a:pt x="28" y="17"/>
                  </a:lnTo>
                  <a:lnTo>
                    <a:pt x="31"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7" name="Freeform 976"/>
            <p:cNvSpPr>
              <a:spLocks/>
            </p:cNvSpPr>
            <p:nvPr/>
          </p:nvSpPr>
          <p:spPr bwMode="auto">
            <a:xfrm>
              <a:off x="1185867" y="1700213"/>
              <a:ext cx="225425" cy="184150"/>
            </a:xfrm>
            <a:custGeom>
              <a:avLst/>
              <a:gdLst>
                <a:gd name="T0" fmla="*/ 2147483647 w 154"/>
                <a:gd name="T1" fmla="*/ 2147483647 h 116"/>
                <a:gd name="T2" fmla="*/ 2147483647 w 154"/>
                <a:gd name="T3" fmla="*/ 2147483647 h 116"/>
                <a:gd name="T4" fmla="*/ 2147483647 w 154"/>
                <a:gd name="T5" fmla="*/ 2147483647 h 116"/>
                <a:gd name="T6" fmla="*/ 2147483647 w 154"/>
                <a:gd name="T7" fmla="*/ 2147483647 h 116"/>
                <a:gd name="T8" fmla="*/ 2147483647 w 154"/>
                <a:gd name="T9" fmla="*/ 2147483647 h 116"/>
                <a:gd name="T10" fmla="*/ 2147483647 w 154"/>
                <a:gd name="T11" fmla="*/ 2147483647 h 116"/>
                <a:gd name="T12" fmla="*/ 2147483647 w 154"/>
                <a:gd name="T13" fmla="*/ 2147483647 h 116"/>
                <a:gd name="T14" fmla="*/ 2147483647 w 154"/>
                <a:gd name="T15" fmla="*/ 2147483647 h 116"/>
                <a:gd name="T16" fmla="*/ 2147483647 w 154"/>
                <a:gd name="T17" fmla="*/ 2147483647 h 116"/>
                <a:gd name="T18" fmla="*/ 2147483647 w 154"/>
                <a:gd name="T19" fmla="*/ 2147483647 h 116"/>
                <a:gd name="T20" fmla="*/ 2147483647 w 154"/>
                <a:gd name="T21" fmla="*/ 2147483647 h 116"/>
                <a:gd name="T22" fmla="*/ 2147483647 w 154"/>
                <a:gd name="T23" fmla="*/ 2147483647 h 116"/>
                <a:gd name="T24" fmla="*/ 2147483647 w 154"/>
                <a:gd name="T25" fmla="*/ 2147483647 h 116"/>
                <a:gd name="T26" fmla="*/ 2147483647 w 154"/>
                <a:gd name="T27" fmla="*/ 2147483647 h 116"/>
                <a:gd name="T28" fmla="*/ 2147483647 w 154"/>
                <a:gd name="T29" fmla="*/ 2147483647 h 116"/>
                <a:gd name="T30" fmla="*/ 2147483647 w 154"/>
                <a:gd name="T31" fmla="*/ 2147483647 h 116"/>
                <a:gd name="T32" fmla="*/ 2147483647 w 154"/>
                <a:gd name="T33" fmla="*/ 2147483647 h 116"/>
                <a:gd name="T34" fmla="*/ 2147483647 w 154"/>
                <a:gd name="T35" fmla="*/ 2147483647 h 116"/>
                <a:gd name="T36" fmla="*/ 2147483647 w 154"/>
                <a:gd name="T37" fmla="*/ 2147483647 h 116"/>
                <a:gd name="T38" fmla="*/ 0 w 154"/>
                <a:gd name="T39" fmla="*/ 2147483647 h 116"/>
                <a:gd name="T40" fmla="*/ 2147483647 w 154"/>
                <a:gd name="T41" fmla="*/ 2147483647 h 116"/>
                <a:gd name="T42" fmla="*/ 2147483647 w 154"/>
                <a:gd name="T43" fmla="*/ 2147483647 h 116"/>
                <a:gd name="T44" fmla="*/ 2147483647 w 154"/>
                <a:gd name="T45" fmla="*/ 2147483647 h 116"/>
                <a:gd name="T46" fmla="*/ 2147483647 w 154"/>
                <a:gd name="T47" fmla="*/ 2147483647 h 116"/>
                <a:gd name="T48" fmla="*/ 2147483647 w 154"/>
                <a:gd name="T49" fmla="*/ 2147483647 h 116"/>
                <a:gd name="T50" fmla="*/ 2147483647 w 154"/>
                <a:gd name="T51" fmla="*/ 2147483647 h 116"/>
                <a:gd name="T52" fmla="*/ 2147483647 w 154"/>
                <a:gd name="T53" fmla="*/ 2147483647 h 116"/>
                <a:gd name="T54" fmla="*/ 2147483647 w 154"/>
                <a:gd name="T55" fmla="*/ 2147483647 h 116"/>
                <a:gd name="T56" fmla="*/ 2147483647 w 154"/>
                <a:gd name="T57" fmla="*/ 2147483647 h 116"/>
                <a:gd name="T58" fmla="*/ 2147483647 w 154"/>
                <a:gd name="T59" fmla="*/ 2147483647 h 116"/>
                <a:gd name="T60" fmla="*/ 2147483647 w 154"/>
                <a:gd name="T61" fmla="*/ 2147483647 h 116"/>
                <a:gd name="T62" fmla="*/ 2147483647 w 154"/>
                <a:gd name="T63" fmla="*/ 2147483647 h 116"/>
                <a:gd name="T64" fmla="*/ 2147483647 w 154"/>
                <a:gd name="T65" fmla="*/ 2147483647 h 116"/>
                <a:gd name="T66" fmla="*/ 2147483647 w 154"/>
                <a:gd name="T67" fmla="*/ 2147483647 h 116"/>
                <a:gd name="T68" fmla="*/ 2147483647 w 154"/>
                <a:gd name="T69" fmla="*/ 2147483647 h 116"/>
                <a:gd name="T70" fmla="*/ 2147483647 w 154"/>
                <a:gd name="T71" fmla="*/ 2147483647 h 116"/>
                <a:gd name="T72" fmla="*/ 2147483647 w 154"/>
                <a:gd name="T73" fmla="*/ 2147483647 h 116"/>
                <a:gd name="T74" fmla="*/ 2147483647 w 154"/>
                <a:gd name="T75" fmla="*/ 2147483647 h 116"/>
                <a:gd name="T76" fmla="*/ 2147483647 w 154"/>
                <a:gd name="T77" fmla="*/ 2147483647 h 116"/>
                <a:gd name="T78" fmla="*/ 2147483647 w 154"/>
                <a:gd name="T79" fmla="*/ 2147483647 h 116"/>
                <a:gd name="T80" fmla="*/ 2147483647 w 154"/>
                <a:gd name="T81" fmla="*/ 2147483647 h 116"/>
                <a:gd name="T82" fmla="*/ 2147483647 w 154"/>
                <a:gd name="T83" fmla="*/ 2147483647 h 116"/>
                <a:gd name="T84" fmla="*/ 2147483647 w 154"/>
                <a:gd name="T85" fmla="*/ 2147483647 h 116"/>
                <a:gd name="T86" fmla="*/ 2147483647 w 154"/>
                <a:gd name="T87" fmla="*/ 2147483647 h 116"/>
                <a:gd name="T88" fmla="*/ 2147483647 w 154"/>
                <a:gd name="T89" fmla="*/ 2147483647 h 116"/>
                <a:gd name="T90" fmla="*/ 2147483647 w 154"/>
                <a:gd name="T91" fmla="*/ 2147483647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4"/>
                <a:gd name="T139" fmla="*/ 0 h 116"/>
                <a:gd name="T140" fmla="*/ 154 w 15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4" h="116">
                  <a:moveTo>
                    <a:pt x="137" y="22"/>
                  </a:moveTo>
                  <a:lnTo>
                    <a:pt x="137" y="22"/>
                  </a:lnTo>
                  <a:lnTo>
                    <a:pt x="132" y="20"/>
                  </a:lnTo>
                  <a:lnTo>
                    <a:pt x="128" y="17"/>
                  </a:lnTo>
                  <a:lnTo>
                    <a:pt x="124" y="14"/>
                  </a:lnTo>
                  <a:lnTo>
                    <a:pt x="121" y="13"/>
                  </a:lnTo>
                  <a:lnTo>
                    <a:pt x="118" y="11"/>
                  </a:lnTo>
                  <a:lnTo>
                    <a:pt x="117" y="13"/>
                  </a:lnTo>
                  <a:lnTo>
                    <a:pt x="113" y="16"/>
                  </a:lnTo>
                  <a:lnTo>
                    <a:pt x="112" y="20"/>
                  </a:lnTo>
                  <a:lnTo>
                    <a:pt x="109" y="24"/>
                  </a:lnTo>
                  <a:lnTo>
                    <a:pt x="107" y="26"/>
                  </a:lnTo>
                  <a:lnTo>
                    <a:pt x="104" y="26"/>
                  </a:lnTo>
                  <a:lnTo>
                    <a:pt x="100" y="22"/>
                  </a:lnTo>
                  <a:lnTo>
                    <a:pt x="96" y="19"/>
                  </a:lnTo>
                  <a:lnTo>
                    <a:pt x="94" y="16"/>
                  </a:lnTo>
                  <a:lnTo>
                    <a:pt x="89" y="14"/>
                  </a:lnTo>
                  <a:lnTo>
                    <a:pt x="76" y="8"/>
                  </a:lnTo>
                  <a:lnTo>
                    <a:pt x="70" y="4"/>
                  </a:lnTo>
                  <a:lnTo>
                    <a:pt x="63" y="1"/>
                  </a:lnTo>
                  <a:lnTo>
                    <a:pt x="61" y="0"/>
                  </a:lnTo>
                  <a:lnTo>
                    <a:pt x="58" y="1"/>
                  </a:lnTo>
                  <a:lnTo>
                    <a:pt x="56" y="3"/>
                  </a:lnTo>
                  <a:lnTo>
                    <a:pt x="52" y="5"/>
                  </a:lnTo>
                  <a:lnTo>
                    <a:pt x="39" y="9"/>
                  </a:lnTo>
                  <a:lnTo>
                    <a:pt x="25" y="14"/>
                  </a:lnTo>
                  <a:lnTo>
                    <a:pt x="24" y="15"/>
                  </a:lnTo>
                  <a:lnTo>
                    <a:pt x="25" y="19"/>
                  </a:lnTo>
                  <a:lnTo>
                    <a:pt x="29" y="26"/>
                  </a:lnTo>
                  <a:lnTo>
                    <a:pt x="30" y="29"/>
                  </a:lnTo>
                  <a:lnTo>
                    <a:pt x="30" y="33"/>
                  </a:lnTo>
                  <a:lnTo>
                    <a:pt x="27" y="36"/>
                  </a:lnTo>
                  <a:lnTo>
                    <a:pt x="23" y="41"/>
                  </a:lnTo>
                  <a:lnTo>
                    <a:pt x="19" y="45"/>
                  </a:lnTo>
                  <a:lnTo>
                    <a:pt x="15" y="49"/>
                  </a:lnTo>
                  <a:lnTo>
                    <a:pt x="14" y="52"/>
                  </a:lnTo>
                  <a:lnTo>
                    <a:pt x="11" y="52"/>
                  </a:lnTo>
                  <a:lnTo>
                    <a:pt x="9" y="52"/>
                  </a:lnTo>
                  <a:lnTo>
                    <a:pt x="6" y="53"/>
                  </a:lnTo>
                  <a:lnTo>
                    <a:pt x="4" y="55"/>
                  </a:lnTo>
                  <a:lnTo>
                    <a:pt x="4" y="58"/>
                  </a:lnTo>
                  <a:lnTo>
                    <a:pt x="4" y="64"/>
                  </a:lnTo>
                  <a:lnTo>
                    <a:pt x="5" y="71"/>
                  </a:lnTo>
                  <a:lnTo>
                    <a:pt x="5" y="77"/>
                  </a:lnTo>
                  <a:lnTo>
                    <a:pt x="2" y="81"/>
                  </a:lnTo>
                  <a:lnTo>
                    <a:pt x="0" y="86"/>
                  </a:lnTo>
                  <a:lnTo>
                    <a:pt x="0" y="88"/>
                  </a:lnTo>
                  <a:lnTo>
                    <a:pt x="1" y="90"/>
                  </a:lnTo>
                  <a:lnTo>
                    <a:pt x="10" y="92"/>
                  </a:lnTo>
                  <a:lnTo>
                    <a:pt x="18" y="94"/>
                  </a:lnTo>
                  <a:lnTo>
                    <a:pt x="25" y="98"/>
                  </a:lnTo>
                  <a:lnTo>
                    <a:pt x="32" y="103"/>
                  </a:lnTo>
                  <a:lnTo>
                    <a:pt x="33" y="105"/>
                  </a:lnTo>
                  <a:lnTo>
                    <a:pt x="33" y="107"/>
                  </a:lnTo>
                  <a:lnTo>
                    <a:pt x="33" y="110"/>
                  </a:lnTo>
                  <a:lnTo>
                    <a:pt x="34" y="112"/>
                  </a:lnTo>
                  <a:lnTo>
                    <a:pt x="37" y="113"/>
                  </a:lnTo>
                  <a:lnTo>
                    <a:pt x="41" y="115"/>
                  </a:lnTo>
                  <a:lnTo>
                    <a:pt x="43" y="115"/>
                  </a:lnTo>
                  <a:lnTo>
                    <a:pt x="47" y="116"/>
                  </a:lnTo>
                  <a:lnTo>
                    <a:pt x="48" y="116"/>
                  </a:lnTo>
                  <a:lnTo>
                    <a:pt x="49" y="115"/>
                  </a:lnTo>
                  <a:lnTo>
                    <a:pt x="51" y="112"/>
                  </a:lnTo>
                  <a:lnTo>
                    <a:pt x="53" y="111"/>
                  </a:lnTo>
                  <a:lnTo>
                    <a:pt x="57" y="110"/>
                  </a:lnTo>
                  <a:lnTo>
                    <a:pt x="60" y="109"/>
                  </a:lnTo>
                  <a:lnTo>
                    <a:pt x="65" y="105"/>
                  </a:lnTo>
                  <a:lnTo>
                    <a:pt x="66" y="105"/>
                  </a:lnTo>
                  <a:lnTo>
                    <a:pt x="67" y="105"/>
                  </a:lnTo>
                  <a:lnTo>
                    <a:pt x="68" y="106"/>
                  </a:lnTo>
                  <a:lnTo>
                    <a:pt x="70" y="106"/>
                  </a:lnTo>
                  <a:lnTo>
                    <a:pt x="79" y="102"/>
                  </a:lnTo>
                  <a:lnTo>
                    <a:pt x="82" y="99"/>
                  </a:lnTo>
                  <a:lnTo>
                    <a:pt x="86" y="97"/>
                  </a:lnTo>
                  <a:lnTo>
                    <a:pt x="86" y="94"/>
                  </a:lnTo>
                  <a:lnTo>
                    <a:pt x="86" y="93"/>
                  </a:lnTo>
                  <a:lnTo>
                    <a:pt x="85" y="90"/>
                  </a:lnTo>
                  <a:lnTo>
                    <a:pt x="85" y="87"/>
                  </a:lnTo>
                  <a:lnTo>
                    <a:pt x="86" y="86"/>
                  </a:lnTo>
                  <a:lnTo>
                    <a:pt x="90" y="85"/>
                  </a:lnTo>
                  <a:lnTo>
                    <a:pt x="93" y="84"/>
                  </a:lnTo>
                  <a:lnTo>
                    <a:pt x="95" y="75"/>
                  </a:lnTo>
                  <a:lnTo>
                    <a:pt x="100" y="68"/>
                  </a:lnTo>
                  <a:lnTo>
                    <a:pt x="103" y="66"/>
                  </a:lnTo>
                  <a:lnTo>
                    <a:pt x="105" y="64"/>
                  </a:lnTo>
                  <a:lnTo>
                    <a:pt x="109" y="61"/>
                  </a:lnTo>
                  <a:lnTo>
                    <a:pt x="113" y="61"/>
                  </a:lnTo>
                  <a:lnTo>
                    <a:pt x="117" y="62"/>
                  </a:lnTo>
                  <a:lnTo>
                    <a:pt x="118" y="62"/>
                  </a:lnTo>
                  <a:lnTo>
                    <a:pt x="121" y="61"/>
                  </a:lnTo>
                  <a:lnTo>
                    <a:pt x="122" y="60"/>
                  </a:lnTo>
                  <a:lnTo>
                    <a:pt x="124" y="58"/>
                  </a:lnTo>
                  <a:lnTo>
                    <a:pt x="126" y="55"/>
                  </a:lnTo>
                  <a:lnTo>
                    <a:pt x="128" y="54"/>
                  </a:lnTo>
                  <a:lnTo>
                    <a:pt x="132" y="54"/>
                  </a:lnTo>
                  <a:lnTo>
                    <a:pt x="134" y="53"/>
                  </a:lnTo>
                  <a:lnTo>
                    <a:pt x="138" y="49"/>
                  </a:lnTo>
                  <a:lnTo>
                    <a:pt x="142" y="46"/>
                  </a:lnTo>
                  <a:lnTo>
                    <a:pt x="150" y="42"/>
                  </a:lnTo>
                  <a:lnTo>
                    <a:pt x="152" y="40"/>
                  </a:lnTo>
                  <a:lnTo>
                    <a:pt x="154" y="37"/>
                  </a:lnTo>
                  <a:lnTo>
                    <a:pt x="152" y="36"/>
                  </a:lnTo>
                  <a:lnTo>
                    <a:pt x="150" y="32"/>
                  </a:lnTo>
                  <a:lnTo>
                    <a:pt x="145" y="28"/>
                  </a:lnTo>
                  <a:lnTo>
                    <a:pt x="133" y="21"/>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8" name="Freeform 977"/>
            <p:cNvSpPr>
              <a:spLocks/>
            </p:cNvSpPr>
            <p:nvPr/>
          </p:nvSpPr>
          <p:spPr bwMode="auto">
            <a:xfrm>
              <a:off x="1344616" y="1771653"/>
              <a:ext cx="454025" cy="227013"/>
            </a:xfrm>
            <a:custGeom>
              <a:avLst/>
              <a:gdLst>
                <a:gd name="T0" fmla="*/ 2147483647 w 309"/>
                <a:gd name="T1" fmla="*/ 2147483647 h 143"/>
                <a:gd name="T2" fmla="*/ 2147483647 w 309"/>
                <a:gd name="T3" fmla="*/ 2147483647 h 143"/>
                <a:gd name="T4" fmla="*/ 2147483647 w 309"/>
                <a:gd name="T5" fmla="*/ 2147483647 h 143"/>
                <a:gd name="T6" fmla="*/ 2147483647 w 309"/>
                <a:gd name="T7" fmla="*/ 2147483647 h 143"/>
                <a:gd name="T8" fmla="*/ 2147483647 w 309"/>
                <a:gd name="T9" fmla="*/ 2147483647 h 143"/>
                <a:gd name="T10" fmla="*/ 2147483647 w 309"/>
                <a:gd name="T11" fmla="*/ 2147483647 h 143"/>
                <a:gd name="T12" fmla="*/ 2147483647 w 309"/>
                <a:gd name="T13" fmla="*/ 2147483647 h 143"/>
                <a:gd name="T14" fmla="*/ 2147483647 w 309"/>
                <a:gd name="T15" fmla="*/ 2147483647 h 143"/>
                <a:gd name="T16" fmla="*/ 2147483647 w 309"/>
                <a:gd name="T17" fmla="*/ 2147483647 h 143"/>
                <a:gd name="T18" fmla="*/ 2147483647 w 309"/>
                <a:gd name="T19" fmla="*/ 2147483647 h 143"/>
                <a:gd name="T20" fmla="*/ 2147483647 w 309"/>
                <a:gd name="T21" fmla="*/ 2147483647 h 143"/>
                <a:gd name="T22" fmla="*/ 2147483647 w 309"/>
                <a:gd name="T23" fmla="*/ 2147483647 h 143"/>
                <a:gd name="T24" fmla="*/ 2147483647 w 309"/>
                <a:gd name="T25" fmla="*/ 2147483647 h 143"/>
                <a:gd name="T26" fmla="*/ 2147483647 w 309"/>
                <a:gd name="T27" fmla="*/ 2147483647 h 143"/>
                <a:gd name="T28" fmla="*/ 2147483647 w 309"/>
                <a:gd name="T29" fmla="*/ 2147483647 h 143"/>
                <a:gd name="T30" fmla="*/ 2147483647 w 309"/>
                <a:gd name="T31" fmla="*/ 2147483647 h 143"/>
                <a:gd name="T32" fmla="*/ 2147483647 w 309"/>
                <a:gd name="T33" fmla="*/ 2147483647 h 143"/>
                <a:gd name="T34" fmla="*/ 2147483647 w 309"/>
                <a:gd name="T35" fmla="*/ 2147483647 h 143"/>
                <a:gd name="T36" fmla="*/ 2147483647 w 309"/>
                <a:gd name="T37" fmla="*/ 2147483647 h 143"/>
                <a:gd name="T38" fmla="*/ 2147483647 w 309"/>
                <a:gd name="T39" fmla="*/ 2147483647 h 143"/>
                <a:gd name="T40" fmla="*/ 2147483647 w 309"/>
                <a:gd name="T41" fmla="*/ 2147483647 h 143"/>
                <a:gd name="T42" fmla="*/ 2147483647 w 309"/>
                <a:gd name="T43" fmla="*/ 2147483647 h 143"/>
                <a:gd name="T44" fmla="*/ 2147483647 w 309"/>
                <a:gd name="T45" fmla="*/ 2147483647 h 143"/>
                <a:gd name="T46" fmla="*/ 2147483647 w 309"/>
                <a:gd name="T47" fmla="*/ 2147483647 h 143"/>
                <a:gd name="T48" fmla="*/ 2147483647 w 309"/>
                <a:gd name="T49" fmla="*/ 2147483647 h 143"/>
                <a:gd name="T50" fmla="*/ 2147483647 w 309"/>
                <a:gd name="T51" fmla="*/ 2147483647 h 143"/>
                <a:gd name="T52" fmla="*/ 2147483647 w 309"/>
                <a:gd name="T53" fmla="*/ 2147483647 h 143"/>
                <a:gd name="T54" fmla="*/ 2147483647 w 309"/>
                <a:gd name="T55" fmla="*/ 2147483647 h 143"/>
                <a:gd name="T56" fmla="*/ 2147483647 w 309"/>
                <a:gd name="T57" fmla="*/ 2147483647 h 143"/>
                <a:gd name="T58" fmla="*/ 2147483647 w 309"/>
                <a:gd name="T59" fmla="*/ 2147483647 h 143"/>
                <a:gd name="T60" fmla="*/ 2147483647 w 309"/>
                <a:gd name="T61" fmla="*/ 2147483647 h 143"/>
                <a:gd name="T62" fmla="*/ 2147483647 w 309"/>
                <a:gd name="T63" fmla="*/ 2147483647 h 143"/>
                <a:gd name="T64" fmla="*/ 2147483647 w 309"/>
                <a:gd name="T65" fmla="*/ 2147483647 h 143"/>
                <a:gd name="T66" fmla="*/ 2147483647 w 309"/>
                <a:gd name="T67" fmla="*/ 0 h 143"/>
                <a:gd name="T68" fmla="*/ 2147483647 w 309"/>
                <a:gd name="T69" fmla="*/ 2147483647 h 143"/>
                <a:gd name="T70" fmla="*/ 2147483647 w 309"/>
                <a:gd name="T71" fmla="*/ 2147483647 h 143"/>
                <a:gd name="T72" fmla="*/ 2147483647 w 309"/>
                <a:gd name="T73" fmla="*/ 2147483647 h 143"/>
                <a:gd name="T74" fmla="*/ 2147483647 w 309"/>
                <a:gd name="T75" fmla="*/ 2147483647 h 143"/>
                <a:gd name="T76" fmla="*/ 2147483647 w 309"/>
                <a:gd name="T77" fmla="*/ 2147483647 h 143"/>
                <a:gd name="T78" fmla="*/ 2147483647 w 309"/>
                <a:gd name="T79" fmla="*/ 2147483647 h 143"/>
                <a:gd name="T80" fmla="*/ 2147483647 w 309"/>
                <a:gd name="T81" fmla="*/ 2147483647 h 143"/>
                <a:gd name="T82" fmla="*/ 2147483647 w 309"/>
                <a:gd name="T83" fmla="*/ 2147483647 h 143"/>
                <a:gd name="T84" fmla="*/ 2147483647 w 309"/>
                <a:gd name="T85" fmla="*/ 2147483647 h 143"/>
                <a:gd name="T86" fmla="*/ 2147483647 w 309"/>
                <a:gd name="T87" fmla="*/ 2147483647 h 143"/>
                <a:gd name="T88" fmla="*/ 2147483647 w 309"/>
                <a:gd name="T89" fmla="*/ 2147483647 h 143"/>
                <a:gd name="T90" fmla="*/ 2147483647 w 309"/>
                <a:gd name="T91" fmla="*/ 2147483647 h 143"/>
                <a:gd name="T92" fmla="*/ 2147483647 w 309"/>
                <a:gd name="T93" fmla="*/ 2147483647 h 143"/>
                <a:gd name="T94" fmla="*/ 2147483647 w 309"/>
                <a:gd name="T95" fmla="*/ 2147483647 h 143"/>
                <a:gd name="T96" fmla="*/ 2147483647 w 309"/>
                <a:gd name="T97" fmla="*/ 2147483647 h 143"/>
                <a:gd name="T98" fmla="*/ 2147483647 w 309"/>
                <a:gd name="T99" fmla="*/ 2147483647 h 143"/>
                <a:gd name="T100" fmla="*/ 2147483647 w 309"/>
                <a:gd name="T101" fmla="*/ 2147483647 h 143"/>
                <a:gd name="T102" fmla="*/ 2147483647 w 309"/>
                <a:gd name="T103" fmla="*/ 2147483647 h 143"/>
                <a:gd name="T104" fmla="*/ 2147483647 w 309"/>
                <a:gd name="T105" fmla="*/ 2147483647 h 143"/>
                <a:gd name="T106" fmla="*/ 2147483647 w 309"/>
                <a:gd name="T107" fmla="*/ 2147483647 h 143"/>
                <a:gd name="T108" fmla="*/ 2147483647 w 309"/>
                <a:gd name="T109" fmla="*/ 2147483647 h 143"/>
                <a:gd name="T110" fmla="*/ 2147483647 w 309"/>
                <a:gd name="T111" fmla="*/ 2147483647 h 1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9"/>
                <a:gd name="T169" fmla="*/ 0 h 143"/>
                <a:gd name="T170" fmla="*/ 309 w 309"/>
                <a:gd name="T171" fmla="*/ 143 h 1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9" h="143">
                  <a:moveTo>
                    <a:pt x="128" y="142"/>
                  </a:moveTo>
                  <a:lnTo>
                    <a:pt x="139" y="137"/>
                  </a:lnTo>
                  <a:lnTo>
                    <a:pt x="142" y="136"/>
                  </a:lnTo>
                  <a:lnTo>
                    <a:pt x="147" y="136"/>
                  </a:lnTo>
                  <a:lnTo>
                    <a:pt x="156" y="137"/>
                  </a:lnTo>
                  <a:lnTo>
                    <a:pt x="164" y="137"/>
                  </a:lnTo>
                  <a:lnTo>
                    <a:pt x="172" y="134"/>
                  </a:lnTo>
                  <a:lnTo>
                    <a:pt x="179" y="129"/>
                  </a:lnTo>
                  <a:lnTo>
                    <a:pt x="184" y="126"/>
                  </a:lnTo>
                  <a:lnTo>
                    <a:pt x="189" y="125"/>
                  </a:lnTo>
                  <a:lnTo>
                    <a:pt x="196" y="124"/>
                  </a:lnTo>
                  <a:lnTo>
                    <a:pt x="201" y="122"/>
                  </a:lnTo>
                  <a:lnTo>
                    <a:pt x="203" y="121"/>
                  </a:lnTo>
                  <a:lnTo>
                    <a:pt x="206" y="121"/>
                  </a:lnTo>
                  <a:lnTo>
                    <a:pt x="212" y="121"/>
                  </a:lnTo>
                  <a:lnTo>
                    <a:pt x="221" y="122"/>
                  </a:lnTo>
                  <a:lnTo>
                    <a:pt x="231" y="123"/>
                  </a:lnTo>
                  <a:lnTo>
                    <a:pt x="232" y="124"/>
                  </a:lnTo>
                  <a:lnTo>
                    <a:pt x="234" y="126"/>
                  </a:lnTo>
                  <a:lnTo>
                    <a:pt x="235" y="129"/>
                  </a:lnTo>
                  <a:lnTo>
                    <a:pt x="236" y="130"/>
                  </a:lnTo>
                  <a:lnTo>
                    <a:pt x="246" y="134"/>
                  </a:lnTo>
                  <a:lnTo>
                    <a:pt x="255" y="135"/>
                  </a:lnTo>
                  <a:lnTo>
                    <a:pt x="265" y="134"/>
                  </a:lnTo>
                  <a:lnTo>
                    <a:pt x="274" y="131"/>
                  </a:lnTo>
                  <a:lnTo>
                    <a:pt x="279" y="128"/>
                  </a:lnTo>
                  <a:lnTo>
                    <a:pt x="285" y="122"/>
                  </a:lnTo>
                  <a:lnTo>
                    <a:pt x="285" y="119"/>
                  </a:lnTo>
                  <a:lnTo>
                    <a:pt x="285" y="118"/>
                  </a:lnTo>
                  <a:lnTo>
                    <a:pt x="281" y="115"/>
                  </a:lnTo>
                  <a:lnTo>
                    <a:pt x="276" y="113"/>
                  </a:lnTo>
                  <a:lnTo>
                    <a:pt x="271" y="112"/>
                  </a:lnTo>
                  <a:lnTo>
                    <a:pt x="264" y="111"/>
                  </a:lnTo>
                  <a:lnTo>
                    <a:pt x="263" y="111"/>
                  </a:lnTo>
                  <a:lnTo>
                    <a:pt x="262" y="110"/>
                  </a:lnTo>
                  <a:lnTo>
                    <a:pt x="260" y="109"/>
                  </a:lnTo>
                  <a:lnTo>
                    <a:pt x="260" y="106"/>
                  </a:lnTo>
                  <a:lnTo>
                    <a:pt x="262" y="105"/>
                  </a:lnTo>
                  <a:lnTo>
                    <a:pt x="263" y="104"/>
                  </a:lnTo>
                  <a:lnTo>
                    <a:pt x="264" y="105"/>
                  </a:lnTo>
                  <a:lnTo>
                    <a:pt x="269" y="106"/>
                  </a:lnTo>
                  <a:lnTo>
                    <a:pt x="273" y="106"/>
                  </a:lnTo>
                  <a:lnTo>
                    <a:pt x="277" y="105"/>
                  </a:lnTo>
                  <a:lnTo>
                    <a:pt x="281" y="103"/>
                  </a:lnTo>
                  <a:lnTo>
                    <a:pt x="283" y="102"/>
                  </a:lnTo>
                  <a:lnTo>
                    <a:pt x="285" y="103"/>
                  </a:lnTo>
                  <a:lnTo>
                    <a:pt x="291" y="105"/>
                  </a:lnTo>
                  <a:lnTo>
                    <a:pt x="297" y="107"/>
                  </a:lnTo>
                  <a:lnTo>
                    <a:pt x="300" y="110"/>
                  </a:lnTo>
                  <a:lnTo>
                    <a:pt x="304" y="111"/>
                  </a:lnTo>
                  <a:lnTo>
                    <a:pt x="304" y="103"/>
                  </a:lnTo>
                  <a:lnTo>
                    <a:pt x="305" y="99"/>
                  </a:lnTo>
                  <a:lnTo>
                    <a:pt x="307" y="94"/>
                  </a:lnTo>
                  <a:lnTo>
                    <a:pt x="309" y="93"/>
                  </a:lnTo>
                  <a:lnTo>
                    <a:pt x="309" y="92"/>
                  </a:lnTo>
                  <a:lnTo>
                    <a:pt x="307" y="91"/>
                  </a:lnTo>
                  <a:lnTo>
                    <a:pt x="306" y="91"/>
                  </a:lnTo>
                  <a:lnTo>
                    <a:pt x="296" y="92"/>
                  </a:lnTo>
                  <a:lnTo>
                    <a:pt x="292" y="91"/>
                  </a:lnTo>
                  <a:lnTo>
                    <a:pt x="288" y="90"/>
                  </a:lnTo>
                  <a:lnTo>
                    <a:pt x="285" y="86"/>
                  </a:lnTo>
                  <a:lnTo>
                    <a:pt x="282" y="83"/>
                  </a:lnTo>
                  <a:lnTo>
                    <a:pt x="279" y="79"/>
                  </a:lnTo>
                  <a:lnTo>
                    <a:pt x="277" y="75"/>
                  </a:lnTo>
                  <a:lnTo>
                    <a:pt x="274" y="74"/>
                  </a:lnTo>
                  <a:lnTo>
                    <a:pt x="272" y="74"/>
                  </a:lnTo>
                  <a:lnTo>
                    <a:pt x="267" y="73"/>
                  </a:lnTo>
                  <a:lnTo>
                    <a:pt x="260" y="70"/>
                  </a:lnTo>
                  <a:lnTo>
                    <a:pt x="255" y="66"/>
                  </a:lnTo>
                  <a:lnTo>
                    <a:pt x="254" y="65"/>
                  </a:lnTo>
                  <a:lnTo>
                    <a:pt x="253" y="65"/>
                  </a:lnTo>
                  <a:lnTo>
                    <a:pt x="250" y="66"/>
                  </a:lnTo>
                  <a:lnTo>
                    <a:pt x="248" y="65"/>
                  </a:lnTo>
                  <a:lnTo>
                    <a:pt x="246" y="64"/>
                  </a:lnTo>
                  <a:lnTo>
                    <a:pt x="246" y="59"/>
                  </a:lnTo>
                  <a:lnTo>
                    <a:pt x="245" y="55"/>
                  </a:lnTo>
                  <a:lnTo>
                    <a:pt x="244" y="54"/>
                  </a:lnTo>
                  <a:lnTo>
                    <a:pt x="241" y="52"/>
                  </a:lnTo>
                  <a:lnTo>
                    <a:pt x="239" y="51"/>
                  </a:lnTo>
                  <a:lnTo>
                    <a:pt x="238" y="49"/>
                  </a:lnTo>
                  <a:lnTo>
                    <a:pt x="238" y="47"/>
                  </a:lnTo>
                  <a:lnTo>
                    <a:pt x="239" y="46"/>
                  </a:lnTo>
                  <a:lnTo>
                    <a:pt x="239" y="43"/>
                  </a:lnTo>
                  <a:lnTo>
                    <a:pt x="239" y="42"/>
                  </a:lnTo>
                  <a:lnTo>
                    <a:pt x="234" y="36"/>
                  </a:lnTo>
                  <a:lnTo>
                    <a:pt x="231" y="34"/>
                  </a:lnTo>
                  <a:lnTo>
                    <a:pt x="229" y="32"/>
                  </a:lnTo>
                  <a:lnTo>
                    <a:pt x="224" y="30"/>
                  </a:lnTo>
                  <a:lnTo>
                    <a:pt x="221" y="28"/>
                  </a:lnTo>
                  <a:lnTo>
                    <a:pt x="220" y="27"/>
                  </a:lnTo>
                  <a:lnTo>
                    <a:pt x="220" y="24"/>
                  </a:lnTo>
                  <a:lnTo>
                    <a:pt x="220" y="21"/>
                  </a:lnTo>
                  <a:lnTo>
                    <a:pt x="220" y="17"/>
                  </a:lnTo>
                  <a:lnTo>
                    <a:pt x="220" y="15"/>
                  </a:lnTo>
                  <a:lnTo>
                    <a:pt x="216" y="13"/>
                  </a:lnTo>
                  <a:lnTo>
                    <a:pt x="210" y="10"/>
                  </a:lnTo>
                  <a:lnTo>
                    <a:pt x="203" y="10"/>
                  </a:lnTo>
                  <a:lnTo>
                    <a:pt x="199" y="11"/>
                  </a:lnTo>
                  <a:lnTo>
                    <a:pt x="197" y="13"/>
                  </a:lnTo>
                  <a:lnTo>
                    <a:pt x="196" y="15"/>
                  </a:lnTo>
                  <a:lnTo>
                    <a:pt x="194" y="19"/>
                  </a:lnTo>
                  <a:lnTo>
                    <a:pt x="196" y="26"/>
                  </a:lnTo>
                  <a:lnTo>
                    <a:pt x="201" y="42"/>
                  </a:lnTo>
                  <a:lnTo>
                    <a:pt x="203" y="51"/>
                  </a:lnTo>
                  <a:lnTo>
                    <a:pt x="202" y="55"/>
                  </a:lnTo>
                  <a:lnTo>
                    <a:pt x="201" y="59"/>
                  </a:lnTo>
                  <a:lnTo>
                    <a:pt x="201" y="61"/>
                  </a:lnTo>
                  <a:lnTo>
                    <a:pt x="198" y="62"/>
                  </a:lnTo>
                  <a:lnTo>
                    <a:pt x="196" y="62"/>
                  </a:lnTo>
                  <a:lnTo>
                    <a:pt x="194" y="62"/>
                  </a:lnTo>
                  <a:lnTo>
                    <a:pt x="192" y="60"/>
                  </a:lnTo>
                  <a:lnTo>
                    <a:pt x="189" y="58"/>
                  </a:lnTo>
                  <a:lnTo>
                    <a:pt x="189" y="51"/>
                  </a:lnTo>
                  <a:lnTo>
                    <a:pt x="189" y="45"/>
                  </a:lnTo>
                  <a:lnTo>
                    <a:pt x="188" y="41"/>
                  </a:lnTo>
                  <a:lnTo>
                    <a:pt x="187" y="39"/>
                  </a:lnTo>
                  <a:lnTo>
                    <a:pt x="179" y="30"/>
                  </a:lnTo>
                  <a:lnTo>
                    <a:pt x="175" y="27"/>
                  </a:lnTo>
                  <a:lnTo>
                    <a:pt x="173" y="23"/>
                  </a:lnTo>
                  <a:lnTo>
                    <a:pt x="170" y="21"/>
                  </a:lnTo>
                  <a:lnTo>
                    <a:pt x="168" y="21"/>
                  </a:lnTo>
                  <a:lnTo>
                    <a:pt x="165" y="21"/>
                  </a:lnTo>
                  <a:lnTo>
                    <a:pt x="164" y="23"/>
                  </a:lnTo>
                  <a:lnTo>
                    <a:pt x="163" y="29"/>
                  </a:lnTo>
                  <a:lnTo>
                    <a:pt x="161" y="30"/>
                  </a:lnTo>
                  <a:lnTo>
                    <a:pt x="159" y="32"/>
                  </a:lnTo>
                  <a:lnTo>
                    <a:pt x="150" y="32"/>
                  </a:lnTo>
                  <a:lnTo>
                    <a:pt x="142" y="34"/>
                  </a:lnTo>
                  <a:lnTo>
                    <a:pt x="139" y="34"/>
                  </a:lnTo>
                  <a:lnTo>
                    <a:pt x="135" y="34"/>
                  </a:lnTo>
                  <a:lnTo>
                    <a:pt x="131" y="33"/>
                  </a:lnTo>
                  <a:lnTo>
                    <a:pt x="130" y="32"/>
                  </a:lnTo>
                  <a:lnTo>
                    <a:pt x="130" y="30"/>
                  </a:lnTo>
                  <a:lnTo>
                    <a:pt x="131" y="28"/>
                  </a:lnTo>
                  <a:lnTo>
                    <a:pt x="133" y="26"/>
                  </a:lnTo>
                  <a:lnTo>
                    <a:pt x="136" y="23"/>
                  </a:lnTo>
                  <a:lnTo>
                    <a:pt x="137" y="22"/>
                  </a:lnTo>
                  <a:lnTo>
                    <a:pt x="136" y="21"/>
                  </a:lnTo>
                  <a:lnTo>
                    <a:pt x="133" y="19"/>
                  </a:lnTo>
                  <a:lnTo>
                    <a:pt x="130" y="15"/>
                  </a:lnTo>
                  <a:lnTo>
                    <a:pt x="122" y="10"/>
                  </a:lnTo>
                  <a:lnTo>
                    <a:pt x="119" y="9"/>
                  </a:lnTo>
                  <a:lnTo>
                    <a:pt x="117" y="9"/>
                  </a:lnTo>
                  <a:lnTo>
                    <a:pt x="111" y="8"/>
                  </a:lnTo>
                  <a:lnTo>
                    <a:pt x="108" y="7"/>
                  </a:lnTo>
                  <a:lnTo>
                    <a:pt x="107" y="6"/>
                  </a:lnTo>
                  <a:lnTo>
                    <a:pt x="104" y="3"/>
                  </a:lnTo>
                  <a:lnTo>
                    <a:pt x="100" y="3"/>
                  </a:lnTo>
                  <a:lnTo>
                    <a:pt x="98" y="3"/>
                  </a:lnTo>
                  <a:lnTo>
                    <a:pt x="92" y="4"/>
                  </a:lnTo>
                  <a:lnTo>
                    <a:pt x="90" y="6"/>
                  </a:lnTo>
                  <a:lnTo>
                    <a:pt x="89" y="8"/>
                  </a:lnTo>
                  <a:lnTo>
                    <a:pt x="89" y="13"/>
                  </a:lnTo>
                  <a:lnTo>
                    <a:pt x="89" y="17"/>
                  </a:lnTo>
                  <a:lnTo>
                    <a:pt x="88" y="19"/>
                  </a:lnTo>
                  <a:lnTo>
                    <a:pt x="85" y="21"/>
                  </a:lnTo>
                  <a:lnTo>
                    <a:pt x="84" y="20"/>
                  </a:lnTo>
                  <a:lnTo>
                    <a:pt x="80" y="19"/>
                  </a:lnTo>
                  <a:lnTo>
                    <a:pt x="76" y="20"/>
                  </a:lnTo>
                  <a:lnTo>
                    <a:pt x="74" y="20"/>
                  </a:lnTo>
                  <a:lnTo>
                    <a:pt x="71" y="20"/>
                  </a:lnTo>
                  <a:lnTo>
                    <a:pt x="71" y="19"/>
                  </a:lnTo>
                  <a:lnTo>
                    <a:pt x="71" y="17"/>
                  </a:lnTo>
                  <a:lnTo>
                    <a:pt x="74" y="15"/>
                  </a:lnTo>
                  <a:lnTo>
                    <a:pt x="75" y="11"/>
                  </a:lnTo>
                  <a:lnTo>
                    <a:pt x="75" y="8"/>
                  </a:lnTo>
                  <a:lnTo>
                    <a:pt x="74" y="6"/>
                  </a:lnTo>
                  <a:lnTo>
                    <a:pt x="69" y="1"/>
                  </a:lnTo>
                  <a:lnTo>
                    <a:pt x="66" y="0"/>
                  </a:lnTo>
                  <a:lnTo>
                    <a:pt x="64" y="0"/>
                  </a:lnTo>
                  <a:lnTo>
                    <a:pt x="61" y="1"/>
                  </a:lnTo>
                  <a:lnTo>
                    <a:pt x="59" y="3"/>
                  </a:lnTo>
                  <a:lnTo>
                    <a:pt x="56" y="4"/>
                  </a:lnTo>
                  <a:lnTo>
                    <a:pt x="53" y="6"/>
                  </a:lnTo>
                  <a:lnTo>
                    <a:pt x="45" y="8"/>
                  </a:lnTo>
                  <a:lnTo>
                    <a:pt x="37" y="10"/>
                  </a:lnTo>
                  <a:lnTo>
                    <a:pt x="28" y="14"/>
                  </a:lnTo>
                  <a:lnTo>
                    <a:pt x="22" y="20"/>
                  </a:lnTo>
                  <a:lnTo>
                    <a:pt x="18" y="24"/>
                  </a:lnTo>
                  <a:lnTo>
                    <a:pt x="15" y="30"/>
                  </a:lnTo>
                  <a:lnTo>
                    <a:pt x="12" y="36"/>
                  </a:lnTo>
                  <a:lnTo>
                    <a:pt x="9" y="38"/>
                  </a:lnTo>
                  <a:lnTo>
                    <a:pt x="5" y="40"/>
                  </a:lnTo>
                  <a:lnTo>
                    <a:pt x="3" y="41"/>
                  </a:lnTo>
                  <a:lnTo>
                    <a:pt x="1" y="43"/>
                  </a:lnTo>
                  <a:lnTo>
                    <a:pt x="0" y="46"/>
                  </a:lnTo>
                  <a:lnTo>
                    <a:pt x="1" y="48"/>
                  </a:lnTo>
                  <a:lnTo>
                    <a:pt x="3" y="49"/>
                  </a:lnTo>
                  <a:lnTo>
                    <a:pt x="4" y="49"/>
                  </a:lnTo>
                  <a:lnTo>
                    <a:pt x="8" y="49"/>
                  </a:lnTo>
                  <a:lnTo>
                    <a:pt x="13" y="49"/>
                  </a:lnTo>
                  <a:lnTo>
                    <a:pt x="14" y="49"/>
                  </a:lnTo>
                  <a:lnTo>
                    <a:pt x="15" y="51"/>
                  </a:lnTo>
                  <a:lnTo>
                    <a:pt x="18" y="52"/>
                  </a:lnTo>
                  <a:lnTo>
                    <a:pt x="20" y="53"/>
                  </a:lnTo>
                  <a:lnTo>
                    <a:pt x="25" y="52"/>
                  </a:lnTo>
                  <a:lnTo>
                    <a:pt x="39" y="52"/>
                  </a:lnTo>
                  <a:lnTo>
                    <a:pt x="52" y="52"/>
                  </a:lnTo>
                  <a:lnTo>
                    <a:pt x="56" y="53"/>
                  </a:lnTo>
                  <a:lnTo>
                    <a:pt x="60" y="55"/>
                  </a:lnTo>
                  <a:lnTo>
                    <a:pt x="61" y="59"/>
                  </a:lnTo>
                  <a:lnTo>
                    <a:pt x="62" y="61"/>
                  </a:lnTo>
                  <a:lnTo>
                    <a:pt x="61" y="64"/>
                  </a:lnTo>
                  <a:lnTo>
                    <a:pt x="60" y="64"/>
                  </a:lnTo>
                  <a:lnTo>
                    <a:pt x="59" y="65"/>
                  </a:lnTo>
                  <a:lnTo>
                    <a:pt x="56" y="64"/>
                  </a:lnTo>
                  <a:lnTo>
                    <a:pt x="51" y="61"/>
                  </a:lnTo>
                  <a:lnTo>
                    <a:pt x="48" y="60"/>
                  </a:lnTo>
                  <a:lnTo>
                    <a:pt x="46" y="61"/>
                  </a:lnTo>
                  <a:lnTo>
                    <a:pt x="34" y="65"/>
                  </a:lnTo>
                  <a:lnTo>
                    <a:pt x="29" y="66"/>
                  </a:lnTo>
                  <a:lnTo>
                    <a:pt x="24" y="65"/>
                  </a:lnTo>
                  <a:lnTo>
                    <a:pt x="23" y="62"/>
                  </a:lnTo>
                  <a:lnTo>
                    <a:pt x="20" y="62"/>
                  </a:lnTo>
                  <a:lnTo>
                    <a:pt x="18" y="62"/>
                  </a:lnTo>
                  <a:lnTo>
                    <a:pt x="17" y="62"/>
                  </a:lnTo>
                  <a:lnTo>
                    <a:pt x="15" y="65"/>
                  </a:lnTo>
                  <a:lnTo>
                    <a:pt x="15" y="67"/>
                  </a:lnTo>
                  <a:lnTo>
                    <a:pt x="15" y="70"/>
                  </a:lnTo>
                  <a:lnTo>
                    <a:pt x="25" y="75"/>
                  </a:lnTo>
                  <a:lnTo>
                    <a:pt x="34" y="81"/>
                  </a:lnTo>
                  <a:lnTo>
                    <a:pt x="45" y="80"/>
                  </a:lnTo>
                  <a:lnTo>
                    <a:pt x="62" y="79"/>
                  </a:lnTo>
                  <a:lnTo>
                    <a:pt x="86" y="75"/>
                  </a:lnTo>
                  <a:lnTo>
                    <a:pt x="92" y="75"/>
                  </a:lnTo>
                  <a:lnTo>
                    <a:pt x="95" y="75"/>
                  </a:lnTo>
                  <a:lnTo>
                    <a:pt x="104" y="78"/>
                  </a:lnTo>
                  <a:lnTo>
                    <a:pt x="112" y="81"/>
                  </a:lnTo>
                  <a:lnTo>
                    <a:pt x="121" y="84"/>
                  </a:lnTo>
                  <a:lnTo>
                    <a:pt x="126" y="84"/>
                  </a:lnTo>
                  <a:lnTo>
                    <a:pt x="128" y="84"/>
                  </a:lnTo>
                  <a:lnTo>
                    <a:pt x="131" y="85"/>
                  </a:lnTo>
                  <a:lnTo>
                    <a:pt x="133" y="86"/>
                  </a:lnTo>
                  <a:lnTo>
                    <a:pt x="133" y="87"/>
                  </a:lnTo>
                  <a:lnTo>
                    <a:pt x="133" y="89"/>
                  </a:lnTo>
                  <a:lnTo>
                    <a:pt x="122" y="91"/>
                  </a:lnTo>
                  <a:lnTo>
                    <a:pt x="117" y="93"/>
                  </a:lnTo>
                  <a:lnTo>
                    <a:pt x="112" y="97"/>
                  </a:lnTo>
                  <a:lnTo>
                    <a:pt x="111" y="97"/>
                  </a:lnTo>
                  <a:lnTo>
                    <a:pt x="109" y="97"/>
                  </a:lnTo>
                  <a:lnTo>
                    <a:pt x="105" y="94"/>
                  </a:lnTo>
                  <a:lnTo>
                    <a:pt x="100" y="92"/>
                  </a:lnTo>
                  <a:lnTo>
                    <a:pt x="90" y="92"/>
                  </a:lnTo>
                  <a:lnTo>
                    <a:pt x="79" y="92"/>
                  </a:lnTo>
                  <a:lnTo>
                    <a:pt x="75" y="93"/>
                  </a:lnTo>
                  <a:lnTo>
                    <a:pt x="70" y="93"/>
                  </a:lnTo>
                  <a:lnTo>
                    <a:pt x="66" y="93"/>
                  </a:lnTo>
                  <a:lnTo>
                    <a:pt x="61" y="92"/>
                  </a:lnTo>
                  <a:lnTo>
                    <a:pt x="56" y="93"/>
                  </a:lnTo>
                  <a:lnTo>
                    <a:pt x="50" y="96"/>
                  </a:lnTo>
                  <a:lnTo>
                    <a:pt x="46" y="96"/>
                  </a:lnTo>
                  <a:lnTo>
                    <a:pt x="41" y="94"/>
                  </a:lnTo>
                  <a:lnTo>
                    <a:pt x="37" y="94"/>
                  </a:lnTo>
                  <a:lnTo>
                    <a:pt x="36" y="96"/>
                  </a:lnTo>
                  <a:lnTo>
                    <a:pt x="34" y="97"/>
                  </a:lnTo>
                  <a:lnTo>
                    <a:pt x="33" y="98"/>
                  </a:lnTo>
                  <a:lnTo>
                    <a:pt x="34" y="100"/>
                  </a:lnTo>
                  <a:lnTo>
                    <a:pt x="37" y="104"/>
                  </a:lnTo>
                  <a:lnTo>
                    <a:pt x="38" y="106"/>
                  </a:lnTo>
                  <a:lnTo>
                    <a:pt x="42" y="107"/>
                  </a:lnTo>
                  <a:lnTo>
                    <a:pt x="45" y="107"/>
                  </a:lnTo>
                  <a:lnTo>
                    <a:pt x="46" y="109"/>
                  </a:lnTo>
                  <a:lnTo>
                    <a:pt x="51" y="115"/>
                  </a:lnTo>
                  <a:lnTo>
                    <a:pt x="57" y="119"/>
                  </a:lnTo>
                  <a:lnTo>
                    <a:pt x="65" y="121"/>
                  </a:lnTo>
                  <a:lnTo>
                    <a:pt x="72" y="121"/>
                  </a:lnTo>
                  <a:lnTo>
                    <a:pt x="78" y="123"/>
                  </a:lnTo>
                  <a:lnTo>
                    <a:pt x="86" y="124"/>
                  </a:lnTo>
                  <a:lnTo>
                    <a:pt x="90" y="124"/>
                  </a:lnTo>
                  <a:lnTo>
                    <a:pt x="94" y="126"/>
                  </a:lnTo>
                  <a:lnTo>
                    <a:pt x="95" y="128"/>
                  </a:lnTo>
                  <a:lnTo>
                    <a:pt x="95" y="130"/>
                  </a:lnTo>
                  <a:lnTo>
                    <a:pt x="93" y="135"/>
                  </a:lnTo>
                  <a:lnTo>
                    <a:pt x="92" y="137"/>
                  </a:lnTo>
                  <a:lnTo>
                    <a:pt x="93" y="138"/>
                  </a:lnTo>
                  <a:lnTo>
                    <a:pt x="93" y="139"/>
                  </a:lnTo>
                  <a:lnTo>
                    <a:pt x="94" y="141"/>
                  </a:lnTo>
                  <a:lnTo>
                    <a:pt x="108" y="142"/>
                  </a:lnTo>
                  <a:lnTo>
                    <a:pt x="121" y="143"/>
                  </a:lnTo>
                  <a:lnTo>
                    <a:pt x="125" y="143"/>
                  </a:lnTo>
                  <a:lnTo>
                    <a:pt x="128" y="14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79" name="Freeform 978"/>
            <p:cNvSpPr>
              <a:spLocks/>
            </p:cNvSpPr>
            <p:nvPr/>
          </p:nvSpPr>
          <p:spPr bwMode="auto">
            <a:xfrm>
              <a:off x="1381125" y="1585914"/>
              <a:ext cx="274638" cy="131762"/>
            </a:xfrm>
            <a:custGeom>
              <a:avLst/>
              <a:gdLst>
                <a:gd name="T0" fmla="*/ 2147483647 w 187"/>
                <a:gd name="T1" fmla="*/ 2147483647 h 83"/>
                <a:gd name="T2" fmla="*/ 2147483647 w 187"/>
                <a:gd name="T3" fmla="*/ 2147483647 h 83"/>
                <a:gd name="T4" fmla="*/ 2147483647 w 187"/>
                <a:gd name="T5" fmla="*/ 2147483647 h 83"/>
                <a:gd name="T6" fmla="*/ 2147483647 w 187"/>
                <a:gd name="T7" fmla="*/ 2147483647 h 83"/>
                <a:gd name="T8" fmla="*/ 2147483647 w 187"/>
                <a:gd name="T9" fmla="*/ 2147483647 h 83"/>
                <a:gd name="T10" fmla="*/ 2147483647 w 187"/>
                <a:gd name="T11" fmla="*/ 2147483647 h 83"/>
                <a:gd name="T12" fmla="*/ 2147483647 w 187"/>
                <a:gd name="T13" fmla="*/ 2147483647 h 83"/>
                <a:gd name="T14" fmla="*/ 2147483647 w 187"/>
                <a:gd name="T15" fmla="*/ 2147483647 h 83"/>
                <a:gd name="T16" fmla="*/ 2147483647 w 187"/>
                <a:gd name="T17" fmla="*/ 2147483647 h 83"/>
                <a:gd name="T18" fmla="*/ 2147483647 w 187"/>
                <a:gd name="T19" fmla="*/ 2147483647 h 83"/>
                <a:gd name="T20" fmla="*/ 2147483647 w 187"/>
                <a:gd name="T21" fmla="*/ 2147483647 h 83"/>
                <a:gd name="T22" fmla="*/ 2147483647 w 187"/>
                <a:gd name="T23" fmla="*/ 2147483647 h 83"/>
                <a:gd name="T24" fmla="*/ 2147483647 w 187"/>
                <a:gd name="T25" fmla="*/ 2147483647 h 83"/>
                <a:gd name="T26" fmla="*/ 2147483647 w 187"/>
                <a:gd name="T27" fmla="*/ 2147483647 h 83"/>
                <a:gd name="T28" fmla="*/ 2147483647 w 187"/>
                <a:gd name="T29" fmla="*/ 2147483647 h 83"/>
                <a:gd name="T30" fmla="*/ 2147483647 w 187"/>
                <a:gd name="T31" fmla="*/ 2147483647 h 83"/>
                <a:gd name="T32" fmla="*/ 2147483647 w 187"/>
                <a:gd name="T33" fmla="*/ 2147483647 h 83"/>
                <a:gd name="T34" fmla="*/ 2147483647 w 187"/>
                <a:gd name="T35" fmla="*/ 2147483647 h 83"/>
                <a:gd name="T36" fmla="*/ 2147483647 w 187"/>
                <a:gd name="T37" fmla="*/ 2147483647 h 83"/>
                <a:gd name="T38" fmla="*/ 2147483647 w 187"/>
                <a:gd name="T39" fmla="*/ 2147483647 h 83"/>
                <a:gd name="T40" fmla="*/ 2147483647 w 187"/>
                <a:gd name="T41" fmla="*/ 2147483647 h 83"/>
                <a:gd name="T42" fmla="*/ 2147483647 w 187"/>
                <a:gd name="T43" fmla="*/ 2147483647 h 83"/>
                <a:gd name="T44" fmla="*/ 2147483647 w 187"/>
                <a:gd name="T45" fmla="*/ 2147483647 h 83"/>
                <a:gd name="T46" fmla="*/ 0 w 187"/>
                <a:gd name="T47" fmla="*/ 2147483647 h 83"/>
                <a:gd name="T48" fmla="*/ 2147483647 w 187"/>
                <a:gd name="T49" fmla="*/ 2147483647 h 83"/>
                <a:gd name="T50" fmla="*/ 2147483647 w 187"/>
                <a:gd name="T51" fmla="*/ 2147483647 h 83"/>
                <a:gd name="T52" fmla="*/ 2147483647 w 187"/>
                <a:gd name="T53" fmla="*/ 2147483647 h 83"/>
                <a:gd name="T54" fmla="*/ 2147483647 w 187"/>
                <a:gd name="T55" fmla="*/ 2147483647 h 83"/>
                <a:gd name="T56" fmla="*/ 2147483647 w 187"/>
                <a:gd name="T57" fmla="*/ 2147483647 h 83"/>
                <a:gd name="T58" fmla="*/ 2147483647 w 187"/>
                <a:gd name="T59" fmla="*/ 2147483647 h 83"/>
                <a:gd name="T60" fmla="*/ 2147483647 w 187"/>
                <a:gd name="T61" fmla="*/ 2147483647 h 83"/>
                <a:gd name="T62" fmla="*/ 2147483647 w 187"/>
                <a:gd name="T63" fmla="*/ 2147483647 h 83"/>
                <a:gd name="T64" fmla="*/ 2147483647 w 187"/>
                <a:gd name="T65" fmla="*/ 2147483647 h 83"/>
                <a:gd name="T66" fmla="*/ 2147483647 w 187"/>
                <a:gd name="T67" fmla="*/ 2147483647 h 83"/>
                <a:gd name="T68" fmla="*/ 2147483647 w 187"/>
                <a:gd name="T69" fmla="*/ 2147483647 h 83"/>
                <a:gd name="T70" fmla="*/ 2147483647 w 187"/>
                <a:gd name="T71" fmla="*/ 2147483647 h 83"/>
                <a:gd name="T72" fmla="*/ 2147483647 w 187"/>
                <a:gd name="T73" fmla="*/ 2147483647 h 83"/>
                <a:gd name="T74" fmla="*/ 2147483647 w 187"/>
                <a:gd name="T75" fmla="*/ 2147483647 h 83"/>
                <a:gd name="T76" fmla="*/ 2147483647 w 187"/>
                <a:gd name="T77" fmla="*/ 2147483647 h 83"/>
                <a:gd name="T78" fmla="*/ 2147483647 w 187"/>
                <a:gd name="T79" fmla="*/ 2147483647 h 83"/>
                <a:gd name="T80" fmla="*/ 2147483647 w 187"/>
                <a:gd name="T81" fmla="*/ 2147483647 h 83"/>
                <a:gd name="T82" fmla="*/ 2147483647 w 187"/>
                <a:gd name="T83" fmla="*/ 2147483647 h 83"/>
                <a:gd name="T84" fmla="*/ 2147483647 w 187"/>
                <a:gd name="T85" fmla="*/ 2147483647 h 83"/>
                <a:gd name="T86" fmla="*/ 2147483647 w 187"/>
                <a:gd name="T87" fmla="*/ 0 h 83"/>
                <a:gd name="T88" fmla="*/ 2147483647 w 187"/>
                <a:gd name="T89" fmla="*/ 2147483647 h 83"/>
                <a:gd name="T90" fmla="*/ 2147483647 w 187"/>
                <a:gd name="T91" fmla="*/ 2147483647 h 83"/>
                <a:gd name="T92" fmla="*/ 2147483647 w 187"/>
                <a:gd name="T93" fmla="*/ 2147483647 h 83"/>
                <a:gd name="T94" fmla="*/ 2147483647 w 187"/>
                <a:gd name="T95" fmla="*/ 2147483647 h 83"/>
                <a:gd name="T96" fmla="*/ 2147483647 w 187"/>
                <a:gd name="T97" fmla="*/ 2147483647 h 83"/>
                <a:gd name="T98" fmla="*/ 2147483647 w 187"/>
                <a:gd name="T99" fmla="*/ 2147483647 h 83"/>
                <a:gd name="T100" fmla="*/ 2147483647 w 187"/>
                <a:gd name="T101" fmla="*/ 2147483647 h 83"/>
                <a:gd name="T102" fmla="*/ 2147483647 w 187"/>
                <a:gd name="T103" fmla="*/ 2147483647 h 83"/>
                <a:gd name="T104" fmla="*/ 2147483647 w 187"/>
                <a:gd name="T105" fmla="*/ 2147483647 h 83"/>
                <a:gd name="T106" fmla="*/ 2147483647 w 187"/>
                <a:gd name="T107" fmla="*/ 2147483647 h 83"/>
                <a:gd name="T108" fmla="*/ 2147483647 w 187"/>
                <a:gd name="T109" fmla="*/ 2147483647 h 83"/>
                <a:gd name="T110" fmla="*/ 2147483647 w 187"/>
                <a:gd name="T111" fmla="*/ 2147483647 h 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7"/>
                <a:gd name="T169" fmla="*/ 0 h 83"/>
                <a:gd name="T170" fmla="*/ 187 w 187"/>
                <a:gd name="T171" fmla="*/ 83 h 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7" h="83">
                  <a:moveTo>
                    <a:pt x="177" y="69"/>
                  </a:moveTo>
                  <a:lnTo>
                    <a:pt x="174" y="72"/>
                  </a:lnTo>
                  <a:lnTo>
                    <a:pt x="172" y="73"/>
                  </a:lnTo>
                  <a:lnTo>
                    <a:pt x="162" y="70"/>
                  </a:lnTo>
                  <a:lnTo>
                    <a:pt x="152" y="69"/>
                  </a:lnTo>
                  <a:lnTo>
                    <a:pt x="141" y="70"/>
                  </a:lnTo>
                  <a:lnTo>
                    <a:pt x="138" y="72"/>
                  </a:lnTo>
                  <a:lnTo>
                    <a:pt x="133" y="74"/>
                  </a:lnTo>
                  <a:lnTo>
                    <a:pt x="129" y="75"/>
                  </a:lnTo>
                  <a:lnTo>
                    <a:pt x="124" y="76"/>
                  </a:lnTo>
                  <a:lnTo>
                    <a:pt x="120" y="77"/>
                  </a:lnTo>
                  <a:lnTo>
                    <a:pt x="115" y="75"/>
                  </a:lnTo>
                  <a:lnTo>
                    <a:pt x="112" y="74"/>
                  </a:lnTo>
                  <a:lnTo>
                    <a:pt x="110" y="74"/>
                  </a:lnTo>
                  <a:lnTo>
                    <a:pt x="105" y="75"/>
                  </a:lnTo>
                  <a:lnTo>
                    <a:pt x="101" y="77"/>
                  </a:lnTo>
                  <a:lnTo>
                    <a:pt x="97" y="81"/>
                  </a:lnTo>
                  <a:lnTo>
                    <a:pt x="93" y="83"/>
                  </a:lnTo>
                  <a:lnTo>
                    <a:pt x="89" y="83"/>
                  </a:lnTo>
                  <a:lnTo>
                    <a:pt x="75" y="81"/>
                  </a:lnTo>
                  <a:lnTo>
                    <a:pt x="69" y="80"/>
                  </a:lnTo>
                  <a:lnTo>
                    <a:pt x="61" y="79"/>
                  </a:lnTo>
                  <a:lnTo>
                    <a:pt x="60" y="79"/>
                  </a:lnTo>
                  <a:lnTo>
                    <a:pt x="60" y="76"/>
                  </a:lnTo>
                  <a:lnTo>
                    <a:pt x="60" y="73"/>
                  </a:lnTo>
                  <a:lnTo>
                    <a:pt x="61" y="70"/>
                  </a:lnTo>
                  <a:lnTo>
                    <a:pt x="63" y="70"/>
                  </a:lnTo>
                  <a:lnTo>
                    <a:pt x="64" y="70"/>
                  </a:lnTo>
                  <a:lnTo>
                    <a:pt x="68" y="72"/>
                  </a:lnTo>
                  <a:lnTo>
                    <a:pt x="73" y="72"/>
                  </a:lnTo>
                  <a:lnTo>
                    <a:pt x="77" y="70"/>
                  </a:lnTo>
                  <a:lnTo>
                    <a:pt x="86" y="63"/>
                  </a:lnTo>
                  <a:lnTo>
                    <a:pt x="91" y="61"/>
                  </a:lnTo>
                  <a:lnTo>
                    <a:pt x="96" y="59"/>
                  </a:lnTo>
                  <a:lnTo>
                    <a:pt x="97" y="57"/>
                  </a:lnTo>
                  <a:lnTo>
                    <a:pt x="97" y="56"/>
                  </a:lnTo>
                  <a:lnTo>
                    <a:pt x="97" y="55"/>
                  </a:lnTo>
                  <a:lnTo>
                    <a:pt x="96" y="54"/>
                  </a:lnTo>
                  <a:lnTo>
                    <a:pt x="92" y="55"/>
                  </a:lnTo>
                  <a:lnTo>
                    <a:pt x="88" y="56"/>
                  </a:lnTo>
                  <a:lnTo>
                    <a:pt x="78" y="59"/>
                  </a:lnTo>
                  <a:lnTo>
                    <a:pt x="73" y="60"/>
                  </a:lnTo>
                  <a:lnTo>
                    <a:pt x="68" y="61"/>
                  </a:lnTo>
                  <a:lnTo>
                    <a:pt x="67" y="61"/>
                  </a:lnTo>
                  <a:lnTo>
                    <a:pt x="64" y="61"/>
                  </a:lnTo>
                  <a:lnTo>
                    <a:pt x="61" y="60"/>
                  </a:lnTo>
                  <a:lnTo>
                    <a:pt x="60" y="59"/>
                  </a:lnTo>
                  <a:lnTo>
                    <a:pt x="59" y="55"/>
                  </a:lnTo>
                  <a:lnTo>
                    <a:pt x="58" y="53"/>
                  </a:lnTo>
                  <a:lnTo>
                    <a:pt x="56" y="53"/>
                  </a:lnTo>
                  <a:lnTo>
                    <a:pt x="54" y="54"/>
                  </a:lnTo>
                  <a:lnTo>
                    <a:pt x="53" y="56"/>
                  </a:lnTo>
                  <a:lnTo>
                    <a:pt x="49" y="61"/>
                  </a:lnTo>
                  <a:lnTo>
                    <a:pt x="47" y="63"/>
                  </a:lnTo>
                  <a:lnTo>
                    <a:pt x="46" y="66"/>
                  </a:lnTo>
                  <a:lnTo>
                    <a:pt x="44" y="66"/>
                  </a:lnTo>
                  <a:lnTo>
                    <a:pt x="41" y="64"/>
                  </a:lnTo>
                  <a:lnTo>
                    <a:pt x="39" y="63"/>
                  </a:lnTo>
                  <a:lnTo>
                    <a:pt x="36" y="62"/>
                  </a:lnTo>
                  <a:lnTo>
                    <a:pt x="32" y="63"/>
                  </a:lnTo>
                  <a:lnTo>
                    <a:pt x="28" y="64"/>
                  </a:lnTo>
                  <a:lnTo>
                    <a:pt x="23" y="64"/>
                  </a:lnTo>
                  <a:lnTo>
                    <a:pt x="22" y="64"/>
                  </a:lnTo>
                  <a:lnTo>
                    <a:pt x="22" y="63"/>
                  </a:lnTo>
                  <a:lnTo>
                    <a:pt x="20" y="61"/>
                  </a:lnTo>
                  <a:lnTo>
                    <a:pt x="18" y="60"/>
                  </a:lnTo>
                  <a:lnTo>
                    <a:pt x="16" y="60"/>
                  </a:lnTo>
                  <a:lnTo>
                    <a:pt x="12" y="61"/>
                  </a:lnTo>
                  <a:lnTo>
                    <a:pt x="7" y="62"/>
                  </a:lnTo>
                  <a:lnTo>
                    <a:pt x="3" y="62"/>
                  </a:lnTo>
                  <a:lnTo>
                    <a:pt x="2" y="61"/>
                  </a:lnTo>
                  <a:lnTo>
                    <a:pt x="0" y="59"/>
                  </a:lnTo>
                  <a:lnTo>
                    <a:pt x="0" y="57"/>
                  </a:lnTo>
                  <a:lnTo>
                    <a:pt x="0" y="55"/>
                  </a:lnTo>
                  <a:lnTo>
                    <a:pt x="3" y="51"/>
                  </a:lnTo>
                  <a:lnTo>
                    <a:pt x="6" y="50"/>
                  </a:lnTo>
                  <a:lnTo>
                    <a:pt x="8" y="50"/>
                  </a:lnTo>
                  <a:lnTo>
                    <a:pt x="8" y="45"/>
                  </a:lnTo>
                  <a:lnTo>
                    <a:pt x="11" y="43"/>
                  </a:lnTo>
                  <a:lnTo>
                    <a:pt x="18" y="40"/>
                  </a:lnTo>
                  <a:lnTo>
                    <a:pt x="18" y="38"/>
                  </a:lnTo>
                  <a:lnTo>
                    <a:pt x="18" y="36"/>
                  </a:lnTo>
                  <a:lnTo>
                    <a:pt x="17" y="34"/>
                  </a:lnTo>
                  <a:lnTo>
                    <a:pt x="16" y="32"/>
                  </a:lnTo>
                  <a:lnTo>
                    <a:pt x="17" y="30"/>
                  </a:lnTo>
                  <a:lnTo>
                    <a:pt x="20" y="26"/>
                  </a:lnTo>
                  <a:lnTo>
                    <a:pt x="28" y="22"/>
                  </a:lnTo>
                  <a:lnTo>
                    <a:pt x="37" y="17"/>
                  </a:lnTo>
                  <a:lnTo>
                    <a:pt x="44" y="16"/>
                  </a:lnTo>
                  <a:lnTo>
                    <a:pt x="50" y="17"/>
                  </a:lnTo>
                  <a:lnTo>
                    <a:pt x="55" y="19"/>
                  </a:lnTo>
                  <a:lnTo>
                    <a:pt x="67" y="25"/>
                  </a:lnTo>
                  <a:lnTo>
                    <a:pt x="72" y="29"/>
                  </a:lnTo>
                  <a:lnTo>
                    <a:pt x="77" y="34"/>
                  </a:lnTo>
                  <a:lnTo>
                    <a:pt x="79" y="37"/>
                  </a:lnTo>
                  <a:lnTo>
                    <a:pt x="83" y="38"/>
                  </a:lnTo>
                  <a:lnTo>
                    <a:pt x="86" y="38"/>
                  </a:lnTo>
                  <a:lnTo>
                    <a:pt x="88" y="38"/>
                  </a:lnTo>
                  <a:lnTo>
                    <a:pt x="91" y="38"/>
                  </a:lnTo>
                  <a:lnTo>
                    <a:pt x="92" y="40"/>
                  </a:lnTo>
                  <a:lnTo>
                    <a:pt x="97" y="44"/>
                  </a:lnTo>
                  <a:lnTo>
                    <a:pt x="101" y="48"/>
                  </a:lnTo>
                  <a:lnTo>
                    <a:pt x="106" y="49"/>
                  </a:lnTo>
                  <a:lnTo>
                    <a:pt x="108" y="49"/>
                  </a:lnTo>
                  <a:lnTo>
                    <a:pt x="112" y="49"/>
                  </a:lnTo>
                  <a:lnTo>
                    <a:pt x="117" y="47"/>
                  </a:lnTo>
                  <a:lnTo>
                    <a:pt x="122" y="48"/>
                  </a:lnTo>
                  <a:lnTo>
                    <a:pt x="127" y="49"/>
                  </a:lnTo>
                  <a:lnTo>
                    <a:pt x="133" y="50"/>
                  </a:lnTo>
                  <a:lnTo>
                    <a:pt x="135" y="50"/>
                  </a:lnTo>
                  <a:lnTo>
                    <a:pt x="138" y="50"/>
                  </a:lnTo>
                  <a:lnTo>
                    <a:pt x="139" y="49"/>
                  </a:lnTo>
                  <a:lnTo>
                    <a:pt x="139" y="47"/>
                  </a:lnTo>
                  <a:lnTo>
                    <a:pt x="139" y="44"/>
                  </a:lnTo>
                  <a:lnTo>
                    <a:pt x="138" y="42"/>
                  </a:lnTo>
                  <a:lnTo>
                    <a:pt x="134" y="40"/>
                  </a:lnTo>
                  <a:lnTo>
                    <a:pt x="133" y="38"/>
                  </a:lnTo>
                  <a:lnTo>
                    <a:pt x="131" y="37"/>
                  </a:lnTo>
                  <a:lnTo>
                    <a:pt x="131" y="35"/>
                  </a:lnTo>
                  <a:lnTo>
                    <a:pt x="135" y="32"/>
                  </a:lnTo>
                  <a:lnTo>
                    <a:pt x="135" y="31"/>
                  </a:lnTo>
                  <a:lnTo>
                    <a:pt x="135" y="29"/>
                  </a:lnTo>
                  <a:lnTo>
                    <a:pt x="133" y="26"/>
                  </a:lnTo>
                  <a:lnTo>
                    <a:pt x="130" y="24"/>
                  </a:lnTo>
                  <a:lnTo>
                    <a:pt x="124" y="21"/>
                  </a:lnTo>
                  <a:lnTo>
                    <a:pt x="124" y="19"/>
                  </a:lnTo>
                  <a:lnTo>
                    <a:pt x="122" y="19"/>
                  </a:lnTo>
                  <a:lnTo>
                    <a:pt x="133" y="12"/>
                  </a:lnTo>
                  <a:lnTo>
                    <a:pt x="135" y="9"/>
                  </a:lnTo>
                  <a:lnTo>
                    <a:pt x="138" y="3"/>
                  </a:lnTo>
                  <a:lnTo>
                    <a:pt x="139" y="0"/>
                  </a:lnTo>
                  <a:lnTo>
                    <a:pt x="140" y="0"/>
                  </a:lnTo>
                  <a:lnTo>
                    <a:pt x="141" y="0"/>
                  </a:lnTo>
                  <a:lnTo>
                    <a:pt x="144" y="4"/>
                  </a:lnTo>
                  <a:lnTo>
                    <a:pt x="145" y="9"/>
                  </a:lnTo>
                  <a:lnTo>
                    <a:pt x="148" y="15"/>
                  </a:lnTo>
                  <a:lnTo>
                    <a:pt x="148" y="18"/>
                  </a:lnTo>
                  <a:lnTo>
                    <a:pt x="147" y="22"/>
                  </a:lnTo>
                  <a:lnTo>
                    <a:pt x="147" y="24"/>
                  </a:lnTo>
                  <a:lnTo>
                    <a:pt x="148" y="25"/>
                  </a:lnTo>
                  <a:lnTo>
                    <a:pt x="152" y="29"/>
                  </a:lnTo>
                  <a:lnTo>
                    <a:pt x="152" y="30"/>
                  </a:lnTo>
                  <a:lnTo>
                    <a:pt x="150" y="31"/>
                  </a:lnTo>
                  <a:lnTo>
                    <a:pt x="149" y="35"/>
                  </a:lnTo>
                  <a:lnTo>
                    <a:pt x="149" y="36"/>
                  </a:lnTo>
                  <a:lnTo>
                    <a:pt x="150" y="37"/>
                  </a:lnTo>
                  <a:lnTo>
                    <a:pt x="152" y="40"/>
                  </a:lnTo>
                  <a:lnTo>
                    <a:pt x="159" y="34"/>
                  </a:lnTo>
                  <a:lnTo>
                    <a:pt x="163" y="31"/>
                  </a:lnTo>
                  <a:lnTo>
                    <a:pt x="164" y="31"/>
                  </a:lnTo>
                  <a:lnTo>
                    <a:pt x="167" y="31"/>
                  </a:lnTo>
                  <a:lnTo>
                    <a:pt x="168" y="32"/>
                  </a:lnTo>
                  <a:lnTo>
                    <a:pt x="167" y="35"/>
                  </a:lnTo>
                  <a:lnTo>
                    <a:pt x="164" y="40"/>
                  </a:lnTo>
                  <a:lnTo>
                    <a:pt x="166" y="41"/>
                  </a:lnTo>
                  <a:lnTo>
                    <a:pt x="167" y="43"/>
                  </a:lnTo>
                  <a:lnTo>
                    <a:pt x="168" y="44"/>
                  </a:lnTo>
                  <a:lnTo>
                    <a:pt x="169" y="43"/>
                  </a:lnTo>
                  <a:lnTo>
                    <a:pt x="173" y="40"/>
                  </a:lnTo>
                  <a:lnTo>
                    <a:pt x="174" y="35"/>
                  </a:lnTo>
                  <a:lnTo>
                    <a:pt x="174" y="31"/>
                  </a:lnTo>
                  <a:lnTo>
                    <a:pt x="177" y="30"/>
                  </a:lnTo>
                  <a:lnTo>
                    <a:pt x="181" y="30"/>
                  </a:lnTo>
                  <a:lnTo>
                    <a:pt x="183" y="31"/>
                  </a:lnTo>
                  <a:lnTo>
                    <a:pt x="186" y="35"/>
                  </a:lnTo>
                  <a:lnTo>
                    <a:pt x="187" y="38"/>
                  </a:lnTo>
                  <a:lnTo>
                    <a:pt x="186" y="47"/>
                  </a:lnTo>
                  <a:lnTo>
                    <a:pt x="185" y="56"/>
                  </a:lnTo>
                  <a:lnTo>
                    <a:pt x="181" y="62"/>
                  </a:lnTo>
                  <a:lnTo>
                    <a:pt x="177" y="6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0" name="Freeform 979"/>
            <p:cNvSpPr>
              <a:spLocks/>
            </p:cNvSpPr>
            <p:nvPr/>
          </p:nvSpPr>
          <p:spPr bwMode="auto">
            <a:xfrm>
              <a:off x="1343025" y="1768475"/>
              <a:ext cx="452438" cy="228600"/>
            </a:xfrm>
            <a:custGeom>
              <a:avLst/>
              <a:gdLst>
                <a:gd name="T0" fmla="*/ 2147483647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2147483647 h 144"/>
                <a:gd name="T70" fmla="*/ 2147483647 w 308"/>
                <a:gd name="T71" fmla="*/ 2147483647 h 144"/>
                <a:gd name="T72" fmla="*/ 2147483647 w 308"/>
                <a:gd name="T73" fmla="*/ 0 h 144"/>
                <a:gd name="T74" fmla="*/ 2147483647 w 308"/>
                <a:gd name="T75" fmla="*/ 2147483647 h 144"/>
                <a:gd name="T76" fmla="*/ 2147483647 w 308"/>
                <a:gd name="T77" fmla="*/ 2147483647 h 144"/>
                <a:gd name="T78" fmla="*/ 2147483647 w 308"/>
                <a:gd name="T79" fmla="*/ 2147483647 h 144"/>
                <a:gd name="T80" fmla="*/ 2147483647 w 308"/>
                <a:gd name="T81" fmla="*/ 2147483647 h 144"/>
                <a:gd name="T82" fmla="*/ 2147483647 w 308"/>
                <a:gd name="T83" fmla="*/ 2147483647 h 144"/>
                <a:gd name="T84" fmla="*/ 2147483647 w 308"/>
                <a:gd name="T85" fmla="*/ 2147483647 h 144"/>
                <a:gd name="T86" fmla="*/ 2147483647 w 308"/>
                <a:gd name="T87" fmla="*/ 2147483647 h 144"/>
                <a:gd name="T88" fmla="*/ 2147483647 w 308"/>
                <a:gd name="T89" fmla="*/ 2147483647 h 144"/>
                <a:gd name="T90" fmla="*/ 2147483647 w 308"/>
                <a:gd name="T91" fmla="*/ 2147483647 h 144"/>
                <a:gd name="T92" fmla="*/ 2147483647 w 308"/>
                <a:gd name="T93" fmla="*/ 2147483647 h 144"/>
                <a:gd name="T94" fmla="*/ 2147483647 w 308"/>
                <a:gd name="T95" fmla="*/ 2147483647 h 144"/>
                <a:gd name="T96" fmla="*/ 2147483647 w 308"/>
                <a:gd name="T97" fmla="*/ 2147483647 h 144"/>
                <a:gd name="T98" fmla="*/ 2147483647 w 308"/>
                <a:gd name="T99" fmla="*/ 2147483647 h 144"/>
                <a:gd name="T100" fmla="*/ 2147483647 w 308"/>
                <a:gd name="T101" fmla="*/ 2147483647 h 144"/>
                <a:gd name="T102" fmla="*/ 2147483647 w 308"/>
                <a:gd name="T103" fmla="*/ 2147483647 h 144"/>
                <a:gd name="T104" fmla="*/ 2147483647 w 308"/>
                <a:gd name="T105" fmla="*/ 2147483647 h 144"/>
                <a:gd name="T106" fmla="*/ 2147483647 w 308"/>
                <a:gd name="T107" fmla="*/ 2147483647 h 144"/>
                <a:gd name="T108" fmla="*/ 2147483647 w 308"/>
                <a:gd name="T109" fmla="*/ 2147483647 h 144"/>
                <a:gd name="T110" fmla="*/ 2147483647 w 308"/>
                <a:gd name="T111" fmla="*/ 2147483647 h 144"/>
                <a:gd name="T112" fmla="*/ 2147483647 w 308"/>
                <a:gd name="T113" fmla="*/ 2147483647 h 144"/>
                <a:gd name="T114" fmla="*/ 2147483647 w 308"/>
                <a:gd name="T115" fmla="*/ 2147483647 h 144"/>
                <a:gd name="T116" fmla="*/ 2147483647 w 308"/>
                <a:gd name="T117" fmla="*/ 2147483647 h 144"/>
                <a:gd name="T118" fmla="*/ 2147483647 w 308"/>
                <a:gd name="T119" fmla="*/ 2147483647 h 144"/>
                <a:gd name="T120" fmla="*/ 2147483647 w 308"/>
                <a:gd name="T121" fmla="*/ 2147483647 h 1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8"/>
                <a:gd name="T184" fmla="*/ 0 h 144"/>
                <a:gd name="T185" fmla="*/ 308 w 308"/>
                <a:gd name="T186" fmla="*/ 144 h 1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8" h="144">
                  <a:moveTo>
                    <a:pt x="128" y="143"/>
                  </a:moveTo>
                  <a:lnTo>
                    <a:pt x="128" y="143"/>
                  </a:lnTo>
                  <a:lnTo>
                    <a:pt x="138" y="138"/>
                  </a:lnTo>
                  <a:lnTo>
                    <a:pt x="142" y="137"/>
                  </a:lnTo>
                  <a:lnTo>
                    <a:pt x="147" y="137"/>
                  </a:lnTo>
                  <a:lnTo>
                    <a:pt x="156" y="138"/>
                  </a:lnTo>
                  <a:lnTo>
                    <a:pt x="164" y="138"/>
                  </a:lnTo>
                  <a:lnTo>
                    <a:pt x="171" y="134"/>
                  </a:lnTo>
                  <a:lnTo>
                    <a:pt x="179" y="130"/>
                  </a:lnTo>
                  <a:lnTo>
                    <a:pt x="184" y="127"/>
                  </a:lnTo>
                  <a:lnTo>
                    <a:pt x="189" y="126"/>
                  </a:lnTo>
                  <a:lnTo>
                    <a:pt x="195" y="125"/>
                  </a:lnTo>
                  <a:lnTo>
                    <a:pt x="200" y="123"/>
                  </a:lnTo>
                  <a:lnTo>
                    <a:pt x="203" y="121"/>
                  </a:lnTo>
                  <a:lnTo>
                    <a:pt x="206" y="121"/>
                  </a:lnTo>
                  <a:lnTo>
                    <a:pt x="212" y="121"/>
                  </a:lnTo>
                  <a:lnTo>
                    <a:pt x="221" y="123"/>
                  </a:lnTo>
                  <a:lnTo>
                    <a:pt x="231" y="124"/>
                  </a:lnTo>
                  <a:lnTo>
                    <a:pt x="232" y="125"/>
                  </a:lnTo>
                  <a:lnTo>
                    <a:pt x="233" y="127"/>
                  </a:lnTo>
                  <a:lnTo>
                    <a:pt x="235" y="130"/>
                  </a:lnTo>
                  <a:lnTo>
                    <a:pt x="236" y="131"/>
                  </a:lnTo>
                  <a:lnTo>
                    <a:pt x="246" y="134"/>
                  </a:lnTo>
                  <a:lnTo>
                    <a:pt x="255" y="136"/>
                  </a:lnTo>
                  <a:lnTo>
                    <a:pt x="265" y="134"/>
                  </a:lnTo>
                  <a:lnTo>
                    <a:pt x="274" y="132"/>
                  </a:lnTo>
                  <a:lnTo>
                    <a:pt x="279" y="128"/>
                  </a:lnTo>
                  <a:lnTo>
                    <a:pt x="284" y="123"/>
                  </a:lnTo>
                  <a:lnTo>
                    <a:pt x="284" y="120"/>
                  </a:lnTo>
                  <a:lnTo>
                    <a:pt x="284" y="119"/>
                  </a:lnTo>
                  <a:lnTo>
                    <a:pt x="280" y="115"/>
                  </a:lnTo>
                  <a:lnTo>
                    <a:pt x="275" y="114"/>
                  </a:lnTo>
                  <a:lnTo>
                    <a:pt x="270" y="113"/>
                  </a:lnTo>
                  <a:lnTo>
                    <a:pt x="264" y="112"/>
                  </a:lnTo>
                  <a:lnTo>
                    <a:pt x="263" y="112"/>
                  </a:lnTo>
                  <a:lnTo>
                    <a:pt x="261" y="111"/>
                  </a:lnTo>
                  <a:lnTo>
                    <a:pt x="260" y="109"/>
                  </a:lnTo>
                  <a:lnTo>
                    <a:pt x="260" y="107"/>
                  </a:lnTo>
                  <a:lnTo>
                    <a:pt x="261" y="106"/>
                  </a:lnTo>
                  <a:lnTo>
                    <a:pt x="263" y="105"/>
                  </a:lnTo>
                  <a:lnTo>
                    <a:pt x="264" y="106"/>
                  </a:lnTo>
                  <a:lnTo>
                    <a:pt x="269" y="107"/>
                  </a:lnTo>
                  <a:lnTo>
                    <a:pt x="273" y="107"/>
                  </a:lnTo>
                  <a:lnTo>
                    <a:pt x="277" y="106"/>
                  </a:lnTo>
                  <a:lnTo>
                    <a:pt x="280" y="104"/>
                  </a:lnTo>
                  <a:lnTo>
                    <a:pt x="283" y="102"/>
                  </a:lnTo>
                  <a:lnTo>
                    <a:pt x="284" y="104"/>
                  </a:lnTo>
                  <a:lnTo>
                    <a:pt x="291" y="106"/>
                  </a:lnTo>
                  <a:lnTo>
                    <a:pt x="297" y="108"/>
                  </a:lnTo>
                  <a:lnTo>
                    <a:pt x="300" y="111"/>
                  </a:lnTo>
                  <a:lnTo>
                    <a:pt x="303" y="112"/>
                  </a:lnTo>
                  <a:lnTo>
                    <a:pt x="303" y="104"/>
                  </a:lnTo>
                  <a:lnTo>
                    <a:pt x="305" y="100"/>
                  </a:lnTo>
                  <a:lnTo>
                    <a:pt x="307" y="95"/>
                  </a:lnTo>
                  <a:lnTo>
                    <a:pt x="308" y="94"/>
                  </a:lnTo>
                  <a:lnTo>
                    <a:pt x="308" y="93"/>
                  </a:lnTo>
                  <a:lnTo>
                    <a:pt x="307" y="92"/>
                  </a:lnTo>
                  <a:lnTo>
                    <a:pt x="306" y="92"/>
                  </a:lnTo>
                  <a:lnTo>
                    <a:pt x="296" y="93"/>
                  </a:lnTo>
                  <a:lnTo>
                    <a:pt x="292" y="92"/>
                  </a:lnTo>
                  <a:lnTo>
                    <a:pt x="288" y="91"/>
                  </a:lnTo>
                  <a:lnTo>
                    <a:pt x="284" y="87"/>
                  </a:lnTo>
                  <a:lnTo>
                    <a:pt x="282" y="83"/>
                  </a:lnTo>
                  <a:lnTo>
                    <a:pt x="279" y="80"/>
                  </a:lnTo>
                  <a:lnTo>
                    <a:pt x="277" y="76"/>
                  </a:lnTo>
                  <a:lnTo>
                    <a:pt x="274" y="75"/>
                  </a:lnTo>
                  <a:lnTo>
                    <a:pt x="272" y="75"/>
                  </a:lnTo>
                  <a:lnTo>
                    <a:pt x="266" y="74"/>
                  </a:lnTo>
                  <a:lnTo>
                    <a:pt x="260" y="70"/>
                  </a:lnTo>
                  <a:lnTo>
                    <a:pt x="255" y="67"/>
                  </a:lnTo>
                  <a:lnTo>
                    <a:pt x="254" y="66"/>
                  </a:lnTo>
                  <a:lnTo>
                    <a:pt x="253" y="66"/>
                  </a:lnTo>
                  <a:lnTo>
                    <a:pt x="250" y="67"/>
                  </a:lnTo>
                  <a:lnTo>
                    <a:pt x="247" y="66"/>
                  </a:lnTo>
                  <a:lnTo>
                    <a:pt x="246" y="64"/>
                  </a:lnTo>
                  <a:lnTo>
                    <a:pt x="246" y="60"/>
                  </a:lnTo>
                  <a:lnTo>
                    <a:pt x="245" y="56"/>
                  </a:lnTo>
                  <a:lnTo>
                    <a:pt x="244" y="55"/>
                  </a:lnTo>
                  <a:lnTo>
                    <a:pt x="241" y="53"/>
                  </a:lnTo>
                  <a:lnTo>
                    <a:pt x="239" y="51"/>
                  </a:lnTo>
                  <a:lnTo>
                    <a:pt x="237" y="50"/>
                  </a:lnTo>
                  <a:lnTo>
                    <a:pt x="237" y="48"/>
                  </a:lnTo>
                  <a:lnTo>
                    <a:pt x="239" y="47"/>
                  </a:lnTo>
                  <a:lnTo>
                    <a:pt x="239" y="44"/>
                  </a:lnTo>
                  <a:lnTo>
                    <a:pt x="239" y="43"/>
                  </a:lnTo>
                  <a:lnTo>
                    <a:pt x="233" y="37"/>
                  </a:lnTo>
                  <a:lnTo>
                    <a:pt x="231" y="35"/>
                  </a:lnTo>
                  <a:lnTo>
                    <a:pt x="228" y="32"/>
                  </a:lnTo>
                  <a:lnTo>
                    <a:pt x="223" y="31"/>
                  </a:lnTo>
                  <a:lnTo>
                    <a:pt x="221" y="29"/>
                  </a:lnTo>
                  <a:lnTo>
                    <a:pt x="220" y="28"/>
                  </a:lnTo>
                  <a:lnTo>
                    <a:pt x="220" y="25"/>
                  </a:lnTo>
                  <a:lnTo>
                    <a:pt x="220" y="22"/>
                  </a:lnTo>
                  <a:lnTo>
                    <a:pt x="220" y="18"/>
                  </a:lnTo>
                  <a:lnTo>
                    <a:pt x="220" y="16"/>
                  </a:lnTo>
                  <a:lnTo>
                    <a:pt x="216" y="13"/>
                  </a:lnTo>
                  <a:lnTo>
                    <a:pt x="209" y="11"/>
                  </a:lnTo>
                  <a:lnTo>
                    <a:pt x="203" y="11"/>
                  </a:lnTo>
                  <a:lnTo>
                    <a:pt x="199" y="12"/>
                  </a:lnTo>
                  <a:lnTo>
                    <a:pt x="197" y="13"/>
                  </a:lnTo>
                  <a:lnTo>
                    <a:pt x="195" y="16"/>
                  </a:lnTo>
                  <a:lnTo>
                    <a:pt x="194" y="19"/>
                  </a:lnTo>
                  <a:lnTo>
                    <a:pt x="195" y="26"/>
                  </a:lnTo>
                  <a:lnTo>
                    <a:pt x="200" y="43"/>
                  </a:lnTo>
                  <a:lnTo>
                    <a:pt x="203" y="51"/>
                  </a:lnTo>
                  <a:lnTo>
                    <a:pt x="202" y="56"/>
                  </a:lnTo>
                  <a:lnTo>
                    <a:pt x="200" y="60"/>
                  </a:lnTo>
                  <a:lnTo>
                    <a:pt x="200" y="62"/>
                  </a:lnTo>
                  <a:lnTo>
                    <a:pt x="198" y="63"/>
                  </a:lnTo>
                  <a:lnTo>
                    <a:pt x="195" y="63"/>
                  </a:lnTo>
                  <a:lnTo>
                    <a:pt x="194" y="63"/>
                  </a:lnTo>
                  <a:lnTo>
                    <a:pt x="192" y="61"/>
                  </a:lnTo>
                  <a:lnTo>
                    <a:pt x="189" y="59"/>
                  </a:lnTo>
                  <a:lnTo>
                    <a:pt x="189" y="51"/>
                  </a:lnTo>
                  <a:lnTo>
                    <a:pt x="189" y="45"/>
                  </a:lnTo>
                  <a:lnTo>
                    <a:pt x="188" y="42"/>
                  </a:lnTo>
                  <a:lnTo>
                    <a:pt x="186" y="40"/>
                  </a:lnTo>
                  <a:lnTo>
                    <a:pt x="179" y="31"/>
                  </a:lnTo>
                  <a:lnTo>
                    <a:pt x="175" y="28"/>
                  </a:lnTo>
                  <a:lnTo>
                    <a:pt x="173" y="24"/>
                  </a:lnTo>
                  <a:lnTo>
                    <a:pt x="170" y="22"/>
                  </a:lnTo>
                  <a:lnTo>
                    <a:pt x="167" y="22"/>
                  </a:lnTo>
                  <a:lnTo>
                    <a:pt x="165" y="22"/>
                  </a:lnTo>
                  <a:lnTo>
                    <a:pt x="164" y="24"/>
                  </a:lnTo>
                  <a:lnTo>
                    <a:pt x="162" y="30"/>
                  </a:lnTo>
                  <a:lnTo>
                    <a:pt x="161" y="31"/>
                  </a:lnTo>
                  <a:lnTo>
                    <a:pt x="159" y="32"/>
                  </a:lnTo>
                  <a:lnTo>
                    <a:pt x="150" y="32"/>
                  </a:lnTo>
                  <a:lnTo>
                    <a:pt x="142" y="35"/>
                  </a:lnTo>
                  <a:lnTo>
                    <a:pt x="138" y="35"/>
                  </a:lnTo>
                  <a:lnTo>
                    <a:pt x="134" y="35"/>
                  </a:lnTo>
                  <a:lnTo>
                    <a:pt x="131" y="34"/>
                  </a:lnTo>
                  <a:lnTo>
                    <a:pt x="129" y="32"/>
                  </a:lnTo>
                  <a:lnTo>
                    <a:pt x="129" y="31"/>
                  </a:lnTo>
                  <a:lnTo>
                    <a:pt x="131" y="29"/>
                  </a:lnTo>
                  <a:lnTo>
                    <a:pt x="133" y="26"/>
                  </a:lnTo>
                  <a:lnTo>
                    <a:pt x="136" y="24"/>
                  </a:lnTo>
                  <a:lnTo>
                    <a:pt x="137" y="23"/>
                  </a:lnTo>
                  <a:lnTo>
                    <a:pt x="136" y="22"/>
                  </a:lnTo>
                  <a:lnTo>
                    <a:pt x="133" y="19"/>
                  </a:lnTo>
                  <a:lnTo>
                    <a:pt x="129" y="16"/>
                  </a:lnTo>
                  <a:lnTo>
                    <a:pt x="122" y="11"/>
                  </a:lnTo>
                  <a:lnTo>
                    <a:pt x="119" y="10"/>
                  </a:lnTo>
                  <a:lnTo>
                    <a:pt x="117" y="10"/>
                  </a:lnTo>
                  <a:lnTo>
                    <a:pt x="110" y="9"/>
                  </a:lnTo>
                  <a:lnTo>
                    <a:pt x="108" y="8"/>
                  </a:lnTo>
                  <a:lnTo>
                    <a:pt x="106" y="6"/>
                  </a:lnTo>
                  <a:lnTo>
                    <a:pt x="104" y="4"/>
                  </a:lnTo>
                  <a:lnTo>
                    <a:pt x="100" y="4"/>
                  </a:lnTo>
                  <a:lnTo>
                    <a:pt x="98" y="4"/>
                  </a:lnTo>
                  <a:lnTo>
                    <a:pt x="91" y="5"/>
                  </a:lnTo>
                  <a:lnTo>
                    <a:pt x="90" y="6"/>
                  </a:lnTo>
                  <a:lnTo>
                    <a:pt x="89" y="9"/>
                  </a:lnTo>
                  <a:lnTo>
                    <a:pt x="89" y="13"/>
                  </a:lnTo>
                  <a:lnTo>
                    <a:pt x="89" y="18"/>
                  </a:lnTo>
                  <a:lnTo>
                    <a:pt x="87" y="19"/>
                  </a:lnTo>
                  <a:lnTo>
                    <a:pt x="85" y="22"/>
                  </a:lnTo>
                  <a:lnTo>
                    <a:pt x="84" y="21"/>
                  </a:lnTo>
                  <a:lnTo>
                    <a:pt x="80" y="19"/>
                  </a:lnTo>
                  <a:lnTo>
                    <a:pt x="76" y="21"/>
                  </a:lnTo>
                  <a:lnTo>
                    <a:pt x="73" y="21"/>
                  </a:lnTo>
                  <a:lnTo>
                    <a:pt x="71" y="21"/>
                  </a:lnTo>
                  <a:lnTo>
                    <a:pt x="71" y="19"/>
                  </a:lnTo>
                  <a:lnTo>
                    <a:pt x="71" y="18"/>
                  </a:lnTo>
                  <a:lnTo>
                    <a:pt x="73" y="16"/>
                  </a:lnTo>
                  <a:lnTo>
                    <a:pt x="75" y="12"/>
                  </a:lnTo>
                  <a:lnTo>
                    <a:pt x="75" y="9"/>
                  </a:lnTo>
                  <a:lnTo>
                    <a:pt x="73" y="6"/>
                  </a:lnTo>
                  <a:lnTo>
                    <a:pt x="68" y="2"/>
                  </a:lnTo>
                  <a:lnTo>
                    <a:pt x="66" y="0"/>
                  </a:lnTo>
                  <a:lnTo>
                    <a:pt x="63" y="0"/>
                  </a:lnTo>
                  <a:lnTo>
                    <a:pt x="61" y="2"/>
                  </a:lnTo>
                  <a:lnTo>
                    <a:pt x="58" y="4"/>
                  </a:lnTo>
                  <a:lnTo>
                    <a:pt x="56" y="5"/>
                  </a:lnTo>
                  <a:lnTo>
                    <a:pt x="53" y="6"/>
                  </a:lnTo>
                  <a:lnTo>
                    <a:pt x="44" y="9"/>
                  </a:lnTo>
                  <a:lnTo>
                    <a:pt x="37" y="11"/>
                  </a:lnTo>
                  <a:lnTo>
                    <a:pt x="28" y="15"/>
                  </a:lnTo>
                  <a:lnTo>
                    <a:pt x="21" y="21"/>
                  </a:lnTo>
                  <a:lnTo>
                    <a:pt x="18" y="25"/>
                  </a:lnTo>
                  <a:lnTo>
                    <a:pt x="15" y="31"/>
                  </a:lnTo>
                  <a:lnTo>
                    <a:pt x="11" y="37"/>
                  </a:lnTo>
                  <a:lnTo>
                    <a:pt x="9" y="38"/>
                  </a:lnTo>
                  <a:lnTo>
                    <a:pt x="5" y="41"/>
                  </a:lnTo>
                  <a:lnTo>
                    <a:pt x="2" y="42"/>
                  </a:lnTo>
                  <a:lnTo>
                    <a:pt x="1" y="44"/>
                  </a:lnTo>
                  <a:lnTo>
                    <a:pt x="0" y="47"/>
                  </a:lnTo>
                  <a:lnTo>
                    <a:pt x="1" y="49"/>
                  </a:lnTo>
                  <a:lnTo>
                    <a:pt x="2" y="50"/>
                  </a:lnTo>
                  <a:lnTo>
                    <a:pt x="4" y="50"/>
                  </a:lnTo>
                  <a:lnTo>
                    <a:pt x="7" y="50"/>
                  </a:lnTo>
                  <a:lnTo>
                    <a:pt x="13" y="50"/>
                  </a:lnTo>
                  <a:lnTo>
                    <a:pt x="14" y="50"/>
                  </a:lnTo>
                  <a:lnTo>
                    <a:pt x="15" y="51"/>
                  </a:lnTo>
                  <a:lnTo>
                    <a:pt x="18" y="53"/>
                  </a:lnTo>
                  <a:lnTo>
                    <a:pt x="20" y="54"/>
                  </a:lnTo>
                  <a:lnTo>
                    <a:pt x="25" y="53"/>
                  </a:lnTo>
                  <a:lnTo>
                    <a:pt x="39" y="53"/>
                  </a:lnTo>
                  <a:lnTo>
                    <a:pt x="52" y="53"/>
                  </a:lnTo>
                  <a:lnTo>
                    <a:pt x="56" y="54"/>
                  </a:lnTo>
                  <a:lnTo>
                    <a:pt x="60" y="56"/>
                  </a:lnTo>
                  <a:lnTo>
                    <a:pt x="61" y="60"/>
                  </a:lnTo>
                  <a:lnTo>
                    <a:pt x="62" y="62"/>
                  </a:lnTo>
                  <a:lnTo>
                    <a:pt x="61" y="64"/>
                  </a:lnTo>
                  <a:lnTo>
                    <a:pt x="60" y="64"/>
                  </a:lnTo>
                  <a:lnTo>
                    <a:pt x="58" y="66"/>
                  </a:lnTo>
                  <a:lnTo>
                    <a:pt x="56" y="64"/>
                  </a:lnTo>
                  <a:lnTo>
                    <a:pt x="51" y="62"/>
                  </a:lnTo>
                  <a:lnTo>
                    <a:pt x="48" y="61"/>
                  </a:lnTo>
                  <a:lnTo>
                    <a:pt x="46" y="62"/>
                  </a:lnTo>
                  <a:lnTo>
                    <a:pt x="34" y="66"/>
                  </a:lnTo>
                  <a:lnTo>
                    <a:pt x="29" y="67"/>
                  </a:lnTo>
                  <a:lnTo>
                    <a:pt x="24" y="66"/>
                  </a:lnTo>
                  <a:lnTo>
                    <a:pt x="23" y="63"/>
                  </a:lnTo>
                  <a:lnTo>
                    <a:pt x="20" y="63"/>
                  </a:lnTo>
                  <a:lnTo>
                    <a:pt x="18" y="63"/>
                  </a:lnTo>
                  <a:lnTo>
                    <a:pt x="16" y="63"/>
                  </a:lnTo>
                  <a:lnTo>
                    <a:pt x="15" y="66"/>
                  </a:lnTo>
                  <a:lnTo>
                    <a:pt x="15" y="68"/>
                  </a:lnTo>
                  <a:lnTo>
                    <a:pt x="15" y="70"/>
                  </a:lnTo>
                  <a:lnTo>
                    <a:pt x="25" y="76"/>
                  </a:lnTo>
                  <a:lnTo>
                    <a:pt x="34" y="82"/>
                  </a:lnTo>
                  <a:lnTo>
                    <a:pt x="44" y="81"/>
                  </a:lnTo>
                  <a:lnTo>
                    <a:pt x="62" y="80"/>
                  </a:lnTo>
                  <a:lnTo>
                    <a:pt x="86" y="76"/>
                  </a:lnTo>
                  <a:lnTo>
                    <a:pt x="91" y="76"/>
                  </a:lnTo>
                  <a:lnTo>
                    <a:pt x="95" y="76"/>
                  </a:lnTo>
                  <a:lnTo>
                    <a:pt x="104" y="79"/>
                  </a:lnTo>
                  <a:lnTo>
                    <a:pt x="112" y="82"/>
                  </a:lnTo>
                  <a:lnTo>
                    <a:pt x="120" y="85"/>
                  </a:lnTo>
                  <a:lnTo>
                    <a:pt x="126" y="85"/>
                  </a:lnTo>
                  <a:lnTo>
                    <a:pt x="128" y="85"/>
                  </a:lnTo>
                  <a:lnTo>
                    <a:pt x="131" y="86"/>
                  </a:lnTo>
                  <a:lnTo>
                    <a:pt x="133" y="87"/>
                  </a:lnTo>
                  <a:lnTo>
                    <a:pt x="133" y="88"/>
                  </a:lnTo>
                  <a:lnTo>
                    <a:pt x="133" y="89"/>
                  </a:lnTo>
                  <a:lnTo>
                    <a:pt x="122" y="92"/>
                  </a:lnTo>
                  <a:lnTo>
                    <a:pt x="117" y="94"/>
                  </a:lnTo>
                  <a:lnTo>
                    <a:pt x="112" y="98"/>
                  </a:lnTo>
                  <a:lnTo>
                    <a:pt x="110" y="98"/>
                  </a:lnTo>
                  <a:lnTo>
                    <a:pt x="109" y="98"/>
                  </a:lnTo>
                  <a:lnTo>
                    <a:pt x="105" y="95"/>
                  </a:lnTo>
                  <a:lnTo>
                    <a:pt x="100" y="93"/>
                  </a:lnTo>
                  <a:lnTo>
                    <a:pt x="90" y="93"/>
                  </a:lnTo>
                  <a:lnTo>
                    <a:pt x="79" y="93"/>
                  </a:lnTo>
                  <a:lnTo>
                    <a:pt x="75" y="94"/>
                  </a:lnTo>
                  <a:lnTo>
                    <a:pt x="70" y="94"/>
                  </a:lnTo>
                  <a:lnTo>
                    <a:pt x="66" y="94"/>
                  </a:lnTo>
                  <a:lnTo>
                    <a:pt x="61" y="93"/>
                  </a:lnTo>
                  <a:lnTo>
                    <a:pt x="56" y="94"/>
                  </a:lnTo>
                  <a:lnTo>
                    <a:pt x="49" y="96"/>
                  </a:lnTo>
                  <a:lnTo>
                    <a:pt x="46" y="96"/>
                  </a:lnTo>
                  <a:lnTo>
                    <a:pt x="40" y="95"/>
                  </a:lnTo>
                  <a:lnTo>
                    <a:pt x="37" y="95"/>
                  </a:lnTo>
                  <a:lnTo>
                    <a:pt x="35" y="96"/>
                  </a:lnTo>
                  <a:lnTo>
                    <a:pt x="34" y="98"/>
                  </a:lnTo>
                  <a:lnTo>
                    <a:pt x="33" y="99"/>
                  </a:lnTo>
                  <a:lnTo>
                    <a:pt x="34" y="101"/>
                  </a:lnTo>
                  <a:lnTo>
                    <a:pt x="37" y="105"/>
                  </a:lnTo>
                  <a:lnTo>
                    <a:pt x="38" y="107"/>
                  </a:lnTo>
                  <a:lnTo>
                    <a:pt x="42" y="108"/>
                  </a:lnTo>
                  <a:lnTo>
                    <a:pt x="44" y="108"/>
                  </a:lnTo>
                  <a:lnTo>
                    <a:pt x="46" y="109"/>
                  </a:lnTo>
                  <a:lnTo>
                    <a:pt x="51" y="115"/>
                  </a:lnTo>
                  <a:lnTo>
                    <a:pt x="57" y="120"/>
                  </a:lnTo>
                  <a:lnTo>
                    <a:pt x="65" y="121"/>
                  </a:lnTo>
                  <a:lnTo>
                    <a:pt x="72" y="121"/>
                  </a:lnTo>
                  <a:lnTo>
                    <a:pt x="77" y="124"/>
                  </a:lnTo>
                  <a:lnTo>
                    <a:pt x="86" y="125"/>
                  </a:lnTo>
                  <a:lnTo>
                    <a:pt x="90" y="125"/>
                  </a:lnTo>
                  <a:lnTo>
                    <a:pt x="94" y="127"/>
                  </a:lnTo>
                  <a:lnTo>
                    <a:pt x="95" y="128"/>
                  </a:lnTo>
                  <a:lnTo>
                    <a:pt x="95" y="131"/>
                  </a:lnTo>
                  <a:lnTo>
                    <a:pt x="93" y="136"/>
                  </a:lnTo>
                  <a:lnTo>
                    <a:pt x="91" y="138"/>
                  </a:lnTo>
                  <a:lnTo>
                    <a:pt x="93" y="139"/>
                  </a:lnTo>
                  <a:lnTo>
                    <a:pt x="93" y="140"/>
                  </a:lnTo>
                  <a:lnTo>
                    <a:pt x="94" y="141"/>
                  </a:lnTo>
                  <a:lnTo>
                    <a:pt x="108" y="143"/>
                  </a:lnTo>
                  <a:lnTo>
                    <a:pt x="120" y="144"/>
                  </a:lnTo>
                  <a:lnTo>
                    <a:pt x="124" y="144"/>
                  </a:lnTo>
                  <a:lnTo>
                    <a:pt x="128" y="14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1" name="Freeform 980"/>
            <p:cNvSpPr>
              <a:spLocks/>
            </p:cNvSpPr>
            <p:nvPr/>
          </p:nvSpPr>
          <p:spPr bwMode="auto">
            <a:xfrm>
              <a:off x="1381129" y="1584329"/>
              <a:ext cx="273049" cy="131763"/>
            </a:xfrm>
            <a:custGeom>
              <a:avLst/>
              <a:gdLst>
                <a:gd name="T0" fmla="*/ 2147483647 w 187"/>
                <a:gd name="T1" fmla="*/ 2147483647 h 83"/>
                <a:gd name="T2" fmla="*/ 2147483647 w 187"/>
                <a:gd name="T3" fmla="*/ 2147483647 h 83"/>
                <a:gd name="T4" fmla="*/ 2147483647 w 187"/>
                <a:gd name="T5" fmla="*/ 2147483647 h 83"/>
                <a:gd name="T6" fmla="*/ 2147483647 w 187"/>
                <a:gd name="T7" fmla="*/ 2147483647 h 83"/>
                <a:gd name="T8" fmla="*/ 2147483647 w 187"/>
                <a:gd name="T9" fmla="*/ 2147483647 h 83"/>
                <a:gd name="T10" fmla="*/ 2147483647 w 187"/>
                <a:gd name="T11" fmla="*/ 2147483647 h 83"/>
                <a:gd name="T12" fmla="*/ 2147483647 w 187"/>
                <a:gd name="T13" fmla="*/ 2147483647 h 83"/>
                <a:gd name="T14" fmla="*/ 2147483647 w 187"/>
                <a:gd name="T15" fmla="*/ 2147483647 h 83"/>
                <a:gd name="T16" fmla="*/ 2147483647 w 187"/>
                <a:gd name="T17" fmla="*/ 2147483647 h 83"/>
                <a:gd name="T18" fmla="*/ 2147483647 w 187"/>
                <a:gd name="T19" fmla="*/ 2147483647 h 83"/>
                <a:gd name="T20" fmla="*/ 2147483647 w 187"/>
                <a:gd name="T21" fmla="*/ 2147483647 h 83"/>
                <a:gd name="T22" fmla="*/ 2147483647 w 187"/>
                <a:gd name="T23" fmla="*/ 2147483647 h 83"/>
                <a:gd name="T24" fmla="*/ 2147483647 w 187"/>
                <a:gd name="T25" fmla="*/ 2147483647 h 83"/>
                <a:gd name="T26" fmla="*/ 2147483647 w 187"/>
                <a:gd name="T27" fmla="*/ 2147483647 h 83"/>
                <a:gd name="T28" fmla="*/ 2147483647 w 187"/>
                <a:gd name="T29" fmla="*/ 2147483647 h 83"/>
                <a:gd name="T30" fmla="*/ 2147483647 w 187"/>
                <a:gd name="T31" fmla="*/ 2147483647 h 83"/>
                <a:gd name="T32" fmla="*/ 2147483647 w 187"/>
                <a:gd name="T33" fmla="*/ 2147483647 h 83"/>
                <a:gd name="T34" fmla="*/ 2147483647 w 187"/>
                <a:gd name="T35" fmla="*/ 2147483647 h 83"/>
                <a:gd name="T36" fmla="*/ 2147483647 w 187"/>
                <a:gd name="T37" fmla="*/ 2147483647 h 83"/>
                <a:gd name="T38" fmla="*/ 2147483647 w 187"/>
                <a:gd name="T39" fmla="*/ 2147483647 h 83"/>
                <a:gd name="T40" fmla="*/ 2147483647 w 187"/>
                <a:gd name="T41" fmla="*/ 2147483647 h 83"/>
                <a:gd name="T42" fmla="*/ 2147483647 w 187"/>
                <a:gd name="T43" fmla="*/ 2147483647 h 83"/>
                <a:gd name="T44" fmla="*/ 0 w 187"/>
                <a:gd name="T45" fmla="*/ 2147483647 h 83"/>
                <a:gd name="T46" fmla="*/ 2147483647 w 187"/>
                <a:gd name="T47" fmla="*/ 2147483647 h 83"/>
                <a:gd name="T48" fmla="*/ 2147483647 w 187"/>
                <a:gd name="T49" fmla="*/ 2147483647 h 83"/>
                <a:gd name="T50" fmla="*/ 2147483647 w 187"/>
                <a:gd name="T51" fmla="*/ 2147483647 h 83"/>
                <a:gd name="T52" fmla="*/ 2147483647 w 187"/>
                <a:gd name="T53" fmla="*/ 2147483647 h 83"/>
                <a:gd name="T54" fmla="*/ 2147483647 w 187"/>
                <a:gd name="T55" fmla="*/ 2147483647 h 83"/>
                <a:gd name="T56" fmla="*/ 2147483647 w 187"/>
                <a:gd name="T57" fmla="*/ 2147483647 h 83"/>
                <a:gd name="T58" fmla="*/ 2147483647 w 187"/>
                <a:gd name="T59" fmla="*/ 2147483647 h 83"/>
                <a:gd name="T60" fmla="*/ 2147483647 w 187"/>
                <a:gd name="T61" fmla="*/ 2147483647 h 83"/>
                <a:gd name="T62" fmla="*/ 2147483647 w 187"/>
                <a:gd name="T63" fmla="*/ 2147483647 h 83"/>
                <a:gd name="T64" fmla="*/ 2147483647 w 187"/>
                <a:gd name="T65" fmla="*/ 2147483647 h 83"/>
                <a:gd name="T66" fmla="*/ 2147483647 w 187"/>
                <a:gd name="T67" fmla="*/ 2147483647 h 83"/>
                <a:gd name="T68" fmla="*/ 2147483647 w 187"/>
                <a:gd name="T69" fmla="*/ 2147483647 h 83"/>
                <a:gd name="T70" fmla="*/ 2147483647 w 187"/>
                <a:gd name="T71" fmla="*/ 2147483647 h 83"/>
                <a:gd name="T72" fmla="*/ 2147483647 w 187"/>
                <a:gd name="T73" fmla="*/ 2147483647 h 83"/>
                <a:gd name="T74" fmla="*/ 2147483647 w 187"/>
                <a:gd name="T75" fmla="*/ 2147483647 h 83"/>
                <a:gd name="T76" fmla="*/ 2147483647 w 187"/>
                <a:gd name="T77" fmla="*/ 2147483647 h 83"/>
                <a:gd name="T78" fmla="*/ 2147483647 w 187"/>
                <a:gd name="T79" fmla="*/ 2147483647 h 83"/>
                <a:gd name="T80" fmla="*/ 2147483647 w 187"/>
                <a:gd name="T81" fmla="*/ 2147483647 h 83"/>
                <a:gd name="T82" fmla="*/ 2147483647 w 187"/>
                <a:gd name="T83" fmla="*/ 2147483647 h 83"/>
                <a:gd name="T84" fmla="*/ 2147483647 w 187"/>
                <a:gd name="T85" fmla="*/ 0 h 83"/>
                <a:gd name="T86" fmla="*/ 2147483647 w 187"/>
                <a:gd name="T87" fmla="*/ 2147483647 h 83"/>
                <a:gd name="T88" fmla="*/ 2147483647 w 187"/>
                <a:gd name="T89" fmla="*/ 2147483647 h 83"/>
                <a:gd name="T90" fmla="*/ 2147483647 w 187"/>
                <a:gd name="T91" fmla="*/ 2147483647 h 83"/>
                <a:gd name="T92" fmla="*/ 2147483647 w 187"/>
                <a:gd name="T93" fmla="*/ 2147483647 h 83"/>
                <a:gd name="T94" fmla="*/ 2147483647 w 187"/>
                <a:gd name="T95" fmla="*/ 2147483647 h 83"/>
                <a:gd name="T96" fmla="*/ 2147483647 w 187"/>
                <a:gd name="T97" fmla="*/ 2147483647 h 83"/>
                <a:gd name="T98" fmla="*/ 2147483647 w 187"/>
                <a:gd name="T99" fmla="*/ 2147483647 h 83"/>
                <a:gd name="T100" fmla="*/ 2147483647 w 187"/>
                <a:gd name="T101" fmla="*/ 2147483647 h 83"/>
                <a:gd name="T102" fmla="*/ 2147483647 w 187"/>
                <a:gd name="T103" fmla="*/ 2147483647 h 83"/>
                <a:gd name="T104" fmla="*/ 2147483647 w 187"/>
                <a:gd name="T105" fmla="*/ 2147483647 h 83"/>
                <a:gd name="T106" fmla="*/ 2147483647 w 187"/>
                <a:gd name="T107" fmla="*/ 2147483647 h 83"/>
                <a:gd name="T108" fmla="*/ 2147483647 w 187"/>
                <a:gd name="T109" fmla="*/ 2147483647 h 8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7"/>
                <a:gd name="T166" fmla="*/ 0 h 83"/>
                <a:gd name="T167" fmla="*/ 187 w 187"/>
                <a:gd name="T168" fmla="*/ 83 h 8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7" h="83">
                  <a:moveTo>
                    <a:pt x="177" y="69"/>
                  </a:moveTo>
                  <a:lnTo>
                    <a:pt x="177" y="69"/>
                  </a:lnTo>
                  <a:lnTo>
                    <a:pt x="174" y="71"/>
                  </a:lnTo>
                  <a:lnTo>
                    <a:pt x="172" y="73"/>
                  </a:lnTo>
                  <a:lnTo>
                    <a:pt x="161" y="70"/>
                  </a:lnTo>
                  <a:lnTo>
                    <a:pt x="151" y="69"/>
                  </a:lnTo>
                  <a:lnTo>
                    <a:pt x="141" y="70"/>
                  </a:lnTo>
                  <a:lnTo>
                    <a:pt x="137" y="71"/>
                  </a:lnTo>
                  <a:lnTo>
                    <a:pt x="132" y="74"/>
                  </a:lnTo>
                  <a:lnTo>
                    <a:pt x="128" y="75"/>
                  </a:lnTo>
                  <a:lnTo>
                    <a:pt x="123" y="76"/>
                  </a:lnTo>
                  <a:lnTo>
                    <a:pt x="120" y="77"/>
                  </a:lnTo>
                  <a:lnTo>
                    <a:pt x="115" y="75"/>
                  </a:lnTo>
                  <a:lnTo>
                    <a:pt x="112" y="74"/>
                  </a:lnTo>
                  <a:lnTo>
                    <a:pt x="109" y="74"/>
                  </a:lnTo>
                  <a:lnTo>
                    <a:pt x="104" y="75"/>
                  </a:lnTo>
                  <a:lnTo>
                    <a:pt x="101" y="77"/>
                  </a:lnTo>
                  <a:lnTo>
                    <a:pt x="97" y="81"/>
                  </a:lnTo>
                  <a:lnTo>
                    <a:pt x="93" y="83"/>
                  </a:lnTo>
                  <a:lnTo>
                    <a:pt x="89" y="83"/>
                  </a:lnTo>
                  <a:lnTo>
                    <a:pt x="75" y="81"/>
                  </a:lnTo>
                  <a:lnTo>
                    <a:pt x="69" y="80"/>
                  </a:lnTo>
                  <a:lnTo>
                    <a:pt x="61" y="78"/>
                  </a:lnTo>
                  <a:lnTo>
                    <a:pt x="60" y="78"/>
                  </a:lnTo>
                  <a:lnTo>
                    <a:pt x="60" y="76"/>
                  </a:lnTo>
                  <a:lnTo>
                    <a:pt x="60" y="73"/>
                  </a:lnTo>
                  <a:lnTo>
                    <a:pt x="61" y="70"/>
                  </a:lnTo>
                  <a:lnTo>
                    <a:pt x="62" y="70"/>
                  </a:lnTo>
                  <a:lnTo>
                    <a:pt x="64" y="70"/>
                  </a:lnTo>
                  <a:lnTo>
                    <a:pt x="68" y="71"/>
                  </a:lnTo>
                  <a:lnTo>
                    <a:pt x="73" y="71"/>
                  </a:lnTo>
                  <a:lnTo>
                    <a:pt x="76" y="70"/>
                  </a:lnTo>
                  <a:lnTo>
                    <a:pt x="85" y="63"/>
                  </a:lnTo>
                  <a:lnTo>
                    <a:pt x="90" y="61"/>
                  </a:lnTo>
                  <a:lnTo>
                    <a:pt x="95" y="58"/>
                  </a:lnTo>
                  <a:lnTo>
                    <a:pt x="97" y="57"/>
                  </a:lnTo>
                  <a:lnTo>
                    <a:pt x="97" y="56"/>
                  </a:lnTo>
                  <a:lnTo>
                    <a:pt x="97" y="55"/>
                  </a:lnTo>
                  <a:lnTo>
                    <a:pt x="95" y="54"/>
                  </a:lnTo>
                  <a:lnTo>
                    <a:pt x="92" y="55"/>
                  </a:lnTo>
                  <a:lnTo>
                    <a:pt x="88" y="56"/>
                  </a:lnTo>
                  <a:lnTo>
                    <a:pt x="78" y="58"/>
                  </a:lnTo>
                  <a:lnTo>
                    <a:pt x="73" y="60"/>
                  </a:lnTo>
                  <a:lnTo>
                    <a:pt x="68" y="61"/>
                  </a:lnTo>
                  <a:lnTo>
                    <a:pt x="66" y="61"/>
                  </a:lnTo>
                  <a:lnTo>
                    <a:pt x="64" y="61"/>
                  </a:lnTo>
                  <a:lnTo>
                    <a:pt x="61" y="60"/>
                  </a:lnTo>
                  <a:lnTo>
                    <a:pt x="60" y="58"/>
                  </a:lnTo>
                  <a:lnTo>
                    <a:pt x="59" y="55"/>
                  </a:lnTo>
                  <a:lnTo>
                    <a:pt x="57" y="52"/>
                  </a:lnTo>
                  <a:lnTo>
                    <a:pt x="56" y="52"/>
                  </a:lnTo>
                  <a:lnTo>
                    <a:pt x="54" y="54"/>
                  </a:lnTo>
                  <a:lnTo>
                    <a:pt x="52" y="56"/>
                  </a:lnTo>
                  <a:lnTo>
                    <a:pt x="48" y="61"/>
                  </a:lnTo>
                  <a:lnTo>
                    <a:pt x="47" y="63"/>
                  </a:lnTo>
                  <a:lnTo>
                    <a:pt x="46" y="65"/>
                  </a:lnTo>
                  <a:lnTo>
                    <a:pt x="43" y="65"/>
                  </a:lnTo>
                  <a:lnTo>
                    <a:pt x="41" y="64"/>
                  </a:lnTo>
                  <a:lnTo>
                    <a:pt x="38" y="63"/>
                  </a:lnTo>
                  <a:lnTo>
                    <a:pt x="36" y="62"/>
                  </a:lnTo>
                  <a:lnTo>
                    <a:pt x="32" y="63"/>
                  </a:lnTo>
                  <a:lnTo>
                    <a:pt x="28" y="64"/>
                  </a:lnTo>
                  <a:lnTo>
                    <a:pt x="23" y="64"/>
                  </a:lnTo>
                  <a:lnTo>
                    <a:pt x="22" y="64"/>
                  </a:lnTo>
                  <a:lnTo>
                    <a:pt x="22" y="63"/>
                  </a:lnTo>
                  <a:lnTo>
                    <a:pt x="19" y="61"/>
                  </a:lnTo>
                  <a:lnTo>
                    <a:pt x="18" y="60"/>
                  </a:lnTo>
                  <a:lnTo>
                    <a:pt x="15" y="60"/>
                  </a:lnTo>
                  <a:lnTo>
                    <a:pt x="12" y="61"/>
                  </a:lnTo>
                  <a:lnTo>
                    <a:pt x="7" y="62"/>
                  </a:lnTo>
                  <a:lnTo>
                    <a:pt x="3" y="62"/>
                  </a:lnTo>
                  <a:lnTo>
                    <a:pt x="1" y="61"/>
                  </a:lnTo>
                  <a:lnTo>
                    <a:pt x="0" y="58"/>
                  </a:lnTo>
                  <a:lnTo>
                    <a:pt x="0" y="57"/>
                  </a:lnTo>
                  <a:lnTo>
                    <a:pt x="0" y="55"/>
                  </a:lnTo>
                  <a:lnTo>
                    <a:pt x="3" y="51"/>
                  </a:lnTo>
                  <a:lnTo>
                    <a:pt x="5" y="50"/>
                  </a:lnTo>
                  <a:lnTo>
                    <a:pt x="8" y="50"/>
                  </a:lnTo>
                  <a:lnTo>
                    <a:pt x="8" y="45"/>
                  </a:lnTo>
                  <a:lnTo>
                    <a:pt x="10" y="43"/>
                  </a:lnTo>
                  <a:lnTo>
                    <a:pt x="18" y="39"/>
                  </a:lnTo>
                  <a:lnTo>
                    <a:pt x="18" y="38"/>
                  </a:lnTo>
                  <a:lnTo>
                    <a:pt x="18" y="36"/>
                  </a:lnTo>
                  <a:lnTo>
                    <a:pt x="17" y="33"/>
                  </a:lnTo>
                  <a:lnTo>
                    <a:pt x="15" y="32"/>
                  </a:lnTo>
                  <a:lnTo>
                    <a:pt x="17" y="30"/>
                  </a:lnTo>
                  <a:lnTo>
                    <a:pt x="19" y="26"/>
                  </a:lnTo>
                  <a:lnTo>
                    <a:pt x="28" y="22"/>
                  </a:lnTo>
                  <a:lnTo>
                    <a:pt x="37" y="17"/>
                  </a:lnTo>
                  <a:lnTo>
                    <a:pt x="43" y="16"/>
                  </a:lnTo>
                  <a:lnTo>
                    <a:pt x="50" y="17"/>
                  </a:lnTo>
                  <a:lnTo>
                    <a:pt x="55" y="19"/>
                  </a:lnTo>
                  <a:lnTo>
                    <a:pt x="66" y="25"/>
                  </a:lnTo>
                  <a:lnTo>
                    <a:pt x="71" y="29"/>
                  </a:lnTo>
                  <a:lnTo>
                    <a:pt x="76" y="33"/>
                  </a:lnTo>
                  <a:lnTo>
                    <a:pt x="79" y="37"/>
                  </a:lnTo>
                  <a:lnTo>
                    <a:pt x="83" y="38"/>
                  </a:lnTo>
                  <a:lnTo>
                    <a:pt x="85" y="38"/>
                  </a:lnTo>
                  <a:lnTo>
                    <a:pt x="88" y="38"/>
                  </a:lnTo>
                  <a:lnTo>
                    <a:pt x="90" y="38"/>
                  </a:lnTo>
                  <a:lnTo>
                    <a:pt x="92" y="39"/>
                  </a:lnTo>
                  <a:lnTo>
                    <a:pt x="97" y="44"/>
                  </a:lnTo>
                  <a:lnTo>
                    <a:pt x="101" y="48"/>
                  </a:lnTo>
                  <a:lnTo>
                    <a:pt x="106" y="49"/>
                  </a:lnTo>
                  <a:lnTo>
                    <a:pt x="108" y="49"/>
                  </a:lnTo>
                  <a:lnTo>
                    <a:pt x="112" y="49"/>
                  </a:lnTo>
                  <a:lnTo>
                    <a:pt x="117" y="46"/>
                  </a:lnTo>
                  <a:lnTo>
                    <a:pt x="122" y="48"/>
                  </a:lnTo>
                  <a:lnTo>
                    <a:pt x="127" y="49"/>
                  </a:lnTo>
                  <a:lnTo>
                    <a:pt x="132" y="50"/>
                  </a:lnTo>
                  <a:lnTo>
                    <a:pt x="135" y="50"/>
                  </a:lnTo>
                  <a:lnTo>
                    <a:pt x="137" y="50"/>
                  </a:lnTo>
                  <a:lnTo>
                    <a:pt x="139" y="49"/>
                  </a:lnTo>
                  <a:lnTo>
                    <a:pt x="139" y="46"/>
                  </a:lnTo>
                  <a:lnTo>
                    <a:pt x="139" y="44"/>
                  </a:lnTo>
                  <a:lnTo>
                    <a:pt x="137" y="42"/>
                  </a:lnTo>
                  <a:lnTo>
                    <a:pt x="134" y="39"/>
                  </a:lnTo>
                  <a:lnTo>
                    <a:pt x="132" y="38"/>
                  </a:lnTo>
                  <a:lnTo>
                    <a:pt x="131" y="37"/>
                  </a:lnTo>
                  <a:lnTo>
                    <a:pt x="131" y="35"/>
                  </a:lnTo>
                  <a:lnTo>
                    <a:pt x="135" y="32"/>
                  </a:lnTo>
                  <a:lnTo>
                    <a:pt x="135" y="31"/>
                  </a:lnTo>
                  <a:lnTo>
                    <a:pt x="135" y="29"/>
                  </a:lnTo>
                  <a:lnTo>
                    <a:pt x="132" y="26"/>
                  </a:lnTo>
                  <a:lnTo>
                    <a:pt x="130" y="24"/>
                  </a:lnTo>
                  <a:lnTo>
                    <a:pt x="123" y="20"/>
                  </a:lnTo>
                  <a:lnTo>
                    <a:pt x="123" y="19"/>
                  </a:lnTo>
                  <a:lnTo>
                    <a:pt x="122" y="19"/>
                  </a:lnTo>
                  <a:lnTo>
                    <a:pt x="132" y="12"/>
                  </a:lnTo>
                  <a:lnTo>
                    <a:pt x="135" y="9"/>
                  </a:lnTo>
                  <a:lnTo>
                    <a:pt x="137" y="3"/>
                  </a:lnTo>
                  <a:lnTo>
                    <a:pt x="139" y="0"/>
                  </a:lnTo>
                  <a:lnTo>
                    <a:pt x="140" y="0"/>
                  </a:lnTo>
                  <a:lnTo>
                    <a:pt x="141" y="0"/>
                  </a:lnTo>
                  <a:lnTo>
                    <a:pt x="144" y="4"/>
                  </a:lnTo>
                  <a:lnTo>
                    <a:pt x="145" y="9"/>
                  </a:lnTo>
                  <a:lnTo>
                    <a:pt x="148" y="14"/>
                  </a:lnTo>
                  <a:lnTo>
                    <a:pt x="148" y="18"/>
                  </a:lnTo>
                  <a:lnTo>
                    <a:pt x="146" y="22"/>
                  </a:lnTo>
                  <a:lnTo>
                    <a:pt x="146" y="24"/>
                  </a:lnTo>
                  <a:lnTo>
                    <a:pt x="148" y="25"/>
                  </a:lnTo>
                  <a:lnTo>
                    <a:pt x="151" y="29"/>
                  </a:lnTo>
                  <a:lnTo>
                    <a:pt x="151" y="30"/>
                  </a:lnTo>
                  <a:lnTo>
                    <a:pt x="150" y="31"/>
                  </a:lnTo>
                  <a:lnTo>
                    <a:pt x="149" y="35"/>
                  </a:lnTo>
                  <a:lnTo>
                    <a:pt x="149" y="36"/>
                  </a:lnTo>
                  <a:lnTo>
                    <a:pt x="150" y="37"/>
                  </a:lnTo>
                  <a:lnTo>
                    <a:pt x="151" y="39"/>
                  </a:lnTo>
                  <a:lnTo>
                    <a:pt x="159" y="33"/>
                  </a:lnTo>
                  <a:lnTo>
                    <a:pt x="163" y="31"/>
                  </a:lnTo>
                  <a:lnTo>
                    <a:pt x="164" y="31"/>
                  </a:lnTo>
                  <a:lnTo>
                    <a:pt x="167" y="31"/>
                  </a:lnTo>
                  <a:lnTo>
                    <a:pt x="168" y="32"/>
                  </a:lnTo>
                  <a:lnTo>
                    <a:pt x="167" y="35"/>
                  </a:lnTo>
                  <a:lnTo>
                    <a:pt x="164" y="39"/>
                  </a:lnTo>
                  <a:lnTo>
                    <a:pt x="165" y="41"/>
                  </a:lnTo>
                  <a:lnTo>
                    <a:pt x="167" y="43"/>
                  </a:lnTo>
                  <a:lnTo>
                    <a:pt x="168" y="44"/>
                  </a:lnTo>
                  <a:lnTo>
                    <a:pt x="169" y="43"/>
                  </a:lnTo>
                  <a:lnTo>
                    <a:pt x="173" y="39"/>
                  </a:lnTo>
                  <a:lnTo>
                    <a:pt x="174" y="35"/>
                  </a:lnTo>
                  <a:lnTo>
                    <a:pt x="174" y="31"/>
                  </a:lnTo>
                  <a:lnTo>
                    <a:pt x="177" y="30"/>
                  </a:lnTo>
                  <a:lnTo>
                    <a:pt x="181" y="30"/>
                  </a:lnTo>
                  <a:lnTo>
                    <a:pt x="183" y="31"/>
                  </a:lnTo>
                  <a:lnTo>
                    <a:pt x="186" y="35"/>
                  </a:lnTo>
                  <a:lnTo>
                    <a:pt x="187" y="38"/>
                  </a:lnTo>
                  <a:lnTo>
                    <a:pt x="186" y="46"/>
                  </a:lnTo>
                  <a:lnTo>
                    <a:pt x="184" y="56"/>
                  </a:lnTo>
                  <a:lnTo>
                    <a:pt x="181" y="62"/>
                  </a:lnTo>
                  <a:lnTo>
                    <a:pt x="177" y="6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2" name="Freeform 981"/>
            <p:cNvSpPr>
              <a:spLocks/>
            </p:cNvSpPr>
            <p:nvPr/>
          </p:nvSpPr>
          <p:spPr bwMode="auto">
            <a:xfrm>
              <a:off x="1336676" y="1639891"/>
              <a:ext cx="25400" cy="26987"/>
            </a:xfrm>
            <a:custGeom>
              <a:avLst/>
              <a:gdLst>
                <a:gd name="T0" fmla="*/ 2147483647 w 18"/>
                <a:gd name="T1" fmla="*/ 2147483647 h 17"/>
                <a:gd name="T2" fmla="*/ 2147483647 w 18"/>
                <a:gd name="T3" fmla="*/ 2147483647 h 17"/>
                <a:gd name="T4" fmla="*/ 0 w 18"/>
                <a:gd name="T5" fmla="*/ 2147483647 h 17"/>
                <a:gd name="T6" fmla="*/ 0 w 18"/>
                <a:gd name="T7" fmla="*/ 2147483647 h 17"/>
                <a:gd name="T8" fmla="*/ 2147483647 w 18"/>
                <a:gd name="T9" fmla="*/ 2147483647 h 17"/>
                <a:gd name="T10" fmla="*/ 2147483647 w 18"/>
                <a:gd name="T11" fmla="*/ 2147483647 h 17"/>
                <a:gd name="T12" fmla="*/ 2147483647 w 18"/>
                <a:gd name="T13" fmla="*/ 2147483647 h 17"/>
                <a:gd name="T14" fmla="*/ 2147483647 w 18"/>
                <a:gd name="T15" fmla="*/ 2147483647 h 17"/>
                <a:gd name="T16" fmla="*/ 2147483647 w 18"/>
                <a:gd name="T17" fmla="*/ 2147483647 h 17"/>
                <a:gd name="T18" fmla="*/ 2147483647 w 18"/>
                <a:gd name="T19" fmla="*/ 2147483647 h 17"/>
                <a:gd name="T20" fmla="*/ 2147483647 w 18"/>
                <a:gd name="T21" fmla="*/ 2147483647 h 17"/>
                <a:gd name="T22" fmla="*/ 2147483647 w 18"/>
                <a:gd name="T23" fmla="*/ 2147483647 h 17"/>
                <a:gd name="T24" fmla="*/ 2147483647 w 18"/>
                <a:gd name="T25" fmla="*/ 2147483647 h 17"/>
                <a:gd name="T26" fmla="*/ 2147483647 w 18"/>
                <a:gd name="T27" fmla="*/ 0 h 17"/>
                <a:gd name="T28" fmla="*/ 2147483647 w 18"/>
                <a:gd name="T29" fmla="*/ 2147483647 h 17"/>
                <a:gd name="T30" fmla="*/ 2147483647 w 18"/>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7"/>
                <a:gd name="T50" fmla="*/ 18 w 18"/>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7">
                  <a:moveTo>
                    <a:pt x="9" y="4"/>
                  </a:moveTo>
                  <a:lnTo>
                    <a:pt x="2" y="7"/>
                  </a:lnTo>
                  <a:lnTo>
                    <a:pt x="0" y="9"/>
                  </a:lnTo>
                  <a:lnTo>
                    <a:pt x="0" y="10"/>
                  </a:lnTo>
                  <a:lnTo>
                    <a:pt x="1" y="13"/>
                  </a:lnTo>
                  <a:lnTo>
                    <a:pt x="2" y="15"/>
                  </a:lnTo>
                  <a:lnTo>
                    <a:pt x="5" y="17"/>
                  </a:lnTo>
                  <a:lnTo>
                    <a:pt x="7" y="17"/>
                  </a:lnTo>
                  <a:lnTo>
                    <a:pt x="10" y="17"/>
                  </a:lnTo>
                  <a:lnTo>
                    <a:pt x="14" y="11"/>
                  </a:lnTo>
                  <a:lnTo>
                    <a:pt x="18" y="6"/>
                  </a:lnTo>
                  <a:lnTo>
                    <a:pt x="18" y="3"/>
                  </a:lnTo>
                  <a:lnTo>
                    <a:pt x="18" y="1"/>
                  </a:lnTo>
                  <a:lnTo>
                    <a:pt x="15" y="0"/>
                  </a:lnTo>
                  <a:lnTo>
                    <a:pt x="12" y="1"/>
                  </a:lnTo>
                  <a:lnTo>
                    <a:pt x="9"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3" name="Freeform 982"/>
            <p:cNvSpPr>
              <a:spLocks/>
            </p:cNvSpPr>
            <p:nvPr/>
          </p:nvSpPr>
          <p:spPr bwMode="auto">
            <a:xfrm>
              <a:off x="1219200" y="1539876"/>
              <a:ext cx="193675" cy="112713"/>
            </a:xfrm>
            <a:custGeom>
              <a:avLst/>
              <a:gdLst>
                <a:gd name="T0" fmla="*/ 2147483647 w 132"/>
                <a:gd name="T1" fmla="*/ 2147483647 h 71"/>
                <a:gd name="T2" fmla="*/ 2147483647 w 132"/>
                <a:gd name="T3" fmla="*/ 2147483647 h 71"/>
                <a:gd name="T4" fmla="*/ 2147483647 w 132"/>
                <a:gd name="T5" fmla="*/ 0 h 71"/>
                <a:gd name="T6" fmla="*/ 2147483647 w 132"/>
                <a:gd name="T7" fmla="*/ 2147483647 h 71"/>
                <a:gd name="T8" fmla="*/ 2147483647 w 132"/>
                <a:gd name="T9" fmla="*/ 2147483647 h 71"/>
                <a:gd name="T10" fmla="*/ 2147483647 w 132"/>
                <a:gd name="T11" fmla="*/ 2147483647 h 71"/>
                <a:gd name="T12" fmla="*/ 2147483647 w 132"/>
                <a:gd name="T13" fmla="*/ 2147483647 h 71"/>
                <a:gd name="T14" fmla="*/ 2147483647 w 132"/>
                <a:gd name="T15" fmla="*/ 2147483647 h 71"/>
                <a:gd name="T16" fmla="*/ 2147483647 w 132"/>
                <a:gd name="T17" fmla="*/ 2147483647 h 71"/>
                <a:gd name="T18" fmla="*/ 2147483647 w 132"/>
                <a:gd name="T19" fmla="*/ 2147483647 h 71"/>
                <a:gd name="T20" fmla="*/ 2147483647 w 132"/>
                <a:gd name="T21" fmla="*/ 2147483647 h 71"/>
                <a:gd name="T22" fmla="*/ 2147483647 w 132"/>
                <a:gd name="T23" fmla="*/ 2147483647 h 71"/>
                <a:gd name="T24" fmla="*/ 2147483647 w 132"/>
                <a:gd name="T25" fmla="*/ 2147483647 h 71"/>
                <a:gd name="T26" fmla="*/ 2147483647 w 132"/>
                <a:gd name="T27" fmla="*/ 2147483647 h 71"/>
                <a:gd name="T28" fmla="*/ 2147483647 w 132"/>
                <a:gd name="T29" fmla="*/ 2147483647 h 71"/>
                <a:gd name="T30" fmla="*/ 2147483647 w 132"/>
                <a:gd name="T31" fmla="*/ 2147483647 h 71"/>
                <a:gd name="T32" fmla="*/ 2147483647 w 132"/>
                <a:gd name="T33" fmla="*/ 2147483647 h 71"/>
                <a:gd name="T34" fmla="*/ 2147483647 w 132"/>
                <a:gd name="T35" fmla="*/ 2147483647 h 71"/>
                <a:gd name="T36" fmla="*/ 2147483647 w 132"/>
                <a:gd name="T37" fmla="*/ 2147483647 h 71"/>
                <a:gd name="T38" fmla="*/ 2147483647 w 132"/>
                <a:gd name="T39" fmla="*/ 2147483647 h 71"/>
                <a:gd name="T40" fmla="*/ 2147483647 w 132"/>
                <a:gd name="T41" fmla="*/ 2147483647 h 71"/>
                <a:gd name="T42" fmla="*/ 2147483647 w 132"/>
                <a:gd name="T43" fmla="*/ 2147483647 h 71"/>
                <a:gd name="T44" fmla="*/ 2147483647 w 132"/>
                <a:gd name="T45" fmla="*/ 2147483647 h 71"/>
                <a:gd name="T46" fmla="*/ 2147483647 w 132"/>
                <a:gd name="T47" fmla="*/ 2147483647 h 71"/>
                <a:gd name="T48" fmla="*/ 0 w 132"/>
                <a:gd name="T49" fmla="*/ 2147483647 h 71"/>
                <a:gd name="T50" fmla="*/ 2147483647 w 132"/>
                <a:gd name="T51" fmla="*/ 2147483647 h 71"/>
                <a:gd name="T52" fmla="*/ 2147483647 w 132"/>
                <a:gd name="T53" fmla="*/ 2147483647 h 71"/>
                <a:gd name="T54" fmla="*/ 2147483647 w 132"/>
                <a:gd name="T55" fmla="*/ 2147483647 h 71"/>
                <a:gd name="T56" fmla="*/ 2147483647 w 132"/>
                <a:gd name="T57" fmla="*/ 2147483647 h 71"/>
                <a:gd name="T58" fmla="*/ 2147483647 w 132"/>
                <a:gd name="T59" fmla="*/ 2147483647 h 71"/>
                <a:gd name="T60" fmla="*/ 2147483647 w 132"/>
                <a:gd name="T61" fmla="*/ 2147483647 h 71"/>
                <a:gd name="T62" fmla="*/ 2147483647 w 132"/>
                <a:gd name="T63" fmla="*/ 2147483647 h 71"/>
                <a:gd name="T64" fmla="*/ 2147483647 w 132"/>
                <a:gd name="T65" fmla="*/ 2147483647 h 71"/>
                <a:gd name="T66" fmla="*/ 2147483647 w 132"/>
                <a:gd name="T67" fmla="*/ 2147483647 h 71"/>
                <a:gd name="T68" fmla="*/ 2147483647 w 132"/>
                <a:gd name="T69" fmla="*/ 2147483647 h 71"/>
                <a:gd name="T70" fmla="*/ 2147483647 w 132"/>
                <a:gd name="T71" fmla="*/ 2147483647 h 71"/>
                <a:gd name="T72" fmla="*/ 2147483647 w 132"/>
                <a:gd name="T73" fmla="*/ 2147483647 h 71"/>
                <a:gd name="T74" fmla="*/ 2147483647 w 132"/>
                <a:gd name="T75" fmla="*/ 2147483647 h 71"/>
                <a:gd name="T76" fmla="*/ 2147483647 w 132"/>
                <a:gd name="T77" fmla="*/ 2147483647 h 71"/>
                <a:gd name="T78" fmla="*/ 2147483647 w 132"/>
                <a:gd name="T79" fmla="*/ 2147483647 h 71"/>
                <a:gd name="T80" fmla="*/ 2147483647 w 132"/>
                <a:gd name="T81" fmla="*/ 2147483647 h 71"/>
                <a:gd name="T82" fmla="*/ 2147483647 w 132"/>
                <a:gd name="T83" fmla="*/ 2147483647 h 71"/>
                <a:gd name="T84" fmla="*/ 2147483647 w 132"/>
                <a:gd name="T85" fmla="*/ 2147483647 h 71"/>
                <a:gd name="T86" fmla="*/ 2147483647 w 132"/>
                <a:gd name="T87" fmla="*/ 2147483647 h 71"/>
                <a:gd name="T88" fmla="*/ 2147483647 w 132"/>
                <a:gd name="T89" fmla="*/ 2147483647 h 71"/>
                <a:gd name="T90" fmla="*/ 2147483647 w 132"/>
                <a:gd name="T91" fmla="*/ 2147483647 h 71"/>
                <a:gd name="T92" fmla="*/ 2147483647 w 132"/>
                <a:gd name="T93" fmla="*/ 2147483647 h 71"/>
                <a:gd name="T94" fmla="*/ 2147483647 w 132"/>
                <a:gd name="T95" fmla="*/ 2147483647 h 71"/>
                <a:gd name="T96" fmla="*/ 2147483647 w 132"/>
                <a:gd name="T97" fmla="*/ 2147483647 h 71"/>
                <a:gd name="T98" fmla="*/ 2147483647 w 132"/>
                <a:gd name="T99" fmla="*/ 2147483647 h 71"/>
                <a:gd name="T100" fmla="*/ 2147483647 w 132"/>
                <a:gd name="T101" fmla="*/ 2147483647 h 71"/>
                <a:gd name="T102" fmla="*/ 2147483647 w 132"/>
                <a:gd name="T103" fmla="*/ 2147483647 h 71"/>
                <a:gd name="T104" fmla="*/ 2147483647 w 132"/>
                <a:gd name="T105" fmla="*/ 2147483647 h 71"/>
                <a:gd name="T106" fmla="*/ 2147483647 w 132"/>
                <a:gd name="T107" fmla="*/ 2147483647 h 71"/>
                <a:gd name="T108" fmla="*/ 2147483647 w 132"/>
                <a:gd name="T109" fmla="*/ 2147483647 h 71"/>
                <a:gd name="T110" fmla="*/ 2147483647 w 132"/>
                <a:gd name="T111" fmla="*/ 2147483647 h 71"/>
                <a:gd name="T112" fmla="*/ 2147483647 w 132"/>
                <a:gd name="T113" fmla="*/ 2147483647 h 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71"/>
                <a:gd name="T173" fmla="*/ 132 w 132"/>
                <a:gd name="T174" fmla="*/ 71 h 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71">
                  <a:moveTo>
                    <a:pt x="127" y="19"/>
                  </a:moveTo>
                  <a:lnTo>
                    <a:pt x="125" y="12"/>
                  </a:lnTo>
                  <a:lnTo>
                    <a:pt x="123" y="6"/>
                  </a:lnTo>
                  <a:lnTo>
                    <a:pt x="122" y="3"/>
                  </a:lnTo>
                  <a:lnTo>
                    <a:pt x="119" y="1"/>
                  </a:lnTo>
                  <a:lnTo>
                    <a:pt x="117" y="0"/>
                  </a:lnTo>
                  <a:lnTo>
                    <a:pt x="114" y="1"/>
                  </a:lnTo>
                  <a:lnTo>
                    <a:pt x="114" y="2"/>
                  </a:lnTo>
                  <a:lnTo>
                    <a:pt x="115" y="5"/>
                  </a:lnTo>
                  <a:lnTo>
                    <a:pt x="117" y="7"/>
                  </a:lnTo>
                  <a:lnTo>
                    <a:pt x="117" y="9"/>
                  </a:lnTo>
                  <a:lnTo>
                    <a:pt x="115" y="10"/>
                  </a:lnTo>
                  <a:lnTo>
                    <a:pt x="111" y="10"/>
                  </a:lnTo>
                  <a:lnTo>
                    <a:pt x="110" y="9"/>
                  </a:lnTo>
                  <a:lnTo>
                    <a:pt x="109" y="7"/>
                  </a:lnTo>
                  <a:lnTo>
                    <a:pt x="106" y="5"/>
                  </a:lnTo>
                  <a:lnTo>
                    <a:pt x="104" y="5"/>
                  </a:lnTo>
                  <a:lnTo>
                    <a:pt x="101" y="5"/>
                  </a:lnTo>
                  <a:lnTo>
                    <a:pt x="100" y="7"/>
                  </a:lnTo>
                  <a:lnTo>
                    <a:pt x="99" y="8"/>
                  </a:lnTo>
                  <a:lnTo>
                    <a:pt x="99" y="10"/>
                  </a:lnTo>
                  <a:lnTo>
                    <a:pt x="98" y="12"/>
                  </a:lnTo>
                  <a:lnTo>
                    <a:pt x="92" y="12"/>
                  </a:lnTo>
                  <a:lnTo>
                    <a:pt x="87" y="10"/>
                  </a:lnTo>
                  <a:lnTo>
                    <a:pt x="82" y="9"/>
                  </a:lnTo>
                  <a:lnTo>
                    <a:pt x="80" y="10"/>
                  </a:lnTo>
                  <a:lnTo>
                    <a:pt x="77" y="12"/>
                  </a:lnTo>
                  <a:lnTo>
                    <a:pt x="76" y="14"/>
                  </a:lnTo>
                  <a:lnTo>
                    <a:pt x="68" y="18"/>
                  </a:lnTo>
                  <a:lnTo>
                    <a:pt x="62" y="21"/>
                  </a:lnTo>
                  <a:lnTo>
                    <a:pt x="56" y="25"/>
                  </a:lnTo>
                  <a:lnTo>
                    <a:pt x="54" y="27"/>
                  </a:lnTo>
                  <a:lnTo>
                    <a:pt x="53" y="31"/>
                  </a:lnTo>
                  <a:lnTo>
                    <a:pt x="51" y="33"/>
                  </a:lnTo>
                  <a:lnTo>
                    <a:pt x="47" y="33"/>
                  </a:lnTo>
                  <a:lnTo>
                    <a:pt x="45" y="33"/>
                  </a:lnTo>
                  <a:lnTo>
                    <a:pt x="44" y="34"/>
                  </a:lnTo>
                  <a:lnTo>
                    <a:pt x="38" y="39"/>
                  </a:lnTo>
                  <a:lnTo>
                    <a:pt x="34" y="41"/>
                  </a:lnTo>
                  <a:lnTo>
                    <a:pt x="29" y="42"/>
                  </a:lnTo>
                  <a:lnTo>
                    <a:pt x="28" y="44"/>
                  </a:lnTo>
                  <a:lnTo>
                    <a:pt x="28" y="45"/>
                  </a:lnTo>
                  <a:lnTo>
                    <a:pt x="26" y="47"/>
                  </a:lnTo>
                  <a:lnTo>
                    <a:pt x="25" y="48"/>
                  </a:lnTo>
                  <a:lnTo>
                    <a:pt x="19" y="48"/>
                  </a:lnTo>
                  <a:lnTo>
                    <a:pt x="14" y="48"/>
                  </a:lnTo>
                  <a:lnTo>
                    <a:pt x="9" y="48"/>
                  </a:lnTo>
                  <a:lnTo>
                    <a:pt x="5" y="51"/>
                  </a:lnTo>
                  <a:lnTo>
                    <a:pt x="1" y="54"/>
                  </a:lnTo>
                  <a:lnTo>
                    <a:pt x="0" y="57"/>
                  </a:lnTo>
                  <a:lnTo>
                    <a:pt x="2" y="58"/>
                  </a:lnTo>
                  <a:lnTo>
                    <a:pt x="5" y="59"/>
                  </a:lnTo>
                  <a:lnTo>
                    <a:pt x="7" y="59"/>
                  </a:lnTo>
                  <a:lnTo>
                    <a:pt x="9" y="60"/>
                  </a:lnTo>
                  <a:lnTo>
                    <a:pt x="9" y="64"/>
                  </a:lnTo>
                  <a:lnTo>
                    <a:pt x="9" y="69"/>
                  </a:lnTo>
                  <a:lnTo>
                    <a:pt x="9" y="70"/>
                  </a:lnTo>
                  <a:lnTo>
                    <a:pt x="10" y="71"/>
                  </a:lnTo>
                  <a:lnTo>
                    <a:pt x="12" y="71"/>
                  </a:lnTo>
                  <a:lnTo>
                    <a:pt x="14" y="71"/>
                  </a:lnTo>
                  <a:lnTo>
                    <a:pt x="21" y="67"/>
                  </a:lnTo>
                  <a:lnTo>
                    <a:pt x="24" y="66"/>
                  </a:lnTo>
                  <a:lnTo>
                    <a:pt x="28" y="66"/>
                  </a:lnTo>
                  <a:lnTo>
                    <a:pt x="33" y="69"/>
                  </a:lnTo>
                  <a:lnTo>
                    <a:pt x="35" y="69"/>
                  </a:lnTo>
                  <a:lnTo>
                    <a:pt x="38" y="67"/>
                  </a:lnTo>
                  <a:lnTo>
                    <a:pt x="38" y="65"/>
                  </a:lnTo>
                  <a:lnTo>
                    <a:pt x="39" y="63"/>
                  </a:lnTo>
                  <a:lnTo>
                    <a:pt x="38" y="60"/>
                  </a:lnTo>
                  <a:lnTo>
                    <a:pt x="39" y="58"/>
                  </a:lnTo>
                  <a:lnTo>
                    <a:pt x="42" y="58"/>
                  </a:lnTo>
                  <a:lnTo>
                    <a:pt x="43" y="58"/>
                  </a:lnTo>
                  <a:lnTo>
                    <a:pt x="45" y="55"/>
                  </a:lnTo>
                  <a:lnTo>
                    <a:pt x="48" y="52"/>
                  </a:lnTo>
                  <a:lnTo>
                    <a:pt x="51" y="48"/>
                  </a:lnTo>
                  <a:lnTo>
                    <a:pt x="52" y="50"/>
                  </a:lnTo>
                  <a:lnTo>
                    <a:pt x="52" y="52"/>
                  </a:lnTo>
                  <a:lnTo>
                    <a:pt x="52" y="58"/>
                  </a:lnTo>
                  <a:lnTo>
                    <a:pt x="53" y="64"/>
                  </a:lnTo>
                  <a:lnTo>
                    <a:pt x="56" y="66"/>
                  </a:lnTo>
                  <a:lnTo>
                    <a:pt x="58" y="69"/>
                  </a:lnTo>
                  <a:lnTo>
                    <a:pt x="61" y="70"/>
                  </a:lnTo>
                  <a:lnTo>
                    <a:pt x="65" y="70"/>
                  </a:lnTo>
                  <a:lnTo>
                    <a:pt x="67" y="70"/>
                  </a:lnTo>
                  <a:lnTo>
                    <a:pt x="68" y="69"/>
                  </a:lnTo>
                  <a:lnTo>
                    <a:pt x="71" y="66"/>
                  </a:lnTo>
                  <a:lnTo>
                    <a:pt x="71" y="64"/>
                  </a:lnTo>
                  <a:lnTo>
                    <a:pt x="70" y="60"/>
                  </a:lnTo>
                  <a:lnTo>
                    <a:pt x="70" y="58"/>
                  </a:lnTo>
                  <a:lnTo>
                    <a:pt x="70" y="57"/>
                  </a:lnTo>
                  <a:lnTo>
                    <a:pt x="84" y="41"/>
                  </a:lnTo>
                  <a:lnTo>
                    <a:pt x="98" y="27"/>
                  </a:lnTo>
                  <a:lnTo>
                    <a:pt x="99" y="29"/>
                  </a:lnTo>
                  <a:lnTo>
                    <a:pt x="99" y="33"/>
                  </a:lnTo>
                  <a:lnTo>
                    <a:pt x="96" y="38"/>
                  </a:lnTo>
                  <a:lnTo>
                    <a:pt x="96" y="42"/>
                  </a:lnTo>
                  <a:lnTo>
                    <a:pt x="98" y="53"/>
                  </a:lnTo>
                  <a:lnTo>
                    <a:pt x="99" y="55"/>
                  </a:lnTo>
                  <a:lnTo>
                    <a:pt x="100" y="57"/>
                  </a:lnTo>
                  <a:lnTo>
                    <a:pt x="103" y="58"/>
                  </a:lnTo>
                  <a:lnTo>
                    <a:pt x="104" y="57"/>
                  </a:lnTo>
                  <a:lnTo>
                    <a:pt x="106" y="52"/>
                  </a:lnTo>
                  <a:lnTo>
                    <a:pt x="111" y="48"/>
                  </a:lnTo>
                  <a:lnTo>
                    <a:pt x="117" y="45"/>
                  </a:lnTo>
                  <a:lnTo>
                    <a:pt x="122" y="40"/>
                  </a:lnTo>
                  <a:lnTo>
                    <a:pt x="122" y="39"/>
                  </a:lnTo>
                  <a:lnTo>
                    <a:pt x="122" y="35"/>
                  </a:lnTo>
                  <a:lnTo>
                    <a:pt x="122" y="37"/>
                  </a:lnTo>
                  <a:lnTo>
                    <a:pt x="122" y="33"/>
                  </a:lnTo>
                  <a:lnTo>
                    <a:pt x="124" y="31"/>
                  </a:lnTo>
                  <a:lnTo>
                    <a:pt x="129" y="27"/>
                  </a:lnTo>
                  <a:lnTo>
                    <a:pt x="132" y="25"/>
                  </a:lnTo>
                  <a:lnTo>
                    <a:pt x="131" y="22"/>
                  </a:lnTo>
                  <a:lnTo>
                    <a:pt x="128" y="21"/>
                  </a:lnTo>
                  <a:lnTo>
                    <a:pt x="127" y="1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4" name="Freeform 983"/>
            <p:cNvSpPr>
              <a:spLocks/>
            </p:cNvSpPr>
            <p:nvPr/>
          </p:nvSpPr>
          <p:spPr bwMode="auto">
            <a:xfrm>
              <a:off x="1333500" y="1636714"/>
              <a:ext cx="26988" cy="28575"/>
            </a:xfrm>
            <a:custGeom>
              <a:avLst/>
              <a:gdLst>
                <a:gd name="T0" fmla="*/ 2147483647 w 18"/>
                <a:gd name="T1" fmla="*/ 2147483647 h 18"/>
                <a:gd name="T2" fmla="*/ 2147483647 w 18"/>
                <a:gd name="T3" fmla="*/ 2147483647 h 18"/>
                <a:gd name="T4" fmla="*/ 2147483647 w 18"/>
                <a:gd name="T5" fmla="*/ 2147483647 h 18"/>
                <a:gd name="T6" fmla="*/ 0 w 18"/>
                <a:gd name="T7" fmla="*/ 2147483647 h 18"/>
                <a:gd name="T8" fmla="*/ 0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2147483647 h 18"/>
                <a:gd name="T36" fmla="*/ 2147483647 w 18"/>
                <a:gd name="T37" fmla="*/ 0 h 18"/>
                <a:gd name="T38" fmla="*/ 2147483647 w 18"/>
                <a:gd name="T39" fmla="*/ 2147483647 h 18"/>
                <a:gd name="T40" fmla="*/ 2147483647 w 18"/>
                <a:gd name="T41" fmla="*/ 2147483647 h 18"/>
                <a:gd name="T42" fmla="*/ 2147483647 w 18"/>
                <a:gd name="T43" fmla="*/ 2147483647 h 18"/>
                <a:gd name="T44" fmla="*/ 2147483647 w 18"/>
                <a:gd name="T45" fmla="*/ 2147483647 h 18"/>
                <a:gd name="T46" fmla="*/ 2147483647 w 18"/>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
                <a:gd name="T73" fmla="*/ 0 h 18"/>
                <a:gd name="T74" fmla="*/ 18 w 18"/>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 h="18">
                  <a:moveTo>
                    <a:pt x="9" y="5"/>
                  </a:moveTo>
                  <a:lnTo>
                    <a:pt x="9" y="5"/>
                  </a:lnTo>
                  <a:lnTo>
                    <a:pt x="3" y="8"/>
                  </a:lnTo>
                  <a:lnTo>
                    <a:pt x="0" y="10"/>
                  </a:lnTo>
                  <a:lnTo>
                    <a:pt x="0" y="11"/>
                  </a:lnTo>
                  <a:lnTo>
                    <a:pt x="2" y="13"/>
                  </a:lnTo>
                  <a:lnTo>
                    <a:pt x="3" y="16"/>
                  </a:lnTo>
                  <a:lnTo>
                    <a:pt x="6" y="18"/>
                  </a:lnTo>
                  <a:lnTo>
                    <a:pt x="8" y="18"/>
                  </a:lnTo>
                  <a:lnTo>
                    <a:pt x="11" y="18"/>
                  </a:lnTo>
                  <a:lnTo>
                    <a:pt x="14" y="12"/>
                  </a:lnTo>
                  <a:lnTo>
                    <a:pt x="18" y="6"/>
                  </a:lnTo>
                  <a:lnTo>
                    <a:pt x="18" y="4"/>
                  </a:lnTo>
                  <a:lnTo>
                    <a:pt x="18" y="2"/>
                  </a:lnTo>
                  <a:lnTo>
                    <a:pt x="16" y="0"/>
                  </a:lnTo>
                  <a:lnTo>
                    <a:pt x="13" y="2"/>
                  </a:lnTo>
                  <a:lnTo>
                    <a:pt x="9"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5" name="Freeform 984"/>
            <p:cNvSpPr>
              <a:spLocks/>
            </p:cNvSpPr>
            <p:nvPr/>
          </p:nvSpPr>
          <p:spPr bwMode="auto">
            <a:xfrm>
              <a:off x="1216029" y="1538291"/>
              <a:ext cx="195263" cy="112712"/>
            </a:xfrm>
            <a:custGeom>
              <a:avLst/>
              <a:gdLst>
                <a:gd name="T0" fmla="*/ 2147483647 w 133"/>
                <a:gd name="T1" fmla="*/ 2147483647 h 71"/>
                <a:gd name="T2" fmla="*/ 2147483647 w 133"/>
                <a:gd name="T3" fmla="*/ 2147483647 h 71"/>
                <a:gd name="T4" fmla="*/ 2147483647 w 133"/>
                <a:gd name="T5" fmla="*/ 2147483647 h 71"/>
                <a:gd name="T6" fmla="*/ 2147483647 w 133"/>
                <a:gd name="T7" fmla="*/ 2147483647 h 71"/>
                <a:gd name="T8" fmla="*/ 2147483647 w 133"/>
                <a:gd name="T9" fmla="*/ 2147483647 h 71"/>
                <a:gd name="T10" fmla="*/ 2147483647 w 133"/>
                <a:gd name="T11" fmla="*/ 2147483647 h 71"/>
                <a:gd name="T12" fmla="*/ 2147483647 w 133"/>
                <a:gd name="T13" fmla="*/ 2147483647 h 71"/>
                <a:gd name="T14" fmla="*/ 2147483647 w 133"/>
                <a:gd name="T15" fmla="*/ 2147483647 h 71"/>
                <a:gd name="T16" fmla="*/ 2147483647 w 133"/>
                <a:gd name="T17" fmla="*/ 2147483647 h 71"/>
                <a:gd name="T18" fmla="*/ 2147483647 w 133"/>
                <a:gd name="T19" fmla="*/ 2147483647 h 71"/>
                <a:gd name="T20" fmla="*/ 2147483647 w 133"/>
                <a:gd name="T21" fmla="*/ 2147483647 h 71"/>
                <a:gd name="T22" fmla="*/ 2147483647 w 133"/>
                <a:gd name="T23" fmla="*/ 2147483647 h 71"/>
                <a:gd name="T24" fmla="*/ 2147483647 w 133"/>
                <a:gd name="T25" fmla="*/ 2147483647 h 71"/>
                <a:gd name="T26" fmla="*/ 2147483647 w 133"/>
                <a:gd name="T27" fmla="*/ 2147483647 h 71"/>
                <a:gd name="T28" fmla="*/ 2147483647 w 133"/>
                <a:gd name="T29" fmla="*/ 2147483647 h 71"/>
                <a:gd name="T30" fmla="*/ 2147483647 w 133"/>
                <a:gd name="T31" fmla="*/ 2147483647 h 71"/>
                <a:gd name="T32" fmla="*/ 2147483647 w 133"/>
                <a:gd name="T33" fmla="*/ 2147483647 h 71"/>
                <a:gd name="T34" fmla="*/ 2147483647 w 133"/>
                <a:gd name="T35" fmla="*/ 2147483647 h 71"/>
                <a:gd name="T36" fmla="*/ 2147483647 w 133"/>
                <a:gd name="T37" fmla="*/ 2147483647 h 71"/>
                <a:gd name="T38" fmla="*/ 2147483647 w 133"/>
                <a:gd name="T39" fmla="*/ 2147483647 h 71"/>
                <a:gd name="T40" fmla="*/ 2147483647 w 133"/>
                <a:gd name="T41" fmla="*/ 2147483647 h 71"/>
                <a:gd name="T42" fmla="*/ 2147483647 w 133"/>
                <a:gd name="T43" fmla="*/ 2147483647 h 71"/>
                <a:gd name="T44" fmla="*/ 2147483647 w 133"/>
                <a:gd name="T45" fmla="*/ 2147483647 h 71"/>
                <a:gd name="T46" fmla="*/ 2147483647 w 133"/>
                <a:gd name="T47" fmla="*/ 2147483647 h 71"/>
                <a:gd name="T48" fmla="*/ 2147483647 w 133"/>
                <a:gd name="T49" fmla="*/ 2147483647 h 71"/>
                <a:gd name="T50" fmla="*/ 2147483647 w 133"/>
                <a:gd name="T51" fmla="*/ 2147483647 h 71"/>
                <a:gd name="T52" fmla="*/ 2147483647 w 133"/>
                <a:gd name="T53" fmla="*/ 2147483647 h 71"/>
                <a:gd name="T54" fmla="*/ 2147483647 w 133"/>
                <a:gd name="T55" fmla="*/ 2147483647 h 71"/>
                <a:gd name="T56" fmla="*/ 2147483647 w 133"/>
                <a:gd name="T57" fmla="*/ 2147483647 h 71"/>
                <a:gd name="T58" fmla="*/ 2147483647 w 133"/>
                <a:gd name="T59" fmla="*/ 2147483647 h 71"/>
                <a:gd name="T60" fmla="*/ 2147483647 w 133"/>
                <a:gd name="T61" fmla="*/ 2147483647 h 71"/>
                <a:gd name="T62" fmla="*/ 2147483647 w 133"/>
                <a:gd name="T63" fmla="*/ 2147483647 h 71"/>
                <a:gd name="T64" fmla="*/ 2147483647 w 133"/>
                <a:gd name="T65" fmla="*/ 2147483647 h 71"/>
                <a:gd name="T66" fmla="*/ 2147483647 w 133"/>
                <a:gd name="T67" fmla="*/ 2147483647 h 71"/>
                <a:gd name="T68" fmla="*/ 2147483647 w 133"/>
                <a:gd name="T69" fmla="*/ 2147483647 h 71"/>
                <a:gd name="T70" fmla="*/ 2147483647 w 133"/>
                <a:gd name="T71" fmla="*/ 2147483647 h 71"/>
                <a:gd name="T72" fmla="*/ 2147483647 w 133"/>
                <a:gd name="T73" fmla="*/ 2147483647 h 71"/>
                <a:gd name="T74" fmla="*/ 2147483647 w 133"/>
                <a:gd name="T75" fmla="*/ 2147483647 h 71"/>
                <a:gd name="T76" fmla="*/ 2147483647 w 133"/>
                <a:gd name="T77" fmla="*/ 2147483647 h 71"/>
                <a:gd name="T78" fmla="*/ 2147483647 w 133"/>
                <a:gd name="T79" fmla="*/ 2147483647 h 71"/>
                <a:gd name="T80" fmla="*/ 2147483647 w 133"/>
                <a:gd name="T81" fmla="*/ 2147483647 h 71"/>
                <a:gd name="T82" fmla="*/ 2147483647 w 133"/>
                <a:gd name="T83" fmla="*/ 2147483647 h 71"/>
                <a:gd name="T84" fmla="*/ 2147483647 w 133"/>
                <a:gd name="T85" fmla="*/ 2147483647 h 71"/>
                <a:gd name="T86" fmla="*/ 2147483647 w 133"/>
                <a:gd name="T87" fmla="*/ 2147483647 h 71"/>
                <a:gd name="T88" fmla="*/ 2147483647 w 133"/>
                <a:gd name="T89" fmla="*/ 2147483647 h 71"/>
                <a:gd name="T90" fmla="*/ 2147483647 w 133"/>
                <a:gd name="T91" fmla="*/ 2147483647 h 71"/>
                <a:gd name="T92" fmla="*/ 2147483647 w 133"/>
                <a:gd name="T93" fmla="*/ 2147483647 h 71"/>
                <a:gd name="T94" fmla="*/ 2147483647 w 133"/>
                <a:gd name="T95" fmla="*/ 2147483647 h 71"/>
                <a:gd name="T96" fmla="*/ 2147483647 w 133"/>
                <a:gd name="T97" fmla="*/ 2147483647 h 71"/>
                <a:gd name="T98" fmla="*/ 2147483647 w 133"/>
                <a:gd name="T99" fmla="*/ 2147483647 h 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3"/>
                <a:gd name="T151" fmla="*/ 0 h 71"/>
                <a:gd name="T152" fmla="*/ 133 w 133"/>
                <a:gd name="T153" fmla="*/ 71 h 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3" h="71">
                  <a:moveTo>
                    <a:pt x="127" y="19"/>
                  </a:moveTo>
                  <a:lnTo>
                    <a:pt x="127" y="19"/>
                  </a:lnTo>
                  <a:lnTo>
                    <a:pt x="126" y="11"/>
                  </a:lnTo>
                  <a:lnTo>
                    <a:pt x="124" y="6"/>
                  </a:lnTo>
                  <a:lnTo>
                    <a:pt x="122" y="3"/>
                  </a:lnTo>
                  <a:lnTo>
                    <a:pt x="120" y="1"/>
                  </a:lnTo>
                  <a:lnTo>
                    <a:pt x="117" y="0"/>
                  </a:lnTo>
                  <a:lnTo>
                    <a:pt x="115" y="1"/>
                  </a:lnTo>
                  <a:lnTo>
                    <a:pt x="115" y="2"/>
                  </a:lnTo>
                  <a:lnTo>
                    <a:pt x="116" y="4"/>
                  </a:lnTo>
                  <a:lnTo>
                    <a:pt x="117" y="7"/>
                  </a:lnTo>
                  <a:lnTo>
                    <a:pt x="117" y="9"/>
                  </a:lnTo>
                  <a:lnTo>
                    <a:pt x="116" y="10"/>
                  </a:lnTo>
                  <a:lnTo>
                    <a:pt x="112" y="10"/>
                  </a:lnTo>
                  <a:lnTo>
                    <a:pt x="111" y="9"/>
                  </a:lnTo>
                  <a:lnTo>
                    <a:pt x="110" y="7"/>
                  </a:lnTo>
                  <a:lnTo>
                    <a:pt x="107" y="4"/>
                  </a:lnTo>
                  <a:lnTo>
                    <a:pt x="105" y="4"/>
                  </a:lnTo>
                  <a:lnTo>
                    <a:pt x="102" y="4"/>
                  </a:lnTo>
                  <a:lnTo>
                    <a:pt x="101" y="7"/>
                  </a:lnTo>
                  <a:lnTo>
                    <a:pt x="100" y="8"/>
                  </a:lnTo>
                  <a:lnTo>
                    <a:pt x="100" y="10"/>
                  </a:lnTo>
                  <a:lnTo>
                    <a:pt x="98" y="11"/>
                  </a:lnTo>
                  <a:lnTo>
                    <a:pt x="93" y="11"/>
                  </a:lnTo>
                  <a:lnTo>
                    <a:pt x="88" y="10"/>
                  </a:lnTo>
                  <a:lnTo>
                    <a:pt x="83" y="9"/>
                  </a:lnTo>
                  <a:lnTo>
                    <a:pt x="80" y="10"/>
                  </a:lnTo>
                  <a:lnTo>
                    <a:pt x="78" y="11"/>
                  </a:lnTo>
                  <a:lnTo>
                    <a:pt x="77" y="14"/>
                  </a:lnTo>
                  <a:lnTo>
                    <a:pt x="69" y="17"/>
                  </a:lnTo>
                  <a:lnTo>
                    <a:pt x="63" y="21"/>
                  </a:lnTo>
                  <a:lnTo>
                    <a:pt x="56" y="24"/>
                  </a:lnTo>
                  <a:lnTo>
                    <a:pt x="55" y="27"/>
                  </a:lnTo>
                  <a:lnTo>
                    <a:pt x="54" y="30"/>
                  </a:lnTo>
                  <a:lnTo>
                    <a:pt x="51" y="33"/>
                  </a:lnTo>
                  <a:lnTo>
                    <a:pt x="47" y="33"/>
                  </a:lnTo>
                  <a:lnTo>
                    <a:pt x="46" y="33"/>
                  </a:lnTo>
                  <a:lnTo>
                    <a:pt x="45" y="34"/>
                  </a:lnTo>
                  <a:lnTo>
                    <a:pt x="39" y="39"/>
                  </a:lnTo>
                  <a:lnTo>
                    <a:pt x="35" y="41"/>
                  </a:lnTo>
                  <a:lnTo>
                    <a:pt x="30" y="42"/>
                  </a:lnTo>
                  <a:lnTo>
                    <a:pt x="28" y="43"/>
                  </a:lnTo>
                  <a:lnTo>
                    <a:pt x="28" y="45"/>
                  </a:lnTo>
                  <a:lnTo>
                    <a:pt x="27" y="47"/>
                  </a:lnTo>
                  <a:lnTo>
                    <a:pt x="26" y="48"/>
                  </a:lnTo>
                  <a:lnTo>
                    <a:pt x="20" y="48"/>
                  </a:lnTo>
                  <a:lnTo>
                    <a:pt x="14" y="48"/>
                  </a:lnTo>
                  <a:lnTo>
                    <a:pt x="9" y="48"/>
                  </a:lnTo>
                  <a:lnTo>
                    <a:pt x="6" y="51"/>
                  </a:lnTo>
                  <a:lnTo>
                    <a:pt x="2" y="54"/>
                  </a:lnTo>
                  <a:lnTo>
                    <a:pt x="0" y="56"/>
                  </a:lnTo>
                  <a:lnTo>
                    <a:pt x="3" y="58"/>
                  </a:lnTo>
                  <a:lnTo>
                    <a:pt x="6" y="59"/>
                  </a:lnTo>
                  <a:lnTo>
                    <a:pt x="8" y="59"/>
                  </a:lnTo>
                  <a:lnTo>
                    <a:pt x="9" y="60"/>
                  </a:lnTo>
                  <a:lnTo>
                    <a:pt x="9" y="64"/>
                  </a:lnTo>
                  <a:lnTo>
                    <a:pt x="9" y="68"/>
                  </a:lnTo>
                  <a:lnTo>
                    <a:pt x="9" y="70"/>
                  </a:lnTo>
                  <a:lnTo>
                    <a:pt x="11" y="71"/>
                  </a:lnTo>
                  <a:lnTo>
                    <a:pt x="13" y="71"/>
                  </a:lnTo>
                  <a:lnTo>
                    <a:pt x="14" y="71"/>
                  </a:lnTo>
                  <a:lnTo>
                    <a:pt x="22" y="67"/>
                  </a:lnTo>
                  <a:lnTo>
                    <a:pt x="25" y="66"/>
                  </a:lnTo>
                  <a:lnTo>
                    <a:pt x="28" y="66"/>
                  </a:lnTo>
                  <a:lnTo>
                    <a:pt x="33" y="68"/>
                  </a:lnTo>
                  <a:lnTo>
                    <a:pt x="36" y="68"/>
                  </a:lnTo>
                  <a:lnTo>
                    <a:pt x="39" y="67"/>
                  </a:lnTo>
                  <a:lnTo>
                    <a:pt x="39" y="65"/>
                  </a:lnTo>
                  <a:lnTo>
                    <a:pt x="40" y="62"/>
                  </a:lnTo>
                  <a:lnTo>
                    <a:pt x="39" y="60"/>
                  </a:lnTo>
                  <a:lnTo>
                    <a:pt x="40" y="58"/>
                  </a:lnTo>
                  <a:lnTo>
                    <a:pt x="42" y="58"/>
                  </a:lnTo>
                  <a:lnTo>
                    <a:pt x="44" y="58"/>
                  </a:lnTo>
                  <a:lnTo>
                    <a:pt x="46" y="55"/>
                  </a:lnTo>
                  <a:lnTo>
                    <a:pt x="49" y="52"/>
                  </a:lnTo>
                  <a:lnTo>
                    <a:pt x="51" y="48"/>
                  </a:lnTo>
                  <a:lnTo>
                    <a:pt x="53" y="49"/>
                  </a:lnTo>
                  <a:lnTo>
                    <a:pt x="53" y="52"/>
                  </a:lnTo>
                  <a:lnTo>
                    <a:pt x="53" y="58"/>
                  </a:lnTo>
                  <a:lnTo>
                    <a:pt x="54" y="64"/>
                  </a:lnTo>
                  <a:lnTo>
                    <a:pt x="56" y="66"/>
                  </a:lnTo>
                  <a:lnTo>
                    <a:pt x="59" y="68"/>
                  </a:lnTo>
                  <a:lnTo>
                    <a:pt x="61" y="70"/>
                  </a:lnTo>
                  <a:lnTo>
                    <a:pt x="65" y="70"/>
                  </a:lnTo>
                  <a:lnTo>
                    <a:pt x="68" y="70"/>
                  </a:lnTo>
                  <a:lnTo>
                    <a:pt x="69" y="68"/>
                  </a:lnTo>
                  <a:lnTo>
                    <a:pt x="72" y="66"/>
                  </a:lnTo>
                  <a:lnTo>
                    <a:pt x="72" y="64"/>
                  </a:lnTo>
                  <a:lnTo>
                    <a:pt x="70" y="60"/>
                  </a:lnTo>
                  <a:lnTo>
                    <a:pt x="70" y="58"/>
                  </a:lnTo>
                  <a:lnTo>
                    <a:pt x="70" y="56"/>
                  </a:lnTo>
                  <a:lnTo>
                    <a:pt x="84" y="41"/>
                  </a:lnTo>
                  <a:lnTo>
                    <a:pt x="98" y="27"/>
                  </a:lnTo>
                  <a:lnTo>
                    <a:pt x="100" y="29"/>
                  </a:lnTo>
                  <a:lnTo>
                    <a:pt x="100" y="33"/>
                  </a:lnTo>
                  <a:lnTo>
                    <a:pt x="97" y="38"/>
                  </a:lnTo>
                  <a:lnTo>
                    <a:pt x="97" y="42"/>
                  </a:lnTo>
                  <a:lnTo>
                    <a:pt x="98" y="53"/>
                  </a:lnTo>
                  <a:lnTo>
                    <a:pt x="100" y="55"/>
                  </a:lnTo>
                  <a:lnTo>
                    <a:pt x="101" y="56"/>
                  </a:lnTo>
                  <a:lnTo>
                    <a:pt x="103" y="58"/>
                  </a:lnTo>
                  <a:lnTo>
                    <a:pt x="105" y="56"/>
                  </a:lnTo>
                  <a:lnTo>
                    <a:pt x="107" y="52"/>
                  </a:lnTo>
                  <a:lnTo>
                    <a:pt x="112" y="48"/>
                  </a:lnTo>
                  <a:lnTo>
                    <a:pt x="117" y="45"/>
                  </a:lnTo>
                  <a:lnTo>
                    <a:pt x="122" y="40"/>
                  </a:lnTo>
                  <a:lnTo>
                    <a:pt x="122" y="39"/>
                  </a:lnTo>
                  <a:lnTo>
                    <a:pt x="122" y="35"/>
                  </a:lnTo>
                  <a:lnTo>
                    <a:pt x="122" y="36"/>
                  </a:lnTo>
                  <a:lnTo>
                    <a:pt x="122" y="33"/>
                  </a:lnTo>
                  <a:lnTo>
                    <a:pt x="125" y="30"/>
                  </a:lnTo>
                  <a:lnTo>
                    <a:pt x="130" y="27"/>
                  </a:lnTo>
                  <a:lnTo>
                    <a:pt x="133" y="24"/>
                  </a:lnTo>
                  <a:lnTo>
                    <a:pt x="131" y="22"/>
                  </a:lnTo>
                  <a:lnTo>
                    <a:pt x="129" y="21"/>
                  </a:lnTo>
                  <a:lnTo>
                    <a:pt x="127" y="1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6" name="Freeform 985"/>
            <p:cNvSpPr>
              <a:spLocks/>
            </p:cNvSpPr>
            <p:nvPr/>
          </p:nvSpPr>
          <p:spPr bwMode="auto">
            <a:xfrm>
              <a:off x="1647828" y="1755775"/>
              <a:ext cx="55563" cy="39688"/>
            </a:xfrm>
            <a:custGeom>
              <a:avLst/>
              <a:gdLst>
                <a:gd name="T0" fmla="*/ 2147483647 w 38"/>
                <a:gd name="T1" fmla="*/ 2147483647 h 25"/>
                <a:gd name="T2" fmla="*/ 2147483647 w 38"/>
                <a:gd name="T3" fmla="*/ 2147483647 h 25"/>
                <a:gd name="T4" fmla="*/ 2147483647 w 38"/>
                <a:gd name="T5" fmla="*/ 2147483647 h 25"/>
                <a:gd name="T6" fmla="*/ 2147483647 w 38"/>
                <a:gd name="T7" fmla="*/ 2147483647 h 25"/>
                <a:gd name="T8" fmla="*/ 2147483647 w 38"/>
                <a:gd name="T9" fmla="*/ 2147483647 h 25"/>
                <a:gd name="T10" fmla="*/ 2147483647 w 38"/>
                <a:gd name="T11" fmla="*/ 2147483647 h 25"/>
                <a:gd name="T12" fmla="*/ 2147483647 w 38"/>
                <a:gd name="T13" fmla="*/ 0 h 25"/>
                <a:gd name="T14" fmla="*/ 2147483647 w 38"/>
                <a:gd name="T15" fmla="*/ 0 h 25"/>
                <a:gd name="T16" fmla="*/ 2147483647 w 38"/>
                <a:gd name="T17" fmla="*/ 0 h 25"/>
                <a:gd name="T18" fmla="*/ 2147483647 w 38"/>
                <a:gd name="T19" fmla="*/ 0 h 25"/>
                <a:gd name="T20" fmla="*/ 0 w 38"/>
                <a:gd name="T21" fmla="*/ 2147483647 h 25"/>
                <a:gd name="T22" fmla="*/ 0 w 38"/>
                <a:gd name="T23" fmla="*/ 2147483647 h 25"/>
                <a:gd name="T24" fmla="*/ 2147483647 w 38"/>
                <a:gd name="T25" fmla="*/ 2147483647 h 25"/>
                <a:gd name="T26" fmla="*/ 2147483647 w 38"/>
                <a:gd name="T27" fmla="*/ 2147483647 h 25"/>
                <a:gd name="T28" fmla="*/ 2147483647 w 38"/>
                <a:gd name="T29" fmla="*/ 2147483647 h 25"/>
                <a:gd name="T30" fmla="*/ 2147483647 w 38"/>
                <a:gd name="T31" fmla="*/ 2147483647 h 25"/>
                <a:gd name="T32" fmla="*/ 2147483647 w 38"/>
                <a:gd name="T33" fmla="*/ 2147483647 h 25"/>
                <a:gd name="T34" fmla="*/ 2147483647 w 38"/>
                <a:gd name="T35" fmla="*/ 2147483647 h 25"/>
                <a:gd name="T36" fmla="*/ 2147483647 w 38"/>
                <a:gd name="T37" fmla="*/ 2147483647 h 25"/>
                <a:gd name="T38" fmla="*/ 2147483647 w 38"/>
                <a:gd name="T39" fmla="*/ 2147483647 h 25"/>
                <a:gd name="T40" fmla="*/ 2147483647 w 38"/>
                <a:gd name="T41" fmla="*/ 2147483647 h 25"/>
                <a:gd name="T42" fmla="*/ 2147483647 w 38"/>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25"/>
                <a:gd name="T68" fmla="*/ 38 w 38"/>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25">
                  <a:moveTo>
                    <a:pt x="32" y="16"/>
                  </a:moveTo>
                  <a:lnTo>
                    <a:pt x="34" y="11"/>
                  </a:lnTo>
                  <a:lnTo>
                    <a:pt x="37" y="7"/>
                  </a:lnTo>
                  <a:lnTo>
                    <a:pt x="38" y="6"/>
                  </a:lnTo>
                  <a:lnTo>
                    <a:pt x="37" y="5"/>
                  </a:lnTo>
                  <a:lnTo>
                    <a:pt x="33" y="2"/>
                  </a:lnTo>
                  <a:lnTo>
                    <a:pt x="29" y="0"/>
                  </a:lnTo>
                  <a:lnTo>
                    <a:pt x="24" y="0"/>
                  </a:lnTo>
                  <a:lnTo>
                    <a:pt x="20" y="0"/>
                  </a:lnTo>
                  <a:lnTo>
                    <a:pt x="10" y="0"/>
                  </a:lnTo>
                  <a:lnTo>
                    <a:pt x="0" y="1"/>
                  </a:lnTo>
                  <a:lnTo>
                    <a:pt x="0" y="4"/>
                  </a:lnTo>
                  <a:lnTo>
                    <a:pt x="1" y="5"/>
                  </a:lnTo>
                  <a:lnTo>
                    <a:pt x="5" y="6"/>
                  </a:lnTo>
                  <a:lnTo>
                    <a:pt x="9" y="8"/>
                  </a:lnTo>
                  <a:lnTo>
                    <a:pt x="14" y="13"/>
                  </a:lnTo>
                  <a:lnTo>
                    <a:pt x="19" y="19"/>
                  </a:lnTo>
                  <a:lnTo>
                    <a:pt x="24" y="24"/>
                  </a:lnTo>
                  <a:lnTo>
                    <a:pt x="25" y="25"/>
                  </a:lnTo>
                  <a:lnTo>
                    <a:pt x="26" y="24"/>
                  </a:lnTo>
                  <a:lnTo>
                    <a:pt x="28" y="21"/>
                  </a:lnTo>
                  <a:lnTo>
                    <a:pt x="32"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7" name="Freeform 986"/>
            <p:cNvSpPr>
              <a:spLocks/>
            </p:cNvSpPr>
            <p:nvPr/>
          </p:nvSpPr>
          <p:spPr bwMode="auto">
            <a:xfrm>
              <a:off x="2152651" y="2109789"/>
              <a:ext cx="179388" cy="133350"/>
            </a:xfrm>
            <a:custGeom>
              <a:avLst/>
              <a:gdLst>
                <a:gd name="T0" fmla="*/ 2147483647 w 122"/>
                <a:gd name="T1" fmla="*/ 2147483647 h 84"/>
                <a:gd name="T2" fmla="*/ 2147483647 w 122"/>
                <a:gd name="T3" fmla="*/ 2147483647 h 84"/>
                <a:gd name="T4" fmla="*/ 2147483647 w 122"/>
                <a:gd name="T5" fmla="*/ 2147483647 h 84"/>
                <a:gd name="T6" fmla="*/ 2147483647 w 122"/>
                <a:gd name="T7" fmla="*/ 2147483647 h 84"/>
                <a:gd name="T8" fmla="*/ 2147483647 w 122"/>
                <a:gd name="T9" fmla="*/ 2147483647 h 84"/>
                <a:gd name="T10" fmla="*/ 2147483647 w 122"/>
                <a:gd name="T11" fmla="*/ 2147483647 h 84"/>
                <a:gd name="T12" fmla="*/ 2147483647 w 122"/>
                <a:gd name="T13" fmla="*/ 2147483647 h 84"/>
                <a:gd name="T14" fmla="*/ 2147483647 w 122"/>
                <a:gd name="T15" fmla="*/ 2147483647 h 84"/>
                <a:gd name="T16" fmla="*/ 2147483647 w 122"/>
                <a:gd name="T17" fmla="*/ 2147483647 h 84"/>
                <a:gd name="T18" fmla="*/ 2147483647 w 122"/>
                <a:gd name="T19" fmla="*/ 2147483647 h 84"/>
                <a:gd name="T20" fmla="*/ 2147483647 w 122"/>
                <a:gd name="T21" fmla="*/ 2147483647 h 84"/>
                <a:gd name="T22" fmla="*/ 2147483647 w 122"/>
                <a:gd name="T23" fmla="*/ 0 h 84"/>
                <a:gd name="T24" fmla="*/ 2147483647 w 122"/>
                <a:gd name="T25" fmla="*/ 2147483647 h 84"/>
                <a:gd name="T26" fmla="*/ 2147483647 w 122"/>
                <a:gd name="T27" fmla="*/ 2147483647 h 84"/>
                <a:gd name="T28" fmla="*/ 2147483647 w 122"/>
                <a:gd name="T29" fmla="*/ 2147483647 h 84"/>
                <a:gd name="T30" fmla="*/ 2147483647 w 122"/>
                <a:gd name="T31" fmla="*/ 2147483647 h 84"/>
                <a:gd name="T32" fmla="*/ 0 w 122"/>
                <a:gd name="T33" fmla="*/ 2147483647 h 84"/>
                <a:gd name="T34" fmla="*/ 2147483647 w 122"/>
                <a:gd name="T35" fmla="*/ 2147483647 h 84"/>
                <a:gd name="T36" fmla="*/ 2147483647 w 122"/>
                <a:gd name="T37" fmla="*/ 2147483647 h 84"/>
                <a:gd name="T38" fmla="*/ 2147483647 w 122"/>
                <a:gd name="T39" fmla="*/ 2147483647 h 84"/>
                <a:gd name="T40" fmla="*/ 2147483647 w 122"/>
                <a:gd name="T41" fmla="*/ 2147483647 h 84"/>
                <a:gd name="T42" fmla="*/ 2147483647 w 122"/>
                <a:gd name="T43" fmla="*/ 2147483647 h 84"/>
                <a:gd name="T44" fmla="*/ 2147483647 w 122"/>
                <a:gd name="T45" fmla="*/ 2147483647 h 84"/>
                <a:gd name="T46" fmla="*/ 2147483647 w 122"/>
                <a:gd name="T47" fmla="*/ 2147483647 h 84"/>
                <a:gd name="T48" fmla="*/ 2147483647 w 122"/>
                <a:gd name="T49" fmla="*/ 2147483647 h 84"/>
                <a:gd name="T50" fmla="*/ 2147483647 w 122"/>
                <a:gd name="T51" fmla="*/ 2147483647 h 84"/>
                <a:gd name="T52" fmla="*/ 2147483647 w 122"/>
                <a:gd name="T53" fmla="*/ 2147483647 h 84"/>
                <a:gd name="T54" fmla="*/ 2147483647 w 122"/>
                <a:gd name="T55" fmla="*/ 2147483647 h 84"/>
                <a:gd name="T56" fmla="*/ 2147483647 w 122"/>
                <a:gd name="T57" fmla="*/ 2147483647 h 84"/>
                <a:gd name="T58" fmla="*/ 2147483647 w 122"/>
                <a:gd name="T59" fmla="*/ 2147483647 h 84"/>
                <a:gd name="T60" fmla="*/ 2147483647 w 122"/>
                <a:gd name="T61" fmla="*/ 2147483647 h 84"/>
                <a:gd name="T62" fmla="*/ 2147483647 w 122"/>
                <a:gd name="T63" fmla="*/ 2147483647 h 84"/>
                <a:gd name="T64" fmla="*/ 2147483647 w 122"/>
                <a:gd name="T65" fmla="*/ 2147483647 h 84"/>
                <a:gd name="T66" fmla="*/ 2147483647 w 122"/>
                <a:gd name="T67" fmla="*/ 2147483647 h 84"/>
                <a:gd name="T68" fmla="*/ 2147483647 w 122"/>
                <a:gd name="T69" fmla="*/ 2147483647 h 84"/>
                <a:gd name="T70" fmla="*/ 2147483647 w 122"/>
                <a:gd name="T71" fmla="*/ 2147483647 h 84"/>
                <a:gd name="T72" fmla="*/ 2147483647 w 122"/>
                <a:gd name="T73" fmla="*/ 2147483647 h 84"/>
                <a:gd name="T74" fmla="*/ 2147483647 w 122"/>
                <a:gd name="T75" fmla="*/ 2147483647 h 84"/>
                <a:gd name="T76" fmla="*/ 2147483647 w 122"/>
                <a:gd name="T77" fmla="*/ 2147483647 h 84"/>
                <a:gd name="T78" fmla="*/ 2147483647 w 122"/>
                <a:gd name="T79" fmla="*/ 2147483647 h 84"/>
                <a:gd name="T80" fmla="*/ 2147483647 w 122"/>
                <a:gd name="T81" fmla="*/ 2147483647 h 84"/>
                <a:gd name="T82" fmla="*/ 2147483647 w 122"/>
                <a:gd name="T83" fmla="*/ 2147483647 h 84"/>
                <a:gd name="T84" fmla="*/ 2147483647 w 122"/>
                <a:gd name="T85" fmla="*/ 2147483647 h 84"/>
                <a:gd name="T86" fmla="*/ 2147483647 w 122"/>
                <a:gd name="T87" fmla="*/ 2147483647 h 84"/>
                <a:gd name="T88" fmla="*/ 2147483647 w 122"/>
                <a:gd name="T89" fmla="*/ 2147483647 h 84"/>
                <a:gd name="T90" fmla="*/ 2147483647 w 122"/>
                <a:gd name="T91" fmla="*/ 2147483647 h 84"/>
                <a:gd name="T92" fmla="*/ 2147483647 w 122"/>
                <a:gd name="T93" fmla="*/ 2147483647 h 84"/>
                <a:gd name="T94" fmla="*/ 2147483647 w 122"/>
                <a:gd name="T95" fmla="*/ 2147483647 h 84"/>
                <a:gd name="T96" fmla="*/ 2147483647 w 122"/>
                <a:gd name="T97" fmla="*/ 2147483647 h 84"/>
                <a:gd name="T98" fmla="*/ 2147483647 w 122"/>
                <a:gd name="T99" fmla="*/ 2147483647 h 84"/>
                <a:gd name="T100" fmla="*/ 2147483647 w 122"/>
                <a:gd name="T101" fmla="*/ 2147483647 h 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
                <a:gd name="T154" fmla="*/ 0 h 84"/>
                <a:gd name="T155" fmla="*/ 122 w 122"/>
                <a:gd name="T156" fmla="*/ 84 h 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 h="84">
                  <a:moveTo>
                    <a:pt x="69" y="26"/>
                  </a:moveTo>
                  <a:lnTo>
                    <a:pt x="65" y="25"/>
                  </a:lnTo>
                  <a:lnTo>
                    <a:pt x="62" y="26"/>
                  </a:lnTo>
                  <a:lnTo>
                    <a:pt x="60" y="27"/>
                  </a:lnTo>
                  <a:lnTo>
                    <a:pt x="56" y="26"/>
                  </a:lnTo>
                  <a:lnTo>
                    <a:pt x="54" y="25"/>
                  </a:lnTo>
                  <a:lnTo>
                    <a:pt x="52" y="23"/>
                  </a:lnTo>
                  <a:lnTo>
                    <a:pt x="48" y="18"/>
                  </a:lnTo>
                  <a:lnTo>
                    <a:pt x="47" y="18"/>
                  </a:lnTo>
                  <a:lnTo>
                    <a:pt x="46" y="18"/>
                  </a:lnTo>
                  <a:lnTo>
                    <a:pt x="42" y="20"/>
                  </a:lnTo>
                  <a:lnTo>
                    <a:pt x="41" y="21"/>
                  </a:lnTo>
                  <a:lnTo>
                    <a:pt x="38" y="23"/>
                  </a:lnTo>
                  <a:lnTo>
                    <a:pt x="36" y="21"/>
                  </a:lnTo>
                  <a:lnTo>
                    <a:pt x="34" y="19"/>
                  </a:lnTo>
                  <a:lnTo>
                    <a:pt x="34" y="17"/>
                  </a:lnTo>
                  <a:lnTo>
                    <a:pt x="36" y="14"/>
                  </a:lnTo>
                  <a:lnTo>
                    <a:pt x="38" y="11"/>
                  </a:lnTo>
                  <a:lnTo>
                    <a:pt x="40" y="9"/>
                  </a:lnTo>
                  <a:lnTo>
                    <a:pt x="38" y="7"/>
                  </a:lnTo>
                  <a:lnTo>
                    <a:pt x="36" y="4"/>
                  </a:lnTo>
                  <a:lnTo>
                    <a:pt x="33" y="1"/>
                  </a:lnTo>
                  <a:lnTo>
                    <a:pt x="31" y="0"/>
                  </a:lnTo>
                  <a:lnTo>
                    <a:pt x="29" y="0"/>
                  </a:lnTo>
                  <a:lnTo>
                    <a:pt x="27" y="1"/>
                  </a:lnTo>
                  <a:lnTo>
                    <a:pt x="26" y="2"/>
                  </a:lnTo>
                  <a:lnTo>
                    <a:pt x="21" y="13"/>
                  </a:lnTo>
                  <a:lnTo>
                    <a:pt x="17" y="24"/>
                  </a:lnTo>
                  <a:lnTo>
                    <a:pt x="14" y="34"/>
                  </a:lnTo>
                  <a:lnTo>
                    <a:pt x="12" y="45"/>
                  </a:lnTo>
                  <a:lnTo>
                    <a:pt x="9" y="51"/>
                  </a:lnTo>
                  <a:lnTo>
                    <a:pt x="5" y="56"/>
                  </a:lnTo>
                  <a:lnTo>
                    <a:pt x="1" y="60"/>
                  </a:lnTo>
                  <a:lnTo>
                    <a:pt x="0" y="65"/>
                  </a:lnTo>
                  <a:lnTo>
                    <a:pt x="0" y="66"/>
                  </a:lnTo>
                  <a:lnTo>
                    <a:pt x="1" y="68"/>
                  </a:lnTo>
                  <a:lnTo>
                    <a:pt x="5" y="69"/>
                  </a:lnTo>
                  <a:lnTo>
                    <a:pt x="7" y="70"/>
                  </a:lnTo>
                  <a:lnTo>
                    <a:pt x="14" y="69"/>
                  </a:lnTo>
                  <a:lnTo>
                    <a:pt x="18" y="68"/>
                  </a:lnTo>
                  <a:lnTo>
                    <a:pt x="22" y="69"/>
                  </a:lnTo>
                  <a:lnTo>
                    <a:pt x="23" y="71"/>
                  </a:lnTo>
                  <a:lnTo>
                    <a:pt x="22" y="72"/>
                  </a:lnTo>
                  <a:lnTo>
                    <a:pt x="21" y="74"/>
                  </a:lnTo>
                  <a:lnTo>
                    <a:pt x="21" y="76"/>
                  </a:lnTo>
                  <a:lnTo>
                    <a:pt x="23" y="77"/>
                  </a:lnTo>
                  <a:lnTo>
                    <a:pt x="23" y="79"/>
                  </a:lnTo>
                  <a:lnTo>
                    <a:pt x="24" y="82"/>
                  </a:lnTo>
                  <a:lnTo>
                    <a:pt x="26" y="84"/>
                  </a:lnTo>
                  <a:lnTo>
                    <a:pt x="28" y="83"/>
                  </a:lnTo>
                  <a:lnTo>
                    <a:pt x="31" y="83"/>
                  </a:lnTo>
                  <a:lnTo>
                    <a:pt x="32" y="83"/>
                  </a:lnTo>
                  <a:lnTo>
                    <a:pt x="33" y="84"/>
                  </a:lnTo>
                  <a:lnTo>
                    <a:pt x="34" y="84"/>
                  </a:lnTo>
                  <a:lnTo>
                    <a:pt x="40" y="81"/>
                  </a:lnTo>
                  <a:lnTo>
                    <a:pt x="47" y="78"/>
                  </a:lnTo>
                  <a:lnTo>
                    <a:pt x="50" y="77"/>
                  </a:lnTo>
                  <a:lnTo>
                    <a:pt x="52" y="75"/>
                  </a:lnTo>
                  <a:lnTo>
                    <a:pt x="55" y="72"/>
                  </a:lnTo>
                  <a:lnTo>
                    <a:pt x="56" y="69"/>
                  </a:lnTo>
                  <a:lnTo>
                    <a:pt x="57" y="55"/>
                  </a:lnTo>
                  <a:lnTo>
                    <a:pt x="60" y="52"/>
                  </a:lnTo>
                  <a:lnTo>
                    <a:pt x="62" y="51"/>
                  </a:lnTo>
                  <a:lnTo>
                    <a:pt x="66" y="50"/>
                  </a:lnTo>
                  <a:lnTo>
                    <a:pt x="70" y="50"/>
                  </a:lnTo>
                  <a:lnTo>
                    <a:pt x="73" y="51"/>
                  </a:lnTo>
                  <a:lnTo>
                    <a:pt x="74" y="53"/>
                  </a:lnTo>
                  <a:lnTo>
                    <a:pt x="76" y="58"/>
                  </a:lnTo>
                  <a:lnTo>
                    <a:pt x="79" y="63"/>
                  </a:lnTo>
                  <a:lnTo>
                    <a:pt x="81" y="68"/>
                  </a:lnTo>
                  <a:lnTo>
                    <a:pt x="83" y="69"/>
                  </a:lnTo>
                  <a:lnTo>
                    <a:pt x="84" y="70"/>
                  </a:lnTo>
                  <a:lnTo>
                    <a:pt x="87" y="69"/>
                  </a:lnTo>
                  <a:lnTo>
                    <a:pt x="89" y="70"/>
                  </a:lnTo>
                  <a:lnTo>
                    <a:pt x="94" y="72"/>
                  </a:lnTo>
                  <a:lnTo>
                    <a:pt x="97" y="74"/>
                  </a:lnTo>
                  <a:lnTo>
                    <a:pt x="101" y="75"/>
                  </a:lnTo>
                  <a:lnTo>
                    <a:pt x="102" y="76"/>
                  </a:lnTo>
                  <a:lnTo>
                    <a:pt x="103" y="76"/>
                  </a:lnTo>
                  <a:lnTo>
                    <a:pt x="104" y="75"/>
                  </a:lnTo>
                  <a:lnTo>
                    <a:pt x="113" y="70"/>
                  </a:lnTo>
                  <a:lnTo>
                    <a:pt x="121" y="64"/>
                  </a:lnTo>
                  <a:lnTo>
                    <a:pt x="122" y="63"/>
                  </a:lnTo>
                  <a:lnTo>
                    <a:pt x="122" y="62"/>
                  </a:lnTo>
                  <a:lnTo>
                    <a:pt x="112" y="55"/>
                  </a:lnTo>
                  <a:lnTo>
                    <a:pt x="106" y="52"/>
                  </a:lnTo>
                  <a:lnTo>
                    <a:pt x="103" y="52"/>
                  </a:lnTo>
                  <a:lnTo>
                    <a:pt x="101" y="53"/>
                  </a:lnTo>
                  <a:lnTo>
                    <a:pt x="98" y="55"/>
                  </a:lnTo>
                  <a:lnTo>
                    <a:pt x="97" y="56"/>
                  </a:lnTo>
                  <a:lnTo>
                    <a:pt x="95" y="56"/>
                  </a:lnTo>
                  <a:lnTo>
                    <a:pt x="93" y="52"/>
                  </a:lnTo>
                  <a:lnTo>
                    <a:pt x="92" y="49"/>
                  </a:lnTo>
                  <a:lnTo>
                    <a:pt x="92" y="45"/>
                  </a:lnTo>
                  <a:lnTo>
                    <a:pt x="95" y="43"/>
                  </a:lnTo>
                  <a:lnTo>
                    <a:pt x="95" y="41"/>
                  </a:lnTo>
                  <a:lnTo>
                    <a:pt x="95" y="40"/>
                  </a:lnTo>
                  <a:lnTo>
                    <a:pt x="93" y="39"/>
                  </a:lnTo>
                  <a:lnTo>
                    <a:pt x="89" y="38"/>
                  </a:lnTo>
                  <a:lnTo>
                    <a:pt x="87" y="37"/>
                  </a:lnTo>
                  <a:lnTo>
                    <a:pt x="78" y="31"/>
                  </a:lnTo>
                  <a:lnTo>
                    <a:pt x="69"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8" name="Freeform 987"/>
            <p:cNvSpPr>
              <a:spLocks/>
            </p:cNvSpPr>
            <p:nvPr/>
          </p:nvSpPr>
          <p:spPr bwMode="auto">
            <a:xfrm>
              <a:off x="1646238" y="1754192"/>
              <a:ext cx="55562" cy="39687"/>
            </a:xfrm>
            <a:custGeom>
              <a:avLst/>
              <a:gdLst>
                <a:gd name="T0" fmla="*/ 2147483647 w 38"/>
                <a:gd name="T1" fmla="*/ 2147483647 h 25"/>
                <a:gd name="T2" fmla="*/ 2147483647 w 38"/>
                <a:gd name="T3" fmla="*/ 2147483647 h 25"/>
                <a:gd name="T4" fmla="*/ 2147483647 w 38"/>
                <a:gd name="T5" fmla="*/ 2147483647 h 25"/>
                <a:gd name="T6" fmla="*/ 2147483647 w 38"/>
                <a:gd name="T7" fmla="*/ 2147483647 h 25"/>
                <a:gd name="T8" fmla="*/ 2147483647 w 38"/>
                <a:gd name="T9" fmla="*/ 2147483647 h 25"/>
                <a:gd name="T10" fmla="*/ 2147483647 w 38"/>
                <a:gd name="T11" fmla="*/ 2147483647 h 25"/>
                <a:gd name="T12" fmla="*/ 2147483647 w 38"/>
                <a:gd name="T13" fmla="*/ 2147483647 h 25"/>
                <a:gd name="T14" fmla="*/ 2147483647 w 38"/>
                <a:gd name="T15" fmla="*/ 2147483647 h 25"/>
                <a:gd name="T16" fmla="*/ 2147483647 w 38"/>
                <a:gd name="T17" fmla="*/ 2147483647 h 25"/>
                <a:gd name="T18" fmla="*/ 2147483647 w 38"/>
                <a:gd name="T19" fmla="*/ 0 h 25"/>
                <a:gd name="T20" fmla="*/ 2147483647 w 38"/>
                <a:gd name="T21" fmla="*/ 0 h 25"/>
                <a:gd name="T22" fmla="*/ 2147483647 w 38"/>
                <a:gd name="T23" fmla="*/ 0 h 25"/>
                <a:gd name="T24" fmla="*/ 2147483647 w 38"/>
                <a:gd name="T25" fmla="*/ 0 h 25"/>
                <a:gd name="T26" fmla="*/ 0 w 38"/>
                <a:gd name="T27" fmla="*/ 2147483647 h 25"/>
                <a:gd name="T28" fmla="*/ 0 w 38"/>
                <a:gd name="T29" fmla="*/ 2147483647 h 25"/>
                <a:gd name="T30" fmla="*/ 0 w 38"/>
                <a:gd name="T31" fmla="*/ 2147483647 h 25"/>
                <a:gd name="T32" fmla="*/ 2147483647 w 38"/>
                <a:gd name="T33" fmla="*/ 2147483647 h 25"/>
                <a:gd name="T34" fmla="*/ 2147483647 w 38"/>
                <a:gd name="T35" fmla="*/ 2147483647 h 25"/>
                <a:gd name="T36" fmla="*/ 2147483647 w 38"/>
                <a:gd name="T37" fmla="*/ 2147483647 h 25"/>
                <a:gd name="T38" fmla="*/ 2147483647 w 38"/>
                <a:gd name="T39" fmla="*/ 2147483647 h 25"/>
                <a:gd name="T40" fmla="*/ 2147483647 w 38"/>
                <a:gd name="T41" fmla="*/ 2147483647 h 25"/>
                <a:gd name="T42" fmla="*/ 2147483647 w 38"/>
                <a:gd name="T43" fmla="*/ 2147483647 h 25"/>
                <a:gd name="T44" fmla="*/ 2147483647 w 38"/>
                <a:gd name="T45" fmla="*/ 2147483647 h 25"/>
                <a:gd name="T46" fmla="*/ 2147483647 w 38"/>
                <a:gd name="T47" fmla="*/ 2147483647 h 25"/>
                <a:gd name="T48" fmla="*/ 2147483647 w 38"/>
                <a:gd name="T49" fmla="*/ 2147483647 h 25"/>
                <a:gd name="T50" fmla="*/ 2147483647 w 38"/>
                <a:gd name="T51" fmla="*/ 2147483647 h 25"/>
                <a:gd name="T52" fmla="*/ 2147483647 w 38"/>
                <a:gd name="T53" fmla="*/ 2147483647 h 25"/>
                <a:gd name="T54" fmla="*/ 2147483647 w 38"/>
                <a:gd name="T55" fmla="*/ 2147483647 h 25"/>
                <a:gd name="T56" fmla="*/ 2147483647 w 38"/>
                <a:gd name="T57" fmla="*/ 2147483647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8"/>
                <a:gd name="T88" fmla="*/ 0 h 25"/>
                <a:gd name="T89" fmla="*/ 38 w 38"/>
                <a:gd name="T90" fmla="*/ 25 h 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8" h="25">
                  <a:moveTo>
                    <a:pt x="31" y="15"/>
                  </a:moveTo>
                  <a:lnTo>
                    <a:pt x="31" y="15"/>
                  </a:lnTo>
                  <a:lnTo>
                    <a:pt x="34" y="11"/>
                  </a:lnTo>
                  <a:lnTo>
                    <a:pt x="36" y="7"/>
                  </a:lnTo>
                  <a:lnTo>
                    <a:pt x="38" y="6"/>
                  </a:lnTo>
                  <a:lnTo>
                    <a:pt x="36" y="5"/>
                  </a:lnTo>
                  <a:lnTo>
                    <a:pt x="33" y="2"/>
                  </a:lnTo>
                  <a:lnTo>
                    <a:pt x="29" y="0"/>
                  </a:lnTo>
                  <a:lnTo>
                    <a:pt x="24" y="0"/>
                  </a:lnTo>
                  <a:lnTo>
                    <a:pt x="20" y="0"/>
                  </a:lnTo>
                  <a:lnTo>
                    <a:pt x="10" y="0"/>
                  </a:lnTo>
                  <a:lnTo>
                    <a:pt x="0" y="1"/>
                  </a:lnTo>
                  <a:lnTo>
                    <a:pt x="0" y="3"/>
                  </a:lnTo>
                  <a:lnTo>
                    <a:pt x="1" y="5"/>
                  </a:lnTo>
                  <a:lnTo>
                    <a:pt x="5" y="6"/>
                  </a:lnTo>
                  <a:lnTo>
                    <a:pt x="8" y="8"/>
                  </a:lnTo>
                  <a:lnTo>
                    <a:pt x="14" y="13"/>
                  </a:lnTo>
                  <a:lnTo>
                    <a:pt x="19" y="19"/>
                  </a:lnTo>
                  <a:lnTo>
                    <a:pt x="24" y="24"/>
                  </a:lnTo>
                  <a:lnTo>
                    <a:pt x="25" y="25"/>
                  </a:lnTo>
                  <a:lnTo>
                    <a:pt x="26" y="24"/>
                  </a:lnTo>
                  <a:lnTo>
                    <a:pt x="27" y="21"/>
                  </a:lnTo>
                  <a:lnTo>
                    <a:pt x="31"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89" name="Freeform 988"/>
            <p:cNvSpPr>
              <a:spLocks/>
            </p:cNvSpPr>
            <p:nvPr/>
          </p:nvSpPr>
          <p:spPr bwMode="auto">
            <a:xfrm>
              <a:off x="2151064" y="2108203"/>
              <a:ext cx="179386" cy="133350"/>
            </a:xfrm>
            <a:custGeom>
              <a:avLst/>
              <a:gdLst>
                <a:gd name="T0" fmla="*/ 2147483647 w 122"/>
                <a:gd name="T1" fmla="*/ 2147483647 h 84"/>
                <a:gd name="T2" fmla="*/ 2147483647 w 122"/>
                <a:gd name="T3" fmla="*/ 2147483647 h 84"/>
                <a:gd name="T4" fmla="*/ 2147483647 w 122"/>
                <a:gd name="T5" fmla="*/ 2147483647 h 84"/>
                <a:gd name="T6" fmla="*/ 2147483647 w 122"/>
                <a:gd name="T7" fmla="*/ 2147483647 h 84"/>
                <a:gd name="T8" fmla="*/ 2147483647 w 122"/>
                <a:gd name="T9" fmla="*/ 2147483647 h 84"/>
                <a:gd name="T10" fmla="*/ 2147483647 w 122"/>
                <a:gd name="T11" fmla="*/ 2147483647 h 84"/>
                <a:gd name="T12" fmla="*/ 2147483647 w 122"/>
                <a:gd name="T13" fmla="*/ 2147483647 h 84"/>
                <a:gd name="T14" fmla="*/ 2147483647 w 122"/>
                <a:gd name="T15" fmla="*/ 2147483647 h 84"/>
                <a:gd name="T16" fmla="*/ 2147483647 w 122"/>
                <a:gd name="T17" fmla="*/ 2147483647 h 84"/>
                <a:gd name="T18" fmla="*/ 2147483647 w 122"/>
                <a:gd name="T19" fmla="*/ 0 h 84"/>
                <a:gd name="T20" fmla="*/ 2147483647 w 122"/>
                <a:gd name="T21" fmla="*/ 2147483647 h 84"/>
                <a:gd name="T22" fmla="*/ 2147483647 w 122"/>
                <a:gd name="T23" fmla="*/ 2147483647 h 84"/>
                <a:gd name="T24" fmla="*/ 2147483647 w 122"/>
                <a:gd name="T25" fmla="*/ 2147483647 h 84"/>
                <a:gd name="T26" fmla="*/ 2147483647 w 122"/>
                <a:gd name="T27" fmla="*/ 2147483647 h 84"/>
                <a:gd name="T28" fmla="*/ 0 w 122"/>
                <a:gd name="T29" fmla="*/ 2147483647 h 84"/>
                <a:gd name="T30" fmla="*/ 2147483647 w 122"/>
                <a:gd name="T31" fmla="*/ 2147483647 h 84"/>
                <a:gd name="T32" fmla="*/ 2147483647 w 122"/>
                <a:gd name="T33" fmla="*/ 2147483647 h 84"/>
                <a:gd name="T34" fmla="*/ 2147483647 w 122"/>
                <a:gd name="T35" fmla="*/ 2147483647 h 84"/>
                <a:gd name="T36" fmla="*/ 2147483647 w 122"/>
                <a:gd name="T37" fmla="*/ 2147483647 h 84"/>
                <a:gd name="T38" fmla="*/ 2147483647 w 122"/>
                <a:gd name="T39" fmla="*/ 2147483647 h 84"/>
                <a:gd name="T40" fmla="*/ 2147483647 w 122"/>
                <a:gd name="T41" fmla="*/ 2147483647 h 84"/>
                <a:gd name="T42" fmla="*/ 2147483647 w 122"/>
                <a:gd name="T43" fmla="*/ 2147483647 h 84"/>
                <a:gd name="T44" fmla="*/ 2147483647 w 122"/>
                <a:gd name="T45" fmla="*/ 2147483647 h 84"/>
                <a:gd name="T46" fmla="*/ 2147483647 w 122"/>
                <a:gd name="T47" fmla="*/ 2147483647 h 84"/>
                <a:gd name="T48" fmla="*/ 2147483647 w 122"/>
                <a:gd name="T49" fmla="*/ 2147483647 h 84"/>
                <a:gd name="T50" fmla="*/ 2147483647 w 122"/>
                <a:gd name="T51" fmla="*/ 2147483647 h 84"/>
                <a:gd name="T52" fmla="*/ 2147483647 w 122"/>
                <a:gd name="T53" fmla="*/ 2147483647 h 84"/>
                <a:gd name="T54" fmla="*/ 2147483647 w 122"/>
                <a:gd name="T55" fmla="*/ 2147483647 h 84"/>
                <a:gd name="T56" fmla="*/ 2147483647 w 122"/>
                <a:gd name="T57" fmla="*/ 2147483647 h 84"/>
                <a:gd name="T58" fmla="*/ 2147483647 w 122"/>
                <a:gd name="T59" fmla="*/ 2147483647 h 84"/>
                <a:gd name="T60" fmla="*/ 2147483647 w 122"/>
                <a:gd name="T61" fmla="*/ 2147483647 h 84"/>
                <a:gd name="T62" fmla="*/ 2147483647 w 122"/>
                <a:gd name="T63" fmla="*/ 2147483647 h 84"/>
                <a:gd name="T64" fmla="*/ 2147483647 w 122"/>
                <a:gd name="T65" fmla="*/ 2147483647 h 84"/>
                <a:gd name="T66" fmla="*/ 2147483647 w 122"/>
                <a:gd name="T67" fmla="*/ 2147483647 h 84"/>
                <a:gd name="T68" fmla="*/ 2147483647 w 122"/>
                <a:gd name="T69" fmla="*/ 2147483647 h 84"/>
                <a:gd name="T70" fmla="*/ 2147483647 w 122"/>
                <a:gd name="T71" fmla="*/ 2147483647 h 84"/>
                <a:gd name="T72" fmla="*/ 2147483647 w 122"/>
                <a:gd name="T73" fmla="*/ 2147483647 h 84"/>
                <a:gd name="T74" fmla="*/ 2147483647 w 122"/>
                <a:gd name="T75" fmla="*/ 2147483647 h 84"/>
                <a:gd name="T76" fmla="*/ 2147483647 w 122"/>
                <a:gd name="T77" fmla="*/ 2147483647 h 84"/>
                <a:gd name="T78" fmla="*/ 2147483647 w 122"/>
                <a:gd name="T79" fmla="*/ 2147483647 h 84"/>
                <a:gd name="T80" fmla="*/ 2147483647 w 122"/>
                <a:gd name="T81" fmla="*/ 2147483647 h 84"/>
                <a:gd name="T82" fmla="*/ 2147483647 w 122"/>
                <a:gd name="T83" fmla="*/ 2147483647 h 84"/>
                <a:gd name="T84" fmla="*/ 2147483647 w 122"/>
                <a:gd name="T85" fmla="*/ 2147483647 h 84"/>
                <a:gd name="T86" fmla="*/ 2147483647 w 122"/>
                <a:gd name="T87" fmla="*/ 2147483647 h 84"/>
                <a:gd name="T88" fmla="*/ 2147483647 w 122"/>
                <a:gd name="T89" fmla="*/ 2147483647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2"/>
                <a:gd name="T136" fmla="*/ 0 h 84"/>
                <a:gd name="T137" fmla="*/ 122 w 122"/>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2" h="84">
                  <a:moveTo>
                    <a:pt x="69" y="26"/>
                  </a:moveTo>
                  <a:lnTo>
                    <a:pt x="69" y="26"/>
                  </a:lnTo>
                  <a:lnTo>
                    <a:pt x="65" y="25"/>
                  </a:lnTo>
                  <a:lnTo>
                    <a:pt x="62" y="26"/>
                  </a:lnTo>
                  <a:lnTo>
                    <a:pt x="60" y="27"/>
                  </a:lnTo>
                  <a:lnTo>
                    <a:pt x="56" y="26"/>
                  </a:lnTo>
                  <a:lnTo>
                    <a:pt x="53" y="25"/>
                  </a:lnTo>
                  <a:lnTo>
                    <a:pt x="52" y="22"/>
                  </a:lnTo>
                  <a:lnTo>
                    <a:pt x="48" y="18"/>
                  </a:lnTo>
                  <a:lnTo>
                    <a:pt x="47" y="18"/>
                  </a:lnTo>
                  <a:lnTo>
                    <a:pt x="46" y="18"/>
                  </a:lnTo>
                  <a:lnTo>
                    <a:pt x="42" y="20"/>
                  </a:lnTo>
                  <a:lnTo>
                    <a:pt x="41" y="21"/>
                  </a:lnTo>
                  <a:lnTo>
                    <a:pt x="38" y="22"/>
                  </a:lnTo>
                  <a:lnTo>
                    <a:pt x="35" y="21"/>
                  </a:lnTo>
                  <a:lnTo>
                    <a:pt x="34" y="19"/>
                  </a:lnTo>
                  <a:lnTo>
                    <a:pt x="34" y="16"/>
                  </a:lnTo>
                  <a:lnTo>
                    <a:pt x="35" y="14"/>
                  </a:lnTo>
                  <a:lnTo>
                    <a:pt x="38" y="10"/>
                  </a:lnTo>
                  <a:lnTo>
                    <a:pt x="39" y="9"/>
                  </a:lnTo>
                  <a:lnTo>
                    <a:pt x="38" y="7"/>
                  </a:lnTo>
                  <a:lnTo>
                    <a:pt x="35" y="3"/>
                  </a:lnTo>
                  <a:lnTo>
                    <a:pt x="33" y="1"/>
                  </a:lnTo>
                  <a:lnTo>
                    <a:pt x="30" y="0"/>
                  </a:lnTo>
                  <a:lnTo>
                    <a:pt x="29" y="0"/>
                  </a:lnTo>
                  <a:lnTo>
                    <a:pt x="27" y="1"/>
                  </a:lnTo>
                  <a:lnTo>
                    <a:pt x="25" y="2"/>
                  </a:lnTo>
                  <a:lnTo>
                    <a:pt x="20" y="13"/>
                  </a:lnTo>
                  <a:lnTo>
                    <a:pt x="16" y="24"/>
                  </a:lnTo>
                  <a:lnTo>
                    <a:pt x="14" y="34"/>
                  </a:lnTo>
                  <a:lnTo>
                    <a:pt x="11" y="45"/>
                  </a:lnTo>
                  <a:lnTo>
                    <a:pt x="9" y="51"/>
                  </a:lnTo>
                  <a:lnTo>
                    <a:pt x="5" y="56"/>
                  </a:lnTo>
                  <a:lnTo>
                    <a:pt x="1" y="60"/>
                  </a:lnTo>
                  <a:lnTo>
                    <a:pt x="0" y="65"/>
                  </a:lnTo>
                  <a:lnTo>
                    <a:pt x="0" y="66"/>
                  </a:lnTo>
                  <a:lnTo>
                    <a:pt x="1" y="67"/>
                  </a:lnTo>
                  <a:lnTo>
                    <a:pt x="5" y="69"/>
                  </a:lnTo>
                  <a:lnTo>
                    <a:pt x="6" y="70"/>
                  </a:lnTo>
                  <a:lnTo>
                    <a:pt x="14" y="69"/>
                  </a:lnTo>
                  <a:lnTo>
                    <a:pt x="18" y="67"/>
                  </a:lnTo>
                  <a:lnTo>
                    <a:pt x="22" y="69"/>
                  </a:lnTo>
                  <a:lnTo>
                    <a:pt x="23" y="71"/>
                  </a:lnTo>
                  <a:lnTo>
                    <a:pt x="22" y="72"/>
                  </a:lnTo>
                  <a:lnTo>
                    <a:pt x="20" y="73"/>
                  </a:lnTo>
                  <a:lnTo>
                    <a:pt x="20" y="76"/>
                  </a:lnTo>
                  <a:lnTo>
                    <a:pt x="23" y="77"/>
                  </a:lnTo>
                  <a:lnTo>
                    <a:pt x="23" y="79"/>
                  </a:lnTo>
                  <a:lnTo>
                    <a:pt x="24" y="82"/>
                  </a:lnTo>
                  <a:lnTo>
                    <a:pt x="25" y="84"/>
                  </a:lnTo>
                  <a:lnTo>
                    <a:pt x="28" y="83"/>
                  </a:lnTo>
                  <a:lnTo>
                    <a:pt x="30" y="83"/>
                  </a:lnTo>
                  <a:lnTo>
                    <a:pt x="32" y="83"/>
                  </a:lnTo>
                  <a:lnTo>
                    <a:pt x="33" y="84"/>
                  </a:lnTo>
                  <a:lnTo>
                    <a:pt x="34" y="84"/>
                  </a:lnTo>
                  <a:lnTo>
                    <a:pt x="39" y="80"/>
                  </a:lnTo>
                  <a:lnTo>
                    <a:pt x="47" y="78"/>
                  </a:lnTo>
                  <a:lnTo>
                    <a:pt x="49" y="77"/>
                  </a:lnTo>
                  <a:lnTo>
                    <a:pt x="52" y="75"/>
                  </a:lnTo>
                  <a:lnTo>
                    <a:pt x="55" y="72"/>
                  </a:lnTo>
                  <a:lnTo>
                    <a:pt x="56" y="69"/>
                  </a:lnTo>
                  <a:lnTo>
                    <a:pt x="57" y="54"/>
                  </a:lnTo>
                  <a:lnTo>
                    <a:pt x="60" y="52"/>
                  </a:lnTo>
                  <a:lnTo>
                    <a:pt x="62" y="51"/>
                  </a:lnTo>
                  <a:lnTo>
                    <a:pt x="66" y="50"/>
                  </a:lnTo>
                  <a:lnTo>
                    <a:pt x="70" y="50"/>
                  </a:lnTo>
                  <a:lnTo>
                    <a:pt x="72" y="51"/>
                  </a:lnTo>
                  <a:lnTo>
                    <a:pt x="74" y="53"/>
                  </a:lnTo>
                  <a:lnTo>
                    <a:pt x="76" y="58"/>
                  </a:lnTo>
                  <a:lnTo>
                    <a:pt x="79" y="63"/>
                  </a:lnTo>
                  <a:lnTo>
                    <a:pt x="81" y="67"/>
                  </a:lnTo>
                  <a:lnTo>
                    <a:pt x="82" y="69"/>
                  </a:lnTo>
                  <a:lnTo>
                    <a:pt x="84" y="70"/>
                  </a:lnTo>
                  <a:lnTo>
                    <a:pt x="86" y="69"/>
                  </a:lnTo>
                  <a:lnTo>
                    <a:pt x="89" y="70"/>
                  </a:lnTo>
                  <a:lnTo>
                    <a:pt x="94" y="72"/>
                  </a:lnTo>
                  <a:lnTo>
                    <a:pt x="96" y="73"/>
                  </a:lnTo>
                  <a:lnTo>
                    <a:pt x="100" y="75"/>
                  </a:lnTo>
                  <a:lnTo>
                    <a:pt x="102" y="76"/>
                  </a:lnTo>
                  <a:lnTo>
                    <a:pt x="103" y="76"/>
                  </a:lnTo>
                  <a:lnTo>
                    <a:pt x="104" y="75"/>
                  </a:lnTo>
                  <a:lnTo>
                    <a:pt x="113" y="70"/>
                  </a:lnTo>
                  <a:lnTo>
                    <a:pt x="121" y="64"/>
                  </a:lnTo>
                  <a:lnTo>
                    <a:pt x="122" y="63"/>
                  </a:lnTo>
                  <a:lnTo>
                    <a:pt x="122" y="61"/>
                  </a:lnTo>
                  <a:lnTo>
                    <a:pt x="112" y="54"/>
                  </a:lnTo>
                  <a:lnTo>
                    <a:pt x="105" y="52"/>
                  </a:lnTo>
                  <a:lnTo>
                    <a:pt x="103" y="52"/>
                  </a:lnTo>
                  <a:lnTo>
                    <a:pt x="100" y="53"/>
                  </a:lnTo>
                  <a:lnTo>
                    <a:pt x="98" y="54"/>
                  </a:lnTo>
                  <a:lnTo>
                    <a:pt x="96" y="56"/>
                  </a:lnTo>
                  <a:lnTo>
                    <a:pt x="95" y="56"/>
                  </a:lnTo>
                  <a:lnTo>
                    <a:pt x="93" y="52"/>
                  </a:lnTo>
                  <a:lnTo>
                    <a:pt x="91" y="48"/>
                  </a:lnTo>
                  <a:lnTo>
                    <a:pt x="91" y="45"/>
                  </a:lnTo>
                  <a:lnTo>
                    <a:pt x="95" y="42"/>
                  </a:lnTo>
                  <a:lnTo>
                    <a:pt x="95" y="41"/>
                  </a:lnTo>
                  <a:lnTo>
                    <a:pt x="95" y="40"/>
                  </a:lnTo>
                  <a:lnTo>
                    <a:pt x="93" y="39"/>
                  </a:lnTo>
                  <a:lnTo>
                    <a:pt x="89" y="38"/>
                  </a:lnTo>
                  <a:lnTo>
                    <a:pt x="86" y="37"/>
                  </a:lnTo>
                  <a:lnTo>
                    <a:pt x="77" y="31"/>
                  </a:lnTo>
                  <a:lnTo>
                    <a:pt x="69" y="2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0" name="Freeform 989"/>
            <p:cNvSpPr>
              <a:spLocks/>
            </p:cNvSpPr>
            <p:nvPr/>
          </p:nvSpPr>
          <p:spPr bwMode="auto">
            <a:xfrm>
              <a:off x="2287589" y="2633663"/>
              <a:ext cx="31750" cy="20637"/>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0 h 13"/>
                <a:gd name="T14" fmla="*/ 2147483647 w 22"/>
                <a:gd name="T15" fmla="*/ 0 h 13"/>
                <a:gd name="T16" fmla="*/ 2147483647 w 22"/>
                <a:gd name="T17" fmla="*/ 2147483647 h 13"/>
                <a:gd name="T18" fmla="*/ 0 w 22"/>
                <a:gd name="T19" fmla="*/ 2147483647 h 13"/>
                <a:gd name="T20" fmla="*/ 0 w 22"/>
                <a:gd name="T21" fmla="*/ 2147483647 h 13"/>
                <a:gd name="T22" fmla="*/ 2147483647 w 22"/>
                <a:gd name="T23" fmla="*/ 2147483647 h 13"/>
                <a:gd name="T24" fmla="*/ 2147483647 w 22"/>
                <a:gd name="T25" fmla="*/ 2147483647 h 13"/>
                <a:gd name="T26" fmla="*/ 2147483647 w 22"/>
                <a:gd name="T27" fmla="*/ 2147483647 h 13"/>
                <a:gd name="T28" fmla="*/ 2147483647 w 22"/>
                <a:gd name="T29" fmla="*/ 2147483647 h 13"/>
                <a:gd name="T30" fmla="*/ 2147483647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
                <a:gd name="T64" fmla="*/ 0 h 13"/>
                <a:gd name="T65" fmla="*/ 22 w 22"/>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 h="13">
                  <a:moveTo>
                    <a:pt x="21" y="7"/>
                  </a:moveTo>
                  <a:lnTo>
                    <a:pt x="20" y="6"/>
                  </a:lnTo>
                  <a:lnTo>
                    <a:pt x="20" y="4"/>
                  </a:lnTo>
                  <a:lnTo>
                    <a:pt x="20" y="3"/>
                  </a:lnTo>
                  <a:lnTo>
                    <a:pt x="19" y="2"/>
                  </a:lnTo>
                  <a:lnTo>
                    <a:pt x="11" y="1"/>
                  </a:lnTo>
                  <a:lnTo>
                    <a:pt x="5" y="0"/>
                  </a:lnTo>
                  <a:lnTo>
                    <a:pt x="2" y="0"/>
                  </a:lnTo>
                  <a:lnTo>
                    <a:pt x="1" y="1"/>
                  </a:lnTo>
                  <a:lnTo>
                    <a:pt x="0" y="4"/>
                  </a:lnTo>
                  <a:lnTo>
                    <a:pt x="0" y="7"/>
                  </a:lnTo>
                  <a:lnTo>
                    <a:pt x="2" y="9"/>
                  </a:lnTo>
                  <a:lnTo>
                    <a:pt x="10" y="9"/>
                  </a:lnTo>
                  <a:lnTo>
                    <a:pt x="14" y="9"/>
                  </a:lnTo>
                  <a:lnTo>
                    <a:pt x="17" y="11"/>
                  </a:lnTo>
                  <a:lnTo>
                    <a:pt x="20" y="13"/>
                  </a:lnTo>
                  <a:lnTo>
                    <a:pt x="21" y="11"/>
                  </a:lnTo>
                  <a:lnTo>
                    <a:pt x="22" y="10"/>
                  </a:lnTo>
                  <a:lnTo>
                    <a:pt x="22" y="9"/>
                  </a:lnTo>
                  <a:lnTo>
                    <a:pt x="22" y="8"/>
                  </a:lnTo>
                  <a:lnTo>
                    <a:pt x="21"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1" name="Freeform 990"/>
            <p:cNvSpPr>
              <a:spLocks/>
            </p:cNvSpPr>
            <p:nvPr/>
          </p:nvSpPr>
          <p:spPr bwMode="auto">
            <a:xfrm>
              <a:off x="2725739" y="2871788"/>
              <a:ext cx="4762" cy="17462"/>
            </a:xfrm>
            <a:custGeom>
              <a:avLst/>
              <a:gdLst>
                <a:gd name="T0" fmla="*/ 2147483647 w 3"/>
                <a:gd name="T1" fmla="*/ 0 h 11"/>
                <a:gd name="T2" fmla="*/ 0 w 3"/>
                <a:gd name="T3" fmla="*/ 2147483647 h 11"/>
                <a:gd name="T4" fmla="*/ 0 w 3"/>
                <a:gd name="T5" fmla="*/ 2147483647 h 11"/>
                <a:gd name="T6" fmla="*/ 0 w 3"/>
                <a:gd name="T7" fmla="*/ 2147483647 h 11"/>
                <a:gd name="T8" fmla="*/ 2147483647 w 3"/>
                <a:gd name="T9" fmla="*/ 2147483647 h 11"/>
                <a:gd name="T10" fmla="*/ 2147483647 w 3"/>
                <a:gd name="T11" fmla="*/ 2147483647 h 11"/>
                <a:gd name="T12" fmla="*/ 2147483647 w 3"/>
                <a:gd name="T13" fmla="*/ 0 h 11"/>
                <a:gd name="T14" fmla="*/ 0 60000 65536"/>
                <a:gd name="T15" fmla="*/ 0 60000 65536"/>
                <a:gd name="T16" fmla="*/ 0 60000 65536"/>
                <a:gd name="T17" fmla="*/ 0 60000 65536"/>
                <a:gd name="T18" fmla="*/ 0 60000 65536"/>
                <a:gd name="T19" fmla="*/ 0 60000 65536"/>
                <a:gd name="T20" fmla="*/ 0 60000 65536"/>
                <a:gd name="T21" fmla="*/ 0 w 3"/>
                <a:gd name="T22" fmla="*/ 0 h 11"/>
                <a:gd name="T23" fmla="*/ 3 w 3"/>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1">
                  <a:moveTo>
                    <a:pt x="3" y="0"/>
                  </a:moveTo>
                  <a:lnTo>
                    <a:pt x="0" y="3"/>
                  </a:lnTo>
                  <a:lnTo>
                    <a:pt x="0" y="5"/>
                  </a:lnTo>
                  <a:lnTo>
                    <a:pt x="0" y="8"/>
                  </a:lnTo>
                  <a:lnTo>
                    <a:pt x="2" y="10"/>
                  </a:lnTo>
                  <a:lnTo>
                    <a:pt x="3" y="11"/>
                  </a:lnTo>
                  <a:lnTo>
                    <a:pt x="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2" name="Freeform 991"/>
            <p:cNvSpPr>
              <a:spLocks/>
            </p:cNvSpPr>
            <p:nvPr/>
          </p:nvSpPr>
          <p:spPr bwMode="auto">
            <a:xfrm>
              <a:off x="2284417" y="2630491"/>
              <a:ext cx="33337" cy="20637"/>
            </a:xfrm>
            <a:custGeom>
              <a:avLst/>
              <a:gdLst>
                <a:gd name="T0" fmla="*/ 2147483647 w 23"/>
                <a:gd name="T1" fmla="*/ 2147483647 h 13"/>
                <a:gd name="T2" fmla="*/ 2147483647 w 23"/>
                <a:gd name="T3" fmla="*/ 2147483647 h 13"/>
                <a:gd name="T4" fmla="*/ 2147483647 w 23"/>
                <a:gd name="T5" fmla="*/ 2147483647 h 13"/>
                <a:gd name="T6" fmla="*/ 2147483647 w 23"/>
                <a:gd name="T7" fmla="*/ 2147483647 h 13"/>
                <a:gd name="T8" fmla="*/ 2147483647 w 23"/>
                <a:gd name="T9" fmla="*/ 2147483647 h 13"/>
                <a:gd name="T10" fmla="*/ 2147483647 w 23"/>
                <a:gd name="T11" fmla="*/ 2147483647 h 13"/>
                <a:gd name="T12" fmla="*/ 2147483647 w 23"/>
                <a:gd name="T13" fmla="*/ 2147483647 h 13"/>
                <a:gd name="T14" fmla="*/ 2147483647 w 23"/>
                <a:gd name="T15" fmla="*/ 2147483647 h 13"/>
                <a:gd name="T16" fmla="*/ 2147483647 w 23"/>
                <a:gd name="T17" fmla="*/ 0 h 13"/>
                <a:gd name="T18" fmla="*/ 2147483647 w 23"/>
                <a:gd name="T19" fmla="*/ 0 h 13"/>
                <a:gd name="T20" fmla="*/ 2147483647 w 23"/>
                <a:gd name="T21" fmla="*/ 0 h 13"/>
                <a:gd name="T22" fmla="*/ 2147483647 w 23"/>
                <a:gd name="T23" fmla="*/ 2147483647 h 13"/>
                <a:gd name="T24" fmla="*/ 0 w 23"/>
                <a:gd name="T25" fmla="*/ 2147483647 h 13"/>
                <a:gd name="T26" fmla="*/ 0 w 23"/>
                <a:gd name="T27" fmla="*/ 2147483647 h 13"/>
                <a:gd name="T28" fmla="*/ 0 w 23"/>
                <a:gd name="T29" fmla="*/ 2147483647 h 13"/>
                <a:gd name="T30" fmla="*/ 2147483647 w 23"/>
                <a:gd name="T31" fmla="*/ 2147483647 h 13"/>
                <a:gd name="T32" fmla="*/ 2147483647 w 23"/>
                <a:gd name="T33" fmla="*/ 2147483647 h 13"/>
                <a:gd name="T34" fmla="*/ 2147483647 w 23"/>
                <a:gd name="T35" fmla="*/ 2147483647 h 13"/>
                <a:gd name="T36" fmla="*/ 2147483647 w 23"/>
                <a:gd name="T37" fmla="*/ 2147483647 h 13"/>
                <a:gd name="T38" fmla="*/ 2147483647 w 23"/>
                <a:gd name="T39" fmla="*/ 2147483647 h 13"/>
                <a:gd name="T40" fmla="*/ 2147483647 w 23"/>
                <a:gd name="T41" fmla="*/ 2147483647 h 13"/>
                <a:gd name="T42" fmla="*/ 2147483647 w 23"/>
                <a:gd name="T43" fmla="*/ 2147483647 h 13"/>
                <a:gd name="T44" fmla="*/ 2147483647 w 23"/>
                <a:gd name="T45" fmla="*/ 2147483647 h 13"/>
                <a:gd name="T46" fmla="*/ 2147483647 w 23"/>
                <a:gd name="T47" fmla="*/ 2147483647 h 13"/>
                <a:gd name="T48" fmla="*/ 2147483647 w 23"/>
                <a:gd name="T49" fmla="*/ 2147483647 h 13"/>
                <a:gd name="T50" fmla="*/ 2147483647 w 23"/>
                <a:gd name="T51" fmla="*/ 2147483647 h 13"/>
                <a:gd name="T52" fmla="*/ 2147483647 w 23"/>
                <a:gd name="T53" fmla="*/ 2147483647 h 13"/>
                <a:gd name="T54" fmla="*/ 2147483647 w 23"/>
                <a:gd name="T55" fmla="*/ 2147483647 h 13"/>
                <a:gd name="T56" fmla="*/ 2147483647 w 23"/>
                <a:gd name="T57" fmla="*/ 2147483647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13"/>
                <a:gd name="T89" fmla="*/ 23 w 23"/>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13">
                  <a:moveTo>
                    <a:pt x="22" y="8"/>
                  </a:moveTo>
                  <a:lnTo>
                    <a:pt x="22" y="8"/>
                  </a:lnTo>
                  <a:lnTo>
                    <a:pt x="21" y="6"/>
                  </a:lnTo>
                  <a:lnTo>
                    <a:pt x="21" y="5"/>
                  </a:lnTo>
                  <a:lnTo>
                    <a:pt x="21" y="4"/>
                  </a:lnTo>
                  <a:lnTo>
                    <a:pt x="19" y="3"/>
                  </a:lnTo>
                  <a:lnTo>
                    <a:pt x="12" y="2"/>
                  </a:lnTo>
                  <a:lnTo>
                    <a:pt x="5" y="0"/>
                  </a:lnTo>
                  <a:lnTo>
                    <a:pt x="3" y="0"/>
                  </a:lnTo>
                  <a:lnTo>
                    <a:pt x="2" y="2"/>
                  </a:lnTo>
                  <a:lnTo>
                    <a:pt x="0" y="5"/>
                  </a:lnTo>
                  <a:lnTo>
                    <a:pt x="0" y="8"/>
                  </a:lnTo>
                  <a:lnTo>
                    <a:pt x="3" y="10"/>
                  </a:lnTo>
                  <a:lnTo>
                    <a:pt x="11" y="10"/>
                  </a:lnTo>
                  <a:lnTo>
                    <a:pt x="14" y="10"/>
                  </a:lnTo>
                  <a:lnTo>
                    <a:pt x="18" y="12"/>
                  </a:lnTo>
                  <a:lnTo>
                    <a:pt x="21" y="13"/>
                  </a:lnTo>
                  <a:lnTo>
                    <a:pt x="22" y="12"/>
                  </a:lnTo>
                  <a:lnTo>
                    <a:pt x="23" y="11"/>
                  </a:lnTo>
                  <a:lnTo>
                    <a:pt x="23" y="10"/>
                  </a:lnTo>
                  <a:lnTo>
                    <a:pt x="23" y="9"/>
                  </a:lnTo>
                  <a:lnTo>
                    <a:pt x="22"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3" name="Freeform 992"/>
            <p:cNvSpPr>
              <a:spLocks/>
            </p:cNvSpPr>
            <p:nvPr/>
          </p:nvSpPr>
          <p:spPr bwMode="auto">
            <a:xfrm>
              <a:off x="2724152" y="2870204"/>
              <a:ext cx="4763" cy="17463"/>
            </a:xfrm>
            <a:custGeom>
              <a:avLst/>
              <a:gdLst>
                <a:gd name="T0" fmla="*/ 2147483647 w 3"/>
                <a:gd name="T1" fmla="*/ 0 h 11"/>
                <a:gd name="T2" fmla="*/ 2147483647 w 3"/>
                <a:gd name="T3" fmla="*/ 0 h 11"/>
                <a:gd name="T4" fmla="*/ 0 w 3"/>
                <a:gd name="T5" fmla="*/ 2147483647 h 11"/>
                <a:gd name="T6" fmla="*/ 0 w 3"/>
                <a:gd name="T7" fmla="*/ 2147483647 h 11"/>
                <a:gd name="T8" fmla="*/ 0 w 3"/>
                <a:gd name="T9" fmla="*/ 2147483647 h 11"/>
                <a:gd name="T10" fmla="*/ 0 w 3"/>
                <a:gd name="T11" fmla="*/ 2147483647 h 11"/>
                <a:gd name="T12" fmla="*/ 2147483647 w 3"/>
                <a:gd name="T13" fmla="*/ 2147483647 h 11"/>
                <a:gd name="T14" fmla="*/ 2147483647 w 3"/>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1"/>
                <a:gd name="T26" fmla="*/ 3 w 3"/>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1">
                  <a:moveTo>
                    <a:pt x="3" y="0"/>
                  </a:moveTo>
                  <a:lnTo>
                    <a:pt x="3" y="0"/>
                  </a:lnTo>
                  <a:lnTo>
                    <a:pt x="0" y="2"/>
                  </a:lnTo>
                  <a:lnTo>
                    <a:pt x="0" y="5"/>
                  </a:lnTo>
                  <a:lnTo>
                    <a:pt x="0" y="8"/>
                  </a:lnTo>
                  <a:lnTo>
                    <a:pt x="1" y="9"/>
                  </a:lnTo>
                  <a:lnTo>
                    <a:pt x="3" y="11"/>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4" name="Freeform 993"/>
            <p:cNvSpPr>
              <a:spLocks/>
            </p:cNvSpPr>
            <p:nvPr/>
          </p:nvSpPr>
          <p:spPr bwMode="auto">
            <a:xfrm>
              <a:off x="2714626" y="2762254"/>
              <a:ext cx="76200" cy="47625"/>
            </a:xfrm>
            <a:custGeom>
              <a:avLst/>
              <a:gdLst>
                <a:gd name="T0" fmla="*/ 2147483647 w 52"/>
                <a:gd name="T1" fmla="*/ 2147483647 h 30"/>
                <a:gd name="T2" fmla="*/ 2147483647 w 52"/>
                <a:gd name="T3" fmla="*/ 2147483647 h 30"/>
                <a:gd name="T4" fmla="*/ 2147483647 w 52"/>
                <a:gd name="T5" fmla="*/ 2147483647 h 30"/>
                <a:gd name="T6" fmla="*/ 0 w 52"/>
                <a:gd name="T7" fmla="*/ 2147483647 h 30"/>
                <a:gd name="T8" fmla="*/ 2147483647 w 52"/>
                <a:gd name="T9" fmla="*/ 2147483647 h 30"/>
                <a:gd name="T10" fmla="*/ 2147483647 w 52"/>
                <a:gd name="T11" fmla="*/ 0 h 30"/>
                <a:gd name="T12" fmla="*/ 2147483647 w 52"/>
                <a:gd name="T13" fmla="*/ 2147483647 h 30"/>
                <a:gd name="T14" fmla="*/ 2147483647 w 52"/>
                <a:gd name="T15" fmla="*/ 2147483647 h 30"/>
                <a:gd name="T16" fmla="*/ 2147483647 w 52"/>
                <a:gd name="T17" fmla="*/ 2147483647 h 30"/>
                <a:gd name="T18" fmla="*/ 2147483647 w 52"/>
                <a:gd name="T19" fmla="*/ 2147483647 h 30"/>
                <a:gd name="T20" fmla="*/ 2147483647 w 52"/>
                <a:gd name="T21" fmla="*/ 2147483647 h 30"/>
                <a:gd name="T22" fmla="*/ 2147483647 w 52"/>
                <a:gd name="T23" fmla="*/ 2147483647 h 30"/>
                <a:gd name="T24" fmla="*/ 2147483647 w 52"/>
                <a:gd name="T25" fmla="*/ 2147483647 h 30"/>
                <a:gd name="T26" fmla="*/ 2147483647 w 52"/>
                <a:gd name="T27" fmla="*/ 2147483647 h 30"/>
                <a:gd name="T28" fmla="*/ 2147483647 w 52"/>
                <a:gd name="T29" fmla="*/ 2147483647 h 30"/>
                <a:gd name="T30" fmla="*/ 2147483647 w 52"/>
                <a:gd name="T31" fmla="*/ 2147483647 h 30"/>
                <a:gd name="T32" fmla="*/ 2147483647 w 52"/>
                <a:gd name="T33" fmla="*/ 2147483647 h 30"/>
                <a:gd name="T34" fmla="*/ 2147483647 w 52"/>
                <a:gd name="T35" fmla="*/ 2147483647 h 30"/>
                <a:gd name="T36" fmla="*/ 2147483647 w 52"/>
                <a:gd name="T37" fmla="*/ 2147483647 h 30"/>
                <a:gd name="T38" fmla="*/ 2147483647 w 52"/>
                <a:gd name="T39" fmla="*/ 2147483647 h 30"/>
                <a:gd name="T40" fmla="*/ 2147483647 w 52"/>
                <a:gd name="T41" fmla="*/ 2147483647 h 30"/>
                <a:gd name="T42" fmla="*/ 2147483647 w 52"/>
                <a:gd name="T43" fmla="*/ 2147483647 h 30"/>
                <a:gd name="T44" fmla="*/ 2147483647 w 52"/>
                <a:gd name="T45" fmla="*/ 2147483647 h 30"/>
                <a:gd name="T46" fmla="*/ 2147483647 w 52"/>
                <a:gd name="T47" fmla="*/ 2147483647 h 30"/>
                <a:gd name="T48" fmla="*/ 2147483647 w 52"/>
                <a:gd name="T49" fmla="*/ 2147483647 h 30"/>
                <a:gd name="T50" fmla="*/ 2147483647 w 52"/>
                <a:gd name="T51" fmla="*/ 2147483647 h 30"/>
                <a:gd name="T52" fmla="*/ 2147483647 w 52"/>
                <a:gd name="T53" fmla="*/ 2147483647 h 30"/>
                <a:gd name="T54" fmla="*/ 2147483647 w 52"/>
                <a:gd name="T55" fmla="*/ 2147483647 h 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2"/>
                <a:gd name="T85" fmla="*/ 0 h 30"/>
                <a:gd name="T86" fmla="*/ 52 w 52"/>
                <a:gd name="T87" fmla="*/ 30 h 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2" h="30">
                  <a:moveTo>
                    <a:pt x="9" y="9"/>
                  </a:moveTo>
                  <a:lnTo>
                    <a:pt x="7" y="6"/>
                  </a:lnTo>
                  <a:lnTo>
                    <a:pt x="5" y="5"/>
                  </a:lnTo>
                  <a:lnTo>
                    <a:pt x="0" y="3"/>
                  </a:lnTo>
                  <a:lnTo>
                    <a:pt x="5" y="2"/>
                  </a:lnTo>
                  <a:lnTo>
                    <a:pt x="10" y="0"/>
                  </a:lnTo>
                  <a:lnTo>
                    <a:pt x="12" y="3"/>
                  </a:lnTo>
                  <a:lnTo>
                    <a:pt x="15" y="3"/>
                  </a:lnTo>
                  <a:lnTo>
                    <a:pt x="21" y="2"/>
                  </a:lnTo>
                  <a:lnTo>
                    <a:pt x="25" y="2"/>
                  </a:lnTo>
                  <a:lnTo>
                    <a:pt x="26" y="3"/>
                  </a:lnTo>
                  <a:lnTo>
                    <a:pt x="31" y="5"/>
                  </a:lnTo>
                  <a:lnTo>
                    <a:pt x="38" y="12"/>
                  </a:lnTo>
                  <a:lnTo>
                    <a:pt x="47" y="19"/>
                  </a:lnTo>
                  <a:lnTo>
                    <a:pt x="50" y="24"/>
                  </a:lnTo>
                  <a:lnTo>
                    <a:pt x="52" y="29"/>
                  </a:lnTo>
                  <a:lnTo>
                    <a:pt x="50" y="29"/>
                  </a:lnTo>
                  <a:lnTo>
                    <a:pt x="49" y="30"/>
                  </a:lnTo>
                  <a:lnTo>
                    <a:pt x="37" y="25"/>
                  </a:lnTo>
                  <a:lnTo>
                    <a:pt x="30" y="24"/>
                  </a:lnTo>
                  <a:lnTo>
                    <a:pt x="24" y="24"/>
                  </a:lnTo>
                  <a:lnTo>
                    <a:pt x="20" y="23"/>
                  </a:lnTo>
                  <a:lnTo>
                    <a:pt x="19" y="22"/>
                  </a:lnTo>
                  <a:lnTo>
                    <a:pt x="17" y="21"/>
                  </a:lnTo>
                  <a:lnTo>
                    <a:pt x="16" y="16"/>
                  </a:lnTo>
                  <a:lnTo>
                    <a:pt x="15" y="13"/>
                  </a:lnTo>
                  <a:lnTo>
                    <a:pt x="11" y="11"/>
                  </a:lnTo>
                  <a:lnTo>
                    <a:pt x="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5" name="Freeform 994"/>
            <p:cNvSpPr>
              <a:spLocks/>
            </p:cNvSpPr>
            <p:nvPr/>
          </p:nvSpPr>
          <p:spPr bwMode="auto">
            <a:xfrm>
              <a:off x="2252664" y="2913067"/>
              <a:ext cx="23812" cy="14288"/>
            </a:xfrm>
            <a:custGeom>
              <a:avLst/>
              <a:gdLst>
                <a:gd name="T0" fmla="*/ 2147483647 w 16"/>
                <a:gd name="T1" fmla="*/ 2147483647 h 9"/>
                <a:gd name="T2" fmla="*/ 2147483647 w 16"/>
                <a:gd name="T3" fmla="*/ 2147483647 h 9"/>
                <a:gd name="T4" fmla="*/ 2147483647 w 16"/>
                <a:gd name="T5" fmla="*/ 2147483647 h 9"/>
                <a:gd name="T6" fmla="*/ 2147483647 w 16"/>
                <a:gd name="T7" fmla="*/ 2147483647 h 9"/>
                <a:gd name="T8" fmla="*/ 2147483647 w 16"/>
                <a:gd name="T9" fmla="*/ 2147483647 h 9"/>
                <a:gd name="T10" fmla="*/ 2147483647 w 16"/>
                <a:gd name="T11" fmla="*/ 2147483647 h 9"/>
                <a:gd name="T12" fmla="*/ 2147483647 w 16"/>
                <a:gd name="T13" fmla="*/ 2147483647 h 9"/>
                <a:gd name="T14" fmla="*/ 0 w 16"/>
                <a:gd name="T15" fmla="*/ 2147483647 h 9"/>
                <a:gd name="T16" fmla="*/ 0 w 16"/>
                <a:gd name="T17" fmla="*/ 2147483647 h 9"/>
                <a:gd name="T18" fmla="*/ 0 w 16"/>
                <a:gd name="T19" fmla="*/ 0 h 9"/>
                <a:gd name="T20" fmla="*/ 2147483647 w 16"/>
                <a:gd name="T21" fmla="*/ 2147483647 h 9"/>
                <a:gd name="T22" fmla="*/ 2147483647 w 16"/>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9"/>
                <a:gd name="T38" fmla="*/ 16 w 16"/>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9">
                  <a:moveTo>
                    <a:pt x="11" y="3"/>
                  </a:moveTo>
                  <a:lnTo>
                    <a:pt x="15" y="5"/>
                  </a:lnTo>
                  <a:lnTo>
                    <a:pt x="16" y="6"/>
                  </a:lnTo>
                  <a:lnTo>
                    <a:pt x="16" y="7"/>
                  </a:lnTo>
                  <a:lnTo>
                    <a:pt x="13" y="9"/>
                  </a:lnTo>
                  <a:lnTo>
                    <a:pt x="11" y="9"/>
                  </a:lnTo>
                  <a:lnTo>
                    <a:pt x="5" y="6"/>
                  </a:lnTo>
                  <a:lnTo>
                    <a:pt x="0" y="3"/>
                  </a:lnTo>
                  <a:lnTo>
                    <a:pt x="0" y="1"/>
                  </a:lnTo>
                  <a:lnTo>
                    <a:pt x="0" y="0"/>
                  </a:lnTo>
                  <a:lnTo>
                    <a:pt x="6" y="1"/>
                  </a:lnTo>
                  <a:lnTo>
                    <a:pt x="11"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6" name="Freeform 995"/>
            <p:cNvSpPr>
              <a:spLocks/>
            </p:cNvSpPr>
            <p:nvPr/>
          </p:nvSpPr>
          <p:spPr bwMode="auto">
            <a:xfrm>
              <a:off x="2713038" y="2760668"/>
              <a:ext cx="76200" cy="47625"/>
            </a:xfrm>
            <a:custGeom>
              <a:avLst/>
              <a:gdLst>
                <a:gd name="T0" fmla="*/ 2147483647 w 52"/>
                <a:gd name="T1" fmla="*/ 2147483647 h 30"/>
                <a:gd name="T2" fmla="*/ 2147483647 w 52"/>
                <a:gd name="T3" fmla="*/ 2147483647 h 30"/>
                <a:gd name="T4" fmla="*/ 2147483647 w 52"/>
                <a:gd name="T5" fmla="*/ 2147483647 h 30"/>
                <a:gd name="T6" fmla="*/ 2147483647 w 52"/>
                <a:gd name="T7" fmla="*/ 2147483647 h 30"/>
                <a:gd name="T8" fmla="*/ 0 w 52"/>
                <a:gd name="T9" fmla="*/ 2147483647 h 30"/>
                <a:gd name="T10" fmla="*/ 0 w 52"/>
                <a:gd name="T11" fmla="*/ 2147483647 h 30"/>
                <a:gd name="T12" fmla="*/ 2147483647 w 52"/>
                <a:gd name="T13" fmla="*/ 2147483647 h 30"/>
                <a:gd name="T14" fmla="*/ 2147483647 w 52"/>
                <a:gd name="T15" fmla="*/ 0 h 30"/>
                <a:gd name="T16" fmla="*/ 2147483647 w 52"/>
                <a:gd name="T17" fmla="*/ 0 h 30"/>
                <a:gd name="T18" fmla="*/ 2147483647 w 52"/>
                <a:gd name="T19" fmla="*/ 2147483647 h 30"/>
                <a:gd name="T20" fmla="*/ 2147483647 w 52"/>
                <a:gd name="T21" fmla="*/ 2147483647 h 30"/>
                <a:gd name="T22" fmla="*/ 2147483647 w 52"/>
                <a:gd name="T23" fmla="*/ 2147483647 h 30"/>
                <a:gd name="T24" fmla="*/ 2147483647 w 52"/>
                <a:gd name="T25" fmla="*/ 2147483647 h 30"/>
                <a:gd name="T26" fmla="*/ 2147483647 w 52"/>
                <a:gd name="T27" fmla="*/ 2147483647 h 30"/>
                <a:gd name="T28" fmla="*/ 2147483647 w 52"/>
                <a:gd name="T29" fmla="*/ 2147483647 h 30"/>
                <a:gd name="T30" fmla="*/ 2147483647 w 52"/>
                <a:gd name="T31" fmla="*/ 2147483647 h 30"/>
                <a:gd name="T32" fmla="*/ 2147483647 w 52"/>
                <a:gd name="T33" fmla="*/ 2147483647 h 30"/>
                <a:gd name="T34" fmla="*/ 2147483647 w 52"/>
                <a:gd name="T35" fmla="*/ 2147483647 h 30"/>
                <a:gd name="T36" fmla="*/ 2147483647 w 52"/>
                <a:gd name="T37" fmla="*/ 2147483647 h 30"/>
                <a:gd name="T38" fmla="*/ 2147483647 w 52"/>
                <a:gd name="T39" fmla="*/ 2147483647 h 30"/>
                <a:gd name="T40" fmla="*/ 2147483647 w 52"/>
                <a:gd name="T41" fmla="*/ 2147483647 h 30"/>
                <a:gd name="T42" fmla="*/ 2147483647 w 52"/>
                <a:gd name="T43" fmla="*/ 2147483647 h 30"/>
                <a:gd name="T44" fmla="*/ 2147483647 w 52"/>
                <a:gd name="T45" fmla="*/ 2147483647 h 30"/>
                <a:gd name="T46" fmla="*/ 2147483647 w 52"/>
                <a:gd name="T47" fmla="*/ 2147483647 h 30"/>
                <a:gd name="T48" fmla="*/ 2147483647 w 52"/>
                <a:gd name="T49" fmla="*/ 2147483647 h 30"/>
                <a:gd name="T50" fmla="*/ 2147483647 w 52"/>
                <a:gd name="T51" fmla="*/ 2147483647 h 30"/>
                <a:gd name="T52" fmla="*/ 2147483647 w 52"/>
                <a:gd name="T53" fmla="*/ 2147483647 h 30"/>
                <a:gd name="T54" fmla="*/ 2147483647 w 52"/>
                <a:gd name="T55" fmla="*/ 2147483647 h 30"/>
                <a:gd name="T56" fmla="*/ 2147483647 w 52"/>
                <a:gd name="T57" fmla="*/ 2147483647 h 30"/>
                <a:gd name="T58" fmla="*/ 2147483647 w 52"/>
                <a:gd name="T59" fmla="*/ 2147483647 h 30"/>
                <a:gd name="T60" fmla="*/ 2147483647 w 52"/>
                <a:gd name="T61" fmla="*/ 2147483647 h 30"/>
                <a:gd name="T62" fmla="*/ 2147483647 w 52"/>
                <a:gd name="T63" fmla="*/ 2147483647 h 30"/>
                <a:gd name="T64" fmla="*/ 2147483647 w 52"/>
                <a:gd name="T65" fmla="*/ 2147483647 h 30"/>
                <a:gd name="T66" fmla="*/ 2147483647 w 52"/>
                <a:gd name="T67" fmla="*/ 2147483647 h 30"/>
                <a:gd name="T68" fmla="*/ 2147483647 w 52"/>
                <a:gd name="T69" fmla="*/ 2147483647 h 30"/>
                <a:gd name="T70" fmla="*/ 2147483647 w 52"/>
                <a:gd name="T71" fmla="*/ 2147483647 h 30"/>
                <a:gd name="T72" fmla="*/ 2147483647 w 52"/>
                <a:gd name="T73" fmla="*/ 2147483647 h 30"/>
                <a:gd name="T74" fmla="*/ 2147483647 w 52"/>
                <a:gd name="T75" fmla="*/ 2147483647 h 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30"/>
                <a:gd name="T116" fmla="*/ 52 w 52"/>
                <a:gd name="T117" fmla="*/ 30 h 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30">
                  <a:moveTo>
                    <a:pt x="9" y="9"/>
                  </a:moveTo>
                  <a:lnTo>
                    <a:pt x="9" y="9"/>
                  </a:lnTo>
                  <a:lnTo>
                    <a:pt x="8" y="6"/>
                  </a:lnTo>
                  <a:lnTo>
                    <a:pt x="6" y="5"/>
                  </a:lnTo>
                  <a:lnTo>
                    <a:pt x="0" y="3"/>
                  </a:lnTo>
                  <a:lnTo>
                    <a:pt x="6" y="1"/>
                  </a:lnTo>
                  <a:lnTo>
                    <a:pt x="11" y="0"/>
                  </a:lnTo>
                  <a:lnTo>
                    <a:pt x="13" y="3"/>
                  </a:lnTo>
                  <a:lnTo>
                    <a:pt x="16" y="3"/>
                  </a:lnTo>
                  <a:lnTo>
                    <a:pt x="22" y="1"/>
                  </a:lnTo>
                  <a:lnTo>
                    <a:pt x="26" y="1"/>
                  </a:lnTo>
                  <a:lnTo>
                    <a:pt x="27" y="3"/>
                  </a:lnTo>
                  <a:lnTo>
                    <a:pt x="32" y="5"/>
                  </a:lnTo>
                  <a:lnTo>
                    <a:pt x="39" y="12"/>
                  </a:lnTo>
                  <a:lnTo>
                    <a:pt x="47" y="19"/>
                  </a:lnTo>
                  <a:lnTo>
                    <a:pt x="51" y="24"/>
                  </a:lnTo>
                  <a:lnTo>
                    <a:pt x="52" y="29"/>
                  </a:lnTo>
                  <a:lnTo>
                    <a:pt x="51" y="29"/>
                  </a:lnTo>
                  <a:lnTo>
                    <a:pt x="50" y="30"/>
                  </a:lnTo>
                  <a:lnTo>
                    <a:pt x="37" y="25"/>
                  </a:lnTo>
                  <a:lnTo>
                    <a:pt x="31" y="24"/>
                  </a:lnTo>
                  <a:lnTo>
                    <a:pt x="25" y="24"/>
                  </a:lnTo>
                  <a:lnTo>
                    <a:pt x="21" y="23"/>
                  </a:lnTo>
                  <a:lnTo>
                    <a:pt x="19" y="22"/>
                  </a:lnTo>
                  <a:lnTo>
                    <a:pt x="18" y="20"/>
                  </a:lnTo>
                  <a:lnTo>
                    <a:pt x="17" y="16"/>
                  </a:lnTo>
                  <a:lnTo>
                    <a:pt x="16" y="13"/>
                  </a:lnTo>
                  <a:lnTo>
                    <a:pt x="12" y="11"/>
                  </a:lnTo>
                  <a:lnTo>
                    <a:pt x="9"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7" name="Freeform 996"/>
            <p:cNvSpPr>
              <a:spLocks/>
            </p:cNvSpPr>
            <p:nvPr/>
          </p:nvSpPr>
          <p:spPr bwMode="auto">
            <a:xfrm>
              <a:off x="2249488" y="2911475"/>
              <a:ext cx="25400" cy="12700"/>
            </a:xfrm>
            <a:custGeom>
              <a:avLst/>
              <a:gdLst>
                <a:gd name="T0" fmla="*/ 2147483647 w 17"/>
                <a:gd name="T1" fmla="*/ 2147483647 h 8"/>
                <a:gd name="T2" fmla="*/ 2147483647 w 17"/>
                <a:gd name="T3" fmla="*/ 2147483647 h 8"/>
                <a:gd name="T4" fmla="*/ 2147483647 w 17"/>
                <a:gd name="T5" fmla="*/ 2147483647 h 8"/>
                <a:gd name="T6" fmla="*/ 2147483647 w 17"/>
                <a:gd name="T7" fmla="*/ 2147483647 h 8"/>
                <a:gd name="T8" fmla="*/ 2147483647 w 17"/>
                <a:gd name="T9" fmla="*/ 2147483647 h 8"/>
                <a:gd name="T10" fmla="*/ 2147483647 w 17"/>
                <a:gd name="T11" fmla="*/ 2147483647 h 8"/>
                <a:gd name="T12" fmla="*/ 2147483647 w 17"/>
                <a:gd name="T13" fmla="*/ 2147483647 h 8"/>
                <a:gd name="T14" fmla="*/ 2147483647 w 17"/>
                <a:gd name="T15" fmla="*/ 2147483647 h 8"/>
                <a:gd name="T16" fmla="*/ 2147483647 w 17"/>
                <a:gd name="T17" fmla="*/ 2147483647 h 8"/>
                <a:gd name="T18" fmla="*/ 0 w 17"/>
                <a:gd name="T19" fmla="*/ 2147483647 h 8"/>
                <a:gd name="T20" fmla="*/ 0 w 17"/>
                <a:gd name="T21" fmla="*/ 2147483647 h 8"/>
                <a:gd name="T22" fmla="*/ 0 w 17"/>
                <a:gd name="T23" fmla="*/ 0 h 8"/>
                <a:gd name="T24" fmla="*/ 0 w 17"/>
                <a:gd name="T25" fmla="*/ 0 h 8"/>
                <a:gd name="T26" fmla="*/ 2147483647 w 17"/>
                <a:gd name="T27" fmla="*/ 2147483647 h 8"/>
                <a:gd name="T28" fmla="*/ 2147483647 w 17"/>
                <a:gd name="T29" fmla="*/ 2147483647 h 8"/>
                <a:gd name="T30" fmla="*/ 2147483647 w 1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8"/>
                <a:gd name="T50" fmla="*/ 17 w 1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8">
                  <a:moveTo>
                    <a:pt x="12" y="2"/>
                  </a:moveTo>
                  <a:lnTo>
                    <a:pt x="12" y="2"/>
                  </a:lnTo>
                  <a:lnTo>
                    <a:pt x="15" y="5"/>
                  </a:lnTo>
                  <a:lnTo>
                    <a:pt x="17" y="6"/>
                  </a:lnTo>
                  <a:lnTo>
                    <a:pt x="17" y="7"/>
                  </a:lnTo>
                  <a:lnTo>
                    <a:pt x="14" y="8"/>
                  </a:lnTo>
                  <a:lnTo>
                    <a:pt x="12" y="8"/>
                  </a:lnTo>
                  <a:lnTo>
                    <a:pt x="5" y="6"/>
                  </a:lnTo>
                  <a:lnTo>
                    <a:pt x="0" y="2"/>
                  </a:lnTo>
                  <a:lnTo>
                    <a:pt x="0" y="1"/>
                  </a:lnTo>
                  <a:lnTo>
                    <a:pt x="0" y="0"/>
                  </a:lnTo>
                  <a:lnTo>
                    <a:pt x="7" y="1"/>
                  </a:lnTo>
                  <a:lnTo>
                    <a:pt x="12"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8" name="Freeform 997"/>
            <p:cNvSpPr>
              <a:spLocks/>
            </p:cNvSpPr>
            <p:nvPr/>
          </p:nvSpPr>
          <p:spPr bwMode="auto">
            <a:xfrm>
              <a:off x="2238377" y="3028951"/>
              <a:ext cx="112713" cy="41275"/>
            </a:xfrm>
            <a:custGeom>
              <a:avLst/>
              <a:gdLst>
                <a:gd name="T0" fmla="*/ 2147483647 w 76"/>
                <a:gd name="T1" fmla="*/ 2147483647 h 26"/>
                <a:gd name="T2" fmla="*/ 2147483647 w 76"/>
                <a:gd name="T3" fmla="*/ 2147483647 h 26"/>
                <a:gd name="T4" fmla="*/ 2147483647 w 76"/>
                <a:gd name="T5" fmla="*/ 2147483647 h 26"/>
                <a:gd name="T6" fmla="*/ 2147483647 w 76"/>
                <a:gd name="T7" fmla="*/ 2147483647 h 26"/>
                <a:gd name="T8" fmla="*/ 2147483647 w 76"/>
                <a:gd name="T9" fmla="*/ 2147483647 h 26"/>
                <a:gd name="T10" fmla="*/ 2147483647 w 76"/>
                <a:gd name="T11" fmla="*/ 2147483647 h 26"/>
                <a:gd name="T12" fmla="*/ 2147483647 w 76"/>
                <a:gd name="T13" fmla="*/ 2147483647 h 26"/>
                <a:gd name="T14" fmla="*/ 2147483647 w 76"/>
                <a:gd name="T15" fmla="*/ 2147483647 h 26"/>
                <a:gd name="T16" fmla="*/ 2147483647 w 76"/>
                <a:gd name="T17" fmla="*/ 2147483647 h 26"/>
                <a:gd name="T18" fmla="*/ 2147483647 w 76"/>
                <a:gd name="T19" fmla="*/ 2147483647 h 26"/>
                <a:gd name="T20" fmla="*/ 0 w 76"/>
                <a:gd name="T21" fmla="*/ 2147483647 h 26"/>
                <a:gd name="T22" fmla="*/ 2147483647 w 76"/>
                <a:gd name="T23" fmla="*/ 2147483647 h 26"/>
                <a:gd name="T24" fmla="*/ 2147483647 w 76"/>
                <a:gd name="T25" fmla="*/ 2147483647 h 26"/>
                <a:gd name="T26" fmla="*/ 2147483647 w 76"/>
                <a:gd name="T27" fmla="*/ 2147483647 h 26"/>
                <a:gd name="T28" fmla="*/ 2147483647 w 76"/>
                <a:gd name="T29" fmla="*/ 2147483647 h 26"/>
                <a:gd name="T30" fmla="*/ 2147483647 w 76"/>
                <a:gd name="T31" fmla="*/ 2147483647 h 26"/>
                <a:gd name="T32" fmla="*/ 2147483647 w 76"/>
                <a:gd name="T33" fmla="*/ 2147483647 h 26"/>
                <a:gd name="T34" fmla="*/ 2147483647 w 76"/>
                <a:gd name="T35" fmla="*/ 2147483647 h 26"/>
                <a:gd name="T36" fmla="*/ 2147483647 w 76"/>
                <a:gd name="T37" fmla="*/ 0 h 26"/>
                <a:gd name="T38" fmla="*/ 2147483647 w 76"/>
                <a:gd name="T39" fmla="*/ 0 h 26"/>
                <a:gd name="T40" fmla="*/ 2147483647 w 76"/>
                <a:gd name="T41" fmla="*/ 0 h 26"/>
                <a:gd name="T42" fmla="*/ 2147483647 w 76"/>
                <a:gd name="T43" fmla="*/ 2147483647 h 26"/>
                <a:gd name="T44" fmla="*/ 2147483647 w 76"/>
                <a:gd name="T45" fmla="*/ 2147483647 h 26"/>
                <a:gd name="T46" fmla="*/ 2147483647 w 76"/>
                <a:gd name="T47" fmla="*/ 2147483647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6"/>
                <a:gd name="T73" fmla="*/ 0 h 26"/>
                <a:gd name="T74" fmla="*/ 76 w 76"/>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6" h="26">
                  <a:moveTo>
                    <a:pt x="67" y="8"/>
                  </a:moveTo>
                  <a:lnTo>
                    <a:pt x="61" y="13"/>
                  </a:lnTo>
                  <a:lnTo>
                    <a:pt x="53" y="17"/>
                  </a:lnTo>
                  <a:lnTo>
                    <a:pt x="45" y="20"/>
                  </a:lnTo>
                  <a:lnTo>
                    <a:pt x="36" y="21"/>
                  </a:lnTo>
                  <a:lnTo>
                    <a:pt x="34" y="22"/>
                  </a:lnTo>
                  <a:lnTo>
                    <a:pt x="30" y="24"/>
                  </a:lnTo>
                  <a:lnTo>
                    <a:pt x="21" y="24"/>
                  </a:lnTo>
                  <a:lnTo>
                    <a:pt x="14" y="26"/>
                  </a:lnTo>
                  <a:lnTo>
                    <a:pt x="7" y="24"/>
                  </a:lnTo>
                  <a:lnTo>
                    <a:pt x="0" y="20"/>
                  </a:lnTo>
                  <a:lnTo>
                    <a:pt x="6" y="16"/>
                  </a:lnTo>
                  <a:lnTo>
                    <a:pt x="12" y="13"/>
                  </a:lnTo>
                  <a:lnTo>
                    <a:pt x="19" y="10"/>
                  </a:lnTo>
                  <a:lnTo>
                    <a:pt x="25" y="9"/>
                  </a:lnTo>
                  <a:lnTo>
                    <a:pt x="40" y="7"/>
                  </a:lnTo>
                  <a:lnTo>
                    <a:pt x="54" y="4"/>
                  </a:lnTo>
                  <a:lnTo>
                    <a:pt x="63" y="2"/>
                  </a:lnTo>
                  <a:lnTo>
                    <a:pt x="71" y="0"/>
                  </a:lnTo>
                  <a:lnTo>
                    <a:pt x="75" y="0"/>
                  </a:lnTo>
                  <a:lnTo>
                    <a:pt x="76" y="0"/>
                  </a:lnTo>
                  <a:lnTo>
                    <a:pt x="75" y="2"/>
                  </a:lnTo>
                  <a:lnTo>
                    <a:pt x="73" y="4"/>
                  </a:lnTo>
                  <a:lnTo>
                    <a:pt x="67"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999" name="Freeform 998"/>
            <p:cNvSpPr>
              <a:spLocks/>
            </p:cNvSpPr>
            <p:nvPr/>
          </p:nvSpPr>
          <p:spPr bwMode="auto">
            <a:xfrm>
              <a:off x="2339976" y="2971801"/>
              <a:ext cx="96838" cy="41275"/>
            </a:xfrm>
            <a:custGeom>
              <a:avLst/>
              <a:gdLst>
                <a:gd name="T0" fmla="*/ 2147483647 w 66"/>
                <a:gd name="T1" fmla="*/ 0 h 26"/>
                <a:gd name="T2" fmla="*/ 2147483647 w 66"/>
                <a:gd name="T3" fmla="*/ 2147483647 h 26"/>
                <a:gd name="T4" fmla="*/ 2147483647 w 66"/>
                <a:gd name="T5" fmla="*/ 2147483647 h 26"/>
                <a:gd name="T6" fmla="*/ 2147483647 w 66"/>
                <a:gd name="T7" fmla="*/ 2147483647 h 26"/>
                <a:gd name="T8" fmla="*/ 2147483647 w 66"/>
                <a:gd name="T9" fmla="*/ 2147483647 h 26"/>
                <a:gd name="T10" fmla="*/ 2147483647 w 66"/>
                <a:gd name="T11" fmla="*/ 2147483647 h 26"/>
                <a:gd name="T12" fmla="*/ 2147483647 w 66"/>
                <a:gd name="T13" fmla="*/ 2147483647 h 26"/>
                <a:gd name="T14" fmla="*/ 2147483647 w 66"/>
                <a:gd name="T15" fmla="*/ 2147483647 h 26"/>
                <a:gd name="T16" fmla="*/ 2147483647 w 66"/>
                <a:gd name="T17" fmla="*/ 2147483647 h 26"/>
                <a:gd name="T18" fmla="*/ 2147483647 w 66"/>
                <a:gd name="T19" fmla="*/ 2147483647 h 26"/>
                <a:gd name="T20" fmla="*/ 2147483647 w 66"/>
                <a:gd name="T21" fmla="*/ 2147483647 h 26"/>
                <a:gd name="T22" fmla="*/ 2147483647 w 66"/>
                <a:gd name="T23" fmla="*/ 2147483647 h 26"/>
                <a:gd name="T24" fmla="*/ 2147483647 w 66"/>
                <a:gd name="T25" fmla="*/ 2147483647 h 26"/>
                <a:gd name="T26" fmla="*/ 2147483647 w 66"/>
                <a:gd name="T27" fmla="*/ 2147483647 h 26"/>
                <a:gd name="T28" fmla="*/ 0 w 66"/>
                <a:gd name="T29" fmla="*/ 2147483647 h 26"/>
                <a:gd name="T30" fmla="*/ 0 w 66"/>
                <a:gd name="T31" fmla="*/ 2147483647 h 26"/>
                <a:gd name="T32" fmla="*/ 0 w 66"/>
                <a:gd name="T33" fmla="*/ 2147483647 h 26"/>
                <a:gd name="T34" fmla="*/ 2147483647 w 66"/>
                <a:gd name="T35" fmla="*/ 2147483647 h 26"/>
                <a:gd name="T36" fmla="*/ 2147483647 w 66"/>
                <a:gd name="T37" fmla="*/ 2147483647 h 26"/>
                <a:gd name="T38" fmla="*/ 2147483647 w 66"/>
                <a:gd name="T39" fmla="*/ 2147483647 h 26"/>
                <a:gd name="T40" fmla="*/ 2147483647 w 66"/>
                <a:gd name="T41" fmla="*/ 2147483647 h 26"/>
                <a:gd name="T42" fmla="*/ 2147483647 w 66"/>
                <a:gd name="T43" fmla="*/ 2147483647 h 26"/>
                <a:gd name="T44" fmla="*/ 2147483647 w 66"/>
                <a:gd name="T45" fmla="*/ 2147483647 h 26"/>
                <a:gd name="T46" fmla="*/ 2147483647 w 66"/>
                <a:gd name="T47" fmla="*/ 2147483647 h 26"/>
                <a:gd name="T48" fmla="*/ 2147483647 w 66"/>
                <a:gd name="T49" fmla="*/ 2147483647 h 26"/>
                <a:gd name="T50" fmla="*/ 2147483647 w 66"/>
                <a:gd name="T51" fmla="*/ 2147483647 h 26"/>
                <a:gd name="T52" fmla="*/ 2147483647 w 66"/>
                <a:gd name="T53" fmla="*/ 2147483647 h 26"/>
                <a:gd name="T54" fmla="*/ 2147483647 w 66"/>
                <a:gd name="T55" fmla="*/ 2147483647 h 26"/>
                <a:gd name="T56" fmla="*/ 2147483647 w 66"/>
                <a:gd name="T57" fmla="*/ 2147483647 h 26"/>
                <a:gd name="T58" fmla="*/ 2147483647 w 66"/>
                <a:gd name="T59" fmla="*/ 2147483647 h 26"/>
                <a:gd name="T60" fmla="*/ 2147483647 w 66"/>
                <a:gd name="T61" fmla="*/ 2147483647 h 26"/>
                <a:gd name="T62" fmla="*/ 2147483647 w 66"/>
                <a:gd name="T63" fmla="*/ 2147483647 h 26"/>
                <a:gd name="T64" fmla="*/ 2147483647 w 66"/>
                <a:gd name="T65" fmla="*/ 2147483647 h 26"/>
                <a:gd name="T66" fmla="*/ 2147483647 w 66"/>
                <a:gd name="T67" fmla="*/ 2147483647 h 26"/>
                <a:gd name="T68" fmla="*/ 2147483647 w 66"/>
                <a:gd name="T69" fmla="*/ 2147483647 h 26"/>
                <a:gd name="T70" fmla="*/ 2147483647 w 66"/>
                <a:gd name="T71" fmla="*/ 2147483647 h 26"/>
                <a:gd name="T72" fmla="*/ 2147483647 w 66"/>
                <a:gd name="T73" fmla="*/ 0 h 26"/>
                <a:gd name="T74" fmla="*/ 2147483647 w 66"/>
                <a:gd name="T75" fmla="*/ 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26"/>
                <a:gd name="T116" fmla="*/ 66 w 66"/>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26">
                  <a:moveTo>
                    <a:pt x="54" y="0"/>
                  </a:moveTo>
                  <a:lnTo>
                    <a:pt x="47" y="1"/>
                  </a:lnTo>
                  <a:lnTo>
                    <a:pt x="44" y="2"/>
                  </a:lnTo>
                  <a:lnTo>
                    <a:pt x="42" y="5"/>
                  </a:lnTo>
                  <a:lnTo>
                    <a:pt x="44" y="8"/>
                  </a:lnTo>
                  <a:lnTo>
                    <a:pt x="44" y="9"/>
                  </a:lnTo>
                  <a:lnTo>
                    <a:pt x="44" y="11"/>
                  </a:lnTo>
                  <a:lnTo>
                    <a:pt x="41" y="12"/>
                  </a:lnTo>
                  <a:lnTo>
                    <a:pt x="30" y="9"/>
                  </a:lnTo>
                  <a:lnTo>
                    <a:pt x="25" y="8"/>
                  </a:lnTo>
                  <a:lnTo>
                    <a:pt x="20" y="9"/>
                  </a:lnTo>
                  <a:lnTo>
                    <a:pt x="14" y="11"/>
                  </a:lnTo>
                  <a:lnTo>
                    <a:pt x="9" y="12"/>
                  </a:lnTo>
                  <a:lnTo>
                    <a:pt x="4" y="15"/>
                  </a:lnTo>
                  <a:lnTo>
                    <a:pt x="0" y="19"/>
                  </a:lnTo>
                  <a:lnTo>
                    <a:pt x="0" y="20"/>
                  </a:lnTo>
                  <a:lnTo>
                    <a:pt x="0" y="21"/>
                  </a:lnTo>
                  <a:lnTo>
                    <a:pt x="3" y="23"/>
                  </a:lnTo>
                  <a:lnTo>
                    <a:pt x="14" y="26"/>
                  </a:lnTo>
                  <a:lnTo>
                    <a:pt x="21" y="26"/>
                  </a:lnTo>
                  <a:lnTo>
                    <a:pt x="27" y="25"/>
                  </a:lnTo>
                  <a:lnTo>
                    <a:pt x="30" y="25"/>
                  </a:lnTo>
                  <a:lnTo>
                    <a:pt x="33" y="25"/>
                  </a:lnTo>
                  <a:lnTo>
                    <a:pt x="37" y="25"/>
                  </a:lnTo>
                  <a:lnTo>
                    <a:pt x="42" y="24"/>
                  </a:lnTo>
                  <a:lnTo>
                    <a:pt x="50" y="24"/>
                  </a:lnTo>
                  <a:lnTo>
                    <a:pt x="54" y="23"/>
                  </a:lnTo>
                  <a:lnTo>
                    <a:pt x="56" y="20"/>
                  </a:lnTo>
                  <a:lnTo>
                    <a:pt x="59" y="18"/>
                  </a:lnTo>
                  <a:lnTo>
                    <a:pt x="59" y="15"/>
                  </a:lnTo>
                  <a:lnTo>
                    <a:pt x="60" y="12"/>
                  </a:lnTo>
                  <a:lnTo>
                    <a:pt x="61" y="9"/>
                  </a:lnTo>
                  <a:lnTo>
                    <a:pt x="63" y="6"/>
                  </a:lnTo>
                  <a:lnTo>
                    <a:pt x="66" y="4"/>
                  </a:lnTo>
                  <a:lnTo>
                    <a:pt x="66" y="2"/>
                  </a:lnTo>
                  <a:lnTo>
                    <a:pt x="64" y="1"/>
                  </a:lnTo>
                  <a:lnTo>
                    <a:pt x="61" y="0"/>
                  </a:lnTo>
                  <a:lnTo>
                    <a:pt x="54"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0" name="Freeform 999"/>
            <p:cNvSpPr>
              <a:spLocks/>
            </p:cNvSpPr>
            <p:nvPr/>
          </p:nvSpPr>
          <p:spPr bwMode="auto">
            <a:xfrm>
              <a:off x="2236788" y="3025777"/>
              <a:ext cx="112712" cy="41275"/>
            </a:xfrm>
            <a:custGeom>
              <a:avLst/>
              <a:gdLst>
                <a:gd name="T0" fmla="*/ 2147483647 w 77"/>
                <a:gd name="T1" fmla="*/ 2147483647 h 26"/>
                <a:gd name="T2" fmla="*/ 2147483647 w 77"/>
                <a:gd name="T3" fmla="*/ 2147483647 h 26"/>
                <a:gd name="T4" fmla="*/ 2147483647 w 77"/>
                <a:gd name="T5" fmla="*/ 2147483647 h 26"/>
                <a:gd name="T6" fmla="*/ 2147483647 w 77"/>
                <a:gd name="T7" fmla="*/ 2147483647 h 26"/>
                <a:gd name="T8" fmla="*/ 2147483647 w 77"/>
                <a:gd name="T9" fmla="*/ 2147483647 h 26"/>
                <a:gd name="T10" fmla="*/ 2147483647 w 77"/>
                <a:gd name="T11" fmla="*/ 2147483647 h 26"/>
                <a:gd name="T12" fmla="*/ 2147483647 w 77"/>
                <a:gd name="T13" fmla="*/ 2147483647 h 26"/>
                <a:gd name="T14" fmla="*/ 2147483647 w 77"/>
                <a:gd name="T15" fmla="*/ 2147483647 h 26"/>
                <a:gd name="T16" fmla="*/ 2147483647 w 77"/>
                <a:gd name="T17" fmla="*/ 2147483647 h 26"/>
                <a:gd name="T18" fmla="*/ 2147483647 w 77"/>
                <a:gd name="T19" fmla="*/ 2147483647 h 26"/>
                <a:gd name="T20" fmla="*/ 2147483647 w 77"/>
                <a:gd name="T21" fmla="*/ 2147483647 h 26"/>
                <a:gd name="T22" fmla="*/ 2147483647 w 77"/>
                <a:gd name="T23" fmla="*/ 2147483647 h 26"/>
                <a:gd name="T24" fmla="*/ 2147483647 w 77"/>
                <a:gd name="T25" fmla="*/ 2147483647 h 26"/>
                <a:gd name="T26" fmla="*/ 0 w 77"/>
                <a:gd name="T27" fmla="*/ 2147483647 h 26"/>
                <a:gd name="T28" fmla="*/ 0 w 77"/>
                <a:gd name="T29" fmla="*/ 2147483647 h 26"/>
                <a:gd name="T30" fmla="*/ 2147483647 w 77"/>
                <a:gd name="T31" fmla="*/ 2147483647 h 26"/>
                <a:gd name="T32" fmla="*/ 2147483647 w 77"/>
                <a:gd name="T33" fmla="*/ 2147483647 h 26"/>
                <a:gd name="T34" fmla="*/ 2147483647 w 77"/>
                <a:gd name="T35" fmla="*/ 2147483647 h 26"/>
                <a:gd name="T36" fmla="*/ 2147483647 w 77"/>
                <a:gd name="T37" fmla="*/ 2147483647 h 26"/>
                <a:gd name="T38" fmla="*/ 2147483647 w 77"/>
                <a:gd name="T39" fmla="*/ 2147483647 h 26"/>
                <a:gd name="T40" fmla="*/ 2147483647 w 77"/>
                <a:gd name="T41" fmla="*/ 2147483647 h 26"/>
                <a:gd name="T42" fmla="*/ 2147483647 w 77"/>
                <a:gd name="T43" fmla="*/ 2147483647 h 26"/>
                <a:gd name="T44" fmla="*/ 2147483647 w 77"/>
                <a:gd name="T45" fmla="*/ 2147483647 h 26"/>
                <a:gd name="T46" fmla="*/ 2147483647 w 77"/>
                <a:gd name="T47" fmla="*/ 0 h 26"/>
                <a:gd name="T48" fmla="*/ 2147483647 w 77"/>
                <a:gd name="T49" fmla="*/ 0 h 26"/>
                <a:gd name="T50" fmla="*/ 2147483647 w 77"/>
                <a:gd name="T51" fmla="*/ 0 h 26"/>
                <a:gd name="T52" fmla="*/ 2147483647 w 77"/>
                <a:gd name="T53" fmla="*/ 0 h 26"/>
                <a:gd name="T54" fmla="*/ 2147483647 w 77"/>
                <a:gd name="T55" fmla="*/ 0 h 26"/>
                <a:gd name="T56" fmla="*/ 2147483647 w 77"/>
                <a:gd name="T57" fmla="*/ 2147483647 h 26"/>
                <a:gd name="T58" fmla="*/ 2147483647 w 77"/>
                <a:gd name="T59" fmla="*/ 2147483647 h 26"/>
                <a:gd name="T60" fmla="*/ 2147483647 w 77"/>
                <a:gd name="T61" fmla="*/ 2147483647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26"/>
                <a:gd name="T95" fmla="*/ 77 w 77"/>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26">
                  <a:moveTo>
                    <a:pt x="68" y="9"/>
                  </a:moveTo>
                  <a:lnTo>
                    <a:pt x="68" y="9"/>
                  </a:lnTo>
                  <a:lnTo>
                    <a:pt x="61" y="13"/>
                  </a:lnTo>
                  <a:lnTo>
                    <a:pt x="54" y="18"/>
                  </a:lnTo>
                  <a:lnTo>
                    <a:pt x="46" y="21"/>
                  </a:lnTo>
                  <a:lnTo>
                    <a:pt x="37" y="22"/>
                  </a:lnTo>
                  <a:lnTo>
                    <a:pt x="35" y="23"/>
                  </a:lnTo>
                  <a:lnTo>
                    <a:pt x="31" y="25"/>
                  </a:lnTo>
                  <a:lnTo>
                    <a:pt x="22" y="25"/>
                  </a:lnTo>
                  <a:lnTo>
                    <a:pt x="14" y="26"/>
                  </a:lnTo>
                  <a:lnTo>
                    <a:pt x="8" y="25"/>
                  </a:lnTo>
                  <a:lnTo>
                    <a:pt x="0" y="21"/>
                  </a:lnTo>
                  <a:lnTo>
                    <a:pt x="7" y="17"/>
                  </a:lnTo>
                  <a:lnTo>
                    <a:pt x="13" y="13"/>
                  </a:lnTo>
                  <a:lnTo>
                    <a:pt x="19" y="11"/>
                  </a:lnTo>
                  <a:lnTo>
                    <a:pt x="26" y="10"/>
                  </a:lnTo>
                  <a:lnTo>
                    <a:pt x="41" y="7"/>
                  </a:lnTo>
                  <a:lnTo>
                    <a:pt x="55" y="5"/>
                  </a:lnTo>
                  <a:lnTo>
                    <a:pt x="64" y="3"/>
                  </a:lnTo>
                  <a:lnTo>
                    <a:pt x="71" y="0"/>
                  </a:lnTo>
                  <a:lnTo>
                    <a:pt x="75" y="0"/>
                  </a:lnTo>
                  <a:lnTo>
                    <a:pt x="77" y="0"/>
                  </a:lnTo>
                  <a:lnTo>
                    <a:pt x="75" y="3"/>
                  </a:lnTo>
                  <a:lnTo>
                    <a:pt x="74" y="5"/>
                  </a:lnTo>
                  <a:lnTo>
                    <a:pt x="68"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1" name="Freeform 1000"/>
            <p:cNvSpPr>
              <a:spLocks/>
            </p:cNvSpPr>
            <p:nvPr/>
          </p:nvSpPr>
          <p:spPr bwMode="auto">
            <a:xfrm>
              <a:off x="2338392" y="2970217"/>
              <a:ext cx="96837" cy="41275"/>
            </a:xfrm>
            <a:custGeom>
              <a:avLst/>
              <a:gdLst>
                <a:gd name="T0" fmla="*/ 2147483647 w 66"/>
                <a:gd name="T1" fmla="*/ 0 h 26"/>
                <a:gd name="T2" fmla="*/ 2147483647 w 66"/>
                <a:gd name="T3" fmla="*/ 0 h 26"/>
                <a:gd name="T4" fmla="*/ 2147483647 w 66"/>
                <a:gd name="T5" fmla="*/ 2147483647 h 26"/>
                <a:gd name="T6" fmla="*/ 2147483647 w 66"/>
                <a:gd name="T7" fmla="*/ 2147483647 h 26"/>
                <a:gd name="T8" fmla="*/ 2147483647 w 66"/>
                <a:gd name="T9" fmla="*/ 2147483647 h 26"/>
                <a:gd name="T10" fmla="*/ 2147483647 w 66"/>
                <a:gd name="T11" fmla="*/ 2147483647 h 26"/>
                <a:gd name="T12" fmla="*/ 2147483647 w 66"/>
                <a:gd name="T13" fmla="*/ 2147483647 h 26"/>
                <a:gd name="T14" fmla="*/ 2147483647 w 66"/>
                <a:gd name="T15" fmla="*/ 2147483647 h 26"/>
                <a:gd name="T16" fmla="*/ 2147483647 w 66"/>
                <a:gd name="T17" fmla="*/ 2147483647 h 26"/>
                <a:gd name="T18" fmla="*/ 2147483647 w 66"/>
                <a:gd name="T19" fmla="*/ 2147483647 h 26"/>
                <a:gd name="T20" fmla="*/ 2147483647 w 66"/>
                <a:gd name="T21" fmla="*/ 2147483647 h 26"/>
                <a:gd name="T22" fmla="*/ 2147483647 w 66"/>
                <a:gd name="T23" fmla="*/ 2147483647 h 26"/>
                <a:gd name="T24" fmla="*/ 2147483647 w 66"/>
                <a:gd name="T25" fmla="*/ 2147483647 h 26"/>
                <a:gd name="T26" fmla="*/ 2147483647 w 66"/>
                <a:gd name="T27" fmla="*/ 2147483647 h 26"/>
                <a:gd name="T28" fmla="*/ 2147483647 w 66"/>
                <a:gd name="T29" fmla="*/ 2147483647 h 26"/>
                <a:gd name="T30" fmla="*/ 2147483647 w 66"/>
                <a:gd name="T31" fmla="*/ 2147483647 h 26"/>
                <a:gd name="T32" fmla="*/ 2147483647 w 66"/>
                <a:gd name="T33" fmla="*/ 2147483647 h 26"/>
                <a:gd name="T34" fmla="*/ 2147483647 w 66"/>
                <a:gd name="T35" fmla="*/ 2147483647 h 26"/>
                <a:gd name="T36" fmla="*/ 0 w 66"/>
                <a:gd name="T37" fmla="*/ 2147483647 h 26"/>
                <a:gd name="T38" fmla="*/ 0 w 66"/>
                <a:gd name="T39" fmla="*/ 2147483647 h 26"/>
                <a:gd name="T40" fmla="*/ 0 w 66"/>
                <a:gd name="T41" fmla="*/ 2147483647 h 26"/>
                <a:gd name="T42" fmla="*/ 0 w 66"/>
                <a:gd name="T43" fmla="*/ 2147483647 h 26"/>
                <a:gd name="T44" fmla="*/ 2147483647 w 66"/>
                <a:gd name="T45" fmla="*/ 2147483647 h 26"/>
                <a:gd name="T46" fmla="*/ 2147483647 w 66"/>
                <a:gd name="T47" fmla="*/ 2147483647 h 26"/>
                <a:gd name="T48" fmla="*/ 2147483647 w 66"/>
                <a:gd name="T49" fmla="*/ 2147483647 h 26"/>
                <a:gd name="T50" fmla="*/ 2147483647 w 66"/>
                <a:gd name="T51" fmla="*/ 2147483647 h 26"/>
                <a:gd name="T52" fmla="*/ 2147483647 w 66"/>
                <a:gd name="T53" fmla="*/ 2147483647 h 26"/>
                <a:gd name="T54" fmla="*/ 2147483647 w 66"/>
                <a:gd name="T55" fmla="*/ 2147483647 h 26"/>
                <a:gd name="T56" fmla="*/ 2147483647 w 66"/>
                <a:gd name="T57" fmla="*/ 2147483647 h 26"/>
                <a:gd name="T58" fmla="*/ 2147483647 w 66"/>
                <a:gd name="T59" fmla="*/ 2147483647 h 26"/>
                <a:gd name="T60" fmla="*/ 2147483647 w 66"/>
                <a:gd name="T61" fmla="*/ 2147483647 h 26"/>
                <a:gd name="T62" fmla="*/ 2147483647 w 66"/>
                <a:gd name="T63" fmla="*/ 2147483647 h 26"/>
                <a:gd name="T64" fmla="*/ 2147483647 w 66"/>
                <a:gd name="T65" fmla="*/ 2147483647 h 26"/>
                <a:gd name="T66" fmla="*/ 2147483647 w 66"/>
                <a:gd name="T67" fmla="*/ 2147483647 h 26"/>
                <a:gd name="T68" fmla="*/ 2147483647 w 66"/>
                <a:gd name="T69" fmla="*/ 2147483647 h 26"/>
                <a:gd name="T70" fmla="*/ 2147483647 w 66"/>
                <a:gd name="T71" fmla="*/ 2147483647 h 26"/>
                <a:gd name="T72" fmla="*/ 2147483647 w 66"/>
                <a:gd name="T73" fmla="*/ 2147483647 h 26"/>
                <a:gd name="T74" fmla="*/ 2147483647 w 66"/>
                <a:gd name="T75" fmla="*/ 2147483647 h 26"/>
                <a:gd name="T76" fmla="*/ 2147483647 w 66"/>
                <a:gd name="T77" fmla="*/ 2147483647 h 26"/>
                <a:gd name="T78" fmla="*/ 2147483647 w 66"/>
                <a:gd name="T79" fmla="*/ 2147483647 h 26"/>
                <a:gd name="T80" fmla="*/ 2147483647 w 66"/>
                <a:gd name="T81" fmla="*/ 2147483647 h 26"/>
                <a:gd name="T82" fmla="*/ 2147483647 w 66"/>
                <a:gd name="T83" fmla="*/ 2147483647 h 26"/>
                <a:gd name="T84" fmla="*/ 2147483647 w 66"/>
                <a:gd name="T85" fmla="*/ 2147483647 h 26"/>
                <a:gd name="T86" fmla="*/ 2147483647 w 66"/>
                <a:gd name="T87" fmla="*/ 2147483647 h 26"/>
                <a:gd name="T88" fmla="*/ 2147483647 w 66"/>
                <a:gd name="T89" fmla="*/ 2147483647 h 26"/>
                <a:gd name="T90" fmla="*/ 2147483647 w 66"/>
                <a:gd name="T91" fmla="*/ 2147483647 h 26"/>
                <a:gd name="T92" fmla="*/ 2147483647 w 66"/>
                <a:gd name="T93" fmla="*/ 2147483647 h 26"/>
                <a:gd name="T94" fmla="*/ 2147483647 w 66"/>
                <a:gd name="T95" fmla="*/ 2147483647 h 26"/>
                <a:gd name="T96" fmla="*/ 2147483647 w 66"/>
                <a:gd name="T97" fmla="*/ 2147483647 h 26"/>
                <a:gd name="T98" fmla="*/ 2147483647 w 66"/>
                <a:gd name="T99" fmla="*/ 0 h 26"/>
                <a:gd name="T100" fmla="*/ 2147483647 w 66"/>
                <a:gd name="T101" fmla="*/ 0 h 26"/>
                <a:gd name="T102" fmla="*/ 2147483647 w 66"/>
                <a:gd name="T103" fmla="*/ 0 h 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
                <a:gd name="T157" fmla="*/ 0 h 26"/>
                <a:gd name="T158" fmla="*/ 66 w 66"/>
                <a:gd name="T159" fmla="*/ 26 h 2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 h="26">
                  <a:moveTo>
                    <a:pt x="54" y="0"/>
                  </a:moveTo>
                  <a:lnTo>
                    <a:pt x="54" y="0"/>
                  </a:lnTo>
                  <a:lnTo>
                    <a:pt x="47" y="1"/>
                  </a:lnTo>
                  <a:lnTo>
                    <a:pt x="43" y="2"/>
                  </a:lnTo>
                  <a:lnTo>
                    <a:pt x="42" y="5"/>
                  </a:lnTo>
                  <a:lnTo>
                    <a:pt x="43" y="8"/>
                  </a:lnTo>
                  <a:lnTo>
                    <a:pt x="43" y="9"/>
                  </a:lnTo>
                  <a:lnTo>
                    <a:pt x="43" y="10"/>
                  </a:lnTo>
                  <a:lnTo>
                    <a:pt x="41" y="12"/>
                  </a:lnTo>
                  <a:lnTo>
                    <a:pt x="29" y="9"/>
                  </a:lnTo>
                  <a:lnTo>
                    <a:pt x="24" y="8"/>
                  </a:lnTo>
                  <a:lnTo>
                    <a:pt x="19" y="9"/>
                  </a:lnTo>
                  <a:lnTo>
                    <a:pt x="14" y="10"/>
                  </a:lnTo>
                  <a:lnTo>
                    <a:pt x="9" y="12"/>
                  </a:lnTo>
                  <a:lnTo>
                    <a:pt x="4" y="15"/>
                  </a:lnTo>
                  <a:lnTo>
                    <a:pt x="0" y="19"/>
                  </a:lnTo>
                  <a:lnTo>
                    <a:pt x="0" y="20"/>
                  </a:lnTo>
                  <a:lnTo>
                    <a:pt x="0" y="21"/>
                  </a:lnTo>
                  <a:lnTo>
                    <a:pt x="3" y="22"/>
                  </a:lnTo>
                  <a:lnTo>
                    <a:pt x="14" y="26"/>
                  </a:lnTo>
                  <a:lnTo>
                    <a:pt x="21" y="26"/>
                  </a:lnTo>
                  <a:lnTo>
                    <a:pt x="27" y="25"/>
                  </a:lnTo>
                  <a:lnTo>
                    <a:pt x="29" y="25"/>
                  </a:lnTo>
                  <a:lnTo>
                    <a:pt x="33" y="25"/>
                  </a:lnTo>
                  <a:lnTo>
                    <a:pt x="37" y="25"/>
                  </a:lnTo>
                  <a:lnTo>
                    <a:pt x="42" y="24"/>
                  </a:lnTo>
                  <a:lnTo>
                    <a:pt x="50" y="24"/>
                  </a:lnTo>
                  <a:lnTo>
                    <a:pt x="54" y="22"/>
                  </a:lnTo>
                  <a:lnTo>
                    <a:pt x="56" y="20"/>
                  </a:lnTo>
                  <a:lnTo>
                    <a:pt x="59" y="18"/>
                  </a:lnTo>
                  <a:lnTo>
                    <a:pt x="59" y="15"/>
                  </a:lnTo>
                  <a:lnTo>
                    <a:pt x="60" y="12"/>
                  </a:lnTo>
                  <a:lnTo>
                    <a:pt x="61" y="9"/>
                  </a:lnTo>
                  <a:lnTo>
                    <a:pt x="62" y="6"/>
                  </a:lnTo>
                  <a:lnTo>
                    <a:pt x="66" y="3"/>
                  </a:lnTo>
                  <a:lnTo>
                    <a:pt x="66" y="2"/>
                  </a:lnTo>
                  <a:lnTo>
                    <a:pt x="64" y="1"/>
                  </a:lnTo>
                  <a:lnTo>
                    <a:pt x="61" y="0"/>
                  </a:lnTo>
                  <a:lnTo>
                    <a:pt x="54"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2" name="Freeform 1001"/>
            <p:cNvSpPr>
              <a:spLocks/>
            </p:cNvSpPr>
            <p:nvPr/>
          </p:nvSpPr>
          <p:spPr bwMode="auto">
            <a:xfrm>
              <a:off x="1101729" y="2730500"/>
              <a:ext cx="125413" cy="96838"/>
            </a:xfrm>
            <a:custGeom>
              <a:avLst/>
              <a:gdLst>
                <a:gd name="T0" fmla="*/ 2147483647 w 85"/>
                <a:gd name="T1" fmla="*/ 2147483647 h 61"/>
                <a:gd name="T2" fmla="*/ 2147483647 w 85"/>
                <a:gd name="T3" fmla="*/ 2147483647 h 61"/>
                <a:gd name="T4" fmla="*/ 2147483647 w 85"/>
                <a:gd name="T5" fmla="*/ 2147483647 h 61"/>
                <a:gd name="T6" fmla="*/ 2147483647 w 85"/>
                <a:gd name="T7" fmla="*/ 2147483647 h 61"/>
                <a:gd name="T8" fmla="*/ 2147483647 w 85"/>
                <a:gd name="T9" fmla="*/ 2147483647 h 61"/>
                <a:gd name="T10" fmla="*/ 2147483647 w 85"/>
                <a:gd name="T11" fmla="*/ 2147483647 h 61"/>
                <a:gd name="T12" fmla="*/ 2147483647 w 85"/>
                <a:gd name="T13" fmla="*/ 2147483647 h 61"/>
                <a:gd name="T14" fmla="*/ 0 w 85"/>
                <a:gd name="T15" fmla="*/ 2147483647 h 61"/>
                <a:gd name="T16" fmla="*/ 2147483647 w 85"/>
                <a:gd name="T17" fmla="*/ 2147483647 h 61"/>
                <a:gd name="T18" fmla="*/ 2147483647 w 85"/>
                <a:gd name="T19" fmla="*/ 2147483647 h 61"/>
                <a:gd name="T20" fmla="*/ 2147483647 w 85"/>
                <a:gd name="T21" fmla="*/ 0 h 61"/>
                <a:gd name="T22" fmla="*/ 2147483647 w 85"/>
                <a:gd name="T23" fmla="*/ 2147483647 h 61"/>
                <a:gd name="T24" fmla="*/ 2147483647 w 85"/>
                <a:gd name="T25" fmla="*/ 2147483647 h 61"/>
                <a:gd name="T26" fmla="*/ 2147483647 w 85"/>
                <a:gd name="T27" fmla="*/ 2147483647 h 61"/>
                <a:gd name="T28" fmla="*/ 2147483647 w 85"/>
                <a:gd name="T29" fmla="*/ 2147483647 h 61"/>
                <a:gd name="T30" fmla="*/ 2147483647 w 85"/>
                <a:gd name="T31" fmla="*/ 2147483647 h 61"/>
                <a:gd name="T32" fmla="*/ 2147483647 w 85"/>
                <a:gd name="T33" fmla="*/ 2147483647 h 61"/>
                <a:gd name="T34" fmla="*/ 2147483647 w 85"/>
                <a:gd name="T35" fmla="*/ 2147483647 h 61"/>
                <a:gd name="T36" fmla="*/ 2147483647 w 85"/>
                <a:gd name="T37" fmla="*/ 2147483647 h 61"/>
                <a:gd name="T38" fmla="*/ 2147483647 w 85"/>
                <a:gd name="T39" fmla="*/ 2147483647 h 61"/>
                <a:gd name="T40" fmla="*/ 2147483647 w 85"/>
                <a:gd name="T41" fmla="*/ 2147483647 h 61"/>
                <a:gd name="T42" fmla="*/ 2147483647 w 85"/>
                <a:gd name="T43" fmla="*/ 2147483647 h 61"/>
                <a:gd name="T44" fmla="*/ 2147483647 w 85"/>
                <a:gd name="T45" fmla="*/ 2147483647 h 61"/>
                <a:gd name="T46" fmla="*/ 2147483647 w 85"/>
                <a:gd name="T47" fmla="*/ 2147483647 h 61"/>
                <a:gd name="T48" fmla="*/ 2147483647 w 85"/>
                <a:gd name="T49" fmla="*/ 2147483647 h 61"/>
                <a:gd name="T50" fmla="*/ 2147483647 w 85"/>
                <a:gd name="T51" fmla="*/ 2147483647 h 61"/>
                <a:gd name="T52" fmla="*/ 2147483647 w 85"/>
                <a:gd name="T53" fmla="*/ 2147483647 h 61"/>
                <a:gd name="T54" fmla="*/ 2147483647 w 85"/>
                <a:gd name="T55" fmla="*/ 2147483647 h 61"/>
                <a:gd name="T56" fmla="*/ 2147483647 w 85"/>
                <a:gd name="T57" fmla="*/ 2147483647 h 61"/>
                <a:gd name="T58" fmla="*/ 2147483647 w 85"/>
                <a:gd name="T59" fmla="*/ 2147483647 h 61"/>
                <a:gd name="T60" fmla="*/ 2147483647 w 85"/>
                <a:gd name="T61" fmla="*/ 2147483647 h 61"/>
                <a:gd name="T62" fmla="*/ 2147483647 w 85"/>
                <a:gd name="T63" fmla="*/ 2147483647 h 61"/>
                <a:gd name="T64" fmla="*/ 2147483647 w 85"/>
                <a:gd name="T65" fmla="*/ 2147483647 h 61"/>
                <a:gd name="T66" fmla="*/ 2147483647 w 85"/>
                <a:gd name="T67" fmla="*/ 2147483647 h 61"/>
                <a:gd name="T68" fmla="*/ 2147483647 w 85"/>
                <a:gd name="T69" fmla="*/ 2147483647 h 61"/>
                <a:gd name="T70" fmla="*/ 2147483647 w 85"/>
                <a:gd name="T71" fmla="*/ 2147483647 h 61"/>
                <a:gd name="T72" fmla="*/ 2147483647 w 85"/>
                <a:gd name="T73" fmla="*/ 2147483647 h 61"/>
                <a:gd name="T74" fmla="*/ 2147483647 w 85"/>
                <a:gd name="T75" fmla="*/ 2147483647 h 61"/>
                <a:gd name="T76" fmla="*/ 2147483647 w 85"/>
                <a:gd name="T77" fmla="*/ 2147483647 h 61"/>
                <a:gd name="T78" fmla="*/ 2147483647 w 85"/>
                <a:gd name="T79" fmla="*/ 2147483647 h 61"/>
                <a:gd name="T80" fmla="*/ 2147483647 w 85"/>
                <a:gd name="T81" fmla="*/ 2147483647 h 61"/>
                <a:gd name="T82" fmla="*/ 2147483647 w 85"/>
                <a:gd name="T83" fmla="*/ 2147483647 h 61"/>
                <a:gd name="T84" fmla="*/ 2147483647 w 85"/>
                <a:gd name="T85" fmla="*/ 2147483647 h 61"/>
                <a:gd name="T86" fmla="*/ 2147483647 w 85"/>
                <a:gd name="T87" fmla="*/ 2147483647 h 61"/>
                <a:gd name="T88" fmla="*/ 2147483647 w 85"/>
                <a:gd name="T89" fmla="*/ 2147483647 h 61"/>
                <a:gd name="T90" fmla="*/ 2147483647 w 85"/>
                <a:gd name="T91" fmla="*/ 2147483647 h 61"/>
                <a:gd name="T92" fmla="*/ 2147483647 w 85"/>
                <a:gd name="T93" fmla="*/ 2147483647 h 61"/>
                <a:gd name="T94" fmla="*/ 2147483647 w 85"/>
                <a:gd name="T95" fmla="*/ 2147483647 h 61"/>
                <a:gd name="T96" fmla="*/ 2147483647 w 85"/>
                <a:gd name="T97" fmla="*/ 2147483647 h 61"/>
                <a:gd name="T98" fmla="*/ 2147483647 w 85"/>
                <a:gd name="T99" fmla="*/ 2147483647 h 61"/>
                <a:gd name="T100" fmla="*/ 2147483647 w 85"/>
                <a:gd name="T101" fmla="*/ 2147483647 h 6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5"/>
                <a:gd name="T154" fmla="*/ 0 h 61"/>
                <a:gd name="T155" fmla="*/ 85 w 85"/>
                <a:gd name="T156" fmla="*/ 61 h 6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5" h="61">
                  <a:moveTo>
                    <a:pt x="30" y="37"/>
                  </a:moveTo>
                  <a:lnTo>
                    <a:pt x="24" y="36"/>
                  </a:lnTo>
                  <a:lnTo>
                    <a:pt x="19" y="32"/>
                  </a:lnTo>
                  <a:lnTo>
                    <a:pt x="18" y="28"/>
                  </a:lnTo>
                  <a:lnTo>
                    <a:pt x="15" y="24"/>
                  </a:lnTo>
                  <a:lnTo>
                    <a:pt x="5" y="14"/>
                  </a:lnTo>
                  <a:lnTo>
                    <a:pt x="1" y="9"/>
                  </a:lnTo>
                  <a:lnTo>
                    <a:pt x="0" y="5"/>
                  </a:lnTo>
                  <a:lnTo>
                    <a:pt x="1" y="3"/>
                  </a:lnTo>
                  <a:lnTo>
                    <a:pt x="1" y="1"/>
                  </a:lnTo>
                  <a:lnTo>
                    <a:pt x="2" y="0"/>
                  </a:lnTo>
                  <a:lnTo>
                    <a:pt x="6" y="1"/>
                  </a:lnTo>
                  <a:lnTo>
                    <a:pt x="12" y="4"/>
                  </a:lnTo>
                  <a:lnTo>
                    <a:pt x="16" y="5"/>
                  </a:lnTo>
                  <a:lnTo>
                    <a:pt x="19" y="7"/>
                  </a:lnTo>
                  <a:lnTo>
                    <a:pt x="21" y="11"/>
                  </a:lnTo>
                  <a:lnTo>
                    <a:pt x="24" y="13"/>
                  </a:lnTo>
                  <a:lnTo>
                    <a:pt x="26" y="13"/>
                  </a:lnTo>
                  <a:lnTo>
                    <a:pt x="29" y="13"/>
                  </a:lnTo>
                  <a:lnTo>
                    <a:pt x="33" y="14"/>
                  </a:lnTo>
                  <a:lnTo>
                    <a:pt x="38" y="14"/>
                  </a:lnTo>
                  <a:lnTo>
                    <a:pt x="42" y="14"/>
                  </a:lnTo>
                  <a:lnTo>
                    <a:pt x="44" y="14"/>
                  </a:lnTo>
                  <a:lnTo>
                    <a:pt x="44" y="16"/>
                  </a:lnTo>
                  <a:lnTo>
                    <a:pt x="51" y="25"/>
                  </a:lnTo>
                  <a:lnTo>
                    <a:pt x="58" y="33"/>
                  </a:lnTo>
                  <a:lnTo>
                    <a:pt x="67" y="39"/>
                  </a:lnTo>
                  <a:lnTo>
                    <a:pt x="72" y="42"/>
                  </a:lnTo>
                  <a:lnTo>
                    <a:pt x="77" y="43"/>
                  </a:lnTo>
                  <a:lnTo>
                    <a:pt x="80" y="44"/>
                  </a:lnTo>
                  <a:lnTo>
                    <a:pt x="82" y="45"/>
                  </a:lnTo>
                  <a:lnTo>
                    <a:pt x="85" y="50"/>
                  </a:lnTo>
                  <a:lnTo>
                    <a:pt x="85" y="55"/>
                  </a:lnTo>
                  <a:lnTo>
                    <a:pt x="84" y="60"/>
                  </a:lnTo>
                  <a:lnTo>
                    <a:pt x="82" y="61"/>
                  </a:lnTo>
                  <a:lnTo>
                    <a:pt x="80" y="61"/>
                  </a:lnTo>
                  <a:lnTo>
                    <a:pt x="76" y="58"/>
                  </a:lnTo>
                  <a:lnTo>
                    <a:pt x="71" y="56"/>
                  </a:lnTo>
                  <a:lnTo>
                    <a:pt x="68" y="55"/>
                  </a:lnTo>
                  <a:lnTo>
                    <a:pt x="66" y="54"/>
                  </a:lnTo>
                  <a:lnTo>
                    <a:pt x="59" y="54"/>
                  </a:lnTo>
                  <a:lnTo>
                    <a:pt x="56" y="52"/>
                  </a:lnTo>
                  <a:lnTo>
                    <a:pt x="54" y="50"/>
                  </a:lnTo>
                  <a:lnTo>
                    <a:pt x="53" y="46"/>
                  </a:lnTo>
                  <a:lnTo>
                    <a:pt x="52" y="45"/>
                  </a:lnTo>
                  <a:lnTo>
                    <a:pt x="51" y="44"/>
                  </a:lnTo>
                  <a:lnTo>
                    <a:pt x="48" y="45"/>
                  </a:lnTo>
                  <a:lnTo>
                    <a:pt x="44" y="46"/>
                  </a:lnTo>
                  <a:lnTo>
                    <a:pt x="39" y="45"/>
                  </a:lnTo>
                  <a:lnTo>
                    <a:pt x="34" y="42"/>
                  </a:lnTo>
                  <a:lnTo>
                    <a:pt x="30" y="3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3" name="Freeform 1002"/>
            <p:cNvSpPr>
              <a:spLocks/>
            </p:cNvSpPr>
            <p:nvPr/>
          </p:nvSpPr>
          <p:spPr bwMode="auto">
            <a:xfrm>
              <a:off x="1001713" y="2646364"/>
              <a:ext cx="31750" cy="42862"/>
            </a:xfrm>
            <a:custGeom>
              <a:avLst/>
              <a:gdLst>
                <a:gd name="T0" fmla="*/ 2147483647 w 21"/>
                <a:gd name="T1" fmla="*/ 2147483647 h 27"/>
                <a:gd name="T2" fmla="*/ 2147483647 w 21"/>
                <a:gd name="T3" fmla="*/ 2147483647 h 27"/>
                <a:gd name="T4" fmla="*/ 2147483647 w 21"/>
                <a:gd name="T5" fmla="*/ 2147483647 h 27"/>
                <a:gd name="T6" fmla="*/ 2147483647 w 21"/>
                <a:gd name="T7" fmla="*/ 2147483647 h 27"/>
                <a:gd name="T8" fmla="*/ 2147483647 w 21"/>
                <a:gd name="T9" fmla="*/ 2147483647 h 27"/>
                <a:gd name="T10" fmla="*/ 2147483647 w 21"/>
                <a:gd name="T11" fmla="*/ 2147483647 h 27"/>
                <a:gd name="T12" fmla="*/ 2147483647 w 21"/>
                <a:gd name="T13" fmla="*/ 0 h 27"/>
                <a:gd name="T14" fmla="*/ 0 w 21"/>
                <a:gd name="T15" fmla="*/ 2147483647 h 27"/>
                <a:gd name="T16" fmla="*/ 0 w 21"/>
                <a:gd name="T17" fmla="*/ 2147483647 h 27"/>
                <a:gd name="T18" fmla="*/ 0 w 21"/>
                <a:gd name="T19" fmla="*/ 2147483647 h 27"/>
                <a:gd name="T20" fmla="*/ 0 w 21"/>
                <a:gd name="T21" fmla="*/ 2147483647 h 27"/>
                <a:gd name="T22" fmla="*/ 2147483647 w 21"/>
                <a:gd name="T23" fmla="*/ 2147483647 h 27"/>
                <a:gd name="T24" fmla="*/ 2147483647 w 21"/>
                <a:gd name="T25" fmla="*/ 2147483647 h 27"/>
                <a:gd name="T26" fmla="*/ 2147483647 w 21"/>
                <a:gd name="T27" fmla="*/ 2147483647 h 27"/>
                <a:gd name="T28" fmla="*/ 2147483647 w 21"/>
                <a:gd name="T29" fmla="*/ 2147483647 h 27"/>
                <a:gd name="T30" fmla="*/ 2147483647 w 21"/>
                <a:gd name="T31" fmla="*/ 2147483647 h 27"/>
                <a:gd name="T32" fmla="*/ 2147483647 w 21"/>
                <a:gd name="T33" fmla="*/ 2147483647 h 27"/>
                <a:gd name="T34" fmla="*/ 2147483647 w 21"/>
                <a:gd name="T35" fmla="*/ 2147483647 h 27"/>
                <a:gd name="T36" fmla="*/ 2147483647 w 21"/>
                <a:gd name="T37" fmla="*/ 2147483647 h 27"/>
                <a:gd name="T38" fmla="*/ 2147483647 w 21"/>
                <a:gd name="T39" fmla="*/ 2147483647 h 27"/>
                <a:gd name="T40" fmla="*/ 2147483647 w 21"/>
                <a:gd name="T41" fmla="*/ 2147483647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7"/>
                <a:gd name="T65" fmla="*/ 21 w 21"/>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7">
                  <a:moveTo>
                    <a:pt x="19" y="20"/>
                  </a:moveTo>
                  <a:lnTo>
                    <a:pt x="18" y="16"/>
                  </a:lnTo>
                  <a:lnTo>
                    <a:pt x="16" y="13"/>
                  </a:lnTo>
                  <a:lnTo>
                    <a:pt x="14" y="9"/>
                  </a:lnTo>
                  <a:lnTo>
                    <a:pt x="11" y="2"/>
                  </a:lnTo>
                  <a:lnTo>
                    <a:pt x="8" y="1"/>
                  </a:lnTo>
                  <a:lnTo>
                    <a:pt x="4" y="0"/>
                  </a:lnTo>
                  <a:lnTo>
                    <a:pt x="0" y="2"/>
                  </a:lnTo>
                  <a:lnTo>
                    <a:pt x="0" y="3"/>
                  </a:lnTo>
                  <a:lnTo>
                    <a:pt x="0" y="6"/>
                  </a:lnTo>
                  <a:lnTo>
                    <a:pt x="0" y="8"/>
                  </a:lnTo>
                  <a:lnTo>
                    <a:pt x="3" y="11"/>
                  </a:lnTo>
                  <a:lnTo>
                    <a:pt x="7" y="15"/>
                  </a:lnTo>
                  <a:lnTo>
                    <a:pt x="8" y="19"/>
                  </a:lnTo>
                  <a:lnTo>
                    <a:pt x="13" y="25"/>
                  </a:lnTo>
                  <a:lnTo>
                    <a:pt x="16" y="26"/>
                  </a:lnTo>
                  <a:lnTo>
                    <a:pt x="18" y="27"/>
                  </a:lnTo>
                  <a:lnTo>
                    <a:pt x="19" y="27"/>
                  </a:lnTo>
                  <a:lnTo>
                    <a:pt x="21" y="27"/>
                  </a:lnTo>
                  <a:lnTo>
                    <a:pt x="21" y="25"/>
                  </a:lnTo>
                  <a:lnTo>
                    <a:pt x="19" y="2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4" name="Freeform 1003"/>
            <p:cNvSpPr>
              <a:spLocks/>
            </p:cNvSpPr>
            <p:nvPr/>
          </p:nvSpPr>
          <p:spPr bwMode="auto">
            <a:xfrm>
              <a:off x="1098550" y="2728917"/>
              <a:ext cx="127000" cy="96837"/>
            </a:xfrm>
            <a:custGeom>
              <a:avLst/>
              <a:gdLst>
                <a:gd name="T0" fmla="*/ 2147483647 w 86"/>
                <a:gd name="T1" fmla="*/ 2147483647 h 61"/>
                <a:gd name="T2" fmla="*/ 2147483647 w 86"/>
                <a:gd name="T3" fmla="*/ 2147483647 h 61"/>
                <a:gd name="T4" fmla="*/ 2147483647 w 86"/>
                <a:gd name="T5" fmla="*/ 2147483647 h 61"/>
                <a:gd name="T6" fmla="*/ 2147483647 w 86"/>
                <a:gd name="T7" fmla="*/ 2147483647 h 61"/>
                <a:gd name="T8" fmla="*/ 2147483647 w 86"/>
                <a:gd name="T9" fmla="*/ 2147483647 h 61"/>
                <a:gd name="T10" fmla="*/ 2147483647 w 86"/>
                <a:gd name="T11" fmla="*/ 2147483647 h 61"/>
                <a:gd name="T12" fmla="*/ 2147483647 w 86"/>
                <a:gd name="T13" fmla="*/ 2147483647 h 61"/>
                <a:gd name="T14" fmla="*/ 2147483647 w 86"/>
                <a:gd name="T15" fmla="*/ 2147483647 h 61"/>
                <a:gd name="T16" fmla="*/ 2147483647 w 86"/>
                <a:gd name="T17" fmla="*/ 2147483647 h 61"/>
                <a:gd name="T18" fmla="*/ 2147483647 w 86"/>
                <a:gd name="T19" fmla="*/ 2147483647 h 61"/>
                <a:gd name="T20" fmla="*/ 2147483647 w 86"/>
                <a:gd name="T21" fmla="*/ 2147483647 h 61"/>
                <a:gd name="T22" fmla="*/ 2147483647 w 86"/>
                <a:gd name="T23" fmla="*/ 2147483647 h 61"/>
                <a:gd name="T24" fmla="*/ 2147483647 w 86"/>
                <a:gd name="T25" fmla="*/ 2147483647 h 61"/>
                <a:gd name="T26" fmla="*/ 2147483647 w 86"/>
                <a:gd name="T27" fmla="*/ 2147483647 h 61"/>
                <a:gd name="T28" fmla="*/ 2147483647 w 86"/>
                <a:gd name="T29" fmla="*/ 2147483647 h 61"/>
                <a:gd name="T30" fmla="*/ 2147483647 w 86"/>
                <a:gd name="T31" fmla="*/ 2147483647 h 61"/>
                <a:gd name="T32" fmla="*/ 2147483647 w 86"/>
                <a:gd name="T33" fmla="*/ 2147483647 h 61"/>
                <a:gd name="T34" fmla="*/ 2147483647 w 86"/>
                <a:gd name="T35" fmla="*/ 2147483647 h 61"/>
                <a:gd name="T36" fmla="*/ 2147483647 w 86"/>
                <a:gd name="T37" fmla="*/ 2147483647 h 61"/>
                <a:gd name="T38" fmla="*/ 2147483647 w 86"/>
                <a:gd name="T39" fmla="*/ 2147483647 h 61"/>
                <a:gd name="T40" fmla="*/ 2147483647 w 86"/>
                <a:gd name="T41" fmla="*/ 2147483647 h 61"/>
                <a:gd name="T42" fmla="*/ 2147483647 w 86"/>
                <a:gd name="T43" fmla="*/ 2147483647 h 61"/>
                <a:gd name="T44" fmla="*/ 2147483647 w 86"/>
                <a:gd name="T45" fmla="*/ 2147483647 h 61"/>
                <a:gd name="T46" fmla="*/ 2147483647 w 86"/>
                <a:gd name="T47" fmla="*/ 2147483647 h 61"/>
                <a:gd name="T48" fmla="*/ 2147483647 w 86"/>
                <a:gd name="T49" fmla="*/ 2147483647 h 61"/>
                <a:gd name="T50" fmla="*/ 2147483647 w 86"/>
                <a:gd name="T51" fmla="*/ 2147483647 h 61"/>
                <a:gd name="T52" fmla="*/ 2147483647 w 86"/>
                <a:gd name="T53" fmla="*/ 2147483647 h 61"/>
                <a:gd name="T54" fmla="*/ 2147483647 w 86"/>
                <a:gd name="T55" fmla="*/ 2147483647 h 61"/>
                <a:gd name="T56" fmla="*/ 2147483647 w 86"/>
                <a:gd name="T57" fmla="*/ 2147483647 h 61"/>
                <a:gd name="T58" fmla="*/ 2147483647 w 86"/>
                <a:gd name="T59" fmla="*/ 2147483647 h 61"/>
                <a:gd name="T60" fmla="*/ 2147483647 w 86"/>
                <a:gd name="T61" fmla="*/ 2147483647 h 61"/>
                <a:gd name="T62" fmla="*/ 2147483647 w 86"/>
                <a:gd name="T63" fmla="*/ 2147483647 h 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6"/>
                <a:gd name="T97" fmla="*/ 0 h 61"/>
                <a:gd name="T98" fmla="*/ 86 w 86"/>
                <a:gd name="T99" fmla="*/ 61 h 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6" h="61">
                  <a:moveTo>
                    <a:pt x="31" y="37"/>
                  </a:moveTo>
                  <a:lnTo>
                    <a:pt x="31" y="37"/>
                  </a:lnTo>
                  <a:lnTo>
                    <a:pt x="25" y="36"/>
                  </a:lnTo>
                  <a:lnTo>
                    <a:pt x="20" y="32"/>
                  </a:lnTo>
                  <a:lnTo>
                    <a:pt x="18" y="27"/>
                  </a:lnTo>
                  <a:lnTo>
                    <a:pt x="16" y="24"/>
                  </a:lnTo>
                  <a:lnTo>
                    <a:pt x="6" y="14"/>
                  </a:lnTo>
                  <a:lnTo>
                    <a:pt x="2" y="8"/>
                  </a:lnTo>
                  <a:lnTo>
                    <a:pt x="0" y="5"/>
                  </a:lnTo>
                  <a:lnTo>
                    <a:pt x="2" y="2"/>
                  </a:lnTo>
                  <a:lnTo>
                    <a:pt x="2" y="1"/>
                  </a:lnTo>
                  <a:lnTo>
                    <a:pt x="3" y="0"/>
                  </a:lnTo>
                  <a:lnTo>
                    <a:pt x="7" y="1"/>
                  </a:lnTo>
                  <a:lnTo>
                    <a:pt x="13" y="4"/>
                  </a:lnTo>
                  <a:lnTo>
                    <a:pt x="17" y="5"/>
                  </a:lnTo>
                  <a:lnTo>
                    <a:pt x="20" y="7"/>
                  </a:lnTo>
                  <a:lnTo>
                    <a:pt x="22" y="11"/>
                  </a:lnTo>
                  <a:lnTo>
                    <a:pt x="25" y="13"/>
                  </a:lnTo>
                  <a:lnTo>
                    <a:pt x="27" y="13"/>
                  </a:lnTo>
                  <a:lnTo>
                    <a:pt x="30" y="13"/>
                  </a:lnTo>
                  <a:lnTo>
                    <a:pt x="33" y="14"/>
                  </a:lnTo>
                  <a:lnTo>
                    <a:pt x="39" y="14"/>
                  </a:lnTo>
                  <a:lnTo>
                    <a:pt x="42" y="14"/>
                  </a:lnTo>
                  <a:lnTo>
                    <a:pt x="45" y="14"/>
                  </a:lnTo>
                  <a:lnTo>
                    <a:pt x="45" y="15"/>
                  </a:lnTo>
                  <a:lnTo>
                    <a:pt x="51" y="25"/>
                  </a:lnTo>
                  <a:lnTo>
                    <a:pt x="59" y="33"/>
                  </a:lnTo>
                  <a:lnTo>
                    <a:pt x="68" y="39"/>
                  </a:lnTo>
                  <a:lnTo>
                    <a:pt x="73" y="42"/>
                  </a:lnTo>
                  <a:lnTo>
                    <a:pt x="78" y="43"/>
                  </a:lnTo>
                  <a:lnTo>
                    <a:pt x="80" y="44"/>
                  </a:lnTo>
                  <a:lnTo>
                    <a:pt x="83" y="45"/>
                  </a:lnTo>
                  <a:lnTo>
                    <a:pt x="86" y="50"/>
                  </a:lnTo>
                  <a:lnTo>
                    <a:pt x="86" y="55"/>
                  </a:lnTo>
                  <a:lnTo>
                    <a:pt x="84" y="59"/>
                  </a:lnTo>
                  <a:lnTo>
                    <a:pt x="83" y="61"/>
                  </a:lnTo>
                  <a:lnTo>
                    <a:pt x="80" y="61"/>
                  </a:lnTo>
                  <a:lnTo>
                    <a:pt x="77" y="58"/>
                  </a:lnTo>
                  <a:lnTo>
                    <a:pt x="72" y="56"/>
                  </a:lnTo>
                  <a:lnTo>
                    <a:pt x="69" y="55"/>
                  </a:lnTo>
                  <a:lnTo>
                    <a:pt x="67" y="53"/>
                  </a:lnTo>
                  <a:lnTo>
                    <a:pt x="60" y="53"/>
                  </a:lnTo>
                  <a:lnTo>
                    <a:pt x="56" y="52"/>
                  </a:lnTo>
                  <a:lnTo>
                    <a:pt x="55" y="50"/>
                  </a:lnTo>
                  <a:lnTo>
                    <a:pt x="54" y="46"/>
                  </a:lnTo>
                  <a:lnTo>
                    <a:pt x="53" y="45"/>
                  </a:lnTo>
                  <a:lnTo>
                    <a:pt x="51" y="44"/>
                  </a:lnTo>
                  <a:lnTo>
                    <a:pt x="49" y="45"/>
                  </a:lnTo>
                  <a:lnTo>
                    <a:pt x="45" y="46"/>
                  </a:lnTo>
                  <a:lnTo>
                    <a:pt x="40" y="45"/>
                  </a:lnTo>
                  <a:lnTo>
                    <a:pt x="35" y="42"/>
                  </a:lnTo>
                  <a:lnTo>
                    <a:pt x="31" y="3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5" name="Freeform 1004"/>
            <p:cNvSpPr>
              <a:spLocks/>
            </p:cNvSpPr>
            <p:nvPr/>
          </p:nvSpPr>
          <p:spPr bwMode="auto">
            <a:xfrm>
              <a:off x="1000129" y="2644780"/>
              <a:ext cx="30163" cy="42863"/>
            </a:xfrm>
            <a:custGeom>
              <a:avLst/>
              <a:gdLst>
                <a:gd name="T0" fmla="*/ 2147483647 w 20"/>
                <a:gd name="T1" fmla="*/ 2147483647 h 27"/>
                <a:gd name="T2" fmla="*/ 2147483647 w 20"/>
                <a:gd name="T3" fmla="*/ 2147483647 h 27"/>
                <a:gd name="T4" fmla="*/ 2147483647 w 20"/>
                <a:gd name="T5" fmla="*/ 2147483647 h 27"/>
                <a:gd name="T6" fmla="*/ 2147483647 w 20"/>
                <a:gd name="T7" fmla="*/ 2147483647 h 27"/>
                <a:gd name="T8" fmla="*/ 2147483647 w 20"/>
                <a:gd name="T9" fmla="*/ 2147483647 h 27"/>
                <a:gd name="T10" fmla="*/ 2147483647 w 20"/>
                <a:gd name="T11" fmla="*/ 2147483647 h 27"/>
                <a:gd name="T12" fmla="*/ 2147483647 w 20"/>
                <a:gd name="T13" fmla="*/ 2147483647 h 27"/>
                <a:gd name="T14" fmla="*/ 2147483647 w 20"/>
                <a:gd name="T15" fmla="*/ 2147483647 h 27"/>
                <a:gd name="T16" fmla="*/ 2147483647 w 20"/>
                <a:gd name="T17" fmla="*/ 2147483647 h 27"/>
                <a:gd name="T18" fmla="*/ 2147483647 w 20"/>
                <a:gd name="T19" fmla="*/ 0 h 27"/>
                <a:gd name="T20" fmla="*/ 0 w 20"/>
                <a:gd name="T21" fmla="*/ 2147483647 h 27"/>
                <a:gd name="T22" fmla="*/ 0 w 20"/>
                <a:gd name="T23" fmla="*/ 2147483647 h 27"/>
                <a:gd name="T24" fmla="*/ 0 w 20"/>
                <a:gd name="T25" fmla="*/ 2147483647 h 27"/>
                <a:gd name="T26" fmla="*/ 0 w 20"/>
                <a:gd name="T27" fmla="*/ 2147483647 h 27"/>
                <a:gd name="T28" fmla="*/ 0 w 20"/>
                <a:gd name="T29" fmla="*/ 2147483647 h 27"/>
                <a:gd name="T30" fmla="*/ 2147483647 w 20"/>
                <a:gd name="T31" fmla="*/ 2147483647 h 27"/>
                <a:gd name="T32" fmla="*/ 2147483647 w 20"/>
                <a:gd name="T33" fmla="*/ 2147483647 h 27"/>
                <a:gd name="T34" fmla="*/ 2147483647 w 20"/>
                <a:gd name="T35" fmla="*/ 2147483647 h 27"/>
                <a:gd name="T36" fmla="*/ 2147483647 w 20"/>
                <a:gd name="T37" fmla="*/ 2147483647 h 27"/>
                <a:gd name="T38" fmla="*/ 2147483647 w 20"/>
                <a:gd name="T39" fmla="*/ 2147483647 h 27"/>
                <a:gd name="T40" fmla="*/ 2147483647 w 20"/>
                <a:gd name="T41" fmla="*/ 2147483647 h 27"/>
                <a:gd name="T42" fmla="*/ 2147483647 w 20"/>
                <a:gd name="T43" fmla="*/ 2147483647 h 27"/>
                <a:gd name="T44" fmla="*/ 2147483647 w 20"/>
                <a:gd name="T45" fmla="*/ 2147483647 h 27"/>
                <a:gd name="T46" fmla="*/ 2147483647 w 20"/>
                <a:gd name="T47" fmla="*/ 2147483647 h 27"/>
                <a:gd name="T48" fmla="*/ 2147483647 w 20"/>
                <a:gd name="T49" fmla="*/ 2147483647 h 27"/>
                <a:gd name="T50" fmla="*/ 2147483647 w 20"/>
                <a:gd name="T51" fmla="*/ 2147483647 h 27"/>
                <a:gd name="T52" fmla="*/ 2147483647 w 20"/>
                <a:gd name="T53" fmla="*/ 2147483647 h 27"/>
                <a:gd name="T54" fmla="*/ 2147483647 w 20"/>
                <a:gd name="T55" fmla="*/ 2147483647 h 27"/>
                <a:gd name="T56" fmla="*/ 2147483647 w 2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7"/>
                <a:gd name="T89" fmla="*/ 20 w 20"/>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7">
                  <a:moveTo>
                    <a:pt x="19" y="20"/>
                  </a:moveTo>
                  <a:lnTo>
                    <a:pt x="19" y="20"/>
                  </a:lnTo>
                  <a:lnTo>
                    <a:pt x="18" y="16"/>
                  </a:lnTo>
                  <a:lnTo>
                    <a:pt x="15" y="13"/>
                  </a:lnTo>
                  <a:lnTo>
                    <a:pt x="14" y="9"/>
                  </a:lnTo>
                  <a:lnTo>
                    <a:pt x="10" y="2"/>
                  </a:lnTo>
                  <a:lnTo>
                    <a:pt x="8" y="1"/>
                  </a:lnTo>
                  <a:lnTo>
                    <a:pt x="4" y="0"/>
                  </a:lnTo>
                  <a:lnTo>
                    <a:pt x="0" y="2"/>
                  </a:lnTo>
                  <a:lnTo>
                    <a:pt x="0" y="3"/>
                  </a:lnTo>
                  <a:lnTo>
                    <a:pt x="0" y="6"/>
                  </a:lnTo>
                  <a:lnTo>
                    <a:pt x="0" y="8"/>
                  </a:lnTo>
                  <a:lnTo>
                    <a:pt x="3" y="10"/>
                  </a:lnTo>
                  <a:lnTo>
                    <a:pt x="7" y="15"/>
                  </a:lnTo>
                  <a:lnTo>
                    <a:pt x="8" y="19"/>
                  </a:lnTo>
                  <a:lnTo>
                    <a:pt x="13" y="25"/>
                  </a:lnTo>
                  <a:lnTo>
                    <a:pt x="15" y="26"/>
                  </a:lnTo>
                  <a:lnTo>
                    <a:pt x="18" y="27"/>
                  </a:lnTo>
                  <a:lnTo>
                    <a:pt x="19" y="27"/>
                  </a:lnTo>
                  <a:lnTo>
                    <a:pt x="20" y="27"/>
                  </a:lnTo>
                  <a:lnTo>
                    <a:pt x="20" y="25"/>
                  </a:lnTo>
                  <a:lnTo>
                    <a:pt x="19" y="2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6" name="Freeform 1005"/>
            <p:cNvSpPr>
              <a:spLocks/>
            </p:cNvSpPr>
            <p:nvPr/>
          </p:nvSpPr>
          <p:spPr bwMode="auto">
            <a:xfrm>
              <a:off x="779465" y="1847853"/>
              <a:ext cx="2157412" cy="1206500"/>
            </a:xfrm>
            <a:custGeom>
              <a:avLst/>
              <a:gdLst>
                <a:gd name="T0" fmla="*/ 2147483647 w 1472"/>
                <a:gd name="T1" fmla="*/ 2147483647 h 760"/>
                <a:gd name="T2" fmla="*/ 2147483647 w 1472"/>
                <a:gd name="T3" fmla="*/ 2147483647 h 760"/>
                <a:gd name="T4" fmla="*/ 2147483647 w 1472"/>
                <a:gd name="T5" fmla="*/ 2147483647 h 760"/>
                <a:gd name="T6" fmla="*/ 2147483647 w 1472"/>
                <a:gd name="T7" fmla="*/ 2147483647 h 760"/>
                <a:gd name="T8" fmla="*/ 2147483647 w 1472"/>
                <a:gd name="T9" fmla="*/ 2147483647 h 760"/>
                <a:gd name="T10" fmla="*/ 2147483647 w 1472"/>
                <a:gd name="T11" fmla="*/ 2147483647 h 760"/>
                <a:gd name="T12" fmla="*/ 2147483647 w 1472"/>
                <a:gd name="T13" fmla="*/ 2147483647 h 760"/>
                <a:gd name="T14" fmla="*/ 2147483647 w 1472"/>
                <a:gd name="T15" fmla="*/ 2147483647 h 760"/>
                <a:gd name="T16" fmla="*/ 2147483647 w 1472"/>
                <a:gd name="T17" fmla="*/ 2147483647 h 760"/>
                <a:gd name="T18" fmla="*/ 2147483647 w 1472"/>
                <a:gd name="T19" fmla="*/ 2147483647 h 760"/>
                <a:gd name="T20" fmla="*/ 2147483647 w 1472"/>
                <a:gd name="T21" fmla="*/ 2147483647 h 760"/>
                <a:gd name="T22" fmla="*/ 2147483647 w 1472"/>
                <a:gd name="T23" fmla="*/ 2147483647 h 760"/>
                <a:gd name="T24" fmla="*/ 2147483647 w 1472"/>
                <a:gd name="T25" fmla="*/ 2147483647 h 760"/>
                <a:gd name="T26" fmla="*/ 2147483647 w 1472"/>
                <a:gd name="T27" fmla="*/ 2147483647 h 760"/>
                <a:gd name="T28" fmla="*/ 2147483647 w 1472"/>
                <a:gd name="T29" fmla="*/ 2147483647 h 760"/>
                <a:gd name="T30" fmla="*/ 2147483647 w 1472"/>
                <a:gd name="T31" fmla="*/ 2147483647 h 760"/>
                <a:gd name="T32" fmla="*/ 2147483647 w 1472"/>
                <a:gd name="T33" fmla="*/ 2147483647 h 760"/>
                <a:gd name="T34" fmla="*/ 2147483647 w 1472"/>
                <a:gd name="T35" fmla="*/ 2147483647 h 760"/>
                <a:gd name="T36" fmla="*/ 2147483647 w 1472"/>
                <a:gd name="T37" fmla="*/ 2147483647 h 760"/>
                <a:gd name="T38" fmla="*/ 2147483647 w 1472"/>
                <a:gd name="T39" fmla="*/ 2147483647 h 760"/>
                <a:gd name="T40" fmla="*/ 2147483647 w 1472"/>
                <a:gd name="T41" fmla="*/ 2147483647 h 760"/>
                <a:gd name="T42" fmla="*/ 2147483647 w 1472"/>
                <a:gd name="T43" fmla="*/ 2147483647 h 760"/>
                <a:gd name="T44" fmla="*/ 2147483647 w 1472"/>
                <a:gd name="T45" fmla="*/ 2147483647 h 760"/>
                <a:gd name="T46" fmla="*/ 2147483647 w 1472"/>
                <a:gd name="T47" fmla="*/ 2147483647 h 760"/>
                <a:gd name="T48" fmla="*/ 2147483647 w 1472"/>
                <a:gd name="T49" fmla="*/ 2147483647 h 760"/>
                <a:gd name="T50" fmla="*/ 2147483647 w 1472"/>
                <a:gd name="T51" fmla="*/ 2147483647 h 760"/>
                <a:gd name="T52" fmla="*/ 2147483647 w 1472"/>
                <a:gd name="T53" fmla="*/ 2147483647 h 760"/>
                <a:gd name="T54" fmla="*/ 2147483647 w 1472"/>
                <a:gd name="T55" fmla="*/ 2147483647 h 760"/>
                <a:gd name="T56" fmla="*/ 2147483647 w 1472"/>
                <a:gd name="T57" fmla="*/ 2147483647 h 760"/>
                <a:gd name="T58" fmla="*/ 2147483647 w 1472"/>
                <a:gd name="T59" fmla="*/ 2147483647 h 760"/>
                <a:gd name="T60" fmla="*/ 2147483647 w 1472"/>
                <a:gd name="T61" fmla="*/ 2147483647 h 760"/>
                <a:gd name="T62" fmla="*/ 2147483647 w 1472"/>
                <a:gd name="T63" fmla="*/ 2147483647 h 760"/>
                <a:gd name="T64" fmla="*/ 2147483647 w 1472"/>
                <a:gd name="T65" fmla="*/ 2147483647 h 760"/>
                <a:gd name="T66" fmla="*/ 2147483647 w 1472"/>
                <a:gd name="T67" fmla="*/ 2147483647 h 760"/>
                <a:gd name="T68" fmla="*/ 2147483647 w 1472"/>
                <a:gd name="T69" fmla="*/ 2147483647 h 760"/>
                <a:gd name="T70" fmla="*/ 2147483647 w 1472"/>
                <a:gd name="T71" fmla="*/ 2147483647 h 760"/>
                <a:gd name="T72" fmla="*/ 2147483647 w 1472"/>
                <a:gd name="T73" fmla="*/ 2147483647 h 760"/>
                <a:gd name="T74" fmla="*/ 2147483647 w 1472"/>
                <a:gd name="T75" fmla="*/ 2147483647 h 760"/>
                <a:gd name="T76" fmla="*/ 2147483647 w 1472"/>
                <a:gd name="T77" fmla="*/ 2147483647 h 760"/>
                <a:gd name="T78" fmla="*/ 2147483647 w 1472"/>
                <a:gd name="T79" fmla="*/ 2147483647 h 760"/>
                <a:gd name="T80" fmla="*/ 2147483647 w 1472"/>
                <a:gd name="T81" fmla="*/ 2147483647 h 760"/>
                <a:gd name="T82" fmla="*/ 2147483647 w 1472"/>
                <a:gd name="T83" fmla="*/ 2147483647 h 760"/>
                <a:gd name="T84" fmla="*/ 2147483647 w 1472"/>
                <a:gd name="T85" fmla="*/ 2147483647 h 760"/>
                <a:gd name="T86" fmla="*/ 2147483647 w 1472"/>
                <a:gd name="T87" fmla="*/ 2147483647 h 760"/>
                <a:gd name="T88" fmla="*/ 2147483647 w 1472"/>
                <a:gd name="T89" fmla="*/ 2147483647 h 760"/>
                <a:gd name="T90" fmla="*/ 2147483647 w 1472"/>
                <a:gd name="T91" fmla="*/ 2147483647 h 760"/>
                <a:gd name="T92" fmla="*/ 2147483647 w 1472"/>
                <a:gd name="T93" fmla="*/ 2147483647 h 760"/>
                <a:gd name="T94" fmla="*/ 2147483647 w 1472"/>
                <a:gd name="T95" fmla="*/ 2147483647 h 760"/>
                <a:gd name="T96" fmla="*/ 2147483647 w 1472"/>
                <a:gd name="T97" fmla="*/ 2147483647 h 760"/>
                <a:gd name="T98" fmla="*/ 2147483647 w 1472"/>
                <a:gd name="T99" fmla="*/ 2147483647 h 760"/>
                <a:gd name="T100" fmla="*/ 2147483647 w 1472"/>
                <a:gd name="T101" fmla="*/ 2147483647 h 760"/>
                <a:gd name="T102" fmla="*/ 2147483647 w 1472"/>
                <a:gd name="T103" fmla="*/ 2147483647 h 760"/>
                <a:gd name="T104" fmla="*/ 2147483647 w 1472"/>
                <a:gd name="T105" fmla="*/ 2147483647 h 760"/>
                <a:gd name="T106" fmla="*/ 2147483647 w 1472"/>
                <a:gd name="T107" fmla="*/ 2147483647 h 760"/>
                <a:gd name="T108" fmla="*/ 2147483647 w 1472"/>
                <a:gd name="T109" fmla="*/ 2147483647 h 760"/>
                <a:gd name="T110" fmla="*/ 2147483647 w 1472"/>
                <a:gd name="T111" fmla="*/ 2147483647 h 760"/>
                <a:gd name="T112" fmla="*/ 2147483647 w 1472"/>
                <a:gd name="T113" fmla="*/ 2147483647 h 760"/>
                <a:gd name="T114" fmla="*/ 2147483647 w 1472"/>
                <a:gd name="T115" fmla="*/ 2147483647 h 760"/>
                <a:gd name="T116" fmla="*/ 2147483647 w 1472"/>
                <a:gd name="T117" fmla="*/ 2147483647 h 760"/>
                <a:gd name="T118" fmla="*/ 2147483647 w 1472"/>
                <a:gd name="T119" fmla="*/ 2147483647 h 760"/>
                <a:gd name="T120" fmla="*/ 2147483647 w 1472"/>
                <a:gd name="T121" fmla="*/ 2147483647 h 760"/>
                <a:gd name="T122" fmla="*/ 2147483647 w 1472"/>
                <a:gd name="T123" fmla="*/ 2147483647 h 7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72"/>
                <a:gd name="T187" fmla="*/ 0 h 760"/>
                <a:gd name="T188" fmla="*/ 1472 w 1472"/>
                <a:gd name="T189" fmla="*/ 760 h 7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72" h="760">
                  <a:moveTo>
                    <a:pt x="184" y="458"/>
                  </a:moveTo>
                  <a:lnTo>
                    <a:pt x="184" y="460"/>
                  </a:lnTo>
                  <a:lnTo>
                    <a:pt x="185" y="463"/>
                  </a:lnTo>
                  <a:lnTo>
                    <a:pt x="185" y="469"/>
                  </a:lnTo>
                  <a:lnTo>
                    <a:pt x="188" y="473"/>
                  </a:lnTo>
                  <a:lnTo>
                    <a:pt x="189" y="478"/>
                  </a:lnTo>
                  <a:lnTo>
                    <a:pt x="191" y="486"/>
                  </a:lnTo>
                  <a:lnTo>
                    <a:pt x="192" y="490"/>
                  </a:lnTo>
                  <a:lnTo>
                    <a:pt x="194" y="493"/>
                  </a:lnTo>
                  <a:lnTo>
                    <a:pt x="197" y="496"/>
                  </a:lnTo>
                  <a:lnTo>
                    <a:pt x="201" y="501"/>
                  </a:lnTo>
                  <a:lnTo>
                    <a:pt x="202" y="504"/>
                  </a:lnTo>
                  <a:lnTo>
                    <a:pt x="203" y="508"/>
                  </a:lnTo>
                  <a:lnTo>
                    <a:pt x="203" y="509"/>
                  </a:lnTo>
                  <a:lnTo>
                    <a:pt x="201" y="509"/>
                  </a:lnTo>
                  <a:lnTo>
                    <a:pt x="198" y="509"/>
                  </a:lnTo>
                  <a:lnTo>
                    <a:pt x="198" y="510"/>
                  </a:lnTo>
                  <a:lnTo>
                    <a:pt x="201" y="515"/>
                  </a:lnTo>
                  <a:lnTo>
                    <a:pt x="205" y="519"/>
                  </a:lnTo>
                  <a:lnTo>
                    <a:pt x="206" y="518"/>
                  </a:lnTo>
                  <a:lnTo>
                    <a:pt x="208" y="515"/>
                  </a:lnTo>
                  <a:lnTo>
                    <a:pt x="210" y="512"/>
                  </a:lnTo>
                  <a:lnTo>
                    <a:pt x="211" y="511"/>
                  </a:lnTo>
                  <a:lnTo>
                    <a:pt x="213" y="512"/>
                  </a:lnTo>
                  <a:lnTo>
                    <a:pt x="215" y="515"/>
                  </a:lnTo>
                  <a:lnTo>
                    <a:pt x="217" y="517"/>
                  </a:lnTo>
                  <a:lnTo>
                    <a:pt x="222" y="523"/>
                  </a:lnTo>
                  <a:lnTo>
                    <a:pt x="227" y="530"/>
                  </a:lnTo>
                  <a:lnTo>
                    <a:pt x="231" y="538"/>
                  </a:lnTo>
                  <a:lnTo>
                    <a:pt x="234" y="546"/>
                  </a:lnTo>
                  <a:lnTo>
                    <a:pt x="235" y="550"/>
                  </a:lnTo>
                  <a:lnTo>
                    <a:pt x="239" y="555"/>
                  </a:lnTo>
                  <a:lnTo>
                    <a:pt x="244" y="557"/>
                  </a:lnTo>
                  <a:lnTo>
                    <a:pt x="249" y="557"/>
                  </a:lnTo>
                  <a:lnTo>
                    <a:pt x="257" y="561"/>
                  </a:lnTo>
                  <a:lnTo>
                    <a:pt x="264" y="563"/>
                  </a:lnTo>
                  <a:lnTo>
                    <a:pt x="272" y="565"/>
                  </a:lnTo>
                  <a:lnTo>
                    <a:pt x="278" y="567"/>
                  </a:lnTo>
                  <a:lnTo>
                    <a:pt x="282" y="570"/>
                  </a:lnTo>
                  <a:lnTo>
                    <a:pt x="285" y="573"/>
                  </a:lnTo>
                  <a:lnTo>
                    <a:pt x="291" y="581"/>
                  </a:lnTo>
                  <a:lnTo>
                    <a:pt x="295" y="585"/>
                  </a:lnTo>
                  <a:lnTo>
                    <a:pt x="298" y="587"/>
                  </a:lnTo>
                  <a:lnTo>
                    <a:pt x="304" y="588"/>
                  </a:lnTo>
                  <a:lnTo>
                    <a:pt x="309" y="588"/>
                  </a:lnTo>
                  <a:lnTo>
                    <a:pt x="310" y="588"/>
                  </a:lnTo>
                  <a:lnTo>
                    <a:pt x="310" y="591"/>
                  </a:lnTo>
                  <a:lnTo>
                    <a:pt x="310" y="595"/>
                  </a:lnTo>
                  <a:lnTo>
                    <a:pt x="310" y="597"/>
                  </a:lnTo>
                  <a:lnTo>
                    <a:pt x="310" y="598"/>
                  </a:lnTo>
                  <a:lnTo>
                    <a:pt x="312" y="600"/>
                  </a:lnTo>
                  <a:lnTo>
                    <a:pt x="318" y="602"/>
                  </a:lnTo>
                  <a:lnTo>
                    <a:pt x="796" y="598"/>
                  </a:lnTo>
                  <a:lnTo>
                    <a:pt x="806" y="606"/>
                  </a:lnTo>
                  <a:lnTo>
                    <a:pt x="814" y="611"/>
                  </a:lnTo>
                  <a:lnTo>
                    <a:pt x="817" y="612"/>
                  </a:lnTo>
                  <a:lnTo>
                    <a:pt x="819" y="613"/>
                  </a:lnTo>
                  <a:lnTo>
                    <a:pt x="833" y="610"/>
                  </a:lnTo>
                  <a:lnTo>
                    <a:pt x="839" y="608"/>
                  </a:lnTo>
                  <a:lnTo>
                    <a:pt x="842" y="608"/>
                  </a:lnTo>
                  <a:lnTo>
                    <a:pt x="845" y="610"/>
                  </a:lnTo>
                  <a:lnTo>
                    <a:pt x="848" y="613"/>
                  </a:lnTo>
                  <a:lnTo>
                    <a:pt x="852" y="616"/>
                  </a:lnTo>
                  <a:lnTo>
                    <a:pt x="856" y="616"/>
                  </a:lnTo>
                  <a:lnTo>
                    <a:pt x="865" y="616"/>
                  </a:lnTo>
                  <a:lnTo>
                    <a:pt x="875" y="616"/>
                  </a:lnTo>
                  <a:lnTo>
                    <a:pt x="884" y="618"/>
                  </a:lnTo>
                  <a:lnTo>
                    <a:pt x="894" y="620"/>
                  </a:lnTo>
                  <a:lnTo>
                    <a:pt x="897" y="620"/>
                  </a:lnTo>
                  <a:lnTo>
                    <a:pt x="898" y="619"/>
                  </a:lnTo>
                  <a:lnTo>
                    <a:pt x="900" y="618"/>
                  </a:lnTo>
                  <a:lnTo>
                    <a:pt x="903" y="616"/>
                  </a:lnTo>
                  <a:lnTo>
                    <a:pt x="911" y="616"/>
                  </a:lnTo>
                  <a:lnTo>
                    <a:pt x="914" y="617"/>
                  </a:lnTo>
                  <a:lnTo>
                    <a:pt x="917" y="618"/>
                  </a:lnTo>
                  <a:lnTo>
                    <a:pt x="931" y="629"/>
                  </a:lnTo>
                  <a:lnTo>
                    <a:pt x="946" y="638"/>
                  </a:lnTo>
                  <a:lnTo>
                    <a:pt x="961" y="645"/>
                  </a:lnTo>
                  <a:lnTo>
                    <a:pt x="978" y="651"/>
                  </a:lnTo>
                  <a:lnTo>
                    <a:pt x="980" y="653"/>
                  </a:lnTo>
                  <a:lnTo>
                    <a:pt x="983" y="657"/>
                  </a:lnTo>
                  <a:lnTo>
                    <a:pt x="988" y="669"/>
                  </a:lnTo>
                  <a:lnTo>
                    <a:pt x="991" y="674"/>
                  </a:lnTo>
                  <a:lnTo>
                    <a:pt x="994" y="678"/>
                  </a:lnTo>
                  <a:lnTo>
                    <a:pt x="999" y="682"/>
                  </a:lnTo>
                  <a:lnTo>
                    <a:pt x="1003" y="687"/>
                  </a:lnTo>
                  <a:lnTo>
                    <a:pt x="1012" y="699"/>
                  </a:lnTo>
                  <a:lnTo>
                    <a:pt x="1017" y="710"/>
                  </a:lnTo>
                  <a:lnTo>
                    <a:pt x="1021" y="722"/>
                  </a:lnTo>
                  <a:lnTo>
                    <a:pt x="1021" y="727"/>
                  </a:lnTo>
                  <a:lnTo>
                    <a:pt x="1020" y="731"/>
                  </a:lnTo>
                  <a:lnTo>
                    <a:pt x="1015" y="739"/>
                  </a:lnTo>
                  <a:lnTo>
                    <a:pt x="1003" y="753"/>
                  </a:lnTo>
                  <a:lnTo>
                    <a:pt x="1003" y="754"/>
                  </a:lnTo>
                  <a:lnTo>
                    <a:pt x="1003" y="755"/>
                  </a:lnTo>
                  <a:lnTo>
                    <a:pt x="1006" y="758"/>
                  </a:lnTo>
                  <a:lnTo>
                    <a:pt x="1012" y="760"/>
                  </a:lnTo>
                  <a:lnTo>
                    <a:pt x="1020" y="760"/>
                  </a:lnTo>
                  <a:lnTo>
                    <a:pt x="1029" y="759"/>
                  </a:lnTo>
                  <a:lnTo>
                    <a:pt x="1039" y="757"/>
                  </a:lnTo>
                  <a:lnTo>
                    <a:pt x="1058" y="751"/>
                  </a:lnTo>
                  <a:lnTo>
                    <a:pt x="1076" y="742"/>
                  </a:lnTo>
                  <a:lnTo>
                    <a:pt x="1078" y="740"/>
                  </a:lnTo>
                  <a:lnTo>
                    <a:pt x="1081" y="736"/>
                  </a:lnTo>
                  <a:lnTo>
                    <a:pt x="1082" y="734"/>
                  </a:lnTo>
                  <a:lnTo>
                    <a:pt x="1086" y="732"/>
                  </a:lnTo>
                  <a:lnTo>
                    <a:pt x="1090" y="729"/>
                  </a:lnTo>
                  <a:lnTo>
                    <a:pt x="1093" y="727"/>
                  </a:lnTo>
                  <a:lnTo>
                    <a:pt x="1101" y="722"/>
                  </a:lnTo>
                  <a:lnTo>
                    <a:pt x="1104" y="722"/>
                  </a:lnTo>
                  <a:lnTo>
                    <a:pt x="1105" y="722"/>
                  </a:lnTo>
                  <a:lnTo>
                    <a:pt x="1109" y="723"/>
                  </a:lnTo>
                  <a:lnTo>
                    <a:pt x="1112" y="722"/>
                  </a:lnTo>
                  <a:lnTo>
                    <a:pt x="1118" y="721"/>
                  </a:lnTo>
                  <a:lnTo>
                    <a:pt x="1121" y="720"/>
                  </a:lnTo>
                  <a:lnTo>
                    <a:pt x="1124" y="716"/>
                  </a:lnTo>
                  <a:lnTo>
                    <a:pt x="1137" y="701"/>
                  </a:lnTo>
                  <a:lnTo>
                    <a:pt x="1140" y="697"/>
                  </a:lnTo>
                  <a:lnTo>
                    <a:pt x="1144" y="694"/>
                  </a:lnTo>
                  <a:lnTo>
                    <a:pt x="1149" y="693"/>
                  </a:lnTo>
                  <a:lnTo>
                    <a:pt x="1154" y="691"/>
                  </a:lnTo>
                  <a:lnTo>
                    <a:pt x="1166" y="693"/>
                  </a:lnTo>
                  <a:lnTo>
                    <a:pt x="1177" y="694"/>
                  </a:lnTo>
                  <a:lnTo>
                    <a:pt x="1187" y="694"/>
                  </a:lnTo>
                  <a:lnTo>
                    <a:pt x="1192" y="693"/>
                  </a:lnTo>
                  <a:lnTo>
                    <a:pt x="1198" y="691"/>
                  </a:lnTo>
                  <a:lnTo>
                    <a:pt x="1208" y="684"/>
                  </a:lnTo>
                  <a:lnTo>
                    <a:pt x="1217" y="676"/>
                  </a:lnTo>
                  <a:lnTo>
                    <a:pt x="1224" y="666"/>
                  </a:lnTo>
                  <a:lnTo>
                    <a:pt x="1231" y="658"/>
                  </a:lnTo>
                  <a:lnTo>
                    <a:pt x="1236" y="651"/>
                  </a:lnTo>
                  <a:lnTo>
                    <a:pt x="1238" y="648"/>
                  </a:lnTo>
                  <a:lnTo>
                    <a:pt x="1241" y="645"/>
                  </a:lnTo>
                  <a:lnTo>
                    <a:pt x="1247" y="643"/>
                  </a:lnTo>
                  <a:lnTo>
                    <a:pt x="1253" y="643"/>
                  </a:lnTo>
                  <a:lnTo>
                    <a:pt x="1260" y="643"/>
                  </a:lnTo>
                  <a:lnTo>
                    <a:pt x="1266" y="643"/>
                  </a:lnTo>
                  <a:lnTo>
                    <a:pt x="1266" y="650"/>
                  </a:lnTo>
                  <a:lnTo>
                    <a:pt x="1267" y="658"/>
                  </a:lnTo>
                  <a:lnTo>
                    <a:pt x="1270" y="668"/>
                  </a:lnTo>
                  <a:lnTo>
                    <a:pt x="1272" y="677"/>
                  </a:lnTo>
                  <a:lnTo>
                    <a:pt x="1275" y="684"/>
                  </a:lnTo>
                  <a:lnTo>
                    <a:pt x="1278" y="687"/>
                  </a:lnTo>
                  <a:lnTo>
                    <a:pt x="1280" y="689"/>
                  </a:lnTo>
                  <a:lnTo>
                    <a:pt x="1284" y="685"/>
                  </a:lnTo>
                  <a:lnTo>
                    <a:pt x="1289" y="683"/>
                  </a:lnTo>
                  <a:lnTo>
                    <a:pt x="1300" y="682"/>
                  </a:lnTo>
                  <a:lnTo>
                    <a:pt x="1303" y="681"/>
                  </a:lnTo>
                  <a:lnTo>
                    <a:pt x="1304" y="680"/>
                  </a:lnTo>
                  <a:lnTo>
                    <a:pt x="1307" y="678"/>
                  </a:lnTo>
                  <a:lnTo>
                    <a:pt x="1309" y="678"/>
                  </a:lnTo>
                  <a:lnTo>
                    <a:pt x="1312" y="677"/>
                  </a:lnTo>
                  <a:lnTo>
                    <a:pt x="1317" y="674"/>
                  </a:lnTo>
                  <a:lnTo>
                    <a:pt x="1321" y="674"/>
                  </a:lnTo>
                  <a:lnTo>
                    <a:pt x="1322" y="674"/>
                  </a:lnTo>
                  <a:lnTo>
                    <a:pt x="1323" y="675"/>
                  </a:lnTo>
                  <a:lnTo>
                    <a:pt x="1322" y="676"/>
                  </a:lnTo>
                  <a:lnTo>
                    <a:pt x="1322" y="677"/>
                  </a:lnTo>
                  <a:lnTo>
                    <a:pt x="1319" y="681"/>
                  </a:lnTo>
                  <a:lnTo>
                    <a:pt x="1317" y="683"/>
                  </a:lnTo>
                  <a:lnTo>
                    <a:pt x="1317" y="684"/>
                  </a:lnTo>
                  <a:lnTo>
                    <a:pt x="1318" y="685"/>
                  </a:lnTo>
                  <a:lnTo>
                    <a:pt x="1321" y="688"/>
                  </a:lnTo>
                  <a:lnTo>
                    <a:pt x="1323" y="689"/>
                  </a:lnTo>
                  <a:lnTo>
                    <a:pt x="1328" y="689"/>
                  </a:lnTo>
                  <a:lnTo>
                    <a:pt x="1335" y="688"/>
                  </a:lnTo>
                  <a:lnTo>
                    <a:pt x="1340" y="684"/>
                  </a:lnTo>
                  <a:lnTo>
                    <a:pt x="1342" y="684"/>
                  </a:lnTo>
                  <a:lnTo>
                    <a:pt x="1341" y="688"/>
                  </a:lnTo>
                  <a:lnTo>
                    <a:pt x="1338" y="690"/>
                  </a:lnTo>
                  <a:lnTo>
                    <a:pt x="1336" y="691"/>
                  </a:lnTo>
                  <a:lnTo>
                    <a:pt x="1332" y="693"/>
                  </a:lnTo>
                  <a:lnTo>
                    <a:pt x="1326" y="694"/>
                  </a:lnTo>
                  <a:lnTo>
                    <a:pt x="1319" y="695"/>
                  </a:lnTo>
                  <a:lnTo>
                    <a:pt x="1313" y="699"/>
                  </a:lnTo>
                  <a:lnTo>
                    <a:pt x="1307" y="703"/>
                  </a:lnTo>
                  <a:lnTo>
                    <a:pt x="1303" y="704"/>
                  </a:lnTo>
                  <a:lnTo>
                    <a:pt x="1299" y="704"/>
                  </a:lnTo>
                  <a:lnTo>
                    <a:pt x="1297" y="704"/>
                  </a:lnTo>
                  <a:lnTo>
                    <a:pt x="1295" y="707"/>
                  </a:lnTo>
                  <a:lnTo>
                    <a:pt x="1295" y="712"/>
                  </a:lnTo>
                  <a:lnTo>
                    <a:pt x="1295" y="715"/>
                  </a:lnTo>
                  <a:lnTo>
                    <a:pt x="1295" y="719"/>
                  </a:lnTo>
                  <a:lnTo>
                    <a:pt x="1294" y="721"/>
                  </a:lnTo>
                  <a:lnTo>
                    <a:pt x="1291" y="722"/>
                  </a:lnTo>
                  <a:lnTo>
                    <a:pt x="1291" y="725"/>
                  </a:lnTo>
                  <a:lnTo>
                    <a:pt x="1294" y="726"/>
                  </a:lnTo>
                  <a:lnTo>
                    <a:pt x="1298" y="727"/>
                  </a:lnTo>
                  <a:lnTo>
                    <a:pt x="1299" y="729"/>
                  </a:lnTo>
                  <a:lnTo>
                    <a:pt x="1300" y="732"/>
                  </a:lnTo>
                  <a:lnTo>
                    <a:pt x="1300" y="735"/>
                  </a:lnTo>
                  <a:lnTo>
                    <a:pt x="1302" y="736"/>
                  </a:lnTo>
                  <a:lnTo>
                    <a:pt x="1307" y="734"/>
                  </a:lnTo>
                  <a:lnTo>
                    <a:pt x="1309" y="732"/>
                  </a:lnTo>
                  <a:lnTo>
                    <a:pt x="1316" y="725"/>
                  </a:lnTo>
                  <a:lnTo>
                    <a:pt x="1318" y="723"/>
                  </a:lnTo>
                  <a:lnTo>
                    <a:pt x="1319" y="722"/>
                  </a:lnTo>
                  <a:lnTo>
                    <a:pt x="1321" y="719"/>
                  </a:lnTo>
                  <a:lnTo>
                    <a:pt x="1323" y="715"/>
                  </a:lnTo>
                  <a:lnTo>
                    <a:pt x="1330" y="709"/>
                  </a:lnTo>
                  <a:lnTo>
                    <a:pt x="1336" y="704"/>
                  </a:lnTo>
                  <a:lnTo>
                    <a:pt x="1345" y="701"/>
                  </a:lnTo>
                  <a:lnTo>
                    <a:pt x="1352" y="700"/>
                  </a:lnTo>
                  <a:lnTo>
                    <a:pt x="1360" y="696"/>
                  </a:lnTo>
                  <a:lnTo>
                    <a:pt x="1374" y="689"/>
                  </a:lnTo>
                  <a:lnTo>
                    <a:pt x="1375" y="689"/>
                  </a:lnTo>
                  <a:lnTo>
                    <a:pt x="1377" y="689"/>
                  </a:lnTo>
                  <a:lnTo>
                    <a:pt x="1378" y="690"/>
                  </a:lnTo>
                  <a:lnTo>
                    <a:pt x="1379" y="689"/>
                  </a:lnTo>
                  <a:lnTo>
                    <a:pt x="1379" y="685"/>
                  </a:lnTo>
                  <a:lnTo>
                    <a:pt x="1378" y="682"/>
                  </a:lnTo>
                  <a:lnTo>
                    <a:pt x="1374" y="678"/>
                  </a:lnTo>
                  <a:lnTo>
                    <a:pt x="1370" y="677"/>
                  </a:lnTo>
                  <a:lnTo>
                    <a:pt x="1364" y="677"/>
                  </a:lnTo>
                  <a:lnTo>
                    <a:pt x="1358" y="677"/>
                  </a:lnTo>
                  <a:lnTo>
                    <a:pt x="1351" y="677"/>
                  </a:lnTo>
                  <a:lnTo>
                    <a:pt x="1344" y="676"/>
                  </a:lnTo>
                  <a:lnTo>
                    <a:pt x="1338" y="674"/>
                  </a:lnTo>
                  <a:lnTo>
                    <a:pt x="1333" y="669"/>
                  </a:lnTo>
                  <a:lnTo>
                    <a:pt x="1328" y="664"/>
                  </a:lnTo>
                  <a:lnTo>
                    <a:pt x="1326" y="657"/>
                  </a:lnTo>
                  <a:lnTo>
                    <a:pt x="1323" y="652"/>
                  </a:lnTo>
                  <a:lnTo>
                    <a:pt x="1319" y="649"/>
                  </a:lnTo>
                  <a:lnTo>
                    <a:pt x="1316" y="646"/>
                  </a:lnTo>
                  <a:lnTo>
                    <a:pt x="1311" y="644"/>
                  </a:lnTo>
                  <a:lnTo>
                    <a:pt x="1311" y="642"/>
                  </a:lnTo>
                  <a:lnTo>
                    <a:pt x="1317" y="638"/>
                  </a:lnTo>
                  <a:lnTo>
                    <a:pt x="1325" y="633"/>
                  </a:lnTo>
                  <a:lnTo>
                    <a:pt x="1327" y="631"/>
                  </a:lnTo>
                  <a:lnTo>
                    <a:pt x="1328" y="629"/>
                  </a:lnTo>
                  <a:lnTo>
                    <a:pt x="1328" y="627"/>
                  </a:lnTo>
                  <a:lnTo>
                    <a:pt x="1327" y="625"/>
                  </a:lnTo>
                  <a:lnTo>
                    <a:pt x="1323" y="624"/>
                  </a:lnTo>
                  <a:lnTo>
                    <a:pt x="1319" y="623"/>
                  </a:lnTo>
                  <a:lnTo>
                    <a:pt x="1311" y="625"/>
                  </a:lnTo>
                  <a:lnTo>
                    <a:pt x="1302" y="626"/>
                  </a:lnTo>
                  <a:lnTo>
                    <a:pt x="1297" y="626"/>
                  </a:lnTo>
                  <a:lnTo>
                    <a:pt x="1293" y="626"/>
                  </a:lnTo>
                  <a:lnTo>
                    <a:pt x="1288" y="625"/>
                  </a:lnTo>
                  <a:lnTo>
                    <a:pt x="1283" y="624"/>
                  </a:lnTo>
                  <a:lnTo>
                    <a:pt x="1285" y="621"/>
                  </a:lnTo>
                  <a:lnTo>
                    <a:pt x="1288" y="620"/>
                  </a:lnTo>
                  <a:lnTo>
                    <a:pt x="1295" y="619"/>
                  </a:lnTo>
                  <a:lnTo>
                    <a:pt x="1309" y="619"/>
                  </a:lnTo>
                  <a:lnTo>
                    <a:pt x="1314" y="618"/>
                  </a:lnTo>
                  <a:lnTo>
                    <a:pt x="1318" y="617"/>
                  </a:lnTo>
                  <a:lnTo>
                    <a:pt x="1322" y="614"/>
                  </a:lnTo>
                  <a:lnTo>
                    <a:pt x="1326" y="611"/>
                  </a:lnTo>
                  <a:lnTo>
                    <a:pt x="1327" y="607"/>
                  </a:lnTo>
                  <a:lnTo>
                    <a:pt x="1328" y="605"/>
                  </a:lnTo>
                  <a:lnTo>
                    <a:pt x="1328" y="601"/>
                  </a:lnTo>
                  <a:lnTo>
                    <a:pt x="1327" y="599"/>
                  </a:lnTo>
                  <a:lnTo>
                    <a:pt x="1321" y="595"/>
                  </a:lnTo>
                  <a:lnTo>
                    <a:pt x="1314" y="593"/>
                  </a:lnTo>
                  <a:lnTo>
                    <a:pt x="1307" y="592"/>
                  </a:lnTo>
                  <a:lnTo>
                    <a:pt x="1299" y="593"/>
                  </a:lnTo>
                  <a:lnTo>
                    <a:pt x="1290" y="594"/>
                  </a:lnTo>
                  <a:lnTo>
                    <a:pt x="1284" y="598"/>
                  </a:lnTo>
                  <a:lnTo>
                    <a:pt x="1276" y="601"/>
                  </a:lnTo>
                  <a:lnTo>
                    <a:pt x="1271" y="607"/>
                  </a:lnTo>
                  <a:lnTo>
                    <a:pt x="1258" y="617"/>
                  </a:lnTo>
                  <a:lnTo>
                    <a:pt x="1253" y="623"/>
                  </a:lnTo>
                  <a:lnTo>
                    <a:pt x="1248" y="629"/>
                  </a:lnTo>
                  <a:lnTo>
                    <a:pt x="1243" y="632"/>
                  </a:lnTo>
                  <a:lnTo>
                    <a:pt x="1239" y="636"/>
                  </a:lnTo>
                  <a:lnTo>
                    <a:pt x="1236" y="640"/>
                  </a:lnTo>
                  <a:lnTo>
                    <a:pt x="1229" y="643"/>
                  </a:lnTo>
                  <a:lnTo>
                    <a:pt x="1224" y="644"/>
                  </a:lnTo>
                  <a:lnTo>
                    <a:pt x="1219" y="644"/>
                  </a:lnTo>
                  <a:lnTo>
                    <a:pt x="1219" y="643"/>
                  </a:lnTo>
                  <a:lnTo>
                    <a:pt x="1219" y="640"/>
                  </a:lnTo>
                  <a:lnTo>
                    <a:pt x="1224" y="633"/>
                  </a:lnTo>
                  <a:lnTo>
                    <a:pt x="1227" y="627"/>
                  </a:lnTo>
                  <a:lnTo>
                    <a:pt x="1228" y="621"/>
                  </a:lnTo>
                  <a:lnTo>
                    <a:pt x="1231" y="618"/>
                  </a:lnTo>
                  <a:lnTo>
                    <a:pt x="1234" y="614"/>
                  </a:lnTo>
                  <a:lnTo>
                    <a:pt x="1239" y="611"/>
                  </a:lnTo>
                  <a:lnTo>
                    <a:pt x="1243" y="607"/>
                  </a:lnTo>
                  <a:lnTo>
                    <a:pt x="1247" y="604"/>
                  </a:lnTo>
                  <a:lnTo>
                    <a:pt x="1252" y="599"/>
                  </a:lnTo>
                  <a:lnTo>
                    <a:pt x="1262" y="591"/>
                  </a:lnTo>
                  <a:lnTo>
                    <a:pt x="1267" y="589"/>
                  </a:lnTo>
                  <a:lnTo>
                    <a:pt x="1271" y="589"/>
                  </a:lnTo>
                  <a:lnTo>
                    <a:pt x="1276" y="589"/>
                  </a:lnTo>
                  <a:lnTo>
                    <a:pt x="1278" y="588"/>
                  </a:lnTo>
                  <a:lnTo>
                    <a:pt x="1278" y="587"/>
                  </a:lnTo>
                  <a:lnTo>
                    <a:pt x="1278" y="582"/>
                  </a:lnTo>
                  <a:lnTo>
                    <a:pt x="1279" y="578"/>
                  </a:lnTo>
                  <a:lnTo>
                    <a:pt x="1280" y="576"/>
                  </a:lnTo>
                  <a:lnTo>
                    <a:pt x="1281" y="575"/>
                  </a:lnTo>
                  <a:lnTo>
                    <a:pt x="1285" y="574"/>
                  </a:lnTo>
                  <a:lnTo>
                    <a:pt x="1290" y="568"/>
                  </a:lnTo>
                  <a:lnTo>
                    <a:pt x="1293" y="567"/>
                  </a:lnTo>
                  <a:lnTo>
                    <a:pt x="1297" y="566"/>
                  </a:lnTo>
                  <a:lnTo>
                    <a:pt x="1305" y="568"/>
                  </a:lnTo>
                  <a:lnTo>
                    <a:pt x="1312" y="569"/>
                  </a:lnTo>
                  <a:lnTo>
                    <a:pt x="1318" y="568"/>
                  </a:lnTo>
                  <a:lnTo>
                    <a:pt x="1330" y="565"/>
                  </a:lnTo>
                  <a:lnTo>
                    <a:pt x="1335" y="562"/>
                  </a:lnTo>
                  <a:lnTo>
                    <a:pt x="1337" y="562"/>
                  </a:lnTo>
                  <a:lnTo>
                    <a:pt x="1338" y="562"/>
                  </a:lnTo>
                  <a:lnTo>
                    <a:pt x="1345" y="566"/>
                  </a:lnTo>
                  <a:lnTo>
                    <a:pt x="1351" y="567"/>
                  </a:lnTo>
                  <a:lnTo>
                    <a:pt x="1358" y="568"/>
                  </a:lnTo>
                  <a:lnTo>
                    <a:pt x="1364" y="567"/>
                  </a:lnTo>
                  <a:lnTo>
                    <a:pt x="1375" y="565"/>
                  </a:lnTo>
                  <a:lnTo>
                    <a:pt x="1380" y="565"/>
                  </a:lnTo>
                  <a:lnTo>
                    <a:pt x="1385" y="566"/>
                  </a:lnTo>
                  <a:lnTo>
                    <a:pt x="1391" y="567"/>
                  </a:lnTo>
                  <a:lnTo>
                    <a:pt x="1396" y="566"/>
                  </a:lnTo>
                  <a:lnTo>
                    <a:pt x="1415" y="555"/>
                  </a:lnTo>
                  <a:lnTo>
                    <a:pt x="1416" y="554"/>
                  </a:lnTo>
                  <a:lnTo>
                    <a:pt x="1417" y="553"/>
                  </a:lnTo>
                  <a:lnTo>
                    <a:pt x="1420" y="546"/>
                  </a:lnTo>
                  <a:lnTo>
                    <a:pt x="1421" y="542"/>
                  </a:lnTo>
                  <a:lnTo>
                    <a:pt x="1425" y="538"/>
                  </a:lnTo>
                  <a:lnTo>
                    <a:pt x="1427" y="537"/>
                  </a:lnTo>
                  <a:lnTo>
                    <a:pt x="1430" y="537"/>
                  </a:lnTo>
                  <a:lnTo>
                    <a:pt x="1435" y="538"/>
                  </a:lnTo>
                  <a:lnTo>
                    <a:pt x="1439" y="541"/>
                  </a:lnTo>
                  <a:lnTo>
                    <a:pt x="1441" y="542"/>
                  </a:lnTo>
                  <a:lnTo>
                    <a:pt x="1444" y="542"/>
                  </a:lnTo>
                  <a:lnTo>
                    <a:pt x="1450" y="541"/>
                  </a:lnTo>
                  <a:lnTo>
                    <a:pt x="1457" y="537"/>
                  </a:lnTo>
                  <a:lnTo>
                    <a:pt x="1462" y="534"/>
                  </a:lnTo>
                  <a:lnTo>
                    <a:pt x="1467" y="530"/>
                  </a:lnTo>
                  <a:lnTo>
                    <a:pt x="1471" y="525"/>
                  </a:lnTo>
                  <a:lnTo>
                    <a:pt x="1472" y="519"/>
                  </a:lnTo>
                  <a:lnTo>
                    <a:pt x="1472" y="514"/>
                  </a:lnTo>
                  <a:lnTo>
                    <a:pt x="1468" y="506"/>
                  </a:lnTo>
                  <a:lnTo>
                    <a:pt x="1468" y="503"/>
                  </a:lnTo>
                  <a:lnTo>
                    <a:pt x="1468" y="501"/>
                  </a:lnTo>
                  <a:lnTo>
                    <a:pt x="1467" y="498"/>
                  </a:lnTo>
                  <a:lnTo>
                    <a:pt x="1467" y="495"/>
                  </a:lnTo>
                  <a:lnTo>
                    <a:pt x="1467" y="492"/>
                  </a:lnTo>
                  <a:lnTo>
                    <a:pt x="1467" y="490"/>
                  </a:lnTo>
                  <a:lnTo>
                    <a:pt x="1465" y="487"/>
                  </a:lnTo>
                  <a:lnTo>
                    <a:pt x="1464" y="486"/>
                  </a:lnTo>
                  <a:lnTo>
                    <a:pt x="1459" y="486"/>
                  </a:lnTo>
                  <a:lnTo>
                    <a:pt x="1459" y="487"/>
                  </a:lnTo>
                  <a:lnTo>
                    <a:pt x="1454" y="487"/>
                  </a:lnTo>
                  <a:lnTo>
                    <a:pt x="1450" y="487"/>
                  </a:lnTo>
                  <a:lnTo>
                    <a:pt x="1449" y="487"/>
                  </a:lnTo>
                  <a:lnTo>
                    <a:pt x="1448" y="484"/>
                  </a:lnTo>
                  <a:lnTo>
                    <a:pt x="1450" y="478"/>
                  </a:lnTo>
                  <a:lnTo>
                    <a:pt x="1450" y="473"/>
                  </a:lnTo>
                  <a:lnTo>
                    <a:pt x="1448" y="469"/>
                  </a:lnTo>
                  <a:lnTo>
                    <a:pt x="1444" y="466"/>
                  </a:lnTo>
                  <a:lnTo>
                    <a:pt x="1441" y="466"/>
                  </a:lnTo>
                  <a:lnTo>
                    <a:pt x="1439" y="466"/>
                  </a:lnTo>
                  <a:lnTo>
                    <a:pt x="1431" y="470"/>
                  </a:lnTo>
                  <a:lnTo>
                    <a:pt x="1424" y="476"/>
                  </a:lnTo>
                  <a:lnTo>
                    <a:pt x="1410" y="487"/>
                  </a:lnTo>
                  <a:lnTo>
                    <a:pt x="1408" y="489"/>
                  </a:lnTo>
                  <a:lnTo>
                    <a:pt x="1406" y="489"/>
                  </a:lnTo>
                  <a:lnTo>
                    <a:pt x="1405" y="487"/>
                  </a:lnTo>
                  <a:lnTo>
                    <a:pt x="1403" y="486"/>
                  </a:lnTo>
                  <a:lnTo>
                    <a:pt x="1402" y="483"/>
                  </a:lnTo>
                  <a:lnTo>
                    <a:pt x="1402" y="480"/>
                  </a:lnTo>
                  <a:lnTo>
                    <a:pt x="1403" y="477"/>
                  </a:lnTo>
                  <a:lnTo>
                    <a:pt x="1406" y="474"/>
                  </a:lnTo>
                  <a:lnTo>
                    <a:pt x="1413" y="471"/>
                  </a:lnTo>
                  <a:lnTo>
                    <a:pt x="1421" y="466"/>
                  </a:lnTo>
                  <a:lnTo>
                    <a:pt x="1426" y="464"/>
                  </a:lnTo>
                  <a:lnTo>
                    <a:pt x="1432" y="463"/>
                  </a:lnTo>
                  <a:lnTo>
                    <a:pt x="1438" y="461"/>
                  </a:lnTo>
                  <a:lnTo>
                    <a:pt x="1444" y="459"/>
                  </a:lnTo>
                  <a:lnTo>
                    <a:pt x="1446" y="457"/>
                  </a:lnTo>
                  <a:lnTo>
                    <a:pt x="1446" y="455"/>
                  </a:lnTo>
                  <a:lnTo>
                    <a:pt x="1445" y="452"/>
                  </a:lnTo>
                  <a:lnTo>
                    <a:pt x="1443" y="451"/>
                  </a:lnTo>
                  <a:lnTo>
                    <a:pt x="1436" y="450"/>
                  </a:lnTo>
                  <a:lnTo>
                    <a:pt x="1431" y="451"/>
                  </a:lnTo>
                  <a:lnTo>
                    <a:pt x="1425" y="453"/>
                  </a:lnTo>
                  <a:lnTo>
                    <a:pt x="1424" y="453"/>
                  </a:lnTo>
                  <a:lnTo>
                    <a:pt x="1422" y="453"/>
                  </a:lnTo>
                  <a:lnTo>
                    <a:pt x="1420" y="451"/>
                  </a:lnTo>
                  <a:lnTo>
                    <a:pt x="1417" y="450"/>
                  </a:lnTo>
                  <a:lnTo>
                    <a:pt x="1412" y="448"/>
                  </a:lnTo>
                  <a:lnTo>
                    <a:pt x="1411" y="447"/>
                  </a:lnTo>
                  <a:lnTo>
                    <a:pt x="1410" y="446"/>
                  </a:lnTo>
                  <a:lnTo>
                    <a:pt x="1410" y="445"/>
                  </a:lnTo>
                  <a:lnTo>
                    <a:pt x="1407" y="444"/>
                  </a:lnTo>
                  <a:lnTo>
                    <a:pt x="1405" y="442"/>
                  </a:lnTo>
                  <a:lnTo>
                    <a:pt x="1401" y="445"/>
                  </a:lnTo>
                  <a:lnTo>
                    <a:pt x="1398" y="446"/>
                  </a:lnTo>
                  <a:lnTo>
                    <a:pt x="1396" y="446"/>
                  </a:lnTo>
                  <a:lnTo>
                    <a:pt x="1393" y="445"/>
                  </a:lnTo>
                  <a:lnTo>
                    <a:pt x="1392" y="441"/>
                  </a:lnTo>
                  <a:lnTo>
                    <a:pt x="1392" y="438"/>
                  </a:lnTo>
                  <a:lnTo>
                    <a:pt x="1391" y="434"/>
                  </a:lnTo>
                  <a:lnTo>
                    <a:pt x="1389" y="433"/>
                  </a:lnTo>
                  <a:lnTo>
                    <a:pt x="1388" y="432"/>
                  </a:lnTo>
                  <a:lnTo>
                    <a:pt x="1384" y="433"/>
                  </a:lnTo>
                  <a:lnTo>
                    <a:pt x="1383" y="433"/>
                  </a:lnTo>
                  <a:lnTo>
                    <a:pt x="1382" y="433"/>
                  </a:lnTo>
                  <a:lnTo>
                    <a:pt x="1379" y="428"/>
                  </a:lnTo>
                  <a:lnTo>
                    <a:pt x="1375" y="425"/>
                  </a:lnTo>
                  <a:lnTo>
                    <a:pt x="1374" y="422"/>
                  </a:lnTo>
                  <a:lnTo>
                    <a:pt x="1374" y="420"/>
                  </a:lnTo>
                  <a:lnTo>
                    <a:pt x="1374" y="415"/>
                  </a:lnTo>
                  <a:lnTo>
                    <a:pt x="1373" y="414"/>
                  </a:lnTo>
                  <a:lnTo>
                    <a:pt x="1373" y="410"/>
                  </a:lnTo>
                  <a:lnTo>
                    <a:pt x="1373" y="408"/>
                  </a:lnTo>
                  <a:lnTo>
                    <a:pt x="1370" y="403"/>
                  </a:lnTo>
                  <a:lnTo>
                    <a:pt x="1370" y="401"/>
                  </a:lnTo>
                  <a:lnTo>
                    <a:pt x="1370" y="400"/>
                  </a:lnTo>
                  <a:lnTo>
                    <a:pt x="1373" y="396"/>
                  </a:lnTo>
                  <a:lnTo>
                    <a:pt x="1377" y="393"/>
                  </a:lnTo>
                  <a:lnTo>
                    <a:pt x="1380" y="389"/>
                  </a:lnTo>
                  <a:lnTo>
                    <a:pt x="1380" y="387"/>
                  </a:lnTo>
                  <a:lnTo>
                    <a:pt x="1380" y="384"/>
                  </a:lnTo>
                  <a:lnTo>
                    <a:pt x="1379" y="383"/>
                  </a:lnTo>
                  <a:lnTo>
                    <a:pt x="1378" y="382"/>
                  </a:lnTo>
                  <a:lnTo>
                    <a:pt x="1375" y="383"/>
                  </a:lnTo>
                  <a:lnTo>
                    <a:pt x="1374" y="384"/>
                  </a:lnTo>
                  <a:lnTo>
                    <a:pt x="1371" y="388"/>
                  </a:lnTo>
                  <a:lnTo>
                    <a:pt x="1369" y="389"/>
                  </a:lnTo>
                  <a:lnTo>
                    <a:pt x="1368" y="388"/>
                  </a:lnTo>
                  <a:lnTo>
                    <a:pt x="1365" y="388"/>
                  </a:lnTo>
                  <a:lnTo>
                    <a:pt x="1365" y="387"/>
                  </a:lnTo>
                  <a:lnTo>
                    <a:pt x="1364" y="382"/>
                  </a:lnTo>
                  <a:lnTo>
                    <a:pt x="1363" y="378"/>
                  </a:lnTo>
                  <a:lnTo>
                    <a:pt x="1359" y="372"/>
                  </a:lnTo>
                  <a:lnTo>
                    <a:pt x="1354" y="368"/>
                  </a:lnTo>
                  <a:lnTo>
                    <a:pt x="1347" y="363"/>
                  </a:lnTo>
                  <a:lnTo>
                    <a:pt x="1345" y="361"/>
                  </a:lnTo>
                  <a:lnTo>
                    <a:pt x="1344" y="358"/>
                  </a:lnTo>
                  <a:lnTo>
                    <a:pt x="1342" y="351"/>
                  </a:lnTo>
                  <a:lnTo>
                    <a:pt x="1338" y="344"/>
                  </a:lnTo>
                  <a:lnTo>
                    <a:pt x="1336" y="337"/>
                  </a:lnTo>
                  <a:lnTo>
                    <a:pt x="1332" y="330"/>
                  </a:lnTo>
                  <a:lnTo>
                    <a:pt x="1332" y="324"/>
                  </a:lnTo>
                  <a:lnTo>
                    <a:pt x="1333" y="319"/>
                  </a:lnTo>
                  <a:lnTo>
                    <a:pt x="1332" y="317"/>
                  </a:lnTo>
                  <a:lnTo>
                    <a:pt x="1330" y="314"/>
                  </a:lnTo>
                  <a:lnTo>
                    <a:pt x="1326" y="316"/>
                  </a:lnTo>
                  <a:lnTo>
                    <a:pt x="1323" y="316"/>
                  </a:lnTo>
                  <a:lnTo>
                    <a:pt x="1322" y="316"/>
                  </a:lnTo>
                  <a:lnTo>
                    <a:pt x="1317" y="320"/>
                  </a:lnTo>
                  <a:lnTo>
                    <a:pt x="1313" y="325"/>
                  </a:lnTo>
                  <a:lnTo>
                    <a:pt x="1309" y="330"/>
                  </a:lnTo>
                  <a:lnTo>
                    <a:pt x="1304" y="335"/>
                  </a:lnTo>
                  <a:lnTo>
                    <a:pt x="1300" y="339"/>
                  </a:lnTo>
                  <a:lnTo>
                    <a:pt x="1298" y="345"/>
                  </a:lnTo>
                  <a:lnTo>
                    <a:pt x="1295" y="349"/>
                  </a:lnTo>
                  <a:lnTo>
                    <a:pt x="1293" y="351"/>
                  </a:lnTo>
                  <a:lnTo>
                    <a:pt x="1286" y="356"/>
                  </a:lnTo>
                  <a:lnTo>
                    <a:pt x="1283" y="359"/>
                  </a:lnTo>
                  <a:lnTo>
                    <a:pt x="1279" y="364"/>
                  </a:lnTo>
                  <a:lnTo>
                    <a:pt x="1276" y="365"/>
                  </a:lnTo>
                  <a:lnTo>
                    <a:pt x="1274" y="365"/>
                  </a:lnTo>
                  <a:lnTo>
                    <a:pt x="1271" y="364"/>
                  </a:lnTo>
                  <a:lnTo>
                    <a:pt x="1266" y="363"/>
                  </a:lnTo>
                  <a:lnTo>
                    <a:pt x="1264" y="362"/>
                  </a:lnTo>
                  <a:lnTo>
                    <a:pt x="1260" y="359"/>
                  </a:lnTo>
                  <a:lnTo>
                    <a:pt x="1257" y="356"/>
                  </a:lnTo>
                  <a:lnTo>
                    <a:pt x="1256" y="356"/>
                  </a:lnTo>
                  <a:lnTo>
                    <a:pt x="1255" y="356"/>
                  </a:lnTo>
                  <a:lnTo>
                    <a:pt x="1252" y="359"/>
                  </a:lnTo>
                  <a:lnTo>
                    <a:pt x="1248" y="361"/>
                  </a:lnTo>
                  <a:lnTo>
                    <a:pt x="1245" y="362"/>
                  </a:lnTo>
                  <a:lnTo>
                    <a:pt x="1242" y="359"/>
                  </a:lnTo>
                  <a:lnTo>
                    <a:pt x="1241" y="357"/>
                  </a:lnTo>
                  <a:lnTo>
                    <a:pt x="1242" y="355"/>
                  </a:lnTo>
                  <a:lnTo>
                    <a:pt x="1243" y="352"/>
                  </a:lnTo>
                  <a:lnTo>
                    <a:pt x="1243" y="351"/>
                  </a:lnTo>
                  <a:lnTo>
                    <a:pt x="1241" y="349"/>
                  </a:lnTo>
                  <a:lnTo>
                    <a:pt x="1236" y="346"/>
                  </a:lnTo>
                  <a:lnTo>
                    <a:pt x="1233" y="344"/>
                  </a:lnTo>
                  <a:lnTo>
                    <a:pt x="1233" y="343"/>
                  </a:lnTo>
                  <a:lnTo>
                    <a:pt x="1233" y="340"/>
                  </a:lnTo>
                  <a:lnTo>
                    <a:pt x="1236" y="336"/>
                  </a:lnTo>
                  <a:lnTo>
                    <a:pt x="1236" y="333"/>
                  </a:lnTo>
                  <a:lnTo>
                    <a:pt x="1237" y="331"/>
                  </a:lnTo>
                  <a:lnTo>
                    <a:pt x="1234" y="321"/>
                  </a:lnTo>
                  <a:lnTo>
                    <a:pt x="1234" y="317"/>
                  </a:lnTo>
                  <a:lnTo>
                    <a:pt x="1236" y="311"/>
                  </a:lnTo>
                  <a:lnTo>
                    <a:pt x="1236" y="307"/>
                  </a:lnTo>
                  <a:lnTo>
                    <a:pt x="1237" y="305"/>
                  </a:lnTo>
                  <a:lnTo>
                    <a:pt x="1238" y="304"/>
                  </a:lnTo>
                  <a:lnTo>
                    <a:pt x="1239" y="301"/>
                  </a:lnTo>
                  <a:lnTo>
                    <a:pt x="1241" y="299"/>
                  </a:lnTo>
                  <a:lnTo>
                    <a:pt x="1236" y="301"/>
                  </a:lnTo>
                  <a:lnTo>
                    <a:pt x="1233" y="301"/>
                  </a:lnTo>
                  <a:lnTo>
                    <a:pt x="1232" y="301"/>
                  </a:lnTo>
                  <a:lnTo>
                    <a:pt x="1223" y="299"/>
                  </a:lnTo>
                  <a:lnTo>
                    <a:pt x="1214" y="299"/>
                  </a:lnTo>
                  <a:lnTo>
                    <a:pt x="1210" y="299"/>
                  </a:lnTo>
                  <a:lnTo>
                    <a:pt x="1206" y="298"/>
                  </a:lnTo>
                  <a:lnTo>
                    <a:pt x="1204" y="295"/>
                  </a:lnTo>
                  <a:lnTo>
                    <a:pt x="1201" y="293"/>
                  </a:lnTo>
                  <a:lnTo>
                    <a:pt x="1196" y="287"/>
                  </a:lnTo>
                  <a:lnTo>
                    <a:pt x="1191" y="280"/>
                  </a:lnTo>
                  <a:lnTo>
                    <a:pt x="1190" y="279"/>
                  </a:lnTo>
                  <a:lnTo>
                    <a:pt x="1189" y="279"/>
                  </a:lnTo>
                  <a:lnTo>
                    <a:pt x="1185" y="278"/>
                  </a:lnTo>
                  <a:lnTo>
                    <a:pt x="1181" y="278"/>
                  </a:lnTo>
                  <a:lnTo>
                    <a:pt x="1178" y="278"/>
                  </a:lnTo>
                  <a:lnTo>
                    <a:pt x="1177" y="275"/>
                  </a:lnTo>
                  <a:lnTo>
                    <a:pt x="1172" y="269"/>
                  </a:lnTo>
                  <a:lnTo>
                    <a:pt x="1170" y="267"/>
                  </a:lnTo>
                  <a:lnTo>
                    <a:pt x="1166" y="267"/>
                  </a:lnTo>
                  <a:lnTo>
                    <a:pt x="1156" y="266"/>
                  </a:lnTo>
                  <a:lnTo>
                    <a:pt x="1145" y="265"/>
                  </a:lnTo>
                  <a:lnTo>
                    <a:pt x="1137" y="262"/>
                  </a:lnTo>
                  <a:lnTo>
                    <a:pt x="1126" y="262"/>
                  </a:lnTo>
                  <a:lnTo>
                    <a:pt x="1120" y="263"/>
                  </a:lnTo>
                  <a:lnTo>
                    <a:pt x="1118" y="263"/>
                  </a:lnTo>
                  <a:lnTo>
                    <a:pt x="1114" y="263"/>
                  </a:lnTo>
                  <a:lnTo>
                    <a:pt x="1109" y="261"/>
                  </a:lnTo>
                  <a:lnTo>
                    <a:pt x="1104" y="259"/>
                  </a:lnTo>
                  <a:lnTo>
                    <a:pt x="1098" y="256"/>
                  </a:lnTo>
                  <a:lnTo>
                    <a:pt x="1095" y="252"/>
                  </a:lnTo>
                  <a:lnTo>
                    <a:pt x="1095" y="253"/>
                  </a:lnTo>
                  <a:lnTo>
                    <a:pt x="1093" y="253"/>
                  </a:lnTo>
                  <a:lnTo>
                    <a:pt x="1095" y="259"/>
                  </a:lnTo>
                  <a:lnTo>
                    <a:pt x="1095" y="262"/>
                  </a:lnTo>
                  <a:lnTo>
                    <a:pt x="1095" y="265"/>
                  </a:lnTo>
                  <a:lnTo>
                    <a:pt x="1092" y="273"/>
                  </a:lnTo>
                  <a:lnTo>
                    <a:pt x="1090" y="280"/>
                  </a:lnTo>
                  <a:lnTo>
                    <a:pt x="1088" y="295"/>
                  </a:lnTo>
                  <a:lnTo>
                    <a:pt x="1088" y="298"/>
                  </a:lnTo>
                  <a:lnTo>
                    <a:pt x="1086" y="301"/>
                  </a:lnTo>
                  <a:lnTo>
                    <a:pt x="1085" y="304"/>
                  </a:lnTo>
                  <a:lnTo>
                    <a:pt x="1086" y="306"/>
                  </a:lnTo>
                  <a:lnTo>
                    <a:pt x="1091" y="317"/>
                  </a:lnTo>
                  <a:lnTo>
                    <a:pt x="1093" y="319"/>
                  </a:lnTo>
                  <a:lnTo>
                    <a:pt x="1096" y="320"/>
                  </a:lnTo>
                  <a:lnTo>
                    <a:pt x="1101" y="323"/>
                  </a:lnTo>
                  <a:lnTo>
                    <a:pt x="1104" y="324"/>
                  </a:lnTo>
                  <a:lnTo>
                    <a:pt x="1105" y="326"/>
                  </a:lnTo>
                  <a:lnTo>
                    <a:pt x="1104" y="330"/>
                  </a:lnTo>
                  <a:lnTo>
                    <a:pt x="1102" y="335"/>
                  </a:lnTo>
                  <a:lnTo>
                    <a:pt x="1098" y="338"/>
                  </a:lnTo>
                  <a:lnTo>
                    <a:pt x="1085" y="349"/>
                  </a:lnTo>
                  <a:lnTo>
                    <a:pt x="1079" y="355"/>
                  </a:lnTo>
                  <a:lnTo>
                    <a:pt x="1078" y="358"/>
                  </a:lnTo>
                  <a:lnTo>
                    <a:pt x="1077" y="362"/>
                  </a:lnTo>
                  <a:lnTo>
                    <a:pt x="1078" y="364"/>
                  </a:lnTo>
                  <a:lnTo>
                    <a:pt x="1081" y="364"/>
                  </a:lnTo>
                  <a:lnTo>
                    <a:pt x="1086" y="365"/>
                  </a:lnTo>
                  <a:lnTo>
                    <a:pt x="1090" y="368"/>
                  </a:lnTo>
                  <a:lnTo>
                    <a:pt x="1091" y="370"/>
                  </a:lnTo>
                  <a:lnTo>
                    <a:pt x="1095" y="378"/>
                  </a:lnTo>
                  <a:lnTo>
                    <a:pt x="1101" y="387"/>
                  </a:lnTo>
                  <a:lnTo>
                    <a:pt x="1104" y="391"/>
                  </a:lnTo>
                  <a:lnTo>
                    <a:pt x="1105" y="397"/>
                  </a:lnTo>
                  <a:lnTo>
                    <a:pt x="1106" y="402"/>
                  </a:lnTo>
                  <a:lnTo>
                    <a:pt x="1109" y="408"/>
                  </a:lnTo>
                  <a:lnTo>
                    <a:pt x="1109" y="410"/>
                  </a:lnTo>
                  <a:lnTo>
                    <a:pt x="1109" y="413"/>
                  </a:lnTo>
                  <a:lnTo>
                    <a:pt x="1109" y="415"/>
                  </a:lnTo>
                  <a:lnTo>
                    <a:pt x="1107" y="419"/>
                  </a:lnTo>
                  <a:lnTo>
                    <a:pt x="1102" y="427"/>
                  </a:lnTo>
                  <a:lnTo>
                    <a:pt x="1097" y="435"/>
                  </a:lnTo>
                  <a:lnTo>
                    <a:pt x="1096" y="439"/>
                  </a:lnTo>
                  <a:lnTo>
                    <a:pt x="1092" y="440"/>
                  </a:lnTo>
                  <a:lnTo>
                    <a:pt x="1083" y="445"/>
                  </a:lnTo>
                  <a:lnTo>
                    <a:pt x="1076" y="448"/>
                  </a:lnTo>
                  <a:lnTo>
                    <a:pt x="1068" y="454"/>
                  </a:lnTo>
                  <a:lnTo>
                    <a:pt x="1065" y="458"/>
                  </a:lnTo>
                  <a:lnTo>
                    <a:pt x="1064" y="461"/>
                  </a:lnTo>
                  <a:lnTo>
                    <a:pt x="1065" y="464"/>
                  </a:lnTo>
                  <a:lnTo>
                    <a:pt x="1069" y="467"/>
                  </a:lnTo>
                  <a:lnTo>
                    <a:pt x="1082" y="492"/>
                  </a:lnTo>
                  <a:lnTo>
                    <a:pt x="1082" y="496"/>
                  </a:lnTo>
                  <a:lnTo>
                    <a:pt x="1082" y="501"/>
                  </a:lnTo>
                  <a:lnTo>
                    <a:pt x="1083" y="504"/>
                  </a:lnTo>
                  <a:lnTo>
                    <a:pt x="1085" y="508"/>
                  </a:lnTo>
                  <a:lnTo>
                    <a:pt x="1087" y="515"/>
                  </a:lnTo>
                  <a:lnTo>
                    <a:pt x="1090" y="522"/>
                  </a:lnTo>
                  <a:lnTo>
                    <a:pt x="1090" y="529"/>
                  </a:lnTo>
                  <a:lnTo>
                    <a:pt x="1088" y="536"/>
                  </a:lnTo>
                  <a:lnTo>
                    <a:pt x="1086" y="540"/>
                  </a:lnTo>
                  <a:lnTo>
                    <a:pt x="1083" y="543"/>
                  </a:lnTo>
                  <a:lnTo>
                    <a:pt x="1079" y="546"/>
                  </a:lnTo>
                  <a:lnTo>
                    <a:pt x="1076" y="547"/>
                  </a:lnTo>
                  <a:lnTo>
                    <a:pt x="1076" y="544"/>
                  </a:lnTo>
                  <a:lnTo>
                    <a:pt x="1074" y="541"/>
                  </a:lnTo>
                  <a:lnTo>
                    <a:pt x="1073" y="540"/>
                  </a:lnTo>
                  <a:lnTo>
                    <a:pt x="1071" y="540"/>
                  </a:lnTo>
                  <a:lnTo>
                    <a:pt x="1068" y="541"/>
                  </a:lnTo>
                  <a:lnTo>
                    <a:pt x="1068" y="542"/>
                  </a:lnTo>
                  <a:lnTo>
                    <a:pt x="1067" y="547"/>
                  </a:lnTo>
                  <a:lnTo>
                    <a:pt x="1064" y="550"/>
                  </a:lnTo>
                  <a:lnTo>
                    <a:pt x="1063" y="550"/>
                  </a:lnTo>
                  <a:lnTo>
                    <a:pt x="1060" y="550"/>
                  </a:lnTo>
                  <a:lnTo>
                    <a:pt x="1054" y="547"/>
                  </a:lnTo>
                  <a:lnTo>
                    <a:pt x="1050" y="546"/>
                  </a:lnTo>
                  <a:lnTo>
                    <a:pt x="1046" y="546"/>
                  </a:lnTo>
                  <a:lnTo>
                    <a:pt x="1045" y="544"/>
                  </a:lnTo>
                  <a:lnTo>
                    <a:pt x="1045" y="543"/>
                  </a:lnTo>
                  <a:lnTo>
                    <a:pt x="1045" y="541"/>
                  </a:lnTo>
                  <a:lnTo>
                    <a:pt x="1046" y="540"/>
                  </a:lnTo>
                  <a:lnTo>
                    <a:pt x="1046" y="538"/>
                  </a:lnTo>
                  <a:lnTo>
                    <a:pt x="1046" y="537"/>
                  </a:lnTo>
                  <a:lnTo>
                    <a:pt x="1036" y="528"/>
                  </a:lnTo>
                  <a:lnTo>
                    <a:pt x="1032" y="524"/>
                  </a:lnTo>
                  <a:lnTo>
                    <a:pt x="1027" y="518"/>
                  </a:lnTo>
                  <a:lnTo>
                    <a:pt x="1026" y="517"/>
                  </a:lnTo>
                  <a:lnTo>
                    <a:pt x="1024" y="517"/>
                  </a:lnTo>
                  <a:lnTo>
                    <a:pt x="1021" y="516"/>
                  </a:lnTo>
                  <a:lnTo>
                    <a:pt x="1018" y="515"/>
                  </a:lnTo>
                  <a:lnTo>
                    <a:pt x="1017" y="511"/>
                  </a:lnTo>
                  <a:lnTo>
                    <a:pt x="1017" y="509"/>
                  </a:lnTo>
                  <a:lnTo>
                    <a:pt x="1017" y="498"/>
                  </a:lnTo>
                  <a:lnTo>
                    <a:pt x="1017" y="487"/>
                  </a:lnTo>
                  <a:lnTo>
                    <a:pt x="1018" y="483"/>
                  </a:lnTo>
                  <a:lnTo>
                    <a:pt x="1018" y="480"/>
                  </a:lnTo>
                  <a:lnTo>
                    <a:pt x="1017" y="478"/>
                  </a:lnTo>
                  <a:lnTo>
                    <a:pt x="1015" y="476"/>
                  </a:lnTo>
                  <a:lnTo>
                    <a:pt x="1012" y="472"/>
                  </a:lnTo>
                  <a:lnTo>
                    <a:pt x="1011" y="466"/>
                  </a:lnTo>
                  <a:lnTo>
                    <a:pt x="1011" y="454"/>
                  </a:lnTo>
                  <a:lnTo>
                    <a:pt x="1011" y="453"/>
                  </a:lnTo>
                  <a:lnTo>
                    <a:pt x="1008" y="452"/>
                  </a:lnTo>
                  <a:lnTo>
                    <a:pt x="1005" y="452"/>
                  </a:lnTo>
                  <a:lnTo>
                    <a:pt x="998" y="453"/>
                  </a:lnTo>
                  <a:lnTo>
                    <a:pt x="994" y="453"/>
                  </a:lnTo>
                  <a:lnTo>
                    <a:pt x="988" y="451"/>
                  </a:lnTo>
                  <a:lnTo>
                    <a:pt x="983" y="448"/>
                  </a:lnTo>
                  <a:lnTo>
                    <a:pt x="980" y="448"/>
                  </a:lnTo>
                  <a:lnTo>
                    <a:pt x="978" y="448"/>
                  </a:lnTo>
                  <a:lnTo>
                    <a:pt x="975" y="450"/>
                  </a:lnTo>
                  <a:lnTo>
                    <a:pt x="973" y="448"/>
                  </a:lnTo>
                  <a:lnTo>
                    <a:pt x="971" y="448"/>
                  </a:lnTo>
                  <a:lnTo>
                    <a:pt x="970" y="446"/>
                  </a:lnTo>
                  <a:lnTo>
                    <a:pt x="968" y="444"/>
                  </a:lnTo>
                  <a:lnTo>
                    <a:pt x="963" y="441"/>
                  </a:lnTo>
                  <a:lnTo>
                    <a:pt x="959" y="439"/>
                  </a:lnTo>
                  <a:lnTo>
                    <a:pt x="955" y="435"/>
                  </a:lnTo>
                  <a:lnTo>
                    <a:pt x="951" y="432"/>
                  </a:lnTo>
                  <a:lnTo>
                    <a:pt x="949" y="432"/>
                  </a:lnTo>
                  <a:lnTo>
                    <a:pt x="946" y="432"/>
                  </a:lnTo>
                  <a:lnTo>
                    <a:pt x="944" y="431"/>
                  </a:lnTo>
                  <a:lnTo>
                    <a:pt x="940" y="429"/>
                  </a:lnTo>
                  <a:lnTo>
                    <a:pt x="936" y="426"/>
                  </a:lnTo>
                  <a:lnTo>
                    <a:pt x="933" y="425"/>
                  </a:lnTo>
                  <a:lnTo>
                    <a:pt x="931" y="423"/>
                  </a:lnTo>
                  <a:lnTo>
                    <a:pt x="927" y="418"/>
                  </a:lnTo>
                  <a:lnTo>
                    <a:pt x="925" y="413"/>
                  </a:lnTo>
                  <a:lnTo>
                    <a:pt x="922" y="412"/>
                  </a:lnTo>
                  <a:lnTo>
                    <a:pt x="921" y="413"/>
                  </a:lnTo>
                  <a:lnTo>
                    <a:pt x="918" y="413"/>
                  </a:lnTo>
                  <a:lnTo>
                    <a:pt x="916" y="413"/>
                  </a:lnTo>
                  <a:lnTo>
                    <a:pt x="913" y="410"/>
                  </a:lnTo>
                  <a:lnTo>
                    <a:pt x="911" y="408"/>
                  </a:lnTo>
                  <a:lnTo>
                    <a:pt x="908" y="407"/>
                  </a:lnTo>
                  <a:lnTo>
                    <a:pt x="904" y="406"/>
                  </a:lnTo>
                  <a:lnTo>
                    <a:pt x="898" y="402"/>
                  </a:lnTo>
                  <a:lnTo>
                    <a:pt x="893" y="401"/>
                  </a:lnTo>
                  <a:lnTo>
                    <a:pt x="886" y="400"/>
                  </a:lnTo>
                  <a:lnTo>
                    <a:pt x="880" y="400"/>
                  </a:lnTo>
                  <a:lnTo>
                    <a:pt x="872" y="399"/>
                  </a:lnTo>
                  <a:lnTo>
                    <a:pt x="869" y="397"/>
                  </a:lnTo>
                  <a:lnTo>
                    <a:pt x="865" y="396"/>
                  </a:lnTo>
                  <a:lnTo>
                    <a:pt x="852" y="395"/>
                  </a:lnTo>
                  <a:lnTo>
                    <a:pt x="848" y="396"/>
                  </a:lnTo>
                  <a:lnTo>
                    <a:pt x="843" y="397"/>
                  </a:lnTo>
                  <a:lnTo>
                    <a:pt x="839" y="399"/>
                  </a:lnTo>
                  <a:lnTo>
                    <a:pt x="838" y="399"/>
                  </a:lnTo>
                  <a:lnTo>
                    <a:pt x="836" y="397"/>
                  </a:lnTo>
                  <a:lnTo>
                    <a:pt x="836" y="396"/>
                  </a:lnTo>
                  <a:lnTo>
                    <a:pt x="836" y="394"/>
                  </a:lnTo>
                  <a:lnTo>
                    <a:pt x="837" y="390"/>
                  </a:lnTo>
                  <a:lnTo>
                    <a:pt x="837" y="388"/>
                  </a:lnTo>
                  <a:lnTo>
                    <a:pt x="836" y="386"/>
                  </a:lnTo>
                  <a:lnTo>
                    <a:pt x="834" y="384"/>
                  </a:lnTo>
                  <a:lnTo>
                    <a:pt x="833" y="382"/>
                  </a:lnTo>
                  <a:lnTo>
                    <a:pt x="833" y="378"/>
                  </a:lnTo>
                  <a:lnTo>
                    <a:pt x="834" y="376"/>
                  </a:lnTo>
                  <a:lnTo>
                    <a:pt x="836" y="374"/>
                  </a:lnTo>
                  <a:lnTo>
                    <a:pt x="836" y="370"/>
                  </a:lnTo>
                  <a:lnTo>
                    <a:pt x="834" y="369"/>
                  </a:lnTo>
                  <a:lnTo>
                    <a:pt x="833" y="368"/>
                  </a:lnTo>
                  <a:lnTo>
                    <a:pt x="832" y="365"/>
                  </a:lnTo>
                  <a:lnTo>
                    <a:pt x="832" y="364"/>
                  </a:lnTo>
                  <a:lnTo>
                    <a:pt x="833" y="363"/>
                  </a:lnTo>
                  <a:lnTo>
                    <a:pt x="834" y="359"/>
                  </a:lnTo>
                  <a:lnTo>
                    <a:pt x="836" y="357"/>
                  </a:lnTo>
                  <a:lnTo>
                    <a:pt x="833" y="356"/>
                  </a:lnTo>
                  <a:lnTo>
                    <a:pt x="827" y="356"/>
                  </a:lnTo>
                  <a:lnTo>
                    <a:pt x="820" y="358"/>
                  </a:lnTo>
                  <a:lnTo>
                    <a:pt x="813" y="361"/>
                  </a:lnTo>
                  <a:lnTo>
                    <a:pt x="810" y="362"/>
                  </a:lnTo>
                  <a:lnTo>
                    <a:pt x="809" y="364"/>
                  </a:lnTo>
                  <a:lnTo>
                    <a:pt x="808" y="364"/>
                  </a:lnTo>
                  <a:lnTo>
                    <a:pt x="806" y="363"/>
                  </a:lnTo>
                  <a:lnTo>
                    <a:pt x="805" y="358"/>
                  </a:lnTo>
                  <a:lnTo>
                    <a:pt x="805" y="355"/>
                  </a:lnTo>
                  <a:lnTo>
                    <a:pt x="808" y="348"/>
                  </a:lnTo>
                  <a:lnTo>
                    <a:pt x="809" y="343"/>
                  </a:lnTo>
                  <a:lnTo>
                    <a:pt x="809" y="337"/>
                  </a:lnTo>
                  <a:lnTo>
                    <a:pt x="806" y="326"/>
                  </a:lnTo>
                  <a:lnTo>
                    <a:pt x="805" y="317"/>
                  </a:lnTo>
                  <a:lnTo>
                    <a:pt x="805" y="311"/>
                  </a:lnTo>
                  <a:lnTo>
                    <a:pt x="805" y="307"/>
                  </a:lnTo>
                  <a:lnTo>
                    <a:pt x="808" y="305"/>
                  </a:lnTo>
                  <a:lnTo>
                    <a:pt x="809" y="303"/>
                  </a:lnTo>
                  <a:lnTo>
                    <a:pt x="811" y="300"/>
                  </a:lnTo>
                  <a:lnTo>
                    <a:pt x="813" y="298"/>
                  </a:lnTo>
                  <a:lnTo>
                    <a:pt x="815" y="291"/>
                  </a:lnTo>
                  <a:lnTo>
                    <a:pt x="817" y="282"/>
                  </a:lnTo>
                  <a:lnTo>
                    <a:pt x="818" y="280"/>
                  </a:lnTo>
                  <a:lnTo>
                    <a:pt x="820" y="279"/>
                  </a:lnTo>
                  <a:lnTo>
                    <a:pt x="828" y="278"/>
                  </a:lnTo>
                  <a:lnTo>
                    <a:pt x="829" y="276"/>
                  </a:lnTo>
                  <a:lnTo>
                    <a:pt x="832" y="274"/>
                  </a:lnTo>
                  <a:lnTo>
                    <a:pt x="834" y="269"/>
                  </a:lnTo>
                  <a:lnTo>
                    <a:pt x="837" y="267"/>
                  </a:lnTo>
                  <a:lnTo>
                    <a:pt x="839" y="266"/>
                  </a:lnTo>
                  <a:lnTo>
                    <a:pt x="842" y="263"/>
                  </a:lnTo>
                  <a:lnTo>
                    <a:pt x="845" y="261"/>
                  </a:lnTo>
                  <a:lnTo>
                    <a:pt x="846" y="257"/>
                  </a:lnTo>
                  <a:lnTo>
                    <a:pt x="846" y="255"/>
                  </a:lnTo>
                  <a:lnTo>
                    <a:pt x="845" y="253"/>
                  </a:lnTo>
                  <a:lnTo>
                    <a:pt x="843" y="250"/>
                  </a:lnTo>
                  <a:lnTo>
                    <a:pt x="838" y="246"/>
                  </a:lnTo>
                  <a:lnTo>
                    <a:pt x="833" y="242"/>
                  </a:lnTo>
                  <a:lnTo>
                    <a:pt x="834" y="241"/>
                  </a:lnTo>
                  <a:lnTo>
                    <a:pt x="837" y="241"/>
                  </a:lnTo>
                  <a:lnTo>
                    <a:pt x="839" y="242"/>
                  </a:lnTo>
                  <a:lnTo>
                    <a:pt x="843" y="243"/>
                  </a:lnTo>
                  <a:lnTo>
                    <a:pt x="847" y="243"/>
                  </a:lnTo>
                  <a:lnTo>
                    <a:pt x="851" y="244"/>
                  </a:lnTo>
                  <a:lnTo>
                    <a:pt x="860" y="248"/>
                  </a:lnTo>
                  <a:lnTo>
                    <a:pt x="862" y="249"/>
                  </a:lnTo>
                  <a:lnTo>
                    <a:pt x="864" y="249"/>
                  </a:lnTo>
                  <a:lnTo>
                    <a:pt x="865" y="248"/>
                  </a:lnTo>
                  <a:lnTo>
                    <a:pt x="866" y="246"/>
                  </a:lnTo>
                  <a:lnTo>
                    <a:pt x="865" y="244"/>
                  </a:lnTo>
                  <a:lnTo>
                    <a:pt x="855" y="239"/>
                  </a:lnTo>
                  <a:lnTo>
                    <a:pt x="850" y="236"/>
                  </a:lnTo>
                  <a:lnTo>
                    <a:pt x="845" y="235"/>
                  </a:lnTo>
                  <a:lnTo>
                    <a:pt x="827" y="230"/>
                  </a:lnTo>
                  <a:lnTo>
                    <a:pt x="819" y="227"/>
                  </a:lnTo>
                  <a:lnTo>
                    <a:pt x="810" y="222"/>
                  </a:lnTo>
                  <a:lnTo>
                    <a:pt x="804" y="220"/>
                  </a:lnTo>
                  <a:lnTo>
                    <a:pt x="798" y="216"/>
                  </a:lnTo>
                  <a:lnTo>
                    <a:pt x="794" y="216"/>
                  </a:lnTo>
                  <a:lnTo>
                    <a:pt x="791" y="217"/>
                  </a:lnTo>
                  <a:lnTo>
                    <a:pt x="784" y="221"/>
                  </a:lnTo>
                  <a:lnTo>
                    <a:pt x="781" y="221"/>
                  </a:lnTo>
                  <a:lnTo>
                    <a:pt x="780" y="218"/>
                  </a:lnTo>
                  <a:lnTo>
                    <a:pt x="777" y="216"/>
                  </a:lnTo>
                  <a:lnTo>
                    <a:pt x="775" y="212"/>
                  </a:lnTo>
                  <a:lnTo>
                    <a:pt x="770" y="208"/>
                  </a:lnTo>
                  <a:lnTo>
                    <a:pt x="770" y="206"/>
                  </a:lnTo>
                  <a:lnTo>
                    <a:pt x="772" y="206"/>
                  </a:lnTo>
                  <a:lnTo>
                    <a:pt x="775" y="208"/>
                  </a:lnTo>
                  <a:lnTo>
                    <a:pt x="778" y="206"/>
                  </a:lnTo>
                  <a:lnTo>
                    <a:pt x="782" y="206"/>
                  </a:lnTo>
                  <a:lnTo>
                    <a:pt x="785" y="208"/>
                  </a:lnTo>
                  <a:lnTo>
                    <a:pt x="808" y="215"/>
                  </a:lnTo>
                  <a:lnTo>
                    <a:pt x="818" y="218"/>
                  </a:lnTo>
                  <a:lnTo>
                    <a:pt x="831" y="222"/>
                  </a:lnTo>
                  <a:lnTo>
                    <a:pt x="833" y="223"/>
                  </a:lnTo>
                  <a:lnTo>
                    <a:pt x="837" y="224"/>
                  </a:lnTo>
                  <a:lnTo>
                    <a:pt x="841" y="224"/>
                  </a:lnTo>
                  <a:lnTo>
                    <a:pt x="846" y="224"/>
                  </a:lnTo>
                  <a:lnTo>
                    <a:pt x="855" y="228"/>
                  </a:lnTo>
                  <a:lnTo>
                    <a:pt x="864" y="233"/>
                  </a:lnTo>
                  <a:lnTo>
                    <a:pt x="871" y="239"/>
                  </a:lnTo>
                  <a:lnTo>
                    <a:pt x="876" y="241"/>
                  </a:lnTo>
                  <a:lnTo>
                    <a:pt x="879" y="241"/>
                  </a:lnTo>
                  <a:lnTo>
                    <a:pt x="881" y="240"/>
                  </a:lnTo>
                  <a:lnTo>
                    <a:pt x="884" y="239"/>
                  </a:lnTo>
                  <a:lnTo>
                    <a:pt x="885" y="237"/>
                  </a:lnTo>
                  <a:lnTo>
                    <a:pt x="884" y="236"/>
                  </a:lnTo>
                  <a:lnTo>
                    <a:pt x="881" y="231"/>
                  </a:lnTo>
                  <a:lnTo>
                    <a:pt x="878" y="228"/>
                  </a:lnTo>
                  <a:lnTo>
                    <a:pt x="878" y="227"/>
                  </a:lnTo>
                  <a:lnTo>
                    <a:pt x="876" y="225"/>
                  </a:lnTo>
                  <a:lnTo>
                    <a:pt x="879" y="224"/>
                  </a:lnTo>
                  <a:lnTo>
                    <a:pt x="881" y="222"/>
                  </a:lnTo>
                  <a:lnTo>
                    <a:pt x="884" y="222"/>
                  </a:lnTo>
                  <a:lnTo>
                    <a:pt x="890" y="221"/>
                  </a:lnTo>
                  <a:lnTo>
                    <a:pt x="895" y="220"/>
                  </a:lnTo>
                  <a:lnTo>
                    <a:pt x="902" y="218"/>
                  </a:lnTo>
                  <a:lnTo>
                    <a:pt x="907" y="217"/>
                  </a:lnTo>
                  <a:lnTo>
                    <a:pt x="911" y="214"/>
                  </a:lnTo>
                  <a:lnTo>
                    <a:pt x="916" y="211"/>
                  </a:lnTo>
                  <a:lnTo>
                    <a:pt x="922" y="203"/>
                  </a:lnTo>
                  <a:lnTo>
                    <a:pt x="927" y="193"/>
                  </a:lnTo>
                  <a:lnTo>
                    <a:pt x="927" y="192"/>
                  </a:lnTo>
                  <a:lnTo>
                    <a:pt x="925" y="191"/>
                  </a:lnTo>
                  <a:lnTo>
                    <a:pt x="919" y="190"/>
                  </a:lnTo>
                  <a:lnTo>
                    <a:pt x="918" y="190"/>
                  </a:lnTo>
                  <a:lnTo>
                    <a:pt x="916" y="190"/>
                  </a:lnTo>
                  <a:lnTo>
                    <a:pt x="912" y="188"/>
                  </a:lnTo>
                  <a:lnTo>
                    <a:pt x="907" y="186"/>
                  </a:lnTo>
                  <a:lnTo>
                    <a:pt x="898" y="186"/>
                  </a:lnTo>
                  <a:lnTo>
                    <a:pt x="897" y="186"/>
                  </a:lnTo>
                  <a:lnTo>
                    <a:pt x="894" y="184"/>
                  </a:lnTo>
                  <a:lnTo>
                    <a:pt x="894" y="182"/>
                  </a:lnTo>
                  <a:lnTo>
                    <a:pt x="893" y="179"/>
                  </a:lnTo>
                  <a:lnTo>
                    <a:pt x="886" y="174"/>
                  </a:lnTo>
                  <a:lnTo>
                    <a:pt x="885" y="173"/>
                  </a:lnTo>
                  <a:lnTo>
                    <a:pt x="884" y="172"/>
                  </a:lnTo>
                  <a:lnTo>
                    <a:pt x="885" y="171"/>
                  </a:lnTo>
                  <a:lnTo>
                    <a:pt x="886" y="170"/>
                  </a:lnTo>
                  <a:lnTo>
                    <a:pt x="888" y="169"/>
                  </a:lnTo>
                  <a:lnTo>
                    <a:pt x="893" y="170"/>
                  </a:lnTo>
                  <a:lnTo>
                    <a:pt x="897" y="173"/>
                  </a:lnTo>
                  <a:lnTo>
                    <a:pt x="902" y="174"/>
                  </a:lnTo>
                  <a:lnTo>
                    <a:pt x="916" y="177"/>
                  </a:lnTo>
                  <a:lnTo>
                    <a:pt x="930" y="180"/>
                  </a:lnTo>
                  <a:lnTo>
                    <a:pt x="931" y="178"/>
                  </a:lnTo>
                  <a:lnTo>
                    <a:pt x="932" y="177"/>
                  </a:lnTo>
                  <a:lnTo>
                    <a:pt x="933" y="174"/>
                  </a:lnTo>
                  <a:lnTo>
                    <a:pt x="938" y="173"/>
                  </a:lnTo>
                  <a:lnTo>
                    <a:pt x="941" y="173"/>
                  </a:lnTo>
                  <a:lnTo>
                    <a:pt x="942" y="171"/>
                  </a:lnTo>
                  <a:lnTo>
                    <a:pt x="944" y="167"/>
                  </a:lnTo>
                  <a:lnTo>
                    <a:pt x="944" y="165"/>
                  </a:lnTo>
                  <a:lnTo>
                    <a:pt x="944" y="158"/>
                  </a:lnTo>
                  <a:lnTo>
                    <a:pt x="942" y="151"/>
                  </a:lnTo>
                  <a:lnTo>
                    <a:pt x="944" y="147"/>
                  </a:lnTo>
                  <a:lnTo>
                    <a:pt x="946" y="146"/>
                  </a:lnTo>
                  <a:lnTo>
                    <a:pt x="952" y="145"/>
                  </a:lnTo>
                  <a:lnTo>
                    <a:pt x="955" y="145"/>
                  </a:lnTo>
                  <a:lnTo>
                    <a:pt x="958" y="142"/>
                  </a:lnTo>
                  <a:lnTo>
                    <a:pt x="959" y="142"/>
                  </a:lnTo>
                  <a:lnTo>
                    <a:pt x="960" y="144"/>
                  </a:lnTo>
                  <a:lnTo>
                    <a:pt x="960" y="151"/>
                  </a:lnTo>
                  <a:lnTo>
                    <a:pt x="961" y="153"/>
                  </a:lnTo>
                  <a:lnTo>
                    <a:pt x="963" y="154"/>
                  </a:lnTo>
                  <a:lnTo>
                    <a:pt x="965" y="154"/>
                  </a:lnTo>
                  <a:lnTo>
                    <a:pt x="977" y="153"/>
                  </a:lnTo>
                  <a:lnTo>
                    <a:pt x="982" y="154"/>
                  </a:lnTo>
                  <a:lnTo>
                    <a:pt x="987" y="156"/>
                  </a:lnTo>
                  <a:lnTo>
                    <a:pt x="987" y="152"/>
                  </a:lnTo>
                  <a:lnTo>
                    <a:pt x="984" y="148"/>
                  </a:lnTo>
                  <a:lnTo>
                    <a:pt x="979" y="145"/>
                  </a:lnTo>
                  <a:lnTo>
                    <a:pt x="975" y="141"/>
                  </a:lnTo>
                  <a:lnTo>
                    <a:pt x="973" y="137"/>
                  </a:lnTo>
                  <a:lnTo>
                    <a:pt x="973" y="135"/>
                  </a:lnTo>
                  <a:lnTo>
                    <a:pt x="973" y="133"/>
                  </a:lnTo>
                  <a:lnTo>
                    <a:pt x="975" y="132"/>
                  </a:lnTo>
                  <a:lnTo>
                    <a:pt x="978" y="133"/>
                  </a:lnTo>
                  <a:lnTo>
                    <a:pt x="983" y="137"/>
                  </a:lnTo>
                  <a:lnTo>
                    <a:pt x="987" y="138"/>
                  </a:lnTo>
                  <a:lnTo>
                    <a:pt x="988" y="140"/>
                  </a:lnTo>
                  <a:lnTo>
                    <a:pt x="993" y="147"/>
                  </a:lnTo>
                  <a:lnTo>
                    <a:pt x="997" y="150"/>
                  </a:lnTo>
                  <a:lnTo>
                    <a:pt x="1001" y="152"/>
                  </a:lnTo>
                  <a:lnTo>
                    <a:pt x="1003" y="153"/>
                  </a:lnTo>
                  <a:lnTo>
                    <a:pt x="1006" y="156"/>
                  </a:lnTo>
                  <a:lnTo>
                    <a:pt x="1008" y="158"/>
                  </a:lnTo>
                  <a:lnTo>
                    <a:pt x="1011" y="158"/>
                  </a:lnTo>
                  <a:lnTo>
                    <a:pt x="1012" y="157"/>
                  </a:lnTo>
                  <a:lnTo>
                    <a:pt x="1013" y="154"/>
                  </a:lnTo>
                  <a:lnTo>
                    <a:pt x="1012" y="152"/>
                  </a:lnTo>
                  <a:lnTo>
                    <a:pt x="1011" y="150"/>
                  </a:lnTo>
                  <a:lnTo>
                    <a:pt x="1010" y="147"/>
                  </a:lnTo>
                  <a:lnTo>
                    <a:pt x="1010" y="145"/>
                  </a:lnTo>
                  <a:lnTo>
                    <a:pt x="1011" y="142"/>
                  </a:lnTo>
                  <a:lnTo>
                    <a:pt x="1013" y="140"/>
                  </a:lnTo>
                  <a:lnTo>
                    <a:pt x="1020" y="138"/>
                  </a:lnTo>
                  <a:lnTo>
                    <a:pt x="1022" y="135"/>
                  </a:lnTo>
                  <a:lnTo>
                    <a:pt x="1024" y="133"/>
                  </a:lnTo>
                  <a:lnTo>
                    <a:pt x="1026" y="132"/>
                  </a:lnTo>
                  <a:lnTo>
                    <a:pt x="1029" y="131"/>
                  </a:lnTo>
                  <a:lnTo>
                    <a:pt x="1031" y="131"/>
                  </a:lnTo>
                  <a:lnTo>
                    <a:pt x="1034" y="129"/>
                  </a:lnTo>
                  <a:lnTo>
                    <a:pt x="1036" y="127"/>
                  </a:lnTo>
                  <a:lnTo>
                    <a:pt x="1038" y="126"/>
                  </a:lnTo>
                  <a:lnTo>
                    <a:pt x="1038" y="125"/>
                  </a:lnTo>
                  <a:lnTo>
                    <a:pt x="1036" y="124"/>
                  </a:lnTo>
                  <a:lnTo>
                    <a:pt x="1035" y="125"/>
                  </a:lnTo>
                  <a:lnTo>
                    <a:pt x="1031" y="126"/>
                  </a:lnTo>
                  <a:lnTo>
                    <a:pt x="1030" y="126"/>
                  </a:lnTo>
                  <a:lnTo>
                    <a:pt x="1029" y="126"/>
                  </a:lnTo>
                  <a:lnTo>
                    <a:pt x="1026" y="124"/>
                  </a:lnTo>
                  <a:lnTo>
                    <a:pt x="1024" y="118"/>
                  </a:lnTo>
                  <a:lnTo>
                    <a:pt x="1021" y="110"/>
                  </a:lnTo>
                  <a:lnTo>
                    <a:pt x="1018" y="105"/>
                  </a:lnTo>
                  <a:lnTo>
                    <a:pt x="1016" y="101"/>
                  </a:lnTo>
                  <a:lnTo>
                    <a:pt x="1013" y="99"/>
                  </a:lnTo>
                  <a:lnTo>
                    <a:pt x="1012" y="97"/>
                  </a:lnTo>
                  <a:lnTo>
                    <a:pt x="1012" y="95"/>
                  </a:lnTo>
                  <a:lnTo>
                    <a:pt x="1013" y="94"/>
                  </a:lnTo>
                  <a:lnTo>
                    <a:pt x="1016" y="94"/>
                  </a:lnTo>
                  <a:lnTo>
                    <a:pt x="1021" y="94"/>
                  </a:lnTo>
                  <a:lnTo>
                    <a:pt x="1025" y="95"/>
                  </a:lnTo>
                  <a:lnTo>
                    <a:pt x="1030" y="96"/>
                  </a:lnTo>
                  <a:lnTo>
                    <a:pt x="1031" y="95"/>
                  </a:lnTo>
                  <a:lnTo>
                    <a:pt x="1034" y="93"/>
                  </a:lnTo>
                  <a:lnTo>
                    <a:pt x="1034" y="90"/>
                  </a:lnTo>
                  <a:lnTo>
                    <a:pt x="1034" y="88"/>
                  </a:lnTo>
                  <a:lnTo>
                    <a:pt x="1034" y="82"/>
                  </a:lnTo>
                  <a:lnTo>
                    <a:pt x="1036" y="77"/>
                  </a:lnTo>
                  <a:lnTo>
                    <a:pt x="1036" y="76"/>
                  </a:lnTo>
                  <a:lnTo>
                    <a:pt x="1036" y="75"/>
                  </a:lnTo>
                  <a:lnTo>
                    <a:pt x="1030" y="75"/>
                  </a:lnTo>
                  <a:lnTo>
                    <a:pt x="1024" y="74"/>
                  </a:lnTo>
                  <a:lnTo>
                    <a:pt x="1018" y="71"/>
                  </a:lnTo>
                  <a:lnTo>
                    <a:pt x="1016" y="70"/>
                  </a:lnTo>
                  <a:lnTo>
                    <a:pt x="1015" y="68"/>
                  </a:lnTo>
                  <a:lnTo>
                    <a:pt x="1016" y="65"/>
                  </a:lnTo>
                  <a:lnTo>
                    <a:pt x="1016" y="63"/>
                  </a:lnTo>
                  <a:lnTo>
                    <a:pt x="1003" y="63"/>
                  </a:lnTo>
                  <a:lnTo>
                    <a:pt x="992" y="63"/>
                  </a:lnTo>
                  <a:lnTo>
                    <a:pt x="985" y="63"/>
                  </a:lnTo>
                  <a:lnTo>
                    <a:pt x="980" y="62"/>
                  </a:lnTo>
                  <a:lnTo>
                    <a:pt x="975" y="59"/>
                  </a:lnTo>
                  <a:lnTo>
                    <a:pt x="970" y="56"/>
                  </a:lnTo>
                  <a:lnTo>
                    <a:pt x="968" y="55"/>
                  </a:lnTo>
                  <a:lnTo>
                    <a:pt x="966" y="55"/>
                  </a:lnTo>
                  <a:lnTo>
                    <a:pt x="964" y="56"/>
                  </a:lnTo>
                  <a:lnTo>
                    <a:pt x="964" y="58"/>
                  </a:lnTo>
                  <a:lnTo>
                    <a:pt x="963" y="62"/>
                  </a:lnTo>
                  <a:lnTo>
                    <a:pt x="964" y="65"/>
                  </a:lnTo>
                  <a:lnTo>
                    <a:pt x="966" y="71"/>
                  </a:lnTo>
                  <a:lnTo>
                    <a:pt x="970" y="76"/>
                  </a:lnTo>
                  <a:lnTo>
                    <a:pt x="975" y="81"/>
                  </a:lnTo>
                  <a:lnTo>
                    <a:pt x="975" y="82"/>
                  </a:lnTo>
                  <a:lnTo>
                    <a:pt x="975" y="83"/>
                  </a:lnTo>
                  <a:lnTo>
                    <a:pt x="968" y="87"/>
                  </a:lnTo>
                  <a:lnTo>
                    <a:pt x="961" y="91"/>
                  </a:lnTo>
                  <a:lnTo>
                    <a:pt x="956" y="97"/>
                  </a:lnTo>
                  <a:lnTo>
                    <a:pt x="952" y="105"/>
                  </a:lnTo>
                  <a:lnTo>
                    <a:pt x="952" y="109"/>
                  </a:lnTo>
                  <a:lnTo>
                    <a:pt x="951" y="114"/>
                  </a:lnTo>
                  <a:lnTo>
                    <a:pt x="951" y="119"/>
                  </a:lnTo>
                  <a:lnTo>
                    <a:pt x="949" y="122"/>
                  </a:lnTo>
                  <a:lnTo>
                    <a:pt x="942" y="126"/>
                  </a:lnTo>
                  <a:lnTo>
                    <a:pt x="937" y="132"/>
                  </a:lnTo>
                  <a:lnTo>
                    <a:pt x="936" y="133"/>
                  </a:lnTo>
                  <a:lnTo>
                    <a:pt x="935" y="133"/>
                  </a:lnTo>
                  <a:lnTo>
                    <a:pt x="932" y="132"/>
                  </a:lnTo>
                  <a:lnTo>
                    <a:pt x="930" y="128"/>
                  </a:lnTo>
                  <a:lnTo>
                    <a:pt x="927" y="126"/>
                  </a:lnTo>
                  <a:lnTo>
                    <a:pt x="923" y="125"/>
                  </a:lnTo>
                  <a:lnTo>
                    <a:pt x="919" y="121"/>
                  </a:lnTo>
                  <a:lnTo>
                    <a:pt x="916" y="113"/>
                  </a:lnTo>
                  <a:lnTo>
                    <a:pt x="914" y="103"/>
                  </a:lnTo>
                  <a:lnTo>
                    <a:pt x="914" y="95"/>
                  </a:lnTo>
                  <a:lnTo>
                    <a:pt x="916" y="86"/>
                  </a:lnTo>
                  <a:lnTo>
                    <a:pt x="917" y="82"/>
                  </a:lnTo>
                  <a:lnTo>
                    <a:pt x="917" y="80"/>
                  </a:lnTo>
                  <a:lnTo>
                    <a:pt x="916" y="77"/>
                  </a:lnTo>
                  <a:lnTo>
                    <a:pt x="908" y="70"/>
                  </a:lnTo>
                  <a:lnTo>
                    <a:pt x="905" y="67"/>
                  </a:lnTo>
                  <a:lnTo>
                    <a:pt x="903" y="63"/>
                  </a:lnTo>
                  <a:lnTo>
                    <a:pt x="902" y="63"/>
                  </a:lnTo>
                  <a:lnTo>
                    <a:pt x="899" y="65"/>
                  </a:lnTo>
                  <a:lnTo>
                    <a:pt x="897" y="68"/>
                  </a:lnTo>
                  <a:lnTo>
                    <a:pt x="893" y="69"/>
                  </a:lnTo>
                  <a:lnTo>
                    <a:pt x="891" y="73"/>
                  </a:lnTo>
                  <a:lnTo>
                    <a:pt x="891" y="75"/>
                  </a:lnTo>
                  <a:lnTo>
                    <a:pt x="893" y="77"/>
                  </a:lnTo>
                  <a:lnTo>
                    <a:pt x="894" y="80"/>
                  </a:lnTo>
                  <a:lnTo>
                    <a:pt x="894" y="82"/>
                  </a:lnTo>
                  <a:lnTo>
                    <a:pt x="889" y="88"/>
                  </a:lnTo>
                  <a:lnTo>
                    <a:pt x="883" y="95"/>
                  </a:lnTo>
                  <a:lnTo>
                    <a:pt x="880" y="96"/>
                  </a:lnTo>
                  <a:lnTo>
                    <a:pt x="876" y="97"/>
                  </a:lnTo>
                  <a:lnTo>
                    <a:pt x="874" y="96"/>
                  </a:lnTo>
                  <a:lnTo>
                    <a:pt x="871" y="95"/>
                  </a:lnTo>
                  <a:lnTo>
                    <a:pt x="869" y="93"/>
                  </a:lnTo>
                  <a:lnTo>
                    <a:pt x="869" y="89"/>
                  </a:lnTo>
                  <a:lnTo>
                    <a:pt x="869" y="86"/>
                  </a:lnTo>
                  <a:lnTo>
                    <a:pt x="870" y="82"/>
                  </a:lnTo>
                  <a:lnTo>
                    <a:pt x="870" y="81"/>
                  </a:lnTo>
                  <a:lnTo>
                    <a:pt x="869" y="78"/>
                  </a:lnTo>
                  <a:lnTo>
                    <a:pt x="865" y="76"/>
                  </a:lnTo>
                  <a:lnTo>
                    <a:pt x="862" y="75"/>
                  </a:lnTo>
                  <a:lnTo>
                    <a:pt x="861" y="74"/>
                  </a:lnTo>
                  <a:lnTo>
                    <a:pt x="861" y="71"/>
                  </a:lnTo>
                  <a:lnTo>
                    <a:pt x="862" y="69"/>
                  </a:lnTo>
                  <a:lnTo>
                    <a:pt x="864" y="68"/>
                  </a:lnTo>
                  <a:lnTo>
                    <a:pt x="862" y="65"/>
                  </a:lnTo>
                  <a:lnTo>
                    <a:pt x="860" y="63"/>
                  </a:lnTo>
                  <a:lnTo>
                    <a:pt x="858" y="62"/>
                  </a:lnTo>
                  <a:lnTo>
                    <a:pt x="857" y="62"/>
                  </a:lnTo>
                  <a:lnTo>
                    <a:pt x="855" y="65"/>
                  </a:lnTo>
                  <a:lnTo>
                    <a:pt x="853" y="68"/>
                  </a:lnTo>
                  <a:lnTo>
                    <a:pt x="853" y="75"/>
                  </a:lnTo>
                  <a:lnTo>
                    <a:pt x="848" y="74"/>
                  </a:lnTo>
                  <a:lnTo>
                    <a:pt x="846" y="70"/>
                  </a:lnTo>
                  <a:lnTo>
                    <a:pt x="845" y="68"/>
                  </a:lnTo>
                  <a:lnTo>
                    <a:pt x="842" y="65"/>
                  </a:lnTo>
                  <a:lnTo>
                    <a:pt x="838" y="62"/>
                  </a:lnTo>
                  <a:lnTo>
                    <a:pt x="838" y="59"/>
                  </a:lnTo>
                  <a:lnTo>
                    <a:pt x="838" y="58"/>
                  </a:lnTo>
                  <a:lnTo>
                    <a:pt x="842" y="55"/>
                  </a:lnTo>
                  <a:lnTo>
                    <a:pt x="852" y="50"/>
                  </a:lnTo>
                  <a:lnTo>
                    <a:pt x="858" y="45"/>
                  </a:lnTo>
                  <a:lnTo>
                    <a:pt x="861" y="42"/>
                  </a:lnTo>
                  <a:lnTo>
                    <a:pt x="861" y="41"/>
                  </a:lnTo>
                  <a:lnTo>
                    <a:pt x="861" y="39"/>
                  </a:lnTo>
                  <a:lnTo>
                    <a:pt x="856" y="35"/>
                  </a:lnTo>
                  <a:lnTo>
                    <a:pt x="850" y="31"/>
                  </a:lnTo>
                  <a:lnTo>
                    <a:pt x="843" y="26"/>
                  </a:lnTo>
                  <a:lnTo>
                    <a:pt x="838" y="22"/>
                  </a:lnTo>
                  <a:lnTo>
                    <a:pt x="832" y="18"/>
                  </a:lnTo>
                  <a:lnTo>
                    <a:pt x="825" y="16"/>
                  </a:lnTo>
                  <a:lnTo>
                    <a:pt x="823" y="14"/>
                  </a:lnTo>
                  <a:lnTo>
                    <a:pt x="823" y="12"/>
                  </a:lnTo>
                  <a:lnTo>
                    <a:pt x="820" y="6"/>
                  </a:lnTo>
                  <a:lnTo>
                    <a:pt x="818" y="3"/>
                  </a:lnTo>
                  <a:lnTo>
                    <a:pt x="814" y="0"/>
                  </a:lnTo>
                  <a:lnTo>
                    <a:pt x="810" y="0"/>
                  </a:lnTo>
                  <a:lnTo>
                    <a:pt x="806" y="0"/>
                  </a:lnTo>
                  <a:lnTo>
                    <a:pt x="798" y="0"/>
                  </a:lnTo>
                  <a:lnTo>
                    <a:pt x="789" y="0"/>
                  </a:lnTo>
                  <a:lnTo>
                    <a:pt x="789" y="4"/>
                  </a:lnTo>
                  <a:lnTo>
                    <a:pt x="790" y="6"/>
                  </a:lnTo>
                  <a:lnTo>
                    <a:pt x="791" y="10"/>
                  </a:lnTo>
                  <a:lnTo>
                    <a:pt x="790" y="12"/>
                  </a:lnTo>
                  <a:lnTo>
                    <a:pt x="787" y="17"/>
                  </a:lnTo>
                  <a:lnTo>
                    <a:pt x="787" y="22"/>
                  </a:lnTo>
                  <a:lnTo>
                    <a:pt x="785" y="19"/>
                  </a:lnTo>
                  <a:lnTo>
                    <a:pt x="785" y="18"/>
                  </a:lnTo>
                  <a:lnTo>
                    <a:pt x="784" y="16"/>
                  </a:lnTo>
                  <a:lnTo>
                    <a:pt x="782" y="14"/>
                  </a:lnTo>
                  <a:lnTo>
                    <a:pt x="780" y="14"/>
                  </a:lnTo>
                  <a:lnTo>
                    <a:pt x="777" y="14"/>
                  </a:lnTo>
                  <a:lnTo>
                    <a:pt x="776" y="17"/>
                  </a:lnTo>
                  <a:lnTo>
                    <a:pt x="775" y="19"/>
                  </a:lnTo>
                  <a:lnTo>
                    <a:pt x="773" y="30"/>
                  </a:lnTo>
                  <a:lnTo>
                    <a:pt x="770" y="37"/>
                  </a:lnTo>
                  <a:lnTo>
                    <a:pt x="768" y="41"/>
                  </a:lnTo>
                  <a:lnTo>
                    <a:pt x="770" y="44"/>
                  </a:lnTo>
                  <a:lnTo>
                    <a:pt x="773" y="46"/>
                  </a:lnTo>
                  <a:lnTo>
                    <a:pt x="780" y="49"/>
                  </a:lnTo>
                  <a:lnTo>
                    <a:pt x="785" y="51"/>
                  </a:lnTo>
                  <a:lnTo>
                    <a:pt x="787" y="52"/>
                  </a:lnTo>
                  <a:lnTo>
                    <a:pt x="790" y="55"/>
                  </a:lnTo>
                  <a:lnTo>
                    <a:pt x="792" y="57"/>
                  </a:lnTo>
                  <a:lnTo>
                    <a:pt x="795" y="57"/>
                  </a:lnTo>
                  <a:lnTo>
                    <a:pt x="799" y="57"/>
                  </a:lnTo>
                  <a:lnTo>
                    <a:pt x="801" y="58"/>
                  </a:lnTo>
                  <a:lnTo>
                    <a:pt x="808" y="63"/>
                  </a:lnTo>
                  <a:lnTo>
                    <a:pt x="814" y="69"/>
                  </a:lnTo>
                  <a:lnTo>
                    <a:pt x="820" y="75"/>
                  </a:lnTo>
                  <a:lnTo>
                    <a:pt x="822" y="78"/>
                  </a:lnTo>
                  <a:lnTo>
                    <a:pt x="823" y="82"/>
                  </a:lnTo>
                  <a:lnTo>
                    <a:pt x="823" y="86"/>
                  </a:lnTo>
                  <a:lnTo>
                    <a:pt x="822" y="89"/>
                  </a:lnTo>
                  <a:lnTo>
                    <a:pt x="817" y="95"/>
                  </a:lnTo>
                  <a:lnTo>
                    <a:pt x="810" y="101"/>
                  </a:lnTo>
                  <a:lnTo>
                    <a:pt x="804" y="105"/>
                  </a:lnTo>
                  <a:lnTo>
                    <a:pt x="796" y="108"/>
                  </a:lnTo>
                  <a:lnTo>
                    <a:pt x="792" y="110"/>
                  </a:lnTo>
                  <a:lnTo>
                    <a:pt x="787" y="115"/>
                  </a:lnTo>
                  <a:lnTo>
                    <a:pt x="787" y="116"/>
                  </a:lnTo>
                  <a:lnTo>
                    <a:pt x="787" y="119"/>
                  </a:lnTo>
                  <a:lnTo>
                    <a:pt x="790" y="121"/>
                  </a:lnTo>
                  <a:lnTo>
                    <a:pt x="792" y="124"/>
                  </a:lnTo>
                  <a:lnTo>
                    <a:pt x="794" y="127"/>
                  </a:lnTo>
                  <a:lnTo>
                    <a:pt x="794" y="129"/>
                  </a:lnTo>
                  <a:lnTo>
                    <a:pt x="792" y="133"/>
                  </a:lnTo>
                  <a:lnTo>
                    <a:pt x="791" y="135"/>
                  </a:lnTo>
                  <a:lnTo>
                    <a:pt x="787" y="137"/>
                  </a:lnTo>
                  <a:lnTo>
                    <a:pt x="786" y="137"/>
                  </a:lnTo>
                  <a:lnTo>
                    <a:pt x="785" y="137"/>
                  </a:lnTo>
                  <a:lnTo>
                    <a:pt x="784" y="134"/>
                  </a:lnTo>
                  <a:lnTo>
                    <a:pt x="784" y="132"/>
                  </a:lnTo>
                  <a:lnTo>
                    <a:pt x="782" y="131"/>
                  </a:lnTo>
                  <a:lnTo>
                    <a:pt x="781" y="129"/>
                  </a:lnTo>
                  <a:lnTo>
                    <a:pt x="776" y="129"/>
                  </a:lnTo>
                  <a:lnTo>
                    <a:pt x="772" y="127"/>
                  </a:lnTo>
                  <a:lnTo>
                    <a:pt x="768" y="124"/>
                  </a:lnTo>
                  <a:lnTo>
                    <a:pt x="767" y="120"/>
                  </a:lnTo>
                  <a:lnTo>
                    <a:pt x="770" y="116"/>
                  </a:lnTo>
                  <a:lnTo>
                    <a:pt x="772" y="113"/>
                  </a:lnTo>
                  <a:lnTo>
                    <a:pt x="773" y="110"/>
                  </a:lnTo>
                  <a:lnTo>
                    <a:pt x="773" y="109"/>
                  </a:lnTo>
                  <a:lnTo>
                    <a:pt x="772" y="108"/>
                  </a:lnTo>
                  <a:lnTo>
                    <a:pt x="761" y="106"/>
                  </a:lnTo>
                  <a:lnTo>
                    <a:pt x="748" y="102"/>
                  </a:lnTo>
                  <a:lnTo>
                    <a:pt x="744" y="102"/>
                  </a:lnTo>
                  <a:lnTo>
                    <a:pt x="740" y="103"/>
                  </a:lnTo>
                  <a:lnTo>
                    <a:pt x="739" y="105"/>
                  </a:lnTo>
                  <a:lnTo>
                    <a:pt x="738" y="107"/>
                  </a:lnTo>
                  <a:lnTo>
                    <a:pt x="739" y="108"/>
                  </a:lnTo>
                  <a:lnTo>
                    <a:pt x="742" y="115"/>
                  </a:lnTo>
                  <a:lnTo>
                    <a:pt x="744" y="119"/>
                  </a:lnTo>
                  <a:lnTo>
                    <a:pt x="744" y="122"/>
                  </a:lnTo>
                  <a:lnTo>
                    <a:pt x="737" y="121"/>
                  </a:lnTo>
                  <a:lnTo>
                    <a:pt x="734" y="120"/>
                  </a:lnTo>
                  <a:lnTo>
                    <a:pt x="730" y="121"/>
                  </a:lnTo>
                  <a:lnTo>
                    <a:pt x="729" y="121"/>
                  </a:lnTo>
                  <a:lnTo>
                    <a:pt x="728" y="120"/>
                  </a:lnTo>
                  <a:lnTo>
                    <a:pt x="725" y="119"/>
                  </a:lnTo>
                  <a:lnTo>
                    <a:pt x="723" y="119"/>
                  </a:lnTo>
                  <a:lnTo>
                    <a:pt x="720" y="120"/>
                  </a:lnTo>
                  <a:lnTo>
                    <a:pt x="719" y="120"/>
                  </a:lnTo>
                  <a:lnTo>
                    <a:pt x="716" y="120"/>
                  </a:lnTo>
                  <a:lnTo>
                    <a:pt x="711" y="119"/>
                  </a:lnTo>
                  <a:lnTo>
                    <a:pt x="709" y="119"/>
                  </a:lnTo>
                  <a:lnTo>
                    <a:pt x="706" y="120"/>
                  </a:lnTo>
                  <a:lnTo>
                    <a:pt x="700" y="119"/>
                  </a:lnTo>
                  <a:lnTo>
                    <a:pt x="693" y="119"/>
                  </a:lnTo>
                  <a:lnTo>
                    <a:pt x="682" y="120"/>
                  </a:lnTo>
                  <a:lnTo>
                    <a:pt x="678" y="120"/>
                  </a:lnTo>
                  <a:lnTo>
                    <a:pt x="676" y="119"/>
                  </a:lnTo>
                  <a:lnTo>
                    <a:pt x="668" y="114"/>
                  </a:lnTo>
                  <a:lnTo>
                    <a:pt x="663" y="113"/>
                  </a:lnTo>
                  <a:lnTo>
                    <a:pt x="659" y="113"/>
                  </a:lnTo>
                  <a:lnTo>
                    <a:pt x="657" y="112"/>
                  </a:lnTo>
                  <a:lnTo>
                    <a:pt x="654" y="110"/>
                  </a:lnTo>
                  <a:lnTo>
                    <a:pt x="653" y="108"/>
                  </a:lnTo>
                  <a:lnTo>
                    <a:pt x="650" y="106"/>
                  </a:lnTo>
                  <a:lnTo>
                    <a:pt x="645" y="105"/>
                  </a:lnTo>
                  <a:lnTo>
                    <a:pt x="640" y="103"/>
                  </a:lnTo>
                  <a:lnTo>
                    <a:pt x="629" y="102"/>
                  </a:lnTo>
                  <a:lnTo>
                    <a:pt x="617" y="102"/>
                  </a:lnTo>
                  <a:lnTo>
                    <a:pt x="612" y="101"/>
                  </a:lnTo>
                  <a:lnTo>
                    <a:pt x="607" y="99"/>
                  </a:lnTo>
                  <a:lnTo>
                    <a:pt x="605" y="97"/>
                  </a:lnTo>
                  <a:lnTo>
                    <a:pt x="603" y="94"/>
                  </a:lnTo>
                  <a:lnTo>
                    <a:pt x="601" y="88"/>
                  </a:lnTo>
                  <a:lnTo>
                    <a:pt x="598" y="83"/>
                  </a:lnTo>
                  <a:lnTo>
                    <a:pt x="596" y="82"/>
                  </a:lnTo>
                  <a:lnTo>
                    <a:pt x="593" y="82"/>
                  </a:lnTo>
                  <a:lnTo>
                    <a:pt x="587" y="83"/>
                  </a:lnTo>
                  <a:lnTo>
                    <a:pt x="582" y="83"/>
                  </a:lnTo>
                  <a:lnTo>
                    <a:pt x="575" y="84"/>
                  </a:lnTo>
                  <a:lnTo>
                    <a:pt x="570" y="86"/>
                  </a:lnTo>
                  <a:lnTo>
                    <a:pt x="565" y="88"/>
                  </a:lnTo>
                  <a:lnTo>
                    <a:pt x="563" y="91"/>
                  </a:lnTo>
                  <a:lnTo>
                    <a:pt x="560" y="95"/>
                  </a:lnTo>
                  <a:lnTo>
                    <a:pt x="560" y="100"/>
                  </a:lnTo>
                  <a:lnTo>
                    <a:pt x="563" y="102"/>
                  </a:lnTo>
                  <a:lnTo>
                    <a:pt x="564" y="103"/>
                  </a:lnTo>
                  <a:lnTo>
                    <a:pt x="565" y="102"/>
                  </a:lnTo>
                  <a:lnTo>
                    <a:pt x="568" y="100"/>
                  </a:lnTo>
                  <a:lnTo>
                    <a:pt x="570" y="99"/>
                  </a:lnTo>
                  <a:lnTo>
                    <a:pt x="577" y="97"/>
                  </a:lnTo>
                  <a:lnTo>
                    <a:pt x="583" y="97"/>
                  </a:lnTo>
                  <a:lnTo>
                    <a:pt x="589" y="97"/>
                  </a:lnTo>
                  <a:lnTo>
                    <a:pt x="589" y="100"/>
                  </a:lnTo>
                  <a:lnTo>
                    <a:pt x="585" y="102"/>
                  </a:lnTo>
                  <a:lnTo>
                    <a:pt x="584" y="105"/>
                  </a:lnTo>
                  <a:lnTo>
                    <a:pt x="583" y="107"/>
                  </a:lnTo>
                  <a:lnTo>
                    <a:pt x="582" y="109"/>
                  </a:lnTo>
                  <a:lnTo>
                    <a:pt x="579" y="110"/>
                  </a:lnTo>
                  <a:lnTo>
                    <a:pt x="573" y="113"/>
                  </a:lnTo>
                  <a:lnTo>
                    <a:pt x="570" y="113"/>
                  </a:lnTo>
                  <a:lnTo>
                    <a:pt x="569" y="115"/>
                  </a:lnTo>
                  <a:lnTo>
                    <a:pt x="568" y="118"/>
                  </a:lnTo>
                  <a:lnTo>
                    <a:pt x="568" y="121"/>
                  </a:lnTo>
                  <a:lnTo>
                    <a:pt x="570" y="127"/>
                  </a:lnTo>
                  <a:lnTo>
                    <a:pt x="574" y="132"/>
                  </a:lnTo>
                  <a:lnTo>
                    <a:pt x="577" y="138"/>
                  </a:lnTo>
                  <a:lnTo>
                    <a:pt x="577" y="139"/>
                  </a:lnTo>
                  <a:lnTo>
                    <a:pt x="575" y="139"/>
                  </a:lnTo>
                  <a:lnTo>
                    <a:pt x="573" y="138"/>
                  </a:lnTo>
                  <a:lnTo>
                    <a:pt x="570" y="138"/>
                  </a:lnTo>
                  <a:lnTo>
                    <a:pt x="568" y="138"/>
                  </a:lnTo>
                  <a:lnTo>
                    <a:pt x="565" y="140"/>
                  </a:lnTo>
                  <a:lnTo>
                    <a:pt x="565" y="142"/>
                  </a:lnTo>
                  <a:lnTo>
                    <a:pt x="566" y="144"/>
                  </a:lnTo>
                  <a:lnTo>
                    <a:pt x="569" y="145"/>
                  </a:lnTo>
                  <a:lnTo>
                    <a:pt x="571" y="147"/>
                  </a:lnTo>
                  <a:lnTo>
                    <a:pt x="571" y="150"/>
                  </a:lnTo>
                  <a:lnTo>
                    <a:pt x="566" y="150"/>
                  </a:lnTo>
                  <a:lnTo>
                    <a:pt x="563" y="148"/>
                  </a:lnTo>
                  <a:lnTo>
                    <a:pt x="560" y="146"/>
                  </a:lnTo>
                  <a:lnTo>
                    <a:pt x="556" y="144"/>
                  </a:lnTo>
                  <a:lnTo>
                    <a:pt x="545" y="129"/>
                  </a:lnTo>
                  <a:lnTo>
                    <a:pt x="544" y="128"/>
                  </a:lnTo>
                  <a:lnTo>
                    <a:pt x="541" y="128"/>
                  </a:lnTo>
                  <a:lnTo>
                    <a:pt x="540" y="128"/>
                  </a:lnTo>
                  <a:lnTo>
                    <a:pt x="537" y="127"/>
                  </a:lnTo>
                  <a:lnTo>
                    <a:pt x="536" y="127"/>
                  </a:lnTo>
                  <a:lnTo>
                    <a:pt x="535" y="126"/>
                  </a:lnTo>
                  <a:lnTo>
                    <a:pt x="533" y="122"/>
                  </a:lnTo>
                  <a:lnTo>
                    <a:pt x="532" y="120"/>
                  </a:lnTo>
                  <a:lnTo>
                    <a:pt x="528" y="115"/>
                  </a:lnTo>
                  <a:lnTo>
                    <a:pt x="527" y="114"/>
                  </a:lnTo>
                  <a:lnTo>
                    <a:pt x="528" y="113"/>
                  </a:lnTo>
                  <a:lnTo>
                    <a:pt x="528" y="109"/>
                  </a:lnTo>
                  <a:lnTo>
                    <a:pt x="528" y="108"/>
                  </a:lnTo>
                  <a:lnTo>
                    <a:pt x="527" y="108"/>
                  </a:lnTo>
                  <a:lnTo>
                    <a:pt x="525" y="109"/>
                  </a:lnTo>
                  <a:lnTo>
                    <a:pt x="519" y="118"/>
                  </a:lnTo>
                  <a:lnTo>
                    <a:pt x="518" y="121"/>
                  </a:lnTo>
                  <a:lnTo>
                    <a:pt x="514" y="124"/>
                  </a:lnTo>
                  <a:lnTo>
                    <a:pt x="511" y="125"/>
                  </a:lnTo>
                  <a:lnTo>
                    <a:pt x="505" y="125"/>
                  </a:lnTo>
                  <a:lnTo>
                    <a:pt x="500" y="124"/>
                  </a:lnTo>
                  <a:lnTo>
                    <a:pt x="495" y="124"/>
                  </a:lnTo>
                  <a:lnTo>
                    <a:pt x="472" y="125"/>
                  </a:lnTo>
                  <a:lnTo>
                    <a:pt x="461" y="124"/>
                  </a:lnTo>
                  <a:lnTo>
                    <a:pt x="450" y="122"/>
                  </a:lnTo>
                  <a:lnTo>
                    <a:pt x="446" y="120"/>
                  </a:lnTo>
                  <a:lnTo>
                    <a:pt x="441" y="118"/>
                  </a:lnTo>
                  <a:lnTo>
                    <a:pt x="438" y="114"/>
                  </a:lnTo>
                  <a:lnTo>
                    <a:pt x="439" y="112"/>
                  </a:lnTo>
                  <a:lnTo>
                    <a:pt x="441" y="110"/>
                  </a:lnTo>
                  <a:lnTo>
                    <a:pt x="446" y="107"/>
                  </a:lnTo>
                  <a:lnTo>
                    <a:pt x="452" y="103"/>
                  </a:lnTo>
                  <a:lnTo>
                    <a:pt x="460" y="101"/>
                  </a:lnTo>
                  <a:lnTo>
                    <a:pt x="467" y="101"/>
                  </a:lnTo>
                  <a:lnTo>
                    <a:pt x="469" y="100"/>
                  </a:lnTo>
                  <a:lnTo>
                    <a:pt x="467" y="99"/>
                  </a:lnTo>
                  <a:lnTo>
                    <a:pt x="466" y="96"/>
                  </a:lnTo>
                  <a:lnTo>
                    <a:pt x="464" y="95"/>
                  </a:lnTo>
                  <a:lnTo>
                    <a:pt x="458" y="93"/>
                  </a:lnTo>
                  <a:lnTo>
                    <a:pt x="453" y="90"/>
                  </a:lnTo>
                  <a:lnTo>
                    <a:pt x="451" y="88"/>
                  </a:lnTo>
                  <a:lnTo>
                    <a:pt x="451" y="86"/>
                  </a:lnTo>
                  <a:lnTo>
                    <a:pt x="448" y="84"/>
                  </a:lnTo>
                  <a:lnTo>
                    <a:pt x="447" y="83"/>
                  </a:lnTo>
                  <a:lnTo>
                    <a:pt x="441" y="88"/>
                  </a:lnTo>
                  <a:lnTo>
                    <a:pt x="436" y="89"/>
                  </a:lnTo>
                  <a:lnTo>
                    <a:pt x="432" y="89"/>
                  </a:lnTo>
                  <a:lnTo>
                    <a:pt x="424" y="87"/>
                  </a:lnTo>
                  <a:lnTo>
                    <a:pt x="418" y="83"/>
                  </a:lnTo>
                  <a:lnTo>
                    <a:pt x="411" y="81"/>
                  </a:lnTo>
                  <a:lnTo>
                    <a:pt x="404" y="80"/>
                  </a:lnTo>
                  <a:lnTo>
                    <a:pt x="401" y="78"/>
                  </a:lnTo>
                  <a:lnTo>
                    <a:pt x="399" y="77"/>
                  </a:lnTo>
                  <a:lnTo>
                    <a:pt x="394" y="76"/>
                  </a:lnTo>
                  <a:lnTo>
                    <a:pt x="389" y="76"/>
                  </a:lnTo>
                  <a:lnTo>
                    <a:pt x="372" y="71"/>
                  </a:lnTo>
                  <a:lnTo>
                    <a:pt x="357" y="67"/>
                  </a:lnTo>
                  <a:lnTo>
                    <a:pt x="354" y="65"/>
                  </a:lnTo>
                  <a:lnTo>
                    <a:pt x="352" y="64"/>
                  </a:lnTo>
                  <a:lnTo>
                    <a:pt x="348" y="63"/>
                  </a:lnTo>
                  <a:lnTo>
                    <a:pt x="344" y="62"/>
                  </a:lnTo>
                  <a:lnTo>
                    <a:pt x="338" y="59"/>
                  </a:lnTo>
                  <a:lnTo>
                    <a:pt x="334" y="58"/>
                  </a:lnTo>
                  <a:lnTo>
                    <a:pt x="331" y="58"/>
                  </a:lnTo>
                  <a:lnTo>
                    <a:pt x="328" y="58"/>
                  </a:lnTo>
                  <a:lnTo>
                    <a:pt x="325" y="59"/>
                  </a:lnTo>
                  <a:lnTo>
                    <a:pt x="320" y="64"/>
                  </a:lnTo>
                  <a:lnTo>
                    <a:pt x="315" y="69"/>
                  </a:lnTo>
                  <a:lnTo>
                    <a:pt x="312" y="70"/>
                  </a:lnTo>
                  <a:lnTo>
                    <a:pt x="311" y="69"/>
                  </a:lnTo>
                  <a:lnTo>
                    <a:pt x="306" y="59"/>
                  </a:lnTo>
                  <a:lnTo>
                    <a:pt x="304" y="54"/>
                  </a:lnTo>
                  <a:lnTo>
                    <a:pt x="302" y="48"/>
                  </a:lnTo>
                  <a:lnTo>
                    <a:pt x="300" y="48"/>
                  </a:lnTo>
                  <a:lnTo>
                    <a:pt x="298" y="48"/>
                  </a:lnTo>
                  <a:lnTo>
                    <a:pt x="295" y="54"/>
                  </a:lnTo>
                  <a:lnTo>
                    <a:pt x="292" y="61"/>
                  </a:lnTo>
                  <a:lnTo>
                    <a:pt x="291" y="63"/>
                  </a:lnTo>
                  <a:lnTo>
                    <a:pt x="290" y="65"/>
                  </a:lnTo>
                  <a:lnTo>
                    <a:pt x="286" y="67"/>
                  </a:lnTo>
                  <a:lnTo>
                    <a:pt x="282" y="67"/>
                  </a:lnTo>
                  <a:lnTo>
                    <a:pt x="277" y="65"/>
                  </a:lnTo>
                  <a:lnTo>
                    <a:pt x="272" y="63"/>
                  </a:lnTo>
                  <a:lnTo>
                    <a:pt x="263" y="58"/>
                  </a:lnTo>
                  <a:lnTo>
                    <a:pt x="255" y="50"/>
                  </a:lnTo>
                  <a:lnTo>
                    <a:pt x="249" y="43"/>
                  </a:lnTo>
                  <a:lnTo>
                    <a:pt x="245" y="41"/>
                  </a:lnTo>
                  <a:lnTo>
                    <a:pt x="243" y="37"/>
                  </a:lnTo>
                  <a:lnTo>
                    <a:pt x="239" y="35"/>
                  </a:lnTo>
                  <a:lnTo>
                    <a:pt x="234" y="33"/>
                  </a:lnTo>
                  <a:lnTo>
                    <a:pt x="232" y="33"/>
                  </a:lnTo>
                  <a:lnTo>
                    <a:pt x="230" y="33"/>
                  </a:lnTo>
                  <a:lnTo>
                    <a:pt x="230" y="36"/>
                  </a:lnTo>
                  <a:lnTo>
                    <a:pt x="230" y="37"/>
                  </a:lnTo>
                  <a:lnTo>
                    <a:pt x="232" y="42"/>
                  </a:lnTo>
                  <a:lnTo>
                    <a:pt x="235" y="45"/>
                  </a:lnTo>
                  <a:lnTo>
                    <a:pt x="238" y="49"/>
                  </a:lnTo>
                  <a:lnTo>
                    <a:pt x="236" y="52"/>
                  </a:lnTo>
                  <a:lnTo>
                    <a:pt x="234" y="56"/>
                  </a:lnTo>
                  <a:lnTo>
                    <a:pt x="230" y="59"/>
                  </a:lnTo>
                  <a:lnTo>
                    <a:pt x="225" y="63"/>
                  </a:lnTo>
                  <a:lnTo>
                    <a:pt x="220" y="65"/>
                  </a:lnTo>
                  <a:lnTo>
                    <a:pt x="217" y="64"/>
                  </a:lnTo>
                  <a:lnTo>
                    <a:pt x="216" y="63"/>
                  </a:lnTo>
                  <a:lnTo>
                    <a:pt x="215" y="57"/>
                  </a:lnTo>
                  <a:lnTo>
                    <a:pt x="212" y="57"/>
                  </a:lnTo>
                  <a:lnTo>
                    <a:pt x="210" y="57"/>
                  </a:lnTo>
                  <a:lnTo>
                    <a:pt x="202" y="61"/>
                  </a:lnTo>
                  <a:lnTo>
                    <a:pt x="194" y="63"/>
                  </a:lnTo>
                  <a:lnTo>
                    <a:pt x="192" y="64"/>
                  </a:lnTo>
                  <a:lnTo>
                    <a:pt x="191" y="67"/>
                  </a:lnTo>
                  <a:lnTo>
                    <a:pt x="188" y="68"/>
                  </a:lnTo>
                  <a:lnTo>
                    <a:pt x="185" y="69"/>
                  </a:lnTo>
                  <a:lnTo>
                    <a:pt x="185" y="68"/>
                  </a:lnTo>
                  <a:lnTo>
                    <a:pt x="185" y="67"/>
                  </a:lnTo>
                  <a:lnTo>
                    <a:pt x="185" y="64"/>
                  </a:lnTo>
                  <a:lnTo>
                    <a:pt x="197" y="57"/>
                  </a:lnTo>
                  <a:lnTo>
                    <a:pt x="201" y="52"/>
                  </a:lnTo>
                  <a:lnTo>
                    <a:pt x="203" y="50"/>
                  </a:lnTo>
                  <a:lnTo>
                    <a:pt x="203" y="46"/>
                  </a:lnTo>
                  <a:lnTo>
                    <a:pt x="193" y="48"/>
                  </a:lnTo>
                  <a:lnTo>
                    <a:pt x="188" y="49"/>
                  </a:lnTo>
                  <a:lnTo>
                    <a:pt x="184" y="52"/>
                  </a:lnTo>
                  <a:lnTo>
                    <a:pt x="180" y="58"/>
                  </a:lnTo>
                  <a:lnTo>
                    <a:pt x="178" y="59"/>
                  </a:lnTo>
                  <a:lnTo>
                    <a:pt x="174" y="61"/>
                  </a:lnTo>
                  <a:lnTo>
                    <a:pt x="166" y="63"/>
                  </a:lnTo>
                  <a:lnTo>
                    <a:pt x="165" y="64"/>
                  </a:lnTo>
                  <a:lnTo>
                    <a:pt x="164" y="65"/>
                  </a:lnTo>
                  <a:lnTo>
                    <a:pt x="164" y="67"/>
                  </a:lnTo>
                  <a:lnTo>
                    <a:pt x="163" y="67"/>
                  </a:lnTo>
                  <a:lnTo>
                    <a:pt x="158" y="65"/>
                  </a:lnTo>
                  <a:lnTo>
                    <a:pt x="152" y="65"/>
                  </a:lnTo>
                  <a:lnTo>
                    <a:pt x="149" y="67"/>
                  </a:lnTo>
                  <a:lnTo>
                    <a:pt x="144" y="69"/>
                  </a:lnTo>
                  <a:lnTo>
                    <a:pt x="136" y="73"/>
                  </a:lnTo>
                  <a:lnTo>
                    <a:pt x="132" y="74"/>
                  </a:lnTo>
                  <a:lnTo>
                    <a:pt x="127" y="75"/>
                  </a:lnTo>
                  <a:lnTo>
                    <a:pt x="127" y="74"/>
                  </a:lnTo>
                  <a:lnTo>
                    <a:pt x="126" y="74"/>
                  </a:lnTo>
                  <a:lnTo>
                    <a:pt x="127" y="71"/>
                  </a:lnTo>
                  <a:lnTo>
                    <a:pt x="128" y="69"/>
                  </a:lnTo>
                  <a:lnTo>
                    <a:pt x="128" y="67"/>
                  </a:lnTo>
                  <a:lnTo>
                    <a:pt x="126" y="64"/>
                  </a:lnTo>
                  <a:lnTo>
                    <a:pt x="122" y="62"/>
                  </a:lnTo>
                  <a:lnTo>
                    <a:pt x="118" y="61"/>
                  </a:lnTo>
                  <a:lnTo>
                    <a:pt x="114" y="62"/>
                  </a:lnTo>
                  <a:lnTo>
                    <a:pt x="112" y="63"/>
                  </a:lnTo>
                  <a:lnTo>
                    <a:pt x="109" y="65"/>
                  </a:lnTo>
                  <a:lnTo>
                    <a:pt x="107" y="71"/>
                  </a:lnTo>
                  <a:lnTo>
                    <a:pt x="105" y="77"/>
                  </a:lnTo>
                  <a:lnTo>
                    <a:pt x="102" y="83"/>
                  </a:lnTo>
                  <a:lnTo>
                    <a:pt x="98" y="86"/>
                  </a:lnTo>
                  <a:lnTo>
                    <a:pt x="94" y="88"/>
                  </a:lnTo>
                  <a:lnTo>
                    <a:pt x="89" y="89"/>
                  </a:lnTo>
                  <a:lnTo>
                    <a:pt x="84" y="89"/>
                  </a:lnTo>
                  <a:lnTo>
                    <a:pt x="79" y="89"/>
                  </a:lnTo>
                  <a:lnTo>
                    <a:pt x="74" y="87"/>
                  </a:lnTo>
                  <a:lnTo>
                    <a:pt x="70" y="84"/>
                  </a:lnTo>
                  <a:lnTo>
                    <a:pt x="66" y="81"/>
                  </a:lnTo>
                  <a:lnTo>
                    <a:pt x="65" y="80"/>
                  </a:lnTo>
                  <a:lnTo>
                    <a:pt x="62" y="80"/>
                  </a:lnTo>
                  <a:lnTo>
                    <a:pt x="58" y="78"/>
                  </a:lnTo>
                  <a:lnTo>
                    <a:pt x="38" y="70"/>
                  </a:lnTo>
                  <a:lnTo>
                    <a:pt x="28" y="67"/>
                  </a:lnTo>
                  <a:lnTo>
                    <a:pt x="18" y="62"/>
                  </a:lnTo>
                  <a:lnTo>
                    <a:pt x="13" y="59"/>
                  </a:lnTo>
                  <a:lnTo>
                    <a:pt x="6" y="59"/>
                  </a:lnTo>
                  <a:lnTo>
                    <a:pt x="0" y="59"/>
                  </a:lnTo>
                  <a:lnTo>
                    <a:pt x="3" y="318"/>
                  </a:lnTo>
                  <a:lnTo>
                    <a:pt x="10" y="316"/>
                  </a:lnTo>
                  <a:lnTo>
                    <a:pt x="17" y="314"/>
                  </a:lnTo>
                  <a:lnTo>
                    <a:pt x="20" y="316"/>
                  </a:lnTo>
                  <a:lnTo>
                    <a:pt x="23" y="317"/>
                  </a:lnTo>
                  <a:lnTo>
                    <a:pt x="31" y="325"/>
                  </a:lnTo>
                  <a:lnTo>
                    <a:pt x="42" y="337"/>
                  </a:lnTo>
                  <a:lnTo>
                    <a:pt x="48" y="344"/>
                  </a:lnTo>
                  <a:lnTo>
                    <a:pt x="55" y="349"/>
                  </a:lnTo>
                  <a:lnTo>
                    <a:pt x="60" y="352"/>
                  </a:lnTo>
                  <a:lnTo>
                    <a:pt x="65" y="352"/>
                  </a:lnTo>
                  <a:lnTo>
                    <a:pt x="69" y="351"/>
                  </a:lnTo>
                  <a:lnTo>
                    <a:pt x="72" y="349"/>
                  </a:lnTo>
                  <a:lnTo>
                    <a:pt x="79" y="343"/>
                  </a:lnTo>
                  <a:lnTo>
                    <a:pt x="86" y="336"/>
                  </a:lnTo>
                  <a:lnTo>
                    <a:pt x="88" y="333"/>
                  </a:lnTo>
                  <a:lnTo>
                    <a:pt x="90" y="333"/>
                  </a:lnTo>
                  <a:lnTo>
                    <a:pt x="93" y="335"/>
                  </a:lnTo>
                  <a:lnTo>
                    <a:pt x="102" y="342"/>
                  </a:lnTo>
                  <a:lnTo>
                    <a:pt x="109" y="346"/>
                  </a:lnTo>
                  <a:lnTo>
                    <a:pt x="113" y="349"/>
                  </a:lnTo>
                  <a:lnTo>
                    <a:pt x="118" y="354"/>
                  </a:lnTo>
                  <a:lnTo>
                    <a:pt x="125" y="361"/>
                  </a:lnTo>
                  <a:lnTo>
                    <a:pt x="131" y="367"/>
                  </a:lnTo>
                  <a:lnTo>
                    <a:pt x="140" y="376"/>
                  </a:lnTo>
                  <a:lnTo>
                    <a:pt x="149" y="390"/>
                  </a:lnTo>
                  <a:lnTo>
                    <a:pt x="156" y="400"/>
                  </a:lnTo>
                  <a:lnTo>
                    <a:pt x="165" y="407"/>
                  </a:lnTo>
                  <a:lnTo>
                    <a:pt x="174" y="414"/>
                  </a:lnTo>
                  <a:lnTo>
                    <a:pt x="179" y="419"/>
                  </a:lnTo>
                  <a:lnTo>
                    <a:pt x="182" y="423"/>
                  </a:lnTo>
                  <a:lnTo>
                    <a:pt x="184" y="429"/>
                  </a:lnTo>
                  <a:lnTo>
                    <a:pt x="185" y="438"/>
                  </a:lnTo>
                  <a:lnTo>
                    <a:pt x="185" y="446"/>
                  </a:lnTo>
                  <a:lnTo>
                    <a:pt x="184" y="45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7" name="Freeform 1006"/>
            <p:cNvSpPr>
              <a:spLocks/>
            </p:cNvSpPr>
            <p:nvPr/>
          </p:nvSpPr>
          <p:spPr bwMode="auto">
            <a:xfrm>
              <a:off x="2482854" y="3090864"/>
              <a:ext cx="47625" cy="25400"/>
            </a:xfrm>
            <a:custGeom>
              <a:avLst/>
              <a:gdLst>
                <a:gd name="T0" fmla="*/ 2147483647 w 33"/>
                <a:gd name="T1" fmla="*/ 2147483647 h 16"/>
                <a:gd name="T2" fmla="*/ 2147483647 w 33"/>
                <a:gd name="T3" fmla="*/ 2147483647 h 16"/>
                <a:gd name="T4" fmla="*/ 2147483647 w 33"/>
                <a:gd name="T5" fmla="*/ 2147483647 h 16"/>
                <a:gd name="T6" fmla="*/ 2147483647 w 33"/>
                <a:gd name="T7" fmla="*/ 2147483647 h 16"/>
                <a:gd name="T8" fmla="*/ 2147483647 w 33"/>
                <a:gd name="T9" fmla="*/ 2147483647 h 16"/>
                <a:gd name="T10" fmla="*/ 2147483647 w 33"/>
                <a:gd name="T11" fmla="*/ 0 h 16"/>
                <a:gd name="T12" fmla="*/ 2147483647 w 33"/>
                <a:gd name="T13" fmla="*/ 0 h 16"/>
                <a:gd name="T14" fmla="*/ 2147483647 w 33"/>
                <a:gd name="T15" fmla="*/ 2147483647 h 16"/>
                <a:gd name="T16" fmla="*/ 2147483647 w 33"/>
                <a:gd name="T17" fmla="*/ 2147483647 h 16"/>
                <a:gd name="T18" fmla="*/ 2147483647 w 33"/>
                <a:gd name="T19" fmla="*/ 2147483647 h 16"/>
                <a:gd name="T20" fmla="*/ 2147483647 w 33"/>
                <a:gd name="T21" fmla="*/ 2147483647 h 16"/>
                <a:gd name="T22" fmla="*/ 2147483647 w 33"/>
                <a:gd name="T23" fmla="*/ 2147483647 h 16"/>
                <a:gd name="T24" fmla="*/ 2147483647 w 33"/>
                <a:gd name="T25" fmla="*/ 2147483647 h 16"/>
                <a:gd name="T26" fmla="*/ 0 w 33"/>
                <a:gd name="T27" fmla="*/ 2147483647 h 16"/>
                <a:gd name="T28" fmla="*/ 2147483647 w 33"/>
                <a:gd name="T29" fmla="*/ 2147483647 h 16"/>
                <a:gd name="T30" fmla="*/ 2147483647 w 33"/>
                <a:gd name="T31" fmla="*/ 2147483647 h 16"/>
                <a:gd name="T32" fmla="*/ 2147483647 w 33"/>
                <a:gd name="T33" fmla="*/ 2147483647 h 16"/>
                <a:gd name="T34" fmla="*/ 2147483647 w 33"/>
                <a:gd name="T35" fmla="*/ 2147483647 h 16"/>
                <a:gd name="T36" fmla="*/ 2147483647 w 33"/>
                <a:gd name="T37" fmla="*/ 2147483647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
                <a:gd name="T58" fmla="*/ 0 h 16"/>
                <a:gd name="T59" fmla="*/ 33 w 33"/>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 h="16">
                  <a:moveTo>
                    <a:pt x="27" y="6"/>
                  </a:moveTo>
                  <a:lnTo>
                    <a:pt x="29" y="4"/>
                  </a:lnTo>
                  <a:lnTo>
                    <a:pt x="30" y="3"/>
                  </a:lnTo>
                  <a:lnTo>
                    <a:pt x="33" y="2"/>
                  </a:lnTo>
                  <a:lnTo>
                    <a:pt x="33" y="1"/>
                  </a:lnTo>
                  <a:lnTo>
                    <a:pt x="32" y="0"/>
                  </a:lnTo>
                  <a:lnTo>
                    <a:pt x="28" y="0"/>
                  </a:lnTo>
                  <a:lnTo>
                    <a:pt x="23" y="3"/>
                  </a:lnTo>
                  <a:lnTo>
                    <a:pt x="16" y="6"/>
                  </a:lnTo>
                  <a:lnTo>
                    <a:pt x="9" y="7"/>
                  </a:lnTo>
                  <a:lnTo>
                    <a:pt x="6" y="8"/>
                  </a:lnTo>
                  <a:lnTo>
                    <a:pt x="3" y="10"/>
                  </a:lnTo>
                  <a:lnTo>
                    <a:pt x="1" y="13"/>
                  </a:lnTo>
                  <a:lnTo>
                    <a:pt x="0" y="16"/>
                  </a:lnTo>
                  <a:lnTo>
                    <a:pt x="8" y="15"/>
                  </a:lnTo>
                  <a:lnTo>
                    <a:pt x="15" y="14"/>
                  </a:lnTo>
                  <a:lnTo>
                    <a:pt x="23" y="10"/>
                  </a:lnTo>
                  <a:lnTo>
                    <a:pt x="25" y="8"/>
                  </a:lnTo>
                  <a:lnTo>
                    <a:pt x="27"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8" name="Freeform 1007"/>
            <p:cNvSpPr>
              <a:spLocks/>
            </p:cNvSpPr>
            <p:nvPr/>
          </p:nvSpPr>
          <p:spPr bwMode="auto">
            <a:xfrm>
              <a:off x="777878" y="1846264"/>
              <a:ext cx="2157413" cy="1206500"/>
            </a:xfrm>
            <a:custGeom>
              <a:avLst/>
              <a:gdLst>
                <a:gd name="T0" fmla="*/ 2147483647 w 1472"/>
                <a:gd name="T1" fmla="*/ 2147483647 h 760"/>
                <a:gd name="T2" fmla="*/ 2147483647 w 1472"/>
                <a:gd name="T3" fmla="*/ 2147483647 h 760"/>
                <a:gd name="T4" fmla="*/ 2147483647 w 1472"/>
                <a:gd name="T5" fmla="*/ 2147483647 h 760"/>
                <a:gd name="T6" fmla="*/ 2147483647 w 1472"/>
                <a:gd name="T7" fmla="*/ 2147483647 h 760"/>
                <a:gd name="T8" fmla="*/ 2147483647 w 1472"/>
                <a:gd name="T9" fmla="*/ 2147483647 h 760"/>
                <a:gd name="T10" fmla="*/ 2147483647 w 1472"/>
                <a:gd name="T11" fmla="*/ 2147483647 h 760"/>
                <a:gd name="T12" fmla="*/ 2147483647 w 1472"/>
                <a:gd name="T13" fmla="*/ 2147483647 h 760"/>
                <a:gd name="T14" fmla="*/ 2147483647 w 1472"/>
                <a:gd name="T15" fmla="*/ 2147483647 h 760"/>
                <a:gd name="T16" fmla="*/ 2147483647 w 1472"/>
                <a:gd name="T17" fmla="*/ 2147483647 h 760"/>
                <a:gd name="T18" fmla="*/ 2147483647 w 1472"/>
                <a:gd name="T19" fmla="*/ 2147483647 h 760"/>
                <a:gd name="T20" fmla="*/ 2147483647 w 1472"/>
                <a:gd name="T21" fmla="*/ 2147483647 h 760"/>
                <a:gd name="T22" fmla="*/ 2147483647 w 1472"/>
                <a:gd name="T23" fmla="*/ 2147483647 h 760"/>
                <a:gd name="T24" fmla="*/ 2147483647 w 1472"/>
                <a:gd name="T25" fmla="*/ 2147483647 h 760"/>
                <a:gd name="T26" fmla="*/ 2147483647 w 1472"/>
                <a:gd name="T27" fmla="*/ 2147483647 h 760"/>
                <a:gd name="T28" fmla="*/ 2147483647 w 1472"/>
                <a:gd name="T29" fmla="*/ 2147483647 h 760"/>
                <a:gd name="T30" fmla="*/ 2147483647 w 1472"/>
                <a:gd name="T31" fmla="*/ 2147483647 h 760"/>
                <a:gd name="T32" fmla="*/ 2147483647 w 1472"/>
                <a:gd name="T33" fmla="*/ 2147483647 h 760"/>
                <a:gd name="T34" fmla="*/ 2147483647 w 1472"/>
                <a:gd name="T35" fmla="*/ 2147483647 h 760"/>
                <a:gd name="T36" fmla="*/ 2147483647 w 1472"/>
                <a:gd name="T37" fmla="*/ 2147483647 h 760"/>
                <a:gd name="T38" fmla="*/ 2147483647 w 1472"/>
                <a:gd name="T39" fmla="*/ 2147483647 h 760"/>
                <a:gd name="T40" fmla="*/ 2147483647 w 1472"/>
                <a:gd name="T41" fmla="*/ 2147483647 h 760"/>
                <a:gd name="T42" fmla="*/ 2147483647 w 1472"/>
                <a:gd name="T43" fmla="*/ 2147483647 h 760"/>
                <a:gd name="T44" fmla="*/ 2147483647 w 1472"/>
                <a:gd name="T45" fmla="*/ 2147483647 h 760"/>
                <a:gd name="T46" fmla="*/ 2147483647 w 1472"/>
                <a:gd name="T47" fmla="*/ 2147483647 h 760"/>
                <a:gd name="T48" fmla="*/ 2147483647 w 1472"/>
                <a:gd name="T49" fmla="*/ 2147483647 h 760"/>
                <a:gd name="T50" fmla="*/ 2147483647 w 1472"/>
                <a:gd name="T51" fmla="*/ 2147483647 h 760"/>
                <a:gd name="T52" fmla="*/ 2147483647 w 1472"/>
                <a:gd name="T53" fmla="*/ 2147483647 h 760"/>
                <a:gd name="T54" fmla="*/ 2147483647 w 1472"/>
                <a:gd name="T55" fmla="*/ 2147483647 h 760"/>
                <a:gd name="T56" fmla="*/ 2147483647 w 1472"/>
                <a:gd name="T57" fmla="*/ 2147483647 h 760"/>
                <a:gd name="T58" fmla="*/ 2147483647 w 1472"/>
                <a:gd name="T59" fmla="*/ 2147483647 h 760"/>
                <a:gd name="T60" fmla="*/ 2147483647 w 1472"/>
                <a:gd name="T61" fmla="*/ 2147483647 h 760"/>
                <a:gd name="T62" fmla="*/ 2147483647 w 1472"/>
                <a:gd name="T63" fmla="*/ 2147483647 h 760"/>
                <a:gd name="T64" fmla="*/ 2147483647 w 1472"/>
                <a:gd name="T65" fmla="*/ 2147483647 h 760"/>
                <a:gd name="T66" fmla="*/ 2147483647 w 1472"/>
                <a:gd name="T67" fmla="*/ 2147483647 h 760"/>
                <a:gd name="T68" fmla="*/ 2147483647 w 1472"/>
                <a:gd name="T69" fmla="*/ 2147483647 h 760"/>
                <a:gd name="T70" fmla="*/ 2147483647 w 1472"/>
                <a:gd name="T71" fmla="*/ 2147483647 h 760"/>
                <a:gd name="T72" fmla="*/ 2147483647 w 1472"/>
                <a:gd name="T73" fmla="*/ 2147483647 h 760"/>
                <a:gd name="T74" fmla="*/ 2147483647 w 1472"/>
                <a:gd name="T75" fmla="*/ 2147483647 h 760"/>
                <a:gd name="T76" fmla="*/ 2147483647 w 1472"/>
                <a:gd name="T77" fmla="*/ 2147483647 h 760"/>
                <a:gd name="T78" fmla="*/ 2147483647 w 1472"/>
                <a:gd name="T79" fmla="*/ 2147483647 h 760"/>
                <a:gd name="T80" fmla="*/ 2147483647 w 1472"/>
                <a:gd name="T81" fmla="*/ 2147483647 h 760"/>
                <a:gd name="T82" fmla="*/ 2147483647 w 1472"/>
                <a:gd name="T83" fmla="*/ 2147483647 h 760"/>
                <a:gd name="T84" fmla="*/ 2147483647 w 1472"/>
                <a:gd name="T85" fmla="*/ 2147483647 h 760"/>
                <a:gd name="T86" fmla="*/ 2147483647 w 1472"/>
                <a:gd name="T87" fmla="*/ 2147483647 h 760"/>
                <a:gd name="T88" fmla="*/ 2147483647 w 1472"/>
                <a:gd name="T89" fmla="*/ 2147483647 h 760"/>
                <a:gd name="T90" fmla="*/ 2147483647 w 1472"/>
                <a:gd name="T91" fmla="*/ 2147483647 h 760"/>
                <a:gd name="T92" fmla="*/ 2147483647 w 1472"/>
                <a:gd name="T93" fmla="*/ 2147483647 h 760"/>
                <a:gd name="T94" fmla="*/ 2147483647 w 1472"/>
                <a:gd name="T95" fmla="*/ 2147483647 h 760"/>
                <a:gd name="T96" fmla="*/ 2147483647 w 1472"/>
                <a:gd name="T97" fmla="*/ 2147483647 h 760"/>
                <a:gd name="T98" fmla="*/ 2147483647 w 1472"/>
                <a:gd name="T99" fmla="*/ 2147483647 h 760"/>
                <a:gd name="T100" fmla="*/ 2147483647 w 1472"/>
                <a:gd name="T101" fmla="*/ 2147483647 h 760"/>
                <a:gd name="T102" fmla="*/ 2147483647 w 1472"/>
                <a:gd name="T103" fmla="*/ 2147483647 h 760"/>
                <a:gd name="T104" fmla="*/ 2147483647 w 1472"/>
                <a:gd name="T105" fmla="*/ 2147483647 h 760"/>
                <a:gd name="T106" fmla="*/ 2147483647 w 1472"/>
                <a:gd name="T107" fmla="*/ 2147483647 h 760"/>
                <a:gd name="T108" fmla="*/ 2147483647 w 1472"/>
                <a:gd name="T109" fmla="*/ 2147483647 h 760"/>
                <a:gd name="T110" fmla="*/ 2147483647 w 1472"/>
                <a:gd name="T111" fmla="*/ 2147483647 h 760"/>
                <a:gd name="T112" fmla="*/ 2147483647 w 1472"/>
                <a:gd name="T113" fmla="*/ 2147483647 h 760"/>
                <a:gd name="T114" fmla="*/ 2147483647 w 1472"/>
                <a:gd name="T115" fmla="*/ 2147483647 h 760"/>
                <a:gd name="T116" fmla="*/ 2147483647 w 1472"/>
                <a:gd name="T117" fmla="*/ 2147483647 h 760"/>
                <a:gd name="T118" fmla="*/ 2147483647 w 1472"/>
                <a:gd name="T119" fmla="*/ 2147483647 h 760"/>
                <a:gd name="T120" fmla="*/ 2147483647 w 1472"/>
                <a:gd name="T121" fmla="*/ 2147483647 h 760"/>
                <a:gd name="T122" fmla="*/ 2147483647 w 1472"/>
                <a:gd name="T123" fmla="*/ 2147483647 h 760"/>
                <a:gd name="T124" fmla="*/ 2147483647 w 1472"/>
                <a:gd name="T125" fmla="*/ 2147483647 h 7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2"/>
                <a:gd name="T190" fmla="*/ 0 h 760"/>
                <a:gd name="T191" fmla="*/ 1472 w 1472"/>
                <a:gd name="T192" fmla="*/ 760 h 7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2" h="760">
                  <a:moveTo>
                    <a:pt x="184" y="458"/>
                  </a:moveTo>
                  <a:lnTo>
                    <a:pt x="184" y="458"/>
                  </a:lnTo>
                  <a:lnTo>
                    <a:pt x="184" y="460"/>
                  </a:lnTo>
                  <a:lnTo>
                    <a:pt x="185" y="462"/>
                  </a:lnTo>
                  <a:lnTo>
                    <a:pt x="185" y="468"/>
                  </a:lnTo>
                  <a:lnTo>
                    <a:pt x="188" y="473"/>
                  </a:lnTo>
                  <a:lnTo>
                    <a:pt x="189" y="478"/>
                  </a:lnTo>
                  <a:lnTo>
                    <a:pt x="190" y="486"/>
                  </a:lnTo>
                  <a:lnTo>
                    <a:pt x="192" y="490"/>
                  </a:lnTo>
                  <a:lnTo>
                    <a:pt x="194" y="493"/>
                  </a:lnTo>
                  <a:lnTo>
                    <a:pt x="197" y="496"/>
                  </a:lnTo>
                  <a:lnTo>
                    <a:pt x="200" y="500"/>
                  </a:lnTo>
                  <a:lnTo>
                    <a:pt x="202" y="504"/>
                  </a:lnTo>
                  <a:lnTo>
                    <a:pt x="203" y="507"/>
                  </a:lnTo>
                  <a:lnTo>
                    <a:pt x="203" y="509"/>
                  </a:lnTo>
                  <a:lnTo>
                    <a:pt x="200" y="509"/>
                  </a:lnTo>
                  <a:lnTo>
                    <a:pt x="198" y="509"/>
                  </a:lnTo>
                  <a:lnTo>
                    <a:pt x="198" y="510"/>
                  </a:lnTo>
                  <a:lnTo>
                    <a:pt x="200" y="515"/>
                  </a:lnTo>
                  <a:lnTo>
                    <a:pt x="204" y="519"/>
                  </a:lnTo>
                  <a:lnTo>
                    <a:pt x="206" y="518"/>
                  </a:lnTo>
                  <a:lnTo>
                    <a:pt x="208" y="515"/>
                  </a:lnTo>
                  <a:lnTo>
                    <a:pt x="209" y="512"/>
                  </a:lnTo>
                  <a:lnTo>
                    <a:pt x="211" y="511"/>
                  </a:lnTo>
                  <a:lnTo>
                    <a:pt x="213" y="512"/>
                  </a:lnTo>
                  <a:lnTo>
                    <a:pt x="214" y="515"/>
                  </a:lnTo>
                  <a:lnTo>
                    <a:pt x="217" y="517"/>
                  </a:lnTo>
                  <a:lnTo>
                    <a:pt x="222" y="523"/>
                  </a:lnTo>
                  <a:lnTo>
                    <a:pt x="227" y="530"/>
                  </a:lnTo>
                  <a:lnTo>
                    <a:pt x="231" y="538"/>
                  </a:lnTo>
                  <a:lnTo>
                    <a:pt x="233" y="545"/>
                  </a:lnTo>
                  <a:lnTo>
                    <a:pt x="235" y="550"/>
                  </a:lnTo>
                  <a:lnTo>
                    <a:pt x="239" y="555"/>
                  </a:lnTo>
                  <a:lnTo>
                    <a:pt x="244" y="557"/>
                  </a:lnTo>
                  <a:lnTo>
                    <a:pt x="249" y="557"/>
                  </a:lnTo>
                  <a:lnTo>
                    <a:pt x="256" y="561"/>
                  </a:lnTo>
                  <a:lnTo>
                    <a:pt x="264" y="563"/>
                  </a:lnTo>
                  <a:lnTo>
                    <a:pt x="272" y="564"/>
                  </a:lnTo>
                  <a:lnTo>
                    <a:pt x="278" y="567"/>
                  </a:lnTo>
                  <a:lnTo>
                    <a:pt x="282" y="570"/>
                  </a:lnTo>
                  <a:lnTo>
                    <a:pt x="284" y="573"/>
                  </a:lnTo>
                  <a:lnTo>
                    <a:pt x="291" y="581"/>
                  </a:lnTo>
                  <a:lnTo>
                    <a:pt x="294" y="585"/>
                  </a:lnTo>
                  <a:lnTo>
                    <a:pt x="298" y="587"/>
                  </a:lnTo>
                  <a:lnTo>
                    <a:pt x="303" y="588"/>
                  </a:lnTo>
                  <a:lnTo>
                    <a:pt x="308" y="588"/>
                  </a:lnTo>
                  <a:lnTo>
                    <a:pt x="310" y="588"/>
                  </a:lnTo>
                  <a:lnTo>
                    <a:pt x="310" y="590"/>
                  </a:lnTo>
                  <a:lnTo>
                    <a:pt x="310" y="595"/>
                  </a:lnTo>
                  <a:lnTo>
                    <a:pt x="310" y="596"/>
                  </a:lnTo>
                  <a:lnTo>
                    <a:pt x="310" y="598"/>
                  </a:lnTo>
                  <a:lnTo>
                    <a:pt x="312" y="600"/>
                  </a:lnTo>
                  <a:lnTo>
                    <a:pt x="317" y="602"/>
                  </a:lnTo>
                  <a:lnTo>
                    <a:pt x="796" y="598"/>
                  </a:lnTo>
                  <a:lnTo>
                    <a:pt x="806" y="606"/>
                  </a:lnTo>
                  <a:lnTo>
                    <a:pt x="814" y="611"/>
                  </a:lnTo>
                  <a:lnTo>
                    <a:pt x="816" y="612"/>
                  </a:lnTo>
                  <a:lnTo>
                    <a:pt x="819" y="613"/>
                  </a:lnTo>
                  <a:lnTo>
                    <a:pt x="833" y="609"/>
                  </a:lnTo>
                  <a:lnTo>
                    <a:pt x="839" y="608"/>
                  </a:lnTo>
                  <a:lnTo>
                    <a:pt x="842" y="608"/>
                  </a:lnTo>
                  <a:lnTo>
                    <a:pt x="844" y="609"/>
                  </a:lnTo>
                  <a:lnTo>
                    <a:pt x="848" y="613"/>
                  </a:lnTo>
                  <a:lnTo>
                    <a:pt x="852" y="615"/>
                  </a:lnTo>
                  <a:lnTo>
                    <a:pt x="856" y="615"/>
                  </a:lnTo>
                  <a:lnTo>
                    <a:pt x="865" y="615"/>
                  </a:lnTo>
                  <a:lnTo>
                    <a:pt x="875" y="615"/>
                  </a:lnTo>
                  <a:lnTo>
                    <a:pt x="884" y="618"/>
                  </a:lnTo>
                  <a:lnTo>
                    <a:pt x="894" y="620"/>
                  </a:lnTo>
                  <a:lnTo>
                    <a:pt x="896" y="620"/>
                  </a:lnTo>
                  <a:lnTo>
                    <a:pt x="898" y="619"/>
                  </a:lnTo>
                  <a:lnTo>
                    <a:pt x="900" y="618"/>
                  </a:lnTo>
                  <a:lnTo>
                    <a:pt x="903" y="615"/>
                  </a:lnTo>
                  <a:lnTo>
                    <a:pt x="910" y="615"/>
                  </a:lnTo>
                  <a:lnTo>
                    <a:pt x="914" y="617"/>
                  </a:lnTo>
                  <a:lnTo>
                    <a:pt x="917" y="618"/>
                  </a:lnTo>
                  <a:lnTo>
                    <a:pt x="931" y="628"/>
                  </a:lnTo>
                  <a:lnTo>
                    <a:pt x="946" y="638"/>
                  </a:lnTo>
                  <a:lnTo>
                    <a:pt x="961" y="645"/>
                  </a:lnTo>
                  <a:lnTo>
                    <a:pt x="978" y="651"/>
                  </a:lnTo>
                  <a:lnTo>
                    <a:pt x="980" y="653"/>
                  </a:lnTo>
                  <a:lnTo>
                    <a:pt x="983" y="657"/>
                  </a:lnTo>
                  <a:lnTo>
                    <a:pt x="988" y="669"/>
                  </a:lnTo>
                  <a:lnTo>
                    <a:pt x="990" y="673"/>
                  </a:lnTo>
                  <a:lnTo>
                    <a:pt x="994" y="678"/>
                  </a:lnTo>
                  <a:lnTo>
                    <a:pt x="999" y="682"/>
                  </a:lnTo>
                  <a:lnTo>
                    <a:pt x="1003" y="686"/>
                  </a:lnTo>
                  <a:lnTo>
                    <a:pt x="1012" y="698"/>
                  </a:lnTo>
                  <a:lnTo>
                    <a:pt x="1017" y="710"/>
                  </a:lnTo>
                  <a:lnTo>
                    <a:pt x="1021" y="722"/>
                  </a:lnTo>
                  <a:lnTo>
                    <a:pt x="1021" y="727"/>
                  </a:lnTo>
                  <a:lnTo>
                    <a:pt x="1019" y="730"/>
                  </a:lnTo>
                  <a:lnTo>
                    <a:pt x="1014" y="739"/>
                  </a:lnTo>
                  <a:lnTo>
                    <a:pt x="1003" y="753"/>
                  </a:lnTo>
                  <a:lnTo>
                    <a:pt x="1003" y="754"/>
                  </a:lnTo>
                  <a:lnTo>
                    <a:pt x="1003" y="755"/>
                  </a:lnTo>
                  <a:lnTo>
                    <a:pt x="1006" y="758"/>
                  </a:lnTo>
                  <a:lnTo>
                    <a:pt x="1012" y="760"/>
                  </a:lnTo>
                  <a:lnTo>
                    <a:pt x="1019" y="760"/>
                  </a:lnTo>
                  <a:lnTo>
                    <a:pt x="1028" y="759"/>
                  </a:lnTo>
                  <a:lnTo>
                    <a:pt x="1039" y="756"/>
                  </a:lnTo>
                  <a:lnTo>
                    <a:pt x="1058" y="750"/>
                  </a:lnTo>
                  <a:lnTo>
                    <a:pt x="1075" y="742"/>
                  </a:lnTo>
                  <a:lnTo>
                    <a:pt x="1078" y="740"/>
                  </a:lnTo>
                  <a:lnTo>
                    <a:pt x="1080" y="736"/>
                  </a:lnTo>
                  <a:lnTo>
                    <a:pt x="1082" y="734"/>
                  </a:lnTo>
                  <a:lnTo>
                    <a:pt x="1086" y="732"/>
                  </a:lnTo>
                  <a:lnTo>
                    <a:pt x="1089" y="729"/>
                  </a:lnTo>
                  <a:lnTo>
                    <a:pt x="1093" y="727"/>
                  </a:lnTo>
                  <a:lnTo>
                    <a:pt x="1101" y="722"/>
                  </a:lnTo>
                  <a:lnTo>
                    <a:pt x="1103" y="722"/>
                  </a:lnTo>
                  <a:lnTo>
                    <a:pt x="1105" y="722"/>
                  </a:lnTo>
                  <a:lnTo>
                    <a:pt x="1108" y="723"/>
                  </a:lnTo>
                  <a:lnTo>
                    <a:pt x="1112" y="722"/>
                  </a:lnTo>
                  <a:lnTo>
                    <a:pt x="1117" y="721"/>
                  </a:lnTo>
                  <a:lnTo>
                    <a:pt x="1121" y="720"/>
                  </a:lnTo>
                  <a:lnTo>
                    <a:pt x="1124" y="716"/>
                  </a:lnTo>
                  <a:lnTo>
                    <a:pt x="1136" y="701"/>
                  </a:lnTo>
                  <a:lnTo>
                    <a:pt x="1140" y="697"/>
                  </a:lnTo>
                  <a:lnTo>
                    <a:pt x="1144" y="694"/>
                  </a:lnTo>
                  <a:lnTo>
                    <a:pt x="1149" y="692"/>
                  </a:lnTo>
                  <a:lnTo>
                    <a:pt x="1154" y="691"/>
                  </a:lnTo>
                  <a:lnTo>
                    <a:pt x="1166" y="692"/>
                  </a:lnTo>
                  <a:lnTo>
                    <a:pt x="1177" y="694"/>
                  </a:lnTo>
                  <a:lnTo>
                    <a:pt x="1187" y="694"/>
                  </a:lnTo>
                  <a:lnTo>
                    <a:pt x="1192" y="692"/>
                  </a:lnTo>
                  <a:lnTo>
                    <a:pt x="1197" y="691"/>
                  </a:lnTo>
                  <a:lnTo>
                    <a:pt x="1207" y="684"/>
                  </a:lnTo>
                  <a:lnTo>
                    <a:pt x="1216" y="676"/>
                  </a:lnTo>
                  <a:lnTo>
                    <a:pt x="1224" y="666"/>
                  </a:lnTo>
                  <a:lnTo>
                    <a:pt x="1230" y="658"/>
                  </a:lnTo>
                  <a:lnTo>
                    <a:pt x="1235" y="651"/>
                  </a:lnTo>
                  <a:lnTo>
                    <a:pt x="1238" y="647"/>
                  </a:lnTo>
                  <a:lnTo>
                    <a:pt x="1240" y="645"/>
                  </a:lnTo>
                  <a:lnTo>
                    <a:pt x="1247" y="643"/>
                  </a:lnTo>
                  <a:lnTo>
                    <a:pt x="1253" y="643"/>
                  </a:lnTo>
                  <a:lnTo>
                    <a:pt x="1259" y="643"/>
                  </a:lnTo>
                  <a:lnTo>
                    <a:pt x="1266" y="643"/>
                  </a:lnTo>
                  <a:lnTo>
                    <a:pt x="1266" y="650"/>
                  </a:lnTo>
                  <a:lnTo>
                    <a:pt x="1267" y="658"/>
                  </a:lnTo>
                  <a:lnTo>
                    <a:pt x="1270" y="667"/>
                  </a:lnTo>
                  <a:lnTo>
                    <a:pt x="1272" y="677"/>
                  </a:lnTo>
                  <a:lnTo>
                    <a:pt x="1275" y="684"/>
                  </a:lnTo>
                  <a:lnTo>
                    <a:pt x="1277" y="686"/>
                  </a:lnTo>
                  <a:lnTo>
                    <a:pt x="1280" y="689"/>
                  </a:lnTo>
                  <a:lnTo>
                    <a:pt x="1284" y="685"/>
                  </a:lnTo>
                  <a:lnTo>
                    <a:pt x="1289" y="683"/>
                  </a:lnTo>
                  <a:lnTo>
                    <a:pt x="1300" y="682"/>
                  </a:lnTo>
                  <a:lnTo>
                    <a:pt x="1303" y="681"/>
                  </a:lnTo>
                  <a:lnTo>
                    <a:pt x="1304" y="679"/>
                  </a:lnTo>
                  <a:lnTo>
                    <a:pt x="1306" y="678"/>
                  </a:lnTo>
                  <a:lnTo>
                    <a:pt x="1309" y="678"/>
                  </a:lnTo>
                  <a:lnTo>
                    <a:pt x="1312" y="677"/>
                  </a:lnTo>
                  <a:lnTo>
                    <a:pt x="1317" y="673"/>
                  </a:lnTo>
                  <a:lnTo>
                    <a:pt x="1320" y="673"/>
                  </a:lnTo>
                  <a:lnTo>
                    <a:pt x="1322" y="673"/>
                  </a:lnTo>
                  <a:lnTo>
                    <a:pt x="1323" y="675"/>
                  </a:lnTo>
                  <a:lnTo>
                    <a:pt x="1322" y="676"/>
                  </a:lnTo>
                  <a:lnTo>
                    <a:pt x="1322" y="677"/>
                  </a:lnTo>
                  <a:lnTo>
                    <a:pt x="1319" y="681"/>
                  </a:lnTo>
                  <a:lnTo>
                    <a:pt x="1317" y="683"/>
                  </a:lnTo>
                  <a:lnTo>
                    <a:pt x="1317" y="684"/>
                  </a:lnTo>
                  <a:lnTo>
                    <a:pt x="1318" y="685"/>
                  </a:lnTo>
                  <a:lnTo>
                    <a:pt x="1320" y="688"/>
                  </a:lnTo>
                  <a:lnTo>
                    <a:pt x="1323" y="689"/>
                  </a:lnTo>
                  <a:lnTo>
                    <a:pt x="1328" y="689"/>
                  </a:lnTo>
                  <a:lnTo>
                    <a:pt x="1334" y="688"/>
                  </a:lnTo>
                  <a:lnTo>
                    <a:pt x="1339" y="684"/>
                  </a:lnTo>
                  <a:lnTo>
                    <a:pt x="1342" y="684"/>
                  </a:lnTo>
                  <a:lnTo>
                    <a:pt x="1341" y="688"/>
                  </a:lnTo>
                  <a:lnTo>
                    <a:pt x="1338" y="690"/>
                  </a:lnTo>
                  <a:lnTo>
                    <a:pt x="1336" y="691"/>
                  </a:lnTo>
                  <a:lnTo>
                    <a:pt x="1332" y="692"/>
                  </a:lnTo>
                  <a:lnTo>
                    <a:pt x="1326" y="694"/>
                  </a:lnTo>
                  <a:lnTo>
                    <a:pt x="1319" y="695"/>
                  </a:lnTo>
                  <a:lnTo>
                    <a:pt x="1313" y="698"/>
                  </a:lnTo>
                  <a:lnTo>
                    <a:pt x="1306" y="703"/>
                  </a:lnTo>
                  <a:lnTo>
                    <a:pt x="1303" y="704"/>
                  </a:lnTo>
                  <a:lnTo>
                    <a:pt x="1299" y="704"/>
                  </a:lnTo>
                  <a:lnTo>
                    <a:pt x="1296" y="704"/>
                  </a:lnTo>
                  <a:lnTo>
                    <a:pt x="1295" y="707"/>
                  </a:lnTo>
                  <a:lnTo>
                    <a:pt x="1295" y="711"/>
                  </a:lnTo>
                  <a:lnTo>
                    <a:pt x="1295" y="715"/>
                  </a:lnTo>
                  <a:lnTo>
                    <a:pt x="1295" y="718"/>
                  </a:lnTo>
                  <a:lnTo>
                    <a:pt x="1294" y="721"/>
                  </a:lnTo>
                  <a:lnTo>
                    <a:pt x="1291" y="722"/>
                  </a:lnTo>
                  <a:lnTo>
                    <a:pt x="1291" y="724"/>
                  </a:lnTo>
                  <a:lnTo>
                    <a:pt x="1294" y="726"/>
                  </a:lnTo>
                  <a:lnTo>
                    <a:pt x="1298" y="727"/>
                  </a:lnTo>
                  <a:lnTo>
                    <a:pt x="1299" y="729"/>
                  </a:lnTo>
                  <a:lnTo>
                    <a:pt x="1300" y="732"/>
                  </a:lnTo>
                  <a:lnTo>
                    <a:pt x="1300" y="735"/>
                  </a:lnTo>
                  <a:lnTo>
                    <a:pt x="1301" y="736"/>
                  </a:lnTo>
                  <a:lnTo>
                    <a:pt x="1306" y="734"/>
                  </a:lnTo>
                  <a:lnTo>
                    <a:pt x="1309" y="732"/>
                  </a:lnTo>
                  <a:lnTo>
                    <a:pt x="1315" y="724"/>
                  </a:lnTo>
                  <a:lnTo>
                    <a:pt x="1318" y="723"/>
                  </a:lnTo>
                  <a:lnTo>
                    <a:pt x="1319" y="722"/>
                  </a:lnTo>
                  <a:lnTo>
                    <a:pt x="1320" y="718"/>
                  </a:lnTo>
                  <a:lnTo>
                    <a:pt x="1323" y="715"/>
                  </a:lnTo>
                  <a:lnTo>
                    <a:pt x="1329" y="709"/>
                  </a:lnTo>
                  <a:lnTo>
                    <a:pt x="1336" y="704"/>
                  </a:lnTo>
                  <a:lnTo>
                    <a:pt x="1345" y="701"/>
                  </a:lnTo>
                  <a:lnTo>
                    <a:pt x="1352" y="700"/>
                  </a:lnTo>
                  <a:lnTo>
                    <a:pt x="1360" y="696"/>
                  </a:lnTo>
                  <a:lnTo>
                    <a:pt x="1374" y="689"/>
                  </a:lnTo>
                  <a:lnTo>
                    <a:pt x="1375" y="689"/>
                  </a:lnTo>
                  <a:lnTo>
                    <a:pt x="1376" y="689"/>
                  </a:lnTo>
                  <a:lnTo>
                    <a:pt x="1378" y="690"/>
                  </a:lnTo>
                  <a:lnTo>
                    <a:pt x="1379" y="689"/>
                  </a:lnTo>
                  <a:lnTo>
                    <a:pt x="1379" y="685"/>
                  </a:lnTo>
                  <a:lnTo>
                    <a:pt x="1378" y="682"/>
                  </a:lnTo>
                  <a:lnTo>
                    <a:pt x="1374" y="678"/>
                  </a:lnTo>
                  <a:lnTo>
                    <a:pt x="1370" y="677"/>
                  </a:lnTo>
                  <a:lnTo>
                    <a:pt x="1364" y="677"/>
                  </a:lnTo>
                  <a:lnTo>
                    <a:pt x="1357" y="677"/>
                  </a:lnTo>
                  <a:lnTo>
                    <a:pt x="1351" y="677"/>
                  </a:lnTo>
                  <a:lnTo>
                    <a:pt x="1343" y="676"/>
                  </a:lnTo>
                  <a:lnTo>
                    <a:pt x="1338" y="673"/>
                  </a:lnTo>
                  <a:lnTo>
                    <a:pt x="1333" y="669"/>
                  </a:lnTo>
                  <a:lnTo>
                    <a:pt x="1328" y="664"/>
                  </a:lnTo>
                  <a:lnTo>
                    <a:pt x="1326" y="657"/>
                  </a:lnTo>
                  <a:lnTo>
                    <a:pt x="1323" y="652"/>
                  </a:lnTo>
                  <a:lnTo>
                    <a:pt x="1319" y="649"/>
                  </a:lnTo>
                  <a:lnTo>
                    <a:pt x="1315" y="646"/>
                  </a:lnTo>
                  <a:lnTo>
                    <a:pt x="1310" y="644"/>
                  </a:lnTo>
                  <a:lnTo>
                    <a:pt x="1310" y="641"/>
                  </a:lnTo>
                  <a:lnTo>
                    <a:pt x="1317" y="638"/>
                  </a:lnTo>
                  <a:lnTo>
                    <a:pt x="1324" y="633"/>
                  </a:lnTo>
                  <a:lnTo>
                    <a:pt x="1327" y="631"/>
                  </a:lnTo>
                  <a:lnTo>
                    <a:pt x="1328" y="628"/>
                  </a:lnTo>
                  <a:lnTo>
                    <a:pt x="1328" y="627"/>
                  </a:lnTo>
                  <a:lnTo>
                    <a:pt x="1327" y="625"/>
                  </a:lnTo>
                  <a:lnTo>
                    <a:pt x="1323" y="624"/>
                  </a:lnTo>
                  <a:lnTo>
                    <a:pt x="1319" y="622"/>
                  </a:lnTo>
                  <a:lnTo>
                    <a:pt x="1310" y="625"/>
                  </a:lnTo>
                  <a:lnTo>
                    <a:pt x="1301" y="626"/>
                  </a:lnTo>
                  <a:lnTo>
                    <a:pt x="1296" y="626"/>
                  </a:lnTo>
                  <a:lnTo>
                    <a:pt x="1292" y="626"/>
                  </a:lnTo>
                  <a:lnTo>
                    <a:pt x="1287" y="625"/>
                  </a:lnTo>
                  <a:lnTo>
                    <a:pt x="1282" y="624"/>
                  </a:lnTo>
                  <a:lnTo>
                    <a:pt x="1285" y="621"/>
                  </a:lnTo>
                  <a:lnTo>
                    <a:pt x="1287" y="620"/>
                  </a:lnTo>
                  <a:lnTo>
                    <a:pt x="1295" y="619"/>
                  </a:lnTo>
                  <a:lnTo>
                    <a:pt x="1309" y="619"/>
                  </a:lnTo>
                  <a:lnTo>
                    <a:pt x="1314" y="618"/>
                  </a:lnTo>
                  <a:lnTo>
                    <a:pt x="1318" y="617"/>
                  </a:lnTo>
                  <a:lnTo>
                    <a:pt x="1322" y="614"/>
                  </a:lnTo>
                  <a:lnTo>
                    <a:pt x="1326" y="611"/>
                  </a:lnTo>
                  <a:lnTo>
                    <a:pt x="1327" y="607"/>
                  </a:lnTo>
                  <a:lnTo>
                    <a:pt x="1328" y="605"/>
                  </a:lnTo>
                  <a:lnTo>
                    <a:pt x="1328" y="601"/>
                  </a:lnTo>
                  <a:lnTo>
                    <a:pt x="1327" y="599"/>
                  </a:lnTo>
                  <a:lnTo>
                    <a:pt x="1320" y="595"/>
                  </a:lnTo>
                  <a:lnTo>
                    <a:pt x="1314" y="593"/>
                  </a:lnTo>
                  <a:lnTo>
                    <a:pt x="1306" y="592"/>
                  </a:lnTo>
                  <a:lnTo>
                    <a:pt x="1299" y="593"/>
                  </a:lnTo>
                  <a:lnTo>
                    <a:pt x="1290" y="594"/>
                  </a:lnTo>
                  <a:lnTo>
                    <a:pt x="1284" y="598"/>
                  </a:lnTo>
                  <a:lnTo>
                    <a:pt x="1276" y="601"/>
                  </a:lnTo>
                  <a:lnTo>
                    <a:pt x="1271" y="607"/>
                  </a:lnTo>
                  <a:lnTo>
                    <a:pt x="1258" y="617"/>
                  </a:lnTo>
                  <a:lnTo>
                    <a:pt x="1253" y="622"/>
                  </a:lnTo>
                  <a:lnTo>
                    <a:pt x="1248" y="628"/>
                  </a:lnTo>
                  <a:lnTo>
                    <a:pt x="1243" y="632"/>
                  </a:lnTo>
                  <a:lnTo>
                    <a:pt x="1239" y="635"/>
                  </a:lnTo>
                  <a:lnTo>
                    <a:pt x="1235" y="640"/>
                  </a:lnTo>
                  <a:lnTo>
                    <a:pt x="1229" y="643"/>
                  </a:lnTo>
                  <a:lnTo>
                    <a:pt x="1224" y="644"/>
                  </a:lnTo>
                  <a:lnTo>
                    <a:pt x="1219" y="644"/>
                  </a:lnTo>
                  <a:lnTo>
                    <a:pt x="1219" y="643"/>
                  </a:lnTo>
                  <a:lnTo>
                    <a:pt x="1219" y="640"/>
                  </a:lnTo>
                  <a:lnTo>
                    <a:pt x="1224" y="633"/>
                  </a:lnTo>
                  <a:lnTo>
                    <a:pt x="1226" y="627"/>
                  </a:lnTo>
                  <a:lnTo>
                    <a:pt x="1228" y="621"/>
                  </a:lnTo>
                  <a:lnTo>
                    <a:pt x="1230" y="618"/>
                  </a:lnTo>
                  <a:lnTo>
                    <a:pt x="1234" y="614"/>
                  </a:lnTo>
                  <a:lnTo>
                    <a:pt x="1239" y="611"/>
                  </a:lnTo>
                  <a:lnTo>
                    <a:pt x="1243" y="607"/>
                  </a:lnTo>
                  <a:lnTo>
                    <a:pt x="1247" y="603"/>
                  </a:lnTo>
                  <a:lnTo>
                    <a:pt x="1252" y="599"/>
                  </a:lnTo>
                  <a:lnTo>
                    <a:pt x="1262" y="590"/>
                  </a:lnTo>
                  <a:lnTo>
                    <a:pt x="1267" y="589"/>
                  </a:lnTo>
                  <a:lnTo>
                    <a:pt x="1271" y="589"/>
                  </a:lnTo>
                  <a:lnTo>
                    <a:pt x="1276" y="589"/>
                  </a:lnTo>
                  <a:lnTo>
                    <a:pt x="1277" y="588"/>
                  </a:lnTo>
                  <a:lnTo>
                    <a:pt x="1277" y="587"/>
                  </a:lnTo>
                  <a:lnTo>
                    <a:pt x="1277" y="582"/>
                  </a:lnTo>
                  <a:lnTo>
                    <a:pt x="1279" y="577"/>
                  </a:lnTo>
                  <a:lnTo>
                    <a:pt x="1280" y="576"/>
                  </a:lnTo>
                  <a:lnTo>
                    <a:pt x="1281" y="575"/>
                  </a:lnTo>
                  <a:lnTo>
                    <a:pt x="1285" y="574"/>
                  </a:lnTo>
                  <a:lnTo>
                    <a:pt x="1290" y="568"/>
                  </a:lnTo>
                  <a:lnTo>
                    <a:pt x="1292" y="567"/>
                  </a:lnTo>
                  <a:lnTo>
                    <a:pt x="1296" y="566"/>
                  </a:lnTo>
                  <a:lnTo>
                    <a:pt x="1305" y="568"/>
                  </a:lnTo>
                  <a:lnTo>
                    <a:pt x="1312" y="569"/>
                  </a:lnTo>
                  <a:lnTo>
                    <a:pt x="1318" y="568"/>
                  </a:lnTo>
                  <a:lnTo>
                    <a:pt x="1329" y="564"/>
                  </a:lnTo>
                  <a:lnTo>
                    <a:pt x="1334" y="562"/>
                  </a:lnTo>
                  <a:lnTo>
                    <a:pt x="1337" y="562"/>
                  </a:lnTo>
                  <a:lnTo>
                    <a:pt x="1338" y="562"/>
                  </a:lnTo>
                  <a:lnTo>
                    <a:pt x="1345" y="566"/>
                  </a:lnTo>
                  <a:lnTo>
                    <a:pt x="1351" y="567"/>
                  </a:lnTo>
                  <a:lnTo>
                    <a:pt x="1357" y="568"/>
                  </a:lnTo>
                  <a:lnTo>
                    <a:pt x="1364" y="567"/>
                  </a:lnTo>
                  <a:lnTo>
                    <a:pt x="1375" y="564"/>
                  </a:lnTo>
                  <a:lnTo>
                    <a:pt x="1380" y="564"/>
                  </a:lnTo>
                  <a:lnTo>
                    <a:pt x="1385" y="566"/>
                  </a:lnTo>
                  <a:lnTo>
                    <a:pt x="1390" y="567"/>
                  </a:lnTo>
                  <a:lnTo>
                    <a:pt x="1395" y="566"/>
                  </a:lnTo>
                  <a:lnTo>
                    <a:pt x="1414" y="555"/>
                  </a:lnTo>
                  <a:lnTo>
                    <a:pt x="1416" y="554"/>
                  </a:lnTo>
                  <a:lnTo>
                    <a:pt x="1417" y="552"/>
                  </a:lnTo>
                  <a:lnTo>
                    <a:pt x="1419" y="545"/>
                  </a:lnTo>
                  <a:lnTo>
                    <a:pt x="1421" y="542"/>
                  </a:lnTo>
                  <a:lnTo>
                    <a:pt x="1425" y="538"/>
                  </a:lnTo>
                  <a:lnTo>
                    <a:pt x="1427" y="537"/>
                  </a:lnTo>
                  <a:lnTo>
                    <a:pt x="1430" y="537"/>
                  </a:lnTo>
                  <a:lnTo>
                    <a:pt x="1435" y="538"/>
                  </a:lnTo>
                  <a:lnTo>
                    <a:pt x="1439" y="541"/>
                  </a:lnTo>
                  <a:lnTo>
                    <a:pt x="1441" y="542"/>
                  </a:lnTo>
                  <a:lnTo>
                    <a:pt x="1444" y="542"/>
                  </a:lnTo>
                  <a:lnTo>
                    <a:pt x="1450" y="541"/>
                  </a:lnTo>
                  <a:lnTo>
                    <a:pt x="1456" y="537"/>
                  </a:lnTo>
                  <a:lnTo>
                    <a:pt x="1461" y="534"/>
                  </a:lnTo>
                  <a:lnTo>
                    <a:pt x="1466" y="530"/>
                  </a:lnTo>
                  <a:lnTo>
                    <a:pt x="1470" y="525"/>
                  </a:lnTo>
                  <a:lnTo>
                    <a:pt x="1472" y="519"/>
                  </a:lnTo>
                  <a:lnTo>
                    <a:pt x="1472" y="513"/>
                  </a:lnTo>
                  <a:lnTo>
                    <a:pt x="1468" y="506"/>
                  </a:lnTo>
                  <a:lnTo>
                    <a:pt x="1468" y="503"/>
                  </a:lnTo>
                  <a:lnTo>
                    <a:pt x="1468" y="500"/>
                  </a:lnTo>
                  <a:lnTo>
                    <a:pt x="1466" y="498"/>
                  </a:lnTo>
                  <a:lnTo>
                    <a:pt x="1466" y="494"/>
                  </a:lnTo>
                  <a:lnTo>
                    <a:pt x="1466" y="492"/>
                  </a:lnTo>
                  <a:lnTo>
                    <a:pt x="1466" y="490"/>
                  </a:lnTo>
                  <a:lnTo>
                    <a:pt x="1465" y="487"/>
                  </a:lnTo>
                  <a:lnTo>
                    <a:pt x="1464" y="486"/>
                  </a:lnTo>
                  <a:lnTo>
                    <a:pt x="1459" y="486"/>
                  </a:lnTo>
                  <a:lnTo>
                    <a:pt x="1459" y="487"/>
                  </a:lnTo>
                  <a:lnTo>
                    <a:pt x="1454" y="487"/>
                  </a:lnTo>
                  <a:lnTo>
                    <a:pt x="1450" y="487"/>
                  </a:lnTo>
                  <a:lnTo>
                    <a:pt x="1449" y="487"/>
                  </a:lnTo>
                  <a:lnTo>
                    <a:pt x="1447" y="484"/>
                  </a:lnTo>
                  <a:lnTo>
                    <a:pt x="1450" y="478"/>
                  </a:lnTo>
                  <a:lnTo>
                    <a:pt x="1450" y="473"/>
                  </a:lnTo>
                  <a:lnTo>
                    <a:pt x="1447" y="468"/>
                  </a:lnTo>
                  <a:lnTo>
                    <a:pt x="1444" y="466"/>
                  </a:lnTo>
                  <a:lnTo>
                    <a:pt x="1441" y="466"/>
                  </a:lnTo>
                  <a:lnTo>
                    <a:pt x="1439" y="466"/>
                  </a:lnTo>
                  <a:lnTo>
                    <a:pt x="1431" y="470"/>
                  </a:lnTo>
                  <a:lnTo>
                    <a:pt x="1423" y="475"/>
                  </a:lnTo>
                  <a:lnTo>
                    <a:pt x="1409" y="487"/>
                  </a:lnTo>
                  <a:lnTo>
                    <a:pt x="1408" y="488"/>
                  </a:lnTo>
                  <a:lnTo>
                    <a:pt x="1406" y="488"/>
                  </a:lnTo>
                  <a:lnTo>
                    <a:pt x="1404" y="487"/>
                  </a:lnTo>
                  <a:lnTo>
                    <a:pt x="1403" y="486"/>
                  </a:lnTo>
                  <a:lnTo>
                    <a:pt x="1402" y="483"/>
                  </a:lnTo>
                  <a:lnTo>
                    <a:pt x="1402" y="480"/>
                  </a:lnTo>
                  <a:lnTo>
                    <a:pt x="1403" y="477"/>
                  </a:lnTo>
                  <a:lnTo>
                    <a:pt x="1406" y="474"/>
                  </a:lnTo>
                  <a:lnTo>
                    <a:pt x="1413" y="471"/>
                  </a:lnTo>
                  <a:lnTo>
                    <a:pt x="1421" y="466"/>
                  </a:lnTo>
                  <a:lnTo>
                    <a:pt x="1426" y="464"/>
                  </a:lnTo>
                  <a:lnTo>
                    <a:pt x="1432" y="462"/>
                  </a:lnTo>
                  <a:lnTo>
                    <a:pt x="1437" y="461"/>
                  </a:lnTo>
                  <a:lnTo>
                    <a:pt x="1444" y="459"/>
                  </a:lnTo>
                  <a:lnTo>
                    <a:pt x="1446" y="456"/>
                  </a:lnTo>
                  <a:lnTo>
                    <a:pt x="1446" y="455"/>
                  </a:lnTo>
                  <a:lnTo>
                    <a:pt x="1445" y="452"/>
                  </a:lnTo>
                  <a:lnTo>
                    <a:pt x="1442" y="451"/>
                  </a:lnTo>
                  <a:lnTo>
                    <a:pt x="1436" y="449"/>
                  </a:lnTo>
                  <a:lnTo>
                    <a:pt x="1431" y="451"/>
                  </a:lnTo>
                  <a:lnTo>
                    <a:pt x="1425" y="453"/>
                  </a:lnTo>
                  <a:lnTo>
                    <a:pt x="1423" y="453"/>
                  </a:lnTo>
                  <a:lnTo>
                    <a:pt x="1422" y="453"/>
                  </a:lnTo>
                  <a:lnTo>
                    <a:pt x="1419" y="451"/>
                  </a:lnTo>
                  <a:lnTo>
                    <a:pt x="1417" y="449"/>
                  </a:lnTo>
                  <a:lnTo>
                    <a:pt x="1412" y="448"/>
                  </a:lnTo>
                  <a:lnTo>
                    <a:pt x="1411" y="447"/>
                  </a:lnTo>
                  <a:lnTo>
                    <a:pt x="1409" y="446"/>
                  </a:lnTo>
                  <a:lnTo>
                    <a:pt x="1409" y="445"/>
                  </a:lnTo>
                  <a:lnTo>
                    <a:pt x="1407" y="443"/>
                  </a:lnTo>
                  <a:lnTo>
                    <a:pt x="1404" y="442"/>
                  </a:lnTo>
                  <a:lnTo>
                    <a:pt x="1400" y="445"/>
                  </a:lnTo>
                  <a:lnTo>
                    <a:pt x="1398" y="446"/>
                  </a:lnTo>
                  <a:lnTo>
                    <a:pt x="1395" y="446"/>
                  </a:lnTo>
                  <a:lnTo>
                    <a:pt x="1393" y="445"/>
                  </a:lnTo>
                  <a:lnTo>
                    <a:pt x="1392" y="441"/>
                  </a:lnTo>
                  <a:lnTo>
                    <a:pt x="1392" y="437"/>
                  </a:lnTo>
                  <a:lnTo>
                    <a:pt x="1390" y="434"/>
                  </a:lnTo>
                  <a:lnTo>
                    <a:pt x="1389" y="433"/>
                  </a:lnTo>
                  <a:lnTo>
                    <a:pt x="1388" y="432"/>
                  </a:lnTo>
                  <a:lnTo>
                    <a:pt x="1384" y="433"/>
                  </a:lnTo>
                  <a:lnTo>
                    <a:pt x="1383" y="433"/>
                  </a:lnTo>
                  <a:lnTo>
                    <a:pt x="1381" y="433"/>
                  </a:lnTo>
                  <a:lnTo>
                    <a:pt x="1379" y="428"/>
                  </a:lnTo>
                  <a:lnTo>
                    <a:pt x="1375" y="424"/>
                  </a:lnTo>
                  <a:lnTo>
                    <a:pt x="1374" y="422"/>
                  </a:lnTo>
                  <a:lnTo>
                    <a:pt x="1374" y="420"/>
                  </a:lnTo>
                  <a:lnTo>
                    <a:pt x="1374" y="415"/>
                  </a:lnTo>
                  <a:lnTo>
                    <a:pt x="1372" y="414"/>
                  </a:lnTo>
                  <a:lnTo>
                    <a:pt x="1372" y="410"/>
                  </a:lnTo>
                  <a:lnTo>
                    <a:pt x="1372" y="408"/>
                  </a:lnTo>
                  <a:lnTo>
                    <a:pt x="1370" y="403"/>
                  </a:lnTo>
                  <a:lnTo>
                    <a:pt x="1370" y="401"/>
                  </a:lnTo>
                  <a:lnTo>
                    <a:pt x="1370" y="400"/>
                  </a:lnTo>
                  <a:lnTo>
                    <a:pt x="1372" y="396"/>
                  </a:lnTo>
                  <a:lnTo>
                    <a:pt x="1376" y="392"/>
                  </a:lnTo>
                  <a:lnTo>
                    <a:pt x="1380" y="389"/>
                  </a:lnTo>
                  <a:lnTo>
                    <a:pt x="1380" y="387"/>
                  </a:lnTo>
                  <a:lnTo>
                    <a:pt x="1380" y="384"/>
                  </a:lnTo>
                  <a:lnTo>
                    <a:pt x="1379" y="383"/>
                  </a:lnTo>
                  <a:lnTo>
                    <a:pt x="1378" y="382"/>
                  </a:lnTo>
                  <a:lnTo>
                    <a:pt x="1375" y="383"/>
                  </a:lnTo>
                  <a:lnTo>
                    <a:pt x="1374" y="384"/>
                  </a:lnTo>
                  <a:lnTo>
                    <a:pt x="1371" y="388"/>
                  </a:lnTo>
                  <a:lnTo>
                    <a:pt x="1369" y="389"/>
                  </a:lnTo>
                  <a:lnTo>
                    <a:pt x="1367" y="388"/>
                  </a:lnTo>
                  <a:lnTo>
                    <a:pt x="1365" y="388"/>
                  </a:lnTo>
                  <a:lnTo>
                    <a:pt x="1365" y="387"/>
                  </a:lnTo>
                  <a:lnTo>
                    <a:pt x="1364" y="382"/>
                  </a:lnTo>
                  <a:lnTo>
                    <a:pt x="1362" y="378"/>
                  </a:lnTo>
                  <a:lnTo>
                    <a:pt x="1359" y="372"/>
                  </a:lnTo>
                  <a:lnTo>
                    <a:pt x="1353" y="368"/>
                  </a:lnTo>
                  <a:lnTo>
                    <a:pt x="1347" y="363"/>
                  </a:lnTo>
                  <a:lnTo>
                    <a:pt x="1345" y="360"/>
                  </a:lnTo>
                  <a:lnTo>
                    <a:pt x="1343" y="358"/>
                  </a:lnTo>
                  <a:lnTo>
                    <a:pt x="1342" y="351"/>
                  </a:lnTo>
                  <a:lnTo>
                    <a:pt x="1338" y="344"/>
                  </a:lnTo>
                  <a:lnTo>
                    <a:pt x="1336" y="337"/>
                  </a:lnTo>
                  <a:lnTo>
                    <a:pt x="1332" y="330"/>
                  </a:lnTo>
                  <a:lnTo>
                    <a:pt x="1332" y="324"/>
                  </a:lnTo>
                  <a:lnTo>
                    <a:pt x="1333" y="319"/>
                  </a:lnTo>
                  <a:lnTo>
                    <a:pt x="1332" y="317"/>
                  </a:lnTo>
                  <a:lnTo>
                    <a:pt x="1329" y="314"/>
                  </a:lnTo>
                  <a:lnTo>
                    <a:pt x="1326" y="315"/>
                  </a:lnTo>
                  <a:lnTo>
                    <a:pt x="1323" y="315"/>
                  </a:lnTo>
                  <a:lnTo>
                    <a:pt x="1322" y="315"/>
                  </a:lnTo>
                  <a:lnTo>
                    <a:pt x="1317" y="320"/>
                  </a:lnTo>
                  <a:lnTo>
                    <a:pt x="1313" y="325"/>
                  </a:lnTo>
                  <a:lnTo>
                    <a:pt x="1309" y="330"/>
                  </a:lnTo>
                  <a:lnTo>
                    <a:pt x="1304" y="334"/>
                  </a:lnTo>
                  <a:lnTo>
                    <a:pt x="1300" y="339"/>
                  </a:lnTo>
                  <a:lnTo>
                    <a:pt x="1298" y="345"/>
                  </a:lnTo>
                  <a:lnTo>
                    <a:pt x="1295" y="349"/>
                  </a:lnTo>
                  <a:lnTo>
                    <a:pt x="1292" y="351"/>
                  </a:lnTo>
                  <a:lnTo>
                    <a:pt x="1286" y="356"/>
                  </a:lnTo>
                  <a:lnTo>
                    <a:pt x="1282" y="359"/>
                  </a:lnTo>
                  <a:lnTo>
                    <a:pt x="1279" y="364"/>
                  </a:lnTo>
                  <a:lnTo>
                    <a:pt x="1276" y="365"/>
                  </a:lnTo>
                  <a:lnTo>
                    <a:pt x="1273" y="365"/>
                  </a:lnTo>
                  <a:lnTo>
                    <a:pt x="1271" y="364"/>
                  </a:lnTo>
                  <a:lnTo>
                    <a:pt x="1266" y="363"/>
                  </a:lnTo>
                  <a:lnTo>
                    <a:pt x="1263" y="362"/>
                  </a:lnTo>
                  <a:lnTo>
                    <a:pt x="1259" y="359"/>
                  </a:lnTo>
                  <a:lnTo>
                    <a:pt x="1257" y="356"/>
                  </a:lnTo>
                  <a:lnTo>
                    <a:pt x="1256" y="356"/>
                  </a:lnTo>
                  <a:lnTo>
                    <a:pt x="1254" y="356"/>
                  </a:lnTo>
                  <a:lnTo>
                    <a:pt x="1252" y="359"/>
                  </a:lnTo>
                  <a:lnTo>
                    <a:pt x="1248" y="360"/>
                  </a:lnTo>
                  <a:lnTo>
                    <a:pt x="1244" y="362"/>
                  </a:lnTo>
                  <a:lnTo>
                    <a:pt x="1242" y="359"/>
                  </a:lnTo>
                  <a:lnTo>
                    <a:pt x="1240" y="357"/>
                  </a:lnTo>
                  <a:lnTo>
                    <a:pt x="1242" y="355"/>
                  </a:lnTo>
                  <a:lnTo>
                    <a:pt x="1243" y="352"/>
                  </a:lnTo>
                  <a:lnTo>
                    <a:pt x="1243" y="351"/>
                  </a:lnTo>
                  <a:lnTo>
                    <a:pt x="1240" y="349"/>
                  </a:lnTo>
                  <a:lnTo>
                    <a:pt x="1235" y="346"/>
                  </a:lnTo>
                  <a:lnTo>
                    <a:pt x="1233" y="344"/>
                  </a:lnTo>
                  <a:lnTo>
                    <a:pt x="1233" y="343"/>
                  </a:lnTo>
                  <a:lnTo>
                    <a:pt x="1233" y="340"/>
                  </a:lnTo>
                  <a:lnTo>
                    <a:pt x="1235" y="336"/>
                  </a:lnTo>
                  <a:lnTo>
                    <a:pt x="1235" y="333"/>
                  </a:lnTo>
                  <a:lnTo>
                    <a:pt x="1237" y="331"/>
                  </a:lnTo>
                  <a:lnTo>
                    <a:pt x="1234" y="321"/>
                  </a:lnTo>
                  <a:lnTo>
                    <a:pt x="1234" y="317"/>
                  </a:lnTo>
                  <a:lnTo>
                    <a:pt x="1235" y="311"/>
                  </a:lnTo>
                  <a:lnTo>
                    <a:pt x="1235" y="307"/>
                  </a:lnTo>
                  <a:lnTo>
                    <a:pt x="1237" y="305"/>
                  </a:lnTo>
                  <a:lnTo>
                    <a:pt x="1238" y="304"/>
                  </a:lnTo>
                  <a:lnTo>
                    <a:pt x="1239" y="301"/>
                  </a:lnTo>
                  <a:lnTo>
                    <a:pt x="1240" y="299"/>
                  </a:lnTo>
                  <a:lnTo>
                    <a:pt x="1235" y="301"/>
                  </a:lnTo>
                  <a:lnTo>
                    <a:pt x="1233" y="301"/>
                  </a:lnTo>
                  <a:lnTo>
                    <a:pt x="1232" y="301"/>
                  </a:lnTo>
                  <a:lnTo>
                    <a:pt x="1223" y="299"/>
                  </a:lnTo>
                  <a:lnTo>
                    <a:pt x="1214" y="299"/>
                  </a:lnTo>
                  <a:lnTo>
                    <a:pt x="1210" y="299"/>
                  </a:lnTo>
                  <a:lnTo>
                    <a:pt x="1206" y="298"/>
                  </a:lnTo>
                  <a:lnTo>
                    <a:pt x="1204" y="295"/>
                  </a:lnTo>
                  <a:lnTo>
                    <a:pt x="1201" y="293"/>
                  </a:lnTo>
                  <a:lnTo>
                    <a:pt x="1196" y="287"/>
                  </a:lnTo>
                  <a:lnTo>
                    <a:pt x="1191" y="280"/>
                  </a:lnTo>
                  <a:lnTo>
                    <a:pt x="1190" y="279"/>
                  </a:lnTo>
                  <a:lnTo>
                    <a:pt x="1188" y="279"/>
                  </a:lnTo>
                  <a:lnTo>
                    <a:pt x="1185" y="277"/>
                  </a:lnTo>
                  <a:lnTo>
                    <a:pt x="1181" y="277"/>
                  </a:lnTo>
                  <a:lnTo>
                    <a:pt x="1178" y="277"/>
                  </a:lnTo>
                  <a:lnTo>
                    <a:pt x="1177" y="275"/>
                  </a:lnTo>
                  <a:lnTo>
                    <a:pt x="1172" y="269"/>
                  </a:lnTo>
                  <a:lnTo>
                    <a:pt x="1169" y="267"/>
                  </a:lnTo>
                  <a:lnTo>
                    <a:pt x="1166" y="267"/>
                  </a:lnTo>
                  <a:lnTo>
                    <a:pt x="1155" y="266"/>
                  </a:lnTo>
                  <a:lnTo>
                    <a:pt x="1145" y="264"/>
                  </a:lnTo>
                  <a:lnTo>
                    <a:pt x="1136" y="262"/>
                  </a:lnTo>
                  <a:lnTo>
                    <a:pt x="1126" y="262"/>
                  </a:lnTo>
                  <a:lnTo>
                    <a:pt x="1120" y="263"/>
                  </a:lnTo>
                  <a:lnTo>
                    <a:pt x="1117" y="263"/>
                  </a:lnTo>
                  <a:lnTo>
                    <a:pt x="1113" y="263"/>
                  </a:lnTo>
                  <a:lnTo>
                    <a:pt x="1108" y="261"/>
                  </a:lnTo>
                  <a:lnTo>
                    <a:pt x="1103" y="258"/>
                  </a:lnTo>
                  <a:lnTo>
                    <a:pt x="1098" y="256"/>
                  </a:lnTo>
                  <a:lnTo>
                    <a:pt x="1094" y="251"/>
                  </a:lnTo>
                  <a:lnTo>
                    <a:pt x="1094" y="253"/>
                  </a:lnTo>
                  <a:lnTo>
                    <a:pt x="1093" y="253"/>
                  </a:lnTo>
                  <a:lnTo>
                    <a:pt x="1094" y="258"/>
                  </a:lnTo>
                  <a:lnTo>
                    <a:pt x="1094" y="262"/>
                  </a:lnTo>
                  <a:lnTo>
                    <a:pt x="1094" y="264"/>
                  </a:lnTo>
                  <a:lnTo>
                    <a:pt x="1092" y="273"/>
                  </a:lnTo>
                  <a:lnTo>
                    <a:pt x="1089" y="280"/>
                  </a:lnTo>
                  <a:lnTo>
                    <a:pt x="1088" y="295"/>
                  </a:lnTo>
                  <a:lnTo>
                    <a:pt x="1088" y="298"/>
                  </a:lnTo>
                  <a:lnTo>
                    <a:pt x="1086" y="301"/>
                  </a:lnTo>
                  <a:lnTo>
                    <a:pt x="1084" y="304"/>
                  </a:lnTo>
                  <a:lnTo>
                    <a:pt x="1086" y="306"/>
                  </a:lnTo>
                  <a:lnTo>
                    <a:pt x="1091" y="317"/>
                  </a:lnTo>
                  <a:lnTo>
                    <a:pt x="1093" y="319"/>
                  </a:lnTo>
                  <a:lnTo>
                    <a:pt x="1096" y="320"/>
                  </a:lnTo>
                  <a:lnTo>
                    <a:pt x="1101" y="322"/>
                  </a:lnTo>
                  <a:lnTo>
                    <a:pt x="1103" y="324"/>
                  </a:lnTo>
                  <a:lnTo>
                    <a:pt x="1105" y="326"/>
                  </a:lnTo>
                  <a:lnTo>
                    <a:pt x="1103" y="330"/>
                  </a:lnTo>
                  <a:lnTo>
                    <a:pt x="1102" y="334"/>
                  </a:lnTo>
                  <a:lnTo>
                    <a:pt x="1098" y="338"/>
                  </a:lnTo>
                  <a:lnTo>
                    <a:pt x="1084" y="349"/>
                  </a:lnTo>
                  <a:lnTo>
                    <a:pt x="1079" y="355"/>
                  </a:lnTo>
                  <a:lnTo>
                    <a:pt x="1078" y="358"/>
                  </a:lnTo>
                  <a:lnTo>
                    <a:pt x="1077" y="362"/>
                  </a:lnTo>
                  <a:lnTo>
                    <a:pt x="1078" y="364"/>
                  </a:lnTo>
                  <a:lnTo>
                    <a:pt x="1080" y="364"/>
                  </a:lnTo>
                  <a:lnTo>
                    <a:pt x="1086" y="365"/>
                  </a:lnTo>
                  <a:lnTo>
                    <a:pt x="1089" y="368"/>
                  </a:lnTo>
                  <a:lnTo>
                    <a:pt x="1091" y="370"/>
                  </a:lnTo>
                  <a:lnTo>
                    <a:pt x="1094" y="378"/>
                  </a:lnTo>
                  <a:lnTo>
                    <a:pt x="1101" y="387"/>
                  </a:lnTo>
                  <a:lnTo>
                    <a:pt x="1103" y="391"/>
                  </a:lnTo>
                  <a:lnTo>
                    <a:pt x="1105" y="397"/>
                  </a:lnTo>
                  <a:lnTo>
                    <a:pt x="1106" y="402"/>
                  </a:lnTo>
                  <a:lnTo>
                    <a:pt x="1108" y="408"/>
                  </a:lnTo>
                  <a:lnTo>
                    <a:pt x="1108" y="410"/>
                  </a:lnTo>
                  <a:lnTo>
                    <a:pt x="1108" y="413"/>
                  </a:lnTo>
                  <a:lnTo>
                    <a:pt x="1108" y="415"/>
                  </a:lnTo>
                  <a:lnTo>
                    <a:pt x="1107" y="419"/>
                  </a:lnTo>
                  <a:lnTo>
                    <a:pt x="1102" y="427"/>
                  </a:lnTo>
                  <a:lnTo>
                    <a:pt x="1097" y="435"/>
                  </a:lnTo>
                  <a:lnTo>
                    <a:pt x="1096" y="439"/>
                  </a:lnTo>
                  <a:lnTo>
                    <a:pt x="1092" y="440"/>
                  </a:lnTo>
                  <a:lnTo>
                    <a:pt x="1083" y="445"/>
                  </a:lnTo>
                  <a:lnTo>
                    <a:pt x="1075" y="448"/>
                  </a:lnTo>
                  <a:lnTo>
                    <a:pt x="1068" y="454"/>
                  </a:lnTo>
                  <a:lnTo>
                    <a:pt x="1065" y="458"/>
                  </a:lnTo>
                  <a:lnTo>
                    <a:pt x="1064" y="461"/>
                  </a:lnTo>
                  <a:lnTo>
                    <a:pt x="1065" y="464"/>
                  </a:lnTo>
                  <a:lnTo>
                    <a:pt x="1069" y="467"/>
                  </a:lnTo>
                  <a:lnTo>
                    <a:pt x="1082" y="492"/>
                  </a:lnTo>
                  <a:lnTo>
                    <a:pt x="1082" y="496"/>
                  </a:lnTo>
                  <a:lnTo>
                    <a:pt x="1082" y="500"/>
                  </a:lnTo>
                  <a:lnTo>
                    <a:pt x="1083" y="504"/>
                  </a:lnTo>
                  <a:lnTo>
                    <a:pt x="1084" y="507"/>
                  </a:lnTo>
                  <a:lnTo>
                    <a:pt x="1087" y="515"/>
                  </a:lnTo>
                  <a:lnTo>
                    <a:pt x="1089" y="522"/>
                  </a:lnTo>
                  <a:lnTo>
                    <a:pt x="1089" y="529"/>
                  </a:lnTo>
                  <a:lnTo>
                    <a:pt x="1088" y="536"/>
                  </a:lnTo>
                  <a:lnTo>
                    <a:pt x="1086" y="539"/>
                  </a:lnTo>
                  <a:lnTo>
                    <a:pt x="1083" y="543"/>
                  </a:lnTo>
                  <a:lnTo>
                    <a:pt x="1079" y="545"/>
                  </a:lnTo>
                  <a:lnTo>
                    <a:pt x="1075" y="547"/>
                  </a:lnTo>
                  <a:lnTo>
                    <a:pt x="1075" y="544"/>
                  </a:lnTo>
                  <a:lnTo>
                    <a:pt x="1074" y="541"/>
                  </a:lnTo>
                  <a:lnTo>
                    <a:pt x="1073" y="539"/>
                  </a:lnTo>
                  <a:lnTo>
                    <a:pt x="1070" y="539"/>
                  </a:lnTo>
                  <a:lnTo>
                    <a:pt x="1068" y="541"/>
                  </a:lnTo>
                  <a:lnTo>
                    <a:pt x="1068" y="542"/>
                  </a:lnTo>
                  <a:lnTo>
                    <a:pt x="1066" y="547"/>
                  </a:lnTo>
                  <a:lnTo>
                    <a:pt x="1064" y="550"/>
                  </a:lnTo>
                  <a:lnTo>
                    <a:pt x="1063" y="550"/>
                  </a:lnTo>
                  <a:lnTo>
                    <a:pt x="1060" y="550"/>
                  </a:lnTo>
                  <a:lnTo>
                    <a:pt x="1054" y="547"/>
                  </a:lnTo>
                  <a:lnTo>
                    <a:pt x="1050" y="545"/>
                  </a:lnTo>
                  <a:lnTo>
                    <a:pt x="1046" y="545"/>
                  </a:lnTo>
                  <a:lnTo>
                    <a:pt x="1045" y="544"/>
                  </a:lnTo>
                  <a:lnTo>
                    <a:pt x="1045" y="543"/>
                  </a:lnTo>
                  <a:lnTo>
                    <a:pt x="1045" y="541"/>
                  </a:lnTo>
                  <a:lnTo>
                    <a:pt x="1046" y="539"/>
                  </a:lnTo>
                  <a:lnTo>
                    <a:pt x="1046" y="538"/>
                  </a:lnTo>
                  <a:lnTo>
                    <a:pt x="1046" y="537"/>
                  </a:lnTo>
                  <a:lnTo>
                    <a:pt x="1036" y="528"/>
                  </a:lnTo>
                  <a:lnTo>
                    <a:pt x="1032" y="524"/>
                  </a:lnTo>
                  <a:lnTo>
                    <a:pt x="1027" y="518"/>
                  </a:lnTo>
                  <a:lnTo>
                    <a:pt x="1026" y="517"/>
                  </a:lnTo>
                  <a:lnTo>
                    <a:pt x="1023" y="517"/>
                  </a:lnTo>
                  <a:lnTo>
                    <a:pt x="1021" y="516"/>
                  </a:lnTo>
                  <a:lnTo>
                    <a:pt x="1018" y="515"/>
                  </a:lnTo>
                  <a:lnTo>
                    <a:pt x="1017" y="511"/>
                  </a:lnTo>
                  <a:lnTo>
                    <a:pt x="1017" y="509"/>
                  </a:lnTo>
                  <a:lnTo>
                    <a:pt x="1017" y="498"/>
                  </a:lnTo>
                  <a:lnTo>
                    <a:pt x="1017" y="487"/>
                  </a:lnTo>
                  <a:lnTo>
                    <a:pt x="1018" y="483"/>
                  </a:lnTo>
                  <a:lnTo>
                    <a:pt x="1018" y="480"/>
                  </a:lnTo>
                  <a:lnTo>
                    <a:pt x="1017" y="478"/>
                  </a:lnTo>
                  <a:lnTo>
                    <a:pt x="1014" y="475"/>
                  </a:lnTo>
                  <a:lnTo>
                    <a:pt x="1012" y="472"/>
                  </a:lnTo>
                  <a:lnTo>
                    <a:pt x="1011" y="466"/>
                  </a:lnTo>
                  <a:lnTo>
                    <a:pt x="1011" y="454"/>
                  </a:lnTo>
                  <a:lnTo>
                    <a:pt x="1011" y="453"/>
                  </a:lnTo>
                  <a:lnTo>
                    <a:pt x="1008" y="452"/>
                  </a:lnTo>
                  <a:lnTo>
                    <a:pt x="1004" y="452"/>
                  </a:lnTo>
                  <a:lnTo>
                    <a:pt x="998" y="453"/>
                  </a:lnTo>
                  <a:lnTo>
                    <a:pt x="994" y="453"/>
                  </a:lnTo>
                  <a:lnTo>
                    <a:pt x="988" y="451"/>
                  </a:lnTo>
                  <a:lnTo>
                    <a:pt x="983" y="448"/>
                  </a:lnTo>
                  <a:lnTo>
                    <a:pt x="980" y="448"/>
                  </a:lnTo>
                  <a:lnTo>
                    <a:pt x="978" y="448"/>
                  </a:lnTo>
                  <a:lnTo>
                    <a:pt x="975" y="449"/>
                  </a:lnTo>
                  <a:lnTo>
                    <a:pt x="972" y="448"/>
                  </a:lnTo>
                  <a:lnTo>
                    <a:pt x="971" y="448"/>
                  </a:lnTo>
                  <a:lnTo>
                    <a:pt x="970" y="446"/>
                  </a:lnTo>
                  <a:lnTo>
                    <a:pt x="967" y="443"/>
                  </a:lnTo>
                  <a:lnTo>
                    <a:pt x="962" y="441"/>
                  </a:lnTo>
                  <a:lnTo>
                    <a:pt x="959" y="439"/>
                  </a:lnTo>
                  <a:lnTo>
                    <a:pt x="955" y="435"/>
                  </a:lnTo>
                  <a:lnTo>
                    <a:pt x="951" y="432"/>
                  </a:lnTo>
                  <a:lnTo>
                    <a:pt x="948" y="432"/>
                  </a:lnTo>
                  <a:lnTo>
                    <a:pt x="946" y="432"/>
                  </a:lnTo>
                  <a:lnTo>
                    <a:pt x="943" y="430"/>
                  </a:lnTo>
                  <a:lnTo>
                    <a:pt x="939" y="429"/>
                  </a:lnTo>
                  <a:lnTo>
                    <a:pt x="936" y="426"/>
                  </a:lnTo>
                  <a:lnTo>
                    <a:pt x="933" y="424"/>
                  </a:lnTo>
                  <a:lnTo>
                    <a:pt x="931" y="423"/>
                  </a:lnTo>
                  <a:lnTo>
                    <a:pt x="927" y="417"/>
                  </a:lnTo>
                  <a:lnTo>
                    <a:pt x="924" y="413"/>
                  </a:lnTo>
                  <a:lnTo>
                    <a:pt x="922" y="411"/>
                  </a:lnTo>
                  <a:lnTo>
                    <a:pt x="920" y="413"/>
                  </a:lnTo>
                  <a:lnTo>
                    <a:pt x="918" y="413"/>
                  </a:lnTo>
                  <a:lnTo>
                    <a:pt x="915" y="413"/>
                  </a:lnTo>
                  <a:lnTo>
                    <a:pt x="913" y="410"/>
                  </a:lnTo>
                  <a:lnTo>
                    <a:pt x="910" y="408"/>
                  </a:lnTo>
                  <a:lnTo>
                    <a:pt x="908" y="407"/>
                  </a:lnTo>
                  <a:lnTo>
                    <a:pt x="904" y="405"/>
                  </a:lnTo>
                  <a:lnTo>
                    <a:pt x="898" y="402"/>
                  </a:lnTo>
                  <a:lnTo>
                    <a:pt x="892" y="401"/>
                  </a:lnTo>
                  <a:lnTo>
                    <a:pt x="886" y="400"/>
                  </a:lnTo>
                  <a:lnTo>
                    <a:pt x="880" y="400"/>
                  </a:lnTo>
                  <a:lnTo>
                    <a:pt x="872" y="398"/>
                  </a:lnTo>
                  <a:lnTo>
                    <a:pt x="868" y="397"/>
                  </a:lnTo>
                  <a:lnTo>
                    <a:pt x="865" y="396"/>
                  </a:lnTo>
                  <a:lnTo>
                    <a:pt x="852" y="395"/>
                  </a:lnTo>
                  <a:lnTo>
                    <a:pt x="848" y="396"/>
                  </a:lnTo>
                  <a:lnTo>
                    <a:pt x="843" y="397"/>
                  </a:lnTo>
                  <a:lnTo>
                    <a:pt x="839" y="398"/>
                  </a:lnTo>
                  <a:lnTo>
                    <a:pt x="838" y="398"/>
                  </a:lnTo>
                  <a:lnTo>
                    <a:pt x="835" y="397"/>
                  </a:lnTo>
                  <a:lnTo>
                    <a:pt x="835" y="396"/>
                  </a:lnTo>
                  <a:lnTo>
                    <a:pt x="835" y="394"/>
                  </a:lnTo>
                  <a:lnTo>
                    <a:pt x="837" y="390"/>
                  </a:lnTo>
                  <a:lnTo>
                    <a:pt x="837" y="388"/>
                  </a:lnTo>
                  <a:lnTo>
                    <a:pt x="835" y="385"/>
                  </a:lnTo>
                  <a:lnTo>
                    <a:pt x="834" y="384"/>
                  </a:lnTo>
                  <a:lnTo>
                    <a:pt x="833" y="382"/>
                  </a:lnTo>
                  <a:lnTo>
                    <a:pt x="833" y="378"/>
                  </a:lnTo>
                  <a:lnTo>
                    <a:pt x="834" y="376"/>
                  </a:lnTo>
                  <a:lnTo>
                    <a:pt x="835" y="373"/>
                  </a:lnTo>
                  <a:lnTo>
                    <a:pt x="835" y="370"/>
                  </a:lnTo>
                  <a:lnTo>
                    <a:pt x="834" y="369"/>
                  </a:lnTo>
                  <a:lnTo>
                    <a:pt x="833" y="368"/>
                  </a:lnTo>
                  <a:lnTo>
                    <a:pt x="832" y="365"/>
                  </a:lnTo>
                  <a:lnTo>
                    <a:pt x="832" y="364"/>
                  </a:lnTo>
                  <a:lnTo>
                    <a:pt x="833" y="363"/>
                  </a:lnTo>
                  <a:lnTo>
                    <a:pt x="834" y="359"/>
                  </a:lnTo>
                  <a:lnTo>
                    <a:pt x="835" y="357"/>
                  </a:lnTo>
                  <a:lnTo>
                    <a:pt x="833" y="356"/>
                  </a:lnTo>
                  <a:lnTo>
                    <a:pt x="826" y="356"/>
                  </a:lnTo>
                  <a:lnTo>
                    <a:pt x="820" y="358"/>
                  </a:lnTo>
                  <a:lnTo>
                    <a:pt x="812" y="360"/>
                  </a:lnTo>
                  <a:lnTo>
                    <a:pt x="810" y="362"/>
                  </a:lnTo>
                  <a:lnTo>
                    <a:pt x="809" y="364"/>
                  </a:lnTo>
                  <a:lnTo>
                    <a:pt x="807" y="364"/>
                  </a:lnTo>
                  <a:lnTo>
                    <a:pt x="806" y="363"/>
                  </a:lnTo>
                  <a:lnTo>
                    <a:pt x="805" y="358"/>
                  </a:lnTo>
                  <a:lnTo>
                    <a:pt x="805" y="355"/>
                  </a:lnTo>
                  <a:lnTo>
                    <a:pt x="807" y="347"/>
                  </a:lnTo>
                  <a:lnTo>
                    <a:pt x="809" y="343"/>
                  </a:lnTo>
                  <a:lnTo>
                    <a:pt x="809" y="337"/>
                  </a:lnTo>
                  <a:lnTo>
                    <a:pt x="806" y="326"/>
                  </a:lnTo>
                  <a:lnTo>
                    <a:pt x="805" y="317"/>
                  </a:lnTo>
                  <a:lnTo>
                    <a:pt x="805" y="311"/>
                  </a:lnTo>
                  <a:lnTo>
                    <a:pt x="805" y="307"/>
                  </a:lnTo>
                  <a:lnTo>
                    <a:pt x="807" y="305"/>
                  </a:lnTo>
                  <a:lnTo>
                    <a:pt x="809" y="302"/>
                  </a:lnTo>
                  <a:lnTo>
                    <a:pt x="811" y="300"/>
                  </a:lnTo>
                  <a:lnTo>
                    <a:pt x="812" y="298"/>
                  </a:lnTo>
                  <a:lnTo>
                    <a:pt x="815" y="290"/>
                  </a:lnTo>
                  <a:lnTo>
                    <a:pt x="816" y="282"/>
                  </a:lnTo>
                  <a:lnTo>
                    <a:pt x="818" y="280"/>
                  </a:lnTo>
                  <a:lnTo>
                    <a:pt x="820" y="279"/>
                  </a:lnTo>
                  <a:lnTo>
                    <a:pt x="828" y="277"/>
                  </a:lnTo>
                  <a:lnTo>
                    <a:pt x="829" y="276"/>
                  </a:lnTo>
                  <a:lnTo>
                    <a:pt x="832" y="274"/>
                  </a:lnTo>
                  <a:lnTo>
                    <a:pt x="834" y="269"/>
                  </a:lnTo>
                  <a:lnTo>
                    <a:pt x="837" y="267"/>
                  </a:lnTo>
                  <a:lnTo>
                    <a:pt x="839" y="266"/>
                  </a:lnTo>
                  <a:lnTo>
                    <a:pt x="842" y="263"/>
                  </a:lnTo>
                  <a:lnTo>
                    <a:pt x="844" y="261"/>
                  </a:lnTo>
                  <a:lnTo>
                    <a:pt x="846" y="257"/>
                  </a:lnTo>
                  <a:lnTo>
                    <a:pt x="846" y="255"/>
                  </a:lnTo>
                  <a:lnTo>
                    <a:pt x="844" y="253"/>
                  </a:lnTo>
                  <a:lnTo>
                    <a:pt x="843" y="250"/>
                  </a:lnTo>
                  <a:lnTo>
                    <a:pt x="838" y="245"/>
                  </a:lnTo>
                  <a:lnTo>
                    <a:pt x="833" y="242"/>
                  </a:lnTo>
                  <a:lnTo>
                    <a:pt x="834" y="241"/>
                  </a:lnTo>
                  <a:lnTo>
                    <a:pt x="837" y="241"/>
                  </a:lnTo>
                  <a:lnTo>
                    <a:pt x="839" y="242"/>
                  </a:lnTo>
                  <a:lnTo>
                    <a:pt x="843" y="243"/>
                  </a:lnTo>
                  <a:lnTo>
                    <a:pt x="847" y="243"/>
                  </a:lnTo>
                  <a:lnTo>
                    <a:pt x="851" y="244"/>
                  </a:lnTo>
                  <a:lnTo>
                    <a:pt x="859" y="248"/>
                  </a:lnTo>
                  <a:lnTo>
                    <a:pt x="862" y="249"/>
                  </a:lnTo>
                  <a:lnTo>
                    <a:pt x="863" y="249"/>
                  </a:lnTo>
                  <a:lnTo>
                    <a:pt x="865" y="248"/>
                  </a:lnTo>
                  <a:lnTo>
                    <a:pt x="866" y="245"/>
                  </a:lnTo>
                  <a:lnTo>
                    <a:pt x="865" y="244"/>
                  </a:lnTo>
                  <a:lnTo>
                    <a:pt x="854" y="238"/>
                  </a:lnTo>
                  <a:lnTo>
                    <a:pt x="849" y="236"/>
                  </a:lnTo>
                  <a:lnTo>
                    <a:pt x="844" y="235"/>
                  </a:lnTo>
                  <a:lnTo>
                    <a:pt x="826" y="230"/>
                  </a:lnTo>
                  <a:lnTo>
                    <a:pt x="819" y="226"/>
                  </a:lnTo>
                  <a:lnTo>
                    <a:pt x="810" y="222"/>
                  </a:lnTo>
                  <a:lnTo>
                    <a:pt x="804" y="219"/>
                  </a:lnTo>
                  <a:lnTo>
                    <a:pt x="797" y="216"/>
                  </a:lnTo>
                  <a:lnTo>
                    <a:pt x="793" y="216"/>
                  </a:lnTo>
                  <a:lnTo>
                    <a:pt x="791" y="217"/>
                  </a:lnTo>
                  <a:lnTo>
                    <a:pt x="783" y="221"/>
                  </a:lnTo>
                  <a:lnTo>
                    <a:pt x="781" y="221"/>
                  </a:lnTo>
                  <a:lnTo>
                    <a:pt x="779" y="218"/>
                  </a:lnTo>
                  <a:lnTo>
                    <a:pt x="777" y="216"/>
                  </a:lnTo>
                  <a:lnTo>
                    <a:pt x="774" y="212"/>
                  </a:lnTo>
                  <a:lnTo>
                    <a:pt x="769" y="207"/>
                  </a:lnTo>
                  <a:lnTo>
                    <a:pt x="769" y="206"/>
                  </a:lnTo>
                  <a:lnTo>
                    <a:pt x="772" y="206"/>
                  </a:lnTo>
                  <a:lnTo>
                    <a:pt x="774" y="207"/>
                  </a:lnTo>
                  <a:lnTo>
                    <a:pt x="778" y="206"/>
                  </a:lnTo>
                  <a:lnTo>
                    <a:pt x="782" y="206"/>
                  </a:lnTo>
                  <a:lnTo>
                    <a:pt x="785" y="207"/>
                  </a:lnTo>
                  <a:lnTo>
                    <a:pt x="807" y="215"/>
                  </a:lnTo>
                  <a:lnTo>
                    <a:pt x="818" y="218"/>
                  </a:lnTo>
                  <a:lnTo>
                    <a:pt x="830" y="222"/>
                  </a:lnTo>
                  <a:lnTo>
                    <a:pt x="833" y="223"/>
                  </a:lnTo>
                  <a:lnTo>
                    <a:pt x="837" y="224"/>
                  </a:lnTo>
                  <a:lnTo>
                    <a:pt x="840" y="224"/>
                  </a:lnTo>
                  <a:lnTo>
                    <a:pt x="846" y="224"/>
                  </a:lnTo>
                  <a:lnTo>
                    <a:pt x="854" y="228"/>
                  </a:lnTo>
                  <a:lnTo>
                    <a:pt x="863" y="232"/>
                  </a:lnTo>
                  <a:lnTo>
                    <a:pt x="871" y="238"/>
                  </a:lnTo>
                  <a:lnTo>
                    <a:pt x="876" y="241"/>
                  </a:lnTo>
                  <a:lnTo>
                    <a:pt x="879" y="241"/>
                  </a:lnTo>
                  <a:lnTo>
                    <a:pt x="881" y="240"/>
                  </a:lnTo>
                  <a:lnTo>
                    <a:pt x="884" y="238"/>
                  </a:lnTo>
                  <a:lnTo>
                    <a:pt x="885" y="237"/>
                  </a:lnTo>
                  <a:lnTo>
                    <a:pt x="884" y="236"/>
                  </a:lnTo>
                  <a:lnTo>
                    <a:pt x="881" y="231"/>
                  </a:lnTo>
                  <a:lnTo>
                    <a:pt x="877" y="228"/>
                  </a:lnTo>
                  <a:lnTo>
                    <a:pt x="877" y="226"/>
                  </a:lnTo>
                  <a:lnTo>
                    <a:pt x="876" y="225"/>
                  </a:lnTo>
                  <a:lnTo>
                    <a:pt x="879" y="224"/>
                  </a:lnTo>
                  <a:lnTo>
                    <a:pt x="881" y="222"/>
                  </a:lnTo>
                  <a:lnTo>
                    <a:pt x="884" y="222"/>
                  </a:lnTo>
                  <a:lnTo>
                    <a:pt x="890" y="221"/>
                  </a:lnTo>
                  <a:lnTo>
                    <a:pt x="895" y="219"/>
                  </a:lnTo>
                  <a:lnTo>
                    <a:pt x="901" y="218"/>
                  </a:lnTo>
                  <a:lnTo>
                    <a:pt x="906" y="217"/>
                  </a:lnTo>
                  <a:lnTo>
                    <a:pt x="910" y="213"/>
                  </a:lnTo>
                  <a:lnTo>
                    <a:pt x="915" y="211"/>
                  </a:lnTo>
                  <a:lnTo>
                    <a:pt x="922" y="203"/>
                  </a:lnTo>
                  <a:lnTo>
                    <a:pt x="927" y="193"/>
                  </a:lnTo>
                  <a:lnTo>
                    <a:pt x="927" y="192"/>
                  </a:lnTo>
                  <a:lnTo>
                    <a:pt x="924" y="191"/>
                  </a:lnTo>
                  <a:lnTo>
                    <a:pt x="919" y="190"/>
                  </a:lnTo>
                  <a:lnTo>
                    <a:pt x="918" y="190"/>
                  </a:lnTo>
                  <a:lnTo>
                    <a:pt x="915" y="190"/>
                  </a:lnTo>
                  <a:lnTo>
                    <a:pt x="912" y="187"/>
                  </a:lnTo>
                  <a:lnTo>
                    <a:pt x="906" y="186"/>
                  </a:lnTo>
                  <a:lnTo>
                    <a:pt x="898" y="186"/>
                  </a:lnTo>
                  <a:lnTo>
                    <a:pt x="896" y="186"/>
                  </a:lnTo>
                  <a:lnTo>
                    <a:pt x="894" y="184"/>
                  </a:lnTo>
                  <a:lnTo>
                    <a:pt x="894" y="181"/>
                  </a:lnTo>
                  <a:lnTo>
                    <a:pt x="892" y="179"/>
                  </a:lnTo>
                  <a:lnTo>
                    <a:pt x="886" y="174"/>
                  </a:lnTo>
                  <a:lnTo>
                    <a:pt x="885" y="173"/>
                  </a:lnTo>
                  <a:lnTo>
                    <a:pt x="884" y="172"/>
                  </a:lnTo>
                  <a:lnTo>
                    <a:pt x="885" y="171"/>
                  </a:lnTo>
                  <a:lnTo>
                    <a:pt x="886" y="170"/>
                  </a:lnTo>
                  <a:lnTo>
                    <a:pt x="887" y="168"/>
                  </a:lnTo>
                  <a:lnTo>
                    <a:pt x="892" y="170"/>
                  </a:lnTo>
                  <a:lnTo>
                    <a:pt x="896" y="173"/>
                  </a:lnTo>
                  <a:lnTo>
                    <a:pt x="901" y="174"/>
                  </a:lnTo>
                  <a:lnTo>
                    <a:pt x="915" y="177"/>
                  </a:lnTo>
                  <a:lnTo>
                    <a:pt x="929" y="180"/>
                  </a:lnTo>
                  <a:lnTo>
                    <a:pt x="931" y="178"/>
                  </a:lnTo>
                  <a:lnTo>
                    <a:pt x="932" y="177"/>
                  </a:lnTo>
                  <a:lnTo>
                    <a:pt x="933" y="174"/>
                  </a:lnTo>
                  <a:lnTo>
                    <a:pt x="938" y="173"/>
                  </a:lnTo>
                  <a:lnTo>
                    <a:pt x="941" y="173"/>
                  </a:lnTo>
                  <a:lnTo>
                    <a:pt x="942" y="171"/>
                  </a:lnTo>
                  <a:lnTo>
                    <a:pt x="943" y="167"/>
                  </a:lnTo>
                  <a:lnTo>
                    <a:pt x="943" y="165"/>
                  </a:lnTo>
                  <a:lnTo>
                    <a:pt x="943" y="158"/>
                  </a:lnTo>
                  <a:lnTo>
                    <a:pt x="942" y="151"/>
                  </a:lnTo>
                  <a:lnTo>
                    <a:pt x="943" y="147"/>
                  </a:lnTo>
                  <a:lnTo>
                    <a:pt x="946" y="146"/>
                  </a:lnTo>
                  <a:lnTo>
                    <a:pt x="952" y="145"/>
                  </a:lnTo>
                  <a:lnTo>
                    <a:pt x="955" y="145"/>
                  </a:lnTo>
                  <a:lnTo>
                    <a:pt x="957" y="142"/>
                  </a:lnTo>
                  <a:lnTo>
                    <a:pt x="959" y="142"/>
                  </a:lnTo>
                  <a:lnTo>
                    <a:pt x="960" y="143"/>
                  </a:lnTo>
                  <a:lnTo>
                    <a:pt x="960" y="151"/>
                  </a:lnTo>
                  <a:lnTo>
                    <a:pt x="961" y="153"/>
                  </a:lnTo>
                  <a:lnTo>
                    <a:pt x="962" y="154"/>
                  </a:lnTo>
                  <a:lnTo>
                    <a:pt x="965" y="154"/>
                  </a:lnTo>
                  <a:lnTo>
                    <a:pt x="976" y="153"/>
                  </a:lnTo>
                  <a:lnTo>
                    <a:pt x="981" y="154"/>
                  </a:lnTo>
                  <a:lnTo>
                    <a:pt x="986" y="155"/>
                  </a:lnTo>
                  <a:lnTo>
                    <a:pt x="986" y="152"/>
                  </a:lnTo>
                  <a:lnTo>
                    <a:pt x="984" y="148"/>
                  </a:lnTo>
                  <a:lnTo>
                    <a:pt x="979" y="145"/>
                  </a:lnTo>
                  <a:lnTo>
                    <a:pt x="975" y="141"/>
                  </a:lnTo>
                  <a:lnTo>
                    <a:pt x="972" y="136"/>
                  </a:lnTo>
                  <a:lnTo>
                    <a:pt x="972" y="135"/>
                  </a:lnTo>
                  <a:lnTo>
                    <a:pt x="972" y="133"/>
                  </a:lnTo>
                  <a:lnTo>
                    <a:pt x="975" y="132"/>
                  </a:lnTo>
                  <a:lnTo>
                    <a:pt x="978" y="133"/>
                  </a:lnTo>
                  <a:lnTo>
                    <a:pt x="983" y="136"/>
                  </a:lnTo>
                  <a:lnTo>
                    <a:pt x="986" y="138"/>
                  </a:lnTo>
                  <a:lnTo>
                    <a:pt x="988" y="140"/>
                  </a:lnTo>
                  <a:lnTo>
                    <a:pt x="993" y="147"/>
                  </a:lnTo>
                  <a:lnTo>
                    <a:pt x="997" y="149"/>
                  </a:lnTo>
                  <a:lnTo>
                    <a:pt x="1000" y="152"/>
                  </a:lnTo>
                  <a:lnTo>
                    <a:pt x="1003" y="153"/>
                  </a:lnTo>
                  <a:lnTo>
                    <a:pt x="1006" y="155"/>
                  </a:lnTo>
                  <a:lnTo>
                    <a:pt x="1008" y="158"/>
                  </a:lnTo>
                  <a:lnTo>
                    <a:pt x="1011" y="158"/>
                  </a:lnTo>
                  <a:lnTo>
                    <a:pt x="1012" y="157"/>
                  </a:lnTo>
                  <a:lnTo>
                    <a:pt x="1013" y="154"/>
                  </a:lnTo>
                  <a:lnTo>
                    <a:pt x="1012" y="152"/>
                  </a:lnTo>
                  <a:lnTo>
                    <a:pt x="1011" y="149"/>
                  </a:lnTo>
                  <a:lnTo>
                    <a:pt x="1009" y="147"/>
                  </a:lnTo>
                  <a:lnTo>
                    <a:pt x="1009" y="145"/>
                  </a:lnTo>
                  <a:lnTo>
                    <a:pt x="1011" y="142"/>
                  </a:lnTo>
                  <a:lnTo>
                    <a:pt x="1013" y="140"/>
                  </a:lnTo>
                  <a:lnTo>
                    <a:pt x="1019" y="138"/>
                  </a:lnTo>
                  <a:lnTo>
                    <a:pt x="1022" y="135"/>
                  </a:lnTo>
                  <a:lnTo>
                    <a:pt x="1023" y="133"/>
                  </a:lnTo>
                  <a:lnTo>
                    <a:pt x="1026" y="132"/>
                  </a:lnTo>
                  <a:lnTo>
                    <a:pt x="1028" y="130"/>
                  </a:lnTo>
                  <a:lnTo>
                    <a:pt x="1031" y="130"/>
                  </a:lnTo>
                  <a:lnTo>
                    <a:pt x="1033" y="129"/>
                  </a:lnTo>
                  <a:lnTo>
                    <a:pt x="1036" y="127"/>
                  </a:lnTo>
                  <a:lnTo>
                    <a:pt x="1037" y="126"/>
                  </a:lnTo>
                  <a:lnTo>
                    <a:pt x="1037" y="125"/>
                  </a:lnTo>
                  <a:lnTo>
                    <a:pt x="1036" y="123"/>
                  </a:lnTo>
                  <a:lnTo>
                    <a:pt x="1035" y="125"/>
                  </a:lnTo>
                  <a:lnTo>
                    <a:pt x="1031" y="126"/>
                  </a:lnTo>
                  <a:lnTo>
                    <a:pt x="1030" y="126"/>
                  </a:lnTo>
                  <a:lnTo>
                    <a:pt x="1028" y="126"/>
                  </a:lnTo>
                  <a:lnTo>
                    <a:pt x="1026" y="123"/>
                  </a:lnTo>
                  <a:lnTo>
                    <a:pt x="1023" y="117"/>
                  </a:lnTo>
                  <a:lnTo>
                    <a:pt x="1021" y="110"/>
                  </a:lnTo>
                  <a:lnTo>
                    <a:pt x="1018" y="104"/>
                  </a:lnTo>
                  <a:lnTo>
                    <a:pt x="1016" y="101"/>
                  </a:lnTo>
                  <a:lnTo>
                    <a:pt x="1013" y="98"/>
                  </a:lnTo>
                  <a:lnTo>
                    <a:pt x="1012" y="97"/>
                  </a:lnTo>
                  <a:lnTo>
                    <a:pt x="1012" y="95"/>
                  </a:lnTo>
                  <a:lnTo>
                    <a:pt x="1013" y="94"/>
                  </a:lnTo>
                  <a:lnTo>
                    <a:pt x="1016" y="94"/>
                  </a:lnTo>
                  <a:lnTo>
                    <a:pt x="1021" y="94"/>
                  </a:lnTo>
                  <a:lnTo>
                    <a:pt x="1025" y="95"/>
                  </a:lnTo>
                  <a:lnTo>
                    <a:pt x="1030" y="96"/>
                  </a:lnTo>
                  <a:lnTo>
                    <a:pt x="1031" y="95"/>
                  </a:lnTo>
                  <a:lnTo>
                    <a:pt x="1033" y="92"/>
                  </a:lnTo>
                  <a:lnTo>
                    <a:pt x="1033" y="90"/>
                  </a:lnTo>
                  <a:lnTo>
                    <a:pt x="1033" y="88"/>
                  </a:lnTo>
                  <a:lnTo>
                    <a:pt x="1033" y="82"/>
                  </a:lnTo>
                  <a:lnTo>
                    <a:pt x="1036" y="77"/>
                  </a:lnTo>
                  <a:lnTo>
                    <a:pt x="1036" y="76"/>
                  </a:lnTo>
                  <a:lnTo>
                    <a:pt x="1036" y="75"/>
                  </a:lnTo>
                  <a:lnTo>
                    <a:pt x="1030" y="75"/>
                  </a:lnTo>
                  <a:lnTo>
                    <a:pt x="1023" y="74"/>
                  </a:lnTo>
                  <a:lnTo>
                    <a:pt x="1018" y="71"/>
                  </a:lnTo>
                  <a:lnTo>
                    <a:pt x="1016" y="70"/>
                  </a:lnTo>
                  <a:lnTo>
                    <a:pt x="1014" y="68"/>
                  </a:lnTo>
                  <a:lnTo>
                    <a:pt x="1016" y="65"/>
                  </a:lnTo>
                  <a:lnTo>
                    <a:pt x="1016" y="63"/>
                  </a:lnTo>
                  <a:lnTo>
                    <a:pt x="1003" y="63"/>
                  </a:lnTo>
                  <a:lnTo>
                    <a:pt x="992" y="63"/>
                  </a:lnTo>
                  <a:lnTo>
                    <a:pt x="985" y="63"/>
                  </a:lnTo>
                  <a:lnTo>
                    <a:pt x="980" y="62"/>
                  </a:lnTo>
                  <a:lnTo>
                    <a:pt x="975" y="59"/>
                  </a:lnTo>
                  <a:lnTo>
                    <a:pt x="970" y="56"/>
                  </a:lnTo>
                  <a:lnTo>
                    <a:pt x="967" y="55"/>
                  </a:lnTo>
                  <a:lnTo>
                    <a:pt x="966" y="55"/>
                  </a:lnTo>
                  <a:lnTo>
                    <a:pt x="964" y="56"/>
                  </a:lnTo>
                  <a:lnTo>
                    <a:pt x="964" y="58"/>
                  </a:lnTo>
                  <a:lnTo>
                    <a:pt x="962" y="62"/>
                  </a:lnTo>
                  <a:lnTo>
                    <a:pt x="964" y="65"/>
                  </a:lnTo>
                  <a:lnTo>
                    <a:pt x="966" y="71"/>
                  </a:lnTo>
                  <a:lnTo>
                    <a:pt x="970" y="76"/>
                  </a:lnTo>
                  <a:lnTo>
                    <a:pt x="975" y="81"/>
                  </a:lnTo>
                  <a:lnTo>
                    <a:pt x="975" y="82"/>
                  </a:lnTo>
                  <a:lnTo>
                    <a:pt x="975" y="83"/>
                  </a:lnTo>
                  <a:lnTo>
                    <a:pt x="967" y="87"/>
                  </a:lnTo>
                  <a:lnTo>
                    <a:pt x="961" y="91"/>
                  </a:lnTo>
                  <a:lnTo>
                    <a:pt x="956" y="97"/>
                  </a:lnTo>
                  <a:lnTo>
                    <a:pt x="952" y="104"/>
                  </a:lnTo>
                  <a:lnTo>
                    <a:pt x="952" y="109"/>
                  </a:lnTo>
                  <a:lnTo>
                    <a:pt x="951" y="114"/>
                  </a:lnTo>
                  <a:lnTo>
                    <a:pt x="951" y="119"/>
                  </a:lnTo>
                  <a:lnTo>
                    <a:pt x="948" y="122"/>
                  </a:lnTo>
                  <a:lnTo>
                    <a:pt x="942" y="126"/>
                  </a:lnTo>
                  <a:lnTo>
                    <a:pt x="937" y="132"/>
                  </a:lnTo>
                  <a:lnTo>
                    <a:pt x="936" y="133"/>
                  </a:lnTo>
                  <a:lnTo>
                    <a:pt x="934" y="133"/>
                  </a:lnTo>
                  <a:lnTo>
                    <a:pt x="932" y="132"/>
                  </a:lnTo>
                  <a:lnTo>
                    <a:pt x="929" y="128"/>
                  </a:lnTo>
                  <a:lnTo>
                    <a:pt x="927" y="126"/>
                  </a:lnTo>
                  <a:lnTo>
                    <a:pt x="923" y="125"/>
                  </a:lnTo>
                  <a:lnTo>
                    <a:pt x="919" y="121"/>
                  </a:lnTo>
                  <a:lnTo>
                    <a:pt x="915" y="113"/>
                  </a:lnTo>
                  <a:lnTo>
                    <a:pt x="914" y="103"/>
                  </a:lnTo>
                  <a:lnTo>
                    <a:pt x="914" y="95"/>
                  </a:lnTo>
                  <a:lnTo>
                    <a:pt x="915" y="85"/>
                  </a:lnTo>
                  <a:lnTo>
                    <a:pt x="917" y="82"/>
                  </a:lnTo>
                  <a:lnTo>
                    <a:pt x="917" y="79"/>
                  </a:lnTo>
                  <a:lnTo>
                    <a:pt x="915" y="77"/>
                  </a:lnTo>
                  <a:lnTo>
                    <a:pt x="908" y="70"/>
                  </a:lnTo>
                  <a:lnTo>
                    <a:pt x="905" y="66"/>
                  </a:lnTo>
                  <a:lnTo>
                    <a:pt x="903" y="63"/>
                  </a:lnTo>
                  <a:lnTo>
                    <a:pt x="901" y="63"/>
                  </a:lnTo>
                  <a:lnTo>
                    <a:pt x="899" y="65"/>
                  </a:lnTo>
                  <a:lnTo>
                    <a:pt x="896" y="68"/>
                  </a:lnTo>
                  <a:lnTo>
                    <a:pt x="892" y="69"/>
                  </a:lnTo>
                  <a:lnTo>
                    <a:pt x="891" y="72"/>
                  </a:lnTo>
                  <a:lnTo>
                    <a:pt x="891" y="75"/>
                  </a:lnTo>
                  <a:lnTo>
                    <a:pt x="892" y="77"/>
                  </a:lnTo>
                  <a:lnTo>
                    <a:pt x="894" y="79"/>
                  </a:lnTo>
                  <a:lnTo>
                    <a:pt x="894" y="82"/>
                  </a:lnTo>
                  <a:lnTo>
                    <a:pt x="889" y="88"/>
                  </a:lnTo>
                  <a:lnTo>
                    <a:pt x="882" y="95"/>
                  </a:lnTo>
                  <a:lnTo>
                    <a:pt x="880" y="96"/>
                  </a:lnTo>
                  <a:lnTo>
                    <a:pt x="876" y="97"/>
                  </a:lnTo>
                  <a:lnTo>
                    <a:pt x="873" y="96"/>
                  </a:lnTo>
                  <a:lnTo>
                    <a:pt x="871" y="95"/>
                  </a:lnTo>
                  <a:lnTo>
                    <a:pt x="868" y="92"/>
                  </a:lnTo>
                  <a:lnTo>
                    <a:pt x="868" y="89"/>
                  </a:lnTo>
                  <a:lnTo>
                    <a:pt x="868" y="85"/>
                  </a:lnTo>
                  <a:lnTo>
                    <a:pt x="870" y="82"/>
                  </a:lnTo>
                  <a:lnTo>
                    <a:pt x="870" y="81"/>
                  </a:lnTo>
                  <a:lnTo>
                    <a:pt x="868" y="78"/>
                  </a:lnTo>
                  <a:lnTo>
                    <a:pt x="865" y="76"/>
                  </a:lnTo>
                  <a:lnTo>
                    <a:pt x="862" y="75"/>
                  </a:lnTo>
                  <a:lnTo>
                    <a:pt x="861" y="74"/>
                  </a:lnTo>
                  <a:lnTo>
                    <a:pt x="861" y="71"/>
                  </a:lnTo>
                  <a:lnTo>
                    <a:pt x="862" y="69"/>
                  </a:lnTo>
                  <a:lnTo>
                    <a:pt x="863" y="68"/>
                  </a:lnTo>
                  <a:lnTo>
                    <a:pt x="862" y="65"/>
                  </a:lnTo>
                  <a:lnTo>
                    <a:pt x="859" y="63"/>
                  </a:lnTo>
                  <a:lnTo>
                    <a:pt x="858" y="62"/>
                  </a:lnTo>
                  <a:lnTo>
                    <a:pt x="857" y="62"/>
                  </a:lnTo>
                  <a:lnTo>
                    <a:pt x="854" y="65"/>
                  </a:lnTo>
                  <a:lnTo>
                    <a:pt x="853" y="68"/>
                  </a:lnTo>
                  <a:lnTo>
                    <a:pt x="853" y="75"/>
                  </a:lnTo>
                  <a:lnTo>
                    <a:pt x="848" y="74"/>
                  </a:lnTo>
                  <a:lnTo>
                    <a:pt x="846" y="70"/>
                  </a:lnTo>
                  <a:lnTo>
                    <a:pt x="844" y="68"/>
                  </a:lnTo>
                  <a:lnTo>
                    <a:pt x="842" y="65"/>
                  </a:lnTo>
                  <a:lnTo>
                    <a:pt x="838" y="62"/>
                  </a:lnTo>
                  <a:lnTo>
                    <a:pt x="838" y="59"/>
                  </a:lnTo>
                  <a:lnTo>
                    <a:pt x="838" y="58"/>
                  </a:lnTo>
                  <a:lnTo>
                    <a:pt x="842" y="55"/>
                  </a:lnTo>
                  <a:lnTo>
                    <a:pt x="852" y="50"/>
                  </a:lnTo>
                  <a:lnTo>
                    <a:pt x="858" y="45"/>
                  </a:lnTo>
                  <a:lnTo>
                    <a:pt x="861" y="42"/>
                  </a:lnTo>
                  <a:lnTo>
                    <a:pt x="861" y="40"/>
                  </a:lnTo>
                  <a:lnTo>
                    <a:pt x="861" y="39"/>
                  </a:lnTo>
                  <a:lnTo>
                    <a:pt x="856" y="34"/>
                  </a:lnTo>
                  <a:lnTo>
                    <a:pt x="849" y="31"/>
                  </a:lnTo>
                  <a:lnTo>
                    <a:pt x="843" y="26"/>
                  </a:lnTo>
                  <a:lnTo>
                    <a:pt x="838" y="21"/>
                  </a:lnTo>
                  <a:lnTo>
                    <a:pt x="832" y="18"/>
                  </a:lnTo>
                  <a:lnTo>
                    <a:pt x="825" y="15"/>
                  </a:lnTo>
                  <a:lnTo>
                    <a:pt x="823" y="14"/>
                  </a:lnTo>
                  <a:lnTo>
                    <a:pt x="823" y="12"/>
                  </a:lnTo>
                  <a:lnTo>
                    <a:pt x="820" y="6"/>
                  </a:lnTo>
                  <a:lnTo>
                    <a:pt x="818" y="2"/>
                  </a:lnTo>
                  <a:lnTo>
                    <a:pt x="814" y="0"/>
                  </a:lnTo>
                  <a:lnTo>
                    <a:pt x="810" y="0"/>
                  </a:lnTo>
                  <a:lnTo>
                    <a:pt x="806" y="0"/>
                  </a:lnTo>
                  <a:lnTo>
                    <a:pt x="797" y="0"/>
                  </a:lnTo>
                  <a:lnTo>
                    <a:pt x="788" y="0"/>
                  </a:lnTo>
                  <a:lnTo>
                    <a:pt x="788" y="4"/>
                  </a:lnTo>
                  <a:lnTo>
                    <a:pt x="790" y="6"/>
                  </a:lnTo>
                  <a:lnTo>
                    <a:pt x="791" y="10"/>
                  </a:lnTo>
                  <a:lnTo>
                    <a:pt x="790" y="12"/>
                  </a:lnTo>
                  <a:lnTo>
                    <a:pt x="787" y="17"/>
                  </a:lnTo>
                  <a:lnTo>
                    <a:pt x="787" y="21"/>
                  </a:lnTo>
                  <a:lnTo>
                    <a:pt x="785" y="19"/>
                  </a:lnTo>
                  <a:lnTo>
                    <a:pt x="785" y="18"/>
                  </a:lnTo>
                  <a:lnTo>
                    <a:pt x="783" y="15"/>
                  </a:lnTo>
                  <a:lnTo>
                    <a:pt x="782" y="14"/>
                  </a:lnTo>
                  <a:lnTo>
                    <a:pt x="779" y="14"/>
                  </a:lnTo>
                  <a:lnTo>
                    <a:pt x="777" y="14"/>
                  </a:lnTo>
                  <a:lnTo>
                    <a:pt x="776" y="17"/>
                  </a:lnTo>
                  <a:lnTo>
                    <a:pt x="774" y="19"/>
                  </a:lnTo>
                  <a:lnTo>
                    <a:pt x="773" y="30"/>
                  </a:lnTo>
                  <a:lnTo>
                    <a:pt x="769" y="37"/>
                  </a:lnTo>
                  <a:lnTo>
                    <a:pt x="768" y="40"/>
                  </a:lnTo>
                  <a:lnTo>
                    <a:pt x="769" y="44"/>
                  </a:lnTo>
                  <a:lnTo>
                    <a:pt x="773" y="46"/>
                  </a:lnTo>
                  <a:lnTo>
                    <a:pt x="779" y="49"/>
                  </a:lnTo>
                  <a:lnTo>
                    <a:pt x="785" y="51"/>
                  </a:lnTo>
                  <a:lnTo>
                    <a:pt x="787" y="52"/>
                  </a:lnTo>
                  <a:lnTo>
                    <a:pt x="790" y="55"/>
                  </a:lnTo>
                  <a:lnTo>
                    <a:pt x="792" y="57"/>
                  </a:lnTo>
                  <a:lnTo>
                    <a:pt x="795" y="57"/>
                  </a:lnTo>
                  <a:lnTo>
                    <a:pt x="799" y="57"/>
                  </a:lnTo>
                  <a:lnTo>
                    <a:pt x="801" y="58"/>
                  </a:lnTo>
                  <a:lnTo>
                    <a:pt x="807" y="63"/>
                  </a:lnTo>
                  <a:lnTo>
                    <a:pt x="814" y="69"/>
                  </a:lnTo>
                  <a:lnTo>
                    <a:pt x="820" y="75"/>
                  </a:lnTo>
                  <a:lnTo>
                    <a:pt x="821" y="78"/>
                  </a:lnTo>
                  <a:lnTo>
                    <a:pt x="823" y="82"/>
                  </a:lnTo>
                  <a:lnTo>
                    <a:pt x="823" y="85"/>
                  </a:lnTo>
                  <a:lnTo>
                    <a:pt x="821" y="89"/>
                  </a:lnTo>
                  <a:lnTo>
                    <a:pt x="816" y="95"/>
                  </a:lnTo>
                  <a:lnTo>
                    <a:pt x="810" y="101"/>
                  </a:lnTo>
                  <a:lnTo>
                    <a:pt x="804" y="104"/>
                  </a:lnTo>
                  <a:lnTo>
                    <a:pt x="796" y="108"/>
                  </a:lnTo>
                  <a:lnTo>
                    <a:pt x="792" y="110"/>
                  </a:lnTo>
                  <a:lnTo>
                    <a:pt x="787" y="115"/>
                  </a:lnTo>
                  <a:lnTo>
                    <a:pt x="787" y="116"/>
                  </a:lnTo>
                  <a:lnTo>
                    <a:pt x="787" y="119"/>
                  </a:lnTo>
                  <a:lnTo>
                    <a:pt x="790" y="121"/>
                  </a:lnTo>
                  <a:lnTo>
                    <a:pt x="792" y="123"/>
                  </a:lnTo>
                  <a:lnTo>
                    <a:pt x="793" y="127"/>
                  </a:lnTo>
                  <a:lnTo>
                    <a:pt x="793" y="129"/>
                  </a:lnTo>
                  <a:lnTo>
                    <a:pt x="792" y="133"/>
                  </a:lnTo>
                  <a:lnTo>
                    <a:pt x="791" y="135"/>
                  </a:lnTo>
                  <a:lnTo>
                    <a:pt x="787" y="136"/>
                  </a:lnTo>
                  <a:lnTo>
                    <a:pt x="786" y="136"/>
                  </a:lnTo>
                  <a:lnTo>
                    <a:pt x="785" y="136"/>
                  </a:lnTo>
                  <a:lnTo>
                    <a:pt x="783" y="134"/>
                  </a:lnTo>
                  <a:lnTo>
                    <a:pt x="783" y="132"/>
                  </a:lnTo>
                  <a:lnTo>
                    <a:pt x="782" y="130"/>
                  </a:lnTo>
                  <a:lnTo>
                    <a:pt x="781" y="129"/>
                  </a:lnTo>
                  <a:lnTo>
                    <a:pt x="776" y="129"/>
                  </a:lnTo>
                  <a:lnTo>
                    <a:pt x="772" y="127"/>
                  </a:lnTo>
                  <a:lnTo>
                    <a:pt x="768" y="123"/>
                  </a:lnTo>
                  <a:lnTo>
                    <a:pt x="767" y="120"/>
                  </a:lnTo>
                  <a:lnTo>
                    <a:pt x="769" y="116"/>
                  </a:lnTo>
                  <a:lnTo>
                    <a:pt x="772" y="113"/>
                  </a:lnTo>
                  <a:lnTo>
                    <a:pt x="773" y="110"/>
                  </a:lnTo>
                  <a:lnTo>
                    <a:pt x="773" y="109"/>
                  </a:lnTo>
                  <a:lnTo>
                    <a:pt x="772" y="108"/>
                  </a:lnTo>
                  <a:lnTo>
                    <a:pt x="760" y="106"/>
                  </a:lnTo>
                  <a:lnTo>
                    <a:pt x="748" y="102"/>
                  </a:lnTo>
                  <a:lnTo>
                    <a:pt x="744" y="102"/>
                  </a:lnTo>
                  <a:lnTo>
                    <a:pt x="740" y="103"/>
                  </a:lnTo>
                  <a:lnTo>
                    <a:pt x="739" y="104"/>
                  </a:lnTo>
                  <a:lnTo>
                    <a:pt x="738" y="107"/>
                  </a:lnTo>
                  <a:lnTo>
                    <a:pt x="739" y="108"/>
                  </a:lnTo>
                  <a:lnTo>
                    <a:pt x="741" y="115"/>
                  </a:lnTo>
                  <a:lnTo>
                    <a:pt x="744" y="119"/>
                  </a:lnTo>
                  <a:lnTo>
                    <a:pt x="744" y="122"/>
                  </a:lnTo>
                  <a:lnTo>
                    <a:pt x="736" y="121"/>
                  </a:lnTo>
                  <a:lnTo>
                    <a:pt x="734" y="120"/>
                  </a:lnTo>
                  <a:lnTo>
                    <a:pt x="730" y="121"/>
                  </a:lnTo>
                  <a:lnTo>
                    <a:pt x="729" y="121"/>
                  </a:lnTo>
                  <a:lnTo>
                    <a:pt x="727" y="120"/>
                  </a:lnTo>
                  <a:lnTo>
                    <a:pt x="725" y="119"/>
                  </a:lnTo>
                  <a:lnTo>
                    <a:pt x="722" y="119"/>
                  </a:lnTo>
                  <a:lnTo>
                    <a:pt x="720" y="120"/>
                  </a:lnTo>
                  <a:lnTo>
                    <a:pt x="719" y="120"/>
                  </a:lnTo>
                  <a:lnTo>
                    <a:pt x="716" y="120"/>
                  </a:lnTo>
                  <a:lnTo>
                    <a:pt x="711" y="119"/>
                  </a:lnTo>
                  <a:lnTo>
                    <a:pt x="708" y="119"/>
                  </a:lnTo>
                  <a:lnTo>
                    <a:pt x="706" y="120"/>
                  </a:lnTo>
                  <a:lnTo>
                    <a:pt x="699" y="119"/>
                  </a:lnTo>
                  <a:lnTo>
                    <a:pt x="693" y="119"/>
                  </a:lnTo>
                  <a:lnTo>
                    <a:pt x="682" y="120"/>
                  </a:lnTo>
                  <a:lnTo>
                    <a:pt x="678" y="120"/>
                  </a:lnTo>
                  <a:lnTo>
                    <a:pt x="675" y="119"/>
                  </a:lnTo>
                  <a:lnTo>
                    <a:pt x="668" y="114"/>
                  </a:lnTo>
                  <a:lnTo>
                    <a:pt x="663" y="113"/>
                  </a:lnTo>
                  <a:lnTo>
                    <a:pt x="659" y="113"/>
                  </a:lnTo>
                  <a:lnTo>
                    <a:pt x="656" y="111"/>
                  </a:lnTo>
                  <a:lnTo>
                    <a:pt x="654" y="110"/>
                  </a:lnTo>
                  <a:lnTo>
                    <a:pt x="652" y="108"/>
                  </a:lnTo>
                  <a:lnTo>
                    <a:pt x="650" y="106"/>
                  </a:lnTo>
                  <a:lnTo>
                    <a:pt x="645" y="104"/>
                  </a:lnTo>
                  <a:lnTo>
                    <a:pt x="640" y="103"/>
                  </a:lnTo>
                  <a:lnTo>
                    <a:pt x="628" y="102"/>
                  </a:lnTo>
                  <a:lnTo>
                    <a:pt x="617" y="102"/>
                  </a:lnTo>
                  <a:lnTo>
                    <a:pt x="612" y="101"/>
                  </a:lnTo>
                  <a:lnTo>
                    <a:pt x="607" y="98"/>
                  </a:lnTo>
                  <a:lnTo>
                    <a:pt x="604" y="97"/>
                  </a:lnTo>
                  <a:lnTo>
                    <a:pt x="603" y="94"/>
                  </a:lnTo>
                  <a:lnTo>
                    <a:pt x="600" y="88"/>
                  </a:lnTo>
                  <a:lnTo>
                    <a:pt x="598" y="83"/>
                  </a:lnTo>
                  <a:lnTo>
                    <a:pt x="595" y="82"/>
                  </a:lnTo>
                  <a:lnTo>
                    <a:pt x="593" y="82"/>
                  </a:lnTo>
                  <a:lnTo>
                    <a:pt x="586" y="83"/>
                  </a:lnTo>
                  <a:lnTo>
                    <a:pt x="581" y="83"/>
                  </a:lnTo>
                  <a:lnTo>
                    <a:pt x="575" y="84"/>
                  </a:lnTo>
                  <a:lnTo>
                    <a:pt x="570" y="85"/>
                  </a:lnTo>
                  <a:lnTo>
                    <a:pt x="565" y="88"/>
                  </a:lnTo>
                  <a:lnTo>
                    <a:pt x="562" y="91"/>
                  </a:lnTo>
                  <a:lnTo>
                    <a:pt x="560" y="95"/>
                  </a:lnTo>
                  <a:lnTo>
                    <a:pt x="560" y="100"/>
                  </a:lnTo>
                  <a:lnTo>
                    <a:pt x="562" y="102"/>
                  </a:lnTo>
                  <a:lnTo>
                    <a:pt x="564" y="103"/>
                  </a:lnTo>
                  <a:lnTo>
                    <a:pt x="565" y="102"/>
                  </a:lnTo>
                  <a:lnTo>
                    <a:pt x="567" y="100"/>
                  </a:lnTo>
                  <a:lnTo>
                    <a:pt x="570" y="98"/>
                  </a:lnTo>
                  <a:lnTo>
                    <a:pt x="576" y="97"/>
                  </a:lnTo>
                  <a:lnTo>
                    <a:pt x="583" y="97"/>
                  </a:lnTo>
                  <a:lnTo>
                    <a:pt x="589" y="97"/>
                  </a:lnTo>
                  <a:lnTo>
                    <a:pt x="589" y="100"/>
                  </a:lnTo>
                  <a:lnTo>
                    <a:pt x="585" y="102"/>
                  </a:lnTo>
                  <a:lnTo>
                    <a:pt x="584" y="104"/>
                  </a:lnTo>
                  <a:lnTo>
                    <a:pt x="583" y="107"/>
                  </a:lnTo>
                  <a:lnTo>
                    <a:pt x="581" y="109"/>
                  </a:lnTo>
                  <a:lnTo>
                    <a:pt x="579" y="110"/>
                  </a:lnTo>
                  <a:lnTo>
                    <a:pt x="572" y="113"/>
                  </a:lnTo>
                  <a:lnTo>
                    <a:pt x="570" y="113"/>
                  </a:lnTo>
                  <a:lnTo>
                    <a:pt x="569" y="115"/>
                  </a:lnTo>
                  <a:lnTo>
                    <a:pt x="567" y="117"/>
                  </a:lnTo>
                  <a:lnTo>
                    <a:pt x="567" y="121"/>
                  </a:lnTo>
                  <a:lnTo>
                    <a:pt x="570" y="127"/>
                  </a:lnTo>
                  <a:lnTo>
                    <a:pt x="574" y="132"/>
                  </a:lnTo>
                  <a:lnTo>
                    <a:pt x="576" y="138"/>
                  </a:lnTo>
                  <a:lnTo>
                    <a:pt x="576" y="139"/>
                  </a:lnTo>
                  <a:lnTo>
                    <a:pt x="575" y="139"/>
                  </a:lnTo>
                  <a:lnTo>
                    <a:pt x="572" y="138"/>
                  </a:lnTo>
                  <a:lnTo>
                    <a:pt x="570" y="138"/>
                  </a:lnTo>
                  <a:lnTo>
                    <a:pt x="567" y="138"/>
                  </a:lnTo>
                  <a:lnTo>
                    <a:pt x="565" y="140"/>
                  </a:lnTo>
                  <a:lnTo>
                    <a:pt x="565" y="142"/>
                  </a:lnTo>
                  <a:lnTo>
                    <a:pt x="566" y="143"/>
                  </a:lnTo>
                  <a:lnTo>
                    <a:pt x="569" y="145"/>
                  </a:lnTo>
                  <a:lnTo>
                    <a:pt x="571" y="147"/>
                  </a:lnTo>
                  <a:lnTo>
                    <a:pt x="571" y="149"/>
                  </a:lnTo>
                  <a:lnTo>
                    <a:pt x="566" y="149"/>
                  </a:lnTo>
                  <a:lnTo>
                    <a:pt x="562" y="148"/>
                  </a:lnTo>
                  <a:lnTo>
                    <a:pt x="560" y="146"/>
                  </a:lnTo>
                  <a:lnTo>
                    <a:pt x="556" y="143"/>
                  </a:lnTo>
                  <a:lnTo>
                    <a:pt x="545" y="129"/>
                  </a:lnTo>
                  <a:lnTo>
                    <a:pt x="543" y="128"/>
                  </a:lnTo>
                  <a:lnTo>
                    <a:pt x="541" y="128"/>
                  </a:lnTo>
                  <a:lnTo>
                    <a:pt x="539" y="128"/>
                  </a:lnTo>
                  <a:lnTo>
                    <a:pt x="537" y="127"/>
                  </a:lnTo>
                  <a:lnTo>
                    <a:pt x="536" y="127"/>
                  </a:lnTo>
                  <a:lnTo>
                    <a:pt x="534" y="126"/>
                  </a:lnTo>
                  <a:lnTo>
                    <a:pt x="533" y="122"/>
                  </a:lnTo>
                  <a:lnTo>
                    <a:pt x="532" y="120"/>
                  </a:lnTo>
                  <a:lnTo>
                    <a:pt x="528" y="115"/>
                  </a:lnTo>
                  <a:lnTo>
                    <a:pt x="527" y="114"/>
                  </a:lnTo>
                  <a:lnTo>
                    <a:pt x="528" y="113"/>
                  </a:lnTo>
                  <a:lnTo>
                    <a:pt x="528" y="109"/>
                  </a:lnTo>
                  <a:lnTo>
                    <a:pt x="528" y="108"/>
                  </a:lnTo>
                  <a:lnTo>
                    <a:pt x="527" y="108"/>
                  </a:lnTo>
                  <a:lnTo>
                    <a:pt x="524" y="109"/>
                  </a:lnTo>
                  <a:lnTo>
                    <a:pt x="519" y="117"/>
                  </a:lnTo>
                  <a:lnTo>
                    <a:pt x="518" y="121"/>
                  </a:lnTo>
                  <a:lnTo>
                    <a:pt x="514" y="123"/>
                  </a:lnTo>
                  <a:lnTo>
                    <a:pt x="510" y="125"/>
                  </a:lnTo>
                  <a:lnTo>
                    <a:pt x="505" y="125"/>
                  </a:lnTo>
                  <a:lnTo>
                    <a:pt x="500" y="123"/>
                  </a:lnTo>
                  <a:lnTo>
                    <a:pt x="495" y="123"/>
                  </a:lnTo>
                  <a:lnTo>
                    <a:pt x="472" y="125"/>
                  </a:lnTo>
                  <a:lnTo>
                    <a:pt x="461" y="123"/>
                  </a:lnTo>
                  <a:lnTo>
                    <a:pt x="449" y="122"/>
                  </a:lnTo>
                  <a:lnTo>
                    <a:pt x="446" y="120"/>
                  </a:lnTo>
                  <a:lnTo>
                    <a:pt x="440" y="117"/>
                  </a:lnTo>
                  <a:lnTo>
                    <a:pt x="438" y="114"/>
                  </a:lnTo>
                  <a:lnTo>
                    <a:pt x="439" y="111"/>
                  </a:lnTo>
                  <a:lnTo>
                    <a:pt x="440" y="110"/>
                  </a:lnTo>
                  <a:lnTo>
                    <a:pt x="446" y="107"/>
                  </a:lnTo>
                  <a:lnTo>
                    <a:pt x="452" y="103"/>
                  </a:lnTo>
                  <a:lnTo>
                    <a:pt x="459" y="101"/>
                  </a:lnTo>
                  <a:lnTo>
                    <a:pt x="467" y="101"/>
                  </a:lnTo>
                  <a:lnTo>
                    <a:pt x="468" y="100"/>
                  </a:lnTo>
                  <a:lnTo>
                    <a:pt x="467" y="98"/>
                  </a:lnTo>
                  <a:lnTo>
                    <a:pt x="466" y="96"/>
                  </a:lnTo>
                  <a:lnTo>
                    <a:pt x="463" y="95"/>
                  </a:lnTo>
                  <a:lnTo>
                    <a:pt x="458" y="92"/>
                  </a:lnTo>
                  <a:lnTo>
                    <a:pt x="453" y="90"/>
                  </a:lnTo>
                  <a:lnTo>
                    <a:pt x="451" y="88"/>
                  </a:lnTo>
                  <a:lnTo>
                    <a:pt x="451" y="85"/>
                  </a:lnTo>
                  <a:lnTo>
                    <a:pt x="448" y="84"/>
                  </a:lnTo>
                  <a:lnTo>
                    <a:pt x="447" y="83"/>
                  </a:lnTo>
                  <a:lnTo>
                    <a:pt x="440" y="88"/>
                  </a:lnTo>
                  <a:lnTo>
                    <a:pt x="435" y="89"/>
                  </a:lnTo>
                  <a:lnTo>
                    <a:pt x="432" y="89"/>
                  </a:lnTo>
                  <a:lnTo>
                    <a:pt x="424" y="87"/>
                  </a:lnTo>
                  <a:lnTo>
                    <a:pt x="418" y="83"/>
                  </a:lnTo>
                  <a:lnTo>
                    <a:pt x="411" y="81"/>
                  </a:lnTo>
                  <a:lnTo>
                    <a:pt x="404" y="79"/>
                  </a:lnTo>
                  <a:lnTo>
                    <a:pt x="401" y="78"/>
                  </a:lnTo>
                  <a:lnTo>
                    <a:pt x="399" y="77"/>
                  </a:lnTo>
                  <a:lnTo>
                    <a:pt x="393" y="76"/>
                  </a:lnTo>
                  <a:lnTo>
                    <a:pt x="388" y="76"/>
                  </a:lnTo>
                  <a:lnTo>
                    <a:pt x="372" y="71"/>
                  </a:lnTo>
                  <a:lnTo>
                    <a:pt x="357" y="66"/>
                  </a:lnTo>
                  <a:lnTo>
                    <a:pt x="354" y="65"/>
                  </a:lnTo>
                  <a:lnTo>
                    <a:pt x="352" y="64"/>
                  </a:lnTo>
                  <a:lnTo>
                    <a:pt x="348" y="63"/>
                  </a:lnTo>
                  <a:lnTo>
                    <a:pt x="344" y="62"/>
                  </a:lnTo>
                  <a:lnTo>
                    <a:pt x="338" y="59"/>
                  </a:lnTo>
                  <a:lnTo>
                    <a:pt x="334" y="58"/>
                  </a:lnTo>
                  <a:lnTo>
                    <a:pt x="331" y="58"/>
                  </a:lnTo>
                  <a:lnTo>
                    <a:pt x="327" y="58"/>
                  </a:lnTo>
                  <a:lnTo>
                    <a:pt x="325" y="59"/>
                  </a:lnTo>
                  <a:lnTo>
                    <a:pt x="320" y="64"/>
                  </a:lnTo>
                  <a:lnTo>
                    <a:pt x="315" y="69"/>
                  </a:lnTo>
                  <a:lnTo>
                    <a:pt x="312" y="70"/>
                  </a:lnTo>
                  <a:lnTo>
                    <a:pt x="311" y="69"/>
                  </a:lnTo>
                  <a:lnTo>
                    <a:pt x="306" y="59"/>
                  </a:lnTo>
                  <a:lnTo>
                    <a:pt x="303" y="53"/>
                  </a:lnTo>
                  <a:lnTo>
                    <a:pt x="302" y="47"/>
                  </a:lnTo>
                  <a:lnTo>
                    <a:pt x="299" y="47"/>
                  </a:lnTo>
                  <a:lnTo>
                    <a:pt x="298" y="47"/>
                  </a:lnTo>
                  <a:lnTo>
                    <a:pt x="294" y="53"/>
                  </a:lnTo>
                  <a:lnTo>
                    <a:pt x="292" y="60"/>
                  </a:lnTo>
                  <a:lnTo>
                    <a:pt x="291" y="63"/>
                  </a:lnTo>
                  <a:lnTo>
                    <a:pt x="289" y="65"/>
                  </a:lnTo>
                  <a:lnTo>
                    <a:pt x="286" y="66"/>
                  </a:lnTo>
                  <a:lnTo>
                    <a:pt x="282" y="66"/>
                  </a:lnTo>
                  <a:lnTo>
                    <a:pt x="277" y="65"/>
                  </a:lnTo>
                  <a:lnTo>
                    <a:pt x="272" y="63"/>
                  </a:lnTo>
                  <a:lnTo>
                    <a:pt x="263" y="58"/>
                  </a:lnTo>
                  <a:lnTo>
                    <a:pt x="255" y="50"/>
                  </a:lnTo>
                  <a:lnTo>
                    <a:pt x="249" y="43"/>
                  </a:lnTo>
                  <a:lnTo>
                    <a:pt x="245" y="40"/>
                  </a:lnTo>
                  <a:lnTo>
                    <a:pt x="242" y="37"/>
                  </a:lnTo>
                  <a:lnTo>
                    <a:pt x="239" y="34"/>
                  </a:lnTo>
                  <a:lnTo>
                    <a:pt x="233" y="33"/>
                  </a:lnTo>
                  <a:lnTo>
                    <a:pt x="232" y="33"/>
                  </a:lnTo>
                  <a:lnTo>
                    <a:pt x="230" y="33"/>
                  </a:lnTo>
                  <a:lnTo>
                    <a:pt x="230" y="36"/>
                  </a:lnTo>
                  <a:lnTo>
                    <a:pt x="230" y="37"/>
                  </a:lnTo>
                  <a:lnTo>
                    <a:pt x="232" y="42"/>
                  </a:lnTo>
                  <a:lnTo>
                    <a:pt x="235" y="45"/>
                  </a:lnTo>
                  <a:lnTo>
                    <a:pt x="237" y="49"/>
                  </a:lnTo>
                  <a:lnTo>
                    <a:pt x="236" y="52"/>
                  </a:lnTo>
                  <a:lnTo>
                    <a:pt x="233" y="56"/>
                  </a:lnTo>
                  <a:lnTo>
                    <a:pt x="230" y="59"/>
                  </a:lnTo>
                  <a:lnTo>
                    <a:pt x="225" y="63"/>
                  </a:lnTo>
                  <a:lnTo>
                    <a:pt x="219" y="65"/>
                  </a:lnTo>
                  <a:lnTo>
                    <a:pt x="217" y="64"/>
                  </a:lnTo>
                  <a:lnTo>
                    <a:pt x="216" y="63"/>
                  </a:lnTo>
                  <a:lnTo>
                    <a:pt x="214" y="57"/>
                  </a:lnTo>
                  <a:lnTo>
                    <a:pt x="212" y="57"/>
                  </a:lnTo>
                  <a:lnTo>
                    <a:pt x="209" y="57"/>
                  </a:lnTo>
                  <a:lnTo>
                    <a:pt x="202" y="60"/>
                  </a:lnTo>
                  <a:lnTo>
                    <a:pt x="194" y="63"/>
                  </a:lnTo>
                  <a:lnTo>
                    <a:pt x="192" y="64"/>
                  </a:lnTo>
                  <a:lnTo>
                    <a:pt x="190" y="66"/>
                  </a:lnTo>
                  <a:lnTo>
                    <a:pt x="188" y="68"/>
                  </a:lnTo>
                  <a:lnTo>
                    <a:pt x="185" y="69"/>
                  </a:lnTo>
                  <a:lnTo>
                    <a:pt x="185" y="68"/>
                  </a:lnTo>
                  <a:lnTo>
                    <a:pt x="185" y="66"/>
                  </a:lnTo>
                  <a:lnTo>
                    <a:pt x="185" y="64"/>
                  </a:lnTo>
                  <a:lnTo>
                    <a:pt x="197" y="57"/>
                  </a:lnTo>
                  <a:lnTo>
                    <a:pt x="200" y="52"/>
                  </a:lnTo>
                  <a:lnTo>
                    <a:pt x="203" y="50"/>
                  </a:lnTo>
                  <a:lnTo>
                    <a:pt x="203" y="46"/>
                  </a:lnTo>
                  <a:lnTo>
                    <a:pt x="193" y="47"/>
                  </a:lnTo>
                  <a:lnTo>
                    <a:pt x="188" y="49"/>
                  </a:lnTo>
                  <a:lnTo>
                    <a:pt x="184" y="52"/>
                  </a:lnTo>
                  <a:lnTo>
                    <a:pt x="180" y="58"/>
                  </a:lnTo>
                  <a:lnTo>
                    <a:pt x="178" y="59"/>
                  </a:lnTo>
                  <a:lnTo>
                    <a:pt x="174" y="60"/>
                  </a:lnTo>
                  <a:lnTo>
                    <a:pt x="166" y="63"/>
                  </a:lnTo>
                  <a:lnTo>
                    <a:pt x="165" y="64"/>
                  </a:lnTo>
                  <a:lnTo>
                    <a:pt x="164" y="65"/>
                  </a:lnTo>
                  <a:lnTo>
                    <a:pt x="164" y="66"/>
                  </a:lnTo>
                  <a:lnTo>
                    <a:pt x="162" y="66"/>
                  </a:lnTo>
                  <a:lnTo>
                    <a:pt x="157" y="65"/>
                  </a:lnTo>
                  <a:lnTo>
                    <a:pt x="152" y="65"/>
                  </a:lnTo>
                  <a:lnTo>
                    <a:pt x="148" y="66"/>
                  </a:lnTo>
                  <a:lnTo>
                    <a:pt x="143" y="69"/>
                  </a:lnTo>
                  <a:lnTo>
                    <a:pt x="136" y="72"/>
                  </a:lnTo>
                  <a:lnTo>
                    <a:pt x="132" y="74"/>
                  </a:lnTo>
                  <a:lnTo>
                    <a:pt x="127" y="75"/>
                  </a:lnTo>
                  <a:lnTo>
                    <a:pt x="127" y="74"/>
                  </a:lnTo>
                  <a:lnTo>
                    <a:pt x="126" y="74"/>
                  </a:lnTo>
                  <a:lnTo>
                    <a:pt x="127" y="71"/>
                  </a:lnTo>
                  <a:lnTo>
                    <a:pt x="128" y="69"/>
                  </a:lnTo>
                  <a:lnTo>
                    <a:pt x="128" y="66"/>
                  </a:lnTo>
                  <a:lnTo>
                    <a:pt x="126" y="64"/>
                  </a:lnTo>
                  <a:lnTo>
                    <a:pt x="122" y="62"/>
                  </a:lnTo>
                  <a:lnTo>
                    <a:pt x="118" y="60"/>
                  </a:lnTo>
                  <a:lnTo>
                    <a:pt x="114" y="62"/>
                  </a:lnTo>
                  <a:lnTo>
                    <a:pt x="112" y="63"/>
                  </a:lnTo>
                  <a:lnTo>
                    <a:pt x="109" y="65"/>
                  </a:lnTo>
                  <a:lnTo>
                    <a:pt x="106" y="71"/>
                  </a:lnTo>
                  <a:lnTo>
                    <a:pt x="105" y="77"/>
                  </a:lnTo>
                  <a:lnTo>
                    <a:pt x="101" y="83"/>
                  </a:lnTo>
                  <a:lnTo>
                    <a:pt x="98" y="85"/>
                  </a:lnTo>
                  <a:lnTo>
                    <a:pt x="94" y="88"/>
                  </a:lnTo>
                  <a:lnTo>
                    <a:pt x="89" y="89"/>
                  </a:lnTo>
                  <a:lnTo>
                    <a:pt x="84" y="89"/>
                  </a:lnTo>
                  <a:lnTo>
                    <a:pt x="79" y="89"/>
                  </a:lnTo>
                  <a:lnTo>
                    <a:pt x="73" y="87"/>
                  </a:lnTo>
                  <a:lnTo>
                    <a:pt x="70" y="84"/>
                  </a:lnTo>
                  <a:lnTo>
                    <a:pt x="66" y="81"/>
                  </a:lnTo>
                  <a:lnTo>
                    <a:pt x="65" y="79"/>
                  </a:lnTo>
                  <a:lnTo>
                    <a:pt x="62" y="79"/>
                  </a:lnTo>
                  <a:lnTo>
                    <a:pt x="58" y="78"/>
                  </a:lnTo>
                  <a:lnTo>
                    <a:pt x="38" y="70"/>
                  </a:lnTo>
                  <a:lnTo>
                    <a:pt x="28" y="66"/>
                  </a:lnTo>
                  <a:lnTo>
                    <a:pt x="18" y="62"/>
                  </a:lnTo>
                  <a:lnTo>
                    <a:pt x="12" y="59"/>
                  </a:lnTo>
                  <a:lnTo>
                    <a:pt x="6" y="59"/>
                  </a:lnTo>
                  <a:lnTo>
                    <a:pt x="0" y="59"/>
                  </a:lnTo>
                  <a:lnTo>
                    <a:pt x="2" y="318"/>
                  </a:lnTo>
                  <a:lnTo>
                    <a:pt x="10" y="315"/>
                  </a:lnTo>
                  <a:lnTo>
                    <a:pt x="16" y="314"/>
                  </a:lnTo>
                  <a:lnTo>
                    <a:pt x="20" y="315"/>
                  </a:lnTo>
                  <a:lnTo>
                    <a:pt x="23" y="317"/>
                  </a:lnTo>
                  <a:lnTo>
                    <a:pt x="30" y="325"/>
                  </a:lnTo>
                  <a:lnTo>
                    <a:pt x="42" y="337"/>
                  </a:lnTo>
                  <a:lnTo>
                    <a:pt x="48" y="344"/>
                  </a:lnTo>
                  <a:lnTo>
                    <a:pt x="54" y="349"/>
                  </a:lnTo>
                  <a:lnTo>
                    <a:pt x="59" y="352"/>
                  </a:lnTo>
                  <a:lnTo>
                    <a:pt x="65" y="352"/>
                  </a:lnTo>
                  <a:lnTo>
                    <a:pt x="68" y="351"/>
                  </a:lnTo>
                  <a:lnTo>
                    <a:pt x="72" y="349"/>
                  </a:lnTo>
                  <a:lnTo>
                    <a:pt x="79" y="343"/>
                  </a:lnTo>
                  <a:lnTo>
                    <a:pt x="86" y="336"/>
                  </a:lnTo>
                  <a:lnTo>
                    <a:pt x="87" y="333"/>
                  </a:lnTo>
                  <a:lnTo>
                    <a:pt x="90" y="333"/>
                  </a:lnTo>
                  <a:lnTo>
                    <a:pt x="92" y="334"/>
                  </a:lnTo>
                  <a:lnTo>
                    <a:pt x="101" y="341"/>
                  </a:lnTo>
                  <a:lnTo>
                    <a:pt x="109" y="346"/>
                  </a:lnTo>
                  <a:lnTo>
                    <a:pt x="113" y="349"/>
                  </a:lnTo>
                  <a:lnTo>
                    <a:pt x="118" y="353"/>
                  </a:lnTo>
                  <a:lnTo>
                    <a:pt x="124" y="360"/>
                  </a:lnTo>
                  <a:lnTo>
                    <a:pt x="131" y="366"/>
                  </a:lnTo>
                  <a:lnTo>
                    <a:pt x="139" y="376"/>
                  </a:lnTo>
                  <a:lnTo>
                    <a:pt x="148" y="390"/>
                  </a:lnTo>
                  <a:lnTo>
                    <a:pt x="156" y="400"/>
                  </a:lnTo>
                  <a:lnTo>
                    <a:pt x="165" y="407"/>
                  </a:lnTo>
                  <a:lnTo>
                    <a:pt x="174" y="414"/>
                  </a:lnTo>
                  <a:lnTo>
                    <a:pt x="179" y="419"/>
                  </a:lnTo>
                  <a:lnTo>
                    <a:pt x="181" y="423"/>
                  </a:lnTo>
                  <a:lnTo>
                    <a:pt x="184" y="429"/>
                  </a:lnTo>
                  <a:lnTo>
                    <a:pt x="185" y="437"/>
                  </a:lnTo>
                  <a:lnTo>
                    <a:pt x="185" y="446"/>
                  </a:lnTo>
                  <a:lnTo>
                    <a:pt x="184" y="45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09" name="Freeform 1008"/>
            <p:cNvSpPr>
              <a:spLocks/>
            </p:cNvSpPr>
            <p:nvPr/>
          </p:nvSpPr>
          <p:spPr bwMode="auto">
            <a:xfrm>
              <a:off x="2481267" y="3087692"/>
              <a:ext cx="47625" cy="26987"/>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2147483647 w 33"/>
                <a:gd name="T13" fmla="*/ 2147483647 h 17"/>
                <a:gd name="T14" fmla="*/ 2147483647 w 33"/>
                <a:gd name="T15" fmla="*/ 0 h 17"/>
                <a:gd name="T16" fmla="*/ 2147483647 w 33"/>
                <a:gd name="T17" fmla="*/ 0 h 17"/>
                <a:gd name="T18" fmla="*/ 2147483647 w 33"/>
                <a:gd name="T19" fmla="*/ 0 h 17"/>
                <a:gd name="T20" fmla="*/ 2147483647 w 33"/>
                <a:gd name="T21" fmla="*/ 2147483647 h 17"/>
                <a:gd name="T22" fmla="*/ 2147483647 w 33"/>
                <a:gd name="T23" fmla="*/ 2147483647 h 17"/>
                <a:gd name="T24" fmla="*/ 2147483647 w 33"/>
                <a:gd name="T25" fmla="*/ 2147483647 h 17"/>
                <a:gd name="T26" fmla="*/ 2147483647 w 33"/>
                <a:gd name="T27" fmla="*/ 2147483647 h 17"/>
                <a:gd name="T28" fmla="*/ 2147483647 w 33"/>
                <a:gd name="T29" fmla="*/ 2147483647 h 17"/>
                <a:gd name="T30" fmla="*/ 2147483647 w 33"/>
                <a:gd name="T31" fmla="*/ 2147483647 h 17"/>
                <a:gd name="T32" fmla="*/ 2147483647 w 33"/>
                <a:gd name="T33" fmla="*/ 2147483647 h 17"/>
                <a:gd name="T34" fmla="*/ 0 w 33"/>
                <a:gd name="T35" fmla="*/ 2147483647 h 17"/>
                <a:gd name="T36" fmla="*/ 0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2147483647 w 33"/>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3"/>
                <a:gd name="T76" fmla="*/ 0 h 17"/>
                <a:gd name="T77" fmla="*/ 33 w 33"/>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3" h="17">
                  <a:moveTo>
                    <a:pt x="26" y="6"/>
                  </a:moveTo>
                  <a:lnTo>
                    <a:pt x="26" y="6"/>
                  </a:lnTo>
                  <a:lnTo>
                    <a:pt x="29" y="5"/>
                  </a:lnTo>
                  <a:lnTo>
                    <a:pt x="30" y="4"/>
                  </a:lnTo>
                  <a:lnTo>
                    <a:pt x="33" y="3"/>
                  </a:lnTo>
                  <a:lnTo>
                    <a:pt x="33" y="2"/>
                  </a:lnTo>
                  <a:lnTo>
                    <a:pt x="31" y="0"/>
                  </a:lnTo>
                  <a:lnTo>
                    <a:pt x="28" y="0"/>
                  </a:lnTo>
                  <a:lnTo>
                    <a:pt x="23" y="4"/>
                  </a:lnTo>
                  <a:lnTo>
                    <a:pt x="16" y="6"/>
                  </a:lnTo>
                  <a:lnTo>
                    <a:pt x="9" y="8"/>
                  </a:lnTo>
                  <a:lnTo>
                    <a:pt x="6" y="9"/>
                  </a:lnTo>
                  <a:lnTo>
                    <a:pt x="2" y="11"/>
                  </a:lnTo>
                  <a:lnTo>
                    <a:pt x="1" y="14"/>
                  </a:lnTo>
                  <a:lnTo>
                    <a:pt x="0" y="17"/>
                  </a:lnTo>
                  <a:lnTo>
                    <a:pt x="7" y="16"/>
                  </a:lnTo>
                  <a:lnTo>
                    <a:pt x="15" y="15"/>
                  </a:lnTo>
                  <a:lnTo>
                    <a:pt x="23" y="11"/>
                  </a:lnTo>
                  <a:lnTo>
                    <a:pt x="25" y="9"/>
                  </a:lnTo>
                  <a:lnTo>
                    <a:pt x="2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0" name="Freeform 1009"/>
            <p:cNvSpPr>
              <a:spLocks/>
            </p:cNvSpPr>
            <p:nvPr/>
          </p:nvSpPr>
          <p:spPr bwMode="auto">
            <a:xfrm>
              <a:off x="1189038" y="2797179"/>
              <a:ext cx="1466850" cy="822325"/>
            </a:xfrm>
            <a:custGeom>
              <a:avLst/>
              <a:gdLst>
                <a:gd name="T0" fmla="*/ 2147483647 w 1001"/>
                <a:gd name="T1" fmla="*/ 2147483647 h 518"/>
                <a:gd name="T2" fmla="*/ 2147483647 w 1001"/>
                <a:gd name="T3" fmla="*/ 2147483647 h 518"/>
                <a:gd name="T4" fmla="*/ 2147483647 w 1001"/>
                <a:gd name="T5" fmla="*/ 2147483647 h 518"/>
                <a:gd name="T6" fmla="*/ 2147483647 w 1001"/>
                <a:gd name="T7" fmla="*/ 2147483647 h 518"/>
                <a:gd name="T8" fmla="*/ 2147483647 w 1001"/>
                <a:gd name="T9" fmla="*/ 2147483647 h 518"/>
                <a:gd name="T10" fmla="*/ 2147483647 w 1001"/>
                <a:gd name="T11" fmla="*/ 2147483647 h 518"/>
                <a:gd name="T12" fmla="*/ 2147483647 w 1001"/>
                <a:gd name="T13" fmla="*/ 2147483647 h 518"/>
                <a:gd name="T14" fmla="*/ 2147483647 w 1001"/>
                <a:gd name="T15" fmla="*/ 2147483647 h 518"/>
                <a:gd name="T16" fmla="*/ 2147483647 w 1001"/>
                <a:gd name="T17" fmla="*/ 2147483647 h 518"/>
                <a:gd name="T18" fmla="*/ 2147483647 w 1001"/>
                <a:gd name="T19" fmla="*/ 2147483647 h 518"/>
                <a:gd name="T20" fmla="*/ 2147483647 w 1001"/>
                <a:gd name="T21" fmla="*/ 2147483647 h 518"/>
                <a:gd name="T22" fmla="*/ 2147483647 w 1001"/>
                <a:gd name="T23" fmla="*/ 2147483647 h 518"/>
                <a:gd name="T24" fmla="*/ 2147483647 w 1001"/>
                <a:gd name="T25" fmla="*/ 2147483647 h 518"/>
                <a:gd name="T26" fmla="*/ 2147483647 w 1001"/>
                <a:gd name="T27" fmla="*/ 2147483647 h 518"/>
                <a:gd name="T28" fmla="*/ 2147483647 w 1001"/>
                <a:gd name="T29" fmla="*/ 2147483647 h 518"/>
                <a:gd name="T30" fmla="*/ 2147483647 w 1001"/>
                <a:gd name="T31" fmla="*/ 2147483647 h 518"/>
                <a:gd name="T32" fmla="*/ 2147483647 w 1001"/>
                <a:gd name="T33" fmla="*/ 2147483647 h 518"/>
                <a:gd name="T34" fmla="*/ 2147483647 w 1001"/>
                <a:gd name="T35" fmla="*/ 2147483647 h 518"/>
                <a:gd name="T36" fmla="*/ 2147483647 w 1001"/>
                <a:gd name="T37" fmla="*/ 2147483647 h 518"/>
                <a:gd name="T38" fmla="*/ 2147483647 w 1001"/>
                <a:gd name="T39" fmla="*/ 2147483647 h 518"/>
                <a:gd name="T40" fmla="*/ 2147483647 w 1001"/>
                <a:gd name="T41" fmla="*/ 2147483647 h 518"/>
                <a:gd name="T42" fmla="*/ 2147483647 w 1001"/>
                <a:gd name="T43" fmla="*/ 2147483647 h 518"/>
                <a:gd name="T44" fmla="*/ 2147483647 w 1001"/>
                <a:gd name="T45" fmla="*/ 2147483647 h 518"/>
                <a:gd name="T46" fmla="*/ 2147483647 w 1001"/>
                <a:gd name="T47" fmla="*/ 2147483647 h 518"/>
                <a:gd name="T48" fmla="*/ 2147483647 w 1001"/>
                <a:gd name="T49" fmla="*/ 2147483647 h 518"/>
                <a:gd name="T50" fmla="*/ 2147483647 w 1001"/>
                <a:gd name="T51" fmla="*/ 2147483647 h 518"/>
                <a:gd name="T52" fmla="*/ 2147483647 w 1001"/>
                <a:gd name="T53" fmla="*/ 2147483647 h 518"/>
                <a:gd name="T54" fmla="*/ 2147483647 w 1001"/>
                <a:gd name="T55" fmla="*/ 2147483647 h 518"/>
                <a:gd name="T56" fmla="*/ 2147483647 w 1001"/>
                <a:gd name="T57" fmla="*/ 2147483647 h 518"/>
                <a:gd name="T58" fmla="*/ 2147483647 w 1001"/>
                <a:gd name="T59" fmla="*/ 2147483647 h 518"/>
                <a:gd name="T60" fmla="*/ 2147483647 w 1001"/>
                <a:gd name="T61" fmla="*/ 2147483647 h 518"/>
                <a:gd name="T62" fmla="*/ 2147483647 w 1001"/>
                <a:gd name="T63" fmla="*/ 2147483647 h 518"/>
                <a:gd name="T64" fmla="*/ 2147483647 w 1001"/>
                <a:gd name="T65" fmla="*/ 2147483647 h 518"/>
                <a:gd name="T66" fmla="*/ 2147483647 w 1001"/>
                <a:gd name="T67" fmla="*/ 2147483647 h 518"/>
                <a:gd name="T68" fmla="*/ 2147483647 w 1001"/>
                <a:gd name="T69" fmla="*/ 2147483647 h 518"/>
                <a:gd name="T70" fmla="*/ 2147483647 w 1001"/>
                <a:gd name="T71" fmla="*/ 2147483647 h 518"/>
                <a:gd name="T72" fmla="*/ 2147483647 w 1001"/>
                <a:gd name="T73" fmla="*/ 2147483647 h 518"/>
                <a:gd name="T74" fmla="*/ 2147483647 w 1001"/>
                <a:gd name="T75" fmla="*/ 2147483647 h 518"/>
                <a:gd name="T76" fmla="*/ 2147483647 w 1001"/>
                <a:gd name="T77" fmla="*/ 2147483647 h 518"/>
                <a:gd name="T78" fmla="*/ 2147483647 w 1001"/>
                <a:gd name="T79" fmla="*/ 2147483647 h 518"/>
                <a:gd name="T80" fmla="*/ 2147483647 w 1001"/>
                <a:gd name="T81" fmla="*/ 2147483647 h 518"/>
                <a:gd name="T82" fmla="*/ 2147483647 w 1001"/>
                <a:gd name="T83" fmla="*/ 2147483647 h 518"/>
                <a:gd name="T84" fmla="*/ 2147483647 w 1001"/>
                <a:gd name="T85" fmla="*/ 2147483647 h 518"/>
                <a:gd name="T86" fmla="*/ 2147483647 w 1001"/>
                <a:gd name="T87" fmla="*/ 2147483647 h 518"/>
                <a:gd name="T88" fmla="*/ 2147483647 w 1001"/>
                <a:gd name="T89" fmla="*/ 2147483647 h 518"/>
                <a:gd name="T90" fmla="*/ 2147483647 w 1001"/>
                <a:gd name="T91" fmla="*/ 2147483647 h 518"/>
                <a:gd name="T92" fmla="*/ 2147483647 w 1001"/>
                <a:gd name="T93" fmla="*/ 2147483647 h 518"/>
                <a:gd name="T94" fmla="*/ 2147483647 w 1001"/>
                <a:gd name="T95" fmla="*/ 2147483647 h 518"/>
                <a:gd name="T96" fmla="*/ 2147483647 w 1001"/>
                <a:gd name="T97" fmla="*/ 2147483647 h 518"/>
                <a:gd name="T98" fmla="*/ 2147483647 w 1001"/>
                <a:gd name="T99" fmla="*/ 2147483647 h 518"/>
                <a:gd name="T100" fmla="*/ 2147483647 w 1001"/>
                <a:gd name="T101" fmla="*/ 2147483647 h 518"/>
                <a:gd name="T102" fmla="*/ 2147483647 w 1001"/>
                <a:gd name="T103" fmla="*/ 2147483647 h 518"/>
                <a:gd name="T104" fmla="*/ 2147483647 w 1001"/>
                <a:gd name="T105" fmla="*/ 2147483647 h 518"/>
                <a:gd name="T106" fmla="*/ 2147483647 w 1001"/>
                <a:gd name="T107" fmla="*/ 2147483647 h 518"/>
                <a:gd name="T108" fmla="*/ 2147483647 w 1001"/>
                <a:gd name="T109" fmla="*/ 2147483647 h 518"/>
                <a:gd name="T110" fmla="*/ 2147483647 w 1001"/>
                <a:gd name="T111" fmla="*/ 2147483647 h 518"/>
                <a:gd name="T112" fmla="*/ 2147483647 w 1001"/>
                <a:gd name="T113" fmla="*/ 2147483647 h 518"/>
                <a:gd name="T114" fmla="*/ 2147483647 w 1001"/>
                <a:gd name="T115" fmla="*/ 2147483647 h 518"/>
                <a:gd name="T116" fmla="*/ 2147483647 w 1001"/>
                <a:gd name="T117" fmla="*/ 2147483647 h 5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01"/>
                <a:gd name="T178" fmla="*/ 0 h 518"/>
                <a:gd name="T179" fmla="*/ 1001 w 1001"/>
                <a:gd name="T180" fmla="*/ 518 h 5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01" h="518">
                  <a:moveTo>
                    <a:pt x="474" y="501"/>
                  </a:moveTo>
                  <a:lnTo>
                    <a:pt x="465" y="498"/>
                  </a:lnTo>
                  <a:lnTo>
                    <a:pt x="456" y="495"/>
                  </a:lnTo>
                  <a:lnTo>
                    <a:pt x="450" y="494"/>
                  </a:lnTo>
                  <a:lnTo>
                    <a:pt x="444" y="493"/>
                  </a:lnTo>
                  <a:lnTo>
                    <a:pt x="441" y="492"/>
                  </a:lnTo>
                  <a:lnTo>
                    <a:pt x="439" y="488"/>
                  </a:lnTo>
                  <a:lnTo>
                    <a:pt x="437" y="486"/>
                  </a:lnTo>
                  <a:lnTo>
                    <a:pt x="432" y="473"/>
                  </a:lnTo>
                  <a:lnTo>
                    <a:pt x="430" y="464"/>
                  </a:lnTo>
                  <a:lnTo>
                    <a:pt x="426" y="461"/>
                  </a:lnTo>
                  <a:lnTo>
                    <a:pt x="423" y="457"/>
                  </a:lnTo>
                  <a:lnTo>
                    <a:pt x="421" y="451"/>
                  </a:lnTo>
                  <a:lnTo>
                    <a:pt x="418" y="446"/>
                  </a:lnTo>
                  <a:lnTo>
                    <a:pt x="418" y="441"/>
                  </a:lnTo>
                  <a:lnTo>
                    <a:pt x="417" y="436"/>
                  </a:lnTo>
                  <a:lnTo>
                    <a:pt x="413" y="431"/>
                  </a:lnTo>
                  <a:lnTo>
                    <a:pt x="409" y="429"/>
                  </a:lnTo>
                  <a:lnTo>
                    <a:pt x="407" y="428"/>
                  </a:lnTo>
                  <a:lnTo>
                    <a:pt x="399" y="425"/>
                  </a:lnTo>
                  <a:lnTo>
                    <a:pt x="395" y="424"/>
                  </a:lnTo>
                  <a:lnTo>
                    <a:pt x="393" y="423"/>
                  </a:lnTo>
                  <a:lnTo>
                    <a:pt x="390" y="422"/>
                  </a:lnTo>
                  <a:lnTo>
                    <a:pt x="388" y="422"/>
                  </a:lnTo>
                  <a:lnTo>
                    <a:pt x="384" y="423"/>
                  </a:lnTo>
                  <a:lnTo>
                    <a:pt x="381" y="425"/>
                  </a:lnTo>
                  <a:lnTo>
                    <a:pt x="379" y="430"/>
                  </a:lnTo>
                  <a:lnTo>
                    <a:pt x="376" y="434"/>
                  </a:lnTo>
                  <a:lnTo>
                    <a:pt x="374" y="435"/>
                  </a:lnTo>
                  <a:lnTo>
                    <a:pt x="371" y="435"/>
                  </a:lnTo>
                  <a:lnTo>
                    <a:pt x="367" y="434"/>
                  </a:lnTo>
                  <a:lnTo>
                    <a:pt x="364" y="430"/>
                  </a:lnTo>
                  <a:lnTo>
                    <a:pt x="352" y="419"/>
                  </a:lnTo>
                  <a:lnTo>
                    <a:pt x="341" y="404"/>
                  </a:lnTo>
                  <a:lnTo>
                    <a:pt x="326" y="384"/>
                  </a:lnTo>
                  <a:lnTo>
                    <a:pt x="323" y="380"/>
                  </a:lnTo>
                  <a:lnTo>
                    <a:pt x="322" y="379"/>
                  </a:lnTo>
                  <a:lnTo>
                    <a:pt x="319" y="379"/>
                  </a:lnTo>
                  <a:lnTo>
                    <a:pt x="279" y="380"/>
                  </a:lnTo>
                  <a:lnTo>
                    <a:pt x="277" y="381"/>
                  </a:lnTo>
                  <a:lnTo>
                    <a:pt x="276" y="383"/>
                  </a:lnTo>
                  <a:lnTo>
                    <a:pt x="275" y="385"/>
                  </a:lnTo>
                  <a:lnTo>
                    <a:pt x="275" y="389"/>
                  </a:lnTo>
                  <a:lnTo>
                    <a:pt x="273" y="391"/>
                  </a:lnTo>
                  <a:lnTo>
                    <a:pt x="272" y="391"/>
                  </a:lnTo>
                  <a:lnTo>
                    <a:pt x="270" y="392"/>
                  </a:lnTo>
                  <a:lnTo>
                    <a:pt x="259" y="391"/>
                  </a:lnTo>
                  <a:lnTo>
                    <a:pt x="251" y="392"/>
                  </a:lnTo>
                  <a:lnTo>
                    <a:pt x="248" y="392"/>
                  </a:lnTo>
                  <a:lnTo>
                    <a:pt x="243" y="392"/>
                  </a:lnTo>
                  <a:lnTo>
                    <a:pt x="233" y="389"/>
                  </a:lnTo>
                  <a:lnTo>
                    <a:pt x="223" y="385"/>
                  </a:lnTo>
                  <a:lnTo>
                    <a:pt x="207" y="379"/>
                  </a:lnTo>
                  <a:lnTo>
                    <a:pt x="191" y="374"/>
                  </a:lnTo>
                  <a:lnTo>
                    <a:pt x="181" y="373"/>
                  </a:lnTo>
                  <a:lnTo>
                    <a:pt x="177" y="372"/>
                  </a:lnTo>
                  <a:lnTo>
                    <a:pt x="176" y="370"/>
                  </a:lnTo>
                  <a:lnTo>
                    <a:pt x="176" y="368"/>
                  </a:lnTo>
                  <a:lnTo>
                    <a:pt x="177" y="367"/>
                  </a:lnTo>
                  <a:lnTo>
                    <a:pt x="179" y="365"/>
                  </a:lnTo>
                  <a:lnTo>
                    <a:pt x="179" y="363"/>
                  </a:lnTo>
                  <a:lnTo>
                    <a:pt x="177" y="361"/>
                  </a:lnTo>
                  <a:lnTo>
                    <a:pt x="174" y="360"/>
                  </a:lnTo>
                  <a:lnTo>
                    <a:pt x="134" y="361"/>
                  </a:lnTo>
                  <a:lnTo>
                    <a:pt x="129" y="353"/>
                  </a:lnTo>
                  <a:lnTo>
                    <a:pt x="124" y="346"/>
                  </a:lnTo>
                  <a:lnTo>
                    <a:pt x="116" y="341"/>
                  </a:lnTo>
                  <a:lnTo>
                    <a:pt x="112" y="340"/>
                  </a:lnTo>
                  <a:lnTo>
                    <a:pt x="107" y="339"/>
                  </a:lnTo>
                  <a:lnTo>
                    <a:pt x="103" y="339"/>
                  </a:lnTo>
                  <a:lnTo>
                    <a:pt x="99" y="338"/>
                  </a:lnTo>
                  <a:lnTo>
                    <a:pt x="87" y="339"/>
                  </a:lnTo>
                  <a:lnTo>
                    <a:pt x="84" y="339"/>
                  </a:lnTo>
                  <a:lnTo>
                    <a:pt x="82" y="338"/>
                  </a:lnTo>
                  <a:lnTo>
                    <a:pt x="79" y="335"/>
                  </a:lnTo>
                  <a:lnTo>
                    <a:pt x="78" y="333"/>
                  </a:lnTo>
                  <a:lnTo>
                    <a:pt x="75" y="327"/>
                  </a:lnTo>
                  <a:lnTo>
                    <a:pt x="72" y="321"/>
                  </a:lnTo>
                  <a:lnTo>
                    <a:pt x="69" y="320"/>
                  </a:lnTo>
                  <a:lnTo>
                    <a:pt x="68" y="319"/>
                  </a:lnTo>
                  <a:lnTo>
                    <a:pt x="66" y="317"/>
                  </a:lnTo>
                  <a:lnTo>
                    <a:pt x="64" y="310"/>
                  </a:lnTo>
                  <a:lnTo>
                    <a:pt x="60" y="303"/>
                  </a:lnTo>
                  <a:lnTo>
                    <a:pt x="55" y="298"/>
                  </a:lnTo>
                  <a:lnTo>
                    <a:pt x="51" y="293"/>
                  </a:lnTo>
                  <a:lnTo>
                    <a:pt x="45" y="280"/>
                  </a:lnTo>
                  <a:lnTo>
                    <a:pt x="41" y="271"/>
                  </a:lnTo>
                  <a:lnTo>
                    <a:pt x="40" y="266"/>
                  </a:lnTo>
                  <a:lnTo>
                    <a:pt x="39" y="264"/>
                  </a:lnTo>
                  <a:lnTo>
                    <a:pt x="41" y="258"/>
                  </a:lnTo>
                  <a:lnTo>
                    <a:pt x="41" y="255"/>
                  </a:lnTo>
                  <a:lnTo>
                    <a:pt x="41" y="251"/>
                  </a:lnTo>
                  <a:lnTo>
                    <a:pt x="39" y="252"/>
                  </a:lnTo>
                  <a:lnTo>
                    <a:pt x="36" y="252"/>
                  </a:lnTo>
                  <a:lnTo>
                    <a:pt x="33" y="251"/>
                  </a:lnTo>
                  <a:lnTo>
                    <a:pt x="31" y="250"/>
                  </a:lnTo>
                  <a:lnTo>
                    <a:pt x="27" y="245"/>
                  </a:lnTo>
                  <a:lnTo>
                    <a:pt x="23" y="239"/>
                  </a:lnTo>
                  <a:lnTo>
                    <a:pt x="21" y="237"/>
                  </a:lnTo>
                  <a:lnTo>
                    <a:pt x="19" y="232"/>
                  </a:lnTo>
                  <a:lnTo>
                    <a:pt x="16" y="223"/>
                  </a:lnTo>
                  <a:lnTo>
                    <a:pt x="13" y="213"/>
                  </a:lnTo>
                  <a:lnTo>
                    <a:pt x="11" y="204"/>
                  </a:lnTo>
                  <a:lnTo>
                    <a:pt x="8" y="200"/>
                  </a:lnTo>
                  <a:lnTo>
                    <a:pt x="7" y="198"/>
                  </a:lnTo>
                  <a:lnTo>
                    <a:pt x="7" y="193"/>
                  </a:lnTo>
                  <a:lnTo>
                    <a:pt x="8" y="189"/>
                  </a:lnTo>
                  <a:lnTo>
                    <a:pt x="9" y="187"/>
                  </a:lnTo>
                  <a:lnTo>
                    <a:pt x="11" y="183"/>
                  </a:lnTo>
                  <a:lnTo>
                    <a:pt x="11" y="175"/>
                  </a:lnTo>
                  <a:lnTo>
                    <a:pt x="9" y="170"/>
                  </a:lnTo>
                  <a:lnTo>
                    <a:pt x="8" y="167"/>
                  </a:lnTo>
                  <a:lnTo>
                    <a:pt x="8" y="165"/>
                  </a:lnTo>
                  <a:lnTo>
                    <a:pt x="8" y="162"/>
                  </a:lnTo>
                  <a:lnTo>
                    <a:pt x="8" y="160"/>
                  </a:lnTo>
                  <a:lnTo>
                    <a:pt x="8" y="157"/>
                  </a:lnTo>
                  <a:lnTo>
                    <a:pt x="7" y="154"/>
                  </a:lnTo>
                  <a:lnTo>
                    <a:pt x="6" y="149"/>
                  </a:lnTo>
                  <a:lnTo>
                    <a:pt x="7" y="141"/>
                  </a:lnTo>
                  <a:lnTo>
                    <a:pt x="9" y="133"/>
                  </a:lnTo>
                  <a:lnTo>
                    <a:pt x="12" y="124"/>
                  </a:lnTo>
                  <a:lnTo>
                    <a:pt x="13" y="119"/>
                  </a:lnTo>
                  <a:lnTo>
                    <a:pt x="12" y="116"/>
                  </a:lnTo>
                  <a:lnTo>
                    <a:pt x="12" y="114"/>
                  </a:lnTo>
                  <a:lnTo>
                    <a:pt x="12" y="111"/>
                  </a:lnTo>
                  <a:lnTo>
                    <a:pt x="14" y="108"/>
                  </a:lnTo>
                  <a:lnTo>
                    <a:pt x="14" y="103"/>
                  </a:lnTo>
                  <a:lnTo>
                    <a:pt x="14" y="99"/>
                  </a:lnTo>
                  <a:lnTo>
                    <a:pt x="13" y="95"/>
                  </a:lnTo>
                  <a:lnTo>
                    <a:pt x="14" y="91"/>
                  </a:lnTo>
                  <a:lnTo>
                    <a:pt x="16" y="84"/>
                  </a:lnTo>
                  <a:lnTo>
                    <a:pt x="16" y="78"/>
                  </a:lnTo>
                  <a:lnTo>
                    <a:pt x="16" y="72"/>
                  </a:lnTo>
                  <a:lnTo>
                    <a:pt x="13" y="66"/>
                  </a:lnTo>
                  <a:lnTo>
                    <a:pt x="13" y="63"/>
                  </a:lnTo>
                  <a:lnTo>
                    <a:pt x="13" y="59"/>
                  </a:lnTo>
                  <a:lnTo>
                    <a:pt x="13" y="48"/>
                  </a:lnTo>
                  <a:lnTo>
                    <a:pt x="12" y="44"/>
                  </a:lnTo>
                  <a:lnTo>
                    <a:pt x="9" y="39"/>
                  </a:lnTo>
                  <a:lnTo>
                    <a:pt x="3" y="31"/>
                  </a:lnTo>
                  <a:lnTo>
                    <a:pt x="0" y="27"/>
                  </a:lnTo>
                  <a:lnTo>
                    <a:pt x="0" y="25"/>
                  </a:lnTo>
                  <a:lnTo>
                    <a:pt x="2" y="23"/>
                  </a:lnTo>
                  <a:lnTo>
                    <a:pt x="7" y="22"/>
                  </a:lnTo>
                  <a:lnTo>
                    <a:pt x="13" y="22"/>
                  </a:lnTo>
                  <a:lnTo>
                    <a:pt x="25" y="25"/>
                  </a:lnTo>
                  <a:lnTo>
                    <a:pt x="27" y="23"/>
                  </a:lnTo>
                  <a:lnTo>
                    <a:pt x="28" y="22"/>
                  </a:lnTo>
                  <a:lnTo>
                    <a:pt x="31" y="22"/>
                  </a:lnTo>
                  <a:lnTo>
                    <a:pt x="32" y="23"/>
                  </a:lnTo>
                  <a:lnTo>
                    <a:pt x="39" y="35"/>
                  </a:lnTo>
                  <a:lnTo>
                    <a:pt x="42" y="40"/>
                  </a:lnTo>
                  <a:lnTo>
                    <a:pt x="44" y="40"/>
                  </a:lnTo>
                  <a:lnTo>
                    <a:pt x="46" y="40"/>
                  </a:lnTo>
                  <a:lnTo>
                    <a:pt x="47" y="36"/>
                  </a:lnTo>
                  <a:lnTo>
                    <a:pt x="47" y="32"/>
                  </a:lnTo>
                  <a:lnTo>
                    <a:pt x="45" y="21"/>
                  </a:lnTo>
                  <a:lnTo>
                    <a:pt x="41" y="10"/>
                  </a:lnTo>
                  <a:lnTo>
                    <a:pt x="39" y="4"/>
                  </a:lnTo>
                  <a:lnTo>
                    <a:pt x="517" y="0"/>
                  </a:lnTo>
                  <a:lnTo>
                    <a:pt x="527" y="8"/>
                  </a:lnTo>
                  <a:lnTo>
                    <a:pt x="535" y="13"/>
                  </a:lnTo>
                  <a:lnTo>
                    <a:pt x="538" y="14"/>
                  </a:lnTo>
                  <a:lnTo>
                    <a:pt x="540" y="15"/>
                  </a:lnTo>
                  <a:lnTo>
                    <a:pt x="554" y="12"/>
                  </a:lnTo>
                  <a:lnTo>
                    <a:pt x="560" y="10"/>
                  </a:lnTo>
                  <a:lnTo>
                    <a:pt x="563" y="10"/>
                  </a:lnTo>
                  <a:lnTo>
                    <a:pt x="566" y="12"/>
                  </a:lnTo>
                  <a:lnTo>
                    <a:pt x="569" y="15"/>
                  </a:lnTo>
                  <a:lnTo>
                    <a:pt x="573" y="18"/>
                  </a:lnTo>
                  <a:lnTo>
                    <a:pt x="577" y="18"/>
                  </a:lnTo>
                  <a:lnTo>
                    <a:pt x="586" y="18"/>
                  </a:lnTo>
                  <a:lnTo>
                    <a:pt x="596" y="18"/>
                  </a:lnTo>
                  <a:lnTo>
                    <a:pt x="605" y="20"/>
                  </a:lnTo>
                  <a:lnTo>
                    <a:pt x="615" y="22"/>
                  </a:lnTo>
                  <a:lnTo>
                    <a:pt x="618" y="22"/>
                  </a:lnTo>
                  <a:lnTo>
                    <a:pt x="619" y="21"/>
                  </a:lnTo>
                  <a:lnTo>
                    <a:pt x="621" y="20"/>
                  </a:lnTo>
                  <a:lnTo>
                    <a:pt x="624" y="18"/>
                  </a:lnTo>
                  <a:lnTo>
                    <a:pt x="632" y="18"/>
                  </a:lnTo>
                  <a:lnTo>
                    <a:pt x="635" y="19"/>
                  </a:lnTo>
                  <a:lnTo>
                    <a:pt x="638" y="20"/>
                  </a:lnTo>
                  <a:lnTo>
                    <a:pt x="652" y="31"/>
                  </a:lnTo>
                  <a:lnTo>
                    <a:pt x="667" y="40"/>
                  </a:lnTo>
                  <a:lnTo>
                    <a:pt x="682" y="47"/>
                  </a:lnTo>
                  <a:lnTo>
                    <a:pt x="699" y="53"/>
                  </a:lnTo>
                  <a:lnTo>
                    <a:pt x="701" y="55"/>
                  </a:lnTo>
                  <a:lnTo>
                    <a:pt x="704" y="59"/>
                  </a:lnTo>
                  <a:lnTo>
                    <a:pt x="709" y="71"/>
                  </a:lnTo>
                  <a:lnTo>
                    <a:pt x="712" y="76"/>
                  </a:lnTo>
                  <a:lnTo>
                    <a:pt x="715" y="80"/>
                  </a:lnTo>
                  <a:lnTo>
                    <a:pt x="720" y="84"/>
                  </a:lnTo>
                  <a:lnTo>
                    <a:pt x="724" y="89"/>
                  </a:lnTo>
                  <a:lnTo>
                    <a:pt x="733" y="101"/>
                  </a:lnTo>
                  <a:lnTo>
                    <a:pt x="738" y="112"/>
                  </a:lnTo>
                  <a:lnTo>
                    <a:pt x="742" y="124"/>
                  </a:lnTo>
                  <a:lnTo>
                    <a:pt x="742" y="129"/>
                  </a:lnTo>
                  <a:lnTo>
                    <a:pt x="741" y="133"/>
                  </a:lnTo>
                  <a:lnTo>
                    <a:pt x="736" y="141"/>
                  </a:lnTo>
                  <a:lnTo>
                    <a:pt x="724" y="155"/>
                  </a:lnTo>
                  <a:lnTo>
                    <a:pt x="724" y="156"/>
                  </a:lnTo>
                  <a:lnTo>
                    <a:pt x="724" y="157"/>
                  </a:lnTo>
                  <a:lnTo>
                    <a:pt x="727" y="160"/>
                  </a:lnTo>
                  <a:lnTo>
                    <a:pt x="733" y="162"/>
                  </a:lnTo>
                  <a:lnTo>
                    <a:pt x="741" y="162"/>
                  </a:lnTo>
                  <a:lnTo>
                    <a:pt x="750" y="161"/>
                  </a:lnTo>
                  <a:lnTo>
                    <a:pt x="760" y="159"/>
                  </a:lnTo>
                  <a:lnTo>
                    <a:pt x="779" y="153"/>
                  </a:lnTo>
                  <a:lnTo>
                    <a:pt x="797" y="144"/>
                  </a:lnTo>
                  <a:lnTo>
                    <a:pt x="799" y="142"/>
                  </a:lnTo>
                  <a:lnTo>
                    <a:pt x="802" y="138"/>
                  </a:lnTo>
                  <a:lnTo>
                    <a:pt x="803" y="136"/>
                  </a:lnTo>
                  <a:lnTo>
                    <a:pt x="807" y="134"/>
                  </a:lnTo>
                  <a:lnTo>
                    <a:pt x="811" y="131"/>
                  </a:lnTo>
                  <a:lnTo>
                    <a:pt x="814" y="129"/>
                  </a:lnTo>
                  <a:lnTo>
                    <a:pt x="822" y="124"/>
                  </a:lnTo>
                  <a:lnTo>
                    <a:pt x="825" y="124"/>
                  </a:lnTo>
                  <a:lnTo>
                    <a:pt x="826" y="124"/>
                  </a:lnTo>
                  <a:lnTo>
                    <a:pt x="830" y="125"/>
                  </a:lnTo>
                  <a:lnTo>
                    <a:pt x="833" y="124"/>
                  </a:lnTo>
                  <a:lnTo>
                    <a:pt x="839" y="123"/>
                  </a:lnTo>
                  <a:lnTo>
                    <a:pt x="842" y="122"/>
                  </a:lnTo>
                  <a:lnTo>
                    <a:pt x="845" y="118"/>
                  </a:lnTo>
                  <a:lnTo>
                    <a:pt x="858" y="103"/>
                  </a:lnTo>
                  <a:lnTo>
                    <a:pt x="861" y="99"/>
                  </a:lnTo>
                  <a:lnTo>
                    <a:pt x="865" y="96"/>
                  </a:lnTo>
                  <a:lnTo>
                    <a:pt x="870" y="95"/>
                  </a:lnTo>
                  <a:lnTo>
                    <a:pt x="875" y="93"/>
                  </a:lnTo>
                  <a:lnTo>
                    <a:pt x="887" y="95"/>
                  </a:lnTo>
                  <a:lnTo>
                    <a:pt x="898" y="96"/>
                  </a:lnTo>
                  <a:lnTo>
                    <a:pt x="908" y="96"/>
                  </a:lnTo>
                  <a:lnTo>
                    <a:pt x="913" y="95"/>
                  </a:lnTo>
                  <a:lnTo>
                    <a:pt x="919" y="93"/>
                  </a:lnTo>
                  <a:lnTo>
                    <a:pt x="929" y="86"/>
                  </a:lnTo>
                  <a:lnTo>
                    <a:pt x="938" y="78"/>
                  </a:lnTo>
                  <a:lnTo>
                    <a:pt x="945" y="68"/>
                  </a:lnTo>
                  <a:lnTo>
                    <a:pt x="952" y="60"/>
                  </a:lnTo>
                  <a:lnTo>
                    <a:pt x="957" y="53"/>
                  </a:lnTo>
                  <a:lnTo>
                    <a:pt x="959" y="50"/>
                  </a:lnTo>
                  <a:lnTo>
                    <a:pt x="962" y="47"/>
                  </a:lnTo>
                  <a:lnTo>
                    <a:pt x="968" y="45"/>
                  </a:lnTo>
                  <a:lnTo>
                    <a:pt x="974" y="45"/>
                  </a:lnTo>
                  <a:lnTo>
                    <a:pt x="981" y="45"/>
                  </a:lnTo>
                  <a:lnTo>
                    <a:pt x="987" y="45"/>
                  </a:lnTo>
                  <a:lnTo>
                    <a:pt x="987" y="52"/>
                  </a:lnTo>
                  <a:lnTo>
                    <a:pt x="988" y="60"/>
                  </a:lnTo>
                  <a:lnTo>
                    <a:pt x="991" y="70"/>
                  </a:lnTo>
                  <a:lnTo>
                    <a:pt x="993" y="79"/>
                  </a:lnTo>
                  <a:lnTo>
                    <a:pt x="996" y="86"/>
                  </a:lnTo>
                  <a:lnTo>
                    <a:pt x="999" y="89"/>
                  </a:lnTo>
                  <a:lnTo>
                    <a:pt x="1001" y="91"/>
                  </a:lnTo>
                  <a:lnTo>
                    <a:pt x="1000" y="93"/>
                  </a:lnTo>
                  <a:lnTo>
                    <a:pt x="1000" y="96"/>
                  </a:lnTo>
                  <a:lnTo>
                    <a:pt x="1000" y="101"/>
                  </a:lnTo>
                  <a:lnTo>
                    <a:pt x="999" y="103"/>
                  </a:lnTo>
                  <a:lnTo>
                    <a:pt x="996" y="105"/>
                  </a:lnTo>
                  <a:lnTo>
                    <a:pt x="990" y="108"/>
                  </a:lnTo>
                  <a:lnTo>
                    <a:pt x="983" y="108"/>
                  </a:lnTo>
                  <a:lnTo>
                    <a:pt x="976" y="108"/>
                  </a:lnTo>
                  <a:lnTo>
                    <a:pt x="973" y="106"/>
                  </a:lnTo>
                  <a:lnTo>
                    <a:pt x="972" y="106"/>
                  </a:lnTo>
                  <a:lnTo>
                    <a:pt x="967" y="108"/>
                  </a:lnTo>
                  <a:lnTo>
                    <a:pt x="963" y="110"/>
                  </a:lnTo>
                  <a:lnTo>
                    <a:pt x="960" y="115"/>
                  </a:lnTo>
                  <a:lnTo>
                    <a:pt x="958" y="118"/>
                  </a:lnTo>
                  <a:lnTo>
                    <a:pt x="957" y="119"/>
                  </a:lnTo>
                  <a:lnTo>
                    <a:pt x="955" y="121"/>
                  </a:lnTo>
                  <a:lnTo>
                    <a:pt x="953" y="121"/>
                  </a:lnTo>
                  <a:lnTo>
                    <a:pt x="952" y="122"/>
                  </a:lnTo>
                  <a:lnTo>
                    <a:pt x="946" y="129"/>
                  </a:lnTo>
                  <a:lnTo>
                    <a:pt x="941" y="135"/>
                  </a:lnTo>
                  <a:lnTo>
                    <a:pt x="939" y="138"/>
                  </a:lnTo>
                  <a:lnTo>
                    <a:pt x="938" y="143"/>
                  </a:lnTo>
                  <a:lnTo>
                    <a:pt x="938" y="151"/>
                  </a:lnTo>
                  <a:lnTo>
                    <a:pt x="939" y="161"/>
                  </a:lnTo>
                  <a:lnTo>
                    <a:pt x="943" y="169"/>
                  </a:lnTo>
                  <a:lnTo>
                    <a:pt x="944" y="170"/>
                  </a:lnTo>
                  <a:lnTo>
                    <a:pt x="946" y="170"/>
                  </a:lnTo>
                  <a:lnTo>
                    <a:pt x="950" y="168"/>
                  </a:lnTo>
                  <a:lnTo>
                    <a:pt x="953" y="167"/>
                  </a:lnTo>
                  <a:lnTo>
                    <a:pt x="953" y="168"/>
                  </a:lnTo>
                  <a:lnTo>
                    <a:pt x="952" y="170"/>
                  </a:lnTo>
                  <a:lnTo>
                    <a:pt x="949" y="173"/>
                  </a:lnTo>
                  <a:lnTo>
                    <a:pt x="940" y="178"/>
                  </a:lnTo>
                  <a:lnTo>
                    <a:pt x="936" y="179"/>
                  </a:lnTo>
                  <a:lnTo>
                    <a:pt x="932" y="178"/>
                  </a:lnTo>
                  <a:lnTo>
                    <a:pt x="925" y="174"/>
                  </a:lnTo>
                  <a:lnTo>
                    <a:pt x="921" y="174"/>
                  </a:lnTo>
                  <a:lnTo>
                    <a:pt x="908" y="179"/>
                  </a:lnTo>
                  <a:lnTo>
                    <a:pt x="896" y="182"/>
                  </a:lnTo>
                  <a:lnTo>
                    <a:pt x="889" y="185"/>
                  </a:lnTo>
                  <a:lnTo>
                    <a:pt x="886" y="187"/>
                  </a:lnTo>
                  <a:lnTo>
                    <a:pt x="882" y="192"/>
                  </a:lnTo>
                  <a:lnTo>
                    <a:pt x="878" y="197"/>
                  </a:lnTo>
                  <a:lnTo>
                    <a:pt x="877" y="201"/>
                  </a:lnTo>
                  <a:lnTo>
                    <a:pt x="877" y="205"/>
                  </a:lnTo>
                  <a:lnTo>
                    <a:pt x="880" y="212"/>
                  </a:lnTo>
                  <a:lnTo>
                    <a:pt x="882" y="213"/>
                  </a:lnTo>
                  <a:lnTo>
                    <a:pt x="880" y="214"/>
                  </a:lnTo>
                  <a:lnTo>
                    <a:pt x="879" y="218"/>
                  </a:lnTo>
                  <a:lnTo>
                    <a:pt x="878" y="223"/>
                  </a:lnTo>
                  <a:lnTo>
                    <a:pt x="877" y="225"/>
                  </a:lnTo>
                  <a:lnTo>
                    <a:pt x="875" y="226"/>
                  </a:lnTo>
                  <a:lnTo>
                    <a:pt x="872" y="226"/>
                  </a:lnTo>
                  <a:lnTo>
                    <a:pt x="868" y="225"/>
                  </a:lnTo>
                  <a:lnTo>
                    <a:pt x="864" y="221"/>
                  </a:lnTo>
                  <a:lnTo>
                    <a:pt x="861" y="218"/>
                  </a:lnTo>
                  <a:lnTo>
                    <a:pt x="861" y="217"/>
                  </a:lnTo>
                  <a:lnTo>
                    <a:pt x="860" y="217"/>
                  </a:lnTo>
                  <a:lnTo>
                    <a:pt x="860" y="224"/>
                  </a:lnTo>
                  <a:lnTo>
                    <a:pt x="861" y="230"/>
                  </a:lnTo>
                  <a:lnTo>
                    <a:pt x="863" y="236"/>
                  </a:lnTo>
                  <a:lnTo>
                    <a:pt x="864" y="242"/>
                  </a:lnTo>
                  <a:lnTo>
                    <a:pt x="864" y="245"/>
                  </a:lnTo>
                  <a:lnTo>
                    <a:pt x="864" y="248"/>
                  </a:lnTo>
                  <a:lnTo>
                    <a:pt x="860" y="253"/>
                  </a:lnTo>
                  <a:lnTo>
                    <a:pt x="858" y="258"/>
                  </a:lnTo>
                  <a:lnTo>
                    <a:pt x="854" y="268"/>
                  </a:lnTo>
                  <a:lnTo>
                    <a:pt x="851" y="268"/>
                  </a:lnTo>
                  <a:lnTo>
                    <a:pt x="849" y="268"/>
                  </a:lnTo>
                  <a:lnTo>
                    <a:pt x="849" y="265"/>
                  </a:lnTo>
                  <a:lnTo>
                    <a:pt x="847" y="250"/>
                  </a:lnTo>
                  <a:lnTo>
                    <a:pt x="845" y="243"/>
                  </a:lnTo>
                  <a:lnTo>
                    <a:pt x="842" y="240"/>
                  </a:lnTo>
                  <a:lnTo>
                    <a:pt x="840" y="237"/>
                  </a:lnTo>
                  <a:lnTo>
                    <a:pt x="839" y="236"/>
                  </a:lnTo>
                  <a:lnTo>
                    <a:pt x="839" y="233"/>
                  </a:lnTo>
                  <a:lnTo>
                    <a:pt x="840" y="227"/>
                  </a:lnTo>
                  <a:lnTo>
                    <a:pt x="840" y="226"/>
                  </a:lnTo>
                  <a:lnTo>
                    <a:pt x="839" y="226"/>
                  </a:lnTo>
                  <a:lnTo>
                    <a:pt x="836" y="226"/>
                  </a:lnTo>
                  <a:lnTo>
                    <a:pt x="833" y="226"/>
                  </a:lnTo>
                  <a:lnTo>
                    <a:pt x="832" y="229"/>
                  </a:lnTo>
                  <a:lnTo>
                    <a:pt x="833" y="230"/>
                  </a:lnTo>
                  <a:lnTo>
                    <a:pt x="835" y="234"/>
                  </a:lnTo>
                  <a:lnTo>
                    <a:pt x="835" y="238"/>
                  </a:lnTo>
                  <a:lnTo>
                    <a:pt x="835" y="243"/>
                  </a:lnTo>
                  <a:lnTo>
                    <a:pt x="836" y="246"/>
                  </a:lnTo>
                  <a:lnTo>
                    <a:pt x="840" y="251"/>
                  </a:lnTo>
                  <a:lnTo>
                    <a:pt x="841" y="255"/>
                  </a:lnTo>
                  <a:lnTo>
                    <a:pt x="841" y="257"/>
                  </a:lnTo>
                  <a:lnTo>
                    <a:pt x="840" y="263"/>
                  </a:lnTo>
                  <a:lnTo>
                    <a:pt x="839" y="265"/>
                  </a:lnTo>
                  <a:lnTo>
                    <a:pt x="839" y="269"/>
                  </a:lnTo>
                  <a:lnTo>
                    <a:pt x="841" y="274"/>
                  </a:lnTo>
                  <a:lnTo>
                    <a:pt x="845" y="278"/>
                  </a:lnTo>
                  <a:lnTo>
                    <a:pt x="847" y="284"/>
                  </a:lnTo>
                  <a:lnTo>
                    <a:pt x="849" y="287"/>
                  </a:lnTo>
                  <a:lnTo>
                    <a:pt x="847" y="290"/>
                  </a:lnTo>
                  <a:lnTo>
                    <a:pt x="846" y="293"/>
                  </a:lnTo>
                  <a:lnTo>
                    <a:pt x="842" y="293"/>
                  </a:lnTo>
                  <a:lnTo>
                    <a:pt x="840" y="293"/>
                  </a:lnTo>
                  <a:lnTo>
                    <a:pt x="839" y="294"/>
                  </a:lnTo>
                  <a:lnTo>
                    <a:pt x="837" y="296"/>
                  </a:lnTo>
                  <a:lnTo>
                    <a:pt x="839" y="297"/>
                  </a:lnTo>
                  <a:lnTo>
                    <a:pt x="840" y="298"/>
                  </a:lnTo>
                  <a:lnTo>
                    <a:pt x="842" y="298"/>
                  </a:lnTo>
                  <a:lnTo>
                    <a:pt x="847" y="298"/>
                  </a:lnTo>
                  <a:lnTo>
                    <a:pt x="852" y="297"/>
                  </a:lnTo>
                  <a:lnTo>
                    <a:pt x="854" y="298"/>
                  </a:lnTo>
                  <a:lnTo>
                    <a:pt x="854" y="301"/>
                  </a:lnTo>
                  <a:lnTo>
                    <a:pt x="852" y="306"/>
                  </a:lnTo>
                  <a:lnTo>
                    <a:pt x="851" y="307"/>
                  </a:lnTo>
                  <a:lnTo>
                    <a:pt x="849" y="308"/>
                  </a:lnTo>
                  <a:lnTo>
                    <a:pt x="845" y="308"/>
                  </a:lnTo>
                  <a:lnTo>
                    <a:pt x="841" y="308"/>
                  </a:lnTo>
                  <a:lnTo>
                    <a:pt x="836" y="308"/>
                  </a:lnTo>
                  <a:lnTo>
                    <a:pt x="836" y="309"/>
                  </a:lnTo>
                  <a:lnTo>
                    <a:pt x="836" y="310"/>
                  </a:lnTo>
                  <a:lnTo>
                    <a:pt x="837" y="313"/>
                  </a:lnTo>
                  <a:lnTo>
                    <a:pt x="840" y="315"/>
                  </a:lnTo>
                  <a:lnTo>
                    <a:pt x="842" y="316"/>
                  </a:lnTo>
                  <a:lnTo>
                    <a:pt x="844" y="319"/>
                  </a:lnTo>
                  <a:lnTo>
                    <a:pt x="844" y="321"/>
                  </a:lnTo>
                  <a:lnTo>
                    <a:pt x="842" y="323"/>
                  </a:lnTo>
                  <a:lnTo>
                    <a:pt x="840" y="325"/>
                  </a:lnTo>
                  <a:lnTo>
                    <a:pt x="831" y="323"/>
                  </a:lnTo>
                  <a:lnTo>
                    <a:pt x="827" y="323"/>
                  </a:lnTo>
                  <a:lnTo>
                    <a:pt x="825" y="325"/>
                  </a:lnTo>
                  <a:lnTo>
                    <a:pt x="819" y="329"/>
                  </a:lnTo>
                  <a:lnTo>
                    <a:pt x="812" y="336"/>
                  </a:lnTo>
                  <a:lnTo>
                    <a:pt x="808" y="339"/>
                  </a:lnTo>
                  <a:lnTo>
                    <a:pt x="803" y="341"/>
                  </a:lnTo>
                  <a:lnTo>
                    <a:pt x="794" y="346"/>
                  </a:lnTo>
                  <a:lnTo>
                    <a:pt x="792" y="348"/>
                  </a:lnTo>
                  <a:lnTo>
                    <a:pt x="789" y="353"/>
                  </a:lnTo>
                  <a:lnTo>
                    <a:pt x="786" y="355"/>
                  </a:lnTo>
                  <a:lnTo>
                    <a:pt x="784" y="359"/>
                  </a:lnTo>
                  <a:lnTo>
                    <a:pt x="776" y="365"/>
                  </a:lnTo>
                  <a:lnTo>
                    <a:pt x="774" y="366"/>
                  </a:lnTo>
                  <a:lnTo>
                    <a:pt x="771" y="367"/>
                  </a:lnTo>
                  <a:lnTo>
                    <a:pt x="769" y="368"/>
                  </a:lnTo>
                  <a:lnTo>
                    <a:pt x="767" y="370"/>
                  </a:lnTo>
                  <a:lnTo>
                    <a:pt x="764" y="373"/>
                  </a:lnTo>
                  <a:lnTo>
                    <a:pt x="761" y="377"/>
                  </a:lnTo>
                  <a:lnTo>
                    <a:pt x="759" y="377"/>
                  </a:lnTo>
                  <a:lnTo>
                    <a:pt x="756" y="378"/>
                  </a:lnTo>
                  <a:lnTo>
                    <a:pt x="752" y="378"/>
                  </a:lnTo>
                  <a:lnTo>
                    <a:pt x="751" y="381"/>
                  </a:lnTo>
                  <a:lnTo>
                    <a:pt x="750" y="386"/>
                  </a:lnTo>
                  <a:lnTo>
                    <a:pt x="750" y="393"/>
                  </a:lnTo>
                  <a:lnTo>
                    <a:pt x="751" y="406"/>
                  </a:lnTo>
                  <a:lnTo>
                    <a:pt x="755" y="419"/>
                  </a:lnTo>
                  <a:lnTo>
                    <a:pt x="759" y="432"/>
                  </a:lnTo>
                  <a:lnTo>
                    <a:pt x="764" y="441"/>
                  </a:lnTo>
                  <a:lnTo>
                    <a:pt x="765" y="446"/>
                  </a:lnTo>
                  <a:lnTo>
                    <a:pt x="766" y="450"/>
                  </a:lnTo>
                  <a:lnTo>
                    <a:pt x="765" y="456"/>
                  </a:lnTo>
                  <a:lnTo>
                    <a:pt x="765" y="461"/>
                  </a:lnTo>
                  <a:lnTo>
                    <a:pt x="767" y="467"/>
                  </a:lnTo>
                  <a:lnTo>
                    <a:pt x="769" y="469"/>
                  </a:lnTo>
                  <a:lnTo>
                    <a:pt x="771" y="472"/>
                  </a:lnTo>
                  <a:lnTo>
                    <a:pt x="772" y="473"/>
                  </a:lnTo>
                  <a:lnTo>
                    <a:pt x="772" y="476"/>
                  </a:lnTo>
                  <a:lnTo>
                    <a:pt x="772" y="479"/>
                  </a:lnTo>
                  <a:lnTo>
                    <a:pt x="772" y="481"/>
                  </a:lnTo>
                  <a:lnTo>
                    <a:pt x="775" y="488"/>
                  </a:lnTo>
                  <a:lnTo>
                    <a:pt x="775" y="494"/>
                  </a:lnTo>
                  <a:lnTo>
                    <a:pt x="774" y="495"/>
                  </a:lnTo>
                  <a:lnTo>
                    <a:pt x="774" y="501"/>
                  </a:lnTo>
                  <a:lnTo>
                    <a:pt x="772" y="506"/>
                  </a:lnTo>
                  <a:lnTo>
                    <a:pt x="771" y="510"/>
                  </a:lnTo>
                  <a:lnTo>
                    <a:pt x="767" y="513"/>
                  </a:lnTo>
                  <a:lnTo>
                    <a:pt x="765" y="515"/>
                  </a:lnTo>
                  <a:lnTo>
                    <a:pt x="760" y="518"/>
                  </a:lnTo>
                  <a:lnTo>
                    <a:pt x="755" y="518"/>
                  </a:lnTo>
                  <a:lnTo>
                    <a:pt x="750" y="517"/>
                  </a:lnTo>
                  <a:lnTo>
                    <a:pt x="751" y="515"/>
                  </a:lnTo>
                  <a:lnTo>
                    <a:pt x="753" y="514"/>
                  </a:lnTo>
                  <a:lnTo>
                    <a:pt x="755" y="512"/>
                  </a:lnTo>
                  <a:lnTo>
                    <a:pt x="755" y="511"/>
                  </a:lnTo>
                  <a:lnTo>
                    <a:pt x="752" y="506"/>
                  </a:lnTo>
                  <a:lnTo>
                    <a:pt x="747" y="501"/>
                  </a:lnTo>
                  <a:lnTo>
                    <a:pt x="738" y="495"/>
                  </a:lnTo>
                  <a:lnTo>
                    <a:pt x="737" y="493"/>
                  </a:lnTo>
                  <a:lnTo>
                    <a:pt x="737" y="492"/>
                  </a:lnTo>
                  <a:lnTo>
                    <a:pt x="737" y="487"/>
                  </a:lnTo>
                  <a:lnTo>
                    <a:pt x="729" y="476"/>
                  </a:lnTo>
                  <a:lnTo>
                    <a:pt x="728" y="472"/>
                  </a:lnTo>
                  <a:lnTo>
                    <a:pt x="727" y="469"/>
                  </a:lnTo>
                  <a:lnTo>
                    <a:pt x="728" y="466"/>
                  </a:lnTo>
                  <a:lnTo>
                    <a:pt x="729" y="460"/>
                  </a:lnTo>
                  <a:lnTo>
                    <a:pt x="729" y="453"/>
                  </a:lnTo>
                  <a:lnTo>
                    <a:pt x="729" y="447"/>
                  </a:lnTo>
                  <a:lnTo>
                    <a:pt x="726" y="442"/>
                  </a:lnTo>
                  <a:lnTo>
                    <a:pt x="723" y="438"/>
                  </a:lnTo>
                  <a:lnTo>
                    <a:pt x="718" y="436"/>
                  </a:lnTo>
                  <a:lnTo>
                    <a:pt x="715" y="434"/>
                  </a:lnTo>
                  <a:lnTo>
                    <a:pt x="713" y="431"/>
                  </a:lnTo>
                  <a:lnTo>
                    <a:pt x="713" y="427"/>
                  </a:lnTo>
                  <a:lnTo>
                    <a:pt x="709" y="424"/>
                  </a:lnTo>
                  <a:lnTo>
                    <a:pt x="704" y="419"/>
                  </a:lnTo>
                  <a:lnTo>
                    <a:pt x="701" y="418"/>
                  </a:lnTo>
                  <a:lnTo>
                    <a:pt x="700" y="418"/>
                  </a:lnTo>
                  <a:lnTo>
                    <a:pt x="695" y="419"/>
                  </a:lnTo>
                  <a:lnTo>
                    <a:pt x="686" y="424"/>
                  </a:lnTo>
                  <a:lnTo>
                    <a:pt x="682" y="424"/>
                  </a:lnTo>
                  <a:lnTo>
                    <a:pt x="680" y="423"/>
                  </a:lnTo>
                  <a:lnTo>
                    <a:pt x="677" y="421"/>
                  </a:lnTo>
                  <a:lnTo>
                    <a:pt x="675" y="419"/>
                  </a:lnTo>
                  <a:lnTo>
                    <a:pt x="670" y="416"/>
                  </a:lnTo>
                  <a:lnTo>
                    <a:pt x="667" y="411"/>
                  </a:lnTo>
                  <a:lnTo>
                    <a:pt x="666" y="411"/>
                  </a:lnTo>
                  <a:lnTo>
                    <a:pt x="665" y="411"/>
                  </a:lnTo>
                  <a:lnTo>
                    <a:pt x="659" y="415"/>
                  </a:lnTo>
                  <a:lnTo>
                    <a:pt x="653" y="417"/>
                  </a:lnTo>
                  <a:lnTo>
                    <a:pt x="647" y="417"/>
                  </a:lnTo>
                  <a:lnTo>
                    <a:pt x="639" y="416"/>
                  </a:lnTo>
                  <a:lnTo>
                    <a:pt x="638" y="416"/>
                  </a:lnTo>
                  <a:lnTo>
                    <a:pt x="635" y="417"/>
                  </a:lnTo>
                  <a:lnTo>
                    <a:pt x="632" y="419"/>
                  </a:lnTo>
                  <a:lnTo>
                    <a:pt x="626" y="419"/>
                  </a:lnTo>
                  <a:lnTo>
                    <a:pt x="623" y="418"/>
                  </a:lnTo>
                  <a:lnTo>
                    <a:pt x="618" y="416"/>
                  </a:lnTo>
                  <a:lnTo>
                    <a:pt x="614" y="416"/>
                  </a:lnTo>
                  <a:lnTo>
                    <a:pt x="610" y="416"/>
                  </a:lnTo>
                  <a:lnTo>
                    <a:pt x="609" y="418"/>
                  </a:lnTo>
                  <a:lnTo>
                    <a:pt x="607" y="419"/>
                  </a:lnTo>
                  <a:lnTo>
                    <a:pt x="607" y="422"/>
                  </a:lnTo>
                  <a:lnTo>
                    <a:pt x="610" y="424"/>
                  </a:lnTo>
                  <a:lnTo>
                    <a:pt x="612" y="428"/>
                  </a:lnTo>
                  <a:lnTo>
                    <a:pt x="612" y="434"/>
                  </a:lnTo>
                  <a:lnTo>
                    <a:pt x="612" y="436"/>
                  </a:lnTo>
                  <a:lnTo>
                    <a:pt x="615" y="438"/>
                  </a:lnTo>
                  <a:lnTo>
                    <a:pt x="616" y="441"/>
                  </a:lnTo>
                  <a:lnTo>
                    <a:pt x="616" y="443"/>
                  </a:lnTo>
                  <a:lnTo>
                    <a:pt x="615" y="444"/>
                  </a:lnTo>
                  <a:lnTo>
                    <a:pt x="612" y="443"/>
                  </a:lnTo>
                  <a:lnTo>
                    <a:pt x="610" y="442"/>
                  </a:lnTo>
                  <a:lnTo>
                    <a:pt x="607" y="441"/>
                  </a:lnTo>
                  <a:lnTo>
                    <a:pt x="606" y="438"/>
                  </a:lnTo>
                  <a:lnTo>
                    <a:pt x="604" y="437"/>
                  </a:lnTo>
                  <a:lnTo>
                    <a:pt x="602" y="437"/>
                  </a:lnTo>
                  <a:lnTo>
                    <a:pt x="601" y="438"/>
                  </a:lnTo>
                  <a:lnTo>
                    <a:pt x="599" y="438"/>
                  </a:lnTo>
                  <a:lnTo>
                    <a:pt x="597" y="438"/>
                  </a:lnTo>
                  <a:lnTo>
                    <a:pt x="595" y="437"/>
                  </a:lnTo>
                  <a:lnTo>
                    <a:pt x="591" y="437"/>
                  </a:lnTo>
                  <a:lnTo>
                    <a:pt x="588" y="438"/>
                  </a:lnTo>
                  <a:lnTo>
                    <a:pt x="587" y="438"/>
                  </a:lnTo>
                  <a:lnTo>
                    <a:pt x="585" y="434"/>
                  </a:lnTo>
                  <a:lnTo>
                    <a:pt x="582" y="432"/>
                  </a:lnTo>
                  <a:lnTo>
                    <a:pt x="574" y="429"/>
                  </a:lnTo>
                  <a:lnTo>
                    <a:pt x="571" y="427"/>
                  </a:lnTo>
                  <a:lnTo>
                    <a:pt x="566" y="427"/>
                  </a:lnTo>
                  <a:lnTo>
                    <a:pt x="560" y="425"/>
                  </a:lnTo>
                  <a:lnTo>
                    <a:pt x="550" y="422"/>
                  </a:lnTo>
                  <a:lnTo>
                    <a:pt x="546" y="422"/>
                  </a:lnTo>
                  <a:lnTo>
                    <a:pt x="543" y="422"/>
                  </a:lnTo>
                  <a:lnTo>
                    <a:pt x="536" y="424"/>
                  </a:lnTo>
                  <a:lnTo>
                    <a:pt x="531" y="425"/>
                  </a:lnTo>
                  <a:lnTo>
                    <a:pt x="526" y="427"/>
                  </a:lnTo>
                  <a:lnTo>
                    <a:pt x="521" y="427"/>
                  </a:lnTo>
                  <a:lnTo>
                    <a:pt x="517" y="429"/>
                  </a:lnTo>
                  <a:lnTo>
                    <a:pt x="507" y="438"/>
                  </a:lnTo>
                  <a:lnTo>
                    <a:pt x="503" y="443"/>
                  </a:lnTo>
                  <a:lnTo>
                    <a:pt x="501" y="449"/>
                  </a:lnTo>
                  <a:lnTo>
                    <a:pt x="498" y="453"/>
                  </a:lnTo>
                  <a:lnTo>
                    <a:pt x="494" y="454"/>
                  </a:lnTo>
                  <a:lnTo>
                    <a:pt x="493" y="453"/>
                  </a:lnTo>
                  <a:lnTo>
                    <a:pt x="491" y="453"/>
                  </a:lnTo>
                  <a:lnTo>
                    <a:pt x="488" y="453"/>
                  </a:lnTo>
                  <a:lnTo>
                    <a:pt x="486" y="453"/>
                  </a:lnTo>
                  <a:lnTo>
                    <a:pt x="480" y="456"/>
                  </a:lnTo>
                  <a:lnTo>
                    <a:pt x="477" y="462"/>
                  </a:lnTo>
                  <a:lnTo>
                    <a:pt x="474" y="467"/>
                  </a:lnTo>
                  <a:lnTo>
                    <a:pt x="472" y="474"/>
                  </a:lnTo>
                  <a:lnTo>
                    <a:pt x="470" y="481"/>
                  </a:lnTo>
                  <a:lnTo>
                    <a:pt x="472" y="488"/>
                  </a:lnTo>
                  <a:lnTo>
                    <a:pt x="473" y="495"/>
                  </a:lnTo>
                  <a:lnTo>
                    <a:pt x="474" y="498"/>
                  </a:lnTo>
                  <a:lnTo>
                    <a:pt x="474" y="50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1" name="Freeform 1010"/>
            <p:cNvSpPr>
              <a:spLocks/>
            </p:cNvSpPr>
            <p:nvPr/>
          </p:nvSpPr>
          <p:spPr bwMode="auto">
            <a:xfrm>
              <a:off x="1039816" y="2605088"/>
              <a:ext cx="9525" cy="20637"/>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0 w 6"/>
                <a:gd name="T11" fmla="*/ 2147483647 h 13"/>
                <a:gd name="T12" fmla="*/ 0 w 6"/>
                <a:gd name="T13" fmla="*/ 2147483647 h 13"/>
                <a:gd name="T14" fmla="*/ 2147483647 w 6"/>
                <a:gd name="T15" fmla="*/ 0 h 13"/>
                <a:gd name="T16" fmla="*/ 2147483647 w 6"/>
                <a:gd name="T17" fmla="*/ 0 h 13"/>
                <a:gd name="T18" fmla="*/ 2147483647 w 6"/>
                <a:gd name="T19" fmla="*/ 2147483647 h 13"/>
                <a:gd name="T20" fmla="*/ 2147483647 w 6"/>
                <a:gd name="T21" fmla="*/ 2147483647 h 13"/>
                <a:gd name="T22" fmla="*/ 2147483647 w 6"/>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3"/>
                <a:gd name="T38" fmla="*/ 6 w 6"/>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3">
                  <a:moveTo>
                    <a:pt x="6" y="8"/>
                  </a:moveTo>
                  <a:lnTo>
                    <a:pt x="6" y="10"/>
                  </a:lnTo>
                  <a:lnTo>
                    <a:pt x="5" y="13"/>
                  </a:lnTo>
                  <a:lnTo>
                    <a:pt x="4" y="13"/>
                  </a:lnTo>
                  <a:lnTo>
                    <a:pt x="1" y="12"/>
                  </a:lnTo>
                  <a:lnTo>
                    <a:pt x="0" y="8"/>
                  </a:lnTo>
                  <a:lnTo>
                    <a:pt x="0" y="3"/>
                  </a:lnTo>
                  <a:lnTo>
                    <a:pt x="1" y="0"/>
                  </a:lnTo>
                  <a:lnTo>
                    <a:pt x="4" y="0"/>
                  </a:lnTo>
                  <a:lnTo>
                    <a:pt x="5" y="1"/>
                  </a:lnTo>
                  <a:lnTo>
                    <a:pt x="5" y="3"/>
                  </a:lnTo>
                  <a:lnTo>
                    <a:pt x="6"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2" name="Freeform 1011"/>
            <p:cNvSpPr>
              <a:spLocks/>
            </p:cNvSpPr>
            <p:nvPr/>
          </p:nvSpPr>
          <p:spPr bwMode="auto">
            <a:xfrm>
              <a:off x="1187450" y="2795589"/>
              <a:ext cx="1466850" cy="822325"/>
            </a:xfrm>
            <a:custGeom>
              <a:avLst/>
              <a:gdLst>
                <a:gd name="T0" fmla="*/ 2147483647 w 1001"/>
                <a:gd name="T1" fmla="*/ 2147483647 h 518"/>
                <a:gd name="T2" fmla="*/ 2147483647 w 1001"/>
                <a:gd name="T3" fmla="*/ 2147483647 h 518"/>
                <a:gd name="T4" fmla="*/ 2147483647 w 1001"/>
                <a:gd name="T5" fmla="*/ 2147483647 h 518"/>
                <a:gd name="T6" fmla="*/ 2147483647 w 1001"/>
                <a:gd name="T7" fmla="*/ 2147483647 h 518"/>
                <a:gd name="T8" fmla="*/ 2147483647 w 1001"/>
                <a:gd name="T9" fmla="*/ 2147483647 h 518"/>
                <a:gd name="T10" fmla="*/ 2147483647 w 1001"/>
                <a:gd name="T11" fmla="*/ 2147483647 h 518"/>
                <a:gd name="T12" fmla="*/ 2147483647 w 1001"/>
                <a:gd name="T13" fmla="*/ 2147483647 h 518"/>
                <a:gd name="T14" fmla="*/ 2147483647 w 1001"/>
                <a:gd name="T15" fmla="*/ 2147483647 h 518"/>
                <a:gd name="T16" fmla="*/ 2147483647 w 1001"/>
                <a:gd name="T17" fmla="*/ 2147483647 h 518"/>
                <a:gd name="T18" fmla="*/ 2147483647 w 1001"/>
                <a:gd name="T19" fmla="*/ 2147483647 h 518"/>
                <a:gd name="T20" fmla="*/ 2147483647 w 1001"/>
                <a:gd name="T21" fmla="*/ 2147483647 h 518"/>
                <a:gd name="T22" fmla="*/ 2147483647 w 1001"/>
                <a:gd name="T23" fmla="*/ 2147483647 h 518"/>
                <a:gd name="T24" fmla="*/ 2147483647 w 1001"/>
                <a:gd name="T25" fmla="*/ 2147483647 h 518"/>
                <a:gd name="T26" fmla="*/ 2147483647 w 1001"/>
                <a:gd name="T27" fmla="*/ 2147483647 h 518"/>
                <a:gd name="T28" fmla="*/ 2147483647 w 1001"/>
                <a:gd name="T29" fmla="*/ 2147483647 h 518"/>
                <a:gd name="T30" fmla="*/ 2147483647 w 1001"/>
                <a:gd name="T31" fmla="*/ 2147483647 h 518"/>
                <a:gd name="T32" fmla="*/ 2147483647 w 1001"/>
                <a:gd name="T33" fmla="*/ 2147483647 h 518"/>
                <a:gd name="T34" fmla="*/ 2147483647 w 1001"/>
                <a:gd name="T35" fmla="*/ 2147483647 h 518"/>
                <a:gd name="T36" fmla="*/ 2147483647 w 1001"/>
                <a:gd name="T37" fmla="*/ 0 h 518"/>
                <a:gd name="T38" fmla="*/ 2147483647 w 1001"/>
                <a:gd name="T39" fmla="*/ 2147483647 h 518"/>
                <a:gd name="T40" fmla="*/ 2147483647 w 1001"/>
                <a:gd name="T41" fmla="*/ 2147483647 h 518"/>
                <a:gd name="T42" fmla="*/ 2147483647 w 1001"/>
                <a:gd name="T43" fmla="*/ 2147483647 h 518"/>
                <a:gd name="T44" fmla="*/ 2147483647 w 1001"/>
                <a:gd name="T45" fmla="*/ 2147483647 h 518"/>
                <a:gd name="T46" fmla="*/ 2147483647 w 1001"/>
                <a:gd name="T47" fmla="*/ 2147483647 h 518"/>
                <a:gd name="T48" fmla="*/ 2147483647 w 1001"/>
                <a:gd name="T49" fmla="*/ 2147483647 h 518"/>
                <a:gd name="T50" fmla="*/ 2147483647 w 1001"/>
                <a:gd name="T51" fmla="*/ 2147483647 h 518"/>
                <a:gd name="T52" fmla="*/ 2147483647 w 1001"/>
                <a:gd name="T53" fmla="*/ 2147483647 h 518"/>
                <a:gd name="T54" fmla="*/ 2147483647 w 1001"/>
                <a:gd name="T55" fmla="*/ 2147483647 h 518"/>
                <a:gd name="T56" fmla="*/ 2147483647 w 1001"/>
                <a:gd name="T57" fmla="*/ 2147483647 h 518"/>
                <a:gd name="T58" fmla="*/ 2147483647 w 1001"/>
                <a:gd name="T59" fmla="*/ 2147483647 h 518"/>
                <a:gd name="T60" fmla="*/ 2147483647 w 1001"/>
                <a:gd name="T61" fmla="*/ 2147483647 h 518"/>
                <a:gd name="T62" fmla="*/ 2147483647 w 1001"/>
                <a:gd name="T63" fmla="*/ 2147483647 h 518"/>
                <a:gd name="T64" fmla="*/ 2147483647 w 1001"/>
                <a:gd name="T65" fmla="*/ 2147483647 h 518"/>
                <a:gd name="T66" fmla="*/ 2147483647 w 1001"/>
                <a:gd name="T67" fmla="*/ 2147483647 h 518"/>
                <a:gd name="T68" fmla="*/ 2147483647 w 1001"/>
                <a:gd name="T69" fmla="*/ 2147483647 h 518"/>
                <a:gd name="T70" fmla="*/ 2147483647 w 1001"/>
                <a:gd name="T71" fmla="*/ 2147483647 h 518"/>
                <a:gd name="T72" fmla="*/ 2147483647 w 1001"/>
                <a:gd name="T73" fmla="*/ 2147483647 h 518"/>
                <a:gd name="T74" fmla="*/ 2147483647 w 1001"/>
                <a:gd name="T75" fmla="*/ 2147483647 h 518"/>
                <a:gd name="T76" fmla="*/ 2147483647 w 1001"/>
                <a:gd name="T77" fmla="*/ 2147483647 h 518"/>
                <a:gd name="T78" fmla="*/ 2147483647 w 1001"/>
                <a:gd name="T79" fmla="*/ 2147483647 h 518"/>
                <a:gd name="T80" fmla="*/ 2147483647 w 1001"/>
                <a:gd name="T81" fmla="*/ 2147483647 h 518"/>
                <a:gd name="T82" fmla="*/ 2147483647 w 1001"/>
                <a:gd name="T83" fmla="*/ 2147483647 h 518"/>
                <a:gd name="T84" fmla="*/ 2147483647 w 1001"/>
                <a:gd name="T85" fmla="*/ 2147483647 h 518"/>
                <a:gd name="T86" fmla="*/ 2147483647 w 1001"/>
                <a:gd name="T87" fmla="*/ 2147483647 h 518"/>
                <a:gd name="T88" fmla="*/ 2147483647 w 1001"/>
                <a:gd name="T89" fmla="*/ 2147483647 h 518"/>
                <a:gd name="T90" fmla="*/ 2147483647 w 1001"/>
                <a:gd name="T91" fmla="*/ 2147483647 h 518"/>
                <a:gd name="T92" fmla="*/ 2147483647 w 1001"/>
                <a:gd name="T93" fmla="*/ 2147483647 h 518"/>
                <a:gd name="T94" fmla="*/ 2147483647 w 1001"/>
                <a:gd name="T95" fmla="*/ 2147483647 h 518"/>
                <a:gd name="T96" fmla="*/ 2147483647 w 1001"/>
                <a:gd name="T97" fmla="*/ 2147483647 h 518"/>
                <a:gd name="T98" fmla="*/ 2147483647 w 1001"/>
                <a:gd name="T99" fmla="*/ 2147483647 h 518"/>
                <a:gd name="T100" fmla="*/ 2147483647 w 1001"/>
                <a:gd name="T101" fmla="*/ 2147483647 h 518"/>
                <a:gd name="T102" fmla="*/ 2147483647 w 1001"/>
                <a:gd name="T103" fmla="*/ 2147483647 h 518"/>
                <a:gd name="T104" fmla="*/ 2147483647 w 1001"/>
                <a:gd name="T105" fmla="*/ 2147483647 h 518"/>
                <a:gd name="T106" fmla="*/ 2147483647 w 1001"/>
                <a:gd name="T107" fmla="*/ 2147483647 h 518"/>
                <a:gd name="T108" fmla="*/ 2147483647 w 1001"/>
                <a:gd name="T109" fmla="*/ 2147483647 h 518"/>
                <a:gd name="T110" fmla="*/ 2147483647 w 1001"/>
                <a:gd name="T111" fmla="*/ 2147483647 h 518"/>
                <a:gd name="T112" fmla="*/ 2147483647 w 1001"/>
                <a:gd name="T113" fmla="*/ 2147483647 h 518"/>
                <a:gd name="T114" fmla="*/ 2147483647 w 1001"/>
                <a:gd name="T115" fmla="*/ 2147483647 h 518"/>
                <a:gd name="T116" fmla="*/ 2147483647 w 1001"/>
                <a:gd name="T117" fmla="*/ 2147483647 h 518"/>
                <a:gd name="T118" fmla="*/ 2147483647 w 1001"/>
                <a:gd name="T119" fmla="*/ 2147483647 h 518"/>
                <a:gd name="T120" fmla="*/ 2147483647 w 1001"/>
                <a:gd name="T121" fmla="*/ 2147483647 h 518"/>
                <a:gd name="T122" fmla="*/ 2147483647 w 1001"/>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1"/>
                <a:gd name="T187" fmla="*/ 0 h 518"/>
                <a:gd name="T188" fmla="*/ 1001 w 1001"/>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1" h="518">
                  <a:moveTo>
                    <a:pt x="474" y="501"/>
                  </a:moveTo>
                  <a:lnTo>
                    <a:pt x="474" y="501"/>
                  </a:lnTo>
                  <a:lnTo>
                    <a:pt x="465" y="497"/>
                  </a:lnTo>
                  <a:lnTo>
                    <a:pt x="456" y="495"/>
                  </a:lnTo>
                  <a:lnTo>
                    <a:pt x="450" y="494"/>
                  </a:lnTo>
                  <a:lnTo>
                    <a:pt x="443" y="493"/>
                  </a:lnTo>
                  <a:lnTo>
                    <a:pt x="441" y="492"/>
                  </a:lnTo>
                  <a:lnTo>
                    <a:pt x="438" y="488"/>
                  </a:lnTo>
                  <a:lnTo>
                    <a:pt x="437" y="486"/>
                  </a:lnTo>
                  <a:lnTo>
                    <a:pt x="432" y="473"/>
                  </a:lnTo>
                  <a:lnTo>
                    <a:pt x="429" y="464"/>
                  </a:lnTo>
                  <a:lnTo>
                    <a:pt x="426" y="461"/>
                  </a:lnTo>
                  <a:lnTo>
                    <a:pt x="423" y="457"/>
                  </a:lnTo>
                  <a:lnTo>
                    <a:pt x="420" y="451"/>
                  </a:lnTo>
                  <a:lnTo>
                    <a:pt x="418" y="445"/>
                  </a:lnTo>
                  <a:lnTo>
                    <a:pt x="418" y="441"/>
                  </a:lnTo>
                  <a:lnTo>
                    <a:pt x="417" y="436"/>
                  </a:lnTo>
                  <a:lnTo>
                    <a:pt x="413" y="431"/>
                  </a:lnTo>
                  <a:lnTo>
                    <a:pt x="409" y="429"/>
                  </a:lnTo>
                  <a:lnTo>
                    <a:pt x="407" y="428"/>
                  </a:lnTo>
                  <a:lnTo>
                    <a:pt x="399" y="425"/>
                  </a:lnTo>
                  <a:lnTo>
                    <a:pt x="395" y="424"/>
                  </a:lnTo>
                  <a:lnTo>
                    <a:pt x="393" y="423"/>
                  </a:lnTo>
                  <a:lnTo>
                    <a:pt x="390" y="422"/>
                  </a:lnTo>
                  <a:lnTo>
                    <a:pt x="387" y="422"/>
                  </a:lnTo>
                  <a:lnTo>
                    <a:pt x="384" y="423"/>
                  </a:lnTo>
                  <a:lnTo>
                    <a:pt x="381" y="425"/>
                  </a:lnTo>
                  <a:lnTo>
                    <a:pt x="379" y="430"/>
                  </a:lnTo>
                  <a:lnTo>
                    <a:pt x="376" y="433"/>
                  </a:lnTo>
                  <a:lnTo>
                    <a:pt x="373" y="435"/>
                  </a:lnTo>
                  <a:lnTo>
                    <a:pt x="371" y="435"/>
                  </a:lnTo>
                  <a:lnTo>
                    <a:pt x="367" y="433"/>
                  </a:lnTo>
                  <a:lnTo>
                    <a:pt x="363" y="430"/>
                  </a:lnTo>
                  <a:lnTo>
                    <a:pt x="352" y="419"/>
                  </a:lnTo>
                  <a:lnTo>
                    <a:pt x="340" y="404"/>
                  </a:lnTo>
                  <a:lnTo>
                    <a:pt x="325" y="384"/>
                  </a:lnTo>
                  <a:lnTo>
                    <a:pt x="323" y="380"/>
                  </a:lnTo>
                  <a:lnTo>
                    <a:pt x="321" y="379"/>
                  </a:lnTo>
                  <a:lnTo>
                    <a:pt x="319" y="379"/>
                  </a:lnTo>
                  <a:lnTo>
                    <a:pt x="278" y="380"/>
                  </a:lnTo>
                  <a:lnTo>
                    <a:pt x="277" y="381"/>
                  </a:lnTo>
                  <a:lnTo>
                    <a:pt x="276" y="382"/>
                  </a:lnTo>
                  <a:lnTo>
                    <a:pt x="274" y="385"/>
                  </a:lnTo>
                  <a:lnTo>
                    <a:pt x="274" y="388"/>
                  </a:lnTo>
                  <a:lnTo>
                    <a:pt x="273" y="391"/>
                  </a:lnTo>
                  <a:lnTo>
                    <a:pt x="272" y="391"/>
                  </a:lnTo>
                  <a:lnTo>
                    <a:pt x="269" y="392"/>
                  </a:lnTo>
                  <a:lnTo>
                    <a:pt x="259" y="391"/>
                  </a:lnTo>
                  <a:lnTo>
                    <a:pt x="250" y="392"/>
                  </a:lnTo>
                  <a:lnTo>
                    <a:pt x="248" y="392"/>
                  </a:lnTo>
                  <a:lnTo>
                    <a:pt x="243" y="392"/>
                  </a:lnTo>
                  <a:lnTo>
                    <a:pt x="233" y="388"/>
                  </a:lnTo>
                  <a:lnTo>
                    <a:pt x="222" y="385"/>
                  </a:lnTo>
                  <a:lnTo>
                    <a:pt x="207" y="379"/>
                  </a:lnTo>
                  <a:lnTo>
                    <a:pt x="191" y="374"/>
                  </a:lnTo>
                  <a:lnTo>
                    <a:pt x="180" y="373"/>
                  </a:lnTo>
                  <a:lnTo>
                    <a:pt x="177" y="372"/>
                  </a:lnTo>
                  <a:lnTo>
                    <a:pt x="175" y="369"/>
                  </a:lnTo>
                  <a:lnTo>
                    <a:pt x="175" y="368"/>
                  </a:lnTo>
                  <a:lnTo>
                    <a:pt x="177" y="367"/>
                  </a:lnTo>
                  <a:lnTo>
                    <a:pt x="179" y="365"/>
                  </a:lnTo>
                  <a:lnTo>
                    <a:pt x="179" y="362"/>
                  </a:lnTo>
                  <a:lnTo>
                    <a:pt x="177" y="361"/>
                  </a:lnTo>
                  <a:lnTo>
                    <a:pt x="174" y="360"/>
                  </a:lnTo>
                  <a:lnTo>
                    <a:pt x="133" y="361"/>
                  </a:lnTo>
                  <a:lnTo>
                    <a:pt x="128" y="353"/>
                  </a:lnTo>
                  <a:lnTo>
                    <a:pt x="123" y="346"/>
                  </a:lnTo>
                  <a:lnTo>
                    <a:pt x="116" y="341"/>
                  </a:lnTo>
                  <a:lnTo>
                    <a:pt x="112" y="340"/>
                  </a:lnTo>
                  <a:lnTo>
                    <a:pt x="107" y="339"/>
                  </a:lnTo>
                  <a:lnTo>
                    <a:pt x="103" y="339"/>
                  </a:lnTo>
                  <a:lnTo>
                    <a:pt x="99" y="337"/>
                  </a:lnTo>
                  <a:lnTo>
                    <a:pt x="87" y="339"/>
                  </a:lnTo>
                  <a:lnTo>
                    <a:pt x="84" y="339"/>
                  </a:lnTo>
                  <a:lnTo>
                    <a:pt x="81" y="337"/>
                  </a:lnTo>
                  <a:lnTo>
                    <a:pt x="79" y="335"/>
                  </a:lnTo>
                  <a:lnTo>
                    <a:pt x="78" y="333"/>
                  </a:lnTo>
                  <a:lnTo>
                    <a:pt x="75" y="327"/>
                  </a:lnTo>
                  <a:lnTo>
                    <a:pt x="71" y="321"/>
                  </a:lnTo>
                  <a:lnTo>
                    <a:pt x="69" y="320"/>
                  </a:lnTo>
                  <a:lnTo>
                    <a:pt x="67" y="318"/>
                  </a:lnTo>
                  <a:lnTo>
                    <a:pt x="66" y="317"/>
                  </a:lnTo>
                  <a:lnTo>
                    <a:pt x="64" y="310"/>
                  </a:lnTo>
                  <a:lnTo>
                    <a:pt x="60" y="303"/>
                  </a:lnTo>
                  <a:lnTo>
                    <a:pt x="55" y="298"/>
                  </a:lnTo>
                  <a:lnTo>
                    <a:pt x="51" y="292"/>
                  </a:lnTo>
                  <a:lnTo>
                    <a:pt x="45" y="279"/>
                  </a:lnTo>
                  <a:lnTo>
                    <a:pt x="41" y="271"/>
                  </a:lnTo>
                  <a:lnTo>
                    <a:pt x="40" y="266"/>
                  </a:lnTo>
                  <a:lnTo>
                    <a:pt x="38" y="264"/>
                  </a:lnTo>
                  <a:lnTo>
                    <a:pt x="41" y="258"/>
                  </a:lnTo>
                  <a:lnTo>
                    <a:pt x="41" y="254"/>
                  </a:lnTo>
                  <a:lnTo>
                    <a:pt x="41" y="251"/>
                  </a:lnTo>
                  <a:lnTo>
                    <a:pt x="38" y="252"/>
                  </a:lnTo>
                  <a:lnTo>
                    <a:pt x="36" y="252"/>
                  </a:lnTo>
                  <a:lnTo>
                    <a:pt x="33" y="251"/>
                  </a:lnTo>
                  <a:lnTo>
                    <a:pt x="31" y="250"/>
                  </a:lnTo>
                  <a:lnTo>
                    <a:pt x="27" y="245"/>
                  </a:lnTo>
                  <a:lnTo>
                    <a:pt x="23" y="239"/>
                  </a:lnTo>
                  <a:lnTo>
                    <a:pt x="20" y="237"/>
                  </a:lnTo>
                  <a:lnTo>
                    <a:pt x="19" y="232"/>
                  </a:lnTo>
                  <a:lnTo>
                    <a:pt x="15" y="222"/>
                  </a:lnTo>
                  <a:lnTo>
                    <a:pt x="13" y="213"/>
                  </a:lnTo>
                  <a:lnTo>
                    <a:pt x="10" y="203"/>
                  </a:lnTo>
                  <a:lnTo>
                    <a:pt x="8" y="200"/>
                  </a:lnTo>
                  <a:lnTo>
                    <a:pt x="7" y="198"/>
                  </a:lnTo>
                  <a:lnTo>
                    <a:pt x="7" y="193"/>
                  </a:lnTo>
                  <a:lnTo>
                    <a:pt x="8" y="189"/>
                  </a:lnTo>
                  <a:lnTo>
                    <a:pt x="9" y="187"/>
                  </a:lnTo>
                  <a:lnTo>
                    <a:pt x="10" y="183"/>
                  </a:lnTo>
                  <a:lnTo>
                    <a:pt x="10" y="175"/>
                  </a:lnTo>
                  <a:lnTo>
                    <a:pt x="9" y="170"/>
                  </a:lnTo>
                  <a:lnTo>
                    <a:pt x="8" y="167"/>
                  </a:lnTo>
                  <a:lnTo>
                    <a:pt x="8" y="164"/>
                  </a:lnTo>
                  <a:lnTo>
                    <a:pt x="8" y="162"/>
                  </a:lnTo>
                  <a:lnTo>
                    <a:pt x="8" y="160"/>
                  </a:lnTo>
                  <a:lnTo>
                    <a:pt x="8" y="157"/>
                  </a:lnTo>
                  <a:lnTo>
                    <a:pt x="7" y="154"/>
                  </a:lnTo>
                  <a:lnTo>
                    <a:pt x="5" y="149"/>
                  </a:lnTo>
                  <a:lnTo>
                    <a:pt x="7" y="141"/>
                  </a:lnTo>
                  <a:lnTo>
                    <a:pt x="9" y="132"/>
                  </a:lnTo>
                  <a:lnTo>
                    <a:pt x="12" y="124"/>
                  </a:lnTo>
                  <a:lnTo>
                    <a:pt x="13" y="119"/>
                  </a:lnTo>
                  <a:lnTo>
                    <a:pt x="12" y="116"/>
                  </a:lnTo>
                  <a:lnTo>
                    <a:pt x="12" y="113"/>
                  </a:lnTo>
                  <a:lnTo>
                    <a:pt x="12" y="111"/>
                  </a:lnTo>
                  <a:lnTo>
                    <a:pt x="14" y="107"/>
                  </a:lnTo>
                  <a:lnTo>
                    <a:pt x="14" y="103"/>
                  </a:lnTo>
                  <a:lnTo>
                    <a:pt x="14" y="99"/>
                  </a:lnTo>
                  <a:lnTo>
                    <a:pt x="13" y="94"/>
                  </a:lnTo>
                  <a:lnTo>
                    <a:pt x="14" y="91"/>
                  </a:lnTo>
                  <a:lnTo>
                    <a:pt x="15" y="84"/>
                  </a:lnTo>
                  <a:lnTo>
                    <a:pt x="15" y="78"/>
                  </a:lnTo>
                  <a:lnTo>
                    <a:pt x="15" y="72"/>
                  </a:lnTo>
                  <a:lnTo>
                    <a:pt x="13" y="66"/>
                  </a:lnTo>
                  <a:lnTo>
                    <a:pt x="13" y="62"/>
                  </a:lnTo>
                  <a:lnTo>
                    <a:pt x="13" y="59"/>
                  </a:lnTo>
                  <a:lnTo>
                    <a:pt x="13" y="48"/>
                  </a:lnTo>
                  <a:lnTo>
                    <a:pt x="12" y="43"/>
                  </a:lnTo>
                  <a:lnTo>
                    <a:pt x="9" y="39"/>
                  </a:lnTo>
                  <a:lnTo>
                    <a:pt x="3" y="30"/>
                  </a:lnTo>
                  <a:lnTo>
                    <a:pt x="0" y="27"/>
                  </a:lnTo>
                  <a:lnTo>
                    <a:pt x="0" y="24"/>
                  </a:lnTo>
                  <a:lnTo>
                    <a:pt x="1" y="23"/>
                  </a:lnTo>
                  <a:lnTo>
                    <a:pt x="7" y="22"/>
                  </a:lnTo>
                  <a:lnTo>
                    <a:pt x="13" y="22"/>
                  </a:lnTo>
                  <a:lnTo>
                    <a:pt x="24" y="24"/>
                  </a:lnTo>
                  <a:lnTo>
                    <a:pt x="27" y="23"/>
                  </a:lnTo>
                  <a:lnTo>
                    <a:pt x="28" y="22"/>
                  </a:lnTo>
                  <a:lnTo>
                    <a:pt x="31" y="22"/>
                  </a:lnTo>
                  <a:lnTo>
                    <a:pt x="32" y="23"/>
                  </a:lnTo>
                  <a:lnTo>
                    <a:pt x="38" y="35"/>
                  </a:lnTo>
                  <a:lnTo>
                    <a:pt x="42" y="40"/>
                  </a:lnTo>
                  <a:lnTo>
                    <a:pt x="43" y="40"/>
                  </a:lnTo>
                  <a:lnTo>
                    <a:pt x="46" y="40"/>
                  </a:lnTo>
                  <a:lnTo>
                    <a:pt x="47" y="36"/>
                  </a:lnTo>
                  <a:lnTo>
                    <a:pt x="47" y="32"/>
                  </a:lnTo>
                  <a:lnTo>
                    <a:pt x="45" y="21"/>
                  </a:lnTo>
                  <a:lnTo>
                    <a:pt x="41" y="10"/>
                  </a:lnTo>
                  <a:lnTo>
                    <a:pt x="38" y="4"/>
                  </a:lnTo>
                  <a:lnTo>
                    <a:pt x="517" y="0"/>
                  </a:lnTo>
                  <a:lnTo>
                    <a:pt x="527" y="8"/>
                  </a:lnTo>
                  <a:lnTo>
                    <a:pt x="535" y="13"/>
                  </a:lnTo>
                  <a:lnTo>
                    <a:pt x="537" y="14"/>
                  </a:lnTo>
                  <a:lnTo>
                    <a:pt x="540" y="15"/>
                  </a:lnTo>
                  <a:lnTo>
                    <a:pt x="554" y="11"/>
                  </a:lnTo>
                  <a:lnTo>
                    <a:pt x="560" y="10"/>
                  </a:lnTo>
                  <a:lnTo>
                    <a:pt x="563" y="10"/>
                  </a:lnTo>
                  <a:lnTo>
                    <a:pt x="565" y="11"/>
                  </a:lnTo>
                  <a:lnTo>
                    <a:pt x="569" y="15"/>
                  </a:lnTo>
                  <a:lnTo>
                    <a:pt x="573" y="17"/>
                  </a:lnTo>
                  <a:lnTo>
                    <a:pt x="577" y="17"/>
                  </a:lnTo>
                  <a:lnTo>
                    <a:pt x="586" y="17"/>
                  </a:lnTo>
                  <a:lnTo>
                    <a:pt x="596" y="17"/>
                  </a:lnTo>
                  <a:lnTo>
                    <a:pt x="605" y="20"/>
                  </a:lnTo>
                  <a:lnTo>
                    <a:pt x="615" y="22"/>
                  </a:lnTo>
                  <a:lnTo>
                    <a:pt x="617" y="22"/>
                  </a:lnTo>
                  <a:lnTo>
                    <a:pt x="619" y="21"/>
                  </a:lnTo>
                  <a:lnTo>
                    <a:pt x="621" y="20"/>
                  </a:lnTo>
                  <a:lnTo>
                    <a:pt x="624" y="17"/>
                  </a:lnTo>
                  <a:lnTo>
                    <a:pt x="631" y="17"/>
                  </a:lnTo>
                  <a:lnTo>
                    <a:pt x="635" y="19"/>
                  </a:lnTo>
                  <a:lnTo>
                    <a:pt x="638" y="20"/>
                  </a:lnTo>
                  <a:lnTo>
                    <a:pt x="652" y="30"/>
                  </a:lnTo>
                  <a:lnTo>
                    <a:pt x="667" y="40"/>
                  </a:lnTo>
                  <a:lnTo>
                    <a:pt x="682" y="47"/>
                  </a:lnTo>
                  <a:lnTo>
                    <a:pt x="699" y="53"/>
                  </a:lnTo>
                  <a:lnTo>
                    <a:pt x="701" y="55"/>
                  </a:lnTo>
                  <a:lnTo>
                    <a:pt x="704" y="59"/>
                  </a:lnTo>
                  <a:lnTo>
                    <a:pt x="709" y="71"/>
                  </a:lnTo>
                  <a:lnTo>
                    <a:pt x="711" y="75"/>
                  </a:lnTo>
                  <a:lnTo>
                    <a:pt x="715" y="80"/>
                  </a:lnTo>
                  <a:lnTo>
                    <a:pt x="720" y="84"/>
                  </a:lnTo>
                  <a:lnTo>
                    <a:pt x="724" y="88"/>
                  </a:lnTo>
                  <a:lnTo>
                    <a:pt x="733" y="100"/>
                  </a:lnTo>
                  <a:lnTo>
                    <a:pt x="738" y="112"/>
                  </a:lnTo>
                  <a:lnTo>
                    <a:pt x="742" y="124"/>
                  </a:lnTo>
                  <a:lnTo>
                    <a:pt x="742" y="129"/>
                  </a:lnTo>
                  <a:lnTo>
                    <a:pt x="740" y="132"/>
                  </a:lnTo>
                  <a:lnTo>
                    <a:pt x="735" y="141"/>
                  </a:lnTo>
                  <a:lnTo>
                    <a:pt x="724" y="155"/>
                  </a:lnTo>
                  <a:lnTo>
                    <a:pt x="724" y="156"/>
                  </a:lnTo>
                  <a:lnTo>
                    <a:pt x="724" y="157"/>
                  </a:lnTo>
                  <a:lnTo>
                    <a:pt x="727" y="160"/>
                  </a:lnTo>
                  <a:lnTo>
                    <a:pt x="733" y="162"/>
                  </a:lnTo>
                  <a:lnTo>
                    <a:pt x="740" y="162"/>
                  </a:lnTo>
                  <a:lnTo>
                    <a:pt x="749" y="161"/>
                  </a:lnTo>
                  <a:lnTo>
                    <a:pt x="760" y="158"/>
                  </a:lnTo>
                  <a:lnTo>
                    <a:pt x="779" y="152"/>
                  </a:lnTo>
                  <a:lnTo>
                    <a:pt x="796" y="144"/>
                  </a:lnTo>
                  <a:lnTo>
                    <a:pt x="799" y="142"/>
                  </a:lnTo>
                  <a:lnTo>
                    <a:pt x="801" y="138"/>
                  </a:lnTo>
                  <a:lnTo>
                    <a:pt x="803" y="136"/>
                  </a:lnTo>
                  <a:lnTo>
                    <a:pt x="807" y="134"/>
                  </a:lnTo>
                  <a:lnTo>
                    <a:pt x="810" y="131"/>
                  </a:lnTo>
                  <a:lnTo>
                    <a:pt x="814" y="129"/>
                  </a:lnTo>
                  <a:lnTo>
                    <a:pt x="822" y="124"/>
                  </a:lnTo>
                  <a:lnTo>
                    <a:pt x="824" y="124"/>
                  </a:lnTo>
                  <a:lnTo>
                    <a:pt x="826" y="124"/>
                  </a:lnTo>
                  <a:lnTo>
                    <a:pt x="829" y="125"/>
                  </a:lnTo>
                  <a:lnTo>
                    <a:pt x="833" y="124"/>
                  </a:lnTo>
                  <a:lnTo>
                    <a:pt x="838" y="123"/>
                  </a:lnTo>
                  <a:lnTo>
                    <a:pt x="842" y="122"/>
                  </a:lnTo>
                  <a:lnTo>
                    <a:pt x="845" y="118"/>
                  </a:lnTo>
                  <a:lnTo>
                    <a:pt x="857" y="103"/>
                  </a:lnTo>
                  <a:lnTo>
                    <a:pt x="861" y="99"/>
                  </a:lnTo>
                  <a:lnTo>
                    <a:pt x="865" y="96"/>
                  </a:lnTo>
                  <a:lnTo>
                    <a:pt x="870" y="94"/>
                  </a:lnTo>
                  <a:lnTo>
                    <a:pt x="875" y="93"/>
                  </a:lnTo>
                  <a:lnTo>
                    <a:pt x="887" y="94"/>
                  </a:lnTo>
                  <a:lnTo>
                    <a:pt x="898" y="96"/>
                  </a:lnTo>
                  <a:lnTo>
                    <a:pt x="908" y="96"/>
                  </a:lnTo>
                  <a:lnTo>
                    <a:pt x="913" y="94"/>
                  </a:lnTo>
                  <a:lnTo>
                    <a:pt x="918" y="93"/>
                  </a:lnTo>
                  <a:lnTo>
                    <a:pt x="928" y="86"/>
                  </a:lnTo>
                  <a:lnTo>
                    <a:pt x="937" y="78"/>
                  </a:lnTo>
                  <a:lnTo>
                    <a:pt x="945" y="68"/>
                  </a:lnTo>
                  <a:lnTo>
                    <a:pt x="951" y="60"/>
                  </a:lnTo>
                  <a:lnTo>
                    <a:pt x="956" y="53"/>
                  </a:lnTo>
                  <a:lnTo>
                    <a:pt x="959" y="49"/>
                  </a:lnTo>
                  <a:lnTo>
                    <a:pt x="961" y="47"/>
                  </a:lnTo>
                  <a:lnTo>
                    <a:pt x="968" y="45"/>
                  </a:lnTo>
                  <a:lnTo>
                    <a:pt x="974" y="45"/>
                  </a:lnTo>
                  <a:lnTo>
                    <a:pt x="980" y="45"/>
                  </a:lnTo>
                  <a:lnTo>
                    <a:pt x="987" y="45"/>
                  </a:lnTo>
                  <a:lnTo>
                    <a:pt x="987" y="52"/>
                  </a:lnTo>
                  <a:lnTo>
                    <a:pt x="988" y="60"/>
                  </a:lnTo>
                  <a:lnTo>
                    <a:pt x="991" y="69"/>
                  </a:lnTo>
                  <a:lnTo>
                    <a:pt x="993" y="79"/>
                  </a:lnTo>
                  <a:lnTo>
                    <a:pt x="996" y="86"/>
                  </a:lnTo>
                  <a:lnTo>
                    <a:pt x="998" y="88"/>
                  </a:lnTo>
                  <a:lnTo>
                    <a:pt x="1001" y="91"/>
                  </a:lnTo>
                  <a:lnTo>
                    <a:pt x="1000" y="93"/>
                  </a:lnTo>
                  <a:lnTo>
                    <a:pt x="1000" y="96"/>
                  </a:lnTo>
                  <a:lnTo>
                    <a:pt x="1000" y="100"/>
                  </a:lnTo>
                  <a:lnTo>
                    <a:pt x="998" y="103"/>
                  </a:lnTo>
                  <a:lnTo>
                    <a:pt x="996" y="105"/>
                  </a:lnTo>
                  <a:lnTo>
                    <a:pt x="989" y="107"/>
                  </a:lnTo>
                  <a:lnTo>
                    <a:pt x="983" y="107"/>
                  </a:lnTo>
                  <a:lnTo>
                    <a:pt x="975" y="107"/>
                  </a:lnTo>
                  <a:lnTo>
                    <a:pt x="973" y="106"/>
                  </a:lnTo>
                  <a:lnTo>
                    <a:pt x="972" y="106"/>
                  </a:lnTo>
                  <a:lnTo>
                    <a:pt x="967" y="107"/>
                  </a:lnTo>
                  <a:lnTo>
                    <a:pt x="963" y="110"/>
                  </a:lnTo>
                  <a:lnTo>
                    <a:pt x="960" y="115"/>
                  </a:lnTo>
                  <a:lnTo>
                    <a:pt x="958" y="118"/>
                  </a:lnTo>
                  <a:lnTo>
                    <a:pt x="956" y="119"/>
                  </a:lnTo>
                  <a:lnTo>
                    <a:pt x="955" y="120"/>
                  </a:lnTo>
                  <a:lnTo>
                    <a:pt x="953" y="120"/>
                  </a:lnTo>
                  <a:lnTo>
                    <a:pt x="951" y="122"/>
                  </a:lnTo>
                  <a:lnTo>
                    <a:pt x="946" y="129"/>
                  </a:lnTo>
                  <a:lnTo>
                    <a:pt x="941" y="135"/>
                  </a:lnTo>
                  <a:lnTo>
                    <a:pt x="939" y="138"/>
                  </a:lnTo>
                  <a:lnTo>
                    <a:pt x="937" y="143"/>
                  </a:lnTo>
                  <a:lnTo>
                    <a:pt x="937" y="151"/>
                  </a:lnTo>
                  <a:lnTo>
                    <a:pt x="939" y="161"/>
                  </a:lnTo>
                  <a:lnTo>
                    <a:pt x="942" y="169"/>
                  </a:lnTo>
                  <a:lnTo>
                    <a:pt x="944" y="170"/>
                  </a:lnTo>
                  <a:lnTo>
                    <a:pt x="946" y="170"/>
                  </a:lnTo>
                  <a:lnTo>
                    <a:pt x="950" y="168"/>
                  </a:lnTo>
                  <a:lnTo>
                    <a:pt x="953" y="167"/>
                  </a:lnTo>
                  <a:lnTo>
                    <a:pt x="953" y="168"/>
                  </a:lnTo>
                  <a:lnTo>
                    <a:pt x="951" y="170"/>
                  </a:lnTo>
                  <a:lnTo>
                    <a:pt x="949" y="173"/>
                  </a:lnTo>
                  <a:lnTo>
                    <a:pt x="940" y="177"/>
                  </a:lnTo>
                  <a:lnTo>
                    <a:pt x="936" y="179"/>
                  </a:lnTo>
                  <a:lnTo>
                    <a:pt x="932" y="177"/>
                  </a:lnTo>
                  <a:lnTo>
                    <a:pt x="925" y="174"/>
                  </a:lnTo>
                  <a:lnTo>
                    <a:pt x="921" y="174"/>
                  </a:lnTo>
                  <a:lnTo>
                    <a:pt x="908" y="179"/>
                  </a:lnTo>
                  <a:lnTo>
                    <a:pt x="895" y="182"/>
                  </a:lnTo>
                  <a:lnTo>
                    <a:pt x="889" y="184"/>
                  </a:lnTo>
                  <a:lnTo>
                    <a:pt x="885" y="187"/>
                  </a:lnTo>
                  <a:lnTo>
                    <a:pt x="881" y="192"/>
                  </a:lnTo>
                  <a:lnTo>
                    <a:pt x="878" y="196"/>
                  </a:lnTo>
                  <a:lnTo>
                    <a:pt x="876" y="201"/>
                  </a:lnTo>
                  <a:lnTo>
                    <a:pt x="876" y="205"/>
                  </a:lnTo>
                  <a:lnTo>
                    <a:pt x="880" y="212"/>
                  </a:lnTo>
                  <a:lnTo>
                    <a:pt x="881" y="213"/>
                  </a:lnTo>
                  <a:lnTo>
                    <a:pt x="880" y="214"/>
                  </a:lnTo>
                  <a:lnTo>
                    <a:pt x="879" y="218"/>
                  </a:lnTo>
                  <a:lnTo>
                    <a:pt x="878" y="222"/>
                  </a:lnTo>
                  <a:lnTo>
                    <a:pt x="876" y="225"/>
                  </a:lnTo>
                  <a:lnTo>
                    <a:pt x="875" y="226"/>
                  </a:lnTo>
                  <a:lnTo>
                    <a:pt x="871" y="226"/>
                  </a:lnTo>
                  <a:lnTo>
                    <a:pt x="867" y="225"/>
                  </a:lnTo>
                  <a:lnTo>
                    <a:pt x="864" y="221"/>
                  </a:lnTo>
                  <a:lnTo>
                    <a:pt x="861" y="218"/>
                  </a:lnTo>
                  <a:lnTo>
                    <a:pt x="861" y="217"/>
                  </a:lnTo>
                  <a:lnTo>
                    <a:pt x="860" y="217"/>
                  </a:lnTo>
                  <a:lnTo>
                    <a:pt x="860" y="224"/>
                  </a:lnTo>
                  <a:lnTo>
                    <a:pt x="861" y="230"/>
                  </a:lnTo>
                  <a:lnTo>
                    <a:pt x="862" y="235"/>
                  </a:lnTo>
                  <a:lnTo>
                    <a:pt x="864" y="241"/>
                  </a:lnTo>
                  <a:lnTo>
                    <a:pt x="864" y="245"/>
                  </a:lnTo>
                  <a:lnTo>
                    <a:pt x="864" y="247"/>
                  </a:lnTo>
                  <a:lnTo>
                    <a:pt x="860" y="253"/>
                  </a:lnTo>
                  <a:lnTo>
                    <a:pt x="857" y="258"/>
                  </a:lnTo>
                  <a:lnTo>
                    <a:pt x="853" y="267"/>
                  </a:lnTo>
                  <a:lnTo>
                    <a:pt x="851" y="267"/>
                  </a:lnTo>
                  <a:lnTo>
                    <a:pt x="848" y="267"/>
                  </a:lnTo>
                  <a:lnTo>
                    <a:pt x="848" y="265"/>
                  </a:lnTo>
                  <a:lnTo>
                    <a:pt x="847" y="250"/>
                  </a:lnTo>
                  <a:lnTo>
                    <a:pt x="845" y="243"/>
                  </a:lnTo>
                  <a:lnTo>
                    <a:pt x="842" y="240"/>
                  </a:lnTo>
                  <a:lnTo>
                    <a:pt x="840" y="237"/>
                  </a:lnTo>
                  <a:lnTo>
                    <a:pt x="838" y="235"/>
                  </a:lnTo>
                  <a:lnTo>
                    <a:pt x="838" y="233"/>
                  </a:lnTo>
                  <a:lnTo>
                    <a:pt x="840" y="227"/>
                  </a:lnTo>
                  <a:lnTo>
                    <a:pt x="840" y="226"/>
                  </a:lnTo>
                  <a:lnTo>
                    <a:pt x="838" y="226"/>
                  </a:lnTo>
                  <a:lnTo>
                    <a:pt x="836" y="226"/>
                  </a:lnTo>
                  <a:lnTo>
                    <a:pt x="833" y="226"/>
                  </a:lnTo>
                  <a:lnTo>
                    <a:pt x="832" y="228"/>
                  </a:lnTo>
                  <a:lnTo>
                    <a:pt x="833" y="230"/>
                  </a:lnTo>
                  <a:lnTo>
                    <a:pt x="834" y="234"/>
                  </a:lnTo>
                  <a:lnTo>
                    <a:pt x="834" y="238"/>
                  </a:lnTo>
                  <a:lnTo>
                    <a:pt x="834" y="243"/>
                  </a:lnTo>
                  <a:lnTo>
                    <a:pt x="836" y="246"/>
                  </a:lnTo>
                  <a:lnTo>
                    <a:pt x="840" y="251"/>
                  </a:lnTo>
                  <a:lnTo>
                    <a:pt x="841" y="254"/>
                  </a:lnTo>
                  <a:lnTo>
                    <a:pt x="841" y="257"/>
                  </a:lnTo>
                  <a:lnTo>
                    <a:pt x="840" y="263"/>
                  </a:lnTo>
                  <a:lnTo>
                    <a:pt x="838" y="265"/>
                  </a:lnTo>
                  <a:lnTo>
                    <a:pt x="838" y="269"/>
                  </a:lnTo>
                  <a:lnTo>
                    <a:pt x="841" y="273"/>
                  </a:lnTo>
                  <a:lnTo>
                    <a:pt x="845" y="278"/>
                  </a:lnTo>
                  <a:lnTo>
                    <a:pt x="847" y="284"/>
                  </a:lnTo>
                  <a:lnTo>
                    <a:pt x="848" y="286"/>
                  </a:lnTo>
                  <a:lnTo>
                    <a:pt x="847" y="290"/>
                  </a:lnTo>
                  <a:lnTo>
                    <a:pt x="846" y="292"/>
                  </a:lnTo>
                  <a:lnTo>
                    <a:pt x="842" y="292"/>
                  </a:lnTo>
                  <a:lnTo>
                    <a:pt x="840" y="292"/>
                  </a:lnTo>
                  <a:lnTo>
                    <a:pt x="838" y="294"/>
                  </a:lnTo>
                  <a:lnTo>
                    <a:pt x="837" y="296"/>
                  </a:lnTo>
                  <a:lnTo>
                    <a:pt x="838" y="297"/>
                  </a:lnTo>
                  <a:lnTo>
                    <a:pt x="840" y="298"/>
                  </a:lnTo>
                  <a:lnTo>
                    <a:pt x="842" y="298"/>
                  </a:lnTo>
                  <a:lnTo>
                    <a:pt x="847" y="298"/>
                  </a:lnTo>
                  <a:lnTo>
                    <a:pt x="852" y="297"/>
                  </a:lnTo>
                  <a:lnTo>
                    <a:pt x="853" y="298"/>
                  </a:lnTo>
                  <a:lnTo>
                    <a:pt x="853" y="301"/>
                  </a:lnTo>
                  <a:lnTo>
                    <a:pt x="852" y="305"/>
                  </a:lnTo>
                  <a:lnTo>
                    <a:pt x="851" y="307"/>
                  </a:lnTo>
                  <a:lnTo>
                    <a:pt x="848" y="308"/>
                  </a:lnTo>
                  <a:lnTo>
                    <a:pt x="845" y="308"/>
                  </a:lnTo>
                  <a:lnTo>
                    <a:pt x="841" y="308"/>
                  </a:lnTo>
                  <a:lnTo>
                    <a:pt x="836" y="308"/>
                  </a:lnTo>
                  <a:lnTo>
                    <a:pt x="836" y="309"/>
                  </a:lnTo>
                  <a:lnTo>
                    <a:pt x="836" y="310"/>
                  </a:lnTo>
                  <a:lnTo>
                    <a:pt x="837" y="313"/>
                  </a:lnTo>
                  <a:lnTo>
                    <a:pt x="840" y="315"/>
                  </a:lnTo>
                  <a:lnTo>
                    <a:pt x="842" y="316"/>
                  </a:lnTo>
                  <a:lnTo>
                    <a:pt x="843" y="318"/>
                  </a:lnTo>
                  <a:lnTo>
                    <a:pt x="843" y="321"/>
                  </a:lnTo>
                  <a:lnTo>
                    <a:pt x="842" y="323"/>
                  </a:lnTo>
                  <a:lnTo>
                    <a:pt x="840" y="324"/>
                  </a:lnTo>
                  <a:lnTo>
                    <a:pt x="831" y="323"/>
                  </a:lnTo>
                  <a:lnTo>
                    <a:pt x="827" y="323"/>
                  </a:lnTo>
                  <a:lnTo>
                    <a:pt x="824" y="324"/>
                  </a:lnTo>
                  <a:lnTo>
                    <a:pt x="819" y="329"/>
                  </a:lnTo>
                  <a:lnTo>
                    <a:pt x="812" y="336"/>
                  </a:lnTo>
                  <a:lnTo>
                    <a:pt x="808" y="339"/>
                  </a:lnTo>
                  <a:lnTo>
                    <a:pt x="803" y="341"/>
                  </a:lnTo>
                  <a:lnTo>
                    <a:pt x="794" y="346"/>
                  </a:lnTo>
                  <a:lnTo>
                    <a:pt x="791" y="348"/>
                  </a:lnTo>
                  <a:lnTo>
                    <a:pt x="789" y="353"/>
                  </a:lnTo>
                  <a:lnTo>
                    <a:pt x="786" y="355"/>
                  </a:lnTo>
                  <a:lnTo>
                    <a:pt x="784" y="359"/>
                  </a:lnTo>
                  <a:lnTo>
                    <a:pt x="776" y="365"/>
                  </a:lnTo>
                  <a:lnTo>
                    <a:pt x="773" y="366"/>
                  </a:lnTo>
                  <a:lnTo>
                    <a:pt x="771" y="367"/>
                  </a:lnTo>
                  <a:lnTo>
                    <a:pt x="768" y="368"/>
                  </a:lnTo>
                  <a:lnTo>
                    <a:pt x="767" y="369"/>
                  </a:lnTo>
                  <a:lnTo>
                    <a:pt x="763" y="373"/>
                  </a:lnTo>
                  <a:lnTo>
                    <a:pt x="761" y="377"/>
                  </a:lnTo>
                  <a:lnTo>
                    <a:pt x="758" y="377"/>
                  </a:lnTo>
                  <a:lnTo>
                    <a:pt x="756" y="378"/>
                  </a:lnTo>
                  <a:lnTo>
                    <a:pt x="752" y="378"/>
                  </a:lnTo>
                  <a:lnTo>
                    <a:pt x="751" y="381"/>
                  </a:lnTo>
                  <a:lnTo>
                    <a:pt x="749" y="386"/>
                  </a:lnTo>
                  <a:lnTo>
                    <a:pt x="749" y="393"/>
                  </a:lnTo>
                  <a:lnTo>
                    <a:pt x="751" y="406"/>
                  </a:lnTo>
                  <a:lnTo>
                    <a:pt x="754" y="419"/>
                  </a:lnTo>
                  <a:lnTo>
                    <a:pt x="758" y="432"/>
                  </a:lnTo>
                  <a:lnTo>
                    <a:pt x="763" y="441"/>
                  </a:lnTo>
                  <a:lnTo>
                    <a:pt x="765" y="445"/>
                  </a:lnTo>
                  <a:lnTo>
                    <a:pt x="766" y="450"/>
                  </a:lnTo>
                  <a:lnTo>
                    <a:pt x="765" y="456"/>
                  </a:lnTo>
                  <a:lnTo>
                    <a:pt x="765" y="461"/>
                  </a:lnTo>
                  <a:lnTo>
                    <a:pt x="767" y="467"/>
                  </a:lnTo>
                  <a:lnTo>
                    <a:pt x="768" y="469"/>
                  </a:lnTo>
                  <a:lnTo>
                    <a:pt x="771" y="471"/>
                  </a:lnTo>
                  <a:lnTo>
                    <a:pt x="772" y="473"/>
                  </a:lnTo>
                  <a:lnTo>
                    <a:pt x="772" y="476"/>
                  </a:lnTo>
                  <a:lnTo>
                    <a:pt x="772" y="479"/>
                  </a:lnTo>
                  <a:lnTo>
                    <a:pt x="772" y="481"/>
                  </a:lnTo>
                  <a:lnTo>
                    <a:pt x="775" y="488"/>
                  </a:lnTo>
                  <a:lnTo>
                    <a:pt x="775" y="494"/>
                  </a:lnTo>
                  <a:lnTo>
                    <a:pt x="773" y="495"/>
                  </a:lnTo>
                  <a:lnTo>
                    <a:pt x="773" y="501"/>
                  </a:lnTo>
                  <a:lnTo>
                    <a:pt x="772" y="506"/>
                  </a:lnTo>
                  <a:lnTo>
                    <a:pt x="771" y="509"/>
                  </a:lnTo>
                  <a:lnTo>
                    <a:pt x="767" y="513"/>
                  </a:lnTo>
                  <a:lnTo>
                    <a:pt x="765" y="515"/>
                  </a:lnTo>
                  <a:lnTo>
                    <a:pt x="760" y="518"/>
                  </a:lnTo>
                  <a:lnTo>
                    <a:pt x="754" y="518"/>
                  </a:lnTo>
                  <a:lnTo>
                    <a:pt x="749" y="516"/>
                  </a:lnTo>
                  <a:lnTo>
                    <a:pt x="751" y="515"/>
                  </a:lnTo>
                  <a:lnTo>
                    <a:pt x="753" y="514"/>
                  </a:lnTo>
                  <a:lnTo>
                    <a:pt x="754" y="512"/>
                  </a:lnTo>
                  <a:lnTo>
                    <a:pt x="754" y="511"/>
                  </a:lnTo>
                  <a:lnTo>
                    <a:pt x="752" y="506"/>
                  </a:lnTo>
                  <a:lnTo>
                    <a:pt x="747" y="501"/>
                  </a:lnTo>
                  <a:lnTo>
                    <a:pt x="738" y="495"/>
                  </a:lnTo>
                  <a:lnTo>
                    <a:pt x="737" y="493"/>
                  </a:lnTo>
                  <a:lnTo>
                    <a:pt x="737" y="492"/>
                  </a:lnTo>
                  <a:lnTo>
                    <a:pt x="737" y="487"/>
                  </a:lnTo>
                  <a:lnTo>
                    <a:pt x="729" y="476"/>
                  </a:lnTo>
                  <a:lnTo>
                    <a:pt x="728" y="471"/>
                  </a:lnTo>
                  <a:lnTo>
                    <a:pt x="727" y="469"/>
                  </a:lnTo>
                  <a:lnTo>
                    <a:pt x="728" y="465"/>
                  </a:lnTo>
                  <a:lnTo>
                    <a:pt x="729" y="460"/>
                  </a:lnTo>
                  <a:lnTo>
                    <a:pt x="729" y="452"/>
                  </a:lnTo>
                  <a:lnTo>
                    <a:pt x="729" y="447"/>
                  </a:lnTo>
                  <a:lnTo>
                    <a:pt x="725" y="442"/>
                  </a:lnTo>
                  <a:lnTo>
                    <a:pt x="723" y="438"/>
                  </a:lnTo>
                  <a:lnTo>
                    <a:pt x="718" y="436"/>
                  </a:lnTo>
                  <a:lnTo>
                    <a:pt x="715" y="433"/>
                  </a:lnTo>
                  <a:lnTo>
                    <a:pt x="713" y="431"/>
                  </a:lnTo>
                  <a:lnTo>
                    <a:pt x="713" y="426"/>
                  </a:lnTo>
                  <a:lnTo>
                    <a:pt x="709" y="424"/>
                  </a:lnTo>
                  <a:lnTo>
                    <a:pt x="704" y="419"/>
                  </a:lnTo>
                  <a:lnTo>
                    <a:pt x="701" y="418"/>
                  </a:lnTo>
                  <a:lnTo>
                    <a:pt x="700" y="418"/>
                  </a:lnTo>
                  <a:lnTo>
                    <a:pt x="695" y="419"/>
                  </a:lnTo>
                  <a:lnTo>
                    <a:pt x="686" y="424"/>
                  </a:lnTo>
                  <a:lnTo>
                    <a:pt x="682" y="424"/>
                  </a:lnTo>
                  <a:lnTo>
                    <a:pt x="680" y="423"/>
                  </a:lnTo>
                  <a:lnTo>
                    <a:pt x="677" y="420"/>
                  </a:lnTo>
                  <a:lnTo>
                    <a:pt x="674" y="419"/>
                  </a:lnTo>
                  <a:lnTo>
                    <a:pt x="669" y="416"/>
                  </a:lnTo>
                  <a:lnTo>
                    <a:pt x="667" y="411"/>
                  </a:lnTo>
                  <a:lnTo>
                    <a:pt x="666" y="411"/>
                  </a:lnTo>
                  <a:lnTo>
                    <a:pt x="664" y="411"/>
                  </a:lnTo>
                  <a:lnTo>
                    <a:pt x="659" y="414"/>
                  </a:lnTo>
                  <a:lnTo>
                    <a:pt x="653" y="417"/>
                  </a:lnTo>
                  <a:lnTo>
                    <a:pt x="647" y="417"/>
                  </a:lnTo>
                  <a:lnTo>
                    <a:pt x="639" y="416"/>
                  </a:lnTo>
                  <a:lnTo>
                    <a:pt x="638" y="416"/>
                  </a:lnTo>
                  <a:lnTo>
                    <a:pt x="635" y="417"/>
                  </a:lnTo>
                  <a:lnTo>
                    <a:pt x="631" y="419"/>
                  </a:lnTo>
                  <a:lnTo>
                    <a:pt x="626" y="419"/>
                  </a:lnTo>
                  <a:lnTo>
                    <a:pt x="622" y="418"/>
                  </a:lnTo>
                  <a:lnTo>
                    <a:pt x="617" y="416"/>
                  </a:lnTo>
                  <a:lnTo>
                    <a:pt x="613" y="416"/>
                  </a:lnTo>
                  <a:lnTo>
                    <a:pt x="610" y="416"/>
                  </a:lnTo>
                  <a:lnTo>
                    <a:pt x="608" y="418"/>
                  </a:lnTo>
                  <a:lnTo>
                    <a:pt x="607" y="419"/>
                  </a:lnTo>
                  <a:lnTo>
                    <a:pt x="607" y="422"/>
                  </a:lnTo>
                  <a:lnTo>
                    <a:pt x="610" y="424"/>
                  </a:lnTo>
                  <a:lnTo>
                    <a:pt x="612" y="428"/>
                  </a:lnTo>
                  <a:lnTo>
                    <a:pt x="612" y="433"/>
                  </a:lnTo>
                  <a:lnTo>
                    <a:pt x="612" y="436"/>
                  </a:lnTo>
                  <a:lnTo>
                    <a:pt x="615" y="438"/>
                  </a:lnTo>
                  <a:lnTo>
                    <a:pt x="616" y="441"/>
                  </a:lnTo>
                  <a:lnTo>
                    <a:pt x="616" y="443"/>
                  </a:lnTo>
                  <a:lnTo>
                    <a:pt x="615" y="444"/>
                  </a:lnTo>
                  <a:lnTo>
                    <a:pt x="612" y="443"/>
                  </a:lnTo>
                  <a:lnTo>
                    <a:pt x="610" y="442"/>
                  </a:lnTo>
                  <a:lnTo>
                    <a:pt x="607" y="441"/>
                  </a:lnTo>
                  <a:lnTo>
                    <a:pt x="606" y="438"/>
                  </a:lnTo>
                  <a:lnTo>
                    <a:pt x="603" y="437"/>
                  </a:lnTo>
                  <a:lnTo>
                    <a:pt x="602" y="437"/>
                  </a:lnTo>
                  <a:lnTo>
                    <a:pt x="601" y="438"/>
                  </a:lnTo>
                  <a:lnTo>
                    <a:pt x="598" y="438"/>
                  </a:lnTo>
                  <a:lnTo>
                    <a:pt x="597" y="438"/>
                  </a:lnTo>
                  <a:lnTo>
                    <a:pt x="594" y="437"/>
                  </a:lnTo>
                  <a:lnTo>
                    <a:pt x="591" y="437"/>
                  </a:lnTo>
                  <a:lnTo>
                    <a:pt x="588" y="438"/>
                  </a:lnTo>
                  <a:lnTo>
                    <a:pt x="587" y="438"/>
                  </a:lnTo>
                  <a:lnTo>
                    <a:pt x="584" y="433"/>
                  </a:lnTo>
                  <a:lnTo>
                    <a:pt x="582" y="432"/>
                  </a:lnTo>
                  <a:lnTo>
                    <a:pt x="574" y="429"/>
                  </a:lnTo>
                  <a:lnTo>
                    <a:pt x="570" y="426"/>
                  </a:lnTo>
                  <a:lnTo>
                    <a:pt x="565" y="426"/>
                  </a:lnTo>
                  <a:lnTo>
                    <a:pt x="560" y="425"/>
                  </a:lnTo>
                  <a:lnTo>
                    <a:pt x="550" y="422"/>
                  </a:lnTo>
                  <a:lnTo>
                    <a:pt x="546" y="422"/>
                  </a:lnTo>
                  <a:lnTo>
                    <a:pt x="542" y="422"/>
                  </a:lnTo>
                  <a:lnTo>
                    <a:pt x="536" y="424"/>
                  </a:lnTo>
                  <a:lnTo>
                    <a:pt x="531" y="425"/>
                  </a:lnTo>
                  <a:lnTo>
                    <a:pt x="526" y="426"/>
                  </a:lnTo>
                  <a:lnTo>
                    <a:pt x="521" y="426"/>
                  </a:lnTo>
                  <a:lnTo>
                    <a:pt x="517" y="429"/>
                  </a:lnTo>
                  <a:lnTo>
                    <a:pt x="507" y="438"/>
                  </a:lnTo>
                  <a:lnTo>
                    <a:pt x="503" y="443"/>
                  </a:lnTo>
                  <a:lnTo>
                    <a:pt x="500" y="449"/>
                  </a:lnTo>
                  <a:lnTo>
                    <a:pt x="498" y="452"/>
                  </a:lnTo>
                  <a:lnTo>
                    <a:pt x="494" y="454"/>
                  </a:lnTo>
                  <a:lnTo>
                    <a:pt x="493" y="452"/>
                  </a:lnTo>
                  <a:lnTo>
                    <a:pt x="490" y="452"/>
                  </a:lnTo>
                  <a:lnTo>
                    <a:pt x="488" y="452"/>
                  </a:lnTo>
                  <a:lnTo>
                    <a:pt x="485" y="452"/>
                  </a:lnTo>
                  <a:lnTo>
                    <a:pt x="480" y="456"/>
                  </a:lnTo>
                  <a:lnTo>
                    <a:pt x="476" y="462"/>
                  </a:lnTo>
                  <a:lnTo>
                    <a:pt x="474" y="467"/>
                  </a:lnTo>
                  <a:lnTo>
                    <a:pt x="471" y="474"/>
                  </a:lnTo>
                  <a:lnTo>
                    <a:pt x="470" y="481"/>
                  </a:lnTo>
                  <a:lnTo>
                    <a:pt x="471" y="488"/>
                  </a:lnTo>
                  <a:lnTo>
                    <a:pt x="473" y="495"/>
                  </a:lnTo>
                  <a:lnTo>
                    <a:pt x="474" y="497"/>
                  </a:lnTo>
                  <a:lnTo>
                    <a:pt x="474" y="50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3" name="Freeform 1012"/>
            <p:cNvSpPr>
              <a:spLocks/>
            </p:cNvSpPr>
            <p:nvPr/>
          </p:nvSpPr>
          <p:spPr bwMode="auto">
            <a:xfrm>
              <a:off x="1038228" y="2603501"/>
              <a:ext cx="9525" cy="20638"/>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2147483647 w 6"/>
                <a:gd name="T11" fmla="*/ 2147483647 h 13"/>
                <a:gd name="T12" fmla="*/ 2147483647 w 6"/>
                <a:gd name="T13" fmla="*/ 2147483647 h 13"/>
                <a:gd name="T14" fmla="*/ 0 w 6"/>
                <a:gd name="T15" fmla="*/ 2147483647 h 13"/>
                <a:gd name="T16" fmla="*/ 0 w 6"/>
                <a:gd name="T17" fmla="*/ 2147483647 h 13"/>
                <a:gd name="T18" fmla="*/ 2147483647 w 6"/>
                <a:gd name="T19" fmla="*/ 0 h 13"/>
                <a:gd name="T20" fmla="*/ 2147483647 w 6"/>
                <a:gd name="T21" fmla="*/ 0 h 13"/>
                <a:gd name="T22" fmla="*/ 2147483647 w 6"/>
                <a:gd name="T23" fmla="*/ 0 h 13"/>
                <a:gd name="T24" fmla="*/ 2147483647 w 6"/>
                <a:gd name="T25" fmla="*/ 0 h 13"/>
                <a:gd name="T26" fmla="*/ 2147483647 w 6"/>
                <a:gd name="T27" fmla="*/ 2147483647 h 13"/>
                <a:gd name="T28" fmla="*/ 2147483647 w 6"/>
                <a:gd name="T29" fmla="*/ 2147483647 h 13"/>
                <a:gd name="T30" fmla="*/ 2147483647 w 6"/>
                <a:gd name="T31" fmla="*/ 2147483647 h 13"/>
                <a:gd name="T32" fmla="*/ 2147483647 w 6"/>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13"/>
                <a:gd name="T53" fmla="*/ 6 w 6"/>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13">
                  <a:moveTo>
                    <a:pt x="6" y="8"/>
                  </a:moveTo>
                  <a:lnTo>
                    <a:pt x="6" y="8"/>
                  </a:lnTo>
                  <a:lnTo>
                    <a:pt x="6" y="10"/>
                  </a:lnTo>
                  <a:lnTo>
                    <a:pt x="5" y="13"/>
                  </a:lnTo>
                  <a:lnTo>
                    <a:pt x="3" y="13"/>
                  </a:lnTo>
                  <a:lnTo>
                    <a:pt x="1" y="11"/>
                  </a:lnTo>
                  <a:lnTo>
                    <a:pt x="0" y="8"/>
                  </a:lnTo>
                  <a:lnTo>
                    <a:pt x="0" y="3"/>
                  </a:lnTo>
                  <a:lnTo>
                    <a:pt x="1" y="0"/>
                  </a:lnTo>
                  <a:lnTo>
                    <a:pt x="3" y="0"/>
                  </a:lnTo>
                  <a:lnTo>
                    <a:pt x="5" y="1"/>
                  </a:lnTo>
                  <a:lnTo>
                    <a:pt x="5" y="3"/>
                  </a:lnTo>
                  <a:lnTo>
                    <a:pt x="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4" name="Freeform 1013"/>
            <p:cNvSpPr>
              <a:spLocks/>
            </p:cNvSpPr>
            <p:nvPr/>
          </p:nvSpPr>
          <p:spPr bwMode="auto">
            <a:xfrm>
              <a:off x="1004889" y="2543175"/>
              <a:ext cx="17462" cy="12700"/>
            </a:xfrm>
            <a:custGeom>
              <a:avLst/>
              <a:gdLst>
                <a:gd name="T0" fmla="*/ 2147483647 w 12"/>
                <a:gd name="T1" fmla="*/ 2147483647 h 8"/>
                <a:gd name="T2" fmla="*/ 2147483647 w 12"/>
                <a:gd name="T3" fmla="*/ 2147483647 h 8"/>
                <a:gd name="T4" fmla="*/ 0 w 12"/>
                <a:gd name="T5" fmla="*/ 2147483647 h 8"/>
                <a:gd name="T6" fmla="*/ 2147483647 w 12"/>
                <a:gd name="T7" fmla="*/ 2147483647 h 8"/>
                <a:gd name="T8" fmla="*/ 2147483647 w 12"/>
                <a:gd name="T9" fmla="*/ 0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2147483647 h 8"/>
                <a:gd name="T20" fmla="*/ 2147483647 w 12"/>
                <a:gd name="T21" fmla="*/ 2147483647 h 8"/>
                <a:gd name="T22" fmla="*/ 2147483647 w 12"/>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8"/>
                <a:gd name="T38" fmla="*/ 12 w 12"/>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8">
                  <a:moveTo>
                    <a:pt x="5" y="6"/>
                  </a:moveTo>
                  <a:lnTo>
                    <a:pt x="1" y="4"/>
                  </a:lnTo>
                  <a:lnTo>
                    <a:pt x="0" y="2"/>
                  </a:lnTo>
                  <a:lnTo>
                    <a:pt x="1" y="1"/>
                  </a:lnTo>
                  <a:lnTo>
                    <a:pt x="4" y="0"/>
                  </a:lnTo>
                  <a:lnTo>
                    <a:pt x="7" y="1"/>
                  </a:lnTo>
                  <a:lnTo>
                    <a:pt x="10" y="2"/>
                  </a:lnTo>
                  <a:lnTo>
                    <a:pt x="11" y="6"/>
                  </a:lnTo>
                  <a:lnTo>
                    <a:pt x="12" y="7"/>
                  </a:lnTo>
                  <a:lnTo>
                    <a:pt x="11" y="8"/>
                  </a:lnTo>
                  <a:lnTo>
                    <a:pt x="7" y="8"/>
                  </a:lnTo>
                  <a:lnTo>
                    <a:pt x="5"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5" name="Freeform 1014"/>
            <p:cNvSpPr>
              <a:spLocks/>
            </p:cNvSpPr>
            <p:nvPr/>
          </p:nvSpPr>
          <p:spPr bwMode="auto">
            <a:xfrm>
              <a:off x="984252" y="2603503"/>
              <a:ext cx="28574" cy="34925"/>
            </a:xfrm>
            <a:custGeom>
              <a:avLst/>
              <a:gdLst>
                <a:gd name="T0" fmla="*/ 2147483647 w 19"/>
                <a:gd name="T1" fmla="*/ 2147483647 h 22"/>
                <a:gd name="T2" fmla="*/ 2147483647 w 19"/>
                <a:gd name="T3" fmla="*/ 2147483647 h 22"/>
                <a:gd name="T4" fmla="*/ 2147483647 w 19"/>
                <a:gd name="T5" fmla="*/ 2147483647 h 22"/>
                <a:gd name="T6" fmla="*/ 2147483647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2147483647 h 22"/>
                <a:gd name="T16" fmla="*/ 2147483647 w 19"/>
                <a:gd name="T17" fmla="*/ 2147483647 h 22"/>
                <a:gd name="T18" fmla="*/ 2147483647 w 19"/>
                <a:gd name="T19" fmla="*/ 0 h 22"/>
                <a:gd name="T20" fmla="*/ 2147483647 w 19"/>
                <a:gd name="T21" fmla="*/ 0 h 22"/>
                <a:gd name="T22" fmla="*/ 0 w 19"/>
                <a:gd name="T23" fmla="*/ 2147483647 h 22"/>
                <a:gd name="T24" fmla="*/ 0 w 19"/>
                <a:gd name="T25" fmla="*/ 2147483647 h 22"/>
                <a:gd name="T26" fmla="*/ 0 w 19"/>
                <a:gd name="T27" fmla="*/ 2147483647 h 22"/>
                <a:gd name="T28" fmla="*/ 2147483647 w 19"/>
                <a:gd name="T29" fmla="*/ 2147483647 h 22"/>
                <a:gd name="T30" fmla="*/ 2147483647 w 19"/>
                <a:gd name="T31" fmla="*/ 2147483647 h 22"/>
                <a:gd name="T32" fmla="*/ 2147483647 w 19"/>
                <a:gd name="T33" fmla="*/ 2147483647 h 22"/>
                <a:gd name="T34" fmla="*/ 2147483647 w 19"/>
                <a:gd name="T35" fmla="*/ 2147483647 h 22"/>
                <a:gd name="T36" fmla="*/ 2147483647 w 19"/>
                <a:gd name="T37" fmla="*/ 2147483647 h 22"/>
                <a:gd name="T38" fmla="*/ 2147483647 w 19"/>
                <a:gd name="T39" fmla="*/ 2147483647 h 22"/>
                <a:gd name="T40" fmla="*/ 2147483647 w 19"/>
                <a:gd name="T41" fmla="*/ 2147483647 h 22"/>
                <a:gd name="T42" fmla="*/ 2147483647 w 19"/>
                <a:gd name="T43" fmla="*/ 2147483647 h 22"/>
                <a:gd name="T44" fmla="*/ 2147483647 w 19"/>
                <a:gd name="T45" fmla="*/ 2147483647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22"/>
                <a:gd name="T71" fmla="*/ 19 w 19"/>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22">
                  <a:moveTo>
                    <a:pt x="16" y="16"/>
                  </a:moveTo>
                  <a:lnTo>
                    <a:pt x="16" y="13"/>
                  </a:lnTo>
                  <a:lnTo>
                    <a:pt x="18" y="9"/>
                  </a:lnTo>
                  <a:lnTo>
                    <a:pt x="19" y="7"/>
                  </a:lnTo>
                  <a:lnTo>
                    <a:pt x="18" y="3"/>
                  </a:lnTo>
                  <a:lnTo>
                    <a:pt x="16" y="2"/>
                  </a:lnTo>
                  <a:lnTo>
                    <a:pt x="14" y="2"/>
                  </a:lnTo>
                  <a:lnTo>
                    <a:pt x="10" y="2"/>
                  </a:lnTo>
                  <a:lnTo>
                    <a:pt x="6" y="1"/>
                  </a:lnTo>
                  <a:lnTo>
                    <a:pt x="5" y="0"/>
                  </a:lnTo>
                  <a:lnTo>
                    <a:pt x="2" y="0"/>
                  </a:lnTo>
                  <a:lnTo>
                    <a:pt x="0" y="3"/>
                  </a:lnTo>
                  <a:lnTo>
                    <a:pt x="0" y="7"/>
                  </a:lnTo>
                  <a:lnTo>
                    <a:pt x="0" y="9"/>
                  </a:lnTo>
                  <a:lnTo>
                    <a:pt x="1" y="13"/>
                  </a:lnTo>
                  <a:lnTo>
                    <a:pt x="4" y="16"/>
                  </a:lnTo>
                  <a:lnTo>
                    <a:pt x="6" y="19"/>
                  </a:lnTo>
                  <a:lnTo>
                    <a:pt x="9" y="21"/>
                  </a:lnTo>
                  <a:lnTo>
                    <a:pt x="12" y="22"/>
                  </a:lnTo>
                  <a:lnTo>
                    <a:pt x="15" y="22"/>
                  </a:lnTo>
                  <a:lnTo>
                    <a:pt x="16" y="20"/>
                  </a:lnTo>
                  <a:lnTo>
                    <a:pt x="18" y="19"/>
                  </a:lnTo>
                  <a:lnTo>
                    <a:pt x="16"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6" name="Freeform 1015"/>
            <p:cNvSpPr>
              <a:spLocks/>
            </p:cNvSpPr>
            <p:nvPr/>
          </p:nvSpPr>
          <p:spPr bwMode="auto">
            <a:xfrm>
              <a:off x="1001713" y="2540003"/>
              <a:ext cx="19050" cy="14288"/>
            </a:xfrm>
            <a:custGeom>
              <a:avLst/>
              <a:gdLst>
                <a:gd name="T0" fmla="*/ 2147483647 w 13"/>
                <a:gd name="T1" fmla="*/ 2147483647 h 9"/>
                <a:gd name="T2" fmla="*/ 2147483647 w 13"/>
                <a:gd name="T3" fmla="*/ 2147483647 h 9"/>
                <a:gd name="T4" fmla="*/ 2147483647 w 13"/>
                <a:gd name="T5" fmla="*/ 2147483647 h 9"/>
                <a:gd name="T6" fmla="*/ 0 w 13"/>
                <a:gd name="T7" fmla="*/ 2147483647 h 9"/>
                <a:gd name="T8" fmla="*/ 2147483647 w 13"/>
                <a:gd name="T9" fmla="*/ 2147483647 h 9"/>
                <a:gd name="T10" fmla="*/ 2147483647 w 13"/>
                <a:gd name="T11" fmla="*/ 2147483647 h 9"/>
                <a:gd name="T12" fmla="*/ 2147483647 w 13"/>
                <a:gd name="T13" fmla="*/ 0 h 9"/>
                <a:gd name="T14" fmla="*/ 2147483647 w 13"/>
                <a:gd name="T15" fmla="*/ 2147483647 h 9"/>
                <a:gd name="T16" fmla="*/ 2147483647 w 13"/>
                <a:gd name="T17" fmla="*/ 2147483647 h 9"/>
                <a:gd name="T18" fmla="*/ 2147483647 w 13"/>
                <a:gd name="T19" fmla="*/ 2147483647 h 9"/>
                <a:gd name="T20" fmla="*/ 2147483647 w 13"/>
                <a:gd name="T21" fmla="*/ 2147483647 h 9"/>
                <a:gd name="T22" fmla="*/ 2147483647 w 13"/>
                <a:gd name="T23" fmla="*/ 2147483647 h 9"/>
                <a:gd name="T24" fmla="*/ 2147483647 w 13"/>
                <a:gd name="T25" fmla="*/ 2147483647 h 9"/>
                <a:gd name="T26" fmla="*/ 2147483647 w 13"/>
                <a:gd name="T27" fmla="*/ 2147483647 h 9"/>
                <a:gd name="T28" fmla="*/ 2147483647 w 13"/>
                <a:gd name="T29" fmla="*/ 2147483647 h 9"/>
                <a:gd name="T30" fmla="*/ 2147483647 w 13"/>
                <a:gd name="T31" fmla="*/ 2147483647 h 9"/>
                <a:gd name="T32" fmla="*/ 2147483647 w 13"/>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9"/>
                <a:gd name="T53" fmla="*/ 13 w 13"/>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9">
                  <a:moveTo>
                    <a:pt x="6" y="6"/>
                  </a:moveTo>
                  <a:lnTo>
                    <a:pt x="6" y="6"/>
                  </a:lnTo>
                  <a:lnTo>
                    <a:pt x="2" y="5"/>
                  </a:lnTo>
                  <a:lnTo>
                    <a:pt x="0" y="3"/>
                  </a:lnTo>
                  <a:lnTo>
                    <a:pt x="2" y="2"/>
                  </a:lnTo>
                  <a:lnTo>
                    <a:pt x="4" y="0"/>
                  </a:lnTo>
                  <a:lnTo>
                    <a:pt x="8" y="2"/>
                  </a:lnTo>
                  <a:lnTo>
                    <a:pt x="11" y="3"/>
                  </a:lnTo>
                  <a:lnTo>
                    <a:pt x="12" y="6"/>
                  </a:lnTo>
                  <a:lnTo>
                    <a:pt x="13" y="8"/>
                  </a:lnTo>
                  <a:lnTo>
                    <a:pt x="12" y="9"/>
                  </a:lnTo>
                  <a:lnTo>
                    <a:pt x="8" y="9"/>
                  </a:lnTo>
                  <a:lnTo>
                    <a:pt x="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7" name="Freeform 1016"/>
            <p:cNvSpPr>
              <a:spLocks/>
            </p:cNvSpPr>
            <p:nvPr/>
          </p:nvSpPr>
          <p:spPr bwMode="auto">
            <a:xfrm>
              <a:off x="981079" y="2600329"/>
              <a:ext cx="30163" cy="36513"/>
            </a:xfrm>
            <a:custGeom>
              <a:avLst/>
              <a:gdLst>
                <a:gd name="T0" fmla="*/ 2147483647 w 20"/>
                <a:gd name="T1" fmla="*/ 2147483647 h 23"/>
                <a:gd name="T2" fmla="*/ 2147483647 w 20"/>
                <a:gd name="T3" fmla="*/ 2147483647 h 23"/>
                <a:gd name="T4" fmla="*/ 2147483647 w 20"/>
                <a:gd name="T5" fmla="*/ 2147483647 h 23"/>
                <a:gd name="T6" fmla="*/ 2147483647 w 20"/>
                <a:gd name="T7" fmla="*/ 2147483647 h 23"/>
                <a:gd name="T8" fmla="*/ 2147483647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2147483647 h 23"/>
                <a:gd name="T18" fmla="*/ 2147483647 w 20"/>
                <a:gd name="T19" fmla="*/ 2147483647 h 23"/>
                <a:gd name="T20" fmla="*/ 2147483647 w 20"/>
                <a:gd name="T21" fmla="*/ 2147483647 h 23"/>
                <a:gd name="T22" fmla="*/ 2147483647 w 20"/>
                <a:gd name="T23" fmla="*/ 2147483647 h 23"/>
                <a:gd name="T24" fmla="*/ 2147483647 w 20"/>
                <a:gd name="T25" fmla="*/ 0 h 23"/>
                <a:gd name="T26" fmla="*/ 2147483647 w 20"/>
                <a:gd name="T27" fmla="*/ 0 h 23"/>
                <a:gd name="T28" fmla="*/ 2147483647 w 20"/>
                <a:gd name="T29" fmla="*/ 0 h 23"/>
                <a:gd name="T30" fmla="*/ 0 w 20"/>
                <a:gd name="T31" fmla="*/ 2147483647 h 23"/>
                <a:gd name="T32" fmla="*/ 0 w 20"/>
                <a:gd name="T33" fmla="*/ 2147483647 h 23"/>
                <a:gd name="T34" fmla="*/ 0 w 20"/>
                <a:gd name="T35" fmla="*/ 2147483647 h 23"/>
                <a:gd name="T36" fmla="*/ 2147483647 w 20"/>
                <a:gd name="T37" fmla="*/ 2147483647 h 23"/>
                <a:gd name="T38" fmla="*/ 2147483647 w 20"/>
                <a:gd name="T39" fmla="*/ 2147483647 h 23"/>
                <a:gd name="T40" fmla="*/ 2147483647 w 20"/>
                <a:gd name="T41" fmla="*/ 2147483647 h 23"/>
                <a:gd name="T42" fmla="*/ 2147483647 w 20"/>
                <a:gd name="T43" fmla="*/ 2147483647 h 23"/>
                <a:gd name="T44" fmla="*/ 2147483647 w 20"/>
                <a:gd name="T45" fmla="*/ 2147483647 h 23"/>
                <a:gd name="T46" fmla="*/ 2147483647 w 20"/>
                <a:gd name="T47" fmla="*/ 2147483647 h 23"/>
                <a:gd name="T48" fmla="*/ 2147483647 w 20"/>
                <a:gd name="T49" fmla="*/ 2147483647 h 23"/>
                <a:gd name="T50" fmla="*/ 2147483647 w 20"/>
                <a:gd name="T51" fmla="*/ 2147483647 h 23"/>
                <a:gd name="T52" fmla="*/ 2147483647 w 20"/>
                <a:gd name="T53" fmla="*/ 2147483647 h 23"/>
                <a:gd name="T54" fmla="*/ 2147483647 w 20"/>
                <a:gd name="T55" fmla="*/ 2147483647 h 23"/>
                <a:gd name="T56" fmla="*/ 2147483647 w 20"/>
                <a:gd name="T57" fmla="*/ 2147483647 h 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3"/>
                <a:gd name="T89" fmla="*/ 20 w 20"/>
                <a:gd name="T90" fmla="*/ 23 h 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3">
                  <a:moveTo>
                    <a:pt x="17" y="17"/>
                  </a:moveTo>
                  <a:lnTo>
                    <a:pt x="17" y="17"/>
                  </a:lnTo>
                  <a:lnTo>
                    <a:pt x="17" y="13"/>
                  </a:lnTo>
                  <a:lnTo>
                    <a:pt x="18" y="10"/>
                  </a:lnTo>
                  <a:lnTo>
                    <a:pt x="20" y="8"/>
                  </a:lnTo>
                  <a:lnTo>
                    <a:pt x="18" y="4"/>
                  </a:lnTo>
                  <a:lnTo>
                    <a:pt x="17" y="3"/>
                  </a:lnTo>
                  <a:lnTo>
                    <a:pt x="14" y="3"/>
                  </a:lnTo>
                  <a:lnTo>
                    <a:pt x="11" y="3"/>
                  </a:lnTo>
                  <a:lnTo>
                    <a:pt x="7" y="2"/>
                  </a:lnTo>
                  <a:lnTo>
                    <a:pt x="6" y="0"/>
                  </a:lnTo>
                  <a:lnTo>
                    <a:pt x="3" y="0"/>
                  </a:lnTo>
                  <a:lnTo>
                    <a:pt x="0" y="4"/>
                  </a:lnTo>
                  <a:lnTo>
                    <a:pt x="0" y="8"/>
                  </a:lnTo>
                  <a:lnTo>
                    <a:pt x="0" y="10"/>
                  </a:lnTo>
                  <a:lnTo>
                    <a:pt x="2" y="13"/>
                  </a:lnTo>
                  <a:lnTo>
                    <a:pt x="4" y="17"/>
                  </a:lnTo>
                  <a:lnTo>
                    <a:pt x="7" y="19"/>
                  </a:lnTo>
                  <a:lnTo>
                    <a:pt x="9" y="22"/>
                  </a:lnTo>
                  <a:lnTo>
                    <a:pt x="13" y="23"/>
                  </a:lnTo>
                  <a:lnTo>
                    <a:pt x="16" y="23"/>
                  </a:lnTo>
                  <a:lnTo>
                    <a:pt x="17" y="21"/>
                  </a:lnTo>
                  <a:lnTo>
                    <a:pt x="18" y="19"/>
                  </a:lnTo>
                  <a:lnTo>
                    <a:pt x="17"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8" name="Freeform 1017"/>
            <p:cNvSpPr>
              <a:spLocks/>
            </p:cNvSpPr>
            <p:nvPr/>
          </p:nvSpPr>
          <p:spPr bwMode="auto">
            <a:xfrm>
              <a:off x="950916" y="2503489"/>
              <a:ext cx="47625" cy="74612"/>
            </a:xfrm>
            <a:custGeom>
              <a:avLst/>
              <a:gdLst>
                <a:gd name="T0" fmla="*/ 2147483647 w 32"/>
                <a:gd name="T1" fmla="*/ 2147483647 h 47"/>
                <a:gd name="T2" fmla="*/ 2147483647 w 32"/>
                <a:gd name="T3" fmla="*/ 2147483647 h 47"/>
                <a:gd name="T4" fmla="*/ 2147483647 w 32"/>
                <a:gd name="T5" fmla="*/ 2147483647 h 47"/>
                <a:gd name="T6" fmla="*/ 2147483647 w 32"/>
                <a:gd name="T7" fmla="*/ 2147483647 h 47"/>
                <a:gd name="T8" fmla="*/ 2147483647 w 32"/>
                <a:gd name="T9" fmla="*/ 2147483647 h 47"/>
                <a:gd name="T10" fmla="*/ 2147483647 w 32"/>
                <a:gd name="T11" fmla="*/ 2147483647 h 47"/>
                <a:gd name="T12" fmla="*/ 2147483647 w 32"/>
                <a:gd name="T13" fmla="*/ 2147483647 h 47"/>
                <a:gd name="T14" fmla="*/ 2147483647 w 32"/>
                <a:gd name="T15" fmla="*/ 2147483647 h 47"/>
                <a:gd name="T16" fmla="*/ 2147483647 w 32"/>
                <a:gd name="T17" fmla="*/ 0 h 47"/>
                <a:gd name="T18" fmla="*/ 2147483647 w 32"/>
                <a:gd name="T19" fmla="*/ 0 h 47"/>
                <a:gd name="T20" fmla="*/ 0 w 32"/>
                <a:gd name="T21" fmla="*/ 2147483647 h 47"/>
                <a:gd name="T22" fmla="*/ 0 w 32"/>
                <a:gd name="T23" fmla="*/ 2147483647 h 47"/>
                <a:gd name="T24" fmla="*/ 0 w 32"/>
                <a:gd name="T25" fmla="*/ 2147483647 h 47"/>
                <a:gd name="T26" fmla="*/ 2147483647 w 32"/>
                <a:gd name="T27" fmla="*/ 2147483647 h 47"/>
                <a:gd name="T28" fmla="*/ 2147483647 w 32"/>
                <a:gd name="T29" fmla="*/ 2147483647 h 47"/>
                <a:gd name="T30" fmla="*/ 2147483647 w 32"/>
                <a:gd name="T31" fmla="*/ 2147483647 h 47"/>
                <a:gd name="T32" fmla="*/ 2147483647 w 32"/>
                <a:gd name="T33" fmla="*/ 2147483647 h 47"/>
                <a:gd name="T34" fmla="*/ 2147483647 w 32"/>
                <a:gd name="T35" fmla="*/ 2147483647 h 47"/>
                <a:gd name="T36" fmla="*/ 2147483647 w 32"/>
                <a:gd name="T37" fmla="*/ 2147483647 h 47"/>
                <a:gd name="T38" fmla="*/ 2147483647 w 32"/>
                <a:gd name="T39" fmla="*/ 2147483647 h 47"/>
                <a:gd name="T40" fmla="*/ 2147483647 w 32"/>
                <a:gd name="T41" fmla="*/ 2147483647 h 47"/>
                <a:gd name="T42" fmla="*/ 2147483647 w 32"/>
                <a:gd name="T43" fmla="*/ 2147483647 h 47"/>
                <a:gd name="T44" fmla="*/ 2147483647 w 32"/>
                <a:gd name="T45" fmla="*/ 2147483647 h 47"/>
                <a:gd name="T46" fmla="*/ 2147483647 w 32"/>
                <a:gd name="T47" fmla="*/ 2147483647 h 47"/>
                <a:gd name="T48" fmla="*/ 2147483647 w 32"/>
                <a:gd name="T49" fmla="*/ 2147483647 h 4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
                <a:gd name="T76" fmla="*/ 0 h 47"/>
                <a:gd name="T77" fmla="*/ 32 w 32"/>
                <a:gd name="T78" fmla="*/ 47 h 4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 h="47">
                  <a:moveTo>
                    <a:pt x="30" y="41"/>
                  </a:moveTo>
                  <a:lnTo>
                    <a:pt x="29" y="39"/>
                  </a:lnTo>
                  <a:lnTo>
                    <a:pt x="28" y="37"/>
                  </a:lnTo>
                  <a:lnTo>
                    <a:pt x="28" y="33"/>
                  </a:lnTo>
                  <a:lnTo>
                    <a:pt x="28" y="29"/>
                  </a:lnTo>
                  <a:lnTo>
                    <a:pt x="28" y="26"/>
                  </a:lnTo>
                  <a:lnTo>
                    <a:pt x="27" y="23"/>
                  </a:lnTo>
                  <a:lnTo>
                    <a:pt x="14" y="12"/>
                  </a:lnTo>
                  <a:lnTo>
                    <a:pt x="2" y="0"/>
                  </a:lnTo>
                  <a:lnTo>
                    <a:pt x="1" y="0"/>
                  </a:lnTo>
                  <a:lnTo>
                    <a:pt x="0" y="1"/>
                  </a:lnTo>
                  <a:lnTo>
                    <a:pt x="0" y="2"/>
                  </a:lnTo>
                  <a:lnTo>
                    <a:pt x="0" y="5"/>
                  </a:lnTo>
                  <a:lnTo>
                    <a:pt x="4" y="9"/>
                  </a:lnTo>
                  <a:lnTo>
                    <a:pt x="5" y="13"/>
                  </a:lnTo>
                  <a:lnTo>
                    <a:pt x="6" y="16"/>
                  </a:lnTo>
                  <a:lnTo>
                    <a:pt x="10" y="20"/>
                  </a:lnTo>
                  <a:lnTo>
                    <a:pt x="14" y="25"/>
                  </a:lnTo>
                  <a:lnTo>
                    <a:pt x="19" y="35"/>
                  </a:lnTo>
                  <a:lnTo>
                    <a:pt x="27" y="46"/>
                  </a:lnTo>
                  <a:lnTo>
                    <a:pt x="28" y="47"/>
                  </a:lnTo>
                  <a:lnTo>
                    <a:pt x="29" y="47"/>
                  </a:lnTo>
                  <a:lnTo>
                    <a:pt x="32" y="45"/>
                  </a:lnTo>
                  <a:lnTo>
                    <a:pt x="32" y="42"/>
                  </a:lnTo>
                  <a:lnTo>
                    <a:pt x="30" y="4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19" name="Freeform 1018"/>
            <p:cNvSpPr>
              <a:spLocks/>
            </p:cNvSpPr>
            <p:nvPr/>
          </p:nvSpPr>
          <p:spPr bwMode="auto">
            <a:xfrm>
              <a:off x="962026" y="2493963"/>
              <a:ext cx="23813" cy="20637"/>
            </a:xfrm>
            <a:custGeom>
              <a:avLst/>
              <a:gdLst>
                <a:gd name="T0" fmla="*/ 2147483647 w 16"/>
                <a:gd name="T1" fmla="*/ 2147483647 h 13"/>
                <a:gd name="T2" fmla="*/ 2147483647 w 16"/>
                <a:gd name="T3" fmla="*/ 2147483647 h 13"/>
                <a:gd name="T4" fmla="*/ 2147483647 w 16"/>
                <a:gd name="T5" fmla="*/ 2147483647 h 13"/>
                <a:gd name="T6" fmla="*/ 2147483647 w 16"/>
                <a:gd name="T7" fmla="*/ 0 h 13"/>
                <a:gd name="T8" fmla="*/ 2147483647 w 16"/>
                <a:gd name="T9" fmla="*/ 0 h 13"/>
                <a:gd name="T10" fmla="*/ 2147483647 w 16"/>
                <a:gd name="T11" fmla="*/ 2147483647 h 13"/>
                <a:gd name="T12" fmla="*/ 0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2147483647 w 16"/>
                <a:gd name="T23" fmla="*/ 2147483647 h 13"/>
                <a:gd name="T24" fmla="*/ 2147483647 w 16"/>
                <a:gd name="T25" fmla="*/ 2147483647 h 13"/>
                <a:gd name="T26" fmla="*/ 2147483647 w 16"/>
                <a:gd name="T27" fmla="*/ 2147483647 h 13"/>
                <a:gd name="T28" fmla="*/ 2147483647 w 16"/>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3"/>
                <a:gd name="T47" fmla="*/ 16 w 1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3">
                  <a:moveTo>
                    <a:pt x="13" y="8"/>
                  </a:moveTo>
                  <a:lnTo>
                    <a:pt x="10" y="6"/>
                  </a:lnTo>
                  <a:lnTo>
                    <a:pt x="7" y="2"/>
                  </a:lnTo>
                  <a:lnTo>
                    <a:pt x="3" y="0"/>
                  </a:lnTo>
                  <a:lnTo>
                    <a:pt x="2" y="0"/>
                  </a:lnTo>
                  <a:lnTo>
                    <a:pt x="1" y="1"/>
                  </a:lnTo>
                  <a:lnTo>
                    <a:pt x="0" y="3"/>
                  </a:lnTo>
                  <a:lnTo>
                    <a:pt x="1" y="6"/>
                  </a:lnTo>
                  <a:lnTo>
                    <a:pt x="3" y="12"/>
                  </a:lnTo>
                  <a:lnTo>
                    <a:pt x="6" y="13"/>
                  </a:lnTo>
                  <a:lnTo>
                    <a:pt x="10" y="13"/>
                  </a:lnTo>
                  <a:lnTo>
                    <a:pt x="15" y="12"/>
                  </a:lnTo>
                  <a:lnTo>
                    <a:pt x="16" y="11"/>
                  </a:lnTo>
                  <a:lnTo>
                    <a:pt x="15" y="9"/>
                  </a:lnTo>
                  <a:lnTo>
                    <a:pt x="13"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0" name="Freeform 1019"/>
            <p:cNvSpPr>
              <a:spLocks/>
            </p:cNvSpPr>
            <p:nvPr/>
          </p:nvSpPr>
          <p:spPr bwMode="auto">
            <a:xfrm>
              <a:off x="949325" y="2501905"/>
              <a:ext cx="46038" cy="74613"/>
            </a:xfrm>
            <a:custGeom>
              <a:avLst/>
              <a:gdLst>
                <a:gd name="T0" fmla="*/ 2147483647 w 31"/>
                <a:gd name="T1" fmla="*/ 2147483647 h 47"/>
                <a:gd name="T2" fmla="*/ 2147483647 w 31"/>
                <a:gd name="T3" fmla="*/ 2147483647 h 47"/>
                <a:gd name="T4" fmla="*/ 2147483647 w 31"/>
                <a:gd name="T5" fmla="*/ 2147483647 h 47"/>
                <a:gd name="T6" fmla="*/ 2147483647 w 31"/>
                <a:gd name="T7" fmla="*/ 2147483647 h 47"/>
                <a:gd name="T8" fmla="*/ 2147483647 w 31"/>
                <a:gd name="T9" fmla="*/ 2147483647 h 47"/>
                <a:gd name="T10" fmla="*/ 2147483647 w 31"/>
                <a:gd name="T11" fmla="*/ 2147483647 h 47"/>
                <a:gd name="T12" fmla="*/ 2147483647 w 31"/>
                <a:gd name="T13" fmla="*/ 2147483647 h 47"/>
                <a:gd name="T14" fmla="*/ 2147483647 w 31"/>
                <a:gd name="T15" fmla="*/ 2147483647 h 47"/>
                <a:gd name="T16" fmla="*/ 2147483647 w 31"/>
                <a:gd name="T17" fmla="*/ 2147483647 h 47"/>
                <a:gd name="T18" fmla="*/ 2147483647 w 31"/>
                <a:gd name="T19" fmla="*/ 2147483647 h 47"/>
                <a:gd name="T20" fmla="*/ 2147483647 w 31"/>
                <a:gd name="T21" fmla="*/ 2147483647 h 47"/>
                <a:gd name="T22" fmla="*/ 2147483647 w 31"/>
                <a:gd name="T23" fmla="*/ 0 h 47"/>
                <a:gd name="T24" fmla="*/ 2147483647 w 31"/>
                <a:gd name="T25" fmla="*/ 0 h 47"/>
                <a:gd name="T26" fmla="*/ 2147483647 w 31"/>
                <a:gd name="T27" fmla="*/ 0 h 47"/>
                <a:gd name="T28" fmla="*/ 0 w 31"/>
                <a:gd name="T29" fmla="*/ 2147483647 h 47"/>
                <a:gd name="T30" fmla="*/ 0 w 31"/>
                <a:gd name="T31" fmla="*/ 2147483647 h 47"/>
                <a:gd name="T32" fmla="*/ 0 w 31"/>
                <a:gd name="T33" fmla="*/ 2147483647 h 47"/>
                <a:gd name="T34" fmla="*/ 0 w 31"/>
                <a:gd name="T35" fmla="*/ 2147483647 h 47"/>
                <a:gd name="T36" fmla="*/ 2147483647 w 31"/>
                <a:gd name="T37" fmla="*/ 2147483647 h 47"/>
                <a:gd name="T38" fmla="*/ 2147483647 w 31"/>
                <a:gd name="T39" fmla="*/ 2147483647 h 47"/>
                <a:gd name="T40" fmla="*/ 2147483647 w 31"/>
                <a:gd name="T41" fmla="*/ 2147483647 h 47"/>
                <a:gd name="T42" fmla="*/ 2147483647 w 31"/>
                <a:gd name="T43" fmla="*/ 2147483647 h 47"/>
                <a:gd name="T44" fmla="*/ 2147483647 w 31"/>
                <a:gd name="T45" fmla="*/ 2147483647 h 47"/>
                <a:gd name="T46" fmla="*/ 2147483647 w 31"/>
                <a:gd name="T47" fmla="*/ 2147483647 h 47"/>
                <a:gd name="T48" fmla="*/ 2147483647 w 31"/>
                <a:gd name="T49" fmla="*/ 2147483647 h 47"/>
                <a:gd name="T50" fmla="*/ 2147483647 w 31"/>
                <a:gd name="T51" fmla="*/ 2147483647 h 47"/>
                <a:gd name="T52" fmla="*/ 2147483647 w 31"/>
                <a:gd name="T53" fmla="*/ 2147483647 h 47"/>
                <a:gd name="T54" fmla="*/ 2147483647 w 31"/>
                <a:gd name="T55" fmla="*/ 2147483647 h 47"/>
                <a:gd name="T56" fmla="*/ 2147483647 w 31"/>
                <a:gd name="T57" fmla="*/ 2147483647 h 47"/>
                <a:gd name="T58" fmla="*/ 2147483647 w 31"/>
                <a:gd name="T59" fmla="*/ 2147483647 h 47"/>
                <a:gd name="T60" fmla="*/ 2147483647 w 31"/>
                <a:gd name="T61" fmla="*/ 2147483647 h 47"/>
                <a:gd name="T62" fmla="*/ 2147483647 w 31"/>
                <a:gd name="T63" fmla="*/ 2147483647 h 47"/>
                <a:gd name="T64" fmla="*/ 2147483647 w 31"/>
                <a:gd name="T65" fmla="*/ 2147483647 h 47"/>
                <a:gd name="T66" fmla="*/ 2147483647 w 31"/>
                <a:gd name="T67" fmla="*/ 2147483647 h 47"/>
                <a:gd name="T68" fmla="*/ 2147483647 w 31"/>
                <a:gd name="T69" fmla="*/ 2147483647 h 47"/>
                <a:gd name="T70" fmla="*/ 2147483647 w 31"/>
                <a:gd name="T71" fmla="*/ 2147483647 h 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1"/>
                <a:gd name="T109" fmla="*/ 0 h 47"/>
                <a:gd name="T110" fmla="*/ 31 w 31"/>
                <a:gd name="T111" fmla="*/ 47 h 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1" h="47">
                  <a:moveTo>
                    <a:pt x="30" y="41"/>
                  </a:moveTo>
                  <a:lnTo>
                    <a:pt x="30" y="41"/>
                  </a:lnTo>
                  <a:lnTo>
                    <a:pt x="29" y="39"/>
                  </a:lnTo>
                  <a:lnTo>
                    <a:pt x="28" y="36"/>
                  </a:lnTo>
                  <a:lnTo>
                    <a:pt x="28" y="33"/>
                  </a:lnTo>
                  <a:lnTo>
                    <a:pt x="28" y="29"/>
                  </a:lnTo>
                  <a:lnTo>
                    <a:pt x="28" y="26"/>
                  </a:lnTo>
                  <a:lnTo>
                    <a:pt x="26" y="23"/>
                  </a:lnTo>
                  <a:lnTo>
                    <a:pt x="14" y="11"/>
                  </a:lnTo>
                  <a:lnTo>
                    <a:pt x="2" y="0"/>
                  </a:lnTo>
                  <a:lnTo>
                    <a:pt x="1" y="0"/>
                  </a:lnTo>
                  <a:lnTo>
                    <a:pt x="0" y="1"/>
                  </a:lnTo>
                  <a:lnTo>
                    <a:pt x="0" y="2"/>
                  </a:lnTo>
                  <a:lnTo>
                    <a:pt x="0" y="4"/>
                  </a:lnTo>
                  <a:lnTo>
                    <a:pt x="3" y="9"/>
                  </a:lnTo>
                  <a:lnTo>
                    <a:pt x="5" y="13"/>
                  </a:lnTo>
                  <a:lnTo>
                    <a:pt x="6" y="16"/>
                  </a:lnTo>
                  <a:lnTo>
                    <a:pt x="10" y="20"/>
                  </a:lnTo>
                  <a:lnTo>
                    <a:pt x="14" y="24"/>
                  </a:lnTo>
                  <a:lnTo>
                    <a:pt x="19" y="35"/>
                  </a:lnTo>
                  <a:lnTo>
                    <a:pt x="26" y="46"/>
                  </a:lnTo>
                  <a:lnTo>
                    <a:pt x="28" y="47"/>
                  </a:lnTo>
                  <a:lnTo>
                    <a:pt x="29" y="47"/>
                  </a:lnTo>
                  <a:lnTo>
                    <a:pt x="31" y="45"/>
                  </a:lnTo>
                  <a:lnTo>
                    <a:pt x="31" y="42"/>
                  </a:lnTo>
                  <a:lnTo>
                    <a:pt x="30" y="4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1" name="Freeform 1020"/>
            <p:cNvSpPr>
              <a:spLocks/>
            </p:cNvSpPr>
            <p:nvPr/>
          </p:nvSpPr>
          <p:spPr bwMode="auto">
            <a:xfrm>
              <a:off x="960438" y="2492375"/>
              <a:ext cx="23812" cy="20638"/>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2147483647 w 17"/>
                <a:gd name="T9" fmla="*/ 0 h 13"/>
                <a:gd name="T10" fmla="*/ 2147483647 w 17"/>
                <a:gd name="T11" fmla="*/ 0 h 13"/>
                <a:gd name="T12" fmla="*/ 2147483647 w 17"/>
                <a:gd name="T13" fmla="*/ 2147483647 h 13"/>
                <a:gd name="T14" fmla="*/ 2147483647 w 17"/>
                <a:gd name="T15" fmla="*/ 2147483647 h 13"/>
                <a:gd name="T16" fmla="*/ 0 w 17"/>
                <a:gd name="T17" fmla="*/ 2147483647 h 13"/>
                <a:gd name="T18" fmla="*/ 2147483647 w 17"/>
                <a:gd name="T19" fmla="*/ 2147483647 h 13"/>
                <a:gd name="T20" fmla="*/ 2147483647 w 17"/>
                <a:gd name="T21" fmla="*/ 2147483647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2147483647 w 17"/>
                <a:gd name="T31" fmla="*/ 2147483647 h 13"/>
                <a:gd name="T32" fmla="*/ 2147483647 w 17"/>
                <a:gd name="T33" fmla="*/ 2147483647 h 13"/>
                <a:gd name="T34" fmla="*/ 2147483647 w 17"/>
                <a:gd name="T35" fmla="*/ 2147483647 h 13"/>
                <a:gd name="T36" fmla="*/ 2147483647 w 17"/>
                <a:gd name="T37" fmla="*/ 2147483647 h 13"/>
                <a:gd name="T38" fmla="*/ 2147483647 w 17"/>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3"/>
                <a:gd name="T62" fmla="*/ 17 w 17"/>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3">
                  <a:moveTo>
                    <a:pt x="14" y="8"/>
                  </a:moveTo>
                  <a:lnTo>
                    <a:pt x="14" y="8"/>
                  </a:lnTo>
                  <a:lnTo>
                    <a:pt x="10" y="6"/>
                  </a:lnTo>
                  <a:lnTo>
                    <a:pt x="8" y="2"/>
                  </a:lnTo>
                  <a:lnTo>
                    <a:pt x="4" y="0"/>
                  </a:lnTo>
                  <a:lnTo>
                    <a:pt x="3" y="0"/>
                  </a:lnTo>
                  <a:lnTo>
                    <a:pt x="2" y="1"/>
                  </a:lnTo>
                  <a:lnTo>
                    <a:pt x="0" y="3"/>
                  </a:lnTo>
                  <a:lnTo>
                    <a:pt x="2" y="6"/>
                  </a:lnTo>
                  <a:lnTo>
                    <a:pt x="4" y="12"/>
                  </a:lnTo>
                  <a:lnTo>
                    <a:pt x="7" y="13"/>
                  </a:lnTo>
                  <a:lnTo>
                    <a:pt x="10" y="13"/>
                  </a:lnTo>
                  <a:lnTo>
                    <a:pt x="15" y="12"/>
                  </a:lnTo>
                  <a:lnTo>
                    <a:pt x="17" y="10"/>
                  </a:lnTo>
                  <a:lnTo>
                    <a:pt x="15" y="9"/>
                  </a:lnTo>
                  <a:lnTo>
                    <a:pt x="14"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2" name="Freeform 1021"/>
            <p:cNvSpPr>
              <a:spLocks/>
            </p:cNvSpPr>
            <p:nvPr/>
          </p:nvSpPr>
          <p:spPr bwMode="auto">
            <a:xfrm>
              <a:off x="939804" y="2447925"/>
              <a:ext cx="22225" cy="44450"/>
            </a:xfrm>
            <a:custGeom>
              <a:avLst/>
              <a:gdLst>
                <a:gd name="T0" fmla="*/ 2147483647 w 16"/>
                <a:gd name="T1" fmla="*/ 2147483647 h 28"/>
                <a:gd name="T2" fmla="*/ 2147483647 w 16"/>
                <a:gd name="T3" fmla="*/ 2147483647 h 28"/>
                <a:gd name="T4" fmla="*/ 2147483647 w 16"/>
                <a:gd name="T5" fmla="*/ 2147483647 h 28"/>
                <a:gd name="T6" fmla="*/ 2147483647 w 16"/>
                <a:gd name="T7" fmla="*/ 2147483647 h 28"/>
                <a:gd name="T8" fmla="*/ 2147483647 w 16"/>
                <a:gd name="T9" fmla="*/ 2147483647 h 28"/>
                <a:gd name="T10" fmla="*/ 2147483647 w 16"/>
                <a:gd name="T11" fmla="*/ 2147483647 h 28"/>
                <a:gd name="T12" fmla="*/ 2147483647 w 16"/>
                <a:gd name="T13" fmla="*/ 0 h 28"/>
                <a:gd name="T14" fmla="*/ 0 w 16"/>
                <a:gd name="T15" fmla="*/ 0 h 28"/>
                <a:gd name="T16" fmla="*/ 0 w 16"/>
                <a:gd name="T17" fmla="*/ 2147483647 h 28"/>
                <a:gd name="T18" fmla="*/ 0 w 16"/>
                <a:gd name="T19" fmla="*/ 2147483647 h 28"/>
                <a:gd name="T20" fmla="*/ 2147483647 w 16"/>
                <a:gd name="T21" fmla="*/ 2147483647 h 28"/>
                <a:gd name="T22" fmla="*/ 2147483647 w 16"/>
                <a:gd name="T23" fmla="*/ 2147483647 h 28"/>
                <a:gd name="T24" fmla="*/ 2147483647 w 16"/>
                <a:gd name="T25" fmla="*/ 2147483647 h 28"/>
                <a:gd name="T26" fmla="*/ 2147483647 w 16"/>
                <a:gd name="T27" fmla="*/ 2147483647 h 28"/>
                <a:gd name="T28" fmla="*/ 2147483647 w 16"/>
                <a:gd name="T29" fmla="*/ 2147483647 h 28"/>
                <a:gd name="T30" fmla="*/ 2147483647 w 16"/>
                <a:gd name="T31" fmla="*/ 2147483647 h 28"/>
                <a:gd name="T32" fmla="*/ 2147483647 w 16"/>
                <a:gd name="T33" fmla="*/ 2147483647 h 28"/>
                <a:gd name="T34" fmla="*/ 2147483647 w 16"/>
                <a:gd name="T35" fmla="*/ 2147483647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28"/>
                <a:gd name="T56" fmla="*/ 16 w 16"/>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28">
                  <a:moveTo>
                    <a:pt x="12" y="16"/>
                  </a:moveTo>
                  <a:lnTo>
                    <a:pt x="9" y="15"/>
                  </a:lnTo>
                  <a:lnTo>
                    <a:pt x="8" y="13"/>
                  </a:lnTo>
                  <a:lnTo>
                    <a:pt x="8" y="10"/>
                  </a:lnTo>
                  <a:lnTo>
                    <a:pt x="7" y="5"/>
                  </a:lnTo>
                  <a:lnTo>
                    <a:pt x="5" y="2"/>
                  </a:lnTo>
                  <a:lnTo>
                    <a:pt x="2" y="0"/>
                  </a:lnTo>
                  <a:lnTo>
                    <a:pt x="0" y="0"/>
                  </a:lnTo>
                  <a:lnTo>
                    <a:pt x="0" y="2"/>
                  </a:lnTo>
                  <a:lnTo>
                    <a:pt x="0" y="15"/>
                  </a:lnTo>
                  <a:lnTo>
                    <a:pt x="2" y="28"/>
                  </a:lnTo>
                  <a:lnTo>
                    <a:pt x="5" y="26"/>
                  </a:lnTo>
                  <a:lnTo>
                    <a:pt x="8" y="25"/>
                  </a:lnTo>
                  <a:lnTo>
                    <a:pt x="13" y="23"/>
                  </a:lnTo>
                  <a:lnTo>
                    <a:pt x="16" y="22"/>
                  </a:lnTo>
                  <a:lnTo>
                    <a:pt x="16" y="19"/>
                  </a:lnTo>
                  <a:lnTo>
                    <a:pt x="14" y="17"/>
                  </a:lnTo>
                  <a:lnTo>
                    <a:pt x="12"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3" name="Freeform 1022"/>
            <p:cNvSpPr>
              <a:spLocks/>
            </p:cNvSpPr>
            <p:nvPr/>
          </p:nvSpPr>
          <p:spPr bwMode="auto">
            <a:xfrm>
              <a:off x="895350" y="2444754"/>
              <a:ext cx="33338" cy="23813"/>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0 h 15"/>
                <a:gd name="T10" fmla="*/ 2147483647 w 23"/>
                <a:gd name="T11" fmla="*/ 0 h 15"/>
                <a:gd name="T12" fmla="*/ 2147483647 w 23"/>
                <a:gd name="T13" fmla="*/ 2147483647 h 15"/>
                <a:gd name="T14" fmla="*/ 0 w 23"/>
                <a:gd name="T15" fmla="*/ 2147483647 h 15"/>
                <a:gd name="T16" fmla="*/ 0 w 23"/>
                <a:gd name="T17" fmla="*/ 2147483647 h 15"/>
                <a:gd name="T18" fmla="*/ 2147483647 w 23"/>
                <a:gd name="T19" fmla="*/ 2147483647 h 15"/>
                <a:gd name="T20" fmla="*/ 2147483647 w 23"/>
                <a:gd name="T21" fmla="*/ 2147483647 h 15"/>
                <a:gd name="T22" fmla="*/ 2147483647 w 23"/>
                <a:gd name="T23" fmla="*/ 2147483647 h 15"/>
                <a:gd name="T24" fmla="*/ 2147483647 w 23"/>
                <a:gd name="T25" fmla="*/ 2147483647 h 15"/>
                <a:gd name="T26" fmla="*/ 2147483647 w 23"/>
                <a:gd name="T27" fmla="*/ 2147483647 h 15"/>
                <a:gd name="T28" fmla="*/ 2147483647 w 23"/>
                <a:gd name="T29" fmla="*/ 2147483647 h 15"/>
                <a:gd name="T30" fmla="*/ 2147483647 w 23"/>
                <a:gd name="T31" fmla="*/ 2147483647 h 15"/>
                <a:gd name="T32" fmla="*/ 2147483647 w 23"/>
                <a:gd name="T33" fmla="*/ 2147483647 h 15"/>
                <a:gd name="T34" fmla="*/ 2147483647 w 23"/>
                <a:gd name="T35" fmla="*/ 2147483647 h 15"/>
                <a:gd name="T36" fmla="*/ 2147483647 w 23"/>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15"/>
                <a:gd name="T59" fmla="*/ 23 w 23"/>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15">
                  <a:moveTo>
                    <a:pt x="20" y="8"/>
                  </a:moveTo>
                  <a:lnTo>
                    <a:pt x="20" y="6"/>
                  </a:lnTo>
                  <a:lnTo>
                    <a:pt x="19" y="4"/>
                  </a:lnTo>
                  <a:lnTo>
                    <a:pt x="16" y="1"/>
                  </a:lnTo>
                  <a:lnTo>
                    <a:pt x="14" y="0"/>
                  </a:lnTo>
                  <a:lnTo>
                    <a:pt x="7" y="0"/>
                  </a:lnTo>
                  <a:lnTo>
                    <a:pt x="2" y="1"/>
                  </a:lnTo>
                  <a:lnTo>
                    <a:pt x="0" y="4"/>
                  </a:lnTo>
                  <a:lnTo>
                    <a:pt x="0" y="6"/>
                  </a:lnTo>
                  <a:lnTo>
                    <a:pt x="2" y="10"/>
                  </a:lnTo>
                  <a:lnTo>
                    <a:pt x="5" y="12"/>
                  </a:lnTo>
                  <a:lnTo>
                    <a:pt x="6" y="14"/>
                  </a:lnTo>
                  <a:lnTo>
                    <a:pt x="15" y="15"/>
                  </a:lnTo>
                  <a:lnTo>
                    <a:pt x="19" y="15"/>
                  </a:lnTo>
                  <a:lnTo>
                    <a:pt x="23" y="14"/>
                  </a:lnTo>
                  <a:lnTo>
                    <a:pt x="23" y="13"/>
                  </a:lnTo>
                  <a:lnTo>
                    <a:pt x="23" y="12"/>
                  </a:lnTo>
                  <a:lnTo>
                    <a:pt x="21" y="11"/>
                  </a:lnTo>
                  <a:lnTo>
                    <a:pt x="20"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4" name="Freeform 1023"/>
            <p:cNvSpPr>
              <a:spLocks/>
            </p:cNvSpPr>
            <p:nvPr/>
          </p:nvSpPr>
          <p:spPr bwMode="auto">
            <a:xfrm>
              <a:off x="938217" y="2446339"/>
              <a:ext cx="22225" cy="42862"/>
            </a:xfrm>
            <a:custGeom>
              <a:avLst/>
              <a:gdLst>
                <a:gd name="T0" fmla="*/ 2147483647 w 15"/>
                <a:gd name="T1" fmla="*/ 2147483647 h 27"/>
                <a:gd name="T2" fmla="*/ 2147483647 w 15"/>
                <a:gd name="T3" fmla="*/ 2147483647 h 27"/>
                <a:gd name="T4" fmla="*/ 2147483647 w 15"/>
                <a:gd name="T5" fmla="*/ 2147483647 h 27"/>
                <a:gd name="T6" fmla="*/ 2147483647 w 15"/>
                <a:gd name="T7" fmla="*/ 2147483647 h 27"/>
                <a:gd name="T8" fmla="*/ 2147483647 w 15"/>
                <a:gd name="T9" fmla="*/ 2147483647 h 27"/>
                <a:gd name="T10" fmla="*/ 2147483647 w 15"/>
                <a:gd name="T11" fmla="*/ 2147483647 h 27"/>
                <a:gd name="T12" fmla="*/ 2147483647 w 15"/>
                <a:gd name="T13" fmla="*/ 2147483647 h 27"/>
                <a:gd name="T14" fmla="*/ 2147483647 w 15"/>
                <a:gd name="T15" fmla="*/ 2147483647 h 27"/>
                <a:gd name="T16" fmla="*/ 2147483647 w 15"/>
                <a:gd name="T17" fmla="*/ 0 h 27"/>
                <a:gd name="T18" fmla="*/ 0 w 15"/>
                <a:gd name="T19" fmla="*/ 0 h 27"/>
                <a:gd name="T20" fmla="*/ 0 w 15"/>
                <a:gd name="T21" fmla="*/ 2147483647 h 27"/>
                <a:gd name="T22" fmla="*/ 0 w 15"/>
                <a:gd name="T23" fmla="*/ 2147483647 h 27"/>
                <a:gd name="T24" fmla="*/ 0 w 15"/>
                <a:gd name="T25" fmla="*/ 2147483647 h 27"/>
                <a:gd name="T26" fmla="*/ 2147483647 w 15"/>
                <a:gd name="T27" fmla="*/ 2147483647 h 27"/>
                <a:gd name="T28" fmla="*/ 2147483647 w 15"/>
                <a:gd name="T29" fmla="*/ 2147483647 h 27"/>
                <a:gd name="T30" fmla="*/ 2147483647 w 15"/>
                <a:gd name="T31" fmla="*/ 2147483647 h 27"/>
                <a:gd name="T32" fmla="*/ 2147483647 w 15"/>
                <a:gd name="T33" fmla="*/ 2147483647 h 27"/>
                <a:gd name="T34" fmla="*/ 2147483647 w 15"/>
                <a:gd name="T35" fmla="*/ 2147483647 h 27"/>
                <a:gd name="T36" fmla="*/ 2147483647 w 15"/>
                <a:gd name="T37" fmla="*/ 2147483647 h 27"/>
                <a:gd name="T38" fmla="*/ 2147483647 w 15"/>
                <a:gd name="T39" fmla="*/ 2147483647 h 27"/>
                <a:gd name="T40" fmla="*/ 2147483647 w 15"/>
                <a:gd name="T41" fmla="*/ 2147483647 h 27"/>
                <a:gd name="T42" fmla="*/ 2147483647 w 15"/>
                <a:gd name="T43" fmla="*/ 2147483647 h 27"/>
                <a:gd name="T44" fmla="*/ 2147483647 w 15"/>
                <a:gd name="T45" fmla="*/ 2147483647 h 27"/>
                <a:gd name="T46" fmla="*/ 2147483647 w 15"/>
                <a:gd name="T47" fmla="*/ 2147483647 h 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
                <a:gd name="T73" fmla="*/ 0 h 27"/>
                <a:gd name="T74" fmla="*/ 15 w 15"/>
                <a:gd name="T75" fmla="*/ 27 h 2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 h="27">
                  <a:moveTo>
                    <a:pt x="11" y="16"/>
                  </a:moveTo>
                  <a:lnTo>
                    <a:pt x="11" y="16"/>
                  </a:lnTo>
                  <a:lnTo>
                    <a:pt x="9" y="14"/>
                  </a:lnTo>
                  <a:lnTo>
                    <a:pt x="8" y="13"/>
                  </a:lnTo>
                  <a:lnTo>
                    <a:pt x="8" y="10"/>
                  </a:lnTo>
                  <a:lnTo>
                    <a:pt x="6" y="5"/>
                  </a:lnTo>
                  <a:lnTo>
                    <a:pt x="5" y="1"/>
                  </a:lnTo>
                  <a:lnTo>
                    <a:pt x="1" y="0"/>
                  </a:lnTo>
                  <a:lnTo>
                    <a:pt x="0" y="0"/>
                  </a:lnTo>
                  <a:lnTo>
                    <a:pt x="0" y="1"/>
                  </a:lnTo>
                  <a:lnTo>
                    <a:pt x="0" y="14"/>
                  </a:lnTo>
                  <a:lnTo>
                    <a:pt x="1" y="27"/>
                  </a:lnTo>
                  <a:lnTo>
                    <a:pt x="5" y="26"/>
                  </a:lnTo>
                  <a:lnTo>
                    <a:pt x="8" y="25"/>
                  </a:lnTo>
                  <a:lnTo>
                    <a:pt x="13" y="23"/>
                  </a:lnTo>
                  <a:lnTo>
                    <a:pt x="15" y="22"/>
                  </a:lnTo>
                  <a:lnTo>
                    <a:pt x="15" y="19"/>
                  </a:lnTo>
                  <a:lnTo>
                    <a:pt x="14" y="17"/>
                  </a:lnTo>
                  <a:lnTo>
                    <a:pt x="11"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5" name="Freeform 1024"/>
            <p:cNvSpPr>
              <a:spLocks/>
            </p:cNvSpPr>
            <p:nvPr/>
          </p:nvSpPr>
          <p:spPr bwMode="auto">
            <a:xfrm>
              <a:off x="893765" y="2443166"/>
              <a:ext cx="31750" cy="23812"/>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2147483647 w 22"/>
                <a:gd name="T9" fmla="*/ 2147483647 h 15"/>
                <a:gd name="T10" fmla="*/ 2147483647 w 22"/>
                <a:gd name="T11" fmla="*/ 0 h 15"/>
                <a:gd name="T12" fmla="*/ 2147483647 w 22"/>
                <a:gd name="T13" fmla="*/ 0 h 15"/>
                <a:gd name="T14" fmla="*/ 2147483647 w 22"/>
                <a:gd name="T15" fmla="*/ 2147483647 h 15"/>
                <a:gd name="T16" fmla="*/ 2147483647 w 22"/>
                <a:gd name="T17" fmla="*/ 2147483647 h 15"/>
                <a:gd name="T18" fmla="*/ 0 w 22"/>
                <a:gd name="T19" fmla="*/ 2147483647 h 15"/>
                <a:gd name="T20" fmla="*/ 0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2147483647 w 22"/>
                <a:gd name="T31" fmla="*/ 2147483647 h 15"/>
                <a:gd name="T32" fmla="*/ 2147483647 w 22"/>
                <a:gd name="T33" fmla="*/ 2147483647 h 15"/>
                <a:gd name="T34" fmla="*/ 2147483647 w 22"/>
                <a:gd name="T35" fmla="*/ 2147483647 h 15"/>
                <a:gd name="T36" fmla="*/ 2147483647 w 22"/>
                <a:gd name="T37" fmla="*/ 2147483647 h 15"/>
                <a:gd name="T38" fmla="*/ 2147483647 w 22"/>
                <a:gd name="T39" fmla="*/ 2147483647 h 15"/>
                <a:gd name="T40" fmla="*/ 2147483647 w 22"/>
                <a:gd name="T41" fmla="*/ 2147483647 h 15"/>
                <a:gd name="T42" fmla="*/ 2147483647 w 22"/>
                <a:gd name="T43" fmla="*/ 2147483647 h 15"/>
                <a:gd name="T44" fmla="*/ 2147483647 w 22"/>
                <a:gd name="T45" fmla="*/ 2147483647 h 15"/>
                <a:gd name="T46" fmla="*/ 2147483647 w 22"/>
                <a:gd name="T47" fmla="*/ 2147483647 h 15"/>
                <a:gd name="T48" fmla="*/ 2147483647 w 22"/>
                <a:gd name="T49" fmla="*/ 2147483647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15"/>
                <a:gd name="T77" fmla="*/ 22 w 22"/>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15">
                  <a:moveTo>
                    <a:pt x="20" y="8"/>
                  </a:moveTo>
                  <a:lnTo>
                    <a:pt x="20" y="8"/>
                  </a:lnTo>
                  <a:lnTo>
                    <a:pt x="20" y="6"/>
                  </a:lnTo>
                  <a:lnTo>
                    <a:pt x="19" y="3"/>
                  </a:lnTo>
                  <a:lnTo>
                    <a:pt x="16" y="1"/>
                  </a:lnTo>
                  <a:lnTo>
                    <a:pt x="13" y="0"/>
                  </a:lnTo>
                  <a:lnTo>
                    <a:pt x="7" y="0"/>
                  </a:lnTo>
                  <a:lnTo>
                    <a:pt x="2" y="1"/>
                  </a:lnTo>
                  <a:lnTo>
                    <a:pt x="0" y="3"/>
                  </a:lnTo>
                  <a:lnTo>
                    <a:pt x="0" y="6"/>
                  </a:lnTo>
                  <a:lnTo>
                    <a:pt x="2" y="9"/>
                  </a:lnTo>
                  <a:lnTo>
                    <a:pt x="5" y="12"/>
                  </a:lnTo>
                  <a:lnTo>
                    <a:pt x="6" y="14"/>
                  </a:lnTo>
                  <a:lnTo>
                    <a:pt x="15" y="15"/>
                  </a:lnTo>
                  <a:lnTo>
                    <a:pt x="19" y="15"/>
                  </a:lnTo>
                  <a:lnTo>
                    <a:pt x="22" y="14"/>
                  </a:lnTo>
                  <a:lnTo>
                    <a:pt x="22" y="13"/>
                  </a:lnTo>
                  <a:lnTo>
                    <a:pt x="22" y="12"/>
                  </a:lnTo>
                  <a:lnTo>
                    <a:pt x="21" y="11"/>
                  </a:lnTo>
                  <a:lnTo>
                    <a:pt x="20"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6" name="Freeform 1025"/>
            <p:cNvSpPr>
              <a:spLocks/>
            </p:cNvSpPr>
            <p:nvPr/>
          </p:nvSpPr>
          <p:spPr bwMode="auto">
            <a:xfrm>
              <a:off x="911226" y="2476504"/>
              <a:ext cx="28574" cy="42863"/>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0 h 27"/>
                <a:gd name="T10" fmla="*/ 2147483647 w 19"/>
                <a:gd name="T11" fmla="*/ 2147483647 h 27"/>
                <a:gd name="T12" fmla="*/ 2147483647 w 19"/>
                <a:gd name="T13" fmla="*/ 2147483647 h 27"/>
                <a:gd name="T14" fmla="*/ 0 w 19"/>
                <a:gd name="T15" fmla="*/ 2147483647 h 27"/>
                <a:gd name="T16" fmla="*/ 0 w 19"/>
                <a:gd name="T17" fmla="*/ 2147483647 h 27"/>
                <a:gd name="T18" fmla="*/ 0 w 19"/>
                <a:gd name="T19" fmla="*/ 2147483647 h 27"/>
                <a:gd name="T20" fmla="*/ 2147483647 w 19"/>
                <a:gd name="T21" fmla="*/ 2147483647 h 27"/>
                <a:gd name="T22" fmla="*/ 2147483647 w 19"/>
                <a:gd name="T23" fmla="*/ 2147483647 h 27"/>
                <a:gd name="T24" fmla="*/ 2147483647 w 19"/>
                <a:gd name="T25" fmla="*/ 2147483647 h 27"/>
                <a:gd name="T26" fmla="*/ 2147483647 w 19"/>
                <a:gd name="T27" fmla="*/ 2147483647 h 27"/>
                <a:gd name="T28" fmla="*/ 2147483647 w 19"/>
                <a:gd name="T29" fmla="*/ 2147483647 h 27"/>
                <a:gd name="T30" fmla="*/ 2147483647 w 19"/>
                <a:gd name="T31" fmla="*/ 2147483647 h 27"/>
                <a:gd name="T32" fmla="*/ 2147483647 w 19"/>
                <a:gd name="T33" fmla="*/ 2147483647 h 27"/>
                <a:gd name="T34" fmla="*/ 2147483647 w 19"/>
                <a:gd name="T35" fmla="*/ 2147483647 h 27"/>
                <a:gd name="T36" fmla="*/ 2147483647 w 19"/>
                <a:gd name="T37" fmla="*/ 2147483647 h 27"/>
                <a:gd name="T38" fmla="*/ 2147483647 w 19"/>
                <a:gd name="T39" fmla="*/ 2147483647 h 27"/>
                <a:gd name="T40" fmla="*/ 2147483647 w 19"/>
                <a:gd name="T41" fmla="*/ 2147483647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27"/>
                <a:gd name="T65" fmla="*/ 19 w 1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27">
                  <a:moveTo>
                    <a:pt x="17" y="16"/>
                  </a:moveTo>
                  <a:lnTo>
                    <a:pt x="14" y="10"/>
                  </a:lnTo>
                  <a:lnTo>
                    <a:pt x="10" y="3"/>
                  </a:lnTo>
                  <a:lnTo>
                    <a:pt x="9" y="1"/>
                  </a:lnTo>
                  <a:lnTo>
                    <a:pt x="7" y="0"/>
                  </a:lnTo>
                  <a:lnTo>
                    <a:pt x="4" y="1"/>
                  </a:lnTo>
                  <a:lnTo>
                    <a:pt x="1" y="3"/>
                  </a:lnTo>
                  <a:lnTo>
                    <a:pt x="0" y="4"/>
                  </a:lnTo>
                  <a:lnTo>
                    <a:pt x="0" y="6"/>
                  </a:lnTo>
                  <a:lnTo>
                    <a:pt x="0" y="7"/>
                  </a:lnTo>
                  <a:lnTo>
                    <a:pt x="1" y="8"/>
                  </a:lnTo>
                  <a:lnTo>
                    <a:pt x="4" y="10"/>
                  </a:lnTo>
                  <a:lnTo>
                    <a:pt x="7" y="11"/>
                  </a:lnTo>
                  <a:lnTo>
                    <a:pt x="10" y="16"/>
                  </a:lnTo>
                  <a:lnTo>
                    <a:pt x="14" y="22"/>
                  </a:lnTo>
                  <a:lnTo>
                    <a:pt x="15" y="26"/>
                  </a:lnTo>
                  <a:lnTo>
                    <a:pt x="17" y="27"/>
                  </a:lnTo>
                  <a:lnTo>
                    <a:pt x="18" y="26"/>
                  </a:lnTo>
                  <a:lnTo>
                    <a:pt x="19" y="24"/>
                  </a:lnTo>
                  <a:lnTo>
                    <a:pt x="19" y="19"/>
                  </a:lnTo>
                  <a:lnTo>
                    <a:pt x="17"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7" name="Freeform 1026"/>
            <p:cNvSpPr>
              <a:spLocks/>
            </p:cNvSpPr>
            <p:nvPr/>
          </p:nvSpPr>
          <p:spPr bwMode="auto">
            <a:xfrm>
              <a:off x="600078" y="2349504"/>
              <a:ext cx="28574" cy="30163"/>
            </a:xfrm>
            <a:custGeom>
              <a:avLst/>
              <a:gdLst>
                <a:gd name="T0" fmla="*/ 2147483647 w 20"/>
                <a:gd name="T1" fmla="*/ 2147483647 h 19"/>
                <a:gd name="T2" fmla="*/ 2147483647 w 20"/>
                <a:gd name="T3" fmla="*/ 0 h 19"/>
                <a:gd name="T4" fmla="*/ 2147483647 w 20"/>
                <a:gd name="T5" fmla="*/ 0 h 19"/>
                <a:gd name="T6" fmla="*/ 2147483647 w 20"/>
                <a:gd name="T7" fmla="*/ 2147483647 h 19"/>
                <a:gd name="T8" fmla="*/ 2147483647 w 20"/>
                <a:gd name="T9" fmla="*/ 2147483647 h 19"/>
                <a:gd name="T10" fmla="*/ 2147483647 w 20"/>
                <a:gd name="T11" fmla="*/ 2147483647 h 19"/>
                <a:gd name="T12" fmla="*/ 2147483647 w 20"/>
                <a:gd name="T13" fmla="*/ 2147483647 h 19"/>
                <a:gd name="T14" fmla="*/ 2147483647 w 20"/>
                <a:gd name="T15" fmla="*/ 2147483647 h 19"/>
                <a:gd name="T16" fmla="*/ 2147483647 w 20"/>
                <a:gd name="T17" fmla="*/ 2147483647 h 19"/>
                <a:gd name="T18" fmla="*/ 2147483647 w 20"/>
                <a:gd name="T19" fmla="*/ 2147483647 h 19"/>
                <a:gd name="T20" fmla="*/ 2147483647 w 20"/>
                <a:gd name="T21" fmla="*/ 2147483647 h 19"/>
                <a:gd name="T22" fmla="*/ 0 w 20"/>
                <a:gd name="T23" fmla="*/ 2147483647 h 19"/>
                <a:gd name="T24" fmla="*/ 0 w 20"/>
                <a:gd name="T25" fmla="*/ 2147483647 h 19"/>
                <a:gd name="T26" fmla="*/ 2147483647 w 20"/>
                <a:gd name="T27" fmla="*/ 2147483647 h 19"/>
                <a:gd name="T28" fmla="*/ 2147483647 w 20"/>
                <a:gd name="T29" fmla="*/ 2147483647 h 19"/>
                <a:gd name="T30" fmla="*/ 2147483647 w 20"/>
                <a:gd name="T31" fmla="*/ 2147483647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9"/>
                <a:gd name="T50" fmla="*/ 20 w 20"/>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9">
                  <a:moveTo>
                    <a:pt x="6" y="4"/>
                  </a:moveTo>
                  <a:lnTo>
                    <a:pt x="13" y="0"/>
                  </a:lnTo>
                  <a:lnTo>
                    <a:pt x="15" y="0"/>
                  </a:lnTo>
                  <a:lnTo>
                    <a:pt x="18" y="1"/>
                  </a:lnTo>
                  <a:lnTo>
                    <a:pt x="20" y="4"/>
                  </a:lnTo>
                  <a:lnTo>
                    <a:pt x="20" y="8"/>
                  </a:lnTo>
                  <a:lnTo>
                    <a:pt x="18" y="10"/>
                  </a:lnTo>
                  <a:lnTo>
                    <a:pt x="15" y="14"/>
                  </a:lnTo>
                  <a:lnTo>
                    <a:pt x="6" y="17"/>
                  </a:lnTo>
                  <a:lnTo>
                    <a:pt x="2" y="19"/>
                  </a:lnTo>
                  <a:lnTo>
                    <a:pt x="1" y="17"/>
                  </a:lnTo>
                  <a:lnTo>
                    <a:pt x="0" y="16"/>
                  </a:lnTo>
                  <a:lnTo>
                    <a:pt x="0" y="13"/>
                  </a:lnTo>
                  <a:lnTo>
                    <a:pt x="1" y="9"/>
                  </a:lnTo>
                  <a:lnTo>
                    <a:pt x="4" y="7"/>
                  </a:lnTo>
                  <a:lnTo>
                    <a:pt x="6"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8" name="Freeform 1027"/>
            <p:cNvSpPr>
              <a:spLocks/>
            </p:cNvSpPr>
            <p:nvPr/>
          </p:nvSpPr>
          <p:spPr bwMode="auto">
            <a:xfrm>
              <a:off x="909639" y="2474914"/>
              <a:ext cx="28574" cy="42862"/>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2147483647 w 19"/>
                <a:gd name="T13" fmla="*/ 2147483647 h 27"/>
                <a:gd name="T14" fmla="*/ 2147483647 w 19"/>
                <a:gd name="T15" fmla="*/ 2147483647 h 27"/>
                <a:gd name="T16" fmla="*/ 2147483647 w 19"/>
                <a:gd name="T17" fmla="*/ 0 h 27"/>
                <a:gd name="T18" fmla="*/ 2147483647 w 19"/>
                <a:gd name="T19" fmla="*/ 2147483647 h 27"/>
                <a:gd name="T20" fmla="*/ 2147483647 w 19"/>
                <a:gd name="T21" fmla="*/ 2147483647 h 27"/>
                <a:gd name="T22" fmla="*/ 2147483647 w 19"/>
                <a:gd name="T23" fmla="*/ 2147483647 h 27"/>
                <a:gd name="T24" fmla="*/ 0 w 19"/>
                <a:gd name="T25" fmla="*/ 2147483647 h 27"/>
                <a:gd name="T26" fmla="*/ 0 w 19"/>
                <a:gd name="T27" fmla="*/ 2147483647 h 27"/>
                <a:gd name="T28" fmla="*/ 0 w 19"/>
                <a:gd name="T29" fmla="*/ 2147483647 h 27"/>
                <a:gd name="T30" fmla="*/ 2147483647 w 19"/>
                <a:gd name="T31" fmla="*/ 2147483647 h 27"/>
                <a:gd name="T32" fmla="*/ 2147483647 w 19"/>
                <a:gd name="T33" fmla="*/ 2147483647 h 27"/>
                <a:gd name="T34" fmla="*/ 2147483647 w 19"/>
                <a:gd name="T35" fmla="*/ 2147483647 h 27"/>
                <a:gd name="T36" fmla="*/ 2147483647 w 19"/>
                <a:gd name="T37" fmla="*/ 2147483647 h 27"/>
                <a:gd name="T38" fmla="*/ 2147483647 w 19"/>
                <a:gd name="T39" fmla="*/ 2147483647 h 27"/>
                <a:gd name="T40" fmla="*/ 2147483647 w 19"/>
                <a:gd name="T41" fmla="*/ 2147483647 h 27"/>
                <a:gd name="T42" fmla="*/ 2147483647 w 19"/>
                <a:gd name="T43" fmla="*/ 2147483647 h 27"/>
                <a:gd name="T44" fmla="*/ 2147483647 w 19"/>
                <a:gd name="T45" fmla="*/ 2147483647 h 27"/>
                <a:gd name="T46" fmla="*/ 2147483647 w 19"/>
                <a:gd name="T47" fmla="*/ 2147483647 h 27"/>
                <a:gd name="T48" fmla="*/ 2147483647 w 19"/>
                <a:gd name="T49" fmla="*/ 2147483647 h 27"/>
                <a:gd name="T50" fmla="*/ 2147483647 w 19"/>
                <a:gd name="T51" fmla="*/ 2147483647 h 27"/>
                <a:gd name="T52" fmla="*/ 2147483647 w 19"/>
                <a:gd name="T53" fmla="*/ 2147483647 h 27"/>
                <a:gd name="T54" fmla="*/ 2147483647 w 19"/>
                <a:gd name="T55" fmla="*/ 2147483647 h 27"/>
                <a:gd name="T56" fmla="*/ 2147483647 w 19"/>
                <a:gd name="T57" fmla="*/ 2147483647 h 27"/>
                <a:gd name="T58" fmla="*/ 2147483647 w 19"/>
                <a:gd name="T59" fmla="*/ 2147483647 h 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
                <a:gd name="T91" fmla="*/ 0 h 27"/>
                <a:gd name="T92" fmla="*/ 19 w 19"/>
                <a:gd name="T93" fmla="*/ 27 h 2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 h="27">
                  <a:moveTo>
                    <a:pt x="16" y="15"/>
                  </a:moveTo>
                  <a:lnTo>
                    <a:pt x="16" y="15"/>
                  </a:lnTo>
                  <a:lnTo>
                    <a:pt x="14" y="9"/>
                  </a:lnTo>
                  <a:lnTo>
                    <a:pt x="10" y="2"/>
                  </a:lnTo>
                  <a:lnTo>
                    <a:pt x="9" y="1"/>
                  </a:lnTo>
                  <a:lnTo>
                    <a:pt x="6" y="0"/>
                  </a:lnTo>
                  <a:lnTo>
                    <a:pt x="4" y="1"/>
                  </a:lnTo>
                  <a:lnTo>
                    <a:pt x="1" y="2"/>
                  </a:lnTo>
                  <a:lnTo>
                    <a:pt x="0" y="4"/>
                  </a:lnTo>
                  <a:lnTo>
                    <a:pt x="0" y="6"/>
                  </a:lnTo>
                  <a:lnTo>
                    <a:pt x="0" y="7"/>
                  </a:lnTo>
                  <a:lnTo>
                    <a:pt x="1" y="8"/>
                  </a:lnTo>
                  <a:lnTo>
                    <a:pt x="4" y="9"/>
                  </a:lnTo>
                  <a:lnTo>
                    <a:pt x="6" y="11"/>
                  </a:lnTo>
                  <a:lnTo>
                    <a:pt x="10" y="15"/>
                  </a:lnTo>
                  <a:lnTo>
                    <a:pt x="14" y="21"/>
                  </a:lnTo>
                  <a:lnTo>
                    <a:pt x="15" y="26"/>
                  </a:lnTo>
                  <a:lnTo>
                    <a:pt x="16" y="27"/>
                  </a:lnTo>
                  <a:lnTo>
                    <a:pt x="18" y="26"/>
                  </a:lnTo>
                  <a:lnTo>
                    <a:pt x="19" y="24"/>
                  </a:lnTo>
                  <a:lnTo>
                    <a:pt x="19" y="19"/>
                  </a:lnTo>
                  <a:lnTo>
                    <a:pt x="16"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29" name="Freeform 1028"/>
            <p:cNvSpPr>
              <a:spLocks/>
            </p:cNvSpPr>
            <p:nvPr/>
          </p:nvSpPr>
          <p:spPr bwMode="auto">
            <a:xfrm>
              <a:off x="598490" y="2346330"/>
              <a:ext cx="28574" cy="30163"/>
            </a:xfrm>
            <a:custGeom>
              <a:avLst/>
              <a:gdLst>
                <a:gd name="T0" fmla="*/ 2147483647 w 20"/>
                <a:gd name="T1" fmla="*/ 2147483647 h 19"/>
                <a:gd name="T2" fmla="*/ 2147483647 w 20"/>
                <a:gd name="T3" fmla="*/ 2147483647 h 19"/>
                <a:gd name="T4" fmla="*/ 2147483647 w 20"/>
                <a:gd name="T5" fmla="*/ 0 h 19"/>
                <a:gd name="T6" fmla="*/ 2147483647 w 20"/>
                <a:gd name="T7" fmla="*/ 0 h 19"/>
                <a:gd name="T8" fmla="*/ 2147483647 w 20"/>
                <a:gd name="T9" fmla="*/ 2147483647 h 19"/>
                <a:gd name="T10" fmla="*/ 2147483647 w 20"/>
                <a:gd name="T11" fmla="*/ 2147483647 h 19"/>
                <a:gd name="T12" fmla="*/ 2147483647 w 20"/>
                <a:gd name="T13" fmla="*/ 2147483647 h 19"/>
                <a:gd name="T14" fmla="*/ 2147483647 w 20"/>
                <a:gd name="T15" fmla="*/ 2147483647 h 19"/>
                <a:gd name="T16" fmla="*/ 2147483647 w 20"/>
                <a:gd name="T17" fmla="*/ 2147483647 h 19"/>
                <a:gd name="T18" fmla="*/ 2147483647 w 20"/>
                <a:gd name="T19" fmla="*/ 2147483647 h 19"/>
                <a:gd name="T20" fmla="*/ 2147483647 w 20"/>
                <a:gd name="T21" fmla="*/ 2147483647 h 19"/>
                <a:gd name="T22" fmla="*/ 2147483647 w 20"/>
                <a:gd name="T23" fmla="*/ 2147483647 h 19"/>
                <a:gd name="T24" fmla="*/ 2147483647 w 20"/>
                <a:gd name="T25" fmla="*/ 2147483647 h 19"/>
                <a:gd name="T26" fmla="*/ 2147483647 w 20"/>
                <a:gd name="T27" fmla="*/ 2147483647 h 19"/>
                <a:gd name="T28" fmla="*/ 0 w 20"/>
                <a:gd name="T29" fmla="*/ 2147483647 h 19"/>
                <a:gd name="T30" fmla="*/ 0 w 20"/>
                <a:gd name="T31" fmla="*/ 2147483647 h 19"/>
                <a:gd name="T32" fmla="*/ 0 w 20"/>
                <a:gd name="T33" fmla="*/ 2147483647 h 19"/>
                <a:gd name="T34" fmla="*/ 2147483647 w 20"/>
                <a:gd name="T35" fmla="*/ 2147483647 h 19"/>
                <a:gd name="T36" fmla="*/ 2147483647 w 20"/>
                <a:gd name="T37" fmla="*/ 2147483647 h 19"/>
                <a:gd name="T38" fmla="*/ 2147483647 w 20"/>
                <a:gd name="T39" fmla="*/ 2147483647 h 19"/>
                <a:gd name="T40" fmla="*/ 2147483647 w 20"/>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9"/>
                <a:gd name="T65" fmla="*/ 20 w 20"/>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9">
                  <a:moveTo>
                    <a:pt x="6" y="5"/>
                  </a:moveTo>
                  <a:lnTo>
                    <a:pt x="6" y="5"/>
                  </a:lnTo>
                  <a:lnTo>
                    <a:pt x="12" y="0"/>
                  </a:lnTo>
                  <a:lnTo>
                    <a:pt x="15" y="0"/>
                  </a:lnTo>
                  <a:lnTo>
                    <a:pt x="17" y="2"/>
                  </a:lnTo>
                  <a:lnTo>
                    <a:pt x="20" y="5"/>
                  </a:lnTo>
                  <a:lnTo>
                    <a:pt x="20" y="9"/>
                  </a:lnTo>
                  <a:lnTo>
                    <a:pt x="17" y="11"/>
                  </a:lnTo>
                  <a:lnTo>
                    <a:pt x="15" y="15"/>
                  </a:lnTo>
                  <a:lnTo>
                    <a:pt x="6" y="18"/>
                  </a:lnTo>
                  <a:lnTo>
                    <a:pt x="2" y="19"/>
                  </a:lnTo>
                  <a:lnTo>
                    <a:pt x="1" y="18"/>
                  </a:lnTo>
                  <a:lnTo>
                    <a:pt x="0" y="17"/>
                  </a:lnTo>
                  <a:lnTo>
                    <a:pt x="0" y="13"/>
                  </a:lnTo>
                  <a:lnTo>
                    <a:pt x="1" y="10"/>
                  </a:lnTo>
                  <a:lnTo>
                    <a:pt x="3" y="7"/>
                  </a:lnTo>
                  <a:lnTo>
                    <a:pt x="6"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0" name="Freeform 1029"/>
            <p:cNvSpPr>
              <a:spLocks/>
            </p:cNvSpPr>
            <p:nvPr/>
          </p:nvSpPr>
          <p:spPr bwMode="auto">
            <a:xfrm>
              <a:off x="461963" y="2430467"/>
              <a:ext cx="34925" cy="22225"/>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0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0 h 14"/>
                <a:gd name="T20" fmla="*/ 2147483647 w 24"/>
                <a:gd name="T21" fmla="*/ 0 h 14"/>
                <a:gd name="T22" fmla="*/ 2147483647 w 24"/>
                <a:gd name="T23" fmla="*/ 2147483647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2147483647 w 24"/>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14"/>
                <a:gd name="T59" fmla="*/ 24 w 24"/>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14">
                  <a:moveTo>
                    <a:pt x="10" y="11"/>
                  </a:moveTo>
                  <a:lnTo>
                    <a:pt x="6" y="13"/>
                  </a:lnTo>
                  <a:lnTo>
                    <a:pt x="5" y="14"/>
                  </a:lnTo>
                  <a:lnTo>
                    <a:pt x="2" y="14"/>
                  </a:lnTo>
                  <a:lnTo>
                    <a:pt x="1" y="13"/>
                  </a:lnTo>
                  <a:lnTo>
                    <a:pt x="0" y="11"/>
                  </a:lnTo>
                  <a:lnTo>
                    <a:pt x="1" y="8"/>
                  </a:lnTo>
                  <a:lnTo>
                    <a:pt x="2" y="5"/>
                  </a:lnTo>
                  <a:lnTo>
                    <a:pt x="5" y="3"/>
                  </a:lnTo>
                  <a:lnTo>
                    <a:pt x="10" y="0"/>
                  </a:lnTo>
                  <a:lnTo>
                    <a:pt x="15" y="0"/>
                  </a:lnTo>
                  <a:lnTo>
                    <a:pt x="20" y="2"/>
                  </a:lnTo>
                  <a:lnTo>
                    <a:pt x="22" y="3"/>
                  </a:lnTo>
                  <a:lnTo>
                    <a:pt x="23" y="7"/>
                  </a:lnTo>
                  <a:lnTo>
                    <a:pt x="24" y="8"/>
                  </a:lnTo>
                  <a:lnTo>
                    <a:pt x="23" y="9"/>
                  </a:lnTo>
                  <a:lnTo>
                    <a:pt x="19" y="10"/>
                  </a:lnTo>
                  <a:lnTo>
                    <a:pt x="15" y="10"/>
                  </a:lnTo>
                  <a:lnTo>
                    <a:pt x="10"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1" name="Freeform 1030"/>
            <p:cNvSpPr>
              <a:spLocks/>
            </p:cNvSpPr>
            <p:nvPr/>
          </p:nvSpPr>
          <p:spPr bwMode="auto">
            <a:xfrm>
              <a:off x="427042" y="2455864"/>
              <a:ext cx="58737" cy="42862"/>
            </a:xfrm>
            <a:custGeom>
              <a:avLst/>
              <a:gdLst>
                <a:gd name="T0" fmla="*/ 2147483647 w 40"/>
                <a:gd name="T1" fmla="*/ 2147483647 h 27"/>
                <a:gd name="T2" fmla="*/ 2147483647 w 40"/>
                <a:gd name="T3" fmla="*/ 2147483647 h 27"/>
                <a:gd name="T4" fmla="*/ 2147483647 w 40"/>
                <a:gd name="T5" fmla="*/ 2147483647 h 27"/>
                <a:gd name="T6" fmla="*/ 2147483647 w 40"/>
                <a:gd name="T7" fmla="*/ 2147483647 h 27"/>
                <a:gd name="T8" fmla="*/ 2147483647 w 40"/>
                <a:gd name="T9" fmla="*/ 2147483647 h 27"/>
                <a:gd name="T10" fmla="*/ 2147483647 w 40"/>
                <a:gd name="T11" fmla="*/ 2147483647 h 27"/>
                <a:gd name="T12" fmla="*/ 2147483647 w 40"/>
                <a:gd name="T13" fmla="*/ 2147483647 h 27"/>
                <a:gd name="T14" fmla="*/ 2147483647 w 40"/>
                <a:gd name="T15" fmla="*/ 2147483647 h 27"/>
                <a:gd name="T16" fmla="*/ 2147483647 w 40"/>
                <a:gd name="T17" fmla="*/ 2147483647 h 27"/>
                <a:gd name="T18" fmla="*/ 2147483647 w 40"/>
                <a:gd name="T19" fmla="*/ 2147483647 h 27"/>
                <a:gd name="T20" fmla="*/ 2147483647 w 40"/>
                <a:gd name="T21" fmla="*/ 2147483647 h 27"/>
                <a:gd name="T22" fmla="*/ 2147483647 w 40"/>
                <a:gd name="T23" fmla="*/ 2147483647 h 27"/>
                <a:gd name="T24" fmla="*/ 2147483647 w 40"/>
                <a:gd name="T25" fmla="*/ 0 h 27"/>
                <a:gd name="T26" fmla="*/ 2147483647 w 40"/>
                <a:gd name="T27" fmla="*/ 0 h 27"/>
                <a:gd name="T28" fmla="*/ 2147483647 w 40"/>
                <a:gd name="T29" fmla="*/ 2147483647 h 27"/>
                <a:gd name="T30" fmla="*/ 2147483647 w 40"/>
                <a:gd name="T31" fmla="*/ 2147483647 h 27"/>
                <a:gd name="T32" fmla="*/ 2147483647 w 40"/>
                <a:gd name="T33" fmla="*/ 2147483647 h 27"/>
                <a:gd name="T34" fmla="*/ 2147483647 w 40"/>
                <a:gd name="T35" fmla="*/ 2147483647 h 27"/>
                <a:gd name="T36" fmla="*/ 2147483647 w 40"/>
                <a:gd name="T37" fmla="*/ 2147483647 h 27"/>
                <a:gd name="T38" fmla="*/ 2147483647 w 40"/>
                <a:gd name="T39" fmla="*/ 2147483647 h 27"/>
                <a:gd name="T40" fmla="*/ 2147483647 w 40"/>
                <a:gd name="T41" fmla="*/ 2147483647 h 27"/>
                <a:gd name="T42" fmla="*/ 2147483647 w 40"/>
                <a:gd name="T43" fmla="*/ 2147483647 h 27"/>
                <a:gd name="T44" fmla="*/ 2147483647 w 40"/>
                <a:gd name="T45" fmla="*/ 2147483647 h 27"/>
                <a:gd name="T46" fmla="*/ 0 w 40"/>
                <a:gd name="T47" fmla="*/ 2147483647 h 27"/>
                <a:gd name="T48" fmla="*/ 0 w 40"/>
                <a:gd name="T49" fmla="*/ 2147483647 h 27"/>
                <a:gd name="T50" fmla="*/ 2147483647 w 40"/>
                <a:gd name="T51" fmla="*/ 2147483647 h 27"/>
                <a:gd name="T52" fmla="*/ 2147483647 w 40"/>
                <a:gd name="T53" fmla="*/ 2147483647 h 27"/>
                <a:gd name="T54" fmla="*/ 2147483647 w 40"/>
                <a:gd name="T55" fmla="*/ 2147483647 h 27"/>
                <a:gd name="T56" fmla="*/ 2147483647 w 40"/>
                <a:gd name="T57" fmla="*/ 2147483647 h 27"/>
                <a:gd name="T58" fmla="*/ 2147483647 w 40"/>
                <a:gd name="T59" fmla="*/ 2147483647 h 27"/>
                <a:gd name="T60" fmla="*/ 2147483647 w 40"/>
                <a:gd name="T61" fmla="*/ 2147483647 h 27"/>
                <a:gd name="T62" fmla="*/ 2147483647 w 40"/>
                <a:gd name="T63" fmla="*/ 2147483647 h 27"/>
                <a:gd name="T64" fmla="*/ 2147483647 w 40"/>
                <a:gd name="T65" fmla="*/ 2147483647 h 27"/>
                <a:gd name="T66" fmla="*/ 2147483647 w 40"/>
                <a:gd name="T67" fmla="*/ 2147483647 h 27"/>
                <a:gd name="T68" fmla="*/ 2147483647 w 40"/>
                <a:gd name="T69" fmla="*/ 2147483647 h 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27"/>
                <a:gd name="T107" fmla="*/ 40 w 40"/>
                <a:gd name="T108" fmla="*/ 27 h 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27">
                  <a:moveTo>
                    <a:pt x="29" y="24"/>
                  </a:moveTo>
                  <a:lnTo>
                    <a:pt x="29" y="21"/>
                  </a:lnTo>
                  <a:lnTo>
                    <a:pt x="32" y="19"/>
                  </a:lnTo>
                  <a:lnTo>
                    <a:pt x="33" y="18"/>
                  </a:lnTo>
                  <a:lnTo>
                    <a:pt x="37" y="17"/>
                  </a:lnTo>
                  <a:lnTo>
                    <a:pt x="39" y="14"/>
                  </a:lnTo>
                  <a:lnTo>
                    <a:pt x="40" y="11"/>
                  </a:lnTo>
                  <a:lnTo>
                    <a:pt x="40" y="8"/>
                  </a:lnTo>
                  <a:lnTo>
                    <a:pt x="39" y="6"/>
                  </a:lnTo>
                  <a:lnTo>
                    <a:pt x="34" y="4"/>
                  </a:lnTo>
                  <a:lnTo>
                    <a:pt x="29" y="4"/>
                  </a:lnTo>
                  <a:lnTo>
                    <a:pt x="23" y="3"/>
                  </a:lnTo>
                  <a:lnTo>
                    <a:pt x="18" y="0"/>
                  </a:lnTo>
                  <a:lnTo>
                    <a:pt x="15" y="0"/>
                  </a:lnTo>
                  <a:lnTo>
                    <a:pt x="12" y="1"/>
                  </a:lnTo>
                  <a:lnTo>
                    <a:pt x="12" y="5"/>
                  </a:lnTo>
                  <a:lnTo>
                    <a:pt x="12" y="7"/>
                  </a:lnTo>
                  <a:lnTo>
                    <a:pt x="14" y="10"/>
                  </a:lnTo>
                  <a:lnTo>
                    <a:pt x="12" y="12"/>
                  </a:lnTo>
                  <a:lnTo>
                    <a:pt x="9" y="12"/>
                  </a:lnTo>
                  <a:lnTo>
                    <a:pt x="6" y="12"/>
                  </a:lnTo>
                  <a:lnTo>
                    <a:pt x="2" y="12"/>
                  </a:lnTo>
                  <a:lnTo>
                    <a:pt x="1" y="13"/>
                  </a:lnTo>
                  <a:lnTo>
                    <a:pt x="0" y="16"/>
                  </a:lnTo>
                  <a:lnTo>
                    <a:pt x="0" y="20"/>
                  </a:lnTo>
                  <a:lnTo>
                    <a:pt x="1" y="23"/>
                  </a:lnTo>
                  <a:lnTo>
                    <a:pt x="2" y="24"/>
                  </a:lnTo>
                  <a:lnTo>
                    <a:pt x="12" y="27"/>
                  </a:lnTo>
                  <a:lnTo>
                    <a:pt x="15" y="27"/>
                  </a:lnTo>
                  <a:lnTo>
                    <a:pt x="18" y="27"/>
                  </a:lnTo>
                  <a:lnTo>
                    <a:pt x="21" y="26"/>
                  </a:lnTo>
                  <a:lnTo>
                    <a:pt x="24" y="27"/>
                  </a:lnTo>
                  <a:lnTo>
                    <a:pt x="26" y="26"/>
                  </a:lnTo>
                  <a:lnTo>
                    <a:pt x="28" y="26"/>
                  </a:lnTo>
                  <a:lnTo>
                    <a:pt x="29" y="2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2" name="Freeform 1031"/>
            <p:cNvSpPr>
              <a:spLocks/>
            </p:cNvSpPr>
            <p:nvPr/>
          </p:nvSpPr>
          <p:spPr bwMode="auto">
            <a:xfrm>
              <a:off x="460376" y="2427288"/>
              <a:ext cx="34925" cy="23812"/>
            </a:xfrm>
            <a:custGeom>
              <a:avLst/>
              <a:gdLst>
                <a:gd name="T0" fmla="*/ 2147483647 w 24"/>
                <a:gd name="T1" fmla="*/ 2147483647 h 15"/>
                <a:gd name="T2" fmla="*/ 2147483647 w 24"/>
                <a:gd name="T3" fmla="*/ 2147483647 h 15"/>
                <a:gd name="T4" fmla="*/ 2147483647 w 24"/>
                <a:gd name="T5" fmla="*/ 2147483647 h 15"/>
                <a:gd name="T6" fmla="*/ 2147483647 w 24"/>
                <a:gd name="T7" fmla="*/ 2147483647 h 15"/>
                <a:gd name="T8" fmla="*/ 2147483647 w 24"/>
                <a:gd name="T9" fmla="*/ 2147483647 h 15"/>
                <a:gd name="T10" fmla="*/ 2147483647 w 24"/>
                <a:gd name="T11" fmla="*/ 2147483647 h 15"/>
                <a:gd name="T12" fmla="*/ 2147483647 w 24"/>
                <a:gd name="T13" fmla="*/ 2147483647 h 15"/>
                <a:gd name="T14" fmla="*/ 0 w 24"/>
                <a:gd name="T15" fmla="*/ 2147483647 h 15"/>
                <a:gd name="T16" fmla="*/ 2147483647 w 24"/>
                <a:gd name="T17" fmla="*/ 2147483647 h 15"/>
                <a:gd name="T18" fmla="*/ 2147483647 w 24"/>
                <a:gd name="T19" fmla="*/ 2147483647 h 15"/>
                <a:gd name="T20" fmla="*/ 2147483647 w 24"/>
                <a:gd name="T21" fmla="*/ 2147483647 h 15"/>
                <a:gd name="T22" fmla="*/ 2147483647 w 24"/>
                <a:gd name="T23" fmla="*/ 2147483647 h 15"/>
                <a:gd name="T24" fmla="*/ 2147483647 w 24"/>
                <a:gd name="T25" fmla="*/ 0 h 15"/>
                <a:gd name="T26" fmla="*/ 2147483647 w 24"/>
                <a:gd name="T27" fmla="*/ 0 h 15"/>
                <a:gd name="T28" fmla="*/ 2147483647 w 24"/>
                <a:gd name="T29" fmla="*/ 2147483647 h 15"/>
                <a:gd name="T30" fmla="*/ 2147483647 w 24"/>
                <a:gd name="T31" fmla="*/ 2147483647 h 15"/>
                <a:gd name="T32" fmla="*/ 2147483647 w 24"/>
                <a:gd name="T33" fmla="*/ 2147483647 h 15"/>
                <a:gd name="T34" fmla="*/ 2147483647 w 24"/>
                <a:gd name="T35" fmla="*/ 2147483647 h 15"/>
                <a:gd name="T36" fmla="*/ 2147483647 w 24"/>
                <a:gd name="T37" fmla="*/ 2147483647 h 15"/>
                <a:gd name="T38" fmla="*/ 2147483647 w 24"/>
                <a:gd name="T39" fmla="*/ 2147483647 h 15"/>
                <a:gd name="T40" fmla="*/ 2147483647 w 24"/>
                <a:gd name="T41" fmla="*/ 2147483647 h 15"/>
                <a:gd name="T42" fmla="*/ 2147483647 w 24"/>
                <a:gd name="T43" fmla="*/ 2147483647 h 15"/>
                <a:gd name="T44" fmla="*/ 2147483647 w 24"/>
                <a:gd name="T45" fmla="*/ 2147483647 h 15"/>
                <a:gd name="T46" fmla="*/ 2147483647 w 24"/>
                <a:gd name="T47" fmla="*/ 2147483647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15"/>
                <a:gd name="T74" fmla="*/ 24 w 2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15">
                  <a:moveTo>
                    <a:pt x="10" y="12"/>
                  </a:moveTo>
                  <a:lnTo>
                    <a:pt x="10" y="12"/>
                  </a:lnTo>
                  <a:lnTo>
                    <a:pt x="6" y="13"/>
                  </a:lnTo>
                  <a:lnTo>
                    <a:pt x="5" y="15"/>
                  </a:lnTo>
                  <a:lnTo>
                    <a:pt x="2" y="15"/>
                  </a:lnTo>
                  <a:lnTo>
                    <a:pt x="1" y="13"/>
                  </a:lnTo>
                  <a:lnTo>
                    <a:pt x="0" y="12"/>
                  </a:lnTo>
                  <a:lnTo>
                    <a:pt x="1" y="9"/>
                  </a:lnTo>
                  <a:lnTo>
                    <a:pt x="2" y="6"/>
                  </a:lnTo>
                  <a:lnTo>
                    <a:pt x="5" y="4"/>
                  </a:lnTo>
                  <a:lnTo>
                    <a:pt x="10" y="0"/>
                  </a:lnTo>
                  <a:lnTo>
                    <a:pt x="15" y="0"/>
                  </a:lnTo>
                  <a:lnTo>
                    <a:pt x="20" y="3"/>
                  </a:lnTo>
                  <a:lnTo>
                    <a:pt x="21" y="4"/>
                  </a:lnTo>
                  <a:lnTo>
                    <a:pt x="23" y="7"/>
                  </a:lnTo>
                  <a:lnTo>
                    <a:pt x="24" y="9"/>
                  </a:lnTo>
                  <a:lnTo>
                    <a:pt x="23" y="10"/>
                  </a:lnTo>
                  <a:lnTo>
                    <a:pt x="19" y="11"/>
                  </a:lnTo>
                  <a:lnTo>
                    <a:pt x="15" y="11"/>
                  </a:lnTo>
                  <a:lnTo>
                    <a:pt x="10"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3" name="Freeform 1032"/>
            <p:cNvSpPr>
              <a:spLocks/>
            </p:cNvSpPr>
            <p:nvPr/>
          </p:nvSpPr>
          <p:spPr bwMode="auto">
            <a:xfrm>
              <a:off x="425451" y="2454279"/>
              <a:ext cx="58738" cy="42863"/>
            </a:xfrm>
            <a:custGeom>
              <a:avLst/>
              <a:gdLst>
                <a:gd name="T0" fmla="*/ 2147483647 w 40"/>
                <a:gd name="T1" fmla="*/ 2147483647 h 27"/>
                <a:gd name="T2" fmla="*/ 2147483647 w 40"/>
                <a:gd name="T3" fmla="*/ 2147483647 h 27"/>
                <a:gd name="T4" fmla="*/ 2147483647 w 40"/>
                <a:gd name="T5" fmla="*/ 2147483647 h 27"/>
                <a:gd name="T6" fmla="*/ 2147483647 w 40"/>
                <a:gd name="T7" fmla="*/ 2147483647 h 27"/>
                <a:gd name="T8" fmla="*/ 2147483647 w 40"/>
                <a:gd name="T9" fmla="*/ 2147483647 h 27"/>
                <a:gd name="T10" fmla="*/ 2147483647 w 40"/>
                <a:gd name="T11" fmla="*/ 2147483647 h 27"/>
                <a:gd name="T12" fmla="*/ 2147483647 w 40"/>
                <a:gd name="T13" fmla="*/ 2147483647 h 27"/>
                <a:gd name="T14" fmla="*/ 2147483647 w 40"/>
                <a:gd name="T15" fmla="*/ 2147483647 h 27"/>
                <a:gd name="T16" fmla="*/ 2147483647 w 40"/>
                <a:gd name="T17" fmla="*/ 2147483647 h 27"/>
                <a:gd name="T18" fmla="*/ 2147483647 w 40"/>
                <a:gd name="T19" fmla="*/ 2147483647 h 27"/>
                <a:gd name="T20" fmla="*/ 2147483647 w 40"/>
                <a:gd name="T21" fmla="*/ 2147483647 h 27"/>
                <a:gd name="T22" fmla="*/ 2147483647 w 40"/>
                <a:gd name="T23" fmla="*/ 2147483647 h 27"/>
                <a:gd name="T24" fmla="*/ 2147483647 w 40"/>
                <a:gd name="T25" fmla="*/ 2147483647 h 27"/>
                <a:gd name="T26" fmla="*/ 2147483647 w 40"/>
                <a:gd name="T27" fmla="*/ 2147483647 h 27"/>
                <a:gd name="T28" fmla="*/ 2147483647 w 40"/>
                <a:gd name="T29" fmla="*/ 2147483647 h 27"/>
                <a:gd name="T30" fmla="*/ 2147483647 w 40"/>
                <a:gd name="T31" fmla="*/ 0 h 27"/>
                <a:gd name="T32" fmla="*/ 2147483647 w 40"/>
                <a:gd name="T33" fmla="*/ 0 h 27"/>
                <a:gd name="T34" fmla="*/ 2147483647 w 40"/>
                <a:gd name="T35" fmla="*/ 0 h 27"/>
                <a:gd name="T36" fmla="*/ 2147483647 w 40"/>
                <a:gd name="T37" fmla="*/ 2147483647 h 27"/>
                <a:gd name="T38" fmla="*/ 2147483647 w 40"/>
                <a:gd name="T39" fmla="*/ 2147483647 h 27"/>
                <a:gd name="T40" fmla="*/ 2147483647 w 40"/>
                <a:gd name="T41" fmla="*/ 2147483647 h 27"/>
                <a:gd name="T42" fmla="*/ 2147483647 w 40"/>
                <a:gd name="T43" fmla="*/ 2147483647 h 27"/>
                <a:gd name="T44" fmla="*/ 2147483647 w 40"/>
                <a:gd name="T45" fmla="*/ 2147483647 h 27"/>
                <a:gd name="T46" fmla="*/ 2147483647 w 40"/>
                <a:gd name="T47" fmla="*/ 2147483647 h 27"/>
                <a:gd name="T48" fmla="*/ 2147483647 w 40"/>
                <a:gd name="T49" fmla="*/ 2147483647 h 27"/>
                <a:gd name="T50" fmla="*/ 2147483647 w 40"/>
                <a:gd name="T51" fmla="*/ 2147483647 h 27"/>
                <a:gd name="T52" fmla="*/ 2147483647 w 40"/>
                <a:gd name="T53" fmla="*/ 2147483647 h 27"/>
                <a:gd name="T54" fmla="*/ 2147483647 w 40"/>
                <a:gd name="T55" fmla="*/ 2147483647 h 27"/>
                <a:gd name="T56" fmla="*/ 2147483647 w 40"/>
                <a:gd name="T57" fmla="*/ 2147483647 h 27"/>
                <a:gd name="T58" fmla="*/ 0 w 40"/>
                <a:gd name="T59" fmla="*/ 2147483647 h 27"/>
                <a:gd name="T60" fmla="*/ 0 w 40"/>
                <a:gd name="T61" fmla="*/ 2147483647 h 27"/>
                <a:gd name="T62" fmla="*/ 0 w 40"/>
                <a:gd name="T63" fmla="*/ 2147483647 h 27"/>
                <a:gd name="T64" fmla="*/ 2147483647 w 40"/>
                <a:gd name="T65" fmla="*/ 2147483647 h 27"/>
                <a:gd name="T66" fmla="*/ 2147483647 w 40"/>
                <a:gd name="T67" fmla="*/ 2147483647 h 27"/>
                <a:gd name="T68" fmla="*/ 2147483647 w 40"/>
                <a:gd name="T69" fmla="*/ 2147483647 h 27"/>
                <a:gd name="T70" fmla="*/ 2147483647 w 40"/>
                <a:gd name="T71" fmla="*/ 2147483647 h 27"/>
                <a:gd name="T72" fmla="*/ 2147483647 w 40"/>
                <a:gd name="T73" fmla="*/ 2147483647 h 27"/>
                <a:gd name="T74" fmla="*/ 2147483647 w 40"/>
                <a:gd name="T75" fmla="*/ 2147483647 h 27"/>
                <a:gd name="T76" fmla="*/ 2147483647 w 40"/>
                <a:gd name="T77" fmla="*/ 2147483647 h 27"/>
                <a:gd name="T78" fmla="*/ 2147483647 w 40"/>
                <a:gd name="T79" fmla="*/ 2147483647 h 27"/>
                <a:gd name="T80" fmla="*/ 2147483647 w 40"/>
                <a:gd name="T81" fmla="*/ 2147483647 h 27"/>
                <a:gd name="T82" fmla="*/ 2147483647 w 40"/>
                <a:gd name="T83" fmla="*/ 2147483647 h 27"/>
                <a:gd name="T84" fmla="*/ 2147483647 w 40"/>
                <a:gd name="T85" fmla="*/ 2147483647 h 27"/>
                <a:gd name="T86" fmla="*/ 2147483647 w 40"/>
                <a:gd name="T87" fmla="*/ 2147483647 h 27"/>
                <a:gd name="T88" fmla="*/ 2147483647 w 40"/>
                <a:gd name="T89" fmla="*/ 2147483647 h 27"/>
                <a:gd name="T90" fmla="*/ 2147483647 w 40"/>
                <a:gd name="T91" fmla="*/ 2147483647 h 2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
                <a:gd name="T139" fmla="*/ 0 h 27"/>
                <a:gd name="T140" fmla="*/ 40 w 40"/>
                <a:gd name="T141" fmla="*/ 27 h 2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 h="27">
                  <a:moveTo>
                    <a:pt x="29" y="24"/>
                  </a:moveTo>
                  <a:lnTo>
                    <a:pt x="29" y="24"/>
                  </a:lnTo>
                  <a:lnTo>
                    <a:pt x="29" y="21"/>
                  </a:lnTo>
                  <a:lnTo>
                    <a:pt x="31" y="19"/>
                  </a:lnTo>
                  <a:lnTo>
                    <a:pt x="33" y="18"/>
                  </a:lnTo>
                  <a:lnTo>
                    <a:pt x="36" y="17"/>
                  </a:lnTo>
                  <a:lnTo>
                    <a:pt x="39" y="14"/>
                  </a:lnTo>
                  <a:lnTo>
                    <a:pt x="40" y="11"/>
                  </a:lnTo>
                  <a:lnTo>
                    <a:pt x="40" y="8"/>
                  </a:lnTo>
                  <a:lnTo>
                    <a:pt x="39" y="6"/>
                  </a:lnTo>
                  <a:lnTo>
                    <a:pt x="34" y="4"/>
                  </a:lnTo>
                  <a:lnTo>
                    <a:pt x="29" y="4"/>
                  </a:lnTo>
                  <a:lnTo>
                    <a:pt x="22" y="2"/>
                  </a:lnTo>
                  <a:lnTo>
                    <a:pt x="17" y="0"/>
                  </a:lnTo>
                  <a:lnTo>
                    <a:pt x="15" y="0"/>
                  </a:lnTo>
                  <a:lnTo>
                    <a:pt x="12" y="1"/>
                  </a:lnTo>
                  <a:lnTo>
                    <a:pt x="12" y="5"/>
                  </a:lnTo>
                  <a:lnTo>
                    <a:pt x="12" y="7"/>
                  </a:lnTo>
                  <a:lnTo>
                    <a:pt x="13" y="9"/>
                  </a:lnTo>
                  <a:lnTo>
                    <a:pt x="12" y="12"/>
                  </a:lnTo>
                  <a:lnTo>
                    <a:pt x="8" y="12"/>
                  </a:lnTo>
                  <a:lnTo>
                    <a:pt x="6" y="12"/>
                  </a:lnTo>
                  <a:lnTo>
                    <a:pt x="2" y="12"/>
                  </a:lnTo>
                  <a:lnTo>
                    <a:pt x="1" y="13"/>
                  </a:lnTo>
                  <a:lnTo>
                    <a:pt x="0" y="15"/>
                  </a:lnTo>
                  <a:lnTo>
                    <a:pt x="0" y="20"/>
                  </a:lnTo>
                  <a:lnTo>
                    <a:pt x="1" y="22"/>
                  </a:lnTo>
                  <a:lnTo>
                    <a:pt x="2" y="24"/>
                  </a:lnTo>
                  <a:lnTo>
                    <a:pt x="12" y="27"/>
                  </a:lnTo>
                  <a:lnTo>
                    <a:pt x="15" y="27"/>
                  </a:lnTo>
                  <a:lnTo>
                    <a:pt x="17" y="27"/>
                  </a:lnTo>
                  <a:lnTo>
                    <a:pt x="21" y="26"/>
                  </a:lnTo>
                  <a:lnTo>
                    <a:pt x="24" y="27"/>
                  </a:lnTo>
                  <a:lnTo>
                    <a:pt x="26" y="26"/>
                  </a:lnTo>
                  <a:lnTo>
                    <a:pt x="27" y="26"/>
                  </a:lnTo>
                  <a:lnTo>
                    <a:pt x="29" y="2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4" name="Freeform 1033"/>
            <p:cNvSpPr>
              <a:spLocks/>
            </p:cNvSpPr>
            <p:nvPr/>
          </p:nvSpPr>
          <p:spPr bwMode="auto">
            <a:xfrm>
              <a:off x="284163" y="2563814"/>
              <a:ext cx="30162" cy="28575"/>
            </a:xfrm>
            <a:custGeom>
              <a:avLst/>
              <a:gdLst>
                <a:gd name="T0" fmla="*/ 2147483647 w 21"/>
                <a:gd name="T1" fmla="*/ 2147483647 h 18"/>
                <a:gd name="T2" fmla="*/ 2147483647 w 21"/>
                <a:gd name="T3" fmla="*/ 2147483647 h 18"/>
                <a:gd name="T4" fmla="*/ 2147483647 w 21"/>
                <a:gd name="T5" fmla="*/ 2147483647 h 18"/>
                <a:gd name="T6" fmla="*/ 2147483647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0 w 21"/>
                <a:gd name="T25" fmla="*/ 2147483647 h 18"/>
                <a:gd name="T26" fmla="*/ 0 w 21"/>
                <a:gd name="T27" fmla="*/ 2147483647 h 18"/>
                <a:gd name="T28" fmla="*/ 2147483647 w 21"/>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
                <a:gd name="T46" fmla="*/ 0 h 18"/>
                <a:gd name="T47" fmla="*/ 21 w 21"/>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 h="18">
                  <a:moveTo>
                    <a:pt x="4" y="7"/>
                  </a:moveTo>
                  <a:lnTo>
                    <a:pt x="7" y="3"/>
                  </a:lnTo>
                  <a:lnTo>
                    <a:pt x="9" y="2"/>
                  </a:lnTo>
                  <a:lnTo>
                    <a:pt x="16" y="0"/>
                  </a:lnTo>
                  <a:lnTo>
                    <a:pt x="17" y="3"/>
                  </a:lnTo>
                  <a:lnTo>
                    <a:pt x="19" y="8"/>
                  </a:lnTo>
                  <a:lnTo>
                    <a:pt x="21" y="10"/>
                  </a:lnTo>
                  <a:lnTo>
                    <a:pt x="21" y="12"/>
                  </a:lnTo>
                  <a:lnTo>
                    <a:pt x="19" y="13"/>
                  </a:lnTo>
                  <a:lnTo>
                    <a:pt x="12" y="16"/>
                  </a:lnTo>
                  <a:lnTo>
                    <a:pt x="7" y="18"/>
                  </a:lnTo>
                  <a:lnTo>
                    <a:pt x="3" y="18"/>
                  </a:lnTo>
                  <a:lnTo>
                    <a:pt x="0" y="15"/>
                  </a:lnTo>
                  <a:lnTo>
                    <a:pt x="0" y="13"/>
                  </a:lnTo>
                  <a:lnTo>
                    <a:pt x="4"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5" name="Freeform 1034"/>
            <p:cNvSpPr>
              <a:spLocks/>
            </p:cNvSpPr>
            <p:nvPr/>
          </p:nvSpPr>
          <p:spPr bwMode="auto">
            <a:xfrm>
              <a:off x="109541" y="2351088"/>
              <a:ext cx="39687" cy="28575"/>
            </a:xfrm>
            <a:custGeom>
              <a:avLst/>
              <a:gdLst>
                <a:gd name="T0" fmla="*/ 2147483647 w 27"/>
                <a:gd name="T1" fmla="*/ 2147483647 h 18"/>
                <a:gd name="T2" fmla="*/ 2147483647 w 27"/>
                <a:gd name="T3" fmla="*/ 0 h 18"/>
                <a:gd name="T4" fmla="*/ 2147483647 w 27"/>
                <a:gd name="T5" fmla="*/ 0 h 18"/>
                <a:gd name="T6" fmla="*/ 2147483647 w 27"/>
                <a:gd name="T7" fmla="*/ 0 h 18"/>
                <a:gd name="T8" fmla="*/ 2147483647 w 27"/>
                <a:gd name="T9" fmla="*/ 2147483647 h 18"/>
                <a:gd name="T10" fmla="*/ 2147483647 w 27"/>
                <a:gd name="T11" fmla="*/ 2147483647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2147483647 w 27"/>
                <a:gd name="T23" fmla="*/ 2147483647 h 18"/>
                <a:gd name="T24" fmla="*/ 2147483647 w 27"/>
                <a:gd name="T25" fmla="*/ 2147483647 h 18"/>
                <a:gd name="T26" fmla="*/ 2147483647 w 27"/>
                <a:gd name="T27" fmla="*/ 2147483647 h 18"/>
                <a:gd name="T28" fmla="*/ 2147483647 w 27"/>
                <a:gd name="T29" fmla="*/ 2147483647 h 18"/>
                <a:gd name="T30" fmla="*/ 2147483647 w 27"/>
                <a:gd name="T31" fmla="*/ 2147483647 h 18"/>
                <a:gd name="T32" fmla="*/ 2147483647 w 27"/>
                <a:gd name="T33" fmla="*/ 2147483647 h 18"/>
                <a:gd name="T34" fmla="*/ 0 w 27"/>
                <a:gd name="T35" fmla="*/ 2147483647 h 18"/>
                <a:gd name="T36" fmla="*/ 0 w 27"/>
                <a:gd name="T37" fmla="*/ 2147483647 h 18"/>
                <a:gd name="T38" fmla="*/ 2147483647 w 27"/>
                <a:gd name="T39" fmla="*/ 2147483647 h 18"/>
                <a:gd name="T40" fmla="*/ 2147483647 w 27"/>
                <a:gd name="T41" fmla="*/ 2147483647 h 18"/>
                <a:gd name="T42" fmla="*/ 2147483647 w 27"/>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18"/>
                <a:gd name="T68" fmla="*/ 27 w 27"/>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18">
                  <a:moveTo>
                    <a:pt x="9" y="3"/>
                  </a:moveTo>
                  <a:lnTo>
                    <a:pt x="13" y="0"/>
                  </a:lnTo>
                  <a:lnTo>
                    <a:pt x="15" y="0"/>
                  </a:lnTo>
                  <a:lnTo>
                    <a:pt x="18" y="0"/>
                  </a:lnTo>
                  <a:lnTo>
                    <a:pt x="22" y="2"/>
                  </a:lnTo>
                  <a:lnTo>
                    <a:pt x="25" y="4"/>
                  </a:lnTo>
                  <a:lnTo>
                    <a:pt x="27" y="8"/>
                  </a:lnTo>
                  <a:lnTo>
                    <a:pt x="27" y="10"/>
                  </a:lnTo>
                  <a:lnTo>
                    <a:pt x="27" y="12"/>
                  </a:lnTo>
                  <a:lnTo>
                    <a:pt x="24" y="14"/>
                  </a:lnTo>
                  <a:lnTo>
                    <a:pt x="22" y="16"/>
                  </a:lnTo>
                  <a:lnTo>
                    <a:pt x="18" y="18"/>
                  </a:lnTo>
                  <a:lnTo>
                    <a:pt x="14" y="18"/>
                  </a:lnTo>
                  <a:lnTo>
                    <a:pt x="10" y="18"/>
                  </a:lnTo>
                  <a:lnTo>
                    <a:pt x="6" y="16"/>
                  </a:lnTo>
                  <a:lnTo>
                    <a:pt x="4" y="14"/>
                  </a:lnTo>
                  <a:lnTo>
                    <a:pt x="1" y="10"/>
                  </a:lnTo>
                  <a:lnTo>
                    <a:pt x="0" y="9"/>
                  </a:lnTo>
                  <a:lnTo>
                    <a:pt x="0" y="8"/>
                  </a:lnTo>
                  <a:lnTo>
                    <a:pt x="2" y="6"/>
                  </a:lnTo>
                  <a:lnTo>
                    <a:pt x="6" y="4"/>
                  </a:lnTo>
                  <a:lnTo>
                    <a:pt x="9"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6" name="Freeform 1035"/>
            <p:cNvSpPr>
              <a:spLocks/>
            </p:cNvSpPr>
            <p:nvPr/>
          </p:nvSpPr>
          <p:spPr bwMode="auto">
            <a:xfrm>
              <a:off x="282579" y="2562226"/>
              <a:ext cx="30163" cy="26988"/>
            </a:xfrm>
            <a:custGeom>
              <a:avLst/>
              <a:gdLst>
                <a:gd name="T0" fmla="*/ 2147483647 w 20"/>
                <a:gd name="T1" fmla="*/ 2147483647 h 17"/>
                <a:gd name="T2" fmla="*/ 2147483647 w 20"/>
                <a:gd name="T3" fmla="*/ 2147483647 h 17"/>
                <a:gd name="T4" fmla="*/ 2147483647 w 20"/>
                <a:gd name="T5" fmla="*/ 2147483647 h 17"/>
                <a:gd name="T6" fmla="*/ 2147483647 w 20"/>
                <a:gd name="T7" fmla="*/ 2147483647 h 17"/>
                <a:gd name="T8" fmla="*/ 2147483647 w 20"/>
                <a:gd name="T9" fmla="*/ 0 h 17"/>
                <a:gd name="T10" fmla="*/ 2147483647 w 20"/>
                <a:gd name="T11" fmla="*/ 0 h 17"/>
                <a:gd name="T12" fmla="*/ 2147483647 w 20"/>
                <a:gd name="T13" fmla="*/ 2147483647 h 17"/>
                <a:gd name="T14" fmla="*/ 2147483647 w 20"/>
                <a:gd name="T15" fmla="*/ 2147483647 h 17"/>
                <a:gd name="T16" fmla="*/ 2147483647 w 20"/>
                <a:gd name="T17" fmla="*/ 2147483647 h 17"/>
                <a:gd name="T18" fmla="*/ 2147483647 w 20"/>
                <a:gd name="T19" fmla="*/ 2147483647 h 17"/>
                <a:gd name="T20" fmla="*/ 2147483647 w 20"/>
                <a:gd name="T21" fmla="*/ 2147483647 h 17"/>
                <a:gd name="T22" fmla="*/ 2147483647 w 20"/>
                <a:gd name="T23" fmla="*/ 2147483647 h 17"/>
                <a:gd name="T24" fmla="*/ 2147483647 w 20"/>
                <a:gd name="T25" fmla="*/ 2147483647 h 17"/>
                <a:gd name="T26" fmla="*/ 2147483647 w 20"/>
                <a:gd name="T27" fmla="*/ 2147483647 h 17"/>
                <a:gd name="T28" fmla="*/ 2147483647 w 20"/>
                <a:gd name="T29" fmla="*/ 2147483647 h 17"/>
                <a:gd name="T30" fmla="*/ 2147483647 w 20"/>
                <a:gd name="T31" fmla="*/ 2147483647 h 17"/>
                <a:gd name="T32" fmla="*/ 0 w 20"/>
                <a:gd name="T33" fmla="*/ 2147483647 h 17"/>
                <a:gd name="T34" fmla="*/ 0 w 20"/>
                <a:gd name="T35" fmla="*/ 2147483647 h 17"/>
                <a:gd name="T36" fmla="*/ 2147483647 w 20"/>
                <a:gd name="T37" fmla="*/ 2147483647 h 17"/>
                <a:gd name="T38" fmla="*/ 2147483647 w 20"/>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7"/>
                <a:gd name="T62" fmla="*/ 20 w 20"/>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7">
                  <a:moveTo>
                    <a:pt x="4" y="7"/>
                  </a:moveTo>
                  <a:lnTo>
                    <a:pt x="4" y="7"/>
                  </a:lnTo>
                  <a:lnTo>
                    <a:pt x="6" y="3"/>
                  </a:lnTo>
                  <a:lnTo>
                    <a:pt x="9" y="2"/>
                  </a:lnTo>
                  <a:lnTo>
                    <a:pt x="15" y="0"/>
                  </a:lnTo>
                  <a:lnTo>
                    <a:pt x="17" y="3"/>
                  </a:lnTo>
                  <a:lnTo>
                    <a:pt x="19" y="8"/>
                  </a:lnTo>
                  <a:lnTo>
                    <a:pt x="20" y="10"/>
                  </a:lnTo>
                  <a:lnTo>
                    <a:pt x="20" y="11"/>
                  </a:lnTo>
                  <a:lnTo>
                    <a:pt x="19" y="13"/>
                  </a:lnTo>
                  <a:lnTo>
                    <a:pt x="11" y="16"/>
                  </a:lnTo>
                  <a:lnTo>
                    <a:pt x="6" y="17"/>
                  </a:lnTo>
                  <a:lnTo>
                    <a:pt x="3" y="17"/>
                  </a:lnTo>
                  <a:lnTo>
                    <a:pt x="0" y="15"/>
                  </a:lnTo>
                  <a:lnTo>
                    <a:pt x="0" y="13"/>
                  </a:lnTo>
                  <a:lnTo>
                    <a:pt x="4"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7" name="Freeform 1036"/>
            <p:cNvSpPr>
              <a:spLocks/>
            </p:cNvSpPr>
            <p:nvPr/>
          </p:nvSpPr>
          <p:spPr bwMode="auto">
            <a:xfrm>
              <a:off x="107953" y="2349501"/>
              <a:ext cx="38100" cy="26988"/>
            </a:xfrm>
            <a:custGeom>
              <a:avLst/>
              <a:gdLst>
                <a:gd name="T0" fmla="*/ 2147483647 w 26"/>
                <a:gd name="T1" fmla="*/ 2147483647 h 17"/>
                <a:gd name="T2" fmla="*/ 2147483647 w 26"/>
                <a:gd name="T3" fmla="*/ 2147483647 h 17"/>
                <a:gd name="T4" fmla="*/ 2147483647 w 26"/>
                <a:gd name="T5" fmla="*/ 0 h 17"/>
                <a:gd name="T6" fmla="*/ 2147483647 w 26"/>
                <a:gd name="T7" fmla="*/ 0 h 17"/>
                <a:gd name="T8" fmla="*/ 2147483647 w 26"/>
                <a:gd name="T9" fmla="*/ 0 h 17"/>
                <a:gd name="T10" fmla="*/ 2147483647 w 26"/>
                <a:gd name="T11" fmla="*/ 0 h 17"/>
                <a:gd name="T12" fmla="*/ 2147483647 w 26"/>
                <a:gd name="T13" fmla="*/ 2147483647 h 17"/>
                <a:gd name="T14" fmla="*/ 2147483647 w 26"/>
                <a:gd name="T15" fmla="*/ 2147483647 h 17"/>
                <a:gd name="T16" fmla="*/ 2147483647 w 26"/>
                <a:gd name="T17" fmla="*/ 2147483647 h 17"/>
                <a:gd name="T18" fmla="*/ 2147483647 w 26"/>
                <a:gd name="T19" fmla="*/ 2147483647 h 17"/>
                <a:gd name="T20" fmla="*/ 2147483647 w 26"/>
                <a:gd name="T21" fmla="*/ 2147483647 h 17"/>
                <a:gd name="T22" fmla="*/ 2147483647 w 26"/>
                <a:gd name="T23" fmla="*/ 2147483647 h 17"/>
                <a:gd name="T24" fmla="*/ 2147483647 w 26"/>
                <a:gd name="T25" fmla="*/ 2147483647 h 17"/>
                <a:gd name="T26" fmla="*/ 2147483647 w 26"/>
                <a:gd name="T27" fmla="*/ 2147483647 h 17"/>
                <a:gd name="T28" fmla="*/ 2147483647 w 26"/>
                <a:gd name="T29" fmla="*/ 2147483647 h 17"/>
                <a:gd name="T30" fmla="*/ 2147483647 w 26"/>
                <a:gd name="T31" fmla="*/ 2147483647 h 17"/>
                <a:gd name="T32" fmla="*/ 2147483647 w 26"/>
                <a:gd name="T33" fmla="*/ 2147483647 h 17"/>
                <a:gd name="T34" fmla="*/ 2147483647 w 26"/>
                <a:gd name="T35" fmla="*/ 2147483647 h 17"/>
                <a:gd name="T36" fmla="*/ 2147483647 w 26"/>
                <a:gd name="T37" fmla="*/ 2147483647 h 17"/>
                <a:gd name="T38" fmla="*/ 2147483647 w 26"/>
                <a:gd name="T39" fmla="*/ 2147483647 h 17"/>
                <a:gd name="T40" fmla="*/ 2147483647 w 26"/>
                <a:gd name="T41" fmla="*/ 2147483647 h 17"/>
                <a:gd name="T42" fmla="*/ 0 w 26"/>
                <a:gd name="T43" fmla="*/ 2147483647 h 17"/>
                <a:gd name="T44" fmla="*/ 0 w 26"/>
                <a:gd name="T45" fmla="*/ 2147483647 h 17"/>
                <a:gd name="T46" fmla="*/ 2147483647 w 26"/>
                <a:gd name="T47" fmla="*/ 2147483647 h 17"/>
                <a:gd name="T48" fmla="*/ 2147483647 w 26"/>
                <a:gd name="T49" fmla="*/ 2147483647 h 17"/>
                <a:gd name="T50" fmla="*/ 2147483647 w 26"/>
                <a:gd name="T51" fmla="*/ 2147483647 h 17"/>
                <a:gd name="T52" fmla="*/ 2147483647 w 26"/>
                <a:gd name="T53" fmla="*/ 2147483647 h 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6"/>
                <a:gd name="T82" fmla="*/ 0 h 17"/>
                <a:gd name="T83" fmla="*/ 26 w 26"/>
                <a:gd name="T84" fmla="*/ 17 h 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6" h="17">
                  <a:moveTo>
                    <a:pt x="9" y="3"/>
                  </a:moveTo>
                  <a:lnTo>
                    <a:pt x="9" y="3"/>
                  </a:lnTo>
                  <a:lnTo>
                    <a:pt x="12" y="0"/>
                  </a:lnTo>
                  <a:lnTo>
                    <a:pt x="15" y="0"/>
                  </a:lnTo>
                  <a:lnTo>
                    <a:pt x="17" y="0"/>
                  </a:lnTo>
                  <a:lnTo>
                    <a:pt x="21" y="2"/>
                  </a:lnTo>
                  <a:lnTo>
                    <a:pt x="25" y="4"/>
                  </a:lnTo>
                  <a:lnTo>
                    <a:pt x="26" y="8"/>
                  </a:lnTo>
                  <a:lnTo>
                    <a:pt x="26" y="10"/>
                  </a:lnTo>
                  <a:lnTo>
                    <a:pt x="26" y="11"/>
                  </a:lnTo>
                  <a:lnTo>
                    <a:pt x="24" y="14"/>
                  </a:lnTo>
                  <a:lnTo>
                    <a:pt x="21" y="16"/>
                  </a:lnTo>
                  <a:lnTo>
                    <a:pt x="17" y="17"/>
                  </a:lnTo>
                  <a:lnTo>
                    <a:pt x="14" y="17"/>
                  </a:lnTo>
                  <a:lnTo>
                    <a:pt x="10" y="17"/>
                  </a:lnTo>
                  <a:lnTo>
                    <a:pt x="6" y="16"/>
                  </a:lnTo>
                  <a:lnTo>
                    <a:pt x="3" y="14"/>
                  </a:lnTo>
                  <a:lnTo>
                    <a:pt x="1" y="10"/>
                  </a:lnTo>
                  <a:lnTo>
                    <a:pt x="0" y="9"/>
                  </a:lnTo>
                  <a:lnTo>
                    <a:pt x="0" y="8"/>
                  </a:lnTo>
                  <a:lnTo>
                    <a:pt x="2" y="5"/>
                  </a:lnTo>
                  <a:lnTo>
                    <a:pt x="6" y="4"/>
                  </a:lnTo>
                  <a:lnTo>
                    <a:pt x="9"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8" name="Freeform 1037"/>
            <p:cNvSpPr>
              <a:spLocks/>
            </p:cNvSpPr>
            <p:nvPr/>
          </p:nvSpPr>
          <p:spPr bwMode="auto">
            <a:xfrm>
              <a:off x="111125" y="1878013"/>
              <a:ext cx="939800" cy="728662"/>
            </a:xfrm>
            <a:custGeom>
              <a:avLst/>
              <a:gdLst>
                <a:gd name="T0" fmla="*/ 2147483647 w 641"/>
                <a:gd name="T1" fmla="*/ 2147483647 h 459"/>
                <a:gd name="T2" fmla="*/ 2147483647 w 641"/>
                <a:gd name="T3" fmla="*/ 2147483647 h 459"/>
                <a:gd name="T4" fmla="*/ 2147483647 w 641"/>
                <a:gd name="T5" fmla="*/ 2147483647 h 459"/>
                <a:gd name="T6" fmla="*/ 2147483647 w 641"/>
                <a:gd name="T7" fmla="*/ 2147483647 h 459"/>
                <a:gd name="T8" fmla="*/ 2147483647 w 641"/>
                <a:gd name="T9" fmla="*/ 2147483647 h 459"/>
                <a:gd name="T10" fmla="*/ 2147483647 w 641"/>
                <a:gd name="T11" fmla="*/ 2147483647 h 459"/>
                <a:gd name="T12" fmla="*/ 2147483647 w 641"/>
                <a:gd name="T13" fmla="*/ 2147483647 h 459"/>
                <a:gd name="T14" fmla="*/ 2147483647 w 641"/>
                <a:gd name="T15" fmla="*/ 2147483647 h 459"/>
                <a:gd name="T16" fmla="*/ 2147483647 w 641"/>
                <a:gd name="T17" fmla="*/ 2147483647 h 459"/>
                <a:gd name="T18" fmla="*/ 2147483647 w 641"/>
                <a:gd name="T19" fmla="*/ 2147483647 h 459"/>
                <a:gd name="T20" fmla="*/ 2147483647 w 641"/>
                <a:gd name="T21" fmla="*/ 2147483647 h 459"/>
                <a:gd name="T22" fmla="*/ 2147483647 w 641"/>
                <a:gd name="T23" fmla="*/ 2147483647 h 459"/>
                <a:gd name="T24" fmla="*/ 2147483647 w 641"/>
                <a:gd name="T25" fmla="*/ 2147483647 h 459"/>
                <a:gd name="T26" fmla="*/ 2147483647 w 641"/>
                <a:gd name="T27" fmla="*/ 2147483647 h 459"/>
                <a:gd name="T28" fmla="*/ 2147483647 w 641"/>
                <a:gd name="T29" fmla="*/ 2147483647 h 459"/>
                <a:gd name="T30" fmla="*/ 2147483647 w 641"/>
                <a:gd name="T31" fmla="*/ 2147483647 h 459"/>
                <a:gd name="T32" fmla="*/ 2147483647 w 641"/>
                <a:gd name="T33" fmla="*/ 2147483647 h 459"/>
                <a:gd name="T34" fmla="*/ 2147483647 w 641"/>
                <a:gd name="T35" fmla="*/ 2147483647 h 459"/>
                <a:gd name="T36" fmla="*/ 2147483647 w 641"/>
                <a:gd name="T37" fmla="*/ 2147483647 h 459"/>
                <a:gd name="T38" fmla="*/ 2147483647 w 641"/>
                <a:gd name="T39" fmla="*/ 2147483647 h 459"/>
                <a:gd name="T40" fmla="*/ 2147483647 w 641"/>
                <a:gd name="T41" fmla="*/ 2147483647 h 459"/>
                <a:gd name="T42" fmla="*/ 2147483647 w 641"/>
                <a:gd name="T43" fmla="*/ 2147483647 h 459"/>
                <a:gd name="T44" fmla="*/ 2147483647 w 641"/>
                <a:gd name="T45" fmla="*/ 2147483647 h 459"/>
                <a:gd name="T46" fmla="*/ 2147483647 w 641"/>
                <a:gd name="T47" fmla="*/ 2147483647 h 459"/>
                <a:gd name="T48" fmla="*/ 2147483647 w 641"/>
                <a:gd name="T49" fmla="*/ 2147483647 h 459"/>
                <a:gd name="T50" fmla="*/ 2147483647 w 641"/>
                <a:gd name="T51" fmla="*/ 2147483647 h 459"/>
                <a:gd name="T52" fmla="*/ 2147483647 w 641"/>
                <a:gd name="T53" fmla="*/ 2147483647 h 459"/>
                <a:gd name="T54" fmla="*/ 2147483647 w 641"/>
                <a:gd name="T55" fmla="*/ 2147483647 h 459"/>
                <a:gd name="T56" fmla="*/ 2147483647 w 641"/>
                <a:gd name="T57" fmla="*/ 2147483647 h 459"/>
                <a:gd name="T58" fmla="*/ 2147483647 w 641"/>
                <a:gd name="T59" fmla="*/ 2147483647 h 459"/>
                <a:gd name="T60" fmla="*/ 2147483647 w 641"/>
                <a:gd name="T61" fmla="*/ 2147483647 h 459"/>
                <a:gd name="T62" fmla="*/ 2147483647 w 641"/>
                <a:gd name="T63" fmla="*/ 2147483647 h 459"/>
                <a:gd name="T64" fmla="*/ 2147483647 w 641"/>
                <a:gd name="T65" fmla="*/ 2147483647 h 459"/>
                <a:gd name="T66" fmla="*/ 2147483647 w 641"/>
                <a:gd name="T67" fmla="*/ 2147483647 h 459"/>
                <a:gd name="T68" fmla="*/ 2147483647 w 641"/>
                <a:gd name="T69" fmla="*/ 2147483647 h 459"/>
                <a:gd name="T70" fmla="*/ 2147483647 w 641"/>
                <a:gd name="T71" fmla="*/ 2147483647 h 459"/>
                <a:gd name="T72" fmla="*/ 2147483647 w 641"/>
                <a:gd name="T73" fmla="*/ 2147483647 h 459"/>
                <a:gd name="T74" fmla="*/ 2147483647 w 641"/>
                <a:gd name="T75" fmla="*/ 2147483647 h 459"/>
                <a:gd name="T76" fmla="*/ 2147483647 w 641"/>
                <a:gd name="T77" fmla="*/ 2147483647 h 459"/>
                <a:gd name="T78" fmla="*/ 2147483647 w 641"/>
                <a:gd name="T79" fmla="*/ 2147483647 h 459"/>
                <a:gd name="T80" fmla="*/ 2147483647 w 641"/>
                <a:gd name="T81" fmla="*/ 2147483647 h 459"/>
                <a:gd name="T82" fmla="*/ 2147483647 w 641"/>
                <a:gd name="T83" fmla="*/ 2147483647 h 459"/>
                <a:gd name="T84" fmla="*/ 2147483647 w 641"/>
                <a:gd name="T85" fmla="*/ 2147483647 h 459"/>
                <a:gd name="T86" fmla="*/ 2147483647 w 641"/>
                <a:gd name="T87" fmla="*/ 2147483647 h 459"/>
                <a:gd name="T88" fmla="*/ 2147483647 w 641"/>
                <a:gd name="T89" fmla="*/ 2147483647 h 459"/>
                <a:gd name="T90" fmla="*/ 2147483647 w 641"/>
                <a:gd name="T91" fmla="*/ 2147483647 h 459"/>
                <a:gd name="T92" fmla="*/ 2147483647 w 641"/>
                <a:gd name="T93" fmla="*/ 2147483647 h 459"/>
                <a:gd name="T94" fmla="*/ 2147483647 w 641"/>
                <a:gd name="T95" fmla="*/ 2147483647 h 459"/>
                <a:gd name="T96" fmla="*/ 2147483647 w 641"/>
                <a:gd name="T97" fmla="*/ 2147483647 h 459"/>
                <a:gd name="T98" fmla="*/ 2147483647 w 641"/>
                <a:gd name="T99" fmla="*/ 2147483647 h 459"/>
                <a:gd name="T100" fmla="*/ 2147483647 w 641"/>
                <a:gd name="T101" fmla="*/ 2147483647 h 459"/>
                <a:gd name="T102" fmla="*/ 2147483647 w 641"/>
                <a:gd name="T103" fmla="*/ 2147483647 h 459"/>
                <a:gd name="T104" fmla="*/ 2147483647 w 641"/>
                <a:gd name="T105" fmla="*/ 2147483647 h 459"/>
                <a:gd name="T106" fmla="*/ 2147483647 w 641"/>
                <a:gd name="T107" fmla="*/ 2147483647 h 459"/>
                <a:gd name="T108" fmla="*/ 2147483647 w 641"/>
                <a:gd name="T109" fmla="*/ 2147483647 h 459"/>
                <a:gd name="T110" fmla="*/ 2147483647 w 641"/>
                <a:gd name="T111" fmla="*/ 2147483647 h 459"/>
                <a:gd name="T112" fmla="*/ 2147483647 w 641"/>
                <a:gd name="T113" fmla="*/ 2147483647 h 459"/>
                <a:gd name="T114" fmla="*/ 2147483647 w 641"/>
                <a:gd name="T115" fmla="*/ 2147483647 h 459"/>
                <a:gd name="T116" fmla="*/ 2147483647 w 641"/>
                <a:gd name="T117" fmla="*/ 2147483647 h 459"/>
                <a:gd name="T118" fmla="*/ 2147483647 w 641"/>
                <a:gd name="T119" fmla="*/ 2147483647 h 4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459"/>
                <a:gd name="T182" fmla="*/ 641 w 641"/>
                <a:gd name="T183" fmla="*/ 459 h 4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459">
                  <a:moveTo>
                    <a:pt x="456" y="40"/>
                  </a:moveTo>
                  <a:lnTo>
                    <a:pt x="459" y="299"/>
                  </a:lnTo>
                  <a:lnTo>
                    <a:pt x="466" y="297"/>
                  </a:lnTo>
                  <a:lnTo>
                    <a:pt x="473" y="295"/>
                  </a:lnTo>
                  <a:lnTo>
                    <a:pt x="476" y="297"/>
                  </a:lnTo>
                  <a:lnTo>
                    <a:pt x="479" y="298"/>
                  </a:lnTo>
                  <a:lnTo>
                    <a:pt x="487" y="306"/>
                  </a:lnTo>
                  <a:lnTo>
                    <a:pt x="498" y="318"/>
                  </a:lnTo>
                  <a:lnTo>
                    <a:pt x="504" y="325"/>
                  </a:lnTo>
                  <a:lnTo>
                    <a:pt x="511" y="330"/>
                  </a:lnTo>
                  <a:lnTo>
                    <a:pt x="516" y="333"/>
                  </a:lnTo>
                  <a:lnTo>
                    <a:pt x="521" y="333"/>
                  </a:lnTo>
                  <a:lnTo>
                    <a:pt x="525" y="332"/>
                  </a:lnTo>
                  <a:lnTo>
                    <a:pt x="528" y="330"/>
                  </a:lnTo>
                  <a:lnTo>
                    <a:pt x="535" y="324"/>
                  </a:lnTo>
                  <a:lnTo>
                    <a:pt x="542" y="317"/>
                  </a:lnTo>
                  <a:lnTo>
                    <a:pt x="544" y="314"/>
                  </a:lnTo>
                  <a:lnTo>
                    <a:pt x="546" y="314"/>
                  </a:lnTo>
                  <a:lnTo>
                    <a:pt x="549" y="316"/>
                  </a:lnTo>
                  <a:lnTo>
                    <a:pt x="558" y="323"/>
                  </a:lnTo>
                  <a:lnTo>
                    <a:pt x="565" y="327"/>
                  </a:lnTo>
                  <a:lnTo>
                    <a:pt x="569" y="330"/>
                  </a:lnTo>
                  <a:lnTo>
                    <a:pt x="574" y="335"/>
                  </a:lnTo>
                  <a:lnTo>
                    <a:pt x="581" y="342"/>
                  </a:lnTo>
                  <a:lnTo>
                    <a:pt x="587" y="348"/>
                  </a:lnTo>
                  <a:lnTo>
                    <a:pt x="596" y="357"/>
                  </a:lnTo>
                  <a:lnTo>
                    <a:pt x="605" y="371"/>
                  </a:lnTo>
                  <a:lnTo>
                    <a:pt x="612" y="381"/>
                  </a:lnTo>
                  <a:lnTo>
                    <a:pt x="621" y="388"/>
                  </a:lnTo>
                  <a:lnTo>
                    <a:pt x="630" y="395"/>
                  </a:lnTo>
                  <a:lnTo>
                    <a:pt x="635" y="400"/>
                  </a:lnTo>
                  <a:lnTo>
                    <a:pt x="638" y="404"/>
                  </a:lnTo>
                  <a:lnTo>
                    <a:pt x="640" y="410"/>
                  </a:lnTo>
                  <a:lnTo>
                    <a:pt x="641" y="419"/>
                  </a:lnTo>
                  <a:lnTo>
                    <a:pt x="641" y="427"/>
                  </a:lnTo>
                  <a:lnTo>
                    <a:pt x="640" y="439"/>
                  </a:lnTo>
                  <a:lnTo>
                    <a:pt x="636" y="436"/>
                  </a:lnTo>
                  <a:lnTo>
                    <a:pt x="634" y="435"/>
                  </a:lnTo>
                  <a:lnTo>
                    <a:pt x="630" y="423"/>
                  </a:lnTo>
                  <a:lnTo>
                    <a:pt x="629" y="420"/>
                  </a:lnTo>
                  <a:lnTo>
                    <a:pt x="626" y="416"/>
                  </a:lnTo>
                  <a:lnTo>
                    <a:pt x="622" y="415"/>
                  </a:lnTo>
                  <a:lnTo>
                    <a:pt x="619" y="413"/>
                  </a:lnTo>
                  <a:lnTo>
                    <a:pt x="606" y="412"/>
                  </a:lnTo>
                  <a:lnTo>
                    <a:pt x="605" y="412"/>
                  </a:lnTo>
                  <a:lnTo>
                    <a:pt x="605" y="410"/>
                  </a:lnTo>
                  <a:lnTo>
                    <a:pt x="606" y="406"/>
                  </a:lnTo>
                  <a:lnTo>
                    <a:pt x="606" y="401"/>
                  </a:lnTo>
                  <a:lnTo>
                    <a:pt x="606" y="399"/>
                  </a:lnTo>
                  <a:lnTo>
                    <a:pt x="605" y="396"/>
                  </a:lnTo>
                  <a:lnTo>
                    <a:pt x="598" y="389"/>
                  </a:lnTo>
                  <a:lnTo>
                    <a:pt x="593" y="381"/>
                  </a:lnTo>
                  <a:lnTo>
                    <a:pt x="582" y="365"/>
                  </a:lnTo>
                  <a:lnTo>
                    <a:pt x="570" y="351"/>
                  </a:lnTo>
                  <a:lnTo>
                    <a:pt x="565" y="343"/>
                  </a:lnTo>
                  <a:lnTo>
                    <a:pt x="563" y="339"/>
                  </a:lnTo>
                  <a:lnTo>
                    <a:pt x="559" y="338"/>
                  </a:lnTo>
                  <a:lnTo>
                    <a:pt x="558" y="337"/>
                  </a:lnTo>
                  <a:lnTo>
                    <a:pt x="556" y="338"/>
                  </a:lnTo>
                  <a:lnTo>
                    <a:pt x="555" y="342"/>
                  </a:lnTo>
                  <a:lnTo>
                    <a:pt x="554" y="345"/>
                  </a:lnTo>
                  <a:lnTo>
                    <a:pt x="553" y="349"/>
                  </a:lnTo>
                  <a:lnTo>
                    <a:pt x="551" y="349"/>
                  </a:lnTo>
                  <a:lnTo>
                    <a:pt x="550" y="348"/>
                  </a:lnTo>
                  <a:lnTo>
                    <a:pt x="545" y="344"/>
                  </a:lnTo>
                  <a:lnTo>
                    <a:pt x="542" y="342"/>
                  </a:lnTo>
                  <a:lnTo>
                    <a:pt x="540" y="342"/>
                  </a:lnTo>
                  <a:lnTo>
                    <a:pt x="537" y="344"/>
                  </a:lnTo>
                  <a:lnTo>
                    <a:pt x="536" y="345"/>
                  </a:lnTo>
                  <a:lnTo>
                    <a:pt x="535" y="349"/>
                  </a:lnTo>
                  <a:lnTo>
                    <a:pt x="534" y="350"/>
                  </a:lnTo>
                  <a:lnTo>
                    <a:pt x="531" y="351"/>
                  </a:lnTo>
                  <a:lnTo>
                    <a:pt x="528" y="351"/>
                  </a:lnTo>
                  <a:lnTo>
                    <a:pt x="525" y="349"/>
                  </a:lnTo>
                  <a:lnTo>
                    <a:pt x="521" y="346"/>
                  </a:lnTo>
                  <a:lnTo>
                    <a:pt x="518" y="343"/>
                  </a:lnTo>
                  <a:lnTo>
                    <a:pt x="494" y="330"/>
                  </a:lnTo>
                  <a:lnTo>
                    <a:pt x="484" y="321"/>
                  </a:lnTo>
                  <a:lnTo>
                    <a:pt x="473" y="313"/>
                  </a:lnTo>
                  <a:lnTo>
                    <a:pt x="470" y="312"/>
                  </a:lnTo>
                  <a:lnTo>
                    <a:pt x="466" y="312"/>
                  </a:lnTo>
                  <a:lnTo>
                    <a:pt x="459" y="312"/>
                  </a:lnTo>
                  <a:lnTo>
                    <a:pt x="452" y="311"/>
                  </a:lnTo>
                  <a:lnTo>
                    <a:pt x="447" y="312"/>
                  </a:lnTo>
                  <a:lnTo>
                    <a:pt x="436" y="313"/>
                  </a:lnTo>
                  <a:lnTo>
                    <a:pt x="424" y="314"/>
                  </a:lnTo>
                  <a:lnTo>
                    <a:pt x="419" y="313"/>
                  </a:lnTo>
                  <a:lnTo>
                    <a:pt x="414" y="312"/>
                  </a:lnTo>
                  <a:lnTo>
                    <a:pt x="400" y="306"/>
                  </a:lnTo>
                  <a:lnTo>
                    <a:pt x="395" y="304"/>
                  </a:lnTo>
                  <a:lnTo>
                    <a:pt x="387" y="301"/>
                  </a:lnTo>
                  <a:lnTo>
                    <a:pt x="379" y="300"/>
                  </a:lnTo>
                  <a:lnTo>
                    <a:pt x="374" y="300"/>
                  </a:lnTo>
                  <a:lnTo>
                    <a:pt x="368" y="299"/>
                  </a:lnTo>
                  <a:lnTo>
                    <a:pt x="366" y="297"/>
                  </a:lnTo>
                  <a:lnTo>
                    <a:pt x="365" y="294"/>
                  </a:lnTo>
                  <a:lnTo>
                    <a:pt x="365" y="288"/>
                  </a:lnTo>
                  <a:lnTo>
                    <a:pt x="363" y="286"/>
                  </a:lnTo>
                  <a:lnTo>
                    <a:pt x="363" y="284"/>
                  </a:lnTo>
                  <a:lnTo>
                    <a:pt x="361" y="282"/>
                  </a:lnTo>
                  <a:lnTo>
                    <a:pt x="357" y="282"/>
                  </a:lnTo>
                  <a:lnTo>
                    <a:pt x="354" y="284"/>
                  </a:lnTo>
                  <a:lnTo>
                    <a:pt x="353" y="286"/>
                  </a:lnTo>
                  <a:lnTo>
                    <a:pt x="351" y="288"/>
                  </a:lnTo>
                  <a:lnTo>
                    <a:pt x="348" y="288"/>
                  </a:lnTo>
                  <a:lnTo>
                    <a:pt x="342" y="287"/>
                  </a:lnTo>
                  <a:lnTo>
                    <a:pt x="335" y="286"/>
                  </a:lnTo>
                  <a:lnTo>
                    <a:pt x="329" y="285"/>
                  </a:lnTo>
                  <a:lnTo>
                    <a:pt x="325" y="286"/>
                  </a:lnTo>
                  <a:lnTo>
                    <a:pt x="323" y="288"/>
                  </a:lnTo>
                  <a:lnTo>
                    <a:pt x="321" y="289"/>
                  </a:lnTo>
                  <a:lnTo>
                    <a:pt x="321" y="291"/>
                  </a:lnTo>
                  <a:lnTo>
                    <a:pt x="324" y="294"/>
                  </a:lnTo>
                  <a:lnTo>
                    <a:pt x="328" y="297"/>
                  </a:lnTo>
                  <a:lnTo>
                    <a:pt x="330" y="300"/>
                  </a:lnTo>
                  <a:lnTo>
                    <a:pt x="329" y="304"/>
                  </a:lnTo>
                  <a:lnTo>
                    <a:pt x="327" y="307"/>
                  </a:lnTo>
                  <a:lnTo>
                    <a:pt x="324" y="312"/>
                  </a:lnTo>
                  <a:lnTo>
                    <a:pt x="323" y="313"/>
                  </a:lnTo>
                  <a:lnTo>
                    <a:pt x="319" y="313"/>
                  </a:lnTo>
                  <a:lnTo>
                    <a:pt x="320" y="313"/>
                  </a:lnTo>
                  <a:lnTo>
                    <a:pt x="311" y="314"/>
                  </a:lnTo>
                  <a:lnTo>
                    <a:pt x="307" y="316"/>
                  </a:lnTo>
                  <a:lnTo>
                    <a:pt x="304" y="317"/>
                  </a:lnTo>
                  <a:lnTo>
                    <a:pt x="300" y="320"/>
                  </a:lnTo>
                  <a:lnTo>
                    <a:pt x="297" y="323"/>
                  </a:lnTo>
                  <a:lnTo>
                    <a:pt x="281" y="330"/>
                  </a:lnTo>
                  <a:lnTo>
                    <a:pt x="264" y="338"/>
                  </a:lnTo>
                  <a:lnTo>
                    <a:pt x="261" y="338"/>
                  </a:lnTo>
                  <a:lnTo>
                    <a:pt x="259" y="338"/>
                  </a:lnTo>
                  <a:lnTo>
                    <a:pt x="258" y="336"/>
                  </a:lnTo>
                  <a:lnTo>
                    <a:pt x="259" y="331"/>
                  </a:lnTo>
                  <a:lnTo>
                    <a:pt x="262" y="327"/>
                  </a:lnTo>
                  <a:lnTo>
                    <a:pt x="266" y="324"/>
                  </a:lnTo>
                  <a:lnTo>
                    <a:pt x="268" y="319"/>
                  </a:lnTo>
                  <a:lnTo>
                    <a:pt x="268" y="318"/>
                  </a:lnTo>
                  <a:lnTo>
                    <a:pt x="268" y="317"/>
                  </a:lnTo>
                  <a:lnTo>
                    <a:pt x="266" y="312"/>
                  </a:lnTo>
                  <a:lnTo>
                    <a:pt x="267" y="308"/>
                  </a:lnTo>
                  <a:lnTo>
                    <a:pt x="268" y="304"/>
                  </a:lnTo>
                  <a:lnTo>
                    <a:pt x="271" y="300"/>
                  </a:lnTo>
                  <a:lnTo>
                    <a:pt x="278" y="293"/>
                  </a:lnTo>
                  <a:lnTo>
                    <a:pt x="286" y="287"/>
                  </a:lnTo>
                  <a:lnTo>
                    <a:pt x="288" y="286"/>
                  </a:lnTo>
                  <a:lnTo>
                    <a:pt x="292" y="285"/>
                  </a:lnTo>
                  <a:lnTo>
                    <a:pt x="296" y="285"/>
                  </a:lnTo>
                  <a:lnTo>
                    <a:pt x="300" y="282"/>
                  </a:lnTo>
                  <a:lnTo>
                    <a:pt x="301" y="281"/>
                  </a:lnTo>
                  <a:lnTo>
                    <a:pt x="301" y="280"/>
                  </a:lnTo>
                  <a:lnTo>
                    <a:pt x="299" y="278"/>
                  </a:lnTo>
                  <a:lnTo>
                    <a:pt x="295" y="275"/>
                  </a:lnTo>
                  <a:lnTo>
                    <a:pt x="292" y="275"/>
                  </a:lnTo>
                  <a:lnTo>
                    <a:pt x="288" y="275"/>
                  </a:lnTo>
                  <a:lnTo>
                    <a:pt x="285" y="278"/>
                  </a:lnTo>
                  <a:lnTo>
                    <a:pt x="277" y="281"/>
                  </a:lnTo>
                  <a:lnTo>
                    <a:pt x="267" y="286"/>
                  </a:lnTo>
                  <a:lnTo>
                    <a:pt x="262" y="288"/>
                  </a:lnTo>
                  <a:lnTo>
                    <a:pt x="258" y="292"/>
                  </a:lnTo>
                  <a:lnTo>
                    <a:pt x="255" y="295"/>
                  </a:lnTo>
                  <a:lnTo>
                    <a:pt x="254" y="300"/>
                  </a:lnTo>
                  <a:lnTo>
                    <a:pt x="252" y="310"/>
                  </a:lnTo>
                  <a:lnTo>
                    <a:pt x="249" y="314"/>
                  </a:lnTo>
                  <a:lnTo>
                    <a:pt x="247" y="317"/>
                  </a:lnTo>
                  <a:lnTo>
                    <a:pt x="241" y="319"/>
                  </a:lnTo>
                  <a:lnTo>
                    <a:pt x="234" y="320"/>
                  </a:lnTo>
                  <a:lnTo>
                    <a:pt x="233" y="321"/>
                  </a:lnTo>
                  <a:lnTo>
                    <a:pt x="231" y="323"/>
                  </a:lnTo>
                  <a:lnTo>
                    <a:pt x="230" y="326"/>
                  </a:lnTo>
                  <a:lnTo>
                    <a:pt x="229" y="331"/>
                  </a:lnTo>
                  <a:lnTo>
                    <a:pt x="230" y="335"/>
                  </a:lnTo>
                  <a:lnTo>
                    <a:pt x="233" y="337"/>
                  </a:lnTo>
                  <a:lnTo>
                    <a:pt x="238" y="339"/>
                  </a:lnTo>
                  <a:lnTo>
                    <a:pt x="240" y="342"/>
                  </a:lnTo>
                  <a:lnTo>
                    <a:pt x="240" y="344"/>
                  </a:lnTo>
                  <a:lnTo>
                    <a:pt x="239" y="346"/>
                  </a:lnTo>
                  <a:lnTo>
                    <a:pt x="234" y="350"/>
                  </a:lnTo>
                  <a:lnTo>
                    <a:pt x="217" y="362"/>
                  </a:lnTo>
                  <a:lnTo>
                    <a:pt x="201" y="374"/>
                  </a:lnTo>
                  <a:lnTo>
                    <a:pt x="189" y="380"/>
                  </a:lnTo>
                  <a:lnTo>
                    <a:pt x="184" y="383"/>
                  </a:lnTo>
                  <a:lnTo>
                    <a:pt x="179" y="388"/>
                  </a:lnTo>
                  <a:lnTo>
                    <a:pt x="175" y="390"/>
                  </a:lnTo>
                  <a:lnTo>
                    <a:pt x="173" y="391"/>
                  </a:lnTo>
                  <a:lnTo>
                    <a:pt x="165" y="393"/>
                  </a:lnTo>
                  <a:lnTo>
                    <a:pt x="163" y="394"/>
                  </a:lnTo>
                  <a:lnTo>
                    <a:pt x="161" y="396"/>
                  </a:lnTo>
                  <a:lnTo>
                    <a:pt x="159" y="401"/>
                  </a:lnTo>
                  <a:lnTo>
                    <a:pt x="154" y="404"/>
                  </a:lnTo>
                  <a:lnTo>
                    <a:pt x="146" y="412"/>
                  </a:lnTo>
                  <a:lnTo>
                    <a:pt x="141" y="417"/>
                  </a:lnTo>
                  <a:lnTo>
                    <a:pt x="140" y="421"/>
                  </a:lnTo>
                  <a:lnTo>
                    <a:pt x="136" y="423"/>
                  </a:lnTo>
                  <a:lnTo>
                    <a:pt x="134" y="423"/>
                  </a:lnTo>
                  <a:lnTo>
                    <a:pt x="131" y="423"/>
                  </a:lnTo>
                  <a:lnTo>
                    <a:pt x="126" y="422"/>
                  </a:lnTo>
                  <a:lnTo>
                    <a:pt x="122" y="423"/>
                  </a:lnTo>
                  <a:lnTo>
                    <a:pt x="120" y="426"/>
                  </a:lnTo>
                  <a:lnTo>
                    <a:pt x="114" y="429"/>
                  </a:lnTo>
                  <a:lnTo>
                    <a:pt x="112" y="431"/>
                  </a:lnTo>
                  <a:lnTo>
                    <a:pt x="108" y="431"/>
                  </a:lnTo>
                  <a:lnTo>
                    <a:pt x="102" y="431"/>
                  </a:lnTo>
                  <a:lnTo>
                    <a:pt x="101" y="431"/>
                  </a:lnTo>
                  <a:lnTo>
                    <a:pt x="99" y="432"/>
                  </a:lnTo>
                  <a:lnTo>
                    <a:pt x="97" y="434"/>
                  </a:lnTo>
                  <a:lnTo>
                    <a:pt x="94" y="438"/>
                  </a:lnTo>
                  <a:lnTo>
                    <a:pt x="90" y="439"/>
                  </a:lnTo>
                  <a:lnTo>
                    <a:pt x="75" y="442"/>
                  </a:lnTo>
                  <a:lnTo>
                    <a:pt x="69" y="445"/>
                  </a:lnTo>
                  <a:lnTo>
                    <a:pt x="61" y="450"/>
                  </a:lnTo>
                  <a:lnTo>
                    <a:pt x="52" y="457"/>
                  </a:lnTo>
                  <a:lnTo>
                    <a:pt x="47" y="458"/>
                  </a:lnTo>
                  <a:lnTo>
                    <a:pt x="46" y="459"/>
                  </a:lnTo>
                  <a:lnTo>
                    <a:pt x="45" y="458"/>
                  </a:lnTo>
                  <a:lnTo>
                    <a:pt x="43" y="454"/>
                  </a:lnTo>
                  <a:lnTo>
                    <a:pt x="45" y="451"/>
                  </a:lnTo>
                  <a:lnTo>
                    <a:pt x="46" y="447"/>
                  </a:lnTo>
                  <a:lnTo>
                    <a:pt x="48" y="444"/>
                  </a:lnTo>
                  <a:lnTo>
                    <a:pt x="57" y="439"/>
                  </a:lnTo>
                  <a:lnTo>
                    <a:pt x="66" y="435"/>
                  </a:lnTo>
                  <a:lnTo>
                    <a:pt x="71" y="434"/>
                  </a:lnTo>
                  <a:lnTo>
                    <a:pt x="74" y="434"/>
                  </a:lnTo>
                  <a:lnTo>
                    <a:pt x="75" y="432"/>
                  </a:lnTo>
                  <a:lnTo>
                    <a:pt x="81" y="425"/>
                  </a:lnTo>
                  <a:lnTo>
                    <a:pt x="85" y="421"/>
                  </a:lnTo>
                  <a:lnTo>
                    <a:pt x="88" y="419"/>
                  </a:lnTo>
                  <a:lnTo>
                    <a:pt x="95" y="416"/>
                  </a:lnTo>
                  <a:lnTo>
                    <a:pt x="103" y="414"/>
                  </a:lnTo>
                  <a:lnTo>
                    <a:pt x="109" y="412"/>
                  </a:lnTo>
                  <a:lnTo>
                    <a:pt x="116" y="407"/>
                  </a:lnTo>
                  <a:lnTo>
                    <a:pt x="127" y="399"/>
                  </a:lnTo>
                  <a:lnTo>
                    <a:pt x="132" y="396"/>
                  </a:lnTo>
                  <a:lnTo>
                    <a:pt x="135" y="396"/>
                  </a:lnTo>
                  <a:lnTo>
                    <a:pt x="137" y="395"/>
                  </a:lnTo>
                  <a:lnTo>
                    <a:pt x="140" y="394"/>
                  </a:lnTo>
                  <a:lnTo>
                    <a:pt x="141" y="394"/>
                  </a:lnTo>
                  <a:lnTo>
                    <a:pt x="142" y="393"/>
                  </a:lnTo>
                  <a:lnTo>
                    <a:pt x="145" y="389"/>
                  </a:lnTo>
                  <a:lnTo>
                    <a:pt x="145" y="387"/>
                  </a:lnTo>
                  <a:lnTo>
                    <a:pt x="146" y="385"/>
                  </a:lnTo>
                  <a:lnTo>
                    <a:pt x="150" y="383"/>
                  </a:lnTo>
                  <a:lnTo>
                    <a:pt x="153" y="381"/>
                  </a:lnTo>
                  <a:lnTo>
                    <a:pt x="155" y="377"/>
                  </a:lnTo>
                  <a:lnTo>
                    <a:pt x="155" y="372"/>
                  </a:lnTo>
                  <a:lnTo>
                    <a:pt x="156" y="369"/>
                  </a:lnTo>
                  <a:lnTo>
                    <a:pt x="160" y="361"/>
                  </a:lnTo>
                  <a:lnTo>
                    <a:pt x="167" y="355"/>
                  </a:lnTo>
                  <a:lnTo>
                    <a:pt x="174" y="349"/>
                  </a:lnTo>
                  <a:lnTo>
                    <a:pt x="177" y="346"/>
                  </a:lnTo>
                  <a:lnTo>
                    <a:pt x="178" y="343"/>
                  </a:lnTo>
                  <a:lnTo>
                    <a:pt x="178" y="339"/>
                  </a:lnTo>
                  <a:lnTo>
                    <a:pt x="177" y="338"/>
                  </a:lnTo>
                  <a:lnTo>
                    <a:pt x="175" y="337"/>
                  </a:lnTo>
                  <a:lnTo>
                    <a:pt x="173" y="337"/>
                  </a:lnTo>
                  <a:lnTo>
                    <a:pt x="170" y="338"/>
                  </a:lnTo>
                  <a:lnTo>
                    <a:pt x="165" y="342"/>
                  </a:lnTo>
                  <a:lnTo>
                    <a:pt x="161" y="343"/>
                  </a:lnTo>
                  <a:lnTo>
                    <a:pt x="158" y="342"/>
                  </a:lnTo>
                  <a:lnTo>
                    <a:pt x="154" y="340"/>
                  </a:lnTo>
                  <a:lnTo>
                    <a:pt x="150" y="339"/>
                  </a:lnTo>
                  <a:lnTo>
                    <a:pt x="147" y="339"/>
                  </a:lnTo>
                  <a:lnTo>
                    <a:pt x="146" y="340"/>
                  </a:lnTo>
                  <a:lnTo>
                    <a:pt x="144" y="343"/>
                  </a:lnTo>
                  <a:lnTo>
                    <a:pt x="141" y="346"/>
                  </a:lnTo>
                  <a:lnTo>
                    <a:pt x="140" y="346"/>
                  </a:lnTo>
                  <a:lnTo>
                    <a:pt x="137" y="346"/>
                  </a:lnTo>
                  <a:lnTo>
                    <a:pt x="135" y="345"/>
                  </a:lnTo>
                  <a:lnTo>
                    <a:pt x="134" y="344"/>
                  </a:lnTo>
                  <a:lnTo>
                    <a:pt x="128" y="338"/>
                  </a:lnTo>
                  <a:lnTo>
                    <a:pt x="126" y="336"/>
                  </a:lnTo>
                  <a:lnTo>
                    <a:pt x="123" y="335"/>
                  </a:lnTo>
                  <a:lnTo>
                    <a:pt x="121" y="335"/>
                  </a:lnTo>
                  <a:lnTo>
                    <a:pt x="118" y="336"/>
                  </a:lnTo>
                  <a:lnTo>
                    <a:pt x="117" y="337"/>
                  </a:lnTo>
                  <a:lnTo>
                    <a:pt x="116" y="338"/>
                  </a:lnTo>
                  <a:lnTo>
                    <a:pt x="116" y="343"/>
                  </a:lnTo>
                  <a:lnTo>
                    <a:pt x="116" y="346"/>
                  </a:lnTo>
                  <a:lnTo>
                    <a:pt x="114" y="348"/>
                  </a:lnTo>
                  <a:lnTo>
                    <a:pt x="113" y="349"/>
                  </a:lnTo>
                  <a:lnTo>
                    <a:pt x="107" y="350"/>
                  </a:lnTo>
                  <a:lnTo>
                    <a:pt x="101" y="349"/>
                  </a:lnTo>
                  <a:lnTo>
                    <a:pt x="95" y="346"/>
                  </a:lnTo>
                  <a:lnTo>
                    <a:pt x="93" y="345"/>
                  </a:lnTo>
                  <a:lnTo>
                    <a:pt x="92" y="343"/>
                  </a:lnTo>
                  <a:lnTo>
                    <a:pt x="92" y="340"/>
                  </a:lnTo>
                  <a:lnTo>
                    <a:pt x="93" y="337"/>
                  </a:lnTo>
                  <a:lnTo>
                    <a:pt x="94" y="333"/>
                  </a:lnTo>
                  <a:lnTo>
                    <a:pt x="94" y="329"/>
                  </a:lnTo>
                  <a:lnTo>
                    <a:pt x="93" y="326"/>
                  </a:lnTo>
                  <a:lnTo>
                    <a:pt x="92" y="323"/>
                  </a:lnTo>
                  <a:lnTo>
                    <a:pt x="90" y="319"/>
                  </a:lnTo>
                  <a:lnTo>
                    <a:pt x="88" y="313"/>
                  </a:lnTo>
                  <a:lnTo>
                    <a:pt x="85" y="307"/>
                  </a:lnTo>
                  <a:lnTo>
                    <a:pt x="84" y="301"/>
                  </a:lnTo>
                  <a:lnTo>
                    <a:pt x="84" y="295"/>
                  </a:lnTo>
                  <a:lnTo>
                    <a:pt x="81" y="298"/>
                  </a:lnTo>
                  <a:lnTo>
                    <a:pt x="80" y="301"/>
                  </a:lnTo>
                  <a:lnTo>
                    <a:pt x="76" y="307"/>
                  </a:lnTo>
                  <a:lnTo>
                    <a:pt x="74" y="314"/>
                  </a:lnTo>
                  <a:lnTo>
                    <a:pt x="71" y="317"/>
                  </a:lnTo>
                  <a:lnTo>
                    <a:pt x="69" y="319"/>
                  </a:lnTo>
                  <a:lnTo>
                    <a:pt x="65" y="320"/>
                  </a:lnTo>
                  <a:lnTo>
                    <a:pt x="60" y="319"/>
                  </a:lnTo>
                  <a:lnTo>
                    <a:pt x="55" y="318"/>
                  </a:lnTo>
                  <a:lnTo>
                    <a:pt x="52" y="317"/>
                  </a:lnTo>
                  <a:lnTo>
                    <a:pt x="51" y="314"/>
                  </a:lnTo>
                  <a:lnTo>
                    <a:pt x="51" y="312"/>
                  </a:lnTo>
                  <a:lnTo>
                    <a:pt x="51" y="310"/>
                  </a:lnTo>
                  <a:lnTo>
                    <a:pt x="54" y="305"/>
                  </a:lnTo>
                  <a:lnTo>
                    <a:pt x="57" y="301"/>
                  </a:lnTo>
                  <a:lnTo>
                    <a:pt x="61" y="298"/>
                  </a:lnTo>
                  <a:lnTo>
                    <a:pt x="62" y="295"/>
                  </a:lnTo>
                  <a:lnTo>
                    <a:pt x="62" y="294"/>
                  </a:lnTo>
                  <a:lnTo>
                    <a:pt x="61" y="294"/>
                  </a:lnTo>
                  <a:lnTo>
                    <a:pt x="56" y="294"/>
                  </a:lnTo>
                  <a:lnTo>
                    <a:pt x="52" y="295"/>
                  </a:lnTo>
                  <a:lnTo>
                    <a:pt x="48" y="297"/>
                  </a:lnTo>
                  <a:lnTo>
                    <a:pt x="43" y="299"/>
                  </a:lnTo>
                  <a:lnTo>
                    <a:pt x="42" y="299"/>
                  </a:lnTo>
                  <a:lnTo>
                    <a:pt x="40" y="298"/>
                  </a:lnTo>
                  <a:lnTo>
                    <a:pt x="38" y="295"/>
                  </a:lnTo>
                  <a:lnTo>
                    <a:pt x="38" y="294"/>
                  </a:lnTo>
                  <a:lnTo>
                    <a:pt x="40" y="289"/>
                  </a:lnTo>
                  <a:lnTo>
                    <a:pt x="42" y="285"/>
                  </a:lnTo>
                  <a:lnTo>
                    <a:pt x="43" y="282"/>
                  </a:lnTo>
                  <a:lnTo>
                    <a:pt x="46" y="280"/>
                  </a:lnTo>
                  <a:lnTo>
                    <a:pt x="45" y="279"/>
                  </a:lnTo>
                  <a:lnTo>
                    <a:pt x="43" y="278"/>
                  </a:lnTo>
                  <a:lnTo>
                    <a:pt x="37" y="278"/>
                  </a:lnTo>
                  <a:lnTo>
                    <a:pt x="29" y="278"/>
                  </a:lnTo>
                  <a:lnTo>
                    <a:pt x="23" y="278"/>
                  </a:lnTo>
                  <a:lnTo>
                    <a:pt x="22" y="278"/>
                  </a:lnTo>
                  <a:lnTo>
                    <a:pt x="21" y="276"/>
                  </a:lnTo>
                  <a:lnTo>
                    <a:pt x="19" y="275"/>
                  </a:lnTo>
                  <a:lnTo>
                    <a:pt x="19" y="274"/>
                  </a:lnTo>
                  <a:lnTo>
                    <a:pt x="19" y="272"/>
                  </a:lnTo>
                  <a:lnTo>
                    <a:pt x="19" y="270"/>
                  </a:lnTo>
                  <a:lnTo>
                    <a:pt x="14" y="269"/>
                  </a:lnTo>
                  <a:lnTo>
                    <a:pt x="13" y="269"/>
                  </a:lnTo>
                  <a:lnTo>
                    <a:pt x="12" y="268"/>
                  </a:lnTo>
                  <a:lnTo>
                    <a:pt x="12" y="263"/>
                  </a:lnTo>
                  <a:lnTo>
                    <a:pt x="14" y="260"/>
                  </a:lnTo>
                  <a:lnTo>
                    <a:pt x="18" y="256"/>
                  </a:lnTo>
                  <a:lnTo>
                    <a:pt x="23" y="253"/>
                  </a:lnTo>
                  <a:lnTo>
                    <a:pt x="33" y="247"/>
                  </a:lnTo>
                  <a:lnTo>
                    <a:pt x="37" y="243"/>
                  </a:lnTo>
                  <a:lnTo>
                    <a:pt x="41" y="240"/>
                  </a:lnTo>
                  <a:lnTo>
                    <a:pt x="42" y="237"/>
                  </a:lnTo>
                  <a:lnTo>
                    <a:pt x="42" y="233"/>
                  </a:lnTo>
                  <a:lnTo>
                    <a:pt x="42" y="229"/>
                  </a:lnTo>
                  <a:lnTo>
                    <a:pt x="43" y="228"/>
                  </a:lnTo>
                  <a:lnTo>
                    <a:pt x="46" y="227"/>
                  </a:lnTo>
                  <a:lnTo>
                    <a:pt x="50" y="227"/>
                  </a:lnTo>
                  <a:lnTo>
                    <a:pt x="52" y="227"/>
                  </a:lnTo>
                  <a:lnTo>
                    <a:pt x="59" y="229"/>
                  </a:lnTo>
                  <a:lnTo>
                    <a:pt x="70" y="230"/>
                  </a:lnTo>
                  <a:lnTo>
                    <a:pt x="75" y="230"/>
                  </a:lnTo>
                  <a:lnTo>
                    <a:pt x="80" y="228"/>
                  </a:lnTo>
                  <a:lnTo>
                    <a:pt x="81" y="224"/>
                  </a:lnTo>
                  <a:lnTo>
                    <a:pt x="83" y="223"/>
                  </a:lnTo>
                  <a:lnTo>
                    <a:pt x="84" y="222"/>
                  </a:lnTo>
                  <a:lnTo>
                    <a:pt x="87" y="221"/>
                  </a:lnTo>
                  <a:lnTo>
                    <a:pt x="89" y="222"/>
                  </a:lnTo>
                  <a:lnTo>
                    <a:pt x="93" y="222"/>
                  </a:lnTo>
                  <a:lnTo>
                    <a:pt x="95" y="222"/>
                  </a:lnTo>
                  <a:lnTo>
                    <a:pt x="98" y="220"/>
                  </a:lnTo>
                  <a:lnTo>
                    <a:pt x="98" y="218"/>
                  </a:lnTo>
                  <a:lnTo>
                    <a:pt x="99" y="216"/>
                  </a:lnTo>
                  <a:lnTo>
                    <a:pt x="101" y="215"/>
                  </a:lnTo>
                  <a:lnTo>
                    <a:pt x="108" y="212"/>
                  </a:lnTo>
                  <a:lnTo>
                    <a:pt x="111" y="209"/>
                  </a:lnTo>
                  <a:lnTo>
                    <a:pt x="111" y="205"/>
                  </a:lnTo>
                  <a:lnTo>
                    <a:pt x="109" y="202"/>
                  </a:lnTo>
                  <a:lnTo>
                    <a:pt x="107" y="198"/>
                  </a:lnTo>
                  <a:lnTo>
                    <a:pt x="104" y="196"/>
                  </a:lnTo>
                  <a:lnTo>
                    <a:pt x="102" y="193"/>
                  </a:lnTo>
                  <a:lnTo>
                    <a:pt x="102" y="191"/>
                  </a:lnTo>
                  <a:lnTo>
                    <a:pt x="102" y="189"/>
                  </a:lnTo>
                  <a:lnTo>
                    <a:pt x="106" y="186"/>
                  </a:lnTo>
                  <a:lnTo>
                    <a:pt x="109" y="184"/>
                  </a:lnTo>
                  <a:lnTo>
                    <a:pt x="113" y="182"/>
                  </a:lnTo>
                  <a:lnTo>
                    <a:pt x="113" y="179"/>
                  </a:lnTo>
                  <a:lnTo>
                    <a:pt x="113" y="177"/>
                  </a:lnTo>
                  <a:lnTo>
                    <a:pt x="113" y="176"/>
                  </a:lnTo>
                  <a:lnTo>
                    <a:pt x="111" y="176"/>
                  </a:lnTo>
                  <a:lnTo>
                    <a:pt x="104" y="180"/>
                  </a:lnTo>
                  <a:lnTo>
                    <a:pt x="98" y="184"/>
                  </a:lnTo>
                  <a:lnTo>
                    <a:pt x="84" y="189"/>
                  </a:lnTo>
                  <a:lnTo>
                    <a:pt x="80" y="191"/>
                  </a:lnTo>
                  <a:lnTo>
                    <a:pt x="76" y="193"/>
                  </a:lnTo>
                  <a:lnTo>
                    <a:pt x="75" y="193"/>
                  </a:lnTo>
                  <a:lnTo>
                    <a:pt x="73" y="193"/>
                  </a:lnTo>
                  <a:lnTo>
                    <a:pt x="69" y="192"/>
                  </a:lnTo>
                  <a:lnTo>
                    <a:pt x="65" y="191"/>
                  </a:lnTo>
                  <a:lnTo>
                    <a:pt x="56" y="192"/>
                  </a:lnTo>
                  <a:lnTo>
                    <a:pt x="43" y="192"/>
                  </a:lnTo>
                  <a:lnTo>
                    <a:pt x="32" y="191"/>
                  </a:lnTo>
                  <a:lnTo>
                    <a:pt x="26" y="189"/>
                  </a:lnTo>
                  <a:lnTo>
                    <a:pt x="21" y="186"/>
                  </a:lnTo>
                  <a:lnTo>
                    <a:pt x="15" y="183"/>
                  </a:lnTo>
                  <a:lnTo>
                    <a:pt x="10" y="178"/>
                  </a:lnTo>
                  <a:lnTo>
                    <a:pt x="10" y="176"/>
                  </a:lnTo>
                  <a:lnTo>
                    <a:pt x="10" y="173"/>
                  </a:lnTo>
                  <a:lnTo>
                    <a:pt x="14" y="169"/>
                  </a:lnTo>
                  <a:lnTo>
                    <a:pt x="14" y="166"/>
                  </a:lnTo>
                  <a:lnTo>
                    <a:pt x="13" y="165"/>
                  </a:lnTo>
                  <a:lnTo>
                    <a:pt x="8" y="161"/>
                  </a:lnTo>
                  <a:lnTo>
                    <a:pt x="3" y="159"/>
                  </a:lnTo>
                  <a:lnTo>
                    <a:pt x="0" y="158"/>
                  </a:lnTo>
                  <a:lnTo>
                    <a:pt x="0" y="157"/>
                  </a:lnTo>
                  <a:lnTo>
                    <a:pt x="1" y="153"/>
                  </a:lnTo>
                  <a:lnTo>
                    <a:pt x="4" y="151"/>
                  </a:lnTo>
                  <a:lnTo>
                    <a:pt x="12" y="147"/>
                  </a:lnTo>
                  <a:lnTo>
                    <a:pt x="18" y="144"/>
                  </a:lnTo>
                  <a:lnTo>
                    <a:pt x="24" y="141"/>
                  </a:lnTo>
                  <a:lnTo>
                    <a:pt x="31" y="140"/>
                  </a:lnTo>
                  <a:lnTo>
                    <a:pt x="34" y="139"/>
                  </a:lnTo>
                  <a:lnTo>
                    <a:pt x="42" y="135"/>
                  </a:lnTo>
                  <a:lnTo>
                    <a:pt x="46" y="134"/>
                  </a:lnTo>
                  <a:lnTo>
                    <a:pt x="50" y="133"/>
                  </a:lnTo>
                  <a:lnTo>
                    <a:pt x="52" y="134"/>
                  </a:lnTo>
                  <a:lnTo>
                    <a:pt x="54" y="137"/>
                  </a:lnTo>
                  <a:lnTo>
                    <a:pt x="55" y="142"/>
                  </a:lnTo>
                  <a:lnTo>
                    <a:pt x="55" y="144"/>
                  </a:lnTo>
                  <a:lnTo>
                    <a:pt x="56" y="145"/>
                  </a:lnTo>
                  <a:lnTo>
                    <a:pt x="60" y="145"/>
                  </a:lnTo>
                  <a:lnTo>
                    <a:pt x="64" y="142"/>
                  </a:lnTo>
                  <a:lnTo>
                    <a:pt x="66" y="141"/>
                  </a:lnTo>
                  <a:lnTo>
                    <a:pt x="69" y="141"/>
                  </a:lnTo>
                  <a:lnTo>
                    <a:pt x="71" y="144"/>
                  </a:lnTo>
                  <a:lnTo>
                    <a:pt x="74" y="145"/>
                  </a:lnTo>
                  <a:lnTo>
                    <a:pt x="75" y="145"/>
                  </a:lnTo>
                  <a:lnTo>
                    <a:pt x="79" y="144"/>
                  </a:lnTo>
                  <a:lnTo>
                    <a:pt x="83" y="145"/>
                  </a:lnTo>
                  <a:lnTo>
                    <a:pt x="89" y="146"/>
                  </a:lnTo>
                  <a:lnTo>
                    <a:pt x="95" y="150"/>
                  </a:lnTo>
                  <a:lnTo>
                    <a:pt x="103" y="151"/>
                  </a:lnTo>
                  <a:lnTo>
                    <a:pt x="104" y="150"/>
                  </a:lnTo>
                  <a:lnTo>
                    <a:pt x="106" y="150"/>
                  </a:lnTo>
                  <a:lnTo>
                    <a:pt x="106" y="145"/>
                  </a:lnTo>
                  <a:lnTo>
                    <a:pt x="104" y="142"/>
                  </a:lnTo>
                  <a:lnTo>
                    <a:pt x="102" y="139"/>
                  </a:lnTo>
                  <a:lnTo>
                    <a:pt x="98" y="138"/>
                  </a:lnTo>
                  <a:lnTo>
                    <a:pt x="92" y="135"/>
                  </a:lnTo>
                  <a:lnTo>
                    <a:pt x="89" y="134"/>
                  </a:lnTo>
                  <a:lnTo>
                    <a:pt x="88" y="132"/>
                  </a:lnTo>
                  <a:lnTo>
                    <a:pt x="87" y="129"/>
                  </a:lnTo>
                  <a:lnTo>
                    <a:pt x="88" y="128"/>
                  </a:lnTo>
                  <a:lnTo>
                    <a:pt x="93" y="125"/>
                  </a:lnTo>
                  <a:lnTo>
                    <a:pt x="93" y="123"/>
                  </a:lnTo>
                  <a:lnTo>
                    <a:pt x="93" y="122"/>
                  </a:lnTo>
                  <a:lnTo>
                    <a:pt x="92" y="121"/>
                  </a:lnTo>
                  <a:lnTo>
                    <a:pt x="90" y="121"/>
                  </a:lnTo>
                  <a:lnTo>
                    <a:pt x="84" y="123"/>
                  </a:lnTo>
                  <a:lnTo>
                    <a:pt x="78" y="125"/>
                  </a:lnTo>
                  <a:lnTo>
                    <a:pt x="75" y="126"/>
                  </a:lnTo>
                  <a:lnTo>
                    <a:pt x="73" y="125"/>
                  </a:lnTo>
                  <a:lnTo>
                    <a:pt x="70" y="123"/>
                  </a:lnTo>
                  <a:lnTo>
                    <a:pt x="67" y="121"/>
                  </a:lnTo>
                  <a:lnTo>
                    <a:pt x="60" y="109"/>
                  </a:lnTo>
                  <a:lnTo>
                    <a:pt x="55" y="105"/>
                  </a:lnTo>
                  <a:lnTo>
                    <a:pt x="50" y="101"/>
                  </a:lnTo>
                  <a:lnTo>
                    <a:pt x="41" y="97"/>
                  </a:lnTo>
                  <a:lnTo>
                    <a:pt x="32" y="95"/>
                  </a:lnTo>
                  <a:lnTo>
                    <a:pt x="23" y="90"/>
                  </a:lnTo>
                  <a:lnTo>
                    <a:pt x="19" y="88"/>
                  </a:lnTo>
                  <a:lnTo>
                    <a:pt x="17" y="84"/>
                  </a:lnTo>
                  <a:lnTo>
                    <a:pt x="15" y="80"/>
                  </a:lnTo>
                  <a:lnTo>
                    <a:pt x="15" y="74"/>
                  </a:lnTo>
                  <a:lnTo>
                    <a:pt x="18" y="69"/>
                  </a:lnTo>
                  <a:lnTo>
                    <a:pt x="19" y="68"/>
                  </a:lnTo>
                  <a:lnTo>
                    <a:pt x="21" y="67"/>
                  </a:lnTo>
                  <a:lnTo>
                    <a:pt x="33" y="68"/>
                  </a:lnTo>
                  <a:lnTo>
                    <a:pt x="45" y="68"/>
                  </a:lnTo>
                  <a:lnTo>
                    <a:pt x="51" y="68"/>
                  </a:lnTo>
                  <a:lnTo>
                    <a:pt x="56" y="67"/>
                  </a:lnTo>
                  <a:lnTo>
                    <a:pt x="61" y="64"/>
                  </a:lnTo>
                  <a:lnTo>
                    <a:pt x="65" y="61"/>
                  </a:lnTo>
                  <a:lnTo>
                    <a:pt x="74" y="51"/>
                  </a:lnTo>
                  <a:lnTo>
                    <a:pt x="83" y="42"/>
                  </a:lnTo>
                  <a:lnTo>
                    <a:pt x="84" y="39"/>
                  </a:lnTo>
                  <a:lnTo>
                    <a:pt x="85" y="36"/>
                  </a:lnTo>
                  <a:lnTo>
                    <a:pt x="90" y="32"/>
                  </a:lnTo>
                  <a:lnTo>
                    <a:pt x="95" y="30"/>
                  </a:lnTo>
                  <a:lnTo>
                    <a:pt x="106" y="27"/>
                  </a:lnTo>
                  <a:lnTo>
                    <a:pt x="111" y="24"/>
                  </a:lnTo>
                  <a:lnTo>
                    <a:pt x="117" y="20"/>
                  </a:lnTo>
                  <a:lnTo>
                    <a:pt x="125" y="17"/>
                  </a:lnTo>
                  <a:lnTo>
                    <a:pt x="130" y="14"/>
                  </a:lnTo>
                  <a:lnTo>
                    <a:pt x="134" y="14"/>
                  </a:lnTo>
                  <a:lnTo>
                    <a:pt x="141" y="16"/>
                  </a:lnTo>
                  <a:lnTo>
                    <a:pt x="145" y="16"/>
                  </a:lnTo>
                  <a:lnTo>
                    <a:pt x="149" y="16"/>
                  </a:lnTo>
                  <a:lnTo>
                    <a:pt x="160" y="13"/>
                  </a:lnTo>
                  <a:lnTo>
                    <a:pt x="173" y="10"/>
                  </a:lnTo>
                  <a:lnTo>
                    <a:pt x="174" y="10"/>
                  </a:lnTo>
                  <a:lnTo>
                    <a:pt x="177" y="7"/>
                  </a:lnTo>
                  <a:lnTo>
                    <a:pt x="179" y="5"/>
                  </a:lnTo>
                  <a:lnTo>
                    <a:pt x="186" y="1"/>
                  </a:lnTo>
                  <a:lnTo>
                    <a:pt x="192" y="0"/>
                  </a:lnTo>
                  <a:lnTo>
                    <a:pt x="194" y="0"/>
                  </a:lnTo>
                  <a:lnTo>
                    <a:pt x="198" y="0"/>
                  </a:lnTo>
                  <a:lnTo>
                    <a:pt x="201" y="3"/>
                  </a:lnTo>
                  <a:lnTo>
                    <a:pt x="202" y="4"/>
                  </a:lnTo>
                  <a:lnTo>
                    <a:pt x="206" y="8"/>
                  </a:lnTo>
                  <a:lnTo>
                    <a:pt x="208" y="10"/>
                  </a:lnTo>
                  <a:lnTo>
                    <a:pt x="210" y="10"/>
                  </a:lnTo>
                  <a:lnTo>
                    <a:pt x="216" y="4"/>
                  </a:lnTo>
                  <a:lnTo>
                    <a:pt x="219" y="3"/>
                  </a:lnTo>
                  <a:lnTo>
                    <a:pt x="224" y="4"/>
                  </a:lnTo>
                  <a:lnTo>
                    <a:pt x="226" y="5"/>
                  </a:lnTo>
                  <a:lnTo>
                    <a:pt x="227" y="7"/>
                  </a:lnTo>
                  <a:lnTo>
                    <a:pt x="229" y="13"/>
                  </a:lnTo>
                  <a:lnTo>
                    <a:pt x="230" y="14"/>
                  </a:lnTo>
                  <a:lnTo>
                    <a:pt x="231" y="16"/>
                  </a:lnTo>
                  <a:lnTo>
                    <a:pt x="244" y="12"/>
                  </a:lnTo>
                  <a:lnTo>
                    <a:pt x="249" y="13"/>
                  </a:lnTo>
                  <a:lnTo>
                    <a:pt x="253" y="14"/>
                  </a:lnTo>
                  <a:lnTo>
                    <a:pt x="259" y="19"/>
                  </a:lnTo>
                  <a:lnTo>
                    <a:pt x="268" y="26"/>
                  </a:lnTo>
                  <a:lnTo>
                    <a:pt x="271" y="27"/>
                  </a:lnTo>
                  <a:lnTo>
                    <a:pt x="274" y="29"/>
                  </a:lnTo>
                  <a:lnTo>
                    <a:pt x="282" y="27"/>
                  </a:lnTo>
                  <a:lnTo>
                    <a:pt x="290" y="26"/>
                  </a:lnTo>
                  <a:lnTo>
                    <a:pt x="297" y="25"/>
                  </a:lnTo>
                  <a:lnTo>
                    <a:pt x="304" y="25"/>
                  </a:lnTo>
                  <a:lnTo>
                    <a:pt x="307" y="26"/>
                  </a:lnTo>
                  <a:lnTo>
                    <a:pt x="311" y="29"/>
                  </a:lnTo>
                  <a:lnTo>
                    <a:pt x="314" y="30"/>
                  </a:lnTo>
                  <a:lnTo>
                    <a:pt x="321" y="30"/>
                  </a:lnTo>
                  <a:lnTo>
                    <a:pt x="328" y="29"/>
                  </a:lnTo>
                  <a:lnTo>
                    <a:pt x="335" y="29"/>
                  </a:lnTo>
                  <a:lnTo>
                    <a:pt x="361" y="32"/>
                  </a:lnTo>
                  <a:lnTo>
                    <a:pt x="375" y="33"/>
                  </a:lnTo>
                  <a:lnTo>
                    <a:pt x="387" y="33"/>
                  </a:lnTo>
                  <a:lnTo>
                    <a:pt x="396" y="33"/>
                  </a:lnTo>
                  <a:lnTo>
                    <a:pt x="405" y="36"/>
                  </a:lnTo>
                  <a:lnTo>
                    <a:pt x="412" y="37"/>
                  </a:lnTo>
                  <a:lnTo>
                    <a:pt x="417" y="36"/>
                  </a:lnTo>
                  <a:lnTo>
                    <a:pt x="423" y="36"/>
                  </a:lnTo>
                  <a:lnTo>
                    <a:pt x="429" y="36"/>
                  </a:lnTo>
                  <a:lnTo>
                    <a:pt x="441" y="40"/>
                  </a:lnTo>
                  <a:lnTo>
                    <a:pt x="445" y="40"/>
                  </a:lnTo>
                  <a:lnTo>
                    <a:pt x="452" y="39"/>
                  </a:lnTo>
                  <a:lnTo>
                    <a:pt x="456" y="4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39" name="Freeform 1038"/>
            <p:cNvSpPr>
              <a:spLocks/>
            </p:cNvSpPr>
            <p:nvPr/>
          </p:nvSpPr>
          <p:spPr bwMode="auto">
            <a:xfrm>
              <a:off x="1588" y="2197100"/>
              <a:ext cx="76200" cy="38100"/>
            </a:xfrm>
            <a:custGeom>
              <a:avLst/>
              <a:gdLst>
                <a:gd name="T0" fmla="*/ 2147483647 w 52"/>
                <a:gd name="T1" fmla="*/ 2147483647 h 24"/>
                <a:gd name="T2" fmla="*/ 2147483647 w 52"/>
                <a:gd name="T3" fmla="*/ 2147483647 h 24"/>
                <a:gd name="T4" fmla="*/ 2147483647 w 52"/>
                <a:gd name="T5" fmla="*/ 2147483647 h 24"/>
                <a:gd name="T6" fmla="*/ 2147483647 w 52"/>
                <a:gd name="T7" fmla="*/ 2147483647 h 24"/>
                <a:gd name="T8" fmla="*/ 2147483647 w 52"/>
                <a:gd name="T9" fmla="*/ 2147483647 h 24"/>
                <a:gd name="T10" fmla="*/ 2147483647 w 52"/>
                <a:gd name="T11" fmla="*/ 2147483647 h 24"/>
                <a:gd name="T12" fmla="*/ 2147483647 w 52"/>
                <a:gd name="T13" fmla="*/ 2147483647 h 24"/>
                <a:gd name="T14" fmla="*/ 2147483647 w 52"/>
                <a:gd name="T15" fmla="*/ 2147483647 h 24"/>
                <a:gd name="T16" fmla="*/ 2147483647 w 52"/>
                <a:gd name="T17" fmla="*/ 2147483647 h 24"/>
                <a:gd name="T18" fmla="*/ 2147483647 w 52"/>
                <a:gd name="T19" fmla="*/ 2147483647 h 24"/>
                <a:gd name="T20" fmla="*/ 2147483647 w 52"/>
                <a:gd name="T21" fmla="*/ 2147483647 h 24"/>
                <a:gd name="T22" fmla="*/ 2147483647 w 52"/>
                <a:gd name="T23" fmla="*/ 2147483647 h 24"/>
                <a:gd name="T24" fmla="*/ 2147483647 w 52"/>
                <a:gd name="T25" fmla="*/ 2147483647 h 24"/>
                <a:gd name="T26" fmla="*/ 2147483647 w 52"/>
                <a:gd name="T27" fmla="*/ 2147483647 h 24"/>
                <a:gd name="T28" fmla="*/ 2147483647 w 52"/>
                <a:gd name="T29" fmla="*/ 2147483647 h 24"/>
                <a:gd name="T30" fmla="*/ 2147483647 w 52"/>
                <a:gd name="T31" fmla="*/ 0 h 24"/>
                <a:gd name="T32" fmla="*/ 2147483647 w 52"/>
                <a:gd name="T33" fmla="*/ 2147483647 h 24"/>
                <a:gd name="T34" fmla="*/ 0 w 52"/>
                <a:gd name="T35" fmla="*/ 2147483647 h 24"/>
                <a:gd name="T36" fmla="*/ 2147483647 w 52"/>
                <a:gd name="T37" fmla="*/ 2147483647 h 24"/>
                <a:gd name="T38" fmla="*/ 2147483647 w 52"/>
                <a:gd name="T39" fmla="*/ 2147483647 h 24"/>
                <a:gd name="T40" fmla="*/ 2147483647 w 52"/>
                <a:gd name="T41" fmla="*/ 2147483647 h 24"/>
                <a:gd name="T42" fmla="*/ 2147483647 w 52"/>
                <a:gd name="T43" fmla="*/ 2147483647 h 24"/>
                <a:gd name="T44" fmla="*/ 2147483647 w 52"/>
                <a:gd name="T45" fmla="*/ 2147483647 h 24"/>
                <a:gd name="T46" fmla="*/ 2147483647 w 52"/>
                <a:gd name="T47" fmla="*/ 2147483647 h 24"/>
                <a:gd name="T48" fmla="*/ 2147483647 w 52"/>
                <a:gd name="T49" fmla="*/ 2147483647 h 24"/>
                <a:gd name="T50" fmla="*/ 2147483647 w 52"/>
                <a:gd name="T51" fmla="*/ 2147483647 h 24"/>
                <a:gd name="T52" fmla="*/ 2147483647 w 52"/>
                <a:gd name="T53" fmla="*/ 2147483647 h 24"/>
                <a:gd name="T54" fmla="*/ 2147483647 w 52"/>
                <a:gd name="T55" fmla="*/ 2147483647 h 2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2"/>
                <a:gd name="T85" fmla="*/ 0 h 24"/>
                <a:gd name="T86" fmla="*/ 52 w 52"/>
                <a:gd name="T87" fmla="*/ 24 h 2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2" h="24">
                  <a:moveTo>
                    <a:pt x="47" y="22"/>
                  </a:moveTo>
                  <a:lnTo>
                    <a:pt x="51" y="19"/>
                  </a:lnTo>
                  <a:lnTo>
                    <a:pt x="52" y="16"/>
                  </a:lnTo>
                  <a:lnTo>
                    <a:pt x="51" y="15"/>
                  </a:lnTo>
                  <a:lnTo>
                    <a:pt x="45" y="11"/>
                  </a:lnTo>
                  <a:lnTo>
                    <a:pt x="41" y="10"/>
                  </a:lnTo>
                  <a:lnTo>
                    <a:pt x="38" y="7"/>
                  </a:lnTo>
                  <a:lnTo>
                    <a:pt x="36" y="4"/>
                  </a:lnTo>
                  <a:lnTo>
                    <a:pt x="32" y="3"/>
                  </a:lnTo>
                  <a:lnTo>
                    <a:pt x="28" y="2"/>
                  </a:lnTo>
                  <a:lnTo>
                    <a:pt x="24" y="3"/>
                  </a:lnTo>
                  <a:lnTo>
                    <a:pt x="16" y="3"/>
                  </a:lnTo>
                  <a:lnTo>
                    <a:pt x="12" y="3"/>
                  </a:lnTo>
                  <a:lnTo>
                    <a:pt x="8" y="2"/>
                  </a:lnTo>
                  <a:lnTo>
                    <a:pt x="5" y="2"/>
                  </a:lnTo>
                  <a:lnTo>
                    <a:pt x="3" y="0"/>
                  </a:lnTo>
                  <a:lnTo>
                    <a:pt x="2" y="3"/>
                  </a:lnTo>
                  <a:lnTo>
                    <a:pt x="0" y="8"/>
                  </a:lnTo>
                  <a:lnTo>
                    <a:pt x="2" y="11"/>
                  </a:lnTo>
                  <a:lnTo>
                    <a:pt x="3" y="11"/>
                  </a:lnTo>
                  <a:lnTo>
                    <a:pt x="4" y="13"/>
                  </a:lnTo>
                  <a:lnTo>
                    <a:pt x="13" y="14"/>
                  </a:lnTo>
                  <a:lnTo>
                    <a:pt x="21" y="16"/>
                  </a:lnTo>
                  <a:lnTo>
                    <a:pt x="28" y="20"/>
                  </a:lnTo>
                  <a:lnTo>
                    <a:pt x="36" y="23"/>
                  </a:lnTo>
                  <a:lnTo>
                    <a:pt x="38" y="24"/>
                  </a:lnTo>
                  <a:lnTo>
                    <a:pt x="41" y="24"/>
                  </a:lnTo>
                  <a:lnTo>
                    <a:pt x="47" y="2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0" name="Freeform 1039"/>
            <p:cNvSpPr>
              <a:spLocks/>
            </p:cNvSpPr>
            <p:nvPr/>
          </p:nvSpPr>
          <p:spPr bwMode="auto">
            <a:xfrm>
              <a:off x="109539" y="1876426"/>
              <a:ext cx="939800" cy="728663"/>
            </a:xfrm>
            <a:custGeom>
              <a:avLst/>
              <a:gdLst>
                <a:gd name="T0" fmla="*/ 2147483647 w 641"/>
                <a:gd name="T1" fmla="*/ 2147483647 h 459"/>
                <a:gd name="T2" fmla="*/ 2147483647 w 641"/>
                <a:gd name="T3" fmla="*/ 2147483647 h 459"/>
                <a:gd name="T4" fmla="*/ 2147483647 w 641"/>
                <a:gd name="T5" fmla="*/ 2147483647 h 459"/>
                <a:gd name="T6" fmla="*/ 2147483647 w 641"/>
                <a:gd name="T7" fmla="*/ 2147483647 h 459"/>
                <a:gd name="T8" fmla="*/ 2147483647 w 641"/>
                <a:gd name="T9" fmla="*/ 2147483647 h 459"/>
                <a:gd name="T10" fmla="*/ 2147483647 w 641"/>
                <a:gd name="T11" fmla="*/ 2147483647 h 459"/>
                <a:gd name="T12" fmla="*/ 2147483647 w 641"/>
                <a:gd name="T13" fmla="*/ 2147483647 h 459"/>
                <a:gd name="T14" fmla="*/ 2147483647 w 641"/>
                <a:gd name="T15" fmla="*/ 2147483647 h 459"/>
                <a:gd name="T16" fmla="*/ 2147483647 w 641"/>
                <a:gd name="T17" fmla="*/ 2147483647 h 459"/>
                <a:gd name="T18" fmla="*/ 2147483647 w 641"/>
                <a:gd name="T19" fmla="*/ 2147483647 h 459"/>
                <a:gd name="T20" fmla="*/ 2147483647 w 641"/>
                <a:gd name="T21" fmla="*/ 2147483647 h 459"/>
                <a:gd name="T22" fmla="*/ 2147483647 w 641"/>
                <a:gd name="T23" fmla="*/ 2147483647 h 459"/>
                <a:gd name="T24" fmla="*/ 2147483647 w 641"/>
                <a:gd name="T25" fmla="*/ 2147483647 h 459"/>
                <a:gd name="T26" fmla="*/ 2147483647 w 641"/>
                <a:gd name="T27" fmla="*/ 2147483647 h 459"/>
                <a:gd name="T28" fmla="*/ 2147483647 w 641"/>
                <a:gd name="T29" fmla="*/ 2147483647 h 459"/>
                <a:gd name="T30" fmla="*/ 2147483647 w 641"/>
                <a:gd name="T31" fmla="*/ 2147483647 h 459"/>
                <a:gd name="T32" fmla="*/ 2147483647 w 641"/>
                <a:gd name="T33" fmla="*/ 2147483647 h 459"/>
                <a:gd name="T34" fmla="*/ 2147483647 w 641"/>
                <a:gd name="T35" fmla="*/ 2147483647 h 459"/>
                <a:gd name="T36" fmla="*/ 2147483647 w 641"/>
                <a:gd name="T37" fmla="*/ 2147483647 h 459"/>
                <a:gd name="T38" fmla="*/ 2147483647 w 641"/>
                <a:gd name="T39" fmla="*/ 2147483647 h 459"/>
                <a:gd name="T40" fmla="*/ 2147483647 w 641"/>
                <a:gd name="T41" fmla="*/ 2147483647 h 459"/>
                <a:gd name="T42" fmla="*/ 2147483647 w 641"/>
                <a:gd name="T43" fmla="*/ 2147483647 h 459"/>
                <a:gd name="T44" fmla="*/ 2147483647 w 641"/>
                <a:gd name="T45" fmla="*/ 2147483647 h 459"/>
                <a:gd name="T46" fmla="*/ 2147483647 w 641"/>
                <a:gd name="T47" fmla="*/ 2147483647 h 459"/>
                <a:gd name="T48" fmla="*/ 2147483647 w 641"/>
                <a:gd name="T49" fmla="*/ 2147483647 h 459"/>
                <a:gd name="T50" fmla="*/ 2147483647 w 641"/>
                <a:gd name="T51" fmla="*/ 2147483647 h 459"/>
                <a:gd name="T52" fmla="*/ 2147483647 w 641"/>
                <a:gd name="T53" fmla="*/ 2147483647 h 459"/>
                <a:gd name="T54" fmla="*/ 2147483647 w 641"/>
                <a:gd name="T55" fmla="*/ 2147483647 h 459"/>
                <a:gd name="T56" fmla="*/ 2147483647 w 641"/>
                <a:gd name="T57" fmla="*/ 2147483647 h 459"/>
                <a:gd name="T58" fmla="*/ 2147483647 w 641"/>
                <a:gd name="T59" fmla="*/ 2147483647 h 459"/>
                <a:gd name="T60" fmla="*/ 2147483647 w 641"/>
                <a:gd name="T61" fmla="*/ 2147483647 h 459"/>
                <a:gd name="T62" fmla="*/ 2147483647 w 641"/>
                <a:gd name="T63" fmla="*/ 2147483647 h 459"/>
                <a:gd name="T64" fmla="*/ 2147483647 w 641"/>
                <a:gd name="T65" fmla="*/ 2147483647 h 459"/>
                <a:gd name="T66" fmla="*/ 2147483647 w 641"/>
                <a:gd name="T67" fmla="*/ 2147483647 h 459"/>
                <a:gd name="T68" fmla="*/ 2147483647 w 641"/>
                <a:gd name="T69" fmla="*/ 2147483647 h 459"/>
                <a:gd name="T70" fmla="*/ 2147483647 w 641"/>
                <a:gd name="T71" fmla="*/ 2147483647 h 459"/>
                <a:gd name="T72" fmla="*/ 2147483647 w 641"/>
                <a:gd name="T73" fmla="*/ 2147483647 h 459"/>
                <a:gd name="T74" fmla="*/ 2147483647 w 641"/>
                <a:gd name="T75" fmla="*/ 2147483647 h 459"/>
                <a:gd name="T76" fmla="*/ 2147483647 w 641"/>
                <a:gd name="T77" fmla="*/ 2147483647 h 459"/>
                <a:gd name="T78" fmla="*/ 2147483647 w 641"/>
                <a:gd name="T79" fmla="*/ 2147483647 h 459"/>
                <a:gd name="T80" fmla="*/ 2147483647 w 641"/>
                <a:gd name="T81" fmla="*/ 2147483647 h 459"/>
                <a:gd name="T82" fmla="*/ 2147483647 w 641"/>
                <a:gd name="T83" fmla="*/ 2147483647 h 459"/>
                <a:gd name="T84" fmla="*/ 2147483647 w 641"/>
                <a:gd name="T85" fmla="*/ 2147483647 h 459"/>
                <a:gd name="T86" fmla="*/ 2147483647 w 641"/>
                <a:gd name="T87" fmla="*/ 2147483647 h 459"/>
                <a:gd name="T88" fmla="*/ 2147483647 w 641"/>
                <a:gd name="T89" fmla="*/ 2147483647 h 459"/>
                <a:gd name="T90" fmla="*/ 2147483647 w 641"/>
                <a:gd name="T91" fmla="*/ 2147483647 h 459"/>
                <a:gd name="T92" fmla="*/ 2147483647 w 641"/>
                <a:gd name="T93" fmla="*/ 2147483647 h 459"/>
                <a:gd name="T94" fmla="*/ 2147483647 w 641"/>
                <a:gd name="T95" fmla="*/ 2147483647 h 459"/>
                <a:gd name="T96" fmla="*/ 2147483647 w 641"/>
                <a:gd name="T97" fmla="*/ 2147483647 h 459"/>
                <a:gd name="T98" fmla="*/ 2147483647 w 641"/>
                <a:gd name="T99" fmla="*/ 2147483647 h 459"/>
                <a:gd name="T100" fmla="*/ 2147483647 w 641"/>
                <a:gd name="T101" fmla="*/ 2147483647 h 459"/>
                <a:gd name="T102" fmla="*/ 2147483647 w 641"/>
                <a:gd name="T103" fmla="*/ 2147483647 h 459"/>
                <a:gd name="T104" fmla="*/ 2147483647 w 641"/>
                <a:gd name="T105" fmla="*/ 2147483647 h 459"/>
                <a:gd name="T106" fmla="*/ 2147483647 w 641"/>
                <a:gd name="T107" fmla="*/ 2147483647 h 459"/>
                <a:gd name="T108" fmla="*/ 2147483647 w 641"/>
                <a:gd name="T109" fmla="*/ 2147483647 h 459"/>
                <a:gd name="T110" fmla="*/ 2147483647 w 641"/>
                <a:gd name="T111" fmla="*/ 2147483647 h 459"/>
                <a:gd name="T112" fmla="*/ 2147483647 w 641"/>
                <a:gd name="T113" fmla="*/ 2147483647 h 459"/>
                <a:gd name="T114" fmla="*/ 2147483647 w 641"/>
                <a:gd name="T115" fmla="*/ 0 h 459"/>
                <a:gd name="T116" fmla="*/ 2147483647 w 641"/>
                <a:gd name="T117" fmla="*/ 2147483647 h 459"/>
                <a:gd name="T118" fmla="*/ 2147483647 w 641"/>
                <a:gd name="T119" fmla="*/ 2147483647 h 459"/>
                <a:gd name="T120" fmla="*/ 2147483647 w 641"/>
                <a:gd name="T121" fmla="*/ 2147483647 h 459"/>
                <a:gd name="T122" fmla="*/ 2147483647 w 641"/>
                <a:gd name="T123" fmla="*/ 2147483647 h 459"/>
                <a:gd name="T124" fmla="*/ 2147483647 w 641"/>
                <a:gd name="T125" fmla="*/ 2147483647 h 4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41"/>
                <a:gd name="T190" fmla="*/ 0 h 459"/>
                <a:gd name="T191" fmla="*/ 641 w 641"/>
                <a:gd name="T192" fmla="*/ 459 h 4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41" h="459">
                  <a:moveTo>
                    <a:pt x="456" y="40"/>
                  </a:moveTo>
                  <a:lnTo>
                    <a:pt x="458" y="299"/>
                  </a:lnTo>
                  <a:lnTo>
                    <a:pt x="466" y="296"/>
                  </a:lnTo>
                  <a:lnTo>
                    <a:pt x="472" y="295"/>
                  </a:lnTo>
                  <a:lnTo>
                    <a:pt x="476" y="296"/>
                  </a:lnTo>
                  <a:lnTo>
                    <a:pt x="479" y="298"/>
                  </a:lnTo>
                  <a:lnTo>
                    <a:pt x="486" y="306"/>
                  </a:lnTo>
                  <a:lnTo>
                    <a:pt x="498" y="318"/>
                  </a:lnTo>
                  <a:lnTo>
                    <a:pt x="504" y="325"/>
                  </a:lnTo>
                  <a:lnTo>
                    <a:pt x="510" y="330"/>
                  </a:lnTo>
                  <a:lnTo>
                    <a:pt x="515" y="333"/>
                  </a:lnTo>
                  <a:lnTo>
                    <a:pt x="521" y="333"/>
                  </a:lnTo>
                  <a:lnTo>
                    <a:pt x="524" y="332"/>
                  </a:lnTo>
                  <a:lnTo>
                    <a:pt x="528" y="330"/>
                  </a:lnTo>
                  <a:lnTo>
                    <a:pt x="535" y="324"/>
                  </a:lnTo>
                  <a:lnTo>
                    <a:pt x="542" y="317"/>
                  </a:lnTo>
                  <a:lnTo>
                    <a:pt x="543" y="314"/>
                  </a:lnTo>
                  <a:lnTo>
                    <a:pt x="546" y="314"/>
                  </a:lnTo>
                  <a:lnTo>
                    <a:pt x="548" y="315"/>
                  </a:lnTo>
                  <a:lnTo>
                    <a:pt x="557" y="322"/>
                  </a:lnTo>
                  <a:lnTo>
                    <a:pt x="565" y="327"/>
                  </a:lnTo>
                  <a:lnTo>
                    <a:pt x="569" y="330"/>
                  </a:lnTo>
                  <a:lnTo>
                    <a:pt x="574" y="334"/>
                  </a:lnTo>
                  <a:lnTo>
                    <a:pt x="580" y="341"/>
                  </a:lnTo>
                  <a:lnTo>
                    <a:pt x="587" y="347"/>
                  </a:lnTo>
                  <a:lnTo>
                    <a:pt x="595" y="357"/>
                  </a:lnTo>
                  <a:lnTo>
                    <a:pt x="604" y="371"/>
                  </a:lnTo>
                  <a:lnTo>
                    <a:pt x="612" y="381"/>
                  </a:lnTo>
                  <a:lnTo>
                    <a:pt x="621" y="388"/>
                  </a:lnTo>
                  <a:lnTo>
                    <a:pt x="630" y="395"/>
                  </a:lnTo>
                  <a:lnTo>
                    <a:pt x="635" y="400"/>
                  </a:lnTo>
                  <a:lnTo>
                    <a:pt x="637" y="404"/>
                  </a:lnTo>
                  <a:lnTo>
                    <a:pt x="640" y="410"/>
                  </a:lnTo>
                  <a:lnTo>
                    <a:pt x="641" y="418"/>
                  </a:lnTo>
                  <a:lnTo>
                    <a:pt x="641" y="427"/>
                  </a:lnTo>
                  <a:lnTo>
                    <a:pt x="640" y="439"/>
                  </a:lnTo>
                  <a:lnTo>
                    <a:pt x="636" y="436"/>
                  </a:lnTo>
                  <a:lnTo>
                    <a:pt x="634" y="435"/>
                  </a:lnTo>
                  <a:lnTo>
                    <a:pt x="630" y="423"/>
                  </a:lnTo>
                  <a:lnTo>
                    <a:pt x="628" y="420"/>
                  </a:lnTo>
                  <a:lnTo>
                    <a:pt x="626" y="416"/>
                  </a:lnTo>
                  <a:lnTo>
                    <a:pt x="622" y="415"/>
                  </a:lnTo>
                  <a:lnTo>
                    <a:pt x="618" y="413"/>
                  </a:lnTo>
                  <a:lnTo>
                    <a:pt x="606" y="411"/>
                  </a:lnTo>
                  <a:lnTo>
                    <a:pt x="604" y="411"/>
                  </a:lnTo>
                  <a:lnTo>
                    <a:pt x="604" y="410"/>
                  </a:lnTo>
                  <a:lnTo>
                    <a:pt x="606" y="405"/>
                  </a:lnTo>
                  <a:lnTo>
                    <a:pt x="606" y="401"/>
                  </a:lnTo>
                  <a:lnTo>
                    <a:pt x="606" y="398"/>
                  </a:lnTo>
                  <a:lnTo>
                    <a:pt x="604" y="396"/>
                  </a:lnTo>
                  <a:lnTo>
                    <a:pt x="598" y="389"/>
                  </a:lnTo>
                  <a:lnTo>
                    <a:pt x="593" y="381"/>
                  </a:lnTo>
                  <a:lnTo>
                    <a:pt x="582" y="365"/>
                  </a:lnTo>
                  <a:lnTo>
                    <a:pt x="570" y="351"/>
                  </a:lnTo>
                  <a:lnTo>
                    <a:pt x="565" y="343"/>
                  </a:lnTo>
                  <a:lnTo>
                    <a:pt x="562" y="339"/>
                  </a:lnTo>
                  <a:lnTo>
                    <a:pt x="559" y="338"/>
                  </a:lnTo>
                  <a:lnTo>
                    <a:pt x="557" y="337"/>
                  </a:lnTo>
                  <a:lnTo>
                    <a:pt x="556" y="338"/>
                  </a:lnTo>
                  <a:lnTo>
                    <a:pt x="555" y="341"/>
                  </a:lnTo>
                  <a:lnTo>
                    <a:pt x="554" y="345"/>
                  </a:lnTo>
                  <a:lnTo>
                    <a:pt x="552" y="349"/>
                  </a:lnTo>
                  <a:lnTo>
                    <a:pt x="551" y="349"/>
                  </a:lnTo>
                  <a:lnTo>
                    <a:pt x="550" y="347"/>
                  </a:lnTo>
                  <a:lnTo>
                    <a:pt x="545" y="344"/>
                  </a:lnTo>
                  <a:lnTo>
                    <a:pt x="542" y="341"/>
                  </a:lnTo>
                  <a:lnTo>
                    <a:pt x="540" y="341"/>
                  </a:lnTo>
                  <a:lnTo>
                    <a:pt x="537" y="344"/>
                  </a:lnTo>
                  <a:lnTo>
                    <a:pt x="536" y="345"/>
                  </a:lnTo>
                  <a:lnTo>
                    <a:pt x="535" y="349"/>
                  </a:lnTo>
                  <a:lnTo>
                    <a:pt x="533" y="350"/>
                  </a:lnTo>
                  <a:lnTo>
                    <a:pt x="531" y="351"/>
                  </a:lnTo>
                  <a:lnTo>
                    <a:pt x="528" y="351"/>
                  </a:lnTo>
                  <a:lnTo>
                    <a:pt x="524" y="349"/>
                  </a:lnTo>
                  <a:lnTo>
                    <a:pt x="521" y="346"/>
                  </a:lnTo>
                  <a:lnTo>
                    <a:pt x="518" y="343"/>
                  </a:lnTo>
                  <a:lnTo>
                    <a:pt x="494" y="330"/>
                  </a:lnTo>
                  <a:lnTo>
                    <a:pt x="484" y="321"/>
                  </a:lnTo>
                  <a:lnTo>
                    <a:pt x="472" y="313"/>
                  </a:lnTo>
                  <a:lnTo>
                    <a:pt x="470" y="312"/>
                  </a:lnTo>
                  <a:lnTo>
                    <a:pt x="466" y="312"/>
                  </a:lnTo>
                  <a:lnTo>
                    <a:pt x="458" y="312"/>
                  </a:lnTo>
                  <a:lnTo>
                    <a:pt x="452" y="311"/>
                  </a:lnTo>
                  <a:lnTo>
                    <a:pt x="447" y="312"/>
                  </a:lnTo>
                  <a:lnTo>
                    <a:pt x="435" y="313"/>
                  </a:lnTo>
                  <a:lnTo>
                    <a:pt x="424" y="314"/>
                  </a:lnTo>
                  <a:lnTo>
                    <a:pt x="419" y="313"/>
                  </a:lnTo>
                  <a:lnTo>
                    <a:pt x="414" y="312"/>
                  </a:lnTo>
                  <a:lnTo>
                    <a:pt x="400" y="306"/>
                  </a:lnTo>
                  <a:lnTo>
                    <a:pt x="395" y="303"/>
                  </a:lnTo>
                  <a:lnTo>
                    <a:pt x="387" y="301"/>
                  </a:lnTo>
                  <a:lnTo>
                    <a:pt x="378" y="300"/>
                  </a:lnTo>
                  <a:lnTo>
                    <a:pt x="373" y="300"/>
                  </a:lnTo>
                  <a:lnTo>
                    <a:pt x="368" y="299"/>
                  </a:lnTo>
                  <a:lnTo>
                    <a:pt x="366" y="296"/>
                  </a:lnTo>
                  <a:lnTo>
                    <a:pt x="364" y="294"/>
                  </a:lnTo>
                  <a:lnTo>
                    <a:pt x="364" y="288"/>
                  </a:lnTo>
                  <a:lnTo>
                    <a:pt x="363" y="286"/>
                  </a:lnTo>
                  <a:lnTo>
                    <a:pt x="363" y="283"/>
                  </a:lnTo>
                  <a:lnTo>
                    <a:pt x="361" y="282"/>
                  </a:lnTo>
                  <a:lnTo>
                    <a:pt x="357" y="282"/>
                  </a:lnTo>
                  <a:lnTo>
                    <a:pt x="354" y="283"/>
                  </a:lnTo>
                  <a:lnTo>
                    <a:pt x="353" y="286"/>
                  </a:lnTo>
                  <a:lnTo>
                    <a:pt x="350" y="288"/>
                  </a:lnTo>
                  <a:lnTo>
                    <a:pt x="348" y="288"/>
                  </a:lnTo>
                  <a:lnTo>
                    <a:pt x="342" y="287"/>
                  </a:lnTo>
                  <a:lnTo>
                    <a:pt x="335" y="286"/>
                  </a:lnTo>
                  <a:lnTo>
                    <a:pt x="329" y="285"/>
                  </a:lnTo>
                  <a:lnTo>
                    <a:pt x="325" y="286"/>
                  </a:lnTo>
                  <a:lnTo>
                    <a:pt x="322" y="288"/>
                  </a:lnTo>
                  <a:lnTo>
                    <a:pt x="321" y="289"/>
                  </a:lnTo>
                  <a:lnTo>
                    <a:pt x="321" y="290"/>
                  </a:lnTo>
                  <a:lnTo>
                    <a:pt x="324" y="294"/>
                  </a:lnTo>
                  <a:lnTo>
                    <a:pt x="328" y="296"/>
                  </a:lnTo>
                  <a:lnTo>
                    <a:pt x="330" y="300"/>
                  </a:lnTo>
                  <a:lnTo>
                    <a:pt x="329" y="303"/>
                  </a:lnTo>
                  <a:lnTo>
                    <a:pt x="326" y="307"/>
                  </a:lnTo>
                  <a:lnTo>
                    <a:pt x="324" y="312"/>
                  </a:lnTo>
                  <a:lnTo>
                    <a:pt x="322" y="313"/>
                  </a:lnTo>
                  <a:lnTo>
                    <a:pt x="319" y="313"/>
                  </a:lnTo>
                  <a:lnTo>
                    <a:pt x="320" y="313"/>
                  </a:lnTo>
                  <a:lnTo>
                    <a:pt x="311" y="314"/>
                  </a:lnTo>
                  <a:lnTo>
                    <a:pt x="307" y="315"/>
                  </a:lnTo>
                  <a:lnTo>
                    <a:pt x="303" y="317"/>
                  </a:lnTo>
                  <a:lnTo>
                    <a:pt x="300" y="320"/>
                  </a:lnTo>
                  <a:lnTo>
                    <a:pt x="297" y="322"/>
                  </a:lnTo>
                  <a:lnTo>
                    <a:pt x="281" y="330"/>
                  </a:lnTo>
                  <a:lnTo>
                    <a:pt x="264" y="338"/>
                  </a:lnTo>
                  <a:lnTo>
                    <a:pt x="260" y="338"/>
                  </a:lnTo>
                  <a:lnTo>
                    <a:pt x="259" y="338"/>
                  </a:lnTo>
                  <a:lnTo>
                    <a:pt x="258" y="336"/>
                  </a:lnTo>
                  <a:lnTo>
                    <a:pt x="259" y="331"/>
                  </a:lnTo>
                  <a:lnTo>
                    <a:pt x="262" y="327"/>
                  </a:lnTo>
                  <a:lnTo>
                    <a:pt x="265" y="324"/>
                  </a:lnTo>
                  <a:lnTo>
                    <a:pt x="268" y="319"/>
                  </a:lnTo>
                  <a:lnTo>
                    <a:pt x="268" y="318"/>
                  </a:lnTo>
                  <a:lnTo>
                    <a:pt x="268" y="317"/>
                  </a:lnTo>
                  <a:lnTo>
                    <a:pt x="265" y="312"/>
                  </a:lnTo>
                  <a:lnTo>
                    <a:pt x="267" y="308"/>
                  </a:lnTo>
                  <a:lnTo>
                    <a:pt x="268" y="303"/>
                  </a:lnTo>
                  <a:lnTo>
                    <a:pt x="270" y="300"/>
                  </a:lnTo>
                  <a:lnTo>
                    <a:pt x="278" y="293"/>
                  </a:lnTo>
                  <a:lnTo>
                    <a:pt x="286" y="287"/>
                  </a:lnTo>
                  <a:lnTo>
                    <a:pt x="288" y="286"/>
                  </a:lnTo>
                  <a:lnTo>
                    <a:pt x="292" y="285"/>
                  </a:lnTo>
                  <a:lnTo>
                    <a:pt x="296" y="285"/>
                  </a:lnTo>
                  <a:lnTo>
                    <a:pt x="300" y="282"/>
                  </a:lnTo>
                  <a:lnTo>
                    <a:pt x="301" y="281"/>
                  </a:lnTo>
                  <a:lnTo>
                    <a:pt x="301" y="280"/>
                  </a:lnTo>
                  <a:lnTo>
                    <a:pt x="298" y="277"/>
                  </a:lnTo>
                  <a:lnTo>
                    <a:pt x="295" y="275"/>
                  </a:lnTo>
                  <a:lnTo>
                    <a:pt x="292" y="275"/>
                  </a:lnTo>
                  <a:lnTo>
                    <a:pt x="288" y="275"/>
                  </a:lnTo>
                  <a:lnTo>
                    <a:pt x="284" y="277"/>
                  </a:lnTo>
                  <a:lnTo>
                    <a:pt x="277" y="281"/>
                  </a:lnTo>
                  <a:lnTo>
                    <a:pt x="267" y="286"/>
                  </a:lnTo>
                  <a:lnTo>
                    <a:pt x="262" y="288"/>
                  </a:lnTo>
                  <a:lnTo>
                    <a:pt x="258" y="292"/>
                  </a:lnTo>
                  <a:lnTo>
                    <a:pt x="255" y="295"/>
                  </a:lnTo>
                  <a:lnTo>
                    <a:pt x="254" y="300"/>
                  </a:lnTo>
                  <a:lnTo>
                    <a:pt x="251" y="309"/>
                  </a:lnTo>
                  <a:lnTo>
                    <a:pt x="249" y="314"/>
                  </a:lnTo>
                  <a:lnTo>
                    <a:pt x="246" y="317"/>
                  </a:lnTo>
                  <a:lnTo>
                    <a:pt x="241" y="319"/>
                  </a:lnTo>
                  <a:lnTo>
                    <a:pt x="234" y="320"/>
                  </a:lnTo>
                  <a:lnTo>
                    <a:pt x="232" y="321"/>
                  </a:lnTo>
                  <a:lnTo>
                    <a:pt x="231" y="322"/>
                  </a:lnTo>
                  <a:lnTo>
                    <a:pt x="230" y="326"/>
                  </a:lnTo>
                  <a:lnTo>
                    <a:pt x="228" y="331"/>
                  </a:lnTo>
                  <a:lnTo>
                    <a:pt x="230" y="334"/>
                  </a:lnTo>
                  <a:lnTo>
                    <a:pt x="232" y="337"/>
                  </a:lnTo>
                  <a:lnTo>
                    <a:pt x="237" y="339"/>
                  </a:lnTo>
                  <a:lnTo>
                    <a:pt x="240" y="341"/>
                  </a:lnTo>
                  <a:lnTo>
                    <a:pt x="240" y="344"/>
                  </a:lnTo>
                  <a:lnTo>
                    <a:pt x="239" y="346"/>
                  </a:lnTo>
                  <a:lnTo>
                    <a:pt x="234" y="350"/>
                  </a:lnTo>
                  <a:lnTo>
                    <a:pt x="217" y="362"/>
                  </a:lnTo>
                  <a:lnTo>
                    <a:pt x="201" y="373"/>
                  </a:lnTo>
                  <a:lnTo>
                    <a:pt x="189" y="379"/>
                  </a:lnTo>
                  <a:lnTo>
                    <a:pt x="184" y="383"/>
                  </a:lnTo>
                  <a:lnTo>
                    <a:pt x="179" y="388"/>
                  </a:lnTo>
                  <a:lnTo>
                    <a:pt x="175" y="390"/>
                  </a:lnTo>
                  <a:lnTo>
                    <a:pt x="173" y="391"/>
                  </a:lnTo>
                  <a:lnTo>
                    <a:pt x="165" y="392"/>
                  </a:lnTo>
                  <a:lnTo>
                    <a:pt x="162" y="394"/>
                  </a:lnTo>
                  <a:lnTo>
                    <a:pt x="161" y="396"/>
                  </a:lnTo>
                  <a:lnTo>
                    <a:pt x="159" y="401"/>
                  </a:lnTo>
                  <a:lnTo>
                    <a:pt x="154" y="404"/>
                  </a:lnTo>
                  <a:lnTo>
                    <a:pt x="146" y="411"/>
                  </a:lnTo>
                  <a:lnTo>
                    <a:pt x="141" y="417"/>
                  </a:lnTo>
                  <a:lnTo>
                    <a:pt x="140" y="421"/>
                  </a:lnTo>
                  <a:lnTo>
                    <a:pt x="136" y="423"/>
                  </a:lnTo>
                  <a:lnTo>
                    <a:pt x="133" y="423"/>
                  </a:lnTo>
                  <a:lnTo>
                    <a:pt x="131" y="423"/>
                  </a:lnTo>
                  <a:lnTo>
                    <a:pt x="126" y="422"/>
                  </a:lnTo>
                  <a:lnTo>
                    <a:pt x="122" y="423"/>
                  </a:lnTo>
                  <a:lnTo>
                    <a:pt x="119" y="426"/>
                  </a:lnTo>
                  <a:lnTo>
                    <a:pt x="114" y="429"/>
                  </a:lnTo>
                  <a:lnTo>
                    <a:pt x="112" y="430"/>
                  </a:lnTo>
                  <a:lnTo>
                    <a:pt x="108" y="430"/>
                  </a:lnTo>
                  <a:lnTo>
                    <a:pt x="102" y="430"/>
                  </a:lnTo>
                  <a:lnTo>
                    <a:pt x="100" y="430"/>
                  </a:lnTo>
                  <a:lnTo>
                    <a:pt x="99" y="432"/>
                  </a:lnTo>
                  <a:lnTo>
                    <a:pt x="96" y="434"/>
                  </a:lnTo>
                  <a:lnTo>
                    <a:pt x="94" y="437"/>
                  </a:lnTo>
                  <a:lnTo>
                    <a:pt x="90" y="439"/>
                  </a:lnTo>
                  <a:lnTo>
                    <a:pt x="75" y="442"/>
                  </a:lnTo>
                  <a:lnTo>
                    <a:pt x="68" y="445"/>
                  </a:lnTo>
                  <a:lnTo>
                    <a:pt x="61" y="449"/>
                  </a:lnTo>
                  <a:lnTo>
                    <a:pt x="52" y="456"/>
                  </a:lnTo>
                  <a:lnTo>
                    <a:pt x="47" y="458"/>
                  </a:lnTo>
                  <a:lnTo>
                    <a:pt x="46" y="459"/>
                  </a:lnTo>
                  <a:lnTo>
                    <a:pt x="44" y="458"/>
                  </a:lnTo>
                  <a:lnTo>
                    <a:pt x="43" y="454"/>
                  </a:lnTo>
                  <a:lnTo>
                    <a:pt x="44" y="451"/>
                  </a:lnTo>
                  <a:lnTo>
                    <a:pt x="46" y="447"/>
                  </a:lnTo>
                  <a:lnTo>
                    <a:pt x="48" y="443"/>
                  </a:lnTo>
                  <a:lnTo>
                    <a:pt x="57" y="439"/>
                  </a:lnTo>
                  <a:lnTo>
                    <a:pt x="66" y="435"/>
                  </a:lnTo>
                  <a:lnTo>
                    <a:pt x="71" y="434"/>
                  </a:lnTo>
                  <a:lnTo>
                    <a:pt x="74" y="434"/>
                  </a:lnTo>
                  <a:lnTo>
                    <a:pt x="75" y="432"/>
                  </a:lnTo>
                  <a:lnTo>
                    <a:pt x="81" y="424"/>
                  </a:lnTo>
                  <a:lnTo>
                    <a:pt x="85" y="421"/>
                  </a:lnTo>
                  <a:lnTo>
                    <a:pt x="88" y="418"/>
                  </a:lnTo>
                  <a:lnTo>
                    <a:pt x="95" y="416"/>
                  </a:lnTo>
                  <a:lnTo>
                    <a:pt x="103" y="414"/>
                  </a:lnTo>
                  <a:lnTo>
                    <a:pt x="109" y="411"/>
                  </a:lnTo>
                  <a:lnTo>
                    <a:pt x="115" y="407"/>
                  </a:lnTo>
                  <a:lnTo>
                    <a:pt x="127" y="398"/>
                  </a:lnTo>
                  <a:lnTo>
                    <a:pt x="132" y="396"/>
                  </a:lnTo>
                  <a:lnTo>
                    <a:pt x="135" y="396"/>
                  </a:lnTo>
                  <a:lnTo>
                    <a:pt x="137" y="395"/>
                  </a:lnTo>
                  <a:lnTo>
                    <a:pt x="140" y="394"/>
                  </a:lnTo>
                  <a:lnTo>
                    <a:pt x="141" y="394"/>
                  </a:lnTo>
                  <a:lnTo>
                    <a:pt x="142" y="392"/>
                  </a:lnTo>
                  <a:lnTo>
                    <a:pt x="145" y="389"/>
                  </a:lnTo>
                  <a:lnTo>
                    <a:pt x="145" y="386"/>
                  </a:lnTo>
                  <a:lnTo>
                    <a:pt x="146" y="385"/>
                  </a:lnTo>
                  <a:lnTo>
                    <a:pt x="150" y="383"/>
                  </a:lnTo>
                  <a:lnTo>
                    <a:pt x="152" y="381"/>
                  </a:lnTo>
                  <a:lnTo>
                    <a:pt x="155" y="377"/>
                  </a:lnTo>
                  <a:lnTo>
                    <a:pt x="155" y="372"/>
                  </a:lnTo>
                  <a:lnTo>
                    <a:pt x="156" y="369"/>
                  </a:lnTo>
                  <a:lnTo>
                    <a:pt x="160" y="360"/>
                  </a:lnTo>
                  <a:lnTo>
                    <a:pt x="166" y="354"/>
                  </a:lnTo>
                  <a:lnTo>
                    <a:pt x="174" y="349"/>
                  </a:lnTo>
                  <a:lnTo>
                    <a:pt x="176" y="346"/>
                  </a:lnTo>
                  <a:lnTo>
                    <a:pt x="178" y="343"/>
                  </a:lnTo>
                  <a:lnTo>
                    <a:pt x="178" y="339"/>
                  </a:lnTo>
                  <a:lnTo>
                    <a:pt x="176" y="338"/>
                  </a:lnTo>
                  <a:lnTo>
                    <a:pt x="175" y="337"/>
                  </a:lnTo>
                  <a:lnTo>
                    <a:pt x="173" y="337"/>
                  </a:lnTo>
                  <a:lnTo>
                    <a:pt x="170" y="338"/>
                  </a:lnTo>
                  <a:lnTo>
                    <a:pt x="165" y="341"/>
                  </a:lnTo>
                  <a:lnTo>
                    <a:pt x="161" y="343"/>
                  </a:lnTo>
                  <a:lnTo>
                    <a:pt x="157" y="341"/>
                  </a:lnTo>
                  <a:lnTo>
                    <a:pt x="154" y="340"/>
                  </a:lnTo>
                  <a:lnTo>
                    <a:pt x="150" y="339"/>
                  </a:lnTo>
                  <a:lnTo>
                    <a:pt x="147" y="339"/>
                  </a:lnTo>
                  <a:lnTo>
                    <a:pt x="146" y="340"/>
                  </a:lnTo>
                  <a:lnTo>
                    <a:pt x="143" y="343"/>
                  </a:lnTo>
                  <a:lnTo>
                    <a:pt x="141" y="346"/>
                  </a:lnTo>
                  <a:lnTo>
                    <a:pt x="140" y="346"/>
                  </a:lnTo>
                  <a:lnTo>
                    <a:pt x="137" y="346"/>
                  </a:lnTo>
                  <a:lnTo>
                    <a:pt x="135" y="345"/>
                  </a:lnTo>
                  <a:lnTo>
                    <a:pt x="133" y="344"/>
                  </a:lnTo>
                  <a:lnTo>
                    <a:pt x="128" y="338"/>
                  </a:lnTo>
                  <a:lnTo>
                    <a:pt x="126" y="336"/>
                  </a:lnTo>
                  <a:lnTo>
                    <a:pt x="123" y="334"/>
                  </a:lnTo>
                  <a:lnTo>
                    <a:pt x="121" y="334"/>
                  </a:lnTo>
                  <a:lnTo>
                    <a:pt x="118" y="336"/>
                  </a:lnTo>
                  <a:lnTo>
                    <a:pt x="117" y="337"/>
                  </a:lnTo>
                  <a:lnTo>
                    <a:pt x="115" y="338"/>
                  </a:lnTo>
                  <a:lnTo>
                    <a:pt x="115" y="343"/>
                  </a:lnTo>
                  <a:lnTo>
                    <a:pt x="115" y="346"/>
                  </a:lnTo>
                  <a:lnTo>
                    <a:pt x="114" y="347"/>
                  </a:lnTo>
                  <a:lnTo>
                    <a:pt x="113" y="349"/>
                  </a:lnTo>
                  <a:lnTo>
                    <a:pt x="107" y="350"/>
                  </a:lnTo>
                  <a:lnTo>
                    <a:pt x="100" y="349"/>
                  </a:lnTo>
                  <a:lnTo>
                    <a:pt x="95" y="346"/>
                  </a:lnTo>
                  <a:lnTo>
                    <a:pt x="93" y="345"/>
                  </a:lnTo>
                  <a:lnTo>
                    <a:pt x="91" y="343"/>
                  </a:lnTo>
                  <a:lnTo>
                    <a:pt x="91" y="340"/>
                  </a:lnTo>
                  <a:lnTo>
                    <a:pt x="93" y="337"/>
                  </a:lnTo>
                  <a:lnTo>
                    <a:pt x="94" y="333"/>
                  </a:lnTo>
                  <a:lnTo>
                    <a:pt x="94" y="328"/>
                  </a:lnTo>
                  <a:lnTo>
                    <a:pt x="93" y="326"/>
                  </a:lnTo>
                  <a:lnTo>
                    <a:pt x="91" y="322"/>
                  </a:lnTo>
                  <a:lnTo>
                    <a:pt x="90" y="319"/>
                  </a:lnTo>
                  <a:lnTo>
                    <a:pt x="88" y="313"/>
                  </a:lnTo>
                  <a:lnTo>
                    <a:pt x="85" y="307"/>
                  </a:lnTo>
                  <a:lnTo>
                    <a:pt x="84" y="301"/>
                  </a:lnTo>
                  <a:lnTo>
                    <a:pt x="84" y="295"/>
                  </a:lnTo>
                  <a:lnTo>
                    <a:pt x="81" y="298"/>
                  </a:lnTo>
                  <a:lnTo>
                    <a:pt x="80" y="301"/>
                  </a:lnTo>
                  <a:lnTo>
                    <a:pt x="76" y="307"/>
                  </a:lnTo>
                  <a:lnTo>
                    <a:pt x="74" y="314"/>
                  </a:lnTo>
                  <a:lnTo>
                    <a:pt x="71" y="317"/>
                  </a:lnTo>
                  <a:lnTo>
                    <a:pt x="68" y="319"/>
                  </a:lnTo>
                  <a:lnTo>
                    <a:pt x="65" y="320"/>
                  </a:lnTo>
                  <a:lnTo>
                    <a:pt x="60" y="319"/>
                  </a:lnTo>
                  <a:lnTo>
                    <a:pt x="55" y="318"/>
                  </a:lnTo>
                  <a:lnTo>
                    <a:pt x="52" y="317"/>
                  </a:lnTo>
                  <a:lnTo>
                    <a:pt x="51" y="314"/>
                  </a:lnTo>
                  <a:lnTo>
                    <a:pt x="51" y="312"/>
                  </a:lnTo>
                  <a:lnTo>
                    <a:pt x="51" y="309"/>
                  </a:lnTo>
                  <a:lnTo>
                    <a:pt x="53" y="305"/>
                  </a:lnTo>
                  <a:lnTo>
                    <a:pt x="57" y="301"/>
                  </a:lnTo>
                  <a:lnTo>
                    <a:pt x="61" y="298"/>
                  </a:lnTo>
                  <a:lnTo>
                    <a:pt x="62" y="295"/>
                  </a:lnTo>
                  <a:lnTo>
                    <a:pt x="62" y="294"/>
                  </a:lnTo>
                  <a:lnTo>
                    <a:pt x="61" y="294"/>
                  </a:lnTo>
                  <a:lnTo>
                    <a:pt x="56" y="294"/>
                  </a:lnTo>
                  <a:lnTo>
                    <a:pt x="52" y="295"/>
                  </a:lnTo>
                  <a:lnTo>
                    <a:pt x="48" y="296"/>
                  </a:lnTo>
                  <a:lnTo>
                    <a:pt x="43" y="299"/>
                  </a:lnTo>
                  <a:lnTo>
                    <a:pt x="42" y="299"/>
                  </a:lnTo>
                  <a:lnTo>
                    <a:pt x="39" y="298"/>
                  </a:lnTo>
                  <a:lnTo>
                    <a:pt x="38" y="295"/>
                  </a:lnTo>
                  <a:lnTo>
                    <a:pt x="38" y="294"/>
                  </a:lnTo>
                  <a:lnTo>
                    <a:pt x="39" y="289"/>
                  </a:lnTo>
                  <a:lnTo>
                    <a:pt x="42" y="285"/>
                  </a:lnTo>
                  <a:lnTo>
                    <a:pt x="43" y="282"/>
                  </a:lnTo>
                  <a:lnTo>
                    <a:pt x="46" y="280"/>
                  </a:lnTo>
                  <a:lnTo>
                    <a:pt x="44" y="279"/>
                  </a:lnTo>
                  <a:lnTo>
                    <a:pt x="43" y="277"/>
                  </a:lnTo>
                  <a:lnTo>
                    <a:pt x="37" y="277"/>
                  </a:lnTo>
                  <a:lnTo>
                    <a:pt x="29" y="277"/>
                  </a:lnTo>
                  <a:lnTo>
                    <a:pt x="23" y="277"/>
                  </a:lnTo>
                  <a:lnTo>
                    <a:pt x="22" y="277"/>
                  </a:lnTo>
                  <a:lnTo>
                    <a:pt x="20" y="276"/>
                  </a:lnTo>
                  <a:lnTo>
                    <a:pt x="19" y="275"/>
                  </a:lnTo>
                  <a:lnTo>
                    <a:pt x="19" y="274"/>
                  </a:lnTo>
                  <a:lnTo>
                    <a:pt x="19" y="271"/>
                  </a:lnTo>
                  <a:lnTo>
                    <a:pt x="19" y="270"/>
                  </a:lnTo>
                  <a:lnTo>
                    <a:pt x="14" y="269"/>
                  </a:lnTo>
                  <a:lnTo>
                    <a:pt x="13" y="269"/>
                  </a:lnTo>
                  <a:lnTo>
                    <a:pt x="11" y="268"/>
                  </a:lnTo>
                  <a:lnTo>
                    <a:pt x="11" y="263"/>
                  </a:lnTo>
                  <a:lnTo>
                    <a:pt x="14" y="260"/>
                  </a:lnTo>
                  <a:lnTo>
                    <a:pt x="18" y="256"/>
                  </a:lnTo>
                  <a:lnTo>
                    <a:pt x="23" y="253"/>
                  </a:lnTo>
                  <a:lnTo>
                    <a:pt x="33" y="247"/>
                  </a:lnTo>
                  <a:lnTo>
                    <a:pt x="37" y="243"/>
                  </a:lnTo>
                  <a:lnTo>
                    <a:pt x="41" y="239"/>
                  </a:lnTo>
                  <a:lnTo>
                    <a:pt x="42" y="237"/>
                  </a:lnTo>
                  <a:lnTo>
                    <a:pt x="42" y="232"/>
                  </a:lnTo>
                  <a:lnTo>
                    <a:pt x="42" y="229"/>
                  </a:lnTo>
                  <a:lnTo>
                    <a:pt x="43" y="228"/>
                  </a:lnTo>
                  <a:lnTo>
                    <a:pt x="46" y="226"/>
                  </a:lnTo>
                  <a:lnTo>
                    <a:pt x="49" y="226"/>
                  </a:lnTo>
                  <a:lnTo>
                    <a:pt x="52" y="226"/>
                  </a:lnTo>
                  <a:lnTo>
                    <a:pt x="58" y="229"/>
                  </a:lnTo>
                  <a:lnTo>
                    <a:pt x="70" y="230"/>
                  </a:lnTo>
                  <a:lnTo>
                    <a:pt x="75" y="230"/>
                  </a:lnTo>
                  <a:lnTo>
                    <a:pt x="80" y="228"/>
                  </a:lnTo>
                  <a:lnTo>
                    <a:pt x="81" y="224"/>
                  </a:lnTo>
                  <a:lnTo>
                    <a:pt x="82" y="223"/>
                  </a:lnTo>
                  <a:lnTo>
                    <a:pt x="84" y="222"/>
                  </a:lnTo>
                  <a:lnTo>
                    <a:pt x="86" y="221"/>
                  </a:lnTo>
                  <a:lnTo>
                    <a:pt x="89" y="222"/>
                  </a:lnTo>
                  <a:lnTo>
                    <a:pt x="93" y="222"/>
                  </a:lnTo>
                  <a:lnTo>
                    <a:pt x="95" y="222"/>
                  </a:lnTo>
                  <a:lnTo>
                    <a:pt x="98" y="219"/>
                  </a:lnTo>
                  <a:lnTo>
                    <a:pt x="98" y="218"/>
                  </a:lnTo>
                  <a:lnTo>
                    <a:pt x="99" y="216"/>
                  </a:lnTo>
                  <a:lnTo>
                    <a:pt x="100" y="215"/>
                  </a:lnTo>
                  <a:lnTo>
                    <a:pt x="108" y="212"/>
                  </a:lnTo>
                  <a:lnTo>
                    <a:pt x="110" y="209"/>
                  </a:lnTo>
                  <a:lnTo>
                    <a:pt x="110" y="205"/>
                  </a:lnTo>
                  <a:lnTo>
                    <a:pt x="109" y="202"/>
                  </a:lnTo>
                  <a:lnTo>
                    <a:pt x="107" y="198"/>
                  </a:lnTo>
                  <a:lnTo>
                    <a:pt x="104" y="196"/>
                  </a:lnTo>
                  <a:lnTo>
                    <a:pt x="102" y="193"/>
                  </a:lnTo>
                  <a:lnTo>
                    <a:pt x="102" y="191"/>
                  </a:lnTo>
                  <a:lnTo>
                    <a:pt x="102" y="188"/>
                  </a:lnTo>
                  <a:lnTo>
                    <a:pt x="105" y="186"/>
                  </a:lnTo>
                  <a:lnTo>
                    <a:pt x="109" y="184"/>
                  </a:lnTo>
                  <a:lnTo>
                    <a:pt x="113" y="181"/>
                  </a:lnTo>
                  <a:lnTo>
                    <a:pt x="113" y="179"/>
                  </a:lnTo>
                  <a:lnTo>
                    <a:pt x="113" y="177"/>
                  </a:lnTo>
                  <a:lnTo>
                    <a:pt x="113" y="175"/>
                  </a:lnTo>
                  <a:lnTo>
                    <a:pt x="110" y="175"/>
                  </a:lnTo>
                  <a:lnTo>
                    <a:pt x="104" y="180"/>
                  </a:lnTo>
                  <a:lnTo>
                    <a:pt x="98" y="184"/>
                  </a:lnTo>
                  <a:lnTo>
                    <a:pt x="84" y="188"/>
                  </a:lnTo>
                  <a:lnTo>
                    <a:pt x="80" y="191"/>
                  </a:lnTo>
                  <a:lnTo>
                    <a:pt x="76" y="193"/>
                  </a:lnTo>
                  <a:lnTo>
                    <a:pt x="75" y="193"/>
                  </a:lnTo>
                  <a:lnTo>
                    <a:pt x="72" y="193"/>
                  </a:lnTo>
                  <a:lnTo>
                    <a:pt x="68" y="192"/>
                  </a:lnTo>
                  <a:lnTo>
                    <a:pt x="65" y="191"/>
                  </a:lnTo>
                  <a:lnTo>
                    <a:pt x="56" y="192"/>
                  </a:lnTo>
                  <a:lnTo>
                    <a:pt x="43" y="192"/>
                  </a:lnTo>
                  <a:lnTo>
                    <a:pt x="32" y="191"/>
                  </a:lnTo>
                  <a:lnTo>
                    <a:pt x="25" y="188"/>
                  </a:lnTo>
                  <a:lnTo>
                    <a:pt x="20" y="186"/>
                  </a:lnTo>
                  <a:lnTo>
                    <a:pt x="15" y="183"/>
                  </a:lnTo>
                  <a:lnTo>
                    <a:pt x="10" y="178"/>
                  </a:lnTo>
                  <a:lnTo>
                    <a:pt x="10" y="175"/>
                  </a:lnTo>
                  <a:lnTo>
                    <a:pt x="10" y="173"/>
                  </a:lnTo>
                  <a:lnTo>
                    <a:pt x="14" y="168"/>
                  </a:lnTo>
                  <a:lnTo>
                    <a:pt x="14" y="166"/>
                  </a:lnTo>
                  <a:lnTo>
                    <a:pt x="13" y="165"/>
                  </a:lnTo>
                  <a:lnTo>
                    <a:pt x="8" y="161"/>
                  </a:lnTo>
                  <a:lnTo>
                    <a:pt x="2" y="159"/>
                  </a:lnTo>
                  <a:lnTo>
                    <a:pt x="0" y="158"/>
                  </a:lnTo>
                  <a:lnTo>
                    <a:pt x="0" y="156"/>
                  </a:lnTo>
                  <a:lnTo>
                    <a:pt x="1" y="153"/>
                  </a:lnTo>
                  <a:lnTo>
                    <a:pt x="4" y="151"/>
                  </a:lnTo>
                  <a:lnTo>
                    <a:pt x="11" y="147"/>
                  </a:lnTo>
                  <a:lnTo>
                    <a:pt x="18" y="143"/>
                  </a:lnTo>
                  <a:lnTo>
                    <a:pt x="24" y="141"/>
                  </a:lnTo>
                  <a:lnTo>
                    <a:pt x="30" y="140"/>
                  </a:lnTo>
                  <a:lnTo>
                    <a:pt x="34" y="139"/>
                  </a:lnTo>
                  <a:lnTo>
                    <a:pt x="42" y="135"/>
                  </a:lnTo>
                  <a:lnTo>
                    <a:pt x="46" y="134"/>
                  </a:lnTo>
                  <a:lnTo>
                    <a:pt x="49" y="133"/>
                  </a:lnTo>
                  <a:lnTo>
                    <a:pt x="52" y="134"/>
                  </a:lnTo>
                  <a:lnTo>
                    <a:pt x="53" y="136"/>
                  </a:lnTo>
                  <a:lnTo>
                    <a:pt x="55" y="142"/>
                  </a:lnTo>
                  <a:lnTo>
                    <a:pt x="55" y="143"/>
                  </a:lnTo>
                  <a:lnTo>
                    <a:pt x="56" y="145"/>
                  </a:lnTo>
                  <a:lnTo>
                    <a:pt x="60" y="145"/>
                  </a:lnTo>
                  <a:lnTo>
                    <a:pt x="63" y="142"/>
                  </a:lnTo>
                  <a:lnTo>
                    <a:pt x="66" y="141"/>
                  </a:lnTo>
                  <a:lnTo>
                    <a:pt x="68" y="141"/>
                  </a:lnTo>
                  <a:lnTo>
                    <a:pt x="71" y="143"/>
                  </a:lnTo>
                  <a:lnTo>
                    <a:pt x="74" y="145"/>
                  </a:lnTo>
                  <a:lnTo>
                    <a:pt x="75" y="145"/>
                  </a:lnTo>
                  <a:lnTo>
                    <a:pt x="79" y="143"/>
                  </a:lnTo>
                  <a:lnTo>
                    <a:pt x="82" y="145"/>
                  </a:lnTo>
                  <a:lnTo>
                    <a:pt x="89" y="146"/>
                  </a:lnTo>
                  <a:lnTo>
                    <a:pt x="95" y="149"/>
                  </a:lnTo>
                  <a:lnTo>
                    <a:pt x="103" y="151"/>
                  </a:lnTo>
                  <a:lnTo>
                    <a:pt x="104" y="149"/>
                  </a:lnTo>
                  <a:lnTo>
                    <a:pt x="105" y="149"/>
                  </a:lnTo>
                  <a:lnTo>
                    <a:pt x="105" y="145"/>
                  </a:lnTo>
                  <a:lnTo>
                    <a:pt x="104" y="142"/>
                  </a:lnTo>
                  <a:lnTo>
                    <a:pt x="102" y="139"/>
                  </a:lnTo>
                  <a:lnTo>
                    <a:pt x="98" y="138"/>
                  </a:lnTo>
                  <a:lnTo>
                    <a:pt x="91" y="135"/>
                  </a:lnTo>
                  <a:lnTo>
                    <a:pt x="89" y="134"/>
                  </a:lnTo>
                  <a:lnTo>
                    <a:pt x="88" y="132"/>
                  </a:lnTo>
                  <a:lnTo>
                    <a:pt x="86" y="129"/>
                  </a:lnTo>
                  <a:lnTo>
                    <a:pt x="88" y="128"/>
                  </a:lnTo>
                  <a:lnTo>
                    <a:pt x="93" y="124"/>
                  </a:lnTo>
                  <a:lnTo>
                    <a:pt x="93" y="123"/>
                  </a:lnTo>
                  <a:lnTo>
                    <a:pt x="93" y="122"/>
                  </a:lnTo>
                  <a:lnTo>
                    <a:pt x="91" y="121"/>
                  </a:lnTo>
                  <a:lnTo>
                    <a:pt x="90" y="121"/>
                  </a:lnTo>
                  <a:lnTo>
                    <a:pt x="84" y="123"/>
                  </a:lnTo>
                  <a:lnTo>
                    <a:pt x="77" y="124"/>
                  </a:lnTo>
                  <a:lnTo>
                    <a:pt x="75" y="126"/>
                  </a:lnTo>
                  <a:lnTo>
                    <a:pt x="72" y="124"/>
                  </a:lnTo>
                  <a:lnTo>
                    <a:pt x="70" y="123"/>
                  </a:lnTo>
                  <a:lnTo>
                    <a:pt x="67" y="121"/>
                  </a:lnTo>
                  <a:lnTo>
                    <a:pt x="60" y="109"/>
                  </a:lnTo>
                  <a:lnTo>
                    <a:pt x="55" y="104"/>
                  </a:lnTo>
                  <a:lnTo>
                    <a:pt x="49" y="101"/>
                  </a:lnTo>
                  <a:lnTo>
                    <a:pt x="41" y="97"/>
                  </a:lnTo>
                  <a:lnTo>
                    <a:pt x="32" y="95"/>
                  </a:lnTo>
                  <a:lnTo>
                    <a:pt x="23" y="90"/>
                  </a:lnTo>
                  <a:lnTo>
                    <a:pt x="19" y="88"/>
                  </a:lnTo>
                  <a:lnTo>
                    <a:pt x="16" y="84"/>
                  </a:lnTo>
                  <a:lnTo>
                    <a:pt x="15" y="79"/>
                  </a:lnTo>
                  <a:lnTo>
                    <a:pt x="15" y="73"/>
                  </a:lnTo>
                  <a:lnTo>
                    <a:pt x="18" y="69"/>
                  </a:lnTo>
                  <a:lnTo>
                    <a:pt x="19" y="68"/>
                  </a:lnTo>
                  <a:lnTo>
                    <a:pt x="20" y="66"/>
                  </a:lnTo>
                  <a:lnTo>
                    <a:pt x="33" y="68"/>
                  </a:lnTo>
                  <a:lnTo>
                    <a:pt x="44" y="68"/>
                  </a:lnTo>
                  <a:lnTo>
                    <a:pt x="51" y="68"/>
                  </a:lnTo>
                  <a:lnTo>
                    <a:pt x="56" y="66"/>
                  </a:lnTo>
                  <a:lnTo>
                    <a:pt x="61" y="64"/>
                  </a:lnTo>
                  <a:lnTo>
                    <a:pt x="65" y="60"/>
                  </a:lnTo>
                  <a:lnTo>
                    <a:pt x="74" y="51"/>
                  </a:lnTo>
                  <a:lnTo>
                    <a:pt x="82" y="41"/>
                  </a:lnTo>
                  <a:lnTo>
                    <a:pt x="84" y="39"/>
                  </a:lnTo>
                  <a:lnTo>
                    <a:pt x="85" y="36"/>
                  </a:lnTo>
                  <a:lnTo>
                    <a:pt x="90" y="32"/>
                  </a:lnTo>
                  <a:lnTo>
                    <a:pt x="95" y="30"/>
                  </a:lnTo>
                  <a:lnTo>
                    <a:pt x="105" y="27"/>
                  </a:lnTo>
                  <a:lnTo>
                    <a:pt x="110" y="24"/>
                  </a:lnTo>
                  <a:lnTo>
                    <a:pt x="117" y="20"/>
                  </a:lnTo>
                  <a:lnTo>
                    <a:pt x="124" y="17"/>
                  </a:lnTo>
                  <a:lnTo>
                    <a:pt x="129" y="14"/>
                  </a:lnTo>
                  <a:lnTo>
                    <a:pt x="133" y="14"/>
                  </a:lnTo>
                  <a:lnTo>
                    <a:pt x="141" y="15"/>
                  </a:lnTo>
                  <a:lnTo>
                    <a:pt x="145" y="15"/>
                  </a:lnTo>
                  <a:lnTo>
                    <a:pt x="148" y="15"/>
                  </a:lnTo>
                  <a:lnTo>
                    <a:pt x="160" y="13"/>
                  </a:lnTo>
                  <a:lnTo>
                    <a:pt x="173" y="9"/>
                  </a:lnTo>
                  <a:lnTo>
                    <a:pt x="174" y="9"/>
                  </a:lnTo>
                  <a:lnTo>
                    <a:pt x="176" y="7"/>
                  </a:lnTo>
                  <a:lnTo>
                    <a:pt x="179" y="5"/>
                  </a:lnTo>
                  <a:lnTo>
                    <a:pt x="185" y="1"/>
                  </a:lnTo>
                  <a:lnTo>
                    <a:pt x="192" y="0"/>
                  </a:lnTo>
                  <a:lnTo>
                    <a:pt x="194" y="0"/>
                  </a:lnTo>
                  <a:lnTo>
                    <a:pt x="198" y="0"/>
                  </a:lnTo>
                  <a:lnTo>
                    <a:pt x="201" y="2"/>
                  </a:lnTo>
                  <a:lnTo>
                    <a:pt x="202" y="4"/>
                  </a:lnTo>
                  <a:lnTo>
                    <a:pt x="206" y="8"/>
                  </a:lnTo>
                  <a:lnTo>
                    <a:pt x="208" y="9"/>
                  </a:lnTo>
                  <a:lnTo>
                    <a:pt x="209" y="9"/>
                  </a:lnTo>
                  <a:lnTo>
                    <a:pt x="216" y="4"/>
                  </a:lnTo>
                  <a:lnTo>
                    <a:pt x="218" y="2"/>
                  </a:lnTo>
                  <a:lnTo>
                    <a:pt x="223" y="4"/>
                  </a:lnTo>
                  <a:lnTo>
                    <a:pt x="226" y="5"/>
                  </a:lnTo>
                  <a:lnTo>
                    <a:pt x="227" y="7"/>
                  </a:lnTo>
                  <a:lnTo>
                    <a:pt x="228" y="13"/>
                  </a:lnTo>
                  <a:lnTo>
                    <a:pt x="230" y="14"/>
                  </a:lnTo>
                  <a:lnTo>
                    <a:pt x="231" y="15"/>
                  </a:lnTo>
                  <a:lnTo>
                    <a:pt x="244" y="12"/>
                  </a:lnTo>
                  <a:lnTo>
                    <a:pt x="249" y="13"/>
                  </a:lnTo>
                  <a:lnTo>
                    <a:pt x="253" y="14"/>
                  </a:lnTo>
                  <a:lnTo>
                    <a:pt x="259" y="19"/>
                  </a:lnTo>
                  <a:lnTo>
                    <a:pt x="268" y="26"/>
                  </a:lnTo>
                  <a:lnTo>
                    <a:pt x="270" y="27"/>
                  </a:lnTo>
                  <a:lnTo>
                    <a:pt x="274" y="28"/>
                  </a:lnTo>
                  <a:lnTo>
                    <a:pt x="282" y="27"/>
                  </a:lnTo>
                  <a:lnTo>
                    <a:pt x="289" y="26"/>
                  </a:lnTo>
                  <a:lnTo>
                    <a:pt x="297" y="25"/>
                  </a:lnTo>
                  <a:lnTo>
                    <a:pt x="303" y="25"/>
                  </a:lnTo>
                  <a:lnTo>
                    <a:pt x="307" y="26"/>
                  </a:lnTo>
                  <a:lnTo>
                    <a:pt x="311" y="28"/>
                  </a:lnTo>
                  <a:lnTo>
                    <a:pt x="314" y="30"/>
                  </a:lnTo>
                  <a:lnTo>
                    <a:pt x="321" y="30"/>
                  </a:lnTo>
                  <a:lnTo>
                    <a:pt x="328" y="28"/>
                  </a:lnTo>
                  <a:lnTo>
                    <a:pt x="335" y="28"/>
                  </a:lnTo>
                  <a:lnTo>
                    <a:pt x="361" y="32"/>
                  </a:lnTo>
                  <a:lnTo>
                    <a:pt x="375" y="33"/>
                  </a:lnTo>
                  <a:lnTo>
                    <a:pt x="387" y="33"/>
                  </a:lnTo>
                  <a:lnTo>
                    <a:pt x="396" y="33"/>
                  </a:lnTo>
                  <a:lnTo>
                    <a:pt x="405" y="36"/>
                  </a:lnTo>
                  <a:lnTo>
                    <a:pt x="411" y="37"/>
                  </a:lnTo>
                  <a:lnTo>
                    <a:pt x="416" y="36"/>
                  </a:lnTo>
                  <a:lnTo>
                    <a:pt x="423" y="36"/>
                  </a:lnTo>
                  <a:lnTo>
                    <a:pt x="429" y="36"/>
                  </a:lnTo>
                  <a:lnTo>
                    <a:pt x="441" y="40"/>
                  </a:lnTo>
                  <a:lnTo>
                    <a:pt x="444" y="40"/>
                  </a:lnTo>
                  <a:lnTo>
                    <a:pt x="452" y="39"/>
                  </a:lnTo>
                  <a:lnTo>
                    <a:pt x="456" y="4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1" name="Freeform 1040"/>
            <p:cNvSpPr>
              <a:spLocks/>
            </p:cNvSpPr>
            <p:nvPr/>
          </p:nvSpPr>
          <p:spPr bwMode="auto">
            <a:xfrm>
              <a:off x="1" y="2193925"/>
              <a:ext cx="76200" cy="39688"/>
            </a:xfrm>
            <a:custGeom>
              <a:avLst/>
              <a:gdLst>
                <a:gd name="T0" fmla="*/ 2147483647 w 52"/>
                <a:gd name="T1" fmla="*/ 2147483647 h 25"/>
                <a:gd name="T2" fmla="*/ 2147483647 w 52"/>
                <a:gd name="T3" fmla="*/ 2147483647 h 25"/>
                <a:gd name="T4" fmla="*/ 2147483647 w 52"/>
                <a:gd name="T5" fmla="*/ 2147483647 h 25"/>
                <a:gd name="T6" fmla="*/ 2147483647 w 52"/>
                <a:gd name="T7" fmla="*/ 2147483647 h 25"/>
                <a:gd name="T8" fmla="*/ 2147483647 w 52"/>
                <a:gd name="T9" fmla="*/ 2147483647 h 25"/>
                <a:gd name="T10" fmla="*/ 2147483647 w 52"/>
                <a:gd name="T11" fmla="*/ 2147483647 h 25"/>
                <a:gd name="T12" fmla="*/ 2147483647 w 52"/>
                <a:gd name="T13" fmla="*/ 2147483647 h 25"/>
                <a:gd name="T14" fmla="*/ 2147483647 w 52"/>
                <a:gd name="T15" fmla="*/ 2147483647 h 25"/>
                <a:gd name="T16" fmla="*/ 2147483647 w 52"/>
                <a:gd name="T17" fmla="*/ 2147483647 h 25"/>
                <a:gd name="T18" fmla="*/ 2147483647 w 52"/>
                <a:gd name="T19" fmla="*/ 2147483647 h 25"/>
                <a:gd name="T20" fmla="*/ 2147483647 w 52"/>
                <a:gd name="T21" fmla="*/ 2147483647 h 25"/>
                <a:gd name="T22" fmla="*/ 2147483647 w 52"/>
                <a:gd name="T23" fmla="*/ 2147483647 h 25"/>
                <a:gd name="T24" fmla="*/ 2147483647 w 52"/>
                <a:gd name="T25" fmla="*/ 2147483647 h 25"/>
                <a:gd name="T26" fmla="*/ 2147483647 w 52"/>
                <a:gd name="T27" fmla="*/ 2147483647 h 25"/>
                <a:gd name="T28" fmla="*/ 2147483647 w 52"/>
                <a:gd name="T29" fmla="*/ 2147483647 h 25"/>
                <a:gd name="T30" fmla="*/ 2147483647 w 52"/>
                <a:gd name="T31" fmla="*/ 2147483647 h 25"/>
                <a:gd name="T32" fmla="*/ 2147483647 w 52"/>
                <a:gd name="T33" fmla="*/ 2147483647 h 25"/>
                <a:gd name="T34" fmla="*/ 2147483647 w 52"/>
                <a:gd name="T35" fmla="*/ 2147483647 h 25"/>
                <a:gd name="T36" fmla="*/ 2147483647 w 52"/>
                <a:gd name="T37" fmla="*/ 2147483647 h 25"/>
                <a:gd name="T38" fmla="*/ 2147483647 w 52"/>
                <a:gd name="T39" fmla="*/ 0 h 25"/>
                <a:gd name="T40" fmla="*/ 2147483647 w 52"/>
                <a:gd name="T41" fmla="*/ 0 h 25"/>
                <a:gd name="T42" fmla="*/ 2147483647 w 52"/>
                <a:gd name="T43" fmla="*/ 2147483647 h 25"/>
                <a:gd name="T44" fmla="*/ 0 w 52"/>
                <a:gd name="T45" fmla="*/ 2147483647 h 25"/>
                <a:gd name="T46" fmla="*/ 2147483647 w 52"/>
                <a:gd name="T47" fmla="*/ 2147483647 h 25"/>
                <a:gd name="T48" fmla="*/ 2147483647 w 52"/>
                <a:gd name="T49" fmla="*/ 2147483647 h 25"/>
                <a:gd name="T50" fmla="*/ 2147483647 w 52"/>
                <a:gd name="T51" fmla="*/ 2147483647 h 25"/>
                <a:gd name="T52" fmla="*/ 2147483647 w 52"/>
                <a:gd name="T53" fmla="*/ 2147483647 h 25"/>
                <a:gd name="T54" fmla="*/ 2147483647 w 52"/>
                <a:gd name="T55" fmla="*/ 2147483647 h 25"/>
                <a:gd name="T56" fmla="*/ 2147483647 w 52"/>
                <a:gd name="T57" fmla="*/ 2147483647 h 25"/>
                <a:gd name="T58" fmla="*/ 2147483647 w 52"/>
                <a:gd name="T59" fmla="*/ 2147483647 h 25"/>
                <a:gd name="T60" fmla="*/ 2147483647 w 52"/>
                <a:gd name="T61" fmla="*/ 2147483647 h 25"/>
                <a:gd name="T62" fmla="*/ 2147483647 w 52"/>
                <a:gd name="T63" fmla="*/ 2147483647 h 25"/>
                <a:gd name="T64" fmla="*/ 2147483647 w 52"/>
                <a:gd name="T65" fmla="*/ 2147483647 h 25"/>
                <a:gd name="T66" fmla="*/ 2147483647 w 52"/>
                <a:gd name="T67" fmla="*/ 2147483647 h 25"/>
                <a:gd name="T68" fmla="*/ 2147483647 w 52"/>
                <a:gd name="T69" fmla="*/ 2147483647 h 25"/>
                <a:gd name="T70" fmla="*/ 2147483647 w 52"/>
                <a:gd name="T71" fmla="*/ 2147483647 h 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25"/>
                <a:gd name="T110" fmla="*/ 52 w 52"/>
                <a:gd name="T111" fmla="*/ 25 h 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25">
                  <a:moveTo>
                    <a:pt x="47" y="23"/>
                  </a:moveTo>
                  <a:lnTo>
                    <a:pt x="47" y="23"/>
                  </a:lnTo>
                  <a:lnTo>
                    <a:pt x="51" y="19"/>
                  </a:lnTo>
                  <a:lnTo>
                    <a:pt x="52" y="17"/>
                  </a:lnTo>
                  <a:lnTo>
                    <a:pt x="51" y="16"/>
                  </a:lnTo>
                  <a:lnTo>
                    <a:pt x="44" y="12"/>
                  </a:lnTo>
                  <a:lnTo>
                    <a:pt x="41" y="11"/>
                  </a:lnTo>
                  <a:lnTo>
                    <a:pt x="38" y="7"/>
                  </a:lnTo>
                  <a:lnTo>
                    <a:pt x="36" y="5"/>
                  </a:lnTo>
                  <a:lnTo>
                    <a:pt x="32" y="4"/>
                  </a:lnTo>
                  <a:lnTo>
                    <a:pt x="28" y="3"/>
                  </a:lnTo>
                  <a:lnTo>
                    <a:pt x="24" y="4"/>
                  </a:lnTo>
                  <a:lnTo>
                    <a:pt x="15" y="4"/>
                  </a:lnTo>
                  <a:lnTo>
                    <a:pt x="11" y="4"/>
                  </a:lnTo>
                  <a:lnTo>
                    <a:pt x="8" y="3"/>
                  </a:lnTo>
                  <a:lnTo>
                    <a:pt x="5" y="3"/>
                  </a:lnTo>
                  <a:lnTo>
                    <a:pt x="3" y="0"/>
                  </a:lnTo>
                  <a:lnTo>
                    <a:pt x="1" y="4"/>
                  </a:lnTo>
                  <a:lnTo>
                    <a:pt x="0" y="9"/>
                  </a:lnTo>
                  <a:lnTo>
                    <a:pt x="1" y="12"/>
                  </a:lnTo>
                  <a:lnTo>
                    <a:pt x="3" y="12"/>
                  </a:lnTo>
                  <a:lnTo>
                    <a:pt x="4" y="13"/>
                  </a:lnTo>
                  <a:lnTo>
                    <a:pt x="13" y="15"/>
                  </a:lnTo>
                  <a:lnTo>
                    <a:pt x="20" y="17"/>
                  </a:lnTo>
                  <a:lnTo>
                    <a:pt x="28" y="21"/>
                  </a:lnTo>
                  <a:lnTo>
                    <a:pt x="36" y="24"/>
                  </a:lnTo>
                  <a:lnTo>
                    <a:pt x="38" y="25"/>
                  </a:lnTo>
                  <a:lnTo>
                    <a:pt x="41" y="25"/>
                  </a:lnTo>
                  <a:lnTo>
                    <a:pt x="47" y="2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2" name="Freeform 1041"/>
            <p:cNvSpPr>
              <a:spLocks/>
            </p:cNvSpPr>
            <p:nvPr/>
          </p:nvSpPr>
          <p:spPr bwMode="auto">
            <a:xfrm>
              <a:off x="2249488" y="4110042"/>
              <a:ext cx="144462" cy="71437"/>
            </a:xfrm>
            <a:custGeom>
              <a:avLst/>
              <a:gdLst>
                <a:gd name="T0" fmla="*/ 2147483647 w 99"/>
                <a:gd name="T1" fmla="*/ 2147483647 h 45"/>
                <a:gd name="T2" fmla="*/ 2147483647 w 99"/>
                <a:gd name="T3" fmla="*/ 2147483647 h 45"/>
                <a:gd name="T4" fmla="*/ 2147483647 w 99"/>
                <a:gd name="T5" fmla="*/ 2147483647 h 45"/>
                <a:gd name="T6" fmla="*/ 2147483647 w 99"/>
                <a:gd name="T7" fmla="*/ 2147483647 h 45"/>
                <a:gd name="T8" fmla="*/ 2147483647 w 99"/>
                <a:gd name="T9" fmla="*/ 2147483647 h 45"/>
                <a:gd name="T10" fmla="*/ 2147483647 w 99"/>
                <a:gd name="T11" fmla="*/ 2147483647 h 45"/>
                <a:gd name="T12" fmla="*/ 2147483647 w 99"/>
                <a:gd name="T13" fmla="*/ 2147483647 h 45"/>
                <a:gd name="T14" fmla="*/ 2147483647 w 99"/>
                <a:gd name="T15" fmla="*/ 2147483647 h 45"/>
                <a:gd name="T16" fmla="*/ 2147483647 w 99"/>
                <a:gd name="T17" fmla="*/ 2147483647 h 45"/>
                <a:gd name="T18" fmla="*/ 2147483647 w 99"/>
                <a:gd name="T19" fmla="*/ 2147483647 h 45"/>
                <a:gd name="T20" fmla="*/ 2147483647 w 99"/>
                <a:gd name="T21" fmla="*/ 2147483647 h 45"/>
                <a:gd name="T22" fmla="*/ 2147483647 w 99"/>
                <a:gd name="T23" fmla="*/ 2147483647 h 45"/>
                <a:gd name="T24" fmla="*/ 2147483647 w 99"/>
                <a:gd name="T25" fmla="*/ 2147483647 h 45"/>
                <a:gd name="T26" fmla="*/ 2147483647 w 99"/>
                <a:gd name="T27" fmla="*/ 2147483647 h 45"/>
                <a:gd name="T28" fmla="*/ 2147483647 w 99"/>
                <a:gd name="T29" fmla="*/ 2147483647 h 45"/>
                <a:gd name="T30" fmla="*/ 2147483647 w 99"/>
                <a:gd name="T31" fmla="*/ 2147483647 h 45"/>
                <a:gd name="T32" fmla="*/ 2147483647 w 99"/>
                <a:gd name="T33" fmla="*/ 2147483647 h 45"/>
                <a:gd name="T34" fmla="*/ 2147483647 w 99"/>
                <a:gd name="T35" fmla="*/ 2147483647 h 45"/>
                <a:gd name="T36" fmla="*/ 2147483647 w 99"/>
                <a:gd name="T37" fmla="*/ 2147483647 h 45"/>
                <a:gd name="T38" fmla="*/ 2147483647 w 99"/>
                <a:gd name="T39" fmla="*/ 2147483647 h 45"/>
                <a:gd name="T40" fmla="*/ 2147483647 w 99"/>
                <a:gd name="T41" fmla="*/ 2147483647 h 45"/>
                <a:gd name="T42" fmla="*/ 2147483647 w 99"/>
                <a:gd name="T43" fmla="*/ 2147483647 h 45"/>
                <a:gd name="T44" fmla="*/ 2147483647 w 99"/>
                <a:gd name="T45" fmla="*/ 2147483647 h 45"/>
                <a:gd name="T46" fmla="*/ 2147483647 w 99"/>
                <a:gd name="T47" fmla="*/ 0 h 45"/>
                <a:gd name="T48" fmla="*/ 0 w 99"/>
                <a:gd name="T49" fmla="*/ 2147483647 h 45"/>
                <a:gd name="T50" fmla="*/ 0 w 99"/>
                <a:gd name="T51" fmla="*/ 2147483647 h 45"/>
                <a:gd name="T52" fmla="*/ 2147483647 w 99"/>
                <a:gd name="T53" fmla="*/ 2147483647 h 45"/>
                <a:gd name="T54" fmla="*/ 2147483647 w 99"/>
                <a:gd name="T55" fmla="*/ 2147483647 h 45"/>
                <a:gd name="T56" fmla="*/ 2147483647 w 99"/>
                <a:gd name="T57" fmla="*/ 2147483647 h 45"/>
                <a:gd name="T58" fmla="*/ 2147483647 w 99"/>
                <a:gd name="T59" fmla="*/ 2147483647 h 45"/>
                <a:gd name="T60" fmla="*/ 2147483647 w 99"/>
                <a:gd name="T61" fmla="*/ 2147483647 h 45"/>
                <a:gd name="T62" fmla="*/ 2147483647 w 99"/>
                <a:gd name="T63" fmla="*/ 2147483647 h 45"/>
                <a:gd name="T64" fmla="*/ 2147483647 w 99"/>
                <a:gd name="T65" fmla="*/ 2147483647 h 45"/>
                <a:gd name="T66" fmla="*/ 2147483647 w 99"/>
                <a:gd name="T67" fmla="*/ 2147483647 h 45"/>
                <a:gd name="T68" fmla="*/ 2147483647 w 99"/>
                <a:gd name="T69" fmla="*/ 2147483647 h 45"/>
                <a:gd name="T70" fmla="*/ 2147483647 w 99"/>
                <a:gd name="T71" fmla="*/ 2147483647 h 45"/>
                <a:gd name="T72" fmla="*/ 2147483647 w 99"/>
                <a:gd name="T73" fmla="*/ 2147483647 h 45"/>
                <a:gd name="T74" fmla="*/ 2147483647 w 99"/>
                <a:gd name="T75" fmla="*/ 2147483647 h 45"/>
                <a:gd name="T76" fmla="*/ 2147483647 w 99"/>
                <a:gd name="T77" fmla="*/ 2147483647 h 45"/>
                <a:gd name="T78" fmla="*/ 2147483647 w 99"/>
                <a:gd name="T79" fmla="*/ 2147483647 h 45"/>
                <a:gd name="T80" fmla="*/ 2147483647 w 99"/>
                <a:gd name="T81" fmla="*/ 2147483647 h 45"/>
                <a:gd name="T82" fmla="*/ 2147483647 w 99"/>
                <a:gd name="T83" fmla="*/ 2147483647 h 45"/>
                <a:gd name="T84" fmla="*/ 2147483647 w 99"/>
                <a:gd name="T85" fmla="*/ 2147483647 h 45"/>
                <a:gd name="T86" fmla="*/ 2147483647 w 99"/>
                <a:gd name="T87" fmla="*/ 2147483647 h 45"/>
                <a:gd name="T88" fmla="*/ 2147483647 w 99"/>
                <a:gd name="T89" fmla="*/ 2147483647 h 45"/>
                <a:gd name="T90" fmla="*/ 2147483647 w 99"/>
                <a:gd name="T91" fmla="*/ 2147483647 h 45"/>
                <a:gd name="T92" fmla="*/ 2147483647 w 99"/>
                <a:gd name="T93" fmla="*/ 2147483647 h 45"/>
                <a:gd name="T94" fmla="*/ 2147483647 w 99"/>
                <a:gd name="T95" fmla="*/ 2147483647 h 45"/>
                <a:gd name="T96" fmla="*/ 2147483647 w 99"/>
                <a:gd name="T97" fmla="*/ 2147483647 h 45"/>
                <a:gd name="T98" fmla="*/ 2147483647 w 99"/>
                <a:gd name="T99" fmla="*/ 2147483647 h 45"/>
                <a:gd name="T100" fmla="*/ 2147483647 w 99"/>
                <a:gd name="T101" fmla="*/ 2147483647 h 45"/>
                <a:gd name="T102" fmla="*/ 2147483647 w 99"/>
                <a:gd name="T103" fmla="*/ 2147483647 h 45"/>
                <a:gd name="T104" fmla="*/ 2147483647 w 99"/>
                <a:gd name="T105" fmla="*/ 2147483647 h 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
                <a:gd name="T160" fmla="*/ 0 h 45"/>
                <a:gd name="T161" fmla="*/ 99 w 99"/>
                <a:gd name="T162" fmla="*/ 45 h 4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 h="45">
                  <a:moveTo>
                    <a:pt x="89" y="42"/>
                  </a:moveTo>
                  <a:lnTo>
                    <a:pt x="92" y="41"/>
                  </a:lnTo>
                  <a:lnTo>
                    <a:pt x="94" y="38"/>
                  </a:lnTo>
                  <a:lnTo>
                    <a:pt x="97" y="31"/>
                  </a:lnTo>
                  <a:lnTo>
                    <a:pt x="98" y="28"/>
                  </a:lnTo>
                  <a:lnTo>
                    <a:pt x="99" y="24"/>
                  </a:lnTo>
                  <a:lnTo>
                    <a:pt x="95" y="18"/>
                  </a:lnTo>
                  <a:lnTo>
                    <a:pt x="93" y="14"/>
                  </a:lnTo>
                  <a:lnTo>
                    <a:pt x="90" y="13"/>
                  </a:lnTo>
                  <a:lnTo>
                    <a:pt x="80" y="9"/>
                  </a:lnTo>
                  <a:lnTo>
                    <a:pt x="69" y="5"/>
                  </a:lnTo>
                  <a:lnTo>
                    <a:pt x="65" y="5"/>
                  </a:lnTo>
                  <a:lnTo>
                    <a:pt x="62" y="6"/>
                  </a:lnTo>
                  <a:lnTo>
                    <a:pt x="52" y="11"/>
                  </a:lnTo>
                  <a:lnTo>
                    <a:pt x="41" y="13"/>
                  </a:lnTo>
                  <a:lnTo>
                    <a:pt x="31" y="14"/>
                  </a:lnTo>
                  <a:lnTo>
                    <a:pt x="19" y="14"/>
                  </a:lnTo>
                  <a:lnTo>
                    <a:pt x="17" y="14"/>
                  </a:lnTo>
                  <a:lnTo>
                    <a:pt x="13" y="16"/>
                  </a:lnTo>
                  <a:lnTo>
                    <a:pt x="10" y="16"/>
                  </a:lnTo>
                  <a:lnTo>
                    <a:pt x="9" y="14"/>
                  </a:lnTo>
                  <a:lnTo>
                    <a:pt x="8" y="7"/>
                  </a:lnTo>
                  <a:lnTo>
                    <a:pt x="7" y="4"/>
                  </a:lnTo>
                  <a:lnTo>
                    <a:pt x="4" y="0"/>
                  </a:lnTo>
                  <a:lnTo>
                    <a:pt x="0" y="7"/>
                  </a:lnTo>
                  <a:lnTo>
                    <a:pt x="0" y="11"/>
                  </a:lnTo>
                  <a:lnTo>
                    <a:pt x="2" y="13"/>
                  </a:lnTo>
                  <a:lnTo>
                    <a:pt x="5" y="20"/>
                  </a:lnTo>
                  <a:lnTo>
                    <a:pt x="7" y="24"/>
                  </a:lnTo>
                  <a:lnTo>
                    <a:pt x="4" y="28"/>
                  </a:lnTo>
                  <a:lnTo>
                    <a:pt x="5" y="29"/>
                  </a:lnTo>
                  <a:lnTo>
                    <a:pt x="7" y="30"/>
                  </a:lnTo>
                  <a:lnTo>
                    <a:pt x="14" y="32"/>
                  </a:lnTo>
                  <a:lnTo>
                    <a:pt x="21" y="36"/>
                  </a:lnTo>
                  <a:lnTo>
                    <a:pt x="33" y="44"/>
                  </a:lnTo>
                  <a:lnTo>
                    <a:pt x="38" y="45"/>
                  </a:lnTo>
                  <a:lnTo>
                    <a:pt x="40" y="45"/>
                  </a:lnTo>
                  <a:lnTo>
                    <a:pt x="42" y="44"/>
                  </a:lnTo>
                  <a:lnTo>
                    <a:pt x="43" y="39"/>
                  </a:lnTo>
                  <a:lnTo>
                    <a:pt x="43" y="36"/>
                  </a:lnTo>
                  <a:lnTo>
                    <a:pt x="46" y="31"/>
                  </a:lnTo>
                  <a:lnTo>
                    <a:pt x="50" y="28"/>
                  </a:lnTo>
                  <a:lnTo>
                    <a:pt x="54" y="25"/>
                  </a:lnTo>
                  <a:lnTo>
                    <a:pt x="57" y="23"/>
                  </a:lnTo>
                  <a:lnTo>
                    <a:pt x="61" y="20"/>
                  </a:lnTo>
                  <a:lnTo>
                    <a:pt x="66" y="19"/>
                  </a:lnTo>
                  <a:lnTo>
                    <a:pt x="71" y="19"/>
                  </a:lnTo>
                  <a:lnTo>
                    <a:pt x="76" y="19"/>
                  </a:lnTo>
                  <a:lnTo>
                    <a:pt x="79" y="20"/>
                  </a:lnTo>
                  <a:lnTo>
                    <a:pt x="82" y="23"/>
                  </a:lnTo>
                  <a:lnTo>
                    <a:pt x="85" y="29"/>
                  </a:lnTo>
                  <a:lnTo>
                    <a:pt x="88" y="35"/>
                  </a:lnTo>
                  <a:lnTo>
                    <a:pt x="89" y="4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3" name="Freeform 1042"/>
            <p:cNvSpPr>
              <a:spLocks/>
            </p:cNvSpPr>
            <p:nvPr/>
          </p:nvSpPr>
          <p:spPr bwMode="auto">
            <a:xfrm>
              <a:off x="2357439" y="4035429"/>
              <a:ext cx="304800" cy="504825"/>
            </a:xfrm>
            <a:custGeom>
              <a:avLst/>
              <a:gdLst>
                <a:gd name="T0" fmla="*/ 2147483647 w 208"/>
                <a:gd name="T1" fmla="*/ 2147483647 h 318"/>
                <a:gd name="T2" fmla="*/ 2147483647 w 208"/>
                <a:gd name="T3" fmla="*/ 2147483647 h 318"/>
                <a:gd name="T4" fmla="*/ 2147483647 w 208"/>
                <a:gd name="T5" fmla="*/ 2147483647 h 318"/>
                <a:gd name="T6" fmla="*/ 2147483647 w 208"/>
                <a:gd name="T7" fmla="*/ 2147483647 h 318"/>
                <a:gd name="T8" fmla="*/ 2147483647 w 208"/>
                <a:gd name="T9" fmla="*/ 2147483647 h 318"/>
                <a:gd name="T10" fmla="*/ 2147483647 w 208"/>
                <a:gd name="T11" fmla="*/ 2147483647 h 318"/>
                <a:gd name="T12" fmla="*/ 2147483647 w 208"/>
                <a:gd name="T13" fmla="*/ 2147483647 h 318"/>
                <a:gd name="T14" fmla="*/ 2147483647 w 208"/>
                <a:gd name="T15" fmla="*/ 2147483647 h 318"/>
                <a:gd name="T16" fmla="*/ 2147483647 w 208"/>
                <a:gd name="T17" fmla="*/ 2147483647 h 318"/>
                <a:gd name="T18" fmla="*/ 2147483647 w 208"/>
                <a:gd name="T19" fmla="*/ 2147483647 h 318"/>
                <a:gd name="T20" fmla="*/ 2147483647 w 208"/>
                <a:gd name="T21" fmla="*/ 2147483647 h 318"/>
                <a:gd name="T22" fmla="*/ 2147483647 w 208"/>
                <a:gd name="T23" fmla="*/ 2147483647 h 318"/>
                <a:gd name="T24" fmla="*/ 2147483647 w 208"/>
                <a:gd name="T25" fmla="*/ 2147483647 h 318"/>
                <a:gd name="T26" fmla="*/ 2147483647 w 208"/>
                <a:gd name="T27" fmla="*/ 2147483647 h 318"/>
                <a:gd name="T28" fmla="*/ 2147483647 w 208"/>
                <a:gd name="T29" fmla="*/ 2147483647 h 318"/>
                <a:gd name="T30" fmla="*/ 2147483647 w 208"/>
                <a:gd name="T31" fmla="*/ 2147483647 h 318"/>
                <a:gd name="T32" fmla="*/ 2147483647 w 208"/>
                <a:gd name="T33" fmla="*/ 2147483647 h 318"/>
                <a:gd name="T34" fmla="*/ 2147483647 w 208"/>
                <a:gd name="T35" fmla="*/ 2147483647 h 318"/>
                <a:gd name="T36" fmla="*/ 2147483647 w 208"/>
                <a:gd name="T37" fmla="*/ 2147483647 h 318"/>
                <a:gd name="T38" fmla="*/ 2147483647 w 208"/>
                <a:gd name="T39" fmla="*/ 2147483647 h 318"/>
                <a:gd name="T40" fmla="*/ 2147483647 w 208"/>
                <a:gd name="T41" fmla="*/ 2147483647 h 318"/>
                <a:gd name="T42" fmla="*/ 2147483647 w 208"/>
                <a:gd name="T43" fmla="*/ 2147483647 h 318"/>
                <a:gd name="T44" fmla="*/ 2147483647 w 208"/>
                <a:gd name="T45" fmla="*/ 2147483647 h 318"/>
                <a:gd name="T46" fmla="*/ 2147483647 w 208"/>
                <a:gd name="T47" fmla="*/ 2147483647 h 318"/>
                <a:gd name="T48" fmla="*/ 2147483647 w 208"/>
                <a:gd name="T49" fmla="*/ 2147483647 h 318"/>
                <a:gd name="T50" fmla="*/ 2147483647 w 208"/>
                <a:gd name="T51" fmla="*/ 2147483647 h 318"/>
                <a:gd name="T52" fmla="*/ 2147483647 w 208"/>
                <a:gd name="T53" fmla="*/ 2147483647 h 318"/>
                <a:gd name="T54" fmla="*/ 2147483647 w 208"/>
                <a:gd name="T55" fmla="*/ 2147483647 h 318"/>
                <a:gd name="T56" fmla="*/ 2147483647 w 208"/>
                <a:gd name="T57" fmla="*/ 2147483647 h 318"/>
                <a:gd name="T58" fmla="*/ 2147483647 w 208"/>
                <a:gd name="T59" fmla="*/ 2147483647 h 318"/>
                <a:gd name="T60" fmla="*/ 2147483647 w 208"/>
                <a:gd name="T61" fmla="*/ 2147483647 h 318"/>
                <a:gd name="T62" fmla="*/ 2147483647 w 208"/>
                <a:gd name="T63" fmla="*/ 2147483647 h 318"/>
                <a:gd name="T64" fmla="*/ 2147483647 w 208"/>
                <a:gd name="T65" fmla="*/ 2147483647 h 318"/>
                <a:gd name="T66" fmla="*/ 2147483647 w 208"/>
                <a:gd name="T67" fmla="*/ 2147483647 h 318"/>
                <a:gd name="T68" fmla="*/ 2147483647 w 208"/>
                <a:gd name="T69" fmla="*/ 2147483647 h 318"/>
                <a:gd name="T70" fmla="*/ 2147483647 w 208"/>
                <a:gd name="T71" fmla="*/ 2147483647 h 318"/>
                <a:gd name="T72" fmla="*/ 2147483647 w 208"/>
                <a:gd name="T73" fmla="*/ 2147483647 h 318"/>
                <a:gd name="T74" fmla="*/ 2147483647 w 208"/>
                <a:gd name="T75" fmla="*/ 2147483647 h 318"/>
                <a:gd name="T76" fmla="*/ 2147483647 w 208"/>
                <a:gd name="T77" fmla="*/ 2147483647 h 318"/>
                <a:gd name="T78" fmla="*/ 2147483647 w 208"/>
                <a:gd name="T79" fmla="*/ 2147483647 h 318"/>
                <a:gd name="T80" fmla="*/ 2147483647 w 208"/>
                <a:gd name="T81" fmla="*/ 2147483647 h 318"/>
                <a:gd name="T82" fmla="*/ 0 w 208"/>
                <a:gd name="T83" fmla="*/ 2147483647 h 318"/>
                <a:gd name="T84" fmla="*/ 2147483647 w 208"/>
                <a:gd name="T85" fmla="*/ 2147483647 h 318"/>
                <a:gd name="T86" fmla="*/ 2147483647 w 208"/>
                <a:gd name="T87" fmla="*/ 2147483647 h 318"/>
                <a:gd name="T88" fmla="*/ 2147483647 w 208"/>
                <a:gd name="T89" fmla="*/ 2147483647 h 318"/>
                <a:gd name="T90" fmla="*/ 2147483647 w 208"/>
                <a:gd name="T91" fmla="*/ 2147483647 h 318"/>
                <a:gd name="T92" fmla="*/ 2147483647 w 208"/>
                <a:gd name="T93" fmla="*/ 2147483647 h 318"/>
                <a:gd name="T94" fmla="*/ 2147483647 w 208"/>
                <a:gd name="T95" fmla="*/ 2147483647 h 318"/>
                <a:gd name="T96" fmla="*/ 2147483647 w 208"/>
                <a:gd name="T97" fmla="*/ 2147483647 h 318"/>
                <a:gd name="T98" fmla="*/ 2147483647 w 208"/>
                <a:gd name="T99" fmla="*/ 2147483647 h 3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8"/>
                <a:gd name="T151" fmla="*/ 0 h 318"/>
                <a:gd name="T152" fmla="*/ 208 w 208"/>
                <a:gd name="T153" fmla="*/ 318 h 3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8" h="318">
                  <a:moveTo>
                    <a:pt x="15" y="89"/>
                  </a:moveTo>
                  <a:lnTo>
                    <a:pt x="18" y="88"/>
                  </a:lnTo>
                  <a:lnTo>
                    <a:pt x="20" y="85"/>
                  </a:lnTo>
                  <a:lnTo>
                    <a:pt x="23" y="78"/>
                  </a:lnTo>
                  <a:lnTo>
                    <a:pt x="24" y="75"/>
                  </a:lnTo>
                  <a:lnTo>
                    <a:pt x="25" y="71"/>
                  </a:lnTo>
                  <a:lnTo>
                    <a:pt x="25" y="72"/>
                  </a:lnTo>
                  <a:lnTo>
                    <a:pt x="27" y="72"/>
                  </a:lnTo>
                  <a:lnTo>
                    <a:pt x="29" y="72"/>
                  </a:lnTo>
                  <a:lnTo>
                    <a:pt x="32" y="66"/>
                  </a:lnTo>
                  <a:lnTo>
                    <a:pt x="37" y="61"/>
                  </a:lnTo>
                  <a:lnTo>
                    <a:pt x="47" y="56"/>
                  </a:lnTo>
                  <a:lnTo>
                    <a:pt x="52" y="50"/>
                  </a:lnTo>
                  <a:lnTo>
                    <a:pt x="56" y="44"/>
                  </a:lnTo>
                  <a:lnTo>
                    <a:pt x="54" y="38"/>
                  </a:lnTo>
                  <a:lnTo>
                    <a:pt x="57" y="33"/>
                  </a:lnTo>
                  <a:lnTo>
                    <a:pt x="61" y="29"/>
                  </a:lnTo>
                  <a:lnTo>
                    <a:pt x="66" y="27"/>
                  </a:lnTo>
                  <a:lnTo>
                    <a:pt x="72" y="25"/>
                  </a:lnTo>
                  <a:lnTo>
                    <a:pt x="79" y="24"/>
                  </a:lnTo>
                  <a:lnTo>
                    <a:pt x="90" y="21"/>
                  </a:lnTo>
                  <a:lnTo>
                    <a:pt x="95" y="20"/>
                  </a:lnTo>
                  <a:lnTo>
                    <a:pt x="98" y="19"/>
                  </a:lnTo>
                  <a:lnTo>
                    <a:pt x="100" y="18"/>
                  </a:lnTo>
                  <a:lnTo>
                    <a:pt x="101" y="15"/>
                  </a:lnTo>
                  <a:lnTo>
                    <a:pt x="104" y="13"/>
                  </a:lnTo>
                  <a:lnTo>
                    <a:pt x="108" y="11"/>
                  </a:lnTo>
                  <a:lnTo>
                    <a:pt x="110" y="7"/>
                  </a:lnTo>
                  <a:lnTo>
                    <a:pt x="115" y="1"/>
                  </a:lnTo>
                  <a:lnTo>
                    <a:pt x="118" y="0"/>
                  </a:lnTo>
                  <a:lnTo>
                    <a:pt x="122" y="0"/>
                  </a:lnTo>
                  <a:lnTo>
                    <a:pt x="124" y="1"/>
                  </a:lnTo>
                  <a:lnTo>
                    <a:pt x="126" y="3"/>
                  </a:lnTo>
                  <a:lnTo>
                    <a:pt x="124" y="7"/>
                  </a:lnTo>
                  <a:lnTo>
                    <a:pt x="123" y="11"/>
                  </a:lnTo>
                  <a:lnTo>
                    <a:pt x="119" y="15"/>
                  </a:lnTo>
                  <a:lnTo>
                    <a:pt x="115" y="18"/>
                  </a:lnTo>
                  <a:lnTo>
                    <a:pt x="108" y="19"/>
                  </a:lnTo>
                  <a:lnTo>
                    <a:pt x="103" y="22"/>
                  </a:lnTo>
                  <a:lnTo>
                    <a:pt x="99" y="27"/>
                  </a:lnTo>
                  <a:lnTo>
                    <a:pt x="98" y="33"/>
                  </a:lnTo>
                  <a:lnTo>
                    <a:pt x="95" y="46"/>
                  </a:lnTo>
                  <a:lnTo>
                    <a:pt x="94" y="59"/>
                  </a:lnTo>
                  <a:lnTo>
                    <a:pt x="94" y="61"/>
                  </a:lnTo>
                  <a:lnTo>
                    <a:pt x="94" y="64"/>
                  </a:lnTo>
                  <a:lnTo>
                    <a:pt x="99" y="67"/>
                  </a:lnTo>
                  <a:lnTo>
                    <a:pt x="104" y="70"/>
                  </a:lnTo>
                  <a:lnTo>
                    <a:pt x="109" y="73"/>
                  </a:lnTo>
                  <a:lnTo>
                    <a:pt x="110" y="75"/>
                  </a:lnTo>
                  <a:lnTo>
                    <a:pt x="110" y="76"/>
                  </a:lnTo>
                  <a:lnTo>
                    <a:pt x="109" y="79"/>
                  </a:lnTo>
                  <a:lnTo>
                    <a:pt x="109" y="85"/>
                  </a:lnTo>
                  <a:lnTo>
                    <a:pt x="112" y="91"/>
                  </a:lnTo>
                  <a:lnTo>
                    <a:pt x="117" y="96"/>
                  </a:lnTo>
                  <a:lnTo>
                    <a:pt x="122" y="99"/>
                  </a:lnTo>
                  <a:lnTo>
                    <a:pt x="128" y="103"/>
                  </a:lnTo>
                  <a:lnTo>
                    <a:pt x="134" y="105"/>
                  </a:lnTo>
                  <a:lnTo>
                    <a:pt x="142" y="107"/>
                  </a:lnTo>
                  <a:lnTo>
                    <a:pt x="148" y="108"/>
                  </a:lnTo>
                  <a:lnTo>
                    <a:pt x="150" y="108"/>
                  </a:lnTo>
                  <a:lnTo>
                    <a:pt x="151" y="109"/>
                  </a:lnTo>
                  <a:lnTo>
                    <a:pt x="154" y="114"/>
                  </a:lnTo>
                  <a:lnTo>
                    <a:pt x="157" y="117"/>
                  </a:lnTo>
                  <a:lnTo>
                    <a:pt x="162" y="120"/>
                  </a:lnTo>
                  <a:lnTo>
                    <a:pt x="168" y="121"/>
                  </a:lnTo>
                  <a:lnTo>
                    <a:pt x="173" y="121"/>
                  </a:lnTo>
                  <a:lnTo>
                    <a:pt x="178" y="120"/>
                  </a:lnTo>
                  <a:lnTo>
                    <a:pt x="183" y="117"/>
                  </a:lnTo>
                  <a:lnTo>
                    <a:pt x="188" y="115"/>
                  </a:lnTo>
                  <a:lnTo>
                    <a:pt x="187" y="121"/>
                  </a:lnTo>
                  <a:lnTo>
                    <a:pt x="188" y="128"/>
                  </a:lnTo>
                  <a:lnTo>
                    <a:pt x="189" y="141"/>
                  </a:lnTo>
                  <a:lnTo>
                    <a:pt x="193" y="154"/>
                  </a:lnTo>
                  <a:lnTo>
                    <a:pt x="194" y="167"/>
                  </a:lnTo>
                  <a:lnTo>
                    <a:pt x="194" y="169"/>
                  </a:lnTo>
                  <a:lnTo>
                    <a:pt x="193" y="171"/>
                  </a:lnTo>
                  <a:lnTo>
                    <a:pt x="189" y="175"/>
                  </a:lnTo>
                  <a:lnTo>
                    <a:pt x="188" y="179"/>
                  </a:lnTo>
                  <a:lnTo>
                    <a:pt x="187" y="180"/>
                  </a:lnTo>
                  <a:lnTo>
                    <a:pt x="188" y="181"/>
                  </a:lnTo>
                  <a:lnTo>
                    <a:pt x="198" y="186"/>
                  </a:lnTo>
                  <a:lnTo>
                    <a:pt x="203" y="188"/>
                  </a:lnTo>
                  <a:lnTo>
                    <a:pt x="206" y="193"/>
                  </a:lnTo>
                  <a:lnTo>
                    <a:pt x="207" y="198"/>
                  </a:lnTo>
                  <a:lnTo>
                    <a:pt x="208" y="203"/>
                  </a:lnTo>
                  <a:lnTo>
                    <a:pt x="207" y="207"/>
                  </a:lnTo>
                  <a:lnTo>
                    <a:pt x="206" y="212"/>
                  </a:lnTo>
                  <a:lnTo>
                    <a:pt x="203" y="212"/>
                  </a:lnTo>
                  <a:lnTo>
                    <a:pt x="201" y="212"/>
                  </a:lnTo>
                  <a:lnTo>
                    <a:pt x="199" y="210"/>
                  </a:lnTo>
                  <a:lnTo>
                    <a:pt x="198" y="206"/>
                  </a:lnTo>
                  <a:lnTo>
                    <a:pt x="198" y="201"/>
                  </a:lnTo>
                  <a:lnTo>
                    <a:pt x="195" y="197"/>
                  </a:lnTo>
                  <a:lnTo>
                    <a:pt x="193" y="198"/>
                  </a:lnTo>
                  <a:lnTo>
                    <a:pt x="192" y="200"/>
                  </a:lnTo>
                  <a:lnTo>
                    <a:pt x="190" y="204"/>
                  </a:lnTo>
                  <a:lnTo>
                    <a:pt x="188" y="207"/>
                  </a:lnTo>
                  <a:lnTo>
                    <a:pt x="184" y="210"/>
                  </a:lnTo>
                  <a:lnTo>
                    <a:pt x="180" y="211"/>
                  </a:lnTo>
                  <a:lnTo>
                    <a:pt x="171" y="212"/>
                  </a:lnTo>
                  <a:lnTo>
                    <a:pt x="166" y="213"/>
                  </a:lnTo>
                  <a:lnTo>
                    <a:pt x="162" y="216"/>
                  </a:lnTo>
                  <a:lnTo>
                    <a:pt x="160" y="218"/>
                  </a:lnTo>
                  <a:lnTo>
                    <a:pt x="160" y="220"/>
                  </a:lnTo>
                  <a:lnTo>
                    <a:pt x="160" y="223"/>
                  </a:lnTo>
                  <a:lnTo>
                    <a:pt x="162" y="224"/>
                  </a:lnTo>
                  <a:lnTo>
                    <a:pt x="168" y="224"/>
                  </a:lnTo>
                  <a:lnTo>
                    <a:pt x="171" y="225"/>
                  </a:lnTo>
                  <a:lnTo>
                    <a:pt x="174" y="227"/>
                  </a:lnTo>
                  <a:lnTo>
                    <a:pt x="176" y="231"/>
                  </a:lnTo>
                  <a:lnTo>
                    <a:pt x="179" y="231"/>
                  </a:lnTo>
                  <a:lnTo>
                    <a:pt x="180" y="231"/>
                  </a:lnTo>
                  <a:lnTo>
                    <a:pt x="180" y="232"/>
                  </a:lnTo>
                  <a:lnTo>
                    <a:pt x="180" y="235"/>
                  </a:lnTo>
                  <a:lnTo>
                    <a:pt x="176" y="236"/>
                  </a:lnTo>
                  <a:lnTo>
                    <a:pt x="169" y="238"/>
                  </a:lnTo>
                  <a:lnTo>
                    <a:pt x="159" y="238"/>
                  </a:lnTo>
                  <a:lnTo>
                    <a:pt x="156" y="238"/>
                  </a:lnTo>
                  <a:lnTo>
                    <a:pt x="156" y="241"/>
                  </a:lnTo>
                  <a:lnTo>
                    <a:pt x="155" y="249"/>
                  </a:lnTo>
                  <a:lnTo>
                    <a:pt x="155" y="252"/>
                  </a:lnTo>
                  <a:lnTo>
                    <a:pt x="156" y="254"/>
                  </a:lnTo>
                  <a:lnTo>
                    <a:pt x="160" y="256"/>
                  </a:lnTo>
                  <a:lnTo>
                    <a:pt x="161" y="258"/>
                  </a:lnTo>
                  <a:lnTo>
                    <a:pt x="164" y="264"/>
                  </a:lnTo>
                  <a:lnTo>
                    <a:pt x="165" y="270"/>
                  </a:lnTo>
                  <a:lnTo>
                    <a:pt x="162" y="277"/>
                  </a:lnTo>
                  <a:lnTo>
                    <a:pt x="157" y="290"/>
                  </a:lnTo>
                  <a:lnTo>
                    <a:pt x="150" y="302"/>
                  </a:lnTo>
                  <a:lnTo>
                    <a:pt x="147" y="310"/>
                  </a:lnTo>
                  <a:lnTo>
                    <a:pt x="146" y="314"/>
                  </a:lnTo>
                  <a:lnTo>
                    <a:pt x="145" y="316"/>
                  </a:lnTo>
                  <a:lnTo>
                    <a:pt x="141" y="318"/>
                  </a:lnTo>
                  <a:lnTo>
                    <a:pt x="137" y="318"/>
                  </a:lnTo>
                  <a:lnTo>
                    <a:pt x="133" y="316"/>
                  </a:lnTo>
                  <a:lnTo>
                    <a:pt x="131" y="314"/>
                  </a:lnTo>
                  <a:lnTo>
                    <a:pt x="133" y="308"/>
                  </a:lnTo>
                  <a:lnTo>
                    <a:pt x="137" y="300"/>
                  </a:lnTo>
                  <a:lnTo>
                    <a:pt x="147" y="283"/>
                  </a:lnTo>
                  <a:lnTo>
                    <a:pt x="145" y="281"/>
                  </a:lnTo>
                  <a:lnTo>
                    <a:pt x="141" y="280"/>
                  </a:lnTo>
                  <a:lnTo>
                    <a:pt x="137" y="280"/>
                  </a:lnTo>
                  <a:lnTo>
                    <a:pt x="133" y="278"/>
                  </a:lnTo>
                  <a:lnTo>
                    <a:pt x="128" y="275"/>
                  </a:lnTo>
                  <a:lnTo>
                    <a:pt x="124" y="271"/>
                  </a:lnTo>
                  <a:lnTo>
                    <a:pt x="121" y="270"/>
                  </a:lnTo>
                  <a:lnTo>
                    <a:pt x="115" y="271"/>
                  </a:lnTo>
                  <a:lnTo>
                    <a:pt x="112" y="273"/>
                  </a:lnTo>
                  <a:lnTo>
                    <a:pt x="108" y="271"/>
                  </a:lnTo>
                  <a:lnTo>
                    <a:pt x="104" y="269"/>
                  </a:lnTo>
                  <a:lnTo>
                    <a:pt x="101" y="265"/>
                  </a:lnTo>
                  <a:lnTo>
                    <a:pt x="100" y="262"/>
                  </a:lnTo>
                  <a:lnTo>
                    <a:pt x="98" y="259"/>
                  </a:lnTo>
                  <a:lnTo>
                    <a:pt x="85" y="256"/>
                  </a:lnTo>
                  <a:lnTo>
                    <a:pt x="81" y="255"/>
                  </a:lnTo>
                  <a:lnTo>
                    <a:pt x="66" y="241"/>
                  </a:lnTo>
                  <a:lnTo>
                    <a:pt x="62" y="238"/>
                  </a:lnTo>
                  <a:lnTo>
                    <a:pt x="56" y="235"/>
                  </a:lnTo>
                  <a:lnTo>
                    <a:pt x="42" y="231"/>
                  </a:lnTo>
                  <a:lnTo>
                    <a:pt x="33" y="230"/>
                  </a:lnTo>
                  <a:lnTo>
                    <a:pt x="27" y="230"/>
                  </a:lnTo>
                  <a:lnTo>
                    <a:pt x="24" y="227"/>
                  </a:lnTo>
                  <a:lnTo>
                    <a:pt x="21" y="225"/>
                  </a:lnTo>
                  <a:lnTo>
                    <a:pt x="18" y="219"/>
                  </a:lnTo>
                  <a:lnTo>
                    <a:pt x="15" y="217"/>
                  </a:lnTo>
                  <a:lnTo>
                    <a:pt x="11" y="214"/>
                  </a:lnTo>
                  <a:lnTo>
                    <a:pt x="6" y="212"/>
                  </a:lnTo>
                  <a:lnTo>
                    <a:pt x="0" y="211"/>
                  </a:lnTo>
                  <a:lnTo>
                    <a:pt x="0" y="210"/>
                  </a:lnTo>
                  <a:lnTo>
                    <a:pt x="0" y="207"/>
                  </a:lnTo>
                  <a:lnTo>
                    <a:pt x="0" y="205"/>
                  </a:lnTo>
                  <a:lnTo>
                    <a:pt x="1" y="204"/>
                  </a:lnTo>
                  <a:lnTo>
                    <a:pt x="5" y="200"/>
                  </a:lnTo>
                  <a:lnTo>
                    <a:pt x="6" y="199"/>
                  </a:lnTo>
                  <a:lnTo>
                    <a:pt x="8" y="198"/>
                  </a:lnTo>
                  <a:lnTo>
                    <a:pt x="9" y="194"/>
                  </a:lnTo>
                  <a:lnTo>
                    <a:pt x="9" y="192"/>
                  </a:lnTo>
                  <a:lnTo>
                    <a:pt x="10" y="191"/>
                  </a:lnTo>
                  <a:lnTo>
                    <a:pt x="16" y="182"/>
                  </a:lnTo>
                  <a:lnTo>
                    <a:pt x="24" y="173"/>
                  </a:lnTo>
                  <a:lnTo>
                    <a:pt x="28" y="166"/>
                  </a:lnTo>
                  <a:lnTo>
                    <a:pt x="28" y="162"/>
                  </a:lnTo>
                  <a:lnTo>
                    <a:pt x="27" y="160"/>
                  </a:lnTo>
                  <a:lnTo>
                    <a:pt x="23" y="155"/>
                  </a:lnTo>
                  <a:lnTo>
                    <a:pt x="21" y="149"/>
                  </a:lnTo>
                  <a:lnTo>
                    <a:pt x="21" y="142"/>
                  </a:lnTo>
                  <a:lnTo>
                    <a:pt x="24" y="136"/>
                  </a:lnTo>
                  <a:lnTo>
                    <a:pt x="25" y="134"/>
                  </a:lnTo>
                  <a:lnTo>
                    <a:pt x="27" y="130"/>
                  </a:lnTo>
                  <a:lnTo>
                    <a:pt x="29" y="128"/>
                  </a:lnTo>
                  <a:lnTo>
                    <a:pt x="29" y="126"/>
                  </a:lnTo>
                  <a:lnTo>
                    <a:pt x="28" y="122"/>
                  </a:lnTo>
                  <a:lnTo>
                    <a:pt x="27" y="118"/>
                  </a:lnTo>
                  <a:lnTo>
                    <a:pt x="23" y="112"/>
                  </a:lnTo>
                  <a:lnTo>
                    <a:pt x="23" y="109"/>
                  </a:lnTo>
                  <a:lnTo>
                    <a:pt x="23" y="105"/>
                  </a:lnTo>
                  <a:lnTo>
                    <a:pt x="23" y="97"/>
                  </a:lnTo>
                  <a:lnTo>
                    <a:pt x="21" y="96"/>
                  </a:lnTo>
                  <a:lnTo>
                    <a:pt x="19" y="95"/>
                  </a:lnTo>
                  <a:lnTo>
                    <a:pt x="16" y="93"/>
                  </a:lnTo>
                  <a:lnTo>
                    <a:pt x="15" y="91"/>
                  </a:lnTo>
                  <a:lnTo>
                    <a:pt x="15" y="8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4" name="Freeform 1043"/>
            <p:cNvSpPr>
              <a:spLocks/>
            </p:cNvSpPr>
            <p:nvPr/>
          </p:nvSpPr>
          <p:spPr bwMode="auto">
            <a:xfrm>
              <a:off x="2519364" y="6180142"/>
              <a:ext cx="15875" cy="15875"/>
            </a:xfrm>
            <a:custGeom>
              <a:avLst/>
              <a:gdLst>
                <a:gd name="T0" fmla="*/ 2147483647 w 11"/>
                <a:gd name="T1" fmla="*/ 2147483647 h 10"/>
                <a:gd name="T2" fmla="*/ 2147483647 w 11"/>
                <a:gd name="T3" fmla="*/ 2147483647 h 10"/>
                <a:gd name="T4" fmla="*/ 2147483647 w 11"/>
                <a:gd name="T5" fmla="*/ 2147483647 h 10"/>
                <a:gd name="T6" fmla="*/ 2147483647 w 11"/>
                <a:gd name="T7" fmla="*/ 2147483647 h 10"/>
                <a:gd name="T8" fmla="*/ 2147483647 w 11"/>
                <a:gd name="T9" fmla="*/ 2147483647 h 10"/>
                <a:gd name="T10" fmla="*/ 2147483647 w 11"/>
                <a:gd name="T11" fmla="*/ 2147483647 h 10"/>
                <a:gd name="T12" fmla="*/ 2147483647 w 11"/>
                <a:gd name="T13" fmla="*/ 2147483647 h 10"/>
                <a:gd name="T14" fmla="*/ 0 w 11"/>
                <a:gd name="T15" fmla="*/ 2147483647 h 10"/>
                <a:gd name="T16" fmla="*/ 0 w 11"/>
                <a:gd name="T17" fmla="*/ 2147483647 h 10"/>
                <a:gd name="T18" fmla="*/ 2147483647 w 11"/>
                <a:gd name="T19" fmla="*/ 2147483647 h 10"/>
                <a:gd name="T20" fmla="*/ 2147483647 w 11"/>
                <a:gd name="T21" fmla="*/ 0 h 10"/>
                <a:gd name="T22" fmla="*/ 2147483647 w 11"/>
                <a:gd name="T23" fmla="*/ 0 h 10"/>
                <a:gd name="T24" fmla="*/ 2147483647 w 11"/>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0"/>
                <a:gd name="T41" fmla="*/ 11 w 11"/>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0">
                  <a:moveTo>
                    <a:pt x="9" y="2"/>
                  </a:moveTo>
                  <a:lnTo>
                    <a:pt x="11" y="5"/>
                  </a:lnTo>
                  <a:lnTo>
                    <a:pt x="11" y="7"/>
                  </a:lnTo>
                  <a:lnTo>
                    <a:pt x="8" y="9"/>
                  </a:lnTo>
                  <a:lnTo>
                    <a:pt x="5" y="10"/>
                  </a:lnTo>
                  <a:lnTo>
                    <a:pt x="3" y="9"/>
                  </a:lnTo>
                  <a:lnTo>
                    <a:pt x="2" y="7"/>
                  </a:lnTo>
                  <a:lnTo>
                    <a:pt x="0" y="5"/>
                  </a:lnTo>
                  <a:lnTo>
                    <a:pt x="0" y="4"/>
                  </a:lnTo>
                  <a:lnTo>
                    <a:pt x="3" y="2"/>
                  </a:lnTo>
                  <a:lnTo>
                    <a:pt x="5" y="0"/>
                  </a:lnTo>
                  <a:lnTo>
                    <a:pt x="8" y="0"/>
                  </a:lnTo>
                  <a:lnTo>
                    <a:pt x="9"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5" name="Freeform 1044"/>
            <p:cNvSpPr>
              <a:spLocks/>
            </p:cNvSpPr>
            <p:nvPr/>
          </p:nvSpPr>
          <p:spPr bwMode="auto">
            <a:xfrm>
              <a:off x="2247900" y="4033843"/>
              <a:ext cx="412750" cy="503237"/>
            </a:xfrm>
            <a:custGeom>
              <a:avLst/>
              <a:gdLst>
                <a:gd name="T0" fmla="*/ 2147483647 w 282"/>
                <a:gd name="T1" fmla="*/ 2147483647 h 317"/>
                <a:gd name="T2" fmla="*/ 2147483647 w 282"/>
                <a:gd name="T3" fmla="*/ 2147483647 h 317"/>
                <a:gd name="T4" fmla="*/ 2147483647 w 282"/>
                <a:gd name="T5" fmla="*/ 2147483647 h 317"/>
                <a:gd name="T6" fmla="*/ 2147483647 w 282"/>
                <a:gd name="T7" fmla="*/ 2147483647 h 317"/>
                <a:gd name="T8" fmla="*/ 2147483647 w 282"/>
                <a:gd name="T9" fmla="*/ 2147483647 h 317"/>
                <a:gd name="T10" fmla="*/ 0 w 282"/>
                <a:gd name="T11" fmla="*/ 2147483647 h 317"/>
                <a:gd name="T12" fmla="*/ 2147483647 w 282"/>
                <a:gd name="T13" fmla="*/ 2147483647 h 317"/>
                <a:gd name="T14" fmla="*/ 2147483647 w 282"/>
                <a:gd name="T15" fmla="*/ 2147483647 h 317"/>
                <a:gd name="T16" fmla="*/ 2147483647 w 282"/>
                <a:gd name="T17" fmla="*/ 2147483647 h 317"/>
                <a:gd name="T18" fmla="*/ 2147483647 w 282"/>
                <a:gd name="T19" fmla="*/ 2147483647 h 317"/>
                <a:gd name="T20" fmla="*/ 2147483647 w 282"/>
                <a:gd name="T21" fmla="*/ 2147483647 h 317"/>
                <a:gd name="T22" fmla="*/ 2147483647 w 282"/>
                <a:gd name="T23" fmla="*/ 2147483647 h 317"/>
                <a:gd name="T24" fmla="*/ 2147483647 w 282"/>
                <a:gd name="T25" fmla="*/ 2147483647 h 317"/>
                <a:gd name="T26" fmla="*/ 2147483647 w 282"/>
                <a:gd name="T27" fmla="*/ 2147483647 h 317"/>
                <a:gd name="T28" fmla="*/ 2147483647 w 282"/>
                <a:gd name="T29" fmla="*/ 2147483647 h 317"/>
                <a:gd name="T30" fmla="*/ 2147483647 w 282"/>
                <a:gd name="T31" fmla="*/ 2147483647 h 317"/>
                <a:gd name="T32" fmla="*/ 2147483647 w 282"/>
                <a:gd name="T33" fmla="*/ 2147483647 h 317"/>
                <a:gd name="T34" fmla="*/ 2147483647 w 282"/>
                <a:gd name="T35" fmla="*/ 2147483647 h 317"/>
                <a:gd name="T36" fmla="*/ 2147483647 w 282"/>
                <a:gd name="T37" fmla="*/ 0 h 317"/>
                <a:gd name="T38" fmla="*/ 2147483647 w 282"/>
                <a:gd name="T39" fmla="*/ 2147483647 h 317"/>
                <a:gd name="T40" fmla="*/ 2147483647 w 282"/>
                <a:gd name="T41" fmla="*/ 2147483647 h 317"/>
                <a:gd name="T42" fmla="*/ 2147483647 w 282"/>
                <a:gd name="T43" fmla="*/ 2147483647 h 317"/>
                <a:gd name="T44" fmla="*/ 2147483647 w 282"/>
                <a:gd name="T45" fmla="*/ 2147483647 h 317"/>
                <a:gd name="T46" fmla="*/ 2147483647 w 282"/>
                <a:gd name="T47" fmla="*/ 2147483647 h 317"/>
                <a:gd name="T48" fmla="*/ 2147483647 w 282"/>
                <a:gd name="T49" fmla="*/ 2147483647 h 317"/>
                <a:gd name="T50" fmla="*/ 2147483647 w 282"/>
                <a:gd name="T51" fmla="*/ 2147483647 h 317"/>
                <a:gd name="T52" fmla="*/ 2147483647 w 282"/>
                <a:gd name="T53" fmla="*/ 2147483647 h 317"/>
                <a:gd name="T54" fmla="*/ 2147483647 w 282"/>
                <a:gd name="T55" fmla="*/ 2147483647 h 317"/>
                <a:gd name="T56" fmla="*/ 2147483647 w 282"/>
                <a:gd name="T57" fmla="*/ 2147483647 h 317"/>
                <a:gd name="T58" fmla="*/ 2147483647 w 282"/>
                <a:gd name="T59" fmla="*/ 2147483647 h 317"/>
                <a:gd name="T60" fmla="*/ 2147483647 w 282"/>
                <a:gd name="T61" fmla="*/ 2147483647 h 317"/>
                <a:gd name="T62" fmla="*/ 2147483647 w 282"/>
                <a:gd name="T63" fmla="*/ 2147483647 h 317"/>
                <a:gd name="T64" fmla="*/ 2147483647 w 282"/>
                <a:gd name="T65" fmla="*/ 2147483647 h 317"/>
                <a:gd name="T66" fmla="*/ 2147483647 w 282"/>
                <a:gd name="T67" fmla="*/ 2147483647 h 317"/>
                <a:gd name="T68" fmla="*/ 2147483647 w 282"/>
                <a:gd name="T69" fmla="*/ 2147483647 h 317"/>
                <a:gd name="T70" fmla="*/ 2147483647 w 282"/>
                <a:gd name="T71" fmla="*/ 2147483647 h 317"/>
                <a:gd name="T72" fmla="*/ 2147483647 w 282"/>
                <a:gd name="T73" fmla="*/ 2147483647 h 317"/>
                <a:gd name="T74" fmla="*/ 2147483647 w 282"/>
                <a:gd name="T75" fmla="*/ 2147483647 h 317"/>
                <a:gd name="T76" fmla="*/ 2147483647 w 282"/>
                <a:gd name="T77" fmla="*/ 2147483647 h 317"/>
                <a:gd name="T78" fmla="*/ 2147483647 w 282"/>
                <a:gd name="T79" fmla="*/ 2147483647 h 317"/>
                <a:gd name="T80" fmla="*/ 2147483647 w 282"/>
                <a:gd name="T81" fmla="*/ 2147483647 h 317"/>
                <a:gd name="T82" fmla="*/ 2147483647 w 282"/>
                <a:gd name="T83" fmla="*/ 2147483647 h 317"/>
                <a:gd name="T84" fmla="*/ 2147483647 w 282"/>
                <a:gd name="T85" fmla="*/ 2147483647 h 317"/>
                <a:gd name="T86" fmla="*/ 2147483647 w 282"/>
                <a:gd name="T87" fmla="*/ 2147483647 h 317"/>
                <a:gd name="T88" fmla="*/ 2147483647 w 282"/>
                <a:gd name="T89" fmla="*/ 2147483647 h 317"/>
                <a:gd name="T90" fmla="*/ 2147483647 w 282"/>
                <a:gd name="T91" fmla="*/ 2147483647 h 317"/>
                <a:gd name="T92" fmla="*/ 2147483647 w 282"/>
                <a:gd name="T93" fmla="*/ 2147483647 h 317"/>
                <a:gd name="T94" fmla="*/ 2147483647 w 282"/>
                <a:gd name="T95" fmla="*/ 2147483647 h 317"/>
                <a:gd name="T96" fmla="*/ 2147483647 w 282"/>
                <a:gd name="T97" fmla="*/ 2147483647 h 317"/>
                <a:gd name="T98" fmla="*/ 2147483647 w 282"/>
                <a:gd name="T99" fmla="*/ 2147483647 h 317"/>
                <a:gd name="T100" fmla="*/ 2147483647 w 282"/>
                <a:gd name="T101" fmla="*/ 2147483647 h 317"/>
                <a:gd name="T102" fmla="*/ 2147483647 w 282"/>
                <a:gd name="T103" fmla="*/ 2147483647 h 317"/>
                <a:gd name="T104" fmla="*/ 2147483647 w 282"/>
                <a:gd name="T105" fmla="*/ 2147483647 h 317"/>
                <a:gd name="T106" fmla="*/ 2147483647 w 282"/>
                <a:gd name="T107" fmla="*/ 2147483647 h 317"/>
                <a:gd name="T108" fmla="*/ 2147483647 w 282"/>
                <a:gd name="T109" fmla="*/ 2147483647 h 3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2"/>
                <a:gd name="T166" fmla="*/ 0 h 317"/>
                <a:gd name="T167" fmla="*/ 282 w 282"/>
                <a:gd name="T168" fmla="*/ 317 h 3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2" h="317">
                  <a:moveTo>
                    <a:pt x="89" y="89"/>
                  </a:moveTo>
                  <a:lnTo>
                    <a:pt x="89" y="89"/>
                  </a:lnTo>
                  <a:lnTo>
                    <a:pt x="91" y="87"/>
                  </a:lnTo>
                  <a:lnTo>
                    <a:pt x="94" y="85"/>
                  </a:lnTo>
                  <a:lnTo>
                    <a:pt x="96" y="78"/>
                  </a:lnTo>
                  <a:lnTo>
                    <a:pt x="98" y="74"/>
                  </a:lnTo>
                  <a:lnTo>
                    <a:pt x="99" y="71"/>
                  </a:lnTo>
                  <a:lnTo>
                    <a:pt x="95" y="65"/>
                  </a:lnTo>
                  <a:lnTo>
                    <a:pt x="93" y="61"/>
                  </a:lnTo>
                  <a:lnTo>
                    <a:pt x="90" y="60"/>
                  </a:lnTo>
                  <a:lnTo>
                    <a:pt x="80" y="55"/>
                  </a:lnTo>
                  <a:lnTo>
                    <a:pt x="69" y="52"/>
                  </a:lnTo>
                  <a:lnTo>
                    <a:pt x="65" y="52"/>
                  </a:lnTo>
                  <a:lnTo>
                    <a:pt x="62" y="53"/>
                  </a:lnTo>
                  <a:lnTo>
                    <a:pt x="52" y="58"/>
                  </a:lnTo>
                  <a:lnTo>
                    <a:pt x="41" y="60"/>
                  </a:lnTo>
                  <a:lnTo>
                    <a:pt x="30" y="61"/>
                  </a:lnTo>
                  <a:lnTo>
                    <a:pt x="19" y="61"/>
                  </a:lnTo>
                  <a:lnTo>
                    <a:pt x="16" y="61"/>
                  </a:lnTo>
                  <a:lnTo>
                    <a:pt x="13" y="62"/>
                  </a:lnTo>
                  <a:lnTo>
                    <a:pt x="10" y="62"/>
                  </a:lnTo>
                  <a:lnTo>
                    <a:pt x="9" y="61"/>
                  </a:lnTo>
                  <a:lnTo>
                    <a:pt x="8" y="54"/>
                  </a:lnTo>
                  <a:lnTo>
                    <a:pt x="6" y="51"/>
                  </a:lnTo>
                  <a:lnTo>
                    <a:pt x="4" y="47"/>
                  </a:lnTo>
                  <a:lnTo>
                    <a:pt x="0" y="54"/>
                  </a:lnTo>
                  <a:lnTo>
                    <a:pt x="0" y="58"/>
                  </a:lnTo>
                  <a:lnTo>
                    <a:pt x="1" y="60"/>
                  </a:lnTo>
                  <a:lnTo>
                    <a:pt x="5" y="67"/>
                  </a:lnTo>
                  <a:lnTo>
                    <a:pt x="6" y="71"/>
                  </a:lnTo>
                  <a:lnTo>
                    <a:pt x="4" y="74"/>
                  </a:lnTo>
                  <a:lnTo>
                    <a:pt x="5" y="76"/>
                  </a:lnTo>
                  <a:lnTo>
                    <a:pt x="6" y="77"/>
                  </a:lnTo>
                  <a:lnTo>
                    <a:pt x="14" y="79"/>
                  </a:lnTo>
                  <a:lnTo>
                    <a:pt x="20" y="83"/>
                  </a:lnTo>
                  <a:lnTo>
                    <a:pt x="33" y="91"/>
                  </a:lnTo>
                  <a:lnTo>
                    <a:pt x="38" y="92"/>
                  </a:lnTo>
                  <a:lnTo>
                    <a:pt x="39" y="92"/>
                  </a:lnTo>
                  <a:lnTo>
                    <a:pt x="42" y="91"/>
                  </a:lnTo>
                  <a:lnTo>
                    <a:pt x="43" y="86"/>
                  </a:lnTo>
                  <a:lnTo>
                    <a:pt x="43" y="83"/>
                  </a:lnTo>
                  <a:lnTo>
                    <a:pt x="46" y="78"/>
                  </a:lnTo>
                  <a:lnTo>
                    <a:pt x="49" y="74"/>
                  </a:lnTo>
                  <a:lnTo>
                    <a:pt x="53" y="72"/>
                  </a:lnTo>
                  <a:lnTo>
                    <a:pt x="57" y="70"/>
                  </a:lnTo>
                  <a:lnTo>
                    <a:pt x="61" y="67"/>
                  </a:lnTo>
                  <a:lnTo>
                    <a:pt x="66" y="66"/>
                  </a:lnTo>
                  <a:lnTo>
                    <a:pt x="71" y="66"/>
                  </a:lnTo>
                  <a:lnTo>
                    <a:pt x="76" y="66"/>
                  </a:lnTo>
                  <a:lnTo>
                    <a:pt x="79" y="67"/>
                  </a:lnTo>
                  <a:lnTo>
                    <a:pt x="81" y="70"/>
                  </a:lnTo>
                  <a:lnTo>
                    <a:pt x="85" y="76"/>
                  </a:lnTo>
                  <a:lnTo>
                    <a:pt x="88" y="81"/>
                  </a:lnTo>
                  <a:lnTo>
                    <a:pt x="89" y="89"/>
                  </a:lnTo>
                  <a:lnTo>
                    <a:pt x="91" y="87"/>
                  </a:lnTo>
                  <a:lnTo>
                    <a:pt x="94" y="85"/>
                  </a:lnTo>
                  <a:lnTo>
                    <a:pt x="96" y="78"/>
                  </a:lnTo>
                  <a:lnTo>
                    <a:pt x="98" y="74"/>
                  </a:lnTo>
                  <a:lnTo>
                    <a:pt x="99" y="71"/>
                  </a:lnTo>
                  <a:lnTo>
                    <a:pt x="99" y="72"/>
                  </a:lnTo>
                  <a:lnTo>
                    <a:pt x="100" y="72"/>
                  </a:lnTo>
                  <a:lnTo>
                    <a:pt x="103" y="72"/>
                  </a:lnTo>
                  <a:lnTo>
                    <a:pt x="105" y="66"/>
                  </a:lnTo>
                  <a:lnTo>
                    <a:pt x="110" y="61"/>
                  </a:lnTo>
                  <a:lnTo>
                    <a:pt x="121" y="55"/>
                  </a:lnTo>
                  <a:lnTo>
                    <a:pt x="126" y="49"/>
                  </a:lnTo>
                  <a:lnTo>
                    <a:pt x="129" y="44"/>
                  </a:lnTo>
                  <a:lnTo>
                    <a:pt x="128" y="38"/>
                  </a:lnTo>
                  <a:lnTo>
                    <a:pt x="131" y="33"/>
                  </a:lnTo>
                  <a:lnTo>
                    <a:pt x="135" y="29"/>
                  </a:lnTo>
                  <a:lnTo>
                    <a:pt x="140" y="27"/>
                  </a:lnTo>
                  <a:lnTo>
                    <a:pt x="146" y="25"/>
                  </a:lnTo>
                  <a:lnTo>
                    <a:pt x="152" y="23"/>
                  </a:lnTo>
                  <a:lnTo>
                    <a:pt x="164" y="21"/>
                  </a:lnTo>
                  <a:lnTo>
                    <a:pt x="169" y="20"/>
                  </a:lnTo>
                  <a:lnTo>
                    <a:pt x="171" y="19"/>
                  </a:lnTo>
                  <a:lnTo>
                    <a:pt x="174" y="17"/>
                  </a:lnTo>
                  <a:lnTo>
                    <a:pt x="175" y="15"/>
                  </a:lnTo>
                  <a:lnTo>
                    <a:pt x="178" y="13"/>
                  </a:lnTo>
                  <a:lnTo>
                    <a:pt x="182" y="10"/>
                  </a:lnTo>
                  <a:lnTo>
                    <a:pt x="184" y="7"/>
                  </a:lnTo>
                  <a:lnTo>
                    <a:pt x="189" y="1"/>
                  </a:lnTo>
                  <a:lnTo>
                    <a:pt x="192" y="0"/>
                  </a:lnTo>
                  <a:lnTo>
                    <a:pt x="196" y="0"/>
                  </a:lnTo>
                  <a:lnTo>
                    <a:pt x="198" y="1"/>
                  </a:lnTo>
                  <a:lnTo>
                    <a:pt x="199" y="3"/>
                  </a:lnTo>
                  <a:lnTo>
                    <a:pt x="198" y="7"/>
                  </a:lnTo>
                  <a:lnTo>
                    <a:pt x="197" y="10"/>
                  </a:lnTo>
                  <a:lnTo>
                    <a:pt x="193" y="15"/>
                  </a:lnTo>
                  <a:lnTo>
                    <a:pt x="189" y="17"/>
                  </a:lnTo>
                  <a:lnTo>
                    <a:pt x="182" y="19"/>
                  </a:lnTo>
                  <a:lnTo>
                    <a:pt x="176" y="22"/>
                  </a:lnTo>
                  <a:lnTo>
                    <a:pt x="173" y="27"/>
                  </a:lnTo>
                  <a:lnTo>
                    <a:pt x="171" y="33"/>
                  </a:lnTo>
                  <a:lnTo>
                    <a:pt x="169" y="46"/>
                  </a:lnTo>
                  <a:lnTo>
                    <a:pt x="168" y="59"/>
                  </a:lnTo>
                  <a:lnTo>
                    <a:pt x="168" y="61"/>
                  </a:lnTo>
                  <a:lnTo>
                    <a:pt x="168" y="64"/>
                  </a:lnTo>
                  <a:lnTo>
                    <a:pt x="173" y="67"/>
                  </a:lnTo>
                  <a:lnTo>
                    <a:pt x="178" y="70"/>
                  </a:lnTo>
                  <a:lnTo>
                    <a:pt x="183" y="73"/>
                  </a:lnTo>
                  <a:lnTo>
                    <a:pt x="184" y="74"/>
                  </a:lnTo>
                  <a:lnTo>
                    <a:pt x="184" y="76"/>
                  </a:lnTo>
                  <a:lnTo>
                    <a:pt x="183" y="79"/>
                  </a:lnTo>
                  <a:lnTo>
                    <a:pt x="183" y="85"/>
                  </a:lnTo>
                  <a:lnTo>
                    <a:pt x="185" y="91"/>
                  </a:lnTo>
                  <a:lnTo>
                    <a:pt x="190" y="96"/>
                  </a:lnTo>
                  <a:lnTo>
                    <a:pt x="196" y="99"/>
                  </a:lnTo>
                  <a:lnTo>
                    <a:pt x="202" y="103"/>
                  </a:lnTo>
                  <a:lnTo>
                    <a:pt x="208" y="105"/>
                  </a:lnTo>
                  <a:lnTo>
                    <a:pt x="216" y="106"/>
                  </a:lnTo>
                  <a:lnTo>
                    <a:pt x="222" y="108"/>
                  </a:lnTo>
                  <a:lnTo>
                    <a:pt x="223" y="108"/>
                  </a:lnTo>
                  <a:lnTo>
                    <a:pt x="225" y="109"/>
                  </a:lnTo>
                  <a:lnTo>
                    <a:pt x="227" y="113"/>
                  </a:lnTo>
                  <a:lnTo>
                    <a:pt x="231" y="117"/>
                  </a:lnTo>
                  <a:lnTo>
                    <a:pt x="236" y="119"/>
                  </a:lnTo>
                  <a:lnTo>
                    <a:pt x="241" y="121"/>
                  </a:lnTo>
                  <a:lnTo>
                    <a:pt x="246" y="121"/>
                  </a:lnTo>
                  <a:lnTo>
                    <a:pt x="251" y="119"/>
                  </a:lnTo>
                  <a:lnTo>
                    <a:pt x="256" y="117"/>
                  </a:lnTo>
                  <a:lnTo>
                    <a:pt x="262" y="115"/>
                  </a:lnTo>
                  <a:lnTo>
                    <a:pt x="260" y="121"/>
                  </a:lnTo>
                  <a:lnTo>
                    <a:pt x="262" y="128"/>
                  </a:lnTo>
                  <a:lnTo>
                    <a:pt x="263" y="141"/>
                  </a:lnTo>
                  <a:lnTo>
                    <a:pt x="267" y="154"/>
                  </a:lnTo>
                  <a:lnTo>
                    <a:pt x="268" y="167"/>
                  </a:lnTo>
                  <a:lnTo>
                    <a:pt x="268" y="169"/>
                  </a:lnTo>
                  <a:lnTo>
                    <a:pt x="267" y="170"/>
                  </a:lnTo>
                  <a:lnTo>
                    <a:pt x="263" y="175"/>
                  </a:lnTo>
                  <a:lnTo>
                    <a:pt x="262" y="179"/>
                  </a:lnTo>
                  <a:lnTo>
                    <a:pt x="260" y="180"/>
                  </a:lnTo>
                  <a:lnTo>
                    <a:pt x="262" y="181"/>
                  </a:lnTo>
                  <a:lnTo>
                    <a:pt x="272" y="186"/>
                  </a:lnTo>
                  <a:lnTo>
                    <a:pt x="277" y="188"/>
                  </a:lnTo>
                  <a:lnTo>
                    <a:pt x="279" y="193"/>
                  </a:lnTo>
                  <a:lnTo>
                    <a:pt x="281" y="198"/>
                  </a:lnTo>
                  <a:lnTo>
                    <a:pt x="282" y="202"/>
                  </a:lnTo>
                  <a:lnTo>
                    <a:pt x="281" y="207"/>
                  </a:lnTo>
                  <a:lnTo>
                    <a:pt x="279" y="212"/>
                  </a:lnTo>
                  <a:lnTo>
                    <a:pt x="277" y="212"/>
                  </a:lnTo>
                  <a:lnTo>
                    <a:pt x="274" y="212"/>
                  </a:lnTo>
                  <a:lnTo>
                    <a:pt x="273" y="209"/>
                  </a:lnTo>
                  <a:lnTo>
                    <a:pt x="272" y="206"/>
                  </a:lnTo>
                  <a:lnTo>
                    <a:pt x="272" y="201"/>
                  </a:lnTo>
                  <a:lnTo>
                    <a:pt x="269" y="196"/>
                  </a:lnTo>
                  <a:lnTo>
                    <a:pt x="267" y="198"/>
                  </a:lnTo>
                  <a:lnTo>
                    <a:pt x="265" y="200"/>
                  </a:lnTo>
                  <a:lnTo>
                    <a:pt x="264" y="204"/>
                  </a:lnTo>
                  <a:lnTo>
                    <a:pt x="262" y="207"/>
                  </a:lnTo>
                  <a:lnTo>
                    <a:pt x="258" y="209"/>
                  </a:lnTo>
                  <a:lnTo>
                    <a:pt x="254" y="211"/>
                  </a:lnTo>
                  <a:lnTo>
                    <a:pt x="245" y="212"/>
                  </a:lnTo>
                  <a:lnTo>
                    <a:pt x="240" y="213"/>
                  </a:lnTo>
                  <a:lnTo>
                    <a:pt x="236" y="215"/>
                  </a:lnTo>
                  <a:lnTo>
                    <a:pt x="234" y="218"/>
                  </a:lnTo>
                  <a:lnTo>
                    <a:pt x="234" y="220"/>
                  </a:lnTo>
                  <a:lnTo>
                    <a:pt x="234" y="223"/>
                  </a:lnTo>
                  <a:lnTo>
                    <a:pt x="236" y="224"/>
                  </a:lnTo>
                  <a:lnTo>
                    <a:pt x="241" y="224"/>
                  </a:lnTo>
                  <a:lnTo>
                    <a:pt x="245" y="225"/>
                  </a:lnTo>
                  <a:lnTo>
                    <a:pt x="248" y="227"/>
                  </a:lnTo>
                  <a:lnTo>
                    <a:pt x="250" y="231"/>
                  </a:lnTo>
                  <a:lnTo>
                    <a:pt x="253" y="231"/>
                  </a:lnTo>
                  <a:lnTo>
                    <a:pt x="254" y="231"/>
                  </a:lnTo>
                  <a:lnTo>
                    <a:pt x="254" y="232"/>
                  </a:lnTo>
                  <a:lnTo>
                    <a:pt x="254" y="234"/>
                  </a:lnTo>
                  <a:lnTo>
                    <a:pt x="250" y="236"/>
                  </a:lnTo>
                  <a:lnTo>
                    <a:pt x="243" y="238"/>
                  </a:lnTo>
                  <a:lnTo>
                    <a:pt x="232" y="238"/>
                  </a:lnTo>
                  <a:lnTo>
                    <a:pt x="230" y="238"/>
                  </a:lnTo>
                  <a:lnTo>
                    <a:pt x="230" y="240"/>
                  </a:lnTo>
                  <a:lnTo>
                    <a:pt x="229" y="249"/>
                  </a:lnTo>
                  <a:lnTo>
                    <a:pt x="229" y="252"/>
                  </a:lnTo>
                  <a:lnTo>
                    <a:pt x="230" y="253"/>
                  </a:lnTo>
                  <a:lnTo>
                    <a:pt x="234" y="256"/>
                  </a:lnTo>
                  <a:lnTo>
                    <a:pt x="235" y="258"/>
                  </a:lnTo>
                  <a:lnTo>
                    <a:pt x="237" y="264"/>
                  </a:lnTo>
                  <a:lnTo>
                    <a:pt x="239" y="270"/>
                  </a:lnTo>
                  <a:lnTo>
                    <a:pt x="236" y="277"/>
                  </a:lnTo>
                  <a:lnTo>
                    <a:pt x="231" y="290"/>
                  </a:lnTo>
                  <a:lnTo>
                    <a:pt x="223" y="302"/>
                  </a:lnTo>
                  <a:lnTo>
                    <a:pt x="221" y="310"/>
                  </a:lnTo>
                  <a:lnTo>
                    <a:pt x="220" y="314"/>
                  </a:lnTo>
                  <a:lnTo>
                    <a:pt x="218" y="316"/>
                  </a:lnTo>
                  <a:lnTo>
                    <a:pt x="215" y="317"/>
                  </a:lnTo>
                  <a:lnTo>
                    <a:pt x="211" y="317"/>
                  </a:lnTo>
                  <a:lnTo>
                    <a:pt x="207" y="316"/>
                  </a:lnTo>
                  <a:lnTo>
                    <a:pt x="204" y="314"/>
                  </a:lnTo>
                  <a:lnTo>
                    <a:pt x="207" y="308"/>
                  </a:lnTo>
                  <a:lnTo>
                    <a:pt x="211" y="300"/>
                  </a:lnTo>
                  <a:lnTo>
                    <a:pt x="221" y="283"/>
                  </a:lnTo>
                  <a:lnTo>
                    <a:pt x="218" y="281"/>
                  </a:lnTo>
                  <a:lnTo>
                    <a:pt x="215" y="279"/>
                  </a:lnTo>
                  <a:lnTo>
                    <a:pt x="211" y="279"/>
                  </a:lnTo>
                  <a:lnTo>
                    <a:pt x="207" y="278"/>
                  </a:lnTo>
                  <a:lnTo>
                    <a:pt x="202" y="275"/>
                  </a:lnTo>
                  <a:lnTo>
                    <a:pt x="198" y="271"/>
                  </a:lnTo>
                  <a:lnTo>
                    <a:pt x="194" y="270"/>
                  </a:lnTo>
                  <a:lnTo>
                    <a:pt x="189" y="271"/>
                  </a:lnTo>
                  <a:lnTo>
                    <a:pt x="185" y="272"/>
                  </a:lnTo>
                  <a:lnTo>
                    <a:pt x="182" y="271"/>
                  </a:lnTo>
                  <a:lnTo>
                    <a:pt x="178" y="269"/>
                  </a:lnTo>
                  <a:lnTo>
                    <a:pt x="175" y="265"/>
                  </a:lnTo>
                  <a:lnTo>
                    <a:pt x="174" y="262"/>
                  </a:lnTo>
                  <a:lnTo>
                    <a:pt x="171" y="259"/>
                  </a:lnTo>
                  <a:lnTo>
                    <a:pt x="159" y="256"/>
                  </a:lnTo>
                  <a:lnTo>
                    <a:pt x="155" y="255"/>
                  </a:lnTo>
                  <a:lnTo>
                    <a:pt x="140" y="240"/>
                  </a:lnTo>
                  <a:lnTo>
                    <a:pt x="136" y="238"/>
                  </a:lnTo>
                  <a:lnTo>
                    <a:pt x="129" y="234"/>
                  </a:lnTo>
                  <a:lnTo>
                    <a:pt x="116" y="231"/>
                  </a:lnTo>
                  <a:lnTo>
                    <a:pt x="107" y="230"/>
                  </a:lnTo>
                  <a:lnTo>
                    <a:pt x="100" y="230"/>
                  </a:lnTo>
                  <a:lnTo>
                    <a:pt x="98" y="227"/>
                  </a:lnTo>
                  <a:lnTo>
                    <a:pt x="95" y="225"/>
                  </a:lnTo>
                  <a:lnTo>
                    <a:pt x="91" y="219"/>
                  </a:lnTo>
                  <a:lnTo>
                    <a:pt x="89" y="217"/>
                  </a:lnTo>
                  <a:lnTo>
                    <a:pt x="85" y="214"/>
                  </a:lnTo>
                  <a:lnTo>
                    <a:pt x="80" y="212"/>
                  </a:lnTo>
                  <a:lnTo>
                    <a:pt x="74" y="211"/>
                  </a:lnTo>
                  <a:lnTo>
                    <a:pt x="74" y="209"/>
                  </a:lnTo>
                  <a:lnTo>
                    <a:pt x="74" y="207"/>
                  </a:lnTo>
                  <a:lnTo>
                    <a:pt x="74" y="205"/>
                  </a:lnTo>
                  <a:lnTo>
                    <a:pt x="75" y="204"/>
                  </a:lnTo>
                  <a:lnTo>
                    <a:pt x="79" y="200"/>
                  </a:lnTo>
                  <a:lnTo>
                    <a:pt x="80" y="199"/>
                  </a:lnTo>
                  <a:lnTo>
                    <a:pt x="81" y="198"/>
                  </a:lnTo>
                  <a:lnTo>
                    <a:pt x="83" y="194"/>
                  </a:lnTo>
                  <a:lnTo>
                    <a:pt x="83" y="192"/>
                  </a:lnTo>
                  <a:lnTo>
                    <a:pt x="84" y="191"/>
                  </a:lnTo>
                  <a:lnTo>
                    <a:pt x="90" y="182"/>
                  </a:lnTo>
                  <a:lnTo>
                    <a:pt x="98" y="173"/>
                  </a:lnTo>
                  <a:lnTo>
                    <a:pt x="102" y="166"/>
                  </a:lnTo>
                  <a:lnTo>
                    <a:pt x="102" y="162"/>
                  </a:lnTo>
                  <a:lnTo>
                    <a:pt x="100" y="160"/>
                  </a:lnTo>
                  <a:lnTo>
                    <a:pt x="96" y="155"/>
                  </a:lnTo>
                  <a:lnTo>
                    <a:pt x="95" y="149"/>
                  </a:lnTo>
                  <a:lnTo>
                    <a:pt x="95" y="142"/>
                  </a:lnTo>
                  <a:lnTo>
                    <a:pt x="98" y="136"/>
                  </a:lnTo>
                  <a:lnTo>
                    <a:pt x="99" y="134"/>
                  </a:lnTo>
                  <a:lnTo>
                    <a:pt x="100" y="130"/>
                  </a:lnTo>
                  <a:lnTo>
                    <a:pt x="103" y="128"/>
                  </a:lnTo>
                  <a:lnTo>
                    <a:pt x="103" y="125"/>
                  </a:lnTo>
                  <a:lnTo>
                    <a:pt x="102" y="122"/>
                  </a:lnTo>
                  <a:lnTo>
                    <a:pt x="100" y="118"/>
                  </a:lnTo>
                  <a:lnTo>
                    <a:pt x="96" y="112"/>
                  </a:lnTo>
                  <a:lnTo>
                    <a:pt x="96" y="109"/>
                  </a:lnTo>
                  <a:lnTo>
                    <a:pt x="96" y="105"/>
                  </a:lnTo>
                  <a:lnTo>
                    <a:pt x="96" y="97"/>
                  </a:lnTo>
                  <a:lnTo>
                    <a:pt x="95" y="96"/>
                  </a:lnTo>
                  <a:lnTo>
                    <a:pt x="93" y="94"/>
                  </a:lnTo>
                  <a:lnTo>
                    <a:pt x="90" y="93"/>
                  </a:lnTo>
                  <a:lnTo>
                    <a:pt x="89" y="91"/>
                  </a:lnTo>
                  <a:lnTo>
                    <a:pt x="89" y="8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6" name="Freeform 1045"/>
            <p:cNvSpPr>
              <a:spLocks/>
            </p:cNvSpPr>
            <p:nvPr/>
          </p:nvSpPr>
          <p:spPr bwMode="auto">
            <a:xfrm>
              <a:off x="2517776" y="6178551"/>
              <a:ext cx="14288" cy="15875"/>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2147483647 w 10"/>
                <a:gd name="T17" fmla="*/ 2147483647 h 10"/>
                <a:gd name="T18" fmla="*/ 2147483647 w 10"/>
                <a:gd name="T19" fmla="*/ 2147483647 h 10"/>
                <a:gd name="T20" fmla="*/ 0 w 10"/>
                <a:gd name="T21" fmla="*/ 2147483647 h 10"/>
                <a:gd name="T22" fmla="*/ 0 w 10"/>
                <a:gd name="T23" fmla="*/ 2147483647 h 10"/>
                <a:gd name="T24" fmla="*/ 2147483647 w 10"/>
                <a:gd name="T25" fmla="*/ 2147483647 h 10"/>
                <a:gd name="T26" fmla="*/ 2147483647 w 10"/>
                <a:gd name="T27" fmla="*/ 0 h 10"/>
                <a:gd name="T28" fmla="*/ 2147483647 w 10"/>
                <a:gd name="T29" fmla="*/ 0 h 10"/>
                <a:gd name="T30" fmla="*/ 2147483647 w 10"/>
                <a:gd name="T31" fmla="*/ 2147483647 h 10"/>
                <a:gd name="T32" fmla="*/ 2147483647 w 1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0"/>
                <a:gd name="T53" fmla="*/ 10 w 1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0">
                  <a:moveTo>
                    <a:pt x="9" y="1"/>
                  </a:moveTo>
                  <a:lnTo>
                    <a:pt x="9" y="1"/>
                  </a:lnTo>
                  <a:lnTo>
                    <a:pt x="10" y="5"/>
                  </a:lnTo>
                  <a:lnTo>
                    <a:pt x="10" y="7"/>
                  </a:lnTo>
                  <a:lnTo>
                    <a:pt x="8" y="8"/>
                  </a:lnTo>
                  <a:lnTo>
                    <a:pt x="5" y="10"/>
                  </a:lnTo>
                  <a:lnTo>
                    <a:pt x="3" y="8"/>
                  </a:lnTo>
                  <a:lnTo>
                    <a:pt x="1" y="7"/>
                  </a:lnTo>
                  <a:lnTo>
                    <a:pt x="0" y="5"/>
                  </a:lnTo>
                  <a:lnTo>
                    <a:pt x="0" y="4"/>
                  </a:lnTo>
                  <a:lnTo>
                    <a:pt x="3" y="1"/>
                  </a:lnTo>
                  <a:lnTo>
                    <a:pt x="5" y="0"/>
                  </a:lnTo>
                  <a:lnTo>
                    <a:pt x="8" y="0"/>
                  </a:lnTo>
                  <a:lnTo>
                    <a:pt x="9" y="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7" name="Freeform 1046"/>
            <p:cNvSpPr>
              <a:spLocks/>
            </p:cNvSpPr>
            <p:nvPr/>
          </p:nvSpPr>
          <p:spPr bwMode="auto">
            <a:xfrm>
              <a:off x="2466975" y="5775325"/>
              <a:ext cx="20638" cy="58738"/>
            </a:xfrm>
            <a:custGeom>
              <a:avLst/>
              <a:gdLst>
                <a:gd name="T0" fmla="*/ 2147483647 w 15"/>
                <a:gd name="T1" fmla="*/ 2147483647 h 37"/>
                <a:gd name="T2" fmla="*/ 2147483647 w 15"/>
                <a:gd name="T3" fmla="*/ 2147483647 h 37"/>
                <a:gd name="T4" fmla="*/ 2147483647 w 15"/>
                <a:gd name="T5" fmla="*/ 0 h 37"/>
                <a:gd name="T6" fmla="*/ 2147483647 w 15"/>
                <a:gd name="T7" fmla="*/ 0 h 37"/>
                <a:gd name="T8" fmla="*/ 2147483647 w 15"/>
                <a:gd name="T9" fmla="*/ 0 h 37"/>
                <a:gd name="T10" fmla="*/ 2147483647 w 15"/>
                <a:gd name="T11" fmla="*/ 2147483647 h 37"/>
                <a:gd name="T12" fmla="*/ 2147483647 w 15"/>
                <a:gd name="T13" fmla="*/ 2147483647 h 37"/>
                <a:gd name="T14" fmla="*/ 0 w 15"/>
                <a:gd name="T15" fmla="*/ 2147483647 h 37"/>
                <a:gd name="T16" fmla="*/ 0 w 15"/>
                <a:gd name="T17" fmla="*/ 2147483647 h 37"/>
                <a:gd name="T18" fmla="*/ 0 w 15"/>
                <a:gd name="T19" fmla="*/ 2147483647 h 37"/>
                <a:gd name="T20" fmla="*/ 2147483647 w 15"/>
                <a:gd name="T21" fmla="*/ 2147483647 h 37"/>
                <a:gd name="T22" fmla="*/ 2147483647 w 15"/>
                <a:gd name="T23" fmla="*/ 2147483647 h 37"/>
                <a:gd name="T24" fmla="*/ 2147483647 w 15"/>
                <a:gd name="T25" fmla="*/ 2147483647 h 37"/>
                <a:gd name="T26" fmla="*/ 2147483647 w 15"/>
                <a:gd name="T27" fmla="*/ 2147483647 h 37"/>
                <a:gd name="T28" fmla="*/ 2147483647 w 15"/>
                <a:gd name="T29" fmla="*/ 2147483647 h 37"/>
                <a:gd name="T30" fmla="*/ 2147483647 w 15"/>
                <a:gd name="T31" fmla="*/ 2147483647 h 37"/>
                <a:gd name="T32" fmla="*/ 2147483647 w 15"/>
                <a:gd name="T33" fmla="*/ 2147483647 h 37"/>
                <a:gd name="T34" fmla="*/ 2147483647 w 15"/>
                <a:gd name="T35" fmla="*/ 2147483647 h 37"/>
                <a:gd name="T36" fmla="*/ 2147483647 w 15"/>
                <a:gd name="T37" fmla="*/ 2147483647 h 37"/>
                <a:gd name="T38" fmla="*/ 2147483647 w 15"/>
                <a:gd name="T39" fmla="*/ 2147483647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37"/>
                <a:gd name="T62" fmla="*/ 15 w 15"/>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37">
                  <a:moveTo>
                    <a:pt x="15" y="12"/>
                  </a:moveTo>
                  <a:lnTo>
                    <a:pt x="12" y="4"/>
                  </a:lnTo>
                  <a:lnTo>
                    <a:pt x="11" y="0"/>
                  </a:lnTo>
                  <a:lnTo>
                    <a:pt x="10" y="0"/>
                  </a:lnTo>
                  <a:lnTo>
                    <a:pt x="8" y="0"/>
                  </a:lnTo>
                  <a:lnTo>
                    <a:pt x="3" y="3"/>
                  </a:lnTo>
                  <a:lnTo>
                    <a:pt x="1" y="6"/>
                  </a:lnTo>
                  <a:lnTo>
                    <a:pt x="0" y="10"/>
                  </a:lnTo>
                  <a:lnTo>
                    <a:pt x="0" y="16"/>
                  </a:lnTo>
                  <a:lnTo>
                    <a:pt x="0" y="27"/>
                  </a:lnTo>
                  <a:lnTo>
                    <a:pt x="1" y="37"/>
                  </a:lnTo>
                  <a:lnTo>
                    <a:pt x="7" y="31"/>
                  </a:lnTo>
                  <a:lnTo>
                    <a:pt x="11" y="30"/>
                  </a:lnTo>
                  <a:lnTo>
                    <a:pt x="15" y="31"/>
                  </a:lnTo>
                  <a:lnTo>
                    <a:pt x="15" y="28"/>
                  </a:lnTo>
                  <a:lnTo>
                    <a:pt x="15" y="24"/>
                  </a:lnTo>
                  <a:lnTo>
                    <a:pt x="14" y="22"/>
                  </a:lnTo>
                  <a:lnTo>
                    <a:pt x="15" y="18"/>
                  </a:lnTo>
                  <a:lnTo>
                    <a:pt x="15" y="15"/>
                  </a:lnTo>
                  <a:lnTo>
                    <a:pt x="15"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8" name="Freeform 1047"/>
            <p:cNvSpPr>
              <a:spLocks/>
            </p:cNvSpPr>
            <p:nvPr/>
          </p:nvSpPr>
          <p:spPr bwMode="auto">
            <a:xfrm>
              <a:off x="2487613" y="5868988"/>
              <a:ext cx="17462" cy="17462"/>
            </a:xfrm>
            <a:custGeom>
              <a:avLst/>
              <a:gdLst>
                <a:gd name="T0" fmla="*/ 2147483647 w 11"/>
                <a:gd name="T1" fmla="*/ 2147483647 h 11"/>
                <a:gd name="T2" fmla="*/ 2147483647 w 11"/>
                <a:gd name="T3" fmla="*/ 2147483647 h 11"/>
                <a:gd name="T4" fmla="*/ 2147483647 w 11"/>
                <a:gd name="T5" fmla="*/ 2147483647 h 11"/>
                <a:gd name="T6" fmla="*/ 2147483647 w 11"/>
                <a:gd name="T7" fmla="*/ 0 h 11"/>
                <a:gd name="T8" fmla="*/ 2147483647 w 11"/>
                <a:gd name="T9" fmla="*/ 0 h 11"/>
                <a:gd name="T10" fmla="*/ 2147483647 w 11"/>
                <a:gd name="T11" fmla="*/ 0 h 11"/>
                <a:gd name="T12" fmla="*/ 2147483647 w 11"/>
                <a:gd name="T13" fmla="*/ 2147483647 h 11"/>
                <a:gd name="T14" fmla="*/ 2147483647 w 11"/>
                <a:gd name="T15" fmla="*/ 2147483647 h 11"/>
                <a:gd name="T16" fmla="*/ 2147483647 w 11"/>
                <a:gd name="T17" fmla="*/ 2147483647 h 11"/>
                <a:gd name="T18" fmla="*/ 0 w 11"/>
                <a:gd name="T19" fmla="*/ 2147483647 h 11"/>
                <a:gd name="T20" fmla="*/ 2147483647 w 11"/>
                <a:gd name="T21" fmla="*/ 2147483647 h 11"/>
                <a:gd name="T22" fmla="*/ 2147483647 w 11"/>
                <a:gd name="T23" fmla="*/ 2147483647 h 11"/>
                <a:gd name="T24" fmla="*/ 2147483647 w 11"/>
                <a:gd name="T25" fmla="*/ 2147483647 h 11"/>
                <a:gd name="T26" fmla="*/ 2147483647 w 11"/>
                <a:gd name="T27" fmla="*/ 2147483647 h 11"/>
                <a:gd name="T28" fmla="*/ 2147483647 w 11"/>
                <a:gd name="T29" fmla="*/ 2147483647 h 11"/>
                <a:gd name="T30" fmla="*/ 2147483647 w 11"/>
                <a:gd name="T31" fmla="*/ 2147483647 h 11"/>
                <a:gd name="T32" fmla="*/ 2147483647 w 11"/>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11" y="6"/>
                  </a:moveTo>
                  <a:lnTo>
                    <a:pt x="11" y="2"/>
                  </a:lnTo>
                  <a:lnTo>
                    <a:pt x="11" y="1"/>
                  </a:lnTo>
                  <a:lnTo>
                    <a:pt x="10" y="0"/>
                  </a:lnTo>
                  <a:lnTo>
                    <a:pt x="7" y="0"/>
                  </a:lnTo>
                  <a:lnTo>
                    <a:pt x="5" y="0"/>
                  </a:lnTo>
                  <a:lnTo>
                    <a:pt x="2" y="2"/>
                  </a:lnTo>
                  <a:lnTo>
                    <a:pt x="1" y="4"/>
                  </a:lnTo>
                  <a:lnTo>
                    <a:pt x="1" y="6"/>
                  </a:lnTo>
                  <a:lnTo>
                    <a:pt x="0" y="8"/>
                  </a:lnTo>
                  <a:lnTo>
                    <a:pt x="1" y="10"/>
                  </a:lnTo>
                  <a:lnTo>
                    <a:pt x="2" y="11"/>
                  </a:lnTo>
                  <a:lnTo>
                    <a:pt x="6" y="11"/>
                  </a:lnTo>
                  <a:lnTo>
                    <a:pt x="9" y="10"/>
                  </a:lnTo>
                  <a:lnTo>
                    <a:pt x="10" y="10"/>
                  </a:lnTo>
                  <a:lnTo>
                    <a:pt x="11" y="9"/>
                  </a:lnTo>
                  <a:lnTo>
                    <a:pt x="1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49" name="Freeform 1048"/>
            <p:cNvSpPr>
              <a:spLocks/>
            </p:cNvSpPr>
            <p:nvPr/>
          </p:nvSpPr>
          <p:spPr bwMode="auto">
            <a:xfrm>
              <a:off x="2463804" y="5773738"/>
              <a:ext cx="22225" cy="58737"/>
            </a:xfrm>
            <a:custGeom>
              <a:avLst/>
              <a:gdLst>
                <a:gd name="T0" fmla="*/ 2147483647 w 16"/>
                <a:gd name="T1" fmla="*/ 2147483647 h 37"/>
                <a:gd name="T2" fmla="*/ 2147483647 w 16"/>
                <a:gd name="T3" fmla="*/ 2147483647 h 37"/>
                <a:gd name="T4" fmla="*/ 2147483647 w 16"/>
                <a:gd name="T5" fmla="*/ 2147483647 h 37"/>
                <a:gd name="T6" fmla="*/ 2147483647 w 16"/>
                <a:gd name="T7" fmla="*/ 0 h 37"/>
                <a:gd name="T8" fmla="*/ 2147483647 w 16"/>
                <a:gd name="T9" fmla="*/ 0 h 37"/>
                <a:gd name="T10" fmla="*/ 2147483647 w 16"/>
                <a:gd name="T11" fmla="*/ 0 h 37"/>
                <a:gd name="T12" fmla="*/ 2147483647 w 16"/>
                <a:gd name="T13" fmla="*/ 0 h 37"/>
                <a:gd name="T14" fmla="*/ 2147483647 w 16"/>
                <a:gd name="T15" fmla="*/ 2147483647 h 37"/>
                <a:gd name="T16" fmla="*/ 2147483647 w 16"/>
                <a:gd name="T17" fmla="*/ 2147483647 h 37"/>
                <a:gd name="T18" fmla="*/ 0 w 16"/>
                <a:gd name="T19" fmla="*/ 2147483647 h 37"/>
                <a:gd name="T20" fmla="*/ 0 w 16"/>
                <a:gd name="T21" fmla="*/ 2147483647 h 37"/>
                <a:gd name="T22" fmla="*/ 0 w 16"/>
                <a:gd name="T23" fmla="*/ 2147483647 h 37"/>
                <a:gd name="T24" fmla="*/ 2147483647 w 16"/>
                <a:gd name="T25" fmla="*/ 2147483647 h 37"/>
                <a:gd name="T26" fmla="*/ 2147483647 w 16"/>
                <a:gd name="T27" fmla="*/ 2147483647 h 37"/>
                <a:gd name="T28" fmla="*/ 2147483647 w 16"/>
                <a:gd name="T29" fmla="*/ 2147483647 h 37"/>
                <a:gd name="T30" fmla="*/ 2147483647 w 16"/>
                <a:gd name="T31" fmla="*/ 2147483647 h 37"/>
                <a:gd name="T32" fmla="*/ 2147483647 w 16"/>
                <a:gd name="T33" fmla="*/ 2147483647 h 37"/>
                <a:gd name="T34" fmla="*/ 2147483647 w 16"/>
                <a:gd name="T35" fmla="*/ 2147483647 h 37"/>
                <a:gd name="T36" fmla="*/ 2147483647 w 16"/>
                <a:gd name="T37" fmla="*/ 2147483647 h 37"/>
                <a:gd name="T38" fmla="*/ 2147483647 w 16"/>
                <a:gd name="T39" fmla="*/ 2147483647 h 37"/>
                <a:gd name="T40" fmla="*/ 2147483647 w 16"/>
                <a:gd name="T41" fmla="*/ 2147483647 h 37"/>
                <a:gd name="T42" fmla="*/ 2147483647 w 16"/>
                <a:gd name="T43" fmla="*/ 2147483647 h 37"/>
                <a:gd name="T44" fmla="*/ 2147483647 w 16"/>
                <a:gd name="T45" fmla="*/ 2147483647 h 37"/>
                <a:gd name="T46" fmla="*/ 2147483647 w 16"/>
                <a:gd name="T47" fmla="*/ 2147483647 h 37"/>
                <a:gd name="T48" fmla="*/ 2147483647 w 16"/>
                <a:gd name="T49" fmla="*/ 2147483647 h 37"/>
                <a:gd name="T50" fmla="*/ 2147483647 w 16"/>
                <a:gd name="T51" fmla="*/ 2147483647 h 37"/>
                <a:gd name="T52" fmla="*/ 2147483647 w 16"/>
                <a:gd name="T53" fmla="*/ 2147483647 h 37"/>
                <a:gd name="T54" fmla="*/ 2147483647 w 16"/>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
                <a:gd name="T85" fmla="*/ 0 h 37"/>
                <a:gd name="T86" fmla="*/ 16 w 16"/>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 h="37">
                  <a:moveTo>
                    <a:pt x="16" y="12"/>
                  </a:moveTo>
                  <a:lnTo>
                    <a:pt x="16" y="12"/>
                  </a:lnTo>
                  <a:lnTo>
                    <a:pt x="13" y="4"/>
                  </a:lnTo>
                  <a:lnTo>
                    <a:pt x="12" y="0"/>
                  </a:lnTo>
                  <a:lnTo>
                    <a:pt x="10" y="0"/>
                  </a:lnTo>
                  <a:lnTo>
                    <a:pt x="9" y="0"/>
                  </a:lnTo>
                  <a:lnTo>
                    <a:pt x="4" y="3"/>
                  </a:lnTo>
                  <a:lnTo>
                    <a:pt x="2" y="6"/>
                  </a:lnTo>
                  <a:lnTo>
                    <a:pt x="0" y="10"/>
                  </a:lnTo>
                  <a:lnTo>
                    <a:pt x="0" y="16"/>
                  </a:lnTo>
                  <a:lnTo>
                    <a:pt x="0" y="26"/>
                  </a:lnTo>
                  <a:lnTo>
                    <a:pt x="2" y="37"/>
                  </a:lnTo>
                  <a:lnTo>
                    <a:pt x="8" y="31"/>
                  </a:lnTo>
                  <a:lnTo>
                    <a:pt x="12" y="30"/>
                  </a:lnTo>
                  <a:lnTo>
                    <a:pt x="16" y="31"/>
                  </a:lnTo>
                  <a:lnTo>
                    <a:pt x="16" y="28"/>
                  </a:lnTo>
                  <a:lnTo>
                    <a:pt x="16" y="24"/>
                  </a:lnTo>
                  <a:lnTo>
                    <a:pt x="14" y="22"/>
                  </a:lnTo>
                  <a:lnTo>
                    <a:pt x="16" y="18"/>
                  </a:lnTo>
                  <a:lnTo>
                    <a:pt x="16" y="15"/>
                  </a:lnTo>
                  <a:lnTo>
                    <a:pt x="16"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0" name="Freeform 1049"/>
            <p:cNvSpPr>
              <a:spLocks/>
            </p:cNvSpPr>
            <p:nvPr/>
          </p:nvSpPr>
          <p:spPr bwMode="auto">
            <a:xfrm>
              <a:off x="2486029" y="5865817"/>
              <a:ext cx="17463" cy="19050"/>
            </a:xfrm>
            <a:custGeom>
              <a:avLst/>
              <a:gdLst>
                <a:gd name="T0" fmla="*/ 2147483647 w 11"/>
                <a:gd name="T1" fmla="*/ 2147483647 h 12"/>
                <a:gd name="T2" fmla="*/ 2147483647 w 11"/>
                <a:gd name="T3" fmla="*/ 2147483647 h 12"/>
                <a:gd name="T4" fmla="*/ 2147483647 w 11"/>
                <a:gd name="T5" fmla="*/ 2147483647 h 12"/>
                <a:gd name="T6" fmla="*/ 2147483647 w 11"/>
                <a:gd name="T7" fmla="*/ 2147483647 h 12"/>
                <a:gd name="T8" fmla="*/ 2147483647 w 11"/>
                <a:gd name="T9" fmla="*/ 0 h 12"/>
                <a:gd name="T10" fmla="*/ 2147483647 w 11"/>
                <a:gd name="T11" fmla="*/ 0 h 12"/>
                <a:gd name="T12" fmla="*/ 2147483647 w 11"/>
                <a:gd name="T13" fmla="*/ 0 h 12"/>
                <a:gd name="T14" fmla="*/ 2147483647 w 11"/>
                <a:gd name="T15" fmla="*/ 0 h 12"/>
                <a:gd name="T16" fmla="*/ 2147483647 w 11"/>
                <a:gd name="T17" fmla="*/ 2147483647 h 12"/>
                <a:gd name="T18" fmla="*/ 2147483647 w 11"/>
                <a:gd name="T19" fmla="*/ 2147483647 h 12"/>
                <a:gd name="T20" fmla="*/ 2147483647 w 11"/>
                <a:gd name="T21" fmla="*/ 2147483647 h 12"/>
                <a:gd name="T22" fmla="*/ 2147483647 w 11"/>
                <a:gd name="T23" fmla="*/ 2147483647 h 12"/>
                <a:gd name="T24" fmla="*/ 2147483647 w 11"/>
                <a:gd name="T25" fmla="*/ 2147483647 h 12"/>
                <a:gd name="T26" fmla="*/ 0 w 11"/>
                <a:gd name="T27" fmla="*/ 2147483647 h 12"/>
                <a:gd name="T28" fmla="*/ 2147483647 w 11"/>
                <a:gd name="T29" fmla="*/ 2147483647 h 12"/>
                <a:gd name="T30" fmla="*/ 2147483647 w 11"/>
                <a:gd name="T31" fmla="*/ 2147483647 h 12"/>
                <a:gd name="T32" fmla="*/ 2147483647 w 11"/>
                <a:gd name="T33" fmla="*/ 2147483647 h 12"/>
                <a:gd name="T34" fmla="*/ 2147483647 w 11"/>
                <a:gd name="T35" fmla="*/ 2147483647 h 12"/>
                <a:gd name="T36" fmla="*/ 2147483647 w 11"/>
                <a:gd name="T37" fmla="*/ 2147483647 h 12"/>
                <a:gd name="T38" fmla="*/ 2147483647 w 11"/>
                <a:gd name="T39" fmla="*/ 2147483647 h 12"/>
                <a:gd name="T40" fmla="*/ 2147483647 w 11"/>
                <a:gd name="T41" fmla="*/ 2147483647 h 12"/>
                <a:gd name="T42" fmla="*/ 2147483647 w 11"/>
                <a:gd name="T43" fmla="*/ 2147483647 h 12"/>
                <a:gd name="T44" fmla="*/ 2147483647 w 11"/>
                <a:gd name="T45" fmla="*/ 2147483647 h 12"/>
                <a:gd name="T46" fmla="*/ 2147483647 w 11"/>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2"/>
                <a:gd name="T74" fmla="*/ 11 w 11"/>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2">
                  <a:moveTo>
                    <a:pt x="11" y="6"/>
                  </a:moveTo>
                  <a:lnTo>
                    <a:pt x="11" y="6"/>
                  </a:lnTo>
                  <a:lnTo>
                    <a:pt x="11" y="3"/>
                  </a:lnTo>
                  <a:lnTo>
                    <a:pt x="11" y="2"/>
                  </a:lnTo>
                  <a:lnTo>
                    <a:pt x="10" y="0"/>
                  </a:lnTo>
                  <a:lnTo>
                    <a:pt x="7" y="0"/>
                  </a:lnTo>
                  <a:lnTo>
                    <a:pt x="5" y="0"/>
                  </a:lnTo>
                  <a:lnTo>
                    <a:pt x="2" y="3"/>
                  </a:lnTo>
                  <a:lnTo>
                    <a:pt x="1" y="5"/>
                  </a:lnTo>
                  <a:lnTo>
                    <a:pt x="1" y="6"/>
                  </a:lnTo>
                  <a:lnTo>
                    <a:pt x="0" y="9"/>
                  </a:lnTo>
                  <a:lnTo>
                    <a:pt x="1" y="11"/>
                  </a:lnTo>
                  <a:lnTo>
                    <a:pt x="2" y="12"/>
                  </a:lnTo>
                  <a:lnTo>
                    <a:pt x="6" y="12"/>
                  </a:lnTo>
                  <a:lnTo>
                    <a:pt x="8" y="11"/>
                  </a:lnTo>
                  <a:lnTo>
                    <a:pt x="10" y="11"/>
                  </a:lnTo>
                  <a:lnTo>
                    <a:pt x="11" y="10"/>
                  </a:lnTo>
                  <a:lnTo>
                    <a:pt x="1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1" name="Freeform 1050"/>
            <p:cNvSpPr>
              <a:spLocks/>
            </p:cNvSpPr>
            <p:nvPr/>
          </p:nvSpPr>
          <p:spPr bwMode="auto">
            <a:xfrm>
              <a:off x="2457451" y="5856289"/>
              <a:ext cx="6350" cy="15875"/>
            </a:xfrm>
            <a:custGeom>
              <a:avLst/>
              <a:gdLst>
                <a:gd name="T0" fmla="*/ 0 w 4"/>
                <a:gd name="T1" fmla="*/ 2147483647 h 10"/>
                <a:gd name="T2" fmla="*/ 0 w 4"/>
                <a:gd name="T3" fmla="*/ 2147483647 h 10"/>
                <a:gd name="T4" fmla="*/ 2147483647 w 4"/>
                <a:gd name="T5" fmla="*/ 0 h 10"/>
                <a:gd name="T6" fmla="*/ 2147483647 w 4"/>
                <a:gd name="T7" fmla="*/ 0 h 10"/>
                <a:gd name="T8" fmla="*/ 2147483647 w 4"/>
                <a:gd name="T9" fmla="*/ 2147483647 h 10"/>
                <a:gd name="T10" fmla="*/ 2147483647 w 4"/>
                <a:gd name="T11" fmla="*/ 2147483647 h 10"/>
                <a:gd name="T12" fmla="*/ 2147483647 w 4"/>
                <a:gd name="T13" fmla="*/ 2147483647 h 10"/>
                <a:gd name="T14" fmla="*/ 2147483647 w 4"/>
                <a:gd name="T15" fmla="*/ 2147483647 h 10"/>
                <a:gd name="T16" fmla="*/ 0 w 4"/>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0"/>
                <a:gd name="T29" fmla="*/ 4 w 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0">
                  <a:moveTo>
                    <a:pt x="0" y="3"/>
                  </a:moveTo>
                  <a:lnTo>
                    <a:pt x="0" y="2"/>
                  </a:lnTo>
                  <a:lnTo>
                    <a:pt x="2" y="0"/>
                  </a:lnTo>
                  <a:lnTo>
                    <a:pt x="3" y="0"/>
                  </a:lnTo>
                  <a:lnTo>
                    <a:pt x="4" y="4"/>
                  </a:lnTo>
                  <a:lnTo>
                    <a:pt x="4" y="8"/>
                  </a:lnTo>
                  <a:lnTo>
                    <a:pt x="3" y="9"/>
                  </a:lnTo>
                  <a:lnTo>
                    <a:pt x="2" y="10"/>
                  </a:lnTo>
                  <a:lnTo>
                    <a:pt x="0"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2" name="Freeform 1051"/>
            <p:cNvSpPr>
              <a:spLocks/>
            </p:cNvSpPr>
            <p:nvPr/>
          </p:nvSpPr>
          <p:spPr bwMode="auto">
            <a:xfrm>
              <a:off x="2468564" y="5895979"/>
              <a:ext cx="4762" cy="9525"/>
            </a:xfrm>
            <a:custGeom>
              <a:avLst/>
              <a:gdLst>
                <a:gd name="T0" fmla="*/ 2147483647 w 3"/>
                <a:gd name="T1" fmla="*/ 2147483647 h 6"/>
                <a:gd name="T2" fmla="*/ 2147483647 w 3"/>
                <a:gd name="T3" fmla="*/ 2147483647 h 6"/>
                <a:gd name="T4" fmla="*/ 2147483647 w 3"/>
                <a:gd name="T5" fmla="*/ 2147483647 h 6"/>
                <a:gd name="T6" fmla="*/ 0 w 3"/>
                <a:gd name="T7" fmla="*/ 2147483647 h 6"/>
                <a:gd name="T8" fmla="*/ 0 w 3"/>
                <a:gd name="T9" fmla="*/ 2147483647 h 6"/>
                <a:gd name="T10" fmla="*/ 0 w 3"/>
                <a:gd name="T11" fmla="*/ 2147483647 h 6"/>
                <a:gd name="T12" fmla="*/ 0 w 3"/>
                <a:gd name="T13" fmla="*/ 0 h 6"/>
                <a:gd name="T14" fmla="*/ 2147483647 w 3"/>
                <a:gd name="T15" fmla="*/ 0 h 6"/>
                <a:gd name="T16" fmla="*/ 2147483647 w 3"/>
                <a:gd name="T17" fmla="*/ 0 h 6"/>
                <a:gd name="T18" fmla="*/ 2147483647 w 3"/>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6"/>
                <a:gd name="T32" fmla="*/ 3 w 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6">
                  <a:moveTo>
                    <a:pt x="3" y="3"/>
                  </a:moveTo>
                  <a:lnTo>
                    <a:pt x="3" y="6"/>
                  </a:lnTo>
                  <a:lnTo>
                    <a:pt x="1" y="6"/>
                  </a:lnTo>
                  <a:lnTo>
                    <a:pt x="0" y="5"/>
                  </a:lnTo>
                  <a:lnTo>
                    <a:pt x="0" y="3"/>
                  </a:lnTo>
                  <a:lnTo>
                    <a:pt x="0" y="2"/>
                  </a:lnTo>
                  <a:lnTo>
                    <a:pt x="0" y="0"/>
                  </a:lnTo>
                  <a:lnTo>
                    <a:pt x="1" y="0"/>
                  </a:lnTo>
                  <a:lnTo>
                    <a:pt x="3" y="0"/>
                  </a:lnTo>
                  <a:lnTo>
                    <a:pt x="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3" name="Freeform 1052"/>
            <p:cNvSpPr>
              <a:spLocks/>
            </p:cNvSpPr>
            <p:nvPr/>
          </p:nvSpPr>
          <p:spPr bwMode="auto">
            <a:xfrm>
              <a:off x="2455863" y="5854701"/>
              <a:ext cx="6350" cy="15875"/>
            </a:xfrm>
            <a:custGeom>
              <a:avLst/>
              <a:gdLst>
                <a:gd name="T0" fmla="*/ 0 w 4"/>
                <a:gd name="T1" fmla="*/ 2147483647 h 10"/>
                <a:gd name="T2" fmla="*/ 0 w 4"/>
                <a:gd name="T3" fmla="*/ 2147483647 h 10"/>
                <a:gd name="T4" fmla="*/ 0 w 4"/>
                <a:gd name="T5" fmla="*/ 2147483647 h 10"/>
                <a:gd name="T6" fmla="*/ 2147483647 w 4"/>
                <a:gd name="T7" fmla="*/ 0 h 10"/>
                <a:gd name="T8" fmla="*/ 2147483647 w 4"/>
                <a:gd name="T9" fmla="*/ 0 h 10"/>
                <a:gd name="T10" fmla="*/ 2147483647 w 4"/>
                <a:gd name="T11" fmla="*/ 0 h 10"/>
                <a:gd name="T12" fmla="*/ 2147483647 w 4"/>
                <a:gd name="T13" fmla="*/ 2147483647 h 10"/>
                <a:gd name="T14" fmla="*/ 2147483647 w 4"/>
                <a:gd name="T15" fmla="*/ 2147483647 h 10"/>
                <a:gd name="T16" fmla="*/ 2147483647 w 4"/>
                <a:gd name="T17" fmla="*/ 2147483647 h 10"/>
                <a:gd name="T18" fmla="*/ 2147483647 w 4"/>
                <a:gd name="T19" fmla="*/ 2147483647 h 10"/>
                <a:gd name="T20" fmla="*/ 2147483647 w 4"/>
                <a:gd name="T21" fmla="*/ 2147483647 h 10"/>
                <a:gd name="T22" fmla="*/ 0 w 4"/>
                <a:gd name="T23" fmla="*/ 2147483647 h 10"/>
                <a:gd name="T24" fmla="*/ 0 w 4"/>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0"/>
                <a:gd name="T41" fmla="*/ 4 w 4"/>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0">
                  <a:moveTo>
                    <a:pt x="0" y="3"/>
                  </a:moveTo>
                  <a:lnTo>
                    <a:pt x="0" y="3"/>
                  </a:lnTo>
                  <a:lnTo>
                    <a:pt x="0" y="1"/>
                  </a:lnTo>
                  <a:lnTo>
                    <a:pt x="1" y="0"/>
                  </a:lnTo>
                  <a:lnTo>
                    <a:pt x="3" y="0"/>
                  </a:lnTo>
                  <a:lnTo>
                    <a:pt x="4" y="4"/>
                  </a:lnTo>
                  <a:lnTo>
                    <a:pt x="4" y="7"/>
                  </a:lnTo>
                  <a:lnTo>
                    <a:pt x="3" y="9"/>
                  </a:lnTo>
                  <a:lnTo>
                    <a:pt x="1" y="10"/>
                  </a:lnTo>
                  <a:lnTo>
                    <a:pt x="0"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4" name="Freeform 1053"/>
            <p:cNvSpPr>
              <a:spLocks/>
            </p:cNvSpPr>
            <p:nvPr/>
          </p:nvSpPr>
          <p:spPr bwMode="auto">
            <a:xfrm>
              <a:off x="2466979" y="5894392"/>
              <a:ext cx="3175" cy="9525"/>
            </a:xfrm>
            <a:custGeom>
              <a:avLst/>
              <a:gdLst>
                <a:gd name="T0" fmla="*/ 2147483647 w 2"/>
                <a:gd name="T1" fmla="*/ 2147483647 h 6"/>
                <a:gd name="T2" fmla="*/ 2147483647 w 2"/>
                <a:gd name="T3" fmla="*/ 2147483647 h 6"/>
                <a:gd name="T4" fmla="*/ 2147483647 w 2"/>
                <a:gd name="T5" fmla="*/ 2147483647 h 6"/>
                <a:gd name="T6" fmla="*/ 2147483647 w 2"/>
                <a:gd name="T7" fmla="*/ 2147483647 h 6"/>
                <a:gd name="T8" fmla="*/ 2147483647 w 2"/>
                <a:gd name="T9" fmla="*/ 2147483647 h 6"/>
                <a:gd name="T10" fmla="*/ 0 w 2"/>
                <a:gd name="T11" fmla="*/ 2147483647 h 6"/>
                <a:gd name="T12" fmla="*/ 0 w 2"/>
                <a:gd name="T13" fmla="*/ 2147483647 h 6"/>
                <a:gd name="T14" fmla="*/ 0 w 2"/>
                <a:gd name="T15" fmla="*/ 2147483647 h 6"/>
                <a:gd name="T16" fmla="*/ 0 w 2"/>
                <a:gd name="T17" fmla="*/ 2147483647 h 6"/>
                <a:gd name="T18" fmla="*/ 0 w 2"/>
                <a:gd name="T19" fmla="*/ 0 h 6"/>
                <a:gd name="T20" fmla="*/ 0 w 2"/>
                <a:gd name="T21" fmla="*/ 0 h 6"/>
                <a:gd name="T22" fmla="*/ 2147483647 w 2"/>
                <a:gd name="T23" fmla="*/ 0 h 6"/>
                <a:gd name="T24" fmla="*/ 2147483647 w 2"/>
                <a:gd name="T25" fmla="*/ 0 h 6"/>
                <a:gd name="T26" fmla="*/ 2147483647 w 2"/>
                <a:gd name="T27" fmla="*/ 2147483647 h 6"/>
                <a:gd name="T28" fmla="*/ 2147483647 w 2"/>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
                <a:gd name="T46" fmla="*/ 0 h 6"/>
                <a:gd name="T47" fmla="*/ 2 w 2"/>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 h="6">
                  <a:moveTo>
                    <a:pt x="2" y="3"/>
                  </a:moveTo>
                  <a:lnTo>
                    <a:pt x="2" y="3"/>
                  </a:lnTo>
                  <a:lnTo>
                    <a:pt x="2" y="6"/>
                  </a:lnTo>
                  <a:lnTo>
                    <a:pt x="1" y="6"/>
                  </a:lnTo>
                  <a:lnTo>
                    <a:pt x="0" y="5"/>
                  </a:lnTo>
                  <a:lnTo>
                    <a:pt x="0" y="3"/>
                  </a:lnTo>
                  <a:lnTo>
                    <a:pt x="0" y="1"/>
                  </a:lnTo>
                  <a:lnTo>
                    <a:pt x="0" y="0"/>
                  </a:lnTo>
                  <a:lnTo>
                    <a:pt x="1" y="0"/>
                  </a:lnTo>
                  <a:lnTo>
                    <a:pt x="2" y="0"/>
                  </a:lnTo>
                  <a:lnTo>
                    <a:pt x="2"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5" name="Freeform 1054"/>
            <p:cNvSpPr>
              <a:spLocks/>
            </p:cNvSpPr>
            <p:nvPr/>
          </p:nvSpPr>
          <p:spPr bwMode="auto">
            <a:xfrm>
              <a:off x="2428876" y="6002342"/>
              <a:ext cx="14288" cy="28575"/>
            </a:xfrm>
            <a:custGeom>
              <a:avLst/>
              <a:gdLst>
                <a:gd name="T0" fmla="*/ 2147483647 w 9"/>
                <a:gd name="T1" fmla="*/ 2147483647 h 18"/>
                <a:gd name="T2" fmla="*/ 2147483647 w 9"/>
                <a:gd name="T3" fmla="*/ 2147483647 h 18"/>
                <a:gd name="T4" fmla="*/ 2147483647 w 9"/>
                <a:gd name="T5" fmla="*/ 2147483647 h 18"/>
                <a:gd name="T6" fmla="*/ 2147483647 w 9"/>
                <a:gd name="T7" fmla="*/ 2147483647 h 18"/>
                <a:gd name="T8" fmla="*/ 2147483647 w 9"/>
                <a:gd name="T9" fmla="*/ 2147483647 h 18"/>
                <a:gd name="T10" fmla="*/ 2147483647 w 9"/>
                <a:gd name="T11" fmla="*/ 2147483647 h 18"/>
                <a:gd name="T12" fmla="*/ 0 w 9"/>
                <a:gd name="T13" fmla="*/ 2147483647 h 18"/>
                <a:gd name="T14" fmla="*/ 0 w 9"/>
                <a:gd name="T15" fmla="*/ 2147483647 h 18"/>
                <a:gd name="T16" fmla="*/ 0 w 9"/>
                <a:gd name="T17" fmla="*/ 2147483647 h 18"/>
                <a:gd name="T18" fmla="*/ 2147483647 w 9"/>
                <a:gd name="T19" fmla="*/ 2147483647 h 18"/>
                <a:gd name="T20" fmla="*/ 2147483647 w 9"/>
                <a:gd name="T21" fmla="*/ 0 h 18"/>
                <a:gd name="T22" fmla="*/ 2147483647 w 9"/>
                <a:gd name="T23" fmla="*/ 0 h 18"/>
                <a:gd name="T24" fmla="*/ 2147483647 w 9"/>
                <a:gd name="T25" fmla="*/ 2147483647 h 18"/>
                <a:gd name="T26" fmla="*/ 2147483647 w 9"/>
                <a:gd name="T27" fmla="*/ 2147483647 h 18"/>
                <a:gd name="T28" fmla="*/ 2147483647 w 9"/>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8"/>
                <a:gd name="T47" fmla="*/ 9 w 9"/>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8">
                  <a:moveTo>
                    <a:pt x="9" y="9"/>
                  </a:moveTo>
                  <a:lnTo>
                    <a:pt x="8" y="14"/>
                  </a:lnTo>
                  <a:lnTo>
                    <a:pt x="7" y="16"/>
                  </a:lnTo>
                  <a:lnTo>
                    <a:pt x="4" y="18"/>
                  </a:lnTo>
                  <a:lnTo>
                    <a:pt x="3" y="18"/>
                  </a:lnTo>
                  <a:lnTo>
                    <a:pt x="2" y="16"/>
                  </a:lnTo>
                  <a:lnTo>
                    <a:pt x="0" y="14"/>
                  </a:lnTo>
                  <a:lnTo>
                    <a:pt x="0" y="9"/>
                  </a:lnTo>
                  <a:lnTo>
                    <a:pt x="0" y="4"/>
                  </a:lnTo>
                  <a:lnTo>
                    <a:pt x="3" y="1"/>
                  </a:lnTo>
                  <a:lnTo>
                    <a:pt x="4" y="0"/>
                  </a:lnTo>
                  <a:lnTo>
                    <a:pt x="7" y="0"/>
                  </a:lnTo>
                  <a:lnTo>
                    <a:pt x="8" y="2"/>
                  </a:lnTo>
                  <a:lnTo>
                    <a:pt x="9" y="4"/>
                  </a:lnTo>
                  <a:lnTo>
                    <a:pt x="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6" name="Freeform 1055"/>
            <p:cNvSpPr>
              <a:spLocks/>
            </p:cNvSpPr>
            <p:nvPr/>
          </p:nvSpPr>
          <p:spPr bwMode="auto">
            <a:xfrm>
              <a:off x="2455863" y="6180138"/>
              <a:ext cx="31750" cy="23812"/>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2147483647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2147483647 h 15"/>
                <a:gd name="T18" fmla="*/ 0 w 22"/>
                <a:gd name="T19" fmla="*/ 2147483647 h 15"/>
                <a:gd name="T20" fmla="*/ 2147483647 w 22"/>
                <a:gd name="T21" fmla="*/ 2147483647 h 15"/>
                <a:gd name="T22" fmla="*/ 2147483647 w 22"/>
                <a:gd name="T23" fmla="*/ 0 h 15"/>
                <a:gd name="T24" fmla="*/ 2147483647 w 22"/>
                <a:gd name="T25" fmla="*/ 0 h 15"/>
                <a:gd name="T26" fmla="*/ 2147483647 w 22"/>
                <a:gd name="T27" fmla="*/ 2147483647 h 15"/>
                <a:gd name="T28" fmla="*/ 2147483647 w 22"/>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15"/>
                <a:gd name="T47" fmla="*/ 22 w 22"/>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15">
                  <a:moveTo>
                    <a:pt x="17" y="6"/>
                  </a:moveTo>
                  <a:lnTo>
                    <a:pt x="21" y="11"/>
                  </a:lnTo>
                  <a:lnTo>
                    <a:pt x="22" y="12"/>
                  </a:lnTo>
                  <a:lnTo>
                    <a:pt x="21" y="13"/>
                  </a:lnTo>
                  <a:lnTo>
                    <a:pt x="18" y="15"/>
                  </a:lnTo>
                  <a:lnTo>
                    <a:pt x="14" y="13"/>
                  </a:lnTo>
                  <a:lnTo>
                    <a:pt x="7" y="11"/>
                  </a:lnTo>
                  <a:lnTo>
                    <a:pt x="4" y="9"/>
                  </a:lnTo>
                  <a:lnTo>
                    <a:pt x="1" y="6"/>
                  </a:lnTo>
                  <a:lnTo>
                    <a:pt x="0" y="4"/>
                  </a:lnTo>
                  <a:lnTo>
                    <a:pt x="1" y="2"/>
                  </a:lnTo>
                  <a:lnTo>
                    <a:pt x="3" y="0"/>
                  </a:lnTo>
                  <a:lnTo>
                    <a:pt x="4" y="0"/>
                  </a:lnTo>
                  <a:lnTo>
                    <a:pt x="8" y="2"/>
                  </a:lnTo>
                  <a:lnTo>
                    <a:pt x="17"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7" name="Freeform 1056"/>
            <p:cNvSpPr>
              <a:spLocks/>
            </p:cNvSpPr>
            <p:nvPr/>
          </p:nvSpPr>
          <p:spPr bwMode="auto">
            <a:xfrm>
              <a:off x="2428875" y="6000750"/>
              <a:ext cx="12700" cy="26988"/>
            </a:xfrm>
            <a:custGeom>
              <a:avLst/>
              <a:gdLst>
                <a:gd name="T0" fmla="*/ 2147483647 w 9"/>
                <a:gd name="T1" fmla="*/ 2147483647 h 17"/>
                <a:gd name="T2" fmla="*/ 2147483647 w 9"/>
                <a:gd name="T3" fmla="*/ 2147483647 h 17"/>
                <a:gd name="T4" fmla="*/ 2147483647 w 9"/>
                <a:gd name="T5" fmla="*/ 2147483647 h 17"/>
                <a:gd name="T6" fmla="*/ 2147483647 w 9"/>
                <a:gd name="T7" fmla="*/ 2147483647 h 17"/>
                <a:gd name="T8" fmla="*/ 2147483647 w 9"/>
                <a:gd name="T9" fmla="*/ 2147483647 h 17"/>
                <a:gd name="T10" fmla="*/ 2147483647 w 9"/>
                <a:gd name="T11" fmla="*/ 2147483647 h 17"/>
                <a:gd name="T12" fmla="*/ 2147483647 w 9"/>
                <a:gd name="T13" fmla="*/ 2147483647 h 17"/>
                <a:gd name="T14" fmla="*/ 2147483647 w 9"/>
                <a:gd name="T15" fmla="*/ 2147483647 h 17"/>
                <a:gd name="T16" fmla="*/ 0 w 9"/>
                <a:gd name="T17" fmla="*/ 2147483647 h 17"/>
                <a:gd name="T18" fmla="*/ 0 w 9"/>
                <a:gd name="T19" fmla="*/ 2147483647 h 17"/>
                <a:gd name="T20" fmla="*/ 0 w 9"/>
                <a:gd name="T21" fmla="*/ 2147483647 h 17"/>
                <a:gd name="T22" fmla="*/ 0 w 9"/>
                <a:gd name="T23" fmla="*/ 2147483647 h 17"/>
                <a:gd name="T24" fmla="*/ 2147483647 w 9"/>
                <a:gd name="T25" fmla="*/ 2147483647 h 17"/>
                <a:gd name="T26" fmla="*/ 2147483647 w 9"/>
                <a:gd name="T27" fmla="*/ 0 h 17"/>
                <a:gd name="T28" fmla="*/ 2147483647 w 9"/>
                <a:gd name="T29" fmla="*/ 0 h 17"/>
                <a:gd name="T30" fmla="*/ 2147483647 w 9"/>
                <a:gd name="T31" fmla="*/ 0 h 17"/>
                <a:gd name="T32" fmla="*/ 2147483647 w 9"/>
                <a:gd name="T33" fmla="*/ 2147483647 h 17"/>
                <a:gd name="T34" fmla="*/ 2147483647 w 9"/>
                <a:gd name="T35" fmla="*/ 2147483647 h 17"/>
                <a:gd name="T36" fmla="*/ 2147483647 w 9"/>
                <a:gd name="T37" fmla="*/ 2147483647 h 17"/>
                <a:gd name="T38" fmla="*/ 2147483647 w 9"/>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7"/>
                <a:gd name="T62" fmla="*/ 9 w 9"/>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7">
                  <a:moveTo>
                    <a:pt x="9" y="9"/>
                  </a:moveTo>
                  <a:lnTo>
                    <a:pt x="9" y="9"/>
                  </a:lnTo>
                  <a:lnTo>
                    <a:pt x="8" y="14"/>
                  </a:lnTo>
                  <a:lnTo>
                    <a:pt x="6" y="16"/>
                  </a:lnTo>
                  <a:lnTo>
                    <a:pt x="4" y="17"/>
                  </a:lnTo>
                  <a:lnTo>
                    <a:pt x="3" y="17"/>
                  </a:lnTo>
                  <a:lnTo>
                    <a:pt x="1" y="16"/>
                  </a:lnTo>
                  <a:lnTo>
                    <a:pt x="0" y="14"/>
                  </a:lnTo>
                  <a:lnTo>
                    <a:pt x="0" y="9"/>
                  </a:lnTo>
                  <a:lnTo>
                    <a:pt x="0" y="4"/>
                  </a:lnTo>
                  <a:lnTo>
                    <a:pt x="3" y="1"/>
                  </a:lnTo>
                  <a:lnTo>
                    <a:pt x="4" y="0"/>
                  </a:lnTo>
                  <a:lnTo>
                    <a:pt x="6" y="0"/>
                  </a:lnTo>
                  <a:lnTo>
                    <a:pt x="8" y="2"/>
                  </a:lnTo>
                  <a:lnTo>
                    <a:pt x="9" y="4"/>
                  </a:lnTo>
                  <a:lnTo>
                    <a:pt x="9"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8" name="Freeform 1057"/>
            <p:cNvSpPr>
              <a:spLocks/>
            </p:cNvSpPr>
            <p:nvPr/>
          </p:nvSpPr>
          <p:spPr bwMode="auto">
            <a:xfrm>
              <a:off x="2454275" y="6178554"/>
              <a:ext cx="31750" cy="22225"/>
            </a:xfrm>
            <a:custGeom>
              <a:avLst/>
              <a:gdLst>
                <a:gd name="T0" fmla="*/ 2147483647 w 22"/>
                <a:gd name="T1" fmla="*/ 2147483647 h 14"/>
                <a:gd name="T2" fmla="*/ 2147483647 w 22"/>
                <a:gd name="T3" fmla="*/ 2147483647 h 14"/>
                <a:gd name="T4" fmla="*/ 2147483647 w 22"/>
                <a:gd name="T5" fmla="*/ 2147483647 h 14"/>
                <a:gd name="T6" fmla="*/ 2147483647 w 22"/>
                <a:gd name="T7" fmla="*/ 2147483647 h 14"/>
                <a:gd name="T8" fmla="*/ 2147483647 w 22"/>
                <a:gd name="T9" fmla="*/ 2147483647 h 14"/>
                <a:gd name="T10" fmla="*/ 2147483647 w 22"/>
                <a:gd name="T11" fmla="*/ 2147483647 h 14"/>
                <a:gd name="T12" fmla="*/ 2147483647 w 22"/>
                <a:gd name="T13" fmla="*/ 2147483647 h 14"/>
                <a:gd name="T14" fmla="*/ 2147483647 w 22"/>
                <a:gd name="T15" fmla="*/ 2147483647 h 14"/>
                <a:gd name="T16" fmla="*/ 2147483647 w 22"/>
                <a:gd name="T17" fmla="*/ 2147483647 h 14"/>
                <a:gd name="T18" fmla="*/ 2147483647 w 22"/>
                <a:gd name="T19" fmla="*/ 2147483647 h 14"/>
                <a:gd name="T20" fmla="*/ 2147483647 w 22"/>
                <a:gd name="T21" fmla="*/ 2147483647 h 14"/>
                <a:gd name="T22" fmla="*/ 0 w 22"/>
                <a:gd name="T23" fmla="*/ 2147483647 h 14"/>
                <a:gd name="T24" fmla="*/ 2147483647 w 22"/>
                <a:gd name="T25" fmla="*/ 2147483647 h 14"/>
                <a:gd name="T26" fmla="*/ 2147483647 w 22"/>
                <a:gd name="T27" fmla="*/ 2147483647 h 14"/>
                <a:gd name="T28" fmla="*/ 2147483647 w 22"/>
                <a:gd name="T29" fmla="*/ 0 h 14"/>
                <a:gd name="T30" fmla="*/ 2147483647 w 22"/>
                <a:gd name="T31" fmla="*/ 0 h 14"/>
                <a:gd name="T32" fmla="*/ 2147483647 w 22"/>
                <a:gd name="T33" fmla="*/ 2147483647 h 14"/>
                <a:gd name="T34" fmla="*/ 2147483647 w 22"/>
                <a:gd name="T35" fmla="*/ 2147483647 h 14"/>
                <a:gd name="T36" fmla="*/ 2147483647 w 2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14"/>
                <a:gd name="T59" fmla="*/ 22 w 2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14">
                  <a:moveTo>
                    <a:pt x="16" y="6"/>
                  </a:moveTo>
                  <a:lnTo>
                    <a:pt x="16" y="6"/>
                  </a:lnTo>
                  <a:lnTo>
                    <a:pt x="20" y="11"/>
                  </a:lnTo>
                  <a:lnTo>
                    <a:pt x="22" y="12"/>
                  </a:lnTo>
                  <a:lnTo>
                    <a:pt x="20" y="13"/>
                  </a:lnTo>
                  <a:lnTo>
                    <a:pt x="18" y="14"/>
                  </a:lnTo>
                  <a:lnTo>
                    <a:pt x="14" y="13"/>
                  </a:lnTo>
                  <a:lnTo>
                    <a:pt x="6" y="11"/>
                  </a:lnTo>
                  <a:lnTo>
                    <a:pt x="4" y="8"/>
                  </a:lnTo>
                  <a:lnTo>
                    <a:pt x="1" y="6"/>
                  </a:lnTo>
                  <a:lnTo>
                    <a:pt x="0" y="4"/>
                  </a:lnTo>
                  <a:lnTo>
                    <a:pt x="1" y="1"/>
                  </a:lnTo>
                  <a:lnTo>
                    <a:pt x="2" y="0"/>
                  </a:lnTo>
                  <a:lnTo>
                    <a:pt x="4" y="0"/>
                  </a:lnTo>
                  <a:lnTo>
                    <a:pt x="8" y="1"/>
                  </a:lnTo>
                  <a:lnTo>
                    <a:pt x="1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59" name="Freeform 1058"/>
            <p:cNvSpPr>
              <a:spLocks/>
            </p:cNvSpPr>
            <p:nvPr/>
          </p:nvSpPr>
          <p:spPr bwMode="auto">
            <a:xfrm>
              <a:off x="2481263" y="6208716"/>
              <a:ext cx="30162" cy="28575"/>
            </a:xfrm>
            <a:custGeom>
              <a:avLst/>
              <a:gdLst>
                <a:gd name="T0" fmla="*/ 2147483647 w 21"/>
                <a:gd name="T1" fmla="*/ 2147483647 h 18"/>
                <a:gd name="T2" fmla="*/ 0 w 21"/>
                <a:gd name="T3" fmla="*/ 2147483647 h 18"/>
                <a:gd name="T4" fmla="*/ 0 w 21"/>
                <a:gd name="T5" fmla="*/ 2147483647 h 18"/>
                <a:gd name="T6" fmla="*/ 0 w 21"/>
                <a:gd name="T7" fmla="*/ 2147483647 h 18"/>
                <a:gd name="T8" fmla="*/ 2147483647 w 21"/>
                <a:gd name="T9" fmla="*/ 0 h 18"/>
                <a:gd name="T10" fmla="*/ 2147483647 w 21"/>
                <a:gd name="T11" fmla="*/ 0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2147483647 w 21"/>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18"/>
                <a:gd name="T56" fmla="*/ 21 w 21"/>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18">
                  <a:moveTo>
                    <a:pt x="1" y="7"/>
                  </a:moveTo>
                  <a:lnTo>
                    <a:pt x="0" y="5"/>
                  </a:lnTo>
                  <a:lnTo>
                    <a:pt x="0" y="4"/>
                  </a:lnTo>
                  <a:lnTo>
                    <a:pt x="0" y="3"/>
                  </a:lnTo>
                  <a:lnTo>
                    <a:pt x="4" y="0"/>
                  </a:lnTo>
                  <a:lnTo>
                    <a:pt x="6" y="0"/>
                  </a:lnTo>
                  <a:lnTo>
                    <a:pt x="9" y="1"/>
                  </a:lnTo>
                  <a:lnTo>
                    <a:pt x="12" y="3"/>
                  </a:lnTo>
                  <a:lnTo>
                    <a:pt x="17" y="7"/>
                  </a:lnTo>
                  <a:lnTo>
                    <a:pt x="20" y="13"/>
                  </a:lnTo>
                  <a:lnTo>
                    <a:pt x="21" y="14"/>
                  </a:lnTo>
                  <a:lnTo>
                    <a:pt x="20" y="17"/>
                  </a:lnTo>
                  <a:lnTo>
                    <a:pt x="20" y="18"/>
                  </a:lnTo>
                  <a:lnTo>
                    <a:pt x="19" y="18"/>
                  </a:lnTo>
                  <a:lnTo>
                    <a:pt x="12" y="18"/>
                  </a:lnTo>
                  <a:lnTo>
                    <a:pt x="7" y="16"/>
                  </a:lnTo>
                  <a:lnTo>
                    <a:pt x="4" y="13"/>
                  </a:lnTo>
                  <a:lnTo>
                    <a:pt x="1"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0" name="Freeform 1059"/>
            <p:cNvSpPr>
              <a:spLocks/>
            </p:cNvSpPr>
            <p:nvPr/>
          </p:nvSpPr>
          <p:spPr bwMode="auto">
            <a:xfrm>
              <a:off x="2441575" y="6027739"/>
              <a:ext cx="19050" cy="41275"/>
            </a:xfrm>
            <a:custGeom>
              <a:avLst/>
              <a:gdLst>
                <a:gd name="T0" fmla="*/ 2147483647 w 13"/>
                <a:gd name="T1" fmla="*/ 2147483647 h 26"/>
                <a:gd name="T2" fmla="*/ 2147483647 w 13"/>
                <a:gd name="T3" fmla="*/ 2147483647 h 26"/>
                <a:gd name="T4" fmla="*/ 2147483647 w 13"/>
                <a:gd name="T5" fmla="*/ 2147483647 h 26"/>
                <a:gd name="T6" fmla="*/ 2147483647 w 13"/>
                <a:gd name="T7" fmla="*/ 2147483647 h 26"/>
                <a:gd name="T8" fmla="*/ 2147483647 w 13"/>
                <a:gd name="T9" fmla="*/ 2147483647 h 26"/>
                <a:gd name="T10" fmla="*/ 2147483647 w 13"/>
                <a:gd name="T11" fmla="*/ 0 h 26"/>
                <a:gd name="T12" fmla="*/ 2147483647 w 13"/>
                <a:gd name="T13" fmla="*/ 2147483647 h 26"/>
                <a:gd name="T14" fmla="*/ 2147483647 w 13"/>
                <a:gd name="T15" fmla="*/ 2147483647 h 26"/>
                <a:gd name="T16" fmla="*/ 2147483647 w 13"/>
                <a:gd name="T17" fmla="*/ 2147483647 h 26"/>
                <a:gd name="T18" fmla="*/ 0 w 13"/>
                <a:gd name="T19" fmla="*/ 2147483647 h 26"/>
                <a:gd name="T20" fmla="*/ 2147483647 w 13"/>
                <a:gd name="T21" fmla="*/ 2147483647 h 26"/>
                <a:gd name="T22" fmla="*/ 2147483647 w 13"/>
                <a:gd name="T23" fmla="*/ 2147483647 h 26"/>
                <a:gd name="T24" fmla="*/ 2147483647 w 13"/>
                <a:gd name="T25" fmla="*/ 2147483647 h 26"/>
                <a:gd name="T26" fmla="*/ 2147483647 w 13"/>
                <a:gd name="T27" fmla="*/ 2147483647 h 26"/>
                <a:gd name="T28" fmla="*/ 2147483647 w 13"/>
                <a:gd name="T29" fmla="*/ 2147483647 h 26"/>
                <a:gd name="T30" fmla="*/ 2147483647 w 13"/>
                <a:gd name="T31" fmla="*/ 2147483647 h 26"/>
                <a:gd name="T32" fmla="*/ 2147483647 w 13"/>
                <a:gd name="T33" fmla="*/ 2147483647 h 26"/>
                <a:gd name="T34" fmla="*/ 2147483647 w 13"/>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6"/>
                <a:gd name="T56" fmla="*/ 13 w 13"/>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6">
                  <a:moveTo>
                    <a:pt x="13" y="17"/>
                  </a:moveTo>
                  <a:lnTo>
                    <a:pt x="13" y="13"/>
                  </a:lnTo>
                  <a:lnTo>
                    <a:pt x="13" y="9"/>
                  </a:lnTo>
                  <a:lnTo>
                    <a:pt x="13" y="5"/>
                  </a:lnTo>
                  <a:lnTo>
                    <a:pt x="10" y="2"/>
                  </a:lnTo>
                  <a:lnTo>
                    <a:pt x="9" y="0"/>
                  </a:lnTo>
                  <a:lnTo>
                    <a:pt x="5" y="2"/>
                  </a:lnTo>
                  <a:lnTo>
                    <a:pt x="3" y="3"/>
                  </a:lnTo>
                  <a:lnTo>
                    <a:pt x="1" y="5"/>
                  </a:lnTo>
                  <a:lnTo>
                    <a:pt x="0" y="10"/>
                  </a:lnTo>
                  <a:lnTo>
                    <a:pt x="1" y="15"/>
                  </a:lnTo>
                  <a:lnTo>
                    <a:pt x="5" y="25"/>
                  </a:lnTo>
                  <a:lnTo>
                    <a:pt x="6" y="26"/>
                  </a:lnTo>
                  <a:lnTo>
                    <a:pt x="9" y="26"/>
                  </a:lnTo>
                  <a:lnTo>
                    <a:pt x="11" y="25"/>
                  </a:lnTo>
                  <a:lnTo>
                    <a:pt x="13" y="24"/>
                  </a:lnTo>
                  <a:lnTo>
                    <a:pt x="13" y="21"/>
                  </a:lnTo>
                  <a:lnTo>
                    <a:pt x="13" y="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1" name="Freeform 1060"/>
            <p:cNvSpPr>
              <a:spLocks/>
            </p:cNvSpPr>
            <p:nvPr/>
          </p:nvSpPr>
          <p:spPr bwMode="auto">
            <a:xfrm>
              <a:off x="2478088" y="6207126"/>
              <a:ext cx="31750" cy="28575"/>
            </a:xfrm>
            <a:custGeom>
              <a:avLst/>
              <a:gdLst>
                <a:gd name="T0" fmla="*/ 2147483647 w 22"/>
                <a:gd name="T1" fmla="*/ 2147483647 h 18"/>
                <a:gd name="T2" fmla="*/ 2147483647 w 22"/>
                <a:gd name="T3" fmla="*/ 2147483647 h 18"/>
                <a:gd name="T4" fmla="*/ 0 w 22"/>
                <a:gd name="T5" fmla="*/ 2147483647 h 18"/>
                <a:gd name="T6" fmla="*/ 0 w 22"/>
                <a:gd name="T7" fmla="*/ 2147483647 h 18"/>
                <a:gd name="T8" fmla="*/ 0 w 22"/>
                <a:gd name="T9" fmla="*/ 2147483647 h 18"/>
                <a:gd name="T10" fmla="*/ 0 w 22"/>
                <a:gd name="T11" fmla="*/ 2147483647 h 18"/>
                <a:gd name="T12" fmla="*/ 2147483647 w 22"/>
                <a:gd name="T13" fmla="*/ 0 h 18"/>
                <a:gd name="T14" fmla="*/ 2147483647 w 22"/>
                <a:gd name="T15" fmla="*/ 0 h 18"/>
                <a:gd name="T16" fmla="*/ 2147483647 w 22"/>
                <a:gd name="T17" fmla="*/ 2147483647 h 18"/>
                <a:gd name="T18" fmla="*/ 2147483647 w 22"/>
                <a:gd name="T19" fmla="*/ 2147483647 h 18"/>
                <a:gd name="T20" fmla="*/ 2147483647 w 22"/>
                <a:gd name="T21" fmla="*/ 2147483647 h 18"/>
                <a:gd name="T22" fmla="*/ 2147483647 w 22"/>
                <a:gd name="T23" fmla="*/ 2147483647 h 18"/>
                <a:gd name="T24" fmla="*/ 2147483647 w 22"/>
                <a:gd name="T25" fmla="*/ 2147483647 h 18"/>
                <a:gd name="T26" fmla="*/ 2147483647 w 22"/>
                <a:gd name="T27" fmla="*/ 2147483647 h 18"/>
                <a:gd name="T28" fmla="*/ 2147483647 w 22"/>
                <a:gd name="T29" fmla="*/ 2147483647 h 18"/>
                <a:gd name="T30" fmla="*/ 2147483647 w 22"/>
                <a:gd name="T31" fmla="*/ 2147483647 h 18"/>
                <a:gd name="T32" fmla="*/ 2147483647 w 22"/>
                <a:gd name="T33" fmla="*/ 2147483647 h 18"/>
                <a:gd name="T34" fmla="*/ 2147483647 w 22"/>
                <a:gd name="T35" fmla="*/ 2147483647 h 18"/>
                <a:gd name="T36" fmla="*/ 2147483647 w 22"/>
                <a:gd name="T37" fmla="*/ 2147483647 h 18"/>
                <a:gd name="T38" fmla="*/ 2147483647 w 22"/>
                <a:gd name="T39" fmla="*/ 2147483647 h 18"/>
                <a:gd name="T40" fmla="*/ 2147483647 w 22"/>
                <a:gd name="T41" fmla="*/ 2147483647 h 18"/>
                <a:gd name="T42" fmla="*/ 2147483647 w 22"/>
                <a:gd name="T43" fmla="*/ 2147483647 h 18"/>
                <a:gd name="T44" fmla="*/ 2147483647 w 22"/>
                <a:gd name="T45" fmla="*/ 2147483647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18"/>
                <a:gd name="T71" fmla="*/ 22 w 22"/>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18">
                  <a:moveTo>
                    <a:pt x="2" y="7"/>
                  </a:moveTo>
                  <a:lnTo>
                    <a:pt x="2" y="7"/>
                  </a:lnTo>
                  <a:lnTo>
                    <a:pt x="0" y="5"/>
                  </a:lnTo>
                  <a:lnTo>
                    <a:pt x="0" y="4"/>
                  </a:lnTo>
                  <a:lnTo>
                    <a:pt x="0" y="2"/>
                  </a:lnTo>
                  <a:lnTo>
                    <a:pt x="4" y="0"/>
                  </a:lnTo>
                  <a:lnTo>
                    <a:pt x="7" y="0"/>
                  </a:lnTo>
                  <a:lnTo>
                    <a:pt x="9" y="1"/>
                  </a:lnTo>
                  <a:lnTo>
                    <a:pt x="13" y="2"/>
                  </a:lnTo>
                  <a:lnTo>
                    <a:pt x="18" y="7"/>
                  </a:lnTo>
                  <a:lnTo>
                    <a:pt x="21" y="13"/>
                  </a:lnTo>
                  <a:lnTo>
                    <a:pt x="22" y="14"/>
                  </a:lnTo>
                  <a:lnTo>
                    <a:pt x="21" y="17"/>
                  </a:lnTo>
                  <a:lnTo>
                    <a:pt x="21" y="18"/>
                  </a:lnTo>
                  <a:lnTo>
                    <a:pt x="19" y="18"/>
                  </a:lnTo>
                  <a:lnTo>
                    <a:pt x="13" y="18"/>
                  </a:lnTo>
                  <a:lnTo>
                    <a:pt x="8" y="15"/>
                  </a:lnTo>
                  <a:lnTo>
                    <a:pt x="4" y="13"/>
                  </a:lnTo>
                  <a:lnTo>
                    <a:pt x="2"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2" name="Freeform 1061"/>
            <p:cNvSpPr>
              <a:spLocks/>
            </p:cNvSpPr>
            <p:nvPr/>
          </p:nvSpPr>
          <p:spPr bwMode="auto">
            <a:xfrm>
              <a:off x="2439988" y="6026151"/>
              <a:ext cx="17462" cy="41275"/>
            </a:xfrm>
            <a:custGeom>
              <a:avLst/>
              <a:gdLst>
                <a:gd name="T0" fmla="*/ 2147483647 w 12"/>
                <a:gd name="T1" fmla="*/ 2147483647 h 26"/>
                <a:gd name="T2" fmla="*/ 2147483647 w 12"/>
                <a:gd name="T3" fmla="*/ 2147483647 h 26"/>
                <a:gd name="T4" fmla="*/ 2147483647 w 12"/>
                <a:gd name="T5" fmla="*/ 2147483647 h 26"/>
                <a:gd name="T6" fmla="*/ 2147483647 w 12"/>
                <a:gd name="T7" fmla="*/ 2147483647 h 26"/>
                <a:gd name="T8" fmla="*/ 2147483647 w 12"/>
                <a:gd name="T9" fmla="*/ 2147483647 h 26"/>
                <a:gd name="T10" fmla="*/ 2147483647 w 12"/>
                <a:gd name="T11" fmla="*/ 2147483647 h 26"/>
                <a:gd name="T12" fmla="*/ 2147483647 w 12"/>
                <a:gd name="T13" fmla="*/ 2147483647 h 26"/>
                <a:gd name="T14" fmla="*/ 2147483647 w 12"/>
                <a:gd name="T15" fmla="*/ 0 h 26"/>
                <a:gd name="T16" fmla="*/ 2147483647 w 12"/>
                <a:gd name="T17" fmla="*/ 2147483647 h 26"/>
                <a:gd name="T18" fmla="*/ 2147483647 w 12"/>
                <a:gd name="T19" fmla="*/ 2147483647 h 26"/>
                <a:gd name="T20" fmla="*/ 2147483647 w 12"/>
                <a:gd name="T21" fmla="*/ 2147483647 h 26"/>
                <a:gd name="T22" fmla="*/ 2147483647 w 12"/>
                <a:gd name="T23" fmla="*/ 2147483647 h 26"/>
                <a:gd name="T24" fmla="*/ 0 w 12"/>
                <a:gd name="T25" fmla="*/ 2147483647 h 26"/>
                <a:gd name="T26" fmla="*/ 2147483647 w 12"/>
                <a:gd name="T27" fmla="*/ 2147483647 h 26"/>
                <a:gd name="T28" fmla="*/ 2147483647 w 12"/>
                <a:gd name="T29" fmla="*/ 2147483647 h 26"/>
                <a:gd name="T30" fmla="*/ 2147483647 w 12"/>
                <a:gd name="T31" fmla="*/ 2147483647 h 26"/>
                <a:gd name="T32" fmla="*/ 2147483647 w 12"/>
                <a:gd name="T33" fmla="*/ 2147483647 h 26"/>
                <a:gd name="T34" fmla="*/ 2147483647 w 12"/>
                <a:gd name="T35" fmla="*/ 2147483647 h 26"/>
                <a:gd name="T36" fmla="*/ 2147483647 w 12"/>
                <a:gd name="T37" fmla="*/ 2147483647 h 26"/>
                <a:gd name="T38" fmla="*/ 2147483647 w 12"/>
                <a:gd name="T39" fmla="*/ 2147483647 h 26"/>
                <a:gd name="T40" fmla="*/ 2147483647 w 12"/>
                <a:gd name="T41" fmla="*/ 2147483647 h 26"/>
                <a:gd name="T42" fmla="*/ 2147483647 w 12"/>
                <a:gd name="T43" fmla="*/ 2147483647 h 26"/>
                <a:gd name="T44" fmla="*/ 2147483647 w 12"/>
                <a:gd name="T45" fmla="*/ 2147483647 h 26"/>
                <a:gd name="T46" fmla="*/ 2147483647 w 12"/>
                <a:gd name="T47" fmla="*/ 2147483647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26"/>
                <a:gd name="T74" fmla="*/ 12 w 12"/>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26">
                  <a:moveTo>
                    <a:pt x="12" y="17"/>
                  </a:moveTo>
                  <a:lnTo>
                    <a:pt x="12" y="17"/>
                  </a:lnTo>
                  <a:lnTo>
                    <a:pt x="12" y="13"/>
                  </a:lnTo>
                  <a:lnTo>
                    <a:pt x="12" y="8"/>
                  </a:lnTo>
                  <a:lnTo>
                    <a:pt x="12" y="5"/>
                  </a:lnTo>
                  <a:lnTo>
                    <a:pt x="10" y="1"/>
                  </a:lnTo>
                  <a:lnTo>
                    <a:pt x="9" y="0"/>
                  </a:lnTo>
                  <a:lnTo>
                    <a:pt x="5" y="1"/>
                  </a:lnTo>
                  <a:lnTo>
                    <a:pt x="2" y="3"/>
                  </a:lnTo>
                  <a:lnTo>
                    <a:pt x="1" y="5"/>
                  </a:lnTo>
                  <a:lnTo>
                    <a:pt x="0" y="10"/>
                  </a:lnTo>
                  <a:lnTo>
                    <a:pt x="1" y="14"/>
                  </a:lnTo>
                  <a:lnTo>
                    <a:pt x="5" y="25"/>
                  </a:lnTo>
                  <a:lnTo>
                    <a:pt x="6" y="26"/>
                  </a:lnTo>
                  <a:lnTo>
                    <a:pt x="9" y="26"/>
                  </a:lnTo>
                  <a:lnTo>
                    <a:pt x="11" y="25"/>
                  </a:lnTo>
                  <a:lnTo>
                    <a:pt x="12" y="24"/>
                  </a:lnTo>
                  <a:lnTo>
                    <a:pt x="12" y="20"/>
                  </a:lnTo>
                  <a:lnTo>
                    <a:pt x="12"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3" name="Freeform 1062"/>
            <p:cNvSpPr>
              <a:spLocks/>
            </p:cNvSpPr>
            <p:nvPr/>
          </p:nvSpPr>
          <p:spPr bwMode="auto">
            <a:xfrm>
              <a:off x="2439988" y="6075368"/>
              <a:ext cx="12700" cy="22225"/>
            </a:xfrm>
            <a:custGeom>
              <a:avLst/>
              <a:gdLst>
                <a:gd name="T0" fmla="*/ 2147483647 w 9"/>
                <a:gd name="T1" fmla="*/ 2147483647 h 14"/>
                <a:gd name="T2" fmla="*/ 2147483647 w 9"/>
                <a:gd name="T3" fmla="*/ 2147483647 h 14"/>
                <a:gd name="T4" fmla="*/ 2147483647 w 9"/>
                <a:gd name="T5" fmla="*/ 0 h 14"/>
                <a:gd name="T6" fmla="*/ 2147483647 w 9"/>
                <a:gd name="T7" fmla="*/ 0 h 14"/>
                <a:gd name="T8" fmla="*/ 2147483647 w 9"/>
                <a:gd name="T9" fmla="*/ 0 h 14"/>
                <a:gd name="T10" fmla="*/ 0 w 9"/>
                <a:gd name="T11" fmla="*/ 2147483647 h 14"/>
                <a:gd name="T12" fmla="*/ 0 w 9"/>
                <a:gd name="T13" fmla="*/ 2147483647 h 14"/>
                <a:gd name="T14" fmla="*/ 0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4"/>
                <a:gd name="T44" fmla="*/ 9 w 9"/>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4">
                  <a:moveTo>
                    <a:pt x="7" y="7"/>
                  </a:moveTo>
                  <a:lnTo>
                    <a:pt x="6" y="2"/>
                  </a:lnTo>
                  <a:lnTo>
                    <a:pt x="5" y="0"/>
                  </a:lnTo>
                  <a:lnTo>
                    <a:pt x="4" y="0"/>
                  </a:lnTo>
                  <a:lnTo>
                    <a:pt x="1" y="0"/>
                  </a:lnTo>
                  <a:lnTo>
                    <a:pt x="0" y="1"/>
                  </a:lnTo>
                  <a:lnTo>
                    <a:pt x="0" y="5"/>
                  </a:lnTo>
                  <a:lnTo>
                    <a:pt x="0" y="9"/>
                  </a:lnTo>
                  <a:lnTo>
                    <a:pt x="1" y="13"/>
                  </a:lnTo>
                  <a:lnTo>
                    <a:pt x="2" y="14"/>
                  </a:lnTo>
                  <a:lnTo>
                    <a:pt x="5" y="14"/>
                  </a:lnTo>
                  <a:lnTo>
                    <a:pt x="7" y="12"/>
                  </a:lnTo>
                  <a:lnTo>
                    <a:pt x="9" y="9"/>
                  </a:lnTo>
                  <a:lnTo>
                    <a:pt x="7"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4" name="Freeform 1063"/>
            <p:cNvSpPr>
              <a:spLocks/>
            </p:cNvSpPr>
            <p:nvPr/>
          </p:nvSpPr>
          <p:spPr bwMode="auto">
            <a:xfrm>
              <a:off x="2460625" y="6094417"/>
              <a:ext cx="12700" cy="22225"/>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2147483647 h 14"/>
                <a:gd name="T12" fmla="*/ 2147483647 w 9"/>
                <a:gd name="T13" fmla="*/ 2147483647 h 14"/>
                <a:gd name="T14" fmla="*/ 0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4"/>
                <a:gd name="T47" fmla="*/ 9 w 9"/>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4">
                  <a:moveTo>
                    <a:pt x="7" y="8"/>
                  </a:moveTo>
                  <a:lnTo>
                    <a:pt x="7" y="6"/>
                  </a:lnTo>
                  <a:lnTo>
                    <a:pt x="7" y="2"/>
                  </a:lnTo>
                  <a:lnTo>
                    <a:pt x="6" y="0"/>
                  </a:lnTo>
                  <a:lnTo>
                    <a:pt x="5" y="0"/>
                  </a:lnTo>
                  <a:lnTo>
                    <a:pt x="2" y="2"/>
                  </a:lnTo>
                  <a:lnTo>
                    <a:pt x="1" y="5"/>
                  </a:lnTo>
                  <a:lnTo>
                    <a:pt x="0" y="8"/>
                  </a:lnTo>
                  <a:lnTo>
                    <a:pt x="1" y="12"/>
                  </a:lnTo>
                  <a:lnTo>
                    <a:pt x="2" y="13"/>
                  </a:lnTo>
                  <a:lnTo>
                    <a:pt x="5" y="14"/>
                  </a:lnTo>
                  <a:lnTo>
                    <a:pt x="7" y="13"/>
                  </a:lnTo>
                  <a:lnTo>
                    <a:pt x="9" y="12"/>
                  </a:lnTo>
                  <a:lnTo>
                    <a:pt x="9" y="11"/>
                  </a:lnTo>
                  <a:lnTo>
                    <a:pt x="7"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5" name="Freeform 1064"/>
            <p:cNvSpPr>
              <a:spLocks/>
            </p:cNvSpPr>
            <p:nvPr/>
          </p:nvSpPr>
          <p:spPr bwMode="auto">
            <a:xfrm>
              <a:off x="2436815" y="6073779"/>
              <a:ext cx="12700" cy="22225"/>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0 h 14"/>
                <a:gd name="T12" fmla="*/ 2147483647 w 9"/>
                <a:gd name="T13" fmla="*/ 0 h 14"/>
                <a:gd name="T14" fmla="*/ 0 w 9"/>
                <a:gd name="T15" fmla="*/ 2147483647 h 14"/>
                <a:gd name="T16" fmla="*/ 0 w 9"/>
                <a:gd name="T17" fmla="*/ 2147483647 h 14"/>
                <a:gd name="T18" fmla="*/ 0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2147483647 w 9"/>
                <a:gd name="T33" fmla="*/ 2147483647 h 14"/>
                <a:gd name="T34" fmla="*/ 2147483647 w 9"/>
                <a:gd name="T35" fmla="*/ 2147483647 h 14"/>
                <a:gd name="T36" fmla="*/ 2147483647 w 9"/>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4"/>
                <a:gd name="T59" fmla="*/ 9 w 9"/>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4">
                  <a:moveTo>
                    <a:pt x="8" y="7"/>
                  </a:moveTo>
                  <a:lnTo>
                    <a:pt x="8" y="7"/>
                  </a:lnTo>
                  <a:lnTo>
                    <a:pt x="7" y="2"/>
                  </a:lnTo>
                  <a:lnTo>
                    <a:pt x="6" y="0"/>
                  </a:lnTo>
                  <a:lnTo>
                    <a:pt x="4" y="0"/>
                  </a:lnTo>
                  <a:lnTo>
                    <a:pt x="2" y="0"/>
                  </a:lnTo>
                  <a:lnTo>
                    <a:pt x="0" y="1"/>
                  </a:lnTo>
                  <a:lnTo>
                    <a:pt x="0" y="5"/>
                  </a:lnTo>
                  <a:lnTo>
                    <a:pt x="0" y="9"/>
                  </a:lnTo>
                  <a:lnTo>
                    <a:pt x="2" y="13"/>
                  </a:lnTo>
                  <a:lnTo>
                    <a:pt x="3" y="14"/>
                  </a:lnTo>
                  <a:lnTo>
                    <a:pt x="6" y="14"/>
                  </a:lnTo>
                  <a:lnTo>
                    <a:pt x="8" y="12"/>
                  </a:lnTo>
                  <a:lnTo>
                    <a:pt x="9" y="9"/>
                  </a:lnTo>
                  <a:lnTo>
                    <a:pt x="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6" name="Freeform 1065"/>
            <p:cNvSpPr>
              <a:spLocks/>
            </p:cNvSpPr>
            <p:nvPr/>
          </p:nvSpPr>
          <p:spPr bwMode="auto">
            <a:xfrm>
              <a:off x="2457452" y="6092830"/>
              <a:ext cx="12700" cy="22225"/>
            </a:xfrm>
            <a:custGeom>
              <a:avLst/>
              <a:gdLst>
                <a:gd name="T0" fmla="*/ 2147483647 w 9"/>
                <a:gd name="T1" fmla="*/ 2147483647 h 14"/>
                <a:gd name="T2" fmla="*/ 2147483647 w 9"/>
                <a:gd name="T3" fmla="*/ 2147483647 h 14"/>
                <a:gd name="T4" fmla="*/ 2147483647 w 9"/>
                <a:gd name="T5" fmla="*/ 2147483647 h 14"/>
                <a:gd name="T6" fmla="*/ 2147483647 w 9"/>
                <a:gd name="T7" fmla="*/ 2147483647 h 14"/>
                <a:gd name="T8" fmla="*/ 2147483647 w 9"/>
                <a:gd name="T9" fmla="*/ 0 h 14"/>
                <a:gd name="T10" fmla="*/ 2147483647 w 9"/>
                <a:gd name="T11" fmla="*/ 0 h 14"/>
                <a:gd name="T12" fmla="*/ 2147483647 w 9"/>
                <a:gd name="T13" fmla="*/ 0 h 14"/>
                <a:gd name="T14" fmla="*/ 2147483647 w 9"/>
                <a:gd name="T15" fmla="*/ 0 h 14"/>
                <a:gd name="T16" fmla="*/ 2147483647 w 9"/>
                <a:gd name="T17" fmla="*/ 2147483647 h 14"/>
                <a:gd name="T18" fmla="*/ 2147483647 w 9"/>
                <a:gd name="T19" fmla="*/ 2147483647 h 14"/>
                <a:gd name="T20" fmla="*/ 0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2147483647 w 9"/>
                <a:gd name="T33" fmla="*/ 2147483647 h 14"/>
                <a:gd name="T34" fmla="*/ 2147483647 w 9"/>
                <a:gd name="T35" fmla="*/ 2147483647 h 14"/>
                <a:gd name="T36" fmla="*/ 2147483647 w 9"/>
                <a:gd name="T37" fmla="*/ 2147483647 h 14"/>
                <a:gd name="T38" fmla="*/ 2147483647 w 9"/>
                <a:gd name="T39" fmla="*/ 2147483647 h 14"/>
                <a:gd name="T40" fmla="*/ 2147483647 w 9"/>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4"/>
                <a:gd name="T65" fmla="*/ 9 w 9"/>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4">
                  <a:moveTo>
                    <a:pt x="8" y="8"/>
                  </a:moveTo>
                  <a:lnTo>
                    <a:pt x="8" y="8"/>
                  </a:lnTo>
                  <a:lnTo>
                    <a:pt x="8" y="6"/>
                  </a:lnTo>
                  <a:lnTo>
                    <a:pt x="8" y="2"/>
                  </a:lnTo>
                  <a:lnTo>
                    <a:pt x="7" y="0"/>
                  </a:lnTo>
                  <a:lnTo>
                    <a:pt x="6" y="0"/>
                  </a:lnTo>
                  <a:lnTo>
                    <a:pt x="3" y="2"/>
                  </a:lnTo>
                  <a:lnTo>
                    <a:pt x="2" y="4"/>
                  </a:lnTo>
                  <a:lnTo>
                    <a:pt x="0" y="8"/>
                  </a:lnTo>
                  <a:lnTo>
                    <a:pt x="2" y="12"/>
                  </a:lnTo>
                  <a:lnTo>
                    <a:pt x="3" y="13"/>
                  </a:lnTo>
                  <a:lnTo>
                    <a:pt x="6" y="14"/>
                  </a:lnTo>
                  <a:lnTo>
                    <a:pt x="8" y="13"/>
                  </a:lnTo>
                  <a:lnTo>
                    <a:pt x="9" y="12"/>
                  </a:lnTo>
                  <a:lnTo>
                    <a:pt x="9" y="10"/>
                  </a:lnTo>
                  <a:lnTo>
                    <a:pt x="8"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7" name="Freeform 1066"/>
            <p:cNvSpPr>
              <a:spLocks/>
            </p:cNvSpPr>
            <p:nvPr/>
          </p:nvSpPr>
          <p:spPr bwMode="auto">
            <a:xfrm>
              <a:off x="2447926" y="6118225"/>
              <a:ext cx="9525" cy="20638"/>
            </a:xfrm>
            <a:custGeom>
              <a:avLst/>
              <a:gdLst>
                <a:gd name="T0" fmla="*/ 2147483647 w 6"/>
                <a:gd name="T1" fmla="*/ 2147483647 h 13"/>
                <a:gd name="T2" fmla="*/ 2147483647 w 6"/>
                <a:gd name="T3" fmla="*/ 2147483647 h 13"/>
                <a:gd name="T4" fmla="*/ 2147483647 w 6"/>
                <a:gd name="T5" fmla="*/ 2147483647 h 13"/>
                <a:gd name="T6" fmla="*/ 2147483647 w 6"/>
                <a:gd name="T7" fmla="*/ 0 h 13"/>
                <a:gd name="T8" fmla="*/ 2147483647 w 6"/>
                <a:gd name="T9" fmla="*/ 2147483647 h 13"/>
                <a:gd name="T10" fmla="*/ 0 w 6"/>
                <a:gd name="T11" fmla="*/ 2147483647 h 13"/>
                <a:gd name="T12" fmla="*/ 0 w 6"/>
                <a:gd name="T13" fmla="*/ 2147483647 h 13"/>
                <a:gd name="T14" fmla="*/ 0 w 6"/>
                <a:gd name="T15" fmla="*/ 2147483647 h 13"/>
                <a:gd name="T16" fmla="*/ 2147483647 w 6"/>
                <a:gd name="T17" fmla="*/ 2147483647 h 13"/>
                <a:gd name="T18" fmla="*/ 2147483647 w 6"/>
                <a:gd name="T19" fmla="*/ 2147483647 h 13"/>
                <a:gd name="T20" fmla="*/ 2147483647 w 6"/>
                <a:gd name="T21" fmla="*/ 2147483647 h 13"/>
                <a:gd name="T22" fmla="*/ 2147483647 w 6"/>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3"/>
                <a:gd name="T38" fmla="*/ 6 w 6"/>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3">
                  <a:moveTo>
                    <a:pt x="5" y="9"/>
                  </a:moveTo>
                  <a:lnTo>
                    <a:pt x="6" y="4"/>
                  </a:lnTo>
                  <a:lnTo>
                    <a:pt x="6" y="1"/>
                  </a:lnTo>
                  <a:lnTo>
                    <a:pt x="4" y="0"/>
                  </a:lnTo>
                  <a:lnTo>
                    <a:pt x="1" y="3"/>
                  </a:lnTo>
                  <a:lnTo>
                    <a:pt x="0" y="6"/>
                  </a:lnTo>
                  <a:lnTo>
                    <a:pt x="0" y="10"/>
                  </a:lnTo>
                  <a:lnTo>
                    <a:pt x="0" y="11"/>
                  </a:lnTo>
                  <a:lnTo>
                    <a:pt x="3" y="13"/>
                  </a:lnTo>
                  <a:lnTo>
                    <a:pt x="4" y="13"/>
                  </a:lnTo>
                  <a:lnTo>
                    <a:pt x="5" y="12"/>
                  </a:lnTo>
                  <a:lnTo>
                    <a:pt x="5"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8" name="Freeform 1067"/>
            <p:cNvSpPr>
              <a:spLocks/>
            </p:cNvSpPr>
            <p:nvPr/>
          </p:nvSpPr>
          <p:spPr bwMode="auto">
            <a:xfrm>
              <a:off x="2524126" y="6227765"/>
              <a:ext cx="15875" cy="11112"/>
            </a:xfrm>
            <a:custGeom>
              <a:avLst/>
              <a:gdLst>
                <a:gd name="T0" fmla="*/ 2147483647 w 11"/>
                <a:gd name="T1" fmla="*/ 2147483647 h 7"/>
                <a:gd name="T2" fmla="*/ 2147483647 w 11"/>
                <a:gd name="T3" fmla="*/ 0 h 7"/>
                <a:gd name="T4" fmla="*/ 2147483647 w 11"/>
                <a:gd name="T5" fmla="*/ 0 h 7"/>
                <a:gd name="T6" fmla="*/ 0 w 11"/>
                <a:gd name="T7" fmla="*/ 0 h 7"/>
                <a:gd name="T8" fmla="*/ 0 w 11"/>
                <a:gd name="T9" fmla="*/ 2147483647 h 7"/>
                <a:gd name="T10" fmla="*/ 0 w 11"/>
                <a:gd name="T11" fmla="*/ 2147483647 h 7"/>
                <a:gd name="T12" fmla="*/ 2147483647 w 11"/>
                <a:gd name="T13" fmla="*/ 2147483647 h 7"/>
                <a:gd name="T14" fmla="*/ 2147483647 w 11"/>
                <a:gd name="T15" fmla="*/ 2147483647 h 7"/>
                <a:gd name="T16" fmla="*/ 2147483647 w 11"/>
                <a:gd name="T17" fmla="*/ 2147483647 h 7"/>
                <a:gd name="T18" fmla="*/ 2147483647 w 11"/>
                <a:gd name="T19" fmla="*/ 2147483647 h 7"/>
                <a:gd name="T20" fmla="*/ 2147483647 w 11"/>
                <a:gd name="T21" fmla="*/ 2147483647 h 7"/>
                <a:gd name="T22" fmla="*/ 2147483647 w 11"/>
                <a:gd name="T23" fmla="*/ 2147483647 h 7"/>
                <a:gd name="T24" fmla="*/ 2147483647 w 11"/>
                <a:gd name="T25" fmla="*/ 2147483647 h 7"/>
                <a:gd name="T26" fmla="*/ 2147483647 w 11"/>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7"/>
                <a:gd name="T44" fmla="*/ 11 w 11"/>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7">
                  <a:moveTo>
                    <a:pt x="9" y="2"/>
                  </a:moveTo>
                  <a:lnTo>
                    <a:pt x="5" y="0"/>
                  </a:lnTo>
                  <a:lnTo>
                    <a:pt x="2" y="0"/>
                  </a:lnTo>
                  <a:lnTo>
                    <a:pt x="0" y="0"/>
                  </a:lnTo>
                  <a:lnTo>
                    <a:pt x="0" y="2"/>
                  </a:lnTo>
                  <a:lnTo>
                    <a:pt x="0" y="4"/>
                  </a:lnTo>
                  <a:lnTo>
                    <a:pt x="1" y="6"/>
                  </a:lnTo>
                  <a:lnTo>
                    <a:pt x="2" y="6"/>
                  </a:lnTo>
                  <a:lnTo>
                    <a:pt x="6" y="7"/>
                  </a:lnTo>
                  <a:lnTo>
                    <a:pt x="9" y="7"/>
                  </a:lnTo>
                  <a:lnTo>
                    <a:pt x="11" y="6"/>
                  </a:lnTo>
                  <a:lnTo>
                    <a:pt x="11" y="4"/>
                  </a:lnTo>
                  <a:lnTo>
                    <a:pt x="11" y="2"/>
                  </a:lnTo>
                  <a:lnTo>
                    <a:pt x="9"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69" name="Freeform 1068"/>
            <p:cNvSpPr>
              <a:spLocks/>
            </p:cNvSpPr>
            <p:nvPr/>
          </p:nvSpPr>
          <p:spPr bwMode="auto">
            <a:xfrm>
              <a:off x="2447925" y="6116640"/>
              <a:ext cx="7938" cy="20637"/>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0 h 13"/>
                <a:gd name="T10" fmla="*/ 2147483647 w 6"/>
                <a:gd name="T11" fmla="*/ 0 h 13"/>
                <a:gd name="T12" fmla="*/ 2147483647 w 6"/>
                <a:gd name="T13" fmla="*/ 2147483647 h 13"/>
                <a:gd name="T14" fmla="*/ 0 w 6"/>
                <a:gd name="T15" fmla="*/ 2147483647 h 13"/>
                <a:gd name="T16" fmla="*/ 0 w 6"/>
                <a:gd name="T17" fmla="*/ 2147483647 h 13"/>
                <a:gd name="T18" fmla="*/ 0 w 6"/>
                <a:gd name="T19" fmla="*/ 2147483647 h 13"/>
                <a:gd name="T20" fmla="*/ 2147483647 w 6"/>
                <a:gd name="T21" fmla="*/ 2147483647 h 13"/>
                <a:gd name="T22" fmla="*/ 2147483647 w 6"/>
                <a:gd name="T23" fmla="*/ 2147483647 h 13"/>
                <a:gd name="T24" fmla="*/ 2147483647 w 6"/>
                <a:gd name="T25" fmla="*/ 2147483647 h 13"/>
                <a:gd name="T26" fmla="*/ 2147483647 w 6"/>
                <a:gd name="T27" fmla="*/ 2147483647 h 13"/>
                <a:gd name="T28" fmla="*/ 2147483647 w 6"/>
                <a:gd name="T29" fmla="*/ 2147483647 h 13"/>
                <a:gd name="T30" fmla="*/ 2147483647 w 6"/>
                <a:gd name="T31" fmla="*/ 2147483647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3"/>
                <a:gd name="T50" fmla="*/ 6 w 6"/>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3">
                  <a:moveTo>
                    <a:pt x="5" y="8"/>
                  </a:moveTo>
                  <a:lnTo>
                    <a:pt x="5" y="8"/>
                  </a:lnTo>
                  <a:lnTo>
                    <a:pt x="6" y="4"/>
                  </a:lnTo>
                  <a:lnTo>
                    <a:pt x="6" y="1"/>
                  </a:lnTo>
                  <a:lnTo>
                    <a:pt x="4" y="0"/>
                  </a:lnTo>
                  <a:lnTo>
                    <a:pt x="1" y="2"/>
                  </a:lnTo>
                  <a:lnTo>
                    <a:pt x="0" y="6"/>
                  </a:lnTo>
                  <a:lnTo>
                    <a:pt x="0" y="10"/>
                  </a:lnTo>
                  <a:lnTo>
                    <a:pt x="0" y="11"/>
                  </a:lnTo>
                  <a:lnTo>
                    <a:pt x="2" y="13"/>
                  </a:lnTo>
                  <a:lnTo>
                    <a:pt x="4" y="13"/>
                  </a:lnTo>
                  <a:lnTo>
                    <a:pt x="5" y="12"/>
                  </a:lnTo>
                  <a:lnTo>
                    <a:pt x="5"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0" name="Freeform 1069"/>
            <p:cNvSpPr>
              <a:spLocks/>
            </p:cNvSpPr>
            <p:nvPr/>
          </p:nvSpPr>
          <p:spPr bwMode="auto">
            <a:xfrm>
              <a:off x="2522538" y="6226178"/>
              <a:ext cx="15875" cy="11113"/>
            </a:xfrm>
            <a:custGeom>
              <a:avLst/>
              <a:gdLst>
                <a:gd name="T0" fmla="*/ 2147483647 w 11"/>
                <a:gd name="T1" fmla="*/ 2147483647 h 7"/>
                <a:gd name="T2" fmla="*/ 2147483647 w 11"/>
                <a:gd name="T3" fmla="*/ 2147483647 h 7"/>
                <a:gd name="T4" fmla="*/ 2147483647 w 11"/>
                <a:gd name="T5" fmla="*/ 0 h 7"/>
                <a:gd name="T6" fmla="*/ 2147483647 w 11"/>
                <a:gd name="T7" fmla="*/ 0 h 7"/>
                <a:gd name="T8" fmla="*/ 0 w 11"/>
                <a:gd name="T9" fmla="*/ 0 h 7"/>
                <a:gd name="T10" fmla="*/ 0 w 11"/>
                <a:gd name="T11" fmla="*/ 0 h 7"/>
                <a:gd name="T12" fmla="*/ 0 w 11"/>
                <a:gd name="T13" fmla="*/ 2147483647 h 7"/>
                <a:gd name="T14" fmla="*/ 0 w 11"/>
                <a:gd name="T15" fmla="*/ 2147483647 h 7"/>
                <a:gd name="T16" fmla="*/ 2147483647 w 11"/>
                <a:gd name="T17" fmla="*/ 2147483647 h 7"/>
                <a:gd name="T18" fmla="*/ 2147483647 w 11"/>
                <a:gd name="T19" fmla="*/ 2147483647 h 7"/>
                <a:gd name="T20" fmla="*/ 2147483647 w 11"/>
                <a:gd name="T21" fmla="*/ 2147483647 h 7"/>
                <a:gd name="T22" fmla="*/ 2147483647 w 11"/>
                <a:gd name="T23" fmla="*/ 2147483647 h 7"/>
                <a:gd name="T24" fmla="*/ 2147483647 w 11"/>
                <a:gd name="T25" fmla="*/ 2147483647 h 7"/>
                <a:gd name="T26" fmla="*/ 2147483647 w 11"/>
                <a:gd name="T27" fmla="*/ 2147483647 h 7"/>
                <a:gd name="T28" fmla="*/ 2147483647 w 11"/>
                <a:gd name="T29" fmla="*/ 2147483647 h 7"/>
                <a:gd name="T30" fmla="*/ 2147483647 w 11"/>
                <a:gd name="T31" fmla="*/ 2147483647 h 7"/>
                <a:gd name="T32" fmla="*/ 2147483647 w 11"/>
                <a:gd name="T33" fmla="*/ 2147483647 h 7"/>
                <a:gd name="T34" fmla="*/ 2147483647 w 11"/>
                <a:gd name="T35" fmla="*/ 2147483647 h 7"/>
                <a:gd name="T36" fmla="*/ 2147483647 w 11"/>
                <a:gd name="T37" fmla="*/ 2147483647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7"/>
                <a:gd name="T59" fmla="*/ 11 w 11"/>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7">
                  <a:moveTo>
                    <a:pt x="9" y="2"/>
                  </a:moveTo>
                  <a:lnTo>
                    <a:pt x="9" y="2"/>
                  </a:lnTo>
                  <a:lnTo>
                    <a:pt x="5" y="0"/>
                  </a:lnTo>
                  <a:lnTo>
                    <a:pt x="2" y="0"/>
                  </a:lnTo>
                  <a:lnTo>
                    <a:pt x="0" y="0"/>
                  </a:lnTo>
                  <a:lnTo>
                    <a:pt x="0" y="2"/>
                  </a:lnTo>
                  <a:lnTo>
                    <a:pt x="0" y="3"/>
                  </a:lnTo>
                  <a:lnTo>
                    <a:pt x="1" y="6"/>
                  </a:lnTo>
                  <a:lnTo>
                    <a:pt x="2" y="6"/>
                  </a:lnTo>
                  <a:lnTo>
                    <a:pt x="6" y="7"/>
                  </a:lnTo>
                  <a:lnTo>
                    <a:pt x="9" y="7"/>
                  </a:lnTo>
                  <a:lnTo>
                    <a:pt x="11" y="6"/>
                  </a:lnTo>
                  <a:lnTo>
                    <a:pt x="11" y="3"/>
                  </a:lnTo>
                  <a:lnTo>
                    <a:pt x="11" y="2"/>
                  </a:lnTo>
                  <a:lnTo>
                    <a:pt x="9"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1" name="Freeform 1070"/>
            <p:cNvSpPr>
              <a:spLocks/>
            </p:cNvSpPr>
            <p:nvPr/>
          </p:nvSpPr>
          <p:spPr bwMode="auto">
            <a:xfrm>
              <a:off x="2551117" y="6213480"/>
              <a:ext cx="14287" cy="22225"/>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0 h 14"/>
                <a:gd name="T10" fmla="*/ 2147483647 w 10"/>
                <a:gd name="T11" fmla="*/ 0 h 14"/>
                <a:gd name="T12" fmla="*/ 2147483647 w 10"/>
                <a:gd name="T13" fmla="*/ 2147483647 h 14"/>
                <a:gd name="T14" fmla="*/ 0 w 10"/>
                <a:gd name="T15" fmla="*/ 2147483647 h 14"/>
                <a:gd name="T16" fmla="*/ 0 w 10"/>
                <a:gd name="T17" fmla="*/ 2147483647 h 14"/>
                <a:gd name="T18" fmla="*/ 2147483647 w 10"/>
                <a:gd name="T19" fmla="*/ 2147483647 h 14"/>
                <a:gd name="T20" fmla="*/ 2147483647 w 10"/>
                <a:gd name="T21" fmla="*/ 2147483647 h 14"/>
                <a:gd name="T22" fmla="*/ 2147483647 w 10"/>
                <a:gd name="T23" fmla="*/ 2147483647 h 14"/>
                <a:gd name="T24" fmla="*/ 2147483647 w 10"/>
                <a:gd name="T25" fmla="*/ 2147483647 h 14"/>
                <a:gd name="T26" fmla="*/ 2147483647 w 10"/>
                <a:gd name="T27" fmla="*/ 2147483647 h 14"/>
                <a:gd name="T28" fmla="*/ 2147483647 w 10"/>
                <a:gd name="T29" fmla="*/ 2147483647 h 14"/>
                <a:gd name="T30" fmla="*/ 2147483647 w 10"/>
                <a:gd name="T31" fmla="*/ 2147483647 h 14"/>
                <a:gd name="T32" fmla="*/ 2147483647 w 10"/>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4"/>
                <a:gd name="T53" fmla="*/ 10 w 10"/>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4">
                  <a:moveTo>
                    <a:pt x="8" y="8"/>
                  </a:moveTo>
                  <a:lnTo>
                    <a:pt x="6" y="5"/>
                  </a:lnTo>
                  <a:lnTo>
                    <a:pt x="5" y="2"/>
                  </a:lnTo>
                  <a:lnTo>
                    <a:pt x="4" y="1"/>
                  </a:lnTo>
                  <a:lnTo>
                    <a:pt x="4" y="0"/>
                  </a:lnTo>
                  <a:lnTo>
                    <a:pt x="2" y="0"/>
                  </a:lnTo>
                  <a:lnTo>
                    <a:pt x="1" y="2"/>
                  </a:lnTo>
                  <a:lnTo>
                    <a:pt x="0" y="4"/>
                  </a:lnTo>
                  <a:lnTo>
                    <a:pt x="0" y="7"/>
                  </a:lnTo>
                  <a:lnTo>
                    <a:pt x="1" y="9"/>
                  </a:lnTo>
                  <a:lnTo>
                    <a:pt x="2" y="11"/>
                  </a:lnTo>
                  <a:lnTo>
                    <a:pt x="5" y="13"/>
                  </a:lnTo>
                  <a:lnTo>
                    <a:pt x="8" y="14"/>
                  </a:lnTo>
                  <a:lnTo>
                    <a:pt x="10" y="14"/>
                  </a:lnTo>
                  <a:lnTo>
                    <a:pt x="10" y="13"/>
                  </a:lnTo>
                  <a:lnTo>
                    <a:pt x="10" y="11"/>
                  </a:lnTo>
                  <a:lnTo>
                    <a:pt x="8"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2" name="Freeform 1071"/>
            <p:cNvSpPr>
              <a:spLocks/>
            </p:cNvSpPr>
            <p:nvPr/>
          </p:nvSpPr>
          <p:spPr bwMode="auto">
            <a:xfrm>
              <a:off x="2628901" y="6257925"/>
              <a:ext cx="23813" cy="14288"/>
            </a:xfrm>
            <a:custGeom>
              <a:avLst/>
              <a:gdLst>
                <a:gd name="T0" fmla="*/ 2147483647 w 16"/>
                <a:gd name="T1" fmla="*/ 2147483647 h 9"/>
                <a:gd name="T2" fmla="*/ 2147483647 w 16"/>
                <a:gd name="T3" fmla="*/ 2147483647 h 9"/>
                <a:gd name="T4" fmla="*/ 2147483647 w 16"/>
                <a:gd name="T5" fmla="*/ 2147483647 h 9"/>
                <a:gd name="T6" fmla="*/ 2147483647 w 16"/>
                <a:gd name="T7" fmla="*/ 2147483647 h 9"/>
                <a:gd name="T8" fmla="*/ 2147483647 w 16"/>
                <a:gd name="T9" fmla="*/ 2147483647 h 9"/>
                <a:gd name="T10" fmla="*/ 2147483647 w 16"/>
                <a:gd name="T11" fmla="*/ 2147483647 h 9"/>
                <a:gd name="T12" fmla="*/ 2147483647 w 16"/>
                <a:gd name="T13" fmla="*/ 0 h 9"/>
                <a:gd name="T14" fmla="*/ 2147483647 w 16"/>
                <a:gd name="T15" fmla="*/ 2147483647 h 9"/>
                <a:gd name="T16" fmla="*/ 2147483647 w 16"/>
                <a:gd name="T17" fmla="*/ 2147483647 h 9"/>
                <a:gd name="T18" fmla="*/ 0 w 16"/>
                <a:gd name="T19" fmla="*/ 2147483647 h 9"/>
                <a:gd name="T20" fmla="*/ 0 w 16"/>
                <a:gd name="T21" fmla="*/ 2147483647 h 9"/>
                <a:gd name="T22" fmla="*/ 2147483647 w 16"/>
                <a:gd name="T23" fmla="*/ 2147483647 h 9"/>
                <a:gd name="T24" fmla="*/ 2147483647 w 16"/>
                <a:gd name="T25" fmla="*/ 2147483647 h 9"/>
                <a:gd name="T26" fmla="*/ 2147483647 w 16"/>
                <a:gd name="T27" fmla="*/ 2147483647 h 9"/>
                <a:gd name="T28" fmla="*/ 2147483647 w 16"/>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9"/>
                <a:gd name="T47" fmla="*/ 16 w 16"/>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9">
                  <a:moveTo>
                    <a:pt x="9" y="9"/>
                  </a:moveTo>
                  <a:lnTo>
                    <a:pt x="14" y="8"/>
                  </a:lnTo>
                  <a:lnTo>
                    <a:pt x="16" y="8"/>
                  </a:lnTo>
                  <a:lnTo>
                    <a:pt x="16" y="6"/>
                  </a:lnTo>
                  <a:lnTo>
                    <a:pt x="13" y="2"/>
                  </a:lnTo>
                  <a:lnTo>
                    <a:pt x="8" y="1"/>
                  </a:lnTo>
                  <a:lnTo>
                    <a:pt x="5" y="0"/>
                  </a:lnTo>
                  <a:lnTo>
                    <a:pt x="3" y="1"/>
                  </a:lnTo>
                  <a:lnTo>
                    <a:pt x="2" y="2"/>
                  </a:lnTo>
                  <a:lnTo>
                    <a:pt x="0" y="5"/>
                  </a:lnTo>
                  <a:lnTo>
                    <a:pt x="0" y="7"/>
                  </a:lnTo>
                  <a:lnTo>
                    <a:pt x="3" y="8"/>
                  </a:lnTo>
                  <a:lnTo>
                    <a:pt x="7" y="9"/>
                  </a:lnTo>
                  <a:lnTo>
                    <a:pt x="10" y="9"/>
                  </a:lnTo>
                  <a:lnTo>
                    <a:pt x="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3" name="Freeform 1072"/>
            <p:cNvSpPr>
              <a:spLocks/>
            </p:cNvSpPr>
            <p:nvPr/>
          </p:nvSpPr>
          <p:spPr bwMode="auto">
            <a:xfrm>
              <a:off x="2549525" y="6210301"/>
              <a:ext cx="14288" cy="23813"/>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0 h 15"/>
                <a:gd name="T12" fmla="*/ 2147483647 w 10"/>
                <a:gd name="T13" fmla="*/ 0 h 15"/>
                <a:gd name="T14" fmla="*/ 2147483647 w 10"/>
                <a:gd name="T15" fmla="*/ 0 h 15"/>
                <a:gd name="T16" fmla="*/ 2147483647 w 10"/>
                <a:gd name="T17" fmla="*/ 2147483647 h 15"/>
                <a:gd name="T18" fmla="*/ 0 w 10"/>
                <a:gd name="T19" fmla="*/ 2147483647 h 15"/>
                <a:gd name="T20" fmla="*/ 0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2147483647 w 10"/>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5"/>
                <a:gd name="T65" fmla="*/ 10 w 10"/>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5">
                  <a:moveTo>
                    <a:pt x="7" y="9"/>
                  </a:moveTo>
                  <a:lnTo>
                    <a:pt x="7" y="9"/>
                  </a:lnTo>
                  <a:lnTo>
                    <a:pt x="6" y="6"/>
                  </a:lnTo>
                  <a:lnTo>
                    <a:pt x="5" y="3"/>
                  </a:lnTo>
                  <a:lnTo>
                    <a:pt x="3" y="2"/>
                  </a:lnTo>
                  <a:lnTo>
                    <a:pt x="3" y="0"/>
                  </a:lnTo>
                  <a:lnTo>
                    <a:pt x="2" y="0"/>
                  </a:lnTo>
                  <a:lnTo>
                    <a:pt x="1" y="3"/>
                  </a:lnTo>
                  <a:lnTo>
                    <a:pt x="0" y="5"/>
                  </a:lnTo>
                  <a:lnTo>
                    <a:pt x="0" y="7"/>
                  </a:lnTo>
                  <a:lnTo>
                    <a:pt x="1" y="10"/>
                  </a:lnTo>
                  <a:lnTo>
                    <a:pt x="2" y="12"/>
                  </a:lnTo>
                  <a:lnTo>
                    <a:pt x="5" y="13"/>
                  </a:lnTo>
                  <a:lnTo>
                    <a:pt x="7" y="15"/>
                  </a:lnTo>
                  <a:lnTo>
                    <a:pt x="10" y="15"/>
                  </a:lnTo>
                  <a:lnTo>
                    <a:pt x="10" y="13"/>
                  </a:lnTo>
                  <a:lnTo>
                    <a:pt x="10" y="12"/>
                  </a:lnTo>
                  <a:lnTo>
                    <a:pt x="7"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4" name="Freeform 1073"/>
            <p:cNvSpPr>
              <a:spLocks/>
            </p:cNvSpPr>
            <p:nvPr/>
          </p:nvSpPr>
          <p:spPr bwMode="auto">
            <a:xfrm>
              <a:off x="2627317" y="6256342"/>
              <a:ext cx="22225" cy="14288"/>
            </a:xfrm>
            <a:custGeom>
              <a:avLst/>
              <a:gdLst>
                <a:gd name="T0" fmla="*/ 2147483647 w 15"/>
                <a:gd name="T1" fmla="*/ 2147483647 h 9"/>
                <a:gd name="T2" fmla="*/ 2147483647 w 15"/>
                <a:gd name="T3" fmla="*/ 2147483647 h 9"/>
                <a:gd name="T4" fmla="*/ 2147483647 w 15"/>
                <a:gd name="T5" fmla="*/ 2147483647 h 9"/>
                <a:gd name="T6" fmla="*/ 2147483647 w 15"/>
                <a:gd name="T7" fmla="*/ 2147483647 h 9"/>
                <a:gd name="T8" fmla="*/ 2147483647 w 15"/>
                <a:gd name="T9" fmla="*/ 2147483647 h 9"/>
                <a:gd name="T10" fmla="*/ 2147483647 w 15"/>
                <a:gd name="T11" fmla="*/ 2147483647 h 9"/>
                <a:gd name="T12" fmla="*/ 2147483647 w 15"/>
                <a:gd name="T13" fmla="*/ 2147483647 h 9"/>
                <a:gd name="T14" fmla="*/ 2147483647 w 15"/>
                <a:gd name="T15" fmla="*/ 2147483647 h 9"/>
                <a:gd name="T16" fmla="*/ 2147483647 w 15"/>
                <a:gd name="T17" fmla="*/ 0 h 9"/>
                <a:gd name="T18" fmla="*/ 2147483647 w 15"/>
                <a:gd name="T19" fmla="*/ 2147483647 h 9"/>
                <a:gd name="T20" fmla="*/ 2147483647 w 15"/>
                <a:gd name="T21" fmla="*/ 2147483647 h 9"/>
                <a:gd name="T22" fmla="*/ 0 w 15"/>
                <a:gd name="T23" fmla="*/ 2147483647 h 9"/>
                <a:gd name="T24" fmla="*/ 0 w 15"/>
                <a:gd name="T25" fmla="*/ 2147483647 h 9"/>
                <a:gd name="T26" fmla="*/ 0 w 15"/>
                <a:gd name="T27" fmla="*/ 2147483647 h 9"/>
                <a:gd name="T28" fmla="*/ 2147483647 w 15"/>
                <a:gd name="T29" fmla="*/ 2147483647 h 9"/>
                <a:gd name="T30" fmla="*/ 2147483647 w 15"/>
                <a:gd name="T31" fmla="*/ 2147483647 h 9"/>
                <a:gd name="T32" fmla="*/ 2147483647 w 15"/>
                <a:gd name="T33" fmla="*/ 2147483647 h 9"/>
                <a:gd name="T34" fmla="*/ 2147483647 w 15"/>
                <a:gd name="T35" fmla="*/ 2147483647 h 9"/>
                <a:gd name="T36" fmla="*/ 2147483647 w 15"/>
                <a:gd name="T37" fmla="*/ 2147483647 h 9"/>
                <a:gd name="T38" fmla="*/ 2147483647 w 15"/>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9"/>
                <a:gd name="T62" fmla="*/ 15 w 15"/>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9">
                  <a:moveTo>
                    <a:pt x="9" y="9"/>
                  </a:moveTo>
                  <a:lnTo>
                    <a:pt x="9" y="9"/>
                  </a:lnTo>
                  <a:lnTo>
                    <a:pt x="14" y="8"/>
                  </a:lnTo>
                  <a:lnTo>
                    <a:pt x="15" y="8"/>
                  </a:lnTo>
                  <a:lnTo>
                    <a:pt x="15" y="6"/>
                  </a:lnTo>
                  <a:lnTo>
                    <a:pt x="13" y="2"/>
                  </a:lnTo>
                  <a:lnTo>
                    <a:pt x="8" y="1"/>
                  </a:lnTo>
                  <a:lnTo>
                    <a:pt x="5" y="0"/>
                  </a:lnTo>
                  <a:lnTo>
                    <a:pt x="3" y="1"/>
                  </a:lnTo>
                  <a:lnTo>
                    <a:pt x="1" y="2"/>
                  </a:lnTo>
                  <a:lnTo>
                    <a:pt x="0" y="5"/>
                  </a:lnTo>
                  <a:lnTo>
                    <a:pt x="0" y="7"/>
                  </a:lnTo>
                  <a:lnTo>
                    <a:pt x="3" y="8"/>
                  </a:lnTo>
                  <a:lnTo>
                    <a:pt x="6" y="9"/>
                  </a:lnTo>
                  <a:lnTo>
                    <a:pt x="10" y="9"/>
                  </a:lnTo>
                  <a:lnTo>
                    <a:pt x="9"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5" name="Freeform 1074"/>
            <p:cNvSpPr>
              <a:spLocks/>
            </p:cNvSpPr>
            <p:nvPr/>
          </p:nvSpPr>
          <p:spPr bwMode="auto">
            <a:xfrm>
              <a:off x="2654301" y="6294442"/>
              <a:ext cx="9525" cy="7937"/>
            </a:xfrm>
            <a:custGeom>
              <a:avLst/>
              <a:gdLst>
                <a:gd name="T0" fmla="*/ 2147483647 w 7"/>
                <a:gd name="T1" fmla="*/ 2147483647 h 5"/>
                <a:gd name="T2" fmla="*/ 0 w 7"/>
                <a:gd name="T3" fmla="*/ 2147483647 h 5"/>
                <a:gd name="T4" fmla="*/ 0 w 7"/>
                <a:gd name="T5" fmla="*/ 2147483647 h 5"/>
                <a:gd name="T6" fmla="*/ 2147483647 w 7"/>
                <a:gd name="T7" fmla="*/ 0 h 5"/>
                <a:gd name="T8" fmla="*/ 2147483647 w 7"/>
                <a:gd name="T9" fmla="*/ 0 h 5"/>
                <a:gd name="T10" fmla="*/ 2147483647 w 7"/>
                <a:gd name="T11" fmla="*/ 2147483647 h 5"/>
                <a:gd name="T12" fmla="*/ 2147483647 w 7"/>
                <a:gd name="T13" fmla="*/ 2147483647 h 5"/>
                <a:gd name="T14" fmla="*/ 2147483647 w 7"/>
                <a:gd name="T15" fmla="*/ 2147483647 h 5"/>
                <a:gd name="T16" fmla="*/ 2147483647 w 7"/>
                <a:gd name="T17" fmla="*/ 2147483647 h 5"/>
                <a:gd name="T18" fmla="*/ 2147483647 w 7"/>
                <a:gd name="T19" fmla="*/ 2147483647 h 5"/>
                <a:gd name="T20" fmla="*/ 2147483647 w 7"/>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5"/>
                <a:gd name="T35" fmla="*/ 7 w 7"/>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5">
                  <a:moveTo>
                    <a:pt x="1" y="4"/>
                  </a:moveTo>
                  <a:lnTo>
                    <a:pt x="0" y="3"/>
                  </a:lnTo>
                  <a:lnTo>
                    <a:pt x="0" y="2"/>
                  </a:lnTo>
                  <a:lnTo>
                    <a:pt x="1" y="0"/>
                  </a:lnTo>
                  <a:lnTo>
                    <a:pt x="4" y="0"/>
                  </a:lnTo>
                  <a:lnTo>
                    <a:pt x="5" y="1"/>
                  </a:lnTo>
                  <a:lnTo>
                    <a:pt x="7" y="2"/>
                  </a:lnTo>
                  <a:lnTo>
                    <a:pt x="7" y="4"/>
                  </a:lnTo>
                  <a:lnTo>
                    <a:pt x="6" y="5"/>
                  </a:lnTo>
                  <a:lnTo>
                    <a:pt x="4" y="5"/>
                  </a:lnTo>
                  <a:lnTo>
                    <a:pt x="1"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6" name="Freeform 1075"/>
            <p:cNvSpPr>
              <a:spLocks/>
            </p:cNvSpPr>
            <p:nvPr/>
          </p:nvSpPr>
          <p:spPr bwMode="auto">
            <a:xfrm>
              <a:off x="2622552" y="6281742"/>
              <a:ext cx="15875" cy="9525"/>
            </a:xfrm>
            <a:custGeom>
              <a:avLst/>
              <a:gdLst>
                <a:gd name="T0" fmla="*/ 2147483647 w 11"/>
                <a:gd name="T1" fmla="*/ 2147483647 h 6"/>
                <a:gd name="T2" fmla="*/ 2147483647 w 11"/>
                <a:gd name="T3" fmla="*/ 2147483647 h 6"/>
                <a:gd name="T4" fmla="*/ 2147483647 w 11"/>
                <a:gd name="T5" fmla="*/ 2147483647 h 6"/>
                <a:gd name="T6" fmla="*/ 2147483647 w 11"/>
                <a:gd name="T7" fmla="*/ 2147483647 h 6"/>
                <a:gd name="T8" fmla="*/ 2147483647 w 11"/>
                <a:gd name="T9" fmla="*/ 2147483647 h 6"/>
                <a:gd name="T10" fmla="*/ 2147483647 w 11"/>
                <a:gd name="T11" fmla="*/ 2147483647 h 6"/>
                <a:gd name="T12" fmla="*/ 2147483647 w 11"/>
                <a:gd name="T13" fmla="*/ 2147483647 h 6"/>
                <a:gd name="T14" fmla="*/ 0 w 11"/>
                <a:gd name="T15" fmla="*/ 0 h 6"/>
                <a:gd name="T16" fmla="*/ 2147483647 w 11"/>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
                <a:gd name="T29" fmla="*/ 11 w 11"/>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
                  <a:moveTo>
                    <a:pt x="8" y="3"/>
                  </a:moveTo>
                  <a:lnTo>
                    <a:pt x="11" y="4"/>
                  </a:lnTo>
                  <a:lnTo>
                    <a:pt x="11" y="5"/>
                  </a:lnTo>
                  <a:lnTo>
                    <a:pt x="11" y="6"/>
                  </a:lnTo>
                  <a:lnTo>
                    <a:pt x="7" y="6"/>
                  </a:lnTo>
                  <a:lnTo>
                    <a:pt x="4" y="6"/>
                  </a:lnTo>
                  <a:lnTo>
                    <a:pt x="2" y="4"/>
                  </a:lnTo>
                  <a:lnTo>
                    <a:pt x="0" y="0"/>
                  </a:lnTo>
                  <a:lnTo>
                    <a:pt x="8"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7" name="Freeform 1076"/>
            <p:cNvSpPr>
              <a:spLocks/>
            </p:cNvSpPr>
            <p:nvPr/>
          </p:nvSpPr>
          <p:spPr bwMode="auto">
            <a:xfrm>
              <a:off x="2652716" y="6291267"/>
              <a:ext cx="9525" cy="9525"/>
            </a:xfrm>
            <a:custGeom>
              <a:avLst/>
              <a:gdLst>
                <a:gd name="T0" fmla="*/ 2147483647 w 7"/>
                <a:gd name="T1" fmla="*/ 2147483647 h 6"/>
                <a:gd name="T2" fmla="*/ 2147483647 w 7"/>
                <a:gd name="T3" fmla="*/ 2147483647 h 6"/>
                <a:gd name="T4" fmla="*/ 0 w 7"/>
                <a:gd name="T5" fmla="*/ 2147483647 h 6"/>
                <a:gd name="T6" fmla="*/ 0 w 7"/>
                <a:gd name="T7" fmla="*/ 2147483647 h 6"/>
                <a:gd name="T8" fmla="*/ 0 w 7"/>
                <a:gd name="T9" fmla="*/ 2147483647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5"/>
                  </a:moveTo>
                  <a:lnTo>
                    <a:pt x="1" y="5"/>
                  </a:lnTo>
                  <a:lnTo>
                    <a:pt x="0" y="4"/>
                  </a:lnTo>
                  <a:lnTo>
                    <a:pt x="0" y="3"/>
                  </a:lnTo>
                  <a:lnTo>
                    <a:pt x="1" y="0"/>
                  </a:lnTo>
                  <a:lnTo>
                    <a:pt x="3" y="0"/>
                  </a:lnTo>
                  <a:lnTo>
                    <a:pt x="5" y="2"/>
                  </a:lnTo>
                  <a:lnTo>
                    <a:pt x="7" y="3"/>
                  </a:lnTo>
                  <a:lnTo>
                    <a:pt x="7" y="5"/>
                  </a:lnTo>
                  <a:lnTo>
                    <a:pt x="6" y="6"/>
                  </a:lnTo>
                  <a:lnTo>
                    <a:pt x="3" y="6"/>
                  </a:lnTo>
                  <a:lnTo>
                    <a:pt x="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8" name="Freeform 1077"/>
            <p:cNvSpPr>
              <a:spLocks/>
            </p:cNvSpPr>
            <p:nvPr/>
          </p:nvSpPr>
          <p:spPr bwMode="auto">
            <a:xfrm>
              <a:off x="2620964" y="6280154"/>
              <a:ext cx="15875" cy="9525"/>
            </a:xfrm>
            <a:custGeom>
              <a:avLst/>
              <a:gdLst>
                <a:gd name="T0" fmla="*/ 2147483647 w 10"/>
                <a:gd name="T1" fmla="*/ 2147483647 h 6"/>
                <a:gd name="T2" fmla="*/ 2147483647 w 10"/>
                <a:gd name="T3" fmla="*/ 2147483647 h 6"/>
                <a:gd name="T4" fmla="*/ 2147483647 w 10"/>
                <a:gd name="T5" fmla="*/ 2147483647 h 6"/>
                <a:gd name="T6" fmla="*/ 2147483647 w 10"/>
                <a:gd name="T7" fmla="*/ 2147483647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0 w 10"/>
                <a:gd name="T19" fmla="*/ 0 h 6"/>
                <a:gd name="T20" fmla="*/ 0 w 10"/>
                <a:gd name="T21" fmla="*/ 0 h 6"/>
                <a:gd name="T22" fmla="*/ 2147483647 w 10"/>
                <a:gd name="T23" fmla="*/ 2147483647 h 6"/>
                <a:gd name="T24" fmla="*/ 2147483647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8" y="3"/>
                  </a:moveTo>
                  <a:lnTo>
                    <a:pt x="8" y="3"/>
                  </a:lnTo>
                  <a:lnTo>
                    <a:pt x="10" y="4"/>
                  </a:lnTo>
                  <a:lnTo>
                    <a:pt x="10" y="5"/>
                  </a:lnTo>
                  <a:lnTo>
                    <a:pt x="10" y="6"/>
                  </a:lnTo>
                  <a:lnTo>
                    <a:pt x="7" y="6"/>
                  </a:lnTo>
                  <a:lnTo>
                    <a:pt x="4" y="6"/>
                  </a:lnTo>
                  <a:lnTo>
                    <a:pt x="1" y="4"/>
                  </a:lnTo>
                  <a:lnTo>
                    <a:pt x="0" y="0"/>
                  </a:lnTo>
                  <a:lnTo>
                    <a:pt x="8"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79" name="Freeform 1078"/>
            <p:cNvSpPr>
              <a:spLocks/>
            </p:cNvSpPr>
            <p:nvPr/>
          </p:nvSpPr>
          <p:spPr bwMode="auto">
            <a:xfrm>
              <a:off x="2595563" y="6276979"/>
              <a:ext cx="11112" cy="9525"/>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0 w 8"/>
                <a:gd name="T11" fmla="*/ 2147483647 h 6"/>
                <a:gd name="T12" fmla="*/ 2147483647 w 8"/>
                <a:gd name="T13" fmla="*/ 2147483647 h 6"/>
                <a:gd name="T14" fmla="*/ 2147483647 w 8"/>
                <a:gd name="T15" fmla="*/ 0 h 6"/>
                <a:gd name="T16" fmla="*/ 2147483647 w 8"/>
                <a:gd name="T17" fmla="*/ 2147483647 h 6"/>
                <a:gd name="T18" fmla="*/ 2147483647 w 8"/>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7" y="2"/>
                  </a:moveTo>
                  <a:lnTo>
                    <a:pt x="8" y="3"/>
                  </a:lnTo>
                  <a:lnTo>
                    <a:pt x="8" y="5"/>
                  </a:lnTo>
                  <a:lnTo>
                    <a:pt x="6" y="6"/>
                  </a:lnTo>
                  <a:lnTo>
                    <a:pt x="3" y="5"/>
                  </a:lnTo>
                  <a:lnTo>
                    <a:pt x="0" y="3"/>
                  </a:lnTo>
                  <a:lnTo>
                    <a:pt x="2" y="1"/>
                  </a:lnTo>
                  <a:lnTo>
                    <a:pt x="3" y="0"/>
                  </a:lnTo>
                  <a:lnTo>
                    <a:pt x="4" y="1"/>
                  </a:lnTo>
                  <a:lnTo>
                    <a:pt x="7"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0" name="Freeform 1079"/>
            <p:cNvSpPr>
              <a:spLocks/>
            </p:cNvSpPr>
            <p:nvPr/>
          </p:nvSpPr>
          <p:spPr bwMode="auto">
            <a:xfrm>
              <a:off x="2560638" y="6269042"/>
              <a:ext cx="11112" cy="7937"/>
            </a:xfrm>
            <a:custGeom>
              <a:avLst/>
              <a:gdLst>
                <a:gd name="T0" fmla="*/ 2147483647 w 8"/>
                <a:gd name="T1" fmla="*/ 2147483647 h 5"/>
                <a:gd name="T2" fmla="*/ 2147483647 w 8"/>
                <a:gd name="T3" fmla="*/ 2147483647 h 5"/>
                <a:gd name="T4" fmla="*/ 0 w 8"/>
                <a:gd name="T5" fmla="*/ 2147483647 h 5"/>
                <a:gd name="T6" fmla="*/ 2147483647 w 8"/>
                <a:gd name="T7" fmla="*/ 0 h 5"/>
                <a:gd name="T8" fmla="*/ 2147483647 w 8"/>
                <a:gd name="T9" fmla="*/ 0 h 5"/>
                <a:gd name="T10" fmla="*/ 2147483647 w 8"/>
                <a:gd name="T11" fmla="*/ 0 h 5"/>
                <a:gd name="T12" fmla="*/ 2147483647 w 8"/>
                <a:gd name="T13" fmla="*/ 2147483647 h 5"/>
                <a:gd name="T14" fmla="*/ 2147483647 w 8"/>
                <a:gd name="T15" fmla="*/ 2147483647 h 5"/>
                <a:gd name="T16" fmla="*/ 2147483647 w 8"/>
                <a:gd name="T17" fmla="*/ 2147483647 h 5"/>
                <a:gd name="T18" fmla="*/ 2147483647 w 8"/>
                <a:gd name="T19" fmla="*/ 2147483647 h 5"/>
                <a:gd name="T20" fmla="*/ 2147483647 w 8"/>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5"/>
                <a:gd name="T35" fmla="*/ 8 w 8"/>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5">
                  <a:moveTo>
                    <a:pt x="4" y="4"/>
                  </a:moveTo>
                  <a:lnTo>
                    <a:pt x="2" y="2"/>
                  </a:lnTo>
                  <a:lnTo>
                    <a:pt x="0" y="1"/>
                  </a:lnTo>
                  <a:lnTo>
                    <a:pt x="2" y="0"/>
                  </a:lnTo>
                  <a:lnTo>
                    <a:pt x="3" y="0"/>
                  </a:lnTo>
                  <a:lnTo>
                    <a:pt x="5" y="0"/>
                  </a:lnTo>
                  <a:lnTo>
                    <a:pt x="8" y="1"/>
                  </a:lnTo>
                  <a:lnTo>
                    <a:pt x="8" y="2"/>
                  </a:lnTo>
                  <a:lnTo>
                    <a:pt x="7" y="5"/>
                  </a:lnTo>
                  <a:lnTo>
                    <a:pt x="5" y="5"/>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1" name="Freeform 1080"/>
            <p:cNvSpPr>
              <a:spLocks/>
            </p:cNvSpPr>
            <p:nvPr/>
          </p:nvSpPr>
          <p:spPr bwMode="auto">
            <a:xfrm>
              <a:off x="2593979" y="6275392"/>
              <a:ext cx="11113" cy="9525"/>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0 w 8"/>
                <a:gd name="T15" fmla="*/ 2147483647 h 6"/>
                <a:gd name="T16" fmla="*/ 2147483647 w 8"/>
                <a:gd name="T17" fmla="*/ 2147483647 h 6"/>
                <a:gd name="T18" fmla="*/ 2147483647 w 8"/>
                <a:gd name="T19" fmla="*/ 2147483647 h 6"/>
                <a:gd name="T20" fmla="*/ 2147483647 w 8"/>
                <a:gd name="T21" fmla="*/ 0 h 6"/>
                <a:gd name="T22" fmla="*/ 2147483647 w 8"/>
                <a:gd name="T23" fmla="*/ 2147483647 h 6"/>
                <a:gd name="T24" fmla="*/ 2147483647 w 8"/>
                <a:gd name="T25" fmla="*/ 2147483647 h 6"/>
                <a:gd name="T26" fmla="*/ 2147483647 w 8"/>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6"/>
                <a:gd name="T44" fmla="*/ 8 w 8"/>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6">
                  <a:moveTo>
                    <a:pt x="7" y="2"/>
                  </a:moveTo>
                  <a:lnTo>
                    <a:pt x="7" y="2"/>
                  </a:lnTo>
                  <a:lnTo>
                    <a:pt x="8" y="3"/>
                  </a:lnTo>
                  <a:lnTo>
                    <a:pt x="8" y="4"/>
                  </a:lnTo>
                  <a:lnTo>
                    <a:pt x="5" y="6"/>
                  </a:lnTo>
                  <a:lnTo>
                    <a:pt x="3" y="4"/>
                  </a:lnTo>
                  <a:lnTo>
                    <a:pt x="0" y="3"/>
                  </a:lnTo>
                  <a:lnTo>
                    <a:pt x="1" y="1"/>
                  </a:lnTo>
                  <a:lnTo>
                    <a:pt x="3" y="0"/>
                  </a:lnTo>
                  <a:lnTo>
                    <a:pt x="4" y="1"/>
                  </a:lnTo>
                  <a:lnTo>
                    <a:pt x="7"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2" name="Freeform 1081"/>
            <p:cNvSpPr>
              <a:spLocks/>
            </p:cNvSpPr>
            <p:nvPr/>
          </p:nvSpPr>
          <p:spPr bwMode="auto">
            <a:xfrm>
              <a:off x="2559054" y="6267450"/>
              <a:ext cx="11113" cy="7938"/>
            </a:xfrm>
            <a:custGeom>
              <a:avLst/>
              <a:gdLst>
                <a:gd name="T0" fmla="*/ 2147483647 w 8"/>
                <a:gd name="T1" fmla="*/ 2147483647 h 5"/>
                <a:gd name="T2" fmla="*/ 2147483647 w 8"/>
                <a:gd name="T3" fmla="*/ 2147483647 h 5"/>
                <a:gd name="T4" fmla="*/ 2147483647 w 8"/>
                <a:gd name="T5" fmla="*/ 2147483647 h 5"/>
                <a:gd name="T6" fmla="*/ 0 w 8"/>
                <a:gd name="T7" fmla="*/ 2147483647 h 5"/>
                <a:gd name="T8" fmla="*/ 2147483647 w 8"/>
                <a:gd name="T9" fmla="*/ 0 h 5"/>
                <a:gd name="T10" fmla="*/ 2147483647 w 8"/>
                <a:gd name="T11" fmla="*/ 0 h 5"/>
                <a:gd name="T12" fmla="*/ 2147483647 w 8"/>
                <a:gd name="T13" fmla="*/ 0 h 5"/>
                <a:gd name="T14" fmla="*/ 2147483647 w 8"/>
                <a:gd name="T15" fmla="*/ 0 h 5"/>
                <a:gd name="T16" fmla="*/ 2147483647 w 8"/>
                <a:gd name="T17" fmla="*/ 2147483647 h 5"/>
                <a:gd name="T18" fmla="*/ 2147483647 w 8"/>
                <a:gd name="T19" fmla="*/ 2147483647 h 5"/>
                <a:gd name="T20" fmla="*/ 2147483647 w 8"/>
                <a:gd name="T21" fmla="*/ 2147483647 h 5"/>
                <a:gd name="T22" fmla="*/ 2147483647 w 8"/>
                <a:gd name="T23" fmla="*/ 2147483647 h 5"/>
                <a:gd name="T24" fmla="*/ 2147483647 w 8"/>
                <a:gd name="T25" fmla="*/ 2147483647 h 5"/>
                <a:gd name="T26" fmla="*/ 2147483647 w 8"/>
                <a:gd name="T27" fmla="*/ 2147483647 h 5"/>
                <a:gd name="T28" fmla="*/ 2147483647 w 8"/>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5"/>
                <a:gd name="T47" fmla="*/ 8 w 8"/>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5">
                  <a:moveTo>
                    <a:pt x="4" y="3"/>
                  </a:moveTo>
                  <a:lnTo>
                    <a:pt x="4" y="3"/>
                  </a:lnTo>
                  <a:lnTo>
                    <a:pt x="1" y="2"/>
                  </a:lnTo>
                  <a:lnTo>
                    <a:pt x="0" y="1"/>
                  </a:lnTo>
                  <a:lnTo>
                    <a:pt x="1" y="0"/>
                  </a:lnTo>
                  <a:lnTo>
                    <a:pt x="3" y="0"/>
                  </a:lnTo>
                  <a:lnTo>
                    <a:pt x="5" y="0"/>
                  </a:lnTo>
                  <a:lnTo>
                    <a:pt x="8" y="1"/>
                  </a:lnTo>
                  <a:lnTo>
                    <a:pt x="8" y="2"/>
                  </a:lnTo>
                  <a:lnTo>
                    <a:pt x="6" y="5"/>
                  </a:lnTo>
                  <a:lnTo>
                    <a:pt x="5" y="5"/>
                  </a:lnTo>
                  <a:lnTo>
                    <a:pt x="4"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3" name="Freeform 1082"/>
            <p:cNvSpPr>
              <a:spLocks/>
            </p:cNvSpPr>
            <p:nvPr/>
          </p:nvSpPr>
          <p:spPr bwMode="auto">
            <a:xfrm>
              <a:off x="2436814" y="4981575"/>
              <a:ext cx="219075" cy="1238250"/>
            </a:xfrm>
            <a:custGeom>
              <a:avLst/>
              <a:gdLst>
                <a:gd name="T0" fmla="*/ 2147483647 w 149"/>
                <a:gd name="T1" fmla="*/ 2147483647 h 780"/>
                <a:gd name="T2" fmla="*/ 2147483647 w 149"/>
                <a:gd name="T3" fmla="*/ 2147483647 h 780"/>
                <a:gd name="T4" fmla="*/ 2147483647 w 149"/>
                <a:gd name="T5" fmla="*/ 2147483647 h 780"/>
                <a:gd name="T6" fmla="*/ 2147483647 w 149"/>
                <a:gd name="T7" fmla="*/ 2147483647 h 780"/>
                <a:gd name="T8" fmla="*/ 2147483647 w 149"/>
                <a:gd name="T9" fmla="*/ 2147483647 h 780"/>
                <a:gd name="T10" fmla="*/ 2147483647 w 149"/>
                <a:gd name="T11" fmla="*/ 2147483647 h 780"/>
                <a:gd name="T12" fmla="*/ 2147483647 w 149"/>
                <a:gd name="T13" fmla="*/ 2147483647 h 780"/>
                <a:gd name="T14" fmla="*/ 2147483647 w 149"/>
                <a:gd name="T15" fmla="*/ 2147483647 h 780"/>
                <a:gd name="T16" fmla="*/ 2147483647 w 149"/>
                <a:gd name="T17" fmla="*/ 2147483647 h 780"/>
                <a:gd name="T18" fmla="*/ 2147483647 w 149"/>
                <a:gd name="T19" fmla="*/ 2147483647 h 780"/>
                <a:gd name="T20" fmla="*/ 2147483647 w 149"/>
                <a:gd name="T21" fmla="*/ 2147483647 h 780"/>
                <a:gd name="T22" fmla="*/ 2147483647 w 149"/>
                <a:gd name="T23" fmla="*/ 2147483647 h 780"/>
                <a:gd name="T24" fmla="*/ 2147483647 w 149"/>
                <a:gd name="T25" fmla="*/ 2147483647 h 780"/>
                <a:gd name="T26" fmla="*/ 2147483647 w 149"/>
                <a:gd name="T27" fmla="*/ 2147483647 h 780"/>
                <a:gd name="T28" fmla="*/ 2147483647 w 149"/>
                <a:gd name="T29" fmla="*/ 2147483647 h 780"/>
                <a:gd name="T30" fmla="*/ 2147483647 w 149"/>
                <a:gd name="T31" fmla="*/ 2147483647 h 780"/>
                <a:gd name="T32" fmla="*/ 2147483647 w 149"/>
                <a:gd name="T33" fmla="*/ 2147483647 h 780"/>
                <a:gd name="T34" fmla="*/ 2147483647 w 149"/>
                <a:gd name="T35" fmla="*/ 2147483647 h 780"/>
                <a:gd name="T36" fmla="*/ 2147483647 w 149"/>
                <a:gd name="T37" fmla="*/ 2147483647 h 780"/>
                <a:gd name="T38" fmla="*/ 2147483647 w 149"/>
                <a:gd name="T39" fmla="*/ 2147483647 h 780"/>
                <a:gd name="T40" fmla="*/ 2147483647 w 149"/>
                <a:gd name="T41" fmla="*/ 2147483647 h 780"/>
                <a:gd name="T42" fmla="*/ 2147483647 w 149"/>
                <a:gd name="T43" fmla="*/ 2147483647 h 780"/>
                <a:gd name="T44" fmla="*/ 2147483647 w 149"/>
                <a:gd name="T45" fmla="*/ 2147483647 h 780"/>
                <a:gd name="T46" fmla="*/ 2147483647 w 149"/>
                <a:gd name="T47" fmla="*/ 2147483647 h 780"/>
                <a:gd name="T48" fmla="*/ 2147483647 w 149"/>
                <a:gd name="T49" fmla="*/ 2147483647 h 780"/>
                <a:gd name="T50" fmla="*/ 2147483647 w 149"/>
                <a:gd name="T51" fmla="*/ 2147483647 h 780"/>
                <a:gd name="T52" fmla="*/ 2147483647 w 149"/>
                <a:gd name="T53" fmla="*/ 2147483647 h 780"/>
                <a:gd name="T54" fmla="*/ 2147483647 w 149"/>
                <a:gd name="T55" fmla="*/ 2147483647 h 780"/>
                <a:gd name="T56" fmla="*/ 2147483647 w 149"/>
                <a:gd name="T57" fmla="*/ 2147483647 h 780"/>
                <a:gd name="T58" fmla="*/ 2147483647 w 149"/>
                <a:gd name="T59" fmla="*/ 2147483647 h 780"/>
                <a:gd name="T60" fmla="*/ 2147483647 w 149"/>
                <a:gd name="T61" fmla="*/ 2147483647 h 780"/>
                <a:gd name="T62" fmla="*/ 2147483647 w 149"/>
                <a:gd name="T63" fmla="*/ 2147483647 h 780"/>
                <a:gd name="T64" fmla="*/ 2147483647 w 149"/>
                <a:gd name="T65" fmla="*/ 2147483647 h 780"/>
                <a:gd name="T66" fmla="*/ 2147483647 w 149"/>
                <a:gd name="T67" fmla="*/ 2147483647 h 780"/>
                <a:gd name="T68" fmla="*/ 2147483647 w 149"/>
                <a:gd name="T69" fmla="*/ 2147483647 h 780"/>
                <a:gd name="T70" fmla="*/ 2147483647 w 149"/>
                <a:gd name="T71" fmla="*/ 2147483647 h 780"/>
                <a:gd name="T72" fmla="*/ 2147483647 w 149"/>
                <a:gd name="T73" fmla="*/ 2147483647 h 780"/>
                <a:gd name="T74" fmla="*/ 2147483647 w 149"/>
                <a:gd name="T75" fmla="*/ 2147483647 h 780"/>
                <a:gd name="T76" fmla="*/ 2147483647 w 149"/>
                <a:gd name="T77" fmla="*/ 2147483647 h 780"/>
                <a:gd name="T78" fmla="*/ 2147483647 w 149"/>
                <a:gd name="T79" fmla="*/ 2147483647 h 780"/>
                <a:gd name="T80" fmla="*/ 2147483647 w 149"/>
                <a:gd name="T81" fmla="*/ 2147483647 h 780"/>
                <a:gd name="T82" fmla="*/ 2147483647 w 149"/>
                <a:gd name="T83" fmla="*/ 2147483647 h 780"/>
                <a:gd name="T84" fmla="*/ 2147483647 w 149"/>
                <a:gd name="T85" fmla="*/ 2147483647 h 780"/>
                <a:gd name="T86" fmla="*/ 2147483647 w 149"/>
                <a:gd name="T87" fmla="*/ 2147483647 h 780"/>
                <a:gd name="T88" fmla="*/ 2147483647 w 149"/>
                <a:gd name="T89" fmla="*/ 2147483647 h 780"/>
                <a:gd name="T90" fmla="*/ 2147483647 w 149"/>
                <a:gd name="T91" fmla="*/ 2147483647 h 780"/>
                <a:gd name="T92" fmla="*/ 2147483647 w 149"/>
                <a:gd name="T93" fmla="*/ 2147483647 h 780"/>
                <a:gd name="T94" fmla="*/ 2147483647 w 149"/>
                <a:gd name="T95" fmla="*/ 2147483647 h 780"/>
                <a:gd name="T96" fmla="*/ 2147483647 w 149"/>
                <a:gd name="T97" fmla="*/ 2147483647 h 780"/>
                <a:gd name="T98" fmla="*/ 2147483647 w 149"/>
                <a:gd name="T99" fmla="*/ 2147483647 h 780"/>
                <a:gd name="T100" fmla="*/ 2147483647 w 149"/>
                <a:gd name="T101" fmla="*/ 2147483647 h 780"/>
                <a:gd name="T102" fmla="*/ 2147483647 w 149"/>
                <a:gd name="T103" fmla="*/ 2147483647 h 780"/>
                <a:gd name="T104" fmla="*/ 2147483647 w 149"/>
                <a:gd name="T105" fmla="*/ 2147483647 h 7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9"/>
                <a:gd name="T160" fmla="*/ 0 h 780"/>
                <a:gd name="T161" fmla="*/ 149 w 149"/>
                <a:gd name="T162" fmla="*/ 780 h 7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9" h="780">
                  <a:moveTo>
                    <a:pt x="145" y="90"/>
                  </a:moveTo>
                  <a:lnTo>
                    <a:pt x="148" y="97"/>
                  </a:lnTo>
                  <a:lnTo>
                    <a:pt x="149" y="106"/>
                  </a:lnTo>
                  <a:lnTo>
                    <a:pt x="149" y="109"/>
                  </a:lnTo>
                  <a:lnTo>
                    <a:pt x="148" y="113"/>
                  </a:lnTo>
                  <a:lnTo>
                    <a:pt x="147" y="116"/>
                  </a:lnTo>
                  <a:lnTo>
                    <a:pt x="144" y="119"/>
                  </a:lnTo>
                  <a:lnTo>
                    <a:pt x="134" y="127"/>
                  </a:lnTo>
                  <a:lnTo>
                    <a:pt x="126" y="135"/>
                  </a:lnTo>
                  <a:lnTo>
                    <a:pt x="120" y="146"/>
                  </a:lnTo>
                  <a:lnTo>
                    <a:pt x="117" y="157"/>
                  </a:lnTo>
                  <a:lnTo>
                    <a:pt x="114" y="172"/>
                  </a:lnTo>
                  <a:lnTo>
                    <a:pt x="108" y="187"/>
                  </a:lnTo>
                  <a:lnTo>
                    <a:pt x="98" y="216"/>
                  </a:lnTo>
                  <a:lnTo>
                    <a:pt x="96" y="225"/>
                  </a:lnTo>
                  <a:lnTo>
                    <a:pt x="93" y="234"/>
                  </a:lnTo>
                  <a:lnTo>
                    <a:pt x="92" y="252"/>
                  </a:lnTo>
                  <a:lnTo>
                    <a:pt x="88" y="266"/>
                  </a:lnTo>
                  <a:lnTo>
                    <a:pt x="87" y="273"/>
                  </a:lnTo>
                  <a:lnTo>
                    <a:pt x="86" y="280"/>
                  </a:lnTo>
                  <a:lnTo>
                    <a:pt x="86" y="287"/>
                  </a:lnTo>
                  <a:lnTo>
                    <a:pt x="87" y="294"/>
                  </a:lnTo>
                  <a:lnTo>
                    <a:pt x="89" y="307"/>
                  </a:lnTo>
                  <a:lnTo>
                    <a:pt x="92" y="320"/>
                  </a:lnTo>
                  <a:lnTo>
                    <a:pt x="92" y="327"/>
                  </a:lnTo>
                  <a:lnTo>
                    <a:pt x="91" y="335"/>
                  </a:lnTo>
                  <a:lnTo>
                    <a:pt x="87" y="345"/>
                  </a:lnTo>
                  <a:lnTo>
                    <a:pt x="86" y="351"/>
                  </a:lnTo>
                  <a:lnTo>
                    <a:pt x="84" y="358"/>
                  </a:lnTo>
                  <a:lnTo>
                    <a:pt x="84" y="363"/>
                  </a:lnTo>
                  <a:lnTo>
                    <a:pt x="84" y="368"/>
                  </a:lnTo>
                  <a:lnTo>
                    <a:pt x="86" y="371"/>
                  </a:lnTo>
                  <a:lnTo>
                    <a:pt x="84" y="375"/>
                  </a:lnTo>
                  <a:lnTo>
                    <a:pt x="83" y="380"/>
                  </a:lnTo>
                  <a:lnTo>
                    <a:pt x="80" y="382"/>
                  </a:lnTo>
                  <a:lnTo>
                    <a:pt x="77" y="384"/>
                  </a:lnTo>
                  <a:lnTo>
                    <a:pt x="75" y="387"/>
                  </a:lnTo>
                  <a:lnTo>
                    <a:pt x="73" y="391"/>
                  </a:lnTo>
                  <a:lnTo>
                    <a:pt x="73" y="399"/>
                  </a:lnTo>
                  <a:lnTo>
                    <a:pt x="73" y="407"/>
                  </a:lnTo>
                  <a:lnTo>
                    <a:pt x="77" y="420"/>
                  </a:lnTo>
                  <a:lnTo>
                    <a:pt x="77" y="423"/>
                  </a:lnTo>
                  <a:lnTo>
                    <a:pt x="77" y="426"/>
                  </a:lnTo>
                  <a:lnTo>
                    <a:pt x="75" y="428"/>
                  </a:lnTo>
                  <a:lnTo>
                    <a:pt x="73" y="432"/>
                  </a:lnTo>
                  <a:lnTo>
                    <a:pt x="69" y="438"/>
                  </a:lnTo>
                  <a:lnTo>
                    <a:pt x="65" y="446"/>
                  </a:lnTo>
                  <a:lnTo>
                    <a:pt x="60" y="461"/>
                  </a:lnTo>
                  <a:lnTo>
                    <a:pt x="59" y="470"/>
                  </a:lnTo>
                  <a:lnTo>
                    <a:pt x="58" y="479"/>
                  </a:lnTo>
                  <a:lnTo>
                    <a:pt x="58" y="498"/>
                  </a:lnTo>
                  <a:lnTo>
                    <a:pt x="60" y="517"/>
                  </a:lnTo>
                  <a:lnTo>
                    <a:pt x="63" y="536"/>
                  </a:lnTo>
                  <a:lnTo>
                    <a:pt x="63" y="542"/>
                  </a:lnTo>
                  <a:lnTo>
                    <a:pt x="63" y="548"/>
                  </a:lnTo>
                  <a:lnTo>
                    <a:pt x="64" y="550"/>
                  </a:lnTo>
                  <a:lnTo>
                    <a:pt x="67" y="553"/>
                  </a:lnTo>
                  <a:lnTo>
                    <a:pt x="70" y="556"/>
                  </a:lnTo>
                  <a:lnTo>
                    <a:pt x="72" y="560"/>
                  </a:lnTo>
                  <a:lnTo>
                    <a:pt x="70" y="561"/>
                  </a:lnTo>
                  <a:lnTo>
                    <a:pt x="65" y="565"/>
                  </a:lnTo>
                  <a:lnTo>
                    <a:pt x="64" y="567"/>
                  </a:lnTo>
                  <a:lnTo>
                    <a:pt x="65" y="568"/>
                  </a:lnTo>
                  <a:lnTo>
                    <a:pt x="68" y="572"/>
                  </a:lnTo>
                  <a:lnTo>
                    <a:pt x="69" y="574"/>
                  </a:lnTo>
                  <a:lnTo>
                    <a:pt x="69" y="576"/>
                  </a:lnTo>
                  <a:lnTo>
                    <a:pt x="67" y="581"/>
                  </a:lnTo>
                  <a:lnTo>
                    <a:pt x="65" y="586"/>
                  </a:lnTo>
                  <a:lnTo>
                    <a:pt x="65" y="592"/>
                  </a:lnTo>
                  <a:lnTo>
                    <a:pt x="65" y="597"/>
                  </a:lnTo>
                  <a:lnTo>
                    <a:pt x="65" y="605"/>
                  </a:lnTo>
                  <a:lnTo>
                    <a:pt x="61" y="619"/>
                  </a:lnTo>
                  <a:lnTo>
                    <a:pt x="55" y="632"/>
                  </a:lnTo>
                  <a:lnTo>
                    <a:pt x="54" y="636"/>
                  </a:lnTo>
                  <a:lnTo>
                    <a:pt x="55" y="638"/>
                  </a:lnTo>
                  <a:lnTo>
                    <a:pt x="56" y="643"/>
                  </a:lnTo>
                  <a:lnTo>
                    <a:pt x="56" y="646"/>
                  </a:lnTo>
                  <a:lnTo>
                    <a:pt x="54" y="651"/>
                  </a:lnTo>
                  <a:lnTo>
                    <a:pt x="51" y="655"/>
                  </a:lnTo>
                  <a:lnTo>
                    <a:pt x="49" y="658"/>
                  </a:lnTo>
                  <a:lnTo>
                    <a:pt x="46" y="662"/>
                  </a:lnTo>
                  <a:lnTo>
                    <a:pt x="44" y="670"/>
                  </a:lnTo>
                  <a:lnTo>
                    <a:pt x="40" y="677"/>
                  </a:lnTo>
                  <a:lnTo>
                    <a:pt x="37" y="683"/>
                  </a:lnTo>
                  <a:lnTo>
                    <a:pt x="35" y="689"/>
                  </a:lnTo>
                  <a:lnTo>
                    <a:pt x="36" y="695"/>
                  </a:lnTo>
                  <a:lnTo>
                    <a:pt x="36" y="698"/>
                  </a:lnTo>
                  <a:lnTo>
                    <a:pt x="39" y="700"/>
                  </a:lnTo>
                  <a:lnTo>
                    <a:pt x="44" y="704"/>
                  </a:lnTo>
                  <a:lnTo>
                    <a:pt x="47" y="708"/>
                  </a:lnTo>
                  <a:lnTo>
                    <a:pt x="50" y="713"/>
                  </a:lnTo>
                  <a:lnTo>
                    <a:pt x="51" y="719"/>
                  </a:lnTo>
                  <a:lnTo>
                    <a:pt x="53" y="723"/>
                  </a:lnTo>
                  <a:lnTo>
                    <a:pt x="54" y="728"/>
                  </a:lnTo>
                  <a:lnTo>
                    <a:pt x="55" y="732"/>
                  </a:lnTo>
                  <a:lnTo>
                    <a:pt x="58" y="733"/>
                  </a:lnTo>
                  <a:lnTo>
                    <a:pt x="63" y="735"/>
                  </a:lnTo>
                  <a:lnTo>
                    <a:pt x="69" y="736"/>
                  </a:lnTo>
                  <a:lnTo>
                    <a:pt x="75" y="736"/>
                  </a:lnTo>
                  <a:lnTo>
                    <a:pt x="77" y="738"/>
                  </a:lnTo>
                  <a:lnTo>
                    <a:pt x="96" y="738"/>
                  </a:lnTo>
                  <a:lnTo>
                    <a:pt x="116" y="738"/>
                  </a:lnTo>
                  <a:lnTo>
                    <a:pt x="116" y="740"/>
                  </a:lnTo>
                  <a:lnTo>
                    <a:pt x="117" y="742"/>
                  </a:lnTo>
                  <a:lnTo>
                    <a:pt x="116" y="744"/>
                  </a:lnTo>
                  <a:lnTo>
                    <a:pt x="115" y="744"/>
                  </a:lnTo>
                  <a:lnTo>
                    <a:pt x="111" y="744"/>
                  </a:lnTo>
                  <a:lnTo>
                    <a:pt x="107" y="744"/>
                  </a:lnTo>
                  <a:lnTo>
                    <a:pt x="103" y="744"/>
                  </a:lnTo>
                  <a:lnTo>
                    <a:pt x="94" y="747"/>
                  </a:lnTo>
                  <a:lnTo>
                    <a:pt x="86" y="752"/>
                  </a:lnTo>
                  <a:lnTo>
                    <a:pt x="80" y="757"/>
                  </a:lnTo>
                  <a:lnTo>
                    <a:pt x="77" y="764"/>
                  </a:lnTo>
                  <a:lnTo>
                    <a:pt x="73" y="771"/>
                  </a:lnTo>
                  <a:lnTo>
                    <a:pt x="69" y="778"/>
                  </a:lnTo>
                  <a:lnTo>
                    <a:pt x="67" y="780"/>
                  </a:lnTo>
                  <a:lnTo>
                    <a:pt x="64" y="779"/>
                  </a:lnTo>
                  <a:lnTo>
                    <a:pt x="59" y="777"/>
                  </a:lnTo>
                  <a:lnTo>
                    <a:pt x="58" y="774"/>
                  </a:lnTo>
                  <a:lnTo>
                    <a:pt x="59" y="772"/>
                  </a:lnTo>
                  <a:lnTo>
                    <a:pt x="60" y="771"/>
                  </a:lnTo>
                  <a:lnTo>
                    <a:pt x="63" y="770"/>
                  </a:lnTo>
                  <a:lnTo>
                    <a:pt x="65" y="770"/>
                  </a:lnTo>
                  <a:lnTo>
                    <a:pt x="67" y="768"/>
                  </a:lnTo>
                  <a:lnTo>
                    <a:pt x="70" y="766"/>
                  </a:lnTo>
                  <a:lnTo>
                    <a:pt x="72" y="762"/>
                  </a:lnTo>
                  <a:lnTo>
                    <a:pt x="73" y="759"/>
                  </a:lnTo>
                  <a:lnTo>
                    <a:pt x="72" y="757"/>
                  </a:lnTo>
                  <a:lnTo>
                    <a:pt x="65" y="751"/>
                  </a:lnTo>
                  <a:lnTo>
                    <a:pt x="63" y="749"/>
                  </a:lnTo>
                  <a:lnTo>
                    <a:pt x="60" y="749"/>
                  </a:lnTo>
                  <a:lnTo>
                    <a:pt x="58" y="749"/>
                  </a:lnTo>
                  <a:lnTo>
                    <a:pt x="55" y="751"/>
                  </a:lnTo>
                  <a:lnTo>
                    <a:pt x="53" y="754"/>
                  </a:lnTo>
                  <a:lnTo>
                    <a:pt x="51" y="759"/>
                  </a:lnTo>
                  <a:lnTo>
                    <a:pt x="49" y="764"/>
                  </a:lnTo>
                  <a:lnTo>
                    <a:pt x="47" y="764"/>
                  </a:lnTo>
                  <a:lnTo>
                    <a:pt x="46" y="764"/>
                  </a:lnTo>
                  <a:lnTo>
                    <a:pt x="41" y="760"/>
                  </a:lnTo>
                  <a:lnTo>
                    <a:pt x="36" y="755"/>
                  </a:lnTo>
                  <a:lnTo>
                    <a:pt x="35" y="753"/>
                  </a:lnTo>
                  <a:lnTo>
                    <a:pt x="34" y="751"/>
                  </a:lnTo>
                  <a:lnTo>
                    <a:pt x="34" y="747"/>
                  </a:lnTo>
                  <a:lnTo>
                    <a:pt x="35" y="745"/>
                  </a:lnTo>
                  <a:lnTo>
                    <a:pt x="39" y="744"/>
                  </a:lnTo>
                  <a:lnTo>
                    <a:pt x="42" y="741"/>
                  </a:lnTo>
                  <a:lnTo>
                    <a:pt x="45" y="739"/>
                  </a:lnTo>
                  <a:lnTo>
                    <a:pt x="46" y="738"/>
                  </a:lnTo>
                  <a:lnTo>
                    <a:pt x="46" y="735"/>
                  </a:lnTo>
                  <a:lnTo>
                    <a:pt x="42" y="735"/>
                  </a:lnTo>
                  <a:lnTo>
                    <a:pt x="39" y="734"/>
                  </a:lnTo>
                  <a:lnTo>
                    <a:pt x="36" y="733"/>
                  </a:lnTo>
                  <a:lnTo>
                    <a:pt x="34" y="729"/>
                  </a:lnTo>
                  <a:lnTo>
                    <a:pt x="31" y="723"/>
                  </a:lnTo>
                  <a:lnTo>
                    <a:pt x="31" y="717"/>
                  </a:lnTo>
                  <a:lnTo>
                    <a:pt x="32" y="710"/>
                  </a:lnTo>
                  <a:lnTo>
                    <a:pt x="30" y="703"/>
                  </a:lnTo>
                  <a:lnTo>
                    <a:pt x="26" y="696"/>
                  </a:lnTo>
                  <a:lnTo>
                    <a:pt x="21" y="691"/>
                  </a:lnTo>
                  <a:lnTo>
                    <a:pt x="20" y="689"/>
                  </a:lnTo>
                  <a:lnTo>
                    <a:pt x="21" y="687"/>
                  </a:lnTo>
                  <a:lnTo>
                    <a:pt x="23" y="682"/>
                  </a:lnTo>
                  <a:lnTo>
                    <a:pt x="26" y="675"/>
                  </a:lnTo>
                  <a:lnTo>
                    <a:pt x="27" y="666"/>
                  </a:lnTo>
                  <a:lnTo>
                    <a:pt x="27" y="659"/>
                  </a:lnTo>
                  <a:lnTo>
                    <a:pt x="26" y="651"/>
                  </a:lnTo>
                  <a:lnTo>
                    <a:pt x="25" y="650"/>
                  </a:lnTo>
                  <a:lnTo>
                    <a:pt x="26" y="649"/>
                  </a:lnTo>
                  <a:lnTo>
                    <a:pt x="28" y="646"/>
                  </a:lnTo>
                  <a:lnTo>
                    <a:pt x="32" y="646"/>
                  </a:lnTo>
                  <a:lnTo>
                    <a:pt x="34" y="645"/>
                  </a:lnTo>
                  <a:lnTo>
                    <a:pt x="34" y="644"/>
                  </a:lnTo>
                  <a:lnTo>
                    <a:pt x="34" y="643"/>
                  </a:lnTo>
                  <a:lnTo>
                    <a:pt x="30" y="640"/>
                  </a:lnTo>
                  <a:lnTo>
                    <a:pt x="26" y="639"/>
                  </a:lnTo>
                  <a:lnTo>
                    <a:pt x="23" y="637"/>
                  </a:lnTo>
                  <a:lnTo>
                    <a:pt x="21" y="634"/>
                  </a:lnTo>
                  <a:lnTo>
                    <a:pt x="21" y="632"/>
                  </a:lnTo>
                  <a:lnTo>
                    <a:pt x="21" y="631"/>
                  </a:lnTo>
                  <a:lnTo>
                    <a:pt x="26" y="623"/>
                  </a:lnTo>
                  <a:lnTo>
                    <a:pt x="27" y="619"/>
                  </a:lnTo>
                  <a:lnTo>
                    <a:pt x="27" y="614"/>
                  </a:lnTo>
                  <a:lnTo>
                    <a:pt x="26" y="613"/>
                  </a:lnTo>
                  <a:lnTo>
                    <a:pt x="25" y="613"/>
                  </a:lnTo>
                  <a:lnTo>
                    <a:pt x="22" y="613"/>
                  </a:lnTo>
                  <a:lnTo>
                    <a:pt x="20" y="614"/>
                  </a:lnTo>
                  <a:lnTo>
                    <a:pt x="9" y="614"/>
                  </a:lnTo>
                  <a:lnTo>
                    <a:pt x="6" y="615"/>
                  </a:lnTo>
                  <a:lnTo>
                    <a:pt x="0" y="618"/>
                  </a:lnTo>
                  <a:lnTo>
                    <a:pt x="0" y="615"/>
                  </a:lnTo>
                  <a:lnTo>
                    <a:pt x="0" y="612"/>
                  </a:lnTo>
                  <a:lnTo>
                    <a:pt x="6" y="606"/>
                  </a:lnTo>
                  <a:lnTo>
                    <a:pt x="8" y="601"/>
                  </a:lnTo>
                  <a:lnTo>
                    <a:pt x="11" y="595"/>
                  </a:lnTo>
                  <a:lnTo>
                    <a:pt x="12" y="593"/>
                  </a:lnTo>
                  <a:lnTo>
                    <a:pt x="16" y="593"/>
                  </a:lnTo>
                  <a:lnTo>
                    <a:pt x="18" y="593"/>
                  </a:lnTo>
                  <a:lnTo>
                    <a:pt x="21" y="595"/>
                  </a:lnTo>
                  <a:lnTo>
                    <a:pt x="23" y="601"/>
                  </a:lnTo>
                  <a:lnTo>
                    <a:pt x="25" y="604"/>
                  </a:lnTo>
                  <a:lnTo>
                    <a:pt x="27" y="606"/>
                  </a:lnTo>
                  <a:lnTo>
                    <a:pt x="30" y="607"/>
                  </a:lnTo>
                  <a:lnTo>
                    <a:pt x="32" y="607"/>
                  </a:lnTo>
                  <a:lnTo>
                    <a:pt x="35" y="606"/>
                  </a:lnTo>
                  <a:lnTo>
                    <a:pt x="35" y="605"/>
                  </a:lnTo>
                  <a:lnTo>
                    <a:pt x="37" y="586"/>
                  </a:lnTo>
                  <a:lnTo>
                    <a:pt x="39" y="579"/>
                  </a:lnTo>
                  <a:lnTo>
                    <a:pt x="40" y="578"/>
                  </a:lnTo>
                  <a:lnTo>
                    <a:pt x="42" y="576"/>
                  </a:lnTo>
                  <a:lnTo>
                    <a:pt x="49" y="575"/>
                  </a:lnTo>
                  <a:lnTo>
                    <a:pt x="53" y="573"/>
                  </a:lnTo>
                  <a:lnTo>
                    <a:pt x="55" y="569"/>
                  </a:lnTo>
                  <a:lnTo>
                    <a:pt x="56" y="566"/>
                  </a:lnTo>
                  <a:lnTo>
                    <a:pt x="59" y="562"/>
                  </a:lnTo>
                  <a:lnTo>
                    <a:pt x="58" y="560"/>
                  </a:lnTo>
                  <a:lnTo>
                    <a:pt x="55" y="559"/>
                  </a:lnTo>
                  <a:lnTo>
                    <a:pt x="51" y="556"/>
                  </a:lnTo>
                  <a:lnTo>
                    <a:pt x="45" y="555"/>
                  </a:lnTo>
                  <a:lnTo>
                    <a:pt x="49" y="549"/>
                  </a:lnTo>
                  <a:lnTo>
                    <a:pt x="50" y="542"/>
                  </a:lnTo>
                  <a:lnTo>
                    <a:pt x="51" y="535"/>
                  </a:lnTo>
                  <a:lnTo>
                    <a:pt x="51" y="527"/>
                  </a:lnTo>
                  <a:lnTo>
                    <a:pt x="50" y="509"/>
                  </a:lnTo>
                  <a:lnTo>
                    <a:pt x="47" y="495"/>
                  </a:lnTo>
                  <a:lnTo>
                    <a:pt x="47" y="493"/>
                  </a:lnTo>
                  <a:lnTo>
                    <a:pt x="46" y="493"/>
                  </a:lnTo>
                  <a:lnTo>
                    <a:pt x="44" y="495"/>
                  </a:lnTo>
                  <a:lnTo>
                    <a:pt x="42" y="497"/>
                  </a:lnTo>
                  <a:lnTo>
                    <a:pt x="40" y="498"/>
                  </a:lnTo>
                  <a:lnTo>
                    <a:pt x="37" y="498"/>
                  </a:lnTo>
                  <a:lnTo>
                    <a:pt x="35" y="497"/>
                  </a:lnTo>
                  <a:lnTo>
                    <a:pt x="32" y="495"/>
                  </a:lnTo>
                  <a:lnTo>
                    <a:pt x="31" y="491"/>
                  </a:lnTo>
                  <a:lnTo>
                    <a:pt x="30" y="487"/>
                  </a:lnTo>
                  <a:lnTo>
                    <a:pt x="31" y="479"/>
                  </a:lnTo>
                  <a:lnTo>
                    <a:pt x="34" y="472"/>
                  </a:lnTo>
                  <a:lnTo>
                    <a:pt x="36" y="463"/>
                  </a:lnTo>
                  <a:lnTo>
                    <a:pt x="39" y="457"/>
                  </a:lnTo>
                  <a:lnTo>
                    <a:pt x="39" y="452"/>
                  </a:lnTo>
                  <a:lnTo>
                    <a:pt x="40" y="433"/>
                  </a:lnTo>
                  <a:lnTo>
                    <a:pt x="41" y="414"/>
                  </a:lnTo>
                  <a:lnTo>
                    <a:pt x="40" y="413"/>
                  </a:lnTo>
                  <a:lnTo>
                    <a:pt x="39" y="412"/>
                  </a:lnTo>
                  <a:lnTo>
                    <a:pt x="37" y="409"/>
                  </a:lnTo>
                  <a:lnTo>
                    <a:pt x="37" y="407"/>
                  </a:lnTo>
                  <a:lnTo>
                    <a:pt x="40" y="400"/>
                  </a:lnTo>
                  <a:lnTo>
                    <a:pt x="41" y="391"/>
                  </a:lnTo>
                  <a:lnTo>
                    <a:pt x="42" y="391"/>
                  </a:lnTo>
                  <a:lnTo>
                    <a:pt x="45" y="381"/>
                  </a:lnTo>
                  <a:lnTo>
                    <a:pt x="47" y="371"/>
                  </a:lnTo>
                  <a:lnTo>
                    <a:pt x="56" y="351"/>
                  </a:lnTo>
                  <a:lnTo>
                    <a:pt x="59" y="345"/>
                  </a:lnTo>
                  <a:lnTo>
                    <a:pt x="59" y="342"/>
                  </a:lnTo>
                  <a:lnTo>
                    <a:pt x="61" y="333"/>
                  </a:lnTo>
                  <a:lnTo>
                    <a:pt x="65" y="325"/>
                  </a:lnTo>
                  <a:lnTo>
                    <a:pt x="67" y="313"/>
                  </a:lnTo>
                  <a:lnTo>
                    <a:pt x="69" y="307"/>
                  </a:lnTo>
                  <a:lnTo>
                    <a:pt x="70" y="302"/>
                  </a:lnTo>
                  <a:lnTo>
                    <a:pt x="73" y="297"/>
                  </a:lnTo>
                  <a:lnTo>
                    <a:pt x="73" y="293"/>
                  </a:lnTo>
                  <a:lnTo>
                    <a:pt x="72" y="289"/>
                  </a:lnTo>
                  <a:lnTo>
                    <a:pt x="72" y="287"/>
                  </a:lnTo>
                  <a:lnTo>
                    <a:pt x="72" y="285"/>
                  </a:lnTo>
                  <a:lnTo>
                    <a:pt x="72" y="280"/>
                  </a:lnTo>
                  <a:lnTo>
                    <a:pt x="69" y="267"/>
                  </a:lnTo>
                  <a:lnTo>
                    <a:pt x="68" y="255"/>
                  </a:lnTo>
                  <a:lnTo>
                    <a:pt x="69" y="243"/>
                  </a:lnTo>
                  <a:lnTo>
                    <a:pt x="70" y="231"/>
                  </a:lnTo>
                  <a:lnTo>
                    <a:pt x="69" y="230"/>
                  </a:lnTo>
                  <a:lnTo>
                    <a:pt x="68" y="228"/>
                  </a:lnTo>
                  <a:lnTo>
                    <a:pt x="67" y="223"/>
                  </a:lnTo>
                  <a:lnTo>
                    <a:pt x="69" y="217"/>
                  </a:lnTo>
                  <a:lnTo>
                    <a:pt x="73" y="210"/>
                  </a:lnTo>
                  <a:lnTo>
                    <a:pt x="75" y="206"/>
                  </a:lnTo>
                  <a:lnTo>
                    <a:pt x="77" y="203"/>
                  </a:lnTo>
                  <a:lnTo>
                    <a:pt x="79" y="193"/>
                  </a:lnTo>
                  <a:lnTo>
                    <a:pt x="80" y="187"/>
                  </a:lnTo>
                  <a:lnTo>
                    <a:pt x="80" y="184"/>
                  </a:lnTo>
                  <a:lnTo>
                    <a:pt x="80" y="180"/>
                  </a:lnTo>
                  <a:lnTo>
                    <a:pt x="82" y="174"/>
                  </a:lnTo>
                  <a:lnTo>
                    <a:pt x="82" y="169"/>
                  </a:lnTo>
                  <a:lnTo>
                    <a:pt x="82" y="163"/>
                  </a:lnTo>
                  <a:lnTo>
                    <a:pt x="82" y="158"/>
                  </a:lnTo>
                  <a:lnTo>
                    <a:pt x="86" y="151"/>
                  </a:lnTo>
                  <a:lnTo>
                    <a:pt x="87" y="147"/>
                  </a:lnTo>
                  <a:lnTo>
                    <a:pt x="86" y="145"/>
                  </a:lnTo>
                  <a:lnTo>
                    <a:pt x="83" y="138"/>
                  </a:lnTo>
                  <a:lnTo>
                    <a:pt x="83" y="135"/>
                  </a:lnTo>
                  <a:lnTo>
                    <a:pt x="83" y="134"/>
                  </a:lnTo>
                  <a:lnTo>
                    <a:pt x="84" y="129"/>
                  </a:lnTo>
                  <a:lnTo>
                    <a:pt x="84" y="125"/>
                  </a:lnTo>
                  <a:lnTo>
                    <a:pt x="84" y="120"/>
                  </a:lnTo>
                  <a:lnTo>
                    <a:pt x="86" y="116"/>
                  </a:lnTo>
                  <a:lnTo>
                    <a:pt x="88" y="113"/>
                  </a:lnTo>
                  <a:lnTo>
                    <a:pt x="88" y="109"/>
                  </a:lnTo>
                  <a:lnTo>
                    <a:pt x="87" y="107"/>
                  </a:lnTo>
                  <a:lnTo>
                    <a:pt x="86" y="105"/>
                  </a:lnTo>
                  <a:lnTo>
                    <a:pt x="86" y="102"/>
                  </a:lnTo>
                  <a:lnTo>
                    <a:pt x="86" y="99"/>
                  </a:lnTo>
                  <a:lnTo>
                    <a:pt x="88" y="94"/>
                  </a:lnTo>
                  <a:lnTo>
                    <a:pt x="91" y="84"/>
                  </a:lnTo>
                  <a:lnTo>
                    <a:pt x="92" y="69"/>
                  </a:lnTo>
                  <a:lnTo>
                    <a:pt x="91" y="45"/>
                  </a:lnTo>
                  <a:lnTo>
                    <a:pt x="89" y="20"/>
                  </a:lnTo>
                  <a:lnTo>
                    <a:pt x="87" y="4"/>
                  </a:lnTo>
                  <a:lnTo>
                    <a:pt x="93" y="4"/>
                  </a:lnTo>
                  <a:lnTo>
                    <a:pt x="98" y="3"/>
                  </a:lnTo>
                  <a:lnTo>
                    <a:pt x="108" y="0"/>
                  </a:lnTo>
                  <a:lnTo>
                    <a:pt x="115" y="7"/>
                  </a:lnTo>
                  <a:lnTo>
                    <a:pt x="119" y="16"/>
                  </a:lnTo>
                  <a:lnTo>
                    <a:pt x="122" y="25"/>
                  </a:lnTo>
                  <a:lnTo>
                    <a:pt x="124" y="35"/>
                  </a:lnTo>
                  <a:lnTo>
                    <a:pt x="124" y="42"/>
                  </a:lnTo>
                  <a:lnTo>
                    <a:pt x="126" y="49"/>
                  </a:lnTo>
                  <a:lnTo>
                    <a:pt x="130" y="61"/>
                  </a:lnTo>
                  <a:lnTo>
                    <a:pt x="134" y="72"/>
                  </a:lnTo>
                  <a:lnTo>
                    <a:pt x="138" y="81"/>
                  </a:lnTo>
                  <a:lnTo>
                    <a:pt x="140" y="88"/>
                  </a:lnTo>
                  <a:lnTo>
                    <a:pt x="143" y="90"/>
                  </a:lnTo>
                  <a:lnTo>
                    <a:pt x="145" y="9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4" name="Freeform 1083"/>
            <p:cNvSpPr>
              <a:spLocks/>
            </p:cNvSpPr>
            <p:nvPr/>
          </p:nvSpPr>
          <p:spPr bwMode="auto">
            <a:xfrm>
              <a:off x="2528889" y="6178555"/>
              <a:ext cx="90487" cy="87313"/>
            </a:xfrm>
            <a:custGeom>
              <a:avLst/>
              <a:gdLst>
                <a:gd name="T0" fmla="*/ 2147483647 w 61"/>
                <a:gd name="T1" fmla="*/ 2147483647 h 55"/>
                <a:gd name="T2" fmla="*/ 2147483647 w 61"/>
                <a:gd name="T3" fmla="*/ 2147483647 h 55"/>
                <a:gd name="T4" fmla="*/ 2147483647 w 61"/>
                <a:gd name="T5" fmla="*/ 2147483647 h 55"/>
                <a:gd name="T6" fmla="*/ 2147483647 w 61"/>
                <a:gd name="T7" fmla="*/ 2147483647 h 55"/>
                <a:gd name="T8" fmla="*/ 2147483647 w 61"/>
                <a:gd name="T9" fmla="*/ 2147483647 h 55"/>
                <a:gd name="T10" fmla="*/ 2147483647 w 61"/>
                <a:gd name="T11" fmla="*/ 0 h 55"/>
                <a:gd name="T12" fmla="*/ 2147483647 w 61"/>
                <a:gd name="T13" fmla="*/ 2147483647 h 55"/>
                <a:gd name="T14" fmla="*/ 2147483647 w 61"/>
                <a:gd name="T15" fmla="*/ 2147483647 h 55"/>
                <a:gd name="T16" fmla="*/ 2147483647 w 61"/>
                <a:gd name="T17" fmla="*/ 0 h 55"/>
                <a:gd name="T18" fmla="*/ 2147483647 w 61"/>
                <a:gd name="T19" fmla="*/ 2147483647 h 55"/>
                <a:gd name="T20" fmla="*/ 2147483647 w 61"/>
                <a:gd name="T21" fmla="*/ 2147483647 h 55"/>
                <a:gd name="T22" fmla="*/ 2147483647 w 61"/>
                <a:gd name="T23" fmla="*/ 2147483647 h 55"/>
                <a:gd name="T24" fmla="*/ 2147483647 w 61"/>
                <a:gd name="T25" fmla="*/ 2147483647 h 55"/>
                <a:gd name="T26" fmla="*/ 2147483647 w 61"/>
                <a:gd name="T27" fmla="*/ 2147483647 h 55"/>
                <a:gd name="T28" fmla="*/ 2147483647 w 61"/>
                <a:gd name="T29" fmla="*/ 2147483647 h 55"/>
                <a:gd name="T30" fmla="*/ 2147483647 w 61"/>
                <a:gd name="T31" fmla="*/ 2147483647 h 55"/>
                <a:gd name="T32" fmla="*/ 2147483647 w 61"/>
                <a:gd name="T33" fmla="*/ 2147483647 h 55"/>
                <a:gd name="T34" fmla="*/ 2147483647 w 61"/>
                <a:gd name="T35" fmla="*/ 2147483647 h 55"/>
                <a:gd name="T36" fmla="*/ 2147483647 w 61"/>
                <a:gd name="T37" fmla="*/ 2147483647 h 55"/>
                <a:gd name="T38" fmla="*/ 2147483647 w 61"/>
                <a:gd name="T39" fmla="*/ 2147483647 h 55"/>
                <a:gd name="T40" fmla="*/ 2147483647 w 61"/>
                <a:gd name="T41" fmla="*/ 2147483647 h 55"/>
                <a:gd name="T42" fmla="*/ 2147483647 w 61"/>
                <a:gd name="T43" fmla="*/ 2147483647 h 55"/>
                <a:gd name="T44" fmla="*/ 2147483647 w 61"/>
                <a:gd name="T45" fmla="*/ 2147483647 h 55"/>
                <a:gd name="T46" fmla="*/ 2147483647 w 61"/>
                <a:gd name="T47" fmla="*/ 2147483647 h 55"/>
                <a:gd name="T48" fmla="*/ 2147483647 w 61"/>
                <a:gd name="T49" fmla="*/ 2147483647 h 55"/>
                <a:gd name="T50" fmla="*/ 2147483647 w 61"/>
                <a:gd name="T51" fmla="*/ 2147483647 h 55"/>
                <a:gd name="T52" fmla="*/ 2147483647 w 61"/>
                <a:gd name="T53" fmla="*/ 2147483647 h 55"/>
                <a:gd name="T54" fmla="*/ 2147483647 w 61"/>
                <a:gd name="T55" fmla="*/ 2147483647 h 55"/>
                <a:gd name="T56" fmla="*/ 2147483647 w 61"/>
                <a:gd name="T57" fmla="*/ 2147483647 h 55"/>
                <a:gd name="T58" fmla="*/ 2147483647 w 61"/>
                <a:gd name="T59" fmla="*/ 2147483647 h 55"/>
                <a:gd name="T60" fmla="*/ 2147483647 w 61"/>
                <a:gd name="T61" fmla="*/ 2147483647 h 55"/>
                <a:gd name="T62" fmla="*/ 2147483647 w 61"/>
                <a:gd name="T63" fmla="*/ 2147483647 h 55"/>
                <a:gd name="T64" fmla="*/ 2147483647 w 61"/>
                <a:gd name="T65" fmla="*/ 2147483647 h 55"/>
                <a:gd name="T66" fmla="*/ 2147483647 w 61"/>
                <a:gd name="T67" fmla="*/ 2147483647 h 55"/>
                <a:gd name="T68" fmla="*/ 2147483647 w 61"/>
                <a:gd name="T69" fmla="*/ 2147483647 h 55"/>
                <a:gd name="T70" fmla="*/ 2147483647 w 61"/>
                <a:gd name="T71" fmla="*/ 2147483647 h 55"/>
                <a:gd name="T72" fmla="*/ 2147483647 w 61"/>
                <a:gd name="T73" fmla="*/ 2147483647 h 55"/>
                <a:gd name="T74" fmla="*/ 2147483647 w 61"/>
                <a:gd name="T75" fmla="*/ 2147483647 h 55"/>
                <a:gd name="T76" fmla="*/ 2147483647 w 61"/>
                <a:gd name="T77" fmla="*/ 2147483647 h 55"/>
                <a:gd name="T78" fmla="*/ 2147483647 w 61"/>
                <a:gd name="T79" fmla="*/ 2147483647 h 55"/>
                <a:gd name="T80" fmla="*/ 2147483647 w 61"/>
                <a:gd name="T81" fmla="*/ 2147483647 h 55"/>
                <a:gd name="T82" fmla="*/ 2147483647 w 61"/>
                <a:gd name="T83" fmla="*/ 2147483647 h 55"/>
                <a:gd name="T84" fmla="*/ 0 w 61"/>
                <a:gd name="T85" fmla="*/ 2147483647 h 55"/>
                <a:gd name="T86" fmla="*/ 2147483647 w 61"/>
                <a:gd name="T87" fmla="*/ 2147483647 h 55"/>
                <a:gd name="T88" fmla="*/ 2147483647 w 61"/>
                <a:gd name="T89" fmla="*/ 2147483647 h 55"/>
                <a:gd name="T90" fmla="*/ 2147483647 w 61"/>
                <a:gd name="T91" fmla="*/ 2147483647 h 55"/>
                <a:gd name="T92" fmla="*/ 2147483647 w 61"/>
                <a:gd name="T93" fmla="*/ 2147483647 h 55"/>
                <a:gd name="T94" fmla="*/ 2147483647 w 61"/>
                <a:gd name="T95" fmla="*/ 2147483647 h 55"/>
                <a:gd name="T96" fmla="*/ 2147483647 w 61"/>
                <a:gd name="T97" fmla="*/ 2147483647 h 55"/>
                <a:gd name="T98" fmla="*/ 2147483647 w 61"/>
                <a:gd name="T99" fmla="*/ 2147483647 h 55"/>
                <a:gd name="T100" fmla="*/ 2147483647 w 61"/>
                <a:gd name="T101" fmla="*/ 2147483647 h 55"/>
                <a:gd name="T102" fmla="*/ 2147483647 w 61"/>
                <a:gd name="T103" fmla="*/ 2147483647 h 55"/>
                <a:gd name="T104" fmla="*/ 2147483647 w 61"/>
                <a:gd name="T105" fmla="*/ 2147483647 h 55"/>
                <a:gd name="T106" fmla="*/ 2147483647 w 61"/>
                <a:gd name="T107" fmla="*/ 2147483647 h 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
                <a:gd name="T163" fmla="*/ 0 h 55"/>
                <a:gd name="T164" fmla="*/ 61 w 61"/>
                <a:gd name="T165" fmla="*/ 55 h 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 h="55">
                  <a:moveTo>
                    <a:pt x="61" y="49"/>
                  </a:moveTo>
                  <a:lnTo>
                    <a:pt x="61" y="14"/>
                  </a:lnTo>
                  <a:lnTo>
                    <a:pt x="59" y="8"/>
                  </a:lnTo>
                  <a:lnTo>
                    <a:pt x="56" y="3"/>
                  </a:lnTo>
                  <a:lnTo>
                    <a:pt x="54" y="1"/>
                  </a:lnTo>
                  <a:lnTo>
                    <a:pt x="51" y="0"/>
                  </a:lnTo>
                  <a:lnTo>
                    <a:pt x="44" y="1"/>
                  </a:lnTo>
                  <a:lnTo>
                    <a:pt x="43" y="1"/>
                  </a:lnTo>
                  <a:lnTo>
                    <a:pt x="40" y="0"/>
                  </a:lnTo>
                  <a:lnTo>
                    <a:pt x="33" y="1"/>
                  </a:lnTo>
                  <a:lnTo>
                    <a:pt x="30" y="3"/>
                  </a:lnTo>
                  <a:lnTo>
                    <a:pt x="28" y="4"/>
                  </a:lnTo>
                  <a:lnTo>
                    <a:pt x="26" y="6"/>
                  </a:lnTo>
                  <a:lnTo>
                    <a:pt x="25" y="10"/>
                  </a:lnTo>
                  <a:lnTo>
                    <a:pt x="24" y="14"/>
                  </a:lnTo>
                  <a:lnTo>
                    <a:pt x="25" y="16"/>
                  </a:lnTo>
                  <a:lnTo>
                    <a:pt x="26" y="16"/>
                  </a:lnTo>
                  <a:lnTo>
                    <a:pt x="30" y="12"/>
                  </a:lnTo>
                  <a:lnTo>
                    <a:pt x="37" y="10"/>
                  </a:lnTo>
                  <a:lnTo>
                    <a:pt x="39" y="10"/>
                  </a:lnTo>
                  <a:lnTo>
                    <a:pt x="40" y="11"/>
                  </a:lnTo>
                  <a:lnTo>
                    <a:pt x="40" y="13"/>
                  </a:lnTo>
                  <a:lnTo>
                    <a:pt x="39" y="14"/>
                  </a:lnTo>
                  <a:lnTo>
                    <a:pt x="37" y="19"/>
                  </a:lnTo>
                  <a:lnTo>
                    <a:pt x="34" y="23"/>
                  </a:lnTo>
                  <a:lnTo>
                    <a:pt x="34" y="26"/>
                  </a:lnTo>
                  <a:lnTo>
                    <a:pt x="35" y="30"/>
                  </a:lnTo>
                  <a:lnTo>
                    <a:pt x="38" y="32"/>
                  </a:lnTo>
                  <a:lnTo>
                    <a:pt x="40" y="36"/>
                  </a:lnTo>
                  <a:lnTo>
                    <a:pt x="48" y="42"/>
                  </a:lnTo>
                  <a:lnTo>
                    <a:pt x="48" y="43"/>
                  </a:lnTo>
                  <a:lnTo>
                    <a:pt x="44" y="44"/>
                  </a:lnTo>
                  <a:lnTo>
                    <a:pt x="40" y="44"/>
                  </a:lnTo>
                  <a:lnTo>
                    <a:pt x="37" y="44"/>
                  </a:lnTo>
                  <a:lnTo>
                    <a:pt x="29" y="41"/>
                  </a:lnTo>
                  <a:lnTo>
                    <a:pt x="26" y="39"/>
                  </a:lnTo>
                  <a:lnTo>
                    <a:pt x="24" y="39"/>
                  </a:lnTo>
                  <a:lnTo>
                    <a:pt x="17" y="41"/>
                  </a:lnTo>
                  <a:lnTo>
                    <a:pt x="11" y="41"/>
                  </a:lnTo>
                  <a:lnTo>
                    <a:pt x="5" y="42"/>
                  </a:lnTo>
                  <a:lnTo>
                    <a:pt x="2" y="42"/>
                  </a:lnTo>
                  <a:lnTo>
                    <a:pt x="1" y="43"/>
                  </a:lnTo>
                  <a:lnTo>
                    <a:pt x="0" y="45"/>
                  </a:lnTo>
                  <a:lnTo>
                    <a:pt x="1" y="48"/>
                  </a:lnTo>
                  <a:lnTo>
                    <a:pt x="4" y="49"/>
                  </a:lnTo>
                  <a:lnTo>
                    <a:pt x="7" y="50"/>
                  </a:lnTo>
                  <a:lnTo>
                    <a:pt x="17" y="51"/>
                  </a:lnTo>
                  <a:lnTo>
                    <a:pt x="25" y="51"/>
                  </a:lnTo>
                  <a:lnTo>
                    <a:pt x="29" y="52"/>
                  </a:lnTo>
                  <a:lnTo>
                    <a:pt x="34" y="54"/>
                  </a:lnTo>
                  <a:lnTo>
                    <a:pt x="38" y="54"/>
                  </a:lnTo>
                  <a:lnTo>
                    <a:pt x="42" y="55"/>
                  </a:lnTo>
                  <a:lnTo>
                    <a:pt x="51" y="52"/>
                  </a:lnTo>
                  <a:lnTo>
                    <a:pt x="61" y="4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5" name="Freeform 1084"/>
            <p:cNvSpPr>
              <a:spLocks/>
            </p:cNvSpPr>
            <p:nvPr/>
          </p:nvSpPr>
          <p:spPr bwMode="auto">
            <a:xfrm>
              <a:off x="2435226" y="4979988"/>
              <a:ext cx="219075" cy="1238250"/>
            </a:xfrm>
            <a:custGeom>
              <a:avLst/>
              <a:gdLst>
                <a:gd name="T0" fmla="*/ 2147483647 w 149"/>
                <a:gd name="T1" fmla="*/ 2147483647 h 780"/>
                <a:gd name="T2" fmla="*/ 2147483647 w 149"/>
                <a:gd name="T3" fmla="*/ 2147483647 h 780"/>
                <a:gd name="T4" fmla="*/ 2147483647 w 149"/>
                <a:gd name="T5" fmla="*/ 2147483647 h 780"/>
                <a:gd name="T6" fmla="*/ 2147483647 w 149"/>
                <a:gd name="T7" fmla="*/ 2147483647 h 780"/>
                <a:gd name="T8" fmla="*/ 2147483647 w 149"/>
                <a:gd name="T9" fmla="*/ 2147483647 h 780"/>
                <a:gd name="T10" fmla="*/ 2147483647 w 149"/>
                <a:gd name="T11" fmla="*/ 2147483647 h 780"/>
                <a:gd name="T12" fmla="*/ 2147483647 w 149"/>
                <a:gd name="T13" fmla="*/ 2147483647 h 780"/>
                <a:gd name="T14" fmla="*/ 2147483647 w 149"/>
                <a:gd name="T15" fmla="*/ 2147483647 h 780"/>
                <a:gd name="T16" fmla="*/ 2147483647 w 149"/>
                <a:gd name="T17" fmla="*/ 2147483647 h 780"/>
                <a:gd name="T18" fmla="*/ 2147483647 w 149"/>
                <a:gd name="T19" fmla="*/ 2147483647 h 780"/>
                <a:gd name="T20" fmla="*/ 2147483647 w 149"/>
                <a:gd name="T21" fmla="*/ 2147483647 h 780"/>
                <a:gd name="T22" fmla="*/ 2147483647 w 149"/>
                <a:gd name="T23" fmla="*/ 2147483647 h 780"/>
                <a:gd name="T24" fmla="*/ 2147483647 w 149"/>
                <a:gd name="T25" fmla="*/ 2147483647 h 780"/>
                <a:gd name="T26" fmla="*/ 2147483647 w 149"/>
                <a:gd name="T27" fmla="*/ 2147483647 h 780"/>
                <a:gd name="T28" fmla="*/ 2147483647 w 149"/>
                <a:gd name="T29" fmla="*/ 2147483647 h 780"/>
                <a:gd name="T30" fmla="*/ 2147483647 w 149"/>
                <a:gd name="T31" fmla="*/ 2147483647 h 780"/>
                <a:gd name="T32" fmla="*/ 2147483647 w 149"/>
                <a:gd name="T33" fmla="*/ 2147483647 h 780"/>
                <a:gd name="T34" fmla="*/ 2147483647 w 149"/>
                <a:gd name="T35" fmla="*/ 2147483647 h 780"/>
                <a:gd name="T36" fmla="*/ 2147483647 w 149"/>
                <a:gd name="T37" fmla="*/ 2147483647 h 780"/>
                <a:gd name="T38" fmla="*/ 2147483647 w 149"/>
                <a:gd name="T39" fmla="*/ 2147483647 h 780"/>
                <a:gd name="T40" fmla="*/ 2147483647 w 149"/>
                <a:gd name="T41" fmla="*/ 2147483647 h 780"/>
                <a:gd name="T42" fmla="*/ 2147483647 w 149"/>
                <a:gd name="T43" fmla="*/ 2147483647 h 780"/>
                <a:gd name="T44" fmla="*/ 2147483647 w 149"/>
                <a:gd name="T45" fmla="*/ 2147483647 h 780"/>
                <a:gd name="T46" fmla="*/ 2147483647 w 149"/>
                <a:gd name="T47" fmla="*/ 2147483647 h 780"/>
                <a:gd name="T48" fmla="*/ 2147483647 w 149"/>
                <a:gd name="T49" fmla="*/ 2147483647 h 780"/>
                <a:gd name="T50" fmla="*/ 2147483647 w 149"/>
                <a:gd name="T51" fmla="*/ 2147483647 h 780"/>
                <a:gd name="T52" fmla="*/ 2147483647 w 149"/>
                <a:gd name="T53" fmla="*/ 2147483647 h 780"/>
                <a:gd name="T54" fmla="*/ 2147483647 w 149"/>
                <a:gd name="T55" fmla="*/ 2147483647 h 780"/>
                <a:gd name="T56" fmla="*/ 2147483647 w 149"/>
                <a:gd name="T57" fmla="*/ 2147483647 h 780"/>
                <a:gd name="T58" fmla="*/ 2147483647 w 149"/>
                <a:gd name="T59" fmla="*/ 2147483647 h 780"/>
                <a:gd name="T60" fmla="*/ 2147483647 w 149"/>
                <a:gd name="T61" fmla="*/ 2147483647 h 780"/>
                <a:gd name="T62" fmla="*/ 2147483647 w 149"/>
                <a:gd name="T63" fmla="*/ 2147483647 h 780"/>
                <a:gd name="T64" fmla="*/ 2147483647 w 149"/>
                <a:gd name="T65" fmla="*/ 2147483647 h 780"/>
                <a:gd name="T66" fmla="*/ 2147483647 w 149"/>
                <a:gd name="T67" fmla="*/ 2147483647 h 780"/>
                <a:gd name="T68" fmla="*/ 0 w 149"/>
                <a:gd name="T69" fmla="*/ 2147483647 h 780"/>
                <a:gd name="T70" fmla="*/ 2147483647 w 149"/>
                <a:gd name="T71" fmla="*/ 2147483647 h 780"/>
                <a:gd name="T72" fmla="*/ 2147483647 w 149"/>
                <a:gd name="T73" fmla="*/ 2147483647 h 780"/>
                <a:gd name="T74" fmla="*/ 2147483647 w 149"/>
                <a:gd name="T75" fmla="*/ 2147483647 h 780"/>
                <a:gd name="T76" fmla="*/ 2147483647 w 149"/>
                <a:gd name="T77" fmla="*/ 2147483647 h 780"/>
                <a:gd name="T78" fmla="*/ 2147483647 w 149"/>
                <a:gd name="T79" fmla="*/ 2147483647 h 780"/>
                <a:gd name="T80" fmla="*/ 2147483647 w 149"/>
                <a:gd name="T81" fmla="*/ 2147483647 h 780"/>
                <a:gd name="T82" fmla="*/ 2147483647 w 149"/>
                <a:gd name="T83" fmla="*/ 2147483647 h 780"/>
                <a:gd name="T84" fmla="*/ 2147483647 w 149"/>
                <a:gd name="T85" fmla="*/ 2147483647 h 780"/>
                <a:gd name="T86" fmla="*/ 2147483647 w 149"/>
                <a:gd name="T87" fmla="*/ 2147483647 h 780"/>
                <a:gd name="T88" fmla="*/ 2147483647 w 149"/>
                <a:gd name="T89" fmla="*/ 2147483647 h 780"/>
                <a:gd name="T90" fmla="*/ 2147483647 w 149"/>
                <a:gd name="T91" fmla="*/ 2147483647 h 780"/>
                <a:gd name="T92" fmla="*/ 2147483647 w 149"/>
                <a:gd name="T93" fmla="*/ 2147483647 h 780"/>
                <a:gd name="T94" fmla="*/ 2147483647 w 149"/>
                <a:gd name="T95" fmla="*/ 2147483647 h 780"/>
                <a:gd name="T96" fmla="*/ 2147483647 w 149"/>
                <a:gd name="T97" fmla="*/ 2147483647 h 780"/>
                <a:gd name="T98" fmla="*/ 2147483647 w 149"/>
                <a:gd name="T99" fmla="*/ 2147483647 h 780"/>
                <a:gd name="T100" fmla="*/ 2147483647 w 149"/>
                <a:gd name="T101" fmla="*/ 2147483647 h 780"/>
                <a:gd name="T102" fmla="*/ 2147483647 w 149"/>
                <a:gd name="T103" fmla="*/ 2147483647 h 780"/>
                <a:gd name="T104" fmla="*/ 2147483647 w 149"/>
                <a:gd name="T105" fmla="*/ 2147483647 h 780"/>
                <a:gd name="T106" fmla="*/ 2147483647 w 149"/>
                <a:gd name="T107" fmla="*/ 2147483647 h 780"/>
                <a:gd name="T108" fmla="*/ 2147483647 w 149"/>
                <a:gd name="T109" fmla="*/ 2147483647 h 780"/>
                <a:gd name="T110" fmla="*/ 2147483647 w 149"/>
                <a:gd name="T111" fmla="*/ 2147483647 h 780"/>
                <a:gd name="T112" fmla="*/ 2147483647 w 149"/>
                <a:gd name="T113" fmla="*/ 2147483647 h 780"/>
                <a:gd name="T114" fmla="*/ 2147483647 w 149"/>
                <a:gd name="T115" fmla="*/ 2147483647 h 780"/>
                <a:gd name="T116" fmla="*/ 2147483647 w 149"/>
                <a:gd name="T117" fmla="*/ 2147483647 h 7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9"/>
                <a:gd name="T178" fmla="*/ 0 h 780"/>
                <a:gd name="T179" fmla="*/ 149 w 149"/>
                <a:gd name="T180" fmla="*/ 780 h 7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9" h="780">
                  <a:moveTo>
                    <a:pt x="145" y="90"/>
                  </a:moveTo>
                  <a:lnTo>
                    <a:pt x="145" y="90"/>
                  </a:lnTo>
                  <a:lnTo>
                    <a:pt x="148" y="97"/>
                  </a:lnTo>
                  <a:lnTo>
                    <a:pt x="149" y="106"/>
                  </a:lnTo>
                  <a:lnTo>
                    <a:pt x="149" y="109"/>
                  </a:lnTo>
                  <a:lnTo>
                    <a:pt x="148" y="113"/>
                  </a:lnTo>
                  <a:lnTo>
                    <a:pt x="146" y="116"/>
                  </a:lnTo>
                  <a:lnTo>
                    <a:pt x="144" y="119"/>
                  </a:lnTo>
                  <a:lnTo>
                    <a:pt x="134" y="127"/>
                  </a:lnTo>
                  <a:lnTo>
                    <a:pt x="126" y="135"/>
                  </a:lnTo>
                  <a:lnTo>
                    <a:pt x="120" y="146"/>
                  </a:lnTo>
                  <a:lnTo>
                    <a:pt x="117" y="156"/>
                  </a:lnTo>
                  <a:lnTo>
                    <a:pt x="113" y="172"/>
                  </a:lnTo>
                  <a:lnTo>
                    <a:pt x="108" y="187"/>
                  </a:lnTo>
                  <a:lnTo>
                    <a:pt x="98" y="216"/>
                  </a:lnTo>
                  <a:lnTo>
                    <a:pt x="95" y="225"/>
                  </a:lnTo>
                  <a:lnTo>
                    <a:pt x="93" y="234"/>
                  </a:lnTo>
                  <a:lnTo>
                    <a:pt x="92" y="251"/>
                  </a:lnTo>
                  <a:lnTo>
                    <a:pt x="88" y="266"/>
                  </a:lnTo>
                  <a:lnTo>
                    <a:pt x="87" y="273"/>
                  </a:lnTo>
                  <a:lnTo>
                    <a:pt x="85" y="280"/>
                  </a:lnTo>
                  <a:lnTo>
                    <a:pt x="85" y="287"/>
                  </a:lnTo>
                  <a:lnTo>
                    <a:pt x="87" y="294"/>
                  </a:lnTo>
                  <a:lnTo>
                    <a:pt x="89" y="307"/>
                  </a:lnTo>
                  <a:lnTo>
                    <a:pt x="92" y="320"/>
                  </a:lnTo>
                  <a:lnTo>
                    <a:pt x="92" y="327"/>
                  </a:lnTo>
                  <a:lnTo>
                    <a:pt x="90" y="334"/>
                  </a:lnTo>
                  <a:lnTo>
                    <a:pt x="87" y="345"/>
                  </a:lnTo>
                  <a:lnTo>
                    <a:pt x="85" y="351"/>
                  </a:lnTo>
                  <a:lnTo>
                    <a:pt x="84" y="358"/>
                  </a:lnTo>
                  <a:lnTo>
                    <a:pt x="84" y="363"/>
                  </a:lnTo>
                  <a:lnTo>
                    <a:pt x="84" y="368"/>
                  </a:lnTo>
                  <a:lnTo>
                    <a:pt x="85" y="371"/>
                  </a:lnTo>
                  <a:lnTo>
                    <a:pt x="84" y="375"/>
                  </a:lnTo>
                  <a:lnTo>
                    <a:pt x="83" y="379"/>
                  </a:lnTo>
                  <a:lnTo>
                    <a:pt x="80" y="382"/>
                  </a:lnTo>
                  <a:lnTo>
                    <a:pt x="76" y="384"/>
                  </a:lnTo>
                  <a:lnTo>
                    <a:pt x="75" y="386"/>
                  </a:lnTo>
                  <a:lnTo>
                    <a:pt x="73" y="391"/>
                  </a:lnTo>
                  <a:lnTo>
                    <a:pt x="73" y="398"/>
                  </a:lnTo>
                  <a:lnTo>
                    <a:pt x="73" y="407"/>
                  </a:lnTo>
                  <a:lnTo>
                    <a:pt x="76" y="420"/>
                  </a:lnTo>
                  <a:lnTo>
                    <a:pt x="76" y="423"/>
                  </a:lnTo>
                  <a:lnTo>
                    <a:pt x="76" y="426"/>
                  </a:lnTo>
                  <a:lnTo>
                    <a:pt x="75" y="428"/>
                  </a:lnTo>
                  <a:lnTo>
                    <a:pt x="73" y="432"/>
                  </a:lnTo>
                  <a:lnTo>
                    <a:pt x="69" y="437"/>
                  </a:lnTo>
                  <a:lnTo>
                    <a:pt x="65" y="446"/>
                  </a:lnTo>
                  <a:lnTo>
                    <a:pt x="60" y="461"/>
                  </a:lnTo>
                  <a:lnTo>
                    <a:pt x="59" y="469"/>
                  </a:lnTo>
                  <a:lnTo>
                    <a:pt x="57" y="479"/>
                  </a:lnTo>
                  <a:lnTo>
                    <a:pt x="57" y="498"/>
                  </a:lnTo>
                  <a:lnTo>
                    <a:pt x="60" y="517"/>
                  </a:lnTo>
                  <a:lnTo>
                    <a:pt x="62" y="536"/>
                  </a:lnTo>
                  <a:lnTo>
                    <a:pt x="62" y="542"/>
                  </a:lnTo>
                  <a:lnTo>
                    <a:pt x="62" y="548"/>
                  </a:lnTo>
                  <a:lnTo>
                    <a:pt x="64" y="550"/>
                  </a:lnTo>
                  <a:lnTo>
                    <a:pt x="66" y="552"/>
                  </a:lnTo>
                  <a:lnTo>
                    <a:pt x="70" y="556"/>
                  </a:lnTo>
                  <a:lnTo>
                    <a:pt x="71" y="560"/>
                  </a:lnTo>
                  <a:lnTo>
                    <a:pt x="70" y="561"/>
                  </a:lnTo>
                  <a:lnTo>
                    <a:pt x="65" y="564"/>
                  </a:lnTo>
                  <a:lnTo>
                    <a:pt x="64" y="567"/>
                  </a:lnTo>
                  <a:lnTo>
                    <a:pt x="65" y="568"/>
                  </a:lnTo>
                  <a:lnTo>
                    <a:pt x="68" y="571"/>
                  </a:lnTo>
                  <a:lnTo>
                    <a:pt x="69" y="574"/>
                  </a:lnTo>
                  <a:lnTo>
                    <a:pt x="69" y="576"/>
                  </a:lnTo>
                  <a:lnTo>
                    <a:pt x="66" y="581"/>
                  </a:lnTo>
                  <a:lnTo>
                    <a:pt x="65" y="586"/>
                  </a:lnTo>
                  <a:lnTo>
                    <a:pt x="65" y="592"/>
                  </a:lnTo>
                  <a:lnTo>
                    <a:pt x="65" y="596"/>
                  </a:lnTo>
                  <a:lnTo>
                    <a:pt x="65" y="605"/>
                  </a:lnTo>
                  <a:lnTo>
                    <a:pt x="61" y="619"/>
                  </a:lnTo>
                  <a:lnTo>
                    <a:pt x="55" y="632"/>
                  </a:lnTo>
                  <a:lnTo>
                    <a:pt x="54" y="635"/>
                  </a:lnTo>
                  <a:lnTo>
                    <a:pt x="55" y="638"/>
                  </a:lnTo>
                  <a:lnTo>
                    <a:pt x="56" y="643"/>
                  </a:lnTo>
                  <a:lnTo>
                    <a:pt x="56" y="646"/>
                  </a:lnTo>
                  <a:lnTo>
                    <a:pt x="54" y="651"/>
                  </a:lnTo>
                  <a:lnTo>
                    <a:pt x="51" y="654"/>
                  </a:lnTo>
                  <a:lnTo>
                    <a:pt x="48" y="658"/>
                  </a:lnTo>
                  <a:lnTo>
                    <a:pt x="46" y="662"/>
                  </a:lnTo>
                  <a:lnTo>
                    <a:pt x="43" y="670"/>
                  </a:lnTo>
                  <a:lnTo>
                    <a:pt x="40" y="677"/>
                  </a:lnTo>
                  <a:lnTo>
                    <a:pt x="37" y="683"/>
                  </a:lnTo>
                  <a:lnTo>
                    <a:pt x="35" y="689"/>
                  </a:lnTo>
                  <a:lnTo>
                    <a:pt x="36" y="695"/>
                  </a:lnTo>
                  <a:lnTo>
                    <a:pt x="36" y="698"/>
                  </a:lnTo>
                  <a:lnTo>
                    <a:pt x="38" y="699"/>
                  </a:lnTo>
                  <a:lnTo>
                    <a:pt x="43" y="704"/>
                  </a:lnTo>
                  <a:lnTo>
                    <a:pt x="47" y="708"/>
                  </a:lnTo>
                  <a:lnTo>
                    <a:pt x="50" y="713"/>
                  </a:lnTo>
                  <a:lnTo>
                    <a:pt x="51" y="718"/>
                  </a:lnTo>
                  <a:lnTo>
                    <a:pt x="52" y="723"/>
                  </a:lnTo>
                  <a:lnTo>
                    <a:pt x="54" y="728"/>
                  </a:lnTo>
                  <a:lnTo>
                    <a:pt x="55" y="731"/>
                  </a:lnTo>
                  <a:lnTo>
                    <a:pt x="57" y="733"/>
                  </a:lnTo>
                  <a:lnTo>
                    <a:pt x="62" y="735"/>
                  </a:lnTo>
                  <a:lnTo>
                    <a:pt x="69" y="736"/>
                  </a:lnTo>
                  <a:lnTo>
                    <a:pt x="75" y="736"/>
                  </a:lnTo>
                  <a:lnTo>
                    <a:pt x="76" y="737"/>
                  </a:lnTo>
                  <a:lnTo>
                    <a:pt x="95" y="737"/>
                  </a:lnTo>
                  <a:lnTo>
                    <a:pt x="116" y="737"/>
                  </a:lnTo>
                  <a:lnTo>
                    <a:pt x="116" y="740"/>
                  </a:lnTo>
                  <a:lnTo>
                    <a:pt x="117" y="742"/>
                  </a:lnTo>
                  <a:lnTo>
                    <a:pt x="116" y="743"/>
                  </a:lnTo>
                  <a:lnTo>
                    <a:pt x="115" y="743"/>
                  </a:lnTo>
                  <a:lnTo>
                    <a:pt x="111" y="743"/>
                  </a:lnTo>
                  <a:lnTo>
                    <a:pt x="107" y="743"/>
                  </a:lnTo>
                  <a:lnTo>
                    <a:pt x="103" y="743"/>
                  </a:lnTo>
                  <a:lnTo>
                    <a:pt x="94" y="747"/>
                  </a:lnTo>
                  <a:lnTo>
                    <a:pt x="85" y="752"/>
                  </a:lnTo>
                  <a:lnTo>
                    <a:pt x="80" y="756"/>
                  </a:lnTo>
                  <a:lnTo>
                    <a:pt x="76" y="763"/>
                  </a:lnTo>
                  <a:lnTo>
                    <a:pt x="73" y="771"/>
                  </a:lnTo>
                  <a:lnTo>
                    <a:pt x="69" y="778"/>
                  </a:lnTo>
                  <a:lnTo>
                    <a:pt x="66" y="780"/>
                  </a:lnTo>
                  <a:lnTo>
                    <a:pt x="64" y="779"/>
                  </a:lnTo>
                  <a:lnTo>
                    <a:pt x="59" y="777"/>
                  </a:lnTo>
                  <a:lnTo>
                    <a:pt x="57" y="774"/>
                  </a:lnTo>
                  <a:lnTo>
                    <a:pt x="59" y="772"/>
                  </a:lnTo>
                  <a:lnTo>
                    <a:pt x="60" y="771"/>
                  </a:lnTo>
                  <a:lnTo>
                    <a:pt x="62" y="769"/>
                  </a:lnTo>
                  <a:lnTo>
                    <a:pt x="65" y="769"/>
                  </a:lnTo>
                  <a:lnTo>
                    <a:pt x="66" y="768"/>
                  </a:lnTo>
                  <a:lnTo>
                    <a:pt x="70" y="766"/>
                  </a:lnTo>
                  <a:lnTo>
                    <a:pt x="71" y="762"/>
                  </a:lnTo>
                  <a:lnTo>
                    <a:pt x="73" y="759"/>
                  </a:lnTo>
                  <a:lnTo>
                    <a:pt x="71" y="756"/>
                  </a:lnTo>
                  <a:lnTo>
                    <a:pt x="65" y="750"/>
                  </a:lnTo>
                  <a:lnTo>
                    <a:pt x="62" y="749"/>
                  </a:lnTo>
                  <a:lnTo>
                    <a:pt x="60" y="749"/>
                  </a:lnTo>
                  <a:lnTo>
                    <a:pt x="57" y="749"/>
                  </a:lnTo>
                  <a:lnTo>
                    <a:pt x="55" y="750"/>
                  </a:lnTo>
                  <a:lnTo>
                    <a:pt x="52" y="754"/>
                  </a:lnTo>
                  <a:lnTo>
                    <a:pt x="51" y="759"/>
                  </a:lnTo>
                  <a:lnTo>
                    <a:pt x="48" y="763"/>
                  </a:lnTo>
                  <a:lnTo>
                    <a:pt x="47" y="763"/>
                  </a:lnTo>
                  <a:lnTo>
                    <a:pt x="46" y="763"/>
                  </a:lnTo>
                  <a:lnTo>
                    <a:pt x="41" y="760"/>
                  </a:lnTo>
                  <a:lnTo>
                    <a:pt x="36" y="755"/>
                  </a:lnTo>
                  <a:lnTo>
                    <a:pt x="35" y="753"/>
                  </a:lnTo>
                  <a:lnTo>
                    <a:pt x="33" y="750"/>
                  </a:lnTo>
                  <a:lnTo>
                    <a:pt x="33" y="747"/>
                  </a:lnTo>
                  <a:lnTo>
                    <a:pt x="35" y="745"/>
                  </a:lnTo>
                  <a:lnTo>
                    <a:pt x="38" y="743"/>
                  </a:lnTo>
                  <a:lnTo>
                    <a:pt x="42" y="741"/>
                  </a:lnTo>
                  <a:lnTo>
                    <a:pt x="45" y="739"/>
                  </a:lnTo>
                  <a:lnTo>
                    <a:pt x="46" y="737"/>
                  </a:lnTo>
                  <a:lnTo>
                    <a:pt x="46" y="735"/>
                  </a:lnTo>
                  <a:lnTo>
                    <a:pt x="42" y="735"/>
                  </a:lnTo>
                  <a:lnTo>
                    <a:pt x="38" y="734"/>
                  </a:lnTo>
                  <a:lnTo>
                    <a:pt x="36" y="733"/>
                  </a:lnTo>
                  <a:lnTo>
                    <a:pt x="33" y="729"/>
                  </a:lnTo>
                  <a:lnTo>
                    <a:pt x="31" y="723"/>
                  </a:lnTo>
                  <a:lnTo>
                    <a:pt x="31" y="717"/>
                  </a:lnTo>
                  <a:lnTo>
                    <a:pt x="32" y="710"/>
                  </a:lnTo>
                  <a:lnTo>
                    <a:pt x="29" y="703"/>
                  </a:lnTo>
                  <a:lnTo>
                    <a:pt x="26" y="696"/>
                  </a:lnTo>
                  <a:lnTo>
                    <a:pt x="21" y="691"/>
                  </a:lnTo>
                  <a:lnTo>
                    <a:pt x="19" y="689"/>
                  </a:lnTo>
                  <a:lnTo>
                    <a:pt x="21" y="686"/>
                  </a:lnTo>
                  <a:lnTo>
                    <a:pt x="23" y="682"/>
                  </a:lnTo>
                  <a:lnTo>
                    <a:pt x="26" y="675"/>
                  </a:lnTo>
                  <a:lnTo>
                    <a:pt x="27" y="666"/>
                  </a:lnTo>
                  <a:lnTo>
                    <a:pt x="27" y="659"/>
                  </a:lnTo>
                  <a:lnTo>
                    <a:pt x="26" y="651"/>
                  </a:lnTo>
                  <a:lnTo>
                    <a:pt x="24" y="650"/>
                  </a:lnTo>
                  <a:lnTo>
                    <a:pt x="26" y="648"/>
                  </a:lnTo>
                  <a:lnTo>
                    <a:pt x="28" y="646"/>
                  </a:lnTo>
                  <a:lnTo>
                    <a:pt x="32" y="646"/>
                  </a:lnTo>
                  <a:lnTo>
                    <a:pt x="33" y="645"/>
                  </a:lnTo>
                  <a:lnTo>
                    <a:pt x="33" y="644"/>
                  </a:lnTo>
                  <a:lnTo>
                    <a:pt x="33" y="643"/>
                  </a:lnTo>
                  <a:lnTo>
                    <a:pt x="29" y="640"/>
                  </a:lnTo>
                  <a:lnTo>
                    <a:pt x="26" y="639"/>
                  </a:lnTo>
                  <a:lnTo>
                    <a:pt x="23" y="637"/>
                  </a:lnTo>
                  <a:lnTo>
                    <a:pt x="21" y="634"/>
                  </a:lnTo>
                  <a:lnTo>
                    <a:pt x="21" y="632"/>
                  </a:lnTo>
                  <a:lnTo>
                    <a:pt x="21" y="631"/>
                  </a:lnTo>
                  <a:lnTo>
                    <a:pt x="26" y="622"/>
                  </a:lnTo>
                  <a:lnTo>
                    <a:pt x="27" y="619"/>
                  </a:lnTo>
                  <a:lnTo>
                    <a:pt x="27" y="614"/>
                  </a:lnTo>
                  <a:lnTo>
                    <a:pt x="26" y="613"/>
                  </a:lnTo>
                  <a:lnTo>
                    <a:pt x="24" y="613"/>
                  </a:lnTo>
                  <a:lnTo>
                    <a:pt x="22" y="613"/>
                  </a:lnTo>
                  <a:lnTo>
                    <a:pt x="19" y="614"/>
                  </a:lnTo>
                  <a:lnTo>
                    <a:pt x="9" y="614"/>
                  </a:lnTo>
                  <a:lnTo>
                    <a:pt x="5" y="615"/>
                  </a:lnTo>
                  <a:lnTo>
                    <a:pt x="0" y="618"/>
                  </a:lnTo>
                  <a:lnTo>
                    <a:pt x="0" y="615"/>
                  </a:lnTo>
                  <a:lnTo>
                    <a:pt x="0" y="612"/>
                  </a:lnTo>
                  <a:lnTo>
                    <a:pt x="5" y="606"/>
                  </a:lnTo>
                  <a:lnTo>
                    <a:pt x="8" y="601"/>
                  </a:lnTo>
                  <a:lnTo>
                    <a:pt x="10" y="595"/>
                  </a:lnTo>
                  <a:lnTo>
                    <a:pt x="12" y="593"/>
                  </a:lnTo>
                  <a:lnTo>
                    <a:pt x="15" y="593"/>
                  </a:lnTo>
                  <a:lnTo>
                    <a:pt x="18" y="593"/>
                  </a:lnTo>
                  <a:lnTo>
                    <a:pt x="21" y="595"/>
                  </a:lnTo>
                  <a:lnTo>
                    <a:pt x="23" y="601"/>
                  </a:lnTo>
                  <a:lnTo>
                    <a:pt x="24" y="603"/>
                  </a:lnTo>
                  <a:lnTo>
                    <a:pt x="27" y="606"/>
                  </a:lnTo>
                  <a:lnTo>
                    <a:pt x="29" y="607"/>
                  </a:lnTo>
                  <a:lnTo>
                    <a:pt x="32" y="607"/>
                  </a:lnTo>
                  <a:lnTo>
                    <a:pt x="35" y="606"/>
                  </a:lnTo>
                  <a:lnTo>
                    <a:pt x="35" y="605"/>
                  </a:lnTo>
                  <a:lnTo>
                    <a:pt x="37" y="586"/>
                  </a:lnTo>
                  <a:lnTo>
                    <a:pt x="38" y="579"/>
                  </a:lnTo>
                  <a:lnTo>
                    <a:pt x="40" y="577"/>
                  </a:lnTo>
                  <a:lnTo>
                    <a:pt x="42" y="576"/>
                  </a:lnTo>
                  <a:lnTo>
                    <a:pt x="48" y="575"/>
                  </a:lnTo>
                  <a:lnTo>
                    <a:pt x="52" y="573"/>
                  </a:lnTo>
                  <a:lnTo>
                    <a:pt x="55" y="569"/>
                  </a:lnTo>
                  <a:lnTo>
                    <a:pt x="56" y="566"/>
                  </a:lnTo>
                  <a:lnTo>
                    <a:pt x="59" y="562"/>
                  </a:lnTo>
                  <a:lnTo>
                    <a:pt x="57" y="560"/>
                  </a:lnTo>
                  <a:lnTo>
                    <a:pt x="55" y="558"/>
                  </a:lnTo>
                  <a:lnTo>
                    <a:pt x="51" y="556"/>
                  </a:lnTo>
                  <a:lnTo>
                    <a:pt x="45" y="555"/>
                  </a:lnTo>
                  <a:lnTo>
                    <a:pt x="48" y="549"/>
                  </a:lnTo>
                  <a:lnTo>
                    <a:pt x="50" y="542"/>
                  </a:lnTo>
                  <a:lnTo>
                    <a:pt x="51" y="535"/>
                  </a:lnTo>
                  <a:lnTo>
                    <a:pt x="51" y="526"/>
                  </a:lnTo>
                  <a:lnTo>
                    <a:pt x="50" y="509"/>
                  </a:lnTo>
                  <a:lnTo>
                    <a:pt x="47" y="494"/>
                  </a:lnTo>
                  <a:lnTo>
                    <a:pt x="47" y="493"/>
                  </a:lnTo>
                  <a:lnTo>
                    <a:pt x="46" y="493"/>
                  </a:lnTo>
                  <a:lnTo>
                    <a:pt x="43" y="494"/>
                  </a:lnTo>
                  <a:lnTo>
                    <a:pt x="42" y="497"/>
                  </a:lnTo>
                  <a:lnTo>
                    <a:pt x="40" y="498"/>
                  </a:lnTo>
                  <a:lnTo>
                    <a:pt x="37" y="498"/>
                  </a:lnTo>
                  <a:lnTo>
                    <a:pt x="35" y="497"/>
                  </a:lnTo>
                  <a:lnTo>
                    <a:pt x="32" y="494"/>
                  </a:lnTo>
                  <a:lnTo>
                    <a:pt x="31" y="491"/>
                  </a:lnTo>
                  <a:lnTo>
                    <a:pt x="29" y="487"/>
                  </a:lnTo>
                  <a:lnTo>
                    <a:pt x="31" y="479"/>
                  </a:lnTo>
                  <a:lnTo>
                    <a:pt x="33" y="472"/>
                  </a:lnTo>
                  <a:lnTo>
                    <a:pt x="36" y="462"/>
                  </a:lnTo>
                  <a:lnTo>
                    <a:pt x="38" y="456"/>
                  </a:lnTo>
                  <a:lnTo>
                    <a:pt x="38" y="452"/>
                  </a:lnTo>
                  <a:lnTo>
                    <a:pt x="40" y="433"/>
                  </a:lnTo>
                  <a:lnTo>
                    <a:pt x="41" y="414"/>
                  </a:lnTo>
                  <a:lnTo>
                    <a:pt x="40" y="413"/>
                  </a:lnTo>
                  <a:lnTo>
                    <a:pt x="38" y="411"/>
                  </a:lnTo>
                  <a:lnTo>
                    <a:pt x="37" y="409"/>
                  </a:lnTo>
                  <a:lnTo>
                    <a:pt x="37" y="407"/>
                  </a:lnTo>
                  <a:lnTo>
                    <a:pt x="40" y="400"/>
                  </a:lnTo>
                  <a:lnTo>
                    <a:pt x="41" y="391"/>
                  </a:lnTo>
                  <a:lnTo>
                    <a:pt x="42" y="391"/>
                  </a:lnTo>
                  <a:lnTo>
                    <a:pt x="45" y="381"/>
                  </a:lnTo>
                  <a:lnTo>
                    <a:pt x="47" y="371"/>
                  </a:lnTo>
                  <a:lnTo>
                    <a:pt x="56" y="351"/>
                  </a:lnTo>
                  <a:lnTo>
                    <a:pt x="59" y="345"/>
                  </a:lnTo>
                  <a:lnTo>
                    <a:pt x="59" y="341"/>
                  </a:lnTo>
                  <a:lnTo>
                    <a:pt x="61" y="333"/>
                  </a:lnTo>
                  <a:lnTo>
                    <a:pt x="65" y="325"/>
                  </a:lnTo>
                  <a:lnTo>
                    <a:pt x="66" y="313"/>
                  </a:lnTo>
                  <a:lnTo>
                    <a:pt x="69" y="307"/>
                  </a:lnTo>
                  <a:lnTo>
                    <a:pt x="70" y="302"/>
                  </a:lnTo>
                  <a:lnTo>
                    <a:pt x="73" y="296"/>
                  </a:lnTo>
                  <a:lnTo>
                    <a:pt x="73" y="293"/>
                  </a:lnTo>
                  <a:lnTo>
                    <a:pt x="71" y="289"/>
                  </a:lnTo>
                  <a:lnTo>
                    <a:pt x="71" y="287"/>
                  </a:lnTo>
                  <a:lnTo>
                    <a:pt x="71" y="285"/>
                  </a:lnTo>
                  <a:lnTo>
                    <a:pt x="71" y="280"/>
                  </a:lnTo>
                  <a:lnTo>
                    <a:pt x="69" y="267"/>
                  </a:lnTo>
                  <a:lnTo>
                    <a:pt x="68" y="255"/>
                  </a:lnTo>
                  <a:lnTo>
                    <a:pt x="69" y="243"/>
                  </a:lnTo>
                  <a:lnTo>
                    <a:pt x="70" y="231"/>
                  </a:lnTo>
                  <a:lnTo>
                    <a:pt x="69" y="230"/>
                  </a:lnTo>
                  <a:lnTo>
                    <a:pt x="68" y="228"/>
                  </a:lnTo>
                  <a:lnTo>
                    <a:pt x="66" y="223"/>
                  </a:lnTo>
                  <a:lnTo>
                    <a:pt x="69" y="217"/>
                  </a:lnTo>
                  <a:lnTo>
                    <a:pt x="73" y="210"/>
                  </a:lnTo>
                  <a:lnTo>
                    <a:pt x="75" y="206"/>
                  </a:lnTo>
                  <a:lnTo>
                    <a:pt x="76" y="203"/>
                  </a:lnTo>
                  <a:lnTo>
                    <a:pt x="79" y="193"/>
                  </a:lnTo>
                  <a:lnTo>
                    <a:pt x="80" y="187"/>
                  </a:lnTo>
                  <a:lnTo>
                    <a:pt x="80" y="184"/>
                  </a:lnTo>
                  <a:lnTo>
                    <a:pt x="80" y="180"/>
                  </a:lnTo>
                  <a:lnTo>
                    <a:pt x="81" y="174"/>
                  </a:lnTo>
                  <a:lnTo>
                    <a:pt x="81" y="168"/>
                  </a:lnTo>
                  <a:lnTo>
                    <a:pt x="81" y="162"/>
                  </a:lnTo>
                  <a:lnTo>
                    <a:pt x="81" y="158"/>
                  </a:lnTo>
                  <a:lnTo>
                    <a:pt x="85" y="151"/>
                  </a:lnTo>
                  <a:lnTo>
                    <a:pt x="87" y="147"/>
                  </a:lnTo>
                  <a:lnTo>
                    <a:pt x="85" y="145"/>
                  </a:lnTo>
                  <a:lnTo>
                    <a:pt x="83" y="138"/>
                  </a:lnTo>
                  <a:lnTo>
                    <a:pt x="83" y="135"/>
                  </a:lnTo>
                  <a:lnTo>
                    <a:pt x="83" y="134"/>
                  </a:lnTo>
                  <a:lnTo>
                    <a:pt x="84" y="129"/>
                  </a:lnTo>
                  <a:lnTo>
                    <a:pt x="84" y="124"/>
                  </a:lnTo>
                  <a:lnTo>
                    <a:pt x="84" y="120"/>
                  </a:lnTo>
                  <a:lnTo>
                    <a:pt x="85" y="116"/>
                  </a:lnTo>
                  <a:lnTo>
                    <a:pt x="88" y="113"/>
                  </a:lnTo>
                  <a:lnTo>
                    <a:pt x="88" y="109"/>
                  </a:lnTo>
                  <a:lnTo>
                    <a:pt x="87" y="107"/>
                  </a:lnTo>
                  <a:lnTo>
                    <a:pt x="85" y="104"/>
                  </a:lnTo>
                  <a:lnTo>
                    <a:pt x="85" y="102"/>
                  </a:lnTo>
                  <a:lnTo>
                    <a:pt x="85" y="98"/>
                  </a:lnTo>
                  <a:lnTo>
                    <a:pt x="88" y="94"/>
                  </a:lnTo>
                  <a:lnTo>
                    <a:pt x="90" y="84"/>
                  </a:lnTo>
                  <a:lnTo>
                    <a:pt x="92" y="69"/>
                  </a:lnTo>
                  <a:lnTo>
                    <a:pt x="90" y="45"/>
                  </a:lnTo>
                  <a:lnTo>
                    <a:pt x="89" y="20"/>
                  </a:lnTo>
                  <a:lnTo>
                    <a:pt x="87" y="4"/>
                  </a:lnTo>
                  <a:lnTo>
                    <a:pt x="93" y="4"/>
                  </a:lnTo>
                  <a:lnTo>
                    <a:pt x="98" y="2"/>
                  </a:lnTo>
                  <a:lnTo>
                    <a:pt x="108" y="0"/>
                  </a:lnTo>
                  <a:lnTo>
                    <a:pt x="115" y="7"/>
                  </a:lnTo>
                  <a:lnTo>
                    <a:pt x="118" y="15"/>
                  </a:lnTo>
                  <a:lnTo>
                    <a:pt x="122" y="25"/>
                  </a:lnTo>
                  <a:lnTo>
                    <a:pt x="123" y="34"/>
                  </a:lnTo>
                  <a:lnTo>
                    <a:pt x="123" y="41"/>
                  </a:lnTo>
                  <a:lnTo>
                    <a:pt x="126" y="49"/>
                  </a:lnTo>
                  <a:lnTo>
                    <a:pt x="130" y="60"/>
                  </a:lnTo>
                  <a:lnTo>
                    <a:pt x="134" y="72"/>
                  </a:lnTo>
                  <a:lnTo>
                    <a:pt x="137" y="81"/>
                  </a:lnTo>
                  <a:lnTo>
                    <a:pt x="140" y="88"/>
                  </a:lnTo>
                  <a:lnTo>
                    <a:pt x="142" y="90"/>
                  </a:lnTo>
                  <a:lnTo>
                    <a:pt x="145" y="9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6" name="Freeform 1085"/>
            <p:cNvSpPr>
              <a:spLocks/>
            </p:cNvSpPr>
            <p:nvPr/>
          </p:nvSpPr>
          <p:spPr bwMode="auto">
            <a:xfrm>
              <a:off x="2525713" y="6176963"/>
              <a:ext cx="90487" cy="87312"/>
            </a:xfrm>
            <a:custGeom>
              <a:avLst/>
              <a:gdLst>
                <a:gd name="T0" fmla="*/ 2147483647 w 61"/>
                <a:gd name="T1" fmla="*/ 2147483647 h 55"/>
                <a:gd name="T2" fmla="*/ 2147483647 w 61"/>
                <a:gd name="T3" fmla="*/ 2147483647 h 55"/>
                <a:gd name="T4" fmla="*/ 2147483647 w 61"/>
                <a:gd name="T5" fmla="*/ 2147483647 h 55"/>
                <a:gd name="T6" fmla="*/ 2147483647 w 61"/>
                <a:gd name="T7" fmla="*/ 0 h 55"/>
                <a:gd name="T8" fmla="*/ 2147483647 w 61"/>
                <a:gd name="T9" fmla="*/ 2147483647 h 55"/>
                <a:gd name="T10" fmla="*/ 2147483647 w 61"/>
                <a:gd name="T11" fmla="*/ 0 h 55"/>
                <a:gd name="T12" fmla="*/ 2147483647 w 61"/>
                <a:gd name="T13" fmla="*/ 2147483647 h 55"/>
                <a:gd name="T14" fmla="*/ 2147483647 w 61"/>
                <a:gd name="T15" fmla="*/ 2147483647 h 55"/>
                <a:gd name="T16" fmla="*/ 2147483647 w 61"/>
                <a:gd name="T17" fmla="*/ 2147483647 h 55"/>
                <a:gd name="T18" fmla="*/ 2147483647 w 61"/>
                <a:gd name="T19" fmla="*/ 2147483647 h 55"/>
                <a:gd name="T20" fmla="*/ 2147483647 w 61"/>
                <a:gd name="T21" fmla="*/ 2147483647 h 55"/>
                <a:gd name="T22" fmla="*/ 2147483647 w 61"/>
                <a:gd name="T23" fmla="*/ 2147483647 h 55"/>
                <a:gd name="T24" fmla="*/ 2147483647 w 61"/>
                <a:gd name="T25" fmla="*/ 2147483647 h 55"/>
                <a:gd name="T26" fmla="*/ 2147483647 w 61"/>
                <a:gd name="T27" fmla="*/ 2147483647 h 55"/>
                <a:gd name="T28" fmla="*/ 2147483647 w 61"/>
                <a:gd name="T29" fmla="*/ 2147483647 h 55"/>
                <a:gd name="T30" fmla="*/ 2147483647 w 61"/>
                <a:gd name="T31" fmla="*/ 2147483647 h 55"/>
                <a:gd name="T32" fmla="*/ 2147483647 w 61"/>
                <a:gd name="T33" fmla="*/ 2147483647 h 55"/>
                <a:gd name="T34" fmla="*/ 2147483647 w 61"/>
                <a:gd name="T35" fmla="*/ 2147483647 h 55"/>
                <a:gd name="T36" fmla="*/ 2147483647 w 61"/>
                <a:gd name="T37" fmla="*/ 2147483647 h 55"/>
                <a:gd name="T38" fmla="*/ 2147483647 w 61"/>
                <a:gd name="T39" fmla="*/ 2147483647 h 55"/>
                <a:gd name="T40" fmla="*/ 2147483647 w 61"/>
                <a:gd name="T41" fmla="*/ 2147483647 h 55"/>
                <a:gd name="T42" fmla="*/ 2147483647 w 61"/>
                <a:gd name="T43" fmla="*/ 2147483647 h 55"/>
                <a:gd name="T44" fmla="*/ 2147483647 w 61"/>
                <a:gd name="T45" fmla="*/ 2147483647 h 55"/>
                <a:gd name="T46" fmla="*/ 2147483647 w 61"/>
                <a:gd name="T47" fmla="*/ 2147483647 h 55"/>
                <a:gd name="T48" fmla="*/ 2147483647 w 61"/>
                <a:gd name="T49" fmla="*/ 2147483647 h 55"/>
                <a:gd name="T50" fmla="*/ 2147483647 w 61"/>
                <a:gd name="T51" fmla="*/ 2147483647 h 55"/>
                <a:gd name="T52" fmla="*/ 2147483647 w 61"/>
                <a:gd name="T53" fmla="*/ 2147483647 h 55"/>
                <a:gd name="T54" fmla="*/ 2147483647 w 61"/>
                <a:gd name="T55" fmla="*/ 2147483647 h 55"/>
                <a:gd name="T56" fmla="*/ 0 w 61"/>
                <a:gd name="T57" fmla="*/ 2147483647 h 55"/>
                <a:gd name="T58" fmla="*/ 2147483647 w 61"/>
                <a:gd name="T59" fmla="*/ 2147483647 h 55"/>
                <a:gd name="T60" fmla="*/ 2147483647 w 61"/>
                <a:gd name="T61" fmla="*/ 2147483647 h 55"/>
                <a:gd name="T62" fmla="*/ 2147483647 w 61"/>
                <a:gd name="T63" fmla="*/ 2147483647 h 55"/>
                <a:gd name="T64" fmla="*/ 2147483647 w 61"/>
                <a:gd name="T65" fmla="*/ 2147483647 h 55"/>
                <a:gd name="T66" fmla="*/ 2147483647 w 61"/>
                <a:gd name="T67" fmla="*/ 2147483647 h 55"/>
                <a:gd name="T68" fmla="*/ 2147483647 w 61"/>
                <a:gd name="T69" fmla="*/ 2147483647 h 55"/>
                <a:gd name="T70" fmla="*/ 2147483647 w 61"/>
                <a:gd name="T71" fmla="*/ 2147483647 h 5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
                <a:gd name="T109" fmla="*/ 0 h 55"/>
                <a:gd name="T110" fmla="*/ 61 w 61"/>
                <a:gd name="T111" fmla="*/ 55 h 5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 h="55">
                  <a:moveTo>
                    <a:pt x="61" y="49"/>
                  </a:moveTo>
                  <a:lnTo>
                    <a:pt x="61" y="14"/>
                  </a:lnTo>
                  <a:lnTo>
                    <a:pt x="60" y="8"/>
                  </a:lnTo>
                  <a:lnTo>
                    <a:pt x="56" y="2"/>
                  </a:lnTo>
                  <a:lnTo>
                    <a:pt x="55" y="1"/>
                  </a:lnTo>
                  <a:lnTo>
                    <a:pt x="51" y="0"/>
                  </a:lnTo>
                  <a:lnTo>
                    <a:pt x="45" y="1"/>
                  </a:lnTo>
                  <a:lnTo>
                    <a:pt x="44" y="1"/>
                  </a:lnTo>
                  <a:lnTo>
                    <a:pt x="41" y="0"/>
                  </a:lnTo>
                  <a:lnTo>
                    <a:pt x="33" y="1"/>
                  </a:lnTo>
                  <a:lnTo>
                    <a:pt x="31" y="2"/>
                  </a:lnTo>
                  <a:lnTo>
                    <a:pt x="28" y="4"/>
                  </a:lnTo>
                  <a:lnTo>
                    <a:pt x="27" y="6"/>
                  </a:lnTo>
                  <a:lnTo>
                    <a:pt x="26" y="9"/>
                  </a:lnTo>
                  <a:lnTo>
                    <a:pt x="25" y="14"/>
                  </a:lnTo>
                  <a:lnTo>
                    <a:pt x="26" y="15"/>
                  </a:lnTo>
                  <a:lnTo>
                    <a:pt x="27" y="15"/>
                  </a:lnTo>
                  <a:lnTo>
                    <a:pt x="31" y="12"/>
                  </a:lnTo>
                  <a:lnTo>
                    <a:pt x="37" y="9"/>
                  </a:lnTo>
                  <a:lnTo>
                    <a:pt x="40" y="9"/>
                  </a:lnTo>
                  <a:lnTo>
                    <a:pt x="41" y="11"/>
                  </a:lnTo>
                  <a:lnTo>
                    <a:pt x="41" y="13"/>
                  </a:lnTo>
                  <a:lnTo>
                    <a:pt x="40" y="14"/>
                  </a:lnTo>
                  <a:lnTo>
                    <a:pt x="37" y="19"/>
                  </a:lnTo>
                  <a:lnTo>
                    <a:pt x="35" y="23"/>
                  </a:lnTo>
                  <a:lnTo>
                    <a:pt x="35" y="26"/>
                  </a:lnTo>
                  <a:lnTo>
                    <a:pt x="36" y="30"/>
                  </a:lnTo>
                  <a:lnTo>
                    <a:pt x="39" y="32"/>
                  </a:lnTo>
                  <a:lnTo>
                    <a:pt x="41" y="36"/>
                  </a:lnTo>
                  <a:lnTo>
                    <a:pt x="49" y="42"/>
                  </a:lnTo>
                  <a:lnTo>
                    <a:pt x="49" y="43"/>
                  </a:lnTo>
                  <a:lnTo>
                    <a:pt x="45" y="44"/>
                  </a:lnTo>
                  <a:lnTo>
                    <a:pt x="41" y="44"/>
                  </a:lnTo>
                  <a:lnTo>
                    <a:pt x="37" y="44"/>
                  </a:lnTo>
                  <a:lnTo>
                    <a:pt x="30" y="40"/>
                  </a:lnTo>
                  <a:lnTo>
                    <a:pt x="27" y="39"/>
                  </a:lnTo>
                  <a:lnTo>
                    <a:pt x="25" y="39"/>
                  </a:lnTo>
                  <a:lnTo>
                    <a:pt x="18" y="40"/>
                  </a:lnTo>
                  <a:lnTo>
                    <a:pt x="12" y="40"/>
                  </a:lnTo>
                  <a:lnTo>
                    <a:pt x="6" y="42"/>
                  </a:lnTo>
                  <a:lnTo>
                    <a:pt x="3" y="42"/>
                  </a:lnTo>
                  <a:lnTo>
                    <a:pt x="2" y="43"/>
                  </a:lnTo>
                  <a:lnTo>
                    <a:pt x="0" y="45"/>
                  </a:lnTo>
                  <a:lnTo>
                    <a:pt x="2" y="47"/>
                  </a:lnTo>
                  <a:lnTo>
                    <a:pt x="4" y="49"/>
                  </a:lnTo>
                  <a:lnTo>
                    <a:pt x="8" y="50"/>
                  </a:lnTo>
                  <a:lnTo>
                    <a:pt x="18" y="51"/>
                  </a:lnTo>
                  <a:lnTo>
                    <a:pt x="26" y="51"/>
                  </a:lnTo>
                  <a:lnTo>
                    <a:pt x="30" y="52"/>
                  </a:lnTo>
                  <a:lnTo>
                    <a:pt x="35" y="53"/>
                  </a:lnTo>
                  <a:lnTo>
                    <a:pt x="39" y="53"/>
                  </a:lnTo>
                  <a:lnTo>
                    <a:pt x="42" y="55"/>
                  </a:lnTo>
                  <a:lnTo>
                    <a:pt x="51" y="52"/>
                  </a:lnTo>
                  <a:lnTo>
                    <a:pt x="61" y="4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7" name="Freeform 1086"/>
            <p:cNvSpPr>
              <a:spLocks/>
            </p:cNvSpPr>
            <p:nvPr/>
          </p:nvSpPr>
          <p:spPr bwMode="auto">
            <a:xfrm>
              <a:off x="2487617" y="5103814"/>
              <a:ext cx="498475" cy="1049337"/>
            </a:xfrm>
            <a:custGeom>
              <a:avLst/>
              <a:gdLst>
                <a:gd name="T0" fmla="*/ 2147483647 w 340"/>
                <a:gd name="T1" fmla="*/ 2147483647 h 661"/>
                <a:gd name="T2" fmla="*/ 2147483647 w 340"/>
                <a:gd name="T3" fmla="*/ 2147483647 h 661"/>
                <a:gd name="T4" fmla="*/ 2147483647 w 340"/>
                <a:gd name="T5" fmla="*/ 2147483647 h 661"/>
                <a:gd name="T6" fmla="*/ 2147483647 w 340"/>
                <a:gd name="T7" fmla="*/ 2147483647 h 661"/>
                <a:gd name="T8" fmla="*/ 2147483647 w 340"/>
                <a:gd name="T9" fmla="*/ 2147483647 h 661"/>
                <a:gd name="T10" fmla="*/ 2147483647 w 340"/>
                <a:gd name="T11" fmla="*/ 2147483647 h 661"/>
                <a:gd name="T12" fmla="*/ 2147483647 w 340"/>
                <a:gd name="T13" fmla="*/ 2147483647 h 661"/>
                <a:gd name="T14" fmla="*/ 2147483647 w 340"/>
                <a:gd name="T15" fmla="*/ 2147483647 h 661"/>
                <a:gd name="T16" fmla="*/ 2147483647 w 340"/>
                <a:gd name="T17" fmla="*/ 2147483647 h 661"/>
                <a:gd name="T18" fmla="*/ 2147483647 w 340"/>
                <a:gd name="T19" fmla="*/ 2147483647 h 661"/>
                <a:gd name="T20" fmla="*/ 2147483647 w 340"/>
                <a:gd name="T21" fmla="*/ 2147483647 h 661"/>
                <a:gd name="T22" fmla="*/ 2147483647 w 340"/>
                <a:gd name="T23" fmla="*/ 2147483647 h 661"/>
                <a:gd name="T24" fmla="*/ 2147483647 w 340"/>
                <a:gd name="T25" fmla="*/ 2147483647 h 661"/>
                <a:gd name="T26" fmla="*/ 2147483647 w 340"/>
                <a:gd name="T27" fmla="*/ 2147483647 h 661"/>
                <a:gd name="T28" fmla="*/ 2147483647 w 340"/>
                <a:gd name="T29" fmla="*/ 2147483647 h 661"/>
                <a:gd name="T30" fmla="*/ 2147483647 w 340"/>
                <a:gd name="T31" fmla="*/ 2147483647 h 661"/>
                <a:gd name="T32" fmla="*/ 2147483647 w 340"/>
                <a:gd name="T33" fmla="*/ 2147483647 h 661"/>
                <a:gd name="T34" fmla="*/ 2147483647 w 340"/>
                <a:gd name="T35" fmla="*/ 2147483647 h 661"/>
                <a:gd name="T36" fmla="*/ 2147483647 w 340"/>
                <a:gd name="T37" fmla="*/ 2147483647 h 661"/>
                <a:gd name="T38" fmla="*/ 2147483647 w 340"/>
                <a:gd name="T39" fmla="*/ 2147483647 h 661"/>
                <a:gd name="T40" fmla="*/ 2147483647 w 340"/>
                <a:gd name="T41" fmla="*/ 2147483647 h 661"/>
                <a:gd name="T42" fmla="*/ 2147483647 w 340"/>
                <a:gd name="T43" fmla="*/ 2147483647 h 661"/>
                <a:gd name="T44" fmla="*/ 2147483647 w 340"/>
                <a:gd name="T45" fmla="*/ 2147483647 h 661"/>
                <a:gd name="T46" fmla="*/ 2147483647 w 340"/>
                <a:gd name="T47" fmla="*/ 2147483647 h 661"/>
                <a:gd name="T48" fmla="*/ 2147483647 w 340"/>
                <a:gd name="T49" fmla="*/ 2147483647 h 661"/>
                <a:gd name="T50" fmla="*/ 2147483647 w 340"/>
                <a:gd name="T51" fmla="*/ 2147483647 h 661"/>
                <a:gd name="T52" fmla="*/ 2147483647 w 340"/>
                <a:gd name="T53" fmla="*/ 2147483647 h 661"/>
                <a:gd name="T54" fmla="*/ 2147483647 w 340"/>
                <a:gd name="T55" fmla="*/ 2147483647 h 661"/>
                <a:gd name="T56" fmla="*/ 2147483647 w 340"/>
                <a:gd name="T57" fmla="*/ 2147483647 h 661"/>
                <a:gd name="T58" fmla="*/ 2147483647 w 340"/>
                <a:gd name="T59" fmla="*/ 2147483647 h 661"/>
                <a:gd name="T60" fmla="*/ 2147483647 w 340"/>
                <a:gd name="T61" fmla="*/ 2147483647 h 661"/>
                <a:gd name="T62" fmla="*/ 2147483647 w 340"/>
                <a:gd name="T63" fmla="*/ 2147483647 h 661"/>
                <a:gd name="T64" fmla="*/ 2147483647 w 340"/>
                <a:gd name="T65" fmla="*/ 2147483647 h 661"/>
                <a:gd name="T66" fmla="*/ 2147483647 w 340"/>
                <a:gd name="T67" fmla="*/ 2147483647 h 661"/>
                <a:gd name="T68" fmla="*/ 2147483647 w 340"/>
                <a:gd name="T69" fmla="*/ 2147483647 h 661"/>
                <a:gd name="T70" fmla="*/ 2147483647 w 340"/>
                <a:gd name="T71" fmla="*/ 2147483647 h 661"/>
                <a:gd name="T72" fmla="*/ 2147483647 w 340"/>
                <a:gd name="T73" fmla="*/ 2147483647 h 661"/>
                <a:gd name="T74" fmla="*/ 2147483647 w 340"/>
                <a:gd name="T75" fmla="*/ 2147483647 h 661"/>
                <a:gd name="T76" fmla="*/ 2147483647 w 340"/>
                <a:gd name="T77" fmla="*/ 2147483647 h 661"/>
                <a:gd name="T78" fmla="*/ 2147483647 w 340"/>
                <a:gd name="T79" fmla="*/ 2147483647 h 661"/>
                <a:gd name="T80" fmla="*/ 2147483647 w 340"/>
                <a:gd name="T81" fmla="*/ 2147483647 h 661"/>
                <a:gd name="T82" fmla="*/ 2147483647 w 340"/>
                <a:gd name="T83" fmla="*/ 2147483647 h 661"/>
                <a:gd name="T84" fmla="*/ 2147483647 w 340"/>
                <a:gd name="T85" fmla="*/ 2147483647 h 661"/>
                <a:gd name="T86" fmla="*/ 2147483647 w 340"/>
                <a:gd name="T87" fmla="*/ 2147483647 h 661"/>
                <a:gd name="T88" fmla="*/ 2147483647 w 340"/>
                <a:gd name="T89" fmla="*/ 2147483647 h 661"/>
                <a:gd name="T90" fmla="*/ 2147483647 w 340"/>
                <a:gd name="T91" fmla="*/ 2147483647 h 661"/>
                <a:gd name="T92" fmla="*/ 2147483647 w 340"/>
                <a:gd name="T93" fmla="*/ 2147483647 h 661"/>
                <a:gd name="T94" fmla="*/ 2147483647 w 340"/>
                <a:gd name="T95" fmla="*/ 2147483647 h 661"/>
                <a:gd name="T96" fmla="*/ 2147483647 w 340"/>
                <a:gd name="T97" fmla="*/ 2147483647 h 661"/>
                <a:gd name="T98" fmla="*/ 2147483647 w 340"/>
                <a:gd name="T99" fmla="*/ 2147483647 h 661"/>
                <a:gd name="T100" fmla="*/ 2147483647 w 340"/>
                <a:gd name="T101" fmla="*/ 2147483647 h 661"/>
                <a:gd name="T102" fmla="*/ 2147483647 w 340"/>
                <a:gd name="T103" fmla="*/ 2147483647 h 661"/>
                <a:gd name="T104" fmla="*/ 2147483647 w 340"/>
                <a:gd name="T105" fmla="*/ 2147483647 h 661"/>
                <a:gd name="T106" fmla="*/ 2147483647 w 340"/>
                <a:gd name="T107" fmla="*/ 2147483647 h 6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0"/>
                <a:gd name="T163" fmla="*/ 0 h 661"/>
                <a:gd name="T164" fmla="*/ 340 w 340"/>
                <a:gd name="T165" fmla="*/ 661 h 6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0" h="661">
                  <a:moveTo>
                    <a:pt x="81" y="661"/>
                  </a:moveTo>
                  <a:lnTo>
                    <a:pt x="75" y="653"/>
                  </a:lnTo>
                  <a:lnTo>
                    <a:pt x="72" y="650"/>
                  </a:lnTo>
                  <a:lnTo>
                    <a:pt x="72" y="645"/>
                  </a:lnTo>
                  <a:lnTo>
                    <a:pt x="73" y="640"/>
                  </a:lnTo>
                  <a:lnTo>
                    <a:pt x="76" y="636"/>
                  </a:lnTo>
                  <a:lnTo>
                    <a:pt x="75" y="630"/>
                  </a:lnTo>
                  <a:lnTo>
                    <a:pt x="75" y="627"/>
                  </a:lnTo>
                  <a:lnTo>
                    <a:pt x="75" y="626"/>
                  </a:lnTo>
                  <a:lnTo>
                    <a:pt x="77" y="624"/>
                  </a:lnTo>
                  <a:lnTo>
                    <a:pt x="81" y="621"/>
                  </a:lnTo>
                  <a:lnTo>
                    <a:pt x="84" y="619"/>
                  </a:lnTo>
                  <a:lnTo>
                    <a:pt x="87" y="617"/>
                  </a:lnTo>
                  <a:lnTo>
                    <a:pt x="90" y="614"/>
                  </a:lnTo>
                  <a:lnTo>
                    <a:pt x="90" y="612"/>
                  </a:lnTo>
                  <a:lnTo>
                    <a:pt x="91" y="608"/>
                  </a:lnTo>
                  <a:lnTo>
                    <a:pt x="94" y="606"/>
                  </a:lnTo>
                  <a:lnTo>
                    <a:pt x="98" y="603"/>
                  </a:lnTo>
                  <a:lnTo>
                    <a:pt x="100" y="601"/>
                  </a:lnTo>
                  <a:lnTo>
                    <a:pt x="100" y="600"/>
                  </a:lnTo>
                  <a:lnTo>
                    <a:pt x="100" y="594"/>
                  </a:lnTo>
                  <a:lnTo>
                    <a:pt x="100" y="592"/>
                  </a:lnTo>
                  <a:lnTo>
                    <a:pt x="103" y="591"/>
                  </a:lnTo>
                  <a:lnTo>
                    <a:pt x="108" y="588"/>
                  </a:lnTo>
                  <a:lnTo>
                    <a:pt x="110" y="588"/>
                  </a:lnTo>
                  <a:lnTo>
                    <a:pt x="113" y="586"/>
                  </a:lnTo>
                  <a:lnTo>
                    <a:pt x="123" y="576"/>
                  </a:lnTo>
                  <a:lnTo>
                    <a:pt x="127" y="570"/>
                  </a:lnTo>
                  <a:lnTo>
                    <a:pt x="131" y="566"/>
                  </a:lnTo>
                  <a:lnTo>
                    <a:pt x="131" y="561"/>
                  </a:lnTo>
                  <a:lnTo>
                    <a:pt x="131" y="556"/>
                  </a:lnTo>
                  <a:lnTo>
                    <a:pt x="132" y="550"/>
                  </a:lnTo>
                  <a:lnTo>
                    <a:pt x="133" y="548"/>
                  </a:lnTo>
                  <a:lnTo>
                    <a:pt x="134" y="547"/>
                  </a:lnTo>
                  <a:lnTo>
                    <a:pt x="134" y="546"/>
                  </a:lnTo>
                  <a:lnTo>
                    <a:pt x="134" y="543"/>
                  </a:lnTo>
                  <a:lnTo>
                    <a:pt x="127" y="544"/>
                  </a:lnTo>
                  <a:lnTo>
                    <a:pt x="119" y="546"/>
                  </a:lnTo>
                  <a:lnTo>
                    <a:pt x="115" y="546"/>
                  </a:lnTo>
                  <a:lnTo>
                    <a:pt x="113" y="544"/>
                  </a:lnTo>
                  <a:lnTo>
                    <a:pt x="110" y="543"/>
                  </a:lnTo>
                  <a:lnTo>
                    <a:pt x="108" y="540"/>
                  </a:lnTo>
                  <a:lnTo>
                    <a:pt x="105" y="534"/>
                  </a:lnTo>
                  <a:lnTo>
                    <a:pt x="101" y="529"/>
                  </a:lnTo>
                  <a:lnTo>
                    <a:pt x="100" y="525"/>
                  </a:lnTo>
                  <a:lnTo>
                    <a:pt x="100" y="524"/>
                  </a:lnTo>
                  <a:lnTo>
                    <a:pt x="101" y="523"/>
                  </a:lnTo>
                  <a:lnTo>
                    <a:pt x="105" y="518"/>
                  </a:lnTo>
                  <a:lnTo>
                    <a:pt x="109" y="512"/>
                  </a:lnTo>
                  <a:lnTo>
                    <a:pt x="109" y="509"/>
                  </a:lnTo>
                  <a:lnTo>
                    <a:pt x="110" y="506"/>
                  </a:lnTo>
                  <a:lnTo>
                    <a:pt x="112" y="504"/>
                  </a:lnTo>
                  <a:lnTo>
                    <a:pt x="113" y="504"/>
                  </a:lnTo>
                  <a:lnTo>
                    <a:pt x="114" y="504"/>
                  </a:lnTo>
                  <a:lnTo>
                    <a:pt x="115" y="504"/>
                  </a:lnTo>
                  <a:lnTo>
                    <a:pt x="118" y="502"/>
                  </a:lnTo>
                  <a:lnTo>
                    <a:pt x="122" y="501"/>
                  </a:lnTo>
                  <a:lnTo>
                    <a:pt x="125" y="501"/>
                  </a:lnTo>
                  <a:lnTo>
                    <a:pt x="127" y="501"/>
                  </a:lnTo>
                  <a:lnTo>
                    <a:pt x="129" y="501"/>
                  </a:lnTo>
                  <a:lnTo>
                    <a:pt x="134" y="497"/>
                  </a:lnTo>
                  <a:lnTo>
                    <a:pt x="139" y="496"/>
                  </a:lnTo>
                  <a:lnTo>
                    <a:pt x="145" y="496"/>
                  </a:lnTo>
                  <a:lnTo>
                    <a:pt x="147" y="497"/>
                  </a:lnTo>
                  <a:lnTo>
                    <a:pt x="151" y="497"/>
                  </a:lnTo>
                  <a:lnTo>
                    <a:pt x="151" y="495"/>
                  </a:lnTo>
                  <a:lnTo>
                    <a:pt x="151" y="492"/>
                  </a:lnTo>
                  <a:lnTo>
                    <a:pt x="148" y="490"/>
                  </a:lnTo>
                  <a:lnTo>
                    <a:pt x="146" y="488"/>
                  </a:lnTo>
                  <a:lnTo>
                    <a:pt x="143" y="485"/>
                  </a:lnTo>
                  <a:lnTo>
                    <a:pt x="143" y="483"/>
                  </a:lnTo>
                  <a:lnTo>
                    <a:pt x="143" y="474"/>
                  </a:lnTo>
                  <a:lnTo>
                    <a:pt x="146" y="467"/>
                  </a:lnTo>
                  <a:lnTo>
                    <a:pt x="150" y="460"/>
                  </a:lnTo>
                  <a:lnTo>
                    <a:pt x="155" y="454"/>
                  </a:lnTo>
                  <a:lnTo>
                    <a:pt x="156" y="453"/>
                  </a:lnTo>
                  <a:lnTo>
                    <a:pt x="155" y="452"/>
                  </a:lnTo>
                  <a:lnTo>
                    <a:pt x="151" y="450"/>
                  </a:lnTo>
                  <a:lnTo>
                    <a:pt x="151" y="448"/>
                  </a:lnTo>
                  <a:lnTo>
                    <a:pt x="151" y="447"/>
                  </a:lnTo>
                  <a:lnTo>
                    <a:pt x="153" y="446"/>
                  </a:lnTo>
                  <a:lnTo>
                    <a:pt x="156" y="447"/>
                  </a:lnTo>
                  <a:lnTo>
                    <a:pt x="159" y="450"/>
                  </a:lnTo>
                  <a:lnTo>
                    <a:pt x="161" y="451"/>
                  </a:lnTo>
                  <a:lnTo>
                    <a:pt x="167" y="451"/>
                  </a:lnTo>
                  <a:lnTo>
                    <a:pt x="170" y="450"/>
                  </a:lnTo>
                  <a:lnTo>
                    <a:pt x="172" y="448"/>
                  </a:lnTo>
                  <a:lnTo>
                    <a:pt x="174" y="444"/>
                  </a:lnTo>
                  <a:lnTo>
                    <a:pt x="174" y="440"/>
                  </a:lnTo>
                  <a:lnTo>
                    <a:pt x="171" y="435"/>
                  </a:lnTo>
                  <a:lnTo>
                    <a:pt x="170" y="434"/>
                  </a:lnTo>
                  <a:lnTo>
                    <a:pt x="169" y="434"/>
                  </a:lnTo>
                  <a:lnTo>
                    <a:pt x="166" y="435"/>
                  </a:lnTo>
                  <a:lnTo>
                    <a:pt x="164" y="438"/>
                  </a:lnTo>
                  <a:lnTo>
                    <a:pt x="160" y="440"/>
                  </a:lnTo>
                  <a:lnTo>
                    <a:pt x="159" y="440"/>
                  </a:lnTo>
                  <a:lnTo>
                    <a:pt x="156" y="439"/>
                  </a:lnTo>
                  <a:lnTo>
                    <a:pt x="152" y="434"/>
                  </a:lnTo>
                  <a:lnTo>
                    <a:pt x="148" y="429"/>
                  </a:lnTo>
                  <a:lnTo>
                    <a:pt x="146" y="423"/>
                  </a:lnTo>
                  <a:lnTo>
                    <a:pt x="146" y="418"/>
                  </a:lnTo>
                  <a:lnTo>
                    <a:pt x="146" y="415"/>
                  </a:lnTo>
                  <a:lnTo>
                    <a:pt x="145" y="414"/>
                  </a:lnTo>
                  <a:lnTo>
                    <a:pt x="143" y="414"/>
                  </a:lnTo>
                  <a:lnTo>
                    <a:pt x="143" y="413"/>
                  </a:lnTo>
                  <a:lnTo>
                    <a:pt x="147" y="408"/>
                  </a:lnTo>
                  <a:lnTo>
                    <a:pt x="152" y="403"/>
                  </a:lnTo>
                  <a:lnTo>
                    <a:pt x="152" y="402"/>
                  </a:lnTo>
                  <a:lnTo>
                    <a:pt x="153" y="403"/>
                  </a:lnTo>
                  <a:lnTo>
                    <a:pt x="155" y="406"/>
                  </a:lnTo>
                  <a:lnTo>
                    <a:pt x="157" y="408"/>
                  </a:lnTo>
                  <a:lnTo>
                    <a:pt x="162" y="410"/>
                  </a:lnTo>
                  <a:lnTo>
                    <a:pt x="170" y="412"/>
                  </a:lnTo>
                  <a:lnTo>
                    <a:pt x="178" y="410"/>
                  </a:lnTo>
                  <a:lnTo>
                    <a:pt x="184" y="407"/>
                  </a:lnTo>
                  <a:lnTo>
                    <a:pt x="188" y="406"/>
                  </a:lnTo>
                  <a:lnTo>
                    <a:pt x="190" y="402"/>
                  </a:lnTo>
                  <a:lnTo>
                    <a:pt x="192" y="397"/>
                  </a:lnTo>
                  <a:lnTo>
                    <a:pt x="193" y="393"/>
                  </a:lnTo>
                  <a:lnTo>
                    <a:pt x="193" y="388"/>
                  </a:lnTo>
                  <a:lnTo>
                    <a:pt x="194" y="382"/>
                  </a:lnTo>
                  <a:lnTo>
                    <a:pt x="195" y="381"/>
                  </a:lnTo>
                  <a:lnTo>
                    <a:pt x="195" y="378"/>
                  </a:lnTo>
                  <a:lnTo>
                    <a:pt x="194" y="373"/>
                  </a:lnTo>
                  <a:lnTo>
                    <a:pt x="193" y="368"/>
                  </a:lnTo>
                  <a:lnTo>
                    <a:pt x="194" y="363"/>
                  </a:lnTo>
                  <a:lnTo>
                    <a:pt x="194" y="361"/>
                  </a:lnTo>
                  <a:lnTo>
                    <a:pt x="197" y="359"/>
                  </a:lnTo>
                  <a:lnTo>
                    <a:pt x="199" y="359"/>
                  </a:lnTo>
                  <a:lnTo>
                    <a:pt x="202" y="359"/>
                  </a:lnTo>
                  <a:lnTo>
                    <a:pt x="207" y="362"/>
                  </a:lnTo>
                  <a:lnTo>
                    <a:pt x="212" y="363"/>
                  </a:lnTo>
                  <a:lnTo>
                    <a:pt x="214" y="364"/>
                  </a:lnTo>
                  <a:lnTo>
                    <a:pt x="217" y="363"/>
                  </a:lnTo>
                  <a:lnTo>
                    <a:pt x="223" y="363"/>
                  </a:lnTo>
                  <a:lnTo>
                    <a:pt x="228" y="363"/>
                  </a:lnTo>
                  <a:lnTo>
                    <a:pt x="237" y="359"/>
                  </a:lnTo>
                  <a:lnTo>
                    <a:pt x="246" y="356"/>
                  </a:lnTo>
                  <a:lnTo>
                    <a:pt x="251" y="355"/>
                  </a:lnTo>
                  <a:lnTo>
                    <a:pt x="256" y="355"/>
                  </a:lnTo>
                  <a:lnTo>
                    <a:pt x="261" y="355"/>
                  </a:lnTo>
                  <a:lnTo>
                    <a:pt x="265" y="354"/>
                  </a:lnTo>
                  <a:lnTo>
                    <a:pt x="269" y="351"/>
                  </a:lnTo>
                  <a:lnTo>
                    <a:pt x="273" y="349"/>
                  </a:lnTo>
                  <a:lnTo>
                    <a:pt x="275" y="345"/>
                  </a:lnTo>
                  <a:lnTo>
                    <a:pt x="277" y="343"/>
                  </a:lnTo>
                  <a:lnTo>
                    <a:pt x="275" y="340"/>
                  </a:lnTo>
                  <a:lnTo>
                    <a:pt x="277" y="337"/>
                  </a:lnTo>
                  <a:lnTo>
                    <a:pt x="278" y="333"/>
                  </a:lnTo>
                  <a:lnTo>
                    <a:pt x="279" y="331"/>
                  </a:lnTo>
                  <a:lnTo>
                    <a:pt x="283" y="325"/>
                  </a:lnTo>
                  <a:lnTo>
                    <a:pt x="285" y="319"/>
                  </a:lnTo>
                  <a:lnTo>
                    <a:pt x="287" y="313"/>
                  </a:lnTo>
                  <a:lnTo>
                    <a:pt x="285" y="306"/>
                  </a:lnTo>
                  <a:lnTo>
                    <a:pt x="283" y="304"/>
                  </a:lnTo>
                  <a:lnTo>
                    <a:pt x="280" y="303"/>
                  </a:lnTo>
                  <a:lnTo>
                    <a:pt x="278" y="301"/>
                  </a:lnTo>
                  <a:lnTo>
                    <a:pt x="275" y="299"/>
                  </a:lnTo>
                  <a:lnTo>
                    <a:pt x="272" y="295"/>
                  </a:lnTo>
                  <a:lnTo>
                    <a:pt x="273" y="285"/>
                  </a:lnTo>
                  <a:lnTo>
                    <a:pt x="273" y="281"/>
                  </a:lnTo>
                  <a:lnTo>
                    <a:pt x="270" y="278"/>
                  </a:lnTo>
                  <a:lnTo>
                    <a:pt x="268" y="274"/>
                  </a:lnTo>
                  <a:lnTo>
                    <a:pt x="264" y="273"/>
                  </a:lnTo>
                  <a:lnTo>
                    <a:pt x="260" y="271"/>
                  </a:lnTo>
                  <a:lnTo>
                    <a:pt x="258" y="268"/>
                  </a:lnTo>
                  <a:lnTo>
                    <a:pt x="258" y="265"/>
                  </a:lnTo>
                  <a:lnTo>
                    <a:pt x="258" y="262"/>
                  </a:lnTo>
                  <a:lnTo>
                    <a:pt x="255" y="258"/>
                  </a:lnTo>
                  <a:lnTo>
                    <a:pt x="254" y="254"/>
                  </a:lnTo>
                  <a:lnTo>
                    <a:pt x="252" y="247"/>
                  </a:lnTo>
                  <a:lnTo>
                    <a:pt x="255" y="240"/>
                  </a:lnTo>
                  <a:lnTo>
                    <a:pt x="259" y="233"/>
                  </a:lnTo>
                  <a:lnTo>
                    <a:pt x="261" y="227"/>
                  </a:lnTo>
                  <a:lnTo>
                    <a:pt x="263" y="224"/>
                  </a:lnTo>
                  <a:lnTo>
                    <a:pt x="264" y="222"/>
                  </a:lnTo>
                  <a:lnTo>
                    <a:pt x="264" y="202"/>
                  </a:lnTo>
                  <a:lnTo>
                    <a:pt x="264" y="192"/>
                  </a:lnTo>
                  <a:lnTo>
                    <a:pt x="266" y="183"/>
                  </a:lnTo>
                  <a:lnTo>
                    <a:pt x="270" y="177"/>
                  </a:lnTo>
                  <a:lnTo>
                    <a:pt x="273" y="171"/>
                  </a:lnTo>
                  <a:lnTo>
                    <a:pt x="275" y="167"/>
                  </a:lnTo>
                  <a:lnTo>
                    <a:pt x="278" y="164"/>
                  </a:lnTo>
                  <a:lnTo>
                    <a:pt x="282" y="159"/>
                  </a:lnTo>
                  <a:lnTo>
                    <a:pt x="284" y="154"/>
                  </a:lnTo>
                  <a:lnTo>
                    <a:pt x="289" y="144"/>
                  </a:lnTo>
                  <a:lnTo>
                    <a:pt x="291" y="143"/>
                  </a:lnTo>
                  <a:lnTo>
                    <a:pt x="292" y="141"/>
                  </a:lnTo>
                  <a:lnTo>
                    <a:pt x="298" y="140"/>
                  </a:lnTo>
                  <a:lnTo>
                    <a:pt x="303" y="137"/>
                  </a:lnTo>
                  <a:lnTo>
                    <a:pt x="320" y="121"/>
                  </a:lnTo>
                  <a:lnTo>
                    <a:pt x="327" y="113"/>
                  </a:lnTo>
                  <a:lnTo>
                    <a:pt x="338" y="107"/>
                  </a:lnTo>
                  <a:lnTo>
                    <a:pt x="339" y="106"/>
                  </a:lnTo>
                  <a:lnTo>
                    <a:pt x="339" y="105"/>
                  </a:lnTo>
                  <a:lnTo>
                    <a:pt x="340" y="101"/>
                  </a:lnTo>
                  <a:lnTo>
                    <a:pt x="339" y="95"/>
                  </a:lnTo>
                  <a:lnTo>
                    <a:pt x="339" y="89"/>
                  </a:lnTo>
                  <a:lnTo>
                    <a:pt x="338" y="83"/>
                  </a:lnTo>
                  <a:lnTo>
                    <a:pt x="339" y="77"/>
                  </a:lnTo>
                  <a:lnTo>
                    <a:pt x="334" y="77"/>
                  </a:lnTo>
                  <a:lnTo>
                    <a:pt x="330" y="77"/>
                  </a:lnTo>
                  <a:lnTo>
                    <a:pt x="321" y="76"/>
                  </a:lnTo>
                  <a:lnTo>
                    <a:pt x="322" y="82"/>
                  </a:lnTo>
                  <a:lnTo>
                    <a:pt x="324" y="89"/>
                  </a:lnTo>
                  <a:lnTo>
                    <a:pt x="322" y="93"/>
                  </a:lnTo>
                  <a:lnTo>
                    <a:pt x="320" y="95"/>
                  </a:lnTo>
                  <a:lnTo>
                    <a:pt x="317" y="96"/>
                  </a:lnTo>
                  <a:lnTo>
                    <a:pt x="315" y="99"/>
                  </a:lnTo>
                  <a:lnTo>
                    <a:pt x="310" y="105"/>
                  </a:lnTo>
                  <a:lnTo>
                    <a:pt x="306" y="110"/>
                  </a:lnTo>
                  <a:lnTo>
                    <a:pt x="302" y="113"/>
                  </a:lnTo>
                  <a:lnTo>
                    <a:pt x="298" y="113"/>
                  </a:lnTo>
                  <a:lnTo>
                    <a:pt x="294" y="110"/>
                  </a:lnTo>
                  <a:lnTo>
                    <a:pt x="291" y="108"/>
                  </a:lnTo>
                  <a:lnTo>
                    <a:pt x="288" y="110"/>
                  </a:lnTo>
                  <a:lnTo>
                    <a:pt x="284" y="113"/>
                  </a:lnTo>
                  <a:lnTo>
                    <a:pt x="282" y="114"/>
                  </a:lnTo>
                  <a:lnTo>
                    <a:pt x="280" y="114"/>
                  </a:lnTo>
                  <a:lnTo>
                    <a:pt x="279" y="113"/>
                  </a:lnTo>
                  <a:lnTo>
                    <a:pt x="273" y="112"/>
                  </a:lnTo>
                  <a:lnTo>
                    <a:pt x="269" y="112"/>
                  </a:lnTo>
                  <a:lnTo>
                    <a:pt x="266" y="110"/>
                  </a:lnTo>
                  <a:lnTo>
                    <a:pt x="264" y="110"/>
                  </a:lnTo>
                  <a:lnTo>
                    <a:pt x="261" y="110"/>
                  </a:lnTo>
                  <a:lnTo>
                    <a:pt x="259" y="109"/>
                  </a:lnTo>
                  <a:lnTo>
                    <a:pt x="258" y="109"/>
                  </a:lnTo>
                  <a:lnTo>
                    <a:pt x="258" y="107"/>
                  </a:lnTo>
                  <a:lnTo>
                    <a:pt x="258" y="105"/>
                  </a:lnTo>
                  <a:lnTo>
                    <a:pt x="260" y="100"/>
                  </a:lnTo>
                  <a:lnTo>
                    <a:pt x="264" y="94"/>
                  </a:lnTo>
                  <a:lnTo>
                    <a:pt x="266" y="89"/>
                  </a:lnTo>
                  <a:lnTo>
                    <a:pt x="268" y="81"/>
                  </a:lnTo>
                  <a:lnTo>
                    <a:pt x="269" y="74"/>
                  </a:lnTo>
                  <a:lnTo>
                    <a:pt x="268" y="70"/>
                  </a:lnTo>
                  <a:lnTo>
                    <a:pt x="266" y="67"/>
                  </a:lnTo>
                  <a:lnTo>
                    <a:pt x="264" y="63"/>
                  </a:lnTo>
                  <a:lnTo>
                    <a:pt x="261" y="61"/>
                  </a:lnTo>
                  <a:lnTo>
                    <a:pt x="251" y="56"/>
                  </a:lnTo>
                  <a:lnTo>
                    <a:pt x="242" y="51"/>
                  </a:lnTo>
                  <a:lnTo>
                    <a:pt x="232" y="46"/>
                  </a:lnTo>
                  <a:lnTo>
                    <a:pt x="223" y="39"/>
                  </a:lnTo>
                  <a:lnTo>
                    <a:pt x="222" y="38"/>
                  </a:lnTo>
                  <a:lnTo>
                    <a:pt x="222" y="36"/>
                  </a:lnTo>
                  <a:lnTo>
                    <a:pt x="221" y="31"/>
                  </a:lnTo>
                  <a:lnTo>
                    <a:pt x="221" y="26"/>
                  </a:lnTo>
                  <a:lnTo>
                    <a:pt x="219" y="25"/>
                  </a:lnTo>
                  <a:lnTo>
                    <a:pt x="218" y="24"/>
                  </a:lnTo>
                  <a:lnTo>
                    <a:pt x="211" y="19"/>
                  </a:lnTo>
                  <a:lnTo>
                    <a:pt x="204" y="14"/>
                  </a:lnTo>
                  <a:lnTo>
                    <a:pt x="200" y="11"/>
                  </a:lnTo>
                  <a:lnTo>
                    <a:pt x="198" y="7"/>
                  </a:lnTo>
                  <a:lnTo>
                    <a:pt x="194" y="3"/>
                  </a:lnTo>
                  <a:lnTo>
                    <a:pt x="189" y="0"/>
                  </a:lnTo>
                  <a:lnTo>
                    <a:pt x="188" y="0"/>
                  </a:lnTo>
                  <a:lnTo>
                    <a:pt x="180" y="1"/>
                  </a:lnTo>
                  <a:lnTo>
                    <a:pt x="172" y="0"/>
                  </a:lnTo>
                  <a:lnTo>
                    <a:pt x="170" y="0"/>
                  </a:lnTo>
                  <a:lnTo>
                    <a:pt x="166" y="1"/>
                  </a:lnTo>
                  <a:lnTo>
                    <a:pt x="165" y="3"/>
                  </a:lnTo>
                  <a:lnTo>
                    <a:pt x="162" y="5"/>
                  </a:lnTo>
                  <a:lnTo>
                    <a:pt x="161" y="12"/>
                  </a:lnTo>
                  <a:lnTo>
                    <a:pt x="159" y="13"/>
                  </a:lnTo>
                  <a:lnTo>
                    <a:pt x="156" y="13"/>
                  </a:lnTo>
                  <a:lnTo>
                    <a:pt x="153" y="12"/>
                  </a:lnTo>
                  <a:lnTo>
                    <a:pt x="152" y="9"/>
                  </a:lnTo>
                  <a:lnTo>
                    <a:pt x="151" y="6"/>
                  </a:lnTo>
                  <a:lnTo>
                    <a:pt x="148" y="4"/>
                  </a:lnTo>
                  <a:lnTo>
                    <a:pt x="146" y="3"/>
                  </a:lnTo>
                  <a:lnTo>
                    <a:pt x="142" y="1"/>
                  </a:lnTo>
                  <a:lnTo>
                    <a:pt x="139" y="3"/>
                  </a:lnTo>
                  <a:lnTo>
                    <a:pt x="137" y="5"/>
                  </a:lnTo>
                  <a:lnTo>
                    <a:pt x="134" y="6"/>
                  </a:lnTo>
                  <a:lnTo>
                    <a:pt x="133" y="6"/>
                  </a:lnTo>
                  <a:lnTo>
                    <a:pt x="131" y="5"/>
                  </a:lnTo>
                  <a:lnTo>
                    <a:pt x="129" y="3"/>
                  </a:lnTo>
                  <a:lnTo>
                    <a:pt x="127" y="0"/>
                  </a:lnTo>
                  <a:lnTo>
                    <a:pt x="123" y="0"/>
                  </a:lnTo>
                  <a:lnTo>
                    <a:pt x="122" y="1"/>
                  </a:lnTo>
                  <a:lnTo>
                    <a:pt x="118" y="4"/>
                  </a:lnTo>
                  <a:lnTo>
                    <a:pt x="115" y="9"/>
                  </a:lnTo>
                  <a:lnTo>
                    <a:pt x="113" y="12"/>
                  </a:lnTo>
                  <a:lnTo>
                    <a:pt x="110" y="13"/>
                  </a:lnTo>
                  <a:lnTo>
                    <a:pt x="113" y="20"/>
                  </a:lnTo>
                  <a:lnTo>
                    <a:pt x="114" y="29"/>
                  </a:lnTo>
                  <a:lnTo>
                    <a:pt x="114" y="32"/>
                  </a:lnTo>
                  <a:lnTo>
                    <a:pt x="113" y="36"/>
                  </a:lnTo>
                  <a:lnTo>
                    <a:pt x="112" y="39"/>
                  </a:lnTo>
                  <a:lnTo>
                    <a:pt x="109" y="42"/>
                  </a:lnTo>
                  <a:lnTo>
                    <a:pt x="99" y="50"/>
                  </a:lnTo>
                  <a:lnTo>
                    <a:pt x="91" y="58"/>
                  </a:lnTo>
                  <a:lnTo>
                    <a:pt x="85" y="69"/>
                  </a:lnTo>
                  <a:lnTo>
                    <a:pt x="82" y="80"/>
                  </a:lnTo>
                  <a:lnTo>
                    <a:pt x="79" y="95"/>
                  </a:lnTo>
                  <a:lnTo>
                    <a:pt x="73" y="110"/>
                  </a:lnTo>
                  <a:lnTo>
                    <a:pt x="63" y="139"/>
                  </a:lnTo>
                  <a:lnTo>
                    <a:pt x="61" y="148"/>
                  </a:lnTo>
                  <a:lnTo>
                    <a:pt x="58" y="157"/>
                  </a:lnTo>
                  <a:lnTo>
                    <a:pt x="57" y="175"/>
                  </a:lnTo>
                  <a:lnTo>
                    <a:pt x="53" y="189"/>
                  </a:lnTo>
                  <a:lnTo>
                    <a:pt x="52" y="196"/>
                  </a:lnTo>
                  <a:lnTo>
                    <a:pt x="51" y="203"/>
                  </a:lnTo>
                  <a:lnTo>
                    <a:pt x="51" y="210"/>
                  </a:lnTo>
                  <a:lnTo>
                    <a:pt x="52" y="217"/>
                  </a:lnTo>
                  <a:lnTo>
                    <a:pt x="54" y="230"/>
                  </a:lnTo>
                  <a:lnTo>
                    <a:pt x="57" y="243"/>
                  </a:lnTo>
                  <a:lnTo>
                    <a:pt x="57" y="250"/>
                  </a:lnTo>
                  <a:lnTo>
                    <a:pt x="56" y="258"/>
                  </a:lnTo>
                  <a:lnTo>
                    <a:pt x="52" y="268"/>
                  </a:lnTo>
                  <a:lnTo>
                    <a:pt x="51" y="274"/>
                  </a:lnTo>
                  <a:lnTo>
                    <a:pt x="49" y="281"/>
                  </a:lnTo>
                  <a:lnTo>
                    <a:pt x="49" y="286"/>
                  </a:lnTo>
                  <a:lnTo>
                    <a:pt x="49" y="291"/>
                  </a:lnTo>
                  <a:lnTo>
                    <a:pt x="51" y="294"/>
                  </a:lnTo>
                  <a:lnTo>
                    <a:pt x="49" y="298"/>
                  </a:lnTo>
                  <a:lnTo>
                    <a:pt x="48" y="303"/>
                  </a:lnTo>
                  <a:lnTo>
                    <a:pt x="45" y="305"/>
                  </a:lnTo>
                  <a:lnTo>
                    <a:pt x="42" y="307"/>
                  </a:lnTo>
                  <a:lnTo>
                    <a:pt x="40" y="310"/>
                  </a:lnTo>
                  <a:lnTo>
                    <a:pt x="38" y="314"/>
                  </a:lnTo>
                  <a:lnTo>
                    <a:pt x="38" y="322"/>
                  </a:lnTo>
                  <a:lnTo>
                    <a:pt x="38" y="330"/>
                  </a:lnTo>
                  <a:lnTo>
                    <a:pt x="42" y="343"/>
                  </a:lnTo>
                  <a:lnTo>
                    <a:pt x="42" y="346"/>
                  </a:lnTo>
                  <a:lnTo>
                    <a:pt x="42" y="349"/>
                  </a:lnTo>
                  <a:lnTo>
                    <a:pt x="40" y="351"/>
                  </a:lnTo>
                  <a:lnTo>
                    <a:pt x="38" y="355"/>
                  </a:lnTo>
                  <a:lnTo>
                    <a:pt x="34" y="361"/>
                  </a:lnTo>
                  <a:lnTo>
                    <a:pt x="30" y="369"/>
                  </a:lnTo>
                  <a:lnTo>
                    <a:pt x="25" y="384"/>
                  </a:lnTo>
                  <a:lnTo>
                    <a:pt x="24" y="393"/>
                  </a:lnTo>
                  <a:lnTo>
                    <a:pt x="23" y="402"/>
                  </a:lnTo>
                  <a:lnTo>
                    <a:pt x="23" y="421"/>
                  </a:lnTo>
                  <a:lnTo>
                    <a:pt x="25" y="440"/>
                  </a:lnTo>
                  <a:lnTo>
                    <a:pt x="28" y="459"/>
                  </a:lnTo>
                  <a:lnTo>
                    <a:pt x="28" y="465"/>
                  </a:lnTo>
                  <a:lnTo>
                    <a:pt x="28" y="471"/>
                  </a:lnTo>
                  <a:lnTo>
                    <a:pt x="29" y="473"/>
                  </a:lnTo>
                  <a:lnTo>
                    <a:pt x="32" y="476"/>
                  </a:lnTo>
                  <a:lnTo>
                    <a:pt x="35" y="479"/>
                  </a:lnTo>
                  <a:lnTo>
                    <a:pt x="37" y="483"/>
                  </a:lnTo>
                  <a:lnTo>
                    <a:pt x="35" y="484"/>
                  </a:lnTo>
                  <a:lnTo>
                    <a:pt x="30" y="488"/>
                  </a:lnTo>
                  <a:lnTo>
                    <a:pt x="29" y="490"/>
                  </a:lnTo>
                  <a:lnTo>
                    <a:pt x="30" y="491"/>
                  </a:lnTo>
                  <a:lnTo>
                    <a:pt x="33" y="495"/>
                  </a:lnTo>
                  <a:lnTo>
                    <a:pt x="34" y="497"/>
                  </a:lnTo>
                  <a:lnTo>
                    <a:pt x="34" y="499"/>
                  </a:lnTo>
                  <a:lnTo>
                    <a:pt x="32" y="504"/>
                  </a:lnTo>
                  <a:lnTo>
                    <a:pt x="30" y="509"/>
                  </a:lnTo>
                  <a:lnTo>
                    <a:pt x="30" y="515"/>
                  </a:lnTo>
                  <a:lnTo>
                    <a:pt x="30" y="520"/>
                  </a:lnTo>
                  <a:lnTo>
                    <a:pt x="30" y="528"/>
                  </a:lnTo>
                  <a:lnTo>
                    <a:pt x="26" y="542"/>
                  </a:lnTo>
                  <a:lnTo>
                    <a:pt x="20" y="555"/>
                  </a:lnTo>
                  <a:lnTo>
                    <a:pt x="19" y="559"/>
                  </a:lnTo>
                  <a:lnTo>
                    <a:pt x="20" y="561"/>
                  </a:lnTo>
                  <a:lnTo>
                    <a:pt x="21" y="566"/>
                  </a:lnTo>
                  <a:lnTo>
                    <a:pt x="21" y="569"/>
                  </a:lnTo>
                  <a:lnTo>
                    <a:pt x="19" y="574"/>
                  </a:lnTo>
                  <a:lnTo>
                    <a:pt x="16" y="578"/>
                  </a:lnTo>
                  <a:lnTo>
                    <a:pt x="14" y="581"/>
                  </a:lnTo>
                  <a:lnTo>
                    <a:pt x="11" y="585"/>
                  </a:lnTo>
                  <a:lnTo>
                    <a:pt x="9" y="593"/>
                  </a:lnTo>
                  <a:lnTo>
                    <a:pt x="5" y="600"/>
                  </a:lnTo>
                  <a:lnTo>
                    <a:pt x="2" y="606"/>
                  </a:lnTo>
                  <a:lnTo>
                    <a:pt x="0" y="612"/>
                  </a:lnTo>
                  <a:lnTo>
                    <a:pt x="1" y="618"/>
                  </a:lnTo>
                  <a:lnTo>
                    <a:pt x="1" y="621"/>
                  </a:lnTo>
                  <a:lnTo>
                    <a:pt x="4" y="623"/>
                  </a:lnTo>
                  <a:lnTo>
                    <a:pt x="9" y="627"/>
                  </a:lnTo>
                  <a:lnTo>
                    <a:pt x="12" y="631"/>
                  </a:lnTo>
                  <a:lnTo>
                    <a:pt x="15" y="636"/>
                  </a:lnTo>
                  <a:lnTo>
                    <a:pt x="16" y="642"/>
                  </a:lnTo>
                  <a:lnTo>
                    <a:pt x="18" y="646"/>
                  </a:lnTo>
                  <a:lnTo>
                    <a:pt x="19" y="651"/>
                  </a:lnTo>
                  <a:lnTo>
                    <a:pt x="20" y="655"/>
                  </a:lnTo>
                  <a:lnTo>
                    <a:pt x="23" y="656"/>
                  </a:lnTo>
                  <a:lnTo>
                    <a:pt x="28" y="658"/>
                  </a:lnTo>
                  <a:lnTo>
                    <a:pt x="34" y="659"/>
                  </a:lnTo>
                  <a:lnTo>
                    <a:pt x="40" y="659"/>
                  </a:lnTo>
                  <a:lnTo>
                    <a:pt x="42" y="661"/>
                  </a:lnTo>
                  <a:lnTo>
                    <a:pt x="61" y="661"/>
                  </a:lnTo>
                  <a:lnTo>
                    <a:pt x="81" y="66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8" name="Freeform 1087"/>
            <p:cNvSpPr>
              <a:spLocks/>
            </p:cNvSpPr>
            <p:nvPr/>
          </p:nvSpPr>
          <p:spPr bwMode="auto">
            <a:xfrm>
              <a:off x="2619376" y="6200775"/>
              <a:ext cx="77788" cy="58738"/>
            </a:xfrm>
            <a:custGeom>
              <a:avLst/>
              <a:gdLst>
                <a:gd name="T0" fmla="*/ 0 w 54"/>
                <a:gd name="T1" fmla="*/ 2147483647 h 37"/>
                <a:gd name="T2" fmla="*/ 0 w 54"/>
                <a:gd name="T3" fmla="*/ 0 h 37"/>
                <a:gd name="T4" fmla="*/ 2147483647 w 54"/>
                <a:gd name="T5" fmla="*/ 2147483647 h 37"/>
                <a:gd name="T6" fmla="*/ 2147483647 w 54"/>
                <a:gd name="T7" fmla="*/ 2147483647 h 37"/>
                <a:gd name="T8" fmla="*/ 2147483647 w 54"/>
                <a:gd name="T9" fmla="*/ 2147483647 h 37"/>
                <a:gd name="T10" fmla="*/ 2147483647 w 54"/>
                <a:gd name="T11" fmla="*/ 2147483647 h 37"/>
                <a:gd name="T12" fmla="*/ 2147483647 w 54"/>
                <a:gd name="T13" fmla="*/ 2147483647 h 37"/>
                <a:gd name="T14" fmla="*/ 2147483647 w 54"/>
                <a:gd name="T15" fmla="*/ 2147483647 h 37"/>
                <a:gd name="T16" fmla="*/ 2147483647 w 54"/>
                <a:gd name="T17" fmla="*/ 2147483647 h 37"/>
                <a:gd name="T18" fmla="*/ 2147483647 w 54"/>
                <a:gd name="T19" fmla="*/ 2147483647 h 37"/>
                <a:gd name="T20" fmla="*/ 2147483647 w 54"/>
                <a:gd name="T21" fmla="*/ 2147483647 h 37"/>
                <a:gd name="T22" fmla="*/ 2147483647 w 54"/>
                <a:gd name="T23" fmla="*/ 2147483647 h 37"/>
                <a:gd name="T24" fmla="*/ 2147483647 w 54"/>
                <a:gd name="T25" fmla="*/ 2147483647 h 37"/>
                <a:gd name="T26" fmla="*/ 2147483647 w 54"/>
                <a:gd name="T27" fmla="*/ 2147483647 h 37"/>
                <a:gd name="T28" fmla="*/ 2147483647 w 54"/>
                <a:gd name="T29" fmla="*/ 2147483647 h 37"/>
                <a:gd name="T30" fmla="*/ 2147483647 w 54"/>
                <a:gd name="T31" fmla="*/ 2147483647 h 37"/>
                <a:gd name="T32" fmla="*/ 2147483647 w 54"/>
                <a:gd name="T33" fmla="*/ 2147483647 h 37"/>
                <a:gd name="T34" fmla="*/ 2147483647 w 54"/>
                <a:gd name="T35" fmla="*/ 2147483647 h 37"/>
                <a:gd name="T36" fmla="*/ 2147483647 w 54"/>
                <a:gd name="T37" fmla="*/ 2147483647 h 37"/>
                <a:gd name="T38" fmla="*/ 2147483647 w 54"/>
                <a:gd name="T39" fmla="*/ 2147483647 h 37"/>
                <a:gd name="T40" fmla="*/ 2147483647 w 54"/>
                <a:gd name="T41" fmla="*/ 2147483647 h 37"/>
                <a:gd name="T42" fmla="*/ 2147483647 w 54"/>
                <a:gd name="T43" fmla="*/ 2147483647 h 37"/>
                <a:gd name="T44" fmla="*/ 2147483647 w 54"/>
                <a:gd name="T45" fmla="*/ 2147483647 h 37"/>
                <a:gd name="T46" fmla="*/ 2147483647 w 54"/>
                <a:gd name="T47" fmla="*/ 2147483647 h 37"/>
                <a:gd name="T48" fmla="*/ 2147483647 w 54"/>
                <a:gd name="T49" fmla="*/ 2147483647 h 37"/>
                <a:gd name="T50" fmla="*/ 2147483647 w 54"/>
                <a:gd name="T51" fmla="*/ 2147483647 h 37"/>
                <a:gd name="T52" fmla="*/ 2147483647 w 54"/>
                <a:gd name="T53" fmla="*/ 2147483647 h 37"/>
                <a:gd name="T54" fmla="*/ 0 w 54"/>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37"/>
                <a:gd name="T86" fmla="*/ 54 w 54"/>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37">
                  <a:moveTo>
                    <a:pt x="0" y="35"/>
                  </a:moveTo>
                  <a:lnTo>
                    <a:pt x="0" y="0"/>
                  </a:lnTo>
                  <a:lnTo>
                    <a:pt x="2" y="5"/>
                  </a:lnTo>
                  <a:lnTo>
                    <a:pt x="3" y="6"/>
                  </a:lnTo>
                  <a:lnTo>
                    <a:pt x="5" y="6"/>
                  </a:lnTo>
                  <a:lnTo>
                    <a:pt x="6" y="8"/>
                  </a:lnTo>
                  <a:lnTo>
                    <a:pt x="7" y="9"/>
                  </a:lnTo>
                  <a:lnTo>
                    <a:pt x="11" y="12"/>
                  </a:lnTo>
                  <a:lnTo>
                    <a:pt x="15" y="17"/>
                  </a:lnTo>
                  <a:lnTo>
                    <a:pt x="24" y="22"/>
                  </a:lnTo>
                  <a:lnTo>
                    <a:pt x="34" y="27"/>
                  </a:lnTo>
                  <a:lnTo>
                    <a:pt x="44" y="30"/>
                  </a:lnTo>
                  <a:lnTo>
                    <a:pt x="50" y="30"/>
                  </a:lnTo>
                  <a:lnTo>
                    <a:pt x="53" y="30"/>
                  </a:lnTo>
                  <a:lnTo>
                    <a:pt x="54" y="32"/>
                  </a:lnTo>
                  <a:lnTo>
                    <a:pt x="49" y="35"/>
                  </a:lnTo>
                  <a:lnTo>
                    <a:pt x="44" y="36"/>
                  </a:lnTo>
                  <a:lnTo>
                    <a:pt x="39" y="37"/>
                  </a:lnTo>
                  <a:lnTo>
                    <a:pt x="34" y="37"/>
                  </a:lnTo>
                  <a:lnTo>
                    <a:pt x="29" y="37"/>
                  </a:lnTo>
                  <a:lnTo>
                    <a:pt x="24" y="36"/>
                  </a:lnTo>
                  <a:lnTo>
                    <a:pt x="19" y="34"/>
                  </a:lnTo>
                  <a:lnTo>
                    <a:pt x="14" y="31"/>
                  </a:lnTo>
                  <a:lnTo>
                    <a:pt x="12" y="31"/>
                  </a:lnTo>
                  <a:lnTo>
                    <a:pt x="10" y="31"/>
                  </a:lnTo>
                  <a:lnTo>
                    <a:pt x="7" y="34"/>
                  </a:lnTo>
                  <a:lnTo>
                    <a:pt x="5" y="35"/>
                  </a:lnTo>
                  <a:lnTo>
                    <a:pt x="0" y="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89" name="Freeform 1088"/>
            <p:cNvSpPr>
              <a:spLocks/>
            </p:cNvSpPr>
            <p:nvPr/>
          </p:nvSpPr>
          <p:spPr bwMode="auto">
            <a:xfrm>
              <a:off x="2486029" y="5102225"/>
              <a:ext cx="498475" cy="1047750"/>
            </a:xfrm>
            <a:custGeom>
              <a:avLst/>
              <a:gdLst>
                <a:gd name="T0" fmla="*/ 2147483647 w 340"/>
                <a:gd name="T1" fmla="*/ 2147483647 h 660"/>
                <a:gd name="T2" fmla="*/ 2147483647 w 340"/>
                <a:gd name="T3" fmla="*/ 2147483647 h 660"/>
                <a:gd name="T4" fmla="*/ 2147483647 w 340"/>
                <a:gd name="T5" fmla="*/ 2147483647 h 660"/>
                <a:gd name="T6" fmla="*/ 2147483647 w 340"/>
                <a:gd name="T7" fmla="*/ 2147483647 h 660"/>
                <a:gd name="T8" fmla="*/ 2147483647 w 340"/>
                <a:gd name="T9" fmla="*/ 2147483647 h 660"/>
                <a:gd name="T10" fmla="*/ 2147483647 w 340"/>
                <a:gd name="T11" fmla="*/ 2147483647 h 660"/>
                <a:gd name="T12" fmla="*/ 2147483647 w 340"/>
                <a:gd name="T13" fmla="*/ 2147483647 h 660"/>
                <a:gd name="T14" fmla="*/ 2147483647 w 340"/>
                <a:gd name="T15" fmla="*/ 2147483647 h 660"/>
                <a:gd name="T16" fmla="*/ 2147483647 w 340"/>
                <a:gd name="T17" fmla="*/ 2147483647 h 660"/>
                <a:gd name="T18" fmla="*/ 2147483647 w 340"/>
                <a:gd name="T19" fmla="*/ 2147483647 h 660"/>
                <a:gd name="T20" fmla="*/ 2147483647 w 340"/>
                <a:gd name="T21" fmla="*/ 2147483647 h 660"/>
                <a:gd name="T22" fmla="*/ 2147483647 w 340"/>
                <a:gd name="T23" fmla="*/ 2147483647 h 660"/>
                <a:gd name="T24" fmla="*/ 2147483647 w 340"/>
                <a:gd name="T25" fmla="*/ 2147483647 h 660"/>
                <a:gd name="T26" fmla="*/ 2147483647 w 340"/>
                <a:gd name="T27" fmla="*/ 2147483647 h 660"/>
                <a:gd name="T28" fmla="*/ 2147483647 w 340"/>
                <a:gd name="T29" fmla="*/ 2147483647 h 660"/>
                <a:gd name="T30" fmla="*/ 2147483647 w 340"/>
                <a:gd name="T31" fmla="*/ 2147483647 h 660"/>
                <a:gd name="T32" fmla="*/ 2147483647 w 340"/>
                <a:gd name="T33" fmla="*/ 2147483647 h 660"/>
                <a:gd name="T34" fmla="*/ 2147483647 w 340"/>
                <a:gd name="T35" fmla="*/ 2147483647 h 660"/>
                <a:gd name="T36" fmla="*/ 2147483647 w 340"/>
                <a:gd name="T37" fmla="*/ 2147483647 h 660"/>
                <a:gd name="T38" fmla="*/ 2147483647 w 340"/>
                <a:gd name="T39" fmla="*/ 2147483647 h 660"/>
                <a:gd name="T40" fmla="*/ 2147483647 w 340"/>
                <a:gd name="T41" fmla="*/ 2147483647 h 660"/>
                <a:gd name="T42" fmla="*/ 2147483647 w 340"/>
                <a:gd name="T43" fmla="*/ 2147483647 h 660"/>
                <a:gd name="T44" fmla="*/ 2147483647 w 340"/>
                <a:gd name="T45" fmla="*/ 2147483647 h 660"/>
                <a:gd name="T46" fmla="*/ 2147483647 w 340"/>
                <a:gd name="T47" fmla="*/ 2147483647 h 660"/>
                <a:gd name="T48" fmla="*/ 2147483647 w 340"/>
                <a:gd name="T49" fmla="*/ 2147483647 h 660"/>
                <a:gd name="T50" fmla="*/ 2147483647 w 340"/>
                <a:gd name="T51" fmla="*/ 2147483647 h 660"/>
                <a:gd name="T52" fmla="*/ 2147483647 w 340"/>
                <a:gd name="T53" fmla="*/ 2147483647 h 660"/>
                <a:gd name="T54" fmla="*/ 2147483647 w 340"/>
                <a:gd name="T55" fmla="*/ 2147483647 h 660"/>
                <a:gd name="T56" fmla="*/ 2147483647 w 340"/>
                <a:gd name="T57" fmla="*/ 2147483647 h 660"/>
                <a:gd name="T58" fmla="*/ 2147483647 w 340"/>
                <a:gd name="T59" fmla="*/ 2147483647 h 660"/>
                <a:gd name="T60" fmla="*/ 2147483647 w 340"/>
                <a:gd name="T61" fmla="*/ 2147483647 h 660"/>
                <a:gd name="T62" fmla="*/ 2147483647 w 340"/>
                <a:gd name="T63" fmla="*/ 2147483647 h 660"/>
                <a:gd name="T64" fmla="*/ 2147483647 w 340"/>
                <a:gd name="T65" fmla="*/ 2147483647 h 660"/>
                <a:gd name="T66" fmla="*/ 2147483647 w 340"/>
                <a:gd name="T67" fmla="*/ 2147483647 h 660"/>
                <a:gd name="T68" fmla="*/ 2147483647 w 340"/>
                <a:gd name="T69" fmla="*/ 2147483647 h 660"/>
                <a:gd name="T70" fmla="*/ 2147483647 w 340"/>
                <a:gd name="T71" fmla="*/ 2147483647 h 660"/>
                <a:gd name="T72" fmla="*/ 2147483647 w 340"/>
                <a:gd name="T73" fmla="*/ 2147483647 h 660"/>
                <a:gd name="T74" fmla="*/ 2147483647 w 340"/>
                <a:gd name="T75" fmla="*/ 2147483647 h 660"/>
                <a:gd name="T76" fmla="*/ 2147483647 w 340"/>
                <a:gd name="T77" fmla="*/ 2147483647 h 660"/>
                <a:gd name="T78" fmla="*/ 2147483647 w 340"/>
                <a:gd name="T79" fmla="*/ 2147483647 h 660"/>
                <a:gd name="T80" fmla="*/ 2147483647 w 340"/>
                <a:gd name="T81" fmla="*/ 2147483647 h 660"/>
                <a:gd name="T82" fmla="*/ 2147483647 w 340"/>
                <a:gd name="T83" fmla="*/ 0 h 660"/>
                <a:gd name="T84" fmla="*/ 2147483647 w 340"/>
                <a:gd name="T85" fmla="*/ 2147483647 h 660"/>
                <a:gd name="T86" fmla="*/ 2147483647 w 340"/>
                <a:gd name="T87" fmla="*/ 2147483647 h 660"/>
                <a:gd name="T88" fmla="*/ 2147483647 w 340"/>
                <a:gd name="T89" fmla="*/ 2147483647 h 660"/>
                <a:gd name="T90" fmla="*/ 2147483647 w 340"/>
                <a:gd name="T91" fmla="*/ 2147483647 h 660"/>
                <a:gd name="T92" fmla="*/ 2147483647 w 340"/>
                <a:gd name="T93" fmla="*/ 2147483647 h 660"/>
                <a:gd name="T94" fmla="*/ 2147483647 w 340"/>
                <a:gd name="T95" fmla="*/ 2147483647 h 660"/>
                <a:gd name="T96" fmla="*/ 2147483647 w 340"/>
                <a:gd name="T97" fmla="*/ 2147483647 h 660"/>
                <a:gd name="T98" fmla="*/ 2147483647 w 340"/>
                <a:gd name="T99" fmla="*/ 2147483647 h 660"/>
                <a:gd name="T100" fmla="*/ 2147483647 w 340"/>
                <a:gd name="T101" fmla="*/ 2147483647 h 660"/>
                <a:gd name="T102" fmla="*/ 2147483647 w 340"/>
                <a:gd name="T103" fmla="*/ 2147483647 h 660"/>
                <a:gd name="T104" fmla="*/ 2147483647 w 340"/>
                <a:gd name="T105" fmla="*/ 2147483647 h 660"/>
                <a:gd name="T106" fmla="*/ 2147483647 w 340"/>
                <a:gd name="T107" fmla="*/ 2147483647 h 660"/>
                <a:gd name="T108" fmla="*/ 2147483647 w 340"/>
                <a:gd name="T109" fmla="*/ 2147483647 h 660"/>
                <a:gd name="T110" fmla="*/ 2147483647 w 340"/>
                <a:gd name="T111" fmla="*/ 2147483647 h 660"/>
                <a:gd name="T112" fmla="*/ 2147483647 w 340"/>
                <a:gd name="T113" fmla="*/ 2147483647 h 660"/>
                <a:gd name="T114" fmla="*/ 2147483647 w 340"/>
                <a:gd name="T115" fmla="*/ 2147483647 h 660"/>
                <a:gd name="T116" fmla="*/ 2147483647 w 340"/>
                <a:gd name="T117" fmla="*/ 2147483647 h 660"/>
                <a:gd name="T118" fmla="*/ 2147483647 w 340"/>
                <a:gd name="T119" fmla="*/ 2147483647 h 660"/>
                <a:gd name="T120" fmla="*/ 2147483647 w 340"/>
                <a:gd name="T121" fmla="*/ 2147483647 h 660"/>
                <a:gd name="T122" fmla="*/ 2147483647 w 340"/>
                <a:gd name="T123" fmla="*/ 2147483647 h 660"/>
                <a:gd name="T124" fmla="*/ 2147483647 w 340"/>
                <a:gd name="T125" fmla="*/ 2147483647 h 6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40"/>
                <a:gd name="T190" fmla="*/ 0 h 660"/>
                <a:gd name="T191" fmla="*/ 340 w 340"/>
                <a:gd name="T192" fmla="*/ 660 h 6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40" h="660">
                  <a:moveTo>
                    <a:pt x="81" y="660"/>
                  </a:moveTo>
                  <a:lnTo>
                    <a:pt x="81" y="660"/>
                  </a:lnTo>
                  <a:lnTo>
                    <a:pt x="74" y="653"/>
                  </a:lnTo>
                  <a:lnTo>
                    <a:pt x="72" y="650"/>
                  </a:lnTo>
                  <a:lnTo>
                    <a:pt x="72" y="645"/>
                  </a:lnTo>
                  <a:lnTo>
                    <a:pt x="73" y="640"/>
                  </a:lnTo>
                  <a:lnTo>
                    <a:pt x="76" y="636"/>
                  </a:lnTo>
                  <a:lnTo>
                    <a:pt x="74" y="630"/>
                  </a:lnTo>
                  <a:lnTo>
                    <a:pt x="74" y="627"/>
                  </a:lnTo>
                  <a:lnTo>
                    <a:pt x="74" y="626"/>
                  </a:lnTo>
                  <a:lnTo>
                    <a:pt x="77" y="624"/>
                  </a:lnTo>
                  <a:lnTo>
                    <a:pt x="81" y="621"/>
                  </a:lnTo>
                  <a:lnTo>
                    <a:pt x="83" y="619"/>
                  </a:lnTo>
                  <a:lnTo>
                    <a:pt x="87" y="617"/>
                  </a:lnTo>
                  <a:lnTo>
                    <a:pt x="90" y="614"/>
                  </a:lnTo>
                  <a:lnTo>
                    <a:pt x="90" y="612"/>
                  </a:lnTo>
                  <a:lnTo>
                    <a:pt x="91" y="608"/>
                  </a:lnTo>
                  <a:lnTo>
                    <a:pt x="93" y="606"/>
                  </a:lnTo>
                  <a:lnTo>
                    <a:pt x="97" y="602"/>
                  </a:lnTo>
                  <a:lnTo>
                    <a:pt x="100" y="601"/>
                  </a:lnTo>
                  <a:lnTo>
                    <a:pt x="100" y="600"/>
                  </a:lnTo>
                  <a:lnTo>
                    <a:pt x="100" y="594"/>
                  </a:lnTo>
                  <a:lnTo>
                    <a:pt x="100" y="592"/>
                  </a:lnTo>
                  <a:lnTo>
                    <a:pt x="102" y="590"/>
                  </a:lnTo>
                  <a:lnTo>
                    <a:pt x="107" y="588"/>
                  </a:lnTo>
                  <a:lnTo>
                    <a:pt x="110" y="588"/>
                  </a:lnTo>
                  <a:lnTo>
                    <a:pt x="113" y="586"/>
                  </a:lnTo>
                  <a:lnTo>
                    <a:pt x="123" y="576"/>
                  </a:lnTo>
                  <a:lnTo>
                    <a:pt x="126" y="570"/>
                  </a:lnTo>
                  <a:lnTo>
                    <a:pt x="130" y="566"/>
                  </a:lnTo>
                  <a:lnTo>
                    <a:pt x="130" y="561"/>
                  </a:lnTo>
                  <a:lnTo>
                    <a:pt x="130" y="556"/>
                  </a:lnTo>
                  <a:lnTo>
                    <a:pt x="132" y="550"/>
                  </a:lnTo>
                  <a:lnTo>
                    <a:pt x="133" y="548"/>
                  </a:lnTo>
                  <a:lnTo>
                    <a:pt x="134" y="547"/>
                  </a:lnTo>
                  <a:lnTo>
                    <a:pt x="134" y="545"/>
                  </a:lnTo>
                  <a:lnTo>
                    <a:pt x="134" y="543"/>
                  </a:lnTo>
                  <a:lnTo>
                    <a:pt x="126" y="544"/>
                  </a:lnTo>
                  <a:lnTo>
                    <a:pt x="119" y="545"/>
                  </a:lnTo>
                  <a:lnTo>
                    <a:pt x="115" y="545"/>
                  </a:lnTo>
                  <a:lnTo>
                    <a:pt x="113" y="544"/>
                  </a:lnTo>
                  <a:lnTo>
                    <a:pt x="110" y="543"/>
                  </a:lnTo>
                  <a:lnTo>
                    <a:pt x="107" y="539"/>
                  </a:lnTo>
                  <a:lnTo>
                    <a:pt x="105" y="534"/>
                  </a:lnTo>
                  <a:lnTo>
                    <a:pt x="101" y="529"/>
                  </a:lnTo>
                  <a:lnTo>
                    <a:pt x="100" y="525"/>
                  </a:lnTo>
                  <a:lnTo>
                    <a:pt x="100" y="524"/>
                  </a:lnTo>
                  <a:lnTo>
                    <a:pt x="101" y="523"/>
                  </a:lnTo>
                  <a:lnTo>
                    <a:pt x="105" y="518"/>
                  </a:lnTo>
                  <a:lnTo>
                    <a:pt x="109" y="512"/>
                  </a:lnTo>
                  <a:lnTo>
                    <a:pt x="109" y="509"/>
                  </a:lnTo>
                  <a:lnTo>
                    <a:pt x="110" y="506"/>
                  </a:lnTo>
                  <a:lnTo>
                    <a:pt x="111" y="504"/>
                  </a:lnTo>
                  <a:lnTo>
                    <a:pt x="113" y="504"/>
                  </a:lnTo>
                  <a:lnTo>
                    <a:pt x="114" y="504"/>
                  </a:lnTo>
                  <a:lnTo>
                    <a:pt x="115" y="504"/>
                  </a:lnTo>
                  <a:lnTo>
                    <a:pt x="118" y="502"/>
                  </a:lnTo>
                  <a:lnTo>
                    <a:pt x="121" y="500"/>
                  </a:lnTo>
                  <a:lnTo>
                    <a:pt x="125" y="500"/>
                  </a:lnTo>
                  <a:lnTo>
                    <a:pt x="126" y="500"/>
                  </a:lnTo>
                  <a:lnTo>
                    <a:pt x="129" y="500"/>
                  </a:lnTo>
                  <a:lnTo>
                    <a:pt x="134" y="497"/>
                  </a:lnTo>
                  <a:lnTo>
                    <a:pt x="139" y="496"/>
                  </a:lnTo>
                  <a:lnTo>
                    <a:pt x="144" y="496"/>
                  </a:lnTo>
                  <a:lnTo>
                    <a:pt x="147" y="497"/>
                  </a:lnTo>
                  <a:lnTo>
                    <a:pt x="151" y="497"/>
                  </a:lnTo>
                  <a:lnTo>
                    <a:pt x="151" y="494"/>
                  </a:lnTo>
                  <a:lnTo>
                    <a:pt x="151" y="492"/>
                  </a:lnTo>
                  <a:lnTo>
                    <a:pt x="148" y="490"/>
                  </a:lnTo>
                  <a:lnTo>
                    <a:pt x="146" y="487"/>
                  </a:lnTo>
                  <a:lnTo>
                    <a:pt x="143" y="485"/>
                  </a:lnTo>
                  <a:lnTo>
                    <a:pt x="143" y="483"/>
                  </a:lnTo>
                  <a:lnTo>
                    <a:pt x="143" y="474"/>
                  </a:lnTo>
                  <a:lnTo>
                    <a:pt x="146" y="467"/>
                  </a:lnTo>
                  <a:lnTo>
                    <a:pt x="149" y="460"/>
                  </a:lnTo>
                  <a:lnTo>
                    <a:pt x="154" y="454"/>
                  </a:lnTo>
                  <a:lnTo>
                    <a:pt x="156" y="453"/>
                  </a:lnTo>
                  <a:lnTo>
                    <a:pt x="154" y="452"/>
                  </a:lnTo>
                  <a:lnTo>
                    <a:pt x="151" y="449"/>
                  </a:lnTo>
                  <a:lnTo>
                    <a:pt x="151" y="448"/>
                  </a:lnTo>
                  <a:lnTo>
                    <a:pt x="151" y="447"/>
                  </a:lnTo>
                  <a:lnTo>
                    <a:pt x="153" y="446"/>
                  </a:lnTo>
                  <a:lnTo>
                    <a:pt x="156" y="447"/>
                  </a:lnTo>
                  <a:lnTo>
                    <a:pt x="158" y="449"/>
                  </a:lnTo>
                  <a:lnTo>
                    <a:pt x="161" y="451"/>
                  </a:lnTo>
                  <a:lnTo>
                    <a:pt x="167" y="451"/>
                  </a:lnTo>
                  <a:lnTo>
                    <a:pt x="170" y="449"/>
                  </a:lnTo>
                  <a:lnTo>
                    <a:pt x="172" y="448"/>
                  </a:lnTo>
                  <a:lnTo>
                    <a:pt x="173" y="443"/>
                  </a:lnTo>
                  <a:lnTo>
                    <a:pt x="173" y="440"/>
                  </a:lnTo>
                  <a:lnTo>
                    <a:pt x="171" y="435"/>
                  </a:lnTo>
                  <a:lnTo>
                    <a:pt x="170" y="434"/>
                  </a:lnTo>
                  <a:lnTo>
                    <a:pt x="168" y="434"/>
                  </a:lnTo>
                  <a:lnTo>
                    <a:pt x="166" y="435"/>
                  </a:lnTo>
                  <a:lnTo>
                    <a:pt x="163" y="438"/>
                  </a:lnTo>
                  <a:lnTo>
                    <a:pt x="160" y="440"/>
                  </a:lnTo>
                  <a:lnTo>
                    <a:pt x="158" y="440"/>
                  </a:lnTo>
                  <a:lnTo>
                    <a:pt x="156" y="439"/>
                  </a:lnTo>
                  <a:lnTo>
                    <a:pt x="152" y="434"/>
                  </a:lnTo>
                  <a:lnTo>
                    <a:pt x="148" y="429"/>
                  </a:lnTo>
                  <a:lnTo>
                    <a:pt x="146" y="423"/>
                  </a:lnTo>
                  <a:lnTo>
                    <a:pt x="146" y="417"/>
                  </a:lnTo>
                  <a:lnTo>
                    <a:pt x="146" y="415"/>
                  </a:lnTo>
                  <a:lnTo>
                    <a:pt x="144" y="414"/>
                  </a:lnTo>
                  <a:lnTo>
                    <a:pt x="143" y="414"/>
                  </a:lnTo>
                  <a:lnTo>
                    <a:pt x="143" y="413"/>
                  </a:lnTo>
                  <a:lnTo>
                    <a:pt x="147" y="408"/>
                  </a:lnTo>
                  <a:lnTo>
                    <a:pt x="152" y="403"/>
                  </a:lnTo>
                  <a:lnTo>
                    <a:pt x="152" y="402"/>
                  </a:lnTo>
                  <a:lnTo>
                    <a:pt x="153" y="403"/>
                  </a:lnTo>
                  <a:lnTo>
                    <a:pt x="154" y="406"/>
                  </a:lnTo>
                  <a:lnTo>
                    <a:pt x="157" y="408"/>
                  </a:lnTo>
                  <a:lnTo>
                    <a:pt x="162" y="410"/>
                  </a:lnTo>
                  <a:lnTo>
                    <a:pt x="170" y="411"/>
                  </a:lnTo>
                  <a:lnTo>
                    <a:pt x="177" y="410"/>
                  </a:lnTo>
                  <a:lnTo>
                    <a:pt x="184" y="407"/>
                  </a:lnTo>
                  <a:lnTo>
                    <a:pt x="187" y="406"/>
                  </a:lnTo>
                  <a:lnTo>
                    <a:pt x="190" y="402"/>
                  </a:lnTo>
                  <a:lnTo>
                    <a:pt x="191" y="397"/>
                  </a:lnTo>
                  <a:lnTo>
                    <a:pt x="193" y="392"/>
                  </a:lnTo>
                  <a:lnTo>
                    <a:pt x="193" y="388"/>
                  </a:lnTo>
                  <a:lnTo>
                    <a:pt x="194" y="382"/>
                  </a:lnTo>
                  <a:lnTo>
                    <a:pt x="195" y="381"/>
                  </a:lnTo>
                  <a:lnTo>
                    <a:pt x="195" y="378"/>
                  </a:lnTo>
                  <a:lnTo>
                    <a:pt x="194" y="372"/>
                  </a:lnTo>
                  <a:lnTo>
                    <a:pt x="193" y="368"/>
                  </a:lnTo>
                  <a:lnTo>
                    <a:pt x="194" y="363"/>
                  </a:lnTo>
                  <a:lnTo>
                    <a:pt x="194" y="360"/>
                  </a:lnTo>
                  <a:lnTo>
                    <a:pt x="196" y="359"/>
                  </a:lnTo>
                  <a:lnTo>
                    <a:pt x="199" y="359"/>
                  </a:lnTo>
                  <a:lnTo>
                    <a:pt x="201" y="359"/>
                  </a:lnTo>
                  <a:lnTo>
                    <a:pt x="206" y="362"/>
                  </a:lnTo>
                  <a:lnTo>
                    <a:pt x="212" y="363"/>
                  </a:lnTo>
                  <a:lnTo>
                    <a:pt x="214" y="364"/>
                  </a:lnTo>
                  <a:lnTo>
                    <a:pt x="217" y="363"/>
                  </a:lnTo>
                  <a:lnTo>
                    <a:pt x="223" y="363"/>
                  </a:lnTo>
                  <a:lnTo>
                    <a:pt x="228" y="363"/>
                  </a:lnTo>
                  <a:lnTo>
                    <a:pt x="237" y="359"/>
                  </a:lnTo>
                  <a:lnTo>
                    <a:pt x="246" y="356"/>
                  </a:lnTo>
                  <a:lnTo>
                    <a:pt x="251" y="355"/>
                  </a:lnTo>
                  <a:lnTo>
                    <a:pt x="256" y="355"/>
                  </a:lnTo>
                  <a:lnTo>
                    <a:pt x="261" y="355"/>
                  </a:lnTo>
                  <a:lnTo>
                    <a:pt x="265" y="353"/>
                  </a:lnTo>
                  <a:lnTo>
                    <a:pt x="269" y="351"/>
                  </a:lnTo>
                  <a:lnTo>
                    <a:pt x="273" y="349"/>
                  </a:lnTo>
                  <a:lnTo>
                    <a:pt x="275" y="345"/>
                  </a:lnTo>
                  <a:lnTo>
                    <a:pt x="276" y="343"/>
                  </a:lnTo>
                  <a:lnTo>
                    <a:pt x="275" y="340"/>
                  </a:lnTo>
                  <a:lnTo>
                    <a:pt x="276" y="337"/>
                  </a:lnTo>
                  <a:lnTo>
                    <a:pt x="278" y="333"/>
                  </a:lnTo>
                  <a:lnTo>
                    <a:pt x="279" y="331"/>
                  </a:lnTo>
                  <a:lnTo>
                    <a:pt x="283" y="325"/>
                  </a:lnTo>
                  <a:lnTo>
                    <a:pt x="285" y="319"/>
                  </a:lnTo>
                  <a:lnTo>
                    <a:pt x="286" y="313"/>
                  </a:lnTo>
                  <a:lnTo>
                    <a:pt x="285" y="306"/>
                  </a:lnTo>
                  <a:lnTo>
                    <a:pt x="283" y="304"/>
                  </a:lnTo>
                  <a:lnTo>
                    <a:pt x="280" y="302"/>
                  </a:lnTo>
                  <a:lnTo>
                    <a:pt x="278" y="301"/>
                  </a:lnTo>
                  <a:lnTo>
                    <a:pt x="275" y="299"/>
                  </a:lnTo>
                  <a:lnTo>
                    <a:pt x="271" y="295"/>
                  </a:lnTo>
                  <a:lnTo>
                    <a:pt x="273" y="285"/>
                  </a:lnTo>
                  <a:lnTo>
                    <a:pt x="273" y="281"/>
                  </a:lnTo>
                  <a:lnTo>
                    <a:pt x="270" y="277"/>
                  </a:lnTo>
                  <a:lnTo>
                    <a:pt x="267" y="274"/>
                  </a:lnTo>
                  <a:lnTo>
                    <a:pt x="264" y="273"/>
                  </a:lnTo>
                  <a:lnTo>
                    <a:pt x="260" y="270"/>
                  </a:lnTo>
                  <a:lnTo>
                    <a:pt x="257" y="268"/>
                  </a:lnTo>
                  <a:lnTo>
                    <a:pt x="257" y="264"/>
                  </a:lnTo>
                  <a:lnTo>
                    <a:pt x="257" y="262"/>
                  </a:lnTo>
                  <a:lnTo>
                    <a:pt x="255" y="257"/>
                  </a:lnTo>
                  <a:lnTo>
                    <a:pt x="253" y="254"/>
                  </a:lnTo>
                  <a:lnTo>
                    <a:pt x="252" y="247"/>
                  </a:lnTo>
                  <a:lnTo>
                    <a:pt x="255" y="240"/>
                  </a:lnTo>
                  <a:lnTo>
                    <a:pt x="259" y="232"/>
                  </a:lnTo>
                  <a:lnTo>
                    <a:pt x="261" y="226"/>
                  </a:lnTo>
                  <a:lnTo>
                    <a:pt x="262" y="224"/>
                  </a:lnTo>
                  <a:lnTo>
                    <a:pt x="264" y="222"/>
                  </a:lnTo>
                  <a:lnTo>
                    <a:pt x="264" y="202"/>
                  </a:lnTo>
                  <a:lnTo>
                    <a:pt x="264" y="192"/>
                  </a:lnTo>
                  <a:lnTo>
                    <a:pt x="266" y="183"/>
                  </a:lnTo>
                  <a:lnTo>
                    <a:pt x="270" y="177"/>
                  </a:lnTo>
                  <a:lnTo>
                    <a:pt x="273" y="171"/>
                  </a:lnTo>
                  <a:lnTo>
                    <a:pt x="275" y="167"/>
                  </a:lnTo>
                  <a:lnTo>
                    <a:pt x="278" y="164"/>
                  </a:lnTo>
                  <a:lnTo>
                    <a:pt x="281" y="159"/>
                  </a:lnTo>
                  <a:lnTo>
                    <a:pt x="284" y="154"/>
                  </a:lnTo>
                  <a:lnTo>
                    <a:pt x="289" y="144"/>
                  </a:lnTo>
                  <a:lnTo>
                    <a:pt x="290" y="142"/>
                  </a:lnTo>
                  <a:lnTo>
                    <a:pt x="292" y="141"/>
                  </a:lnTo>
                  <a:lnTo>
                    <a:pt x="298" y="140"/>
                  </a:lnTo>
                  <a:lnTo>
                    <a:pt x="303" y="136"/>
                  </a:lnTo>
                  <a:lnTo>
                    <a:pt x="320" y="121"/>
                  </a:lnTo>
                  <a:lnTo>
                    <a:pt x="327" y="113"/>
                  </a:lnTo>
                  <a:lnTo>
                    <a:pt x="337" y="107"/>
                  </a:lnTo>
                  <a:lnTo>
                    <a:pt x="339" y="106"/>
                  </a:lnTo>
                  <a:lnTo>
                    <a:pt x="339" y="104"/>
                  </a:lnTo>
                  <a:lnTo>
                    <a:pt x="340" y="101"/>
                  </a:lnTo>
                  <a:lnTo>
                    <a:pt x="339" y="95"/>
                  </a:lnTo>
                  <a:lnTo>
                    <a:pt x="339" y="89"/>
                  </a:lnTo>
                  <a:lnTo>
                    <a:pt x="337" y="83"/>
                  </a:lnTo>
                  <a:lnTo>
                    <a:pt x="339" y="77"/>
                  </a:lnTo>
                  <a:lnTo>
                    <a:pt x="333" y="77"/>
                  </a:lnTo>
                  <a:lnTo>
                    <a:pt x="330" y="77"/>
                  </a:lnTo>
                  <a:lnTo>
                    <a:pt x="321" y="76"/>
                  </a:lnTo>
                  <a:lnTo>
                    <a:pt x="322" y="82"/>
                  </a:lnTo>
                  <a:lnTo>
                    <a:pt x="323" y="89"/>
                  </a:lnTo>
                  <a:lnTo>
                    <a:pt x="322" y="93"/>
                  </a:lnTo>
                  <a:lnTo>
                    <a:pt x="320" y="95"/>
                  </a:lnTo>
                  <a:lnTo>
                    <a:pt x="317" y="96"/>
                  </a:lnTo>
                  <a:lnTo>
                    <a:pt x="314" y="98"/>
                  </a:lnTo>
                  <a:lnTo>
                    <a:pt x="309" y="104"/>
                  </a:lnTo>
                  <a:lnTo>
                    <a:pt x="306" y="110"/>
                  </a:lnTo>
                  <a:lnTo>
                    <a:pt x="302" y="113"/>
                  </a:lnTo>
                  <a:lnTo>
                    <a:pt x="298" y="113"/>
                  </a:lnTo>
                  <a:lnTo>
                    <a:pt x="294" y="110"/>
                  </a:lnTo>
                  <a:lnTo>
                    <a:pt x="290" y="108"/>
                  </a:lnTo>
                  <a:lnTo>
                    <a:pt x="288" y="110"/>
                  </a:lnTo>
                  <a:lnTo>
                    <a:pt x="284" y="113"/>
                  </a:lnTo>
                  <a:lnTo>
                    <a:pt x="281" y="114"/>
                  </a:lnTo>
                  <a:lnTo>
                    <a:pt x="280" y="114"/>
                  </a:lnTo>
                  <a:lnTo>
                    <a:pt x="279" y="113"/>
                  </a:lnTo>
                  <a:lnTo>
                    <a:pt x="273" y="111"/>
                  </a:lnTo>
                  <a:lnTo>
                    <a:pt x="269" y="111"/>
                  </a:lnTo>
                  <a:lnTo>
                    <a:pt x="266" y="110"/>
                  </a:lnTo>
                  <a:lnTo>
                    <a:pt x="264" y="110"/>
                  </a:lnTo>
                  <a:lnTo>
                    <a:pt x="261" y="110"/>
                  </a:lnTo>
                  <a:lnTo>
                    <a:pt x="259" y="109"/>
                  </a:lnTo>
                  <a:lnTo>
                    <a:pt x="257" y="109"/>
                  </a:lnTo>
                  <a:lnTo>
                    <a:pt x="257" y="107"/>
                  </a:lnTo>
                  <a:lnTo>
                    <a:pt x="257" y="104"/>
                  </a:lnTo>
                  <a:lnTo>
                    <a:pt x="260" y="100"/>
                  </a:lnTo>
                  <a:lnTo>
                    <a:pt x="264" y="94"/>
                  </a:lnTo>
                  <a:lnTo>
                    <a:pt x="266" y="89"/>
                  </a:lnTo>
                  <a:lnTo>
                    <a:pt x="267" y="81"/>
                  </a:lnTo>
                  <a:lnTo>
                    <a:pt x="269" y="74"/>
                  </a:lnTo>
                  <a:lnTo>
                    <a:pt x="267" y="70"/>
                  </a:lnTo>
                  <a:lnTo>
                    <a:pt x="266" y="66"/>
                  </a:lnTo>
                  <a:lnTo>
                    <a:pt x="264" y="63"/>
                  </a:lnTo>
                  <a:lnTo>
                    <a:pt x="261" y="61"/>
                  </a:lnTo>
                  <a:lnTo>
                    <a:pt x="251" y="56"/>
                  </a:lnTo>
                  <a:lnTo>
                    <a:pt x="242" y="51"/>
                  </a:lnTo>
                  <a:lnTo>
                    <a:pt x="232" y="46"/>
                  </a:lnTo>
                  <a:lnTo>
                    <a:pt x="223" y="39"/>
                  </a:lnTo>
                  <a:lnTo>
                    <a:pt x="222" y="38"/>
                  </a:lnTo>
                  <a:lnTo>
                    <a:pt x="222" y="36"/>
                  </a:lnTo>
                  <a:lnTo>
                    <a:pt x="220" y="31"/>
                  </a:lnTo>
                  <a:lnTo>
                    <a:pt x="220" y="26"/>
                  </a:lnTo>
                  <a:lnTo>
                    <a:pt x="219" y="25"/>
                  </a:lnTo>
                  <a:lnTo>
                    <a:pt x="218" y="24"/>
                  </a:lnTo>
                  <a:lnTo>
                    <a:pt x="210" y="19"/>
                  </a:lnTo>
                  <a:lnTo>
                    <a:pt x="204" y="14"/>
                  </a:lnTo>
                  <a:lnTo>
                    <a:pt x="200" y="11"/>
                  </a:lnTo>
                  <a:lnTo>
                    <a:pt x="198" y="7"/>
                  </a:lnTo>
                  <a:lnTo>
                    <a:pt x="194" y="2"/>
                  </a:lnTo>
                  <a:lnTo>
                    <a:pt x="189" y="0"/>
                  </a:lnTo>
                  <a:lnTo>
                    <a:pt x="187" y="0"/>
                  </a:lnTo>
                  <a:lnTo>
                    <a:pt x="180" y="1"/>
                  </a:lnTo>
                  <a:lnTo>
                    <a:pt x="172" y="0"/>
                  </a:lnTo>
                  <a:lnTo>
                    <a:pt x="170" y="0"/>
                  </a:lnTo>
                  <a:lnTo>
                    <a:pt x="166" y="1"/>
                  </a:lnTo>
                  <a:lnTo>
                    <a:pt x="165" y="2"/>
                  </a:lnTo>
                  <a:lnTo>
                    <a:pt x="162" y="5"/>
                  </a:lnTo>
                  <a:lnTo>
                    <a:pt x="161" y="12"/>
                  </a:lnTo>
                  <a:lnTo>
                    <a:pt x="158" y="13"/>
                  </a:lnTo>
                  <a:lnTo>
                    <a:pt x="156" y="13"/>
                  </a:lnTo>
                  <a:lnTo>
                    <a:pt x="153" y="12"/>
                  </a:lnTo>
                  <a:lnTo>
                    <a:pt x="152" y="8"/>
                  </a:lnTo>
                  <a:lnTo>
                    <a:pt x="151" y="6"/>
                  </a:lnTo>
                  <a:lnTo>
                    <a:pt x="148" y="4"/>
                  </a:lnTo>
                  <a:lnTo>
                    <a:pt x="146" y="2"/>
                  </a:lnTo>
                  <a:lnTo>
                    <a:pt x="142" y="1"/>
                  </a:lnTo>
                  <a:lnTo>
                    <a:pt x="139" y="2"/>
                  </a:lnTo>
                  <a:lnTo>
                    <a:pt x="137" y="5"/>
                  </a:lnTo>
                  <a:lnTo>
                    <a:pt x="134" y="6"/>
                  </a:lnTo>
                  <a:lnTo>
                    <a:pt x="133" y="6"/>
                  </a:lnTo>
                  <a:lnTo>
                    <a:pt x="130" y="5"/>
                  </a:lnTo>
                  <a:lnTo>
                    <a:pt x="129" y="2"/>
                  </a:lnTo>
                  <a:lnTo>
                    <a:pt x="126" y="0"/>
                  </a:lnTo>
                  <a:lnTo>
                    <a:pt x="123" y="0"/>
                  </a:lnTo>
                  <a:lnTo>
                    <a:pt x="121" y="1"/>
                  </a:lnTo>
                  <a:lnTo>
                    <a:pt x="118" y="4"/>
                  </a:lnTo>
                  <a:lnTo>
                    <a:pt x="115" y="8"/>
                  </a:lnTo>
                  <a:lnTo>
                    <a:pt x="113" y="12"/>
                  </a:lnTo>
                  <a:lnTo>
                    <a:pt x="110" y="13"/>
                  </a:lnTo>
                  <a:lnTo>
                    <a:pt x="113" y="20"/>
                  </a:lnTo>
                  <a:lnTo>
                    <a:pt x="114" y="29"/>
                  </a:lnTo>
                  <a:lnTo>
                    <a:pt x="114" y="32"/>
                  </a:lnTo>
                  <a:lnTo>
                    <a:pt x="113" y="36"/>
                  </a:lnTo>
                  <a:lnTo>
                    <a:pt x="111" y="39"/>
                  </a:lnTo>
                  <a:lnTo>
                    <a:pt x="109" y="42"/>
                  </a:lnTo>
                  <a:lnTo>
                    <a:pt x="99" y="50"/>
                  </a:lnTo>
                  <a:lnTo>
                    <a:pt x="91" y="58"/>
                  </a:lnTo>
                  <a:lnTo>
                    <a:pt x="85" y="69"/>
                  </a:lnTo>
                  <a:lnTo>
                    <a:pt x="82" y="79"/>
                  </a:lnTo>
                  <a:lnTo>
                    <a:pt x="78" y="95"/>
                  </a:lnTo>
                  <a:lnTo>
                    <a:pt x="73" y="110"/>
                  </a:lnTo>
                  <a:lnTo>
                    <a:pt x="63" y="139"/>
                  </a:lnTo>
                  <a:lnTo>
                    <a:pt x="60" y="148"/>
                  </a:lnTo>
                  <a:lnTo>
                    <a:pt x="58" y="157"/>
                  </a:lnTo>
                  <a:lnTo>
                    <a:pt x="57" y="174"/>
                  </a:lnTo>
                  <a:lnTo>
                    <a:pt x="53" y="189"/>
                  </a:lnTo>
                  <a:lnTo>
                    <a:pt x="52" y="196"/>
                  </a:lnTo>
                  <a:lnTo>
                    <a:pt x="50" y="203"/>
                  </a:lnTo>
                  <a:lnTo>
                    <a:pt x="50" y="210"/>
                  </a:lnTo>
                  <a:lnTo>
                    <a:pt x="52" y="217"/>
                  </a:lnTo>
                  <a:lnTo>
                    <a:pt x="54" y="230"/>
                  </a:lnTo>
                  <a:lnTo>
                    <a:pt x="57" y="243"/>
                  </a:lnTo>
                  <a:lnTo>
                    <a:pt x="57" y="250"/>
                  </a:lnTo>
                  <a:lnTo>
                    <a:pt x="55" y="257"/>
                  </a:lnTo>
                  <a:lnTo>
                    <a:pt x="52" y="268"/>
                  </a:lnTo>
                  <a:lnTo>
                    <a:pt x="50" y="274"/>
                  </a:lnTo>
                  <a:lnTo>
                    <a:pt x="49" y="281"/>
                  </a:lnTo>
                  <a:lnTo>
                    <a:pt x="49" y="286"/>
                  </a:lnTo>
                  <a:lnTo>
                    <a:pt x="49" y="291"/>
                  </a:lnTo>
                  <a:lnTo>
                    <a:pt x="50" y="294"/>
                  </a:lnTo>
                  <a:lnTo>
                    <a:pt x="49" y="298"/>
                  </a:lnTo>
                  <a:lnTo>
                    <a:pt x="48" y="302"/>
                  </a:lnTo>
                  <a:lnTo>
                    <a:pt x="45" y="305"/>
                  </a:lnTo>
                  <a:lnTo>
                    <a:pt x="41" y="307"/>
                  </a:lnTo>
                  <a:lnTo>
                    <a:pt x="40" y="309"/>
                  </a:lnTo>
                  <a:lnTo>
                    <a:pt x="38" y="314"/>
                  </a:lnTo>
                  <a:lnTo>
                    <a:pt x="38" y="321"/>
                  </a:lnTo>
                  <a:lnTo>
                    <a:pt x="38" y="330"/>
                  </a:lnTo>
                  <a:lnTo>
                    <a:pt x="41" y="343"/>
                  </a:lnTo>
                  <a:lnTo>
                    <a:pt x="41" y="346"/>
                  </a:lnTo>
                  <a:lnTo>
                    <a:pt x="41" y="349"/>
                  </a:lnTo>
                  <a:lnTo>
                    <a:pt x="40" y="351"/>
                  </a:lnTo>
                  <a:lnTo>
                    <a:pt x="38" y="355"/>
                  </a:lnTo>
                  <a:lnTo>
                    <a:pt x="34" y="360"/>
                  </a:lnTo>
                  <a:lnTo>
                    <a:pt x="30" y="369"/>
                  </a:lnTo>
                  <a:lnTo>
                    <a:pt x="25" y="384"/>
                  </a:lnTo>
                  <a:lnTo>
                    <a:pt x="24" y="392"/>
                  </a:lnTo>
                  <a:lnTo>
                    <a:pt x="22" y="402"/>
                  </a:lnTo>
                  <a:lnTo>
                    <a:pt x="22" y="421"/>
                  </a:lnTo>
                  <a:lnTo>
                    <a:pt x="25" y="440"/>
                  </a:lnTo>
                  <a:lnTo>
                    <a:pt x="27" y="459"/>
                  </a:lnTo>
                  <a:lnTo>
                    <a:pt x="27" y="465"/>
                  </a:lnTo>
                  <a:lnTo>
                    <a:pt x="27" y="471"/>
                  </a:lnTo>
                  <a:lnTo>
                    <a:pt x="29" y="473"/>
                  </a:lnTo>
                  <a:lnTo>
                    <a:pt x="31" y="475"/>
                  </a:lnTo>
                  <a:lnTo>
                    <a:pt x="35" y="479"/>
                  </a:lnTo>
                  <a:lnTo>
                    <a:pt x="36" y="483"/>
                  </a:lnTo>
                  <a:lnTo>
                    <a:pt x="35" y="484"/>
                  </a:lnTo>
                  <a:lnTo>
                    <a:pt x="30" y="487"/>
                  </a:lnTo>
                  <a:lnTo>
                    <a:pt x="29" y="490"/>
                  </a:lnTo>
                  <a:lnTo>
                    <a:pt x="30" y="491"/>
                  </a:lnTo>
                  <a:lnTo>
                    <a:pt x="33" y="494"/>
                  </a:lnTo>
                  <a:lnTo>
                    <a:pt x="34" y="497"/>
                  </a:lnTo>
                  <a:lnTo>
                    <a:pt x="34" y="499"/>
                  </a:lnTo>
                  <a:lnTo>
                    <a:pt x="31" y="504"/>
                  </a:lnTo>
                  <a:lnTo>
                    <a:pt x="30" y="509"/>
                  </a:lnTo>
                  <a:lnTo>
                    <a:pt x="30" y="515"/>
                  </a:lnTo>
                  <a:lnTo>
                    <a:pt x="30" y="519"/>
                  </a:lnTo>
                  <a:lnTo>
                    <a:pt x="30" y="528"/>
                  </a:lnTo>
                  <a:lnTo>
                    <a:pt x="26" y="542"/>
                  </a:lnTo>
                  <a:lnTo>
                    <a:pt x="20" y="555"/>
                  </a:lnTo>
                  <a:lnTo>
                    <a:pt x="19" y="558"/>
                  </a:lnTo>
                  <a:lnTo>
                    <a:pt x="20" y="561"/>
                  </a:lnTo>
                  <a:lnTo>
                    <a:pt x="21" y="566"/>
                  </a:lnTo>
                  <a:lnTo>
                    <a:pt x="21" y="569"/>
                  </a:lnTo>
                  <a:lnTo>
                    <a:pt x="19" y="574"/>
                  </a:lnTo>
                  <a:lnTo>
                    <a:pt x="16" y="577"/>
                  </a:lnTo>
                  <a:lnTo>
                    <a:pt x="13" y="581"/>
                  </a:lnTo>
                  <a:lnTo>
                    <a:pt x="11" y="585"/>
                  </a:lnTo>
                  <a:lnTo>
                    <a:pt x="8" y="593"/>
                  </a:lnTo>
                  <a:lnTo>
                    <a:pt x="5" y="600"/>
                  </a:lnTo>
                  <a:lnTo>
                    <a:pt x="2" y="606"/>
                  </a:lnTo>
                  <a:lnTo>
                    <a:pt x="0" y="612"/>
                  </a:lnTo>
                  <a:lnTo>
                    <a:pt x="1" y="618"/>
                  </a:lnTo>
                  <a:lnTo>
                    <a:pt x="1" y="621"/>
                  </a:lnTo>
                  <a:lnTo>
                    <a:pt x="3" y="622"/>
                  </a:lnTo>
                  <a:lnTo>
                    <a:pt x="8" y="627"/>
                  </a:lnTo>
                  <a:lnTo>
                    <a:pt x="12" y="631"/>
                  </a:lnTo>
                  <a:lnTo>
                    <a:pt x="15" y="636"/>
                  </a:lnTo>
                  <a:lnTo>
                    <a:pt x="16" y="641"/>
                  </a:lnTo>
                  <a:lnTo>
                    <a:pt x="17" y="646"/>
                  </a:lnTo>
                  <a:lnTo>
                    <a:pt x="19" y="651"/>
                  </a:lnTo>
                  <a:lnTo>
                    <a:pt x="20" y="654"/>
                  </a:lnTo>
                  <a:lnTo>
                    <a:pt x="22" y="656"/>
                  </a:lnTo>
                  <a:lnTo>
                    <a:pt x="27" y="658"/>
                  </a:lnTo>
                  <a:lnTo>
                    <a:pt x="34" y="659"/>
                  </a:lnTo>
                  <a:lnTo>
                    <a:pt x="40" y="659"/>
                  </a:lnTo>
                  <a:lnTo>
                    <a:pt x="41" y="660"/>
                  </a:lnTo>
                  <a:lnTo>
                    <a:pt x="60" y="660"/>
                  </a:lnTo>
                  <a:lnTo>
                    <a:pt x="81" y="66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0" name="Freeform 1089"/>
            <p:cNvSpPr>
              <a:spLocks/>
            </p:cNvSpPr>
            <p:nvPr/>
          </p:nvSpPr>
          <p:spPr bwMode="auto">
            <a:xfrm>
              <a:off x="2616203" y="6199189"/>
              <a:ext cx="79375" cy="58737"/>
            </a:xfrm>
            <a:custGeom>
              <a:avLst/>
              <a:gdLst>
                <a:gd name="T0" fmla="*/ 0 w 55"/>
                <a:gd name="T1" fmla="*/ 2147483647 h 37"/>
                <a:gd name="T2" fmla="*/ 0 w 55"/>
                <a:gd name="T3" fmla="*/ 0 h 37"/>
                <a:gd name="T4" fmla="*/ 0 w 55"/>
                <a:gd name="T5" fmla="*/ 0 h 37"/>
                <a:gd name="T6" fmla="*/ 2147483647 w 55"/>
                <a:gd name="T7" fmla="*/ 2147483647 h 37"/>
                <a:gd name="T8" fmla="*/ 2147483647 w 55"/>
                <a:gd name="T9" fmla="*/ 2147483647 h 37"/>
                <a:gd name="T10" fmla="*/ 2147483647 w 55"/>
                <a:gd name="T11" fmla="*/ 2147483647 h 37"/>
                <a:gd name="T12" fmla="*/ 2147483647 w 55"/>
                <a:gd name="T13" fmla="*/ 2147483647 h 37"/>
                <a:gd name="T14" fmla="*/ 2147483647 w 55"/>
                <a:gd name="T15" fmla="*/ 2147483647 h 37"/>
                <a:gd name="T16" fmla="*/ 2147483647 w 55"/>
                <a:gd name="T17" fmla="*/ 2147483647 h 37"/>
                <a:gd name="T18" fmla="*/ 2147483647 w 55"/>
                <a:gd name="T19" fmla="*/ 2147483647 h 37"/>
                <a:gd name="T20" fmla="*/ 2147483647 w 55"/>
                <a:gd name="T21" fmla="*/ 2147483647 h 37"/>
                <a:gd name="T22" fmla="*/ 2147483647 w 55"/>
                <a:gd name="T23" fmla="*/ 2147483647 h 37"/>
                <a:gd name="T24" fmla="*/ 2147483647 w 55"/>
                <a:gd name="T25" fmla="*/ 2147483647 h 37"/>
                <a:gd name="T26" fmla="*/ 2147483647 w 55"/>
                <a:gd name="T27" fmla="*/ 2147483647 h 37"/>
                <a:gd name="T28" fmla="*/ 2147483647 w 55"/>
                <a:gd name="T29" fmla="*/ 2147483647 h 37"/>
                <a:gd name="T30" fmla="*/ 2147483647 w 55"/>
                <a:gd name="T31" fmla="*/ 2147483647 h 37"/>
                <a:gd name="T32" fmla="*/ 2147483647 w 55"/>
                <a:gd name="T33" fmla="*/ 2147483647 h 37"/>
                <a:gd name="T34" fmla="*/ 2147483647 w 55"/>
                <a:gd name="T35" fmla="*/ 2147483647 h 37"/>
                <a:gd name="T36" fmla="*/ 2147483647 w 55"/>
                <a:gd name="T37" fmla="*/ 2147483647 h 37"/>
                <a:gd name="T38" fmla="*/ 2147483647 w 55"/>
                <a:gd name="T39" fmla="*/ 2147483647 h 37"/>
                <a:gd name="T40" fmla="*/ 2147483647 w 55"/>
                <a:gd name="T41" fmla="*/ 2147483647 h 37"/>
                <a:gd name="T42" fmla="*/ 2147483647 w 55"/>
                <a:gd name="T43" fmla="*/ 2147483647 h 37"/>
                <a:gd name="T44" fmla="*/ 2147483647 w 55"/>
                <a:gd name="T45" fmla="*/ 2147483647 h 37"/>
                <a:gd name="T46" fmla="*/ 2147483647 w 55"/>
                <a:gd name="T47" fmla="*/ 2147483647 h 37"/>
                <a:gd name="T48" fmla="*/ 2147483647 w 55"/>
                <a:gd name="T49" fmla="*/ 2147483647 h 37"/>
                <a:gd name="T50" fmla="*/ 2147483647 w 55"/>
                <a:gd name="T51" fmla="*/ 2147483647 h 37"/>
                <a:gd name="T52" fmla="*/ 2147483647 w 55"/>
                <a:gd name="T53" fmla="*/ 2147483647 h 37"/>
                <a:gd name="T54" fmla="*/ 2147483647 w 55"/>
                <a:gd name="T55" fmla="*/ 2147483647 h 37"/>
                <a:gd name="T56" fmla="*/ 2147483647 w 55"/>
                <a:gd name="T57" fmla="*/ 2147483647 h 37"/>
                <a:gd name="T58" fmla="*/ 2147483647 w 55"/>
                <a:gd name="T59" fmla="*/ 2147483647 h 37"/>
                <a:gd name="T60" fmla="*/ 2147483647 w 55"/>
                <a:gd name="T61" fmla="*/ 2147483647 h 37"/>
                <a:gd name="T62" fmla="*/ 2147483647 w 55"/>
                <a:gd name="T63" fmla="*/ 2147483647 h 37"/>
                <a:gd name="T64" fmla="*/ 2147483647 w 55"/>
                <a:gd name="T65" fmla="*/ 2147483647 h 37"/>
                <a:gd name="T66" fmla="*/ 2147483647 w 55"/>
                <a:gd name="T67" fmla="*/ 2147483647 h 37"/>
                <a:gd name="T68" fmla="*/ 2147483647 w 55"/>
                <a:gd name="T69" fmla="*/ 2147483647 h 37"/>
                <a:gd name="T70" fmla="*/ 0 w 55"/>
                <a:gd name="T71" fmla="*/ 2147483647 h 37"/>
                <a:gd name="T72" fmla="*/ 0 w 55"/>
                <a:gd name="T73" fmla="*/ 2147483647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5"/>
                <a:gd name="T112" fmla="*/ 0 h 37"/>
                <a:gd name="T113" fmla="*/ 55 w 5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5" h="37">
                  <a:moveTo>
                    <a:pt x="0" y="35"/>
                  </a:moveTo>
                  <a:lnTo>
                    <a:pt x="0" y="0"/>
                  </a:lnTo>
                  <a:lnTo>
                    <a:pt x="3" y="5"/>
                  </a:lnTo>
                  <a:lnTo>
                    <a:pt x="4" y="6"/>
                  </a:lnTo>
                  <a:lnTo>
                    <a:pt x="5" y="6"/>
                  </a:lnTo>
                  <a:lnTo>
                    <a:pt x="7" y="7"/>
                  </a:lnTo>
                  <a:lnTo>
                    <a:pt x="8" y="9"/>
                  </a:lnTo>
                  <a:lnTo>
                    <a:pt x="12" y="12"/>
                  </a:lnTo>
                  <a:lnTo>
                    <a:pt x="16" y="17"/>
                  </a:lnTo>
                  <a:lnTo>
                    <a:pt x="25" y="22"/>
                  </a:lnTo>
                  <a:lnTo>
                    <a:pt x="35" y="26"/>
                  </a:lnTo>
                  <a:lnTo>
                    <a:pt x="45" y="30"/>
                  </a:lnTo>
                  <a:lnTo>
                    <a:pt x="51" y="30"/>
                  </a:lnTo>
                  <a:lnTo>
                    <a:pt x="54" y="30"/>
                  </a:lnTo>
                  <a:lnTo>
                    <a:pt x="55" y="32"/>
                  </a:lnTo>
                  <a:lnTo>
                    <a:pt x="50" y="35"/>
                  </a:lnTo>
                  <a:lnTo>
                    <a:pt x="45" y="36"/>
                  </a:lnTo>
                  <a:lnTo>
                    <a:pt x="40" y="37"/>
                  </a:lnTo>
                  <a:lnTo>
                    <a:pt x="35" y="37"/>
                  </a:lnTo>
                  <a:lnTo>
                    <a:pt x="30" y="37"/>
                  </a:lnTo>
                  <a:lnTo>
                    <a:pt x="25" y="36"/>
                  </a:lnTo>
                  <a:lnTo>
                    <a:pt x="19" y="33"/>
                  </a:lnTo>
                  <a:lnTo>
                    <a:pt x="14" y="31"/>
                  </a:lnTo>
                  <a:lnTo>
                    <a:pt x="13" y="31"/>
                  </a:lnTo>
                  <a:lnTo>
                    <a:pt x="11" y="31"/>
                  </a:lnTo>
                  <a:lnTo>
                    <a:pt x="8" y="33"/>
                  </a:lnTo>
                  <a:lnTo>
                    <a:pt x="5" y="35"/>
                  </a:lnTo>
                  <a:lnTo>
                    <a:pt x="0" y="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1" name="Freeform 1090"/>
            <p:cNvSpPr>
              <a:spLocks/>
            </p:cNvSpPr>
            <p:nvPr/>
          </p:nvSpPr>
          <p:spPr bwMode="auto">
            <a:xfrm>
              <a:off x="2720979" y="6254750"/>
              <a:ext cx="17463" cy="6350"/>
            </a:xfrm>
            <a:custGeom>
              <a:avLst/>
              <a:gdLst>
                <a:gd name="T0" fmla="*/ 2147483647 w 12"/>
                <a:gd name="T1" fmla="*/ 0 h 4"/>
                <a:gd name="T2" fmla="*/ 2147483647 w 12"/>
                <a:gd name="T3" fmla="*/ 0 h 4"/>
                <a:gd name="T4" fmla="*/ 2147483647 w 12"/>
                <a:gd name="T5" fmla="*/ 2147483647 h 4"/>
                <a:gd name="T6" fmla="*/ 2147483647 w 12"/>
                <a:gd name="T7" fmla="*/ 2147483647 h 4"/>
                <a:gd name="T8" fmla="*/ 0 w 12"/>
                <a:gd name="T9" fmla="*/ 2147483647 h 4"/>
                <a:gd name="T10" fmla="*/ 0 w 12"/>
                <a:gd name="T11" fmla="*/ 2147483647 h 4"/>
                <a:gd name="T12" fmla="*/ 2147483647 w 12"/>
                <a:gd name="T13" fmla="*/ 2147483647 h 4"/>
                <a:gd name="T14" fmla="*/ 2147483647 w 12"/>
                <a:gd name="T15" fmla="*/ 2147483647 h 4"/>
                <a:gd name="T16" fmla="*/ 2147483647 w 12"/>
                <a:gd name="T17" fmla="*/ 2147483647 h 4"/>
                <a:gd name="T18" fmla="*/ 2147483647 w 12"/>
                <a:gd name="T19" fmla="*/ 2147483647 h 4"/>
                <a:gd name="T20" fmla="*/ 2147483647 w 12"/>
                <a:gd name="T21" fmla="*/ 0 h 4"/>
                <a:gd name="T22" fmla="*/ 2147483647 w 12"/>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4"/>
                <a:gd name="T38" fmla="*/ 12 w 12"/>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4">
                  <a:moveTo>
                    <a:pt x="11" y="0"/>
                  </a:moveTo>
                  <a:lnTo>
                    <a:pt x="7" y="0"/>
                  </a:lnTo>
                  <a:lnTo>
                    <a:pt x="5" y="1"/>
                  </a:lnTo>
                  <a:lnTo>
                    <a:pt x="2" y="1"/>
                  </a:lnTo>
                  <a:lnTo>
                    <a:pt x="0" y="2"/>
                  </a:lnTo>
                  <a:lnTo>
                    <a:pt x="0" y="3"/>
                  </a:lnTo>
                  <a:lnTo>
                    <a:pt x="1" y="4"/>
                  </a:lnTo>
                  <a:lnTo>
                    <a:pt x="5" y="4"/>
                  </a:lnTo>
                  <a:lnTo>
                    <a:pt x="8" y="3"/>
                  </a:lnTo>
                  <a:lnTo>
                    <a:pt x="12" y="1"/>
                  </a:lnTo>
                  <a:lnTo>
                    <a:pt x="12" y="0"/>
                  </a:lnTo>
                  <a:lnTo>
                    <a:pt x="11"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2" name="Freeform 1091"/>
            <p:cNvSpPr>
              <a:spLocks/>
            </p:cNvSpPr>
            <p:nvPr/>
          </p:nvSpPr>
          <p:spPr bwMode="auto">
            <a:xfrm>
              <a:off x="5100639" y="4279901"/>
              <a:ext cx="139700" cy="163513"/>
            </a:xfrm>
            <a:custGeom>
              <a:avLst/>
              <a:gdLst>
                <a:gd name="T0" fmla="*/ 2147483647 w 95"/>
                <a:gd name="T1" fmla="*/ 2147483647 h 103"/>
                <a:gd name="T2" fmla="*/ 2147483647 w 95"/>
                <a:gd name="T3" fmla="*/ 2147483647 h 103"/>
                <a:gd name="T4" fmla="*/ 2147483647 w 95"/>
                <a:gd name="T5" fmla="*/ 2147483647 h 103"/>
                <a:gd name="T6" fmla="*/ 2147483647 w 95"/>
                <a:gd name="T7" fmla="*/ 2147483647 h 103"/>
                <a:gd name="T8" fmla="*/ 2147483647 w 95"/>
                <a:gd name="T9" fmla="*/ 2147483647 h 103"/>
                <a:gd name="T10" fmla="*/ 2147483647 w 95"/>
                <a:gd name="T11" fmla="*/ 2147483647 h 103"/>
                <a:gd name="T12" fmla="*/ 2147483647 w 95"/>
                <a:gd name="T13" fmla="*/ 2147483647 h 103"/>
                <a:gd name="T14" fmla="*/ 2147483647 w 95"/>
                <a:gd name="T15" fmla="*/ 2147483647 h 103"/>
                <a:gd name="T16" fmla="*/ 2147483647 w 95"/>
                <a:gd name="T17" fmla="*/ 2147483647 h 103"/>
                <a:gd name="T18" fmla="*/ 2147483647 w 95"/>
                <a:gd name="T19" fmla="*/ 2147483647 h 103"/>
                <a:gd name="T20" fmla="*/ 2147483647 w 95"/>
                <a:gd name="T21" fmla="*/ 2147483647 h 103"/>
                <a:gd name="T22" fmla="*/ 2147483647 w 95"/>
                <a:gd name="T23" fmla="*/ 2147483647 h 103"/>
                <a:gd name="T24" fmla="*/ 2147483647 w 95"/>
                <a:gd name="T25" fmla="*/ 2147483647 h 103"/>
                <a:gd name="T26" fmla="*/ 2147483647 w 95"/>
                <a:gd name="T27" fmla="*/ 2147483647 h 103"/>
                <a:gd name="T28" fmla="*/ 2147483647 w 95"/>
                <a:gd name="T29" fmla="*/ 2147483647 h 103"/>
                <a:gd name="T30" fmla="*/ 2147483647 w 95"/>
                <a:gd name="T31" fmla="*/ 2147483647 h 103"/>
                <a:gd name="T32" fmla="*/ 2147483647 w 95"/>
                <a:gd name="T33" fmla="*/ 2147483647 h 103"/>
                <a:gd name="T34" fmla="*/ 0 w 95"/>
                <a:gd name="T35" fmla="*/ 2147483647 h 103"/>
                <a:gd name="T36" fmla="*/ 0 w 95"/>
                <a:gd name="T37" fmla="*/ 2147483647 h 103"/>
                <a:gd name="T38" fmla="*/ 0 w 95"/>
                <a:gd name="T39" fmla="*/ 2147483647 h 103"/>
                <a:gd name="T40" fmla="*/ 2147483647 w 95"/>
                <a:gd name="T41" fmla="*/ 2147483647 h 103"/>
                <a:gd name="T42" fmla="*/ 2147483647 w 95"/>
                <a:gd name="T43" fmla="*/ 2147483647 h 103"/>
                <a:gd name="T44" fmla="*/ 2147483647 w 95"/>
                <a:gd name="T45" fmla="*/ 2147483647 h 103"/>
                <a:gd name="T46" fmla="*/ 2147483647 w 95"/>
                <a:gd name="T47" fmla="*/ 2147483647 h 103"/>
                <a:gd name="T48" fmla="*/ 2147483647 w 95"/>
                <a:gd name="T49" fmla="*/ 2147483647 h 103"/>
                <a:gd name="T50" fmla="*/ 2147483647 w 95"/>
                <a:gd name="T51" fmla="*/ 2147483647 h 103"/>
                <a:gd name="T52" fmla="*/ 2147483647 w 95"/>
                <a:gd name="T53" fmla="*/ 2147483647 h 103"/>
                <a:gd name="T54" fmla="*/ 2147483647 w 95"/>
                <a:gd name="T55" fmla="*/ 2147483647 h 103"/>
                <a:gd name="T56" fmla="*/ 2147483647 w 95"/>
                <a:gd name="T57" fmla="*/ 2147483647 h 103"/>
                <a:gd name="T58" fmla="*/ 2147483647 w 95"/>
                <a:gd name="T59" fmla="*/ 2147483647 h 103"/>
                <a:gd name="T60" fmla="*/ 2147483647 w 95"/>
                <a:gd name="T61" fmla="*/ 2147483647 h 103"/>
                <a:gd name="T62" fmla="*/ 2147483647 w 95"/>
                <a:gd name="T63" fmla="*/ 2147483647 h 103"/>
                <a:gd name="T64" fmla="*/ 2147483647 w 95"/>
                <a:gd name="T65" fmla="*/ 2147483647 h 103"/>
                <a:gd name="T66" fmla="*/ 2147483647 w 95"/>
                <a:gd name="T67" fmla="*/ 2147483647 h 103"/>
                <a:gd name="T68" fmla="*/ 2147483647 w 95"/>
                <a:gd name="T69" fmla="*/ 2147483647 h 103"/>
                <a:gd name="T70" fmla="*/ 2147483647 w 95"/>
                <a:gd name="T71" fmla="*/ 2147483647 h 103"/>
                <a:gd name="T72" fmla="*/ 2147483647 w 95"/>
                <a:gd name="T73" fmla="*/ 2147483647 h 103"/>
                <a:gd name="T74" fmla="*/ 2147483647 w 95"/>
                <a:gd name="T75" fmla="*/ 2147483647 h 103"/>
                <a:gd name="T76" fmla="*/ 2147483647 w 95"/>
                <a:gd name="T77" fmla="*/ 2147483647 h 103"/>
                <a:gd name="T78" fmla="*/ 2147483647 w 95"/>
                <a:gd name="T79" fmla="*/ 2147483647 h 103"/>
                <a:gd name="T80" fmla="*/ 2147483647 w 95"/>
                <a:gd name="T81" fmla="*/ 2147483647 h 103"/>
                <a:gd name="T82" fmla="*/ 2147483647 w 95"/>
                <a:gd name="T83" fmla="*/ 2147483647 h 103"/>
                <a:gd name="T84" fmla="*/ 2147483647 w 95"/>
                <a:gd name="T85" fmla="*/ 0 h 103"/>
                <a:gd name="T86" fmla="*/ 2147483647 w 95"/>
                <a:gd name="T87" fmla="*/ 2147483647 h 103"/>
                <a:gd name="T88" fmla="*/ 2147483647 w 95"/>
                <a:gd name="T89" fmla="*/ 2147483647 h 103"/>
                <a:gd name="T90" fmla="*/ 2147483647 w 95"/>
                <a:gd name="T91" fmla="*/ 2147483647 h 103"/>
                <a:gd name="T92" fmla="*/ 2147483647 w 95"/>
                <a:gd name="T93" fmla="*/ 2147483647 h 103"/>
                <a:gd name="T94" fmla="*/ 2147483647 w 95"/>
                <a:gd name="T95" fmla="*/ 2147483647 h 103"/>
                <a:gd name="T96" fmla="*/ 2147483647 w 95"/>
                <a:gd name="T97" fmla="*/ 2147483647 h 103"/>
                <a:gd name="T98" fmla="*/ 2147483647 w 95"/>
                <a:gd name="T99" fmla="*/ 2147483647 h 103"/>
                <a:gd name="T100" fmla="*/ 2147483647 w 95"/>
                <a:gd name="T101" fmla="*/ 2147483647 h 103"/>
                <a:gd name="T102" fmla="*/ 2147483647 w 95"/>
                <a:gd name="T103" fmla="*/ 2147483647 h 103"/>
                <a:gd name="T104" fmla="*/ 2147483647 w 95"/>
                <a:gd name="T105" fmla="*/ 2147483647 h 103"/>
                <a:gd name="T106" fmla="*/ 2147483647 w 95"/>
                <a:gd name="T107" fmla="*/ 2147483647 h 103"/>
                <a:gd name="T108" fmla="*/ 2147483647 w 95"/>
                <a:gd name="T109" fmla="*/ 2147483647 h 1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5"/>
                <a:gd name="T166" fmla="*/ 0 h 103"/>
                <a:gd name="T167" fmla="*/ 95 w 95"/>
                <a:gd name="T168" fmla="*/ 103 h 1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5" h="103">
                  <a:moveTo>
                    <a:pt x="15" y="17"/>
                  </a:moveTo>
                  <a:lnTo>
                    <a:pt x="17" y="18"/>
                  </a:lnTo>
                  <a:lnTo>
                    <a:pt x="20" y="20"/>
                  </a:lnTo>
                  <a:lnTo>
                    <a:pt x="20" y="24"/>
                  </a:lnTo>
                  <a:lnTo>
                    <a:pt x="20" y="26"/>
                  </a:lnTo>
                  <a:lnTo>
                    <a:pt x="21" y="33"/>
                  </a:lnTo>
                  <a:lnTo>
                    <a:pt x="24" y="40"/>
                  </a:lnTo>
                  <a:lnTo>
                    <a:pt x="24" y="43"/>
                  </a:lnTo>
                  <a:lnTo>
                    <a:pt x="24" y="45"/>
                  </a:lnTo>
                  <a:lnTo>
                    <a:pt x="16" y="53"/>
                  </a:lnTo>
                  <a:lnTo>
                    <a:pt x="12" y="60"/>
                  </a:lnTo>
                  <a:lnTo>
                    <a:pt x="9" y="69"/>
                  </a:lnTo>
                  <a:lnTo>
                    <a:pt x="9" y="73"/>
                  </a:lnTo>
                  <a:lnTo>
                    <a:pt x="9" y="78"/>
                  </a:lnTo>
                  <a:lnTo>
                    <a:pt x="7" y="82"/>
                  </a:lnTo>
                  <a:lnTo>
                    <a:pt x="5" y="84"/>
                  </a:lnTo>
                  <a:lnTo>
                    <a:pt x="1" y="87"/>
                  </a:lnTo>
                  <a:lnTo>
                    <a:pt x="0" y="89"/>
                  </a:lnTo>
                  <a:lnTo>
                    <a:pt x="0" y="92"/>
                  </a:lnTo>
                  <a:lnTo>
                    <a:pt x="0" y="97"/>
                  </a:lnTo>
                  <a:lnTo>
                    <a:pt x="1" y="101"/>
                  </a:lnTo>
                  <a:lnTo>
                    <a:pt x="1" y="103"/>
                  </a:lnTo>
                  <a:lnTo>
                    <a:pt x="11" y="103"/>
                  </a:lnTo>
                  <a:lnTo>
                    <a:pt x="26" y="103"/>
                  </a:lnTo>
                  <a:lnTo>
                    <a:pt x="42" y="102"/>
                  </a:lnTo>
                  <a:lnTo>
                    <a:pt x="72" y="97"/>
                  </a:lnTo>
                  <a:lnTo>
                    <a:pt x="73" y="81"/>
                  </a:lnTo>
                  <a:lnTo>
                    <a:pt x="75" y="73"/>
                  </a:lnTo>
                  <a:lnTo>
                    <a:pt x="76" y="66"/>
                  </a:lnTo>
                  <a:lnTo>
                    <a:pt x="78" y="62"/>
                  </a:lnTo>
                  <a:lnTo>
                    <a:pt x="82" y="57"/>
                  </a:lnTo>
                  <a:lnTo>
                    <a:pt x="87" y="52"/>
                  </a:lnTo>
                  <a:lnTo>
                    <a:pt x="92" y="49"/>
                  </a:lnTo>
                  <a:lnTo>
                    <a:pt x="94" y="47"/>
                  </a:lnTo>
                  <a:lnTo>
                    <a:pt x="95" y="45"/>
                  </a:lnTo>
                  <a:lnTo>
                    <a:pt x="94" y="39"/>
                  </a:lnTo>
                  <a:lnTo>
                    <a:pt x="86" y="24"/>
                  </a:lnTo>
                  <a:lnTo>
                    <a:pt x="85" y="15"/>
                  </a:lnTo>
                  <a:lnTo>
                    <a:pt x="82" y="7"/>
                  </a:lnTo>
                  <a:lnTo>
                    <a:pt x="82" y="6"/>
                  </a:lnTo>
                  <a:lnTo>
                    <a:pt x="81" y="5"/>
                  </a:lnTo>
                  <a:lnTo>
                    <a:pt x="77" y="2"/>
                  </a:lnTo>
                  <a:lnTo>
                    <a:pt x="76" y="0"/>
                  </a:lnTo>
                  <a:lnTo>
                    <a:pt x="72" y="1"/>
                  </a:lnTo>
                  <a:lnTo>
                    <a:pt x="68" y="2"/>
                  </a:lnTo>
                  <a:lnTo>
                    <a:pt x="61" y="1"/>
                  </a:lnTo>
                  <a:lnTo>
                    <a:pt x="58" y="1"/>
                  </a:lnTo>
                  <a:lnTo>
                    <a:pt x="54" y="2"/>
                  </a:lnTo>
                  <a:lnTo>
                    <a:pt x="47" y="8"/>
                  </a:lnTo>
                  <a:lnTo>
                    <a:pt x="43" y="11"/>
                  </a:lnTo>
                  <a:lnTo>
                    <a:pt x="39" y="13"/>
                  </a:lnTo>
                  <a:lnTo>
                    <a:pt x="33" y="14"/>
                  </a:lnTo>
                  <a:lnTo>
                    <a:pt x="26" y="14"/>
                  </a:lnTo>
                  <a:lnTo>
                    <a:pt x="20" y="14"/>
                  </a:lnTo>
                  <a:lnTo>
                    <a:pt x="15" y="1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3" name="Freeform 1092"/>
            <p:cNvSpPr>
              <a:spLocks/>
            </p:cNvSpPr>
            <p:nvPr/>
          </p:nvSpPr>
          <p:spPr bwMode="auto">
            <a:xfrm>
              <a:off x="2717800" y="6251575"/>
              <a:ext cx="19050" cy="7938"/>
            </a:xfrm>
            <a:custGeom>
              <a:avLst/>
              <a:gdLst>
                <a:gd name="T0" fmla="*/ 2147483647 w 13"/>
                <a:gd name="T1" fmla="*/ 0 h 5"/>
                <a:gd name="T2" fmla="*/ 2147483647 w 13"/>
                <a:gd name="T3" fmla="*/ 0 h 5"/>
                <a:gd name="T4" fmla="*/ 2147483647 w 13"/>
                <a:gd name="T5" fmla="*/ 0 h 5"/>
                <a:gd name="T6" fmla="*/ 2147483647 w 13"/>
                <a:gd name="T7" fmla="*/ 2147483647 h 5"/>
                <a:gd name="T8" fmla="*/ 2147483647 w 13"/>
                <a:gd name="T9" fmla="*/ 2147483647 h 5"/>
                <a:gd name="T10" fmla="*/ 0 w 13"/>
                <a:gd name="T11" fmla="*/ 2147483647 h 5"/>
                <a:gd name="T12" fmla="*/ 0 w 13"/>
                <a:gd name="T13" fmla="*/ 2147483647 h 5"/>
                <a:gd name="T14" fmla="*/ 0 w 13"/>
                <a:gd name="T15" fmla="*/ 2147483647 h 5"/>
                <a:gd name="T16" fmla="*/ 2147483647 w 13"/>
                <a:gd name="T17" fmla="*/ 2147483647 h 5"/>
                <a:gd name="T18" fmla="*/ 2147483647 w 13"/>
                <a:gd name="T19" fmla="*/ 2147483647 h 5"/>
                <a:gd name="T20" fmla="*/ 2147483647 w 13"/>
                <a:gd name="T21" fmla="*/ 2147483647 h 5"/>
                <a:gd name="T22" fmla="*/ 2147483647 w 13"/>
                <a:gd name="T23" fmla="*/ 2147483647 h 5"/>
                <a:gd name="T24" fmla="*/ 2147483647 w 13"/>
                <a:gd name="T25" fmla="*/ 2147483647 h 5"/>
                <a:gd name="T26" fmla="*/ 2147483647 w 13"/>
                <a:gd name="T27" fmla="*/ 2147483647 h 5"/>
                <a:gd name="T28" fmla="*/ 2147483647 w 13"/>
                <a:gd name="T29" fmla="*/ 0 h 5"/>
                <a:gd name="T30" fmla="*/ 2147483647 w 13"/>
                <a:gd name="T31" fmla="*/ 0 h 5"/>
                <a:gd name="T32" fmla="*/ 2147483647 w 13"/>
                <a:gd name="T33" fmla="*/ 0 h 5"/>
                <a:gd name="T34" fmla="*/ 2147483647 w 13"/>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5"/>
                <a:gd name="T56" fmla="*/ 13 w 13"/>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5">
                  <a:moveTo>
                    <a:pt x="12" y="0"/>
                  </a:moveTo>
                  <a:lnTo>
                    <a:pt x="12" y="0"/>
                  </a:lnTo>
                  <a:lnTo>
                    <a:pt x="8" y="0"/>
                  </a:lnTo>
                  <a:lnTo>
                    <a:pt x="5" y="2"/>
                  </a:lnTo>
                  <a:lnTo>
                    <a:pt x="3" y="2"/>
                  </a:lnTo>
                  <a:lnTo>
                    <a:pt x="0" y="3"/>
                  </a:lnTo>
                  <a:lnTo>
                    <a:pt x="0" y="4"/>
                  </a:lnTo>
                  <a:lnTo>
                    <a:pt x="2" y="5"/>
                  </a:lnTo>
                  <a:lnTo>
                    <a:pt x="5" y="5"/>
                  </a:lnTo>
                  <a:lnTo>
                    <a:pt x="9" y="4"/>
                  </a:lnTo>
                  <a:lnTo>
                    <a:pt x="13" y="2"/>
                  </a:lnTo>
                  <a:lnTo>
                    <a:pt x="13" y="0"/>
                  </a:lnTo>
                  <a:lnTo>
                    <a:pt x="12"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4" name="Freeform 1093"/>
            <p:cNvSpPr>
              <a:spLocks/>
            </p:cNvSpPr>
            <p:nvPr/>
          </p:nvSpPr>
          <p:spPr bwMode="auto">
            <a:xfrm>
              <a:off x="5097467" y="4278314"/>
              <a:ext cx="141287" cy="163512"/>
            </a:xfrm>
            <a:custGeom>
              <a:avLst/>
              <a:gdLst>
                <a:gd name="T0" fmla="*/ 2147483647 w 96"/>
                <a:gd name="T1" fmla="*/ 2147483647 h 103"/>
                <a:gd name="T2" fmla="*/ 2147483647 w 96"/>
                <a:gd name="T3" fmla="*/ 2147483647 h 103"/>
                <a:gd name="T4" fmla="*/ 2147483647 w 96"/>
                <a:gd name="T5" fmla="*/ 2147483647 h 103"/>
                <a:gd name="T6" fmla="*/ 2147483647 w 96"/>
                <a:gd name="T7" fmla="*/ 2147483647 h 103"/>
                <a:gd name="T8" fmla="*/ 2147483647 w 96"/>
                <a:gd name="T9" fmla="*/ 2147483647 h 103"/>
                <a:gd name="T10" fmla="*/ 2147483647 w 96"/>
                <a:gd name="T11" fmla="*/ 2147483647 h 103"/>
                <a:gd name="T12" fmla="*/ 2147483647 w 96"/>
                <a:gd name="T13" fmla="*/ 2147483647 h 103"/>
                <a:gd name="T14" fmla="*/ 2147483647 w 96"/>
                <a:gd name="T15" fmla="*/ 2147483647 h 103"/>
                <a:gd name="T16" fmla="*/ 2147483647 w 96"/>
                <a:gd name="T17" fmla="*/ 2147483647 h 103"/>
                <a:gd name="T18" fmla="*/ 2147483647 w 96"/>
                <a:gd name="T19" fmla="*/ 2147483647 h 103"/>
                <a:gd name="T20" fmla="*/ 2147483647 w 96"/>
                <a:gd name="T21" fmla="*/ 2147483647 h 103"/>
                <a:gd name="T22" fmla="*/ 2147483647 w 96"/>
                <a:gd name="T23" fmla="*/ 2147483647 h 103"/>
                <a:gd name="T24" fmla="*/ 0 w 96"/>
                <a:gd name="T25" fmla="*/ 2147483647 h 103"/>
                <a:gd name="T26" fmla="*/ 0 w 96"/>
                <a:gd name="T27" fmla="*/ 2147483647 h 103"/>
                <a:gd name="T28" fmla="*/ 2147483647 w 96"/>
                <a:gd name="T29" fmla="*/ 2147483647 h 103"/>
                <a:gd name="T30" fmla="*/ 2147483647 w 96"/>
                <a:gd name="T31" fmla="*/ 2147483647 h 103"/>
                <a:gd name="T32" fmla="*/ 2147483647 w 96"/>
                <a:gd name="T33" fmla="*/ 2147483647 h 103"/>
                <a:gd name="T34" fmla="*/ 2147483647 w 96"/>
                <a:gd name="T35" fmla="*/ 2147483647 h 103"/>
                <a:gd name="T36" fmla="*/ 2147483647 w 96"/>
                <a:gd name="T37" fmla="*/ 2147483647 h 103"/>
                <a:gd name="T38" fmla="*/ 2147483647 w 96"/>
                <a:gd name="T39" fmla="*/ 2147483647 h 103"/>
                <a:gd name="T40" fmla="*/ 2147483647 w 96"/>
                <a:gd name="T41" fmla="*/ 2147483647 h 103"/>
                <a:gd name="T42" fmla="*/ 2147483647 w 96"/>
                <a:gd name="T43" fmla="*/ 2147483647 h 103"/>
                <a:gd name="T44" fmla="*/ 2147483647 w 96"/>
                <a:gd name="T45" fmla="*/ 2147483647 h 103"/>
                <a:gd name="T46" fmla="*/ 2147483647 w 96"/>
                <a:gd name="T47" fmla="*/ 2147483647 h 103"/>
                <a:gd name="T48" fmla="*/ 2147483647 w 96"/>
                <a:gd name="T49" fmla="*/ 2147483647 h 103"/>
                <a:gd name="T50" fmla="*/ 2147483647 w 96"/>
                <a:gd name="T51" fmla="*/ 2147483647 h 103"/>
                <a:gd name="T52" fmla="*/ 2147483647 w 96"/>
                <a:gd name="T53" fmla="*/ 2147483647 h 103"/>
                <a:gd name="T54" fmla="*/ 2147483647 w 96"/>
                <a:gd name="T55" fmla="*/ 2147483647 h 103"/>
                <a:gd name="T56" fmla="*/ 2147483647 w 96"/>
                <a:gd name="T57" fmla="*/ 0 h 103"/>
                <a:gd name="T58" fmla="*/ 2147483647 w 96"/>
                <a:gd name="T59" fmla="*/ 2147483647 h 103"/>
                <a:gd name="T60" fmla="*/ 2147483647 w 96"/>
                <a:gd name="T61" fmla="*/ 2147483647 h 103"/>
                <a:gd name="T62" fmla="*/ 2147483647 w 96"/>
                <a:gd name="T63" fmla="*/ 2147483647 h 103"/>
                <a:gd name="T64" fmla="*/ 2147483647 w 96"/>
                <a:gd name="T65" fmla="*/ 2147483647 h 103"/>
                <a:gd name="T66" fmla="*/ 2147483647 w 96"/>
                <a:gd name="T67" fmla="*/ 2147483647 h 103"/>
                <a:gd name="T68" fmla="*/ 2147483647 w 96"/>
                <a:gd name="T69" fmla="*/ 2147483647 h 103"/>
                <a:gd name="T70" fmla="*/ 2147483647 w 96"/>
                <a:gd name="T71" fmla="*/ 2147483647 h 103"/>
                <a:gd name="T72" fmla="*/ 2147483647 w 96"/>
                <a:gd name="T73" fmla="*/ 2147483647 h 103"/>
                <a:gd name="T74" fmla="*/ 2147483647 w 96"/>
                <a:gd name="T75" fmla="*/ 2147483647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6"/>
                <a:gd name="T115" fmla="*/ 0 h 103"/>
                <a:gd name="T116" fmla="*/ 96 w 96"/>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6" h="103">
                  <a:moveTo>
                    <a:pt x="16" y="16"/>
                  </a:moveTo>
                  <a:lnTo>
                    <a:pt x="16" y="16"/>
                  </a:lnTo>
                  <a:lnTo>
                    <a:pt x="18" y="18"/>
                  </a:lnTo>
                  <a:lnTo>
                    <a:pt x="21" y="20"/>
                  </a:lnTo>
                  <a:lnTo>
                    <a:pt x="21" y="23"/>
                  </a:lnTo>
                  <a:lnTo>
                    <a:pt x="21" y="26"/>
                  </a:lnTo>
                  <a:lnTo>
                    <a:pt x="22" y="33"/>
                  </a:lnTo>
                  <a:lnTo>
                    <a:pt x="24" y="40"/>
                  </a:lnTo>
                  <a:lnTo>
                    <a:pt x="24" y="42"/>
                  </a:lnTo>
                  <a:lnTo>
                    <a:pt x="24" y="45"/>
                  </a:lnTo>
                  <a:lnTo>
                    <a:pt x="17" y="53"/>
                  </a:lnTo>
                  <a:lnTo>
                    <a:pt x="13" y="60"/>
                  </a:lnTo>
                  <a:lnTo>
                    <a:pt x="9" y="69"/>
                  </a:lnTo>
                  <a:lnTo>
                    <a:pt x="9" y="73"/>
                  </a:lnTo>
                  <a:lnTo>
                    <a:pt x="9" y="78"/>
                  </a:lnTo>
                  <a:lnTo>
                    <a:pt x="8" y="82"/>
                  </a:lnTo>
                  <a:lnTo>
                    <a:pt x="5" y="84"/>
                  </a:lnTo>
                  <a:lnTo>
                    <a:pt x="2" y="86"/>
                  </a:lnTo>
                  <a:lnTo>
                    <a:pt x="0" y="89"/>
                  </a:lnTo>
                  <a:lnTo>
                    <a:pt x="0" y="92"/>
                  </a:lnTo>
                  <a:lnTo>
                    <a:pt x="0" y="97"/>
                  </a:lnTo>
                  <a:lnTo>
                    <a:pt x="2" y="101"/>
                  </a:lnTo>
                  <a:lnTo>
                    <a:pt x="2" y="103"/>
                  </a:lnTo>
                  <a:lnTo>
                    <a:pt x="12" y="103"/>
                  </a:lnTo>
                  <a:lnTo>
                    <a:pt x="27" y="103"/>
                  </a:lnTo>
                  <a:lnTo>
                    <a:pt x="42" y="102"/>
                  </a:lnTo>
                  <a:lnTo>
                    <a:pt x="73" y="97"/>
                  </a:lnTo>
                  <a:lnTo>
                    <a:pt x="74" y="80"/>
                  </a:lnTo>
                  <a:lnTo>
                    <a:pt x="75" y="73"/>
                  </a:lnTo>
                  <a:lnTo>
                    <a:pt x="77" y="66"/>
                  </a:lnTo>
                  <a:lnTo>
                    <a:pt x="79" y="61"/>
                  </a:lnTo>
                  <a:lnTo>
                    <a:pt x="83" y="57"/>
                  </a:lnTo>
                  <a:lnTo>
                    <a:pt x="88" y="52"/>
                  </a:lnTo>
                  <a:lnTo>
                    <a:pt x="93" y="48"/>
                  </a:lnTo>
                  <a:lnTo>
                    <a:pt x="94" y="47"/>
                  </a:lnTo>
                  <a:lnTo>
                    <a:pt x="96" y="45"/>
                  </a:lnTo>
                  <a:lnTo>
                    <a:pt x="94" y="39"/>
                  </a:lnTo>
                  <a:lnTo>
                    <a:pt x="87" y="23"/>
                  </a:lnTo>
                  <a:lnTo>
                    <a:pt x="85" y="15"/>
                  </a:lnTo>
                  <a:lnTo>
                    <a:pt x="83" y="7"/>
                  </a:lnTo>
                  <a:lnTo>
                    <a:pt x="83" y="6"/>
                  </a:lnTo>
                  <a:lnTo>
                    <a:pt x="82" y="5"/>
                  </a:lnTo>
                  <a:lnTo>
                    <a:pt x="78" y="2"/>
                  </a:lnTo>
                  <a:lnTo>
                    <a:pt x="77" y="0"/>
                  </a:lnTo>
                  <a:lnTo>
                    <a:pt x="73" y="1"/>
                  </a:lnTo>
                  <a:lnTo>
                    <a:pt x="69" y="2"/>
                  </a:lnTo>
                  <a:lnTo>
                    <a:pt x="61" y="1"/>
                  </a:lnTo>
                  <a:lnTo>
                    <a:pt x="59" y="1"/>
                  </a:lnTo>
                  <a:lnTo>
                    <a:pt x="55" y="2"/>
                  </a:lnTo>
                  <a:lnTo>
                    <a:pt x="47" y="8"/>
                  </a:lnTo>
                  <a:lnTo>
                    <a:pt x="44" y="10"/>
                  </a:lnTo>
                  <a:lnTo>
                    <a:pt x="40" y="13"/>
                  </a:lnTo>
                  <a:lnTo>
                    <a:pt x="33" y="14"/>
                  </a:lnTo>
                  <a:lnTo>
                    <a:pt x="27" y="14"/>
                  </a:lnTo>
                  <a:lnTo>
                    <a:pt x="21" y="14"/>
                  </a:lnTo>
                  <a:lnTo>
                    <a:pt x="16"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5" name="Freeform 1094"/>
            <p:cNvSpPr>
              <a:spLocks/>
            </p:cNvSpPr>
            <p:nvPr/>
          </p:nvSpPr>
          <p:spPr bwMode="auto">
            <a:xfrm>
              <a:off x="7208842" y="4259264"/>
              <a:ext cx="26987" cy="28575"/>
            </a:xfrm>
            <a:custGeom>
              <a:avLst/>
              <a:gdLst>
                <a:gd name="T0" fmla="*/ 2147483647 w 19"/>
                <a:gd name="T1" fmla="*/ 2147483647 h 18"/>
                <a:gd name="T2" fmla="*/ 2147483647 w 19"/>
                <a:gd name="T3" fmla="*/ 2147483647 h 18"/>
                <a:gd name="T4" fmla="*/ 2147483647 w 19"/>
                <a:gd name="T5" fmla="*/ 2147483647 h 18"/>
                <a:gd name="T6" fmla="*/ 2147483647 w 19"/>
                <a:gd name="T7" fmla="*/ 2147483647 h 18"/>
                <a:gd name="T8" fmla="*/ 2147483647 w 19"/>
                <a:gd name="T9" fmla="*/ 2147483647 h 18"/>
                <a:gd name="T10" fmla="*/ 2147483647 w 19"/>
                <a:gd name="T11" fmla="*/ 2147483647 h 18"/>
                <a:gd name="T12" fmla="*/ 2147483647 w 19"/>
                <a:gd name="T13" fmla="*/ 2147483647 h 18"/>
                <a:gd name="T14" fmla="*/ 2147483647 w 19"/>
                <a:gd name="T15" fmla="*/ 0 h 18"/>
                <a:gd name="T16" fmla="*/ 2147483647 w 19"/>
                <a:gd name="T17" fmla="*/ 2147483647 h 18"/>
                <a:gd name="T18" fmla="*/ 0 w 19"/>
                <a:gd name="T19" fmla="*/ 2147483647 h 18"/>
                <a:gd name="T20" fmla="*/ 2147483647 w 19"/>
                <a:gd name="T21" fmla="*/ 2147483647 h 18"/>
                <a:gd name="T22" fmla="*/ 2147483647 w 19"/>
                <a:gd name="T23" fmla="*/ 2147483647 h 18"/>
                <a:gd name="T24" fmla="*/ 2147483647 w 19"/>
                <a:gd name="T25" fmla="*/ 2147483647 h 18"/>
                <a:gd name="T26" fmla="*/ 2147483647 w 19"/>
                <a:gd name="T27" fmla="*/ 2147483647 h 18"/>
                <a:gd name="T28" fmla="*/ 2147483647 w 19"/>
                <a:gd name="T29" fmla="*/ 2147483647 h 18"/>
                <a:gd name="T30" fmla="*/ 2147483647 w 19"/>
                <a:gd name="T31" fmla="*/ 2147483647 h 18"/>
                <a:gd name="T32" fmla="*/ 2147483647 w 19"/>
                <a:gd name="T33" fmla="*/ 2147483647 h 18"/>
                <a:gd name="T34" fmla="*/ 2147483647 w 19"/>
                <a:gd name="T35" fmla="*/ 2147483647 h 18"/>
                <a:gd name="T36" fmla="*/ 2147483647 w 19"/>
                <a:gd name="T37" fmla="*/ 2147483647 h 18"/>
                <a:gd name="T38" fmla="*/ 2147483647 w 19"/>
                <a:gd name="T39" fmla="*/ 2147483647 h 18"/>
                <a:gd name="T40" fmla="*/ 2147483647 w 19"/>
                <a:gd name="T41" fmla="*/ 2147483647 h 18"/>
                <a:gd name="T42" fmla="*/ 2147483647 w 19"/>
                <a:gd name="T43" fmla="*/ 2147483647 h 18"/>
                <a:gd name="T44" fmla="*/ 2147483647 w 19"/>
                <a:gd name="T45" fmla="*/ 2147483647 h 18"/>
                <a:gd name="T46" fmla="*/ 2147483647 w 19"/>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18"/>
                <a:gd name="T74" fmla="*/ 19 w 19"/>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18">
                  <a:moveTo>
                    <a:pt x="16" y="5"/>
                  </a:moveTo>
                  <a:lnTo>
                    <a:pt x="14" y="6"/>
                  </a:lnTo>
                  <a:lnTo>
                    <a:pt x="12" y="6"/>
                  </a:lnTo>
                  <a:lnTo>
                    <a:pt x="9" y="5"/>
                  </a:lnTo>
                  <a:lnTo>
                    <a:pt x="8" y="3"/>
                  </a:lnTo>
                  <a:lnTo>
                    <a:pt x="7" y="2"/>
                  </a:lnTo>
                  <a:lnTo>
                    <a:pt x="5" y="1"/>
                  </a:lnTo>
                  <a:lnTo>
                    <a:pt x="4" y="0"/>
                  </a:lnTo>
                  <a:lnTo>
                    <a:pt x="3" y="1"/>
                  </a:lnTo>
                  <a:lnTo>
                    <a:pt x="0" y="9"/>
                  </a:lnTo>
                  <a:lnTo>
                    <a:pt x="3" y="11"/>
                  </a:lnTo>
                  <a:lnTo>
                    <a:pt x="3" y="12"/>
                  </a:lnTo>
                  <a:lnTo>
                    <a:pt x="4" y="15"/>
                  </a:lnTo>
                  <a:lnTo>
                    <a:pt x="5" y="18"/>
                  </a:lnTo>
                  <a:lnTo>
                    <a:pt x="8" y="18"/>
                  </a:lnTo>
                  <a:lnTo>
                    <a:pt x="9" y="17"/>
                  </a:lnTo>
                  <a:lnTo>
                    <a:pt x="11" y="15"/>
                  </a:lnTo>
                  <a:lnTo>
                    <a:pt x="13" y="13"/>
                  </a:lnTo>
                  <a:lnTo>
                    <a:pt x="14" y="13"/>
                  </a:lnTo>
                  <a:lnTo>
                    <a:pt x="17" y="15"/>
                  </a:lnTo>
                  <a:lnTo>
                    <a:pt x="18" y="17"/>
                  </a:lnTo>
                  <a:lnTo>
                    <a:pt x="19" y="14"/>
                  </a:lnTo>
                  <a:lnTo>
                    <a:pt x="19" y="11"/>
                  </a:lnTo>
                  <a:lnTo>
                    <a:pt x="1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6" name="Freeform 1095"/>
            <p:cNvSpPr>
              <a:spLocks/>
            </p:cNvSpPr>
            <p:nvPr/>
          </p:nvSpPr>
          <p:spPr bwMode="auto">
            <a:xfrm>
              <a:off x="7100889" y="4178301"/>
              <a:ext cx="257175" cy="196850"/>
            </a:xfrm>
            <a:custGeom>
              <a:avLst/>
              <a:gdLst>
                <a:gd name="T0" fmla="*/ 2147483647 w 175"/>
                <a:gd name="T1" fmla="*/ 2147483647 h 124"/>
                <a:gd name="T2" fmla="*/ 2147483647 w 175"/>
                <a:gd name="T3" fmla="*/ 2147483647 h 124"/>
                <a:gd name="T4" fmla="*/ 2147483647 w 175"/>
                <a:gd name="T5" fmla="*/ 2147483647 h 124"/>
                <a:gd name="T6" fmla="*/ 2147483647 w 175"/>
                <a:gd name="T7" fmla="*/ 2147483647 h 124"/>
                <a:gd name="T8" fmla="*/ 2147483647 w 175"/>
                <a:gd name="T9" fmla="*/ 2147483647 h 124"/>
                <a:gd name="T10" fmla="*/ 2147483647 w 175"/>
                <a:gd name="T11" fmla="*/ 2147483647 h 124"/>
                <a:gd name="T12" fmla="*/ 2147483647 w 175"/>
                <a:gd name="T13" fmla="*/ 2147483647 h 124"/>
                <a:gd name="T14" fmla="*/ 2147483647 w 175"/>
                <a:gd name="T15" fmla="*/ 2147483647 h 124"/>
                <a:gd name="T16" fmla="*/ 2147483647 w 175"/>
                <a:gd name="T17" fmla="*/ 2147483647 h 124"/>
                <a:gd name="T18" fmla="*/ 2147483647 w 175"/>
                <a:gd name="T19" fmla="*/ 2147483647 h 124"/>
                <a:gd name="T20" fmla="*/ 2147483647 w 175"/>
                <a:gd name="T21" fmla="*/ 2147483647 h 124"/>
                <a:gd name="T22" fmla="*/ 2147483647 w 175"/>
                <a:gd name="T23" fmla="*/ 2147483647 h 124"/>
                <a:gd name="T24" fmla="*/ 2147483647 w 175"/>
                <a:gd name="T25" fmla="*/ 2147483647 h 124"/>
                <a:gd name="T26" fmla="*/ 2147483647 w 175"/>
                <a:gd name="T27" fmla="*/ 2147483647 h 124"/>
                <a:gd name="T28" fmla="*/ 2147483647 w 175"/>
                <a:gd name="T29" fmla="*/ 2147483647 h 124"/>
                <a:gd name="T30" fmla="*/ 2147483647 w 175"/>
                <a:gd name="T31" fmla="*/ 2147483647 h 124"/>
                <a:gd name="T32" fmla="*/ 2147483647 w 175"/>
                <a:gd name="T33" fmla="*/ 2147483647 h 124"/>
                <a:gd name="T34" fmla="*/ 2147483647 w 175"/>
                <a:gd name="T35" fmla="*/ 2147483647 h 124"/>
                <a:gd name="T36" fmla="*/ 2147483647 w 175"/>
                <a:gd name="T37" fmla="*/ 2147483647 h 124"/>
                <a:gd name="T38" fmla="*/ 2147483647 w 175"/>
                <a:gd name="T39" fmla="*/ 0 h 124"/>
                <a:gd name="T40" fmla="*/ 2147483647 w 175"/>
                <a:gd name="T41" fmla="*/ 2147483647 h 124"/>
                <a:gd name="T42" fmla="*/ 2147483647 w 175"/>
                <a:gd name="T43" fmla="*/ 2147483647 h 124"/>
                <a:gd name="T44" fmla="*/ 2147483647 w 175"/>
                <a:gd name="T45" fmla="*/ 2147483647 h 124"/>
                <a:gd name="T46" fmla="*/ 2147483647 w 175"/>
                <a:gd name="T47" fmla="*/ 2147483647 h 124"/>
                <a:gd name="T48" fmla="*/ 2147483647 w 175"/>
                <a:gd name="T49" fmla="*/ 2147483647 h 124"/>
                <a:gd name="T50" fmla="*/ 2147483647 w 175"/>
                <a:gd name="T51" fmla="*/ 2147483647 h 124"/>
                <a:gd name="T52" fmla="*/ 2147483647 w 175"/>
                <a:gd name="T53" fmla="*/ 2147483647 h 124"/>
                <a:gd name="T54" fmla="*/ 2147483647 w 175"/>
                <a:gd name="T55" fmla="*/ 2147483647 h 124"/>
                <a:gd name="T56" fmla="*/ 2147483647 w 175"/>
                <a:gd name="T57" fmla="*/ 2147483647 h 124"/>
                <a:gd name="T58" fmla="*/ 2147483647 w 175"/>
                <a:gd name="T59" fmla="*/ 2147483647 h 124"/>
                <a:gd name="T60" fmla="*/ 2147483647 w 175"/>
                <a:gd name="T61" fmla="*/ 2147483647 h 124"/>
                <a:gd name="T62" fmla="*/ 2147483647 w 175"/>
                <a:gd name="T63" fmla="*/ 2147483647 h 124"/>
                <a:gd name="T64" fmla="*/ 2147483647 w 175"/>
                <a:gd name="T65" fmla="*/ 2147483647 h 124"/>
                <a:gd name="T66" fmla="*/ 2147483647 w 175"/>
                <a:gd name="T67" fmla="*/ 2147483647 h 124"/>
                <a:gd name="T68" fmla="*/ 2147483647 w 175"/>
                <a:gd name="T69" fmla="*/ 2147483647 h 124"/>
                <a:gd name="T70" fmla="*/ 2147483647 w 175"/>
                <a:gd name="T71" fmla="*/ 2147483647 h 124"/>
                <a:gd name="T72" fmla="*/ 2147483647 w 175"/>
                <a:gd name="T73" fmla="*/ 2147483647 h 124"/>
                <a:gd name="T74" fmla="*/ 2147483647 w 175"/>
                <a:gd name="T75" fmla="*/ 2147483647 h 124"/>
                <a:gd name="T76" fmla="*/ 2147483647 w 175"/>
                <a:gd name="T77" fmla="*/ 2147483647 h 124"/>
                <a:gd name="T78" fmla="*/ 2147483647 w 175"/>
                <a:gd name="T79" fmla="*/ 2147483647 h 124"/>
                <a:gd name="T80" fmla="*/ 2147483647 w 175"/>
                <a:gd name="T81" fmla="*/ 2147483647 h 124"/>
                <a:gd name="T82" fmla="*/ 2147483647 w 175"/>
                <a:gd name="T83" fmla="*/ 2147483647 h 124"/>
                <a:gd name="T84" fmla="*/ 2147483647 w 175"/>
                <a:gd name="T85" fmla="*/ 2147483647 h 124"/>
                <a:gd name="T86" fmla="*/ 2147483647 w 175"/>
                <a:gd name="T87" fmla="*/ 2147483647 h 124"/>
                <a:gd name="T88" fmla="*/ 2147483647 w 175"/>
                <a:gd name="T89" fmla="*/ 2147483647 h 124"/>
                <a:gd name="T90" fmla="*/ 2147483647 w 175"/>
                <a:gd name="T91" fmla="*/ 2147483647 h 124"/>
                <a:gd name="T92" fmla="*/ 2147483647 w 175"/>
                <a:gd name="T93" fmla="*/ 2147483647 h 124"/>
                <a:gd name="T94" fmla="*/ 2147483647 w 175"/>
                <a:gd name="T95" fmla="*/ 2147483647 h 124"/>
                <a:gd name="T96" fmla="*/ 2147483647 w 175"/>
                <a:gd name="T97" fmla="*/ 2147483647 h 124"/>
                <a:gd name="T98" fmla="*/ 2147483647 w 175"/>
                <a:gd name="T99" fmla="*/ 2147483647 h 124"/>
                <a:gd name="T100" fmla="*/ 2147483647 w 175"/>
                <a:gd name="T101" fmla="*/ 2147483647 h 124"/>
                <a:gd name="T102" fmla="*/ 2147483647 w 175"/>
                <a:gd name="T103" fmla="*/ 2147483647 h 124"/>
                <a:gd name="T104" fmla="*/ 2147483647 w 175"/>
                <a:gd name="T105" fmla="*/ 2147483647 h 124"/>
                <a:gd name="T106" fmla="*/ 2147483647 w 175"/>
                <a:gd name="T107" fmla="*/ 2147483647 h 124"/>
                <a:gd name="T108" fmla="*/ 2147483647 w 175"/>
                <a:gd name="T109" fmla="*/ 2147483647 h 124"/>
                <a:gd name="T110" fmla="*/ 2147483647 w 175"/>
                <a:gd name="T111" fmla="*/ 2147483647 h 124"/>
                <a:gd name="T112" fmla="*/ 2147483647 w 175"/>
                <a:gd name="T113" fmla="*/ 2147483647 h 124"/>
                <a:gd name="T114" fmla="*/ 2147483647 w 175"/>
                <a:gd name="T115" fmla="*/ 2147483647 h 124"/>
                <a:gd name="T116" fmla="*/ 2147483647 w 175"/>
                <a:gd name="T117" fmla="*/ 2147483647 h 1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5"/>
                <a:gd name="T178" fmla="*/ 0 h 124"/>
                <a:gd name="T179" fmla="*/ 175 w 175"/>
                <a:gd name="T180" fmla="*/ 124 h 1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5" h="124">
                  <a:moveTo>
                    <a:pt x="73" y="60"/>
                  </a:moveTo>
                  <a:lnTo>
                    <a:pt x="76" y="62"/>
                  </a:lnTo>
                  <a:lnTo>
                    <a:pt x="76" y="63"/>
                  </a:lnTo>
                  <a:lnTo>
                    <a:pt x="77" y="66"/>
                  </a:lnTo>
                  <a:lnTo>
                    <a:pt x="78" y="69"/>
                  </a:lnTo>
                  <a:lnTo>
                    <a:pt x="81" y="69"/>
                  </a:lnTo>
                  <a:lnTo>
                    <a:pt x="82" y="68"/>
                  </a:lnTo>
                  <a:lnTo>
                    <a:pt x="84" y="66"/>
                  </a:lnTo>
                  <a:lnTo>
                    <a:pt x="86" y="64"/>
                  </a:lnTo>
                  <a:lnTo>
                    <a:pt x="87" y="64"/>
                  </a:lnTo>
                  <a:lnTo>
                    <a:pt x="90" y="66"/>
                  </a:lnTo>
                  <a:lnTo>
                    <a:pt x="91" y="68"/>
                  </a:lnTo>
                  <a:lnTo>
                    <a:pt x="92" y="65"/>
                  </a:lnTo>
                  <a:lnTo>
                    <a:pt x="92" y="62"/>
                  </a:lnTo>
                  <a:lnTo>
                    <a:pt x="89" y="56"/>
                  </a:lnTo>
                  <a:lnTo>
                    <a:pt x="90" y="53"/>
                  </a:lnTo>
                  <a:lnTo>
                    <a:pt x="90" y="51"/>
                  </a:lnTo>
                  <a:lnTo>
                    <a:pt x="92" y="50"/>
                  </a:lnTo>
                  <a:lnTo>
                    <a:pt x="94" y="50"/>
                  </a:lnTo>
                  <a:lnTo>
                    <a:pt x="96" y="51"/>
                  </a:lnTo>
                  <a:lnTo>
                    <a:pt x="97" y="52"/>
                  </a:lnTo>
                  <a:lnTo>
                    <a:pt x="97" y="47"/>
                  </a:lnTo>
                  <a:lnTo>
                    <a:pt x="100" y="44"/>
                  </a:lnTo>
                  <a:lnTo>
                    <a:pt x="103" y="41"/>
                  </a:lnTo>
                  <a:lnTo>
                    <a:pt x="105" y="38"/>
                  </a:lnTo>
                  <a:lnTo>
                    <a:pt x="105" y="37"/>
                  </a:lnTo>
                  <a:lnTo>
                    <a:pt x="104" y="34"/>
                  </a:lnTo>
                  <a:lnTo>
                    <a:pt x="103" y="33"/>
                  </a:lnTo>
                  <a:lnTo>
                    <a:pt x="103" y="31"/>
                  </a:lnTo>
                  <a:lnTo>
                    <a:pt x="105" y="30"/>
                  </a:lnTo>
                  <a:lnTo>
                    <a:pt x="109" y="28"/>
                  </a:lnTo>
                  <a:lnTo>
                    <a:pt x="111" y="27"/>
                  </a:lnTo>
                  <a:lnTo>
                    <a:pt x="111" y="25"/>
                  </a:lnTo>
                  <a:lnTo>
                    <a:pt x="113" y="20"/>
                  </a:lnTo>
                  <a:lnTo>
                    <a:pt x="114" y="17"/>
                  </a:lnTo>
                  <a:lnTo>
                    <a:pt x="119" y="11"/>
                  </a:lnTo>
                  <a:lnTo>
                    <a:pt x="120" y="7"/>
                  </a:lnTo>
                  <a:lnTo>
                    <a:pt x="122" y="3"/>
                  </a:lnTo>
                  <a:lnTo>
                    <a:pt x="123" y="0"/>
                  </a:lnTo>
                  <a:lnTo>
                    <a:pt x="124" y="0"/>
                  </a:lnTo>
                  <a:lnTo>
                    <a:pt x="127" y="0"/>
                  </a:lnTo>
                  <a:lnTo>
                    <a:pt x="127" y="2"/>
                  </a:lnTo>
                  <a:lnTo>
                    <a:pt x="127" y="5"/>
                  </a:lnTo>
                  <a:lnTo>
                    <a:pt x="127" y="7"/>
                  </a:lnTo>
                  <a:lnTo>
                    <a:pt x="128" y="7"/>
                  </a:lnTo>
                  <a:lnTo>
                    <a:pt x="131" y="6"/>
                  </a:lnTo>
                  <a:lnTo>
                    <a:pt x="133" y="3"/>
                  </a:lnTo>
                  <a:lnTo>
                    <a:pt x="136" y="2"/>
                  </a:lnTo>
                  <a:lnTo>
                    <a:pt x="137" y="1"/>
                  </a:lnTo>
                  <a:lnTo>
                    <a:pt x="138" y="2"/>
                  </a:lnTo>
                  <a:lnTo>
                    <a:pt x="141" y="3"/>
                  </a:lnTo>
                  <a:lnTo>
                    <a:pt x="141" y="6"/>
                  </a:lnTo>
                  <a:lnTo>
                    <a:pt x="141" y="11"/>
                  </a:lnTo>
                  <a:lnTo>
                    <a:pt x="142" y="14"/>
                  </a:lnTo>
                  <a:lnTo>
                    <a:pt x="144" y="15"/>
                  </a:lnTo>
                  <a:lnTo>
                    <a:pt x="147" y="17"/>
                  </a:lnTo>
                  <a:lnTo>
                    <a:pt x="150" y="18"/>
                  </a:lnTo>
                  <a:lnTo>
                    <a:pt x="151" y="22"/>
                  </a:lnTo>
                  <a:lnTo>
                    <a:pt x="153" y="25"/>
                  </a:lnTo>
                  <a:lnTo>
                    <a:pt x="160" y="30"/>
                  </a:lnTo>
                  <a:lnTo>
                    <a:pt x="167" y="33"/>
                  </a:lnTo>
                  <a:lnTo>
                    <a:pt x="175" y="37"/>
                  </a:lnTo>
                  <a:lnTo>
                    <a:pt x="175" y="39"/>
                  </a:lnTo>
                  <a:lnTo>
                    <a:pt x="174" y="40"/>
                  </a:lnTo>
                  <a:lnTo>
                    <a:pt x="167" y="41"/>
                  </a:lnTo>
                  <a:lnTo>
                    <a:pt x="162" y="44"/>
                  </a:lnTo>
                  <a:lnTo>
                    <a:pt x="158" y="45"/>
                  </a:lnTo>
                  <a:lnTo>
                    <a:pt x="157" y="45"/>
                  </a:lnTo>
                  <a:lnTo>
                    <a:pt x="156" y="46"/>
                  </a:lnTo>
                  <a:lnTo>
                    <a:pt x="157" y="50"/>
                  </a:lnTo>
                  <a:lnTo>
                    <a:pt x="160" y="52"/>
                  </a:lnTo>
                  <a:lnTo>
                    <a:pt x="161" y="56"/>
                  </a:lnTo>
                  <a:lnTo>
                    <a:pt x="160" y="57"/>
                  </a:lnTo>
                  <a:lnTo>
                    <a:pt x="155" y="58"/>
                  </a:lnTo>
                  <a:lnTo>
                    <a:pt x="148" y="57"/>
                  </a:lnTo>
                  <a:lnTo>
                    <a:pt x="136" y="54"/>
                  </a:lnTo>
                  <a:lnTo>
                    <a:pt x="134" y="56"/>
                  </a:lnTo>
                  <a:lnTo>
                    <a:pt x="134" y="57"/>
                  </a:lnTo>
                  <a:lnTo>
                    <a:pt x="127" y="54"/>
                  </a:lnTo>
                  <a:lnTo>
                    <a:pt x="119" y="54"/>
                  </a:lnTo>
                  <a:lnTo>
                    <a:pt x="117" y="54"/>
                  </a:lnTo>
                  <a:lnTo>
                    <a:pt x="113" y="56"/>
                  </a:lnTo>
                  <a:lnTo>
                    <a:pt x="110" y="57"/>
                  </a:lnTo>
                  <a:lnTo>
                    <a:pt x="108" y="60"/>
                  </a:lnTo>
                  <a:lnTo>
                    <a:pt x="104" y="66"/>
                  </a:lnTo>
                  <a:lnTo>
                    <a:pt x="101" y="75"/>
                  </a:lnTo>
                  <a:lnTo>
                    <a:pt x="96" y="81"/>
                  </a:lnTo>
                  <a:lnTo>
                    <a:pt x="94" y="84"/>
                  </a:lnTo>
                  <a:lnTo>
                    <a:pt x="91" y="86"/>
                  </a:lnTo>
                  <a:lnTo>
                    <a:pt x="84" y="96"/>
                  </a:lnTo>
                  <a:lnTo>
                    <a:pt x="77" y="103"/>
                  </a:lnTo>
                  <a:lnTo>
                    <a:pt x="75" y="104"/>
                  </a:lnTo>
                  <a:lnTo>
                    <a:pt x="72" y="105"/>
                  </a:lnTo>
                  <a:lnTo>
                    <a:pt x="57" y="105"/>
                  </a:lnTo>
                  <a:lnTo>
                    <a:pt x="53" y="107"/>
                  </a:lnTo>
                  <a:lnTo>
                    <a:pt x="51" y="107"/>
                  </a:lnTo>
                  <a:lnTo>
                    <a:pt x="44" y="111"/>
                  </a:lnTo>
                  <a:lnTo>
                    <a:pt x="33" y="118"/>
                  </a:lnTo>
                  <a:lnTo>
                    <a:pt x="24" y="123"/>
                  </a:lnTo>
                  <a:lnTo>
                    <a:pt x="20" y="124"/>
                  </a:lnTo>
                  <a:lnTo>
                    <a:pt x="16" y="124"/>
                  </a:lnTo>
                  <a:lnTo>
                    <a:pt x="14" y="123"/>
                  </a:lnTo>
                  <a:lnTo>
                    <a:pt x="10" y="122"/>
                  </a:lnTo>
                  <a:lnTo>
                    <a:pt x="6" y="117"/>
                  </a:lnTo>
                  <a:lnTo>
                    <a:pt x="0" y="107"/>
                  </a:lnTo>
                  <a:lnTo>
                    <a:pt x="5" y="108"/>
                  </a:lnTo>
                  <a:lnTo>
                    <a:pt x="10" y="109"/>
                  </a:lnTo>
                  <a:lnTo>
                    <a:pt x="15" y="110"/>
                  </a:lnTo>
                  <a:lnTo>
                    <a:pt x="17" y="110"/>
                  </a:lnTo>
                  <a:lnTo>
                    <a:pt x="19" y="109"/>
                  </a:lnTo>
                  <a:lnTo>
                    <a:pt x="30" y="101"/>
                  </a:lnTo>
                  <a:lnTo>
                    <a:pt x="39" y="91"/>
                  </a:lnTo>
                  <a:lnTo>
                    <a:pt x="49" y="83"/>
                  </a:lnTo>
                  <a:lnTo>
                    <a:pt x="61" y="76"/>
                  </a:lnTo>
                  <a:lnTo>
                    <a:pt x="64" y="73"/>
                  </a:lnTo>
                  <a:lnTo>
                    <a:pt x="68" y="69"/>
                  </a:lnTo>
                  <a:lnTo>
                    <a:pt x="72" y="65"/>
                  </a:lnTo>
                  <a:lnTo>
                    <a:pt x="73" y="6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7" name="Freeform 1096"/>
            <p:cNvSpPr>
              <a:spLocks/>
            </p:cNvSpPr>
            <p:nvPr/>
          </p:nvSpPr>
          <p:spPr bwMode="auto">
            <a:xfrm>
              <a:off x="7207252" y="4257675"/>
              <a:ext cx="26988" cy="28575"/>
            </a:xfrm>
            <a:custGeom>
              <a:avLst/>
              <a:gdLst>
                <a:gd name="T0" fmla="*/ 2147483647 w 19"/>
                <a:gd name="T1" fmla="*/ 2147483647 h 18"/>
                <a:gd name="T2" fmla="*/ 2147483647 w 19"/>
                <a:gd name="T3" fmla="*/ 2147483647 h 18"/>
                <a:gd name="T4" fmla="*/ 2147483647 w 19"/>
                <a:gd name="T5" fmla="*/ 2147483647 h 18"/>
                <a:gd name="T6" fmla="*/ 2147483647 w 19"/>
                <a:gd name="T7" fmla="*/ 2147483647 h 18"/>
                <a:gd name="T8" fmla="*/ 2147483647 w 19"/>
                <a:gd name="T9" fmla="*/ 2147483647 h 18"/>
                <a:gd name="T10" fmla="*/ 2147483647 w 19"/>
                <a:gd name="T11" fmla="*/ 2147483647 h 18"/>
                <a:gd name="T12" fmla="*/ 2147483647 w 19"/>
                <a:gd name="T13" fmla="*/ 2147483647 h 18"/>
                <a:gd name="T14" fmla="*/ 2147483647 w 19"/>
                <a:gd name="T15" fmla="*/ 2147483647 h 18"/>
                <a:gd name="T16" fmla="*/ 2147483647 w 19"/>
                <a:gd name="T17" fmla="*/ 2147483647 h 18"/>
                <a:gd name="T18" fmla="*/ 2147483647 w 19"/>
                <a:gd name="T19" fmla="*/ 2147483647 h 18"/>
                <a:gd name="T20" fmla="*/ 2147483647 w 19"/>
                <a:gd name="T21" fmla="*/ 0 h 18"/>
                <a:gd name="T22" fmla="*/ 2147483647 w 19"/>
                <a:gd name="T23" fmla="*/ 2147483647 h 18"/>
                <a:gd name="T24" fmla="*/ 2147483647 w 19"/>
                <a:gd name="T25" fmla="*/ 2147483647 h 18"/>
                <a:gd name="T26" fmla="*/ 0 w 19"/>
                <a:gd name="T27" fmla="*/ 2147483647 h 18"/>
                <a:gd name="T28" fmla="*/ 0 w 19"/>
                <a:gd name="T29" fmla="*/ 2147483647 h 18"/>
                <a:gd name="T30" fmla="*/ 2147483647 w 19"/>
                <a:gd name="T31" fmla="*/ 2147483647 h 18"/>
                <a:gd name="T32" fmla="*/ 2147483647 w 19"/>
                <a:gd name="T33" fmla="*/ 2147483647 h 18"/>
                <a:gd name="T34" fmla="*/ 2147483647 w 19"/>
                <a:gd name="T35" fmla="*/ 2147483647 h 18"/>
                <a:gd name="T36" fmla="*/ 2147483647 w 19"/>
                <a:gd name="T37" fmla="*/ 2147483647 h 18"/>
                <a:gd name="T38" fmla="*/ 2147483647 w 19"/>
                <a:gd name="T39" fmla="*/ 2147483647 h 18"/>
                <a:gd name="T40" fmla="*/ 2147483647 w 19"/>
                <a:gd name="T41" fmla="*/ 2147483647 h 18"/>
                <a:gd name="T42" fmla="*/ 2147483647 w 19"/>
                <a:gd name="T43" fmla="*/ 2147483647 h 18"/>
                <a:gd name="T44" fmla="*/ 2147483647 w 19"/>
                <a:gd name="T45" fmla="*/ 2147483647 h 18"/>
                <a:gd name="T46" fmla="*/ 2147483647 w 19"/>
                <a:gd name="T47" fmla="*/ 2147483647 h 18"/>
                <a:gd name="T48" fmla="*/ 2147483647 w 19"/>
                <a:gd name="T49" fmla="*/ 2147483647 h 18"/>
                <a:gd name="T50" fmla="*/ 2147483647 w 19"/>
                <a:gd name="T51" fmla="*/ 2147483647 h 18"/>
                <a:gd name="T52" fmla="*/ 2147483647 w 19"/>
                <a:gd name="T53" fmla="*/ 2147483647 h 18"/>
                <a:gd name="T54" fmla="*/ 2147483647 w 19"/>
                <a:gd name="T55" fmla="*/ 2147483647 h 18"/>
                <a:gd name="T56" fmla="*/ 2147483647 w 19"/>
                <a:gd name="T57" fmla="*/ 2147483647 h 18"/>
                <a:gd name="T58" fmla="*/ 2147483647 w 19"/>
                <a:gd name="T59" fmla="*/ 2147483647 h 18"/>
                <a:gd name="T60" fmla="*/ 2147483647 w 19"/>
                <a:gd name="T61" fmla="*/ 2147483647 h 18"/>
                <a:gd name="T62" fmla="*/ 2147483647 w 19"/>
                <a:gd name="T63" fmla="*/ 2147483647 h 18"/>
                <a:gd name="T64" fmla="*/ 2147483647 w 19"/>
                <a:gd name="T65" fmla="*/ 2147483647 h 18"/>
                <a:gd name="T66" fmla="*/ 2147483647 w 19"/>
                <a:gd name="T67" fmla="*/ 2147483647 h 18"/>
                <a:gd name="T68" fmla="*/ 2147483647 w 19"/>
                <a:gd name="T69" fmla="*/ 2147483647 h 18"/>
                <a:gd name="T70" fmla="*/ 2147483647 w 19"/>
                <a:gd name="T71" fmla="*/ 2147483647 h 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
                <a:gd name="T109" fmla="*/ 0 h 18"/>
                <a:gd name="T110" fmla="*/ 19 w 19"/>
                <a:gd name="T111" fmla="*/ 18 h 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 h="18">
                  <a:moveTo>
                    <a:pt x="15" y="4"/>
                  </a:moveTo>
                  <a:lnTo>
                    <a:pt x="15" y="4"/>
                  </a:lnTo>
                  <a:lnTo>
                    <a:pt x="14" y="6"/>
                  </a:lnTo>
                  <a:lnTo>
                    <a:pt x="12" y="6"/>
                  </a:lnTo>
                  <a:lnTo>
                    <a:pt x="9" y="4"/>
                  </a:lnTo>
                  <a:lnTo>
                    <a:pt x="8" y="3"/>
                  </a:lnTo>
                  <a:lnTo>
                    <a:pt x="6" y="2"/>
                  </a:lnTo>
                  <a:lnTo>
                    <a:pt x="5" y="1"/>
                  </a:lnTo>
                  <a:lnTo>
                    <a:pt x="4" y="0"/>
                  </a:lnTo>
                  <a:lnTo>
                    <a:pt x="3" y="1"/>
                  </a:lnTo>
                  <a:lnTo>
                    <a:pt x="0" y="9"/>
                  </a:lnTo>
                  <a:lnTo>
                    <a:pt x="3" y="10"/>
                  </a:lnTo>
                  <a:lnTo>
                    <a:pt x="3" y="12"/>
                  </a:lnTo>
                  <a:lnTo>
                    <a:pt x="4" y="15"/>
                  </a:lnTo>
                  <a:lnTo>
                    <a:pt x="5" y="18"/>
                  </a:lnTo>
                  <a:lnTo>
                    <a:pt x="8" y="18"/>
                  </a:lnTo>
                  <a:lnTo>
                    <a:pt x="9" y="16"/>
                  </a:lnTo>
                  <a:lnTo>
                    <a:pt x="10" y="15"/>
                  </a:lnTo>
                  <a:lnTo>
                    <a:pt x="13" y="13"/>
                  </a:lnTo>
                  <a:lnTo>
                    <a:pt x="14" y="13"/>
                  </a:lnTo>
                  <a:lnTo>
                    <a:pt x="17" y="15"/>
                  </a:lnTo>
                  <a:lnTo>
                    <a:pt x="18" y="16"/>
                  </a:lnTo>
                  <a:lnTo>
                    <a:pt x="19" y="14"/>
                  </a:lnTo>
                  <a:lnTo>
                    <a:pt x="19" y="10"/>
                  </a:lnTo>
                  <a:lnTo>
                    <a:pt x="1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8" name="Freeform 1097"/>
            <p:cNvSpPr>
              <a:spLocks/>
            </p:cNvSpPr>
            <p:nvPr/>
          </p:nvSpPr>
          <p:spPr bwMode="auto">
            <a:xfrm>
              <a:off x="7097713" y="4176714"/>
              <a:ext cx="258762" cy="196850"/>
            </a:xfrm>
            <a:custGeom>
              <a:avLst/>
              <a:gdLst>
                <a:gd name="T0" fmla="*/ 2147483647 w 176"/>
                <a:gd name="T1" fmla="*/ 2147483647 h 124"/>
                <a:gd name="T2" fmla="*/ 2147483647 w 176"/>
                <a:gd name="T3" fmla="*/ 2147483647 h 124"/>
                <a:gd name="T4" fmla="*/ 2147483647 w 176"/>
                <a:gd name="T5" fmla="*/ 2147483647 h 124"/>
                <a:gd name="T6" fmla="*/ 2147483647 w 176"/>
                <a:gd name="T7" fmla="*/ 2147483647 h 124"/>
                <a:gd name="T8" fmla="*/ 2147483647 w 176"/>
                <a:gd name="T9" fmla="*/ 2147483647 h 124"/>
                <a:gd name="T10" fmla="*/ 2147483647 w 176"/>
                <a:gd name="T11" fmla="*/ 2147483647 h 124"/>
                <a:gd name="T12" fmla="*/ 2147483647 w 176"/>
                <a:gd name="T13" fmla="*/ 2147483647 h 124"/>
                <a:gd name="T14" fmla="*/ 2147483647 w 176"/>
                <a:gd name="T15" fmla="*/ 2147483647 h 124"/>
                <a:gd name="T16" fmla="*/ 2147483647 w 176"/>
                <a:gd name="T17" fmla="*/ 2147483647 h 124"/>
                <a:gd name="T18" fmla="*/ 2147483647 w 176"/>
                <a:gd name="T19" fmla="*/ 2147483647 h 124"/>
                <a:gd name="T20" fmla="*/ 2147483647 w 176"/>
                <a:gd name="T21" fmla="*/ 2147483647 h 124"/>
                <a:gd name="T22" fmla="*/ 2147483647 w 176"/>
                <a:gd name="T23" fmla="*/ 2147483647 h 124"/>
                <a:gd name="T24" fmla="*/ 2147483647 w 176"/>
                <a:gd name="T25" fmla="*/ 2147483647 h 124"/>
                <a:gd name="T26" fmla="*/ 2147483647 w 176"/>
                <a:gd name="T27" fmla="*/ 2147483647 h 124"/>
                <a:gd name="T28" fmla="*/ 2147483647 w 176"/>
                <a:gd name="T29" fmla="*/ 2147483647 h 124"/>
                <a:gd name="T30" fmla="*/ 2147483647 w 176"/>
                <a:gd name="T31" fmla="*/ 2147483647 h 124"/>
                <a:gd name="T32" fmla="*/ 2147483647 w 176"/>
                <a:gd name="T33" fmla="*/ 2147483647 h 124"/>
                <a:gd name="T34" fmla="*/ 2147483647 w 176"/>
                <a:gd name="T35" fmla="*/ 0 h 124"/>
                <a:gd name="T36" fmla="*/ 2147483647 w 176"/>
                <a:gd name="T37" fmla="*/ 2147483647 h 124"/>
                <a:gd name="T38" fmla="*/ 2147483647 w 176"/>
                <a:gd name="T39" fmla="*/ 2147483647 h 124"/>
                <a:gd name="T40" fmla="*/ 2147483647 w 176"/>
                <a:gd name="T41" fmla="*/ 2147483647 h 124"/>
                <a:gd name="T42" fmla="*/ 2147483647 w 176"/>
                <a:gd name="T43" fmla="*/ 2147483647 h 124"/>
                <a:gd name="T44" fmla="*/ 2147483647 w 176"/>
                <a:gd name="T45" fmla="*/ 2147483647 h 124"/>
                <a:gd name="T46" fmla="*/ 2147483647 w 176"/>
                <a:gd name="T47" fmla="*/ 2147483647 h 124"/>
                <a:gd name="T48" fmla="*/ 2147483647 w 176"/>
                <a:gd name="T49" fmla="*/ 2147483647 h 124"/>
                <a:gd name="T50" fmla="*/ 2147483647 w 176"/>
                <a:gd name="T51" fmla="*/ 2147483647 h 124"/>
                <a:gd name="T52" fmla="*/ 2147483647 w 176"/>
                <a:gd name="T53" fmla="*/ 2147483647 h 124"/>
                <a:gd name="T54" fmla="*/ 2147483647 w 176"/>
                <a:gd name="T55" fmla="*/ 2147483647 h 124"/>
                <a:gd name="T56" fmla="*/ 2147483647 w 176"/>
                <a:gd name="T57" fmla="*/ 2147483647 h 124"/>
                <a:gd name="T58" fmla="*/ 2147483647 w 176"/>
                <a:gd name="T59" fmla="*/ 2147483647 h 124"/>
                <a:gd name="T60" fmla="*/ 2147483647 w 176"/>
                <a:gd name="T61" fmla="*/ 2147483647 h 124"/>
                <a:gd name="T62" fmla="*/ 2147483647 w 176"/>
                <a:gd name="T63" fmla="*/ 2147483647 h 124"/>
                <a:gd name="T64" fmla="*/ 2147483647 w 176"/>
                <a:gd name="T65" fmla="*/ 2147483647 h 124"/>
                <a:gd name="T66" fmla="*/ 2147483647 w 176"/>
                <a:gd name="T67" fmla="*/ 2147483647 h 124"/>
                <a:gd name="T68" fmla="*/ 2147483647 w 176"/>
                <a:gd name="T69" fmla="*/ 2147483647 h 124"/>
                <a:gd name="T70" fmla="*/ 2147483647 w 176"/>
                <a:gd name="T71" fmla="*/ 2147483647 h 124"/>
                <a:gd name="T72" fmla="*/ 2147483647 w 176"/>
                <a:gd name="T73" fmla="*/ 2147483647 h 124"/>
                <a:gd name="T74" fmla="*/ 2147483647 w 176"/>
                <a:gd name="T75" fmla="*/ 2147483647 h 124"/>
                <a:gd name="T76" fmla="*/ 2147483647 w 176"/>
                <a:gd name="T77" fmla="*/ 2147483647 h 124"/>
                <a:gd name="T78" fmla="*/ 2147483647 w 176"/>
                <a:gd name="T79" fmla="*/ 2147483647 h 124"/>
                <a:gd name="T80" fmla="*/ 2147483647 w 176"/>
                <a:gd name="T81" fmla="*/ 2147483647 h 124"/>
                <a:gd name="T82" fmla="*/ 2147483647 w 176"/>
                <a:gd name="T83" fmla="*/ 2147483647 h 124"/>
                <a:gd name="T84" fmla="*/ 2147483647 w 176"/>
                <a:gd name="T85" fmla="*/ 2147483647 h 124"/>
                <a:gd name="T86" fmla="*/ 2147483647 w 176"/>
                <a:gd name="T87" fmla="*/ 2147483647 h 124"/>
                <a:gd name="T88" fmla="*/ 2147483647 w 176"/>
                <a:gd name="T89" fmla="*/ 2147483647 h 124"/>
                <a:gd name="T90" fmla="*/ 0 w 176"/>
                <a:gd name="T91" fmla="*/ 2147483647 h 124"/>
                <a:gd name="T92" fmla="*/ 2147483647 w 176"/>
                <a:gd name="T93" fmla="*/ 2147483647 h 124"/>
                <a:gd name="T94" fmla="*/ 2147483647 w 176"/>
                <a:gd name="T95" fmla="*/ 2147483647 h 124"/>
                <a:gd name="T96" fmla="*/ 2147483647 w 176"/>
                <a:gd name="T97" fmla="*/ 2147483647 h 124"/>
                <a:gd name="T98" fmla="*/ 2147483647 w 176"/>
                <a:gd name="T99" fmla="*/ 2147483647 h 124"/>
                <a:gd name="T100" fmla="*/ 2147483647 w 176"/>
                <a:gd name="T101" fmla="*/ 2147483647 h 1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6"/>
                <a:gd name="T154" fmla="*/ 0 h 124"/>
                <a:gd name="T155" fmla="*/ 176 w 176"/>
                <a:gd name="T156" fmla="*/ 124 h 1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6" h="124">
                  <a:moveTo>
                    <a:pt x="74" y="60"/>
                  </a:moveTo>
                  <a:lnTo>
                    <a:pt x="74" y="60"/>
                  </a:lnTo>
                  <a:lnTo>
                    <a:pt x="77" y="61"/>
                  </a:lnTo>
                  <a:lnTo>
                    <a:pt x="77" y="63"/>
                  </a:lnTo>
                  <a:lnTo>
                    <a:pt x="78" y="66"/>
                  </a:lnTo>
                  <a:lnTo>
                    <a:pt x="79" y="69"/>
                  </a:lnTo>
                  <a:lnTo>
                    <a:pt x="82" y="69"/>
                  </a:lnTo>
                  <a:lnTo>
                    <a:pt x="83" y="67"/>
                  </a:lnTo>
                  <a:lnTo>
                    <a:pt x="84" y="66"/>
                  </a:lnTo>
                  <a:lnTo>
                    <a:pt x="87" y="64"/>
                  </a:lnTo>
                  <a:lnTo>
                    <a:pt x="88" y="64"/>
                  </a:lnTo>
                  <a:lnTo>
                    <a:pt x="91" y="66"/>
                  </a:lnTo>
                  <a:lnTo>
                    <a:pt x="92" y="67"/>
                  </a:lnTo>
                  <a:lnTo>
                    <a:pt x="93" y="65"/>
                  </a:lnTo>
                  <a:lnTo>
                    <a:pt x="93" y="61"/>
                  </a:lnTo>
                  <a:lnTo>
                    <a:pt x="89" y="55"/>
                  </a:lnTo>
                  <a:lnTo>
                    <a:pt x="91" y="53"/>
                  </a:lnTo>
                  <a:lnTo>
                    <a:pt x="91" y="51"/>
                  </a:lnTo>
                  <a:lnTo>
                    <a:pt x="93" y="50"/>
                  </a:lnTo>
                  <a:lnTo>
                    <a:pt x="94" y="50"/>
                  </a:lnTo>
                  <a:lnTo>
                    <a:pt x="97" y="51"/>
                  </a:lnTo>
                  <a:lnTo>
                    <a:pt x="98" y="52"/>
                  </a:lnTo>
                  <a:lnTo>
                    <a:pt x="98" y="47"/>
                  </a:lnTo>
                  <a:lnTo>
                    <a:pt x="101" y="44"/>
                  </a:lnTo>
                  <a:lnTo>
                    <a:pt x="103" y="41"/>
                  </a:lnTo>
                  <a:lnTo>
                    <a:pt x="106" y="38"/>
                  </a:lnTo>
                  <a:lnTo>
                    <a:pt x="106" y="37"/>
                  </a:lnTo>
                  <a:lnTo>
                    <a:pt x="105" y="34"/>
                  </a:lnTo>
                  <a:lnTo>
                    <a:pt x="103" y="33"/>
                  </a:lnTo>
                  <a:lnTo>
                    <a:pt x="103" y="31"/>
                  </a:lnTo>
                  <a:lnTo>
                    <a:pt x="106" y="29"/>
                  </a:lnTo>
                  <a:lnTo>
                    <a:pt x="110" y="28"/>
                  </a:lnTo>
                  <a:lnTo>
                    <a:pt x="112" y="27"/>
                  </a:lnTo>
                  <a:lnTo>
                    <a:pt x="112" y="25"/>
                  </a:lnTo>
                  <a:lnTo>
                    <a:pt x="113" y="20"/>
                  </a:lnTo>
                  <a:lnTo>
                    <a:pt x="115" y="16"/>
                  </a:lnTo>
                  <a:lnTo>
                    <a:pt x="120" y="10"/>
                  </a:lnTo>
                  <a:lnTo>
                    <a:pt x="121" y="7"/>
                  </a:lnTo>
                  <a:lnTo>
                    <a:pt x="122" y="3"/>
                  </a:lnTo>
                  <a:lnTo>
                    <a:pt x="124" y="0"/>
                  </a:lnTo>
                  <a:lnTo>
                    <a:pt x="125" y="0"/>
                  </a:lnTo>
                  <a:lnTo>
                    <a:pt x="127" y="0"/>
                  </a:lnTo>
                  <a:lnTo>
                    <a:pt x="127" y="2"/>
                  </a:lnTo>
                  <a:lnTo>
                    <a:pt x="127" y="4"/>
                  </a:lnTo>
                  <a:lnTo>
                    <a:pt x="127" y="7"/>
                  </a:lnTo>
                  <a:lnTo>
                    <a:pt x="129" y="7"/>
                  </a:lnTo>
                  <a:lnTo>
                    <a:pt x="131" y="6"/>
                  </a:lnTo>
                  <a:lnTo>
                    <a:pt x="134" y="3"/>
                  </a:lnTo>
                  <a:lnTo>
                    <a:pt x="136" y="2"/>
                  </a:lnTo>
                  <a:lnTo>
                    <a:pt x="138" y="1"/>
                  </a:lnTo>
                  <a:lnTo>
                    <a:pt x="139" y="2"/>
                  </a:lnTo>
                  <a:lnTo>
                    <a:pt x="141" y="3"/>
                  </a:lnTo>
                  <a:lnTo>
                    <a:pt x="141" y="6"/>
                  </a:lnTo>
                  <a:lnTo>
                    <a:pt x="141" y="10"/>
                  </a:lnTo>
                  <a:lnTo>
                    <a:pt x="143" y="14"/>
                  </a:lnTo>
                  <a:lnTo>
                    <a:pt x="145" y="15"/>
                  </a:lnTo>
                  <a:lnTo>
                    <a:pt x="148" y="16"/>
                  </a:lnTo>
                  <a:lnTo>
                    <a:pt x="150" y="18"/>
                  </a:lnTo>
                  <a:lnTo>
                    <a:pt x="152" y="22"/>
                  </a:lnTo>
                  <a:lnTo>
                    <a:pt x="154" y="25"/>
                  </a:lnTo>
                  <a:lnTo>
                    <a:pt x="160" y="29"/>
                  </a:lnTo>
                  <a:lnTo>
                    <a:pt x="168" y="33"/>
                  </a:lnTo>
                  <a:lnTo>
                    <a:pt x="176" y="37"/>
                  </a:lnTo>
                  <a:lnTo>
                    <a:pt x="176" y="39"/>
                  </a:lnTo>
                  <a:lnTo>
                    <a:pt x="174" y="40"/>
                  </a:lnTo>
                  <a:lnTo>
                    <a:pt x="168" y="41"/>
                  </a:lnTo>
                  <a:lnTo>
                    <a:pt x="163" y="44"/>
                  </a:lnTo>
                  <a:lnTo>
                    <a:pt x="159" y="45"/>
                  </a:lnTo>
                  <a:lnTo>
                    <a:pt x="158" y="45"/>
                  </a:lnTo>
                  <a:lnTo>
                    <a:pt x="157" y="46"/>
                  </a:lnTo>
                  <a:lnTo>
                    <a:pt x="158" y="50"/>
                  </a:lnTo>
                  <a:lnTo>
                    <a:pt x="160" y="52"/>
                  </a:lnTo>
                  <a:lnTo>
                    <a:pt x="162" y="55"/>
                  </a:lnTo>
                  <a:lnTo>
                    <a:pt x="160" y="57"/>
                  </a:lnTo>
                  <a:lnTo>
                    <a:pt x="155" y="58"/>
                  </a:lnTo>
                  <a:lnTo>
                    <a:pt x="149" y="57"/>
                  </a:lnTo>
                  <a:lnTo>
                    <a:pt x="136" y="54"/>
                  </a:lnTo>
                  <a:lnTo>
                    <a:pt x="135" y="55"/>
                  </a:lnTo>
                  <a:lnTo>
                    <a:pt x="135" y="57"/>
                  </a:lnTo>
                  <a:lnTo>
                    <a:pt x="127" y="54"/>
                  </a:lnTo>
                  <a:lnTo>
                    <a:pt x="120" y="54"/>
                  </a:lnTo>
                  <a:lnTo>
                    <a:pt x="117" y="54"/>
                  </a:lnTo>
                  <a:lnTo>
                    <a:pt x="113" y="55"/>
                  </a:lnTo>
                  <a:lnTo>
                    <a:pt x="111" y="57"/>
                  </a:lnTo>
                  <a:lnTo>
                    <a:pt x="108" y="60"/>
                  </a:lnTo>
                  <a:lnTo>
                    <a:pt x="105" y="66"/>
                  </a:lnTo>
                  <a:lnTo>
                    <a:pt x="102" y="74"/>
                  </a:lnTo>
                  <a:lnTo>
                    <a:pt x="97" y="80"/>
                  </a:lnTo>
                  <a:lnTo>
                    <a:pt x="94" y="84"/>
                  </a:lnTo>
                  <a:lnTo>
                    <a:pt x="92" y="86"/>
                  </a:lnTo>
                  <a:lnTo>
                    <a:pt x="84" y="96"/>
                  </a:lnTo>
                  <a:lnTo>
                    <a:pt x="78" y="103"/>
                  </a:lnTo>
                  <a:lnTo>
                    <a:pt x="75" y="104"/>
                  </a:lnTo>
                  <a:lnTo>
                    <a:pt x="73" y="105"/>
                  </a:lnTo>
                  <a:lnTo>
                    <a:pt x="58" y="105"/>
                  </a:lnTo>
                  <a:lnTo>
                    <a:pt x="54" y="106"/>
                  </a:lnTo>
                  <a:lnTo>
                    <a:pt x="51" y="106"/>
                  </a:lnTo>
                  <a:lnTo>
                    <a:pt x="45" y="111"/>
                  </a:lnTo>
                  <a:lnTo>
                    <a:pt x="33" y="118"/>
                  </a:lnTo>
                  <a:lnTo>
                    <a:pt x="25" y="123"/>
                  </a:lnTo>
                  <a:lnTo>
                    <a:pt x="21" y="124"/>
                  </a:lnTo>
                  <a:lnTo>
                    <a:pt x="17" y="124"/>
                  </a:lnTo>
                  <a:lnTo>
                    <a:pt x="14" y="123"/>
                  </a:lnTo>
                  <a:lnTo>
                    <a:pt x="11" y="122"/>
                  </a:lnTo>
                  <a:lnTo>
                    <a:pt x="7" y="117"/>
                  </a:lnTo>
                  <a:lnTo>
                    <a:pt x="0" y="106"/>
                  </a:lnTo>
                  <a:lnTo>
                    <a:pt x="6" y="108"/>
                  </a:lnTo>
                  <a:lnTo>
                    <a:pt x="11" y="109"/>
                  </a:lnTo>
                  <a:lnTo>
                    <a:pt x="16" y="110"/>
                  </a:lnTo>
                  <a:lnTo>
                    <a:pt x="18" y="110"/>
                  </a:lnTo>
                  <a:lnTo>
                    <a:pt x="19" y="109"/>
                  </a:lnTo>
                  <a:lnTo>
                    <a:pt x="31" y="101"/>
                  </a:lnTo>
                  <a:lnTo>
                    <a:pt x="40" y="91"/>
                  </a:lnTo>
                  <a:lnTo>
                    <a:pt x="50" y="83"/>
                  </a:lnTo>
                  <a:lnTo>
                    <a:pt x="61" y="76"/>
                  </a:lnTo>
                  <a:lnTo>
                    <a:pt x="65" y="73"/>
                  </a:lnTo>
                  <a:lnTo>
                    <a:pt x="69" y="69"/>
                  </a:lnTo>
                  <a:lnTo>
                    <a:pt x="73" y="65"/>
                  </a:lnTo>
                  <a:lnTo>
                    <a:pt x="74" y="6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099" name="Freeform 1098"/>
            <p:cNvSpPr>
              <a:spLocks/>
            </p:cNvSpPr>
            <p:nvPr/>
          </p:nvSpPr>
          <p:spPr bwMode="auto">
            <a:xfrm>
              <a:off x="4716465" y="2549528"/>
              <a:ext cx="9525" cy="14288"/>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0 w 6"/>
                <a:gd name="T11" fmla="*/ 2147483647 h 9"/>
                <a:gd name="T12" fmla="*/ 2147483647 w 6"/>
                <a:gd name="T13" fmla="*/ 0 h 9"/>
                <a:gd name="T14" fmla="*/ 2147483647 w 6"/>
                <a:gd name="T15" fmla="*/ 0 h 9"/>
                <a:gd name="T16" fmla="*/ 2147483647 w 6"/>
                <a:gd name="T17" fmla="*/ 2147483647 h 9"/>
                <a:gd name="T18" fmla="*/ 2147483647 w 6"/>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9"/>
                <a:gd name="T32" fmla="*/ 6 w 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9">
                  <a:moveTo>
                    <a:pt x="6" y="6"/>
                  </a:moveTo>
                  <a:lnTo>
                    <a:pt x="5" y="9"/>
                  </a:lnTo>
                  <a:lnTo>
                    <a:pt x="4" y="9"/>
                  </a:lnTo>
                  <a:lnTo>
                    <a:pt x="3" y="9"/>
                  </a:lnTo>
                  <a:lnTo>
                    <a:pt x="1" y="6"/>
                  </a:lnTo>
                  <a:lnTo>
                    <a:pt x="0" y="5"/>
                  </a:lnTo>
                  <a:lnTo>
                    <a:pt x="1" y="0"/>
                  </a:lnTo>
                  <a:lnTo>
                    <a:pt x="3" y="0"/>
                  </a:lnTo>
                  <a:lnTo>
                    <a:pt x="5" y="3"/>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0" name="Freeform 1099"/>
            <p:cNvSpPr>
              <a:spLocks/>
            </p:cNvSpPr>
            <p:nvPr/>
          </p:nvSpPr>
          <p:spPr bwMode="auto">
            <a:xfrm>
              <a:off x="4559303" y="3021016"/>
              <a:ext cx="23813" cy="55562"/>
            </a:xfrm>
            <a:custGeom>
              <a:avLst/>
              <a:gdLst>
                <a:gd name="T0" fmla="*/ 2147483647 w 17"/>
                <a:gd name="T1" fmla="*/ 2147483647 h 35"/>
                <a:gd name="T2" fmla="*/ 2147483647 w 17"/>
                <a:gd name="T3" fmla="*/ 2147483647 h 35"/>
                <a:gd name="T4" fmla="*/ 2147483647 w 17"/>
                <a:gd name="T5" fmla="*/ 2147483647 h 35"/>
                <a:gd name="T6" fmla="*/ 2147483647 w 17"/>
                <a:gd name="T7" fmla="*/ 2147483647 h 35"/>
                <a:gd name="T8" fmla="*/ 2147483647 w 17"/>
                <a:gd name="T9" fmla="*/ 2147483647 h 35"/>
                <a:gd name="T10" fmla="*/ 2147483647 w 17"/>
                <a:gd name="T11" fmla="*/ 0 h 35"/>
                <a:gd name="T12" fmla="*/ 2147483647 w 17"/>
                <a:gd name="T13" fmla="*/ 0 h 35"/>
                <a:gd name="T14" fmla="*/ 2147483647 w 17"/>
                <a:gd name="T15" fmla="*/ 2147483647 h 35"/>
                <a:gd name="T16" fmla="*/ 2147483647 w 17"/>
                <a:gd name="T17" fmla="*/ 2147483647 h 35"/>
                <a:gd name="T18" fmla="*/ 2147483647 w 17"/>
                <a:gd name="T19" fmla="*/ 2147483647 h 35"/>
                <a:gd name="T20" fmla="*/ 2147483647 w 17"/>
                <a:gd name="T21" fmla="*/ 2147483647 h 35"/>
                <a:gd name="T22" fmla="*/ 2147483647 w 17"/>
                <a:gd name="T23" fmla="*/ 2147483647 h 35"/>
                <a:gd name="T24" fmla="*/ 2147483647 w 17"/>
                <a:gd name="T25" fmla="*/ 2147483647 h 35"/>
                <a:gd name="T26" fmla="*/ 0 w 17"/>
                <a:gd name="T27" fmla="*/ 2147483647 h 35"/>
                <a:gd name="T28" fmla="*/ 0 w 17"/>
                <a:gd name="T29" fmla="*/ 2147483647 h 35"/>
                <a:gd name="T30" fmla="*/ 2147483647 w 17"/>
                <a:gd name="T31" fmla="*/ 2147483647 h 35"/>
                <a:gd name="T32" fmla="*/ 2147483647 w 17"/>
                <a:gd name="T33" fmla="*/ 2147483647 h 35"/>
                <a:gd name="T34" fmla="*/ 2147483647 w 17"/>
                <a:gd name="T35" fmla="*/ 2147483647 h 35"/>
                <a:gd name="T36" fmla="*/ 2147483647 w 17"/>
                <a:gd name="T37" fmla="*/ 2147483647 h 35"/>
                <a:gd name="T38" fmla="*/ 2147483647 w 17"/>
                <a:gd name="T39" fmla="*/ 2147483647 h 35"/>
                <a:gd name="T40" fmla="*/ 2147483647 w 17"/>
                <a:gd name="T41" fmla="*/ 2147483647 h 35"/>
                <a:gd name="T42" fmla="*/ 2147483647 w 17"/>
                <a:gd name="T43" fmla="*/ 2147483647 h 35"/>
                <a:gd name="T44" fmla="*/ 2147483647 w 17"/>
                <a:gd name="T45" fmla="*/ 2147483647 h 35"/>
                <a:gd name="T46" fmla="*/ 2147483647 w 17"/>
                <a:gd name="T47" fmla="*/ 2147483647 h 35"/>
                <a:gd name="T48" fmla="*/ 2147483647 w 17"/>
                <a:gd name="T49" fmla="*/ 2147483647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
                <a:gd name="T76" fmla="*/ 0 h 35"/>
                <a:gd name="T77" fmla="*/ 17 w 17"/>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 h="35">
                  <a:moveTo>
                    <a:pt x="14" y="10"/>
                  </a:moveTo>
                  <a:lnTo>
                    <a:pt x="13" y="9"/>
                  </a:lnTo>
                  <a:lnTo>
                    <a:pt x="14" y="7"/>
                  </a:lnTo>
                  <a:lnTo>
                    <a:pt x="17" y="3"/>
                  </a:lnTo>
                  <a:lnTo>
                    <a:pt x="17" y="2"/>
                  </a:lnTo>
                  <a:lnTo>
                    <a:pt x="15" y="0"/>
                  </a:lnTo>
                  <a:lnTo>
                    <a:pt x="14" y="0"/>
                  </a:lnTo>
                  <a:lnTo>
                    <a:pt x="13" y="1"/>
                  </a:lnTo>
                  <a:lnTo>
                    <a:pt x="12" y="3"/>
                  </a:lnTo>
                  <a:lnTo>
                    <a:pt x="9" y="3"/>
                  </a:lnTo>
                  <a:lnTo>
                    <a:pt x="6" y="5"/>
                  </a:lnTo>
                  <a:lnTo>
                    <a:pt x="4" y="6"/>
                  </a:lnTo>
                  <a:lnTo>
                    <a:pt x="1" y="8"/>
                  </a:lnTo>
                  <a:lnTo>
                    <a:pt x="0" y="10"/>
                  </a:lnTo>
                  <a:lnTo>
                    <a:pt x="0" y="18"/>
                  </a:lnTo>
                  <a:lnTo>
                    <a:pt x="1" y="25"/>
                  </a:lnTo>
                  <a:lnTo>
                    <a:pt x="5" y="32"/>
                  </a:lnTo>
                  <a:lnTo>
                    <a:pt x="8" y="34"/>
                  </a:lnTo>
                  <a:lnTo>
                    <a:pt x="10" y="35"/>
                  </a:lnTo>
                  <a:lnTo>
                    <a:pt x="13" y="29"/>
                  </a:lnTo>
                  <a:lnTo>
                    <a:pt x="15" y="24"/>
                  </a:lnTo>
                  <a:lnTo>
                    <a:pt x="15" y="21"/>
                  </a:lnTo>
                  <a:lnTo>
                    <a:pt x="15" y="18"/>
                  </a:lnTo>
                  <a:lnTo>
                    <a:pt x="14" y="14"/>
                  </a:lnTo>
                  <a:lnTo>
                    <a:pt x="14"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1" name="Freeform 1100"/>
            <p:cNvSpPr>
              <a:spLocks/>
            </p:cNvSpPr>
            <p:nvPr/>
          </p:nvSpPr>
          <p:spPr bwMode="auto">
            <a:xfrm>
              <a:off x="4714877" y="2547939"/>
              <a:ext cx="9525" cy="14288"/>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0 w 6"/>
                <a:gd name="T15" fmla="*/ 2147483647 h 9"/>
                <a:gd name="T16" fmla="*/ 2147483647 w 6"/>
                <a:gd name="T17" fmla="*/ 0 h 9"/>
                <a:gd name="T18" fmla="*/ 2147483647 w 6"/>
                <a:gd name="T19" fmla="*/ 0 h 9"/>
                <a:gd name="T20" fmla="*/ 2147483647 w 6"/>
                <a:gd name="T21" fmla="*/ 0 h 9"/>
                <a:gd name="T22" fmla="*/ 2147483647 w 6"/>
                <a:gd name="T23" fmla="*/ 2147483647 h 9"/>
                <a:gd name="T24" fmla="*/ 2147483647 w 6"/>
                <a:gd name="T25" fmla="*/ 2147483647 h 9"/>
                <a:gd name="T26" fmla="*/ 2147483647 w 6"/>
                <a:gd name="T27" fmla="*/ 2147483647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9"/>
                <a:gd name="T44" fmla="*/ 6 w 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9">
                  <a:moveTo>
                    <a:pt x="6" y="6"/>
                  </a:moveTo>
                  <a:lnTo>
                    <a:pt x="6" y="6"/>
                  </a:lnTo>
                  <a:lnTo>
                    <a:pt x="5" y="9"/>
                  </a:lnTo>
                  <a:lnTo>
                    <a:pt x="4" y="9"/>
                  </a:lnTo>
                  <a:lnTo>
                    <a:pt x="2" y="9"/>
                  </a:lnTo>
                  <a:lnTo>
                    <a:pt x="1" y="6"/>
                  </a:lnTo>
                  <a:lnTo>
                    <a:pt x="0" y="5"/>
                  </a:lnTo>
                  <a:lnTo>
                    <a:pt x="1" y="0"/>
                  </a:lnTo>
                  <a:lnTo>
                    <a:pt x="2" y="0"/>
                  </a:lnTo>
                  <a:lnTo>
                    <a:pt x="5" y="3"/>
                  </a:lnTo>
                  <a:lnTo>
                    <a:pt x="6"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2" name="Freeform 1101"/>
            <p:cNvSpPr>
              <a:spLocks/>
            </p:cNvSpPr>
            <p:nvPr/>
          </p:nvSpPr>
          <p:spPr bwMode="auto">
            <a:xfrm>
              <a:off x="4557714" y="3019427"/>
              <a:ext cx="23812" cy="55563"/>
            </a:xfrm>
            <a:custGeom>
              <a:avLst/>
              <a:gdLst>
                <a:gd name="T0" fmla="*/ 2147483647 w 16"/>
                <a:gd name="T1" fmla="*/ 2147483647 h 35"/>
                <a:gd name="T2" fmla="*/ 2147483647 w 16"/>
                <a:gd name="T3" fmla="*/ 2147483647 h 35"/>
                <a:gd name="T4" fmla="*/ 2147483647 w 16"/>
                <a:gd name="T5" fmla="*/ 2147483647 h 35"/>
                <a:gd name="T6" fmla="*/ 2147483647 w 16"/>
                <a:gd name="T7" fmla="*/ 2147483647 h 35"/>
                <a:gd name="T8" fmla="*/ 2147483647 w 16"/>
                <a:gd name="T9" fmla="*/ 2147483647 h 35"/>
                <a:gd name="T10" fmla="*/ 2147483647 w 16"/>
                <a:gd name="T11" fmla="*/ 2147483647 h 35"/>
                <a:gd name="T12" fmla="*/ 2147483647 w 16"/>
                <a:gd name="T13" fmla="*/ 2147483647 h 35"/>
                <a:gd name="T14" fmla="*/ 2147483647 w 16"/>
                <a:gd name="T15" fmla="*/ 0 h 35"/>
                <a:gd name="T16" fmla="*/ 2147483647 w 16"/>
                <a:gd name="T17" fmla="*/ 0 h 35"/>
                <a:gd name="T18" fmla="*/ 2147483647 w 16"/>
                <a:gd name="T19" fmla="*/ 0 h 35"/>
                <a:gd name="T20" fmla="*/ 2147483647 w 16"/>
                <a:gd name="T21" fmla="*/ 2147483647 h 35"/>
                <a:gd name="T22" fmla="*/ 2147483647 w 16"/>
                <a:gd name="T23" fmla="*/ 2147483647 h 35"/>
                <a:gd name="T24" fmla="*/ 2147483647 w 16"/>
                <a:gd name="T25" fmla="*/ 2147483647 h 35"/>
                <a:gd name="T26" fmla="*/ 2147483647 w 16"/>
                <a:gd name="T27" fmla="*/ 2147483647 h 35"/>
                <a:gd name="T28" fmla="*/ 2147483647 w 16"/>
                <a:gd name="T29" fmla="*/ 2147483647 h 35"/>
                <a:gd name="T30" fmla="*/ 2147483647 w 16"/>
                <a:gd name="T31" fmla="*/ 2147483647 h 35"/>
                <a:gd name="T32" fmla="*/ 2147483647 w 16"/>
                <a:gd name="T33" fmla="*/ 2147483647 h 35"/>
                <a:gd name="T34" fmla="*/ 0 w 16"/>
                <a:gd name="T35" fmla="*/ 2147483647 h 35"/>
                <a:gd name="T36" fmla="*/ 0 w 16"/>
                <a:gd name="T37" fmla="*/ 2147483647 h 35"/>
                <a:gd name="T38" fmla="*/ 0 w 16"/>
                <a:gd name="T39" fmla="*/ 2147483647 h 35"/>
                <a:gd name="T40" fmla="*/ 2147483647 w 16"/>
                <a:gd name="T41" fmla="*/ 2147483647 h 35"/>
                <a:gd name="T42" fmla="*/ 2147483647 w 16"/>
                <a:gd name="T43" fmla="*/ 2147483647 h 35"/>
                <a:gd name="T44" fmla="*/ 2147483647 w 16"/>
                <a:gd name="T45" fmla="*/ 2147483647 h 35"/>
                <a:gd name="T46" fmla="*/ 2147483647 w 16"/>
                <a:gd name="T47" fmla="*/ 2147483647 h 35"/>
                <a:gd name="T48" fmla="*/ 2147483647 w 16"/>
                <a:gd name="T49" fmla="*/ 2147483647 h 35"/>
                <a:gd name="T50" fmla="*/ 2147483647 w 16"/>
                <a:gd name="T51" fmla="*/ 2147483647 h 35"/>
                <a:gd name="T52" fmla="*/ 2147483647 w 16"/>
                <a:gd name="T53" fmla="*/ 2147483647 h 35"/>
                <a:gd name="T54" fmla="*/ 2147483647 w 16"/>
                <a:gd name="T55" fmla="*/ 2147483647 h 35"/>
                <a:gd name="T56" fmla="*/ 2147483647 w 16"/>
                <a:gd name="T57" fmla="*/ 2147483647 h 35"/>
                <a:gd name="T58" fmla="*/ 2147483647 w 16"/>
                <a:gd name="T59" fmla="*/ 2147483647 h 35"/>
                <a:gd name="T60" fmla="*/ 2147483647 w 16"/>
                <a:gd name="T61" fmla="*/ 2147483647 h 35"/>
                <a:gd name="T62" fmla="*/ 2147483647 w 16"/>
                <a:gd name="T63" fmla="*/ 2147483647 h 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35"/>
                <a:gd name="T98" fmla="*/ 16 w 16"/>
                <a:gd name="T99" fmla="*/ 35 h 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35">
                  <a:moveTo>
                    <a:pt x="14" y="10"/>
                  </a:moveTo>
                  <a:lnTo>
                    <a:pt x="14" y="10"/>
                  </a:lnTo>
                  <a:lnTo>
                    <a:pt x="13" y="9"/>
                  </a:lnTo>
                  <a:lnTo>
                    <a:pt x="14" y="7"/>
                  </a:lnTo>
                  <a:lnTo>
                    <a:pt x="16" y="3"/>
                  </a:lnTo>
                  <a:lnTo>
                    <a:pt x="16" y="2"/>
                  </a:lnTo>
                  <a:lnTo>
                    <a:pt x="15" y="0"/>
                  </a:lnTo>
                  <a:lnTo>
                    <a:pt x="14" y="0"/>
                  </a:lnTo>
                  <a:lnTo>
                    <a:pt x="13" y="1"/>
                  </a:lnTo>
                  <a:lnTo>
                    <a:pt x="11" y="3"/>
                  </a:lnTo>
                  <a:lnTo>
                    <a:pt x="9" y="3"/>
                  </a:lnTo>
                  <a:lnTo>
                    <a:pt x="6" y="4"/>
                  </a:lnTo>
                  <a:lnTo>
                    <a:pt x="4" y="6"/>
                  </a:lnTo>
                  <a:lnTo>
                    <a:pt x="1" y="8"/>
                  </a:lnTo>
                  <a:lnTo>
                    <a:pt x="0" y="10"/>
                  </a:lnTo>
                  <a:lnTo>
                    <a:pt x="0" y="17"/>
                  </a:lnTo>
                  <a:lnTo>
                    <a:pt x="1" y="25"/>
                  </a:lnTo>
                  <a:lnTo>
                    <a:pt x="5" y="32"/>
                  </a:lnTo>
                  <a:lnTo>
                    <a:pt x="7" y="34"/>
                  </a:lnTo>
                  <a:lnTo>
                    <a:pt x="10" y="35"/>
                  </a:lnTo>
                  <a:lnTo>
                    <a:pt x="13" y="29"/>
                  </a:lnTo>
                  <a:lnTo>
                    <a:pt x="15" y="23"/>
                  </a:lnTo>
                  <a:lnTo>
                    <a:pt x="15" y="21"/>
                  </a:lnTo>
                  <a:lnTo>
                    <a:pt x="15" y="17"/>
                  </a:lnTo>
                  <a:lnTo>
                    <a:pt x="14" y="14"/>
                  </a:lnTo>
                  <a:lnTo>
                    <a:pt x="14"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3" name="Freeform 1102"/>
            <p:cNvSpPr>
              <a:spLocks/>
            </p:cNvSpPr>
            <p:nvPr/>
          </p:nvSpPr>
          <p:spPr bwMode="auto">
            <a:xfrm>
              <a:off x="4552951" y="3092451"/>
              <a:ext cx="38100" cy="69850"/>
            </a:xfrm>
            <a:custGeom>
              <a:avLst/>
              <a:gdLst>
                <a:gd name="T0" fmla="*/ 2147483647 w 26"/>
                <a:gd name="T1" fmla="*/ 2147483647 h 44"/>
                <a:gd name="T2" fmla="*/ 2147483647 w 26"/>
                <a:gd name="T3" fmla="*/ 2147483647 h 44"/>
                <a:gd name="T4" fmla="*/ 2147483647 w 26"/>
                <a:gd name="T5" fmla="*/ 2147483647 h 44"/>
                <a:gd name="T6" fmla="*/ 2147483647 w 26"/>
                <a:gd name="T7" fmla="*/ 2147483647 h 44"/>
                <a:gd name="T8" fmla="*/ 2147483647 w 26"/>
                <a:gd name="T9" fmla="*/ 2147483647 h 44"/>
                <a:gd name="T10" fmla="*/ 2147483647 w 26"/>
                <a:gd name="T11" fmla="*/ 2147483647 h 44"/>
                <a:gd name="T12" fmla="*/ 2147483647 w 26"/>
                <a:gd name="T13" fmla="*/ 0 h 44"/>
                <a:gd name="T14" fmla="*/ 2147483647 w 26"/>
                <a:gd name="T15" fmla="*/ 0 h 44"/>
                <a:gd name="T16" fmla="*/ 2147483647 w 26"/>
                <a:gd name="T17" fmla="*/ 2147483647 h 44"/>
                <a:gd name="T18" fmla="*/ 0 w 26"/>
                <a:gd name="T19" fmla="*/ 2147483647 h 44"/>
                <a:gd name="T20" fmla="*/ 0 w 26"/>
                <a:gd name="T21" fmla="*/ 2147483647 h 44"/>
                <a:gd name="T22" fmla="*/ 0 w 26"/>
                <a:gd name="T23" fmla="*/ 2147483647 h 44"/>
                <a:gd name="T24" fmla="*/ 2147483647 w 26"/>
                <a:gd name="T25" fmla="*/ 2147483647 h 44"/>
                <a:gd name="T26" fmla="*/ 2147483647 w 26"/>
                <a:gd name="T27" fmla="*/ 2147483647 h 44"/>
                <a:gd name="T28" fmla="*/ 2147483647 w 26"/>
                <a:gd name="T29" fmla="*/ 2147483647 h 44"/>
                <a:gd name="T30" fmla="*/ 2147483647 w 26"/>
                <a:gd name="T31" fmla="*/ 2147483647 h 44"/>
                <a:gd name="T32" fmla="*/ 2147483647 w 26"/>
                <a:gd name="T33" fmla="*/ 2147483647 h 44"/>
                <a:gd name="T34" fmla="*/ 2147483647 w 26"/>
                <a:gd name="T35" fmla="*/ 2147483647 h 44"/>
                <a:gd name="T36" fmla="*/ 2147483647 w 26"/>
                <a:gd name="T37" fmla="*/ 2147483647 h 44"/>
                <a:gd name="T38" fmla="*/ 2147483647 w 26"/>
                <a:gd name="T39" fmla="*/ 2147483647 h 44"/>
                <a:gd name="T40" fmla="*/ 2147483647 w 26"/>
                <a:gd name="T41" fmla="*/ 2147483647 h 44"/>
                <a:gd name="T42" fmla="*/ 2147483647 w 26"/>
                <a:gd name="T43" fmla="*/ 2147483647 h 44"/>
                <a:gd name="T44" fmla="*/ 2147483647 w 26"/>
                <a:gd name="T45" fmla="*/ 2147483647 h 44"/>
                <a:gd name="T46" fmla="*/ 2147483647 w 26"/>
                <a:gd name="T47" fmla="*/ 2147483647 h 44"/>
                <a:gd name="T48" fmla="*/ 2147483647 w 26"/>
                <a:gd name="T49" fmla="*/ 2147483647 h 44"/>
                <a:gd name="T50" fmla="*/ 2147483647 w 26"/>
                <a:gd name="T51" fmla="*/ 2147483647 h 44"/>
                <a:gd name="T52" fmla="*/ 2147483647 w 26"/>
                <a:gd name="T53" fmla="*/ 2147483647 h 44"/>
                <a:gd name="T54" fmla="*/ 2147483647 w 26"/>
                <a:gd name="T55" fmla="*/ 2147483647 h 44"/>
                <a:gd name="T56" fmla="*/ 2147483647 w 26"/>
                <a:gd name="T57" fmla="*/ 2147483647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
                <a:gd name="T88" fmla="*/ 0 h 44"/>
                <a:gd name="T89" fmla="*/ 26 w 26"/>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 h="44">
                  <a:moveTo>
                    <a:pt x="23" y="30"/>
                  </a:moveTo>
                  <a:lnTo>
                    <a:pt x="23" y="25"/>
                  </a:lnTo>
                  <a:lnTo>
                    <a:pt x="24" y="14"/>
                  </a:lnTo>
                  <a:lnTo>
                    <a:pt x="23" y="9"/>
                  </a:lnTo>
                  <a:lnTo>
                    <a:pt x="21" y="5"/>
                  </a:lnTo>
                  <a:lnTo>
                    <a:pt x="18" y="1"/>
                  </a:lnTo>
                  <a:lnTo>
                    <a:pt x="13" y="0"/>
                  </a:lnTo>
                  <a:lnTo>
                    <a:pt x="8" y="0"/>
                  </a:lnTo>
                  <a:lnTo>
                    <a:pt x="3" y="2"/>
                  </a:lnTo>
                  <a:lnTo>
                    <a:pt x="0" y="5"/>
                  </a:lnTo>
                  <a:lnTo>
                    <a:pt x="0" y="6"/>
                  </a:lnTo>
                  <a:lnTo>
                    <a:pt x="0" y="7"/>
                  </a:lnTo>
                  <a:lnTo>
                    <a:pt x="4" y="12"/>
                  </a:lnTo>
                  <a:lnTo>
                    <a:pt x="5" y="16"/>
                  </a:lnTo>
                  <a:lnTo>
                    <a:pt x="4" y="31"/>
                  </a:lnTo>
                  <a:lnTo>
                    <a:pt x="5" y="38"/>
                  </a:lnTo>
                  <a:lnTo>
                    <a:pt x="8" y="40"/>
                  </a:lnTo>
                  <a:lnTo>
                    <a:pt x="9" y="43"/>
                  </a:lnTo>
                  <a:lnTo>
                    <a:pt x="10" y="44"/>
                  </a:lnTo>
                  <a:lnTo>
                    <a:pt x="12" y="43"/>
                  </a:lnTo>
                  <a:lnTo>
                    <a:pt x="14" y="40"/>
                  </a:lnTo>
                  <a:lnTo>
                    <a:pt x="17" y="39"/>
                  </a:lnTo>
                  <a:lnTo>
                    <a:pt x="18" y="39"/>
                  </a:lnTo>
                  <a:lnTo>
                    <a:pt x="21" y="39"/>
                  </a:lnTo>
                  <a:lnTo>
                    <a:pt x="23" y="39"/>
                  </a:lnTo>
                  <a:lnTo>
                    <a:pt x="24" y="39"/>
                  </a:lnTo>
                  <a:lnTo>
                    <a:pt x="26" y="38"/>
                  </a:lnTo>
                  <a:lnTo>
                    <a:pt x="26" y="34"/>
                  </a:lnTo>
                  <a:lnTo>
                    <a:pt x="23"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4" name="Freeform 1103"/>
            <p:cNvSpPr>
              <a:spLocks/>
            </p:cNvSpPr>
            <p:nvPr/>
          </p:nvSpPr>
          <p:spPr bwMode="auto">
            <a:xfrm>
              <a:off x="4156075" y="2259014"/>
              <a:ext cx="7938" cy="14288"/>
            </a:xfrm>
            <a:custGeom>
              <a:avLst/>
              <a:gdLst>
                <a:gd name="T0" fmla="*/ 0 w 6"/>
                <a:gd name="T1" fmla="*/ 2147483647 h 9"/>
                <a:gd name="T2" fmla="*/ 0 w 6"/>
                <a:gd name="T3" fmla="*/ 2147483647 h 9"/>
                <a:gd name="T4" fmla="*/ 0 w 6"/>
                <a:gd name="T5" fmla="*/ 2147483647 h 9"/>
                <a:gd name="T6" fmla="*/ 2147483647 w 6"/>
                <a:gd name="T7" fmla="*/ 0 h 9"/>
                <a:gd name="T8" fmla="*/ 2147483647 w 6"/>
                <a:gd name="T9" fmla="*/ 0 h 9"/>
                <a:gd name="T10" fmla="*/ 2147483647 w 6"/>
                <a:gd name="T11" fmla="*/ 2147483647 h 9"/>
                <a:gd name="T12" fmla="*/ 2147483647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0 w 6"/>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9"/>
                <a:gd name="T41" fmla="*/ 6 w 6"/>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9">
                  <a:moveTo>
                    <a:pt x="0" y="3"/>
                  </a:moveTo>
                  <a:lnTo>
                    <a:pt x="0" y="2"/>
                  </a:lnTo>
                  <a:lnTo>
                    <a:pt x="0" y="1"/>
                  </a:lnTo>
                  <a:lnTo>
                    <a:pt x="1" y="0"/>
                  </a:lnTo>
                  <a:lnTo>
                    <a:pt x="2" y="0"/>
                  </a:lnTo>
                  <a:lnTo>
                    <a:pt x="5" y="2"/>
                  </a:lnTo>
                  <a:lnTo>
                    <a:pt x="6" y="4"/>
                  </a:lnTo>
                  <a:lnTo>
                    <a:pt x="6" y="7"/>
                  </a:lnTo>
                  <a:lnTo>
                    <a:pt x="3" y="8"/>
                  </a:lnTo>
                  <a:lnTo>
                    <a:pt x="2" y="9"/>
                  </a:lnTo>
                  <a:lnTo>
                    <a:pt x="1" y="7"/>
                  </a:lnTo>
                  <a:lnTo>
                    <a:pt x="1" y="6"/>
                  </a:lnTo>
                  <a:lnTo>
                    <a:pt x="0"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5" name="Freeform 1104"/>
            <p:cNvSpPr>
              <a:spLocks/>
            </p:cNvSpPr>
            <p:nvPr/>
          </p:nvSpPr>
          <p:spPr bwMode="auto">
            <a:xfrm>
              <a:off x="4551363" y="3090863"/>
              <a:ext cx="36512" cy="69850"/>
            </a:xfrm>
            <a:custGeom>
              <a:avLst/>
              <a:gdLst>
                <a:gd name="T0" fmla="*/ 2147483647 w 25"/>
                <a:gd name="T1" fmla="*/ 2147483647 h 44"/>
                <a:gd name="T2" fmla="*/ 2147483647 w 25"/>
                <a:gd name="T3" fmla="*/ 2147483647 h 44"/>
                <a:gd name="T4" fmla="*/ 2147483647 w 25"/>
                <a:gd name="T5" fmla="*/ 2147483647 h 44"/>
                <a:gd name="T6" fmla="*/ 2147483647 w 25"/>
                <a:gd name="T7" fmla="*/ 2147483647 h 44"/>
                <a:gd name="T8" fmla="*/ 2147483647 w 25"/>
                <a:gd name="T9" fmla="*/ 2147483647 h 44"/>
                <a:gd name="T10" fmla="*/ 2147483647 w 25"/>
                <a:gd name="T11" fmla="*/ 2147483647 h 44"/>
                <a:gd name="T12" fmla="*/ 2147483647 w 25"/>
                <a:gd name="T13" fmla="*/ 2147483647 h 44"/>
                <a:gd name="T14" fmla="*/ 2147483647 w 25"/>
                <a:gd name="T15" fmla="*/ 0 h 44"/>
                <a:gd name="T16" fmla="*/ 2147483647 w 25"/>
                <a:gd name="T17" fmla="*/ 0 h 44"/>
                <a:gd name="T18" fmla="*/ 2147483647 w 25"/>
                <a:gd name="T19" fmla="*/ 0 h 44"/>
                <a:gd name="T20" fmla="*/ 2147483647 w 25"/>
                <a:gd name="T21" fmla="*/ 2147483647 h 44"/>
                <a:gd name="T22" fmla="*/ 2147483647 w 25"/>
                <a:gd name="T23" fmla="*/ 2147483647 h 44"/>
                <a:gd name="T24" fmla="*/ 0 w 25"/>
                <a:gd name="T25" fmla="*/ 2147483647 h 44"/>
                <a:gd name="T26" fmla="*/ 0 w 25"/>
                <a:gd name="T27" fmla="*/ 2147483647 h 44"/>
                <a:gd name="T28" fmla="*/ 0 w 25"/>
                <a:gd name="T29" fmla="*/ 2147483647 h 44"/>
                <a:gd name="T30" fmla="*/ 0 w 25"/>
                <a:gd name="T31" fmla="*/ 2147483647 h 44"/>
                <a:gd name="T32" fmla="*/ 2147483647 w 25"/>
                <a:gd name="T33" fmla="*/ 2147483647 h 44"/>
                <a:gd name="T34" fmla="*/ 2147483647 w 25"/>
                <a:gd name="T35" fmla="*/ 2147483647 h 44"/>
                <a:gd name="T36" fmla="*/ 2147483647 w 25"/>
                <a:gd name="T37" fmla="*/ 2147483647 h 44"/>
                <a:gd name="T38" fmla="*/ 2147483647 w 25"/>
                <a:gd name="T39" fmla="*/ 2147483647 h 44"/>
                <a:gd name="T40" fmla="*/ 2147483647 w 25"/>
                <a:gd name="T41" fmla="*/ 2147483647 h 44"/>
                <a:gd name="T42" fmla="*/ 2147483647 w 25"/>
                <a:gd name="T43" fmla="*/ 2147483647 h 44"/>
                <a:gd name="T44" fmla="*/ 2147483647 w 25"/>
                <a:gd name="T45" fmla="*/ 2147483647 h 44"/>
                <a:gd name="T46" fmla="*/ 2147483647 w 25"/>
                <a:gd name="T47" fmla="*/ 2147483647 h 44"/>
                <a:gd name="T48" fmla="*/ 2147483647 w 25"/>
                <a:gd name="T49" fmla="*/ 2147483647 h 44"/>
                <a:gd name="T50" fmla="*/ 2147483647 w 25"/>
                <a:gd name="T51" fmla="*/ 2147483647 h 44"/>
                <a:gd name="T52" fmla="*/ 2147483647 w 25"/>
                <a:gd name="T53" fmla="*/ 2147483647 h 44"/>
                <a:gd name="T54" fmla="*/ 2147483647 w 25"/>
                <a:gd name="T55" fmla="*/ 2147483647 h 44"/>
                <a:gd name="T56" fmla="*/ 2147483647 w 25"/>
                <a:gd name="T57" fmla="*/ 2147483647 h 44"/>
                <a:gd name="T58" fmla="*/ 2147483647 w 25"/>
                <a:gd name="T59" fmla="*/ 2147483647 h 44"/>
                <a:gd name="T60" fmla="*/ 2147483647 w 25"/>
                <a:gd name="T61" fmla="*/ 2147483647 h 44"/>
                <a:gd name="T62" fmla="*/ 2147483647 w 25"/>
                <a:gd name="T63" fmla="*/ 2147483647 h 44"/>
                <a:gd name="T64" fmla="*/ 2147483647 w 25"/>
                <a:gd name="T65" fmla="*/ 2147483647 h 44"/>
                <a:gd name="T66" fmla="*/ 2147483647 w 25"/>
                <a:gd name="T67" fmla="*/ 2147483647 h 44"/>
                <a:gd name="T68" fmla="*/ 2147483647 w 25"/>
                <a:gd name="T69" fmla="*/ 2147483647 h 44"/>
                <a:gd name="T70" fmla="*/ 2147483647 w 25"/>
                <a:gd name="T71" fmla="*/ 2147483647 h 44"/>
                <a:gd name="T72" fmla="*/ 2147483647 w 25"/>
                <a:gd name="T73" fmla="*/ 2147483647 h 44"/>
                <a:gd name="T74" fmla="*/ 2147483647 w 25"/>
                <a:gd name="T75" fmla="*/ 2147483647 h 44"/>
                <a:gd name="T76" fmla="*/ 2147483647 w 25"/>
                <a:gd name="T77" fmla="*/ 2147483647 h 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
                <a:gd name="T118" fmla="*/ 0 h 44"/>
                <a:gd name="T119" fmla="*/ 25 w 25"/>
                <a:gd name="T120" fmla="*/ 44 h 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 h="44">
                  <a:moveTo>
                    <a:pt x="23" y="29"/>
                  </a:moveTo>
                  <a:lnTo>
                    <a:pt x="23" y="29"/>
                  </a:lnTo>
                  <a:lnTo>
                    <a:pt x="23" y="25"/>
                  </a:lnTo>
                  <a:lnTo>
                    <a:pt x="24" y="14"/>
                  </a:lnTo>
                  <a:lnTo>
                    <a:pt x="23" y="9"/>
                  </a:lnTo>
                  <a:lnTo>
                    <a:pt x="20" y="4"/>
                  </a:lnTo>
                  <a:lnTo>
                    <a:pt x="18" y="1"/>
                  </a:lnTo>
                  <a:lnTo>
                    <a:pt x="13" y="0"/>
                  </a:lnTo>
                  <a:lnTo>
                    <a:pt x="8" y="0"/>
                  </a:lnTo>
                  <a:lnTo>
                    <a:pt x="3" y="2"/>
                  </a:lnTo>
                  <a:lnTo>
                    <a:pt x="0" y="4"/>
                  </a:lnTo>
                  <a:lnTo>
                    <a:pt x="0" y="6"/>
                  </a:lnTo>
                  <a:lnTo>
                    <a:pt x="0" y="7"/>
                  </a:lnTo>
                  <a:lnTo>
                    <a:pt x="4" y="12"/>
                  </a:lnTo>
                  <a:lnTo>
                    <a:pt x="5" y="16"/>
                  </a:lnTo>
                  <a:lnTo>
                    <a:pt x="4" y="31"/>
                  </a:lnTo>
                  <a:lnTo>
                    <a:pt x="5" y="38"/>
                  </a:lnTo>
                  <a:lnTo>
                    <a:pt x="8" y="40"/>
                  </a:lnTo>
                  <a:lnTo>
                    <a:pt x="9" y="42"/>
                  </a:lnTo>
                  <a:lnTo>
                    <a:pt x="10" y="44"/>
                  </a:lnTo>
                  <a:lnTo>
                    <a:pt x="11" y="42"/>
                  </a:lnTo>
                  <a:lnTo>
                    <a:pt x="14" y="40"/>
                  </a:lnTo>
                  <a:lnTo>
                    <a:pt x="17" y="39"/>
                  </a:lnTo>
                  <a:lnTo>
                    <a:pt x="18" y="39"/>
                  </a:lnTo>
                  <a:lnTo>
                    <a:pt x="20" y="39"/>
                  </a:lnTo>
                  <a:lnTo>
                    <a:pt x="23" y="39"/>
                  </a:lnTo>
                  <a:lnTo>
                    <a:pt x="24" y="39"/>
                  </a:lnTo>
                  <a:lnTo>
                    <a:pt x="25" y="38"/>
                  </a:lnTo>
                  <a:lnTo>
                    <a:pt x="25" y="34"/>
                  </a:lnTo>
                  <a:lnTo>
                    <a:pt x="23" y="2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6" name="Freeform 1105"/>
            <p:cNvSpPr>
              <a:spLocks/>
            </p:cNvSpPr>
            <p:nvPr/>
          </p:nvSpPr>
          <p:spPr bwMode="auto">
            <a:xfrm>
              <a:off x="4152901" y="2255842"/>
              <a:ext cx="9525" cy="15875"/>
            </a:xfrm>
            <a:custGeom>
              <a:avLst/>
              <a:gdLst>
                <a:gd name="T0" fmla="*/ 0 w 7"/>
                <a:gd name="T1" fmla="*/ 2147483647 h 10"/>
                <a:gd name="T2" fmla="*/ 0 w 7"/>
                <a:gd name="T3" fmla="*/ 2147483647 h 10"/>
                <a:gd name="T4" fmla="*/ 0 w 7"/>
                <a:gd name="T5" fmla="*/ 2147483647 h 10"/>
                <a:gd name="T6" fmla="*/ 0 w 7"/>
                <a:gd name="T7" fmla="*/ 2147483647 h 10"/>
                <a:gd name="T8" fmla="*/ 2147483647 w 7"/>
                <a:gd name="T9" fmla="*/ 0 h 10"/>
                <a:gd name="T10" fmla="*/ 2147483647 w 7"/>
                <a:gd name="T11" fmla="*/ 0 h 10"/>
                <a:gd name="T12" fmla="*/ 2147483647 w 7"/>
                <a:gd name="T13" fmla="*/ 0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2147483647 w 7"/>
                <a:gd name="T27" fmla="*/ 2147483647 h 10"/>
                <a:gd name="T28" fmla="*/ 2147483647 w 7"/>
                <a:gd name="T29" fmla="*/ 2147483647 h 10"/>
                <a:gd name="T30" fmla="*/ 0 w 7"/>
                <a:gd name="T31" fmla="*/ 2147483647 h 10"/>
                <a:gd name="T32" fmla="*/ 0 w 7"/>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10"/>
                <a:gd name="T53" fmla="*/ 7 w 7"/>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10">
                  <a:moveTo>
                    <a:pt x="0" y="4"/>
                  </a:moveTo>
                  <a:lnTo>
                    <a:pt x="0" y="4"/>
                  </a:lnTo>
                  <a:lnTo>
                    <a:pt x="0" y="3"/>
                  </a:lnTo>
                  <a:lnTo>
                    <a:pt x="0" y="2"/>
                  </a:lnTo>
                  <a:lnTo>
                    <a:pt x="2" y="0"/>
                  </a:lnTo>
                  <a:lnTo>
                    <a:pt x="3" y="0"/>
                  </a:lnTo>
                  <a:lnTo>
                    <a:pt x="5" y="3"/>
                  </a:lnTo>
                  <a:lnTo>
                    <a:pt x="7" y="5"/>
                  </a:lnTo>
                  <a:lnTo>
                    <a:pt x="7" y="8"/>
                  </a:lnTo>
                  <a:lnTo>
                    <a:pt x="4" y="9"/>
                  </a:lnTo>
                  <a:lnTo>
                    <a:pt x="3" y="10"/>
                  </a:lnTo>
                  <a:lnTo>
                    <a:pt x="2" y="8"/>
                  </a:lnTo>
                  <a:lnTo>
                    <a:pt x="2" y="6"/>
                  </a:lnTo>
                  <a:lnTo>
                    <a:pt x="0"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7" name="Freeform 1106"/>
            <p:cNvSpPr>
              <a:spLocks/>
            </p:cNvSpPr>
            <p:nvPr/>
          </p:nvSpPr>
          <p:spPr bwMode="auto">
            <a:xfrm>
              <a:off x="4160839" y="2284413"/>
              <a:ext cx="4762" cy="6350"/>
            </a:xfrm>
            <a:custGeom>
              <a:avLst/>
              <a:gdLst>
                <a:gd name="T0" fmla="*/ 2147483647 w 4"/>
                <a:gd name="T1" fmla="*/ 2147483647 h 4"/>
                <a:gd name="T2" fmla="*/ 2147483647 w 4"/>
                <a:gd name="T3" fmla="*/ 2147483647 h 4"/>
                <a:gd name="T4" fmla="*/ 0 w 4"/>
                <a:gd name="T5" fmla="*/ 2147483647 h 4"/>
                <a:gd name="T6" fmla="*/ 2147483647 w 4"/>
                <a:gd name="T7" fmla="*/ 0 h 4"/>
                <a:gd name="T8" fmla="*/ 2147483647 w 4"/>
                <a:gd name="T9" fmla="*/ 0 h 4"/>
                <a:gd name="T10" fmla="*/ 2147483647 w 4"/>
                <a:gd name="T11" fmla="*/ 2147483647 h 4"/>
                <a:gd name="T12" fmla="*/ 2147483647 w 4"/>
                <a:gd name="T13" fmla="*/ 2147483647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3"/>
                  </a:moveTo>
                  <a:lnTo>
                    <a:pt x="2" y="4"/>
                  </a:lnTo>
                  <a:lnTo>
                    <a:pt x="0" y="1"/>
                  </a:lnTo>
                  <a:lnTo>
                    <a:pt x="2" y="0"/>
                  </a:lnTo>
                  <a:lnTo>
                    <a:pt x="3" y="0"/>
                  </a:lnTo>
                  <a:lnTo>
                    <a:pt x="4" y="1"/>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8" name="Freeform 1107"/>
            <p:cNvSpPr>
              <a:spLocks/>
            </p:cNvSpPr>
            <p:nvPr/>
          </p:nvSpPr>
          <p:spPr bwMode="auto">
            <a:xfrm>
              <a:off x="4073529" y="2546351"/>
              <a:ext cx="111125" cy="150813"/>
            </a:xfrm>
            <a:custGeom>
              <a:avLst/>
              <a:gdLst>
                <a:gd name="T0" fmla="*/ 2147483647 w 76"/>
                <a:gd name="T1" fmla="*/ 2147483647 h 95"/>
                <a:gd name="T2" fmla="*/ 2147483647 w 76"/>
                <a:gd name="T3" fmla="*/ 2147483647 h 95"/>
                <a:gd name="T4" fmla="*/ 2147483647 w 76"/>
                <a:gd name="T5" fmla="*/ 2147483647 h 95"/>
                <a:gd name="T6" fmla="*/ 2147483647 w 76"/>
                <a:gd name="T7" fmla="*/ 2147483647 h 95"/>
                <a:gd name="T8" fmla="*/ 2147483647 w 76"/>
                <a:gd name="T9" fmla="*/ 2147483647 h 95"/>
                <a:gd name="T10" fmla="*/ 2147483647 w 76"/>
                <a:gd name="T11" fmla="*/ 2147483647 h 95"/>
                <a:gd name="T12" fmla="*/ 2147483647 w 76"/>
                <a:gd name="T13" fmla="*/ 2147483647 h 95"/>
                <a:gd name="T14" fmla="*/ 2147483647 w 76"/>
                <a:gd name="T15" fmla="*/ 2147483647 h 95"/>
                <a:gd name="T16" fmla="*/ 2147483647 w 76"/>
                <a:gd name="T17" fmla="*/ 0 h 95"/>
                <a:gd name="T18" fmla="*/ 2147483647 w 76"/>
                <a:gd name="T19" fmla="*/ 2147483647 h 95"/>
                <a:gd name="T20" fmla="*/ 2147483647 w 76"/>
                <a:gd name="T21" fmla="*/ 2147483647 h 95"/>
                <a:gd name="T22" fmla="*/ 2147483647 w 76"/>
                <a:gd name="T23" fmla="*/ 2147483647 h 95"/>
                <a:gd name="T24" fmla="*/ 2147483647 w 76"/>
                <a:gd name="T25" fmla="*/ 2147483647 h 95"/>
                <a:gd name="T26" fmla="*/ 2147483647 w 76"/>
                <a:gd name="T27" fmla="*/ 2147483647 h 95"/>
                <a:gd name="T28" fmla="*/ 2147483647 w 76"/>
                <a:gd name="T29" fmla="*/ 2147483647 h 95"/>
                <a:gd name="T30" fmla="*/ 2147483647 w 76"/>
                <a:gd name="T31" fmla="*/ 2147483647 h 95"/>
                <a:gd name="T32" fmla="*/ 2147483647 w 76"/>
                <a:gd name="T33" fmla="*/ 2147483647 h 95"/>
                <a:gd name="T34" fmla="*/ 2147483647 w 76"/>
                <a:gd name="T35" fmla="*/ 2147483647 h 95"/>
                <a:gd name="T36" fmla="*/ 2147483647 w 76"/>
                <a:gd name="T37" fmla="*/ 2147483647 h 95"/>
                <a:gd name="T38" fmla="*/ 2147483647 w 76"/>
                <a:gd name="T39" fmla="*/ 2147483647 h 95"/>
                <a:gd name="T40" fmla="*/ 2147483647 w 76"/>
                <a:gd name="T41" fmla="*/ 2147483647 h 95"/>
                <a:gd name="T42" fmla="*/ 2147483647 w 76"/>
                <a:gd name="T43" fmla="*/ 2147483647 h 95"/>
                <a:gd name="T44" fmla="*/ 2147483647 w 76"/>
                <a:gd name="T45" fmla="*/ 2147483647 h 95"/>
                <a:gd name="T46" fmla="*/ 2147483647 w 76"/>
                <a:gd name="T47" fmla="*/ 2147483647 h 95"/>
                <a:gd name="T48" fmla="*/ 2147483647 w 76"/>
                <a:gd name="T49" fmla="*/ 2147483647 h 95"/>
                <a:gd name="T50" fmla="*/ 2147483647 w 76"/>
                <a:gd name="T51" fmla="*/ 2147483647 h 95"/>
                <a:gd name="T52" fmla="*/ 2147483647 w 76"/>
                <a:gd name="T53" fmla="*/ 2147483647 h 95"/>
                <a:gd name="T54" fmla="*/ 2147483647 w 76"/>
                <a:gd name="T55" fmla="*/ 2147483647 h 95"/>
                <a:gd name="T56" fmla="*/ 2147483647 w 76"/>
                <a:gd name="T57" fmla="*/ 2147483647 h 95"/>
                <a:gd name="T58" fmla="*/ 2147483647 w 76"/>
                <a:gd name="T59" fmla="*/ 2147483647 h 95"/>
                <a:gd name="T60" fmla="*/ 2147483647 w 76"/>
                <a:gd name="T61" fmla="*/ 2147483647 h 95"/>
                <a:gd name="T62" fmla="*/ 0 w 76"/>
                <a:gd name="T63" fmla="*/ 2147483647 h 95"/>
                <a:gd name="T64" fmla="*/ 2147483647 w 76"/>
                <a:gd name="T65" fmla="*/ 2147483647 h 95"/>
                <a:gd name="T66" fmla="*/ 2147483647 w 76"/>
                <a:gd name="T67" fmla="*/ 2147483647 h 95"/>
                <a:gd name="T68" fmla="*/ 2147483647 w 76"/>
                <a:gd name="T69" fmla="*/ 2147483647 h 95"/>
                <a:gd name="T70" fmla="*/ 2147483647 w 76"/>
                <a:gd name="T71" fmla="*/ 2147483647 h 95"/>
                <a:gd name="T72" fmla="*/ 2147483647 w 76"/>
                <a:gd name="T73" fmla="*/ 2147483647 h 95"/>
                <a:gd name="T74" fmla="*/ 2147483647 w 76"/>
                <a:gd name="T75" fmla="*/ 2147483647 h 95"/>
                <a:gd name="T76" fmla="*/ 2147483647 w 76"/>
                <a:gd name="T77" fmla="*/ 2147483647 h 95"/>
                <a:gd name="T78" fmla="*/ 2147483647 w 76"/>
                <a:gd name="T79" fmla="*/ 2147483647 h 95"/>
                <a:gd name="T80" fmla="*/ 2147483647 w 76"/>
                <a:gd name="T81" fmla="*/ 2147483647 h 95"/>
                <a:gd name="T82" fmla="*/ 2147483647 w 76"/>
                <a:gd name="T83" fmla="*/ 2147483647 h 95"/>
                <a:gd name="T84" fmla="*/ 2147483647 w 76"/>
                <a:gd name="T85" fmla="*/ 2147483647 h 95"/>
                <a:gd name="T86" fmla="*/ 2147483647 w 76"/>
                <a:gd name="T87" fmla="*/ 2147483647 h 95"/>
                <a:gd name="T88" fmla="*/ 2147483647 w 76"/>
                <a:gd name="T89" fmla="*/ 2147483647 h 95"/>
                <a:gd name="T90" fmla="*/ 2147483647 w 76"/>
                <a:gd name="T91" fmla="*/ 2147483647 h 95"/>
                <a:gd name="T92" fmla="*/ 2147483647 w 76"/>
                <a:gd name="T93" fmla="*/ 2147483647 h 95"/>
                <a:gd name="T94" fmla="*/ 2147483647 w 76"/>
                <a:gd name="T95" fmla="*/ 2147483647 h 95"/>
                <a:gd name="T96" fmla="*/ 2147483647 w 76"/>
                <a:gd name="T97" fmla="*/ 2147483647 h 95"/>
                <a:gd name="T98" fmla="*/ 2147483647 w 76"/>
                <a:gd name="T99" fmla="*/ 2147483647 h 95"/>
                <a:gd name="T100" fmla="*/ 2147483647 w 76"/>
                <a:gd name="T101" fmla="*/ 2147483647 h 95"/>
                <a:gd name="T102" fmla="*/ 2147483647 w 76"/>
                <a:gd name="T103" fmla="*/ 2147483647 h 95"/>
                <a:gd name="T104" fmla="*/ 2147483647 w 76"/>
                <a:gd name="T105" fmla="*/ 2147483647 h 95"/>
                <a:gd name="T106" fmla="*/ 2147483647 w 76"/>
                <a:gd name="T107" fmla="*/ 2147483647 h 95"/>
                <a:gd name="T108" fmla="*/ 2147483647 w 76"/>
                <a:gd name="T109" fmla="*/ 2147483647 h 95"/>
                <a:gd name="T110" fmla="*/ 2147483647 w 76"/>
                <a:gd name="T111" fmla="*/ 2147483647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5"/>
                <a:gd name="T170" fmla="*/ 76 w 76"/>
                <a:gd name="T171" fmla="*/ 95 h 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5">
                  <a:moveTo>
                    <a:pt x="73" y="33"/>
                  </a:moveTo>
                  <a:lnTo>
                    <a:pt x="72" y="32"/>
                  </a:lnTo>
                  <a:lnTo>
                    <a:pt x="70" y="32"/>
                  </a:lnTo>
                  <a:lnTo>
                    <a:pt x="68" y="32"/>
                  </a:lnTo>
                  <a:lnTo>
                    <a:pt x="67" y="31"/>
                  </a:lnTo>
                  <a:lnTo>
                    <a:pt x="64" y="29"/>
                  </a:lnTo>
                  <a:lnTo>
                    <a:pt x="59" y="25"/>
                  </a:lnTo>
                  <a:lnTo>
                    <a:pt x="56" y="24"/>
                  </a:lnTo>
                  <a:lnTo>
                    <a:pt x="47" y="25"/>
                  </a:lnTo>
                  <a:lnTo>
                    <a:pt x="44" y="24"/>
                  </a:lnTo>
                  <a:lnTo>
                    <a:pt x="44" y="23"/>
                  </a:lnTo>
                  <a:lnTo>
                    <a:pt x="45" y="19"/>
                  </a:lnTo>
                  <a:lnTo>
                    <a:pt x="52" y="12"/>
                  </a:lnTo>
                  <a:lnTo>
                    <a:pt x="53" y="10"/>
                  </a:lnTo>
                  <a:lnTo>
                    <a:pt x="52" y="8"/>
                  </a:lnTo>
                  <a:lnTo>
                    <a:pt x="50" y="4"/>
                  </a:lnTo>
                  <a:lnTo>
                    <a:pt x="50" y="2"/>
                  </a:lnTo>
                  <a:lnTo>
                    <a:pt x="52" y="0"/>
                  </a:lnTo>
                  <a:lnTo>
                    <a:pt x="48" y="1"/>
                  </a:lnTo>
                  <a:lnTo>
                    <a:pt x="47" y="2"/>
                  </a:lnTo>
                  <a:lnTo>
                    <a:pt x="45" y="4"/>
                  </a:lnTo>
                  <a:lnTo>
                    <a:pt x="44" y="5"/>
                  </a:lnTo>
                  <a:lnTo>
                    <a:pt x="44" y="4"/>
                  </a:lnTo>
                  <a:lnTo>
                    <a:pt x="42" y="2"/>
                  </a:lnTo>
                  <a:lnTo>
                    <a:pt x="40" y="5"/>
                  </a:lnTo>
                  <a:lnTo>
                    <a:pt x="39" y="2"/>
                  </a:lnTo>
                  <a:lnTo>
                    <a:pt x="38" y="1"/>
                  </a:lnTo>
                  <a:lnTo>
                    <a:pt x="37" y="2"/>
                  </a:lnTo>
                  <a:lnTo>
                    <a:pt x="35" y="2"/>
                  </a:lnTo>
                  <a:lnTo>
                    <a:pt x="35" y="7"/>
                  </a:lnTo>
                  <a:lnTo>
                    <a:pt x="34" y="11"/>
                  </a:lnTo>
                  <a:lnTo>
                    <a:pt x="34" y="15"/>
                  </a:lnTo>
                  <a:lnTo>
                    <a:pt x="33" y="19"/>
                  </a:lnTo>
                  <a:lnTo>
                    <a:pt x="25" y="27"/>
                  </a:lnTo>
                  <a:lnTo>
                    <a:pt x="23" y="30"/>
                  </a:lnTo>
                  <a:lnTo>
                    <a:pt x="21" y="30"/>
                  </a:lnTo>
                  <a:lnTo>
                    <a:pt x="17" y="29"/>
                  </a:lnTo>
                  <a:lnTo>
                    <a:pt x="16" y="29"/>
                  </a:lnTo>
                  <a:lnTo>
                    <a:pt x="14" y="29"/>
                  </a:lnTo>
                  <a:lnTo>
                    <a:pt x="11" y="29"/>
                  </a:lnTo>
                  <a:lnTo>
                    <a:pt x="10" y="30"/>
                  </a:lnTo>
                  <a:lnTo>
                    <a:pt x="10" y="33"/>
                  </a:lnTo>
                  <a:lnTo>
                    <a:pt x="15" y="43"/>
                  </a:lnTo>
                  <a:lnTo>
                    <a:pt x="14" y="44"/>
                  </a:lnTo>
                  <a:lnTo>
                    <a:pt x="14" y="45"/>
                  </a:lnTo>
                  <a:lnTo>
                    <a:pt x="15" y="49"/>
                  </a:lnTo>
                  <a:lnTo>
                    <a:pt x="16" y="49"/>
                  </a:lnTo>
                  <a:lnTo>
                    <a:pt x="17" y="47"/>
                  </a:lnTo>
                  <a:lnTo>
                    <a:pt x="20" y="46"/>
                  </a:lnTo>
                  <a:lnTo>
                    <a:pt x="23" y="46"/>
                  </a:lnTo>
                  <a:lnTo>
                    <a:pt x="24" y="47"/>
                  </a:lnTo>
                  <a:lnTo>
                    <a:pt x="24" y="52"/>
                  </a:lnTo>
                  <a:lnTo>
                    <a:pt x="24" y="57"/>
                  </a:lnTo>
                  <a:lnTo>
                    <a:pt x="23" y="61"/>
                  </a:lnTo>
                  <a:lnTo>
                    <a:pt x="20" y="62"/>
                  </a:lnTo>
                  <a:lnTo>
                    <a:pt x="19" y="63"/>
                  </a:lnTo>
                  <a:lnTo>
                    <a:pt x="17" y="64"/>
                  </a:lnTo>
                  <a:lnTo>
                    <a:pt x="17" y="66"/>
                  </a:lnTo>
                  <a:lnTo>
                    <a:pt x="17" y="69"/>
                  </a:lnTo>
                  <a:lnTo>
                    <a:pt x="12" y="70"/>
                  </a:lnTo>
                  <a:lnTo>
                    <a:pt x="9" y="71"/>
                  </a:lnTo>
                  <a:lnTo>
                    <a:pt x="3" y="72"/>
                  </a:lnTo>
                  <a:lnTo>
                    <a:pt x="0" y="75"/>
                  </a:lnTo>
                  <a:lnTo>
                    <a:pt x="0" y="76"/>
                  </a:lnTo>
                  <a:lnTo>
                    <a:pt x="0" y="77"/>
                  </a:lnTo>
                  <a:lnTo>
                    <a:pt x="2" y="77"/>
                  </a:lnTo>
                  <a:lnTo>
                    <a:pt x="7" y="77"/>
                  </a:lnTo>
                  <a:lnTo>
                    <a:pt x="10" y="76"/>
                  </a:lnTo>
                  <a:lnTo>
                    <a:pt x="12" y="77"/>
                  </a:lnTo>
                  <a:lnTo>
                    <a:pt x="9" y="79"/>
                  </a:lnTo>
                  <a:lnTo>
                    <a:pt x="5" y="83"/>
                  </a:lnTo>
                  <a:lnTo>
                    <a:pt x="2" y="85"/>
                  </a:lnTo>
                  <a:lnTo>
                    <a:pt x="2" y="88"/>
                  </a:lnTo>
                  <a:lnTo>
                    <a:pt x="2" y="90"/>
                  </a:lnTo>
                  <a:lnTo>
                    <a:pt x="3" y="90"/>
                  </a:lnTo>
                  <a:lnTo>
                    <a:pt x="5" y="89"/>
                  </a:lnTo>
                  <a:lnTo>
                    <a:pt x="7" y="87"/>
                  </a:lnTo>
                  <a:lnTo>
                    <a:pt x="9" y="87"/>
                  </a:lnTo>
                  <a:lnTo>
                    <a:pt x="10" y="88"/>
                  </a:lnTo>
                  <a:lnTo>
                    <a:pt x="10" y="90"/>
                  </a:lnTo>
                  <a:lnTo>
                    <a:pt x="10" y="93"/>
                  </a:lnTo>
                  <a:lnTo>
                    <a:pt x="12" y="91"/>
                  </a:lnTo>
                  <a:lnTo>
                    <a:pt x="15" y="89"/>
                  </a:lnTo>
                  <a:lnTo>
                    <a:pt x="17" y="89"/>
                  </a:lnTo>
                  <a:lnTo>
                    <a:pt x="19" y="89"/>
                  </a:lnTo>
                  <a:lnTo>
                    <a:pt x="20" y="90"/>
                  </a:lnTo>
                  <a:lnTo>
                    <a:pt x="23" y="90"/>
                  </a:lnTo>
                  <a:lnTo>
                    <a:pt x="24" y="90"/>
                  </a:lnTo>
                  <a:lnTo>
                    <a:pt x="25" y="93"/>
                  </a:lnTo>
                  <a:lnTo>
                    <a:pt x="28" y="93"/>
                  </a:lnTo>
                  <a:lnTo>
                    <a:pt x="29" y="93"/>
                  </a:lnTo>
                  <a:lnTo>
                    <a:pt x="31" y="94"/>
                  </a:lnTo>
                  <a:lnTo>
                    <a:pt x="33" y="95"/>
                  </a:lnTo>
                  <a:lnTo>
                    <a:pt x="34" y="95"/>
                  </a:lnTo>
                  <a:lnTo>
                    <a:pt x="39" y="90"/>
                  </a:lnTo>
                  <a:lnTo>
                    <a:pt x="44" y="85"/>
                  </a:lnTo>
                  <a:lnTo>
                    <a:pt x="50" y="83"/>
                  </a:lnTo>
                  <a:lnTo>
                    <a:pt x="57" y="81"/>
                  </a:lnTo>
                  <a:lnTo>
                    <a:pt x="59" y="78"/>
                  </a:lnTo>
                  <a:lnTo>
                    <a:pt x="62" y="76"/>
                  </a:lnTo>
                  <a:lnTo>
                    <a:pt x="66" y="74"/>
                  </a:lnTo>
                  <a:lnTo>
                    <a:pt x="70" y="74"/>
                  </a:lnTo>
                  <a:lnTo>
                    <a:pt x="73" y="71"/>
                  </a:lnTo>
                  <a:lnTo>
                    <a:pt x="75" y="70"/>
                  </a:lnTo>
                  <a:lnTo>
                    <a:pt x="75" y="68"/>
                  </a:lnTo>
                  <a:lnTo>
                    <a:pt x="72" y="62"/>
                  </a:lnTo>
                  <a:lnTo>
                    <a:pt x="72" y="55"/>
                  </a:lnTo>
                  <a:lnTo>
                    <a:pt x="72" y="47"/>
                  </a:lnTo>
                  <a:lnTo>
                    <a:pt x="75" y="42"/>
                  </a:lnTo>
                  <a:lnTo>
                    <a:pt x="76" y="39"/>
                  </a:lnTo>
                  <a:lnTo>
                    <a:pt x="75" y="37"/>
                  </a:lnTo>
                  <a:lnTo>
                    <a:pt x="73" y="3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09" name="Freeform 1108"/>
            <p:cNvSpPr>
              <a:spLocks/>
            </p:cNvSpPr>
            <p:nvPr/>
          </p:nvSpPr>
          <p:spPr bwMode="auto">
            <a:xfrm>
              <a:off x="4159250" y="2282825"/>
              <a:ext cx="4763" cy="6350"/>
            </a:xfrm>
            <a:custGeom>
              <a:avLst/>
              <a:gdLst>
                <a:gd name="T0" fmla="*/ 2147483647 w 4"/>
                <a:gd name="T1" fmla="*/ 2147483647 h 4"/>
                <a:gd name="T2" fmla="*/ 2147483647 w 4"/>
                <a:gd name="T3" fmla="*/ 2147483647 h 4"/>
                <a:gd name="T4" fmla="*/ 2147483647 w 4"/>
                <a:gd name="T5" fmla="*/ 2147483647 h 4"/>
                <a:gd name="T6" fmla="*/ 2147483647 w 4"/>
                <a:gd name="T7" fmla="*/ 2147483647 h 4"/>
                <a:gd name="T8" fmla="*/ 0 w 4"/>
                <a:gd name="T9" fmla="*/ 2147483647 h 4"/>
                <a:gd name="T10" fmla="*/ 0 w 4"/>
                <a:gd name="T11" fmla="*/ 2147483647 h 4"/>
                <a:gd name="T12" fmla="*/ 2147483647 w 4"/>
                <a:gd name="T13" fmla="*/ 0 h 4"/>
                <a:gd name="T14" fmla="*/ 2147483647 w 4"/>
                <a:gd name="T15" fmla="*/ 0 h 4"/>
                <a:gd name="T16" fmla="*/ 2147483647 w 4"/>
                <a:gd name="T17" fmla="*/ 0 h 4"/>
                <a:gd name="T18" fmla="*/ 2147483647 w 4"/>
                <a:gd name="T19" fmla="*/ 2147483647 h 4"/>
                <a:gd name="T20" fmla="*/ 2147483647 w 4"/>
                <a:gd name="T21" fmla="*/ 2147483647 h 4"/>
                <a:gd name="T22" fmla="*/ 2147483647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4" y="2"/>
                  </a:moveTo>
                  <a:lnTo>
                    <a:pt x="4" y="2"/>
                  </a:lnTo>
                  <a:lnTo>
                    <a:pt x="1" y="4"/>
                  </a:lnTo>
                  <a:lnTo>
                    <a:pt x="0" y="1"/>
                  </a:lnTo>
                  <a:lnTo>
                    <a:pt x="1" y="0"/>
                  </a:lnTo>
                  <a:lnTo>
                    <a:pt x="3" y="0"/>
                  </a:lnTo>
                  <a:lnTo>
                    <a:pt x="4" y="1"/>
                  </a:lnTo>
                  <a:lnTo>
                    <a:pt x="4"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0" name="Freeform 1109"/>
            <p:cNvSpPr>
              <a:spLocks/>
            </p:cNvSpPr>
            <p:nvPr/>
          </p:nvSpPr>
          <p:spPr bwMode="auto">
            <a:xfrm>
              <a:off x="4070353" y="2544766"/>
              <a:ext cx="112713" cy="150812"/>
            </a:xfrm>
            <a:custGeom>
              <a:avLst/>
              <a:gdLst>
                <a:gd name="T0" fmla="*/ 2147483647 w 77"/>
                <a:gd name="T1" fmla="*/ 2147483647 h 95"/>
                <a:gd name="T2" fmla="*/ 2147483647 w 77"/>
                <a:gd name="T3" fmla="*/ 2147483647 h 95"/>
                <a:gd name="T4" fmla="*/ 2147483647 w 77"/>
                <a:gd name="T5" fmla="*/ 2147483647 h 95"/>
                <a:gd name="T6" fmla="*/ 2147483647 w 77"/>
                <a:gd name="T7" fmla="*/ 2147483647 h 95"/>
                <a:gd name="T8" fmla="*/ 2147483647 w 77"/>
                <a:gd name="T9" fmla="*/ 2147483647 h 95"/>
                <a:gd name="T10" fmla="*/ 2147483647 w 77"/>
                <a:gd name="T11" fmla="*/ 2147483647 h 95"/>
                <a:gd name="T12" fmla="*/ 2147483647 w 77"/>
                <a:gd name="T13" fmla="*/ 2147483647 h 95"/>
                <a:gd name="T14" fmla="*/ 2147483647 w 77"/>
                <a:gd name="T15" fmla="*/ 0 h 95"/>
                <a:gd name="T16" fmla="*/ 2147483647 w 77"/>
                <a:gd name="T17" fmla="*/ 2147483647 h 95"/>
                <a:gd name="T18" fmla="*/ 2147483647 w 77"/>
                <a:gd name="T19" fmla="*/ 2147483647 h 95"/>
                <a:gd name="T20" fmla="*/ 2147483647 w 77"/>
                <a:gd name="T21" fmla="*/ 2147483647 h 95"/>
                <a:gd name="T22" fmla="*/ 2147483647 w 77"/>
                <a:gd name="T23" fmla="*/ 2147483647 h 95"/>
                <a:gd name="T24" fmla="*/ 2147483647 w 77"/>
                <a:gd name="T25" fmla="*/ 2147483647 h 95"/>
                <a:gd name="T26" fmla="*/ 2147483647 w 77"/>
                <a:gd name="T27" fmla="*/ 2147483647 h 95"/>
                <a:gd name="T28" fmla="*/ 2147483647 w 77"/>
                <a:gd name="T29" fmla="*/ 2147483647 h 95"/>
                <a:gd name="T30" fmla="*/ 2147483647 w 77"/>
                <a:gd name="T31" fmla="*/ 2147483647 h 95"/>
                <a:gd name="T32" fmla="*/ 2147483647 w 77"/>
                <a:gd name="T33" fmla="*/ 2147483647 h 95"/>
                <a:gd name="T34" fmla="*/ 2147483647 w 77"/>
                <a:gd name="T35" fmla="*/ 2147483647 h 95"/>
                <a:gd name="T36" fmla="*/ 2147483647 w 77"/>
                <a:gd name="T37" fmla="*/ 2147483647 h 95"/>
                <a:gd name="T38" fmla="*/ 2147483647 w 77"/>
                <a:gd name="T39" fmla="*/ 2147483647 h 95"/>
                <a:gd name="T40" fmla="*/ 2147483647 w 77"/>
                <a:gd name="T41" fmla="*/ 2147483647 h 95"/>
                <a:gd name="T42" fmla="*/ 2147483647 w 77"/>
                <a:gd name="T43" fmla="*/ 2147483647 h 95"/>
                <a:gd name="T44" fmla="*/ 2147483647 w 77"/>
                <a:gd name="T45" fmla="*/ 2147483647 h 95"/>
                <a:gd name="T46" fmla="*/ 2147483647 w 77"/>
                <a:gd name="T47" fmla="*/ 2147483647 h 95"/>
                <a:gd name="T48" fmla="*/ 2147483647 w 77"/>
                <a:gd name="T49" fmla="*/ 2147483647 h 95"/>
                <a:gd name="T50" fmla="*/ 2147483647 w 77"/>
                <a:gd name="T51" fmla="*/ 2147483647 h 95"/>
                <a:gd name="T52" fmla="*/ 2147483647 w 77"/>
                <a:gd name="T53" fmla="*/ 2147483647 h 95"/>
                <a:gd name="T54" fmla="*/ 2147483647 w 77"/>
                <a:gd name="T55" fmla="*/ 2147483647 h 95"/>
                <a:gd name="T56" fmla="*/ 0 w 77"/>
                <a:gd name="T57" fmla="*/ 2147483647 h 95"/>
                <a:gd name="T58" fmla="*/ 2147483647 w 77"/>
                <a:gd name="T59" fmla="*/ 2147483647 h 95"/>
                <a:gd name="T60" fmla="*/ 2147483647 w 77"/>
                <a:gd name="T61" fmla="*/ 2147483647 h 95"/>
                <a:gd name="T62" fmla="*/ 2147483647 w 77"/>
                <a:gd name="T63" fmla="*/ 2147483647 h 95"/>
                <a:gd name="T64" fmla="*/ 2147483647 w 77"/>
                <a:gd name="T65" fmla="*/ 2147483647 h 95"/>
                <a:gd name="T66" fmla="*/ 2147483647 w 77"/>
                <a:gd name="T67" fmla="*/ 2147483647 h 95"/>
                <a:gd name="T68" fmla="*/ 2147483647 w 77"/>
                <a:gd name="T69" fmla="*/ 2147483647 h 95"/>
                <a:gd name="T70" fmla="*/ 2147483647 w 77"/>
                <a:gd name="T71" fmla="*/ 2147483647 h 95"/>
                <a:gd name="T72" fmla="*/ 2147483647 w 77"/>
                <a:gd name="T73" fmla="*/ 2147483647 h 95"/>
                <a:gd name="T74" fmla="*/ 2147483647 w 77"/>
                <a:gd name="T75" fmla="*/ 2147483647 h 95"/>
                <a:gd name="T76" fmla="*/ 2147483647 w 77"/>
                <a:gd name="T77" fmla="*/ 2147483647 h 95"/>
                <a:gd name="T78" fmla="*/ 2147483647 w 77"/>
                <a:gd name="T79" fmla="*/ 2147483647 h 95"/>
                <a:gd name="T80" fmla="*/ 2147483647 w 77"/>
                <a:gd name="T81" fmla="*/ 2147483647 h 95"/>
                <a:gd name="T82" fmla="*/ 2147483647 w 77"/>
                <a:gd name="T83" fmla="*/ 2147483647 h 95"/>
                <a:gd name="T84" fmla="*/ 2147483647 w 77"/>
                <a:gd name="T85" fmla="*/ 2147483647 h 95"/>
                <a:gd name="T86" fmla="*/ 2147483647 w 77"/>
                <a:gd name="T87" fmla="*/ 2147483647 h 95"/>
                <a:gd name="T88" fmla="*/ 2147483647 w 77"/>
                <a:gd name="T89" fmla="*/ 2147483647 h 95"/>
                <a:gd name="T90" fmla="*/ 2147483647 w 77"/>
                <a:gd name="T91" fmla="*/ 2147483647 h 95"/>
                <a:gd name="T92" fmla="*/ 2147483647 w 77"/>
                <a:gd name="T93" fmla="*/ 2147483647 h 95"/>
                <a:gd name="T94" fmla="*/ 2147483647 w 77"/>
                <a:gd name="T95" fmla="*/ 2147483647 h 95"/>
                <a:gd name="T96" fmla="*/ 2147483647 w 77"/>
                <a:gd name="T97" fmla="*/ 2147483647 h 95"/>
                <a:gd name="T98" fmla="*/ 2147483647 w 77"/>
                <a:gd name="T99" fmla="*/ 2147483647 h 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7"/>
                <a:gd name="T151" fmla="*/ 0 h 95"/>
                <a:gd name="T152" fmla="*/ 77 w 77"/>
                <a:gd name="T153" fmla="*/ 95 h 9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7" h="95">
                  <a:moveTo>
                    <a:pt x="74" y="33"/>
                  </a:moveTo>
                  <a:lnTo>
                    <a:pt x="74" y="33"/>
                  </a:lnTo>
                  <a:lnTo>
                    <a:pt x="73" y="32"/>
                  </a:lnTo>
                  <a:lnTo>
                    <a:pt x="70" y="32"/>
                  </a:lnTo>
                  <a:lnTo>
                    <a:pt x="69" y="32"/>
                  </a:lnTo>
                  <a:lnTo>
                    <a:pt x="68" y="31"/>
                  </a:lnTo>
                  <a:lnTo>
                    <a:pt x="65" y="28"/>
                  </a:lnTo>
                  <a:lnTo>
                    <a:pt x="60" y="25"/>
                  </a:lnTo>
                  <a:lnTo>
                    <a:pt x="56" y="24"/>
                  </a:lnTo>
                  <a:lnTo>
                    <a:pt x="47" y="25"/>
                  </a:lnTo>
                  <a:lnTo>
                    <a:pt x="45" y="24"/>
                  </a:lnTo>
                  <a:lnTo>
                    <a:pt x="45" y="22"/>
                  </a:lnTo>
                  <a:lnTo>
                    <a:pt x="46" y="19"/>
                  </a:lnTo>
                  <a:lnTo>
                    <a:pt x="52" y="12"/>
                  </a:lnTo>
                  <a:lnTo>
                    <a:pt x="54" y="9"/>
                  </a:lnTo>
                  <a:lnTo>
                    <a:pt x="52" y="8"/>
                  </a:lnTo>
                  <a:lnTo>
                    <a:pt x="51" y="3"/>
                  </a:lnTo>
                  <a:lnTo>
                    <a:pt x="51" y="2"/>
                  </a:lnTo>
                  <a:lnTo>
                    <a:pt x="52" y="0"/>
                  </a:lnTo>
                  <a:lnTo>
                    <a:pt x="49" y="1"/>
                  </a:lnTo>
                  <a:lnTo>
                    <a:pt x="47" y="2"/>
                  </a:lnTo>
                  <a:lnTo>
                    <a:pt x="46" y="3"/>
                  </a:lnTo>
                  <a:lnTo>
                    <a:pt x="45" y="5"/>
                  </a:lnTo>
                  <a:lnTo>
                    <a:pt x="45" y="3"/>
                  </a:lnTo>
                  <a:lnTo>
                    <a:pt x="42" y="2"/>
                  </a:lnTo>
                  <a:lnTo>
                    <a:pt x="41" y="5"/>
                  </a:lnTo>
                  <a:lnTo>
                    <a:pt x="40" y="2"/>
                  </a:lnTo>
                  <a:lnTo>
                    <a:pt x="39" y="1"/>
                  </a:lnTo>
                  <a:lnTo>
                    <a:pt x="37" y="2"/>
                  </a:lnTo>
                  <a:lnTo>
                    <a:pt x="36" y="2"/>
                  </a:lnTo>
                  <a:lnTo>
                    <a:pt x="36" y="7"/>
                  </a:lnTo>
                  <a:lnTo>
                    <a:pt x="35" y="11"/>
                  </a:lnTo>
                  <a:lnTo>
                    <a:pt x="35" y="15"/>
                  </a:lnTo>
                  <a:lnTo>
                    <a:pt x="33" y="19"/>
                  </a:lnTo>
                  <a:lnTo>
                    <a:pt x="26" y="27"/>
                  </a:lnTo>
                  <a:lnTo>
                    <a:pt x="23" y="30"/>
                  </a:lnTo>
                  <a:lnTo>
                    <a:pt x="22" y="30"/>
                  </a:lnTo>
                  <a:lnTo>
                    <a:pt x="18" y="28"/>
                  </a:lnTo>
                  <a:lnTo>
                    <a:pt x="17" y="28"/>
                  </a:lnTo>
                  <a:lnTo>
                    <a:pt x="14" y="28"/>
                  </a:lnTo>
                  <a:lnTo>
                    <a:pt x="12" y="28"/>
                  </a:lnTo>
                  <a:lnTo>
                    <a:pt x="11" y="30"/>
                  </a:lnTo>
                  <a:lnTo>
                    <a:pt x="11" y="33"/>
                  </a:lnTo>
                  <a:lnTo>
                    <a:pt x="16" y="43"/>
                  </a:lnTo>
                  <a:lnTo>
                    <a:pt x="14" y="44"/>
                  </a:lnTo>
                  <a:lnTo>
                    <a:pt x="14" y="45"/>
                  </a:lnTo>
                  <a:lnTo>
                    <a:pt x="16" y="48"/>
                  </a:lnTo>
                  <a:lnTo>
                    <a:pt x="17" y="48"/>
                  </a:lnTo>
                  <a:lnTo>
                    <a:pt x="18" y="47"/>
                  </a:lnTo>
                  <a:lnTo>
                    <a:pt x="21" y="46"/>
                  </a:lnTo>
                  <a:lnTo>
                    <a:pt x="23" y="46"/>
                  </a:lnTo>
                  <a:lnTo>
                    <a:pt x="25" y="47"/>
                  </a:lnTo>
                  <a:lnTo>
                    <a:pt x="25" y="52"/>
                  </a:lnTo>
                  <a:lnTo>
                    <a:pt x="25" y="57"/>
                  </a:lnTo>
                  <a:lnTo>
                    <a:pt x="23" y="60"/>
                  </a:lnTo>
                  <a:lnTo>
                    <a:pt x="21" y="62"/>
                  </a:lnTo>
                  <a:lnTo>
                    <a:pt x="19" y="63"/>
                  </a:lnTo>
                  <a:lnTo>
                    <a:pt x="18" y="64"/>
                  </a:lnTo>
                  <a:lnTo>
                    <a:pt x="18" y="66"/>
                  </a:lnTo>
                  <a:lnTo>
                    <a:pt x="18" y="69"/>
                  </a:lnTo>
                  <a:lnTo>
                    <a:pt x="13" y="70"/>
                  </a:lnTo>
                  <a:lnTo>
                    <a:pt x="9" y="71"/>
                  </a:lnTo>
                  <a:lnTo>
                    <a:pt x="4" y="72"/>
                  </a:lnTo>
                  <a:lnTo>
                    <a:pt x="0" y="75"/>
                  </a:lnTo>
                  <a:lnTo>
                    <a:pt x="0" y="76"/>
                  </a:lnTo>
                  <a:lnTo>
                    <a:pt x="0" y="77"/>
                  </a:lnTo>
                  <a:lnTo>
                    <a:pt x="3" y="77"/>
                  </a:lnTo>
                  <a:lnTo>
                    <a:pt x="8" y="77"/>
                  </a:lnTo>
                  <a:lnTo>
                    <a:pt x="11" y="76"/>
                  </a:lnTo>
                  <a:lnTo>
                    <a:pt x="13" y="77"/>
                  </a:lnTo>
                  <a:lnTo>
                    <a:pt x="9" y="79"/>
                  </a:lnTo>
                  <a:lnTo>
                    <a:pt x="5" y="83"/>
                  </a:lnTo>
                  <a:lnTo>
                    <a:pt x="3" y="85"/>
                  </a:lnTo>
                  <a:lnTo>
                    <a:pt x="3" y="88"/>
                  </a:lnTo>
                  <a:lnTo>
                    <a:pt x="3" y="90"/>
                  </a:lnTo>
                  <a:lnTo>
                    <a:pt x="4" y="90"/>
                  </a:lnTo>
                  <a:lnTo>
                    <a:pt x="5" y="89"/>
                  </a:lnTo>
                  <a:lnTo>
                    <a:pt x="8" y="86"/>
                  </a:lnTo>
                  <a:lnTo>
                    <a:pt x="9" y="86"/>
                  </a:lnTo>
                  <a:lnTo>
                    <a:pt x="11" y="88"/>
                  </a:lnTo>
                  <a:lnTo>
                    <a:pt x="11" y="90"/>
                  </a:lnTo>
                  <a:lnTo>
                    <a:pt x="11" y="92"/>
                  </a:lnTo>
                  <a:lnTo>
                    <a:pt x="13" y="91"/>
                  </a:lnTo>
                  <a:lnTo>
                    <a:pt x="16" y="89"/>
                  </a:lnTo>
                  <a:lnTo>
                    <a:pt x="18" y="89"/>
                  </a:lnTo>
                  <a:lnTo>
                    <a:pt x="19" y="89"/>
                  </a:lnTo>
                  <a:lnTo>
                    <a:pt x="21" y="90"/>
                  </a:lnTo>
                  <a:lnTo>
                    <a:pt x="23" y="90"/>
                  </a:lnTo>
                  <a:lnTo>
                    <a:pt x="25" y="90"/>
                  </a:lnTo>
                  <a:lnTo>
                    <a:pt x="26" y="92"/>
                  </a:lnTo>
                  <a:lnTo>
                    <a:pt x="28" y="92"/>
                  </a:lnTo>
                  <a:lnTo>
                    <a:pt x="30" y="92"/>
                  </a:lnTo>
                  <a:lnTo>
                    <a:pt x="32" y="94"/>
                  </a:lnTo>
                  <a:lnTo>
                    <a:pt x="33" y="95"/>
                  </a:lnTo>
                  <a:lnTo>
                    <a:pt x="35" y="95"/>
                  </a:lnTo>
                  <a:lnTo>
                    <a:pt x="40" y="90"/>
                  </a:lnTo>
                  <a:lnTo>
                    <a:pt x="45" y="85"/>
                  </a:lnTo>
                  <a:lnTo>
                    <a:pt x="51" y="83"/>
                  </a:lnTo>
                  <a:lnTo>
                    <a:pt x="58" y="80"/>
                  </a:lnTo>
                  <a:lnTo>
                    <a:pt x="60" y="78"/>
                  </a:lnTo>
                  <a:lnTo>
                    <a:pt x="63" y="76"/>
                  </a:lnTo>
                  <a:lnTo>
                    <a:pt x="66" y="73"/>
                  </a:lnTo>
                  <a:lnTo>
                    <a:pt x="70" y="73"/>
                  </a:lnTo>
                  <a:lnTo>
                    <a:pt x="74" y="71"/>
                  </a:lnTo>
                  <a:lnTo>
                    <a:pt x="75" y="70"/>
                  </a:lnTo>
                  <a:lnTo>
                    <a:pt x="75" y="67"/>
                  </a:lnTo>
                  <a:lnTo>
                    <a:pt x="73" y="62"/>
                  </a:lnTo>
                  <a:lnTo>
                    <a:pt x="73" y="54"/>
                  </a:lnTo>
                  <a:lnTo>
                    <a:pt x="73" y="47"/>
                  </a:lnTo>
                  <a:lnTo>
                    <a:pt x="75" y="41"/>
                  </a:lnTo>
                  <a:lnTo>
                    <a:pt x="77" y="39"/>
                  </a:lnTo>
                  <a:lnTo>
                    <a:pt x="75" y="37"/>
                  </a:lnTo>
                  <a:lnTo>
                    <a:pt x="74" y="3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1" name="Freeform 1110"/>
            <p:cNvSpPr>
              <a:spLocks/>
            </p:cNvSpPr>
            <p:nvPr/>
          </p:nvSpPr>
          <p:spPr bwMode="auto">
            <a:xfrm>
              <a:off x="3730629" y="2071692"/>
              <a:ext cx="276225" cy="142875"/>
            </a:xfrm>
            <a:custGeom>
              <a:avLst/>
              <a:gdLst>
                <a:gd name="T0" fmla="*/ 2147483647 w 188"/>
                <a:gd name="T1" fmla="*/ 2147483647 h 90"/>
                <a:gd name="T2" fmla="*/ 2147483647 w 188"/>
                <a:gd name="T3" fmla="*/ 2147483647 h 90"/>
                <a:gd name="T4" fmla="*/ 2147483647 w 188"/>
                <a:gd name="T5" fmla="*/ 2147483647 h 90"/>
                <a:gd name="T6" fmla="*/ 2147483647 w 188"/>
                <a:gd name="T7" fmla="*/ 2147483647 h 90"/>
                <a:gd name="T8" fmla="*/ 2147483647 w 188"/>
                <a:gd name="T9" fmla="*/ 2147483647 h 90"/>
                <a:gd name="T10" fmla="*/ 2147483647 w 188"/>
                <a:gd name="T11" fmla="*/ 2147483647 h 90"/>
                <a:gd name="T12" fmla="*/ 2147483647 w 188"/>
                <a:gd name="T13" fmla="*/ 2147483647 h 90"/>
                <a:gd name="T14" fmla="*/ 2147483647 w 188"/>
                <a:gd name="T15" fmla="*/ 2147483647 h 90"/>
                <a:gd name="T16" fmla="*/ 2147483647 w 188"/>
                <a:gd name="T17" fmla="*/ 2147483647 h 90"/>
                <a:gd name="T18" fmla="*/ 2147483647 w 188"/>
                <a:gd name="T19" fmla="*/ 2147483647 h 90"/>
                <a:gd name="T20" fmla="*/ 2147483647 w 188"/>
                <a:gd name="T21" fmla="*/ 2147483647 h 90"/>
                <a:gd name="T22" fmla="*/ 2147483647 w 188"/>
                <a:gd name="T23" fmla="*/ 2147483647 h 90"/>
                <a:gd name="T24" fmla="*/ 2147483647 w 188"/>
                <a:gd name="T25" fmla="*/ 2147483647 h 90"/>
                <a:gd name="T26" fmla="*/ 2147483647 w 188"/>
                <a:gd name="T27" fmla="*/ 2147483647 h 90"/>
                <a:gd name="T28" fmla="*/ 2147483647 w 188"/>
                <a:gd name="T29" fmla="*/ 2147483647 h 90"/>
                <a:gd name="T30" fmla="*/ 2147483647 w 188"/>
                <a:gd name="T31" fmla="*/ 2147483647 h 90"/>
                <a:gd name="T32" fmla="*/ 2147483647 w 188"/>
                <a:gd name="T33" fmla="*/ 2147483647 h 90"/>
                <a:gd name="T34" fmla="*/ 2147483647 w 188"/>
                <a:gd name="T35" fmla="*/ 2147483647 h 90"/>
                <a:gd name="T36" fmla="*/ 2147483647 w 188"/>
                <a:gd name="T37" fmla="*/ 2147483647 h 90"/>
                <a:gd name="T38" fmla="*/ 2147483647 w 188"/>
                <a:gd name="T39" fmla="*/ 2147483647 h 90"/>
                <a:gd name="T40" fmla="*/ 2147483647 w 188"/>
                <a:gd name="T41" fmla="*/ 2147483647 h 90"/>
                <a:gd name="T42" fmla="*/ 2147483647 w 188"/>
                <a:gd name="T43" fmla="*/ 2147483647 h 90"/>
                <a:gd name="T44" fmla="*/ 2147483647 w 188"/>
                <a:gd name="T45" fmla="*/ 2147483647 h 90"/>
                <a:gd name="T46" fmla="*/ 2147483647 w 188"/>
                <a:gd name="T47" fmla="*/ 2147483647 h 90"/>
                <a:gd name="T48" fmla="*/ 2147483647 w 188"/>
                <a:gd name="T49" fmla="*/ 2147483647 h 90"/>
                <a:gd name="T50" fmla="*/ 2147483647 w 188"/>
                <a:gd name="T51" fmla="*/ 2147483647 h 90"/>
                <a:gd name="T52" fmla="*/ 2147483647 w 188"/>
                <a:gd name="T53" fmla="*/ 2147483647 h 90"/>
                <a:gd name="T54" fmla="*/ 2147483647 w 188"/>
                <a:gd name="T55" fmla="*/ 2147483647 h 90"/>
                <a:gd name="T56" fmla="*/ 2147483647 w 188"/>
                <a:gd name="T57" fmla="*/ 2147483647 h 90"/>
                <a:gd name="T58" fmla="*/ 2147483647 w 188"/>
                <a:gd name="T59" fmla="*/ 2147483647 h 90"/>
                <a:gd name="T60" fmla="*/ 2147483647 w 188"/>
                <a:gd name="T61" fmla="*/ 2147483647 h 90"/>
                <a:gd name="T62" fmla="*/ 2147483647 w 188"/>
                <a:gd name="T63" fmla="*/ 2147483647 h 90"/>
                <a:gd name="T64" fmla="*/ 2147483647 w 188"/>
                <a:gd name="T65" fmla="*/ 2147483647 h 90"/>
                <a:gd name="T66" fmla="*/ 2147483647 w 188"/>
                <a:gd name="T67" fmla="*/ 2147483647 h 90"/>
                <a:gd name="T68" fmla="*/ 2147483647 w 188"/>
                <a:gd name="T69" fmla="*/ 2147483647 h 90"/>
                <a:gd name="T70" fmla="*/ 2147483647 w 188"/>
                <a:gd name="T71" fmla="*/ 2147483647 h 90"/>
                <a:gd name="T72" fmla="*/ 2147483647 w 188"/>
                <a:gd name="T73" fmla="*/ 2147483647 h 90"/>
                <a:gd name="T74" fmla="*/ 2147483647 w 188"/>
                <a:gd name="T75" fmla="*/ 2147483647 h 90"/>
                <a:gd name="T76" fmla="*/ 2147483647 w 188"/>
                <a:gd name="T77" fmla="*/ 2147483647 h 90"/>
                <a:gd name="T78" fmla="*/ 2147483647 w 188"/>
                <a:gd name="T79" fmla="*/ 2147483647 h 90"/>
                <a:gd name="T80" fmla="*/ 2147483647 w 188"/>
                <a:gd name="T81" fmla="*/ 2147483647 h 90"/>
                <a:gd name="T82" fmla="*/ 2147483647 w 188"/>
                <a:gd name="T83" fmla="*/ 2147483647 h 90"/>
                <a:gd name="T84" fmla="*/ 2147483647 w 188"/>
                <a:gd name="T85" fmla="*/ 2147483647 h 90"/>
                <a:gd name="T86" fmla="*/ 2147483647 w 188"/>
                <a:gd name="T87" fmla="*/ 2147483647 h 90"/>
                <a:gd name="T88" fmla="*/ 2147483647 w 188"/>
                <a:gd name="T89" fmla="*/ 2147483647 h 90"/>
                <a:gd name="T90" fmla="*/ 2147483647 w 188"/>
                <a:gd name="T91" fmla="*/ 2147483647 h 90"/>
                <a:gd name="T92" fmla="*/ 2147483647 w 188"/>
                <a:gd name="T93" fmla="*/ 2147483647 h 90"/>
                <a:gd name="T94" fmla="*/ 2147483647 w 188"/>
                <a:gd name="T95" fmla="*/ 2147483647 h 90"/>
                <a:gd name="T96" fmla="*/ 2147483647 w 188"/>
                <a:gd name="T97" fmla="*/ 2147483647 h 90"/>
                <a:gd name="T98" fmla="*/ 2147483647 w 188"/>
                <a:gd name="T99" fmla="*/ 2147483647 h 90"/>
                <a:gd name="T100" fmla="*/ 2147483647 w 188"/>
                <a:gd name="T101" fmla="*/ 2147483647 h 90"/>
                <a:gd name="T102" fmla="*/ 2147483647 w 188"/>
                <a:gd name="T103" fmla="*/ 2147483647 h 90"/>
                <a:gd name="T104" fmla="*/ 2147483647 w 188"/>
                <a:gd name="T105" fmla="*/ 2147483647 h 90"/>
                <a:gd name="T106" fmla="*/ 2147483647 w 188"/>
                <a:gd name="T107" fmla="*/ 2147483647 h 90"/>
                <a:gd name="T108" fmla="*/ 2147483647 w 188"/>
                <a:gd name="T109" fmla="*/ 2147483647 h 90"/>
                <a:gd name="T110" fmla="*/ 2147483647 w 188"/>
                <a:gd name="T111" fmla="*/ 2147483647 h 90"/>
                <a:gd name="T112" fmla="*/ 2147483647 w 188"/>
                <a:gd name="T113" fmla="*/ 2147483647 h 90"/>
                <a:gd name="T114" fmla="*/ 2147483647 w 188"/>
                <a:gd name="T115" fmla="*/ 2147483647 h 90"/>
                <a:gd name="T116" fmla="*/ 2147483647 w 188"/>
                <a:gd name="T117" fmla="*/ 2147483647 h 90"/>
                <a:gd name="T118" fmla="*/ 2147483647 w 188"/>
                <a:gd name="T119" fmla="*/ 2147483647 h 90"/>
                <a:gd name="T120" fmla="*/ 2147483647 w 188"/>
                <a:gd name="T121" fmla="*/ 2147483647 h 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8"/>
                <a:gd name="T184" fmla="*/ 0 h 90"/>
                <a:gd name="T185" fmla="*/ 188 w 188"/>
                <a:gd name="T186" fmla="*/ 90 h 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8" h="90">
                  <a:moveTo>
                    <a:pt x="152" y="10"/>
                  </a:moveTo>
                  <a:lnTo>
                    <a:pt x="149" y="9"/>
                  </a:lnTo>
                  <a:lnTo>
                    <a:pt x="146" y="5"/>
                  </a:lnTo>
                  <a:lnTo>
                    <a:pt x="142" y="3"/>
                  </a:lnTo>
                  <a:lnTo>
                    <a:pt x="141" y="3"/>
                  </a:lnTo>
                  <a:lnTo>
                    <a:pt x="138" y="3"/>
                  </a:lnTo>
                  <a:lnTo>
                    <a:pt x="137" y="4"/>
                  </a:lnTo>
                  <a:lnTo>
                    <a:pt x="136" y="6"/>
                  </a:lnTo>
                  <a:lnTo>
                    <a:pt x="133" y="10"/>
                  </a:lnTo>
                  <a:lnTo>
                    <a:pt x="132" y="13"/>
                  </a:lnTo>
                  <a:lnTo>
                    <a:pt x="130" y="15"/>
                  </a:lnTo>
                  <a:lnTo>
                    <a:pt x="128" y="15"/>
                  </a:lnTo>
                  <a:lnTo>
                    <a:pt x="126" y="13"/>
                  </a:lnTo>
                  <a:lnTo>
                    <a:pt x="124" y="12"/>
                  </a:lnTo>
                  <a:lnTo>
                    <a:pt x="122" y="11"/>
                  </a:lnTo>
                  <a:lnTo>
                    <a:pt x="121" y="11"/>
                  </a:lnTo>
                  <a:lnTo>
                    <a:pt x="116" y="13"/>
                  </a:lnTo>
                  <a:lnTo>
                    <a:pt x="113" y="15"/>
                  </a:lnTo>
                  <a:lnTo>
                    <a:pt x="105" y="12"/>
                  </a:lnTo>
                  <a:lnTo>
                    <a:pt x="102" y="15"/>
                  </a:lnTo>
                  <a:lnTo>
                    <a:pt x="102" y="18"/>
                  </a:lnTo>
                  <a:lnTo>
                    <a:pt x="102" y="20"/>
                  </a:lnTo>
                  <a:lnTo>
                    <a:pt x="100" y="22"/>
                  </a:lnTo>
                  <a:lnTo>
                    <a:pt x="99" y="23"/>
                  </a:lnTo>
                  <a:lnTo>
                    <a:pt x="97" y="22"/>
                  </a:lnTo>
                  <a:lnTo>
                    <a:pt x="95" y="17"/>
                  </a:lnTo>
                  <a:lnTo>
                    <a:pt x="95" y="12"/>
                  </a:lnTo>
                  <a:lnTo>
                    <a:pt x="94" y="9"/>
                  </a:lnTo>
                  <a:lnTo>
                    <a:pt x="93" y="9"/>
                  </a:lnTo>
                  <a:lnTo>
                    <a:pt x="90" y="9"/>
                  </a:lnTo>
                  <a:lnTo>
                    <a:pt x="86" y="10"/>
                  </a:lnTo>
                  <a:lnTo>
                    <a:pt x="84" y="13"/>
                  </a:lnTo>
                  <a:lnTo>
                    <a:pt x="83" y="17"/>
                  </a:lnTo>
                  <a:lnTo>
                    <a:pt x="79" y="19"/>
                  </a:lnTo>
                  <a:lnTo>
                    <a:pt x="76" y="19"/>
                  </a:lnTo>
                  <a:lnTo>
                    <a:pt x="75" y="18"/>
                  </a:lnTo>
                  <a:lnTo>
                    <a:pt x="72" y="12"/>
                  </a:lnTo>
                  <a:lnTo>
                    <a:pt x="71" y="10"/>
                  </a:lnTo>
                  <a:lnTo>
                    <a:pt x="67" y="9"/>
                  </a:lnTo>
                  <a:lnTo>
                    <a:pt x="65" y="9"/>
                  </a:lnTo>
                  <a:lnTo>
                    <a:pt x="62" y="11"/>
                  </a:lnTo>
                  <a:lnTo>
                    <a:pt x="62" y="15"/>
                  </a:lnTo>
                  <a:lnTo>
                    <a:pt x="62" y="18"/>
                  </a:lnTo>
                  <a:lnTo>
                    <a:pt x="61" y="20"/>
                  </a:lnTo>
                  <a:lnTo>
                    <a:pt x="60" y="24"/>
                  </a:lnTo>
                  <a:lnTo>
                    <a:pt x="56" y="29"/>
                  </a:lnTo>
                  <a:lnTo>
                    <a:pt x="53" y="36"/>
                  </a:lnTo>
                  <a:lnTo>
                    <a:pt x="52" y="38"/>
                  </a:lnTo>
                  <a:lnTo>
                    <a:pt x="51" y="39"/>
                  </a:lnTo>
                  <a:lnTo>
                    <a:pt x="50" y="39"/>
                  </a:lnTo>
                  <a:lnTo>
                    <a:pt x="48" y="37"/>
                  </a:lnTo>
                  <a:lnTo>
                    <a:pt x="47" y="32"/>
                  </a:lnTo>
                  <a:lnTo>
                    <a:pt x="44" y="28"/>
                  </a:lnTo>
                  <a:lnTo>
                    <a:pt x="44" y="26"/>
                  </a:lnTo>
                  <a:lnTo>
                    <a:pt x="44" y="25"/>
                  </a:lnTo>
                  <a:lnTo>
                    <a:pt x="47" y="23"/>
                  </a:lnTo>
                  <a:lnTo>
                    <a:pt x="50" y="18"/>
                  </a:lnTo>
                  <a:lnTo>
                    <a:pt x="48" y="17"/>
                  </a:lnTo>
                  <a:lnTo>
                    <a:pt x="48" y="15"/>
                  </a:lnTo>
                  <a:lnTo>
                    <a:pt x="43" y="9"/>
                  </a:lnTo>
                  <a:lnTo>
                    <a:pt x="33" y="0"/>
                  </a:lnTo>
                  <a:lnTo>
                    <a:pt x="32" y="0"/>
                  </a:lnTo>
                  <a:lnTo>
                    <a:pt x="29" y="1"/>
                  </a:lnTo>
                  <a:lnTo>
                    <a:pt x="28" y="3"/>
                  </a:lnTo>
                  <a:lnTo>
                    <a:pt x="28" y="4"/>
                  </a:lnTo>
                  <a:lnTo>
                    <a:pt x="32" y="7"/>
                  </a:lnTo>
                  <a:lnTo>
                    <a:pt x="32" y="10"/>
                  </a:lnTo>
                  <a:lnTo>
                    <a:pt x="32" y="12"/>
                  </a:lnTo>
                  <a:lnTo>
                    <a:pt x="29" y="13"/>
                  </a:lnTo>
                  <a:lnTo>
                    <a:pt x="25" y="15"/>
                  </a:lnTo>
                  <a:lnTo>
                    <a:pt x="23" y="15"/>
                  </a:lnTo>
                  <a:lnTo>
                    <a:pt x="20" y="17"/>
                  </a:lnTo>
                  <a:lnTo>
                    <a:pt x="18" y="22"/>
                  </a:lnTo>
                  <a:lnTo>
                    <a:pt x="15" y="24"/>
                  </a:lnTo>
                  <a:lnTo>
                    <a:pt x="8" y="26"/>
                  </a:lnTo>
                  <a:lnTo>
                    <a:pt x="5" y="30"/>
                  </a:lnTo>
                  <a:lnTo>
                    <a:pt x="4" y="31"/>
                  </a:lnTo>
                  <a:lnTo>
                    <a:pt x="4" y="32"/>
                  </a:lnTo>
                  <a:lnTo>
                    <a:pt x="6" y="32"/>
                  </a:lnTo>
                  <a:lnTo>
                    <a:pt x="9" y="32"/>
                  </a:lnTo>
                  <a:lnTo>
                    <a:pt x="13" y="31"/>
                  </a:lnTo>
                  <a:lnTo>
                    <a:pt x="15" y="32"/>
                  </a:lnTo>
                  <a:lnTo>
                    <a:pt x="17" y="32"/>
                  </a:lnTo>
                  <a:lnTo>
                    <a:pt x="19" y="31"/>
                  </a:lnTo>
                  <a:lnTo>
                    <a:pt x="23" y="29"/>
                  </a:lnTo>
                  <a:lnTo>
                    <a:pt x="27" y="28"/>
                  </a:lnTo>
                  <a:lnTo>
                    <a:pt x="31" y="29"/>
                  </a:lnTo>
                  <a:lnTo>
                    <a:pt x="32" y="30"/>
                  </a:lnTo>
                  <a:lnTo>
                    <a:pt x="33" y="32"/>
                  </a:lnTo>
                  <a:lnTo>
                    <a:pt x="33" y="36"/>
                  </a:lnTo>
                  <a:lnTo>
                    <a:pt x="32" y="39"/>
                  </a:lnTo>
                  <a:lnTo>
                    <a:pt x="24" y="41"/>
                  </a:lnTo>
                  <a:lnTo>
                    <a:pt x="17" y="43"/>
                  </a:lnTo>
                  <a:lnTo>
                    <a:pt x="10" y="44"/>
                  </a:lnTo>
                  <a:lnTo>
                    <a:pt x="3" y="45"/>
                  </a:lnTo>
                  <a:lnTo>
                    <a:pt x="1" y="47"/>
                  </a:lnTo>
                  <a:lnTo>
                    <a:pt x="0" y="49"/>
                  </a:lnTo>
                  <a:lnTo>
                    <a:pt x="0" y="50"/>
                  </a:lnTo>
                  <a:lnTo>
                    <a:pt x="1" y="51"/>
                  </a:lnTo>
                  <a:lnTo>
                    <a:pt x="4" y="51"/>
                  </a:lnTo>
                  <a:lnTo>
                    <a:pt x="10" y="51"/>
                  </a:lnTo>
                  <a:lnTo>
                    <a:pt x="15" y="50"/>
                  </a:lnTo>
                  <a:lnTo>
                    <a:pt x="20" y="50"/>
                  </a:lnTo>
                  <a:lnTo>
                    <a:pt x="22" y="50"/>
                  </a:lnTo>
                  <a:lnTo>
                    <a:pt x="24" y="51"/>
                  </a:lnTo>
                  <a:lnTo>
                    <a:pt x="25" y="54"/>
                  </a:lnTo>
                  <a:lnTo>
                    <a:pt x="27" y="56"/>
                  </a:lnTo>
                  <a:lnTo>
                    <a:pt x="29" y="57"/>
                  </a:lnTo>
                  <a:lnTo>
                    <a:pt x="36" y="56"/>
                  </a:lnTo>
                  <a:lnTo>
                    <a:pt x="37" y="57"/>
                  </a:lnTo>
                  <a:lnTo>
                    <a:pt x="37" y="58"/>
                  </a:lnTo>
                  <a:lnTo>
                    <a:pt x="38" y="62"/>
                  </a:lnTo>
                  <a:lnTo>
                    <a:pt x="39" y="63"/>
                  </a:lnTo>
                  <a:lnTo>
                    <a:pt x="41" y="64"/>
                  </a:lnTo>
                  <a:lnTo>
                    <a:pt x="41" y="67"/>
                  </a:lnTo>
                  <a:lnTo>
                    <a:pt x="39" y="68"/>
                  </a:lnTo>
                  <a:lnTo>
                    <a:pt x="38" y="69"/>
                  </a:lnTo>
                  <a:lnTo>
                    <a:pt x="36" y="69"/>
                  </a:lnTo>
                  <a:lnTo>
                    <a:pt x="31" y="69"/>
                  </a:lnTo>
                  <a:lnTo>
                    <a:pt x="28" y="69"/>
                  </a:lnTo>
                  <a:lnTo>
                    <a:pt x="27" y="70"/>
                  </a:lnTo>
                  <a:lnTo>
                    <a:pt x="27" y="71"/>
                  </a:lnTo>
                  <a:lnTo>
                    <a:pt x="27" y="75"/>
                  </a:lnTo>
                  <a:lnTo>
                    <a:pt x="28" y="79"/>
                  </a:lnTo>
                  <a:lnTo>
                    <a:pt x="33" y="82"/>
                  </a:lnTo>
                  <a:lnTo>
                    <a:pt x="36" y="82"/>
                  </a:lnTo>
                  <a:lnTo>
                    <a:pt x="39" y="81"/>
                  </a:lnTo>
                  <a:lnTo>
                    <a:pt x="42" y="79"/>
                  </a:lnTo>
                  <a:lnTo>
                    <a:pt x="46" y="79"/>
                  </a:lnTo>
                  <a:lnTo>
                    <a:pt x="50" y="81"/>
                  </a:lnTo>
                  <a:lnTo>
                    <a:pt x="52" y="80"/>
                  </a:lnTo>
                  <a:lnTo>
                    <a:pt x="53" y="79"/>
                  </a:lnTo>
                  <a:lnTo>
                    <a:pt x="56" y="80"/>
                  </a:lnTo>
                  <a:lnTo>
                    <a:pt x="58" y="82"/>
                  </a:lnTo>
                  <a:lnTo>
                    <a:pt x="60" y="84"/>
                  </a:lnTo>
                  <a:lnTo>
                    <a:pt x="62" y="86"/>
                  </a:lnTo>
                  <a:lnTo>
                    <a:pt x="65" y="87"/>
                  </a:lnTo>
                  <a:lnTo>
                    <a:pt x="69" y="87"/>
                  </a:lnTo>
                  <a:lnTo>
                    <a:pt x="75" y="84"/>
                  </a:lnTo>
                  <a:lnTo>
                    <a:pt x="77" y="84"/>
                  </a:lnTo>
                  <a:lnTo>
                    <a:pt x="79" y="86"/>
                  </a:lnTo>
                  <a:lnTo>
                    <a:pt x="83" y="88"/>
                  </a:lnTo>
                  <a:lnTo>
                    <a:pt x="86" y="90"/>
                  </a:lnTo>
                  <a:lnTo>
                    <a:pt x="88" y="90"/>
                  </a:lnTo>
                  <a:lnTo>
                    <a:pt x="90" y="90"/>
                  </a:lnTo>
                  <a:lnTo>
                    <a:pt x="99" y="88"/>
                  </a:lnTo>
                  <a:lnTo>
                    <a:pt x="107" y="86"/>
                  </a:lnTo>
                  <a:lnTo>
                    <a:pt x="111" y="84"/>
                  </a:lnTo>
                  <a:lnTo>
                    <a:pt x="113" y="82"/>
                  </a:lnTo>
                  <a:lnTo>
                    <a:pt x="119" y="77"/>
                  </a:lnTo>
                  <a:lnTo>
                    <a:pt x="123" y="76"/>
                  </a:lnTo>
                  <a:lnTo>
                    <a:pt x="127" y="76"/>
                  </a:lnTo>
                  <a:lnTo>
                    <a:pt x="130" y="77"/>
                  </a:lnTo>
                  <a:lnTo>
                    <a:pt x="133" y="76"/>
                  </a:lnTo>
                  <a:lnTo>
                    <a:pt x="136" y="75"/>
                  </a:lnTo>
                  <a:lnTo>
                    <a:pt x="137" y="73"/>
                  </a:lnTo>
                  <a:lnTo>
                    <a:pt x="138" y="70"/>
                  </a:lnTo>
                  <a:lnTo>
                    <a:pt x="141" y="68"/>
                  </a:lnTo>
                  <a:lnTo>
                    <a:pt x="146" y="65"/>
                  </a:lnTo>
                  <a:lnTo>
                    <a:pt x="152" y="64"/>
                  </a:lnTo>
                  <a:lnTo>
                    <a:pt x="159" y="64"/>
                  </a:lnTo>
                  <a:lnTo>
                    <a:pt x="161" y="63"/>
                  </a:lnTo>
                  <a:lnTo>
                    <a:pt x="163" y="62"/>
                  </a:lnTo>
                  <a:lnTo>
                    <a:pt x="168" y="58"/>
                  </a:lnTo>
                  <a:lnTo>
                    <a:pt x="171" y="57"/>
                  </a:lnTo>
                  <a:lnTo>
                    <a:pt x="175" y="56"/>
                  </a:lnTo>
                  <a:lnTo>
                    <a:pt x="177" y="55"/>
                  </a:lnTo>
                  <a:lnTo>
                    <a:pt x="177" y="52"/>
                  </a:lnTo>
                  <a:lnTo>
                    <a:pt x="175" y="50"/>
                  </a:lnTo>
                  <a:lnTo>
                    <a:pt x="175" y="49"/>
                  </a:lnTo>
                  <a:lnTo>
                    <a:pt x="178" y="47"/>
                  </a:lnTo>
                  <a:lnTo>
                    <a:pt x="180" y="44"/>
                  </a:lnTo>
                  <a:lnTo>
                    <a:pt x="184" y="43"/>
                  </a:lnTo>
                  <a:lnTo>
                    <a:pt x="188" y="42"/>
                  </a:lnTo>
                  <a:lnTo>
                    <a:pt x="188" y="41"/>
                  </a:lnTo>
                  <a:lnTo>
                    <a:pt x="187" y="39"/>
                  </a:lnTo>
                  <a:lnTo>
                    <a:pt x="183" y="37"/>
                  </a:lnTo>
                  <a:lnTo>
                    <a:pt x="180" y="35"/>
                  </a:lnTo>
                  <a:lnTo>
                    <a:pt x="179" y="31"/>
                  </a:lnTo>
                  <a:lnTo>
                    <a:pt x="178" y="29"/>
                  </a:lnTo>
                  <a:lnTo>
                    <a:pt x="168" y="19"/>
                  </a:lnTo>
                  <a:lnTo>
                    <a:pt x="159" y="13"/>
                  </a:lnTo>
                  <a:lnTo>
                    <a:pt x="152"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2" name="Freeform 1111"/>
            <p:cNvSpPr>
              <a:spLocks/>
            </p:cNvSpPr>
            <p:nvPr/>
          </p:nvSpPr>
          <p:spPr bwMode="auto">
            <a:xfrm>
              <a:off x="5654676" y="1751014"/>
              <a:ext cx="158750" cy="128587"/>
            </a:xfrm>
            <a:custGeom>
              <a:avLst/>
              <a:gdLst>
                <a:gd name="T0" fmla="*/ 2147483647 w 108"/>
                <a:gd name="T1" fmla="*/ 2147483647 h 81"/>
                <a:gd name="T2" fmla="*/ 2147483647 w 108"/>
                <a:gd name="T3" fmla="*/ 0 h 81"/>
                <a:gd name="T4" fmla="*/ 2147483647 w 108"/>
                <a:gd name="T5" fmla="*/ 2147483647 h 81"/>
                <a:gd name="T6" fmla="*/ 2147483647 w 108"/>
                <a:gd name="T7" fmla="*/ 2147483647 h 81"/>
                <a:gd name="T8" fmla="*/ 2147483647 w 108"/>
                <a:gd name="T9" fmla="*/ 2147483647 h 81"/>
                <a:gd name="T10" fmla="*/ 2147483647 w 108"/>
                <a:gd name="T11" fmla="*/ 2147483647 h 81"/>
                <a:gd name="T12" fmla="*/ 2147483647 w 108"/>
                <a:gd name="T13" fmla="*/ 2147483647 h 81"/>
                <a:gd name="T14" fmla="*/ 2147483647 w 108"/>
                <a:gd name="T15" fmla="*/ 2147483647 h 81"/>
                <a:gd name="T16" fmla="*/ 2147483647 w 108"/>
                <a:gd name="T17" fmla="*/ 2147483647 h 81"/>
                <a:gd name="T18" fmla="*/ 2147483647 w 108"/>
                <a:gd name="T19" fmla="*/ 2147483647 h 81"/>
                <a:gd name="T20" fmla="*/ 2147483647 w 108"/>
                <a:gd name="T21" fmla="*/ 2147483647 h 81"/>
                <a:gd name="T22" fmla="*/ 2147483647 w 108"/>
                <a:gd name="T23" fmla="*/ 2147483647 h 81"/>
                <a:gd name="T24" fmla="*/ 2147483647 w 108"/>
                <a:gd name="T25" fmla="*/ 2147483647 h 81"/>
                <a:gd name="T26" fmla="*/ 2147483647 w 108"/>
                <a:gd name="T27" fmla="*/ 2147483647 h 81"/>
                <a:gd name="T28" fmla="*/ 2147483647 w 108"/>
                <a:gd name="T29" fmla="*/ 2147483647 h 81"/>
                <a:gd name="T30" fmla="*/ 2147483647 w 108"/>
                <a:gd name="T31" fmla="*/ 2147483647 h 81"/>
                <a:gd name="T32" fmla="*/ 2147483647 w 108"/>
                <a:gd name="T33" fmla="*/ 2147483647 h 81"/>
                <a:gd name="T34" fmla="*/ 2147483647 w 108"/>
                <a:gd name="T35" fmla="*/ 2147483647 h 81"/>
                <a:gd name="T36" fmla="*/ 2147483647 w 108"/>
                <a:gd name="T37" fmla="*/ 2147483647 h 81"/>
                <a:gd name="T38" fmla="*/ 2147483647 w 108"/>
                <a:gd name="T39" fmla="*/ 2147483647 h 81"/>
                <a:gd name="T40" fmla="*/ 2147483647 w 108"/>
                <a:gd name="T41" fmla="*/ 2147483647 h 81"/>
                <a:gd name="T42" fmla="*/ 2147483647 w 108"/>
                <a:gd name="T43" fmla="*/ 2147483647 h 81"/>
                <a:gd name="T44" fmla="*/ 2147483647 w 108"/>
                <a:gd name="T45" fmla="*/ 2147483647 h 81"/>
                <a:gd name="T46" fmla="*/ 2147483647 w 108"/>
                <a:gd name="T47" fmla="*/ 2147483647 h 81"/>
                <a:gd name="T48" fmla="*/ 2147483647 w 108"/>
                <a:gd name="T49" fmla="*/ 2147483647 h 81"/>
                <a:gd name="T50" fmla="*/ 2147483647 w 108"/>
                <a:gd name="T51" fmla="*/ 2147483647 h 81"/>
                <a:gd name="T52" fmla="*/ 2147483647 w 108"/>
                <a:gd name="T53" fmla="*/ 2147483647 h 81"/>
                <a:gd name="T54" fmla="*/ 2147483647 w 108"/>
                <a:gd name="T55" fmla="*/ 2147483647 h 81"/>
                <a:gd name="T56" fmla="*/ 2147483647 w 108"/>
                <a:gd name="T57" fmla="*/ 2147483647 h 81"/>
                <a:gd name="T58" fmla="*/ 2147483647 w 108"/>
                <a:gd name="T59" fmla="*/ 2147483647 h 81"/>
                <a:gd name="T60" fmla="*/ 2147483647 w 108"/>
                <a:gd name="T61" fmla="*/ 2147483647 h 81"/>
                <a:gd name="T62" fmla="*/ 2147483647 w 108"/>
                <a:gd name="T63" fmla="*/ 2147483647 h 81"/>
                <a:gd name="T64" fmla="*/ 2147483647 w 108"/>
                <a:gd name="T65" fmla="*/ 2147483647 h 81"/>
                <a:gd name="T66" fmla="*/ 2147483647 w 108"/>
                <a:gd name="T67" fmla="*/ 2147483647 h 81"/>
                <a:gd name="T68" fmla="*/ 2147483647 w 108"/>
                <a:gd name="T69" fmla="*/ 2147483647 h 81"/>
                <a:gd name="T70" fmla="*/ 2147483647 w 108"/>
                <a:gd name="T71" fmla="*/ 2147483647 h 81"/>
                <a:gd name="T72" fmla="*/ 2147483647 w 108"/>
                <a:gd name="T73" fmla="*/ 2147483647 h 81"/>
                <a:gd name="T74" fmla="*/ 2147483647 w 108"/>
                <a:gd name="T75" fmla="*/ 2147483647 h 81"/>
                <a:gd name="T76" fmla="*/ 2147483647 w 108"/>
                <a:gd name="T77" fmla="*/ 2147483647 h 8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
                <a:gd name="T118" fmla="*/ 0 h 81"/>
                <a:gd name="T119" fmla="*/ 108 w 108"/>
                <a:gd name="T120" fmla="*/ 81 h 8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 h="81">
                  <a:moveTo>
                    <a:pt x="76" y="8"/>
                  </a:moveTo>
                  <a:lnTo>
                    <a:pt x="70" y="3"/>
                  </a:lnTo>
                  <a:lnTo>
                    <a:pt x="64" y="1"/>
                  </a:lnTo>
                  <a:lnTo>
                    <a:pt x="56" y="0"/>
                  </a:lnTo>
                  <a:lnTo>
                    <a:pt x="50" y="0"/>
                  </a:lnTo>
                  <a:lnTo>
                    <a:pt x="42" y="1"/>
                  </a:lnTo>
                  <a:lnTo>
                    <a:pt x="34" y="4"/>
                  </a:lnTo>
                  <a:lnTo>
                    <a:pt x="28" y="7"/>
                  </a:lnTo>
                  <a:lnTo>
                    <a:pt x="20" y="9"/>
                  </a:lnTo>
                  <a:lnTo>
                    <a:pt x="18" y="11"/>
                  </a:lnTo>
                  <a:lnTo>
                    <a:pt x="17" y="13"/>
                  </a:lnTo>
                  <a:lnTo>
                    <a:pt x="15" y="19"/>
                  </a:lnTo>
                  <a:lnTo>
                    <a:pt x="17" y="19"/>
                  </a:lnTo>
                  <a:lnTo>
                    <a:pt x="17" y="22"/>
                  </a:lnTo>
                  <a:lnTo>
                    <a:pt x="14" y="24"/>
                  </a:lnTo>
                  <a:lnTo>
                    <a:pt x="8" y="29"/>
                  </a:lnTo>
                  <a:lnTo>
                    <a:pt x="4" y="35"/>
                  </a:lnTo>
                  <a:lnTo>
                    <a:pt x="1" y="41"/>
                  </a:lnTo>
                  <a:lnTo>
                    <a:pt x="0" y="47"/>
                  </a:lnTo>
                  <a:lnTo>
                    <a:pt x="1" y="52"/>
                  </a:lnTo>
                  <a:lnTo>
                    <a:pt x="3" y="54"/>
                  </a:lnTo>
                  <a:lnTo>
                    <a:pt x="6" y="55"/>
                  </a:lnTo>
                  <a:lnTo>
                    <a:pt x="10" y="56"/>
                  </a:lnTo>
                  <a:lnTo>
                    <a:pt x="19" y="56"/>
                  </a:lnTo>
                  <a:lnTo>
                    <a:pt x="27" y="56"/>
                  </a:lnTo>
                  <a:lnTo>
                    <a:pt x="29" y="58"/>
                  </a:lnTo>
                  <a:lnTo>
                    <a:pt x="31" y="59"/>
                  </a:lnTo>
                  <a:lnTo>
                    <a:pt x="33" y="67"/>
                  </a:lnTo>
                  <a:lnTo>
                    <a:pt x="36" y="71"/>
                  </a:lnTo>
                  <a:lnTo>
                    <a:pt x="38" y="71"/>
                  </a:lnTo>
                  <a:lnTo>
                    <a:pt x="39" y="71"/>
                  </a:lnTo>
                  <a:lnTo>
                    <a:pt x="44" y="70"/>
                  </a:lnTo>
                  <a:lnTo>
                    <a:pt x="46" y="70"/>
                  </a:lnTo>
                  <a:lnTo>
                    <a:pt x="48" y="70"/>
                  </a:lnTo>
                  <a:lnTo>
                    <a:pt x="53" y="72"/>
                  </a:lnTo>
                  <a:lnTo>
                    <a:pt x="57" y="75"/>
                  </a:lnTo>
                  <a:lnTo>
                    <a:pt x="61" y="78"/>
                  </a:lnTo>
                  <a:lnTo>
                    <a:pt x="64" y="79"/>
                  </a:lnTo>
                  <a:lnTo>
                    <a:pt x="67" y="78"/>
                  </a:lnTo>
                  <a:lnTo>
                    <a:pt x="71" y="77"/>
                  </a:lnTo>
                  <a:lnTo>
                    <a:pt x="72" y="77"/>
                  </a:lnTo>
                  <a:lnTo>
                    <a:pt x="75" y="77"/>
                  </a:lnTo>
                  <a:lnTo>
                    <a:pt x="76" y="78"/>
                  </a:lnTo>
                  <a:lnTo>
                    <a:pt x="78" y="79"/>
                  </a:lnTo>
                  <a:lnTo>
                    <a:pt x="80" y="81"/>
                  </a:lnTo>
                  <a:lnTo>
                    <a:pt x="86" y="80"/>
                  </a:lnTo>
                  <a:lnTo>
                    <a:pt x="94" y="80"/>
                  </a:lnTo>
                  <a:lnTo>
                    <a:pt x="100" y="79"/>
                  </a:lnTo>
                  <a:lnTo>
                    <a:pt x="107" y="78"/>
                  </a:lnTo>
                  <a:lnTo>
                    <a:pt x="108" y="77"/>
                  </a:lnTo>
                  <a:lnTo>
                    <a:pt x="108" y="74"/>
                  </a:lnTo>
                  <a:lnTo>
                    <a:pt x="103" y="74"/>
                  </a:lnTo>
                  <a:lnTo>
                    <a:pt x="99" y="73"/>
                  </a:lnTo>
                  <a:lnTo>
                    <a:pt x="95" y="72"/>
                  </a:lnTo>
                  <a:lnTo>
                    <a:pt x="91" y="70"/>
                  </a:lnTo>
                  <a:lnTo>
                    <a:pt x="88" y="68"/>
                  </a:lnTo>
                  <a:lnTo>
                    <a:pt x="86" y="66"/>
                  </a:lnTo>
                  <a:lnTo>
                    <a:pt x="86" y="65"/>
                  </a:lnTo>
                  <a:lnTo>
                    <a:pt x="85" y="64"/>
                  </a:lnTo>
                  <a:lnTo>
                    <a:pt x="76" y="61"/>
                  </a:lnTo>
                  <a:lnTo>
                    <a:pt x="70" y="56"/>
                  </a:lnTo>
                  <a:lnTo>
                    <a:pt x="69" y="54"/>
                  </a:lnTo>
                  <a:lnTo>
                    <a:pt x="67" y="51"/>
                  </a:lnTo>
                  <a:lnTo>
                    <a:pt x="66" y="47"/>
                  </a:lnTo>
                  <a:lnTo>
                    <a:pt x="67" y="42"/>
                  </a:lnTo>
                  <a:lnTo>
                    <a:pt x="67" y="40"/>
                  </a:lnTo>
                  <a:lnTo>
                    <a:pt x="66" y="39"/>
                  </a:lnTo>
                  <a:lnTo>
                    <a:pt x="65" y="36"/>
                  </a:lnTo>
                  <a:lnTo>
                    <a:pt x="66" y="32"/>
                  </a:lnTo>
                  <a:lnTo>
                    <a:pt x="66" y="29"/>
                  </a:lnTo>
                  <a:lnTo>
                    <a:pt x="65" y="28"/>
                  </a:lnTo>
                  <a:lnTo>
                    <a:pt x="65" y="26"/>
                  </a:lnTo>
                  <a:lnTo>
                    <a:pt x="67" y="22"/>
                  </a:lnTo>
                  <a:lnTo>
                    <a:pt x="70" y="16"/>
                  </a:lnTo>
                  <a:lnTo>
                    <a:pt x="72" y="14"/>
                  </a:lnTo>
                  <a:lnTo>
                    <a:pt x="76" y="11"/>
                  </a:lnTo>
                  <a:lnTo>
                    <a:pt x="76" y="10"/>
                  </a:lnTo>
                  <a:lnTo>
                    <a:pt x="76"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3" name="Freeform 1112"/>
            <p:cNvSpPr>
              <a:spLocks/>
            </p:cNvSpPr>
            <p:nvPr/>
          </p:nvSpPr>
          <p:spPr bwMode="auto">
            <a:xfrm>
              <a:off x="3729041" y="2070102"/>
              <a:ext cx="276225" cy="142875"/>
            </a:xfrm>
            <a:custGeom>
              <a:avLst/>
              <a:gdLst>
                <a:gd name="T0" fmla="*/ 2147483647 w 188"/>
                <a:gd name="T1" fmla="*/ 2147483647 h 90"/>
                <a:gd name="T2" fmla="*/ 2147483647 w 188"/>
                <a:gd name="T3" fmla="*/ 2147483647 h 90"/>
                <a:gd name="T4" fmla="*/ 2147483647 w 188"/>
                <a:gd name="T5" fmla="*/ 2147483647 h 90"/>
                <a:gd name="T6" fmla="*/ 2147483647 w 188"/>
                <a:gd name="T7" fmla="*/ 2147483647 h 90"/>
                <a:gd name="T8" fmla="*/ 2147483647 w 188"/>
                <a:gd name="T9" fmla="*/ 2147483647 h 90"/>
                <a:gd name="T10" fmla="*/ 2147483647 w 188"/>
                <a:gd name="T11" fmla="*/ 2147483647 h 90"/>
                <a:gd name="T12" fmla="*/ 2147483647 w 188"/>
                <a:gd name="T13" fmla="*/ 2147483647 h 90"/>
                <a:gd name="T14" fmla="*/ 2147483647 w 188"/>
                <a:gd name="T15" fmla="*/ 2147483647 h 90"/>
                <a:gd name="T16" fmla="*/ 2147483647 w 188"/>
                <a:gd name="T17" fmla="*/ 2147483647 h 90"/>
                <a:gd name="T18" fmla="*/ 2147483647 w 188"/>
                <a:gd name="T19" fmla="*/ 2147483647 h 90"/>
                <a:gd name="T20" fmla="*/ 2147483647 w 188"/>
                <a:gd name="T21" fmla="*/ 2147483647 h 90"/>
                <a:gd name="T22" fmla="*/ 2147483647 w 188"/>
                <a:gd name="T23" fmla="*/ 2147483647 h 90"/>
                <a:gd name="T24" fmla="*/ 2147483647 w 188"/>
                <a:gd name="T25" fmla="*/ 2147483647 h 90"/>
                <a:gd name="T26" fmla="*/ 2147483647 w 188"/>
                <a:gd name="T27" fmla="*/ 2147483647 h 90"/>
                <a:gd name="T28" fmla="*/ 2147483647 w 188"/>
                <a:gd name="T29" fmla="*/ 2147483647 h 90"/>
                <a:gd name="T30" fmla="*/ 2147483647 w 188"/>
                <a:gd name="T31" fmla="*/ 2147483647 h 90"/>
                <a:gd name="T32" fmla="*/ 2147483647 w 188"/>
                <a:gd name="T33" fmla="*/ 2147483647 h 90"/>
                <a:gd name="T34" fmla="*/ 2147483647 w 188"/>
                <a:gd name="T35" fmla="*/ 2147483647 h 90"/>
                <a:gd name="T36" fmla="*/ 2147483647 w 188"/>
                <a:gd name="T37" fmla="*/ 2147483647 h 90"/>
                <a:gd name="T38" fmla="*/ 2147483647 w 188"/>
                <a:gd name="T39" fmla="*/ 0 h 90"/>
                <a:gd name="T40" fmla="*/ 2147483647 w 188"/>
                <a:gd name="T41" fmla="*/ 2147483647 h 90"/>
                <a:gd name="T42" fmla="*/ 2147483647 w 188"/>
                <a:gd name="T43" fmla="*/ 2147483647 h 90"/>
                <a:gd name="T44" fmla="*/ 2147483647 w 188"/>
                <a:gd name="T45" fmla="*/ 2147483647 h 90"/>
                <a:gd name="T46" fmla="*/ 2147483647 w 188"/>
                <a:gd name="T47" fmla="*/ 2147483647 h 90"/>
                <a:gd name="T48" fmla="*/ 2147483647 w 188"/>
                <a:gd name="T49" fmla="*/ 2147483647 h 90"/>
                <a:gd name="T50" fmla="*/ 2147483647 w 188"/>
                <a:gd name="T51" fmla="*/ 2147483647 h 90"/>
                <a:gd name="T52" fmla="*/ 2147483647 w 188"/>
                <a:gd name="T53" fmla="*/ 2147483647 h 90"/>
                <a:gd name="T54" fmla="*/ 2147483647 w 188"/>
                <a:gd name="T55" fmla="*/ 2147483647 h 90"/>
                <a:gd name="T56" fmla="*/ 2147483647 w 188"/>
                <a:gd name="T57" fmla="*/ 2147483647 h 90"/>
                <a:gd name="T58" fmla="*/ 2147483647 w 188"/>
                <a:gd name="T59" fmla="*/ 2147483647 h 90"/>
                <a:gd name="T60" fmla="*/ 2147483647 w 188"/>
                <a:gd name="T61" fmla="*/ 2147483647 h 90"/>
                <a:gd name="T62" fmla="*/ 0 w 188"/>
                <a:gd name="T63" fmla="*/ 2147483647 h 90"/>
                <a:gd name="T64" fmla="*/ 2147483647 w 188"/>
                <a:gd name="T65" fmla="*/ 2147483647 h 90"/>
                <a:gd name="T66" fmla="*/ 2147483647 w 188"/>
                <a:gd name="T67" fmla="*/ 2147483647 h 90"/>
                <a:gd name="T68" fmla="*/ 2147483647 w 188"/>
                <a:gd name="T69" fmla="*/ 2147483647 h 90"/>
                <a:gd name="T70" fmla="*/ 2147483647 w 188"/>
                <a:gd name="T71" fmla="*/ 2147483647 h 90"/>
                <a:gd name="T72" fmla="*/ 2147483647 w 188"/>
                <a:gd name="T73" fmla="*/ 2147483647 h 90"/>
                <a:gd name="T74" fmla="*/ 2147483647 w 188"/>
                <a:gd name="T75" fmla="*/ 2147483647 h 90"/>
                <a:gd name="T76" fmla="*/ 2147483647 w 188"/>
                <a:gd name="T77" fmla="*/ 2147483647 h 90"/>
                <a:gd name="T78" fmla="*/ 2147483647 w 188"/>
                <a:gd name="T79" fmla="*/ 2147483647 h 90"/>
                <a:gd name="T80" fmla="*/ 2147483647 w 188"/>
                <a:gd name="T81" fmla="*/ 2147483647 h 90"/>
                <a:gd name="T82" fmla="*/ 2147483647 w 188"/>
                <a:gd name="T83" fmla="*/ 2147483647 h 90"/>
                <a:gd name="T84" fmla="*/ 2147483647 w 188"/>
                <a:gd name="T85" fmla="*/ 2147483647 h 90"/>
                <a:gd name="T86" fmla="*/ 2147483647 w 188"/>
                <a:gd name="T87" fmla="*/ 2147483647 h 90"/>
                <a:gd name="T88" fmla="*/ 2147483647 w 188"/>
                <a:gd name="T89" fmla="*/ 2147483647 h 90"/>
                <a:gd name="T90" fmla="*/ 2147483647 w 188"/>
                <a:gd name="T91" fmla="*/ 2147483647 h 90"/>
                <a:gd name="T92" fmla="*/ 2147483647 w 188"/>
                <a:gd name="T93" fmla="*/ 2147483647 h 90"/>
                <a:gd name="T94" fmla="*/ 2147483647 w 188"/>
                <a:gd name="T95" fmla="*/ 2147483647 h 90"/>
                <a:gd name="T96" fmla="*/ 2147483647 w 188"/>
                <a:gd name="T97" fmla="*/ 2147483647 h 90"/>
                <a:gd name="T98" fmla="*/ 2147483647 w 188"/>
                <a:gd name="T99" fmla="*/ 2147483647 h 90"/>
                <a:gd name="T100" fmla="*/ 2147483647 w 188"/>
                <a:gd name="T101" fmla="*/ 2147483647 h 90"/>
                <a:gd name="T102" fmla="*/ 2147483647 w 188"/>
                <a:gd name="T103" fmla="*/ 2147483647 h 90"/>
                <a:gd name="T104" fmla="*/ 2147483647 w 188"/>
                <a:gd name="T105" fmla="*/ 2147483647 h 90"/>
                <a:gd name="T106" fmla="*/ 2147483647 w 188"/>
                <a:gd name="T107" fmla="*/ 2147483647 h 90"/>
                <a:gd name="T108" fmla="*/ 2147483647 w 188"/>
                <a:gd name="T109" fmla="*/ 2147483647 h 90"/>
                <a:gd name="T110" fmla="*/ 2147483647 w 188"/>
                <a:gd name="T111" fmla="*/ 2147483647 h 90"/>
                <a:gd name="T112" fmla="*/ 2147483647 w 188"/>
                <a:gd name="T113" fmla="*/ 2147483647 h 90"/>
                <a:gd name="T114" fmla="*/ 2147483647 w 188"/>
                <a:gd name="T115" fmla="*/ 2147483647 h 90"/>
                <a:gd name="T116" fmla="*/ 2147483647 w 188"/>
                <a:gd name="T117" fmla="*/ 2147483647 h 90"/>
                <a:gd name="T118" fmla="*/ 2147483647 w 188"/>
                <a:gd name="T119" fmla="*/ 2147483647 h 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8"/>
                <a:gd name="T181" fmla="*/ 0 h 90"/>
                <a:gd name="T182" fmla="*/ 188 w 188"/>
                <a:gd name="T183" fmla="*/ 90 h 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8" h="90">
                  <a:moveTo>
                    <a:pt x="152" y="10"/>
                  </a:moveTo>
                  <a:lnTo>
                    <a:pt x="152" y="10"/>
                  </a:lnTo>
                  <a:lnTo>
                    <a:pt x="148" y="8"/>
                  </a:lnTo>
                  <a:lnTo>
                    <a:pt x="146" y="5"/>
                  </a:lnTo>
                  <a:lnTo>
                    <a:pt x="142" y="2"/>
                  </a:lnTo>
                  <a:lnTo>
                    <a:pt x="141" y="2"/>
                  </a:lnTo>
                  <a:lnTo>
                    <a:pt x="138" y="2"/>
                  </a:lnTo>
                  <a:lnTo>
                    <a:pt x="137" y="4"/>
                  </a:lnTo>
                  <a:lnTo>
                    <a:pt x="136" y="6"/>
                  </a:lnTo>
                  <a:lnTo>
                    <a:pt x="133" y="10"/>
                  </a:lnTo>
                  <a:lnTo>
                    <a:pt x="132" y="13"/>
                  </a:lnTo>
                  <a:lnTo>
                    <a:pt x="129" y="14"/>
                  </a:lnTo>
                  <a:lnTo>
                    <a:pt x="128" y="14"/>
                  </a:lnTo>
                  <a:lnTo>
                    <a:pt x="125" y="13"/>
                  </a:lnTo>
                  <a:lnTo>
                    <a:pt x="124" y="12"/>
                  </a:lnTo>
                  <a:lnTo>
                    <a:pt x="122" y="11"/>
                  </a:lnTo>
                  <a:lnTo>
                    <a:pt x="120" y="11"/>
                  </a:lnTo>
                  <a:lnTo>
                    <a:pt x="115" y="13"/>
                  </a:lnTo>
                  <a:lnTo>
                    <a:pt x="113" y="14"/>
                  </a:lnTo>
                  <a:lnTo>
                    <a:pt x="105" y="12"/>
                  </a:lnTo>
                  <a:lnTo>
                    <a:pt x="101" y="14"/>
                  </a:lnTo>
                  <a:lnTo>
                    <a:pt x="101" y="18"/>
                  </a:lnTo>
                  <a:lnTo>
                    <a:pt x="101" y="20"/>
                  </a:lnTo>
                  <a:lnTo>
                    <a:pt x="100" y="21"/>
                  </a:lnTo>
                  <a:lnTo>
                    <a:pt x="99" y="23"/>
                  </a:lnTo>
                  <a:lnTo>
                    <a:pt x="96" y="21"/>
                  </a:lnTo>
                  <a:lnTo>
                    <a:pt x="95" y="17"/>
                  </a:lnTo>
                  <a:lnTo>
                    <a:pt x="95" y="12"/>
                  </a:lnTo>
                  <a:lnTo>
                    <a:pt x="94" y="8"/>
                  </a:lnTo>
                  <a:lnTo>
                    <a:pt x="92" y="8"/>
                  </a:lnTo>
                  <a:lnTo>
                    <a:pt x="90" y="8"/>
                  </a:lnTo>
                  <a:lnTo>
                    <a:pt x="86" y="10"/>
                  </a:lnTo>
                  <a:lnTo>
                    <a:pt x="84" y="13"/>
                  </a:lnTo>
                  <a:lnTo>
                    <a:pt x="82" y="17"/>
                  </a:lnTo>
                  <a:lnTo>
                    <a:pt x="78" y="19"/>
                  </a:lnTo>
                  <a:lnTo>
                    <a:pt x="76" y="19"/>
                  </a:lnTo>
                  <a:lnTo>
                    <a:pt x="75" y="18"/>
                  </a:lnTo>
                  <a:lnTo>
                    <a:pt x="72" y="12"/>
                  </a:lnTo>
                  <a:lnTo>
                    <a:pt x="71" y="10"/>
                  </a:lnTo>
                  <a:lnTo>
                    <a:pt x="67" y="8"/>
                  </a:lnTo>
                  <a:lnTo>
                    <a:pt x="65" y="8"/>
                  </a:lnTo>
                  <a:lnTo>
                    <a:pt x="62" y="11"/>
                  </a:lnTo>
                  <a:lnTo>
                    <a:pt x="62" y="14"/>
                  </a:lnTo>
                  <a:lnTo>
                    <a:pt x="62" y="18"/>
                  </a:lnTo>
                  <a:lnTo>
                    <a:pt x="61" y="20"/>
                  </a:lnTo>
                  <a:lnTo>
                    <a:pt x="59" y="24"/>
                  </a:lnTo>
                  <a:lnTo>
                    <a:pt x="56" y="29"/>
                  </a:lnTo>
                  <a:lnTo>
                    <a:pt x="53" y="36"/>
                  </a:lnTo>
                  <a:lnTo>
                    <a:pt x="52" y="38"/>
                  </a:lnTo>
                  <a:lnTo>
                    <a:pt x="51" y="39"/>
                  </a:lnTo>
                  <a:lnTo>
                    <a:pt x="49" y="39"/>
                  </a:lnTo>
                  <a:lnTo>
                    <a:pt x="48" y="37"/>
                  </a:lnTo>
                  <a:lnTo>
                    <a:pt x="47" y="32"/>
                  </a:lnTo>
                  <a:lnTo>
                    <a:pt x="44" y="27"/>
                  </a:lnTo>
                  <a:lnTo>
                    <a:pt x="44" y="26"/>
                  </a:lnTo>
                  <a:lnTo>
                    <a:pt x="44" y="25"/>
                  </a:lnTo>
                  <a:lnTo>
                    <a:pt x="47" y="23"/>
                  </a:lnTo>
                  <a:lnTo>
                    <a:pt x="49" y="18"/>
                  </a:lnTo>
                  <a:lnTo>
                    <a:pt x="48" y="17"/>
                  </a:lnTo>
                  <a:lnTo>
                    <a:pt x="48" y="14"/>
                  </a:lnTo>
                  <a:lnTo>
                    <a:pt x="43" y="8"/>
                  </a:lnTo>
                  <a:lnTo>
                    <a:pt x="33" y="0"/>
                  </a:lnTo>
                  <a:lnTo>
                    <a:pt x="32" y="0"/>
                  </a:lnTo>
                  <a:lnTo>
                    <a:pt x="29" y="1"/>
                  </a:lnTo>
                  <a:lnTo>
                    <a:pt x="28" y="2"/>
                  </a:lnTo>
                  <a:lnTo>
                    <a:pt x="28" y="4"/>
                  </a:lnTo>
                  <a:lnTo>
                    <a:pt x="32" y="7"/>
                  </a:lnTo>
                  <a:lnTo>
                    <a:pt x="32" y="10"/>
                  </a:lnTo>
                  <a:lnTo>
                    <a:pt x="32" y="12"/>
                  </a:lnTo>
                  <a:lnTo>
                    <a:pt x="29" y="13"/>
                  </a:lnTo>
                  <a:lnTo>
                    <a:pt x="25" y="14"/>
                  </a:lnTo>
                  <a:lnTo>
                    <a:pt x="23" y="14"/>
                  </a:lnTo>
                  <a:lnTo>
                    <a:pt x="20" y="17"/>
                  </a:lnTo>
                  <a:lnTo>
                    <a:pt x="18" y="21"/>
                  </a:lnTo>
                  <a:lnTo>
                    <a:pt x="15" y="24"/>
                  </a:lnTo>
                  <a:lnTo>
                    <a:pt x="7" y="26"/>
                  </a:lnTo>
                  <a:lnTo>
                    <a:pt x="5" y="30"/>
                  </a:lnTo>
                  <a:lnTo>
                    <a:pt x="4" y="31"/>
                  </a:lnTo>
                  <a:lnTo>
                    <a:pt x="4" y="32"/>
                  </a:lnTo>
                  <a:lnTo>
                    <a:pt x="6" y="32"/>
                  </a:lnTo>
                  <a:lnTo>
                    <a:pt x="9" y="32"/>
                  </a:lnTo>
                  <a:lnTo>
                    <a:pt x="12" y="31"/>
                  </a:lnTo>
                  <a:lnTo>
                    <a:pt x="15" y="32"/>
                  </a:lnTo>
                  <a:lnTo>
                    <a:pt x="16" y="32"/>
                  </a:lnTo>
                  <a:lnTo>
                    <a:pt x="19" y="31"/>
                  </a:lnTo>
                  <a:lnTo>
                    <a:pt x="23" y="29"/>
                  </a:lnTo>
                  <a:lnTo>
                    <a:pt x="26" y="27"/>
                  </a:lnTo>
                  <a:lnTo>
                    <a:pt x="30" y="29"/>
                  </a:lnTo>
                  <a:lnTo>
                    <a:pt x="32" y="30"/>
                  </a:lnTo>
                  <a:lnTo>
                    <a:pt x="33" y="32"/>
                  </a:lnTo>
                  <a:lnTo>
                    <a:pt x="33" y="36"/>
                  </a:lnTo>
                  <a:lnTo>
                    <a:pt x="32" y="39"/>
                  </a:lnTo>
                  <a:lnTo>
                    <a:pt x="24" y="40"/>
                  </a:lnTo>
                  <a:lnTo>
                    <a:pt x="16" y="43"/>
                  </a:lnTo>
                  <a:lnTo>
                    <a:pt x="10" y="44"/>
                  </a:lnTo>
                  <a:lnTo>
                    <a:pt x="2" y="45"/>
                  </a:lnTo>
                  <a:lnTo>
                    <a:pt x="1" y="46"/>
                  </a:lnTo>
                  <a:lnTo>
                    <a:pt x="0" y="49"/>
                  </a:lnTo>
                  <a:lnTo>
                    <a:pt x="0" y="50"/>
                  </a:lnTo>
                  <a:lnTo>
                    <a:pt x="1" y="51"/>
                  </a:lnTo>
                  <a:lnTo>
                    <a:pt x="4" y="51"/>
                  </a:lnTo>
                  <a:lnTo>
                    <a:pt x="10" y="51"/>
                  </a:lnTo>
                  <a:lnTo>
                    <a:pt x="15" y="50"/>
                  </a:lnTo>
                  <a:lnTo>
                    <a:pt x="20" y="50"/>
                  </a:lnTo>
                  <a:lnTo>
                    <a:pt x="21" y="50"/>
                  </a:lnTo>
                  <a:lnTo>
                    <a:pt x="24" y="51"/>
                  </a:lnTo>
                  <a:lnTo>
                    <a:pt x="25" y="53"/>
                  </a:lnTo>
                  <a:lnTo>
                    <a:pt x="26" y="56"/>
                  </a:lnTo>
                  <a:lnTo>
                    <a:pt x="29" y="57"/>
                  </a:lnTo>
                  <a:lnTo>
                    <a:pt x="35" y="56"/>
                  </a:lnTo>
                  <a:lnTo>
                    <a:pt x="37" y="57"/>
                  </a:lnTo>
                  <a:lnTo>
                    <a:pt x="37" y="58"/>
                  </a:lnTo>
                  <a:lnTo>
                    <a:pt x="38" y="62"/>
                  </a:lnTo>
                  <a:lnTo>
                    <a:pt x="39" y="63"/>
                  </a:lnTo>
                  <a:lnTo>
                    <a:pt x="40" y="64"/>
                  </a:lnTo>
                  <a:lnTo>
                    <a:pt x="40" y="66"/>
                  </a:lnTo>
                  <a:lnTo>
                    <a:pt x="39" y="68"/>
                  </a:lnTo>
                  <a:lnTo>
                    <a:pt x="38" y="69"/>
                  </a:lnTo>
                  <a:lnTo>
                    <a:pt x="35" y="69"/>
                  </a:lnTo>
                  <a:lnTo>
                    <a:pt x="30" y="69"/>
                  </a:lnTo>
                  <a:lnTo>
                    <a:pt x="28" y="69"/>
                  </a:lnTo>
                  <a:lnTo>
                    <a:pt x="26" y="70"/>
                  </a:lnTo>
                  <a:lnTo>
                    <a:pt x="26" y="71"/>
                  </a:lnTo>
                  <a:lnTo>
                    <a:pt x="26" y="75"/>
                  </a:lnTo>
                  <a:lnTo>
                    <a:pt x="28" y="78"/>
                  </a:lnTo>
                  <a:lnTo>
                    <a:pt x="33" y="82"/>
                  </a:lnTo>
                  <a:lnTo>
                    <a:pt x="35" y="82"/>
                  </a:lnTo>
                  <a:lnTo>
                    <a:pt x="39" y="81"/>
                  </a:lnTo>
                  <a:lnTo>
                    <a:pt x="42" y="78"/>
                  </a:lnTo>
                  <a:lnTo>
                    <a:pt x="45" y="78"/>
                  </a:lnTo>
                  <a:lnTo>
                    <a:pt x="49" y="81"/>
                  </a:lnTo>
                  <a:lnTo>
                    <a:pt x="52" y="80"/>
                  </a:lnTo>
                  <a:lnTo>
                    <a:pt x="53" y="78"/>
                  </a:lnTo>
                  <a:lnTo>
                    <a:pt x="56" y="80"/>
                  </a:lnTo>
                  <a:lnTo>
                    <a:pt x="58" y="82"/>
                  </a:lnTo>
                  <a:lnTo>
                    <a:pt x="59" y="84"/>
                  </a:lnTo>
                  <a:lnTo>
                    <a:pt x="62" y="85"/>
                  </a:lnTo>
                  <a:lnTo>
                    <a:pt x="65" y="87"/>
                  </a:lnTo>
                  <a:lnTo>
                    <a:pt x="68" y="87"/>
                  </a:lnTo>
                  <a:lnTo>
                    <a:pt x="75" y="84"/>
                  </a:lnTo>
                  <a:lnTo>
                    <a:pt x="77" y="84"/>
                  </a:lnTo>
                  <a:lnTo>
                    <a:pt x="78" y="85"/>
                  </a:lnTo>
                  <a:lnTo>
                    <a:pt x="82" y="88"/>
                  </a:lnTo>
                  <a:lnTo>
                    <a:pt x="86" y="90"/>
                  </a:lnTo>
                  <a:lnTo>
                    <a:pt x="87" y="90"/>
                  </a:lnTo>
                  <a:lnTo>
                    <a:pt x="90" y="90"/>
                  </a:lnTo>
                  <a:lnTo>
                    <a:pt x="99" y="88"/>
                  </a:lnTo>
                  <a:lnTo>
                    <a:pt x="106" y="85"/>
                  </a:lnTo>
                  <a:lnTo>
                    <a:pt x="110" y="84"/>
                  </a:lnTo>
                  <a:lnTo>
                    <a:pt x="113" y="82"/>
                  </a:lnTo>
                  <a:lnTo>
                    <a:pt x="119" y="77"/>
                  </a:lnTo>
                  <a:lnTo>
                    <a:pt x="123" y="76"/>
                  </a:lnTo>
                  <a:lnTo>
                    <a:pt x="127" y="76"/>
                  </a:lnTo>
                  <a:lnTo>
                    <a:pt x="129" y="77"/>
                  </a:lnTo>
                  <a:lnTo>
                    <a:pt x="133" y="76"/>
                  </a:lnTo>
                  <a:lnTo>
                    <a:pt x="136" y="75"/>
                  </a:lnTo>
                  <a:lnTo>
                    <a:pt x="137" y="72"/>
                  </a:lnTo>
                  <a:lnTo>
                    <a:pt x="138" y="70"/>
                  </a:lnTo>
                  <a:lnTo>
                    <a:pt x="141" y="68"/>
                  </a:lnTo>
                  <a:lnTo>
                    <a:pt x="146" y="65"/>
                  </a:lnTo>
                  <a:lnTo>
                    <a:pt x="152" y="64"/>
                  </a:lnTo>
                  <a:lnTo>
                    <a:pt x="158" y="64"/>
                  </a:lnTo>
                  <a:lnTo>
                    <a:pt x="161" y="63"/>
                  </a:lnTo>
                  <a:lnTo>
                    <a:pt x="162" y="62"/>
                  </a:lnTo>
                  <a:lnTo>
                    <a:pt x="167" y="58"/>
                  </a:lnTo>
                  <a:lnTo>
                    <a:pt x="171" y="57"/>
                  </a:lnTo>
                  <a:lnTo>
                    <a:pt x="175" y="56"/>
                  </a:lnTo>
                  <a:lnTo>
                    <a:pt x="176" y="55"/>
                  </a:lnTo>
                  <a:lnTo>
                    <a:pt x="176" y="52"/>
                  </a:lnTo>
                  <a:lnTo>
                    <a:pt x="175" y="50"/>
                  </a:lnTo>
                  <a:lnTo>
                    <a:pt x="175" y="49"/>
                  </a:lnTo>
                  <a:lnTo>
                    <a:pt x="178" y="46"/>
                  </a:lnTo>
                  <a:lnTo>
                    <a:pt x="180" y="44"/>
                  </a:lnTo>
                  <a:lnTo>
                    <a:pt x="184" y="43"/>
                  </a:lnTo>
                  <a:lnTo>
                    <a:pt x="188" y="42"/>
                  </a:lnTo>
                  <a:lnTo>
                    <a:pt x="188" y="40"/>
                  </a:lnTo>
                  <a:lnTo>
                    <a:pt x="186" y="39"/>
                  </a:lnTo>
                  <a:lnTo>
                    <a:pt x="183" y="37"/>
                  </a:lnTo>
                  <a:lnTo>
                    <a:pt x="180" y="34"/>
                  </a:lnTo>
                  <a:lnTo>
                    <a:pt x="179" y="31"/>
                  </a:lnTo>
                  <a:lnTo>
                    <a:pt x="178" y="29"/>
                  </a:lnTo>
                  <a:lnTo>
                    <a:pt x="167" y="19"/>
                  </a:lnTo>
                  <a:lnTo>
                    <a:pt x="158" y="13"/>
                  </a:lnTo>
                  <a:lnTo>
                    <a:pt x="152"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4" name="Freeform 1113"/>
            <p:cNvSpPr>
              <a:spLocks/>
            </p:cNvSpPr>
            <p:nvPr/>
          </p:nvSpPr>
          <p:spPr bwMode="auto">
            <a:xfrm>
              <a:off x="5653089" y="1747839"/>
              <a:ext cx="158750" cy="130175"/>
            </a:xfrm>
            <a:custGeom>
              <a:avLst/>
              <a:gdLst>
                <a:gd name="T0" fmla="*/ 2147483647 w 108"/>
                <a:gd name="T1" fmla="*/ 2147483647 h 82"/>
                <a:gd name="T2" fmla="*/ 2147483647 w 108"/>
                <a:gd name="T3" fmla="*/ 2147483647 h 82"/>
                <a:gd name="T4" fmla="*/ 2147483647 w 108"/>
                <a:gd name="T5" fmla="*/ 0 h 82"/>
                <a:gd name="T6" fmla="*/ 2147483647 w 108"/>
                <a:gd name="T7" fmla="*/ 2147483647 h 82"/>
                <a:gd name="T8" fmla="*/ 2147483647 w 108"/>
                <a:gd name="T9" fmla="*/ 2147483647 h 82"/>
                <a:gd name="T10" fmla="*/ 2147483647 w 108"/>
                <a:gd name="T11" fmla="*/ 2147483647 h 82"/>
                <a:gd name="T12" fmla="*/ 2147483647 w 108"/>
                <a:gd name="T13" fmla="*/ 2147483647 h 82"/>
                <a:gd name="T14" fmla="*/ 2147483647 w 108"/>
                <a:gd name="T15" fmla="*/ 2147483647 h 82"/>
                <a:gd name="T16" fmla="*/ 2147483647 w 108"/>
                <a:gd name="T17" fmla="*/ 2147483647 h 82"/>
                <a:gd name="T18" fmla="*/ 2147483647 w 108"/>
                <a:gd name="T19" fmla="*/ 2147483647 h 82"/>
                <a:gd name="T20" fmla="*/ 2147483647 w 108"/>
                <a:gd name="T21" fmla="*/ 2147483647 h 82"/>
                <a:gd name="T22" fmla="*/ 2147483647 w 108"/>
                <a:gd name="T23" fmla="*/ 2147483647 h 82"/>
                <a:gd name="T24" fmla="*/ 0 w 108"/>
                <a:gd name="T25" fmla="*/ 2147483647 h 82"/>
                <a:gd name="T26" fmla="*/ 2147483647 w 108"/>
                <a:gd name="T27" fmla="*/ 2147483647 h 82"/>
                <a:gd name="T28" fmla="*/ 2147483647 w 108"/>
                <a:gd name="T29" fmla="*/ 2147483647 h 82"/>
                <a:gd name="T30" fmla="*/ 2147483647 w 108"/>
                <a:gd name="T31" fmla="*/ 2147483647 h 82"/>
                <a:gd name="T32" fmla="*/ 2147483647 w 108"/>
                <a:gd name="T33" fmla="*/ 2147483647 h 82"/>
                <a:gd name="T34" fmla="*/ 2147483647 w 108"/>
                <a:gd name="T35" fmla="*/ 2147483647 h 82"/>
                <a:gd name="T36" fmla="*/ 2147483647 w 108"/>
                <a:gd name="T37" fmla="*/ 2147483647 h 82"/>
                <a:gd name="T38" fmla="*/ 2147483647 w 108"/>
                <a:gd name="T39" fmla="*/ 2147483647 h 82"/>
                <a:gd name="T40" fmla="*/ 2147483647 w 108"/>
                <a:gd name="T41" fmla="*/ 2147483647 h 82"/>
                <a:gd name="T42" fmla="*/ 2147483647 w 108"/>
                <a:gd name="T43" fmla="*/ 2147483647 h 82"/>
                <a:gd name="T44" fmla="*/ 2147483647 w 108"/>
                <a:gd name="T45" fmla="*/ 2147483647 h 82"/>
                <a:gd name="T46" fmla="*/ 2147483647 w 108"/>
                <a:gd name="T47" fmla="*/ 2147483647 h 82"/>
                <a:gd name="T48" fmla="*/ 2147483647 w 108"/>
                <a:gd name="T49" fmla="*/ 2147483647 h 82"/>
                <a:gd name="T50" fmla="*/ 2147483647 w 108"/>
                <a:gd name="T51" fmla="*/ 2147483647 h 82"/>
                <a:gd name="T52" fmla="*/ 2147483647 w 108"/>
                <a:gd name="T53" fmla="*/ 2147483647 h 82"/>
                <a:gd name="T54" fmla="*/ 2147483647 w 108"/>
                <a:gd name="T55" fmla="*/ 2147483647 h 82"/>
                <a:gd name="T56" fmla="*/ 2147483647 w 108"/>
                <a:gd name="T57" fmla="*/ 2147483647 h 82"/>
                <a:gd name="T58" fmla="*/ 2147483647 w 108"/>
                <a:gd name="T59" fmla="*/ 2147483647 h 82"/>
                <a:gd name="T60" fmla="*/ 2147483647 w 108"/>
                <a:gd name="T61" fmla="*/ 2147483647 h 82"/>
                <a:gd name="T62" fmla="*/ 2147483647 w 108"/>
                <a:gd name="T63" fmla="*/ 2147483647 h 82"/>
                <a:gd name="T64" fmla="*/ 2147483647 w 108"/>
                <a:gd name="T65" fmla="*/ 2147483647 h 82"/>
                <a:gd name="T66" fmla="*/ 2147483647 w 108"/>
                <a:gd name="T67" fmla="*/ 2147483647 h 82"/>
                <a:gd name="T68" fmla="*/ 2147483647 w 108"/>
                <a:gd name="T69" fmla="*/ 2147483647 h 82"/>
                <a:gd name="T70" fmla="*/ 2147483647 w 108"/>
                <a:gd name="T71" fmla="*/ 2147483647 h 82"/>
                <a:gd name="T72" fmla="*/ 2147483647 w 108"/>
                <a:gd name="T73" fmla="*/ 2147483647 h 82"/>
                <a:gd name="T74" fmla="*/ 2147483647 w 108"/>
                <a:gd name="T75" fmla="*/ 2147483647 h 82"/>
                <a:gd name="T76" fmla="*/ 2147483647 w 108"/>
                <a:gd name="T77" fmla="*/ 2147483647 h 82"/>
                <a:gd name="T78" fmla="*/ 2147483647 w 108"/>
                <a:gd name="T79" fmla="*/ 2147483647 h 82"/>
                <a:gd name="T80" fmla="*/ 2147483647 w 108"/>
                <a:gd name="T81" fmla="*/ 2147483647 h 82"/>
                <a:gd name="T82" fmla="*/ 2147483647 w 108"/>
                <a:gd name="T83" fmla="*/ 2147483647 h 82"/>
                <a:gd name="T84" fmla="*/ 2147483647 w 108"/>
                <a:gd name="T85" fmla="*/ 2147483647 h 82"/>
                <a:gd name="T86" fmla="*/ 2147483647 w 108"/>
                <a:gd name="T87" fmla="*/ 2147483647 h 82"/>
                <a:gd name="T88" fmla="*/ 2147483647 w 108"/>
                <a:gd name="T89" fmla="*/ 2147483647 h 82"/>
                <a:gd name="T90" fmla="*/ 2147483647 w 108"/>
                <a:gd name="T91" fmla="*/ 2147483647 h 82"/>
                <a:gd name="T92" fmla="*/ 2147483647 w 108"/>
                <a:gd name="T93" fmla="*/ 2147483647 h 82"/>
                <a:gd name="T94" fmla="*/ 2147483647 w 108"/>
                <a:gd name="T95" fmla="*/ 2147483647 h 82"/>
                <a:gd name="T96" fmla="*/ 2147483647 w 108"/>
                <a:gd name="T97" fmla="*/ 2147483647 h 82"/>
                <a:gd name="T98" fmla="*/ 2147483647 w 108"/>
                <a:gd name="T99" fmla="*/ 2147483647 h 82"/>
                <a:gd name="T100" fmla="*/ 2147483647 w 108"/>
                <a:gd name="T101" fmla="*/ 2147483647 h 82"/>
                <a:gd name="T102" fmla="*/ 2147483647 w 108"/>
                <a:gd name="T103" fmla="*/ 2147483647 h 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8"/>
                <a:gd name="T157" fmla="*/ 0 h 82"/>
                <a:gd name="T158" fmla="*/ 108 w 108"/>
                <a:gd name="T159" fmla="*/ 82 h 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8" h="82">
                  <a:moveTo>
                    <a:pt x="76" y="9"/>
                  </a:moveTo>
                  <a:lnTo>
                    <a:pt x="76" y="9"/>
                  </a:lnTo>
                  <a:lnTo>
                    <a:pt x="70" y="4"/>
                  </a:lnTo>
                  <a:lnTo>
                    <a:pt x="63" y="2"/>
                  </a:lnTo>
                  <a:lnTo>
                    <a:pt x="56" y="0"/>
                  </a:lnTo>
                  <a:lnTo>
                    <a:pt x="49" y="0"/>
                  </a:lnTo>
                  <a:lnTo>
                    <a:pt x="42" y="2"/>
                  </a:lnTo>
                  <a:lnTo>
                    <a:pt x="34" y="5"/>
                  </a:lnTo>
                  <a:lnTo>
                    <a:pt x="28" y="7"/>
                  </a:lnTo>
                  <a:lnTo>
                    <a:pt x="20" y="10"/>
                  </a:lnTo>
                  <a:lnTo>
                    <a:pt x="18" y="12"/>
                  </a:lnTo>
                  <a:lnTo>
                    <a:pt x="16" y="13"/>
                  </a:lnTo>
                  <a:lnTo>
                    <a:pt x="15" y="19"/>
                  </a:lnTo>
                  <a:lnTo>
                    <a:pt x="16" y="19"/>
                  </a:lnTo>
                  <a:lnTo>
                    <a:pt x="16" y="23"/>
                  </a:lnTo>
                  <a:lnTo>
                    <a:pt x="14" y="25"/>
                  </a:lnTo>
                  <a:lnTo>
                    <a:pt x="7" y="30"/>
                  </a:lnTo>
                  <a:lnTo>
                    <a:pt x="4" y="36"/>
                  </a:lnTo>
                  <a:lnTo>
                    <a:pt x="1" y="42"/>
                  </a:lnTo>
                  <a:lnTo>
                    <a:pt x="0" y="48"/>
                  </a:lnTo>
                  <a:lnTo>
                    <a:pt x="1" y="53"/>
                  </a:lnTo>
                  <a:lnTo>
                    <a:pt x="2" y="55"/>
                  </a:lnTo>
                  <a:lnTo>
                    <a:pt x="6" y="56"/>
                  </a:lnTo>
                  <a:lnTo>
                    <a:pt x="10" y="57"/>
                  </a:lnTo>
                  <a:lnTo>
                    <a:pt x="19" y="57"/>
                  </a:lnTo>
                  <a:lnTo>
                    <a:pt x="26" y="57"/>
                  </a:lnTo>
                  <a:lnTo>
                    <a:pt x="29" y="58"/>
                  </a:lnTo>
                  <a:lnTo>
                    <a:pt x="30" y="60"/>
                  </a:lnTo>
                  <a:lnTo>
                    <a:pt x="33" y="68"/>
                  </a:lnTo>
                  <a:lnTo>
                    <a:pt x="35" y="72"/>
                  </a:lnTo>
                  <a:lnTo>
                    <a:pt x="38" y="72"/>
                  </a:lnTo>
                  <a:lnTo>
                    <a:pt x="39" y="72"/>
                  </a:lnTo>
                  <a:lnTo>
                    <a:pt x="44" y="70"/>
                  </a:lnTo>
                  <a:lnTo>
                    <a:pt x="45" y="70"/>
                  </a:lnTo>
                  <a:lnTo>
                    <a:pt x="48" y="70"/>
                  </a:lnTo>
                  <a:lnTo>
                    <a:pt x="53" y="73"/>
                  </a:lnTo>
                  <a:lnTo>
                    <a:pt x="57" y="76"/>
                  </a:lnTo>
                  <a:lnTo>
                    <a:pt x="61" y="79"/>
                  </a:lnTo>
                  <a:lnTo>
                    <a:pt x="63" y="80"/>
                  </a:lnTo>
                  <a:lnTo>
                    <a:pt x="67" y="79"/>
                  </a:lnTo>
                  <a:lnTo>
                    <a:pt x="71" y="77"/>
                  </a:lnTo>
                  <a:lnTo>
                    <a:pt x="72" y="77"/>
                  </a:lnTo>
                  <a:lnTo>
                    <a:pt x="75" y="77"/>
                  </a:lnTo>
                  <a:lnTo>
                    <a:pt x="76" y="79"/>
                  </a:lnTo>
                  <a:lnTo>
                    <a:pt x="77" y="80"/>
                  </a:lnTo>
                  <a:lnTo>
                    <a:pt x="80" y="82"/>
                  </a:lnTo>
                  <a:lnTo>
                    <a:pt x="86" y="81"/>
                  </a:lnTo>
                  <a:lnTo>
                    <a:pt x="94" y="81"/>
                  </a:lnTo>
                  <a:lnTo>
                    <a:pt x="100" y="80"/>
                  </a:lnTo>
                  <a:lnTo>
                    <a:pt x="106" y="79"/>
                  </a:lnTo>
                  <a:lnTo>
                    <a:pt x="108" y="77"/>
                  </a:lnTo>
                  <a:lnTo>
                    <a:pt x="108" y="75"/>
                  </a:lnTo>
                  <a:lnTo>
                    <a:pt x="103" y="75"/>
                  </a:lnTo>
                  <a:lnTo>
                    <a:pt x="99" y="74"/>
                  </a:lnTo>
                  <a:lnTo>
                    <a:pt x="95" y="73"/>
                  </a:lnTo>
                  <a:lnTo>
                    <a:pt x="91" y="70"/>
                  </a:lnTo>
                  <a:lnTo>
                    <a:pt x="87" y="69"/>
                  </a:lnTo>
                  <a:lnTo>
                    <a:pt x="86" y="67"/>
                  </a:lnTo>
                  <a:lnTo>
                    <a:pt x="86" y="66"/>
                  </a:lnTo>
                  <a:lnTo>
                    <a:pt x="85" y="64"/>
                  </a:lnTo>
                  <a:lnTo>
                    <a:pt x="76" y="62"/>
                  </a:lnTo>
                  <a:lnTo>
                    <a:pt x="70" y="57"/>
                  </a:lnTo>
                  <a:lnTo>
                    <a:pt x="68" y="55"/>
                  </a:lnTo>
                  <a:lnTo>
                    <a:pt x="67" y="51"/>
                  </a:lnTo>
                  <a:lnTo>
                    <a:pt x="66" y="48"/>
                  </a:lnTo>
                  <a:lnTo>
                    <a:pt x="67" y="43"/>
                  </a:lnTo>
                  <a:lnTo>
                    <a:pt x="67" y="41"/>
                  </a:lnTo>
                  <a:lnTo>
                    <a:pt x="66" y="39"/>
                  </a:lnTo>
                  <a:lnTo>
                    <a:pt x="65" y="37"/>
                  </a:lnTo>
                  <a:lnTo>
                    <a:pt x="66" y="32"/>
                  </a:lnTo>
                  <a:lnTo>
                    <a:pt x="66" y="30"/>
                  </a:lnTo>
                  <a:lnTo>
                    <a:pt x="65" y="29"/>
                  </a:lnTo>
                  <a:lnTo>
                    <a:pt x="65" y="26"/>
                  </a:lnTo>
                  <a:lnTo>
                    <a:pt x="67" y="23"/>
                  </a:lnTo>
                  <a:lnTo>
                    <a:pt x="70" y="17"/>
                  </a:lnTo>
                  <a:lnTo>
                    <a:pt x="72" y="15"/>
                  </a:lnTo>
                  <a:lnTo>
                    <a:pt x="76" y="12"/>
                  </a:lnTo>
                  <a:lnTo>
                    <a:pt x="76" y="11"/>
                  </a:lnTo>
                  <a:lnTo>
                    <a:pt x="76" y="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5" name="Freeform 1114"/>
            <p:cNvSpPr>
              <a:spLocks/>
            </p:cNvSpPr>
            <p:nvPr/>
          </p:nvSpPr>
          <p:spPr bwMode="auto">
            <a:xfrm>
              <a:off x="5567363" y="1927226"/>
              <a:ext cx="42862" cy="44450"/>
            </a:xfrm>
            <a:custGeom>
              <a:avLst/>
              <a:gdLst>
                <a:gd name="T0" fmla="*/ 2147483647 w 30"/>
                <a:gd name="T1" fmla="*/ 2147483647 h 28"/>
                <a:gd name="T2" fmla="*/ 2147483647 w 30"/>
                <a:gd name="T3" fmla="*/ 2147483647 h 28"/>
                <a:gd name="T4" fmla="*/ 2147483647 w 30"/>
                <a:gd name="T5" fmla="*/ 2147483647 h 28"/>
                <a:gd name="T6" fmla="*/ 2147483647 w 30"/>
                <a:gd name="T7" fmla="*/ 2147483647 h 28"/>
                <a:gd name="T8" fmla="*/ 2147483647 w 30"/>
                <a:gd name="T9" fmla="*/ 0 h 28"/>
                <a:gd name="T10" fmla="*/ 2147483647 w 30"/>
                <a:gd name="T11" fmla="*/ 0 h 28"/>
                <a:gd name="T12" fmla="*/ 2147483647 w 30"/>
                <a:gd name="T13" fmla="*/ 2147483647 h 28"/>
                <a:gd name="T14" fmla="*/ 2147483647 w 30"/>
                <a:gd name="T15" fmla="*/ 2147483647 h 28"/>
                <a:gd name="T16" fmla="*/ 2147483647 w 30"/>
                <a:gd name="T17" fmla="*/ 2147483647 h 28"/>
                <a:gd name="T18" fmla="*/ 2147483647 w 30"/>
                <a:gd name="T19" fmla="*/ 2147483647 h 28"/>
                <a:gd name="T20" fmla="*/ 2147483647 w 30"/>
                <a:gd name="T21" fmla="*/ 2147483647 h 28"/>
                <a:gd name="T22" fmla="*/ 0 w 30"/>
                <a:gd name="T23" fmla="*/ 2147483647 h 28"/>
                <a:gd name="T24" fmla="*/ 0 w 30"/>
                <a:gd name="T25" fmla="*/ 2147483647 h 28"/>
                <a:gd name="T26" fmla="*/ 2147483647 w 30"/>
                <a:gd name="T27" fmla="*/ 2147483647 h 28"/>
                <a:gd name="T28" fmla="*/ 2147483647 w 30"/>
                <a:gd name="T29" fmla="*/ 2147483647 h 28"/>
                <a:gd name="T30" fmla="*/ 2147483647 w 30"/>
                <a:gd name="T31" fmla="*/ 2147483647 h 28"/>
                <a:gd name="T32" fmla="*/ 2147483647 w 30"/>
                <a:gd name="T33" fmla="*/ 2147483647 h 28"/>
                <a:gd name="T34" fmla="*/ 2147483647 w 30"/>
                <a:gd name="T35" fmla="*/ 2147483647 h 28"/>
                <a:gd name="T36" fmla="*/ 2147483647 w 30"/>
                <a:gd name="T37" fmla="*/ 2147483647 h 28"/>
                <a:gd name="T38" fmla="*/ 2147483647 w 30"/>
                <a:gd name="T39" fmla="*/ 2147483647 h 28"/>
                <a:gd name="T40" fmla="*/ 2147483647 w 30"/>
                <a:gd name="T41" fmla="*/ 2147483647 h 28"/>
                <a:gd name="T42" fmla="*/ 2147483647 w 30"/>
                <a:gd name="T43" fmla="*/ 2147483647 h 28"/>
                <a:gd name="T44" fmla="*/ 2147483647 w 30"/>
                <a:gd name="T45" fmla="*/ 2147483647 h 28"/>
                <a:gd name="T46" fmla="*/ 2147483647 w 30"/>
                <a:gd name="T47" fmla="*/ 2147483647 h 28"/>
                <a:gd name="T48" fmla="*/ 2147483647 w 30"/>
                <a:gd name="T49" fmla="*/ 2147483647 h 28"/>
                <a:gd name="T50" fmla="*/ 2147483647 w 30"/>
                <a:gd name="T51" fmla="*/ 2147483647 h 28"/>
                <a:gd name="T52" fmla="*/ 2147483647 w 30"/>
                <a:gd name="T53" fmla="*/ 2147483647 h 28"/>
                <a:gd name="T54" fmla="*/ 2147483647 w 30"/>
                <a:gd name="T55" fmla="*/ 2147483647 h 28"/>
                <a:gd name="T56" fmla="*/ 2147483647 w 30"/>
                <a:gd name="T57" fmla="*/ 2147483647 h 28"/>
                <a:gd name="T58" fmla="*/ 2147483647 w 30"/>
                <a:gd name="T59" fmla="*/ 2147483647 h 28"/>
                <a:gd name="T60" fmla="*/ 2147483647 w 30"/>
                <a:gd name="T61" fmla="*/ 2147483647 h 28"/>
                <a:gd name="T62" fmla="*/ 2147483647 w 30"/>
                <a:gd name="T63" fmla="*/ 2147483647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
                <a:gd name="T97" fmla="*/ 0 h 28"/>
                <a:gd name="T98" fmla="*/ 30 w 30"/>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 h="28">
                  <a:moveTo>
                    <a:pt x="27" y="11"/>
                  </a:moveTo>
                  <a:lnTo>
                    <a:pt x="23" y="8"/>
                  </a:lnTo>
                  <a:lnTo>
                    <a:pt x="19" y="7"/>
                  </a:lnTo>
                  <a:lnTo>
                    <a:pt x="16" y="5"/>
                  </a:lnTo>
                  <a:lnTo>
                    <a:pt x="14" y="0"/>
                  </a:lnTo>
                  <a:lnTo>
                    <a:pt x="13" y="0"/>
                  </a:lnTo>
                  <a:lnTo>
                    <a:pt x="13" y="1"/>
                  </a:lnTo>
                  <a:lnTo>
                    <a:pt x="12" y="5"/>
                  </a:lnTo>
                  <a:lnTo>
                    <a:pt x="9" y="7"/>
                  </a:lnTo>
                  <a:lnTo>
                    <a:pt x="7" y="7"/>
                  </a:lnTo>
                  <a:lnTo>
                    <a:pt x="3" y="7"/>
                  </a:lnTo>
                  <a:lnTo>
                    <a:pt x="0" y="14"/>
                  </a:lnTo>
                  <a:lnTo>
                    <a:pt x="0" y="18"/>
                  </a:lnTo>
                  <a:lnTo>
                    <a:pt x="2" y="21"/>
                  </a:lnTo>
                  <a:lnTo>
                    <a:pt x="4" y="23"/>
                  </a:lnTo>
                  <a:lnTo>
                    <a:pt x="5" y="23"/>
                  </a:lnTo>
                  <a:lnTo>
                    <a:pt x="5" y="24"/>
                  </a:lnTo>
                  <a:lnTo>
                    <a:pt x="5" y="25"/>
                  </a:lnTo>
                  <a:lnTo>
                    <a:pt x="5" y="27"/>
                  </a:lnTo>
                  <a:lnTo>
                    <a:pt x="5" y="28"/>
                  </a:lnTo>
                  <a:lnTo>
                    <a:pt x="7" y="28"/>
                  </a:lnTo>
                  <a:lnTo>
                    <a:pt x="11" y="28"/>
                  </a:lnTo>
                  <a:lnTo>
                    <a:pt x="13" y="27"/>
                  </a:lnTo>
                  <a:lnTo>
                    <a:pt x="18" y="24"/>
                  </a:lnTo>
                  <a:lnTo>
                    <a:pt x="19" y="24"/>
                  </a:lnTo>
                  <a:lnTo>
                    <a:pt x="22" y="24"/>
                  </a:lnTo>
                  <a:lnTo>
                    <a:pt x="26" y="21"/>
                  </a:lnTo>
                  <a:lnTo>
                    <a:pt x="28" y="18"/>
                  </a:lnTo>
                  <a:lnTo>
                    <a:pt x="30" y="15"/>
                  </a:lnTo>
                  <a:lnTo>
                    <a:pt x="30" y="14"/>
                  </a:lnTo>
                  <a:lnTo>
                    <a:pt x="28" y="12"/>
                  </a:lnTo>
                  <a:lnTo>
                    <a:pt x="27"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6" name="Freeform 1115"/>
            <p:cNvSpPr>
              <a:spLocks/>
            </p:cNvSpPr>
            <p:nvPr/>
          </p:nvSpPr>
          <p:spPr bwMode="auto">
            <a:xfrm>
              <a:off x="6965952" y="2519364"/>
              <a:ext cx="142875" cy="171450"/>
            </a:xfrm>
            <a:custGeom>
              <a:avLst/>
              <a:gdLst>
                <a:gd name="T0" fmla="*/ 2147483647 w 97"/>
                <a:gd name="T1" fmla="*/ 2147483647 h 108"/>
                <a:gd name="T2" fmla="*/ 2147483647 w 97"/>
                <a:gd name="T3" fmla="*/ 2147483647 h 108"/>
                <a:gd name="T4" fmla="*/ 2147483647 w 97"/>
                <a:gd name="T5" fmla="*/ 0 h 108"/>
                <a:gd name="T6" fmla="*/ 2147483647 w 97"/>
                <a:gd name="T7" fmla="*/ 0 h 108"/>
                <a:gd name="T8" fmla="*/ 2147483647 w 97"/>
                <a:gd name="T9" fmla="*/ 2147483647 h 108"/>
                <a:gd name="T10" fmla="*/ 2147483647 w 97"/>
                <a:gd name="T11" fmla="*/ 2147483647 h 108"/>
                <a:gd name="T12" fmla="*/ 2147483647 w 97"/>
                <a:gd name="T13" fmla="*/ 2147483647 h 108"/>
                <a:gd name="T14" fmla="*/ 2147483647 w 97"/>
                <a:gd name="T15" fmla="*/ 2147483647 h 108"/>
                <a:gd name="T16" fmla="*/ 2147483647 w 97"/>
                <a:gd name="T17" fmla="*/ 2147483647 h 108"/>
                <a:gd name="T18" fmla="*/ 2147483647 w 97"/>
                <a:gd name="T19" fmla="*/ 2147483647 h 108"/>
                <a:gd name="T20" fmla="*/ 2147483647 w 97"/>
                <a:gd name="T21" fmla="*/ 2147483647 h 108"/>
                <a:gd name="T22" fmla="*/ 2147483647 w 97"/>
                <a:gd name="T23" fmla="*/ 2147483647 h 108"/>
                <a:gd name="T24" fmla="*/ 2147483647 w 97"/>
                <a:gd name="T25" fmla="*/ 2147483647 h 108"/>
                <a:gd name="T26" fmla="*/ 2147483647 w 97"/>
                <a:gd name="T27" fmla="*/ 2147483647 h 108"/>
                <a:gd name="T28" fmla="*/ 2147483647 w 97"/>
                <a:gd name="T29" fmla="*/ 2147483647 h 108"/>
                <a:gd name="T30" fmla="*/ 2147483647 w 97"/>
                <a:gd name="T31" fmla="*/ 2147483647 h 108"/>
                <a:gd name="T32" fmla="*/ 2147483647 w 97"/>
                <a:gd name="T33" fmla="*/ 2147483647 h 108"/>
                <a:gd name="T34" fmla="*/ 2147483647 w 97"/>
                <a:gd name="T35" fmla="*/ 2147483647 h 108"/>
                <a:gd name="T36" fmla="*/ 2147483647 w 97"/>
                <a:gd name="T37" fmla="*/ 2147483647 h 108"/>
                <a:gd name="T38" fmla="*/ 2147483647 w 97"/>
                <a:gd name="T39" fmla="*/ 2147483647 h 108"/>
                <a:gd name="T40" fmla="*/ 2147483647 w 97"/>
                <a:gd name="T41" fmla="*/ 2147483647 h 108"/>
                <a:gd name="T42" fmla="*/ 2147483647 w 97"/>
                <a:gd name="T43" fmla="*/ 2147483647 h 108"/>
                <a:gd name="T44" fmla="*/ 2147483647 w 97"/>
                <a:gd name="T45" fmla="*/ 2147483647 h 108"/>
                <a:gd name="T46" fmla="*/ 0 w 97"/>
                <a:gd name="T47" fmla="*/ 2147483647 h 108"/>
                <a:gd name="T48" fmla="*/ 2147483647 w 97"/>
                <a:gd name="T49" fmla="*/ 2147483647 h 108"/>
                <a:gd name="T50" fmla="*/ 2147483647 w 97"/>
                <a:gd name="T51" fmla="*/ 2147483647 h 108"/>
                <a:gd name="T52" fmla="*/ 2147483647 w 97"/>
                <a:gd name="T53" fmla="*/ 2147483647 h 108"/>
                <a:gd name="T54" fmla="*/ 2147483647 w 97"/>
                <a:gd name="T55" fmla="*/ 2147483647 h 108"/>
                <a:gd name="T56" fmla="*/ 2147483647 w 97"/>
                <a:gd name="T57" fmla="*/ 2147483647 h 108"/>
                <a:gd name="T58" fmla="*/ 2147483647 w 97"/>
                <a:gd name="T59" fmla="*/ 2147483647 h 108"/>
                <a:gd name="T60" fmla="*/ 2147483647 w 97"/>
                <a:gd name="T61" fmla="*/ 2147483647 h 108"/>
                <a:gd name="T62" fmla="*/ 2147483647 w 97"/>
                <a:gd name="T63" fmla="*/ 2147483647 h 108"/>
                <a:gd name="T64" fmla="*/ 2147483647 w 97"/>
                <a:gd name="T65" fmla="*/ 2147483647 h 108"/>
                <a:gd name="T66" fmla="*/ 2147483647 w 97"/>
                <a:gd name="T67" fmla="*/ 2147483647 h 108"/>
                <a:gd name="T68" fmla="*/ 2147483647 w 97"/>
                <a:gd name="T69" fmla="*/ 2147483647 h 108"/>
                <a:gd name="T70" fmla="*/ 2147483647 w 97"/>
                <a:gd name="T71" fmla="*/ 2147483647 h 108"/>
                <a:gd name="T72" fmla="*/ 2147483647 w 97"/>
                <a:gd name="T73" fmla="*/ 2147483647 h 108"/>
                <a:gd name="T74" fmla="*/ 2147483647 w 97"/>
                <a:gd name="T75" fmla="*/ 2147483647 h 108"/>
                <a:gd name="T76" fmla="*/ 2147483647 w 97"/>
                <a:gd name="T77" fmla="*/ 2147483647 h 108"/>
                <a:gd name="T78" fmla="*/ 2147483647 w 97"/>
                <a:gd name="T79" fmla="*/ 2147483647 h 108"/>
                <a:gd name="T80" fmla="*/ 2147483647 w 97"/>
                <a:gd name="T81" fmla="*/ 2147483647 h 108"/>
                <a:gd name="T82" fmla="*/ 2147483647 w 97"/>
                <a:gd name="T83" fmla="*/ 2147483647 h 108"/>
                <a:gd name="T84" fmla="*/ 2147483647 w 97"/>
                <a:gd name="T85" fmla="*/ 2147483647 h 108"/>
                <a:gd name="T86" fmla="*/ 2147483647 w 97"/>
                <a:gd name="T87" fmla="*/ 2147483647 h 108"/>
                <a:gd name="T88" fmla="*/ 2147483647 w 97"/>
                <a:gd name="T89" fmla="*/ 2147483647 h 108"/>
                <a:gd name="T90" fmla="*/ 2147483647 w 97"/>
                <a:gd name="T91" fmla="*/ 2147483647 h 108"/>
                <a:gd name="T92" fmla="*/ 2147483647 w 97"/>
                <a:gd name="T93" fmla="*/ 2147483647 h 108"/>
                <a:gd name="T94" fmla="*/ 2147483647 w 97"/>
                <a:gd name="T95" fmla="*/ 2147483647 h 108"/>
                <a:gd name="T96" fmla="*/ 2147483647 w 97"/>
                <a:gd name="T97" fmla="*/ 2147483647 h 108"/>
                <a:gd name="T98" fmla="*/ 2147483647 w 97"/>
                <a:gd name="T99" fmla="*/ 2147483647 h 108"/>
                <a:gd name="T100" fmla="*/ 2147483647 w 97"/>
                <a:gd name="T101" fmla="*/ 2147483647 h 1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7"/>
                <a:gd name="T154" fmla="*/ 0 h 108"/>
                <a:gd name="T155" fmla="*/ 97 w 97"/>
                <a:gd name="T156" fmla="*/ 108 h 1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7" h="108">
                  <a:moveTo>
                    <a:pt x="96" y="5"/>
                  </a:moveTo>
                  <a:lnTo>
                    <a:pt x="97" y="2"/>
                  </a:lnTo>
                  <a:lnTo>
                    <a:pt x="96" y="0"/>
                  </a:lnTo>
                  <a:lnTo>
                    <a:pt x="94" y="0"/>
                  </a:lnTo>
                  <a:lnTo>
                    <a:pt x="88" y="5"/>
                  </a:lnTo>
                  <a:lnTo>
                    <a:pt x="84" y="11"/>
                  </a:lnTo>
                  <a:lnTo>
                    <a:pt x="76" y="24"/>
                  </a:lnTo>
                  <a:lnTo>
                    <a:pt x="71" y="29"/>
                  </a:lnTo>
                  <a:lnTo>
                    <a:pt x="69" y="34"/>
                  </a:lnTo>
                  <a:lnTo>
                    <a:pt x="68" y="37"/>
                  </a:lnTo>
                  <a:lnTo>
                    <a:pt x="68" y="40"/>
                  </a:lnTo>
                  <a:lnTo>
                    <a:pt x="66" y="41"/>
                  </a:lnTo>
                  <a:lnTo>
                    <a:pt x="60" y="48"/>
                  </a:lnTo>
                  <a:lnTo>
                    <a:pt x="54" y="55"/>
                  </a:lnTo>
                  <a:lnTo>
                    <a:pt x="51" y="57"/>
                  </a:lnTo>
                  <a:lnTo>
                    <a:pt x="49" y="59"/>
                  </a:lnTo>
                  <a:lnTo>
                    <a:pt x="46" y="60"/>
                  </a:lnTo>
                  <a:lnTo>
                    <a:pt x="45" y="61"/>
                  </a:lnTo>
                  <a:lnTo>
                    <a:pt x="36" y="74"/>
                  </a:lnTo>
                  <a:lnTo>
                    <a:pt x="26" y="85"/>
                  </a:lnTo>
                  <a:lnTo>
                    <a:pt x="21" y="89"/>
                  </a:lnTo>
                  <a:lnTo>
                    <a:pt x="14" y="94"/>
                  </a:lnTo>
                  <a:lnTo>
                    <a:pt x="8" y="98"/>
                  </a:lnTo>
                  <a:lnTo>
                    <a:pt x="0" y="101"/>
                  </a:lnTo>
                  <a:lnTo>
                    <a:pt x="2" y="106"/>
                  </a:lnTo>
                  <a:lnTo>
                    <a:pt x="2" y="108"/>
                  </a:lnTo>
                  <a:lnTo>
                    <a:pt x="4" y="108"/>
                  </a:lnTo>
                  <a:lnTo>
                    <a:pt x="8" y="107"/>
                  </a:lnTo>
                  <a:lnTo>
                    <a:pt x="12" y="106"/>
                  </a:lnTo>
                  <a:lnTo>
                    <a:pt x="21" y="105"/>
                  </a:lnTo>
                  <a:lnTo>
                    <a:pt x="24" y="104"/>
                  </a:lnTo>
                  <a:lnTo>
                    <a:pt x="28" y="101"/>
                  </a:lnTo>
                  <a:lnTo>
                    <a:pt x="36" y="92"/>
                  </a:lnTo>
                  <a:lnTo>
                    <a:pt x="41" y="87"/>
                  </a:lnTo>
                  <a:lnTo>
                    <a:pt x="46" y="85"/>
                  </a:lnTo>
                  <a:lnTo>
                    <a:pt x="47" y="83"/>
                  </a:lnTo>
                  <a:lnTo>
                    <a:pt x="47" y="82"/>
                  </a:lnTo>
                  <a:lnTo>
                    <a:pt x="47" y="81"/>
                  </a:lnTo>
                  <a:lnTo>
                    <a:pt x="49" y="80"/>
                  </a:lnTo>
                  <a:lnTo>
                    <a:pt x="55" y="80"/>
                  </a:lnTo>
                  <a:lnTo>
                    <a:pt x="61" y="78"/>
                  </a:lnTo>
                  <a:lnTo>
                    <a:pt x="66" y="73"/>
                  </a:lnTo>
                  <a:lnTo>
                    <a:pt x="70" y="69"/>
                  </a:lnTo>
                  <a:lnTo>
                    <a:pt x="78" y="60"/>
                  </a:lnTo>
                  <a:lnTo>
                    <a:pt x="82" y="55"/>
                  </a:lnTo>
                  <a:lnTo>
                    <a:pt x="85" y="48"/>
                  </a:lnTo>
                  <a:lnTo>
                    <a:pt x="89" y="36"/>
                  </a:lnTo>
                  <a:lnTo>
                    <a:pt x="92" y="22"/>
                  </a:lnTo>
                  <a:lnTo>
                    <a:pt x="94" y="9"/>
                  </a:lnTo>
                  <a:lnTo>
                    <a:pt x="97" y="4"/>
                  </a:lnTo>
                  <a:lnTo>
                    <a:pt x="9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7" name="Freeform 1116"/>
            <p:cNvSpPr>
              <a:spLocks/>
            </p:cNvSpPr>
            <p:nvPr/>
          </p:nvSpPr>
          <p:spPr bwMode="auto">
            <a:xfrm>
              <a:off x="5565776" y="1925639"/>
              <a:ext cx="42863" cy="44450"/>
            </a:xfrm>
            <a:custGeom>
              <a:avLst/>
              <a:gdLst>
                <a:gd name="T0" fmla="*/ 2147483647 w 29"/>
                <a:gd name="T1" fmla="*/ 2147483647 h 28"/>
                <a:gd name="T2" fmla="*/ 2147483647 w 29"/>
                <a:gd name="T3" fmla="*/ 2147483647 h 28"/>
                <a:gd name="T4" fmla="*/ 2147483647 w 29"/>
                <a:gd name="T5" fmla="*/ 2147483647 h 28"/>
                <a:gd name="T6" fmla="*/ 2147483647 w 29"/>
                <a:gd name="T7" fmla="*/ 2147483647 h 28"/>
                <a:gd name="T8" fmla="*/ 2147483647 w 29"/>
                <a:gd name="T9" fmla="*/ 2147483647 h 28"/>
                <a:gd name="T10" fmla="*/ 2147483647 w 29"/>
                <a:gd name="T11" fmla="*/ 0 h 28"/>
                <a:gd name="T12" fmla="*/ 2147483647 w 29"/>
                <a:gd name="T13" fmla="*/ 0 h 28"/>
                <a:gd name="T14" fmla="*/ 2147483647 w 29"/>
                <a:gd name="T15" fmla="*/ 0 h 28"/>
                <a:gd name="T16" fmla="*/ 2147483647 w 29"/>
                <a:gd name="T17" fmla="*/ 2147483647 h 28"/>
                <a:gd name="T18" fmla="*/ 2147483647 w 29"/>
                <a:gd name="T19" fmla="*/ 2147483647 h 28"/>
                <a:gd name="T20" fmla="*/ 2147483647 w 29"/>
                <a:gd name="T21" fmla="*/ 2147483647 h 28"/>
                <a:gd name="T22" fmla="*/ 2147483647 w 29"/>
                <a:gd name="T23" fmla="*/ 2147483647 h 28"/>
                <a:gd name="T24" fmla="*/ 2147483647 w 29"/>
                <a:gd name="T25" fmla="*/ 2147483647 h 28"/>
                <a:gd name="T26" fmla="*/ 2147483647 w 29"/>
                <a:gd name="T27" fmla="*/ 2147483647 h 28"/>
                <a:gd name="T28" fmla="*/ 2147483647 w 29"/>
                <a:gd name="T29" fmla="*/ 2147483647 h 28"/>
                <a:gd name="T30" fmla="*/ 0 w 29"/>
                <a:gd name="T31" fmla="*/ 2147483647 h 28"/>
                <a:gd name="T32" fmla="*/ 0 w 29"/>
                <a:gd name="T33" fmla="*/ 2147483647 h 28"/>
                <a:gd name="T34" fmla="*/ 2147483647 w 29"/>
                <a:gd name="T35" fmla="*/ 2147483647 h 28"/>
                <a:gd name="T36" fmla="*/ 2147483647 w 29"/>
                <a:gd name="T37" fmla="*/ 2147483647 h 28"/>
                <a:gd name="T38" fmla="*/ 2147483647 w 29"/>
                <a:gd name="T39" fmla="*/ 2147483647 h 28"/>
                <a:gd name="T40" fmla="*/ 2147483647 w 29"/>
                <a:gd name="T41" fmla="*/ 2147483647 h 28"/>
                <a:gd name="T42" fmla="*/ 2147483647 w 29"/>
                <a:gd name="T43" fmla="*/ 2147483647 h 28"/>
                <a:gd name="T44" fmla="*/ 2147483647 w 29"/>
                <a:gd name="T45" fmla="*/ 2147483647 h 28"/>
                <a:gd name="T46" fmla="*/ 2147483647 w 29"/>
                <a:gd name="T47" fmla="*/ 2147483647 h 28"/>
                <a:gd name="T48" fmla="*/ 2147483647 w 29"/>
                <a:gd name="T49" fmla="*/ 2147483647 h 28"/>
                <a:gd name="T50" fmla="*/ 2147483647 w 29"/>
                <a:gd name="T51" fmla="*/ 2147483647 h 28"/>
                <a:gd name="T52" fmla="*/ 2147483647 w 29"/>
                <a:gd name="T53" fmla="*/ 2147483647 h 28"/>
                <a:gd name="T54" fmla="*/ 2147483647 w 29"/>
                <a:gd name="T55" fmla="*/ 2147483647 h 28"/>
                <a:gd name="T56" fmla="*/ 2147483647 w 29"/>
                <a:gd name="T57" fmla="*/ 2147483647 h 28"/>
                <a:gd name="T58" fmla="*/ 2147483647 w 29"/>
                <a:gd name="T59" fmla="*/ 2147483647 h 28"/>
                <a:gd name="T60" fmla="*/ 2147483647 w 29"/>
                <a:gd name="T61" fmla="*/ 2147483647 h 28"/>
                <a:gd name="T62" fmla="*/ 2147483647 w 29"/>
                <a:gd name="T63" fmla="*/ 2147483647 h 28"/>
                <a:gd name="T64" fmla="*/ 2147483647 w 29"/>
                <a:gd name="T65" fmla="*/ 2147483647 h 28"/>
                <a:gd name="T66" fmla="*/ 2147483647 w 29"/>
                <a:gd name="T67" fmla="*/ 2147483647 h 28"/>
                <a:gd name="T68" fmla="*/ 2147483647 w 29"/>
                <a:gd name="T69" fmla="*/ 2147483647 h 28"/>
                <a:gd name="T70" fmla="*/ 2147483647 w 29"/>
                <a:gd name="T71" fmla="*/ 2147483647 h 28"/>
                <a:gd name="T72" fmla="*/ 2147483647 w 29"/>
                <a:gd name="T73" fmla="*/ 2147483647 h 28"/>
                <a:gd name="T74" fmla="*/ 2147483647 w 29"/>
                <a:gd name="T75" fmla="*/ 2147483647 h 28"/>
                <a:gd name="T76" fmla="*/ 2147483647 w 29"/>
                <a:gd name="T77" fmla="*/ 2147483647 h 28"/>
                <a:gd name="T78" fmla="*/ 2147483647 w 29"/>
                <a:gd name="T79" fmla="*/ 2147483647 h 28"/>
                <a:gd name="T80" fmla="*/ 2147483647 w 29"/>
                <a:gd name="T81" fmla="*/ 2147483647 h 28"/>
                <a:gd name="T82" fmla="*/ 2147483647 w 29"/>
                <a:gd name="T83" fmla="*/ 2147483647 h 28"/>
                <a:gd name="T84" fmla="*/ 2147483647 w 29"/>
                <a:gd name="T85" fmla="*/ 2147483647 h 2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28"/>
                <a:gd name="T131" fmla="*/ 29 w 29"/>
                <a:gd name="T132" fmla="*/ 28 h 2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28">
                  <a:moveTo>
                    <a:pt x="27" y="10"/>
                  </a:moveTo>
                  <a:lnTo>
                    <a:pt x="27" y="10"/>
                  </a:lnTo>
                  <a:lnTo>
                    <a:pt x="23" y="8"/>
                  </a:lnTo>
                  <a:lnTo>
                    <a:pt x="19" y="7"/>
                  </a:lnTo>
                  <a:lnTo>
                    <a:pt x="15" y="5"/>
                  </a:lnTo>
                  <a:lnTo>
                    <a:pt x="14" y="0"/>
                  </a:lnTo>
                  <a:lnTo>
                    <a:pt x="13" y="0"/>
                  </a:lnTo>
                  <a:lnTo>
                    <a:pt x="13" y="1"/>
                  </a:lnTo>
                  <a:lnTo>
                    <a:pt x="12" y="5"/>
                  </a:lnTo>
                  <a:lnTo>
                    <a:pt x="9" y="7"/>
                  </a:lnTo>
                  <a:lnTo>
                    <a:pt x="6" y="7"/>
                  </a:lnTo>
                  <a:lnTo>
                    <a:pt x="3" y="7"/>
                  </a:lnTo>
                  <a:lnTo>
                    <a:pt x="0" y="14"/>
                  </a:lnTo>
                  <a:lnTo>
                    <a:pt x="0" y="18"/>
                  </a:lnTo>
                  <a:lnTo>
                    <a:pt x="1" y="21"/>
                  </a:lnTo>
                  <a:lnTo>
                    <a:pt x="4" y="22"/>
                  </a:lnTo>
                  <a:lnTo>
                    <a:pt x="5" y="22"/>
                  </a:lnTo>
                  <a:lnTo>
                    <a:pt x="5" y="24"/>
                  </a:lnTo>
                  <a:lnTo>
                    <a:pt x="5" y="25"/>
                  </a:lnTo>
                  <a:lnTo>
                    <a:pt x="5" y="27"/>
                  </a:lnTo>
                  <a:lnTo>
                    <a:pt x="5" y="28"/>
                  </a:lnTo>
                  <a:lnTo>
                    <a:pt x="6" y="28"/>
                  </a:lnTo>
                  <a:lnTo>
                    <a:pt x="10" y="28"/>
                  </a:lnTo>
                  <a:lnTo>
                    <a:pt x="13" y="27"/>
                  </a:lnTo>
                  <a:lnTo>
                    <a:pt x="18" y="24"/>
                  </a:lnTo>
                  <a:lnTo>
                    <a:pt x="19" y="24"/>
                  </a:lnTo>
                  <a:lnTo>
                    <a:pt x="22" y="24"/>
                  </a:lnTo>
                  <a:lnTo>
                    <a:pt x="25" y="21"/>
                  </a:lnTo>
                  <a:lnTo>
                    <a:pt x="28" y="18"/>
                  </a:lnTo>
                  <a:lnTo>
                    <a:pt x="29" y="15"/>
                  </a:lnTo>
                  <a:lnTo>
                    <a:pt x="29" y="14"/>
                  </a:lnTo>
                  <a:lnTo>
                    <a:pt x="28" y="12"/>
                  </a:lnTo>
                  <a:lnTo>
                    <a:pt x="27"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8" name="Freeform 1117"/>
            <p:cNvSpPr>
              <a:spLocks/>
            </p:cNvSpPr>
            <p:nvPr/>
          </p:nvSpPr>
          <p:spPr bwMode="auto">
            <a:xfrm>
              <a:off x="6964364" y="2517776"/>
              <a:ext cx="142875" cy="171450"/>
            </a:xfrm>
            <a:custGeom>
              <a:avLst/>
              <a:gdLst>
                <a:gd name="T0" fmla="*/ 2147483647 w 97"/>
                <a:gd name="T1" fmla="*/ 2147483647 h 108"/>
                <a:gd name="T2" fmla="*/ 2147483647 w 97"/>
                <a:gd name="T3" fmla="*/ 0 h 108"/>
                <a:gd name="T4" fmla="*/ 2147483647 w 97"/>
                <a:gd name="T5" fmla="*/ 0 h 108"/>
                <a:gd name="T6" fmla="*/ 2147483647 w 97"/>
                <a:gd name="T7" fmla="*/ 2147483647 h 108"/>
                <a:gd name="T8" fmla="*/ 2147483647 w 97"/>
                <a:gd name="T9" fmla="*/ 2147483647 h 108"/>
                <a:gd name="T10" fmla="*/ 2147483647 w 97"/>
                <a:gd name="T11" fmla="*/ 2147483647 h 108"/>
                <a:gd name="T12" fmla="*/ 2147483647 w 97"/>
                <a:gd name="T13" fmla="*/ 2147483647 h 108"/>
                <a:gd name="T14" fmla="*/ 2147483647 w 97"/>
                <a:gd name="T15" fmla="*/ 2147483647 h 108"/>
                <a:gd name="T16" fmla="*/ 2147483647 w 97"/>
                <a:gd name="T17" fmla="*/ 2147483647 h 108"/>
                <a:gd name="T18" fmla="*/ 2147483647 w 97"/>
                <a:gd name="T19" fmla="*/ 2147483647 h 108"/>
                <a:gd name="T20" fmla="*/ 2147483647 w 97"/>
                <a:gd name="T21" fmla="*/ 2147483647 h 108"/>
                <a:gd name="T22" fmla="*/ 2147483647 w 97"/>
                <a:gd name="T23" fmla="*/ 2147483647 h 108"/>
                <a:gd name="T24" fmla="*/ 2147483647 w 97"/>
                <a:gd name="T25" fmla="*/ 2147483647 h 108"/>
                <a:gd name="T26" fmla="*/ 2147483647 w 97"/>
                <a:gd name="T27" fmla="*/ 2147483647 h 108"/>
                <a:gd name="T28" fmla="*/ 2147483647 w 97"/>
                <a:gd name="T29" fmla="*/ 2147483647 h 108"/>
                <a:gd name="T30" fmla="*/ 0 w 97"/>
                <a:gd name="T31" fmla="*/ 2147483647 h 108"/>
                <a:gd name="T32" fmla="*/ 2147483647 w 97"/>
                <a:gd name="T33" fmla="*/ 2147483647 h 108"/>
                <a:gd name="T34" fmla="*/ 2147483647 w 97"/>
                <a:gd name="T35" fmla="*/ 2147483647 h 108"/>
                <a:gd name="T36" fmla="*/ 2147483647 w 97"/>
                <a:gd name="T37" fmla="*/ 2147483647 h 108"/>
                <a:gd name="T38" fmla="*/ 2147483647 w 97"/>
                <a:gd name="T39" fmla="*/ 2147483647 h 108"/>
                <a:gd name="T40" fmla="*/ 2147483647 w 97"/>
                <a:gd name="T41" fmla="*/ 2147483647 h 108"/>
                <a:gd name="T42" fmla="*/ 2147483647 w 97"/>
                <a:gd name="T43" fmla="*/ 2147483647 h 108"/>
                <a:gd name="T44" fmla="*/ 2147483647 w 97"/>
                <a:gd name="T45" fmla="*/ 2147483647 h 108"/>
                <a:gd name="T46" fmla="*/ 2147483647 w 97"/>
                <a:gd name="T47" fmla="*/ 2147483647 h 108"/>
                <a:gd name="T48" fmla="*/ 2147483647 w 97"/>
                <a:gd name="T49" fmla="*/ 2147483647 h 108"/>
                <a:gd name="T50" fmla="*/ 2147483647 w 97"/>
                <a:gd name="T51" fmla="*/ 2147483647 h 108"/>
                <a:gd name="T52" fmla="*/ 2147483647 w 97"/>
                <a:gd name="T53" fmla="*/ 2147483647 h 108"/>
                <a:gd name="T54" fmla="*/ 2147483647 w 97"/>
                <a:gd name="T55" fmla="*/ 2147483647 h 108"/>
                <a:gd name="T56" fmla="*/ 2147483647 w 97"/>
                <a:gd name="T57" fmla="*/ 2147483647 h 108"/>
                <a:gd name="T58" fmla="*/ 2147483647 w 97"/>
                <a:gd name="T59" fmla="*/ 2147483647 h 108"/>
                <a:gd name="T60" fmla="*/ 2147483647 w 97"/>
                <a:gd name="T61" fmla="*/ 2147483647 h 108"/>
                <a:gd name="T62" fmla="*/ 2147483647 w 97"/>
                <a:gd name="T63" fmla="*/ 2147483647 h 108"/>
                <a:gd name="T64" fmla="*/ 2147483647 w 97"/>
                <a:gd name="T65" fmla="*/ 2147483647 h 108"/>
                <a:gd name="T66" fmla="*/ 2147483647 w 97"/>
                <a:gd name="T67" fmla="*/ 2147483647 h 1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7"/>
                <a:gd name="T103" fmla="*/ 0 h 108"/>
                <a:gd name="T104" fmla="*/ 97 w 97"/>
                <a:gd name="T105" fmla="*/ 108 h 1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7" h="108">
                  <a:moveTo>
                    <a:pt x="95" y="5"/>
                  </a:moveTo>
                  <a:lnTo>
                    <a:pt x="95" y="5"/>
                  </a:lnTo>
                  <a:lnTo>
                    <a:pt x="97" y="1"/>
                  </a:lnTo>
                  <a:lnTo>
                    <a:pt x="95" y="0"/>
                  </a:lnTo>
                  <a:lnTo>
                    <a:pt x="94" y="0"/>
                  </a:lnTo>
                  <a:lnTo>
                    <a:pt x="88" y="5"/>
                  </a:lnTo>
                  <a:lnTo>
                    <a:pt x="84" y="11"/>
                  </a:lnTo>
                  <a:lnTo>
                    <a:pt x="76" y="24"/>
                  </a:lnTo>
                  <a:lnTo>
                    <a:pt x="71" y="29"/>
                  </a:lnTo>
                  <a:lnTo>
                    <a:pt x="69" y="33"/>
                  </a:lnTo>
                  <a:lnTo>
                    <a:pt x="67" y="37"/>
                  </a:lnTo>
                  <a:lnTo>
                    <a:pt x="67" y="39"/>
                  </a:lnTo>
                  <a:lnTo>
                    <a:pt x="66" y="41"/>
                  </a:lnTo>
                  <a:lnTo>
                    <a:pt x="60" y="48"/>
                  </a:lnTo>
                  <a:lnTo>
                    <a:pt x="53" y="55"/>
                  </a:lnTo>
                  <a:lnTo>
                    <a:pt x="51" y="57"/>
                  </a:lnTo>
                  <a:lnTo>
                    <a:pt x="48" y="58"/>
                  </a:lnTo>
                  <a:lnTo>
                    <a:pt x="46" y="60"/>
                  </a:lnTo>
                  <a:lnTo>
                    <a:pt x="44" y="61"/>
                  </a:lnTo>
                  <a:lnTo>
                    <a:pt x="36" y="74"/>
                  </a:lnTo>
                  <a:lnTo>
                    <a:pt x="25" y="84"/>
                  </a:lnTo>
                  <a:lnTo>
                    <a:pt x="20" y="89"/>
                  </a:lnTo>
                  <a:lnTo>
                    <a:pt x="14" y="94"/>
                  </a:lnTo>
                  <a:lnTo>
                    <a:pt x="8" y="97"/>
                  </a:lnTo>
                  <a:lnTo>
                    <a:pt x="0" y="101"/>
                  </a:lnTo>
                  <a:lnTo>
                    <a:pt x="1" y="106"/>
                  </a:lnTo>
                  <a:lnTo>
                    <a:pt x="1" y="108"/>
                  </a:lnTo>
                  <a:lnTo>
                    <a:pt x="4" y="108"/>
                  </a:lnTo>
                  <a:lnTo>
                    <a:pt x="8" y="107"/>
                  </a:lnTo>
                  <a:lnTo>
                    <a:pt x="11" y="106"/>
                  </a:lnTo>
                  <a:lnTo>
                    <a:pt x="20" y="105"/>
                  </a:lnTo>
                  <a:lnTo>
                    <a:pt x="24" y="103"/>
                  </a:lnTo>
                  <a:lnTo>
                    <a:pt x="28" y="101"/>
                  </a:lnTo>
                  <a:lnTo>
                    <a:pt x="36" y="92"/>
                  </a:lnTo>
                  <a:lnTo>
                    <a:pt x="41" y="87"/>
                  </a:lnTo>
                  <a:lnTo>
                    <a:pt x="46" y="84"/>
                  </a:lnTo>
                  <a:lnTo>
                    <a:pt x="47" y="83"/>
                  </a:lnTo>
                  <a:lnTo>
                    <a:pt x="47" y="82"/>
                  </a:lnTo>
                  <a:lnTo>
                    <a:pt x="47" y="81"/>
                  </a:lnTo>
                  <a:lnTo>
                    <a:pt x="48" y="80"/>
                  </a:lnTo>
                  <a:lnTo>
                    <a:pt x="55" y="80"/>
                  </a:lnTo>
                  <a:lnTo>
                    <a:pt x="61" y="77"/>
                  </a:lnTo>
                  <a:lnTo>
                    <a:pt x="66" y="73"/>
                  </a:lnTo>
                  <a:lnTo>
                    <a:pt x="70" y="69"/>
                  </a:lnTo>
                  <a:lnTo>
                    <a:pt x="77" y="60"/>
                  </a:lnTo>
                  <a:lnTo>
                    <a:pt x="81" y="55"/>
                  </a:lnTo>
                  <a:lnTo>
                    <a:pt x="85" y="48"/>
                  </a:lnTo>
                  <a:lnTo>
                    <a:pt x="89" y="36"/>
                  </a:lnTo>
                  <a:lnTo>
                    <a:pt x="91" y="22"/>
                  </a:lnTo>
                  <a:lnTo>
                    <a:pt x="94" y="9"/>
                  </a:lnTo>
                  <a:lnTo>
                    <a:pt x="97" y="4"/>
                  </a:lnTo>
                  <a:lnTo>
                    <a:pt x="95"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19" name="Freeform 1118"/>
            <p:cNvSpPr>
              <a:spLocks/>
            </p:cNvSpPr>
            <p:nvPr/>
          </p:nvSpPr>
          <p:spPr bwMode="auto">
            <a:xfrm>
              <a:off x="8013701" y="1625601"/>
              <a:ext cx="130175" cy="55563"/>
            </a:xfrm>
            <a:custGeom>
              <a:avLst/>
              <a:gdLst>
                <a:gd name="T0" fmla="*/ 2147483647 w 88"/>
                <a:gd name="T1" fmla="*/ 2147483647 h 35"/>
                <a:gd name="T2" fmla="*/ 2147483647 w 88"/>
                <a:gd name="T3" fmla="*/ 2147483647 h 35"/>
                <a:gd name="T4" fmla="*/ 2147483647 w 88"/>
                <a:gd name="T5" fmla="*/ 2147483647 h 35"/>
                <a:gd name="T6" fmla="*/ 2147483647 w 88"/>
                <a:gd name="T7" fmla="*/ 0 h 35"/>
                <a:gd name="T8" fmla="*/ 0 w 88"/>
                <a:gd name="T9" fmla="*/ 2147483647 h 35"/>
                <a:gd name="T10" fmla="*/ 0 w 88"/>
                <a:gd name="T11" fmla="*/ 2147483647 h 35"/>
                <a:gd name="T12" fmla="*/ 2147483647 w 88"/>
                <a:gd name="T13" fmla="*/ 2147483647 h 35"/>
                <a:gd name="T14" fmla="*/ 2147483647 w 88"/>
                <a:gd name="T15" fmla="*/ 2147483647 h 35"/>
                <a:gd name="T16" fmla="*/ 2147483647 w 88"/>
                <a:gd name="T17" fmla="*/ 2147483647 h 35"/>
                <a:gd name="T18" fmla="*/ 2147483647 w 88"/>
                <a:gd name="T19" fmla="*/ 2147483647 h 35"/>
                <a:gd name="T20" fmla="*/ 2147483647 w 88"/>
                <a:gd name="T21" fmla="*/ 2147483647 h 35"/>
                <a:gd name="T22" fmla="*/ 2147483647 w 88"/>
                <a:gd name="T23" fmla="*/ 2147483647 h 35"/>
                <a:gd name="T24" fmla="*/ 2147483647 w 88"/>
                <a:gd name="T25" fmla="*/ 2147483647 h 35"/>
                <a:gd name="T26" fmla="*/ 2147483647 w 88"/>
                <a:gd name="T27" fmla="*/ 2147483647 h 35"/>
                <a:gd name="T28" fmla="*/ 2147483647 w 88"/>
                <a:gd name="T29" fmla="*/ 2147483647 h 35"/>
                <a:gd name="T30" fmla="*/ 2147483647 w 88"/>
                <a:gd name="T31" fmla="*/ 2147483647 h 35"/>
                <a:gd name="T32" fmla="*/ 2147483647 w 88"/>
                <a:gd name="T33" fmla="*/ 2147483647 h 35"/>
                <a:gd name="T34" fmla="*/ 2147483647 w 88"/>
                <a:gd name="T35" fmla="*/ 2147483647 h 35"/>
                <a:gd name="T36" fmla="*/ 2147483647 w 88"/>
                <a:gd name="T37" fmla="*/ 2147483647 h 35"/>
                <a:gd name="T38" fmla="*/ 2147483647 w 88"/>
                <a:gd name="T39" fmla="*/ 2147483647 h 35"/>
                <a:gd name="T40" fmla="*/ 2147483647 w 88"/>
                <a:gd name="T41" fmla="*/ 2147483647 h 35"/>
                <a:gd name="T42" fmla="*/ 2147483647 w 88"/>
                <a:gd name="T43" fmla="*/ 2147483647 h 35"/>
                <a:gd name="T44" fmla="*/ 2147483647 w 88"/>
                <a:gd name="T45" fmla="*/ 2147483647 h 35"/>
                <a:gd name="T46" fmla="*/ 2147483647 w 88"/>
                <a:gd name="T47" fmla="*/ 2147483647 h 35"/>
                <a:gd name="T48" fmla="*/ 2147483647 w 88"/>
                <a:gd name="T49" fmla="*/ 2147483647 h 35"/>
                <a:gd name="T50" fmla="*/ 2147483647 w 88"/>
                <a:gd name="T51" fmla="*/ 2147483647 h 35"/>
                <a:gd name="T52" fmla="*/ 2147483647 w 88"/>
                <a:gd name="T53" fmla="*/ 2147483647 h 35"/>
                <a:gd name="T54" fmla="*/ 2147483647 w 88"/>
                <a:gd name="T55" fmla="*/ 2147483647 h 35"/>
                <a:gd name="T56" fmla="*/ 2147483647 w 88"/>
                <a:gd name="T57" fmla="*/ 2147483647 h 35"/>
                <a:gd name="T58" fmla="*/ 2147483647 w 88"/>
                <a:gd name="T59" fmla="*/ 2147483647 h 35"/>
                <a:gd name="T60" fmla="*/ 2147483647 w 88"/>
                <a:gd name="T61" fmla="*/ 2147483647 h 35"/>
                <a:gd name="T62" fmla="*/ 2147483647 w 88"/>
                <a:gd name="T63" fmla="*/ 2147483647 h 35"/>
                <a:gd name="T64" fmla="*/ 2147483647 w 88"/>
                <a:gd name="T65" fmla="*/ 2147483647 h 35"/>
                <a:gd name="T66" fmla="*/ 2147483647 w 88"/>
                <a:gd name="T67" fmla="*/ 2147483647 h 35"/>
                <a:gd name="T68" fmla="*/ 2147483647 w 88"/>
                <a:gd name="T69" fmla="*/ 2147483647 h 35"/>
                <a:gd name="T70" fmla="*/ 2147483647 w 88"/>
                <a:gd name="T71" fmla="*/ 2147483647 h 35"/>
                <a:gd name="T72" fmla="*/ 2147483647 w 88"/>
                <a:gd name="T73" fmla="*/ 2147483647 h 35"/>
                <a:gd name="T74" fmla="*/ 2147483647 w 88"/>
                <a:gd name="T75" fmla="*/ 2147483647 h 35"/>
                <a:gd name="T76" fmla="*/ 2147483647 w 88"/>
                <a:gd name="T77" fmla="*/ 2147483647 h 35"/>
                <a:gd name="T78" fmla="*/ 2147483647 w 88"/>
                <a:gd name="T79" fmla="*/ 2147483647 h 35"/>
                <a:gd name="T80" fmla="*/ 2147483647 w 88"/>
                <a:gd name="T81" fmla="*/ 0 h 35"/>
                <a:gd name="T82" fmla="*/ 2147483647 w 88"/>
                <a:gd name="T83" fmla="*/ 0 h 35"/>
                <a:gd name="T84" fmla="*/ 2147483647 w 88"/>
                <a:gd name="T85" fmla="*/ 2147483647 h 35"/>
                <a:gd name="T86" fmla="*/ 2147483647 w 88"/>
                <a:gd name="T87" fmla="*/ 2147483647 h 35"/>
                <a:gd name="T88" fmla="*/ 2147483647 w 88"/>
                <a:gd name="T89" fmla="*/ 2147483647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8"/>
                <a:gd name="T136" fmla="*/ 0 h 35"/>
                <a:gd name="T137" fmla="*/ 88 w 8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8" h="35">
                  <a:moveTo>
                    <a:pt x="22" y="3"/>
                  </a:moveTo>
                  <a:lnTo>
                    <a:pt x="15" y="3"/>
                  </a:lnTo>
                  <a:lnTo>
                    <a:pt x="8" y="1"/>
                  </a:lnTo>
                  <a:lnTo>
                    <a:pt x="4" y="0"/>
                  </a:lnTo>
                  <a:lnTo>
                    <a:pt x="0" y="1"/>
                  </a:lnTo>
                  <a:lnTo>
                    <a:pt x="0" y="3"/>
                  </a:lnTo>
                  <a:lnTo>
                    <a:pt x="8" y="5"/>
                  </a:lnTo>
                  <a:lnTo>
                    <a:pt x="14" y="10"/>
                  </a:lnTo>
                  <a:lnTo>
                    <a:pt x="22" y="18"/>
                  </a:lnTo>
                  <a:lnTo>
                    <a:pt x="29" y="26"/>
                  </a:lnTo>
                  <a:lnTo>
                    <a:pt x="33" y="29"/>
                  </a:lnTo>
                  <a:lnTo>
                    <a:pt x="37" y="32"/>
                  </a:lnTo>
                  <a:lnTo>
                    <a:pt x="42" y="34"/>
                  </a:lnTo>
                  <a:lnTo>
                    <a:pt x="47" y="34"/>
                  </a:lnTo>
                  <a:lnTo>
                    <a:pt x="52" y="35"/>
                  </a:lnTo>
                  <a:lnTo>
                    <a:pt x="59" y="35"/>
                  </a:lnTo>
                  <a:lnTo>
                    <a:pt x="64" y="35"/>
                  </a:lnTo>
                  <a:lnTo>
                    <a:pt x="68" y="34"/>
                  </a:lnTo>
                  <a:lnTo>
                    <a:pt x="73" y="32"/>
                  </a:lnTo>
                  <a:lnTo>
                    <a:pt x="78" y="31"/>
                  </a:lnTo>
                  <a:lnTo>
                    <a:pt x="87" y="31"/>
                  </a:lnTo>
                  <a:lnTo>
                    <a:pt x="88" y="30"/>
                  </a:lnTo>
                  <a:lnTo>
                    <a:pt x="87" y="29"/>
                  </a:lnTo>
                  <a:lnTo>
                    <a:pt x="85" y="25"/>
                  </a:lnTo>
                  <a:lnTo>
                    <a:pt x="85" y="23"/>
                  </a:lnTo>
                  <a:lnTo>
                    <a:pt x="87" y="20"/>
                  </a:lnTo>
                  <a:lnTo>
                    <a:pt x="87" y="19"/>
                  </a:lnTo>
                  <a:lnTo>
                    <a:pt x="87" y="18"/>
                  </a:lnTo>
                  <a:lnTo>
                    <a:pt x="83" y="15"/>
                  </a:lnTo>
                  <a:lnTo>
                    <a:pt x="79" y="13"/>
                  </a:lnTo>
                  <a:lnTo>
                    <a:pt x="69" y="10"/>
                  </a:lnTo>
                  <a:lnTo>
                    <a:pt x="66" y="10"/>
                  </a:lnTo>
                  <a:lnTo>
                    <a:pt x="62" y="11"/>
                  </a:lnTo>
                  <a:lnTo>
                    <a:pt x="60" y="12"/>
                  </a:lnTo>
                  <a:lnTo>
                    <a:pt x="56" y="12"/>
                  </a:lnTo>
                  <a:lnTo>
                    <a:pt x="48" y="10"/>
                  </a:lnTo>
                  <a:lnTo>
                    <a:pt x="41" y="7"/>
                  </a:lnTo>
                  <a:lnTo>
                    <a:pt x="40" y="6"/>
                  </a:lnTo>
                  <a:lnTo>
                    <a:pt x="40" y="4"/>
                  </a:lnTo>
                  <a:lnTo>
                    <a:pt x="40" y="3"/>
                  </a:lnTo>
                  <a:lnTo>
                    <a:pt x="38" y="0"/>
                  </a:lnTo>
                  <a:lnTo>
                    <a:pt x="34" y="0"/>
                  </a:lnTo>
                  <a:lnTo>
                    <a:pt x="29" y="1"/>
                  </a:lnTo>
                  <a:lnTo>
                    <a:pt x="26" y="3"/>
                  </a:lnTo>
                  <a:lnTo>
                    <a:pt x="22"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0" name="Freeform 1119"/>
            <p:cNvSpPr>
              <a:spLocks/>
            </p:cNvSpPr>
            <p:nvPr/>
          </p:nvSpPr>
          <p:spPr bwMode="auto">
            <a:xfrm>
              <a:off x="7923215" y="1609727"/>
              <a:ext cx="68262" cy="55563"/>
            </a:xfrm>
            <a:custGeom>
              <a:avLst/>
              <a:gdLst>
                <a:gd name="T0" fmla="*/ 2147483647 w 47"/>
                <a:gd name="T1" fmla="*/ 2147483647 h 35"/>
                <a:gd name="T2" fmla="*/ 2147483647 w 47"/>
                <a:gd name="T3" fmla="*/ 2147483647 h 35"/>
                <a:gd name="T4" fmla="*/ 2147483647 w 47"/>
                <a:gd name="T5" fmla="*/ 2147483647 h 35"/>
                <a:gd name="T6" fmla="*/ 2147483647 w 47"/>
                <a:gd name="T7" fmla="*/ 2147483647 h 35"/>
                <a:gd name="T8" fmla="*/ 2147483647 w 47"/>
                <a:gd name="T9" fmla="*/ 2147483647 h 35"/>
                <a:gd name="T10" fmla="*/ 2147483647 w 47"/>
                <a:gd name="T11" fmla="*/ 2147483647 h 35"/>
                <a:gd name="T12" fmla="*/ 2147483647 w 47"/>
                <a:gd name="T13" fmla="*/ 2147483647 h 35"/>
                <a:gd name="T14" fmla="*/ 2147483647 w 47"/>
                <a:gd name="T15" fmla="*/ 2147483647 h 35"/>
                <a:gd name="T16" fmla="*/ 2147483647 w 47"/>
                <a:gd name="T17" fmla="*/ 2147483647 h 35"/>
                <a:gd name="T18" fmla="*/ 0 w 47"/>
                <a:gd name="T19" fmla="*/ 0 h 35"/>
                <a:gd name="T20" fmla="*/ 0 w 47"/>
                <a:gd name="T21" fmla="*/ 2147483647 h 35"/>
                <a:gd name="T22" fmla="*/ 2147483647 w 47"/>
                <a:gd name="T23" fmla="*/ 2147483647 h 35"/>
                <a:gd name="T24" fmla="*/ 2147483647 w 47"/>
                <a:gd name="T25" fmla="*/ 2147483647 h 35"/>
                <a:gd name="T26" fmla="*/ 2147483647 w 47"/>
                <a:gd name="T27" fmla="*/ 2147483647 h 35"/>
                <a:gd name="T28" fmla="*/ 2147483647 w 47"/>
                <a:gd name="T29" fmla="*/ 2147483647 h 35"/>
                <a:gd name="T30" fmla="*/ 2147483647 w 47"/>
                <a:gd name="T31" fmla="*/ 2147483647 h 35"/>
                <a:gd name="T32" fmla="*/ 2147483647 w 47"/>
                <a:gd name="T33" fmla="*/ 2147483647 h 35"/>
                <a:gd name="T34" fmla="*/ 2147483647 w 47"/>
                <a:gd name="T35" fmla="*/ 2147483647 h 35"/>
                <a:gd name="T36" fmla="*/ 2147483647 w 47"/>
                <a:gd name="T37" fmla="*/ 2147483647 h 35"/>
                <a:gd name="T38" fmla="*/ 2147483647 w 47"/>
                <a:gd name="T39" fmla="*/ 2147483647 h 35"/>
                <a:gd name="T40" fmla="*/ 2147483647 w 47"/>
                <a:gd name="T41" fmla="*/ 2147483647 h 35"/>
                <a:gd name="T42" fmla="*/ 2147483647 w 47"/>
                <a:gd name="T43" fmla="*/ 2147483647 h 35"/>
                <a:gd name="T44" fmla="*/ 2147483647 w 47"/>
                <a:gd name="T45" fmla="*/ 2147483647 h 35"/>
                <a:gd name="T46" fmla="*/ 2147483647 w 47"/>
                <a:gd name="T47" fmla="*/ 2147483647 h 35"/>
                <a:gd name="T48" fmla="*/ 2147483647 w 47"/>
                <a:gd name="T49" fmla="*/ 2147483647 h 35"/>
                <a:gd name="T50" fmla="*/ 2147483647 w 47"/>
                <a:gd name="T51" fmla="*/ 2147483647 h 35"/>
                <a:gd name="T52" fmla="*/ 2147483647 w 47"/>
                <a:gd name="T53" fmla="*/ 2147483647 h 35"/>
                <a:gd name="T54" fmla="*/ 2147483647 w 47"/>
                <a:gd name="T55" fmla="*/ 2147483647 h 35"/>
                <a:gd name="T56" fmla="*/ 2147483647 w 47"/>
                <a:gd name="T57" fmla="*/ 2147483647 h 35"/>
                <a:gd name="T58" fmla="*/ 2147483647 w 47"/>
                <a:gd name="T59" fmla="*/ 2147483647 h 35"/>
                <a:gd name="T60" fmla="*/ 2147483647 w 47"/>
                <a:gd name="T61" fmla="*/ 2147483647 h 35"/>
                <a:gd name="T62" fmla="*/ 2147483647 w 47"/>
                <a:gd name="T63" fmla="*/ 2147483647 h 35"/>
                <a:gd name="T64" fmla="*/ 2147483647 w 47"/>
                <a:gd name="T65" fmla="*/ 2147483647 h 35"/>
                <a:gd name="T66" fmla="*/ 2147483647 w 47"/>
                <a:gd name="T67" fmla="*/ 2147483647 h 35"/>
                <a:gd name="T68" fmla="*/ 2147483647 w 47"/>
                <a:gd name="T69" fmla="*/ 214748364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7"/>
                <a:gd name="T106" fmla="*/ 0 h 35"/>
                <a:gd name="T107" fmla="*/ 47 w 47"/>
                <a:gd name="T108" fmla="*/ 35 h 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7" h="35">
                  <a:moveTo>
                    <a:pt x="41" y="10"/>
                  </a:moveTo>
                  <a:lnTo>
                    <a:pt x="37" y="10"/>
                  </a:lnTo>
                  <a:lnTo>
                    <a:pt x="33" y="8"/>
                  </a:lnTo>
                  <a:lnTo>
                    <a:pt x="29" y="7"/>
                  </a:lnTo>
                  <a:lnTo>
                    <a:pt x="25" y="8"/>
                  </a:lnTo>
                  <a:lnTo>
                    <a:pt x="22" y="8"/>
                  </a:lnTo>
                  <a:lnTo>
                    <a:pt x="19" y="8"/>
                  </a:lnTo>
                  <a:lnTo>
                    <a:pt x="13" y="6"/>
                  </a:lnTo>
                  <a:lnTo>
                    <a:pt x="6" y="2"/>
                  </a:lnTo>
                  <a:lnTo>
                    <a:pt x="0" y="0"/>
                  </a:lnTo>
                  <a:lnTo>
                    <a:pt x="0" y="2"/>
                  </a:lnTo>
                  <a:lnTo>
                    <a:pt x="1" y="4"/>
                  </a:lnTo>
                  <a:lnTo>
                    <a:pt x="8" y="9"/>
                  </a:lnTo>
                  <a:lnTo>
                    <a:pt x="14" y="14"/>
                  </a:lnTo>
                  <a:lnTo>
                    <a:pt x="16" y="16"/>
                  </a:lnTo>
                  <a:lnTo>
                    <a:pt x="16" y="20"/>
                  </a:lnTo>
                  <a:lnTo>
                    <a:pt x="16" y="22"/>
                  </a:lnTo>
                  <a:lnTo>
                    <a:pt x="18" y="25"/>
                  </a:lnTo>
                  <a:lnTo>
                    <a:pt x="22" y="29"/>
                  </a:lnTo>
                  <a:lnTo>
                    <a:pt x="27" y="34"/>
                  </a:lnTo>
                  <a:lnTo>
                    <a:pt x="29" y="35"/>
                  </a:lnTo>
                  <a:lnTo>
                    <a:pt x="32" y="35"/>
                  </a:lnTo>
                  <a:lnTo>
                    <a:pt x="34" y="35"/>
                  </a:lnTo>
                  <a:lnTo>
                    <a:pt x="38" y="34"/>
                  </a:lnTo>
                  <a:lnTo>
                    <a:pt x="39" y="32"/>
                  </a:lnTo>
                  <a:lnTo>
                    <a:pt x="39" y="29"/>
                  </a:lnTo>
                  <a:lnTo>
                    <a:pt x="39" y="26"/>
                  </a:lnTo>
                  <a:lnTo>
                    <a:pt x="39" y="23"/>
                  </a:lnTo>
                  <a:lnTo>
                    <a:pt x="42" y="22"/>
                  </a:lnTo>
                  <a:lnTo>
                    <a:pt x="44" y="20"/>
                  </a:lnTo>
                  <a:lnTo>
                    <a:pt x="47" y="19"/>
                  </a:lnTo>
                  <a:lnTo>
                    <a:pt x="47" y="15"/>
                  </a:lnTo>
                  <a:lnTo>
                    <a:pt x="44" y="11"/>
                  </a:lnTo>
                  <a:lnTo>
                    <a:pt x="43" y="10"/>
                  </a:lnTo>
                  <a:lnTo>
                    <a:pt x="41"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1" name="Freeform 1120"/>
            <p:cNvSpPr>
              <a:spLocks/>
            </p:cNvSpPr>
            <p:nvPr/>
          </p:nvSpPr>
          <p:spPr bwMode="auto">
            <a:xfrm>
              <a:off x="8012114" y="1624015"/>
              <a:ext cx="130175" cy="55562"/>
            </a:xfrm>
            <a:custGeom>
              <a:avLst/>
              <a:gdLst>
                <a:gd name="T0" fmla="*/ 2147483647 w 88"/>
                <a:gd name="T1" fmla="*/ 2147483647 h 35"/>
                <a:gd name="T2" fmla="*/ 2147483647 w 88"/>
                <a:gd name="T3" fmla="*/ 2147483647 h 35"/>
                <a:gd name="T4" fmla="*/ 2147483647 w 88"/>
                <a:gd name="T5" fmla="*/ 2147483647 h 35"/>
                <a:gd name="T6" fmla="*/ 2147483647 w 88"/>
                <a:gd name="T7" fmla="*/ 2147483647 h 35"/>
                <a:gd name="T8" fmla="*/ 2147483647 w 88"/>
                <a:gd name="T9" fmla="*/ 2147483647 h 35"/>
                <a:gd name="T10" fmla="*/ 2147483647 w 88"/>
                <a:gd name="T11" fmla="*/ 0 h 35"/>
                <a:gd name="T12" fmla="*/ 0 w 88"/>
                <a:gd name="T13" fmla="*/ 2147483647 h 35"/>
                <a:gd name="T14" fmla="*/ 0 w 88"/>
                <a:gd name="T15" fmla="*/ 2147483647 h 35"/>
                <a:gd name="T16" fmla="*/ 0 w 88"/>
                <a:gd name="T17" fmla="*/ 2147483647 h 35"/>
                <a:gd name="T18" fmla="*/ 0 w 88"/>
                <a:gd name="T19" fmla="*/ 2147483647 h 35"/>
                <a:gd name="T20" fmla="*/ 0 w 88"/>
                <a:gd name="T21" fmla="*/ 2147483647 h 35"/>
                <a:gd name="T22" fmla="*/ 0 w 88"/>
                <a:gd name="T23" fmla="*/ 2147483647 h 35"/>
                <a:gd name="T24" fmla="*/ 2147483647 w 88"/>
                <a:gd name="T25" fmla="*/ 2147483647 h 35"/>
                <a:gd name="T26" fmla="*/ 2147483647 w 88"/>
                <a:gd name="T27" fmla="*/ 2147483647 h 35"/>
                <a:gd name="T28" fmla="*/ 2147483647 w 88"/>
                <a:gd name="T29" fmla="*/ 2147483647 h 35"/>
                <a:gd name="T30" fmla="*/ 2147483647 w 88"/>
                <a:gd name="T31" fmla="*/ 2147483647 h 35"/>
                <a:gd name="T32" fmla="*/ 2147483647 w 88"/>
                <a:gd name="T33" fmla="*/ 2147483647 h 35"/>
                <a:gd name="T34" fmla="*/ 2147483647 w 88"/>
                <a:gd name="T35" fmla="*/ 2147483647 h 35"/>
                <a:gd name="T36" fmla="*/ 2147483647 w 88"/>
                <a:gd name="T37" fmla="*/ 2147483647 h 35"/>
                <a:gd name="T38" fmla="*/ 2147483647 w 88"/>
                <a:gd name="T39" fmla="*/ 2147483647 h 35"/>
                <a:gd name="T40" fmla="*/ 2147483647 w 88"/>
                <a:gd name="T41" fmla="*/ 2147483647 h 35"/>
                <a:gd name="T42" fmla="*/ 2147483647 w 88"/>
                <a:gd name="T43" fmla="*/ 2147483647 h 35"/>
                <a:gd name="T44" fmla="*/ 2147483647 w 88"/>
                <a:gd name="T45" fmla="*/ 2147483647 h 35"/>
                <a:gd name="T46" fmla="*/ 2147483647 w 88"/>
                <a:gd name="T47" fmla="*/ 2147483647 h 35"/>
                <a:gd name="T48" fmla="*/ 2147483647 w 88"/>
                <a:gd name="T49" fmla="*/ 2147483647 h 35"/>
                <a:gd name="T50" fmla="*/ 2147483647 w 88"/>
                <a:gd name="T51" fmla="*/ 2147483647 h 35"/>
                <a:gd name="T52" fmla="*/ 2147483647 w 88"/>
                <a:gd name="T53" fmla="*/ 2147483647 h 35"/>
                <a:gd name="T54" fmla="*/ 2147483647 w 88"/>
                <a:gd name="T55" fmla="*/ 2147483647 h 35"/>
                <a:gd name="T56" fmla="*/ 2147483647 w 88"/>
                <a:gd name="T57" fmla="*/ 2147483647 h 35"/>
                <a:gd name="T58" fmla="*/ 2147483647 w 88"/>
                <a:gd name="T59" fmla="*/ 2147483647 h 35"/>
                <a:gd name="T60" fmla="*/ 2147483647 w 88"/>
                <a:gd name="T61" fmla="*/ 2147483647 h 35"/>
                <a:gd name="T62" fmla="*/ 2147483647 w 88"/>
                <a:gd name="T63" fmla="*/ 2147483647 h 35"/>
                <a:gd name="T64" fmla="*/ 2147483647 w 88"/>
                <a:gd name="T65" fmla="*/ 2147483647 h 35"/>
                <a:gd name="T66" fmla="*/ 2147483647 w 88"/>
                <a:gd name="T67" fmla="*/ 2147483647 h 35"/>
                <a:gd name="T68" fmla="*/ 2147483647 w 88"/>
                <a:gd name="T69" fmla="*/ 2147483647 h 35"/>
                <a:gd name="T70" fmla="*/ 2147483647 w 88"/>
                <a:gd name="T71" fmla="*/ 2147483647 h 35"/>
                <a:gd name="T72" fmla="*/ 2147483647 w 88"/>
                <a:gd name="T73" fmla="*/ 2147483647 h 35"/>
                <a:gd name="T74" fmla="*/ 2147483647 w 88"/>
                <a:gd name="T75" fmla="*/ 2147483647 h 35"/>
                <a:gd name="T76" fmla="*/ 2147483647 w 88"/>
                <a:gd name="T77" fmla="*/ 2147483647 h 35"/>
                <a:gd name="T78" fmla="*/ 2147483647 w 88"/>
                <a:gd name="T79" fmla="*/ 2147483647 h 35"/>
                <a:gd name="T80" fmla="*/ 2147483647 w 88"/>
                <a:gd name="T81" fmla="*/ 2147483647 h 35"/>
                <a:gd name="T82" fmla="*/ 2147483647 w 88"/>
                <a:gd name="T83" fmla="*/ 2147483647 h 35"/>
                <a:gd name="T84" fmla="*/ 2147483647 w 88"/>
                <a:gd name="T85" fmla="*/ 2147483647 h 35"/>
                <a:gd name="T86" fmla="*/ 2147483647 w 88"/>
                <a:gd name="T87" fmla="*/ 2147483647 h 35"/>
                <a:gd name="T88" fmla="*/ 2147483647 w 88"/>
                <a:gd name="T89" fmla="*/ 2147483647 h 35"/>
                <a:gd name="T90" fmla="*/ 2147483647 w 88"/>
                <a:gd name="T91" fmla="*/ 2147483647 h 35"/>
                <a:gd name="T92" fmla="*/ 2147483647 w 88"/>
                <a:gd name="T93" fmla="*/ 2147483647 h 35"/>
                <a:gd name="T94" fmla="*/ 2147483647 w 88"/>
                <a:gd name="T95" fmla="*/ 2147483647 h 35"/>
                <a:gd name="T96" fmla="*/ 2147483647 w 88"/>
                <a:gd name="T97" fmla="*/ 2147483647 h 35"/>
                <a:gd name="T98" fmla="*/ 2147483647 w 88"/>
                <a:gd name="T99" fmla="*/ 2147483647 h 35"/>
                <a:gd name="T100" fmla="*/ 2147483647 w 88"/>
                <a:gd name="T101" fmla="*/ 2147483647 h 35"/>
                <a:gd name="T102" fmla="*/ 2147483647 w 88"/>
                <a:gd name="T103" fmla="*/ 2147483647 h 35"/>
                <a:gd name="T104" fmla="*/ 2147483647 w 88"/>
                <a:gd name="T105" fmla="*/ 2147483647 h 35"/>
                <a:gd name="T106" fmla="*/ 2147483647 w 88"/>
                <a:gd name="T107" fmla="*/ 2147483647 h 35"/>
                <a:gd name="T108" fmla="*/ 2147483647 w 88"/>
                <a:gd name="T109" fmla="*/ 2147483647 h 35"/>
                <a:gd name="T110" fmla="*/ 2147483647 w 88"/>
                <a:gd name="T111" fmla="*/ 0 h 35"/>
                <a:gd name="T112" fmla="*/ 2147483647 w 88"/>
                <a:gd name="T113" fmla="*/ 0 h 35"/>
                <a:gd name="T114" fmla="*/ 2147483647 w 88"/>
                <a:gd name="T115" fmla="*/ 0 h 35"/>
                <a:gd name="T116" fmla="*/ 2147483647 w 88"/>
                <a:gd name="T117" fmla="*/ 2147483647 h 35"/>
                <a:gd name="T118" fmla="*/ 2147483647 w 88"/>
                <a:gd name="T119" fmla="*/ 2147483647 h 35"/>
                <a:gd name="T120" fmla="*/ 2147483647 w 88"/>
                <a:gd name="T121" fmla="*/ 2147483647 h 35"/>
                <a:gd name="T122" fmla="*/ 2147483647 w 88"/>
                <a:gd name="T123" fmla="*/ 2147483647 h 35"/>
                <a:gd name="T124" fmla="*/ 2147483647 w 88"/>
                <a:gd name="T125" fmla="*/ 2147483647 h 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8"/>
                <a:gd name="T190" fmla="*/ 0 h 35"/>
                <a:gd name="T191" fmla="*/ 88 w 88"/>
                <a:gd name="T192" fmla="*/ 35 h 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8" h="35">
                  <a:moveTo>
                    <a:pt x="22" y="2"/>
                  </a:moveTo>
                  <a:lnTo>
                    <a:pt x="22" y="2"/>
                  </a:lnTo>
                  <a:lnTo>
                    <a:pt x="15" y="2"/>
                  </a:lnTo>
                  <a:lnTo>
                    <a:pt x="8" y="1"/>
                  </a:lnTo>
                  <a:lnTo>
                    <a:pt x="4" y="0"/>
                  </a:lnTo>
                  <a:lnTo>
                    <a:pt x="0" y="1"/>
                  </a:lnTo>
                  <a:lnTo>
                    <a:pt x="0" y="2"/>
                  </a:lnTo>
                  <a:lnTo>
                    <a:pt x="8" y="5"/>
                  </a:lnTo>
                  <a:lnTo>
                    <a:pt x="14" y="10"/>
                  </a:lnTo>
                  <a:lnTo>
                    <a:pt x="22" y="18"/>
                  </a:lnTo>
                  <a:lnTo>
                    <a:pt x="29" y="26"/>
                  </a:lnTo>
                  <a:lnTo>
                    <a:pt x="33" y="29"/>
                  </a:lnTo>
                  <a:lnTo>
                    <a:pt x="37" y="32"/>
                  </a:lnTo>
                  <a:lnTo>
                    <a:pt x="42" y="33"/>
                  </a:lnTo>
                  <a:lnTo>
                    <a:pt x="47" y="33"/>
                  </a:lnTo>
                  <a:lnTo>
                    <a:pt x="52" y="35"/>
                  </a:lnTo>
                  <a:lnTo>
                    <a:pt x="58" y="35"/>
                  </a:lnTo>
                  <a:lnTo>
                    <a:pt x="63" y="35"/>
                  </a:lnTo>
                  <a:lnTo>
                    <a:pt x="67" y="33"/>
                  </a:lnTo>
                  <a:lnTo>
                    <a:pt x="72" y="32"/>
                  </a:lnTo>
                  <a:lnTo>
                    <a:pt x="77" y="31"/>
                  </a:lnTo>
                  <a:lnTo>
                    <a:pt x="86" y="31"/>
                  </a:lnTo>
                  <a:lnTo>
                    <a:pt x="88" y="30"/>
                  </a:lnTo>
                  <a:lnTo>
                    <a:pt x="86" y="29"/>
                  </a:lnTo>
                  <a:lnTo>
                    <a:pt x="85" y="25"/>
                  </a:lnTo>
                  <a:lnTo>
                    <a:pt x="85" y="23"/>
                  </a:lnTo>
                  <a:lnTo>
                    <a:pt x="86" y="20"/>
                  </a:lnTo>
                  <a:lnTo>
                    <a:pt x="86" y="19"/>
                  </a:lnTo>
                  <a:lnTo>
                    <a:pt x="86" y="18"/>
                  </a:lnTo>
                  <a:lnTo>
                    <a:pt x="82" y="14"/>
                  </a:lnTo>
                  <a:lnTo>
                    <a:pt x="79" y="13"/>
                  </a:lnTo>
                  <a:lnTo>
                    <a:pt x="69" y="10"/>
                  </a:lnTo>
                  <a:lnTo>
                    <a:pt x="66" y="10"/>
                  </a:lnTo>
                  <a:lnTo>
                    <a:pt x="62" y="11"/>
                  </a:lnTo>
                  <a:lnTo>
                    <a:pt x="60" y="12"/>
                  </a:lnTo>
                  <a:lnTo>
                    <a:pt x="56" y="12"/>
                  </a:lnTo>
                  <a:lnTo>
                    <a:pt x="48" y="10"/>
                  </a:lnTo>
                  <a:lnTo>
                    <a:pt x="41" y="7"/>
                  </a:lnTo>
                  <a:lnTo>
                    <a:pt x="39" y="6"/>
                  </a:lnTo>
                  <a:lnTo>
                    <a:pt x="39" y="4"/>
                  </a:lnTo>
                  <a:lnTo>
                    <a:pt x="39" y="2"/>
                  </a:lnTo>
                  <a:lnTo>
                    <a:pt x="38" y="0"/>
                  </a:lnTo>
                  <a:lnTo>
                    <a:pt x="34" y="0"/>
                  </a:lnTo>
                  <a:lnTo>
                    <a:pt x="29" y="1"/>
                  </a:lnTo>
                  <a:lnTo>
                    <a:pt x="25" y="2"/>
                  </a:lnTo>
                  <a:lnTo>
                    <a:pt x="22"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2" name="Freeform 1121"/>
            <p:cNvSpPr>
              <a:spLocks/>
            </p:cNvSpPr>
            <p:nvPr/>
          </p:nvSpPr>
          <p:spPr bwMode="auto">
            <a:xfrm>
              <a:off x="7921625" y="1606550"/>
              <a:ext cx="69850" cy="57150"/>
            </a:xfrm>
            <a:custGeom>
              <a:avLst/>
              <a:gdLst>
                <a:gd name="T0" fmla="*/ 2147483647 w 47"/>
                <a:gd name="T1" fmla="*/ 2147483647 h 36"/>
                <a:gd name="T2" fmla="*/ 2147483647 w 47"/>
                <a:gd name="T3" fmla="*/ 2147483647 h 36"/>
                <a:gd name="T4" fmla="*/ 2147483647 w 47"/>
                <a:gd name="T5" fmla="*/ 2147483647 h 36"/>
                <a:gd name="T6" fmla="*/ 2147483647 w 47"/>
                <a:gd name="T7" fmla="*/ 2147483647 h 36"/>
                <a:gd name="T8" fmla="*/ 2147483647 w 47"/>
                <a:gd name="T9" fmla="*/ 2147483647 h 36"/>
                <a:gd name="T10" fmla="*/ 2147483647 w 47"/>
                <a:gd name="T11" fmla="*/ 2147483647 h 36"/>
                <a:gd name="T12" fmla="*/ 2147483647 w 47"/>
                <a:gd name="T13" fmla="*/ 2147483647 h 36"/>
                <a:gd name="T14" fmla="*/ 2147483647 w 47"/>
                <a:gd name="T15" fmla="*/ 2147483647 h 36"/>
                <a:gd name="T16" fmla="*/ 2147483647 w 47"/>
                <a:gd name="T17" fmla="*/ 2147483647 h 36"/>
                <a:gd name="T18" fmla="*/ 2147483647 w 47"/>
                <a:gd name="T19" fmla="*/ 2147483647 h 36"/>
                <a:gd name="T20" fmla="*/ 2147483647 w 47"/>
                <a:gd name="T21" fmla="*/ 2147483647 h 36"/>
                <a:gd name="T22" fmla="*/ 0 w 47"/>
                <a:gd name="T23" fmla="*/ 0 h 36"/>
                <a:gd name="T24" fmla="*/ 0 w 47"/>
                <a:gd name="T25" fmla="*/ 0 h 36"/>
                <a:gd name="T26" fmla="*/ 0 w 47"/>
                <a:gd name="T27" fmla="*/ 0 h 36"/>
                <a:gd name="T28" fmla="*/ 0 w 47"/>
                <a:gd name="T29" fmla="*/ 2147483647 h 36"/>
                <a:gd name="T30" fmla="*/ 2147483647 w 47"/>
                <a:gd name="T31" fmla="*/ 2147483647 h 36"/>
                <a:gd name="T32" fmla="*/ 2147483647 w 47"/>
                <a:gd name="T33" fmla="*/ 2147483647 h 36"/>
                <a:gd name="T34" fmla="*/ 2147483647 w 47"/>
                <a:gd name="T35" fmla="*/ 2147483647 h 36"/>
                <a:gd name="T36" fmla="*/ 2147483647 w 47"/>
                <a:gd name="T37" fmla="*/ 2147483647 h 36"/>
                <a:gd name="T38" fmla="*/ 2147483647 w 47"/>
                <a:gd name="T39" fmla="*/ 2147483647 h 36"/>
                <a:gd name="T40" fmla="*/ 2147483647 w 47"/>
                <a:gd name="T41" fmla="*/ 2147483647 h 36"/>
                <a:gd name="T42" fmla="*/ 2147483647 w 47"/>
                <a:gd name="T43" fmla="*/ 2147483647 h 36"/>
                <a:gd name="T44" fmla="*/ 2147483647 w 47"/>
                <a:gd name="T45" fmla="*/ 2147483647 h 36"/>
                <a:gd name="T46" fmla="*/ 2147483647 w 47"/>
                <a:gd name="T47" fmla="*/ 2147483647 h 36"/>
                <a:gd name="T48" fmla="*/ 2147483647 w 47"/>
                <a:gd name="T49" fmla="*/ 2147483647 h 36"/>
                <a:gd name="T50" fmla="*/ 2147483647 w 47"/>
                <a:gd name="T51" fmla="*/ 2147483647 h 36"/>
                <a:gd name="T52" fmla="*/ 2147483647 w 47"/>
                <a:gd name="T53" fmla="*/ 2147483647 h 36"/>
                <a:gd name="T54" fmla="*/ 2147483647 w 47"/>
                <a:gd name="T55" fmla="*/ 2147483647 h 36"/>
                <a:gd name="T56" fmla="*/ 2147483647 w 47"/>
                <a:gd name="T57" fmla="*/ 2147483647 h 36"/>
                <a:gd name="T58" fmla="*/ 2147483647 w 47"/>
                <a:gd name="T59" fmla="*/ 2147483647 h 36"/>
                <a:gd name="T60" fmla="*/ 2147483647 w 47"/>
                <a:gd name="T61" fmla="*/ 2147483647 h 36"/>
                <a:gd name="T62" fmla="*/ 2147483647 w 47"/>
                <a:gd name="T63" fmla="*/ 2147483647 h 36"/>
                <a:gd name="T64" fmla="*/ 2147483647 w 47"/>
                <a:gd name="T65" fmla="*/ 2147483647 h 36"/>
                <a:gd name="T66" fmla="*/ 2147483647 w 47"/>
                <a:gd name="T67" fmla="*/ 2147483647 h 36"/>
                <a:gd name="T68" fmla="*/ 2147483647 w 47"/>
                <a:gd name="T69" fmla="*/ 2147483647 h 36"/>
                <a:gd name="T70" fmla="*/ 2147483647 w 47"/>
                <a:gd name="T71" fmla="*/ 2147483647 h 36"/>
                <a:gd name="T72" fmla="*/ 2147483647 w 47"/>
                <a:gd name="T73" fmla="*/ 2147483647 h 36"/>
                <a:gd name="T74" fmla="*/ 2147483647 w 47"/>
                <a:gd name="T75" fmla="*/ 2147483647 h 36"/>
                <a:gd name="T76" fmla="*/ 2147483647 w 47"/>
                <a:gd name="T77" fmla="*/ 2147483647 h 36"/>
                <a:gd name="T78" fmla="*/ 2147483647 w 47"/>
                <a:gd name="T79" fmla="*/ 2147483647 h 36"/>
                <a:gd name="T80" fmla="*/ 2147483647 w 47"/>
                <a:gd name="T81" fmla="*/ 2147483647 h 36"/>
                <a:gd name="T82" fmla="*/ 2147483647 w 47"/>
                <a:gd name="T83" fmla="*/ 2147483647 h 36"/>
                <a:gd name="T84" fmla="*/ 2147483647 w 47"/>
                <a:gd name="T85" fmla="*/ 2147483647 h 36"/>
                <a:gd name="T86" fmla="*/ 2147483647 w 47"/>
                <a:gd name="T87" fmla="*/ 2147483647 h 36"/>
                <a:gd name="T88" fmla="*/ 2147483647 w 47"/>
                <a:gd name="T89" fmla="*/ 2147483647 h 36"/>
                <a:gd name="T90" fmla="*/ 2147483647 w 47"/>
                <a:gd name="T91" fmla="*/ 2147483647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7"/>
                <a:gd name="T139" fmla="*/ 0 h 36"/>
                <a:gd name="T140" fmla="*/ 47 w 47"/>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7" h="36">
                  <a:moveTo>
                    <a:pt x="40" y="11"/>
                  </a:moveTo>
                  <a:lnTo>
                    <a:pt x="40" y="11"/>
                  </a:lnTo>
                  <a:lnTo>
                    <a:pt x="37" y="11"/>
                  </a:lnTo>
                  <a:lnTo>
                    <a:pt x="33" y="9"/>
                  </a:lnTo>
                  <a:lnTo>
                    <a:pt x="29" y="8"/>
                  </a:lnTo>
                  <a:lnTo>
                    <a:pt x="25" y="9"/>
                  </a:lnTo>
                  <a:lnTo>
                    <a:pt x="21" y="9"/>
                  </a:lnTo>
                  <a:lnTo>
                    <a:pt x="19" y="9"/>
                  </a:lnTo>
                  <a:lnTo>
                    <a:pt x="12" y="6"/>
                  </a:lnTo>
                  <a:lnTo>
                    <a:pt x="6" y="3"/>
                  </a:lnTo>
                  <a:lnTo>
                    <a:pt x="0" y="0"/>
                  </a:lnTo>
                  <a:lnTo>
                    <a:pt x="0" y="3"/>
                  </a:lnTo>
                  <a:lnTo>
                    <a:pt x="1" y="5"/>
                  </a:lnTo>
                  <a:lnTo>
                    <a:pt x="7" y="10"/>
                  </a:lnTo>
                  <a:lnTo>
                    <a:pt x="14" y="15"/>
                  </a:lnTo>
                  <a:lnTo>
                    <a:pt x="16" y="17"/>
                  </a:lnTo>
                  <a:lnTo>
                    <a:pt x="16" y="21"/>
                  </a:lnTo>
                  <a:lnTo>
                    <a:pt x="16" y="23"/>
                  </a:lnTo>
                  <a:lnTo>
                    <a:pt x="17" y="25"/>
                  </a:lnTo>
                  <a:lnTo>
                    <a:pt x="21" y="30"/>
                  </a:lnTo>
                  <a:lnTo>
                    <a:pt x="26" y="35"/>
                  </a:lnTo>
                  <a:lnTo>
                    <a:pt x="29" y="36"/>
                  </a:lnTo>
                  <a:lnTo>
                    <a:pt x="31" y="36"/>
                  </a:lnTo>
                  <a:lnTo>
                    <a:pt x="34" y="36"/>
                  </a:lnTo>
                  <a:lnTo>
                    <a:pt x="38" y="35"/>
                  </a:lnTo>
                  <a:lnTo>
                    <a:pt x="39" y="32"/>
                  </a:lnTo>
                  <a:lnTo>
                    <a:pt x="39" y="30"/>
                  </a:lnTo>
                  <a:lnTo>
                    <a:pt x="39" y="27"/>
                  </a:lnTo>
                  <a:lnTo>
                    <a:pt x="39" y="24"/>
                  </a:lnTo>
                  <a:lnTo>
                    <a:pt x="42" y="23"/>
                  </a:lnTo>
                  <a:lnTo>
                    <a:pt x="44" y="21"/>
                  </a:lnTo>
                  <a:lnTo>
                    <a:pt x="47" y="19"/>
                  </a:lnTo>
                  <a:lnTo>
                    <a:pt x="47" y="16"/>
                  </a:lnTo>
                  <a:lnTo>
                    <a:pt x="44" y="12"/>
                  </a:lnTo>
                  <a:lnTo>
                    <a:pt x="43" y="11"/>
                  </a:lnTo>
                  <a:lnTo>
                    <a:pt x="40"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3" name="Freeform 1122"/>
            <p:cNvSpPr>
              <a:spLocks/>
            </p:cNvSpPr>
            <p:nvPr/>
          </p:nvSpPr>
          <p:spPr bwMode="auto">
            <a:xfrm>
              <a:off x="7810504" y="1601791"/>
              <a:ext cx="136525" cy="84137"/>
            </a:xfrm>
            <a:custGeom>
              <a:avLst/>
              <a:gdLst>
                <a:gd name="T0" fmla="*/ 2147483647 w 93"/>
                <a:gd name="T1" fmla="*/ 2147483647 h 53"/>
                <a:gd name="T2" fmla="*/ 2147483647 w 93"/>
                <a:gd name="T3" fmla="*/ 2147483647 h 53"/>
                <a:gd name="T4" fmla="*/ 2147483647 w 93"/>
                <a:gd name="T5" fmla="*/ 2147483647 h 53"/>
                <a:gd name="T6" fmla="*/ 2147483647 w 93"/>
                <a:gd name="T7" fmla="*/ 2147483647 h 53"/>
                <a:gd name="T8" fmla="*/ 2147483647 w 93"/>
                <a:gd name="T9" fmla="*/ 2147483647 h 53"/>
                <a:gd name="T10" fmla="*/ 2147483647 w 93"/>
                <a:gd name="T11" fmla="*/ 2147483647 h 53"/>
                <a:gd name="T12" fmla="*/ 2147483647 w 93"/>
                <a:gd name="T13" fmla="*/ 2147483647 h 53"/>
                <a:gd name="T14" fmla="*/ 2147483647 w 93"/>
                <a:gd name="T15" fmla="*/ 2147483647 h 53"/>
                <a:gd name="T16" fmla="*/ 2147483647 w 93"/>
                <a:gd name="T17" fmla="*/ 2147483647 h 53"/>
                <a:gd name="T18" fmla="*/ 2147483647 w 93"/>
                <a:gd name="T19" fmla="*/ 2147483647 h 53"/>
                <a:gd name="T20" fmla="*/ 2147483647 w 93"/>
                <a:gd name="T21" fmla="*/ 2147483647 h 53"/>
                <a:gd name="T22" fmla="*/ 0 w 93"/>
                <a:gd name="T23" fmla="*/ 2147483647 h 53"/>
                <a:gd name="T24" fmla="*/ 0 w 93"/>
                <a:gd name="T25" fmla="*/ 2147483647 h 53"/>
                <a:gd name="T26" fmla="*/ 2147483647 w 93"/>
                <a:gd name="T27" fmla="*/ 2147483647 h 53"/>
                <a:gd name="T28" fmla="*/ 2147483647 w 93"/>
                <a:gd name="T29" fmla="*/ 2147483647 h 53"/>
                <a:gd name="T30" fmla="*/ 2147483647 w 93"/>
                <a:gd name="T31" fmla="*/ 2147483647 h 53"/>
                <a:gd name="T32" fmla="*/ 2147483647 w 93"/>
                <a:gd name="T33" fmla="*/ 2147483647 h 53"/>
                <a:gd name="T34" fmla="*/ 2147483647 w 93"/>
                <a:gd name="T35" fmla="*/ 2147483647 h 53"/>
                <a:gd name="T36" fmla="*/ 2147483647 w 93"/>
                <a:gd name="T37" fmla="*/ 2147483647 h 53"/>
                <a:gd name="T38" fmla="*/ 2147483647 w 93"/>
                <a:gd name="T39" fmla="*/ 2147483647 h 53"/>
                <a:gd name="T40" fmla="*/ 2147483647 w 93"/>
                <a:gd name="T41" fmla="*/ 2147483647 h 53"/>
                <a:gd name="T42" fmla="*/ 2147483647 w 93"/>
                <a:gd name="T43" fmla="*/ 2147483647 h 53"/>
                <a:gd name="T44" fmla="*/ 2147483647 w 93"/>
                <a:gd name="T45" fmla="*/ 2147483647 h 53"/>
                <a:gd name="T46" fmla="*/ 2147483647 w 93"/>
                <a:gd name="T47" fmla="*/ 2147483647 h 53"/>
                <a:gd name="T48" fmla="*/ 2147483647 w 93"/>
                <a:gd name="T49" fmla="*/ 2147483647 h 53"/>
                <a:gd name="T50" fmla="*/ 2147483647 w 93"/>
                <a:gd name="T51" fmla="*/ 2147483647 h 53"/>
                <a:gd name="T52" fmla="*/ 2147483647 w 93"/>
                <a:gd name="T53" fmla="*/ 2147483647 h 53"/>
                <a:gd name="T54" fmla="*/ 2147483647 w 93"/>
                <a:gd name="T55" fmla="*/ 2147483647 h 53"/>
                <a:gd name="T56" fmla="*/ 2147483647 w 93"/>
                <a:gd name="T57" fmla="*/ 2147483647 h 53"/>
                <a:gd name="T58" fmla="*/ 2147483647 w 93"/>
                <a:gd name="T59" fmla="*/ 2147483647 h 53"/>
                <a:gd name="T60" fmla="*/ 2147483647 w 93"/>
                <a:gd name="T61" fmla="*/ 2147483647 h 53"/>
                <a:gd name="T62" fmla="*/ 2147483647 w 93"/>
                <a:gd name="T63" fmla="*/ 2147483647 h 53"/>
                <a:gd name="T64" fmla="*/ 2147483647 w 93"/>
                <a:gd name="T65" fmla="*/ 2147483647 h 53"/>
                <a:gd name="T66" fmla="*/ 2147483647 w 93"/>
                <a:gd name="T67" fmla="*/ 2147483647 h 53"/>
                <a:gd name="T68" fmla="*/ 2147483647 w 93"/>
                <a:gd name="T69" fmla="*/ 2147483647 h 53"/>
                <a:gd name="T70" fmla="*/ 2147483647 w 93"/>
                <a:gd name="T71" fmla="*/ 2147483647 h 53"/>
                <a:gd name="T72" fmla="*/ 2147483647 w 93"/>
                <a:gd name="T73" fmla="*/ 2147483647 h 53"/>
                <a:gd name="T74" fmla="*/ 2147483647 w 93"/>
                <a:gd name="T75" fmla="*/ 2147483647 h 53"/>
                <a:gd name="T76" fmla="*/ 2147483647 w 93"/>
                <a:gd name="T77" fmla="*/ 2147483647 h 53"/>
                <a:gd name="T78" fmla="*/ 2147483647 w 93"/>
                <a:gd name="T79" fmla="*/ 2147483647 h 53"/>
                <a:gd name="T80" fmla="*/ 2147483647 w 93"/>
                <a:gd name="T81" fmla="*/ 2147483647 h 53"/>
                <a:gd name="T82" fmla="*/ 2147483647 w 93"/>
                <a:gd name="T83" fmla="*/ 2147483647 h 53"/>
                <a:gd name="T84" fmla="*/ 2147483647 w 93"/>
                <a:gd name="T85" fmla="*/ 2147483647 h 53"/>
                <a:gd name="T86" fmla="*/ 2147483647 w 93"/>
                <a:gd name="T87" fmla="*/ 0 h 53"/>
                <a:gd name="T88" fmla="*/ 2147483647 w 93"/>
                <a:gd name="T89" fmla="*/ 0 h 53"/>
                <a:gd name="T90" fmla="*/ 2147483647 w 93"/>
                <a:gd name="T91" fmla="*/ 2147483647 h 53"/>
                <a:gd name="T92" fmla="*/ 2147483647 w 93"/>
                <a:gd name="T93" fmla="*/ 2147483647 h 53"/>
                <a:gd name="T94" fmla="*/ 2147483647 w 93"/>
                <a:gd name="T95" fmla="*/ 2147483647 h 53"/>
                <a:gd name="T96" fmla="*/ 2147483647 w 93"/>
                <a:gd name="T97" fmla="*/ 2147483647 h 53"/>
                <a:gd name="T98" fmla="*/ 2147483647 w 93"/>
                <a:gd name="T99" fmla="*/ 2147483647 h 53"/>
                <a:gd name="T100" fmla="*/ 2147483647 w 93"/>
                <a:gd name="T101" fmla="*/ 2147483647 h 53"/>
                <a:gd name="T102" fmla="*/ 2147483647 w 93"/>
                <a:gd name="T103" fmla="*/ 2147483647 h 53"/>
                <a:gd name="T104" fmla="*/ 2147483647 w 93"/>
                <a:gd name="T105" fmla="*/ 2147483647 h 53"/>
                <a:gd name="T106" fmla="*/ 2147483647 w 93"/>
                <a:gd name="T107" fmla="*/ 2147483647 h 53"/>
                <a:gd name="T108" fmla="*/ 2147483647 w 93"/>
                <a:gd name="T109" fmla="*/ 2147483647 h 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
                <a:gd name="T166" fmla="*/ 0 h 53"/>
                <a:gd name="T167" fmla="*/ 93 w 93"/>
                <a:gd name="T168" fmla="*/ 53 h 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 h="53">
                  <a:moveTo>
                    <a:pt x="44" y="12"/>
                  </a:moveTo>
                  <a:lnTo>
                    <a:pt x="34" y="6"/>
                  </a:lnTo>
                  <a:lnTo>
                    <a:pt x="29" y="3"/>
                  </a:lnTo>
                  <a:lnTo>
                    <a:pt x="24" y="2"/>
                  </a:lnTo>
                  <a:lnTo>
                    <a:pt x="19" y="5"/>
                  </a:lnTo>
                  <a:lnTo>
                    <a:pt x="15" y="7"/>
                  </a:lnTo>
                  <a:lnTo>
                    <a:pt x="8" y="14"/>
                  </a:lnTo>
                  <a:lnTo>
                    <a:pt x="7" y="15"/>
                  </a:lnTo>
                  <a:lnTo>
                    <a:pt x="3" y="16"/>
                  </a:lnTo>
                  <a:lnTo>
                    <a:pt x="2" y="19"/>
                  </a:lnTo>
                  <a:lnTo>
                    <a:pt x="1" y="20"/>
                  </a:lnTo>
                  <a:lnTo>
                    <a:pt x="0" y="28"/>
                  </a:lnTo>
                  <a:lnTo>
                    <a:pt x="0" y="32"/>
                  </a:lnTo>
                  <a:lnTo>
                    <a:pt x="1" y="35"/>
                  </a:lnTo>
                  <a:lnTo>
                    <a:pt x="2" y="38"/>
                  </a:lnTo>
                  <a:lnTo>
                    <a:pt x="5" y="40"/>
                  </a:lnTo>
                  <a:lnTo>
                    <a:pt x="11" y="45"/>
                  </a:lnTo>
                  <a:lnTo>
                    <a:pt x="26" y="51"/>
                  </a:lnTo>
                  <a:lnTo>
                    <a:pt x="30" y="52"/>
                  </a:lnTo>
                  <a:lnTo>
                    <a:pt x="34" y="51"/>
                  </a:lnTo>
                  <a:lnTo>
                    <a:pt x="40" y="47"/>
                  </a:lnTo>
                  <a:lnTo>
                    <a:pt x="41" y="46"/>
                  </a:lnTo>
                  <a:lnTo>
                    <a:pt x="43" y="47"/>
                  </a:lnTo>
                  <a:lnTo>
                    <a:pt x="47" y="50"/>
                  </a:lnTo>
                  <a:lnTo>
                    <a:pt x="50" y="52"/>
                  </a:lnTo>
                  <a:lnTo>
                    <a:pt x="54" y="53"/>
                  </a:lnTo>
                  <a:lnTo>
                    <a:pt x="59" y="52"/>
                  </a:lnTo>
                  <a:lnTo>
                    <a:pt x="63" y="50"/>
                  </a:lnTo>
                  <a:lnTo>
                    <a:pt x="68" y="46"/>
                  </a:lnTo>
                  <a:lnTo>
                    <a:pt x="72" y="44"/>
                  </a:lnTo>
                  <a:lnTo>
                    <a:pt x="74" y="43"/>
                  </a:lnTo>
                  <a:lnTo>
                    <a:pt x="77" y="44"/>
                  </a:lnTo>
                  <a:lnTo>
                    <a:pt x="81" y="45"/>
                  </a:lnTo>
                  <a:lnTo>
                    <a:pt x="83" y="47"/>
                  </a:lnTo>
                  <a:lnTo>
                    <a:pt x="87" y="49"/>
                  </a:lnTo>
                  <a:lnTo>
                    <a:pt x="91" y="49"/>
                  </a:lnTo>
                  <a:lnTo>
                    <a:pt x="92" y="47"/>
                  </a:lnTo>
                  <a:lnTo>
                    <a:pt x="93" y="46"/>
                  </a:lnTo>
                  <a:lnTo>
                    <a:pt x="92" y="40"/>
                  </a:lnTo>
                  <a:lnTo>
                    <a:pt x="90" y="35"/>
                  </a:lnTo>
                  <a:lnTo>
                    <a:pt x="83" y="25"/>
                  </a:lnTo>
                  <a:lnTo>
                    <a:pt x="80" y="19"/>
                  </a:lnTo>
                  <a:lnTo>
                    <a:pt x="74" y="13"/>
                  </a:lnTo>
                  <a:lnTo>
                    <a:pt x="63" y="0"/>
                  </a:lnTo>
                  <a:lnTo>
                    <a:pt x="62" y="0"/>
                  </a:lnTo>
                  <a:lnTo>
                    <a:pt x="60" y="1"/>
                  </a:lnTo>
                  <a:lnTo>
                    <a:pt x="60" y="6"/>
                  </a:lnTo>
                  <a:lnTo>
                    <a:pt x="62" y="11"/>
                  </a:lnTo>
                  <a:lnTo>
                    <a:pt x="62" y="15"/>
                  </a:lnTo>
                  <a:lnTo>
                    <a:pt x="62" y="16"/>
                  </a:lnTo>
                  <a:lnTo>
                    <a:pt x="59" y="19"/>
                  </a:lnTo>
                  <a:lnTo>
                    <a:pt x="58" y="19"/>
                  </a:lnTo>
                  <a:lnTo>
                    <a:pt x="57" y="19"/>
                  </a:lnTo>
                  <a:lnTo>
                    <a:pt x="52" y="16"/>
                  </a:lnTo>
                  <a:lnTo>
                    <a:pt x="4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4" name="Freeform 1123"/>
            <p:cNvSpPr>
              <a:spLocks/>
            </p:cNvSpPr>
            <p:nvPr/>
          </p:nvSpPr>
          <p:spPr bwMode="auto">
            <a:xfrm>
              <a:off x="7883525" y="1700214"/>
              <a:ext cx="12700" cy="20637"/>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0 h 13"/>
                <a:gd name="T10" fmla="*/ 2147483647 w 9"/>
                <a:gd name="T11" fmla="*/ 2147483647 h 13"/>
                <a:gd name="T12" fmla="*/ 0 w 9"/>
                <a:gd name="T13" fmla="*/ 2147483647 h 13"/>
                <a:gd name="T14" fmla="*/ 0 w 9"/>
                <a:gd name="T15" fmla="*/ 2147483647 h 13"/>
                <a:gd name="T16" fmla="*/ 0 w 9"/>
                <a:gd name="T17" fmla="*/ 2147483647 h 13"/>
                <a:gd name="T18" fmla="*/ 0 w 9"/>
                <a:gd name="T19" fmla="*/ 2147483647 h 13"/>
                <a:gd name="T20" fmla="*/ 2147483647 w 9"/>
                <a:gd name="T21" fmla="*/ 2147483647 h 13"/>
                <a:gd name="T22" fmla="*/ 2147483647 w 9"/>
                <a:gd name="T23" fmla="*/ 2147483647 h 13"/>
                <a:gd name="T24" fmla="*/ 2147483647 w 9"/>
                <a:gd name="T25" fmla="*/ 2147483647 h 13"/>
                <a:gd name="T26" fmla="*/ 2147483647 w 9"/>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3"/>
                <a:gd name="T44" fmla="*/ 9 w 9"/>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3">
                  <a:moveTo>
                    <a:pt x="8" y="9"/>
                  </a:moveTo>
                  <a:lnTo>
                    <a:pt x="9" y="5"/>
                  </a:lnTo>
                  <a:lnTo>
                    <a:pt x="9" y="3"/>
                  </a:lnTo>
                  <a:lnTo>
                    <a:pt x="7" y="1"/>
                  </a:lnTo>
                  <a:lnTo>
                    <a:pt x="2" y="0"/>
                  </a:lnTo>
                  <a:lnTo>
                    <a:pt x="2" y="1"/>
                  </a:lnTo>
                  <a:lnTo>
                    <a:pt x="0" y="2"/>
                  </a:lnTo>
                  <a:lnTo>
                    <a:pt x="0" y="7"/>
                  </a:lnTo>
                  <a:lnTo>
                    <a:pt x="0" y="10"/>
                  </a:lnTo>
                  <a:lnTo>
                    <a:pt x="0" y="11"/>
                  </a:lnTo>
                  <a:lnTo>
                    <a:pt x="2" y="13"/>
                  </a:lnTo>
                  <a:lnTo>
                    <a:pt x="5" y="11"/>
                  </a:lnTo>
                  <a:lnTo>
                    <a:pt x="7" y="11"/>
                  </a:lnTo>
                  <a:lnTo>
                    <a:pt x="8"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5" name="Freeform 1124"/>
            <p:cNvSpPr>
              <a:spLocks/>
            </p:cNvSpPr>
            <p:nvPr/>
          </p:nvSpPr>
          <p:spPr bwMode="auto">
            <a:xfrm>
              <a:off x="7807325" y="1600200"/>
              <a:ext cx="138113" cy="84138"/>
            </a:xfrm>
            <a:custGeom>
              <a:avLst/>
              <a:gdLst>
                <a:gd name="T0" fmla="*/ 2147483647 w 94"/>
                <a:gd name="T1" fmla="*/ 2147483647 h 53"/>
                <a:gd name="T2" fmla="*/ 2147483647 w 94"/>
                <a:gd name="T3" fmla="*/ 2147483647 h 53"/>
                <a:gd name="T4" fmla="*/ 2147483647 w 94"/>
                <a:gd name="T5" fmla="*/ 2147483647 h 53"/>
                <a:gd name="T6" fmla="*/ 2147483647 w 94"/>
                <a:gd name="T7" fmla="*/ 2147483647 h 53"/>
                <a:gd name="T8" fmla="*/ 2147483647 w 94"/>
                <a:gd name="T9" fmla="*/ 2147483647 h 53"/>
                <a:gd name="T10" fmla="*/ 2147483647 w 94"/>
                <a:gd name="T11" fmla="*/ 2147483647 h 53"/>
                <a:gd name="T12" fmla="*/ 2147483647 w 94"/>
                <a:gd name="T13" fmla="*/ 2147483647 h 53"/>
                <a:gd name="T14" fmla="*/ 0 w 94"/>
                <a:gd name="T15" fmla="*/ 2147483647 h 53"/>
                <a:gd name="T16" fmla="*/ 2147483647 w 94"/>
                <a:gd name="T17" fmla="*/ 2147483647 h 53"/>
                <a:gd name="T18" fmla="*/ 2147483647 w 94"/>
                <a:gd name="T19" fmla="*/ 2147483647 h 53"/>
                <a:gd name="T20" fmla="*/ 2147483647 w 94"/>
                <a:gd name="T21" fmla="*/ 2147483647 h 53"/>
                <a:gd name="T22" fmla="*/ 2147483647 w 94"/>
                <a:gd name="T23" fmla="*/ 2147483647 h 53"/>
                <a:gd name="T24" fmla="*/ 2147483647 w 94"/>
                <a:gd name="T25" fmla="*/ 2147483647 h 53"/>
                <a:gd name="T26" fmla="*/ 2147483647 w 94"/>
                <a:gd name="T27" fmla="*/ 2147483647 h 53"/>
                <a:gd name="T28" fmla="*/ 2147483647 w 94"/>
                <a:gd name="T29" fmla="*/ 2147483647 h 53"/>
                <a:gd name="T30" fmla="*/ 2147483647 w 94"/>
                <a:gd name="T31" fmla="*/ 2147483647 h 53"/>
                <a:gd name="T32" fmla="*/ 2147483647 w 94"/>
                <a:gd name="T33" fmla="*/ 2147483647 h 53"/>
                <a:gd name="T34" fmla="*/ 2147483647 w 94"/>
                <a:gd name="T35" fmla="*/ 2147483647 h 53"/>
                <a:gd name="T36" fmla="*/ 2147483647 w 94"/>
                <a:gd name="T37" fmla="*/ 2147483647 h 53"/>
                <a:gd name="T38" fmla="*/ 2147483647 w 94"/>
                <a:gd name="T39" fmla="*/ 2147483647 h 53"/>
                <a:gd name="T40" fmla="*/ 2147483647 w 94"/>
                <a:gd name="T41" fmla="*/ 2147483647 h 53"/>
                <a:gd name="T42" fmla="*/ 2147483647 w 94"/>
                <a:gd name="T43" fmla="*/ 2147483647 h 53"/>
                <a:gd name="T44" fmla="*/ 2147483647 w 94"/>
                <a:gd name="T45" fmla="*/ 2147483647 h 53"/>
                <a:gd name="T46" fmla="*/ 2147483647 w 94"/>
                <a:gd name="T47" fmla="*/ 2147483647 h 53"/>
                <a:gd name="T48" fmla="*/ 2147483647 w 94"/>
                <a:gd name="T49" fmla="*/ 2147483647 h 53"/>
                <a:gd name="T50" fmla="*/ 2147483647 w 94"/>
                <a:gd name="T51" fmla="*/ 2147483647 h 53"/>
                <a:gd name="T52" fmla="*/ 2147483647 w 94"/>
                <a:gd name="T53" fmla="*/ 2147483647 h 53"/>
                <a:gd name="T54" fmla="*/ 2147483647 w 94"/>
                <a:gd name="T55" fmla="*/ 2147483647 h 53"/>
                <a:gd name="T56" fmla="*/ 2147483647 w 94"/>
                <a:gd name="T57" fmla="*/ 0 h 53"/>
                <a:gd name="T58" fmla="*/ 2147483647 w 94"/>
                <a:gd name="T59" fmla="*/ 2147483647 h 53"/>
                <a:gd name="T60" fmla="*/ 2147483647 w 94"/>
                <a:gd name="T61" fmla="*/ 2147483647 h 53"/>
                <a:gd name="T62" fmla="*/ 2147483647 w 94"/>
                <a:gd name="T63" fmla="*/ 2147483647 h 53"/>
                <a:gd name="T64" fmla="*/ 2147483647 w 94"/>
                <a:gd name="T65" fmla="*/ 2147483647 h 53"/>
                <a:gd name="T66" fmla="*/ 2147483647 w 94"/>
                <a:gd name="T67" fmla="*/ 2147483647 h 53"/>
                <a:gd name="T68" fmla="*/ 2147483647 w 94"/>
                <a:gd name="T69" fmla="*/ 2147483647 h 53"/>
                <a:gd name="T70" fmla="*/ 2147483647 w 94"/>
                <a:gd name="T71" fmla="*/ 2147483647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4"/>
                <a:gd name="T109" fmla="*/ 0 h 53"/>
                <a:gd name="T110" fmla="*/ 94 w 94"/>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4" h="53">
                  <a:moveTo>
                    <a:pt x="45" y="12"/>
                  </a:moveTo>
                  <a:lnTo>
                    <a:pt x="45" y="12"/>
                  </a:lnTo>
                  <a:lnTo>
                    <a:pt x="35" y="6"/>
                  </a:lnTo>
                  <a:lnTo>
                    <a:pt x="29" y="3"/>
                  </a:lnTo>
                  <a:lnTo>
                    <a:pt x="24" y="2"/>
                  </a:lnTo>
                  <a:lnTo>
                    <a:pt x="19" y="4"/>
                  </a:lnTo>
                  <a:lnTo>
                    <a:pt x="15" y="7"/>
                  </a:lnTo>
                  <a:lnTo>
                    <a:pt x="9" y="14"/>
                  </a:lnTo>
                  <a:lnTo>
                    <a:pt x="8" y="15"/>
                  </a:lnTo>
                  <a:lnTo>
                    <a:pt x="4" y="16"/>
                  </a:lnTo>
                  <a:lnTo>
                    <a:pt x="3" y="19"/>
                  </a:lnTo>
                  <a:lnTo>
                    <a:pt x="2" y="20"/>
                  </a:lnTo>
                  <a:lnTo>
                    <a:pt x="0" y="28"/>
                  </a:lnTo>
                  <a:lnTo>
                    <a:pt x="0" y="32"/>
                  </a:lnTo>
                  <a:lnTo>
                    <a:pt x="2" y="35"/>
                  </a:lnTo>
                  <a:lnTo>
                    <a:pt x="3" y="38"/>
                  </a:lnTo>
                  <a:lnTo>
                    <a:pt x="5" y="40"/>
                  </a:lnTo>
                  <a:lnTo>
                    <a:pt x="12" y="45"/>
                  </a:lnTo>
                  <a:lnTo>
                    <a:pt x="27" y="51"/>
                  </a:lnTo>
                  <a:lnTo>
                    <a:pt x="31" y="52"/>
                  </a:lnTo>
                  <a:lnTo>
                    <a:pt x="35" y="51"/>
                  </a:lnTo>
                  <a:lnTo>
                    <a:pt x="41" y="47"/>
                  </a:lnTo>
                  <a:lnTo>
                    <a:pt x="42" y="46"/>
                  </a:lnTo>
                  <a:lnTo>
                    <a:pt x="43" y="47"/>
                  </a:lnTo>
                  <a:lnTo>
                    <a:pt x="47" y="50"/>
                  </a:lnTo>
                  <a:lnTo>
                    <a:pt x="51" y="52"/>
                  </a:lnTo>
                  <a:lnTo>
                    <a:pt x="55" y="53"/>
                  </a:lnTo>
                  <a:lnTo>
                    <a:pt x="60" y="52"/>
                  </a:lnTo>
                  <a:lnTo>
                    <a:pt x="64" y="50"/>
                  </a:lnTo>
                  <a:lnTo>
                    <a:pt x="69" y="46"/>
                  </a:lnTo>
                  <a:lnTo>
                    <a:pt x="73" y="44"/>
                  </a:lnTo>
                  <a:lnTo>
                    <a:pt x="75" y="42"/>
                  </a:lnTo>
                  <a:lnTo>
                    <a:pt x="78" y="44"/>
                  </a:lnTo>
                  <a:lnTo>
                    <a:pt x="82" y="45"/>
                  </a:lnTo>
                  <a:lnTo>
                    <a:pt x="84" y="47"/>
                  </a:lnTo>
                  <a:lnTo>
                    <a:pt x="88" y="48"/>
                  </a:lnTo>
                  <a:lnTo>
                    <a:pt x="92" y="48"/>
                  </a:lnTo>
                  <a:lnTo>
                    <a:pt x="93" y="47"/>
                  </a:lnTo>
                  <a:lnTo>
                    <a:pt x="94" y="46"/>
                  </a:lnTo>
                  <a:lnTo>
                    <a:pt x="93" y="40"/>
                  </a:lnTo>
                  <a:lnTo>
                    <a:pt x="90" y="35"/>
                  </a:lnTo>
                  <a:lnTo>
                    <a:pt x="84" y="25"/>
                  </a:lnTo>
                  <a:lnTo>
                    <a:pt x="80" y="19"/>
                  </a:lnTo>
                  <a:lnTo>
                    <a:pt x="75" y="13"/>
                  </a:lnTo>
                  <a:lnTo>
                    <a:pt x="64" y="0"/>
                  </a:lnTo>
                  <a:lnTo>
                    <a:pt x="62" y="0"/>
                  </a:lnTo>
                  <a:lnTo>
                    <a:pt x="61" y="1"/>
                  </a:lnTo>
                  <a:lnTo>
                    <a:pt x="61" y="6"/>
                  </a:lnTo>
                  <a:lnTo>
                    <a:pt x="62" y="10"/>
                  </a:lnTo>
                  <a:lnTo>
                    <a:pt x="62" y="15"/>
                  </a:lnTo>
                  <a:lnTo>
                    <a:pt x="62" y="16"/>
                  </a:lnTo>
                  <a:lnTo>
                    <a:pt x="60" y="19"/>
                  </a:lnTo>
                  <a:lnTo>
                    <a:pt x="59" y="19"/>
                  </a:lnTo>
                  <a:lnTo>
                    <a:pt x="57" y="19"/>
                  </a:lnTo>
                  <a:lnTo>
                    <a:pt x="52" y="16"/>
                  </a:lnTo>
                  <a:lnTo>
                    <a:pt x="45"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6" name="Freeform 1125"/>
            <p:cNvSpPr>
              <a:spLocks/>
            </p:cNvSpPr>
            <p:nvPr/>
          </p:nvSpPr>
          <p:spPr bwMode="auto">
            <a:xfrm>
              <a:off x="7881942" y="1697042"/>
              <a:ext cx="14287" cy="20637"/>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2147483647 h 13"/>
                <a:gd name="T10" fmla="*/ 2147483647 w 9"/>
                <a:gd name="T11" fmla="*/ 2147483647 h 13"/>
                <a:gd name="T12" fmla="*/ 2147483647 w 9"/>
                <a:gd name="T13" fmla="*/ 0 h 13"/>
                <a:gd name="T14" fmla="*/ 2147483647 w 9"/>
                <a:gd name="T15" fmla="*/ 0 h 13"/>
                <a:gd name="T16" fmla="*/ 2147483647 w 9"/>
                <a:gd name="T17" fmla="*/ 2147483647 h 13"/>
                <a:gd name="T18" fmla="*/ 0 w 9"/>
                <a:gd name="T19" fmla="*/ 2147483647 h 13"/>
                <a:gd name="T20" fmla="*/ 0 w 9"/>
                <a:gd name="T21" fmla="*/ 2147483647 h 13"/>
                <a:gd name="T22" fmla="*/ 0 w 9"/>
                <a:gd name="T23" fmla="*/ 2147483647 h 13"/>
                <a:gd name="T24" fmla="*/ 0 w 9"/>
                <a:gd name="T25" fmla="*/ 2147483647 h 13"/>
                <a:gd name="T26" fmla="*/ 0 w 9"/>
                <a:gd name="T27" fmla="*/ 2147483647 h 13"/>
                <a:gd name="T28" fmla="*/ 0 w 9"/>
                <a:gd name="T29" fmla="*/ 2147483647 h 13"/>
                <a:gd name="T30" fmla="*/ 2147483647 w 9"/>
                <a:gd name="T31" fmla="*/ 2147483647 h 13"/>
                <a:gd name="T32" fmla="*/ 2147483647 w 9"/>
                <a:gd name="T33" fmla="*/ 2147483647 h 13"/>
                <a:gd name="T34" fmla="*/ 2147483647 w 9"/>
                <a:gd name="T35" fmla="*/ 2147483647 h 13"/>
                <a:gd name="T36" fmla="*/ 2147483647 w 9"/>
                <a:gd name="T37" fmla="*/ 2147483647 h 13"/>
                <a:gd name="T38" fmla="*/ 2147483647 w 9"/>
                <a:gd name="T39" fmla="*/ 2147483647 h 13"/>
                <a:gd name="T40" fmla="*/ 2147483647 w 9"/>
                <a:gd name="T41" fmla="*/ 2147483647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3"/>
                <a:gd name="T65" fmla="*/ 9 w 9"/>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3">
                  <a:moveTo>
                    <a:pt x="8" y="10"/>
                  </a:moveTo>
                  <a:lnTo>
                    <a:pt x="8" y="10"/>
                  </a:lnTo>
                  <a:lnTo>
                    <a:pt x="9" y="6"/>
                  </a:lnTo>
                  <a:lnTo>
                    <a:pt x="9" y="4"/>
                  </a:lnTo>
                  <a:lnTo>
                    <a:pt x="6" y="2"/>
                  </a:lnTo>
                  <a:lnTo>
                    <a:pt x="1" y="0"/>
                  </a:lnTo>
                  <a:lnTo>
                    <a:pt x="1" y="2"/>
                  </a:lnTo>
                  <a:lnTo>
                    <a:pt x="0" y="3"/>
                  </a:lnTo>
                  <a:lnTo>
                    <a:pt x="0" y="7"/>
                  </a:lnTo>
                  <a:lnTo>
                    <a:pt x="0" y="11"/>
                  </a:lnTo>
                  <a:lnTo>
                    <a:pt x="0" y="12"/>
                  </a:lnTo>
                  <a:lnTo>
                    <a:pt x="1" y="13"/>
                  </a:lnTo>
                  <a:lnTo>
                    <a:pt x="5" y="12"/>
                  </a:lnTo>
                  <a:lnTo>
                    <a:pt x="6" y="12"/>
                  </a:lnTo>
                  <a:lnTo>
                    <a:pt x="8"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7" name="Freeform 1126"/>
            <p:cNvSpPr>
              <a:spLocks/>
            </p:cNvSpPr>
            <p:nvPr/>
          </p:nvSpPr>
          <p:spPr bwMode="auto">
            <a:xfrm>
              <a:off x="7880352" y="1716089"/>
              <a:ext cx="76200" cy="41275"/>
            </a:xfrm>
            <a:custGeom>
              <a:avLst/>
              <a:gdLst>
                <a:gd name="T0" fmla="*/ 2147483647 w 52"/>
                <a:gd name="T1" fmla="*/ 2147483647 h 26"/>
                <a:gd name="T2" fmla="*/ 2147483647 w 52"/>
                <a:gd name="T3" fmla="*/ 2147483647 h 26"/>
                <a:gd name="T4" fmla="*/ 2147483647 w 52"/>
                <a:gd name="T5" fmla="*/ 2147483647 h 26"/>
                <a:gd name="T6" fmla="*/ 2147483647 w 52"/>
                <a:gd name="T7" fmla="*/ 2147483647 h 26"/>
                <a:gd name="T8" fmla="*/ 2147483647 w 52"/>
                <a:gd name="T9" fmla="*/ 0 h 26"/>
                <a:gd name="T10" fmla="*/ 2147483647 w 52"/>
                <a:gd name="T11" fmla="*/ 0 h 26"/>
                <a:gd name="T12" fmla="*/ 2147483647 w 52"/>
                <a:gd name="T13" fmla="*/ 0 h 26"/>
                <a:gd name="T14" fmla="*/ 2147483647 w 52"/>
                <a:gd name="T15" fmla="*/ 2147483647 h 26"/>
                <a:gd name="T16" fmla="*/ 2147483647 w 52"/>
                <a:gd name="T17" fmla="*/ 2147483647 h 26"/>
                <a:gd name="T18" fmla="*/ 2147483647 w 52"/>
                <a:gd name="T19" fmla="*/ 2147483647 h 26"/>
                <a:gd name="T20" fmla="*/ 2147483647 w 52"/>
                <a:gd name="T21" fmla="*/ 2147483647 h 26"/>
                <a:gd name="T22" fmla="*/ 2147483647 w 52"/>
                <a:gd name="T23" fmla="*/ 2147483647 h 26"/>
                <a:gd name="T24" fmla="*/ 2147483647 w 52"/>
                <a:gd name="T25" fmla="*/ 2147483647 h 26"/>
                <a:gd name="T26" fmla="*/ 2147483647 w 52"/>
                <a:gd name="T27" fmla="*/ 2147483647 h 26"/>
                <a:gd name="T28" fmla="*/ 2147483647 w 52"/>
                <a:gd name="T29" fmla="*/ 2147483647 h 26"/>
                <a:gd name="T30" fmla="*/ 2147483647 w 52"/>
                <a:gd name="T31" fmla="*/ 2147483647 h 26"/>
                <a:gd name="T32" fmla="*/ 0 w 52"/>
                <a:gd name="T33" fmla="*/ 2147483647 h 26"/>
                <a:gd name="T34" fmla="*/ 0 w 52"/>
                <a:gd name="T35" fmla="*/ 2147483647 h 26"/>
                <a:gd name="T36" fmla="*/ 2147483647 w 52"/>
                <a:gd name="T37" fmla="*/ 2147483647 h 26"/>
                <a:gd name="T38" fmla="*/ 2147483647 w 52"/>
                <a:gd name="T39" fmla="*/ 2147483647 h 26"/>
                <a:gd name="T40" fmla="*/ 2147483647 w 52"/>
                <a:gd name="T41" fmla="*/ 2147483647 h 26"/>
                <a:gd name="T42" fmla="*/ 2147483647 w 52"/>
                <a:gd name="T43" fmla="*/ 2147483647 h 26"/>
                <a:gd name="T44" fmla="*/ 2147483647 w 52"/>
                <a:gd name="T45" fmla="*/ 2147483647 h 26"/>
                <a:gd name="T46" fmla="*/ 2147483647 w 52"/>
                <a:gd name="T47" fmla="*/ 2147483647 h 26"/>
                <a:gd name="T48" fmla="*/ 2147483647 w 52"/>
                <a:gd name="T49" fmla="*/ 2147483647 h 26"/>
                <a:gd name="T50" fmla="*/ 2147483647 w 52"/>
                <a:gd name="T51" fmla="*/ 2147483647 h 26"/>
                <a:gd name="T52" fmla="*/ 2147483647 w 52"/>
                <a:gd name="T53" fmla="*/ 2147483647 h 26"/>
                <a:gd name="T54" fmla="*/ 2147483647 w 52"/>
                <a:gd name="T55" fmla="*/ 2147483647 h 26"/>
                <a:gd name="T56" fmla="*/ 2147483647 w 52"/>
                <a:gd name="T57" fmla="*/ 2147483647 h 26"/>
                <a:gd name="T58" fmla="*/ 2147483647 w 52"/>
                <a:gd name="T59" fmla="*/ 2147483647 h 26"/>
                <a:gd name="T60" fmla="*/ 2147483647 w 52"/>
                <a:gd name="T61" fmla="*/ 2147483647 h 26"/>
                <a:gd name="T62" fmla="*/ 2147483647 w 52"/>
                <a:gd name="T63" fmla="*/ 2147483647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26"/>
                <a:gd name="T98" fmla="*/ 52 w 52"/>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26">
                  <a:moveTo>
                    <a:pt x="52" y="20"/>
                  </a:moveTo>
                  <a:lnTo>
                    <a:pt x="52" y="17"/>
                  </a:lnTo>
                  <a:lnTo>
                    <a:pt x="52" y="16"/>
                  </a:lnTo>
                  <a:lnTo>
                    <a:pt x="51" y="14"/>
                  </a:lnTo>
                  <a:lnTo>
                    <a:pt x="33" y="0"/>
                  </a:lnTo>
                  <a:lnTo>
                    <a:pt x="32" y="0"/>
                  </a:lnTo>
                  <a:lnTo>
                    <a:pt x="30" y="0"/>
                  </a:lnTo>
                  <a:lnTo>
                    <a:pt x="28" y="3"/>
                  </a:lnTo>
                  <a:lnTo>
                    <a:pt x="24" y="4"/>
                  </a:lnTo>
                  <a:lnTo>
                    <a:pt x="20" y="4"/>
                  </a:lnTo>
                  <a:lnTo>
                    <a:pt x="18" y="4"/>
                  </a:lnTo>
                  <a:lnTo>
                    <a:pt x="14" y="5"/>
                  </a:lnTo>
                  <a:lnTo>
                    <a:pt x="15" y="7"/>
                  </a:lnTo>
                  <a:lnTo>
                    <a:pt x="15" y="10"/>
                  </a:lnTo>
                  <a:lnTo>
                    <a:pt x="14" y="12"/>
                  </a:lnTo>
                  <a:lnTo>
                    <a:pt x="11" y="13"/>
                  </a:lnTo>
                  <a:lnTo>
                    <a:pt x="0" y="19"/>
                  </a:lnTo>
                  <a:lnTo>
                    <a:pt x="0" y="20"/>
                  </a:lnTo>
                  <a:lnTo>
                    <a:pt x="5" y="23"/>
                  </a:lnTo>
                  <a:lnTo>
                    <a:pt x="11" y="25"/>
                  </a:lnTo>
                  <a:lnTo>
                    <a:pt x="18" y="26"/>
                  </a:lnTo>
                  <a:lnTo>
                    <a:pt x="23" y="26"/>
                  </a:lnTo>
                  <a:lnTo>
                    <a:pt x="25" y="25"/>
                  </a:lnTo>
                  <a:lnTo>
                    <a:pt x="26" y="24"/>
                  </a:lnTo>
                  <a:lnTo>
                    <a:pt x="28" y="22"/>
                  </a:lnTo>
                  <a:lnTo>
                    <a:pt x="29" y="22"/>
                  </a:lnTo>
                  <a:lnTo>
                    <a:pt x="35" y="23"/>
                  </a:lnTo>
                  <a:lnTo>
                    <a:pt x="42" y="24"/>
                  </a:lnTo>
                  <a:lnTo>
                    <a:pt x="44" y="24"/>
                  </a:lnTo>
                  <a:lnTo>
                    <a:pt x="47" y="24"/>
                  </a:lnTo>
                  <a:lnTo>
                    <a:pt x="49" y="23"/>
                  </a:lnTo>
                  <a:lnTo>
                    <a:pt x="52" y="2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8" name="Freeform 1127"/>
            <p:cNvSpPr>
              <a:spLocks/>
            </p:cNvSpPr>
            <p:nvPr/>
          </p:nvSpPr>
          <p:spPr bwMode="auto">
            <a:xfrm>
              <a:off x="8591554" y="1898652"/>
              <a:ext cx="22225" cy="19050"/>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0 h 12"/>
                <a:gd name="T10" fmla="*/ 2147483647 w 15"/>
                <a:gd name="T11" fmla="*/ 2147483647 h 12"/>
                <a:gd name="T12" fmla="*/ 0 w 15"/>
                <a:gd name="T13" fmla="*/ 2147483647 h 12"/>
                <a:gd name="T14" fmla="*/ 0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15" y="7"/>
                  </a:moveTo>
                  <a:lnTo>
                    <a:pt x="15" y="5"/>
                  </a:lnTo>
                  <a:lnTo>
                    <a:pt x="14" y="4"/>
                  </a:lnTo>
                  <a:lnTo>
                    <a:pt x="10" y="1"/>
                  </a:lnTo>
                  <a:lnTo>
                    <a:pt x="5" y="0"/>
                  </a:lnTo>
                  <a:lnTo>
                    <a:pt x="1" y="1"/>
                  </a:lnTo>
                  <a:lnTo>
                    <a:pt x="0" y="3"/>
                  </a:lnTo>
                  <a:lnTo>
                    <a:pt x="0" y="4"/>
                  </a:lnTo>
                  <a:lnTo>
                    <a:pt x="4" y="9"/>
                  </a:lnTo>
                  <a:lnTo>
                    <a:pt x="9" y="11"/>
                  </a:lnTo>
                  <a:lnTo>
                    <a:pt x="11" y="12"/>
                  </a:lnTo>
                  <a:lnTo>
                    <a:pt x="14" y="11"/>
                  </a:lnTo>
                  <a:lnTo>
                    <a:pt x="15" y="10"/>
                  </a:lnTo>
                  <a:lnTo>
                    <a:pt x="1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29" name="Freeform 1128"/>
            <p:cNvSpPr>
              <a:spLocks/>
            </p:cNvSpPr>
            <p:nvPr/>
          </p:nvSpPr>
          <p:spPr bwMode="auto">
            <a:xfrm>
              <a:off x="7878764" y="1714504"/>
              <a:ext cx="76200" cy="41275"/>
            </a:xfrm>
            <a:custGeom>
              <a:avLst/>
              <a:gdLst>
                <a:gd name="T0" fmla="*/ 2147483647 w 52"/>
                <a:gd name="T1" fmla="*/ 2147483647 h 26"/>
                <a:gd name="T2" fmla="*/ 2147483647 w 52"/>
                <a:gd name="T3" fmla="*/ 2147483647 h 26"/>
                <a:gd name="T4" fmla="*/ 2147483647 w 52"/>
                <a:gd name="T5" fmla="*/ 2147483647 h 26"/>
                <a:gd name="T6" fmla="*/ 2147483647 w 52"/>
                <a:gd name="T7" fmla="*/ 2147483647 h 26"/>
                <a:gd name="T8" fmla="*/ 2147483647 w 52"/>
                <a:gd name="T9" fmla="*/ 2147483647 h 26"/>
                <a:gd name="T10" fmla="*/ 2147483647 w 52"/>
                <a:gd name="T11" fmla="*/ 2147483647 h 26"/>
                <a:gd name="T12" fmla="*/ 2147483647 w 52"/>
                <a:gd name="T13" fmla="*/ 0 h 26"/>
                <a:gd name="T14" fmla="*/ 2147483647 w 52"/>
                <a:gd name="T15" fmla="*/ 0 h 26"/>
                <a:gd name="T16" fmla="*/ 2147483647 w 52"/>
                <a:gd name="T17" fmla="*/ 0 h 26"/>
                <a:gd name="T18" fmla="*/ 2147483647 w 52"/>
                <a:gd name="T19" fmla="*/ 0 h 26"/>
                <a:gd name="T20" fmla="*/ 2147483647 w 52"/>
                <a:gd name="T21" fmla="*/ 2147483647 h 26"/>
                <a:gd name="T22" fmla="*/ 2147483647 w 52"/>
                <a:gd name="T23" fmla="*/ 2147483647 h 26"/>
                <a:gd name="T24" fmla="*/ 2147483647 w 52"/>
                <a:gd name="T25" fmla="*/ 2147483647 h 26"/>
                <a:gd name="T26" fmla="*/ 2147483647 w 52"/>
                <a:gd name="T27" fmla="*/ 2147483647 h 26"/>
                <a:gd name="T28" fmla="*/ 2147483647 w 52"/>
                <a:gd name="T29" fmla="*/ 2147483647 h 26"/>
                <a:gd name="T30" fmla="*/ 2147483647 w 52"/>
                <a:gd name="T31" fmla="*/ 2147483647 h 26"/>
                <a:gd name="T32" fmla="*/ 2147483647 w 52"/>
                <a:gd name="T33" fmla="*/ 2147483647 h 26"/>
                <a:gd name="T34" fmla="*/ 2147483647 w 52"/>
                <a:gd name="T35" fmla="*/ 2147483647 h 26"/>
                <a:gd name="T36" fmla="*/ 2147483647 w 52"/>
                <a:gd name="T37" fmla="*/ 2147483647 h 26"/>
                <a:gd name="T38" fmla="*/ 2147483647 w 52"/>
                <a:gd name="T39" fmla="*/ 2147483647 h 26"/>
                <a:gd name="T40" fmla="*/ 2147483647 w 52"/>
                <a:gd name="T41" fmla="*/ 2147483647 h 26"/>
                <a:gd name="T42" fmla="*/ 0 w 52"/>
                <a:gd name="T43" fmla="*/ 2147483647 h 26"/>
                <a:gd name="T44" fmla="*/ 0 w 52"/>
                <a:gd name="T45" fmla="*/ 2147483647 h 26"/>
                <a:gd name="T46" fmla="*/ 0 w 52"/>
                <a:gd name="T47" fmla="*/ 2147483647 h 26"/>
                <a:gd name="T48" fmla="*/ 0 w 52"/>
                <a:gd name="T49" fmla="*/ 2147483647 h 26"/>
                <a:gd name="T50" fmla="*/ 2147483647 w 52"/>
                <a:gd name="T51" fmla="*/ 2147483647 h 26"/>
                <a:gd name="T52" fmla="*/ 2147483647 w 52"/>
                <a:gd name="T53" fmla="*/ 2147483647 h 26"/>
                <a:gd name="T54" fmla="*/ 2147483647 w 52"/>
                <a:gd name="T55" fmla="*/ 2147483647 h 26"/>
                <a:gd name="T56" fmla="*/ 2147483647 w 52"/>
                <a:gd name="T57" fmla="*/ 2147483647 h 26"/>
                <a:gd name="T58" fmla="*/ 2147483647 w 52"/>
                <a:gd name="T59" fmla="*/ 2147483647 h 26"/>
                <a:gd name="T60" fmla="*/ 2147483647 w 52"/>
                <a:gd name="T61" fmla="*/ 2147483647 h 26"/>
                <a:gd name="T62" fmla="*/ 2147483647 w 52"/>
                <a:gd name="T63" fmla="*/ 2147483647 h 26"/>
                <a:gd name="T64" fmla="*/ 2147483647 w 52"/>
                <a:gd name="T65" fmla="*/ 2147483647 h 26"/>
                <a:gd name="T66" fmla="*/ 2147483647 w 52"/>
                <a:gd name="T67" fmla="*/ 2147483647 h 26"/>
                <a:gd name="T68" fmla="*/ 2147483647 w 52"/>
                <a:gd name="T69" fmla="*/ 2147483647 h 26"/>
                <a:gd name="T70" fmla="*/ 2147483647 w 52"/>
                <a:gd name="T71" fmla="*/ 2147483647 h 26"/>
                <a:gd name="T72" fmla="*/ 2147483647 w 52"/>
                <a:gd name="T73" fmla="*/ 2147483647 h 26"/>
                <a:gd name="T74" fmla="*/ 2147483647 w 52"/>
                <a:gd name="T75" fmla="*/ 2147483647 h 26"/>
                <a:gd name="T76" fmla="*/ 2147483647 w 52"/>
                <a:gd name="T77" fmla="*/ 2147483647 h 26"/>
                <a:gd name="T78" fmla="*/ 2147483647 w 52"/>
                <a:gd name="T79" fmla="*/ 2147483647 h 26"/>
                <a:gd name="T80" fmla="*/ 2147483647 w 52"/>
                <a:gd name="T81" fmla="*/ 2147483647 h 26"/>
                <a:gd name="T82" fmla="*/ 2147483647 w 52"/>
                <a:gd name="T83" fmla="*/ 2147483647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2"/>
                <a:gd name="T127" fmla="*/ 0 h 26"/>
                <a:gd name="T128" fmla="*/ 52 w 52"/>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2" h="26">
                  <a:moveTo>
                    <a:pt x="52" y="20"/>
                  </a:moveTo>
                  <a:lnTo>
                    <a:pt x="52" y="20"/>
                  </a:lnTo>
                  <a:lnTo>
                    <a:pt x="52" y="17"/>
                  </a:lnTo>
                  <a:lnTo>
                    <a:pt x="52" y="15"/>
                  </a:lnTo>
                  <a:lnTo>
                    <a:pt x="50" y="14"/>
                  </a:lnTo>
                  <a:lnTo>
                    <a:pt x="33" y="0"/>
                  </a:lnTo>
                  <a:lnTo>
                    <a:pt x="31" y="0"/>
                  </a:lnTo>
                  <a:lnTo>
                    <a:pt x="30" y="0"/>
                  </a:lnTo>
                  <a:lnTo>
                    <a:pt x="27" y="2"/>
                  </a:lnTo>
                  <a:lnTo>
                    <a:pt x="24" y="4"/>
                  </a:lnTo>
                  <a:lnTo>
                    <a:pt x="20" y="4"/>
                  </a:lnTo>
                  <a:lnTo>
                    <a:pt x="17" y="4"/>
                  </a:lnTo>
                  <a:lnTo>
                    <a:pt x="13" y="5"/>
                  </a:lnTo>
                  <a:lnTo>
                    <a:pt x="15" y="7"/>
                  </a:lnTo>
                  <a:lnTo>
                    <a:pt x="15" y="10"/>
                  </a:lnTo>
                  <a:lnTo>
                    <a:pt x="13" y="12"/>
                  </a:lnTo>
                  <a:lnTo>
                    <a:pt x="11" y="13"/>
                  </a:lnTo>
                  <a:lnTo>
                    <a:pt x="0" y="19"/>
                  </a:lnTo>
                  <a:lnTo>
                    <a:pt x="0" y="20"/>
                  </a:lnTo>
                  <a:lnTo>
                    <a:pt x="5" y="23"/>
                  </a:lnTo>
                  <a:lnTo>
                    <a:pt x="11" y="25"/>
                  </a:lnTo>
                  <a:lnTo>
                    <a:pt x="17" y="26"/>
                  </a:lnTo>
                  <a:lnTo>
                    <a:pt x="22" y="26"/>
                  </a:lnTo>
                  <a:lnTo>
                    <a:pt x="25" y="25"/>
                  </a:lnTo>
                  <a:lnTo>
                    <a:pt x="26" y="24"/>
                  </a:lnTo>
                  <a:lnTo>
                    <a:pt x="27" y="21"/>
                  </a:lnTo>
                  <a:lnTo>
                    <a:pt x="29" y="21"/>
                  </a:lnTo>
                  <a:lnTo>
                    <a:pt x="35" y="23"/>
                  </a:lnTo>
                  <a:lnTo>
                    <a:pt x="41" y="24"/>
                  </a:lnTo>
                  <a:lnTo>
                    <a:pt x="44" y="24"/>
                  </a:lnTo>
                  <a:lnTo>
                    <a:pt x="46" y="24"/>
                  </a:lnTo>
                  <a:lnTo>
                    <a:pt x="49" y="23"/>
                  </a:lnTo>
                  <a:lnTo>
                    <a:pt x="52" y="2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0" name="Freeform 1129"/>
            <p:cNvSpPr>
              <a:spLocks/>
            </p:cNvSpPr>
            <p:nvPr/>
          </p:nvSpPr>
          <p:spPr bwMode="auto">
            <a:xfrm>
              <a:off x="8589967" y="1897063"/>
              <a:ext cx="22225" cy="19050"/>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0 h 12"/>
                <a:gd name="T14" fmla="*/ 2147483647 w 15"/>
                <a:gd name="T15" fmla="*/ 2147483647 h 12"/>
                <a:gd name="T16" fmla="*/ 2147483647 w 15"/>
                <a:gd name="T17" fmla="*/ 2147483647 h 12"/>
                <a:gd name="T18" fmla="*/ 0 w 15"/>
                <a:gd name="T19" fmla="*/ 2147483647 h 12"/>
                <a:gd name="T20" fmla="*/ 0 w 15"/>
                <a:gd name="T21" fmla="*/ 2147483647 h 12"/>
                <a:gd name="T22" fmla="*/ 0 w 15"/>
                <a:gd name="T23" fmla="*/ 2147483647 h 12"/>
                <a:gd name="T24" fmla="*/ 2147483647 w 15"/>
                <a:gd name="T25" fmla="*/ 2147483647 h 12"/>
                <a:gd name="T26" fmla="*/ 2147483647 w 15"/>
                <a:gd name="T27" fmla="*/ 2147483647 h 12"/>
                <a:gd name="T28" fmla="*/ 2147483647 w 15"/>
                <a:gd name="T29" fmla="*/ 2147483647 h 12"/>
                <a:gd name="T30" fmla="*/ 2147483647 w 15"/>
                <a:gd name="T31" fmla="*/ 2147483647 h 12"/>
                <a:gd name="T32" fmla="*/ 2147483647 w 15"/>
                <a:gd name="T33" fmla="*/ 2147483647 h 12"/>
                <a:gd name="T34" fmla="*/ 2147483647 w 15"/>
                <a:gd name="T35" fmla="*/ 2147483647 h 12"/>
                <a:gd name="T36" fmla="*/ 2147483647 w 15"/>
                <a:gd name="T37" fmla="*/ 2147483647 h 12"/>
                <a:gd name="T38" fmla="*/ 2147483647 w 15"/>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2"/>
                <a:gd name="T62" fmla="*/ 15 w 15"/>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2">
                  <a:moveTo>
                    <a:pt x="15" y="7"/>
                  </a:moveTo>
                  <a:lnTo>
                    <a:pt x="15" y="7"/>
                  </a:lnTo>
                  <a:lnTo>
                    <a:pt x="15" y="5"/>
                  </a:lnTo>
                  <a:lnTo>
                    <a:pt x="14" y="4"/>
                  </a:lnTo>
                  <a:lnTo>
                    <a:pt x="10" y="1"/>
                  </a:lnTo>
                  <a:lnTo>
                    <a:pt x="5" y="0"/>
                  </a:lnTo>
                  <a:lnTo>
                    <a:pt x="1" y="1"/>
                  </a:lnTo>
                  <a:lnTo>
                    <a:pt x="0" y="2"/>
                  </a:lnTo>
                  <a:lnTo>
                    <a:pt x="0" y="4"/>
                  </a:lnTo>
                  <a:lnTo>
                    <a:pt x="3" y="8"/>
                  </a:lnTo>
                  <a:lnTo>
                    <a:pt x="8" y="11"/>
                  </a:lnTo>
                  <a:lnTo>
                    <a:pt x="11" y="12"/>
                  </a:lnTo>
                  <a:lnTo>
                    <a:pt x="14" y="11"/>
                  </a:lnTo>
                  <a:lnTo>
                    <a:pt x="15" y="10"/>
                  </a:lnTo>
                  <a:lnTo>
                    <a:pt x="15"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1" name="Freeform 1130"/>
            <p:cNvSpPr>
              <a:spLocks/>
            </p:cNvSpPr>
            <p:nvPr/>
          </p:nvSpPr>
          <p:spPr bwMode="auto">
            <a:xfrm>
              <a:off x="8866192" y="1831978"/>
              <a:ext cx="85725" cy="34925"/>
            </a:xfrm>
            <a:custGeom>
              <a:avLst/>
              <a:gdLst>
                <a:gd name="T0" fmla="*/ 2147483647 w 59"/>
                <a:gd name="T1" fmla="*/ 2147483647 h 22"/>
                <a:gd name="T2" fmla="*/ 2147483647 w 59"/>
                <a:gd name="T3" fmla="*/ 2147483647 h 22"/>
                <a:gd name="T4" fmla="*/ 2147483647 w 59"/>
                <a:gd name="T5" fmla="*/ 2147483647 h 22"/>
                <a:gd name="T6" fmla="*/ 2147483647 w 59"/>
                <a:gd name="T7" fmla="*/ 0 h 22"/>
                <a:gd name="T8" fmla="*/ 2147483647 w 59"/>
                <a:gd name="T9" fmla="*/ 0 h 22"/>
                <a:gd name="T10" fmla="*/ 2147483647 w 59"/>
                <a:gd name="T11" fmla="*/ 2147483647 h 22"/>
                <a:gd name="T12" fmla="*/ 2147483647 w 59"/>
                <a:gd name="T13" fmla="*/ 2147483647 h 22"/>
                <a:gd name="T14" fmla="*/ 2147483647 w 59"/>
                <a:gd name="T15" fmla="*/ 2147483647 h 22"/>
                <a:gd name="T16" fmla="*/ 2147483647 w 59"/>
                <a:gd name="T17" fmla="*/ 2147483647 h 22"/>
                <a:gd name="T18" fmla="*/ 0 w 59"/>
                <a:gd name="T19" fmla="*/ 2147483647 h 22"/>
                <a:gd name="T20" fmla="*/ 0 w 59"/>
                <a:gd name="T21" fmla="*/ 2147483647 h 22"/>
                <a:gd name="T22" fmla="*/ 2147483647 w 59"/>
                <a:gd name="T23" fmla="*/ 2147483647 h 22"/>
                <a:gd name="T24" fmla="*/ 2147483647 w 59"/>
                <a:gd name="T25" fmla="*/ 2147483647 h 22"/>
                <a:gd name="T26" fmla="*/ 2147483647 w 59"/>
                <a:gd name="T27" fmla="*/ 2147483647 h 22"/>
                <a:gd name="T28" fmla="*/ 2147483647 w 59"/>
                <a:gd name="T29" fmla="*/ 2147483647 h 22"/>
                <a:gd name="T30" fmla="*/ 2147483647 w 59"/>
                <a:gd name="T31" fmla="*/ 2147483647 h 22"/>
                <a:gd name="T32" fmla="*/ 2147483647 w 59"/>
                <a:gd name="T33" fmla="*/ 2147483647 h 22"/>
                <a:gd name="T34" fmla="*/ 2147483647 w 59"/>
                <a:gd name="T35" fmla="*/ 2147483647 h 22"/>
                <a:gd name="T36" fmla="*/ 2147483647 w 59"/>
                <a:gd name="T37" fmla="*/ 2147483647 h 22"/>
                <a:gd name="T38" fmla="*/ 2147483647 w 59"/>
                <a:gd name="T39" fmla="*/ 2147483647 h 22"/>
                <a:gd name="T40" fmla="*/ 2147483647 w 59"/>
                <a:gd name="T41" fmla="*/ 2147483647 h 22"/>
                <a:gd name="T42" fmla="*/ 2147483647 w 59"/>
                <a:gd name="T43" fmla="*/ 2147483647 h 22"/>
                <a:gd name="T44" fmla="*/ 2147483647 w 59"/>
                <a:gd name="T45" fmla="*/ 2147483647 h 22"/>
                <a:gd name="T46" fmla="*/ 2147483647 w 59"/>
                <a:gd name="T47" fmla="*/ 2147483647 h 22"/>
                <a:gd name="T48" fmla="*/ 2147483647 w 59"/>
                <a:gd name="T49" fmla="*/ 2147483647 h 22"/>
                <a:gd name="T50" fmla="*/ 2147483647 w 59"/>
                <a:gd name="T51" fmla="*/ 2147483647 h 22"/>
                <a:gd name="T52" fmla="*/ 2147483647 w 59"/>
                <a:gd name="T53" fmla="*/ 2147483647 h 22"/>
                <a:gd name="T54" fmla="*/ 2147483647 w 59"/>
                <a:gd name="T55" fmla="*/ 2147483647 h 2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9"/>
                <a:gd name="T85" fmla="*/ 0 h 22"/>
                <a:gd name="T86" fmla="*/ 59 w 59"/>
                <a:gd name="T87" fmla="*/ 22 h 2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9" h="22">
                  <a:moveTo>
                    <a:pt x="53" y="3"/>
                  </a:moveTo>
                  <a:lnTo>
                    <a:pt x="41" y="3"/>
                  </a:lnTo>
                  <a:lnTo>
                    <a:pt x="33" y="2"/>
                  </a:lnTo>
                  <a:lnTo>
                    <a:pt x="26" y="0"/>
                  </a:lnTo>
                  <a:lnTo>
                    <a:pt x="20" y="0"/>
                  </a:lnTo>
                  <a:lnTo>
                    <a:pt x="15" y="1"/>
                  </a:lnTo>
                  <a:lnTo>
                    <a:pt x="10" y="4"/>
                  </a:lnTo>
                  <a:lnTo>
                    <a:pt x="5" y="8"/>
                  </a:lnTo>
                  <a:lnTo>
                    <a:pt x="1" y="13"/>
                  </a:lnTo>
                  <a:lnTo>
                    <a:pt x="0" y="16"/>
                  </a:lnTo>
                  <a:lnTo>
                    <a:pt x="0" y="20"/>
                  </a:lnTo>
                  <a:lnTo>
                    <a:pt x="1" y="21"/>
                  </a:lnTo>
                  <a:lnTo>
                    <a:pt x="2" y="22"/>
                  </a:lnTo>
                  <a:lnTo>
                    <a:pt x="6" y="22"/>
                  </a:lnTo>
                  <a:lnTo>
                    <a:pt x="11" y="20"/>
                  </a:lnTo>
                  <a:lnTo>
                    <a:pt x="17" y="20"/>
                  </a:lnTo>
                  <a:lnTo>
                    <a:pt x="29" y="21"/>
                  </a:lnTo>
                  <a:lnTo>
                    <a:pt x="39" y="21"/>
                  </a:lnTo>
                  <a:lnTo>
                    <a:pt x="49" y="22"/>
                  </a:lnTo>
                  <a:lnTo>
                    <a:pt x="53" y="22"/>
                  </a:lnTo>
                  <a:lnTo>
                    <a:pt x="55" y="21"/>
                  </a:lnTo>
                  <a:lnTo>
                    <a:pt x="57" y="20"/>
                  </a:lnTo>
                  <a:lnTo>
                    <a:pt x="58" y="17"/>
                  </a:lnTo>
                  <a:lnTo>
                    <a:pt x="59" y="11"/>
                  </a:lnTo>
                  <a:lnTo>
                    <a:pt x="58" y="5"/>
                  </a:lnTo>
                  <a:lnTo>
                    <a:pt x="58" y="4"/>
                  </a:lnTo>
                  <a:lnTo>
                    <a:pt x="57" y="4"/>
                  </a:lnTo>
                  <a:lnTo>
                    <a:pt x="53"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2" name="Freeform 1131"/>
            <p:cNvSpPr>
              <a:spLocks/>
            </p:cNvSpPr>
            <p:nvPr/>
          </p:nvSpPr>
          <p:spPr bwMode="auto">
            <a:xfrm>
              <a:off x="6342064" y="1309688"/>
              <a:ext cx="28574" cy="19050"/>
            </a:xfrm>
            <a:custGeom>
              <a:avLst/>
              <a:gdLst>
                <a:gd name="T0" fmla="*/ 2147483647 w 19"/>
                <a:gd name="T1" fmla="*/ 2147483647 h 12"/>
                <a:gd name="T2" fmla="*/ 2147483647 w 19"/>
                <a:gd name="T3" fmla="*/ 2147483647 h 12"/>
                <a:gd name="T4" fmla="*/ 2147483647 w 19"/>
                <a:gd name="T5" fmla="*/ 2147483647 h 12"/>
                <a:gd name="T6" fmla="*/ 2147483647 w 19"/>
                <a:gd name="T7" fmla="*/ 2147483647 h 12"/>
                <a:gd name="T8" fmla="*/ 2147483647 w 19"/>
                <a:gd name="T9" fmla="*/ 0 h 12"/>
                <a:gd name="T10" fmla="*/ 2147483647 w 19"/>
                <a:gd name="T11" fmla="*/ 0 h 12"/>
                <a:gd name="T12" fmla="*/ 2147483647 w 19"/>
                <a:gd name="T13" fmla="*/ 0 h 12"/>
                <a:gd name="T14" fmla="*/ 2147483647 w 19"/>
                <a:gd name="T15" fmla="*/ 2147483647 h 12"/>
                <a:gd name="T16" fmla="*/ 2147483647 w 19"/>
                <a:gd name="T17" fmla="*/ 2147483647 h 12"/>
                <a:gd name="T18" fmla="*/ 2147483647 w 19"/>
                <a:gd name="T19" fmla="*/ 2147483647 h 12"/>
                <a:gd name="T20" fmla="*/ 2147483647 w 19"/>
                <a:gd name="T21" fmla="*/ 2147483647 h 12"/>
                <a:gd name="T22" fmla="*/ 2147483647 w 19"/>
                <a:gd name="T23" fmla="*/ 2147483647 h 12"/>
                <a:gd name="T24" fmla="*/ 2147483647 w 19"/>
                <a:gd name="T25" fmla="*/ 2147483647 h 12"/>
                <a:gd name="T26" fmla="*/ 0 w 19"/>
                <a:gd name="T27" fmla="*/ 2147483647 h 12"/>
                <a:gd name="T28" fmla="*/ 2147483647 w 19"/>
                <a:gd name="T29" fmla="*/ 2147483647 h 12"/>
                <a:gd name="T30" fmla="*/ 2147483647 w 19"/>
                <a:gd name="T31" fmla="*/ 2147483647 h 12"/>
                <a:gd name="T32" fmla="*/ 2147483647 w 19"/>
                <a:gd name="T33" fmla="*/ 2147483647 h 12"/>
                <a:gd name="T34" fmla="*/ 2147483647 w 19"/>
                <a:gd name="T35" fmla="*/ 2147483647 h 12"/>
                <a:gd name="T36" fmla="*/ 2147483647 w 19"/>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12"/>
                <a:gd name="T59" fmla="*/ 19 w 19"/>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12">
                  <a:moveTo>
                    <a:pt x="15" y="7"/>
                  </a:moveTo>
                  <a:lnTo>
                    <a:pt x="16" y="6"/>
                  </a:lnTo>
                  <a:lnTo>
                    <a:pt x="19" y="4"/>
                  </a:lnTo>
                  <a:lnTo>
                    <a:pt x="19" y="3"/>
                  </a:lnTo>
                  <a:lnTo>
                    <a:pt x="19" y="0"/>
                  </a:lnTo>
                  <a:lnTo>
                    <a:pt x="17" y="0"/>
                  </a:lnTo>
                  <a:lnTo>
                    <a:pt x="15" y="0"/>
                  </a:lnTo>
                  <a:lnTo>
                    <a:pt x="11" y="3"/>
                  </a:lnTo>
                  <a:lnTo>
                    <a:pt x="9" y="4"/>
                  </a:lnTo>
                  <a:lnTo>
                    <a:pt x="6" y="3"/>
                  </a:lnTo>
                  <a:lnTo>
                    <a:pt x="5" y="1"/>
                  </a:lnTo>
                  <a:lnTo>
                    <a:pt x="2" y="1"/>
                  </a:lnTo>
                  <a:lnTo>
                    <a:pt x="1" y="4"/>
                  </a:lnTo>
                  <a:lnTo>
                    <a:pt x="0" y="7"/>
                  </a:lnTo>
                  <a:lnTo>
                    <a:pt x="1" y="10"/>
                  </a:lnTo>
                  <a:lnTo>
                    <a:pt x="3" y="12"/>
                  </a:lnTo>
                  <a:lnTo>
                    <a:pt x="6" y="12"/>
                  </a:lnTo>
                  <a:lnTo>
                    <a:pt x="9" y="11"/>
                  </a:lnTo>
                  <a:lnTo>
                    <a:pt x="15"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3" name="Freeform 1132"/>
            <p:cNvSpPr>
              <a:spLocks/>
            </p:cNvSpPr>
            <p:nvPr/>
          </p:nvSpPr>
          <p:spPr bwMode="auto">
            <a:xfrm>
              <a:off x="8863014" y="1828804"/>
              <a:ext cx="87312" cy="36513"/>
            </a:xfrm>
            <a:custGeom>
              <a:avLst/>
              <a:gdLst>
                <a:gd name="T0" fmla="*/ 2147483647 w 60"/>
                <a:gd name="T1" fmla="*/ 2147483647 h 23"/>
                <a:gd name="T2" fmla="*/ 2147483647 w 60"/>
                <a:gd name="T3" fmla="*/ 2147483647 h 23"/>
                <a:gd name="T4" fmla="*/ 2147483647 w 60"/>
                <a:gd name="T5" fmla="*/ 2147483647 h 23"/>
                <a:gd name="T6" fmla="*/ 2147483647 w 60"/>
                <a:gd name="T7" fmla="*/ 2147483647 h 23"/>
                <a:gd name="T8" fmla="*/ 2147483647 w 60"/>
                <a:gd name="T9" fmla="*/ 0 h 23"/>
                <a:gd name="T10" fmla="*/ 2147483647 w 60"/>
                <a:gd name="T11" fmla="*/ 0 h 23"/>
                <a:gd name="T12" fmla="*/ 2147483647 w 60"/>
                <a:gd name="T13" fmla="*/ 0 h 23"/>
                <a:gd name="T14" fmla="*/ 2147483647 w 60"/>
                <a:gd name="T15" fmla="*/ 2147483647 h 23"/>
                <a:gd name="T16" fmla="*/ 2147483647 w 60"/>
                <a:gd name="T17" fmla="*/ 2147483647 h 23"/>
                <a:gd name="T18" fmla="*/ 2147483647 w 60"/>
                <a:gd name="T19" fmla="*/ 2147483647 h 23"/>
                <a:gd name="T20" fmla="*/ 2147483647 w 60"/>
                <a:gd name="T21" fmla="*/ 2147483647 h 23"/>
                <a:gd name="T22" fmla="*/ 2147483647 w 60"/>
                <a:gd name="T23" fmla="*/ 2147483647 h 23"/>
                <a:gd name="T24" fmla="*/ 0 w 60"/>
                <a:gd name="T25" fmla="*/ 2147483647 h 23"/>
                <a:gd name="T26" fmla="*/ 0 w 60"/>
                <a:gd name="T27" fmla="*/ 2147483647 h 23"/>
                <a:gd name="T28" fmla="*/ 0 w 60"/>
                <a:gd name="T29" fmla="*/ 2147483647 h 23"/>
                <a:gd name="T30" fmla="*/ 2147483647 w 60"/>
                <a:gd name="T31" fmla="*/ 2147483647 h 23"/>
                <a:gd name="T32" fmla="*/ 2147483647 w 60"/>
                <a:gd name="T33" fmla="*/ 2147483647 h 23"/>
                <a:gd name="T34" fmla="*/ 2147483647 w 60"/>
                <a:gd name="T35" fmla="*/ 2147483647 h 23"/>
                <a:gd name="T36" fmla="*/ 2147483647 w 60"/>
                <a:gd name="T37" fmla="*/ 2147483647 h 23"/>
                <a:gd name="T38" fmla="*/ 2147483647 w 60"/>
                <a:gd name="T39" fmla="*/ 2147483647 h 23"/>
                <a:gd name="T40" fmla="*/ 2147483647 w 60"/>
                <a:gd name="T41" fmla="*/ 2147483647 h 23"/>
                <a:gd name="T42" fmla="*/ 2147483647 w 60"/>
                <a:gd name="T43" fmla="*/ 2147483647 h 23"/>
                <a:gd name="T44" fmla="*/ 2147483647 w 60"/>
                <a:gd name="T45" fmla="*/ 2147483647 h 23"/>
                <a:gd name="T46" fmla="*/ 2147483647 w 60"/>
                <a:gd name="T47" fmla="*/ 2147483647 h 23"/>
                <a:gd name="T48" fmla="*/ 2147483647 w 60"/>
                <a:gd name="T49" fmla="*/ 2147483647 h 23"/>
                <a:gd name="T50" fmla="*/ 2147483647 w 60"/>
                <a:gd name="T51" fmla="*/ 2147483647 h 23"/>
                <a:gd name="T52" fmla="*/ 2147483647 w 60"/>
                <a:gd name="T53" fmla="*/ 2147483647 h 23"/>
                <a:gd name="T54" fmla="*/ 2147483647 w 60"/>
                <a:gd name="T55" fmla="*/ 2147483647 h 23"/>
                <a:gd name="T56" fmla="*/ 2147483647 w 60"/>
                <a:gd name="T57" fmla="*/ 2147483647 h 23"/>
                <a:gd name="T58" fmla="*/ 2147483647 w 60"/>
                <a:gd name="T59" fmla="*/ 2147483647 h 23"/>
                <a:gd name="T60" fmla="*/ 2147483647 w 60"/>
                <a:gd name="T61" fmla="*/ 2147483647 h 23"/>
                <a:gd name="T62" fmla="*/ 2147483647 w 60"/>
                <a:gd name="T63" fmla="*/ 2147483647 h 23"/>
                <a:gd name="T64" fmla="*/ 2147483647 w 60"/>
                <a:gd name="T65" fmla="*/ 2147483647 h 23"/>
                <a:gd name="T66" fmla="*/ 2147483647 w 60"/>
                <a:gd name="T67" fmla="*/ 2147483647 h 23"/>
                <a:gd name="T68" fmla="*/ 2147483647 w 60"/>
                <a:gd name="T69" fmla="*/ 2147483647 h 23"/>
                <a:gd name="T70" fmla="*/ 2147483647 w 60"/>
                <a:gd name="T71" fmla="*/ 2147483647 h 23"/>
                <a:gd name="T72" fmla="*/ 2147483647 w 60"/>
                <a:gd name="T73" fmla="*/ 2147483647 h 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23"/>
                <a:gd name="T113" fmla="*/ 60 w 60"/>
                <a:gd name="T114" fmla="*/ 23 h 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23">
                  <a:moveTo>
                    <a:pt x="54" y="4"/>
                  </a:moveTo>
                  <a:lnTo>
                    <a:pt x="54" y="4"/>
                  </a:lnTo>
                  <a:lnTo>
                    <a:pt x="42" y="4"/>
                  </a:lnTo>
                  <a:lnTo>
                    <a:pt x="33" y="3"/>
                  </a:lnTo>
                  <a:lnTo>
                    <a:pt x="27" y="0"/>
                  </a:lnTo>
                  <a:lnTo>
                    <a:pt x="21" y="0"/>
                  </a:lnTo>
                  <a:lnTo>
                    <a:pt x="15" y="2"/>
                  </a:lnTo>
                  <a:lnTo>
                    <a:pt x="10" y="5"/>
                  </a:lnTo>
                  <a:lnTo>
                    <a:pt x="5" y="9"/>
                  </a:lnTo>
                  <a:lnTo>
                    <a:pt x="2" y="13"/>
                  </a:lnTo>
                  <a:lnTo>
                    <a:pt x="0" y="17"/>
                  </a:lnTo>
                  <a:lnTo>
                    <a:pt x="0" y="21"/>
                  </a:lnTo>
                  <a:lnTo>
                    <a:pt x="2" y="22"/>
                  </a:lnTo>
                  <a:lnTo>
                    <a:pt x="3" y="23"/>
                  </a:lnTo>
                  <a:lnTo>
                    <a:pt x="7" y="23"/>
                  </a:lnTo>
                  <a:lnTo>
                    <a:pt x="12" y="21"/>
                  </a:lnTo>
                  <a:lnTo>
                    <a:pt x="18" y="21"/>
                  </a:lnTo>
                  <a:lnTo>
                    <a:pt x="29" y="22"/>
                  </a:lnTo>
                  <a:lnTo>
                    <a:pt x="40" y="22"/>
                  </a:lnTo>
                  <a:lnTo>
                    <a:pt x="50" y="23"/>
                  </a:lnTo>
                  <a:lnTo>
                    <a:pt x="54" y="23"/>
                  </a:lnTo>
                  <a:lnTo>
                    <a:pt x="56" y="22"/>
                  </a:lnTo>
                  <a:lnTo>
                    <a:pt x="57" y="21"/>
                  </a:lnTo>
                  <a:lnTo>
                    <a:pt x="59" y="18"/>
                  </a:lnTo>
                  <a:lnTo>
                    <a:pt x="60" y="12"/>
                  </a:lnTo>
                  <a:lnTo>
                    <a:pt x="59" y="6"/>
                  </a:lnTo>
                  <a:lnTo>
                    <a:pt x="59" y="5"/>
                  </a:lnTo>
                  <a:lnTo>
                    <a:pt x="57" y="5"/>
                  </a:lnTo>
                  <a:lnTo>
                    <a:pt x="54"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4" name="Freeform 1133"/>
            <p:cNvSpPr>
              <a:spLocks/>
            </p:cNvSpPr>
            <p:nvPr/>
          </p:nvSpPr>
          <p:spPr bwMode="auto">
            <a:xfrm>
              <a:off x="6338889" y="1308101"/>
              <a:ext cx="28574" cy="19050"/>
            </a:xfrm>
            <a:custGeom>
              <a:avLst/>
              <a:gdLst>
                <a:gd name="T0" fmla="*/ 2147483647 w 19"/>
                <a:gd name="T1" fmla="*/ 2147483647 h 12"/>
                <a:gd name="T2" fmla="*/ 2147483647 w 19"/>
                <a:gd name="T3" fmla="*/ 2147483647 h 12"/>
                <a:gd name="T4" fmla="*/ 2147483647 w 19"/>
                <a:gd name="T5" fmla="*/ 2147483647 h 12"/>
                <a:gd name="T6" fmla="*/ 2147483647 w 19"/>
                <a:gd name="T7" fmla="*/ 2147483647 h 12"/>
                <a:gd name="T8" fmla="*/ 2147483647 w 19"/>
                <a:gd name="T9" fmla="*/ 2147483647 h 12"/>
                <a:gd name="T10" fmla="*/ 2147483647 w 19"/>
                <a:gd name="T11" fmla="*/ 0 h 12"/>
                <a:gd name="T12" fmla="*/ 2147483647 w 19"/>
                <a:gd name="T13" fmla="*/ 0 h 12"/>
                <a:gd name="T14" fmla="*/ 2147483647 w 19"/>
                <a:gd name="T15" fmla="*/ 0 h 12"/>
                <a:gd name="T16" fmla="*/ 2147483647 w 19"/>
                <a:gd name="T17" fmla="*/ 0 h 12"/>
                <a:gd name="T18" fmla="*/ 2147483647 w 19"/>
                <a:gd name="T19" fmla="*/ 2147483647 h 12"/>
                <a:gd name="T20" fmla="*/ 2147483647 w 19"/>
                <a:gd name="T21" fmla="*/ 2147483647 h 12"/>
                <a:gd name="T22" fmla="*/ 2147483647 w 19"/>
                <a:gd name="T23" fmla="*/ 2147483647 h 12"/>
                <a:gd name="T24" fmla="*/ 2147483647 w 19"/>
                <a:gd name="T25" fmla="*/ 2147483647 h 12"/>
                <a:gd name="T26" fmla="*/ 2147483647 w 19"/>
                <a:gd name="T27" fmla="*/ 2147483647 h 12"/>
                <a:gd name="T28" fmla="*/ 2147483647 w 19"/>
                <a:gd name="T29" fmla="*/ 2147483647 h 12"/>
                <a:gd name="T30" fmla="*/ 2147483647 w 19"/>
                <a:gd name="T31" fmla="*/ 2147483647 h 12"/>
                <a:gd name="T32" fmla="*/ 2147483647 w 19"/>
                <a:gd name="T33" fmla="*/ 2147483647 h 12"/>
                <a:gd name="T34" fmla="*/ 0 w 19"/>
                <a:gd name="T35" fmla="*/ 2147483647 h 12"/>
                <a:gd name="T36" fmla="*/ 2147483647 w 19"/>
                <a:gd name="T37" fmla="*/ 2147483647 h 12"/>
                <a:gd name="T38" fmla="*/ 2147483647 w 19"/>
                <a:gd name="T39" fmla="*/ 2147483647 h 12"/>
                <a:gd name="T40" fmla="*/ 2147483647 w 19"/>
                <a:gd name="T41" fmla="*/ 2147483647 h 12"/>
                <a:gd name="T42" fmla="*/ 2147483647 w 19"/>
                <a:gd name="T43" fmla="*/ 2147483647 h 12"/>
                <a:gd name="T44" fmla="*/ 2147483647 w 19"/>
                <a:gd name="T45" fmla="*/ 2147483647 h 12"/>
                <a:gd name="T46" fmla="*/ 2147483647 w 19"/>
                <a:gd name="T47" fmla="*/ 2147483647 h 12"/>
                <a:gd name="T48" fmla="*/ 2147483647 w 19"/>
                <a:gd name="T49" fmla="*/ 2147483647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12"/>
                <a:gd name="T77" fmla="*/ 19 w 19"/>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12">
                  <a:moveTo>
                    <a:pt x="16" y="7"/>
                  </a:moveTo>
                  <a:lnTo>
                    <a:pt x="16" y="7"/>
                  </a:lnTo>
                  <a:lnTo>
                    <a:pt x="17" y="6"/>
                  </a:lnTo>
                  <a:lnTo>
                    <a:pt x="19" y="4"/>
                  </a:lnTo>
                  <a:lnTo>
                    <a:pt x="19" y="2"/>
                  </a:lnTo>
                  <a:lnTo>
                    <a:pt x="19" y="0"/>
                  </a:lnTo>
                  <a:lnTo>
                    <a:pt x="18" y="0"/>
                  </a:lnTo>
                  <a:lnTo>
                    <a:pt x="16" y="0"/>
                  </a:lnTo>
                  <a:lnTo>
                    <a:pt x="12" y="2"/>
                  </a:lnTo>
                  <a:lnTo>
                    <a:pt x="9" y="4"/>
                  </a:lnTo>
                  <a:lnTo>
                    <a:pt x="7" y="2"/>
                  </a:lnTo>
                  <a:lnTo>
                    <a:pt x="5" y="1"/>
                  </a:lnTo>
                  <a:lnTo>
                    <a:pt x="3" y="1"/>
                  </a:lnTo>
                  <a:lnTo>
                    <a:pt x="2" y="4"/>
                  </a:lnTo>
                  <a:lnTo>
                    <a:pt x="0" y="7"/>
                  </a:lnTo>
                  <a:lnTo>
                    <a:pt x="2" y="9"/>
                  </a:lnTo>
                  <a:lnTo>
                    <a:pt x="4" y="12"/>
                  </a:lnTo>
                  <a:lnTo>
                    <a:pt x="7" y="12"/>
                  </a:lnTo>
                  <a:lnTo>
                    <a:pt x="9" y="11"/>
                  </a:lnTo>
                  <a:lnTo>
                    <a:pt x="1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5" name="Freeform 1134"/>
            <p:cNvSpPr>
              <a:spLocks/>
            </p:cNvSpPr>
            <p:nvPr/>
          </p:nvSpPr>
          <p:spPr bwMode="auto">
            <a:xfrm>
              <a:off x="6626227" y="1274763"/>
              <a:ext cx="26988" cy="17462"/>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2147483647 w 18"/>
                <a:gd name="T9" fmla="*/ 2147483647 h 11"/>
                <a:gd name="T10" fmla="*/ 2147483647 w 18"/>
                <a:gd name="T11" fmla="*/ 2147483647 h 11"/>
                <a:gd name="T12" fmla="*/ 2147483647 w 18"/>
                <a:gd name="T13" fmla="*/ 2147483647 h 11"/>
                <a:gd name="T14" fmla="*/ 2147483647 w 18"/>
                <a:gd name="T15" fmla="*/ 2147483647 h 11"/>
                <a:gd name="T16" fmla="*/ 0 w 18"/>
                <a:gd name="T17" fmla="*/ 2147483647 h 11"/>
                <a:gd name="T18" fmla="*/ 2147483647 w 18"/>
                <a:gd name="T19" fmla="*/ 2147483647 h 11"/>
                <a:gd name="T20" fmla="*/ 2147483647 w 18"/>
                <a:gd name="T21" fmla="*/ 2147483647 h 11"/>
                <a:gd name="T22" fmla="*/ 2147483647 w 18"/>
                <a:gd name="T23" fmla="*/ 2147483647 h 11"/>
                <a:gd name="T24" fmla="*/ 2147483647 w 18"/>
                <a:gd name="T25" fmla="*/ 0 h 11"/>
                <a:gd name="T26" fmla="*/ 2147483647 w 18"/>
                <a:gd name="T27" fmla="*/ 0 h 11"/>
                <a:gd name="T28" fmla="*/ 2147483647 w 18"/>
                <a:gd name="T29" fmla="*/ 2147483647 h 11"/>
                <a:gd name="T30" fmla="*/ 2147483647 w 18"/>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1"/>
                <a:gd name="T50" fmla="*/ 18 w 18"/>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1">
                  <a:moveTo>
                    <a:pt x="18" y="6"/>
                  </a:moveTo>
                  <a:lnTo>
                    <a:pt x="18" y="8"/>
                  </a:lnTo>
                  <a:lnTo>
                    <a:pt x="16" y="9"/>
                  </a:lnTo>
                  <a:lnTo>
                    <a:pt x="14" y="10"/>
                  </a:lnTo>
                  <a:lnTo>
                    <a:pt x="10" y="10"/>
                  </a:lnTo>
                  <a:lnTo>
                    <a:pt x="5" y="11"/>
                  </a:lnTo>
                  <a:lnTo>
                    <a:pt x="2" y="11"/>
                  </a:lnTo>
                  <a:lnTo>
                    <a:pt x="1" y="11"/>
                  </a:lnTo>
                  <a:lnTo>
                    <a:pt x="0" y="9"/>
                  </a:lnTo>
                  <a:lnTo>
                    <a:pt x="1" y="7"/>
                  </a:lnTo>
                  <a:lnTo>
                    <a:pt x="4" y="3"/>
                  </a:lnTo>
                  <a:lnTo>
                    <a:pt x="6" y="1"/>
                  </a:lnTo>
                  <a:lnTo>
                    <a:pt x="10" y="0"/>
                  </a:lnTo>
                  <a:lnTo>
                    <a:pt x="14" y="0"/>
                  </a:lnTo>
                  <a:lnTo>
                    <a:pt x="16" y="2"/>
                  </a:lnTo>
                  <a:lnTo>
                    <a:pt x="18"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6" name="Freeform 1135"/>
            <p:cNvSpPr>
              <a:spLocks/>
            </p:cNvSpPr>
            <p:nvPr/>
          </p:nvSpPr>
          <p:spPr bwMode="auto">
            <a:xfrm>
              <a:off x="6645275" y="1381129"/>
              <a:ext cx="50800" cy="60325"/>
            </a:xfrm>
            <a:custGeom>
              <a:avLst/>
              <a:gdLst>
                <a:gd name="T0" fmla="*/ 2147483647 w 34"/>
                <a:gd name="T1" fmla="*/ 2147483647 h 38"/>
                <a:gd name="T2" fmla="*/ 2147483647 w 34"/>
                <a:gd name="T3" fmla="*/ 2147483647 h 38"/>
                <a:gd name="T4" fmla="*/ 2147483647 w 34"/>
                <a:gd name="T5" fmla="*/ 0 h 38"/>
                <a:gd name="T6" fmla="*/ 2147483647 w 34"/>
                <a:gd name="T7" fmla="*/ 2147483647 h 38"/>
                <a:gd name="T8" fmla="*/ 0 w 34"/>
                <a:gd name="T9" fmla="*/ 2147483647 h 38"/>
                <a:gd name="T10" fmla="*/ 0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2147483647 h 38"/>
                <a:gd name="T42" fmla="*/ 2147483647 w 34"/>
                <a:gd name="T43" fmla="*/ 2147483647 h 38"/>
                <a:gd name="T44" fmla="*/ 2147483647 w 34"/>
                <a:gd name="T45" fmla="*/ 2147483647 h 38"/>
                <a:gd name="T46" fmla="*/ 2147483647 w 34"/>
                <a:gd name="T47" fmla="*/ 2147483647 h 38"/>
                <a:gd name="T48" fmla="*/ 2147483647 w 34"/>
                <a:gd name="T49" fmla="*/ 2147483647 h 38"/>
                <a:gd name="T50" fmla="*/ 2147483647 w 34"/>
                <a:gd name="T51" fmla="*/ 2147483647 h 38"/>
                <a:gd name="T52" fmla="*/ 2147483647 w 34"/>
                <a:gd name="T53" fmla="*/ 2147483647 h 38"/>
                <a:gd name="T54" fmla="*/ 2147483647 w 34"/>
                <a:gd name="T55" fmla="*/ 2147483647 h 38"/>
                <a:gd name="T56" fmla="*/ 2147483647 w 34"/>
                <a:gd name="T57" fmla="*/ 2147483647 h 38"/>
                <a:gd name="T58" fmla="*/ 2147483647 w 34"/>
                <a:gd name="T59" fmla="*/ 2147483647 h 38"/>
                <a:gd name="T60" fmla="*/ 2147483647 w 34"/>
                <a:gd name="T61" fmla="*/ 2147483647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8"/>
                <a:gd name="T95" fmla="*/ 34 w 34"/>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8">
                  <a:moveTo>
                    <a:pt x="24" y="12"/>
                  </a:moveTo>
                  <a:lnTo>
                    <a:pt x="14" y="6"/>
                  </a:lnTo>
                  <a:lnTo>
                    <a:pt x="3" y="0"/>
                  </a:lnTo>
                  <a:lnTo>
                    <a:pt x="1" y="6"/>
                  </a:lnTo>
                  <a:lnTo>
                    <a:pt x="0" y="12"/>
                  </a:lnTo>
                  <a:lnTo>
                    <a:pt x="0" y="17"/>
                  </a:lnTo>
                  <a:lnTo>
                    <a:pt x="2" y="19"/>
                  </a:lnTo>
                  <a:lnTo>
                    <a:pt x="3" y="22"/>
                  </a:lnTo>
                  <a:lnTo>
                    <a:pt x="7" y="23"/>
                  </a:lnTo>
                  <a:lnTo>
                    <a:pt x="12" y="23"/>
                  </a:lnTo>
                  <a:lnTo>
                    <a:pt x="15" y="23"/>
                  </a:lnTo>
                  <a:lnTo>
                    <a:pt x="16" y="24"/>
                  </a:lnTo>
                  <a:lnTo>
                    <a:pt x="15" y="25"/>
                  </a:lnTo>
                  <a:lnTo>
                    <a:pt x="14" y="30"/>
                  </a:lnTo>
                  <a:lnTo>
                    <a:pt x="14" y="33"/>
                  </a:lnTo>
                  <a:lnTo>
                    <a:pt x="14" y="37"/>
                  </a:lnTo>
                  <a:lnTo>
                    <a:pt x="15" y="37"/>
                  </a:lnTo>
                  <a:lnTo>
                    <a:pt x="17" y="38"/>
                  </a:lnTo>
                  <a:lnTo>
                    <a:pt x="19" y="37"/>
                  </a:lnTo>
                  <a:lnTo>
                    <a:pt x="20" y="36"/>
                  </a:lnTo>
                  <a:lnTo>
                    <a:pt x="20" y="33"/>
                  </a:lnTo>
                  <a:lnTo>
                    <a:pt x="21" y="32"/>
                  </a:lnTo>
                  <a:lnTo>
                    <a:pt x="26" y="29"/>
                  </a:lnTo>
                  <a:lnTo>
                    <a:pt x="31" y="25"/>
                  </a:lnTo>
                  <a:lnTo>
                    <a:pt x="34" y="22"/>
                  </a:lnTo>
                  <a:lnTo>
                    <a:pt x="34" y="19"/>
                  </a:lnTo>
                  <a:lnTo>
                    <a:pt x="34" y="16"/>
                  </a:lnTo>
                  <a:lnTo>
                    <a:pt x="33" y="14"/>
                  </a:lnTo>
                  <a:lnTo>
                    <a:pt x="30" y="13"/>
                  </a:lnTo>
                  <a:lnTo>
                    <a:pt x="26" y="13"/>
                  </a:lnTo>
                  <a:lnTo>
                    <a:pt x="24"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7" name="Freeform 1136"/>
            <p:cNvSpPr>
              <a:spLocks/>
            </p:cNvSpPr>
            <p:nvPr/>
          </p:nvSpPr>
          <p:spPr bwMode="auto">
            <a:xfrm>
              <a:off x="6624639" y="1271592"/>
              <a:ext cx="25400" cy="19050"/>
            </a:xfrm>
            <a:custGeom>
              <a:avLst/>
              <a:gdLst>
                <a:gd name="T0" fmla="*/ 2147483647 w 17"/>
                <a:gd name="T1" fmla="*/ 2147483647 h 12"/>
                <a:gd name="T2" fmla="*/ 2147483647 w 17"/>
                <a:gd name="T3" fmla="*/ 2147483647 h 12"/>
                <a:gd name="T4" fmla="*/ 2147483647 w 17"/>
                <a:gd name="T5" fmla="*/ 2147483647 h 12"/>
                <a:gd name="T6" fmla="*/ 2147483647 w 17"/>
                <a:gd name="T7" fmla="*/ 2147483647 h 12"/>
                <a:gd name="T8" fmla="*/ 2147483647 w 17"/>
                <a:gd name="T9" fmla="*/ 2147483647 h 12"/>
                <a:gd name="T10" fmla="*/ 2147483647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2147483647 h 12"/>
                <a:gd name="T22" fmla="*/ 0 w 17"/>
                <a:gd name="T23" fmla="*/ 2147483647 h 12"/>
                <a:gd name="T24" fmla="*/ 2147483647 w 17"/>
                <a:gd name="T25" fmla="*/ 2147483647 h 12"/>
                <a:gd name="T26" fmla="*/ 2147483647 w 17"/>
                <a:gd name="T27" fmla="*/ 2147483647 h 12"/>
                <a:gd name="T28" fmla="*/ 2147483647 w 17"/>
                <a:gd name="T29" fmla="*/ 2147483647 h 12"/>
                <a:gd name="T30" fmla="*/ 2147483647 w 17"/>
                <a:gd name="T31" fmla="*/ 2147483647 h 12"/>
                <a:gd name="T32" fmla="*/ 2147483647 w 17"/>
                <a:gd name="T33" fmla="*/ 0 h 12"/>
                <a:gd name="T34" fmla="*/ 2147483647 w 17"/>
                <a:gd name="T35" fmla="*/ 0 h 12"/>
                <a:gd name="T36" fmla="*/ 2147483647 w 17"/>
                <a:gd name="T37" fmla="*/ 2147483647 h 12"/>
                <a:gd name="T38" fmla="*/ 2147483647 w 17"/>
                <a:gd name="T39" fmla="*/ 2147483647 h 12"/>
                <a:gd name="T40" fmla="*/ 2147483647 w 17"/>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
                <a:gd name="T64" fmla="*/ 0 h 12"/>
                <a:gd name="T65" fmla="*/ 17 w 17"/>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 h="12">
                  <a:moveTo>
                    <a:pt x="17" y="6"/>
                  </a:moveTo>
                  <a:lnTo>
                    <a:pt x="17" y="6"/>
                  </a:lnTo>
                  <a:lnTo>
                    <a:pt x="17" y="9"/>
                  </a:lnTo>
                  <a:lnTo>
                    <a:pt x="16" y="10"/>
                  </a:lnTo>
                  <a:lnTo>
                    <a:pt x="14" y="11"/>
                  </a:lnTo>
                  <a:lnTo>
                    <a:pt x="10" y="11"/>
                  </a:lnTo>
                  <a:lnTo>
                    <a:pt x="5" y="12"/>
                  </a:lnTo>
                  <a:lnTo>
                    <a:pt x="2" y="12"/>
                  </a:lnTo>
                  <a:lnTo>
                    <a:pt x="1" y="12"/>
                  </a:lnTo>
                  <a:lnTo>
                    <a:pt x="0" y="10"/>
                  </a:lnTo>
                  <a:lnTo>
                    <a:pt x="1" y="8"/>
                  </a:lnTo>
                  <a:lnTo>
                    <a:pt x="3" y="4"/>
                  </a:lnTo>
                  <a:lnTo>
                    <a:pt x="6" y="2"/>
                  </a:lnTo>
                  <a:lnTo>
                    <a:pt x="10" y="0"/>
                  </a:lnTo>
                  <a:lnTo>
                    <a:pt x="14" y="0"/>
                  </a:lnTo>
                  <a:lnTo>
                    <a:pt x="16" y="3"/>
                  </a:lnTo>
                  <a:lnTo>
                    <a:pt x="17"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8" name="Freeform 1137"/>
            <p:cNvSpPr>
              <a:spLocks/>
            </p:cNvSpPr>
            <p:nvPr/>
          </p:nvSpPr>
          <p:spPr bwMode="auto">
            <a:xfrm>
              <a:off x="6642100" y="1379542"/>
              <a:ext cx="52388" cy="60325"/>
            </a:xfrm>
            <a:custGeom>
              <a:avLst/>
              <a:gdLst>
                <a:gd name="T0" fmla="*/ 2147483647 w 35"/>
                <a:gd name="T1" fmla="*/ 2147483647 h 38"/>
                <a:gd name="T2" fmla="*/ 2147483647 w 35"/>
                <a:gd name="T3" fmla="*/ 2147483647 h 38"/>
                <a:gd name="T4" fmla="*/ 2147483647 w 35"/>
                <a:gd name="T5" fmla="*/ 2147483647 h 38"/>
                <a:gd name="T6" fmla="*/ 2147483647 w 35"/>
                <a:gd name="T7" fmla="*/ 0 h 38"/>
                <a:gd name="T8" fmla="*/ 2147483647 w 35"/>
                <a:gd name="T9" fmla="*/ 0 h 38"/>
                <a:gd name="T10" fmla="*/ 2147483647 w 35"/>
                <a:gd name="T11" fmla="*/ 2147483647 h 38"/>
                <a:gd name="T12" fmla="*/ 0 w 35"/>
                <a:gd name="T13" fmla="*/ 2147483647 h 38"/>
                <a:gd name="T14" fmla="*/ 0 w 35"/>
                <a:gd name="T15" fmla="*/ 2147483647 h 38"/>
                <a:gd name="T16" fmla="*/ 2147483647 w 35"/>
                <a:gd name="T17" fmla="*/ 2147483647 h 38"/>
                <a:gd name="T18" fmla="*/ 2147483647 w 35"/>
                <a:gd name="T19" fmla="*/ 2147483647 h 38"/>
                <a:gd name="T20" fmla="*/ 2147483647 w 35"/>
                <a:gd name="T21" fmla="*/ 2147483647 h 38"/>
                <a:gd name="T22" fmla="*/ 2147483647 w 35"/>
                <a:gd name="T23" fmla="*/ 2147483647 h 38"/>
                <a:gd name="T24" fmla="*/ 2147483647 w 35"/>
                <a:gd name="T25" fmla="*/ 2147483647 h 38"/>
                <a:gd name="T26" fmla="*/ 2147483647 w 35"/>
                <a:gd name="T27" fmla="*/ 2147483647 h 38"/>
                <a:gd name="T28" fmla="*/ 2147483647 w 35"/>
                <a:gd name="T29" fmla="*/ 2147483647 h 38"/>
                <a:gd name="T30" fmla="*/ 2147483647 w 35"/>
                <a:gd name="T31" fmla="*/ 2147483647 h 38"/>
                <a:gd name="T32" fmla="*/ 2147483647 w 35"/>
                <a:gd name="T33" fmla="*/ 2147483647 h 38"/>
                <a:gd name="T34" fmla="*/ 2147483647 w 35"/>
                <a:gd name="T35" fmla="*/ 2147483647 h 38"/>
                <a:gd name="T36" fmla="*/ 2147483647 w 35"/>
                <a:gd name="T37" fmla="*/ 2147483647 h 38"/>
                <a:gd name="T38" fmla="*/ 2147483647 w 35"/>
                <a:gd name="T39" fmla="*/ 2147483647 h 38"/>
                <a:gd name="T40" fmla="*/ 2147483647 w 35"/>
                <a:gd name="T41" fmla="*/ 2147483647 h 38"/>
                <a:gd name="T42" fmla="*/ 2147483647 w 35"/>
                <a:gd name="T43" fmla="*/ 2147483647 h 38"/>
                <a:gd name="T44" fmla="*/ 2147483647 w 35"/>
                <a:gd name="T45" fmla="*/ 2147483647 h 38"/>
                <a:gd name="T46" fmla="*/ 2147483647 w 35"/>
                <a:gd name="T47" fmla="*/ 2147483647 h 38"/>
                <a:gd name="T48" fmla="*/ 2147483647 w 35"/>
                <a:gd name="T49" fmla="*/ 2147483647 h 38"/>
                <a:gd name="T50" fmla="*/ 2147483647 w 35"/>
                <a:gd name="T51" fmla="*/ 2147483647 h 38"/>
                <a:gd name="T52" fmla="*/ 2147483647 w 35"/>
                <a:gd name="T53" fmla="*/ 2147483647 h 38"/>
                <a:gd name="T54" fmla="*/ 2147483647 w 35"/>
                <a:gd name="T55" fmla="*/ 2147483647 h 38"/>
                <a:gd name="T56" fmla="*/ 2147483647 w 35"/>
                <a:gd name="T57" fmla="*/ 2147483647 h 38"/>
                <a:gd name="T58" fmla="*/ 2147483647 w 35"/>
                <a:gd name="T59" fmla="*/ 2147483647 h 38"/>
                <a:gd name="T60" fmla="*/ 2147483647 w 35"/>
                <a:gd name="T61" fmla="*/ 2147483647 h 38"/>
                <a:gd name="T62" fmla="*/ 2147483647 w 35"/>
                <a:gd name="T63" fmla="*/ 2147483647 h 38"/>
                <a:gd name="T64" fmla="*/ 2147483647 w 35"/>
                <a:gd name="T65" fmla="*/ 2147483647 h 38"/>
                <a:gd name="T66" fmla="*/ 2147483647 w 35"/>
                <a:gd name="T67" fmla="*/ 2147483647 h 38"/>
                <a:gd name="T68" fmla="*/ 2147483647 w 35"/>
                <a:gd name="T69" fmla="*/ 2147483647 h 38"/>
                <a:gd name="T70" fmla="*/ 2147483647 w 35"/>
                <a:gd name="T71" fmla="*/ 2147483647 h 38"/>
                <a:gd name="T72" fmla="*/ 2147483647 w 35"/>
                <a:gd name="T73" fmla="*/ 2147483647 h 38"/>
                <a:gd name="T74" fmla="*/ 2147483647 w 35"/>
                <a:gd name="T75" fmla="*/ 2147483647 h 38"/>
                <a:gd name="T76" fmla="*/ 2147483647 w 35"/>
                <a:gd name="T77" fmla="*/ 2147483647 h 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5"/>
                <a:gd name="T118" fmla="*/ 0 h 38"/>
                <a:gd name="T119" fmla="*/ 35 w 35"/>
                <a:gd name="T120" fmla="*/ 38 h 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5" h="38">
                  <a:moveTo>
                    <a:pt x="24" y="12"/>
                  </a:moveTo>
                  <a:lnTo>
                    <a:pt x="24" y="12"/>
                  </a:lnTo>
                  <a:lnTo>
                    <a:pt x="14" y="6"/>
                  </a:lnTo>
                  <a:lnTo>
                    <a:pt x="4" y="0"/>
                  </a:lnTo>
                  <a:lnTo>
                    <a:pt x="2" y="6"/>
                  </a:lnTo>
                  <a:lnTo>
                    <a:pt x="0" y="12"/>
                  </a:lnTo>
                  <a:lnTo>
                    <a:pt x="0" y="17"/>
                  </a:lnTo>
                  <a:lnTo>
                    <a:pt x="3" y="19"/>
                  </a:lnTo>
                  <a:lnTo>
                    <a:pt x="4" y="21"/>
                  </a:lnTo>
                  <a:lnTo>
                    <a:pt x="8" y="23"/>
                  </a:lnTo>
                  <a:lnTo>
                    <a:pt x="13" y="23"/>
                  </a:lnTo>
                  <a:lnTo>
                    <a:pt x="16" y="23"/>
                  </a:lnTo>
                  <a:lnTo>
                    <a:pt x="17" y="24"/>
                  </a:lnTo>
                  <a:lnTo>
                    <a:pt x="16" y="25"/>
                  </a:lnTo>
                  <a:lnTo>
                    <a:pt x="14" y="30"/>
                  </a:lnTo>
                  <a:lnTo>
                    <a:pt x="14" y="33"/>
                  </a:lnTo>
                  <a:lnTo>
                    <a:pt x="14" y="37"/>
                  </a:lnTo>
                  <a:lnTo>
                    <a:pt x="16" y="37"/>
                  </a:lnTo>
                  <a:lnTo>
                    <a:pt x="18" y="38"/>
                  </a:lnTo>
                  <a:lnTo>
                    <a:pt x="19" y="37"/>
                  </a:lnTo>
                  <a:lnTo>
                    <a:pt x="21" y="36"/>
                  </a:lnTo>
                  <a:lnTo>
                    <a:pt x="21" y="33"/>
                  </a:lnTo>
                  <a:lnTo>
                    <a:pt x="22" y="32"/>
                  </a:lnTo>
                  <a:lnTo>
                    <a:pt x="27" y="28"/>
                  </a:lnTo>
                  <a:lnTo>
                    <a:pt x="32" y="25"/>
                  </a:lnTo>
                  <a:lnTo>
                    <a:pt x="35" y="21"/>
                  </a:lnTo>
                  <a:lnTo>
                    <a:pt x="35" y="19"/>
                  </a:lnTo>
                  <a:lnTo>
                    <a:pt x="35" y="15"/>
                  </a:lnTo>
                  <a:lnTo>
                    <a:pt x="33" y="14"/>
                  </a:lnTo>
                  <a:lnTo>
                    <a:pt x="31" y="13"/>
                  </a:lnTo>
                  <a:lnTo>
                    <a:pt x="27" y="13"/>
                  </a:lnTo>
                  <a:lnTo>
                    <a:pt x="24"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39" name="Freeform 1138"/>
            <p:cNvSpPr>
              <a:spLocks/>
            </p:cNvSpPr>
            <p:nvPr/>
          </p:nvSpPr>
          <p:spPr bwMode="auto">
            <a:xfrm>
              <a:off x="6657978" y="1284288"/>
              <a:ext cx="104775" cy="58737"/>
            </a:xfrm>
            <a:custGeom>
              <a:avLst/>
              <a:gdLst>
                <a:gd name="T0" fmla="*/ 2147483647 w 72"/>
                <a:gd name="T1" fmla="*/ 2147483647 h 37"/>
                <a:gd name="T2" fmla="*/ 2147483647 w 72"/>
                <a:gd name="T3" fmla="*/ 2147483647 h 37"/>
                <a:gd name="T4" fmla="*/ 2147483647 w 72"/>
                <a:gd name="T5" fmla="*/ 2147483647 h 37"/>
                <a:gd name="T6" fmla="*/ 2147483647 w 72"/>
                <a:gd name="T7" fmla="*/ 0 h 37"/>
                <a:gd name="T8" fmla="*/ 2147483647 w 72"/>
                <a:gd name="T9" fmla="*/ 0 h 37"/>
                <a:gd name="T10" fmla="*/ 2147483647 w 72"/>
                <a:gd name="T11" fmla="*/ 2147483647 h 37"/>
                <a:gd name="T12" fmla="*/ 2147483647 w 72"/>
                <a:gd name="T13" fmla="*/ 2147483647 h 37"/>
                <a:gd name="T14" fmla="*/ 2147483647 w 72"/>
                <a:gd name="T15" fmla="*/ 2147483647 h 37"/>
                <a:gd name="T16" fmla="*/ 2147483647 w 72"/>
                <a:gd name="T17" fmla="*/ 2147483647 h 37"/>
                <a:gd name="T18" fmla="*/ 2147483647 w 72"/>
                <a:gd name="T19" fmla="*/ 2147483647 h 37"/>
                <a:gd name="T20" fmla="*/ 2147483647 w 72"/>
                <a:gd name="T21" fmla="*/ 2147483647 h 37"/>
                <a:gd name="T22" fmla="*/ 2147483647 w 72"/>
                <a:gd name="T23" fmla="*/ 2147483647 h 37"/>
                <a:gd name="T24" fmla="*/ 2147483647 w 72"/>
                <a:gd name="T25" fmla="*/ 2147483647 h 37"/>
                <a:gd name="T26" fmla="*/ 2147483647 w 72"/>
                <a:gd name="T27" fmla="*/ 2147483647 h 37"/>
                <a:gd name="T28" fmla="*/ 2147483647 w 72"/>
                <a:gd name="T29" fmla="*/ 2147483647 h 37"/>
                <a:gd name="T30" fmla="*/ 2147483647 w 72"/>
                <a:gd name="T31" fmla="*/ 2147483647 h 37"/>
                <a:gd name="T32" fmla="*/ 2147483647 w 72"/>
                <a:gd name="T33" fmla="*/ 2147483647 h 37"/>
                <a:gd name="T34" fmla="*/ 2147483647 w 72"/>
                <a:gd name="T35" fmla="*/ 2147483647 h 37"/>
                <a:gd name="T36" fmla="*/ 2147483647 w 72"/>
                <a:gd name="T37" fmla="*/ 2147483647 h 37"/>
                <a:gd name="T38" fmla="*/ 2147483647 w 72"/>
                <a:gd name="T39" fmla="*/ 2147483647 h 37"/>
                <a:gd name="T40" fmla="*/ 2147483647 w 72"/>
                <a:gd name="T41" fmla="*/ 2147483647 h 37"/>
                <a:gd name="T42" fmla="*/ 2147483647 w 72"/>
                <a:gd name="T43" fmla="*/ 2147483647 h 37"/>
                <a:gd name="T44" fmla="*/ 2147483647 w 72"/>
                <a:gd name="T45" fmla="*/ 2147483647 h 37"/>
                <a:gd name="T46" fmla="*/ 2147483647 w 72"/>
                <a:gd name="T47" fmla="*/ 2147483647 h 37"/>
                <a:gd name="T48" fmla="*/ 0 w 72"/>
                <a:gd name="T49" fmla="*/ 2147483647 h 37"/>
                <a:gd name="T50" fmla="*/ 2147483647 w 72"/>
                <a:gd name="T51" fmla="*/ 2147483647 h 37"/>
                <a:gd name="T52" fmla="*/ 2147483647 w 72"/>
                <a:gd name="T53" fmla="*/ 2147483647 h 37"/>
                <a:gd name="T54" fmla="*/ 2147483647 w 72"/>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2"/>
                <a:gd name="T85" fmla="*/ 0 h 37"/>
                <a:gd name="T86" fmla="*/ 72 w 72"/>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2" h="37">
                  <a:moveTo>
                    <a:pt x="72" y="15"/>
                  </a:moveTo>
                  <a:lnTo>
                    <a:pt x="68" y="4"/>
                  </a:lnTo>
                  <a:lnTo>
                    <a:pt x="65" y="1"/>
                  </a:lnTo>
                  <a:lnTo>
                    <a:pt x="63" y="0"/>
                  </a:lnTo>
                  <a:lnTo>
                    <a:pt x="60" y="0"/>
                  </a:lnTo>
                  <a:lnTo>
                    <a:pt x="58" y="1"/>
                  </a:lnTo>
                  <a:lnTo>
                    <a:pt x="56" y="2"/>
                  </a:lnTo>
                  <a:lnTo>
                    <a:pt x="54" y="4"/>
                  </a:lnTo>
                  <a:lnTo>
                    <a:pt x="53" y="4"/>
                  </a:lnTo>
                  <a:lnTo>
                    <a:pt x="44" y="4"/>
                  </a:lnTo>
                  <a:lnTo>
                    <a:pt x="40" y="5"/>
                  </a:lnTo>
                  <a:lnTo>
                    <a:pt x="36" y="8"/>
                  </a:lnTo>
                  <a:lnTo>
                    <a:pt x="34" y="8"/>
                  </a:lnTo>
                  <a:lnTo>
                    <a:pt x="31" y="8"/>
                  </a:lnTo>
                  <a:lnTo>
                    <a:pt x="30" y="9"/>
                  </a:lnTo>
                  <a:lnTo>
                    <a:pt x="23" y="10"/>
                  </a:lnTo>
                  <a:lnTo>
                    <a:pt x="18" y="10"/>
                  </a:lnTo>
                  <a:lnTo>
                    <a:pt x="13" y="11"/>
                  </a:lnTo>
                  <a:lnTo>
                    <a:pt x="12" y="13"/>
                  </a:lnTo>
                  <a:lnTo>
                    <a:pt x="12" y="15"/>
                  </a:lnTo>
                  <a:lnTo>
                    <a:pt x="11" y="20"/>
                  </a:lnTo>
                  <a:lnTo>
                    <a:pt x="8" y="23"/>
                  </a:lnTo>
                  <a:lnTo>
                    <a:pt x="6" y="27"/>
                  </a:lnTo>
                  <a:lnTo>
                    <a:pt x="2" y="30"/>
                  </a:lnTo>
                  <a:lnTo>
                    <a:pt x="0" y="33"/>
                  </a:lnTo>
                  <a:lnTo>
                    <a:pt x="2" y="34"/>
                  </a:lnTo>
                  <a:lnTo>
                    <a:pt x="6" y="37"/>
                  </a:lnTo>
                  <a:lnTo>
                    <a:pt x="72"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0" name="Freeform 1139"/>
            <p:cNvSpPr>
              <a:spLocks/>
            </p:cNvSpPr>
            <p:nvPr/>
          </p:nvSpPr>
          <p:spPr bwMode="auto">
            <a:xfrm>
              <a:off x="6659567" y="1304925"/>
              <a:ext cx="128587" cy="96838"/>
            </a:xfrm>
            <a:custGeom>
              <a:avLst/>
              <a:gdLst>
                <a:gd name="T0" fmla="*/ 2147483647 w 87"/>
                <a:gd name="T1" fmla="*/ 2147483647 h 61"/>
                <a:gd name="T2" fmla="*/ 2147483647 w 87"/>
                <a:gd name="T3" fmla="*/ 2147483647 h 61"/>
                <a:gd name="T4" fmla="*/ 2147483647 w 87"/>
                <a:gd name="T5" fmla="*/ 2147483647 h 61"/>
                <a:gd name="T6" fmla="*/ 0 w 87"/>
                <a:gd name="T7" fmla="*/ 2147483647 h 61"/>
                <a:gd name="T8" fmla="*/ 2147483647 w 87"/>
                <a:gd name="T9" fmla="*/ 2147483647 h 61"/>
                <a:gd name="T10" fmla="*/ 2147483647 w 87"/>
                <a:gd name="T11" fmla="*/ 2147483647 h 61"/>
                <a:gd name="T12" fmla="*/ 2147483647 w 87"/>
                <a:gd name="T13" fmla="*/ 2147483647 h 61"/>
                <a:gd name="T14" fmla="*/ 2147483647 w 87"/>
                <a:gd name="T15" fmla="*/ 2147483647 h 61"/>
                <a:gd name="T16" fmla="*/ 2147483647 w 87"/>
                <a:gd name="T17" fmla="*/ 2147483647 h 61"/>
                <a:gd name="T18" fmla="*/ 2147483647 w 87"/>
                <a:gd name="T19" fmla="*/ 2147483647 h 61"/>
                <a:gd name="T20" fmla="*/ 2147483647 w 87"/>
                <a:gd name="T21" fmla="*/ 2147483647 h 61"/>
                <a:gd name="T22" fmla="*/ 2147483647 w 87"/>
                <a:gd name="T23" fmla="*/ 2147483647 h 61"/>
                <a:gd name="T24" fmla="*/ 2147483647 w 87"/>
                <a:gd name="T25" fmla="*/ 2147483647 h 61"/>
                <a:gd name="T26" fmla="*/ 2147483647 w 87"/>
                <a:gd name="T27" fmla="*/ 2147483647 h 61"/>
                <a:gd name="T28" fmla="*/ 2147483647 w 87"/>
                <a:gd name="T29" fmla="*/ 2147483647 h 61"/>
                <a:gd name="T30" fmla="*/ 2147483647 w 87"/>
                <a:gd name="T31" fmla="*/ 2147483647 h 61"/>
                <a:gd name="T32" fmla="*/ 2147483647 w 87"/>
                <a:gd name="T33" fmla="*/ 2147483647 h 61"/>
                <a:gd name="T34" fmla="*/ 2147483647 w 87"/>
                <a:gd name="T35" fmla="*/ 2147483647 h 61"/>
                <a:gd name="T36" fmla="*/ 2147483647 w 87"/>
                <a:gd name="T37" fmla="*/ 2147483647 h 61"/>
                <a:gd name="T38" fmla="*/ 2147483647 w 87"/>
                <a:gd name="T39" fmla="*/ 2147483647 h 61"/>
                <a:gd name="T40" fmla="*/ 2147483647 w 87"/>
                <a:gd name="T41" fmla="*/ 2147483647 h 61"/>
                <a:gd name="T42" fmla="*/ 2147483647 w 87"/>
                <a:gd name="T43" fmla="*/ 2147483647 h 61"/>
                <a:gd name="T44" fmla="*/ 2147483647 w 87"/>
                <a:gd name="T45" fmla="*/ 2147483647 h 61"/>
                <a:gd name="T46" fmla="*/ 2147483647 w 87"/>
                <a:gd name="T47" fmla="*/ 2147483647 h 61"/>
                <a:gd name="T48" fmla="*/ 2147483647 w 87"/>
                <a:gd name="T49" fmla="*/ 2147483647 h 61"/>
                <a:gd name="T50" fmla="*/ 2147483647 w 87"/>
                <a:gd name="T51" fmla="*/ 2147483647 h 61"/>
                <a:gd name="T52" fmla="*/ 2147483647 w 87"/>
                <a:gd name="T53" fmla="*/ 2147483647 h 61"/>
                <a:gd name="T54" fmla="*/ 2147483647 w 87"/>
                <a:gd name="T55" fmla="*/ 2147483647 h 61"/>
                <a:gd name="T56" fmla="*/ 2147483647 w 87"/>
                <a:gd name="T57" fmla="*/ 2147483647 h 61"/>
                <a:gd name="T58" fmla="*/ 2147483647 w 87"/>
                <a:gd name="T59" fmla="*/ 2147483647 h 61"/>
                <a:gd name="T60" fmla="*/ 2147483647 w 87"/>
                <a:gd name="T61" fmla="*/ 2147483647 h 61"/>
                <a:gd name="T62" fmla="*/ 2147483647 w 87"/>
                <a:gd name="T63" fmla="*/ 2147483647 h 61"/>
                <a:gd name="T64" fmla="*/ 2147483647 w 87"/>
                <a:gd name="T65" fmla="*/ 2147483647 h 61"/>
                <a:gd name="T66" fmla="*/ 2147483647 w 87"/>
                <a:gd name="T67" fmla="*/ 2147483647 h 61"/>
                <a:gd name="T68" fmla="*/ 2147483647 w 87"/>
                <a:gd name="T69" fmla="*/ 2147483647 h 61"/>
                <a:gd name="T70" fmla="*/ 2147483647 w 87"/>
                <a:gd name="T71" fmla="*/ 2147483647 h 61"/>
                <a:gd name="T72" fmla="*/ 2147483647 w 87"/>
                <a:gd name="T73" fmla="*/ 2147483647 h 61"/>
                <a:gd name="T74" fmla="*/ 2147483647 w 87"/>
                <a:gd name="T75" fmla="*/ 2147483647 h 61"/>
                <a:gd name="T76" fmla="*/ 2147483647 w 87"/>
                <a:gd name="T77" fmla="*/ 2147483647 h 61"/>
                <a:gd name="T78" fmla="*/ 2147483647 w 87"/>
                <a:gd name="T79" fmla="*/ 2147483647 h 61"/>
                <a:gd name="T80" fmla="*/ 2147483647 w 87"/>
                <a:gd name="T81" fmla="*/ 2147483647 h 61"/>
                <a:gd name="T82" fmla="*/ 2147483647 w 87"/>
                <a:gd name="T83" fmla="*/ 2147483647 h 61"/>
                <a:gd name="T84" fmla="*/ 2147483647 w 87"/>
                <a:gd name="T85" fmla="*/ 0 h 61"/>
                <a:gd name="T86" fmla="*/ 2147483647 w 87"/>
                <a:gd name="T87" fmla="*/ 2147483647 h 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7"/>
                <a:gd name="T133" fmla="*/ 0 h 61"/>
                <a:gd name="T134" fmla="*/ 87 w 87"/>
                <a:gd name="T135" fmla="*/ 61 h 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7" h="61">
                  <a:moveTo>
                    <a:pt x="4" y="26"/>
                  </a:moveTo>
                  <a:lnTo>
                    <a:pt x="4" y="29"/>
                  </a:lnTo>
                  <a:lnTo>
                    <a:pt x="1" y="32"/>
                  </a:lnTo>
                  <a:lnTo>
                    <a:pt x="0" y="35"/>
                  </a:lnTo>
                  <a:lnTo>
                    <a:pt x="1" y="36"/>
                  </a:lnTo>
                  <a:lnTo>
                    <a:pt x="2" y="38"/>
                  </a:lnTo>
                  <a:lnTo>
                    <a:pt x="16" y="46"/>
                  </a:lnTo>
                  <a:lnTo>
                    <a:pt x="23" y="51"/>
                  </a:lnTo>
                  <a:lnTo>
                    <a:pt x="28" y="55"/>
                  </a:lnTo>
                  <a:lnTo>
                    <a:pt x="34" y="60"/>
                  </a:lnTo>
                  <a:lnTo>
                    <a:pt x="37" y="61"/>
                  </a:lnTo>
                  <a:lnTo>
                    <a:pt x="38" y="61"/>
                  </a:lnTo>
                  <a:lnTo>
                    <a:pt x="39" y="59"/>
                  </a:lnTo>
                  <a:lnTo>
                    <a:pt x="43" y="55"/>
                  </a:lnTo>
                  <a:lnTo>
                    <a:pt x="48" y="53"/>
                  </a:lnTo>
                  <a:lnTo>
                    <a:pt x="53" y="52"/>
                  </a:lnTo>
                  <a:lnTo>
                    <a:pt x="58" y="52"/>
                  </a:lnTo>
                  <a:lnTo>
                    <a:pt x="59" y="49"/>
                  </a:lnTo>
                  <a:lnTo>
                    <a:pt x="62" y="49"/>
                  </a:lnTo>
                  <a:lnTo>
                    <a:pt x="65" y="48"/>
                  </a:lnTo>
                  <a:lnTo>
                    <a:pt x="68" y="46"/>
                  </a:lnTo>
                  <a:lnTo>
                    <a:pt x="72" y="45"/>
                  </a:lnTo>
                  <a:lnTo>
                    <a:pt x="77" y="43"/>
                  </a:lnTo>
                  <a:lnTo>
                    <a:pt x="81" y="42"/>
                  </a:lnTo>
                  <a:lnTo>
                    <a:pt x="82" y="40"/>
                  </a:lnTo>
                  <a:lnTo>
                    <a:pt x="81" y="39"/>
                  </a:lnTo>
                  <a:lnTo>
                    <a:pt x="78" y="32"/>
                  </a:lnTo>
                  <a:lnTo>
                    <a:pt x="77" y="28"/>
                  </a:lnTo>
                  <a:lnTo>
                    <a:pt x="78" y="26"/>
                  </a:lnTo>
                  <a:lnTo>
                    <a:pt x="80" y="24"/>
                  </a:lnTo>
                  <a:lnTo>
                    <a:pt x="82" y="24"/>
                  </a:lnTo>
                  <a:lnTo>
                    <a:pt x="85" y="24"/>
                  </a:lnTo>
                  <a:lnTo>
                    <a:pt x="87" y="24"/>
                  </a:lnTo>
                  <a:lnTo>
                    <a:pt x="87" y="22"/>
                  </a:lnTo>
                  <a:lnTo>
                    <a:pt x="86" y="21"/>
                  </a:lnTo>
                  <a:lnTo>
                    <a:pt x="84" y="20"/>
                  </a:lnTo>
                  <a:lnTo>
                    <a:pt x="80" y="19"/>
                  </a:lnTo>
                  <a:lnTo>
                    <a:pt x="77" y="17"/>
                  </a:lnTo>
                  <a:lnTo>
                    <a:pt x="76" y="16"/>
                  </a:lnTo>
                  <a:lnTo>
                    <a:pt x="75" y="14"/>
                  </a:lnTo>
                  <a:lnTo>
                    <a:pt x="73" y="7"/>
                  </a:lnTo>
                  <a:lnTo>
                    <a:pt x="72" y="3"/>
                  </a:lnTo>
                  <a:lnTo>
                    <a:pt x="70" y="0"/>
                  </a:lnTo>
                  <a:lnTo>
                    <a:pt x="4"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1" name="Freeform 1140"/>
            <p:cNvSpPr>
              <a:spLocks/>
            </p:cNvSpPr>
            <p:nvPr/>
          </p:nvSpPr>
          <p:spPr bwMode="auto">
            <a:xfrm>
              <a:off x="6656392" y="1281117"/>
              <a:ext cx="103187" cy="60325"/>
            </a:xfrm>
            <a:custGeom>
              <a:avLst/>
              <a:gdLst>
                <a:gd name="T0" fmla="*/ 2147483647 w 71"/>
                <a:gd name="T1" fmla="*/ 2147483647 h 38"/>
                <a:gd name="T2" fmla="*/ 2147483647 w 71"/>
                <a:gd name="T3" fmla="*/ 2147483647 h 38"/>
                <a:gd name="T4" fmla="*/ 2147483647 w 71"/>
                <a:gd name="T5" fmla="*/ 2147483647 h 38"/>
                <a:gd name="T6" fmla="*/ 2147483647 w 71"/>
                <a:gd name="T7" fmla="*/ 2147483647 h 38"/>
                <a:gd name="T8" fmla="*/ 2147483647 w 71"/>
                <a:gd name="T9" fmla="*/ 0 h 38"/>
                <a:gd name="T10" fmla="*/ 2147483647 w 71"/>
                <a:gd name="T11" fmla="*/ 0 h 38"/>
                <a:gd name="T12" fmla="*/ 2147483647 w 71"/>
                <a:gd name="T13" fmla="*/ 0 h 38"/>
                <a:gd name="T14" fmla="*/ 2147483647 w 71"/>
                <a:gd name="T15" fmla="*/ 2147483647 h 38"/>
                <a:gd name="T16" fmla="*/ 2147483647 w 71"/>
                <a:gd name="T17" fmla="*/ 2147483647 h 38"/>
                <a:gd name="T18" fmla="*/ 2147483647 w 71"/>
                <a:gd name="T19" fmla="*/ 2147483647 h 38"/>
                <a:gd name="T20" fmla="*/ 2147483647 w 71"/>
                <a:gd name="T21" fmla="*/ 2147483647 h 38"/>
                <a:gd name="T22" fmla="*/ 2147483647 w 71"/>
                <a:gd name="T23" fmla="*/ 2147483647 h 38"/>
                <a:gd name="T24" fmla="*/ 2147483647 w 71"/>
                <a:gd name="T25" fmla="*/ 2147483647 h 38"/>
                <a:gd name="T26" fmla="*/ 2147483647 w 71"/>
                <a:gd name="T27" fmla="*/ 2147483647 h 38"/>
                <a:gd name="T28" fmla="*/ 2147483647 w 71"/>
                <a:gd name="T29" fmla="*/ 2147483647 h 38"/>
                <a:gd name="T30" fmla="*/ 2147483647 w 71"/>
                <a:gd name="T31" fmla="*/ 2147483647 h 38"/>
                <a:gd name="T32" fmla="*/ 2147483647 w 71"/>
                <a:gd name="T33" fmla="*/ 2147483647 h 38"/>
                <a:gd name="T34" fmla="*/ 2147483647 w 71"/>
                <a:gd name="T35" fmla="*/ 2147483647 h 38"/>
                <a:gd name="T36" fmla="*/ 2147483647 w 71"/>
                <a:gd name="T37" fmla="*/ 2147483647 h 38"/>
                <a:gd name="T38" fmla="*/ 2147483647 w 71"/>
                <a:gd name="T39" fmla="*/ 2147483647 h 38"/>
                <a:gd name="T40" fmla="*/ 2147483647 w 71"/>
                <a:gd name="T41" fmla="*/ 2147483647 h 38"/>
                <a:gd name="T42" fmla="*/ 2147483647 w 71"/>
                <a:gd name="T43" fmla="*/ 2147483647 h 38"/>
                <a:gd name="T44" fmla="*/ 2147483647 w 71"/>
                <a:gd name="T45" fmla="*/ 2147483647 h 38"/>
                <a:gd name="T46" fmla="*/ 2147483647 w 71"/>
                <a:gd name="T47" fmla="*/ 2147483647 h 38"/>
                <a:gd name="T48" fmla="*/ 2147483647 w 71"/>
                <a:gd name="T49" fmla="*/ 2147483647 h 38"/>
                <a:gd name="T50" fmla="*/ 2147483647 w 71"/>
                <a:gd name="T51" fmla="*/ 2147483647 h 38"/>
                <a:gd name="T52" fmla="*/ 2147483647 w 71"/>
                <a:gd name="T53" fmla="*/ 2147483647 h 38"/>
                <a:gd name="T54" fmla="*/ 2147483647 w 71"/>
                <a:gd name="T55" fmla="*/ 2147483647 h 38"/>
                <a:gd name="T56" fmla="*/ 2147483647 w 71"/>
                <a:gd name="T57" fmla="*/ 2147483647 h 38"/>
                <a:gd name="T58" fmla="*/ 2147483647 w 71"/>
                <a:gd name="T59" fmla="*/ 2147483647 h 38"/>
                <a:gd name="T60" fmla="*/ 2147483647 w 71"/>
                <a:gd name="T61" fmla="*/ 2147483647 h 38"/>
                <a:gd name="T62" fmla="*/ 2147483647 w 71"/>
                <a:gd name="T63" fmla="*/ 2147483647 h 38"/>
                <a:gd name="T64" fmla="*/ 2147483647 w 71"/>
                <a:gd name="T65" fmla="*/ 2147483647 h 38"/>
                <a:gd name="T66" fmla="*/ 2147483647 w 71"/>
                <a:gd name="T67" fmla="*/ 2147483647 h 38"/>
                <a:gd name="T68" fmla="*/ 0 w 71"/>
                <a:gd name="T69" fmla="*/ 2147483647 h 38"/>
                <a:gd name="T70" fmla="*/ 2147483647 w 71"/>
                <a:gd name="T71" fmla="*/ 2147483647 h 38"/>
                <a:gd name="T72" fmla="*/ 2147483647 w 71"/>
                <a:gd name="T73" fmla="*/ 2147483647 h 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38"/>
                <a:gd name="T113" fmla="*/ 71 w 71"/>
                <a:gd name="T114" fmla="*/ 38 h 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38">
                  <a:moveTo>
                    <a:pt x="71" y="16"/>
                  </a:moveTo>
                  <a:lnTo>
                    <a:pt x="71" y="16"/>
                  </a:lnTo>
                  <a:lnTo>
                    <a:pt x="68" y="5"/>
                  </a:lnTo>
                  <a:lnTo>
                    <a:pt x="65" y="2"/>
                  </a:lnTo>
                  <a:lnTo>
                    <a:pt x="62" y="0"/>
                  </a:lnTo>
                  <a:lnTo>
                    <a:pt x="60" y="0"/>
                  </a:lnTo>
                  <a:lnTo>
                    <a:pt x="57" y="2"/>
                  </a:lnTo>
                  <a:lnTo>
                    <a:pt x="56" y="3"/>
                  </a:lnTo>
                  <a:lnTo>
                    <a:pt x="54" y="5"/>
                  </a:lnTo>
                  <a:lnTo>
                    <a:pt x="52" y="5"/>
                  </a:lnTo>
                  <a:lnTo>
                    <a:pt x="43" y="5"/>
                  </a:lnTo>
                  <a:lnTo>
                    <a:pt x="40" y="6"/>
                  </a:lnTo>
                  <a:lnTo>
                    <a:pt x="36" y="9"/>
                  </a:lnTo>
                  <a:lnTo>
                    <a:pt x="33" y="9"/>
                  </a:lnTo>
                  <a:lnTo>
                    <a:pt x="31" y="9"/>
                  </a:lnTo>
                  <a:lnTo>
                    <a:pt x="29" y="10"/>
                  </a:lnTo>
                  <a:lnTo>
                    <a:pt x="23" y="11"/>
                  </a:lnTo>
                  <a:lnTo>
                    <a:pt x="18" y="11"/>
                  </a:lnTo>
                  <a:lnTo>
                    <a:pt x="13" y="12"/>
                  </a:lnTo>
                  <a:lnTo>
                    <a:pt x="12" y="13"/>
                  </a:lnTo>
                  <a:lnTo>
                    <a:pt x="12" y="16"/>
                  </a:lnTo>
                  <a:lnTo>
                    <a:pt x="10" y="21"/>
                  </a:lnTo>
                  <a:lnTo>
                    <a:pt x="8" y="24"/>
                  </a:lnTo>
                  <a:lnTo>
                    <a:pt x="5" y="28"/>
                  </a:lnTo>
                  <a:lnTo>
                    <a:pt x="1" y="31"/>
                  </a:lnTo>
                  <a:lnTo>
                    <a:pt x="0" y="34"/>
                  </a:lnTo>
                  <a:lnTo>
                    <a:pt x="1" y="35"/>
                  </a:lnTo>
                  <a:lnTo>
                    <a:pt x="5" y="38"/>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2" name="Freeform 1141"/>
            <p:cNvSpPr>
              <a:spLocks/>
            </p:cNvSpPr>
            <p:nvPr/>
          </p:nvSpPr>
          <p:spPr bwMode="auto">
            <a:xfrm>
              <a:off x="6657976" y="1301751"/>
              <a:ext cx="128588" cy="98425"/>
            </a:xfrm>
            <a:custGeom>
              <a:avLst/>
              <a:gdLst>
                <a:gd name="T0" fmla="*/ 2147483647 w 88"/>
                <a:gd name="T1" fmla="*/ 2147483647 h 62"/>
                <a:gd name="T2" fmla="*/ 2147483647 w 88"/>
                <a:gd name="T3" fmla="*/ 2147483647 h 62"/>
                <a:gd name="T4" fmla="*/ 2147483647 w 88"/>
                <a:gd name="T5" fmla="*/ 2147483647 h 62"/>
                <a:gd name="T6" fmla="*/ 2147483647 w 88"/>
                <a:gd name="T7" fmla="*/ 2147483647 h 62"/>
                <a:gd name="T8" fmla="*/ 0 w 88"/>
                <a:gd name="T9" fmla="*/ 2147483647 h 62"/>
                <a:gd name="T10" fmla="*/ 2147483647 w 88"/>
                <a:gd name="T11" fmla="*/ 2147483647 h 62"/>
                <a:gd name="T12" fmla="*/ 2147483647 w 88"/>
                <a:gd name="T13" fmla="*/ 2147483647 h 62"/>
                <a:gd name="T14" fmla="*/ 2147483647 w 88"/>
                <a:gd name="T15" fmla="*/ 2147483647 h 62"/>
                <a:gd name="T16" fmla="*/ 2147483647 w 88"/>
                <a:gd name="T17" fmla="*/ 2147483647 h 62"/>
                <a:gd name="T18" fmla="*/ 2147483647 w 88"/>
                <a:gd name="T19" fmla="*/ 2147483647 h 62"/>
                <a:gd name="T20" fmla="*/ 2147483647 w 88"/>
                <a:gd name="T21" fmla="*/ 2147483647 h 62"/>
                <a:gd name="T22" fmla="*/ 2147483647 w 88"/>
                <a:gd name="T23" fmla="*/ 2147483647 h 62"/>
                <a:gd name="T24" fmla="*/ 2147483647 w 88"/>
                <a:gd name="T25" fmla="*/ 2147483647 h 62"/>
                <a:gd name="T26" fmla="*/ 2147483647 w 88"/>
                <a:gd name="T27" fmla="*/ 2147483647 h 62"/>
                <a:gd name="T28" fmla="*/ 2147483647 w 88"/>
                <a:gd name="T29" fmla="*/ 2147483647 h 62"/>
                <a:gd name="T30" fmla="*/ 2147483647 w 88"/>
                <a:gd name="T31" fmla="*/ 2147483647 h 62"/>
                <a:gd name="T32" fmla="*/ 2147483647 w 88"/>
                <a:gd name="T33" fmla="*/ 2147483647 h 62"/>
                <a:gd name="T34" fmla="*/ 2147483647 w 88"/>
                <a:gd name="T35" fmla="*/ 2147483647 h 62"/>
                <a:gd name="T36" fmla="*/ 2147483647 w 88"/>
                <a:gd name="T37" fmla="*/ 2147483647 h 62"/>
                <a:gd name="T38" fmla="*/ 2147483647 w 88"/>
                <a:gd name="T39" fmla="*/ 2147483647 h 62"/>
                <a:gd name="T40" fmla="*/ 2147483647 w 88"/>
                <a:gd name="T41" fmla="*/ 2147483647 h 62"/>
                <a:gd name="T42" fmla="*/ 2147483647 w 88"/>
                <a:gd name="T43" fmla="*/ 2147483647 h 62"/>
                <a:gd name="T44" fmla="*/ 2147483647 w 88"/>
                <a:gd name="T45" fmla="*/ 2147483647 h 62"/>
                <a:gd name="T46" fmla="*/ 2147483647 w 88"/>
                <a:gd name="T47" fmla="*/ 2147483647 h 62"/>
                <a:gd name="T48" fmla="*/ 2147483647 w 88"/>
                <a:gd name="T49" fmla="*/ 2147483647 h 62"/>
                <a:gd name="T50" fmla="*/ 2147483647 w 88"/>
                <a:gd name="T51" fmla="*/ 2147483647 h 62"/>
                <a:gd name="T52" fmla="*/ 2147483647 w 88"/>
                <a:gd name="T53" fmla="*/ 2147483647 h 62"/>
                <a:gd name="T54" fmla="*/ 2147483647 w 88"/>
                <a:gd name="T55" fmla="*/ 2147483647 h 62"/>
                <a:gd name="T56" fmla="*/ 2147483647 w 88"/>
                <a:gd name="T57" fmla="*/ 2147483647 h 62"/>
                <a:gd name="T58" fmla="*/ 2147483647 w 88"/>
                <a:gd name="T59" fmla="*/ 2147483647 h 62"/>
                <a:gd name="T60" fmla="*/ 2147483647 w 88"/>
                <a:gd name="T61" fmla="*/ 2147483647 h 62"/>
                <a:gd name="T62" fmla="*/ 2147483647 w 88"/>
                <a:gd name="T63" fmla="*/ 2147483647 h 62"/>
                <a:gd name="T64" fmla="*/ 2147483647 w 88"/>
                <a:gd name="T65" fmla="*/ 2147483647 h 62"/>
                <a:gd name="T66" fmla="*/ 2147483647 w 88"/>
                <a:gd name="T67" fmla="*/ 2147483647 h 62"/>
                <a:gd name="T68" fmla="*/ 2147483647 w 88"/>
                <a:gd name="T69" fmla="*/ 2147483647 h 62"/>
                <a:gd name="T70" fmla="*/ 2147483647 w 88"/>
                <a:gd name="T71" fmla="*/ 2147483647 h 62"/>
                <a:gd name="T72" fmla="*/ 2147483647 w 88"/>
                <a:gd name="T73" fmla="*/ 2147483647 h 62"/>
                <a:gd name="T74" fmla="*/ 2147483647 w 88"/>
                <a:gd name="T75" fmla="*/ 2147483647 h 62"/>
                <a:gd name="T76" fmla="*/ 2147483647 w 88"/>
                <a:gd name="T77" fmla="*/ 2147483647 h 62"/>
                <a:gd name="T78" fmla="*/ 2147483647 w 88"/>
                <a:gd name="T79" fmla="*/ 2147483647 h 62"/>
                <a:gd name="T80" fmla="*/ 2147483647 w 88"/>
                <a:gd name="T81" fmla="*/ 2147483647 h 62"/>
                <a:gd name="T82" fmla="*/ 2147483647 w 88"/>
                <a:gd name="T83" fmla="*/ 2147483647 h 62"/>
                <a:gd name="T84" fmla="*/ 2147483647 w 88"/>
                <a:gd name="T85" fmla="*/ 2147483647 h 62"/>
                <a:gd name="T86" fmla="*/ 2147483647 w 88"/>
                <a:gd name="T87" fmla="*/ 2147483647 h 62"/>
                <a:gd name="T88" fmla="*/ 2147483647 w 88"/>
                <a:gd name="T89" fmla="*/ 2147483647 h 62"/>
                <a:gd name="T90" fmla="*/ 2147483647 w 88"/>
                <a:gd name="T91" fmla="*/ 2147483647 h 62"/>
                <a:gd name="T92" fmla="*/ 2147483647 w 88"/>
                <a:gd name="T93" fmla="*/ 2147483647 h 62"/>
                <a:gd name="T94" fmla="*/ 2147483647 w 88"/>
                <a:gd name="T95" fmla="*/ 2147483647 h 62"/>
                <a:gd name="T96" fmla="*/ 2147483647 w 88"/>
                <a:gd name="T97" fmla="*/ 2147483647 h 62"/>
                <a:gd name="T98" fmla="*/ 2147483647 w 88"/>
                <a:gd name="T99" fmla="*/ 2147483647 h 62"/>
                <a:gd name="T100" fmla="*/ 2147483647 w 88"/>
                <a:gd name="T101" fmla="*/ 2147483647 h 62"/>
                <a:gd name="T102" fmla="*/ 2147483647 w 88"/>
                <a:gd name="T103" fmla="*/ 2147483647 h 62"/>
                <a:gd name="T104" fmla="*/ 2147483647 w 88"/>
                <a:gd name="T105" fmla="*/ 2147483647 h 62"/>
                <a:gd name="T106" fmla="*/ 2147483647 w 88"/>
                <a:gd name="T107" fmla="*/ 2147483647 h 62"/>
                <a:gd name="T108" fmla="*/ 2147483647 w 88"/>
                <a:gd name="T109" fmla="*/ 2147483647 h 62"/>
                <a:gd name="T110" fmla="*/ 2147483647 w 88"/>
                <a:gd name="T111" fmla="*/ 2147483647 h 62"/>
                <a:gd name="T112" fmla="*/ 2147483647 w 88"/>
                <a:gd name="T113" fmla="*/ 2147483647 h 62"/>
                <a:gd name="T114" fmla="*/ 2147483647 w 88"/>
                <a:gd name="T115" fmla="*/ 2147483647 h 62"/>
                <a:gd name="T116" fmla="*/ 2147483647 w 88"/>
                <a:gd name="T117" fmla="*/ 0 h 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62"/>
                <a:gd name="T179" fmla="*/ 88 w 88"/>
                <a:gd name="T180" fmla="*/ 62 h 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62">
                  <a:moveTo>
                    <a:pt x="4" y="26"/>
                  </a:moveTo>
                  <a:lnTo>
                    <a:pt x="4" y="26"/>
                  </a:lnTo>
                  <a:lnTo>
                    <a:pt x="4" y="30"/>
                  </a:lnTo>
                  <a:lnTo>
                    <a:pt x="2" y="32"/>
                  </a:lnTo>
                  <a:lnTo>
                    <a:pt x="0" y="36"/>
                  </a:lnTo>
                  <a:lnTo>
                    <a:pt x="2" y="37"/>
                  </a:lnTo>
                  <a:lnTo>
                    <a:pt x="3" y="38"/>
                  </a:lnTo>
                  <a:lnTo>
                    <a:pt x="17" y="47"/>
                  </a:lnTo>
                  <a:lnTo>
                    <a:pt x="23" y="51"/>
                  </a:lnTo>
                  <a:lnTo>
                    <a:pt x="28" y="56"/>
                  </a:lnTo>
                  <a:lnTo>
                    <a:pt x="35" y="61"/>
                  </a:lnTo>
                  <a:lnTo>
                    <a:pt x="37" y="62"/>
                  </a:lnTo>
                  <a:lnTo>
                    <a:pt x="39" y="62"/>
                  </a:lnTo>
                  <a:lnTo>
                    <a:pt x="40" y="60"/>
                  </a:lnTo>
                  <a:lnTo>
                    <a:pt x="44" y="56"/>
                  </a:lnTo>
                  <a:lnTo>
                    <a:pt x="49" y="54"/>
                  </a:lnTo>
                  <a:lnTo>
                    <a:pt x="54" y="53"/>
                  </a:lnTo>
                  <a:lnTo>
                    <a:pt x="59" y="53"/>
                  </a:lnTo>
                  <a:lnTo>
                    <a:pt x="60" y="50"/>
                  </a:lnTo>
                  <a:lnTo>
                    <a:pt x="63" y="50"/>
                  </a:lnTo>
                  <a:lnTo>
                    <a:pt x="65" y="49"/>
                  </a:lnTo>
                  <a:lnTo>
                    <a:pt x="69" y="47"/>
                  </a:lnTo>
                  <a:lnTo>
                    <a:pt x="73" y="45"/>
                  </a:lnTo>
                  <a:lnTo>
                    <a:pt x="78" y="44"/>
                  </a:lnTo>
                  <a:lnTo>
                    <a:pt x="82" y="43"/>
                  </a:lnTo>
                  <a:lnTo>
                    <a:pt x="83" y="41"/>
                  </a:lnTo>
                  <a:lnTo>
                    <a:pt x="82" y="40"/>
                  </a:lnTo>
                  <a:lnTo>
                    <a:pt x="79" y="32"/>
                  </a:lnTo>
                  <a:lnTo>
                    <a:pt x="78" y="29"/>
                  </a:lnTo>
                  <a:lnTo>
                    <a:pt x="79" y="26"/>
                  </a:lnTo>
                  <a:lnTo>
                    <a:pt x="80" y="25"/>
                  </a:lnTo>
                  <a:lnTo>
                    <a:pt x="83" y="25"/>
                  </a:lnTo>
                  <a:lnTo>
                    <a:pt x="86" y="25"/>
                  </a:lnTo>
                  <a:lnTo>
                    <a:pt x="88" y="25"/>
                  </a:lnTo>
                  <a:lnTo>
                    <a:pt x="88" y="23"/>
                  </a:lnTo>
                  <a:lnTo>
                    <a:pt x="87" y="22"/>
                  </a:lnTo>
                  <a:lnTo>
                    <a:pt x="84" y="21"/>
                  </a:lnTo>
                  <a:lnTo>
                    <a:pt x="80" y="19"/>
                  </a:lnTo>
                  <a:lnTo>
                    <a:pt x="78" y="18"/>
                  </a:lnTo>
                  <a:lnTo>
                    <a:pt x="77" y="17"/>
                  </a:lnTo>
                  <a:lnTo>
                    <a:pt x="75" y="15"/>
                  </a:lnTo>
                  <a:lnTo>
                    <a:pt x="74" y="8"/>
                  </a:lnTo>
                  <a:lnTo>
                    <a:pt x="73" y="4"/>
                  </a:lnTo>
                  <a:lnTo>
                    <a:pt x="70"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3" name="Freeform 1142"/>
            <p:cNvSpPr>
              <a:spLocks/>
            </p:cNvSpPr>
            <p:nvPr/>
          </p:nvSpPr>
          <p:spPr bwMode="auto">
            <a:xfrm>
              <a:off x="6707188" y="1382717"/>
              <a:ext cx="169862" cy="117475"/>
            </a:xfrm>
            <a:custGeom>
              <a:avLst/>
              <a:gdLst>
                <a:gd name="T0" fmla="*/ 2147483647 w 116"/>
                <a:gd name="T1" fmla="*/ 2147483647 h 74"/>
                <a:gd name="T2" fmla="*/ 2147483647 w 116"/>
                <a:gd name="T3" fmla="*/ 2147483647 h 74"/>
                <a:gd name="T4" fmla="*/ 2147483647 w 116"/>
                <a:gd name="T5" fmla="*/ 2147483647 h 74"/>
                <a:gd name="T6" fmla="*/ 2147483647 w 116"/>
                <a:gd name="T7" fmla="*/ 2147483647 h 74"/>
                <a:gd name="T8" fmla="*/ 2147483647 w 116"/>
                <a:gd name="T9" fmla="*/ 2147483647 h 74"/>
                <a:gd name="T10" fmla="*/ 2147483647 w 116"/>
                <a:gd name="T11" fmla="*/ 2147483647 h 74"/>
                <a:gd name="T12" fmla="*/ 2147483647 w 116"/>
                <a:gd name="T13" fmla="*/ 2147483647 h 74"/>
                <a:gd name="T14" fmla="*/ 2147483647 w 116"/>
                <a:gd name="T15" fmla="*/ 2147483647 h 74"/>
                <a:gd name="T16" fmla="*/ 2147483647 w 116"/>
                <a:gd name="T17" fmla="*/ 2147483647 h 74"/>
                <a:gd name="T18" fmla="*/ 2147483647 w 116"/>
                <a:gd name="T19" fmla="*/ 2147483647 h 74"/>
                <a:gd name="T20" fmla="*/ 2147483647 w 116"/>
                <a:gd name="T21" fmla="*/ 0 h 74"/>
                <a:gd name="T22" fmla="*/ 2147483647 w 116"/>
                <a:gd name="T23" fmla="*/ 2147483647 h 74"/>
                <a:gd name="T24" fmla="*/ 2147483647 w 116"/>
                <a:gd name="T25" fmla="*/ 2147483647 h 74"/>
                <a:gd name="T26" fmla="*/ 0 w 116"/>
                <a:gd name="T27" fmla="*/ 2147483647 h 74"/>
                <a:gd name="T28" fmla="*/ 0 w 116"/>
                <a:gd name="T29" fmla="*/ 2147483647 h 74"/>
                <a:gd name="T30" fmla="*/ 2147483647 w 116"/>
                <a:gd name="T31" fmla="*/ 2147483647 h 74"/>
                <a:gd name="T32" fmla="*/ 2147483647 w 116"/>
                <a:gd name="T33" fmla="*/ 2147483647 h 74"/>
                <a:gd name="T34" fmla="*/ 2147483647 w 116"/>
                <a:gd name="T35" fmla="*/ 2147483647 h 74"/>
                <a:gd name="T36" fmla="*/ 2147483647 w 116"/>
                <a:gd name="T37" fmla="*/ 2147483647 h 74"/>
                <a:gd name="T38" fmla="*/ 2147483647 w 116"/>
                <a:gd name="T39" fmla="*/ 2147483647 h 74"/>
                <a:gd name="T40" fmla="*/ 2147483647 w 116"/>
                <a:gd name="T41" fmla="*/ 2147483647 h 74"/>
                <a:gd name="T42" fmla="*/ 2147483647 w 116"/>
                <a:gd name="T43" fmla="*/ 2147483647 h 74"/>
                <a:gd name="T44" fmla="*/ 2147483647 w 116"/>
                <a:gd name="T45" fmla="*/ 2147483647 h 74"/>
                <a:gd name="T46" fmla="*/ 2147483647 w 116"/>
                <a:gd name="T47" fmla="*/ 2147483647 h 74"/>
                <a:gd name="T48" fmla="*/ 2147483647 w 116"/>
                <a:gd name="T49" fmla="*/ 2147483647 h 74"/>
                <a:gd name="T50" fmla="*/ 2147483647 w 116"/>
                <a:gd name="T51" fmla="*/ 2147483647 h 74"/>
                <a:gd name="T52" fmla="*/ 2147483647 w 116"/>
                <a:gd name="T53" fmla="*/ 2147483647 h 74"/>
                <a:gd name="T54" fmla="*/ 2147483647 w 116"/>
                <a:gd name="T55" fmla="*/ 2147483647 h 74"/>
                <a:gd name="T56" fmla="*/ 2147483647 w 116"/>
                <a:gd name="T57" fmla="*/ 2147483647 h 74"/>
                <a:gd name="T58" fmla="*/ 2147483647 w 116"/>
                <a:gd name="T59" fmla="*/ 2147483647 h 74"/>
                <a:gd name="T60" fmla="*/ 2147483647 w 116"/>
                <a:gd name="T61" fmla="*/ 2147483647 h 74"/>
                <a:gd name="T62" fmla="*/ 2147483647 w 116"/>
                <a:gd name="T63" fmla="*/ 2147483647 h 74"/>
                <a:gd name="T64" fmla="*/ 2147483647 w 116"/>
                <a:gd name="T65" fmla="*/ 2147483647 h 74"/>
                <a:gd name="T66" fmla="*/ 2147483647 w 116"/>
                <a:gd name="T67" fmla="*/ 2147483647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74"/>
                <a:gd name="T104" fmla="*/ 116 w 116"/>
                <a:gd name="T105" fmla="*/ 74 h 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74">
                  <a:moveTo>
                    <a:pt x="116" y="18"/>
                  </a:moveTo>
                  <a:lnTo>
                    <a:pt x="114" y="13"/>
                  </a:lnTo>
                  <a:lnTo>
                    <a:pt x="110" y="10"/>
                  </a:lnTo>
                  <a:lnTo>
                    <a:pt x="100" y="3"/>
                  </a:lnTo>
                  <a:lnTo>
                    <a:pt x="97" y="3"/>
                  </a:lnTo>
                  <a:lnTo>
                    <a:pt x="95" y="2"/>
                  </a:lnTo>
                  <a:lnTo>
                    <a:pt x="92" y="3"/>
                  </a:lnTo>
                  <a:lnTo>
                    <a:pt x="90" y="4"/>
                  </a:lnTo>
                  <a:lnTo>
                    <a:pt x="88" y="9"/>
                  </a:lnTo>
                  <a:lnTo>
                    <a:pt x="87" y="13"/>
                  </a:lnTo>
                  <a:lnTo>
                    <a:pt x="85" y="17"/>
                  </a:lnTo>
                  <a:lnTo>
                    <a:pt x="83" y="19"/>
                  </a:lnTo>
                  <a:lnTo>
                    <a:pt x="81" y="21"/>
                  </a:lnTo>
                  <a:lnTo>
                    <a:pt x="80" y="19"/>
                  </a:lnTo>
                  <a:lnTo>
                    <a:pt x="80" y="18"/>
                  </a:lnTo>
                  <a:lnTo>
                    <a:pt x="80" y="16"/>
                  </a:lnTo>
                  <a:lnTo>
                    <a:pt x="82" y="13"/>
                  </a:lnTo>
                  <a:lnTo>
                    <a:pt x="82" y="11"/>
                  </a:lnTo>
                  <a:lnTo>
                    <a:pt x="82" y="9"/>
                  </a:lnTo>
                  <a:lnTo>
                    <a:pt x="81" y="6"/>
                  </a:lnTo>
                  <a:lnTo>
                    <a:pt x="81" y="4"/>
                  </a:lnTo>
                  <a:lnTo>
                    <a:pt x="82" y="0"/>
                  </a:lnTo>
                  <a:lnTo>
                    <a:pt x="60" y="3"/>
                  </a:lnTo>
                  <a:lnTo>
                    <a:pt x="39" y="9"/>
                  </a:lnTo>
                  <a:lnTo>
                    <a:pt x="29" y="12"/>
                  </a:lnTo>
                  <a:lnTo>
                    <a:pt x="19" y="17"/>
                  </a:lnTo>
                  <a:lnTo>
                    <a:pt x="8" y="22"/>
                  </a:lnTo>
                  <a:lnTo>
                    <a:pt x="0" y="28"/>
                  </a:lnTo>
                  <a:lnTo>
                    <a:pt x="0" y="29"/>
                  </a:lnTo>
                  <a:lnTo>
                    <a:pt x="0" y="30"/>
                  </a:lnTo>
                  <a:lnTo>
                    <a:pt x="0" y="35"/>
                  </a:lnTo>
                  <a:lnTo>
                    <a:pt x="2" y="38"/>
                  </a:lnTo>
                  <a:lnTo>
                    <a:pt x="6" y="42"/>
                  </a:lnTo>
                  <a:lnTo>
                    <a:pt x="13" y="45"/>
                  </a:lnTo>
                  <a:lnTo>
                    <a:pt x="20" y="51"/>
                  </a:lnTo>
                  <a:lnTo>
                    <a:pt x="26" y="57"/>
                  </a:lnTo>
                  <a:lnTo>
                    <a:pt x="34" y="62"/>
                  </a:lnTo>
                  <a:lnTo>
                    <a:pt x="35" y="63"/>
                  </a:lnTo>
                  <a:lnTo>
                    <a:pt x="38" y="62"/>
                  </a:lnTo>
                  <a:lnTo>
                    <a:pt x="41" y="58"/>
                  </a:lnTo>
                  <a:lnTo>
                    <a:pt x="43" y="58"/>
                  </a:lnTo>
                  <a:lnTo>
                    <a:pt x="45" y="58"/>
                  </a:lnTo>
                  <a:lnTo>
                    <a:pt x="52" y="61"/>
                  </a:lnTo>
                  <a:lnTo>
                    <a:pt x="57" y="63"/>
                  </a:lnTo>
                  <a:lnTo>
                    <a:pt x="58" y="64"/>
                  </a:lnTo>
                  <a:lnTo>
                    <a:pt x="60" y="66"/>
                  </a:lnTo>
                  <a:lnTo>
                    <a:pt x="63" y="68"/>
                  </a:lnTo>
                  <a:lnTo>
                    <a:pt x="64" y="70"/>
                  </a:lnTo>
                  <a:lnTo>
                    <a:pt x="67" y="72"/>
                  </a:lnTo>
                  <a:lnTo>
                    <a:pt x="68" y="73"/>
                  </a:lnTo>
                  <a:lnTo>
                    <a:pt x="78" y="74"/>
                  </a:lnTo>
                  <a:lnTo>
                    <a:pt x="88" y="74"/>
                  </a:lnTo>
                  <a:lnTo>
                    <a:pt x="91" y="73"/>
                  </a:lnTo>
                  <a:lnTo>
                    <a:pt x="92" y="70"/>
                  </a:lnTo>
                  <a:lnTo>
                    <a:pt x="99" y="67"/>
                  </a:lnTo>
                  <a:lnTo>
                    <a:pt x="105" y="63"/>
                  </a:lnTo>
                  <a:lnTo>
                    <a:pt x="109" y="62"/>
                  </a:lnTo>
                  <a:lnTo>
                    <a:pt x="110" y="60"/>
                  </a:lnTo>
                  <a:lnTo>
                    <a:pt x="111" y="56"/>
                  </a:lnTo>
                  <a:lnTo>
                    <a:pt x="111" y="54"/>
                  </a:lnTo>
                  <a:lnTo>
                    <a:pt x="109" y="50"/>
                  </a:lnTo>
                  <a:lnTo>
                    <a:pt x="106" y="47"/>
                  </a:lnTo>
                  <a:lnTo>
                    <a:pt x="104" y="43"/>
                  </a:lnTo>
                  <a:lnTo>
                    <a:pt x="104" y="41"/>
                  </a:lnTo>
                  <a:lnTo>
                    <a:pt x="105" y="39"/>
                  </a:lnTo>
                  <a:lnTo>
                    <a:pt x="110" y="35"/>
                  </a:lnTo>
                  <a:lnTo>
                    <a:pt x="113" y="30"/>
                  </a:lnTo>
                  <a:lnTo>
                    <a:pt x="115" y="24"/>
                  </a:lnTo>
                  <a:lnTo>
                    <a:pt x="116" y="1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4" name="Freeform 1143"/>
            <p:cNvSpPr>
              <a:spLocks/>
            </p:cNvSpPr>
            <p:nvPr/>
          </p:nvSpPr>
          <p:spPr bwMode="auto">
            <a:xfrm>
              <a:off x="7029450" y="1498601"/>
              <a:ext cx="31750" cy="19050"/>
            </a:xfrm>
            <a:custGeom>
              <a:avLst/>
              <a:gdLst>
                <a:gd name="T0" fmla="*/ 2147483647 w 22"/>
                <a:gd name="T1" fmla="*/ 0 h 12"/>
                <a:gd name="T2" fmla="*/ 2147483647 w 22"/>
                <a:gd name="T3" fmla="*/ 0 h 12"/>
                <a:gd name="T4" fmla="*/ 2147483647 w 22"/>
                <a:gd name="T5" fmla="*/ 2147483647 h 12"/>
                <a:gd name="T6" fmla="*/ 2147483647 w 22"/>
                <a:gd name="T7" fmla="*/ 2147483647 h 12"/>
                <a:gd name="T8" fmla="*/ 2147483647 w 22"/>
                <a:gd name="T9" fmla="*/ 2147483647 h 12"/>
                <a:gd name="T10" fmla="*/ 2147483647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0 w 22"/>
                <a:gd name="T25" fmla="*/ 2147483647 h 12"/>
                <a:gd name="T26" fmla="*/ 2147483647 w 22"/>
                <a:gd name="T27" fmla="*/ 2147483647 h 12"/>
                <a:gd name="T28" fmla="*/ 2147483647 w 22"/>
                <a:gd name="T29" fmla="*/ 2147483647 h 12"/>
                <a:gd name="T30" fmla="*/ 2147483647 w 22"/>
                <a:gd name="T31" fmla="*/ 0 h 12"/>
                <a:gd name="T32" fmla="*/ 2147483647 w 22"/>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2"/>
                <a:gd name="T53" fmla="*/ 22 w 2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2">
                  <a:moveTo>
                    <a:pt x="13" y="0"/>
                  </a:moveTo>
                  <a:lnTo>
                    <a:pt x="17" y="0"/>
                  </a:lnTo>
                  <a:lnTo>
                    <a:pt x="20" y="2"/>
                  </a:lnTo>
                  <a:lnTo>
                    <a:pt x="21" y="3"/>
                  </a:lnTo>
                  <a:lnTo>
                    <a:pt x="22" y="6"/>
                  </a:lnTo>
                  <a:lnTo>
                    <a:pt x="22" y="9"/>
                  </a:lnTo>
                  <a:lnTo>
                    <a:pt x="21" y="10"/>
                  </a:lnTo>
                  <a:lnTo>
                    <a:pt x="18" y="12"/>
                  </a:lnTo>
                  <a:lnTo>
                    <a:pt x="12" y="12"/>
                  </a:lnTo>
                  <a:lnTo>
                    <a:pt x="4" y="10"/>
                  </a:lnTo>
                  <a:lnTo>
                    <a:pt x="2" y="10"/>
                  </a:lnTo>
                  <a:lnTo>
                    <a:pt x="2" y="9"/>
                  </a:lnTo>
                  <a:lnTo>
                    <a:pt x="0" y="6"/>
                  </a:lnTo>
                  <a:lnTo>
                    <a:pt x="3" y="2"/>
                  </a:lnTo>
                  <a:lnTo>
                    <a:pt x="6" y="1"/>
                  </a:lnTo>
                  <a:lnTo>
                    <a:pt x="9" y="0"/>
                  </a:lnTo>
                  <a:lnTo>
                    <a:pt x="1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5" name="Freeform 1144"/>
            <p:cNvSpPr>
              <a:spLocks/>
            </p:cNvSpPr>
            <p:nvPr/>
          </p:nvSpPr>
          <p:spPr bwMode="auto">
            <a:xfrm>
              <a:off x="6704014" y="1381128"/>
              <a:ext cx="171450" cy="117475"/>
            </a:xfrm>
            <a:custGeom>
              <a:avLst/>
              <a:gdLst>
                <a:gd name="T0" fmla="*/ 2147483647 w 117"/>
                <a:gd name="T1" fmla="*/ 2147483647 h 74"/>
                <a:gd name="T2" fmla="*/ 2147483647 w 117"/>
                <a:gd name="T3" fmla="*/ 2147483647 h 74"/>
                <a:gd name="T4" fmla="*/ 2147483647 w 117"/>
                <a:gd name="T5" fmla="*/ 2147483647 h 74"/>
                <a:gd name="T6" fmla="*/ 2147483647 w 117"/>
                <a:gd name="T7" fmla="*/ 2147483647 h 74"/>
                <a:gd name="T8" fmla="*/ 2147483647 w 117"/>
                <a:gd name="T9" fmla="*/ 2147483647 h 74"/>
                <a:gd name="T10" fmla="*/ 2147483647 w 117"/>
                <a:gd name="T11" fmla="*/ 2147483647 h 74"/>
                <a:gd name="T12" fmla="*/ 2147483647 w 117"/>
                <a:gd name="T13" fmla="*/ 2147483647 h 74"/>
                <a:gd name="T14" fmla="*/ 2147483647 w 117"/>
                <a:gd name="T15" fmla="*/ 2147483647 h 74"/>
                <a:gd name="T16" fmla="*/ 2147483647 w 117"/>
                <a:gd name="T17" fmla="*/ 2147483647 h 74"/>
                <a:gd name="T18" fmla="*/ 2147483647 w 117"/>
                <a:gd name="T19" fmla="*/ 2147483647 h 74"/>
                <a:gd name="T20" fmla="*/ 2147483647 w 117"/>
                <a:gd name="T21" fmla="*/ 2147483647 h 74"/>
                <a:gd name="T22" fmla="*/ 2147483647 w 117"/>
                <a:gd name="T23" fmla="*/ 2147483647 h 74"/>
                <a:gd name="T24" fmla="*/ 2147483647 w 117"/>
                <a:gd name="T25" fmla="*/ 2147483647 h 74"/>
                <a:gd name="T26" fmla="*/ 2147483647 w 117"/>
                <a:gd name="T27" fmla="*/ 0 h 74"/>
                <a:gd name="T28" fmla="*/ 2147483647 w 117"/>
                <a:gd name="T29" fmla="*/ 2147483647 h 74"/>
                <a:gd name="T30" fmla="*/ 2147483647 w 117"/>
                <a:gd name="T31" fmla="*/ 2147483647 h 74"/>
                <a:gd name="T32" fmla="*/ 2147483647 w 117"/>
                <a:gd name="T33" fmla="*/ 2147483647 h 74"/>
                <a:gd name="T34" fmla="*/ 0 w 117"/>
                <a:gd name="T35" fmla="*/ 2147483647 h 74"/>
                <a:gd name="T36" fmla="*/ 0 w 117"/>
                <a:gd name="T37" fmla="*/ 2147483647 h 74"/>
                <a:gd name="T38" fmla="*/ 2147483647 w 117"/>
                <a:gd name="T39" fmla="*/ 2147483647 h 74"/>
                <a:gd name="T40" fmla="*/ 2147483647 w 117"/>
                <a:gd name="T41" fmla="*/ 2147483647 h 74"/>
                <a:gd name="T42" fmla="*/ 2147483647 w 117"/>
                <a:gd name="T43" fmla="*/ 2147483647 h 74"/>
                <a:gd name="T44" fmla="*/ 2147483647 w 117"/>
                <a:gd name="T45" fmla="*/ 2147483647 h 74"/>
                <a:gd name="T46" fmla="*/ 2147483647 w 117"/>
                <a:gd name="T47" fmla="*/ 2147483647 h 74"/>
                <a:gd name="T48" fmla="*/ 2147483647 w 117"/>
                <a:gd name="T49" fmla="*/ 2147483647 h 74"/>
                <a:gd name="T50" fmla="*/ 2147483647 w 117"/>
                <a:gd name="T51" fmla="*/ 2147483647 h 74"/>
                <a:gd name="T52" fmla="*/ 2147483647 w 117"/>
                <a:gd name="T53" fmla="*/ 2147483647 h 74"/>
                <a:gd name="T54" fmla="*/ 2147483647 w 117"/>
                <a:gd name="T55" fmla="*/ 2147483647 h 74"/>
                <a:gd name="T56" fmla="*/ 2147483647 w 117"/>
                <a:gd name="T57" fmla="*/ 2147483647 h 74"/>
                <a:gd name="T58" fmla="*/ 2147483647 w 117"/>
                <a:gd name="T59" fmla="*/ 2147483647 h 74"/>
                <a:gd name="T60" fmla="*/ 2147483647 w 117"/>
                <a:gd name="T61" fmla="*/ 2147483647 h 74"/>
                <a:gd name="T62" fmla="*/ 2147483647 w 117"/>
                <a:gd name="T63" fmla="*/ 2147483647 h 74"/>
                <a:gd name="T64" fmla="*/ 2147483647 w 117"/>
                <a:gd name="T65" fmla="*/ 2147483647 h 74"/>
                <a:gd name="T66" fmla="*/ 2147483647 w 117"/>
                <a:gd name="T67" fmla="*/ 2147483647 h 74"/>
                <a:gd name="T68" fmla="*/ 2147483647 w 117"/>
                <a:gd name="T69" fmla="*/ 2147483647 h 74"/>
                <a:gd name="T70" fmla="*/ 2147483647 w 117"/>
                <a:gd name="T71" fmla="*/ 2147483647 h 74"/>
                <a:gd name="T72" fmla="*/ 2147483647 w 117"/>
                <a:gd name="T73" fmla="*/ 2147483647 h 74"/>
                <a:gd name="T74" fmla="*/ 2147483647 w 117"/>
                <a:gd name="T75" fmla="*/ 2147483647 h 74"/>
                <a:gd name="T76" fmla="*/ 2147483647 w 117"/>
                <a:gd name="T77" fmla="*/ 2147483647 h 74"/>
                <a:gd name="T78" fmla="*/ 2147483647 w 117"/>
                <a:gd name="T79" fmla="*/ 2147483647 h 74"/>
                <a:gd name="T80" fmla="*/ 2147483647 w 117"/>
                <a:gd name="T81" fmla="*/ 2147483647 h 74"/>
                <a:gd name="T82" fmla="*/ 2147483647 w 117"/>
                <a:gd name="T83" fmla="*/ 2147483647 h 74"/>
                <a:gd name="T84" fmla="*/ 2147483647 w 117"/>
                <a:gd name="T85" fmla="*/ 2147483647 h 74"/>
                <a:gd name="T86" fmla="*/ 2147483647 w 117"/>
                <a:gd name="T87" fmla="*/ 2147483647 h 7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
                <a:gd name="T133" fmla="*/ 0 h 74"/>
                <a:gd name="T134" fmla="*/ 117 w 117"/>
                <a:gd name="T135" fmla="*/ 74 h 7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 h="74">
                  <a:moveTo>
                    <a:pt x="117" y="18"/>
                  </a:moveTo>
                  <a:lnTo>
                    <a:pt x="117" y="18"/>
                  </a:lnTo>
                  <a:lnTo>
                    <a:pt x="115" y="13"/>
                  </a:lnTo>
                  <a:lnTo>
                    <a:pt x="111" y="10"/>
                  </a:lnTo>
                  <a:lnTo>
                    <a:pt x="101" y="3"/>
                  </a:lnTo>
                  <a:lnTo>
                    <a:pt x="98" y="3"/>
                  </a:lnTo>
                  <a:lnTo>
                    <a:pt x="95" y="1"/>
                  </a:lnTo>
                  <a:lnTo>
                    <a:pt x="93" y="3"/>
                  </a:lnTo>
                  <a:lnTo>
                    <a:pt x="90" y="4"/>
                  </a:lnTo>
                  <a:lnTo>
                    <a:pt x="89" y="8"/>
                  </a:lnTo>
                  <a:lnTo>
                    <a:pt x="88" y="13"/>
                  </a:lnTo>
                  <a:lnTo>
                    <a:pt x="85" y="17"/>
                  </a:lnTo>
                  <a:lnTo>
                    <a:pt x="84" y="19"/>
                  </a:lnTo>
                  <a:lnTo>
                    <a:pt x="82" y="20"/>
                  </a:lnTo>
                  <a:lnTo>
                    <a:pt x="80" y="19"/>
                  </a:lnTo>
                  <a:lnTo>
                    <a:pt x="80" y="18"/>
                  </a:lnTo>
                  <a:lnTo>
                    <a:pt x="80" y="16"/>
                  </a:lnTo>
                  <a:lnTo>
                    <a:pt x="83" y="13"/>
                  </a:lnTo>
                  <a:lnTo>
                    <a:pt x="83" y="11"/>
                  </a:lnTo>
                  <a:lnTo>
                    <a:pt x="83" y="8"/>
                  </a:lnTo>
                  <a:lnTo>
                    <a:pt x="82" y="6"/>
                  </a:lnTo>
                  <a:lnTo>
                    <a:pt x="82" y="4"/>
                  </a:lnTo>
                  <a:lnTo>
                    <a:pt x="83" y="0"/>
                  </a:lnTo>
                  <a:lnTo>
                    <a:pt x="61" y="3"/>
                  </a:lnTo>
                  <a:lnTo>
                    <a:pt x="40" y="8"/>
                  </a:lnTo>
                  <a:lnTo>
                    <a:pt x="29" y="12"/>
                  </a:lnTo>
                  <a:lnTo>
                    <a:pt x="19" y="17"/>
                  </a:lnTo>
                  <a:lnTo>
                    <a:pt x="9" y="22"/>
                  </a:lnTo>
                  <a:lnTo>
                    <a:pt x="0" y="27"/>
                  </a:lnTo>
                  <a:lnTo>
                    <a:pt x="0" y="29"/>
                  </a:lnTo>
                  <a:lnTo>
                    <a:pt x="0" y="30"/>
                  </a:lnTo>
                  <a:lnTo>
                    <a:pt x="0" y="35"/>
                  </a:lnTo>
                  <a:lnTo>
                    <a:pt x="3" y="38"/>
                  </a:lnTo>
                  <a:lnTo>
                    <a:pt x="7" y="42"/>
                  </a:lnTo>
                  <a:lnTo>
                    <a:pt x="14" y="45"/>
                  </a:lnTo>
                  <a:lnTo>
                    <a:pt x="21" y="51"/>
                  </a:lnTo>
                  <a:lnTo>
                    <a:pt x="27" y="57"/>
                  </a:lnTo>
                  <a:lnTo>
                    <a:pt x="35" y="62"/>
                  </a:lnTo>
                  <a:lnTo>
                    <a:pt x="36" y="63"/>
                  </a:lnTo>
                  <a:lnTo>
                    <a:pt x="38" y="62"/>
                  </a:lnTo>
                  <a:lnTo>
                    <a:pt x="42" y="58"/>
                  </a:lnTo>
                  <a:lnTo>
                    <a:pt x="43" y="58"/>
                  </a:lnTo>
                  <a:lnTo>
                    <a:pt x="46" y="58"/>
                  </a:lnTo>
                  <a:lnTo>
                    <a:pt x="52" y="61"/>
                  </a:lnTo>
                  <a:lnTo>
                    <a:pt x="57" y="63"/>
                  </a:lnTo>
                  <a:lnTo>
                    <a:pt x="59" y="64"/>
                  </a:lnTo>
                  <a:lnTo>
                    <a:pt x="61" y="65"/>
                  </a:lnTo>
                  <a:lnTo>
                    <a:pt x="64" y="68"/>
                  </a:lnTo>
                  <a:lnTo>
                    <a:pt x="65" y="70"/>
                  </a:lnTo>
                  <a:lnTo>
                    <a:pt x="68" y="71"/>
                  </a:lnTo>
                  <a:lnTo>
                    <a:pt x="69" y="73"/>
                  </a:lnTo>
                  <a:lnTo>
                    <a:pt x="79" y="74"/>
                  </a:lnTo>
                  <a:lnTo>
                    <a:pt x="89" y="74"/>
                  </a:lnTo>
                  <a:lnTo>
                    <a:pt x="92" y="73"/>
                  </a:lnTo>
                  <a:lnTo>
                    <a:pt x="93" y="70"/>
                  </a:lnTo>
                  <a:lnTo>
                    <a:pt x="99" y="67"/>
                  </a:lnTo>
                  <a:lnTo>
                    <a:pt x="106" y="63"/>
                  </a:lnTo>
                  <a:lnTo>
                    <a:pt x="109" y="62"/>
                  </a:lnTo>
                  <a:lnTo>
                    <a:pt x="111" y="59"/>
                  </a:lnTo>
                  <a:lnTo>
                    <a:pt x="112" y="56"/>
                  </a:lnTo>
                  <a:lnTo>
                    <a:pt x="112" y="54"/>
                  </a:lnTo>
                  <a:lnTo>
                    <a:pt x="109" y="50"/>
                  </a:lnTo>
                  <a:lnTo>
                    <a:pt x="107" y="46"/>
                  </a:lnTo>
                  <a:lnTo>
                    <a:pt x="104" y="43"/>
                  </a:lnTo>
                  <a:lnTo>
                    <a:pt x="104" y="40"/>
                  </a:lnTo>
                  <a:lnTo>
                    <a:pt x="106" y="39"/>
                  </a:lnTo>
                  <a:lnTo>
                    <a:pt x="111" y="35"/>
                  </a:lnTo>
                  <a:lnTo>
                    <a:pt x="113" y="30"/>
                  </a:lnTo>
                  <a:lnTo>
                    <a:pt x="116" y="24"/>
                  </a:lnTo>
                  <a:lnTo>
                    <a:pt x="117" y="1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6" name="Freeform 1145"/>
            <p:cNvSpPr>
              <a:spLocks/>
            </p:cNvSpPr>
            <p:nvPr/>
          </p:nvSpPr>
          <p:spPr bwMode="auto">
            <a:xfrm>
              <a:off x="7027865" y="1497013"/>
              <a:ext cx="31750" cy="17462"/>
            </a:xfrm>
            <a:custGeom>
              <a:avLst/>
              <a:gdLst>
                <a:gd name="T0" fmla="*/ 2147483647 w 22"/>
                <a:gd name="T1" fmla="*/ 0 h 11"/>
                <a:gd name="T2" fmla="*/ 2147483647 w 22"/>
                <a:gd name="T3" fmla="*/ 0 h 11"/>
                <a:gd name="T4" fmla="*/ 2147483647 w 22"/>
                <a:gd name="T5" fmla="*/ 0 h 11"/>
                <a:gd name="T6" fmla="*/ 2147483647 w 22"/>
                <a:gd name="T7" fmla="*/ 2147483647 h 11"/>
                <a:gd name="T8" fmla="*/ 2147483647 w 22"/>
                <a:gd name="T9" fmla="*/ 2147483647 h 11"/>
                <a:gd name="T10" fmla="*/ 2147483647 w 22"/>
                <a:gd name="T11" fmla="*/ 2147483647 h 11"/>
                <a:gd name="T12" fmla="*/ 2147483647 w 22"/>
                <a:gd name="T13" fmla="*/ 2147483647 h 11"/>
                <a:gd name="T14" fmla="*/ 2147483647 w 22"/>
                <a:gd name="T15" fmla="*/ 2147483647 h 11"/>
                <a:gd name="T16" fmla="*/ 2147483647 w 22"/>
                <a:gd name="T17" fmla="*/ 2147483647 h 11"/>
                <a:gd name="T18" fmla="*/ 2147483647 w 22"/>
                <a:gd name="T19" fmla="*/ 2147483647 h 11"/>
                <a:gd name="T20" fmla="*/ 2147483647 w 22"/>
                <a:gd name="T21" fmla="*/ 2147483647 h 11"/>
                <a:gd name="T22" fmla="*/ 2147483647 w 22"/>
                <a:gd name="T23" fmla="*/ 2147483647 h 11"/>
                <a:gd name="T24" fmla="*/ 2147483647 w 22"/>
                <a:gd name="T25" fmla="*/ 2147483647 h 11"/>
                <a:gd name="T26" fmla="*/ 2147483647 w 22"/>
                <a:gd name="T27" fmla="*/ 2147483647 h 11"/>
                <a:gd name="T28" fmla="*/ 2147483647 w 22"/>
                <a:gd name="T29" fmla="*/ 2147483647 h 11"/>
                <a:gd name="T30" fmla="*/ 2147483647 w 22"/>
                <a:gd name="T31" fmla="*/ 2147483647 h 11"/>
                <a:gd name="T32" fmla="*/ 0 w 22"/>
                <a:gd name="T33" fmla="*/ 2147483647 h 11"/>
                <a:gd name="T34" fmla="*/ 0 w 22"/>
                <a:gd name="T35" fmla="*/ 2147483647 h 11"/>
                <a:gd name="T36" fmla="*/ 2147483647 w 22"/>
                <a:gd name="T37" fmla="*/ 2147483647 h 11"/>
                <a:gd name="T38" fmla="*/ 2147483647 w 22"/>
                <a:gd name="T39" fmla="*/ 2147483647 h 11"/>
                <a:gd name="T40" fmla="*/ 2147483647 w 22"/>
                <a:gd name="T41" fmla="*/ 0 h 11"/>
                <a:gd name="T42" fmla="*/ 2147483647 w 22"/>
                <a:gd name="T43" fmla="*/ 0 h 11"/>
                <a:gd name="T44" fmla="*/ 2147483647 w 22"/>
                <a:gd name="T45" fmla="*/ 0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11"/>
                <a:gd name="T71" fmla="*/ 22 w 22"/>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11">
                  <a:moveTo>
                    <a:pt x="13" y="0"/>
                  </a:moveTo>
                  <a:lnTo>
                    <a:pt x="13" y="0"/>
                  </a:lnTo>
                  <a:lnTo>
                    <a:pt x="17" y="0"/>
                  </a:lnTo>
                  <a:lnTo>
                    <a:pt x="19" y="2"/>
                  </a:lnTo>
                  <a:lnTo>
                    <a:pt x="21" y="3"/>
                  </a:lnTo>
                  <a:lnTo>
                    <a:pt x="22" y="5"/>
                  </a:lnTo>
                  <a:lnTo>
                    <a:pt x="22" y="9"/>
                  </a:lnTo>
                  <a:lnTo>
                    <a:pt x="21" y="10"/>
                  </a:lnTo>
                  <a:lnTo>
                    <a:pt x="18" y="11"/>
                  </a:lnTo>
                  <a:lnTo>
                    <a:pt x="12" y="11"/>
                  </a:lnTo>
                  <a:lnTo>
                    <a:pt x="4" y="10"/>
                  </a:lnTo>
                  <a:lnTo>
                    <a:pt x="1" y="10"/>
                  </a:lnTo>
                  <a:lnTo>
                    <a:pt x="1" y="9"/>
                  </a:lnTo>
                  <a:lnTo>
                    <a:pt x="0" y="5"/>
                  </a:lnTo>
                  <a:lnTo>
                    <a:pt x="3" y="2"/>
                  </a:lnTo>
                  <a:lnTo>
                    <a:pt x="5" y="1"/>
                  </a:lnTo>
                  <a:lnTo>
                    <a:pt x="9" y="0"/>
                  </a:lnTo>
                  <a:lnTo>
                    <a:pt x="1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7" name="Freeform 1146"/>
            <p:cNvSpPr>
              <a:spLocks/>
            </p:cNvSpPr>
            <p:nvPr/>
          </p:nvSpPr>
          <p:spPr bwMode="auto">
            <a:xfrm>
              <a:off x="6743700" y="1576388"/>
              <a:ext cx="39688" cy="17462"/>
            </a:xfrm>
            <a:custGeom>
              <a:avLst/>
              <a:gdLst>
                <a:gd name="T0" fmla="*/ 2147483647 w 27"/>
                <a:gd name="T1" fmla="*/ 2147483647 h 11"/>
                <a:gd name="T2" fmla="*/ 2147483647 w 27"/>
                <a:gd name="T3" fmla="*/ 2147483647 h 11"/>
                <a:gd name="T4" fmla="*/ 2147483647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w 27"/>
                <a:gd name="T17" fmla="*/ 2147483647 h 11"/>
                <a:gd name="T18" fmla="*/ 0 w 27"/>
                <a:gd name="T19" fmla="*/ 2147483647 h 11"/>
                <a:gd name="T20" fmla="*/ 2147483647 w 27"/>
                <a:gd name="T21" fmla="*/ 2147483647 h 11"/>
                <a:gd name="T22" fmla="*/ 2147483647 w 27"/>
                <a:gd name="T23" fmla="*/ 2147483647 h 11"/>
                <a:gd name="T24" fmla="*/ 2147483647 w 27"/>
                <a:gd name="T25" fmla="*/ 0 h 11"/>
                <a:gd name="T26" fmla="*/ 2147483647 w 27"/>
                <a:gd name="T27" fmla="*/ 0 h 11"/>
                <a:gd name="T28" fmla="*/ 2147483647 w 27"/>
                <a:gd name="T29" fmla="*/ 2147483647 h 11"/>
                <a:gd name="T30" fmla="*/ 2147483647 w 27"/>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11"/>
                <a:gd name="T50" fmla="*/ 27 w 27"/>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11">
                  <a:moveTo>
                    <a:pt x="27" y="4"/>
                  </a:moveTo>
                  <a:lnTo>
                    <a:pt x="27" y="6"/>
                  </a:lnTo>
                  <a:lnTo>
                    <a:pt x="25" y="9"/>
                  </a:lnTo>
                  <a:lnTo>
                    <a:pt x="21" y="10"/>
                  </a:lnTo>
                  <a:lnTo>
                    <a:pt x="19" y="11"/>
                  </a:lnTo>
                  <a:lnTo>
                    <a:pt x="10" y="11"/>
                  </a:lnTo>
                  <a:lnTo>
                    <a:pt x="2" y="11"/>
                  </a:lnTo>
                  <a:lnTo>
                    <a:pt x="1" y="10"/>
                  </a:lnTo>
                  <a:lnTo>
                    <a:pt x="0" y="10"/>
                  </a:lnTo>
                  <a:lnTo>
                    <a:pt x="0" y="9"/>
                  </a:lnTo>
                  <a:lnTo>
                    <a:pt x="8" y="5"/>
                  </a:lnTo>
                  <a:lnTo>
                    <a:pt x="16" y="2"/>
                  </a:lnTo>
                  <a:lnTo>
                    <a:pt x="20" y="0"/>
                  </a:lnTo>
                  <a:lnTo>
                    <a:pt x="24" y="0"/>
                  </a:lnTo>
                  <a:lnTo>
                    <a:pt x="25" y="2"/>
                  </a:lnTo>
                  <a:lnTo>
                    <a:pt x="27"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8" name="Freeform 1147"/>
            <p:cNvSpPr>
              <a:spLocks/>
            </p:cNvSpPr>
            <p:nvPr/>
          </p:nvSpPr>
          <p:spPr bwMode="auto">
            <a:xfrm>
              <a:off x="6872288" y="1419226"/>
              <a:ext cx="114300" cy="112713"/>
            </a:xfrm>
            <a:custGeom>
              <a:avLst/>
              <a:gdLst>
                <a:gd name="T0" fmla="*/ 2147483647 w 78"/>
                <a:gd name="T1" fmla="*/ 2147483647 h 71"/>
                <a:gd name="T2" fmla="*/ 2147483647 w 78"/>
                <a:gd name="T3" fmla="*/ 2147483647 h 71"/>
                <a:gd name="T4" fmla="*/ 2147483647 w 78"/>
                <a:gd name="T5" fmla="*/ 2147483647 h 71"/>
                <a:gd name="T6" fmla="*/ 2147483647 w 78"/>
                <a:gd name="T7" fmla="*/ 2147483647 h 71"/>
                <a:gd name="T8" fmla="*/ 2147483647 w 78"/>
                <a:gd name="T9" fmla="*/ 2147483647 h 71"/>
                <a:gd name="T10" fmla="*/ 2147483647 w 78"/>
                <a:gd name="T11" fmla="*/ 2147483647 h 71"/>
                <a:gd name="T12" fmla="*/ 2147483647 w 78"/>
                <a:gd name="T13" fmla="*/ 2147483647 h 71"/>
                <a:gd name="T14" fmla="*/ 2147483647 w 78"/>
                <a:gd name="T15" fmla="*/ 2147483647 h 71"/>
                <a:gd name="T16" fmla="*/ 2147483647 w 78"/>
                <a:gd name="T17" fmla="*/ 2147483647 h 71"/>
                <a:gd name="T18" fmla="*/ 2147483647 w 78"/>
                <a:gd name="T19" fmla="*/ 2147483647 h 71"/>
                <a:gd name="T20" fmla="*/ 2147483647 w 78"/>
                <a:gd name="T21" fmla="*/ 2147483647 h 71"/>
                <a:gd name="T22" fmla="*/ 2147483647 w 78"/>
                <a:gd name="T23" fmla="*/ 2147483647 h 71"/>
                <a:gd name="T24" fmla="*/ 2147483647 w 78"/>
                <a:gd name="T25" fmla="*/ 2147483647 h 71"/>
                <a:gd name="T26" fmla="*/ 2147483647 w 78"/>
                <a:gd name="T27" fmla="*/ 2147483647 h 71"/>
                <a:gd name="T28" fmla="*/ 2147483647 w 78"/>
                <a:gd name="T29" fmla="*/ 2147483647 h 71"/>
                <a:gd name="T30" fmla="*/ 2147483647 w 78"/>
                <a:gd name="T31" fmla="*/ 2147483647 h 71"/>
                <a:gd name="T32" fmla="*/ 2147483647 w 78"/>
                <a:gd name="T33" fmla="*/ 2147483647 h 71"/>
                <a:gd name="T34" fmla="*/ 2147483647 w 78"/>
                <a:gd name="T35" fmla="*/ 2147483647 h 71"/>
                <a:gd name="T36" fmla="*/ 2147483647 w 78"/>
                <a:gd name="T37" fmla="*/ 2147483647 h 71"/>
                <a:gd name="T38" fmla="*/ 2147483647 w 78"/>
                <a:gd name="T39" fmla="*/ 2147483647 h 71"/>
                <a:gd name="T40" fmla="*/ 2147483647 w 78"/>
                <a:gd name="T41" fmla="*/ 2147483647 h 71"/>
                <a:gd name="T42" fmla="*/ 2147483647 w 78"/>
                <a:gd name="T43" fmla="*/ 2147483647 h 71"/>
                <a:gd name="T44" fmla="*/ 2147483647 w 78"/>
                <a:gd name="T45" fmla="*/ 0 h 71"/>
                <a:gd name="T46" fmla="*/ 2147483647 w 78"/>
                <a:gd name="T47" fmla="*/ 2147483647 h 71"/>
                <a:gd name="T48" fmla="*/ 2147483647 w 78"/>
                <a:gd name="T49" fmla="*/ 2147483647 h 71"/>
                <a:gd name="T50" fmla="*/ 2147483647 w 78"/>
                <a:gd name="T51" fmla="*/ 2147483647 h 71"/>
                <a:gd name="T52" fmla="*/ 2147483647 w 78"/>
                <a:gd name="T53" fmla="*/ 2147483647 h 71"/>
                <a:gd name="T54" fmla="*/ 2147483647 w 78"/>
                <a:gd name="T55" fmla="*/ 2147483647 h 71"/>
                <a:gd name="T56" fmla="*/ 2147483647 w 78"/>
                <a:gd name="T57" fmla="*/ 2147483647 h 71"/>
                <a:gd name="T58" fmla="*/ 2147483647 w 78"/>
                <a:gd name="T59" fmla="*/ 2147483647 h 71"/>
                <a:gd name="T60" fmla="*/ 2147483647 w 78"/>
                <a:gd name="T61" fmla="*/ 2147483647 h 71"/>
                <a:gd name="T62" fmla="*/ 2147483647 w 78"/>
                <a:gd name="T63" fmla="*/ 2147483647 h 71"/>
                <a:gd name="T64" fmla="*/ 2147483647 w 78"/>
                <a:gd name="T65" fmla="*/ 2147483647 h 71"/>
                <a:gd name="T66" fmla="*/ 2147483647 w 78"/>
                <a:gd name="T67" fmla="*/ 2147483647 h 71"/>
                <a:gd name="T68" fmla="*/ 2147483647 w 78"/>
                <a:gd name="T69" fmla="*/ 2147483647 h 71"/>
                <a:gd name="T70" fmla="*/ 0 w 78"/>
                <a:gd name="T71" fmla="*/ 2147483647 h 71"/>
                <a:gd name="T72" fmla="*/ 0 w 78"/>
                <a:gd name="T73" fmla="*/ 2147483647 h 71"/>
                <a:gd name="T74" fmla="*/ 0 w 78"/>
                <a:gd name="T75" fmla="*/ 2147483647 h 71"/>
                <a:gd name="T76" fmla="*/ 2147483647 w 78"/>
                <a:gd name="T77" fmla="*/ 2147483647 h 71"/>
                <a:gd name="T78" fmla="*/ 2147483647 w 78"/>
                <a:gd name="T79" fmla="*/ 2147483647 h 71"/>
                <a:gd name="T80" fmla="*/ 2147483647 w 78"/>
                <a:gd name="T81" fmla="*/ 2147483647 h 71"/>
                <a:gd name="T82" fmla="*/ 2147483647 w 78"/>
                <a:gd name="T83" fmla="*/ 2147483647 h 71"/>
                <a:gd name="T84" fmla="*/ 2147483647 w 78"/>
                <a:gd name="T85" fmla="*/ 2147483647 h 71"/>
                <a:gd name="T86" fmla="*/ 2147483647 w 78"/>
                <a:gd name="T87" fmla="*/ 2147483647 h 71"/>
                <a:gd name="T88" fmla="*/ 2147483647 w 78"/>
                <a:gd name="T89" fmla="*/ 2147483647 h 71"/>
                <a:gd name="T90" fmla="*/ 2147483647 w 78"/>
                <a:gd name="T91" fmla="*/ 2147483647 h 71"/>
                <a:gd name="T92" fmla="*/ 2147483647 w 78"/>
                <a:gd name="T93" fmla="*/ 2147483647 h 71"/>
                <a:gd name="T94" fmla="*/ 2147483647 w 78"/>
                <a:gd name="T95" fmla="*/ 2147483647 h 71"/>
                <a:gd name="T96" fmla="*/ 2147483647 w 78"/>
                <a:gd name="T97" fmla="*/ 2147483647 h 71"/>
                <a:gd name="T98" fmla="*/ 2147483647 w 78"/>
                <a:gd name="T99" fmla="*/ 2147483647 h 71"/>
                <a:gd name="T100" fmla="*/ 2147483647 w 78"/>
                <a:gd name="T101" fmla="*/ 2147483647 h 71"/>
                <a:gd name="T102" fmla="*/ 2147483647 w 78"/>
                <a:gd name="T103" fmla="*/ 2147483647 h 71"/>
                <a:gd name="T104" fmla="*/ 2147483647 w 78"/>
                <a:gd name="T105" fmla="*/ 2147483647 h 71"/>
                <a:gd name="T106" fmla="*/ 2147483647 w 78"/>
                <a:gd name="T107" fmla="*/ 2147483647 h 71"/>
                <a:gd name="T108" fmla="*/ 2147483647 w 78"/>
                <a:gd name="T109" fmla="*/ 2147483647 h 71"/>
                <a:gd name="T110" fmla="*/ 2147483647 w 78"/>
                <a:gd name="T111" fmla="*/ 2147483647 h 71"/>
                <a:gd name="T112" fmla="*/ 2147483647 w 78"/>
                <a:gd name="T113" fmla="*/ 2147483647 h 71"/>
                <a:gd name="T114" fmla="*/ 2147483647 w 78"/>
                <a:gd name="T115" fmla="*/ 2147483647 h 71"/>
                <a:gd name="T116" fmla="*/ 2147483647 w 78"/>
                <a:gd name="T117" fmla="*/ 2147483647 h 71"/>
                <a:gd name="T118" fmla="*/ 2147483647 w 78"/>
                <a:gd name="T119" fmla="*/ 2147483647 h 71"/>
                <a:gd name="T120" fmla="*/ 2147483647 w 78"/>
                <a:gd name="T121" fmla="*/ 2147483647 h 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8"/>
                <a:gd name="T184" fmla="*/ 0 h 71"/>
                <a:gd name="T185" fmla="*/ 78 w 78"/>
                <a:gd name="T186" fmla="*/ 71 h 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8" h="71">
                  <a:moveTo>
                    <a:pt x="77" y="28"/>
                  </a:moveTo>
                  <a:lnTo>
                    <a:pt x="77" y="25"/>
                  </a:lnTo>
                  <a:lnTo>
                    <a:pt x="76" y="24"/>
                  </a:lnTo>
                  <a:lnTo>
                    <a:pt x="73" y="21"/>
                  </a:lnTo>
                  <a:lnTo>
                    <a:pt x="69" y="21"/>
                  </a:lnTo>
                  <a:lnTo>
                    <a:pt x="68" y="20"/>
                  </a:lnTo>
                  <a:lnTo>
                    <a:pt x="67" y="19"/>
                  </a:lnTo>
                  <a:lnTo>
                    <a:pt x="66" y="15"/>
                  </a:lnTo>
                  <a:lnTo>
                    <a:pt x="64" y="13"/>
                  </a:lnTo>
                  <a:lnTo>
                    <a:pt x="62" y="12"/>
                  </a:lnTo>
                  <a:lnTo>
                    <a:pt x="59" y="11"/>
                  </a:lnTo>
                  <a:lnTo>
                    <a:pt x="55" y="11"/>
                  </a:lnTo>
                  <a:lnTo>
                    <a:pt x="53" y="13"/>
                  </a:lnTo>
                  <a:lnTo>
                    <a:pt x="49" y="15"/>
                  </a:lnTo>
                  <a:lnTo>
                    <a:pt x="45" y="18"/>
                  </a:lnTo>
                  <a:lnTo>
                    <a:pt x="44" y="18"/>
                  </a:lnTo>
                  <a:lnTo>
                    <a:pt x="41" y="18"/>
                  </a:lnTo>
                  <a:lnTo>
                    <a:pt x="40" y="15"/>
                  </a:lnTo>
                  <a:lnTo>
                    <a:pt x="39" y="13"/>
                  </a:lnTo>
                  <a:lnTo>
                    <a:pt x="38" y="6"/>
                  </a:lnTo>
                  <a:lnTo>
                    <a:pt x="35" y="3"/>
                  </a:lnTo>
                  <a:lnTo>
                    <a:pt x="33" y="1"/>
                  </a:lnTo>
                  <a:lnTo>
                    <a:pt x="30" y="0"/>
                  </a:lnTo>
                  <a:lnTo>
                    <a:pt x="27" y="1"/>
                  </a:lnTo>
                  <a:lnTo>
                    <a:pt x="25" y="3"/>
                  </a:lnTo>
                  <a:lnTo>
                    <a:pt x="24" y="6"/>
                  </a:lnTo>
                  <a:lnTo>
                    <a:pt x="22" y="12"/>
                  </a:lnTo>
                  <a:lnTo>
                    <a:pt x="20" y="14"/>
                  </a:lnTo>
                  <a:lnTo>
                    <a:pt x="20" y="16"/>
                  </a:lnTo>
                  <a:lnTo>
                    <a:pt x="20" y="19"/>
                  </a:lnTo>
                  <a:lnTo>
                    <a:pt x="21" y="22"/>
                  </a:lnTo>
                  <a:lnTo>
                    <a:pt x="20" y="25"/>
                  </a:lnTo>
                  <a:lnTo>
                    <a:pt x="13" y="39"/>
                  </a:lnTo>
                  <a:lnTo>
                    <a:pt x="7" y="51"/>
                  </a:lnTo>
                  <a:lnTo>
                    <a:pt x="1" y="62"/>
                  </a:lnTo>
                  <a:lnTo>
                    <a:pt x="0" y="65"/>
                  </a:lnTo>
                  <a:lnTo>
                    <a:pt x="0" y="69"/>
                  </a:lnTo>
                  <a:lnTo>
                    <a:pt x="0" y="70"/>
                  </a:lnTo>
                  <a:lnTo>
                    <a:pt x="2" y="71"/>
                  </a:lnTo>
                  <a:lnTo>
                    <a:pt x="3" y="70"/>
                  </a:lnTo>
                  <a:lnTo>
                    <a:pt x="5" y="69"/>
                  </a:lnTo>
                  <a:lnTo>
                    <a:pt x="6" y="66"/>
                  </a:lnTo>
                  <a:lnTo>
                    <a:pt x="8" y="64"/>
                  </a:lnTo>
                  <a:lnTo>
                    <a:pt x="13" y="62"/>
                  </a:lnTo>
                  <a:lnTo>
                    <a:pt x="24" y="59"/>
                  </a:lnTo>
                  <a:lnTo>
                    <a:pt x="30" y="56"/>
                  </a:lnTo>
                  <a:lnTo>
                    <a:pt x="38" y="53"/>
                  </a:lnTo>
                  <a:lnTo>
                    <a:pt x="44" y="53"/>
                  </a:lnTo>
                  <a:lnTo>
                    <a:pt x="52" y="56"/>
                  </a:lnTo>
                  <a:lnTo>
                    <a:pt x="54" y="57"/>
                  </a:lnTo>
                  <a:lnTo>
                    <a:pt x="55" y="57"/>
                  </a:lnTo>
                  <a:lnTo>
                    <a:pt x="57" y="57"/>
                  </a:lnTo>
                  <a:lnTo>
                    <a:pt x="62" y="54"/>
                  </a:lnTo>
                  <a:lnTo>
                    <a:pt x="66" y="53"/>
                  </a:lnTo>
                  <a:lnTo>
                    <a:pt x="71" y="52"/>
                  </a:lnTo>
                  <a:lnTo>
                    <a:pt x="76" y="51"/>
                  </a:lnTo>
                  <a:lnTo>
                    <a:pt x="77" y="49"/>
                  </a:lnTo>
                  <a:lnTo>
                    <a:pt x="78" y="46"/>
                  </a:lnTo>
                  <a:lnTo>
                    <a:pt x="78" y="40"/>
                  </a:lnTo>
                  <a:lnTo>
                    <a:pt x="77" y="34"/>
                  </a:lnTo>
                  <a:lnTo>
                    <a:pt x="77"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49" name="Freeform 1148"/>
            <p:cNvSpPr>
              <a:spLocks/>
            </p:cNvSpPr>
            <p:nvPr/>
          </p:nvSpPr>
          <p:spPr bwMode="auto">
            <a:xfrm>
              <a:off x="6742113" y="1574804"/>
              <a:ext cx="38100" cy="17463"/>
            </a:xfrm>
            <a:custGeom>
              <a:avLst/>
              <a:gdLst>
                <a:gd name="T0" fmla="*/ 2147483647 w 26"/>
                <a:gd name="T1" fmla="*/ 2147483647 h 11"/>
                <a:gd name="T2" fmla="*/ 2147483647 w 26"/>
                <a:gd name="T3" fmla="*/ 2147483647 h 11"/>
                <a:gd name="T4" fmla="*/ 2147483647 w 26"/>
                <a:gd name="T5" fmla="*/ 2147483647 h 11"/>
                <a:gd name="T6" fmla="*/ 2147483647 w 26"/>
                <a:gd name="T7" fmla="*/ 2147483647 h 11"/>
                <a:gd name="T8" fmla="*/ 2147483647 w 26"/>
                <a:gd name="T9" fmla="*/ 2147483647 h 11"/>
                <a:gd name="T10" fmla="*/ 2147483647 w 26"/>
                <a:gd name="T11" fmla="*/ 2147483647 h 11"/>
                <a:gd name="T12" fmla="*/ 2147483647 w 26"/>
                <a:gd name="T13" fmla="*/ 2147483647 h 11"/>
                <a:gd name="T14" fmla="*/ 2147483647 w 26"/>
                <a:gd name="T15" fmla="*/ 2147483647 h 11"/>
                <a:gd name="T16" fmla="*/ 2147483647 w 26"/>
                <a:gd name="T17" fmla="*/ 2147483647 h 11"/>
                <a:gd name="T18" fmla="*/ 2147483647 w 26"/>
                <a:gd name="T19" fmla="*/ 2147483647 h 11"/>
                <a:gd name="T20" fmla="*/ 0 w 26"/>
                <a:gd name="T21" fmla="*/ 2147483647 h 11"/>
                <a:gd name="T22" fmla="*/ 0 w 26"/>
                <a:gd name="T23" fmla="*/ 2147483647 h 11"/>
                <a:gd name="T24" fmla="*/ 0 w 26"/>
                <a:gd name="T25" fmla="*/ 2147483647 h 11"/>
                <a:gd name="T26" fmla="*/ 2147483647 w 26"/>
                <a:gd name="T27" fmla="*/ 2147483647 h 11"/>
                <a:gd name="T28" fmla="*/ 2147483647 w 26"/>
                <a:gd name="T29" fmla="*/ 2147483647 h 11"/>
                <a:gd name="T30" fmla="*/ 2147483647 w 26"/>
                <a:gd name="T31" fmla="*/ 0 h 11"/>
                <a:gd name="T32" fmla="*/ 2147483647 w 26"/>
                <a:gd name="T33" fmla="*/ 0 h 11"/>
                <a:gd name="T34" fmla="*/ 2147483647 w 26"/>
                <a:gd name="T35" fmla="*/ 2147483647 h 11"/>
                <a:gd name="T36" fmla="*/ 2147483647 w 26"/>
                <a:gd name="T37" fmla="*/ 2147483647 h 11"/>
                <a:gd name="T38" fmla="*/ 2147483647 w 26"/>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1"/>
                <a:gd name="T62" fmla="*/ 26 w 26"/>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1">
                  <a:moveTo>
                    <a:pt x="26" y="4"/>
                  </a:moveTo>
                  <a:lnTo>
                    <a:pt x="26" y="4"/>
                  </a:lnTo>
                  <a:lnTo>
                    <a:pt x="26" y="6"/>
                  </a:lnTo>
                  <a:lnTo>
                    <a:pt x="25" y="9"/>
                  </a:lnTo>
                  <a:lnTo>
                    <a:pt x="21" y="10"/>
                  </a:lnTo>
                  <a:lnTo>
                    <a:pt x="19" y="11"/>
                  </a:lnTo>
                  <a:lnTo>
                    <a:pt x="10" y="11"/>
                  </a:lnTo>
                  <a:lnTo>
                    <a:pt x="2" y="11"/>
                  </a:lnTo>
                  <a:lnTo>
                    <a:pt x="1" y="10"/>
                  </a:lnTo>
                  <a:lnTo>
                    <a:pt x="0" y="10"/>
                  </a:lnTo>
                  <a:lnTo>
                    <a:pt x="0" y="9"/>
                  </a:lnTo>
                  <a:lnTo>
                    <a:pt x="7" y="5"/>
                  </a:lnTo>
                  <a:lnTo>
                    <a:pt x="16" y="1"/>
                  </a:lnTo>
                  <a:lnTo>
                    <a:pt x="20" y="0"/>
                  </a:lnTo>
                  <a:lnTo>
                    <a:pt x="24" y="0"/>
                  </a:lnTo>
                  <a:lnTo>
                    <a:pt x="25" y="1"/>
                  </a:lnTo>
                  <a:lnTo>
                    <a:pt x="26"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0" name="Freeform 1149"/>
            <p:cNvSpPr>
              <a:spLocks/>
            </p:cNvSpPr>
            <p:nvPr/>
          </p:nvSpPr>
          <p:spPr bwMode="auto">
            <a:xfrm>
              <a:off x="6869114" y="1417641"/>
              <a:ext cx="115887" cy="112712"/>
            </a:xfrm>
            <a:custGeom>
              <a:avLst/>
              <a:gdLst>
                <a:gd name="T0" fmla="*/ 2147483647 w 79"/>
                <a:gd name="T1" fmla="*/ 2147483647 h 71"/>
                <a:gd name="T2" fmla="*/ 2147483647 w 79"/>
                <a:gd name="T3" fmla="*/ 2147483647 h 71"/>
                <a:gd name="T4" fmla="*/ 2147483647 w 79"/>
                <a:gd name="T5" fmla="*/ 2147483647 h 71"/>
                <a:gd name="T6" fmla="*/ 2147483647 w 79"/>
                <a:gd name="T7" fmla="*/ 2147483647 h 71"/>
                <a:gd name="T8" fmla="*/ 2147483647 w 79"/>
                <a:gd name="T9" fmla="*/ 2147483647 h 71"/>
                <a:gd name="T10" fmla="*/ 2147483647 w 79"/>
                <a:gd name="T11" fmla="*/ 2147483647 h 71"/>
                <a:gd name="T12" fmla="*/ 2147483647 w 79"/>
                <a:gd name="T13" fmla="*/ 2147483647 h 71"/>
                <a:gd name="T14" fmla="*/ 2147483647 w 79"/>
                <a:gd name="T15" fmla="*/ 2147483647 h 71"/>
                <a:gd name="T16" fmla="*/ 2147483647 w 79"/>
                <a:gd name="T17" fmla="*/ 2147483647 h 71"/>
                <a:gd name="T18" fmla="*/ 2147483647 w 79"/>
                <a:gd name="T19" fmla="*/ 2147483647 h 71"/>
                <a:gd name="T20" fmla="*/ 2147483647 w 79"/>
                <a:gd name="T21" fmla="*/ 2147483647 h 71"/>
                <a:gd name="T22" fmla="*/ 2147483647 w 79"/>
                <a:gd name="T23" fmla="*/ 2147483647 h 71"/>
                <a:gd name="T24" fmla="*/ 2147483647 w 79"/>
                <a:gd name="T25" fmla="*/ 2147483647 h 71"/>
                <a:gd name="T26" fmla="*/ 2147483647 w 79"/>
                <a:gd name="T27" fmla="*/ 2147483647 h 71"/>
                <a:gd name="T28" fmla="*/ 2147483647 w 79"/>
                <a:gd name="T29" fmla="*/ 2147483647 h 71"/>
                <a:gd name="T30" fmla="*/ 2147483647 w 79"/>
                <a:gd name="T31" fmla="*/ 2147483647 h 71"/>
                <a:gd name="T32" fmla="*/ 2147483647 w 79"/>
                <a:gd name="T33" fmla="*/ 2147483647 h 71"/>
                <a:gd name="T34" fmla="*/ 2147483647 w 79"/>
                <a:gd name="T35" fmla="*/ 2147483647 h 71"/>
                <a:gd name="T36" fmla="*/ 2147483647 w 79"/>
                <a:gd name="T37" fmla="*/ 2147483647 h 71"/>
                <a:gd name="T38" fmla="*/ 2147483647 w 79"/>
                <a:gd name="T39" fmla="*/ 2147483647 h 71"/>
                <a:gd name="T40" fmla="*/ 2147483647 w 79"/>
                <a:gd name="T41" fmla="*/ 2147483647 h 71"/>
                <a:gd name="T42" fmla="*/ 2147483647 w 79"/>
                <a:gd name="T43" fmla="*/ 2147483647 h 71"/>
                <a:gd name="T44" fmla="*/ 2147483647 w 79"/>
                <a:gd name="T45" fmla="*/ 2147483647 h 71"/>
                <a:gd name="T46" fmla="*/ 0 w 79"/>
                <a:gd name="T47" fmla="*/ 2147483647 h 71"/>
                <a:gd name="T48" fmla="*/ 0 w 79"/>
                <a:gd name="T49" fmla="*/ 2147483647 h 71"/>
                <a:gd name="T50" fmla="*/ 2147483647 w 79"/>
                <a:gd name="T51" fmla="*/ 2147483647 h 71"/>
                <a:gd name="T52" fmla="*/ 2147483647 w 79"/>
                <a:gd name="T53" fmla="*/ 2147483647 h 71"/>
                <a:gd name="T54" fmla="*/ 2147483647 w 79"/>
                <a:gd name="T55" fmla="*/ 2147483647 h 71"/>
                <a:gd name="T56" fmla="*/ 2147483647 w 79"/>
                <a:gd name="T57" fmla="*/ 2147483647 h 71"/>
                <a:gd name="T58" fmla="*/ 2147483647 w 79"/>
                <a:gd name="T59" fmla="*/ 2147483647 h 71"/>
                <a:gd name="T60" fmla="*/ 2147483647 w 79"/>
                <a:gd name="T61" fmla="*/ 2147483647 h 71"/>
                <a:gd name="T62" fmla="*/ 2147483647 w 79"/>
                <a:gd name="T63" fmla="*/ 2147483647 h 71"/>
                <a:gd name="T64" fmla="*/ 2147483647 w 79"/>
                <a:gd name="T65" fmla="*/ 2147483647 h 71"/>
                <a:gd name="T66" fmla="*/ 2147483647 w 79"/>
                <a:gd name="T67" fmla="*/ 2147483647 h 71"/>
                <a:gd name="T68" fmla="*/ 2147483647 w 79"/>
                <a:gd name="T69" fmla="*/ 2147483647 h 71"/>
                <a:gd name="T70" fmla="*/ 2147483647 w 79"/>
                <a:gd name="T71" fmla="*/ 2147483647 h 71"/>
                <a:gd name="T72" fmla="*/ 2147483647 w 79"/>
                <a:gd name="T73" fmla="*/ 2147483647 h 71"/>
                <a:gd name="T74" fmla="*/ 2147483647 w 79"/>
                <a:gd name="T75" fmla="*/ 2147483647 h 71"/>
                <a:gd name="T76" fmla="*/ 2147483647 w 79"/>
                <a:gd name="T77" fmla="*/ 2147483647 h 71"/>
                <a:gd name="T78" fmla="*/ 2147483647 w 79"/>
                <a:gd name="T79" fmla="*/ 2147483647 h 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71"/>
                <a:gd name="T122" fmla="*/ 79 w 79"/>
                <a:gd name="T123" fmla="*/ 71 h 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71">
                  <a:moveTo>
                    <a:pt x="78" y="28"/>
                  </a:moveTo>
                  <a:lnTo>
                    <a:pt x="78" y="28"/>
                  </a:lnTo>
                  <a:lnTo>
                    <a:pt x="78" y="25"/>
                  </a:lnTo>
                  <a:lnTo>
                    <a:pt x="76" y="23"/>
                  </a:lnTo>
                  <a:lnTo>
                    <a:pt x="74" y="21"/>
                  </a:lnTo>
                  <a:lnTo>
                    <a:pt x="70" y="21"/>
                  </a:lnTo>
                  <a:lnTo>
                    <a:pt x="69" y="20"/>
                  </a:lnTo>
                  <a:lnTo>
                    <a:pt x="68" y="19"/>
                  </a:lnTo>
                  <a:lnTo>
                    <a:pt x="66" y="15"/>
                  </a:lnTo>
                  <a:lnTo>
                    <a:pt x="65" y="13"/>
                  </a:lnTo>
                  <a:lnTo>
                    <a:pt x="62" y="12"/>
                  </a:lnTo>
                  <a:lnTo>
                    <a:pt x="60" y="10"/>
                  </a:lnTo>
                  <a:lnTo>
                    <a:pt x="56" y="10"/>
                  </a:lnTo>
                  <a:lnTo>
                    <a:pt x="54" y="13"/>
                  </a:lnTo>
                  <a:lnTo>
                    <a:pt x="50" y="15"/>
                  </a:lnTo>
                  <a:lnTo>
                    <a:pt x="46" y="17"/>
                  </a:lnTo>
                  <a:lnTo>
                    <a:pt x="45" y="17"/>
                  </a:lnTo>
                  <a:lnTo>
                    <a:pt x="42" y="17"/>
                  </a:lnTo>
                  <a:lnTo>
                    <a:pt x="41" y="15"/>
                  </a:lnTo>
                  <a:lnTo>
                    <a:pt x="40" y="13"/>
                  </a:lnTo>
                  <a:lnTo>
                    <a:pt x="38" y="6"/>
                  </a:lnTo>
                  <a:lnTo>
                    <a:pt x="36" y="3"/>
                  </a:lnTo>
                  <a:lnTo>
                    <a:pt x="33" y="1"/>
                  </a:lnTo>
                  <a:lnTo>
                    <a:pt x="31" y="0"/>
                  </a:lnTo>
                  <a:lnTo>
                    <a:pt x="28" y="1"/>
                  </a:lnTo>
                  <a:lnTo>
                    <a:pt x="26" y="3"/>
                  </a:lnTo>
                  <a:lnTo>
                    <a:pt x="24" y="6"/>
                  </a:lnTo>
                  <a:lnTo>
                    <a:pt x="23" y="12"/>
                  </a:lnTo>
                  <a:lnTo>
                    <a:pt x="21" y="14"/>
                  </a:lnTo>
                  <a:lnTo>
                    <a:pt x="21" y="16"/>
                  </a:lnTo>
                  <a:lnTo>
                    <a:pt x="21" y="19"/>
                  </a:lnTo>
                  <a:lnTo>
                    <a:pt x="22" y="22"/>
                  </a:lnTo>
                  <a:lnTo>
                    <a:pt x="21" y="25"/>
                  </a:lnTo>
                  <a:lnTo>
                    <a:pt x="14" y="39"/>
                  </a:lnTo>
                  <a:lnTo>
                    <a:pt x="8" y="51"/>
                  </a:lnTo>
                  <a:lnTo>
                    <a:pt x="2" y="61"/>
                  </a:lnTo>
                  <a:lnTo>
                    <a:pt x="0" y="65"/>
                  </a:lnTo>
                  <a:lnTo>
                    <a:pt x="0" y="68"/>
                  </a:lnTo>
                  <a:lnTo>
                    <a:pt x="0" y="70"/>
                  </a:lnTo>
                  <a:lnTo>
                    <a:pt x="3" y="71"/>
                  </a:lnTo>
                  <a:lnTo>
                    <a:pt x="4" y="70"/>
                  </a:lnTo>
                  <a:lnTo>
                    <a:pt x="5" y="68"/>
                  </a:lnTo>
                  <a:lnTo>
                    <a:pt x="7" y="66"/>
                  </a:lnTo>
                  <a:lnTo>
                    <a:pt x="9" y="64"/>
                  </a:lnTo>
                  <a:lnTo>
                    <a:pt x="14" y="61"/>
                  </a:lnTo>
                  <a:lnTo>
                    <a:pt x="24" y="59"/>
                  </a:lnTo>
                  <a:lnTo>
                    <a:pt x="31" y="55"/>
                  </a:lnTo>
                  <a:lnTo>
                    <a:pt x="38" y="53"/>
                  </a:lnTo>
                  <a:lnTo>
                    <a:pt x="45" y="53"/>
                  </a:lnTo>
                  <a:lnTo>
                    <a:pt x="52" y="55"/>
                  </a:lnTo>
                  <a:lnTo>
                    <a:pt x="55" y="57"/>
                  </a:lnTo>
                  <a:lnTo>
                    <a:pt x="56" y="57"/>
                  </a:lnTo>
                  <a:lnTo>
                    <a:pt x="57" y="57"/>
                  </a:lnTo>
                  <a:lnTo>
                    <a:pt x="62" y="54"/>
                  </a:lnTo>
                  <a:lnTo>
                    <a:pt x="66" y="53"/>
                  </a:lnTo>
                  <a:lnTo>
                    <a:pt x="71" y="52"/>
                  </a:lnTo>
                  <a:lnTo>
                    <a:pt x="76" y="51"/>
                  </a:lnTo>
                  <a:lnTo>
                    <a:pt x="78" y="48"/>
                  </a:lnTo>
                  <a:lnTo>
                    <a:pt x="79" y="46"/>
                  </a:lnTo>
                  <a:lnTo>
                    <a:pt x="79" y="40"/>
                  </a:lnTo>
                  <a:lnTo>
                    <a:pt x="78" y="34"/>
                  </a:lnTo>
                  <a:lnTo>
                    <a:pt x="78" y="2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1" name="Freeform 1150"/>
            <p:cNvSpPr>
              <a:spLocks/>
            </p:cNvSpPr>
            <p:nvPr/>
          </p:nvSpPr>
          <p:spPr bwMode="auto">
            <a:xfrm>
              <a:off x="6343651" y="1738313"/>
              <a:ext cx="15875" cy="28575"/>
            </a:xfrm>
            <a:custGeom>
              <a:avLst/>
              <a:gdLst>
                <a:gd name="T0" fmla="*/ 2147483647 w 11"/>
                <a:gd name="T1" fmla="*/ 2147483647 h 18"/>
                <a:gd name="T2" fmla="*/ 2147483647 w 11"/>
                <a:gd name="T3" fmla="*/ 2147483647 h 18"/>
                <a:gd name="T4" fmla="*/ 2147483647 w 11"/>
                <a:gd name="T5" fmla="*/ 2147483647 h 18"/>
                <a:gd name="T6" fmla="*/ 2147483647 w 11"/>
                <a:gd name="T7" fmla="*/ 0 h 18"/>
                <a:gd name="T8" fmla="*/ 2147483647 w 11"/>
                <a:gd name="T9" fmla="*/ 0 h 18"/>
                <a:gd name="T10" fmla="*/ 2147483647 w 11"/>
                <a:gd name="T11" fmla="*/ 2147483647 h 18"/>
                <a:gd name="T12" fmla="*/ 2147483647 w 11"/>
                <a:gd name="T13" fmla="*/ 2147483647 h 18"/>
                <a:gd name="T14" fmla="*/ 0 w 11"/>
                <a:gd name="T15" fmla="*/ 2147483647 h 18"/>
                <a:gd name="T16" fmla="*/ 0 w 11"/>
                <a:gd name="T17" fmla="*/ 2147483647 h 18"/>
                <a:gd name="T18" fmla="*/ 2147483647 w 11"/>
                <a:gd name="T19" fmla="*/ 2147483647 h 18"/>
                <a:gd name="T20" fmla="*/ 2147483647 w 11"/>
                <a:gd name="T21" fmla="*/ 2147483647 h 18"/>
                <a:gd name="T22" fmla="*/ 2147483647 w 11"/>
                <a:gd name="T23" fmla="*/ 2147483647 h 18"/>
                <a:gd name="T24" fmla="*/ 2147483647 w 11"/>
                <a:gd name="T25" fmla="*/ 2147483647 h 18"/>
                <a:gd name="T26" fmla="*/ 2147483647 w 11"/>
                <a:gd name="T27" fmla="*/ 2147483647 h 18"/>
                <a:gd name="T28" fmla="*/ 2147483647 w 11"/>
                <a:gd name="T29" fmla="*/ 2147483647 h 18"/>
                <a:gd name="T30" fmla="*/ 2147483647 w 11"/>
                <a:gd name="T31" fmla="*/ 2147483647 h 18"/>
                <a:gd name="T32" fmla="*/ 2147483647 w 11"/>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8"/>
                <a:gd name="T53" fmla="*/ 11 w 11"/>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8">
                  <a:moveTo>
                    <a:pt x="11" y="5"/>
                  </a:moveTo>
                  <a:lnTo>
                    <a:pt x="11" y="4"/>
                  </a:lnTo>
                  <a:lnTo>
                    <a:pt x="11" y="2"/>
                  </a:lnTo>
                  <a:lnTo>
                    <a:pt x="11" y="0"/>
                  </a:lnTo>
                  <a:lnTo>
                    <a:pt x="9" y="0"/>
                  </a:lnTo>
                  <a:lnTo>
                    <a:pt x="5" y="3"/>
                  </a:lnTo>
                  <a:lnTo>
                    <a:pt x="2" y="6"/>
                  </a:lnTo>
                  <a:lnTo>
                    <a:pt x="0" y="10"/>
                  </a:lnTo>
                  <a:lnTo>
                    <a:pt x="0" y="13"/>
                  </a:lnTo>
                  <a:lnTo>
                    <a:pt x="1" y="15"/>
                  </a:lnTo>
                  <a:lnTo>
                    <a:pt x="5" y="17"/>
                  </a:lnTo>
                  <a:lnTo>
                    <a:pt x="8" y="18"/>
                  </a:lnTo>
                  <a:lnTo>
                    <a:pt x="10" y="17"/>
                  </a:lnTo>
                  <a:lnTo>
                    <a:pt x="11" y="15"/>
                  </a:lnTo>
                  <a:lnTo>
                    <a:pt x="10" y="11"/>
                  </a:lnTo>
                  <a:lnTo>
                    <a:pt x="10" y="9"/>
                  </a:lnTo>
                  <a:lnTo>
                    <a:pt x="11"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2" name="Freeform 1151"/>
            <p:cNvSpPr>
              <a:spLocks/>
            </p:cNvSpPr>
            <p:nvPr/>
          </p:nvSpPr>
          <p:spPr bwMode="auto">
            <a:xfrm>
              <a:off x="6286500" y="1754191"/>
              <a:ext cx="39688" cy="28575"/>
            </a:xfrm>
            <a:custGeom>
              <a:avLst/>
              <a:gdLst>
                <a:gd name="T0" fmla="*/ 2147483647 w 27"/>
                <a:gd name="T1" fmla="*/ 2147483647 h 18"/>
                <a:gd name="T2" fmla="*/ 2147483647 w 27"/>
                <a:gd name="T3" fmla="*/ 2147483647 h 18"/>
                <a:gd name="T4" fmla="*/ 2147483647 w 27"/>
                <a:gd name="T5" fmla="*/ 2147483647 h 18"/>
                <a:gd name="T6" fmla="*/ 2147483647 w 27"/>
                <a:gd name="T7" fmla="*/ 2147483647 h 18"/>
                <a:gd name="T8" fmla="*/ 2147483647 w 27"/>
                <a:gd name="T9" fmla="*/ 2147483647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0 w 27"/>
                <a:gd name="T23" fmla="*/ 2147483647 h 18"/>
                <a:gd name="T24" fmla="*/ 0 w 27"/>
                <a:gd name="T25" fmla="*/ 2147483647 h 18"/>
                <a:gd name="T26" fmla="*/ 2147483647 w 27"/>
                <a:gd name="T27" fmla="*/ 2147483647 h 18"/>
                <a:gd name="T28" fmla="*/ 2147483647 w 27"/>
                <a:gd name="T29" fmla="*/ 2147483647 h 18"/>
                <a:gd name="T30" fmla="*/ 2147483647 w 27"/>
                <a:gd name="T31" fmla="*/ 2147483647 h 18"/>
                <a:gd name="T32" fmla="*/ 2147483647 w 27"/>
                <a:gd name="T33" fmla="*/ 2147483647 h 18"/>
                <a:gd name="T34" fmla="*/ 2147483647 w 27"/>
                <a:gd name="T35" fmla="*/ 2147483647 h 18"/>
                <a:gd name="T36" fmla="*/ 2147483647 w 27"/>
                <a:gd name="T37" fmla="*/ 2147483647 h 18"/>
                <a:gd name="T38" fmla="*/ 2147483647 w 27"/>
                <a:gd name="T39" fmla="*/ 2147483647 h 18"/>
                <a:gd name="T40" fmla="*/ 2147483647 w 27"/>
                <a:gd name="T41" fmla="*/ 2147483647 h 18"/>
                <a:gd name="T42" fmla="*/ 2147483647 w 27"/>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18"/>
                <a:gd name="T68" fmla="*/ 27 w 27"/>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18">
                  <a:moveTo>
                    <a:pt x="25" y="8"/>
                  </a:moveTo>
                  <a:lnTo>
                    <a:pt x="27" y="7"/>
                  </a:lnTo>
                  <a:lnTo>
                    <a:pt x="27" y="6"/>
                  </a:lnTo>
                  <a:lnTo>
                    <a:pt x="27" y="5"/>
                  </a:lnTo>
                  <a:lnTo>
                    <a:pt x="22" y="1"/>
                  </a:lnTo>
                  <a:lnTo>
                    <a:pt x="20" y="0"/>
                  </a:lnTo>
                  <a:lnTo>
                    <a:pt x="16" y="1"/>
                  </a:lnTo>
                  <a:lnTo>
                    <a:pt x="10" y="5"/>
                  </a:lnTo>
                  <a:lnTo>
                    <a:pt x="6" y="6"/>
                  </a:lnTo>
                  <a:lnTo>
                    <a:pt x="2" y="7"/>
                  </a:lnTo>
                  <a:lnTo>
                    <a:pt x="1" y="8"/>
                  </a:lnTo>
                  <a:lnTo>
                    <a:pt x="0" y="9"/>
                  </a:lnTo>
                  <a:lnTo>
                    <a:pt x="0" y="13"/>
                  </a:lnTo>
                  <a:lnTo>
                    <a:pt x="1" y="14"/>
                  </a:lnTo>
                  <a:lnTo>
                    <a:pt x="2" y="15"/>
                  </a:lnTo>
                  <a:lnTo>
                    <a:pt x="5" y="15"/>
                  </a:lnTo>
                  <a:lnTo>
                    <a:pt x="7" y="15"/>
                  </a:lnTo>
                  <a:lnTo>
                    <a:pt x="8" y="18"/>
                  </a:lnTo>
                  <a:lnTo>
                    <a:pt x="10" y="18"/>
                  </a:lnTo>
                  <a:lnTo>
                    <a:pt x="11" y="18"/>
                  </a:lnTo>
                  <a:lnTo>
                    <a:pt x="17" y="12"/>
                  </a:lnTo>
                  <a:lnTo>
                    <a:pt x="25"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3" name="Freeform 1152"/>
            <p:cNvSpPr>
              <a:spLocks/>
            </p:cNvSpPr>
            <p:nvPr/>
          </p:nvSpPr>
          <p:spPr bwMode="auto">
            <a:xfrm>
              <a:off x="6342064" y="1736729"/>
              <a:ext cx="15875" cy="28575"/>
            </a:xfrm>
            <a:custGeom>
              <a:avLst/>
              <a:gdLst>
                <a:gd name="T0" fmla="*/ 2147483647 w 11"/>
                <a:gd name="T1" fmla="*/ 2147483647 h 18"/>
                <a:gd name="T2" fmla="*/ 2147483647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2147483647 w 11"/>
                <a:gd name="T13" fmla="*/ 0 h 18"/>
                <a:gd name="T14" fmla="*/ 2147483647 w 11"/>
                <a:gd name="T15" fmla="*/ 2147483647 h 18"/>
                <a:gd name="T16" fmla="*/ 2147483647 w 11"/>
                <a:gd name="T17" fmla="*/ 2147483647 h 18"/>
                <a:gd name="T18" fmla="*/ 0 w 11"/>
                <a:gd name="T19" fmla="*/ 2147483647 h 18"/>
                <a:gd name="T20" fmla="*/ 0 w 11"/>
                <a:gd name="T21" fmla="*/ 2147483647 h 18"/>
                <a:gd name="T22" fmla="*/ 0 w 11"/>
                <a:gd name="T23" fmla="*/ 2147483647 h 18"/>
                <a:gd name="T24" fmla="*/ 2147483647 w 11"/>
                <a:gd name="T25" fmla="*/ 2147483647 h 18"/>
                <a:gd name="T26" fmla="*/ 2147483647 w 11"/>
                <a:gd name="T27" fmla="*/ 2147483647 h 18"/>
                <a:gd name="T28" fmla="*/ 2147483647 w 11"/>
                <a:gd name="T29" fmla="*/ 2147483647 h 18"/>
                <a:gd name="T30" fmla="*/ 2147483647 w 11"/>
                <a:gd name="T31" fmla="*/ 2147483647 h 18"/>
                <a:gd name="T32" fmla="*/ 2147483647 w 11"/>
                <a:gd name="T33" fmla="*/ 2147483647 h 18"/>
                <a:gd name="T34" fmla="*/ 2147483647 w 11"/>
                <a:gd name="T35" fmla="*/ 2147483647 h 18"/>
                <a:gd name="T36" fmla="*/ 2147483647 w 11"/>
                <a:gd name="T37" fmla="*/ 2147483647 h 18"/>
                <a:gd name="T38" fmla="*/ 2147483647 w 11"/>
                <a:gd name="T39" fmla="*/ 2147483647 h 18"/>
                <a:gd name="T40" fmla="*/ 2147483647 w 11"/>
                <a:gd name="T41" fmla="*/ 2147483647 h 18"/>
                <a:gd name="T42" fmla="*/ 2147483647 w 11"/>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8"/>
                <a:gd name="T68" fmla="*/ 11 w 11"/>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8">
                  <a:moveTo>
                    <a:pt x="11" y="5"/>
                  </a:moveTo>
                  <a:lnTo>
                    <a:pt x="11" y="5"/>
                  </a:lnTo>
                  <a:lnTo>
                    <a:pt x="11" y="4"/>
                  </a:lnTo>
                  <a:lnTo>
                    <a:pt x="11" y="1"/>
                  </a:lnTo>
                  <a:lnTo>
                    <a:pt x="11" y="0"/>
                  </a:lnTo>
                  <a:lnTo>
                    <a:pt x="9" y="0"/>
                  </a:lnTo>
                  <a:lnTo>
                    <a:pt x="5" y="3"/>
                  </a:lnTo>
                  <a:lnTo>
                    <a:pt x="2" y="6"/>
                  </a:lnTo>
                  <a:lnTo>
                    <a:pt x="0" y="10"/>
                  </a:lnTo>
                  <a:lnTo>
                    <a:pt x="0" y="13"/>
                  </a:lnTo>
                  <a:lnTo>
                    <a:pt x="1" y="14"/>
                  </a:lnTo>
                  <a:lnTo>
                    <a:pt x="5" y="17"/>
                  </a:lnTo>
                  <a:lnTo>
                    <a:pt x="7" y="18"/>
                  </a:lnTo>
                  <a:lnTo>
                    <a:pt x="10" y="17"/>
                  </a:lnTo>
                  <a:lnTo>
                    <a:pt x="11" y="14"/>
                  </a:lnTo>
                  <a:lnTo>
                    <a:pt x="10" y="11"/>
                  </a:lnTo>
                  <a:lnTo>
                    <a:pt x="10" y="9"/>
                  </a:lnTo>
                  <a:lnTo>
                    <a:pt x="11"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4" name="Freeform 1153"/>
            <p:cNvSpPr>
              <a:spLocks/>
            </p:cNvSpPr>
            <p:nvPr/>
          </p:nvSpPr>
          <p:spPr bwMode="auto">
            <a:xfrm>
              <a:off x="6283329" y="1752602"/>
              <a:ext cx="41275" cy="28575"/>
            </a:xfrm>
            <a:custGeom>
              <a:avLst/>
              <a:gdLst>
                <a:gd name="T0" fmla="*/ 2147483647 w 28"/>
                <a:gd name="T1" fmla="*/ 2147483647 h 18"/>
                <a:gd name="T2" fmla="*/ 2147483647 w 28"/>
                <a:gd name="T3" fmla="*/ 2147483647 h 18"/>
                <a:gd name="T4" fmla="*/ 2147483647 w 28"/>
                <a:gd name="T5" fmla="*/ 2147483647 h 18"/>
                <a:gd name="T6" fmla="*/ 2147483647 w 28"/>
                <a:gd name="T7" fmla="*/ 2147483647 h 18"/>
                <a:gd name="T8" fmla="*/ 2147483647 w 28"/>
                <a:gd name="T9" fmla="*/ 2147483647 h 18"/>
                <a:gd name="T10" fmla="*/ 2147483647 w 28"/>
                <a:gd name="T11" fmla="*/ 2147483647 h 18"/>
                <a:gd name="T12" fmla="*/ 2147483647 w 28"/>
                <a:gd name="T13" fmla="*/ 2147483647 h 18"/>
                <a:gd name="T14" fmla="*/ 2147483647 w 28"/>
                <a:gd name="T15" fmla="*/ 0 h 18"/>
                <a:gd name="T16" fmla="*/ 2147483647 w 28"/>
                <a:gd name="T17" fmla="*/ 2147483647 h 18"/>
                <a:gd name="T18" fmla="*/ 2147483647 w 28"/>
                <a:gd name="T19" fmla="*/ 2147483647 h 18"/>
                <a:gd name="T20" fmla="*/ 2147483647 w 28"/>
                <a:gd name="T21" fmla="*/ 2147483647 h 18"/>
                <a:gd name="T22" fmla="*/ 2147483647 w 28"/>
                <a:gd name="T23" fmla="*/ 2147483647 h 18"/>
                <a:gd name="T24" fmla="*/ 2147483647 w 28"/>
                <a:gd name="T25" fmla="*/ 2147483647 h 18"/>
                <a:gd name="T26" fmla="*/ 2147483647 w 28"/>
                <a:gd name="T27" fmla="*/ 2147483647 h 18"/>
                <a:gd name="T28" fmla="*/ 2147483647 w 28"/>
                <a:gd name="T29" fmla="*/ 2147483647 h 18"/>
                <a:gd name="T30" fmla="*/ 0 w 28"/>
                <a:gd name="T31" fmla="*/ 2147483647 h 18"/>
                <a:gd name="T32" fmla="*/ 0 w 28"/>
                <a:gd name="T33" fmla="*/ 2147483647 h 18"/>
                <a:gd name="T34" fmla="*/ 0 w 28"/>
                <a:gd name="T35" fmla="*/ 2147483647 h 18"/>
                <a:gd name="T36" fmla="*/ 2147483647 w 28"/>
                <a:gd name="T37" fmla="*/ 2147483647 h 18"/>
                <a:gd name="T38" fmla="*/ 2147483647 w 28"/>
                <a:gd name="T39" fmla="*/ 2147483647 h 18"/>
                <a:gd name="T40" fmla="*/ 2147483647 w 28"/>
                <a:gd name="T41" fmla="*/ 2147483647 h 18"/>
                <a:gd name="T42" fmla="*/ 2147483647 w 28"/>
                <a:gd name="T43" fmla="*/ 2147483647 h 18"/>
                <a:gd name="T44" fmla="*/ 2147483647 w 28"/>
                <a:gd name="T45" fmla="*/ 2147483647 h 18"/>
                <a:gd name="T46" fmla="*/ 2147483647 w 28"/>
                <a:gd name="T47" fmla="*/ 2147483647 h 18"/>
                <a:gd name="T48" fmla="*/ 2147483647 w 28"/>
                <a:gd name="T49" fmla="*/ 2147483647 h 18"/>
                <a:gd name="T50" fmla="*/ 2147483647 w 28"/>
                <a:gd name="T51" fmla="*/ 2147483647 h 18"/>
                <a:gd name="T52" fmla="*/ 2147483647 w 28"/>
                <a:gd name="T53" fmla="*/ 2147483647 h 18"/>
                <a:gd name="T54" fmla="*/ 2147483647 w 28"/>
                <a:gd name="T55" fmla="*/ 2147483647 h 18"/>
                <a:gd name="T56" fmla="*/ 2147483647 w 28"/>
                <a:gd name="T57" fmla="*/ 2147483647 h 18"/>
                <a:gd name="T58" fmla="*/ 2147483647 w 28"/>
                <a:gd name="T59" fmla="*/ 2147483647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18"/>
                <a:gd name="T92" fmla="*/ 28 w 28"/>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18">
                  <a:moveTo>
                    <a:pt x="26" y="8"/>
                  </a:moveTo>
                  <a:lnTo>
                    <a:pt x="26" y="8"/>
                  </a:lnTo>
                  <a:lnTo>
                    <a:pt x="28" y="7"/>
                  </a:lnTo>
                  <a:lnTo>
                    <a:pt x="28" y="6"/>
                  </a:lnTo>
                  <a:lnTo>
                    <a:pt x="28" y="4"/>
                  </a:lnTo>
                  <a:lnTo>
                    <a:pt x="23" y="1"/>
                  </a:lnTo>
                  <a:lnTo>
                    <a:pt x="21" y="0"/>
                  </a:lnTo>
                  <a:lnTo>
                    <a:pt x="17" y="1"/>
                  </a:lnTo>
                  <a:lnTo>
                    <a:pt x="10" y="4"/>
                  </a:lnTo>
                  <a:lnTo>
                    <a:pt x="7" y="6"/>
                  </a:lnTo>
                  <a:lnTo>
                    <a:pt x="3" y="7"/>
                  </a:lnTo>
                  <a:lnTo>
                    <a:pt x="2" y="8"/>
                  </a:lnTo>
                  <a:lnTo>
                    <a:pt x="0" y="9"/>
                  </a:lnTo>
                  <a:lnTo>
                    <a:pt x="0" y="13"/>
                  </a:lnTo>
                  <a:lnTo>
                    <a:pt x="2" y="14"/>
                  </a:lnTo>
                  <a:lnTo>
                    <a:pt x="3" y="15"/>
                  </a:lnTo>
                  <a:lnTo>
                    <a:pt x="5" y="15"/>
                  </a:lnTo>
                  <a:lnTo>
                    <a:pt x="8" y="15"/>
                  </a:lnTo>
                  <a:lnTo>
                    <a:pt x="9" y="18"/>
                  </a:lnTo>
                  <a:lnTo>
                    <a:pt x="10" y="18"/>
                  </a:lnTo>
                  <a:lnTo>
                    <a:pt x="12" y="18"/>
                  </a:lnTo>
                  <a:lnTo>
                    <a:pt x="18" y="12"/>
                  </a:lnTo>
                  <a:lnTo>
                    <a:pt x="26"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5" name="Freeform 1154"/>
            <p:cNvSpPr>
              <a:spLocks/>
            </p:cNvSpPr>
            <p:nvPr/>
          </p:nvSpPr>
          <p:spPr bwMode="auto">
            <a:xfrm>
              <a:off x="6205542" y="2860679"/>
              <a:ext cx="141287" cy="79375"/>
            </a:xfrm>
            <a:custGeom>
              <a:avLst/>
              <a:gdLst>
                <a:gd name="T0" fmla="*/ 2147483647 w 96"/>
                <a:gd name="T1" fmla="*/ 2147483647 h 50"/>
                <a:gd name="T2" fmla="*/ 2147483647 w 96"/>
                <a:gd name="T3" fmla="*/ 0 h 50"/>
                <a:gd name="T4" fmla="*/ 2147483647 w 96"/>
                <a:gd name="T5" fmla="*/ 2147483647 h 50"/>
                <a:gd name="T6" fmla="*/ 2147483647 w 96"/>
                <a:gd name="T7" fmla="*/ 2147483647 h 50"/>
                <a:gd name="T8" fmla="*/ 2147483647 w 96"/>
                <a:gd name="T9" fmla="*/ 2147483647 h 50"/>
                <a:gd name="T10" fmla="*/ 2147483647 w 96"/>
                <a:gd name="T11" fmla="*/ 2147483647 h 50"/>
                <a:gd name="T12" fmla="*/ 2147483647 w 96"/>
                <a:gd name="T13" fmla="*/ 2147483647 h 50"/>
                <a:gd name="T14" fmla="*/ 2147483647 w 96"/>
                <a:gd name="T15" fmla="*/ 2147483647 h 50"/>
                <a:gd name="T16" fmla="*/ 2147483647 w 96"/>
                <a:gd name="T17" fmla="*/ 2147483647 h 50"/>
                <a:gd name="T18" fmla="*/ 2147483647 w 96"/>
                <a:gd name="T19" fmla="*/ 2147483647 h 50"/>
                <a:gd name="T20" fmla="*/ 2147483647 w 96"/>
                <a:gd name="T21" fmla="*/ 2147483647 h 50"/>
                <a:gd name="T22" fmla="*/ 2147483647 w 96"/>
                <a:gd name="T23" fmla="*/ 2147483647 h 50"/>
                <a:gd name="T24" fmla="*/ 2147483647 w 96"/>
                <a:gd name="T25" fmla="*/ 2147483647 h 50"/>
                <a:gd name="T26" fmla="*/ 2147483647 w 96"/>
                <a:gd name="T27" fmla="*/ 2147483647 h 50"/>
                <a:gd name="T28" fmla="*/ 0 w 96"/>
                <a:gd name="T29" fmla="*/ 2147483647 h 50"/>
                <a:gd name="T30" fmla="*/ 2147483647 w 96"/>
                <a:gd name="T31" fmla="*/ 2147483647 h 50"/>
                <a:gd name="T32" fmla="*/ 2147483647 w 96"/>
                <a:gd name="T33" fmla="*/ 2147483647 h 50"/>
                <a:gd name="T34" fmla="*/ 2147483647 w 96"/>
                <a:gd name="T35" fmla="*/ 2147483647 h 50"/>
                <a:gd name="T36" fmla="*/ 2147483647 w 96"/>
                <a:gd name="T37" fmla="*/ 2147483647 h 50"/>
                <a:gd name="T38" fmla="*/ 2147483647 w 96"/>
                <a:gd name="T39" fmla="*/ 2147483647 h 50"/>
                <a:gd name="T40" fmla="*/ 2147483647 w 96"/>
                <a:gd name="T41" fmla="*/ 2147483647 h 50"/>
                <a:gd name="T42" fmla="*/ 2147483647 w 96"/>
                <a:gd name="T43" fmla="*/ 2147483647 h 50"/>
                <a:gd name="T44" fmla="*/ 2147483647 w 96"/>
                <a:gd name="T45" fmla="*/ 2147483647 h 50"/>
                <a:gd name="T46" fmla="*/ 2147483647 w 96"/>
                <a:gd name="T47" fmla="*/ 2147483647 h 50"/>
                <a:gd name="T48" fmla="*/ 2147483647 w 96"/>
                <a:gd name="T49" fmla="*/ 2147483647 h 50"/>
                <a:gd name="T50" fmla="*/ 2147483647 w 96"/>
                <a:gd name="T51" fmla="*/ 2147483647 h 50"/>
                <a:gd name="T52" fmla="*/ 2147483647 w 96"/>
                <a:gd name="T53" fmla="*/ 2147483647 h 50"/>
                <a:gd name="T54" fmla="*/ 2147483647 w 96"/>
                <a:gd name="T55" fmla="*/ 2147483647 h 50"/>
                <a:gd name="T56" fmla="*/ 2147483647 w 96"/>
                <a:gd name="T57" fmla="*/ 2147483647 h 50"/>
                <a:gd name="T58" fmla="*/ 2147483647 w 96"/>
                <a:gd name="T59" fmla="*/ 2147483647 h 50"/>
                <a:gd name="T60" fmla="*/ 2147483647 w 96"/>
                <a:gd name="T61" fmla="*/ 2147483647 h 50"/>
                <a:gd name="T62" fmla="*/ 2147483647 w 96"/>
                <a:gd name="T63" fmla="*/ 2147483647 h 50"/>
                <a:gd name="T64" fmla="*/ 2147483647 w 96"/>
                <a:gd name="T65" fmla="*/ 2147483647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50"/>
                <a:gd name="T101" fmla="*/ 96 w 96"/>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50">
                  <a:moveTo>
                    <a:pt x="96" y="7"/>
                  </a:moveTo>
                  <a:lnTo>
                    <a:pt x="96" y="4"/>
                  </a:lnTo>
                  <a:lnTo>
                    <a:pt x="96" y="1"/>
                  </a:lnTo>
                  <a:lnTo>
                    <a:pt x="94" y="0"/>
                  </a:lnTo>
                  <a:lnTo>
                    <a:pt x="91" y="0"/>
                  </a:lnTo>
                  <a:lnTo>
                    <a:pt x="90" y="1"/>
                  </a:lnTo>
                  <a:lnTo>
                    <a:pt x="88" y="4"/>
                  </a:lnTo>
                  <a:lnTo>
                    <a:pt x="85" y="6"/>
                  </a:lnTo>
                  <a:lnTo>
                    <a:pt x="82" y="6"/>
                  </a:lnTo>
                  <a:lnTo>
                    <a:pt x="79" y="5"/>
                  </a:lnTo>
                  <a:lnTo>
                    <a:pt x="76" y="5"/>
                  </a:lnTo>
                  <a:lnTo>
                    <a:pt x="74" y="5"/>
                  </a:lnTo>
                  <a:lnTo>
                    <a:pt x="63" y="6"/>
                  </a:lnTo>
                  <a:lnTo>
                    <a:pt x="60" y="6"/>
                  </a:lnTo>
                  <a:lnTo>
                    <a:pt x="55" y="6"/>
                  </a:lnTo>
                  <a:lnTo>
                    <a:pt x="55" y="4"/>
                  </a:lnTo>
                  <a:lnTo>
                    <a:pt x="47" y="4"/>
                  </a:lnTo>
                  <a:lnTo>
                    <a:pt x="41" y="4"/>
                  </a:lnTo>
                  <a:lnTo>
                    <a:pt x="34" y="5"/>
                  </a:lnTo>
                  <a:lnTo>
                    <a:pt x="28" y="5"/>
                  </a:lnTo>
                  <a:lnTo>
                    <a:pt x="19" y="5"/>
                  </a:lnTo>
                  <a:lnTo>
                    <a:pt x="14" y="6"/>
                  </a:lnTo>
                  <a:lnTo>
                    <a:pt x="11" y="8"/>
                  </a:lnTo>
                  <a:lnTo>
                    <a:pt x="9" y="12"/>
                  </a:lnTo>
                  <a:lnTo>
                    <a:pt x="8" y="15"/>
                  </a:lnTo>
                  <a:lnTo>
                    <a:pt x="6" y="19"/>
                  </a:lnTo>
                  <a:lnTo>
                    <a:pt x="5" y="23"/>
                  </a:lnTo>
                  <a:lnTo>
                    <a:pt x="2" y="25"/>
                  </a:lnTo>
                  <a:lnTo>
                    <a:pt x="0" y="27"/>
                  </a:lnTo>
                  <a:lnTo>
                    <a:pt x="0" y="31"/>
                  </a:lnTo>
                  <a:lnTo>
                    <a:pt x="1" y="36"/>
                  </a:lnTo>
                  <a:lnTo>
                    <a:pt x="4" y="40"/>
                  </a:lnTo>
                  <a:lnTo>
                    <a:pt x="8" y="45"/>
                  </a:lnTo>
                  <a:lnTo>
                    <a:pt x="11" y="49"/>
                  </a:lnTo>
                  <a:lnTo>
                    <a:pt x="13" y="50"/>
                  </a:lnTo>
                  <a:lnTo>
                    <a:pt x="15" y="50"/>
                  </a:lnTo>
                  <a:lnTo>
                    <a:pt x="19" y="49"/>
                  </a:lnTo>
                  <a:lnTo>
                    <a:pt x="20" y="46"/>
                  </a:lnTo>
                  <a:lnTo>
                    <a:pt x="22" y="44"/>
                  </a:lnTo>
                  <a:lnTo>
                    <a:pt x="20" y="42"/>
                  </a:lnTo>
                  <a:lnTo>
                    <a:pt x="18" y="38"/>
                  </a:lnTo>
                  <a:lnTo>
                    <a:pt x="16" y="33"/>
                  </a:lnTo>
                  <a:lnTo>
                    <a:pt x="18" y="28"/>
                  </a:lnTo>
                  <a:lnTo>
                    <a:pt x="20" y="24"/>
                  </a:lnTo>
                  <a:lnTo>
                    <a:pt x="22" y="24"/>
                  </a:lnTo>
                  <a:lnTo>
                    <a:pt x="24" y="25"/>
                  </a:lnTo>
                  <a:lnTo>
                    <a:pt x="24" y="23"/>
                  </a:lnTo>
                  <a:lnTo>
                    <a:pt x="24" y="21"/>
                  </a:lnTo>
                  <a:lnTo>
                    <a:pt x="24" y="19"/>
                  </a:lnTo>
                  <a:lnTo>
                    <a:pt x="25" y="17"/>
                  </a:lnTo>
                  <a:lnTo>
                    <a:pt x="27" y="17"/>
                  </a:lnTo>
                  <a:lnTo>
                    <a:pt x="28" y="17"/>
                  </a:lnTo>
                  <a:lnTo>
                    <a:pt x="30" y="17"/>
                  </a:lnTo>
                  <a:lnTo>
                    <a:pt x="32" y="17"/>
                  </a:lnTo>
                  <a:lnTo>
                    <a:pt x="35" y="17"/>
                  </a:lnTo>
                  <a:lnTo>
                    <a:pt x="39" y="17"/>
                  </a:lnTo>
                  <a:lnTo>
                    <a:pt x="47" y="18"/>
                  </a:lnTo>
                  <a:lnTo>
                    <a:pt x="52" y="17"/>
                  </a:lnTo>
                  <a:lnTo>
                    <a:pt x="56" y="15"/>
                  </a:lnTo>
                  <a:lnTo>
                    <a:pt x="61" y="15"/>
                  </a:lnTo>
                  <a:lnTo>
                    <a:pt x="67" y="15"/>
                  </a:lnTo>
                  <a:lnTo>
                    <a:pt x="79" y="17"/>
                  </a:lnTo>
                  <a:lnTo>
                    <a:pt x="85" y="15"/>
                  </a:lnTo>
                  <a:lnTo>
                    <a:pt x="89" y="14"/>
                  </a:lnTo>
                  <a:lnTo>
                    <a:pt x="94" y="12"/>
                  </a:lnTo>
                  <a:lnTo>
                    <a:pt x="96"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6" name="Freeform 1155"/>
            <p:cNvSpPr>
              <a:spLocks/>
            </p:cNvSpPr>
            <p:nvPr/>
          </p:nvSpPr>
          <p:spPr bwMode="auto">
            <a:xfrm>
              <a:off x="5711825" y="1560516"/>
              <a:ext cx="374650" cy="190500"/>
            </a:xfrm>
            <a:custGeom>
              <a:avLst/>
              <a:gdLst>
                <a:gd name="T0" fmla="*/ 2147483647 w 256"/>
                <a:gd name="T1" fmla="*/ 2147483647 h 120"/>
                <a:gd name="T2" fmla="*/ 2147483647 w 256"/>
                <a:gd name="T3" fmla="*/ 0 h 120"/>
                <a:gd name="T4" fmla="*/ 2147483647 w 256"/>
                <a:gd name="T5" fmla="*/ 0 h 120"/>
                <a:gd name="T6" fmla="*/ 2147483647 w 256"/>
                <a:gd name="T7" fmla="*/ 2147483647 h 120"/>
                <a:gd name="T8" fmla="*/ 2147483647 w 256"/>
                <a:gd name="T9" fmla="*/ 2147483647 h 120"/>
                <a:gd name="T10" fmla="*/ 2147483647 w 256"/>
                <a:gd name="T11" fmla="*/ 2147483647 h 120"/>
                <a:gd name="T12" fmla="*/ 2147483647 w 256"/>
                <a:gd name="T13" fmla="*/ 2147483647 h 120"/>
                <a:gd name="T14" fmla="*/ 2147483647 w 256"/>
                <a:gd name="T15" fmla="*/ 2147483647 h 120"/>
                <a:gd name="T16" fmla="*/ 2147483647 w 256"/>
                <a:gd name="T17" fmla="*/ 2147483647 h 120"/>
                <a:gd name="T18" fmla="*/ 2147483647 w 256"/>
                <a:gd name="T19" fmla="*/ 2147483647 h 120"/>
                <a:gd name="T20" fmla="*/ 2147483647 w 256"/>
                <a:gd name="T21" fmla="*/ 2147483647 h 120"/>
                <a:gd name="T22" fmla="*/ 2147483647 w 256"/>
                <a:gd name="T23" fmla="*/ 2147483647 h 120"/>
                <a:gd name="T24" fmla="*/ 2147483647 w 256"/>
                <a:gd name="T25" fmla="*/ 2147483647 h 120"/>
                <a:gd name="T26" fmla="*/ 2147483647 w 256"/>
                <a:gd name="T27" fmla="*/ 2147483647 h 120"/>
                <a:gd name="T28" fmla="*/ 2147483647 w 256"/>
                <a:gd name="T29" fmla="*/ 2147483647 h 120"/>
                <a:gd name="T30" fmla="*/ 2147483647 w 256"/>
                <a:gd name="T31" fmla="*/ 2147483647 h 120"/>
                <a:gd name="T32" fmla="*/ 2147483647 w 256"/>
                <a:gd name="T33" fmla="*/ 2147483647 h 120"/>
                <a:gd name="T34" fmla="*/ 2147483647 w 256"/>
                <a:gd name="T35" fmla="*/ 2147483647 h 120"/>
                <a:gd name="T36" fmla="*/ 2147483647 w 256"/>
                <a:gd name="T37" fmla="*/ 2147483647 h 120"/>
                <a:gd name="T38" fmla="*/ 2147483647 w 256"/>
                <a:gd name="T39" fmla="*/ 2147483647 h 120"/>
                <a:gd name="T40" fmla="*/ 0 w 256"/>
                <a:gd name="T41" fmla="*/ 2147483647 h 120"/>
                <a:gd name="T42" fmla="*/ 2147483647 w 256"/>
                <a:gd name="T43" fmla="*/ 2147483647 h 120"/>
                <a:gd name="T44" fmla="*/ 2147483647 w 256"/>
                <a:gd name="T45" fmla="*/ 2147483647 h 120"/>
                <a:gd name="T46" fmla="*/ 2147483647 w 256"/>
                <a:gd name="T47" fmla="*/ 2147483647 h 120"/>
                <a:gd name="T48" fmla="*/ 2147483647 w 256"/>
                <a:gd name="T49" fmla="*/ 2147483647 h 120"/>
                <a:gd name="T50" fmla="*/ 2147483647 w 256"/>
                <a:gd name="T51" fmla="*/ 2147483647 h 120"/>
                <a:gd name="T52" fmla="*/ 2147483647 w 256"/>
                <a:gd name="T53" fmla="*/ 2147483647 h 120"/>
                <a:gd name="T54" fmla="*/ 2147483647 w 256"/>
                <a:gd name="T55" fmla="*/ 2147483647 h 120"/>
                <a:gd name="T56" fmla="*/ 2147483647 w 256"/>
                <a:gd name="T57" fmla="*/ 2147483647 h 120"/>
                <a:gd name="T58" fmla="*/ 2147483647 w 256"/>
                <a:gd name="T59" fmla="*/ 2147483647 h 120"/>
                <a:gd name="T60" fmla="*/ 2147483647 w 256"/>
                <a:gd name="T61" fmla="*/ 2147483647 h 120"/>
                <a:gd name="T62" fmla="*/ 2147483647 w 256"/>
                <a:gd name="T63" fmla="*/ 2147483647 h 120"/>
                <a:gd name="T64" fmla="*/ 2147483647 w 256"/>
                <a:gd name="T65" fmla="*/ 2147483647 h 120"/>
                <a:gd name="T66" fmla="*/ 2147483647 w 256"/>
                <a:gd name="T67" fmla="*/ 2147483647 h 120"/>
                <a:gd name="T68" fmla="*/ 2147483647 w 256"/>
                <a:gd name="T69" fmla="*/ 2147483647 h 120"/>
                <a:gd name="T70" fmla="*/ 2147483647 w 256"/>
                <a:gd name="T71" fmla="*/ 2147483647 h 120"/>
                <a:gd name="T72" fmla="*/ 2147483647 w 256"/>
                <a:gd name="T73" fmla="*/ 2147483647 h 120"/>
                <a:gd name="T74" fmla="*/ 2147483647 w 256"/>
                <a:gd name="T75" fmla="*/ 2147483647 h 120"/>
                <a:gd name="T76" fmla="*/ 2147483647 w 256"/>
                <a:gd name="T77" fmla="*/ 2147483647 h 120"/>
                <a:gd name="T78" fmla="*/ 2147483647 w 256"/>
                <a:gd name="T79" fmla="*/ 2147483647 h 120"/>
                <a:gd name="T80" fmla="*/ 2147483647 w 256"/>
                <a:gd name="T81" fmla="*/ 2147483647 h 120"/>
                <a:gd name="T82" fmla="*/ 2147483647 w 256"/>
                <a:gd name="T83" fmla="*/ 2147483647 h 120"/>
                <a:gd name="T84" fmla="*/ 2147483647 w 256"/>
                <a:gd name="T85" fmla="*/ 2147483647 h 1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6"/>
                <a:gd name="T130" fmla="*/ 0 h 120"/>
                <a:gd name="T131" fmla="*/ 256 w 256"/>
                <a:gd name="T132" fmla="*/ 120 h 1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6" h="120">
                  <a:moveTo>
                    <a:pt x="253" y="0"/>
                  </a:moveTo>
                  <a:lnTo>
                    <a:pt x="251" y="1"/>
                  </a:lnTo>
                  <a:lnTo>
                    <a:pt x="247" y="2"/>
                  </a:lnTo>
                  <a:lnTo>
                    <a:pt x="240" y="2"/>
                  </a:lnTo>
                  <a:lnTo>
                    <a:pt x="235" y="2"/>
                  </a:lnTo>
                  <a:lnTo>
                    <a:pt x="230" y="0"/>
                  </a:lnTo>
                  <a:lnTo>
                    <a:pt x="228" y="0"/>
                  </a:lnTo>
                  <a:lnTo>
                    <a:pt x="225" y="0"/>
                  </a:lnTo>
                  <a:lnTo>
                    <a:pt x="224" y="0"/>
                  </a:lnTo>
                  <a:lnTo>
                    <a:pt x="218" y="7"/>
                  </a:lnTo>
                  <a:lnTo>
                    <a:pt x="214" y="9"/>
                  </a:lnTo>
                  <a:lnTo>
                    <a:pt x="210" y="12"/>
                  </a:lnTo>
                  <a:lnTo>
                    <a:pt x="200" y="15"/>
                  </a:lnTo>
                  <a:lnTo>
                    <a:pt x="190" y="19"/>
                  </a:lnTo>
                  <a:lnTo>
                    <a:pt x="179" y="21"/>
                  </a:lnTo>
                  <a:lnTo>
                    <a:pt x="169" y="25"/>
                  </a:lnTo>
                  <a:lnTo>
                    <a:pt x="164" y="26"/>
                  </a:lnTo>
                  <a:lnTo>
                    <a:pt x="162" y="26"/>
                  </a:lnTo>
                  <a:lnTo>
                    <a:pt x="159" y="25"/>
                  </a:lnTo>
                  <a:lnTo>
                    <a:pt x="159" y="24"/>
                  </a:lnTo>
                  <a:lnTo>
                    <a:pt x="158" y="18"/>
                  </a:lnTo>
                  <a:lnTo>
                    <a:pt x="158" y="16"/>
                  </a:lnTo>
                  <a:lnTo>
                    <a:pt x="158" y="15"/>
                  </a:lnTo>
                  <a:lnTo>
                    <a:pt x="152" y="15"/>
                  </a:lnTo>
                  <a:lnTo>
                    <a:pt x="144" y="15"/>
                  </a:lnTo>
                  <a:lnTo>
                    <a:pt x="138" y="18"/>
                  </a:lnTo>
                  <a:lnTo>
                    <a:pt x="130" y="20"/>
                  </a:lnTo>
                  <a:lnTo>
                    <a:pt x="129" y="22"/>
                  </a:lnTo>
                  <a:lnTo>
                    <a:pt x="127" y="25"/>
                  </a:lnTo>
                  <a:lnTo>
                    <a:pt x="125" y="27"/>
                  </a:lnTo>
                  <a:lnTo>
                    <a:pt x="122" y="29"/>
                  </a:lnTo>
                  <a:lnTo>
                    <a:pt x="113" y="29"/>
                  </a:lnTo>
                  <a:lnTo>
                    <a:pt x="106" y="32"/>
                  </a:lnTo>
                  <a:lnTo>
                    <a:pt x="101" y="34"/>
                  </a:lnTo>
                  <a:lnTo>
                    <a:pt x="97" y="38"/>
                  </a:lnTo>
                  <a:lnTo>
                    <a:pt x="93" y="39"/>
                  </a:lnTo>
                  <a:lnTo>
                    <a:pt x="89" y="40"/>
                  </a:lnTo>
                  <a:lnTo>
                    <a:pt x="83" y="42"/>
                  </a:lnTo>
                  <a:lnTo>
                    <a:pt x="78" y="45"/>
                  </a:lnTo>
                  <a:lnTo>
                    <a:pt x="73" y="46"/>
                  </a:lnTo>
                  <a:lnTo>
                    <a:pt x="66" y="48"/>
                  </a:lnTo>
                  <a:lnTo>
                    <a:pt x="65" y="51"/>
                  </a:lnTo>
                  <a:lnTo>
                    <a:pt x="64" y="53"/>
                  </a:lnTo>
                  <a:lnTo>
                    <a:pt x="60" y="57"/>
                  </a:lnTo>
                  <a:lnTo>
                    <a:pt x="55" y="59"/>
                  </a:lnTo>
                  <a:lnTo>
                    <a:pt x="50" y="60"/>
                  </a:lnTo>
                  <a:lnTo>
                    <a:pt x="44" y="60"/>
                  </a:lnTo>
                  <a:lnTo>
                    <a:pt x="41" y="60"/>
                  </a:lnTo>
                  <a:lnTo>
                    <a:pt x="39" y="63"/>
                  </a:lnTo>
                  <a:lnTo>
                    <a:pt x="33" y="77"/>
                  </a:lnTo>
                  <a:lnTo>
                    <a:pt x="30" y="83"/>
                  </a:lnTo>
                  <a:lnTo>
                    <a:pt x="27" y="86"/>
                  </a:lnTo>
                  <a:lnTo>
                    <a:pt x="23" y="89"/>
                  </a:lnTo>
                  <a:lnTo>
                    <a:pt x="22" y="89"/>
                  </a:lnTo>
                  <a:lnTo>
                    <a:pt x="23" y="91"/>
                  </a:lnTo>
                  <a:lnTo>
                    <a:pt x="22" y="93"/>
                  </a:lnTo>
                  <a:lnTo>
                    <a:pt x="19" y="96"/>
                  </a:lnTo>
                  <a:lnTo>
                    <a:pt x="14" y="98"/>
                  </a:lnTo>
                  <a:lnTo>
                    <a:pt x="7" y="102"/>
                  </a:lnTo>
                  <a:lnTo>
                    <a:pt x="4" y="103"/>
                  </a:lnTo>
                  <a:lnTo>
                    <a:pt x="2" y="103"/>
                  </a:lnTo>
                  <a:lnTo>
                    <a:pt x="0" y="105"/>
                  </a:lnTo>
                  <a:lnTo>
                    <a:pt x="0" y="108"/>
                  </a:lnTo>
                  <a:lnTo>
                    <a:pt x="0" y="112"/>
                  </a:lnTo>
                  <a:lnTo>
                    <a:pt x="2" y="112"/>
                  </a:lnTo>
                  <a:lnTo>
                    <a:pt x="3" y="112"/>
                  </a:lnTo>
                  <a:lnTo>
                    <a:pt x="8" y="111"/>
                  </a:lnTo>
                  <a:lnTo>
                    <a:pt x="14" y="111"/>
                  </a:lnTo>
                  <a:lnTo>
                    <a:pt x="21" y="112"/>
                  </a:lnTo>
                  <a:lnTo>
                    <a:pt x="26" y="115"/>
                  </a:lnTo>
                  <a:lnTo>
                    <a:pt x="39" y="118"/>
                  </a:lnTo>
                  <a:lnTo>
                    <a:pt x="45" y="120"/>
                  </a:lnTo>
                  <a:lnTo>
                    <a:pt x="51" y="120"/>
                  </a:lnTo>
                  <a:lnTo>
                    <a:pt x="54" y="118"/>
                  </a:lnTo>
                  <a:lnTo>
                    <a:pt x="55" y="117"/>
                  </a:lnTo>
                  <a:lnTo>
                    <a:pt x="55" y="116"/>
                  </a:lnTo>
                  <a:lnTo>
                    <a:pt x="56" y="111"/>
                  </a:lnTo>
                  <a:lnTo>
                    <a:pt x="58" y="108"/>
                  </a:lnTo>
                  <a:lnTo>
                    <a:pt x="58" y="103"/>
                  </a:lnTo>
                  <a:lnTo>
                    <a:pt x="58" y="99"/>
                  </a:lnTo>
                  <a:lnTo>
                    <a:pt x="56" y="96"/>
                  </a:lnTo>
                  <a:lnTo>
                    <a:pt x="58" y="92"/>
                  </a:lnTo>
                  <a:lnTo>
                    <a:pt x="63" y="88"/>
                  </a:lnTo>
                  <a:lnTo>
                    <a:pt x="68" y="83"/>
                  </a:lnTo>
                  <a:lnTo>
                    <a:pt x="75" y="79"/>
                  </a:lnTo>
                  <a:lnTo>
                    <a:pt x="79" y="79"/>
                  </a:lnTo>
                  <a:lnTo>
                    <a:pt x="83" y="79"/>
                  </a:lnTo>
                  <a:lnTo>
                    <a:pt x="85" y="78"/>
                  </a:lnTo>
                  <a:lnTo>
                    <a:pt x="88" y="77"/>
                  </a:lnTo>
                  <a:lnTo>
                    <a:pt x="89" y="73"/>
                  </a:lnTo>
                  <a:lnTo>
                    <a:pt x="93" y="72"/>
                  </a:lnTo>
                  <a:lnTo>
                    <a:pt x="96" y="72"/>
                  </a:lnTo>
                  <a:lnTo>
                    <a:pt x="99" y="72"/>
                  </a:lnTo>
                  <a:lnTo>
                    <a:pt x="102" y="73"/>
                  </a:lnTo>
                  <a:lnTo>
                    <a:pt x="105" y="73"/>
                  </a:lnTo>
                  <a:lnTo>
                    <a:pt x="106" y="71"/>
                  </a:lnTo>
                  <a:lnTo>
                    <a:pt x="106" y="69"/>
                  </a:lnTo>
                  <a:lnTo>
                    <a:pt x="106" y="66"/>
                  </a:lnTo>
                  <a:lnTo>
                    <a:pt x="107" y="66"/>
                  </a:lnTo>
                  <a:lnTo>
                    <a:pt x="117" y="64"/>
                  </a:lnTo>
                  <a:lnTo>
                    <a:pt x="126" y="60"/>
                  </a:lnTo>
                  <a:lnTo>
                    <a:pt x="144" y="52"/>
                  </a:lnTo>
                  <a:lnTo>
                    <a:pt x="150" y="50"/>
                  </a:lnTo>
                  <a:lnTo>
                    <a:pt x="153" y="50"/>
                  </a:lnTo>
                  <a:lnTo>
                    <a:pt x="157" y="50"/>
                  </a:lnTo>
                  <a:lnTo>
                    <a:pt x="159" y="50"/>
                  </a:lnTo>
                  <a:lnTo>
                    <a:pt x="163" y="50"/>
                  </a:lnTo>
                  <a:lnTo>
                    <a:pt x="168" y="46"/>
                  </a:lnTo>
                  <a:lnTo>
                    <a:pt x="174" y="42"/>
                  </a:lnTo>
                  <a:lnTo>
                    <a:pt x="177" y="41"/>
                  </a:lnTo>
                  <a:lnTo>
                    <a:pt x="181" y="41"/>
                  </a:lnTo>
                  <a:lnTo>
                    <a:pt x="191" y="41"/>
                  </a:lnTo>
                  <a:lnTo>
                    <a:pt x="199" y="40"/>
                  </a:lnTo>
                  <a:lnTo>
                    <a:pt x="206" y="39"/>
                  </a:lnTo>
                  <a:lnTo>
                    <a:pt x="214" y="35"/>
                  </a:lnTo>
                  <a:lnTo>
                    <a:pt x="221" y="33"/>
                  </a:lnTo>
                  <a:lnTo>
                    <a:pt x="229" y="32"/>
                  </a:lnTo>
                  <a:lnTo>
                    <a:pt x="243" y="32"/>
                  </a:lnTo>
                  <a:lnTo>
                    <a:pt x="244" y="31"/>
                  </a:lnTo>
                  <a:lnTo>
                    <a:pt x="244" y="29"/>
                  </a:lnTo>
                  <a:lnTo>
                    <a:pt x="244" y="27"/>
                  </a:lnTo>
                  <a:lnTo>
                    <a:pt x="244" y="22"/>
                  </a:lnTo>
                  <a:lnTo>
                    <a:pt x="247" y="20"/>
                  </a:lnTo>
                  <a:lnTo>
                    <a:pt x="251" y="16"/>
                  </a:lnTo>
                  <a:lnTo>
                    <a:pt x="253" y="13"/>
                  </a:lnTo>
                  <a:lnTo>
                    <a:pt x="254" y="8"/>
                  </a:lnTo>
                  <a:lnTo>
                    <a:pt x="254" y="5"/>
                  </a:lnTo>
                  <a:lnTo>
                    <a:pt x="256" y="2"/>
                  </a:lnTo>
                  <a:lnTo>
                    <a:pt x="256" y="1"/>
                  </a:lnTo>
                  <a:lnTo>
                    <a:pt x="254" y="1"/>
                  </a:lnTo>
                  <a:lnTo>
                    <a:pt x="25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7" name="Freeform 1156"/>
            <p:cNvSpPr>
              <a:spLocks/>
            </p:cNvSpPr>
            <p:nvPr/>
          </p:nvSpPr>
          <p:spPr bwMode="auto">
            <a:xfrm>
              <a:off x="6203951" y="2859092"/>
              <a:ext cx="141288" cy="79375"/>
            </a:xfrm>
            <a:custGeom>
              <a:avLst/>
              <a:gdLst>
                <a:gd name="T0" fmla="*/ 2147483647 w 96"/>
                <a:gd name="T1" fmla="*/ 2147483647 h 50"/>
                <a:gd name="T2" fmla="*/ 2147483647 w 96"/>
                <a:gd name="T3" fmla="*/ 2147483647 h 50"/>
                <a:gd name="T4" fmla="*/ 2147483647 w 96"/>
                <a:gd name="T5" fmla="*/ 0 h 50"/>
                <a:gd name="T6" fmla="*/ 2147483647 w 96"/>
                <a:gd name="T7" fmla="*/ 2147483647 h 50"/>
                <a:gd name="T8" fmla="*/ 2147483647 w 96"/>
                <a:gd name="T9" fmla="*/ 2147483647 h 50"/>
                <a:gd name="T10" fmla="*/ 2147483647 w 96"/>
                <a:gd name="T11" fmla="*/ 2147483647 h 50"/>
                <a:gd name="T12" fmla="*/ 2147483647 w 96"/>
                <a:gd name="T13" fmla="*/ 2147483647 h 50"/>
                <a:gd name="T14" fmla="*/ 2147483647 w 96"/>
                <a:gd name="T15" fmla="*/ 2147483647 h 50"/>
                <a:gd name="T16" fmla="*/ 2147483647 w 96"/>
                <a:gd name="T17" fmla="*/ 2147483647 h 50"/>
                <a:gd name="T18" fmla="*/ 2147483647 w 96"/>
                <a:gd name="T19" fmla="*/ 2147483647 h 50"/>
                <a:gd name="T20" fmla="*/ 2147483647 w 96"/>
                <a:gd name="T21" fmla="*/ 2147483647 h 50"/>
                <a:gd name="T22" fmla="*/ 2147483647 w 96"/>
                <a:gd name="T23" fmla="*/ 2147483647 h 50"/>
                <a:gd name="T24" fmla="*/ 2147483647 w 96"/>
                <a:gd name="T25" fmla="*/ 2147483647 h 50"/>
                <a:gd name="T26" fmla="*/ 2147483647 w 96"/>
                <a:gd name="T27" fmla="*/ 2147483647 h 50"/>
                <a:gd name="T28" fmla="*/ 2147483647 w 96"/>
                <a:gd name="T29" fmla="*/ 2147483647 h 50"/>
                <a:gd name="T30" fmla="*/ 2147483647 w 96"/>
                <a:gd name="T31" fmla="*/ 2147483647 h 50"/>
                <a:gd name="T32" fmla="*/ 2147483647 w 96"/>
                <a:gd name="T33" fmla="*/ 2147483647 h 50"/>
                <a:gd name="T34" fmla="*/ 2147483647 w 96"/>
                <a:gd name="T35" fmla="*/ 2147483647 h 50"/>
                <a:gd name="T36" fmla="*/ 2147483647 w 96"/>
                <a:gd name="T37" fmla="*/ 2147483647 h 50"/>
                <a:gd name="T38" fmla="*/ 0 w 96"/>
                <a:gd name="T39" fmla="*/ 2147483647 h 50"/>
                <a:gd name="T40" fmla="*/ 0 w 96"/>
                <a:gd name="T41" fmla="*/ 2147483647 h 50"/>
                <a:gd name="T42" fmla="*/ 2147483647 w 96"/>
                <a:gd name="T43" fmla="*/ 2147483647 h 50"/>
                <a:gd name="T44" fmla="*/ 2147483647 w 96"/>
                <a:gd name="T45" fmla="*/ 2147483647 h 50"/>
                <a:gd name="T46" fmla="*/ 2147483647 w 96"/>
                <a:gd name="T47" fmla="*/ 2147483647 h 50"/>
                <a:gd name="T48" fmla="*/ 2147483647 w 96"/>
                <a:gd name="T49" fmla="*/ 2147483647 h 50"/>
                <a:gd name="T50" fmla="*/ 2147483647 w 96"/>
                <a:gd name="T51" fmla="*/ 2147483647 h 50"/>
                <a:gd name="T52" fmla="*/ 2147483647 w 96"/>
                <a:gd name="T53" fmla="*/ 2147483647 h 50"/>
                <a:gd name="T54" fmla="*/ 2147483647 w 96"/>
                <a:gd name="T55" fmla="*/ 2147483647 h 50"/>
                <a:gd name="T56" fmla="*/ 2147483647 w 96"/>
                <a:gd name="T57" fmla="*/ 2147483647 h 50"/>
                <a:gd name="T58" fmla="*/ 2147483647 w 96"/>
                <a:gd name="T59" fmla="*/ 2147483647 h 50"/>
                <a:gd name="T60" fmla="*/ 2147483647 w 96"/>
                <a:gd name="T61" fmla="*/ 2147483647 h 50"/>
                <a:gd name="T62" fmla="*/ 2147483647 w 96"/>
                <a:gd name="T63" fmla="*/ 2147483647 h 50"/>
                <a:gd name="T64" fmla="*/ 2147483647 w 96"/>
                <a:gd name="T65" fmla="*/ 2147483647 h 50"/>
                <a:gd name="T66" fmla="*/ 2147483647 w 96"/>
                <a:gd name="T67" fmla="*/ 2147483647 h 50"/>
                <a:gd name="T68" fmla="*/ 2147483647 w 96"/>
                <a:gd name="T69" fmla="*/ 2147483647 h 50"/>
                <a:gd name="T70" fmla="*/ 2147483647 w 96"/>
                <a:gd name="T71" fmla="*/ 2147483647 h 50"/>
                <a:gd name="T72" fmla="*/ 2147483647 w 96"/>
                <a:gd name="T73" fmla="*/ 2147483647 h 50"/>
                <a:gd name="T74" fmla="*/ 2147483647 w 96"/>
                <a:gd name="T75" fmla="*/ 2147483647 h 50"/>
                <a:gd name="T76" fmla="*/ 2147483647 w 96"/>
                <a:gd name="T77" fmla="*/ 2147483647 h 50"/>
                <a:gd name="T78" fmla="*/ 2147483647 w 96"/>
                <a:gd name="T79" fmla="*/ 2147483647 h 50"/>
                <a:gd name="T80" fmla="*/ 2147483647 w 96"/>
                <a:gd name="T81" fmla="*/ 2147483647 h 50"/>
                <a:gd name="T82" fmla="*/ 2147483647 w 96"/>
                <a:gd name="T83" fmla="*/ 2147483647 h 50"/>
                <a:gd name="T84" fmla="*/ 2147483647 w 96"/>
                <a:gd name="T85" fmla="*/ 2147483647 h 50"/>
                <a:gd name="T86" fmla="*/ 2147483647 w 96"/>
                <a:gd name="T87" fmla="*/ 2147483647 h 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6"/>
                <a:gd name="T133" fmla="*/ 0 h 50"/>
                <a:gd name="T134" fmla="*/ 96 w 96"/>
                <a:gd name="T135" fmla="*/ 50 h 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6" h="50">
                  <a:moveTo>
                    <a:pt x="96" y="7"/>
                  </a:moveTo>
                  <a:lnTo>
                    <a:pt x="96" y="7"/>
                  </a:lnTo>
                  <a:lnTo>
                    <a:pt x="96" y="3"/>
                  </a:lnTo>
                  <a:lnTo>
                    <a:pt x="96" y="1"/>
                  </a:lnTo>
                  <a:lnTo>
                    <a:pt x="94" y="0"/>
                  </a:lnTo>
                  <a:lnTo>
                    <a:pt x="91" y="0"/>
                  </a:lnTo>
                  <a:lnTo>
                    <a:pt x="90" y="1"/>
                  </a:lnTo>
                  <a:lnTo>
                    <a:pt x="87" y="3"/>
                  </a:lnTo>
                  <a:lnTo>
                    <a:pt x="85" y="6"/>
                  </a:lnTo>
                  <a:lnTo>
                    <a:pt x="82" y="6"/>
                  </a:lnTo>
                  <a:lnTo>
                    <a:pt x="78" y="5"/>
                  </a:lnTo>
                  <a:lnTo>
                    <a:pt x="76" y="5"/>
                  </a:lnTo>
                  <a:lnTo>
                    <a:pt x="73" y="5"/>
                  </a:lnTo>
                  <a:lnTo>
                    <a:pt x="63" y="6"/>
                  </a:lnTo>
                  <a:lnTo>
                    <a:pt x="59" y="6"/>
                  </a:lnTo>
                  <a:lnTo>
                    <a:pt x="54" y="6"/>
                  </a:lnTo>
                  <a:lnTo>
                    <a:pt x="54" y="3"/>
                  </a:lnTo>
                  <a:lnTo>
                    <a:pt x="47" y="3"/>
                  </a:lnTo>
                  <a:lnTo>
                    <a:pt x="40" y="3"/>
                  </a:lnTo>
                  <a:lnTo>
                    <a:pt x="34" y="5"/>
                  </a:lnTo>
                  <a:lnTo>
                    <a:pt x="28" y="5"/>
                  </a:lnTo>
                  <a:lnTo>
                    <a:pt x="19" y="5"/>
                  </a:lnTo>
                  <a:lnTo>
                    <a:pt x="14" y="6"/>
                  </a:lnTo>
                  <a:lnTo>
                    <a:pt x="11" y="8"/>
                  </a:lnTo>
                  <a:lnTo>
                    <a:pt x="9" y="12"/>
                  </a:lnTo>
                  <a:lnTo>
                    <a:pt x="7" y="15"/>
                  </a:lnTo>
                  <a:lnTo>
                    <a:pt x="6" y="19"/>
                  </a:lnTo>
                  <a:lnTo>
                    <a:pt x="5" y="22"/>
                  </a:lnTo>
                  <a:lnTo>
                    <a:pt x="2" y="25"/>
                  </a:lnTo>
                  <a:lnTo>
                    <a:pt x="0" y="27"/>
                  </a:lnTo>
                  <a:lnTo>
                    <a:pt x="0" y="31"/>
                  </a:lnTo>
                  <a:lnTo>
                    <a:pt x="1" y="35"/>
                  </a:lnTo>
                  <a:lnTo>
                    <a:pt x="3" y="40"/>
                  </a:lnTo>
                  <a:lnTo>
                    <a:pt x="7" y="45"/>
                  </a:lnTo>
                  <a:lnTo>
                    <a:pt x="11" y="48"/>
                  </a:lnTo>
                  <a:lnTo>
                    <a:pt x="12" y="50"/>
                  </a:lnTo>
                  <a:lnTo>
                    <a:pt x="15" y="50"/>
                  </a:lnTo>
                  <a:lnTo>
                    <a:pt x="19" y="48"/>
                  </a:lnTo>
                  <a:lnTo>
                    <a:pt x="20" y="46"/>
                  </a:lnTo>
                  <a:lnTo>
                    <a:pt x="21" y="44"/>
                  </a:lnTo>
                  <a:lnTo>
                    <a:pt x="20" y="41"/>
                  </a:lnTo>
                  <a:lnTo>
                    <a:pt x="17" y="38"/>
                  </a:lnTo>
                  <a:lnTo>
                    <a:pt x="16" y="33"/>
                  </a:lnTo>
                  <a:lnTo>
                    <a:pt x="17" y="28"/>
                  </a:lnTo>
                  <a:lnTo>
                    <a:pt x="20" y="24"/>
                  </a:lnTo>
                  <a:lnTo>
                    <a:pt x="21" y="24"/>
                  </a:lnTo>
                  <a:lnTo>
                    <a:pt x="24" y="25"/>
                  </a:lnTo>
                  <a:lnTo>
                    <a:pt x="24" y="22"/>
                  </a:lnTo>
                  <a:lnTo>
                    <a:pt x="24" y="21"/>
                  </a:lnTo>
                  <a:lnTo>
                    <a:pt x="24" y="19"/>
                  </a:lnTo>
                  <a:lnTo>
                    <a:pt x="25" y="16"/>
                  </a:lnTo>
                  <a:lnTo>
                    <a:pt x="26" y="16"/>
                  </a:lnTo>
                  <a:lnTo>
                    <a:pt x="28" y="16"/>
                  </a:lnTo>
                  <a:lnTo>
                    <a:pt x="30" y="16"/>
                  </a:lnTo>
                  <a:lnTo>
                    <a:pt x="31" y="16"/>
                  </a:lnTo>
                  <a:lnTo>
                    <a:pt x="35" y="16"/>
                  </a:lnTo>
                  <a:lnTo>
                    <a:pt x="39" y="16"/>
                  </a:lnTo>
                  <a:lnTo>
                    <a:pt x="47" y="18"/>
                  </a:lnTo>
                  <a:lnTo>
                    <a:pt x="52" y="16"/>
                  </a:lnTo>
                  <a:lnTo>
                    <a:pt x="56" y="15"/>
                  </a:lnTo>
                  <a:lnTo>
                    <a:pt x="61" y="15"/>
                  </a:lnTo>
                  <a:lnTo>
                    <a:pt x="67" y="15"/>
                  </a:lnTo>
                  <a:lnTo>
                    <a:pt x="78" y="16"/>
                  </a:lnTo>
                  <a:lnTo>
                    <a:pt x="85" y="15"/>
                  </a:lnTo>
                  <a:lnTo>
                    <a:pt x="89" y="14"/>
                  </a:lnTo>
                  <a:lnTo>
                    <a:pt x="94" y="12"/>
                  </a:lnTo>
                  <a:lnTo>
                    <a:pt x="96"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8" name="Freeform 1157"/>
            <p:cNvSpPr>
              <a:spLocks/>
            </p:cNvSpPr>
            <p:nvPr/>
          </p:nvSpPr>
          <p:spPr bwMode="auto">
            <a:xfrm>
              <a:off x="5710238" y="1558928"/>
              <a:ext cx="374650" cy="188913"/>
            </a:xfrm>
            <a:custGeom>
              <a:avLst/>
              <a:gdLst>
                <a:gd name="T0" fmla="*/ 2147483647 w 255"/>
                <a:gd name="T1" fmla="*/ 2147483647 h 119"/>
                <a:gd name="T2" fmla="*/ 2147483647 w 255"/>
                <a:gd name="T3" fmla="*/ 2147483647 h 119"/>
                <a:gd name="T4" fmla="*/ 2147483647 w 255"/>
                <a:gd name="T5" fmla="*/ 0 h 119"/>
                <a:gd name="T6" fmla="*/ 2147483647 w 255"/>
                <a:gd name="T7" fmla="*/ 0 h 119"/>
                <a:gd name="T8" fmla="*/ 2147483647 w 255"/>
                <a:gd name="T9" fmla="*/ 2147483647 h 119"/>
                <a:gd name="T10" fmla="*/ 2147483647 w 255"/>
                <a:gd name="T11" fmla="*/ 2147483647 h 119"/>
                <a:gd name="T12" fmla="*/ 2147483647 w 255"/>
                <a:gd name="T13" fmla="*/ 2147483647 h 119"/>
                <a:gd name="T14" fmla="*/ 2147483647 w 255"/>
                <a:gd name="T15" fmla="*/ 2147483647 h 119"/>
                <a:gd name="T16" fmla="*/ 2147483647 w 255"/>
                <a:gd name="T17" fmla="*/ 2147483647 h 119"/>
                <a:gd name="T18" fmla="*/ 2147483647 w 255"/>
                <a:gd name="T19" fmla="*/ 2147483647 h 119"/>
                <a:gd name="T20" fmla="*/ 2147483647 w 255"/>
                <a:gd name="T21" fmla="*/ 2147483647 h 119"/>
                <a:gd name="T22" fmla="*/ 2147483647 w 255"/>
                <a:gd name="T23" fmla="*/ 2147483647 h 119"/>
                <a:gd name="T24" fmla="*/ 2147483647 w 255"/>
                <a:gd name="T25" fmla="*/ 2147483647 h 119"/>
                <a:gd name="T26" fmla="*/ 2147483647 w 255"/>
                <a:gd name="T27" fmla="*/ 2147483647 h 119"/>
                <a:gd name="T28" fmla="*/ 2147483647 w 255"/>
                <a:gd name="T29" fmla="*/ 2147483647 h 119"/>
                <a:gd name="T30" fmla="*/ 2147483647 w 255"/>
                <a:gd name="T31" fmla="*/ 2147483647 h 119"/>
                <a:gd name="T32" fmla="*/ 2147483647 w 255"/>
                <a:gd name="T33" fmla="*/ 2147483647 h 119"/>
                <a:gd name="T34" fmla="*/ 2147483647 w 255"/>
                <a:gd name="T35" fmla="*/ 2147483647 h 119"/>
                <a:gd name="T36" fmla="*/ 2147483647 w 255"/>
                <a:gd name="T37" fmla="*/ 2147483647 h 119"/>
                <a:gd name="T38" fmla="*/ 2147483647 w 255"/>
                <a:gd name="T39" fmla="*/ 2147483647 h 119"/>
                <a:gd name="T40" fmla="*/ 2147483647 w 255"/>
                <a:gd name="T41" fmla="*/ 2147483647 h 119"/>
                <a:gd name="T42" fmla="*/ 2147483647 w 255"/>
                <a:gd name="T43" fmla="*/ 2147483647 h 119"/>
                <a:gd name="T44" fmla="*/ 2147483647 w 255"/>
                <a:gd name="T45" fmla="*/ 2147483647 h 119"/>
                <a:gd name="T46" fmla="*/ 2147483647 w 255"/>
                <a:gd name="T47" fmla="*/ 2147483647 h 119"/>
                <a:gd name="T48" fmla="*/ 2147483647 w 255"/>
                <a:gd name="T49" fmla="*/ 2147483647 h 119"/>
                <a:gd name="T50" fmla="*/ 2147483647 w 255"/>
                <a:gd name="T51" fmla="*/ 2147483647 h 119"/>
                <a:gd name="T52" fmla="*/ 0 w 255"/>
                <a:gd name="T53" fmla="*/ 2147483647 h 119"/>
                <a:gd name="T54" fmla="*/ 0 w 255"/>
                <a:gd name="T55" fmla="*/ 2147483647 h 119"/>
                <a:gd name="T56" fmla="*/ 2147483647 w 255"/>
                <a:gd name="T57" fmla="*/ 2147483647 h 119"/>
                <a:gd name="T58" fmla="*/ 2147483647 w 255"/>
                <a:gd name="T59" fmla="*/ 2147483647 h 119"/>
                <a:gd name="T60" fmla="*/ 2147483647 w 255"/>
                <a:gd name="T61" fmla="*/ 2147483647 h 119"/>
                <a:gd name="T62" fmla="*/ 2147483647 w 255"/>
                <a:gd name="T63" fmla="*/ 2147483647 h 119"/>
                <a:gd name="T64" fmla="*/ 2147483647 w 255"/>
                <a:gd name="T65" fmla="*/ 2147483647 h 119"/>
                <a:gd name="T66" fmla="*/ 2147483647 w 255"/>
                <a:gd name="T67" fmla="*/ 2147483647 h 119"/>
                <a:gd name="T68" fmla="*/ 2147483647 w 255"/>
                <a:gd name="T69" fmla="*/ 2147483647 h 119"/>
                <a:gd name="T70" fmla="*/ 2147483647 w 255"/>
                <a:gd name="T71" fmla="*/ 2147483647 h 119"/>
                <a:gd name="T72" fmla="*/ 2147483647 w 255"/>
                <a:gd name="T73" fmla="*/ 2147483647 h 119"/>
                <a:gd name="T74" fmla="*/ 2147483647 w 255"/>
                <a:gd name="T75" fmla="*/ 2147483647 h 119"/>
                <a:gd name="T76" fmla="*/ 2147483647 w 255"/>
                <a:gd name="T77" fmla="*/ 2147483647 h 119"/>
                <a:gd name="T78" fmla="*/ 2147483647 w 255"/>
                <a:gd name="T79" fmla="*/ 2147483647 h 119"/>
                <a:gd name="T80" fmla="*/ 2147483647 w 255"/>
                <a:gd name="T81" fmla="*/ 2147483647 h 119"/>
                <a:gd name="T82" fmla="*/ 2147483647 w 255"/>
                <a:gd name="T83" fmla="*/ 2147483647 h 119"/>
                <a:gd name="T84" fmla="*/ 2147483647 w 255"/>
                <a:gd name="T85" fmla="*/ 2147483647 h 119"/>
                <a:gd name="T86" fmla="*/ 2147483647 w 255"/>
                <a:gd name="T87" fmla="*/ 2147483647 h 119"/>
                <a:gd name="T88" fmla="*/ 2147483647 w 255"/>
                <a:gd name="T89" fmla="*/ 2147483647 h 119"/>
                <a:gd name="T90" fmla="*/ 2147483647 w 255"/>
                <a:gd name="T91" fmla="*/ 2147483647 h 119"/>
                <a:gd name="T92" fmla="*/ 2147483647 w 255"/>
                <a:gd name="T93" fmla="*/ 2147483647 h 119"/>
                <a:gd name="T94" fmla="*/ 2147483647 w 255"/>
                <a:gd name="T95" fmla="*/ 2147483647 h 119"/>
                <a:gd name="T96" fmla="*/ 2147483647 w 255"/>
                <a:gd name="T97" fmla="*/ 2147483647 h 119"/>
                <a:gd name="T98" fmla="*/ 2147483647 w 255"/>
                <a:gd name="T99" fmla="*/ 2147483647 h 119"/>
                <a:gd name="T100" fmla="*/ 2147483647 w 255"/>
                <a:gd name="T101" fmla="*/ 2147483647 h 119"/>
                <a:gd name="T102" fmla="*/ 2147483647 w 255"/>
                <a:gd name="T103" fmla="*/ 2147483647 h 119"/>
                <a:gd name="T104" fmla="*/ 2147483647 w 255"/>
                <a:gd name="T105" fmla="*/ 2147483647 h 119"/>
                <a:gd name="T106" fmla="*/ 2147483647 w 255"/>
                <a:gd name="T107" fmla="*/ 2147483647 h 119"/>
                <a:gd name="T108" fmla="*/ 2147483647 w 255"/>
                <a:gd name="T109" fmla="*/ 2147483647 h 119"/>
                <a:gd name="T110" fmla="*/ 2147483647 w 255"/>
                <a:gd name="T111" fmla="*/ 2147483647 h 119"/>
                <a:gd name="T112" fmla="*/ 2147483647 w 255"/>
                <a:gd name="T113" fmla="*/ 0 h 1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5"/>
                <a:gd name="T172" fmla="*/ 0 h 119"/>
                <a:gd name="T173" fmla="*/ 255 w 255"/>
                <a:gd name="T174" fmla="*/ 119 h 1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5" h="119">
                  <a:moveTo>
                    <a:pt x="253" y="0"/>
                  </a:moveTo>
                  <a:lnTo>
                    <a:pt x="253" y="0"/>
                  </a:lnTo>
                  <a:lnTo>
                    <a:pt x="250" y="1"/>
                  </a:lnTo>
                  <a:lnTo>
                    <a:pt x="246" y="2"/>
                  </a:lnTo>
                  <a:lnTo>
                    <a:pt x="240" y="2"/>
                  </a:lnTo>
                  <a:lnTo>
                    <a:pt x="235" y="2"/>
                  </a:lnTo>
                  <a:lnTo>
                    <a:pt x="230" y="0"/>
                  </a:lnTo>
                  <a:lnTo>
                    <a:pt x="227" y="0"/>
                  </a:lnTo>
                  <a:lnTo>
                    <a:pt x="225" y="0"/>
                  </a:lnTo>
                  <a:lnTo>
                    <a:pt x="224" y="0"/>
                  </a:lnTo>
                  <a:lnTo>
                    <a:pt x="217" y="7"/>
                  </a:lnTo>
                  <a:lnTo>
                    <a:pt x="213" y="9"/>
                  </a:lnTo>
                  <a:lnTo>
                    <a:pt x="210" y="11"/>
                  </a:lnTo>
                  <a:lnTo>
                    <a:pt x="200" y="15"/>
                  </a:lnTo>
                  <a:lnTo>
                    <a:pt x="189" y="19"/>
                  </a:lnTo>
                  <a:lnTo>
                    <a:pt x="179" y="21"/>
                  </a:lnTo>
                  <a:lnTo>
                    <a:pt x="169" y="25"/>
                  </a:lnTo>
                  <a:lnTo>
                    <a:pt x="164" y="26"/>
                  </a:lnTo>
                  <a:lnTo>
                    <a:pt x="161" y="26"/>
                  </a:lnTo>
                  <a:lnTo>
                    <a:pt x="159" y="25"/>
                  </a:lnTo>
                  <a:lnTo>
                    <a:pt x="159" y="23"/>
                  </a:lnTo>
                  <a:lnTo>
                    <a:pt x="158" y="17"/>
                  </a:lnTo>
                  <a:lnTo>
                    <a:pt x="158" y="16"/>
                  </a:lnTo>
                  <a:lnTo>
                    <a:pt x="158" y="15"/>
                  </a:lnTo>
                  <a:lnTo>
                    <a:pt x="151" y="15"/>
                  </a:lnTo>
                  <a:lnTo>
                    <a:pt x="144" y="15"/>
                  </a:lnTo>
                  <a:lnTo>
                    <a:pt x="137" y="17"/>
                  </a:lnTo>
                  <a:lnTo>
                    <a:pt x="130" y="20"/>
                  </a:lnTo>
                  <a:lnTo>
                    <a:pt x="128" y="22"/>
                  </a:lnTo>
                  <a:lnTo>
                    <a:pt x="127" y="25"/>
                  </a:lnTo>
                  <a:lnTo>
                    <a:pt x="125" y="27"/>
                  </a:lnTo>
                  <a:lnTo>
                    <a:pt x="122" y="29"/>
                  </a:lnTo>
                  <a:lnTo>
                    <a:pt x="113" y="29"/>
                  </a:lnTo>
                  <a:lnTo>
                    <a:pt x="106" y="32"/>
                  </a:lnTo>
                  <a:lnTo>
                    <a:pt x="100" y="34"/>
                  </a:lnTo>
                  <a:lnTo>
                    <a:pt x="97" y="38"/>
                  </a:lnTo>
                  <a:lnTo>
                    <a:pt x="93" y="39"/>
                  </a:lnTo>
                  <a:lnTo>
                    <a:pt x="89" y="40"/>
                  </a:lnTo>
                  <a:lnTo>
                    <a:pt x="83" y="42"/>
                  </a:lnTo>
                  <a:lnTo>
                    <a:pt x="78" y="45"/>
                  </a:lnTo>
                  <a:lnTo>
                    <a:pt x="73" y="46"/>
                  </a:lnTo>
                  <a:lnTo>
                    <a:pt x="66" y="48"/>
                  </a:lnTo>
                  <a:lnTo>
                    <a:pt x="65" y="51"/>
                  </a:lnTo>
                  <a:lnTo>
                    <a:pt x="64" y="53"/>
                  </a:lnTo>
                  <a:lnTo>
                    <a:pt x="60" y="57"/>
                  </a:lnTo>
                  <a:lnTo>
                    <a:pt x="55" y="59"/>
                  </a:lnTo>
                  <a:lnTo>
                    <a:pt x="50" y="60"/>
                  </a:lnTo>
                  <a:lnTo>
                    <a:pt x="43" y="60"/>
                  </a:lnTo>
                  <a:lnTo>
                    <a:pt x="41" y="60"/>
                  </a:lnTo>
                  <a:lnTo>
                    <a:pt x="38" y="62"/>
                  </a:lnTo>
                  <a:lnTo>
                    <a:pt x="33" y="77"/>
                  </a:lnTo>
                  <a:lnTo>
                    <a:pt x="29" y="83"/>
                  </a:lnTo>
                  <a:lnTo>
                    <a:pt x="27" y="86"/>
                  </a:lnTo>
                  <a:lnTo>
                    <a:pt x="23" y="89"/>
                  </a:lnTo>
                  <a:lnTo>
                    <a:pt x="22" y="89"/>
                  </a:lnTo>
                  <a:lnTo>
                    <a:pt x="23" y="91"/>
                  </a:lnTo>
                  <a:lnTo>
                    <a:pt x="22" y="93"/>
                  </a:lnTo>
                  <a:lnTo>
                    <a:pt x="19" y="96"/>
                  </a:lnTo>
                  <a:lnTo>
                    <a:pt x="14" y="98"/>
                  </a:lnTo>
                  <a:lnTo>
                    <a:pt x="6" y="102"/>
                  </a:lnTo>
                  <a:lnTo>
                    <a:pt x="4" y="103"/>
                  </a:lnTo>
                  <a:lnTo>
                    <a:pt x="1" y="103"/>
                  </a:lnTo>
                  <a:lnTo>
                    <a:pt x="0" y="105"/>
                  </a:lnTo>
                  <a:lnTo>
                    <a:pt x="0" y="108"/>
                  </a:lnTo>
                  <a:lnTo>
                    <a:pt x="0" y="112"/>
                  </a:lnTo>
                  <a:lnTo>
                    <a:pt x="1" y="112"/>
                  </a:lnTo>
                  <a:lnTo>
                    <a:pt x="3" y="112"/>
                  </a:lnTo>
                  <a:lnTo>
                    <a:pt x="8" y="111"/>
                  </a:lnTo>
                  <a:lnTo>
                    <a:pt x="14" y="111"/>
                  </a:lnTo>
                  <a:lnTo>
                    <a:pt x="20" y="112"/>
                  </a:lnTo>
                  <a:lnTo>
                    <a:pt x="26" y="115"/>
                  </a:lnTo>
                  <a:lnTo>
                    <a:pt x="38" y="118"/>
                  </a:lnTo>
                  <a:lnTo>
                    <a:pt x="45" y="119"/>
                  </a:lnTo>
                  <a:lnTo>
                    <a:pt x="51" y="119"/>
                  </a:lnTo>
                  <a:lnTo>
                    <a:pt x="53" y="118"/>
                  </a:lnTo>
                  <a:lnTo>
                    <a:pt x="55" y="117"/>
                  </a:lnTo>
                  <a:lnTo>
                    <a:pt x="55" y="116"/>
                  </a:lnTo>
                  <a:lnTo>
                    <a:pt x="56" y="111"/>
                  </a:lnTo>
                  <a:lnTo>
                    <a:pt x="57" y="108"/>
                  </a:lnTo>
                  <a:lnTo>
                    <a:pt x="57" y="103"/>
                  </a:lnTo>
                  <a:lnTo>
                    <a:pt x="57" y="99"/>
                  </a:lnTo>
                  <a:lnTo>
                    <a:pt x="56" y="96"/>
                  </a:lnTo>
                  <a:lnTo>
                    <a:pt x="57" y="92"/>
                  </a:lnTo>
                  <a:lnTo>
                    <a:pt x="62" y="87"/>
                  </a:lnTo>
                  <a:lnTo>
                    <a:pt x="67" y="83"/>
                  </a:lnTo>
                  <a:lnTo>
                    <a:pt x="75" y="79"/>
                  </a:lnTo>
                  <a:lnTo>
                    <a:pt x="79" y="79"/>
                  </a:lnTo>
                  <a:lnTo>
                    <a:pt x="83" y="79"/>
                  </a:lnTo>
                  <a:lnTo>
                    <a:pt x="85" y="78"/>
                  </a:lnTo>
                  <a:lnTo>
                    <a:pt x="88" y="77"/>
                  </a:lnTo>
                  <a:lnTo>
                    <a:pt x="89" y="73"/>
                  </a:lnTo>
                  <a:lnTo>
                    <a:pt x="93" y="72"/>
                  </a:lnTo>
                  <a:lnTo>
                    <a:pt x="95" y="72"/>
                  </a:lnTo>
                  <a:lnTo>
                    <a:pt x="99" y="72"/>
                  </a:lnTo>
                  <a:lnTo>
                    <a:pt x="102" y="73"/>
                  </a:lnTo>
                  <a:lnTo>
                    <a:pt x="104" y="73"/>
                  </a:lnTo>
                  <a:lnTo>
                    <a:pt x="106" y="71"/>
                  </a:lnTo>
                  <a:lnTo>
                    <a:pt x="106" y="68"/>
                  </a:lnTo>
                  <a:lnTo>
                    <a:pt x="106" y="66"/>
                  </a:lnTo>
                  <a:lnTo>
                    <a:pt x="107" y="66"/>
                  </a:lnTo>
                  <a:lnTo>
                    <a:pt x="117" y="64"/>
                  </a:lnTo>
                  <a:lnTo>
                    <a:pt x="126" y="60"/>
                  </a:lnTo>
                  <a:lnTo>
                    <a:pt x="144" y="52"/>
                  </a:lnTo>
                  <a:lnTo>
                    <a:pt x="150" y="49"/>
                  </a:lnTo>
                  <a:lnTo>
                    <a:pt x="153" y="49"/>
                  </a:lnTo>
                  <a:lnTo>
                    <a:pt x="156" y="49"/>
                  </a:lnTo>
                  <a:lnTo>
                    <a:pt x="159" y="49"/>
                  </a:lnTo>
                  <a:lnTo>
                    <a:pt x="163" y="49"/>
                  </a:lnTo>
                  <a:lnTo>
                    <a:pt x="168" y="46"/>
                  </a:lnTo>
                  <a:lnTo>
                    <a:pt x="174" y="42"/>
                  </a:lnTo>
                  <a:lnTo>
                    <a:pt x="177" y="41"/>
                  </a:lnTo>
                  <a:lnTo>
                    <a:pt x="180" y="41"/>
                  </a:lnTo>
                  <a:lnTo>
                    <a:pt x="191" y="41"/>
                  </a:lnTo>
                  <a:lnTo>
                    <a:pt x="198" y="40"/>
                  </a:lnTo>
                  <a:lnTo>
                    <a:pt x="206" y="39"/>
                  </a:lnTo>
                  <a:lnTo>
                    <a:pt x="213" y="35"/>
                  </a:lnTo>
                  <a:lnTo>
                    <a:pt x="221" y="33"/>
                  </a:lnTo>
                  <a:lnTo>
                    <a:pt x="229" y="32"/>
                  </a:lnTo>
                  <a:lnTo>
                    <a:pt x="243" y="32"/>
                  </a:lnTo>
                  <a:lnTo>
                    <a:pt x="244" y="30"/>
                  </a:lnTo>
                  <a:lnTo>
                    <a:pt x="244" y="29"/>
                  </a:lnTo>
                  <a:lnTo>
                    <a:pt x="244" y="27"/>
                  </a:lnTo>
                  <a:lnTo>
                    <a:pt x="244" y="22"/>
                  </a:lnTo>
                  <a:lnTo>
                    <a:pt x="246" y="20"/>
                  </a:lnTo>
                  <a:lnTo>
                    <a:pt x="250" y="16"/>
                  </a:lnTo>
                  <a:lnTo>
                    <a:pt x="253" y="13"/>
                  </a:lnTo>
                  <a:lnTo>
                    <a:pt x="254" y="8"/>
                  </a:lnTo>
                  <a:lnTo>
                    <a:pt x="254" y="4"/>
                  </a:lnTo>
                  <a:lnTo>
                    <a:pt x="255" y="2"/>
                  </a:lnTo>
                  <a:lnTo>
                    <a:pt x="255" y="1"/>
                  </a:lnTo>
                  <a:lnTo>
                    <a:pt x="254" y="1"/>
                  </a:lnTo>
                  <a:lnTo>
                    <a:pt x="253"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59" name="Freeform 1158"/>
            <p:cNvSpPr>
              <a:spLocks/>
            </p:cNvSpPr>
            <p:nvPr/>
          </p:nvSpPr>
          <p:spPr bwMode="auto">
            <a:xfrm>
              <a:off x="4895851" y="2403479"/>
              <a:ext cx="28574" cy="22225"/>
            </a:xfrm>
            <a:custGeom>
              <a:avLst/>
              <a:gdLst>
                <a:gd name="T0" fmla="*/ 2147483647 w 20"/>
                <a:gd name="T1" fmla="*/ 2147483647 h 14"/>
                <a:gd name="T2" fmla="*/ 2147483647 w 20"/>
                <a:gd name="T3" fmla="*/ 2147483647 h 14"/>
                <a:gd name="T4" fmla="*/ 2147483647 w 20"/>
                <a:gd name="T5" fmla="*/ 2147483647 h 14"/>
                <a:gd name="T6" fmla="*/ 2147483647 w 20"/>
                <a:gd name="T7" fmla="*/ 2147483647 h 14"/>
                <a:gd name="T8" fmla="*/ 2147483647 w 20"/>
                <a:gd name="T9" fmla="*/ 2147483647 h 14"/>
                <a:gd name="T10" fmla="*/ 2147483647 w 20"/>
                <a:gd name="T11" fmla="*/ 2147483647 h 14"/>
                <a:gd name="T12" fmla="*/ 2147483647 w 20"/>
                <a:gd name="T13" fmla="*/ 0 h 14"/>
                <a:gd name="T14" fmla="*/ 2147483647 w 20"/>
                <a:gd name="T15" fmla="*/ 2147483647 h 14"/>
                <a:gd name="T16" fmla="*/ 2147483647 w 20"/>
                <a:gd name="T17" fmla="*/ 2147483647 h 14"/>
                <a:gd name="T18" fmla="*/ 0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4"/>
                <a:gd name="T62" fmla="*/ 20 w 20"/>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4">
                  <a:moveTo>
                    <a:pt x="20" y="6"/>
                  </a:moveTo>
                  <a:lnTo>
                    <a:pt x="19" y="4"/>
                  </a:lnTo>
                  <a:lnTo>
                    <a:pt x="18" y="2"/>
                  </a:lnTo>
                  <a:lnTo>
                    <a:pt x="15" y="2"/>
                  </a:lnTo>
                  <a:lnTo>
                    <a:pt x="13" y="2"/>
                  </a:lnTo>
                  <a:lnTo>
                    <a:pt x="10" y="1"/>
                  </a:lnTo>
                  <a:lnTo>
                    <a:pt x="8" y="0"/>
                  </a:lnTo>
                  <a:lnTo>
                    <a:pt x="6" y="1"/>
                  </a:lnTo>
                  <a:lnTo>
                    <a:pt x="1" y="7"/>
                  </a:lnTo>
                  <a:lnTo>
                    <a:pt x="0" y="9"/>
                  </a:lnTo>
                  <a:lnTo>
                    <a:pt x="1" y="13"/>
                  </a:lnTo>
                  <a:lnTo>
                    <a:pt x="2" y="14"/>
                  </a:lnTo>
                  <a:lnTo>
                    <a:pt x="4" y="14"/>
                  </a:lnTo>
                  <a:lnTo>
                    <a:pt x="6" y="13"/>
                  </a:lnTo>
                  <a:lnTo>
                    <a:pt x="9" y="12"/>
                  </a:lnTo>
                  <a:lnTo>
                    <a:pt x="11" y="11"/>
                  </a:lnTo>
                  <a:lnTo>
                    <a:pt x="18" y="9"/>
                  </a:lnTo>
                  <a:lnTo>
                    <a:pt x="19" y="8"/>
                  </a:lnTo>
                  <a:lnTo>
                    <a:pt x="20" y="7"/>
                  </a:lnTo>
                  <a:lnTo>
                    <a:pt x="20"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0" name="Freeform 1159"/>
            <p:cNvSpPr>
              <a:spLocks/>
            </p:cNvSpPr>
            <p:nvPr/>
          </p:nvSpPr>
          <p:spPr bwMode="auto">
            <a:xfrm>
              <a:off x="4906967" y="2379664"/>
              <a:ext cx="22225" cy="14288"/>
            </a:xfrm>
            <a:custGeom>
              <a:avLst/>
              <a:gdLst>
                <a:gd name="T0" fmla="*/ 2147483647 w 15"/>
                <a:gd name="T1" fmla="*/ 2147483647 h 9"/>
                <a:gd name="T2" fmla="*/ 2147483647 w 15"/>
                <a:gd name="T3" fmla="*/ 2147483647 h 9"/>
                <a:gd name="T4" fmla="*/ 2147483647 w 15"/>
                <a:gd name="T5" fmla="*/ 2147483647 h 9"/>
                <a:gd name="T6" fmla="*/ 2147483647 w 15"/>
                <a:gd name="T7" fmla="*/ 2147483647 h 9"/>
                <a:gd name="T8" fmla="*/ 2147483647 w 15"/>
                <a:gd name="T9" fmla="*/ 2147483647 h 9"/>
                <a:gd name="T10" fmla="*/ 2147483647 w 15"/>
                <a:gd name="T11" fmla="*/ 0 h 9"/>
                <a:gd name="T12" fmla="*/ 2147483647 w 15"/>
                <a:gd name="T13" fmla="*/ 0 h 9"/>
                <a:gd name="T14" fmla="*/ 2147483647 w 15"/>
                <a:gd name="T15" fmla="*/ 0 h 9"/>
                <a:gd name="T16" fmla="*/ 2147483647 w 15"/>
                <a:gd name="T17" fmla="*/ 2147483647 h 9"/>
                <a:gd name="T18" fmla="*/ 0 w 15"/>
                <a:gd name="T19" fmla="*/ 2147483647 h 9"/>
                <a:gd name="T20" fmla="*/ 2147483647 w 15"/>
                <a:gd name="T21" fmla="*/ 2147483647 h 9"/>
                <a:gd name="T22" fmla="*/ 2147483647 w 15"/>
                <a:gd name="T23" fmla="*/ 2147483647 h 9"/>
                <a:gd name="T24" fmla="*/ 2147483647 w 15"/>
                <a:gd name="T25" fmla="*/ 2147483647 h 9"/>
                <a:gd name="T26" fmla="*/ 2147483647 w 15"/>
                <a:gd name="T27" fmla="*/ 2147483647 h 9"/>
                <a:gd name="T28" fmla="*/ 2147483647 w 15"/>
                <a:gd name="T29" fmla="*/ 2147483647 h 9"/>
                <a:gd name="T30" fmla="*/ 2147483647 w 15"/>
                <a:gd name="T31" fmla="*/ 2147483647 h 9"/>
                <a:gd name="T32" fmla="*/ 2147483647 w 15"/>
                <a:gd name="T33" fmla="*/ 2147483647 h 9"/>
                <a:gd name="T34" fmla="*/ 2147483647 w 15"/>
                <a:gd name="T35" fmla="*/ 2147483647 h 9"/>
                <a:gd name="T36" fmla="*/ 2147483647 w 15"/>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9"/>
                <a:gd name="T59" fmla="*/ 15 w 15"/>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9">
                  <a:moveTo>
                    <a:pt x="11" y="9"/>
                  </a:moveTo>
                  <a:lnTo>
                    <a:pt x="14" y="9"/>
                  </a:lnTo>
                  <a:lnTo>
                    <a:pt x="15" y="8"/>
                  </a:lnTo>
                  <a:lnTo>
                    <a:pt x="12" y="4"/>
                  </a:lnTo>
                  <a:lnTo>
                    <a:pt x="10" y="1"/>
                  </a:lnTo>
                  <a:lnTo>
                    <a:pt x="7" y="0"/>
                  </a:lnTo>
                  <a:lnTo>
                    <a:pt x="5" y="0"/>
                  </a:lnTo>
                  <a:lnTo>
                    <a:pt x="3" y="0"/>
                  </a:lnTo>
                  <a:lnTo>
                    <a:pt x="1" y="2"/>
                  </a:lnTo>
                  <a:lnTo>
                    <a:pt x="0" y="5"/>
                  </a:lnTo>
                  <a:lnTo>
                    <a:pt x="1" y="8"/>
                  </a:lnTo>
                  <a:lnTo>
                    <a:pt x="3" y="9"/>
                  </a:lnTo>
                  <a:lnTo>
                    <a:pt x="5" y="9"/>
                  </a:lnTo>
                  <a:lnTo>
                    <a:pt x="6" y="8"/>
                  </a:lnTo>
                  <a:lnTo>
                    <a:pt x="7" y="7"/>
                  </a:lnTo>
                  <a:lnTo>
                    <a:pt x="8" y="7"/>
                  </a:lnTo>
                  <a:lnTo>
                    <a:pt x="10" y="8"/>
                  </a:lnTo>
                  <a:lnTo>
                    <a:pt x="10" y="9"/>
                  </a:lnTo>
                  <a:lnTo>
                    <a:pt x="11"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1" name="Freeform 1160"/>
            <p:cNvSpPr>
              <a:spLocks/>
            </p:cNvSpPr>
            <p:nvPr/>
          </p:nvSpPr>
          <p:spPr bwMode="auto">
            <a:xfrm>
              <a:off x="4894263" y="2401892"/>
              <a:ext cx="30162" cy="22225"/>
            </a:xfrm>
            <a:custGeom>
              <a:avLst/>
              <a:gdLst>
                <a:gd name="T0" fmla="*/ 2147483647 w 20"/>
                <a:gd name="T1" fmla="*/ 2147483647 h 14"/>
                <a:gd name="T2" fmla="*/ 2147483647 w 20"/>
                <a:gd name="T3" fmla="*/ 2147483647 h 14"/>
                <a:gd name="T4" fmla="*/ 2147483647 w 20"/>
                <a:gd name="T5" fmla="*/ 2147483647 h 14"/>
                <a:gd name="T6" fmla="*/ 2147483647 w 20"/>
                <a:gd name="T7" fmla="*/ 2147483647 h 14"/>
                <a:gd name="T8" fmla="*/ 2147483647 w 20"/>
                <a:gd name="T9" fmla="*/ 2147483647 h 14"/>
                <a:gd name="T10" fmla="*/ 2147483647 w 20"/>
                <a:gd name="T11" fmla="*/ 2147483647 h 14"/>
                <a:gd name="T12" fmla="*/ 2147483647 w 20"/>
                <a:gd name="T13" fmla="*/ 2147483647 h 14"/>
                <a:gd name="T14" fmla="*/ 2147483647 w 20"/>
                <a:gd name="T15" fmla="*/ 2147483647 h 14"/>
                <a:gd name="T16" fmla="*/ 2147483647 w 20"/>
                <a:gd name="T17" fmla="*/ 2147483647 h 14"/>
                <a:gd name="T18" fmla="*/ 2147483647 w 20"/>
                <a:gd name="T19" fmla="*/ 0 h 14"/>
                <a:gd name="T20" fmla="*/ 2147483647 w 20"/>
                <a:gd name="T21" fmla="*/ 2147483647 h 14"/>
                <a:gd name="T22" fmla="*/ 2147483647 w 20"/>
                <a:gd name="T23" fmla="*/ 2147483647 h 14"/>
                <a:gd name="T24" fmla="*/ 2147483647 w 20"/>
                <a:gd name="T25" fmla="*/ 2147483647 h 14"/>
                <a:gd name="T26" fmla="*/ 0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2147483647 w 20"/>
                <a:gd name="T47" fmla="*/ 2147483647 h 14"/>
                <a:gd name="T48" fmla="*/ 2147483647 w 20"/>
                <a:gd name="T49" fmla="*/ 2147483647 h 14"/>
                <a:gd name="T50" fmla="*/ 2147483647 w 20"/>
                <a:gd name="T51" fmla="*/ 2147483647 h 14"/>
                <a:gd name="T52" fmla="*/ 2147483647 w 20"/>
                <a:gd name="T53" fmla="*/ 2147483647 h 14"/>
                <a:gd name="T54" fmla="*/ 2147483647 w 20"/>
                <a:gd name="T55" fmla="*/ 2147483647 h 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
                <a:gd name="T85" fmla="*/ 0 h 14"/>
                <a:gd name="T86" fmla="*/ 20 w 20"/>
                <a:gd name="T87" fmla="*/ 14 h 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 h="14">
                  <a:moveTo>
                    <a:pt x="20" y="6"/>
                  </a:moveTo>
                  <a:lnTo>
                    <a:pt x="20" y="6"/>
                  </a:lnTo>
                  <a:lnTo>
                    <a:pt x="19" y="3"/>
                  </a:lnTo>
                  <a:lnTo>
                    <a:pt x="17" y="2"/>
                  </a:lnTo>
                  <a:lnTo>
                    <a:pt x="15" y="2"/>
                  </a:lnTo>
                  <a:lnTo>
                    <a:pt x="12" y="2"/>
                  </a:lnTo>
                  <a:lnTo>
                    <a:pt x="10" y="1"/>
                  </a:lnTo>
                  <a:lnTo>
                    <a:pt x="7" y="0"/>
                  </a:lnTo>
                  <a:lnTo>
                    <a:pt x="6" y="1"/>
                  </a:lnTo>
                  <a:lnTo>
                    <a:pt x="1" y="7"/>
                  </a:lnTo>
                  <a:lnTo>
                    <a:pt x="0" y="9"/>
                  </a:lnTo>
                  <a:lnTo>
                    <a:pt x="1" y="13"/>
                  </a:lnTo>
                  <a:lnTo>
                    <a:pt x="2" y="14"/>
                  </a:lnTo>
                  <a:lnTo>
                    <a:pt x="3" y="14"/>
                  </a:lnTo>
                  <a:lnTo>
                    <a:pt x="6" y="13"/>
                  </a:lnTo>
                  <a:lnTo>
                    <a:pt x="9" y="12"/>
                  </a:lnTo>
                  <a:lnTo>
                    <a:pt x="11" y="10"/>
                  </a:lnTo>
                  <a:lnTo>
                    <a:pt x="17" y="9"/>
                  </a:lnTo>
                  <a:lnTo>
                    <a:pt x="19" y="8"/>
                  </a:lnTo>
                  <a:lnTo>
                    <a:pt x="20" y="7"/>
                  </a:lnTo>
                  <a:lnTo>
                    <a:pt x="20"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2" name="Freeform 1161"/>
            <p:cNvSpPr>
              <a:spLocks/>
            </p:cNvSpPr>
            <p:nvPr/>
          </p:nvSpPr>
          <p:spPr bwMode="auto">
            <a:xfrm>
              <a:off x="4905379" y="2376492"/>
              <a:ext cx="22225" cy="15875"/>
            </a:xfrm>
            <a:custGeom>
              <a:avLst/>
              <a:gdLst>
                <a:gd name="T0" fmla="*/ 2147483647 w 16"/>
                <a:gd name="T1" fmla="*/ 2147483647 h 10"/>
                <a:gd name="T2" fmla="*/ 2147483647 w 16"/>
                <a:gd name="T3" fmla="*/ 2147483647 h 10"/>
                <a:gd name="T4" fmla="*/ 2147483647 w 16"/>
                <a:gd name="T5" fmla="*/ 2147483647 h 10"/>
                <a:gd name="T6" fmla="*/ 2147483647 w 16"/>
                <a:gd name="T7" fmla="*/ 2147483647 h 10"/>
                <a:gd name="T8" fmla="*/ 2147483647 w 16"/>
                <a:gd name="T9" fmla="*/ 2147483647 h 10"/>
                <a:gd name="T10" fmla="*/ 2147483647 w 16"/>
                <a:gd name="T11" fmla="*/ 2147483647 h 10"/>
                <a:gd name="T12" fmla="*/ 2147483647 w 16"/>
                <a:gd name="T13" fmla="*/ 2147483647 h 10"/>
                <a:gd name="T14" fmla="*/ 2147483647 w 16"/>
                <a:gd name="T15" fmla="*/ 2147483647 h 10"/>
                <a:gd name="T16" fmla="*/ 2147483647 w 16"/>
                <a:gd name="T17" fmla="*/ 0 h 10"/>
                <a:gd name="T18" fmla="*/ 2147483647 w 16"/>
                <a:gd name="T19" fmla="*/ 0 h 10"/>
                <a:gd name="T20" fmla="*/ 2147483647 w 16"/>
                <a:gd name="T21" fmla="*/ 0 h 10"/>
                <a:gd name="T22" fmla="*/ 2147483647 w 16"/>
                <a:gd name="T23" fmla="*/ 2147483647 h 10"/>
                <a:gd name="T24" fmla="*/ 2147483647 w 16"/>
                <a:gd name="T25" fmla="*/ 2147483647 h 10"/>
                <a:gd name="T26" fmla="*/ 0 w 16"/>
                <a:gd name="T27" fmla="*/ 2147483647 h 10"/>
                <a:gd name="T28" fmla="*/ 2147483647 w 16"/>
                <a:gd name="T29" fmla="*/ 2147483647 h 10"/>
                <a:gd name="T30" fmla="*/ 2147483647 w 16"/>
                <a:gd name="T31" fmla="*/ 2147483647 h 10"/>
                <a:gd name="T32" fmla="*/ 2147483647 w 16"/>
                <a:gd name="T33" fmla="*/ 2147483647 h 10"/>
                <a:gd name="T34" fmla="*/ 2147483647 w 16"/>
                <a:gd name="T35" fmla="*/ 2147483647 h 10"/>
                <a:gd name="T36" fmla="*/ 2147483647 w 16"/>
                <a:gd name="T37" fmla="*/ 2147483647 h 10"/>
                <a:gd name="T38" fmla="*/ 2147483647 w 16"/>
                <a:gd name="T39" fmla="*/ 2147483647 h 10"/>
                <a:gd name="T40" fmla="*/ 2147483647 w 16"/>
                <a:gd name="T41" fmla="*/ 2147483647 h 10"/>
                <a:gd name="T42" fmla="*/ 2147483647 w 16"/>
                <a:gd name="T43" fmla="*/ 2147483647 h 10"/>
                <a:gd name="T44" fmla="*/ 2147483647 w 16"/>
                <a:gd name="T45" fmla="*/ 2147483647 h 10"/>
                <a:gd name="T46" fmla="*/ 2147483647 w 16"/>
                <a:gd name="T47" fmla="*/ 2147483647 h 10"/>
                <a:gd name="T48" fmla="*/ 2147483647 w 16"/>
                <a:gd name="T49" fmla="*/ 2147483647 h 10"/>
                <a:gd name="T50" fmla="*/ 2147483647 w 16"/>
                <a:gd name="T51" fmla="*/ 2147483647 h 10"/>
                <a:gd name="T52" fmla="*/ 2147483647 w 16"/>
                <a:gd name="T53" fmla="*/ 2147483647 h 10"/>
                <a:gd name="T54" fmla="*/ 2147483647 w 16"/>
                <a:gd name="T55" fmla="*/ 2147483647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
                <a:gd name="T85" fmla="*/ 0 h 10"/>
                <a:gd name="T86" fmla="*/ 16 w 16"/>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 h="10">
                  <a:moveTo>
                    <a:pt x="12" y="10"/>
                  </a:moveTo>
                  <a:lnTo>
                    <a:pt x="12" y="10"/>
                  </a:lnTo>
                  <a:lnTo>
                    <a:pt x="14" y="10"/>
                  </a:lnTo>
                  <a:lnTo>
                    <a:pt x="16" y="9"/>
                  </a:lnTo>
                  <a:lnTo>
                    <a:pt x="13" y="5"/>
                  </a:lnTo>
                  <a:lnTo>
                    <a:pt x="10" y="2"/>
                  </a:lnTo>
                  <a:lnTo>
                    <a:pt x="8" y="0"/>
                  </a:lnTo>
                  <a:lnTo>
                    <a:pt x="5" y="0"/>
                  </a:lnTo>
                  <a:lnTo>
                    <a:pt x="4" y="0"/>
                  </a:lnTo>
                  <a:lnTo>
                    <a:pt x="2" y="3"/>
                  </a:lnTo>
                  <a:lnTo>
                    <a:pt x="0" y="6"/>
                  </a:lnTo>
                  <a:lnTo>
                    <a:pt x="2" y="9"/>
                  </a:lnTo>
                  <a:lnTo>
                    <a:pt x="4" y="10"/>
                  </a:lnTo>
                  <a:lnTo>
                    <a:pt x="5" y="10"/>
                  </a:lnTo>
                  <a:lnTo>
                    <a:pt x="7" y="9"/>
                  </a:lnTo>
                  <a:lnTo>
                    <a:pt x="8" y="7"/>
                  </a:lnTo>
                  <a:lnTo>
                    <a:pt x="9" y="7"/>
                  </a:lnTo>
                  <a:lnTo>
                    <a:pt x="10" y="9"/>
                  </a:lnTo>
                  <a:lnTo>
                    <a:pt x="10" y="10"/>
                  </a:lnTo>
                  <a:lnTo>
                    <a:pt x="12"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3" name="Freeform 1162"/>
            <p:cNvSpPr>
              <a:spLocks/>
            </p:cNvSpPr>
            <p:nvPr/>
          </p:nvSpPr>
          <p:spPr bwMode="auto">
            <a:xfrm>
              <a:off x="5826129" y="2857504"/>
              <a:ext cx="92075" cy="133350"/>
            </a:xfrm>
            <a:custGeom>
              <a:avLst/>
              <a:gdLst>
                <a:gd name="T0" fmla="*/ 2147483647 w 63"/>
                <a:gd name="T1" fmla="*/ 2147483647 h 84"/>
                <a:gd name="T2" fmla="*/ 2147483647 w 63"/>
                <a:gd name="T3" fmla="*/ 2147483647 h 84"/>
                <a:gd name="T4" fmla="*/ 2147483647 w 63"/>
                <a:gd name="T5" fmla="*/ 2147483647 h 84"/>
                <a:gd name="T6" fmla="*/ 2147483647 w 63"/>
                <a:gd name="T7" fmla="*/ 2147483647 h 84"/>
                <a:gd name="T8" fmla="*/ 2147483647 w 63"/>
                <a:gd name="T9" fmla="*/ 2147483647 h 84"/>
                <a:gd name="T10" fmla="*/ 2147483647 w 63"/>
                <a:gd name="T11" fmla="*/ 2147483647 h 84"/>
                <a:gd name="T12" fmla="*/ 0 w 63"/>
                <a:gd name="T13" fmla="*/ 2147483647 h 84"/>
                <a:gd name="T14" fmla="*/ 0 w 63"/>
                <a:gd name="T15" fmla="*/ 2147483647 h 84"/>
                <a:gd name="T16" fmla="*/ 2147483647 w 63"/>
                <a:gd name="T17" fmla="*/ 2147483647 h 84"/>
                <a:gd name="T18" fmla="*/ 2147483647 w 63"/>
                <a:gd name="T19" fmla="*/ 2147483647 h 84"/>
                <a:gd name="T20" fmla="*/ 2147483647 w 63"/>
                <a:gd name="T21" fmla="*/ 2147483647 h 84"/>
                <a:gd name="T22" fmla="*/ 2147483647 w 63"/>
                <a:gd name="T23" fmla="*/ 2147483647 h 84"/>
                <a:gd name="T24" fmla="*/ 2147483647 w 63"/>
                <a:gd name="T25" fmla="*/ 2147483647 h 84"/>
                <a:gd name="T26" fmla="*/ 2147483647 w 63"/>
                <a:gd name="T27" fmla="*/ 2147483647 h 84"/>
                <a:gd name="T28" fmla="*/ 2147483647 w 63"/>
                <a:gd name="T29" fmla="*/ 2147483647 h 84"/>
                <a:gd name="T30" fmla="*/ 2147483647 w 63"/>
                <a:gd name="T31" fmla="*/ 2147483647 h 84"/>
                <a:gd name="T32" fmla="*/ 2147483647 w 63"/>
                <a:gd name="T33" fmla="*/ 2147483647 h 84"/>
                <a:gd name="T34" fmla="*/ 2147483647 w 63"/>
                <a:gd name="T35" fmla="*/ 2147483647 h 84"/>
                <a:gd name="T36" fmla="*/ 2147483647 w 63"/>
                <a:gd name="T37" fmla="*/ 2147483647 h 84"/>
                <a:gd name="T38" fmla="*/ 2147483647 w 63"/>
                <a:gd name="T39" fmla="*/ 2147483647 h 84"/>
                <a:gd name="T40" fmla="*/ 2147483647 w 63"/>
                <a:gd name="T41" fmla="*/ 2147483647 h 84"/>
                <a:gd name="T42" fmla="*/ 2147483647 w 63"/>
                <a:gd name="T43" fmla="*/ 2147483647 h 84"/>
                <a:gd name="T44" fmla="*/ 2147483647 w 63"/>
                <a:gd name="T45" fmla="*/ 2147483647 h 84"/>
                <a:gd name="T46" fmla="*/ 2147483647 w 63"/>
                <a:gd name="T47" fmla="*/ 2147483647 h 84"/>
                <a:gd name="T48" fmla="*/ 2147483647 w 63"/>
                <a:gd name="T49" fmla="*/ 2147483647 h 84"/>
                <a:gd name="T50" fmla="*/ 2147483647 w 63"/>
                <a:gd name="T51" fmla="*/ 2147483647 h 84"/>
                <a:gd name="T52" fmla="*/ 2147483647 w 63"/>
                <a:gd name="T53" fmla="*/ 2147483647 h 84"/>
                <a:gd name="T54" fmla="*/ 2147483647 w 63"/>
                <a:gd name="T55" fmla="*/ 2147483647 h 84"/>
                <a:gd name="T56" fmla="*/ 2147483647 w 63"/>
                <a:gd name="T57" fmla="*/ 2147483647 h 84"/>
                <a:gd name="T58" fmla="*/ 2147483647 w 63"/>
                <a:gd name="T59" fmla="*/ 2147483647 h 84"/>
                <a:gd name="T60" fmla="*/ 2147483647 w 63"/>
                <a:gd name="T61" fmla="*/ 2147483647 h 84"/>
                <a:gd name="T62" fmla="*/ 2147483647 w 63"/>
                <a:gd name="T63" fmla="*/ 2147483647 h 84"/>
                <a:gd name="T64" fmla="*/ 2147483647 w 63"/>
                <a:gd name="T65" fmla="*/ 2147483647 h 84"/>
                <a:gd name="T66" fmla="*/ 2147483647 w 63"/>
                <a:gd name="T67" fmla="*/ 0 h 84"/>
                <a:gd name="T68" fmla="*/ 2147483647 w 63"/>
                <a:gd name="T69" fmla="*/ 2147483647 h 84"/>
                <a:gd name="T70" fmla="*/ 2147483647 w 63"/>
                <a:gd name="T71" fmla="*/ 2147483647 h 84"/>
                <a:gd name="T72" fmla="*/ 2147483647 w 63"/>
                <a:gd name="T73" fmla="*/ 2147483647 h 84"/>
                <a:gd name="T74" fmla="*/ 2147483647 w 63"/>
                <a:gd name="T75" fmla="*/ 2147483647 h 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3"/>
                <a:gd name="T115" fmla="*/ 0 h 84"/>
                <a:gd name="T116" fmla="*/ 63 w 63"/>
                <a:gd name="T117" fmla="*/ 84 h 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3" h="84">
                  <a:moveTo>
                    <a:pt x="19" y="15"/>
                  </a:moveTo>
                  <a:lnTo>
                    <a:pt x="20" y="19"/>
                  </a:lnTo>
                  <a:lnTo>
                    <a:pt x="20" y="21"/>
                  </a:lnTo>
                  <a:lnTo>
                    <a:pt x="19" y="23"/>
                  </a:lnTo>
                  <a:lnTo>
                    <a:pt x="16" y="26"/>
                  </a:lnTo>
                  <a:lnTo>
                    <a:pt x="13" y="26"/>
                  </a:lnTo>
                  <a:lnTo>
                    <a:pt x="9" y="27"/>
                  </a:lnTo>
                  <a:lnTo>
                    <a:pt x="6" y="28"/>
                  </a:lnTo>
                  <a:lnTo>
                    <a:pt x="5" y="29"/>
                  </a:lnTo>
                  <a:lnTo>
                    <a:pt x="5" y="33"/>
                  </a:lnTo>
                  <a:lnTo>
                    <a:pt x="5" y="38"/>
                  </a:lnTo>
                  <a:lnTo>
                    <a:pt x="4" y="41"/>
                  </a:lnTo>
                  <a:lnTo>
                    <a:pt x="1" y="44"/>
                  </a:lnTo>
                  <a:lnTo>
                    <a:pt x="0" y="45"/>
                  </a:lnTo>
                  <a:lnTo>
                    <a:pt x="0" y="46"/>
                  </a:lnTo>
                  <a:lnTo>
                    <a:pt x="0" y="63"/>
                  </a:lnTo>
                  <a:lnTo>
                    <a:pt x="1" y="72"/>
                  </a:lnTo>
                  <a:lnTo>
                    <a:pt x="2" y="79"/>
                  </a:lnTo>
                  <a:lnTo>
                    <a:pt x="5" y="81"/>
                  </a:lnTo>
                  <a:lnTo>
                    <a:pt x="9" y="81"/>
                  </a:lnTo>
                  <a:lnTo>
                    <a:pt x="13" y="80"/>
                  </a:lnTo>
                  <a:lnTo>
                    <a:pt x="16" y="78"/>
                  </a:lnTo>
                  <a:lnTo>
                    <a:pt x="19" y="78"/>
                  </a:lnTo>
                  <a:lnTo>
                    <a:pt x="20" y="79"/>
                  </a:lnTo>
                  <a:lnTo>
                    <a:pt x="23" y="81"/>
                  </a:lnTo>
                  <a:lnTo>
                    <a:pt x="28" y="84"/>
                  </a:lnTo>
                  <a:lnTo>
                    <a:pt x="32" y="84"/>
                  </a:lnTo>
                  <a:lnTo>
                    <a:pt x="35" y="81"/>
                  </a:lnTo>
                  <a:lnTo>
                    <a:pt x="41" y="78"/>
                  </a:lnTo>
                  <a:lnTo>
                    <a:pt x="43" y="76"/>
                  </a:lnTo>
                  <a:lnTo>
                    <a:pt x="46" y="72"/>
                  </a:lnTo>
                  <a:lnTo>
                    <a:pt x="46" y="71"/>
                  </a:lnTo>
                  <a:lnTo>
                    <a:pt x="46" y="68"/>
                  </a:lnTo>
                  <a:lnTo>
                    <a:pt x="46" y="67"/>
                  </a:lnTo>
                  <a:lnTo>
                    <a:pt x="46" y="66"/>
                  </a:lnTo>
                  <a:lnTo>
                    <a:pt x="49" y="65"/>
                  </a:lnTo>
                  <a:lnTo>
                    <a:pt x="53" y="65"/>
                  </a:lnTo>
                  <a:lnTo>
                    <a:pt x="56" y="64"/>
                  </a:lnTo>
                  <a:lnTo>
                    <a:pt x="57" y="63"/>
                  </a:lnTo>
                  <a:lnTo>
                    <a:pt x="58" y="59"/>
                  </a:lnTo>
                  <a:lnTo>
                    <a:pt x="58" y="54"/>
                  </a:lnTo>
                  <a:lnTo>
                    <a:pt x="60" y="49"/>
                  </a:lnTo>
                  <a:lnTo>
                    <a:pt x="63" y="42"/>
                  </a:lnTo>
                  <a:lnTo>
                    <a:pt x="61" y="45"/>
                  </a:lnTo>
                  <a:lnTo>
                    <a:pt x="57" y="45"/>
                  </a:lnTo>
                  <a:lnTo>
                    <a:pt x="54" y="45"/>
                  </a:lnTo>
                  <a:lnTo>
                    <a:pt x="51" y="42"/>
                  </a:lnTo>
                  <a:lnTo>
                    <a:pt x="49" y="40"/>
                  </a:lnTo>
                  <a:lnTo>
                    <a:pt x="47" y="38"/>
                  </a:lnTo>
                  <a:lnTo>
                    <a:pt x="47" y="34"/>
                  </a:lnTo>
                  <a:lnTo>
                    <a:pt x="47" y="32"/>
                  </a:lnTo>
                  <a:lnTo>
                    <a:pt x="48" y="28"/>
                  </a:lnTo>
                  <a:lnTo>
                    <a:pt x="52" y="25"/>
                  </a:lnTo>
                  <a:lnTo>
                    <a:pt x="53" y="20"/>
                  </a:lnTo>
                  <a:lnTo>
                    <a:pt x="53" y="19"/>
                  </a:lnTo>
                  <a:lnTo>
                    <a:pt x="51" y="16"/>
                  </a:lnTo>
                  <a:lnTo>
                    <a:pt x="51" y="14"/>
                  </a:lnTo>
                  <a:lnTo>
                    <a:pt x="52" y="12"/>
                  </a:lnTo>
                  <a:lnTo>
                    <a:pt x="54" y="9"/>
                  </a:lnTo>
                  <a:lnTo>
                    <a:pt x="56" y="7"/>
                  </a:lnTo>
                  <a:lnTo>
                    <a:pt x="56" y="4"/>
                  </a:lnTo>
                  <a:lnTo>
                    <a:pt x="56" y="2"/>
                  </a:lnTo>
                  <a:lnTo>
                    <a:pt x="53" y="2"/>
                  </a:lnTo>
                  <a:lnTo>
                    <a:pt x="51" y="4"/>
                  </a:lnTo>
                  <a:lnTo>
                    <a:pt x="48" y="4"/>
                  </a:lnTo>
                  <a:lnTo>
                    <a:pt x="47" y="4"/>
                  </a:lnTo>
                  <a:lnTo>
                    <a:pt x="44" y="1"/>
                  </a:lnTo>
                  <a:lnTo>
                    <a:pt x="44" y="0"/>
                  </a:lnTo>
                  <a:lnTo>
                    <a:pt x="42" y="0"/>
                  </a:lnTo>
                  <a:lnTo>
                    <a:pt x="37" y="1"/>
                  </a:lnTo>
                  <a:lnTo>
                    <a:pt x="33" y="3"/>
                  </a:lnTo>
                  <a:lnTo>
                    <a:pt x="30" y="8"/>
                  </a:lnTo>
                  <a:lnTo>
                    <a:pt x="30" y="13"/>
                  </a:lnTo>
                  <a:lnTo>
                    <a:pt x="27" y="12"/>
                  </a:lnTo>
                  <a:lnTo>
                    <a:pt x="24" y="12"/>
                  </a:lnTo>
                  <a:lnTo>
                    <a:pt x="19"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4" name="Freeform 1163"/>
            <p:cNvSpPr>
              <a:spLocks/>
            </p:cNvSpPr>
            <p:nvPr/>
          </p:nvSpPr>
          <p:spPr bwMode="auto">
            <a:xfrm>
              <a:off x="4843467" y="1635129"/>
              <a:ext cx="1797049" cy="1628775"/>
            </a:xfrm>
            <a:custGeom>
              <a:avLst/>
              <a:gdLst>
                <a:gd name="T0" fmla="*/ 2147483647 w 1227"/>
                <a:gd name="T1" fmla="*/ 2147483647 h 1026"/>
                <a:gd name="T2" fmla="*/ 2147483647 w 1227"/>
                <a:gd name="T3" fmla="*/ 2147483647 h 1026"/>
                <a:gd name="T4" fmla="*/ 2147483647 w 1227"/>
                <a:gd name="T5" fmla="*/ 2147483647 h 1026"/>
                <a:gd name="T6" fmla="*/ 2147483647 w 1227"/>
                <a:gd name="T7" fmla="*/ 2147483647 h 1026"/>
                <a:gd name="T8" fmla="*/ 2147483647 w 1227"/>
                <a:gd name="T9" fmla="*/ 2147483647 h 1026"/>
                <a:gd name="T10" fmla="*/ 2147483647 w 1227"/>
                <a:gd name="T11" fmla="*/ 2147483647 h 1026"/>
                <a:gd name="T12" fmla="*/ 2147483647 w 1227"/>
                <a:gd name="T13" fmla="*/ 2147483647 h 1026"/>
                <a:gd name="T14" fmla="*/ 2147483647 w 1227"/>
                <a:gd name="T15" fmla="*/ 2147483647 h 1026"/>
                <a:gd name="T16" fmla="*/ 2147483647 w 1227"/>
                <a:gd name="T17" fmla="*/ 2147483647 h 1026"/>
                <a:gd name="T18" fmla="*/ 2147483647 w 1227"/>
                <a:gd name="T19" fmla="*/ 2147483647 h 1026"/>
                <a:gd name="T20" fmla="*/ 2147483647 w 1227"/>
                <a:gd name="T21" fmla="*/ 2147483647 h 1026"/>
                <a:gd name="T22" fmla="*/ 2147483647 w 1227"/>
                <a:gd name="T23" fmla="*/ 2147483647 h 1026"/>
                <a:gd name="T24" fmla="*/ 2147483647 w 1227"/>
                <a:gd name="T25" fmla="*/ 2147483647 h 1026"/>
                <a:gd name="T26" fmla="*/ 2147483647 w 1227"/>
                <a:gd name="T27" fmla="*/ 2147483647 h 1026"/>
                <a:gd name="T28" fmla="*/ 2147483647 w 1227"/>
                <a:gd name="T29" fmla="*/ 2147483647 h 1026"/>
                <a:gd name="T30" fmla="*/ 2147483647 w 1227"/>
                <a:gd name="T31" fmla="*/ 2147483647 h 1026"/>
                <a:gd name="T32" fmla="*/ 2147483647 w 1227"/>
                <a:gd name="T33" fmla="*/ 2147483647 h 1026"/>
                <a:gd name="T34" fmla="*/ 2147483647 w 1227"/>
                <a:gd name="T35" fmla="*/ 2147483647 h 1026"/>
                <a:gd name="T36" fmla="*/ 2147483647 w 1227"/>
                <a:gd name="T37" fmla="*/ 2147483647 h 1026"/>
                <a:gd name="T38" fmla="*/ 2147483647 w 1227"/>
                <a:gd name="T39" fmla="*/ 2147483647 h 1026"/>
                <a:gd name="T40" fmla="*/ 2147483647 w 1227"/>
                <a:gd name="T41" fmla="*/ 2147483647 h 1026"/>
                <a:gd name="T42" fmla="*/ 2147483647 w 1227"/>
                <a:gd name="T43" fmla="*/ 2147483647 h 1026"/>
                <a:gd name="T44" fmla="*/ 2147483647 w 1227"/>
                <a:gd name="T45" fmla="*/ 2147483647 h 1026"/>
                <a:gd name="T46" fmla="*/ 2147483647 w 1227"/>
                <a:gd name="T47" fmla="*/ 2147483647 h 1026"/>
                <a:gd name="T48" fmla="*/ 2147483647 w 1227"/>
                <a:gd name="T49" fmla="*/ 2147483647 h 1026"/>
                <a:gd name="T50" fmla="*/ 2147483647 w 1227"/>
                <a:gd name="T51" fmla="*/ 2147483647 h 1026"/>
                <a:gd name="T52" fmla="*/ 2147483647 w 1227"/>
                <a:gd name="T53" fmla="*/ 2147483647 h 1026"/>
                <a:gd name="T54" fmla="*/ 2147483647 w 1227"/>
                <a:gd name="T55" fmla="*/ 2147483647 h 1026"/>
                <a:gd name="T56" fmla="*/ 2147483647 w 1227"/>
                <a:gd name="T57" fmla="*/ 2147483647 h 1026"/>
                <a:gd name="T58" fmla="*/ 2147483647 w 1227"/>
                <a:gd name="T59" fmla="*/ 2147483647 h 1026"/>
                <a:gd name="T60" fmla="*/ 2147483647 w 1227"/>
                <a:gd name="T61" fmla="*/ 2147483647 h 1026"/>
                <a:gd name="T62" fmla="*/ 2147483647 w 1227"/>
                <a:gd name="T63" fmla="*/ 2147483647 h 1026"/>
                <a:gd name="T64" fmla="*/ 2147483647 w 1227"/>
                <a:gd name="T65" fmla="*/ 2147483647 h 1026"/>
                <a:gd name="T66" fmla="*/ 2147483647 w 1227"/>
                <a:gd name="T67" fmla="*/ 2147483647 h 1026"/>
                <a:gd name="T68" fmla="*/ 2147483647 w 1227"/>
                <a:gd name="T69" fmla="*/ 2147483647 h 1026"/>
                <a:gd name="T70" fmla="*/ 2147483647 w 1227"/>
                <a:gd name="T71" fmla="*/ 2147483647 h 1026"/>
                <a:gd name="T72" fmla="*/ 2147483647 w 1227"/>
                <a:gd name="T73" fmla="*/ 2147483647 h 1026"/>
                <a:gd name="T74" fmla="*/ 2147483647 w 1227"/>
                <a:gd name="T75" fmla="*/ 2147483647 h 1026"/>
                <a:gd name="T76" fmla="*/ 2147483647 w 1227"/>
                <a:gd name="T77" fmla="*/ 2147483647 h 1026"/>
                <a:gd name="T78" fmla="*/ 2147483647 w 1227"/>
                <a:gd name="T79" fmla="*/ 2147483647 h 1026"/>
                <a:gd name="T80" fmla="*/ 2147483647 w 1227"/>
                <a:gd name="T81" fmla="*/ 2147483647 h 1026"/>
                <a:gd name="T82" fmla="*/ 2147483647 w 1227"/>
                <a:gd name="T83" fmla="*/ 2147483647 h 1026"/>
                <a:gd name="T84" fmla="*/ 2147483647 w 1227"/>
                <a:gd name="T85" fmla="*/ 2147483647 h 1026"/>
                <a:gd name="T86" fmla="*/ 2147483647 w 1227"/>
                <a:gd name="T87" fmla="*/ 2147483647 h 1026"/>
                <a:gd name="T88" fmla="*/ 2147483647 w 1227"/>
                <a:gd name="T89" fmla="*/ 2147483647 h 1026"/>
                <a:gd name="T90" fmla="*/ 2147483647 w 1227"/>
                <a:gd name="T91" fmla="*/ 2147483647 h 1026"/>
                <a:gd name="T92" fmla="*/ 2147483647 w 1227"/>
                <a:gd name="T93" fmla="*/ 2147483647 h 1026"/>
                <a:gd name="T94" fmla="*/ 2147483647 w 1227"/>
                <a:gd name="T95" fmla="*/ 2147483647 h 1026"/>
                <a:gd name="T96" fmla="*/ 2147483647 w 1227"/>
                <a:gd name="T97" fmla="*/ 2147483647 h 1026"/>
                <a:gd name="T98" fmla="*/ 2147483647 w 1227"/>
                <a:gd name="T99" fmla="*/ 2147483647 h 1026"/>
                <a:gd name="T100" fmla="*/ 2147483647 w 1227"/>
                <a:gd name="T101" fmla="*/ 2147483647 h 1026"/>
                <a:gd name="T102" fmla="*/ 2147483647 w 1227"/>
                <a:gd name="T103" fmla="*/ 2147483647 h 1026"/>
                <a:gd name="T104" fmla="*/ 2147483647 w 1227"/>
                <a:gd name="T105" fmla="*/ 2147483647 h 1026"/>
                <a:gd name="T106" fmla="*/ 2147483647 w 1227"/>
                <a:gd name="T107" fmla="*/ 2147483647 h 1026"/>
                <a:gd name="T108" fmla="*/ 2147483647 w 1227"/>
                <a:gd name="T109" fmla="*/ 2147483647 h 1026"/>
                <a:gd name="T110" fmla="*/ 2147483647 w 1227"/>
                <a:gd name="T111" fmla="*/ 2147483647 h 1026"/>
                <a:gd name="T112" fmla="*/ 2147483647 w 1227"/>
                <a:gd name="T113" fmla="*/ 2147483647 h 1026"/>
                <a:gd name="T114" fmla="*/ 2147483647 w 1227"/>
                <a:gd name="T115" fmla="*/ 2147483647 h 1026"/>
                <a:gd name="T116" fmla="*/ 2147483647 w 1227"/>
                <a:gd name="T117" fmla="*/ 2147483647 h 1026"/>
                <a:gd name="T118" fmla="*/ 2147483647 w 1227"/>
                <a:gd name="T119" fmla="*/ 2147483647 h 1026"/>
                <a:gd name="T120" fmla="*/ 2147483647 w 1227"/>
                <a:gd name="T121" fmla="*/ 2147483647 h 1026"/>
                <a:gd name="T122" fmla="*/ 2147483647 w 1227"/>
                <a:gd name="T123" fmla="*/ 2147483647 h 1026"/>
                <a:gd name="T124" fmla="*/ 2147483647 w 1227"/>
                <a:gd name="T125" fmla="*/ 2147483647 h 10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7"/>
                <a:gd name="T190" fmla="*/ 0 h 1026"/>
                <a:gd name="T191" fmla="*/ 1227 w 1227"/>
                <a:gd name="T192" fmla="*/ 1026 h 10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7" h="1026">
                  <a:moveTo>
                    <a:pt x="1216" y="0"/>
                  </a:moveTo>
                  <a:lnTo>
                    <a:pt x="1208" y="1"/>
                  </a:lnTo>
                  <a:lnTo>
                    <a:pt x="1200" y="5"/>
                  </a:lnTo>
                  <a:lnTo>
                    <a:pt x="1194" y="7"/>
                  </a:lnTo>
                  <a:lnTo>
                    <a:pt x="1186" y="10"/>
                  </a:lnTo>
                  <a:lnTo>
                    <a:pt x="1179" y="12"/>
                  </a:lnTo>
                  <a:lnTo>
                    <a:pt x="1172" y="14"/>
                  </a:lnTo>
                  <a:lnTo>
                    <a:pt x="1167" y="14"/>
                  </a:lnTo>
                  <a:lnTo>
                    <a:pt x="1165" y="16"/>
                  </a:lnTo>
                  <a:lnTo>
                    <a:pt x="1162" y="17"/>
                  </a:lnTo>
                  <a:lnTo>
                    <a:pt x="1160" y="16"/>
                  </a:lnTo>
                  <a:lnTo>
                    <a:pt x="1157" y="14"/>
                  </a:lnTo>
                  <a:lnTo>
                    <a:pt x="1155" y="13"/>
                  </a:lnTo>
                  <a:lnTo>
                    <a:pt x="1155" y="14"/>
                  </a:lnTo>
                  <a:lnTo>
                    <a:pt x="1152" y="17"/>
                  </a:lnTo>
                  <a:lnTo>
                    <a:pt x="1151" y="20"/>
                  </a:lnTo>
                  <a:lnTo>
                    <a:pt x="1148" y="24"/>
                  </a:lnTo>
                  <a:lnTo>
                    <a:pt x="1146" y="25"/>
                  </a:lnTo>
                  <a:lnTo>
                    <a:pt x="1143" y="28"/>
                  </a:lnTo>
                  <a:lnTo>
                    <a:pt x="1141" y="29"/>
                  </a:lnTo>
                  <a:lnTo>
                    <a:pt x="1139" y="31"/>
                  </a:lnTo>
                  <a:lnTo>
                    <a:pt x="1137" y="32"/>
                  </a:lnTo>
                  <a:lnTo>
                    <a:pt x="1136" y="33"/>
                  </a:lnTo>
                  <a:lnTo>
                    <a:pt x="1133" y="32"/>
                  </a:lnTo>
                  <a:lnTo>
                    <a:pt x="1131" y="32"/>
                  </a:lnTo>
                  <a:lnTo>
                    <a:pt x="1128" y="32"/>
                  </a:lnTo>
                  <a:lnTo>
                    <a:pt x="1127" y="33"/>
                  </a:lnTo>
                  <a:lnTo>
                    <a:pt x="1128" y="36"/>
                  </a:lnTo>
                  <a:lnTo>
                    <a:pt x="1131" y="41"/>
                  </a:lnTo>
                  <a:lnTo>
                    <a:pt x="1133" y="46"/>
                  </a:lnTo>
                  <a:lnTo>
                    <a:pt x="1133" y="48"/>
                  </a:lnTo>
                  <a:lnTo>
                    <a:pt x="1132" y="50"/>
                  </a:lnTo>
                  <a:lnTo>
                    <a:pt x="1132" y="52"/>
                  </a:lnTo>
                  <a:lnTo>
                    <a:pt x="1133" y="54"/>
                  </a:lnTo>
                  <a:lnTo>
                    <a:pt x="1136" y="55"/>
                  </a:lnTo>
                  <a:lnTo>
                    <a:pt x="1138" y="56"/>
                  </a:lnTo>
                  <a:lnTo>
                    <a:pt x="1139" y="58"/>
                  </a:lnTo>
                  <a:lnTo>
                    <a:pt x="1141" y="63"/>
                  </a:lnTo>
                  <a:lnTo>
                    <a:pt x="1142" y="67"/>
                  </a:lnTo>
                  <a:lnTo>
                    <a:pt x="1145" y="70"/>
                  </a:lnTo>
                  <a:lnTo>
                    <a:pt x="1145" y="71"/>
                  </a:lnTo>
                  <a:lnTo>
                    <a:pt x="1143" y="73"/>
                  </a:lnTo>
                  <a:lnTo>
                    <a:pt x="1139" y="73"/>
                  </a:lnTo>
                  <a:lnTo>
                    <a:pt x="1137" y="71"/>
                  </a:lnTo>
                  <a:lnTo>
                    <a:pt x="1133" y="73"/>
                  </a:lnTo>
                  <a:lnTo>
                    <a:pt x="1129" y="75"/>
                  </a:lnTo>
                  <a:lnTo>
                    <a:pt x="1128" y="75"/>
                  </a:lnTo>
                  <a:lnTo>
                    <a:pt x="1127" y="74"/>
                  </a:lnTo>
                  <a:lnTo>
                    <a:pt x="1125" y="73"/>
                  </a:lnTo>
                  <a:lnTo>
                    <a:pt x="1124" y="70"/>
                  </a:lnTo>
                  <a:lnTo>
                    <a:pt x="1125" y="67"/>
                  </a:lnTo>
                  <a:lnTo>
                    <a:pt x="1128" y="64"/>
                  </a:lnTo>
                  <a:lnTo>
                    <a:pt x="1128" y="62"/>
                  </a:lnTo>
                  <a:lnTo>
                    <a:pt x="1127" y="61"/>
                  </a:lnTo>
                  <a:lnTo>
                    <a:pt x="1122" y="62"/>
                  </a:lnTo>
                  <a:lnTo>
                    <a:pt x="1119" y="62"/>
                  </a:lnTo>
                  <a:lnTo>
                    <a:pt x="1117" y="62"/>
                  </a:lnTo>
                  <a:lnTo>
                    <a:pt x="1112" y="61"/>
                  </a:lnTo>
                  <a:lnTo>
                    <a:pt x="1106" y="61"/>
                  </a:lnTo>
                  <a:lnTo>
                    <a:pt x="1095" y="62"/>
                  </a:lnTo>
                  <a:lnTo>
                    <a:pt x="1085" y="63"/>
                  </a:lnTo>
                  <a:lnTo>
                    <a:pt x="1080" y="63"/>
                  </a:lnTo>
                  <a:lnTo>
                    <a:pt x="1075" y="63"/>
                  </a:lnTo>
                  <a:lnTo>
                    <a:pt x="1070" y="62"/>
                  </a:lnTo>
                  <a:lnTo>
                    <a:pt x="1066" y="62"/>
                  </a:lnTo>
                  <a:lnTo>
                    <a:pt x="1062" y="63"/>
                  </a:lnTo>
                  <a:lnTo>
                    <a:pt x="1061" y="67"/>
                  </a:lnTo>
                  <a:lnTo>
                    <a:pt x="1059" y="73"/>
                  </a:lnTo>
                  <a:lnTo>
                    <a:pt x="1061" y="78"/>
                  </a:lnTo>
                  <a:lnTo>
                    <a:pt x="1062" y="83"/>
                  </a:lnTo>
                  <a:lnTo>
                    <a:pt x="1065" y="88"/>
                  </a:lnTo>
                  <a:lnTo>
                    <a:pt x="1067" y="90"/>
                  </a:lnTo>
                  <a:lnTo>
                    <a:pt x="1070" y="92"/>
                  </a:lnTo>
                  <a:lnTo>
                    <a:pt x="1077" y="93"/>
                  </a:lnTo>
                  <a:lnTo>
                    <a:pt x="1080" y="94"/>
                  </a:lnTo>
                  <a:lnTo>
                    <a:pt x="1084" y="96"/>
                  </a:lnTo>
                  <a:lnTo>
                    <a:pt x="1085" y="99"/>
                  </a:lnTo>
                  <a:lnTo>
                    <a:pt x="1085" y="102"/>
                  </a:lnTo>
                  <a:lnTo>
                    <a:pt x="1086" y="103"/>
                  </a:lnTo>
                  <a:lnTo>
                    <a:pt x="1086" y="105"/>
                  </a:lnTo>
                  <a:lnTo>
                    <a:pt x="1089" y="107"/>
                  </a:lnTo>
                  <a:lnTo>
                    <a:pt x="1098" y="120"/>
                  </a:lnTo>
                  <a:lnTo>
                    <a:pt x="1101" y="127"/>
                  </a:lnTo>
                  <a:lnTo>
                    <a:pt x="1106" y="133"/>
                  </a:lnTo>
                  <a:lnTo>
                    <a:pt x="1108" y="137"/>
                  </a:lnTo>
                  <a:lnTo>
                    <a:pt x="1108" y="139"/>
                  </a:lnTo>
                  <a:lnTo>
                    <a:pt x="1105" y="143"/>
                  </a:lnTo>
                  <a:lnTo>
                    <a:pt x="1103" y="144"/>
                  </a:lnTo>
                  <a:lnTo>
                    <a:pt x="1095" y="143"/>
                  </a:lnTo>
                  <a:lnTo>
                    <a:pt x="1087" y="141"/>
                  </a:lnTo>
                  <a:lnTo>
                    <a:pt x="1085" y="140"/>
                  </a:lnTo>
                  <a:lnTo>
                    <a:pt x="1085" y="139"/>
                  </a:lnTo>
                  <a:lnTo>
                    <a:pt x="1085" y="134"/>
                  </a:lnTo>
                  <a:lnTo>
                    <a:pt x="1090" y="125"/>
                  </a:lnTo>
                  <a:lnTo>
                    <a:pt x="1090" y="121"/>
                  </a:lnTo>
                  <a:lnTo>
                    <a:pt x="1087" y="120"/>
                  </a:lnTo>
                  <a:lnTo>
                    <a:pt x="1085" y="119"/>
                  </a:lnTo>
                  <a:lnTo>
                    <a:pt x="1081" y="119"/>
                  </a:lnTo>
                  <a:lnTo>
                    <a:pt x="1076" y="119"/>
                  </a:lnTo>
                  <a:lnTo>
                    <a:pt x="1072" y="119"/>
                  </a:lnTo>
                  <a:lnTo>
                    <a:pt x="1070" y="119"/>
                  </a:lnTo>
                  <a:lnTo>
                    <a:pt x="1065" y="115"/>
                  </a:lnTo>
                  <a:lnTo>
                    <a:pt x="1053" y="101"/>
                  </a:lnTo>
                  <a:lnTo>
                    <a:pt x="1047" y="95"/>
                  </a:lnTo>
                  <a:lnTo>
                    <a:pt x="1043" y="93"/>
                  </a:lnTo>
                  <a:lnTo>
                    <a:pt x="1039" y="92"/>
                  </a:lnTo>
                  <a:lnTo>
                    <a:pt x="1032" y="90"/>
                  </a:lnTo>
                  <a:lnTo>
                    <a:pt x="1024" y="89"/>
                  </a:lnTo>
                  <a:lnTo>
                    <a:pt x="1018" y="89"/>
                  </a:lnTo>
                  <a:lnTo>
                    <a:pt x="1010" y="92"/>
                  </a:lnTo>
                  <a:lnTo>
                    <a:pt x="1005" y="95"/>
                  </a:lnTo>
                  <a:lnTo>
                    <a:pt x="1004" y="96"/>
                  </a:lnTo>
                  <a:lnTo>
                    <a:pt x="1002" y="99"/>
                  </a:lnTo>
                  <a:lnTo>
                    <a:pt x="1004" y="101"/>
                  </a:lnTo>
                  <a:lnTo>
                    <a:pt x="1005" y="102"/>
                  </a:lnTo>
                  <a:lnTo>
                    <a:pt x="1009" y="103"/>
                  </a:lnTo>
                  <a:lnTo>
                    <a:pt x="1014" y="105"/>
                  </a:lnTo>
                  <a:lnTo>
                    <a:pt x="1018" y="107"/>
                  </a:lnTo>
                  <a:lnTo>
                    <a:pt x="1019" y="109"/>
                  </a:lnTo>
                  <a:lnTo>
                    <a:pt x="1018" y="112"/>
                  </a:lnTo>
                  <a:lnTo>
                    <a:pt x="1016" y="114"/>
                  </a:lnTo>
                  <a:lnTo>
                    <a:pt x="1014" y="115"/>
                  </a:lnTo>
                  <a:lnTo>
                    <a:pt x="1011" y="116"/>
                  </a:lnTo>
                  <a:lnTo>
                    <a:pt x="1007" y="115"/>
                  </a:lnTo>
                  <a:lnTo>
                    <a:pt x="1002" y="113"/>
                  </a:lnTo>
                  <a:lnTo>
                    <a:pt x="992" y="107"/>
                  </a:lnTo>
                  <a:lnTo>
                    <a:pt x="990" y="106"/>
                  </a:lnTo>
                  <a:lnTo>
                    <a:pt x="987" y="107"/>
                  </a:lnTo>
                  <a:lnTo>
                    <a:pt x="985" y="108"/>
                  </a:lnTo>
                  <a:lnTo>
                    <a:pt x="983" y="110"/>
                  </a:lnTo>
                  <a:lnTo>
                    <a:pt x="982" y="116"/>
                  </a:lnTo>
                  <a:lnTo>
                    <a:pt x="983" y="121"/>
                  </a:lnTo>
                  <a:lnTo>
                    <a:pt x="985" y="126"/>
                  </a:lnTo>
                  <a:lnTo>
                    <a:pt x="987" y="128"/>
                  </a:lnTo>
                  <a:lnTo>
                    <a:pt x="992" y="129"/>
                  </a:lnTo>
                  <a:lnTo>
                    <a:pt x="997" y="131"/>
                  </a:lnTo>
                  <a:lnTo>
                    <a:pt x="1007" y="133"/>
                  </a:lnTo>
                  <a:lnTo>
                    <a:pt x="1012" y="134"/>
                  </a:lnTo>
                  <a:lnTo>
                    <a:pt x="1016" y="137"/>
                  </a:lnTo>
                  <a:lnTo>
                    <a:pt x="1025" y="143"/>
                  </a:lnTo>
                  <a:lnTo>
                    <a:pt x="1028" y="146"/>
                  </a:lnTo>
                  <a:lnTo>
                    <a:pt x="1028" y="148"/>
                  </a:lnTo>
                  <a:lnTo>
                    <a:pt x="1026" y="151"/>
                  </a:lnTo>
                  <a:lnTo>
                    <a:pt x="1025" y="151"/>
                  </a:lnTo>
                  <a:lnTo>
                    <a:pt x="1021" y="150"/>
                  </a:lnTo>
                  <a:lnTo>
                    <a:pt x="1019" y="150"/>
                  </a:lnTo>
                  <a:lnTo>
                    <a:pt x="1016" y="151"/>
                  </a:lnTo>
                  <a:lnTo>
                    <a:pt x="1014" y="152"/>
                  </a:lnTo>
                  <a:lnTo>
                    <a:pt x="1012" y="151"/>
                  </a:lnTo>
                  <a:lnTo>
                    <a:pt x="1007" y="146"/>
                  </a:lnTo>
                  <a:lnTo>
                    <a:pt x="1004" y="143"/>
                  </a:lnTo>
                  <a:lnTo>
                    <a:pt x="997" y="143"/>
                  </a:lnTo>
                  <a:lnTo>
                    <a:pt x="992" y="144"/>
                  </a:lnTo>
                  <a:lnTo>
                    <a:pt x="988" y="144"/>
                  </a:lnTo>
                  <a:lnTo>
                    <a:pt x="987" y="141"/>
                  </a:lnTo>
                  <a:lnTo>
                    <a:pt x="978" y="134"/>
                  </a:lnTo>
                  <a:lnTo>
                    <a:pt x="968" y="129"/>
                  </a:lnTo>
                  <a:lnTo>
                    <a:pt x="965" y="127"/>
                  </a:lnTo>
                  <a:lnTo>
                    <a:pt x="963" y="124"/>
                  </a:lnTo>
                  <a:lnTo>
                    <a:pt x="962" y="119"/>
                  </a:lnTo>
                  <a:lnTo>
                    <a:pt x="960" y="114"/>
                  </a:lnTo>
                  <a:lnTo>
                    <a:pt x="962" y="105"/>
                  </a:lnTo>
                  <a:lnTo>
                    <a:pt x="962" y="95"/>
                  </a:lnTo>
                  <a:lnTo>
                    <a:pt x="962" y="93"/>
                  </a:lnTo>
                  <a:lnTo>
                    <a:pt x="960" y="89"/>
                  </a:lnTo>
                  <a:lnTo>
                    <a:pt x="958" y="88"/>
                  </a:lnTo>
                  <a:lnTo>
                    <a:pt x="955" y="86"/>
                  </a:lnTo>
                  <a:lnTo>
                    <a:pt x="954" y="84"/>
                  </a:lnTo>
                  <a:lnTo>
                    <a:pt x="954" y="83"/>
                  </a:lnTo>
                  <a:lnTo>
                    <a:pt x="954" y="80"/>
                  </a:lnTo>
                  <a:lnTo>
                    <a:pt x="953" y="78"/>
                  </a:lnTo>
                  <a:lnTo>
                    <a:pt x="952" y="77"/>
                  </a:lnTo>
                  <a:lnTo>
                    <a:pt x="950" y="78"/>
                  </a:lnTo>
                  <a:lnTo>
                    <a:pt x="950" y="80"/>
                  </a:lnTo>
                  <a:lnTo>
                    <a:pt x="950" y="82"/>
                  </a:lnTo>
                  <a:lnTo>
                    <a:pt x="952" y="92"/>
                  </a:lnTo>
                  <a:lnTo>
                    <a:pt x="949" y="100"/>
                  </a:lnTo>
                  <a:lnTo>
                    <a:pt x="945" y="108"/>
                  </a:lnTo>
                  <a:lnTo>
                    <a:pt x="938" y="115"/>
                  </a:lnTo>
                  <a:lnTo>
                    <a:pt x="934" y="119"/>
                  </a:lnTo>
                  <a:lnTo>
                    <a:pt x="931" y="124"/>
                  </a:lnTo>
                  <a:lnTo>
                    <a:pt x="930" y="128"/>
                  </a:lnTo>
                  <a:lnTo>
                    <a:pt x="930" y="133"/>
                  </a:lnTo>
                  <a:lnTo>
                    <a:pt x="931" y="137"/>
                  </a:lnTo>
                  <a:lnTo>
                    <a:pt x="935" y="140"/>
                  </a:lnTo>
                  <a:lnTo>
                    <a:pt x="943" y="144"/>
                  </a:lnTo>
                  <a:lnTo>
                    <a:pt x="944" y="146"/>
                  </a:lnTo>
                  <a:lnTo>
                    <a:pt x="944" y="147"/>
                  </a:lnTo>
                  <a:lnTo>
                    <a:pt x="943" y="153"/>
                  </a:lnTo>
                  <a:lnTo>
                    <a:pt x="940" y="158"/>
                  </a:lnTo>
                  <a:lnTo>
                    <a:pt x="939" y="163"/>
                  </a:lnTo>
                  <a:lnTo>
                    <a:pt x="938" y="171"/>
                  </a:lnTo>
                  <a:lnTo>
                    <a:pt x="938" y="179"/>
                  </a:lnTo>
                  <a:lnTo>
                    <a:pt x="939" y="186"/>
                  </a:lnTo>
                  <a:lnTo>
                    <a:pt x="943" y="193"/>
                  </a:lnTo>
                  <a:lnTo>
                    <a:pt x="944" y="195"/>
                  </a:lnTo>
                  <a:lnTo>
                    <a:pt x="946" y="195"/>
                  </a:lnTo>
                  <a:lnTo>
                    <a:pt x="950" y="195"/>
                  </a:lnTo>
                  <a:lnTo>
                    <a:pt x="952" y="195"/>
                  </a:lnTo>
                  <a:lnTo>
                    <a:pt x="953" y="196"/>
                  </a:lnTo>
                  <a:lnTo>
                    <a:pt x="955" y="201"/>
                  </a:lnTo>
                  <a:lnTo>
                    <a:pt x="957" y="204"/>
                  </a:lnTo>
                  <a:lnTo>
                    <a:pt x="957" y="207"/>
                  </a:lnTo>
                  <a:lnTo>
                    <a:pt x="954" y="208"/>
                  </a:lnTo>
                  <a:lnTo>
                    <a:pt x="953" y="209"/>
                  </a:lnTo>
                  <a:lnTo>
                    <a:pt x="949" y="208"/>
                  </a:lnTo>
                  <a:lnTo>
                    <a:pt x="948" y="207"/>
                  </a:lnTo>
                  <a:lnTo>
                    <a:pt x="946" y="207"/>
                  </a:lnTo>
                  <a:lnTo>
                    <a:pt x="946" y="208"/>
                  </a:lnTo>
                  <a:lnTo>
                    <a:pt x="948" y="216"/>
                  </a:lnTo>
                  <a:lnTo>
                    <a:pt x="950" y="225"/>
                  </a:lnTo>
                  <a:lnTo>
                    <a:pt x="952" y="234"/>
                  </a:lnTo>
                  <a:lnTo>
                    <a:pt x="952" y="239"/>
                  </a:lnTo>
                  <a:lnTo>
                    <a:pt x="950" y="242"/>
                  </a:lnTo>
                  <a:lnTo>
                    <a:pt x="949" y="241"/>
                  </a:lnTo>
                  <a:lnTo>
                    <a:pt x="948" y="240"/>
                  </a:lnTo>
                  <a:lnTo>
                    <a:pt x="945" y="240"/>
                  </a:lnTo>
                  <a:lnTo>
                    <a:pt x="944" y="241"/>
                  </a:lnTo>
                  <a:lnTo>
                    <a:pt x="943" y="244"/>
                  </a:lnTo>
                  <a:lnTo>
                    <a:pt x="940" y="248"/>
                  </a:lnTo>
                  <a:lnTo>
                    <a:pt x="940" y="253"/>
                  </a:lnTo>
                  <a:lnTo>
                    <a:pt x="940" y="256"/>
                  </a:lnTo>
                  <a:lnTo>
                    <a:pt x="941" y="262"/>
                  </a:lnTo>
                  <a:lnTo>
                    <a:pt x="943" y="265"/>
                  </a:lnTo>
                  <a:lnTo>
                    <a:pt x="941" y="266"/>
                  </a:lnTo>
                  <a:lnTo>
                    <a:pt x="936" y="268"/>
                  </a:lnTo>
                  <a:lnTo>
                    <a:pt x="931" y="268"/>
                  </a:lnTo>
                  <a:lnTo>
                    <a:pt x="921" y="268"/>
                  </a:lnTo>
                  <a:lnTo>
                    <a:pt x="916" y="269"/>
                  </a:lnTo>
                  <a:lnTo>
                    <a:pt x="912" y="269"/>
                  </a:lnTo>
                  <a:lnTo>
                    <a:pt x="910" y="272"/>
                  </a:lnTo>
                  <a:lnTo>
                    <a:pt x="907" y="275"/>
                  </a:lnTo>
                  <a:lnTo>
                    <a:pt x="908" y="279"/>
                  </a:lnTo>
                  <a:lnTo>
                    <a:pt x="911" y="282"/>
                  </a:lnTo>
                  <a:lnTo>
                    <a:pt x="913" y="285"/>
                  </a:lnTo>
                  <a:lnTo>
                    <a:pt x="913" y="286"/>
                  </a:lnTo>
                  <a:lnTo>
                    <a:pt x="912" y="287"/>
                  </a:lnTo>
                  <a:lnTo>
                    <a:pt x="911" y="287"/>
                  </a:lnTo>
                  <a:lnTo>
                    <a:pt x="908" y="287"/>
                  </a:lnTo>
                  <a:lnTo>
                    <a:pt x="905" y="285"/>
                  </a:lnTo>
                  <a:lnTo>
                    <a:pt x="901" y="282"/>
                  </a:lnTo>
                  <a:lnTo>
                    <a:pt x="897" y="280"/>
                  </a:lnTo>
                  <a:lnTo>
                    <a:pt x="892" y="279"/>
                  </a:lnTo>
                  <a:lnTo>
                    <a:pt x="889" y="279"/>
                  </a:lnTo>
                  <a:lnTo>
                    <a:pt x="887" y="280"/>
                  </a:lnTo>
                  <a:lnTo>
                    <a:pt x="879" y="280"/>
                  </a:lnTo>
                  <a:lnTo>
                    <a:pt x="873" y="278"/>
                  </a:lnTo>
                  <a:lnTo>
                    <a:pt x="866" y="274"/>
                  </a:lnTo>
                  <a:lnTo>
                    <a:pt x="863" y="267"/>
                  </a:lnTo>
                  <a:lnTo>
                    <a:pt x="875" y="268"/>
                  </a:lnTo>
                  <a:lnTo>
                    <a:pt x="882" y="268"/>
                  </a:lnTo>
                  <a:lnTo>
                    <a:pt x="888" y="267"/>
                  </a:lnTo>
                  <a:lnTo>
                    <a:pt x="894" y="267"/>
                  </a:lnTo>
                  <a:lnTo>
                    <a:pt x="901" y="265"/>
                  </a:lnTo>
                  <a:lnTo>
                    <a:pt x="906" y="260"/>
                  </a:lnTo>
                  <a:lnTo>
                    <a:pt x="908" y="254"/>
                  </a:lnTo>
                  <a:lnTo>
                    <a:pt x="912" y="250"/>
                  </a:lnTo>
                  <a:lnTo>
                    <a:pt x="916" y="248"/>
                  </a:lnTo>
                  <a:lnTo>
                    <a:pt x="920" y="246"/>
                  </a:lnTo>
                  <a:lnTo>
                    <a:pt x="924" y="243"/>
                  </a:lnTo>
                  <a:lnTo>
                    <a:pt x="925" y="241"/>
                  </a:lnTo>
                  <a:lnTo>
                    <a:pt x="925" y="239"/>
                  </a:lnTo>
                  <a:lnTo>
                    <a:pt x="925" y="234"/>
                  </a:lnTo>
                  <a:lnTo>
                    <a:pt x="924" y="228"/>
                  </a:lnTo>
                  <a:lnTo>
                    <a:pt x="924" y="223"/>
                  </a:lnTo>
                  <a:lnTo>
                    <a:pt x="924" y="220"/>
                  </a:lnTo>
                  <a:lnTo>
                    <a:pt x="922" y="216"/>
                  </a:lnTo>
                  <a:lnTo>
                    <a:pt x="920" y="214"/>
                  </a:lnTo>
                  <a:lnTo>
                    <a:pt x="916" y="211"/>
                  </a:lnTo>
                  <a:lnTo>
                    <a:pt x="913" y="208"/>
                  </a:lnTo>
                  <a:lnTo>
                    <a:pt x="911" y="204"/>
                  </a:lnTo>
                  <a:lnTo>
                    <a:pt x="911" y="202"/>
                  </a:lnTo>
                  <a:lnTo>
                    <a:pt x="912" y="199"/>
                  </a:lnTo>
                  <a:lnTo>
                    <a:pt x="913" y="197"/>
                  </a:lnTo>
                  <a:lnTo>
                    <a:pt x="912" y="195"/>
                  </a:lnTo>
                  <a:lnTo>
                    <a:pt x="910" y="188"/>
                  </a:lnTo>
                  <a:lnTo>
                    <a:pt x="908" y="180"/>
                  </a:lnTo>
                  <a:lnTo>
                    <a:pt x="910" y="173"/>
                  </a:lnTo>
                  <a:lnTo>
                    <a:pt x="913" y="165"/>
                  </a:lnTo>
                  <a:lnTo>
                    <a:pt x="915" y="163"/>
                  </a:lnTo>
                  <a:lnTo>
                    <a:pt x="915" y="159"/>
                  </a:lnTo>
                  <a:lnTo>
                    <a:pt x="913" y="153"/>
                  </a:lnTo>
                  <a:lnTo>
                    <a:pt x="910" y="147"/>
                  </a:lnTo>
                  <a:lnTo>
                    <a:pt x="905" y="141"/>
                  </a:lnTo>
                  <a:lnTo>
                    <a:pt x="903" y="139"/>
                  </a:lnTo>
                  <a:lnTo>
                    <a:pt x="902" y="137"/>
                  </a:lnTo>
                  <a:lnTo>
                    <a:pt x="903" y="132"/>
                  </a:lnTo>
                  <a:lnTo>
                    <a:pt x="906" y="126"/>
                  </a:lnTo>
                  <a:lnTo>
                    <a:pt x="908" y="121"/>
                  </a:lnTo>
                  <a:lnTo>
                    <a:pt x="910" y="113"/>
                  </a:lnTo>
                  <a:lnTo>
                    <a:pt x="912" y="107"/>
                  </a:lnTo>
                  <a:lnTo>
                    <a:pt x="916" y="101"/>
                  </a:lnTo>
                  <a:lnTo>
                    <a:pt x="921" y="95"/>
                  </a:lnTo>
                  <a:lnTo>
                    <a:pt x="922" y="93"/>
                  </a:lnTo>
                  <a:lnTo>
                    <a:pt x="921" y="92"/>
                  </a:lnTo>
                  <a:lnTo>
                    <a:pt x="920" y="90"/>
                  </a:lnTo>
                  <a:lnTo>
                    <a:pt x="918" y="90"/>
                  </a:lnTo>
                  <a:lnTo>
                    <a:pt x="912" y="92"/>
                  </a:lnTo>
                  <a:lnTo>
                    <a:pt x="907" y="92"/>
                  </a:lnTo>
                  <a:lnTo>
                    <a:pt x="902" y="90"/>
                  </a:lnTo>
                  <a:lnTo>
                    <a:pt x="897" y="88"/>
                  </a:lnTo>
                  <a:lnTo>
                    <a:pt x="894" y="88"/>
                  </a:lnTo>
                  <a:lnTo>
                    <a:pt x="892" y="88"/>
                  </a:lnTo>
                  <a:lnTo>
                    <a:pt x="891" y="89"/>
                  </a:lnTo>
                  <a:lnTo>
                    <a:pt x="888" y="88"/>
                  </a:lnTo>
                  <a:lnTo>
                    <a:pt x="878" y="87"/>
                  </a:lnTo>
                  <a:lnTo>
                    <a:pt x="874" y="86"/>
                  </a:lnTo>
                  <a:lnTo>
                    <a:pt x="869" y="84"/>
                  </a:lnTo>
                  <a:lnTo>
                    <a:pt x="866" y="84"/>
                  </a:lnTo>
                  <a:lnTo>
                    <a:pt x="863" y="86"/>
                  </a:lnTo>
                  <a:lnTo>
                    <a:pt x="860" y="88"/>
                  </a:lnTo>
                  <a:lnTo>
                    <a:pt x="858" y="92"/>
                  </a:lnTo>
                  <a:lnTo>
                    <a:pt x="852" y="100"/>
                  </a:lnTo>
                  <a:lnTo>
                    <a:pt x="851" y="107"/>
                  </a:lnTo>
                  <a:lnTo>
                    <a:pt x="851" y="113"/>
                  </a:lnTo>
                  <a:lnTo>
                    <a:pt x="849" y="118"/>
                  </a:lnTo>
                  <a:lnTo>
                    <a:pt x="846" y="122"/>
                  </a:lnTo>
                  <a:lnTo>
                    <a:pt x="842" y="126"/>
                  </a:lnTo>
                  <a:lnTo>
                    <a:pt x="832" y="132"/>
                  </a:lnTo>
                  <a:lnTo>
                    <a:pt x="823" y="137"/>
                  </a:lnTo>
                  <a:lnTo>
                    <a:pt x="821" y="138"/>
                  </a:lnTo>
                  <a:lnTo>
                    <a:pt x="818" y="140"/>
                  </a:lnTo>
                  <a:lnTo>
                    <a:pt x="818" y="143"/>
                  </a:lnTo>
                  <a:lnTo>
                    <a:pt x="819" y="145"/>
                  </a:lnTo>
                  <a:lnTo>
                    <a:pt x="823" y="153"/>
                  </a:lnTo>
                  <a:lnTo>
                    <a:pt x="825" y="160"/>
                  </a:lnTo>
                  <a:lnTo>
                    <a:pt x="823" y="167"/>
                  </a:lnTo>
                  <a:lnTo>
                    <a:pt x="819" y="176"/>
                  </a:lnTo>
                  <a:lnTo>
                    <a:pt x="819" y="180"/>
                  </a:lnTo>
                  <a:lnTo>
                    <a:pt x="819" y="184"/>
                  </a:lnTo>
                  <a:lnTo>
                    <a:pt x="823" y="184"/>
                  </a:lnTo>
                  <a:lnTo>
                    <a:pt x="826" y="182"/>
                  </a:lnTo>
                  <a:lnTo>
                    <a:pt x="830" y="180"/>
                  </a:lnTo>
                  <a:lnTo>
                    <a:pt x="831" y="182"/>
                  </a:lnTo>
                  <a:lnTo>
                    <a:pt x="833" y="182"/>
                  </a:lnTo>
                  <a:lnTo>
                    <a:pt x="835" y="184"/>
                  </a:lnTo>
                  <a:lnTo>
                    <a:pt x="835" y="185"/>
                  </a:lnTo>
                  <a:lnTo>
                    <a:pt x="831" y="190"/>
                  </a:lnTo>
                  <a:lnTo>
                    <a:pt x="831" y="192"/>
                  </a:lnTo>
                  <a:lnTo>
                    <a:pt x="832" y="193"/>
                  </a:lnTo>
                  <a:lnTo>
                    <a:pt x="833" y="196"/>
                  </a:lnTo>
                  <a:lnTo>
                    <a:pt x="835" y="198"/>
                  </a:lnTo>
                  <a:lnTo>
                    <a:pt x="836" y="202"/>
                  </a:lnTo>
                  <a:lnTo>
                    <a:pt x="838" y="205"/>
                  </a:lnTo>
                  <a:lnTo>
                    <a:pt x="840" y="205"/>
                  </a:lnTo>
                  <a:lnTo>
                    <a:pt x="844" y="204"/>
                  </a:lnTo>
                  <a:lnTo>
                    <a:pt x="849" y="203"/>
                  </a:lnTo>
                  <a:lnTo>
                    <a:pt x="851" y="205"/>
                  </a:lnTo>
                  <a:lnTo>
                    <a:pt x="851" y="207"/>
                  </a:lnTo>
                  <a:lnTo>
                    <a:pt x="849" y="217"/>
                  </a:lnTo>
                  <a:lnTo>
                    <a:pt x="846" y="221"/>
                  </a:lnTo>
                  <a:lnTo>
                    <a:pt x="845" y="222"/>
                  </a:lnTo>
                  <a:lnTo>
                    <a:pt x="844" y="222"/>
                  </a:lnTo>
                  <a:lnTo>
                    <a:pt x="837" y="221"/>
                  </a:lnTo>
                  <a:lnTo>
                    <a:pt x="832" y="218"/>
                  </a:lnTo>
                  <a:lnTo>
                    <a:pt x="821" y="212"/>
                  </a:lnTo>
                  <a:lnTo>
                    <a:pt x="816" y="209"/>
                  </a:lnTo>
                  <a:lnTo>
                    <a:pt x="809" y="205"/>
                  </a:lnTo>
                  <a:lnTo>
                    <a:pt x="804" y="203"/>
                  </a:lnTo>
                  <a:lnTo>
                    <a:pt x="800" y="202"/>
                  </a:lnTo>
                  <a:lnTo>
                    <a:pt x="797" y="202"/>
                  </a:lnTo>
                  <a:lnTo>
                    <a:pt x="793" y="203"/>
                  </a:lnTo>
                  <a:lnTo>
                    <a:pt x="792" y="203"/>
                  </a:lnTo>
                  <a:lnTo>
                    <a:pt x="789" y="203"/>
                  </a:lnTo>
                  <a:lnTo>
                    <a:pt x="775" y="190"/>
                  </a:lnTo>
                  <a:lnTo>
                    <a:pt x="767" y="184"/>
                  </a:lnTo>
                  <a:lnTo>
                    <a:pt x="760" y="180"/>
                  </a:lnTo>
                  <a:lnTo>
                    <a:pt x="751" y="178"/>
                  </a:lnTo>
                  <a:lnTo>
                    <a:pt x="742" y="178"/>
                  </a:lnTo>
                  <a:lnTo>
                    <a:pt x="733" y="179"/>
                  </a:lnTo>
                  <a:lnTo>
                    <a:pt x="724" y="182"/>
                  </a:lnTo>
                  <a:lnTo>
                    <a:pt x="722" y="182"/>
                  </a:lnTo>
                  <a:lnTo>
                    <a:pt x="720" y="179"/>
                  </a:lnTo>
                  <a:lnTo>
                    <a:pt x="717" y="173"/>
                  </a:lnTo>
                  <a:lnTo>
                    <a:pt x="714" y="173"/>
                  </a:lnTo>
                  <a:lnTo>
                    <a:pt x="713" y="175"/>
                  </a:lnTo>
                  <a:lnTo>
                    <a:pt x="712" y="178"/>
                  </a:lnTo>
                  <a:lnTo>
                    <a:pt x="709" y="179"/>
                  </a:lnTo>
                  <a:lnTo>
                    <a:pt x="705" y="179"/>
                  </a:lnTo>
                  <a:lnTo>
                    <a:pt x="703" y="180"/>
                  </a:lnTo>
                  <a:lnTo>
                    <a:pt x="701" y="183"/>
                  </a:lnTo>
                  <a:lnTo>
                    <a:pt x="703" y="184"/>
                  </a:lnTo>
                  <a:lnTo>
                    <a:pt x="708" y="189"/>
                  </a:lnTo>
                  <a:lnTo>
                    <a:pt x="713" y="193"/>
                  </a:lnTo>
                  <a:lnTo>
                    <a:pt x="715" y="197"/>
                  </a:lnTo>
                  <a:lnTo>
                    <a:pt x="717" y="199"/>
                  </a:lnTo>
                  <a:lnTo>
                    <a:pt x="717" y="203"/>
                  </a:lnTo>
                  <a:lnTo>
                    <a:pt x="714" y="205"/>
                  </a:lnTo>
                  <a:lnTo>
                    <a:pt x="712" y="208"/>
                  </a:lnTo>
                  <a:lnTo>
                    <a:pt x="708" y="208"/>
                  </a:lnTo>
                  <a:lnTo>
                    <a:pt x="700" y="208"/>
                  </a:lnTo>
                  <a:lnTo>
                    <a:pt x="699" y="209"/>
                  </a:lnTo>
                  <a:lnTo>
                    <a:pt x="698" y="210"/>
                  </a:lnTo>
                  <a:lnTo>
                    <a:pt x="696" y="212"/>
                  </a:lnTo>
                  <a:lnTo>
                    <a:pt x="698" y="217"/>
                  </a:lnTo>
                  <a:lnTo>
                    <a:pt x="696" y="218"/>
                  </a:lnTo>
                  <a:lnTo>
                    <a:pt x="695" y="220"/>
                  </a:lnTo>
                  <a:lnTo>
                    <a:pt x="694" y="221"/>
                  </a:lnTo>
                  <a:lnTo>
                    <a:pt x="691" y="220"/>
                  </a:lnTo>
                  <a:lnTo>
                    <a:pt x="689" y="218"/>
                  </a:lnTo>
                  <a:lnTo>
                    <a:pt x="686" y="217"/>
                  </a:lnTo>
                  <a:lnTo>
                    <a:pt x="685" y="214"/>
                  </a:lnTo>
                  <a:lnTo>
                    <a:pt x="685" y="210"/>
                  </a:lnTo>
                  <a:lnTo>
                    <a:pt x="685" y="207"/>
                  </a:lnTo>
                  <a:lnTo>
                    <a:pt x="684" y="203"/>
                  </a:lnTo>
                  <a:lnTo>
                    <a:pt x="682" y="203"/>
                  </a:lnTo>
                  <a:lnTo>
                    <a:pt x="681" y="204"/>
                  </a:lnTo>
                  <a:lnTo>
                    <a:pt x="680" y="207"/>
                  </a:lnTo>
                  <a:lnTo>
                    <a:pt x="676" y="208"/>
                  </a:lnTo>
                  <a:lnTo>
                    <a:pt x="671" y="208"/>
                  </a:lnTo>
                  <a:lnTo>
                    <a:pt x="667" y="208"/>
                  </a:lnTo>
                  <a:lnTo>
                    <a:pt x="662" y="208"/>
                  </a:lnTo>
                  <a:lnTo>
                    <a:pt x="659" y="209"/>
                  </a:lnTo>
                  <a:lnTo>
                    <a:pt x="657" y="211"/>
                  </a:lnTo>
                  <a:lnTo>
                    <a:pt x="653" y="215"/>
                  </a:lnTo>
                  <a:lnTo>
                    <a:pt x="652" y="215"/>
                  </a:lnTo>
                  <a:lnTo>
                    <a:pt x="649" y="215"/>
                  </a:lnTo>
                  <a:lnTo>
                    <a:pt x="640" y="212"/>
                  </a:lnTo>
                  <a:lnTo>
                    <a:pt x="632" y="210"/>
                  </a:lnTo>
                  <a:lnTo>
                    <a:pt x="626" y="210"/>
                  </a:lnTo>
                  <a:lnTo>
                    <a:pt x="623" y="211"/>
                  </a:lnTo>
                  <a:lnTo>
                    <a:pt x="619" y="212"/>
                  </a:lnTo>
                  <a:lnTo>
                    <a:pt x="615" y="216"/>
                  </a:lnTo>
                  <a:lnTo>
                    <a:pt x="611" y="224"/>
                  </a:lnTo>
                  <a:lnTo>
                    <a:pt x="610" y="227"/>
                  </a:lnTo>
                  <a:lnTo>
                    <a:pt x="607" y="228"/>
                  </a:lnTo>
                  <a:lnTo>
                    <a:pt x="606" y="227"/>
                  </a:lnTo>
                  <a:lnTo>
                    <a:pt x="600" y="224"/>
                  </a:lnTo>
                  <a:lnTo>
                    <a:pt x="596" y="222"/>
                  </a:lnTo>
                  <a:lnTo>
                    <a:pt x="592" y="223"/>
                  </a:lnTo>
                  <a:lnTo>
                    <a:pt x="592" y="212"/>
                  </a:lnTo>
                  <a:lnTo>
                    <a:pt x="593" y="209"/>
                  </a:lnTo>
                  <a:lnTo>
                    <a:pt x="597" y="205"/>
                  </a:lnTo>
                  <a:lnTo>
                    <a:pt x="597" y="204"/>
                  </a:lnTo>
                  <a:lnTo>
                    <a:pt x="597" y="203"/>
                  </a:lnTo>
                  <a:lnTo>
                    <a:pt x="597" y="202"/>
                  </a:lnTo>
                  <a:lnTo>
                    <a:pt x="596" y="201"/>
                  </a:lnTo>
                  <a:lnTo>
                    <a:pt x="592" y="201"/>
                  </a:lnTo>
                  <a:lnTo>
                    <a:pt x="590" y="202"/>
                  </a:lnTo>
                  <a:lnTo>
                    <a:pt x="583" y="204"/>
                  </a:lnTo>
                  <a:lnTo>
                    <a:pt x="578" y="207"/>
                  </a:lnTo>
                  <a:lnTo>
                    <a:pt x="576" y="210"/>
                  </a:lnTo>
                  <a:lnTo>
                    <a:pt x="572" y="221"/>
                  </a:lnTo>
                  <a:lnTo>
                    <a:pt x="571" y="221"/>
                  </a:lnTo>
                  <a:lnTo>
                    <a:pt x="569" y="221"/>
                  </a:lnTo>
                  <a:lnTo>
                    <a:pt x="567" y="220"/>
                  </a:lnTo>
                  <a:lnTo>
                    <a:pt x="562" y="215"/>
                  </a:lnTo>
                  <a:lnTo>
                    <a:pt x="558" y="212"/>
                  </a:lnTo>
                  <a:lnTo>
                    <a:pt x="554" y="212"/>
                  </a:lnTo>
                  <a:lnTo>
                    <a:pt x="546" y="216"/>
                  </a:lnTo>
                  <a:lnTo>
                    <a:pt x="540" y="220"/>
                  </a:lnTo>
                  <a:lnTo>
                    <a:pt x="520" y="231"/>
                  </a:lnTo>
                  <a:lnTo>
                    <a:pt x="510" y="237"/>
                  </a:lnTo>
                  <a:lnTo>
                    <a:pt x="501" y="243"/>
                  </a:lnTo>
                  <a:lnTo>
                    <a:pt x="499" y="246"/>
                  </a:lnTo>
                  <a:lnTo>
                    <a:pt x="498" y="249"/>
                  </a:lnTo>
                  <a:lnTo>
                    <a:pt x="498" y="256"/>
                  </a:lnTo>
                  <a:lnTo>
                    <a:pt x="497" y="260"/>
                  </a:lnTo>
                  <a:lnTo>
                    <a:pt x="496" y="262"/>
                  </a:lnTo>
                  <a:lnTo>
                    <a:pt x="494" y="263"/>
                  </a:lnTo>
                  <a:lnTo>
                    <a:pt x="491" y="262"/>
                  </a:lnTo>
                  <a:lnTo>
                    <a:pt x="485" y="261"/>
                  </a:lnTo>
                  <a:lnTo>
                    <a:pt x="480" y="262"/>
                  </a:lnTo>
                  <a:lnTo>
                    <a:pt x="475" y="263"/>
                  </a:lnTo>
                  <a:lnTo>
                    <a:pt x="472" y="263"/>
                  </a:lnTo>
                  <a:lnTo>
                    <a:pt x="469" y="263"/>
                  </a:lnTo>
                  <a:lnTo>
                    <a:pt x="466" y="262"/>
                  </a:lnTo>
                  <a:lnTo>
                    <a:pt x="464" y="259"/>
                  </a:lnTo>
                  <a:lnTo>
                    <a:pt x="461" y="255"/>
                  </a:lnTo>
                  <a:lnTo>
                    <a:pt x="459" y="252"/>
                  </a:lnTo>
                  <a:lnTo>
                    <a:pt x="451" y="248"/>
                  </a:lnTo>
                  <a:lnTo>
                    <a:pt x="447" y="246"/>
                  </a:lnTo>
                  <a:lnTo>
                    <a:pt x="446" y="242"/>
                  </a:lnTo>
                  <a:lnTo>
                    <a:pt x="447" y="240"/>
                  </a:lnTo>
                  <a:lnTo>
                    <a:pt x="452" y="239"/>
                  </a:lnTo>
                  <a:lnTo>
                    <a:pt x="459" y="237"/>
                  </a:lnTo>
                  <a:lnTo>
                    <a:pt x="463" y="236"/>
                  </a:lnTo>
                  <a:lnTo>
                    <a:pt x="465" y="235"/>
                  </a:lnTo>
                  <a:lnTo>
                    <a:pt x="466" y="233"/>
                  </a:lnTo>
                  <a:lnTo>
                    <a:pt x="466" y="229"/>
                  </a:lnTo>
                  <a:lnTo>
                    <a:pt x="466" y="225"/>
                  </a:lnTo>
                  <a:lnTo>
                    <a:pt x="464" y="223"/>
                  </a:lnTo>
                  <a:lnTo>
                    <a:pt x="461" y="222"/>
                  </a:lnTo>
                  <a:lnTo>
                    <a:pt x="455" y="218"/>
                  </a:lnTo>
                  <a:lnTo>
                    <a:pt x="447" y="216"/>
                  </a:lnTo>
                  <a:lnTo>
                    <a:pt x="444" y="216"/>
                  </a:lnTo>
                  <a:lnTo>
                    <a:pt x="441" y="216"/>
                  </a:lnTo>
                  <a:lnTo>
                    <a:pt x="437" y="218"/>
                  </a:lnTo>
                  <a:lnTo>
                    <a:pt x="435" y="218"/>
                  </a:lnTo>
                  <a:lnTo>
                    <a:pt x="431" y="217"/>
                  </a:lnTo>
                  <a:lnTo>
                    <a:pt x="427" y="214"/>
                  </a:lnTo>
                  <a:lnTo>
                    <a:pt x="426" y="212"/>
                  </a:lnTo>
                  <a:lnTo>
                    <a:pt x="422" y="212"/>
                  </a:lnTo>
                  <a:lnTo>
                    <a:pt x="421" y="215"/>
                  </a:lnTo>
                  <a:lnTo>
                    <a:pt x="419" y="217"/>
                  </a:lnTo>
                  <a:lnTo>
                    <a:pt x="421" y="220"/>
                  </a:lnTo>
                  <a:lnTo>
                    <a:pt x="422" y="221"/>
                  </a:lnTo>
                  <a:lnTo>
                    <a:pt x="426" y="223"/>
                  </a:lnTo>
                  <a:lnTo>
                    <a:pt x="430" y="227"/>
                  </a:lnTo>
                  <a:lnTo>
                    <a:pt x="432" y="230"/>
                  </a:lnTo>
                  <a:lnTo>
                    <a:pt x="432" y="235"/>
                  </a:lnTo>
                  <a:lnTo>
                    <a:pt x="430" y="239"/>
                  </a:lnTo>
                  <a:lnTo>
                    <a:pt x="427" y="242"/>
                  </a:lnTo>
                  <a:lnTo>
                    <a:pt x="419" y="250"/>
                  </a:lnTo>
                  <a:lnTo>
                    <a:pt x="419" y="253"/>
                  </a:lnTo>
                  <a:lnTo>
                    <a:pt x="418" y="255"/>
                  </a:lnTo>
                  <a:lnTo>
                    <a:pt x="419" y="258"/>
                  </a:lnTo>
                  <a:lnTo>
                    <a:pt x="419" y="259"/>
                  </a:lnTo>
                  <a:lnTo>
                    <a:pt x="421" y="258"/>
                  </a:lnTo>
                  <a:lnTo>
                    <a:pt x="427" y="255"/>
                  </a:lnTo>
                  <a:lnTo>
                    <a:pt x="431" y="255"/>
                  </a:lnTo>
                  <a:lnTo>
                    <a:pt x="433" y="256"/>
                  </a:lnTo>
                  <a:lnTo>
                    <a:pt x="435" y="259"/>
                  </a:lnTo>
                  <a:lnTo>
                    <a:pt x="436" y="261"/>
                  </a:lnTo>
                  <a:lnTo>
                    <a:pt x="436" y="265"/>
                  </a:lnTo>
                  <a:lnTo>
                    <a:pt x="436" y="267"/>
                  </a:lnTo>
                  <a:lnTo>
                    <a:pt x="435" y="269"/>
                  </a:lnTo>
                  <a:lnTo>
                    <a:pt x="435" y="272"/>
                  </a:lnTo>
                  <a:lnTo>
                    <a:pt x="433" y="275"/>
                  </a:lnTo>
                  <a:lnTo>
                    <a:pt x="433" y="276"/>
                  </a:lnTo>
                  <a:lnTo>
                    <a:pt x="431" y="278"/>
                  </a:lnTo>
                  <a:lnTo>
                    <a:pt x="428" y="278"/>
                  </a:lnTo>
                  <a:lnTo>
                    <a:pt x="426" y="278"/>
                  </a:lnTo>
                  <a:lnTo>
                    <a:pt x="422" y="279"/>
                  </a:lnTo>
                  <a:lnTo>
                    <a:pt x="422" y="275"/>
                  </a:lnTo>
                  <a:lnTo>
                    <a:pt x="419" y="272"/>
                  </a:lnTo>
                  <a:lnTo>
                    <a:pt x="417" y="271"/>
                  </a:lnTo>
                  <a:lnTo>
                    <a:pt x="413" y="269"/>
                  </a:lnTo>
                  <a:lnTo>
                    <a:pt x="405" y="269"/>
                  </a:lnTo>
                  <a:lnTo>
                    <a:pt x="399" y="271"/>
                  </a:lnTo>
                  <a:lnTo>
                    <a:pt x="397" y="273"/>
                  </a:lnTo>
                  <a:lnTo>
                    <a:pt x="393" y="275"/>
                  </a:lnTo>
                  <a:lnTo>
                    <a:pt x="389" y="279"/>
                  </a:lnTo>
                  <a:lnTo>
                    <a:pt x="384" y="280"/>
                  </a:lnTo>
                  <a:lnTo>
                    <a:pt x="383" y="282"/>
                  </a:lnTo>
                  <a:lnTo>
                    <a:pt x="380" y="286"/>
                  </a:lnTo>
                  <a:lnTo>
                    <a:pt x="379" y="288"/>
                  </a:lnTo>
                  <a:lnTo>
                    <a:pt x="378" y="288"/>
                  </a:lnTo>
                  <a:lnTo>
                    <a:pt x="376" y="288"/>
                  </a:lnTo>
                  <a:lnTo>
                    <a:pt x="370" y="287"/>
                  </a:lnTo>
                  <a:lnTo>
                    <a:pt x="367" y="288"/>
                  </a:lnTo>
                  <a:lnTo>
                    <a:pt x="364" y="290"/>
                  </a:lnTo>
                  <a:lnTo>
                    <a:pt x="358" y="295"/>
                  </a:lnTo>
                  <a:lnTo>
                    <a:pt x="355" y="299"/>
                  </a:lnTo>
                  <a:lnTo>
                    <a:pt x="353" y="304"/>
                  </a:lnTo>
                  <a:lnTo>
                    <a:pt x="353" y="308"/>
                  </a:lnTo>
                  <a:lnTo>
                    <a:pt x="356" y="312"/>
                  </a:lnTo>
                  <a:lnTo>
                    <a:pt x="360" y="314"/>
                  </a:lnTo>
                  <a:lnTo>
                    <a:pt x="365" y="317"/>
                  </a:lnTo>
                  <a:lnTo>
                    <a:pt x="370" y="319"/>
                  </a:lnTo>
                  <a:lnTo>
                    <a:pt x="374" y="323"/>
                  </a:lnTo>
                  <a:lnTo>
                    <a:pt x="375" y="326"/>
                  </a:lnTo>
                  <a:lnTo>
                    <a:pt x="375" y="327"/>
                  </a:lnTo>
                  <a:lnTo>
                    <a:pt x="374" y="329"/>
                  </a:lnTo>
                  <a:lnTo>
                    <a:pt x="365" y="326"/>
                  </a:lnTo>
                  <a:lnTo>
                    <a:pt x="357" y="324"/>
                  </a:lnTo>
                  <a:lnTo>
                    <a:pt x="350" y="322"/>
                  </a:lnTo>
                  <a:lnTo>
                    <a:pt x="345" y="320"/>
                  </a:lnTo>
                  <a:lnTo>
                    <a:pt x="339" y="320"/>
                  </a:lnTo>
                  <a:lnTo>
                    <a:pt x="336" y="320"/>
                  </a:lnTo>
                  <a:lnTo>
                    <a:pt x="331" y="318"/>
                  </a:lnTo>
                  <a:lnTo>
                    <a:pt x="322" y="314"/>
                  </a:lnTo>
                  <a:lnTo>
                    <a:pt x="313" y="311"/>
                  </a:lnTo>
                  <a:lnTo>
                    <a:pt x="309" y="307"/>
                  </a:lnTo>
                  <a:lnTo>
                    <a:pt x="306" y="305"/>
                  </a:lnTo>
                  <a:lnTo>
                    <a:pt x="305" y="304"/>
                  </a:lnTo>
                  <a:lnTo>
                    <a:pt x="304" y="304"/>
                  </a:lnTo>
                  <a:lnTo>
                    <a:pt x="300" y="305"/>
                  </a:lnTo>
                  <a:lnTo>
                    <a:pt x="298" y="307"/>
                  </a:lnTo>
                  <a:lnTo>
                    <a:pt x="295" y="314"/>
                  </a:lnTo>
                  <a:lnTo>
                    <a:pt x="294" y="314"/>
                  </a:lnTo>
                  <a:lnTo>
                    <a:pt x="291" y="316"/>
                  </a:lnTo>
                  <a:lnTo>
                    <a:pt x="291" y="317"/>
                  </a:lnTo>
                  <a:lnTo>
                    <a:pt x="291" y="319"/>
                  </a:lnTo>
                  <a:lnTo>
                    <a:pt x="295" y="322"/>
                  </a:lnTo>
                  <a:lnTo>
                    <a:pt x="304" y="327"/>
                  </a:lnTo>
                  <a:lnTo>
                    <a:pt x="309" y="331"/>
                  </a:lnTo>
                  <a:lnTo>
                    <a:pt x="313" y="335"/>
                  </a:lnTo>
                  <a:lnTo>
                    <a:pt x="317" y="338"/>
                  </a:lnTo>
                  <a:lnTo>
                    <a:pt x="317" y="342"/>
                  </a:lnTo>
                  <a:lnTo>
                    <a:pt x="317" y="344"/>
                  </a:lnTo>
                  <a:lnTo>
                    <a:pt x="315" y="346"/>
                  </a:lnTo>
                  <a:lnTo>
                    <a:pt x="313" y="346"/>
                  </a:lnTo>
                  <a:lnTo>
                    <a:pt x="310" y="346"/>
                  </a:lnTo>
                  <a:lnTo>
                    <a:pt x="309" y="345"/>
                  </a:lnTo>
                  <a:lnTo>
                    <a:pt x="301" y="342"/>
                  </a:lnTo>
                  <a:lnTo>
                    <a:pt x="292" y="338"/>
                  </a:lnTo>
                  <a:lnTo>
                    <a:pt x="290" y="337"/>
                  </a:lnTo>
                  <a:lnTo>
                    <a:pt x="289" y="335"/>
                  </a:lnTo>
                  <a:lnTo>
                    <a:pt x="284" y="333"/>
                  </a:lnTo>
                  <a:lnTo>
                    <a:pt x="278" y="333"/>
                  </a:lnTo>
                  <a:lnTo>
                    <a:pt x="273" y="333"/>
                  </a:lnTo>
                  <a:lnTo>
                    <a:pt x="268" y="332"/>
                  </a:lnTo>
                  <a:lnTo>
                    <a:pt x="267" y="331"/>
                  </a:lnTo>
                  <a:lnTo>
                    <a:pt x="266" y="330"/>
                  </a:lnTo>
                  <a:lnTo>
                    <a:pt x="266" y="327"/>
                  </a:lnTo>
                  <a:lnTo>
                    <a:pt x="266" y="326"/>
                  </a:lnTo>
                  <a:lnTo>
                    <a:pt x="265" y="322"/>
                  </a:lnTo>
                  <a:lnTo>
                    <a:pt x="263" y="316"/>
                  </a:lnTo>
                  <a:lnTo>
                    <a:pt x="262" y="310"/>
                  </a:lnTo>
                  <a:lnTo>
                    <a:pt x="263" y="305"/>
                  </a:lnTo>
                  <a:lnTo>
                    <a:pt x="266" y="299"/>
                  </a:lnTo>
                  <a:lnTo>
                    <a:pt x="266" y="294"/>
                  </a:lnTo>
                  <a:lnTo>
                    <a:pt x="266" y="290"/>
                  </a:lnTo>
                  <a:lnTo>
                    <a:pt x="263" y="287"/>
                  </a:lnTo>
                  <a:lnTo>
                    <a:pt x="259" y="285"/>
                  </a:lnTo>
                  <a:lnTo>
                    <a:pt x="251" y="281"/>
                  </a:lnTo>
                  <a:lnTo>
                    <a:pt x="240" y="280"/>
                  </a:lnTo>
                  <a:lnTo>
                    <a:pt x="237" y="279"/>
                  </a:lnTo>
                  <a:lnTo>
                    <a:pt x="234" y="276"/>
                  </a:lnTo>
                  <a:lnTo>
                    <a:pt x="232" y="274"/>
                  </a:lnTo>
                  <a:lnTo>
                    <a:pt x="230" y="272"/>
                  </a:lnTo>
                  <a:lnTo>
                    <a:pt x="228" y="265"/>
                  </a:lnTo>
                  <a:lnTo>
                    <a:pt x="228" y="261"/>
                  </a:lnTo>
                  <a:lnTo>
                    <a:pt x="229" y="258"/>
                  </a:lnTo>
                  <a:lnTo>
                    <a:pt x="230" y="256"/>
                  </a:lnTo>
                  <a:lnTo>
                    <a:pt x="233" y="256"/>
                  </a:lnTo>
                  <a:lnTo>
                    <a:pt x="237" y="260"/>
                  </a:lnTo>
                  <a:lnTo>
                    <a:pt x="239" y="261"/>
                  </a:lnTo>
                  <a:lnTo>
                    <a:pt x="242" y="262"/>
                  </a:lnTo>
                  <a:lnTo>
                    <a:pt x="247" y="262"/>
                  </a:lnTo>
                  <a:lnTo>
                    <a:pt x="251" y="262"/>
                  </a:lnTo>
                  <a:lnTo>
                    <a:pt x="262" y="267"/>
                  </a:lnTo>
                  <a:lnTo>
                    <a:pt x="273" y="272"/>
                  </a:lnTo>
                  <a:lnTo>
                    <a:pt x="278" y="274"/>
                  </a:lnTo>
                  <a:lnTo>
                    <a:pt x="285" y="275"/>
                  </a:lnTo>
                  <a:lnTo>
                    <a:pt x="291" y="275"/>
                  </a:lnTo>
                  <a:lnTo>
                    <a:pt x="298" y="274"/>
                  </a:lnTo>
                  <a:lnTo>
                    <a:pt x="299" y="274"/>
                  </a:lnTo>
                  <a:lnTo>
                    <a:pt x="300" y="274"/>
                  </a:lnTo>
                  <a:lnTo>
                    <a:pt x="303" y="276"/>
                  </a:lnTo>
                  <a:lnTo>
                    <a:pt x="305" y="280"/>
                  </a:lnTo>
                  <a:lnTo>
                    <a:pt x="306" y="282"/>
                  </a:lnTo>
                  <a:lnTo>
                    <a:pt x="312" y="285"/>
                  </a:lnTo>
                  <a:lnTo>
                    <a:pt x="317" y="286"/>
                  </a:lnTo>
                  <a:lnTo>
                    <a:pt x="342" y="286"/>
                  </a:lnTo>
                  <a:lnTo>
                    <a:pt x="346" y="285"/>
                  </a:lnTo>
                  <a:lnTo>
                    <a:pt x="351" y="282"/>
                  </a:lnTo>
                  <a:lnTo>
                    <a:pt x="361" y="276"/>
                  </a:lnTo>
                  <a:lnTo>
                    <a:pt x="361" y="275"/>
                  </a:lnTo>
                  <a:lnTo>
                    <a:pt x="362" y="273"/>
                  </a:lnTo>
                  <a:lnTo>
                    <a:pt x="374" y="263"/>
                  </a:lnTo>
                  <a:lnTo>
                    <a:pt x="378" y="260"/>
                  </a:lnTo>
                  <a:lnTo>
                    <a:pt x="379" y="255"/>
                  </a:lnTo>
                  <a:lnTo>
                    <a:pt x="379" y="254"/>
                  </a:lnTo>
                  <a:lnTo>
                    <a:pt x="378" y="253"/>
                  </a:lnTo>
                  <a:lnTo>
                    <a:pt x="375" y="252"/>
                  </a:lnTo>
                  <a:lnTo>
                    <a:pt x="372" y="250"/>
                  </a:lnTo>
                  <a:lnTo>
                    <a:pt x="371" y="249"/>
                  </a:lnTo>
                  <a:lnTo>
                    <a:pt x="372" y="244"/>
                  </a:lnTo>
                  <a:lnTo>
                    <a:pt x="372" y="241"/>
                  </a:lnTo>
                  <a:lnTo>
                    <a:pt x="371" y="236"/>
                  </a:lnTo>
                  <a:lnTo>
                    <a:pt x="362" y="234"/>
                  </a:lnTo>
                  <a:lnTo>
                    <a:pt x="353" y="229"/>
                  </a:lnTo>
                  <a:lnTo>
                    <a:pt x="352" y="229"/>
                  </a:lnTo>
                  <a:lnTo>
                    <a:pt x="351" y="230"/>
                  </a:lnTo>
                  <a:lnTo>
                    <a:pt x="348" y="230"/>
                  </a:lnTo>
                  <a:lnTo>
                    <a:pt x="347" y="230"/>
                  </a:lnTo>
                  <a:lnTo>
                    <a:pt x="345" y="228"/>
                  </a:lnTo>
                  <a:lnTo>
                    <a:pt x="343" y="225"/>
                  </a:lnTo>
                  <a:lnTo>
                    <a:pt x="341" y="222"/>
                  </a:lnTo>
                  <a:lnTo>
                    <a:pt x="339" y="221"/>
                  </a:lnTo>
                  <a:lnTo>
                    <a:pt x="337" y="221"/>
                  </a:lnTo>
                  <a:lnTo>
                    <a:pt x="333" y="221"/>
                  </a:lnTo>
                  <a:lnTo>
                    <a:pt x="329" y="220"/>
                  </a:lnTo>
                  <a:lnTo>
                    <a:pt x="325" y="217"/>
                  </a:lnTo>
                  <a:lnTo>
                    <a:pt x="322" y="214"/>
                  </a:lnTo>
                  <a:lnTo>
                    <a:pt x="318" y="211"/>
                  </a:lnTo>
                  <a:lnTo>
                    <a:pt x="305" y="207"/>
                  </a:lnTo>
                  <a:lnTo>
                    <a:pt x="299" y="205"/>
                  </a:lnTo>
                  <a:lnTo>
                    <a:pt x="292" y="203"/>
                  </a:lnTo>
                  <a:lnTo>
                    <a:pt x="287" y="204"/>
                  </a:lnTo>
                  <a:lnTo>
                    <a:pt x="285" y="204"/>
                  </a:lnTo>
                  <a:lnTo>
                    <a:pt x="281" y="204"/>
                  </a:lnTo>
                  <a:lnTo>
                    <a:pt x="280" y="203"/>
                  </a:lnTo>
                  <a:lnTo>
                    <a:pt x="278" y="202"/>
                  </a:lnTo>
                  <a:lnTo>
                    <a:pt x="276" y="197"/>
                  </a:lnTo>
                  <a:lnTo>
                    <a:pt x="275" y="197"/>
                  </a:lnTo>
                  <a:lnTo>
                    <a:pt x="273" y="197"/>
                  </a:lnTo>
                  <a:lnTo>
                    <a:pt x="270" y="198"/>
                  </a:lnTo>
                  <a:lnTo>
                    <a:pt x="267" y="198"/>
                  </a:lnTo>
                  <a:lnTo>
                    <a:pt x="266" y="197"/>
                  </a:lnTo>
                  <a:lnTo>
                    <a:pt x="265" y="195"/>
                  </a:lnTo>
                  <a:lnTo>
                    <a:pt x="262" y="192"/>
                  </a:lnTo>
                  <a:lnTo>
                    <a:pt x="257" y="191"/>
                  </a:lnTo>
                  <a:lnTo>
                    <a:pt x="251" y="191"/>
                  </a:lnTo>
                  <a:lnTo>
                    <a:pt x="245" y="193"/>
                  </a:lnTo>
                  <a:lnTo>
                    <a:pt x="243" y="196"/>
                  </a:lnTo>
                  <a:lnTo>
                    <a:pt x="242" y="199"/>
                  </a:lnTo>
                  <a:lnTo>
                    <a:pt x="240" y="202"/>
                  </a:lnTo>
                  <a:lnTo>
                    <a:pt x="239" y="203"/>
                  </a:lnTo>
                  <a:lnTo>
                    <a:pt x="237" y="203"/>
                  </a:lnTo>
                  <a:lnTo>
                    <a:pt x="237" y="201"/>
                  </a:lnTo>
                  <a:lnTo>
                    <a:pt x="235" y="197"/>
                  </a:lnTo>
                  <a:lnTo>
                    <a:pt x="234" y="192"/>
                  </a:lnTo>
                  <a:lnTo>
                    <a:pt x="233" y="188"/>
                  </a:lnTo>
                  <a:lnTo>
                    <a:pt x="230" y="186"/>
                  </a:lnTo>
                  <a:lnTo>
                    <a:pt x="229" y="188"/>
                  </a:lnTo>
                  <a:lnTo>
                    <a:pt x="226" y="189"/>
                  </a:lnTo>
                  <a:lnTo>
                    <a:pt x="225" y="189"/>
                  </a:lnTo>
                  <a:lnTo>
                    <a:pt x="221" y="186"/>
                  </a:lnTo>
                  <a:lnTo>
                    <a:pt x="221" y="185"/>
                  </a:lnTo>
                  <a:lnTo>
                    <a:pt x="221" y="184"/>
                  </a:lnTo>
                  <a:lnTo>
                    <a:pt x="223" y="183"/>
                  </a:lnTo>
                  <a:lnTo>
                    <a:pt x="225" y="182"/>
                  </a:lnTo>
                  <a:lnTo>
                    <a:pt x="228" y="182"/>
                  </a:lnTo>
                  <a:lnTo>
                    <a:pt x="229" y="179"/>
                  </a:lnTo>
                  <a:lnTo>
                    <a:pt x="228" y="178"/>
                  </a:lnTo>
                  <a:lnTo>
                    <a:pt x="221" y="175"/>
                  </a:lnTo>
                  <a:lnTo>
                    <a:pt x="216" y="172"/>
                  </a:lnTo>
                  <a:lnTo>
                    <a:pt x="214" y="171"/>
                  </a:lnTo>
                  <a:lnTo>
                    <a:pt x="212" y="171"/>
                  </a:lnTo>
                  <a:lnTo>
                    <a:pt x="211" y="175"/>
                  </a:lnTo>
                  <a:lnTo>
                    <a:pt x="211" y="178"/>
                  </a:lnTo>
                  <a:lnTo>
                    <a:pt x="211" y="179"/>
                  </a:lnTo>
                  <a:lnTo>
                    <a:pt x="210" y="180"/>
                  </a:lnTo>
                  <a:lnTo>
                    <a:pt x="206" y="182"/>
                  </a:lnTo>
                  <a:lnTo>
                    <a:pt x="202" y="183"/>
                  </a:lnTo>
                  <a:lnTo>
                    <a:pt x="193" y="183"/>
                  </a:lnTo>
                  <a:lnTo>
                    <a:pt x="191" y="186"/>
                  </a:lnTo>
                  <a:lnTo>
                    <a:pt x="188" y="189"/>
                  </a:lnTo>
                  <a:lnTo>
                    <a:pt x="185" y="189"/>
                  </a:lnTo>
                  <a:lnTo>
                    <a:pt x="181" y="191"/>
                  </a:lnTo>
                  <a:lnTo>
                    <a:pt x="177" y="192"/>
                  </a:lnTo>
                  <a:lnTo>
                    <a:pt x="168" y="191"/>
                  </a:lnTo>
                  <a:lnTo>
                    <a:pt x="169" y="195"/>
                  </a:lnTo>
                  <a:lnTo>
                    <a:pt x="171" y="202"/>
                  </a:lnTo>
                  <a:lnTo>
                    <a:pt x="172" y="210"/>
                  </a:lnTo>
                  <a:lnTo>
                    <a:pt x="176" y="220"/>
                  </a:lnTo>
                  <a:lnTo>
                    <a:pt x="176" y="223"/>
                  </a:lnTo>
                  <a:lnTo>
                    <a:pt x="176" y="227"/>
                  </a:lnTo>
                  <a:lnTo>
                    <a:pt x="172" y="233"/>
                  </a:lnTo>
                  <a:lnTo>
                    <a:pt x="168" y="242"/>
                  </a:lnTo>
                  <a:lnTo>
                    <a:pt x="167" y="250"/>
                  </a:lnTo>
                  <a:lnTo>
                    <a:pt x="167" y="258"/>
                  </a:lnTo>
                  <a:lnTo>
                    <a:pt x="168" y="263"/>
                  </a:lnTo>
                  <a:lnTo>
                    <a:pt x="173" y="273"/>
                  </a:lnTo>
                  <a:lnTo>
                    <a:pt x="177" y="284"/>
                  </a:lnTo>
                  <a:lnTo>
                    <a:pt x="178" y="288"/>
                  </a:lnTo>
                  <a:lnTo>
                    <a:pt x="177" y="293"/>
                  </a:lnTo>
                  <a:lnTo>
                    <a:pt x="174" y="299"/>
                  </a:lnTo>
                  <a:lnTo>
                    <a:pt x="174" y="304"/>
                  </a:lnTo>
                  <a:lnTo>
                    <a:pt x="176" y="310"/>
                  </a:lnTo>
                  <a:lnTo>
                    <a:pt x="177" y="312"/>
                  </a:lnTo>
                  <a:lnTo>
                    <a:pt x="178" y="313"/>
                  </a:lnTo>
                  <a:lnTo>
                    <a:pt x="178" y="316"/>
                  </a:lnTo>
                  <a:lnTo>
                    <a:pt x="179" y="316"/>
                  </a:lnTo>
                  <a:lnTo>
                    <a:pt x="181" y="317"/>
                  </a:lnTo>
                  <a:lnTo>
                    <a:pt x="182" y="318"/>
                  </a:lnTo>
                  <a:lnTo>
                    <a:pt x="183" y="318"/>
                  </a:lnTo>
                  <a:lnTo>
                    <a:pt x="186" y="318"/>
                  </a:lnTo>
                  <a:lnTo>
                    <a:pt x="186" y="322"/>
                  </a:lnTo>
                  <a:lnTo>
                    <a:pt x="185" y="325"/>
                  </a:lnTo>
                  <a:lnTo>
                    <a:pt x="183" y="329"/>
                  </a:lnTo>
                  <a:lnTo>
                    <a:pt x="183" y="331"/>
                  </a:lnTo>
                  <a:lnTo>
                    <a:pt x="187" y="336"/>
                  </a:lnTo>
                  <a:lnTo>
                    <a:pt x="187" y="340"/>
                  </a:lnTo>
                  <a:lnTo>
                    <a:pt x="185" y="345"/>
                  </a:lnTo>
                  <a:lnTo>
                    <a:pt x="181" y="351"/>
                  </a:lnTo>
                  <a:lnTo>
                    <a:pt x="179" y="352"/>
                  </a:lnTo>
                  <a:lnTo>
                    <a:pt x="181" y="355"/>
                  </a:lnTo>
                  <a:lnTo>
                    <a:pt x="182" y="359"/>
                  </a:lnTo>
                  <a:lnTo>
                    <a:pt x="185" y="361"/>
                  </a:lnTo>
                  <a:lnTo>
                    <a:pt x="187" y="362"/>
                  </a:lnTo>
                  <a:lnTo>
                    <a:pt x="190" y="362"/>
                  </a:lnTo>
                  <a:lnTo>
                    <a:pt x="190" y="364"/>
                  </a:lnTo>
                  <a:lnTo>
                    <a:pt x="190" y="371"/>
                  </a:lnTo>
                  <a:lnTo>
                    <a:pt x="191" y="377"/>
                  </a:lnTo>
                  <a:lnTo>
                    <a:pt x="192" y="382"/>
                  </a:lnTo>
                  <a:lnTo>
                    <a:pt x="192" y="387"/>
                  </a:lnTo>
                  <a:lnTo>
                    <a:pt x="191" y="390"/>
                  </a:lnTo>
                  <a:lnTo>
                    <a:pt x="187" y="395"/>
                  </a:lnTo>
                  <a:lnTo>
                    <a:pt x="174" y="408"/>
                  </a:lnTo>
                  <a:lnTo>
                    <a:pt x="150" y="432"/>
                  </a:lnTo>
                  <a:lnTo>
                    <a:pt x="160" y="434"/>
                  </a:lnTo>
                  <a:lnTo>
                    <a:pt x="168" y="438"/>
                  </a:lnTo>
                  <a:lnTo>
                    <a:pt x="177" y="441"/>
                  </a:lnTo>
                  <a:lnTo>
                    <a:pt x="185" y="446"/>
                  </a:lnTo>
                  <a:lnTo>
                    <a:pt x="181" y="450"/>
                  </a:lnTo>
                  <a:lnTo>
                    <a:pt x="176" y="453"/>
                  </a:lnTo>
                  <a:lnTo>
                    <a:pt x="172" y="454"/>
                  </a:lnTo>
                  <a:lnTo>
                    <a:pt x="167" y="455"/>
                  </a:lnTo>
                  <a:lnTo>
                    <a:pt x="158" y="455"/>
                  </a:lnTo>
                  <a:lnTo>
                    <a:pt x="149" y="457"/>
                  </a:lnTo>
                  <a:lnTo>
                    <a:pt x="148" y="455"/>
                  </a:lnTo>
                  <a:lnTo>
                    <a:pt x="146" y="454"/>
                  </a:lnTo>
                  <a:lnTo>
                    <a:pt x="145" y="453"/>
                  </a:lnTo>
                  <a:lnTo>
                    <a:pt x="144" y="454"/>
                  </a:lnTo>
                  <a:lnTo>
                    <a:pt x="141" y="455"/>
                  </a:lnTo>
                  <a:lnTo>
                    <a:pt x="139" y="458"/>
                  </a:lnTo>
                  <a:lnTo>
                    <a:pt x="136" y="464"/>
                  </a:lnTo>
                  <a:lnTo>
                    <a:pt x="135" y="464"/>
                  </a:lnTo>
                  <a:lnTo>
                    <a:pt x="132" y="464"/>
                  </a:lnTo>
                  <a:lnTo>
                    <a:pt x="126" y="461"/>
                  </a:lnTo>
                  <a:lnTo>
                    <a:pt x="120" y="459"/>
                  </a:lnTo>
                  <a:lnTo>
                    <a:pt x="116" y="458"/>
                  </a:lnTo>
                  <a:lnTo>
                    <a:pt x="98" y="459"/>
                  </a:lnTo>
                  <a:lnTo>
                    <a:pt x="89" y="457"/>
                  </a:lnTo>
                  <a:lnTo>
                    <a:pt x="87" y="457"/>
                  </a:lnTo>
                  <a:lnTo>
                    <a:pt x="84" y="458"/>
                  </a:lnTo>
                  <a:lnTo>
                    <a:pt x="83" y="460"/>
                  </a:lnTo>
                  <a:lnTo>
                    <a:pt x="80" y="461"/>
                  </a:lnTo>
                  <a:lnTo>
                    <a:pt x="75" y="463"/>
                  </a:lnTo>
                  <a:lnTo>
                    <a:pt x="72" y="463"/>
                  </a:lnTo>
                  <a:lnTo>
                    <a:pt x="68" y="465"/>
                  </a:lnTo>
                  <a:lnTo>
                    <a:pt x="66" y="467"/>
                  </a:lnTo>
                  <a:lnTo>
                    <a:pt x="68" y="471"/>
                  </a:lnTo>
                  <a:lnTo>
                    <a:pt x="69" y="478"/>
                  </a:lnTo>
                  <a:lnTo>
                    <a:pt x="70" y="479"/>
                  </a:lnTo>
                  <a:lnTo>
                    <a:pt x="73" y="479"/>
                  </a:lnTo>
                  <a:lnTo>
                    <a:pt x="75" y="480"/>
                  </a:lnTo>
                  <a:lnTo>
                    <a:pt x="78" y="482"/>
                  </a:lnTo>
                  <a:lnTo>
                    <a:pt x="78" y="484"/>
                  </a:lnTo>
                  <a:lnTo>
                    <a:pt x="79" y="486"/>
                  </a:lnTo>
                  <a:lnTo>
                    <a:pt x="84" y="492"/>
                  </a:lnTo>
                  <a:lnTo>
                    <a:pt x="87" y="495"/>
                  </a:lnTo>
                  <a:lnTo>
                    <a:pt x="85" y="498"/>
                  </a:lnTo>
                  <a:lnTo>
                    <a:pt x="84" y="503"/>
                  </a:lnTo>
                  <a:lnTo>
                    <a:pt x="83" y="508"/>
                  </a:lnTo>
                  <a:lnTo>
                    <a:pt x="83" y="512"/>
                  </a:lnTo>
                  <a:lnTo>
                    <a:pt x="82" y="517"/>
                  </a:lnTo>
                  <a:lnTo>
                    <a:pt x="82" y="518"/>
                  </a:lnTo>
                  <a:lnTo>
                    <a:pt x="79" y="520"/>
                  </a:lnTo>
                  <a:lnTo>
                    <a:pt x="75" y="522"/>
                  </a:lnTo>
                  <a:lnTo>
                    <a:pt x="75" y="523"/>
                  </a:lnTo>
                  <a:lnTo>
                    <a:pt x="75" y="524"/>
                  </a:lnTo>
                  <a:lnTo>
                    <a:pt x="75" y="525"/>
                  </a:lnTo>
                  <a:lnTo>
                    <a:pt x="72" y="527"/>
                  </a:lnTo>
                  <a:lnTo>
                    <a:pt x="68" y="527"/>
                  </a:lnTo>
                  <a:lnTo>
                    <a:pt x="64" y="524"/>
                  </a:lnTo>
                  <a:lnTo>
                    <a:pt x="61" y="522"/>
                  </a:lnTo>
                  <a:lnTo>
                    <a:pt x="59" y="518"/>
                  </a:lnTo>
                  <a:lnTo>
                    <a:pt x="58" y="512"/>
                  </a:lnTo>
                  <a:lnTo>
                    <a:pt x="56" y="508"/>
                  </a:lnTo>
                  <a:lnTo>
                    <a:pt x="54" y="503"/>
                  </a:lnTo>
                  <a:lnTo>
                    <a:pt x="51" y="501"/>
                  </a:lnTo>
                  <a:lnTo>
                    <a:pt x="49" y="502"/>
                  </a:lnTo>
                  <a:lnTo>
                    <a:pt x="44" y="505"/>
                  </a:lnTo>
                  <a:lnTo>
                    <a:pt x="33" y="514"/>
                  </a:lnTo>
                  <a:lnTo>
                    <a:pt x="28" y="517"/>
                  </a:lnTo>
                  <a:lnTo>
                    <a:pt x="26" y="522"/>
                  </a:lnTo>
                  <a:lnTo>
                    <a:pt x="22" y="527"/>
                  </a:lnTo>
                  <a:lnTo>
                    <a:pt x="21" y="533"/>
                  </a:lnTo>
                  <a:lnTo>
                    <a:pt x="21" y="537"/>
                  </a:lnTo>
                  <a:lnTo>
                    <a:pt x="21" y="543"/>
                  </a:lnTo>
                  <a:lnTo>
                    <a:pt x="21" y="548"/>
                  </a:lnTo>
                  <a:lnTo>
                    <a:pt x="21" y="549"/>
                  </a:lnTo>
                  <a:lnTo>
                    <a:pt x="22" y="550"/>
                  </a:lnTo>
                  <a:lnTo>
                    <a:pt x="27" y="555"/>
                  </a:lnTo>
                  <a:lnTo>
                    <a:pt x="30" y="560"/>
                  </a:lnTo>
                  <a:lnTo>
                    <a:pt x="31" y="566"/>
                  </a:lnTo>
                  <a:lnTo>
                    <a:pt x="28" y="572"/>
                  </a:lnTo>
                  <a:lnTo>
                    <a:pt x="27" y="574"/>
                  </a:lnTo>
                  <a:lnTo>
                    <a:pt x="25" y="576"/>
                  </a:lnTo>
                  <a:lnTo>
                    <a:pt x="22" y="579"/>
                  </a:lnTo>
                  <a:lnTo>
                    <a:pt x="18" y="579"/>
                  </a:lnTo>
                  <a:lnTo>
                    <a:pt x="16" y="578"/>
                  </a:lnTo>
                  <a:lnTo>
                    <a:pt x="16" y="576"/>
                  </a:lnTo>
                  <a:lnTo>
                    <a:pt x="19" y="570"/>
                  </a:lnTo>
                  <a:lnTo>
                    <a:pt x="21" y="567"/>
                  </a:lnTo>
                  <a:lnTo>
                    <a:pt x="21" y="565"/>
                  </a:lnTo>
                  <a:lnTo>
                    <a:pt x="18" y="565"/>
                  </a:lnTo>
                  <a:lnTo>
                    <a:pt x="18" y="568"/>
                  </a:lnTo>
                  <a:lnTo>
                    <a:pt x="17" y="572"/>
                  </a:lnTo>
                  <a:lnTo>
                    <a:pt x="12" y="575"/>
                  </a:lnTo>
                  <a:lnTo>
                    <a:pt x="7" y="578"/>
                  </a:lnTo>
                  <a:lnTo>
                    <a:pt x="2" y="581"/>
                  </a:lnTo>
                  <a:lnTo>
                    <a:pt x="2" y="584"/>
                  </a:lnTo>
                  <a:lnTo>
                    <a:pt x="2" y="586"/>
                  </a:lnTo>
                  <a:lnTo>
                    <a:pt x="4" y="589"/>
                  </a:lnTo>
                  <a:lnTo>
                    <a:pt x="4" y="593"/>
                  </a:lnTo>
                  <a:lnTo>
                    <a:pt x="3" y="595"/>
                  </a:lnTo>
                  <a:lnTo>
                    <a:pt x="0" y="600"/>
                  </a:lnTo>
                  <a:lnTo>
                    <a:pt x="14" y="600"/>
                  </a:lnTo>
                  <a:lnTo>
                    <a:pt x="28" y="598"/>
                  </a:lnTo>
                  <a:lnTo>
                    <a:pt x="55" y="594"/>
                  </a:lnTo>
                  <a:lnTo>
                    <a:pt x="61" y="594"/>
                  </a:lnTo>
                  <a:lnTo>
                    <a:pt x="68" y="595"/>
                  </a:lnTo>
                  <a:lnTo>
                    <a:pt x="72" y="599"/>
                  </a:lnTo>
                  <a:lnTo>
                    <a:pt x="77" y="604"/>
                  </a:lnTo>
                  <a:lnTo>
                    <a:pt x="80" y="611"/>
                  </a:lnTo>
                  <a:lnTo>
                    <a:pt x="84" y="618"/>
                  </a:lnTo>
                  <a:lnTo>
                    <a:pt x="85" y="626"/>
                  </a:lnTo>
                  <a:lnTo>
                    <a:pt x="87" y="633"/>
                  </a:lnTo>
                  <a:lnTo>
                    <a:pt x="87" y="642"/>
                  </a:lnTo>
                  <a:lnTo>
                    <a:pt x="85" y="650"/>
                  </a:lnTo>
                  <a:lnTo>
                    <a:pt x="82" y="667"/>
                  </a:lnTo>
                  <a:lnTo>
                    <a:pt x="82" y="668"/>
                  </a:lnTo>
                  <a:lnTo>
                    <a:pt x="84" y="670"/>
                  </a:lnTo>
                  <a:lnTo>
                    <a:pt x="87" y="672"/>
                  </a:lnTo>
                  <a:lnTo>
                    <a:pt x="87" y="674"/>
                  </a:lnTo>
                  <a:lnTo>
                    <a:pt x="87" y="675"/>
                  </a:lnTo>
                  <a:lnTo>
                    <a:pt x="83" y="683"/>
                  </a:lnTo>
                  <a:lnTo>
                    <a:pt x="82" y="691"/>
                  </a:lnTo>
                  <a:lnTo>
                    <a:pt x="83" y="694"/>
                  </a:lnTo>
                  <a:lnTo>
                    <a:pt x="84" y="696"/>
                  </a:lnTo>
                  <a:lnTo>
                    <a:pt x="88" y="701"/>
                  </a:lnTo>
                  <a:lnTo>
                    <a:pt x="88" y="704"/>
                  </a:lnTo>
                  <a:lnTo>
                    <a:pt x="88" y="708"/>
                  </a:lnTo>
                  <a:lnTo>
                    <a:pt x="85" y="712"/>
                  </a:lnTo>
                  <a:lnTo>
                    <a:pt x="82" y="716"/>
                  </a:lnTo>
                  <a:lnTo>
                    <a:pt x="75" y="722"/>
                  </a:lnTo>
                  <a:lnTo>
                    <a:pt x="66" y="729"/>
                  </a:lnTo>
                  <a:lnTo>
                    <a:pt x="69" y="732"/>
                  </a:lnTo>
                  <a:lnTo>
                    <a:pt x="70" y="733"/>
                  </a:lnTo>
                  <a:lnTo>
                    <a:pt x="70" y="734"/>
                  </a:lnTo>
                  <a:lnTo>
                    <a:pt x="68" y="740"/>
                  </a:lnTo>
                  <a:lnTo>
                    <a:pt x="64" y="746"/>
                  </a:lnTo>
                  <a:lnTo>
                    <a:pt x="60" y="751"/>
                  </a:lnTo>
                  <a:lnTo>
                    <a:pt x="64" y="757"/>
                  </a:lnTo>
                  <a:lnTo>
                    <a:pt x="66" y="757"/>
                  </a:lnTo>
                  <a:lnTo>
                    <a:pt x="69" y="757"/>
                  </a:lnTo>
                  <a:lnTo>
                    <a:pt x="73" y="757"/>
                  </a:lnTo>
                  <a:lnTo>
                    <a:pt x="77" y="757"/>
                  </a:lnTo>
                  <a:lnTo>
                    <a:pt x="80" y="755"/>
                  </a:lnTo>
                  <a:lnTo>
                    <a:pt x="84" y="755"/>
                  </a:lnTo>
                  <a:lnTo>
                    <a:pt x="88" y="758"/>
                  </a:lnTo>
                  <a:lnTo>
                    <a:pt x="92" y="760"/>
                  </a:lnTo>
                  <a:lnTo>
                    <a:pt x="96" y="761"/>
                  </a:lnTo>
                  <a:lnTo>
                    <a:pt x="97" y="761"/>
                  </a:lnTo>
                  <a:lnTo>
                    <a:pt x="99" y="760"/>
                  </a:lnTo>
                  <a:lnTo>
                    <a:pt x="103" y="757"/>
                  </a:lnTo>
                  <a:lnTo>
                    <a:pt x="108" y="753"/>
                  </a:lnTo>
                  <a:lnTo>
                    <a:pt x="112" y="752"/>
                  </a:lnTo>
                  <a:lnTo>
                    <a:pt x="115" y="753"/>
                  </a:lnTo>
                  <a:lnTo>
                    <a:pt x="116" y="753"/>
                  </a:lnTo>
                  <a:lnTo>
                    <a:pt x="118" y="757"/>
                  </a:lnTo>
                  <a:lnTo>
                    <a:pt x="120" y="760"/>
                  </a:lnTo>
                  <a:lnTo>
                    <a:pt x="121" y="767"/>
                  </a:lnTo>
                  <a:lnTo>
                    <a:pt x="120" y="783"/>
                  </a:lnTo>
                  <a:lnTo>
                    <a:pt x="121" y="783"/>
                  </a:lnTo>
                  <a:lnTo>
                    <a:pt x="121" y="784"/>
                  </a:lnTo>
                  <a:lnTo>
                    <a:pt x="121" y="785"/>
                  </a:lnTo>
                  <a:lnTo>
                    <a:pt x="122" y="786"/>
                  </a:lnTo>
                  <a:lnTo>
                    <a:pt x="136" y="798"/>
                  </a:lnTo>
                  <a:lnTo>
                    <a:pt x="143" y="804"/>
                  </a:lnTo>
                  <a:lnTo>
                    <a:pt x="146" y="812"/>
                  </a:lnTo>
                  <a:lnTo>
                    <a:pt x="149" y="815"/>
                  </a:lnTo>
                  <a:lnTo>
                    <a:pt x="152" y="816"/>
                  </a:lnTo>
                  <a:lnTo>
                    <a:pt x="155" y="816"/>
                  </a:lnTo>
                  <a:lnTo>
                    <a:pt x="158" y="816"/>
                  </a:lnTo>
                  <a:lnTo>
                    <a:pt x="165" y="814"/>
                  </a:lnTo>
                  <a:lnTo>
                    <a:pt x="172" y="812"/>
                  </a:lnTo>
                  <a:lnTo>
                    <a:pt x="174" y="812"/>
                  </a:lnTo>
                  <a:lnTo>
                    <a:pt x="178" y="814"/>
                  </a:lnTo>
                  <a:lnTo>
                    <a:pt x="179" y="811"/>
                  </a:lnTo>
                  <a:lnTo>
                    <a:pt x="182" y="810"/>
                  </a:lnTo>
                  <a:lnTo>
                    <a:pt x="185" y="809"/>
                  </a:lnTo>
                  <a:lnTo>
                    <a:pt x="190" y="805"/>
                  </a:lnTo>
                  <a:lnTo>
                    <a:pt x="191" y="802"/>
                  </a:lnTo>
                  <a:lnTo>
                    <a:pt x="192" y="797"/>
                  </a:lnTo>
                  <a:lnTo>
                    <a:pt x="193" y="792"/>
                  </a:lnTo>
                  <a:lnTo>
                    <a:pt x="195" y="790"/>
                  </a:lnTo>
                  <a:lnTo>
                    <a:pt x="197" y="789"/>
                  </a:lnTo>
                  <a:lnTo>
                    <a:pt x="201" y="787"/>
                  </a:lnTo>
                  <a:lnTo>
                    <a:pt x="205" y="787"/>
                  </a:lnTo>
                  <a:lnTo>
                    <a:pt x="211" y="790"/>
                  </a:lnTo>
                  <a:lnTo>
                    <a:pt x="223" y="797"/>
                  </a:lnTo>
                  <a:lnTo>
                    <a:pt x="226" y="798"/>
                  </a:lnTo>
                  <a:lnTo>
                    <a:pt x="230" y="799"/>
                  </a:lnTo>
                  <a:lnTo>
                    <a:pt x="237" y="799"/>
                  </a:lnTo>
                  <a:lnTo>
                    <a:pt x="244" y="798"/>
                  </a:lnTo>
                  <a:lnTo>
                    <a:pt x="252" y="799"/>
                  </a:lnTo>
                  <a:lnTo>
                    <a:pt x="249" y="803"/>
                  </a:lnTo>
                  <a:lnTo>
                    <a:pt x="247" y="805"/>
                  </a:lnTo>
                  <a:lnTo>
                    <a:pt x="243" y="806"/>
                  </a:lnTo>
                  <a:lnTo>
                    <a:pt x="239" y="808"/>
                  </a:lnTo>
                  <a:lnTo>
                    <a:pt x="230" y="809"/>
                  </a:lnTo>
                  <a:lnTo>
                    <a:pt x="226" y="810"/>
                  </a:lnTo>
                  <a:lnTo>
                    <a:pt x="224" y="812"/>
                  </a:lnTo>
                  <a:lnTo>
                    <a:pt x="223" y="815"/>
                  </a:lnTo>
                  <a:lnTo>
                    <a:pt x="224" y="816"/>
                  </a:lnTo>
                  <a:lnTo>
                    <a:pt x="232" y="819"/>
                  </a:lnTo>
                  <a:lnTo>
                    <a:pt x="238" y="822"/>
                  </a:lnTo>
                  <a:lnTo>
                    <a:pt x="240" y="824"/>
                  </a:lnTo>
                  <a:lnTo>
                    <a:pt x="242" y="827"/>
                  </a:lnTo>
                  <a:lnTo>
                    <a:pt x="242" y="830"/>
                  </a:lnTo>
                  <a:lnTo>
                    <a:pt x="240" y="836"/>
                  </a:lnTo>
                  <a:lnTo>
                    <a:pt x="242" y="837"/>
                  </a:lnTo>
                  <a:lnTo>
                    <a:pt x="243" y="840"/>
                  </a:lnTo>
                  <a:lnTo>
                    <a:pt x="245" y="841"/>
                  </a:lnTo>
                  <a:lnTo>
                    <a:pt x="248" y="841"/>
                  </a:lnTo>
                  <a:lnTo>
                    <a:pt x="257" y="834"/>
                  </a:lnTo>
                  <a:lnTo>
                    <a:pt x="266" y="828"/>
                  </a:lnTo>
                  <a:lnTo>
                    <a:pt x="270" y="825"/>
                  </a:lnTo>
                  <a:lnTo>
                    <a:pt x="275" y="823"/>
                  </a:lnTo>
                  <a:lnTo>
                    <a:pt x="280" y="822"/>
                  </a:lnTo>
                  <a:lnTo>
                    <a:pt x="286" y="822"/>
                  </a:lnTo>
                  <a:lnTo>
                    <a:pt x="289" y="822"/>
                  </a:lnTo>
                  <a:lnTo>
                    <a:pt x="290" y="818"/>
                  </a:lnTo>
                  <a:lnTo>
                    <a:pt x="290" y="816"/>
                  </a:lnTo>
                  <a:lnTo>
                    <a:pt x="289" y="812"/>
                  </a:lnTo>
                  <a:lnTo>
                    <a:pt x="286" y="811"/>
                  </a:lnTo>
                  <a:lnTo>
                    <a:pt x="284" y="810"/>
                  </a:lnTo>
                  <a:lnTo>
                    <a:pt x="277" y="809"/>
                  </a:lnTo>
                  <a:lnTo>
                    <a:pt x="275" y="809"/>
                  </a:lnTo>
                  <a:lnTo>
                    <a:pt x="273" y="808"/>
                  </a:lnTo>
                  <a:lnTo>
                    <a:pt x="272" y="805"/>
                  </a:lnTo>
                  <a:lnTo>
                    <a:pt x="272" y="802"/>
                  </a:lnTo>
                  <a:lnTo>
                    <a:pt x="271" y="804"/>
                  </a:lnTo>
                  <a:lnTo>
                    <a:pt x="272" y="808"/>
                  </a:lnTo>
                  <a:lnTo>
                    <a:pt x="273" y="810"/>
                  </a:lnTo>
                  <a:lnTo>
                    <a:pt x="272" y="812"/>
                  </a:lnTo>
                  <a:lnTo>
                    <a:pt x="270" y="815"/>
                  </a:lnTo>
                  <a:lnTo>
                    <a:pt x="267" y="816"/>
                  </a:lnTo>
                  <a:lnTo>
                    <a:pt x="265" y="815"/>
                  </a:lnTo>
                  <a:lnTo>
                    <a:pt x="262" y="814"/>
                  </a:lnTo>
                  <a:lnTo>
                    <a:pt x="258" y="809"/>
                  </a:lnTo>
                  <a:lnTo>
                    <a:pt x="257" y="803"/>
                  </a:lnTo>
                  <a:lnTo>
                    <a:pt x="257" y="798"/>
                  </a:lnTo>
                  <a:lnTo>
                    <a:pt x="259" y="793"/>
                  </a:lnTo>
                  <a:lnTo>
                    <a:pt x="261" y="792"/>
                  </a:lnTo>
                  <a:lnTo>
                    <a:pt x="263" y="792"/>
                  </a:lnTo>
                  <a:lnTo>
                    <a:pt x="268" y="791"/>
                  </a:lnTo>
                  <a:lnTo>
                    <a:pt x="271" y="790"/>
                  </a:lnTo>
                  <a:lnTo>
                    <a:pt x="271" y="787"/>
                  </a:lnTo>
                  <a:lnTo>
                    <a:pt x="271" y="786"/>
                  </a:lnTo>
                  <a:lnTo>
                    <a:pt x="273" y="784"/>
                  </a:lnTo>
                  <a:lnTo>
                    <a:pt x="275" y="784"/>
                  </a:lnTo>
                  <a:lnTo>
                    <a:pt x="278" y="784"/>
                  </a:lnTo>
                  <a:lnTo>
                    <a:pt x="282" y="784"/>
                  </a:lnTo>
                  <a:lnTo>
                    <a:pt x="285" y="785"/>
                  </a:lnTo>
                  <a:lnTo>
                    <a:pt x="289" y="785"/>
                  </a:lnTo>
                  <a:lnTo>
                    <a:pt x="291" y="783"/>
                  </a:lnTo>
                  <a:lnTo>
                    <a:pt x="295" y="782"/>
                  </a:lnTo>
                  <a:lnTo>
                    <a:pt x="305" y="779"/>
                  </a:lnTo>
                  <a:lnTo>
                    <a:pt x="314" y="777"/>
                  </a:lnTo>
                  <a:lnTo>
                    <a:pt x="333" y="770"/>
                  </a:lnTo>
                  <a:lnTo>
                    <a:pt x="339" y="768"/>
                  </a:lnTo>
                  <a:lnTo>
                    <a:pt x="336" y="774"/>
                  </a:lnTo>
                  <a:lnTo>
                    <a:pt x="332" y="779"/>
                  </a:lnTo>
                  <a:lnTo>
                    <a:pt x="327" y="782"/>
                  </a:lnTo>
                  <a:lnTo>
                    <a:pt x="320" y="783"/>
                  </a:lnTo>
                  <a:lnTo>
                    <a:pt x="320" y="786"/>
                  </a:lnTo>
                  <a:lnTo>
                    <a:pt x="320" y="790"/>
                  </a:lnTo>
                  <a:lnTo>
                    <a:pt x="322" y="791"/>
                  </a:lnTo>
                  <a:lnTo>
                    <a:pt x="324" y="793"/>
                  </a:lnTo>
                  <a:lnTo>
                    <a:pt x="325" y="796"/>
                  </a:lnTo>
                  <a:lnTo>
                    <a:pt x="324" y="797"/>
                  </a:lnTo>
                  <a:lnTo>
                    <a:pt x="323" y="798"/>
                  </a:lnTo>
                  <a:lnTo>
                    <a:pt x="320" y="799"/>
                  </a:lnTo>
                  <a:lnTo>
                    <a:pt x="318" y="800"/>
                  </a:lnTo>
                  <a:lnTo>
                    <a:pt x="315" y="806"/>
                  </a:lnTo>
                  <a:lnTo>
                    <a:pt x="313" y="811"/>
                  </a:lnTo>
                  <a:lnTo>
                    <a:pt x="312" y="812"/>
                  </a:lnTo>
                  <a:lnTo>
                    <a:pt x="312" y="815"/>
                  </a:lnTo>
                  <a:lnTo>
                    <a:pt x="312" y="817"/>
                  </a:lnTo>
                  <a:lnTo>
                    <a:pt x="309" y="817"/>
                  </a:lnTo>
                  <a:lnTo>
                    <a:pt x="306" y="817"/>
                  </a:lnTo>
                  <a:lnTo>
                    <a:pt x="305" y="816"/>
                  </a:lnTo>
                  <a:lnTo>
                    <a:pt x="304" y="815"/>
                  </a:lnTo>
                  <a:lnTo>
                    <a:pt x="303" y="816"/>
                  </a:lnTo>
                  <a:lnTo>
                    <a:pt x="301" y="818"/>
                  </a:lnTo>
                  <a:lnTo>
                    <a:pt x="301" y="822"/>
                  </a:lnTo>
                  <a:lnTo>
                    <a:pt x="301" y="824"/>
                  </a:lnTo>
                  <a:lnTo>
                    <a:pt x="305" y="825"/>
                  </a:lnTo>
                  <a:lnTo>
                    <a:pt x="308" y="827"/>
                  </a:lnTo>
                  <a:lnTo>
                    <a:pt x="312" y="828"/>
                  </a:lnTo>
                  <a:lnTo>
                    <a:pt x="317" y="833"/>
                  </a:lnTo>
                  <a:lnTo>
                    <a:pt x="322" y="836"/>
                  </a:lnTo>
                  <a:lnTo>
                    <a:pt x="328" y="840"/>
                  </a:lnTo>
                  <a:lnTo>
                    <a:pt x="332" y="841"/>
                  </a:lnTo>
                  <a:lnTo>
                    <a:pt x="336" y="841"/>
                  </a:lnTo>
                  <a:lnTo>
                    <a:pt x="341" y="844"/>
                  </a:lnTo>
                  <a:lnTo>
                    <a:pt x="345" y="848"/>
                  </a:lnTo>
                  <a:lnTo>
                    <a:pt x="348" y="853"/>
                  </a:lnTo>
                  <a:lnTo>
                    <a:pt x="352" y="856"/>
                  </a:lnTo>
                  <a:lnTo>
                    <a:pt x="360" y="860"/>
                  </a:lnTo>
                  <a:lnTo>
                    <a:pt x="365" y="863"/>
                  </a:lnTo>
                  <a:lnTo>
                    <a:pt x="375" y="872"/>
                  </a:lnTo>
                  <a:lnTo>
                    <a:pt x="384" y="881"/>
                  </a:lnTo>
                  <a:lnTo>
                    <a:pt x="386" y="886"/>
                  </a:lnTo>
                  <a:lnTo>
                    <a:pt x="388" y="891"/>
                  </a:lnTo>
                  <a:lnTo>
                    <a:pt x="385" y="895"/>
                  </a:lnTo>
                  <a:lnTo>
                    <a:pt x="383" y="899"/>
                  </a:lnTo>
                  <a:lnTo>
                    <a:pt x="393" y="899"/>
                  </a:lnTo>
                  <a:lnTo>
                    <a:pt x="404" y="899"/>
                  </a:lnTo>
                  <a:lnTo>
                    <a:pt x="408" y="901"/>
                  </a:lnTo>
                  <a:lnTo>
                    <a:pt x="413" y="902"/>
                  </a:lnTo>
                  <a:lnTo>
                    <a:pt x="416" y="906"/>
                  </a:lnTo>
                  <a:lnTo>
                    <a:pt x="418" y="911"/>
                  </a:lnTo>
                  <a:lnTo>
                    <a:pt x="425" y="926"/>
                  </a:lnTo>
                  <a:lnTo>
                    <a:pt x="428" y="932"/>
                  </a:lnTo>
                  <a:lnTo>
                    <a:pt x="432" y="939"/>
                  </a:lnTo>
                  <a:lnTo>
                    <a:pt x="432" y="942"/>
                  </a:lnTo>
                  <a:lnTo>
                    <a:pt x="431" y="945"/>
                  </a:lnTo>
                  <a:lnTo>
                    <a:pt x="435" y="945"/>
                  </a:lnTo>
                  <a:lnTo>
                    <a:pt x="437" y="948"/>
                  </a:lnTo>
                  <a:lnTo>
                    <a:pt x="441" y="953"/>
                  </a:lnTo>
                  <a:lnTo>
                    <a:pt x="446" y="958"/>
                  </a:lnTo>
                  <a:lnTo>
                    <a:pt x="450" y="961"/>
                  </a:lnTo>
                  <a:lnTo>
                    <a:pt x="452" y="962"/>
                  </a:lnTo>
                  <a:lnTo>
                    <a:pt x="456" y="962"/>
                  </a:lnTo>
                  <a:lnTo>
                    <a:pt x="460" y="962"/>
                  </a:lnTo>
                  <a:lnTo>
                    <a:pt x="466" y="959"/>
                  </a:lnTo>
                  <a:lnTo>
                    <a:pt x="472" y="956"/>
                  </a:lnTo>
                  <a:lnTo>
                    <a:pt x="478" y="952"/>
                  </a:lnTo>
                  <a:lnTo>
                    <a:pt x="484" y="949"/>
                  </a:lnTo>
                  <a:lnTo>
                    <a:pt x="485" y="949"/>
                  </a:lnTo>
                  <a:lnTo>
                    <a:pt x="487" y="949"/>
                  </a:lnTo>
                  <a:lnTo>
                    <a:pt x="489" y="952"/>
                  </a:lnTo>
                  <a:lnTo>
                    <a:pt x="491" y="956"/>
                  </a:lnTo>
                  <a:lnTo>
                    <a:pt x="489" y="958"/>
                  </a:lnTo>
                  <a:lnTo>
                    <a:pt x="489" y="963"/>
                  </a:lnTo>
                  <a:lnTo>
                    <a:pt x="491" y="968"/>
                  </a:lnTo>
                  <a:lnTo>
                    <a:pt x="492" y="970"/>
                  </a:lnTo>
                  <a:lnTo>
                    <a:pt x="494" y="974"/>
                  </a:lnTo>
                  <a:lnTo>
                    <a:pt x="497" y="975"/>
                  </a:lnTo>
                  <a:lnTo>
                    <a:pt x="501" y="977"/>
                  </a:lnTo>
                  <a:lnTo>
                    <a:pt x="508" y="978"/>
                  </a:lnTo>
                  <a:lnTo>
                    <a:pt x="508" y="969"/>
                  </a:lnTo>
                  <a:lnTo>
                    <a:pt x="507" y="965"/>
                  </a:lnTo>
                  <a:lnTo>
                    <a:pt x="506" y="961"/>
                  </a:lnTo>
                  <a:lnTo>
                    <a:pt x="503" y="957"/>
                  </a:lnTo>
                  <a:lnTo>
                    <a:pt x="503" y="955"/>
                  </a:lnTo>
                  <a:lnTo>
                    <a:pt x="505" y="948"/>
                  </a:lnTo>
                  <a:lnTo>
                    <a:pt x="507" y="949"/>
                  </a:lnTo>
                  <a:lnTo>
                    <a:pt x="508" y="950"/>
                  </a:lnTo>
                  <a:lnTo>
                    <a:pt x="510" y="952"/>
                  </a:lnTo>
                  <a:lnTo>
                    <a:pt x="511" y="953"/>
                  </a:lnTo>
                  <a:lnTo>
                    <a:pt x="513" y="953"/>
                  </a:lnTo>
                  <a:lnTo>
                    <a:pt x="516" y="952"/>
                  </a:lnTo>
                  <a:lnTo>
                    <a:pt x="517" y="951"/>
                  </a:lnTo>
                  <a:lnTo>
                    <a:pt x="517" y="949"/>
                  </a:lnTo>
                  <a:lnTo>
                    <a:pt x="517" y="944"/>
                  </a:lnTo>
                  <a:lnTo>
                    <a:pt x="518" y="940"/>
                  </a:lnTo>
                  <a:lnTo>
                    <a:pt x="524" y="933"/>
                  </a:lnTo>
                  <a:lnTo>
                    <a:pt x="529" y="932"/>
                  </a:lnTo>
                  <a:lnTo>
                    <a:pt x="531" y="931"/>
                  </a:lnTo>
                  <a:lnTo>
                    <a:pt x="531" y="930"/>
                  </a:lnTo>
                  <a:lnTo>
                    <a:pt x="526" y="926"/>
                  </a:lnTo>
                  <a:lnTo>
                    <a:pt x="521" y="923"/>
                  </a:lnTo>
                  <a:lnTo>
                    <a:pt x="513" y="915"/>
                  </a:lnTo>
                  <a:lnTo>
                    <a:pt x="510" y="912"/>
                  </a:lnTo>
                  <a:lnTo>
                    <a:pt x="508" y="911"/>
                  </a:lnTo>
                  <a:lnTo>
                    <a:pt x="507" y="910"/>
                  </a:lnTo>
                  <a:lnTo>
                    <a:pt x="505" y="901"/>
                  </a:lnTo>
                  <a:lnTo>
                    <a:pt x="503" y="899"/>
                  </a:lnTo>
                  <a:lnTo>
                    <a:pt x="499" y="895"/>
                  </a:lnTo>
                  <a:lnTo>
                    <a:pt x="491" y="885"/>
                  </a:lnTo>
                  <a:lnTo>
                    <a:pt x="485" y="876"/>
                  </a:lnTo>
                  <a:lnTo>
                    <a:pt x="484" y="868"/>
                  </a:lnTo>
                  <a:lnTo>
                    <a:pt x="483" y="860"/>
                  </a:lnTo>
                  <a:lnTo>
                    <a:pt x="484" y="850"/>
                  </a:lnTo>
                  <a:lnTo>
                    <a:pt x="479" y="843"/>
                  </a:lnTo>
                  <a:lnTo>
                    <a:pt x="477" y="835"/>
                  </a:lnTo>
                  <a:lnTo>
                    <a:pt x="475" y="833"/>
                  </a:lnTo>
                  <a:lnTo>
                    <a:pt x="475" y="828"/>
                  </a:lnTo>
                  <a:lnTo>
                    <a:pt x="477" y="819"/>
                  </a:lnTo>
                  <a:lnTo>
                    <a:pt x="479" y="811"/>
                  </a:lnTo>
                  <a:lnTo>
                    <a:pt x="480" y="809"/>
                  </a:lnTo>
                  <a:lnTo>
                    <a:pt x="483" y="808"/>
                  </a:lnTo>
                  <a:lnTo>
                    <a:pt x="489" y="804"/>
                  </a:lnTo>
                  <a:lnTo>
                    <a:pt x="493" y="800"/>
                  </a:lnTo>
                  <a:lnTo>
                    <a:pt x="503" y="791"/>
                  </a:lnTo>
                  <a:lnTo>
                    <a:pt x="506" y="789"/>
                  </a:lnTo>
                  <a:lnTo>
                    <a:pt x="511" y="787"/>
                  </a:lnTo>
                  <a:lnTo>
                    <a:pt x="515" y="786"/>
                  </a:lnTo>
                  <a:lnTo>
                    <a:pt x="517" y="784"/>
                  </a:lnTo>
                  <a:lnTo>
                    <a:pt x="526" y="780"/>
                  </a:lnTo>
                  <a:lnTo>
                    <a:pt x="531" y="778"/>
                  </a:lnTo>
                  <a:lnTo>
                    <a:pt x="534" y="776"/>
                  </a:lnTo>
                  <a:lnTo>
                    <a:pt x="543" y="770"/>
                  </a:lnTo>
                  <a:lnTo>
                    <a:pt x="548" y="767"/>
                  </a:lnTo>
                  <a:lnTo>
                    <a:pt x="554" y="767"/>
                  </a:lnTo>
                  <a:lnTo>
                    <a:pt x="557" y="765"/>
                  </a:lnTo>
                  <a:lnTo>
                    <a:pt x="558" y="764"/>
                  </a:lnTo>
                  <a:lnTo>
                    <a:pt x="571" y="765"/>
                  </a:lnTo>
                  <a:lnTo>
                    <a:pt x="578" y="766"/>
                  </a:lnTo>
                  <a:lnTo>
                    <a:pt x="583" y="768"/>
                  </a:lnTo>
                  <a:lnTo>
                    <a:pt x="586" y="771"/>
                  </a:lnTo>
                  <a:lnTo>
                    <a:pt x="587" y="773"/>
                  </a:lnTo>
                  <a:lnTo>
                    <a:pt x="587" y="776"/>
                  </a:lnTo>
                  <a:lnTo>
                    <a:pt x="590" y="778"/>
                  </a:lnTo>
                  <a:lnTo>
                    <a:pt x="592" y="782"/>
                  </a:lnTo>
                  <a:lnTo>
                    <a:pt x="593" y="784"/>
                  </a:lnTo>
                  <a:lnTo>
                    <a:pt x="593" y="786"/>
                  </a:lnTo>
                  <a:lnTo>
                    <a:pt x="595" y="791"/>
                  </a:lnTo>
                  <a:lnTo>
                    <a:pt x="596" y="792"/>
                  </a:lnTo>
                  <a:lnTo>
                    <a:pt x="598" y="793"/>
                  </a:lnTo>
                  <a:lnTo>
                    <a:pt x="600" y="795"/>
                  </a:lnTo>
                  <a:lnTo>
                    <a:pt x="598" y="795"/>
                  </a:lnTo>
                  <a:lnTo>
                    <a:pt x="597" y="796"/>
                  </a:lnTo>
                  <a:lnTo>
                    <a:pt x="597" y="797"/>
                  </a:lnTo>
                  <a:lnTo>
                    <a:pt x="595" y="798"/>
                  </a:lnTo>
                  <a:lnTo>
                    <a:pt x="595" y="799"/>
                  </a:lnTo>
                  <a:lnTo>
                    <a:pt x="597" y="804"/>
                  </a:lnTo>
                  <a:lnTo>
                    <a:pt x="597" y="806"/>
                  </a:lnTo>
                  <a:lnTo>
                    <a:pt x="597" y="808"/>
                  </a:lnTo>
                  <a:lnTo>
                    <a:pt x="598" y="809"/>
                  </a:lnTo>
                  <a:lnTo>
                    <a:pt x="596" y="811"/>
                  </a:lnTo>
                  <a:lnTo>
                    <a:pt x="592" y="814"/>
                  </a:lnTo>
                  <a:lnTo>
                    <a:pt x="588" y="816"/>
                  </a:lnTo>
                  <a:lnTo>
                    <a:pt x="585" y="816"/>
                  </a:lnTo>
                  <a:lnTo>
                    <a:pt x="578" y="814"/>
                  </a:lnTo>
                  <a:lnTo>
                    <a:pt x="572" y="812"/>
                  </a:lnTo>
                  <a:lnTo>
                    <a:pt x="569" y="811"/>
                  </a:lnTo>
                  <a:lnTo>
                    <a:pt x="565" y="810"/>
                  </a:lnTo>
                  <a:lnTo>
                    <a:pt x="562" y="810"/>
                  </a:lnTo>
                  <a:lnTo>
                    <a:pt x="558" y="811"/>
                  </a:lnTo>
                  <a:lnTo>
                    <a:pt x="554" y="814"/>
                  </a:lnTo>
                  <a:lnTo>
                    <a:pt x="553" y="815"/>
                  </a:lnTo>
                  <a:lnTo>
                    <a:pt x="553" y="817"/>
                  </a:lnTo>
                  <a:lnTo>
                    <a:pt x="554" y="824"/>
                  </a:lnTo>
                  <a:lnTo>
                    <a:pt x="555" y="831"/>
                  </a:lnTo>
                  <a:lnTo>
                    <a:pt x="557" y="835"/>
                  </a:lnTo>
                  <a:lnTo>
                    <a:pt x="557" y="837"/>
                  </a:lnTo>
                  <a:lnTo>
                    <a:pt x="555" y="838"/>
                  </a:lnTo>
                  <a:lnTo>
                    <a:pt x="553" y="838"/>
                  </a:lnTo>
                  <a:lnTo>
                    <a:pt x="548" y="838"/>
                  </a:lnTo>
                  <a:lnTo>
                    <a:pt x="543" y="836"/>
                  </a:lnTo>
                  <a:lnTo>
                    <a:pt x="538" y="835"/>
                  </a:lnTo>
                  <a:lnTo>
                    <a:pt x="536" y="836"/>
                  </a:lnTo>
                  <a:lnTo>
                    <a:pt x="536" y="837"/>
                  </a:lnTo>
                  <a:lnTo>
                    <a:pt x="538" y="841"/>
                  </a:lnTo>
                  <a:lnTo>
                    <a:pt x="541" y="843"/>
                  </a:lnTo>
                  <a:lnTo>
                    <a:pt x="544" y="844"/>
                  </a:lnTo>
                  <a:lnTo>
                    <a:pt x="545" y="846"/>
                  </a:lnTo>
                  <a:lnTo>
                    <a:pt x="548" y="849"/>
                  </a:lnTo>
                  <a:lnTo>
                    <a:pt x="548" y="851"/>
                  </a:lnTo>
                  <a:lnTo>
                    <a:pt x="549" y="854"/>
                  </a:lnTo>
                  <a:lnTo>
                    <a:pt x="550" y="856"/>
                  </a:lnTo>
                  <a:lnTo>
                    <a:pt x="552" y="859"/>
                  </a:lnTo>
                  <a:lnTo>
                    <a:pt x="552" y="861"/>
                  </a:lnTo>
                  <a:lnTo>
                    <a:pt x="549" y="866"/>
                  </a:lnTo>
                  <a:lnTo>
                    <a:pt x="549" y="868"/>
                  </a:lnTo>
                  <a:lnTo>
                    <a:pt x="550" y="868"/>
                  </a:lnTo>
                  <a:lnTo>
                    <a:pt x="559" y="863"/>
                  </a:lnTo>
                  <a:lnTo>
                    <a:pt x="559" y="865"/>
                  </a:lnTo>
                  <a:lnTo>
                    <a:pt x="560" y="866"/>
                  </a:lnTo>
                  <a:lnTo>
                    <a:pt x="559" y="867"/>
                  </a:lnTo>
                  <a:lnTo>
                    <a:pt x="560" y="868"/>
                  </a:lnTo>
                  <a:lnTo>
                    <a:pt x="563" y="869"/>
                  </a:lnTo>
                  <a:lnTo>
                    <a:pt x="565" y="868"/>
                  </a:lnTo>
                  <a:lnTo>
                    <a:pt x="568" y="867"/>
                  </a:lnTo>
                  <a:lnTo>
                    <a:pt x="571" y="867"/>
                  </a:lnTo>
                  <a:lnTo>
                    <a:pt x="574" y="869"/>
                  </a:lnTo>
                  <a:lnTo>
                    <a:pt x="578" y="870"/>
                  </a:lnTo>
                  <a:lnTo>
                    <a:pt x="579" y="873"/>
                  </a:lnTo>
                  <a:lnTo>
                    <a:pt x="578" y="876"/>
                  </a:lnTo>
                  <a:lnTo>
                    <a:pt x="576" y="883"/>
                  </a:lnTo>
                  <a:lnTo>
                    <a:pt x="576" y="888"/>
                  </a:lnTo>
                  <a:lnTo>
                    <a:pt x="576" y="894"/>
                  </a:lnTo>
                  <a:lnTo>
                    <a:pt x="576" y="899"/>
                  </a:lnTo>
                  <a:lnTo>
                    <a:pt x="577" y="902"/>
                  </a:lnTo>
                  <a:lnTo>
                    <a:pt x="578" y="905"/>
                  </a:lnTo>
                  <a:lnTo>
                    <a:pt x="579" y="902"/>
                  </a:lnTo>
                  <a:lnTo>
                    <a:pt x="581" y="900"/>
                  </a:lnTo>
                  <a:lnTo>
                    <a:pt x="581" y="897"/>
                  </a:lnTo>
                  <a:lnTo>
                    <a:pt x="579" y="893"/>
                  </a:lnTo>
                  <a:lnTo>
                    <a:pt x="581" y="891"/>
                  </a:lnTo>
                  <a:lnTo>
                    <a:pt x="582" y="888"/>
                  </a:lnTo>
                  <a:lnTo>
                    <a:pt x="583" y="887"/>
                  </a:lnTo>
                  <a:lnTo>
                    <a:pt x="585" y="888"/>
                  </a:lnTo>
                  <a:lnTo>
                    <a:pt x="587" y="891"/>
                  </a:lnTo>
                  <a:lnTo>
                    <a:pt x="588" y="891"/>
                  </a:lnTo>
                  <a:lnTo>
                    <a:pt x="590" y="889"/>
                  </a:lnTo>
                  <a:lnTo>
                    <a:pt x="593" y="885"/>
                  </a:lnTo>
                  <a:lnTo>
                    <a:pt x="596" y="883"/>
                  </a:lnTo>
                  <a:lnTo>
                    <a:pt x="597" y="882"/>
                  </a:lnTo>
                  <a:lnTo>
                    <a:pt x="600" y="883"/>
                  </a:lnTo>
                  <a:lnTo>
                    <a:pt x="601" y="886"/>
                  </a:lnTo>
                  <a:lnTo>
                    <a:pt x="604" y="899"/>
                  </a:lnTo>
                  <a:lnTo>
                    <a:pt x="605" y="907"/>
                  </a:lnTo>
                  <a:lnTo>
                    <a:pt x="605" y="911"/>
                  </a:lnTo>
                  <a:lnTo>
                    <a:pt x="605" y="912"/>
                  </a:lnTo>
                  <a:lnTo>
                    <a:pt x="605" y="913"/>
                  </a:lnTo>
                  <a:lnTo>
                    <a:pt x="601" y="918"/>
                  </a:lnTo>
                  <a:lnTo>
                    <a:pt x="600" y="920"/>
                  </a:lnTo>
                  <a:lnTo>
                    <a:pt x="597" y="921"/>
                  </a:lnTo>
                  <a:lnTo>
                    <a:pt x="593" y="921"/>
                  </a:lnTo>
                  <a:lnTo>
                    <a:pt x="591" y="921"/>
                  </a:lnTo>
                  <a:lnTo>
                    <a:pt x="585" y="917"/>
                  </a:lnTo>
                  <a:lnTo>
                    <a:pt x="583" y="917"/>
                  </a:lnTo>
                  <a:lnTo>
                    <a:pt x="582" y="918"/>
                  </a:lnTo>
                  <a:lnTo>
                    <a:pt x="581" y="920"/>
                  </a:lnTo>
                  <a:lnTo>
                    <a:pt x="581" y="926"/>
                  </a:lnTo>
                  <a:lnTo>
                    <a:pt x="582" y="930"/>
                  </a:lnTo>
                  <a:lnTo>
                    <a:pt x="586" y="931"/>
                  </a:lnTo>
                  <a:lnTo>
                    <a:pt x="588" y="931"/>
                  </a:lnTo>
                  <a:lnTo>
                    <a:pt x="592" y="932"/>
                  </a:lnTo>
                  <a:lnTo>
                    <a:pt x="596" y="933"/>
                  </a:lnTo>
                  <a:lnTo>
                    <a:pt x="598" y="936"/>
                  </a:lnTo>
                  <a:lnTo>
                    <a:pt x="598" y="938"/>
                  </a:lnTo>
                  <a:lnTo>
                    <a:pt x="598" y="939"/>
                  </a:lnTo>
                  <a:lnTo>
                    <a:pt x="595" y="940"/>
                  </a:lnTo>
                  <a:lnTo>
                    <a:pt x="592" y="940"/>
                  </a:lnTo>
                  <a:lnTo>
                    <a:pt x="591" y="942"/>
                  </a:lnTo>
                  <a:lnTo>
                    <a:pt x="590" y="943"/>
                  </a:lnTo>
                  <a:lnTo>
                    <a:pt x="591" y="944"/>
                  </a:lnTo>
                  <a:lnTo>
                    <a:pt x="592" y="945"/>
                  </a:lnTo>
                  <a:lnTo>
                    <a:pt x="592" y="946"/>
                  </a:lnTo>
                  <a:lnTo>
                    <a:pt x="592" y="949"/>
                  </a:lnTo>
                  <a:lnTo>
                    <a:pt x="592" y="950"/>
                  </a:lnTo>
                  <a:lnTo>
                    <a:pt x="593" y="951"/>
                  </a:lnTo>
                  <a:lnTo>
                    <a:pt x="597" y="955"/>
                  </a:lnTo>
                  <a:lnTo>
                    <a:pt x="597" y="957"/>
                  </a:lnTo>
                  <a:lnTo>
                    <a:pt x="597" y="959"/>
                  </a:lnTo>
                  <a:lnTo>
                    <a:pt x="596" y="964"/>
                  </a:lnTo>
                  <a:lnTo>
                    <a:pt x="595" y="969"/>
                  </a:lnTo>
                  <a:lnTo>
                    <a:pt x="595" y="975"/>
                  </a:lnTo>
                  <a:lnTo>
                    <a:pt x="596" y="980"/>
                  </a:lnTo>
                  <a:lnTo>
                    <a:pt x="597" y="983"/>
                  </a:lnTo>
                  <a:lnTo>
                    <a:pt x="597" y="988"/>
                  </a:lnTo>
                  <a:lnTo>
                    <a:pt x="606" y="987"/>
                  </a:lnTo>
                  <a:lnTo>
                    <a:pt x="614" y="983"/>
                  </a:lnTo>
                  <a:lnTo>
                    <a:pt x="628" y="975"/>
                  </a:lnTo>
                  <a:lnTo>
                    <a:pt x="633" y="972"/>
                  </a:lnTo>
                  <a:lnTo>
                    <a:pt x="638" y="971"/>
                  </a:lnTo>
                  <a:lnTo>
                    <a:pt x="644" y="966"/>
                  </a:lnTo>
                  <a:lnTo>
                    <a:pt x="647" y="971"/>
                  </a:lnTo>
                  <a:lnTo>
                    <a:pt x="651" y="974"/>
                  </a:lnTo>
                  <a:lnTo>
                    <a:pt x="654" y="974"/>
                  </a:lnTo>
                  <a:lnTo>
                    <a:pt x="657" y="975"/>
                  </a:lnTo>
                  <a:lnTo>
                    <a:pt x="662" y="977"/>
                  </a:lnTo>
                  <a:lnTo>
                    <a:pt x="668" y="980"/>
                  </a:lnTo>
                  <a:lnTo>
                    <a:pt x="680" y="981"/>
                  </a:lnTo>
                  <a:lnTo>
                    <a:pt x="686" y="983"/>
                  </a:lnTo>
                  <a:lnTo>
                    <a:pt x="689" y="985"/>
                  </a:lnTo>
                  <a:lnTo>
                    <a:pt x="691" y="988"/>
                  </a:lnTo>
                  <a:lnTo>
                    <a:pt x="696" y="993"/>
                  </a:lnTo>
                  <a:lnTo>
                    <a:pt x="703" y="996"/>
                  </a:lnTo>
                  <a:lnTo>
                    <a:pt x="715" y="1000"/>
                  </a:lnTo>
                  <a:lnTo>
                    <a:pt x="719" y="1002"/>
                  </a:lnTo>
                  <a:lnTo>
                    <a:pt x="722" y="1006"/>
                  </a:lnTo>
                  <a:lnTo>
                    <a:pt x="723" y="1009"/>
                  </a:lnTo>
                  <a:lnTo>
                    <a:pt x="723" y="1014"/>
                  </a:lnTo>
                  <a:lnTo>
                    <a:pt x="723" y="1022"/>
                  </a:lnTo>
                  <a:lnTo>
                    <a:pt x="736" y="1025"/>
                  </a:lnTo>
                  <a:lnTo>
                    <a:pt x="742" y="1026"/>
                  </a:lnTo>
                  <a:lnTo>
                    <a:pt x="750" y="1026"/>
                  </a:lnTo>
                  <a:lnTo>
                    <a:pt x="751" y="1026"/>
                  </a:lnTo>
                  <a:lnTo>
                    <a:pt x="752" y="1025"/>
                  </a:lnTo>
                  <a:lnTo>
                    <a:pt x="755" y="1021"/>
                  </a:lnTo>
                  <a:lnTo>
                    <a:pt x="756" y="1017"/>
                  </a:lnTo>
                  <a:lnTo>
                    <a:pt x="758" y="1014"/>
                  </a:lnTo>
                  <a:lnTo>
                    <a:pt x="761" y="1013"/>
                  </a:lnTo>
                  <a:lnTo>
                    <a:pt x="762" y="1013"/>
                  </a:lnTo>
                  <a:lnTo>
                    <a:pt x="765" y="1013"/>
                  </a:lnTo>
                  <a:lnTo>
                    <a:pt x="767" y="1013"/>
                  </a:lnTo>
                  <a:lnTo>
                    <a:pt x="770" y="1008"/>
                  </a:lnTo>
                  <a:lnTo>
                    <a:pt x="772" y="1004"/>
                  </a:lnTo>
                  <a:lnTo>
                    <a:pt x="776" y="995"/>
                  </a:lnTo>
                  <a:lnTo>
                    <a:pt x="778" y="993"/>
                  </a:lnTo>
                  <a:lnTo>
                    <a:pt x="781" y="991"/>
                  </a:lnTo>
                  <a:lnTo>
                    <a:pt x="786" y="990"/>
                  </a:lnTo>
                  <a:lnTo>
                    <a:pt x="790" y="989"/>
                  </a:lnTo>
                  <a:lnTo>
                    <a:pt x="794" y="987"/>
                  </a:lnTo>
                  <a:lnTo>
                    <a:pt x="798" y="984"/>
                  </a:lnTo>
                  <a:lnTo>
                    <a:pt x="800" y="983"/>
                  </a:lnTo>
                  <a:lnTo>
                    <a:pt x="803" y="984"/>
                  </a:lnTo>
                  <a:lnTo>
                    <a:pt x="804" y="985"/>
                  </a:lnTo>
                  <a:lnTo>
                    <a:pt x="807" y="987"/>
                  </a:lnTo>
                  <a:lnTo>
                    <a:pt x="813" y="987"/>
                  </a:lnTo>
                  <a:lnTo>
                    <a:pt x="818" y="987"/>
                  </a:lnTo>
                  <a:lnTo>
                    <a:pt x="823" y="989"/>
                  </a:lnTo>
                  <a:lnTo>
                    <a:pt x="828" y="993"/>
                  </a:lnTo>
                  <a:lnTo>
                    <a:pt x="830" y="993"/>
                  </a:lnTo>
                  <a:lnTo>
                    <a:pt x="832" y="994"/>
                  </a:lnTo>
                  <a:lnTo>
                    <a:pt x="847" y="991"/>
                  </a:lnTo>
                  <a:lnTo>
                    <a:pt x="850" y="990"/>
                  </a:lnTo>
                  <a:lnTo>
                    <a:pt x="854" y="990"/>
                  </a:lnTo>
                  <a:lnTo>
                    <a:pt x="859" y="990"/>
                  </a:lnTo>
                  <a:lnTo>
                    <a:pt x="864" y="989"/>
                  </a:lnTo>
                  <a:lnTo>
                    <a:pt x="869" y="987"/>
                  </a:lnTo>
                  <a:lnTo>
                    <a:pt x="874" y="983"/>
                  </a:lnTo>
                  <a:lnTo>
                    <a:pt x="880" y="976"/>
                  </a:lnTo>
                  <a:lnTo>
                    <a:pt x="885" y="966"/>
                  </a:lnTo>
                  <a:lnTo>
                    <a:pt x="893" y="962"/>
                  </a:lnTo>
                  <a:lnTo>
                    <a:pt x="897" y="959"/>
                  </a:lnTo>
                  <a:lnTo>
                    <a:pt x="898" y="959"/>
                  </a:lnTo>
                  <a:lnTo>
                    <a:pt x="899" y="961"/>
                  </a:lnTo>
                  <a:lnTo>
                    <a:pt x="899" y="964"/>
                  </a:lnTo>
                  <a:lnTo>
                    <a:pt x="897" y="968"/>
                  </a:lnTo>
                  <a:lnTo>
                    <a:pt x="896" y="971"/>
                  </a:lnTo>
                  <a:lnTo>
                    <a:pt x="896" y="972"/>
                  </a:lnTo>
                  <a:lnTo>
                    <a:pt x="897" y="974"/>
                  </a:lnTo>
                  <a:lnTo>
                    <a:pt x="901" y="975"/>
                  </a:lnTo>
                  <a:lnTo>
                    <a:pt x="903" y="976"/>
                  </a:lnTo>
                  <a:lnTo>
                    <a:pt x="905" y="978"/>
                  </a:lnTo>
                  <a:lnTo>
                    <a:pt x="905" y="982"/>
                  </a:lnTo>
                  <a:lnTo>
                    <a:pt x="906" y="988"/>
                  </a:lnTo>
                  <a:lnTo>
                    <a:pt x="906" y="993"/>
                  </a:lnTo>
                  <a:lnTo>
                    <a:pt x="906" y="995"/>
                  </a:lnTo>
                  <a:lnTo>
                    <a:pt x="908" y="995"/>
                  </a:lnTo>
                  <a:lnTo>
                    <a:pt x="912" y="994"/>
                  </a:lnTo>
                  <a:lnTo>
                    <a:pt x="917" y="991"/>
                  </a:lnTo>
                  <a:lnTo>
                    <a:pt x="920" y="991"/>
                  </a:lnTo>
                  <a:lnTo>
                    <a:pt x="922" y="991"/>
                  </a:lnTo>
                  <a:lnTo>
                    <a:pt x="932" y="989"/>
                  </a:lnTo>
                  <a:lnTo>
                    <a:pt x="939" y="988"/>
                  </a:lnTo>
                  <a:lnTo>
                    <a:pt x="946" y="987"/>
                  </a:lnTo>
                  <a:lnTo>
                    <a:pt x="950" y="987"/>
                  </a:lnTo>
                  <a:lnTo>
                    <a:pt x="953" y="985"/>
                  </a:lnTo>
                  <a:lnTo>
                    <a:pt x="953" y="984"/>
                  </a:lnTo>
                  <a:lnTo>
                    <a:pt x="953" y="983"/>
                  </a:lnTo>
                  <a:lnTo>
                    <a:pt x="949" y="977"/>
                  </a:lnTo>
                  <a:lnTo>
                    <a:pt x="948" y="974"/>
                  </a:lnTo>
                  <a:lnTo>
                    <a:pt x="948" y="971"/>
                  </a:lnTo>
                  <a:lnTo>
                    <a:pt x="952" y="966"/>
                  </a:lnTo>
                  <a:lnTo>
                    <a:pt x="952" y="965"/>
                  </a:lnTo>
                  <a:lnTo>
                    <a:pt x="952" y="963"/>
                  </a:lnTo>
                  <a:lnTo>
                    <a:pt x="949" y="961"/>
                  </a:lnTo>
                  <a:lnTo>
                    <a:pt x="946" y="958"/>
                  </a:lnTo>
                  <a:lnTo>
                    <a:pt x="943" y="958"/>
                  </a:lnTo>
                  <a:lnTo>
                    <a:pt x="940" y="959"/>
                  </a:lnTo>
                  <a:lnTo>
                    <a:pt x="938" y="961"/>
                  </a:lnTo>
                  <a:lnTo>
                    <a:pt x="935" y="961"/>
                  </a:lnTo>
                  <a:lnTo>
                    <a:pt x="932" y="957"/>
                  </a:lnTo>
                  <a:lnTo>
                    <a:pt x="930" y="953"/>
                  </a:lnTo>
                  <a:lnTo>
                    <a:pt x="930" y="950"/>
                  </a:lnTo>
                  <a:lnTo>
                    <a:pt x="930" y="945"/>
                  </a:lnTo>
                  <a:lnTo>
                    <a:pt x="932" y="936"/>
                  </a:lnTo>
                  <a:lnTo>
                    <a:pt x="938" y="927"/>
                  </a:lnTo>
                  <a:lnTo>
                    <a:pt x="939" y="926"/>
                  </a:lnTo>
                  <a:lnTo>
                    <a:pt x="941" y="925"/>
                  </a:lnTo>
                  <a:lnTo>
                    <a:pt x="946" y="924"/>
                  </a:lnTo>
                  <a:lnTo>
                    <a:pt x="953" y="920"/>
                  </a:lnTo>
                  <a:lnTo>
                    <a:pt x="955" y="919"/>
                  </a:lnTo>
                  <a:lnTo>
                    <a:pt x="959" y="918"/>
                  </a:lnTo>
                  <a:lnTo>
                    <a:pt x="960" y="919"/>
                  </a:lnTo>
                  <a:lnTo>
                    <a:pt x="962" y="920"/>
                  </a:lnTo>
                  <a:lnTo>
                    <a:pt x="962" y="923"/>
                  </a:lnTo>
                  <a:lnTo>
                    <a:pt x="963" y="924"/>
                  </a:lnTo>
                  <a:lnTo>
                    <a:pt x="965" y="925"/>
                  </a:lnTo>
                  <a:lnTo>
                    <a:pt x="968" y="925"/>
                  </a:lnTo>
                  <a:lnTo>
                    <a:pt x="972" y="924"/>
                  </a:lnTo>
                  <a:lnTo>
                    <a:pt x="977" y="923"/>
                  </a:lnTo>
                  <a:lnTo>
                    <a:pt x="982" y="920"/>
                  </a:lnTo>
                  <a:lnTo>
                    <a:pt x="982" y="918"/>
                  </a:lnTo>
                  <a:lnTo>
                    <a:pt x="982" y="915"/>
                  </a:lnTo>
                  <a:lnTo>
                    <a:pt x="982" y="913"/>
                  </a:lnTo>
                  <a:lnTo>
                    <a:pt x="982" y="911"/>
                  </a:lnTo>
                  <a:lnTo>
                    <a:pt x="982" y="910"/>
                  </a:lnTo>
                  <a:lnTo>
                    <a:pt x="983" y="908"/>
                  </a:lnTo>
                  <a:lnTo>
                    <a:pt x="995" y="910"/>
                  </a:lnTo>
                  <a:lnTo>
                    <a:pt x="1000" y="908"/>
                  </a:lnTo>
                  <a:lnTo>
                    <a:pt x="1004" y="906"/>
                  </a:lnTo>
                  <a:lnTo>
                    <a:pt x="1010" y="900"/>
                  </a:lnTo>
                  <a:lnTo>
                    <a:pt x="1018" y="897"/>
                  </a:lnTo>
                  <a:lnTo>
                    <a:pt x="1025" y="893"/>
                  </a:lnTo>
                  <a:lnTo>
                    <a:pt x="1033" y="891"/>
                  </a:lnTo>
                  <a:lnTo>
                    <a:pt x="1037" y="889"/>
                  </a:lnTo>
                  <a:lnTo>
                    <a:pt x="1040" y="887"/>
                  </a:lnTo>
                  <a:lnTo>
                    <a:pt x="1042" y="883"/>
                  </a:lnTo>
                  <a:lnTo>
                    <a:pt x="1043" y="879"/>
                  </a:lnTo>
                  <a:lnTo>
                    <a:pt x="1043" y="876"/>
                  </a:lnTo>
                  <a:lnTo>
                    <a:pt x="1040" y="874"/>
                  </a:lnTo>
                  <a:lnTo>
                    <a:pt x="1039" y="873"/>
                  </a:lnTo>
                  <a:lnTo>
                    <a:pt x="1039" y="870"/>
                  </a:lnTo>
                  <a:lnTo>
                    <a:pt x="1049" y="856"/>
                  </a:lnTo>
                  <a:lnTo>
                    <a:pt x="1052" y="853"/>
                  </a:lnTo>
                  <a:lnTo>
                    <a:pt x="1053" y="848"/>
                  </a:lnTo>
                  <a:lnTo>
                    <a:pt x="1053" y="844"/>
                  </a:lnTo>
                  <a:lnTo>
                    <a:pt x="1052" y="840"/>
                  </a:lnTo>
                  <a:lnTo>
                    <a:pt x="1051" y="837"/>
                  </a:lnTo>
                  <a:lnTo>
                    <a:pt x="1048" y="836"/>
                  </a:lnTo>
                  <a:lnTo>
                    <a:pt x="1047" y="834"/>
                  </a:lnTo>
                  <a:lnTo>
                    <a:pt x="1045" y="831"/>
                  </a:lnTo>
                  <a:lnTo>
                    <a:pt x="1044" y="828"/>
                  </a:lnTo>
                  <a:lnTo>
                    <a:pt x="1042" y="824"/>
                  </a:lnTo>
                  <a:lnTo>
                    <a:pt x="1040" y="821"/>
                  </a:lnTo>
                  <a:lnTo>
                    <a:pt x="1039" y="817"/>
                  </a:lnTo>
                  <a:lnTo>
                    <a:pt x="1040" y="815"/>
                  </a:lnTo>
                  <a:lnTo>
                    <a:pt x="1043" y="814"/>
                  </a:lnTo>
                  <a:lnTo>
                    <a:pt x="1067" y="810"/>
                  </a:lnTo>
                  <a:lnTo>
                    <a:pt x="1084" y="808"/>
                  </a:lnTo>
                  <a:lnTo>
                    <a:pt x="1085" y="808"/>
                  </a:lnTo>
                  <a:lnTo>
                    <a:pt x="1086" y="806"/>
                  </a:lnTo>
                  <a:lnTo>
                    <a:pt x="1087" y="805"/>
                  </a:lnTo>
                  <a:lnTo>
                    <a:pt x="1087" y="804"/>
                  </a:lnTo>
                  <a:lnTo>
                    <a:pt x="1086" y="802"/>
                  </a:lnTo>
                  <a:lnTo>
                    <a:pt x="1084" y="799"/>
                  </a:lnTo>
                  <a:lnTo>
                    <a:pt x="1082" y="797"/>
                  </a:lnTo>
                  <a:lnTo>
                    <a:pt x="1082" y="789"/>
                  </a:lnTo>
                  <a:lnTo>
                    <a:pt x="1082" y="780"/>
                  </a:lnTo>
                  <a:lnTo>
                    <a:pt x="1084" y="777"/>
                  </a:lnTo>
                  <a:lnTo>
                    <a:pt x="1086" y="773"/>
                  </a:lnTo>
                  <a:lnTo>
                    <a:pt x="1089" y="771"/>
                  </a:lnTo>
                  <a:lnTo>
                    <a:pt x="1094" y="771"/>
                  </a:lnTo>
                  <a:lnTo>
                    <a:pt x="1108" y="771"/>
                  </a:lnTo>
                  <a:lnTo>
                    <a:pt x="1114" y="770"/>
                  </a:lnTo>
                  <a:lnTo>
                    <a:pt x="1122" y="768"/>
                  </a:lnTo>
                  <a:lnTo>
                    <a:pt x="1125" y="767"/>
                  </a:lnTo>
                  <a:lnTo>
                    <a:pt x="1128" y="765"/>
                  </a:lnTo>
                  <a:lnTo>
                    <a:pt x="1129" y="761"/>
                  </a:lnTo>
                  <a:lnTo>
                    <a:pt x="1131" y="758"/>
                  </a:lnTo>
                  <a:lnTo>
                    <a:pt x="1131" y="750"/>
                  </a:lnTo>
                  <a:lnTo>
                    <a:pt x="1131" y="746"/>
                  </a:lnTo>
                  <a:lnTo>
                    <a:pt x="1132" y="741"/>
                  </a:lnTo>
                  <a:lnTo>
                    <a:pt x="1133" y="740"/>
                  </a:lnTo>
                  <a:lnTo>
                    <a:pt x="1134" y="738"/>
                  </a:lnTo>
                  <a:lnTo>
                    <a:pt x="1147" y="732"/>
                  </a:lnTo>
                  <a:lnTo>
                    <a:pt x="1155" y="727"/>
                  </a:lnTo>
                  <a:lnTo>
                    <a:pt x="1161" y="722"/>
                  </a:lnTo>
                  <a:lnTo>
                    <a:pt x="1164" y="721"/>
                  </a:lnTo>
                  <a:lnTo>
                    <a:pt x="1166" y="720"/>
                  </a:lnTo>
                  <a:lnTo>
                    <a:pt x="1170" y="719"/>
                  </a:lnTo>
                  <a:lnTo>
                    <a:pt x="1172" y="718"/>
                  </a:lnTo>
                  <a:lnTo>
                    <a:pt x="1178" y="714"/>
                  </a:lnTo>
                  <a:lnTo>
                    <a:pt x="1184" y="710"/>
                  </a:lnTo>
                  <a:lnTo>
                    <a:pt x="1190" y="709"/>
                  </a:lnTo>
                  <a:lnTo>
                    <a:pt x="1198" y="708"/>
                  </a:lnTo>
                  <a:lnTo>
                    <a:pt x="1207" y="707"/>
                  </a:lnTo>
                  <a:lnTo>
                    <a:pt x="1208" y="707"/>
                  </a:lnTo>
                  <a:lnTo>
                    <a:pt x="1209" y="706"/>
                  </a:lnTo>
                  <a:lnTo>
                    <a:pt x="1209" y="702"/>
                  </a:lnTo>
                  <a:lnTo>
                    <a:pt x="1205" y="696"/>
                  </a:lnTo>
                  <a:lnTo>
                    <a:pt x="1204" y="694"/>
                  </a:lnTo>
                  <a:lnTo>
                    <a:pt x="1204" y="693"/>
                  </a:lnTo>
                  <a:lnTo>
                    <a:pt x="1211" y="689"/>
                  </a:lnTo>
                  <a:lnTo>
                    <a:pt x="1216" y="687"/>
                  </a:lnTo>
                  <a:lnTo>
                    <a:pt x="1222" y="684"/>
                  </a:lnTo>
                  <a:lnTo>
                    <a:pt x="1227" y="681"/>
                  </a:lnTo>
                  <a:lnTo>
                    <a:pt x="121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5" name="Freeform 1164"/>
            <p:cNvSpPr>
              <a:spLocks/>
            </p:cNvSpPr>
            <p:nvPr/>
          </p:nvSpPr>
          <p:spPr bwMode="auto">
            <a:xfrm>
              <a:off x="5824542" y="2854324"/>
              <a:ext cx="92075" cy="134938"/>
            </a:xfrm>
            <a:custGeom>
              <a:avLst/>
              <a:gdLst>
                <a:gd name="T0" fmla="*/ 2147483647 w 63"/>
                <a:gd name="T1" fmla="*/ 2147483647 h 85"/>
                <a:gd name="T2" fmla="*/ 2147483647 w 63"/>
                <a:gd name="T3" fmla="*/ 2147483647 h 85"/>
                <a:gd name="T4" fmla="*/ 2147483647 w 63"/>
                <a:gd name="T5" fmla="*/ 2147483647 h 85"/>
                <a:gd name="T6" fmla="*/ 2147483647 w 63"/>
                <a:gd name="T7" fmla="*/ 2147483647 h 85"/>
                <a:gd name="T8" fmla="*/ 2147483647 w 63"/>
                <a:gd name="T9" fmla="*/ 2147483647 h 85"/>
                <a:gd name="T10" fmla="*/ 2147483647 w 63"/>
                <a:gd name="T11" fmla="*/ 2147483647 h 85"/>
                <a:gd name="T12" fmla="*/ 2147483647 w 63"/>
                <a:gd name="T13" fmla="*/ 2147483647 h 85"/>
                <a:gd name="T14" fmla="*/ 2147483647 w 63"/>
                <a:gd name="T15" fmla="*/ 2147483647 h 85"/>
                <a:gd name="T16" fmla="*/ 0 w 63"/>
                <a:gd name="T17" fmla="*/ 2147483647 h 85"/>
                <a:gd name="T18" fmla="*/ 0 w 63"/>
                <a:gd name="T19" fmla="*/ 2147483647 h 85"/>
                <a:gd name="T20" fmla="*/ 2147483647 w 63"/>
                <a:gd name="T21" fmla="*/ 2147483647 h 85"/>
                <a:gd name="T22" fmla="*/ 2147483647 w 63"/>
                <a:gd name="T23" fmla="*/ 2147483647 h 85"/>
                <a:gd name="T24" fmla="*/ 2147483647 w 63"/>
                <a:gd name="T25" fmla="*/ 2147483647 h 85"/>
                <a:gd name="T26" fmla="*/ 2147483647 w 63"/>
                <a:gd name="T27" fmla="*/ 2147483647 h 85"/>
                <a:gd name="T28" fmla="*/ 2147483647 w 63"/>
                <a:gd name="T29" fmla="*/ 2147483647 h 85"/>
                <a:gd name="T30" fmla="*/ 2147483647 w 63"/>
                <a:gd name="T31" fmla="*/ 2147483647 h 85"/>
                <a:gd name="T32" fmla="*/ 2147483647 w 63"/>
                <a:gd name="T33" fmla="*/ 2147483647 h 85"/>
                <a:gd name="T34" fmla="*/ 2147483647 w 63"/>
                <a:gd name="T35" fmla="*/ 2147483647 h 85"/>
                <a:gd name="T36" fmla="*/ 2147483647 w 63"/>
                <a:gd name="T37" fmla="*/ 2147483647 h 85"/>
                <a:gd name="T38" fmla="*/ 2147483647 w 63"/>
                <a:gd name="T39" fmla="*/ 2147483647 h 85"/>
                <a:gd name="T40" fmla="*/ 2147483647 w 63"/>
                <a:gd name="T41" fmla="*/ 2147483647 h 85"/>
                <a:gd name="T42" fmla="*/ 2147483647 w 63"/>
                <a:gd name="T43" fmla="*/ 2147483647 h 85"/>
                <a:gd name="T44" fmla="*/ 2147483647 w 63"/>
                <a:gd name="T45" fmla="*/ 2147483647 h 85"/>
                <a:gd name="T46" fmla="*/ 2147483647 w 63"/>
                <a:gd name="T47" fmla="*/ 2147483647 h 85"/>
                <a:gd name="T48" fmla="*/ 2147483647 w 63"/>
                <a:gd name="T49" fmla="*/ 2147483647 h 85"/>
                <a:gd name="T50" fmla="*/ 2147483647 w 63"/>
                <a:gd name="T51" fmla="*/ 2147483647 h 85"/>
                <a:gd name="T52" fmla="*/ 2147483647 w 63"/>
                <a:gd name="T53" fmla="*/ 2147483647 h 85"/>
                <a:gd name="T54" fmla="*/ 2147483647 w 63"/>
                <a:gd name="T55" fmla="*/ 2147483647 h 85"/>
                <a:gd name="T56" fmla="*/ 2147483647 w 63"/>
                <a:gd name="T57" fmla="*/ 2147483647 h 85"/>
                <a:gd name="T58" fmla="*/ 2147483647 w 63"/>
                <a:gd name="T59" fmla="*/ 2147483647 h 85"/>
                <a:gd name="T60" fmla="*/ 2147483647 w 63"/>
                <a:gd name="T61" fmla="*/ 2147483647 h 85"/>
                <a:gd name="T62" fmla="*/ 2147483647 w 63"/>
                <a:gd name="T63" fmla="*/ 2147483647 h 85"/>
                <a:gd name="T64" fmla="*/ 2147483647 w 63"/>
                <a:gd name="T65" fmla="*/ 2147483647 h 85"/>
                <a:gd name="T66" fmla="*/ 2147483647 w 63"/>
                <a:gd name="T67" fmla="*/ 2147483647 h 85"/>
                <a:gd name="T68" fmla="*/ 2147483647 w 63"/>
                <a:gd name="T69" fmla="*/ 2147483647 h 85"/>
                <a:gd name="T70" fmla="*/ 2147483647 w 63"/>
                <a:gd name="T71" fmla="*/ 2147483647 h 85"/>
                <a:gd name="T72" fmla="*/ 2147483647 w 63"/>
                <a:gd name="T73" fmla="*/ 2147483647 h 85"/>
                <a:gd name="T74" fmla="*/ 2147483647 w 63"/>
                <a:gd name="T75" fmla="*/ 2147483647 h 85"/>
                <a:gd name="T76" fmla="*/ 2147483647 w 63"/>
                <a:gd name="T77" fmla="*/ 2147483647 h 85"/>
                <a:gd name="T78" fmla="*/ 2147483647 w 63"/>
                <a:gd name="T79" fmla="*/ 2147483647 h 85"/>
                <a:gd name="T80" fmla="*/ 2147483647 w 63"/>
                <a:gd name="T81" fmla="*/ 2147483647 h 85"/>
                <a:gd name="T82" fmla="*/ 2147483647 w 63"/>
                <a:gd name="T83" fmla="*/ 2147483647 h 85"/>
                <a:gd name="T84" fmla="*/ 2147483647 w 63"/>
                <a:gd name="T85" fmla="*/ 2147483647 h 85"/>
                <a:gd name="T86" fmla="*/ 2147483647 w 63"/>
                <a:gd name="T87" fmla="*/ 0 h 85"/>
                <a:gd name="T88" fmla="*/ 2147483647 w 63"/>
                <a:gd name="T89" fmla="*/ 2147483647 h 85"/>
                <a:gd name="T90" fmla="*/ 2147483647 w 63"/>
                <a:gd name="T91" fmla="*/ 2147483647 h 85"/>
                <a:gd name="T92" fmla="*/ 2147483647 w 63"/>
                <a:gd name="T93" fmla="*/ 2147483647 h 85"/>
                <a:gd name="T94" fmla="*/ 2147483647 w 63"/>
                <a:gd name="T95" fmla="*/ 2147483647 h 85"/>
                <a:gd name="T96" fmla="*/ 2147483647 w 63"/>
                <a:gd name="T97" fmla="*/ 2147483647 h 8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85"/>
                <a:gd name="T149" fmla="*/ 63 w 63"/>
                <a:gd name="T150" fmla="*/ 85 h 8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85">
                  <a:moveTo>
                    <a:pt x="19" y="16"/>
                  </a:moveTo>
                  <a:lnTo>
                    <a:pt x="19" y="16"/>
                  </a:lnTo>
                  <a:lnTo>
                    <a:pt x="20" y="19"/>
                  </a:lnTo>
                  <a:lnTo>
                    <a:pt x="20" y="22"/>
                  </a:lnTo>
                  <a:lnTo>
                    <a:pt x="19" y="24"/>
                  </a:lnTo>
                  <a:lnTo>
                    <a:pt x="16" y="27"/>
                  </a:lnTo>
                  <a:lnTo>
                    <a:pt x="12" y="27"/>
                  </a:lnTo>
                  <a:lnTo>
                    <a:pt x="8" y="28"/>
                  </a:lnTo>
                  <a:lnTo>
                    <a:pt x="6" y="29"/>
                  </a:lnTo>
                  <a:lnTo>
                    <a:pt x="5" y="30"/>
                  </a:lnTo>
                  <a:lnTo>
                    <a:pt x="5" y="34"/>
                  </a:lnTo>
                  <a:lnTo>
                    <a:pt x="5" y="38"/>
                  </a:lnTo>
                  <a:lnTo>
                    <a:pt x="3" y="42"/>
                  </a:lnTo>
                  <a:lnTo>
                    <a:pt x="1" y="44"/>
                  </a:lnTo>
                  <a:lnTo>
                    <a:pt x="0" y="46"/>
                  </a:lnTo>
                  <a:lnTo>
                    <a:pt x="0" y="47"/>
                  </a:lnTo>
                  <a:lnTo>
                    <a:pt x="0" y="63"/>
                  </a:lnTo>
                  <a:lnTo>
                    <a:pt x="1" y="73"/>
                  </a:lnTo>
                  <a:lnTo>
                    <a:pt x="2" y="80"/>
                  </a:lnTo>
                  <a:lnTo>
                    <a:pt x="5" y="82"/>
                  </a:lnTo>
                  <a:lnTo>
                    <a:pt x="8" y="82"/>
                  </a:lnTo>
                  <a:lnTo>
                    <a:pt x="12" y="81"/>
                  </a:lnTo>
                  <a:lnTo>
                    <a:pt x="16" y="79"/>
                  </a:lnTo>
                  <a:lnTo>
                    <a:pt x="19" y="79"/>
                  </a:lnTo>
                  <a:lnTo>
                    <a:pt x="20" y="80"/>
                  </a:lnTo>
                  <a:lnTo>
                    <a:pt x="22" y="82"/>
                  </a:lnTo>
                  <a:lnTo>
                    <a:pt x="28" y="85"/>
                  </a:lnTo>
                  <a:lnTo>
                    <a:pt x="31" y="85"/>
                  </a:lnTo>
                  <a:lnTo>
                    <a:pt x="35" y="82"/>
                  </a:lnTo>
                  <a:lnTo>
                    <a:pt x="40" y="79"/>
                  </a:lnTo>
                  <a:lnTo>
                    <a:pt x="43" y="76"/>
                  </a:lnTo>
                  <a:lnTo>
                    <a:pt x="45" y="73"/>
                  </a:lnTo>
                  <a:lnTo>
                    <a:pt x="45" y="72"/>
                  </a:lnTo>
                  <a:lnTo>
                    <a:pt x="45" y="69"/>
                  </a:lnTo>
                  <a:lnTo>
                    <a:pt x="45" y="68"/>
                  </a:lnTo>
                  <a:lnTo>
                    <a:pt x="45" y="67"/>
                  </a:lnTo>
                  <a:lnTo>
                    <a:pt x="49" y="66"/>
                  </a:lnTo>
                  <a:lnTo>
                    <a:pt x="53" y="66"/>
                  </a:lnTo>
                  <a:lnTo>
                    <a:pt x="55" y="65"/>
                  </a:lnTo>
                  <a:lnTo>
                    <a:pt x="57" y="63"/>
                  </a:lnTo>
                  <a:lnTo>
                    <a:pt x="58" y="60"/>
                  </a:lnTo>
                  <a:lnTo>
                    <a:pt x="58" y="55"/>
                  </a:lnTo>
                  <a:lnTo>
                    <a:pt x="59" y="50"/>
                  </a:lnTo>
                  <a:lnTo>
                    <a:pt x="63" y="43"/>
                  </a:lnTo>
                  <a:lnTo>
                    <a:pt x="61" y="46"/>
                  </a:lnTo>
                  <a:lnTo>
                    <a:pt x="57" y="46"/>
                  </a:lnTo>
                  <a:lnTo>
                    <a:pt x="54" y="46"/>
                  </a:lnTo>
                  <a:lnTo>
                    <a:pt x="50" y="43"/>
                  </a:lnTo>
                  <a:lnTo>
                    <a:pt x="49" y="41"/>
                  </a:lnTo>
                  <a:lnTo>
                    <a:pt x="47" y="38"/>
                  </a:lnTo>
                  <a:lnTo>
                    <a:pt x="47" y="35"/>
                  </a:lnTo>
                  <a:lnTo>
                    <a:pt x="47" y="32"/>
                  </a:lnTo>
                  <a:lnTo>
                    <a:pt x="48" y="29"/>
                  </a:lnTo>
                  <a:lnTo>
                    <a:pt x="52" y="25"/>
                  </a:lnTo>
                  <a:lnTo>
                    <a:pt x="53" y="21"/>
                  </a:lnTo>
                  <a:lnTo>
                    <a:pt x="53" y="19"/>
                  </a:lnTo>
                  <a:lnTo>
                    <a:pt x="50" y="17"/>
                  </a:lnTo>
                  <a:lnTo>
                    <a:pt x="50" y="15"/>
                  </a:lnTo>
                  <a:lnTo>
                    <a:pt x="52" y="12"/>
                  </a:lnTo>
                  <a:lnTo>
                    <a:pt x="54" y="10"/>
                  </a:lnTo>
                  <a:lnTo>
                    <a:pt x="55" y="8"/>
                  </a:lnTo>
                  <a:lnTo>
                    <a:pt x="55" y="5"/>
                  </a:lnTo>
                  <a:lnTo>
                    <a:pt x="55" y="3"/>
                  </a:lnTo>
                  <a:lnTo>
                    <a:pt x="53" y="3"/>
                  </a:lnTo>
                  <a:lnTo>
                    <a:pt x="50" y="5"/>
                  </a:lnTo>
                  <a:lnTo>
                    <a:pt x="48" y="5"/>
                  </a:lnTo>
                  <a:lnTo>
                    <a:pt x="47" y="5"/>
                  </a:lnTo>
                  <a:lnTo>
                    <a:pt x="44" y="2"/>
                  </a:lnTo>
                  <a:lnTo>
                    <a:pt x="44" y="0"/>
                  </a:lnTo>
                  <a:lnTo>
                    <a:pt x="42" y="0"/>
                  </a:lnTo>
                  <a:lnTo>
                    <a:pt x="36" y="2"/>
                  </a:lnTo>
                  <a:lnTo>
                    <a:pt x="33" y="4"/>
                  </a:lnTo>
                  <a:lnTo>
                    <a:pt x="30" y="9"/>
                  </a:lnTo>
                  <a:lnTo>
                    <a:pt x="30" y="14"/>
                  </a:lnTo>
                  <a:lnTo>
                    <a:pt x="26" y="12"/>
                  </a:lnTo>
                  <a:lnTo>
                    <a:pt x="24" y="12"/>
                  </a:lnTo>
                  <a:lnTo>
                    <a:pt x="19"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6" name="Freeform 1165"/>
            <p:cNvSpPr>
              <a:spLocks/>
            </p:cNvSpPr>
            <p:nvPr/>
          </p:nvSpPr>
          <p:spPr bwMode="auto">
            <a:xfrm>
              <a:off x="4841879" y="1633541"/>
              <a:ext cx="1797049" cy="1628775"/>
            </a:xfrm>
            <a:custGeom>
              <a:avLst/>
              <a:gdLst>
                <a:gd name="T0" fmla="*/ 2147483647 w 1227"/>
                <a:gd name="T1" fmla="*/ 2147483647 h 1026"/>
                <a:gd name="T2" fmla="*/ 2147483647 w 1227"/>
                <a:gd name="T3" fmla="*/ 2147483647 h 1026"/>
                <a:gd name="T4" fmla="*/ 2147483647 w 1227"/>
                <a:gd name="T5" fmla="*/ 2147483647 h 1026"/>
                <a:gd name="T6" fmla="*/ 2147483647 w 1227"/>
                <a:gd name="T7" fmla="*/ 2147483647 h 1026"/>
                <a:gd name="T8" fmla="*/ 2147483647 w 1227"/>
                <a:gd name="T9" fmla="*/ 2147483647 h 1026"/>
                <a:gd name="T10" fmla="*/ 2147483647 w 1227"/>
                <a:gd name="T11" fmla="*/ 2147483647 h 1026"/>
                <a:gd name="T12" fmla="*/ 2147483647 w 1227"/>
                <a:gd name="T13" fmla="*/ 2147483647 h 1026"/>
                <a:gd name="T14" fmla="*/ 2147483647 w 1227"/>
                <a:gd name="T15" fmla="*/ 2147483647 h 1026"/>
                <a:gd name="T16" fmla="*/ 2147483647 w 1227"/>
                <a:gd name="T17" fmla="*/ 2147483647 h 1026"/>
                <a:gd name="T18" fmla="*/ 2147483647 w 1227"/>
                <a:gd name="T19" fmla="*/ 2147483647 h 1026"/>
                <a:gd name="T20" fmla="*/ 2147483647 w 1227"/>
                <a:gd name="T21" fmla="*/ 2147483647 h 1026"/>
                <a:gd name="T22" fmla="*/ 2147483647 w 1227"/>
                <a:gd name="T23" fmla="*/ 2147483647 h 1026"/>
                <a:gd name="T24" fmla="*/ 2147483647 w 1227"/>
                <a:gd name="T25" fmla="*/ 2147483647 h 1026"/>
                <a:gd name="T26" fmla="*/ 2147483647 w 1227"/>
                <a:gd name="T27" fmla="*/ 2147483647 h 1026"/>
                <a:gd name="T28" fmla="*/ 2147483647 w 1227"/>
                <a:gd name="T29" fmla="*/ 2147483647 h 1026"/>
                <a:gd name="T30" fmla="*/ 2147483647 w 1227"/>
                <a:gd name="T31" fmla="*/ 2147483647 h 1026"/>
                <a:gd name="T32" fmla="*/ 2147483647 w 1227"/>
                <a:gd name="T33" fmla="*/ 2147483647 h 1026"/>
                <a:gd name="T34" fmla="*/ 2147483647 w 1227"/>
                <a:gd name="T35" fmla="*/ 2147483647 h 1026"/>
                <a:gd name="T36" fmla="*/ 2147483647 w 1227"/>
                <a:gd name="T37" fmla="*/ 2147483647 h 1026"/>
                <a:gd name="T38" fmla="*/ 2147483647 w 1227"/>
                <a:gd name="T39" fmla="*/ 2147483647 h 1026"/>
                <a:gd name="T40" fmla="*/ 2147483647 w 1227"/>
                <a:gd name="T41" fmla="*/ 2147483647 h 1026"/>
                <a:gd name="T42" fmla="*/ 2147483647 w 1227"/>
                <a:gd name="T43" fmla="*/ 2147483647 h 1026"/>
                <a:gd name="T44" fmla="*/ 2147483647 w 1227"/>
                <a:gd name="T45" fmla="*/ 2147483647 h 1026"/>
                <a:gd name="T46" fmla="*/ 2147483647 w 1227"/>
                <a:gd name="T47" fmla="*/ 2147483647 h 1026"/>
                <a:gd name="T48" fmla="*/ 2147483647 w 1227"/>
                <a:gd name="T49" fmla="*/ 2147483647 h 1026"/>
                <a:gd name="T50" fmla="*/ 2147483647 w 1227"/>
                <a:gd name="T51" fmla="*/ 2147483647 h 1026"/>
                <a:gd name="T52" fmla="*/ 2147483647 w 1227"/>
                <a:gd name="T53" fmla="*/ 2147483647 h 1026"/>
                <a:gd name="T54" fmla="*/ 2147483647 w 1227"/>
                <a:gd name="T55" fmla="*/ 2147483647 h 1026"/>
                <a:gd name="T56" fmla="*/ 2147483647 w 1227"/>
                <a:gd name="T57" fmla="*/ 2147483647 h 1026"/>
                <a:gd name="T58" fmla="*/ 2147483647 w 1227"/>
                <a:gd name="T59" fmla="*/ 2147483647 h 1026"/>
                <a:gd name="T60" fmla="*/ 2147483647 w 1227"/>
                <a:gd name="T61" fmla="*/ 2147483647 h 1026"/>
                <a:gd name="T62" fmla="*/ 2147483647 w 1227"/>
                <a:gd name="T63" fmla="*/ 2147483647 h 1026"/>
                <a:gd name="T64" fmla="*/ 2147483647 w 1227"/>
                <a:gd name="T65" fmla="*/ 2147483647 h 1026"/>
                <a:gd name="T66" fmla="*/ 2147483647 w 1227"/>
                <a:gd name="T67" fmla="*/ 2147483647 h 1026"/>
                <a:gd name="T68" fmla="*/ 2147483647 w 1227"/>
                <a:gd name="T69" fmla="*/ 2147483647 h 1026"/>
                <a:gd name="T70" fmla="*/ 2147483647 w 1227"/>
                <a:gd name="T71" fmla="*/ 2147483647 h 1026"/>
                <a:gd name="T72" fmla="*/ 2147483647 w 1227"/>
                <a:gd name="T73" fmla="*/ 2147483647 h 1026"/>
                <a:gd name="T74" fmla="*/ 2147483647 w 1227"/>
                <a:gd name="T75" fmla="*/ 2147483647 h 1026"/>
                <a:gd name="T76" fmla="*/ 2147483647 w 1227"/>
                <a:gd name="T77" fmla="*/ 2147483647 h 1026"/>
                <a:gd name="T78" fmla="*/ 2147483647 w 1227"/>
                <a:gd name="T79" fmla="*/ 2147483647 h 1026"/>
                <a:gd name="T80" fmla="*/ 2147483647 w 1227"/>
                <a:gd name="T81" fmla="*/ 2147483647 h 1026"/>
                <a:gd name="T82" fmla="*/ 2147483647 w 1227"/>
                <a:gd name="T83" fmla="*/ 2147483647 h 1026"/>
                <a:gd name="T84" fmla="*/ 2147483647 w 1227"/>
                <a:gd name="T85" fmla="*/ 2147483647 h 1026"/>
                <a:gd name="T86" fmla="*/ 2147483647 w 1227"/>
                <a:gd name="T87" fmla="*/ 2147483647 h 1026"/>
                <a:gd name="T88" fmla="*/ 2147483647 w 1227"/>
                <a:gd name="T89" fmla="*/ 2147483647 h 1026"/>
                <a:gd name="T90" fmla="*/ 2147483647 w 1227"/>
                <a:gd name="T91" fmla="*/ 2147483647 h 1026"/>
                <a:gd name="T92" fmla="*/ 2147483647 w 1227"/>
                <a:gd name="T93" fmla="*/ 2147483647 h 1026"/>
                <a:gd name="T94" fmla="*/ 2147483647 w 1227"/>
                <a:gd name="T95" fmla="*/ 2147483647 h 1026"/>
                <a:gd name="T96" fmla="*/ 2147483647 w 1227"/>
                <a:gd name="T97" fmla="*/ 2147483647 h 1026"/>
                <a:gd name="T98" fmla="*/ 2147483647 w 1227"/>
                <a:gd name="T99" fmla="*/ 2147483647 h 1026"/>
                <a:gd name="T100" fmla="*/ 2147483647 w 1227"/>
                <a:gd name="T101" fmla="*/ 2147483647 h 1026"/>
                <a:gd name="T102" fmla="*/ 2147483647 w 1227"/>
                <a:gd name="T103" fmla="*/ 2147483647 h 1026"/>
                <a:gd name="T104" fmla="*/ 2147483647 w 1227"/>
                <a:gd name="T105" fmla="*/ 2147483647 h 1026"/>
                <a:gd name="T106" fmla="*/ 2147483647 w 1227"/>
                <a:gd name="T107" fmla="*/ 2147483647 h 1026"/>
                <a:gd name="T108" fmla="*/ 2147483647 w 1227"/>
                <a:gd name="T109" fmla="*/ 2147483647 h 1026"/>
                <a:gd name="T110" fmla="*/ 2147483647 w 1227"/>
                <a:gd name="T111" fmla="*/ 2147483647 h 1026"/>
                <a:gd name="T112" fmla="*/ 2147483647 w 1227"/>
                <a:gd name="T113" fmla="*/ 2147483647 h 1026"/>
                <a:gd name="T114" fmla="*/ 2147483647 w 1227"/>
                <a:gd name="T115" fmla="*/ 2147483647 h 1026"/>
                <a:gd name="T116" fmla="*/ 2147483647 w 1227"/>
                <a:gd name="T117" fmla="*/ 2147483647 h 1026"/>
                <a:gd name="T118" fmla="*/ 2147483647 w 1227"/>
                <a:gd name="T119" fmla="*/ 2147483647 h 1026"/>
                <a:gd name="T120" fmla="*/ 2147483647 w 1227"/>
                <a:gd name="T121" fmla="*/ 2147483647 h 1026"/>
                <a:gd name="T122" fmla="*/ 2147483647 w 1227"/>
                <a:gd name="T123" fmla="*/ 2147483647 h 1026"/>
                <a:gd name="T124" fmla="*/ 2147483647 w 1227"/>
                <a:gd name="T125" fmla="*/ 2147483647 h 10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7"/>
                <a:gd name="T190" fmla="*/ 0 h 1026"/>
                <a:gd name="T191" fmla="*/ 1227 w 1227"/>
                <a:gd name="T192" fmla="*/ 1026 h 10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7" h="1026">
                  <a:moveTo>
                    <a:pt x="1215" y="0"/>
                  </a:moveTo>
                  <a:lnTo>
                    <a:pt x="1215" y="0"/>
                  </a:lnTo>
                  <a:lnTo>
                    <a:pt x="1208" y="1"/>
                  </a:lnTo>
                  <a:lnTo>
                    <a:pt x="1200" y="5"/>
                  </a:lnTo>
                  <a:lnTo>
                    <a:pt x="1194" y="7"/>
                  </a:lnTo>
                  <a:lnTo>
                    <a:pt x="1186" y="10"/>
                  </a:lnTo>
                  <a:lnTo>
                    <a:pt x="1179" y="12"/>
                  </a:lnTo>
                  <a:lnTo>
                    <a:pt x="1172" y="14"/>
                  </a:lnTo>
                  <a:lnTo>
                    <a:pt x="1167" y="14"/>
                  </a:lnTo>
                  <a:lnTo>
                    <a:pt x="1165" y="15"/>
                  </a:lnTo>
                  <a:lnTo>
                    <a:pt x="1162" y="17"/>
                  </a:lnTo>
                  <a:lnTo>
                    <a:pt x="1159" y="15"/>
                  </a:lnTo>
                  <a:lnTo>
                    <a:pt x="1157" y="14"/>
                  </a:lnTo>
                  <a:lnTo>
                    <a:pt x="1154" y="13"/>
                  </a:lnTo>
                  <a:lnTo>
                    <a:pt x="1154" y="14"/>
                  </a:lnTo>
                  <a:lnTo>
                    <a:pt x="1152" y="17"/>
                  </a:lnTo>
                  <a:lnTo>
                    <a:pt x="1151" y="20"/>
                  </a:lnTo>
                  <a:lnTo>
                    <a:pt x="1148" y="24"/>
                  </a:lnTo>
                  <a:lnTo>
                    <a:pt x="1146" y="25"/>
                  </a:lnTo>
                  <a:lnTo>
                    <a:pt x="1143" y="27"/>
                  </a:lnTo>
                  <a:lnTo>
                    <a:pt x="1140" y="29"/>
                  </a:lnTo>
                  <a:lnTo>
                    <a:pt x="1139" y="31"/>
                  </a:lnTo>
                  <a:lnTo>
                    <a:pt x="1137" y="32"/>
                  </a:lnTo>
                  <a:lnTo>
                    <a:pt x="1135" y="33"/>
                  </a:lnTo>
                  <a:lnTo>
                    <a:pt x="1133" y="32"/>
                  </a:lnTo>
                  <a:lnTo>
                    <a:pt x="1130" y="32"/>
                  </a:lnTo>
                  <a:lnTo>
                    <a:pt x="1128" y="32"/>
                  </a:lnTo>
                  <a:lnTo>
                    <a:pt x="1126" y="33"/>
                  </a:lnTo>
                  <a:lnTo>
                    <a:pt x="1128" y="36"/>
                  </a:lnTo>
                  <a:lnTo>
                    <a:pt x="1130" y="40"/>
                  </a:lnTo>
                  <a:lnTo>
                    <a:pt x="1133" y="46"/>
                  </a:lnTo>
                  <a:lnTo>
                    <a:pt x="1133" y="47"/>
                  </a:lnTo>
                  <a:lnTo>
                    <a:pt x="1132" y="50"/>
                  </a:lnTo>
                  <a:lnTo>
                    <a:pt x="1132" y="52"/>
                  </a:lnTo>
                  <a:lnTo>
                    <a:pt x="1133" y="53"/>
                  </a:lnTo>
                  <a:lnTo>
                    <a:pt x="1135" y="55"/>
                  </a:lnTo>
                  <a:lnTo>
                    <a:pt x="1138" y="56"/>
                  </a:lnTo>
                  <a:lnTo>
                    <a:pt x="1139" y="58"/>
                  </a:lnTo>
                  <a:lnTo>
                    <a:pt x="1140" y="63"/>
                  </a:lnTo>
                  <a:lnTo>
                    <a:pt x="1142" y="66"/>
                  </a:lnTo>
                  <a:lnTo>
                    <a:pt x="1144" y="70"/>
                  </a:lnTo>
                  <a:lnTo>
                    <a:pt x="1144" y="71"/>
                  </a:lnTo>
                  <a:lnTo>
                    <a:pt x="1143" y="72"/>
                  </a:lnTo>
                  <a:lnTo>
                    <a:pt x="1139" y="72"/>
                  </a:lnTo>
                  <a:lnTo>
                    <a:pt x="1137" y="71"/>
                  </a:lnTo>
                  <a:lnTo>
                    <a:pt x="1133" y="72"/>
                  </a:lnTo>
                  <a:lnTo>
                    <a:pt x="1129" y="75"/>
                  </a:lnTo>
                  <a:lnTo>
                    <a:pt x="1128" y="75"/>
                  </a:lnTo>
                  <a:lnTo>
                    <a:pt x="1126" y="74"/>
                  </a:lnTo>
                  <a:lnTo>
                    <a:pt x="1125" y="72"/>
                  </a:lnTo>
                  <a:lnTo>
                    <a:pt x="1124" y="70"/>
                  </a:lnTo>
                  <a:lnTo>
                    <a:pt x="1125" y="66"/>
                  </a:lnTo>
                  <a:lnTo>
                    <a:pt x="1128" y="64"/>
                  </a:lnTo>
                  <a:lnTo>
                    <a:pt x="1128" y="62"/>
                  </a:lnTo>
                  <a:lnTo>
                    <a:pt x="1126" y="61"/>
                  </a:lnTo>
                  <a:lnTo>
                    <a:pt x="1121" y="62"/>
                  </a:lnTo>
                  <a:lnTo>
                    <a:pt x="1119" y="62"/>
                  </a:lnTo>
                  <a:lnTo>
                    <a:pt x="1116" y="62"/>
                  </a:lnTo>
                  <a:lnTo>
                    <a:pt x="1111" y="61"/>
                  </a:lnTo>
                  <a:lnTo>
                    <a:pt x="1106" y="61"/>
                  </a:lnTo>
                  <a:lnTo>
                    <a:pt x="1095" y="62"/>
                  </a:lnTo>
                  <a:lnTo>
                    <a:pt x="1085" y="63"/>
                  </a:lnTo>
                  <a:lnTo>
                    <a:pt x="1079" y="63"/>
                  </a:lnTo>
                  <a:lnTo>
                    <a:pt x="1074" y="63"/>
                  </a:lnTo>
                  <a:lnTo>
                    <a:pt x="1069" y="62"/>
                  </a:lnTo>
                  <a:lnTo>
                    <a:pt x="1066" y="62"/>
                  </a:lnTo>
                  <a:lnTo>
                    <a:pt x="1062" y="63"/>
                  </a:lnTo>
                  <a:lnTo>
                    <a:pt x="1060" y="66"/>
                  </a:lnTo>
                  <a:lnTo>
                    <a:pt x="1059" y="72"/>
                  </a:lnTo>
                  <a:lnTo>
                    <a:pt x="1060" y="78"/>
                  </a:lnTo>
                  <a:lnTo>
                    <a:pt x="1062" y="83"/>
                  </a:lnTo>
                  <a:lnTo>
                    <a:pt x="1064" y="88"/>
                  </a:lnTo>
                  <a:lnTo>
                    <a:pt x="1067" y="90"/>
                  </a:lnTo>
                  <a:lnTo>
                    <a:pt x="1069" y="91"/>
                  </a:lnTo>
                  <a:lnTo>
                    <a:pt x="1077" y="93"/>
                  </a:lnTo>
                  <a:lnTo>
                    <a:pt x="1079" y="94"/>
                  </a:lnTo>
                  <a:lnTo>
                    <a:pt x="1083" y="96"/>
                  </a:lnTo>
                  <a:lnTo>
                    <a:pt x="1085" y="98"/>
                  </a:lnTo>
                  <a:lnTo>
                    <a:pt x="1085" y="102"/>
                  </a:lnTo>
                  <a:lnTo>
                    <a:pt x="1086" y="103"/>
                  </a:lnTo>
                  <a:lnTo>
                    <a:pt x="1086" y="104"/>
                  </a:lnTo>
                  <a:lnTo>
                    <a:pt x="1088" y="107"/>
                  </a:lnTo>
                  <a:lnTo>
                    <a:pt x="1097" y="120"/>
                  </a:lnTo>
                  <a:lnTo>
                    <a:pt x="1101" y="127"/>
                  </a:lnTo>
                  <a:lnTo>
                    <a:pt x="1106" y="133"/>
                  </a:lnTo>
                  <a:lnTo>
                    <a:pt x="1107" y="136"/>
                  </a:lnTo>
                  <a:lnTo>
                    <a:pt x="1107" y="139"/>
                  </a:lnTo>
                  <a:lnTo>
                    <a:pt x="1105" y="142"/>
                  </a:lnTo>
                  <a:lnTo>
                    <a:pt x="1102" y="144"/>
                  </a:lnTo>
                  <a:lnTo>
                    <a:pt x="1095" y="142"/>
                  </a:lnTo>
                  <a:lnTo>
                    <a:pt x="1087" y="141"/>
                  </a:lnTo>
                  <a:lnTo>
                    <a:pt x="1085" y="140"/>
                  </a:lnTo>
                  <a:lnTo>
                    <a:pt x="1085" y="139"/>
                  </a:lnTo>
                  <a:lnTo>
                    <a:pt x="1085" y="134"/>
                  </a:lnTo>
                  <a:lnTo>
                    <a:pt x="1090" y="125"/>
                  </a:lnTo>
                  <a:lnTo>
                    <a:pt x="1090" y="121"/>
                  </a:lnTo>
                  <a:lnTo>
                    <a:pt x="1087" y="120"/>
                  </a:lnTo>
                  <a:lnTo>
                    <a:pt x="1085" y="119"/>
                  </a:lnTo>
                  <a:lnTo>
                    <a:pt x="1081" y="119"/>
                  </a:lnTo>
                  <a:lnTo>
                    <a:pt x="1076" y="119"/>
                  </a:lnTo>
                  <a:lnTo>
                    <a:pt x="1072" y="119"/>
                  </a:lnTo>
                  <a:lnTo>
                    <a:pt x="1069" y="119"/>
                  </a:lnTo>
                  <a:lnTo>
                    <a:pt x="1064" y="115"/>
                  </a:lnTo>
                  <a:lnTo>
                    <a:pt x="1053" y="101"/>
                  </a:lnTo>
                  <a:lnTo>
                    <a:pt x="1046" y="95"/>
                  </a:lnTo>
                  <a:lnTo>
                    <a:pt x="1043" y="93"/>
                  </a:lnTo>
                  <a:lnTo>
                    <a:pt x="1039" y="91"/>
                  </a:lnTo>
                  <a:lnTo>
                    <a:pt x="1031" y="90"/>
                  </a:lnTo>
                  <a:lnTo>
                    <a:pt x="1024" y="89"/>
                  </a:lnTo>
                  <a:lnTo>
                    <a:pt x="1017" y="89"/>
                  </a:lnTo>
                  <a:lnTo>
                    <a:pt x="1010" y="91"/>
                  </a:lnTo>
                  <a:lnTo>
                    <a:pt x="1005" y="95"/>
                  </a:lnTo>
                  <a:lnTo>
                    <a:pt x="1003" y="96"/>
                  </a:lnTo>
                  <a:lnTo>
                    <a:pt x="1002" y="98"/>
                  </a:lnTo>
                  <a:lnTo>
                    <a:pt x="1003" y="101"/>
                  </a:lnTo>
                  <a:lnTo>
                    <a:pt x="1005" y="102"/>
                  </a:lnTo>
                  <a:lnTo>
                    <a:pt x="1008" y="103"/>
                  </a:lnTo>
                  <a:lnTo>
                    <a:pt x="1013" y="104"/>
                  </a:lnTo>
                  <a:lnTo>
                    <a:pt x="1017" y="107"/>
                  </a:lnTo>
                  <a:lnTo>
                    <a:pt x="1019" y="109"/>
                  </a:lnTo>
                  <a:lnTo>
                    <a:pt x="1017" y="111"/>
                  </a:lnTo>
                  <a:lnTo>
                    <a:pt x="1016" y="114"/>
                  </a:lnTo>
                  <a:lnTo>
                    <a:pt x="1013" y="115"/>
                  </a:lnTo>
                  <a:lnTo>
                    <a:pt x="1011" y="116"/>
                  </a:lnTo>
                  <a:lnTo>
                    <a:pt x="1007" y="115"/>
                  </a:lnTo>
                  <a:lnTo>
                    <a:pt x="1002" y="113"/>
                  </a:lnTo>
                  <a:lnTo>
                    <a:pt x="992" y="107"/>
                  </a:lnTo>
                  <a:lnTo>
                    <a:pt x="989" y="106"/>
                  </a:lnTo>
                  <a:lnTo>
                    <a:pt x="987" y="107"/>
                  </a:lnTo>
                  <a:lnTo>
                    <a:pt x="984" y="108"/>
                  </a:lnTo>
                  <a:lnTo>
                    <a:pt x="983" y="110"/>
                  </a:lnTo>
                  <a:lnTo>
                    <a:pt x="982" y="116"/>
                  </a:lnTo>
                  <a:lnTo>
                    <a:pt x="983" y="121"/>
                  </a:lnTo>
                  <a:lnTo>
                    <a:pt x="984" y="126"/>
                  </a:lnTo>
                  <a:lnTo>
                    <a:pt x="987" y="128"/>
                  </a:lnTo>
                  <a:lnTo>
                    <a:pt x="992" y="129"/>
                  </a:lnTo>
                  <a:lnTo>
                    <a:pt x="997" y="130"/>
                  </a:lnTo>
                  <a:lnTo>
                    <a:pt x="1007" y="133"/>
                  </a:lnTo>
                  <a:lnTo>
                    <a:pt x="1012" y="134"/>
                  </a:lnTo>
                  <a:lnTo>
                    <a:pt x="1016" y="136"/>
                  </a:lnTo>
                  <a:lnTo>
                    <a:pt x="1025" y="142"/>
                  </a:lnTo>
                  <a:lnTo>
                    <a:pt x="1027" y="146"/>
                  </a:lnTo>
                  <a:lnTo>
                    <a:pt x="1027" y="148"/>
                  </a:lnTo>
                  <a:lnTo>
                    <a:pt x="1026" y="151"/>
                  </a:lnTo>
                  <a:lnTo>
                    <a:pt x="1025" y="151"/>
                  </a:lnTo>
                  <a:lnTo>
                    <a:pt x="1021" y="149"/>
                  </a:lnTo>
                  <a:lnTo>
                    <a:pt x="1019" y="149"/>
                  </a:lnTo>
                  <a:lnTo>
                    <a:pt x="1016" y="151"/>
                  </a:lnTo>
                  <a:lnTo>
                    <a:pt x="1013" y="152"/>
                  </a:lnTo>
                  <a:lnTo>
                    <a:pt x="1012" y="151"/>
                  </a:lnTo>
                  <a:lnTo>
                    <a:pt x="1007" y="146"/>
                  </a:lnTo>
                  <a:lnTo>
                    <a:pt x="1003" y="142"/>
                  </a:lnTo>
                  <a:lnTo>
                    <a:pt x="997" y="142"/>
                  </a:lnTo>
                  <a:lnTo>
                    <a:pt x="992" y="144"/>
                  </a:lnTo>
                  <a:lnTo>
                    <a:pt x="988" y="144"/>
                  </a:lnTo>
                  <a:lnTo>
                    <a:pt x="987" y="141"/>
                  </a:lnTo>
                  <a:lnTo>
                    <a:pt x="978" y="134"/>
                  </a:lnTo>
                  <a:lnTo>
                    <a:pt x="968" y="129"/>
                  </a:lnTo>
                  <a:lnTo>
                    <a:pt x="965" y="127"/>
                  </a:lnTo>
                  <a:lnTo>
                    <a:pt x="963" y="123"/>
                  </a:lnTo>
                  <a:lnTo>
                    <a:pt x="961" y="119"/>
                  </a:lnTo>
                  <a:lnTo>
                    <a:pt x="960" y="114"/>
                  </a:lnTo>
                  <a:lnTo>
                    <a:pt x="961" y="104"/>
                  </a:lnTo>
                  <a:lnTo>
                    <a:pt x="961" y="95"/>
                  </a:lnTo>
                  <a:lnTo>
                    <a:pt x="961" y="93"/>
                  </a:lnTo>
                  <a:lnTo>
                    <a:pt x="960" y="89"/>
                  </a:lnTo>
                  <a:lnTo>
                    <a:pt x="958" y="88"/>
                  </a:lnTo>
                  <a:lnTo>
                    <a:pt x="955" y="85"/>
                  </a:lnTo>
                  <a:lnTo>
                    <a:pt x="954" y="84"/>
                  </a:lnTo>
                  <a:lnTo>
                    <a:pt x="954" y="83"/>
                  </a:lnTo>
                  <a:lnTo>
                    <a:pt x="954" y="79"/>
                  </a:lnTo>
                  <a:lnTo>
                    <a:pt x="953" y="78"/>
                  </a:lnTo>
                  <a:lnTo>
                    <a:pt x="951" y="77"/>
                  </a:lnTo>
                  <a:lnTo>
                    <a:pt x="950" y="78"/>
                  </a:lnTo>
                  <a:lnTo>
                    <a:pt x="950" y="79"/>
                  </a:lnTo>
                  <a:lnTo>
                    <a:pt x="950" y="82"/>
                  </a:lnTo>
                  <a:lnTo>
                    <a:pt x="951" y="91"/>
                  </a:lnTo>
                  <a:lnTo>
                    <a:pt x="949" y="100"/>
                  </a:lnTo>
                  <a:lnTo>
                    <a:pt x="945" y="108"/>
                  </a:lnTo>
                  <a:lnTo>
                    <a:pt x="937" y="115"/>
                  </a:lnTo>
                  <a:lnTo>
                    <a:pt x="933" y="119"/>
                  </a:lnTo>
                  <a:lnTo>
                    <a:pt x="931" y="123"/>
                  </a:lnTo>
                  <a:lnTo>
                    <a:pt x="930" y="128"/>
                  </a:lnTo>
                  <a:lnTo>
                    <a:pt x="930" y="133"/>
                  </a:lnTo>
                  <a:lnTo>
                    <a:pt x="931" y="136"/>
                  </a:lnTo>
                  <a:lnTo>
                    <a:pt x="935" y="140"/>
                  </a:lnTo>
                  <a:lnTo>
                    <a:pt x="942" y="144"/>
                  </a:lnTo>
                  <a:lnTo>
                    <a:pt x="944" y="146"/>
                  </a:lnTo>
                  <a:lnTo>
                    <a:pt x="944" y="147"/>
                  </a:lnTo>
                  <a:lnTo>
                    <a:pt x="942" y="153"/>
                  </a:lnTo>
                  <a:lnTo>
                    <a:pt x="940" y="158"/>
                  </a:lnTo>
                  <a:lnTo>
                    <a:pt x="939" y="162"/>
                  </a:lnTo>
                  <a:lnTo>
                    <a:pt x="937" y="171"/>
                  </a:lnTo>
                  <a:lnTo>
                    <a:pt x="937" y="179"/>
                  </a:lnTo>
                  <a:lnTo>
                    <a:pt x="939" y="186"/>
                  </a:lnTo>
                  <a:lnTo>
                    <a:pt x="942" y="193"/>
                  </a:lnTo>
                  <a:lnTo>
                    <a:pt x="944" y="194"/>
                  </a:lnTo>
                  <a:lnTo>
                    <a:pt x="946" y="194"/>
                  </a:lnTo>
                  <a:lnTo>
                    <a:pt x="950" y="194"/>
                  </a:lnTo>
                  <a:lnTo>
                    <a:pt x="951" y="194"/>
                  </a:lnTo>
                  <a:lnTo>
                    <a:pt x="953" y="196"/>
                  </a:lnTo>
                  <a:lnTo>
                    <a:pt x="955" y="200"/>
                  </a:lnTo>
                  <a:lnTo>
                    <a:pt x="956" y="204"/>
                  </a:lnTo>
                  <a:lnTo>
                    <a:pt x="956" y="206"/>
                  </a:lnTo>
                  <a:lnTo>
                    <a:pt x="954" y="208"/>
                  </a:lnTo>
                  <a:lnTo>
                    <a:pt x="953" y="209"/>
                  </a:lnTo>
                  <a:lnTo>
                    <a:pt x="949" y="208"/>
                  </a:lnTo>
                  <a:lnTo>
                    <a:pt x="947" y="206"/>
                  </a:lnTo>
                  <a:lnTo>
                    <a:pt x="946" y="206"/>
                  </a:lnTo>
                  <a:lnTo>
                    <a:pt x="946" y="208"/>
                  </a:lnTo>
                  <a:lnTo>
                    <a:pt x="947" y="216"/>
                  </a:lnTo>
                  <a:lnTo>
                    <a:pt x="950" y="225"/>
                  </a:lnTo>
                  <a:lnTo>
                    <a:pt x="951" y="234"/>
                  </a:lnTo>
                  <a:lnTo>
                    <a:pt x="951" y="238"/>
                  </a:lnTo>
                  <a:lnTo>
                    <a:pt x="950" y="242"/>
                  </a:lnTo>
                  <a:lnTo>
                    <a:pt x="949" y="241"/>
                  </a:lnTo>
                  <a:lnTo>
                    <a:pt x="947" y="240"/>
                  </a:lnTo>
                  <a:lnTo>
                    <a:pt x="945" y="240"/>
                  </a:lnTo>
                  <a:lnTo>
                    <a:pt x="944" y="241"/>
                  </a:lnTo>
                  <a:lnTo>
                    <a:pt x="942" y="244"/>
                  </a:lnTo>
                  <a:lnTo>
                    <a:pt x="940" y="248"/>
                  </a:lnTo>
                  <a:lnTo>
                    <a:pt x="940" y="253"/>
                  </a:lnTo>
                  <a:lnTo>
                    <a:pt x="940" y="256"/>
                  </a:lnTo>
                  <a:lnTo>
                    <a:pt x="941" y="262"/>
                  </a:lnTo>
                  <a:lnTo>
                    <a:pt x="942" y="264"/>
                  </a:lnTo>
                  <a:lnTo>
                    <a:pt x="941" y="266"/>
                  </a:lnTo>
                  <a:lnTo>
                    <a:pt x="936" y="268"/>
                  </a:lnTo>
                  <a:lnTo>
                    <a:pt x="931" y="268"/>
                  </a:lnTo>
                  <a:lnTo>
                    <a:pt x="921" y="268"/>
                  </a:lnTo>
                  <a:lnTo>
                    <a:pt x="916" y="269"/>
                  </a:lnTo>
                  <a:lnTo>
                    <a:pt x="912" y="269"/>
                  </a:lnTo>
                  <a:lnTo>
                    <a:pt x="909" y="272"/>
                  </a:lnTo>
                  <a:lnTo>
                    <a:pt x="907" y="275"/>
                  </a:lnTo>
                  <a:lnTo>
                    <a:pt x="908" y="279"/>
                  </a:lnTo>
                  <a:lnTo>
                    <a:pt x="911" y="282"/>
                  </a:lnTo>
                  <a:lnTo>
                    <a:pt x="913" y="285"/>
                  </a:lnTo>
                  <a:lnTo>
                    <a:pt x="913" y="286"/>
                  </a:lnTo>
                  <a:lnTo>
                    <a:pt x="912" y="287"/>
                  </a:lnTo>
                  <a:lnTo>
                    <a:pt x="911" y="287"/>
                  </a:lnTo>
                  <a:lnTo>
                    <a:pt x="908" y="287"/>
                  </a:lnTo>
                  <a:lnTo>
                    <a:pt x="904" y="285"/>
                  </a:lnTo>
                  <a:lnTo>
                    <a:pt x="900" y="282"/>
                  </a:lnTo>
                  <a:lnTo>
                    <a:pt x="897" y="280"/>
                  </a:lnTo>
                  <a:lnTo>
                    <a:pt x="892" y="279"/>
                  </a:lnTo>
                  <a:lnTo>
                    <a:pt x="889" y="279"/>
                  </a:lnTo>
                  <a:lnTo>
                    <a:pt x="886" y="280"/>
                  </a:lnTo>
                  <a:lnTo>
                    <a:pt x="879" y="280"/>
                  </a:lnTo>
                  <a:lnTo>
                    <a:pt x="873" y="277"/>
                  </a:lnTo>
                  <a:lnTo>
                    <a:pt x="866" y="274"/>
                  </a:lnTo>
                  <a:lnTo>
                    <a:pt x="862" y="267"/>
                  </a:lnTo>
                  <a:lnTo>
                    <a:pt x="875" y="268"/>
                  </a:lnTo>
                  <a:lnTo>
                    <a:pt x="881" y="268"/>
                  </a:lnTo>
                  <a:lnTo>
                    <a:pt x="888" y="267"/>
                  </a:lnTo>
                  <a:lnTo>
                    <a:pt x="894" y="267"/>
                  </a:lnTo>
                  <a:lnTo>
                    <a:pt x="900" y="264"/>
                  </a:lnTo>
                  <a:lnTo>
                    <a:pt x="906" y="260"/>
                  </a:lnTo>
                  <a:lnTo>
                    <a:pt x="908" y="254"/>
                  </a:lnTo>
                  <a:lnTo>
                    <a:pt x="912" y="250"/>
                  </a:lnTo>
                  <a:lnTo>
                    <a:pt x="916" y="248"/>
                  </a:lnTo>
                  <a:lnTo>
                    <a:pt x="919" y="245"/>
                  </a:lnTo>
                  <a:lnTo>
                    <a:pt x="923" y="243"/>
                  </a:lnTo>
                  <a:lnTo>
                    <a:pt x="925" y="241"/>
                  </a:lnTo>
                  <a:lnTo>
                    <a:pt x="925" y="238"/>
                  </a:lnTo>
                  <a:lnTo>
                    <a:pt x="925" y="234"/>
                  </a:lnTo>
                  <a:lnTo>
                    <a:pt x="923" y="228"/>
                  </a:lnTo>
                  <a:lnTo>
                    <a:pt x="923" y="223"/>
                  </a:lnTo>
                  <a:lnTo>
                    <a:pt x="923" y="219"/>
                  </a:lnTo>
                  <a:lnTo>
                    <a:pt x="922" y="216"/>
                  </a:lnTo>
                  <a:lnTo>
                    <a:pt x="919" y="213"/>
                  </a:lnTo>
                  <a:lnTo>
                    <a:pt x="916" y="211"/>
                  </a:lnTo>
                  <a:lnTo>
                    <a:pt x="913" y="208"/>
                  </a:lnTo>
                  <a:lnTo>
                    <a:pt x="911" y="204"/>
                  </a:lnTo>
                  <a:lnTo>
                    <a:pt x="911" y="202"/>
                  </a:lnTo>
                  <a:lnTo>
                    <a:pt x="912" y="199"/>
                  </a:lnTo>
                  <a:lnTo>
                    <a:pt x="913" y="197"/>
                  </a:lnTo>
                  <a:lnTo>
                    <a:pt x="912" y="194"/>
                  </a:lnTo>
                  <a:lnTo>
                    <a:pt x="909" y="187"/>
                  </a:lnTo>
                  <a:lnTo>
                    <a:pt x="908" y="180"/>
                  </a:lnTo>
                  <a:lnTo>
                    <a:pt x="909" y="173"/>
                  </a:lnTo>
                  <a:lnTo>
                    <a:pt x="913" y="165"/>
                  </a:lnTo>
                  <a:lnTo>
                    <a:pt x="914" y="162"/>
                  </a:lnTo>
                  <a:lnTo>
                    <a:pt x="914" y="159"/>
                  </a:lnTo>
                  <a:lnTo>
                    <a:pt x="913" y="153"/>
                  </a:lnTo>
                  <a:lnTo>
                    <a:pt x="909" y="147"/>
                  </a:lnTo>
                  <a:lnTo>
                    <a:pt x="904" y="141"/>
                  </a:lnTo>
                  <a:lnTo>
                    <a:pt x="903" y="139"/>
                  </a:lnTo>
                  <a:lnTo>
                    <a:pt x="902" y="136"/>
                  </a:lnTo>
                  <a:lnTo>
                    <a:pt x="903" y="132"/>
                  </a:lnTo>
                  <a:lnTo>
                    <a:pt x="906" y="126"/>
                  </a:lnTo>
                  <a:lnTo>
                    <a:pt x="908" y="121"/>
                  </a:lnTo>
                  <a:lnTo>
                    <a:pt x="909" y="113"/>
                  </a:lnTo>
                  <a:lnTo>
                    <a:pt x="912" y="107"/>
                  </a:lnTo>
                  <a:lnTo>
                    <a:pt x="916" y="101"/>
                  </a:lnTo>
                  <a:lnTo>
                    <a:pt x="921" y="95"/>
                  </a:lnTo>
                  <a:lnTo>
                    <a:pt x="922" y="93"/>
                  </a:lnTo>
                  <a:lnTo>
                    <a:pt x="921" y="91"/>
                  </a:lnTo>
                  <a:lnTo>
                    <a:pt x="919" y="90"/>
                  </a:lnTo>
                  <a:lnTo>
                    <a:pt x="918" y="90"/>
                  </a:lnTo>
                  <a:lnTo>
                    <a:pt x="912" y="91"/>
                  </a:lnTo>
                  <a:lnTo>
                    <a:pt x="907" y="91"/>
                  </a:lnTo>
                  <a:lnTo>
                    <a:pt x="902" y="90"/>
                  </a:lnTo>
                  <a:lnTo>
                    <a:pt x="897" y="88"/>
                  </a:lnTo>
                  <a:lnTo>
                    <a:pt x="894" y="88"/>
                  </a:lnTo>
                  <a:lnTo>
                    <a:pt x="892" y="88"/>
                  </a:lnTo>
                  <a:lnTo>
                    <a:pt x="890" y="89"/>
                  </a:lnTo>
                  <a:lnTo>
                    <a:pt x="888" y="88"/>
                  </a:lnTo>
                  <a:lnTo>
                    <a:pt x="878" y="87"/>
                  </a:lnTo>
                  <a:lnTo>
                    <a:pt x="874" y="85"/>
                  </a:lnTo>
                  <a:lnTo>
                    <a:pt x="869" y="84"/>
                  </a:lnTo>
                  <a:lnTo>
                    <a:pt x="866" y="84"/>
                  </a:lnTo>
                  <a:lnTo>
                    <a:pt x="862" y="85"/>
                  </a:lnTo>
                  <a:lnTo>
                    <a:pt x="860" y="88"/>
                  </a:lnTo>
                  <a:lnTo>
                    <a:pt x="857" y="91"/>
                  </a:lnTo>
                  <a:lnTo>
                    <a:pt x="852" y="100"/>
                  </a:lnTo>
                  <a:lnTo>
                    <a:pt x="851" y="107"/>
                  </a:lnTo>
                  <a:lnTo>
                    <a:pt x="851" y="113"/>
                  </a:lnTo>
                  <a:lnTo>
                    <a:pt x="848" y="117"/>
                  </a:lnTo>
                  <a:lnTo>
                    <a:pt x="846" y="122"/>
                  </a:lnTo>
                  <a:lnTo>
                    <a:pt x="842" y="126"/>
                  </a:lnTo>
                  <a:lnTo>
                    <a:pt x="832" y="132"/>
                  </a:lnTo>
                  <a:lnTo>
                    <a:pt x="823" y="136"/>
                  </a:lnTo>
                  <a:lnTo>
                    <a:pt x="820" y="138"/>
                  </a:lnTo>
                  <a:lnTo>
                    <a:pt x="818" y="140"/>
                  </a:lnTo>
                  <a:lnTo>
                    <a:pt x="818" y="142"/>
                  </a:lnTo>
                  <a:lnTo>
                    <a:pt x="819" y="145"/>
                  </a:lnTo>
                  <a:lnTo>
                    <a:pt x="823" y="153"/>
                  </a:lnTo>
                  <a:lnTo>
                    <a:pt x="824" y="160"/>
                  </a:lnTo>
                  <a:lnTo>
                    <a:pt x="823" y="167"/>
                  </a:lnTo>
                  <a:lnTo>
                    <a:pt x="819" y="176"/>
                  </a:lnTo>
                  <a:lnTo>
                    <a:pt x="819" y="180"/>
                  </a:lnTo>
                  <a:lnTo>
                    <a:pt x="819" y="184"/>
                  </a:lnTo>
                  <a:lnTo>
                    <a:pt x="823" y="184"/>
                  </a:lnTo>
                  <a:lnTo>
                    <a:pt x="826" y="181"/>
                  </a:lnTo>
                  <a:lnTo>
                    <a:pt x="829" y="180"/>
                  </a:lnTo>
                  <a:lnTo>
                    <a:pt x="831" y="181"/>
                  </a:lnTo>
                  <a:lnTo>
                    <a:pt x="833" y="181"/>
                  </a:lnTo>
                  <a:lnTo>
                    <a:pt x="834" y="184"/>
                  </a:lnTo>
                  <a:lnTo>
                    <a:pt x="834" y="185"/>
                  </a:lnTo>
                  <a:lnTo>
                    <a:pt x="831" y="190"/>
                  </a:lnTo>
                  <a:lnTo>
                    <a:pt x="831" y="192"/>
                  </a:lnTo>
                  <a:lnTo>
                    <a:pt x="832" y="193"/>
                  </a:lnTo>
                  <a:lnTo>
                    <a:pt x="833" y="196"/>
                  </a:lnTo>
                  <a:lnTo>
                    <a:pt x="834" y="198"/>
                  </a:lnTo>
                  <a:lnTo>
                    <a:pt x="836" y="202"/>
                  </a:lnTo>
                  <a:lnTo>
                    <a:pt x="838" y="205"/>
                  </a:lnTo>
                  <a:lnTo>
                    <a:pt x="839" y="205"/>
                  </a:lnTo>
                  <a:lnTo>
                    <a:pt x="843" y="204"/>
                  </a:lnTo>
                  <a:lnTo>
                    <a:pt x="848" y="203"/>
                  </a:lnTo>
                  <a:lnTo>
                    <a:pt x="851" y="205"/>
                  </a:lnTo>
                  <a:lnTo>
                    <a:pt x="851" y="206"/>
                  </a:lnTo>
                  <a:lnTo>
                    <a:pt x="848" y="217"/>
                  </a:lnTo>
                  <a:lnTo>
                    <a:pt x="846" y="221"/>
                  </a:lnTo>
                  <a:lnTo>
                    <a:pt x="845" y="222"/>
                  </a:lnTo>
                  <a:lnTo>
                    <a:pt x="843" y="222"/>
                  </a:lnTo>
                  <a:lnTo>
                    <a:pt x="837" y="221"/>
                  </a:lnTo>
                  <a:lnTo>
                    <a:pt x="832" y="218"/>
                  </a:lnTo>
                  <a:lnTo>
                    <a:pt x="820" y="212"/>
                  </a:lnTo>
                  <a:lnTo>
                    <a:pt x="815" y="209"/>
                  </a:lnTo>
                  <a:lnTo>
                    <a:pt x="809" y="205"/>
                  </a:lnTo>
                  <a:lnTo>
                    <a:pt x="804" y="203"/>
                  </a:lnTo>
                  <a:lnTo>
                    <a:pt x="800" y="202"/>
                  </a:lnTo>
                  <a:lnTo>
                    <a:pt x="796" y="202"/>
                  </a:lnTo>
                  <a:lnTo>
                    <a:pt x="793" y="203"/>
                  </a:lnTo>
                  <a:lnTo>
                    <a:pt x="791" y="203"/>
                  </a:lnTo>
                  <a:lnTo>
                    <a:pt x="789" y="203"/>
                  </a:lnTo>
                  <a:lnTo>
                    <a:pt x="775" y="190"/>
                  </a:lnTo>
                  <a:lnTo>
                    <a:pt x="767" y="184"/>
                  </a:lnTo>
                  <a:lnTo>
                    <a:pt x="759" y="180"/>
                  </a:lnTo>
                  <a:lnTo>
                    <a:pt x="751" y="178"/>
                  </a:lnTo>
                  <a:lnTo>
                    <a:pt x="742" y="178"/>
                  </a:lnTo>
                  <a:lnTo>
                    <a:pt x="733" y="179"/>
                  </a:lnTo>
                  <a:lnTo>
                    <a:pt x="724" y="181"/>
                  </a:lnTo>
                  <a:lnTo>
                    <a:pt x="721" y="181"/>
                  </a:lnTo>
                  <a:lnTo>
                    <a:pt x="720" y="179"/>
                  </a:lnTo>
                  <a:lnTo>
                    <a:pt x="716" y="173"/>
                  </a:lnTo>
                  <a:lnTo>
                    <a:pt x="714" y="173"/>
                  </a:lnTo>
                  <a:lnTo>
                    <a:pt x="713" y="174"/>
                  </a:lnTo>
                  <a:lnTo>
                    <a:pt x="711" y="178"/>
                  </a:lnTo>
                  <a:lnTo>
                    <a:pt x="709" y="179"/>
                  </a:lnTo>
                  <a:lnTo>
                    <a:pt x="705" y="179"/>
                  </a:lnTo>
                  <a:lnTo>
                    <a:pt x="702" y="180"/>
                  </a:lnTo>
                  <a:lnTo>
                    <a:pt x="701" y="183"/>
                  </a:lnTo>
                  <a:lnTo>
                    <a:pt x="702" y="184"/>
                  </a:lnTo>
                  <a:lnTo>
                    <a:pt x="707" y="189"/>
                  </a:lnTo>
                  <a:lnTo>
                    <a:pt x="713" y="193"/>
                  </a:lnTo>
                  <a:lnTo>
                    <a:pt x="715" y="197"/>
                  </a:lnTo>
                  <a:lnTo>
                    <a:pt x="716" y="199"/>
                  </a:lnTo>
                  <a:lnTo>
                    <a:pt x="716" y="203"/>
                  </a:lnTo>
                  <a:lnTo>
                    <a:pt x="714" y="205"/>
                  </a:lnTo>
                  <a:lnTo>
                    <a:pt x="711" y="208"/>
                  </a:lnTo>
                  <a:lnTo>
                    <a:pt x="707" y="208"/>
                  </a:lnTo>
                  <a:lnTo>
                    <a:pt x="700" y="208"/>
                  </a:lnTo>
                  <a:lnTo>
                    <a:pt x="699" y="209"/>
                  </a:lnTo>
                  <a:lnTo>
                    <a:pt x="697" y="210"/>
                  </a:lnTo>
                  <a:lnTo>
                    <a:pt x="696" y="212"/>
                  </a:lnTo>
                  <a:lnTo>
                    <a:pt x="697" y="217"/>
                  </a:lnTo>
                  <a:lnTo>
                    <a:pt x="696" y="218"/>
                  </a:lnTo>
                  <a:lnTo>
                    <a:pt x="695" y="219"/>
                  </a:lnTo>
                  <a:lnTo>
                    <a:pt x="693" y="221"/>
                  </a:lnTo>
                  <a:lnTo>
                    <a:pt x="691" y="219"/>
                  </a:lnTo>
                  <a:lnTo>
                    <a:pt x="688" y="218"/>
                  </a:lnTo>
                  <a:lnTo>
                    <a:pt x="686" y="217"/>
                  </a:lnTo>
                  <a:lnTo>
                    <a:pt x="685" y="213"/>
                  </a:lnTo>
                  <a:lnTo>
                    <a:pt x="685" y="210"/>
                  </a:lnTo>
                  <a:lnTo>
                    <a:pt x="685" y="206"/>
                  </a:lnTo>
                  <a:lnTo>
                    <a:pt x="683" y="203"/>
                  </a:lnTo>
                  <a:lnTo>
                    <a:pt x="682" y="203"/>
                  </a:lnTo>
                  <a:lnTo>
                    <a:pt x="681" y="204"/>
                  </a:lnTo>
                  <a:lnTo>
                    <a:pt x="679" y="206"/>
                  </a:lnTo>
                  <a:lnTo>
                    <a:pt x="676" y="208"/>
                  </a:lnTo>
                  <a:lnTo>
                    <a:pt x="671" y="208"/>
                  </a:lnTo>
                  <a:lnTo>
                    <a:pt x="667" y="208"/>
                  </a:lnTo>
                  <a:lnTo>
                    <a:pt x="662" y="208"/>
                  </a:lnTo>
                  <a:lnTo>
                    <a:pt x="659" y="209"/>
                  </a:lnTo>
                  <a:lnTo>
                    <a:pt x="657" y="211"/>
                  </a:lnTo>
                  <a:lnTo>
                    <a:pt x="653" y="215"/>
                  </a:lnTo>
                  <a:lnTo>
                    <a:pt x="652" y="215"/>
                  </a:lnTo>
                  <a:lnTo>
                    <a:pt x="649" y="215"/>
                  </a:lnTo>
                  <a:lnTo>
                    <a:pt x="640" y="212"/>
                  </a:lnTo>
                  <a:lnTo>
                    <a:pt x="631" y="210"/>
                  </a:lnTo>
                  <a:lnTo>
                    <a:pt x="626" y="210"/>
                  </a:lnTo>
                  <a:lnTo>
                    <a:pt x="622" y="211"/>
                  </a:lnTo>
                  <a:lnTo>
                    <a:pt x="619" y="212"/>
                  </a:lnTo>
                  <a:lnTo>
                    <a:pt x="615" y="216"/>
                  </a:lnTo>
                  <a:lnTo>
                    <a:pt x="611" y="224"/>
                  </a:lnTo>
                  <a:lnTo>
                    <a:pt x="610" y="226"/>
                  </a:lnTo>
                  <a:lnTo>
                    <a:pt x="607" y="228"/>
                  </a:lnTo>
                  <a:lnTo>
                    <a:pt x="606" y="226"/>
                  </a:lnTo>
                  <a:lnTo>
                    <a:pt x="599" y="224"/>
                  </a:lnTo>
                  <a:lnTo>
                    <a:pt x="596" y="222"/>
                  </a:lnTo>
                  <a:lnTo>
                    <a:pt x="592" y="223"/>
                  </a:lnTo>
                  <a:lnTo>
                    <a:pt x="592" y="212"/>
                  </a:lnTo>
                  <a:lnTo>
                    <a:pt x="593" y="209"/>
                  </a:lnTo>
                  <a:lnTo>
                    <a:pt x="597" y="205"/>
                  </a:lnTo>
                  <a:lnTo>
                    <a:pt x="597" y="204"/>
                  </a:lnTo>
                  <a:lnTo>
                    <a:pt x="597" y="203"/>
                  </a:lnTo>
                  <a:lnTo>
                    <a:pt x="597" y="202"/>
                  </a:lnTo>
                  <a:lnTo>
                    <a:pt x="596" y="200"/>
                  </a:lnTo>
                  <a:lnTo>
                    <a:pt x="592" y="200"/>
                  </a:lnTo>
                  <a:lnTo>
                    <a:pt x="589" y="202"/>
                  </a:lnTo>
                  <a:lnTo>
                    <a:pt x="583" y="204"/>
                  </a:lnTo>
                  <a:lnTo>
                    <a:pt x="578" y="206"/>
                  </a:lnTo>
                  <a:lnTo>
                    <a:pt x="575" y="210"/>
                  </a:lnTo>
                  <a:lnTo>
                    <a:pt x="572" y="221"/>
                  </a:lnTo>
                  <a:lnTo>
                    <a:pt x="570" y="221"/>
                  </a:lnTo>
                  <a:lnTo>
                    <a:pt x="569" y="221"/>
                  </a:lnTo>
                  <a:lnTo>
                    <a:pt x="566" y="219"/>
                  </a:lnTo>
                  <a:lnTo>
                    <a:pt x="561" y="215"/>
                  </a:lnTo>
                  <a:lnTo>
                    <a:pt x="558" y="212"/>
                  </a:lnTo>
                  <a:lnTo>
                    <a:pt x="554" y="212"/>
                  </a:lnTo>
                  <a:lnTo>
                    <a:pt x="546" y="216"/>
                  </a:lnTo>
                  <a:lnTo>
                    <a:pt x="540" y="219"/>
                  </a:lnTo>
                  <a:lnTo>
                    <a:pt x="519" y="231"/>
                  </a:lnTo>
                  <a:lnTo>
                    <a:pt x="509" y="237"/>
                  </a:lnTo>
                  <a:lnTo>
                    <a:pt x="500" y="243"/>
                  </a:lnTo>
                  <a:lnTo>
                    <a:pt x="499" y="245"/>
                  </a:lnTo>
                  <a:lnTo>
                    <a:pt x="498" y="249"/>
                  </a:lnTo>
                  <a:lnTo>
                    <a:pt x="498" y="256"/>
                  </a:lnTo>
                  <a:lnTo>
                    <a:pt x="497" y="260"/>
                  </a:lnTo>
                  <a:lnTo>
                    <a:pt x="495" y="262"/>
                  </a:lnTo>
                  <a:lnTo>
                    <a:pt x="494" y="263"/>
                  </a:lnTo>
                  <a:lnTo>
                    <a:pt x="490" y="262"/>
                  </a:lnTo>
                  <a:lnTo>
                    <a:pt x="485" y="261"/>
                  </a:lnTo>
                  <a:lnTo>
                    <a:pt x="480" y="262"/>
                  </a:lnTo>
                  <a:lnTo>
                    <a:pt x="475" y="263"/>
                  </a:lnTo>
                  <a:lnTo>
                    <a:pt x="471" y="263"/>
                  </a:lnTo>
                  <a:lnTo>
                    <a:pt x="469" y="263"/>
                  </a:lnTo>
                  <a:lnTo>
                    <a:pt x="466" y="262"/>
                  </a:lnTo>
                  <a:lnTo>
                    <a:pt x="464" y="259"/>
                  </a:lnTo>
                  <a:lnTo>
                    <a:pt x="461" y="255"/>
                  </a:lnTo>
                  <a:lnTo>
                    <a:pt x="459" y="251"/>
                  </a:lnTo>
                  <a:lnTo>
                    <a:pt x="451" y="248"/>
                  </a:lnTo>
                  <a:lnTo>
                    <a:pt x="447" y="245"/>
                  </a:lnTo>
                  <a:lnTo>
                    <a:pt x="446" y="242"/>
                  </a:lnTo>
                  <a:lnTo>
                    <a:pt x="447" y="240"/>
                  </a:lnTo>
                  <a:lnTo>
                    <a:pt x="452" y="238"/>
                  </a:lnTo>
                  <a:lnTo>
                    <a:pt x="459" y="237"/>
                  </a:lnTo>
                  <a:lnTo>
                    <a:pt x="462" y="236"/>
                  </a:lnTo>
                  <a:lnTo>
                    <a:pt x="465" y="235"/>
                  </a:lnTo>
                  <a:lnTo>
                    <a:pt x="466" y="232"/>
                  </a:lnTo>
                  <a:lnTo>
                    <a:pt x="466" y="229"/>
                  </a:lnTo>
                  <a:lnTo>
                    <a:pt x="466" y="225"/>
                  </a:lnTo>
                  <a:lnTo>
                    <a:pt x="464" y="223"/>
                  </a:lnTo>
                  <a:lnTo>
                    <a:pt x="461" y="222"/>
                  </a:lnTo>
                  <a:lnTo>
                    <a:pt x="455" y="218"/>
                  </a:lnTo>
                  <a:lnTo>
                    <a:pt x="447" y="216"/>
                  </a:lnTo>
                  <a:lnTo>
                    <a:pt x="443" y="216"/>
                  </a:lnTo>
                  <a:lnTo>
                    <a:pt x="441" y="216"/>
                  </a:lnTo>
                  <a:lnTo>
                    <a:pt x="437" y="218"/>
                  </a:lnTo>
                  <a:lnTo>
                    <a:pt x="434" y="218"/>
                  </a:lnTo>
                  <a:lnTo>
                    <a:pt x="431" y="217"/>
                  </a:lnTo>
                  <a:lnTo>
                    <a:pt x="427" y="213"/>
                  </a:lnTo>
                  <a:lnTo>
                    <a:pt x="426" y="212"/>
                  </a:lnTo>
                  <a:lnTo>
                    <a:pt x="422" y="212"/>
                  </a:lnTo>
                  <a:lnTo>
                    <a:pt x="420" y="215"/>
                  </a:lnTo>
                  <a:lnTo>
                    <a:pt x="419" y="217"/>
                  </a:lnTo>
                  <a:lnTo>
                    <a:pt x="420" y="219"/>
                  </a:lnTo>
                  <a:lnTo>
                    <a:pt x="422" y="221"/>
                  </a:lnTo>
                  <a:lnTo>
                    <a:pt x="426" y="223"/>
                  </a:lnTo>
                  <a:lnTo>
                    <a:pt x="429" y="226"/>
                  </a:lnTo>
                  <a:lnTo>
                    <a:pt x="432" y="230"/>
                  </a:lnTo>
                  <a:lnTo>
                    <a:pt x="432" y="235"/>
                  </a:lnTo>
                  <a:lnTo>
                    <a:pt x="429" y="238"/>
                  </a:lnTo>
                  <a:lnTo>
                    <a:pt x="427" y="242"/>
                  </a:lnTo>
                  <a:lnTo>
                    <a:pt x="419" y="250"/>
                  </a:lnTo>
                  <a:lnTo>
                    <a:pt x="419" y="253"/>
                  </a:lnTo>
                  <a:lnTo>
                    <a:pt x="418" y="255"/>
                  </a:lnTo>
                  <a:lnTo>
                    <a:pt x="419" y="257"/>
                  </a:lnTo>
                  <a:lnTo>
                    <a:pt x="419" y="259"/>
                  </a:lnTo>
                  <a:lnTo>
                    <a:pt x="420" y="257"/>
                  </a:lnTo>
                  <a:lnTo>
                    <a:pt x="427" y="255"/>
                  </a:lnTo>
                  <a:lnTo>
                    <a:pt x="431" y="255"/>
                  </a:lnTo>
                  <a:lnTo>
                    <a:pt x="433" y="256"/>
                  </a:lnTo>
                  <a:lnTo>
                    <a:pt x="434" y="259"/>
                  </a:lnTo>
                  <a:lnTo>
                    <a:pt x="436" y="261"/>
                  </a:lnTo>
                  <a:lnTo>
                    <a:pt x="436" y="264"/>
                  </a:lnTo>
                  <a:lnTo>
                    <a:pt x="436" y="267"/>
                  </a:lnTo>
                  <a:lnTo>
                    <a:pt x="434" y="269"/>
                  </a:lnTo>
                  <a:lnTo>
                    <a:pt x="434" y="272"/>
                  </a:lnTo>
                  <a:lnTo>
                    <a:pt x="433" y="275"/>
                  </a:lnTo>
                  <a:lnTo>
                    <a:pt x="433" y="276"/>
                  </a:lnTo>
                  <a:lnTo>
                    <a:pt x="431" y="277"/>
                  </a:lnTo>
                  <a:lnTo>
                    <a:pt x="428" y="277"/>
                  </a:lnTo>
                  <a:lnTo>
                    <a:pt x="426" y="277"/>
                  </a:lnTo>
                  <a:lnTo>
                    <a:pt x="422" y="279"/>
                  </a:lnTo>
                  <a:lnTo>
                    <a:pt x="422" y="275"/>
                  </a:lnTo>
                  <a:lnTo>
                    <a:pt x="419" y="272"/>
                  </a:lnTo>
                  <a:lnTo>
                    <a:pt x="417" y="270"/>
                  </a:lnTo>
                  <a:lnTo>
                    <a:pt x="413" y="269"/>
                  </a:lnTo>
                  <a:lnTo>
                    <a:pt x="405" y="269"/>
                  </a:lnTo>
                  <a:lnTo>
                    <a:pt x="399" y="270"/>
                  </a:lnTo>
                  <a:lnTo>
                    <a:pt x="396" y="273"/>
                  </a:lnTo>
                  <a:lnTo>
                    <a:pt x="393" y="275"/>
                  </a:lnTo>
                  <a:lnTo>
                    <a:pt x="389" y="279"/>
                  </a:lnTo>
                  <a:lnTo>
                    <a:pt x="384" y="280"/>
                  </a:lnTo>
                  <a:lnTo>
                    <a:pt x="382" y="282"/>
                  </a:lnTo>
                  <a:lnTo>
                    <a:pt x="380" y="286"/>
                  </a:lnTo>
                  <a:lnTo>
                    <a:pt x="379" y="288"/>
                  </a:lnTo>
                  <a:lnTo>
                    <a:pt x="377" y="288"/>
                  </a:lnTo>
                  <a:lnTo>
                    <a:pt x="376" y="288"/>
                  </a:lnTo>
                  <a:lnTo>
                    <a:pt x="370" y="287"/>
                  </a:lnTo>
                  <a:lnTo>
                    <a:pt x="367" y="288"/>
                  </a:lnTo>
                  <a:lnTo>
                    <a:pt x="363" y="289"/>
                  </a:lnTo>
                  <a:lnTo>
                    <a:pt x="358" y="295"/>
                  </a:lnTo>
                  <a:lnTo>
                    <a:pt x="354" y="299"/>
                  </a:lnTo>
                  <a:lnTo>
                    <a:pt x="353" y="304"/>
                  </a:lnTo>
                  <a:lnTo>
                    <a:pt x="353" y="308"/>
                  </a:lnTo>
                  <a:lnTo>
                    <a:pt x="356" y="312"/>
                  </a:lnTo>
                  <a:lnTo>
                    <a:pt x="359" y="314"/>
                  </a:lnTo>
                  <a:lnTo>
                    <a:pt x="365" y="317"/>
                  </a:lnTo>
                  <a:lnTo>
                    <a:pt x="370" y="319"/>
                  </a:lnTo>
                  <a:lnTo>
                    <a:pt x="373" y="323"/>
                  </a:lnTo>
                  <a:lnTo>
                    <a:pt x="375" y="326"/>
                  </a:lnTo>
                  <a:lnTo>
                    <a:pt x="375" y="327"/>
                  </a:lnTo>
                  <a:lnTo>
                    <a:pt x="373" y="328"/>
                  </a:lnTo>
                  <a:lnTo>
                    <a:pt x="365" y="326"/>
                  </a:lnTo>
                  <a:lnTo>
                    <a:pt x="357" y="324"/>
                  </a:lnTo>
                  <a:lnTo>
                    <a:pt x="349" y="321"/>
                  </a:lnTo>
                  <a:lnTo>
                    <a:pt x="344" y="320"/>
                  </a:lnTo>
                  <a:lnTo>
                    <a:pt x="339" y="320"/>
                  </a:lnTo>
                  <a:lnTo>
                    <a:pt x="335" y="320"/>
                  </a:lnTo>
                  <a:lnTo>
                    <a:pt x="330" y="318"/>
                  </a:lnTo>
                  <a:lnTo>
                    <a:pt x="321" y="314"/>
                  </a:lnTo>
                  <a:lnTo>
                    <a:pt x="313" y="311"/>
                  </a:lnTo>
                  <a:lnTo>
                    <a:pt x="309" y="307"/>
                  </a:lnTo>
                  <a:lnTo>
                    <a:pt x="306" y="305"/>
                  </a:lnTo>
                  <a:lnTo>
                    <a:pt x="305" y="304"/>
                  </a:lnTo>
                  <a:lnTo>
                    <a:pt x="304" y="304"/>
                  </a:lnTo>
                  <a:lnTo>
                    <a:pt x="300" y="305"/>
                  </a:lnTo>
                  <a:lnTo>
                    <a:pt x="297" y="307"/>
                  </a:lnTo>
                  <a:lnTo>
                    <a:pt x="295" y="314"/>
                  </a:lnTo>
                  <a:lnTo>
                    <a:pt x="293" y="314"/>
                  </a:lnTo>
                  <a:lnTo>
                    <a:pt x="291" y="315"/>
                  </a:lnTo>
                  <a:lnTo>
                    <a:pt x="291" y="317"/>
                  </a:lnTo>
                  <a:lnTo>
                    <a:pt x="291" y="319"/>
                  </a:lnTo>
                  <a:lnTo>
                    <a:pt x="295" y="321"/>
                  </a:lnTo>
                  <a:lnTo>
                    <a:pt x="304" y="327"/>
                  </a:lnTo>
                  <a:lnTo>
                    <a:pt x="309" y="331"/>
                  </a:lnTo>
                  <a:lnTo>
                    <a:pt x="313" y="334"/>
                  </a:lnTo>
                  <a:lnTo>
                    <a:pt x="316" y="338"/>
                  </a:lnTo>
                  <a:lnTo>
                    <a:pt x="316" y="341"/>
                  </a:lnTo>
                  <a:lnTo>
                    <a:pt x="316" y="344"/>
                  </a:lnTo>
                  <a:lnTo>
                    <a:pt x="315" y="346"/>
                  </a:lnTo>
                  <a:lnTo>
                    <a:pt x="313" y="346"/>
                  </a:lnTo>
                  <a:lnTo>
                    <a:pt x="310" y="346"/>
                  </a:lnTo>
                  <a:lnTo>
                    <a:pt x="309" y="345"/>
                  </a:lnTo>
                  <a:lnTo>
                    <a:pt x="301" y="341"/>
                  </a:lnTo>
                  <a:lnTo>
                    <a:pt x="292" y="338"/>
                  </a:lnTo>
                  <a:lnTo>
                    <a:pt x="290" y="337"/>
                  </a:lnTo>
                  <a:lnTo>
                    <a:pt x="288" y="334"/>
                  </a:lnTo>
                  <a:lnTo>
                    <a:pt x="283" y="333"/>
                  </a:lnTo>
                  <a:lnTo>
                    <a:pt x="278" y="333"/>
                  </a:lnTo>
                  <a:lnTo>
                    <a:pt x="273" y="333"/>
                  </a:lnTo>
                  <a:lnTo>
                    <a:pt x="268" y="332"/>
                  </a:lnTo>
                  <a:lnTo>
                    <a:pt x="267" y="331"/>
                  </a:lnTo>
                  <a:lnTo>
                    <a:pt x="266" y="330"/>
                  </a:lnTo>
                  <a:lnTo>
                    <a:pt x="266" y="327"/>
                  </a:lnTo>
                  <a:lnTo>
                    <a:pt x="266" y="326"/>
                  </a:lnTo>
                  <a:lnTo>
                    <a:pt x="264" y="321"/>
                  </a:lnTo>
                  <a:lnTo>
                    <a:pt x="263" y="315"/>
                  </a:lnTo>
                  <a:lnTo>
                    <a:pt x="262" y="309"/>
                  </a:lnTo>
                  <a:lnTo>
                    <a:pt x="263" y="305"/>
                  </a:lnTo>
                  <a:lnTo>
                    <a:pt x="266" y="299"/>
                  </a:lnTo>
                  <a:lnTo>
                    <a:pt x="266" y="294"/>
                  </a:lnTo>
                  <a:lnTo>
                    <a:pt x="266" y="289"/>
                  </a:lnTo>
                  <a:lnTo>
                    <a:pt x="263" y="287"/>
                  </a:lnTo>
                  <a:lnTo>
                    <a:pt x="259" y="285"/>
                  </a:lnTo>
                  <a:lnTo>
                    <a:pt x="250" y="281"/>
                  </a:lnTo>
                  <a:lnTo>
                    <a:pt x="240" y="280"/>
                  </a:lnTo>
                  <a:lnTo>
                    <a:pt x="236" y="279"/>
                  </a:lnTo>
                  <a:lnTo>
                    <a:pt x="234" y="276"/>
                  </a:lnTo>
                  <a:lnTo>
                    <a:pt x="231" y="274"/>
                  </a:lnTo>
                  <a:lnTo>
                    <a:pt x="230" y="272"/>
                  </a:lnTo>
                  <a:lnTo>
                    <a:pt x="227" y="264"/>
                  </a:lnTo>
                  <a:lnTo>
                    <a:pt x="227" y="261"/>
                  </a:lnTo>
                  <a:lnTo>
                    <a:pt x="229" y="257"/>
                  </a:lnTo>
                  <a:lnTo>
                    <a:pt x="230" y="256"/>
                  </a:lnTo>
                  <a:lnTo>
                    <a:pt x="233" y="256"/>
                  </a:lnTo>
                  <a:lnTo>
                    <a:pt x="236" y="260"/>
                  </a:lnTo>
                  <a:lnTo>
                    <a:pt x="239" y="261"/>
                  </a:lnTo>
                  <a:lnTo>
                    <a:pt x="241" y="262"/>
                  </a:lnTo>
                  <a:lnTo>
                    <a:pt x="246" y="262"/>
                  </a:lnTo>
                  <a:lnTo>
                    <a:pt x="250" y="262"/>
                  </a:lnTo>
                  <a:lnTo>
                    <a:pt x="262" y="267"/>
                  </a:lnTo>
                  <a:lnTo>
                    <a:pt x="273" y="272"/>
                  </a:lnTo>
                  <a:lnTo>
                    <a:pt x="278" y="274"/>
                  </a:lnTo>
                  <a:lnTo>
                    <a:pt x="285" y="275"/>
                  </a:lnTo>
                  <a:lnTo>
                    <a:pt x="291" y="275"/>
                  </a:lnTo>
                  <a:lnTo>
                    <a:pt x="297" y="274"/>
                  </a:lnTo>
                  <a:lnTo>
                    <a:pt x="299" y="274"/>
                  </a:lnTo>
                  <a:lnTo>
                    <a:pt x="300" y="274"/>
                  </a:lnTo>
                  <a:lnTo>
                    <a:pt x="302" y="276"/>
                  </a:lnTo>
                  <a:lnTo>
                    <a:pt x="305" y="280"/>
                  </a:lnTo>
                  <a:lnTo>
                    <a:pt x="306" y="282"/>
                  </a:lnTo>
                  <a:lnTo>
                    <a:pt x="311" y="285"/>
                  </a:lnTo>
                  <a:lnTo>
                    <a:pt x="316" y="286"/>
                  </a:lnTo>
                  <a:lnTo>
                    <a:pt x="342" y="286"/>
                  </a:lnTo>
                  <a:lnTo>
                    <a:pt x="346" y="285"/>
                  </a:lnTo>
                  <a:lnTo>
                    <a:pt x="351" y="282"/>
                  </a:lnTo>
                  <a:lnTo>
                    <a:pt x="361" y="276"/>
                  </a:lnTo>
                  <a:lnTo>
                    <a:pt x="361" y="275"/>
                  </a:lnTo>
                  <a:lnTo>
                    <a:pt x="362" y="273"/>
                  </a:lnTo>
                  <a:lnTo>
                    <a:pt x="373" y="263"/>
                  </a:lnTo>
                  <a:lnTo>
                    <a:pt x="377" y="260"/>
                  </a:lnTo>
                  <a:lnTo>
                    <a:pt x="379" y="255"/>
                  </a:lnTo>
                  <a:lnTo>
                    <a:pt x="379" y="254"/>
                  </a:lnTo>
                  <a:lnTo>
                    <a:pt x="377" y="253"/>
                  </a:lnTo>
                  <a:lnTo>
                    <a:pt x="375" y="251"/>
                  </a:lnTo>
                  <a:lnTo>
                    <a:pt x="372" y="250"/>
                  </a:lnTo>
                  <a:lnTo>
                    <a:pt x="371" y="249"/>
                  </a:lnTo>
                  <a:lnTo>
                    <a:pt x="372" y="244"/>
                  </a:lnTo>
                  <a:lnTo>
                    <a:pt x="372" y="241"/>
                  </a:lnTo>
                  <a:lnTo>
                    <a:pt x="371" y="236"/>
                  </a:lnTo>
                  <a:lnTo>
                    <a:pt x="362" y="234"/>
                  </a:lnTo>
                  <a:lnTo>
                    <a:pt x="353" y="229"/>
                  </a:lnTo>
                  <a:lnTo>
                    <a:pt x="352" y="229"/>
                  </a:lnTo>
                  <a:lnTo>
                    <a:pt x="351" y="230"/>
                  </a:lnTo>
                  <a:lnTo>
                    <a:pt x="348" y="230"/>
                  </a:lnTo>
                  <a:lnTo>
                    <a:pt x="347" y="230"/>
                  </a:lnTo>
                  <a:lnTo>
                    <a:pt x="344" y="228"/>
                  </a:lnTo>
                  <a:lnTo>
                    <a:pt x="343" y="225"/>
                  </a:lnTo>
                  <a:lnTo>
                    <a:pt x="340" y="222"/>
                  </a:lnTo>
                  <a:lnTo>
                    <a:pt x="339" y="221"/>
                  </a:lnTo>
                  <a:lnTo>
                    <a:pt x="337" y="221"/>
                  </a:lnTo>
                  <a:lnTo>
                    <a:pt x="333" y="221"/>
                  </a:lnTo>
                  <a:lnTo>
                    <a:pt x="329" y="219"/>
                  </a:lnTo>
                  <a:lnTo>
                    <a:pt x="325" y="217"/>
                  </a:lnTo>
                  <a:lnTo>
                    <a:pt x="321" y="213"/>
                  </a:lnTo>
                  <a:lnTo>
                    <a:pt x="318" y="211"/>
                  </a:lnTo>
                  <a:lnTo>
                    <a:pt x="305" y="206"/>
                  </a:lnTo>
                  <a:lnTo>
                    <a:pt x="299" y="205"/>
                  </a:lnTo>
                  <a:lnTo>
                    <a:pt x="292" y="203"/>
                  </a:lnTo>
                  <a:lnTo>
                    <a:pt x="287" y="204"/>
                  </a:lnTo>
                  <a:lnTo>
                    <a:pt x="285" y="204"/>
                  </a:lnTo>
                  <a:lnTo>
                    <a:pt x="281" y="204"/>
                  </a:lnTo>
                  <a:lnTo>
                    <a:pt x="279" y="203"/>
                  </a:lnTo>
                  <a:lnTo>
                    <a:pt x="278" y="202"/>
                  </a:lnTo>
                  <a:lnTo>
                    <a:pt x="276" y="197"/>
                  </a:lnTo>
                  <a:lnTo>
                    <a:pt x="274" y="197"/>
                  </a:lnTo>
                  <a:lnTo>
                    <a:pt x="273" y="197"/>
                  </a:lnTo>
                  <a:lnTo>
                    <a:pt x="269" y="198"/>
                  </a:lnTo>
                  <a:lnTo>
                    <a:pt x="267" y="198"/>
                  </a:lnTo>
                  <a:lnTo>
                    <a:pt x="266" y="197"/>
                  </a:lnTo>
                  <a:lnTo>
                    <a:pt x="264" y="194"/>
                  </a:lnTo>
                  <a:lnTo>
                    <a:pt x="262" y="192"/>
                  </a:lnTo>
                  <a:lnTo>
                    <a:pt x="257" y="191"/>
                  </a:lnTo>
                  <a:lnTo>
                    <a:pt x="250" y="191"/>
                  </a:lnTo>
                  <a:lnTo>
                    <a:pt x="245" y="193"/>
                  </a:lnTo>
                  <a:lnTo>
                    <a:pt x="243" y="196"/>
                  </a:lnTo>
                  <a:lnTo>
                    <a:pt x="241" y="199"/>
                  </a:lnTo>
                  <a:lnTo>
                    <a:pt x="240" y="202"/>
                  </a:lnTo>
                  <a:lnTo>
                    <a:pt x="239" y="203"/>
                  </a:lnTo>
                  <a:lnTo>
                    <a:pt x="236" y="203"/>
                  </a:lnTo>
                  <a:lnTo>
                    <a:pt x="236" y="200"/>
                  </a:lnTo>
                  <a:lnTo>
                    <a:pt x="235" y="197"/>
                  </a:lnTo>
                  <a:lnTo>
                    <a:pt x="234" y="192"/>
                  </a:lnTo>
                  <a:lnTo>
                    <a:pt x="233" y="187"/>
                  </a:lnTo>
                  <a:lnTo>
                    <a:pt x="230" y="186"/>
                  </a:lnTo>
                  <a:lnTo>
                    <a:pt x="229" y="187"/>
                  </a:lnTo>
                  <a:lnTo>
                    <a:pt x="226" y="189"/>
                  </a:lnTo>
                  <a:lnTo>
                    <a:pt x="225" y="189"/>
                  </a:lnTo>
                  <a:lnTo>
                    <a:pt x="221" y="186"/>
                  </a:lnTo>
                  <a:lnTo>
                    <a:pt x="221" y="185"/>
                  </a:lnTo>
                  <a:lnTo>
                    <a:pt x="221" y="184"/>
                  </a:lnTo>
                  <a:lnTo>
                    <a:pt x="222" y="183"/>
                  </a:lnTo>
                  <a:lnTo>
                    <a:pt x="225" y="181"/>
                  </a:lnTo>
                  <a:lnTo>
                    <a:pt x="227" y="181"/>
                  </a:lnTo>
                  <a:lnTo>
                    <a:pt x="229" y="179"/>
                  </a:lnTo>
                  <a:lnTo>
                    <a:pt x="227" y="178"/>
                  </a:lnTo>
                  <a:lnTo>
                    <a:pt x="221" y="174"/>
                  </a:lnTo>
                  <a:lnTo>
                    <a:pt x="216" y="172"/>
                  </a:lnTo>
                  <a:lnTo>
                    <a:pt x="213" y="171"/>
                  </a:lnTo>
                  <a:lnTo>
                    <a:pt x="212" y="171"/>
                  </a:lnTo>
                  <a:lnTo>
                    <a:pt x="211" y="174"/>
                  </a:lnTo>
                  <a:lnTo>
                    <a:pt x="211" y="178"/>
                  </a:lnTo>
                  <a:lnTo>
                    <a:pt x="211" y="179"/>
                  </a:lnTo>
                  <a:lnTo>
                    <a:pt x="210" y="180"/>
                  </a:lnTo>
                  <a:lnTo>
                    <a:pt x="206" y="181"/>
                  </a:lnTo>
                  <a:lnTo>
                    <a:pt x="202" y="183"/>
                  </a:lnTo>
                  <a:lnTo>
                    <a:pt x="193" y="183"/>
                  </a:lnTo>
                  <a:lnTo>
                    <a:pt x="191" y="186"/>
                  </a:lnTo>
                  <a:lnTo>
                    <a:pt x="188" y="189"/>
                  </a:lnTo>
                  <a:lnTo>
                    <a:pt x="184" y="189"/>
                  </a:lnTo>
                  <a:lnTo>
                    <a:pt x="180" y="191"/>
                  </a:lnTo>
                  <a:lnTo>
                    <a:pt x="177" y="192"/>
                  </a:lnTo>
                  <a:lnTo>
                    <a:pt x="168" y="191"/>
                  </a:lnTo>
                  <a:lnTo>
                    <a:pt x="169" y="194"/>
                  </a:lnTo>
                  <a:lnTo>
                    <a:pt x="170" y="202"/>
                  </a:lnTo>
                  <a:lnTo>
                    <a:pt x="172" y="210"/>
                  </a:lnTo>
                  <a:lnTo>
                    <a:pt x="175" y="219"/>
                  </a:lnTo>
                  <a:lnTo>
                    <a:pt x="175" y="223"/>
                  </a:lnTo>
                  <a:lnTo>
                    <a:pt x="175" y="226"/>
                  </a:lnTo>
                  <a:lnTo>
                    <a:pt x="172" y="232"/>
                  </a:lnTo>
                  <a:lnTo>
                    <a:pt x="168" y="242"/>
                  </a:lnTo>
                  <a:lnTo>
                    <a:pt x="166" y="250"/>
                  </a:lnTo>
                  <a:lnTo>
                    <a:pt x="166" y="257"/>
                  </a:lnTo>
                  <a:lnTo>
                    <a:pt x="168" y="263"/>
                  </a:lnTo>
                  <a:lnTo>
                    <a:pt x="173" y="273"/>
                  </a:lnTo>
                  <a:lnTo>
                    <a:pt x="177" y="283"/>
                  </a:lnTo>
                  <a:lnTo>
                    <a:pt x="178" y="288"/>
                  </a:lnTo>
                  <a:lnTo>
                    <a:pt x="177" y="293"/>
                  </a:lnTo>
                  <a:lnTo>
                    <a:pt x="174" y="299"/>
                  </a:lnTo>
                  <a:lnTo>
                    <a:pt x="174" y="304"/>
                  </a:lnTo>
                  <a:lnTo>
                    <a:pt x="175" y="309"/>
                  </a:lnTo>
                  <a:lnTo>
                    <a:pt x="177" y="312"/>
                  </a:lnTo>
                  <a:lnTo>
                    <a:pt x="178" y="313"/>
                  </a:lnTo>
                  <a:lnTo>
                    <a:pt x="178" y="315"/>
                  </a:lnTo>
                  <a:lnTo>
                    <a:pt x="179" y="315"/>
                  </a:lnTo>
                  <a:lnTo>
                    <a:pt x="180" y="317"/>
                  </a:lnTo>
                  <a:lnTo>
                    <a:pt x="182" y="318"/>
                  </a:lnTo>
                  <a:lnTo>
                    <a:pt x="183" y="318"/>
                  </a:lnTo>
                  <a:lnTo>
                    <a:pt x="186" y="318"/>
                  </a:lnTo>
                  <a:lnTo>
                    <a:pt x="186" y="321"/>
                  </a:lnTo>
                  <a:lnTo>
                    <a:pt x="184" y="325"/>
                  </a:lnTo>
                  <a:lnTo>
                    <a:pt x="183" y="328"/>
                  </a:lnTo>
                  <a:lnTo>
                    <a:pt x="183" y="331"/>
                  </a:lnTo>
                  <a:lnTo>
                    <a:pt x="187" y="336"/>
                  </a:lnTo>
                  <a:lnTo>
                    <a:pt x="187" y="340"/>
                  </a:lnTo>
                  <a:lnTo>
                    <a:pt x="184" y="345"/>
                  </a:lnTo>
                  <a:lnTo>
                    <a:pt x="180" y="351"/>
                  </a:lnTo>
                  <a:lnTo>
                    <a:pt x="179" y="352"/>
                  </a:lnTo>
                  <a:lnTo>
                    <a:pt x="180" y="355"/>
                  </a:lnTo>
                  <a:lnTo>
                    <a:pt x="182" y="359"/>
                  </a:lnTo>
                  <a:lnTo>
                    <a:pt x="184" y="360"/>
                  </a:lnTo>
                  <a:lnTo>
                    <a:pt x="187" y="362"/>
                  </a:lnTo>
                  <a:lnTo>
                    <a:pt x="189" y="362"/>
                  </a:lnTo>
                  <a:lnTo>
                    <a:pt x="189" y="364"/>
                  </a:lnTo>
                  <a:lnTo>
                    <a:pt x="189" y="371"/>
                  </a:lnTo>
                  <a:lnTo>
                    <a:pt x="191" y="377"/>
                  </a:lnTo>
                  <a:lnTo>
                    <a:pt x="192" y="382"/>
                  </a:lnTo>
                  <a:lnTo>
                    <a:pt x="192" y="387"/>
                  </a:lnTo>
                  <a:lnTo>
                    <a:pt x="191" y="390"/>
                  </a:lnTo>
                  <a:lnTo>
                    <a:pt x="187" y="395"/>
                  </a:lnTo>
                  <a:lnTo>
                    <a:pt x="174" y="408"/>
                  </a:lnTo>
                  <a:lnTo>
                    <a:pt x="150" y="432"/>
                  </a:lnTo>
                  <a:lnTo>
                    <a:pt x="160" y="434"/>
                  </a:lnTo>
                  <a:lnTo>
                    <a:pt x="168" y="438"/>
                  </a:lnTo>
                  <a:lnTo>
                    <a:pt x="177" y="441"/>
                  </a:lnTo>
                  <a:lnTo>
                    <a:pt x="184" y="446"/>
                  </a:lnTo>
                  <a:lnTo>
                    <a:pt x="180" y="449"/>
                  </a:lnTo>
                  <a:lnTo>
                    <a:pt x="175" y="453"/>
                  </a:lnTo>
                  <a:lnTo>
                    <a:pt x="172" y="454"/>
                  </a:lnTo>
                  <a:lnTo>
                    <a:pt x="166" y="455"/>
                  </a:lnTo>
                  <a:lnTo>
                    <a:pt x="158" y="455"/>
                  </a:lnTo>
                  <a:lnTo>
                    <a:pt x="149" y="456"/>
                  </a:lnTo>
                  <a:lnTo>
                    <a:pt x="147" y="455"/>
                  </a:lnTo>
                  <a:lnTo>
                    <a:pt x="146" y="454"/>
                  </a:lnTo>
                  <a:lnTo>
                    <a:pt x="145" y="453"/>
                  </a:lnTo>
                  <a:lnTo>
                    <a:pt x="144" y="454"/>
                  </a:lnTo>
                  <a:lnTo>
                    <a:pt x="141" y="455"/>
                  </a:lnTo>
                  <a:lnTo>
                    <a:pt x="139" y="458"/>
                  </a:lnTo>
                  <a:lnTo>
                    <a:pt x="136" y="464"/>
                  </a:lnTo>
                  <a:lnTo>
                    <a:pt x="135" y="464"/>
                  </a:lnTo>
                  <a:lnTo>
                    <a:pt x="132" y="464"/>
                  </a:lnTo>
                  <a:lnTo>
                    <a:pt x="126" y="461"/>
                  </a:lnTo>
                  <a:lnTo>
                    <a:pt x="119" y="459"/>
                  </a:lnTo>
                  <a:lnTo>
                    <a:pt x="116" y="458"/>
                  </a:lnTo>
                  <a:lnTo>
                    <a:pt x="98" y="459"/>
                  </a:lnTo>
                  <a:lnTo>
                    <a:pt x="89" y="456"/>
                  </a:lnTo>
                  <a:lnTo>
                    <a:pt x="86" y="456"/>
                  </a:lnTo>
                  <a:lnTo>
                    <a:pt x="84" y="458"/>
                  </a:lnTo>
                  <a:lnTo>
                    <a:pt x="83" y="460"/>
                  </a:lnTo>
                  <a:lnTo>
                    <a:pt x="80" y="461"/>
                  </a:lnTo>
                  <a:lnTo>
                    <a:pt x="75" y="462"/>
                  </a:lnTo>
                  <a:lnTo>
                    <a:pt x="71" y="462"/>
                  </a:lnTo>
                  <a:lnTo>
                    <a:pt x="67" y="465"/>
                  </a:lnTo>
                  <a:lnTo>
                    <a:pt x="66" y="467"/>
                  </a:lnTo>
                  <a:lnTo>
                    <a:pt x="67" y="471"/>
                  </a:lnTo>
                  <a:lnTo>
                    <a:pt x="69" y="478"/>
                  </a:lnTo>
                  <a:lnTo>
                    <a:pt x="70" y="479"/>
                  </a:lnTo>
                  <a:lnTo>
                    <a:pt x="73" y="479"/>
                  </a:lnTo>
                  <a:lnTo>
                    <a:pt x="75" y="480"/>
                  </a:lnTo>
                  <a:lnTo>
                    <a:pt x="78" y="481"/>
                  </a:lnTo>
                  <a:lnTo>
                    <a:pt x="78" y="484"/>
                  </a:lnTo>
                  <a:lnTo>
                    <a:pt x="79" y="486"/>
                  </a:lnTo>
                  <a:lnTo>
                    <a:pt x="84" y="492"/>
                  </a:lnTo>
                  <a:lnTo>
                    <a:pt x="86" y="494"/>
                  </a:lnTo>
                  <a:lnTo>
                    <a:pt x="85" y="498"/>
                  </a:lnTo>
                  <a:lnTo>
                    <a:pt x="84" y="503"/>
                  </a:lnTo>
                  <a:lnTo>
                    <a:pt x="83" y="507"/>
                  </a:lnTo>
                  <a:lnTo>
                    <a:pt x="83" y="512"/>
                  </a:lnTo>
                  <a:lnTo>
                    <a:pt x="81" y="517"/>
                  </a:lnTo>
                  <a:lnTo>
                    <a:pt x="81" y="518"/>
                  </a:lnTo>
                  <a:lnTo>
                    <a:pt x="79" y="519"/>
                  </a:lnTo>
                  <a:lnTo>
                    <a:pt x="75" y="522"/>
                  </a:lnTo>
                  <a:lnTo>
                    <a:pt x="75" y="523"/>
                  </a:lnTo>
                  <a:lnTo>
                    <a:pt x="75" y="524"/>
                  </a:lnTo>
                  <a:lnTo>
                    <a:pt x="75" y="525"/>
                  </a:lnTo>
                  <a:lnTo>
                    <a:pt x="71" y="526"/>
                  </a:lnTo>
                  <a:lnTo>
                    <a:pt x="67" y="526"/>
                  </a:lnTo>
                  <a:lnTo>
                    <a:pt x="64" y="524"/>
                  </a:lnTo>
                  <a:lnTo>
                    <a:pt x="61" y="522"/>
                  </a:lnTo>
                  <a:lnTo>
                    <a:pt x="59" y="518"/>
                  </a:lnTo>
                  <a:lnTo>
                    <a:pt x="57" y="512"/>
                  </a:lnTo>
                  <a:lnTo>
                    <a:pt x="56" y="507"/>
                  </a:lnTo>
                  <a:lnTo>
                    <a:pt x="53" y="503"/>
                  </a:lnTo>
                  <a:lnTo>
                    <a:pt x="51" y="500"/>
                  </a:lnTo>
                  <a:lnTo>
                    <a:pt x="48" y="502"/>
                  </a:lnTo>
                  <a:lnTo>
                    <a:pt x="43" y="505"/>
                  </a:lnTo>
                  <a:lnTo>
                    <a:pt x="33" y="513"/>
                  </a:lnTo>
                  <a:lnTo>
                    <a:pt x="28" y="517"/>
                  </a:lnTo>
                  <a:lnTo>
                    <a:pt x="26" y="522"/>
                  </a:lnTo>
                  <a:lnTo>
                    <a:pt x="22" y="526"/>
                  </a:lnTo>
                  <a:lnTo>
                    <a:pt x="20" y="532"/>
                  </a:lnTo>
                  <a:lnTo>
                    <a:pt x="20" y="537"/>
                  </a:lnTo>
                  <a:lnTo>
                    <a:pt x="20" y="543"/>
                  </a:lnTo>
                  <a:lnTo>
                    <a:pt x="20" y="548"/>
                  </a:lnTo>
                  <a:lnTo>
                    <a:pt x="20" y="549"/>
                  </a:lnTo>
                  <a:lnTo>
                    <a:pt x="22" y="550"/>
                  </a:lnTo>
                  <a:lnTo>
                    <a:pt x="27" y="555"/>
                  </a:lnTo>
                  <a:lnTo>
                    <a:pt x="29" y="560"/>
                  </a:lnTo>
                  <a:lnTo>
                    <a:pt x="31" y="566"/>
                  </a:lnTo>
                  <a:lnTo>
                    <a:pt x="28" y="571"/>
                  </a:lnTo>
                  <a:lnTo>
                    <a:pt x="27" y="574"/>
                  </a:lnTo>
                  <a:lnTo>
                    <a:pt x="24" y="576"/>
                  </a:lnTo>
                  <a:lnTo>
                    <a:pt x="22" y="579"/>
                  </a:lnTo>
                  <a:lnTo>
                    <a:pt x="18" y="579"/>
                  </a:lnTo>
                  <a:lnTo>
                    <a:pt x="15" y="577"/>
                  </a:lnTo>
                  <a:lnTo>
                    <a:pt x="15" y="576"/>
                  </a:lnTo>
                  <a:lnTo>
                    <a:pt x="19" y="570"/>
                  </a:lnTo>
                  <a:lnTo>
                    <a:pt x="20" y="567"/>
                  </a:lnTo>
                  <a:lnTo>
                    <a:pt x="20" y="564"/>
                  </a:lnTo>
                  <a:lnTo>
                    <a:pt x="18" y="564"/>
                  </a:lnTo>
                  <a:lnTo>
                    <a:pt x="18" y="568"/>
                  </a:lnTo>
                  <a:lnTo>
                    <a:pt x="17" y="571"/>
                  </a:lnTo>
                  <a:lnTo>
                    <a:pt x="12" y="575"/>
                  </a:lnTo>
                  <a:lnTo>
                    <a:pt x="6" y="577"/>
                  </a:lnTo>
                  <a:lnTo>
                    <a:pt x="1" y="581"/>
                  </a:lnTo>
                  <a:lnTo>
                    <a:pt x="1" y="583"/>
                  </a:lnTo>
                  <a:lnTo>
                    <a:pt x="1" y="586"/>
                  </a:lnTo>
                  <a:lnTo>
                    <a:pt x="4" y="589"/>
                  </a:lnTo>
                  <a:lnTo>
                    <a:pt x="4" y="593"/>
                  </a:lnTo>
                  <a:lnTo>
                    <a:pt x="3" y="595"/>
                  </a:lnTo>
                  <a:lnTo>
                    <a:pt x="0" y="600"/>
                  </a:lnTo>
                  <a:lnTo>
                    <a:pt x="14" y="600"/>
                  </a:lnTo>
                  <a:lnTo>
                    <a:pt x="28" y="598"/>
                  </a:lnTo>
                  <a:lnTo>
                    <a:pt x="55" y="594"/>
                  </a:lnTo>
                  <a:lnTo>
                    <a:pt x="61" y="594"/>
                  </a:lnTo>
                  <a:lnTo>
                    <a:pt x="67" y="595"/>
                  </a:lnTo>
                  <a:lnTo>
                    <a:pt x="71" y="599"/>
                  </a:lnTo>
                  <a:lnTo>
                    <a:pt x="76" y="604"/>
                  </a:lnTo>
                  <a:lnTo>
                    <a:pt x="80" y="611"/>
                  </a:lnTo>
                  <a:lnTo>
                    <a:pt x="84" y="618"/>
                  </a:lnTo>
                  <a:lnTo>
                    <a:pt x="85" y="626"/>
                  </a:lnTo>
                  <a:lnTo>
                    <a:pt x="86" y="633"/>
                  </a:lnTo>
                  <a:lnTo>
                    <a:pt x="86" y="641"/>
                  </a:lnTo>
                  <a:lnTo>
                    <a:pt x="85" y="650"/>
                  </a:lnTo>
                  <a:lnTo>
                    <a:pt x="81" y="666"/>
                  </a:lnTo>
                  <a:lnTo>
                    <a:pt x="81" y="668"/>
                  </a:lnTo>
                  <a:lnTo>
                    <a:pt x="84" y="670"/>
                  </a:lnTo>
                  <a:lnTo>
                    <a:pt x="86" y="672"/>
                  </a:lnTo>
                  <a:lnTo>
                    <a:pt x="86" y="673"/>
                  </a:lnTo>
                  <a:lnTo>
                    <a:pt x="86" y="675"/>
                  </a:lnTo>
                  <a:lnTo>
                    <a:pt x="83" y="683"/>
                  </a:lnTo>
                  <a:lnTo>
                    <a:pt x="81" y="691"/>
                  </a:lnTo>
                  <a:lnTo>
                    <a:pt x="83" y="694"/>
                  </a:lnTo>
                  <a:lnTo>
                    <a:pt x="84" y="696"/>
                  </a:lnTo>
                  <a:lnTo>
                    <a:pt x="88" y="701"/>
                  </a:lnTo>
                  <a:lnTo>
                    <a:pt x="88" y="704"/>
                  </a:lnTo>
                  <a:lnTo>
                    <a:pt x="88" y="708"/>
                  </a:lnTo>
                  <a:lnTo>
                    <a:pt x="85" y="711"/>
                  </a:lnTo>
                  <a:lnTo>
                    <a:pt x="81" y="716"/>
                  </a:lnTo>
                  <a:lnTo>
                    <a:pt x="75" y="722"/>
                  </a:lnTo>
                  <a:lnTo>
                    <a:pt x="66" y="729"/>
                  </a:lnTo>
                  <a:lnTo>
                    <a:pt x="69" y="732"/>
                  </a:lnTo>
                  <a:lnTo>
                    <a:pt x="70" y="733"/>
                  </a:lnTo>
                  <a:lnTo>
                    <a:pt x="70" y="734"/>
                  </a:lnTo>
                  <a:lnTo>
                    <a:pt x="67" y="740"/>
                  </a:lnTo>
                  <a:lnTo>
                    <a:pt x="64" y="746"/>
                  </a:lnTo>
                  <a:lnTo>
                    <a:pt x="60" y="751"/>
                  </a:lnTo>
                  <a:lnTo>
                    <a:pt x="64" y="756"/>
                  </a:lnTo>
                  <a:lnTo>
                    <a:pt x="66" y="756"/>
                  </a:lnTo>
                  <a:lnTo>
                    <a:pt x="69" y="756"/>
                  </a:lnTo>
                  <a:lnTo>
                    <a:pt x="73" y="756"/>
                  </a:lnTo>
                  <a:lnTo>
                    <a:pt x="76" y="756"/>
                  </a:lnTo>
                  <a:lnTo>
                    <a:pt x="80" y="755"/>
                  </a:lnTo>
                  <a:lnTo>
                    <a:pt x="84" y="755"/>
                  </a:lnTo>
                  <a:lnTo>
                    <a:pt x="88" y="758"/>
                  </a:lnTo>
                  <a:lnTo>
                    <a:pt x="92" y="760"/>
                  </a:lnTo>
                  <a:lnTo>
                    <a:pt x="95" y="761"/>
                  </a:lnTo>
                  <a:lnTo>
                    <a:pt x="97" y="761"/>
                  </a:lnTo>
                  <a:lnTo>
                    <a:pt x="99" y="760"/>
                  </a:lnTo>
                  <a:lnTo>
                    <a:pt x="103" y="756"/>
                  </a:lnTo>
                  <a:lnTo>
                    <a:pt x="108" y="753"/>
                  </a:lnTo>
                  <a:lnTo>
                    <a:pt x="112" y="752"/>
                  </a:lnTo>
                  <a:lnTo>
                    <a:pt x="114" y="753"/>
                  </a:lnTo>
                  <a:lnTo>
                    <a:pt x="116" y="753"/>
                  </a:lnTo>
                  <a:lnTo>
                    <a:pt x="118" y="756"/>
                  </a:lnTo>
                  <a:lnTo>
                    <a:pt x="119" y="760"/>
                  </a:lnTo>
                  <a:lnTo>
                    <a:pt x="121" y="767"/>
                  </a:lnTo>
                  <a:lnTo>
                    <a:pt x="119" y="783"/>
                  </a:lnTo>
                  <a:lnTo>
                    <a:pt x="121" y="783"/>
                  </a:lnTo>
                  <a:lnTo>
                    <a:pt x="121" y="784"/>
                  </a:lnTo>
                  <a:lnTo>
                    <a:pt x="121" y="785"/>
                  </a:lnTo>
                  <a:lnTo>
                    <a:pt x="122" y="786"/>
                  </a:lnTo>
                  <a:lnTo>
                    <a:pt x="136" y="798"/>
                  </a:lnTo>
                  <a:lnTo>
                    <a:pt x="142" y="804"/>
                  </a:lnTo>
                  <a:lnTo>
                    <a:pt x="146" y="812"/>
                  </a:lnTo>
                  <a:lnTo>
                    <a:pt x="149" y="815"/>
                  </a:lnTo>
                  <a:lnTo>
                    <a:pt x="151" y="816"/>
                  </a:lnTo>
                  <a:lnTo>
                    <a:pt x="155" y="816"/>
                  </a:lnTo>
                  <a:lnTo>
                    <a:pt x="158" y="816"/>
                  </a:lnTo>
                  <a:lnTo>
                    <a:pt x="165" y="813"/>
                  </a:lnTo>
                  <a:lnTo>
                    <a:pt x="172" y="812"/>
                  </a:lnTo>
                  <a:lnTo>
                    <a:pt x="174" y="812"/>
                  </a:lnTo>
                  <a:lnTo>
                    <a:pt x="178" y="813"/>
                  </a:lnTo>
                  <a:lnTo>
                    <a:pt x="179" y="811"/>
                  </a:lnTo>
                  <a:lnTo>
                    <a:pt x="182" y="810"/>
                  </a:lnTo>
                  <a:lnTo>
                    <a:pt x="184" y="809"/>
                  </a:lnTo>
                  <a:lnTo>
                    <a:pt x="189" y="805"/>
                  </a:lnTo>
                  <a:lnTo>
                    <a:pt x="191" y="801"/>
                  </a:lnTo>
                  <a:lnTo>
                    <a:pt x="192" y="797"/>
                  </a:lnTo>
                  <a:lnTo>
                    <a:pt x="193" y="792"/>
                  </a:lnTo>
                  <a:lnTo>
                    <a:pt x="194" y="790"/>
                  </a:lnTo>
                  <a:lnTo>
                    <a:pt x="197" y="788"/>
                  </a:lnTo>
                  <a:lnTo>
                    <a:pt x="201" y="787"/>
                  </a:lnTo>
                  <a:lnTo>
                    <a:pt x="205" y="787"/>
                  </a:lnTo>
                  <a:lnTo>
                    <a:pt x="211" y="790"/>
                  </a:lnTo>
                  <a:lnTo>
                    <a:pt x="222" y="797"/>
                  </a:lnTo>
                  <a:lnTo>
                    <a:pt x="226" y="798"/>
                  </a:lnTo>
                  <a:lnTo>
                    <a:pt x="230" y="799"/>
                  </a:lnTo>
                  <a:lnTo>
                    <a:pt x="236" y="799"/>
                  </a:lnTo>
                  <a:lnTo>
                    <a:pt x="244" y="798"/>
                  </a:lnTo>
                  <a:lnTo>
                    <a:pt x="252" y="799"/>
                  </a:lnTo>
                  <a:lnTo>
                    <a:pt x="249" y="803"/>
                  </a:lnTo>
                  <a:lnTo>
                    <a:pt x="246" y="805"/>
                  </a:lnTo>
                  <a:lnTo>
                    <a:pt x="243" y="806"/>
                  </a:lnTo>
                  <a:lnTo>
                    <a:pt x="239" y="807"/>
                  </a:lnTo>
                  <a:lnTo>
                    <a:pt x="230" y="809"/>
                  </a:lnTo>
                  <a:lnTo>
                    <a:pt x="226" y="810"/>
                  </a:lnTo>
                  <a:lnTo>
                    <a:pt x="224" y="812"/>
                  </a:lnTo>
                  <a:lnTo>
                    <a:pt x="222" y="815"/>
                  </a:lnTo>
                  <a:lnTo>
                    <a:pt x="224" y="816"/>
                  </a:lnTo>
                  <a:lnTo>
                    <a:pt x="231" y="819"/>
                  </a:lnTo>
                  <a:lnTo>
                    <a:pt x="238" y="822"/>
                  </a:lnTo>
                  <a:lnTo>
                    <a:pt x="240" y="824"/>
                  </a:lnTo>
                  <a:lnTo>
                    <a:pt x="241" y="826"/>
                  </a:lnTo>
                  <a:lnTo>
                    <a:pt x="241" y="830"/>
                  </a:lnTo>
                  <a:lnTo>
                    <a:pt x="240" y="836"/>
                  </a:lnTo>
                  <a:lnTo>
                    <a:pt x="241" y="837"/>
                  </a:lnTo>
                  <a:lnTo>
                    <a:pt x="243" y="839"/>
                  </a:lnTo>
                  <a:lnTo>
                    <a:pt x="245" y="841"/>
                  </a:lnTo>
                  <a:lnTo>
                    <a:pt x="248" y="841"/>
                  </a:lnTo>
                  <a:lnTo>
                    <a:pt x="257" y="834"/>
                  </a:lnTo>
                  <a:lnTo>
                    <a:pt x="266" y="828"/>
                  </a:lnTo>
                  <a:lnTo>
                    <a:pt x="269" y="825"/>
                  </a:lnTo>
                  <a:lnTo>
                    <a:pt x="274" y="823"/>
                  </a:lnTo>
                  <a:lnTo>
                    <a:pt x="279" y="822"/>
                  </a:lnTo>
                  <a:lnTo>
                    <a:pt x="286" y="822"/>
                  </a:lnTo>
                  <a:lnTo>
                    <a:pt x="288" y="822"/>
                  </a:lnTo>
                  <a:lnTo>
                    <a:pt x="290" y="818"/>
                  </a:lnTo>
                  <a:lnTo>
                    <a:pt x="290" y="816"/>
                  </a:lnTo>
                  <a:lnTo>
                    <a:pt x="288" y="812"/>
                  </a:lnTo>
                  <a:lnTo>
                    <a:pt x="286" y="811"/>
                  </a:lnTo>
                  <a:lnTo>
                    <a:pt x="283" y="810"/>
                  </a:lnTo>
                  <a:lnTo>
                    <a:pt x="277" y="809"/>
                  </a:lnTo>
                  <a:lnTo>
                    <a:pt x="274" y="809"/>
                  </a:lnTo>
                  <a:lnTo>
                    <a:pt x="273" y="807"/>
                  </a:lnTo>
                  <a:lnTo>
                    <a:pt x="272" y="805"/>
                  </a:lnTo>
                  <a:lnTo>
                    <a:pt x="272" y="801"/>
                  </a:lnTo>
                  <a:lnTo>
                    <a:pt x="271" y="804"/>
                  </a:lnTo>
                  <a:lnTo>
                    <a:pt x="272" y="807"/>
                  </a:lnTo>
                  <a:lnTo>
                    <a:pt x="273" y="810"/>
                  </a:lnTo>
                  <a:lnTo>
                    <a:pt x="272" y="812"/>
                  </a:lnTo>
                  <a:lnTo>
                    <a:pt x="269" y="815"/>
                  </a:lnTo>
                  <a:lnTo>
                    <a:pt x="267" y="816"/>
                  </a:lnTo>
                  <a:lnTo>
                    <a:pt x="264" y="815"/>
                  </a:lnTo>
                  <a:lnTo>
                    <a:pt x="262" y="813"/>
                  </a:lnTo>
                  <a:lnTo>
                    <a:pt x="258" y="809"/>
                  </a:lnTo>
                  <a:lnTo>
                    <a:pt x="257" y="803"/>
                  </a:lnTo>
                  <a:lnTo>
                    <a:pt x="257" y="798"/>
                  </a:lnTo>
                  <a:lnTo>
                    <a:pt x="259" y="793"/>
                  </a:lnTo>
                  <a:lnTo>
                    <a:pt x="260" y="792"/>
                  </a:lnTo>
                  <a:lnTo>
                    <a:pt x="263" y="792"/>
                  </a:lnTo>
                  <a:lnTo>
                    <a:pt x="268" y="791"/>
                  </a:lnTo>
                  <a:lnTo>
                    <a:pt x="271" y="790"/>
                  </a:lnTo>
                  <a:lnTo>
                    <a:pt x="271" y="787"/>
                  </a:lnTo>
                  <a:lnTo>
                    <a:pt x="271" y="786"/>
                  </a:lnTo>
                  <a:lnTo>
                    <a:pt x="273" y="784"/>
                  </a:lnTo>
                  <a:lnTo>
                    <a:pt x="274" y="784"/>
                  </a:lnTo>
                  <a:lnTo>
                    <a:pt x="278" y="784"/>
                  </a:lnTo>
                  <a:lnTo>
                    <a:pt x="282" y="784"/>
                  </a:lnTo>
                  <a:lnTo>
                    <a:pt x="285" y="785"/>
                  </a:lnTo>
                  <a:lnTo>
                    <a:pt x="288" y="785"/>
                  </a:lnTo>
                  <a:lnTo>
                    <a:pt x="291" y="783"/>
                  </a:lnTo>
                  <a:lnTo>
                    <a:pt x="295" y="781"/>
                  </a:lnTo>
                  <a:lnTo>
                    <a:pt x="305" y="779"/>
                  </a:lnTo>
                  <a:lnTo>
                    <a:pt x="314" y="777"/>
                  </a:lnTo>
                  <a:lnTo>
                    <a:pt x="333" y="769"/>
                  </a:lnTo>
                  <a:lnTo>
                    <a:pt x="339" y="768"/>
                  </a:lnTo>
                  <a:lnTo>
                    <a:pt x="335" y="774"/>
                  </a:lnTo>
                  <a:lnTo>
                    <a:pt x="332" y="779"/>
                  </a:lnTo>
                  <a:lnTo>
                    <a:pt x="326" y="781"/>
                  </a:lnTo>
                  <a:lnTo>
                    <a:pt x="320" y="783"/>
                  </a:lnTo>
                  <a:lnTo>
                    <a:pt x="320" y="786"/>
                  </a:lnTo>
                  <a:lnTo>
                    <a:pt x="320" y="790"/>
                  </a:lnTo>
                  <a:lnTo>
                    <a:pt x="321" y="791"/>
                  </a:lnTo>
                  <a:lnTo>
                    <a:pt x="324" y="793"/>
                  </a:lnTo>
                  <a:lnTo>
                    <a:pt x="325" y="796"/>
                  </a:lnTo>
                  <a:lnTo>
                    <a:pt x="324" y="797"/>
                  </a:lnTo>
                  <a:lnTo>
                    <a:pt x="323" y="798"/>
                  </a:lnTo>
                  <a:lnTo>
                    <a:pt x="320" y="799"/>
                  </a:lnTo>
                  <a:lnTo>
                    <a:pt x="318" y="800"/>
                  </a:lnTo>
                  <a:lnTo>
                    <a:pt x="315" y="806"/>
                  </a:lnTo>
                  <a:lnTo>
                    <a:pt x="313" y="811"/>
                  </a:lnTo>
                  <a:lnTo>
                    <a:pt x="311" y="812"/>
                  </a:lnTo>
                  <a:lnTo>
                    <a:pt x="311" y="815"/>
                  </a:lnTo>
                  <a:lnTo>
                    <a:pt x="311" y="817"/>
                  </a:lnTo>
                  <a:lnTo>
                    <a:pt x="309" y="817"/>
                  </a:lnTo>
                  <a:lnTo>
                    <a:pt x="306" y="817"/>
                  </a:lnTo>
                  <a:lnTo>
                    <a:pt x="305" y="816"/>
                  </a:lnTo>
                  <a:lnTo>
                    <a:pt x="304" y="815"/>
                  </a:lnTo>
                  <a:lnTo>
                    <a:pt x="302" y="816"/>
                  </a:lnTo>
                  <a:lnTo>
                    <a:pt x="301" y="818"/>
                  </a:lnTo>
                  <a:lnTo>
                    <a:pt x="301" y="822"/>
                  </a:lnTo>
                  <a:lnTo>
                    <a:pt x="301" y="824"/>
                  </a:lnTo>
                  <a:lnTo>
                    <a:pt x="305" y="825"/>
                  </a:lnTo>
                  <a:lnTo>
                    <a:pt x="307" y="826"/>
                  </a:lnTo>
                  <a:lnTo>
                    <a:pt x="311" y="828"/>
                  </a:lnTo>
                  <a:lnTo>
                    <a:pt x="316" y="832"/>
                  </a:lnTo>
                  <a:lnTo>
                    <a:pt x="321" y="836"/>
                  </a:lnTo>
                  <a:lnTo>
                    <a:pt x="328" y="839"/>
                  </a:lnTo>
                  <a:lnTo>
                    <a:pt x="332" y="841"/>
                  </a:lnTo>
                  <a:lnTo>
                    <a:pt x="335" y="841"/>
                  </a:lnTo>
                  <a:lnTo>
                    <a:pt x="340" y="844"/>
                  </a:lnTo>
                  <a:lnTo>
                    <a:pt x="344" y="848"/>
                  </a:lnTo>
                  <a:lnTo>
                    <a:pt x="348" y="852"/>
                  </a:lnTo>
                  <a:lnTo>
                    <a:pt x="352" y="856"/>
                  </a:lnTo>
                  <a:lnTo>
                    <a:pt x="359" y="860"/>
                  </a:lnTo>
                  <a:lnTo>
                    <a:pt x="365" y="863"/>
                  </a:lnTo>
                  <a:lnTo>
                    <a:pt x="375" y="871"/>
                  </a:lnTo>
                  <a:lnTo>
                    <a:pt x="384" y="881"/>
                  </a:lnTo>
                  <a:lnTo>
                    <a:pt x="386" y="886"/>
                  </a:lnTo>
                  <a:lnTo>
                    <a:pt x="387" y="890"/>
                  </a:lnTo>
                  <a:lnTo>
                    <a:pt x="385" y="895"/>
                  </a:lnTo>
                  <a:lnTo>
                    <a:pt x="382" y="899"/>
                  </a:lnTo>
                  <a:lnTo>
                    <a:pt x="393" y="899"/>
                  </a:lnTo>
                  <a:lnTo>
                    <a:pt x="404" y="899"/>
                  </a:lnTo>
                  <a:lnTo>
                    <a:pt x="408" y="901"/>
                  </a:lnTo>
                  <a:lnTo>
                    <a:pt x="413" y="902"/>
                  </a:lnTo>
                  <a:lnTo>
                    <a:pt x="415" y="906"/>
                  </a:lnTo>
                  <a:lnTo>
                    <a:pt x="418" y="911"/>
                  </a:lnTo>
                  <a:lnTo>
                    <a:pt x="424" y="926"/>
                  </a:lnTo>
                  <a:lnTo>
                    <a:pt x="428" y="932"/>
                  </a:lnTo>
                  <a:lnTo>
                    <a:pt x="432" y="939"/>
                  </a:lnTo>
                  <a:lnTo>
                    <a:pt x="432" y="941"/>
                  </a:lnTo>
                  <a:lnTo>
                    <a:pt x="431" y="945"/>
                  </a:lnTo>
                  <a:lnTo>
                    <a:pt x="434" y="945"/>
                  </a:lnTo>
                  <a:lnTo>
                    <a:pt x="437" y="947"/>
                  </a:lnTo>
                  <a:lnTo>
                    <a:pt x="441" y="953"/>
                  </a:lnTo>
                  <a:lnTo>
                    <a:pt x="446" y="958"/>
                  </a:lnTo>
                  <a:lnTo>
                    <a:pt x="450" y="960"/>
                  </a:lnTo>
                  <a:lnTo>
                    <a:pt x="452" y="962"/>
                  </a:lnTo>
                  <a:lnTo>
                    <a:pt x="456" y="962"/>
                  </a:lnTo>
                  <a:lnTo>
                    <a:pt x="460" y="962"/>
                  </a:lnTo>
                  <a:lnTo>
                    <a:pt x="466" y="959"/>
                  </a:lnTo>
                  <a:lnTo>
                    <a:pt x="471" y="956"/>
                  </a:lnTo>
                  <a:lnTo>
                    <a:pt x="478" y="952"/>
                  </a:lnTo>
                  <a:lnTo>
                    <a:pt x="484" y="949"/>
                  </a:lnTo>
                  <a:lnTo>
                    <a:pt x="485" y="949"/>
                  </a:lnTo>
                  <a:lnTo>
                    <a:pt x="486" y="949"/>
                  </a:lnTo>
                  <a:lnTo>
                    <a:pt x="489" y="952"/>
                  </a:lnTo>
                  <a:lnTo>
                    <a:pt x="490" y="956"/>
                  </a:lnTo>
                  <a:lnTo>
                    <a:pt x="489" y="958"/>
                  </a:lnTo>
                  <a:lnTo>
                    <a:pt x="489" y="963"/>
                  </a:lnTo>
                  <a:lnTo>
                    <a:pt x="490" y="967"/>
                  </a:lnTo>
                  <a:lnTo>
                    <a:pt x="492" y="970"/>
                  </a:lnTo>
                  <a:lnTo>
                    <a:pt x="494" y="973"/>
                  </a:lnTo>
                  <a:lnTo>
                    <a:pt x="497" y="975"/>
                  </a:lnTo>
                  <a:lnTo>
                    <a:pt x="500" y="977"/>
                  </a:lnTo>
                  <a:lnTo>
                    <a:pt x="508" y="978"/>
                  </a:lnTo>
                  <a:lnTo>
                    <a:pt x="508" y="969"/>
                  </a:lnTo>
                  <a:lnTo>
                    <a:pt x="507" y="965"/>
                  </a:lnTo>
                  <a:lnTo>
                    <a:pt x="506" y="960"/>
                  </a:lnTo>
                  <a:lnTo>
                    <a:pt x="503" y="957"/>
                  </a:lnTo>
                  <a:lnTo>
                    <a:pt x="503" y="954"/>
                  </a:lnTo>
                  <a:lnTo>
                    <a:pt x="504" y="947"/>
                  </a:lnTo>
                  <a:lnTo>
                    <a:pt x="507" y="949"/>
                  </a:lnTo>
                  <a:lnTo>
                    <a:pt x="508" y="950"/>
                  </a:lnTo>
                  <a:lnTo>
                    <a:pt x="509" y="952"/>
                  </a:lnTo>
                  <a:lnTo>
                    <a:pt x="511" y="953"/>
                  </a:lnTo>
                  <a:lnTo>
                    <a:pt x="513" y="953"/>
                  </a:lnTo>
                  <a:lnTo>
                    <a:pt x="516" y="952"/>
                  </a:lnTo>
                  <a:lnTo>
                    <a:pt x="517" y="951"/>
                  </a:lnTo>
                  <a:lnTo>
                    <a:pt x="517" y="949"/>
                  </a:lnTo>
                  <a:lnTo>
                    <a:pt x="517" y="944"/>
                  </a:lnTo>
                  <a:lnTo>
                    <a:pt x="518" y="940"/>
                  </a:lnTo>
                  <a:lnTo>
                    <a:pt x="523" y="933"/>
                  </a:lnTo>
                  <a:lnTo>
                    <a:pt x="528" y="932"/>
                  </a:lnTo>
                  <a:lnTo>
                    <a:pt x="531" y="931"/>
                  </a:lnTo>
                  <a:lnTo>
                    <a:pt x="531" y="930"/>
                  </a:lnTo>
                  <a:lnTo>
                    <a:pt x="526" y="926"/>
                  </a:lnTo>
                  <a:lnTo>
                    <a:pt x="521" y="922"/>
                  </a:lnTo>
                  <a:lnTo>
                    <a:pt x="513" y="915"/>
                  </a:lnTo>
                  <a:lnTo>
                    <a:pt x="509" y="912"/>
                  </a:lnTo>
                  <a:lnTo>
                    <a:pt x="508" y="911"/>
                  </a:lnTo>
                  <a:lnTo>
                    <a:pt x="507" y="909"/>
                  </a:lnTo>
                  <a:lnTo>
                    <a:pt x="504" y="901"/>
                  </a:lnTo>
                  <a:lnTo>
                    <a:pt x="503" y="899"/>
                  </a:lnTo>
                  <a:lnTo>
                    <a:pt x="499" y="895"/>
                  </a:lnTo>
                  <a:lnTo>
                    <a:pt x="490" y="884"/>
                  </a:lnTo>
                  <a:lnTo>
                    <a:pt x="485" y="876"/>
                  </a:lnTo>
                  <a:lnTo>
                    <a:pt x="484" y="868"/>
                  </a:lnTo>
                  <a:lnTo>
                    <a:pt x="483" y="860"/>
                  </a:lnTo>
                  <a:lnTo>
                    <a:pt x="484" y="850"/>
                  </a:lnTo>
                  <a:lnTo>
                    <a:pt x="479" y="843"/>
                  </a:lnTo>
                  <a:lnTo>
                    <a:pt x="476" y="835"/>
                  </a:lnTo>
                  <a:lnTo>
                    <a:pt x="475" y="832"/>
                  </a:lnTo>
                  <a:lnTo>
                    <a:pt x="475" y="828"/>
                  </a:lnTo>
                  <a:lnTo>
                    <a:pt x="476" y="819"/>
                  </a:lnTo>
                  <a:lnTo>
                    <a:pt x="479" y="811"/>
                  </a:lnTo>
                  <a:lnTo>
                    <a:pt x="480" y="809"/>
                  </a:lnTo>
                  <a:lnTo>
                    <a:pt x="483" y="807"/>
                  </a:lnTo>
                  <a:lnTo>
                    <a:pt x="489" y="804"/>
                  </a:lnTo>
                  <a:lnTo>
                    <a:pt x="493" y="800"/>
                  </a:lnTo>
                  <a:lnTo>
                    <a:pt x="503" y="791"/>
                  </a:lnTo>
                  <a:lnTo>
                    <a:pt x="506" y="788"/>
                  </a:lnTo>
                  <a:lnTo>
                    <a:pt x="511" y="787"/>
                  </a:lnTo>
                  <a:lnTo>
                    <a:pt x="514" y="786"/>
                  </a:lnTo>
                  <a:lnTo>
                    <a:pt x="517" y="784"/>
                  </a:lnTo>
                  <a:lnTo>
                    <a:pt x="526" y="780"/>
                  </a:lnTo>
                  <a:lnTo>
                    <a:pt x="531" y="778"/>
                  </a:lnTo>
                  <a:lnTo>
                    <a:pt x="533" y="775"/>
                  </a:lnTo>
                  <a:lnTo>
                    <a:pt x="542" y="769"/>
                  </a:lnTo>
                  <a:lnTo>
                    <a:pt x="547" y="767"/>
                  </a:lnTo>
                  <a:lnTo>
                    <a:pt x="554" y="767"/>
                  </a:lnTo>
                  <a:lnTo>
                    <a:pt x="556" y="765"/>
                  </a:lnTo>
                  <a:lnTo>
                    <a:pt x="558" y="764"/>
                  </a:lnTo>
                  <a:lnTo>
                    <a:pt x="570" y="765"/>
                  </a:lnTo>
                  <a:lnTo>
                    <a:pt x="578" y="766"/>
                  </a:lnTo>
                  <a:lnTo>
                    <a:pt x="583" y="768"/>
                  </a:lnTo>
                  <a:lnTo>
                    <a:pt x="586" y="771"/>
                  </a:lnTo>
                  <a:lnTo>
                    <a:pt x="587" y="773"/>
                  </a:lnTo>
                  <a:lnTo>
                    <a:pt x="587" y="775"/>
                  </a:lnTo>
                  <a:lnTo>
                    <a:pt x="589" y="778"/>
                  </a:lnTo>
                  <a:lnTo>
                    <a:pt x="592" y="781"/>
                  </a:lnTo>
                  <a:lnTo>
                    <a:pt x="593" y="784"/>
                  </a:lnTo>
                  <a:lnTo>
                    <a:pt x="593" y="786"/>
                  </a:lnTo>
                  <a:lnTo>
                    <a:pt x="594" y="791"/>
                  </a:lnTo>
                  <a:lnTo>
                    <a:pt x="596" y="792"/>
                  </a:lnTo>
                  <a:lnTo>
                    <a:pt x="598" y="793"/>
                  </a:lnTo>
                  <a:lnTo>
                    <a:pt x="599" y="794"/>
                  </a:lnTo>
                  <a:lnTo>
                    <a:pt x="598" y="794"/>
                  </a:lnTo>
                  <a:lnTo>
                    <a:pt x="597" y="796"/>
                  </a:lnTo>
                  <a:lnTo>
                    <a:pt x="597" y="797"/>
                  </a:lnTo>
                  <a:lnTo>
                    <a:pt x="594" y="798"/>
                  </a:lnTo>
                  <a:lnTo>
                    <a:pt x="594" y="799"/>
                  </a:lnTo>
                  <a:lnTo>
                    <a:pt x="597" y="804"/>
                  </a:lnTo>
                  <a:lnTo>
                    <a:pt x="597" y="806"/>
                  </a:lnTo>
                  <a:lnTo>
                    <a:pt x="597" y="807"/>
                  </a:lnTo>
                  <a:lnTo>
                    <a:pt x="598" y="809"/>
                  </a:lnTo>
                  <a:lnTo>
                    <a:pt x="596" y="811"/>
                  </a:lnTo>
                  <a:lnTo>
                    <a:pt x="592" y="813"/>
                  </a:lnTo>
                  <a:lnTo>
                    <a:pt x="588" y="816"/>
                  </a:lnTo>
                  <a:lnTo>
                    <a:pt x="584" y="816"/>
                  </a:lnTo>
                  <a:lnTo>
                    <a:pt x="578" y="813"/>
                  </a:lnTo>
                  <a:lnTo>
                    <a:pt x="572" y="812"/>
                  </a:lnTo>
                  <a:lnTo>
                    <a:pt x="569" y="811"/>
                  </a:lnTo>
                  <a:lnTo>
                    <a:pt x="565" y="810"/>
                  </a:lnTo>
                  <a:lnTo>
                    <a:pt x="561" y="810"/>
                  </a:lnTo>
                  <a:lnTo>
                    <a:pt x="558" y="811"/>
                  </a:lnTo>
                  <a:lnTo>
                    <a:pt x="554" y="813"/>
                  </a:lnTo>
                  <a:lnTo>
                    <a:pt x="553" y="815"/>
                  </a:lnTo>
                  <a:lnTo>
                    <a:pt x="553" y="817"/>
                  </a:lnTo>
                  <a:lnTo>
                    <a:pt x="554" y="824"/>
                  </a:lnTo>
                  <a:lnTo>
                    <a:pt x="555" y="831"/>
                  </a:lnTo>
                  <a:lnTo>
                    <a:pt x="556" y="835"/>
                  </a:lnTo>
                  <a:lnTo>
                    <a:pt x="556" y="837"/>
                  </a:lnTo>
                  <a:lnTo>
                    <a:pt x="555" y="838"/>
                  </a:lnTo>
                  <a:lnTo>
                    <a:pt x="553" y="838"/>
                  </a:lnTo>
                  <a:lnTo>
                    <a:pt x="547" y="838"/>
                  </a:lnTo>
                  <a:lnTo>
                    <a:pt x="542" y="836"/>
                  </a:lnTo>
                  <a:lnTo>
                    <a:pt x="537" y="835"/>
                  </a:lnTo>
                  <a:lnTo>
                    <a:pt x="536" y="836"/>
                  </a:lnTo>
                  <a:lnTo>
                    <a:pt x="536" y="837"/>
                  </a:lnTo>
                  <a:lnTo>
                    <a:pt x="537" y="841"/>
                  </a:lnTo>
                  <a:lnTo>
                    <a:pt x="541" y="843"/>
                  </a:lnTo>
                  <a:lnTo>
                    <a:pt x="544" y="844"/>
                  </a:lnTo>
                  <a:lnTo>
                    <a:pt x="545" y="845"/>
                  </a:lnTo>
                  <a:lnTo>
                    <a:pt x="547" y="849"/>
                  </a:lnTo>
                  <a:lnTo>
                    <a:pt x="547" y="851"/>
                  </a:lnTo>
                  <a:lnTo>
                    <a:pt x="549" y="854"/>
                  </a:lnTo>
                  <a:lnTo>
                    <a:pt x="550" y="856"/>
                  </a:lnTo>
                  <a:lnTo>
                    <a:pt x="551" y="858"/>
                  </a:lnTo>
                  <a:lnTo>
                    <a:pt x="551" y="861"/>
                  </a:lnTo>
                  <a:lnTo>
                    <a:pt x="549" y="866"/>
                  </a:lnTo>
                  <a:lnTo>
                    <a:pt x="549" y="868"/>
                  </a:lnTo>
                  <a:lnTo>
                    <a:pt x="550" y="868"/>
                  </a:lnTo>
                  <a:lnTo>
                    <a:pt x="559" y="863"/>
                  </a:lnTo>
                  <a:lnTo>
                    <a:pt x="559" y="864"/>
                  </a:lnTo>
                  <a:lnTo>
                    <a:pt x="560" y="866"/>
                  </a:lnTo>
                  <a:lnTo>
                    <a:pt x="559" y="867"/>
                  </a:lnTo>
                  <a:lnTo>
                    <a:pt x="560" y="868"/>
                  </a:lnTo>
                  <a:lnTo>
                    <a:pt x="563" y="869"/>
                  </a:lnTo>
                  <a:lnTo>
                    <a:pt x="565" y="868"/>
                  </a:lnTo>
                  <a:lnTo>
                    <a:pt x="568" y="867"/>
                  </a:lnTo>
                  <a:lnTo>
                    <a:pt x="570" y="867"/>
                  </a:lnTo>
                  <a:lnTo>
                    <a:pt x="574" y="869"/>
                  </a:lnTo>
                  <a:lnTo>
                    <a:pt x="578" y="870"/>
                  </a:lnTo>
                  <a:lnTo>
                    <a:pt x="579" y="873"/>
                  </a:lnTo>
                  <a:lnTo>
                    <a:pt x="578" y="876"/>
                  </a:lnTo>
                  <a:lnTo>
                    <a:pt x="575" y="883"/>
                  </a:lnTo>
                  <a:lnTo>
                    <a:pt x="575" y="888"/>
                  </a:lnTo>
                  <a:lnTo>
                    <a:pt x="575" y="894"/>
                  </a:lnTo>
                  <a:lnTo>
                    <a:pt x="575" y="899"/>
                  </a:lnTo>
                  <a:lnTo>
                    <a:pt x="577" y="902"/>
                  </a:lnTo>
                  <a:lnTo>
                    <a:pt x="578" y="905"/>
                  </a:lnTo>
                  <a:lnTo>
                    <a:pt x="579" y="902"/>
                  </a:lnTo>
                  <a:lnTo>
                    <a:pt x="580" y="900"/>
                  </a:lnTo>
                  <a:lnTo>
                    <a:pt x="580" y="896"/>
                  </a:lnTo>
                  <a:lnTo>
                    <a:pt x="579" y="893"/>
                  </a:lnTo>
                  <a:lnTo>
                    <a:pt x="580" y="890"/>
                  </a:lnTo>
                  <a:lnTo>
                    <a:pt x="582" y="888"/>
                  </a:lnTo>
                  <a:lnTo>
                    <a:pt x="583" y="887"/>
                  </a:lnTo>
                  <a:lnTo>
                    <a:pt x="584" y="888"/>
                  </a:lnTo>
                  <a:lnTo>
                    <a:pt x="587" y="890"/>
                  </a:lnTo>
                  <a:lnTo>
                    <a:pt x="588" y="890"/>
                  </a:lnTo>
                  <a:lnTo>
                    <a:pt x="589" y="889"/>
                  </a:lnTo>
                  <a:lnTo>
                    <a:pt x="593" y="884"/>
                  </a:lnTo>
                  <a:lnTo>
                    <a:pt x="596" y="883"/>
                  </a:lnTo>
                  <a:lnTo>
                    <a:pt x="597" y="882"/>
                  </a:lnTo>
                  <a:lnTo>
                    <a:pt x="599" y="883"/>
                  </a:lnTo>
                  <a:lnTo>
                    <a:pt x="601" y="886"/>
                  </a:lnTo>
                  <a:lnTo>
                    <a:pt x="603" y="899"/>
                  </a:lnTo>
                  <a:lnTo>
                    <a:pt x="605" y="907"/>
                  </a:lnTo>
                  <a:lnTo>
                    <a:pt x="605" y="911"/>
                  </a:lnTo>
                  <a:lnTo>
                    <a:pt x="605" y="912"/>
                  </a:lnTo>
                  <a:lnTo>
                    <a:pt x="605" y="913"/>
                  </a:lnTo>
                  <a:lnTo>
                    <a:pt x="601" y="918"/>
                  </a:lnTo>
                  <a:lnTo>
                    <a:pt x="599" y="920"/>
                  </a:lnTo>
                  <a:lnTo>
                    <a:pt x="597" y="921"/>
                  </a:lnTo>
                  <a:lnTo>
                    <a:pt x="593" y="921"/>
                  </a:lnTo>
                  <a:lnTo>
                    <a:pt x="591" y="921"/>
                  </a:lnTo>
                  <a:lnTo>
                    <a:pt x="584" y="916"/>
                  </a:lnTo>
                  <a:lnTo>
                    <a:pt x="583" y="916"/>
                  </a:lnTo>
                  <a:lnTo>
                    <a:pt x="582" y="918"/>
                  </a:lnTo>
                  <a:lnTo>
                    <a:pt x="580" y="920"/>
                  </a:lnTo>
                  <a:lnTo>
                    <a:pt x="580" y="926"/>
                  </a:lnTo>
                  <a:lnTo>
                    <a:pt x="582" y="930"/>
                  </a:lnTo>
                  <a:lnTo>
                    <a:pt x="586" y="931"/>
                  </a:lnTo>
                  <a:lnTo>
                    <a:pt x="588" y="931"/>
                  </a:lnTo>
                  <a:lnTo>
                    <a:pt x="592" y="932"/>
                  </a:lnTo>
                  <a:lnTo>
                    <a:pt x="596" y="933"/>
                  </a:lnTo>
                  <a:lnTo>
                    <a:pt x="598" y="935"/>
                  </a:lnTo>
                  <a:lnTo>
                    <a:pt x="598" y="938"/>
                  </a:lnTo>
                  <a:lnTo>
                    <a:pt x="598" y="939"/>
                  </a:lnTo>
                  <a:lnTo>
                    <a:pt x="594" y="940"/>
                  </a:lnTo>
                  <a:lnTo>
                    <a:pt x="592" y="940"/>
                  </a:lnTo>
                  <a:lnTo>
                    <a:pt x="591" y="941"/>
                  </a:lnTo>
                  <a:lnTo>
                    <a:pt x="589" y="943"/>
                  </a:lnTo>
                  <a:lnTo>
                    <a:pt x="591" y="944"/>
                  </a:lnTo>
                  <a:lnTo>
                    <a:pt x="592" y="945"/>
                  </a:lnTo>
                  <a:lnTo>
                    <a:pt x="592" y="946"/>
                  </a:lnTo>
                  <a:lnTo>
                    <a:pt x="592" y="949"/>
                  </a:lnTo>
                  <a:lnTo>
                    <a:pt x="592" y="950"/>
                  </a:lnTo>
                  <a:lnTo>
                    <a:pt x="593" y="951"/>
                  </a:lnTo>
                  <a:lnTo>
                    <a:pt x="597" y="954"/>
                  </a:lnTo>
                  <a:lnTo>
                    <a:pt x="597" y="957"/>
                  </a:lnTo>
                  <a:lnTo>
                    <a:pt x="597" y="959"/>
                  </a:lnTo>
                  <a:lnTo>
                    <a:pt x="596" y="964"/>
                  </a:lnTo>
                  <a:lnTo>
                    <a:pt x="594" y="969"/>
                  </a:lnTo>
                  <a:lnTo>
                    <a:pt x="594" y="975"/>
                  </a:lnTo>
                  <a:lnTo>
                    <a:pt x="596" y="979"/>
                  </a:lnTo>
                  <a:lnTo>
                    <a:pt x="597" y="983"/>
                  </a:lnTo>
                  <a:lnTo>
                    <a:pt x="597" y="988"/>
                  </a:lnTo>
                  <a:lnTo>
                    <a:pt x="606" y="986"/>
                  </a:lnTo>
                  <a:lnTo>
                    <a:pt x="613" y="983"/>
                  </a:lnTo>
                  <a:lnTo>
                    <a:pt x="627" y="975"/>
                  </a:lnTo>
                  <a:lnTo>
                    <a:pt x="633" y="972"/>
                  </a:lnTo>
                  <a:lnTo>
                    <a:pt x="638" y="971"/>
                  </a:lnTo>
                  <a:lnTo>
                    <a:pt x="644" y="966"/>
                  </a:lnTo>
                  <a:lnTo>
                    <a:pt x="646" y="971"/>
                  </a:lnTo>
                  <a:lnTo>
                    <a:pt x="650" y="973"/>
                  </a:lnTo>
                  <a:lnTo>
                    <a:pt x="654" y="973"/>
                  </a:lnTo>
                  <a:lnTo>
                    <a:pt x="657" y="975"/>
                  </a:lnTo>
                  <a:lnTo>
                    <a:pt x="662" y="977"/>
                  </a:lnTo>
                  <a:lnTo>
                    <a:pt x="668" y="979"/>
                  </a:lnTo>
                  <a:lnTo>
                    <a:pt x="679" y="981"/>
                  </a:lnTo>
                  <a:lnTo>
                    <a:pt x="686" y="983"/>
                  </a:lnTo>
                  <a:lnTo>
                    <a:pt x="688" y="985"/>
                  </a:lnTo>
                  <a:lnTo>
                    <a:pt x="691" y="988"/>
                  </a:lnTo>
                  <a:lnTo>
                    <a:pt x="696" y="992"/>
                  </a:lnTo>
                  <a:lnTo>
                    <a:pt x="702" y="996"/>
                  </a:lnTo>
                  <a:lnTo>
                    <a:pt x="715" y="999"/>
                  </a:lnTo>
                  <a:lnTo>
                    <a:pt x="719" y="1002"/>
                  </a:lnTo>
                  <a:lnTo>
                    <a:pt x="721" y="1005"/>
                  </a:lnTo>
                  <a:lnTo>
                    <a:pt x="723" y="1009"/>
                  </a:lnTo>
                  <a:lnTo>
                    <a:pt x="723" y="1014"/>
                  </a:lnTo>
                  <a:lnTo>
                    <a:pt x="723" y="1022"/>
                  </a:lnTo>
                  <a:lnTo>
                    <a:pt x="735" y="1024"/>
                  </a:lnTo>
                  <a:lnTo>
                    <a:pt x="742" y="1026"/>
                  </a:lnTo>
                  <a:lnTo>
                    <a:pt x="749" y="1026"/>
                  </a:lnTo>
                  <a:lnTo>
                    <a:pt x="751" y="1026"/>
                  </a:lnTo>
                  <a:lnTo>
                    <a:pt x="752" y="1024"/>
                  </a:lnTo>
                  <a:lnTo>
                    <a:pt x="754" y="1021"/>
                  </a:lnTo>
                  <a:lnTo>
                    <a:pt x="756" y="1017"/>
                  </a:lnTo>
                  <a:lnTo>
                    <a:pt x="758" y="1014"/>
                  </a:lnTo>
                  <a:lnTo>
                    <a:pt x="761" y="1013"/>
                  </a:lnTo>
                  <a:lnTo>
                    <a:pt x="762" y="1013"/>
                  </a:lnTo>
                  <a:lnTo>
                    <a:pt x="765" y="1013"/>
                  </a:lnTo>
                  <a:lnTo>
                    <a:pt x="767" y="1013"/>
                  </a:lnTo>
                  <a:lnTo>
                    <a:pt x="770" y="1008"/>
                  </a:lnTo>
                  <a:lnTo>
                    <a:pt x="772" y="1004"/>
                  </a:lnTo>
                  <a:lnTo>
                    <a:pt x="776" y="995"/>
                  </a:lnTo>
                  <a:lnTo>
                    <a:pt x="777" y="992"/>
                  </a:lnTo>
                  <a:lnTo>
                    <a:pt x="781" y="991"/>
                  </a:lnTo>
                  <a:lnTo>
                    <a:pt x="786" y="990"/>
                  </a:lnTo>
                  <a:lnTo>
                    <a:pt x="790" y="989"/>
                  </a:lnTo>
                  <a:lnTo>
                    <a:pt x="794" y="986"/>
                  </a:lnTo>
                  <a:lnTo>
                    <a:pt x="798" y="984"/>
                  </a:lnTo>
                  <a:lnTo>
                    <a:pt x="800" y="983"/>
                  </a:lnTo>
                  <a:lnTo>
                    <a:pt x="803" y="984"/>
                  </a:lnTo>
                  <a:lnTo>
                    <a:pt x="804" y="985"/>
                  </a:lnTo>
                  <a:lnTo>
                    <a:pt x="806" y="986"/>
                  </a:lnTo>
                  <a:lnTo>
                    <a:pt x="813" y="986"/>
                  </a:lnTo>
                  <a:lnTo>
                    <a:pt x="818" y="986"/>
                  </a:lnTo>
                  <a:lnTo>
                    <a:pt x="823" y="989"/>
                  </a:lnTo>
                  <a:lnTo>
                    <a:pt x="828" y="992"/>
                  </a:lnTo>
                  <a:lnTo>
                    <a:pt x="829" y="992"/>
                  </a:lnTo>
                  <a:lnTo>
                    <a:pt x="832" y="994"/>
                  </a:lnTo>
                  <a:lnTo>
                    <a:pt x="847" y="991"/>
                  </a:lnTo>
                  <a:lnTo>
                    <a:pt x="850" y="990"/>
                  </a:lnTo>
                  <a:lnTo>
                    <a:pt x="853" y="990"/>
                  </a:lnTo>
                  <a:lnTo>
                    <a:pt x="859" y="990"/>
                  </a:lnTo>
                  <a:lnTo>
                    <a:pt x="864" y="989"/>
                  </a:lnTo>
                  <a:lnTo>
                    <a:pt x="869" y="986"/>
                  </a:lnTo>
                  <a:lnTo>
                    <a:pt x="874" y="983"/>
                  </a:lnTo>
                  <a:lnTo>
                    <a:pt x="880" y="976"/>
                  </a:lnTo>
                  <a:lnTo>
                    <a:pt x="885" y="966"/>
                  </a:lnTo>
                  <a:lnTo>
                    <a:pt x="893" y="962"/>
                  </a:lnTo>
                  <a:lnTo>
                    <a:pt x="897" y="959"/>
                  </a:lnTo>
                  <a:lnTo>
                    <a:pt x="898" y="959"/>
                  </a:lnTo>
                  <a:lnTo>
                    <a:pt x="899" y="960"/>
                  </a:lnTo>
                  <a:lnTo>
                    <a:pt x="899" y="964"/>
                  </a:lnTo>
                  <a:lnTo>
                    <a:pt x="897" y="967"/>
                  </a:lnTo>
                  <a:lnTo>
                    <a:pt x="895" y="971"/>
                  </a:lnTo>
                  <a:lnTo>
                    <a:pt x="895" y="972"/>
                  </a:lnTo>
                  <a:lnTo>
                    <a:pt x="897" y="973"/>
                  </a:lnTo>
                  <a:lnTo>
                    <a:pt x="900" y="975"/>
                  </a:lnTo>
                  <a:lnTo>
                    <a:pt x="903" y="976"/>
                  </a:lnTo>
                  <a:lnTo>
                    <a:pt x="904" y="978"/>
                  </a:lnTo>
                  <a:lnTo>
                    <a:pt x="904" y="982"/>
                  </a:lnTo>
                  <a:lnTo>
                    <a:pt x="906" y="988"/>
                  </a:lnTo>
                  <a:lnTo>
                    <a:pt x="906" y="992"/>
                  </a:lnTo>
                  <a:lnTo>
                    <a:pt x="906" y="995"/>
                  </a:lnTo>
                  <a:lnTo>
                    <a:pt x="908" y="995"/>
                  </a:lnTo>
                  <a:lnTo>
                    <a:pt x="912" y="994"/>
                  </a:lnTo>
                  <a:lnTo>
                    <a:pt x="917" y="991"/>
                  </a:lnTo>
                  <a:lnTo>
                    <a:pt x="919" y="991"/>
                  </a:lnTo>
                  <a:lnTo>
                    <a:pt x="922" y="991"/>
                  </a:lnTo>
                  <a:lnTo>
                    <a:pt x="932" y="989"/>
                  </a:lnTo>
                  <a:lnTo>
                    <a:pt x="939" y="988"/>
                  </a:lnTo>
                  <a:lnTo>
                    <a:pt x="946" y="986"/>
                  </a:lnTo>
                  <a:lnTo>
                    <a:pt x="950" y="986"/>
                  </a:lnTo>
                  <a:lnTo>
                    <a:pt x="953" y="985"/>
                  </a:lnTo>
                  <a:lnTo>
                    <a:pt x="953" y="984"/>
                  </a:lnTo>
                  <a:lnTo>
                    <a:pt x="953" y="983"/>
                  </a:lnTo>
                  <a:lnTo>
                    <a:pt x="949" y="977"/>
                  </a:lnTo>
                  <a:lnTo>
                    <a:pt x="947" y="973"/>
                  </a:lnTo>
                  <a:lnTo>
                    <a:pt x="947" y="971"/>
                  </a:lnTo>
                  <a:lnTo>
                    <a:pt x="951" y="966"/>
                  </a:lnTo>
                  <a:lnTo>
                    <a:pt x="951" y="965"/>
                  </a:lnTo>
                  <a:lnTo>
                    <a:pt x="951" y="963"/>
                  </a:lnTo>
                  <a:lnTo>
                    <a:pt x="949" y="960"/>
                  </a:lnTo>
                  <a:lnTo>
                    <a:pt x="946" y="958"/>
                  </a:lnTo>
                  <a:lnTo>
                    <a:pt x="942" y="958"/>
                  </a:lnTo>
                  <a:lnTo>
                    <a:pt x="940" y="959"/>
                  </a:lnTo>
                  <a:lnTo>
                    <a:pt x="937" y="960"/>
                  </a:lnTo>
                  <a:lnTo>
                    <a:pt x="935" y="960"/>
                  </a:lnTo>
                  <a:lnTo>
                    <a:pt x="932" y="957"/>
                  </a:lnTo>
                  <a:lnTo>
                    <a:pt x="930" y="953"/>
                  </a:lnTo>
                  <a:lnTo>
                    <a:pt x="930" y="950"/>
                  </a:lnTo>
                  <a:lnTo>
                    <a:pt x="930" y="945"/>
                  </a:lnTo>
                  <a:lnTo>
                    <a:pt x="932" y="935"/>
                  </a:lnTo>
                  <a:lnTo>
                    <a:pt x="937" y="927"/>
                  </a:lnTo>
                  <a:lnTo>
                    <a:pt x="939" y="926"/>
                  </a:lnTo>
                  <a:lnTo>
                    <a:pt x="941" y="925"/>
                  </a:lnTo>
                  <a:lnTo>
                    <a:pt x="946" y="924"/>
                  </a:lnTo>
                  <a:lnTo>
                    <a:pt x="953" y="920"/>
                  </a:lnTo>
                  <a:lnTo>
                    <a:pt x="955" y="919"/>
                  </a:lnTo>
                  <a:lnTo>
                    <a:pt x="959" y="918"/>
                  </a:lnTo>
                  <a:lnTo>
                    <a:pt x="960" y="919"/>
                  </a:lnTo>
                  <a:lnTo>
                    <a:pt x="961" y="920"/>
                  </a:lnTo>
                  <a:lnTo>
                    <a:pt x="961" y="922"/>
                  </a:lnTo>
                  <a:lnTo>
                    <a:pt x="963" y="924"/>
                  </a:lnTo>
                  <a:lnTo>
                    <a:pt x="965" y="925"/>
                  </a:lnTo>
                  <a:lnTo>
                    <a:pt x="968" y="925"/>
                  </a:lnTo>
                  <a:lnTo>
                    <a:pt x="972" y="924"/>
                  </a:lnTo>
                  <a:lnTo>
                    <a:pt x="977" y="922"/>
                  </a:lnTo>
                  <a:lnTo>
                    <a:pt x="982" y="920"/>
                  </a:lnTo>
                  <a:lnTo>
                    <a:pt x="982" y="918"/>
                  </a:lnTo>
                  <a:lnTo>
                    <a:pt x="982" y="915"/>
                  </a:lnTo>
                  <a:lnTo>
                    <a:pt x="982" y="913"/>
                  </a:lnTo>
                  <a:lnTo>
                    <a:pt x="982" y="911"/>
                  </a:lnTo>
                  <a:lnTo>
                    <a:pt x="982" y="909"/>
                  </a:lnTo>
                  <a:lnTo>
                    <a:pt x="983" y="908"/>
                  </a:lnTo>
                  <a:lnTo>
                    <a:pt x="994" y="909"/>
                  </a:lnTo>
                  <a:lnTo>
                    <a:pt x="999" y="908"/>
                  </a:lnTo>
                  <a:lnTo>
                    <a:pt x="1003" y="906"/>
                  </a:lnTo>
                  <a:lnTo>
                    <a:pt x="1010" y="900"/>
                  </a:lnTo>
                  <a:lnTo>
                    <a:pt x="1017" y="896"/>
                  </a:lnTo>
                  <a:lnTo>
                    <a:pt x="1025" y="893"/>
                  </a:lnTo>
                  <a:lnTo>
                    <a:pt x="1033" y="890"/>
                  </a:lnTo>
                  <a:lnTo>
                    <a:pt x="1036" y="889"/>
                  </a:lnTo>
                  <a:lnTo>
                    <a:pt x="1040" y="887"/>
                  </a:lnTo>
                  <a:lnTo>
                    <a:pt x="1041" y="883"/>
                  </a:lnTo>
                  <a:lnTo>
                    <a:pt x="1043" y="879"/>
                  </a:lnTo>
                  <a:lnTo>
                    <a:pt x="1043" y="876"/>
                  </a:lnTo>
                  <a:lnTo>
                    <a:pt x="1040" y="874"/>
                  </a:lnTo>
                  <a:lnTo>
                    <a:pt x="1039" y="873"/>
                  </a:lnTo>
                  <a:lnTo>
                    <a:pt x="1039" y="870"/>
                  </a:lnTo>
                  <a:lnTo>
                    <a:pt x="1049" y="856"/>
                  </a:lnTo>
                  <a:lnTo>
                    <a:pt x="1052" y="852"/>
                  </a:lnTo>
                  <a:lnTo>
                    <a:pt x="1053" y="848"/>
                  </a:lnTo>
                  <a:lnTo>
                    <a:pt x="1053" y="844"/>
                  </a:lnTo>
                  <a:lnTo>
                    <a:pt x="1052" y="839"/>
                  </a:lnTo>
                  <a:lnTo>
                    <a:pt x="1050" y="837"/>
                  </a:lnTo>
                  <a:lnTo>
                    <a:pt x="1048" y="836"/>
                  </a:lnTo>
                  <a:lnTo>
                    <a:pt x="1046" y="834"/>
                  </a:lnTo>
                  <a:lnTo>
                    <a:pt x="1045" y="831"/>
                  </a:lnTo>
                  <a:lnTo>
                    <a:pt x="1044" y="828"/>
                  </a:lnTo>
                  <a:lnTo>
                    <a:pt x="1041" y="824"/>
                  </a:lnTo>
                  <a:lnTo>
                    <a:pt x="1040" y="820"/>
                  </a:lnTo>
                  <a:lnTo>
                    <a:pt x="1039" y="817"/>
                  </a:lnTo>
                  <a:lnTo>
                    <a:pt x="1040" y="815"/>
                  </a:lnTo>
                  <a:lnTo>
                    <a:pt x="1043" y="813"/>
                  </a:lnTo>
                  <a:lnTo>
                    <a:pt x="1067" y="810"/>
                  </a:lnTo>
                  <a:lnTo>
                    <a:pt x="1083" y="807"/>
                  </a:lnTo>
                  <a:lnTo>
                    <a:pt x="1085" y="807"/>
                  </a:lnTo>
                  <a:lnTo>
                    <a:pt x="1086" y="806"/>
                  </a:lnTo>
                  <a:lnTo>
                    <a:pt x="1087" y="805"/>
                  </a:lnTo>
                  <a:lnTo>
                    <a:pt x="1087" y="804"/>
                  </a:lnTo>
                  <a:lnTo>
                    <a:pt x="1086" y="801"/>
                  </a:lnTo>
                  <a:lnTo>
                    <a:pt x="1083" y="799"/>
                  </a:lnTo>
                  <a:lnTo>
                    <a:pt x="1082" y="797"/>
                  </a:lnTo>
                  <a:lnTo>
                    <a:pt x="1082" y="788"/>
                  </a:lnTo>
                  <a:lnTo>
                    <a:pt x="1082" y="780"/>
                  </a:lnTo>
                  <a:lnTo>
                    <a:pt x="1083" y="777"/>
                  </a:lnTo>
                  <a:lnTo>
                    <a:pt x="1086" y="773"/>
                  </a:lnTo>
                  <a:lnTo>
                    <a:pt x="1088" y="771"/>
                  </a:lnTo>
                  <a:lnTo>
                    <a:pt x="1093" y="771"/>
                  </a:lnTo>
                  <a:lnTo>
                    <a:pt x="1107" y="771"/>
                  </a:lnTo>
                  <a:lnTo>
                    <a:pt x="1114" y="769"/>
                  </a:lnTo>
                  <a:lnTo>
                    <a:pt x="1121" y="768"/>
                  </a:lnTo>
                  <a:lnTo>
                    <a:pt x="1125" y="767"/>
                  </a:lnTo>
                  <a:lnTo>
                    <a:pt x="1128" y="765"/>
                  </a:lnTo>
                  <a:lnTo>
                    <a:pt x="1129" y="761"/>
                  </a:lnTo>
                  <a:lnTo>
                    <a:pt x="1130" y="758"/>
                  </a:lnTo>
                  <a:lnTo>
                    <a:pt x="1130" y="749"/>
                  </a:lnTo>
                  <a:lnTo>
                    <a:pt x="1130" y="746"/>
                  </a:lnTo>
                  <a:lnTo>
                    <a:pt x="1132" y="741"/>
                  </a:lnTo>
                  <a:lnTo>
                    <a:pt x="1133" y="740"/>
                  </a:lnTo>
                  <a:lnTo>
                    <a:pt x="1134" y="737"/>
                  </a:lnTo>
                  <a:lnTo>
                    <a:pt x="1147" y="732"/>
                  </a:lnTo>
                  <a:lnTo>
                    <a:pt x="1154" y="727"/>
                  </a:lnTo>
                  <a:lnTo>
                    <a:pt x="1161" y="722"/>
                  </a:lnTo>
                  <a:lnTo>
                    <a:pt x="1163" y="721"/>
                  </a:lnTo>
                  <a:lnTo>
                    <a:pt x="1166" y="720"/>
                  </a:lnTo>
                  <a:lnTo>
                    <a:pt x="1170" y="719"/>
                  </a:lnTo>
                  <a:lnTo>
                    <a:pt x="1172" y="717"/>
                  </a:lnTo>
                  <a:lnTo>
                    <a:pt x="1177" y="714"/>
                  </a:lnTo>
                  <a:lnTo>
                    <a:pt x="1184" y="710"/>
                  </a:lnTo>
                  <a:lnTo>
                    <a:pt x="1190" y="709"/>
                  </a:lnTo>
                  <a:lnTo>
                    <a:pt x="1198" y="708"/>
                  </a:lnTo>
                  <a:lnTo>
                    <a:pt x="1206" y="707"/>
                  </a:lnTo>
                  <a:lnTo>
                    <a:pt x="1208" y="707"/>
                  </a:lnTo>
                  <a:lnTo>
                    <a:pt x="1209" y="705"/>
                  </a:lnTo>
                  <a:lnTo>
                    <a:pt x="1209" y="702"/>
                  </a:lnTo>
                  <a:lnTo>
                    <a:pt x="1205" y="696"/>
                  </a:lnTo>
                  <a:lnTo>
                    <a:pt x="1204" y="694"/>
                  </a:lnTo>
                  <a:lnTo>
                    <a:pt x="1204" y="692"/>
                  </a:lnTo>
                  <a:lnTo>
                    <a:pt x="1210" y="689"/>
                  </a:lnTo>
                  <a:lnTo>
                    <a:pt x="1215" y="686"/>
                  </a:lnTo>
                  <a:lnTo>
                    <a:pt x="1222" y="684"/>
                  </a:lnTo>
                  <a:lnTo>
                    <a:pt x="1227" y="681"/>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7" name="Freeform 1166"/>
            <p:cNvSpPr>
              <a:spLocks/>
            </p:cNvSpPr>
            <p:nvPr/>
          </p:nvSpPr>
          <p:spPr bwMode="auto">
            <a:xfrm>
              <a:off x="6624640" y="1531942"/>
              <a:ext cx="2511425" cy="1476375"/>
            </a:xfrm>
            <a:custGeom>
              <a:avLst/>
              <a:gdLst>
                <a:gd name="T0" fmla="*/ 2147483647 w 1714"/>
                <a:gd name="T1" fmla="*/ 2147483647 h 930"/>
                <a:gd name="T2" fmla="*/ 2147483647 w 1714"/>
                <a:gd name="T3" fmla="*/ 2147483647 h 930"/>
                <a:gd name="T4" fmla="*/ 2147483647 w 1714"/>
                <a:gd name="T5" fmla="*/ 2147483647 h 930"/>
                <a:gd name="T6" fmla="*/ 2147483647 w 1714"/>
                <a:gd name="T7" fmla="*/ 2147483647 h 930"/>
                <a:gd name="T8" fmla="*/ 2147483647 w 1714"/>
                <a:gd name="T9" fmla="*/ 2147483647 h 930"/>
                <a:gd name="T10" fmla="*/ 2147483647 w 1714"/>
                <a:gd name="T11" fmla="*/ 2147483647 h 930"/>
                <a:gd name="T12" fmla="*/ 2147483647 w 1714"/>
                <a:gd name="T13" fmla="*/ 2147483647 h 930"/>
                <a:gd name="T14" fmla="*/ 2147483647 w 1714"/>
                <a:gd name="T15" fmla="*/ 2147483647 h 930"/>
                <a:gd name="T16" fmla="*/ 2147483647 w 1714"/>
                <a:gd name="T17" fmla="*/ 2147483647 h 930"/>
                <a:gd name="T18" fmla="*/ 2147483647 w 1714"/>
                <a:gd name="T19" fmla="*/ 2147483647 h 930"/>
                <a:gd name="T20" fmla="*/ 2147483647 w 1714"/>
                <a:gd name="T21" fmla="*/ 2147483647 h 930"/>
                <a:gd name="T22" fmla="*/ 2147483647 w 1714"/>
                <a:gd name="T23" fmla="*/ 2147483647 h 930"/>
                <a:gd name="T24" fmla="*/ 2147483647 w 1714"/>
                <a:gd name="T25" fmla="*/ 2147483647 h 930"/>
                <a:gd name="T26" fmla="*/ 2147483647 w 1714"/>
                <a:gd name="T27" fmla="*/ 2147483647 h 930"/>
                <a:gd name="T28" fmla="*/ 2147483647 w 1714"/>
                <a:gd name="T29" fmla="*/ 2147483647 h 930"/>
                <a:gd name="T30" fmla="*/ 2147483647 w 1714"/>
                <a:gd name="T31" fmla="*/ 2147483647 h 930"/>
                <a:gd name="T32" fmla="*/ 2147483647 w 1714"/>
                <a:gd name="T33" fmla="*/ 2147483647 h 930"/>
                <a:gd name="T34" fmla="*/ 2147483647 w 1714"/>
                <a:gd name="T35" fmla="*/ 2147483647 h 930"/>
                <a:gd name="T36" fmla="*/ 2147483647 w 1714"/>
                <a:gd name="T37" fmla="*/ 2147483647 h 930"/>
                <a:gd name="T38" fmla="*/ 2147483647 w 1714"/>
                <a:gd name="T39" fmla="*/ 2147483647 h 930"/>
                <a:gd name="T40" fmla="*/ 2147483647 w 1714"/>
                <a:gd name="T41" fmla="*/ 2147483647 h 930"/>
                <a:gd name="T42" fmla="*/ 2147483647 w 1714"/>
                <a:gd name="T43" fmla="*/ 2147483647 h 930"/>
                <a:gd name="T44" fmla="*/ 2147483647 w 1714"/>
                <a:gd name="T45" fmla="*/ 2147483647 h 930"/>
                <a:gd name="T46" fmla="*/ 2147483647 w 1714"/>
                <a:gd name="T47" fmla="*/ 2147483647 h 930"/>
                <a:gd name="T48" fmla="*/ 2147483647 w 1714"/>
                <a:gd name="T49" fmla="*/ 2147483647 h 930"/>
                <a:gd name="T50" fmla="*/ 2147483647 w 1714"/>
                <a:gd name="T51" fmla="*/ 2147483647 h 930"/>
                <a:gd name="T52" fmla="*/ 2147483647 w 1714"/>
                <a:gd name="T53" fmla="*/ 2147483647 h 930"/>
                <a:gd name="T54" fmla="*/ 2147483647 w 1714"/>
                <a:gd name="T55" fmla="*/ 2147483647 h 930"/>
                <a:gd name="T56" fmla="*/ 2147483647 w 1714"/>
                <a:gd name="T57" fmla="*/ 2147483647 h 930"/>
                <a:gd name="T58" fmla="*/ 2147483647 w 1714"/>
                <a:gd name="T59" fmla="*/ 2147483647 h 930"/>
                <a:gd name="T60" fmla="*/ 2147483647 w 1714"/>
                <a:gd name="T61" fmla="*/ 2147483647 h 930"/>
                <a:gd name="T62" fmla="*/ 2147483647 w 1714"/>
                <a:gd name="T63" fmla="*/ 2147483647 h 930"/>
                <a:gd name="T64" fmla="*/ 2147483647 w 1714"/>
                <a:gd name="T65" fmla="*/ 2147483647 h 930"/>
                <a:gd name="T66" fmla="*/ 2147483647 w 1714"/>
                <a:gd name="T67" fmla="*/ 2147483647 h 930"/>
                <a:gd name="T68" fmla="*/ 2147483647 w 1714"/>
                <a:gd name="T69" fmla="*/ 2147483647 h 930"/>
                <a:gd name="T70" fmla="*/ 2147483647 w 1714"/>
                <a:gd name="T71" fmla="*/ 2147483647 h 930"/>
                <a:gd name="T72" fmla="*/ 2147483647 w 1714"/>
                <a:gd name="T73" fmla="*/ 2147483647 h 930"/>
                <a:gd name="T74" fmla="*/ 2147483647 w 1714"/>
                <a:gd name="T75" fmla="*/ 2147483647 h 930"/>
                <a:gd name="T76" fmla="*/ 2147483647 w 1714"/>
                <a:gd name="T77" fmla="*/ 2147483647 h 930"/>
                <a:gd name="T78" fmla="*/ 2147483647 w 1714"/>
                <a:gd name="T79" fmla="*/ 2147483647 h 930"/>
                <a:gd name="T80" fmla="*/ 2147483647 w 1714"/>
                <a:gd name="T81" fmla="*/ 2147483647 h 930"/>
                <a:gd name="T82" fmla="*/ 2147483647 w 1714"/>
                <a:gd name="T83" fmla="*/ 2147483647 h 930"/>
                <a:gd name="T84" fmla="*/ 2147483647 w 1714"/>
                <a:gd name="T85" fmla="*/ 2147483647 h 930"/>
                <a:gd name="T86" fmla="*/ 2147483647 w 1714"/>
                <a:gd name="T87" fmla="*/ 2147483647 h 930"/>
                <a:gd name="T88" fmla="*/ 2147483647 w 1714"/>
                <a:gd name="T89" fmla="*/ 2147483647 h 930"/>
                <a:gd name="T90" fmla="*/ 2147483647 w 1714"/>
                <a:gd name="T91" fmla="*/ 2147483647 h 930"/>
                <a:gd name="T92" fmla="*/ 2147483647 w 1714"/>
                <a:gd name="T93" fmla="*/ 2147483647 h 930"/>
                <a:gd name="T94" fmla="*/ 2147483647 w 1714"/>
                <a:gd name="T95" fmla="*/ 2147483647 h 930"/>
                <a:gd name="T96" fmla="*/ 2147483647 w 1714"/>
                <a:gd name="T97" fmla="*/ 2147483647 h 930"/>
                <a:gd name="T98" fmla="*/ 2147483647 w 1714"/>
                <a:gd name="T99" fmla="*/ 2147483647 h 930"/>
                <a:gd name="T100" fmla="*/ 2147483647 w 1714"/>
                <a:gd name="T101" fmla="*/ 2147483647 h 930"/>
                <a:gd name="T102" fmla="*/ 2147483647 w 1714"/>
                <a:gd name="T103" fmla="*/ 2147483647 h 930"/>
                <a:gd name="T104" fmla="*/ 2147483647 w 1714"/>
                <a:gd name="T105" fmla="*/ 2147483647 h 930"/>
                <a:gd name="T106" fmla="*/ 2147483647 w 1714"/>
                <a:gd name="T107" fmla="*/ 2147483647 h 930"/>
                <a:gd name="T108" fmla="*/ 2147483647 w 1714"/>
                <a:gd name="T109" fmla="*/ 2147483647 h 930"/>
                <a:gd name="T110" fmla="*/ 2147483647 w 1714"/>
                <a:gd name="T111" fmla="*/ 2147483647 h 930"/>
                <a:gd name="T112" fmla="*/ 2147483647 w 1714"/>
                <a:gd name="T113" fmla="*/ 2147483647 h 930"/>
                <a:gd name="T114" fmla="*/ 2147483647 w 1714"/>
                <a:gd name="T115" fmla="*/ 2147483647 h 930"/>
                <a:gd name="T116" fmla="*/ 2147483647 w 1714"/>
                <a:gd name="T117" fmla="*/ 2147483647 h 930"/>
                <a:gd name="T118" fmla="*/ 2147483647 w 171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14"/>
                <a:gd name="T181" fmla="*/ 0 h 930"/>
                <a:gd name="T182" fmla="*/ 1714 w 171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14" h="930">
                  <a:moveTo>
                    <a:pt x="11" y="746"/>
                  </a:moveTo>
                  <a:lnTo>
                    <a:pt x="15" y="743"/>
                  </a:lnTo>
                  <a:lnTo>
                    <a:pt x="20" y="741"/>
                  </a:lnTo>
                  <a:lnTo>
                    <a:pt x="25" y="741"/>
                  </a:lnTo>
                  <a:lnTo>
                    <a:pt x="30" y="741"/>
                  </a:lnTo>
                  <a:lnTo>
                    <a:pt x="40" y="741"/>
                  </a:lnTo>
                  <a:lnTo>
                    <a:pt x="52" y="743"/>
                  </a:lnTo>
                  <a:lnTo>
                    <a:pt x="53" y="742"/>
                  </a:lnTo>
                  <a:lnTo>
                    <a:pt x="54" y="740"/>
                  </a:lnTo>
                  <a:lnTo>
                    <a:pt x="56" y="739"/>
                  </a:lnTo>
                  <a:lnTo>
                    <a:pt x="58" y="737"/>
                  </a:lnTo>
                  <a:lnTo>
                    <a:pt x="61" y="739"/>
                  </a:lnTo>
                  <a:lnTo>
                    <a:pt x="63" y="740"/>
                  </a:lnTo>
                  <a:lnTo>
                    <a:pt x="64" y="742"/>
                  </a:lnTo>
                  <a:lnTo>
                    <a:pt x="66" y="743"/>
                  </a:lnTo>
                  <a:lnTo>
                    <a:pt x="72" y="746"/>
                  </a:lnTo>
                  <a:lnTo>
                    <a:pt x="76" y="749"/>
                  </a:lnTo>
                  <a:lnTo>
                    <a:pt x="81" y="753"/>
                  </a:lnTo>
                  <a:lnTo>
                    <a:pt x="85" y="756"/>
                  </a:lnTo>
                  <a:lnTo>
                    <a:pt x="89" y="756"/>
                  </a:lnTo>
                  <a:lnTo>
                    <a:pt x="91" y="756"/>
                  </a:lnTo>
                  <a:lnTo>
                    <a:pt x="97" y="755"/>
                  </a:lnTo>
                  <a:lnTo>
                    <a:pt x="101" y="755"/>
                  </a:lnTo>
                  <a:lnTo>
                    <a:pt x="105" y="756"/>
                  </a:lnTo>
                  <a:lnTo>
                    <a:pt x="109" y="758"/>
                  </a:lnTo>
                  <a:lnTo>
                    <a:pt x="111" y="759"/>
                  </a:lnTo>
                  <a:lnTo>
                    <a:pt x="127" y="758"/>
                  </a:lnTo>
                  <a:lnTo>
                    <a:pt x="134" y="756"/>
                  </a:lnTo>
                  <a:lnTo>
                    <a:pt x="142" y="758"/>
                  </a:lnTo>
                  <a:lnTo>
                    <a:pt x="144" y="756"/>
                  </a:lnTo>
                  <a:lnTo>
                    <a:pt x="147" y="755"/>
                  </a:lnTo>
                  <a:lnTo>
                    <a:pt x="148" y="752"/>
                  </a:lnTo>
                  <a:lnTo>
                    <a:pt x="148" y="748"/>
                  </a:lnTo>
                  <a:lnTo>
                    <a:pt x="143" y="742"/>
                  </a:lnTo>
                  <a:lnTo>
                    <a:pt x="139" y="735"/>
                  </a:lnTo>
                  <a:lnTo>
                    <a:pt x="138" y="729"/>
                  </a:lnTo>
                  <a:lnTo>
                    <a:pt x="138" y="726"/>
                  </a:lnTo>
                  <a:lnTo>
                    <a:pt x="139" y="723"/>
                  </a:lnTo>
                  <a:lnTo>
                    <a:pt x="143" y="720"/>
                  </a:lnTo>
                  <a:lnTo>
                    <a:pt x="148" y="717"/>
                  </a:lnTo>
                  <a:lnTo>
                    <a:pt x="160" y="711"/>
                  </a:lnTo>
                  <a:lnTo>
                    <a:pt x="162" y="710"/>
                  </a:lnTo>
                  <a:lnTo>
                    <a:pt x="166" y="710"/>
                  </a:lnTo>
                  <a:lnTo>
                    <a:pt x="174" y="711"/>
                  </a:lnTo>
                  <a:lnTo>
                    <a:pt x="181" y="714"/>
                  </a:lnTo>
                  <a:lnTo>
                    <a:pt x="189" y="715"/>
                  </a:lnTo>
                  <a:lnTo>
                    <a:pt x="190" y="716"/>
                  </a:lnTo>
                  <a:lnTo>
                    <a:pt x="193" y="718"/>
                  </a:lnTo>
                  <a:lnTo>
                    <a:pt x="194" y="721"/>
                  </a:lnTo>
                  <a:lnTo>
                    <a:pt x="198" y="722"/>
                  </a:lnTo>
                  <a:lnTo>
                    <a:pt x="198" y="724"/>
                  </a:lnTo>
                  <a:lnTo>
                    <a:pt x="204" y="726"/>
                  </a:lnTo>
                  <a:lnTo>
                    <a:pt x="205" y="728"/>
                  </a:lnTo>
                  <a:lnTo>
                    <a:pt x="207" y="730"/>
                  </a:lnTo>
                  <a:lnTo>
                    <a:pt x="209" y="736"/>
                  </a:lnTo>
                  <a:lnTo>
                    <a:pt x="212" y="742"/>
                  </a:lnTo>
                  <a:lnTo>
                    <a:pt x="216" y="747"/>
                  </a:lnTo>
                  <a:lnTo>
                    <a:pt x="219" y="752"/>
                  </a:lnTo>
                  <a:lnTo>
                    <a:pt x="227" y="756"/>
                  </a:lnTo>
                  <a:lnTo>
                    <a:pt x="233" y="759"/>
                  </a:lnTo>
                  <a:lnTo>
                    <a:pt x="241" y="760"/>
                  </a:lnTo>
                  <a:lnTo>
                    <a:pt x="247" y="759"/>
                  </a:lnTo>
                  <a:lnTo>
                    <a:pt x="251" y="756"/>
                  </a:lnTo>
                  <a:lnTo>
                    <a:pt x="254" y="754"/>
                  </a:lnTo>
                  <a:lnTo>
                    <a:pt x="259" y="752"/>
                  </a:lnTo>
                  <a:lnTo>
                    <a:pt x="261" y="750"/>
                  </a:lnTo>
                  <a:lnTo>
                    <a:pt x="265" y="752"/>
                  </a:lnTo>
                  <a:lnTo>
                    <a:pt x="279" y="758"/>
                  </a:lnTo>
                  <a:lnTo>
                    <a:pt x="283" y="759"/>
                  </a:lnTo>
                  <a:lnTo>
                    <a:pt x="287" y="759"/>
                  </a:lnTo>
                  <a:lnTo>
                    <a:pt x="290" y="759"/>
                  </a:lnTo>
                  <a:lnTo>
                    <a:pt x="294" y="759"/>
                  </a:lnTo>
                  <a:lnTo>
                    <a:pt x="297" y="759"/>
                  </a:lnTo>
                  <a:lnTo>
                    <a:pt x="298" y="761"/>
                  </a:lnTo>
                  <a:lnTo>
                    <a:pt x="299" y="765"/>
                  </a:lnTo>
                  <a:lnTo>
                    <a:pt x="303" y="769"/>
                  </a:lnTo>
                  <a:lnTo>
                    <a:pt x="304" y="773"/>
                  </a:lnTo>
                  <a:lnTo>
                    <a:pt x="307" y="774"/>
                  </a:lnTo>
                  <a:lnTo>
                    <a:pt x="311" y="774"/>
                  </a:lnTo>
                  <a:lnTo>
                    <a:pt x="313" y="774"/>
                  </a:lnTo>
                  <a:lnTo>
                    <a:pt x="317" y="773"/>
                  </a:lnTo>
                  <a:lnTo>
                    <a:pt x="320" y="773"/>
                  </a:lnTo>
                  <a:lnTo>
                    <a:pt x="334" y="775"/>
                  </a:lnTo>
                  <a:lnTo>
                    <a:pt x="346" y="775"/>
                  </a:lnTo>
                  <a:lnTo>
                    <a:pt x="353" y="774"/>
                  </a:lnTo>
                  <a:lnTo>
                    <a:pt x="359" y="773"/>
                  </a:lnTo>
                  <a:lnTo>
                    <a:pt x="365" y="771"/>
                  </a:lnTo>
                  <a:lnTo>
                    <a:pt x="372" y="766"/>
                  </a:lnTo>
                  <a:lnTo>
                    <a:pt x="378" y="762"/>
                  </a:lnTo>
                  <a:lnTo>
                    <a:pt x="384" y="760"/>
                  </a:lnTo>
                  <a:lnTo>
                    <a:pt x="400" y="756"/>
                  </a:lnTo>
                  <a:lnTo>
                    <a:pt x="403" y="755"/>
                  </a:lnTo>
                  <a:lnTo>
                    <a:pt x="409" y="755"/>
                  </a:lnTo>
                  <a:lnTo>
                    <a:pt x="417" y="756"/>
                  </a:lnTo>
                  <a:lnTo>
                    <a:pt x="425" y="759"/>
                  </a:lnTo>
                  <a:lnTo>
                    <a:pt x="429" y="759"/>
                  </a:lnTo>
                  <a:lnTo>
                    <a:pt x="433" y="758"/>
                  </a:lnTo>
                  <a:lnTo>
                    <a:pt x="438" y="758"/>
                  </a:lnTo>
                  <a:lnTo>
                    <a:pt x="443" y="759"/>
                  </a:lnTo>
                  <a:lnTo>
                    <a:pt x="448" y="761"/>
                  </a:lnTo>
                  <a:lnTo>
                    <a:pt x="453" y="765"/>
                  </a:lnTo>
                  <a:lnTo>
                    <a:pt x="458" y="767"/>
                  </a:lnTo>
                  <a:lnTo>
                    <a:pt x="463" y="768"/>
                  </a:lnTo>
                  <a:lnTo>
                    <a:pt x="467" y="767"/>
                  </a:lnTo>
                  <a:lnTo>
                    <a:pt x="471" y="766"/>
                  </a:lnTo>
                  <a:lnTo>
                    <a:pt x="475" y="764"/>
                  </a:lnTo>
                  <a:lnTo>
                    <a:pt x="482" y="758"/>
                  </a:lnTo>
                  <a:lnTo>
                    <a:pt x="489" y="749"/>
                  </a:lnTo>
                  <a:lnTo>
                    <a:pt x="494" y="740"/>
                  </a:lnTo>
                  <a:lnTo>
                    <a:pt x="504" y="723"/>
                  </a:lnTo>
                  <a:lnTo>
                    <a:pt x="513" y="709"/>
                  </a:lnTo>
                  <a:lnTo>
                    <a:pt x="518" y="702"/>
                  </a:lnTo>
                  <a:lnTo>
                    <a:pt x="519" y="695"/>
                  </a:lnTo>
                  <a:lnTo>
                    <a:pt x="519" y="692"/>
                  </a:lnTo>
                  <a:lnTo>
                    <a:pt x="518" y="692"/>
                  </a:lnTo>
                  <a:lnTo>
                    <a:pt x="514" y="692"/>
                  </a:lnTo>
                  <a:lnTo>
                    <a:pt x="510" y="692"/>
                  </a:lnTo>
                  <a:lnTo>
                    <a:pt x="505" y="692"/>
                  </a:lnTo>
                  <a:lnTo>
                    <a:pt x="511" y="682"/>
                  </a:lnTo>
                  <a:lnTo>
                    <a:pt x="516" y="677"/>
                  </a:lnTo>
                  <a:lnTo>
                    <a:pt x="523" y="675"/>
                  </a:lnTo>
                  <a:lnTo>
                    <a:pt x="532" y="672"/>
                  </a:lnTo>
                  <a:lnTo>
                    <a:pt x="542" y="672"/>
                  </a:lnTo>
                  <a:lnTo>
                    <a:pt x="553" y="672"/>
                  </a:lnTo>
                  <a:lnTo>
                    <a:pt x="565" y="673"/>
                  </a:lnTo>
                  <a:lnTo>
                    <a:pt x="585" y="677"/>
                  </a:lnTo>
                  <a:lnTo>
                    <a:pt x="594" y="679"/>
                  </a:lnTo>
                  <a:lnTo>
                    <a:pt x="602" y="683"/>
                  </a:lnTo>
                  <a:lnTo>
                    <a:pt x="605" y="683"/>
                  </a:lnTo>
                  <a:lnTo>
                    <a:pt x="607" y="685"/>
                  </a:lnTo>
                  <a:lnTo>
                    <a:pt x="609" y="691"/>
                  </a:lnTo>
                  <a:lnTo>
                    <a:pt x="610" y="698"/>
                  </a:lnTo>
                  <a:lnTo>
                    <a:pt x="613" y="705"/>
                  </a:lnTo>
                  <a:lnTo>
                    <a:pt x="617" y="714"/>
                  </a:lnTo>
                  <a:lnTo>
                    <a:pt x="621" y="722"/>
                  </a:lnTo>
                  <a:lnTo>
                    <a:pt x="626" y="730"/>
                  </a:lnTo>
                  <a:lnTo>
                    <a:pt x="628" y="740"/>
                  </a:lnTo>
                  <a:lnTo>
                    <a:pt x="631" y="745"/>
                  </a:lnTo>
                  <a:lnTo>
                    <a:pt x="636" y="749"/>
                  </a:lnTo>
                  <a:lnTo>
                    <a:pt x="638" y="750"/>
                  </a:lnTo>
                  <a:lnTo>
                    <a:pt x="642" y="752"/>
                  </a:lnTo>
                  <a:lnTo>
                    <a:pt x="646" y="752"/>
                  </a:lnTo>
                  <a:lnTo>
                    <a:pt x="649" y="750"/>
                  </a:lnTo>
                  <a:lnTo>
                    <a:pt x="651" y="749"/>
                  </a:lnTo>
                  <a:lnTo>
                    <a:pt x="652" y="750"/>
                  </a:lnTo>
                  <a:lnTo>
                    <a:pt x="654" y="753"/>
                  </a:lnTo>
                  <a:lnTo>
                    <a:pt x="659" y="754"/>
                  </a:lnTo>
                  <a:lnTo>
                    <a:pt x="664" y="755"/>
                  </a:lnTo>
                  <a:lnTo>
                    <a:pt x="673" y="755"/>
                  </a:lnTo>
                  <a:lnTo>
                    <a:pt x="676" y="756"/>
                  </a:lnTo>
                  <a:lnTo>
                    <a:pt x="679" y="759"/>
                  </a:lnTo>
                  <a:lnTo>
                    <a:pt x="679" y="761"/>
                  </a:lnTo>
                  <a:lnTo>
                    <a:pt x="679" y="764"/>
                  </a:lnTo>
                  <a:lnTo>
                    <a:pt x="679" y="766"/>
                  </a:lnTo>
                  <a:lnTo>
                    <a:pt x="680" y="768"/>
                  </a:lnTo>
                  <a:lnTo>
                    <a:pt x="685" y="773"/>
                  </a:lnTo>
                  <a:lnTo>
                    <a:pt x="688" y="779"/>
                  </a:lnTo>
                  <a:lnTo>
                    <a:pt x="689" y="786"/>
                  </a:lnTo>
                  <a:lnTo>
                    <a:pt x="689" y="793"/>
                  </a:lnTo>
                  <a:lnTo>
                    <a:pt x="690" y="800"/>
                  </a:lnTo>
                  <a:lnTo>
                    <a:pt x="692" y="804"/>
                  </a:lnTo>
                  <a:lnTo>
                    <a:pt x="694" y="806"/>
                  </a:lnTo>
                  <a:lnTo>
                    <a:pt x="697" y="809"/>
                  </a:lnTo>
                  <a:lnTo>
                    <a:pt x="702" y="811"/>
                  </a:lnTo>
                  <a:lnTo>
                    <a:pt x="707" y="812"/>
                  </a:lnTo>
                  <a:lnTo>
                    <a:pt x="712" y="812"/>
                  </a:lnTo>
                  <a:lnTo>
                    <a:pt x="715" y="811"/>
                  </a:lnTo>
                  <a:lnTo>
                    <a:pt x="717" y="810"/>
                  </a:lnTo>
                  <a:lnTo>
                    <a:pt x="721" y="806"/>
                  </a:lnTo>
                  <a:lnTo>
                    <a:pt x="727" y="797"/>
                  </a:lnTo>
                  <a:lnTo>
                    <a:pt x="729" y="796"/>
                  </a:lnTo>
                  <a:lnTo>
                    <a:pt x="731" y="793"/>
                  </a:lnTo>
                  <a:lnTo>
                    <a:pt x="739" y="792"/>
                  </a:lnTo>
                  <a:lnTo>
                    <a:pt x="746" y="793"/>
                  </a:lnTo>
                  <a:lnTo>
                    <a:pt x="754" y="794"/>
                  </a:lnTo>
                  <a:lnTo>
                    <a:pt x="755" y="794"/>
                  </a:lnTo>
                  <a:lnTo>
                    <a:pt x="755" y="796"/>
                  </a:lnTo>
                  <a:lnTo>
                    <a:pt x="755" y="799"/>
                  </a:lnTo>
                  <a:lnTo>
                    <a:pt x="753" y="806"/>
                  </a:lnTo>
                  <a:lnTo>
                    <a:pt x="753" y="809"/>
                  </a:lnTo>
                  <a:lnTo>
                    <a:pt x="753" y="811"/>
                  </a:lnTo>
                  <a:lnTo>
                    <a:pt x="756" y="815"/>
                  </a:lnTo>
                  <a:lnTo>
                    <a:pt x="756" y="816"/>
                  </a:lnTo>
                  <a:lnTo>
                    <a:pt x="751" y="820"/>
                  </a:lnTo>
                  <a:lnTo>
                    <a:pt x="746" y="825"/>
                  </a:lnTo>
                  <a:lnTo>
                    <a:pt x="745" y="828"/>
                  </a:lnTo>
                  <a:lnTo>
                    <a:pt x="744" y="831"/>
                  </a:lnTo>
                  <a:lnTo>
                    <a:pt x="744" y="833"/>
                  </a:lnTo>
                  <a:lnTo>
                    <a:pt x="745" y="837"/>
                  </a:lnTo>
                  <a:lnTo>
                    <a:pt x="745" y="838"/>
                  </a:lnTo>
                  <a:lnTo>
                    <a:pt x="745" y="841"/>
                  </a:lnTo>
                  <a:lnTo>
                    <a:pt x="741" y="844"/>
                  </a:lnTo>
                  <a:lnTo>
                    <a:pt x="739" y="850"/>
                  </a:lnTo>
                  <a:lnTo>
                    <a:pt x="736" y="857"/>
                  </a:lnTo>
                  <a:lnTo>
                    <a:pt x="731" y="863"/>
                  </a:lnTo>
                  <a:lnTo>
                    <a:pt x="729" y="864"/>
                  </a:lnTo>
                  <a:lnTo>
                    <a:pt x="725" y="867"/>
                  </a:lnTo>
                  <a:lnTo>
                    <a:pt x="720" y="868"/>
                  </a:lnTo>
                  <a:lnTo>
                    <a:pt x="715" y="867"/>
                  </a:lnTo>
                  <a:lnTo>
                    <a:pt x="704" y="863"/>
                  </a:lnTo>
                  <a:lnTo>
                    <a:pt x="702" y="863"/>
                  </a:lnTo>
                  <a:lnTo>
                    <a:pt x="699" y="863"/>
                  </a:lnTo>
                  <a:lnTo>
                    <a:pt x="697" y="865"/>
                  </a:lnTo>
                  <a:lnTo>
                    <a:pt x="696" y="867"/>
                  </a:lnTo>
                  <a:lnTo>
                    <a:pt x="694" y="871"/>
                  </a:lnTo>
                  <a:lnTo>
                    <a:pt x="693" y="875"/>
                  </a:lnTo>
                  <a:lnTo>
                    <a:pt x="694" y="883"/>
                  </a:lnTo>
                  <a:lnTo>
                    <a:pt x="696" y="890"/>
                  </a:lnTo>
                  <a:lnTo>
                    <a:pt x="699" y="899"/>
                  </a:lnTo>
                  <a:lnTo>
                    <a:pt x="701" y="902"/>
                  </a:lnTo>
                  <a:lnTo>
                    <a:pt x="701" y="906"/>
                  </a:lnTo>
                  <a:lnTo>
                    <a:pt x="701" y="911"/>
                  </a:lnTo>
                  <a:lnTo>
                    <a:pt x="698" y="914"/>
                  </a:lnTo>
                  <a:lnTo>
                    <a:pt x="694" y="921"/>
                  </a:lnTo>
                  <a:lnTo>
                    <a:pt x="689" y="928"/>
                  </a:lnTo>
                  <a:lnTo>
                    <a:pt x="693" y="925"/>
                  </a:lnTo>
                  <a:lnTo>
                    <a:pt x="697" y="922"/>
                  </a:lnTo>
                  <a:lnTo>
                    <a:pt x="704" y="918"/>
                  </a:lnTo>
                  <a:lnTo>
                    <a:pt x="707" y="918"/>
                  </a:lnTo>
                  <a:lnTo>
                    <a:pt x="708" y="919"/>
                  </a:lnTo>
                  <a:lnTo>
                    <a:pt x="709" y="924"/>
                  </a:lnTo>
                  <a:lnTo>
                    <a:pt x="713" y="927"/>
                  </a:lnTo>
                  <a:lnTo>
                    <a:pt x="718" y="930"/>
                  </a:lnTo>
                  <a:lnTo>
                    <a:pt x="723" y="930"/>
                  </a:lnTo>
                  <a:lnTo>
                    <a:pt x="729" y="930"/>
                  </a:lnTo>
                  <a:lnTo>
                    <a:pt x="734" y="930"/>
                  </a:lnTo>
                  <a:lnTo>
                    <a:pt x="744" y="926"/>
                  </a:lnTo>
                  <a:lnTo>
                    <a:pt x="749" y="922"/>
                  </a:lnTo>
                  <a:lnTo>
                    <a:pt x="753" y="920"/>
                  </a:lnTo>
                  <a:lnTo>
                    <a:pt x="758" y="916"/>
                  </a:lnTo>
                  <a:lnTo>
                    <a:pt x="763" y="915"/>
                  </a:lnTo>
                  <a:lnTo>
                    <a:pt x="765" y="915"/>
                  </a:lnTo>
                  <a:lnTo>
                    <a:pt x="767" y="914"/>
                  </a:lnTo>
                  <a:lnTo>
                    <a:pt x="769" y="911"/>
                  </a:lnTo>
                  <a:lnTo>
                    <a:pt x="789" y="883"/>
                  </a:lnTo>
                  <a:lnTo>
                    <a:pt x="800" y="871"/>
                  </a:lnTo>
                  <a:lnTo>
                    <a:pt x="812" y="858"/>
                  </a:lnTo>
                  <a:lnTo>
                    <a:pt x="816" y="854"/>
                  </a:lnTo>
                  <a:lnTo>
                    <a:pt x="819" y="848"/>
                  </a:lnTo>
                  <a:lnTo>
                    <a:pt x="824" y="837"/>
                  </a:lnTo>
                  <a:lnTo>
                    <a:pt x="828" y="828"/>
                  </a:lnTo>
                  <a:lnTo>
                    <a:pt x="833" y="818"/>
                  </a:lnTo>
                  <a:lnTo>
                    <a:pt x="847" y="803"/>
                  </a:lnTo>
                  <a:lnTo>
                    <a:pt x="848" y="798"/>
                  </a:lnTo>
                  <a:lnTo>
                    <a:pt x="849" y="793"/>
                  </a:lnTo>
                  <a:lnTo>
                    <a:pt x="849" y="788"/>
                  </a:lnTo>
                  <a:lnTo>
                    <a:pt x="852" y="784"/>
                  </a:lnTo>
                  <a:lnTo>
                    <a:pt x="857" y="774"/>
                  </a:lnTo>
                  <a:lnTo>
                    <a:pt x="858" y="768"/>
                  </a:lnTo>
                  <a:lnTo>
                    <a:pt x="859" y="765"/>
                  </a:lnTo>
                  <a:lnTo>
                    <a:pt x="854" y="752"/>
                  </a:lnTo>
                  <a:lnTo>
                    <a:pt x="854" y="745"/>
                  </a:lnTo>
                  <a:lnTo>
                    <a:pt x="856" y="739"/>
                  </a:lnTo>
                  <a:lnTo>
                    <a:pt x="858" y="732"/>
                  </a:lnTo>
                  <a:lnTo>
                    <a:pt x="862" y="726"/>
                  </a:lnTo>
                  <a:lnTo>
                    <a:pt x="866" y="718"/>
                  </a:lnTo>
                  <a:lnTo>
                    <a:pt x="869" y="711"/>
                  </a:lnTo>
                  <a:lnTo>
                    <a:pt x="868" y="707"/>
                  </a:lnTo>
                  <a:lnTo>
                    <a:pt x="867" y="702"/>
                  </a:lnTo>
                  <a:lnTo>
                    <a:pt x="866" y="698"/>
                  </a:lnTo>
                  <a:lnTo>
                    <a:pt x="863" y="694"/>
                  </a:lnTo>
                  <a:lnTo>
                    <a:pt x="863" y="691"/>
                  </a:lnTo>
                  <a:lnTo>
                    <a:pt x="864" y="689"/>
                  </a:lnTo>
                  <a:lnTo>
                    <a:pt x="866" y="684"/>
                  </a:lnTo>
                  <a:lnTo>
                    <a:pt x="867" y="679"/>
                  </a:lnTo>
                  <a:lnTo>
                    <a:pt x="866" y="676"/>
                  </a:lnTo>
                  <a:lnTo>
                    <a:pt x="864" y="671"/>
                  </a:lnTo>
                  <a:lnTo>
                    <a:pt x="862" y="668"/>
                  </a:lnTo>
                  <a:lnTo>
                    <a:pt x="854" y="662"/>
                  </a:lnTo>
                  <a:lnTo>
                    <a:pt x="850" y="659"/>
                  </a:lnTo>
                  <a:lnTo>
                    <a:pt x="847" y="658"/>
                  </a:lnTo>
                  <a:lnTo>
                    <a:pt x="829" y="654"/>
                  </a:lnTo>
                  <a:lnTo>
                    <a:pt x="830" y="654"/>
                  </a:lnTo>
                  <a:lnTo>
                    <a:pt x="826" y="653"/>
                  </a:lnTo>
                  <a:lnTo>
                    <a:pt x="824" y="653"/>
                  </a:lnTo>
                  <a:lnTo>
                    <a:pt x="824" y="654"/>
                  </a:lnTo>
                  <a:lnTo>
                    <a:pt x="824" y="658"/>
                  </a:lnTo>
                  <a:lnTo>
                    <a:pt x="825" y="663"/>
                  </a:lnTo>
                  <a:lnTo>
                    <a:pt x="825" y="666"/>
                  </a:lnTo>
                  <a:lnTo>
                    <a:pt x="824" y="668"/>
                  </a:lnTo>
                  <a:lnTo>
                    <a:pt x="821" y="669"/>
                  </a:lnTo>
                  <a:lnTo>
                    <a:pt x="820" y="669"/>
                  </a:lnTo>
                  <a:lnTo>
                    <a:pt x="819" y="669"/>
                  </a:lnTo>
                  <a:lnTo>
                    <a:pt x="816" y="668"/>
                  </a:lnTo>
                  <a:lnTo>
                    <a:pt x="812" y="669"/>
                  </a:lnTo>
                  <a:lnTo>
                    <a:pt x="809" y="671"/>
                  </a:lnTo>
                  <a:lnTo>
                    <a:pt x="806" y="671"/>
                  </a:lnTo>
                  <a:lnTo>
                    <a:pt x="805" y="671"/>
                  </a:lnTo>
                  <a:lnTo>
                    <a:pt x="805" y="670"/>
                  </a:lnTo>
                  <a:lnTo>
                    <a:pt x="805" y="665"/>
                  </a:lnTo>
                  <a:lnTo>
                    <a:pt x="806" y="659"/>
                  </a:lnTo>
                  <a:lnTo>
                    <a:pt x="809" y="654"/>
                  </a:lnTo>
                  <a:lnTo>
                    <a:pt x="809" y="652"/>
                  </a:lnTo>
                  <a:lnTo>
                    <a:pt x="807" y="650"/>
                  </a:lnTo>
                  <a:lnTo>
                    <a:pt x="805" y="649"/>
                  </a:lnTo>
                  <a:lnTo>
                    <a:pt x="803" y="647"/>
                  </a:lnTo>
                  <a:lnTo>
                    <a:pt x="798" y="650"/>
                  </a:lnTo>
                  <a:lnTo>
                    <a:pt x="796" y="653"/>
                  </a:lnTo>
                  <a:lnTo>
                    <a:pt x="795" y="658"/>
                  </a:lnTo>
                  <a:lnTo>
                    <a:pt x="792" y="662"/>
                  </a:lnTo>
                  <a:lnTo>
                    <a:pt x="791" y="663"/>
                  </a:lnTo>
                  <a:lnTo>
                    <a:pt x="788" y="664"/>
                  </a:lnTo>
                  <a:lnTo>
                    <a:pt x="787" y="664"/>
                  </a:lnTo>
                  <a:lnTo>
                    <a:pt x="787" y="659"/>
                  </a:lnTo>
                  <a:lnTo>
                    <a:pt x="788" y="654"/>
                  </a:lnTo>
                  <a:lnTo>
                    <a:pt x="788" y="651"/>
                  </a:lnTo>
                  <a:lnTo>
                    <a:pt x="787" y="649"/>
                  </a:lnTo>
                  <a:lnTo>
                    <a:pt x="786" y="647"/>
                  </a:lnTo>
                  <a:lnTo>
                    <a:pt x="784" y="647"/>
                  </a:lnTo>
                  <a:lnTo>
                    <a:pt x="782" y="647"/>
                  </a:lnTo>
                  <a:lnTo>
                    <a:pt x="777" y="650"/>
                  </a:lnTo>
                  <a:lnTo>
                    <a:pt x="776" y="650"/>
                  </a:lnTo>
                  <a:lnTo>
                    <a:pt x="773" y="650"/>
                  </a:lnTo>
                  <a:lnTo>
                    <a:pt x="770" y="646"/>
                  </a:lnTo>
                  <a:lnTo>
                    <a:pt x="769" y="643"/>
                  </a:lnTo>
                  <a:lnTo>
                    <a:pt x="770" y="639"/>
                  </a:lnTo>
                  <a:lnTo>
                    <a:pt x="781" y="626"/>
                  </a:lnTo>
                  <a:lnTo>
                    <a:pt x="792" y="615"/>
                  </a:lnTo>
                  <a:lnTo>
                    <a:pt x="816" y="595"/>
                  </a:lnTo>
                  <a:lnTo>
                    <a:pt x="828" y="583"/>
                  </a:lnTo>
                  <a:lnTo>
                    <a:pt x="833" y="579"/>
                  </a:lnTo>
                  <a:lnTo>
                    <a:pt x="839" y="573"/>
                  </a:lnTo>
                  <a:lnTo>
                    <a:pt x="842" y="573"/>
                  </a:lnTo>
                  <a:lnTo>
                    <a:pt x="843" y="573"/>
                  </a:lnTo>
                  <a:lnTo>
                    <a:pt x="843" y="571"/>
                  </a:lnTo>
                  <a:lnTo>
                    <a:pt x="845" y="569"/>
                  </a:lnTo>
                  <a:lnTo>
                    <a:pt x="849" y="568"/>
                  </a:lnTo>
                  <a:lnTo>
                    <a:pt x="854" y="564"/>
                  </a:lnTo>
                  <a:lnTo>
                    <a:pt x="862" y="555"/>
                  </a:lnTo>
                  <a:lnTo>
                    <a:pt x="868" y="543"/>
                  </a:lnTo>
                  <a:lnTo>
                    <a:pt x="873" y="539"/>
                  </a:lnTo>
                  <a:lnTo>
                    <a:pt x="877" y="535"/>
                  </a:lnTo>
                  <a:lnTo>
                    <a:pt x="882" y="530"/>
                  </a:lnTo>
                  <a:lnTo>
                    <a:pt x="887" y="526"/>
                  </a:lnTo>
                  <a:lnTo>
                    <a:pt x="891" y="525"/>
                  </a:lnTo>
                  <a:lnTo>
                    <a:pt x="895" y="524"/>
                  </a:lnTo>
                  <a:lnTo>
                    <a:pt x="943" y="524"/>
                  </a:lnTo>
                  <a:lnTo>
                    <a:pt x="944" y="524"/>
                  </a:lnTo>
                  <a:lnTo>
                    <a:pt x="946" y="526"/>
                  </a:lnTo>
                  <a:lnTo>
                    <a:pt x="949" y="531"/>
                  </a:lnTo>
                  <a:lnTo>
                    <a:pt x="951" y="531"/>
                  </a:lnTo>
                  <a:lnTo>
                    <a:pt x="952" y="531"/>
                  </a:lnTo>
                  <a:lnTo>
                    <a:pt x="958" y="529"/>
                  </a:lnTo>
                  <a:lnTo>
                    <a:pt x="972" y="529"/>
                  </a:lnTo>
                  <a:lnTo>
                    <a:pt x="986" y="530"/>
                  </a:lnTo>
                  <a:lnTo>
                    <a:pt x="991" y="530"/>
                  </a:lnTo>
                  <a:lnTo>
                    <a:pt x="995" y="532"/>
                  </a:lnTo>
                  <a:lnTo>
                    <a:pt x="1000" y="532"/>
                  </a:lnTo>
                  <a:lnTo>
                    <a:pt x="1004" y="532"/>
                  </a:lnTo>
                  <a:lnTo>
                    <a:pt x="1007" y="531"/>
                  </a:lnTo>
                  <a:lnTo>
                    <a:pt x="1003" y="529"/>
                  </a:lnTo>
                  <a:lnTo>
                    <a:pt x="1000" y="528"/>
                  </a:lnTo>
                  <a:lnTo>
                    <a:pt x="1000" y="525"/>
                  </a:lnTo>
                  <a:lnTo>
                    <a:pt x="1002" y="524"/>
                  </a:lnTo>
                  <a:lnTo>
                    <a:pt x="1004" y="524"/>
                  </a:lnTo>
                  <a:lnTo>
                    <a:pt x="1007" y="523"/>
                  </a:lnTo>
                  <a:lnTo>
                    <a:pt x="1008" y="522"/>
                  </a:lnTo>
                  <a:lnTo>
                    <a:pt x="1008" y="519"/>
                  </a:lnTo>
                  <a:lnTo>
                    <a:pt x="1007" y="517"/>
                  </a:lnTo>
                  <a:lnTo>
                    <a:pt x="1003" y="512"/>
                  </a:lnTo>
                  <a:lnTo>
                    <a:pt x="1003" y="510"/>
                  </a:lnTo>
                  <a:lnTo>
                    <a:pt x="1004" y="509"/>
                  </a:lnTo>
                  <a:lnTo>
                    <a:pt x="1007" y="509"/>
                  </a:lnTo>
                  <a:lnTo>
                    <a:pt x="1009" y="509"/>
                  </a:lnTo>
                  <a:lnTo>
                    <a:pt x="1016" y="513"/>
                  </a:lnTo>
                  <a:lnTo>
                    <a:pt x="1023" y="517"/>
                  </a:lnTo>
                  <a:lnTo>
                    <a:pt x="1027" y="518"/>
                  </a:lnTo>
                  <a:lnTo>
                    <a:pt x="1031" y="519"/>
                  </a:lnTo>
                  <a:lnTo>
                    <a:pt x="1035" y="518"/>
                  </a:lnTo>
                  <a:lnTo>
                    <a:pt x="1038" y="516"/>
                  </a:lnTo>
                  <a:lnTo>
                    <a:pt x="1040" y="516"/>
                  </a:lnTo>
                  <a:lnTo>
                    <a:pt x="1042" y="517"/>
                  </a:lnTo>
                  <a:lnTo>
                    <a:pt x="1045" y="519"/>
                  </a:lnTo>
                  <a:lnTo>
                    <a:pt x="1046" y="522"/>
                  </a:lnTo>
                  <a:lnTo>
                    <a:pt x="1049" y="525"/>
                  </a:lnTo>
                  <a:lnTo>
                    <a:pt x="1051" y="528"/>
                  </a:lnTo>
                  <a:lnTo>
                    <a:pt x="1052" y="529"/>
                  </a:lnTo>
                  <a:lnTo>
                    <a:pt x="1052" y="530"/>
                  </a:lnTo>
                  <a:lnTo>
                    <a:pt x="1049" y="532"/>
                  </a:lnTo>
                  <a:lnTo>
                    <a:pt x="1043" y="535"/>
                  </a:lnTo>
                  <a:lnTo>
                    <a:pt x="1040" y="536"/>
                  </a:lnTo>
                  <a:lnTo>
                    <a:pt x="1036" y="539"/>
                  </a:lnTo>
                  <a:lnTo>
                    <a:pt x="1035" y="542"/>
                  </a:lnTo>
                  <a:lnTo>
                    <a:pt x="1036" y="544"/>
                  </a:lnTo>
                  <a:lnTo>
                    <a:pt x="1038" y="545"/>
                  </a:lnTo>
                  <a:lnTo>
                    <a:pt x="1041" y="545"/>
                  </a:lnTo>
                  <a:lnTo>
                    <a:pt x="1051" y="543"/>
                  </a:lnTo>
                  <a:lnTo>
                    <a:pt x="1060" y="543"/>
                  </a:lnTo>
                  <a:lnTo>
                    <a:pt x="1065" y="542"/>
                  </a:lnTo>
                  <a:lnTo>
                    <a:pt x="1069" y="542"/>
                  </a:lnTo>
                  <a:lnTo>
                    <a:pt x="1073" y="539"/>
                  </a:lnTo>
                  <a:lnTo>
                    <a:pt x="1076" y="537"/>
                  </a:lnTo>
                  <a:lnTo>
                    <a:pt x="1079" y="536"/>
                  </a:lnTo>
                  <a:lnTo>
                    <a:pt x="1080" y="537"/>
                  </a:lnTo>
                  <a:lnTo>
                    <a:pt x="1083" y="538"/>
                  </a:lnTo>
                  <a:lnTo>
                    <a:pt x="1084" y="538"/>
                  </a:lnTo>
                  <a:lnTo>
                    <a:pt x="1087" y="536"/>
                  </a:lnTo>
                  <a:lnTo>
                    <a:pt x="1089" y="534"/>
                  </a:lnTo>
                  <a:lnTo>
                    <a:pt x="1090" y="534"/>
                  </a:lnTo>
                  <a:lnTo>
                    <a:pt x="1093" y="534"/>
                  </a:lnTo>
                  <a:lnTo>
                    <a:pt x="1094" y="535"/>
                  </a:lnTo>
                  <a:lnTo>
                    <a:pt x="1098" y="536"/>
                  </a:lnTo>
                  <a:lnTo>
                    <a:pt x="1102" y="535"/>
                  </a:lnTo>
                  <a:lnTo>
                    <a:pt x="1108" y="531"/>
                  </a:lnTo>
                  <a:lnTo>
                    <a:pt x="1108" y="530"/>
                  </a:lnTo>
                  <a:lnTo>
                    <a:pt x="1098" y="524"/>
                  </a:lnTo>
                  <a:lnTo>
                    <a:pt x="1094" y="522"/>
                  </a:lnTo>
                  <a:lnTo>
                    <a:pt x="1090" y="518"/>
                  </a:lnTo>
                  <a:lnTo>
                    <a:pt x="1090" y="515"/>
                  </a:lnTo>
                  <a:lnTo>
                    <a:pt x="1092" y="511"/>
                  </a:lnTo>
                  <a:lnTo>
                    <a:pt x="1094" y="510"/>
                  </a:lnTo>
                  <a:lnTo>
                    <a:pt x="1098" y="507"/>
                  </a:lnTo>
                  <a:lnTo>
                    <a:pt x="1107" y="505"/>
                  </a:lnTo>
                  <a:lnTo>
                    <a:pt x="1115" y="503"/>
                  </a:lnTo>
                  <a:lnTo>
                    <a:pt x="1125" y="496"/>
                  </a:lnTo>
                  <a:lnTo>
                    <a:pt x="1129" y="492"/>
                  </a:lnTo>
                  <a:lnTo>
                    <a:pt x="1134" y="487"/>
                  </a:lnTo>
                  <a:lnTo>
                    <a:pt x="1137" y="483"/>
                  </a:lnTo>
                  <a:lnTo>
                    <a:pt x="1140" y="479"/>
                  </a:lnTo>
                  <a:lnTo>
                    <a:pt x="1145" y="472"/>
                  </a:lnTo>
                  <a:lnTo>
                    <a:pt x="1151" y="467"/>
                  </a:lnTo>
                  <a:lnTo>
                    <a:pt x="1158" y="464"/>
                  </a:lnTo>
                  <a:lnTo>
                    <a:pt x="1162" y="462"/>
                  </a:lnTo>
                  <a:lnTo>
                    <a:pt x="1165" y="461"/>
                  </a:lnTo>
                  <a:lnTo>
                    <a:pt x="1169" y="462"/>
                  </a:lnTo>
                  <a:lnTo>
                    <a:pt x="1173" y="462"/>
                  </a:lnTo>
                  <a:lnTo>
                    <a:pt x="1177" y="465"/>
                  </a:lnTo>
                  <a:lnTo>
                    <a:pt x="1179" y="466"/>
                  </a:lnTo>
                  <a:lnTo>
                    <a:pt x="1182" y="466"/>
                  </a:lnTo>
                  <a:lnTo>
                    <a:pt x="1186" y="464"/>
                  </a:lnTo>
                  <a:lnTo>
                    <a:pt x="1189" y="461"/>
                  </a:lnTo>
                  <a:lnTo>
                    <a:pt x="1195" y="456"/>
                  </a:lnTo>
                  <a:lnTo>
                    <a:pt x="1200" y="451"/>
                  </a:lnTo>
                  <a:lnTo>
                    <a:pt x="1203" y="446"/>
                  </a:lnTo>
                  <a:lnTo>
                    <a:pt x="1207" y="445"/>
                  </a:lnTo>
                  <a:lnTo>
                    <a:pt x="1210" y="443"/>
                  </a:lnTo>
                  <a:lnTo>
                    <a:pt x="1207" y="452"/>
                  </a:lnTo>
                  <a:lnTo>
                    <a:pt x="1203" y="460"/>
                  </a:lnTo>
                  <a:lnTo>
                    <a:pt x="1203" y="465"/>
                  </a:lnTo>
                  <a:lnTo>
                    <a:pt x="1202" y="468"/>
                  </a:lnTo>
                  <a:lnTo>
                    <a:pt x="1202" y="471"/>
                  </a:lnTo>
                  <a:lnTo>
                    <a:pt x="1200" y="473"/>
                  </a:lnTo>
                  <a:lnTo>
                    <a:pt x="1197" y="474"/>
                  </a:lnTo>
                  <a:lnTo>
                    <a:pt x="1192" y="479"/>
                  </a:lnTo>
                  <a:lnTo>
                    <a:pt x="1192" y="480"/>
                  </a:lnTo>
                  <a:lnTo>
                    <a:pt x="1192" y="483"/>
                  </a:lnTo>
                  <a:lnTo>
                    <a:pt x="1193" y="485"/>
                  </a:lnTo>
                  <a:lnTo>
                    <a:pt x="1197" y="487"/>
                  </a:lnTo>
                  <a:lnTo>
                    <a:pt x="1198" y="490"/>
                  </a:lnTo>
                  <a:lnTo>
                    <a:pt x="1201" y="492"/>
                  </a:lnTo>
                  <a:lnTo>
                    <a:pt x="1203" y="493"/>
                  </a:lnTo>
                  <a:lnTo>
                    <a:pt x="1207" y="493"/>
                  </a:lnTo>
                  <a:lnTo>
                    <a:pt x="1210" y="491"/>
                  </a:lnTo>
                  <a:lnTo>
                    <a:pt x="1212" y="487"/>
                  </a:lnTo>
                  <a:lnTo>
                    <a:pt x="1215" y="483"/>
                  </a:lnTo>
                  <a:lnTo>
                    <a:pt x="1216" y="477"/>
                  </a:lnTo>
                  <a:lnTo>
                    <a:pt x="1219" y="472"/>
                  </a:lnTo>
                  <a:lnTo>
                    <a:pt x="1221" y="471"/>
                  </a:lnTo>
                  <a:lnTo>
                    <a:pt x="1222" y="471"/>
                  </a:lnTo>
                  <a:lnTo>
                    <a:pt x="1225" y="470"/>
                  </a:lnTo>
                  <a:lnTo>
                    <a:pt x="1226" y="470"/>
                  </a:lnTo>
                  <a:lnTo>
                    <a:pt x="1229" y="465"/>
                  </a:lnTo>
                  <a:lnTo>
                    <a:pt x="1230" y="460"/>
                  </a:lnTo>
                  <a:lnTo>
                    <a:pt x="1231" y="456"/>
                  </a:lnTo>
                  <a:lnTo>
                    <a:pt x="1233" y="454"/>
                  </a:lnTo>
                  <a:lnTo>
                    <a:pt x="1234" y="453"/>
                  </a:lnTo>
                  <a:lnTo>
                    <a:pt x="1242" y="449"/>
                  </a:lnTo>
                  <a:lnTo>
                    <a:pt x="1249" y="448"/>
                  </a:lnTo>
                  <a:lnTo>
                    <a:pt x="1252" y="448"/>
                  </a:lnTo>
                  <a:lnTo>
                    <a:pt x="1253" y="449"/>
                  </a:lnTo>
                  <a:lnTo>
                    <a:pt x="1253" y="451"/>
                  </a:lnTo>
                  <a:lnTo>
                    <a:pt x="1249" y="454"/>
                  </a:lnTo>
                  <a:lnTo>
                    <a:pt x="1247" y="459"/>
                  </a:lnTo>
                  <a:lnTo>
                    <a:pt x="1242" y="467"/>
                  </a:lnTo>
                  <a:lnTo>
                    <a:pt x="1239" y="471"/>
                  </a:lnTo>
                  <a:lnTo>
                    <a:pt x="1239" y="473"/>
                  </a:lnTo>
                  <a:lnTo>
                    <a:pt x="1242" y="478"/>
                  </a:lnTo>
                  <a:lnTo>
                    <a:pt x="1243" y="480"/>
                  </a:lnTo>
                  <a:lnTo>
                    <a:pt x="1244" y="483"/>
                  </a:lnTo>
                  <a:lnTo>
                    <a:pt x="1243" y="485"/>
                  </a:lnTo>
                  <a:lnTo>
                    <a:pt x="1239" y="488"/>
                  </a:lnTo>
                  <a:lnTo>
                    <a:pt x="1235" y="491"/>
                  </a:lnTo>
                  <a:lnTo>
                    <a:pt x="1230" y="493"/>
                  </a:lnTo>
                  <a:lnTo>
                    <a:pt x="1226" y="497"/>
                  </a:lnTo>
                  <a:lnTo>
                    <a:pt x="1217" y="505"/>
                  </a:lnTo>
                  <a:lnTo>
                    <a:pt x="1207" y="512"/>
                  </a:lnTo>
                  <a:lnTo>
                    <a:pt x="1197" y="519"/>
                  </a:lnTo>
                  <a:lnTo>
                    <a:pt x="1187" y="526"/>
                  </a:lnTo>
                  <a:lnTo>
                    <a:pt x="1184" y="531"/>
                  </a:lnTo>
                  <a:lnTo>
                    <a:pt x="1183" y="536"/>
                  </a:lnTo>
                  <a:lnTo>
                    <a:pt x="1182" y="542"/>
                  </a:lnTo>
                  <a:lnTo>
                    <a:pt x="1182" y="543"/>
                  </a:lnTo>
                  <a:lnTo>
                    <a:pt x="1179" y="544"/>
                  </a:lnTo>
                  <a:lnTo>
                    <a:pt x="1177" y="545"/>
                  </a:lnTo>
                  <a:lnTo>
                    <a:pt x="1174" y="548"/>
                  </a:lnTo>
                  <a:lnTo>
                    <a:pt x="1172" y="551"/>
                  </a:lnTo>
                  <a:lnTo>
                    <a:pt x="1170" y="556"/>
                  </a:lnTo>
                  <a:lnTo>
                    <a:pt x="1169" y="557"/>
                  </a:lnTo>
                  <a:lnTo>
                    <a:pt x="1167" y="558"/>
                  </a:lnTo>
                  <a:lnTo>
                    <a:pt x="1151" y="561"/>
                  </a:lnTo>
                  <a:lnTo>
                    <a:pt x="1144" y="563"/>
                  </a:lnTo>
                  <a:lnTo>
                    <a:pt x="1140" y="564"/>
                  </a:lnTo>
                  <a:lnTo>
                    <a:pt x="1136" y="568"/>
                  </a:lnTo>
                  <a:lnTo>
                    <a:pt x="1130" y="575"/>
                  </a:lnTo>
                  <a:lnTo>
                    <a:pt x="1127" y="577"/>
                  </a:lnTo>
                  <a:lnTo>
                    <a:pt x="1123" y="579"/>
                  </a:lnTo>
                  <a:lnTo>
                    <a:pt x="1122" y="581"/>
                  </a:lnTo>
                  <a:lnTo>
                    <a:pt x="1121" y="587"/>
                  </a:lnTo>
                  <a:lnTo>
                    <a:pt x="1120" y="594"/>
                  </a:lnTo>
                  <a:lnTo>
                    <a:pt x="1117" y="599"/>
                  </a:lnTo>
                  <a:lnTo>
                    <a:pt x="1116" y="602"/>
                  </a:lnTo>
                  <a:lnTo>
                    <a:pt x="1116" y="606"/>
                  </a:lnTo>
                  <a:lnTo>
                    <a:pt x="1116" y="611"/>
                  </a:lnTo>
                  <a:lnTo>
                    <a:pt x="1116" y="614"/>
                  </a:lnTo>
                  <a:lnTo>
                    <a:pt x="1112" y="621"/>
                  </a:lnTo>
                  <a:lnTo>
                    <a:pt x="1111" y="626"/>
                  </a:lnTo>
                  <a:lnTo>
                    <a:pt x="1111" y="630"/>
                  </a:lnTo>
                  <a:lnTo>
                    <a:pt x="1118" y="649"/>
                  </a:lnTo>
                  <a:lnTo>
                    <a:pt x="1123" y="668"/>
                  </a:lnTo>
                  <a:lnTo>
                    <a:pt x="1127" y="686"/>
                  </a:lnTo>
                  <a:lnTo>
                    <a:pt x="1130" y="707"/>
                  </a:lnTo>
                  <a:lnTo>
                    <a:pt x="1131" y="709"/>
                  </a:lnTo>
                  <a:lnTo>
                    <a:pt x="1132" y="716"/>
                  </a:lnTo>
                  <a:lnTo>
                    <a:pt x="1135" y="722"/>
                  </a:lnTo>
                  <a:lnTo>
                    <a:pt x="1141" y="734"/>
                  </a:lnTo>
                  <a:lnTo>
                    <a:pt x="1142" y="734"/>
                  </a:lnTo>
                  <a:lnTo>
                    <a:pt x="1144" y="734"/>
                  </a:lnTo>
                  <a:lnTo>
                    <a:pt x="1148" y="733"/>
                  </a:lnTo>
                  <a:lnTo>
                    <a:pt x="1154" y="724"/>
                  </a:lnTo>
                  <a:lnTo>
                    <a:pt x="1159" y="717"/>
                  </a:lnTo>
                  <a:lnTo>
                    <a:pt x="1165" y="709"/>
                  </a:lnTo>
                  <a:lnTo>
                    <a:pt x="1172" y="702"/>
                  </a:lnTo>
                  <a:lnTo>
                    <a:pt x="1174" y="700"/>
                  </a:lnTo>
                  <a:lnTo>
                    <a:pt x="1174" y="696"/>
                  </a:lnTo>
                  <a:lnTo>
                    <a:pt x="1172" y="689"/>
                  </a:lnTo>
                  <a:lnTo>
                    <a:pt x="1172" y="685"/>
                  </a:lnTo>
                  <a:lnTo>
                    <a:pt x="1173" y="683"/>
                  </a:lnTo>
                  <a:lnTo>
                    <a:pt x="1179" y="679"/>
                  </a:lnTo>
                  <a:lnTo>
                    <a:pt x="1182" y="678"/>
                  </a:lnTo>
                  <a:lnTo>
                    <a:pt x="1183" y="678"/>
                  </a:lnTo>
                  <a:lnTo>
                    <a:pt x="1187" y="679"/>
                  </a:lnTo>
                  <a:lnTo>
                    <a:pt x="1193" y="681"/>
                  </a:lnTo>
                  <a:lnTo>
                    <a:pt x="1196" y="681"/>
                  </a:lnTo>
                  <a:lnTo>
                    <a:pt x="1198" y="679"/>
                  </a:lnTo>
                  <a:lnTo>
                    <a:pt x="1198" y="678"/>
                  </a:lnTo>
                  <a:lnTo>
                    <a:pt x="1200" y="677"/>
                  </a:lnTo>
                  <a:lnTo>
                    <a:pt x="1198" y="672"/>
                  </a:lnTo>
                  <a:lnTo>
                    <a:pt x="1197" y="669"/>
                  </a:lnTo>
                  <a:lnTo>
                    <a:pt x="1196" y="665"/>
                  </a:lnTo>
                  <a:lnTo>
                    <a:pt x="1196" y="660"/>
                  </a:lnTo>
                  <a:lnTo>
                    <a:pt x="1198" y="658"/>
                  </a:lnTo>
                  <a:lnTo>
                    <a:pt x="1201" y="656"/>
                  </a:lnTo>
                  <a:lnTo>
                    <a:pt x="1206" y="654"/>
                  </a:lnTo>
                  <a:lnTo>
                    <a:pt x="1215" y="651"/>
                  </a:lnTo>
                  <a:lnTo>
                    <a:pt x="1219" y="650"/>
                  </a:lnTo>
                  <a:lnTo>
                    <a:pt x="1222" y="647"/>
                  </a:lnTo>
                  <a:lnTo>
                    <a:pt x="1224" y="645"/>
                  </a:lnTo>
                  <a:lnTo>
                    <a:pt x="1225" y="643"/>
                  </a:lnTo>
                  <a:lnTo>
                    <a:pt x="1224" y="638"/>
                  </a:lnTo>
                  <a:lnTo>
                    <a:pt x="1221" y="633"/>
                  </a:lnTo>
                  <a:lnTo>
                    <a:pt x="1219" y="627"/>
                  </a:lnTo>
                  <a:lnTo>
                    <a:pt x="1217" y="625"/>
                  </a:lnTo>
                  <a:lnTo>
                    <a:pt x="1219" y="621"/>
                  </a:lnTo>
                  <a:lnTo>
                    <a:pt x="1224" y="614"/>
                  </a:lnTo>
                  <a:lnTo>
                    <a:pt x="1233" y="605"/>
                  </a:lnTo>
                  <a:lnTo>
                    <a:pt x="1235" y="603"/>
                  </a:lnTo>
                  <a:lnTo>
                    <a:pt x="1236" y="602"/>
                  </a:lnTo>
                  <a:lnTo>
                    <a:pt x="1239" y="602"/>
                  </a:lnTo>
                  <a:lnTo>
                    <a:pt x="1242" y="603"/>
                  </a:lnTo>
                  <a:lnTo>
                    <a:pt x="1243" y="605"/>
                  </a:lnTo>
                  <a:lnTo>
                    <a:pt x="1244" y="605"/>
                  </a:lnTo>
                  <a:lnTo>
                    <a:pt x="1247" y="602"/>
                  </a:lnTo>
                  <a:lnTo>
                    <a:pt x="1249" y="600"/>
                  </a:lnTo>
                  <a:lnTo>
                    <a:pt x="1250" y="596"/>
                  </a:lnTo>
                  <a:lnTo>
                    <a:pt x="1250" y="594"/>
                  </a:lnTo>
                  <a:lnTo>
                    <a:pt x="1249" y="593"/>
                  </a:lnTo>
                  <a:lnTo>
                    <a:pt x="1245" y="592"/>
                  </a:lnTo>
                  <a:lnTo>
                    <a:pt x="1242" y="590"/>
                  </a:lnTo>
                  <a:lnTo>
                    <a:pt x="1240" y="589"/>
                  </a:lnTo>
                  <a:lnTo>
                    <a:pt x="1239" y="588"/>
                  </a:lnTo>
                  <a:lnTo>
                    <a:pt x="1236" y="582"/>
                  </a:lnTo>
                  <a:lnTo>
                    <a:pt x="1235" y="580"/>
                  </a:lnTo>
                  <a:lnTo>
                    <a:pt x="1235" y="576"/>
                  </a:lnTo>
                  <a:lnTo>
                    <a:pt x="1236" y="574"/>
                  </a:lnTo>
                  <a:lnTo>
                    <a:pt x="1239" y="573"/>
                  </a:lnTo>
                  <a:lnTo>
                    <a:pt x="1245" y="573"/>
                  </a:lnTo>
                  <a:lnTo>
                    <a:pt x="1247" y="571"/>
                  </a:lnTo>
                  <a:lnTo>
                    <a:pt x="1247" y="569"/>
                  </a:lnTo>
                  <a:lnTo>
                    <a:pt x="1247" y="568"/>
                  </a:lnTo>
                  <a:lnTo>
                    <a:pt x="1245" y="567"/>
                  </a:lnTo>
                  <a:lnTo>
                    <a:pt x="1239" y="563"/>
                  </a:lnTo>
                  <a:lnTo>
                    <a:pt x="1236" y="562"/>
                  </a:lnTo>
                  <a:lnTo>
                    <a:pt x="1234" y="560"/>
                  </a:lnTo>
                  <a:lnTo>
                    <a:pt x="1234" y="557"/>
                  </a:lnTo>
                  <a:lnTo>
                    <a:pt x="1235" y="555"/>
                  </a:lnTo>
                  <a:lnTo>
                    <a:pt x="1238" y="551"/>
                  </a:lnTo>
                  <a:lnTo>
                    <a:pt x="1239" y="549"/>
                  </a:lnTo>
                  <a:lnTo>
                    <a:pt x="1238" y="547"/>
                  </a:lnTo>
                  <a:lnTo>
                    <a:pt x="1234" y="545"/>
                  </a:lnTo>
                  <a:lnTo>
                    <a:pt x="1234" y="544"/>
                  </a:lnTo>
                  <a:lnTo>
                    <a:pt x="1234" y="542"/>
                  </a:lnTo>
                  <a:lnTo>
                    <a:pt x="1235" y="537"/>
                  </a:lnTo>
                  <a:lnTo>
                    <a:pt x="1239" y="532"/>
                  </a:lnTo>
                  <a:lnTo>
                    <a:pt x="1243" y="529"/>
                  </a:lnTo>
                  <a:lnTo>
                    <a:pt x="1248" y="525"/>
                  </a:lnTo>
                  <a:lnTo>
                    <a:pt x="1249" y="524"/>
                  </a:lnTo>
                  <a:lnTo>
                    <a:pt x="1249" y="522"/>
                  </a:lnTo>
                  <a:lnTo>
                    <a:pt x="1250" y="519"/>
                  </a:lnTo>
                  <a:lnTo>
                    <a:pt x="1252" y="517"/>
                  </a:lnTo>
                  <a:lnTo>
                    <a:pt x="1262" y="510"/>
                  </a:lnTo>
                  <a:lnTo>
                    <a:pt x="1267" y="509"/>
                  </a:lnTo>
                  <a:lnTo>
                    <a:pt x="1272" y="509"/>
                  </a:lnTo>
                  <a:lnTo>
                    <a:pt x="1278" y="511"/>
                  </a:lnTo>
                  <a:lnTo>
                    <a:pt x="1281" y="510"/>
                  </a:lnTo>
                  <a:lnTo>
                    <a:pt x="1282" y="509"/>
                  </a:lnTo>
                  <a:lnTo>
                    <a:pt x="1286" y="503"/>
                  </a:lnTo>
                  <a:lnTo>
                    <a:pt x="1289" y="497"/>
                  </a:lnTo>
                  <a:lnTo>
                    <a:pt x="1291" y="491"/>
                  </a:lnTo>
                  <a:lnTo>
                    <a:pt x="1292" y="491"/>
                  </a:lnTo>
                  <a:lnTo>
                    <a:pt x="1294" y="491"/>
                  </a:lnTo>
                  <a:lnTo>
                    <a:pt x="1295" y="496"/>
                  </a:lnTo>
                  <a:lnTo>
                    <a:pt x="1295" y="500"/>
                  </a:lnTo>
                  <a:lnTo>
                    <a:pt x="1294" y="505"/>
                  </a:lnTo>
                  <a:lnTo>
                    <a:pt x="1292" y="509"/>
                  </a:lnTo>
                  <a:lnTo>
                    <a:pt x="1294" y="511"/>
                  </a:lnTo>
                  <a:lnTo>
                    <a:pt x="1296" y="510"/>
                  </a:lnTo>
                  <a:lnTo>
                    <a:pt x="1299" y="510"/>
                  </a:lnTo>
                  <a:lnTo>
                    <a:pt x="1300" y="507"/>
                  </a:lnTo>
                  <a:lnTo>
                    <a:pt x="1302" y="505"/>
                  </a:lnTo>
                  <a:lnTo>
                    <a:pt x="1305" y="503"/>
                  </a:lnTo>
                  <a:lnTo>
                    <a:pt x="1310" y="500"/>
                  </a:lnTo>
                  <a:lnTo>
                    <a:pt x="1315" y="498"/>
                  </a:lnTo>
                  <a:lnTo>
                    <a:pt x="1325" y="492"/>
                  </a:lnTo>
                  <a:lnTo>
                    <a:pt x="1329" y="490"/>
                  </a:lnTo>
                  <a:lnTo>
                    <a:pt x="1333" y="488"/>
                  </a:lnTo>
                  <a:lnTo>
                    <a:pt x="1341" y="490"/>
                  </a:lnTo>
                  <a:lnTo>
                    <a:pt x="1348" y="492"/>
                  </a:lnTo>
                  <a:lnTo>
                    <a:pt x="1356" y="497"/>
                  </a:lnTo>
                  <a:lnTo>
                    <a:pt x="1358" y="497"/>
                  </a:lnTo>
                  <a:lnTo>
                    <a:pt x="1362" y="497"/>
                  </a:lnTo>
                  <a:lnTo>
                    <a:pt x="1363" y="499"/>
                  </a:lnTo>
                  <a:lnTo>
                    <a:pt x="1365" y="500"/>
                  </a:lnTo>
                  <a:lnTo>
                    <a:pt x="1366" y="503"/>
                  </a:lnTo>
                  <a:lnTo>
                    <a:pt x="1367" y="505"/>
                  </a:lnTo>
                  <a:lnTo>
                    <a:pt x="1367" y="506"/>
                  </a:lnTo>
                  <a:lnTo>
                    <a:pt x="1369" y="506"/>
                  </a:lnTo>
                  <a:lnTo>
                    <a:pt x="1371" y="504"/>
                  </a:lnTo>
                  <a:lnTo>
                    <a:pt x="1372" y="502"/>
                  </a:lnTo>
                  <a:lnTo>
                    <a:pt x="1375" y="497"/>
                  </a:lnTo>
                  <a:lnTo>
                    <a:pt x="1381" y="490"/>
                  </a:lnTo>
                  <a:lnTo>
                    <a:pt x="1386" y="485"/>
                  </a:lnTo>
                  <a:lnTo>
                    <a:pt x="1390" y="483"/>
                  </a:lnTo>
                  <a:lnTo>
                    <a:pt x="1399" y="478"/>
                  </a:lnTo>
                  <a:lnTo>
                    <a:pt x="1408" y="474"/>
                  </a:lnTo>
                  <a:lnTo>
                    <a:pt x="1417" y="467"/>
                  </a:lnTo>
                  <a:lnTo>
                    <a:pt x="1422" y="465"/>
                  </a:lnTo>
                  <a:lnTo>
                    <a:pt x="1427" y="464"/>
                  </a:lnTo>
                  <a:lnTo>
                    <a:pt x="1433" y="461"/>
                  </a:lnTo>
                  <a:lnTo>
                    <a:pt x="1438" y="459"/>
                  </a:lnTo>
                  <a:lnTo>
                    <a:pt x="1445" y="455"/>
                  </a:lnTo>
                  <a:lnTo>
                    <a:pt x="1450" y="453"/>
                  </a:lnTo>
                  <a:lnTo>
                    <a:pt x="1455" y="449"/>
                  </a:lnTo>
                  <a:lnTo>
                    <a:pt x="1460" y="447"/>
                  </a:lnTo>
                  <a:lnTo>
                    <a:pt x="1465" y="445"/>
                  </a:lnTo>
                  <a:lnTo>
                    <a:pt x="1470" y="443"/>
                  </a:lnTo>
                  <a:lnTo>
                    <a:pt x="1479" y="442"/>
                  </a:lnTo>
                  <a:lnTo>
                    <a:pt x="1489" y="440"/>
                  </a:lnTo>
                  <a:lnTo>
                    <a:pt x="1501" y="439"/>
                  </a:lnTo>
                  <a:lnTo>
                    <a:pt x="1507" y="440"/>
                  </a:lnTo>
                  <a:lnTo>
                    <a:pt x="1513" y="441"/>
                  </a:lnTo>
                  <a:lnTo>
                    <a:pt x="1516" y="442"/>
                  </a:lnTo>
                  <a:lnTo>
                    <a:pt x="1520" y="442"/>
                  </a:lnTo>
                  <a:lnTo>
                    <a:pt x="1523" y="441"/>
                  </a:lnTo>
                  <a:lnTo>
                    <a:pt x="1526" y="440"/>
                  </a:lnTo>
                  <a:lnTo>
                    <a:pt x="1527" y="436"/>
                  </a:lnTo>
                  <a:lnTo>
                    <a:pt x="1529" y="432"/>
                  </a:lnTo>
                  <a:lnTo>
                    <a:pt x="1529" y="428"/>
                  </a:lnTo>
                  <a:lnTo>
                    <a:pt x="1527" y="426"/>
                  </a:lnTo>
                  <a:lnTo>
                    <a:pt x="1523" y="422"/>
                  </a:lnTo>
                  <a:lnTo>
                    <a:pt x="1520" y="419"/>
                  </a:lnTo>
                  <a:lnTo>
                    <a:pt x="1515" y="409"/>
                  </a:lnTo>
                  <a:lnTo>
                    <a:pt x="1508" y="391"/>
                  </a:lnTo>
                  <a:lnTo>
                    <a:pt x="1504" y="389"/>
                  </a:lnTo>
                  <a:lnTo>
                    <a:pt x="1502" y="388"/>
                  </a:lnTo>
                  <a:lnTo>
                    <a:pt x="1494" y="388"/>
                  </a:lnTo>
                  <a:lnTo>
                    <a:pt x="1489" y="385"/>
                  </a:lnTo>
                  <a:lnTo>
                    <a:pt x="1478" y="378"/>
                  </a:lnTo>
                  <a:lnTo>
                    <a:pt x="1476" y="377"/>
                  </a:lnTo>
                  <a:lnTo>
                    <a:pt x="1478" y="376"/>
                  </a:lnTo>
                  <a:lnTo>
                    <a:pt x="1479" y="375"/>
                  </a:lnTo>
                  <a:lnTo>
                    <a:pt x="1492" y="376"/>
                  </a:lnTo>
                  <a:lnTo>
                    <a:pt x="1503" y="378"/>
                  </a:lnTo>
                  <a:lnTo>
                    <a:pt x="1515" y="381"/>
                  </a:lnTo>
                  <a:lnTo>
                    <a:pt x="1521" y="381"/>
                  </a:lnTo>
                  <a:lnTo>
                    <a:pt x="1527" y="379"/>
                  </a:lnTo>
                  <a:lnTo>
                    <a:pt x="1534" y="377"/>
                  </a:lnTo>
                  <a:lnTo>
                    <a:pt x="1540" y="373"/>
                  </a:lnTo>
                  <a:lnTo>
                    <a:pt x="1545" y="369"/>
                  </a:lnTo>
                  <a:lnTo>
                    <a:pt x="1550" y="364"/>
                  </a:lnTo>
                  <a:lnTo>
                    <a:pt x="1553" y="358"/>
                  </a:lnTo>
                  <a:lnTo>
                    <a:pt x="1553" y="352"/>
                  </a:lnTo>
                  <a:lnTo>
                    <a:pt x="1551" y="346"/>
                  </a:lnTo>
                  <a:lnTo>
                    <a:pt x="1546" y="339"/>
                  </a:lnTo>
                  <a:lnTo>
                    <a:pt x="1546" y="337"/>
                  </a:lnTo>
                  <a:lnTo>
                    <a:pt x="1548" y="336"/>
                  </a:lnTo>
                  <a:lnTo>
                    <a:pt x="1556" y="336"/>
                  </a:lnTo>
                  <a:lnTo>
                    <a:pt x="1565" y="334"/>
                  </a:lnTo>
                  <a:lnTo>
                    <a:pt x="1567" y="334"/>
                  </a:lnTo>
                  <a:lnTo>
                    <a:pt x="1567" y="336"/>
                  </a:lnTo>
                  <a:lnTo>
                    <a:pt x="1567" y="338"/>
                  </a:lnTo>
                  <a:lnTo>
                    <a:pt x="1563" y="341"/>
                  </a:lnTo>
                  <a:lnTo>
                    <a:pt x="1562" y="346"/>
                  </a:lnTo>
                  <a:lnTo>
                    <a:pt x="1564" y="350"/>
                  </a:lnTo>
                  <a:lnTo>
                    <a:pt x="1568" y="353"/>
                  </a:lnTo>
                  <a:lnTo>
                    <a:pt x="1573" y="356"/>
                  </a:lnTo>
                  <a:lnTo>
                    <a:pt x="1577" y="356"/>
                  </a:lnTo>
                  <a:lnTo>
                    <a:pt x="1579" y="356"/>
                  </a:lnTo>
                  <a:lnTo>
                    <a:pt x="1586" y="356"/>
                  </a:lnTo>
                  <a:lnTo>
                    <a:pt x="1596" y="353"/>
                  </a:lnTo>
                  <a:lnTo>
                    <a:pt x="1601" y="355"/>
                  </a:lnTo>
                  <a:lnTo>
                    <a:pt x="1606" y="356"/>
                  </a:lnTo>
                  <a:lnTo>
                    <a:pt x="1609" y="358"/>
                  </a:lnTo>
                  <a:lnTo>
                    <a:pt x="1611" y="362"/>
                  </a:lnTo>
                  <a:lnTo>
                    <a:pt x="1614" y="369"/>
                  </a:lnTo>
                  <a:lnTo>
                    <a:pt x="1617" y="373"/>
                  </a:lnTo>
                  <a:lnTo>
                    <a:pt x="1619" y="375"/>
                  </a:lnTo>
                  <a:lnTo>
                    <a:pt x="1621" y="376"/>
                  </a:lnTo>
                  <a:lnTo>
                    <a:pt x="1634" y="381"/>
                  </a:lnTo>
                  <a:lnTo>
                    <a:pt x="1645" y="385"/>
                  </a:lnTo>
                  <a:lnTo>
                    <a:pt x="1657" y="389"/>
                  </a:lnTo>
                  <a:lnTo>
                    <a:pt x="1659" y="389"/>
                  </a:lnTo>
                  <a:lnTo>
                    <a:pt x="1663" y="389"/>
                  </a:lnTo>
                  <a:lnTo>
                    <a:pt x="1666" y="388"/>
                  </a:lnTo>
                  <a:lnTo>
                    <a:pt x="1667" y="387"/>
                  </a:lnTo>
                  <a:lnTo>
                    <a:pt x="1669" y="381"/>
                  </a:lnTo>
                  <a:lnTo>
                    <a:pt x="1672" y="376"/>
                  </a:lnTo>
                  <a:lnTo>
                    <a:pt x="1676" y="370"/>
                  </a:lnTo>
                  <a:lnTo>
                    <a:pt x="1676" y="363"/>
                  </a:lnTo>
                  <a:lnTo>
                    <a:pt x="1675" y="359"/>
                  </a:lnTo>
                  <a:lnTo>
                    <a:pt x="1673" y="357"/>
                  </a:lnTo>
                  <a:lnTo>
                    <a:pt x="1671" y="355"/>
                  </a:lnTo>
                  <a:lnTo>
                    <a:pt x="1667" y="353"/>
                  </a:lnTo>
                  <a:lnTo>
                    <a:pt x="1667" y="351"/>
                  </a:lnTo>
                  <a:lnTo>
                    <a:pt x="1673" y="352"/>
                  </a:lnTo>
                  <a:lnTo>
                    <a:pt x="1680" y="353"/>
                  </a:lnTo>
                  <a:lnTo>
                    <a:pt x="1692" y="358"/>
                  </a:lnTo>
                  <a:lnTo>
                    <a:pt x="1694" y="357"/>
                  </a:lnTo>
                  <a:lnTo>
                    <a:pt x="1695" y="357"/>
                  </a:lnTo>
                  <a:lnTo>
                    <a:pt x="1695" y="355"/>
                  </a:lnTo>
                  <a:lnTo>
                    <a:pt x="1696" y="352"/>
                  </a:lnTo>
                  <a:lnTo>
                    <a:pt x="1696" y="350"/>
                  </a:lnTo>
                  <a:lnTo>
                    <a:pt x="1701" y="349"/>
                  </a:lnTo>
                  <a:lnTo>
                    <a:pt x="1706" y="347"/>
                  </a:lnTo>
                  <a:lnTo>
                    <a:pt x="1710" y="345"/>
                  </a:lnTo>
                  <a:lnTo>
                    <a:pt x="1713" y="341"/>
                  </a:lnTo>
                  <a:lnTo>
                    <a:pt x="1714" y="338"/>
                  </a:lnTo>
                  <a:lnTo>
                    <a:pt x="1714" y="337"/>
                  </a:lnTo>
                  <a:lnTo>
                    <a:pt x="1713" y="334"/>
                  </a:lnTo>
                  <a:lnTo>
                    <a:pt x="1711" y="333"/>
                  </a:lnTo>
                  <a:lnTo>
                    <a:pt x="1704" y="328"/>
                  </a:lnTo>
                  <a:lnTo>
                    <a:pt x="1697" y="324"/>
                  </a:lnTo>
                  <a:lnTo>
                    <a:pt x="1692" y="318"/>
                  </a:lnTo>
                  <a:lnTo>
                    <a:pt x="1687" y="314"/>
                  </a:lnTo>
                  <a:lnTo>
                    <a:pt x="1683" y="312"/>
                  </a:lnTo>
                  <a:lnTo>
                    <a:pt x="1680" y="312"/>
                  </a:lnTo>
                  <a:lnTo>
                    <a:pt x="1671" y="311"/>
                  </a:lnTo>
                  <a:lnTo>
                    <a:pt x="1661" y="311"/>
                  </a:lnTo>
                  <a:lnTo>
                    <a:pt x="1652" y="312"/>
                  </a:lnTo>
                  <a:lnTo>
                    <a:pt x="1643" y="314"/>
                  </a:lnTo>
                  <a:lnTo>
                    <a:pt x="1642" y="315"/>
                  </a:lnTo>
                  <a:lnTo>
                    <a:pt x="1642" y="317"/>
                  </a:lnTo>
                  <a:lnTo>
                    <a:pt x="1643" y="320"/>
                  </a:lnTo>
                  <a:lnTo>
                    <a:pt x="1645" y="328"/>
                  </a:lnTo>
                  <a:lnTo>
                    <a:pt x="1645" y="332"/>
                  </a:lnTo>
                  <a:lnTo>
                    <a:pt x="1645" y="333"/>
                  </a:lnTo>
                  <a:lnTo>
                    <a:pt x="1643" y="334"/>
                  </a:lnTo>
                  <a:lnTo>
                    <a:pt x="1642" y="336"/>
                  </a:lnTo>
                  <a:lnTo>
                    <a:pt x="1639" y="336"/>
                  </a:lnTo>
                  <a:lnTo>
                    <a:pt x="1638" y="333"/>
                  </a:lnTo>
                  <a:lnTo>
                    <a:pt x="1636" y="332"/>
                  </a:lnTo>
                  <a:lnTo>
                    <a:pt x="1635" y="318"/>
                  </a:lnTo>
                  <a:lnTo>
                    <a:pt x="1634" y="311"/>
                  </a:lnTo>
                  <a:lnTo>
                    <a:pt x="1631" y="305"/>
                  </a:lnTo>
                  <a:lnTo>
                    <a:pt x="1629" y="300"/>
                  </a:lnTo>
                  <a:lnTo>
                    <a:pt x="1625" y="296"/>
                  </a:lnTo>
                  <a:lnTo>
                    <a:pt x="1621" y="294"/>
                  </a:lnTo>
                  <a:lnTo>
                    <a:pt x="1615" y="292"/>
                  </a:lnTo>
                  <a:lnTo>
                    <a:pt x="1602" y="289"/>
                  </a:lnTo>
                  <a:lnTo>
                    <a:pt x="1589" y="286"/>
                  </a:lnTo>
                  <a:lnTo>
                    <a:pt x="1578" y="281"/>
                  </a:lnTo>
                  <a:lnTo>
                    <a:pt x="1567" y="275"/>
                  </a:lnTo>
                  <a:lnTo>
                    <a:pt x="1562" y="274"/>
                  </a:lnTo>
                  <a:lnTo>
                    <a:pt x="1556" y="273"/>
                  </a:lnTo>
                  <a:lnTo>
                    <a:pt x="1545" y="270"/>
                  </a:lnTo>
                  <a:lnTo>
                    <a:pt x="1541" y="269"/>
                  </a:lnTo>
                  <a:lnTo>
                    <a:pt x="1537" y="266"/>
                  </a:lnTo>
                  <a:lnTo>
                    <a:pt x="1534" y="260"/>
                  </a:lnTo>
                  <a:lnTo>
                    <a:pt x="1531" y="257"/>
                  </a:lnTo>
                  <a:lnTo>
                    <a:pt x="1527" y="255"/>
                  </a:lnTo>
                  <a:lnTo>
                    <a:pt x="1525" y="255"/>
                  </a:lnTo>
                  <a:lnTo>
                    <a:pt x="1523" y="255"/>
                  </a:lnTo>
                  <a:lnTo>
                    <a:pt x="1521" y="256"/>
                  </a:lnTo>
                  <a:lnTo>
                    <a:pt x="1518" y="255"/>
                  </a:lnTo>
                  <a:lnTo>
                    <a:pt x="1501" y="247"/>
                  </a:lnTo>
                  <a:lnTo>
                    <a:pt x="1492" y="243"/>
                  </a:lnTo>
                  <a:lnTo>
                    <a:pt x="1483" y="241"/>
                  </a:lnTo>
                  <a:lnTo>
                    <a:pt x="1483" y="240"/>
                  </a:lnTo>
                  <a:lnTo>
                    <a:pt x="1468" y="237"/>
                  </a:lnTo>
                  <a:lnTo>
                    <a:pt x="1454" y="235"/>
                  </a:lnTo>
                  <a:lnTo>
                    <a:pt x="1424" y="231"/>
                  </a:lnTo>
                  <a:lnTo>
                    <a:pt x="1418" y="231"/>
                  </a:lnTo>
                  <a:lnTo>
                    <a:pt x="1413" y="232"/>
                  </a:lnTo>
                  <a:lnTo>
                    <a:pt x="1403" y="235"/>
                  </a:lnTo>
                  <a:lnTo>
                    <a:pt x="1399" y="235"/>
                  </a:lnTo>
                  <a:lnTo>
                    <a:pt x="1396" y="234"/>
                  </a:lnTo>
                  <a:lnTo>
                    <a:pt x="1393" y="234"/>
                  </a:lnTo>
                  <a:lnTo>
                    <a:pt x="1390" y="236"/>
                  </a:lnTo>
                  <a:lnTo>
                    <a:pt x="1390" y="237"/>
                  </a:lnTo>
                  <a:lnTo>
                    <a:pt x="1390" y="238"/>
                  </a:lnTo>
                  <a:lnTo>
                    <a:pt x="1390" y="240"/>
                  </a:lnTo>
                  <a:lnTo>
                    <a:pt x="1390" y="241"/>
                  </a:lnTo>
                  <a:lnTo>
                    <a:pt x="1388" y="243"/>
                  </a:lnTo>
                  <a:lnTo>
                    <a:pt x="1386" y="247"/>
                  </a:lnTo>
                  <a:lnTo>
                    <a:pt x="1385" y="251"/>
                  </a:lnTo>
                  <a:lnTo>
                    <a:pt x="1386" y="263"/>
                  </a:lnTo>
                  <a:lnTo>
                    <a:pt x="1385" y="268"/>
                  </a:lnTo>
                  <a:lnTo>
                    <a:pt x="1382" y="273"/>
                  </a:lnTo>
                  <a:lnTo>
                    <a:pt x="1377" y="276"/>
                  </a:lnTo>
                  <a:lnTo>
                    <a:pt x="1374" y="279"/>
                  </a:lnTo>
                  <a:lnTo>
                    <a:pt x="1370" y="279"/>
                  </a:lnTo>
                  <a:lnTo>
                    <a:pt x="1366" y="277"/>
                  </a:lnTo>
                  <a:lnTo>
                    <a:pt x="1363" y="276"/>
                  </a:lnTo>
                  <a:lnTo>
                    <a:pt x="1361" y="273"/>
                  </a:lnTo>
                  <a:lnTo>
                    <a:pt x="1356" y="267"/>
                  </a:lnTo>
                  <a:lnTo>
                    <a:pt x="1352" y="262"/>
                  </a:lnTo>
                  <a:lnTo>
                    <a:pt x="1344" y="257"/>
                  </a:lnTo>
                  <a:lnTo>
                    <a:pt x="1338" y="251"/>
                  </a:lnTo>
                  <a:lnTo>
                    <a:pt x="1333" y="245"/>
                  </a:lnTo>
                  <a:lnTo>
                    <a:pt x="1329" y="238"/>
                  </a:lnTo>
                  <a:lnTo>
                    <a:pt x="1322" y="242"/>
                  </a:lnTo>
                  <a:lnTo>
                    <a:pt x="1318" y="243"/>
                  </a:lnTo>
                  <a:lnTo>
                    <a:pt x="1313" y="244"/>
                  </a:lnTo>
                  <a:lnTo>
                    <a:pt x="1302" y="243"/>
                  </a:lnTo>
                  <a:lnTo>
                    <a:pt x="1292" y="242"/>
                  </a:lnTo>
                  <a:lnTo>
                    <a:pt x="1281" y="242"/>
                  </a:lnTo>
                  <a:lnTo>
                    <a:pt x="1276" y="242"/>
                  </a:lnTo>
                  <a:lnTo>
                    <a:pt x="1272" y="244"/>
                  </a:lnTo>
                  <a:lnTo>
                    <a:pt x="1264" y="245"/>
                  </a:lnTo>
                  <a:lnTo>
                    <a:pt x="1257" y="245"/>
                  </a:lnTo>
                  <a:lnTo>
                    <a:pt x="1257" y="244"/>
                  </a:lnTo>
                  <a:lnTo>
                    <a:pt x="1244" y="244"/>
                  </a:lnTo>
                  <a:lnTo>
                    <a:pt x="1236" y="244"/>
                  </a:lnTo>
                  <a:lnTo>
                    <a:pt x="1231" y="247"/>
                  </a:lnTo>
                  <a:lnTo>
                    <a:pt x="1221" y="251"/>
                  </a:lnTo>
                  <a:lnTo>
                    <a:pt x="1220" y="253"/>
                  </a:lnTo>
                  <a:lnTo>
                    <a:pt x="1219" y="255"/>
                  </a:lnTo>
                  <a:lnTo>
                    <a:pt x="1216" y="258"/>
                  </a:lnTo>
                  <a:lnTo>
                    <a:pt x="1216" y="260"/>
                  </a:lnTo>
                  <a:lnTo>
                    <a:pt x="1214" y="258"/>
                  </a:lnTo>
                  <a:lnTo>
                    <a:pt x="1211" y="257"/>
                  </a:lnTo>
                  <a:lnTo>
                    <a:pt x="1203" y="250"/>
                  </a:lnTo>
                  <a:lnTo>
                    <a:pt x="1196" y="243"/>
                  </a:lnTo>
                  <a:lnTo>
                    <a:pt x="1193" y="241"/>
                  </a:lnTo>
                  <a:lnTo>
                    <a:pt x="1192" y="238"/>
                  </a:lnTo>
                  <a:lnTo>
                    <a:pt x="1192" y="234"/>
                  </a:lnTo>
                  <a:lnTo>
                    <a:pt x="1192" y="229"/>
                  </a:lnTo>
                  <a:lnTo>
                    <a:pt x="1192" y="225"/>
                  </a:lnTo>
                  <a:lnTo>
                    <a:pt x="1191" y="221"/>
                  </a:lnTo>
                  <a:lnTo>
                    <a:pt x="1186" y="216"/>
                  </a:lnTo>
                  <a:lnTo>
                    <a:pt x="1179" y="212"/>
                  </a:lnTo>
                  <a:lnTo>
                    <a:pt x="1174" y="209"/>
                  </a:lnTo>
                  <a:lnTo>
                    <a:pt x="1160" y="204"/>
                  </a:lnTo>
                  <a:lnTo>
                    <a:pt x="1146" y="202"/>
                  </a:lnTo>
                  <a:lnTo>
                    <a:pt x="1132" y="202"/>
                  </a:lnTo>
                  <a:lnTo>
                    <a:pt x="1112" y="204"/>
                  </a:lnTo>
                  <a:lnTo>
                    <a:pt x="1092" y="208"/>
                  </a:lnTo>
                  <a:lnTo>
                    <a:pt x="1085" y="209"/>
                  </a:lnTo>
                  <a:lnTo>
                    <a:pt x="1079" y="208"/>
                  </a:lnTo>
                  <a:lnTo>
                    <a:pt x="1079" y="210"/>
                  </a:lnTo>
                  <a:lnTo>
                    <a:pt x="1071" y="209"/>
                  </a:lnTo>
                  <a:lnTo>
                    <a:pt x="1064" y="209"/>
                  </a:lnTo>
                  <a:lnTo>
                    <a:pt x="1052" y="206"/>
                  </a:lnTo>
                  <a:lnTo>
                    <a:pt x="1042" y="204"/>
                  </a:lnTo>
                  <a:lnTo>
                    <a:pt x="1038" y="203"/>
                  </a:lnTo>
                  <a:lnTo>
                    <a:pt x="1035" y="200"/>
                  </a:lnTo>
                  <a:lnTo>
                    <a:pt x="1028" y="194"/>
                  </a:lnTo>
                  <a:lnTo>
                    <a:pt x="1028" y="193"/>
                  </a:lnTo>
                  <a:lnTo>
                    <a:pt x="1027" y="189"/>
                  </a:lnTo>
                  <a:lnTo>
                    <a:pt x="1024" y="185"/>
                  </a:lnTo>
                  <a:lnTo>
                    <a:pt x="1019" y="178"/>
                  </a:lnTo>
                  <a:lnTo>
                    <a:pt x="1019" y="175"/>
                  </a:lnTo>
                  <a:lnTo>
                    <a:pt x="1021" y="172"/>
                  </a:lnTo>
                  <a:lnTo>
                    <a:pt x="1021" y="170"/>
                  </a:lnTo>
                  <a:lnTo>
                    <a:pt x="1019" y="168"/>
                  </a:lnTo>
                  <a:lnTo>
                    <a:pt x="1005" y="165"/>
                  </a:lnTo>
                  <a:lnTo>
                    <a:pt x="989" y="162"/>
                  </a:lnTo>
                  <a:lnTo>
                    <a:pt x="981" y="162"/>
                  </a:lnTo>
                  <a:lnTo>
                    <a:pt x="975" y="164"/>
                  </a:lnTo>
                  <a:lnTo>
                    <a:pt x="969" y="166"/>
                  </a:lnTo>
                  <a:lnTo>
                    <a:pt x="963" y="171"/>
                  </a:lnTo>
                  <a:lnTo>
                    <a:pt x="960" y="175"/>
                  </a:lnTo>
                  <a:lnTo>
                    <a:pt x="957" y="181"/>
                  </a:lnTo>
                  <a:lnTo>
                    <a:pt x="953" y="186"/>
                  </a:lnTo>
                  <a:lnTo>
                    <a:pt x="948" y="191"/>
                  </a:lnTo>
                  <a:lnTo>
                    <a:pt x="944" y="191"/>
                  </a:lnTo>
                  <a:lnTo>
                    <a:pt x="943" y="190"/>
                  </a:lnTo>
                  <a:lnTo>
                    <a:pt x="942" y="189"/>
                  </a:lnTo>
                  <a:lnTo>
                    <a:pt x="941" y="186"/>
                  </a:lnTo>
                  <a:lnTo>
                    <a:pt x="941" y="184"/>
                  </a:lnTo>
                  <a:lnTo>
                    <a:pt x="943" y="179"/>
                  </a:lnTo>
                  <a:lnTo>
                    <a:pt x="946" y="175"/>
                  </a:lnTo>
                  <a:lnTo>
                    <a:pt x="951" y="174"/>
                  </a:lnTo>
                  <a:lnTo>
                    <a:pt x="953" y="172"/>
                  </a:lnTo>
                  <a:lnTo>
                    <a:pt x="955" y="170"/>
                  </a:lnTo>
                  <a:lnTo>
                    <a:pt x="955" y="167"/>
                  </a:lnTo>
                  <a:lnTo>
                    <a:pt x="947" y="170"/>
                  </a:lnTo>
                  <a:lnTo>
                    <a:pt x="937" y="171"/>
                  </a:lnTo>
                  <a:lnTo>
                    <a:pt x="933" y="170"/>
                  </a:lnTo>
                  <a:lnTo>
                    <a:pt x="929" y="168"/>
                  </a:lnTo>
                  <a:lnTo>
                    <a:pt x="927" y="167"/>
                  </a:lnTo>
                  <a:lnTo>
                    <a:pt x="927" y="164"/>
                  </a:lnTo>
                  <a:lnTo>
                    <a:pt x="927" y="160"/>
                  </a:lnTo>
                  <a:lnTo>
                    <a:pt x="929" y="158"/>
                  </a:lnTo>
                  <a:lnTo>
                    <a:pt x="933" y="158"/>
                  </a:lnTo>
                  <a:lnTo>
                    <a:pt x="938" y="158"/>
                  </a:lnTo>
                  <a:lnTo>
                    <a:pt x="948" y="159"/>
                  </a:lnTo>
                  <a:lnTo>
                    <a:pt x="953" y="159"/>
                  </a:lnTo>
                  <a:lnTo>
                    <a:pt x="957" y="158"/>
                  </a:lnTo>
                  <a:lnTo>
                    <a:pt x="930" y="153"/>
                  </a:lnTo>
                  <a:lnTo>
                    <a:pt x="904" y="147"/>
                  </a:lnTo>
                  <a:lnTo>
                    <a:pt x="896" y="147"/>
                  </a:lnTo>
                  <a:lnTo>
                    <a:pt x="890" y="148"/>
                  </a:lnTo>
                  <a:lnTo>
                    <a:pt x="876" y="151"/>
                  </a:lnTo>
                  <a:lnTo>
                    <a:pt x="873" y="151"/>
                  </a:lnTo>
                  <a:lnTo>
                    <a:pt x="869" y="149"/>
                  </a:lnTo>
                  <a:lnTo>
                    <a:pt x="867" y="149"/>
                  </a:lnTo>
                  <a:lnTo>
                    <a:pt x="864" y="149"/>
                  </a:lnTo>
                  <a:lnTo>
                    <a:pt x="862" y="151"/>
                  </a:lnTo>
                  <a:lnTo>
                    <a:pt x="861" y="154"/>
                  </a:lnTo>
                  <a:lnTo>
                    <a:pt x="861" y="157"/>
                  </a:lnTo>
                  <a:lnTo>
                    <a:pt x="859" y="158"/>
                  </a:lnTo>
                  <a:lnTo>
                    <a:pt x="854" y="159"/>
                  </a:lnTo>
                  <a:lnTo>
                    <a:pt x="848" y="159"/>
                  </a:lnTo>
                  <a:lnTo>
                    <a:pt x="844" y="160"/>
                  </a:lnTo>
                  <a:lnTo>
                    <a:pt x="843" y="161"/>
                  </a:lnTo>
                  <a:lnTo>
                    <a:pt x="843" y="164"/>
                  </a:lnTo>
                  <a:lnTo>
                    <a:pt x="844" y="166"/>
                  </a:lnTo>
                  <a:lnTo>
                    <a:pt x="847" y="168"/>
                  </a:lnTo>
                  <a:lnTo>
                    <a:pt x="849" y="170"/>
                  </a:lnTo>
                  <a:lnTo>
                    <a:pt x="852" y="171"/>
                  </a:lnTo>
                  <a:lnTo>
                    <a:pt x="852" y="172"/>
                  </a:lnTo>
                  <a:lnTo>
                    <a:pt x="849" y="174"/>
                  </a:lnTo>
                  <a:lnTo>
                    <a:pt x="847" y="175"/>
                  </a:lnTo>
                  <a:lnTo>
                    <a:pt x="845" y="178"/>
                  </a:lnTo>
                  <a:lnTo>
                    <a:pt x="844" y="180"/>
                  </a:lnTo>
                  <a:lnTo>
                    <a:pt x="844" y="185"/>
                  </a:lnTo>
                  <a:lnTo>
                    <a:pt x="847" y="190"/>
                  </a:lnTo>
                  <a:lnTo>
                    <a:pt x="845" y="191"/>
                  </a:lnTo>
                  <a:lnTo>
                    <a:pt x="839" y="190"/>
                  </a:lnTo>
                  <a:lnTo>
                    <a:pt x="833" y="189"/>
                  </a:lnTo>
                  <a:lnTo>
                    <a:pt x="826" y="189"/>
                  </a:lnTo>
                  <a:lnTo>
                    <a:pt x="824" y="189"/>
                  </a:lnTo>
                  <a:lnTo>
                    <a:pt x="821" y="191"/>
                  </a:lnTo>
                  <a:lnTo>
                    <a:pt x="820" y="191"/>
                  </a:lnTo>
                  <a:lnTo>
                    <a:pt x="820" y="193"/>
                  </a:lnTo>
                  <a:lnTo>
                    <a:pt x="821" y="194"/>
                  </a:lnTo>
                  <a:lnTo>
                    <a:pt x="820" y="196"/>
                  </a:lnTo>
                  <a:lnTo>
                    <a:pt x="819" y="196"/>
                  </a:lnTo>
                  <a:lnTo>
                    <a:pt x="816" y="196"/>
                  </a:lnTo>
                  <a:lnTo>
                    <a:pt x="814" y="198"/>
                  </a:lnTo>
                  <a:lnTo>
                    <a:pt x="810" y="199"/>
                  </a:lnTo>
                  <a:lnTo>
                    <a:pt x="807" y="199"/>
                  </a:lnTo>
                  <a:lnTo>
                    <a:pt x="803" y="199"/>
                  </a:lnTo>
                  <a:lnTo>
                    <a:pt x="796" y="197"/>
                  </a:lnTo>
                  <a:lnTo>
                    <a:pt x="789" y="193"/>
                  </a:lnTo>
                  <a:lnTo>
                    <a:pt x="782" y="192"/>
                  </a:lnTo>
                  <a:lnTo>
                    <a:pt x="776" y="191"/>
                  </a:lnTo>
                  <a:lnTo>
                    <a:pt x="768" y="192"/>
                  </a:lnTo>
                  <a:lnTo>
                    <a:pt x="760" y="196"/>
                  </a:lnTo>
                  <a:lnTo>
                    <a:pt x="756" y="197"/>
                  </a:lnTo>
                  <a:lnTo>
                    <a:pt x="753" y="197"/>
                  </a:lnTo>
                  <a:lnTo>
                    <a:pt x="748" y="197"/>
                  </a:lnTo>
                  <a:lnTo>
                    <a:pt x="744" y="194"/>
                  </a:lnTo>
                  <a:lnTo>
                    <a:pt x="740" y="192"/>
                  </a:lnTo>
                  <a:lnTo>
                    <a:pt x="737" y="190"/>
                  </a:lnTo>
                  <a:lnTo>
                    <a:pt x="735" y="186"/>
                  </a:lnTo>
                  <a:lnTo>
                    <a:pt x="735" y="183"/>
                  </a:lnTo>
                  <a:lnTo>
                    <a:pt x="732" y="183"/>
                  </a:lnTo>
                  <a:lnTo>
                    <a:pt x="729" y="187"/>
                  </a:lnTo>
                  <a:lnTo>
                    <a:pt x="725" y="191"/>
                  </a:lnTo>
                  <a:lnTo>
                    <a:pt x="721" y="194"/>
                  </a:lnTo>
                  <a:lnTo>
                    <a:pt x="718" y="196"/>
                  </a:lnTo>
                  <a:lnTo>
                    <a:pt x="715" y="196"/>
                  </a:lnTo>
                  <a:lnTo>
                    <a:pt x="713" y="197"/>
                  </a:lnTo>
                  <a:lnTo>
                    <a:pt x="712" y="198"/>
                  </a:lnTo>
                  <a:lnTo>
                    <a:pt x="711" y="200"/>
                  </a:lnTo>
                  <a:lnTo>
                    <a:pt x="711" y="203"/>
                  </a:lnTo>
                  <a:lnTo>
                    <a:pt x="711" y="209"/>
                  </a:lnTo>
                  <a:lnTo>
                    <a:pt x="709" y="213"/>
                  </a:lnTo>
                  <a:lnTo>
                    <a:pt x="709" y="215"/>
                  </a:lnTo>
                  <a:lnTo>
                    <a:pt x="708" y="215"/>
                  </a:lnTo>
                  <a:lnTo>
                    <a:pt x="703" y="213"/>
                  </a:lnTo>
                  <a:lnTo>
                    <a:pt x="699" y="210"/>
                  </a:lnTo>
                  <a:lnTo>
                    <a:pt x="690" y="202"/>
                  </a:lnTo>
                  <a:lnTo>
                    <a:pt x="687" y="199"/>
                  </a:lnTo>
                  <a:lnTo>
                    <a:pt x="678" y="197"/>
                  </a:lnTo>
                  <a:lnTo>
                    <a:pt x="669" y="193"/>
                  </a:lnTo>
                  <a:lnTo>
                    <a:pt x="665" y="191"/>
                  </a:lnTo>
                  <a:lnTo>
                    <a:pt x="662" y="187"/>
                  </a:lnTo>
                  <a:lnTo>
                    <a:pt x="660" y="184"/>
                  </a:lnTo>
                  <a:lnTo>
                    <a:pt x="659" y="180"/>
                  </a:lnTo>
                  <a:lnTo>
                    <a:pt x="655" y="179"/>
                  </a:lnTo>
                  <a:lnTo>
                    <a:pt x="651" y="177"/>
                  </a:lnTo>
                  <a:lnTo>
                    <a:pt x="647" y="173"/>
                  </a:lnTo>
                  <a:lnTo>
                    <a:pt x="645" y="170"/>
                  </a:lnTo>
                  <a:lnTo>
                    <a:pt x="652" y="170"/>
                  </a:lnTo>
                  <a:lnTo>
                    <a:pt x="655" y="168"/>
                  </a:lnTo>
                  <a:lnTo>
                    <a:pt x="657" y="166"/>
                  </a:lnTo>
                  <a:lnTo>
                    <a:pt x="657" y="159"/>
                  </a:lnTo>
                  <a:lnTo>
                    <a:pt x="655" y="152"/>
                  </a:lnTo>
                  <a:lnTo>
                    <a:pt x="651" y="147"/>
                  </a:lnTo>
                  <a:lnTo>
                    <a:pt x="646" y="142"/>
                  </a:lnTo>
                  <a:lnTo>
                    <a:pt x="638" y="139"/>
                  </a:lnTo>
                  <a:lnTo>
                    <a:pt x="632" y="135"/>
                  </a:lnTo>
                  <a:lnTo>
                    <a:pt x="617" y="132"/>
                  </a:lnTo>
                  <a:lnTo>
                    <a:pt x="614" y="129"/>
                  </a:lnTo>
                  <a:lnTo>
                    <a:pt x="613" y="127"/>
                  </a:lnTo>
                  <a:lnTo>
                    <a:pt x="609" y="127"/>
                  </a:lnTo>
                  <a:lnTo>
                    <a:pt x="608" y="129"/>
                  </a:lnTo>
                  <a:lnTo>
                    <a:pt x="603" y="134"/>
                  </a:lnTo>
                  <a:lnTo>
                    <a:pt x="594" y="133"/>
                  </a:lnTo>
                  <a:lnTo>
                    <a:pt x="585" y="132"/>
                  </a:lnTo>
                  <a:lnTo>
                    <a:pt x="577" y="128"/>
                  </a:lnTo>
                  <a:lnTo>
                    <a:pt x="570" y="125"/>
                  </a:lnTo>
                  <a:lnTo>
                    <a:pt x="567" y="125"/>
                  </a:lnTo>
                  <a:lnTo>
                    <a:pt x="566" y="125"/>
                  </a:lnTo>
                  <a:lnTo>
                    <a:pt x="563" y="126"/>
                  </a:lnTo>
                  <a:lnTo>
                    <a:pt x="562" y="126"/>
                  </a:lnTo>
                  <a:lnTo>
                    <a:pt x="558" y="123"/>
                  </a:lnTo>
                  <a:lnTo>
                    <a:pt x="557" y="122"/>
                  </a:lnTo>
                  <a:lnTo>
                    <a:pt x="556" y="125"/>
                  </a:lnTo>
                  <a:lnTo>
                    <a:pt x="556" y="136"/>
                  </a:lnTo>
                  <a:lnTo>
                    <a:pt x="556" y="145"/>
                  </a:lnTo>
                  <a:lnTo>
                    <a:pt x="556" y="147"/>
                  </a:lnTo>
                  <a:lnTo>
                    <a:pt x="555" y="149"/>
                  </a:lnTo>
                  <a:lnTo>
                    <a:pt x="549" y="154"/>
                  </a:lnTo>
                  <a:lnTo>
                    <a:pt x="547" y="154"/>
                  </a:lnTo>
                  <a:lnTo>
                    <a:pt x="543" y="154"/>
                  </a:lnTo>
                  <a:lnTo>
                    <a:pt x="539" y="153"/>
                  </a:lnTo>
                  <a:lnTo>
                    <a:pt x="536" y="154"/>
                  </a:lnTo>
                  <a:lnTo>
                    <a:pt x="533" y="154"/>
                  </a:lnTo>
                  <a:lnTo>
                    <a:pt x="530" y="153"/>
                  </a:lnTo>
                  <a:lnTo>
                    <a:pt x="529" y="152"/>
                  </a:lnTo>
                  <a:lnTo>
                    <a:pt x="527" y="152"/>
                  </a:lnTo>
                  <a:lnTo>
                    <a:pt x="525" y="152"/>
                  </a:lnTo>
                  <a:lnTo>
                    <a:pt x="523" y="152"/>
                  </a:lnTo>
                  <a:lnTo>
                    <a:pt x="520" y="154"/>
                  </a:lnTo>
                  <a:lnTo>
                    <a:pt x="518" y="154"/>
                  </a:lnTo>
                  <a:lnTo>
                    <a:pt x="513" y="154"/>
                  </a:lnTo>
                  <a:lnTo>
                    <a:pt x="508" y="152"/>
                  </a:lnTo>
                  <a:lnTo>
                    <a:pt x="504" y="149"/>
                  </a:lnTo>
                  <a:lnTo>
                    <a:pt x="501" y="149"/>
                  </a:lnTo>
                  <a:lnTo>
                    <a:pt x="499" y="149"/>
                  </a:lnTo>
                  <a:lnTo>
                    <a:pt x="496" y="148"/>
                  </a:lnTo>
                  <a:lnTo>
                    <a:pt x="495" y="147"/>
                  </a:lnTo>
                  <a:lnTo>
                    <a:pt x="494" y="142"/>
                  </a:lnTo>
                  <a:lnTo>
                    <a:pt x="491" y="141"/>
                  </a:lnTo>
                  <a:lnTo>
                    <a:pt x="483" y="141"/>
                  </a:lnTo>
                  <a:lnTo>
                    <a:pt x="476" y="139"/>
                  </a:lnTo>
                  <a:lnTo>
                    <a:pt x="473" y="139"/>
                  </a:lnTo>
                  <a:lnTo>
                    <a:pt x="472" y="140"/>
                  </a:lnTo>
                  <a:lnTo>
                    <a:pt x="468" y="141"/>
                  </a:lnTo>
                  <a:lnTo>
                    <a:pt x="467" y="141"/>
                  </a:lnTo>
                  <a:lnTo>
                    <a:pt x="464" y="141"/>
                  </a:lnTo>
                  <a:lnTo>
                    <a:pt x="462" y="139"/>
                  </a:lnTo>
                  <a:lnTo>
                    <a:pt x="458" y="138"/>
                  </a:lnTo>
                  <a:lnTo>
                    <a:pt x="450" y="136"/>
                  </a:lnTo>
                  <a:lnTo>
                    <a:pt x="443" y="135"/>
                  </a:lnTo>
                  <a:lnTo>
                    <a:pt x="435" y="134"/>
                  </a:lnTo>
                  <a:lnTo>
                    <a:pt x="426" y="134"/>
                  </a:lnTo>
                  <a:lnTo>
                    <a:pt x="420" y="135"/>
                  </a:lnTo>
                  <a:lnTo>
                    <a:pt x="417" y="135"/>
                  </a:lnTo>
                  <a:lnTo>
                    <a:pt x="415" y="135"/>
                  </a:lnTo>
                  <a:lnTo>
                    <a:pt x="411" y="134"/>
                  </a:lnTo>
                  <a:lnTo>
                    <a:pt x="407" y="132"/>
                  </a:lnTo>
                  <a:lnTo>
                    <a:pt x="401" y="127"/>
                  </a:lnTo>
                  <a:lnTo>
                    <a:pt x="398" y="125"/>
                  </a:lnTo>
                  <a:lnTo>
                    <a:pt x="396" y="125"/>
                  </a:lnTo>
                  <a:lnTo>
                    <a:pt x="393" y="125"/>
                  </a:lnTo>
                  <a:lnTo>
                    <a:pt x="392" y="127"/>
                  </a:lnTo>
                  <a:lnTo>
                    <a:pt x="392" y="130"/>
                  </a:lnTo>
                  <a:lnTo>
                    <a:pt x="393" y="133"/>
                  </a:lnTo>
                  <a:lnTo>
                    <a:pt x="395" y="135"/>
                  </a:lnTo>
                  <a:lnTo>
                    <a:pt x="396" y="138"/>
                  </a:lnTo>
                  <a:lnTo>
                    <a:pt x="397" y="141"/>
                  </a:lnTo>
                  <a:lnTo>
                    <a:pt x="396" y="145"/>
                  </a:lnTo>
                  <a:lnTo>
                    <a:pt x="395" y="147"/>
                  </a:lnTo>
                  <a:lnTo>
                    <a:pt x="393" y="148"/>
                  </a:lnTo>
                  <a:lnTo>
                    <a:pt x="391" y="147"/>
                  </a:lnTo>
                  <a:lnTo>
                    <a:pt x="389" y="145"/>
                  </a:lnTo>
                  <a:lnTo>
                    <a:pt x="386" y="139"/>
                  </a:lnTo>
                  <a:lnTo>
                    <a:pt x="379" y="130"/>
                  </a:lnTo>
                  <a:lnTo>
                    <a:pt x="373" y="122"/>
                  </a:lnTo>
                  <a:lnTo>
                    <a:pt x="368" y="119"/>
                  </a:lnTo>
                  <a:lnTo>
                    <a:pt x="364" y="116"/>
                  </a:lnTo>
                  <a:lnTo>
                    <a:pt x="359" y="114"/>
                  </a:lnTo>
                  <a:lnTo>
                    <a:pt x="353" y="114"/>
                  </a:lnTo>
                  <a:lnTo>
                    <a:pt x="350" y="114"/>
                  </a:lnTo>
                  <a:lnTo>
                    <a:pt x="346" y="115"/>
                  </a:lnTo>
                  <a:lnTo>
                    <a:pt x="340" y="119"/>
                  </a:lnTo>
                  <a:lnTo>
                    <a:pt x="337" y="120"/>
                  </a:lnTo>
                  <a:lnTo>
                    <a:pt x="336" y="122"/>
                  </a:lnTo>
                  <a:lnTo>
                    <a:pt x="337" y="129"/>
                  </a:lnTo>
                  <a:lnTo>
                    <a:pt x="332" y="129"/>
                  </a:lnTo>
                  <a:lnTo>
                    <a:pt x="329" y="132"/>
                  </a:lnTo>
                  <a:lnTo>
                    <a:pt x="318" y="135"/>
                  </a:lnTo>
                  <a:lnTo>
                    <a:pt x="311" y="138"/>
                  </a:lnTo>
                  <a:lnTo>
                    <a:pt x="307" y="139"/>
                  </a:lnTo>
                  <a:lnTo>
                    <a:pt x="303" y="138"/>
                  </a:lnTo>
                  <a:lnTo>
                    <a:pt x="298" y="136"/>
                  </a:lnTo>
                  <a:lnTo>
                    <a:pt x="293" y="136"/>
                  </a:lnTo>
                  <a:lnTo>
                    <a:pt x="288" y="138"/>
                  </a:lnTo>
                  <a:lnTo>
                    <a:pt x="283" y="139"/>
                  </a:lnTo>
                  <a:lnTo>
                    <a:pt x="274" y="145"/>
                  </a:lnTo>
                  <a:lnTo>
                    <a:pt x="265" y="151"/>
                  </a:lnTo>
                  <a:lnTo>
                    <a:pt x="262" y="152"/>
                  </a:lnTo>
                  <a:lnTo>
                    <a:pt x="261" y="152"/>
                  </a:lnTo>
                  <a:lnTo>
                    <a:pt x="256" y="152"/>
                  </a:lnTo>
                  <a:lnTo>
                    <a:pt x="251" y="149"/>
                  </a:lnTo>
                  <a:lnTo>
                    <a:pt x="246" y="149"/>
                  </a:lnTo>
                  <a:lnTo>
                    <a:pt x="245" y="149"/>
                  </a:lnTo>
                  <a:lnTo>
                    <a:pt x="243" y="149"/>
                  </a:lnTo>
                  <a:lnTo>
                    <a:pt x="242" y="148"/>
                  </a:lnTo>
                  <a:lnTo>
                    <a:pt x="242" y="147"/>
                  </a:lnTo>
                  <a:lnTo>
                    <a:pt x="249" y="145"/>
                  </a:lnTo>
                  <a:lnTo>
                    <a:pt x="255" y="142"/>
                  </a:lnTo>
                  <a:lnTo>
                    <a:pt x="261" y="140"/>
                  </a:lnTo>
                  <a:lnTo>
                    <a:pt x="266" y="136"/>
                  </a:lnTo>
                  <a:lnTo>
                    <a:pt x="273" y="134"/>
                  </a:lnTo>
                  <a:lnTo>
                    <a:pt x="279" y="132"/>
                  </a:lnTo>
                  <a:lnTo>
                    <a:pt x="284" y="130"/>
                  </a:lnTo>
                  <a:lnTo>
                    <a:pt x="288" y="128"/>
                  </a:lnTo>
                  <a:lnTo>
                    <a:pt x="292" y="125"/>
                  </a:lnTo>
                  <a:lnTo>
                    <a:pt x="296" y="120"/>
                  </a:lnTo>
                  <a:lnTo>
                    <a:pt x="301" y="117"/>
                  </a:lnTo>
                  <a:lnTo>
                    <a:pt x="307" y="116"/>
                  </a:lnTo>
                  <a:lnTo>
                    <a:pt x="309" y="116"/>
                  </a:lnTo>
                  <a:lnTo>
                    <a:pt x="313" y="115"/>
                  </a:lnTo>
                  <a:lnTo>
                    <a:pt x="318" y="111"/>
                  </a:lnTo>
                  <a:lnTo>
                    <a:pt x="322" y="108"/>
                  </a:lnTo>
                  <a:lnTo>
                    <a:pt x="327" y="104"/>
                  </a:lnTo>
                  <a:lnTo>
                    <a:pt x="331" y="102"/>
                  </a:lnTo>
                  <a:lnTo>
                    <a:pt x="335" y="101"/>
                  </a:lnTo>
                  <a:lnTo>
                    <a:pt x="337" y="101"/>
                  </a:lnTo>
                  <a:lnTo>
                    <a:pt x="345" y="100"/>
                  </a:lnTo>
                  <a:lnTo>
                    <a:pt x="349" y="97"/>
                  </a:lnTo>
                  <a:lnTo>
                    <a:pt x="353" y="95"/>
                  </a:lnTo>
                  <a:lnTo>
                    <a:pt x="362" y="89"/>
                  </a:lnTo>
                  <a:lnTo>
                    <a:pt x="372" y="84"/>
                  </a:lnTo>
                  <a:lnTo>
                    <a:pt x="381" y="81"/>
                  </a:lnTo>
                  <a:lnTo>
                    <a:pt x="382" y="79"/>
                  </a:lnTo>
                  <a:lnTo>
                    <a:pt x="383" y="78"/>
                  </a:lnTo>
                  <a:lnTo>
                    <a:pt x="384" y="75"/>
                  </a:lnTo>
                  <a:lnTo>
                    <a:pt x="387" y="70"/>
                  </a:lnTo>
                  <a:lnTo>
                    <a:pt x="387" y="69"/>
                  </a:lnTo>
                  <a:lnTo>
                    <a:pt x="386" y="66"/>
                  </a:lnTo>
                  <a:lnTo>
                    <a:pt x="386" y="62"/>
                  </a:lnTo>
                  <a:lnTo>
                    <a:pt x="388" y="56"/>
                  </a:lnTo>
                  <a:lnTo>
                    <a:pt x="391" y="50"/>
                  </a:lnTo>
                  <a:lnTo>
                    <a:pt x="389" y="47"/>
                  </a:lnTo>
                  <a:lnTo>
                    <a:pt x="387" y="44"/>
                  </a:lnTo>
                  <a:lnTo>
                    <a:pt x="384" y="42"/>
                  </a:lnTo>
                  <a:lnTo>
                    <a:pt x="382" y="42"/>
                  </a:lnTo>
                  <a:lnTo>
                    <a:pt x="377" y="42"/>
                  </a:lnTo>
                  <a:lnTo>
                    <a:pt x="373" y="39"/>
                  </a:lnTo>
                  <a:lnTo>
                    <a:pt x="370" y="36"/>
                  </a:lnTo>
                  <a:lnTo>
                    <a:pt x="365" y="34"/>
                  </a:lnTo>
                  <a:lnTo>
                    <a:pt x="355" y="33"/>
                  </a:lnTo>
                  <a:lnTo>
                    <a:pt x="341" y="33"/>
                  </a:lnTo>
                  <a:lnTo>
                    <a:pt x="336" y="34"/>
                  </a:lnTo>
                  <a:lnTo>
                    <a:pt x="334" y="36"/>
                  </a:lnTo>
                  <a:lnTo>
                    <a:pt x="329" y="37"/>
                  </a:lnTo>
                  <a:lnTo>
                    <a:pt x="321" y="34"/>
                  </a:lnTo>
                  <a:lnTo>
                    <a:pt x="316" y="33"/>
                  </a:lnTo>
                  <a:lnTo>
                    <a:pt x="311" y="33"/>
                  </a:lnTo>
                  <a:lnTo>
                    <a:pt x="301" y="34"/>
                  </a:lnTo>
                  <a:lnTo>
                    <a:pt x="289" y="34"/>
                  </a:lnTo>
                  <a:lnTo>
                    <a:pt x="284" y="36"/>
                  </a:lnTo>
                  <a:lnTo>
                    <a:pt x="279" y="37"/>
                  </a:lnTo>
                  <a:lnTo>
                    <a:pt x="275" y="39"/>
                  </a:lnTo>
                  <a:lnTo>
                    <a:pt x="273" y="39"/>
                  </a:lnTo>
                  <a:lnTo>
                    <a:pt x="271" y="39"/>
                  </a:lnTo>
                  <a:lnTo>
                    <a:pt x="269" y="36"/>
                  </a:lnTo>
                  <a:lnTo>
                    <a:pt x="268" y="34"/>
                  </a:lnTo>
                  <a:lnTo>
                    <a:pt x="269" y="32"/>
                  </a:lnTo>
                  <a:lnTo>
                    <a:pt x="273" y="30"/>
                  </a:lnTo>
                  <a:lnTo>
                    <a:pt x="276" y="27"/>
                  </a:lnTo>
                  <a:lnTo>
                    <a:pt x="280" y="25"/>
                  </a:lnTo>
                  <a:lnTo>
                    <a:pt x="282" y="24"/>
                  </a:lnTo>
                  <a:lnTo>
                    <a:pt x="282" y="21"/>
                  </a:lnTo>
                  <a:lnTo>
                    <a:pt x="280" y="14"/>
                  </a:lnTo>
                  <a:lnTo>
                    <a:pt x="279" y="10"/>
                  </a:lnTo>
                  <a:lnTo>
                    <a:pt x="275" y="7"/>
                  </a:lnTo>
                  <a:lnTo>
                    <a:pt x="270" y="6"/>
                  </a:lnTo>
                  <a:lnTo>
                    <a:pt x="261" y="5"/>
                  </a:lnTo>
                  <a:lnTo>
                    <a:pt x="255" y="5"/>
                  </a:lnTo>
                  <a:lnTo>
                    <a:pt x="241" y="2"/>
                  </a:lnTo>
                  <a:lnTo>
                    <a:pt x="236" y="1"/>
                  </a:lnTo>
                  <a:lnTo>
                    <a:pt x="233" y="0"/>
                  </a:lnTo>
                  <a:lnTo>
                    <a:pt x="231" y="0"/>
                  </a:lnTo>
                  <a:lnTo>
                    <a:pt x="223" y="2"/>
                  </a:lnTo>
                  <a:lnTo>
                    <a:pt x="217" y="5"/>
                  </a:lnTo>
                  <a:lnTo>
                    <a:pt x="205" y="11"/>
                  </a:lnTo>
                  <a:lnTo>
                    <a:pt x="199" y="13"/>
                  </a:lnTo>
                  <a:lnTo>
                    <a:pt x="195" y="15"/>
                  </a:lnTo>
                  <a:lnTo>
                    <a:pt x="193" y="18"/>
                  </a:lnTo>
                  <a:lnTo>
                    <a:pt x="191" y="21"/>
                  </a:lnTo>
                  <a:lnTo>
                    <a:pt x="191" y="24"/>
                  </a:lnTo>
                  <a:lnTo>
                    <a:pt x="190" y="25"/>
                  </a:lnTo>
                  <a:lnTo>
                    <a:pt x="185" y="26"/>
                  </a:lnTo>
                  <a:lnTo>
                    <a:pt x="182" y="27"/>
                  </a:lnTo>
                  <a:lnTo>
                    <a:pt x="180" y="31"/>
                  </a:lnTo>
                  <a:lnTo>
                    <a:pt x="179" y="36"/>
                  </a:lnTo>
                  <a:lnTo>
                    <a:pt x="177" y="36"/>
                  </a:lnTo>
                  <a:lnTo>
                    <a:pt x="175" y="36"/>
                  </a:lnTo>
                  <a:lnTo>
                    <a:pt x="174" y="36"/>
                  </a:lnTo>
                  <a:lnTo>
                    <a:pt x="174" y="34"/>
                  </a:lnTo>
                  <a:lnTo>
                    <a:pt x="170" y="34"/>
                  </a:lnTo>
                  <a:lnTo>
                    <a:pt x="166" y="33"/>
                  </a:lnTo>
                  <a:lnTo>
                    <a:pt x="158" y="30"/>
                  </a:lnTo>
                  <a:lnTo>
                    <a:pt x="157" y="28"/>
                  </a:lnTo>
                  <a:lnTo>
                    <a:pt x="156" y="30"/>
                  </a:lnTo>
                  <a:lnTo>
                    <a:pt x="155" y="32"/>
                  </a:lnTo>
                  <a:lnTo>
                    <a:pt x="155" y="33"/>
                  </a:lnTo>
                  <a:lnTo>
                    <a:pt x="157" y="38"/>
                  </a:lnTo>
                  <a:lnTo>
                    <a:pt x="160" y="43"/>
                  </a:lnTo>
                  <a:lnTo>
                    <a:pt x="165" y="45"/>
                  </a:lnTo>
                  <a:lnTo>
                    <a:pt x="170" y="47"/>
                  </a:lnTo>
                  <a:lnTo>
                    <a:pt x="171" y="49"/>
                  </a:lnTo>
                  <a:lnTo>
                    <a:pt x="172" y="50"/>
                  </a:lnTo>
                  <a:lnTo>
                    <a:pt x="172" y="52"/>
                  </a:lnTo>
                  <a:lnTo>
                    <a:pt x="171" y="53"/>
                  </a:lnTo>
                  <a:lnTo>
                    <a:pt x="170" y="55"/>
                  </a:lnTo>
                  <a:lnTo>
                    <a:pt x="167" y="53"/>
                  </a:lnTo>
                  <a:lnTo>
                    <a:pt x="163" y="52"/>
                  </a:lnTo>
                  <a:lnTo>
                    <a:pt x="157" y="51"/>
                  </a:lnTo>
                  <a:lnTo>
                    <a:pt x="151" y="52"/>
                  </a:lnTo>
                  <a:lnTo>
                    <a:pt x="146" y="53"/>
                  </a:lnTo>
                  <a:lnTo>
                    <a:pt x="142" y="57"/>
                  </a:lnTo>
                  <a:lnTo>
                    <a:pt x="139" y="58"/>
                  </a:lnTo>
                  <a:lnTo>
                    <a:pt x="137" y="57"/>
                  </a:lnTo>
                  <a:lnTo>
                    <a:pt x="130" y="52"/>
                  </a:lnTo>
                  <a:lnTo>
                    <a:pt x="124" y="50"/>
                  </a:lnTo>
                  <a:lnTo>
                    <a:pt x="116" y="49"/>
                  </a:lnTo>
                  <a:lnTo>
                    <a:pt x="109" y="49"/>
                  </a:lnTo>
                  <a:lnTo>
                    <a:pt x="108" y="49"/>
                  </a:lnTo>
                  <a:lnTo>
                    <a:pt x="105" y="47"/>
                  </a:lnTo>
                  <a:lnTo>
                    <a:pt x="101" y="45"/>
                  </a:lnTo>
                  <a:lnTo>
                    <a:pt x="100" y="45"/>
                  </a:lnTo>
                  <a:lnTo>
                    <a:pt x="99" y="46"/>
                  </a:lnTo>
                  <a:lnTo>
                    <a:pt x="96" y="46"/>
                  </a:lnTo>
                  <a:lnTo>
                    <a:pt x="95" y="46"/>
                  </a:lnTo>
                  <a:lnTo>
                    <a:pt x="92" y="45"/>
                  </a:lnTo>
                  <a:lnTo>
                    <a:pt x="86" y="47"/>
                  </a:lnTo>
                  <a:lnTo>
                    <a:pt x="80" y="50"/>
                  </a:lnTo>
                  <a:lnTo>
                    <a:pt x="72" y="50"/>
                  </a:lnTo>
                  <a:lnTo>
                    <a:pt x="66" y="49"/>
                  </a:lnTo>
                  <a:lnTo>
                    <a:pt x="61" y="47"/>
                  </a:lnTo>
                  <a:lnTo>
                    <a:pt x="54" y="47"/>
                  </a:lnTo>
                  <a:lnTo>
                    <a:pt x="42" y="49"/>
                  </a:lnTo>
                  <a:lnTo>
                    <a:pt x="35" y="50"/>
                  </a:lnTo>
                  <a:lnTo>
                    <a:pt x="33" y="51"/>
                  </a:lnTo>
                  <a:lnTo>
                    <a:pt x="31" y="52"/>
                  </a:lnTo>
                  <a:lnTo>
                    <a:pt x="29" y="57"/>
                  </a:lnTo>
                  <a:lnTo>
                    <a:pt x="26" y="59"/>
                  </a:lnTo>
                  <a:lnTo>
                    <a:pt x="22" y="62"/>
                  </a:lnTo>
                  <a:lnTo>
                    <a:pt x="17" y="63"/>
                  </a:lnTo>
                  <a:lnTo>
                    <a:pt x="9" y="64"/>
                  </a:lnTo>
                  <a:lnTo>
                    <a:pt x="0" y="65"/>
                  </a:lnTo>
                  <a:lnTo>
                    <a:pt x="11" y="74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8" name="Freeform 1167"/>
            <p:cNvSpPr>
              <a:spLocks/>
            </p:cNvSpPr>
            <p:nvPr/>
          </p:nvSpPr>
          <p:spPr bwMode="auto">
            <a:xfrm>
              <a:off x="5108575" y="2281242"/>
              <a:ext cx="63500" cy="65087"/>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2147483647 h 41"/>
                <a:gd name="T14" fmla="*/ 2147483647 w 44"/>
                <a:gd name="T15" fmla="*/ 2147483647 h 41"/>
                <a:gd name="T16" fmla="*/ 2147483647 w 44"/>
                <a:gd name="T17" fmla="*/ 0 h 41"/>
                <a:gd name="T18" fmla="*/ 2147483647 w 44"/>
                <a:gd name="T19" fmla="*/ 0 h 41"/>
                <a:gd name="T20" fmla="*/ 2147483647 w 44"/>
                <a:gd name="T21" fmla="*/ 0 h 41"/>
                <a:gd name="T22" fmla="*/ 2147483647 w 44"/>
                <a:gd name="T23" fmla="*/ 2147483647 h 41"/>
                <a:gd name="T24" fmla="*/ 2147483647 w 44"/>
                <a:gd name="T25" fmla="*/ 2147483647 h 41"/>
                <a:gd name="T26" fmla="*/ 2147483647 w 44"/>
                <a:gd name="T27" fmla="*/ 0 h 41"/>
                <a:gd name="T28" fmla="*/ 2147483647 w 44"/>
                <a:gd name="T29" fmla="*/ 0 h 41"/>
                <a:gd name="T30" fmla="*/ 2147483647 w 44"/>
                <a:gd name="T31" fmla="*/ 2147483647 h 41"/>
                <a:gd name="T32" fmla="*/ 2147483647 w 44"/>
                <a:gd name="T33" fmla="*/ 2147483647 h 41"/>
                <a:gd name="T34" fmla="*/ 2147483647 w 44"/>
                <a:gd name="T35" fmla="*/ 2147483647 h 41"/>
                <a:gd name="T36" fmla="*/ 0 w 44"/>
                <a:gd name="T37" fmla="*/ 2147483647 h 41"/>
                <a:gd name="T38" fmla="*/ 0 w 44"/>
                <a:gd name="T39" fmla="*/ 2147483647 h 41"/>
                <a:gd name="T40" fmla="*/ 0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2147483647 w 44"/>
                <a:gd name="T67" fmla="*/ 2147483647 h 41"/>
                <a:gd name="T68" fmla="*/ 2147483647 w 44"/>
                <a:gd name="T69" fmla="*/ 2147483647 h 41"/>
                <a:gd name="T70" fmla="*/ 2147483647 w 44"/>
                <a:gd name="T71" fmla="*/ 2147483647 h 41"/>
                <a:gd name="T72" fmla="*/ 2147483647 w 44"/>
                <a:gd name="T73" fmla="*/ 2147483647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
                <a:gd name="T112" fmla="*/ 0 h 41"/>
                <a:gd name="T113" fmla="*/ 44 w 4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 h="41">
                  <a:moveTo>
                    <a:pt x="44" y="26"/>
                  </a:moveTo>
                  <a:lnTo>
                    <a:pt x="44" y="22"/>
                  </a:lnTo>
                  <a:lnTo>
                    <a:pt x="43" y="20"/>
                  </a:lnTo>
                  <a:lnTo>
                    <a:pt x="39" y="14"/>
                  </a:lnTo>
                  <a:lnTo>
                    <a:pt x="34" y="11"/>
                  </a:lnTo>
                  <a:lnTo>
                    <a:pt x="26" y="7"/>
                  </a:lnTo>
                  <a:lnTo>
                    <a:pt x="25" y="5"/>
                  </a:lnTo>
                  <a:lnTo>
                    <a:pt x="24" y="2"/>
                  </a:lnTo>
                  <a:lnTo>
                    <a:pt x="23" y="0"/>
                  </a:lnTo>
                  <a:lnTo>
                    <a:pt x="21" y="0"/>
                  </a:lnTo>
                  <a:lnTo>
                    <a:pt x="20" y="0"/>
                  </a:lnTo>
                  <a:lnTo>
                    <a:pt x="16" y="1"/>
                  </a:lnTo>
                  <a:lnTo>
                    <a:pt x="14" y="2"/>
                  </a:lnTo>
                  <a:lnTo>
                    <a:pt x="10" y="0"/>
                  </a:lnTo>
                  <a:lnTo>
                    <a:pt x="7" y="0"/>
                  </a:lnTo>
                  <a:lnTo>
                    <a:pt x="6" y="1"/>
                  </a:lnTo>
                  <a:lnTo>
                    <a:pt x="4" y="6"/>
                  </a:lnTo>
                  <a:lnTo>
                    <a:pt x="2" y="7"/>
                  </a:lnTo>
                  <a:lnTo>
                    <a:pt x="0" y="8"/>
                  </a:lnTo>
                  <a:lnTo>
                    <a:pt x="0" y="9"/>
                  </a:lnTo>
                  <a:lnTo>
                    <a:pt x="0" y="11"/>
                  </a:lnTo>
                  <a:lnTo>
                    <a:pt x="2" y="12"/>
                  </a:lnTo>
                  <a:lnTo>
                    <a:pt x="4" y="14"/>
                  </a:lnTo>
                  <a:lnTo>
                    <a:pt x="7" y="19"/>
                  </a:lnTo>
                  <a:lnTo>
                    <a:pt x="9" y="24"/>
                  </a:lnTo>
                  <a:lnTo>
                    <a:pt x="10" y="28"/>
                  </a:lnTo>
                  <a:lnTo>
                    <a:pt x="14" y="37"/>
                  </a:lnTo>
                  <a:lnTo>
                    <a:pt x="16" y="39"/>
                  </a:lnTo>
                  <a:lnTo>
                    <a:pt x="19" y="41"/>
                  </a:lnTo>
                  <a:lnTo>
                    <a:pt x="24" y="41"/>
                  </a:lnTo>
                  <a:lnTo>
                    <a:pt x="29" y="41"/>
                  </a:lnTo>
                  <a:lnTo>
                    <a:pt x="40" y="38"/>
                  </a:lnTo>
                  <a:lnTo>
                    <a:pt x="42" y="38"/>
                  </a:lnTo>
                  <a:lnTo>
                    <a:pt x="43" y="37"/>
                  </a:lnTo>
                  <a:lnTo>
                    <a:pt x="44" y="33"/>
                  </a:lnTo>
                  <a:lnTo>
                    <a:pt x="43" y="30"/>
                  </a:lnTo>
                  <a:lnTo>
                    <a:pt x="44" y="2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69" name="Freeform 1168"/>
            <p:cNvSpPr>
              <a:spLocks/>
            </p:cNvSpPr>
            <p:nvPr/>
          </p:nvSpPr>
          <p:spPr bwMode="auto">
            <a:xfrm>
              <a:off x="5214942" y="2224088"/>
              <a:ext cx="52387" cy="87312"/>
            </a:xfrm>
            <a:custGeom>
              <a:avLst/>
              <a:gdLst>
                <a:gd name="T0" fmla="*/ 2147483647 w 36"/>
                <a:gd name="T1" fmla="*/ 2147483647 h 55"/>
                <a:gd name="T2" fmla="*/ 2147483647 w 36"/>
                <a:gd name="T3" fmla="*/ 2147483647 h 55"/>
                <a:gd name="T4" fmla="*/ 2147483647 w 36"/>
                <a:gd name="T5" fmla="*/ 2147483647 h 55"/>
                <a:gd name="T6" fmla="*/ 2147483647 w 36"/>
                <a:gd name="T7" fmla="*/ 2147483647 h 55"/>
                <a:gd name="T8" fmla="*/ 2147483647 w 36"/>
                <a:gd name="T9" fmla="*/ 2147483647 h 55"/>
                <a:gd name="T10" fmla="*/ 2147483647 w 36"/>
                <a:gd name="T11" fmla="*/ 2147483647 h 55"/>
                <a:gd name="T12" fmla="*/ 2147483647 w 36"/>
                <a:gd name="T13" fmla="*/ 2147483647 h 55"/>
                <a:gd name="T14" fmla="*/ 2147483647 w 36"/>
                <a:gd name="T15" fmla="*/ 2147483647 h 55"/>
                <a:gd name="T16" fmla="*/ 2147483647 w 36"/>
                <a:gd name="T17" fmla="*/ 2147483647 h 55"/>
                <a:gd name="T18" fmla="*/ 2147483647 w 36"/>
                <a:gd name="T19" fmla="*/ 2147483647 h 55"/>
                <a:gd name="T20" fmla="*/ 2147483647 w 36"/>
                <a:gd name="T21" fmla="*/ 0 h 55"/>
                <a:gd name="T22" fmla="*/ 2147483647 w 36"/>
                <a:gd name="T23" fmla="*/ 0 h 55"/>
                <a:gd name="T24" fmla="*/ 2147483647 w 36"/>
                <a:gd name="T25" fmla="*/ 2147483647 h 55"/>
                <a:gd name="T26" fmla="*/ 2147483647 w 36"/>
                <a:gd name="T27" fmla="*/ 2147483647 h 55"/>
                <a:gd name="T28" fmla="*/ 2147483647 w 36"/>
                <a:gd name="T29" fmla="*/ 2147483647 h 55"/>
                <a:gd name="T30" fmla="*/ 2147483647 w 36"/>
                <a:gd name="T31" fmla="*/ 2147483647 h 55"/>
                <a:gd name="T32" fmla="*/ 2147483647 w 36"/>
                <a:gd name="T33" fmla="*/ 2147483647 h 55"/>
                <a:gd name="T34" fmla="*/ 2147483647 w 36"/>
                <a:gd name="T35" fmla="*/ 2147483647 h 55"/>
                <a:gd name="T36" fmla="*/ 2147483647 w 36"/>
                <a:gd name="T37" fmla="*/ 2147483647 h 55"/>
                <a:gd name="T38" fmla="*/ 2147483647 w 36"/>
                <a:gd name="T39" fmla="*/ 2147483647 h 55"/>
                <a:gd name="T40" fmla="*/ 2147483647 w 36"/>
                <a:gd name="T41" fmla="*/ 2147483647 h 55"/>
                <a:gd name="T42" fmla="*/ 2147483647 w 36"/>
                <a:gd name="T43" fmla="*/ 2147483647 h 55"/>
                <a:gd name="T44" fmla="*/ 2147483647 w 36"/>
                <a:gd name="T45" fmla="*/ 2147483647 h 55"/>
                <a:gd name="T46" fmla="*/ 2147483647 w 36"/>
                <a:gd name="T47" fmla="*/ 2147483647 h 55"/>
                <a:gd name="T48" fmla="*/ 2147483647 w 36"/>
                <a:gd name="T49" fmla="*/ 2147483647 h 55"/>
                <a:gd name="T50" fmla="*/ 2147483647 w 36"/>
                <a:gd name="T51" fmla="*/ 2147483647 h 55"/>
                <a:gd name="T52" fmla="*/ 0 w 36"/>
                <a:gd name="T53" fmla="*/ 2147483647 h 55"/>
                <a:gd name="T54" fmla="*/ 2147483647 w 36"/>
                <a:gd name="T55" fmla="*/ 2147483647 h 55"/>
                <a:gd name="T56" fmla="*/ 2147483647 w 36"/>
                <a:gd name="T57" fmla="*/ 2147483647 h 55"/>
                <a:gd name="T58" fmla="*/ 2147483647 w 36"/>
                <a:gd name="T59" fmla="*/ 2147483647 h 55"/>
                <a:gd name="T60" fmla="*/ 2147483647 w 36"/>
                <a:gd name="T61" fmla="*/ 2147483647 h 55"/>
                <a:gd name="T62" fmla="*/ 2147483647 w 36"/>
                <a:gd name="T63" fmla="*/ 2147483647 h 55"/>
                <a:gd name="T64" fmla="*/ 2147483647 w 36"/>
                <a:gd name="T65" fmla="*/ 2147483647 h 55"/>
                <a:gd name="T66" fmla="*/ 2147483647 w 36"/>
                <a:gd name="T67" fmla="*/ 2147483647 h 55"/>
                <a:gd name="T68" fmla="*/ 2147483647 w 36"/>
                <a:gd name="T69" fmla="*/ 2147483647 h 55"/>
                <a:gd name="T70" fmla="*/ 2147483647 w 36"/>
                <a:gd name="T71" fmla="*/ 2147483647 h 55"/>
                <a:gd name="T72" fmla="*/ 2147483647 w 36"/>
                <a:gd name="T73" fmla="*/ 2147483647 h 55"/>
                <a:gd name="T74" fmla="*/ 2147483647 w 36"/>
                <a:gd name="T75" fmla="*/ 2147483647 h 55"/>
                <a:gd name="T76" fmla="*/ 2147483647 w 36"/>
                <a:gd name="T77" fmla="*/ 2147483647 h 55"/>
                <a:gd name="T78" fmla="*/ 2147483647 w 36"/>
                <a:gd name="T79" fmla="*/ 2147483647 h 55"/>
                <a:gd name="T80" fmla="*/ 2147483647 w 36"/>
                <a:gd name="T81" fmla="*/ 2147483647 h 55"/>
                <a:gd name="T82" fmla="*/ 2147483647 w 36"/>
                <a:gd name="T83" fmla="*/ 2147483647 h 55"/>
                <a:gd name="T84" fmla="*/ 2147483647 w 36"/>
                <a:gd name="T85" fmla="*/ 2147483647 h 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55"/>
                <a:gd name="T131" fmla="*/ 36 w 36"/>
                <a:gd name="T132" fmla="*/ 55 h 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55">
                  <a:moveTo>
                    <a:pt x="35" y="45"/>
                  </a:moveTo>
                  <a:lnTo>
                    <a:pt x="31" y="36"/>
                  </a:lnTo>
                  <a:lnTo>
                    <a:pt x="27" y="26"/>
                  </a:lnTo>
                  <a:lnTo>
                    <a:pt x="24" y="17"/>
                  </a:lnTo>
                  <a:lnTo>
                    <a:pt x="23" y="6"/>
                  </a:lnTo>
                  <a:lnTo>
                    <a:pt x="22" y="6"/>
                  </a:lnTo>
                  <a:lnTo>
                    <a:pt x="21" y="6"/>
                  </a:lnTo>
                  <a:lnTo>
                    <a:pt x="19" y="6"/>
                  </a:lnTo>
                  <a:lnTo>
                    <a:pt x="17" y="6"/>
                  </a:lnTo>
                  <a:lnTo>
                    <a:pt x="12" y="2"/>
                  </a:lnTo>
                  <a:lnTo>
                    <a:pt x="8" y="0"/>
                  </a:lnTo>
                  <a:lnTo>
                    <a:pt x="5" y="0"/>
                  </a:lnTo>
                  <a:lnTo>
                    <a:pt x="3" y="3"/>
                  </a:lnTo>
                  <a:lnTo>
                    <a:pt x="3" y="5"/>
                  </a:lnTo>
                  <a:lnTo>
                    <a:pt x="4" y="6"/>
                  </a:lnTo>
                  <a:lnTo>
                    <a:pt x="7" y="7"/>
                  </a:lnTo>
                  <a:lnTo>
                    <a:pt x="9" y="10"/>
                  </a:lnTo>
                  <a:lnTo>
                    <a:pt x="13" y="13"/>
                  </a:lnTo>
                  <a:lnTo>
                    <a:pt x="14" y="15"/>
                  </a:lnTo>
                  <a:lnTo>
                    <a:pt x="16" y="16"/>
                  </a:lnTo>
                  <a:lnTo>
                    <a:pt x="14" y="20"/>
                  </a:lnTo>
                  <a:lnTo>
                    <a:pt x="13" y="22"/>
                  </a:lnTo>
                  <a:lnTo>
                    <a:pt x="12" y="22"/>
                  </a:lnTo>
                  <a:lnTo>
                    <a:pt x="7" y="19"/>
                  </a:lnTo>
                  <a:lnTo>
                    <a:pt x="4" y="18"/>
                  </a:lnTo>
                  <a:lnTo>
                    <a:pt x="2" y="20"/>
                  </a:lnTo>
                  <a:lnTo>
                    <a:pt x="0" y="24"/>
                  </a:lnTo>
                  <a:lnTo>
                    <a:pt x="2" y="28"/>
                  </a:lnTo>
                  <a:lnTo>
                    <a:pt x="4" y="35"/>
                  </a:lnTo>
                  <a:lnTo>
                    <a:pt x="5" y="36"/>
                  </a:lnTo>
                  <a:lnTo>
                    <a:pt x="7" y="36"/>
                  </a:lnTo>
                  <a:lnTo>
                    <a:pt x="11" y="36"/>
                  </a:lnTo>
                  <a:lnTo>
                    <a:pt x="14" y="37"/>
                  </a:lnTo>
                  <a:lnTo>
                    <a:pt x="16" y="38"/>
                  </a:lnTo>
                  <a:lnTo>
                    <a:pt x="19" y="44"/>
                  </a:lnTo>
                  <a:lnTo>
                    <a:pt x="22" y="51"/>
                  </a:lnTo>
                  <a:lnTo>
                    <a:pt x="24" y="54"/>
                  </a:lnTo>
                  <a:lnTo>
                    <a:pt x="27" y="55"/>
                  </a:lnTo>
                  <a:lnTo>
                    <a:pt x="30" y="55"/>
                  </a:lnTo>
                  <a:lnTo>
                    <a:pt x="33" y="52"/>
                  </a:lnTo>
                  <a:lnTo>
                    <a:pt x="36" y="49"/>
                  </a:lnTo>
                  <a:lnTo>
                    <a:pt x="36" y="48"/>
                  </a:lnTo>
                  <a:lnTo>
                    <a:pt x="35" y="4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0" name="Freeform 1169"/>
            <p:cNvSpPr>
              <a:spLocks/>
            </p:cNvSpPr>
            <p:nvPr/>
          </p:nvSpPr>
          <p:spPr bwMode="auto">
            <a:xfrm>
              <a:off x="6621463" y="1530351"/>
              <a:ext cx="2513012" cy="1474788"/>
            </a:xfrm>
            <a:custGeom>
              <a:avLst/>
              <a:gdLst>
                <a:gd name="T0" fmla="*/ 2147483647 w 1715"/>
                <a:gd name="T1" fmla="*/ 2147483647 h 929"/>
                <a:gd name="T2" fmla="*/ 2147483647 w 1715"/>
                <a:gd name="T3" fmla="*/ 2147483647 h 929"/>
                <a:gd name="T4" fmla="*/ 2147483647 w 1715"/>
                <a:gd name="T5" fmla="*/ 2147483647 h 929"/>
                <a:gd name="T6" fmla="*/ 2147483647 w 1715"/>
                <a:gd name="T7" fmla="*/ 2147483647 h 929"/>
                <a:gd name="T8" fmla="*/ 2147483647 w 1715"/>
                <a:gd name="T9" fmla="*/ 2147483647 h 929"/>
                <a:gd name="T10" fmla="*/ 2147483647 w 1715"/>
                <a:gd name="T11" fmla="*/ 2147483647 h 929"/>
                <a:gd name="T12" fmla="*/ 2147483647 w 1715"/>
                <a:gd name="T13" fmla="*/ 2147483647 h 929"/>
                <a:gd name="T14" fmla="*/ 2147483647 w 1715"/>
                <a:gd name="T15" fmla="*/ 2147483647 h 929"/>
                <a:gd name="T16" fmla="*/ 2147483647 w 1715"/>
                <a:gd name="T17" fmla="*/ 2147483647 h 929"/>
                <a:gd name="T18" fmla="*/ 2147483647 w 1715"/>
                <a:gd name="T19" fmla="*/ 2147483647 h 929"/>
                <a:gd name="T20" fmla="*/ 2147483647 w 1715"/>
                <a:gd name="T21" fmla="*/ 2147483647 h 929"/>
                <a:gd name="T22" fmla="*/ 2147483647 w 1715"/>
                <a:gd name="T23" fmla="*/ 2147483647 h 929"/>
                <a:gd name="T24" fmla="*/ 2147483647 w 1715"/>
                <a:gd name="T25" fmla="*/ 2147483647 h 929"/>
                <a:gd name="T26" fmla="*/ 2147483647 w 1715"/>
                <a:gd name="T27" fmla="*/ 2147483647 h 929"/>
                <a:gd name="T28" fmla="*/ 2147483647 w 1715"/>
                <a:gd name="T29" fmla="*/ 2147483647 h 929"/>
                <a:gd name="T30" fmla="*/ 2147483647 w 1715"/>
                <a:gd name="T31" fmla="*/ 2147483647 h 929"/>
                <a:gd name="T32" fmla="*/ 2147483647 w 1715"/>
                <a:gd name="T33" fmla="*/ 2147483647 h 929"/>
                <a:gd name="T34" fmla="*/ 2147483647 w 1715"/>
                <a:gd name="T35" fmla="*/ 2147483647 h 929"/>
                <a:gd name="T36" fmla="*/ 2147483647 w 1715"/>
                <a:gd name="T37" fmla="*/ 2147483647 h 929"/>
                <a:gd name="T38" fmla="*/ 2147483647 w 1715"/>
                <a:gd name="T39" fmla="*/ 2147483647 h 929"/>
                <a:gd name="T40" fmla="*/ 2147483647 w 1715"/>
                <a:gd name="T41" fmla="*/ 2147483647 h 929"/>
                <a:gd name="T42" fmla="*/ 2147483647 w 1715"/>
                <a:gd name="T43" fmla="*/ 2147483647 h 929"/>
                <a:gd name="T44" fmla="*/ 2147483647 w 1715"/>
                <a:gd name="T45" fmla="*/ 2147483647 h 929"/>
                <a:gd name="T46" fmla="*/ 2147483647 w 1715"/>
                <a:gd name="T47" fmla="*/ 2147483647 h 929"/>
                <a:gd name="T48" fmla="*/ 2147483647 w 1715"/>
                <a:gd name="T49" fmla="*/ 2147483647 h 929"/>
                <a:gd name="T50" fmla="*/ 2147483647 w 1715"/>
                <a:gd name="T51" fmla="*/ 2147483647 h 929"/>
                <a:gd name="T52" fmla="*/ 2147483647 w 1715"/>
                <a:gd name="T53" fmla="*/ 2147483647 h 929"/>
                <a:gd name="T54" fmla="*/ 2147483647 w 1715"/>
                <a:gd name="T55" fmla="*/ 2147483647 h 929"/>
                <a:gd name="T56" fmla="*/ 2147483647 w 1715"/>
                <a:gd name="T57" fmla="*/ 2147483647 h 929"/>
                <a:gd name="T58" fmla="*/ 2147483647 w 1715"/>
                <a:gd name="T59" fmla="*/ 2147483647 h 929"/>
                <a:gd name="T60" fmla="*/ 2147483647 w 1715"/>
                <a:gd name="T61" fmla="*/ 2147483647 h 929"/>
                <a:gd name="T62" fmla="*/ 2147483647 w 1715"/>
                <a:gd name="T63" fmla="*/ 2147483647 h 929"/>
                <a:gd name="T64" fmla="*/ 2147483647 w 1715"/>
                <a:gd name="T65" fmla="*/ 2147483647 h 929"/>
                <a:gd name="T66" fmla="*/ 2147483647 w 1715"/>
                <a:gd name="T67" fmla="*/ 2147483647 h 929"/>
                <a:gd name="T68" fmla="*/ 2147483647 w 1715"/>
                <a:gd name="T69" fmla="*/ 2147483647 h 929"/>
                <a:gd name="T70" fmla="*/ 2147483647 w 1715"/>
                <a:gd name="T71" fmla="*/ 2147483647 h 929"/>
                <a:gd name="T72" fmla="*/ 2147483647 w 1715"/>
                <a:gd name="T73" fmla="*/ 2147483647 h 929"/>
                <a:gd name="T74" fmla="*/ 2147483647 w 1715"/>
                <a:gd name="T75" fmla="*/ 2147483647 h 929"/>
                <a:gd name="T76" fmla="*/ 2147483647 w 1715"/>
                <a:gd name="T77" fmla="*/ 2147483647 h 929"/>
                <a:gd name="T78" fmla="*/ 2147483647 w 1715"/>
                <a:gd name="T79" fmla="*/ 2147483647 h 929"/>
                <a:gd name="T80" fmla="*/ 2147483647 w 1715"/>
                <a:gd name="T81" fmla="*/ 2147483647 h 929"/>
                <a:gd name="T82" fmla="*/ 2147483647 w 1715"/>
                <a:gd name="T83" fmla="*/ 2147483647 h 929"/>
                <a:gd name="T84" fmla="*/ 2147483647 w 1715"/>
                <a:gd name="T85" fmla="*/ 2147483647 h 929"/>
                <a:gd name="T86" fmla="*/ 2147483647 w 1715"/>
                <a:gd name="T87" fmla="*/ 2147483647 h 929"/>
                <a:gd name="T88" fmla="*/ 2147483647 w 1715"/>
                <a:gd name="T89" fmla="*/ 2147483647 h 929"/>
                <a:gd name="T90" fmla="*/ 2147483647 w 1715"/>
                <a:gd name="T91" fmla="*/ 2147483647 h 929"/>
                <a:gd name="T92" fmla="*/ 2147483647 w 1715"/>
                <a:gd name="T93" fmla="*/ 2147483647 h 929"/>
                <a:gd name="T94" fmla="*/ 2147483647 w 1715"/>
                <a:gd name="T95" fmla="*/ 2147483647 h 929"/>
                <a:gd name="T96" fmla="*/ 2147483647 w 1715"/>
                <a:gd name="T97" fmla="*/ 2147483647 h 929"/>
                <a:gd name="T98" fmla="*/ 2147483647 w 1715"/>
                <a:gd name="T99" fmla="*/ 2147483647 h 929"/>
                <a:gd name="T100" fmla="*/ 2147483647 w 1715"/>
                <a:gd name="T101" fmla="*/ 2147483647 h 929"/>
                <a:gd name="T102" fmla="*/ 2147483647 w 1715"/>
                <a:gd name="T103" fmla="*/ 2147483647 h 929"/>
                <a:gd name="T104" fmla="*/ 2147483647 w 1715"/>
                <a:gd name="T105" fmla="*/ 2147483647 h 929"/>
                <a:gd name="T106" fmla="*/ 2147483647 w 1715"/>
                <a:gd name="T107" fmla="*/ 2147483647 h 929"/>
                <a:gd name="T108" fmla="*/ 2147483647 w 1715"/>
                <a:gd name="T109" fmla="*/ 2147483647 h 929"/>
                <a:gd name="T110" fmla="*/ 2147483647 w 1715"/>
                <a:gd name="T111" fmla="*/ 2147483647 h 929"/>
                <a:gd name="T112" fmla="*/ 2147483647 w 1715"/>
                <a:gd name="T113" fmla="*/ 2147483647 h 929"/>
                <a:gd name="T114" fmla="*/ 2147483647 w 1715"/>
                <a:gd name="T115" fmla="*/ 2147483647 h 929"/>
                <a:gd name="T116" fmla="*/ 2147483647 w 1715"/>
                <a:gd name="T117" fmla="*/ 2147483647 h 929"/>
                <a:gd name="T118" fmla="*/ 2147483647 w 1715"/>
                <a:gd name="T119" fmla="*/ 2147483647 h 929"/>
                <a:gd name="T120" fmla="*/ 2147483647 w 1715"/>
                <a:gd name="T121" fmla="*/ 2147483647 h 92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15"/>
                <a:gd name="T184" fmla="*/ 0 h 929"/>
                <a:gd name="T185" fmla="*/ 1715 w 1715"/>
                <a:gd name="T186" fmla="*/ 929 h 92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15" h="929">
                  <a:moveTo>
                    <a:pt x="12" y="746"/>
                  </a:moveTo>
                  <a:lnTo>
                    <a:pt x="12" y="746"/>
                  </a:lnTo>
                  <a:lnTo>
                    <a:pt x="16" y="743"/>
                  </a:lnTo>
                  <a:lnTo>
                    <a:pt x="21" y="741"/>
                  </a:lnTo>
                  <a:lnTo>
                    <a:pt x="26" y="741"/>
                  </a:lnTo>
                  <a:lnTo>
                    <a:pt x="31" y="741"/>
                  </a:lnTo>
                  <a:lnTo>
                    <a:pt x="41" y="741"/>
                  </a:lnTo>
                  <a:lnTo>
                    <a:pt x="52" y="743"/>
                  </a:lnTo>
                  <a:lnTo>
                    <a:pt x="54" y="742"/>
                  </a:lnTo>
                  <a:lnTo>
                    <a:pt x="55" y="740"/>
                  </a:lnTo>
                  <a:lnTo>
                    <a:pt x="56" y="738"/>
                  </a:lnTo>
                  <a:lnTo>
                    <a:pt x="59" y="737"/>
                  </a:lnTo>
                  <a:lnTo>
                    <a:pt x="61" y="738"/>
                  </a:lnTo>
                  <a:lnTo>
                    <a:pt x="64" y="740"/>
                  </a:lnTo>
                  <a:lnTo>
                    <a:pt x="65" y="742"/>
                  </a:lnTo>
                  <a:lnTo>
                    <a:pt x="66" y="743"/>
                  </a:lnTo>
                  <a:lnTo>
                    <a:pt x="73" y="746"/>
                  </a:lnTo>
                  <a:lnTo>
                    <a:pt x="77" y="749"/>
                  </a:lnTo>
                  <a:lnTo>
                    <a:pt x="82" y="753"/>
                  </a:lnTo>
                  <a:lnTo>
                    <a:pt x="85" y="756"/>
                  </a:lnTo>
                  <a:lnTo>
                    <a:pt x="89" y="756"/>
                  </a:lnTo>
                  <a:lnTo>
                    <a:pt x="92" y="756"/>
                  </a:lnTo>
                  <a:lnTo>
                    <a:pt x="98" y="755"/>
                  </a:lnTo>
                  <a:lnTo>
                    <a:pt x="102" y="755"/>
                  </a:lnTo>
                  <a:lnTo>
                    <a:pt x="106" y="756"/>
                  </a:lnTo>
                  <a:lnTo>
                    <a:pt x="110" y="757"/>
                  </a:lnTo>
                  <a:lnTo>
                    <a:pt x="112" y="759"/>
                  </a:lnTo>
                  <a:lnTo>
                    <a:pt x="127" y="757"/>
                  </a:lnTo>
                  <a:lnTo>
                    <a:pt x="135" y="756"/>
                  </a:lnTo>
                  <a:lnTo>
                    <a:pt x="143" y="757"/>
                  </a:lnTo>
                  <a:lnTo>
                    <a:pt x="145" y="756"/>
                  </a:lnTo>
                  <a:lnTo>
                    <a:pt x="148" y="755"/>
                  </a:lnTo>
                  <a:lnTo>
                    <a:pt x="149" y="751"/>
                  </a:lnTo>
                  <a:lnTo>
                    <a:pt x="149" y="748"/>
                  </a:lnTo>
                  <a:lnTo>
                    <a:pt x="144" y="742"/>
                  </a:lnTo>
                  <a:lnTo>
                    <a:pt x="140" y="735"/>
                  </a:lnTo>
                  <a:lnTo>
                    <a:pt x="139" y="729"/>
                  </a:lnTo>
                  <a:lnTo>
                    <a:pt x="139" y="725"/>
                  </a:lnTo>
                  <a:lnTo>
                    <a:pt x="140" y="723"/>
                  </a:lnTo>
                  <a:lnTo>
                    <a:pt x="144" y="719"/>
                  </a:lnTo>
                  <a:lnTo>
                    <a:pt x="149" y="717"/>
                  </a:lnTo>
                  <a:lnTo>
                    <a:pt x="160" y="711"/>
                  </a:lnTo>
                  <a:lnTo>
                    <a:pt x="163" y="710"/>
                  </a:lnTo>
                  <a:lnTo>
                    <a:pt x="167" y="710"/>
                  </a:lnTo>
                  <a:lnTo>
                    <a:pt x="174" y="711"/>
                  </a:lnTo>
                  <a:lnTo>
                    <a:pt x="182" y="714"/>
                  </a:lnTo>
                  <a:lnTo>
                    <a:pt x="190" y="715"/>
                  </a:lnTo>
                  <a:lnTo>
                    <a:pt x="191" y="716"/>
                  </a:lnTo>
                  <a:lnTo>
                    <a:pt x="193" y="718"/>
                  </a:lnTo>
                  <a:lnTo>
                    <a:pt x="195" y="721"/>
                  </a:lnTo>
                  <a:lnTo>
                    <a:pt x="198" y="722"/>
                  </a:lnTo>
                  <a:lnTo>
                    <a:pt x="198" y="724"/>
                  </a:lnTo>
                  <a:lnTo>
                    <a:pt x="205" y="725"/>
                  </a:lnTo>
                  <a:lnTo>
                    <a:pt x="206" y="728"/>
                  </a:lnTo>
                  <a:lnTo>
                    <a:pt x="207" y="730"/>
                  </a:lnTo>
                  <a:lnTo>
                    <a:pt x="210" y="736"/>
                  </a:lnTo>
                  <a:lnTo>
                    <a:pt x="212" y="742"/>
                  </a:lnTo>
                  <a:lnTo>
                    <a:pt x="216" y="747"/>
                  </a:lnTo>
                  <a:lnTo>
                    <a:pt x="220" y="751"/>
                  </a:lnTo>
                  <a:lnTo>
                    <a:pt x="228" y="756"/>
                  </a:lnTo>
                  <a:lnTo>
                    <a:pt x="234" y="759"/>
                  </a:lnTo>
                  <a:lnTo>
                    <a:pt x="242" y="760"/>
                  </a:lnTo>
                  <a:lnTo>
                    <a:pt x="248" y="759"/>
                  </a:lnTo>
                  <a:lnTo>
                    <a:pt x="252" y="756"/>
                  </a:lnTo>
                  <a:lnTo>
                    <a:pt x="254" y="754"/>
                  </a:lnTo>
                  <a:lnTo>
                    <a:pt x="259" y="751"/>
                  </a:lnTo>
                  <a:lnTo>
                    <a:pt x="262" y="750"/>
                  </a:lnTo>
                  <a:lnTo>
                    <a:pt x="266" y="751"/>
                  </a:lnTo>
                  <a:lnTo>
                    <a:pt x="280" y="757"/>
                  </a:lnTo>
                  <a:lnTo>
                    <a:pt x="284" y="759"/>
                  </a:lnTo>
                  <a:lnTo>
                    <a:pt x="287" y="759"/>
                  </a:lnTo>
                  <a:lnTo>
                    <a:pt x="291" y="759"/>
                  </a:lnTo>
                  <a:lnTo>
                    <a:pt x="295" y="759"/>
                  </a:lnTo>
                  <a:lnTo>
                    <a:pt x="298" y="759"/>
                  </a:lnTo>
                  <a:lnTo>
                    <a:pt x="299" y="761"/>
                  </a:lnTo>
                  <a:lnTo>
                    <a:pt x="300" y="765"/>
                  </a:lnTo>
                  <a:lnTo>
                    <a:pt x="304" y="769"/>
                  </a:lnTo>
                  <a:lnTo>
                    <a:pt x="305" y="773"/>
                  </a:lnTo>
                  <a:lnTo>
                    <a:pt x="308" y="774"/>
                  </a:lnTo>
                  <a:lnTo>
                    <a:pt x="311" y="774"/>
                  </a:lnTo>
                  <a:lnTo>
                    <a:pt x="314" y="774"/>
                  </a:lnTo>
                  <a:lnTo>
                    <a:pt x="318" y="773"/>
                  </a:lnTo>
                  <a:lnTo>
                    <a:pt x="320" y="773"/>
                  </a:lnTo>
                  <a:lnTo>
                    <a:pt x="334" y="775"/>
                  </a:lnTo>
                  <a:lnTo>
                    <a:pt x="347" y="775"/>
                  </a:lnTo>
                  <a:lnTo>
                    <a:pt x="353" y="774"/>
                  </a:lnTo>
                  <a:lnTo>
                    <a:pt x="360" y="773"/>
                  </a:lnTo>
                  <a:lnTo>
                    <a:pt x="366" y="770"/>
                  </a:lnTo>
                  <a:lnTo>
                    <a:pt x="372" y="766"/>
                  </a:lnTo>
                  <a:lnTo>
                    <a:pt x="379" y="762"/>
                  </a:lnTo>
                  <a:lnTo>
                    <a:pt x="385" y="760"/>
                  </a:lnTo>
                  <a:lnTo>
                    <a:pt x="400" y="756"/>
                  </a:lnTo>
                  <a:lnTo>
                    <a:pt x="404" y="755"/>
                  </a:lnTo>
                  <a:lnTo>
                    <a:pt x="409" y="755"/>
                  </a:lnTo>
                  <a:lnTo>
                    <a:pt x="418" y="756"/>
                  </a:lnTo>
                  <a:lnTo>
                    <a:pt x="426" y="759"/>
                  </a:lnTo>
                  <a:lnTo>
                    <a:pt x="430" y="759"/>
                  </a:lnTo>
                  <a:lnTo>
                    <a:pt x="433" y="757"/>
                  </a:lnTo>
                  <a:lnTo>
                    <a:pt x="438" y="757"/>
                  </a:lnTo>
                  <a:lnTo>
                    <a:pt x="444" y="759"/>
                  </a:lnTo>
                  <a:lnTo>
                    <a:pt x="449" y="761"/>
                  </a:lnTo>
                  <a:lnTo>
                    <a:pt x="454" y="765"/>
                  </a:lnTo>
                  <a:lnTo>
                    <a:pt x="459" y="767"/>
                  </a:lnTo>
                  <a:lnTo>
                    <a:pt x="464" y="768"/>
                  </a:lnTo>
                  <a:lnTo>
                    <a:pt x="468" y="767"/>
                  </a:lnTo>
                  <a:lnTo>
                    <a:pt x="471" y="766"/>
                  </a:lnTo>
                  <a:lnTo>
                    <a:pt x="475" y="763"/>
                  </a:lnTo>
                  <a:lnTo>
                    <a:pt x="483" y="757"/>
                  </a:lnTo>
                  <a:lnTo>
                    <a:pt x="489" y="749"/>
                  </a:lnTo>
                  <a:lnTo>
                    <a:pt x="494" y="740"/>
                  </a:lnTo>
                  <a:lnTo>
                    <a:pt x="504" y="723"/>
                  </a:lnTo>
                  <a:lnTo>
                    <a:pt x="513" y="709"/>
                  </a:lnTo>
                  <a:lnTo>
                    <a:pt x="518" y="702"/>
                  </a:lnTo>
                  <a:lnTo>
                    <a:pt x="520" y="695"/>
                  </a:lnTo>
                  <a:lnTo>
                    <a:pt x="520" y="692"/>
                  </a:lnTo>
                  <a:lnTo>
                    <a:pt x="518" y="692"/>
                  </a:lnTo>
                  <a:lnTo>
                    <a:pt x="515" y="692"/>
                  </a:lnTo>
                  <a:lnTo>
                    <a:pt x="511" y="692"/>
                  </a:lnTo>
                  <a:lnTo>
                    <a:pt x="506" y="692"/>
                  </a:lnTo>
                  <a:lnTo>
                    <a:pt x="512" y="682"/>
                  </a:lnTo>
                  <a:lnTo>
                    <a:pt x="517" y="677"/>
                  </a:lnTo>
                  <a:lnTo>
                    <a:pt x="524" y="674"/>
                  </a:lnTo>
                  <a:lnTo>
                    <a:pt x="532" y="672"/>
                  </a:lnTo>
                  <a:lnTo>
                    <a:pt x="543" y="672"/>
                  </a:lnTo>
                  <a:lnTo>
                    <a:pt x="554" y="672"/>
                  </a:lnTo>
                  <a:lnTo>
                    <a:pt x="565" y="673"/>
                  </a:lnTo>
                  <a:lnTo>
                    <a:pt x="586" y="677"/>
                  </a:lnTo>
                  <a:lnTo>
                    <a:pt x="595" y="679"/>
                  </a:lnTo>
                  <a:lnTo>
                    <a:pt x="602" y="683"/>
                  </a:lnTo>
                  <a:lnTo>
                    <a:pt x="606" y="683"/>
                  </a:lnTo>
                  <a:lnTo>
                    <a:pt x="607" y="685"/>
                  </a:lnTo>
                  <a:lnTo>
                    <a:pt x="610" y="691"/>
                  </a:lnTo>
                  <a:lnTo>
                    <a:pt x="611" y="698"/>
                  </a:lnTo>
                  <a:lnTo>
                    <a:pt x="614" y="705"/>
                  </a:lnTo>
                  <a:lnTo>
                    <a:pt x="618" y="714"/>
                  </a:lnTo>
                  <a:lnTo>
                    <a:pt x="621" y="722"/>
                  </a:lnTo>
                  <a:lnTo>
                    <a:pt x="626" y="730"/>
                  </a:lnTo>
                  <a:lnTo>
                    <a:pt x="629" y="740"/>
                  </a:lnTo>
                  <a:lnTo>
                    <a:pt x="631" y="744"/>
                  </a:lnTo>
                  <a:lnTo>
                    <a:pt x="637" y="749"/>
                  </a:lnTo>
                  <a:lnTo>
                    <a:pt x="639" y="750"/>
                  </a:lnTo>
                  <a:lnTo>
                    <a:pt x="643" y="751"/>
                  </a:lnTo>
                  <a:lnTo>
                    <a:pt x="647" y="751"/>
                  </a:lnTo>
                  <a:lnTo>
                    <a:pt x="649" y="750"/>
                  </a:lnTo>
                  <a:lnTo>
                    <a:pt x="652" y="749"/>
                  </a:lnTo>
                  <a:lnTo>
                    <a:pt x="653" y="750"/>
                  </a:lnTo>
                  <a:lnTo>
                    <a:pt x="654" y="753"/>
                  </a:lnTo>
                  <a:lnTo>
                    <a:pt x="659" y="754"/>
                  </a:lnTo>
                  <a:lnTo>
                    <a:pt x="664" y="755"/>
                  </a:lnTo>
                  <a:lnTo>
                    <a:pt x="673" y="755"/>
                  </a:lnTo>
                  <a:lnTo>
                    <a:pt x="677" y="756"/>
                  </a:lnTo>
                  <a:lnTo>
                    <a:pt x="680" y="759"/>
                  </a:lnTo>
                  <a:lnTo>
                    <a:pt x="680" y="761"/>
                  </a:lnTo>
                  <a:lnTo>
                    <a:pt x="680" y="763"/>
                  </a:lnTo>
                  <a:lnTo>
                    <a:pt x="680" y="766"/>
                  </a:lnTo>
                  <a:lnTo>
                    <a:pt x="681" y="768"/>
                  </a:lnTo>
                  <a:lnTo>
                    <a:pt x="686" y="773"/>
                  </a:lnTo>
                  <a:lnTo>
                    <a:pt x="689" y="779"/>
                  </a:lnTo>
                  <a:lnTo>
                    <a:pt x="690" y="786"/>
                  </a:lnTo>
                  <a:lnTo>
                    <a:pt x="690" y="793"/>
                  </a:lnTo>
                  <a:lnTo>
                    <a:pt x="691" y="800"/>
                  </a:lnTo>
                  <a:lnTo>
                    <a:pt x="692" y="804"/>
                  </a:lnTo>
                  <a:lnTo>
                    <a:pt x="695" y="806"/>
                  </a:lnTo>
                  <a:lnTo>
                    <a:pt x="698" y="808"/>
                  </a:lnTo>
                  <a:lnTo>
                    <a:pt x="703" y="811"/>
                  </a:lnTo>
                  <a:lnTo>
                    <a:pt x="708" y="812"/>
                  </a:lnTo>
                  <a:lnTo>
                    <a:pt x="713" y="812"/>
                  </a:lnTo>
                  <a:lnTo>
                    <a:pt x="715" y="811"/>
                  </a:lnTo>
                  <a:lnTo>
                    <a:pt x="718" y="810"/>
                  </a:lnTo>
                  <a:lnTo>
                    <a:pt x="722" y="806"/>
                  </a:lnTo>
                  <a:lnTo>
                    <a:pt x="728" y="797"/>
                  </a:lnTo>
                  <a:lnTo>
                    <a:pt x="729" y="795"/>
                  </a:lnTo>
                  <a:lnTo>
                    <a:pt x="732" y="793"/>
                  </a:lnTo>
                  <a:lnTo>
                    <a:pt x="739" y="792"/>
                  </a:lnTo>
                  <a:lnTo>
                    <a:pt x="747" y="793"/>
                  </a:lnTo>
                  <a:lnTo>
                    <a:pt x="755" y="794"/>
                  </a:lnTo>
                  <a:lnTo>
                    <a:pt x="756" y="794"/>
                  </a:lnTo>
                  <a:lnTo>
                    <a:pt x="756" y="795"/>
                  </a:lnTo>
                  <a:lnTo>
                    <a:pt x="756" y="799"/>
                  </a:lnTo>
                  <a:lnTo>
                    <a:pt x="753" y="806"/>
                  </a:lnTo>
                  <a:lnTo>
                    <a:pt x="753" y="808"/>
                  </a:lnTo>
                  <a:lnTo>
                    <a:pt x="753" y="811"/>
                  </a:lnTo>
                  <a:lnTo>
                    <a:pt x="757" y="814"/>
                  </a:lnTo>
                  <a:lnTo>
                    <a:pt x="757" y="816"/>
                  </a:lnTo>
                  <a:lnTo>
                    <a:pt x="752" y="820"/>
                  </a:lnTo>
                  <a:lnTo>
                    <a:pt x="747" y="825"/>
                  </a:lnTo>
                  <a:lnTo>
                    <a:pt x="746" y="827"/>
                  </a:lnTo>
                  <a:lnTo>
                    <a:pt x="744" y="831"/>
                  </a:lnTo>
                  <a:lnTo>
                    <a:pt x="744" y="833"/>
                  </a:lnTo>
                  <a:lnTo>
                    <a:pt x="746" y="837"/>
                  </a:lnTo>
                  <a:lnTo>
                    <a:pt x="746" y="838"/>
                  </a:lnTo>
                  <a:lnTo>
                    <a:pt x="746" y="840"/>
                  </a:lnTo>
                  <a:lnTo>
                    <a:pt x="742" y="844"/>
                  </a:lnTo>
                  <a:lnTo>
                    <a:pt x="739" y="850"/>
                  </a:lnTo>
                  <a:lnTo>
                    <a:pt x="737" y="857"/>
                  </a:lnTo>
                  <a:lnTo>
                    <a:pt x="732" y="863"/>
                  </a:lnTo>
                  <a:lnTo>
                    <a:pt x="729" y="864"/>
                  </a:lnTo>
                  <a:lnTo>
                    <a:pt x="725" y="866"/>
                  </a:lnTo>
                  <a:lnTo>
                    <a:pt x="720" y="868"/>
                  </a:lnTo>
                  <a:lnTo>
                    <a:pt x="715" y="866"/>
                  </a:lnTo>
                  <a:lnTo>
                    <a:pt x="705" y="863"/>
                  </a:lnTo>
                  <a:lnTo>
                    <a:pt x="703" y="863"/>
                  </a:lnTo>
                  <a:lnTo>
                    <a:pt x="700" y="863"/>
                  </a:lnTo>
                  <a:lnTo>
                    <a:pt x="698" y="865"/>
                  </a:lnTo>
                  <a:lnTo>
                    <a:pt x="696" y="866"/>
                  </a:lnTo>
                  <a:lnTo>
                    <a:pt x="695" y="871"/>
                  </a:lnTo>
                  <a:lnTo>
                    <a:pt x="694" y="875"/>
                  </a:lnTo>
                  <a:lnTo>
                    <a:pt x="695" y="883"/>
                  </a:lnTo>
                  <a:lnTo>
                    <a:pt x="696" y="890"/>
                  </a:lnTo>
                  <a:lnTo>
                    <a:pt x="700" y="899"/>
                  </a:lnTo>
                  <a:lnTo>
                    <a:pt x="701" y="902"/>
                  </a:lnTo>
                  <a:lnTo>
                    <a:pt x="701" y="906"/>
                  </a:lnTo>
                  <a:lnTo>
                    <a:pt x="701" y="910"/>
                  </a:lnTo>
                  <a:lnTo>
                    <a:pt x="699" y="914"/>
                  </a:lnTo>
                  <a:lnTo>
                    <a:pt x="695" y="921"/>
                  </a:lnTo>
                  <a:lnTo>
                    <a:pt x="690" y="928"/>
                  </a:lnTo>
                  <a:lnTo>
                    <a:pt x="694" y="925"/>
                  </a:lnTo>
                  <a:lnTo>
                    <a:pt x="698" y="922"/>
                  </a:lnTo>
                  <a:lnTo>
                    <a:pt x="705" y="917"/>
                  </a:lnTo>
                  <a:lnTo>
                    <a:pt x="708" y="917"/>
                  </a:lnTo>
                  <a:lnTo>
                    <a:pt x="709" y="919"/>
                  </a:lnTo>
                  <a:lnTo>
                    <a:pt x="710" y="923"/>
                  </a:lnTo>
                  <a:lnTo>
                    <a:pt x="714" y="927"/>
                  </a:lnTo>
                  <a:lnTo>
                    <a:pt x="719" y="929"/>
                  </a:lnTo>
                  <a:lnTo>
                    <a:pt x="724" y="929"/>
                  </a:lnTo>
                  <a:lnTo>
                    <a:pt x="729" y="929"/>
                  </a:lnTo>
                  <a:lnTo>
                    <a:pt x="734" y="929"/>
                  </a:lnTo>
                  <a:lnTo>
                    <a:pt x="744" y="926"/>
                  </a:lnTo>
                  <a:lnTo>
                    <a:pt x="750" y="922"/>
                  </a:lnTo>
                  <a:lnTo>
                    <a:pt x="753" y="920"/>
                  </a:lnTo>
                  <a:lnTo>
                    <a:pt x="758" y="916"/>
                  </a:lnTo>
                  <a:lnTo>
                    <a:pt x="764" y="915"/>
                  </a:lnTo>
                  <a:lnTo>
                    <a:pt x="766" y="915"/>
                  </a:lnTo>
                  <a:lnTo>
                    <a:pt x="767" y="914"/>
                  </a:lnTo>
                  <a:lnTo>
                    <a:pt x="770" y="910"/>
                  </a:lnTo>
                  <a:lnTo>
                    <a:pt x="790" y="883"/>
                  </a:lnTo>
                  <a:lnTo>
                    <a:pt x="800" y="871"/>
                  </a:lnTo>
                  <a:lnTo>
                    <a:pt x="813" y="858"/>
                  </a:lnTo>
                  <a:lnTo>
                    <a:pt x="817" y="853"/>
                  </a:lnTo>
                  <a:lnTo>
                    <a:pt x="819" y="848"/>
                  </a:lnTo>
                  <a:lnTo>
                    <a:pt x="824" y="837"/>
                  </a:lnTo>
                  <a:lnTo>
                    <a:pt x="828" y="827"/>
                  </a:lnTo>
                  <a:lnTo>
                    <a:pt x="833" y="818"/>
                  </a:lnTo>
                  <a:lnTo>
                    <a:pt x="847" y="802"/>
                  </a:lnTo>
                  <a:lnTo>
                    <a:pt x="849" y="798"/>
                  </a:lnTo>
                  <a:lnTo>
                    <a:pt x="850" y="793"/>
                  </a:lnTo>
                  <a:lnTo>
                    <a:pt x="850" y="788"/>
                  </a:lnTo>
                  <a:lnTo>
                    <a:pt x="852" y="784"/>
                  </a:lnTo>
                  <a:lnTo>
                    <a:pt x="858" y="774"/>
                  </a:lnTo>
                  <a:lnTo>
                    <a:pt x="859" y="768"/>
                  </a:lnTo>
                  <a:lnTo>
                    <a:pt x="860" y="765"/>
                  </a:lnTo>
                  <a:lnTo>
                    <a:pt x="855" y="751"/>
                  </a:lnTo>
                  <a:lnTo>
                    <a:pt x="855" y="744"/>
                  </a:lnTo>
                  <a:lnTo>
                    <a:pt x="856" y="738"/>
                  </a:lnTo>
                  <a:lnTo>
                    <a:pt x="859" y="731"/>
                  </a:lnTo>
                  <a:lnTo>
                    <a:pt x="863" y="725"/>
                  </a:lnTo>
                  <a:lnTo>
                    <a:pt x="866" y="718"/>
                  </a:lnTo>
                  <a:lnTo>
                    <a:pt x="870" y="711"/>
                  </a:lnTo>
                  <a:lnTo>
                    <a:pt x="869" y="706"/>
                  </a:lnTo>
                  <a:lnTo>
                    <a:pt x="868" y="702"/>
                  </a:lnTo>
                  <a:lnTo>
                    <a:pt x="866" y="698"/>
                  </a:lnTo>
                  <a:lnTo>
                    <a:pt x="864" y="693"/>
                  </a:lnTo>
                  <a:lnTo>
                    <a:pt x="864" y="691"/>
                  </a:lnTo>
                  <a:lnTo>
                    <a:pt x="865" y="689"/>
                  </a:lnTo>
                  <a:lnTo>
                    <a:pt x="866" y="684"/>
                  </a:lnTo>
                  <a:lnTo>
                    <a:pt x="868" y="679"/>
                  </a:lnTo>
                  <a:lnTo>
                    <a:pt x="866" y="676"/>
                  </a:lnTo>
                  <a:lnTo>
                    <a:pt x="865" y="671"/>
                  </a:lnTo>
                  <a:lnTo>
                    <a:pt x="863" y="667"/>
                  </a:lnTo>
                  <a:lnTo>
                    <a:pt x="855" y="661"/>
                  </a:lnTo>
                  <a:lnTo>
                    <a:pt x="851" y="659"/>
                  </a:lnTo>
                  <a:lnTo>
                    <a:pt x="847" y="658"/>
                  </a:lnTo>
                  <a:lnTo>
                    <a:pt x="830" y="654"/>
                  </a:lnTo>
                  <a:lnTo>
                    <a:pt x="831" y="654"/>
                  </a:lnTo>
                  <a:lnTo>
                    <a:pt x="827" y="653"/>
                  </a:lnTo>
                  <a:lnTo>
                    <a:pt x="824" y="653"/>
                  </a:lnTo>
                  <a:lnTo>
                    <a:pt x="824" y="654"/>
                  </a:lnTo>
                  <a:lnTo>
                    <a:pt x="824" y="658"/>
                  </a:lnTo>
                  <a:lnTo>
                    <a:pt x="826" y="663"/>
                  </a:lnTo>
                  <a:lnTo>
                    <a:pt x="826" y="666"/>
                  </a:lnTo>
                  <a:lnTo>
                    <a:pt x="824" y="667"/>
                  </a:lnTo>
                  <a:lnTo>
                    <a:pt x="822" y="669"/>
                  </a:lnTo>
                  <a:lnTo>
                    <a:pt x="821" y="669"/>
                  </a:lnTo>
                  <a:lnTo>
                    <a:pt x="819" y="669"/>
                  </a:lnTo>
                  <a:lnTo>
                    <a:pt x="817" y="667"/>
                  </a:lnTo>
                  <a:lnTo>
                    <a:pt x="813" y="669"/>
                  </a:lnTo>
                  <a:lnTo>
                    <a:pt x="809" y="671"/>
                  </a:lnTo>
                  <a:lnTo>
                    <a:pt x="807" y="671"/>
                  </a:lnTo>
                  <a:lnTo>
                    <a:pt x="805" y="671"/>
                  </a:lnTo>
                  <a:lnTo>
                    <a:pt x="805" y="670"/>
                  </a:lnTo>
                  <a:lnTo>
                    <a:pt x="805" y="665"/>
                  </a:lnTo>
                  <a:lnTo>
                    <a:pt x="807" y="659"/>
                  </a:lnTo>
                  <a:lnTo>
                    <a:pt x="809" y="654"/>
                  </a:lnTo>
                  <a:lnTo>
                    <a:pt x="809" y="652"/>
                  </a:lnTo>
                  <a:lnTo>
                    <a:pt x="808" y="650"/>
                  </a:lnTo>
                  <a:lnTo>
                    <a:pt x="805" y="648"/>
                  </a:lnTo>
                  <a:lnTo>
                    <a:pt x="804" y="647"/>
                  </a:lnTo>
                  <a:lnTo>
                    <a:pt x="799" y="650"/>
                  </a:lnTo>
                  <a:lnTo>
                    <a:pt x="797" y="653"/>
                  </a:lnTo>
                  <a:lnTo>
                    <a:pt x="795" y="658"/>
                  </a:lnTo>
                  <a:lnTo>
                    <a:pt x="793" y="661"/>
                  </a:lnTo>
                  <a:lnTo>
                    <a:pt x="791" y="663"/>
                  </a:lnTo>
                  <a:lnTo>
                    <a:pt x="789" y="664"/>
                  </a:lnTo>
                  <a:lnTo>
                    <a:pt x="788" y="664"/>
                  </a:lnTo>
                  <a:lnTo>
                    <a:pt x="788" y="659"/>
                  </a:lnTo>
                  <a:lnTo>
                    <a:pt x="789" y="654"/>
                  </a:lnTo>
                  <a:lnTo>
                    <a:pt x="789" y="651"/>
                  </a:lnTo>
                  <a:lnTo>
                    <a:pt x="788" y="648"/>
                  </a:lnTo>
                  <a:lnTo>
                    <a:pt x="786" y="647"/>
                  </a:lnTo>
                  <a:lnTo>
                    <a:pt x="785" y="647"/>
                  </a:lnTo>
                  <a:lnTo>
                    <a:pt x="783" y="647"/>
                  </a:lnTo>
                  <a:lnTo>
                    <a:pt x="778" y="650"/>
                  </a:lnTo>
                  <a:lnTo>
                    <a:pt x="776" y="650"/>
                  </a:lnTo>
                  <a:lnTo>
                    <a:pt x="774" y="650"/>
                  </a:lnTo>
                  <a:lnTo>
                    <a:pt x="771" y="646"/>
                  </a:lnTo>
                  <a:lnTo>
                    <a:pt x="770" y="642"/>
                  </a:lnTo>
                  <a:lnTo>
                    <a:pt x="771" y="639"/>
                  </a:lnTo>
                  <a:lnTo>
                    <a:pt x="781" y="626"/>
                  </a:lnTo>
                  <a:lnTo>
                    <a:pt x="793" y="615"/>
                  </a:lnTo>
                  <a:lnTo>
                    <a:pt x="817" y="595"/>
                  </a:lnTo>
                  <a:lnTo>
                    <a:pt x="828" y="583"/>
                  </a:lnTo>
                  <a:lnTo>
                    <a:pt x="833" y="578"/>
                  </a:lnTo>
                  <a:lnTo>
                    <a:pt x="840" y="572"/>
                  </a:lnTo>
                  <a:lnTo>
                    <a:pt x="842" y="572"/>
                  </a:lnTo>
                  <a:lnTo>
                    <a:pt x="844" y="572"/>
                  </a:lnTo>
                  <a:lnTo>
                    <a:pt x="844" y="571"/>
                  </a:lnTo>
                  <a:lnTo>
                    <a:pt x="846" y="569"/>
                  </a:lnTo>
                  <a:lnTo>
                    <a:pt x="850" y="568"/>
                  </a:lnTo>
                  <a:lnTo>
                    <a:pt x="855" y="564"/>
                  </a:lnTo>
                  <a:lnTo>
                    <a:pt x="863" y="555"/>
                  </a:lnTo>
                  <a:lnTo>
                    <a:pt x="869" y="543"/>
                  </a:lnTo>
                  <a:lnTo>
                    <a:pt x="874" y="539"/>
                  </a:lnTo>
                  <a:lnTo>
                    <a:pt x="878" y="535"/>
                  </a:lnTo>
                  <a:lnTo>
                    <a:pt x="883" y="530"/>
                  </a:lnTo>
                  <a:lnTo>
                    <a:pt x="888" y="526"/>
                  </a:lnTo>
                  <a:lnTo>
                    <a:pt x="892" y="525"/>
                  </a:lnTo>
                  <a:lnTo>
                    <a:pt x="896" y="524"/>
                  </a:lnTo>
                  <a:lnTo>
                    <a:pt x="944" y="524"/>
                  </a:lnTo>
                  <a:lnTo>
                    <a:pt x="945" y="524"/>
                  </a:lnTo>
                  <a:lnTo>
                    <a:pt x="946" y="526"/>
                  </a:lnTo>
                  <a:lnTo>
                    <a:pt x="950" y="531"/>
                  </a:lnTo>
                  <a:lnTo>
                    <a:pt x="951" y="531"/>
                  </a:lnTo>
                  <a:lnTo>
                    <a:pt x="953" y="531"/>
                  </a:lnTo>
                  <a:lnTo>
                    <a:pt x="959" y="529"/>
                  </a:lnTo>
                  <a:lnTo>
                    <a:pt x="973" y="529"/>
                  </a:lnTo>
                  <a:lnTo>
                    <a:pt x="987" y="530"/>
                  </a:lnTo>
                  <a:lnTo>
                    <a:pt x="992" y="530"/>
                  </a:lnTo>
                  <a:lnTo>
                    <a:pt x="996" y="532"/>
                  </a:lnTo>
                  <a:lnTo>
                    <a:pt x="1001" y="532"/>
                  </a:lnTo>
                  <a:lnTo>
                    <a:pt x="1005" y="532"/>
                  </a:lnTo>
                  <a:lnTo>
                    <a:pt x="1007" y="531"/>
                  </a:lnTo>
                  <a:lnTo>
                    <a:pt x="1004" y="529"/>
                  </a:lnTo>
                  <a:lnTo>
                    <a:pt x="1001" y="527"/>
                  </a:lnTo>
                  <a:lnTo>
                    <a:pt x="1001" y="525"/>
                  </a:lnTo>
                  <a:lnTo>
                    <a:pt x="1002" y="524"/>
                  </a:lnTo>
                  <a:lnTo>
                    <a:pt x="1005" y="524"/>
                  </a:lnTo>
                  <a:lnTo>
                    <a:pt x="1007" y="523"/>
                  </a:lnTo>
                  <a:lnTo>
                    <a:pt x="1009" y="521"/>
                  </a:lnTo>
                  <a:lnTo>
                    <a:pt x="1009" y="519"/>
                  </a:lnTo>
                  <a:lnTo>
                    <a:pt x="1007" y="517"/>
                  </a:lnTo>
                  <a:lnTo>
                    <a:pt x="1004" y="512"/>
                  </a:lnTo>
                  <a:lnTo>
                    <a:pt x="1004" y="510"/>
                  </a:lnTo>
                  <a:lnTo>
                    <a:pt x="1005" y="508"/>
                  </a:lnTo>
                  <a:lnTo>
                    <a:pt x="1007" y="508"/>
                  </a:lnTo>
                  <a:lnTo>
                    <a:pt x="1010" y="508"/>
                  </a:lnTo>
                  <a:lnTo>
                    <a:pt x="1016" y="513"/>
                  </a:lnTo>
                  <a:lnTo>
                    <a:pt x="1024" y="517"/>
                  </a:lnTo>
                  <a:lnTo>
                    <a:pt x="1028" y="518"/>
                  </a:lnTo>
                  <a:lnTo>
                    <a:pt x="1031" y="519"/>
                  </a:lnTo>
                  <a:lnTo>
                    <a:pt x="1035" y="518"/>
                  </a:lnTo>
                  <a:lnTo>
                    <a:pt x="1039" y="516"/>
                  </a:lnTo>
                  <a:lnTo>
                    <a:pt x="1040" y="516"/>
                  </a:lnTo>
                  <a:lnTo>
                    <a:pt x="1043" y="517"/>
                  </a:lnTo>
                  <a:lnTo>
                    <a:pt x="1045" y="519"/>
                  </a:lnTo>
                  <a:lnTo>
                    <a:pt x="1047" y="521"/>
                  </a:lnTo>
                  <a:lnTo>
                    <a:pt x="1049" y="525"/>
                  </a:lnTo>
                  <a:lnTo>
                    <a:pt x="1052" y="527"/>
                  </a:lnTo>
                  <a:lnTo>
                    <a:pt x="1053" y="529"/>
                  </a:lnTo>
                  <a:lnTo>
                    <a:pt x="1053" y="530"/>
                  </a:lnTo>
                  <a:lnTo>
                    <a:pt x="1049" y="532"/>
                  </a:lnTo>
                  <a:lnTo>
                    <a:pt x="1044" y="535"/>
                  </a:lnTo>
                  <a:lnTo>
                    <a:pt x="1040" y="536"/>
                  </a:lnTo>
                  <a:lnTo>
                    <a:pt x="1037" y="539"/>
                  </a:lnTo>
                  <a:lnTo>
                    <a:pt x="1035" y="542"/>
                  </a:lnTo>
                  <a:lnTo>
                    <a:pt x="1037" y="544"/>
                  </a:lnTo>
                  <a:lnTo>
                    <a:pt x="1039" y="545"/>
                  </a:lnTo>
                  <a:lnTo>
                    <a:pt x="1042" y="545"/>
                  </a:lnTo>
                  <a:lnTo>
                    <a:pt x="1052" y="543"/>
                  </a:lnTo>
                  <a:lnTo>
                    <a:pt x="1061" y="543"/>
                  </a:lnTo>
                  <a:lnTo>
                    <a:pt x="1066" y="542"/>
                  </a:lnTo>
                  <a:lnTo>
                    <a:pt x="1070" y="542"/>
                  </a:lnTo>
                  <a:lnTo>
                    <a:pt x="1073" y="539"/>
                  </a:lnTo>
                  <a:lnTo>
                    <a:pt x="1077" y="537"/>
                  </a:lnTo>
                  <a:lnTo>
                    <a:pt x="1080" y="536"/>
                  </a:lnTo>
                  <a:lnTo>
                    <a:pt x="1081" y="537"/>
                  </a:lnTo>
                  <a:lnTo>
                    <a:pt x="1084" y="538"/>
                  </a:lnTo>
                  <a:lnTo>
                    <a:pt x="1085" y="538"/>
                  </a:lnTo>
                  <a:lnTo>
                    <a:pt x="1087" y="536"/>
                  </a:lnTo>
                  <a:lnTo>
                    <a:pt x="1090" y="533"/>
                  </a:lnTo>
                  <a:lnTo>
                    <a:pt x="1091" y="533"/>
                  </a:lnTo>
                  <a:lnTo>
                    <a:pt x="1094" y="533"/>
                  </a:lnTo>
                  <a:lnTo>
                    <a:pt x="1095" y="535"/>
                  </a:lnTo>
                  <a:lnTo>
                    <a:pt x="1099" y="536"/>
                  </a:lnTo>
                  <a:lnTo>
                    <a:pt x="1103" y="535"/>
                  </a:lnTo>
                  <a:lnTo>
                    <a:pt x="1109" y="531"/>
                  </a:lnTo>
                  <a:lnTo>
                    <a:pt x="1109" y="530"/>
                  </a:lnTo>
                  <a:lnTo>
                    <a:pt x="1099" y="524"/>
                  </a:lnTo>
                  <a:lnTo>
                    <a:pt x="1095" y="521"/>
                  </a:lnTo>
                  <a:lnTo>
                    <a:pt x="1091" y="518"/>
                  </a:lnTo>
                  <a:lnTo>
                    <a:pt x="1091" y="514"/>
                  </a:lnTo>
                  <a:lnTo>
                    <a:pt x="1092" y="511"/>
                  </a:lnTo>
                  <a:lnTo>
                    <a:pt x="1095" y="510"/>
                  </a:lnTo>
                  <a:lnTo>
                    <a:pt x="1099" y="507"/>
                  </a:lnTo>
                  <a:lnTo>
                    <a:pt x="1108" y="505"/>
                  </a:lnTo>
                  <a:lnTo>
                    <a:pt x="1115" y="503"/>
                  </a:lnTo>
                  <a:lnTo>
                    <a:pt x="1125" y="495"/>
                  </a:lnTo>
                  <a:lnTo>
                    <a:pt x="1129" y="492"/>
                  </a:lnTo>
                  <a:lnTo>
                    <a:pt x="1134" y="487"/>
                  </a:lnTo>
                  <a:lnTo>
                    <a:pt x="1138" y="482"/>
                  </a:lnTo>
                  <a:lnTo>
                    <a:pt x="1141" y="479"/>
                  </a:lnTo>
                  <a:lnTo>
                    <a:pt x="1146" y="472"/>
                  </a:lnTo>
                  <a:lnTo>
                    <a:pt x="1152" y="467"/>
                  </a:lnTo>
                  <a:lnTo>
                    <a:pt x="1158" y="463"/>
                  </a:lnTo>
                  <a:lnTo>
                    <a:pt x="1162" y="462"/>
                  </a:lnTo>
                  <a:lnTo>
                    <a:pt x="1166" y="461"/>
                  </a:lnTo>
                  <a:lnTo>
                    <a:pt x="1170" y="462"/>
                  </a:lnTo>
                  <a:lnTo>
                    <a:pt x="1174" y="462"/>
                  </a:lnTo>
                  <a:lnTo>
                    <a:pt x="1178" y="465"/>
                  </a:lnTo>
                  <a:lnTo>
                    <a:pt x="1180" y="466"/>
                  </a:lnTo>
                  <a:lnTo>
                    <a:pt x="1183" y="466"/>
                  </a:lnTo>
                  <a:lnTo>
                    <a:pt x="1186" y="463"/>
                  </a:lnTo>
                  <a:lnTo>
                    <a:pt x="1190" y="461"/>
                  </a:lnTo>
                  <a:lnTo>
                    <a:pt x="1195" y="456"/>
                  </a:lnTo>
                  <a:lnTo>
                    <a:pt x="1200" y="450"/>
                  </a:lnTo>
                  <a:lnTo>
                    <a:pt x="1204" y="446"/>
                  </a:lnTo>
                  <a:lnTo>
                    <a:pt x="1208" y="444"/>
                  </a:lnTo>
                  <a:lnTo>
                    <a:pt x="1211" y="443"/>
                  </a:lnTo>
                  <a:lnTo>
                    <a:pt x="1208" y="452"/>
                  </a:lnTo>
                  <a:lnTo>
                    <a:pt x="1204" y="460"/>
                  </a:lnTo>
                  <a:lnTo>
                    <a:pt x="1204" y="465"/>
                  </a:lnTo>
                  <a:lnTo>
                    <a:pt x="1203" y="468"/>
                  </a:lnTo>
                  <a:lnTo>
                    <a:pt x="1203" y="471"/>
                  </a:lnTo>
                  <a:lnTo>
                    <a:pt x="1200" y="473"/>
                  </a:lnTo>
                  <a:lnTo>
                    <a:pt x="1198" y="474"/>
                  </a:lnTo>
                  <a:lnTo>
                    <a:pt x="1193" y="479"/>
                  </a:lnTo>
                  <a:lnTo>
                    <a:pt x="1193" y="480"/>
                  </a:lnTo>
                  <a:lnTo>
                    <a:pt x="1193" y="482"/>
                  </a:lnTo>
                  <a:lnTo>
                    <a:pt x="1194" y="485"/>
                  </a:lnTo>
                  <a:lnTo>
                    <a:pt x="1198" y="487"/>
                  </a:lnTo>
                  <a:lnTo>
                    <a:pt x="1199" y="489"/>
                  </a:lnTo>
                  <a:lnTo>
                    <a:pt x="1202" y="492"/>
                  </a:lnTo>
                  <a:lnTo>
                    <a:pt x="1204" y="493"/>
                  </a:lnTo>
                  <a:lnTo>
                    <a:pt x="1208" y="493"/>
                  </a:lnTo>
                  <a:lnTo>
                    <a:pt x="1211" y="491"/>
                  </a:lnTo>
                  <a:lnTo>
                    <a:pt x="1213" y="487"/>
                  </a:lnTo>
                  <a:lnTo>
                    <a:pt x="1216" y="482"/>
                  </a:lnTo>
                  <a:lnTo>
                    <a:pt x="1217" y="476"/>
                  </a:lnTo>
                  <a:lnTo>
                    <a:pt x="1219" y="472"/>
                  </a:lnTo>
                  <a:lnTo>
                    <a:pt x="1222" y="471"/>
                  </a:lnTo>
                  <a:lnTo>
                    <a:pt x="1223" y="471"/>
                  </a:lnTo>
                  <a:lnTo>
                    <a:pt x="1226" y="469"/>
                  </a:lnTo>
                  <a:lnTo>
                    <a:pt x="1227" y="469"/>
                  </a:lnTo>
                  <a:lnTo>
                    <a:pt x="1230" y="465"/>
                  </a:lnTo>
                  <a:lnTo>
                    <a:pt x="1231" y="460"/>
                  </a:lnTo>
                  <a:lnTo>
                    <a:pt x="1232" y="456"/>
                  </a:lnTo>
                  <a:lnTo>
                    <a:pt x="1233" y="454"/>
                  </a:lnTo>
                  <a:lnTo>
                    <a:pt x="1235" y="453"/>
                  </a:lnTo>
                  <a:lnTo>
                    <a:pt x="1242" y="449"/>
                  </a:lnTo>
                  <a:lnTo>
                    <a:pt x="1250" y="448"/>
                  </a:lnTo>
                  <a:lnTo>
                    <a:pt x="1252" y="448"/>
                  </a:lnTo>
                  <a:lnTo>
                    <a:pt x="1254" y="449"/>
                  </a:lnTo>
                  <a:lnTo>
                    <a:pt x="1254" y="450"/>
                  </a:lnTo>
                  <a:lnTo>
                    <a:pt x="1250" y="454"/>
                  </a:lnTo>
                  <a:lnTo>
                    <a:pt x="1247" y="459"/>
                  </a:lnTo>
                  <a:lnTo>
                    <a:pt x="1242" y="467"/>
                  </a:lnTo>
                  <a:lnTo>
                    <a:pt x="1240" y="471"/>
                  </a:lnTo>
                  <a:lnTo>
                    <a:pt x="1240" y="473"/>
                  </a:lnTo>
                  <a:lnTo>
                    <a:pt x="1242" y="478"/>
                  </a:lnTo>
                  <a:lnTo>
                    <a:pt x="1244" y="480"/>
                  </a:lnTo>
                  <a:lnTo>
                    <a:pt x="1245" y="482"/>
                  </a:lnTo>
                  <a:lnTo>
                    <a:pt x="1244" y="485"/>
                  </a:lnTo>
                  <a:lnTo>
                    <a:pt x="1240" y="488"/>
                  </a:lnTo>
                  <a:lnTo>
                    <a:pt x="1236" y="491"/>
                  </a:lnTo>
                  <a:lnTo>
                    <a:pt x="1231" y="493"/>
                  </a:lnTo>
                  <a:lnTo>
                    <a:pt x="1227" y="497"/>
                  </a:lnTo>
                  <a:lnTo>
                    <a:pt x="1218" y="505"/>
                  </a:lnTo>
                  <a:lnTo>
                    <a:pt x="1208" y="512"/>
                  </a:lnTo>
                  <a:lnTo>
                    <a:pt x="1198" y="519"/>
                  </a:lnTo>
                  <a:lnTo>
                    <a:pt x="1188" y="526"/>
                  </a:lnTo>
                  <a:lnTo>
                    <a:pt x="1185" y="531"/>
                  </a:lnTo>
                  <a:lnTo>
                    <a:pt x="1184" y="536"/>
                  </a:lnTo>
                  <a:lnTo>
                    <a:pt x="1183" y="542"/>
                  </a:lnTo>
                  <a:lnTo>
                    <a:pt x="1183" y="543"/>
                  </a:lnTo>
                  <a:lnTo>
                    <a:pt x="1180" y="544"/>
                  </a:lnTo>
                  <a:lnTo>
                    <a:pt x="1178" y="545"/>
                  </a:lnTo>
                  <a:lnTo>
                    <a:pt x="1175" y="548"/>
                  </a:lnTo>
                  <a:lnTo>
                    <a:pt x="1172" y="551"/>
                  </a:lnTo>
                  <a:lnTo>
                    <a:pt x="1171" y="556"/>
                  </a:lnTo>
                  <a:lnTo>
                    <a:pt x="1170" y="557"/>
                  </a:lnTo>
                  <a:lnTo>
                    <a:pt x="1167" y="558"/>
                  </a:lnTo>
                  <a:lnTo>
                    <a:pt x="1152" y="561"/>
                  </a:lnTo>
                  <a:lnTo>
                    <a:pt x="1144" y="563"/>
                  </a:lnTo>
                  <a:lnTo>
                    <a:pt x="1141" y="564"/>
                  </a:lnTo>
                  <a:lnTo>
                    <a:pt x="1137" y="568"/>
                  </a:lnTo>
                  <a:lnTo>
                    <a:pt x="1131" y="575"/>
                  </a:lnTo>
                  <a:lnTo>
                    <a:pt x="1128" y="577"/>
                  </a:lnTo>
                  <a:lnTo>
                    <a:pt x="1124" y="578"/>
                  </a:lnTo>
                  <a:lnTo>
                    <a:pt x="1123" y="581"/>
                  </a:lnTo>
                  <a:lnTo>
                    <a:pt x="1122" y="587"/>
                  </a:lnTo>
                  <a:lnTo>
                    <a:pt x="1120" y="594"/>
                  </a:lnTo>
                  <a:lnTo>
                    <a:pt x="1118" y="599"/>
                  </a:lnTo>
                  <a:lnTo>
                    <a:pt x="1117" y="602"/>
                  </a:lnTo>
                  <a:lnTo>
                    <a:pt x="1117" y="606"/>
                  </a:lnTo>
                  <a:lnTo>
                    <a:pt x="1117" y="610"/>
                  </a:lnTo>
                  <a:lnTo>
                    <a:pt x="1117" y="614"/>
                  </a:lnTo>
                  <a:lnTo>
                    <a:pt x="1113" y="621"/>
                  </a:lnTo>
                  <a:lnTo>
                    <a:pt x="1111" y="626"/>
                  </a:lnTo>
                  <a:lnTo>
                    <a:pt x="1111" y="629"/>
                  </a:lnTo>
                  <a:lnTo>
                    <a:pt x="1119" y="648"/>
                  </a:lnTo>
                  <a:lnTo>
                    <a:pt x="1124" y="667"/>
                  </a:lnTo>
                  <a:lnTo>
                    <a:pt x="1128" y="686"/>
                  </a:lnTo>
                  <a:lnTo>
                    <a:pt x="1131" y="706"/>
                  </a:lnTo>
                  <a:lnTo>
                    <a:pt x="1132" y="709"/>
                  </a:lnTo>
                  <a:lnTo>
                    <a:pt x="1133" y="716"/>
                  </a:lnTo>
                  <a:lnTo>
                    <a:pt x="1136" y="722"/>
                  </a:lnTo>
                  <a:lnTo>
                    <a:pt x="1142" y="734"/>
                  </a:lnTo>
                  <a:lnTo>
                    <a:pt x="1143" y="734"/>
                  </a:lnTo>
                  <a:lnTo>
                    <a:pt x="1144" y="734"/>
                  </a:lnTo>
                  <a:lnTo>
                    <a:pt x="1148" y="733"/>
                  </a:lnTo>
                  <a:lnTo>
                    <a:pt x="1155" y="724"/>
                  </a:lnTo>
                  <a:lnTo>
                    <a:pt x="1160" y="717"/>
                  </a:lnTo>
                  <a:lnTo>
                    <a:pt x="1166" y="709"/>
                  </a:lnTo>
                  <a:lnTo>
                    <a:pt x="1172" y="702"/>
                  </a:lnTo>
                  <a:lnTo>
                    <a:pt x="1175" y="699"/>
                  </a:lnTo>
                  <a:lnTo>
                    <a:pt x="1175" y="696"/>
                  </a:lnTo>
                  <a:lnTo>
                    <a:pt x="1172" y="689"/>
                  </a:lnTo>
                  <a:lnTo>
                    <a:pt x="1172" y="685"/>
                  </a:lnTo>
                  <a:lnTo>
                    <a:pt x="1174" y="683"/>
                  </a:lnTo>
                  <a:lnTo>
                    <a:pt x="1180" y="679"/>
                  </a:lnTo>
                  <a:lnTo>
                    <a:pt x="1183" y="678"/>
                  </a:lnTo>
                  <a:lnTo>
                    <a:pt x="1184" y="678"/>
                  </a:lnTo>
                  <a:lnTo>
                    <a:pt x="1188" y="679"/>
                  </a:lnTo>
                  <a:lnTo>
                    <a:pt x="1194" y="680"/>
                  </a:lnTo>
                  <a:lnTo>
                    <a:pt x="1197" y="680"/>
                  </a:lnTo>
                  <a:lnTo>
                    <a:pt x="1199" y="679"/>
                  </a:lnTo>
                  <a:lnTo>
                    <a:pt x="1199" y="678"/>
                  </a:lnTo>
                  <a:lnTo>
                    <a:pt x="1200" y="677"/>
                  </a:lnTo>
                  <a:lnTo>
                    <a:pt x="1199" y="672"/>
                  </a:lnTo>
                  <a:lnTo>
                    <a:pt x="1198" y="669"/>
                  </a:lnTo>
                  <a:lnTo>
                    <a:pt x="1197" y="665"/>
                  </a:lnTo>
                  <a:lnTo>
                    <a:pt x="1197" y="660"/>
                  </a:lnTo>
                  <a:lnTo>
                    <a:pt x="1199" y="658"/>
                  </a:lnTo>
                  <a:lnTo>
                    <a:pt x="1202" y="655"/>
                  </a:lnTo>
                  <a:lnTo>
                    <a:pt x="1207" y="654"/>
                  </a:lnTo>
                  <a:lnTo>
                    <a:pt x="1216" y="651"/>
                  </a:lnTo>
                  <a:lnTo>
                    <a:pt x="1219" y="650"/>
                  </a:lnTo>
                  <a:lnTo>
                    <a:pt x="1223" y="647"/>
                  </a:lnTo>
                  <a:lnTo>
                    <a:pt x="1224" y="645"/>
                  </a:lnTo>
                  <a:lnTo>
                    <a:pt x="1226" y="642"/>
                  </a:lnTo>
                  <a:lnTo>
                    <a:pt x="1224" y="638"/>
                  </a:lnTo>
                  <a:lnTo>
                    <a:pt x="1222" y="633"/>
                  </a:lnTo>
                  <a:lnTo>
                    <a:pt x="1219" y="627"/>
                  </a:lnTo>
                  <a:lnTo>
                    <a:pt x="1218" y="625"/>
                  </a:lnTo>
                  <a:lnTo>
                    <a:pt x="1219" y="621"/>
                  </a:lnTo>
                  <a:lnTo>
                    <a:pt x="1224" y="614"/>
                  </a:lnTo>
                  <a:lnTo>
                    <a:pt x="1233" y="604"/>
                  </a:lnTo>
                  <a:lnTo>
                    <a:pt x="1236" y="603"/>
                  </a:lnTo>
                  <a:lnTo>
                    <a:pt x="1237" y="602"/>
                  </a:lnTo>
                  <a:lnTo>
                    <a:pt x="1240" y="602"/>
                  </a:lnTo>
                  <a:lnTo>
                    <a:pt x="1242" y="603"/>
                  </a:lnTo>
                  <a:lnTo>
                    <a:pt x="1244" y="604"/>
                  </a:lnTo>
                  <a:lnTo>
                    <a:pt x="1245" y="604"/>
                  </a:lnTo>
                  <a:lnTo>
                    <a:pt x="1247" y="602"/>
                  </a:lnTo>
                  <a:lnTo>
                    <a:pt x="1250" y="600"/>
                  </a:lnTo>
                  <a:lnTo>
                    <a:pt x="1251" y="596"/>
                  </a:lnTo>
                  <a:lnTo>
                    <a:pt x="1251" y="594"/>
                  </a:lnTo>
                  <a:lnTo>
                    <a:pt x="1250" y="593"/>
                  </a:lnTo>
                  <a:lnTo>
                    <a:pt x="1246" y="591"/>
                  </a:lnTo>
                  <a:lnTo>
                    <a:pt x="1242" y="590"/>
                  </a:lnTo>
                  <a:lnTo>
                    <a:pt x="1241" y="589"/>
                  </a:lnTo>
                  <a:lnTo>
                    <a:pt x="1240" y="588"/>
                  </a:lnTo>
                  <a:lnTo>
                    <a:pt x="1237" y="582"/>
                  </a:lnTo>
                  <a:lnTo>
                    <a:pt x="1236" y="580"/>
                  </a:lnTo>
                  <a:lnTo>
                    <a:pt x="1236" y="576"/>
                  </a:lnTo>
                  <a:lnTo>
                    <a:pt x="1237" y="574"/>
                  </a:lnTo>
                  <a:lnTo>
                    <a:pt x="1240" y="572"/>
                  </a:lnTo>
                  <a:lnTo>
                    <a:pt x="1246" y="572"/>
                  </a:lnTo>
                  <a:lnTo>
                    <a:pt x="1247" y="571"/>
                  </a:lnTo>
                  <a:lnTo>
                    <a:pt x="1247" y="569"/>
                  </a:lnTo>
                  <a:lnTo>
                    <a:pt x="1247" y="568"/>
                  </a:lnTo>
                  <a:lnTo>
                    <a:pt x="1246" y="567"/>
                  </a:lnTo>
                  <a:lnTo>
                    <a:pt x="1240" y="563"/>
                  </a:lnTo>
                  <a:lnTo>
                    <a:pt x="1237" y="562"/>
                  </a:lnTo>
                  <a:lnTo>
                    <a:pt x="1235" y="559"/>
                  </a:lnTo>
                  <a:lnTo>
                    <a:pt x="1235" y="557"/>
                  </a:lnTo>
                  <a:lnTo>
                    <a:pt x="1236" y="555"/>
                  </a:lnTo>
                  <a:lnTo>
                    <a:pt x="1238" y="551"/>
                  </a:lnTo>
                  <a:lnTo>
                    <a:pt x="1240" y="549"/>
                  </a:lnTo>
                  <a:lnTo>
                    <a:pt x="1238" y="546"/>
                  </a:lnTo>
                  <a:lnTo>
                    <a:pt x="1235" y="545"/>
                  </a:lnTo>
                  <a:lnTo>
                    <a:pt x="1235" y="544"/>
                  </a:lnTo>
                  <a:lnTo>
                    <a:pt x="1235" y="542"/>
                  </a:lnTo>
                  <a:lnTo>
                    <a:pt x="1236" y="537"/>
                  </a:lnTo>
                  <a:lnTo>
                    <a:pt x="1240" y="532"/>
                  </a:lnTo>
                  <a:lnTo>
                    <a:pt x="1244" y="529"/>
                  </a:lnTo>
                  <a:lnTo>
                    <a:pt x="1249" y="525"/>
                  </a:lnTo>
                  <a:lnTo>
                    <a:pt x="1250" y="524"/>
                  </a:lnTo>
                  <a:lnTo>
                    <a:pt x="1250" y="521"/>
                  </a:lnTo>
                  <a:lnTo>
                    <a:pt x="1251" y="519"/>
                  </a:lnTo>
                  <a:lnTo>
                    <a:pt x="1252" y="517"/>
                  </a:lnTo>
                  <a:lnTo>
                    <a:pt x="1263" y="510"/>
                  </a:lnTo>
                  <a:lnTo>
                    <a:pt x="1268" y="508"/>
                  </a:lnTo>
                  <a:lnTo>
                    <a:pt x="1273" y="508"/>
                  </a:lnTo>
                  <a:lnTo>
                    <a:pt x="1279" y="511"/>
                  </a:lnTo>
                  <a:lnTo>
                    <a:pt x="1282" y="510"/>
                  </a:lnTo>
                  <a:lnTo>
                    <a:pt x="1283" y="508"/>
                  </a:lnTo>
                  <a:lnTo>
                    <a:pt x="1287" y="503"/>
                  </a:lnTo>
                  <a:lnTo>
                    <a:pt x="1289" y="497"/>
                  </a:lnTo>
                  <a:lnTo>
                    <a:pt x="1292" y="491"/>
                  </a:lnTo>
                  <a:lnTo>
                    <a:pt x="1293" y="491"/>
                  </a:lnTo>
                  <a:lnTo>
                    <a:pt x="1294" y="491"/>
                  </a:lnTo>
                  <a:lnTo>
                    <a:pt x="1296" y="495"/>
                  </a:lnTo>
                  <a:lnTo>
                    <a:pt x="1296" y="500"/>
                  </a:lnTo>
                  <a:lnTo>
                    <a:pt x="1294" y="505"/>
                  </a:lnTo>
                  <a:lnTo>
                    <a:pt x="1293" y="508"/>
                  </a:lnTo>
                  <a:lnTo>
                    <a:pt x="1294" y="511"/>
                  </a:lnTo>
                  <a:lnTo>
                    <a:pt x="1297" y="510"/>
                  </a:lnTo>
                  <a:lnTo>
                    <a:pt x="1299" y="510"/>
                  </a:lnTo>
                  <a:lnTo>
                    <a:pt x="1301" y="507"/>
                  </a:lnTo>
                  <a:lnTo>
                    <a:pt x="1303" y="505"/>
                  </a:lnTo>
                  <a:lnTo>
                    <a:pt x="1306" y="503"/>
                  </a:lnTo>
                  <a:lnTo>
                    <a:pt x="1311" y="500"/>
                  </a:lnTo>
                  <a:lnTo>
                    <a:pt x="1316" y="498"/>
                  </a:lnTo>
                  <a:lnTo>
                    <a:pt x="1326" y="492"/>
                  </a:lnTo>
                  <a:lnTo>
                    <a:pt x="1330" y="489"/>
                  </a:lnTo>
                  <a:lnTo>
                    <a:pt x="1334" y="488"/>
                  </a:lnTo>
                  <a:lnTo>
                    <a:pt x="1341" y="489"/>
                  </a:lnTo>
                  <a:lnTo>
                    <a:pt x="1349" y="492"/>
                  </a:lnTo>
                  <a:lnTo>
                    <a:pt x="1357" y="497"/>
                  </a:lnTo>
                  <a:lnTo>
                    <a:pt x="1359" y="497"/>
                  </a:lnTo>
                  <a:lnTo>
                    <a:pt x="1363" y="497"/>
                  </a:lnTo>
                  <a:lnTo>
                    <a:pt x="1364" y="499"/>
                  </a:lnTo>
                  <a:lnTo>
                    <a:pt x="1365" y="500"/>
                  </a:lnTo>
                  <a:lnTo>
                    <a:pt x="1367" y="503"/>
                  </a:lnTo>
                  <a:lnTo>
                    <a:pt x="1368" y="505"/>
                  </a:lnTo>
                  <a:lnTo>
                    <a:pt x="1368" y="506"/>
                  </a:lnTo>
                  <a:lnTo>
                    <a:pt x="1369" y="506"/>
                  </a:lnTo>
                  <a:lnTo>
                    <a:pt x="1372" y="504"/>
                  </a:lnTo>
                  <a:lnTo>
                    <a:pt x="1373" y="501"/>
                  </a:lnTo>
                  <a:lnTo>
                    <a:pt x="1376" y="497"/>
                  </a:lnTo>
                  <a:lnTo>
                    <a:pt x="1382" y="489"/>
                  </a:lnTo>
                  <a:lnTo>
                    <a:pt x="1387" y="485"/>
                  </a:lnTo>
                  <a:lnTo>
                    <a:pt x="1391" y="482"/>
                  </a:lnTo>
                  <a:lnTo>
                    <a:pt x="1400" y="478"/>
                  </a:lnTo>
                  <a:lnTo>
                    <a:pt x="1409" y="474"/>
                  </a:lnTo>
                  <a:lnTo>
                    <a:pt x="1418" y="467"/>
                  </a:lnTo>
                  <a:lnTo>
                    <a:pt x="1423" y="465"/>
                  </a:lnTo>
                  <a:lnTo>
                    <a:pt x="1428" y="463"/>
                  </a:lnTo>
                  <a:lnTo>
                    <a:pt x="1434" y="461"/>
                  </a:lnTo>
                  <a:lnTo>
                    <a:pt x="1439" y="459"/>
                  </a:lnTo>
                  <a:lnTo>
                    <a:pt x="1445" y="455"/>
                  </a:lnTo>
                  <a:lnTo>
                    <a:pt x="1451" y="453"/>
                  </a:lnTo>
                  <a:lnTo>
                    <a:pt x="1456" y="449"/>
                  </a:lnTo>
                  <a:lnTo>
                    <a:pt x="1461" y="447"/>
                  </a:lnTo>
                  <a:lnTo>
                    <a:pt x="1466" y="444"/>
                  </a:lnTo>
                  <a:lnTo>
                    <a:pt x="1471" y="443"/>
                  </a:lnTo>
                  <a:lnTo>
                    <a:pt x="1480" y="442"/>
                  </a:lnTo>
                  <a:lnTo>
                    <a:pt x="1490" y="440"/>
                  </a:lnTo>
                  <a:lnTo>
                    <a:pt x="1501" y="439"/>
                  </a:lnTo>
                  <a:lnTo>
                    <a:pt x="1508" y="440"/>
                  </a:lnTo>
                  <a:lnTo>
                    <a:pt x="1514" y="441"/>
                  </a:lnTo>
                  <a:lnTo>
                    <a:pt x="1517" y="442"/>
                  </a:lnTo>
                  <a:lnTo>
                    <a:pt x="1520" y="442"/>
                  </a:lnTo>
                  <a:lnTo>
                    <a:pt x="1524" y="441"/>
                  </a:lnTo>
                  <a:lnTo>
                    <a:pt x="1527" y="440"/>
                  </a:lnTo>
                  <a:lnTo>
                    <a:pt x="1528" y="436"/>
                  </a:lnTo>
                  <a:lnTo>
                    <a:pt x="1529" y="431"/>
                  </a:lnTo>
                  <a:lnTo>
                    <a:pt x="1529" y="428"/>
                  </a:lnTo>
                  <a:lnTo>
                    <a:pt x="1528" y="425"/>
                  </a:lnTo>
                  <a:lnTo>
                    <a:pt x="1524" y="422"/>
                  </a:lnTo>
                  <a:lnTo>
                    <a:pt x="1520" y="418"/>
                  </a:lnTo>
                  <a:lnTo>
                    <a:pt x="1515" y="409"/>
                  </a:lnTo>
                  <a:lnTo>
                    <a:pt x="1509" y="391"/>
                  </a:lnTo>
                  <a:lnTo>
                    <a:pt x="1505" y="389"/>
                  </a:lnTo>
                  <a:lnTo>
                    <a:pt x="1503" y="388"/>
                  </a:lnTo>
                  <a:lnTo>
                    <a:pt x="1495" y="388"/>
                  </a:lnTo>
                  <a:lnTo>
                    <a:pt x="1490" y="385"/>
                  </a:lnTo>
                  <a:lnTo>
                    <a:pt x="1478" y="378"/>
                  </a:lnTo>
                  <a:lnTo>
                    <a:pt x="1477" y="377"/>
                  </a:lnTo>
                  <a:lnTo>
                    <a:pt x="1478" y="376"/>
                  </a:lnTo>
                  <a:lnTo>
                    <a:pt x="1480" y="374"/>
                  </a:lnTo>
                  <a:lnTo>
                    <a:pt x="1492" y="376"/>
                  </a:lnTo>
                  <a:lnTo>
                    <a:pt x="1504" y="378"/>
                  </a:lnTo>
                  <a:lnTo>
                    <a:pt x="1515" y="380"/>
                  </a:lnTo>
                  <a:lnTo>
                    <a:pt x="1522" y="380"/>
                  </a:lnTo>
                  <a:lnTo>
                    <a:pt x="1528" y="379"/>
                  </a:lnTo>
                  <a:lnTo>
                    <a:pt x="1534" y="377"/>
                  </a:lnTo>
                  <a:lnTo>
                    <a:pt x="1541" y="373"/>
                  </a:lnTo>
                  <a:lnTo>
                    <a:pt x="1546" y="369"/>
                  </a:lnTo>
                  <a:lnTo>
                    <a:pt x="1551" y="364"/>
                  </a:lnTo>
                  <a:lnTo>
                    <a:pt x="1553" y="358"/>
                  </a:lnTo>
                  <a:lnTo>
                    <a:pt x="1553" y="352"/>
                  </a:lnTo>
                  <a:lnTo>
                    <a:pt x="1552" y="346"/>
                  </a:lnTo>
                  <a:lnTo>
                    <a:pt x="1547" y="339"/>
                  </a:lnTo>
                  <a:lnTo>
                    <a:pt x="1547" y="337"/>
                  </a:lnTo>
                  <a:lnTo>
                    <a:pt x="1548" y="335"/>
                  </a:lnTo>
                  <a:lnTo>
                    <a:pt x="1557" y="335"/>
                  </a:lnTo>
                  <a:lnTo>
                    <a:pt x="1566" y="334"/>
                  </a:lnTo>
                  <a:lnTo>
                    <a:pt x="1567" y="334"/>
                  </a:lnTo>
                  <a:lnTo>
                    <a:pt x="1567" y="335"/>
                  </a:lnTo>
                  <a:lnTo>
                    <a:pt x="1567" y="338"/>
                  </a:lnTo>
                  <a:lnTo>
                    <a:pt x="1564" y="341"/>
                  </a:lnTo>
                  <a:lnTo>
                    <a:pt x="1562" y="346"/>
                  </a:lnTo>
                  <a:lnTo>
                    <a:pt x="1565" y="350"/>
                  </a:lnTo>
                  <a:lnTo>
                    <a:pt x="1569" y="353"/>
                  </a:lnTo>
                  <a:lnTo>
                    <a:pt x="1574" y="356"/>
                  </a:lnTo>
                  <a:lnTo>
                    <a:pt x="1578" y="356"/>
                  </a:lnTo>
                  <a:lnTo>
                    <a:pt x="1580" y="356"/>
                  </a:lnTo>
                  <a:lnTo>
                    <a:pt x="1586" y="356"/>
                  </a:lnTo>
                  <a:lnTo>
                    <a:pt x="1597" y="353"/>
                  </a:lnTo>
                  <a:lnTo>
                    <a:pt x="1602" y="354"/>
                  </a:lnTo>
                  <a:lnTo>
                    <a:pt x="1607" y="356"/>
                  </a:lnTo>
                  <a:lnTo>
                    <a:pt x="1609" y="358"/>
                  </a:lnTo>
                  <a:lnTo>
                    <a:pt x="1612" y="361"/>
                  </a:lnTo>
                  <a:lnTo>
                    <a:pt x="1614" y="369"/>
                  </a:lnTo>
                  <a:lnTo>
                    <a:pt x="1618" y="373"/>
                  </a:lnTo>
                  <a:lnTo>
                    <a:pt x="1619" y="374"/>
                  </a:lnTo>
                  <a:lnTo>
                    <a:pt x="1622" y="376"/>
                  </a:lnTo>
                  <a:lnTo>
                    <a:pt x="1635" y="380"/>
                  </a:lnTo>
                  <a:lnTo>
                    <a:pt x="1646" y="385"/>
                  </a:lnTo>
                  <a:lnTo>
                    <a:pt x="1658" y="389"/>
                  </a:lnTo>
                  <a:lnTo>
                    <a:pt x="1660" y="389"/>
                  </a:lnTo>
                  <a:lnTo>
                    <a:pt x="1664" y="389"/>
                  </a:lnTo>
                  <a:lnTo>
                    <a:pt x="1666" y="388"/>
                  </a:lnTo>
                  <a:lnTo>
                    <a:pt x="1668" y="386"/>
                  </a:lnTo>
                  <a:lnTo>
                    <a:pt x="1670" y="380"/>
                  </a:lnTo>
                  <a:lnTo>
                    <a:pt x="1673" y="376"/>
                  </a:lnTo>
                  <a:lnTo>
                    <a:pt x="1677" y="370"/>
                  </a:lnTo>
                  <a:lnTo>
                    <a:pt x="1677" y="363"/>
                  </a:lnTo>
                  <a:lnTo>
                    <a:pt x="1675" y="359"/>
                  </a:lnTo>
                  <a:lnTo>
                    <a:pt x="1674" y="357"/>
                  </a:lnTo>
                  <a:lnTo>
                    <a:pt x="1671" y="354"/>
                  </a:lnTo>
                  <a:lnTo>
                    <a:pt x="1668" y="353"/>
                  </a:lnTo>
                  <a:lnTo>
                    <a:pt x="1668" y="351"/>
                  </a:lnTo>
                  <a:lnTo>
                    <a:pt x="1674" y="352"/>
                  </a:lnTo>
                  <a:lnTo>
                    <a:pt x="1680" y="353"/>
                  </a:lnTo>
                  <a:lnTo>
                    <a:pt x="1693" y="358"/>
                  </a:lnTo>
                  <a:lnTo>
                    <a:pt x="1694" y="357"/>
                  </a:lnTo>
                  <a:lnTo>
                    <a:pt x="1696" y="357"/>
                  </a:lnTo>
                  <a:lnTo>
                    <a:pt x="1696" y="354"/>
                  </a:lnTo>
                  <a:lnTo>
                    <a:pt x="1697" y="352"/>
                  </a:lnTo>
                  <a:lnTo>
                    <a:pt x="1697" y="350"/>
                  </a:lnTo>
                  <a:lnTo>
                    <a:pt x="1702" y="348"/>
                  </a:lnTo>
                  <a:lnTo>
                    <a:pt x="1707" y="347"/>
                  </a:lnTo>
                  <a:lnTo>
                    <a:pt x="1711" y="345"/>
                  </a:lnTo>
                  <a:lnTo>
                    <a:pt x="1713" y="341"/>
                  </a:lnTo>
                  <a:lnTo>
                    <a:pt x="1715" y="338"/>
                  </a:lnTo>
                  <a:lnTo>
                    <a:pt x="1715" y="337"/>
                  </a:lnTo>
                  <a:lnTo>
                    <a:pt x="1713" y="334"/>
                  </a:lnTo>
                  <a:lnTo>
                    <a:pt x="1712" y="333"/>
                  </a:lnTo>
                  <a:lnTo>
                    <a:pt x="1704" y="328"/>
                  </a:lnTo>
                  <a:lnTo>
                    <a:pt x="1698" y="324"/>
                  </a:lnTo>
                  <a:lnTo>
                    <a:pt x="1693" y="318"/>
                  </a:lnTo>
                  <a:lnTo>
                    <a:pt x="1688" y="314"/>
                  </a:lnTo>
                  <a:lnTo>
                    <a:pt x="1684" y="312"/>
                  </a:lnTo>
                  <a:lnTo>
                    <a:pt x="1680" y="312"/>
                  </a:lnTo>
                  <a:lnTo>
                    <a:pt x="1671" y="310"/>
                  </a:lnTo>
                  <a:lnTo>
                    <a:pt x="1661" y="310"/>
                  </a:lnTo>
                  <a:lnTo>
                    <a:pt x="1652" y="312"/>
                  </a:lnTo>
                  <a:lnTo>
                    <a:pt x="1644" y="314"/>
                  </a:lnTo>
                  <a:lnTo>
                    <a:pt x="1642" y="315"/>
                  </a:lnTo>
                  <a:lnTo>
                    <a:pt x="1642" y="316"/>
                  </a:lnTo>
                  <a:lnTo>
                    <a:pt x="1644" y="320"/>
                  </a:lnTo>
                  <a:lnTo>
                    <a:pt x="1646" y="328"/>
                  </a:lnTo>
                  <a:lnTo>
                    <a:pt x="1646" y="332"/>
                  </a:lnTo>
                  <a:lnTo>
                    <a:pt x="1646" y="333"/>
                  </a:lnTo>
                  <a:lnTo>
                    <a:pt x="1644" y="334"/>
                  </a:lnTo>
                  <a:lnTo>
                    <a:pt x="1642" y="335"/>
                  </a:lnTo>
                  <a:lnTo>
                    <a:pt x="1640" y="335"/>
                  </a:lnTo>
                  <a:lnTo>
                    <a:pt x="1638" y="333"/>
                  </a:lnTo>
                  <a:lnTo>
                    <a:pt x="1637" y="332"/>
                  </a:lnTo>
                  <a:lnTo>
                    <a:pt x="1636" y="318"/>
                  </a:lnTo>
                  <a:lnTo>
                    <a:pt x="1635" y="310"/>
                  </a:lnTo>
                  <a:lnTo>
                    <a:pt x="1632" y="305"/>
                  </a:lnTo>
                  <a:lnTo>
                    <a:pt x="1630" y="300"/>
                  </a:lnTo>
                  <a:lnTo>
                    <a:pt x="1626" y="296"/>
                  </a:lnTo>
                  <a:lnTo>
                    <a:pt x="1622" y="294"/>
                  </a:lnTo>
                  <a:lnTo>
                    <a:pt x="1616" y="291"/>
                  </a:lnTo>
                  <a:lnTo>
                    <a:pt x="1603" y="289"/>
                  </a:lnTo>
                  <a:lnTo>
                    <a:pt x="1590" y="286"/>
                  </a:lnTo>
                  <a:lnTo>
                    <a:pt x="1579" y="281"/>
                  </a:lnTo>
                  <a:lnTo>
                    <a:pt x="1567" y="275"/>
                  </a:lnTo>
                  <a:lnTo>
                    <a:pt x="1562" y="274"/>
                  </a:lnTo>
                  <a:lnTo>
                    <a:pt x="1557" y="273"/>
                  </a:lnTo>
                  <a:lnTo>
                    <a:pt x="1546" y="270"/>
                  </a:lnTo>
                  <a:lnTo>
                    <a:pt x="1542" y="269"/>
                  </a:lnTo>
                  <a:lnTo>
                    <a:pt x="1538" y="265"/>
                  </a:lnTo>
                  <a:lnTo>
                    <a:pt x="1534" y="259"/>
                  </a:lnTo>
                  <a:lnTo>
                    <a:pt x="1532" y="257"/>
                  </a:lnTo>
                  <a:lnTo>
                    <a:pt x="1528" y="255"/>
                  </a:lnTo>
                  <a:lnTo>
                    <a:pt x="1525" y="255"/>
                  </a:lnTo>
                  <a:lnTo>
                    <a:pt x="1524" y="255"/>
                  </a:lnTo>
                  <a:lnTo>
                    <a:pt x="1522" y="256"/>
                  </a:lnTo>
                  <a:lnTo>
                    <a:pt x="1519" y="255"/>
                  </a:lnTo>
                  <a:lnTo>
                    <a:pt x="1501" y="246"/>
                  </a:lnTo>
                  <a:lnTo>
                    <a:pt x="1492" y="243"/>
                  </a:lnTo>
                  <a:lnTo>
                    <a:pt x="1484" y="241"/>
                  </a:lnTo>
                  <a:lnTo>
                    <a:pt x="1484" y="239"/>
                  </a:lnTo>
                  <a:lnTo>
                    <a:pt x="1468" y="237"/>
                  </a:lnTo>
                  <a:lnTo>
                    <a:pt x="1454" y="235"/>
                  </a:lnTo>
                  <a:lnTo>
                    <a:pt x="1425" y="231"/>
                  </a:lnTo>
                  <a:lnTo>
                    <a:pt x="1419" y="231"/>
                  </a:lnTo>
                  <a:lnTo>
                    <a:pt x="1414" y="232"/>
                  </a:lnTo>
                  <a:lnTo>
                    <a:pt x="1404" y="235"/>
                  </a:lnTo>
                  <a:lnTo>
                    <a:pt x="1400" y="235"/>
                  </a:lnTo>
                  <a:lnTo>
                    <a:pt x="1397" y="233"/>
                  </a:lnTo>
                  <a:lnTo>
                    <a:pt x="1393" y="233"/>
                  </a:lnTo>
                  <a:lnTo>
                    <a:pt x="1391" y="236"/>
                  </a:lnTo>
                  <a:lnTo>
                    <a:pt x="1391" y="237"/>
                  </a:lnTo>
                  <a:lnTo>
                    <a:pt x="1391" y="238"/>
                  </a:lnTo>
                  <a:lnTo>
                    <a:pt x="1391" y="239"/>
                  </a:lnTo>
                  <a:lnTo>
                    <a:pt x="1391" y="241"/>
                  </a:lnTo>
                  <a:lnTo>
                    <a:pt x="1388" y="243"/>
                  </a:lnTo>
                  <a:lnTo>
                    <a:pt x="1387" y="246"/>
                  </a:lnTo>
                  <a:lnTo>
                    <a:pt x="1386" y="251"/>
                  </a:lnTo>
                  <a:lnTo>
                    <a:pt x="1387" y="263"/>
                  </a:lnTo>
                  <a:lnTo>
                    <a:pt x="1386" y="268"/>
                  </a:lnTo>
                  <a:lnTo>
                    <a:pt x="1383" y="273"/>
                  </a:lnTo>
                  <a:lnTo>
                    <a:pt x="1378" y="276"/>
                  </a:lnTo>
                  <a:lnTo>
                    <a:pt x="1374" y="278"/>
                  </a:lnTo>
                  <a:lnTo>
                    <a:pt x="1371" y="278"/>
                  </a:lnTo>
                  <a:lnTo>
                    <a:pt x="1367" y="277"/>
                  </a:lnTo>
                  <a:lnTo>
                    <a:pt x="1364" y="276"/>
                  </a:lnTo>
                  <a:lnTo>
                    <a:pt x="1362" y="273"/>
                  </a:lnTo>
                  <a:lnTo>
                    <a:pt x="1357" y="267"/>
                  </a:lnTo>
                  <a:lnTo>
                    <a:pt x="1353" y="262"/>
                  </a:lnTo>
                  <a:lnTo>
                    <a:pt x="1345" y="257"/>
                  </a:lnTo>
                  <a:lnTo>
                    <a:pt x="1339" y="251"/>
                  </a:lnTo>
                  <a:lnTo>
                    <a:pt x="1334" y="245"/>
                  </a:lnTo>
                  <a:lnTo>
                    <a:pt x="1330" y="238"/>
                  </a:lnTo>
                  <a:lnTo>
                    <a:pt x="1322" y="242"/>
                  </a:lnTo>
                  <a:lnTo>
                    <a:pt x="1318" y="243"/>
                  </a:lnTo>
                  <a:lnTo>
                    <a:pt x="1313" y="244"/>
                  </a:lnTo>
                  <a:lnTo>
                    <a:pt x="1303" y="243"/>
                  </a:lnTo>
                  <a:lnTo>
                    <a:pt x="1293" y="242"/>
                  </a:lnTo>
                  <a:lnTo>
                    <a:pt x="1282" y="242"/>
                  </a:lnTo>
                  <a:lnTo>
                    <a:pt x="1277" y="242"/>
                  </a:lnTo>
                  <a:lnTo>
                    <a:pt x="1273" y="244"/>
                  </a:lnTo>
                  <a:lnTo>
                    <a:pt x="1265" y="245"/>
                  </a:lnTo>
                  <a:lnTo>
                    <a:pt x="1258" y="245"/>
                  </a:lnTo>
                  <a:lnTo>
                    <a:pt x="1258" y="244"/>
                  </a:lnTo>
                  <a:lnTo>
                    <a:pt x="1245" y="244"/>
                  </a:lnTo>
                  <a:lnTo>
                    <a:pt x="1237" y="244"/>
                  </a:lnTo>
                  <a:lnTo>
                    <a:pt x="1232" y="246"/>
                  </a:lnTo>
                  <a:lnTo>
                    <a:pt x="1222" y="251"/>
                  </a:lnTo>
                  <a:lnTo>
                    <a:pt x="1221" y="252"/>
                  </a:lnTo>
                  <a:lnTo>
                    <a:pt x="1219" y="255"/>
                  </a:lnTo>
                  <a:lnTo>
                    <a:pt x="1217" y="258"/>
                  </a:lnTo>
                  <a:lnTo>
                    <a:pt x="1217" y="259"/>
                  </a:lnTo>
                  <a:lnTo>
                    <a:pt x="1214" y="258"/>
                  </a:lnTo>
                  <a:lnTo>
                    <a:pt x="1212" y="257"/>
                  </a:lnTo>
                  <a:lnTo>
                    <a:pt x="1204" y="250"/>
                  </a:lnTo>
                  <a:lnTo>
                    <a:pt x="1197" y="243"/>
                  </a:lnTo>
                  <a:lnTo>
                    <a:pt x="1194" y="241"/>
                  </a:lnTo>
                  <a:lnTo>
                    <a:pt x="1193" y="238"/>
                  </a:lnTo>
                  <a:lnTo>
                    <a:pt x="1193" y="233"/>
                  </a:lnTo>
                  <a:lnTo>
                    <a:pt x="1193" y="229"/>
                  </a:lnTo>
                  <a:lnTo>
                    <a:pt x="1193" y="225"/>
                  </a:lnTo>
                  <a:lnTo>
                    <a:pt x="1191" y="220"/>
                  </a:lnTo>
                  <a:lnTo>
                    <a:pt x="1186" y="216"/>
                  </a:lnTo>
                  <a:lnTo>
                    <a:pt x="1180" y="212"/>
                  </a:lnTo>
                  <a:lnTo>
                    <a:pt x="1175" y="209"/>
                  </a:lnTo>
                  <a:lnTo>
                    <a:pt x="1161" y="204"/>
                  </a:lnTo>
                  <a:lnTo>
                    <a:pt x="1147" y="201"/>
                  </a:lnTo>
                  <a:lnTo>
                    <a:pt x="1133" y="201"/>
                  </a:lnTo>
                  <a:lnTo>
                    <a:pt x="1113" y="204"/>
                  </a:lnTo>
                  <a:lnTo>
                    <a:pt x="1092" y="207"/>
                  </a:lnTo>
                  <a:lnTo>
                    <a:pt x="1086" y="209"/>
                  </a:lnTo>
                  <a:lnTo>
                    <a:pt x="1080" y="207"/>
                  </a:lnTo>
                  <a:lnTo>
                    <a:pt x="1080" y="210"/>
                  </a:lnTo>
                  <a:lnTo>
                    <a:pt x="1072" y="209"/>
                  </a:lnTo>
                  <a:lnTo>
                    <a:pt x="1064" y="209"/>
                  </a:lnTo>
                  <a:lnTo>
                    <a:pt x="1053" y="206"/>
                  </a:lnTo>
                  <a:lnTo>
                    <a:pt x="1043" y="204"/>
                  </a:lnTo>
                  <a:lnTo>
                    <a:pt x="1039" y="203"/>
                  </a:lnTo>
                  <a:lnTo>
                    <a:pt x="1035" y="200"/>
                  </a:lnTo>
                  <a:lnTo>
                    <a:pt x="1029" y="194"/>
                  </a:lnTo>
                  <a:lnTo>
                    <a:pt x="1029" y="193"/>
                  </a:lnTo>
                  <a:lnTo>
                    <a:pt x="1028" y="188"/>
                  </a:lnTo>
                  <a:lnTo>
                    <a:pt x="1025" y="185"/>
                  </a:lnTo>
                  <a:lnTo>
                    <a:pt x="1020" y="178"/>
                  </a:lnTo>
                  <a:lnTo>
                    <a:pt x="1020" y="175"/>
                  </a:lnTo>
                  <a:lnTo>
                    <a:pt x="1021" y="172"/>
                  </a:lnTo>
                  <a:lnTo>
                    <a:pt x="1021" y="169"/>
                  </a:lnTo>
                  <a:lnTo>
                    <a:pt x="1020" y="168"/>
                  </a:lnTo>
                  <a:lnTo>
                    <a:pt x="1006" y="165"/>
                  </a:lnTo>
                  <a:lnTo>
                    <a:pt x="990" y="162"/>
                  </a:lnTo>
                  <a:lnTo>
                    <a:pt x="982" y="162"/>
                  </a:lnTo>
                  <a:lnTo>
                    <a:pt x="976" y="163"/>
                  </a:lnTo>
                  <a:lnTo>
                    <a:pt x="969" y="166"/>
                  </a:lnTo>
                  <a:lnTo>
                    <a:pt x="964" y="171"/>
                  </a:lnTo>
                  <a:lnTo>
                    <a:pt x="960" y="175"/>
                  </a:lnTo>
                  <a:lnTo>
                    <a:pt x="958" y="181"/>
                  </a:lnTo>
                  <a:lnTo>
                    <a:pt x="954" y="186"/>
                  </a:lnTo>
                  <a:lnTo>
                    <a:pt x="949" y="191"/>
                  </a:lnTo>
                  <a:lnTo>
                    <a:pt x="945" y="191"/>
                  </a:lnTo>
                  <a:lnTo>
                    <a:pt x="944" y="190"/>
                  </a:lnTo>
                  <a:lnTo>
                    <a:pt x="943" y="188"/>
                  </a:lnTo>
                  <a:lnTo>
                    <a:pt x="941" y="186"/>
                  </a:lnTo>
                  <a:lnTo>
                    <a:pt x="941" y="184"/>
                  </a:lnTo>
                  <a:lnTo>
                    <a:pt x="944" y="179"/>
                  </a:lnTo>
                  <a:lnTo>
                    <a:pt x="946" y="175"/>
                  </a:lnTo>
                  <a:lnTo>
                    <a:pt x="951" y="174"/>
                  </a:lnTo>
                  <a:lnTo>
                    <a:pt x="954" y="172"/>
                  </a:lnTo>
                  <a:lnTo>
                    <a:pt x="955" y="169"/>
                  </a:lnTo>
                  <a:lnTo>
                    <a:pt x="955" y="167"/>
                  </a:lnTo>
                  <a:lnTo>
                    <a:pt x="948" y="169"/>
                  </a:lnTo>
                  <a:lnTo>
                    <a:pt x="938" y="171"/>
                  </a:lnTo>
                  <a:lnTo>
                    <a:pt x="934" y="169"/>
                  </a:lnTo>
                  <a:lnTo>
                    <a:pt x="930" y="168"/>
                  </a:lnTo>
                  <a:lnTo>
                    <a:pt x="927" y="167"/>
                  </a:lnTo>
                  <a:lnTo>
                    <a:pt x="927" y="163"/>
                  </a:lnTo>
                  <a:lnTo>
                    <a:pt x="927" y="160"/>
                  </a:lnTo>
                  <a:lnTo>
                    <a:pt x="930" y="158"/>
                  </a:lnTo>
                  <a:lnTo>
                    <a:pt x="934" y="158"/>
                  </a:lnTo>
                  <a:lnTo>
                    <a:pt x="939" y="158"/>
                  </a:lnTo>
                  <a:lnTo>
                    <a:pt x="949" y="159"/>
                  </a:lnTo>
                  <a:lnTo>
                    <a:pt x="954" y="159"/>
                  </a:lnTo>
                  <a:lnTo>
                    <a:pt x="958" y="158"/>
                  </a:lnTo>
                  <a:lnTo>
                    <a:pt x="931" y="153"/>
                  </a:lnTo>
                  <a:lnTo>
                    <a:pt x="904" y="147"/>
                  </a:lnTo>
                  <a:lnTo>
                    <a:pt x="897" y="147"/>
                  </a:lnTo>
                  <a:lnTo>
                    <a:pt x="891" y="148"/>
                  </a:lnTo>
                  <a:lnTo>
                    <a:pt x="877" y="150"/>
                  </a:lnTo>
                  <a:lnTo>
                    <a:pt x="874" y="150"/>
                  </a:lnTo>
                  <a:lnTo>
                    <a:pt x="870" y="149"/>
                  </a:lnTo>
                  <a:lnTo>
                    <a:pt x="868" y="149"/>
                  </a:lnTo>
                  <a:lnTo>
                    <a:pt x="865" y="149"/>
                  </a:lnTo>
                  <a:lnTo>
                    <a:pt x="863" y="150"/>
                  </a:lnTo>
                  <a:lnTo>
                    <a:pt x="861" y="154"/>
                  </a:lnTo>
                  <a:lnTo>
                    <a:pt x="861" y="156"/>
                  </a:lnTo>
                  <a:lnTo>
                    <a:pt x="860" y="158"/>
                  </a:lnTo>
                  <a:lnTo>
                    <a:pt x="855" y="159"/>
                  </a:lnTo>
                  <a:lnTo>
                    <a:pt x="849" y="159"/>
                  </a:lnTo>
                  <a:lnTo>
                    <a:pt x="845" y="160"/>
                  </a:lnTo>
                  <a:lnTo>
                    <a:pt x="844" y="161"/>
                  </a:lnTo>
                  <a:lnTo>
                    <a:pt x="844" y="163"/>
                  </a:lnTo>
                  <a:lnTo>
                    <a:pt x="845" y="166"/>
                  </a:lnTo>
                  <a:lnTo>
                    <a:pt x="847" y="168"/>
                  </a:lnTo>
                  <a:lnTo>
                    <a:pt x="850" y="169"/>
                  </a:lnTo>
                  <a:lnTo>
                    <a:pt x="852" y="171"/>
                  </a:lnTo>
                  <a:lnTo>
                    <a:pt x="852" y="172"/>
                  </a:lnTo>
                  <a:lnTo>
                    <a:pt x="850" y="174"/>
                  </a:lnTo>
                  <a:lnTo>
                    <a:pt x="847" y="175"/>
                  </a:lnTo>
                  <a:lnTo>
                    <a:pt x="846" y="178"/>
                  </a:lnTo>
                  <a:lnTo>
                    <a:pt x="845" y="180"/>
                  </a:lnTo>
                  <a:lnTo>
                    <a:pt x="845" y="185"/>
                  </a:lnTo>
                  <a:lnTo>
                    <a:pt x="847" y="190"/>
                  </a:lnTo>
                  <a:lnTo>
                    <a:pt x="846" y="191"/>
                  </a:lnTo>
                  <a:lnTo>
                    <a:pt x="840" y="190"/>
                  </a:lnTo>
                  <a:lnTo>
                    <a:pt x="833" y="188"/>
                  </a:lnTo>
                  <a:lnTo>
                    <a:pt x="827" y="188"/>
                  </a:lnTo>
                  <a:lnTo>
                    <a:pt x="824" y="188"/>
                  </a:lnTo>
                  <a:lnTo>
                    <a:pt x="822" y="191"/>
                  </a:lnTo>
                  <a:lnTo>
                    <a:pt x="821" y="191"/>
                  </a:lnTo>
                  <a:lnTo>
                    <a:pt x="821" y="193"/>
                  </a:lnTo>
                  <a:lnTo>
                    <a:pt x="822" y="194"/>
                  </a:lnTo>
                  <a:lnTo>
                    <a:pt x="821" y="195"/>
                  </a:lnTo>
                  <a:lnTo>
                    <a:pt x="819" y="195"/>
                  </a:lnTo>
                  <a:lnTo>
                    <a:pt x="817" y="195"/>
                  </a:lnTo>
                  <a:lnTo>
                    <a:pt x="814" y="198"/>
                  </a:lnTo>
                  <a:lnTo>
                    <a:pt x="811" y="199"/>
                  </a:lnTo>
                  <a:lnTo>
                    <a:pt x="808" y="199"/>
                  </a:lnTo>
                  <a:lnTo>
                    <a:pt x="804" y="199"/>
                  </a:lnTo>
                  <a:lnTo>
                    <a:pt x="797" y="197"/>
                  </a:lnTo>
                  <a:lnTo>
                    <a:pt x="790" y="193"/>
                  </a:lnTo>
                  <a:lnTo>
                    <a:pt x="783" y="192"/>
                  </a:lnTo>
                  <a:lnTo>
                    <a:pt x="776" y="191"/>
                  </a:lnTo>
                  <a:lnTo>
                    <a:pt x="769" y="192"/>
                  </a:lnTo>
                  <a:lnTo>
                    <a:pt x="761" y="195"/>
                  </a:lnTo>
                  <a:lnTo>
                    <a:pt x="757" y="197"/>
                  </a:lnTo>
                  <a:lnTo>
                    <a:pt x="753" y="197"/>
                  </a:lnTo>
                  <a:lnTo>
                    <a:pt x="748" y="197"/>
                  </a:lnTo>
                  <a:lnTo>
                    <a:pt x="744" y="194"/>
                  </a:lnTo>
                  <a:lnTo>
                    <a:pt x="741" y="192"/>
                  </a:lnTo>
                  <a:lnTo>
                    <a:pt x="738" y="190"/>
                  </a:lnTo>
                  <a:lnTo>
                    <a:pt x="736" y="186"/>
                  </a:lnTo>
                  <a:lnTo>
                    <a:pt x="736" y="182"/>
                  </a:lnTo>
                  <a:lnTo>
                    <a:pt x="733" y="182"/>
                  </a:lnTo>
                  <a:lnTo>
                    <a:pt x="729" y="187"/>
                  </a:lnTo>
                  <a:lnTo>
                    <a:pt x="725" y="191"/>
                  </a:lnTo>
                  <a:lnTo>
                    <a:pt x="722" y="194"/>
                  </a:lnTo>
                  <a:lnTo>
                    <a:pt x="719" y="195"/>
                  </a:lnTo>
                  <a:lnTo>
                    <a:pt x="715" y="195"/>
                  </a:lnTo>
                  <a:lnTo>
                    <a:pt x="714" y="197"/>
                  </a:lnTo>
                  <a:lnTo>
                    <a:pt x="713" y="198"/>
                  </a:lnTo>
                  <a:lnTo>
                    <a:pt x="711" y="200"/>
                  </a:lnTo>
                  <a:lnTo>
                    <a:pt x="711" y="203"/>
                  </a:lnTo>
                  <a:lnTo>
                    <a:pt x="711" y="209"/>
                  </a:lnTo>
                  <a:lnTo>
                    <a:pt x="710" y="213"/>
                  </a:lnTo>
                  <a:lnTo>
                    <a:pt x="710" y="214"/>
                  </a:lnTo>
                  <a:lnTo>
                    <a:pt x="709" y="214"/>
                  </a:lnTo>
                  <a:lnTo>
                    <a:pt x="704" y="213"/>
                  </a:lnTo>
                  <a:lnTo>
                    <a:pt x="700" y="210"/>
                  </a:lnTo>
                  <a:lnTo>
                    <a:pt x="691" y="201"/>
                  </a:lnTo>
                  <a:lnTo>
                    <a:pt x="687" y="199"/>
                  </a:lnTo>
                  <a:lnTo>
                    <a:pt x="678" y="197"/>
                  </a:lnTo>
                  <a:lnTo>
                    <a:pt x="670" y="193"/>
                  </a:lnTo>
                  <a:lnTo>
                    <a:pt x="666" y="191"/>
                  </a:lnTo>
                  <a:lnTo>
                    <a:pt x="663" y="187"/>
                  </a:lnTo>
                  <a:lnTo>
                    <a:pt x="661" y="184"/>
                  </a:lnTo>
                  <a:lnTo>
                    <a:pt x="659" y="180"/>
                  </a:lnTo>
                  <a:lnTo>
                    <a:pt x="656" y="179"/>
                  </a:lnTo>
                  <a:lnTo>
                    <a:pt x="652" y="176"/>
                  </a:lnTo>
                  <a:lnTo>
                    <a:pt x="648" y="173"/>
                  </a:lnTo>
                  <a:lnTo>
                    <a:pt x="645" y="169"/>
                  </a:lnTo>
                  <a:lnTo>
                    <a:pt x="653" y="169"/>
                  </a:lnTo>
                  <a:lnTo>
                    <a:pt x="656" y="168"/>
                  </a:lnTo>
                  <a:lnTo>
                    <a:pt x="658" y="166"/>
                  </a:lnTo>
                  <a:lnTo>
                    <a:pt x="658" y="159"/>
                  </a:lnTo>
                  <a:lnTo>
                    <a:pt x="656" y="152"/>
                  </a:lnTo>
                  <a:lnTo>
                    <a:pt x="652" y="147"/>
                  </a:lnTo>
                  <a:lnTo>
                    <a:pt x="647" y="142"/>
                  </a:lnTo>
                  <a:lnTo>
                    <a:pt x="639" y="139"/>
                  </a:lnTo>
                  <a:lnTo>
                    <a:pt x="633" y="135"/>
                  </a:lnTo>
                  <a:lnTo>
                    <a:pt x="618" y="131"/>
                  </a:lnTo>
                  <a:lnTo>
                    <a:pt x="615" y="129"/>
                  </a:lnTo>
                  <a:lnTo>
                    <a:pt x="614" y="127"/>
                  </a:lnTo>
                  <a:lnTo>
                    <a:pt x="610" y="127"/>
                  </a:lnTo>
                  <a:lnTo>
                    <a:pt x="609" y="129"/>
                  </a:lnTo>
                  <a:lnTo>
                    <a:pt x="604" y="134"/>
                  </a:lnTo>
                  <a:lnTo>
                    <a:pt x="595" y="133"/>
                  </a:lnTo>
                  <a:lnTo>
                    <a:pt x="586" y="131"/>
                  </a:lnTo>
                  <a:lnTo>
                    <a:pt x="578" y="128"/>
                  </a:lnTo>
                  <a:lnTo>
                    <a:pt x="571" y="124"/>
                  </a:lnTo>
                  <a:lnTo>
                    <a:pt x="568" y="124"/>
                  </a:lnTo>
                  <a:lnTo>
                    <a:pt x="567" y="124"/>
                  </a:lnTo>
                  <a:lnTo>
                    <a:pt x="564" y="126"/>
                  </a:lnTo>
                  <a:lnTo>
                    <a:pt x="563" y="126"/>
                  </a:lnTo>
                  <a:lnTo>
                    <a:pt x="559" y="123"/>
                  </a:lnTo>
                  <a:lnTo>
                    <a:pt x="558" y="122"/>
                  </a:lnTo>
                  <a:lnTo>
                    <a:pt x="557" y="124"/>
                  </a:lnTo>
                  <a:lnTo>
                    <a:pt x="557" y="136"/>
                  </a:lnTo>
                  <a:lnTo>
                    <a:pt x="557" y="144"/>
                  </a:lnTo>
                  <a:lnTo>
                    <a:pt x="557" y="147"/>
                  </a:lnTo>
                  <a:lnTo>
                    <a:pt x="555" y="149"/>
                  </a:lnTo>
                  <a:lnTo>
                    <a:pt x="550" y="154"/>
                  </a:lnTo>
                  <a:lnTo>
                    <a:pt x="548" y="154"/>
                  </a:lnTo>
                  <a:lnTo>
                    <a:pt x="544" y="154"/>
                  </a:lnTo>
                  <a:lnTo>
                    <a:pt x="540" y="153"/>
                  </a:lnTo>
                  <a:lnTo>
                    <a:pt x="536" y="154"/>
                  </a:lnTo>
                  <a:lnTo>
                    <a:pt x="534" y="154"/>
                  </a:lnTo>
                  <a:lnTo>
                    <a:pt x="531" y="153"/>
                  </a:lnTo>
                  <a:lnTo>
                    <a:pt x="530" y="152"/>
                  </a:lnTo>
                  <a:lnTo>
                    <a:pt x="527" y="152"/>
                  </a:lnTo>
                  <a:lnTo>
                    <a:pt x="526" y="152"/>
                  </a:lnTo>
                  <a:lnTo>
                    <a:pt x="524" y="152"/>
                  </a:lnTo>
                  <a:lnTo>
                    <a:pt x="521" y="154"/>
                  </a:lnTo>
                  <a:lnTo>
                    <a:pt x="518" y="154"/>
                  </a:lnTo>
                  <a:lnTo>
                    <a:pt x="513" y="154"/>
                  </a:lnTo>
                  <a:lnTo>
                    <a:pt x="508" y="152"/>
                  </a:lnTo>
                  <a:lnTo>
                    <a:pt x="504" y="149"/>
                  </a:lnTo>
                  <a:lnTo>
                    <a:pt x="502" y="149"/>
                  </a:lnTo>
                  <a:lnTo>
                    <a:pt x="499" y="149"/>
                  </a:lnTo>
                  <a:lnTo>
                    <a:pt x="497" y="148"/>
                  </a:lnTo>
                  <a:lnTo>
                    <a:pt x="496" y="147"/>
                  </a:lnTo>
                  <a:lnTo>
                    <a:pt x="494" y="142"/>
                  </a:lnTo>
                  <a:lnTo>
                    <a:pt x="492" y="141"/>
                  </a:lnTo>
                  <a:lnTo>
                    <a:pt x="484" y="141"/>
                  </a:lnTo>
                  <a:lnTo>
                    <a:pt x="477" y="139"/>
                  </a:lnTo>
                  <a:lnTo>
                    <a:pt x="474" y="139"/>
                  </a:lnTo>
                  <a:lnTo>
                    <a:pt x="473" y="140"/>
                  </a:lnTo>
                  <a:lnTo>
                    <a:pt x="469" y="141"/>
                  </a:lnTo>
                  <a:lnTo>
                    <a:pt x="468" y="141"/>
                  </a:lnTo>
                  <a:lnTo>
                    <a:pt x="465" y="141"/>
                  </a:lnTo>
                  <a:lnTo>
                    <a:pt x="463" y="139"/>
                  </a:lnTo>
                  <a:lnTo>
                    <a:pt x="459" y="137"/>
                  </a:lnTo>
                  <a:lnTo>
                    <a:pt x="451" y="136"/>
                  </a:lnTo>
                  <a:lnTo>
                    <a:pt x="444" y="135"/>
                  </a:lnTo>
                  <a:lnTo>
                    <a:pt x="436" y="134"/>
                  </a:lnTo>
                  <a:lnTo>
                    <a:pt x="427" y="134"/>
                  </a:lnTo>
                  <a:lnTo>
                    <a:pt x="421" y="135"/>
                  </a:lnTo>
                  <a:lnTo>
                    <a:pt x="418" y="135"/>
                  </a:lnTo>
                  <a:lnTo>
                    <a:pt x="416" y="135"/>
                  </a:lnTo>
                  <a:lnTo>
                    <a:pt x="412" y="134"/>
                  </a:lnTo>
                  <a:lnTo>
                    <a:pt x="408" y="131"/>
                  </a:lnTo>
                  <a:lnTo>
                    <a:pt x="402" y="127"/>
                  </a:lnTo>
                  <a:lnTo>
                    <a:pt x="399" y="124"/>
                  </a:lnTo>
                  <a:lnTo>
                    <a:pt x="397" y="124"/>
                  </a:lnTo>
                  <a:lnTo>
                    <a:pt x="394" y="124"/>
                  </a:lnTo>
                  <a:lnTo>
                    <a:pt x="393" y="127"/>
                  </a:lnTo>
                  <a:lnTo>
                    <a:pt x="393" y="130"/>
                  </a:lnTo>
                  <a:lnTo>
                    <a:pt x="394" y="133"/>
                  </a:lnTo>
                  <a:lnTo>
                    <a:pt x="395" y="135"/>
                  </a:lnTo>
                  <a:lnTo>
                    <a:pt x="397" y="137"/>
                  </a:lnTo>
                  <a:lnTo>
                    <a:pt x="398" y="141"/>
                  </a:lnTo>
                  <a:lnTo>
                    <a:pt x="397" y="144"/>
                  </a:lnTo>
                  <a:lnTo>
                    <a:pt x="395" y="147"/>
                  </a:lnTo>
                  <a:lnTo>
                    <a:pt x="394" y="148"/>
                  </a:lnTo>
                  <a:lnTo>
                    <a:pt x="391" y="147"/>
                  </a:lnTo>
                  <a:lnTo>
                    <a:pt x="390" y="144"/>
                  </a:lnTo>
                  <a:lnTo>
                    <a:pt x="386" y="139"/>
                  </a:lnTo>
                  <a:lnTo>
                    <a:pt x="380" y="130"/>
                  </a:lnTo>
                  <a:lnTo>
                    <a:pt x="374" y="122"/>
                  </a:lnTo>
                  <a:lnTo>
                    <a:pt x="369" y="118"/>
                  </a:lnTo>
                  <a:lnTo>
                    <a:pt x="365" y="116"/>
                  </a:lnTo>
                  <a:lnTo>
                    <a:pt x="360" y="114"/>
                  </a:lnTo>
                  <a:lnTo>
                    <a:pt x="353" y="114"/>
                  </a:lnTo>
                  <a:lnTo>
                    <a:pt x="351" y="114"/>
                  </a:lnTo>
                  <a:lnTo>
                    <a:pt x="347" y="115"/>
                  </a:lnTo>
                  <a:lnTo>
                    <a:pt x="341" y="118"/>
                  </a:lnTo>
                  <a:lnTo>
                    <a:pt x="338" y="120"/>
                  </a:lnTo>
                  <a:lnTo>
                    <a:pt x="337" y="122"/>
                  </a:lnTo>
                  <a:lnTo>
                    <a:pt x="338" y="129"/>
                  </a:lnTo>
                  <a:lnTo>
                    <a:pt x="333" y="129"/>
                  </a:lnTo>
                  <a:lnTo>
                    <a:pt x="329" y="131"/>
                  </a:lnTo>
                  <a:lnTo>
                    <a:pt x="319" y="135"/>
                  </a:lnTo>
                  <a:lnTo>
                    <a:pt x="311" y="137"/>
                  </a:lnTo>
                  <a:lnTo>
                    <a:pt x="308" y="139"/>
                  </a:lnTo>
                  <a:lnTo>
                    <a:pt x="304" y="137"/>
                  </a:lnTo>
                  <a:lnTo>
                    <a:pt x="299" y="136"/>
                  </a:lnTo>
                  <a:lnTo>
                    <a:pt x="294" y="136"/>
                  </a:lnTo>
                  <a:lnTo>
                    <a:pt x="289" y="137"/>
                  </a:lnTo>
                  <a:lnTo>
                    <a:pt x="284" y="139"/>
                  </a:lnTo>
                  <a:lnTo>
                    <a:pt x="275" y="144"/>
                  </a:lnTo>
                  <a:lnTo>
                    <a:pt x="266" y="150"/>
                  </a:lnTo>
                  <a:lnTo>
                    <a:pt x="263" y="152"/>
                  </a:lnTo>
                  <a:lnTo>
                    <a:pt x="262" y="152"/>
                  </a:lnTo>
                  <a:lnTo>
                    <a:pt x="257" y="152"/>
                  </a:lnTo>
                  <a:lnTo>
                    <a:pt x="252" y="149"/>
                  </a:lnTo>
                  <a:lnTo>
                    <a:pt x="247" y="149"/>
                  </a:lnTo>
                  <a:lnTo>
                    <a:pt x="245" y="149"/>
                  </a:lnTo>
                  <a:lnTo>
                    <a:pt x="244" y="149"/>
                  </a:lnTo>
                  <a:lnTo>
                    <a:pt x="243" y="148"/>
                  </a:lnTo>
                  <a:lnTo>
                    <a:pt x="243" y="147"/>
                  </a:lnTo>
                  <a:lnTo>
                    <a:pt x="249" y="144"/>
                  </a:lnTo>
                  <a:lnTo>
                    <a:pt x="256" y="142"/>
                  </a:lnTo>
                  <a:lnTo>
                    <a:pt x="262" y="140"/>
                  </a:lnTo>
                  <a:lnTo>
                    <a:pt x="267" y="136"/>
                  </a:lnTo>
                  <a:lnTo>
                    <a:pt x="273" y="134"/>
                  </a:lnTo>
                  <a:lnTo>
                    <a:pt x="280" y="131"/>
                  </a:lnTo>
                  <a:lnTo>
                    <a:pt x="285" y="130"/>
                  </a:lnTo>
                  <a:lnTo>
                    <a:pt x="289" y="128"/>
                  </a:lnTo>
                  <a:lnTo>
                    <a:pt x="292" y="124"/>
                  </a:lnTo>
                  <a:lnTo>
                    <a:pt x="296" y="120"/>
                  </a:lnTo>
                  <a:lnTo>
                    <a:pt x="301" y="117"/>
                  </a:lnTo>
                  <a:lnTo>
                    <a:pt x="308" y="116"/>
                  </a:lnTo>
                  <a:lnTo>
                    <a:pt x="310" y="116"/>
                  </a:lnTo>
                  <a:lnTo>
                    <a:pt x="314" y="115"/>
                  </a:lnTo>
                  <a:lnTo>
                    <a:pt x="319" y="111"/>
                  </a:lnTo>
                  <a:lnTo>
                    <a:pt x="323" y="108"/>
                  </a:lnTo>
                  <a:lnTo>
                    <a:pt x="328" y="104"/>
                  </a:lnTo>
                  <a:lnTo>
                    <a:pt x="332" y="102"/>
                  </a:lnTo>
                  <a:lnTo>
                    <a:pt x="336" y="101"/>
                  </a:lnTo>
                  <a:lnTo>
                    <a:pt x="338" y="101"/>
                  </a:lnTo>
                  <a:lnTo>
                    <a:pt x="346" y="99"/>
                  </a:lnTo>
                  <a:lnTo>
                    <a:pt x="350" y="97"/>
                  </a:lnTo>
                  <a:lnTo>
                    <a:pt x="353" y="95"/>
                  </a:lnTo>
                  <a:lnTo>
                    <a:pt x="362" y="89"/>
                  </a:lnTo>
                  <a:lnTo>
                    <a:pt x="372" y="84"/>
                  </a:lnTo>
                  <a:lnTo>
                    <a:pt x="381" y="80"/>
                  </a:lnTo>
                  <a:lnTo>
                    <a:pt x="383" y="79"/>
                  </a:lnTo>
                  <a:lnTo>
                    <a:pt x="384" y="78"/>
                  </a:lnTo>
                  <a:lnTo>
                    <a:pt x="385" y="75"/>
                  </a:lnTo>
                  <a:lnTo>
                    <a:pt x="388" y="70"/>
                  </a:lnTo>
                  <a:lnTo>
                    <a:pt x="388" y="69"/>
                  </a:lnTo>
                  <a:lnTo>
                    <a:pt x="386" y="66"/>
                  </a:lnTo>
                  <a:lnTo>
                    <a:pt x="386" y="61"/>
                  </a:lnTo>
                  <a:lnTo>
                    <a:pt x="389" y="56"/>
                  </a:lnTo>
                  <a:lnTo>
                    <a:pt x="391" y="50"/>
                  </a:lnTo>
                  <a:lnTo>
                    <a:pt x="390" y="47"/>
                  </a:lnTo>
                  <a:lnTo>
                    <a:pt x="388" y="44"/>
                  </a:lnTo>
                  <a:lnTo>
                    <a:pt x="385" y="41"/>
                  </a:lnTo>
                  <a:lnTo>
                    <a:pt x="383" y="41"/>
                  </a:lnTo>
                  <a:lnTo>
                    <a:pt x="378" y="41"/>
                  </a:lnTo>
                  <a:lnTo>
                    <a:pt x="374" y="39"/>
                  </a:lnTo>
                  <a:lnTo>
                    <a:pt x="371" y="35"/>
                  </a:lnTo>
                  <a:lnTo>
                    <a:pt x="366" y="34"/>
                  </a:lnTo>
                  <a:lnTo>
                    <a:pt x="356" y="33"/>
                  </a:lnTo>
                  <a:lnTo>
                    <a:pt x="342" y="33"/>
                  </a:lnTo>
                  <a:lnTo>
                    <a:pt x="337" y="34"/>
                  </a:lnTo>
                  <a:lnTo>
                    <a:pt x="334" y="35"/>
                  </a:lnTo>
                  <a:lnTo>
                    <a:pt x="329" y="37"/>
                  </a:lnTo>
                  <a:lnTo>
                    <a:pt x="322" y="34"/>
                  </a:lnTo>
                  <a:lnTo>
                    <a:pt x="317" y="33"/>
                  </a:lnTo>
                  <a:lnTo>
                    <a:pt x="311" y="33"/>
                  </a:lnTo>
                  <a:lnTo>
                    <a:pt x="301" y="34"/>
                  </a:lnTo>
                  <a:lnTo>
                    <a:pt x="290" y="34"/>
                  </a:lnTo>
                  <a:lnTo>
                    <a:pt x="285" y="35"/>
                  </a:lnTo>
                  <a:lnTo>
                    <a:pt x="280" y="37"/>
                  </a:lnTo>
                  <a:lnTo>
                    <a:pt x="276" y="39"/>
                  </a:lnTo>
                  <a:lnTo>
                    <a:pt x="273" y="39"/>
                  </a:lnTo>
                  <a:lnTo>
                    <a:pt x="272" y="39"/>
                  </a:lnTo>
                  <a:lnTo>
                    <a:pt x="270" y="35"/>
                  </a:lnTo>
                  <a:lnTo>
                    <a:pt x="268" y="34"/>
                  </a:lnTo>
                  <a:lnTo>
                    <a:pt x="270" y="32"/>
                  </a:lnTo>
                  <a:lnTo>
                    <a:pt x="273" y="29"/>
                  </a:lnTo>
                  <a:lnTo>
                    <a:pt x="277" y="27"/>
                  </a:lnTo>
                  <a:lnTo>
                    <a:pt x="281" y="25"/>
                  </a:lnTo>
                  <a:lnTo>
                    <a:pt x="282" y="24"/>
                  </a:lnTo>
                  <a:lnTo>
                    <a:pt x="282" y="21"/>
                  </a:lnTo>
                  <a:lnTo>
                    <a:pt x="281" y="14"/>
                  </a:lnTo>
                  <a:lnTo>
                    <a:pt x="280" y="9"/>
                  </a:lnTo>
                  <a:lnTo>
                    <a:pt x="276" y="7"/>
                  </a:lnTo>
                  <a:lnTo>
                    <a:pt x="271" y="6"/>
                  </a:lnTo>
                  <a:lnTo>
                    <a:pt x="262" y="5"/>
                  </a:lnTo>
                  <a:lnTo>
                    <a:pt x="256" y="5"/>
                  </a:lnTo>
                  <a:lnTo>
                    <a:pt x="242" y="2"/>
                  </a:lnTo>
                  <a:lnTo>
                    <a:pt x="237" y="1"/>
                  </a:lnTo>
                  <a:lnTo>
                    <a:pt x="234" y="0"/>
                  </a:lnTo>
                  <a:lnTo>
                    <a:pt x="231" y="0"/>
                  </a:lnTo>
                  <a:lnTo>
                    <a:pt x="224" y="2"/>
                  </a:lnTo>
                  <a:lnTo>
                    <a:pt x="218" y="5"/>
                  </a:lnTo>
                  <a:lnTo>
                    <a:pt x="206" y="11"/>
                  </a:lnTo>
                  <a:lnTo>
                    <a:pt x="200" y="13"/>
                  </a:lnTo>
                  <a:lnTo>
                    <a:pt x="196" y="15"/>
                  </a:lnTo>
                  <a:lnTo>
                    <a:pt x="193" y="18"/>
                  </a:lnTo>
                  <a:lnTo>
                    <a:pt x="192" y="21"/>
                  </a:lnTo>
                  <a:lnTo>
                    <a:pt x="192" y="24"/>
                  </a:lnTo>
                  <a:lnTo>
                    <a:pt x="191" y="25"/>
                  </a:lnTo>
                  <a:lnTo>
                    <a:pt x="186" y="26"/>
                  </a:lnTo>
                  <a:lnTo>
                    <a:pt x="183" y="27"/>
                  </a:lnTo>
                  <a:lnTo>
                    <a:pt x="181" y="31"/>
                  </a:lnTo>
                  <a:lnTo>
                    <a:pt x="179" y="35"/>
                  </a:lnTo>
                  <a:lnTo>
                    <a:pt x="178" y="35"/>
                  </a:lnTo>
                  <a:lnTo>
                    <a:pt x="176" y="35"/>
                  </a:lnTo>
                  <a:lnTo>
                    <a:pt x="174" y="35"/>
                  </a:lnTo>
                  <a:lnTo>
                    <a:pt x="174" y="34"/>
                  </a:lnTo>
                  <a:lnTo>
                    <a:pt x="171" y="34"/>
                  </a:lnTo>
                  <a:lnTo>
                    <a:pt x="167" y="33"/>
                  </a:lnTo>
                  <a:lnTo>
                    <a:pt x="159" y="29"/>
                  </a:lnTo>
                  <a:lnTo>
                    <a:pt x="158" y="28"/>
                  </a:lnTo>
                  <a:lnTo>
                    <a:pt x="157" y="29"/>
                  </a:lnTo>
                  <a:lnTo>
                    <a:pt x="155" y="32"/>
                  </a:lnTo>
                  <a:lnTo>
                    <a:pt x="155" y="33"/>
                  </a:lnTo>
                  <a:lnTo>
                    <a:pt x="158" y="38"/>
                  </a:lnTo>
                  <a:lnTo>
                    <a:pt x="160" y="43"/>
                  </a:lnTo>
                  <a:lnTo>
                    <a:pt x="165" y="45"/>
                  </a:lnTo>
                  <a:lnTo>
                    <a:pt x="171" y="47"/>
                  </a:lnTo>
                  <a:lnTo>
                    <a:pt x="172" y="48"/>
                  </a:lnTo>
                  <a:lnTo>
                    <a:pt x="173" y="50"/>
                  </a:lnTo>
                  <a:lnTo>
                    <a:pt x="173" y="52"/>
                  </a:lnTo>
                  <a:lnTo>
                    <a:pt x="172" y="53"/>
                  </a:lnTo>
                  <a:lnTo>
                    <a:pt x="171" y="54"/>
                  </a:lnTo>
                  <a:lnTo>
                    <a:pt x="168" y="53"/>
                  </a:lnTo>
                  <a:lnTo>
                    <a:pt x="164" y="52"/>
                  </a:lnTo>
                  <a:lnTo>
                    <a:pt x="158" y="51"/>
                  </a:lnTo>
                  <a:lnTo>
                    <a:pt x="151" y="52"/>
                  </a:lnTo>
                  <a:lnTo>
                    <a:pt x="146" y="53"/>
                  </a:lnTo>
                  <a:lnTo>
                    <a:pt x="143" y="57"/>
                  </a:lnTo>
                  <a:lnTo>
                    <a:pt x="140" y="58"/>
                  </a:lnTo>
                  <a:lnTo>
                    <a:pt x="138" y="57"/>
                  </a:lnTo>
                  <a:lnTo>
                    <a:pt x="131" y="52"/>
                  </a:lnTo>
                  <a:lnTo>
                    <a:pt x="125" y="50"/>
                  </a:lnTo>
                  <a:lnTo>
                    <a:pt x="117" y="48"/>
                  </a:lnTo>
                  <a:lnTo>
                    <a:pt x="110" y="48"/>
                  </a:lnTo>
                  <a:lnTo>
                    <a:pt x="108" y="48"/>
                  </a:lnTo>
                  <a:lnTo>
                    <a:pt x="106" y="47"/>
                  </a:lnTo>
                  <a:lnTo>
                    <a:pt x="102" y="45"/>
                  </a:lnTo>
                  <a:lnTo>
                    <a:pt x="101" y="45"/>
                  </a:lnTo>
                  <a:lnTo>
                    <a:pt x="99" y="46"/>
                  </a:lnTo>
                  <a:lnTo>
                    <a:pt x="97" y="46"/>
                  </a:lnTo>
                  <a:lnTo>
                    <a:pt x="96" y="46"/>
                  </a:lnTo>
                  <a:lnTo>
                    <a:pt x="93" y="45"/>
                  </a:lnTo>
                  <a:lnTo>
                    <a:pt x="87" y="47"/>
                  </a:lnTo>
                  <a:lnTo>
                    <a:pt x="80" y="50"/>
                  </a:lnTo>
                  <a:lnTo>
                    <a:pt x="73" y="50"/>
                  </a:lnTo>
                  <a:lnTo>
                    <a:pt x="66" y="48"/>
                  </a:lnTo>
                  <a:lnTo>
                    <a:pt x="61" y="47"/>
                  </a:lnTo>
                  <a:lnTo>
                    <a:pt x="55" y="47"/>
                  </a:lnTo>
                  <a:lnTo>
                    <a:pt x="42" y="48"/>
                  </a:lnTo>
                  <a:lnTo>
                    <a:pt x="36" y="50"/>
                  </a:lnTo>
                  <a:lnTo>
                    <a:pt x="33" y="51"/>
                  </a:lnTo>
                  <a:lnTo>
                    <a:pt x="32" y="52"/>
                  </a:lnTo>
                  <a:lnTo>
                    <a:pt x="30" y="57"/>
                  </a:lnTo>
                  <a:lnTo>
                    <a:pt x="27" y="59"/>
                  </a:lnTo>
                  <a:lnTo>
                    <a:pt x="23" y="61"/>
                  </a:lnTo>
                  <a:lnTo>
                    <a:pt x="18" y="63"/>
                  </a:lnTo>
                  <a:lnTo>
                    <a:pt x="9" y="64"/>
                  </a:lnTo>
                  <a:lnTo>
                    <a:pt x="0" y="65"/>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1" name="Freeform 1170"/>
            <p:cNvSpPr>
              <a:spLocks/>
            </p:cNvSpPr>
            <p:nvPr/>
          </p:nvSpPr>
          <p:spPr bwMode="auto">
            <a:xfrm>
              <a:off x="5213351" y="2222504"/>
              <a:ext cx="53975" cy="87313"/>
            </a:xfrm>
            <a:custGeom>
              <a:avLst/>
              <a:gdLst>
                <a:gd name="T0" fmla="*/ 2147483647 w 36"/>
                <a:gd name="T1" fmla="*/ 2147483647 h 55"/>
                <a:gd name="T2" fmla="*/ 2147483647 w 36"/>
                <a:gd name="T3" fmla="*/ 2147483647 h 55"/>
                <a:gd name="T4" fmla="*/ 2147483647 w 36"/>
                <a:gd name="T5" fmla="*/ 2147483647 h 55"/>
                <a:gd name="T6" fmla="*/ 2147483647 w 36"/>
                <a:gd name="T7" fmla="*/ 2147483647 h 55"/>
                <a:gd name="T8" fmla="*/ 2147483647 w 36"/>
                <a:gd name="T9" fmla="*/ 2147483647 h 55"/>
                <a:gd name="T10" fmla="*/ 2147483647 w 36"/>
                <a:gd name="T11" fmla="*/ 2147483647 h 55"/>
                <a:gd name="T12" fmla="*/ 2147483647 w 36"/>
                <a:gd name="T13" fmla="*/ 2147483647 h 55"/>
                <a:gd name="T14" fmla="*/ 2147483647 w 36"/>
                <a:gd name="T15" fmla="*/ 2147483647 h 55"/>
                <a:gd name="T16" fmla="*/ 2147483647 w 36"/>
                <a:gd name="T17" fmla="*/ 2147483647 h 55"/>
                <a:gd name="T18" fmla="*/ 2147483647 w 36"/>
                <a:gd name="T19" fmla="*/ 2147483647 h 55"/>
                <a:gd name="T20" fmla="*/ 2147483647 w 36"/>
                <a:gd name="T21" fmla="*/ 2147483647 h 55"/>
                <a:gd name="T22" fmla="*/ 2147483647 w 36"/>
                <a:gd name="T23" fmla="*/ 2147483647 h 55"/>
                <a:gd name="T24" fmla="*/ 2147483647 w 36"/>
                <a:gd name="T25" fmla="*/ 2147483647 h 55"/>
                <a:gd name="T26" fmla="*/ 2147483647 w 36"/>
                <a:gd name="T27" fmla="*/ 0 h 55"/>
                <a:gd name="T28" fmla="*/ 2147483647 w 36"/>
                <a:gd name="T29" fmla="*/ 0 h 55"/>
                <a:gd name="T30" fmla="*/ 2147483647 w 36"/>
                <a:gd name="T31" fmla="*/ 0 h 55"/>
                <a:gd name="T32" fmla="*/ 2147483647 w 36"/>
                <a:gd name="T33" fmla="*/ 2147483647 h 55"/>
                <a:gd name="T34" fmla="*/ 2147483647 w 36"/>
                <a:gd name="T35" fmla="*/ 2147483647 h 55"/>
                <a:gd name="T36" fmla="*/ 2147483647 w 36"/>
                <a:gd name="T37" fmla="*/ 2147483647 h 55"/>
                <a:gd name="T38" fmla="*/ 2147483647 w 36"/>
                <a:gd name="T39" fmla="*/ 2147483647 h 55"/>
                <a:gd name="T40" fmla="*/ 2147483647 w 36"/>
                <a:gd name="T41" fmla="*/ 2147483647 h 55"/>
                <a:gd name="T42" fmla="*/ 2147483647 w 36"/>
                <a:gd name="T43" fmla="*/ 2147483647 h 55"/>
                <a:gd name="T44" fmla="*/ 2147483647 w 36"/>
                <a:gd name="T45" fmla="*/ 2147483647 h 55"/>
                <a:gd name="T46" fmla="*/ 2147483647 w 36"/>
                <a:gd name="T47" fmla="*/ 2147483647 h 55"/>
                <a:gd name="T48" fmla="*/ 2147483647 w 36"/>
                <a:gd name="T49" fmla="*/ 2147483647 h 55"/>
                <a:gd name="T50" fmla="*/ 2147483647 w 36"/>
                <a:gd name="T51" fmla="*/ 2147483647 h 55"/>
                <a:gd name="T52" fmla="*/ 2147483647 w 36"/>
                <a:gd name="T53" fmla="*/ 2147483647 h 55"/>
                <a:gd name="T54" fmla="*/ 2147483647 w 36"/>
                <a:gd name="T55" fmla="*/ 2147483647 h 55"/>
                <a:gd name="T56" fmla="*/ 2147483647 w 36"/>
                <a:gd name="T57" fmla="*/ 2147483647 h 55"/>
                <a:gd name="T58" fmla="*/ 2147483647 w 36"/>
                <a:gd name="T59" fmla="*/ 2147483647 h 55"/>
                <a:gd name="T60" fmla="*/ 2147483647 w 36"/>
                <a:gd name="T61" fmla="*/ 2147483647 h 55"/>
                <a:gd name="T62" fmla="*/ 2147483647 w 36"/>
                <a:gd name="T63" fmla="*/ 2147483647 h 55"/>
                <a:gd name="T64" fmla="*/ 2147483647 w 36"/>
                <a:gd name="T65" fmla="*/ 2147483647 h 55"/>
                <a:gd name="T66" fmla="*/ 2147483647 w 36"/>
                <a:gd name="T67" fmla="*/ 2147483647 h 55"/>
                <a:gd name="T68" fmla="*/ 2147483647 w 36"/>
                <a:gd name="T69" fmla="*/ 2147483647 h 55"/>
                <a:gd name="T70" fmla="*/ 0 w 36"/>
                <a:gd name="T71" fmla="*/ 2147483647 h 55"/>
                <a:gd name="T72" fmla="*/ 2147483647 w 36"/>
                <a:gd name="T73" fmla="*/ 2147483647 h 55"/>
                <a:gd name="T74" fmla="*/ 2147483647 w 36"/>
                <a:gd name="T75" fmla="*/ 2147483647 h 55"/>
                <a:gd name="T76" fmla="*/ 2147483647 w 36"/>
                <a:gd name="T77" fmla="*/ 2147483647 h 55"/>
                <a:gd name="T78" fmla="*/ 2147483647 w 36"/>
                <a:gd name="T79" fmla="*/ 2147483647 h 55"/>
                <a:gd name="T80" fmla="*/ 2147483647 w 36"/>
                <a:gd name="T81" fmla="*/ 2147483647 h 55"/>
                <a:gd name="T82" fmla="*/ 2147483647 w 36"/>
                <a:gd name="T83" fmla="*/ 2147483647 h 55"/>
                <a:gd name="T84" fmla="*/ 2147483647 w 36"/>
                <a:gd name="T85" fmla="*/ 2147483647 h 55"/>
                <a:gd name="T86" fmla="*/ 2147483647 w 36"/>
                <a:gd name="T87" fmla="*/ 2147483647 h 55"/>
                <a:gd name="T88" fmla="*/ 2147483647 w 36"/>
                <a:gd name="T89" fmla="*/ 2147483647 h 55"/>
                <a:gd name="T90" fmla="*/ 2147483647 w 36"/>
                <a:gd name="T91" fmla="*/ 2147483647 h 55"/>
                <a:gd name="T92" fmla="*/ 2147483647 w 36"/>
                <a:gd name="T93" fmla="*/ 2147483647 h 55"/>
                <a:gd name="T94" fmla="*/ 2147483647 w 36"/>
                <a:gd name="T95" fmla="*/ 2147483647 h 55"/>
                <a:gd name="T96" fmla="*/ 2147483647 w 36"/>
                <a:gd name="T97" fmla="*/ 2147483647 h 55"/>
                <a:gd name="T98" fmla="*/ 2147483647 w 36"/>
                <a:gd name="T99" fmla="*/ 2147483647 h 55"/>
                <a:gd name="T100" fmla="*/ 2147483647 w 36"/>
                <a:gd name="T101" fmla="*/ 2147483647 h 55"/>
                <a:gd name="T102" fmla="*/ 2147483647 w 36"/>
                <a:gd name="T103" fmla="*/ 2147483647 h 55"/>
                <a:gd name="T104" fmla="*/ 2147483647 w 36"/>
                <a:gd name="T105" fmla="*/ 2147483647 h 55"/>
                <a:gd name="T106" fmla="*/ 2147483647 w 36"/>
                <a:gd name="T107" fmla="*/ 2147483647 h 55"/>
                <a:gd name="T108" fmla="*/ 2147483647 w 36"/>
                <a:gd name="T109" fmla="*/ 2147483647 h 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6"/>
                <a:gd name="T166" fmla="*/ 0 h 55"/>
                <a:gd name="T167" fmla="*/ 36 w 36"/>
                <a:gd name="T168" fmla="*/ 55 h 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6" h="55">
                  <a:moveTo>
                    <a:pt x="34" y="45"/>
                  </a:moveTo>
                  <a:lnTo>
                    <a:pt x="34" y="45"/>
                  </a:lnTo>
                  <a:lnTo>
                    <a:pt x="31" y="36"/>
                  </a:lnTo>
                  <a:lnTo>
                    <a:pt x="27" y="26"/>
                  </a:lnTo>
                  <a:lnTo>
                    <a:pt x="24" y="17"/>
                  </a:lnTo>
                  <a:lnTo>
                    <a:pt x="23" y="6"/>
                  </a:lnTo>
                  <a:lnTo>
                    <a:pt x="22" y="6"/>
                  </a:lnTo>
                  <a:lnTo>
                    <a:pt x="20" y="6"/>
                  </a:lnTo>
                  <a:lnTo>
                    <a:pt x="19" y="6"/>
                  </a:lnTo>
                  <a:lnTo>
                    <a:pt x="17" y="6"/>
                  </a:lnTo>
                  <a:lnTo>
                    <a:pt x="12" y="1"/>
                  </a:lnTo>
                  <a:lnTo>
                    <a:pt x="8" y="0"/>
                  </a:lnTo>
                  <a:lnTo>
                    <a:pt x="5" y="0"/>
                  </a:lnTo>
                  <a:lnTo>
                    <a:pt x="3" y="3"/>
                  </a:lnTo>
                  <a:lnTo>
                    <a:pt x="3" y="5"/>
                  </a:lnTo>
                  <a:lnTo>
                    <a:pt x="4" y="6"/>
                  </a:lnTo>
                  <a:lnTo>
                    <a:pt x="6" y="7"/>
                  </a:lnTo>
                  <a:lnTo>
                    <a:pt x="9" y="10"/>
                  </a:lnTo>
                  <a:lnTo>
                    <a:pt x="13" y="13"/>
                  </a:lnTo>
                  <a:lnTo>
                    <a:pt x="14" y="14"/>
                  </a:lnTo>
                  <a:lnTo>
                    <a:pt x="15" y="16"/>
                  </a:lnTo>
                  <a:lnTo>
                    <a:pt x="14" y="20"/>
                  </a:lnTo>
                  <a:lnTo>
                    <a:pt x="13" y="21"/>
                  </a:lnTo>
                  <a:lnTo>
                    <a:pt x="12" y="21"/>
                  </a:lnTo>
                  <a:lnTo>
                    <a:pt x="6" y="19"/>
                  </a:lnTo>
                  <a:lnTo>
                    <a:pt x="4" y="18"/>
                  </a:lnTo>
                  <a:lnTo>
                    <a:pt x="1" y="20"/>
                  </a:lnTo>
                  <a:lnTo>
                    <a:pt x="0" y="24"/>
                  </a:lnTo>
                  <a:lnTo>
                    <a:pt x="1" y="27"/>
                  </a:lnTo>
                  <a:lnTo>
                    <a:pt x="4" y="35"/>
                  </a:lnTo>
                  <a:lnTo>
                    <a:pt x="5" y="36"/>
                  </a:lnTo>
                  <a:lnTo>
                    <a:pt x="6" y="36"/>
                  </a:lnTo>
                  <a:lnTo>
                    <a:pt x="10" y="36"/>
                  </a:lnTo>
                  <a:lnTo>
                    <a:pt x="14" y="37"/>
                  </a:lnTo>
                  <a:lnTo>
                    <a:pt x="15" y="38"/>
                  </a:lnTo>
                  <a:lnTo>
                    <a:pt x="19" y="44"/>
                  </a:lnTo>
                  <a:lnTo>
                    <a:pt x="22" y="51"/>
                  </a:lnTo>
                  <a:lnTo>
                    <a:pt x="24" y="53"/>
                  </a:lnTo>
                  <a:lnTo>
                    <a:pt x="27" y="55"/>
                  </a:lnTo>
                  <a:lnTo>
                    <a:pt x="29" y="55"/>
                  </a:lnTo>
                  <a:lnTo>
                    <a:pt x="33" y="52"/>
                  </a:lnTo>
                  <a:lnTo>
                    <a:pt x="36" y="49"/>
                  </a:lnTo>
                  <a:lnTo>
                    <a:pt x="36" y="48"/>
                  </a:lnTo>
                  <a:lnTo>
                    <a:pt x="34" y="4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2" name="Freeform 1171"/>
            <p:cNvSpPr>
              <a:spLocks/>
            </p:cNvSpPr>
            <p:nvPr/>
          </p:nvSpPr>
          <p:spPr bwMode="auto">
            <a:xfrm>
              <a:off x="5000626" y="3040063"/>
              <a:ext cx="82550" cy="57150"/>
            </a:xfrm>
            <a:custGeom>
              <a:avLst/>
              <a:gdLst>
                <a:gd name="T0" fmla="*/ 0 w 56"/>
                <a:gd name="T1" fmla="*/ 2147483647 h 36"/>
                <a:gd name="T2" fmla="*/ 2147483647 w 56"/>
                <a:gd name="T3" fmla="*/ 2147483647 h 36"/>
                <a:gd name="T4" fmla="*/ 2147483647 w 56"/>
                <a:gd name="T5" fmla="*/ 2147483647 h 36"/>
                <a:gd name="T6" fmla="*/ 2147483647 w 56"/>
                <a:gd name="T7" fmla="*/ 2147483647 h 36"/>
                <a:gd name="T8" fmla="*/ 2147483647 w 56"/>
                <a:gd name="T9" fmla="*/ 2147483647 h 36"/>
                <a:gd name="T10" fmla="*/ 2147483647 w 56"/>
                <a:gd name="T11" fmla="*/ 2147483647 h 36"/>
                <a:gd name="T12" fmla="*/ 2147483647 w 56"/>
                <a:gd name="T13" fmla="*/ 2147483647 h 36"/>
                <a:gd name="T14" fmla="*/ 2147483647 w 56"/>
                <a:gd name="T15" fmla="*/ 2147483647 h 36"/>
                <a:gd name="T16" fmla="*/ 2147483647 w 56"/>
                <a:gd name="T17" fmla="*/ 2147483647 h 36"/>
                <a:gd name="T18" fmla="*/ 2147483647 w 56"/>
                <a:gd name="T19" fmla="*/ 2147483647 h 36"/>
                <a:gd name="T20" fmla="*/ 2147483647 w 56"/>
                <a:gd name="T21" fmla="*/ 2147483647 h 36"/>
                <a:gd name="T22" fmla="*/ 2147483647 w 56"/>
                <a:gd name="T23" fmla="*/ 2147483647 h 36"/>
                <a:gd name="T24" fmla="*/ 2147483647 w 56"/>
                <a:gd name="T25" fmla="*/ 2147483647 h 36"/>
                <a:gd name="T26" fmla="*/ 2147483647 w 56"/>
                <a:gd name="T27" fmla="*/ 2147483647 h 36"/>
                <a:gd name="T28" fmla="*/ 2147483647 w 56"/>
                <a:gd name="T29" fmla="*/ 2147483647 h 36"/>
                <a:gd name="T30" fmla="*/ 2147483647 w 56"/>
                <a:gd name="T31" fmla="*/ 2147483647 h 36"/>
                <a:gd name="T32" fmla="*/ 2147483647 w 56"/>
                <a:gd name="T33" fmla="*/ 2147483647 h 36"/>
                <a:gd name="T34" fmla="*/ 2147483647 w 56"/>
                <a:gd name="T35" fmla="*/ 2147483647 h 36"/>
                <a:gd name="T36" fmla="*/ 2147483647 w 56"/>
                <a:gd name="T37" fmla="*/ 2147483647 h 36"/>
                <a:gd name="T38" fmla="*/ 2147483647 w 56"/>
                <a:gd name="T39" fmla="*/ 2147483647 h 36"/>
                <a:gd name="T40" fmla="*/ 2147483647 w 56"/>
                <a:gd name="T41" fmla="*/ 2147483647 h 36"/>
                <a:gd name="T42" fmla="*/ 2147483647 w 56"/>
                <a:gd name="T43" fmla="*/ 0 h 36"/>
                <a:gd name="T44" fmla="*/ 2147483647 w 56"/>
                <a:gd name="T45" fmla="*/ 2147483647 h 36"/>
                <a:gd name="T46" fmla="*/ 2147483647 w 56"/>
                <a:gd name="T47" fmla="*/ 2147483647 h 36"/>
                <a:gd name="T48" fmla="*/ 2147483647 w 56"/>
                <a:gd name="T49" fmla="*/ 2147483647 h 36"/>
                <a:gd name="T50" fmla="*/ 2147483647 w 56"/>
                <a:gd name="T51" fmla="*/ 2147483647 h 36"/>
                <a:gd name="T52" fmla="*/ 2147483647 w 56"/>
                <a:gd name="T53" fmla="*/ 2147483647 h 36"/>
                <a:gd name="T54" fmla="*/ 2147483647 w 56"/>
                <a:gd name="T55" fmla="*/ 2147483647 h 36"/>
                <a:gd name="T56" fmla="*/ 2147483647 w 56"/>
                <a:gd name="T57" fmla="*/ 2147483647 h 36"/>
                <a:gd name="T58" fmla="*/ 0 w 56"/>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36"/>
                <a:gd name="T92" fmla="*/ 56 w 56"/>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36">
                  <a:moveTo>
                    <a:pt x="0" y="30"/>
                  </a:moveTo>
                  <a:lnTo>
                    <a:pt x="8" y="35"/>
                  </a:lnTo>
                  <a:lnTo>
                    <a:pt x="12" y="36"/>
                  </a:lnTo>
                  <a:lnTo>
                    <a:pt x="16" y="35"/>
                  </a:lnTo>
                  <a:lnTo>
                    <a:pt x="22" y="30"/>
                  </a:lnTo>
                  <a:lnTo>
                    <a:pt x="26" y="28"/>
                  </a:lnTo>
                  <a:lnTo>
                    <a:pt x="30" y="28"/>
                  </a:lnTo>
                  <a:lnTo>
                    <a:pt x="38" y="28"/>
                  </a:lnTo>
                  <a:lnTo>
                    <a:pt x="47" y="28"/>
                  </a:lnTo>
                  <a:lnTo>
                    <a:pt x="51" y="27"/>
                  </a:lnTo>
                  <a:lnTo>
                    <a:pt x="55" y="25"/>
                  </a:lnTo>
                  <a:lnTo>
                    <a:pt x="56" y="21"/>
                  </a:lnTo>
                  <a:lnTo>
                    <a:pt x="55" y="19"/>
                  </a:lnTo>
                  <a:lnTo>
                    <a:pt x="55" y="17"/>
                  </a:lnTo>
                  <a:lnTo>
                    <a:pt x="51" y="15"/>
                  </a:lnTo>
                  <a:lnTo>
                    <a:pt x="49" y="14"/>
                  </a:lnTo>
                  <a:lnTo>
                    <a:pt x="45" y="14"/>
                  </a:lnTo>
                  <a:lnTo>
                    <a:pt x="41" y="14"/>
                  </a:lnTo>
                  <a:lnTo>
                    <a:pt x="40" y="13"/>
                  </a:lnTo>
                  <a:lnTo>
                    <a:pt x="38" y="10"/>
                  </a:lnTo>
                  <a:lnTo>
                    <a:pt x="36" y="4"/>
                  </a:lnTo>
                  <a:lnTo>
                    <a:pt x="31" y="0"/>
                  </a:lnTo>
                  <a:lnTo>
                    <a:pt x="23" y="2"/>
                  </a:lnTo>
                  <a:lnTo>
                    <a:pt x="12" y="3"/>
                  </a:lnTo>
                  <a:lnTo>
                    <a:pt x="14" y="7"/>
                  </a:lnTo>
                  <a:lnTo>
                    <a:pt x="16" y="10"/>
                  </a:lnTo>
                  <a:lnTo>
                    <a:pt x="14" y="14"/>
                  </a:lnTo>
                  <a:lnTo>
                    <a:pt x="12" y="17"/>
                  </a:lnTo>
                  <a:lnTo>
                    <a:pt x="7" y="25"/>
                  </a:lnTo>
                  <a:lnTo>
                    <a:pt x="0" y="3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3" name="Freeform 1172"/>
            <p:cNvSpPr>
              <a:spLocks/>
            </p:cNvSpPr>
            <p:nvPr/>
          </p:nvSpPr>
          <p:spPr bwMode="auto">
            <a:xfrm>
              <a:off x="5013326" y="3043238"/>
              <a:ext cx="463550" cy="214312"/>
            </a:xfrm>
            <a:custGeom>
              <a:avLst/>
              <a:gdLst>
                <a:gd name="T0" fmla="*/ 2147483647 w 316"/>
                <a:gd name="T1" fmla="*/ 2147483647 h 135"/>
                <a:gd name="T2" fmla="*/ 2147483647 w 316"/>
                <a:gd name="T3" fmla="*/ 2147483647 h 135"/>
                <a:gd name="T4" fmla="*/ 2147483647 w 316"/>
                <a:gd name="T5" fmla="*/ 2147483647 h 135"/>
                <a:gd name="T6" fmla="*/ 2147483647 w 316"/>
                <a:gd name="T7" fmla="*/ 2147483647 h 135"/>
                <a:gd name="T8" fmla="*/ 2147483647 w 316"/>
                <a:gd name="T9" fmla="*/ 2147483647 h 135"/>
                <a:gd name="T10" fmla="*/ 2147483647 w 316"/>
                <a:gd name="T11" fmla="*/ 2147483647 h 135"/>
                <a:gd name="T12" fmla="*/ 2147483647 w 316"/>
                <a:gd name="T13" fmla="*/ 2147483647 h 135"/>
                <a:gd name="T14" fmla="*/ 2147483647 w 316"/>
                <a:gd name="T15" fmla="*/ 2147483647 h 135"/>
                <a:gd name="T16" fmla="*/ 2147483647 w 316"/>
                <a:gd name="T17" fmla="*/ 2147483647 h 135"/>
                <a:gd name="T18" fmla="*/ 2147483647 w 316"/>
                <a:gd name="T19" fmla="*/ 2147483647 h 135"/>
                <a:gd name="T20" fmla="*/ 2147483647 w 316"/>
                <a:gd name="T21" fmla="*/ 2147483647 h 135"/>
                <a:gd name="T22" fmla="*/ 2147483647 w 316"/>
                <a:gd name="T23" fmla="*/ 2147483647 h 135"/>
                <a:gd name="T24" fmla="*/ 2147483647 w 316"/>
                <a:gd name="T25" fmla="*/ 2147483647 h 135"/>
                <a:gd name="T26" fmla="*/ 2147483647 w 316"/>
                <a:gd name="T27" fmla="*/ 2147483647 h 135"/>
                <a:gd name="T28" fmla="*/ 2147483647 w 316"/>
                <a:gd name="T29" fmla="*/ 2147483647 h 135"/>
                <a:gd name="T30" fmla="*/ 2147483647 w 316"/>
                <a:gd name="T31" fmla="*/ 2147483647 h 135"/>
                <a:gd name="T32" fmla="*/ 2147483647 w 316"/>
                <a:gd name="T33" fmla="*/ 2147483647 h 135"/>
                <a:gd name="T34" fmla="*/ 2147483647 w 316"/>
                <a:gd name="T35" fmla="*/ 2147483647 h 135"/>
                <a:gd name="T36" fmla="*/ 2147483647 w 316"/>
                <a:gd name="T37" fmla="*/ 2147483647 h 135"/>
                <a:gd name="T38" fmla="*/ 2147483647 w 316"/>
                <a:gd name="T39" fmla="*/ 2147483647 h 135"/>
                <a:gd name="T40" fmla="*/ 2147483647 w 316"/>
                <a:gd name="T41" fmla="*/ 2147483647 h 135"/>
                <a:gd name="T42" fmla="*/ 2147483647 w 316"/>
                <a:gd name="T43" fmla="*/ 2147483647 h 135"/>
                <a:gd name="T44" fmla="*/ 2147483647 w 316"/>
                <a:gd name="T45" fmla="*/ 2147483647 h 135"/>
                <a:gd name="T46" fmla="*/ 2147483647 w 316"/>
                <a:gd name="T47" fmla="*/ 2147483647 h 135"/>
                <a:gd name="T48" fmla="*/ 2147483647 w 316"/>
                <a:gd name="T49" fmla="*/ 2147483647 h 135"/>
                <a:gd name="T50" fmla="*/ 2147483647 w 316"/>
                <a:gd name="T51" fmla="*/ 2147483647 h 135"/>
                <a:gd name="T52" fmla="*/ 2147483647 w 316"/>
                <a:gd name="T53" fmla="*/ 2147483647 h 135"/>
                <a:gd name="T54" fmla="*/ 2147483647 w 316"/>
                <a:gd name="T55" fmla="*/ 2147483647 h 135"/>
                <a:gd name="T56" fmla="*/ 2147483647 w 316"/>
                <a:gd name="T57" fmla="*/ 2147483647 h 135"/>
                <a:gd name="T58" fmla="*/ 2147483647 w 316"/>
                <a:gd name="T59" fmla="*/ 2147483647 h 135"/>
                <a:gd name="T60" fmla="*/ 2147483647 w 316"/>
                <a:gd name="T61" fmla="*/ 2147483647 h 135"/>
                <a:gd name="T62" fmla="*/ 2147483647 w 316"/>
                <a:gd name="T63" fmla="*/ 2147483647 h 135"/>
                <a:gd name="T64" fmla="*/ 2147483647 w 316"/>
                <a:gd name="T65" fmla="*/ 2147483647 h 135"/>
                <a:gd name="T66" fmla="*/ 2147483647 w 316"/>
                <a:gd name="T67" fmla="*/ 2147483647 h 135"/>
                <a:gd name="T68" fmla="*/ 2147483647 w 316"/>
                <a:gd name="T69" fmla="*/ 2147483647 h 135"/>
                <a:gd name="T70" fmla="*/ 2147483647 w 316"/>
                <a:gd name="T71" fmla="*/ 2147483647 h 135"/>
                <a:gd name="T72" fmla="*/ 2147483647 w 316"/>
                <a:gd name="T73" fmla="*/ 2147483647 h 135"/>
                <a:gd name="T74" fmla="*/ 2147483647 w 316"/>
                <a:gd name="T75" fmla="*/ 2147483647 h 135"/>
                <a:gd name="T76" fmla="*/ 2147483647 w 316"/>
                <a:gd name="T77" fmla="*/ 2147483647 h 135"/>
                <a:gd name="T78" fmla="*/ 2147483647 w 316"/>
                <a:gd name="T79" fmla="*/ 2147483647 h 135"/>
                <a:gd name="T80" fmla="*/ 2147483647 w 316"/>
                <a:gd name="T81" fmla="*/ 2147483647 h 135"/>
                <a:gd name="T82" fmla="*/ 2147483647 w 316"/>
                <a:gd name="T83" fmla="*/ 2147483647 h 135"/>
                <a:gd name="T84" fmla="*/ 2147483647 w 316"/>
                <a:gd name="T85" fmla="*/ 2147483647 h 135"/>
                <a:gd name="T86" fmla="*/ 2147483647 w 316"/>
                <a:gd name="T87" fmla="*/ 2147483647 h 135"/>
                <a:gd name="T88" fmla="*/ 2147483647 w 316"/>
                <a:gd name="T89" fmla="*/ 2147483647 h 135"/>
                <a:gd name="T90" fmla="*/ 2147483647 w 316"/>
                <a:gd name="T91" fmla="*/ 2147483647 h 135"/>
                <a:gd name="T92" fmla="*/ 2147483647 w 316"/>
                <a:gd name="T93" fmla="*/ 2147483647 h 135"/>
                <a:gd name="T94" fmla="*/ 2147483647 w 316"/>
                <a:gd name="T95" fmla="*/ 2147483647 h 135"/>
                <a:gd name="T96" fmla="*/ 2147483647 w 316"/>
                <a:gd name="T97" fmla="*/ 2147483647 h 135"/>
                <a:gd name="T98" fmla="*/ 2147483647 w 316"/>
                <a:gd name="T99" fmla="*/ 2147483647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16"/>
                <a:gd name="T151" fmla="*/ 0 h 135"/>
                <a:gd name="T152" fmla="*/ 316 w 316"/>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16" h="135">
                  <a:moveTo>
                    <a:pt x="165" y="135"/>
                  </a:moveTo>
                  <a:lnTo>
                    <a:pt x="169" y="135"/>
                  </a:lnTo>
                  <a:lnTo>
                    <a:pt x="173" y="134"/>
                  </a:lnTo>
                  <a:lnTo>
                    <a:pt x="175" y="132"/>
                  </a:lnTo>
                  <a:lnTo>
                    <a:pt x="178" y="129"/>
                  </a:lnTo>
                  <a:lnTo>
                    <a:pt x="180" y="122"/>
                  </a:lnTo>
                  <a:lnTo>
                    <a:pt x="180" y="114"/>
                  </a:lnTo>
                  <a:lnTo>
                    <a:pt x="182" y="113"/>
                  </a:lnTo>
                  <a:lnTo>
                    <a:pt x="183" y="110"/>
                  </a:lnTo>
                  <a:lnTo>
                    <a:pt x="184" y="110"/>
                  </a:lnTo>
                  <a:lnTo>
                    <a:pt x="187" y="110"/>
                  </a:lnTo>
                  <a:lnTo>
                    <a:pt x="194" y="114"/>
                  </a:lnTo>
                  <a:lnTo>
                    <a:pt x="199" y="115"/>
                  </a:lnTo>
                  <a:lnTo>
                    <a:pt x="203" y="115"/>
                  </a:lnTo>
                  <a:lnTo>
                    <a:pt x="207" y="114"/>
                  </a:lnTo>
                  <a:lnTo>
                    <a:pt x="211" y="111"/>
                  </a:lnTo>
                  <a:lnTo>
                    <a:pt x="216" y="108"/>
                  </a:lnTo>
                  <a:lnTo>
                    <a:pt x="220" y="108"/>
                  </a:lnTo>
                  <a:lnTo>
                    <a:pt x="223" y="108"/>
                  </a:lnTo>
                  <a:lnTo>
                    <a:pt x="230" y="109"/>
                  </a:lnTo>
                  <a:lnTo>
                    <a:pt x="239" y="109"/>
                  </a:lnTo>
                  <a:lnTo>
                    <a:pt x="245" y="107"/>
                  </a:lnTo>
                  <a:lnTo>
                    <a:pt x="248" y="104"/>
                  </a:lnTo>
                  <a:lnTo>
                    <a:pt x="249" y="103"/>
                  </a:lnTo>
                  <a:lnTo>
                    <a:pt x="254" y="102"/>
                  </a:lnTo>
                  <a:lnTo>
                    <a:pt x="259" y="101"/>
                  </a:lnTo>
                  <a:lnTo>
                    <a:pt x="265" y="96"/>
                  </a:lnTo>
                  <a:lnTo>
                    <a:pt x="269" y="96"/>
                  </a:lnTo>
                  <a:lnTo>
                    <a:pt x="273" y="97"/>
                  </a:lnTo>
                  <a:lnTo>
                    <a:pt x="279" y="103"/>
                  </a:lnTo>
                  <a:lnTo>
                    <a:pt x="286" y="101"/>
                  </a:lnTo>
                  <a:lnTo>
                    <a:pt x="292" y="100"/>
                  </a:lnTo>
                  <a:lnTo>
                    <a:pt x="303" y="102"/>
                  </a:lnTo>
                  <a:lnTo>
                    <a:pt x="314" y="102"/>
                  </a:lnTo>
                  <a:lnTo>
                    <a:pt x="310" y="94"/>
                  </a:lnTo>
                  <a:lnTo>
                    <a:pt x="309" y="84"/>
                  </a:lnTo>
                  <a:lnTo>
                    <a:pt x="307" y="75"/>
                  </a:lnTo>
                  <a:lnTo>
                    <a:pt x="307" y="65"/>
                  </a:lnTo>
                  <a:lnTo>
                    <a:pt x="309" y="62"/>
                  </a:lnTo>
                  <a:lnTo>
                    <a:pt x="310" y="61"/>
                  </a:lnTo>
                  <a:lnTo>
                    <a:pt x="312" y="58"/>
                  </a:lnTo>
                  <a:lnTo>
                    <a:pt x="315" y="58"/>
                  </a:lnTo>
                  <a:lnTo>
                    <a:pt x="316" y="55"/>
                  </a:lnTo>
                  <a:lnTo>
                    <a:pt x="316" y="52"/>
                  </a:lnTo>
                  <a:lnTo>
                    <a:pt x="312" y="45"/>
                  </a:lnTo>
                  <a:lnTo>
                    <a:pt x="309" y="39"/>
                  </a:lnTo>
                  <a:lnTo>
                    <a:pt x="302" y="24"/>
                  </a:lnTo>
                  <a:lnTo>
                    <a:pt x="300" y="19"/>
                  </a:lnTo>
                  <a:lnTo>
                    <a:pt x="297" y="15"/>
                  </a:lnTo>
                  <a:lnTo>
                    <a:pt x="292" y="14"/>
                  </a:lnTo>
                  <a:lnTo>
                    <a:pt x="288" y="12"/>
                  </a:lnTo>
                  <a:lnTo>
                    <a:pt x="277" y="12"/>
                  </a:lnTo>
                  <a:lnTo>
                    <a:pt x="267" y="12"/>
                  </a:lnTo>
                  <a:lnTo>
                    <a:pt x="260" y="18"/>
                  </a:lnTo>
                  <a:lnTo>
                    <a:pt x="254" y="24"/>
                  </a:lnTo>
                  <a:lnTo>
                    <a:pt x="250" y="25"/>
                  </a:lnTo>
                  <a:lnTo>
                    <a:pt x="245" y="26"/>
                  </a:lnTo>
                  <a:lnTo>
                    <a:pt x="241" y="26"/>
                  </a:lnTo>
                  <a:lnTo>
                    <a:pt x="237" y="25"/>
                  </a:lnTo>
                  <a:lnTo>
                    <a:pt x="232" y="24"/>
                  </a:lnTo>
                  <a:lnTo>
                    <a:pt x="229" y="23"/>
                  </a:lnTo>
                  <a:lnTo>
                    <a:pt x="221" y="20"/>
                  </a:lnTo>
                  <a:lnTo>
                    <a:pt x="217" y="20"/>
                  </a:lnTo>
                  <a:lnTo>
                    <a:pt x="213" y="20"/>
                  </a:lnTo>
                  <a:lnTo>
                    <a:pt x="207" y="21"/>
                  </a:lnTo>
                  <a:lnTo>
                    <a:pt x="201" y="21"/>
                  </a:lnTo>
                  <a:lnTo>
                    <a:pt x="196" y="21"/>
                  </a:lnTo>
                  <a:lnTo>
                    <a:pt x="189" y="19"/>
                  </a:lnTo>
                  <a:lnTo>
                    <a:pt x="185" y="19"/>
                  </a:lnTo>
                  <a:lnTo>
                    <a:pt x="182" y="19"/>
                  </a:lnTo>
                  <a:lnTo>
                    <a:pt x="175" y="14"/>
                  </a:lnTo>
                  <a:lnTo>
                    <a:pt x="171" y="12"/>
                  </a:lnTo>
                  <a:lnTo>
                    <a:pt x="168" y="10"/>
                  </a:lnTo>
                  <a:lnTo>
                    <a:pt x="164" y="10"/>
                  </a:lnTo>
                  <a:lnTo>
                    <a:pt x="161" y="11"/>
                  </a:lnTo>
                  <a:lnTo>
                    <a:pt x="157" y="11"/>
                  </a:lnTo>
                  <a:lnTo>
                    <a:pt x="155" y="10"/>
                  </a:lnTo>
                  <a:lnTo>
                    <a:pt x="152" y="6"/>
                  </a:lnTo>
                  <a:lnTo>
                    <a:pt x="151" y="4"/>
                  </a:lnTo>
                  <a:lnTo>
                    <a:pt x="150" y="2"/>
                  </a:lnTo>
                  <a:lnTo>
                    <a:pt x="146" y="2"/>
                  </a:lnTo>
                  <a:lnTo>
                    <a:pt x="141" y="2"/>
                  </a:lnTo>
                  <a:lnTo>
                    <a:pt x="136" y="4"/>
                  </a:lnTo>
                  <a:lnTo>
                    <a:pt x="129" y="4"/>
                  </a:lnTo>
                  <a:lnTo>
                    <a:pt x="126" y="2"/>
                  </a:lnTo>
                  <a:lnTo>
                    <a:pt x="118" y="0"/>
                  </a:lnTo>
                  <a:lnTo>
                    <a:pt x="114" y="0"/>
                  </a:lnTo>
                  <a:lnTo>
                    <a:pt x="112" y="1"/>
                  </a:lnTo>
                  <a:lnTo>
                    <a:pt x="103" y="7"/>
                  </a:lnTo>
                  <a:lnTo>
                    <a:pt x="99" y="11"/>
                  </a:lnTo>
                  <a:lnTo>
                    <a:pt x="95" y="15"/>
                  </a:lnTo>
                  <a:lnTo>
                    <a:pt x="91" y="18"/>
                  </a:lnTo>
                  <a:lnTo>
                    <a:pt x="88" y="20"/>
                  </a:lnTo>
                  <a:lnTo>
                    <a:pt x="84" y="20"/>
                  </a:lnTo>
                  <a:lnTo>
                    <a:pt x="79" y="20"/>
                  </a:lnTo>
                  <a:lnTo>
                    <a:pt x="70" y="20"/>
                  </a:lnTo>
                  <a:lnTo>
                    <a:pt x="65" y="21"/>
                  </a:lnTo>
                  <a:lnTo>
                    <a:pt x="61" y="23"/>
                  </a:lnTo>
                  <a:lnTo>
                    <a:pt x="58" y="24"/>
                  </a:lnTo>
                  <a:lnTo>
                    <a:pt x="56" y="27"/>
                  </a:lnTo>
                  <a:lnTo>
                    <a:pt x="55" y="30"/>
                  </a:lnTo>
                  <a:lnTo>
                    <a:pt x="52" y="32"/>
                  </a:lnTo>
                  <a:lnTo>
                    <a:pt x="41" y="39"/>
                  </a:lnTo>
                  <a:lnTo>
                    <a:pt x="38" y="39"/>
                  </a:lnTo>
                  <a:lnTo>
                    <a:pt x="36" y="39"/>
                  </a:lnTo>
                  <a:lnTo>
                    <a:pt x="30" y="39"/>
                  </a:lnTo>
                  <a:lnTo>
                    <a:pt x="25" y="39"/>
                  </a:lnTo>
                  <a:lnTo>
                    <a:pt x="20" y="39"/>
                  </a:lnTo>
                  <a:lnTo>
                    <a:pt x="15" y="39"/>
                  </a:lnTo>
                  <a:lnTo>
                    <a:pt x="9" y="42"/>
                  </a:lnTo>
                  <a:lnTo>
                    <a:pt x="6" y="40"/>
                  </a:lnTo>
                  <a:lnTo>
                    <a:pt x="4" y="40"/>
                  </a:lnTo>
                  <a:lnTo>
                    <a:pt x="2" y="44"/>
                  </a:lnTo>
                  <a:lnTo>
                    <a:pt x="1" y="47"/>
                  </a:lnTo>
                  <a:lnTo>
                    <a:pt x="0" y="52"/>
                  </a:lnTo>
                  <a:lnTo>
                    <a:pt x="1" y="56"/>
                  </a:lnTo>
                  <a:lnTo>
                    <a:pt x="4" y="57"/>
                  </a:lnTo>
                  <a:lnTo>
                    <a:pt x="6" y="58"/>
                  </a:lnTo>
                  <a:lnTo>
                    <a:pt x="8" y="59"/>
                  </a:lnTo>
                  <a:lnTo>
                    <a:pt x="9" y="61"/>
                  </a:lnTo>
                  <a:lnTo>
                    <a:pt x="10" y="64"/>
                  </a:lnTo>
                  <a:lnTo>
                    <a:pt x="10" y="69"/>
                  </a:lnTo>
                  <a:lnTo>
                    <a:pt x="13" y="72"/>
                  </a:lnTo>
                  <a:lnTo>
                    <a:pt x="15" y="76"/>
                  </a:lnTo>
                  <a:lnTo>
                    <a:pt x="15" y="77"/>
                  </a:lnTo>
                  <a:lnTo>
                    <a:pt x="14" y="79"/>
                  </a:lnTo>
                  <a:lnTo>
                    <a:pt x="11" y="82"/>
                  </a:lnTo>
                  <a:lnTo>
                    <a:pt x="10" y="82"/>
                  </a:lnTo>
                  <a:lnTo>
                    <a:pt x="8" y="79"/>
                  </a:lnTo>
                  <a:lnTo>
                    <a:pt x="5" y="77"/>
                  </a:lnTo>
                  <a:lnTo>
                    <a:pt x="4" y="77"/>
                  </a:lnTo>
                  <a:lnTo>
                    <a:pt x="4" y="78"/>
                  </a:lnTo>
                  <a:lnTo>
                    <a:pt x="4" y="82"/>
                  </a:lnTo>
                  <a:lnTo>
                    <a:pt x="6" y="85"/>
                  </a:lnTo>
                  <a:lnTo>
                    <a:pt x="9" y="93"/>
                  </a:lnTo>
                  <a:lnTo>
                    <a:pt x="10" y="94"/>
                  </a:lnTo>
                  <a:lnTo>
                    <a:pt x="11" y="95"/>
                  </a:lnTo>
                  <a:lnTo>
                    <a:pt x="14" y="95"/>
                  </a:lnTo>
                  <a:lnTo>
                    <a:pt x="19" y="95"/>
                  </a:lnTo>
                  <a:lnTo>
                    <a:pt x="22" y="96"/>
                  </a:lnTo>
                  <a:lnTo>
                    <a:pt x="23" y="97"/>
                  </a:lnTo>
                  <a:lnTo>
                    <a:pt x="22" y="97"/>
                  </a:lnTo>
                  <a:lnTo>
                    <a:pt x="20" y="98"/>
                  </a:lnTo>
                  <a:lnTo>
                    <a:pt x="18" y="100"/>
                  </a:lnTo>
                  <a:lnTo>
                    <a:pt x="18" y="102"/>
                  </a:lnTo>
                  <a:lnTo>
                    <a:pt x="18" y="104"/>
                  </a:lnTo>
                  <a:lnTo>
                    <a:pt x="18" y="106"/>
                  </a:lnTo>
                  <a:lnTo>
                    <a:pt x="20" y="107"/>
                  </a:lnTo>
                  <a:lnTo>
                    <a:pt x="24" y="107"/>
                  </a:lnTo>
                  <a:lnTo>
                    <a:pt x="29" y="107"/>
                  </a:lnTo>
                  <a:lnTo>
                    <a:pt x="30" y="107"/>
                  </a:lnTo>
                  <a:lnTo>
                    <a:pt x="30" y="108"/>
                  </a:lnTo>
                  <a:lnTo>
                    <a:pt x="25" y="113"/>
                  </a:lnTo>
                  <a:lnTo>
                    <a:pt x="24" y="114"/>
                  </a:lnTo>
                  <a:lnTo>
                    <a:pt x="24" y="116"/>
                  </a:lnTo>
                  <a:lnTo>
                    <a:pt x="25" y="119"/>
                  </a:lnTo>
                  <a:lnTo>
                    <a:pt x="28" y="119"/>
                  </a:lnTo>
                  <a:lnTo>
                    <a:pt x="32" y="119"/>
                  </a:lnTo>
                  <a:lnTo>
                    <a:pt x="37" y="117"/>
                  </a:lnTo>
                  <a:lnTo>
                    <a:pt x="42" y="116"/>
                  </a:lnTo>
                  <a:lnTo>
                    <a:pt x="44" y="116"/>
                  </a:lnTo>
                  <a:lnTo>
                    <a:pt x="47" y="117"/>
                  </a:lnTo>
                  <a:lnTo>
                    <a:pt x="51" y="122"/>
                  </a:lnTo>
                  <a:lnTo>
                    <a:pt x="53" y="125"/>
                  </a:lnTo>
                  <a:lnTo>
                    <a:pt x="56" y="126"/>
                  </a:lnTo>
                  <a:lnTo>
                    <a:pt x="70" y="130"/>
                  </a:lnTo>
                  <a:lnTo>
                    <a:pt x="71" y="132"/>
                  </a:lnTo>
                  <a:lnTo>
                    <a:pt x="74" y="132"/>
                  </a:lnTo>
                  <a:lnTo>
                    <a:pt x="74" y="128"/>
                  </a:lnTo>
                  <a:lnTo>
                    <a:pt x="75" y="125"/>
                  </a:lnTo>
                  <a:lnTo>
                    <a:pt x="75" y="121"/>
                  </a:lnTo>
                  <a:lnTo>
                    <a:pt x="77" y="117"/>
                  </a:lnTo>
                  <a:lnTo>
                    <a:pt x="81" y="116"/>
                  </a:lnTo>
                  <a:lnTo>
                    <a:pt x="85" y="116"/>
                  </a:lnTo>
                  <a:lnTo>
                    <a:pt x="89" y="117"/>
                  </a:lnTo>
                  <a:lnTo>
                    <a:pt x="96" y="121"/>
                  </a:lnTo>
                  <a:lnTo>
                    <a:pt x="103" y="126"/>
                  </a:lnTo>
                  <a:lnTo>
                    <a:pt x="110" y="129"/>
                  </a:lnTo>
                  <a:lnTo>
                    <a:pt x="114" y="130"/>
                  </a:lnTo>
                  <a:lnTo>
                    <a:pt x="118" y="130"/>
                  </a:lnTo>
                  <a:lnTo>
                    <a:pt x="127" y="130"/>
                  </a:lnTo>
                  <a:lnTo>
                    <a:pt x="131" y="129"/>
                  </a:lnTo>
                  <a:lnTo>
                    <a:pt x="135" y="128"/>
                  </a:lnTo>
                  <a:lnTo>
                    <a:pt x="137" y="123"/>
                  </a:lnTo>
                  <a:lnTo>
                    <a:pt x="138" y="121"/>
                  </a:lnTo>
                  <a:lnTo>
                    <a:pt x="140" y="120"/>
                  </a:lnTo>
                  <a:lnTo>
                    <a:pt x="143" y="119"/>
                  </a:lnTo>
                  <a:lnTo>
                    <a:pt x="147" y="120"/>
                  </a:lnTo>
                  <a:lnTo>
                    <a:pt x="150" y="121"/>
                  </a:lnTo>
                  <a:lnTo>
                    <a:pt x="154" y="121"/>
                  </a:lnTo>
                  <a:lnTo>
                    <a:pt x="159" y="120"/>
                  </a:lnTo>
                  <a:lnTo>
                    <a:pt x="165" y="115"/>
                  </a:lnTo>
                  <a:lnTo>
                    <a:pt x="169" y="114"/>
                  </a:lnTo>
                  <a:lnTo>
                    <a:pt x="171" y="114"/>
                  </a:lnTo>
                  <a:lnTo>
                    <a:pt x="173" y="115"/>
                  </a:lnTo>
                  <a:lnTo>
                    <a:pt x="171" y="117"/>
                  </a:lnTo>
                  <a:lnTo>
                    <a:pt x="169" y="120"/>
                  </a:lnTo>
                  <a:lnTo>
                    <a:pt x="166" y="121"/>
                  </a:lnTo>
                  <a:lnTo>
                    <a:pt x="164" y="125"/>
                  </a:lnTo>
                  <a:lnTo>
                    <a:pt x="165" y="130"/>
                  </a:lnTo>
                  <a:lnTo>
                    <a:pt x="165" y="1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4" name="Freeform 1173"/>
            <p:cNvSpPr>
              <a:spLocks/>
            </p:cNvSpPr>
            <p:nvPr/>
          </p:nvSpPr>
          <p:spPr bwMode="auto">
            <a:xfrm>
              <a:off x="5000629" y="3036889"/>
              <a:ext cx="80963" cy="58737"/>
            </a:xfrm>
            <a:custGeom>
              <a:avLst/>
              <a:gdLst>
                <a:gd name="T0" fmla="*/ 0 w 56"/>
                <a:gd name="T1" fmla="*/ 2147483647 h 37"/>
                <a:gd name="T2" fmla="*/ 0 w 56"/>
                <a:gd name="T3" fmla="*/ 2147483647 h 37"/>
                <a:gd name="T4" fmla="*/ 2147483647 w 56"/>
                <a:gd name="T5" fmla="*/ 2147483647 h 37"/>
                <a:gd name="T6" fmla="*/ 2147483647 w 56"/>
                <a:gd name="T7" fmla="*/ 2147483647 h 37"/>
                <a:gd name="T8" fmla="*/ 2147483647 w 56"/>
                <a:gd name="T9" fmla="*/ 2147483647 h 37"/>
                <a:gd name="T10" fmla="*/ 2147483647 w 56"/>
                <a:gd name="T11" fmla="*/ 2147483647 h 37"/>
                <a:gd name="T12" fmla="*/ 2147483647 w 56"/>
                <a:gd name="T13" fmla="*/ 2147483647 h 37"/>
                <a:gd name="T14" fmla="*/ 2147483647 w 56"/>
                <a:gd name="T15" fmla="*/ 2147483647 h 37"/>
                <a:gd name="T16" fmla="*/ 2147483647 w 56"/>
                <a:gd name="T17" fmla="*/ 2147483647 h 37"/>
                <a:gd name="T18" fmla="*/ 2147483647 w 56"/>
                <a:gd name="T19" fmla="*/ 2147483647 h 37"/>
                <a:gd name="T20" fmla="*/ 2147483647 w 56"/>
                <a:gd name="T21" fmla="*/ 2147483647 h 37"/>
                <a:gd name="T22" fmla="*/ 2147483647 w 56"/>
                <a:gd name="T23" fmla="*/ 2147483647 h 37"/>
                <a:gd name="T24" fmla="*/ 2147483647 w 56"/>
                <a:gd name="T25" fmla="*/ 2147483647 h 37"/>
                <a:gd name="T26" fmla="*/ 2147483647 w 56"/>
                <a:gd name="T27" fmla="*/ 2147483647 h 37"/>
                <a:gd name="T28" fmla="*/ 2147483647 w 56"/>
                <a:gd name="T29" fmla="*/ 2147483647 h 37"/>
                <a:gd name="T30" fmla="*/ 2147483647 w 56"/>
                <a:gd name="T31" fmla="*/ 2147483647 h 37"/>
                <a:gd name="T32" fmla="*/ 2147483647 w 56"/>
                <a:gd name="T33" fmla="*/ 2147483647 h 37"/>
                <a:gd name="T34" fmla="*/ 2147483647 w 56"/>
                <a:gd name="T35" fmla="*/ 2147483647 h 37"/>
                <a:gd name="T36" fmla="*/ 2147483647 w 56"/>
                <a:gd name="T37" fmla="*/ 2147483647 h 37"/>
                <a:gd name="T38" fmla="*/ 2147483647 w 56"/>
                <a:gd name="T39" fmla="*/ 2147483647 h 37"/>
                <a:gd name="T40" fmla="*/ 2147483647 w 56"/>
                <a:gd name="T41" fmla="*/ 2147483647 h 37"/>
                <a:gd name="T42" fmla="*/ 2147483647 w 56"/>
                <a:gd name="T43" fmla="*/ 2147483647 h 37"/>
                <a:gd name="T44" fmla="*/ 2147483647 w 56"/>
                <a:gd name="T45" fmla="*/ 2147483647 h 37"/>
                <a:gd name="T46" fmla="*/ 2147483647 w 56"/>
                <a:gd name="T47" fmla="*/ 2147483647 h 37"/>
                <a:gd name="T48" fmla="*/ 2147483647 w 56"/>
                <a:gd name="T49" fmla="*/ 2147483647 h 37"/>
                <a:gd name="T50" fmla="*/ 2147483647 w 56"/>
                <a:gd name="T51" fmla="*/ 2147483647 h 37"/>
                <a:gd name="T52" fmla="*/ 2147483647 w 56"/>
                <a:gd name="T53" fmla="*/ 2147483647 h 37"/>
                <a:gd name="T54" fmla="*/ 2147483647 w 56"/>
                <a:gd name="T55" fmla="*/ 2147483647 h 37"/>
                <a:gd name="T56" fmla="*/ 2147483647 w 56"/>
                <a:gd name="T57" fmla="*/ 2147483647 h 37"/>
                <a:gd name="T58" fmla="*/ 2147483647 w 56"/>
                <a:gd name="T59" fmla="*/ 0 h 37"/>
                <a:gd name="T60" fmla="*/ 2147483647 w 56"/>
                <a:gd name="T61" fmla="*/ 0 h 37"/>
                <a:gd name="T62" fmla="*/ 2147483647 w 56"/>
                <a:gd name="T63" fmla="*/ 2147483647 h 37"/>
                <a:gd name="T64" fmla="*/ 2147483647 w 56"/>
                <a:gd name="T65" fmla="*/ 2147483647 h 37"/>
                <a:gd name="T66" fmla="*/ 2147483647 w 56"/>
                <a:gd name="T67" fmla="*/ 2147483647 h 37"/>
                <a:gd name="T68" fmla="*/ 2147483647 w 56"/>
                <a:gd name="T69" fmla="*/ 2147483647 h 37"/>
                <a:gd name="T70" fmla="*/ 2147483647 w 56"/>
                <a:gd name="T71" fmla="*/ 2147483647 h 37"/>
                <a:gd name="T72" fmla="*/ 2147483647 w 56"/>
                <a:gd name="T73" fmla="*/ 2147483647 h 37"/>
                <a:gd name="T74" fmla="*/ 2147483647 w 56"/>
                <a:gd name="T75" fmla="*/ 2147483647 h 37"/>
                <a:gd name="T76" fmla="*/ 2147483647 w 56"/>
                <a:gd name="T77" fmla="*/ 2147483647 h 37"/>
                <a:gd name="T78" fmla="*/ 0 w 56"/>
                <a:gd name="T79" fmla="*/ 2147483647 h 37"/>
                <a:gd name="T80" fmla="*/ 0 w 56"/>
                <a:gd name="T81" fmla="*/ 2147483647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6"/>
                <a:gd name="T124" fmla="*/ 0 h 37"/>
                <a:gd name="T125" fmla="*/ 56 w 56"/>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6" h="37">
                  <a:moveTo>
                    <a:pt x="0" y="31"/>
                  </a:moveTo>
                  <a:lnTo>
                    <a:pt x="0" y="31"/>
                  </a:lnTo>
                  <a:lnTo>
                    <a:pt x="8" y="36"/>
                  </a:lnTo>
                  <a:lnTo>
                    <a:pt x="11" y="37"/>
                  </a:lnTo>
                  <a:lnTo>
                    <a:pt x="15" y="36"/>
                  </a:lnTo>
                  <a:lnTo>
                    <a:pt x="22" y="31"/>
                  </a:lnTo>
                  <a:lnTo>
                    <a:pt x="25" y="29"/>
                  </a:lnTo>
                  <a:lnTo>
                    <a:pt x="29" y="29"/>
                  </a:lnTo>
                  <a:lnTo>
                    <a:pt x="38" y="29"/>
                  </a:lnTo>
                  <a:lnTo>
                    <a:pt x="47" y="29"/>
                  </a:lnTo>
                  <a:lnTo>
                    <a:pt x="51" y="28"/>
                  </a:lnTo>
                  <a:lnTo>
                    <a:pt x="55" y="25"/>
                  </a:lnTo>
                  <a:lnTo>
                    <a:pt x="56" y="22"/>
                  </a:lnTo>
                  <a:lnTo>
                    <a:pt x="55" y="19"/>
                  </a:lnTo>
                  <a:lnTo>
                    <a:pt x="55" y="18"/>
                  </a:lnTo>
                  <a:lnTo>
                    <a:pt x="51" y="16"/>
                  </a:lnTo>
                  <a:lnTo>
                    <a:pt x="48" y="15"/>
                  </a:lnTo>
                  <a:lnTo>
                    <a:pt x="45" y="15"/>
                  </a:lnTo>
                  <a:lnTo>
                    <a:pt x="41" y="15"/>
                  </a:lnTo>
                  <a:lnTo>
                    <a:pt x="39" y="14"/>
                  </a:lnTo>
                  <a:lnTo>
                    <a:pt x="38" y="11"/>
                  </a:lnTo>
                  <a:lnTo>
                    <a:pt x="36" y="5"/>
                  </a:lnTo>
                  <a:lnTo>
                    <a:pt x="31" y="0"/>
                  </a:lnTo>
                  <a:lnTo>
                    <a:pt x="23" y="3"/>
                  </a:lnTo>
                  <a:lnTo>
                    <a:pt x="11" y="4"/>
                  </a:lnTo>
                  <a:lnTo>
                    <a:pt x="14" y="8"/>
                  </a:lnTo>
                  <a:lnTo>
                    <a:pt x="15" y="11"/>
                  </a:lnTo>
                  <a:lnTo>
                    <a:pt x="14" y="15"/>
                  </a:lnTo>
                  <a:lnTo>
                    <a:pt x="11" y="18"/>
                  </a:lnTo>
                  <a:lnTo>
                    <a:pt x="6" y="25"/>
                  </a:lnTo>
                  <a:lnTo>
                    <a:pt x="0" y="3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5" name="Freeform 1174"/>
            <p:cNvSpPr>
              <a:spLocks/>
            </p:cNvSpPr>
            <p:nvPr/>
          </p:nvSpPr>
          <p:spPr bwMode="auto">
            <a:xfrm>
              <a:off x="5011739" y="3041654"/>
              <a:ext cx="463550" cy="214313"/>
            </a:xfrm>
            <a:custGeom>
              <a:avLst/>
              <a:gdLst>
                <a:gd name="T0" fmla="*/ 2147483647 w 316"/>
                <a:gd name="T1" fmla="*/ 2147483647 h 135"/>
                <a:gd name="T2" fmla="*/ 2147483647 w 316"/>
                <a:gd name="T3" fmla="*/ 2147483647 h 135"/>
                <a:gd name="T4" fmla="*/ 2147483647 w 316"/>
                <a:gd name="T5" fmla="*/ 2147483647 h 135"/>
                <a:gd name="T6" fmla="*/ 2147483647 w 316"/>
                <a:gd name="T7" fmla="*/ 2147483647 h 135"/>
                <a:gd name="T8" fmla="*/ 2147483647 w 316"/>
                <a:gd name="T9" fmla="*/ 2147483647 h 135"/>
                <a:gd name="T10" fmla="*/ 2147483647 w 316"/>
                <a:gd name="T11" fmla="*/ 2147483647 h 135"/>
                <a:gd name="T12" fmla="*/ 2147483647 w 316"/>
                <a:gd name="T13" fmla="*/ 2147483647 h 135"/>
                <a:gd name="T14" fmla="*/ 2147483647 w 316"/>
                <a:gd name="T15" fmla="*/ 2147483647 h 135"/>
                <a:gd name="T16" fmla="*/ 2147483647 w 316"/>
                <a:gd name="T17" fmla="*/ 2147483647 h 135"/>
                <a:gd name="T18" fmla="*/ 2147483647 w 316"/>
                <a:gd name="T19" fmla="*/ 2147483647 h 135"/>
                <a:gd name="T20" fmla="*/ 2147483647 w 316"/>
                <a:gd name="T21" fmla="*/ 2147483647 h 135"/>
                <a:gd name="T22" fmla="*/ 2147483647 w 316"/>
                <a:gd name="T23" fmla="*/ 2147483647 h 135"/>
                <a:gd name="T24" fmla="*/ 2147483647 w 316"/>
                <a:gd name="T25" fmla="*/ 2147483647 h 135"/>
                <a:gd name="T26" fmla="*/ 2147483647 w 316"/>
                <a:gd name="T27" fmla="*/ 2147483647 h 135"/>
                <a:gd name="T28" fmla="*/ 2147483647 w 316"/>
                <a:gd name="T29" fmla="*/ 2147483647 h 135"/>
                <a:gd name="T30" fmla="*/ 2147483647 w 316"/>
                <a:gd name="T31" fmla="*/ 2147483647 h 135"/>
                <a:gd name="T32" fmla="*/ 2147483647 w 316"/>
                <a:gd name="T33" fmla="*/ 2147483647 h 135"/>
                <a:gd name="T34" fmla="*/ 2147483647 w 316"/>
                <a:gd name="T35" fmla="*/ 2147483647 h 135"/>
                <a:gd name="T36" fmla="*/ 2147483647 w 316"/>
                <a:gd name="T37" fmla="*/ 2147483647 h 135"/>
                <a:gd name="T38" fmla="*/ 2147483647 w 316"/>
                <a:gd name="T39" fmla="*/ 2147483647 h 135"/>
                <a:gd name="T40" fmla="*/ 2147483647 w 316"/>
                <a:gd name="T41" fmla="*/ 2147483647 h 135"/>
                <a:gd name="T42" fmla="*/ 2147483647 w 316"/>
                <a:gd name="T43" fmla="*/ 2147483647 h 135"/>
                <a:gd name="T44" fmla="*/ 2147483647 w 316"/>
                <a:gd name="T45" fmla="*/ 2147483647 h 135"/>
                <a:gd name="T46" fmla="*/ 2147483647 w 316"/>
                <a:gd name="T47" fmla="*/ 2147483647 h 135"/>
                <a:gd name="T48" fmla="*/ 2147483647 w 316"/>
                <a:gd name="T49" fmla="*/ 2147483647 h 135"/>
                <a:gd name="T50" fmla="*/ 2147483647 w 316"/>
                <a:gd name="T51" fmla="*/ 2147483647 h 135"/>
                <a:gd name="T52" fmla="*/ 2147483647 w 316"/>
                <a:gd name="T53" fmla="*/ 2147483647 h 135"/>
                <a:gd name="T54" fmla="*/ 2147483647 w 316"/>
                <a:gd name="T55" fmla="*/ 2147483647 h 135"/>
                <a:gd name="T56" fmla="*/ 2147483647 w 316"/>
                <a:gd name="T57" fmla="*/ 2147483647 h 135"/>
                <a:gd name="T58" fmla="*/ 2147483647 w 316"/>
                <a:gd name="T59" fmla="*/ 2147483647 h 135"/>
                <a:gd name="T60" fmla="*/ 2147483647 w 316"/>
                <a:gd name="T61" fmla="*/ 2147483647 h 135"/>
                <a:gd name="T62" fmla="*/ 2147483647 w 316"/>
                <a:gd name="T63" fmla="*/ 2147483647 h 135"/>
                <a:gd name="T64" fmla="*/ 2147483647 w 316"/>
                <a:gd name="T65" fmla="*/ 2147483647 h 135"/>
                <a:gd name="T66" fmla="*/ 2147483647 w 316"/>
                <a:gd name="T67" fmla="*/ 2147483647 h 135"/>
                <a:gd name="T68" fmla="*/ 2147483647 w 316"/>
                <a:gd name="T69" fmla="*/ 2147483647 h 135"/>
                <a:gd name="T70" fmla="*/ 2147483647 w 316"/>
                <a:gd name="T71" fmla="*/ 2147483647 h 135"/>
                <a:gd name="T72" fmla="*/ 2147483647 w 316"/>
                <a:gd name="T73" fmla="*/ 2147483647 h 135"/>
                <a:gd name="T74" fmla="*/ 2147483647 w 316"/>
                <a:gd name="T75" fmla="*/ 2147483647 h 135"/>
                <a:gd name="T76" fmla="*/ 2147483647 w 316"/>
                <a:gd name="T77" fmla="*/ 2147483647 h 135"/>
                <a:gd name="T78" fmla="*/ 2147483647 w 316"/>
                <a:gd name="T79" fmla="*/ 2147483647 h 135"/>
                <a:gd name="T80" fmla="*/ 2147483647 w 316"/>
                <a:gd name="T81" fmla="*/ 2147483647 h 135"/>
                <a:gd name="T82" fmla="*/ 2147483647 w 316"/>
                <a:gd name="T83" fmla="*/ 2147483647 h 135"/>
                <a:gd name="T84" fmla="*/ 2147483647 w 316"/>
                <a:gd name="T85" fmla="*/ 2147483647 h 135"/>
                <a:gd name="T86" fmla="*/ 2147483647 w 316"/>
                <a:gd name="T87" fmla="*/ 2147483647 h 135"/>
                <a:gd name="T88" fmla="*/ 2147483647 w 316"/>
                <a:gd name="T89" fmla="*/ 2147483647 h 135"/>
                <a:gd name="T90" fmla="*/ 2147483647 w 316"/>
                <a:gd name="T91" fmla="*/ 2147483647 h 135"/>
                <a:gd name="T92" fmla="*/ 2147483647 w 316"/>
                <a:gd name="T93" fmla="*/ 2147483647 h 135"/>
                <a:gd name="T94" fmla="*/ 2147483647 w 316"/>
                <a:gd name="T95" fmla="*/ 2147483647 h 135"/>
                <a:gd name="T96" fmla="*/ 2147483647 w 316"/>
                <a:gd name="T97" fmla="*/ 2147483647 h 135"/>
                <a:gd name="T98" fmla="*/ 2147483647 w 316"/>
                <a:gd name="T99" fmla="*/ 2147483647 h 135"/>
                <a:gd name="T100" fmla="*/ 2147483647 w 316"/>
                <a:gd name="T101" fmla="*/ 2147483647 h 135"/>
                <a:gd name="T102" fmla="*/ 2147483647 w 316"/>
                <a:gd name="T103" fmla="*/ 2147483647 h 135"/>
                <a:gd name="T104" fmla="*/ 2147483647 w 316"/>
                <a:gd name="T105" fmla="*/ 2147483647 h 13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16"/>
                <a:gd name="T160" fmla="*/ 0 h 135"/>
                <a:gd name="T161" fmla="*/ 316 w 316"/>
                <a:gd name="T162" fmla="*/ 135 h 13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16" h="135">
                  <a:moveTo>
                    <a:pt x="165" y="135"/>
                  </a:moveTo>
                  <a:lnTo>
                    <a:pt x="165" y="135"/>
                  </a:lnTo>
                  <a:lnTo>
                    <a:pt x="169" y="135"/>
                  </a:lnTo>
                  <a:lnTo>
                    <a:pt x="172" y="134"/>
                  </a:lnTo>
                  <a:lnTo>
                    <a:pt x="175" y="131"/>
                  </a:lnTo>
                  <a:lnTo>
                    <a:pt x="177" y="129"/>
                  </a:lnTo>
                  <a:lnTo>
                    <a:pt x="180" y="122"/>
                  </a:lnTo>
                  <a:lnTo>
                    <a:pt x="180" y="114"/>
                  </a:lnTo>
                  <a:lnTo>
                    <a:pt x="181" y="112"/>
                  </a:lnTo>
                  <a:lnTo>
                    <a:pt x="183" y="110"/>
                  </a:lnTo>
                  <a:lnTo>
                    <a:pt x="184" y="110"/>
                  </a:lnTo>
                  <a:lnTo>
                    <a:pt x="186" y="110"/>
                  </a:lnTo>
                  <a:lnTo>
                    <a:pt x="194" y="114"/>
                  </a:lnTo>
                  <a:lnTo>
                    <a:pt x="199" y="115"/>
                  </a:lnTo>
                  <a:lnTo>
                    <a:pt x="203" y="115"/>
                  </a:lnTo>
                  <a:lnTo>
                    <a:pt x="207" y="114"/>
                  </a:lnTo>
                  <a:lnTo>
                    <a:pt x="210" y="111"/>
                  </a:lnTo>
                  <a:lnTo>
                    <a:pt x="216" y="108"/>
                  </a:lnTo>
                  <a:lnTo>
                    <a:pt x="219" y="108"/>
                  </a:lnTo>
                  <a:lnTo>
                    <a:pt x="223" y="108"/>
                  </a:lnTo>
                  <a:lnTo>
                    <a:pt x="230" y="109"/>
                  </a:lnTo>
                  <a:lnTo>
                    <a:pt x="238" y="109"/>
                  </a:lnTo>
                  <a:lnTo>
                    <a:pt x="245" y="107"/>
                  </a:lnTo>
                  <a:lnTo>
                    <a:pt x="247" y="104"/>
                  </a:lnTo>
                  <a:lnTo>
                    <a:pt x="249" y="103"/>
                  </a:lnTo>
                  <a:lnTo>
                    <a:pt x="254" y="102"/>
                  </a:lnTo>
                  <a:lnTo>
                    <a:pt x="259" y="101"/>
                  </a:lnTo>
                  <a:lnTo>
                    <a:pt x="265" y="96"/>
                  </a:lnTo>
                  <a:lnTo>
                    <a:pt x="269" y="96"/>
                  </a:lnTo>
                  <a:lnTo>
                    <a:pt x="273" y="97"/>
                  </a:lnTo>
                  <a:lnTo>
                    <a:pt x="279" y="103"/>
                  </a:lnTo>
                  <a:lnTo>
                    <a:pt x="285" y="101"/>
                  </a:lnTo>
                  <a:lnTo>
                    <a:pt x="292" y="99"/>
                  </a:lnTo>
                  <a:lnTo>
                    <a:pt x="303" y="102"/>
                  </a:lnTo>
                  <a:lnTo>
                    <a:pt x="313" y="102"/>
                  </a:lnTo>
                  <a:lnTo>
                    <a:pt x="310" y="94"/>
                  </a:lnTo>
                  <a:lnTo>
                    <a:pt x="308" y="84"/>
                  </a:lnTo>
                  <a:lnTo>
                    <a:pt x="307" y="75"/>
                  </a:lnTo>
                  <a:lnTo>
                    <a:pt x="307" y="65"/>
                  </a:lnTo>
                  <a:lnTo>
                    <a:pt x="308" y="62"/>
                  </a:lnTo>
                  <a:lnTo>
                    <a:pt x="310" y="60"/>
                  </a:lnTo>
                  <a:lnTo>
                    <a:pt x="312" y="58"/>
                  </a:lnTo>
                  <a:lnTo>
                    <a:pt x="315" y="58"/>
                  </a:lnTo>
                  <a:lnTo>
                    <a:pt x="316" y="54"/>
                  </a:lnTo>
                  <a:lnTo>
                    <a:pt x="316" y="52"/>
                  </a:lnTo>
                  <a:lnTo>
                    <a:pt x="312" y="45"/>
                  </a:lnTo>
                  <a:lnTo>
                    <a:pt x="308" y="39"/>
                  </a:lnTo>
                  <a:lnTo>
                    <a:pt x="302" y="24"/>
                  </a:lnTo>
                  <a:lnTo>
                    <a:pt x="299" y="19"/>
                  </a:lnTo>
                  <a:lnTo>
                    <a:pt x="297" y="15"/>
                  </a:lnTo>
                  <a:lnTo>
                    <a:pt x="292" y="14"/>
                  </a:lnTo>
                  <a:lnTo>
                    <a:pt x="288" y="12"/>
                  </a:lnTo>
                  <a:lnTo>
                    <a:pt x="277" y="12"/>
                  </a:lnTo>
                  <a:lnTo>
                    <a:pt x="266" y="12"/>
                  </a:lnTo>
                  <a:lnTo>
                    <a:pt x="260" y="18"/>
                  </a:lnTo>
                  <a:lnTo>
                    <a:pt x="254" y="24"/>
                  </a:lnTo>
                  <a:lnTo>
                    <a:pt x="250" y="25"/>
                  </a:lnTo>
                  <a:lnTo>
                    <a:pt x="245" y="26"/>
                  </a:lnTo>
                  <a:lnTo>
                    <a:pt x="241" y="26"/>
                  </a:lnTo>
                  <a:lnTo>
                    <a:pt x="237" y="25"/>
                  </a:lnTo>
                  <a:lnTo>
                    <a:pt x="232" y="24"/>
                  </a:lnTo>
                  <a:lnTo>
                    <a:pt x="228" y="22"/>
                  </a:lnTo>
                  <a:lnTo>
                    <a:pt x="221" y="20"/>
                  </a:lnTo>
                  <a:lnTo>
                    <a:pt x="217" y="20"/>
                  </a:lnTo>
                  <a:lnTo>
                    <a:pt x="213" y="20"/>
                  </a:lnTo>
                  <a:lnTo>
                    <a:pt x="207" y="21"/>
                  </a:lnTo>
                  <a:lnTo>
                    <a:pt x="200" y="21"/>
                  </a:lnTo>
                  <a:lnTo>
                    <a:pt x="195" y="21"/>
                  </a:lnTo>
                  <a:lnTo>
                    <a:pt x="189" y="19"/>
                  </a:lnTo>
                  <a:lnTo>
                    <a:pt x="185" y="19"/>
                  </a:lnTo>
                  <a:lnTo>
                    <a:pt x="181" y="19"/>
                  </a:lnTo>
                  <a:lnTo>
                    <a:pt x="175" y="14"/>
                  </a:lnTo>
                  <a:lnTo>
                    <a:pt x="171" y="12"/>
                  </a:lnTo>
                  <a:lnTo>
                    <a:pt x="167" y="9"/>
                  </a:lnTo>
                  <a:lnTo>
                    <a:pt x="163" y="9"/>
                  </a:lnTo>
                  <a:lnTo>
                    <a:pt x="161" y="11"/>
                  </a:lnTo>
                  <a:lnTo>
                    <a:pt x="157" y="11"/>
                  </a:lnTo>
                  <a:lnTo>
                    <a:pt x="155" y="9"/>
                  </a:lnTo>
                  <a:lnTo>
                    <a:pt x="152" y="6"/>
                  </a:lnTo>
                  <a:lnTo>
                    <a:pt x="151" y="3"/>
                  </a:lnTo>
                  <a:lnTo>
                    <a:pt x="150" y="2"/>
                  </a:lnTo>
                  <a:lnTo>
                    <a:pt x="146" y="2"/>
                  </a:lnTo>
                  <a:lnTo>
                    <a:pt x="141" y="2"/>
                  </a:lnTo>
                  <a:lnTo>
                    <a:pt x="136" y="3"/>
                  </a:lnTo>
                  <a:lnTo>
                    <a:pt x="129" y="3"/>
                  </a:lnTo>
                  <a:lnTo>
                    <a:pt x="125" y="2"/>
                  </a:lnTo>
                  <a:lnTo>
                    <a:pt x="118" y="0"/>
                  </a:lnTo>
                  <a:lnTo>
                    <a:pt x="114" y="0"/>
                  </a:lnTo>
                  <a:lnTo>
                    <a:pt x="111" y="1"/>
                  </a:lnTo>
                  <a:lnTo>
                    <a:pt x="103" y="7"/>
                  </a:lnTo>
                  <a:lnTo>
                    <a:pt x="99" y="11"/>
                  </a:lnTo>
                  <a:lnTo>
                    <a:pt x="95" y="15"/>
                  </a:lnTo>
                  <a:lnTo>
                    <a:pt x="91" y="18"/>
                  </a:lnTo>
                  <a:lnTo>
                    <a:pt x="87" y="20"/>
                  </a:lnTo>
                  <a:lnTo>
                    <a:pt x="83" y="20"/>
                  </a:lnTo>
                  <a:lnTo>
                    <a:pt x="78" y="20"/>
                  </a:lnTo>
                  <a:lnTo>
                    <a:pt x="70" y="20"/>
                  </a:lnTo>
                  <a:lnTo>
                    <a:pt x="64" y="21"/>
                  </a:lnTo>
                  <a:lnTo>
                    <a:pt x="61" y="22"/>
                  </a:lnTo>
                  <a:lnTo>
                    <a:pt x="58" y="24"/>
                  </a:lnTo>
                  <a:lnTo>
                    <a:pt x="56" y="27"/>
                  </a:lnTo>
                  <a:lnTo>
                    <a:pt x="54" y="29"/>
                  </a:lnTo>
                  <a:lnTo>
                    <a:pt x="52" y="32"/>
                  </a:lnTo>
                  <a:lnTo>
                    <a:pt x="40" y="39"/>
                  </a:lnTo>
                  <a:lnTo>
                    <a:pt x="38" y="39"/>
                  </a:lnTo>
                  <a:lnTo>
                    <a:pt x="35" y="39"/>
                  </a:lnTo>
                  <a:lnTo>
                    <a:pt x="30" y="39"/>
                  </a:lnTo>
                  <a:lnTo>
                    <a:pt x="25" y="39"/>
                  </a:lnTo>
                  <a:lnTo>
                    <a:pt x="20" y="39"/>
                  </a:lnTo>
                  <a:lnTo>
                    <a:pt x="15" y="39"/>
                  </a:lnTo>
                  <a:lnTo>
                    <a:pt x="9" y="41"/>
                  </a:lnTo>
                  <a:lnTo>
                    <a:pt x="6" y="40"/>
                  </a:lnTo>
                  <a:lnTo>
                    <a:pt x="3" y="40"/>
                  </a:lnTo>
                  <a:lnTo>
                    <a:pt x="2" y="44"/>
                  </a:lnTo>
                  <a:lnTo>
                    <a:pt x="1" y="47"/>
                  </a:lnTo>
                  <a:lnTo>
                    <a:pt x="0" y="52"/>
                  </a:lnTo>
                  <a:lnTo>
                    <a:pt x="1" y="56"/>
                  </a:lnTo>
                  <a:lnTo>
                    <a:pt x="3" y="57"/>
                  </a:lnTo>
                  <a:lnTo>
                    <a:pt x="6" y="58"/>
                  </a:lnTo>
                  <a:lnTo>
                    <a:pt x="7" y="59"/>
                  </a:lnTo>
                  <a:lnTo>
                    <a:pt x="9" y="60"/>
                  </a:lnTo>
                  <a:lnTo>
                    <a:pt x="10" y="64"/>
                  </a:lnTo>
                  <a:lnTo>
                    <a:pt x="10" y="69"/>
                  </a:lnTo>
                  <a:lnTo>
                    <a:pt x="12" y="72"/>
                  </a:lnTo>
                  <a:lnTo>
                    <a:pt x="15" y="76"/>
                  </a:lnTo>
                  <a:lnTo>
                    <a:pt x="15" y="77"/>
                  </a:lnTo>
                  <a:lnTo>
                    <a:pt x="14" y="79"/>
                  </a:lnTo>
                  <a:lnTo>
                    <a:pt x="11" y="82"/>
                  </a:lnTo>
                  <a:lnTo>
                    <a:pt x="10" y="82"/>
                  </a:lnTo>
                  <a:lnTo>
                    <a:pt x="7" y="79"/>
                  </a:lnTo>
                  <a:lnTo>
                    <a:pt x="5" y="77"/>
                  </a:lnTo>
                  <a:lnTo>
                    <a:pt x="3" y="77"/>
                  </a:lnTo>
                  <a:lnTo>
                    <a:pt x="3" y="78"/>
                  </a:lnTo>
                  <a:lnTo>
                    <a:pt x="3" y="82"/>
                  </a:lnTo>
                  <a:lnTo>
                    <a:pt x="6" y="85"/>
                  </a:lnTo>
                  <a:lnTo>
                    <a:pt x="9" y="92"/>
                  </a:lnTo>
                  <a:lnTo>
                    <a:pt x="10" y="94"/>
                  </a:lnTo>
                  <a:lnTo>
                    <a:pt x="11" y="95"/>
                  </a:lnTo>
                  <a:lnTo>
                    <a:pt x="14" y="95"/>
                  </a:lnTo>
                  <a:lnTo>
                    <a:pt x="19" y="95"/>
                  </a:lnTo>
                  <a:lnTo>
                    <a:pt x="21" y="96"/>
                  </a:lnTo>
                  <a:lnTo>
                    <a:pt x="23" y="97"/>
                  </a:lnTo>
                  <a:lnTo>
                    <a:pt x="21" y="97"/>
                  </a:lnTo>
                  <a:lnTo>
                    <a:pt x="20" y="98"/>
                  </a:lnTo>
                  <a:lnTo>
                    <a:pt x="17" y="99"/>
                  </a:lnTo>
                  <a:lnTo>
                    <a:pt x="17" y="102"/>
                  </a:lnTo>
                  <a:lnTo>
                    <a:pt x="17" y="104"/>
                  </a:lnTo>
                  <a:lnTo>
                    <a:pt x="17" y="105"/>
                  </a:lnTo>
                  <a:lnTo>
                    <a:pt x="20" y="107"/>
                  </a:lnTo>
                  <a:lnTo>
                    <a:pt x="24" y="107"/>
                  </a:lnTo>
                  <a:lnTo>
                    <a:pt x="29" y="107"/>
                  </a:lnTo>
                  <a:lnTo>
                    <a:pt x="30" y="107"/>
                  </a:lnTo>
                  <a:lnTo>
                    <a:pt x="30" y="108"/>
                  </a:lnTo>
                  <a:lnTo>
                    <a:pt x="25" y="112"/>
                  </a:lnTo>
                  <a:lnTo>
                    <a:pt x="24" y="114"/>
                  </a:lnTo>
                  <a:lnTo>
                    <a:pt x="24" y="116"/>
                  </a:lnTo>
                  <a:lnTo>
                    <a:pt x="25" y="118"/>
                  </a:lnTo>
                  <a:lnTo>
                    <a:pt x="28" y="118"/>
                  </a:lnTo>
                  <a:lnTo>
                    <a:pt x="31" y="118"/>
                  </a:lnTo>
                  <a:lnTo>
                    <a:pt x="37" y="117"/>
                  </a:lnTo>
                  <a:lnTo>
                    <a:pt x="42" y="116"/>
                  </a:lnTo>
                  <a:lnTo>
                    <a:pt x="44" y="116"/>
                  </a:lnTo>
                  <a:lnTo>
                    <a:pt x="47" y="117"/>
                  </a:lnTo>
                  <a:lnTo>
                    <a:pt x="50" y="122"/>
                  </a:lnTo>
                  <a:lnTo>
                    <a:pt x="53" y="124"/>
                  </a:lnTo>
                  <a:lnTo>
                    <a:pt x="56" y="126"/>
                  </a:lnTo>
                  <a:lnTo>
                    <a:pt x="70" y="130"/>
                  </a:lnTo>
                  <a:lnTo>
                    <a:pt x="71" y="131"/>
                  </a:lnTo>
                  <a:lnTo>
                    <a:pt x="73" y="131"/>
                  </a:lnTo>
                  <a:lnTo>
                    <a:pt x="73" y="128"/>
                  </a:lnTo>
                  <a:lnTo>
                    <a:pt x="75" y="124"/>
                  </a:lnTo>
                  <a:lnTo>
                    <a:pt x="75" y="121"/>
                  </a:lnTo>
                  <a:lnTo>
                    <a:pt x="77" y="117"/>
                  </a:lnTo>
                  <a:lnTo>
                    <a:pt x="81" y="116"/>
                  </a:lnTo>
                  <a:lnTo>
                    <a:pt x="85" y="116"/>
                  </a:lnTo>
                  <a:lnTo>
                    <a:pt x="89" y="117"/>
                  </a:lnTo>
                  <a:lnTo>
                    <a:pt x="96" y="121"/>
                  </a:lnTo>
                  <a:lnTo>
                    <a:pt x="103" y="126"/>
                  </a:lnTo>
                  <a:lnTo>
                    <a:pt x="110" y="129"/>
                  </a:lnTo>
                  <a:lnTo>
                    <a:pt x="114" y="130"/>
                  </a:lnTo>
                  <a:lnTo>
                    <a:pt x="118" y="130"/>
                  </a:lnTo>
                  <a:lnTo>
                    <a:pt x="127" y="130"/>
                  </a:lnTo>
                  <a:lnTo>
                    <a:pt x="130" y="129"/>
                  </a:lnTo>
                  <a:lnTo>
                    <a:pt x="134" y="128"/>
                  </a:lnTo>
                  <a:lnTo>
                    <a:pt x="137" y="123"/>
                  </a:lnTo>
                  <a:lnTo>
                    <a:pt x="138" y="121"/>
                  </a:lnTo>
                  <a:lnTo>
                    <a:pt x="139" y="120"/>
                  </a:lnTo>
                  <a:lnTo>
                    <a:pt x="143" y="118"/>
                  </a:lnTo>
                  <a:lnTo>
                    <a:pt x="147" y="120"/>
                  </a:lnTo>
                  <a:lnTo>
                    <a:pt x="150" y="121"/>
                  </a:lnTo>
                  <a:lnTo>
                    <a:pt x="153" y="121"/>
                  </a:lnTo>
                  <a:lnTo>
                    <a:pt x="158" y="120"/>
                  </a:lnTo>
                  <a:lnTo>
                    <a:pt x="165" y="115"/>
                  </a:lnTo>
                  <a:lnTo>
                    <a:pt x="169" y="114"/>
                  </a:lnTo>
                  <a:lnTo>
                    <a:pt x="171" y="114"/>
                  </a:lnTo>
                  <a:lnTo>
                    <a:pt x="172" y="115"/>
                  </a:lnTo>
                  <a:lnTo>
                    <a:pt x="171" y="117"/>
                  </a:lnTo>
                  <a:lnTo>
                    <a:pt x="169" y="120"/>
                  </a:lnTo>
                  <a:lnTo>
                    <a:pt x="166" y="121"/>
                  </a:lnTo>
                  <a:lnTo>
                    <a:pt x="163" y="124"/>
                  </a:lnTo>
                  <a:lnTo>
                    <a:pt x="165" y="130"/>
                  </a:lnTo>
                  <a:lnTo>
                    <a:pt x="165" y="13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6" name="Freeform 1175"/>
            <p:cNvSpPr>
              <a:spLocks/>
            </p:cNvSpPr>
            <p:nvPr/>
          </p:nvSpPr>
          <p:spPr bwMode="auto">
            <a:xfrm>
              <a:off x="4840289" y="3141664"/>
              <a:ext cx="6350" cy="11112"/>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0 w 4"/>
                <a:gd name="T9" fmla="*/ 2147483647 h 7"/>
                <a:gd name="T10" fmla="*/ 2147483647 w 4"/>
                <a:gd name="T11" fmla="*/ 0 h 7"/>
                <a:gd name="T12" fmla="*/ 2147483647 w 4"/>
                <a:gd name="T13" fmla="*/ 0 h 7"/>
                <a:gd name="T14" fmla="*/ 2147483647 w 4"/>
                <a:gd name="T15" fmla="*/ 2147483647 h 7"/>
                <a:gd name="T16" fmla="*/ 2147483647 w 4"/>
                <a:gd name="T17" fmla="*/ 2147483647 h 7"/>
                <a:gd name="T18" fmla="*/ 2147483647 w 4"/>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7"/>
                <a:gd name="T32" fmla="*/ 4 w 4"/>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7">
                  <a:moveTo>
                    <a:pt x="4" y="4"/>
                  </a:moveTo>
                  <a:lnTo>
                    <a:pt x="4" y="6"/>
                  </a:lnTo>
                  <a:lnTo>
                    <a:pt x="4" y="7"/>
                  </a:lnTo>
                  <a:lnTo>
                    <a:pt x="1" y="3"/>
                  </a:lnTo>
                  <a:lnTo>
                    <a:pt x="0" y="1"/>
                  </a:lnTo>
                  <a:lnTo>
                    <a:pt x="1" y="0"/>
                  </a:lnTo>
                  <a:lnTo>
                    <a:pt x="2" y="0"/>
                  </a:lnTo>
                  <a:lnTo>
                    <a:pt x="4" y="1"/>
                  </a:lnTo>
                  <a:lnTo>
                    <a:pt x="4" y="3"/>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7" name="Freeform 1176"/>
            <p:cNvSpPr>
              <a:spLocks/>
            </p:cNvSpPr>
            <p:nvPr/>
          </p:nvSpPr>
          <p:spPr bwMode="auto">
            <a:xfrm>
              <a:off x="4860925" y="3176588"/>
              <a:ext cx="14288" cy="11112"/>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2147483647 w 10"/>
                <a:gd name="T11" fmla="*/ 2147483647 h 7"/>
                <a:gd name="T12" fmla="*/ 2147483647 w 10"/>
                <a:gd name="T13" fmla="*/ 2147483647 h 7"/>
                <a:gd name="T14" fmla="*/ 0 w 10"/>
                <a:gd name="T15" fmla="*/ 2147483647 h 7"/>
                <a:gd name="T16" fmla="*/ 2147483647 w 10"/>
                <a:gd name="T17" fmla="*/ 2147483647 h 7"/>
                <a:gd name="T18" fmla="*/ 2147483647 w 10"/>
                <a:gd name="T19" fmla="*/ 0 h 7"/>
                <a:gd name="T20" fmla="*/ 2147483647 w 10"/>
                <a:gd name="T21" fmla="*/ 2147483647 h 7"/>
                <a:gd name="T22" fmla="*/ 2147483647 w 10"/>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7"/>
                <a:gd name="T38" fmla="*/ 10 w 10"/>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7">
                  <a:moveTo>
                    <a:pt x="10" y="4"/>
                  </a:moveTo>
                  <a:lnTo>
                    <a:pt x="10" y="6"/>
                  </a:lnTo>
                  <a:lnTo>
                    <a:pt x="10" y="7"/>
                  </a:lnTo>
                  <a:lnTo>
                    <a:pt x="9" y="7"/>
                  </a:lnTo>
                  <a:lnTo>
                    <a:pt x="6" y="7"/>
                  </a:lnTo>
                  <a:lnTo>
                    <a:pt x="2" y="7"/>
                  </a:lnTo>
                  <a:lnTo>
                    <a:pt x="1" y="5"/>
                  </a:lnTo>
                  <a:lnTo>
                    <a:pt x="0" y="3"/>
                  </a:lnTo>
                  <a:lnTo>
                    <a:pt x="2" y="1"/>
                  </a:lnTo>
                  <a:lnTo>
                    <a:pt x="5" y="0"/>
                  </a:lnTo>
                  <a:lnTo>
                    <a:pt x="7" y="1"/>
                  </a:lnTo>
                  <a:lnTo>
                    <a:pt x="10"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8" name="Freeform 1177"/>
            <p:cNvSpPr>
              <a:spLocks/>
            </p:cNvSpPr>
            <p:nvPr/>
          </p:nvSpPr>
          <p:spPr bwMode="auto">
            <a:xfrm>
              <a:off x="4838702" y="3140076"/>
              <a:ext cx="4763" cy="11113"/>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0 w 3"/>
                <a:gd name="T13" fmla="*/ 2147483647 h 7"/>
                <a:gd name="T14" fmla="*/ 2147483647 w 3"/>
                <a:gd name="T15" fmla="*/ 0 h 7"/>
                <a:gd name="T16" fmla="*/ 2147483647 w 3"/>
                <a:gd name="T17" fmla="*/ 0 h 7"/>
                <a:gd name="T18" fmla="*/ 2147483647 w 3"/>
                <a:gd name="T19" fmla="*/ 0 h 7"/>
                <a:gd name="T20" fmla="*/ 2147483647 w 3"/>
                <a:gd name="T21" fmla="*/ 2147483647 h 7"/>
                <a:gd name="T22" fmla="*/ 2147483647 w 3"/>
                <a:gd name="T23" fmla="*/ 2147483647 h 7"/>
                <a:gd name="T24" fmla="*/ 2147483647 w 3"/>
                <a:gd name="T25" fmla="*/ 2147483647 h 7"/>
                <a:gd name="T26" fmla="*/ 2147483647 w 3"/>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7"/>
                <a:gd name="T44" fmla="*/ 3 w 3"/>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7">
                  <a:moveTo>
                    <a:pt x="3" y="4"/>
                  </a:moveTo>
                  <a:lnTo>
                    <a:pt x="3" y="4"/>
                  </a:lnTo>
                  <a:lnTo>
                    <a:pt x="3" y="5"/>
                  </a:lnTo>
                  <a:lnTo>
                    <a:pt x="3" y="7"/>
                  </a:lnTo>
                  <a:lnTo>
                    <a:pt x="1" y="3"/>
                  </a:lnTo>
                  <a:lnTo>
                    <a:pt x="0" y="1"/>
                  </a:lnTo>
                  <a:lnTo>
                    <a:pt x="1" y="0"/>
                  </a:lnTo>
                  <a:lnTo>
                    <a:pt x="2" y="0"/>
                  </a:lnTo>
                  <a:lnTo>
                    <a:pt x="3" y="1"/>
                  </a:lnTo>
                  <a:lnTo>
                    <a:pt x="3" y="3"/>
                  </a:lnTo>
                  <a:lnTo>
                    <a:pt x="3"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79" name="Freeform 1178"/>
            <p:cNvSpPr>
              <a:spLocks/>
            </p:cNvSpPr>
            <p:nvPr/>
          </p:nvSpPr>
          <p:spPr bwMode="auto">
            <a:xfrm>
              <a:off x="4859342" y="3175000"/>
              <a:ext cx="14287" cy="11113"/>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2147483647 w 10"/>
                <a:gd name="T11" fmla="*/ 2147483647 h 7"/>
                <a:gd name="T12" fmla="*/ 2147483647 w 10"/>
                <a:gd name="T13" fmla="*/ 2147483647 h 7"/>
                <a:gd name="T14" fmla="*/ 2147483647 w 10"/>
                <a:gd name="T15" fmla="*/ 2147483647 h 7"/>
                <a:gd name="T16" fmla="*/ 2147483647 w 10"/>
                <a:gd name="T17" fmla="*/ 2147483647 h 7"/>
                <a:gd name="T18" fmla="*/ 0 w 10"/>
                <a:gd name="T19" fmla="*/ 2147483647 h 7"/>
                <a:gd name="T20" fmla="*/ 0 w 10"/>
                <a:gd name="T21" fmla="*/ 2147483647 h 7"/>
                <a:gd name="T22" fmla="*/ 2147483647 w 10"/>
                <a:gd name="T23" fmla="*/ 2147483647 h 7"/>
                <a:gd name="T24" fmla="*/ 2147483647 w 10"/>
                <a:gd name="T25" fmla="*/ 0 h 7"/>
                <a:gd name="T26" fmla="*/ 2147483647 w 10"/>
                <a:gd name="T27" fmla="*/ 2147483647 h 7"/>
                <a:gd name="T28" fmla="*/ 2147483647 w 10"/>
                <a:gd name="T29" fmla="*/ 2147483647 h 7"/>
                <a:gd name="T30" fmla="*/ 2147483647 w 10"/>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7"/>
                <a:gd name="T50" fmla="*/ 10 w 10"/>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7">
                  <a:moveTo>
                    <a:pt x="10" y="4"/>
                  </a:moveTo>
                  <a:lnTo>
                    <a:pt x="10" y="4"/>
                  </a:lnTo>
                  <a:lnTo>
                    <a:pt x="10" y="6"/>
                  </a:lnTo>
                  <a:lnTo>
                    <a:pt x="10" y="7"/>
                  </a:lnTo>
                  <a:lnTo>
                    <a:pt x="8" y="7"/>
                  </a:lnTo>
                  <a:lnTo>
                    <a:pt x="6" y="7"/>
                  </a:lnTo>
                  <a:lnTo>
                    <a:pt x="2" y="7"/>
                  </a:lnTo>
                  <a:lnTo>
                    <a:pt x="1" y="5"/>
                  </a:lnTo>
                  <a:lnTo>
                    <a:pt x="0" y="2"/>
                  </a:lnTo>
                  <a:lnTo>
                    <a:pt x="2" y="1"/>
                  </a:lnTo>
                  <a:lnTo>
                    <a:pt x="5" y="0"/>
                  </a:lnTo>
                  <a:lnTo>
                    <a:pt x="7" y="1"/>
                  </a:lnTo>
                  <a:lnTo>
                    <a:pt x="10"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0" name="Freeform 1179"/>
            <p:cNvSpPr>
              <a:spLocks/>
            </p:cNvSpPr>
            <p:nvPr/>
          </p:nvSpPr>
          <p:spPr bwMode="auto">
            <a:xfrm>
              <a:off x="4997450" y="3171829"/>
              <a:ext cx="7938" cy="15875"/>
            </a:xfrm>
            <a:custGeom>
              <a:avLst/>
              <a:gdLst>
                <a:gd name="T0" fmla="*/ 2147483647 w 6"/>
                <a:gd name="T1" fmla="*/ 2147483647 h 10"/>
                <a:gd name="T2" fmla="*/ 2147483647 w 6"/>
                <a:gd name="T3" fmla="*/ 2147483647 h 10"/>
                <a:gd name="T4" fmla="*/ 2147483647 w 6"/>
                <a:gd name="T5" fmla="*/ 2147483647 h 10"/>
                <a:gd name="T6" fmla="*/ 2147483647 w 6"/>
                <a:gd name="T7" fmla="*/ 2147483647 h 10"/>
                <a:gd name="T8" fmla="*/ 2147483647 w 6"/>
                <a:gd name="T9" fmla="*/ 2147483647 h 10"/>
                <a:gd name="T10" fmla="*/ 0 w 6"/>
                <a:gd name="T11" fmla="*/ 2147483647 h 10"/>
                <a:gd name="T12" fmla="*/ 0 w 6"/>
                <a:gd name="T13" fmla="*/ 2147483647 h 10"/>
                <a:gd name="T14" fmla="*/ 2147483647 w 6"/>
                <a:gd name="T15" fmla="*/ 2147483647 h 10"/>
                <a:gd name="T16" fmla="*/ 2147483647 w 6"/>
                <a:gd name="T17" fmla="*/ 0 h 10"/>
                <a:gd name="T18" fmla="*/ 2147483647 w 6"/>
                <a:gd name="T19" fmla="*/ 2147483647 h 10"/>
                <a:gd name="T20" fmla="*/ 2147483647 w 6"/>
                <a:gd name="T21" fmla="*/ 2147483647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0"/>
                <a:gd name="T35" fmla="*/ 6 w 6"/>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0">
                  <a:moveTo>
                    <a:pt x="6" y="6"/>
                  </a:moveTo>
                  <a:lnTo>
                    <a:pt x="6" y="8"/>
                  </a:lnTo>
                  <a:lnTo>
                    <a:pt x="5" y="10"/>
                  </a:lnTo>
                  <a:lnTo>
                    <a:pt x="3" y="10"/>
                  </a:lnTo>
                  <a:lnTo>
                    <a:pt x="1" y="9"/>
                  </a:lnTo>
                  <a:lnTo>
                    <a:pt x="0" y="6"/>
                  </a:lnTo>
                  <a:lnTo>
                    <a:pt x="0" y="3"/>
                  </a:lnTo>
                  <a:lnTo>
                    <a:pt x="2" y="1"/>
                  </a:lnTo>
                  <a:lnTo>
                    <a:pt x="3" y="0"/>
                  </a:lnTo>
                  <a:lnTo>
                    <a:pt x="5" y="1"/>
                  </a:lnTo>
                  <a:lnTo>
                    <a:pt x="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1" name="Freeform 1180"/>
            <p:cNvSpPr>
              <a:spLocks/>
            </p:cNvSpPr>
            <p:nvPr/>
          </p:nvSpPr>
          <p:spPr bwMode="auto">
            <a:xfrm>
              <a:off x="5026029" y="3224217"/>
              <a:ext cx="11113" cy="7937"/>
            </a:xfrm>
            <a:custGeom>
              <a:avLst/>
              <a:gdLst>
                <a:gd name="T0" fmla="*/ 2147483647 w 7"/>
                <a:gd name="T1" fmla="*/ 2147483647 h 5"/>
                <a:gd name="T2" fmla="*/ 2147483647 w 7"/>
                <a:gd name="T3" fmla="*/ 2147483647 h 5"/>
                <a:gd name="T4" fmla="*/ 2147483647 w 7"/>
                <a:gd name="T5" fmla="*/ 2147483647 h 5"/>
                <a:gd name="T6" fmla="*/ 0 w 7"/>
                <a:gd name="T7" fmla="*/ 2147483647 h 5"/>
                <a:gd name="T8" fmla="*/ 0 w 7"/>
                <a:gd name="T9" fmla="*/ 2147483647 h 5"/>
                <a:gd name="T10" fmla="*/ 2147483647 w 7"/>
                <a:gd name="T11" fmla="*/ 2147483647 h 5"/>
                <a:gd name="T12" fmla="*/ 2147483647 w 7"/>
                <a:gd name="T13" fmla="*/ 2147483647 h 5"/>
                <a:gd name="T14" fmla="*/ 2147483647 w 7"/>
                <a:gd name="T15" fmla="*/ 0 h 5"/>
                <a:gd name="T16" fmla="*/ 2147483647 w 7"/>
                <a:gd name="T17" fmla="*/ 2147483647 h 5"/>
                <a:gd name="T18" fmla="*/ 2147483647 w 7"/>
                <a:gd name="T19" fmla="*/ 2147483647 h 5"/>
                <a:gd name="T20" fmla="*/ 2147483647 w 7"/>
                <a:gd name="T21" fmla="*/ 2147483647 h 5"/>
                <a:gd name="T22" fmla="*/ 2147483647 w 7"/>
                <a:gd name="T23" fmla="*/ 2147483647 h 5"/>
                <a:gd name="T24" fmla="*/ 2147483647 w 7"/>
                <a:gd name="T25" fmla="*/ 2147483647 h 5"/>
                <a:gd name="T26" fmla="*/ 2147483647 w 7"/>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
                <a:gd name="T44" fmla="*/ 7 w 7"/>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
                  <a:moveTo>
                    <a:pt x="4" y="3"/>
                  </a:moveTo>
                  <a:lnTo>
                    <a:pt x="2" y="5"/>
                  </a:lnTo>
                  <a:lnTo>
                    <a:pt x="1" y="5"/>
                  </a:lnTo>
                  <a:lnTo>
                    <a:pt x="0" y="3"/>
                  </a:lnTo>
                  <a:lnTo>
                    <a:pt x="0" y="2"/>
                  </a:lnTo>
                  <a:lnTo>
                    <a:pt x="1" y="1"/>
                  </a:lnTo>
                  <a:lnTo>
                    <a:pt x="4" y="1"/>
                  </a:lnTo>
                  <a:lnTo>
                    <a:pt x="4" y="0"/>
                  </a:lnTo>
                  <a:lnTo>
                    <a:pt x="5" y="1"/>
                  </a:lnTo>
                  <a:lnTo>
                    <a:pt x="6" y="1"/>
                  </a:lnTo>
                  <a:lnTo>
                    <a:pt x="7" y="1"/>
                  </a:lnTo>
                  <a:lnTo>
                    <a:pt x="7" y="2"/>
                  </a:lnTo>
                  <a:lnTo>
                    <a:pt x="6" y="3"/>
                  </a:lnTo>
                  <a:lnTo>
                    <a:pt x="4" y="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2" name="Freeform 1181"/>
            <p:cNvSpPr>
              <a:spLocks/>
            </p:cNvSpPr>
            <p:nvPr/>
          </p:nvSpPr>
          <p:spPr bwMode="auto">
            <a:xfrm>
              <a:off x="4994276" y="3168654"/>
              <a:ext cx="9525" cy="17463"/>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2147483647 h 11"/>
                <a:gd name="T14" fmla="*/ 0 w 7"/>
                <a:gd name="T15" fmla="*/ 2147483647 h 11"/>
                <a:gd name="T16" fmla="*/ 0 w 7"/>
                <a:gd name="T17" fmla="*/ 2147483647 h 11"/>
                <a:gd name="T18" fmla="*/ 2147483647 w 7"/>
                <a:gd name="T19" fmla="*/ 2147483647 h 11"/>
                <a:gd name="T20" fmla="*/ 2147483647 w 7"/>
                <a:gd name="T21" fmla="*/ 2147483647 h 11"/>
                <a:gd name="T22" fmla="*/ 2147483647 w 7"/>
                <a:gd name="T23" fmla="*/ 0 h 11"/>
                <a:gd name="T24" fmla="*/ 2147483647 w 7"/>
                <a:gd name="T25" fmla="*/ 2147483647 h 11"/>
                <a:gd name="T26" fmla="*/ 2147483647 w 7"/>
                <a:gd name="T27" fmla="*/ 2147483647 h 11"/>
                <a:gd name="T28" fmla="*/ 2147483647 w 7"/>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11"/>
                <a:gd name="T47" fmla="*/ 7 w 7"/>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11">
                  <a:moveTo>
                    <a:pt x="7" y="6"/>
                  </a:moveTo>
                  <a:lnTo>
                    <a:pt x="7" y="6"/>
                  </a:lnTo>
                  <a:lnTo>
                    <a:pt x="7" y="9"/>
                  </a:lnTo>
                  <a:lnTo>
                    <a:pt x="5" y="11"/>
                  </a:lnTo>
                  <a:lnTo>
                    <a:pt x="4" y="11"/>
                  </a:lnTo>
                  <a:lnTo>
                    <a:pt x="2" y="10"/>
                  </a:lnTo>
                  <a:lnTo>
                    <a:pt x="0" y="6"/>
                  </a:lnTo>
                  <a:lnTo>
                    <a:pt x="0" y="4"/>
                  </a:lnTo>
                  <a:lnTo>
                    <a:pt x="3" y="2"/>
                  </a:lnTo>
                  <a:lnTo>
                    <a:pt x="4" y="0"/>
                  </a:lnTo>
                  <a:lnTo>
                    <a:pt x="5" y="2"/>
                  </a:lnTo>
                  <a:lnTo>
                    <a:pt x="7"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3" name="Freeform 1182"/>
            <p:cNvSpPr>
              <a:spLocks/>
            </p:cNvSpPr>
            <p:nvPr/>
          </p:nvSpPr>
          <p:spPr bwMode="auto">
            <a:xfrm>
              <a:off x="5024438" y="3222625"/>
              <a:ext cx="11112" cy="6350"/>
            </a:xfrm>
            <a:custGeom>
              <a:avLst/>
              <a:gdLst>
                <a:gd name="T0" fmla="*/ 2147483647 w 7"/>
                <a:gd name="T1" fmla="*/ 2147483647 h 4"/>
                <a:gd name="T2" fmla="*/ 2147483647 w 7"/>
                <a:gd name="T3" fmla="*/ 2147483647 h 4"/>
                <a:gd name="T4" fmla="*/ 2147483647 w 7"/>
                <a:gd name="T5" fmla="*/ 2147483647 h 4"/>
                <a:gd name="T6" fmla="*/ 2147483647 w 7"/>
                <a:gd name="T7" fmla="*/ 2147483647 h 4"/>
                <a:gd name="T8" fmla="*/ 0 w 7"/>
                <a:gd name="T9" fmla="*/ 2147483647 h 4"/>
                <a:gd name="T10" fmla="*/ 0 w 7"/>
                <a:gd name="T11" fmla="*/ 2147483647 h 4"/>
                <a:gd name="T12" fmla="*/ 0 w 7"/>
                <a:gd name="T13" fmla="*/ 2147483647 h 4"/>
                <a:gd name="T14" fmla="*/ 2147483647 w 7"/>
                <a:gd name="T15" fmla="*/ 2147483647 h 4"/>
                <a:gd name="T16" fmla="*/ 2147483647 w 7"/>
                <a:gd name="T17" fmla="*/ 2147483647 h 4"/>
                <a:gd name="T18" fmla="*/ 2147483647 w 7"/>
                <a:gd name="T19" fmla="*/ 0 h 4"/>
                <a:gd name="T20" fmla="*/ 2147483647 w 7"/>
                <a:gd name="T21" fmla="*/ 0 h 4"/>
                <a:gd name="T22" fmla="*/ 2147483647 w 7"/>
                <a:gd name="T23" fmla="*/ 2147483647 h 4"/>
                <a:gd name="T24" fmla="*/ 2147483647 w 7"/>
                <a:gd name="T25" fmla="*/ 2147483647 h 4"/>
                <a:gd name="T26" fmla="*/ 2147483647 w 7"/>
                <a:gd name="T27" fmla="*/ 2147483647 h 4"/>
                <a:gd name="T28" fmla="*/ 2147483647 w 7"/>
                <a:gd name="T29" fmla="*/ 2147483647 h 4"/>
                <a:gd name="T30" fmla="*/ 2147483647 w 7"/>
                <a:gd name="T31" fmla="*/ 2147483647 h 4"/>
                <a:gd name="T32" fmla="*/ 2147483647 w 7"/>
                <a:gd name="T33" fmla="*/ 2147483647 h 4"/>
                <a:gd name="T34" fmla="*/ 2147483647 w 7"/>
                <a:gd name="T35" fmla="*/ 2147483647 h 4"/>
                <a:gd name="T36" fmla="*/ 2147483647 w 7"/>
                <a:gd name="T37" fmla="*/ 2147483647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
                <a:gd name="T58" fmla="*/ 0 h 4"/>
                <a:gd name="T59" fmla="*/ 7 w 7"/>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 h="4">
                  <a:moveTo>
                    <a:pt x="3" y="3"/>
                  </a:moveTo>
                  <a:lnTo>
                    <a:pt x="3" y="3"/>
                  </a:lnTo>
                  <a:lnTo>
                    <a:pt x="2" y="4"/>
                  </a:lnTo>
                  <a:lnTo>
                    <a:pt x="1" y="4"/>
                  </a:lnTo>
                  <a:lnTo>
                    <a:pt x="0" y="3"/>
                  </a:lnTo>
                  <a:lnTo>
                    <a:pt x="0" y="2"/>
                  </a:lnTo>
                  <a:lnTo>
                    <a:pt x="1" y="1"/>
                  </a:lnTo>
                  <a:lnTo>
                    <a:pt x="3" y="1"/>
                  </a:lnTo>
                  <a:lnTo>
                    <a:pt x="3" y="0"/>
                  </a:lnTo>
                  <a:lnTo>
                    <a:pt x="5" y="1"/>
                  </a:lnTo>
                  <a:lnTo>
                    <a:pt x="6" y="1"/>
                  </a:lnTo>
                  <a:lnTo>
                    <a:pt x="7" y="1"/>
                  </a:lnTo>
                  <a:lnTo>
                    <a:pt x="7" y="2"/>
                  </a:lnTo>
                  <a:lnTo>
                    <a:pt x="6" y="3"/>
                  </a:lnTo>
                  <a:lnTo>
                    <a:pt x="3" y="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4" name="Freeform 1183"/>
            <p:cNvSpPr>
              <a:spLocks/>
            </p:cNvSpPr>
            <p:nvPr/>
          </p:nvSpPr>
          <p:spPr bwMode="auto">
            <a:xfrm>
              <a:off x="5041900" y="3243267"/>
              <a:ext cx="14288" cy="20637"/>
            </a:xfrm>
            <a:custGeom>
              <a:avLst/>
              <a:gdLst>
                <a:gd name="T0" fmla="*/ 2147483647 w 9"/>
                <a:gd name="T1" fmla="*/ 2147483647 h 13"/>
                <a:gd name="T2" fmla="*/ 2147483647 w 9"/>
                <a:gd name="T3" fmla="*/ 2147483647 h 13"/>
                <a:gd name="T4" fmla="*/ 2147483647 w 9"/>
                <a:gd name="T5" fmla="*/ 2147483647 h 13"/>
                <a:gd name="T6" fmla="*/ 2147483647 w 9"/>
                <a:gd name="T7" fmla="*/ 0 h 13"/>
                <a:gd name="T8" fmla="*/ 2147483647 w 9"/>
                <a:gd name="T9" fmla="*/ 2147483647 h 13"/>
                <a:gd name="T10" fmla="*/ 2147483647 w 9"/>
                <a:gd name="T11" fmla="*/ 2147483647 h 13"/>
                <a:gd name="T12" fmla="*/ 2147483647 w 9"/>
                <a:gd name="T13" fmla="*/ 2147483647 h 13"/>
                <a:gd name="T14" fmla="*/ 2147483647 w 9"/>
                <a:gd name="T15" fmla="*/ 2147483647 h 13"/>
                <a:gd name="T16" fmla="*/ 2147483647 w 9"/>
                <a:gd name="T17" fmla="*/ 2147483647 h 13"/>
                <a:gd name="T18" fmla="*/ 2147483647 w 9"/>
                <a:gd name="T19" fmla="*/ 2147483647 h 13"/>
                <a:gd name="T20" fmla="*/ 2147483647 w 9"/>
                <a:gd name="T21" fmla="*/ 2147483647 h 13"/>
                <a:gd name="T22" fmla="*/ 0 w 9"/>
                <a:gd name="T23" fmla="*/ 2147483647 h 13"/>
                <a:gd name="T24" fmla="*/ 0 w 9"/>
                <a:gd name="T25" fmla="*/ 2147483647 h 13"/>
                <a:gd name="T26" fmla="*/ 2147483647 w 9"/>
                <a:gd name="T27" fmla="*/ 2147483647 h 13"/>
                <a:gd name="T28" fmla="*/ 2147483647 w 9"/>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3"/>
                <a:gd name="T47" fmla="*/ 9 w 9"/>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3">
                  <a:moveTo>
                    <a:pt x="4" y="6"/>
                  </a:moveTo>
                  <a:lnTo>
                    <a:pt x="5" y="3"/>
                  </a:lnTo>
                  <a:lnTo>
                    <a:pt x="7" y="2"/>
                  </a:lnTo>
                  <a:lnTo>
                    <a:pt x="7" y="0"/>
                  </a:lnTo>
                  <a:lnTo>
                    <a:pt x="9" y="1"/>
                  </a:lnTo>
                  <a:lnTo>
                    <a:pt x="9" y="2"/>
                  </a:lnTo>
                  <a:lnTo>
                    <a:pt x="9" y="6"/>
                  </a:lnTo>
                  <a:lnTo>
                    <a:pt x="7" y="12"/>
                  </a:lnTo>
                  <a:lnTo>
                    <a:pt x="5" y="13"/>
                  </a:lnTo>
                  <a:lnTo>
                    <a:pt x="3" y="13"/>
                  </a:lnTo>
                  <a:lnTo>
                    <a:pt x="2" y="13"/>
                  </a:lnTo>
                  <a:lnTo>
                    <a:pt x="0" y="10"/>
                  </a:lnTo>
                  <a:lnTo>
                    <a:pt x="0" y="9"/>
                  </a:lnTo>
                  <a:lnTo>
                    <a:pt x="2" y="8"/>
                  </a:lnTo>
                  <a:lnTo>
                    <a:pt x="4"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5" name="Freeform 1184"/>
            <p:cNvSpPr>
              <a:spLocks/>
            </p:cNvSpPr>
            <p:nvPr/>
          </p:nvSpPr>
          <p:spPr bwMode="auto">
            <a:xfrm>
              <a:off x="4937125" y="3279778"/>
              <a:ext cx="77788" cy="20638"/>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0 h 13"/>
                <a:gd name="T26" fmla="*/ 2147483647 w 53"/>
                <a:gd name="T27" fmla="*/ 0 h 13"/>
                <a:gd name="T28" fmla="*/ 2147483647 w 53"/>
                <a:gd name="T29" fmla="*/ 0 h 13"/>
                <a:gd name="T30" fmla="*/ 2147483647 w 53"/>
                <a:gd name="T31" fmla="*/ 2147483647 h 13"/>
                <a:gd name="T32" fmla="*/ 2147483647 w 53"/>
                <a:gd name="T33" fmla="*/ 2147483647 h 13"/>
                <a:gd name="T34" fmla="*/ 2147483647 w 53"/>
                <a:gd name="T35" fmla="*/ 2147483647 h 13"/>
                <a:gd name="T36" fmla="*/ 2147483647 w 53"/>
                <a:gd name="T37" fmla="*/ 2147483647 h 13"/>
                <a:gd name="T38" fmla="*/ 2147483647 w 53"/>
                <a:gd name="T39" fmla="*/ 2147483647 h 13"/>
                <a:gd name="T40" fmla="*/ 0 w 53"/>
                <a:gd name="T41" fmla="*/ 2147483647 h 13"/>
                <a:gd name="T42" fmla="*/ 0 w 53"/>
                <a:gd name="T43" fmla="*/ 2147483647 h 13"/>
                <a:gd name="T44" fmla="*/ 2147483647 w 53"/>
                <a:gd name="T45" fmla="*/ 2147483647 h 13"/>
                <a:gd name="T46" fmla="*/ 2147483647 w 53"/>
                <a:gd name="T47" fmla="*/ 2147483647 h 13"/>
                <a:gd name="T48" fmla="*/ 2147483647 w 53"/>
                <a:gd name="T49" fmla="*/ 2147483647 h 13"/>
                <a:gd name="T50" fmla="*/ 2147483647 w 53"/>
                <a:gd name="T51" fmla="*/ 2147483647 h 13"/>
                <a:gd name="T52" fmla="*/ 2147483647 w 53"/>
                <a:gd name="T53" fmla="*/ 2147483647 h 13"/>
                <a:gd name="T54" fmla="*/ 2147483647 w 53"/>
                <a:gd name="T55" fmla="*/ 2147483647 h 13"/>
                <a:gd name="T56" fmla="*/ 2147483647 w 53"/>
                <a:gd name="T57" fmla="*/ 2147483647 h 13"/>
                <a:gd name="T58" fmla="*/ 2147483647 w 53"/>
                <a:gd name="T59" fmla="*/ 2147483647 h 13"/>
                <a:gd name="T60" fmla="*/ 2147483647 w 53"/>
                <a:gd name="T61" fmla="*/ 2147483647 h 13"/>
                <a:gd name="T62" fmla="*/ 2147483647 w 53"/>
                <a:gd name="T63" fmla="*/ 2147483647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
                <a:gd name="T97" fmla="*/ 0 h 13"/>
                <a:gd name="T98" fmla="*/ 53 w 53"/>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 h="13">
                  <a:moveTo>
                    <a:pt x="48" y="12"/>
                  </a:moveTo>
                  <a:lnTo>
                    <a:pt x="49" y="12"/>
                  </a:lnTo>
                  <a:lnTo>
                    <a:pt x="51" y="12"/>
                  </a:lnTo>
                  <a:lnTo>
                    <a:pt x="53" y="10"/>
                  </a:lnTo>
                  <a:lnTo>
                    <a:pt x="53" y="9"/>
                  </a:lnTo>
                  <a:lnTo>
                    <a:pt x="53" y="6"/>
                  </a:lnTo>
                  <a:lnTo>
                    <a:pt x="52" y="4"/>
                  </a:lnTo>
                  <a:lnTo>
                    <a:pt x="51" y="4"/>
                  </a:lnTo>
                  <a:lnTo>
                    <a:pt x="48" y="4"/>
                  </a:lnTo>
                  <a:lnTo>
                    <a:pt x="47" y="5"/>
                  </a:lnTo>
                  <a:lnTo>
                    <a:pt x="44" y="5"/>
                  </a:lnTo>
                  <a:lnTo>
                    <a:pt x="37" y="3"/>
                  </a:lnTo>
                  <a:lnTo>
                    <a:pt x="28" y="0"/>
                  </a:lnTo>
                  <a:lnTo>
                    <a:pt x="19" y="0"/>
                  </a:lnTo>
                  <a:lnTo>
                    <a:pt x="10" y="0"/>
                  </a:lnTo>
                  <a:lnTo>
                    <a:pt x="9" y="2"/>
                  </a:lnTo>
                  <a:lnTo>
                    <a:pt x="8" y="3"/>
                  </a:lnTo>
                  <a:lnTo>
                    <a:pt x="5" y="2"/>
                  </a:lnTo>
                  <a:lnTo>
                    <a:pt x="4" y="2"/>
                  </a:lnTo>
                  <a:lnTo>
                    <a:pt x="1" y="2"/>
                  </a:lnTo>
                  <a:lnTo>
                    <a:pt x="0" y="4"/>
                  </a:lnTo>
                  <a:lnTo>
                    <a:pt x="0" y="6"/>
                  </a:lnTo>
                  <a:lnTo>
                    <a:pt x="1" y="8"/>
                  </a:lnTo>
                  <a:lnTo>
                    <a:pt x="2" y="9"/>
                  </a:lnTo>
                  <a:lnTo>
                    <a:pt x="18" y="9"/>
                  </a:lnTo>
                  <a:lnTo>
                    <a:pt x="25" y="9"/>
                  </a:lnTo>
                  <a:lnTo>
                    <a:pt x="29" y="11"/>
                  </a:lnTo>
                  <a:lnTo>
                    <a:pt x="32" y="12"/>
                  </a:lnTo>
                  <a:lnTo>
                    <a:pt x="35" y="13"/>
                  </a:lnTo>
                  <a:lnTo>
                    <a:pt x="41" y="13"/>
                  </a:lnTo>
                  <a:lnTo>
                    <a:pt x="44" y="12"/>
                  </a:lnTo>
                  <a:lnTo>
                    <a:pt x="48"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6" name="Freeform 1185"/>
            <p:cNvSpPr>
              <a:spLocks/>
            </p:cNvSpPr>
            <p:nvPr/>
          </p:nvSpPr>
          <p:spPr bwMode="auto">
            <a:xfrm>
              <a:off x="5040316" y="3241676"/>
              <a:ext cx="14287" cy="20638"/>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0 h 13"/>
                <a:gd name="T10" fmla="*/ 2147483647 w 9"/>
                <a:gd name="T11" fmla="*/ 0 h 13"/>
                <a:gd name="T12" fmla="*/ 2147483647 w 9"/>
                <a:gd name="T13" fmla="*/ 2147483647 h 13"/>
                <a:gd name="T14" fmla="*/ 2147483647 w 9"/>
                <a:gd name="T15" fmla="*/ 2147483647 h 13"/>
                <a:gd name="T16" fmla="*/ 2147483647 w 9"/>
                <a:gd name="T17" fmla="*/ 2147483647 h 13"/>
                <a:gd name="T18" fmla="*/ 2147483647 w 9"/>
                <a:gd name="T19" fmla="*/ 2147483647 h 13"/>
                <a:gd name="T20" fmla="*/ 2147483647 w 9"/>
                <a:gd name="T21" fmla="*/ 2147483647 h 13"/>
                <a:gd name="T22" fmla="*/ 2147483647 w 9"/>
                <a:gd name="T23" fmla="*/ 2147483647 h 13"/>
                <a:gd name="T24" fmla="*/ 2147483647 w 9"/>
                <a:gd name="T25" fmla="*/ 2147483647 h 13"/>
                <a:gd name="T26" fmla="*/ 2147483647 w 9"/>
                <a:gd name="T27" fmla="*/ 2147483647 h 13"/>
                <a:gd name="T28" fmla="*/ 0 w 9"/>
                <a:gd name="T29" fmla="*/ 2147483647 h 13"/>
                <a:gd name="T30" fmla="*/ 0 w 9"/>
                <a:gd name="T31" fmla="*/ 2147483647 h 13"/>
                <a:gd name="T32" fmla="*/ 0 w 9"/>
                <a:gd name="T33" fmla="*/ 2147483647 h 13"/>
                <a:gd name="T34" fmla="*/ 2147483647 w 9"/>
                <a:gd name="T35" fmla="*/ 2147483647 h 13"/>
                <a:gd name="T36" fmla="*/ 2147483647 w 9"/>
                <a:gd name="T37" fmla="*/ 2147483647 h 13"/>
                <a:gd name="T38" fmla="*/ 2147483647 w 9"/>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3"/>
                <a:gd name="T62" fmla="*/ 9 w 9"/>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3">
                  <a:moveTo>
                    <a:pt x="4" y="5"/>
                  </a:moveTo>
                  <a:lnTo>
                    <a:pt x="4" y="5"/>
                  </a:lnTo>
                  <a:lnTo>
                    <a:pt x="5" y="3"/>
                  </a:lnTo>
                  <a:lnTo>
                    <a:pt x="6" y="2"/>
                  </a:lnTo>
                  <a:lnTo>
                    <a:pt x="6" y="0"/>
                  </a:lnTo>
                  <a:lnTo>
                    <a:pt x="9" y="1"/>
                  </a:lnTo>
                  <a:lnTo>
                    <a:pt x="9" y="2"/>
                  </a:lnTo>
                  <a:lnTo>
                    <a:pt x="9" y="5"/>
                  </a:lnTo>
                  <a:lnTo>
                    <a:pt x="6" y="11"/>
                  </a:lnTo>
                  <a:lnTo>
                    <a:pt x="5" y="13"/>
                  </a:lnTo>
                  <a:lnTo>
                    <a:pt x="3" y="13"/>
                  </a:lnTo>
                  <a:lnTo>
                    <a:pt x="1" y="13"/>
                  </a:lnTo>
                  <a:lnTo>
                    <a:pt x="0" y="10"/>
                  </a:lnTo>
                  <a:lnTo>
                    <a:pt x="0" y="9"/>
                  </a:lnTo>
                  <a:lnTo>
                    <a:pt x="1" y="8"/>
                  </a:lnTo>
                  <a:lnTo>
                    <a:pt x="4"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7" name="Freeform 1186"/>
            <p:cNvSpPr>
              <a:spLocks/>
            </p:cNvSpPr>
            <p:nvPr/>
          </p:nvSpPr>
          <p:spPr bwMode="auto">
            <a:xfrm>
              <a:off x="4935541" y="3278188"/>
              <a:ext cx="77787" cy="20637"/>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0 h 13"/>
                <a:gd name="T34" fmla="*/ 2147483647 w 53"/>
                <a:gd name="T35" fmla="*/ 0 h 13"/>
                <a:gd name="T36" fmla="*/ 2147483647 w 53"/>
                <a:gd name="T37" fmla="*/ 0 h 13"/>
                <a:gd name="T38" fmla="*/ 2147483647 w 53"/>
                <a:gd name="T39" fmla="*/ 0 h 13"/>
                <a:gd name="T40" fmla="*/ 2147483647 w 53"/>
                <a:gd name="T41" fmla="*/ 2147483647 h 13"/>
                <a:gd name="T42" fmla="*/ 2147483647 w 53"/>
                <a:gd name="T43" fmla="*/ 2147483647 h 13"/>
                <a:gd name="T44" fmla="*/ 2147483647 w 53"/>
                <a:gd name="T45" fmla="*/ 2147483647 h 13"/>
                <a:gd name="T46" fmla="*/ 2147483647 w 53"/>
                <a:gd name="T47" fmla="*/ 2147483647 h 13"/>
                <a:gd name="T48" fmla="*/ 2147483647 w 53"/>
                <a:gd name="T49" fmla="*/ 2147483647 h 13"/>
                <a:gd name="T50" fmla="*/ 2147483647 w 53"/>
                <a:gd name="T51" fmla="*/ 2147483647 h 13"/>
                <a:gd name="T52" fmla="*/ 2147483647 w 53"/>
                <a:gd name="T53" fmla="*/ 2147483647 h 13"/>
                <a:gd name="T54" fmla="*/ 0 w 53"/>
                <a:gd name="T55" fmla="*/ 2147483647 h 13"/>
                <a:gd name="T56" fmla="*/ 0 w 53"/>
                <a:gd name="T57" fmla="*/ 2147483647 h 13"/>
                <a:gd name="T58" fmla="*/ 2147483647 w 53"/>
                <a:gd name="T59" fmla="*/ 2147483647 h 13"/>
                <a:gd name="T60" fmla="*/ 2147483647 w 53"/>
                <a:gd name="T61" fmla="*/ 2147483647 h 13"/>
                <a:gd name="T62" fmla="*/ 2147483647 w 53"/>
                <a:gd name="T63" fmla="*/ 2147483647 h 13"/>
                <a:gd name="T64" fmla="*/ 2147483647 w 53"/>
                <a:gd name="T65" fmla="*/ 2147483647 h 13"/>
                <a:gd name="T66" fmla="*/ 2147483647 w 53"/>
                <a:gd name="T67" fmla="*/ 2147483647 h 13"/>
                <a:gd name="T68" fmla="*/ 2147483647 w 53"/>
                <a:gd name="T69" fmla="*/ 2147483647 h 13"/>
                <a:gd name="T70" fmla="*/ 2147483647 w 53"/>
                <a:gd name="T71" fmla="*/ 2147483647 h 13"/>
                <a:gd name="T72" fmla="*/ 2147483647 w 53"/>
                <a:gd name="T73" fmla="*/ 2147483647 h 13"/>
                <a:gd name="T74" fmla="*/ 2147483647 w 53"/>
                <a:gd name="T75" fmla="*/ 2147483647 h 13"/>
                <a:gd name="T76" fmla="*/ 2147483647 w 53"/>
                <a:gd name="T77" fmla="*/ 2147483647 h 13"/>
                <a:gd name="T78" fmla="*/ 2147483647 w 53"/>
                <a:gd name="T79" fmla="*/ 2147483647 h 13"/>
                <a:gd name="T80" fmla="*/ 2147483647 w 53"/>
                <a:gd name="T81" fmla="*/ 2147483647 h 13"/>
                <a:gd name="T82" fmla="*/ 2147483647 w 53"/>
                <a:gd name="T83" fmla="*/ 2147483647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3"/>
                <a:gd name="T128" fmla="*/ 53 w 53"/>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3">
                  <a:moveTo>
                    <a:pt x="48" y="12"/>
                  </a:moveTo>
                  <a:lnTo>
                    <a:pt x="48" y="12"/>
                  </a:lnTo>
                  <a:lnTo>
                    <a:pt x="49" y="12"/>
                  </a:lnTo>
                  <a:lnTo>
                    <a:pt x="50" y="12"/>
                  </a:lnTo>
                  <a:lnTo>
                    <a:pt x="53" y="10"/>
                  </a:lnTo>
                  <a:lnTo>
                    <a:pt x="53" y="9"/>
                  </a:lnTo>
                  <a:lnTo>
                    <a:pt x="53" y="6"/>
                  </a:lnTo>
                  <a:lnTo>
                    <a:pt x="52" y="4"/>
                  </a:lnTo>
                  <a:lnTo>
                    <a:pt x="50" y="4"/>
                  </a:lnTo>
                  <a:lnTo>
                    <a:pt x="48" y="4"/>
                  </a:lnTo>
                  <a:lnTo>
                    <a:pt x="47" y="5"/>
                  </a:lnTo>
                  <a:lnTo>
                    <a:pt x="44" y="5"/>
                  </a:lnTo>
                  <a:lnTo>
                    <a:pt x="36" y="3"/>
                  </a:lnTo>
                  <a:lnTo>
                    <a:pt x="28" y="0"/>
                  </a:lnTo>
                  <a:lnTo>
                    <a:pt x="19" y="0"/>
                  </a:lnTo>
                  <a:lnTo>
                    <a:pt x="10" y="0"/>
                  </a:lnTo>
                  <a:lnTo>
                    <a:pt x="9" y="1"/>
                  </a:lnTo>
                  <a:lnTo>
                    <a:pt x="7" y="3"/>
                  </a:lnTo>
                  <a:lnTo>
                    <a:pt x="5" y="1"/>
                  </a:lnTo>
                  <a:lnTo>
                    <a:pt x="3" y="1"/>
                  </a:lnTo>
                  <a:lnTo>
                    <a:pt x="1" y="1"/>
                  </a:lnTo>
                  <a:lnTo>
                    <a:pt x="0" y="4"/>
                  </a:lnTo>
                  <a:lnTo>
                    <a:pt x="0" y="6"/>
                  </a:lnTo>
                  <a:lnTo>
                    <a:pt x="1" y="7"/>
                  </a:lnTo>
                  <a:lnTo>
                    <a:pt x="2" y="9"/>
                  </a:lnTo>
                  <a:lnTo>
                    <a:pt x="17" y="9"/>
                  </a:lnTo>
                  <a:lnTo>
                    <a:pt x="25" y="9"/>
                  </a:lnTo>
                  <a:lnTo>
                    <a:pt x="29" y="11"/>
                  </a:lnTo>
                  <a:lnTo>
                    <a:pt x="31" y="12"/>
                  </a:lnTo>
                  <a:lnTo>
                    <a:pt x="35" y="13"/>
                  </a:lnTo>
                  <a:lnTo>
                    <a:pt x="40" y="13"/>
                  </a:lnTo>
                  <a:lnTo>
                    <a:pt x="44" y="12"/>
                  </a:lnTo>
                  <a:lnTo>
                    <a:pt x="48"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8" name="Freeform 1187"/>
            <p:cNvSpPr>
              <a:spLocks/>
            </p:cNvSpPr>
            <p:nvPr/>
          </p:nvSpPr>
          <p:spPr bwMode="auto">
            <a:xfrm>
              <a:off x="4945064" y="3146426"/>
              <a:ext cx="36512" cy="44450"/>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2147483647 h 28"/>
                <a:gd name="T12" fmla="*/ 2147483647 w 24"/>
                <a:gd name="T13" fmla="*/ 2147483647 h 28"/>
                <a:gd name="T14" fmla="*/ 2147483647 w 24"/>
                <a:gd name="T15" fmla="*/ 0 h 28"/>
                <a:gd name="T16" fmla="*/ 2147483647 w 24"/>
                <a:gd name="T17" fmla="*/ 2147483647 h 28"/>
                <a:gd name="T18" fmla="*/ 0 w 24"/>
                <a:gd name="T19" fmla="*/ 2147483647 h 28"/>
                <a:gd name="T20" fmla="*/ 2147483647 w 24"/>
                <a:gd name="T21" fmla="*/ 2147483647 h 28"/>
                <a:gd name="T22" fmla="*/ 2147483647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28"/>
                <a:gd name="T65" fmla="*/ 24 w 24"/>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28">
                  <a:moveTo>
                    <a:pt x="21" y="20"/>
                  </a:moveTo>
                  <a:lnTo>
                    <a:pt x="18" y="19"/>
                  </a:lnTo>
                  <a:lnTo>
                    <a:pt x="15" y="17"/>
                  </a:lnTo>
                  <a:lnTo>
                    <a:pt x="13" y="12"/>
                  </a:lnTo>
                  <a:lnTo>
                    <a:pt x="10" y="6"/>
                  </a:lnTo>
                  <a:lnTo>
                    <a:pt x="7" y="3"/>
                  </a:lnTo>
                  <a:lnTo>
                    <a:pt x="4" y="1"/>
                  </a:lnTo>
                  <a:lnTo>
                    <a:pt x="2" y="0"/>
                  </a:lnTo>
                  <a:lnTo>
                    <a:pt x="2" y="1"/>
                  </a:lnTo>
                  <a:lnTo>
                    <a:pt x="0" y="3"/>
                  </a:lnTo>
                  <a:lnTo>
                    <a:pt x="2" y="6"/>
                  </a:lnTo>
                  <a:lnTo>
                    <a:pt x="3" y="9"/>
                  </a:lnTo>
                  <a:lnTo>
                    <a:pt x="4" y="12"/>
                  </a:lnTo>
                  <a:lnTo>
                    <a:pt x="8" y="18"/>
                  </a:lnTo>
                  <a:lnTo>
                    <a:pt x="10" y="23"/>
                  </a:lnTo>
                  <a:lnTo>
                    <a:pt x="14" y="25"/>
                  </a:lnTo>
                  <a:lnTo>
                    <a:pt x="19" y="28"/>
                  </a:lnTo>
                  <a:lnTo>
                    <a:pt x="23" y="28"/>
                  </a:lnTo>
                  <a:lnTo>
                    <a:pt x="24" y="26"/>
                  </a:lnTo>
                  <a:lnTo>
                    <a:pt x="24" y="24"/>
                  </a:lnTo>
                  <a:lnTo>
                    <a:pt x="21" y="2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89" name="Freeform 1188"/>
            <p:cNvSpPr>
              <a:spLocks/>
            </p:cNvSpPr>
            <p:nvPr/>
          </p:nvSpPr>
          <p:spPr bwMode="auto">
            <a:xfrm>
              <a:off x="5005392" y="3141664"/>
              <a:ext cx="14287" cy="14288"/>
            </a:xfrm>
            <a:custGeom>
              <a:avLst/>
              <a:gdLst>
                <a:gd name="T0" fmla="*/ 2147483647 w 10"/>
                <a:gd name="T1" fmla="*/ 2147483647 h 9"/>
                <a:gd name="T2" fmla="*/ 2147483647 w 10"/>
                <a:gd name="T3" fmla="*/ 2147483647 h 9"/>
                <a:gd name="T4" fmla="*/ 2147483647 w 10"/>
                <a:gd name="T5" fmla="*/ 2147483647 h 9"/>
                <a:gd name="T6" fmla="*/ 2147483647 w 10"/>
                <a:gd name="T7" fmla="*/ 2147483647 h 9"/>
                <a:gd name="T8" fmla="*/ 2147483647 w 10"/>
                <a:gd name="T9" fmla="*/ 2147483647 h 9"/>
                <a:gd name="T10" fmla="*/ 2147483647 w 10"/>
                <a:gd name="T11" fmla="*/ 2147483647 h 9"/>
                <a:gd name="T12" fmla="*/ 0 w 10"/>
                <a:gd name="T13" fmla="*/ 2147483647 h 9"/>
                <a:gd name="T14" fmla="*/ 0 w 10"/>
                <a:gd name="T15" fmla="*/ 2147483647 h 9"/>
                <a:gd name="T16" fmla="*/ 2147483647 w 10"/>
                <a:gd name="T17" fmla="*/ 2147483647 h 9"/>
                <a:gd name="T18" fmla="*/ 2147483647 w 10"/>
                <a:gd name="T19" fmla="*/ 0 h 9"/>
                <a:gd name="T20" fmla="*/ 2147483647 w 10"/>
                <a:gd name="T21" fmla="*/ 0 h 9"/>
                <a:gd name="T22" fmla="*/ 2147483647 w 10"/>
                <a:gd name="T23" fmla="*/ 2147483647 h 9"/>
                <a:gd name="T24" fmla="*/ 2147483647 w 10"/>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9"/>
                <a:gd name="T41" fmla="*/ 10 w 10"/>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9">
                  <a:moveTo>
                    <a:pt x="9" y="6"/>
                  </a:moveTo>
                  <a:lnTo>
                    <a:pt x="10" y="7"/>
                  </a:lnTo>
                  <a:lnTo>
                    <a:pt x="10" y="8"/>
                  </a:lnTo>
                  <a:lnTo>
                    <a:pt x="7" y="9"/>
                  </a:lnTo>
                  <a:lnTo>
                    <a:pt x="4" y="9"/>
                  </a:lnTo>
                  <a:lnTo>
                    <a:pt x="1" y="7"/>
                  </a:lnTo>
                  <a:lnTo>
                    <a:pt x="0" y="6"/>
                  </a:lnTo>
                  <a:lnTo>
                    <a:pt x="0" y="3"/>
                  </a:lnTo>
                  <a:lnTo>
                    <a:pt x="1" y="1"/>
                  </a:lnTo>
                  <a:lnTo>
                    <a:pt x="2" y="0"/>
                  </a:lnTo>
                  <a:lnTo>
                    <a:pt x="5" y="0"/>
                  </a:lnTo>
                  <a:lnTo>
                    <a:pt x="6" y="1"/>
                  </a:lnTo>
                  <a:lnTo>
                    <a:pt x="9"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0" name="Freeform 1189"/>
            <p:cNvSpPr>
              <a:spLocks/>
            </p:cNvSpPr>
            <p:nvPr/>
          </p:nvSpPr>
          <p:spPr bwMode="auto">
            <a:xfrm>
              <a:off x="4943479" y="3144838"/>
              <a:ext cx="36513" cy="42862"/>
            </a:xfrm>
            <a:custGeom>
              <a:avLst/>
              <a:gdLst>
                <a:gd name="T0" fmla="*/ 2147483647 w 24"/>
                <a:gd name="T1" fmla="*/ 2147483647 h 27"/>
                <a:gd name="T2" fmla="*/ 2147483647 w 24"/>
                <a:gd name="T3" fmla="*/ 2147483647 h 27"/>
                <a:gd name="T4" fmla="*/ 2147483647 w 24"/>
                <a:gd name="T5" fmla="*/ 2147483647 h 27"/>
                <a:gd name="T6" fmla="*/ 2147483647 w 24"/>
                <a:gd name="T7" fmla="*/ 2147483647 h 27"/>
                <a:gd name="T8" fmla="*/ 2147483647 w 24"/>
                <a:gd name="T9" fmla="*/ 2147483647 h 27"/>
                <a:gd name="T10" fmla="*/ 2147483647 w 24"/>
                <a:gd name="T11" fmla="*/ 2147483647 h 27"/>
                <a:gd name="T12" fmla="*/ 2147483647 w 24"/>
                <a:gd name="T13" fmla="*/ 2147483647 h 27"/>
                <a:gd name="T14" fmla="*/ 2147483647 w 24"/>
                <a:gd name="T15" fmla="*/ 2147483647 h 27"/>
                <a:gd name="T16" fmla="*/ 2147483647 w 24"/>
                <a:gd name="T17" fmla="*/ 2147483647 h 27"/>
                <a:gd name="T18" fmla="*/ 2147483647 w 24"/>
                <a:gd name="T19" fmla="*/ 0 h 27"/>
                <a:gd name="T20" fmla="*/ 2147483647 w 24"/>
                <a:gd name="T21" fmla="*/ 0 h 27"/>
                <a:gd name="T22" fmla="*/ 2147483647 w 24"/>
                <a:gd name="T23" fmla="*/ 2147483647 h 27"/>
                <a:gd name="T24" fmla="*/ 0 w 24"/>
                <a:gd name="T25" fmla="*/ 2147483647 h 27"/>
                <a:gd name="T26" fmla="*/ 2147483647 w 24"/>
                <a:gd name="T27" fmla="*/ 2147483647 h 27"/>
                <a:gd name="T28" fmla="*/ 2147483647 w 24"/>
                <a:gd name="T29" fmla="*/ 2147483647 h 27"/>
                <a:gd name="T30" fmla="*/ 2147483647 w 24"/>
                <a:gd name="T31" fmla="*/ 2147483647 h 27"/>
                <a:gd name="T32" fmla="*/ 2147483647 w 24"/>
                <a:gd name="T33" fmla="*/ 2147483647 h 27"/>
                <a:gd name="T34" fmla="*/ 2147483647 w 24"/>
                <a:gd name="T35" fmla="*/ 2147483647 h 27"/>
                <a:gd name="T36" fmla="*/ 2147483647 w 24"/>
                <a:gd name="T37" fmla="*/ 2147483647 h 27"/>
                <a:gd name="T38" fmla="*/ 2147483647 w 24"/>
                <a:gd name="T39" fmla="*/ 2147483647 h 27"/>
                <a:gd name="T40" fmla="*/ 2147483647 w 24"/>
                <a:gd name="T41" fmla="*/ 2147483647 h 27"/>
                <a:gd name="T42" fmla="*/ 2147483647 w 24"/>
                <a:gd name="T43" fmla="*/ 2147483647 h 27"/>
                <a:gd name="T44" fmla="*/ 2147483647 w 24"/>
                <a:gd name="T45" fmla="*/ 2147483647 h 27"/>
                <a:gd name="T46" fmla="*/ 2147483647 w 24"/>
                <a:gd name="T47" fmla="*/ 2147483647 h 27"/>
                <a:gd name="T48" fmla="*/ 2147483647 w 24"/>
                <a:gd name="T49" fmla="*/ 2147483647 h 27"/>
                <a:gd name="T50" fmla="*/ 2147483647 w 24"/>
                <a:gd name="T51" fmla="*/ 2147483647 h 27"/>
                <a:gd name="T52" fmla="*/ 2147483647 w 24"/>
                <a:gd name="T53" fmla="*/ 2147483647 h 27"/>
                <a:gd name="T54" fmla="*/ 2147483647 w 24"/>
                <a:gd name="T55" fmla="*/ 2147483647 h 27"/>
                <a:gd name="T56" fmla="*/ 2147483647 w 24"/>
                <a:gd name="T57" fmla="*/ 2147483647 h 27"/>
                <a:gd name="T58" fmla="*/ 2147483647 w 24"/>
                <a:gd name="T59" fmla="*/ 2147483647 h 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27"/>
                <a:gd name="T92" fmla="*/ 24 w 24"/>
                <a:gd name="T93" fmla="*/ 27 h 2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27">
                  <a:moveTo>
                    <a:pt x="20" y="20"/>
                  </a:moveTo>
                  <a:lnTo>
                    <a:pt x="20" y="20"/>
                  </a:lnTo>
                  <a:lnTo>
                    <a:pt x="18" y="19"/>
                  </a:lnTo>
                  <a:lnTo>
                    <a:pt x="15" y="17"/>
                  </a:lnTo>
                  <a:lnTo>
                    <a:pt x="13" y="12"/>
                  </a:lnTo>
                  <a:lnTo>
                    <a:pt x="10" y="6"/>
                  </a:lnTo>
                  <a:lnTo>
                    <a:pt x="6" y="2"/>
                  </a:lnTo>
                  <a:lnTo>
                    <a:pt x="4" y="1"/>
                  </a:lnTo>
                  <a:lnTo>
                    <a:pt x="1" y="0"/>
                  </a:lnTo>
                  <a:lnTo>
                    <a:pt x="1" y="1"/>
                  </a:lnTo>
                  <a:lnTo>
                    <a:pt x="0" y="2"/>
                  </a:lnTo>
                  <a:lnTo>
                    <a:pt x="1" y="6"/>
                  </a:lnTo>
                  <a:lnTo>
                    <a:pt x="3" y="8"/>
                  </a:lnTo>
                  <a:lnTo>
                    <a:pt x="4" y="12"/>
                  </a:lnTo>
                  <a:lnTo>
                    <a:pt x="8" y="18"/>
                  </a:lnTo>
                  <a:lnTo>
                    <a:pt x="10" y="23"/>
                  </a:lnTo>
                  <a:lnTo>
                    <a:pt x="14" y="25"/>
                  </a:lnTo>
                  <a:lnTo>
                    <a:pt x="19" y="27"/>
                  </a:lnTo>
                  <a:lnTo>
                    <a:pt x="23" y="27"/>
                  </a:lnTo>
                  <a:lnTo>
                    <a:pt x="24" y="26"/>
                  </a:lnTo>
                  <a:lnTo>
                    <a:pt x="24" y="24"/>
                  </a:lnTo>
                  <a:lnTo>
                    <a:pt x="20" y="2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1" name="Freeform 1190"/>
            <p:cNvSpPr>
              <a:spLocks/>
            </p:cNvSpPr>
            <p:nvPr/>
          </p:nvSpPr>
          <p:spPr bwMode="auto">
            <a:xfrm>
              <a:off x="5003801" y="3140075"/>
              <a:ext cx="15875" cy="14288"/>
            </a:xfrm>
            <a:custGeom>
              <a:avLst/>
              <a:gdLst>
                <a:gd name="T0" fmla="*/ 2147483647 w 10"/>
                <a:gd name="T1" fmla="*/ 2147483647 h 9"/>
                <a:gd name="T2" fmla="*/ 2147483647 w 10"/>
                <a:gd name="T3" fmla="*/ 2147483647 h 9"/>
                <a:gd name="T4" fmla="*/ 2147483647 w 10"/>
                <a:gd name="T5" fmla="*/ 2147483647 h 9"/>
                <a:gd name="T6" fmla="*/ 2147483647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0 w 10"/>
                <a:gd name="T19" fmla="*/ 2147483647 h 9"/>
                <a:gd name="T20" fmla="*/ 0 w 10"/>
                <a:gd name="T21" fmla="*/ 2147483647 h 9"/>
                <a:gd name="T22" fmla="*/ 2147483647 w 10"/>
                <a:gd name="T23" fmla="*/ 2147483647 h 9"/>
                <a:gd name="T24" fmla="*/ 2147483647 w 10"/>
                <a:gd name="T25" fmla="*/ 0 h 9"/>
                <a:gd name="T26" fmla="*/ 2147483647 w 10"/>
                <a:gd name="T27" fmla="*/ 0 h 9"/>
                <a:gd name="T28" fmla="*/ 2147483647 w 10"/>
                <a:gd name="T29" fmla="*/ 0 h 9"/>
                <a:gd name="T30" fmla="*/ 2147483647 w 10"/>
                <a:gd name="T31" fmla="*/ 2147483647 h 9"/>
                <a:gd name="T32" fmla="*/ 2147483647 w 10"/>
                <a:gd name="T33" fmla="*/ 2147483647 h 9"/>
                <a:gd name="T34" fmla="*/ 2147483647 w 10"/>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
                <a:gd name="T55" fmla="*/ 0 h 9"/>
                <a:gd name="T56" fmla="*/ 10 w 10"/>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 h="9">
                  <a:moveTo>
                    <a:pt x="8" y="5"/>
                  </a:moveTo>
                  <a:lnTo>
                    <a:pt x="8" y="5"/>
                  </a:lnTo>
                  <a:lnTo>
                    <a:pt x="10" y="7"/>
                  </a:lnTo>
                  <a:lnTo>
                    <a:pt x="10" y="8"/>
                  </a:lnTo>
                  <a:lnTo>
                    <a:pt x="7" y="9"/>
                  </a:lnTo>
                  <a:lnTo>
                    <a:pt x="3" y="9"/>
                  </a:lnTo>
                  <a:lnTo>
                    <a:pt x="1" y="7"/>
                  </a:lnTo>
                  <a:lnTo>
                    <a:pt x="0" y="5"/>
                  </a:lnTo>
                  <a:lnTo>
                    <a:pt x="0" y="3"/>
                  </a:lnTo>
                  <a:lnTo>
                    <a:pt x="1" y="1"/>
                  </a:lnTo>
                  <a:lnTo>
                    <a:pt x="2" y="0"/>
                  </a:lnTo>
                  <a:lnTo>
                    <a:pt x="5" y="0"/>
                  </a:lnTo>
                  <a:lnTo>
                    <a:pt x="6" y="1"/>
                  </a:lnTo>
                  <a:lnTo>
                    <a:pt x="8"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2" name="Freeform 1191"/>
            <p:cNvSpPr>
              <a:spLocks/>
            </p:cNvSpPr>
            <p:nvPr/>
          </p:nvSpPr>
          <p:spPr bwMode="auto">
            <a:xfrm>
              <a:off x="4849815" y="3044825"/>
              <a:ext cx="174625" cy="203200"/>
            </a:xfrm>
            <a:custGeom>
              <a:avLst/>
              <a:gdLst>
                <a:gd name="T0" fmla="*/ 2147483647 w 119"/>
                <a:gd name="T1" fmla="*/ 2147483647 h 128"/>
                <a:gd name="T2" fmla="*/ 2147483647 w 119"/>
                <a:gd name="T3" fmla="*/ 2147483647 h 128"/>
                <a:gd name="T4" fmla="*/ 2147483647 w 119"/>
                <a:gd name="T5" fmla="*/ 2147483647 h 128"/>
                <a:gd name="T6" fmla="*/ 2147483647 w 119"/>
                <a:gd name="T7" fmla="*/ 0 h 128"/>
                <a:gd name="T8" fmla="*/ 2147483647 w 119"/>
                <a:gd name="T9" fmla="*/ 2147483647 h 128"/>
                <a:gd name="T10" fmla="*/ 2147483647 w 119"/>
                <a:gd name="T11" fmla="*/ 2147483647 h 128"/>
                <a:gd name="T12" fmla="*/ 2147483647 w 119"/>
                <a:gd name="T13" fmla="*/ 2147483647 h 128"/>
                <a:gd name="T14" fmla="*/ 2147483647 w 119"/>
                <a:gd name="T15" fmla="*/ 2147483647 h 128"/>
                <a:gd name="T16" fmla="*/ 2147483647 w 119"/>
                <a:gd name="T17" fmla="*/ 2147483647 h 128"/>
                <a:gd name="T18" fmla="*/ 2147483647 w 119"/>
                <a:gd name="T19" fmla="*/ 2147483647 h 128"/>
                <a:gd name="T20" fmla="*/ 2147483647 w 119"/>
                <a:gd name="T21" fmla="*/ 2147483647 h 128"/>
                <a:gd name="T22" fmla="*/ 2147483647 w 119"/>
                <a:gd name="T23" fmla="*/ 2147483647 h 128"/>
                <a:gd name="T24" fmla="*/ 2147483647 w 119"/>
                <a:gd name="T25" fmla="*/ 2147483647 h 128"/>
                <a:gd name="T26" fmla="*/ 2147483647 w 119"/>
                <a:gd name="T27" fmla="*/ 2147483647 h 128"/>
                <a:gd name="T28" fmla="*/ 2147483647 w 119"/>
                <a:gd name="T29" fmla="*/ 2147483647 h 128"/>
                <a:gd name="T30" fmla="*/ 0 w 119"/>
                <a:gd name="T31" fmla="*/ 2147483647 h 128"/>
                <a:gd name="T32" fmla="*/ 0 w 119"/>
                <a:gd name="T33" fmla="*/ 2147483647 h 128"/>
                <a:gd name="T34" fmla="*/ 2147483647 w 119"/>
                <a:gd name="T35" fmla="*/ 2147483647 h 128"/>
                <a:gd name="T36" fmla="*/ 2147483647 w 119"/>
                <a:gd name="T37" fmla="*/ 2147483647 h 128"/>
                <a:gd name="T38" fmla="*/ 2147483647 w 119"/>
                <a:gd name="T39" fmla="*/ 2147483647 h 128"/>
                <a:gd name="T40" fmla="*/ 2147483647 w 119"/>
                <a:gd name="T41" fmla="*/ 2147483647 h 128"/>
                <a:gd name="T42" fmla="*/ 2147483647 w 119"/>
                <a:gd name="T43" fmla="*/ 2147483647 h 128"/>
                <a:gd name="T44" fmla="*/ 2147483647 w 119"/>
                <a:gd name="T45" fmla="*/ 2147483647 h 128"/>
                <a:gd name="T46" fmla="*/ 2147483647 w 119"/>
                <a:gd name="T47" fmla="*/ 2147483647 h 128"/>
                <a:gd name="T48" fmla="*/ 2147483647 w 119"/>
                <a:gd name="T49" fmla="*/ 2147483647 h 128"/>
                <a:gd name="T50" fmla="*/ 2147483647 w 119"/>
                <a:gd name="T51" fmla="*/ 2147483647 h 128"/>
                <a:gd name="T52" fmla="*/ 2147483647 w 119"/>
                <a:gd name="T53" fmla="*/ 2147483647 h 128"/>
                <a:gd name="T54" fmla="*/ 2147483647 w 119"/>
                <a:gd name="T55" fmla="*/ 2147483647 h 128"/>
                <a:gd name="T56" fmla="*/ 2147483647 w 119"/>
                <a:gd name="T57" fmla="*/ 2147483647 h 128"/>
                <a:gd name="T58" fmla="*/ 2147483647 w 119"/>
                <a:gd name="T59" fmla="*/ 2147483647 h 128"/>
                <a:gd name="T60" fmla="*/ 2147483647 w 119"/>
                <a:gd name="T61" fmla="*/ 2147483647 h 128"/>
                <a:gd name="T62" fmla="*/ 2147483647 w 119"/>
                <a:gd name="T63" fmla="*/ 2147483647 h 128"/>
                <a:gd name="T64" fmla="*/ 2147483647 w 119"/>
                <a:gd name="T65" fmla="*/ 2147483647 h 128"/>
                <a:gd name="T66" fmla="*/ 2147483647 w 119"/>
                <a:gd name="T67" fmla="*/ 2147483647 h 128"/>
                <a:gd name="T68" fmla="*/ 2147483647 w 119"/>
                <a:gd name="T69" fmla="*/ 2147483647 h 128"/>
                <a:gd name="T70" fmla="*/ 2147483647 w 119"/>
                <a:gd name="T71" fmla="*/ 2147483647 h 128"/>
                <a:gd name="T72" fmla="*/ 2147483647 w 119"/>
                <a:gd name="T73" fmla="*/ 2147483647 h 128"/>
                <a:gd name="T74" fmla="*/ 2147483647 w 119"/>
                <a:gd name="T75" fmla="*/ 2147483647 h 128"/>
                <a:gd name="T76" fmla="*/ 2147483647 w 119"/>
                <a:gd name="T77" fmla="*/ 2147483647 h 128"/>
                <a:gd name="T78" fmla="*/ 2147483647 w 119"/>
                <a:gd name="T79" fmla="*/ 2147483647 h 128"/>
                <a:gd name="T80" fmla="*/ 2147483647 w 119"/>
                <a:gd name="T81" fmla="*/ 2147483647 h 128"/>
                <a:gd name="T82" fmla="*/ 2147483647 w 119"/>
                <a:gd name="T83" fmla="*/ 2147483647 h 128"/>
                <a:gd name="T84" fmla="*/ 2147483647 w 119"/>
                <a:gd name="T85" fmla="*/ 2147483647 h 128"/>
                <a:gd name="T86" fmla="*/ 2147483647 w 119"/>
                <a:gd name="T87" fmla="*/ 2147483647 h 128"/>
                <a:gd name="T88" fmla="*/ 2147483647 w 119"/>
                <a:gd name="T89" fmla="*/ 2147483647 h 128"/>
                <a:gd name="T90" fmla="*/ 2147483647 w 119"/>
                <a:gd name="T91" fmla="*/ 2147483647 h 128"/>
                <a:gd name="T92" fmla="*/ 2147483647 w 119"/>
                <a:gd name="T93" fmla="*/ 2147483647 h 128"/>
                <a:gd name="T94" fmla="*/ 2147483647 w 119"/>
                <a:gd name="T95" fmla="*/ 2147483647 h 128"/>
                <a:gd name="T96" fmla="*/ 2147483647 w 119"/>
                <a:gd name="T97" fmla="*/ 2147483647 h 128"/>
                <a:gd name="T98" fmla="*/ 2147483647 w 119"/>
                <a:gd name="T99" fmla="*/ 2147483647 h 128"/>
                <a:gd name="T100" fmla="*/ 2147483647 w 119"/>
                <a:gd name="T101" fmla="*/ 2147483647 h 128"/>
                <a:gd name="T102" fmla="*/ 2147483647 w 119"/>
                <a:gd name="T103" fmla="*/ 2147483647 h 128"/>
                <a:gd name="T104" fmla="*/ 2147483647 w 119"/>
                <a:gd name="T105" fmla="*/ 2147483647 h 128"/>
                <a:gd name="T106" fmla="*/ 2147483647 w 119"/>
                <a:gd name="T107" fmla="*/ 2147483647 h 128"/>
                <a:gd name="T108" fmla="*/ 2147483647 w 119"/>
                <a:gd name="T109" fmla="*/ 2147483647 h 128"/>
                <a:gd name="T110" fmla="*/ 2147483647 w 119"/>
                <a:gd name="T111" fmla="*/ 2147483647 h 128"/>
                <a:gd name="T112" fmla="*/ 2147483647 w 119"/>
                <a:gd name="T113" fmla="*/ 2147483647 h 128"/>
                <a:gd name="T114" fmla="*/ 2147483647 w 119"/>
                <a:gd name="T115" fmla="*/ 2147483647 h 128"/>
                <a:gd name="T116" fmla="*/ 2147483647 w 119"/>
                <a:gd name="T117" fmla="*/ 2147483647 h 128"/>
                <a:gd name="T118" fmla="*/ 2147483647 w 119"/>
                <a:gd name="T119" fmla="*/ 2147483647 h 128"/>
                <a:gd name="T120" fmla="*/ 2147483647 w 119"/>
                <a:gd name="T121" fmla="*/ 2147483647 h 1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9"/>
                <a:gd name="T184" fmla="*/ 0 h 128"/>
                <a:gd name="T185" fmla="*/ 119 w 119"/>
                <a:gd name="T186" fmla="*/ 128 h 1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9" h="128">
                  <a:moveTo>
                    <a:pt x="103" y="27"/>
                  </a:moveTo>
                  <a:lnTo>
                    <a:pt x="110" y="22"/>
                  </a:lnTo>
                  <a:lnTo>
                    <a:pt x="115" y="14"/>
                  </a:lnTo>
                  <a:lnTo>
                    <a:pt x="117" y="11"/>
                  </a:lnTo>
                  <a:lnTo>
                    <a:pt x="119" y="7"/>
                  </a:lnTo>
                  <a:lnTo>
                    <a:pt x="117" y="4"/>
                  </a:lnTo>
                  <a:lnTo>
                    <a:pt x="115" y="0"/>
                  </a:lnTo>
                  <a:lnTo>
                    <a:pt x="111" y="0"/>
                  </a:lnTo>
                  <a:lnTo>
                    <a:pt x="110" y="1"/>
                  </a:lnTo>
                  <a:lnTo>
                    <a:pt x="107" y="9"/>
                  </a:lnTo>
                  <a:lnTo>
                    <a:pt x="106" y="11"/>
                  </a:lnTo>
                  <a:lnTo>
                    <a:pt x="102" y="13"/>
                  </a:lnTo>
                  <a:lnTo>
                    <a:pt x="100" y="13"/>
                  </a:lnTo>
                  <a:lnTo>
                    <a:pt x="97" y="13"/>
                  </a:lnTo>
                  <a:lnTo>
                    <a:pt x="91" y="11"/>
                  </a:lnTo>
                  <a:lnTo>
                    <a:pt x="86" y="10"/>
                  </a:lnTo>
                  <a:lnTo>
                    <a:pt x="80" y="10"/>
                  </a:lnTo>
                  <a:lnTo>
                    <a:pt x="70" y="11"/>
                  </a:lnTo>
                  <a:lnTo>
                    <a:pt x="67" y="12"/>
                  </a:lnTo>
                  <a:lnTo>
                    <a:pt x="61" y="14"/>
                  </a:lnTo>
                  <a:lnTo>
                    <a:pt x="58" y="16"/>
                  </a:lnTo>
                  <a:lnTo>
                    <a:pt x="53" y="16"/>
                  </a:lnTo>
                  <a:lnTo>
                    <a:pt x="46" y="20"/>
                  </a:lnTo>
                  <a:lnTo>
                    <a:pt x="42" y="23"/>
                  </a:lnTo>
                  <a:lnTo>
                    <a:pt x="39" y="24"/>
                  </a:lnTo>
                  <a:lnTo>
                    <a:pt x="17" y="29"/>
                  </a:lnTo>
                  <a:lnTo>
                    <a:pt x="17" y="32"/>
                  </a:lnTo>
                  <a:lnTo>
                    <a:pt x="16" y="36"/>
                  </a:lnTo>
                  <a:lnTo>
                    <a:pt x="11" y="42"/>
                  </a:lnTo>
                  <a:lnTo>
                    <a:pt x="11" y="44"/>
                  </a:lnTo>
                  <a:lnTo>
                    <a:pt x="9" y="48"/>
                  </a:lnTo>
                  <a:lnTo>
                    <a:pt x="0" y="54"/>
                  </a:lnTo>
                  <a:lnTo>
                    <a:pt x="0" y="56"/>
                  </a:lnTo>
                  <a:lnTo>
                    <a:pt x="0" y="58"/>
                  </a:lnTo>
                  <a:lnTo>
                    <a:pt x="2" y="61"/>
                  </a:lnTo>
                  <a:lnTo>
                    <a:pt x="3" y="63"/>
                  </a:lnTo>
                  <a:lnTo>
                    <a:pt x="7" y="65"/>
                  </a:lnTo>
                  <a:lnTo>
                    <a:pt x="11" y="65"/>
                  </a:lnTo>
                  <a:lnTo>
                    <a:pt x="16" y="65"/>
                  </a:lnTo>
                  <a:lnTo>
                    <a:pt x="17" y="67"/>
                  </a:lnTo>
                  <a:lnTo>
                    <a:pt x="18" y="68"/>
                  </a:lnTo>
                  <a:lnTo>
                    <a:pt x="18" y="70"/>
                  </a:lnTo>
                  <a:lnTo>
                    <a:pt x="17" y="73"/>
                  </a:lnTo>
                  <a:lnTo>
                    <a:pt x="20" y="75"/>
                  </a:lnTo>
                  <a:lnTo>
                    <a:pt x="25" y="80"/>
                  </a:lnTo>
                  <a:lnTo>
                    <a:pt x="30" y="81"/>
                  </a:lnTo>
                  <a:lnTo>
                    <a:pt x="35" y="81"/>
                  </a:lnTo>
                  <a:lnTo>
                    <a:pt x="41" y="81"/>
                  </a:lnTo>
                  <a:lnTo>
                    <a:pt x="46" y="82"/>
                  </a:lnTo>
                  <a:lnTo>
                    <a:pt x="50" y="83"/>
                  </a:lnTo>
                  <a:lnTo>
                    <a:pt x="51" y="87"/>
                  </a:lnTo>
                  <a:lnTo>
                    <a:pt x="51" y="89"/>
                  </a:lnTo>
                  <a:lnTo>
                    <a:pt x="50" y="90"/>
                  </a:lnTo>
                  <a:lnTo>
                    <a:pt x="49" y="90"/>
                  </a:lnTo>
                  <a:lnTo>
                    <a:pt x="41" y="88"/>
                  </a:lnTo>
                  <a:lnTo>
                    <a:pt x="33" y="87"/>
                  </a:lnTo>
                  <a:lnTo>
                    <a:pt x="28" y="87"/>
                  </a:lnTo>
                  <a:lnTo>
                    <a:pt x="23" y="90"/>
                  </a:lnTo>
                  <a:lnTo>
                    <a:pt x="21" y="93"/>
                  </a:lnTo>
                  <a:lnTo>
                    <a:pt x="21" y="97"/>
                  </a:lnTo>
                  <a:lnTo>
                    <a:pt x="25" y="99"/>
                  </a:lnTo>
                  <a:lnTo>
                    <a:pt x="26" y="100"/>
                  </a:lnTo>
                  <a:lnTo>
                    <a:pt x="28" y="106"/>
                  </a:lnTo>
                  <a:lnTo>
                    <a:pt x="31" y="110"/>
                  </a:lnTo>
                  <a:lnTo>
                    <a:pt x="32" y="113"/>
                  </a:lnTo>
                  <a:lnTo>
                    <a:pt x="33" y="114"/>
                  </a:lnTo>
                  <a:lnTo>
                    <a:pt x="39" y="116"/>
                  </a:lnTo>
                  <a:lnTo>
                    <a:pt x="42" y="121"/>
                  </a:lnTo>
                  <a:lnTo>
                    <a:pt x="46" y="125"/>
                  </a:lnTo>
                  <a:lnTo>
                    <a:pt x="51" y="127"/>
                  </a:lnTo>
                  <a:lnTo>
                    <a:pt x="53" y="128"/>
                  </a:lnTo>
                  <a:lnTo>
                    <a:pt x="55" y="127"/>
                  </a:lnTo>
                  <a:lnTo>
                    <a:pt x="56" y="126"/>
                  </a:lnTo>
                  <a:lnTo>
                    <a:pt x="58" y="124"/>
                  </a:lnTo>
                  <a:lnTo>
                    <a:pt x="56" y="119"/>
                  </a:lnTo>
                  <a:lnTo>
                    <a:pt x="54" y="115"/>
                  </a:lnTo>
                  <a:lnTo>
                    <a:pt x="53" y="110"/>
                  </a:lnTo>
                  <a:lnTo>
                    <a:pt x="53" y="108"/>
                  </a:lnTo>
                  <a:lnTo>
                    <a:pt x="54" y="106"/>
                  </a:lnTo>
                  <a:lnTo>
                    <a:pt x="58" y="103"/>
                  </a:lnTo>
                  <a:lnTo>
                    <a:pt x="59" y="102"/>
                  </a:lnTo>
                  <a:lnTo>
                    <a:pt x="58" y="101"/>
                  </a:lnTo>
                  <a:lnTo>
                    <a:pt x="58" y="99"/>
                  </a:lnTo>
                  <a:lnTo>
                    <a:pt x="58" y="97"/>
                  </a:lnTo>
                  <a:lnTo>
                    <a:pt x="61" y="100"/>
                  </a:lnTo>
                  <a:lnTo>
                    <a:pt x="67" y="100"/>
                  </a:lnTo>
                  <a:lnTo>
                    <a:pt x="70" y="100"/>
                  </a:lnTo>
                  <a:lnTo>
                    <a:pt x="73" y="96"/>
                  </a:lnTo>
                  <a:lnTo>
                    <a:pt x="73" y="95"/>
                  </a:lnTo>
                  <a:lnTo>
                    <a:pt x="73" y="93"/>
                  </a:lnTo>
                  <a:lnTo>
                    <a:pt x="69" y="89"/>
                  </a:lnTo>
                  <a:lnTo>
                    <a:pt x="61" y="80"/>
                  </a:lnTo>
                  <a:lnTo>
                    <a:pt x="59" y="76"/>
                  </a:lnTo>
                  <a:lnTo>
                    <a:pt x="58" y="73"/>
                  </a:lnTo>
                  <a:lnTo>
                    <a:pt x="58" y="65"/>
                  </a:lnTo>
                  <a:lnTo>
                    <a:pt x="56" y="57"/>
                  </a:lnTo>
                  <a:lnTo>
                    <a:pt x="55" y="55"/>
                  </a:lnTo>
                  <a:lnTo>
                    <a:pt x="53" y="51"/>
                  </a:lnTo>
                  <a:lnTo>
                    <a:pt x="51" y="50"/>
                  </a:lnTo>
                  <a:lnTo>
                    <a:pt x="51" y="49"/>
                  </a:lnTo>
                  <a:lnTo>
                    <a:pt x="54" y="46"/>
                  </a:lnTo>
                  <a:lnTo>
                    <a:pt x="58" y="45"/>
                  </a:lnTo>
                  <a:lnTo>
                    <a:pt x="60" y="43"/>
                  </a:lnTo>
                  <a:lnTo>
                    <a:pt x="61" y="42"/>
                  </a:lnTo>
                  <a:lnTo>
                    <a:pt x="61" y="39"/>
                  </a:lnTo>
                  <a:lnTo>
                    <a:pt x="61" y="37"/>
                  </a:lnTo>
                  <a:lnTo>
                    <a:pt x="61" y="35"/>
                  </a:lnTo>
                  <a:lnTo>
                    <a:pt x="64" y="33"/>
                  </a:lnTo>
                  <a:lnTo>
                    <a:pt x="65" y="33"/>
                  </a:lnTo>
                  <a:lnTo>
                    <a:pt x="68" y="35"/>
                  </a:lnTo>
                  <a:lnTo>
                    <a:pt x="70" y="38"/>
                  </a:lnTo>
                  <a:lnTo>
                    <a:pt x="72" y="43"/>
                  </a:lnTo>
                  <a:lnTo>
                    <a:pt x="74" y="43"/>
                  </a:lnTo>
                  <a:lnTo>
                    <a:pt x="75" y="43"/>
                  </a:lnTo>
                  <a:lnTo>
                    <a:pt x="77" y="38"/>
                  </a:lnTo>
                  <a:lnTo>
                    <a:pt x="77" y="35"/>
                  </a:lnTo>
                  <a:lnTo>
                    <a:pt x="75" y="32"/>
                  </a:lnTo>
                  <a:lnTo>
                    <a:pt x="74" y="31"/>
                  </a:lnTo>
                  <a:lnTo>
                    <a:pt x="74" y="27"/>
                  </a:lnTo>
                  <a:lnTo>
                    <a:pt x="82" y="25"/>
                  </a:lnTo>
                  <a:lnTo>
                    <a:pt x="88" y="25"/>
                  </a:lnTo>
                  <a:lnTo>
                    <a:pt x="96" y="25"/>
                  </a:lnTo>
                  <a:lnTo>
                    <a:pt x="103" y="2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3" name="Freeform 1192"/>
            <p:cNvSpPr>
              <a:spLocks/>
            </p:cNvSpPr>
            <p:nvPr/>
          </p:nvSpPr>
          <p:spPr bwMode="auto">
            <a:xfrm>
              <a:off x="4841875" y="3033717"/>
              <a:ext cx="33338" cy="96837"/>
            </a:xfrm>
            <a:custGeom>
              <a:avLst/>
              <a:gdLst>
                <a:gd name="T0" fmla="*/ 2147483647 w 23"/>
                <a:gd name="T1" fmla="*/ 2147483647 h 61"/>
                <a:gd name="T2" fmla="*/ 2147483647 w 23"/>
                <a:gd name="T3" fmla="*/ 2147483647 h 61"/>
                <a:gd name="T4" fmla="*/ 2147483647 w 23"/>
                <a:gd name="T5" fmla="*/ 2147483647 h 61"/>
                <a:gd name="T6" fmla="*/ 2147483647 w 23"/>
                <a:gd name="T7" fmla="*/ 2147483647 h 61"/>
                <a:gd name="T8" fmla="*/ 2147483647 w 23"/>
                <a:gd name="T9" fmla="*/ 2147483647 h 61"/>
                <a:gd name="T10" fmla="*/ 2147483647 w 23"/>
                <a:gd name="T11" fmla="*/ 2147483647 h 61"/>
                <a:gd name="T12" fmla="*/ 2147483647 w 23"/>
                <a:gd name="T13" fmla="*/ 2147483647 h 61"/>
                <a:gd name="T14" fmla="*/ 2147483647 w 23"/>
                <a:gd name="T15" fmla="*/ 2147483647 h 61"/>
                <a:gd name="T16" fmla="*/ 2147483647 w 23"/>
                <a:gd name="T17" fmla="*/ 2147483647 h 61"/>
                <a:gd name="T18" fmla="*/ 0 w 23"/>
                <a:gd name="T19" fmla="*/ 2147483647 h 61"/>
                <a:gd name="T20" fmla="*/ 2147483647 w 23"/>
                <a:gd name="T21" fmla="*/ 2147483647 h 61"/>
                <a:gd name="T22" fmla="*/ 2147483647 w 23"/>
                <a:gd name="T23" fmla="*/ 2147483647 h 61"/>
                <a:gd name="T24" fmla="*/ 2147483647 w 23"/>
                <a:gd name="T25" fmla="*/ 2147483647 h 61"/>
                <a:gd name="T26" fmla="*/ 2147483647 w 23"/>
                <a:gd name="T27" fmla="*/ 2147483647 h 61"/>
                <a:gd name="T28" fmla="*/ 2147483647 w 23"/>
                <a:gd name="T29" fmla="*/ 2147483647 h 61"/>
                <a:gd name="T30" fmla="*/ 2147483647 w 23"/>
                <a:gd name="T31" fmla="*/ 2147483647 h 61"/>
                <a:gd name="T32" fmla="*/ 2147483647 w 23"/>
                <a:gd name="T33" fmla="*/ 2147483647 h 61"/>
                <a:gd name="T34" fmla="*/ 2147483647 w 23"/>
                <a:gd name="T35" fmla="*/ 2147483647 h 61"/>
                <a:gd name="T36" fmla="*/ 2147483647 w 23"/>
                <a:gd name="T37" fmla="*/ 2147483647 h 61"/>
                <a:gd name="T38" fmla="*/ 2147483647 w 23"/>
                <a:gd name="T39" fmla="*/ 2147483647 h 61"/>
                <a:gd name="T40" fmla="*/ 2147483647 w 23"/>
                <a:gd name="T41" fmla="*/ 2147483647 h 61"/>
                <a:gd name="T42" fmla="*/ 2147483647 w 23"/>
                <a:gd name="T43" fmla="*/ 2147483647 h 61"/>
                <a:gd name="T44" fmla="*/ 2147483647 w 23"/>
                <a:gd name="T45" fmla="*/ 2147483647 h 61"/>
                <a:gd name="T46" fmla="*/ 2147483647 w 23"/>
                <a:gd name="T47" fmla="*/ 2147483647 h 61"/>
                <a:gd name="T48" fmla="*/ 2147483647 w 23"/>
                <a:gd name="T49" fmla="*/ 2147483647 h 61"/>
                <a:gd name="T50" fmla="*/ 2147483647 w 23"/>
                <a:gd name="T51" fmla="*/ 0 h 61"/>
                <a:gd name="T52" fmla="*/ 2147483647 w 23"/>
                <a:gd name="T53" fmla="*/ 2147483647 h 61"/>
                <a:gd name="T54" fmla="*/ 2147483647 w 23"/>
                <a:gd name="T55" fmla="*/ 2147483647 h 61"/>
                <a:gd name="T56" fmla="*/ 2147483647 w 23"/>
                <a:gd name="T57" fmla="*/ 2147483647 h 61"/>
                <a:gd name="T58" fmla="*/ 2147483647 w 23"/>
                <a:gd name="T59" fmla="*/ 2147483647 h 6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61"/>
                <a:gd name="T92" fmla="*/ 23 w 23"/>
                <a:gd name="T93" fmla="*/ 61 h 6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61">
                  <a:moveTo>
                    <a:pt x="1" y="12"/>
                  </a:moveTo>
                  <a:lnTo>
                    <a:pt x="4" y="13"/>
                  </a:lnTo>
                  <a:lnTo>
                    <a:pt x="5" y="14"/>
                  </a:lnTo>
                  <a:lnTo>
                    <a:pt x="4" y="17"/>
                  </a:lnTo>
                  <a:lnTo>
                    <a:pt x="3" y="19"/>
                  </a:lnTo>
                  <a:lnTo>
                    <a:pt x="1" y="21"/>
                  </a:lnTo>
                  <a:lnTo>
                    <a:pt x="1" y="27"/>
                  </a:lnTo>
                  <a:lnTo>
                    <a:pt x="1" y="30"/>
                  </a:lnTo>
                  <a:lnTo>
                    <a:pt x="1" y="39"/>
                  </a:lnTo>
                  <a:lnTo>
                    <a:pt x="0" y="46"/>
                  </a:lnTo>
                  <a:lnTo>
                    <a:pt x="1" y="53"/>
                  </a:lnTo>
                  <a:lnTo>
                    <a:pt x="6" y="61"/>
                  </a:lnTo>
                  <a:lnTo>
                    <a:pt x="15" y="55"/>
                  </a:lnTo>
                  <a:lnTo>
                    <a:pt x="17" y="51"/>
                  </a:lnTo>
                  <a:lnTo>
                    <a:pt x="17" y="49"/>
                  </a:lnTo>
                  <a:lnTo>
                    <a:pt x="22" y="43"/>
                  </a:lnTo>
                  <a:lnTo>
                    <a:pt x="23" y="39"/>
                  </a:lnTo>
                  <a:lnTo>
                    <a:pt x="23" y="36"/>
                  </a:lnTo>
                  <a:lnTo>
                    <a:pt x="23" y="33"/>
                  </a:lnTo>
                  <a:lnTo>
                    <a:pt x="19" y="23"/>
                  </a:lnTo>
                  <a:lnTo>
                    <a:pt x="18" y="17"/>
                  </a:lnTo>
                  <a:lnTo>
                    <a:pt x="18" y="11"/>
                  </a:lnTo>
                  <a:lnTo>
                    <a:pt x="17" y="8"/>
                  </a:lnTo>
                  <a:lnTo>
                    <a:pt x="15" y="5"/>
                  </a:lnTo>
                  <a:lnTo>
                    <a:pt x="10" y="1"/>
                  </a:lnTo>
                  <a:lnTo>
                    <a:pt x="8" y="0"/>
                  </a:lnTo>
                  <a:lnTo>
                    <a:pt x="5" y="1"/>
                  </a:lnTo>
                  <a:lnTo>
                    <a:pt x="4" y="4"/>
                  </a:lnTo>
                  <a:lnTo>
                    <a:pt x="3" y="7"/>
                  </a:lnTo>
                  <a:lnTo>
                    <a:pt x="1" y="1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4" name="Freeform 1193"/>
            <p:cNvSpPr>
              <a:spLocks/>
            </p:cNvSpPr>
            <p:nvPr/>
          </p:nvSpPr>
          <p:spPr bwMode="auto">
            <a:xfrm>
              <a:off x="4848225" y="3043239"/>
              <a:ext cx="173038" cy="203200"/>
            </a:xfrm>
            <a:custGeom>
              <a:avLst/>
              <a:gdLst>
                <a:gd name="T0" fmla="*/ 2147483647 w 118"/>
                <a:gd name="T1" fmla="*/ 2147483647 h 128"/>
                <a:gd name="T2" fmla="*/ 2147483647 w 118"/>
                <a:gd name="T3" fmla="*/ 2147483647 h 128"/>
                <a:gd name="T4" fmla="*/ 2147483647 w 118"/>
                <a:gd name="T5" fmla="*/ 0 h 128"/>
                <a:gd name="T6" fmla="*/ 2147483647 w 118"/>
                <a:gd name="T7" fmla="*/ 2147483647 h 128"/>
                <a:gd name="T8" fmla="*/ 2147483647 w 118"/>
                <a:gd name="T9" fmla="*/ 2147483647 h 128"/>
                <a:gd name="T10" fmla="*/ 2147483647 w 118"/>
                <a:gd name="T11" fmla="*/ 2147483647 h 128"/>
                <a:gd name="T12" fmla="*/ 2147483647 w 118"/>
                <a:gd name="T13" fmla="*/ 2147483647 h 128"/>
                <a:gd name="T14" fmla="*/ 2147483647 w 118"/>
                <a:gd name="T15" fmla="*/ 2147483647 h 128"/>
                <a:gd name="T16" fmla="*/ 2147483647 w 118"/>
                <a:gd name="T17" fmla="*/ 2147483647 h 128"/>
                <a:gd name="T18" fmla="*/ 2147483647 w 118"/>
                <a:gd name="T19" fmla="*/ 2147483647 h 128"/>
                <a:gd name="T20" fmla="*/ 2147483647 w 118"/>
                <a:gd name="T21" fmla="*/ 2147483647 h 128"/>
                <a:gd name="T22" fmla="*/ 2147483647 w 118"/>
                <a:gd name="T23" fmla="*/ 2147483647 h 128"/>
                <a:gd name="T24" fmla="*/ 2147483647 w 118"/>
                <a:gd name="T25" fmla="*/ 2147483647 h 128"/>
                <a:gd name="T26" fmla="*/ 2147483647 w 118"/>
                <a:gd name="T27" fmla="*/ 2147483647 h 128"/>
                <a:gd name="T28" fmla="*/ 0 w 118"/>
                <a:gd name="T29" fmla="*/ 2147483647 h 128"/>
                <a:gd name="T30" fmla="*/ 0 w 118"/>
                <a:gd name="T31" fmla="*/ 2147483647 h 128"/>
                <a:gd name="T32" fmla="*/ 2147483647 w 118"/>
                <a:gd name="T33" fmla="*/ 2147483647 h 128"/>
                <a:gd name="T34" fmla="*/ 2147483647 w 118"/>
                <a:gd name="T35" fmla="*/ 2147483647 h 128"/>
                <a:gd name="T36" fmla="*/ 2147483647 w 118"/>
                <a:gd name="T37" fmla="*/ 2147483647 h 128"/>
                <a:gd name="T38" fmla="*/ 2147483647 w 118"/>
                <a:gd name="T39" fmla="*/ 2147483647 h 128"/>
                <a:gd name="T40" fmla="*/ 2147483647 w 118"/>
                <a:gd name="T41" fmla="*/ 2147483647 h 128"/>
                <a:gd name="T42" fmla="*/ 2147483647 w 118"/>
                <a:gd name="T43" fmla="*/ 2147483647 h 128"/>
                <a:gd name="T44" fmla="*/ 2147483647 w 118"/>
                <a:gd name="T45" fmla="*/ 2147483647 h 128"/>
                <a:gd name="T46" fmla="*/ 2147483647 w 118"/>
                <a:gd name="T47" fmla="*/ 2147483647 h 128"/>
                <a:gd name="T48" fmla="*/ 2147483647 w 118"/>
                <a:gd name="T49" fmla="*/ 2147483647 h 128"/>
                <a:gd name="T50" fmla="*/ 2147483647 w 118"/>
                <a:gd name="T51" fmla="*/ 2147483647 h 128"/>
                <a:gd name="T52" fmla="*/ 2147483647 w 118"/>
                <a:gd name="T53" fmla="*/ 2147483647 h 128"/>
                <a:gd name="T54" fmla="*/ 2147483647 w 118"/>
                <a:gd name="T55" fmla="*/ 2147483647 h 128"/>
                <a:gd name="T56" fmla="*/ 2147483647 w 118"/>
                <a:gd name="T57" fmla="*/ 2147483647 h 128"/>
                <a:gd name="T58" fmla="*/ 2147483647 w 118"/>
                <a:gd name="T59" fmla="*/ 2147483647 h 128"/>
                <a:gd name="T60" fmla="*/ 2147483647 w 118"/>
                <a:gd name="T61" fmla="*/ 2147483647 h 128"/>
                <a:gd name="T62" fmla="*/ 2147483647 w 118"/>
                <a:gd name="T63" fmla="*/ 2147483647 h 128"/>
                <a:gd name="T64" fmla="*/ 2147483647 w 118"/>
                <a:gd name="T65" fmla="*/ 2147483647 h 128"/>
                <a:gd name="T66" fmla="*/ 2147483647 w 118"/>
                <a:gd name="T67" fmla="*/ 2147483647 h 128"/>
                <a:gd name="T68" fmla="*/ 2147483647 w 118"/>
                <a:gd name="T69" fmla="*/ 2147483647 h 128"/>
                <a:gd name="T70" fmla="*/ 2147483647 w 118"/>
                <a:gd name="T71" fmla="*/ 2147483647 h 128"/>
                <a:gd name="T72" fmla="*/ 2147483647 w 118"/>
                <a:gd name="T73" fmla="*/ 2147483647 h 128"/>
                <a:gd name="T74" fmla="*/ 2147483647 w 118"/>
                <a:gd name="T75" fmla="*/ 2147483647 h 128"/>
                <a:gd name="T76" fmla="*/ 2147483647 w 118"/>
                <a:gd name="T77" fmla="*/ 2147483647 h 128"/>
                <a:gd name="T78" fmla="*/ 2147483647 w 118"/>
                <a:gd name="T79" fmla="*/ 2147483647 h 128"/>
                <a:gd name="T80" fmla="*/ 2147483647 w 118"/>
                <a:gd name="T81" fmla="*/ 2147483647 h 128"/>
                <a:gd name="T82" fmla="*/ 2147483647 w 118"/>
                <a:gd name="T83" fmla="*/ 2147483647 h 128"/>
                <a:gd name="T84" fmla="*/ 2147483647 w 118"/>
                <a:gd name="T85" fmla="*/ 2147483647 h 128"/>
                <a:gd name="T86" fmla="*/ 2147483647 w 118"/>
                <a:gd name="T87" fmla="*/ 2147483647 h 128"/>
                <a:gd name="T88" fmla="*/ 2147483647 w 118"/>
                <a:gd name="T89" fmla="*/ 2147483647 h 128"/>
                <a:gd name="T90" fmla="*/ 2147483647 w 118"/>
                <a:gd name="T91" fmla="*/ 2147483647 h 128"/>
                <a:gd name="T92" fmla="*/ 2147483647 w 118"/>
                <a:gd name="T93" fmla="*/ 2147483647 h 128"/>
                <a:gd name="T94" fmla="*/ 2147483647 w 118"/>
                <a:gd name="T95" fmla="*/ 2147483647 h 128"/>
                <a:gd name="T96" fmla="*/ 2147483647 w 118"/>
                <a:gd name="T97" fmla="*/ 2147483647 h 128"/>
                <a:gd name="T98" fmla="*/ 2147483647 w 118"/>
                <a:gd name="T99" fmla="*/ 2147483647 h 128"/>
                <a:gd name="T100" fmla="*/ 2147483647 w 118"/>
                <a:gd name="T101" fmla="*/ 2147483647 h 128"/>
                <a:gd name="T102" fmla="*/ 2147483647 w 118"/>
                <a:gd name="T103" fmla="*/ 2147483647 h 128"/>
                <a:gd name="T104" fmla="*/ 2147483647 w 118"/>
                <a:gd name="T105" fmla="*/ 2147483647 h 128"/>
                <a:gd name="T106" fmla="*/ 2147483647 w 118"/>
                <a:gd name="T107" fmla="*/ 2147483647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8"/>
                <a:gd name="T163" fmla="*/ 0 h 128"/>
                <a:gd name="T164" fmla="*/ 118 w 118"/>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8" h="128">
                  <a:moveTo>
                    <a:pt x="103" y="27"/>
                  </a:moveTo>
                  <a:lnTo>
                    <a:pt x="103" y="27"/>
                  </a:lnTo>
                  <a:lnTo>
                    <a:pt x="109" y="21"/>
                  </a:lnTo>
                  <a:lnTo>
                    <a:pt x="114" y="14"/>
                  </a:lnTo>
                  <a:lnTo>
                    <a:pt x="117" y="11"/>
                  </a:lnTo>
                  <a:lnTo>
                    <a:pt x="118" y="7"/>
                  </a:lnTo>
                  <a:lnTo>
                    <a:pt x="117" y="4"/>
                  </a:lnTo>
                  <a:lnTo>
                    <a:pt x="114" y="0"/>
                  </a:lnTo>
                  <a:lnTo>
                    <a:pt x="111" y="0"/>
                  </a:lnTo>
                  <a:lnTo>
                    <a:pt x="109" y="1"/>
                  </a:lnTo>
                  <a:lnTo>
                    <a:pt x="107" y="8"/>
                  </a:lnTo>
                  <a:lnTo>
                    <a:pt x="106" y="11"/>
                  </a:lnTo>
                  <a:lnTo>
                    <a:pt x="102" y="13"/>
                  </a:lnTo>
                  <a:lnTo>
                    <a:pt x="99" y="13"/>
                  </a:lnTo>
                  <a:lnTo>
                    <a:pt x="97" y="13"/>
                  </a:lnTo>
                  <a:lnTo>
                    <a:pt x="90" y="11"/>
                  </a:lnTo>
                  <a:lnTo>
                    <a:pt x="85" y="10"/>
                  </a:lnTo>
                  <a:lnTo>
                    <a:pt x="80" y="10"/>
                  </a:lnTo>
                  <a:lnTo>
                    <a:pt x="70" y="11"/>
                  </a:lnTo>
                  <a:lnTo>
                    <a:pt x="66" y="12"/>
                  </a:lnTo>
                  <a:lnTo>
                    <a:pt x="61" y="14"/>
                  </a:lnTo>
                  <a:lnTo>
                    <a:pt x="57" y="15"/>
                  </a:lnTo>
                  <a:lnTo>
                    <a:pt x="52" y="15"/>
                  </a:lnTo>
                  <a:lnTo>
                    <a:pt x="46" y="20"/>
                  </a:lnTo>
                  <a:lnTo>
                    <a:pt x="42" y="23"/>
                  </a:lnTo>
                  <a:lnTo>
                    <a:pt x="38" y="24"/>
                  </a:lnTo>
                  <a:lnTo>
                    <a:pt x="17" y="28"/>
                  </a:lnTo>
                  <a:lnTo>
                    <a:pt x="17" y="32"/>
                  </a:lnTo>
                  <a:lnTo>
                    <a:pt x="15" y="36"/>
                  </a:lnTo>
                  <a:lnTo>
                    <a:pt x="10" y="42"/>
                  </a:lnTo>
                  <a:lnTo>
                    <a:pt x="10" y="44"/>
                  </a:lnTo>
                  <a:lnTo>
                    <a:pt x="9" y="47"/>
                  </a:lnTo>
                  <a:lnTo>
                    <a:pt x="0" y="53"/>
                  </a:lnTo>
                  <a:lnTo>
                    <a:pt x="0" y="56"/>
                  </a:lnTo>
                  <a:lnTo>
                    <a:pt x="0" y="58"/>
                  </a:lnTo>
                  <a:lnTo>
                    <a:pt x="1" y="61"/>
                  </a:lnTo>
                  <a:lnTo>
                    <a:pt x="3" y="63"/>
                  </a:lnTo>
                  <a:lnTo>
                    <a:pt x="7" y="65"/>
                  </a:lnTo>
                  <a:lnTo>
                    <a:pt x="10" y="65"/>
                  </a:lnTo>
                  <a:lnTo>
                    <a:pt x="15" y="65"/>
                  </a:lnTo>
                  <a:lnTo>
                    <a:pt x="17" y="66"/>
                  </a:lnTo>
                  <a:lnTo>
                    <a:pt x="18" y="68"/>
                  </a:lnTo>
                  <a:lnTo>
                    <a:pt x="18" y="70"/>
                  </a:lnTo>
                  <a:lnTo>
                    <a:pt x="17" y="72"/>
                  </a:lnTo>
                  <a:lnTo>
                    <a:pt x="19" y="75"/>
                  </a:lnTo>
                  <a:lnTo>
                    <a:pt x="24" y="79"/>
                  </a:lnTo>
                  <a:lnTo>
                    <a:pt x="29" y="81"/>
                  </a:lnTo>
                  <a:lnTo>
                    <a:pt x="34" y="81"/>
                  </a:lnTo>
                  <a:lnTo>
                    <a:pt x="41" y="81"/>
                  </a:lnTo>
                  <a:lnTo>
                    <a:pt x="46" y="82"/>
                  </a:lnTo>
                  <a:lnTo>
                    <a:pt x="50" y="83"/>
                  </a:lnTo>
                  <a:lnTo>
                    <a:pt x="51" y="87"/>
                  </a:lnTo>
                  <a:lnTo>
                    <a:pt x="51" y="89"/>
                  </a:lnTo>
                  <a:lnTo>
                    <a:pt x="50" y="90"/>
                  </a:lnTo>
                  <a:lnTo>
                    <a:pt x="48" y="90"/>
                  </a:lnTo>
                  <a:lnTo>
                    <a:pt x="41" y="88"/>
                  </a:lnTo>
                  <a:lnTo>
                    <a:pt x="33" y="87"/>
                  </a:lnTo>
                  <a:lnTo>
                    <a:pt x="28" y="87"/>
                  </a:lnTo>
                  <a:lnTo>
                    <a:pt x="23" y="90"/>
                  </a:lnTo>
                  <a:lnTo>
                    <a:pt x="21" y="93"/>
                  </a:lnTo>
                  <a:lnTo>
                    <a:pt x="21" y="97"/>
                  </a:lnTo>
                  <a:lnTo>
                    <a:pt x="24" y="98"/>
                  </a:lnTo>
                  <a:lnTo>
                    <a:pt x="26" y="100"/>
                  </a:lnTo>
                  <a:lnTo>
                    <a:pt x="28" y="106"/>
                  </a:lnTo>
                  <a:lnTo>
                    <a:pt x="31" y="110"/>
                  </a:lnTo>
                  <a:lnTo>
                    <a:pt x="32" y="113"/>
                  </a:lnTo>
                  <a:lnTo>
                    <a:pt x="33" y="114"/>
                  </a:lnTo>
                  <a:lnTo>
                    <a:pt x="38" y="116"/>
                  </a:lnTo>
                  <a:lnTo>
                    <a:pt x="42" y="121"/>
                  </a:lnTo>
                  <a:lnTo>
                    <a:pt x="46" y="125"/>
                  </a:lnTo>
                  <a:lnTo>
                    <a:pt x="51" y="127"/>
                  </a:lnTo>
                  <a:lnTo>
                    <a:pt x="52" y="128"/>
                  </a:lnTo>
                  <a:lnTo>
                    <a:pt x="55" y="127"/>
                  </a:lnTo>
                  <a:lnTo>
                    <a:pt x="56" y="126"/>
                  </a:lnTo>
                  <a:lnTo>
                    <a:pt x="57" y="123"/>
                  </a:lnTo>
                  <a:lnTo>
                    <a:pt x="56" y="119"/>
                  </a:lnTo>
                  <a:lnTo>
                    <a:pt x="54" y="115"/>
                  </a:lnTo>
                  <a:lnTo>
                    <a:pt x="52" y="110"/>
                  </a:lnTo>
                  <a:lnTo>
                    <a:pt x="52" y="108"/>
                  </a:lnTo>
                  <a:lnTo>
                    <a:pt x="54" y="106"/>
                  </a:lnTo>
                  <a:lnTo>
                    <a:pt x="57" y="103"/>
                  </a:lnTo>
                  <a:lnTo>
                    <a:pt x="59" y="102"/>
                  </a:lnTo>
                  <a:lnTo>
                    <a:pt x="57" y="101"/>
                  </a:lnTo>
                  <a:lnTo>
                    <a:pt x="57" y="98"/>
                  </a:lnTo>
                  <a:lnTo>
                    <a:pt x="57" y="97"/>
                  </a:lnTo>
                  <a:lnTo>
                    <a:pt x="61" y="100"/>
                  </a:lnTo>
                  <a:lnTo>
                    <a:pt x="66" y="100"/>
                  </a:lnTo>
                  <a:lnTo>
                    <a:pt x="70" y="100"/>
                  </a:lnTo>
                  <a:lnTo>
                    <a:pt x="73" y="96"/>
                  </a:lnTo>
                  <a:lnTo>
                    <a:pt x="73" y="95"/>
                  </a:lnTo>
                  <a:lnTo>
                    <a:pt x="73" y="93"/>
                  </a:lnTo>
                  <a:lnTo>
                    <a:pt x="69" y="89"/>
                  </a:lnTo>
                  <a:lnTo>
                    <a:pt x="61" y="79"/>
                  </a:lnTo>
                  <a:lnTo>
                    <a:pt x="59" y="76"/>
                  </a:lnTo>
                  <a:lnTo>
                    <a:pt x="57" y="72"/>
                  </a:lnTo>
                  <a:lnTo>
                    <a:pt x="57" y="65"/>
                  </a:lnTo>
                  <a:lnTo>
                    <a:pt x="56" y="57"/>
                  </a:lnTo>
                  <a:lnTo>
                    <a:pt x="55" y="55"/>
                  </a:lnTo>
                  <a:lnTo>
                    <a:pt x="52" y="51"/>
                  </a:lnTo>
                  <a:lnTo>
                    <a:pt x="51" y="50"/>
                  </a:lnTo>
                  <a:lnTo>
                    <a:pt x="51" y="49"/>
                  </a:lnTo>
                  <a:lnTo>
                    <a:pt x="54" y="46"/>
                  </a:lnTo>
                  <a:lnTo>
                    <a:pt x="57" y="45"/>
                  </a:lnTo>
                  <a:lnTo>
                    <a:pt x="60" y="43"/>
                  </a:lnTo>
                  <a:lnTo>
                    <a:pt x="61" y="42"/>
                  </a:lnTo>
                  <a:lnTo>
                    <a:pt x="61" y="39"/>
                  </a:lnTo>
                  <a:lnTo>
                    <a:pt x="61" y="37"/>
                  </a:lnTo>
                  <a:lnTo>
                    <a:pt x="61" y="34"/>
                  </a:lnTo>
                  <a:lnTo>
                    <a:pt x="64" y="33"/>
                  </a:lnTo>
                  <a:lnTo>
                    <a:pt x="65" y="33"/>
                  </a:lnTo>
                  <a:lnTo>
                    <a:pt x="68" y="34"/>
                  </a:lnTo>
                  <a:lnTo>
                    <a:pt x="70" y="38"/>
                  </a:lnTo>
                  <a:lnTo>
                    <a:pt x="71" y="43"/>
                  </a:lnTo>
                  <a:lnTo>
                    <a:pt x="74" y="43"/>
                  </a:lnTo>
                  <a:lnTo>
                    <a:pt x="75" y="43"/>
                  </a:lnTo>
                  <a:lnTo>
                    <a:pt x="76" y="38"/>
                  </a:lnTo>
                  <a:lnTo>
                    <a:pt x="76" y="34"/>
                  </a:lnTo>
                  <a:lnTo>
                    <a:pt x="75" y="32"/>
                  </a:lnTo>
                  <a:lnTo>
                    <a:pt x="74" y="31"/>
                  </a:lnTo>
                  <a:lnTo>
                    <a:pt x="74" y="27"/>
                  </a:lnTo>
                  <a:lnTo>
                    <a:pt x="81" y="25"/>
                  </a:lnTo>
                  <a:lnTo>
                    <a:pt x="88" y="25"/>
                  </a:lnTo>
                  <a:lnTo>
                    <a:pt x="95" y="25"/>
                  </a:lnTo>
                  <a:lnTo>
                    <a:pt x="103" y="2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5" name="Freeform 1194"/>
            <p:cNvSpPr>
              <a:spLocks/>
            </p:cNvSpPr>
            <p:nvPr/>
          </p:nvSpPr>
          <p:spPr bwMode="auto">
            <a:xfrm>
              <a:off x="4840292" y="3032128"/>
              <a:ext cx="33337" cy="95250"/>
            </a:xfrm>
            <a:custGeom>
              <a:avLst/>
              <a:gdLst>
                <a:gd name="T0" fmla="*/ 2147483647 w 23"/>
                <a:gd name="T1" fmla="*/ 2147483647 h 60"/>
                <a:gd name="T2" fmla="*/ 2147483647 w 23"/>
                <a:gd name="T3" fmla="*/ 2147483647 h 60"/>
                <a:gd name="T4" fmla="*/ 2147483647 w 23"/>
                <a:gd name="T5" fmla="*/ 2147483647 h 60"/>
                <a:gd name="T6" fmla="*/ 2147483647 w 23"/>
                <a:gd name="T7" fmla="*/ 2147483647 h 60"/>
                <a:gd name="T8" fmla="*/ 2147483647 w 23"/>
                <a:gd name="T9" fmla="*/ 2147483647 h 60"/>
                <a:gd name="T10" fmla="*/ 2147483647 w 23"/>
                <a:gd name="T11" fmla="*/ 2147483647 h 60"/>
                <a:gd name="T12" fmla="*/ 2147483647 w 23"/>
                <a:gd name="T13" fmla="*/ 2147483647 h 60"/>
                <a:gd name="T14" fmla="*/ 2147483647 w 23"/>
                <a:gd name="T15" fmla="*/ 2147483647 h 60"/>
                <a:gd name="T16" fmla="*/ 2147483647 w 23"/>
                <a:gd name="T17" fmla="*/ 2147483647 h 60"/>
                <a:gd name="T18" fmla="*/ 2147483647 w 23"/>
                <a:gd name="T19" fmla="*/ 2147483647 h 60"/>
                <a:gd name="T20" fmla="*/ 2147483647 w 23"/>
                <a:gd name="T21" fmla="*/ 2147483647 h 60"/>
                <a:gd name="T22" fmla="*/ 2147483647 w 23"/>
                <a:gd name="T23" fmla="*/ 2147483647 h 60"/>
                <a:gd name="T24" fmla="*/ 2147483647 w 23"/>
                <a:gd name="T25" fmla="*/ 2147483647 h 60"/>
                <a:gd name="T26" fmla="*/ 0 w 23"/>
                <a:gd name="T27" fmla="*/ 2147483647 h 60"/>
                <a:gd name="T28" fmla="*/ 2147483647 w 23"/>
                <a:gd name="T29" fmla="*/ 2147483647 h 60"/>
                <a:gd name="T30" fmla="*/ 2147483647 w 23"/>
                <a:gd name="T31" fmla="*/ 2147483647 h 60"/>
                <a:gd name="T32" fmla="*/ 2147483647 w 23"/>
                <a:gd name="T33" fmla="*/ 2147483647 h 60"/>
                <a:gd name="T34" fmla="*/ 2147483647 w 23"/>
                <a:gd name="T35" fmla="*/ 2147483647 h 60"/>
                <a:gd name="T36" fmla="*/ 2147483647 w 23"/>
                <a:gd name="T37" fmla="*/ 2147483647 h 60"/>
                <a:gd name="T38" fmla="*/ 2147483647 w 23"/>
                <a:gd name="T39" fmla="*/ 2147483647 h 60"/>
                <a:gd name="T40" fmla="*/ 2147483647 w 23"/>
                <a:gd name="T41" fmla="*/ 2147483647 h 60"/>
                <a:gd name="T42" fmla="*/ 2147483647 w 23"/>
                <a:gd name="T43" fmla="*/ 2147483647 h 60"/>
                <a:gd name="T44" fmla="*/ 2147483647 w 23"/>
                <a:gd name="T45" fmla="*/ 2147483647 h 60"/>
                <a:gd name="T46" fmla="*/ 2147483647 w 23"/>
                <a:gd name="T47" fmla="*/ 2147483647 h 60"/>
                <a:gd name="T48" fmla="*/ 2147483647 w 23"/>
                <a:gd name="T49" fmla="*/ 2147483647 h 60"/>
                <a:gd name="T50" fmla="*/ 2147483647 w 23"/>
                <a:gd name="T51" fmla="*/ 2147483647 h 60"/>
                <a:gd name="T52" fmla="*/ 2147483647 w 23"/>
                <a:gd name="T53" fmla="*/ 2147483647 h 60"/>
                <a:gd name="T54" fmla="*/ 2147483647 w 23"/>
                <a:gd name="T55" fmla="*/ 2147483647 h 60"/>
                <a:gd name="T56" fmla="*/ 2147483647 w 23"/>
                <a:gd name="T57" fmla="*/ 2147483647 h 60"/>
                <a:gd name="T58" fmla="*/ 2147483647 w 23"/>
                <a:gd name="T59" fmla="*/ 2147483647 h 60"/>
                <a:gd name="T60" fmla="*/ 2147483647 w 23"/>
                <a:gd name="T61" fmla="*/ 2147483647 h 60"/>
                <a:gd name="T62" fmla="*/ 2147483647 w 23"/>
                <a:gd name="T63" fmla="*/ 2147483647 h 60"/>
                <a:gd name="T64" fmla="*/ 2147483647 w 23"/>
                <a:gd name="T65" fmla="*/ 2147483647 h 60"/>
                <a:gd name="T66" fmla="*/ 2147483647 w 23"/>
                <a:gd name="T67" fmla="*/ 2147483647 h 60"/>
                <a:gd name="T68" fmla="*/ 2147483647 w 23"/>
                <a:gd name="T69" fmla="*/ 2147483647 h 60"/>
                <a:gd name="T70" fmla="*/ 2147483647 w 23"/>
                <a:gd name="T71" fmla="*/ 2147483647 h 60"/>
                <a:gd name="T72" fmla="*/ 2147483647 w 23"/>
                <a:gd name="T73" fmla="*/ 0 h 60"/>
                <a:gd name="T74" fmla="*/ 2147483647 w 23"/>
                <a:gd name="T75" fmla="*/ 2147483647 h 60"/>
                <a:gd name="T76" fmla="*/ 2147483647 w 23"/>
                <a:gd name="T77" fmla="*/ 2147483647 h 60"/>
                <a:gd name="T78" fmla="*/ 2147483647 w 23"/>
                <a:gd name="T79" fmla="*/ 2147483647 h 60"/>
                <a:gd name="T80" fmla="*/ 2147483647 w 23"/>
                <a:gd name="T81" fmla="*/ 2147483647 h 60"/>
                <a:gd name="T82" fmla="*/ 2147483647 w 23"/>
                <a:gd name="T83" fmla="*/ 2147483647 h 60"/>
                <a:gd name="T84" fmla="*/ 2147483647 w 23"/>
                <a:gd name="T85" fmla="*/ 2147483647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
                <a:gd name="T130" fmla="*/ 0 h 60"/>
                <a:gd name="T131" fmla="*/ 23 w 23"/>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 h="60">
                  <a:moveTo>
                    <a:pt x="1" y="12"/>
                  </a:moveTo>
                  <a:lnTo>
                    <a:pt x="1" y="12"/>
                  </a:lnTo>
                  <a:lnTo>
                    <a:pt x="4" y="13"/>
                  </a:lnTo>
                  <a:lnTo>
                    <a:pt x="5" y="14"/>
                  </a:lnTo>
                  <a:lnTo>
                    <a:pt x="4" y="17"/>
                  </a:lnTo>
                  <a:lnTo>
                    <a:pt x="2" y="19"/>
                  </a:lnTo>
                  <a:lnTo>
                    <a:pt x="1" y="21"/>
                  </a:lnTo>
                  <a:lnTo>
                    <a:pt x="1" y="27"/>
                  </a:lnTo>
                  <a:lnTo>
                    <a:pt x="1" y="30"/>
                  </a:lnTo>
                  <a:lnTo>
                    <a:pt x="1" y="39"/>
                  </a:lnTo>
                  <a:lnTo>
                    <a:pt x="0" y="46"/>
                  </a:lnTo>
                  <a:lnTo>
                    <a:pt x="1" y="53"/>
                  </a:lnTo>
                  <a:lnTo>
                    <a:pt x="6" y="60"/>
                  </a:lnTo>
                  <a:lnTo>
                    <a:pt x="15" y="54"/>
                  </a:lnTo>
                  <a:lnTo>
                    <a:pt x="16" y="51"/>
                  </a:lnTo>
                  <a:lnTo>
                    <a:pt x="16" y="49"/>
                  </a:lnTo>
                  <a:lnTo>
                    <a:pt x="21" y="43"/>
                  </a:lnTo>
                  <a:lnTo>
                    <a:pt x="23" y="39"/>
                  </a:lnTo>
                  <a:lnTo>
                    <a:pt x="23" y="35"/>
                  </a:lnTo>
                  <a:lnTo>
                    <a:pt x="23" y="33"/>
                  </a:lnTo>
                  <a:lnTo>
                    <a:pt x="19" y="22"/>
                  </a:lnTo>
                  <a:lnTo>
                    <a:pt x="18" y="17"/>
                  </a:lnTo>
                  <a:lnTo>
                    <a:pt x="18" y="11"/>
                  </a:lnTo>
                  <a:lnTo>
                    <a:pt x="16" y="8"/>
                  </a:lnTo>
                  <a:lnTo>
                    <a:pt x="15" y="5"/>
                  </a:lnTo>
                  <a:lnTo>
                    <a:pt x="10" y="1"/>
                  </a:lnTo>
                  <a:lnTo>
                    <a:pt x="7" y="0"/>
                  </a:lnTo>
                  <a:lnTo>
                    <a:pt x="5" y="1"/>
                  </a:lnTo>
                  <a:lnTo>
                    <a:pt x="4" y="3"/>
                  </a:lnTo>
                  <a:lnTo>
                    <a:pt x="2" y="7"/>
                  </a:lnTo>
                  <a:lnTo>
                    <a:pt x="1" y="1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6" name="Freeform 1195"/>
            <p:cNvSpPr>
              <a:spLocks/>
            </p:cNvSpPr>
            <p:nvPr/>
          </p:nvSpPr>
          <p:spPr bwMode="auto">
            <a:xfrm>
              <a:off x="4684715" y="2878141"/>
              <a:ext cx="242887" cy="212725"/>
            </a:xfrm>
            <a:custGeom>
              <a:avLst/>
              <a:gdLst>
                <a:gd name="T0" fmla="*/ 2147483647 w 166"/>
                <a:gd name="T1" fmla="*/ 2147483647 h 134"/>
                <a:gd name="T2" fmla="*/ 2147483647 w 166"/>
                <a:gd name="T3" fmla="*/ 2147483647 h 134"/>
                <a:gd name="T4" fmla="*/ 2147483647 w 166"/>
                <a:gd name="T5" fmla="*/ 2147483647 h 134"/>
                <a:gd name="T6" fmla="*/ 2147483647 w 166"/>
                <a:gd name="T7" fmla="*/ 2147483647 h 134"/>
                <a:gd name="T8" fmla="*/ 2147483647 w 166"/>
                <a:gd name="T9" fmla="*/ 2147483647 h 134"/>
                <a:gd name="T10" fmla="*/ 2147483647 w 166"/>
                <a:gd name="T11" fmla="*/ 2147483647 h 134"/>
                <a:gd name="T12" fmla="*/ 2147483647 w 166"/>
                <a:gd name="T13" fmla="*/ 2147483647 h 134"/>
                <a:gd name="T14" fmla="*/ 2147483647 w 166"/>
                <a:gd name="T15" fmla="*/ 2147483647 h 134"/>
                <a:gd name="T16" fmla="*/ 2147483647 w 166"/>
                <a:gd name="T17" fmla="*/ 2147483647 h 134"/>
                <a:gd name="T18" fmla="*/ 2147483647 w 166"/>
                <a:gd name="T19" fmla="*/ 2147483647 h 134"/>
                <a:gd name="T20" fmla="*/ 2147483647 w 166"/>
                <a:gd name="T21" fmla="*/ 2147483647 h 134"/>
                <a:gd name="T22" fmla="*/ 2147483647 w 166"/>
                <a:gd name="T23" fmla="*/ 2147483647 h 134"/>
                <a:gd name="T24" fmla="*/ 2147483647 w 166"/>
                <a:gd name="T25" fmla="*/ 2147483647 h 134"/>
                <a:gd name="T26" fmla="*/ 2147483647 w 166"/>
                <a:gd name="T27" fmla="*/ 2147483647 h 134"/>
                <a:gd name="T28" fmla="*/ 2147483647 w 166"/>
                <a:gd name="T29" fmla="*/ 2147483647 h 134"/>
                <a:gd name="T30" fmla="*/ 2147483647 w 166"/>
                <a:gd name="T31" fmla="*/ 2147483647 h 134"/>
                <a:gd name="T32" fmla="*/ 2147483647 w 166"/>
                <a:gd name="T33" fmla="*/ 2147483647 h 134"/>
                <a:gd name="T34" fmla="*/ 2147483647 w 166"/>
                <a:gd name="T35" fmla="*/ 2147483647 h 134"/>
                <a:gd name="T36" fmla="*/ 2147483647 w 166"/>
                <a:gd name="T37" fmla="*/ 2147483647 h 134"/>
                <a:gd name="T38" fmla="*/ 2147483647 w 166"/>
                <a:gd name="T39" fmla="*/ 2147483647 h 134"/>
                <a:gd name="T40" fmla="*/ 2147483647 w 166"/>
                <a:gd name="T41" fmla="*/ 2147483647 h 134"/>
                <a:gd name="T42" fmla="*/ 2147483647 w 166"/>
                <a:gd name="T43" fmla="*/ 2147483647 h 134"/>
                <a:gd name="T44" fmla="*/ 2147483647 w 166"/>
                <a:gd name="T45" fmla="*/ 2147483647 h 134"/>
                <a:gd name="T46" fmla="*/ 2147483647 w 166"/>
                <a:gd name="T47" fmla="*/ 2147483647 h 134"/>
                <a:gd name="T48" fmla="*/ 2147483647 w 166"/>
                <a:gd name="T49" fmla="*/ 2147483647 h 134"/>
                <a:gd name="T50" fmla="*/ 2147483647 w 166"/>
                <a:gd name="T51" fmla="*/ 2147483647 h 134"/>
                <a:gd name="T52" fmla="*/ 2147483647 w 166"/>
                <a:gd name="T53" fmla="*/ 2147483647 h 134"/>
                <a:gd name="T54" fmla="*/ 2147483647 w 166"/>
                <a:gd name="T55" fmla="*/ 2147483647 h 134"/>
                <a:gd name="T56" fmla="*/ 2147483647 w 166"/>
                <a:gd name="T57" fmla="*/ 2147483647 h 134"/>
                <a:gd name="T58" fmla="*/ 2147483647 w 166"/>
                <a:gd name="T59" fmla="*/ 2147483647 h 134"/>
                <a:gd name="T60" fmla="*/ 2147483647 w 166"/>
                <a:gd name="T61" fmla="*/ 2147483647 h 134"/>
                <a:gd name="T62" fmla="*/ 2147483647 w 166"/>
                <a:gd name="T63" fmla="*/ 2147483647 h 134"/>
                <a:gd name="T64" fmla="*/ 2147483647 w 166"/>
                <a:gd name="T65" fmla="*/ 2147483647 h 134"/>
                <a:gd name="T66" fmla="*/ 0 w 166"/>
                <a:gd name="T67" fmla="*/ 2147483647 h 134"/>
                <a:gd name="T68" fmla="*/ 0 w 166"/>
                <a:gd name="T69" fmla="*/ 2147483647 h 134"/>
                <a:gd name="T70" fmla="*/ 2147483647 w 166"/>
                <a:gd name="T71" fmla="*/ 2147483647 h 134"/>
                <a:gd name="T72" fmla="*/ 2147483647 w 166"/>
                <a:gd name="T73" fmla="*/ 2147483647 h 134"/>
                <a:gd name="T74" fmla="*/ 2147483647 w 166"/>
                <a:gd name="T75" fmla="*/ 2147483647 h 134"/>
                <a:gd name="T76" fmla="*/ 2147483647 w 166"/>
                <a:gd name="T77" fmla="*/ 2147483647 h 134"/>
                <a:gd name="T78" fmla="*/ 2147483647 w 166"/>
                <a:gd name="T79" fmla="*/ 2147483647 h 134"/>
                <a:gd name="T80" fmla="*/ 2147483647 w 166"/>
                <a:gd name="T81" fmla="*/ 2147483647 h 134"/>
                <a:gd name="T82" fmla="*/ 2147483647 w 166"/>
                <a:gd name="T83" fmla="*/ 2147483647 h 134"/>
                <a:gd name="T84" fmla="*/ 2147483647 w 166"/>
                <a:gd name="T85" fmla="*/ 2147483647 h 134"/>
                <a:gd name="T86" fmla="*/ 2147483647 w 166"/>
                <a:gd name="T87" fmla="*/ 2147483647 h 134"/>
                <a:gd name="T88" fmla="*/ 2147483647 w 166"/>
                <a:gd name="T89" fmla="*/ 2147483647 h 134"/>
                <a:gd name="T90" fmla="*/ 2147483647 w 166"/>
                <a:gd name="T91" fmla="*/ 2147483647 h 134"/>
                <a:gd name="T92" fmla="*/ 2147483647 w 166"/>
                <a:gd name="T93" fmla="*/ 2147483647 h 134"/>
                <a:gd name="T94" fmla="*/ 2147483647 w 166"/>
                <a:gd name="T95" fmla="*/ 2147483647 h 134"/>
                <a:gd name="T96" fmla="*/ 2147483647 w 166"/>
                <a:gd name="T97" fmla="*/ 2147483647 h 134"/>
                <a:gd name="T98" fmla="*/ 2147483647 w 166"/>
                <a:gd name="T99" fmla="*/ 2147483647 h 134"/>
                <a:gd name="T100" fmla="*/ 2147483647 w 166"/>
                <a:gd name="T101" fmla="*/ 2147483647 h 134"/>
                <a:gd name="T102" fmla="*/ 2147483647 w 166"/>
                <a:gd name="T103" fmla="*/ 2147483647 h 134"/>
                <a:gd name="T104" fmla="*/ 2147483647 w 166"/>
                <a:gd name="T105" fmla="*/ 2147483647 h 1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
                <a:gd name="T160" fmla="*/ 0 h 134"/>
                <a:gd name="T161" fmla="*/ 166 w 166"/>
                <a:gd name="T162" fmla="*/ 134 h 1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 h="134">
                  <a:moveTo>
                    <a:pt x="108" y="110"/>
                  </a:moveTo>
                  <a:lnTo>
                    <a:pt x="110" y="105"/>
                  </a:lnTo>
                  <a:lnTo>
                    <a:pt x="111" y="102"/>
                  </a:lnTo>
                  <a:lnTo>
                    <a:pt x="112" y="99"/>
                  </a:lnTo>
                  <a:lnTo>
                    <a:pt x="115" y="98"/>
                  </a:lnTo>
                  <a:lnTo>
                    <a:pt x="117" y="99"/>
                  </a:lnTo>
                  <a:lnTo>
                    <a:pt x="122" y="103"/>
                  </a:lnTo>
                  <a:lnTo>
                    <a:pt x="124" y="106"/>
                  </a:lnTo>
                  <a:lnTo>
                    <a:pt x="125" y="109"/>
                  </a:lnTo>
                  <a:lnTo>
                    <a:pt x="125" y="115"/>
                  </a:lnTo>
                  <a:lnTo>
                    <a:pt x="126" y="121"/>
                  </a:lnTo>
                  <a:lnTo>
                    <a:pt x="130" y="131"/>
                  </a:lnTo>
                  <a:lnTo>
                    <a:pt x="130" y="134"/>
                  </a:lnTo>
                  <a:lnTo>
                    <a:pt x="152" y="129"/>
                  </a:lnTo>
                  <a:lnTo>
                    <a:pt x="155" y="128"/>
                  </a:lnTo>
                  <a:lnTo>
                    <a:pt x="159" y="125"/>
                  </a:lnTo>
                  <a:lnTo>
                    <a:pt x="166" y="121"/>
                  </a:lnTo>
                  <a:lnTo>
                    <a:pt x="163" y="121"/>
                  </a:lnTo>
                  <a:lnTo>
                    <a:pt x="162" y="118"/>
                  </a:lnTo>
                  <a:lnTo>
                    <a:pt x="162" y="112"/>
                  </a:lnTo>
                  <a:lnTo>
                    <a:pt x="158" y="106"/>
                  </a:lnTo>
                  <a:lnTo>
                    <a:pt x="157" y="102"/>
                  </a:lnTo>
                  <a:lnTo>
                    <a:pt x="157" y="97"/>
                  </a:lnTo>
                  <a:lnTo>
                    <a:pt x="159" y="91"/>
                  </a:lnTo>
                  <a:lnTo>
                    <a:pt x="162" y="86"/>
                  </a:lnTo>
                  <a:lnTo>
                    <a:pt x="163" y="85"/>
                  </a:lnTo>
                  <a:lnTo>
                    <a:pt x="163" y="83"/>
                  </a:lnTo>
                  <a:lnTo>
                    <a:pt x="160" y="79"/>
                  </a:lnTo>
                  <a:lnTo>
                    <a:pt x="157" y="74"/>
                  </a:lnTo>
                  <a:lnTo>
                    <a:pt x="154" y="71"/>
                  </a:lnTo>
                  <a:lnTo>
                    <a:pt x="155" y="65"/>
                  </a:lnTo>
                  <a:lnTo>
                    <a:pt x="158" y="60"/>
                  </a:lnTo>
                  <a:lnTo>
                    <a:pt x="162" y="57"/>
                  </a:lnTo>
                  <a:lnTo>
                    <a:pt x="163" y="55"/>
                  </a:lnTo>
                  <a:lnTo>
                    <a:pt x="164" y="55"/>
                  </a:lnTo>
                  <a:lnTo>
                    <a:pt x="164" y="52"/>
                  </a:lnTo>
                  <a:lnTo>
                    <a:pt x="163" y="48"/>
                  </a:lnTo>
                  <a:lnTo>
                    <a:pt x="160" y="47"/>
                  </a:lnTo>
                  <a:lnTo>
                    <a:pt x="158" y="46"/>
                  </a:lnTo>
                  <a:lnTo>
                    <a:pt x="150" y="44"/>
                  </a:lnTo>
                  <a:lnTo>
                    <a:pt x="148" y="42"/>
                  </a:lnTo>
                  <a:lnTo>
                    <a:pt x="145" y="41"/>
                  </a:lnTo>
                  <a:lnTo>
                    <a:pt x="144" y="39"/>
                  </a:lnTo>
                  <a:lnTo>
                    <a:pt x="144" y="35"/>
                  </a:lnTo>
                  <a:lnTo>
                    <a:pt x="140" y="33"/>
                  </a:lnTo>
                  <a:lnTo>
                    <a:pt x="139" y="32"/>
                  </a:lnTo>
                  <a:lnTo>
                    <a:pt x="138" y="31"/>
                  </a:lnTo>
                  <a:lnTo>
                    <a:pt x="135" y="26"/>
                  </a:lnTo>
                  <a:lnTo>
                    <a:pt x="131" y="21"/>
                  </a:lnTo>
                  <a:lnTo>
                    <a:pt x="124" y="13"/>
                  </a:lnTo>
                  <a:lnTo>
                    <a:pt x="115" y="15"/>
                  </a:lnTo>
                  <a:lnTo>
                    <a:pt x="107" y="17"/>
                  </a:lnTo>
                  <a:lnTo>
                    <a:pt x="98" y="21"/>
                  </a:lnTo>
                  <a:lnTo>
                    <a:pt x="91" y="21"/>
                  </a:lnTo>
                  <a:lnTo>
                    <a:pt x="83" y="21"/>
                  </a:lnTo>
                  <a:lnTo>
                    <a:pt x="75" y="19"/>
                  </a:lnTo>
                  <a:lnTo>
                    <a:pt x="68" y="16"/>
                  </a:lnTo>
                  <a:lnTo>
                    <a:pt x="60" y="13"/>
                  </a:lnTo>
                  <a:lnTo>
                    <a:pt x="54" y="8"/>
                  </a:lnTo>
                  <a:lnTo>
                    <a:pt x="49" y="2"/>
                  </a:lnTo>
                  <a:lnTo>
                    <a:pt x="47" y="0"/>
                  </a:lnTo>
                  <a:lnTo>
                    <a:pt x="41" y="3"/>
                  </a:lnTo>
                  <a:lnTo>
                    <a:pt x="22" y="6"/>
                  </a:lnTo>
                  <a:lnTo>
                    <a:pt x="3" y="7"/>
                  </a:lnTo>
                  <a:lnTo>
                    <a:pt x="4" y="10"/>
                  </a:lnTo>
                  <a:lnTo>
                    <a:pt x="3" y="15"/>
                  </a:lnTo>
                  <a:lnTo>
                    <a:pt x="0" y="22"/>
                  </a:lnTo>
                  <a:lnTo>
                    <a:pt x="0" y="27"/>
                  </a:lnTo>
                  <a:lnTo>
                    <a:pt x="0" y="32"/>
                  </a:lnTo>
                  <a:lnTo>
                    <a:pt x="0" y="36"/>
                  </a:lnTo>
                  <a:lnTo>
                    <a:pt x="2" y="39"/>
                  </a:lnTo>
                  <a:lnTo>
                    <a:pt x="4" y="41"/>
                  </a:lnTo>
                  <a:lnTo>
                    <a:pt x="8" y="35"/>
                  </a:lnTo>
                  <a:lnTo>
                    <a:pt x="14" y="33"/>
                  </a:lnTo>
                  <a:lnTo>
                    <a:pt x="17" y="32"/>
                  </a:lnTo>
                  <a:lnTo>
                    <a:pt x="20" y="33"/>
                  </a:lnTo>
                  <a:lnTo>
                    <a:pt x="22" y="34"/>
                  </a:lnTo>
                  <a:lnTo>
                    <a:pt x="23" y="38"/>
                  </a:lnTo>
                  <a:lnTo>
                    <a:pt x="23" y="45"/>
                  </a:lnTo>
                  <a:lnTo>
                    <a:pt x="25" y="48"/>
                  </a:lnTo>
                  <a:lnTo>
                    <a:pt x="26" y="51"/>
                  </a:lnTo>
                  <a:lnTo>
                    <a:pt x="32" y="57"/>
                  </a:lnTo>
                  <a:lnTo>
                    <a:pt x="33" y="59"/>
                  </a:lnTo>
                  <a:lnTo>
                    <a:pt x="35" y="60"/>
                  </a:lnTo>
                  <a:lnTo>
                    <a:pt x="32" y="63"/>
                  </a:lnTo>
                  <a:lnTo>
                    <a:pt x="31" y="65"/>
                  </a:lnTo>
                  <a:lnTo>
                    <a:pt x="32" y="67"/>
                  </a:lnTo>
                  <a:lnTo>
                    <a:pt x="33" y="70"/>
                  </a:lnTo>
                  <a:lnTo>
                    <a:pt x="35" y="71"/>
                  </a:lnTo>
                  <a:lnTo>
                    <a:pt x="36" y="71"/>
                  </a:lnTo>
                  <a:lnTo>
                    <a:pt x="37" y="71"/>
                  </a:lnTo>
                  <a:lnTo>
                    <a:pt x="39" y="72"/>
                  </a:lnTo>
                  <a:lnTo>
                    <a:pt x="42" y="76"/>
                  </a:lnTo>
                  <a:lnTo>
                    <a:pt x="44" y="78"/>
                  </a:lnTo>
                  <a:lnTo>
                    <a:pt x="50" y="78"/>
                  </a:lnTo>
                  <a:lnTo>
                    <a:pt x="54" y="78"/>
                  </a:lnTo>
                  <a:lnTo>
                    <a:pt x="59" y="78"/>
                  </a:lnTo>
                  <a:lnTo>
                    <a:pt x="65" y="80"/>
                  </a:lnTo>
                  <a:lnTo>
                    <a:pt x="72" y="84"/>
                  </a:lnTo>
                  <a:lnTo>
                    <a:pt x="78" y="90"/>
                  </a:lnTo>
                  <a:lnTo>
                    <a:pt x="84" y="98"/>
                  </a:lnTo>
                  <a:lnTo>
                    <a:pt x="87" y="100"/>
                  </a:lnTo>
                  <a:lnTo>
                    <a:pt x="91" y="104"/>
                  </a:lnTo>
                  <a:lnTo>
                    <a:pt x="101" y="109"/>
                  </a:lnTo>
                  <a:lnTo>
                    <a:pt x="106" y="110"/>
                  </a:lnTo>
                  <a:lnTo>
                    <a:pt x="108" y="1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7" name="Freeform 1196"/>
            <p:cNvSpPr>
              <a:spLocks/>
            </p:cNvSpPr>
            <p:nvPr/>
          </p:nvSpPr>
          <p:spPr bwMode="auto">
            <a:xfrm>
              <a:off x="4752976" y="2813053"/>
              <a:ext cx="184150" cy="98425"/>
            </a:xfrm>
            <a:custGeom>
              <a:avLst/>
              <a:gdLst>
                <a:gd name="T0" fmla="*/ 2147483647 w 125"/>
                <a:gd name="T1" fmla="*/ 2147483647 h 62"/>
                <a:gd name="T2" fmla="*/ 2147483647 w 125"/>
                <a:gd name="T3" fmla="*/ 2147483647 h 62"/>
                <a:gd name="T4" fmla="*/ 2147483647 w 125"/>
                <a:gd name="T5" fmla="*/ 2147483647 h 62"/>
                <a:gd name="T6" fmla="*/ 2147483647 w 125"/>
                <a:gd name="T7" fmla="*/ 2147483647 h 62"/>
                <a:gd name="T8" fmla="*/ 2147483647 w 125"/>
                <a:gd name="T9" fmla="*/ 2147483647 h 62"/>
                <a:gd name="T10" fmla="*/ 2147483647 w 125"/>
                <a:gd name="T11" fmla="*/ 2147483647 h 62"/>
                <a:gd name="T12" fmla="*/ 2147483647 w 125"/>
                <a:gd name="T13" fmla="*/ 2147483647 h 62"/>
                <a:gd name="T14" fmla="*/ 2147483647 w 125"/>
                <a:gd name="T15" fmla="*/ 2147483647 h 62"/>
                <a:gd name="T16" fmla="*/ 2147483647 w 125"/>
                <a:gd name="T17" fmla="*/ 2147483647 h 62"/>
                <a:gd name="T18" fmla="*/ 2147483647 w 125"/>
                <a:gd name="T19" fmla="*/ 2147483647 h 62"/>
                <a:gd name="T20" fmla="*/ 2147483647 w 125"/>
                <a:gd name="T21" fmla="*/ 2147483647 h 62"/>
                <a:gd name="T22" fmla="*/ 0 w 125"/>
                <a:gd name="T23" fmla="*/ 2147483647 h 62"/>
                <a:gd name="T24" fmla="*/ 2147483647 w 125"/>
                <a:gd name="T25" fmla="*/ 2147483647 h 62"/>
                <a:gd name="T26" fmla="*/ 2147483647 w 125"/>
                <a:gd name="T27" fmla="*/ 2147483647 h 62"/>
                <a:gd name="T28" fmla="*/ 2147483647 w 125"/>
                <a:gd name="T29" fmla="*/ 2147483647 h 62"/>
                <a:gd name="T30" fmla="*/ 2147483647 w 125"/>
                <a:gd name="T31" fmla="*/ 2147483647 h 62"/>
                <a:gd name="T32" fmla="*/ 2147483647 w 125"/>
                <a:gd name="T33" fmla="*/ 2147483647 h 62"/>
                <a:gd name="T34" fmla="*/ 2147483647 w 125"/>
                <a:gd name="T35" fmla="*/ 2147483647 h 62"/>
                <a:gd name="T36" fmla="*/ 2147483647 w 125"/>
                <a:gd name="T37" fmla="*/ 2147483647 h 62"/>
                <a:gd name="T38" fmla="*/ 2147483647 w 125"/>
                <a:gd name="T39" fmla="*/ 2147483647 h 62"/>
                <a:gd name="T40" fmla="*/ 2147483647 w 125"/>
                <a:gd name="T41" fmla="*/ 2147483647 h 62"/>
                <a:gd name="T42" fmla="*/ 2147483647 w 125"/>
                <a:gd name="T43" fmla="*/ 2147483647 h 62"/>
                <a:gd name="T44" fmla="*/ 2147483647 w 125"/>
                <a:gd name="T45" fmla="*/ 2147483647 h 62"/>
                <a:gd name="T46" fmla="*/ 2147483647 w 125"/>
                <a:gd name="T47" fmla="*/ 2147483647 h 62"/>
                <a:gd name="T48" fmla="*/ 2147483647 w 125"/>
                <a:gd name="T49" fmla="*/ 2147483647 h 62"/>
                <a:gd name="T50" fmla="*/ 2147483647 w 125"/>
                <a:gd name="T51" fmla="*/ 2147483647 h 62"/>
                <a:gd name="T52" fmla="*/ 2147483647 w 125"/>
                <a:gd name="T53" fmla="*/ 2147483647 h 62"/>
                <a:gd name="T54" fmla="*/ 2147483647 w 125"/>
                <a:gd name="T55" fmla="*/ 2147483647 h 62"/>
                <a:gd name="T56" fmla="*/ 2147483647 w 125"/>
                <a:gd name="T57" fmla="*/ 2147483647 h 62"/>
                <a:gd name="T58" fmla="*/ 2147483647 w 125"/>
                <a:gd name="T59" fmla="*/ 2147483647 h 62"/>
                <a:gd name="T60" fmla="*/ 2147483647 w 125"/>
                <a:gd name="T61" fmla="*/ 2147483647 h 62"/>
                <a:gd name="T62" fmla="*/ 2147483647 w 125"/>
                <a:gd name="T63" fmla="*/ 0 h 62"/>
                <a:gd name="T64" fmla="*/ 2147483647 w 125"/>
                <a:gd name="T65" fmla="*/ 0 h 62"/>
                <a:gd name="T66" fmla="*/ 2147483647 w 125"/>
                <a:gd name="T67" fmla="*/ 2147483647 h 62"/>
                <a:gd name="T68" fmla="*/ 2147483647 w 125"/>
                <a:gd name="T69" fmla="*/ 2147483647 h 62"/>
                <a:gd name="T70" fmla="*/ 2147483647 w 125"/>
                <a:gd name="T71" fmla="*/ 2147483647 h 62"/>
                <a:gd name="T72" fmla="*/ 2147483647 w 125"/>
                <a:gd name="T73" fmla="*/ 2147483647 h 62"/>
                <a:gd name="T74" fmla="*/ 2147483647 w 125"/>
                <a:gd name="T75" fmla="*/ 2147483647 h 62"/>
                <a:gd name="T76" fmla="*/ 2147483647 w 125"/>
                <a:gd name="T77" fmla="*/ 2147483647 h 62"/>
                <a:gd name="T78" fmla="*/ 2147483647 w 125"/>
                <a:gd name="T79" fmla="*/ 2147483647 h 62"/>
                <a:gd name="T80" fmla="*/ 2147483647 w 125"/>
                <a:gd name="T81" fmla="*/ 2147483647 h 62"/>
                <a:gd name="T82" fmla="*/ 2147483647 w 125"/>
                <a:gd name="T83" fmla="*/ 2147483647 h 62"/>
                <a:gd name="T84" fmla="*/ 2147483647 w 125"/>
                <a:gd name="T85" fmla="*/ 2147483647 h 62"/>
                <a:gd name="T86" fmla="*/ 2147483647 w 125"/>
                <a:gd name="T87" fmla="*/ 2147483647 h 62"/>
                <a:gd name="T88" fmla="*/ 2147483647 w 125"/>
                <a:gd name="T89" fmla="*/ 2147483647 h 62"/>
                <a:gd name="T90" fmla="*/ 2147483647 w 125"/>
                <a:gd name="T91" fmla="*/ 2147483647 h 62"/>
                <a:gd name="T92" fmla="*/ 2147483647 w 125"/>
                <a:gd name="T93" fmla="*/ 2147483647 h 62"/>
                <a:gd name="T94" fmla="*/ 2147483647 w 125"/>
                <a:gd name="T95" fmla="*/ 2147483647 h 62"/>
                <a:gd name="T96" fmla="*/ 2147483647 w 125"/>
                <a:gd name="T97" fmla="*/ 2147483647 h 62"/>
                <a:gd name="T98" fmla="*/ 2147483647 w 125"/>
                <a:gd name="T99" fmla="*/ 2147483647 h 62"/>
                <a:gd name="T100" fmla="*/ 2147483647 w 125"/>
                <a:gd name="T101" fmla="*/ 2147483647 h 62"/>
                <a:gd name="T102" fmla="*/ 2147483647 w 125"/>
                <a:gd name="T103" fmla="*/ 2147483647 h 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5"/>
                <a:gd name="T157" fmla="*/ 0 h 62"/>
                <a:gd name="T158" fmla="*/ 125 w 125"/>
                <a:gd name="T159" fmla="*/ 62 h 6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5" h="62">
                  <a:moveTo>
                    <a:pt x="77" y="54"/>
                  </a:moveTo>
                  <a:lnTo>
                    <a:pt x="68" y="56"/>
                  </a:lnTo>
                  <a:lnTo>
                    <a:pt x="60" y="58"/>
                  </a:lnTo>
                  <a:lnTo>
                    <a:pt x="51" y="62"/>
                  </a:lnTo>
                  <a:lnTo>
                    <a:pt x="44" y="62"/>
                  </a:lnTo>
                  <a:lnTo>
                    <a:pt x="36" y="62"/>
                  </a:lnTo>
                  <a:lnTo>
                    <a:pt x="28" y="60"/>
                  </a:lnTo>
                  <a:lnTo>
                    <a:pt x="21" y="57"/>
                  </a:lnTo>
                  <a:lnTo>
                    <a:pt x="13" y="54"/>
                  </a:lnTo>
                  <a:lnTo>
                    <a:pt x="7" y="49"/>
                  </a:lnTo>
                  <a:lnTo>
                    <a:pt x="2" y="43"/>
                  </a:lnTo>
                  <a:lnTo>
                    <a:pt x="0" y="41"/>
                  </a:lnTo>
                  <a:lnTo>
                    <a:pt x="6" y="37"/>
                  </a:lnTo>
                  <a:lnTo>
                    <a:pt x="11" y="34"/>
                  </a:lnTo>
                  <a:lnTo>
                    <a:pt x="14" y="29"/>
                  </a:lnTo>
                  <a:lnTo>
                    <a:pt x="17" y="24"/>
                  </a:lnTo>
                  <a:lnTo>
                    <a:pt x="18" y="13"/>
                  </a:lnTo>
                  <a:lnTo>
                    <a:pt x="19" y="4"/>
                  </a:lnTo>
                  <a:lnTo>
                    <a:pt x="25" y="4"/>
                  </a:lnTo>
                  <a:lnTo>
                    <a:pt x="30" y="6"/>
                  </a:lnTo>
                  <a:lnTo>
                    <a:pt x="39" y="10"/>
                  </a:lnTo>
                  <a:lnTo>
                    <a:pt x="41" y="11"/>
                  </a:lnTo>
                  <a:lnTo>
                    <a:pt x="42" y="10"/>
                  </a:lnTo>
                  <a:lnTo>
                    <a:pt x="47" y="10"/>
                  </a:lnTo>
                  <a:lnTo>
                    <a:pt x="50" y="10"/>
                  </a:lnTo>
                  <a:lnTo>
                    <a:pt x="54" y="11"/>
                  </a:lnTo>
                  <a:lnTo>
                    <a:pt x="56" y="12"/>
                  </a:lnTo>
                  <a:lnTo>
                    <a:pt x="60" y="11"/>
                  </a:lnTo>
                  <a:lnTo>
                    <a:pt x="66" y="8"/>
                  </a:lnTo>
                  <a:lnTo>
                    <a:pt x="74" y="5"/>
                  </a:lnTo>
                  <a:lnTo>
                    <a:pt x="89" y="2"/>
                  </a:lnTo>
                  <a:lnTo>
                    <a:pt x="98" y="0"/>
                  </a:lnTo>
                  <a:lnTo>
                    <a:pt x="107" y="0"/>
                  </a:lnTo>
                  <a:lnTo>
                    <a:pt x="115" y="4"/>
                  </a:lnTo>
                  <a:lnTo>
                    <a:pt x="121" y="9"/>
                  </a:lnTo>
                  <a:lnTo>
                    <a:pt x="125" y="15"/>
                  </a:lnTo>
                  <a:lnTo>
                    <a:pt x="124" y="15"/>
                  </a:lnTo>
                  <a:lnTo>
                    <a:pt x="122" y="16"/>
                  </a:lnTo>
                  <a:lnTo>
                    <a:pt x="119" y="23"/>
                  </a:lnTo>
                  <a:lnTo>
                    <a:pt x="113" y="30"/>
                  </a:lnTo>
                  <a:lnTo>
                    <a:pt x="102" y="42"/>
                  </a:lnTo>
                  <a:lnTo>
                    <a:pt x="102" y="45"/>
                  </a:lnTo>
                  <a:lnTo>
                    <a:pt x="101" y="48"/>
                  </a:lnTo>
                  <a:lnTo>
                    <a:pt x="99" y="49"/>
                  </a:lnTo>
                  <a:lnTo>
                    <a:pt x="99" y="51"/>
                  </a:lnTo>
                  <a:lnTo>
                    <a:pt x="99" y="53"/>
                  </a:lnTo>
                  <a:lnTo>
                    <a:pt x="98" y="54"/>
                  </a:lnTo>
                  <a:lnTo>
                    <a:pt x="97" y="55"/>
                  </a:lnTo>
                  <a:lnTo>
                    <a:pt x="94" y="55"/>
                  </a:lnTo>
                  <a:lnTo>
                    <a:pt x="89" y="53"/>
                  </a:lnTo>
                  <a:lnTo>
                    <a:pt x="86" y="53"/>
                  </a:lnTo>
                  <a:lnTo>
                    <a:pt x="77" y="5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8" name="Freeform 1197"/>
            <p:cNvSpPr>
              <a:spLocks/>
            </p:cNvSpPr>
            <p:nvPr/>
          </p:nvSpPr>
          <p:spPr bwMode="auto">
            <a:xfrm>
              <a:off x="4683127" y="2876550"/>
              <a:ext cx="241300" cy="211138"/>
            </a:xfrm>
            <a:custGeom>
              <a:avLst/>
              <a:gdLst>
                <a:gd name="T0" fmla="*/ 2147483647 w 165"/>
                <a:gd name="T1" fmla="*/ 2147483647 h 133"/>
                <a:gd name="T2" fmla="*/ 2147483647 w 165"/>
                <a:gd name="T3" fmla="*/ 2147483647 h 133"/>
                <a:gd name="T4" fmla="*/ 2147483647 w 165"/>
                <a:gd name="T5" fmla="*/ 2147483647 h 133"/>
                <a:gd name="T6" fmla="*/ 2147483647 w 165"/>
                <a:gd name="T7" fmla="*/ 2147483647 h 133"/>
                <a:gd name="T8" fmla="*/ 2147483647 w 165"/>
                <a:gd name="T9" fmla="*/ 2147483647 h 133"/>
                <a:gd name="T10" fmla="*/ 2147483647 w 165"/>
                <a:gd name="T11" fmla="*/ 2147483647 h 133"/>
                <a:gd name="T12" fmla="*/ 2147483647 w 165"/>
                <a:gd name="T13" fmla="*/ 2147483647 h 133"/>
                <a:gd name="T14" fmla="*/ 2147483647 w 165"/>
                <a:gd name="T15" fmla="*/ 2147483647 h 133"/>
                <a:gd name="T16" fmla="*/ 2147483647 w 165"/>
                <a:gd name="T17" fmla="*/ 2147483647 h 133"/>
                <a:gd name="T18" fmla="*/ 2147483647 w 165"/>
                <a:gd name="T19" fmla="*/ 2147483647 h 133"/>
                <a:gd name="T20" fmla="*/ 2147483647 w 165"/>
                <a:gd name="T21" fmla="*/ 2147483647 h 133"/>
                <a:gd name="T22" fmla="*/ 2147483647 w 165"/>
                <a:gd name="T23" fmla="*/ 2147483647 h 133"/>
                <a:gd name="T24" fmla="*/ 2147483647 w 165"/>
                <a:gd name="T25" fmla="*/ 2147483647 h 133"/>
                <a:gd name="T26" fmla="*/ 2147483647 w 165"/>
                <a:gd name="T27" fmla="*/ 2147483647 h 133"/>
                <a:gd name="T28" fmla="*/ 2147483647 w 165"/>
                <a:gd name="T29" fmla="*/ 2147483647 h 133"/>
                <a:gd name="T30" fmla="*/ 2147483647 w 165"/>
                <a:gd name="T31" fmla="*/ 2147483647 h 133"/>
                <a:gd name="T32" fmla="*/ 2147483647 w 165"/>
                <a:gd name="T33" fmla="*/ 2147483647 h 133"/>
                <a:gd name="T34" fmla="*/ 2147483647 w 165"/>
                <a:gd name="T35" fmla="*/ 2147483647 h 133"/>
                <a:gd name="T36" fmla="*/ 2147483647 w 165"/>
                <a:gd name="T37" fmla="*/ 2147483647 h 133"/>
                <a:gd name="T38" fmla="*/ 2147483647 w 165"/>
                <a:gd name="T39" fmla="*/ 2147483647 h 133"/>
                <a:gd name="T40" fmla="*/ 2147483647 w 165"/>
                <a:gd name="T41" fmla="*/ 2147483647 h 133"/>
                <a:gd name="T42" fmla="*/ 2147483647 w 165"/>
                <a:gd name="T43" fmla="*/ 2147483647 h 133"/>
                <a:gd name="T44" fmla="*/ 2147483647 w 165"/>
                <a:gd name="T45" fmla="*/ 2147483647 h 133"/>
                <a:gd name="T46" fmla="*/ 2147483647 w 165"/>
                <a:gd name="T47" fmla="*/ 2147483647 h 133"/>
                <a:gd name="T48" fmla="*/ 2147483647 w 165"/>
                <a:gd name="T49" fmla="*/ 2147483647 h 133"/>
                <a:gd name="T50" fmla="*/ 2147483647 w 165"/>
                <a:gd name="T51" fmla="*/ 2147483647 h 133"/>
                <a:gd name="T52" fmla="*/ 2147483647 w 165"/>
                <a:gd name="T53" fmla="*/ 0 h 133"/>
                <a:gd name="T54" fmla="*/ 2147483647 w 165"/>
                <a:gd name="T55" fmla="*/ 2147483647 h 133"/>
                <a:gd name="T56" fmla="*/ 2147483647 w 165"/>
                <a:gd name="T57" fmla="*/ 2147483647 h 133"/>
                <a:gd name="T58" fmla="*/ 0 w 165"/>
                <a:gd name="T59" fmla="*/ 2147483647 h 133"/>
                <a:gd name="T60" fmla="*/ 0 w 165"/>
                <a:gd name="T61" fmla="*/ 2147483647 h 133"/>
                <a:gd name="T62" fmla="*/ 2147483647 w 165"/>
                <a:gd name="T63" fmla="*/ 2147483647 h 133"/>
                <a:gd name="T64" fmla="*/ 2147483647 w 165"/>
                <a:gd name="T65" fmla="*/ 2147483647 h 133"/>
                <a:gd name="T66" fmla="*/ 2147483647 w 165"/>
                <a:gd name="T67" fmla="*/ 2147483647 h 133"/>
                <a:gd name="T68" fmla="*/ 2147483647 w 165"/>
                <a:gd name="T69" fmla="*/ 2147483647 h 133"/>
                <a:gd name="T70" fmla="*/ 2147483647 w 165"/>
                <a:gd name="T71" fmla="*/ 2147483647 h 133"/>
                <a:gd name="T72" fmla="*/ 2147483647 w 165"/>
                <a:gd name="T73" fmla="*/ 2147483647 h 133"/>
                <a:gd name="T74" fmla="*/ 2147483647 w 165"/>
                <a:gd name="T75" fmla="*/ 2147483647 h 133"/>
                <a:gd name="T76" fmla="*/ 2147483647 w 165"/>
                <a:gd name="T77" fmla="*/ 2147483647 h 133"/>
                <a:gd name="T78" fmla="*/ 2147483647 w 165"/>
                <a:gd name="T79" fmla="*/ 2147483647 h 133"/>
                <a:gd name="T80" fmla="*/ 2147483647 w 165"/>
                <a:gd name="T81" fmla="*/ 2147483647 h 133"/>
                <a:gd name="T82" fmla="*/ 2147483647 w 165"/>
                <a:gd name="T83" fmla="*/ 2147483647 h 133"/>
                <a:gd name="T84" fmla="*/ 2147483647 w 165"/>
                <a:gd name="T85" fmla="*/ 2147483647 h 133"/>
                <a:gd name="T86" fmla="*/ 2147483647 w 165"/>
                <a:gd name="T87" fmla="*/ 2147483647 h 133"/>
                <a:gd name="T88" fmla="*/ 2147483647 w 165"/>
                <a:gd name="T89" fmla="*/ 2147483647 h 133"/>
                <a:gd name="T90" fmla="*/ 2147483647 w 165"/>
                <a:gd name="T91" fmla="*/ 2147483647 h 1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133"/>
                <a:gd name="T140" fmla="*/ 165 w 165"/>
                <a:gd name="T141" fmla="*/ 133 h 1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133">
                  <a:moveTo>
                    <a:pt x="108" y="110"/>
                  </a:moveTo>
                  <a:lnTo>
                    <a:pt x="108" y="110"/>
                  </a:lnTo>
                  <a:lnTo>
                    <a:pt x="109" y="105"/>
                  </a:lnTo>
                  <a:lnTo>
                    <a:pt x="111" y="101"/>
                  </a:lnTo>
                  <a:lnTo>
                    <a:pt x="112" y="99"/>
                  </a:lnTo>
                  <a:lnTo>
                    <a:pt x="114" y="98"/>
                  </a:lnTo>
                  <a:lnTo>
                    <a:pt x="117" y="99"/>
                  </a:lnTo>
                  <a:lnTo>
                    <a:pt x="122" y="103"/>
                  </a:lnTo>
                  <a:lnTo>
                    <a:pt x="123" y="106"/>
                  </a:lnTo>
                  <a:lnTo>
                    <a:pt x="125" y="109"/>
                  </a:lnTo>
                  <a:lnTo>
                    <a:pt x="125" y="115"/>
                  </a:lnTo>
                  <a:lnTo>
                    <a:pt x="126" y="120"/>
                  </a:lnTo>
                  <a:lnTo>
                    <a:pt x="130" y="131"/>
                  </a:lnTo>
                  <a:lnTo>
                    <a:pt x="130" y="133"/>
                  </a:lnTo>
                  <a:lnTo>
                    <a:pt x="151" y="129"/>
                  </a:lnTo>
                  <a:lnTo>
                    <a:pt x="155" y="128"/>
                  </a:lnTo>
                  <a:lnTo>
                    <a:pt x="159" y="125"/>
                  </a:lnTo>
                  <a:lnTo>
                    <a:pt x="165" y="120"/>
                  </a:lnTo>
                  <a:lnTo>
                    <a:pt x="163" y="120"/>
                  </a:lnTo>
                  <a:lnTo>
                    <a:pt x="161" y="118"/>
                  </a:lnTo>
                  <a:lnTo>
                    <a:pt x="161" y="112"/>
                  </a:lnTo>
                  <a:lnTo>
                    <a:pt x="158" y="106"/>
                  </a:lnTo>
                  <a:lnTo>
                    <a:pt x="156" y="101"/>
                  </a:lnTo>
                  <a:lnTo>
                    <a:pt x="156" y="97"/>
                  </a:lnTo>
                  <a:lnTo>
                    <a:pt x="159" y="91"/>
                  </a:lnTo>
                  <a:lnTo>
                    <a:pt x="161" y="86"/>
                  </a:lnTo>
                  <a:lnTo>
                    <a:pt x="163" y="85"/>
                  </a:lnTo>
                  <a:lnTo>
                    <a:pt x="163" y="83"/>
                  </a:lnTo>
                  <a:lnTo>
                    <a:pt x="160" y="79"/>
                  </a:lnTo>
                  <a:lnTo>
                    <a:pt x="156" y="74"/>
                  </a:lnTo>
                  <a:lnTo>
                    <a:pt x="154" y="71"/>
                  </a:lnTo>
                  <a:lnTo>
                    <a:pt x="155" y="65"/>
                  </a:lnTo>
                  <a:lnTo>
                    <a:pt x="158" y="60"/>
                  </a:lnTo>
                  <a:lnTo>
                    <a:pt x="161" y="56"/>
                  </a:lnTo>
                  <a:lnTo>
                    <a:pt x="163" y="55"/>
                  </a:lnTo>
                  <a:lnTo>
                    <a:pt x="164" y="55"/>
                  </a:lnTo>
                  <a:lnTo>
                    <a:pt x="164" y="52"/>
                  </a:lnTo>
                  <a:lnTo>
                    <a:pt x="163" y="48"/>
                  </a:lnTo>
                  <a:lnTo>
                    <a:pt x="160" y="47"/>
                  </a:lnTo>
                  <a:lnTo>
                    <a:pt x="158" y="46"/>
                  </a:lnTo>
                  <a:lnTo>
                    <a:pt x="150" y="43"/>
                  </a:lnTo>
                  <a:lnTo>
                    <a:pt x="147" y="42"/>
                  </a:lnTo>
                  <a:lnTo>
                    <a:pt x="145" y="41"/>
                  </a:lnTo>
                  <a:lnTo>
                    <a:pt x="144" y="39"/>
                  </a:lnTo>
                  <a:lnTo>
                    <a:pt x="144" y="35"/>
                  </a:lnTo>
                  <a:lnTo>
                    <a:pt x="140" y="33"/>
                  </a:lnTo>
                  <a:lnTo>
                    <a:pt x="139" y="32"/>
                  </a:lnTo>
                  <a:lnTo>
                    <a:pt x="137" y="30"/>
                  </a:lnTo>
                  <a:lnTo>
                    <a:pt x="135" y="26"/>
                  </a:lnTo>
                  <a:lnTo>
                    <a:pt x="131" y="21"/>
                  </a:lnTo>
                  <a:lnTo>
                    <a:pt x="123" y="13"/>
                  </a:lnTo>
                  <a:lnTo>
                    <a:pt x="114" y="15"/>
                  </a:lnTo>
                  <a:lnTo>
                    <a:pt x="107" y="17"/>
                  </a:lnTo>
                  <a:lnTo>
                    <a:pt x="98" y="21"/>
                  </a:lnTo>
                  <a:lnTo>
                    <a:pt x="90" y="21"/>
                  </a:lnTo>
                  <a:lnTo>
                    <a:pt x="83" y="21"/>
                  </a:lnTo>
                  <a:lnTo>
                    <a:pt x="75" y="18"/>
                  </a:lnTo>
                  <a:lnTo>
                    <a:pt x="67" y="16"/>
                  </a:lnTo>
                  <a:lnTo>
                    <a:pt x="60" y="13"/>
                  </a:lnTo>
                  <a:lnTo>
                    <a:pt x="54" y="8"/>
                  </a:lnTo>
                  <a:lnTo>
                    <a:pt x="48" y="2"/>
                  </a:lnTo>
                  <a:lnTo>
                    <a:pt x="47" y="0"/>
                  </a:lnTo>
                  <a:lnTo>
                    <a:pt x="41" y="3"/>
                  </a:lnTo>
                  <a:lnTo>
                    <a:pt x="22" y="5"/>
                  </a:lnTo>
                  <a:lnTo>
                    <a:pt x="3" y="7"/>
                  </a:lnTo>
                  <a:lnTo>
                    <a:pt x="4" y="10"/>
                  </a:lnTo>
                  <a:lnTo>
                    <a:pt x="3" y="15"/>
                  </a:lnTo>
                  <a:lnTo>
                    <a:pt x="0" y="22"/>
                  </a:lnTo>
                  <a:lnTo>
                    <a:pt x="0" y="27"/>
                  </a:lnTo>
                  <a:lnTo>
                    <a:pt x="0" y="32"/>
                  </a:lnTo>
                  <a:lnTo>
                    <a:pt x="0" y="36"/>
                  </a:lnTo>
                  <a:lnTo>
                    <a:pt x="1" y="39"/>
                  </a:lnTo>
                  <a:lnTo>
                    <a:pt x="4" y="41"/>
                  </a:lnTo>
                  <a:lnTo>
                    <a:pt x="8" y="35"/>
                  </a:lnTo>
                  <a:lnTo>
                    <a:pt x="14" y="33"/>
                  </a:lnTo>
                  <a:lnTo>
                    <a:pt x="17" y="32"/>
                  </a:lnTo>
                  <a:lnTo>
                    <a:pt x="19" y="33"/>
                  </a:lnTo>
                  <a:lnTo>
                    <a:pt x="22" y="34"/>
                  </a:lnTo>
                  <a:lnTo>
                    <a:pt x="23" y="37"/>
                  </a:lnTo>
                  <a:lnTo>
                    <a:pt x="23" y="45"/>
                  </a:lnTo>
                  <a:lnTo>
                    <a:pt x="24" y="48"/>
                  </a:lnTo>
                  <a:lnTo>
                    <a:pt x="26" y="51"/>
                  </a:lnTo>
                  <a:lnTo>
                    <a:pt x="32" y="56"/>
                  </a:lnTo>
                  <a:lnTo>
                    <a:pt x="33" y="59"/>
                  </a:lnTo>
                  <a:lnTo>
                    <a:pt x="34" y="60"/>
                  </a:lnTo>
                  <a:lnTo>
                    <a:pt x="32" y="62"/>
                  </a:lnTo>
                  <a:lnTo>
                    <a:pt x="31" y="65"/>
                  </a:lnTo>
                  <a:lnTo>
                    <a:pt x="32" y="67"/>
                  </a:lnTo>
                  <a:lnTo>
                    <a:pt x="33" y="69"/>
                  </a:lnTo>
                  <a:lnTo>
                    <a:pt x="34" y="71"/>
                  </a:lnTo>
                  <a:lnTo>
                    <a:pt x="36" y="71"/>
                  </a:lnTo>
                  <a:lnTo>
                    <a:pt x="37" y="71"/>
                  </a:lnTo>
                  <a:lnTo>
                    <a:pt x="38" y="72"/>
                  </a:lnTo>
                  <a:lnTo>
                    <a:pt x="42" y="75"/>
                  </a:lnTo>
                  <a:lnTo>
                    <a:pt x="43" y="78"/>
                  </a:lnTo>
                  <a:lnTo>
                    <a:pt x="50" y="78"/>
                  </a:lnTo>
                  <a:lnTo>
                    <a:pt x="54" y="78"/>
                  </a:lnTo>
                  <a:lnTo>
                    <a:pt x="59" y="78"/>
                  </a:lnTo>
                  <a:lnTo>
                    <a:pt x="65" y="80"/>
                  </a:lnTo>
                  <a:lnTo>
                    <a:pt x="71" y="84"/>
                  </a:lnTo>
                  <a:lnTo>
                    <a:pt x="78" y="90"/>
                  </a:lnTo>
                  <a:lnTo>
                    <a:pt x="84" y="98"/>
                  </a:lnTo>
                  <a:lnTo>
                    <a:pt x="87" y="100"/>
                  </a:lnTo>
                  <a:lnTo>
                    <a:pt x="90" y="104"/>
                  </a:lnTo>
                  <a:lnTo>
                    <a:pt x="101" y="109"/>
                  </a:lnTo>
                  <a:lnTo>
                    <a:pt x="106" y="110"/>
                  </a:lnTo>
                  <a:lnTo>
                    <a:pt x="108" y="1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199" name="Freeform 1198"/>
            <p:cNvSpPr>
              <a:spLocks/>
            </p:cNvSpPr>
            <p:nvPr/>
          </p:nvSpPr>
          <p:spPr bwMode="auto">
            <a:xfrm>
              <a:off x="4752975" y="2811463"/>
              <a:ext cx="182563" cy="98425"/>
            </a:xfrm>
            <a:custGeom>
              <a:avLst/>
              <a:gdLst>
                <a:gd name="T0" fmla="*/ 2147483647 w 125"/>
                <a:gd name="T1" fmla="*/ 2147483647 h 62"/>
                <a:gd name="T2" fmla="*/ 2147483647 w 125"/>
                <a:gd name="T3" fmla="*/ 2147483647 h 62"/>
                <a:gd name="T4" fmla="*/ 2147483647 w 125"/>
                <a:gd name="T5" fmla="*/ 2147483647 h 62"/>
                <a:gd name="T6" fmla="*/ 2147483647 w 125"/>
                <a:gd name="T7" fmla="*/ 2147483647 h 62"/>
                <a:gd name="T8" fmla="*/ 2147483647 w 125"/>
                <a:gd name="T9" fmla="*/ 2147483647 h 62"/>
                <a:gd name="T10" fmla="*/ 2147483647 w 125"/>
                <a:gd name="T11" fmla="*/ 2147483647 h 62"/>
                <a:gd name="T12" fmla="*/ 2147483647 w 125"/>
                <a:gd name="T13" fmla="*/ 2147483647 h 62"/>
                <a:gd name="T14" fmla="*/ 0 w 125"/>
                <a:gd name="T15" fmla="*/ 2147483647 h 62"/>
                <a:gd name="T16" fmla="*/ 2147483647 w 125"/>
                <a:gd name="T17" fmla="*/ 2147483647 h 62"/>
                <a:gd name="T18" fmla="*/ 2147483647 w 125"/>
                <a:gd name="T19" fmla="*/ 2147483647 h 62"/>
                <a:gd name="T20" fmla="*/ 2147483647 w 125"/>
                <a:gd name="T21" fmla="*/ 2147483647 h 62"/>
                <a:gd name="T22" fmla="*/ 2147483647 w 125"/>
                <a:gd name="T23" fmla="*/ 2147483647 h 62"/>
                <a:gd name="T24" fmla="*/ 2147483647 w 125"/>
                <a:gd name="T25" fmla="*/ 2147483647 h 62"/>
                <a:gd name="T26" fmla="*/ 2147483647 w 125"/>
                <a:gd name="T27" fmla="*/ 2147483647 h 62"/>
                <a:gd name="T28" fmla="*/ 2147483647 w 125"/>
                <a:gd name="T29" fmla="*/ 2147483647 h 62"/>
                <a:gd name="T30" fmla="*/ 2147483647 w 125"/>
                <a:gd name="T31" fmla="*/ 2147483647 h 62"/>
                <a:gd name="T32" fmla="*/ 2147483647 w 125"/>
                <a:gd name="T33" fmla="*/ 2147483647 h 62"/>
                <a:gd name="T34" fmla="*/ 2147483647 w 125"/>
                <a:gd name="T35" fmla="*/ 2147483647 h 62"/>
                <a:gd name="T36" fmla="*/ 2147483647 w 125"/>
                <a:gd name="T37" fmla="*/ 2147483647 h 62"/>
                <a:gd name="T38" fmla="*/ 2147483647 w 125"/>
                <a:gd name="T39" fmla="*/ 2147483647 h 62"/>
                <a:gd name="T40" fmla="*/ 2147483647 w 125"/>
                <a:gd name="T41" fmla="*/ 0 h 62"/>
                <a:gd name="T42" fmla="*/ 2147483647 w 125"/>
                <a:gd name="T43" fmla="*/ 2147483647 h 62"/>
                <a:gd name="T44" fmla="*/ 2147483647 w 125"/>
                <a:gd name="T45" fmla="*/ 2147483647 h 62"/>
                <a:gd name="T46" fmla="*/ 2147483647 w 125"/>
                <a:gd name="T47" fmla="*/ 2147483647 h 62"/>
                <a:gd name="T48" fmla="*/ 2147483647 w 125"/>
                <a:gd name="T49" fmla="*/ 2147483647 h 62"/>
                <a:gd name="T50" fmla="*/ 2147483647 w 125"/>
                <a:gd name="T51" fmla="*/ 2147483647 h 62"/>
                <a:gd name="T52" fmla="*/ 2147483647 w 125"/>
                <a:gd name="T53" fmla="*/ 2147483647 h 62"/>
                <a:gd name="T54" fmla="*/ 2147483647 w 125"/>
                <a:gd name="T55" fmla="*/ 2147483647 h 62"/>
                <a:gd name="T56" fmla="*/ 2147483647 w 125"/>
                <a:gd name="T57" fmla="*/ 2147483647 h 62"/>
                <a:gd name="T58" fmla="*/ 2147483647 w 125"/>
                <a:gd name="T59" fmla="*/ 2147483647 h 62"/>
                <a:gd name="T60" fmla="*/ 2147483647 w 125"/>
                <a:gd name="T61" fmla="*/ 2147483647 h 62"/>
                <a:gd name="T62" fmla="*/ 2147483647 w 125"/>
                <a:gd name="T63" fmla="*/ 2147483647 h 62"/>
                <a:gd name="T64" fmla="*/ 2147483647 w 125"/>
                <a:gd name="T65" fmla="*/ 2147483647 h 62"/>
                <a:gd name="T66" fmla="*/ 2147483647 w 125"/>
                <a:gd name="T67" fmla="*/ 2147483647 h 62"/>
                <a:gd name="T68" fmla="*/ 2147483647 w 125"/>
                <a:gd name="T69" fmla="*/ 2147483647 h 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5"/>
                <a:gd name="T106" fmla="*/ 0 h 62"/>
                <a:gd name="T107" fmla="*/ 125 w 125"/>
                <a:gd name="T108" fmla="*/ 62 h 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5" h="62">
                  <a:moveTo>
                    <a:pt x="76" y="54"/>
                  </a:moveTo>
                  <a:lnTo>
                    <a:pt x="76" y="54"/>
                  </a:lnTo>
                  <a:lnTo>
                    <a:pt x="67" y="56"/>
                  </a:lnTo>
                  <a:lnTo>
                    <a:pt x="60" y="58"/>
                  </a:lnTo>
                  <a:lnTo>
                    <a:pt x="51" y="62"/>
                  </a:lnTo>
                  <a:lnTo>
                    <a:pt x="43" y="62"/>
                  </a:lnTo>
                  <a:lnTo>
                    <a:pt x="36" y="62"/>
                  </a:lnTo>
                  <a:lnTo>
                    <a:pt x="28" y="59"/>
                  </a:lnTo>
                  <a:lnTo>
                    <a:pt x="20" y="57"/>
                  </a:lnTo>
                  <a:lnTo>
                    <a:pt x="13" y="54"/>
                  </a:lnTo>
                  <a:lnTo>
                    <a:pt x="7" y="49"/>
                  </a:lnTo>
                  <a:lnTo>
                    <a:pt x="1" y="43"/>
                  </a:lnTo>
                  <a:lnTo>
                    <a:pt x="0" y="41"/>
                  </a:lnTo>
                  <a:lnTo>
                    <a:pt x="5" y="37"/>
                  </a:lnTo>
                  <a:lnTo>
                    <a:pt x="10" y="33"/>
                  </a:lnTo>
                  <a:lnTo>
                    <a:pt x="14" y="29"/>
                  </a:lnTo>
                  <a:lnTo>
                    <a:pt x="17" y="24"/>
                  </a:lnTo>
                  <a:lnTo>
                    <a:pt x="18" y="13"/>
                  </a:lnTo>
                  <a:lnTo>
                    <a:pt x="19" y="4"/>
                  </a:lnTo>
                  <a:lnTo>
                    <a:pt x="24" y="4"/>
                  </a:lnTo>
                  <a:lnTo>
                    <a:pt x="29" y="6"/>
                  </a:lnTo>
                  <a:lnTo>
                    <a:pt x="38" y="10"/>
                  </a:lnTo>
                  <a:lnTo>
                    <a:pt x="41" y="11"/>
                  </a:lnTo>
                  <a:lnTo>
                    <a:pt x="42" y="10"/>
                  </a:lnTo>
                  <a:lnTo>
                    <a:pt x="47" y="10"/>
                  </a:lnTo>
                  <a:lnTo>
                    <a:pt x="50" y="10"/>
                  </a:lnTo>
                  <a:lnTo>
                    <a:pt x="54" y="11"/>
                  </a:lnTo>
                  <a:lnTo>
                    <a:pt x="56" y="12"/>
                  </a:lnTo>
                  <a:lnTo>
                    <a:pt x="60" y="11"/>
                  </a:lnTo>
                  <a:lnTo>
                    <a:pt x="66" y="7"/>
                  </a:lnTo>
                  <a:lnTo>
                    <a:pt x="74" y="5"/>
                  </a:lnTo>
                  <a:lnTo>
                    <a:pt x="89" y="1"/>
                  </a:lnTo>
                  <a:lnTo>
                    <a:pt x="98" y="0"/>
                  </a:lnTo>
                  <a:lnTo>
                    <a:pt x="107" y="0"/>
                  </a:lnTo>
                  <a:lnTo>
                    <a:pt x="114" y="4"/>
                  </a:lnTo>
                  <a:lnTo>
                    <a:pt x="121" y="9"/>
                  </a:lnTo>
                  <a:lnTo>
                    <a:pt x="125" y="14"/>
                  </a:lnTo>
                  <a:lnTo>
                    <a:pt x="123" y="14"/>
                  </a:lnTo>
                  <a:lnTo>
                    <a:pt x="122" y="16"/>
                  </a:lnTo>
                  <a:lnTo>
                    <a:pt x="118" y="23"/>
                  </a:lnTo>
                  <a:lnTo>
                    <a:pt x="113" y="30"/>
                  </a:lnTo>
                  <a:lnTo>
                    <a:pt x="102" y="42"/>
                  </a:lnTo>
                  <a:lnTo>
                    <a:pt x="102" y="45"/>
                  </a:lnTo>
                  <a:lnTo>
                    <a:pt x="100" y="48"/>
                  </a:lnTo>
                  <a:lnTo>
                    <a:pt x="99" y="49"/>
                  </a:lnTo>
                  <a:lnTo>
                    <a:pt x="99" y="51"/>
                  </a:lnTo>
                  <a:lnTo>
                    <a:pt x="99" y="52"/>
                  </a:lnTo>
                  <a:lnTo>
                    <a:pt x="98" y="54"/>
                  </a:lnTo>
                  <a:lnTo>
                    <a:pt x="97" y="55"/>
                  </a:lnTo>
                  <a:lnTo>
                    <a:pt x="94" y="55"/>
                  </a:lnTo>
                  <a:lnTo>
                    <a:pt x="89" y="52"/>
                  </a:lnTo>
                  <a:lnTo>
                    <a:pt x="85" y="52"/>
                  </a:lnTo>
                  <a:lnTo>
                    <a:pt x="76" y="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0" name="Freeform 1199"/>
            <p:cNvSpPr>
              <a:spLocks/>
            </p:cNvSpPr>
            <p:nvPr/>
          </p:nvSpPr>
          <p:spPr bwMode="auto">
            <a:xfrm>
              <a:off x="4649789" y="3187701"/>
              <a:ext cx="87312" cy="49214"/>
            </a:xfrm>
            <a:custGeom>
              <a:avLst/>
              <a:gdLst>
                <a:gd name="T0" fmla="*/ 2147483647 w 60"/>
                <a:gd name="T1" fmla="*/ 2147483647 h 31"/>
                <a:gd name="T2" fmla="*/ 2147483647 w 60"/>
                <a:gd name="T3" fmla="*/ 2147483647 h 31"/>
                <a:gd name="T4" fmla="*/ 2147483647 w 60"/>
                <a:gd name="T5" fmla="*/ 2147483647 h 31"/>
                <a:gd name="T6" fmla="*/ 2147483647 w 60"/>
                <a:gd name="T7" fmla="*/ 2147483647 h 31"/>
                <a:gd name="T8" fmla="*/ 2147483647 w 60"/>
                <a:gd name="T9" fmla="*/ 2147483647 h 31"/>
                <a:gd name="T10" fmla="*/ 2147483647 w 60"/>
                <a:gd name="T11" fmla="*/ 2147483647 h 31"/>
                <a:gd name="T12" fmla="*/ 2147483647 w 60"/>
                <a:gd name="T13" fmla="*/ 2147483647 h 31"/>
                <a:gd name="T14" fmla="*/ 2147483647 w 60"/>
                <a:gd name="T15" fmla="*/ 2147483647 h 31"/>
                <a:gd name="T16" fmla="*/ 2147483647 w 60"/>
                <a:gd name="T17" fmla="*/ 2147483647 h 31"/>
                <a:gd name="T18" fmla="*/ 0 w 60"/>
                <a:gd name="T19" fmla="*/ 2147483647 h 31"/>
                <a:gd name="T20" fmla="*/ 0 w 60"/>
                <a:gd name="T21" fmla="*/ 2147483647 h 31"/>
                <a:gd name="T22" fmla="*/ 0 w 60"/>
                <a:gd name="T23" fmla="*/ 2147483647 h 31"/>
                <a:gd name="T24" fmla="*/ 2147483647 w 60"/>
                <a:gd name="T25" fmla="*/ 2147483647 h 31"/>
                <a:gd name="T26" fmla="*/ 2147483647 w 60"/>
                <a:gd name="T27" fmla="*/ 2147483647 h 31"/>
                <a:gd name="T28" fmla="*/ 2147483647 w 60"/>
                <a:gd name="T29" fmla="*/ 2147483647 h 31"/>
                <a:gd name="T30" fmla="*/ 2147483647 w 60"/>
                <a:gd name="T31" fmla="*/ 2147483647 h 31"/>
                <a:gd name="T32" fmla="*/ 2147483647 w 60"/>
                <a:gd name="T33" fmla="*/ 2147483647 h 31"/>
                <a:gd name="T34" fmla="*/ 2147483647 w 60"/>
                <a:gd name="T35" fmla="*/ 2147483647 h 31"/>
                <a:gd name="T36" fmla="*/ 2147483647 w 60"/>
                <a:gd name="T37" fmla="*/ 2147483647 h 31"/>
                <a:gd name="T38" fmla="*/ 2147483647 w 60"/>
                <a:gd name="T39" fmla="*/ 2147483647 h 31"/>
                <a:gd name="T40" fmla="*/ 2147483647 w 60"/>
                <a:gd name="T41" fmla="*/ 2147483647 h 31"/>
                <a:gd name="T42" fmla="*/ 2147483647 w 60"/>
                <a:gd name="T43" fmla="*/ 2147483647 h 31"/>
                <a:gd name="T44" fmla="*/ 2147483647 w 60"/>
                <a:gd name="T45" fmla="*/ 2147483647 h 31"/>
                <a:gd name="T46" fmla="*/ 2147483647 w 60"/>
                <a:gd name="T47" fmla="*/ 2147483647 h 31"/>
                <a:gd name="T48" fmla="*/ 2147483647 w 60"/>
                <a:gd name="T49" fmla="*/ 2147483647 h 31"/>
                <a:gd name="T50" fmla="*/ 2147483647 w 60"/>
                <a:gd name="T51" fmla="*/ 2147483647 h 31"/>
                <a:gd name="T52" fmla="*/ 2147483647 w 60"/>
                <a:gd name="T53" fmla="*/ 2147483647 h 31"/>
                <a:gd name="T54" fmla="*/ 2147483647 w 60"/>
                <a:gd name="T55" fmla="*/ 2147483647 h 31"/>
                <a:gd name="T56" fmla="*/ 2147483647 w 60"/>
                <a:gd name="T57" fmla="*/ 2147483647 h 31"/>
                <a:gd name="T58" fmla="*/ 2147483647 w 60"/>
                <a:gd name="T59" fmla="*/ 2147483647 h 31"/>
                <a:gd name="T60" fmla="*/ 2147483647 w 60"/>
                <a:gd name="T61" fmla="*/ 2147483647 h 31"/>
                <a:gd name="T62" fmla="*/ 2147483647 w 60"/>
                <a:gd name="T63" fmla="*/ 2147483647 h 31"/>
                <a:gd name="T64" fmla="*/ 2147483647 w 60"/>
                <a:gd name="T65" fmla="*/ 2147483647 h 31"/>
                <a:gd name="T66" fmla="*/ 2147483647 w 60"/>
                <a:gd name="T67" fmla="*/ 2147483647 h 31"/>
                <a:gd name="T68" fmla="*/ 2147483647 w 60"/>
                <a:gd name="T69" fmla="*/ 2147483647 h 31"/>
                <a:gd name="T70" fmla="*/ 2147483647 w 60"/>
                <a:gd name="T71" fmla="*/ 2147483647 h 31"/>
                <a:gd name="T72" fmla="*/ 2147483647 w 60"/>
                <a:gd name="T73" fmla="*/ 2147483647 h 31"/>
                <a:gd name="T74" fmla="*/ 2147483647 w 60"/>
                <a:gd name="T75" fmla="*/ 2147483647 h 31"/>
                <a:gd name="T76" fmla="*/ 2147483647 w 60"/>
                <a:gd name="T77" fmla="*/ 2147483647 h 31"/>
                <a:gd name="T78" fmla="*/ 2147483647 w 60"/>
                <a:gd name="T79" fmla="*/ 2147483647 h 31"/>
                <a:gd name="T80" fmla="*/ 2147483647 w 60"/>
                <a:gd name="T81" fmla="*/ 2147483647 h 31"/>
                <a:gd name="T82" fmla="*/ 2147483647 w 60"/>
                <a:gd name="T83" fmla="*/ 2147483647 h 31"/>
                <a:gd name="T84" fmla="*/ 2147483647 w 60"/>
                <a:gd name="T85" fmla="*/ 0 h 31"/>
                <a:gd name="T86" fmla="*/ 2147483647 w 60"/>
                <a:gd name="T87" fmla="*/ 0 h 31"/>
                <a:gd name="T88" fmla="*/ 2147483647 w 60"/>
                <a:gd name="T89" fmla="*/ 2147483647 h 31"/>
                <a:gd name="T90" fmla="*/ 2147483647 w 60"/>
                <a:gd name="T91" fmla="*/ 2147483647 h 31"/>
                <a:gd name="T92" fmla="*/ 2147483647 w 60"/>
                <a:gd name="T93" fmla="*/ 2147483647 h 31"/>
                <a:gd name="T94" fmla="*/ 2147483647 w 60"/>
                <a:gd name="T95" fmla="*/ 2147483647 h 31"/>
                <a:gd name="T96" fmla="*/ 2147483647 w 60"/>
                <a:gd name="T97" fmla="*/ 2147483647 h 31"/>
                <a:gd name="T98" fmla="*/ 2147483647 w 60"/>
                <a:gd name="T99" fmla="*/ 2147483647 h 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31"/>
                <a:gd name="T152" fmla="*/ 60 w 60"/>
                <a:gd name="T153" fmla="*/ 31 h 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31">
                  <a:moveTo>
                    <a:pt x="31" y="6"/>
                  </a:moveTo>
                  <a:lnTo>
                    <a:pt x="30" y="6"/>
                  </a:lnTo>
                  <a:lnTo>
                    <a:pt x="27" y="4"/>
                  </a:lnTo>
                  <a:lnTo>
                    <a:pt x="23" y="3"/>
                  </a:lnTo>
                  <a:lnTo>
                    <a:pt x="19" y="2"/>
                  </a:lnTo>
                  <a:lnTo>
                    <a:pt x="17" y="2"/>
                  </a:lnTo>
                  <a:lnTo>
                    <a:pt x="12" y="4"/>
                  </a:lnTo>
                  <a:lnTo>
                    <a:pt x="8" y="6"/>
                  </a:lnTo>
                  <a:lnTo>
                    <a:pt x="3" y="6"/>
                  </a:lnTo>
                  <a:lnTo>
                    <a:pt x="0" y="6"/>
                  </a:lnTo>
                  <a:lnTo>
                    <a:pt x="0" y="9"/>
                  </a:lnTo>
                  <a:lnTo>
                    <a:pt x="0" y="11"/>
                  </a:lnTo>
                  <a:lnTo>
                    <a:pt x="2" y="11"/>
                  </a:lnTo>
                  <a:lnTo>
                    <a:pt x="5" y="12"/>
                  </a:lnTo>
                  <a:lnTo>
                    <a:pt x="9" y="15"/>
                  </a:lnTo>
                  <a:lnTo>
                    <a:pt x="14" y="20"/>
                  </a:lnTo>
                  <a:lnTo>
                    <a:pt x="17" y="20"/>
                  </a:lnTo>
                  <a:lnTo>
                    <a:pt x="18" y="20"/>
                  </a:lnTo>
                  <a:lnTo>
                    <a:pt x="21" y="23"/>
                  </a:lnTo>
                  <a:lnTo>
                    <a:pt x="22" y="24"/>
                  </a:lnTo>
                  <a:lnTo>
                    <a:pt x="23" y="25"/>
                  </a:lnTo>
                  <a:lnTo>
                    <a:pt x="26" y="25"/>
                  </a:lnTo>
                  <a:lnTo>
                    <a:pt x="30" y="24"/>
                  </a:lnTo>
                  <a:lnTo>
                    <a:pt x="32" y="22"/>
                  </a:lnTo>
                  <a:lnTo>
                    <a:pt x="33" y="22"/>
                  </a:lnTo>
                  <a:lnTo>
                    <a:pt x="36" y="23"/>
                  </a:lnTo>
                  <a:lnTo>
                    <a:pt x="41" y="26"/>
                  </a:lnTo>
                  <a:lnTo>
                    <a:pt x="46" y="29"/>
                  </a:lnTo>
                  <a:lnTo>
                    <a:pt x="51" y="31"/>
                  </a:lnTo>
                  <a:lnTo>
                    <a:pt x="55" y="30"/>
                  </a:lnTo>
                  <a:lnTo>
                    <a:pt x="57" y="29"/>
                  </a:lnTo>
                  <a:lnTo>
                    <a:pt x="60" y="31"/>
                  </a:lnTo>
                  <a:lnTo>
                    <a:pt x="60" y="29"/>
                  </a:lnTo>
                  <a:lnTo>
                    <a:pt x="60" y="26"/>
                  </a:lnTo>
                  <a:lnTo>
                    <a:pt x="55" y="22"/>
                  </a:lnTo>
                  <a:lnTo>
                    <a:pt x="55" y="19"/>
                  </a:lnTo>
                  <a:lnTo>
                    <a:pt x="54" y="18"/>
                  </a:lnTo>
                  <a:lnTo>
                    <a:pt x="55" y="13"/>
                  </a:lnTo>
                  <a:lnTo>
                    <a:pt x="57" y="10"/>
                  </a:lnTo>
                  <a:lnTo>
                    <a:pt x="56" y="6"/>
                  </a:lnTo>
                  <a:lnTo>
                    <a:pt x="55" y="3"/>
                  </a:lnTo>
                  <a:lnTo>
                    <a:pt x="54" y="2"/>
                  </a:lnTo>
                  <a:lnTo>
                    <a:pt x="51" y="0"/>
                  </a:lnTo>
                  <a:lnTo>
                    <a:pt x="50" y="0"/>
                  </a:lnTo>
                  <a:lnTo>
                    <a:pt x="46" y="3"/>
                  </a:lnTo>
                  <a:lnTo>
                    <a:pt x="42" y="3"/>
                  </a:lnTo>
                  <a:lnTo>
                    <a:pt x="40" y="3"/>
                  </a:lnTo>
                  <a:lnTo>
                    <a:pt x="36" y="4"/>
                  </a:lnTo>
                  <a:lnTo>
                    <a:pt x="33" y="5"/>
                  </a:lnTo>
                  <a:lnTo>
                    <a:pt x="31"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1" name="Freeform 1200"/>
            <p:cNvSpPr>
              <a:spLocks/>
            </p:cNvSpPr>
            <p:nvPr/>
          </p:nvSpPr>
          <p:spPr bwMode="auto">
            <a:xfrm>
              <a:off x="4505325" y="2868614"/>
              <a:ext cx="309564" cy="325436"/>
            </a:xfrm>
            <a:custGeom>
              <a:avLst/>
              <a:gdLst>
                <a:gd name="T0" fmla="*/ 2147483647 w 212"/>
                <a:gd name="T1" fmla="*/ 2147483647 h 205"/>
                <a:gd name="T2" fmla="*/ 2147483647 w 212"/>
                <a:gd name="T3" fmla="*/ 2147483647 h 205"/>
                <a:gd name="T4" fmla="*/ 2147483647 w 212"/>
                <a:gd name="T5" fmla="*/ 2147483647 h 205"/>
                <a:gd name="T6" fmla="*/ 2147483647 w 212"/>
                <a:gd name="T7" fmla="*/ 2147483647 h 205"/>
                <a:gd name="T8" fmla="*/ 2147483647 w 212"/>
                <a:gd name="T9" fmla="*/ 2147483647 h 205"/>
                <a:gd name="T10" fmla="*/ 2147483647 w 212"/>
                <a:gd name="T11" fmla="*/ 2147483647 h 205"/>
                <a:gd name="T12" fmla="*/ 2147483647 w 212"/>
                <a:gd name="T13" fmla="*/ 2147483647 h 205"/>
                <a:gd name="T14" fmla="*/ 2147483647 w 212"/>
                <a:gd name="T15" fmla="*/ 2147483647 h 205"/>
                <a:gd name="T16" fmla="*/ 2147483647 w 212"/>
                <a:gd name="T17" fmla="*/ 2147483647 h 205"/>
                <a:gd name="T18" fmla="*/ 2147483647 w 212"/>
                <a:gd name="T19" fmla="*/ 2147483647 h 205"/>
                <a:gd name="T20" fmla="*/ 2147483647 w 212"/>
                <a:gd name="T21" fmla="*/ 2147483647 h 205"/>
                <a:gd name="T22" fmla="*/ 2147483647 w 212"/>
                <a:gd name="T23" fmla="*/ 2147483647 h 205"/>
                <a:gd name="T24" fmla="*/ 2147483647 w 212"/>
                <a:gd name="T25" fmla="*/ 2147483647 h 205"/>
                <a:gd name="T26" fmla="*/ 2147483647 w 212"/>
                <a:gd name="T27" fmla="*/ 2147483647 h 205"/>
                <a:gd name="T28" fmla="*/ 2147483647 w 212"/>
                <a:gd name="T29" fmla="*/ 2147483647 h 205"/>
                <a:gd name="T30" fmla="*/ 2147483647 w 212"/>
                <a:gd name="T31" fmla="*/ 2147483647 h 205"/>
                <a:gd name="T32" fmla="*/ 0 w 212"/>
                <a:gd name="T33" fmla="*/ 2147483647 h 205"/>
                <a:gd name="T34" fmla="*/ 2147483647 w 212"/>
                <a:gd name="T35" fmla="*/ 2147483647 h 205"/>
                <a:gd name="T36" fmla="*/ 2147483647 w 212"/>
                <a:gd name="T37" fmla="*/ 2147483647 h 205"/>
                <a:gd name="T38" fmla="*/ 2147483647 w 212"/>
                <a:gd name="T39" fmla="*/ 2147483647 h 205"/>
                <a:gd name="T40" fmla="*/ 2147483647 w 212"/>
                <a:gd name="T41" fmla="*/ 2147483647 h 205"/>
                <a:gd name="T42" fmla="*/ 2147483647 w 212"/>
                <a:gd name="T43" fmla="*/ 2147483647 h 205"/>
                <a:gd name="T44" fmla="*/ 2147483647 w 212"/>
                <a:gd name="T45" fmla="*/ 2147483647 h 205"/>
                <a:gd name="T46" fmla="*/ 2147483647 w 212"/>
                <a:gd name="T47" fmla="*/ 2147483647 h 205"/>
                <a:gd name="T48" fmla="*/ 2147483647 w 212"/>
                <a:gd name="T49" fmla="*/ 2147483647 h 205"/>
                <a:gd name="T50" fmla="*/ 2147483647 w 212"/>
                <a:gd name="T51" fmla="*/ 2147483647 h 205"/>
                <a:gd name="T52" fmla="*/ 2147483647 w 212"/>
                <a:gd name="T53" fmla="*/ 2147483647 h 205"/>
                <a:gd name="T54" fmla="*/ 2147483647 w 212"/>
                <a:gd name="T55" fmla="*/ 2147483647 h 205"/>
                <a:gd name="T56" fmla="*/ 2147483647 w 212"/>
                <a:gd name="T57" fmla="*/ 2147483647 h 205"/>
                <a:gd name="T58" fmla="*/ 2147483647 w 212"/>
                <a:gd name="T59" fmla="*/ 2147483647 h 205"/>
                <a:gd name="T60" fmla="*/ 2147483647 w 212"/>
                <a:gd name="T61" fmla="*/ 2147483647 h 205"/>
                <a:gd name="T62" fmla="*/ 2147483647 w 212"/>
                <a:gd name="T63" fmla="*/ 2147483647 h 205"/>
                <a:gd name="T64" fmla="*/ 2147483647 w 212"/>
                <a:gd name="T65" fmla="*/ 2147483647 h 205"/>
                <a:gd name="T66" fmla="*/ 2147483647 w 212"/>
                <a:gd name="T67" fmla="*/ 2147483647 h 205"/>
                <a:gd name="T68" fmla="*/ 2147483647 w 212"/>
                <a:gd name="T69" fmla="*/ 2147483647 h 205"/>
                <a:gd name="T70" fmla="*/ 2147483647 w 212"/>
                <a:gd name="T71" fmla="*/ 2147483647 h 205"/>
                <a:gd name="T72" fmla="*/ 2147483647 w 212"/>
                <a:gd name="T73" fmla="*/ 2147483647 h 205"/>
                <a:gd name="T74" fmla="*/ 2147483647 w 212"/>
                <a:gd name="T75" fmla="*/ 2147483647 h 205"/>
                <a:gd name="T76" fmla="*/ 2147483647 w 212"/>
                <a:gd name="T77" fmla="*/ 2147483647 h 205"/>
                <a:gd name="T78" fmla="*/ 2147483647 w 212"/>
                <a:gd name="T79" fmla="*/ 2147483647 h 205"/>
                <a:gd name="T80" fmla="*/ 2147483647 w 212"/>
                <a:gd name="T81" fmla="*/ 2147483647 h 205"/>
                <a:gd name="T82" fmla="*/ 2147483647 w 212"/>
                <a:gd name="T83" fmla="*/ 2147483647 h 205"/>
                <a:gd name="T84" fmla="*/ 2147483647 w 212"/>
                <a:gd name="T85" fmla="*/ 2147483647 h 205"/>
                <a:gd name="T86" fmla="*/ 2147483647 w 212"/>
                <a:gd name="T87" fmla="*/ 2147483647 h 205"/>
                <a:gd name="T88" fmla="*/ 2147483647 w 212"/>
                <a:gd name="T89" fmla="*/ 2147483647 h 205"/>
                <a:gd name="T90" fmla="*/ 2147483647 w 212"/>
                <a:gd name="T91" fmla="*/ 2147483647 h 205"/>
                <a:gd name="T92" fmla="*/ 2147483647 w 212"/>
                <a:gd name="T93" fmla="*/ 2147483647 h 205"/>
                <a:gd name="T94" fmla="*/ 2147483647 w 212"/>
                <a:gd name="T95" fmla="*/ 2147483647 h 205"/>
                <a:gd name="T96" fmla="*/ 2147483647 w 212"/>
                <a:gd name="T97" fmla="*/ 2147483647 h 205"/>
                <a:gd name="T98" fmla="*/ 2147483647 w 212"/>
                <a:gd name="T99" fmla="*/ 2147483647 h 205"/>
                <a:gd name="T100" fmla="*/ 2147483647 w 212"/>
                <a:gd name="T101" fmla="*/ 2147483647 h 205"/>
                <a:gd name="T102" fmla="*/ 2147483647 w 212"/>
                <a:gd name="T103" fmla="*/ 2147483647 h 205"/>
                <a:gd name="T104" fmla="*/ 2147483647 w 212"/>
                <a:gd name="T105" fmla="*/ 2147483647 h 2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2"/>
                <a:gd name="T160" fmla="*/ 0 h 205"/>
                <a:gd name="T161" fmla="*/ 212 w 212"/>
                <a:gd name="T162" fmla="*/ 205 h 2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2" h="205">
                  <a:moveTo>
                    <a:pt x="123" y="28"/>
                  </a:moveTo>
                  <a:lnTo>
                    <a:pt x="126" y="21"/>
                  </a:lnTo>
                  <a:lnTo>
                    <a:pt x="127" y="16"/>
                  </a:lnTo>
                  <a:lnTo>
                    <a:pt x="126" y="13"/>
                  </a:lnTo>
                  <a:lnTo>
                    <a:pt x="112" y="12"/>
                  </a:lnTo>
                  <a:lnTo>
                    <a:pt x="106" y="10"/>
                  </a:lnTo>
                  <a:lnTo>
                    <a:pt x="99" y="8"/>
                  </a:lnTo>
                  <a:lnTo>
                    <a:pt x="98" y="6"/>
                  </a:lnTo>
                  <a:lnTo>
                    <a:pt x="97" y="3"/>
                  </a:lnTo>
                  <a:lnTo>
                    <a:pt x="97" y="1"/>
                  </a:lnTo>
                  <a:lnTo>
                    <a:pt x="94" y="0"/>
                  </a:lnTo>
                  <a:lnTo>
                    <a:pt x="84" y="1"/>
                  </a:lnTo>
                  <a:lnTo>
                    <a:pt x="74" y="2"/>
                  </a:lnTo>
                  <a:lnTo>
                    <a:pt x="70" y="3"/>
                  </a:lnTo>
                  <a:lnTo>
                    <a:pt x="66" y="5"/>
                  </a:lnTo>
                  <a:lnTo>
                    <a:pt x="65" y="6"/>
                  </a:lnTo>
                  <a:lnTo>
                    <a:pt x="64" y="8"/>
                  </a:lnTo>
                  <a:lnTo>
                    <a:pt x="60" y="10"/>
                  </a:lnTo>
                  <a:lnTo>
                    <a:pt x="56" y="13"/>
                  </a:lnTo>
                  <a:lnTo>
                    <a:pt x="54" y="15"/>
                  </a:lnTo>
                  <a:lnTo>
                    <a:pt x="52" y="18"/>
                  </a:lnTo>
                  <a:lnTo>
                    <a:pt x="52" y="19"/>
                  </a:lnTo>
                  <a:lnTo>
                    <a:pt x="52" y="20"/>
                  </a:lnTo>
                  <a:lnTo>
                    <a:pt x="50" y="21"/>
                  </a:lnTo>
                  <a:lnTo>
                    <a:pt x="49" y="19"/>
                  </a:lnTo>
                  <a:lnTo>
                    <a:pt x="47" y="15"/>
                  </a:lnTo>
                  <a:lnTo>
                    <a:pt x="45" y="13"/>
                  </a:lnTo>
                  <a:lnTo>
                    <a:pt x="43" y="13"/>
                  </a:lnTo>
                  <a:lnTo>
                    <a:pt x="42" y="15"/>
                  </a:lnTo>
                  <a:lnTo>
                    <a:pt x="42" y="19"/>
                  </a:lnTo>
                  <a:lnTo>
                    <a:pt x="42" y="21"/>
                  </a:lnTo>
                  <a:lnTo>
                    <a:pt x="42" y="25"/>
                  </a:lnTo>
                  <a:lnTo>
                    <a:pt x="40" y="26"/>
                  </a:lnTo>
                  <a:lnTo>
                    <a:pt x="38" y="26"/>
                  </a:lnTo>
                  <a:lnTo>
                    <a:pt x="35" y="23"/>
                  </a:lnTo>
                  <a:lnTo>
                    <a:pt x="31" y="22"/>
                  </a:lnTo>
                  <a:lnTo>
                    <a:pt x="29" y="21"/>
                  </a:lnTo>
                  <a:lnTo>
                    <a:pt x="28" y="22"/>
                  </a:lnTo>
                  <a:lnTo>
                    <a:pt x="22" y="25"/>
                  </a:lnTo>
                  <a:lnTo>
                    <a:pt x="17" y="27"/>
                  </a:lnTo>
                  <a:lnTo>
                    <a:pt x="16" y="28"/>
                  </a:lnTo>
                  <a:lnTo>
                    <a:pt x="17" y="29"/>
                  </a:lnTo>
                  <a:lnTo>
                    <a:pt x="17" y="33"/>
                  </a:lnTo>
                  <a:lnTo>
                    <a:pt x="16" y="34"/>
                  </a:lnTo>
                  <a:lnTo>
                    <a:pt x="14" y="37"/>
                  </a:lnTo>
                  <a:lnTo>
                    <a:pt x="9" y="38"/>
                  </a:lnTo>
                  <a:lnTo>
                    <a:pt x="10" y="41"/>
                  </a:lnTo>
                  <a:lnTo>
                    <a:pt x="8" y="44"/>
                  </a:lnTo>
                  <a:lnTo>
                    <a:pt x="5" y="46"/>
                  </a:lnTo>
                  <a:lnTo>
                    <a:pt x="2" y="47"/>
                  </a:lnTo>
                  <a:lnTo>
                    <a:pt x="0" y="48"/>
                  </a:lnTo>
                  <a:lnTo>
                    <a:pt x="0" y="50"/>
                  </a:lnTo>
                  <a:lnTo>
                    <a:pt x="2" y="52"/>
                  </a:lnTo>
                  <a:lnTo>
                    <a:pt x="7" y="58"/>
                  </a:lnTo>
                  <a:lnTo>
                    <a:pt x="13" y="63"/>
                  </a:lnTo>
                  <a:lnTo>
                    <a:pt x="18" y="69"/>
                  </a:lnTo>
                  <a:lnTo>
                    <a:pt x="19" y="72"/>
                  </a:lnTo>
                  <a:lnTo>
                    <a:pt x="21" y="74"/>
                  </a:lnTo>
                  <a:lnTo>
                    <a:pt x="27" y="71"/>
                  </a:lnTo>
                  <a:lnTo>
                    <a:pt x="35" y="69"/>
                  </a:lnTo>
                  <a:lnTo>
                    <a:pt x="41" y="67"/>
                  </a:lnTo>
                  <a:lnTo>
                    <a:pt x="49" y="67"/>
                  </a:lnTo>
                  <a:lnTo>
                    <a:pt x="55" y="70"/>
                  </a:lnTo>
                  <a:lnTo>
                    <a:pt x="60" y="72"/>
                  </a:lnTo>
                  <a:lnTo>
                    <a:pt x="65" y="76"/>
                  </a:lnTo>
                  <a:lnTo>
                    <a:pt x="68" y="80"/>
                  </a:lnTo>
                  <a:lnTo>
                    <a:pt x="73" y="92"/>
                  </a:lnTo>
                  <a:lnTo>
                    <a:pt x="78" y="103"/>
                  </a:lnTo>
                  <a:lnTo>
                    <a:pt x="82" y="108"/>
                  </a:lnTo>
                  <a:lnTo>
                    <a:pt x="87" y="112"/>
                  </a:lnTo>
                  <a:lnTo>
                    <a:pt x="92" y="115"/>
                  </a:lnTo>
                  <a:lnTo>
                    <a:pt x="99" y="117"/>
                  </a:lnTo>
                  <a:lnTo>
                    <a:pt x="99" y="118"/>
                  </a:lnTo>
                  <a:lnTo>
                    <a:pt x="101" y="121"/>
                  </a:lnTo>
                  <a:lnTo>
                    <a:pt x="107" y="122"/>
                  </a:lnTo>
                  <a:lnTo>
                    <a:pt x="113" y="125"/>
                  </a:lnTo>
                  <a:lnTo>
                    <a:pt x="125" y="133"/>
                  </a:lnTo>
                  <a:lnTo>
                    <a:pt x="135" y="141"/>
                  </a:lnTo>
                  <a:lnTo>
                    <a:pt x="144" y="150"/>
                  </a:lnTo>
                  <a:lnTo>
                    <a:pt x="149" y="155"/>
                  </a:lnTo>
                  <a:lnTo>
                    <a:pt x="155" y="160"/>
                  </a:lnTo>
                  <a:lnTo>
                    <a:pt x="162" y="163"/>
                  </a:lnTo>
                  <a:lnTo>
                    <a:pt x="167" y="167"/>
                  </a:lnTo>
                  <a:lnTo>
                    <a:pt x="169" y="172"/>
                  </a:lnTo>
                  <a:lnTo>
                    <a:pt x="169" y="176"/>
                  </a:lnTo>
                  <a:lnTo>
                    <a:pt x="168" y="182"/>
                  </a:lnTo>
                  <a:lnTo>
                    <a:pt x="165" y="188"/>
                  </a:lnTo>
                  <a:lnTo>
                    <a:pt x="164" y="191"/>
                  </a:lnTo>
                  <a:lnTo>
                    <a:pt x="163" y="194"/>
                  </a:lnTo>
                  <a:lnTo>
                    <a:pt x="164" y="198"/>
                  </a:lnTo>
                  <a:lnTo>
                    <a:pt x="165" y="201"/>
                  </a:lnTo>
                  <a:lnTo>
                    <a:pt x="167" y="204"/>
                  </a:lnTo>
                  <a:lnTo>
                    <a:pt x="168" y="205"/>
                  </a:lnTo>
                  <a:lnTo>
                    <a:pt x="169" y="205"/>
                  </a:lnTo>
                  <a:lnTo>
                    <a:pt x="173" y="203"/>
                  </a:lnTo>
                  <a:lnTo>
                    <a:pt x="177" y="199"/>
                  </a:lnTo>
                  <a:lnTo>
                    <a:pt x="182" y="193"/>
                  </a:lnTo>
                  <a:lnTo>
                    <a:pt x="182" y="186"/>
                  </a:lnTo>
                  <a:lnTo>
                    <a:pt x="182" y="185"/>
                  </a:lnTo>
                  <a:lnTo>
                    <a:pt x="183" y="184"/>
                  </a:lnTo>
                  <a:lnTo>
                    <a:pt x="187" y="182"/>
                  </a:lnTo>
                  <a:lnTo>
                    <a:pt x="189" y="181"/>
                  </a:lnTo>
                  <a:lnTo>
                    <a:pt x="191" y="180"/>
                  </a:lnTo>
                  <a:lnTo>
                    <a:pt x="191" y="179"/>
                  </a:lnTo>
                  <a:lnTo>
                    <a:pt x="189" y="176"/>
                  </a:lnTo>
                  <a:lnTo>
                    <a:pt x="187" y="175"/>
                  </a:lnTo>
                  <a:lnTo>
                    <a:pt x="184" y="174"/>
                  </a:lnTo>
                  <a:lnTo>
                    <a:pt x="183" y="172"/>
                  </a:lnTo>
                  <a:lnTo>
                    <a:pt x="183" y="168"/>
                  </a:lnTo>
                  <a:lnTo>
                    <a:pt x="184" y="163"/>
                  </a:lnTo>
                  <a:lnTo>
                    <a:pt x="184" y="161"/>
                  </a:lnTo>
                  <a:lnTo>
                    <a:pt x="186" y="159"/>
                  </a:lnTo>
                  <a:lnTo>
                    <a:pt x="187" y="157"/>
                  </a:lnTo>
                  <a:lnTo>
                    <a:pt x="189" y="156"/>
                  </a:lnTo>
                  <a:lnTo>
                    <a:pt x="193" y="156"/>
                  </a:lnTo>
                  <a:lnTo>
                    <a:pt x="201" y="160"/>
                  </a:lnTo>
                  <a:lnTo>
                    <a:pt x="205" y="162"/>
                  </a:lnTo>
                  <a:lnTo>
                    <a:pt x="207" y="163"/>
                  </a:lnTo>
                  <a:lnTo>
                    <a:pt x="210" y="163"/>
                  </a:lnTo>
                  <a:lnTo>
                    <a:pt x="212" y="160"/>
                  </a:lnTo>
                  <a:lnTo>
                    <a:pt x="212" y="155"/>
                  </a:lnTo>
                  <a:lnTo>
                    <a:pt x="206" y="150"/>
                  </a:lnTo>
                  <a:lnTo>
                    <a:pt x="201" y="147"/>
                  </a:lnTo>
                  <a:lnTo>
                    <a:pt x="196" y="142"/>
                  </a:lnTo>
                  <a:lnTo>
                    <a:pt x="189" y="136"/>
                  </a:lnTo>
                  <a:lnTo>
                    <a:pt x="179" y="135"/>
                  </a:lnTo>
                  <a:lnTo>
                    <a:pt x="173" y="134"/>
                  </a:lnTo>
                  <a:lnTo>
                    <a:pt x="170" y="133"/>
                  </a:lnTo>
                  <a:lnTo>
                    <a:pt x="169" y="133"/>
                  </a:lnTo>
                  <a:lnTo>
                    <a:pt x="167" y="127"/>
                  </a:lnTo>
                  <a:lnTo>
                    <a:pt x="163" y="122"/>
                  </a:lnTo>
                  <a:lnTo>
                    <a:pt x="159" y="117"/>
                  </a:lnTo>
                  <a:lnTo>
                    <a:pt x="154" y="114"/>
                  </a:lnTo>
                  <a:lnTo>
                    <a:pt x="139" y="108"/>
                  </a:lnTo>
                  <a:lnTo>
                    <a:pt x="131" y="103"/>
                  </a:lnTo>
                  <a:lnTo>
                    <a:pt x="129" y="101"/>
                  </a:lnTo>
                  <a:lnTo>
                    <a:pt x="127" y="98"/>
                  </a:lnTo>
                  <a:lnTo>
                    <a:pt x="126" y="89"/>
                  </a:lnTo>
                  <a:lnTo>
                    <a:pt x="123" y="84"/>
                  </a:lnTo>
                  <a:lnTo>
                    <a:pt x="120" y="80"/>
                  </a:lnTo>
                  <a:lnTo>
                    <a:pt x="117" y="78"/>
                  </a:lnTo>
                  <a:lnTo>
                    <a:pt x="112" y="76"/>
                  </a:lnTo>
                  <a:lnTo>
                    <a:pt x="108" y="74"/>
                  </a:lnTo>
                  <a:lnTo>
                    <a:pt x="103" y="72"/>
                  </a:lnTo>
                  <a:lnTo>
                    <a:pt x="103" y="71"/>
                  </a:lnTo>
                  <a:lnTo>
                    <a:pt x="102" y="69"/>
                  </a:lnTo>
                  <a:lnTo>
                    <a:pt x="102" y="63"/>
                  </a:lnTo>
                  <a:lnTo>
                    <a:pt x="102" y="57"/>
                  </a:lnTo>
                  <a:lnTo>
                    <a:pt x="104" y="51"/>
                  </a:lnTo>
                  <a:lnTo>
                    <a:pt x="106" y="46"/>
                  </a:lnTo>
                  <a:lnTo>
                    <a:pt x="107" y="42"/>
                  </a:lnTo>
                  <a:lnTo>
                    <a:pt x="106" y="40"/>
                  </a:lnTo>
                  <a:lnTo>
                    <a:pt x="103" y="38"/>
                  </a:lnTo>
                  <a:lnTo>
                    <a:pt x="103" y="37"/>
                  </a:lnTo>
                  <a:lnTo>
                    <a:pt x="103" y="35"/>
                  </a:lnTo>
                  <a:lnTo>
                    <a:pt x="108" y="33"/>
                  </a:lnTo>
                  <a:lnTo>
                    <a:pt x="113" y="31"/>
                  </a:lnTo>
                  <a:lnTo>
                    <a:pt x="118" y="29"/>
                  </a:lnTo>
                  <a:lnTo>
                    <a:pt x="123"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2" name="Freeform 1201"/>
            <p:cNvSpPr>
              <a:spLocks/>
            </p:cNvSpPr>
            <p:nvPr/>
          </p:nvSpPr>
          <p:spPr bwMode="auto">
            <a:xfrm>
              <a:off x="4648202" y="3186113"/>
              <a:ext cx="87313" cy="49212"/>
            </a:xfrm>
            <a:custGeom>
              <a:avLst/>
              <a:gdLst>
                <a:gd name="T0" fmla="*/ 2147483647 w 60"/>
                <a:gd name="T1" fmla="*/ 2147483647 h 31"/>
                <a:gd name="T2" fmla="*/ 2147483647 w 60"/>
                <a:gd name="T3" fmla="*/ 2147483647 h 31"/>
                <a:gd name="T4" fmla="*/ 2147483647 w 60"/>
                <a:gd name="T5" fmla="*/ 2147483647 h 31"/>
                <a:gd name="T6" fmla="*/ 2147483647 w 60"/>
                <a:gd name="T7" fmla="*/ 2147483647 h 31"/>
                <a:gd name="T8" fmla="*/ 2147483647 w 60"/>
                <a:gd name="T9" fmla="*/ 2147483647 h 31"/>
                <a:gd name="T10" fmla="*/ 2147483647 w 60"/>
                <a:gd name="T11" fmla="*/ 2147483647 h 31"/>
                <a:gd name="T12" fmla="*/ 2147483647 w 60"/>
                <a:gd name="T13" fmla="*/ 2147483647 h 31"/>
                <a:gd name="T14" fmla="*/ 0 w 60"/>
                <a:gd name="T15" fmla="*/ 2147483647 h 31"/>
                <a:gd name="T16" fmla="*/ 0 w 60"/>
                <a:gd name="T17" fmla="*/ 2147483647 h 31"/>
                <a:gd name="T18" fmla="*/ 2147483647 w 60"/>
                <a:gd name="T19" fmla="*/ 2147483647 h 31"/>
                <a:gd name="T20" fmla="*/ 2147483647 w 60"/>
                <a:gd name="T21" fmla="*/ 2147483647 h 31"/>
                <a:gd name="T22" fmla="*/ 2147483647 w 60"/>
                <a:gd name="T23" fmla="*/ 2147483647 h 31"/>
                <a:gd name="T24" fmla="*/ 2147483647 w 60"/>
                <a:gd name="T25" fmla="*/ 2147483647 h 31"/>
                <a:gd name="T26" fmla="*/ 2147483647 w 60"/>
                <a:gd name="T27" fmla="*/ 2147483647 h 31"/>
                <a:gd name="T28" fmla="*/ 2147483647 w 60"/>
                <a:gd name="T29" fmla="*/ 2147483647 h 31"/>
                <a:gd name="T30" fmla="*/ 2147483647 w 60"/>
                <a:gd name="T31" fmla="*/ 2147483647 h 31"/>
                <a:gd name="T32" fmla="*/ 2147483647 w 60"/>
                <a:gd name="T33" fmla="*/ 2147483647 h 31"/>
                <a:gd name="T34" fmla="*/ 2147483647 w 60"/>
                <a:gd name="T35" fmla="*/ 2147483647 h 31"/>
                <a:gd name="T36" fmla="*/ 2147483647 w 60"/>
                <a:gd name="T37" fmla="*/ 2147483647 h 31"/>
                <a:gd name="T38" fmla="*/ 2147483647 w 60"/>
                <a:gd name="T39" fmla="*/ 2147483647 h 31"/>
                <a:gd name="T40" fmla="*/ 2147483647 w 60"/>
                <a:gd name="T41" fmla="*/ 2147483647 h 31"/>
                <a:gd name="T42" fmla="*/ 2147483647 w 60"/>
                <a:gd name="T43" fmla="*/ 2147483647 h 31"/>
                <a:gd name="T44" fmla="*/ 2147483647 w 60"/>
                <a:gd name="T45" fmla="*/ 2147483647 h 31"/>
                <a:gd name="T46" fmla="*/ 2147483647 w 60"/>
                <a:gd name="T47" fmla="*/ 2147483647 h 31"/>
                <a:gd name="T48" fmla="*/ 2147483647 w 60"/>
                <a:gd name="T49" fmla="*/ 2147483647 h 31"/>
                <a:gd name="T50" fmla="*/ 2147483647 w 60"/>
                <a:gd name="T51" fmla="*/ 2147483647 h 31"/>
                <a:gd name="T52" fmla="*/ 2147483647 w 60"/>
                <a:gd name="T53" fmla="*/ 2147483647 h 31"/>
                <a:gd name="T54" fmla="*/ 2147483647 w 60"/>
                <a:gd name="T55" fmla="*/ 2147483647 h 31"/>
                <a:gd name="T56" fmla="*/ 2147483647 w 60"/>
                <a:gd name="T57" fmla="*/ 2147483647 h 31"/>
                <a:gd name="T58" fmla="*/ 2147483647 w 60"/>
                <a:gd name="T59" fmla="*/ 0 h 31"/>
                <a:gd name="T60" fmla="*/ 2147483647 w 60"/>
                <a:gd name="T61" fmla="*/ 2147483647 h 31"/>
                <a:gd name="T62" fmla="*/ 2147483647 w 60"/>
                <a:gd name="T63" fmla="*/ 2147483647 h 31"/>
                <a:gd name="T64" fmla="*/ 2147483647 w 60"/>
                <a:gd name="T65" fmla="*/ 2147483647 h 31"/>
                <a:gd name="T66" fmla="*/ 2147483647 w 60"/>
                <a:gd name="T67" fmla="*/ 2147483647 h 31"/>
                <a:gd name="T68" fmla="*/ 2147483647 w 60"/>
                <a:gd name="T69" fmla="*/ 2147483647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0"/>
                <a:gd name="T106" fmla="*/ 0 h 31"/>
                <a:gd name="T107" fmla="*/ 60 w 60"/>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0" h="31">
                  <a:moveTo>
                    <a:pt x="31" y="6"/>
                  </a:moveTo>
                  <a:lnTo>
                    <a:pt x="31" y="6"/>
                  </a:lnTo>
                  <a:lnTo>
                    <a:pt x="29" y="6"/>
                  </a:lnTo>
                  <a:lnTo>
                    <a:pt x="27" y="4"/>
                  </a:lnTo>
                  <a:lnTo>
                    <a:pt x="23" y="3"/>
                  </a:lnTo>
                  <a:lnTo>
                    <a:pt x="19" y="1"/>
                  </a:lnTo>
                  <a:lnTo>
                    <a:pt x="17" y="1"/>
                  </a:lnTo>
                  <a:lnTo>
                    <a:pt x="11" y="4"/>
                  </a:lnTo>
                  <a:lnTo>
                    <a:pt x="8" y="6"/>
                  </a:lnTo>
                  <a:lnTo>
                    <a:pt x="3" y="6"/>
                  </a:lnTo>
                  <a:lnTo>
                    <a:pt x="0" y="6"/>
                  </a:lnTo>
                  <a:lnTo>
                    <a:pt x="0" y="8"/>
                  </a:lnTo>
                  <a:lnTo>
                    <a:pt x="0" y="11"/>
                  </a:lnTo>
                  <a:lnTo>
                    <a:pt x="1" y="11"/>
                  </a:lnTo>
                  <a:lnTo>
                    <a:pt x="5" y="12"/>
                  </a:lnTo>
                  <a:lnTo>
                    <a:pt x="9" y="14"/>
                  </a:lnTo>
                  <a:lnTo>
                    <a:pt x="14" y="20"/>
                  </a:lnTo>
                  <a:lnTo>
                    <a:pt x="17" y="20"/>
                  </a:lnTo>
                  <a:lnTo>
                    <a:pt x="18" y="20"/>
                  </a:lnTo>
                  <a:lnTo>
                    <a:pt x="20" y="23"/>
                  </a:lnTo>
                  <a:lnTo>
                    <a:pt x="22" y="24"/>
                  </a:lnTo>
                  <a:lnTo>
                    <a:pt x="23" y="25"/>
                  </a:lnTo>
                  <a:lnTo>
                    <a:pt x="25" y="25"/>
                  </a:lnTo>
                  <a:lnTo>
                    <a:pt x="29" y="24"/>
                  </a:lnTo>
                  <a:lnTo>
                    <a:pt x="32" y="21"/>
                  </a:lnTo>
                  <a:lnTo>
                    <a:pt x="33" y="21"/>
                  </a:lnTo>
                  <a:lnTo>
                    <a:pt x="36" y="23"/>
                  </a:lnTo>
                  <a:lnTo>
                    <a:pt x="41" y="26"/>
                  </a:lnTo>
                  <a:lnTo>
                    <a:pt x="46" y="29"/>
                  </a:lnTo>
                  <a:lnTo>
                    <a:pt x="51" y="31"/>
                  </a:lnTo>
                  <a:lnTo>
                    <a:pt x="55" y="30"/>
                  </a:lnTo>
                  <a:lnTo>
                    <a:pt x="57" y="29"/>
                  </a:lnTo>
                  <a:lnTo>
                    <a:pt x="60" y="31"/>
                  </a:lnTo>
                  <a:lnTo>
                    <a:pt x="60" y="29"/>
                  </a:lnTo>
                  <a:lnTo>
                    <a:pt x="60" y="26"/>
                  </a:lnTo>
                  <a:lnTo>
                    <a:pt x="55" y="21"/>
                  </a:lnTo>
                  <a:lnTo>
                    <a:pt x="55" y="19"/>
                  </a:lnTo>
                  <a:lnTo>
                    <a:pt x="53" y="18"/>
                  </a:lnTo>
                  <a:lnTo>
                    <a:pt x="55" y="13"/>
                  </a:lnTo>
                  <a:lnTo>
                    <a:pt x="57" y="10"/>
                  </a:lnTo>
                  <a:lnTo>
                    <a:pt x="56" y="6"/>
                  </a:lnTo>
                  <a:lnTo>
                    <a:pt x="55" y="3"/>
                  </a:lnTo>
                  <a:lnTo>
                    <a:pt x="53" y="1"/>
                  </a:lnTo>
                  <a:lnTo>
                    <a:pt x="51" y="0"/>
                  </a:lnTo>
                  <a:lnTo>
                    <a:pt x="50" y="0"/>
                  </a:lnTo>
                  <a:lnTo>
                    <a:pt x="46" y="3"/>
                  </a:lnTo>
                  <a:lnTo>
                    <a:pt x="42" y="3"/>
                  </a:lnTo>
                  <a:lnTo>
                    <a:pt x="39" y="3"/>
                  </a:lnTo>
                  <a:lnTo>
                    <a:pt x="36" y="4"/>
                  </a:lnTo>
                  <a:lnTo>
                    <a:pt x="33" y="5"/>
                  </a:lnTo>
                  <a:lnTo>
                    <a:pt x="31"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3" name="Freeform 1202"/>
            <p:cNvSpPr>
              <a:spLocks/>
            </p:cNvSpPr>
            <p:nvPr/>
          </p:nvSpPr>
          <p:spPr bwMode="auto">
            <a:xfrm>
              <a:off x="4503738" y="2867028"/>
              <a:ext cx="309562" cy="325438"/>
            </a:xfrm>
            <a:custGeom>
              <a:avLst/>
              <a:gdLst>
                <a:gd name="T0" fmla="*/ 2147483647 w 212"/>
                <a:gd name="T1" fmla="*/ 2147483647 h 205"/>
                <a:gd name="T2" fmla="*/ 2147483647 w 212"/>
                <a:gd name="T3" fmla="*/ 2147483647 h 205"/>
                <a:gd name="T4" fmla="*/ 2147483647 w 212"/>
                <a:gd name="T5" fmla="*/ 2147483647 h 205"/>
                <a:gd name="T6" fmla="*/ 2147483647 w 212"/>
                <a:gd name="T7" fmla="*/ 2147483647 h 205"/>
                <a:gd name="T8" fmla="*/ 2147483647 w 212"/>
                <a:gd name="T9" fmla="*/ 2147483647 h 205"/>
                <a:gd name="T10" fmla="*/ 2147483647 w 212"/>
                <a:gd name="T11" fmla="*/ 2147483647 h 205"/>
                <a:gd name="T12" fmla="*/ 2147483647 w 212"/>
                <a:gd name="T13" fmla="*/ 2147483647 h 205"/>
                <a:gd name="T14" fmla="*/ 2147483647 w 212"/>
                <a:gd name="T15" fmla="*/ 2147483647 h 205"/>
                <a:gd name="T16" fmla="*/ 2147483647 w 212"/>
                <a:gd name="T17" fmla="*/ 2147483647 h 205"/>
                <a:gd name="T18" fmla="*/ 2147483647 w 212"/>
                <a:gd name="T19" fmla="*/ 2147483647 h 205"/>
                <a:gd name="T20" fmla="*/ 2147483647 w 212"/>
                <a:gd name="T21" fmla="*/ 2147483647 h 205"/>
                <a:gd name="T22" fmla="*/ 2147483647 w 212"/>
                <a:gd name="T23" fmla="*/ 2147483647 h 205"/>
                <a:gd name="T24" fmla="*/ 2147483647 w 212"/>
                <a:gd name="T25" fmla="*/ 2147483647 h 205"/>
                <a:gd name="T26" fmla="*/ 2147483647 w 212"/>
                <a:gd name="T27" fmla="*/ 2147483647 h 205"/>
                <a:gd name="T28" fmla="*/ 2147483647 w 212"/>
                <a:gd name="T29" fmla="*/ 2147483647 h 205"/>
                <a:gd name="T30" fmla="*/ 2147483647 w 212"/>
                <a:gd name="T31" fmla="*/ 2147483647 h 205"/>
                <a:gd name="T32" fmla="*/ 2147483647 w 212"/>
                <a:gd name="T33" fmla="*/ 2147483647 h 205"/>
                <a:gd name="T34" fmla="*/ 2147483647 w 212"/>
                <a:gd name="T35" fmla="*/ 2147483647 h 205"/>
                <a:gd name="T36" fmla="*/ 2147483647 w 212"/>
                <a:gd name="T37" fmla="*/ 2147483647 h 205"/>
                <a:gd name="T38" fmla="*/ 2147483647 w 212"/>
                <a:gd name="T39" fmla="*/ 2147483647 h 205"/>
                <a:gd name="T40" fmla="*/ 2147483647 w 212"/>
                <a:gd name="T41" fmla="*/ 2147483647 h 205"/>
                <a:gd name="T42" fmla="*/ 2147483647 w 212"/>
                <a:gd name="T43" fmla="*/ 2147483647 h 205"/>
                <a:gd name="T44" fmla="*/ 2147483647 w 212"/>
                <a:gd name="T45" fmla="*/ 2147483647 h 205"/>
                <a:gd name="T46" fmla="*/ 2147483647 w 212"/>
                <a:gd name="T47" fmla="*/ 2147483647 h 205"/>
                <a:gd name="T48" fmla="*/ 2147483647 w 212"/>
                <a:gd name="T49" fmla="*/ 2147483647 h 205"/>
                <a:gd name="T50" fmla="*/ 2147483647 w 212"/>
                <a:gd name="T51" fmla="*/ 2147483647 h 205"/>
                <a:gd name="T52" fmla="*/ 2147483647 w 212"/>
                <a:gd name="T53" fmla="*/ 2147483647 h 205"/>
                <a:gd name="T54" fmla="*/ 2147483647 w 212"/>
                <a:gd name="T55" fmla="*/ 2147483647 h 205"/>
                <a:gd name="T56" fmla="*/ 2147483647 w 212"/>
                <a:gd name="T57" fmla="*/ 2147483647 h 205"/>
                <a:gd name="T58" fmla="*/ 2147483647 w 212"/>
                <a:gd name="T59" fmla="*/ 2147483647 h 205"/>
                <a:gd name="T60" fmla="*/ 2147483647 w 212"/>
                <a:gd name="T61" fmla="*/ 2147483647 h 205"/>
                <a:gd name="T62" fmla="*/ 2147483647 w 212"/>
                <a:gd name="T63" fmla="*/ 2147483647 h 205"/>
                <a:gd name="T64" fmla="*/ 2147483647 w 212"/>
                <a:gd name="T65" fmla="*/ 2147483647 h 205"/>
                <a:gd name="T66" fmla="*/ 2147483647 w 212"/>
                <a:gd name="T67" fmla="*/ 2147483647 h 205"/>
                <a:gd name="T68" fmla="*/ 2147483647 w 212"/>
                <a:gd name="T69" fmla="*/ 2147483647 h 205"/>
                <a:gd name="T70" fmla="*/ 2147483647 w 212"/>
                <a:gd name="T71" fmla="*/ 2147483647 h 205"/>
                <a:gd name="T72" fmla="*/ 2147483647 w 212"/>
                <a:gd name="T73" fmla="*/ 2147483647 h 205"/>
                <a:gd name="T74" fmla="*/ 2147483647 w 212"/>
                <a:gd name="T75" fmla="*/ 2147483647 h 205"/>
                <a:gd name="T76" fmla="*/ 2147483647 w 212"/>
                <a:gd name="T77" fmla="*/ 2147483647 h 205"/>
                <a:gd name="T78" fmla="*/ 2147483647 w 212"/>
                <a:gd name="T79" fmla="*/ 2147483647 h 205"/>
                <a:gd name="T80" fmla="*/ 2147483647 w 212"/>
                <a:gd name="T81" fmla="*/ 2147483647 h 205"/>
                <a:gd name="T82" fmla="*/ 2147483647 w 212"/>
                <a:gd name="T83" fmla="*/ 2147483647 h 205"/>
                <a:gd name="T84" fmla="*/ 2147483647 w 212"/>
                <a:gd name="T85" fmla="*/ 2147483647 h 205"/>
                <a:gd name="T86" fmla="*/ 2147483647 w 212"/>
                <a:gd name="T87" fmla="*/ 2147483647 h 205"/>
                <a:gd name="T88" fmla="*/ 2147483647 w 212"/>
                <a:gd name="T89" fmla="*/ 2147483647 h 205"/>
                <a:gd name="T90" fmla="*/ 2147483647 w 212"/>
                <a:gd name="T91" fmla="*/ 2147483647 h 205"/>
                <a:gd name="T92" fmla="*/ 2147483647 w 212"/>
                <a:gd name="T93" fmla="*/ 2147483647 h 205"/>
                <a:gd name="T94" fmla="*/ 2147483647 w 212"/>
                <a:gd name="T95" fmla="*/ 2147483647 h 205"/>
                <a:gd name="T96" fmla="*/ 2147483647 w 212"/>
                <a:gd name="T97" fmla="*/ 2147483647 h 205"/>
                <a:gd name="T98" fmla="*/ 2147483647 w 212"/>
                <a:gd name="T99" fmla="*/ 2147483647 h 205"/>
                <a:gd name="T100" fmla="*/ 2147483647 w 212"/>
                <a:gd name="T101" fmla="*/ 2147483647 h 205"/>
                <a:gd name="T102" fmla="*/ 2147483647 w 212"/>
                <a:gd name="T103" fmla="*/ 2147483647 h 2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
                <a:gd name="T157" fmla="*/ 0 h 205"/>
                <a:gd name="T158" fmla="*/ 212 w 212"/>
                <a:gd name="T159" fmla="*/ 205 h 2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 h="205">
                  <a:moveTo>
                    <a:pt x="123" y="28"/>
                  </a:moveTo>
                  <a:lnTo>
                    <a:pt x="123" y="28"/>
                  </a:lnTo>
                  <a:lnTo>
                    <a:pt x="126" y="21"/>
                  </a:lnTo>
                  <a:lnTo>
                    <a:pt x="127" y="16"/>
                  </a:lnTo>
                  <a:lnTo>
                    <a:pt x="126" y="13"/>
                  </a:lnTo>
                  <a:lnTo>
                    <a:pt x="112" y="11"/>
                  </a:lnTo>
                  <a:lnTo>
                    <a:pt x="105" y="10"/>
                  </a:lnTo>
                  <a:lnTo>
                    <a:pt x="99" y="8"/>
                  </a:lnTo>
                  <a:lnTo>
                    <a:pt x="98" y="6"/>
                  </a:lnTo>
                  <a:lnTo>
                    <a:pt x="97" y="3"/>
                  </a:lnTo>
                  <a:lnTo>
                    <a:pt x="97" y="1"/>
                  </a:lnTo>
                  <a:lnTo>
                    <a:pt x="94" y="0"/>
                  </a:lnTo>
                  <a:lnTo>
                    <a:pt x="84" y="1"/>
                  </a:lnTo>
                  <a:lnTo>
                    <a:pt x="74" y="2"/>
                  </a:lnTo>
                  <a:lnTo>
                    <a:pt x="70" y="3"/>
                  </a:lnTo>
                  <a:lnTo>
                    <a:pt x="66" y="4"/>
                  </a:lnTo>
                  <a:lnTo>
                    <a:pt x="65" y="6"/>
                  </a:lnTo>
                  <a:lnTo>
                    <a:pt x="64" y="8"/>
                  </a:lnTo>
                  <a:lnTo>
                    <a:pt x="60" y="10"/>
                  </a:lnTo>
                  <a:lnTo>
                    <a:pt x="56" y="13"/>
                  </a:lnTo>
                  <a:lnTo>
                    <a:pt x="53" y="15"/>
                  </a:lnTo>
                  <a:lnTo>
                    <a:pt x="52" y="17"/>
                  </a:lnTo>
                  <a:lnTo>
                    <a:pt x="52" y="19"/>
                  </a:lnTo>
                  <a:lnTo>
                    <a:pt x="52" y="20"/>
                  </a:lnTo>
                  <a:lnTo>
                    <a:pt x="50" y="21"/>
                  </a:lnTo>
                  <a:lnTo>
                    <a:pt x="48" y="19"/>
                  </a:lnTo>
                  <a:lnTo>
                    <a:pt x="47" y="15"/>
                  </a:lnTo>
                  <a:lnTo>
                    <a:pt x="44" y="13"/>
                  </a:lnTo>
                  <a:lnTo>
                    <a:pt x="43" y="13"/>
                  </a:lnTo>
                  <a:lnTo>
                    <a:pt x="42" y="15"/>
                  </a:lnTo>
                  <a:lnTo>
                    <a:pt x="42" y="19"/>
                  </a:lnTo>
                  <a:lnTo>
                    <a:pt x="42" y="21"/>
                  </a:lnTo>
                  <a:lnTo>
                    <a:pt x="42" y="24"/>
                  </a:lnTo>
                  <a:lnTo>
                    <a:pt x="39" y="26"/>
                  </a:lnTo>
                  <a:lnTo>
                    <a:pt x="38" y="26"/>
                  </a:lnTo>
                  <a:lnTo>
                    <a:pt x="34" y="23"/>
                  </a:lnTo>
                  <a:lnTo>
                    <a:pt x="30" y="22"/>
                  </a:lnTo>
                  <a:lnTo>
                    <a:pt x="29" y="21"/>
                  </a:lnTo>
                  <a:lnTo>
                    <a:pt x="28" y="22"/>
                  </a:lnTo>
                  <a:lnTo>
                    <a:pt x="22" y="24"/>
                  </a:lnTo>
                  <a:lnTo>
                    <a:pt x="17" y="27"/>
                  </a:lnTo>
                  <a:lnTo>
                    <a:pt x="15" y="28"/>
                  </a:lnTo>
                  <a:lnTo>
                    <a:pt x="17" y="29"/>
                  </a:lnTo>
                  <a:lnTo>
                    <a:pt x="17" y="33"/>
                  </a:lnTo>
                  <a:lnTo>
                    <a:pt x="15" y="34"/>
                  </a:lnTo>
                  <a:lnTo>
                    <a:pt x="14" y="36"/>
                  </a:lnTo>
                  <a:lnTo>
                    <a:pt x="9" y="38"/>
                  </a:lnTo>
                  <a:lnTo>
                    <a:pt x="10" y="41"/>
                  </a:lnTo>
                  <a:lnTo>
                    <a:pt x="8" y="43"/>
                  </a:lnTo>
                  <a:lnTo>
                    <a:pt x="5" y="46"/>
                  </a:lnTo>
                  <a:lnTo>
                    <a:pt x="1" y="47"/>
                  </a:lnTo>
                  <a:lnTo>
                    <a:pt x="0" y="48"/>
                  </a:lnTo>
                  <a:lnTo>
                    <a:pt x="0" y="49"/>
                  </a:lnTo>
                  <a:lnTo>
                    <a:pt x="1" y="52"/>
                  </a:lnTo>
                  <a:lnTo>
                    <a:pt x="6" y="58"/>
                  </a:lnTo>
                  <a:lnTo>
                    <a:pt x="13" y="62"/>
                  </a:lnTo>
                  <a:lnTo>
                    <a:pt x="18" y="68"/>
                  </a:lnTo>
                  <a:lnTo>
                    <a:pt x="19" y="72"/>
                  </a:lnTo>
                  <a:lnTo>
                    <a:pt x="20" y="74"/>
                  </a:lnTo>
                  <a:lnTo>
                    <a:pt x="27" y="71"/>
                  </a:lnTo>
                  <a:lnTo>
                    <a:pt x="34" y="68"/>
                  </a:lnTo>
                  <a:lnTo>
                    <a:pt x="41" y="67"/>
                  </a:lnTo>
                  <a:lnTo>
                    <a:pt x="48" y="67"/>
                  </a:lnTo>
                  <a:lnTo>
                    <a:pt x="55" y="70"/>
                  </a:lnTo>
                  <a:lnTo>
                    <a:pt x="60" y="72"/>
                  </a:lnTo>
                  <a:lnTo>
                    <a:pt x="65" y="75"/>
                  </a:lnTo>
                  <a:lnTo>
                    <a:pt x="67" y="80"/>
                  </a:lnTo>
                  <a:lnTo>
                    <a:pt x="72" y="92"/>
                  </a:lnTo>
                  <a:lnTo>
                    <a:pt x="77" y="103"/>
                  </a:lnTo>
                  <a:lnTo>
                    <a:pt x="81" y="107"/>
                  </a:lnTo>
                  <a:lnTo>
                    <a:pt x="86" y="112"/>
                  </a:lnTo>
                  <a:lnTo>
                    <a:pt x="91" y="115"/>
                  </a:lnTo>
                  <a:lnTo>
                    <a:pt x="99" y="117"/>
                  </a:lnTo>
                  <a:lnTo>
                    <a:pt x="99" y="118"/>
                  </a:lnTo>
                  <a:lnTo>
                    <a:pt x="100" y="121"/>
                  </a:lnTo>
                  <a:lnTo>
                    <a:pt x="107" y="122"/>
                  </a:lnTo>
                  <a:lnTo>
                    <a:pt x="113" y="125"/>
                  </a:lnTo>
                  <a:lnTo>
                    <a:pt x="124" y="132"/>
                  </a:lnTo>
                  <a:lnTo>
                    <a:pt x="135" y="141"/>
                  </a:lnTo>
                  <a:lnTo>
                    <a:pt x="144" y="150"/>
                  </a:lnTo>
                  <a:lnTo>
                    <a:pt x="149" y="155"/>
                  </a:lnTo>
                  <a:lnTo>
                    <a:pt x="155" y="160"/>
                  </a:lnTo>
                  <a:lnTo>
                    <a:pt x="161" y="163"/>
                  </a:lnTo>
                  <a:lnTo>
                    <a:pt x="166" y="167"/>
                  </a:lnTo>
                  <a:lnTo>
                    <a:pt x="169" y="172"/>
                  </a:lnTo>
                  <a:lnTo>
                    <a:pt x="169" y="176"/>
                  </a:lnTo>
                  <a:lnTo>
                    <a:pt x="168" y="182"/>
                  </a:lnTo>
                  <a:lnTo>
                    <a:pt x="165" y="188"/>
                  </a:lnTo>
                  <a:lnTo>
                    <a:pt x="164" y="190"/>
                  </a:lnTo>
                  <a:lnTo>
                    <a:pt x="163" y="194"/>
                  </a:lnTo>
                  <a:lnTo>
                    <a:pt x="164" y="198"/>
                  </a:lnTo>
                  <a:lnTo>
                    <a:pt x="165" y="201"/>
                  </a:lnTo>
                  <a:lnTo>
                    <a:pt x="166" y="204"/>
                  </a:lnTo>
                  <a:lnTo>
                    <a:pt x="168" y="205"/>
                  </a:lnTo>
                  <a:lnTo>
                    <a:pt x="169" y="205"/>
                  </a:lnTo>
                  <a:lnTo>
                    <a:pt x="173" y="202"/>
                  </a:lnTo>
                  <a:lnTo>
                    <a:pt x="177" y="199"/>
                  </a:lnTo>
                  <a:lnTo>
                    <a:pt x="182" y="193"/>
                  </a:lnTo>
                  <a:lnTo>
                    <a:pt x="182" y="186"/>
                  </a:lnTo>
                  <a:lnTo>
                    <a:pt x="182" y="185"/>
                  </a:lnTo>
                  <a:lnTo>
                    <a:pt x="183" y="183"/>
                  </a:lnTo>
                  <a:lnTo>
                    <a:pt x="187" y="182"/>
                  </a:lnTo>
                  <a:lnTo>
                    <a:pt x="189" y="181"/>
                  </a:lnTo>
                  <a:lnTo>
                    <a:pt x="190" y="180"/>
                  </a:lnTo>
                  <a:lnTo>
                    <a:pt x="190" y="179"/>
                  </a:lnTo>
                  <a:lnTo>
                    <a:pt x="189" y="176"/>
                  </a:lnTo>
                  <a:lnTo>
                    <a:pt x="187" y="175"/>
                  </a:lnTo>
                  <a:lnTo>
                    <a:pt x="184" y="174"/>
                  </a:lnTo>
                  <a:lnTo>
                    <a:pt x="183" y="172"/>
                  </a:lnTo>
                  <a:lnTo>
                    <a:pt x="183" y="168"/>
                  </a:lnTo>
                  <a:lnTo>
                    <a:pt x="184" y="163"/>
                  </a:lnTo>
                  <a:lnTo>
                    <a:pt x="184" y="161"/>
                  </a:lnTo>
                  <a:lnTo>
                    <a:pt x="185" y="158"/>
                  </a:lnTo>
                  <a:lnTo>
                    <a:pt x="187" y="157"/>
                  </a:lnTo>
                  <a:lnTo>
                    <a:pt x="189" y="156"/>
                  </a:lnTo>
                  <a:lnTo>
                    <a:pt x="193" y="156"/>
                  </a:lnTo>
                  <a:lnTo>
                    <a:pt x="201" y="160"/>
                  </a:lnTo>
                  <a:lnTo>
                    <a:pt x="204" y="162"/>
                  </a:lnTo>
                  <a:lnTo>
                    <a:pt x="207" y="163"/>
                  </a:lnTo>
                  <a:lnTo>
                    <a:pt x="210" y="163"/>
                  </a:lnTo>
                  <a:lnTo>
                    <a:pt x="212" y="160"/>
                  </a:lnTo>
                  <a:lnTo>
                    <a:pt x="212" y="155"/>
                  </a:lnTo>
                  <a:lnTo>
                    <a:pt x="206" y="150"/>
                  </a:lnTo>
                  <a:lnTo>
                    <a:pt x="201" y="147"/>
                  </a:lnTo>
                  <a:lnTo>
                    <a:pt x="196" y="142"/>
                  </a:lnTo>
                  <a:lnTo>
                    <a:pt x="189" y="136"/>
                  </a:lnTo>
                  <a:lnTo>
                    <a:pt x="179" y="135"/>
                  </a:lnTo>
                  <a:lnTo>
                    <a:pt x="173" y="134"/>
                  </a:lnTo>
                  <a:lnTo>
                    <a:pt x="170" y="132"/>
                  </a:lnTo>
                  <a:lnTo>
                    <a:pt x="169" y="132"/>
                  </a:lnTo>
                  <a:lnTo>
                    <a:pt x="166" y="126"/>
                  </a:lnTo>
                  <a:lnTo>
                    <a:pt x="163" y="122"/>
                  </a:lnTo>
                  <a:lnTo>
                    <a:pt x="159" y="117"/>
                  </a:lnTo>
                  <a:lnTo>
                    <a:pt x="154" y="113"/>
                  </a:lnTo>
                  <a:lnTo>
                    <a:pt x="138" y="107"/>
                  </a:lnTo>
                  <a:lnTo>
                    <a:pt x="131" y="103"/>
                  </a:lnTo>
                  <a:lnTo>
                    <a:pt x="128" y="100"/>
                  </a:lnTo>
                  <a:lnTo>
                    <a:pt x="127" y="98"/>
                  </a:lnTo>
                  <a:lnTo>
                    <a:pt x="126" y="89"/>
                  </a:lnTo>
                  <a:lnTo>
                    <a:pt x="123" y="84"/>
                  </a:lnTo>
                  <a:lnTo>
                    <a:pt x="119" y="80"/>
                  </a:lnTo>
                  <a:lnTo>
                    <a:pt x="117" y="78"/>
                  </a:lnTo>
                  <a:lnTo>
                    <a:pt x="112" y="75"/>
                  </a:lnTo>
                  <a:lnTo>
                    <a:pt x="108" y="74"/>
                  </a:lnTo>
                  <a:lnTo>
                    <a:pt x="103" y="72"/>
                  </a:lnTo>
                  <a:lnTo>
                    <a:pt x="103" y="71"/>
                  </a:lnTo>
                  <a:lnTo>
                    <a:pt x="102" y="68"/>
                  </a:lnTo>
                  <a:lnTo>
                    <a:pt x="102" y="62"/>
                  </a:lnTo>
                  <a:lnTo>
                    <a:pt x="102" y="57"/>
                  </a:lnTo>
                  <a:lnTo>
                    <a:pt x="104" y="51"/>
                  </a:lnTo>
                  <a:lnTo>
                    <a:pt x="105" y="46"/>
                  </a:lnTo>
                  <a:lnTo>
                    <a:pt x="107" y="42"/>
                  </a:lnTo>
                  <a:lnTo>
                    <a:pt x="105" y="40"/>
                  </a:lnTo>
                  <a:lnTo>
                    <a:pt x="103" y="38"/>
                  </a:lnTo>
                  <a:lnTo>
                    <a:pt x="103" y="36"/>
                  </a:lnTo>
                  <a:lnTo>
                    <a:pt x="103" y="35"/>
                  </a:lnTo>
                  <a:lnTo>
                    <a:pt x="108" y="33"/>
                  </a:lnTo>
                  <a:lnTo>
                    <a:pt x="113" y="30"/>
                  </a:lnTo>
                  <a:lnTo>
                    <a:pt x="118" y="29"/>
                  </a:lnTo>
                  <a:lnTo>
                    <a:pt x="123" y="2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4" name="Freeform 1203"/>
            <p:cNvSpPr>
              <a:spLocks/>
            </p:cNvSpPr>
            <p:nvPr/>
          </p:nvSpPr>
          <p:spPr bwMode="auto">
            <a:xfrm>
              <a:off x="4506913" y="2833688"/>
              <a:ext cx="93662" cy="95250"/>
            </a:xfrm>
            <a:custGeom>
              <a:avLst/>
              <a:gdLst>
                <a:gd name="T0" fmla="*/ 2147483647 w 64"/>
                <a:gd name="T1" fmla="*/ 2147483647 h 60"/>
                <a:gd name="T2" fmla="*/ 2147483647 w 64"/>
                <a:gd name="T3" fmla="*/ 2147483647 h 60"/>
                <a:gd name="T4" fmla="*/ 2147483647 w 64"/>
                <a:gd name="T5" fmla="*/ 2147483647 h 60"/>
                <a:gd name="T6" fmla="*/ 2147483647 w 64"/>
                <a:gd name="T7" fmla="*/ 2147483647 h 60"/>
                <a:gd name="T8" fmla="*/ 2147483647 w 64"/>
                <a:gd name="T9" fmla="*/ 2147483647 h 60"/>
                <a:gd name="T10" fmla="*/ 2147483647 w 64"/>
                <a:gd name="T11" fmla="*/ 2147483647 h 60"/>
                <a:gd name="T12" fmla="*/ 2147483647 w 64"/>
                <a:gd name="T13" fmla="*/ 2147483647 h 60"/>
                <a:gd name="T14" fmla="*/ 2147483647 w 64"/>
                <a:gd name="T15" fmla="*/ 2147483647 h 60"/>
                <a:gd name="T16" fmla="*/ 2147483647 w 64"/>
                <a:gd name="T17" fmla="*/ 2147483647 h 60"/>
                <a:gd name="T18" fmla="*/ 2147483647 w 64"/>
                <a:gd name="T19" fmla="*/ 2147483647 h 60"/>
                <a:gd name="T20" fmla="*/ 2147483647 w 64"/>
                <a:gd name="T21" fmla="*/ 2147483647 h 60"/>
                <a:gd name="T22" fmla="*/ 2147483647 w 64"/>
                <a:gd name="T23" fmla="*/ 2147483647 h 60"/>
                <a:gd name="T24" fmla="*/ 2147483647 w 64"/>
                <a:gd name="T25" fmla="*/ 2147483647 h 60"/>
                <a:gd name="T26" fmla="*/ 2147483647 w 64"/>
                <a:gd name="T27" fmla="*/ 2147483647 h 60"/>
                <a:gd name="T28" fmla="*/ 2147483647 w 64"/>
                <a:gd name="T29" fmla="*/ 2147483647 h 60"/>
                <a:gd name="T30" fmla="*/ 2147483647 w 64"/>
                <a:gd name="T31" fmla="*/ 2147483647 h 60"/>
                <a:gd name="T32" fmla="*/ 2147483647 w 64"/>
                <a:gd name="T33" fmla="*/ 2147483647 h 60"/>
                <a:gd name="T34" fmla="*/ 2147483647 w 64"/>
                <a:gd name="T35" fmla="*/ 2147483647 h 60"/>
                <a:gd name="T36" fmla="*/ 2147483647 w 64"/>
                <a:gd name="T37" fmla="*/ 2147483647 h 60"/>
                <a:gd name="T38" fmla="*/ 2147483647 w 64"/>
                <a:gd name="T39" fmla="*/ 2147483647 h 60"/>
                <a:gd name="T40" fmla="*/ 2147483647 w 64"/>
                <a:gd name="T41" fmla="*/ 0 h 60"/>
                <a:gd name="T42" fmla="*/ 2147483647 w 64"/>
                <a:gd name="T43" fmla="*/ 2147483647 h 60"/>
                <a:gd name="T44" fmla="*/ 2147483647 w 64"/>
                <a:gd name="T45" fmla="*/ 2147483647 h 60"/>
                <a:gd name="T46" fmla="*/ 2147483647 w 64"/>
                <a:gd name="T47" fmla="*/ 2147483647 h 60"/>
                <a:gd name="T48" fmla="*/ 2147483647 w 64"/>
                <a:gd name="T49" fmla="*/ 2147483647 h 60"/>
                <a:gd name="T50" fmla="*/ 0 w 64"/>
                <a:gd name="T51" fmla="*/ 2147483647 h 60"/>
                <a:gd name="T52" fmla="*/ 2147483647 w 64"/>
                <a:gd name="T53" fmla="*/ 2147483647 h 60"/>
                <a:gd name="T54" fmla="*/ 2147483647 w 64"/>
                <a:gd name="T55" fmla="*/ 2147483647 h 60"/>
                <a:gd name="T56" fmla="*/ 2147483647 w 64"/>
                <a:gd name="T57" fmla="*/ 2147483647 h 60"/>
                <a:gd name="T58" fmla="*/ 2147483647 w 64"/>
                <a:gd name="T59" fmla="*/ 2147483647 h 60"/>
                <a:gd name="T60" fmla="*/ 2147483647 w 64"/>
                <a:gd name="T61" fmla="*/ 2147483647 h 60"/>
                <a:gd name="T62" fmla="*/ 2147483647 w 64"/>
                <a:gd name="T63" fmla="*/ 2147483647 h 60"/>
                <a:gd name="T64" fmla="*/ 2147483647 w 64"/>
                <a:gd name="T65" fmla="*/ 2147483647 h 60"/>
                <a:gd name="T66" fmla="*/ 2147483647 w 64"/>
                <a:gd name="T67" fmla="*/ 2147483647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4"/>
                <a:gd name="T103" fmla="*/ 0 h 60"/>
                <a:gd name="T104" fmla="*/ 64 w 64"/>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4" h="60">
                  <a:moveTo>
                    <a:pt x="7" y="60"/>
                  </a:moveTo>
                  <a:lnTo>
                    <a:pt x="12" y="59"/>
                  </a:lnTo>
                  <a:lnTo>
                    <a:pt x="14" y="56"/>
                  </a:lnTo>
                  <a:lnTo>
                    <a:pt x="15" y="55"/>
                  </a:lnTo>
                  <a:lnTo>
                    <a:pt x="15" y="51"/>
                  </a:lnTo>
                  <a:lnTo>
                    <a:pt x="14" y="50"/>
                  </a:lnTo>
                  <a:lnTo>
                    <a:pt x="15" y="49"/>
                  </a:lnTo>
                  <a:lnTo>
                    <a:pt x="20" y="47"/>
                  </a:lnTo>
                  <a:lnTo>
                    <a:pt x="26" y="44"/>
                  </a:lnTo>
                  <a:lnTo>
                    <a:pt x="27" y="43"/>
                  </a:lnTo>
                  <a:lnTo>
                    <a:pt x="29" y="44"/>
                  </a:lnTo>
                  <a:lnTo>
                    <a:pt x="33" y="45"/>
                  </a:lnTo>
                  <a:lnTo>
                    <a:pt x="36" y="48"/>
                  </a:lnTo>
                  <a:lnTo>
                    <a:pt x="38" y="48"/>
                  </a:lnTo>
                  <a:lnTo>
                    <a:pt x="40" y="47"/>
                  </a:lnTo>
                  <a:lnTo>
                    <a:pt x="40" y="43"/>
                  </a:lnTo>
                  <a:lnTo>
                    <a:pt x="40" y="41"/>
                  </a:lnTo>
                  <a:lnTo>
                    <a:pt x="40" y="37"/>
                  </a:lnTo>
                  <a:lnTo>
                    <a:pt x="41" y="35"/>
                  </a:lnTo>
                  <a:lnTo>
                    <a:pt x="43" y="35"/>
                  </a:lnTo>
                  <a:lnTo>
                    <a:pt x="45" y="37"/>
                  </a:lnTo>
                  <a:lnTo>
                    <a:pt x="47" y="41"/>
                  </a:lnTo>
                  <a:lnTo>
                    <a:pt x="48" y="43"/>
                  </a:lnTo>
                  <a:lnTo>
                    <a:pt x="50" y="42"/>
                  </a:lnTo>
                  <a:lnTo>
                    <a:pt x="50" y="41"/>
                  </a:lnTo>
                  <a:lnTo>
                    <a:pt x="50" y="40"/>
                  </a:lnTo>
                  <a:lnTo>
                    <a:pt x="52" y="37"/>
                  </a:lnTo>
                  <a:lnTo>
                    <a:pt x="54" y="35"/>
                  </a:lnTo>
                  <a:lnTo>
                    <a:pt x="58" y="32"/>
                  </a:lnTo>
                  <a:lnTo>
                    <a:pt x="62" y="30"/>
                  </a:lnTo>
                  <a:lnTo>
                    <a:pt x="63" y="28"/>
                  </a:lnTo>
                  <a:lnTo>
                    <a:pt x="64" y="27"/>
                  </a:lnTo>
                  <a:lnTo>
                    <a:pt x="57" y="25"/>
                  </a:lnTo>
                  <a:lnTo>
                    <a:pt x="54" y="23"/>
                  </a:lnTo>
                  <a:lnTo>
                    <a:pt x="53" y="21"/>
                  </a:lnTo>
                  <a:lnTo>
                    <a:pt x="53" y="15"/>
                  </a:lnTo>
                  <a:lnTo>
                    <a:pt x="53" y="13"/>
                  </a:lnTo>
                  <a:lnTo>
                    <a:pt x="52" y="11"/>
                  </a:lnTo>
                  <a:lnTo>
                    <a:pt x="47" y="6"/>
                  </a:lnTo>
                  <a:lnTo>
                    <a:pt x="40" y="4"/>
                  </a:lnTo>
                  <a:lnTo>
                    <a:pt x="33" y="2"/>
                  </a:lnTo>
                  <a:lnTo>
                    <a:pt x="25" y="0"/>
                  </a:lnTo>
                  <a:lnTo>
                    <a:pt x="22" y="2"/>
                  </a:lnTo>
                  <a:lnTo>
                    <a:pt x="20" y="3"/>
                  </a:lnTo>
                  <a:lnTo>
                    <a:pt x="17" y="3"/>
                  </a:lnTo>
                  <a:lnTo>
                    <a:pt x="14" y="8"/>
                  </a:lnTo>
                  <a:lnTo>
                    <a:pt x="11" y="12"/>
                  </a:lnTo>
                  <a:lnTo>
                    <a:pt x="8" y="17"/>
                  </a:lnTo>
                  <a:lnTo>
                    <a:pt x="7" y="21"/>
                  </a:lnTo>
                  <a:lnTo>
                    <a:pt x="5" y="23"/>
                  </a:lnTo>
                  <a:lnTo>
                    <a:pt x="0" y="30"/>
                  </a:lnTo>
                  <a:lnTo>
                    <a:pt x="0" y="34"/>
                  </a:lnTo>
                  <a:lnTo>
                    <a:pt x="1" y="35"/>
                  </a:lnTo>
                  <a:lnTo>
                    <a:pt x="5" y="36"/>
                  </a:lnTo>
                  <a:lnTo>
                    <a:pt x="6" y="36"/>
                  </a:lnTo>
                  <a:lnTo>
                    <a:pt x="6" y="37"/>
                  </a:lnTo>
                  <a:lnTo>
                    <a:pt x="5" y="40"/>
                  </a:lnTo>
                  <a:lnTo>
                    <a:pt x="2" y="41"/>
                  </a:lnTo>
                  <a:lnTo>
                    <a:pt x="2" y="42"/>
                  </a:lnTo>
                  <a:lnTo>
                    <a:pt x="2" y="43"/>
                  </a:lnTo>
                  <a:lnTo>
                    <a:pt x="3" y="45"/>
                  </a:lnTo>
                  <a:lnTo>
                    <a:pt x="5" y="47"/>
                  </a:lnTo>
                  <a:lnTo>
                    <a:pt x="3" y="50"/>
                  </a:lnTo>
                  <a:lnTo>
                    <a:pt x="2" y="54"/>
                  </a:lnTo>
                  <a:lnTo>
                    <a:pt x="1" y="56"/>
                  </a:lnTo>
                  <a:lnTo>
                    <a:pt x="2" y="59"/>
                  </a:lnTo>
                  <a:lnTo>
                    <a:pt x="3" y="60"/>
                  </a:lnTo>
                  <a:lnTo>
                    <a:pt x="7" y="6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5" name="Freeform 1204"/>
            <p:cNvSpPr>
              <a:spLocks/>
            </p:cNvSpPr>
            <p:nvPr/>
          </p:nvSpPr>
          <p:spPr bwMode="auto">
            <a:xfrm>
              <a:off x="4583115" y="2797178"/>
              <a:ext cx="198437" cy="92075"/>
            </a:xfrm>
            <a:custGeom>
              <a:avLst/>
              <a:gdLst>
                <a:gd name="T0" fmla="*/ 2147483647 w 135"/>
                <a:gd name="T1" fmla="*/ 2147483647 h 58"/>
                <a:gd name="T2" fmla="*/ 2147483647 w 135"/>
                <a:gd name="T3" fmla="*/ 2147483647 h 58"/>
                <a:gd name="T4" fmla="*/ 2147483647 w 135"/>
                <a:gd name="T5" fmla="*/ 2147483647 h 58"/>
                <a:gd name="T6" fmla="*/ 2147483647 w 135"/>
                <a:gd name="T7" fmla="*/ 2147483647 h 58"/>
                <a:gd name="T8" fmla="*/ 2147483647 w 135"/>
                <a:gd name="T9" fmla="*/ 2147483647 h 58"/>
                <a:gd name="T10" fmla="*/ 2147483647 w 135"/>
                <a:gd name="T11" fmla="*/ 2147483647 h 58"/>
                <a:gd name="T12" fmla="*/ 2147483647 w 135"/>
                <a:gd name="T13" fmla="*/ 2147483647 h 58"/>
                <a:gd name="T14" fmla="*/ 2147483647 w 135"/>
                <a:gd name="T15" fmla="*/ 2147483647 h 58"/>
                <a:gd name="T16" fmla="*/ 2147483647 w 135"/>
                <a:gd name="T17" fmla="*/ 2147483647 h 58"/>
                <a:gd name="T18" fmla="*/ 2147483647 w 135"/>
                <a:gd name="T19" fmla="*/ 2147483647 h 58"/>
                <a:gd name="T20" fmla="*/ 2147483647 w 135"/>
                <a:gd name="T21" fmla="*/ 2147483647 h 58"/>
                <a:gd name="T22" fmla="*/ 2147483647 w 135"/>
                <a:gd name="T23" fmla="*/ 2147483647 h 58"/>
                <a:gd name="T24" fmla="*/ 2147483647 w 135"/>
                <a:gd name="T25" fmla="*/ 2147483647 h 58"/>
                <a:gd name="T26" fmla="*/ 2147483647 w 135"/>
                <a:gd name="T27" fmla="*/ 2147483647 h 58"/>
                <a:gd name="T28" fmla="*/ 2147483647 w 135"/>
                <a:gd name="T29" fmla="*/ 2147483647 h 58"/>
                <a:gd name="T30" fmla="*/ 2147483647 w 135"/>
                <a:gd name="T31" fmla="*/ 2147483647 h 58"/>
                <a:gd name="T32" fmla="*/ 2147483647 w 135"/>
                <a:gd name="T33" fmla="*/ 2147483647 h 58"/>
                <a:gd name="T34" fmla="*/ 2147483647 w 135"/>
                <a:gd name="T35" fmla="*/ 2147483647 h 58"/>
                <a:gd name="T36" fmla="*/ 2147483647 w 135"/>
                <a:gd name="T37" fmla="*/ 2147483647 h 58"/>
                <a:gd name="T38" fmla="*/ 2147483647 w 135"/>
                <a:gd name="T39" fmla="*/ 2147483647 h 58"/>
                <a:gd name="T40" fmla="*/ 2147483647 w 135"/>
                <a:gd name="T41" fmla="*/ 2147483647 h 58"/>
                <a:gd name="T42" fmla="*/ 2147483647 w 135"/>
                <a:gd name="T43" fmla="*/ 2147483647 h 58"/>
                <a:gd name="T44" fmla="*/ 2147483647 w 135"/>
                <a:gd name="T45" fmla="*/ 2147483647 h 58"/>
                <a:gd name="T46" fmla="*/ 2147483647 w 135"/>
                <a:gd name="T47" fmla="*/ 2147483647 h 58"/>
                <a:gd name="T48" fmla="*/ 2147483647 w 135"/>
                <a:gd name="T49" fmla="*/ 2147483647 h 58"/>
                <a:gd name="T50" fmla="*/ 2147483647 w 135"/>
                <a:gd name="T51" fmla="*/ 2147483647 h 58"/>
                <a:gd name="T52" fmla="*/ 0 w 135"/>
                <a:gd name="T53" fmla="*/ 2147483647 h 58"/>
                <a:gd name="T54" fmla="*/ 2147483647 w 135"/>
                <a:gd name="T55" fmla="*/ 2147483647 h 58"/>
                <a:gd name="T56" fmla="*/ 2147483647 w 135"/>
                <a:gd name="T57" fmla="*/ 2147483647 h 58"/>
                <a:gd name="T58" fmla="*/ 2147483647 w 135"/>
                <a:gd name="T59" fmla="*/ 2147483647 h 58"/>
                <a:gd name="T60" fmla="*/ 2147483647 w 135"/>
                <a:gd name="T61" fmla="*/ 2147483647 h 58"/>
                <a:gd name="T62" fmla="*/ 2147483647 w 135"/>
                <a:gd name="T63" fmla="*/ 2147483647 h 58"/>
                <a:gd name="T64" fmla="*/ 2147483647 w 135"/>
                <a:gd name="T65" fmla="*/ 2147483647 h 58"/>
                <a:gd name="T66" fmla="*/ 2147483647 w 135"/>
                <a:gd name="T67" fmla="*/ 2147483647 h 58"/>
                <a:gd name="T68" fmla="*/ 2147483647 w 135"/>
                <a:gd name="T69" fmla="*/ 2147483647 h 58"/>
                <a:gd name="T70" fmla="*/ 2147483647 w 135"/>
                <a:gd name="T71" fmla="*/ 2147483647 h 58"/>
                <a:gd name="T72" fmla="*/ 2147483647 w 135"/>
                <a:gd name="T73" fmla="*/ 2147483647 h 58"/>
                <a:gd name="T74" fmla="*/ 2147483647 w 135"/>
                <a:gd name="T75" fmla="*/ 2147483647 h 58"/>
                <a:gd name="T76" fmla="*/ 2147483647 w 135"/>
                <a:gd name="T77" fmla="*/ 2147483647 h 58"/>
                <a:gd name="T78" fmla="*/ 2147483647 w 135"/>
                <a:gd name="T79" fmla="*/ 2147483647 h 58"/>
                <a:gd name="T80" fmla="*/ 2147483647 w 135"/>
                <a:gd name="T81" fmla="*/ 2147483647 h 58"/>
                <a:gd name="T82" fmla="*/ 2147483647 w 135"/>
                <a:gd name="T83" fmla="*/ 2147483647 h 58"/>
                <a:gd name="T84" fmla="*/ 2147483647 w 135"/>
                <a:gd name="T85" fmla="*/ 2147483647 h 58"/>
                <a:gd name="T86" fmla="*/ 2147483647 w 135"/>
                <a:gd name="T87" fmla="*/ 2147483647 h 58"/>
                <a:gd name="T88" fmla="*/ 2147483647 w 135"/>
                <a:gd name="T89" fmla="*/ 2147483647 h 58"/>
                <a:gd name="T90" fmla="*/ 2147483647 w 135"/>
                <a:gd name="T91" fmla="*/ 2147483647 h 58"/>
                <a:gd name="T92" fmla="*/ 2147483647 w 135"/>
                <a:gd name="T93" fmla="*/ 2147483647 h 58"/>
                <a:gd name="T94" fmla="*/ 2147483647 w 135"/>
                <a:gd name="T95" fmla="*/ 0 h 58"/>
                <a:gd name="T96" fmla="*/ 2147483647 w 135"/>
                <a:gd name="T97" fmla="*/ 2147483647 h 58"/>
                <a:gd name="T98" fmla="*/ 2147483647 w 135"/>
                <a:gd name="T99" fmla="*/ 2147483647 h 58"/>
                <a:gd name="T100" fmla="*/ 2147483647 w 135"/>
                <a:gd name="T101" fmla="*/ 2147483647 h 58"/>
                <a:gd name="T102" fmla="*/ 2147483647 w 135"/>
                <a:gd name="T103" fmla="*/ 2147483647 h 58"/>
                <a:gd name="T104" fmla="*/ 2147483647 w 135"/>
                <a:gd name="T105" fmla="*/ 2147483647 h 58"/>
                <a:gd name="T106" fmla="*/ 2147483647 w 135"/>
                <a:gd name="T107" fmla="*/ 2147483647 h 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5"/>
                <a:gd name="T163" fmla="*/ 0 h 58"/>
                <a:gd name="T164" fmla="*/ 135 w 135"/>
                <a:gd name="T165" fmla="*/ 58 h 5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5" h="58">
                  <a:moveTo>
                    <a:pt x="135" y="14"/>
                  </a:moveTo>
                  <a:lnTo>
                    <a:pt x="134" y="23"/>
                  </a:lnTo>
                  <a:lnTo>
                    <a:pt x="133" y="34"/>
                  </a:lnTo>
                  <a:lnTo>
                    <a:pt x="130" y="39"/>
                  </a:lnTo>
                  <a:lnTo>
                    <a:pt x="127" y="44"/>
                  </a:lnTo>
                  <a:lnTo>
                    <a:pt x="122" y="47"/>
                  </a:lnTo>
                  <a:lnTo>
                    <a:pt x="116" y="51"/>
                  </a:lnTo>
                  <a:lnTo>
                    <a:pt x="110" y="54"/>
                  </a:lnTo>
                  <a:lnTo>
                    <a:pt x="91" y="57"/>
                  </a:lnTo>
                  <a:lnTo>
                    <a:pt x="72" y="58"/>
                  </a:lnTo>
                  <a:lnTo>
                    <a:pt x="58" y="57"/>
                  </a:lnTo>
                  <a:lnTo>
                    <a:pt x="52" y="55"/>
                  </a:lnTo>
                  <a:lnTo>
                    <a:pt x="45" y="53"/>
                  </a:lnTo>
                  <a:lnTo>
                    <a:pt x="44" y="51"/>
                  </a:lnTo>
                  <a:lnTo>
                    <a:pt x="43" y="48"/>
                  </a:lnTo>
                  <a:lnTo>
                    <a:pt x="43" y="46"/>
                  </a:lnTo>
                  <a:lnTo>
                    <a:pt x="40" y="45"/>
                  </a:lnTo>
                  <a:lnTo>
                    <a:pt x="30" y="46"/>
                  </a:lnTo>
                  <a:lnTo>
                    <a:pt x="20" y="47"/>
                  </a:lnTo>
                  <a:lnTo>
                    <a:pt x="16" y="48"/>
                  </a:lnTo>
                  <a:lnTo>
                    <a:pt x="12" y="50"/>
                  </a:lnTo>
                  <a:lnTo>
                    <a:pt x="5" y="48"/>
                  </a:lnTo>
                  <a:lnTo>
                    <a:pt x="2" y="46"/>
                  </a:lnTo>
                  <a:lnTo>
                    <a:pt x="1" y="44"/>
                  </a:lnTo>
                  <a:lnTo>
                    <a:pt x="1" y="38"/>
                  </a:lnTo>
                  <a:lnTo>
                    <a:pt x="1" y="36"/>
                  </a:lnTo>
                  <a:lnTo>
                    <a:pt x="0" y="34"/>
                  </a:lnTo>
                  <a:lnTo>
                    <a:pt x="10" y="34"/>
                  </a:lnTo>
                  <a:lnTo>
                    <a:pt x="19" y="33"/>
                  </a:lnTo>
                  <a:lnTo>
                    <a:pt x="29" y="29"/>
                  </a:lnTo>
                  <a:lnTo>
                    <a:pt x="38" y="25"/>
                  </a:lnTo>
                  <a:lnTo>
                    <a:pt x="39" y="25"/>
                  </a:lnTo>
                  <a:lnTo>
                    <a:pt x="40" y="25"/>
                  </a:lnTo>
                  <a:lnTo>
                    <a:pt x="44" y="26"/>
                  </a:lnTo>
                  <a:lnTo>
                    <a:pt x="52" y="31"/>
                  </a:lnTo>
                  <a:lnTo>
                    <a:pt x="53" y="31"/>
                  </a:lnTo>
                  <a:lnTo>
                    <a:pt x="54" y="31"/>
                  </a:lnTo>
                  <a:lnTo>
                    <a:pt x="55" y="29"/>
                  </a:lnTo>
                  <a:lnTo>
                    <a:pt x="55" y="23"/>
                  </a:lnTo>
                  <a:lnTo>
                    <a:pt x="53" y="19"/>
                  </a:lnTo>
                  <a:lnTo>
                    <a:pt x="55" y="18"/>
                  </a:lnTo>
                  <a:lnTo>
                    <a:pt x="57" y="16"/>
                  </a:lnTo>
                  <a:lnTo>
                    <a:pt x="63" y="9"/>
                  </a:lnTo>
                  <a:lnTo>
                    <a:pt x="69" y="6"/>
                  </a:lnTo>
                  <a:lnTo>
                    <a:pt x="77" y="3"/>
                  </a:lnTo>
                  <a:lnTo>
                    <a:pt x="87" y="2"/>
                  </a:lnTo>
                  <a:lnTo>
                    <a:pt x="90" y="1"/>
                  </a:lnTo>
                  <a:lnTo>
                    <a:pt x="92" y="0"/>
                  </a:lnTo>
                  <a:lnTo>
                    <a:pt x="108" y="2"/>
                  </a:lnTo>
                  <a:lnTo>
                    <a:pt x="124" y="3"/>
                  </a:lnTo>
                  <a:lnTo>
                    <a:pt x="129" y="4"/>
                  </a:lnTo>
                  <a:lnTo>
                    <a:pt x="133" y="7"/>
                  </a:lnTo>
                  <a:lnTo>
                    <a:pt x="134" y="10"/>
                  </a:lnTo>
                  <a:lnTo>
                    <a:pt x="135"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6" name="Freeform 1205"/>
            <p:cNvSpPr>
              <a:spLocks/>
            </p:cNvSpPr>
            <p:nvPr/>
          </p:nvSpPr>
          <p:spPr bwMode="auto">
            <a:xfrm>
              <a:off x="4505325" y="2832100"/>
              <a:ext cx="95250" cy="95250"/>
            </a:xfrm>
            <a:custGeom>
              <a:avLst/>
              <a:gdLst>
                <a:gd name="T0" fmla="*/ 2147483647 w 65"/>
                <a:gd name="T1" fmla="*/ 2147483647 h 60"/>
                <a:gd name="T2" fmla="*/ 2147483647 w 65"/>
                <a:gd name="T3" fmla="*/ 2147483647 h 60"/>
                <a:gd name="T4" fmla="*/ 2147483647 w 65"/>
                <a:gd name="T5" fmla="*/ 2147483647 h 60"/>
                <a:gd name="T6" fmla="*/ 2147483647 w 65"/>
                <a:gd name="T7" fmla="*/ 2147483647 h 60"/>
                <a:gd name="T8" fmla="*/ 2147483647 w 65"/>
                <a:gd name="T9" fmla="*/ 2147483647 h 60"/>
                <a:gd name="T10" fmla="*/ 2147483647 w 65"/>
                <a:gd name="T11" fmla="*/ 2147483647 h 60"/>
                <a:gd name="T12" fmla="*/ 2147483647 w 65"/>
                <a:gd name="T13" fmla="*/ 2147483647 h 60"/>
                <a:gd name="T14" fmla="*/ 2147483647 w 65"/>
                <a:gd name="T15" fmla="*/ 2147483647 h 60"/>
                <a:gd name="T16" fmla="*/ 2147483647 w 65"/>
                <a:gd name="T17" fmla="*/ 2147483647 h 60"/>
                <a:gd name="T18" fmla="*/ 2147483647 w 65"/>
                <a:gd name="T19" fmla="*/ 2147483647 h 60"/>
                <a:gd name="T20" fmla="*/ 2147483647 w 65"/>
                <a:gd name="T21" fmla="*/ 2147483647 h 60"/>
                <a:gd name="T22" fmla="*/ 2147483647 w 65"/>
                <a:gd name="T23" fmla="*/ 2147483647 h 60"/>
                <a:gd name="T24" fmla="*/ 2147483647 w 65"/>
                <a:gd name="T25" fmla="*/ 2147483647 h 60"/>
                <a:gd name="T26" fmla="*/ 2147483647 w 65"/>
                <a:gd name="T27" fmla="*/ 2147483647 h 60"/>
                <a:gd name="T28" fmla="*/ 2147483647 w 65"/>
                <a:gd name="T29" fmla="*/ 2147483647 h 60"/>
                <a:gd name="T30" fmla="*/ 2147483647 w 65"/>
                <a:gd name="T31" fmla="*/ 2147483647 h 60"/>
                <a:gd name="T32" fmla="*/ 2147483647 w 65"/>
                <a:gd name="T33" fmla="*/ 2147483647 h 60"/>
                <a:gd name="T34" fmla="*/ 2147483647 w 65"/>
                <a:gd name="T35" fmla="*/ 2147483647 h 60"/>
                <a:gd name="T36" fmla="*/ 2147483647 w 65"/>
                <a:gd name="T37" fmla="*/ 2147483647 h 60"/>
                <a:gd name="T38" fmla="*/ 2147483647 w 65"/>
                <a:gd name="T39" fmla="*/ 2147483647 h 60"/>
                <a:gd name="T40" fmla="*/ 2147483647 w 65"/>
                <a:gd name="T41" fmla="*/ 2147483647 h 60"/>
                <a:gd name="T42" fmla="*/ 2147483647 w 65"/>
                <a:gd name="T43" fmla="*/ 2147483647 h 60"/>
                <a:gd name="T44" fmla="*/ 2147483647 w 65"/>
                <a:gd name="T45" fmla="*/ 2147483647 h 60"/>
                <a:gd name="T46" fmla="*/ 2147483647 w 65"/>
                <a:gd name="T47" fmla="*/ 2147483647 h 60"/>
                <a:gd name="T48" fmla="*/ 2147483647 w 65"/>
                <a:gd name="T49" fmla="*/ 2147483647 h 60"/>
                <a:gd name="T50" fmla="*/ 2147483647 w 65"/>
                <a:gd name="T51" fmla="*/ 2147483647 h 60"/>
                <a:gd name="T52" fmla="*/ 2147483647 w 65"/>
                <a:gd name="T53" fmla="*/ 2147483647 h 60"/>
                <a:gd name="T54" fmla="*/ 2147483647 w 65"/>
                <a:gd name="T55" fmla="*/ 2147483647 h 60"/>
                <a:gd name="T56" fmla="*/ 2147483647 w 65"/>
                <a:gd name="T57" fmla="*/ 0 h 60"/>
                <a:gd name="T58" fmla="*/ 2147483647 w 65"/>
                <a:gd name="T59" fmla="*/ 2147483647 h 60"/>
                <a:gd name="T60" fmla="*/ 2147483647 w 65"/>
                <a:gd name="T61" fmla="*/ 2147483647 h 60"/>
                <a:gd name="T62" fmla="*/ 2147483647 w 65"/>
                <a:gd name="T63" fmla="*/ 2147483647 h 60"/>
                <a:gd name="T64" fmla="*/ 2147483647 w 65"/>
                <a:gd name="T65" fmla="*/ 2147483647 h 60"/>
                <a:gd name="T66" fmla="*/ 2147483647 w 65"/>
                <a:gd name="T67" fmla="*/ 2147483647 h 60"/>
                <a:gd name="T68" fmla="*/ 0 w 65"/>
                <a:gd name="T69" fmla="*/ 2147483647 h 60"/>
                <a:gd name="T70" fmla="*/ 2147483647 w 65"/>
                <a:gd name="T71" fmla="*/ 2147483647 h 60"/>
                <a:gd name="T72" fmla="*/ 2147483647 w 65"/>
                <a:gd name="T73" fmla="*/ 2147483647 h 60"/>
                <a:gd name="T74" fmla="*/ 2147483647 w 65"/>
                <a:gd name="T75" fmla="*/ 2147483647 h 60"/>
                <a:gd name="T76" fmla="*/ 2147483647 w 65"/>
                <a:gd name="T77" fmla="*/ 2147483647 h 60"/>
                <a:gd name="T78" fmla="*/ 2147483647 w 65"/>
                <a:gd name="T79" fmla="*/ 2147483647 h 60"/>
                <a:gd name="T80" fmla="*/ 2147483647 w 65"/>
                <a:gd name="T81" fmla="*/ 2147483647 h 60"/>
                <a:gd name="T82" fmla="*/ 2147483647 w 65"/>
                <a:gd name="T83" fmla="*/ 2147483647 h 60"/>
                <a:gd name="T84" fmla="*/ 2147483647 w 65"/>
                <a:gd name="T85" fmla="*/ 2147483647 h 60"/>
                <a:gd name="T86" fmla="*/ 2147483647 w 65"/>
                <a:gd name="T87" fmla="*/ 2147483647 h 60"/>
                <a:gd name="T88" fmla="*/ 2147483647 w 65"/>
                <a:gd name="T89" fmla="*/ 2147483647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5"/>
                <a:gd name="T136" fmla="*/ 0 h 60"/>
                <a:gd name="T137" fmla="*/ 65 w 65"/>
                <a:gd name="T138" fmla="*/ 60 h 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5" h="60">
                  <a:moveTo>
                    <a:pt x="8" y="60"/>
                  </a:moveTo>
                  <a:lnTo>
                    <a:pt x="8" y="60"/>
                  </a:lnTo>
                  <a:lnTo>
                    <a:pt x="13" y="58"/>
                  </a:lnTo>
                  <a:lnTo>
                    <a:pt x="14" y="56"/>
                  </a:lnTo>
                  <a:lnTo>
                    <a:pt x="16" y="55"/>
                  </a:lnTo>
                  <a:lnTo>
                    <a:pt x="16" y="51"/>
                  </a:lnTo>
                  <a:lnTo>
                    <a:pt x="14" y="50"/>
                  </a:lnTo>
                  <a:lnTo>
                    <a:pt x="16" y="49"/>
                  </a:lnTo>
                  <a:lnTo>
                    <a:pt x="21" y="46"/>
                  </a:lnTo>
                  <a:lnTo>
                    <a:pt x="27" y="44"/>
                  </a:lnTo>
                  <a:lnTo>
                    <a:pt x="28" y="43"/>
                  </a:lnTo>
                  <a:lnTo>
                    <a:pt x="29" y="44"/>
                  </a:lnTo>
                  <a:lnTo>
                    <a:pt x="33" y="45"/>
                  </a:lnTo>
                  <a:lnTo>
                    <a:pt x="37" y="48"/>
                  </a:lnTo>
                  <a:lnTo>
                    <a:pt x="38" y="48"/>
                  </a:lnTo>
                  <a:lnTo>
                    <a:pt x="41" y="46"/>
                  </a:lnTo>
                  <a:lnTo>
                    <a:pt x="41" y="43"/>
                  </a:lnTo>
                  <a:lnTo>
                    <a:pt x="41" y="41"/>
                  </a:lnTo>
                  <a:lnTo>
                    <a:pt x="41" y="37"/>
                  </a:lnTo>
                  <a:lnTo>
                    <a:pt x="42" y="35"/>
                  </a:lnTo>
                  <a:lnTo>
                    <a:pt x="43" y="35"/>
                  </a:lnTo>
                  <a:lnTo>
                    <a:pt x="46" y="37"/>
                  </a:lnTo>
                  <a:lnTo>
                    <a:pt x="47" y="41"/>
                  </a:lnTo>
                  <a:lnTo>
                    <a:pt x="49" y="43"/>
                  </a:lnTo>
                  <a:lnTo>
                    <a:pt x="51" y="42"/>
                  </a:lnTo>
                  <a:lnTo>
                    <a:pt x="51" y="41"/>
                  </a:lnTo>
                  <a:lnTo>
                    <a:pt x="51" y="39"/>
                  </a:lnTo>
                  <a:lnTo>
                    <a:pt x="52" y="37"/>
                  </a:lnTo>
                  <a:lnTo>
                    <a:pt x="55" y="35"/>
                  </a:lnTo>
                  <a:lnTo>
                    <a:pt x="59" y="32"/>
                  </a:lnTo>
                  <a:lnTo>
                    <a:pt x="63" y="30"/>
                  </a:lnTo>
                  <a:lnTo>
                    <a:pt x="64" y="28"/>
                  </a:lnTo>
                  <a:lnTo>
                    <a:pt x="65" y="26"/>
                  </a:lnTo>
                  <a:lnTo>
                    <a:pt x="57" y="25"/>
                  </a:lnTo>
                  <a:lnTo>
                    <a:pt x="55" y="23"/>
                  </a:lnTo>
                  <a:lnTo>
                    <a:pt x="54" y="20"/>
                  </a:lnTo>
                  <a:lnTo>
                    <a:pt x="54" y="14"/>
                  </a:lnTo>
                  <a:lnTo>
                    <a:pt x="54" y="13"/>
                  </a:lnTo>
                  <a:lnTo>
                    <a:pt x="52" y="11"/>
                  </a:lnTo>
                  <a:lnTo>
                    <a:pt x="47" y="6"/>
                  </a:lnTo>
                  <a:lnTo>
                    <a:pt x="41" y="4"/>
                  </a:lnTo>
                  <a:lnTo>
                    <a:pt x="33" y="1"/>
                  </a:lnTo>
                  <a:lnTo>
                    <a:pt x="26" y="0"/>
                  </a:lnTo>
                  <a:lnTo>
                    <a:pt x="23" y="1"/>
                  </a:lnTo>
                  <a:lnTo>
                    <a:pt x="21" y="3"/>
                  </a:lnTo>
                  <a:lnTo>
                    <a:pt x="18" y="3"/>
                  </a:lnTo>
                  <a:lnTo>
                    <a:pt x="14" y="7"/>
                  </a:lnTo>
                  <a:lnTo>
                    <a:pt x="12" y="12"/>
                  </a:lnTo>
                  <a:lnTo>
                    <a:pt x="9" y="17"/>
                  </a:lnTo>
                  <a:lnTo>
                    <a:pt x="8" y="20"/>
                  </a:lnTo>
                  <a:lnTo>
                    <a:pt x="5" y="23"/>
                  </a:lnTo>
                  <a:lnTo>
                    <a:pt x="0" y="30"/>
                  </a:lnTo>
                  <a:lnTo>
                    <a:pt x="0" y="33"/>
                  </a:lnTo>
                  <a:lnTo>
                    <a:pt x="2" y="35"/>
                  </a:lnTo>
                  <a:lnTo>
                    <a:pt x="5" y="36"/>
                  </a:lnTo>
                  <a:lnTo>
                    <a:pt x="7" y="36"/>
                  </a:lnTo>
                  <a:lnTo>
                    <a:pt x="7" y="37"/>
                  </a:lnTo>
                  <a:lnTo>
                    <a:pt x="5" y="39"/>
                  </a:lnTo>
                  <a:lnTo>
                    <a:pt x="3" y="41"/>
                  </a:lnTo>
                  <a:lnTo>
                    <a:pt x="3" y="42"/>
                  </a:lnTo>
                  <a:lnTo>
                    <a:pt x="3" y="43"/>
                  </a:lnTo>
                  <a:lnTo>
                    <a:pt x="4" y="45"/>
                  </a:lnTo>
                  <a:lnTo>
                    <a:pt x="5" y="46"/>
                  </a:lnTo>
                  <a:lnTo>
                    <a:pt x="4" y="50"/>
                  </a:lnTo>
                  <a:lnTo>
                    <a:pt x="3" y="54"/>
                  </a:lnTo>
                  <a:lnTo>
                    <a:pt x="2" y="56"/>
                  </a:lnTo>
                  <a:lnTo>
                    <a:pt x="3" y="58"/>
                  </a:lnTo>
                  <a:lnTo>
                    <a:pt x="4" y="60"/>
                  </a:lnTo>
                  <a:lnTo>
                    <a:pt x="8" y="6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7" name="Freeform 1206"/>
            <p:cNvSpPr>
              <a:spLocks/>
            </p:cNvSpPr>
            <p:nvPr/>
          </p:nvSpPr>
          <p:spPr bwMode="auto">
            <a:xfrm>
              <a:off x="4581525" y="2795592"/>
              <a:ext cx="198438" cy="92075"/>
            </a:xfrm>
            <a:custGeom>
              <a:avLst/>
              <a:gdLst>
                <a:gd name="T0" fmla="*/ 2147483647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0 w 136"/>
                <a:gd name="T37" fmla="*/ 2147483647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0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6"/>
                <a:gd name="T112" fmla="*/ 0 h 58"/>
                <a:gd name="T113" fmla="*/ 136 w 136"/>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6" h="58">
                  <a:moveTo>
                    <a:pt x="136" y="14"/>
                  </a:moveTo>
                  <a:lnTo>
                    <a:pt x="136" y="14"/>
                  </a:lnTo>
                  <a:lnTo>
                    <a:pt x="135" y="23"/>
                  </a:lnTo>
                  <a:lnTo>
                    <a:pt x="134" y="34"/>
                  </a:lnTo>
                  <a:lnTo>
                    <a:pt x="131" y="39"/>
                  </a:lnTo>
                  <a:lnTo>
                    <a:pt x="127" y="43"/>
                  </a:lnTo>
                  <a:lnTo>
                    <a:pt x="122" y="47"/>
                  </a:lnTo>
                  <a:lnTo>
                    <a:pt x="117" y="51"/>
                  </a:lnTo>
                  <a:lnTo>
                    <a:pt x="111" y="54"/>
                  </a:lnTo>
                  <a:lnTo>
                    <a:pt x="92" y="56"/>
                  </a:lnTo>
                  <a:lnTo>
                    <a:pt x="73" y="58"/>
                  </a:lnTo>
                  <a:lnTo>
                    <a:pt x="59" y="56"/>
                  </a:lnTo>
                  <a:lnTo>
                    <a:pt x="52" y="55"/>
                  </a:lnTo>
                  <a:lnTo>
                    <a:pt x="46" y="53"/>
                  </a:lnTo>
                  <a:lnTo>
                    <a:pt x="45" y="51"/>
                  </a:lnTo>
                  <a:lnTo>
                    <a:pt x="44" y="48"/>
                  </a:lnTo>
                  <a:lnTo>
                    <a:pt x="44" y="46"/>
                  </a:lnTo>
                  <a:lnTo>
                    <a:pt x="41" y="45"/>
                  </a:lnTo>
                  <a:lnTo>
                    <a:pt x="31" y="46"/>
                  </a:lnTo>
                  <a:lnTo>
                    <a:pt x="21" y="47"/>
                  </a:lnTo>
                  <a:lnTo>
                    <a:pt x="17" y="48"/>
                  </a:lnTo>
                  <a:lnTo>
                    <a:pt x="13" y="49"/>
                  </a:lnTo>
                  <a:lnTo>
                    <a:pt x="5" y="48"/>
                  </a:lnTo>
                  <a:lnTo>
                    <a:pt x="3" y="46"/>
                  </a:lnTo>
                  <a:lnTo>
                    <a:pt x="2" y="43"/>
                  </a:lnTo>
                  <a:lnTo>
                    <a:pt x="2" y="37"/>
                  </a:lnTo>
                  <a:lnTo>
                    <a:pt x="2" y="36"/>
                  </a:lnTo>
                  <a:lnTo>
                    <a:pt x="0" y="34"/>
                  </a:lnTo>
                  <a:lnTo>
                    <a:pt x="11" y="34"/>
                  </a:lnTo>
                  <a:lnTo>
                    <a:pt x="19" y="33"/>
                  </a:lnTo>
                  <a:lnTo>
                    <a:pt x="30" y="29"/>
                  </a:lnTo>
                  <a:lnTo>
                    <a:pt x="38" y="24"/>
                  </a:lnTo>
                  <a:lnTo>
                    <a:pt x="40" y="24"/>
                  </a:lnTo>
                  <a:lnTo>
                    <a:pt x="41" y="24"/>
                  </a:lnTo>
                  <a:lnTo>
                    <a:pt x="45" y="26"/>
                  </a:lnTo>
                  <a:lnTo>
                    <a:pt x="52" y="30"/>
                  </a:lnTo>
                  <a:lnTo>
                    <a:pt x="54" y="30"/>
                  </a:lnTo>
                  <a:lnTo>
                    <a:pt x="55" y="30"/>
                  </a:lnTo>
                  <a:lnTo>
                    <a:pt x="56" y="29"/>
                  </a:lnTo>
                  <a:lnTo>
                    <a:pt x="56" y="23"/>
                  </a:lnTo>
                  <a:lnTo>
                    <a:pt x="54" y="19"/>
                  </a:lnTo>
                  <a:lnTo>
                    <a:pt x="56" y="17"/>
                  </a:lnTo>
                  <a:lnTo>
                    <a:pt x="57" y="16"/>
                  </a:lnTo>
                  <a:lnTo>
                    <a:pt x="64" y="9"/>
                  </a:lnTo>
                  <a:lnTo>
                    <a:pt x="70" y="5"/>
                  </a:lnTo>
                  <a:lnTo>
                    <a:pt x="78" y="3"/>
                  </a:lnTo>
                  <a:lnTo>
                    <a:pt x="88" y="2"/>
                  </a:lnTo>
                  <a:lnTo>
                    <a:pt x="91" y="1"/>
                  </a:lnTo>
                  <a:lnTo>
                    <a:pt x="93" y="0"/>
                  </a:lnTo>
                  <a:lnTo>
                    <a:pt x="108" y="2"/>
                  </a:lnTo>
                  <a:lnTo>
                    <a:pt x="125" y="3"/>
                  </a:lnTo>
                  <a:lnTo>
                    <a:pt x="130" y="4"/>
                  </a:lnTo>
                  <a:lnTo>
                    <a:pt x="134" y="7"/>
                  </a:lnTo>
                  <a:lnTo>
                    <a:pt x="135" y="10"/>
                  </a:lnTo>
                  <a:lnTo>
                    <a:pt x="136"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8" name="Freeform 1207"/>
            <p:cNvSpPr>
              <a:spLocks/>
            </p:cNvSpPr>
            <p:nvPr/>
          </p:nvSpPr>
          <p:spPr bwMode="auto">
            <a:xfrm>
              <a:off x="4638676" y="2706689"/>
              <a:ext cx="306388" cy="125412"/>
            </a:xfrm>
            <a:custGeom>
              <a:avLst/>
              <a:gdLst>
                <a:gd name="T0" fmla="*/ 2147483647 w 209"/>
                <a:gd name="T1" fmla="*/ 2147483647 h 79"/>
                <a:gd name="T2" fmla="*/ 2147483647 w 209"/>
                <a:gd name="T3" fmla="*/ 2147483647 h 79"/>
                <a:gd name="T4" fmla="*/ 2147483647 w 209"/>
                <a:gd name="T5" fmla="*/ 2147483647 h 79"/>
                <a:gd name="T6" fmla="*/ 2147483647 w 209"/>
                <a:gd name="T7" fmla="*/ 2147483647 h 79"/>
                <a:gd name="T8" fmla="*/ 2147483647 w 209"/>
                <a:gd name="T9" fmla="*/ 2147483647 h 79"/>
                <a:gd name="T10" fmla="*/ 2147483647 w 209"/>
                <a:gd name="T11" fmla="*/ 2147483647 h 79"/>
                <a:gd name="T12" fmla="*/ 2147483647 w 209"/>
                <a:gd name="T13" fmla="*/ 2147483647 h 79"/>
                <a:gd name="T14" fmla="*/ 2147483647 w 209"/>
                <a:gd name="T15" fmla="*/ 2147483647 h 79"/>
                <a:gd name="T16" fmla="*/ 2147483647 w 209"/>
                <a:gd name="T17" fmla="*/ 2147483647 h 79"/>
                <a:gd name="T18" fmla="*/ 2147483647 w 209"/>
                <a:gd name="T19" fmla="*/ 2147483647 h 79"/>
                <a:gd name="T20" fmla="*/ 2147483647 w 209"/>
                <a:gd name="T21" fmla="*/ 2147483647 h 79"/>
                <a:gd name="T22" fmla="*/ 2147483647 w 209"/>
                <a:gd name="T23" fmla="*/ 2147483647 h 79"/>
                <a:gd name="T24" fmla="*/ 2147483647 w 209"/>
                <a:gd name="T25" fmla="*/ 2147483647 h 79"/>
                <a:gd name="T26" fmla="*/ 2147483647 w 209"/>
                <a:gd name="T27" fmla="*/ 2147483647 h 79"/>
                <a:gd name="T28" fmla="*/ 2147483647 w 209"/>
                <a:gd name="T29" fmla="*/ 2147483647 h 79"/>
                <a:gd name="T30" fmla="*/ 2147483647 w 209"/>
                <a:gd name="T31" fmla="*/ 2147483647 h 79"/>
                <a:gd name="T32" fmla="*/ 2147483647 w 209"/>
                <a:gd name="T33" fmla="*/ 2147483647 h 79"/>
                <a:gd name="T34" fmla="*/ 2147483647 w 209"/>
                <a:gd name="T35" fmla="*/ 2147483647 h 79"/>
                <a:gd name="T36" fmla="*/ 2147483647 w 209"/>
                <a:gd name="T37" fmla="*/ 2147483647 h 79"/>
                <a:gd name="T38" fmla="*/ 2147483647 w 209"/>
                <a:gd name="T39" fmla="*/ 2147483647 h 79"/>
                <a:gd name="T40" fmla="*/ 2147483647 w 209"/>
                <a:gd name="T41" fmla="*/ 2147483647 h 79"/>
                <a:gd name="T42" fmla="*/ 2147483647 w 209"/>
                <a:gd name="T43" fmla="*/ 2147483647 h 79"/>
                <a:gd name="T44" fmla="*/ 2147483647 w 209"/>
                <a:gd name="T45" fmla="*/ 2147483647 h 79"/>
                <a:gd name="T46" fmla="*/ 2147483647 w 209"/>
                <a:gd name="T47" fmla="*/ 2147483647 h 79"/>
                <a:gd name="T48" fmla="*/ 2147483647 w 209"/>
                <a:gd name="T49" fmla="*/ 2147483647 h 79"/>
                <a:gd name="T50" fmla="*/ 2147483647 w 209"/>
                <a:gd name="T51" fmla="*/ 2147483647 h 79"/>
                <a:gd name="T52" fmla="*/ 2147483647 w 209"/>
                <a:gd name="T53" fmla="*/ 2147483647 h 79"/>
                <a:gd name="T54" fmla="*/ 2147483647 w 209"/>
                <a:gd name="T55" fmla="*/ 2147483647 h 79"/>
                <a:gd name="T56" fmla="*/ 2147483647 w 209"/>
                <a:gd name="T57" fmla="*/ 2147483647 h 79"/>
                <a:gd name="T58" fmla="*/ 2147483647 w 209"/>
                <a:gd name="T59" fmla="*/ 2147483647 h 79"/>
                <a:gd name="T60" fmla="*/ 2147483647 w 209"/>
                <a:gd name="T61" fmla="*/ 2147483647 h 79"/>
                <a:gd name="T62" fmla="*/ 2147483647 w 209"/>
                <a:gd name="T63" fmla="*/ 2147483647 h 79"/>
                <a:gd name="T64" fmla="*/ 2147483647 w 209"/>
                <a:gd name="T65" fmla="*/ 2147483647 h 79"/>
                <a:gd name="T66" fmla="*/ 2147483647 w 209"/>
                <a:gd name="T67" fmla="*/ 2147483647 h 79"/>
                <a:gd name="T68" fmla="*/ 2147483647 w 209"/>
                <a:gd name="T69" fmla="*/ 2147483647 h 79"/>
                <a:gd name="T70" fmla="*/ 2147483647 w 209"/>
                <a:gd name="T71" fmla="*/ 2147483647 h 79"/>
                <a:gd name="T72" fmla="*/ 2147483647 w 209"/>
                <a:gd name="T73" fmla="*/ 2147483647 h 79"/>
                <a:gd name="T74" fmla="*/ 2147483647 w 209"/>
                <a:gd name="T75" fmla="*/ 2147483647 h 79"/>
                <a:gd name="T76" fmla="*/ 2147483647 w 209"/>
                <a:gd name="T77" fmla="*/ 2147483647 h 79"/>
                <a:gd name="T78" fmla="*/ 2147483647 w 209"/>
                <a:gd name="T79" fmla="*/ 2147483647 h 7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79"/>
                <a:gd name="T122" fmla="*/ 209 w 209"/>
                <a:gd name="T123" fmla="*/ 79 h 7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79">
                  <a:moveTo>
                    <a:pt x="205" y="54"/>
                  </a:moveTo>
                  <a:lnTo>
                    <a:pt x="208" y="57"/>
                  </a:lnTo>
                  <a:lnTo>
                    <a:pt x="209" y="58"/>
                  </a:lnTo>
                  <a:lnTo>
                    <a:pt x="209" y="59"/>
                  </a:lnTo>
                  <a:lnTo>
                    <a:pt x="207" y="65"/>
                  </a:lnTo>
                  <a:lnTo>
                    <a:pt x="203" y="71"/>
                  </a:lnTo>
                  <a:lnTo>
                    <a:pt x="199" y="76"/>
                  </a:lnTo>
                  <a:lnTo>
                    <a:pt x="193" y="71"/>
                  </a:lnTo>
                  <a:lnTo>
                    <a:pt x="185" y="67"/>
                  </a:lnTo>
                  <a:lnTo>
                    <a:pt x="176" y="67"/>
                  </a:lnTo>
                  <a:lnTo>
                    <a:pt x="167" y="69"/>
                  </a:lnTo>
                  <a:lnTo>
                    <a:pt x="152" y="72"/>
                  </a:lnTo>
                  <a:lnTo>
                    <a:pt x="144" y="75"/>
                  </a:lnTo>
                  <a:lnTo>
                    <a:pt x="138" y="78"/>
                  </a:lnTo>
                  <a:lnTo>
                    <a:pt x="134" y="79"/>
                  </a:lnTo>
                  <a:lnTo>
                    <a:pt x="132" y="78"/>
                  </a:lnTo>
                  <a:lnTo>
                    <a:pt x="128" y="77"/>
                  </a:lnTo>
                  <a:lnTo>
                    <a:pt x="125" y="77"/>
                  </a:lnTo>
                  <a:lnTo>
                    <a:pt x="120" y="77"/>
                  </a:lnTo>
                  <a:lnTo>
                    <a:pt x="119" y="78"/>
                  </a:lnTo>
                  <a:lnTo>
                    <a:pt x="117" y="77"/>
                  </a:lnTo>
                  <a:lnTo>
                    <a:pt x="108" y="73"/>
                  </a:lnTo>
                  <a:lnTo>
                    <a:pt x="103" y="71"/>
                  </a:lnTo>
                  <a:lnTo>
                    <a:pt x="97" y="71"/>
                  </a:lnTo>
                  <a:lnTo>
                    <a:pt x="96" y="67"/>
                  </a:lnTo>
                  <a:lnTo>
                    <a:pt x="95" y="64"/>
                  </a:lnTo>
                  <a:lnTo>
                    <a:pt x="91" y="61"/>
                  </a:lnTo>
                  <a:lnTo>
                    <a:pt x="86" y="60"/>
                  </a:lnTo>
                  <a:lnTo>
                    <a:pt x="70" y="59"/>
                  </a:lnTo>
                  <a:lnTo>
                    <a:pt x="54" y="57"/>
                  </a:lnTo>
                  <a:lnTo>
                    <a:pt x="52" y="58"/>
                  </a:lnTo>
                  <a:lnTo>
                    <a:pt x="49" y="59"/>
                  </a:lnTo>
                  <a:lnTo>
                    <a:pt x="39" y="60"/>
                  </a:lnTo>
                  <a:lnTo>
                    <a:pt x="31" y="63"/>
                  </a:lnTo>
                  <a:lnTo>
                    <a:pt x="21" y="51"/>
                  </a:lnTo>
                  <a:lnTo>
                    <a:pt x="10" y="40"/>
                  </a:lnTo>
                  <a:lnTo>
                    <a:pt x="9" y="38"/>
                  </a:lnTo>
                  <a:lnTo>
                    <a:pt x="7" y="34"/>
                  </a:lnTo>
                  <a:lnTo>
                    <a:pt x="2" y="27"/>
                  </a:lnTo>
                  <a:lnTo>
                    <a:pt x="1" y="24"/>
                  </a:lnTo>
                  <a:lnTo>
                    <a:pt x="0" y="19"/>
                  </a:lnTo>
                  <a:lnTo>
                    <a:pt x="6" y="18"/>
                  </a:lnTo>
                  <a:lnTo>
                    <a:pt x="15" y="19"/>
                  </a:lnTo>
                  <a:lnTo>
                    <a:pt x="16" y="19"/>
                  </a:lnTo>
                  <a:lnTo>
                    <a:pt x="17" y="18"/>
                  </a:lnTo>
                  <a:lnTo>
                    <a:pt x="20" y="15"/>
                  </a:lnTo>
                  <a:lnTo>
                    <a:pt x="28" y="12"/>
                  </a:lnTo>
                  <a:lnTo>
                    <a:pt x="31" y="10"/>
                  </a:lnTo>
                  <a:lnTo>
                    <a:pt x="34" y="8"/>
                  </a:lnTo>
                  <a:lnTo>
                    <a:pt x="40" y="3"/>
                  </a:lnTo>
                  <a:lnTo>
                    <a:pt x="47" y="0"/>
                  </a:lnTo>
                  <a:lnTo>
                    <a:pt x="48" y="2"/>
                  </a:lnTo>
                  <a:lnTo>
                    <a:pt x="51" y="5"/>
                  </a:lnTo>
                  <a:lnTo>
                    <a:pt x="56" y="8"/>
                  </a:lnTo>
                  <a:lnTo>
                    <a:pt x="67" y="12"/>
                  </a:lnTo>
                  <a:lnTo>
                    <a:pt x="91" y="22"/>
                  </a:lnTo>
                  <a:lnTo>
                    <a:pt x="97" y="26"/>
                  </a:lnTo>
                  <a:lnTo>
                    <a:pt x="101" y="29"/>
                  </a:lnTo>
                  <a:lnTo>
                    <a:pt x="106" y="34"/>
                  </a:lnTo>
                  <a:lnTo>
                    <a:pt x="113" y="38"/>
                  </a:lnTo>
                  <a:lnTo>
                    <a:pt x="115" y="39"/>
                  </a:lnTo>
                  <a:lnTo>
                    <a:pt x="117" y="41"/>
                  </a:lnTo>
                  <a:lnTo>
                    <a:pt x="118" y="44"/>
                  </a:lnTo>
                  <a:lnTo>
                    <a:pt x="120" y="45"/>
                  </a:lnTo>
                  <a:lnTo>
                    <a:pt x="123" y="45"/>
                  </a:lnTo>
                  <a:lnTo>
                    <a:pt x="125" y="44"/>
                  </a:lnTo>
                  <a:lnTo>
                    <a:pt x="128" y="41"/>
                  </a:lnTo>
                  <a:lnTo>
                    <a:pt x="131" y="40"/>
                  </a:lnTo>
                  <a:lnTo>
                    <a:pt x="132" y="41"/>
                  </a:lnTo>
                  <a:lnTo>
                    <a:pt x="134" y="43"/>
                  </a:lnTo>
                  <a:lnTo>
                    <a:pt x="138" y="46"/>
                  </a:lnTo>
                  <a:lnTo>
                    <a:pt x="141" y="50"/>
                  </a:lnTo>
                  <a:lnTo>
                    <a:pt x="143" y="50"/>
                  </a:lnTo>
                  <a:lnTo>
                    <a:pt x="146" y="48"/>
                  </a:lnTo>
                  <a:lnTo>
                    <a:pt x="151" y="45"/>
                  </a:lnTo>
                  <a:lnTo>
                    <a:pt x="157" y="43"/>
                  </a:lnTo>
                  <a:lnTo>
                    <a:pt x="164" y="43"/>
                  </a:lnTo>
                  <a:lnTo>
                    <a:pt x="170" y="43"/>
                  </a:lnTo>
                  <a:lnTo>
                    <a:pt x="198" y="50"/>
                  </a:lnTo>
                  <a:lnTo>
                    <a:pt x="202" y="52"/>
                  </a:lnTo>
                  <a:lnTo>
                    <a:pt x="205" y="5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09" name="Freeform 1208"/>
            <p:cNvSpPr>
              <a:spLocks/>
            </p:cNvSpPr>
            <p:nvPr/>
          </p:nvSpPr>
          <p:spPr bwMode="auto">
            <a:xfrm>
              <a:off x="4691064" y="2562227"/>
              <a:ext cx="285750" cy="230188"/>
            </a:xfrm>
            <a:custGeom>
              <a:avLst/>
              <a:gdLst>
                <a:gd name="T0" fmla="*/ 2147483647 w 195"/>
                <a:gd name="T1" fmla="*/ 2147483647 h 145"/>
                <a:gd name="T2" fmla="*/ 2147483647 w 195"/>
                <a:gd name="T3" fmla="*/ 2147483647 h 145"/>
                <a:gd name="T4" fmla="*/ 2147483647 w 195"/>
                <a:gd name="T5" fmla="*/ 2147483647 h 145"/>
                <a:gd name="T6" fmla="*/ 2147483647 w 195"/>
                <a:gd name="T7" fmla="*/ 2147483647 h 145"/>
                <a:gd name="T8" fmla="*/ 2147483647 w 195"/>
                <a:gd name="T9" fmla="*/ 2147483647 h 145"/>
                <a:gd name="T10" fmla="*/ 2147483647 w 195"/>
                <a:gd name="T11" fmla="*/ 2147483647 h 145"/>
                <a:gd name="T12" fmla="*/ 2147483647 w 195"/>
                <a:gd name="T13" fmla="*/ 2147483647 h 145"/>
                <a:gd name="T14" fmla="*/ 2147483647 w 195"/>
                <a:gd name="T15" fmla="*/ 2147483647 h 145"/>
                <a:gd name="T16" fmla="*/ 2147483647 w 195"/>
                <a:gd name="T17" fmla="*/ 2147483647 h 145"/>
                <a:gd name="T18" fmla="*/ 2147483647 w 195"/>
                <a:gd name="T19" fmla="*/ 2147483647 h 145"/>
                <a:gd name="T20" fmla="*/ 2147483647 w 195"/>
                <a:gd name="T21" fmla="*/ 2147483647 h 145"/>
                <a:gd name="T22" fmla="*/ 2147483647 w 195"/>
                <a:gd name="T23" fmla="*/ 2147483647 h 145"/>
                <a:gd name="T24" fmla="*/ 2147483647 w 195"/>
                <a:gd name="T25" fmla="*/ 2147483647 h 145"/>
                <a:gd name="T26" fmla="*/ 2147483647 w 195"/>
                <a:gd name="T27" fmla="*/ 2147483647 h 145"/>
                <a:gd name="T28" fmla="*/ 2147483647 w 195"/>
                <a:gd name="T29" fmla="*/ 2147483647 h 145"/>
                <a:gd name="T30" fmla="*/ 2147483647 w 195"/>
                <a:gd name="T31" fmla="*/ 2147483647 h 145"/>
                <a:gd name="T32" fmla="*/ 2147483647 w 195"/>
                <a:gd name="T33" fmla="*/ 2147483647 h 145"/>
                <a:gd name="T34" fmla="*/ 2147483647 w 195"/>
                <a:gd name="T35" fmla="*/ 2147483647 h 145"/>
                <a:gd name="T36" fmla="*/ 2147483647 w 195"/>
                <a:gd name="T37" fmla="*/ 2147483647 h 145"/>
                <a:gd name="T38" fmla="*/ 2147483647 w 195"/>
                <a:gd name="T39" fmla="*/ 2147483647 h 145"/>
                <a:gd name="T40" fmla="*/ 2147483647 w 195"/>
                <a:gd name="T41" fmla="*/ 2147483647 h 145"/>
                <a:gd name="T42" fmla="*/ 2147483647 w 195"/>
                <a:gd name="T43" fmla="*/ 2147483647 h 145"/>
                <a:gd name="T44" fmla="*/ 2147483647 w 195"/>
                <a:gd name="T45" fmla="*/ 2147483647 h 145"/>
                <a:gd name="T46" fmla="*/ 2147483647 w 195"/>
                <a:gd name="T47" fmla="*/ 2147483647 h 145"/>
                <a:gd name="T48" fmla="*/ 2147483647 w 195"/>
                <a:gd name="T49" fmla="*/ 2147483647 h 145"/>
                <a:gd name="T50" fmla="*/ 2147483647 w 195"/>
                <a:gd name="T51" fmla="*/ 2147483647 h 145"/>
                <a:gd name="T52" fmla="*/ 2147483647 w 195"/>
                <a:gd name="T53" fmla="*/ 2147483647 h 145"/>
                <a:gd name="T54" fmla="*/ 2147483647 w 195"/>
                <a:gd name="T55" fmla="*/ 2147483647 h 145"/>
                <a:gd name="T56" fmla="*/ 2147483647 w 195"/>
                <a:gd name="T57" fmla="*/ 2147483647 h 145"/>
                <a:gd name="T58" fmla="*/ 2147483647 w 195"/>
                <a:gd name="T59" fmla="*/ 2147483647 h 145"/>
                <a:gd name="T60" fmla="*/ 2147483647 w 195"/>
                <a:gd name="T61" fmla="*/ 2147483647 h 145"/>
                <a:gd name="T62" fmla="*/ 2147483647 w 195"/>
                <a:gd name="T63" fmla="*/ 2147483647 h 145"/>
                <a:gd name="T64" fmla="*/ 2147483647 w 195"/>
                <a:gd name="T65" fmla="*/ 2147483647 h 145"/>
                <a:gd name="T66" fmla="*/ 2147483647 w 195"/>
                <a:gd name="T67" fmla="*/ 2147483647 h 145"/>
                <a:gd name="T68" fmla="*/ 2147483647 w 195"/>
                <a:gd name="T69" fmla="*/ 2147483647 h 145"/>
                <a:gd name="T70" fmla="*/ 2147483647 w 195"/>
                <a:gd name="T71" fmla="*/ 2147483647 h 145"/>
                <a:gd name="T72" fmla="*/ 0 w 195"/>
                <a:gd name="T73" fmla="*/ 2147483647 h 145"/>
                <a:gd name="T74" fmla="*/ 2147483647 w 195"/>
                <a:gd name="T75" fmla="*/ 2147483647 h 145"/>
                <a:gd name="T76" fmla="*/ 2147483647 w 195"/>
                <a:gd name="T77" fmla="*/ 2147483647 h 145"/>
                <a:gd name="T78" fmla="*/ 2147483647 w 195"/>
                <a:gd name="T79" fmla="*/ 2147483647 h 145"/>
                <a:gd name="T80" fmla="*/ 2147483647 w 195"/>
                <a:gd name="T81" fmla="*/ 2147483647 h 145"/>
                <a:gd name="T82" fmla="*/ 2147483647 w 195"/>
                <a:gd name="T83" fmla="*/ 2147483647 h 145"/>
                <a:gd name="T84" fmla="*/ 2147483647 w 195"/>
                <a:gd name="T85" fmla="*/ 2147483647 h 145"/>
                <a:gd name="T86" fmla="*/ 2147483647 w 195"/>
                <a:gd name="T87" fmla="*/ 0 h 145"/>
                <a:gd name="T88" fmla="*/ 2147483647 w 195"/>
                <a:gd name="T89" fmla="*/ 2147483647 h 145"/>
                <a:gd name="T90" fmla="*/ 2147483647 w 195"/>
                <a:gd name="T91" fmla="*/ 2147483647 h 145"/>
                <a:gd name="T92" fmla="*/ 2147483647 w 195"/>
                <a:gd name="T93" fmla="*/ 2147483647 h 145"/>
                <a:gd name="T94" fmla="*/ 2147483647 w 195"/>
                <a:gd name="T95" fmla="*/ 2147483647 h 145"/>
                <a:gd name="T96" fmla="*/ 2147483647 w 195"/>
                <a:gd name="T97" fmla="*/ 2147483647 h 145"/>
                <a:gd name="T98" fmla="*/ 2147483647 w 195"/>
                <a:gd name="T99" fmla="*/ 2147483647 h 145"/>
                <a:gd name="T100" fmla="*/ 2147483647 w 195"/>
                <a:gd name="T101" fmla="*/ 2147483647 h 145"/>
                <a:gd name="T102" fmla="*/ 2147483647 w 195"/>
                <a:gd name="T103" fmla="*/ 2147483647 h 1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5"/>
                <a:gd name="T157" fmla="*/ 0 h 145"/>
                <a:gd name="T158" fmla="*/ 195 w 195"/>
                <a:gd name="T159" fmla="*/ 145 h 14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5" h="145">
                  <a:moveTo>
                    <a:pt x="106" y="16"/>
                  </a:moveTo>
                  <a:lnTo>
                    <a:pt x="120" y="16"/>
                  </a:lnTo>
                  <a:lnTo>
                    <a:pt x="134" y="14"/>
                  </a:lnTo>
                  <a:lnTo>
                    <a:pt x="162" y="10"/>
                  </a:lnTo>
                  <a:lnTo>
                    <a:pt x="167" y="10"/>
                  </a:lnTo>
                  <a:lnTo>
                    <a:pt x="173" y="11"/>
                  </a:lnTo>
                  <a:lnTo>
                    <a:pt x="178" y="15"/>
                  </a:lnTo>
                  <a:lnTo>
                    <a:pt x="182" y="20"/>
                  </a:lnTo>
                  <a:lnTo>
                    <a:pt x="186" y="27"/>
                  </a:lnTo>
                  <a:lnTo>
                    <a:pt x="189" y="34"/>
                  </a:lnTo>
                  <a:lnTo>
                    <a:pt x="192" y="42"/>
                  </a:lnTo>
                  <a:lnTo>
                    <a:pt x="192" y="49"/>
                  </a:lnTo>
                  <a:lnTo>
                    <a:pt x="192" y="58"/>
                  </a:lnTo>
                  <a:lnTo>
                    <a:pt x="191" y="66"/>
                  </a:lnTo>
                  <a:lnTo>
                    <a:pt x="187" y="83"/>
                  </a:lnTo>
                  <a:lnTo>
                    <a:pt x="187" y="84"/>
                  </a:lnTo>
                  <a:lnTo>
                    <a:pt x="189" y="86"/>
                  </a:lnTo>
                  <a:lnTo>
                    <a:pt x="192" y="88"/>
                  </a:lnTo>
                  <a:lnTo>
                    <a:pt x="192" y="90"/>
                  </a:lnTo>
                  <a:lnTo>
                    <a:pt x="192" y="91"/>
                  </a:lnTo>
                  <a:lnTo>
                    <a:pt x="188" y="99"/>
                  </a:lnTo>
                  <a:lnTo>
                    <a:pt x="187" y="107"/>
                  </a:lnTo>
                  <a:lnTo>
                    <a:pt x="188" y="110"/>
                  </a:lnTo>
                  <a:lnTo>
                    <a:pt x="189" y="112"/>
                  </a:lnTo>
                  <a:lnTo>
                    <a:pt x="193" y="117"/>
                  </a:lnTo>
                  <a:lnTo>
                    <a:pt x="195" y="120"/>
                  </a:lnTo>
                  <a:lnTo>
                    <a:pt x="193" y="124"/>
                  </a:lnTo>
                  <a:lnTo>
                    <a:pt x="192" y="128"/>
                  </a:lnTo>
                  <a:lnTo>
                    <a:pt x="187" y="132"/>
                  </a:lnTo>
                  <a:lnTo>
                    <a:pt x="181" y="138"/>
                  </a:lnTo>
                  <a:lnTo>
                    <a:pt x="172" y="145"/>
                  </a:lnTo>
                  <a:lnTo>
                    <a:pt x="169" y="143"/>
                  </a:lnTo>
                  <a:lnTo>
                    <a:pt x="164" y="141"/>
                  </a:lnTo>
                  <a:lnTo>
                    <a:pt x="136" y="134"/>
                  </a:lnTo>
                  <a:lnTo>
                    <a:pt x="130" y="134"/>
                  </a:lnTo>
                  <a:lnTo>
                    <a:pt x="123" y="134"/>
                  </a:lnTo>
                  <a:lnTo>
                    <a:pt x="118" y="136"/>
                  </a:lnTo>
                  <a:lnTo>
                    <a:pt x="112" y="139"/>
                  </a:lnTo>
                  <a:lnTo>
                    <a:pt x="109" y="141"/>
                  </a:lnTo>
                  <a:lnTo>
                    <a:pt x="107" y="141"/>
                  </a:lnTo>
                  <a:lnTo>
                    <a:pt x="104" y="137"/>
                  </a:lnTo>
                  <a:lnTo>
                    <a:pt x="102" y="134"/>
                  </a:lnTo>
                  <a:lnTo>
                    <a:pt x="98" y="132"/>
                  </a:lnTo>
                  <a:lnTo>
                    <a:pt x="97" y="131"/>
                  </a:lnTo>
                  <a:lnTo>
                    <a:pt x="94" y="132"/>
                  </a:lnTo>
                  <a:lnTo>
                    <a:pt x="92" y="135"/>
                  </a:lnTo>
                  <a:lnTo>
                    <a:pt x="89" y="136"/>
                  </a:lnTo>
                  <a:lnTo>
                    <a:pt x="88" y="136"/>
                  </a:lnTo>
                  <a:lnTo>
                    <a:pt x="85" y="135"/>
                  </a:lnTo>
                  <a:lnTo>
                    <a:pt x="83" y="132"/>
                  </a:lnTo>
                  <a:lnTo>
                    <a:pt x="82" y="130"/>
                  </a:lnTo>
                  <a:lnTo>
                    <a:pt x="79" y="129"/>
                  </a:lnTo>
                  <a:lnTo>
                    <a:pt x="74" y="125"/>
                  </a:lnTo>
                  <a:lnTo>
                    <a:pt x="69" y="120"/>
                  </a:lnTo>
                  <a:lnTo>
                    <a:pt x="64" y="117"/>
                  </a:lnTo>
                  <a:lnTo>
                    <a:pt x="57" y="113"/>
                  </a:lnTo>
                  <a:lnTo>
                    <a:pt x="35" y="103"/>
                  </a:lnTo>
                  <a:lnTo>
                    <a:pt x="22" y="99"/>
                  </a:lnTo>
                  <a:lnTo>
                    <a:pt x="17" y="96"/>
                  </a:lnTo>
                  <a:lnTo>
                    <a:pt x="14" y="93"/>
                  </a:lnTo>
                  <a:lnTo>
                    <a:pt x="13" y="91"/>
                  </a:lnTo>
                  <a:lnTo>
                    <a:pt x="16" y="85"/>
                  </a:lnTo>
                  <a:lnTo>
                    <a:pt x="14" y="80"/>
                  </a:lnTo>
                  <a:lnTo>
                    <a:pt x="12" y="75"/>
                  </a:lnTo>
                  <a:lnTo>
                    <a:pt x="7" y="72"/>
                  </a:lnTo>
                  <a:lnTo>
                    <a:pt x="5" y="69"/>
                  </a:lnTo>
                  <a:lnTo>
                    <a:pt x="4" y="67"/>
                  </a:lnTo>
                  <a:lnTo>
                    <a:pt x="4" y="65"/>
                  </a:lnTo>
                  <a:lnTo>
                    <a:pt x="4" y="61"/>
                  </a:lnTo>
                  <a:lnTo>
                    <a:pt x="5" y="59"/>
                  </a:lnTo>
                  <a:lnTo>
                    <a:pt x="5" y="55"/>
                  </a:lnTo>
                  <a:lnTo>
                    <a:pt x="4" y="52"/>
                  </a:lnTo>
                  <a:lnTo>
                    <a:pt x="2" y="47"/>
                  </a:lnTo>
                  <a:lnTo>
                    <a:pt x="0" y="43"/>
                  </a:lnTo>
                  <a:lnTo>
                    <a:pt x="2" y="39"/>
                  </a:lnTo>
                  <a:lnTo>
                    <a:pt x="3" y="35"/>
                  </a:lnTo>
                  <a:lnTo>
                    <a:pt x="3" y="30"/>
                  </a:lnTo>
                  <a:lnTo>
                    <a:pt x="4" y="26"/>
                  </a:lnTo>
                  <a:lnTo>
                    <a:pt x="5" y="21"/>
                  </a:lnTo>
                  <a:lnTo>
                    <a:pt x="12" y="22"/>
                  </a:lnTo>
                  <a:lnTo>
                    <a:pt x="13" y="22"/>
                  </a:lnTo>
                  <a:lnTo>
                    <a:pt x="16" y="21"/>
                  </a:lnTo>
                  <a:lnTo>
                    <a:pt x="19" y="19"/>
                  </a:lnTo>
                  <a:lnTo>
                    <a:pt x="27" y="17"/>
                  </a:lnTo>
                  <a:lnTo>
                    <a:pt x="35" y="16"/>
                  </a:lnTo>
                  <a:lnTo>
                    <a:pt x="49" y="11"/>
                  </a:lnTo>
                  <a:lnTo>
                    <a:pt x="62" y="5"/>
                  </a:lnTo>
                  <a:lnTo>
                    <a:pt x="78" y="0"/>
                  </a:lnTo>
                  <a:lnTo>
                    <a:pt x="79" y="0"/>
                  </a:lnTo>
                  <a:lnTo>
                    <a:pt x="80" y="1"/>
                  </a:lnTo>
                  <a:lnTo>
                    <a:pt x="80" y="3"/>
                  </a:lnTo>
                  <a:lnTo>
                    <a:pt x="87" y="3"/>
                  </a:lnTo>
                  <a:lnTo>
                    <a:pt x="88" y="4"/>
                  </a:lnTo>
                  <a:lnTo>
                    <a:pt x="90" y="5"/>
                  </a:lnTo>
                  <a:lnTo>
                    <a:pt x="89" y="8"/>
                  </a:lnTo>
                  <a:lnTo>
                    <a:pt x="88" y="9"/>
                  </a:lnTo>
                  <a:lnTo>
                    <a:pt x="87" y="11"/>
                  </a:lnTo>
                  <a:lnTo>
                    <a:pt x="87" y="13"/>
                  </a:lnTo>
                  <a:lnTo>
                    <a:pt x="90" y="17"/>
                  </a:lnTo>
                  <a:lnTo>
                    <a:pt x="96" y="20"/>
                  </a:lnTo>
                  <a:lnTo>
                    <a:pt x="98" y="20"/>
                  </a:lnTo>
                  <a:lnTo>
                    <a:pt x="101" y="20"/>
                  </a:lnTo>
                  <a:lnTo>
                    <a:pt x="103" y="19"/>
                  </a:lnTo>
                  <a:lnTo>
                    <a:pt x="106"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0" name="Freeform 1209"/>
            <p:cNvSpPr>
              <a:spLocks/>
            </p:cNvSpPr>
            <p:nvPr/>
          </p:nvSpPr>
          <p:spPr bwMode="auto">
            <a:xfrm>
              <a:off x="4637092" y="2705103"/>
              <a:ext cx="306387" cy="125413"/>
            </a:xfrm>
            <a:custGeom>
              <a:avLst/>
              <a:gdLst>
                <a:gd name="T0" fmla="*/ 2147483647 w 210"/>
                <a:gd name="T1" fmla="*/ 2147483647 h 79"/>
                <a:gd name="T2" fmla="*/ 2147483647 w 210"/>
                <a:gd name="T3" fmla="*/ 2147483647 h 79"/>
                <a:gd name="T4" fmla="*/ 2147483647 w 210"/>
                <a:gd name="T5" fmla="*/ 2147483647 h 79"/>
                <a:gd name="T6" fmla="*/ 2147483647 w 210"/>
                <a:gd name="T7" fmla="*/ 2147483647 h 79"/>
                <a:gd name="T8" fmla="*/ 2147483647 w 210"/>
                <a:gd name="T9" fmla="*/ 2147483647 h 79"/>
                <a:gd name="T10" fmla="*/ 2147483647 w 210"/>
                <a:gd name="T11" fmla="*/ 2147483647 h 79"/>
                <a:gd name="T12" fmla="*/ 2147483647 w 210"/>
                <a:gd name="T13" fmla="*/ 2147483647 h 79"/>
                <a:gd name="T14" fmla="*/ 2147483647 w 210"/>
                <a:gd name="T15" fmla="*/ 2147483647 h 79"/>
                <a:gd name="T16" fmla="*/ 2147483647 w 210"/>
                <a:gd name="T17" fmla="*/ 2147483647 h 79"/>
                <a:gd name="T18" fmla="*/ 2147483647 w 210"/>
                <a:gd name="T19" fmla="*/ 2147483647 h 79"/>
                <a:gd name="T20" fmla="*/ 2147483647 w 210"/>
                <a:gd name="T21" fmla="*/ 2147483647 h 79"/>
                <a:gd name="T22" fmla="*/ 2147483647 w 210"/>
                <a:gd name="T23" fmla="*/ 2147483647 h 79"/>
                <a:gd name="T24" fmla="*/ 2147483647 w 210"/>
                <a:gd name="T25" fmla="*/ 2147483647 h 79"/>
                <a:gd name="T26" fmla="*/ 2147483647 w 210"/>
                <a:gd name="T27" fmla="*/ 2147483647 h 79"/>
                <a:gd name="T28" fmla="*/ 2147483647 w 210"/>
                <a:gd name="T29" fmla="*/ 2147483647 h 79"/>
                <a:gd name="T30" fmla="*/ 2147483647 w 210"/>
                <a:gd name="T31" fmla="*/ 2147483647 h 79"/>
                <a:gd name="T32" fmla="*/ 2147483647 w 210"/>
                <a:gd name="T33" fmla="*/ 2147483647 h 79"/>
                <a:gd name="T34" fmla="*/ 2147483647 w 210"/>
                <a:gd name="T35" fmla="*/ 2147483647 h 79"/>
                <a:gd name="T36" fmla="*/ 2147483647 w 210"/>
                <a:gd name="T37" fmla="*/ 2147483647 h 79"/>
                <a:gd name="T38" fmla="*/ 2147483647 w 210"/>
                <a:gd name="T39" fmla="*/ 2147483647 h 79"/>
                <a:gd name="T40" fmla="*/ 2147483647 w 210"/>
                <a:gd name="T41" fmla="*/ 2147483647 h 79"/>
                <a:gd name="T42" fmla="*/ 2147483647 w 210"/>
                <a:gd name="T43" fmla="*/ 2147483647 h 79"/>
                <a:gd name="T44" fmla="*/ 2147483647 w 210"/>
                <a:gd name="T45" fmla="*/ 2147483647 h 79"/>
                <a:gd name="T46" fmla="*/ 2147483647 w 210"/>
                <a:gd name="T47" fmla="*/ 2147483647 h 79"/>
                <a:gd name="T48" fmla="*/ 2147483647 w 210"/>
                <a:gd name="T49" fmla="*/ 2147483647 h 79"/>
                <a:gd name="T50" fmla="*/ 2147483647 w 210"/>
                <a:gd name="T51" fmla="*/ 2147483647 h 79"/>
                <a:gd name="T52" fmla="*/ 2147483647 w 210"/>
                <a:gd name="T53" fmla="*/ 2147483647 h 79"/>
                <a:gd name="T54" fmla="*/ 0 w 210"/>
                <a:gd name="T55" fmla="*/ 2147483647 h 79"/>
                <a:gd name="T56" fmla="*/ 2147483647 w 210"/>
                <a:gd name="T57" fmla="*/ 2147483647 h 79"/>
                <a:gd name="T58" fmla="*/ 2147483647 w 210"/>
                <a:gd name="T59" fmla="*/ 2147483647 h 79"/>
                <a:gd name="T60" fmla="*/ 2147483647 w 210"/>
                <a:gd name="T61" fmla="*/ 2147483647 h 79"/>
                <a:gd name="T62" fmla="*/ 2147483647 w 210"/>
                <a:gd name="T63" fmla="*/ 2147483647 h 79"/>
                <a:gd name="T64" fmla="*/ 2147483647 w 210"/>
                <a:gd name="T65" fmla="*/ 2147483647 h 79"/>
                <a:gd name="T66" fmla="*/ 2147483647 w 210"/>
                <a:gd name="T67" fmla="*/ 2147483647 h 79"/>
                <a:gd name="T68" fmla="*/ 2147483647 w 210"/>
                <a:gd name="T69" fmla="*/ 0 h 79"/>
                <a:gd name="T70" fmla="*/ 2147483647 w 210"/>
                <a:gd name="T71" fmla="*/ 0 h 79"/>
                <a:gd name="T72" fmla="*/ 2147483647 w 210"/>
                <a:gd name="T73" fmla="*/ 2147483647 h 79"/>
                <a:gd name="T74" fmla="*/ 2147483647 w 210"/>
                <a:gd name="T75" fmla="*/ 2147483647 h 79"/>
                <a:gd name="T76" fmla="*/ 2147483647 w 210"/>
                <a:gd name="T77" fmla="*/ 2147483647 h 79"/>
                <a:gd name="T78" fmla="*/ 2147483647 w 210"/>
                <a:gd name="T79" fmla="*/ 2147483647 h 79"/>
                <a:gd name="T80" fmla="*/ 2147483647 w 210"/>
                <a:gd name="T81" fmla="*/ 2147483647 h 79"/>
                <a:gd name="T82" fmla="*/ 2147483647 w 210"/>
                <a:gd name="T83" fmla="*/ 2147483647 h 79"/>
                <a:gd name="T84" fmla="*/ 2147483647 w 210"/>
                <a:gd name="T85" fmla="*/ 2147483647 h 79"/>
                <a:gd name="T86" fmla="*/ 2147483647 w 210"/>
                <a:gd name="T87" fmla="*/ 2147483647 h 79"/>
                <a:gd name="T88" fmla="*/ 2147483647 w 210"/>
                <a:gd name="T89" fmla="*/ 2147483647 h 79"/>
                <a:gd name="T90" fmla="*/ 2147483647 w 210"/>
                <a:gd name="T91" fmla="*/ 2147483647 h 79"/>
                <a:gd name="T92" fmla="*/ 2147483647 w 210"/>
                <a:gd name="T93" fmla="*/ 2147483647 h 79"/>
                <a:gd name="T94" fmla="*/ 2147483647 w 210"/>
                <a:gd name="T95" fmla="*/ 2147483647 h 79"/>
                <a:gd name="T96" fmla="*/ 2147483647 w 210"/>
                <a:gd name="T97" fmla="*/ 2147483647 h 79"/>
                <a:gd name="T98" fmla="*/ 2147483647 w 210"/>
                <a:gd name="T99" fmla="*/ 2147483647 h 79"/>
                <a:gd name="T100" fmla="*/ 2147483647 w 210"/>
                <a:gd name="T101" fmla="*/ 2147483647 h 79"/>
                <a:gd name="T102" fmla="*/ 2147483647 w 210"/>
                <a:gd name="T103" fmla="*/ 2147483647 h 79"/>
                <a:gd name="T104" fmla="*/ 2147483647 w 210"/>
                <a:gd name="T105" fmla="*/ 2147483647 h 79"/>
                <a:gd name="T106" fmla="*/ 2147483647 w 210"/>
                <a:gd name="T107" fmla="*/ 2147483647 h 79"/>
                <a:gd name="T108" fmla="*/ 2147483647 w 210"/>
                <a:gd name="T109" fmla="*/ 2147483647 h 79"/>
                <a:gd name="T110" fmla="*/ 2147483647 w 210"/>
                <a:gd name="T111" fmla="*/ 2147483647 h 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0"/>
                <a:gd name="T169" fmla="*/ 0 h 79"/>
                <a:gd name="T170" fmla="*/ 210 w 210"/>
                <a:gd name="T171" fmla="*/ 79 h 7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0" h="79">
                  <a:moveTo>
                    <a:pt x="206" y="54"/>
                  </a:moveTo>
                  <a:lnTo>
                    <a:pt x="206" y="54"/>
                  </a:lnTo>
                  <a:lnTo>
                    <a:pt x="209" y="57"/>
                  </a:lnTo>
                  <a:lnTo>
                    <a:pt x="210" y="58"/>
                  </a:lnTo>
                  <a:lnTo>
                    <a:pt x="210" y="59"/>
                  </a:lnTo>
                  <a:lnTo>
                    <a:pt x="207" y="65"/>
                  </a:lnTo>
                  <a:lnTo>
                    <a:pt x="204" y="71"/>
                  </a:lnTo>
                  <a:lnTo>
                    <a:pt x="200" y="76"/>
                  </a:lnTo>
                  <a:lnTo>
                    <a:pt x="193" y="71"/>
                  </a:lnTo>
                  <a:lnTo>
                    <a:pt x="186" y="67"/>
                  </a:lnTo>
                  <a:lnTo>
                    <a:pt x="177" y="67"/>
                  </a:lnTo>
                  <a:lnTo>
                    <a:pt x="168" y="68"/>
                  </a:lnTo>
                  <a:lnTo>
                    <a:pt x="153" y="72"/>
                  </a:lnTo>
                  <a:lnTo>
                    <a:pt x="145" y="74"/>
                  </a:lnTo>
                  <a:lnTo>
                    <a:pt x="139" y="78"/>
                  </a:lnTo>
                  <a:lnTo>
                    <a:pt x="135" y="79"/>
                  </a:lnTo>
                  <a:lnTo>
                    <a:pt x="133" y="78"/>
                  </a:lnTo>
                  <a:lnTo>
                    <a:pt x="129" y="77"/>
                  </a:lnTo>
                  <a:lnTo>
                    <a:pt x="126" y="77"/>
                  </a:lnTo>
                  <a:lnTo>
                    <a:pt x="121" y="77"/>
                  </a:lnTo>
                  <a:lnTo>
                    <a:pt x="120" y="78"/>
                  </a:lnTo>
                  <a:lnTo>
                    <a:pt x="117" y="77"/>
                  </a:lnTo>
                  <a:lnTo>
                    <a:pt x="108" y="73"/>
                  </a:lnTo>
                  <a:lnTo>
                    <a:pt x="103" y="71"/>
                  </a:lnTo>
                  <a:lnTo>
                    <a:pt x="98" y="71"/>
                  </a:lnTo>
                  <a:lnTo>
                    <a:pt x="97" y="67"/>
                  </a:lnTo>
                  <a:lnTo>
                    <a:pt x="96" y="64"/>
                  </a:lnTo>
                  <a:lnTo>
                    <a:pt x="92" y="61"/>
                  </a:lnTo>
                  <a:lnTo>
                    <a:pt x="87" y="60"/>
                  </a:lnTo>
                  <a:lnTo>
                    <a:pt x="70" y="59"/>
                  </a:lnTo>
                  <a:lnTo>
                    <a:pt x="55" y="57"/>
                  </a:lnTo>
                  <a:lnTo>
                    <a:pt x="53" y="58"/>
                  </a:lnTo>
                  <a:lnTo>
                    <a:pt x="50" y="59"/>
                  </a:lnTo>
                  <a:lnTo>
                    <a:pt x="40" y="60"/>
                  </a:lnTo>
                  <a:lnTo>
                    <a:pt x="32" y="62"/>
                  </a:lnTo>
                  <a:lnTo>
                    <a:pt x="22" y="51"/>
                  </a:lnTo>
                  <a:lnTo>
                    <a:pt x="11" y="40"/>
                  </a:lnTo>
                  <a:lnTo>
                    <a:pt x="9" y="38"/>
                  </a:lnTo>
                  <a:lnTo>
                    <a:pt x="8" y="34"/>
                  </a:lnTo>
                  <a:lnTo>
                    <a:pt x="3" y="27"/>
                  </a:lnTo>
                  <a:lnTo>
                    <a:pt x="2" y="23"/>
                  </a:lnTo>
                  <a:lnTo>
                    <a:pt x="0" y="19"/>
                  </a:lnTo>
                  <a:lnTo>
                    <a:pt x="7" y="17"/>
                  </a:lnTo>
                  <a:lnTo>
                    <a:pt x="16" y="19"/>
                  </a:lnTo>
                  <a:lnTo>
                    <a:pt x="17" y="19"/>
                  </a:lnTo>
                  <a:lnTo>
                    <a:pt x="18" y="17"/>
                  </a:lnTo>
                  <a:lnTo>
                    <a:pt x="21" y="15"/>
                  </a:lnTo>
                  <a:lnTo>
                    <a:pt x="28" y="11"/>
                  </a:lnTo>
                  <a:lnTo>
                    <a:pt x="32" y="10"/>
                  </a:lnTo>
                  <a:lnTo>
                    <a:pt x="35" y="8"/>
                  </a:lnTo>
                  <a:lnTo>
                    <a:pt x="41" y="3"/>
                  </a:lnTo>
                  <a:lnTo>
                    <a:pt x="47" y="0"/>
                  </a:lnTo>
                  <a:lnTo>
                    <a:pt x="49" y="2"/>
                  </a:lnTo>
                  <a:lnTo>
                    <a:pt x="51" y="4"/>
                  </a:lnTo>
                  <a:lnTo>
                    <a:pt x="56" y="8"/>
                  </a:lnTo>
                  <a:lnTo>
                    <a:pt x="68" y="11"/>
                  </a:lnTo>
                  <a:lnTo>
                    <a:pt x="92" y="22"/>
                  </a:lnTo>
                  <a:lnTo>
                    <a:pt x="98" y="26"/>
                  </a:lnTo>
                  <a:lnTo>
                    <a:pt x="102" y="29"/>
                  </a:lnTo>
                  <a:lnTo>
                    <a:pt x="107" y="34"/>
                  </a:lnTo>
                  <a:lnTo>
                    <a:pt x="113" y="38"/>
                  </a:lnTo>
                  <a:lnTo>
                    <a:pt x="116" y="39"/>
                  </a:lnTo>
                  <a:lnTo>
                    <a:pt x="117" y="41"/>
                  </a:lnTo>
                  <a:lnTo>
                    <a:pt x="119" y="44"/>
                  </a:lnTo>
                  <a:lnTo>
                    <a:pt x="121" y="45"/>
                  </a:lnTo>
                  <a:lnTo>
                    <a:pt x="124" y="45"/>
                  </a:lnTo>
                  <a:lnTo>
                    <a:pt x="126" y="44"/>
                  </a:lnTo>
                  <a:lnTo>
                    <a:pt x="129" y="41"/>
                  </a:lnTo>
                  <a:lnTo>
                    <a:pt x="131" y="40"/>
                  </a:lnTo>
                  <a:lnTo>
                    <a:pt x="133" y="41"/>
                  </a:lnTo>
                  <a:lnTo>
                    <a:pt x="135" y="42"/>
                  </a:lnTo>
                  <a:lnTo>
                    <a:pt x="139" y="46"/>
                  </a:lnTo>
                  <a:lnTo>
                    <a:pt x="141" y="49"/>
                  </a:lnTo>
                  <a:lnTo>
                    <a:pt x="144" y="49"/>
                  </a:lnTo>
                  <a:lnTo>
                    <a:pt x="146" y="48"/>
                  </a:lnTo>
                  <a:lnTo>
                    <a:pt x="152" y="45"/>
                  </a:lnTo>
                  <a:lnTo>
                    <a:pt x="158" y="42"/>
                  </a:lnTo>
                  <a:lnTo>
                    <a:pt x="164" y="42"/>
                  </a:lnTo>
                  <a:lnTo>
                    <a:pt x="171" y="42"/>
                  </a:lnTo>
                  <a:lnTo>
                    <a:pt x="199" y="49"/>
                  </a:lnTo>
                  <a:lnTo>
                    <a:pt x="202" y="52"/>
                  </a:lnTo>
                  <a:lnTo>
                    <a:pt x="206" y="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1" name="Freeform 1210"/>
            <p:cNvSpPr>
              <a:spLocks/>
            </p:cNvSpPr>
            <p:nvPr/>
          </p:nvSpPr>
          <p:spPr bwMode="auto">
            <a:xfrm>
              <a:off x="4689479" y="2559055"/>
              <a:ext cx="284163" cy="231775"/>
            </a:xfrm>
            <a:custGeom>
              <a:avLst/>
              <a:gdLst>
                <a:gd name="T0" fmla="*/ 2147483647 w 194"/>
                <a:gd name="T1" fmla="*/ 2147483647 h 146"/>
                <a:gd name="T2" fmla="*/ 2147483647 w 194"/>
                <a:gd name="T3" fmla="*/ 2147483647 h 146"/>
                <a:gd name="T4" fmla="*/ 2147483647 w 194"/>
                <a:gd name="T5" fmla="*/ 2147483647 h 146"/>
                <a:gd name="T6" fmla="*/ 2147483647 w 194"/>
                <a:gd name="T7" fmla="*/ 2147483647 h 146"/>
                <a:gd name="T8" fmla="*/ 2147483647 w 194"/>
                <a:gd name="T9" fmla="*/ 2147483647 h 146"/>
                <a:gd name="T10" fmla="*/ 2147483647 w 194"/>
                <a:gd name="T11" fmla="*/ 2147483647 h 146"/>
                <a:gd name="T12" fmla="*/ 2147483647 w 194"/>
                <a:gd name="T13" fmla="*/ 2147483647 h 146"/>
                <a:gd name="T14" fmla="*/ 2147483647 w 194"/>
                <a:gd name="T15" fmla="*/ 2147483647 h 146"/>
                <a:gd name="T16" fmla="*/ 2147483647 w 194"/>
                <a:gd name="T17" fmla="*/ 2147483647 h 146"/>
                <a:gd name="T18" fmla="*/ 2147483647 w 194"/>
                <a:gd name="T19" fmla="*/ 2147483647 h 146"/>
                <a:gd name="T20" fmla="*/ 2147483647 w 194"/>
                <a:gd name="T21" fmla="*/ 2147483647 h 146"/>
                <a:gd name="T22" fmla="*/ 2147483647 w 194"/>
                <a:gd name="T23" fmla="*/ 2147483647 h 146"/>
                <a:gd name="T24" fmla="*/ 2147483647 w 194"/>
                <a:gd name="T25" fmla="*/ 2147483647 h 146"/>
                <a:gd name="T26" fmla="*/ 2147483647 w 194"/>
                <a:gd name="T27" fmla="*/ 2147483647 h 146"/>
                <a:gd name="T28" fmla="*/ 2147483647 w 194"/>
                <a:gd name="T29" fmla="*/ 2147483647 h 146"/>
                <a:gd name="T30" fmla="*/ 2147483647 w 194"/>
                <a:gd name="T31" fmla="*/ 2147483647 h 146"/>
                <a:gd name="T32" fmla="*/ 2147483647 w 194"/>
                <a:gd name="T33" fmla="*/ 2147483647 h 146"/>
                <a:gd name="T34" fmla="*/ 2147483647 w 194"/>
                <a:gd name="T35" fmla="*/ 2147483647 h 146"/>
                <a:gd name="T36" fmla="*/ 2147483647 w 194"/>
                <a:gd name="T37" fmla="*/ 2147483647 h 146"/>
                <a:gd name="T38" fmla="*/ 2147483647 w 194"/>
                <a:gd name="T39" fmla="*/ 2147483647 h 146"/>
                <a:gd name="T40" fmla="*/ 2147483647 w 194"/>
                <a:gd name="T41" fmla="*/ 2147483647 h 146"/>
                <a:gd name="T42" fmla="*/ 2147483647 w 194"/>
                <a:gd name="T43" fmla="*/ 2147483647 h 146"/>
                <a:gd name="T44" fmla="*/ 2147483647 w 194"/>
                <a:gd name="T45" fmla="*/ 2147483647 h 146"/>
                <a:gd name="T46" fmla="*/ 2147483647 w 194"/>
                <a:gd name="T47" fmla="*/ 2147483647 h 146"/>
                <a:gd name="T48" fmla="*/ 2147483647 w 194"/>
                <a:gd name="T49" fmla="*/ 2147483647 h 146"/>
                <a:gd name="T50" fmla="*/ 2147483647 w 194"/>
                <a:gd name="T51" fmla="*/ 2147483647 h 146"/>
                <a:gd name="T52" fmla="*/ 2147483647 w 194"/>
                <a:gd name="T53" fmla="*/ 2147483647 h 146"/>
                <a:gd name="T54" fmla="*/ 2147483647 w 194"/>
                <a:gd name="T55" fmla="*/ 2147483647 h 146"/>
                <a:gd name="T56" fmla="*/ 2147483647 w 194"/>
                <a:gd name="T57" fmla="*/ 2147483647 h 146"/>
                <a:gd name="T58" fmla="*/ 2147483647 w 194"/>
                <a:gd name="T59" fmla="*/ 2147483647 h 146"/>
                <a:gd name="T60" fmla="*/ 2147483647 w 194"/>
                <a:gd name="T61" fmla="*/ 2147483647 h 146"/>
                <a:gd name="T62" fmla="*/ 2147483647 w 194"/>
                <a:gd name="T63" fmla="*/ 2147483647 h 146"/>
                <a:gd name="T64" fmla="*/ 2147483647 w 194"/>
                <a:gd name="T65" fmla="*/ 2147483647 h 146"/>
                <a:gd name="T66" fmla="*/ 2147483647 w 194"/>
                <a:gd name="T67" fmla="*/ 2147483647 h 146"/>
                <a:gd name="T68" fmla="*/ 2147483647 w 194"/>
                <a:gd name="T69" fmla="*/ 2147483647 h 146"/>
                <a:gd name="T70" fmla="*/ 2147483647 w 194"/>
                <a:gd name="T71" fmla="*/ 2147483647 h 146"/>
                <a:gd name="T72" fmla="*/ 2147483647 w 194"/>
                <a:gd name="T73" fmla="*/ 2147483647 h 146"/>
                <a:gd name="T74" fmla="*/ 2147483647 w 194"/>
                <a:gd name="T75" fmla="*/ 2147483647 h 146"/>
                <a:gd name="T76" fmla="*/ 2147483647 w 194"/>
                <a:gd name="T77" fmla="*/ 0 h 146"/>
                <a:gd name="T78" fmla="*/ 2147483647 w 194"/>
                <a:gd name="T79" fmla="*/ 2147483647 h 146"/>
                <a:gd name="T80" fmla="*/ 2147483647 w 194"/>
                <a:gd name="T81" fmla="*/ 2147483647 h 146"/>
                <a:gd name="T82" fmla="*/ 2147483647 w 194"/>
                <a:gd name="T83" fmla="*/ 2147483647 h 146"/>
                <a:gd name="T84" fmla="*/ 2147483647 w 194"/>
                <a:gd name="T85" fmla="*/ 2147483647 h 146"/>
                <a:gd name="T86" fmla="*/ 2147483647 w 194"/>
                <a:gd name="T87" fmla="*/ 2147483647 h 146"/>
                <a:gd name="T88" fmla="*/ 2147483647 w 194"/>
                <a:gd name="T89" fmla="*/ 2147483647 h 1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146"/>
                <a:gd name="T137" fmla="*/ 194 w 194"/>
                <a:gd name="T138" fmla="*/ 146 h 1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146">
                  <a:moveTo>
                    <a:pt x="105" y="17"/>
                  </a:moveTo>
                  <a:lnTo>
                    <a:pt x="105" y="17"/>
                  </a:lnTo>
                  <a:lnTo>
                    <a:pt x="119" y="17"/>
                  </a:lnTo>
                  <a:lnTo>
                    <a:pt x="133" y="15"/>
                  </a:lnTo>
                  <a:lnTo>
                    <a:pt x="161" y="11"/>
                  </a:lnTo>
                  <a:lnTo>
                    <a:pt x="166" y="11"/>
                  </a:lnTo>
                  <a:lnTo>
                    <a:pt x="173" y="12"/>
                  </a:lnTo>
                  <a:lnTo>
                    <a:pt x="178" y="16"/>
                  </a:lnTo>
                  <a:lnTo>
                    <a:pt x="182" y="21"/>
                  </a:lnTo>
                  <a:lnTo>
                    <a:pt x="185" y="28"/>
                  </a:lnTo>
                  <a:lnTo>
                    <a:pt x="189" y="35"/>
                  </a:lnTo>
                  <a:lnTo>
                    <a:pt x="192" y="43"/>
                  </a:lnTo>
                  <a:lnTo>
                    <a:pt x="192" y="50"/>
                  </a:lnTo>
                  <a:lnTo>
                    <a:pt x="192" y="58"/>
                  </a:lnTo>
                  <a:lnTo>
                    <a:pt x="190" y="67"/>
                  </a:lnTo>
                  <a:lnTo>
                    <a:pt x="187" y="83"/>
                  </a:lnTo>
                  <a:lnTo>
                    <a:pt x="187" y="85"/>
                  </a:lnTo>
                  <a:lnTo>
                    <a:pt x="189" y="87"/>
                  </a:lnTo>
                  <a:lnTo>
                    <a:pt x="192" y="89"/>
                  </a:lnTo>
                  <a:lnTo>
                    <a:pt x="192" y="90"/>
                  </a:lnTo>
                  <a:lnTo>
                    <a:pt x="192" y="92"/>
                  </a:lnTo>
                  <a:lnTo>
                    <a:pt x="188" y="100"/>
                  </a:lnTo>
                  <a:lnTo>
                    <a:pt x="187" y="108"/>
                  </a:lnTo>
                  <a:lnTo>
                    <a:pt x="188" y="111"/>
                  </a:lnTo>
                  <a:lnTo>
                    <a:pt x="189" y="113"/>
                  </a:lnTo>
                  <a:lnTo>
                    <a:pt x="193" y="118"/>
                  </a:lnTo>
                  <a:lnTo>
                    <a:pt x="194" y="121"/>
                  </a:lnTo>
                  <a:lnTo>
                    <a:pt x="193" y="125"/>
                  </a:lnTo>
                  <a:lnTo>
                    <a:pt x="192" y="128"/>
                  </a:lnTo>
                  <a:lnTo>
                    <a:pt x="187" y="133"/>
                  </a:lnTo>
                  <a:lnTo>
                    <a:pt x="180" y="139"/>
                  </a:lnTo>
                  <a:lnTo>
                    <a:pt x="171" y="146"/>
                  </a:lnTo>
                  <a:lnTo>
                    <a:pt x="169" y="144"/>
                  </a:lnTo>
                  <a:lnTo>
                    <a:pt x="164" y="141"/>
                  </a:lnTo>
                  <a:lnTo>
                    <a:pt x="136" y="134"/>
                  </a:lnTo>
                  <a:lnTo>
                    <a:pt x="130" y="134"/>
                  </a:lnTo>
                  <a:lnTo>
                    <a:pt x="123" y="134"/>
                  </a:lnTo>
                  <a:lnTo>
                    <a:pt x="118" y="137"/>
                  </a:lnTo>
                  <a:lnTo>
                    <a:pt x="112" y="140"/>
                  </a:lnTo>
                  <a:lnTo>
                    <a:pt x="109" y="141"/>
                  </a:lnTo>
                  <a:lnTo>
                    <a:pt x="107" y="141"/>
                  </a:lnTo>
                  <a:lnTo>
                    <a:pt x="104" y="138"/>
                  </a:lnTo>
                  <a:lnTo>
                    <a:pt x="102" y="134"/>
                  </a:lnTo>
                  <a:lnTo>
                    <a:pt x="98" y="133"/>
                  </a:lnTo>
                  <a:lnTo>
                    <a:pt x="97" y="132"/>
                  </a:lnTo>
                  <a:lnTo>
                    <a:pt x="94" y="133"/>
                  </a:lnTo>
                  <a:lnTo>
                    <a:pt x="91" y="136"/>
                  </a:lnTo>
                  <a:lnTo>
                    <a:pt x="89" y="137"/>
                  </a:lnTo>
                  <a:lnTo>
                    <a:pt x="88" y="137"/>
                  </a:lnTo>
                  <a:lnTo>
                    <a:pt x="85" y="136"/>
                  </a:lnTo>
                  <a:lnTo>
                    <a:pt x="83" y="133"/>
                  </a:lnTo>
                  <a:lnTo>
                    <a:pt x="81" y="131"/>
                  </a:lnTo>
                  <a:lnTo>
                    <a:pt x="79" y="130"/>
                  </a:lnTo>
                  <a:lnTo>
                    <a:pt x="74" y="126"/>
                  </a:lnTo>
                  <a:lnTo>
                    <a:pt x="69" y="121"/>
                  </a:lnTo>
                  <a:lnTo>
                    <a:pt x="63" y="118"/>
                  </a:lnTo>
                  <a:lnTo>
                    <a:pt x="57" y="114"/>
                  </a:lnTo>
                  <a:lnTo>
                    <a:pt x="34" y="103"/>
                  </a:lnTo>
                  <a:lnTo>
                    <a:pt x="22" y="100"/>
                  </a:lnTo>
                  <a:lnTo>
                    <a:pt x="17" y="96"/>
                  </a:lnTo>
                  <a:lnTo>
                    <a:pt x="14" y="94"/>
                  </a:lnTo>
                  <a:lnTo>
                    <a:pt x="13" y="92"/>
                  </a:lnTo>
                  <a:lnTo>
                    <a:pt x="15" y="86"/>
                  </a:lnTo>
                  <a:lnTo>
                    <a:pt x="14" y="81"/>
                  </a:lnTo>
                  <a:lnTo>
                    <a:pt x="11" y="76"/>
                  </a:lnTo>
                  <a:lnTo>
                    <a:pt x="6" y="73"/>
                  </a:lnTo>
                  <a:lnTo>
                    <a:pt x="5" y="70"/>
                  </a:lnTo>
                  <a:lnTo>
                    <a:pt x="4" y="68"/>
                  </a:lnTo>
                  <a:lnTo>
                    <a:pt x="4" y="66"/>
                  </a:lnTo>
                  <a:lnTo>
                    <a:pt x="4" y="62"/>
                  </a:lnTo>
                  <a:lnTo>
                    <a:pt x="5" y="60"/>
                  </a:lnTo>
                  <a:lnTo>
                    <a:pt x="5" y="56"/>
                  </a:lnTo>
                  <a:lnTo>
                    <a:pt x="4" y="53"/>
                  </a:lnTo>
                  <a:lnTo>
                    <a:pt x="1" y="48"/>
                  </a:lnTo>
                  <a:lnTo>
                    <a:pt x="0" y="44"/>
                  </a:lnTo>
                  <a:lnTo>
                    <a:pt x="1" y="39"/>
                  </a:lnTo>
                  <a:lnTo>
                    <a:pt x="3" y="36"/>
                  </a:lnTo>
                  <a:lnTo>
                    <a:pt x="3" y="31"/>
                  </a:lnTo>
                  <a:lnTo>
                    <a:pt x="4" y="26"/>
                  </a:lnTo>
                  <a:lnTo>
                    <a:pt x="5" y="22"/>
                  </a:lnTo>
                  <a:lnTo>
                    <a:pt x="11" y="23"/>
                  </a:lnTo>
                  <a:lnTo>
                    <a:pt x="13" y="23"/>
                  </a:lnTo>
                  <a:lnTo>
                    <a:pt x="15" y="22"/>
                  </a:lnTo>
                  <a:lnTo>
                    <a:pt x="19" y="19"/>
                  </a:lnTo>
                  <a:lnTo>
                    <a:pt x="27" y="18"/>
                  </a:lnTo>
                  <a:lnTo>
                    <a:pt x="34" y="17"/>
                  </a:lnTo>
                  <a:lnTo>
                    <a:pt x="48" y="12"/>
                  </a:lnTo>
                  <a:lnTo>
                    <a:pt x="62" y="6"/>
                  </a:lnTo>
                  <a:lnTo>
                    <a:pt x="77" y="0"/>
                  </a:lnTo>
                  <a:lnTo>
                    <a:pt x="79" y="0"/>
                  </a:lnTo>
                  <a:lnTo>
                    <a:pt x="80" y="2"/>
                  </a:lnTo>
                  <a:lnTo>
                    <a:pt x="80" y="4"/>
                  </a:lnTo>
                  <a:lnTo>
                    <a:pt x="86" y="4"/>
                  </a:lnTo>
                  <a:lnTo>
                    <a:pt x="88" y="5"/>
                  </a:lnTo>
                  <a:lnTo>
                    <a:pt x="90" y="6"/>
                  </a:lnTo>
                  <a:lnTo>
                    <a:pt x="89" y="9"/>
                  </a:lnTo>
                  <a:lnTo>
                    <a:pt x="88" y="10"/>
                  </a:lnTo>
                  <a:lnTo>
                    <a:pt x="86" y="12"/>
                  </a:lnTo>
                  <a:lnTo>
                    <a:pt x="86" y="13"/>
                  </a:lnTo>
                  <a:lnTo>
                    <a:pt x="90" y="18"/>
                  </a:lnTo>
                  <a:lnTo>
                    <a:pt x="95" y="21"/>
                  </a:lnTo>
                  <a:lnTo>
                    <a:pt x="98" y="21"/>
                  </a:lnTo>
                  <a:lnTo>
                    <a:pt x="100" y="21"/>
                  </a:lnTo>
                  <a:lnTo>
                    <a:pt x="103" y="19"/>
                  </a:lnTo>
                  <a:lnTo>
                    <a:pt x="105" y="1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2" name="Freeform 1211"/>
            <p:cNvSpPr>
              <a:spLocks/>
            </p:cNvSpPr>
            <p:nvPr/>
          </p:nvSpPr>
          <p:spPr bwMode="auto">
            <a:xfrm>
              <a:off x="4221164" y="2709864"/>
              <a:ext cx="334962" cy="327025"/>
            </a:xfrm>
            <a:custGeom>
              <a:avLst/>
              <a:gdLst>
                <a:gd name="T0" fmla="*/ 2147483647 w 228"/>
                <a:gd name="T1" fmla="*/ 2147483647 h 206"/>
                <a:gd name="T2" fmla="*/ 2147483647 w 228"/>
                <a:gd name="T3" fmla="*/ 2147483647 h 206"/>
                <a:gd name="T4" fmla="*/ 2147483647 w 228"/>
                <a:gd name="T5" fmla="*/ 2147483647 h 206"/>
                <a:gd name="T6" fmla="*/ 2147483647 w 228"/>
                <a:gd name="T7" fmla="*/ 2147483647 h 206"/>
                <a:gd name="T8" fmla="*/ 2147483647 w 228"/>
                <a:gd name="T9" fmla="*/ 2147483647 h 206"/>
                <a:gd name="T10" fmla="*/ 2147483647 w 228"/>
                <a:gd name="T11" fmla="*/ 2147483647 h 206"/>
                <a:gd name="T12" fmla="*/ 2147483647 w 228"/>
                <a:gd name="T13" fmla="*/ 2147483647 h 206"/>
                <a:gd name="T14" fmla="*/ 2147483647 w 228"/>
                <a:gd name="T15" fmla="*/ 2147483647 h 206"/>
                <a:gd name="T16" fmla="*/ 2147483647 w 228"/>
                <a:gd name="T17" fmla="*/ 2147483647 h 206"/>
                <a:gd name="T18" fmla="*/ 2147483647 w 228"/>
                <a:gd name="T19" fmla="*/ 2147483647 h 206"/>
                <a:gd name="T20" fmla="*/ 2147483647 w 228"/>
                <a:gd name="T21" fmla="*/ 2147483647 h 206"/>
                <a:gd name="T22" fmla="*/ 2147483647 w 228"/>
                <a:gd name="T23" fmla="*/ 2147483647 h 206"/>
                <a:gd name="T24" fmla="*/ 2147483647 w 228"/>
                <a:gd name="T25" fmla="*/ 2147483647 h 206"/>
                <a:gd name="T26" fmla="*/ 2147483647 w 228"/>
                <a:gd name="T27" fmla="*/ 2147483647 h 206"/>
                <a:gd name="T28" fmla="*/ 2147483647 w 228"/>
                <a:gd name="T29" fmla="*/ 2147483647 h 206"/>
                <a:gd name="T30" fmla="*/ 2147483647 w 228"/>
                <a:gd name="T31" fmla="*/ 2147483647 h 206"/>
                <a:gd name="T32" fmla="*/ 2147483647 w 228"/>
                <a:gd name="T33" fmla="*/ 2147483647 h 206"/>
                <a:gd name="T34" fmla="*/ 2147483647 w 228"/>
                <a:gd name="T35" fmla="*/ 2147483647 h 206"/>
                <a:gd name="T36" fmla="*/ 2147483647 w 228"/>
                <a:gd name="T37" fmla="*/ 2147483647 h 206"/>
                <a:gd name="T38" fmla="*/ 2147483647 w 228"/>
                <a:gd name="T39" fmla="*/ 2147483647 h 206"/>
                <a:gd name="T40" fmla="*/ 2147483647 w 228"/>
                <a:gd name="T41" fmla="*/ 2147483647 h 206"/>
                <a:gd name="T42" fmla="*/ 2147483647 w 228"/>
                <a:gd name="T43" fmla="*/ 2147483647 h 206"/>
                <a:gd name="T44" fmla="*/ 2147483647 w 228"/>
                <a:gd name="T45" fmla="*/ 2147483647 h 206"/>
                <a:gd name="T46" fmla="*/ 2147483647 w 228"/>
                <a:gd name="T47" fmla="*/ 2147483647 h 206"/>
                <a:gd name="T48" fmla="*/ 2147483647 w 228"/>
                <a:gd name="T49" fmla="*/ 2147483647 h 206"/>
                <a:gd name="T50" fmla="*/ 2147483647 w 228"/>
                <a:gd name="T51" fmla="*/ 2147483647 h 206"/>
                <a:gd name="T52" fmla="*/ 2147483647 w 228"/>
                <a:gd name="T53" fmla="*/ 2147483647 h 206"/>
                <a:gd name="T54" fmla="*/ 2147483647 w 228"/>
                <a:gd name="T55" fmla="*/ 2147483647 h 206"/>
                <a:gd name="T56" fmla="*/ 2147483647 w 228"/>
                <a:gd name="T57" fmla="*/ 2147483647 h 206"/>
                <a:gd name="T58" fmla="*/ 2147483647 w 228"/>
                <a:gd name="T59" fmla="*/ 2147483647 h 206"/>
                <a:gd name="T60" fmla="*/ 2147483647 w 228"/>
                <a:gd name="T61" fmla="*/ 2147483647 h 206"/>
                <a:gd name="T62" fmla="*/ 2147483647 w 228"/>
                <a:gd name="T63" fmla="*/ 2147483647 h 206"/>
                <a:gd name="T64" fmla="*/ 2147483647 w 228"/>
                <a:gd name="T65" fmla="*/ 2147483647 h 206"/>
                <a:gd name="T66" fmla="*/ 2147483647 w 228"/>
                <a:gd name="T67" fmla="*/ 2147483647 h 206"/>
                <a:gd name="T68" fmla="*/ 0 w 228"/>
                <a:gd name="T69" fmla="*/ 2147483647 h 206"/>
                <a:gd name="T70" fmla="*/ 2147483647 w 228"/>
                <a:gd name="T71" fmla="*/ 2147483647 h 206"/>
                <a:gd name="T72" fmla="*/ 2147483647 w 228"/>
                <a:gd name="T73" fmla="*/ 2147483647 h 206"/>
                <a:gd name="T74" fmla="*/ 2147483647 w 228"/>
                <a:gd name="T75" fmla="*/ 2147483647 h 206"/>
                <a:gd name="T76" fmla="*/ 2147483647 w 228"/>
                <a:gd name="T77" fmla="*/ 2147483647 h 206"/>
                <a:gd name="T78" fmla="*/ 2147483647 w 228"/>
                <a:gd name="T79" fmla="*/ 2147483647 h 206"/>
                <a:gd name="T80" fmla="*/ 2147483647 w 228"/>
                <a:gd name="T81" fmla="*/ 2147483647 h 206"/>
                <a:gd name="T82" fmla="*/ 2147483647 w 228"/>
                <a:gd name="T83" fmla="*/ 2147483647 h 206"/>
                <a:gd name="T84" fmla="*/ 2147483647 w 228"/>
                <a:gd name="T85" fmla="*/ 2147483647 h 206"/>
                <a:gd name="T86" fmla="*/ 2147483647 w 228"/>
                <a:gd name="T87" fmla="*/ 2147483647 h 206"/>
                <a:gd name="T88" fmla="*/ 2147483647 w 228"/>
                <a:gd name="T89" fmla="*/ 2147483647 h 206"/>
                <a:gd name="T90" fmla="*/ 2147483647 w 228"/>
                <a:gd name="T91" fmla="*/ 2147483647 h 206"/>
                <a:gd name="T92" fmla="*/ 2147483647 w 228"/>
                <a:gd name="T93" fmla="*/ 2147483647 h 206"/>
                <a:gd name="T94" fmla="*/ 2147483647 w 228"/>
                <a:gd name="T95" fmla="*/ 2147483647 h 206"/>
                <a:gd name="T96" fmla="*/ 2147483647 w 228"/>
                <a:gd name="T97" fmla="*/ 2147483647 h 206"/>
                <a:gd name="T98" fmla="*/ 2147483647 w 228"/>
                <a:gd name="T99" fmla="*/ 2147483647 h 206"/>
                <a:gd name="T100" fmla="*/ 2147483647 w 228"/>
                <a:gd name="T101" fmla="*/ 2147483647 h 206"/>
                <a:gd name="T102" fmla="*/ 2147483647 w 228"/>
                <a:gd name="T103" fmla="*/ 2147483647 h 206"/>
                <a:gd name="T104" fmla="*/ 2147483647 w 228"/>
                <a:gd name="T105" fmla="*/ 2147483647 h 206"/>
                <a:gd name="T106" fmla="*/ 2147483647 w 228"/>
                <a:gd name="T107" fmla="*/ 2147483647 h 206"/>
                <a:gd name="T108" fmla="*/ 2147483647 w 228"/>
                <a:gd name="T109" fmla="*/ 2147483647 h 206"/>
                <a:gd name="T110" fmla="*/ 2147483647 w 228"/>
                <a:gd name="T111" fmla="*/ 2147483647 h 2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8"/>
                <a:gd name="T169" fmla="*/ 0 h 206"/>
                <a:gd name="T170" fmla="*/ 228 w 228"/>
                <a:gd name="T171" fmla="*/ 206 h 2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8" h="206">
                  <a:moveTo>
                    <a:pt x="214" y="174"/>
                  </a:moveTo>
                  <a:lnTo>
                    <a:pt x="212" y="172"/>
                  </a:lnTo>
                  <a:lnTo>
                    <a:pt x="211" y="169"/>
                  </a:lnTo>
                  <a:lnTo>
                    <a:pt x="206" y="163"/>
                  </a:lnTo>
                  <a:lnTo>
                    <a:pt x="200" y="158"/>
                  </a:lnTo>
                  <a:lnTo>
                    <a:pt x="195" y="152"/>
                  </a:lnTo>
                  <a:lnTo>
                    <a:pt x="193" y="150"/>
                  </a:lnTo>
                  <a:lnTo>
                    <a:pt x="193" y="148"/>
                  </a:lnTo>
                  <a:lnTo>
                    <a:pt x="195" y="147"/>
                  </a:lnTo>
                  <a:lnTo>
                    <a:pt x="198" y="146"/>
                  </a:lnTo>
                  <a:lnTo>
                    <a:pt x="201" y="144"/>
                  </a:lnTo>
                  <a:lnTo>
                    <a:pt x="203" y="141"/>
                  </a:lnTo>
                  <a:lnTo>
                    <a:pt x="202" y="138"/>
                  </a:lnTo>
                  <a:lnTo>
                    <a:pt x="198" y="138"/>
                  </a:lnTo>
                  <a:lnTo>
                    <a:pt x="197" y="137"/>
                  </a:lnTo>
                  <a:lnTo>
                    <a:pt x="196" y="134"/>
                  </a:lnTo>
                  <a:lnTo>
                    <a:pt x="197" y="132"/>
                  </a:lnTo>
                  <a:lnTo>
                    <a:pt x="198" y="128"/>
                  </a:lnTo>
                  <a:lnTo>
                    <a:pt x="200" y="125"/>
                  </a:lnTo>
                  <a:lnTo>
                    <a:pt x="198" y="123"/>
                  </a:lnTo>
                  <a:lnTo>
                    <a:pt x="197" y="121"/>
                  </a:lnTo>
                  <a:lnTo>
                    <a:pt x="197" y="120"/>
                  </a:lnTo>
                  <a:lnTo>
                    <a:pt x="197" y="119"/>
                  </a:lnTo>
                  <a:lnTo>
                    <a:pt x="200" y="118"/>
                  </a:lnTo>
                  <a:lnTo>
                    <a:pt x="201" y="115"/>
                  </a:lnTo>
                  <a:lnTo>
                    <a:pt x="201" y="114"/>
                  </a:lnTo>
                  <a:lnTo>
                    <a:pt x="200" y="114"/>
                  </a:lnTo>
                  <a:lnTo>
                    <a:pt x="196" y="113"/>
                  </a:lnTo>
                  <a:lnTo>
                    <a:pt x="195" y="112"/>
                  </a:lnTo>
                  <a:lnTo>
                    <a:pt x="195" y="108"/>
                  </a:lnTo>
                  <a:lnTo>
                    <a:pt x="200" y="101"/>
                  </a:lnTo>
                  <a:lnTo>
                    <a:pt x="202" y="99"/>
                  </a:lnTo>
                  <a:lnTo>
                    <a:pt x="203" y="95"/>
                  </a:lnTo>
                  <a:lnTo>
                    <a:pt x="206" y="90"/>
                  </a:lnTo>
                  <a:lnTo>
                    <a:pt x="209" y="86"/>
                  </a:lnTo>
                  <a:lnTo>
                    <a:pt x="212" y="81"/>
                  </a:lnTo>
                  <a:lnTo>
                    <a:pt x="215" y="81"/>
                  </a:lnTo>
                  <a:lnTo>
                    <a:pt x="217" y="80"/>
                  </a:lnTo>
                  <a:lnTo>
                    <a:pt x="220" y="78"/>
                  </a:lnTo>
                  <a:lnTo>
                    <a:pt x="220" y="71"/>
                  </a:lnTo>
                  <a:lnTo>
                    <a:pt x="222" y="65"/>
                  </a:lnTo>
                  <a:lnTo>
                    <a:pt x="225" y="59"/>
                  </a:lnTo>
                  <a:lnTo>
                    <a:pt x="228" y="52"/>
                  </a:lnTo>
                  <a:lnTo>
                    <a:pt x="217" y="54"/>
                  </a:lnTo>
                  <a:lnTo>
                    <a:pt x="214" y="52"/>
                  </a:lnTo>
                  <a:lnTo>
                    <a:pt x="209" y="51"/>
                  </a:lnTo>
                  <a:lnTo>
                    <a:pt x="200" y="48"/>
                  </a:lnTo>
                  <a:lnTo>
                    <a:pt x="191" y="45"/>
                  </a:lnTo>
                  <a:lnTo>
                    <a:pt x="184" y="43"/>
                  </a:lnTo>
                  <a:lnTo>
                    <a:pt x="179" y="38"/>
                  </a:lnTo>
                  <a:lnTo>
                    <a:pt x="178" y="37"/>
                  </a:lnTo>
                  <a:lnTo>
                    <a:pt x="173" y="33"/>
                  </a:lnTo>
                  <a:lnTo>
                    <a:pt x="167" y="31"/>
                  </a:lnTo>
                  <a:lnTo>
                    <a:pt x="154" y="27"/>
                  </a:lnTo>
                  <a:lnTo>
                    <a:pt x="151" y="25"/>
                  </a:lnTo>
                  <a:lnTo>
                    <a:pt x="149" y="23"/>
                  </a:lnTo>
                  <a:lnTo>
                    <a:pt x="146" y="19"/>
                  </a:lnTo>
                  <a:lnTo>
                    <a:pt x="144" y="18"/>
                  </a:lnTo>
                  <a:lnTo>
                    <a:pt x="137" y="16"/>
                  </a:lnTo>
                  <a:lnTo>
                    <a:pt x="132" y="11"/>
                  </a:lnTo>
                  <a:lnTo>
                    <a:pt x="129" y="6"/>
                  </a:lnTo>
                  <a:lnTo>
                    <a:pt x="127" y="0"/>
                  </a:lnTo>
                  <a:lnTo>
                    <a:pt x="118" y="4"/>
                  </a:lnTo>
                  <a:lnTo>
                    <a:pt x="115" y="7"/>
                  </a:lnTo>
                  <a:lnTo>
                    <a:pt x="113" y="10"/>
                  </a:lnTo>
                  <a:lnTo>
                    <a:pt x="112" y="12"/>
                  </a:lnTo>
                  <a:lnTo>
                    <a:pt x="112" y="16"/>
                  </a:lnTo>
                  <a:lnTo>
                    <a:pt x="111" y="20"/>
                  </a:lnTo>
                  <a:lnTo>
                    <a:pt x="106" y="27"/>
                  </a:lnTo>
                  <a:lnTo>
                    <a:pt x="99" y="33"/>
                  </a:lnTo>
                  <a:lnTo>
                    <a:pt x="90" y="38"/>
                  </a:lnTo>
                  <a:lnTo>
                    <a:pt x="89" y="39"/>
                  </a:lnTo>
                  <a:lnTo>
                    <a:pt x="89" y="41"/>
                  </a:lnTo>
                  <a:lnTo>
                    <a:pt x="89" y="42"/>
                  </a:lnTo>
                  <a:lnTo>
                    <a:pt x="88" y="43"/>
                  </a:lnTo>
                  <a:lnTo>
                    <a:pt x="80" y="45"/>
                  </a:lnTo>
                  <a:lnTo>
                    <a:pt x="74" y="45"/>
                  </a:lnTo>
                  <a:lnTo>
                    <a:pt x="70" y="44"/>
                  </a:lnTo>
                  <a:lnTo>
                    <a:pt x="68" y="42"/>
                  </a:lnTo>
                  <a:lnTo>
                    <a:pt x="65" y="39"/>
                  </a:lnTo>
                  <a:lnTo>
                    <a:pt x="62" y="37"/>
                  </a:lnTo>
                  <a:lnTo>
                    <a:pt x="60" y="36"/>
                  </a:lnTo>
                  <a:lnTo>
                    <a:pt x="57" y="35"/>
                  </a:lnTo>
                  <a:lnTo>
                    <a:pt x="54" y="35"/>
                  </a:lnTo>
                  <a:lnTo>
                    <a:pt x="52" y="36"/>
                  </a:lnTo>
                  <a:lnTo>
                    <a:pt x="54" y="43"/>
                  </a:lnTo>
                  <a:lnTo>
                    <a:pt x="56" y="49"/>
                  </a:lnTo>
                  <a:lnTo>
                    <a:pt x="56" y="56"/>
                  </a:lnTo>
                  <a:lnTo>
                    <a:pt x="56" y="59"/>
                  </a:lnTo>
                  <a:lnTo>
                    <a:pt x="54" y="62"/>
                  </a:lnTo>
                  <a:lnTo>
                    <a:pt x="50" y="64"/>
                  </a:lnTo>
                  <a:lnTo>
                    <a:pt x="47" y="65"/>
                  </a:lnTo>
                  <a:lnTo>
                    <a:pt x="45" y="67"/>
                  </a:lnTo>
                  <a:lnTo>
                    <a:pt x="37" y="61"/>
                  </a:lnTo>
                  <a:lnTo>
                    <a:pt x="32" y="59"/>
                  </a:lnTo>
                  <a:lnTo>
                    <a:pt x="27" y="61"/>
                  </a:lnTo>
                  <a:lnTo>
                    <a:pt x="26" y="61"/>
                  </a:lnTo>
                  <a:lnTo>
                    <a:pt x="24" y="59"/>
                  </a:lnTo>
                  <a:lnTo>
                    <a:pt x="22" y="58"/>
                  </a:lnTo>
                  <a:lnTo>
                    <a:pt x="21" y="58"/>
                  </a:lnTo>
                  <a:lnTo>
                    <a:pt x="16" y="61"/>
                  </a:lnTo>
                  <a:lnTo>
                    <a:pt x="12" y="62"/>
                  </a:lnTo>
                  <a:lnTo>
                    <a:pt x="2" y="62"/>
                  </a:lnTo>
                  <a:lnTo>
                    <a:pt x="0" y="63"/>
                  </a:lnTo>
                  <a:lnTo>
                    <a:pt x="0" y="65"/>
                  </a:lnTo>
                  <a:lnTo>
                    <a:pt x="2" y="67"/>
                  </a:lnTo>
                  <a:lnTo>
                    <a:pt x="3" y="69"/>
                  </a:lnTo>
                  <a:lnTo>
                    <a:pt x="4" y="70"/>
                  </a:lnTo>
                  <a:lnTo>
                    <a:pt x="5" y="71"/>
                  </a:lnTo>
                  <a:lnTo>
                    <a:pt x="5" y="76"/>
                  </a:lnTo>
                  <a:lnTo>
                    <a:pt x="5" y="80"/>
                  </a:lnTo>
                  <a:lnTo>
                    <a:pt x="7" y="81"/>
                  </a:lnTo>
                  <a:lnTo>
                    <a:pt x="8" y="82"/>
                  </a:lnTo>
                  <a:lnTo>
                    <a:pt x="13" y="84"/>
                  </a:lnTo>
                  <a:lnTo>
                    <a:pt x="18" y="84"/>
                  </a:lnTo>
                  <a:lnTo>
                    <a:pt x="23" y="84"/>
                  </a:lnTo>
                  <a:lnTo>
                    <a:pt x="27" y="86"/>
                  </a:lnTo>
                  <a:lnTo>
                    <a:pt x="40" y="91"/>
                  </a:lnTo>
                  <a:lnTo>
                    <a:pt x="43" y="95"/>
                  </a:lnTo>
                  <a:lnTo>
                    <a:pt x="46" y="100"/>
                  </a:lnTo>
                  <a:lnTo>
                    <a:pt x="47" y="105"/>
                  </a:lnTo>
                  <a:lnTo>
                    <a:pt x="47" y="110"/>
                  </a:lnTo>
                  <a:lnTo>
                    <a:pt x="54" y="114"/>
                  </a:lnTo>
                  <a:lnTo>
                    <a:pt x="59" y="116"/>
                  </a:lnTo>
                  <a:lnTo>
                    <a:pt x="60" y="119"/>
                  </a:lnTo>
                  <a:lnTo>
                    <a:pt x="61" y="121"/>
                  </a:lnTo>
                  <a:lnTo>
                    <a:pt x="62" y="123"/>
                  </a:lnTo>
                  <a:lnTo>
                    <a:pt x="61" y="128"/>
                  </a:lnTo>
                  <a:lnTo>
                    <a:pt x="62" y="129"/>
                  </a:lnTo>
                  <a:lnTo>
                    <a:pt x="64" y="132"/>
                  </a:lnTo>
                  <a:lnTo>
                    <a:pt x="68" y="135"/>
                  </a:lnTo>
                  <a:lnTo>
                    <a:pt x="71" y="139"/>
                  </a:lnTo>
                  <a:lnTo>
                    <a:pt x="73" y="141"/>
                  </a:lnTo>
                  <a:lnTo>
                    <a:pt x="71" y="145"/>
                  </a:lnTo>
                  <a:lnTo>
                    <a:pt x="69" y="142"/>
                  </a:lnTo>
                  <a:lnTo>
                    <a:pt x="66" y="140"/>
                  </a:lnTo>
                  <a:lnTo>
                    <a:pt x="65" y="139"/>
                  </a:lnTo>
                  <a:lnTo>
                    <a:pt x="62" y="140"/>
                  </a:lnTo>
                  <a:lnTo>
                    <a:pt x="61" y="140"/>
                  </a:lnTo>
                  <a:lnTo>
                    <a:pt x="61" y="142"/>
                  </a:lnTo>
                  <a:lnTo>
                    <a:pt x="62" y="154"/>
                  </a:lnTo>
                  <a:lnTo>
                    <a:pt x="60" y="166"/>
                  </a:lnTo>
                  <a:lnTo>
                    <a:pt x="56" y="177"/>
                  </a:lnTo>
                  <a:lnTo>
                    <a:pt x="54" y="180"/>
                  </a:lnTo>
                  <a:lnTo>
                    <a:pt x="51" y="183"/>
                  </a:lnTo>
                  <a:lnTo>
                    <a:pt x="51" y="186"/>
                  </a:lnTo>
                  <a:lnTo>
                    <a:pt x="51" y="189"/>
                  </a:lnTo>
                  <a:lnTo>
                    <a:pt x="66" y="196"/>
                  </a:lnTo>
                  <a:lnTo>
                    <a:pt x="80" y="202"/>
                  </a:lnTo>
                  <a:lnTo>
                    <a:pt x="96" y="204"/>
                  </a:lnTo>
                  <a:lnTo>
                    <a:pt x="112" y="206"/>
                  </a:lnTo>
                  <a:lnTo>
                    <a:pt x="118" y="205"/>
                  </a:lnTo>
                  <a:lnTo>
                    <a:pt x="126" y="204"/>
                  </a:lnTo>
                  <a:lnTo>
                    <a:pt x="139" y="197"/>
                  </a:lnTo>
                  <a:lnTo>
                    <a:pt x="139" y="192"/>
                  </a:lnTo>
                  <a:lnTo>
                    <a:pt x="140" y="191"/>
                  </a:lnTo>
                  <a:lnTo>
                    <a:pt x="141" y="189"/>
                  </a:lnTo>
                  <a:lnTo>
                    <a:pt x="146" y="186"/>
                  </a:lnTo>
                  <a:lnTo>
                    <a:pt x="151" y="184"/>
                  </a:lnTo>
                  <a:lnTo>
                    <a:pt x="156" y="184"/>
                  </a:lnTo>
                  <a:lnTo>
                    <a:pt x="162" y="184"/>
                  </a:lnTo>
                  <a:lnTo>
                    <a:pt x="173" y="186"/>
                  </a:lnTo>
                  <a:lnTo>
                    <a:pt x="183" y="190"/>
                  </a:lnTo>
                  <a:lnTo>
                    <a:pt x="186" y="191"/>
                  </a:lnTo>
                  <a:lnTo>
                    <a:pt x="187" y="190"/>
                  </a:lnTo>
                  <a:lnTo>
                    <a:pt x="200" y="184"/>
                  </a:lnTo>
                  <a:lnTo>
                    <a:pt x="211" y="177"/>
                  </a:lnTo>
                  <a:lnTo>
                    <a:pt x="214" y="17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3" name="Freeform 1212"/>
            <p:cNvSpPr>
              <a:spLocks/>
            </p:cNvSpPr>
            <p:nvPr/>
          </p:nvSpPr>
          <p:spPr bwMode="auto">
            <a:xfrm>
              <a:off x="4483100" y="2751137"/>
              <a:ext cx="19050" cy="30162"/>
            </a:xfrm>
            <a:custGeom>
              <a:avLst/>
              <a:gdLst>
                <a:gd name="T0" fmla="*/ 2147483647 w 13"/>
                <a:gd name="T1" fmla="*/ 0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0 w 13"/>
                <a:gd name="T13" fmla="*/ 2147483647 h 19"/>
                <a:gd name="T14" fmla="*/ 2147483647 w 13"/>
                <a:gd name="T15" fmla="*/ 2147483647 h 19"/>
                <a:gd name="T16" fmla="*/ 2147483647 w 1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9"/>
                <a:gd name="T29" fmla="*/ 13 w 1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9">
                  <a:moveTo>
                    <a:pt x="8" y="0"/>
                  </a:moveTo>
                  <a:lnTo>
                    <a:pt x="10" y="4"/>
                  </a:lnTo>
                  <a:lnTo>
                    <a:pt x="11" y="9"/>
                  </a:lnTo>
                  <a:lnTo>
                    <a:pt x="13" y="19"/>
                  </a:lnTo>
                  <a:lnTo>
                    <a:pt x="6" y="17"/>
                  </a:lnTo>
                  <a:lnTo>
                    <a:pt x="1" y="12"/>
                  </a:lnTo>
                  <a:lnTo>
                    <a:pt x="0" y="11"/>
                  </a:lnTo>
                  <a:lnTo>
                    <a:pt x="4" y="5"/>
                  </a:lnTo>
                  <a:lnTo>
                    <a:pt x="8"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4" name="Freeform 1213"/>
            <p:cNvSpPr>
              <a:spLocks/>
            </p:cNvSpPr>
            <p:nvPr/>
          </p:nvSpPr>
          <p:spPr bwMode="auto">
            <a:xfrm>
              <a:off x="4219576" y="2708276"/>
              <a:ext cx="333375" cy="327025"/>
            </a:xfrm>
            <a:custGeom>
              <a:avLst/>
              <a:gdLst>
                <a:gd name="T0" fmla="*/ 2147483647 w 227"/>
                <a:gd name="T1" fmla="*/ 2147483647 h 206"/>
                <a:gd name="T2" fmla="*/ 2147483647 w 227"/>
                <a:gd name="T3" fmla="*/ 2147483647 h 206"/>
                <a:gd name="T4" fmla="*/ 2147483647 w 227"/>
                <a:gd name="T5" fmla="*/ 2147483647 h 206"/>
                <a:gd name="T6" fmla="*/ 2147483647 w 227"/>
                <a:gd name="T7" fmla="*/ 2147483647 h 206"/>
                <a:gd name="T8" fmla="*/ 2147483647 w 227"/>
                <a:gd name="T9" fmla="*/ 2147483647 h 206"/>
                <a:gd name="T10" fmla="*/ 2147483647 w 227"/>
                <a:gd name="T11" fmla="*/ 2147483647 h 206"/>
                <a:gd name="T12" fmla="*/ 2147483647 w 227"/>
                <a:gd name="T13" fmla="*/ 2147483647 h 206"/>
                <a:gd name="T14" fmla="*/ 2147483647 w 227"/>
                <a:gd name="T15" fmla="*/ 2147483647 h 206"/>
                <a:gd name="T16" fmla="*/ 2147483647 w 227"/>
                <a:gd name="T17" fmla="*/ 2147483647 h 206"/>
                <a:gd name="T18" fmla="*/ 2147483647 w 227"/>
                <a:gd name="T19" fmla="*/ 2147483647 h 206"/>
                <a:gd name="T20" fmla="*/ 2147483647 w 227"/>
                <a:gd name="T21" fmla="*/ 2147483647 h 206"/>
                <a:gd name="T22" fmla="*/ 2147483647 w 227"/>
                <a:gd name="T23" fmla="*/ 2147483647 h 206"/>
                <a:gd name="T24" fmla="*/ 2147483647 w 227"/>
                <a:gd name="T25" fmla="*/ 2147483647 h 206"/>
                <a:gd name="T26" fmla="*/ 2147483647 w 227"/>
                <a:gd name="T27" fmla="*/ 2147483647 h 206"/>
                <a:gd name="T28" fmla="*/ 2147483647 w 227"/>
                <a:gd name="T29" fmla="*/ 2147483647 h 206"/>
                <a:gd name="T30" fmla="*/ 2147483647 w 227"/>
                <a:gd name="T31" fmla="*/ 2147483647 h 206"/>
                <a:gd name="T32" fmla="*/ 2147483647 w 227"/>
                <a:gd name="T33" fmla="*/ 2147483647 h 206"/>
                <a:gd name="T34" fmla="*/ 2147483647 w 227"/>
                <a:gd name="T35" fmla="*/ 2147483647 h 206"/>
                <a:gd name="T36" fmla="*/ 2147483647 w 227"/>
                <a:gd name="T37" fmla="*/ 2147483647 h 206"/>
                <a:gd name="T38" fmla="*/ 2147483647 w 227"/>
                <a:gd name="T39" fmla="*/ 0 h 206"/>
                <a:gd name="T40" fmla="*/ 2147483647 w 227"/>
                <a:gd name="T41" fmla="*/ 2147483647 h 206"/>
                <a:gd name="T42" fmla="*/ 2147483647 w 227"/>
                <a:gd name="T43" fmla="*/ 2147483647 h 206"/>
                <a:gd name="T44" fmla="*/ 2147483647 w 227"/>
                <a:gd name="T45" fmla="*/ 2147483647 h 206"/>
                <a:gd name="T46" fmla="*/ 2147483647 w 227"/>
                <a:gd name="T47" fmla="*/ 2147483647 h 206"/>
                <a:gd name="T48" fmla="*/ 2147483647 w 227"/>
                <a:gd name="T49" fmla="*/ 2147483647 h 206"/>
                <a:gd name="T50" fmla="*/ 2147483647 w 227"/>
                <a:gd name="T51" fmla="*/ 2147483647 h 206"/>
                <a:gd name="T52" fmla="*/ 2147483647 w 227"/>
                <a:gd name="T53" fmla="*/ 2147483647 h 206"/>
                <a:gd name="T54" fmla="*/ 2147483647 w 227"/>
                <a:gd name="T55" fmla="*/ 2147483647 h 206"/>
                <a:gd name="T56" fmla="*/ 2147483647 w 227"/>
                <a:gd name="T57" fmla="*/ 2147483647 h 206"/>
                <a:gd name="T58" fmla="*/ 2147483647 w 227"/>
                <a:gd name="T59" fmla="*/ 2147483647 h 206"/>
                <a:gd name="T60" fmla="*/ 2147483647 w 227"/>
                <a:gd name="T61" fmla="*/ 2147483647 h 206"/>
                <a:gd name="T62" fmla="*/ 2147483647 w 227"/>
                <a:gd name="T63" fmla="*/ 2147483647 h 206"/>
                <a:gd name="T64" fmla="*/ 2147483647 w 227"/>
                <a:gd name="T65" fmla="*/ 2147483647 h 206"/>
                <a:gd name="T66" fmla="*/ 0 w 227"/>
                <a:gd name="T67" fmla="*/ 2147483647 h 206"/>
                <a:gd name="T68" fmla="*/ 2147483647 w 227"/>
                <a:gd name="T69" fmla="*/ 2147483647 h 206"/>
                <a:gd name="T70" fmla="*/ 2147483647 w 227"/>
                <a:gd name="T71" fmla="*/ 2147483647 h 206"/>
                <a:gd name="T72" fmla="*/ 2147483647 w 227"/>
                <a:gd name="T73" fmla="*/ 2147483647 h 206"/>
                <a:gd name="T74" fmla="*/ 2147483647 w 227"/>
                <a:gd name="T75" fmla="*/ 2147483647 h 206"/>
                <a:gd name="T76" fmla="*/ 2147483647 w 227"/>
                <a:gd name="T77" fmla="*/ 2147483647 h 206"/>
                <a:gd name="T78" fmla="*/ 2147483647 w 227"/>
                <a:gd name="T79" fmla="*/ 2147483647 h 206"/>
                <a:gd name="T80" fmla="*/ 2147483647 w 227"/>
                <a:gd name="T81" fmla="*/ 2147483647 h 206"/>
                <a:gd name="T82" fmla="*/ 2147483647 w 227"/>
                <a:gd name="T83" fmla="*/ 2147483647 h 206"/>
                <a:gd name="T84" fmla="*/ 2147483647 w 227"/>
                <a:gd name="T85" fmla="*/ 2147483647 h 206"/>
                <a:gd name="T86" fmla="*/ 2147483647 w 227"/>
                <a:gd name="T87" fmla="*/ 2147483647 h 206"/>
                <a:gd name="T88" fmla="*/ 2147483647 w 227"/>
                <a:gd name="T89" fmla="*/ 2147483647 h 206"/>
                <a:gd name="T90" fmla="*/ 2147483647 w 227"/>
                <a:gd name="T91" fmla="*/ 2147483647 h 206"/>
                <a:gd name="T92" fmla="*/ 2147483647 w 227"/>
                <a:gd name="T93" fmla="*/ 2147483647 h 206"/>
                <a:gd name="T94" fmla="*/ 2147483647 w 227"/>
                <a:gd name="T95" fmla="*/ 2147483647 h 206"/>
                <a:gd name="T96" fmla="*/ 2147483647 w 227"/>
                <a:gd name="T97" fmla="*/ 2147483647 h 206"/>
                <a:gd name="T98" fmla="*/ 2147483647 w 227"/>
                <a:gd name="T99" fmla="*/ 2147483647 h 206"/>
                <a:gd name="T100" fmla="*/ 2147483647 w 227"/>
                <a:gd name="T101" fmla="*/ 2147483647 h 206"/>
                <a:gd name="T102" fmla="*/ 2147483647 w 227"/>
                <a:gd name="T103" fmla="*/ 2147483647 h 206"/>
                <a:gd name="T104" fmla="*/ 2147483647 w 227"/>
                <a:gd name="T105" fmla="*/ 2147483647 h 206"/>
                <a:gd name="T106" fmla="*/ 2147483647 w 227"/>
                <a:gd name="T107" fmla="*/ 2147483647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7"/>
                <a:gd name="T163" fmla="*/ 0 h 206"/>
                <a:gd name="T164" fmla="*/ 227 w 227"/>
                <a:gd name="T165" fmla="*/ 206 h 20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7" h="206">
                  <a:moveTo>
                    <a:pt x="213" y="174"/>
                  </a:moveTo>
                  <a:lnTo>
                    <a:pt x="213" y="174"/>
                  </a:lnTo>
                  <a:lnTo>
                    <a:pt x="212" y="172"/>
                  </a:lnTo>
                  <a:lnTo>
                    <a:pt x="211" y="168"/>
                  </a:lnTo>
                  <a:lnTo>
                    <a:pt x="206" y="162"/>
                  </a:lnTo>
                  <a:lnTo>
                    <a:pt x="199" y="158"/>
                  </a:lnTo>
                  <a:lnTo>
                    <a:pt x="194" y="152"/>
                  </a:lnTo>
                  <a:lnTo>
                    <a:pt x="193" y="149"/>
                  </a:lnTo>
                  <a:lnTo>
                    <a:pt x="193" y="148"/>
                  </a:lnTo>
                  <a:lnTo>
                    <a:pt x="194" y="147"/>
                  </a:lnTo>
                  <a:lnTo>
                    <a:pt x="198" y="146"/>
                  </a:lnTo>
                  <a:lnTo>
                    <a:pt x="201" y="143"/>
                  </a:lnTo>
                  <a:lnTo>
                    <a:pt x="203" y="141"/>
                  </a:lnTo>
                  <a:lnTo>
                    <a:pt x="202" y="138"/>
                  </a:lnTo>
                  <a:lnTo>
                    <a:pt x="198" y="138"/>
                  </a:lnTo>
                  <a:lnTo>
                    <a:pt x="197" y="136"/>
                  </a:lnTo>
                  <a:lnTo>
                    <a:pt x="196" y="134"/>
                  </a:lnTo>
                  <a:lnTo>
                    <a:pt x="197" y="132"/>
                  </a:lnTo>
                  <a:lnTo>
                    <a:pt x="198" y="128"/>
                  </a:lnTo>
                  <a:lnTo>
                    <a:pt x="199" y="124"/>
                  </a:lnTo>
                  <a:lnTo>
                    <a:pt x="198" y="123"/>
                  </a:lnTo>
                  <a:lnTo>
                    <a:pt x="197" y="121"/>
                  </a:lnTo>
                  <a:lnTo>
                    <a:pt x="197" y="120"/>
                  </a:lnTo>
                  <a:lnTo>
                    <a:pt x="197" y="119"/>
                  </a:lnTo>
                  <a:lnTo>
                    <a:pt x="199" y="117"/>
                  </a:lnTo>
                  <a:lnTo>
                    <a:pt x="201" y="115"/>
                  </a:lnTo>
                  <a:lnTo>
                    <a:pt x="201" y="114"/>
                  </a:lnTo>
                  <a:lnTo>
                    <a:pt x="199" y="114"/>
                  </a:lnTo>
                  <a:lnTo>
                    <a:pt x="196" y="113"/>
                  </a:lnTo>
                  <a:lnTo>
                    <a:pt x="194" y="111"/>
                  </a:lnTo>
                  <a:lnTo>
                    <a:pt x="194" y="108"/>
                  </a:lnTo>
                  <a:lnTo>
                    <a:pt x="199" y="101"/>
                  </a:lnTo>
                  <a:lnTo>
                    <a:pt x="202" y="98"/>
                  </a:lnTo>
                  <a:lnTo>
                    <a:pt x="203" y="95"/>
                  </a:lnTo>
                  <a:lnTo>
                    <a:pt x="206" y="90"/>
                  </a:lnTo>
                  <a:lnTo>
                    <a:pt x="208" y="85"/>
                  </a:lnTo>
                  <a:lnTo>
                    <a:pt x="212" y="81"/>
                  </a:lnTo>
                  <a:lnTo>
                    <a:pt x="215" y="81"/>
                  </a:lnTo>
                  <a:lnTo>
                    <a:pt x="217" y="79"/>
                  </a:lnTo>
                  <a:lnTo>
                    <a:pt x="220" y="78"/>
                  </a:lnTo>
                  <a:lnTo>
                    <a:pt x="220" y="71"/>
                  </a:lnTo>
                  <a:lnTo>
                    <a:pt x="222" y="65"/>
                  </a:lnTo>
                  <a:lnTo>
                    <a:pt x="225" y="59"/>
                  </a:lnTo>
                  <a:lnTo>
                    <a:pt x="227" y="52"/>
                  </a:lnTo>
                  <a:lnTo>
                    <a:pt x="217" y="53"/>
                  </a:lnTo>
                  <a:lnTo>
                    <a:pt x="213" y="52"/>
                  </a:lnTo>
                  <a:lnTo>
                    <a:pt x="208" y="51"/>
                  </a:lnTo>
                  <a:lnTo>
                    <a:pt x="199" y="47"/>
                  </a:lnTo>
                  <a:lnTo>
                    <a:pt x="190" y="45"/>
                  </a:lnTo>
                  <a:lnTo>
                    <a:pt x="184" y="43"/>
                  </a:lnTo>
                  <a:lnTo>
                    <a:pt x="179" y="38"/>
                  </a:lnTo>
                  <a:lnTo>
                    <a:pt x="178" y="37"/>
                  </a:lnTo>
                  <a:lnTo>
                    <a:pt x="173" y="33"/>
                  </a:lnTo>
                  <a:lnTo>
                    <a:pt x="166" y="31"/>
                  </a:lnTo>
                  <a:lnTo>
                    <a:pt x="154" y="27"/>
                  </a:lnTo>
                  <a:lnTo>
                    <a:pt x="151" y="25"/>
                  </a:lnTo>
                  <a:lnTo>
                    <a:pt x="149" y="23"/>
                  </a:lnTo>
                  <a:lnTo>
                    <a:pt x="146" y="19"/>
                  </a:lnTo>
                  <a:lnTo>
                    <a:pt x="143" y="18"/>
                  </a:lnTo>
                  <a:lnTo>
                    <a:pt x="137" y="15"/>
                  </a:lnTo>
                  <a:lnTo>
                    <a:pt x="132" y="11"/>
                  </a:lnTo>
                  <a:lnTo>
                    <a:pt x="128" y="6"/>
                  </a:lnTo>
                  <a:lnTo>
                    <a:pt x="127" y="0"/>
                  </a:lnTo>
                  <a:lnTo>
                    <a:pt x="118" y="4"/>
                  </a:lnTo>
                  <a:lnTo>
                    <a:pt x="114" y="7"/>
                  </a:lnTo>
                  <a:lnTo>
                    <a:pt x="113" y="9"/>
                  </a:lnTo>
                  <a:lnTo>
                    <a:pt x="112" y="12"/>
                  </a:lnTo>
                  <a:lnTo>
                    <a:pt x="112" y="15"/>
                  </a:lnTo>
                  <a:lnTo>
                    <a:pt x="110" y="20"/>
                  </a:lnTo>
                  <a:lnTo>
                    <a:pt x="105" y="27"/>
                  </a:lnTo>
                  <a:lnTo>
                    <a:pt x="99" y="33"/>
                  </a:lnTo>
                  <a:lnTo>
                    <a:pt x="90" y="38"/>
                  </a:lnTo>
                  <a:lnTo>
                    <a:pt x="89" y="39"/>
                  </a:lnTo>
                  <a:lnTo>
                    <a:pt x="89" y="40"/>
                  </a:lnTo>
                  <a:lnTo>
                    <a:pt x="89" y="42"/>
                  </a:lnTo>
                  <a:lnTo>
                    <a:pt x="88" y="43"/>
                  </a:lnTo>
                  <a:lnTo>
                    <a:pt x="80" y="45"/>
                  </a:lnTo>
                  <a:lnTo>
                    <a:pt x="74" y="45"/>
                  </a:lnTo>
                  <a:lnTo>
                    <a:pt x="70" y="44"/>
                  </a:lnTo>
                  <a:lnTo>
                    <a:pt x="67" y="42"/>
                  </a:lnTo>
                  <a:lnTo>
                    <a:pt x="65" y="39"/>
                  </a:lnTo>
                  <a:lnTo>
                    <a:pt x="62" y="37"/>
                  </a:lnTo>
                  <a:lnTo>
                    <a:pt x="60" y="36"/>
                  </a:lnTo>
                  <a:lnTo>
                    <a:pt x="57" y="34"/>
                  </a:lnTo>
                  <a:lnTo>
                    <a:pt x="53" y="34"/>
                  </a:lnTo>
                  <a:lnTo>
                    <a:pt x="52" y="36"/>
                  </a:lnTo>
                  <a:lnTo>
                    <a:pt x="53" y="43"/>
                  </a:lnTo>
                  <a:lnTo>
                    <a:pt x="56" y="49"/>
                  </a:lnTo>
                  <a:lnTo>
                    <a:pt x="56" y="56"/>
                  </a:lnTo>
                  <a:lnTo>
                    <a:pt x="56" y="59"/>
                  </a:lnTo>
                  <a:lnTo>
                    <a:pt x="53" y="62"/>
                  </a:lnTo>
                  <a:lnTo>
                    <a:pt x="50" y="64"/>
                  </a:lnTo>
                  <a:lnTo>
                    <a:pt x="47" y="65"/>
                  </a:lnTo>
                  <a:lnTo>
                    <a:pt x="44" y="66"/>
                  </a:lnTo>
                  <a:lnTo>
                    <a:pt x="37" y="60"/>
                  </a:lnTo>
                  <a:lnTo>
                    <a:pt x="32" y="59"/>
                  </a:lnTo>
                  <a:lnTo>
                    <a:pt x="27" y="60"/>
                  </a:lnTo>
                  <a:lnTo>
                    <a:pt x="25" y="60"/>
                  </a:lnTo>
                  <a:lnTo>
                    <a:pt x="24" y="59"/>
                  </a:lnTo>
                  <a:lnTo>
                    <a:pt x="22" y="58"/>
                  </a:lnTo>
                  <a:lnTo>
                    <a:pt x="20" y="58"/>
                  </a:lnTo>
                  <a:lnTo>
                    <a:pt x="15" y="60"/>
                  </a:lnTo>
                  <a:lnTo>
                    <a:pt x="11" y="62"/>
                  </a:lnTo>
                  <a:lnTo>
                    <a:pt x="1" y="62"/>
                  </a:lnTo>
                  <a:lnTo>
                    <a:pt x="0" y="63"/>
                  </a:lnTo>
                  <a:lnTo>
                    <a:pt x="0" y="65"/>
                  </a:lnTo>
                  <a:lnTo>
                    <a:pt x="1" y="66"/>
                  </a:lnTo>
                  <a:lnTo>
                    <a:pt x="3" y="69"/>
                  </a:lnTo>
                  <a:lnTo>
                    <a:pt x="4" y="70"/>
                  </a:lnTo>
                  <a:lnTo>
                    <a:pt x="5" y="71"/>
                  </a:lnTo>
                  <a:lnTo>
                    <a:pt x="5" y="76"/>
                  </a:lnTo>
                  <a:lnTo>
                    <a:pt x="5" y="79"/>
                  </a:lnTo>
                  <a:lnTo>
                    <a:pt x="6" y="81"/>
                  </a:lnTo>
                  <a:lnTo>
                    <a:pt x="8" y="82"/>
                  </a:lnTo>
                  <a:lnTo>
                    <a:pt x="13" y="84"/>
                  </a:lnTo>
                  <a:lnTo>
                    <a:pt x="18" y="84"/>
                  </a:lnTo>
                  <a:lnTo>
                    <a:pt x="23" y="84"/>
                  </a:lnTo>
                  <a:lnTo>
                    <a:pt x="27" y="85"/>
                  </a:lnTo>
                  <a:lnTo>
                    <a:pt x="39" y="91"/>
                  </a:lnTo>
                  <a:lnTo>
                    <a:pt x="43" y="95"/>
                  </a:lnTo>
                  <a:lnTo>
                    <a:pt x="46" y="100"/>
                  </a:lnTo>
                  <a:lnTo>
                    <a:pt x="47" y="104"/>
                  </a:lnTo>
                  <a:lnTo>
                    <a:pt x="47" y="110"/>
                  </a:lnTo>
                  <a:lnTo>
                    <a:pt x="53" y="114"/>
                  </a:lnTo>
                  <a:lnTo>
                    <a:pt x="58" y="116"/>
                  </a:lnTo>
                  <a:lnTo>
                    <a:pt x="60" y="119"/>
                  </a:lnTo>
                  <a:lnTo>
                    <a:pt x="61" y="121"/>
                  </a:lnTo>
                  <a:lnTo>
                    <a:pt x="62" y="123"/>
                  </a:lnTo>
                  <a:lnTo>
                    <a:pt x="61" y="128"/>
                  </a:lnTo>
                  <a:lnTo>
                    <a:pt x="62" y="129"/>
                  </a:lnTo>
                  <a:lnTo>
                    <a:pt x="63" y="132"/>
                  </a:lnTo>
                  <a:lnTo>
                    <a:pt x="67" y="135"/>
                  </a:lnTo>
                  <a:lnTo>
                    <a:pt x="71" y="139"/>
                  </a:lnTo>
                  <a:lnTo>
                    <a:pt x="72" y="141"/>
                  </a:lnTo>
                  <a:lnTo>
                    <a:pt x="71" y="145"/>
                  </a:lnTo>
                  <a:lnTo>
                    <a:pt x="69" y="142"/>
                  </a:lnTo>
                  <a:lnTo>
                    <a:pt x="66" y="140"/>
                  </a:lnTo>
                  <a:lnTo>
                    <a:pt x="65" y="139"/>
                  </a:lnTo>
                  <a:lnTo>
                    <a:pt x="62" y="140"/>
                  </a:lnTo>
                  <a:lnTo>
                    <a:pt x="61" y="140"/>
                  </a:lnTo>
                  <a:lnTo>
                    <a:pt x="61" y="142"/>
                  </a:lnTo>
                  <a:lnTo>
                    <a:pt x="62" y="154"/>
                  </a:lnTo>
                  <a:lnTo>
                    <a:pt x="60" y="166"/>
                  </a:lnTo>
                  <a:lnTo>
                    <a:pt x="56" y="177"/>
                  </a:lnTo>
                  <a:lnTo>
                    <a:pt x="53" y="180"/>
                  </a:lnTo>
                  <a:lnTo>
                    <a:pt x="51" y="183"/>
                  </a:lnTo>
                  <a:lnTo>
                    <a:pt x="51" y="186"/>
                  </a:lnTo>
                  <a:lnTo>
                    <a:pt x="51" y="189"/>
                  </a:lnTo>
                  <a:lnTo>
                    <a:pt x="66" y="196"/>
                  </a:lnTo>
                  <a:lnTo>
                    <a:pt x="80" y="202"/>
                  </a:lnTo>
                  <a:lnTo>
                    <a:pt x="95" y="204"/>
                  </a:lnTo>
                  <a:lnTo>
                    <a:pt x="112" y="206"/>
                  </a:lnTo>
                  <a:lnTo>
                    <a:pt x="118" y="205"/>
                  </a:lnTo>
                  <a:lnTo>
                    <a:pt x="126" y="204"/>
                  </a:lnTo>
                  <a:lnTo>
                    <a:pt x="138" y="197"/>
                  </a:lnTo>
                  <a:lnTo>
                    <a:pt x="138" y="192"/>
                  </a:lnTo>
                  <a:lnTo>
                    <a:pt x="140" y="191"/>
                  </a:lnTo>
                  <a:lnTo>
                    <a:pt x="141" y="189"/>
                  </a:lnTo>
                  <a:lnTo>
                    <a:pt x="146" y="186"/>
                  </a:lnTo>
                  <a:lnTo>
                    <a:pt x="151" y="184"/>
                  </a:lnTo>
                  <a:lnTo>
                    <a:pt x="156" y="184"/>
                  </a:lnTo>
                  <a:lnTo>
                    <a:pt x="161" y="184"/>
                  </a:lnTo>
                  <a:lnTo>
                    <a:pt x="173" y="186"/>
                  </a:lnTo>
                  <a:lnTo>
                    <a:pt x="183" y="190"/>
                  </a:lnTo>
                  <a:lnTo>
                    <a:pt x="185" y="191"/>
                  </a:lnTo>
                  <a:lnTo>
                    <a:pt x="187" y="190"/>
                  </a:lnTo>
                  <a:lnTo>
                    <a:pt x="199" y="184"/>
                  </a:lnTo>
                  <a:lnTo>
                    <a:pt x="211" y="177"/>
                  </a:lnTo>
                  <a:lnTo>
                    <a:pt x="213" y="17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5" name="Freeform 1214"/>
            <p:cNvSpPr>
              <a:spLocks/>
            </p:cNvSpPr>
            <p:nvPr/>
          </p:nvSpPr>
          <p:spPr bwMode="auto">
            <a:xfrm>
              <a:off x="4481514" y="2749555"/>
              <a:ext cx="17462" cy="30163"/>
            </a:xfrm>
            <a:custGeom>
              <a:avLst/>
              <a:gdLst>
                <a:gd name="T0" fmla="*/ 2147483647 w 12"/>
                <a:gd name="T1" fmla="*/ 0 h 19"/>
                <a:gd name="T2" fmla="*/ 2147483647 w 12"/>
                <a:gd name="T3" fmla="*/ 0 h 19"/>
                <a:gd name="T4" fmla="*/ 2147483647 w 12"/>
                <a:gd name="T5" fmla="*/ 2147483647 h 19"/>
                <a:gd name="T6" fmla="*/ 2147483647 w 12"/>
                <a:gd name="T7" fmla="*/ 2147483647 h 19"/>
                <a:gd name="T8" fmla="*/ 2147483647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0 w 12"/>
                <a:gd name="T19" fmla="*/ 2147483647 h 19"/>
                <a:gd name="T20" fmla="*/ 0 w 12"/>
                <a:gd name="T21" fmla="*/ 2147483647 h 19"/>
                <a:gd name="T22" fmla="*/ 2147483647 w 12"/>
                <a:gd name="T23" fmla="*/ 2147483647 h 19"/>
                <a:gd name="T24" fmla="*/ 2147483647 w 12"/>
                <a:gd name="T25" fmla="*/ 0 h 19"/>
                <a:gd name="T26" fmla="*/ 2147483647 w 12"/>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9"/>
                <a:gd name="T44" fmla="*/ 12 w 1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9">
                  <a:moveTo>
                    <a:pt x="7" y="0"/>
                  </a:moveTo>
                  <a:lnTo>
                    <a:pt x="7" y="0"/>
                  </a:lnTo>
                  <a:lnTo>
                    <a:pt x="10" y="4"/>
                  </a:lnTo>
                  <a:lnTo>
                    <a:pt x="11" y="8"/>
                  </a:lnTo>
                  <a:lnTo>
                    <a:pt x="12" y="19"/>
                  </a:lnTo>
                  <a:lnTo>
                    <a:pt x="6" y="17"/>
                  </a:lnTo>
                  <a:lnTo>
                    <a:pt x="1" y="12"/>
                  </a:lnTo>
                  <a:lnTo>
                    <a:pt x="0" y="11"/>
                  </a:lnTo>
                  <a:lnTo>
                    <a:pt x="4" y="5"/>
                  </a:lnTo>
                  <a:lnTo>
                    <a:pt x="7"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6" name="Freeform 1215"/>
            <p:cNvSpPr>
              <a:spLocks/>
            </p:cNvSpPr>
            <p:nvPr/>
          </p:nvSpPr>
          <p:spPr bwMode="auto">
            <a:xfrm>
              <a:off x="4371976" y="3146425"/>
              <a:ext cx="9525" cy="11113"/>
            </a:xfrm>
            <a:custGeom>
              <a:avLst/>
              <a:gdLst>
                <a:gd name="T0" fmla="*/ 2147483647 w 6"/>
                <a:gd name="T1" fmla="*/ 2147483647 h 7"/>
                <a:gd name="T2" fmla="*/ 2147483647 w 6"/>
                <a:gd name="T3" fmla="*/ 2147483647 h 7"/>
                <a:gd name="T4" fmla="*/ 2147483647 w 6"/>
                <a:gd name="T5" fmla="*/ 2147483647 h 7"/>
                <a:gd name="T6" fmla="*/ 0 w 6"/>
                <a:gd name="T7" fmla="*/ 2147483647 h 7"/>
                <a:gd name="T8" fmla="*/ 0 w 6"/>
                <a:gd name="T9" fmla="*/ 2147483647 h 7"/>
                <a:gd name="T10" fmla="*/ 2147483647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5"/>
                  </a:moveTo>
                  <a:lnTo>
                    <a:pt x="5" y="6"/>
                  </a:lnTo>
                  <a:lnTo>
                    <a:pt x="4" y="7"/>
                  </a:lnTo>
                  <a:lnTo>
                    <a:pt x="0" y="6"/>
                  </a:lnTo>
                  <a:lnTo>
                    <a:pt x="0" y="4"/>
                  </a:lnTo>
                  <a:lnTo>
                    <a:pt x="1" y="3"/>
                  </a:lnTo>
                  <a:lnTo>
                    <a:pt x="3" y="0"/>
                  </a:lnTo>
                  <a:lnTo>
                    <a:pt x="4" y="0"/>
                  </a:lnTo>
                  <a:lnTo>
                    <a:pt x="5" y="1"/>
                  </a:lnTo>
                  <a:lnTo>
                    <a:pt x="6" y="3"/>
                  </a:lnTo>
                  <a:lnTo>
                    <a:pt x="6"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7" name="Freeform 1216"/>
            <p:cNvSpPr>
              <a:spLocks/>
            </p:cNvSpPr>
            <p:nvPr/>
          </p:nvSpPr>
          <p:spPr bwMode="auto">
            <a:xfrm>
              <a:off x="4446589" y="3114679"/>
              <a:ext cx="6350" cy="9525"/>
            </a:xfrm>
            <a:custGeom>
              <a:avLst/>
              <a:gdLst>
                <a:gd name="T0" fmla="*/ 2147483647 w 5"/>
                <a:gd name="T1" fmla="*/ 2147483647 h 6"/>
                <a:gd name="T2" fmla="*/ 0 w 5"/>
                <a:gd name="T3" fmla="*/ 2147483647 h 6"/>
                <a:gd name="T4" fmla="*/ 0 w 5"/>
                <a:gd name="T5" fmla="*/ 2147483647 h 6"/>
                <a:gd name="T6" fmla="*/ 2147483647 w 5"/>
                <a:gd name="T7" fmla="*/ 0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2" y="6"/>
                  </a:moveTo>
                  <a:lnTo>
                    <a:pt x="0" y="5"/>
                  </a:lnTo>
                  <a:lnTo>
                    <a:pt x="0" y="2"/>
                  </a:lnTo>
                  <a:lnTo>
                    <a:pt x="1" y="0"/>
                  </a:lnTo>
                  <a:lnTo>
                    <a:pt x="3" y="1"/>
                  </a:lnTo>
                  <a:lnTo>
                    <a:pt x="5" y="2"/>
                  </a:lnTo>
                  <a:lnTo>
                    <a:pt x="5" y="4"/>
                  </a:lnTo>
                  <a:lnTo>
                    <a:pt x="5" y="5"/>
                  </a:lnTo>
                  <a:lnTo>
                    <a:pt x="3" y="6"/>
                  </a:lnTo>
                  <a:lnTo>
                    <a:pt x="2"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8" name="Freeform 1217"/>
            <p:cNvSpPr>
              <a:spLocks/>
            </p:cNvSpPr>
            <p:nvPr/>
          </p:nvSpPr>
          <p:spPr bwMode="auto">
            <a:xfrm>
              <a:off x="4371975" y="3144841"/>
              <a:ext cx="7938" cy="11112"/>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0 w 6"/>
                <a:gd name="T13" fmla="*/ 2147483647 h 7"/>
                <a:gd name="T14" fmla="*/ 2147483647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5"/>
                  </a:moveTo>
                  <a:lnTo>
                    <a:pt x="6" y="5"/>
                  </a:lnTo>
                  <a:lnTo>
                    <a:pt x="5" y="6"/>
                  </a:lnTo>
                  <a:lnTo>
                    <a:pt x="4" y="7"/>
                  </a:lnTo>
                  <a:lnTo>
                    <a:pt x="0" y="6"/>
                  </a:lnTo>
                  <a:lnTo>
                    <a:pt x="0" y="4"/>
                  </a:lnTo>
                  <a:lnTo>
                    <a:pt x="1" y="2"/>
                  </a:lnTo>
                  <a:lnTo>
                    <a:pt x="2" y="0"/>
                  </a:lnTo>
                  <a:lnTo>
                    <a:pt x="4" y="0"/>
                  </a:lnTo>
                  <a:lnTo>
                    <a:pt x="5" y="1"/>
                  </a:lnTo>
                  <a:lnTo>
                    <a:pt x="6" y="2"/>
                  </a:lnTo>
                  <a:lnTo>
                    <a:pt x="6"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19" name="Freeform 1218"/>
            <p:cNvSpPr>
              <a:spLocks/>
            </p:cNvSpPr>
            <p:nvPr/>
          </p:nvSpPr>
          <p:spPr bwMode="auto">
            <a:xfrm>
              <a:off x="4443413" y="3113092"/>
              <a:ext cx="6350" cy="9525"/>
            </a:xfrm>
            <a:custGeom>
              <a:avLst/>
              <a:gdLst>
                <a:gd name="T0" fmla="*/ 2147483647 w 5"/>
                <a:gd name="T1" fmla="*/ 2147483647 h 6"/>
                <a:gd name="T2" fmla="*/ 2147483647 w 5"/>
                <a:gd name="T3" fmla="*/ 2147483647 h 6"/>
                <a:gd name="T4" fmla="*/ 0 w 5"/>
                <a:gd name="T5" fmla="*/ 2147483647 h 6"/>
                <a:gd name="T6" fmla="*/ 0 w 5"/>
                <a:gd name="T7" fmla="*/ 2147483647 h 6"/>
                <a:gd name="T8" fmla="*/ 0 w 5"/>
                <a:gd name="T9" fmla="*/ 2147483647 h 6"/>
                <a:gd name="T10" fmla="*/ 2147483647 w 5"/>
                <a:gd name="T11" fmla="*/ 0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2147483647 w 5"/>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6"/>
                <a:gd name="T50" fmla="*/ 5 w 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6">
                  <a:moveTo>
                    <a:pt x="3" y="6"/>
                  </a:moveTo>
                  <a:lnTo>
                    <a:pt x="3" y="6"/>
                  </a:lnTo>
                  <a:lnTo>
                    <a:pt x="0" y="5"/>
                  </a:lnTo>
                  <a:lnTo>
                    <a:pt x="0" y="2"/>
                  </a:lnTo>
                  <a:lnTo>
                    <a:pt x="2" y="0"/>
                  </a:lnTo>
                  <a:lnTo>
                    <a:pt x="4" y="1"/>
                  </a:lnTo>
                  <a:lnTo>
                    <a:pt x="5" y="2"/>
                  </a:lnTo>
                  <a:lnTo>
                    <a:pt x="5" y="3"/>
                  </a:lnTo>
                  <a:lnTo>
                    <a:pt x="5" y="5"/>
                  </a:lnTo>
                  <a:lnTo>
                    <a:pt x="4" y="6"/>
                  </a:lnTo>
                  <a:lnTo>
                    <a:pt x="3"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0" name="Freeform 1219"/>
            <p:cNvSpPr>
              <a:spLocks/>
            </p:cNvSpPr>
            <p:nvPr/>
          </p:nvSpPr>
          <p:spPr bwMode="auto">
            <a:xfrm>
              <a:off x="4405314" y="3121024"/>
              <a:ext cx="34925" cy="31751"/>
            </a:xfrm>
            <a:custGeom>
              <a:avLst/>
              <a:gdLst>
                <a:gd name="T0" fmla="*/ 2147483647 w 24"/>
                <a:gd name="T1" fmla="*/ 2147483647 h 20"/>
                <a:gd name="T2" fmla="*/ 2147483647 w 24"/>
                <a:gd name="T3" fmla="*/ 2147483647 h 20"/>
                <a:gd name="T4" fmla="*/ 2147483647 w 24"/>
                <a:gd name="T5" fmla="*/ 2147483647 h 20"/>
                <a:gd name="T6" fmla="*/ 2147483647 w 24"/>
                <a:gd name="T7" fmla="*/ 2147483647 h 20"/>
                <a:gd name="T8" fmla="*/ 2147483647 w 24"/>
                <a:gd name="T9" fmla="*/ 2147483647 h 20"/>
                <a:gd name="T10" fmla="*/ 2147483647 w 24"/>
                <a:gd name="T11" fmla="*/ 2147483647 h 20"/>
                <a:gd name="T12" fmla="*/ 2147483647 w 24"/>
                <a:gd name="T13" fmla="*/ 2147483647 h 20"/>
                <a:gd name="T14" fmla="*/ 2147483647 w 24"/>
                <a:gd name="T15" fmla="*/ 2147483647 h 20"/>
                <a:gd name="T16" fmla="*/ 2147483647 w 24"/>
                <a:gd name="T17" fmla="*/ 2147483647 h 20"/>
                <a:gd name="T18" fmla="*/ 2147483647 w 24"/>
                <a:gd name="T19" fmla="*/ 2147483647 h 20"/>
                <a:gd name="T20" fmla="*/ 0 w 24"/>
                <a:gd name="T21" fmla="*/ 2147483647 h 20"/>
                <a:gd name="T22" fmla="*/ 2147483647 w 24"/>
                <a:gd name="T23" fmla="*/ 2147483647 h 20"/>
                <a:gd name="T24" fmla="*/ 2147483647 w 24"/>
                <a:gd name="T25" fmla="*/ 2147483647 h 20"/>
                <a:gd name="T26" fmla="*/ 2147483647 w 24"/>
                <a:gd name="T27" fmla="*/ 2147483647 h 20"/>
                <a:gd name="T28" fmla="*/ 2147483647 w 24"/>
                <a:gd name="T29" fmla="*/ 0 h 20"/>
                <a:gd name="T30" fmla="*/ 2147483647 w 24"/>
                <a:gd name="T31" fmla="*/ 0 h 20"/>
                <a:gd name="T32" fmla="*/ 2147483647 w 24"/>
                <a:gd name="T33" fmla="*/ 2147483647 h 20"/>
                <a:gd name="T34" fmla="*/ 2147483647 w 24"/>
                <a:gd name="T35" fmla="*/ 2147483647 h 20"/>
                <a:gd name="T36" fmla="*/ 2147483647 w 24"/>
                <a:gd name="T37" fmla="*/ 2147483647 h 20"/>
                <a:gd name="T38" fmla="*/ 2147483647 w 24"/>
                <a:gd name="T39" fmla="*/ 2147483647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20"/>
                <a:gd name="T62" fmla="*/ 24 w 2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20">
                  <a:moveTo>
                    <a:pt x="20" y="9"/>
                  </a:moveTo>
                  <a:lnTo>
                    <a:pt x="23" y="10"/>
                  </a:lnTo>
                  <a:lnTo>
                    <a:pt x="24" y="12"/>
                  </a:lnTo>
                  <a:lnTo>
                    <a:pt x="23" y="14"/>
                  </a:lnTo>
                  <a:lnTo>
                    <a:pt x="20" y="15"/>
                  </a:lnTo>
                  <a:lnTo>
                    <a:pt x="19" y="17"/>
                  </a:lnTo>
                  <a:lnTo>
                    <a:pt x="17" y="20"/>
                  </a:lnTo>
                  <a:lnTo>
                    <a:pt x="10" y="16"/>
                  </a:lnTo>
                  <a:lnTo>
                    <a:pt x="7" y="16"/>
                  </a:lnTo>
                  <a:lnTo>
                    <a:pt x="6" y="16"/>
                  </a:lnTo>
                  <a:lnTo>
                    <a:pt x="0" y="17"/>
                  </a:lnTo>
                  <a:lnTo>
                    <a:pt x="2" y="12"/>
                  </a:lnTo>
                  <a:lnTo>
                    <a:pt x="6" y="8"/>
                  </a:lnTo>
                  <a:lnTo>
                    <a:pt x="14" y="1"/>
                  </a:lnTo>
                  <a:lnTo>
                    <a:pt x="16" y="0"/>
                  </a:lnTo>
                  <a:lnTo>
                    <a:pt x="17" y="0"/>
                  </a:lnTo>
                  <a:lnTo>
                    <a:pt x="17" y="2"/>
                  </a:lnTo>
                  <a:lnTo>
                    <a:pt x="17" y="6"/>
                  </a:lnTo>
                  <a:lnTo>
                    <a:pt x="19" y="8"/>
                  </a:lnTo>
                  <a:lnTo>
                    <a:pt x="20"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1" name="Freeform 1220"/>
            <p:cNvSpPr>
              <a:spLocks/>
            </p:cNvSpPr>
            <p:nvPr/>
          </p:nvSpPr>
          <p:spPr bwMode="auto">
            <a:xfrm>
              <a:off x="4105276" y="2989263"/>
              <a:ext cx="323850" cy="266700"/>
            </a:xfrm>
            <a:custGeom>
              <a:avLst/>
              <a:gdLst>
                <a:gd name="T0" fmla="*/ 2147483647 w 222"/>
                <a:gd name="T1" fmla="*/ 2147483647 h 168"/>
                <a:gd name="T2" fmla="*/ 2147483647 w 222"/>
                <a:gd name="T3" fmla="*/ 2147483647 h 168"/>
                <a:gd name="T4" fmla="*/ 2147483647 w 222"/>
                <a:gd name="T5" fmla="*/ 2147483647 h 168"/>
                <a:gd name="T6" fmla="*/ 2147483647 w 222"/>
                <a:gd name="T7" fmla="*/ 2147483647 h 168"/>
                <a:gd name="T8" fmla="*/ 2147483647 w 222"/>
                <a:gd name="T9" fmla="*/ 2147483647 h 168"/>
                <a:gd name="T10" fmla="*/ 2147483647 w 222"/>
                <a:gd name="T11" fmla="*/ 2147483647 h 168"/>
                <a:gd name="T12" fmla="*/ 2147483647 w 222"/>
                <a:gd name="T13" fmla="*/ 2147483647 h 168"/>
                <a:gd name="T14" fmla="*/ 2147483647 w 222"/>
                <a:gd name="T15" fmla="*/ 0 h 168"/>
                <a:gd name="T16" fmla="*/ 2147483647 w 222"/>
                <a:gd name="T17" fmla="*/ 2147483647 h 168"/>
                <a:gd name="T18" fmla="*/ 2147483647 w 222"/>
                <a:gd name="T19" fmla="*/ 2147483647 h 168"/>
                <a:gd name="T20" fmla="*/ 2147483647 w 222"/>
                <a:gd name="T21" fmla="*/ 2147483647 h 168"/>
                <a:gd name="T22" fmla="*/ 2147483647 w 222"/>
                <a:gd name="T23" fmla="*/ 2147483647 h 168"/>
                <a:gd name="T24" fmla="*/ 2147483647 w 222"/>
                <a:gd name="T25" fmla="*/ 2147483647 h 168"/>
                <a:gd name="T26" fmla="*/ 2147483647 w 222"/>
                <a:gd name="T27" fmla="*/ 2147483647 h 168"/>
                <a:gd name="T28" fmla="*/ 2147483647 w 222"/>
                <a:gd name="T29" fmla="*/ 2147483647 h 168"/>
                <a:gd name="T30" fmla="*/ 2147483647 w 222"/>
                <a:gd name="T31" fmla="*/ 2147483647 h 168"/>
                <a:gd name="T32" fmla="*/ 2147483647 w 222"/>
                <a:gd name="T33" fmla="*/ 2147483647 h 168"/>
                <a:gd name="T34" fmla="*/ 2147483647 w 222"/>
                <a:gd name="T35" fmla="*/ 2147483647 h 168"/>
                <a:gd name="T36" fmla="*/ 2147483647 w 222"/>
                <a:gd name="T37" fmla="*/ 2147483647 h 168"/>
                <a:gd name="T38" fmla="*/ 2147483647 w 222"/>
                <a:gd name="T39" fmla="*/ 2147483647 h 168"/>
                <a:gd name="T40" fmla="*/ 2147483647 w 222"/>
                <a:gd name="T41" fmla="*/ 2147483647 h 168"/>
                <a:gd name="T42" fmla="*/ 2147483647 w 222"/>
                <a:gd name="T43" fmla="*/ 2147483647 h 168"/>
                <a:gd name="T44" fmla="*/ 2147483647 w 222"/>
                <a:gd name="T45" fmla="*/ 2147483647 h 168"/>
                <a:gd name="T46" fmla="*/ 2147483647 w 222"/>
                <a:gd name="T47" fmla="*/ 2147483647 h 168"/>
                <a:gd name="T48" fmla="*/ 2147483647 w 222"/>
                <a:gd name="T49" fmla="*/ 2147483647 h 168"/>
                <a:gd name="T50" fmla="*/ 2147483647 w 222"/>
                <a:gd name="T51" fmla="*/ 2147483647 h 168"/>
                <a:gd name="T52" fmla="*/ 2147483647 w 222"/>
                <a:gd name="T53" fmla="*/ 2147483647 h 168"/>
                <a:gd name="T54" fmla="*/ 2147483647 w 222"/>
                <a:gd name="T55" fmla="*/ 2147483647 h 168"/>
                <a:gd name="T56" fmla="*/ 2147483647 w 222"/>
                <a:gd name="T57" fmla="*/ 2147483647 h 168"/>
                <a:gd name="T58" fmla="*/ 2147483647 w 222"/>
                <a:gd name="T59" fmla="*/ 2147483647 h 168"/>
                <a:gd name="T60" fmla="*/ 2147483647 w 222"/>
                <a:gd name="T61" fmla="*/ 2147483647 h 168"/>
                <a:gd name="T62" fmla="*/ 2147483647 w 222"/>
                <a:gd name="T63" fmla="*/ 2147483647 h 168"/>
                <a:gd name="T64" fmla="*/ 2147483647 w 222"/>
                <a:gd name="T65" fmla="*/ 2147483647 h 168"/>
                <a:gd name="T66" fmla="*/ 2147483647 w 222"/>
                <a:gd name="T67" fmla="*/ 2147483647 h 168"/>
                <a:gd name="T68" fmla="*/ 2147483647 w 222"/>
                <a:gd name="T69" fmla="*/ 2147483647 h 168"/>
                <a:gd name="T70" fmla="*/ 2147483647 w 222"/>
                <a:gd name="T71" fmla="*/ 2147483647 h 168"/>
                <a:gd name="T72" fmla="*/ 2147483647 w 222"/>
                <a:gd name="T73" fmla="*/ 2147483647 h 168"/>
                <a:gd name="T74" fmla="*/ 2147483647 w 222"/>
                <a:gd name="T75" fmla="*/ 2147483647 h 168"/>
                <a:gd name="T76" fmla="*/ 2147483647 w 222"/>
                <a:gd name="T77" fmla="*/ 2147483647 h 168"/>
                <a:gd name="T78" fmla="*/ 2147483647 w 222"/>
                <a:gd name="T79" fmla="*/ 2147483647 h 168"/>
                <a:gd name="T80" fmla="*/ 2147483647 w 222"/>
                <a:gd name="T81" fmla="*/ 2147483647 h 168"/>
                <a:gd name="T82" fmla="*/ 2147483647 w 222"/>
                <a:gd name="T83" fmla="*/ 2147483647 h 168"/>
                <a:gd name="T84" fmla="*/ 2147483647 w 222"/>
                <a:gd name="T85" fmla="*/ 2147483647 h 168"/>
                <a:gd name="T86" fmla="*/ 2147483647 w 222"/>
                <a:gd name="T87" fmla="*/ 2147483647 h 168"/>
                <a:gd name="T88" fmla="*/ 2147483647 w 222"/>
                <a:gd name="T89" fmla="*/ 2147483647 h 168"/>
                <a:gd name="T90" fmla="*/ 2147483647 w 222"/>
                <a:gd name="T91" fmla="*/ 2147483647 h 168"/>
                <a:gd name="T92" fmla="*/ 2147483647 w 222"/>
                <a:gd name="T93" fmla="*/ 2147483647 h 168"/>
                <a:gd name="T94" fmla="*/ 2147483647 w 222"/>
                <a:gd name="T95" fmla="*/ 2147483647 h 168"/>
                <a:gd name="T96" fmla="*/ 2147483647 w 222"/>
                <a:gd name="T97" fmla="*/ 2147483647 h 1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2"/>
                <a:gd name="T148" fmla="*/ 0 h 168"/>
                <a:gd name="T149" fmla="*/ 222 w 222"/>
                <a:gd name="T150" fmla="*/ 168 h 16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2" h="168">
                  <a:moveTo>
                    <a:pt x="219" y="21"/>
                  </a:moveTo>
                  <a:lnTo>
                    <a:pt x="206" y="28"/>
                  </a:lnTo>
                  <a:lnTo>
                    <a:pt x="198" y="29"/>
                  </a:lnTo>
                  <a:lnTo>
                    <a:pt x="192" y="30"/>
                  </a:lnTo>
                  <a:lnTo>
                    <a:pt x="176" y="28"/>
                  </a:lnTo>
                  <a:lnTo>
                    <a:pt x="160" y="26"/>
                  </a:lnTo>
                  <a:lnTo>
                    <a:pt x="146" y="20"/>
                  </a:lnTo>
                  <a:lnTo>
                    <a:pt x="131" y="13"/>
                  </a:lnTo>
                  <a:lnTo>
                    <a:pt x="131" y="10"/>
                  </a:lnTo>
                  <a:lnTo>
                    <a:pt x="131" y="7"/>
                  </a:lnTo>
                  <a:lnTo>
                    <a:pt x="127" y="8"/>
                  </a:lnTo>
                  <a:lnTo>
                    <a:pt x="123" y="9"/>
                  </a:lnTo>
                  <a:lnTo>
                    <a:pt x="113" y="10"/>
                  </a:lnTo>
                  <a:lnTo>
                    <a:pt x="102" y="9"/>
                  </a:lnTo>
                  <a:lnTo>
                    <a:pt x="90" y="8"/>
                  </a:lnTo>
                  <a:lnTo>
                    <a:pt x="69" y="4"/>
                  </a:lnTo>
                  <a:lnTo>
                    <a:pt x="61" y="3"/>
                  </a:lnTo>
                  <a:lnTo>
                    <a:pt x="57" y="3"/>
                  </a:lnTo>
                  <a:lnTo>
                    <a:pt x="54" y="6"/>
                  </a:lnTo>
                  <a:lnTo>
                    <a:pt x="49" y="6"/>
                  </a:lnTo>
                  <a:lnTo>
                    <a:pt x="43" y="6"/>
                  </a:lnTo>
                  <a:lnTo>
                    <a:pt x="40" y="6"/>
                  </a:lnTo>
                  <a:lnTo>
                    <a:pt x="31" y="1"/>
                  </a:lnTo>
                  <a:lnTo>
                    <a:pt x="27" y="0"/>
                  </a:lnTo>
                  <a:lnTo>
                    <a:pt x="22" y="0"/>
                  </a:lnTo>
                  <a:lnTo>
                    <a:pt x="21" y="3"/>
                  </a:lnTo>
                  <a:lnTo>
                    <a:pt x="21" y="6"/>
                  </a:lnTo>
                  <a:lnTo>
                    <a:pt x="19" y="7"/>
                  </a:lnTo>
                  <a:lnTo>
                    <a:pt x="16" y="7"/>
                  </a:lnTo>
                  <a:lnTo>
                    <a:pt x="10" y="7"/>
                  </a:lnTo>
                  <a:lnTo>
                    <a:pt x="7" y="9"/>
                  </a:lnTo>
                  <a:lnTo>
                    <a:pt x="3" y="9"/>
                  </a:lnTo>
                  <a:lnTo>
                    <a:pt x="2" y="12"/>
                  </a:lnTo>
                  <a:lnTo>
                    <a:pt x="0" y="13"/>
                  </a:lnTo>
                  <a:lnTo>
                    <a:pt x="0" y="16"/>
                  </a:lnTo>
                  <a:lnTo>
                    <a:pt x="4" y="26"/>
                  </a:lnTo>
                  <a:lnTo>
                    <a:pt x="7" y="30"/>
                  </a:lnTo>
                  <a:lnTo>
                    <a:pt x="7" y="35"/>
                  </a:lnTo>
                  <a:lnTo>
                    <a:pt x="12" y="33"/>
                  </a:lnTo>
                  <a:lnTo>
                    <a:pt x="14" y="33"/>
                  </a:lnTo>
                  <a:lnTo>
                    <a:pt x="17" y="34"/>
                  </a:lnTo>
                  <a:lnTo>
                    <a:pt x="19" y="38"/>
                  </a:lnTo>
                  <a:lnTo>
                    <a:pt x="22" y="39"/>
                  </a:lnTo>
                  <a:lnTo>
                    <a:pt x="26" y="40"/>
                  </a:lnTo>
                  <a:lnTo>
                    <a:pt x="29" y="40"/>
                  </a:lnTo>
                  <a:lnTo>
                    <a:pt x="37" y="40"/>
                  </a:lnTo>
                  <a:lnTo>
                    <a:pt x="41" y="40"/>
                  </a:lnTo>
                  <a:lnTo>
                    <a:pt x="43" y="41"/>
                  </a:lnTo>
                  <a:lnTo>
                    <a:pt x="46" y="42"/>
                  </a:lnTo>
                  <a:lnTo>
                    <a:pt x="47" y="45"/>
                  </a:lnTo>
                  <a:lnTo>
                    <a:pt x="46" y="49"/>
                  </a:lnTo>
                  <a:lnTo>
                    <a:pt x="42" y="64"/>
                  </a:lnTo>
                  <a:lnTo>
                    <a:pt x="40" y="66"/>
                  </a:lnTo>
                  <a:lnTo>
                    <a:pt x="38" y="70"/>
                  </a:lnTo>
                  <a:lnTo>
                    <a:pt x="38" y="74"/>
                  </a:lnTo>
                  <a:lnTo>
                    <a:pt x="40" y="83"/>
                  </a:lnTo>
                  <a:lnTo>
                    <a:pt x="38" y="85"/>
                  </a:lnTo>
                  <a:lnTo>
                    <a:pt x="37" y="87"/>
                  </a:lnTo>
                  <a:lnTo>
                    <a:pt x="31" y="92"/>
                  </a:lnTo>
                  <a:lnTo>
                    <a:pt x="28" y="95"/>
                  </a:lnTo>
                  <a:lnTo>
                    <a:pt x="28" y="97"/>
                  </a:lnTo>
                  <a:lnTo>
                    <a:pt x="28" y="99"/>
                  </a:lnTo>
                  <a:lnTo>
                    <a:pt x="29" y="102"/>
                  </a:lnTo>
                  <a:lnTo>
                    <a:pt x="32" y="102"/>
                  </a:lnTo>
                  <a:lnTo>
                    <a:pt x="33" y="102"/>
                  </a:lnTo>
                  <a:lnTo>
                    <a:pt x="35" y="104"/>
                  </a:lnTo>
                  <a:lnTo>
                    <a:pt x="33" y="106"/>
                  </a:lnTo>
                  <a:lnTo>
                    <a:pt x="33" y="111"/>
                  </a:lnTo>
                  <a:lnTo>
                    <a:pt x="35" y="115"/>
                  </a:lnTo>
                  <a:lnTo>
                    <a:pt x="37" y="118"/>
                  </a:lnTo>
                  <a:lnTo>
                    <a:pt x="38" y="122"/>
                  </a:lnTo>
                  <a:lnTo>
                    <a:pt x="38" y="124"/>
                  </a:lnTo>
                  <a:lnTo>
                    <a:pt x="38" y="125"/>
                  </a:lnTo>
                  <a:lnTo>
                    <a:pt x="36" y="130"/>
                  </a:lnTo>
                  <a:lnTo>
                    <a:pt x="36" y="134"/>
                  </a:lnTo>
                  <a:lnTo>
                    <a:pt x="37" y="136"/>
                  </a:lnTo>
                  <a:lnTo>
                    <a:pt x="38" y="138"/>
                  </a:lnTo>
                  <a:lnTo>
                    <a:pt x="40" y="141"/>
                  </a:lnTo>
                  <a:lnTo>
                    <a:pt x="38" y="143"/>
                  </a:lnTo>
                  <a:lnTo>
                    <a:pt x="40" y="144"/>
                  </a:lnTo>
                  <a:lnTo>
                    <a:pt x="42" y="145"/>
                  </a:lnTo>
                  <a:lnTo>
                    <a:pt x="45" y="150"/>
                  </a:lnTo>
                  <a:lnTo>
                    <a:pt x="50" y="154"/>
                  </a:lnTo>
                  <a:lnTo>
                    <a:pt x="51" y="157"/>
                  </a:lnTo>
                  <a:lnTo>
                    <a:pt x="52" y="162"/>
                  </a:lnTo>
                  <a:lnTo>
                    <a:pt x="52" y="163"/>
                  </a:lnTo>
                  <a:lnTo>
                    <a:pt x="55" y="164"/>
                  </a:lnTo>
                  <a:lnTo>
                    <a:pt x="57" y="166"/>
                  </a:lnTo>
                  <a:lnTo>
                    <a:pt x="60" y="168"/>
                  </a:lnTo>
                  <a:lnTo>
                    <a:pt x="64" y="168"/>
                  </a:lnTo>
                  <a:lnTo>
                    <a:pt x="66" y="167"/>
                  </a:lnTo>
                  <a:lnTo>
                    <a:pt x="70" y="164"/>
                  </a:lnTo>
                  <a:lnTo>
                    <a:pt x="73" y="161"/>
                  </a:lnTo>
                  <a:lnTo>
                    <a:pt x="78" y="154"/>
                  </a:lnTo>
                  <a:lnTo>
                    <a:pt x="80" y="153"/>
                  </a:lnTo>
                  <a:lnTo>
                    <a:pt x="82" y="153"/>
                  </a:lnTo>
                  <a:lnTo>
                    <a:pt x="83" y="153"/>
                  </a:lnTo>
                  <a:lnTo>
                    <a:pt x="94" y="151"/>
                  </a:lnTo>
                  <a:lnTo>
                    <a:pt x="96" y="151"/>
                  </a:lnTo>
                  <a:lnTo>
                    <a:pt x="98" y="153"/>
                  </a:lnTo>
                  <a:lnTo>
                    <a:pt x="99" y="155"/>
                  </a:lnTo>
                  <a:lnTo>
                    <a:pt x="102" y="155"/>
                  </a:lnTo>
                  <a:lnTo>
                    <a:pt x="107" y="154"/>
                  </a:lnTo>
                  <a:lnTo>
                    <a:pt x="111" y="154"/>
                  </a:lnTo>
                  <a:lnTo>
                    <a:pt x="113" y="155"/>
                  </a:lnTo>
                  <a:lnTo>
                    <a:pt x="117" y="156"/>
                  </a:lnTo>
                  <a:lnTo>
                    <a:pt x="118" y="156"/>
                  </a:lnTo>
                  <a:lnTo>
                    <a:pt x="121" y="155"/>
                  </a:lnTo>
                  <a:lnTo>
                    <a:pt x="125" y="151"/>
                  </a:lnTo>
                  <a:lnTo>
                    <a:pt x="129" y="150"/>
                  </a:lnTo>
                  <a:lnTo>
                    <a:pt x="131" y="148"/>
                  </a:lnTo>
                  <a:lnTo>
                    <a:pt x="132" y="144"/>
                  </a:lnTo>
                  <a:lnTo>
                    <a:pt x="135" y="142"/>
                  </a:lnTo>
                  <a:lnTo>
                    <a:pt x="136" y="140"/>
                  </a:lnTo>
                  <a:lnTo>
                    <a:pt x="139" y="138"/>
                  </a:lnTo>
                  <a:lnTo>
                    <a:pt x="141" y="138"/>
                  </a:lnTo>
                  <a:lnTo>
                    <a:pt x="145" y="137"/>
                  </a:lnTo>
                  <a:lnTo>
                    <a:pt x="150" y="134"/>
                  </a:lnTo>
                  <a:lnTo>
                    <a:pt x="154" y="128"/>
                  </a:lnTo>
                  <a:lnTo>
                    <a:pt x="156" y="122"/>
                  </a:lnTo>
                  <a:lnTo>
                    <a:pt x="158" y="116"/>
                  </a:lnTo>
                  <a:lnTo>
                    <a:pt x="158" y="103"/>
                  </a:lnTo>
                  <a:lnTo>
                    <a:pt x="156" y="91"/>
                  </a:lnTo>
                  <a:lnTo>
                    <a:pt x="156" y="89"/>
                  </a:lnTo>
                  <a:lnTo>
                    <a:pt x="158" y="86"/>
                  </a:lnTo>
                  <a:lnTo>
                    <a:pt x="160" y="81"/>
                  </a:lnTo>
                  <a:lnTo>
                    <a:pt x="167" y="78"/>
                  </a:lnTo>
                  <a:lnTo>
                    <a:pt x="173" y="76"/>
                  </a:lnTo>
                  <a:lnTo>
                    <a:pt x="174" y="74"/>
                  </a:lnTo>
                  <a:lnTo>
                    <a:pt x="174" y="73"/>
                  </a:lnTo>
                  <a:lnTo>
                    <a:pt x="174" y="71"/>
                  </a:lnTo>
                  <a:lnTo>
                    <a:pt x="173" y="68"/>
                  </a:lnTo>
                  <a:lnTo>
                    <a:pt x="172" y="66"/>
                  </a:lnTo>
                  <a:lnTo>
                    <a:pt x="173" y="64"/>
                  </a:lnTo>
                  <a:lnTo>
                    <a:pt x="174" y="62"/>
                  </a:lnTo>
                  <a:lnTo>
                    <a:pt x="179" y="60"/>
                  </a:lnTo>
                  <a:lnTo>
                    <a:pt x="187" y="58"/>
                  </a:lnTo>
                  <a:lnTo>
                    <a:pt x="193" y="55"/>
                  </a:lnTo>
                  <a:lnTo>
                    <a:pt x="201" y="52"/>
                  </a:lnTo>
                  <a:lnTo>
                    <a:pt x="207" y="48"/>
                  </a:lnTo>
                  <a:lnTo>
                    <a:pt x="215" y="45"/>
                  </a:lnTo>
                  <a:lnTo>
                    <a:pt x="217" y="42"/>
                  </a:lnTo>
                  <a:lnTo>
                    <a:pt x="220" y="39"/>
                  </a:lnTo>
                  <a:lnTo>
                    <a:pt x="221" y="35"/>
                  </a:lnTo>
                  <a:lnTo>
                    <a:pt x="222" y="32"/>
                  </a:lnTo>
                  <a:lnTo>
                    <a:pt x="221" y="28"/>
                  </a:lnTo>
                  <a:lnTo>
                    <a:pt x="220" y="25"/>
                  </a:lnTo>
                  <a:lnTo>
                    <a:pt x="219" y="2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2" name="Freeform 1221"/>
            <p:cNvSpPr>
              <a:spLocks/>
            </p:cNvSpPr>
            <p:nvPr/>
          </p:nvSpPr>
          <p:spPr bwMode="auto">
            <a:xfrm>
              <a:off x="4402138" y="3117853"/>
              <a:ext cx="36512" cy="33338"/>
            </a:xfrm>
            <a:custGeom>
              <a:avLst/>
              <a:gdLst>
                <a:gd name="T0" fmla="*/ 2147483647 w 25"/>
                <a:gd name="T1" fmla="*/ 2147483647 h 21"/>
                <a:gd name="T2" fmla="*/ 2147483647 w 25"/>
                <a:gd name="T3" fmla="*/ 2147483647 h 21"/>
                <a:gd name="T4" fmla="*/ 2147483647 w 25"/>
                <a:gd name="T5" fmla="*/ 2147483647 h 21"/>
                <a:gd name="T6" fmla="*/ 2147483647 w 25"/>
                <a:gd name="T7" fmla="*/ 2147483647 h 21"/>
                <a:gd name="T8" fmla="*/ 2147483647 w 25"/>
                <a:gd name="T9" fmla="*/ 2147483647 h 21"/>
                <a:gd name="T10" fmla="*/ 2147483647 w 25"/>
                <a:gd name="T11" fmla="*/ 2147483647 h 21"/>
                <a:gd name="T12" fmla="*/ 2147483647 w 25"/>
                <a:gd name="T13" fmla="*/ 2147483647 h 21"/>
                <a:gd name="T14" fmla="*/ 2147483647 w 25"/>
                <a:gd name="T15" fmla="*/ 2147483647 h 21"/>
                <a:gd name="T16" fmla="*/ 2147483647 w 25"/>
                <a:gd name="T17" fmla="*/ 2147483647 h 21"/>
                <a:gd name="T18" fmla="*/ 2147483647 w 25"/>
                <a:gd name="T19" fmla="*/ 2147483647 h 21"/>
                <a:gd name="T20" fmla="*/ 2147483647 w 25"/>
                <a:gd name="T21" fmla="*/ 2147483647 h 21"/>
                <a:gd name="T22" fmla="*/ 2147483647 w 25"/>
                <a:gd name="T23" fmla="*/ 2147483647 h 21"/>
                <a:gd name="T24" fmla="*/ 2147483647 w 25"/>
                <a:gd name="T25" fmla="*/ 2147483647 h 21"/>
                <a:gd name="T26" fmla="*/ 2147483647 w 25"/>
                <a:gd name="T27" fmla="*/ 2147483647 h 21"/>
                <a:gd name="T28" fmla="*/ 0 w 25"/>
                <a:gd name="T29" fmla="*/ 2147483647 h 21"/>
                <a:gd name="T30" fmla="*/ 0 w 25"/>
                <a:gd name="T31" fmla="*/ 2147483647 h 21"/>
                <a:gd name="T32" fmla="*/ 2147483647 w 25"/>
                <a:gd name="T33" fmla="*/ 2147483647 h 21"/>
                <a:gd name="T34" fmla="*/ 2147483647 w 25"/>
                <a:gd name="T35" fmla="*/ 2147483647 h 21"/>
                <a:gd name="T36" fmla="*/ 2147483647 w 25"/>
                <a:gd name="T37" fmla="*/ 2147483647 h 21"/>
                <a:gd name="T38" fmla="*/ 2147483647 w 25"/>
                <a:gd name="T39" fmla="*/ 2147483647 h 21"/>
                <a:gd name="T40" fmla="*/ 2147483647 w 25"/>
                <a:gd name="T41" fmla="*/ 0 h 21"/>
                <a:gd name="T42" fmla="*/ 2147483647 w 25"/>
                <a:gd name="T43" fmla="*/ 0 h 21"/>
                <a:gd name="T44" fmla="*/ 2147483647 w 25"/>
                <a:gd name="T45" fmla="*/ 2147483647 h 21"/>
                <a:gd name="T46" fmla="*/ 2147483647 w 25"/>
                <a:gd name="T47" fmla="*/ 2147483647 h 21"/>
                <a:gd name="T48" fmla="*/ 2147483647 w 25"/>
                <a:gd name="T49" fmla="*/ 2147483647 h 21"/>
                <a:gd name="T50" fmla="*/ 2147483647 w 25"/>
                <a:gd name="T51" fmla="*/ 2147483647 h 21"/>
                <a:gd name="T52" fmla="*/ 2147483647 w 25"/>
                <a:gd name="T53" fmla="*/ 2147483647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21"/>
                <a:gd name="T83" fmla="*/ 25 w 25"/>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21">
                  <a:moveTo>
                    <a:pt x="21" y="10"/>
                  </a:moveTo>
                  <a:lnTo>
                    <a:pt x="21" y="10"/>
                  </a:lnTo>
                  <a:lnTo>
                    <a:pt x="23" y="11"/>
                  </a:lnTo>
                  <a:lnTo>
                    <a:pt x="25" y="12"/>
                  </a:lnTo>
                  <a:lnTo>
                    <a:pt x="23" y="15"/>
                  </a:lnTo>
                  <a:lnTo>
                    <a:pt x="21" y="16"/>
                  </a:lnTo>
                  <a:lnTo>
                    <a:pt x="19" y="18"/>
                  </a:lnTo>
                  <a:lnTo>
                    <a:pt x="18" y="21"/>
                  </a:lnTo>
                  <a:lnTo>
                    <a:pt x="11" y="17"/>
                  </a:lnTo>
                  <a:lnTo>
                    <a:pt x="8" y="17"/>
                  </a:lnTo>
                  <a:lnTo>
                    <a:pt x="7" y="17"/>
                  </a:lnTo>
                  <a:lnTo>
                    <a:pt x="0" y="18"/>
                  </a:lnTo>
                  <a:lnTo>
                    <a:pt x="3" y="12"/>
                  </a:lnTo>
                  <a:lnTo>
                    <a:pt x="7" y="9"/>
                  </a:lnTo>
                  <a:lnTo>
                    <a:pt x="14" y="2"/>
                  </a:lnTo>
                  <a:lnTo>
                    <a:pt x="17" y="0"/>
                  </a:lnTo>
                  <a:lnTo>
                    <a:pt x="18" y="0"/>
                  </a:lnTo>
                  <a:lnTo>
                    <a:pt x="18" y="3"/>
                  </a:lnTo>
                  <a:lnTo>
                    <a:pt x="18" y="6"/>
                  </a:lnTo>
                  <a:lnTo>
                    <a:pt x="19" y="9"/>
                  </a:lnTo>
                  <a:lnTo>
                    <a:pt x="21"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3" name="Freeform 1222"/>
            <p:cNvSpPr>
              <a:spLocks/>
            </p:cNvSpPr>
            <p:nvPr/>
          </p:nvSpPr>
          <p:spPr bwMode="auto">
            <a:xfrm>
              <a:off x="4103691" y="2986091"/>
              <a:ext cx="325437" cy="268287"/>
            </a:xfrm>
            <a:custGeom>
              <a:avLst/>
              <a:gdLst>
                <a:gd name="T0" fmla="*/ 2147483647 w 222"/>
                <a:gd name="T1" fmla="*/ 2147483647 h 169"/>
                <a:gd name="T2" fmla="*/ 2147483647 w 222"/>
                <a:gd name="T3" fmla="*/ 2147483647 h 169"/>
                <a:gd name="T4" fmla="*/ 2147483647 w 222"/>
                <a:gd name="T5" fmla="*/ 2147483647 h 169"/>
                <a:gd name="T6" fmla="*/ 2147483647 w 222"/>
                <a:gd name="T7" fmla="*/ 2147483647 h 169"/>
                <a:gd name="T8" fmla="*/ 2147483647 w 222"/>
                <a:gd name="T9" fmla="*/ 2147483647 h 169"/>
                <a:gd name="T10" fmla="*/ 2147483647 w 222"/>
                <a:gd name="T11" fmla="*/ 2147483647 h 169"/>
                <a:gd name="T12" fmla="*/ 2147483647 w 222"/>
                <a:gd name="T13" fmla="*/ 2147483647 h 169"/>
                <a:gd name="T14" fmla="*/ 2147483647 w 222"/>
                <a:gd name="T15" fmla="*/ 0 h 169"/>
                <a:gd name="T16" fmla="*/ 2147483647 w 222"/>
                <a:gd name="T17" fmla="*/ 2147483647 h 169"/>
                <a:gd name="T18" fmla="*/ 2147483647 w 222"/>
                <a:gd name="T19" fmla="*/ 2147483647 h 169"/>
                <a:gd name="T20" fmla="*/ 0 w 222"/>
                <a:gd name="T21" fmla="*/ 2147483647 h 169"/>
                <a:gd name="T22" fmla="*/ 2147483647 w 222"/>
                <a:gd name="T23" fmla="*/ 2147483647 h 169"/>
                <a:gd name="T24" fmla="*/ 2147483647 w 222"/>
                <a:gd name="T25" fmla="*/ 2147483647 h 169"/>
                <a:gd name="T26" fmla="*/ 2147483647 w 222"/>
                <a:gd name="T27" fmla="*/ 2147483647 h 169"/>
                <a:gd name="T28" fmla="*/ 2147483647 w 222"/>
                <a:gd name="T29" fmla="*/ 2147483647 h 169"/>
                <a:gd name="T30" fmla="*/ 2147483647 w 222"/>
                <a:gd name="T31" fmla="*/ 2147483647 h 169"/>
                <a:gd name="T32" fmla="*/ 2147483647 w 222"/>
                <a:gd name="T33" fmla="*/ 2147483647 h 169"/>
                <a:gd name="T34" fmla="*/ 2147483647 w 222"/>
                <a:gd name="T35" fmla="*/ 2147483647 h 169"/>
                <a:gd name="T36" fmla="*/ 2147483647 w 222"/>
                <a:gd name="T37" fmla="*/ 2147483647 h 169"/>
                <a:gd name="T38" fmla="*/ 2147483647 w 222"/>
                <a:gd name="T39" fmla="*/ 2147483647 h 169"/>
                <a:gd name="T40" fmla="*/ 2147483647 w 222"/>
                <a:gd name="T41" fmla="*/ 2147483647 h 169"/>
                <a:gd name="T42" fmla="*/ 2147483647 w 222"/>
                <a:gd name="T43" fmla="*/ 2147483647 h 169"/>
                <a:gd name="T44" fmla="*/ 2147483647 w 222"/>
                <a:gd name="T45" fmla="*/ 2147483647 h 169"/>
                <a:gd name="T46" fmla="*/ 2147483647 w 222"/>
                <a:gd name="T47" fmla="*/ 2147483647 h 169"/>
                <a:gd name="T48" fmla="*/ 2147483647 w 222"/>
                <a:gd name="T49" fmla="*/ 2147483647 h 169"/>
                <a:gd name="T50" fmla="*/ 2147483647 w 222"/>
                <a:gd name="T51" fmla="*/ 2147483647 h 169"/>
                <a:gd name="T52" fmla="*/ 2147483647 w 222"/>
                <a:gd name="T53" fmla="*/ 2147483647 h 169"/>
                <a:gd name="T54" fmla="*/ 2147483647 w 222"/>
                <a:gd name="T55" fmla="*/ 2147483647 h 169"/>
                <a:gd name="T56" fmla="*/ 2147483647 w 222"/>
                <a:gd name="T57" fmla="*/ 2147483647 h 169"/>
                <a:gd name="T58" fmla="*/ 2147483647 w 222"/>
                <a:gd name="T59" fmla="*/ 2147483647 h 169"/>
                <a:gd name="T60" fmla="*/ 2147483647 w 222"/>
                <a:gd name="T61" fmla="*/ 2147483647 h 169"/>
                <a:gd name="T62" fmla="*/ 2147483647 w 222"/>
                <a:gd name="T63" fmla="*/ 2147483647 h 169"/>
                <a:gd name="T64" fmla="*/ 2147483647 w 222"/>
                <a:gd name="T65" fmla="*/ 2147483647 h 169"/>
                <a:gd name="T66" fmla="*/ 2147483647 w 222"/>
                <a:gd name="T67" fmla="*/ 2147483647 h 169"/>
                <a:gd name="T68" fmla="*/ 2147483647 w 222"/>
                <a:gd name="T69" fmla="*/ 2147483647 h 169"/>
                <a:gd name="T70" fmla="*/ 2147483647 w 222"/>
                <a:gd name="T71" fmla="*/ 2147483647 h 169"/>
                <a:gd name="T72" fmla="*/ 2147483647 w 222"/>
                <a:gd name="T73" fmla="*/ 2147483647 h 169"/>
                <a:gd name="T74" fmla="*/ 2147483647 w 222"/>
                <a:gd name="T75" fmla="*/ 2147483647 h 169"/>
                <a:gd name="T76" fmla="*/ 2147483647 w 222"/>
                <a:gd name="T77" fmla="*/ 2147483647 h 169"/>
                <a:gd name="T78" fmla="*/ 2147483647 w 222"/>
                <a:gd name="T79" fmla="*/ 2147483647 h 169"/>
                <a:gd name="T80" fmla="*/ 2147483647 w 222"/>
                <a:gd name="T81" fmla="*/ 2147483647 h 169"/>
                <a:gd name="T82" fmla="*/ 2147483647 w 222"/>
                <a:gd name="T83" fmla="*/ 2147483647 h 169"/>
                <a:gd name="T84" fmla="*/ 2147483647 w 222"/>
                <a:gd name="T85" fmla="*/ 2147483647 h 169"/>
                <a:gd name="T86" fmla="*/ 2147483647 w 222"/>
                <a:gd name="T87" fmla="*/ 2147483647 h 169"/>
                <a:gd name="T88" fmla="*/ 2147483647 w 222"/>
                <a:gd name="T89" fmla="*/ 2147483647 h 169"/>
                <a:gd name="T90" fmla="*/ 2147483647 w 222"/>
                <a:gd name="T91" fmla="*/ 2147483647 h 169"/>
                <a:gd name="T92" fmla="*/ 2147483647 w 222"/>
                <a:gd name="T93" fmla="*/ 2147483647 h 169"/>
                <a:gd name="T94" fmla="*/ 2147483647 w 222"/>
                <a:gd name="T95" fmla="*/ 2147483647 h 169"/>
                <a:gd name="T96" fmla="*/ 2147483647 w 222"/>
                <a:gd name="T97" fmla="*/ 2147483647 h 1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2"/>
                <a:gd name="T148" fmla="*/ 0 h 169"/>
                <a:gd name="T149" fmla="*/ 222 w 222"/>
                <a:gd name="T150" fmla="*/ 169 h 1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2" h="169">
                  <a:moveTo>
                    <a:pt x="218" y="22"/>
                  </a:moveTo>
                  <a:lnTo>
                    <a:pt x="218" y="22"/>
                  </a:lnTo>
                  <a:lnTo>
                    <a:pt x="206" y="29"/>
                  </a:lnTo>
                  <a:lnTo>
                    <a:pt x="198" y="30"/>
                  </a:lnTo>
                  <a:lnTo>
                    <a:pt x="192" y="31"/>
                  </a:lnTo>
                  <a:lnTo>
                    <a:pt x="175" y="29"/>
                  </a:lnTo>
                  <a:lnTo>
                    <a:pt x="160" y="27"/>
                  </a:lnTo>
                  <a:lnTo>
                    <a:pt x="146" y="21"/>
                  </a:lnTo>
                  <a:lnTo>
                    <a:pt x="131" y="14"/>
                  </a:lnTo>
                  <a:lnTo>
                    <a:pt x="131" y="11"/>
                  </a:lnTo>
                  <a:lnTo>
                    <a:pt x="131" y="8"/>
                  </a:lnTo>
                  <a:lnTo>
                    <a:pt x="127" y="9"/>
                  </a:lnTo>
                  <a:lnTo>
                    <a:pt x="123" y="10"/>
                  </a:lnTo>
                  <a:lnTo>
                    <a:pt x="113" y="11"/>
                  </a:lnTo>
                  <a:lnTo>
                    <a:pt x="102" y="10"/>
                  </a:lnTo>
                  <a:lnTo>
                    <a:pt x="90" y="9"/>
                  </a:lnTo>
                  <a:lnTo>
                    <a:pt x="69" y="5"/>
                  </a:lnTo>
                  <a:lnTo>
                    <a:pt x="61" y="4"/>
                  </a:lnTo>
                  <a:lnTo>
                    <a:pt x="57" y="4"/>
                  </a:lnTo>
                  <a:lnTo>
                    <a:pt x="53" y="6"/>
                  </a:lnTo>
                  <a:lnTo>
                    <a:pt x="48" y="6"/>
                  </a:lnTo>
                  <a:lnTo>
                    <a:pt x="43" y="6"/>
                  </a:lnTo>
                  <a:lnTo>
                    <a:pt x="39" y="6"/>
                  </a:lnTo>
                  <a:lnTo>
                    <a:pt x="30" y="2"/>
                  </a:lnTo>
                  <a:lnTo>
                    <a:pt x="27" y="0"/>
                  </a:lnTo>
                  <a:lnTo>
                    <a:pt x="22" y="0"/>
                  </a:lnTo>
                  <a:lnTo>
                    <a:pt x="20" y="4"/>
                  </a:lnTo>
                  <a:lnTo>
                    <a:pt x="20" y="6"/>
                  </a:lnTo>
                  <a:lnTo>
                    <a:pt x="19" y="8"/>
                  </a:lnTo>
                  <a:lnTo>
                    <a:pt x="15" y="8"/>
                  </a:lnTo>
                  <a:lnTo>
                    <a:pt x="10" y="8"/>
                  </a:lnTo>
                  <a:lnTo>
                    <a:pt x="6" y="10"/>
                  </a:lnTo>
                  <a:lnTo>
                    <a:pt x="3" y="10"/>
                  </a:lnTo>
                  <a:lnTo>
                    <a:pt x="1" y="12"/>
                  </a:lnTo>
                  <a:lnTo>
                    <a:pt x="0" y="14"/>
                  </a:lnTo>
                  <a:lnTo>
                    <a:pt x="0" y="17"/>
                  </a:lnTo>
                  <a:lnTo>
                    <a:pt x="4" y="27"/>
                  </a:lnTo>
                  <a:lnTo>
                    <a:pt x="6" y="31"/>
                  </a:lnTo>
                  <a:lnTo>
                    <a:pt x="6" y="36"/>
                  </a:lnTo>
                  <a:lnTo>
                    <a:pt x="11" y="34"/>
                  </a:lnTo>
                  <a:lnTo>
                    <a:pt x="14" y="34"/>
                  </a:lnTo>
                  <a:lnTo>
                    <a:pt x="17" y="35"/>
                  </a:lnTo>
                  <a:lnTo>
                    <a:pt x="19" y="38"/>
                  </a:lnTo>
                  <a:lnTo>
                    <a:pt x="22" y="40"/>
                  </a:lnTo>
                  <a:lnTo>
                    <a:pt x="25" y="41"/>
                  </a:lnTo>
                  <a:lnTo>
                    <a:pt x="29" y="41"/>
                  </a:lnTo>
                  <a:lnTo>
                    <a:pt x="37" y="41"/>
                  </a:lnTo>
                  <a:lnTo>
                    <a:pt x="41" y="41"/>
                  </a:lnTo>
                  <a:lnTo>
                    <a:pt x="43" y="42"/>
                  </a:lnTo>
                  <a:lnTo>
                    <a:pt x="46" y="43"/>
                  </a:lnTo>
                  <a:lnTo>
                    <a:pt x="47" y="46"/>
                  </a:lnTo>
                  <a:lnTo>
                    <a:pt x="46" y="50"/>
                  </a:lnTo>
                  <a:lnTo>
                    <a:pt x="42" y="64"/>
                  </a:lnTo>
                  <a:lnTo>
                    <a:pt x="39" y="67"/>
                  </a:lnTo>
                  <a:lnTo>
                    <a:pt x="38" y="70"/>
                  </a:lnTo>
                  <a:lnTo>
                    <a:pt x="38" y="75"/>
                  </a:lnTo>
                  <a:lnTo>
                    <a:pt x="39" y="83"/>
                  </a:lnTo>
                  <a:lnTo>
                    <a:pt x="38" y="86"/>
                  </a:lnTo>
                  <a:lnTo>
                    <a:pt x="37" y="88"/>
                  </a:lnTo>
                  <a:lnTo>
                    <a:pt x="30" y="93"/>
                  </a:lnTo>
                  <a:lnTo>
                    <a:pt x="28" y="95"/>
                  </a:lnTo>
                  <a:lnTo>
                    <a:pt x="28" y="98"/>
                  </a:lnTo>
                  <a:lnTo>
                    <a:pt x="28" y="100"/>
                  </a:lnTo>
                  <a:lnTo>
                    <a:pt x="29" y="102"/>
                  </a:lnTo>
                  <a:lnTo>
                    <a:pt x="32" y="102"/>
                  </a:lnTo>
                  <a:lnTo>
                    <a:pt x="33" y="102"/>
                  </a:lnTo>
                  <a:lnTo>
                    <a:pt x="34" y="105"/>
                  </a:lnTo>
                  <a:lnTo>
                    <a:pt x="33" y="107"/>
                  </a:lnTo>
                  <a:lnTo>
                    <a:pt x="33" y="112"/>
                  </a:lnTo>
                  <a:lnTo>
                    <a:pt x="34" y="115"/>
                  </a:lnTo>
                  <a:lnTo>
                    <a:pt x="37" y="119"/>
                  </a:lnTo>
                  <a:lnTo>
                    <a:pt x="38" y="123"/>
                  </a:lnTo>
                  <a:lnTo>
                    <a:pt x="38" y="125"/>
                  </a:lnTo>
                  <a:lnTo>
                    <a:pt x="38" y="126"/>
                  </a:lnTo>
                  <a:lnTo>
                    <a:pt x="36" y="131"/>
                  </a:lnTo>
                  <a:lnTo>
                    <a:pt x="36" y="134"/>
                  </a:lnTo>
                  <a:lnTo>
                    <a:pt x="37" y="137"/>
                  </a:lnTo>
                  <a:lnTo>
                    <a:pt x="38" y="139"/>
                  </a:lnTo>
                  <a:lnTo>
                    <a:pt x="39" y="142"/>
                  </a:lnTo>
                  <a:lnTo>
                    <a:pt x="38" y="144"/>
                  </a:lnTo>
                  <a:lnTo>
                    <a:pt x="39" y="145"/>
                  </a:lnTo>
                  <a:lnTo>
                    <a:pt x="42" y="146"/>
                  </a:lnTo>
                  <a:lnTo>
                    <a:pt x="44" y="151"/>
                  </a:lnTo>
                  <a:lnTo>
                    <a:pt x="50" y="155"/>
                  </a:lnTo>
                  <a:lnTo>
                    <a:pt x="51" y="158"/>
                  </a:lnTo>
                  <a:lnTo>
                    <a:pt x="52" y="163"/>
                  </a:lnTo>
                  <a:lnTo>
                    <a:pt x="52" y="164"/>
                  </a:lnTo>
                  <a:lnTo>
                    <a:pt x="55" y="165"/>
                  </a:lnTo>
                  <a:lnTo>
                    <a:pt x="57" y="166"/>
                  </a:lnTo>
                  <a:lnTo>
                    <a:pt x="60" y="169"/>
                  </a:lnTo>
                  <a:lnTo>
                    <a:pt x="63" y="169"/>
                  </a:lnTo>
                  <a:lnTo>
                    <a:pt x="66" y="168"/>
                  </a:lnTo>
                  <a:lnTo>
                    <a:pt x="70" y="165"/>
                  </a:lnTo>
                  <a:lnTo>
                    <a:pt x="72" y="162"/>
                  </a:lnTo>
                  <a:lnTo>
                    <a:pt x="77" y="155"/>
                  </a:lnTo>
                  <a:lnTo>
                    <a:pt x="80" y="153"/>
                  </a:lnTo>
                  <a:lnTo>
                    <a:pt x="81" y="153"/>
                  </a:lnTo>
                  <a:lnTo>
                    <a:pt x="83" y="153"/>
                  </a:lnTo>
                  <a:lnTo>
                    <a:pt x="94" y="152"/>
                  </a:lnTo>
                  <a:lnTo>
                    <a:pt x="95" y="152"/>
                  </a:lnTo>
                  <a:lnTo>
                    <a:pt x="98" y="153"/>
                  </a:lnTo>
                  <a:lnTo>
                    <a:pt x="99" y="156"/>
                  </a:lnTo>
                  <a:lnTo>
                    <a:pt x="102" y="156"/>
                  </a:lnTo>
                  <a:lnTo>
                    <a:pt x="107" y="155"/>
                  </a:lnTo>
                  <a:lnTo>
                    <a:pt x="110" y="155"/>
                  </a:lnTo>
                  <a:lnTo>
                    <a:pt x="113" y="156"/>
                  </a:lnTo>
                  <a:lnTo>
                    <a:pt x="117" y="157"/>
                  </a:lnTo>
                  <a:lnTo>
                    <a:pt x="118" y="157"/>
                  </a:lnTo>
                  <a:lnTo>
                    <a:pt x="121" y="156"/>
                  </a:lnTo>
                  <a:lnTo>
                    <a:pt x="124" y="152"/>
                  </a:lnTo>
                  <a:lnTo>
                    <a:pt x="128" y="151"/>
                  </a:lnTo>
                  <a:lnTo>
                    <a:pt x="131" y="149"/>
                  </a:lnTo>
                  <a:lnTo>
                    <a:pt x="132" y="145"/>
                  </a:lnTo>
                  <a:lnTo>
                    <a:pt x="135" y="143"/>
                  </a:lnTo>
                  <a:lnTo>
                    <a:pt x="136" y="140"/>
                  </a:lnTo>
                  <a:lnTo>
                    <a:pt x="138" y="139"/>
                  </a:lnTo>
                  <a:lnTo>
                    <a:pt x="141" y="139"/>
                  </a:lnTo>
                  <a:lnTo>
                    <a:pt x="145" y="138"/>
                  </a:lnTo>
                  <a:lnTo>
                    <a:pt x="150" y="134"/>
                  </a:lnTo>
                  <a:lnTo>
                    <a:pt x="154" y="129"/>
                  </a:lnTo>
                  <a:lnTo>
                    <a:pt x="156" y="123"/>
                  </a:lnTo>
                  <a:lnTo>
                    <a:pt x="157" y="117"/>
                  </a:lnTo>
                  <a:lnTo>
                    <a:pt x="157" y="104"/>
                  </a:lnTo>
                  <a:lnTo>
                    <a:pt x="156" y="92"/>
                  </a:lnTo>
                  <a:lnTo>
                    <a:pt x="156" y="89"/>
                  </a:lnTo>
                  <a:lnTo>
                    <a:pt x="157" y="87"/>
                  </a:lnTo>
                  <a:lnTo>
                    <a:pt x="160" y="82"/>
                  </a:lnTo>
                  <a:lnTo>
                    <a:pt x="166" y="79"/>
                  </a:lnTo>
                  <a:lnTo>
                    <a:pt x="173" y="76"/>
                  </a:lnTo>
                  <a:lnTo>
                    <a:pt x="174" y="75"/>
                  </a:lnTo>
                  <a:lnTo>
                    <a:pt x="174" y="74"/>
                  </a:lnTo>
                  <a:lnTo>
                    <a:pt x="174" y="72"/>
                  </a:lnTo>
                  <a:lnTo>
                    <a:pt x="173" y="69"/>
                  </a:lnTo>
                  <a:lnTo>
                    <a:pt x="171" y="67"/>
                  </a:lnTo>
                  <a:lnTo>
                    <a:pt x="173" y="64"/>
                  </a:lnTo>
                  <a:lnTo>
                    <a:pt x="174" y="63"/>
                  </a:lnTo>
                  <a:lnTo>
                    <a:pt x="179" y="61"/>
                  </a:lnTo>
                  <a:lnTo>
                    <a:pt x="187" y="59"/>
                  </a:lnTo>
                  <a:lnTo>
                    <a:pt x="193" y="56"/>
                  </a:lnTo>
                  <a:lnTo>
                    <a:pt x="201" y="53"/>
                  </a:lnTo>
                  <a:lnTo>
                    <a:pt x="207" y="49"/>
                  </a:lnTo>
                  <a:lnTo>
                    <a:pt x="215" y="46"/>
                  </a:lnTo>
                  <a:lnTo>
                    <a:pt x="217" y="43"/>
                  </a:lnTo>
                  <a:lnTo>
                    <a:pt x="220" y="40"/>
                  </a:lnTo>
                  <a:lnTo>
                    <a:pt x="221" y="36"/>
                  </a:lnTo>
                  <a:lnTo>
                    <a:pt x="222" y="32"/>
                  </a:lnTo>
                  <a:lnTo>
                    <a:pt x="221" y="29"/>
                  </a:lnTo>
                  <a:lnTo>
                    <a:pt x="220" y="25"/>
                  </a:lnTo>
                  <a:lnTo>
                    <a:pt x="218" y="2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4" name="Freeform 1223"/>
            <p:cNvSpPr>
              <a:spLocks/>
            </p:cNvSpPr>
            <p:nvPr/>
          </p:nvSpPr>
          <p:spPr bwMode="auto">
            <a:xfrm>
              <a:off x="4098927" y="3041650"/>
              <a:ext cx="74613" cy="184150"/>
            </a:xfrm>
            <a:custGeom>
              <a:avLst/>
              <a:gdLst>
                <a:gd name="T0" fmla="*/ 2147483647 w 51"/>
                <a:gd name="T1" fmla="*/ 2147483647 h 116"/>
                <a:gd name="T2" fmla="*/ 2147483647 w 51"/>
                <a:gd name="T3" fmla="*/ 2147483647 h 116"/>
                <a:gd name="T4" fmla="*/ 2147483647 w 51"/>
                <a:gd name="T5" fmla="*/ 2147483647 h 116"/>
                <a:gd name="T6" fmla="*/ 2147483647 w 51"/>
                <a:gd name="T7" fmla="*/ 2147483647 h 116"/>
                <a:gd name="T8" fmla="*/ 2147483647 w 51"/>
                <a:gd name="T9" fmla="*/ 2147483647 h 116"/>
                <a:gd name="T10" fmla="*/ 2147483647 w 51"/>
                <a:gd name="T11" fmla="*/ 2147483647 h 116"/>
                <a:gd name="T12" fmla="*/ 2147483647 w 51"/>
                <a:gd name="T13" fmla="*/ 2147483647 h 116"/>
                <a:gd name="T14" fmla="*/ 2147483647 w 51"/>
                <a:gd name="T15" fmla="*/ 2147483647 h 116"/>
                <a:gd name="T16" fmla="*/ 2147483647 w 51"/>
                <a:gd name="T17" fmla="*/ 2147483647 h 116"/>
                <a:gd name="T18" fmla="*/ 2147483647 w 51"/>
                <a:gd name="T19" fmla="*/ 2147483647 h 116"/>
                <a:gd name="T20" fmla="*/ 2147483647 w 51"/>
                <a:gd name="T21" fmla="*/ 2147483647 h 116"/>
                <a:gd name="T22" fmla="*/ 2147483647 w 51"/>
                <a:gd name="T23" fmla="*/ 2147483647 h 116"/>
                <a:gd name="T24" fmla="*/ 2147483647 w 51"/>
                <a:gd name="T25" fmla="*/ 2147483647 h 116"/>
                <a:gd name="T26" fmla="*/ 2147483647 w 51"/>
                <a:gd name="T27" fmla="*/ 2147483647 h 116"/>
                <a:gd name="T28" fmla="*/ 2147483647 w 51"/>
                <a:gd name="T29" fmla="*/ 2147483647 h 116"/>
                <a:gd name="T30" fmla="*/ 2147483647 w 51"/>
                <a:gd name="T31" fmla="*/ 2147483647 h 116"/>
                <a:gd name="T32" fmla="*/ 2147483647 w 51"/>
                <a:gd name="T33" fmla="*/ 2147483647 h 116"/>
                <a:gd name="T34" fmla="*/ 2147483647 w 51"/>
                <a:gd name="T35" fmla="*/ 2147483647 h 116"/>
                <a:gd name="T36" fmla="*/ 2147483647 w 51"/>
                <a:gd name="T37" fmla="*/ 2147483647 h 116"/>
                <a:gd name="T38" fmla="*/ 2147483647 w 51"/>
                <a:gd name="T39" fmla="*/ 0 h 116"/>
                <a:gd name="T40" fmla="*/ 2147483647 w 51"/>
                <a:gd name="T41" fmla="*/ 2147483647 h 116"/>
                <a:gd name="T42" fmla="*/ 2147483647 w 51"/>
                <a:gd name="T43" fmla="*/ 2147483647 h 116"/>
                <a:gd name="T44" fmla="*/ 2147483647 w 51"/>
                <a:gd name="T45" fmla="*/ 2147483647 h 116"/>
                <a:gd name="T46" fmla="*/ 2147483647 w 51"/>
                <a:gd name="T47" fmla="*/ 2147483647 h 116"/>
                <a:gd name="T48" fmla="*/ 2147483647 w 51"/>
                <a:gd name="T49" fmla="*/ 2147483647 h 116"/>
                <a:gd name="T50" fmla="*/ 2147483647 w 51"/>
                <a:gd name="T51" fmla="*/ 2147483647 h 116"/>
                <a:gd name="T52" fmla="*/ 0 w 51"/>
                <a:gd name="T53" fmla="*/ 2147483647 h 116"/>
                <a:gd name="T54" fmla="*/ 2147483647 w 51"/>
                <a:gd name="T55" fmla="*/ 2147483647 h 116"/>
                <a:gd name="T56" fmla="*/ 2147483647 w 51"/>
                <a:gd name="T57" fmla="*/ 2147483647 h 116"/>
                <a:gd name="T58" fmla="*/ 2147483647 w 51"/>
                <a:gd name="T59" fmla="*/ 2147483647 h 116"/>
                <a:gd name="T60" fmla="*/ 2147483647 w 51"/>
                <a:gd name="T61" fmla="*/ 2147483647 h 116"/>
                <a:gd name="T62" fmla="*/ 2147483647 w 51"/>
                <a:gd name="T63" fmla="*/ 2147483647 h 116"/>
                <a:gd name="T64" fmla="*/ 2147483647 w 51"/>
                <a:gd name="T65" fmla="*/ 2147483647 h 116"/>
                <a:gd name="T66" fmla="*/ 2147483647 w 51"/>
                <a:gd name="T67" fmla="*/ 2147483647 h 116"/>
                <a:gd name="T68" fmla="*/ 2147483647 w 51"/>
                <a:gd name="T69" fmla="*/ 2147483647 h 116"/>
                <a:gd name="T70" fmla="*/ 2147483647 w 51"/>
                <a:gd name="T71" fmla="*/ 2147483647 h 116"/>
                <a:gd name="T72" fmla="*/ 2147483647 w 51"/>
                <a:gd name="T73" fmla="*/ 2147483647 h 116"/>
                <a:gd name="T74" fmla="*/ 2147483647 w 51"/>
                <a:gd name="T75" fmla="*/ 2147483647 h 116"/>
                <a:gd name="T76" fmla="*/ 2147483647 w 51"/>
                <a:gd name="T77" fmla="*/ 2147483647 h 116"/>
                <a:gd name="T78" fmla="*/ 2147483647 w 51"/>
                <a:gd name="T79" fmla="*/ 2147483647 h 116"/>
                <a:gd name="T80" fmla="*/ 2147483647 w 51"/>
                <a:gd name="T81" fmla="*/ 2147483647 h 116"/>
                <a:gd name="T82" fmla="*/ 2147483647 w 51"/>
                <a:gd name="T83" fmla="*/ 2147483647 h 116"/>
                <a:gd name="T84" fmla="*/ 2147483647 w 51"/>
                <a:gd name="T85" fmla="*/ 2147483647 h 116"/>
                <a:gd name="T86" fmla="*/ 2147483647 w 51"/>
                <a:gd name="T87" fmla="*/ 2147483647 h 1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
                <a:gd name="T133" fmla="*/ 0 h 116"/>
                <a:gd name="T134" fmla="*/ 51 w 51"/>
                <a:gd name="T135" fmla="*/ 116 h 1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 h="116">
                  <a:moveTo>
                    <a:pt x="42" y="110"/>
                  </a:moveTo>
                  <a:lnTo>
                    <a:pt x="44" y="108"/>
                  </a:lnTo>
                  <a:lnTo>
                    <a:pt x="42" y="105"/>
                  </a:lnTo>
                  <a:lnTo>
                    <a:pt x="41" y="103"/>
                  </a:lnTo>
                  <a:lnTo>
                    <a:pt x="40" y="101"/>
                  </a:lnTo>
                  <a:lnTo>
                    <a:pt x="40" y="97"/>
                  </a:lnTo>
                  <a:lnTo>
                    <a:pt x="42" y="92"/>
                  </a:lnTo>
                  <a:lnTo>
                    <a:pt x="42" y="91"/>
                  </a:lnTo>
                  <a:lnTo>
                    <a:pt x="42" y="89"/>
                  </a:lnTo>
                  <a:lnTo>
                    <a:pt x="41" y="85"/>
                  </a:lnTo>
                  <a:lnTo>
                    <a:pt x="39" y="82"/>
                  </a:lnTo>
                  <a:lnTo>
                    <a:pt x="37" y="78"/>
                  </a:lnTo>
                  <a:lnTo>
                    <a:pt x="37" y="73"/>
                  </a:lnTo>
                  <a:lnTo>
                    <a:pt x="39" y="71"/>
                  </a:lnTo>
                  <a:lnTo>
                    <a:pt x="37" y="69"/>
                  </a:lnTo>
                  <a:lnTo>
                    <a:pt x="36" y="69"/>
                  </a:lnTo>
                  <a:lnTo>
                    <a:pt x="33" y="69"/>
                  </a:lnTo>
                  <a:lnTo>
                    <a:pt x="32" y="66"/>
                  </a:lnTo>
                  <a:lnTo>
                    <a:pt x="32" y="64"/>
                  </a:lnTo>
                  <a:lnTo>
                    <a:pt x="32" y="62"/>
                  </a:lnTo>
                  <a:lnTo>
                    <a:pt x="35" y="59"/>
                  </a:lnTo>
                  <a:lnTo>
                    <a:pt x="41" y="54"/>
                  </a:lnTo>
                  <a:lnTo>
                    <a:pt x="42" y="52"/>
                  </a:lnTo>
                  <a:lnTo>
                    <a:pt x="44" y="50"/>
                  </a:lnTo>
                  <a:lnTo>
                    <a:pt x="42" y="41"/>
                  </a:lnTo>
                  <a:lnTo>
                    <a:pt x="42" y="37"/>
                  </a:lnTo>
                  <a:lnTo>
                    <a:pt x="44" y="33"/>
                  </a:lnTo>
                  <a:lnTo>
                    <a:pt x="46" y="31"/>
                  </a:lnTo>
                  <a:lnTo>
                    <a:pt x="50" y="16"/>
                  </a:lnTo>
                  <a:lnTo>
                    <a:pt x="51" y="12"/>
                  </a:lnTo>
                  <a:lnTo>
                    <a:pt x="50" y="9"/>
                  </a:lnTo>
                  <a:lnTo>
                    <a:pt x="47" y="8"/>
                  </a:lnTo>
                  <a:lnTo>
                    <a:pt x="45" y="7"/>
                  </a:lnTo>
                  <a:lnTo>
                    <a:pt x="41" y="7"/>
                  </a:lnTo>
                  <a:lnTo>
                    <a:pt x="33" y="7"/>
                  </a:lnTo>
                  <a:lnTo>
                    <a:pt x="30" y="7"/>
                  </a:lnTo>
                  <a:lnTo>
                    <a:pt x="26" y="6"/>
                  </a:lnTo>
                  <a:lnTo>
                    <a:pt x="23" y="5"/>
                  </a:lnTo>
                  <a:lnTo>
                    <a:pt x="21" y="1"/>
                  </a:lnTo>
                  <a:lnTo>
                    <a:pt x="18" y="0"/>
                  </a:lnTo>
                  <a:lnTo>
                    <a:pt x="16" y="0"/>
                  </a:lnTo>
                  <a:lnTo>
                    <a:pt x="11" y="2"/>
                  </a:lnTo>
                  <a:lnTo>
                    <a:pt x="9" y="9"/>
                  </a:lnTo>
                  <a:lnTo>
                    <a:pt x="9" y="12"/>
                  </a:lnTo>
                  <a:lnTo>
                    <a:pt x="11" y="13"/>
                  </a:lnTo>
                  <a:lnTo>
                    <a:pt x="12" y="15"/>
                  </a:lnTo>
                  <a:lnTo>
                    <a:pt x="13" y="16"/>
                  </a:lnTo>
                  <a:lnTo>
                    <a:pt x="13" y="33"/>
                  </a:lnTo>
                  <a:lnTo>
                    <a:pt x="12" y="41"/>
                  </a:lnTo>
                  <a:lnTo>
                    <a:pt x="8" y="50"/>
                  </a:lnTo>
                  <a:lnTo>
                    <a:pt x="4" y="59"/>
                  </a:lnTo>
                  <a:lnTo>
                    <a:pt x="2" y="70"/>
                  </a:lnTo>
                  <a:lnTo>
                    <a:pt x="0" y="75"/>
                  </a:lnTo>
                  <a:lnTo>
                    <a:pt x="0" y="77"/>
                  </a:lnTo>
                  <a:lnTo>
                    <a:pt x="0" y="78"/>
                  </a:lnTo>
                  <a:lnTo>
                    <a:pt x="2" y="79"/>
                  </a:lnTo>
                  <a:lnTo>
                    <a:pt x="4" y="79"/>
                  </a:lnTo>
                  <a:lnTo>
                    <a:pt x="7" y="78"/>
                  </a:lnTo>
                  <a:lnTo>
                    <a:pt x="11" y="76"/>
                  </a:lnTo>
                  <a:lnTo>
                    <a:pt x="12" y="76"/>
                  </a:lnTo>
                  <a:lnTo>
                    <a:pt x="13" y="76"/>
                  </a:lnTo>
                  <a:lnTo>
                    <a:pt x="13" y="77"/>
                  </a:lnTo>
                  <a:lnTo>
                    <a:pt x="14" y="78"/>
                  </a:lnTo>
                  <a:lnTo>
                    <a:pt x="12" y="82"/>
                  </a:lnTo>
                  <a:lnTo>
                    <a:pt x="9" y="84"/>
                  </a:lnTo>
                  <a:lnTo>
                    <a:pt x="6" y="85"/>
                  </a:lnTo>
                  <a:lnTo>
                    <a:pt x="4" y="88"/>
                  </a:lnTo>
                  <a:lnTo>
                    <a:pt x="4" y="89"/>
                  </a:lnTo>
                  <a:lnTo>
                    <a:pt x="4" y="90"/>
                  </a:lnTo>
                  <a:lnTo>
                    <a:pt x="9" y="94"/>
                  </a:lnTo>
                  <a:lnTo>
                    <a:pt x="11" y="96"/>
                  </a:lnTo>
                  <a:lnTo>
                    <a:pt x="11" y="98"/>
                  </a:lnTo>
                  <a:lnTo>
                    <a:pt x="9" y="99"/>
                  </a:lnTo>
                  <a:lnTo>
                    <a:pt x="9" y="101"/>
                  </a:lnTo>
                  <a:lnTo>
                    <a:pt x="9" y="104"/>
                  </a:lnTo>
                  <a:lnTo>
                    <a:pt x="9" y="107"/>
                  </a:lnTo>
                  <a:lnTo>
                    <a:pt x="8" y="110"/>
                  </a:lnTo>
                  <a:lnTo>
                    <a:pt x="8" y="114"/>
                  </a:lnTo>
                  <a:lnTo>
                    <a:pt x="8" y="115"/>
                  </a:lnTo>
                  <a:lnTo>
                    <a:pt x="11" y="115"/>
                  </a:lnTo>
                  <a:lnTo>
                    <a:pt x="14" y="115"/>
                  </a:lnTo>
                  <a:lnTo>
                    <a:pt x="20" y="115"/>
                  </a:lnTo>
                  <a:lnTo>
                    <a:pt x="23" y="114"/>
                  </a:lnTo>
                  <a:lnTo>
                    <a:pt x="28" y="114"/>
                  </a:lnTo>
                  <a:lnTo>
                    <a:pt x="31" y="116"/>
                  </a:lnTo>
                  <a:lnTo>
                    <a:pt x="35" y="116"/>
                  </a:lnTo>
                  <a:lnTo>
                    <a:pt x="37" y="114"/>
                  </a:lnTo>
                  <a:lnTo>
                    <a:pt x="42" y="1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5" name="Freeform 1224"/>
            <p:cNvSpPr>
              <a:spLocks/>
            </p:cNvSpPr>
            <p:nvPr/>
          </p:nvSpPr>
          <p:spPr bwMode="auto">
            <a:xfrm>
              <a:off x="4408492" y="2701928"/>
              <a:ext cx="85725" cy="66675"/>
            </a:xfrm>
            <a:custGeom>
              <a:avLst/>
              <a:gdLst>
                <a:gd name="T0" fmla="*/ 0 w 59"/>
                <a:gd name="T1" fmla="*/ 2147483647 h 42"/>
                <a:gd name="T2" fmla="*/ 2147483647 w 59"/>
                <a:gd name="T3" fmla="*/ 2147483647 h 42"/>
                <a:gd name="T4" fmla="*/ 2147483647 w 59"/>
                <a:gd name="T5" fmla="*/ 2147483647 h 42"/>
                <a:gd name="T6" fmla="*/ 2147483647 w 59"/>
                <a:gd name="T7" fmla="*/ 2147483647 h 42"/>
                <a:gd name="T8" fmla="*/ 2147483647 w 59"/>
                <a:gd name="T9" fmla="*/ 2147483647 h 42"/>
                <a:gd name="T10" fmla="*/ 2147483647 w 59"/>
                <a:gd name="T11" fmla="*/ 2147483647 h 42"/>
                <a:gd name="T12" fmla="*/ 2147483647 w 59"/>
                <a:gd name="T13" fmla="*/ 2147483647 h 42"/>
                <a:gd name="T14" fmla="*/ 2147483647 w 59"/>
                <a:gd name="T15" fmla="*/ 2147483647 h 42"/>
                <a:gd name="T16" fmla="*/ 2147483647 w 59"/>
                <a:gd name="T17" fmla="*/ 2147483647 h 42"/>
                <a:gd name="T18" fmla="*/ 2147483647 w 59"/>
                <a:gd name="T19" fmla="*/ 2147483647 h 42"/>
                <a:gd name="T20" fmla="*/ 2147483647 w 59"/>
                <a:gd name="T21" fmla="*/ 2147483647 h 42"/>
                <a:gd name="T22" fmla="*/ 2147483647 w 59"/>
                <a:gd name="T23" fmla="*/ 2147483647 h 42"/>
                <a:gd name="T24" fmla="*/ 2147483647 w 59"/>
                <a:gd name="T25" fmla="*/ 2147483647 h 42"/>
                <a:gd name="T26" fmla="*/ 2147483647 w 59"/>
                <a:gd name="T27" fmla="*/ 2147483647 h 42"/>
                <a:gd name="T28" fmla="*/ 2147483647 w 59"/>
                <a:gd name="T29" fmla="*/ 2147483647 h 42"/>
                <a:gd name="T30" fmla="*/ 2147483647 w 59"/>
                <a:gd name="T31" fmla="*/ 2147483647 h 42"/>
                <a:gd name="T32" fmla="*/ 2147483647 w 59"/>
                <a:gd name="T33" fmla="*/ 2147483647 h 42"/>
                <a:gd name="T34" fmla="*/ 2147483647 w 59"/>
                <a:gd name="T35" fmla="*/ 2147483647 h 42"/>
                <a:gd name="T36" fmla="*/ 2147483647 w 59"/>
                <a:gd name="T37" fmla="*/ 2147483647 h 42"/>
                <a:gd name="T38" fmla="*/ 2147483647 w 59"/>
                <a:gd name="T39" fmla="*/ 0 h 42"/>
                <a:gd name="T40" fmla="*/ 2147483647 w 59"/>
                <a:gd name="T41" fmla="*/ 0 h 42"/>
                <a:gd name="T42" fmla="*/ 2147483647 w 59"/>
                <a:gd name="T43" fmla="*/ 0 h 42"/>
                <a:gd name="T44" fmla="*/ 2147483647 w 59"/>
                <a:gd name="T45" fmla="*/ 2147483647 h 42"/>
                <a:gd name="T46" fmla="*/ 2147483647 w 59"/>
                <a:gd name="T47" fmla="*/ 2147483647 h 42"/>
                <a:gd name="T48" fmla="*/ 2147483647 w 59"/>
                <a:gd name="T49" fmla="*/ 2147483647 h 42"/>
                <a:gd name="T50" fmla="*/ 2147483647 w 59"/>
                <a:gd name="T51" fmla="*/ 0 h 42"/>
                <a:gd name="T52" fmla="*/ 0 w 59"/>
                <a:gd name="T53" fmla="*/ 2147483647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9"/>
                <a:gd name="T82" fmla="*/ 0 h 42"/>
                <a:gd name="T83" fmla="*/ 59 w 59"/>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9" h="42">
                  <a:moveTo>
                    <a:pt x="0" y="5"/>
                  </a:moveTo>
                  <a:lnTo>
                    <a:pt x="2" y="11"/>
                  </a:lnTo>
                  <a:lnTo>
                    <a:pt x="5" y="16"/>
                  </a:lnTo>
                  <a:lnTo>
                    <a:pt x="10" y="21"/>
                  </a:lnTo>
                  <a:lnTo>
                    <a:pt x="17" y="23"/>
                  </a:lnTo>
                  <a:lnTo>
                    <a:pt x="19" y="24"/>
                  </a:lnTo>
                  <a:lnTo>
                    <a:pt x="22" y="28"/>
                  </a:lnTo>
                  <a:lnTo>
                    <a:pt x="24" y="30"/>
                  </a:lnTo>
                  <a:lnTo>
                    <a:pt x="27" y="32"/>
                  </a:lnTo>
                  <a:lnTo>
                    <a:pt x="40" y="36"/>
                  </a:lnTo>
                  <a:lnTo>
                    <a:pt x="46" y="38"/>
                  </a:lnTo>
                  <a:lnTo>
                    <a:pt x="51" y="42"/>
                  </a:lnTo>
                  <a:lnTo>
                    <a:pt x="55" y="36"/>
                  </a:lnTo>
                  <a:lnTo>
                    <a:pt x="59" y="31"/>
                  </a:lnTo>
                  <a:lnTo>
                    <a:pt x="59" y="23"/>
                  </a:lnTo>
                  <a:lnTo>
                    <a:pt x="54" y="19"/>
                  </a:lnTo>
                  <a:lnTo>
                    <a:pt x="51" y="15"/>
                  </a:lnTo>
                  <a:lnTo>
                    <a:pt x="49" y="9"/>
                  </a:lnTo>
                  <a:lnTo>
                    <a:pt x="47" y="3"/>
                  </a:lnTo>
                  <a:lnTo>
                    <a:pt x="46" y="0"/>
                  </a:lnTo>
                  <a:lnTo>
                    <a:pt x="45" y="0"/>
                  </a:lnTo>
                  <a:lnTo>
                    <a:pt x="36" y="0"/>
                  </a:lnTo>
                  <a:lnTo>
                    <a:pt x="27" y="3"/>
                  </a:lnTo>
                  <a:lnTo>
                    <a:pt x="18" y="3"/>
                  </a:lnTo>
                  <a:lnTo>
                    <a:pt x="14" y="2"/>
                  </a:lnTo>
                  <a:lnTo>
                    <a:pt x="9" y="0"/>
                  </a:lnTo>
                  <a:lnTo>
                    <a:pt x="0"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6" name="Freeform 1225"/>
            <p:cNvSpPr>
              <a:spLocks/>
            </p:cNvSpPr>
            <p:nvPr/>
          </p:nvSpPr>
          <p:spPr bwMode="auto">
            <a:xfrm>
              <a:off x="4097338" y="3040063"/>
              <a:ext cx="74612" cy="184150"/>
            </a:xfrm>
            <a:custGeom>
              <a:avLst/>
              <a:gdLst>
                <a:gd name="T0" fmla="*/ 2147483647 w 51"/>
                <a:gd name="T1" fmla="*/ 2147483647 h 116"/>
                <a:gd name="T2" fmla="*/ 2147483647 w 51"/>
                <a:gd name="T3" fmla="*/ 2147483647 h 116"/>
                <a:gd name="T4" fmla="*/ 2147483647 w 51"/>
                <a:gd name="T5" fmla="*/ 2147483647 h 116"/>
                <a:gd name="T6" fmla="*/ 2147483647 w 51"/>
                <a:gd name="T7" fmla="*/ 2147483647 h 116"/>
                <a:gd name="T8" fmla="*/ 2147483647 w 51"/>
                <a:gd name="T9" fmla="*/ 2147483647 h 116"/>
                <a:gd name="T10" fmla="*/ 2147483647 w 51"/>
                <a:gd name="T11" fmla="*/ 2147483647 h 116"/>
                <a:gd name="T12" fmla="*/ 2147483647 w 51"/>
                <a:gd name="T13" fmla="*/ 2147483647 h 116"/>
                <a:gd name="T14" fmla="*/ 2147483647 w 51"/>
                <a:gd name="T15" fmla="*/ 2147483647 h 116"/>
                <a:gd name="T16" fmla="*/ 2147483647 w 51"/>
                <a:gd name="T17" fmla="*/ 2147483647 h 116"/>
                <a:gd name="T18" fmla="*/ 2147483647 w 51"/>
                <a:gd name="T19" fmla="*/ 2147483647 h 116"/>
                <a:gd name="T20" fmla="*/ 2147483647 w 51"/>
                <a:gd name="T21" fmla="*/ 2147483647 h 116"/>
                <a:gd name="T22" fmla="*/ 2147483647 w 51"/>
                <a:gd name="T23" fmla="*/ 2147483647 h 116"/>
                <a:gd name="T24" fmla="*/ 2147483647 w 51"/>
                <a:gd name="T25" fmla="*/ 2147483647 h 116"/>
                <a:gd name="T26" fmla="*/ 2147483647 w 51"/>
                <a:gd name="T27" fmla="*/ 2147483647 h 116"/>
                <a:gd name="T28" fmla="*/ 2147483647 w 51"/>
                <a:gd name="T29" fmla="*/ 2147483647 h 116"/>
                <a:gd name="T30" fmla="*/ 2147483647 w 51"/>
                <a:gd name="T31" fmla="*/ 2147483647 h 116"/>
                <a:gd name="T32" fmla="*/ 2147483647 w 51"/>
                <a:gd name="T33" fmla="*/ 2147483647 h 116"/>
                <a:gd name="T34" fmla="*/ 2147483647 w 51"/>
                <a:gd name="T35" fmla="*/ 2147483647 h 116"/>
                <a:gd name="T36" fmla="*/ 2147483647 w 51"/>
                <a:gd name="T37" fmla="*/ 2147483647 h 116"/>
                <a:gd name="T38" fmla="*/ 2147483647 w 51"/>
                <a:gd name="T39" fmla="*/ 2147483647 h 116"/>
                <a:gd name="T40" fmla="*/ 2147483647 w 51"/>
                <a:gd name="T41" fmla="*/ 2147483647 h 116"/>
                <a:gd name="T42" fmla="*/ 2147483647 w 51"/>
                <a:gd name="T43" fmla="*/ 2147483647 h 116"/>
                <a:gd name="T44" fmla="*/ 2147483647 w 51"/>
                <a:gd name="T45" fmla="*/ 2147483647 h 116"/>
                <a:gd name="T46" fmla="*/ 2147483647 w 51"/>
                <a:gd name="T47" fmla="*/ 2147483647 h 116"/>
                <a:gd name="T48" fmla="*/ 2147483647 w 51"/>
                <a:gd name="T49" fmla="*/ 2147483647 h 116"/>
                <a:gd name="T50" fmla="*/ 2147483647 w 51"/>
                <a:gd name="T51" fmla="*/ 2147483647 h 116"/>
                <a:gd name="T52" fmla="*/ 2147483647 w 51"/>
                <a:gd name="T53" fmla="*/ 0 h 116"/>
                <a:gd name="T54" fmla="*/ 2147483647 w 51"/>
                <a:gd name="T55" fmla="*/ 2147483647 h 116"/>
                <a:gd name="T56" fmla="*/ 2147483647 w 51"/>
                <a:gd name="T57" fmla="*/ 2147483647 h 116"/>
                <a:gd name="T58" fmla="*/ 2147483647 w 51"/>
                <a:gd name="T59" fmla="*/ 2147483647 h 116"/>
                <a:gd name="T60" fmla="*/ 2147483647 w 51"/>
                <a:gd name="T61" fmla="*/ 2147483647 h 116"/>
                <a:gd name="T62" fmla="*/ 2147483647 w 51"/>
                <a:gd name="T63" fmla="*/ 2147483647 h 116"/>
                <a:gd name="T64" fmla="*/ 2147483647 w 51"/>
                <a:gd name="T65" fmla="*/ 2147483647 h 116"/>
                <a:gd name="T66" fmla="*/ 2147483647 w 51"/>
                <a:gd name="T67" fmla="*/ 2147483647 h 116"/>
                <a:gd name="T68" fmla="*/ 2147483647 w 51"/>
                <a:gd name="T69" fmla="*/ 2147483647 h 116"/>
                <a:gd name="T70" fmla="*/ 0 w 51"/>
                <a:gd name="T71" fmla="*/ 2147483647 h 116"/>
                <a:gd name="T72" fmla="*/ 0 w 51"/>
                <a:gd name="T73" fmla="*/ 2147483647 h 116"/>
                <a:gd name="T74" fmla="*/ 2147483647 w 51"/>
                <a:gd name="T75" fmla="*/ 2147483647 h 116"/>
                <a:gd name="T76" fmla="*/ 2147483647 w 51"/>
                <a:gd name="T77" fmla="*/ 2147483647 h 116"/>
                <a:gd name="T78" fmla="*/ 2147483647 w 51"/>
                <a:gd name="T79" fmla="*/ 2147483647 h 116"/>
                <a:gd name="T80" fmla="*/ 2147483647 w 51"/>
                <a:gd name="T81" fmla="*/ 2147483647 h 116"/>
                <a:gd name="T82" fmla="*/ 2147483647 w 51"/>
                <a:gd name="T83" fmla="*/ 2147483647 h 116"/>
                <a:gd name="T84" fmla="*/ 2147483647 w 51"/>
                <a:gd name="T85" fmla="*/ 2147483647 h 116"/>
                <a:gd name="T86" fmla="*/ 2147483647 w 51"/>
                <a:gd name="T87" fmla="*/ 2147483647 h 116"/>
                <a:gd name="T88" fmla="*/ 2147483647 w 51"/>
                <a:gd name="T89" fmla="*/ 2147483647 h 116"/>
                <a:gd name="T90" fmla="*/ 2147483647 w 51"/>
                <a:gd name="T91" fmla="*/ 2147483647 h 116"/>
                <a:gd name="T92" fmla="*/ 2147483647 w 51"/>
                <a:gd name="T93" fmla="*/ 2147483647 h 116"/>
                <a:gd name="T94" fmla="*/ 2147483647 w 51"/>
                <a:gd name="T95" fmla="*/ 2147483647 h 116"/>
                <a:gd name="T96" fmla="*/ 2147483647 w 51"/>
                <a:gd name="T97" fmla="*/ 2147483647 h 116"/>
                <a:gd name="T98" fmla="*/ 2147483647 w 51"/>
                <a:gd name="T99" fmla="*/ 2147483647 h 116"/>
                <a:gd name="T100" fmla="*/ 2147483647 w 51"/>
                <a:gd name="T101" fmla="*/ 2147483647 h 116"/>
                <a:gd name="T102" fmla="*/ 2147483647 w 51"/>
                <a:gd name="T103" fmla="*/ 2147483647 h 116"/>
                <a:gd name="T104" fmla="*/ 2147483647 w 51"/>
                <a:gd name="T105" fmla="*/ 2147483647 h 116"/>
                <a:gd name="T106" fmla="*/ 2147483647 w 51"/>
                <a:gd name="T107" fmla="*/ 2147483647 h 116"/>
                <a:gd name="T108" fmla="*/ 2147483647 w 51"/>
                <a:gd name="T109" fmla="*/ 2147483647 h 116"/>
                <a:gd name="T110" fmla="*/ 2147483647 w 51"/>
                <a:gd name="T111" fmla="*/ 2147483647 h 116"/>
                <a:gd name="T112" fmla="*/ 2147483647 w 51"/>
                <a:gd name="T113" fmla="*/ 2147483647 h 116"/>
                <a:gd name="T114" fmla="*/ 2147483647 w 51"/>
                <a:gd name="T115" fmla="*/ 2147483647 h 116"/>
                <a:gd name="T116" fmla="*/ 2147483647 w 51"/>
                <a:gd name="T117" fmla="*/ 2147483647 h 116"/>
                <a:gd name="T118" fmla="*/ 2147483647 w 51"/>
                <a:gd name="T119" fmla="*/ 2147483647 h 1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
                <a:gd name="T181" fmla="*/ 0 h 116"/>
                <a:gd name="T182" fmla="*/ 51 w 51"/>
                <a:gd name="T183" fmla="*/ 116 h 1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 h="116">
                  <a:moveTo>
                    <a:pt x="42" y="110"/>
                  </a:moveTo>
                  <a:lnTo>
                    <a:pt x="42" y="110"/>
                  </a:lnTo>
                  <a:lnTo>
                    <a:pt x="43" y="108"/>
                  </a:lnTo>
                  <a:lnTo>
                    <a:pt x="42" y="105"/>
                  </a:lnTo>
                  <a:lnTo>
                    <a:pt x="41" y="103"/>
                  </a:lnTo>
                  <a:lnTo>
                    <a:pt x="40" y="100"/>
                  </a:lnTo>
                  <a:lnTo>
                    <a:pt x="40" y="97"/>
                  </a:lnTo>
                  <a:lnTo>
                    <a:pt x="42" y="92"/>
                  </a:lnTo>
                  <a:lnTo>
                    <a:pt x="42" y="91"/>
                  </a:lnTo>
                  <a:lnTo>
                    <a:pt x="42" y="89"/>
                  </a:lnTo>
                  <a:lnTo>
                    <a:pt x="41" y="85"/>
                  </a:lnTo>
                  <a:lnTo>
                    <a:pt x="38" y="81"/>
                  </a:lnTo>
                  <a:lnTo>
                    <a:pt x="37" y="78"/>
                  </a:lnTo>
                  <a:lnTo>
                    <a:pt x="37" y="73"/>
                  </a:lnTo>
                  <a:lnTo>
                    <a:pt x="38" y="71"/>
                  </a:lnTo>
                  <a:lnTo>
                    <a:pt x="37" y="68"/>
                  </a:lnTo>
                  <a:lnTo>
                    <a:pt x="36" y="68"/>
                  </a:lnTo>
                  <a:lnTo>
                    <a:pt x="33" y="68"/>
                  </a:lnTo>
                  <a:lnTo>
                    <a:pt x="32" y="66"/>
                  </a:lnTo>
                  <a:lnTo>
                    <a:pt x="32" y="64"/>
                  </a:lnTo>
                  <a:lnTo>
                    <a:pt x="32" y="61"/>
                  </a:lnTo>
                  <a:lnTo>
                    <a:pt x="34" y="59"/>
                  </a:lnTo>
                  <a:lnTo>
                    <a:pt x="41" y="54"/>
                  </a:lnTo>
                  <a:lnTo>
                    <a:pt x="42" y="52"/>
                  </a:lnTo>
                  <a:lnTo>
                    <a:pt x="43" y="49"/>
                  </a:lnTo>
                  <a:lnTo>
                    <a:pt x="42" y="41"/>
                  </a:lnTo>
                  <a:lnTo>
                    <a:pt x="42" y="36"/>
                  </a:lnTo>
                  <a:lnTo>
                    <a:pt x="43" y="33"/>
                  </a:lnTo>
                  <a:lnTo>
                    <a:pt x="46" y="30"/>
                  </a:lnTo>
                  <a:lnTo>
                    <a:pt x="50" y="16"/>
                  </a:lnTo>
                  <a:lnTo>
                    <a:pt x="51" y="12"/>
                  </a:lnTo>
                  <a:lnTo>
                    <a:pt x="50" y="9"/>
                  </a:lnTo>
                  <a:lnTo>
                    <a:pt x="47" y="8"/>
                  </a:lnTo>
                  <a:lnTo>
                    <a:pt x="45" y="7"/>
                  </a:lnTo>
                  <a:lnTo>
                    <a:pt x="41" y="7"/>
                  </a:lnTo>
                  <a:lnTo>
                    <a:pt x="33" y="7"/>
                  </a:lnTo>
                  <a:lnTo>
                    <a:pt x="29" y="7"/>
                  </a:lnTo>
                  <a:lnTo>
                    <a:pt x="26" y="6"/>
                  </a:lnTo>
                  <a:lnTo>
                    <a:pt x="23" y="4"/>
                  </a:lnTo>
                  <a:lnTo>
                    <a:pt x="21" y="1"/>
                  </a:lnTo>
                  <a:lnTo>
                    <a:pt x="18" y="0"/>
                  </a:lnTo>
                  <a:lnTo>
                    <a:pt x="15" y="0"/>
                  </a:lnTo>
                  <a:lnTo>
                    <a:pt x="10" y="2"/>
                  </a:lnTo>
                  <a:lnTo>
                    <a:pt x="9" y="9"/>
                  </a:lnTo>
                  <a:lnTo>
                    <a:pt x="9" y="12"/>
                  </a:lnTo>
                  <a:lnTo>
                    <a:pt x="10" y="13"/>
                  </a:lnTo>
                  <a:lnTo>
                    <a:pt x="12" y="15"/>
                  </a:lnTo>
                  <a:lnTo>
                    <a:pt x="13" y="16"/>
                  </a:lnTo>
                  <a:lnTo>
                    <a:pt x="13" y="33"/>
                  </a:lnTo>
                  <a:lnTo>
                    <a:pt x="12" y="41"/>
                  </a:lnTo>
                  <a:lnTo>
                    <a:pt x="8" y="49"/>
                  </a:lnTo>
                  <a:lnTo>
                    <a:pt x="4" y="59"/>
                  </a:lnTo>
                  <a:lnTo>
                    <a:pt x="1" y="70"/>
                  </a:lnTo>
                  <a:lnTo>
                    <a:pt x="0" y="74"/>
                  </a:lnTo>
                  <a:lnTo>
                    <a:pt x="0" y="77"/>
                  </a:lnTo>
                  <a:lnTo>
                    <a:pt x="0" y="78"/>
                  </a:lnTo>
                  <a:lnTo>
                    <a:pt x="1" y="79"/>
                  </a:lnTo>
                  <a:lnTo>
                    <a:pt x="4" y="79"/>
                  </a:lnTo>
                  <a:lnTo>
                    <a:pt x="7" y="78"/>
                  </a:lnTo>
                  <a:lnTo>
                    <a:pt x="10" y="76"/>
                  </a:lnTo>
                  <a:lnTo>
                    <a:pt x="12" y="76"/>
                  </a:lnTo>
                  <a:lnTo>
                    <a:pt x="13" y="76"/>
                  </a:lnTo>
                  <a:lnTo>
                    <a:pt x="13" y="77"/>
                  </a:lnTo>
                  <a:lnTo>
                    <a:pt x="14" y="78"/>
                  </a:lnTo>
                  <a:lnTo>
                    <a:pt x="12" y="81"/>
                  </a:lnTo>
                  <a:lnTo>
                    <a:pt x="9" y="84"/>
                  </a:lnTo>
                  <a:lnTo>
                    <a:pt x="5" y="85"/>
                  </a:lnTo>
                  <a:lnTo>
                    <a:pt x="4" y="87"/>
                  </a:lnTo>
                  <a:lnTo>
                    <a:pt x="4" y="89"/>
                  </a:lnTo>
                  <a:lnTo>
                    <a:pt x="4" y="90"/>
                  </a:lnTo>
                  <a:lnTo>
                    <a:pt x="9" y="93"/>
                  </a:lnTo>
                  <a:lnTo>
                    <a:pt x="10" y="96"/>
                  </a:lnTo>
                  <a:lnTo>
                    <a:pt x="10" y="98"/>
                  </a:lnTo>
                  <a:lnTo>
                    <a:pt x="9" y="99"/>
                  </a:lnTo>
                  <a:lnTo>
                    <a:pt x="9" y="100"/>
                  </a:lnTo>
                  <a:lnTo>
                    <a:pt x="9" y="104"/>
                  </a:lnTo>
                  <a:lnTo>
                    <a:pt x="9" y="106"/>
                  </a:lnTo>
                  <a:lnTo>
                    <a:pt x="8" y="110"/>
                  </a:lnTo>
                  <a:lnTo>
                    <a:pt x="8" y="113"/>
                  </a:lnTo>
                  <a:lnTo>
                    <a:pt x="8" y="115"/>
                  </a:lnTo>
                  <a:lnTo>
                    <a:pt x="10" y="115"/>
                  </a:lnTo>
                  <a:lnTo>
                    <a:pt x="14" y="115"/>
                  </a:lnTo>
                  <a:lnTo>
                    <a:pt x="19" y="115"/>
                  </a:lnTo>
                  <a:lnTo>
                    <a:pt x="23" y="113"/>
                  </a:lnTo>
                  <a:lnTo>
                    <a:pt x="28" y="113"/>
                  </a:lnTo>
                  <a:lnTo>
                    <a:pt x="31" y="116"/>
                  </a:lnTo>
                  <a:lnTo>
                    <a:pt x="34" y="116"/>
                  </a:lnTo>
                  <a:lnTo>
                    <a:pt x="37" y="113"/>
                  </a:lnTo>
                  <a:lnTo>
                    <a:pt x="42" y="1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7" name="Freeform 1226"/>
            <p:cNvSpPr>
              <a:spLocks/>
            </p:cNvSpPr>
            <p:nvPr/>
          </p:nvSpPr>
          <p:spPr bwMode="auto">
            <a:xfrm>
              <a:off x="4406900" y="2700342"/>
              <a:ext cx="84138" cy="66675"/>
            </a:xfrm>
            <a:custGeom>
              <a:avLst/>
              <a:gdLst>
                <a:gd name="T0" fmla="*/ 0 w 58"/>
                <a:gd name="T1" fmla="*/ 2147483647 h 42"/>
                <a:gd name="T2" fmla="*/ 0 w 58"/>
                <a:gd name="T3" fmla="*/ 2147483647 h 42"/>
                <a:gd name="T4" fmla="*/ 2147483647 w 58"/>
                <a:gd name="T5" fmla="*/ 2147483647 h 42"/>
                <a:gd name="T6" fmla="*/ 2147483647 w 58"/>
                <a:gd name="T7" fmla="*/ 2147483647 h 42"/>
                <a:gd name="T8" fmla="*/ 2147483647 w 58"/>
                <a:gd name="T9" fmla="*/ 2147483647 h 42"/>
                <a:gd name="T10" fmla="*/ 2147483647 w 58"/>
                <a:gd name="T11" fmla="*/ 2147483647 h 42"/>
                <a:gd name="T12" fmla="*/ 2147483647 w 58"/>
                <a:gd name="T13" fmla="*/ 2147483647 h 42"/>
                <a:gd name="T14" fmla="*/ 2147483647 w 58"/>
                <a:gd name="T15" fmla="*/ 2147483647 h 42"/>
                <a:gd name="T16" fmla="*/ 2147483647 w 58"/>
                <a:gd name="T17" fmla="*/ 2147483647 h 42"/>
                <a:gd name="T18" fmla="*/ 2147483647 w 58"/>
                <a:gd name="T19" fmla="*/ 2147483647 h 42"/>
                <a:gd name="T20" fmla="*/ 2147483647 w 58"/>
                <a:gd name="T21" fmla="*/ 2147483647 h 42"/>
                <a:gd name="T22" fmla="*/ 2147483647 w 58"/>
                <a:gd name="T23" fmla="*/ 2147483647 h 42"/>
                <a:gd name="T24" fmla="*/ 2147483647 w 58"/>
                <a:gd name="T25" fmla="*/ 2147483647 h 42"/>
                <a:gd name="T26" fmla="*/ 2147483647 w 58"/>
                <a:gd name="T27" fmla="*/ 2147483647 h 42"/>
                <a:gd name="T28" fmla="*/ 2147483647 w 58"/>
                <a:gd name="T29" fmla="*/ 2147483647 h 42"/>
                <a:gd name="T30" fmla="*/ 2147483647 w 58"/>
                <a:gd name="T31" fmla="*/ 2147483647 h 42"/>
                <a:gd name="T32" fmla="*/ 2147483647 w 58"/>
                <a:gd name="T33" fmla="*/ 2147483647 h 42"/>
                <a:gd name="T34" fmla="*/ 2147483647 w 58"/>
                <a:gd name="T35" fmla="*/ 2147483647 h 42"/>
                <a:gd name="T36" fmla="*/ 2147483647 w 58"/>
                <a:gd name="T37" fmla="*/ 2147483647 h 42"/>
                <a:gd name="T38" fmla="*/ 2147483647 w 58"/>
                <a:gd name="T39" fmla="*/ 2147483647 h 42"/>
                <a:gd name="T40" fmla="*/ 2147483647 w 58"/>
                <a:gd name="T41" fmla="*/ 2147483647 h 42"/>
                <a:gd name="T42" fmla="*/ 2147483647 w 58"/>
                <a:gd name="T43" fmla="*/ 2147483647 h 42"/>
                <a:gd name="T44" fmla="*/ 2147483647 w 58"/>
                <a:gd name="T45" fmla="*/ 2147483647 h 42"/>
                <a:gd name="T46" fmla="*/ 2147483647 w 58"/>
                <a:gd name="T47" fmla="*/ 2147483647 h 42"/>
                <a:gd name="T48" fmla="*/ 2147483647 w 58"/>
                <a:gd name="T49" fmla="*/ 2147483647 h 42"/>
                <a:gd name="T50" fmla="*/ 2147483647 w 58"/>
                <a:gd name="T51" fmla="*/ 2147483647 h 42"/>
                <a:gd name="T52" fmla="*/ 2147483647 w 58"/>
                <a:gd name="T53" fmla="*/ 0 h 42"/>
                <a:gd name="T54" fmla="*/ 2147483647 w 58"/>
                <a:gd name="T55" fmla="*/ 0 h 42"/>
                <a:gd name="T56" fmla="*/ 2147483647 w 58"/>
                <a:gd name="T57" fmla="*/ 0 h 42"/>
                <a:gd name="T58" fmla="*/ 2147483647 w 58"/>
                <a:gd name="T59" fmla="*/ 0 h 42"/>
                <a:gd name="T60" fmla="*/ 2147483647 w 58"/>
                <a:gd name="T61" fmla="*/ 2147483647 h 42"/>
                <a:gd name="T62" fmla="*/ 2147483647 w 58"/>
                <a:gd name="T63" fmla="*/ 2147483647 h 42"/>
                <a:gd name="T64" fmla="*/ 2147483647 w 58"/>
                <a:gd name="T65" fmla="*/ 2147483647 h 42"/>
                <a:gd name="T66" fmla="*/ 2147483647 w 58"/>
                <a:gd name="T67" fmla="*/ 0 h 42"/>
                <a:gd name="T68" fmla="*/ 2147483647 w 58"/>
                <a:gd name="T69" fmla="*/ 0 h 42"/>
                <a:gd name="T70" fmla="*/ 2147483647 w 58"/>
                <a:gd name="T71" fmla="*/ 0 h 42"/>
                <a:gd name="T72" fmla="*/ 2147483647 w 58"/>
                <a:gd name="T73" fmla="*/ 0 h 42"/>
                <a:gd name="T74" fmla="*/ 0 w 58"/>
                <a:gd name="T75" fmla="*/ 2147483647 h 42"/>
                <a:gd name="T76" fmla="*/ 0 w 58"/>
                <a:gd name="T77" fmla="*/ 2147483647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
                <a:gd name="T118" fmla="*/ 0 h 42"/>
                <a:gd name="T119" fmla="*/ 58 w 58"/>
                <a:gd name="T120" fmla="*/ 42 h 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 h="42">
                  <a:moveTo>
                    <a:pt x="0" y="5"/>
                  </a:moveTo>
                  <a:lnTo>
                    <a:pt x="0" y="5"/>
                  </a:lnTo>
                  <a:lnTo>
                    <a:pt x="1" y="11"/>
                  </a:lnTo>
                  <a:lnTo>
                    <a:pt x="5" y="16"/>
                  </a:lnTo>
                  <a:lnTo>
                    <a:pt x="10" y="20"/>
                  </a:lnTo>
                  <a:lnTo>
                    <a:pt x="16" y="23"/>
                  </a:lnTo>
                  <a:lnTo>
                    <a:pt x="19" y="24"/>
                  </a:lnTo>
                  <a:lnTo>
                    <a:pt x="22" y="28"/>
                  </a:lnTo>
                  <a:lnTo>
                    <a:pt x="24" y="30"/>
                  </a:lnTo>
                  <a:lnTo>
                    <a:pt x="27" y="32"/>
                  </a:lnTo>
                  <a:lnTo>
                    <a:pt x="39" y="36"/>
                  </a:lnTo>
                  <a:lnTo>
                    <a:pt x="46" y="38"/>
                  </a:lnTo>
                  <a:lnTo>
                    <a:pt x="51" y="42"/>
                  </a:lnTo>
                  <a:lnTo>
                    <a:pt x="55" y="36"/>
                  </a:lnTo>
                  <a:lnTo>
                    <a:pt x="58" y="31"/>
                  </a:lnTo>
                  <a:lnTo>
                    <a:pt x="58" y="23"/>
                  </a:lnTo>
                  <a:lnTo>
                    <a:pt x="53" y="19"/>
                  </a:lnTo>
                  <a:lnTo>
                    <a:pt x="51" y="14"/>
                  </a:lnTo>
                  <a:lnTo>
                    <a:pt x="48" y="9"/>
                  </a:lnTo>
                  <a:lnTo>
                    <a:pt x="47" y="3"/>
                  </a:lnTo>
                  <a:lnTo>
                    <a:pt x="46" y="0"/>
                  </a:lnTo>
                  <a:lnTo>
                    <a:pt x="44" y="0"/>
                  </a:lnTo>
                  <a:lnTo>
                    <a:pt x="36" y="0"/>
                  </a:lnTo>
                  <a:lnTo>
                    <a:pt x="27" y="3"/>
                  </a:lnTo>
                  <a:lnTo>
                    <a:pt x="18" y="3"/>
                  </a:lnTo>
                  <a:lnTo>
                    <a:pt x="14" y="1"/>
                  </a:lnTo>
                  <a:lnTo>
                    <a:pt x="9" y="0"/>
                  </a:lnTo>
                  <a:lnTo>
                    <a:pt x="0"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8" name="Freeform 1227"/>
            <p:cNvSpPr>
              <a:spLocks/>
            </p:cNvSpPr>
            <p:nvPr/>
          </p:nvSpPr>
          <p:spPr bwMode="auto">
            <a:xfrm>
              <a:off x="4421192" y="2616200"/>
              <a:ext cx="103187" cy="122238"/>
            </a:xfrm>
            <a:custGeom>
              <a:avLst/>
              <a:gdLst>
                <a:gd name="T0" fmla="*/ 0 w 71"/>
                <a:gd name="T1" fmla="*/ 2147483647 h 77"/>
                <a:gd name="T2" fmla="*/ 2147483647 w 71"/>
                <a:gd name="T3" fmla="*/ 2147483647 h 77"/>
                <a:gd name="T4" fmla="*/ 2147483647 w 71"/>
                <a:gd name="T5" fmla="*/ 2147483647 h 77"/>
                <a:gd name="T6" fmla="*/ 2147483647 w 71"/>
                <a:gd name="T7" fmla="*/ 2147483647 h 77"/>
                <a:gd name="T8" fmla="*/ 2147483647 w 71"/>
                <a:gd name="T9" fmla="*/ 2147483647 h 77"/>
                <a:gd name="T10" fmla="*/ 2147483647 w 71"/>
                <a:gd name="T11" fmla="*/ 2147483647 h 77"/>
                <a:gd name="T12" fmla="*/ 2147483647 w 71"/>
                <a:gd name="T13" fmla="*/ 2147483647 h 77"/>
                <a:gd name="T14" fmla="*/ 2147483647 w 71"/>
                <a:gd name="T15" fmla="*/ 2147483647 h 77"/>
                <a:gd name="T16" fmla="*/ 2147483647 w 71"/>
                <a:gd name="T17" fmla="*/ 2147483647 h 77"/>
                <a:gd name="T18" fmla="*/ 2147483647 w 71"/>
                <a:gd name="T19" fmla="*/ 2147483647 h 77"/>
                <a:gd name="T20" fmla="*/ 2147483647 w 71"/>
                <a:gd name="T21" fmla="*/ 2147483647 h 77"/>
                <a:gd name="T22" fmla="*/ 2147483647 w 71"/>
                <a:gd name="T23" fmla="*/ 2147483647 h 77"/>
                <a:gd name="T24" fmla="*/ 2147483647 w 71"/>
                <a:gd name="T25" fmla="*/ 2147483647 h 77"/>
                <a:gd name="T26" fmla="*/ 2147483647 w 71"/>
                <a:gd name="T27" fmla="*/ 2147483647 h 77"/>
                <a:gd name="T28" fmla="*/ 2147483647 w 71"/>
                <a:gd name="T29" fmla="*/ 2147483647 h 77"/>
                <a:gd name="T30" fmla="*/ 2147483647 w 71"/>
                <a:gd name="T31" fmla="*/ 2147483647 h 77"/>
                <a:gd name="T32" fmla="*/ 2147483647 w 71"/>
                <a:gd name="T33" fmla="*/ 2147483647 h 77"/>
                <a:gd name="T34" fmla="*/ 2147483647 w 71"/>
                <a:gd name="T35" fmla="*/ 2147483647 h 77"/>
                <a:gd name="T36" fmla="*/ 2147483647 w 71"/>
                <a:gd name="T37" fmla="*/ 2147483647 h 77"/>
                <a:gd name="T38" fmla="*/ 2147483647 w 71"/>
                <a:gd name="T39" fmla="*/ 2147483647 h 77"/>
                <a:gd name="T40" fmla="*/ 2147483647 w 71"/>
                <a:gd name="T41" fmla="*/ 2147483647 h 77"/>
                <a:gd name="T42" fmla="*/ 2147483647 w 71"/>
                <a:gd name="T43" fmla="*/ 2147483647 h 77"/>
                <a:gd name="T44" fmla="*/ 2147483647 w 71"/>
                <a:gd name="T45" fmla="*/ 2147483647 h 77"/>
                <a:gd name="T46" fmla="*/ 2147483647 w 71"/>
                <a:gd name="T47" fmla="*/ 2147483647 h 77"/>
                <a:gd name="T48" fmla="*/ 2147483647 w 71"/>
                <a:gd name="T49" fmla="*/ 2147483647 h 77"/>
                <a:gd name="T50" fmla="*/ 2147483647 w 71"/>
                <a:gd name="T51" fmla="*/ 2147483647 h 77"/>
                <a:gd name="T52" fmla="*/ 2147483647 w 71"/>
                <a:gd name="T53" fmla="*/ 2147483647 h 77"/>
                <a:gd name="T54" fmla="*/ 2147483647 w 71"/>
                <a:gd name="T55" fmla="*/ 2147483647 h 77"/>
                <a:gd name="T56" fmla="*/ 2147483647 w 71"/>
                <a:gd name="T57" fmla="*/ 2147483647 h 77"/>
                <a:gd name="T58" fmla="*/ 2147483647 w 71"/>
                <a:gd name="T59" fmla="*/ 0 h 77"/>
                <a:gd name="T60" fmla="*/ 2147483647 w 71"/>
                <a:gd name="T61" fmla="*/ 0 h 77"/>
                <a:gd name="T62" fmla="*/ 2147483647 w 71"/>
                <a:gd name="T63" fmla="*/ 2147483647 h 77"/>
                <a:gd name="T64" fmla="*/ 2147483647 w 71"/>
                <a:gd name="T65" fmla="*/ 2147483647 h 77"/>
                <a:gd name="T66" fmla="*/ 2147483647 w 71"/>
                <a:gd name="T67" fmla="*/ 2147483647 h 77"/>
                <a:gd name="T68" fmla="*/ 2147483647 w 71"/>
                <a:gd name="T69" fmla="*/ 2147483647 h 77"/>
                <a:gd name="T70" fmla="*/ 2147483647 w 71"/>
                <a:gd name="T71" fmla="*/ 2147483647 h 77"/>
                <a:gd name="T72" fmla="*/ 2147483647 w 71"/>
                <a:gd name="T73" fmla="*/ 2147483647 h 77"/>
                <a:gd name="T74" fmla="*/ 2147483647 w 71"/>
                <a:gd name="T75" fmla="*/ 2147483647 h 77"/>
                <a:gd name="T76" fmla="*/ 2147483647 w 71"/>
                <a:gd name="T77" fmla="*/ 2147483647 h 77"/>
                <a:gd name="T78" fmla="*/ 2147483647 w 71"/>
                <a:gd name="T79" fmla="*/ 2147483647 h 77"/>
                <a:gd name="T80" fmla="*/ 2147483647 w 71"/>
                <a:gd name="T81" fmla="*/ 2147483647 h 77"/>
                <a:gd name="T82" fmla="*/ 2147483647 w 71"/>
                <a:gd name="T83" fmla="*/ 2147483647 h 77"/>
                <a:gd name="T84" fmla="*/ 2147483647 w 71"/>
                <a:gd name="T85" fmla="*/ 2147483647 h 77"/>
                <a:gd name="T86" fmla="*/ 2147483647 w 71"/>
                <a:gd name="T87" fmla="*/ 2147483647 h 77"/>
                <a:gd name="T88" fmla="*/ 2147483647 w 71"/>
                <a:gd name="T89" fmla="*/ 2147483647 h 77"/>
                <a:gd name="T90" fmla="*/ 2147483647 w 71"/>
                <a:gd name="T91" fmla="*/ 2147483647 h 77"/>
                <a:gd name="T92" fmla="*/ 2147483647 w 71"/>
                <a:gd name="T93" fmla="*/ 2147483647 h 77"/>
                <a:gd name="T94" fmla="*/ 2147483647 w 71"/>
                <a:gd name="T95" fmla="*/ 2147483647 h 77"/>
                <a:gd name="T96" fmla="*/ 2147483647 w 71"/>
                <a:gd name="T97" fmla="*/ 2147483647 h 77"/>
                <a:gd name="T98" fmla="*/ 2147483647 w 71"/>
                <a:gd name="T99" fmla="*/ 2147483647 h 77"/>
                <a:gd name="T100" fmla="*/ 2147483647 w 71"/>
                <a:gd name="T101" fmla="*/ 2147483647 h 77"/>
                <a:gd name="T102" fmla="*/ 2147483647 w 71"/>
                <a:gd name="T103" fmla="*/ 2147483647 h 77"/>
                <a:gd name="T104" fmla="*/ 0 w 71"/>
                <a:gd name="T105" fmla="*/ 2147483647 h 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1"/>
                <a:gd name="T160" fmla="*/ 0 h 77"/>
                <a:gd name="T161" fmla="*/ 71 w 71"/>
                <a:gd name="T162" fmla="*/ 77 h 7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1" h="77">
                  <a:moveTo>
                    <a:pt x="0" y="54"/>
                  </a:moveTo>
                  <a:lnTo>
                    <a:pt x="5" y="56"/>
                  </a:lnTo>
                  <a:lnTo>
                    <a:pt x="9" y="57"/>
                  </a:lnTo>
                  <a:lnTo>
                    <a:pt x="18" y="57"/>
                  </a:lnTo>
                  <a:lnTo>
                    <a:pt x="27" y="54"/>
                  </a:lnTo>
                  <a:lnTo>
                    <a:pt x="36" y="54"/>
                  </a:lnTo>
                  <a:lnTo>
                    <a:pt x="37" y="54"/>
                  </a:lnTo>
                  <a:lnTo>
                    <a:pt x="38" y="57"/>
                  </a:lnTo>
                  <a:lnTo>
                    <a:pt x="40" y="63"/>
                  </a:lnTo>
                  <a:lnTo>
                    <a:pt x="42" y="69"/>
                  </a:lnTo>
                  <a:lnTo>
                    <a:pt x="45" y="73"/>
                  </a:lnTo>
                  <a:lnTo>
                    <a:pt x="50" y="77"/>
                  </a:lnTo>
                  <a:lnTo>
                    <a:pt x="51" y="67"/>
                  </a:lnTo>
                  <a:lnTo>
                    <a:pt x="52" y="59"/>
                  </a:lnTo>
                  <a:lnTo>
                    <a:pt x="52" y="56"/>
                  </a:lnTo>
                  <a:lnTo>
                    <a:pt x="52" y="51"/>
                  </a:lnTo>
                  <a:lnTo>
                    <a:pt x="52" y="49"/>
                  </a:lnTo>
                  <a:lnTo>
                    <a:pt x="52" y="46"/>
                  </a:lnTo>
                  <a:lnTo>
                    <a:pt x="53" y="45"/>
                  </a:lnTo>
                  <a:lnTo>
                    <a:pt x="57" y="43"/>
                  </a:lnTo>
                  <a:lnTo>
                    <a:pt x="61" y="38"/>
                  </a:lnTo>
                  <a:lnTo>
                    <a:pt x="64" y="34"/>
                  </a:lnTo>
                  <a:lnTo>
                    <a:pt x="65" y="30"/>
                  </a:lnTo>
                  <a:lnTo>
                    <a:pt x="66" y="20"/>
                  </a:lnTo>
                  <a:lnTo>
                    <a:pt x="69" y="12"/>
                  </a:lnTo>
                  <a:lnTo>
                    <a:pt x="71" y="7"/>
                  </a:lnTo>
                  <a:lnTo>
                    <a:pt x="69" y="6"/>
                  </a:lnTo>
                  <a:lnTo>
                    <a:pt x="67" y="3"/>
                  </a:lnTo>
                  <a:lnTo>
                    <a:pt x="65" y="1"/>
                  </a:lnTo>
                  <a:lnTo>
                    <a:pt x="62" y="0"/>
                  </a:lnTo>
                  <a:lnTo>
                    <a:pt x="59" y="0"/>
                  </a:lnTo>
                  <a:lnTo>
                    <a:pt x="53" y="1"/>
                  </a:lnTo>
                  <a:lnTo>
                    <a:pt x="47" y="5"/>
                  </a:lnTo>
                  <a:lnTo>
                    <a:pt x="45" y="6"/>
                  </a:lnTo>
                  <a:lnTo>
                    <a:pt x="43" y="8"/>
                  </a:lnTo>
                  <a:lnTo>
                    <a:pt x="41" y="14"/>
                  </a:lnTo>
                  <a:lnTo>
                    <a:pt x="41" y="21"/>
                  </a:lnTo>
                  <a:lnTo>
                    <a:pt x="38" y="27"/>
                  </a:lnTo>
                  <a:lnTo>
                    <a:pt x="37" y="26"/>
                  </a:lnTo>
                  <a:lnTo>
                    <a:pt x="36" y="24"/>
                  </a:lnTo>
                  <a:lnTo>
                    <a:pt x="36" y="20"/>
                  </a:lnTo>
                  <a:lnTo>
                    <a:pt x="36" y="17"/>
                  </a:lnTo>
                  <a:lnTo>
                    <a:pt x="36" y="13"/>
                  </a:lnTo>
                  <a:lnTo>
                    <a:pt x="34" y="12"/>
                  </a:lnTo>
                  <a:lnTo>
                    <a:pt x="33" y="12"/>
                  </a:lnTo>
                  <a:lnTo>
                    <a:pt x="31" y="12"/>
                  </a:lnTo>
                  <a:lnTo>
                    <a:pt x="29" y="17"/>
                  </a:lnTo>
                  <a:lnTo>
                    <a:pt x="26" y="27"/>
                  </a:lnTo>
                  <a:lnTo>
                    <a:pt x="22" y="37"/>
                  </a:lnTo>
                  <a:lnTo>
                    <a:pt x="18" y="44"/>
                  </a:lnTo>
                  <a:lnTo>
                    <a:pt x="17" y="46"/>
                  </a:lnTo>
                  <a:lnTo>
                    <a:pt x="13" y="49"/>
                  </a:lnTo>
                  <a:lnTo>
                    <a:pt x="0" y="5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29" name="Freeform 1228"/>
            <p:cNvSpPr>
              <a:spLocks/>
            </p:cNvSpPr>
            <p:nvPr/>
          </p:nvSpPr>
          <p:spPr bwMode="auto">
            <a:xfrm>
              <a:off x="4191004" y="2406651"/>
              <a:ext cx="188913" cy="350838"/>
            </a:xfrm>
            <a:custGeom>
              <a:avLst/>
              <a:gdLst>
                <a:gd name="T0" fmla="*/ 2147483647 w 129"/>
                <a:gd name="T1" fmla="*/ 2147483647 h 221"/>
                <a:gd name="T2" fmla="*/ 2147483647 w 129"/>
                <a:gd name="T3" fmla="*/ 2147483647 h 221"/>
                <a:gd name="T4" fmla="*/ 2147483647 w 129"/>
                <a:gd name="T5" fmla="*/ 2147483647 h 221"/>
                <a:gd name="T6" fmla="*/ 2147483647 w 129"/>
                <a:gd name="T7" fmla="*/ 2147483647 h 221"/>
                <a:gd name="T8" fmla="*/ 2147483647 w 129"/>
                <a:gd name="T9" fmla="*/ 2147483647 h 221"/>
                <a:gd name="T10" fmla="*/ 2147483647 w 129"/>
                <a:gd name="T11" fmla="*/ 2147483647 h 221"/>
                <a:gd name="T12" fmla="*/ 2147483647 w 129"/>
                <a:gd name="T13" fmla="*/ 2147483647 h 221"/>
                <a:gd name="T14" fmla="*/ 2147483647 w 129"/>
                <a:gd name="T15" fmla="*/ 2147483647 h 221"/>
                <a:gd name="T16" fmla="*/ 2147483647 w 129"/>
                <a:gd name="T17" fmla="*/ 2147483647 h 221"/>
                <a:gd name="T18" fmla="*/ 2147483647 w 129"/>
                <a:gd name="T19" fmla="*/ 2147483647 h 221"/>
                <a:gd name="T20" fmla="*/ 2147483647 w 129"/>
                <a:gd name="T21" fmla="*/ 2147483647 h 221"/>
                <a:gd name="T22" fmla="*/ 2147483647 w 129"/>
                <a:gd name="T23" fmla="*/ 2147483647 h 221"/>
                <a:gd name="T24" fmla="*/ 2147483647 w 129"/>
                <a:gd name="T25" fmla="*/ 2147483647 h 221"/>
                <a:gd name="T26" fmla="*/ 2147483647 w 129"/>
                <a:gd name="T27" fmla="*/ 2147483647 h 221"/>
                <a:gd name="T28" fmla="*/ 2147483647 w 129"/>
                <a:gd name="T29" fmla="*/ 2147483647 h 221"/>
                <a:gd name="T30" fmla="*/ 2147483647 w 129"/>
                <a:gd name="T31" fmla="*/ 2147483647 h 221"/>
                <a:gd name="T32" fmla="*/ 2147483647 w 129"/>
                <a:gd name="T33" fmla="*/ 2147483647 h 221"/>
                <a:gd name="T34" fmla="*/ 2147483647 w 129"/>
                <a:gd name="T35" fmla="*/ 2147483647 h 221"/>
                <a:gd name="T36" fmla="*/ 2147483647 w 129"/>
                <a:gd name="T37" fmla="*/ 2147483647 h 221"/>
                <a:gd name="T38" fmla="*/ 2147483647 w 129"/>
                <a:gd name="T39" fmla="*/ 2147483647 h 221"/>
                <a:gd name="T40" fmla="*/ 2147483647 w 129"/>
                <a:gd name="T41" fmla="*/ 2147483647 h 221"/>
                <a:gd name="T42" fmla="*/ 2147483647 w 129"/>
                <a:gd name="T43" fmla="*/ 2147483647 h 221"/>
                <a:gd name="T44" fmla="*/ 2147483647 w 129"/>
                <a:gd name="T45" fmla="*/ 2147483647 h 221"/>
                <a:gd name="T46" fmla="*/ 2147483647 w 129"/>
                <a:gd name="T47" fmla="*/ 2147483647 h 221"/>
                <a:gd name="T48" fmla="*/ 2147483647 w 129"/>
                <a:gd name="T49" fmla="*/ 2147483647 h 221"/>
                <a:gd name="T50" fmla="*/ 2147483647 w 129"/>
                <a:gd name="T51" fmla="*/ 2147483647 h 221"/>
                <a:gd name="T52" fmla="*/ 2147483647 w 129"/>
                <a:gd name="T53" fmla="*/ 2147483647 h 221"/>
                <a:gd name="T54" fmla="*/ 2147483647 w 129"/>
                <a:gd name="T55" fmla="*/ 2147483647 h 221"/>
                <a:gd name="T56" fmla="*/ 2147483647 w 129"/>
                <a:gd name="T57" fmla="*/ 2147483647 h 221"/>
                <a:gd name="T58" fmla="*/ 2147483647 w 129"/>
                <a:gd name="T59" fmla="*/ 2147483647 h 221"/>
                <a:gd name="T60" fmla="*/ 2147483647 w 129"/>
                <a:gd name="T61" fmla="*/ 2147483647 h 221"/>
                <a:gd name="T62" fmla="*/ 2147483647 w 129"/>
                <a:gd name="T63" fmla="*/ 2147483647 h 221"/>
                <a:gd name="T64" fmla="*/ 2147483647 w 129"/>
                <a:gd name="T65" fmla="*/ 2147483647 h 221"/>
                <a:gd name="T66" fmla="*/ 2147483647 w 129"/>
                <a:gd name="T67" fmla="*/ 2147483647 h 221"/>
                <a:gd name="T68" fmla="*/ 2147483647 w 129"/>
                <a:gd name="T69" fmla="*/ 2147483647 h 221"/>
                <a:gd name="T70" fmla="*/ 2147483647 w 129"/>
                <a:gd name="T71" fmla="*/ 2147483647 h 221"/>
                <a:gd name="T72" fmla="*/ 2147483647 w 129"/>
                <a:gd name="T73" fmla="*/ 2147483647 h 221"/>
                <a:gd name="T74" fmla="*/ 2147483647 w 129"/>
                <a:gd name="T75" fmla="*/ 2147483647 h 221"/>
                <a:gd name="T76" fmla="*/ 2147483647 w 129"/>
                <a:gd name="T77" fmla="*/ 2147483647 h 221"/>
                <a:gd name="T78" fmla="*/ 2147483647 w 129"/>
                <a:gd name="T79" fmla="*/ 2147483647 h 221"/>
                <a:gd name="T80" fmla="*/ 2147483647 w 129"/>
                <a:gd name="T81" fmla="*/ 2147483647 h 221"/>
                <a:gd name="T82" fmla="*/ 2147483647 w 129"/>
                <a:gd name="T83" fmla="*/ 2147483647 h 221"/>
                <a:gd name="T84" fmla="*/ 2147483647 w 129"/>
                <a:gd name="T85" fmla="*/ 2147483647 h 221"/>
                <a:gd name="T86" fmla="*/ 2147483647 w 129"/>
                <a:gd name="T87" fmla="*/ 2147483647 h 221"/>
                <a:gd name="T88" fmla="*/ 2147483647 w 129"/>
                <a:gd name="T89" fmla="*/ 2147483647 h 221"/>
                <a:gd name="T90" fmla="*/ 2147483647 w 129"/>
                <a:gd name="T91" fmla="*/ 2147483647 h 221"/>
                <a:gd name="T92" fmla="*/ 2147483647 w 129"/>
                <a:gd name="T93" fmla="*/ 2147483647 h 221"/>
                <a:gd name="T94" fmla="*/ 2147483647 w 129"/>
                <a:gd name="T95" fmla="*/ 2147483647 h 221"/>
                <a:gd name="T96" fmla="*/ 2147483647 w 129"/>
                <a:gd name="T97" fmla="*/ 2147483647 h 221"/>
                <a:gd name="T98" fmla="*/ 2147483647 w 129"/>
                <a:gd name="T99" fmla="*/ 2147483647 h 221"/>
                <a:gd name="T100" fmla="*/ 2147483647 w 129"/>
                <a:gd name="T101" fmla="*/ 2147483647 h 221"/>
                <a:gd name="T102" fmla="*/ 2147483647 w 129"/>
                <a:gd name="T103" fmla="*/ 2147483647 h 221"/>
                <a:gd name="T104" fmla="*/ 2147483647 w 129"/>
                <a:gd name="T105" fmla="*/ 2147483647 h 221"/>
                <a:gd name="T106" fmla="*/ 2147483647 w 129"/>
                <a:gd name="T107" fmla="*/ 2147483647 h 221"/>
                <a:gd name="T108" fmla="*/ 2147483647 w 129"/>
                <a:gd name="T109" fmla="*/ 2147483647 h 221"/>
                <a:gd name="T110" fmla="*/ 2147483647 w 129"/>
                <a:gd name="T111" fmla="*/ 2147483647 h 221"/>
                <a:gd name="T112" fmla="*/ 2147483647 w 129"/>
                <a:gd name="T113" fmla="*/ 2147483647 h 221"/>
                <a:gd name="T114" fmla="*/ 2147483647 w 129"/>
                <a:gd name="T115" fmla="*/ 2147483647 h 221"/>
                <a:gd name="T116" fmla="*/ 2147483647 w 129"/>
                <a:gd name="T117" fmla="*/ 2147483647 h 221"/>
                <a:gd name="T118" fmla="*/ 2147483647 w 129"/>
                <a:gd name="T119" fmla="*/ 2147483647 h 2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9"/>
                <a:gd name="T181" fmla="*/ 0 h 221"/>
                <a:gd name="T182" fmla="*/ 129 w 129"/>
                <a:gd name="T183" fmla="*/ 221 h 2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9" h="221">
                  <a:moveTo>
                    <a:pt x="122" y="195"/>
                  </a:moveTo>
                  <a:lnTo>
                    <a:pt x="125" y="191"/>
                  </a:lnTo>
                  <a:lnTo>
                    <a:pt x="127" y="189"/>
                  </a:lnTo>
                  <a:lnTo>
                    <a:pt x="127" y="188"/>
                  </a:lnTo>
                  <a:lnTo>
                    <a:pt x="124" y="185"/>
                  </a:lnTo>
                  <a:lnTo>
                    <a:pt x="122" y="185"/>
                  </a:lnTo>
                  <a:lnTo>
                    <a:pt x="115" y="186"/>
                  </a:lnTo>
                  <a:lnTo>
                    <a:pt x="110" y="186"/>
                  </a:lnTo>
                  <a:lnTo>
                    <a:pt x="108" y="185"/>
                  </a:lnTo>
                  <a:lnTo>
                    <a:pt x="106" y="183"/>
                  </a:lnTo>
                  <a:lnTo>
                    <a:pt x="117" y="179"/>
                  </a:lnTo>
                  <a:lnTo>
                    <a:pt x="120" y="177"/>
                  </a:lnTo>
                  <a:lnTo>
                    <a:pt x="124" y="175"/>
                  </a:lnTo>
                  <a:lnTo>
                    <a:pt x="127" y="171"/>
                  </a:lnTo>
                  <a:lnTo>
                    <a:pt x="129" y="167"/>
                  </a:lnTo>
                  <a:lnTo>
                    <a:pt x="129" y="163"/>
                  </a:lnTo>
                  <a:lnTo>
                    <a:pt x="129" y="158"/>
                  </a:lnTo>
                  <a:lnTo>
                    <a:pt x="128" y="154"/>
                  </a:lnTo>
                  <a:lnTo>
                    <a:pt x="125" y="152"/>
                  </a:lnTo>
                  <a:lnTo>
                    <a:pt x="123" y="151"/>
                  </a:lnTo>
                  <a:lnTo>
                    <a:pt x="120" y="150"/>
                  </a:lnTo>
                  <a:lnTo>
                    <a:pt x="114" y="151"/>
                  </a:lnTo>
                  <a:lnTo>
                    <a:pt x="108" y="153"/>
                  </a:lnTo>
                  <a:lnTo>
                    <a:pt x="108" y="154"/>
                  </a:lnTo>
                  <a:lnTo>
                    <a:pt x="106" y="153"/>
                  </a:lnTo>
                  <a:lnTo>
                    <a:pt x="106" y="152"/>
                  </a:lnTo>
                  <a:lnTo>
                    <a:pt x="108" y="149"/>
                  </a:lnTo>
                  <a:lnTo>
                    <a:pt x="108" y="144"/>
                  </a:lnTo>
                  <a:lnTo>
                    <a:pt x="105" y="140"/>
                  </a:lnTo>
                  <a:lnTo>
                    <a:pt x="100" y="138"/>
                  </a:lnTo>
                  <a:lnTo>
                    <a:pt x="97" y="135"/>
                  </a:lnTo>
                  <a:lnTo>
                    <a:pt x="97" y="134"/>
                  </a:lnTo>
                  <a:lnTo>
                    <a:pt x="97" y="132"/>
                  </a:lnTo>
                  <a:lnTo>
                    <a:pt x="99" y="131"/>
                  </a:lnTo>
                  <a:lnTo>
                    <a:pt x="100" y="130"/>
                  </a:lnTo>
                  <a:lnTo>
                    <a:pt x="103" y="130"/>
                  </a:lnTo>
                  <a:lnTo>
                    <a:pt x="104" y="130"/>
                  </a:lnTo>
                  <a:lnTo>
                    <a:pt x="104" y="126"/>
                  </a:lnTo>
                  <a:lnTo>
                    <a:pt x="103" y="124"/>
                  </a:lnTo>
                  <a:lnTo>
                    <a:pt x="99" y="120"/>
                  </a:lnTo>
                  <a:lnTo>
                    <a:pt x="94" y="117"/>
                  </a:lnTo>
                  <a:lnTo>
                    <a:pt x="89" y="112"/>
                  </a:lnTo>
                  <a:lnTo>
                    <a:pt x="87" y="108"/>
                  </a:lnTo>
                  <a:lnTo>
                    <a:pt x="86" y="105"/>
                  </a:lnTo>
                  <a:lnTo>
                    <a:pt x="85" y="101"/>
                  </a:lnTo>
                  <a:lnTo>
                    <a:pt x="82" y="98"/>
                  </a:lnTo>
                  <a:lnTo>
                    <a:pt x="77" y="92"/>
                  </a:lnTo>
                  <a:lnTo>
                    <a:pt x="73" y="86"/>
                  </a:lnTo>
                  <a:lnTo>
                    <a:pt x="70" y="79"/>
                  </a:lnTo>
                  <a:lnTo>
                    <a:pt x="67" y="70"/>
                  </a:lnTo>
                  <a:lnTo>
                    <a:pt x="67" y="69"/>
                  </a:lnTo>
                  <a:lnTo>
                    <a:pt x="64" y="69"/>
                  </a:lnTo>
                  <a:lnTo>
                    <a:pt x="61" y="68"/>
                  </a:lnTo>
                  <a:lnTo>
                    <a:pt x="56" y="67"/>
                  </a:lnTo>
                  <a:lnTo>
                    <a:pt x="52" y="64"/>
                  </a:lnTo>
                  <a:lnTo>
                    <a:pt x="49" y="62"/>
                  </a:lnTo>
                  <a:lnTo>
                    <a:pt x="48" y="60"/>
                  </a:lnTo>
                  <a:lnTo>
                    <a:pt x="49" y="58"/>
                  </a:lnTo>
                  <a:lnTo>
                    <a:pt x="54" y="55"/>
                  </a:lnTo>
                  <a:lnTo>
                    <a:pt x="58" y="50"/>
                  </a:lnTo>
                  <a:lnTo>
                    <a:pt x="59" y="47"/>
                  </a:lnTo>
                  <a:lnTo>
                    <a:pt x="59" y="42"/>
                  </a:lnTo>
                  <a:lnTo>
                    <a:pt x="62" y="38"/>
                  </a:lnTo>
                  <a:lnTo>
                    <a:pt x="66" y="35"/>
                  </a:lnTo>
                  <a:lnTo>
                    <a:pt x="67" y="32"/>
                  </a:lnTo>
                  <a:lnTo>
                    <a:pt x="67" y="31"/>
                  </a:lnTo>
                  <a:lnTo>
                    <a:pt x="66" y="30"/>
                  </a:lnTo>
                  <a:lnTo>
                    <a:pt x="64" y="29"/>
                  </a:lnTo>
                  <a:lnTo>
                    <a:pt x="53" y="28"/>
                  </a:lnTo>
                  <a:lnTo>
                    <a:pt x="43" y="26"/>
                  </a:lnTo>
                  <a:lnTo>
                    <a:pt x="40" y="28"/>
                  </a:lnTo>
                  <a:lnTo>
                    <a:pt x="38" y="29"/>
                  </a:lnTo>
                  <a:lnTo>
                    <a:pt x="37" y="30"/>
                  </a:lnTo>
                  <a:lnTo>
                    <a:pt x="34" y="31"/>
                  </a:lnTo>
                  <a:lnTo>
                    <a:pt x="33" y="28"/>
                  </a:lnTo>
                  <a:lnTo>
                    <a:pt x="31" y="24"/>
                  </a:lnTo>
                  <a:lnTo>
                    <a:pt x="31" y="20"/>
                  </a:lnTo>
                  <a:lnTo>
                    <a:pt x="33" y="19"/>
                  </a:lnTo>
                  <a:lnTo>
                    <a:pt x="34" y="18"/>
                  </a:lnTo>
                  <a:lnTo>
                    <a:pt x="38" y="16"/>
                  </a:lnTo>
                  <a:lnTo>
                    <a:pt x="42" y="11"/>
                  </a:lnTo>
                  <a:lnTo>
                    <a:pt x="44" y="6"/>
                  </a:lnTo>
                  <a:lnTo>
                    <a:pt x="44" y="4"/>
                  </a:lnTo>
                  <a:lnTo>
                    <a:pt x="44" y="2"/>
                  </a:lnTo>
                  <a:lnTo>
                    <a:pt x="42" y="0"/>
                  </a:lnTo>
                  <a:lnTo>
                    <a:pt x="40" y="0"/>
                  </a:lnTo>
                  <a:lnTo>
                    <a:pt x="38" y="3"/>
                  </a:lnTo>
                  <a:lnTo>
                    <a:pt x="35" y="4"/>
                  </a:lnTo>
                  <a:lnTo>
                    <a:pt x="30" y="4"/>
                  </a:lnTo>
                  <a:lnTo>
                    <a:pt x="29" y="5"/>
                  </a:lnTo>
                  <a:lnTo>
                    <a:pt x="28" y="5"/>
                  </a:lnTo>
                  <a:lnTo>
                    <a:pt x="24" y="4"/>
                  </a:lnTo>
                  <a:lnTo>
                    <a:pt x="21" y="2"/>
                  </a:lnTo>
                  <a:lnTo>
                    <a:pt x="19" y="0"/>
                  </a:lnTo>
                  <a:lnTo>
                    <a:pt x="17" y="0"/>
                  </a:lnTo>
                  <a:lnTo>
                    <a:pt x="15" y="2"/>
                  </a:lnTo>
                  <a:lnTo>
                    <a:pt x="14" y="5"/>
                  </a:lnTo>
                  <a:lnTo>
                    <a:pt x="14" y="10"/>
                  </a:lnTo>
                  <a:lnTo>
                    <a:pt x="14" y="19"/>
                  </a:lnTo>
                  <a:lnTo>
                    <a:pt x="14" y="20"/>
                  </a:lnTo>
                  <a:lnTo>
                    <a:pt x="11" y="22"/>
                  </a:lnTo>
                  <a:lnTo>
                    <a:pt x="7" y="23"/>
                  </a:lnTo>
                  <a:lnTo>
                    <a:pt x="6" y="24"/>
                  </a:lnTo>
                  <a:lnTo>
                    <a:pt x="5" y="25"/>
                  </a:lnTo>
                  <a:lnTo>
                    <a:pt x="5" y="31"/>
                  </a:lnTo>
                  <a:lnTo>
                    <a:pt x="3" y="36"/>
                  </a:lnTo>
                  <a:lnTo>
                    <a:pt x="0" y="47"/>
                  </a:lnTo>
                  <a:lnTo>
                    <a:pt x="1" y="49"/>
                  </a:lnTo>
                  <a:lnTo>
                    <a:pt x="1" y="51"/>
                  </a:lnTo>
                  <a:lnTo>
                    <a:pt x="6" y="56"/>
                  </a:lnTo>
                  <a:lnTo>
                    <a:pt x="7" y="56"/>
                  </a:lnTo>
                  <a:lnTo>
                    <a:pt x="10" y="55"/>
                  </a:lnTo>
                  <a:lnTo>
                    <a:pt x="10" y="56"/>
                  </a:lnTo>
                  <a:lnTo>
                    <a:pt x="10" y="58"/>
                  </a:lnTo>
                  <a:lnTo>
                    <a:pt x="6" y="69"/>
                  </a:lnTo>
                  <a:lnTo>
                    <a:pt x="3" y="75"/>
                  </a:lnTo>
                  <a:lnTo>
                    <a:pt x="3" y="81"/>
                  </a:lnTo>
                  <a:lnTo>
                    <a:pt x="5" y="80"/>
                  </a:lnTo>
                  <a:lnTo>
                    <a:pt x="7" y="79"/>
                  </a:lnTo>
                  <a:lnTo>
                    <a:pt x="9" y="75"/>
                  </a:lnTo>
                  <a:lnTo>
                    <a:pt x="10" y="70"/>
                  </a:lnTo>
                  <a:lnTo>
                    <a:pt x="12" y="67"/>
                  </a:lnTo>
                  <a:lnTo>
                    <a:pt x="15" y="66"/>
                  </a:lnTo>
                  <a:lnTo>
                    <a:pt x="16" y="66"/>
                  </a:lnTo>
                  <a:lnTo>
                    <a:pt x="19" y="69"/>
                  </a:lnTo>
                  <a:lnTo>
                    <a:pt x="20" y="74"/>
                  </a:lnTo>
                  <a:lnTo>
                    <a:pt x="20" y="79"/>
                  </a:lnTo>
                  <a:lnTo>
                    <a:pt x="17" y="83"/>
                  </a:lnTo>
                  <a:lnTo>
                    <a:pt x="19" y="86"/>
                  </a:lnTo>
                  <a:lnTo>
                    <a:pt x="19" y="88"/>
                  </a:lnTo>
                  <a:lnTo>
                    <a:pt x="19" y="89"/>
                  </a:lnTo>
                  <a:lnTo>
                    <a:pt x="16" y="94"/>
                  </a:lnTo>
                  <a:lnTo>
                    <a:pt x="16" y="98"/>
                  </a:lnTo>
                  <a:lnTo>
                    <a:pt x="16" y="102"/>
                  </a:lnTo>
                  <a:lnTo>
                    <a:pt x="17" y="103"/>
                  </a:lnTo>
                  <a:lnTo>
                    <a:pt x="19" y="103"/>
                  </a:lnTo>
                  <a:lnTo>
                    <a:pt x="25" y="105"/>
                  </a:lnTo>
                  <a:lnTo>
                    <a:pt x="31" y="105"/>
                  </a:lnTo>
                  <a:lnTo>
                    <a:pt x="33" y="103"/>
                  </a:lnTo>
                  <a:lnTo>
                    <a:pt x="35" y="101"/>
                  </a:lnTo>
                  <a:lnTo>
                    <a:pt x="38" y="99"/>
                  </a:lnTo>
                  <a:lnTo>
                    <a:pt x="40" y="98"/>
                  </a:lnTo>
                  <a:lnTo>
                    <a:pt x="44" y="98"/>
                  </a:lnTo>
                  <a:lnTo>
                    <a:pt x="45" y="99"/>
                  </a:lnTo>
                  <a:lnTo>
                    <a:pt x="47" y="101"/>
                  </a:lnTo>
                  <a:lnTo>
                    <a:pt x="47" y="102"/>
                  </a:lnTo>
                  <a:lnTo>
                    <a:pt x="43" y="108"/>
                  </a:lnTo>
                  <a:lnTo>
                    <a:pt x="42" y="112"/>
                  </a:lnTo>
                  <a:lnTo>
                    <a:pt x="43" y="113"/>
                  </a:lnTo>
                  <a:lnTo>
                    <a:pt x="44" y="114"/>
                  </a:lnTo>
                  <a:lnTo>
                    <a:pt x="49" y="115"/>
                  </a:lnTo>
                  <a:lnTo>
                    <a:pt x="53" y="118"/>
                  </a:lnTo>
                  <a:lnTo>
                    <a:pt x="56" y="121"/>
                  </a:lnTo>
                  <a:lnTo>
                    <a:pt x="56" y="124"/>
                  </a:lnTo>
                  <a:lnTo>
                    <a:pt x="56" y="126"/>
                  </a:lnTo>
                  <a:lnTo>
                    <a:pt x="54" y="128"/>
                  </a:lnTo>
                  <a:lnTo>
                    <a:pt x="52" y="130"/>
                  </a:lnTo>
                  <a:lnTo>
                    <a:pt x="48" y="132"/>
                  </a:lnTo>
                  <a:lnTo>
                    <a:pt x="48" y="133"/>
                  </a:lnTo>
                  <a:lnTo>
                    <a:pt x="49" y="135"/>
                  </a:lnTo>
                  <a:lnTo>
                    <a:pt x="52" y="137"/>
                  </a:lnTo>
                  <a:lnTo>
                    <a:pt x="52" y="138"/>
                  </a:lnTo>
                  <a:lnTo>
                    <a:pt x="47" y="138"/>
                  </a:lnTo>
                  <a:lnTo>
                    <a:pt x="42" y="138"/>
                  </a:lnTo>
                  <a:lnTo>
                    <a:pt x="37" y="139"/>
                  </a:lnTo>
                  <a:lnTo>
                    <a:pt x="33" y="141"/>
                  </a:lnTo>
                  <a:lnTo>
                    <a:pt x="24" y="146"/>
                  </a:lnTo>
                  <a:lnTo>
                    <a:pt x="17" y="153"/>
                  </a:lnTo>
                  <a:lnTo>
                    <a:pt x="19" y="154"/>
                  </a:lnTo>
                  <a:lnTo>
                    <a:pt x="21" y="154"/>
                  </a:lnTo>
                  <a:lnTo>
                    <a:pt x="25" y="152"/>
                  </a:lnTo>
                  <a:lnTo>
                    <a:pt x="29" y="151"/>
                  </a:lnTo>
                  <a:lnTo>
                    <a:pt x="33" y="151"/>
                  </a:lnTo>
                  <a:lnTo>
                    <a:pt x="37" y="152"/>
                  </a:lnTo>
                  <a:lnTo>
                    <a:pt x="38" y="154"/>
                  </a:lnTo>
                  <a:lnTo>
                    <a:pt x="38" y="156"/>
                  </a:lnTo>
                  <a:lnTo>
                    <a:pt x="37" y="158"/>
                  </a:lnTo>
                  <a:lnTo>
                    <a:pt x="34" y="162"/>
                  </a:lnTo>
                  <a:lnTo>
                    <a:pt x="30" y="164"/>
                  </a:lnTo>
                  <a:lnTo>
                    <a:pt x="28" y="166"/>
                  </a:lnTo>
                  <a:lnTo>
                    <a:pt x="25" y="169"/>
                  </a:lnTo>
                  <a:lnTo>
                    <a:pt x="19" y="173"/>
                  </a:lnTo>
                  <a:lnTo>
                    <a:pt x="16" y="177"/>
                  </a:lnTo>
                  <a:lnTo>
                    <a:pt x="15" y="181"/>
                  </a:lnTo>
                  <a:lnTo>
                    <a:pt x="16" y="181"/>
                  </a:lnTo>
                  <a:lnTo>
                    <a:pt x="17" y="181"/>
                  </a:lnTo>
                  <a:lnTo>
                    <a:pt x="24" y="178"/>
                  </a:lnTo>
                  <a:lnTo>
                    <a:pt x="29" y="178"/>
                  </a:lnTo>
                  <a:lnTo>
                    <a:pt x="35" y="179"/>
                  </a:lnTo>
                  <a:lnTo>
                    <a:pt x="40" y="181"/>
                  </a:lnTo>
                  <a:lnTo>
                    <a:pt x="43" y="182"/>
                  </a:lnTo>
                  <a:lnTo>
                    <a:pt x="45" y="182"/>
                  </a:lnTo>
                  <a:lnTo>
                    <a:pt x="50" y="181"/>
                  </a:lnTo>
                  <a:lnTo>
                    <a:pt x="61" y="173"/>
                  </a:lnTo>
                  <a:lnTo>
                    <a:pt x="59" y="178"/>
                  </a:lnTo>
                  <a:lnTo>
                    <a:pt x="58" y="183"/>
                  </a:lnTo>
                  <a:lnTo>
                    <a:pt x="54" y="185"/>
                  </a:lnTo>
                  <a:lnTo>
                    <a:pt x="50" y="188"/>
                  </a:lnTo>
                  <a:lnTo>
                    <a:pt x="43" y="190"/>
                  </a:lnTo>
                  <a:lnTo>
                    <a:pt x="33" y="191"/>
                  </a:lnTo>
                  <a:lnTo>
                    <a:pt x="30" y="192"/>
                  </a:lnTo>
                  <a:lnTo>
                    <a:pt x="28" y="195"/>
                  </a:lnTo>
                  <a:lnTo>
                    <a:pt x="25" y="199"/>
                  </a:lnTo>
                  <a:lnTo>
                    <a:pt x="21" y="203"/>
                  </a:lnTo>
                  <a:lnTo>
                    <a:pt x="12" y="210"/>
                  </a:lnTo>
                  <a:lnTo>
                    <a:pt x="7" y="215"/>
                  </a:lnTo>
                  <a:lnTo>
                    <a:pt x="3" y="216"/>
                  </a:lnTo>
                  <a:lnTo>
                    <a:pt x="1" y="218"/>
                  </a:lnTo>
                  <a:lnTo>
                    <a:pt x="5" y="220"/>
                  </a:lnTo>
                  <a:lnTo>
                    <a:pt x="9" y="221"/>
                  </a:lnTo>
                  <a:lnTo>
                    <a:pt x="10" y="221"/>
                  </a:lnTo>
                  <a:lnTo>
                    <a:pt x="11" y="221"/>
                  </a:lnTo>
                  <a:lnTo>
                    <a:pt x="16" y="214"/>
                  </a:lnTo>
                  <a:lnTo>
                    <a:pt x="19" y="211"/>
                  </a:lnTo>
                  <a:lnTo>
                    <a:pt x="23" y="209"/>
                  </a:lnTo>
                  <a:lnTo>
                    <a:pt x="26" y="208"/>
                  </a:lnTo>
                  <a:lnTo>
                    <a:pt x="30" y="208"/>
                  </a:lnTo>
                  <a:lnTo>
                    <a:pt x="34" y="209"/>
                  </a:lnTo>
                  <a:lnTo>
                    <a:pt x="38" y="211"/>
                  </a:lnTo>
                  <a:lnTo>
                    <a:pt x="39" y="211"/>
                  </a:lnTo>
                  <a:lnTo>
                    <a:pt x="40" y="210"/>
                  </a:lnTo>
                  <a:lnTo>
                    <a:pt x="44" y="205"/>
                  </a:lnTo>
                  <a:lnTo>
                    <a:pt x="48" y="203"/>
                  </a:lnTo>
                  <a:lnTo>
                    <a:pt x="52" y="203"/>
                  </a:lnTo>
                  <a:lnTo>
                    <a:pt x="56" y="202"/>
                  </a:lnTo>
                  <a:lnTo>
                    <a:pt x="62" y="201"/>
                  </a:lnTo>
                  <a:lnTo>
                    <a:pt x="70" y="199"/>
                  </a:lnTo>
                  <a:lnTo>
                    <a:pt x="72" y="199"/>
                  </a:lnTo>
                  <a:lnTo>
                    <a:pt x="73" y="199"/>
                  </a:lnTo>
                  <a:lnTo>
                    <a:pt x="76" y="197"/>
                  </a:lnTo>
                  <a:lnTo>
                    <a:pt x="77" y="197"/>
                  </a:lnTo>
                  <a:lnTo>
                    <a:pt x="78" y="197"/>
                  </a:lnTo>
                  <a:lnTo>
                    <a:pt x="86" y="199"/>
                  </a:lnTo>
                  <a:lnTo>
                    <a:pt x="90" y="201"/>
                  </a:lnTo>
                  <a:lnTo>
                    <a:pt x="94" y="199"/>
                  </a:lnTo>
                  <a:lnTo>
                    <a:pt x="105" y="198"/>
                  </a:lnTo>
                  <a:lnTo>
                    <a:pt x="115" y="198"/>
                  </a:lnTo>
                  <a:lnTo>
                    <a:pt x="118" y="197"/>
                  </a:lnTo>
                  <a:lnTo>
                    <a:pt x="120" y="197"/>
                  </a:lnTo>
                  <a:lnTo>
                    <a:pt x="122" y="19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0" name="Freeform 1229"/>
            <p:cNvSpPr>
              <a:spLocks/>
            </p:cNvSpPr>
            <p:nvPr/>
          </p:nvSpPr>
          <p:spPr bwMode="auto">
            <a:xfrm>
              <a:off x="4419603" y="2614616"/>
              <a:ext cx="104775" cy="122237"/>
            </a:xfrm>
            <a:custGeom>
              <a:avLst/>
              <a:gdLst>
                <a:gd name="T0" fmla="*/ 0 w 71"/>
                <a:gd name="T1" fmla="*/ 2147483647 h 77"/>
                <a:gd name="T2" fmla="*/ 2147483647 w 71"/>
                <a:gd name="T3" fmla="*/ 2147483647 h 77"/>
                <a:gd name="T4" fmla="*/ 2147483647 w 71"/>
                <a:gd name="T5" fmla="*/ 2147483647 h 77"/>
                <a:gd name="T6" fmla="*/ 2147483647 w 71"/>
                <a:gd name="T7" fmla="*/ 2147483647 h 77"/>
                <a:gd name="T8" fmla="*/ 2147483647 w 71"/>
                <a:gd name="T9" fmla="*/ 2147483647 h 77"/>
                <a:gd name="T10" fmla="*/ 2147483647 w 71"/>
                <a:gd name="T11" fmla="*/ 2147483647 h 77"/>
                <a:gd name="T12" fmla="*/ 2147483647 w 71"/>
                <a:gd name="T13" fmla="*/ 2147483647 h 77"/>
                <a:gd name="T14" fmla="*/ 2147483647 w 71"/>
                <a:gd name="T15" fmla="*/ 2147483647 h 77"/>
                <a:gd name="T16" fmla="*/ 2147483647 w 71"/>
                <a:gd name="T17" fmla="*/ 2147483647 h 77"/>
                <a:gd name="T18" fmla="*/ 2147483647 w 71"/>
                <a:gd name="T19" fmla="*/ 2147483647 h 77"/>
                <a:gd name="T20" fmla="*/ 2147483647 w 71"/>
                <a:gd name="T21" fmla="*/ 2147483647 h 77"/>
                <a:gd name="T22" fmla="*/ 2147483647 w 71"/>
                <a:gd name="T23" fmla="*/ 2147483647 h 77"/>
                <a:gd name="T24" fmla="*/ 2147483647 w 71"/>
                <a:gd name="T25" fmla="*/ 2147483647 h 77"/>
                <a:gd name="T26" fmla="*/ 2147483647 w 71"/>
                <a:gd name="T27" fmla="*/ 2147483647 h 77"/>
                <a:gd name="T28" fmla="*/ 2147483647 w 71"/>
                <a:gd name="T29" fmla="*/ 2147483647 h 77"/>
                <a:gd name="T30" fmla="*/ 2147483647 w 71"/>
                <a:gd name="T31" fmla="*/ 2147483647 h 77"/>
                <a:gd name="T32" fmla="*/ 2147483647 w 71"/>
                <a:gd name="T33" fmla="*/ 2147483647 h 77"/>
                <a:gd name="T34" fmla="*/ 2147483647 w 71"/>
                <a:gd name="T35" fmla="*/ 2147483647 h 77"/>
                <a:gd name="T36" fmla="*/ 2147483647 w 71"/>
                <a:gd name="T37" fmla="*/ 0 h 77"/>
                <a:gd name="T38" fmla="*/ 2147483647 w 71"/>
                <a:gd name="T39" fmla="*/ 0 h 77"/>
                <a:gd name="T40" fmla="*/ 2147483647 w 71"/>
                <a:gd name="T41" fmla="*/ 2147483647 h 77"/>
                <a:gd name="T42" fmla="*/ 2147483647 w 71"/>
                <a:gd name="T43" fmla="*/ 2147483647 h 77"/>
                <a:gd name="T44" fmla="*/ 2147483647 w 71"/>
                <a:gd name="T45" fmla="*/ 2147483647 h 77"/>
                <a:gd name="T46" fmla="*/ 2147483647 w 71"/>
                <a:gd name="T47" fmla="*/ 2147483647 h 77"/>
                <a:gd name="T48" fmla="*/ 2147483647 w 71"/>
                <a:gd name="T49" fmla="*/ 2147483647 h 77"/>
                <a:gd name="T50" fmla="*/ 2147483647 w 71"/>
                <a:gd name="T51" fmla="*/ 2147483647 h 77"/>
                <a:gd name="T52" fmla="*/ 2147483647 w 71"/>
                <a:gd name="T53" fmla="*/ 2147483647 h 77"/>
                <a:gd name="T54" fmla="*/ 2147483647 w 71"/>
                <a:gd name="T55" fmla="*/ 2147483647 h 77"/>
                <a:gd name="T56" fmla="*/ 2147483647 w 71"/>
                <a:gd name="T57" fmla="*/ 2147483647 h 77"/>
                <a:gd name="T58" fmla="*/ 2147483647 w 71"/>
                <a:gd name="T59" fmla="*/ 2147483647 h 77"/>
                <a:gd name="T60" fmla="*/ 2147483647 w 71"/>
                <a:gd name="T61" fmla="*/ 2147483647 h 77"/>
                <a:gd name="T62" fmla="*/ 2147483647 w 71"/>
                <a:gd name="T63" fmla="*/ 2147483647 h 77"/>
                <a:gd name="T64" fmla="*/ 2147483647 w 71"/>
                <a:gd name="T65" fmla="*/ 2147483647 h 77"/>
                <a:gd name="T66" fmla="*/ 2147483647 w 71"/>
                <a:gd name="T67" fmla="*/ 2147483647 h 77"/>
                <a:gd name="T68" fmla="*/ 0 w 71"/>
                <a:gd name="T69" fmla="*/ 2147483647 h 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77"/>
                <a:gd name="T107" fmla="*/ 71 w 71"/>
                <a:gd name="T108" fmla="*/ 77 h 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77">
                  <a:moveTo>
                    <a:pt x="0" y="54"/>
                  </a:moveTo>
                  <a:lnTo>
                    <a:pt x="0" y="54"/>
                  </a:lnTo>
                  <a:lnTo>
                    <a:pt x="5" y="55"/>
                  </a:lnTo>
                  <a:lnTo>
                    <a:pt x="9" y="57"/>
                  </a:lnTo>
                  <a:lnTo>
                    <a:pt x="18" y="57"/>
                  </a:lnTo>
                  <a:lnTo>
                    <a:pt x="27" y="54"/>
                  </a:lnTo>
                  <a:lnTo>
                    <a:pt x="35" y="54"/>
                  </a:lnTo>
                  <a:lnTo>
                    <a:pt x="37" y="54"/>
                  </a:lnTo>
                  <a:lnTo>
                    <a:pt x="38" y="57"/>
                  </a:lnTo>
                  <a:lnTo>
                    <a:pt x="39" y="63"/>
                  </a:lnTo>
                  <a:lnTo>
                    <a:pt x="42" y="68"/>
                  </a:lnTo>
                  <a:lnTo>
                    <a:pt x="44" y="73"/>
                  </a:lnTo>
                  <a:lnTo>
                    <a:pt x="49" y="77"/>
                  </a:lnTo>
                  <a:lnTo>
                    <a:pt x="51" y="67"/>
                  </a:lnTo>
                  <a:lnTo>
                    <a:pt x="52" y="59"/>
                  </a:lnTo>
                  <a:lnTo>
                    <a:pt x="52" y="55"/>
                  </a:lnTo>
                  <a:lnTo>
                    <a:pt x="52" y="51"/>
                  </a:lnTo>
                  <a:lnTo>
                    <a:pt x="52" y="48"/>
                  </a:lnTo>
                  <a:lnTo>
                    <a:pt x="52" y="46"/>
                  </a:lnTo>
                  <a:lnTo>
                    <a:pt x="53" y="45"/>
                  </a:lnTo>
                  <a:lnTo>
                    <a:pt x="57" y="42"/>
                  </a:lnTo>
                  <a:lnTo>
                    <a:pt x="61" y="38"/>
                  </a:lnTo>
                  <a:lnTo>
                    <a:pt x="63" y="34"/>
                  </a:lnTo>
                  <a:lnTo>
                    <a:pt x="65" y="29"/>
                  </a:lnTo>
                  <a:lnTo>
                    <a:pt x="66" y="20"/>
                  </a:lnTo>
                  <a:lnTo>
                    <a:pt x="68" y="12"/>
                  </a:lnTo>
                  <a:lnTo>
                    <a:pt x="71" y="7"/>
                  </a:lnTo>
                  <a:lnTo>
                    <a:pt x="68" y="6"/>
                  </a:lnTo>
                  <a:lnTo>
                    <a:pt x="67" y="3"/>
                  </a:lnTo>
                  <a:lnTo>
                    <a:pt x="65" y="1"/>
                  </a:lnTo>
                  <a:lnTo>
                    <a:pt x="62" y="0"/>
                  </a:lnTo>
                  <a:lnTo>
                    <a:pt x="58" y="0"/>
                  </a:lnTo>
                  <a:lnTo>
                    <a:pt x="53" y="1"/>
                  </a:lnTo>
                  <a:lnTo>
                    <a:pt x="47" y="4"/>
                  </a:lnTo>
                  <a:lnTo>
                    <a:pt x="44" y="6"/>
                  </a:lnTo>
                  <a:lnTo>
                    <a:pt x="43" y="8"/>
                  </a:lnTo>
                  <a:lnTo>
                    <a:pt x="41" y="14"/>
                  </a:lnTo>
                  <a:lnTo>
                    <a:pt x="41" y="21"/>
                  </a:lnTo>
                  <a:lnTo>
                    <a:pt x="38" y="27"/>
                  </a:lnTo>
                  <a:lnTo>
                    <a:pt x="37" y="26"/>
                  </a:lnTo>
                  <a:lnTo>
                    <a:pt x="35" y="23"/>
                  </a:lnTo>
                  <a:lnTo>
                    <a:pt x="35" y="20"/>
                  </a:lnTo>
                  <a:lnTo>
                    <a:pt x="35" y="16"/>
                  </a:lnTo>
                  <a:lnTo>
                    <a:pt x="35" y="13"/>
                  </a:lnTo>
                  <a:lnTo>
                    <a:pt x="34" y="12"/>
                  </a:lnTo>
                  <a:lnTo>
                    <a:pt x="33" y="12"/>
                  </a:lnTo>
                  <a:lnTo>
                    <a:pt x="30" y="12"/>
                  </a:lnTo>
                  <a:lnTo>
                    <a:pt x="29" y="16"/>
                  </a:lnTo>
                  <a:lnTo>
                    <a:pt x="25" y="27"/>
                  </a:lnTo>
                  <a:lnTo>
                    <a:pt x="21" y="36"/>
                  </a:lnTo>
                  <a:lnTo>
                    <a:pt x="18" y="44"/>
                  </a:lnTo>
                  <a:lnTo>
                    <a:pt x="16" y="46"/>
                  </a:lnTo>
                  <a:lnTo>
                    <a:pt x="13" y="48"/>
                  </a:lnTo>
                  <a:lnTo>
                    <a:pt x="0" y="5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1" name="Freeform 1230"/>
            <p:cNvSpPr>
              <a:spLocks/>
            </p:cNvSpPr>
            <p:nvPr/>
          </p:nvSpPr>
          <p:spPr bwMode="auto">
            <a:xfrm>
              <a:off x="4187827" y="2405067"/>
              <a:ext cx="190500" cy="350837"/>
            </a:xfrm>
            <a:custGeom>
              <a:avLst/>
              <a:gdLst>
                <a:gd name="T0" fmla="*/ 2147483647 w 130"/>
                <a:gd name="T1" fmla="*/ 2147483647 h 221"/>
                <a:gd name="T2" fmla="*/ 2147483647 w 130"/>
                <a:gd name="T3" fmla="*/ 2147483647 h 221"/>
                <a:gd name="T4" fmla="*/ 2147483647 w 130"/>
                <a:gd name="T5" fmla="*/ 2147483647 h 221"/>
                <a:gd name="T6" fmla="*/ 2147483647 w 130"/>
                <a:gd name="T7" fmla="*/ 2147483647 h 221"/>
                <a:gd name="T8" fmla="*/ 2147483647 w 130"/>
                <a:gd name="T9" fmla="*/ 2147483647 h 221"/>
                <a:gd name="T10" fmla="*/ 2147483647 w 130"/>
                <a:gd name="T11" fmla="*/ 2147483647 h 221"/>
                <a:gd name="T12" fmla="*/ 2147483647 w 130"/>
                <a:gd name="T13" fmla="*/ 2147483647 h 221"/>
                <a:gd name="T14" fmla="*/ 2147483647 w 130"/>
                <a:gd name="T15" fmla="*/ 2147483647 h 221"/>
                <a:gd name="T16" fmla="*/ 2147483647 w 130"/>
                <a:gd name="T17" fmla="*/ 2147483647 h 221"/>
                <a:gd name="T18" fmla="*/ 2147483647 w 130"/>
                <a:gd name="T19" fmla="*/ 2147483647 h 221"/>
                <a:gd name="T20" fmla="*/ 2147483647 w 130"/>
                <a:gd name="T21" fmla="*/ 2147483647 h 221"/>
                <a:gd name="T22" fmla="*/ 2147483647 w 130"/>
                <a:gd name="T23" fmla="*/ 2147483647 h 221"/>
                <a:gd name="T24" fmla="*/ 2147483647 w 130"/>
                <a:gd name="T25" fmla="*/ 2147483647 h 221"/>
                <a:gd name="T26" fmla="*/ 2147483647 w 130"/>
                <a:gd name="T27" fmla="*/ 2147483647 h 221"/>
                <a:gd name="T28" fmla="*/ 2147483647 w 130"/>
                <a:gd name="T29" fmla="*/ 2147483647 h 221"/>
                <a:gd name="T30" fmla="*/ 2147483647 w 130"/>
                <a:gd name="T31" fmla="*/ 2147483647 h 221"/>
                <a:gd name="T32" fmla="*/ 2147483647 w 130"/>
                <a:gd name="T33" fmla="*/ 2147483647 h 221"/>
                <a:gd name="T34" fmla="*/ 2147483647 w 130"/>
                <a:gd name="T35" fmla="*/ 2147483647 h 221"/>
                <a:gd name="T36" fmla="*/ 2147483647 w 130"/>
                <a:gd name="T37" fmla="*/ 2147483647 h 221"/>
                <a:gd name="T38" fmla="*/ 2147483647 w 130"/>
                <a:gd name="T39" fmla="*/ 2147483647 h 221"/>
                <a:gd name="T40" fmla="*/ 2147483647 w 130"/>
                <a:gd name="T41" fmla="*/ 2147483647 h 221"/>
                <a:gd name="T42" fmla="*/ 2147483647 w 130"/>
                <a:gd name="T43" fmla="*/ 2147483647 h 221"/>
                <a:gd name="T44" fmla="*/ 2147483647 w 130"/>
                <a:gd name="T45" fmla="*/ 2147483647 h 221"/>
                <a:gd name="T46" fmla="*/ 2147483647 w 130"/>
                <a:gd name="T47" fmla="*/ 0 h 221"/>
                <a:gd name="T48" fmla="*/ 2147483647 w 130"/>
                <a:gd name="T49" fmla="*/ 2147483647 h 221"/>
                <a:gd name="T50" fmla="*/ 2147483647 w 130"/>
                <a:gd name="T51" fmla="*/ 2147483647 h 221"/>
                <a:gd name="T52" fmla="*/ 2147483647 w 130"/>
                <a:gd name="T53" fmla="*/ 2147483647 h 221"/>
                <a:gd name="T54" fmla="*/ 2147483647 w 130"/>
                <a:gd name="T55" fmla="*/ 2147483647 h 221"/>
                <a:gd name="T56" fmla="*/ 2147483647 w 130"/>
                <a:gd name="T57" fmla="*/ 2147483647 h 221"/>
                <a:gd name="T58" fmla="*/ 2147483647 w 130"/>
                <a:gd name="T59" fmla="*/ 2147483647 h 221"/>
                <a:gd name="T60" fmla="*/ 2147483647 w 130"/>
                <a:gd name="T61" fmla="*/ 2147483647 h 221"/>
                <a:gd name="T62" fmla="*/ 2147483647 w 130"/>
                <a:gd name="T63" fmla="*/ 2147483647 h 221"/>
                <a:gd name="T64" fmla="*/ 2147483647 w 130"/>
                <a:gd name="T65" fmla="*/ 2147483647 h 221"/>
                <a:gd name="T66" fmla="*/ 2147483647 w 130"/>
                <a:gd name="T67" fmla="*/ 2147483647 h 221"/>
                <a:gd name="T68" fmla="*/ 2147483647 w 130"/>
                <a:gd name="T69" fmla="*/ 2147483647 h 221"/>
                <a:gd name="T70" fmla="*/ 2147483647 w 130"/>
                <a:gd name="T71" fmla="*/ 2147483647 h 221"/>
                <a:gd name="T72" fmla="*/ 2147483647 w 130"/>
                <a:gd name="T73" fmla="*/ 2147483647 h 221"/>
                <a:gd name="T74" fmla="*/ 2147483647 w 130"/>
                <a:gd name="T75" fmla="*/ 2147483647 h 221"/>
                <a:gd name="T76" fmla="*/ 2147483647 w 130"/>
                <a:gd name="T77" fmla="*/ 2147483647 h 221"/>
                <a:gd name="T78" fmla="*/ 2147483647 w 130"/>
                <a:gd name="T79" fmla="*/ 2147483647 h 221"/>
                <a:gd name="T80" fmla="*/ 2147483647 w 130"/>
                <a:gd name="T81" fmla="*/ 2147483647 h 221"/>
                <a:gd name="T82" fmla="*/ 2147483647 w 130"/>
                <a:gd name="T83" fmla="*/ 2147483647 h 221"/>
                <a:gd name="T84" fmla="*/ 2147483647 w 130"/>
                <a:gd name="T85" fmla="*/ 2147483647 h 221"/>
                <a:gd name="T86" fmla="*/ 2147483647 w 130"/>
                <a:gd name="T87" fmla="*/ 2147483647 h 221"/>
                <a:gd name="T88" fmla="*/ 2147483647 w 130"/>
                <a:gd name="T89" fmla="*/ 2147483647 h 221"/>
                <a:gd name="T90" fmla="*/ 2147483647 w 130"/>
                <a:gd name="T91" fmla="*/ 2147483647 h 221"/>
                <a:gd name="T92" fmla="*/ 2147483647 w 130"/>
                <a:gd name="T93" fmla="*/ 2147483647 h 221"/>
                <a:gd name="T94" fmla="*/ 2147483647 w 130"/>
                <a:gd name="T95" fmla="*/ 2147483647 h 221"/>
                <a:gd name="T96" fmla="*/ 2147483647 w 130"/>
                <a:gd name="T97" fmla="*/ 2147483647 h 221"/>
                <a:gd name="T98" fmla="*/ 2147483647 w 130"/>
                <a:gd name="T99" fmla="*/ 2147483647 h 221"/>
                <a:gd name="T100" fmla="*/ 2147483647 w 130"/>
                <a:gd name="T101" fmla="*/ 2147483647 h 221"/>
                <a:gd name="T102" fmla="*/ 2147483647 w 130"/>
                <a:gd name="T103" fmla="*/ 2147483647 h 221"/>
                <a:gd name="T104" fmla="*/ 2147483647 w 130"/>
                <a:gd name="T105" fmla="*/ 2147483647 h 221"/>
                <a:gd name="T106" fmla="*/ 2147483647 w 130"/>
                <a:gd name="T107" fmla="*/ 2147483647 h 221"/>
                <a:gd name="T108" fmla="*/ 2147483647 w 130"/>
                <a:gd name="T109" fmla="*/ 2147483647 h 221"/>
                <a:gd name="T110" fmla="*/ 2147483647 w 130"/>
                <a:gd name="T111" fmla="*/ 2147483647 h 221"/>
                <a:gd name="T112" fmla="*/ 2147483647 w 130"/>
                <a:gd name="T113" fmla="*/ 2147483647 h 221"/>
                <a:gd name="T114" fmla="*/ 2147483647 w 130"/>
                <a:gd name="T115" fmla="*/ 2147483647 h 221"/>
                <a:gd name="T116" fmla="*/ 2147483647 w 130"/>
                <a:gd name="T117" fmla="*/ 2147483647 h 221"/>
                <a:gd name="T118" fmla="*/ 2147483647 w 130"/>
                <a:gd name="T119" fmla="*/ 2147483647 h 221"/>
                <a:gd name="T120" fmla="*/ 2147483647 w 130"/>
                <a:gd name="T121" fmla="*/ 214748364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0"/>
                <a:gd name="T184" fmla="*/ 0 h 221"/>
                <a:gd name="T185" fmla="*/ 130 w 130"/>
                <a:gd name="T186" fmla="*/ 221 h 2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0" h="221">
                  <a:moveTo>
                    <a:pt x="122" y="195"/>
                  </a:moveTo>
                  <a:lnTo>
                    <a:pt x="122" y="195"/>
                  </a:lnTo>
                  <a:lnTo>
                    <a:pt x="126" y="191"/>
                  </a:lnTo>
                  <a:lnTo>
                    <a:pt x="127" y="189"/>
                  </a:lnTo>
                  <a:lnTo>
                    <a:pt x="127" y="187"/>
                  </a:lnTo>
                  <a:lnTo>
                    <a:pt x="125" y="185"/>
                  </a:lnTo>
                  <a:lnTo>
                    <a:pt x="122" y="185"/>
                  </a:lnTo>
                  <a:lnTo>
                    <a:pt x="116" y="186"/>
                  </a:lnTo>
                  <a:lnTo>
                    <a:pt x="111" y="186"/>
                  </a:lnTo>
                  <a:lnTo>
                    <a:pt x="108" y="185"/>
                  </a:lnTo>
                  <a:lnTo>
                    <a:pt x="107" y="183"/>
                  </a:lnTo>
                  <a:lnTo>
                    <a:pt x="117" y="179"/>
                  </a:lnTo>
                  <a:lnTo>
                    <a:pt x="121" y="177"/>
                  </a:lnTo>
                  <a:lnTo>
                    <a:pt x="125" y="174"/>
                  </a:lnTo>
                  <a:lnTo>
                    <a:pt x="127" y="171"/>
                  </a:lnTo>
                  <a:lnTo>
                    <a:pt x="130" y="167"/>
                  </a:lnTo>
                  <a:lnTo>
                    <a:pt x="130" y="163"/>
                  </a:lnTo>
                  <a:lnTo>
                    <a:pt x="130" y="158"/>
                  </a:lnTo>
                  <a:lnTo>
                    <a:pt x="129" y="154"/>
                  </a:lnTo>
                  <a:lnTo>
                    <a:pt x="126" y="152"/>
                  </a:lnTo>
                  <a:lnTo>
                    <a:pt x="124" y="151"/>
                  </a:lnTo>
                  <a:lnTo>
                    <a:pt x="121" y="150"/>
                  </a:lnTo>
                  <a:lnTo>
                    <a:pt x="115" y="151"/>
                  </a:lnTo>
                  <a:lnTo>
                    <a:pt x="108" y="153"/>
                  </a:lnTo>
                  <a:lnTo>
                    <a:pt x="108" y="154"/>
                  </a:lnTo>
                  <a:lnTo>
                    <a:pt x="107" y="153"/>
                  </a:lnTo>
                  <a:lnTo>
                    <a:pt x="107" y="152"/>
                  </a:lnTo>
                  <a:lnTo>
                    <a:pt x="108" y="148"/>
                  </a:lnTo>
                  <a:lnTo>
                    <a:pt x="108" y="144"/>
                  </a:lnTo>
                  <a:lnTo>
                    <a:pt x="106" y="140"/>
                  </a:lnTo>
                  <a:lnTo>
                    <a:pt x="101" y="138"/>
                  </a:lnTo>
                  <a:lnTo>
                    <a:pt x="98" y="135"/>
                  </a:lnTo>
                  <a:lnTo>
                    <a:pt x="98" y="134"/>
                  </a:lnTo>
                  <a:lnTo>
                    <a:pt x="98" y="132"/>
                  </a:lnTo>
                  <a:lnTo>
                    <a:pt x="99" y="131"/>
                  </a:lnTo>
                  <a:lnTo>
                    <a:pt x="101" y="129"/>
                  </a:lnTo>
                  <a:lnTo>
                    <a:pt x="103" y="129"/>
                  </a:lnTo>
                  <a:lnTo>
                    <a:pt x="105" y="129"/>
                  </a:lnTo>
                  <a:lnTo>
                    <a:pt x="105" y="126"/>
                  </a:lnTo>
                  <a:lnTo>
                    <a:pt x="103" y="123"/>
                  </a:lnTo>
                  <a:lnTo>
                    <a:pt x="99" y="120"/>
                  </a:lnTo>
                  <a:lnTo>
                    <a:pt x="94" y="116"/>
                  </a:lnTo>
                  <a:lnTo>
                    <a:pt x="89" y="112"/>
                  </a:lnTo>
                  <a:lnTo>
                    <a:pt x="88" y="108"/>
                  </a:lnTo>
                  <a:lnTo>
                    <a:pt x="87" y="104"/>
                  </a:lnTo>
                  <a:lnTo>
                    <a:pt x="85" y="101"/>
                  </a:lnTo>
                  <a:lnTo>
                    <a:pt x="83" y="97"/>
                  </a:lnTo>
                  <a:lnTo>
                    <a:pt x="78" y="91"/>
                  </a:lnTo>
                  <a:lnTo>
                    <a:pt x="74" y="85"/>
                  </a:lnTo>
                  <a:lnTo>
                    <a:pt x="70" y="78"/>
                  </a:lnTo>
                  <a:lnTo>
                    <a:pt x="68" y="70"/>
                  </a:lnTo>
                  <a:lnTo>
                    <a:pt x="68" y="69"/>
                  </a:lnTo>
                  <a:lnTo>
                    <a:pt x="65" y="69"/>
                  </a:lnTo>
                  <a:lnTo>
                    <a:pt x="61" y="68"/>
                  </a:lnTo>
                  <a:lnTo>
                    <a:pt x="56" y="67"/>
                  </a:lnTo>
                  <a:lnTo>
                    <a:pt x="52" y="64"/>
                  </a:lnTo>
                  <a:lnTo>
                    <a:pt x="50" y="62"/>
                  </a:lnTo>
                  <a:lnTo>
                    <a:pt x="49" y="59"/>
                  </a:lnTo>
                  <a:lnTo>
                    <a:pt x="50" y="58"/>
                  </a:lnTo>
                  <a:lnTo>
                    <a:pt x="55" y="55"/>
                  </a:lnTo>
                  <a:lnTo>
                    <a:pt x="59" y="50"/>
                  </a:lnTo>
                  <a:lnTo>
                    <a:pt x="60" y="46"/>
                  </a:lnTo>
                  <a:lnTo>
                    <a:pt x="60" y="42"/>
                  </a:lnTo>
                  <a:lnTo>
                    <a:pt x="63" y="38"/>
                  </a:lnTo>
                  <a:lnTo>
                    <a:pt x="66" y="35"/>
                  </a:lnTo>
                  <a:lnTo>
                    <a:pt x="68" y="32"/>
                  </a:lnTo>
                  <a:lnTo>
                    <a:pt x="68" y="31"/>
                  </a:lnTo>
                  <a:lnTo>
                    <a:pt x="66" y="30"/>
                  </a:lnTo>
                  <a:lnTo>
                    <a:pt x="65" y="29"/>
                  </a:lnTo>
                  <a:lnTo>
                    <a:pt x="54" y="27"/>
                  </a:lnTo>
                  <a:lnTo>
                    <a:pt x="44" y="26"/>
                  </a:lnTo>
                  <a:lnTo>
                    <a:pt x="41" y="27"/>
                  </a:lnTo>
                  <a:lnTo>
                    <a:pt x="39" y="29"/>
                  </a:lnTo>
                  <a:lnTo>
                    <a:pt x="37" y="30"/>
                  </a:lnTo>
                  <a:lnTo>
                    <a:pt x="35" y="31"/>
                  </a:lnTo>
                  <a:lnTo>
                    <a:pt x="33" y="27"/>
                  </a:lnTo>
                  <a:lnTo>
                    <a:pt x="32" y="24"/>
                  </a:lnTo>
                  <a:lnTo>
                    <a:pt x="32" y="20"/>
                  </a:lnTo>
                  <a:lnTo>
                    <a:pt x="33" y="19"/>
                  </a:lnTo>
                  <a:lnTo>
                    <a:pt x="35" y="18"/>
                  </a:lnTo>
                  <a:lnTo>
                    <a:pt x="39" y="16"/>
                  </a:lnTo>
                  <a:lnTo>
                    <a:pt x="42" y="11"/>
                  </a:lnTo>
                  <a:lnTo>
                    <a:pt x="45" y="6"/>
                  </a:lnTo>
                  <a:lnTo>
                    <a:pt x="45" y="4"/>
                  </a:lnTo>
                  <a:lnTo>
                    <a:pt x="45" y="1"/>
                  </a:lnTo>
                  <a:lnTo>
                    <a:pt x="42" y="0"/>
                  </a:lnTo>
                  <a:lnTo>
                    <a:pt x="41" y="0"/>
                  </a:lnTo>
                  <a:lnTo>
                    <a:pt x="39" y="3"/>
                  </a:lnTo>
                  <a:lnTo>
                    <a:pt x="36" y="4"/>
                  </a:lnTo>
                  <a:lnTo>
                    <a:pt x="31" y="4"/>
                  </a:lnTo>
                  <a:lnTo>
                    <a:pt x="30" y="5"/>
                  </a:lnTo>
                  <a:lnTo>
                    <a:pt x="28" y="5"/>
                  </a:lnTo>
                  <a:lnTo>
                    <a:pt x="25" y="4"/>
                  </a:lnTo>
                  <a:lnTo>
                    <a:pt x="22" y="1"/>
                  </a:lnTo>
                  <a:lnTo>
                    <a:pt x="19" y="0"/>
                  </a:lnTo>
                  <a:lnTo>
                    <a:pt x="18" y="0"/>
                  </a:lnTo>
                  <a:lnTo>
                    <a:pt x="16" y="1"/>
                  </a:lnTo>
                  <a:lnTo>
                    <a:pt x="14" y="5"/>
                  </a:lnTo>
                  <a:lnTo>
                    <a:pt x="14" y="10"/>
                  </a:lnTo>
                  <a:lnTo>
                    <a:pt x="14" y="19"/>
                  </a:lnTo>
                  <a:lnTo>
                    <a:pt x="14" y="20"/>
                  </a:lnTo>
                  <a:lnTo>
                    <a:pt x="12" y="21"/>
                  </a:lnTo>
                  <a:lnTo>
                    <a:pt x="8" y="23"/>
                  </a:lnTo>
                  <a:lnTo>
                    <a:pt x="7" y="24"/>
                  </a:lnTo>
                  <a:lnTo>
                    <a:pt x="5" y="25"/>
                  </a:lnTo>
                  <a:lnTo>
                    <a:pt x="5" y="31"/>
                  </a:lnTo>
                  <a:lnTo>
                    <a:pt x="4" y="36"/>
                  </a:lnTo>
                  <a:lnTo>
                    <a:pt x="0" y="46"/>
                  </a:lnTo>
                  <a:lnTo>
                    <a:pt x="2" y="49"/>
                  </a:lnTo>
                  <a:lnTo>
                    <a:pt x="2" y="51"/>
                  </a:lnTo>
                  <a:lnTo>
                    <a:pt x="7" y="56"/>
                  </a:lnTo>
                  <a:lnTo>
                    <a:pt x="8" y="56"/>
                  </a:lnTo>
                  <a:lnTo>
                    <a:pt x="11" y="55"/>
                  </a:lnTo>
                  <a:lnTo>
                    <a:pt x="11" y="56"/>
                  </a:lnTo>
                  <a:lnTo>
                    <a:pt x="11" y="58"/>
                  </a:lnTo>
                  <a:lnTo>
                    <a:pt x="7" y="69"/>
                  </a:lnTo>
                  <a:lnTo>
                    <a:pt x="4" y="75"/>
                  </a:lnTo>
                  <a:lnTo>
                    <a:pt x="4" y="81"/>
                  </a:lnTo>
                  <a:lnTo>
                    <a:pt x="5" y="80"/>
                  </a:lnTo>
                  <a:lnTo>
                    <a:pt x="8" y="78"/>
                  </a:lnTo>
                  <a:lnTo>
                    <a:pt x="9" y="75"/>
                  </a:lnTo>
                  <a:lnTo>
                    <a:pt x="11" y="70"/>
                  </a:lnTo>
                  <a:lnTo>
                    <a:pt x="13" y="67"/>
                  </a:lnTo>
                  <a:lnTo>
                    <a:pt x="16" y="65"/>
                  </a:lnTo>
                  <a:lnTo>
                    <a:pt x="17" y="65"/>
                  </a:lnTo>
                  <a:lnTo>
                    <a:pt x="19" y="69"/>
                  </a:lnTo>
                  <a:lnTo>
                    <a:pt x="21" y="74"/>
                  </a:lnTo>
                  <a:lnTo>
                    <a:pt x="21" y="78"/>
                  </a:lnTo>
                  <a:lnTo>
                    <a:pt x="18" y="83"/>
                  </a:lnTo>
                  <a:lnTo>
                    <a:pt x="19" y="85"/>
                  </a:lnTo>
                  <a:lnTo>
                    <a:pt x="19" y="88"/>
                  </a:lnTo>
                  <a:lnTo>
                    <a:pt x="19" y="89"/>
                  </a:lnTo>
                  <a:lnTo>
                    <a:pt x="17" y="94"/>
                  </a:lnTo>
                  <a:lnTo>
                    <a:pt x="17" y="97"/>
                  </a:lnTo>
                  <a:lnTo>
                    <a:pt x="17" y="102"/>
                  </a:lnTo>
                  <a:lnTo>
                    <a:pt x="18" y="103"/>
                  </a:lnTo>
                  <a:lnTo>
                    <a:pt x="19" y="103"/>
                  </a:lnTo>
                  <a:lnTo>
                    <a:pt x="26" y="104"/>
                  </a:lnTo>
                  <a:lnTo>
                    <a:pt x="32" y="104"/>
                  </a:lnTo>
                  <a:lnTo>
                    <a:pt x="33" y="103"/>
                  </a:lnTo>
                  <a:lnTo>
                    <a:pt x="36" y="101"/>
                  </a:lnTo>
                  <a:lnTo>
                    <a:pt x="39" y="99"/>
                  </a:lnTo>
                  <a:lnTo>
                    <a:pt x="41" y="97"/>
                  </a:lnTo>
                  <a:lnTo>
                    <a:pt x="45" y="97"/>
                  </a:lnTo>
                  <a:lnTo>
                    <a:pt x="46" y="99"/>
                  </a:lnTo>
                  <a:lnTo>
                    <a:pt x="47" y="101"/>
                  </a:lnTo>
                  <a:lnTo>
                    <a:pt x="47" y="102"/>
                  </a:lnTo>
                  <a:lnTo>
                    <a:pt x="44" y="108"/>
                  </a:lnTo>
                  <a:lnTo>
                    <a:pt x="42" y="112"/>
                  </a:lnTo>
                  <a:lnTo>
                    <a:pt x="44" y="113"/>
                  </a:lnTo>
                  <a:lnTo>
                    <a:pt x="45" y="114"/>
                  </a:lnTo>
                  <a:lnTo>
                    <a:pt x="50" y="115"/>
                  </a:lnTo>
                  <a:lnTo>
                    <a:pt x="54" y="118"/>
                  </a:lnTo>
                  <a:lnTo>
                    <a:pt x="56" y="121"/>
                  </a:lnTo>
                  <a:lnTo>
                    <a:pt x="56" y="123"/>
                  </a:lnTo>
                  <a:lnTo>
                    <a:pt x="56" y="126"/>
                  </a:lnTo>
                  <a:lnTo>
                    <a:pt x="55" y="128"/>
                  </a:lnTo>
                  <a:lnTo>
                    <a:pt x="52" y="129"/>
                  </a:lnTo>
                  <a:lnTo>
                    <a:pt x="49" y="132"/>
                  </a:lnTo>
                  <a:lnTo>
                    <a:pt x="49" y="133"/>
                  </a:lnTo>
                  <a:lnTo>
                    <a:pt x="50" y="135"/>
                  </a:lnTo>
                  <a:lnTo>
                    <a:pt x="52" y="136"/>
                  </a:lnTo>
                  <a:lnTo>
                    <a:pt x="52" y="138"/>
                  </a:lnTo>
                  <a:lnTo>
                    <a:pt x="47" y="138"/>
                  </a:lnTo>
                  <a:lnTo>
                    <a:pt x="42" y="138"/>
                  </a:lnTo>
                  <a:lnTo>
                    <a:pt x="37" y="139"/>
                  </a:lnTo>
                  <a:lnTo>
                    <a:pt x="33" y="141"/>
                  </a:lnTo>
                  <a:lnTo>
                    <a:pt x="25" y="146"/>
                  </a:lnTo>
                  <a:lnTo>
                    <a:pt x="18" y="153"/>
                  </a:lnTo>
                  <a:lnTo>
                    <a:pt x="19" y="154"/>
                  </a:lnTo>
                  <a:lnTo>
                    <a:pt x="22" y="154"/>
                  </a:lnTo>
                  <a:lnTo>
                    <a:pt x="26" y="152"/>
                  </a:lnTo>
                  <a:lnTo>
                    <a:pt x="30" y="151"/>
                  </a:lnTo>
                  <a:lnTo>
                    <a:pt x="33" y="151"/>
                  </a:lnTo>
                  <a:lnTo>
                    <a:pt x="37" y="152"/>
                  </a:lnTo>
                  <a:lnTo>
                    <a:pt x="39" y="154"/>
                  </a:lnTo>
                  <a:lnTo>
                    <a:pt x="39" y="155"/>
                  </a:lnTo>
                  <a:lnTo>
                    <a:pt x="37" y="158"/>
                  </a:lnTo>
                  <a:lnTo>
                    <a:pt x="35" y="161"/>
                  </a:lnTo>
                  <a:lnTo>
                    <a:pt x="31" y="164"/>
                  </a:lnTo>
                  <a:lnTo>
                    <a:pt x="28" y="166"/>
                  </a:lnTo>
                  <a:lnTo>
                    <a:pt x="26" y="168"/>
                  </a:lnTo>
                  <a:lnTo>
                    <a:pt x="19" y="173"/>
                  </a:lnTo>
                  <a:lnTo>
                    <a:pt x="17" y="177"/>
                  </a:lnTo>
                  <a:lnTo>
                    <a:pt x="16" y="180"/>
                  </a:lnTo>
                  <a:lnTo>
                    <a:pt x="17" y="180"/>
                  </a:lnTo>
                  <a:lnTo>
                    <a:pt x="18" y="180"/>
                  </a:lnTo>
                  <a:lnTo>
                    <a:pt x="25" y="178"/>
                  </a:lnTo>
                  <a:lnTo>
                    <a:pt x="30" y="178"/>
                  </a:lnTo>
                  <a:lnTo>
                    <a:pt x="36" y="179"/>
                  </a:lnTo>
                  <a:lnTo>
                    <a:pt x="41" y="180"/>
                  </a:lnTo>
                  <a:lnTo>
                    <a:pt x="44" y="182"/>
                  </a:lnTo>
                  <a:lnTo>
                    <a:pt x="46" y="182"/>
                  </a:lnTo>
                  <a:lnTo>
                    <a:pt x="51" y="180"/>
                  </a:lnTo>
                  <a:lnTo>
                    <a:pt x="61" y="173"/>
                  </a:lnTo>
                  <a:lnTo>
                    <a:pt x="60" y="178"/>
                  </a:lnTo>
                  <a:lnTo>
                    <a:pt x="59" y="183"/>
                  </a:lnTo>
                  <a:lnTo>
                    <a:pt x="55" y="185"/>
                  </a:lnTo>
                  <a:lnTo>
                    <a:pt x="51" y="187"/>
                  </a:lnTo>
                  <a:lnTo>
                    <a:pt x="44" y="190"/>
                  </a:lnTo>
                  <a:lnTo>
                    <a:pt x="33" y="191"/>
                  </a:lnTo>
                  <a:lnTo>
                    <a:pt x="31" y="192"/>
                  </a:lnTo>
                  <a:lnTo>
                    <a:pt x="28" y="195"/>
                  </a:lnTo>
                  <a:lnTo>
                    <a:pt x="26" y="199"/>
                  </a:lnTo>
                  <a:lnTo>
                    <a:pt x="22" y="203"/>
                  </a:lnTo>
                  <a:lnTo>
                    <a:pt x="13" y="210"/>
                  </a:lnTo>
                  <a:lnTo>
                    <a:pt x="8" y="215"/>
                  </a:lnTo>
                  <a:lnTo>
                    <a:pt x="4" y="216"/>
                  </a:lnTo>
                  <a:lnTo>
                    <a:pt x="2" y="218"/>
                  </a:lnTo>
                  <a:lnTo>
                    <a:pt x="5" y="219"/>
                  </a:lnTo>
                  <a:lnTo>
                    <a:pt x="9" y="221"/>
                  </a:lnTo>
                  <a:lnTo>
                    <a:pt x="11" y="221"/>
                  </a:lnTo>
                  <a:lnTo>
                    <a:pt x="12" y="221"/>
                  </a:lnTo>
                  <a:lnTo>
                    <a:pt x="17" y="214"/>
                  </a:lnTo>
                  <a:lnTo>
                    <a:pt x="19" y="211"/>
                  </a:lnTo>
                  <a:lnTo>
                    <a:pt x="23" y="209"/>
                  </a:lnTo>
                  <a:lnTo>
                    <a:pt x="27" y="208"/>
                  </a:lnTo>
                  <a:lnTo>
                    <a:pt x="31" y="208"/>
                  </a:lnTo>
                  <a:lnTo>
                    <a:pt x="35" y="209"/>
                  </a:lnTo>
                  <a:lnTo>
                    <a:pt x="39" y="211"/>
                  </a:lnTo>
                  <a:lnTo>
                    <a:pt x="40" y="211"/>
                  </a:lnTo>
                  <a:lnTo>
                    <a:pt x="41" y="210"/>
                  </a:lnTo>
                  <a:lnTo>
                    <a:pt x="45" y="205"/>
                  </a:lnTo>
                  <a:lnTo>
                    <a:pt x="49" y="203"/>
                  </a:lnTo>
                  <a:lnTo>
                    <a:pt x="52" y="203"/>
                  </a:lnTo>
                  <a:lnTo>
                    <a:pt x="56" y="202"/>
                  </a:lnTo>
                  <a:lnTo>
                    <a:pt x="63" y="200"/>
                  </a:lnTo>
                  <a:lnTo>
                    <a:pt x="70" y="199"/>
                  </a:lnTo>
                  <a:lnTo>
                    <a:pt x="73" y="199"/>
                  </a:lnTo>
                  <a:lnTo>
                    <a:pt x="74" y="199"/>
                  </a:lnTo>
                  <a:lnTo>
                    <a:pt x="77" y="197"/>
                  </a:lnTo>
                  <a:lnTo>
                    <a:pt x="78" y="197"/>
                  </a:lnTo>
                  <a:lnTo>
                    <a:pt x="79" y="197"/>
                  </a:lnTo>
                  <a:lnTo>
                    <a:pt x="87" y="199"/>
                  </a:lnTo>
                  <a:lnTo>
                    <a:pt x="91" y="200"/>
                  </a:lnTo>
                  <a:lnTo>
                    <a:pt x="94" y="199"/>
                  </a:lnTo>
                  <a:lnTo>
                    <a:pt x="106" y="198"/>
                  </a:lnTo>
                  <a:lnTo>
                    <a:pt x="116" y="198"/>
                  </a:lnTo>
                  <a:lnTo>
                    <a:pt x="119" y="197"/>
                  </a:lnTo>
                  <a:lnTo>
                    <a:pt x="121" y="197"/>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2" name="Freeform 1231"/>
            <p:cNvSpPr>
              <a:spLocks/>
            </p:cNvSpPr>
            <p:nvPr/>
          </p:nvSpPr>
          <p:spPr bwMode="auto">
            <a:xfrm>
              <a:off x="4297367" y="2727329"/>
              <a:ext cx="7937" cy="9525"/>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2"/>
                  </a:moveTo>
                  <a:lnTo>
                    <a:pt x="5" y="1"/>
                  </a:lnTo>
                  <a:lnTo>
                    <a:pt x="4" y="0"/>
                  </a:lnTo>
                  <a:lnTo>
                    <a:pt x="3" y="0"/>
                  </a:lnTo>
                  <a:lnTo>
                    <a:pt x="2" y="0"/>
                  </a:lnTo>
                  <a:lnTo>
                    <a:pt x="0" y="3"/>
                  </a:lnTo>
                  <a:lnTo>
                    <a:pt x="0" y="6"/>
                  </a:lnTo>
                  <a:lnTo>
                    <a:pt x="3" y="5"/>
                  </a:lnTo>
                  <a:lnTo>
                    <a:pt x="5" y="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3" name="Freeform 1232"/>
            <p:cNvSpPr>
              <a:spLocks/>
            </p:cNvSpPr>
            <p:nvPr/>
          </p:nvSpPr>
          <p:spPr bwMode="auto">
            <a:xfrm>
              <a:off x="4221163" y="2586038"/>
              <a:ext cx="12700" cy="17462"/>
            </a:xfrm>
            <a:custGeom>
              <a:avLst/>
              <a:gdLst>
                <a:gd name="T0" fmla="*/ 2147483647 w 8"/>
                <a:gd name="T1" fmla="*/ 2147483647 h 11"/>
                <a:gd name="T2" fmla="*/ 2147483647 w 8"/>
                <a:gd name="T3" fmla="*/ 2147483647 h 11"/>
                <a:gd name="T4" fmla="*/ 2147483647 w 8"/>
                <a:gd name="T5" fmla="*/ 2147483647 h 11"/>
                <a:gd name="T6" fmla="*/ 0 w 8"/>
                <a:gd name="T7" fmla="*/ 2147483647 h 11"/>
                <a:gd name="T8" fmla="*/ 0 w 8"/>
                <a:gd name="T9" fmla="*/ 2147483647 h 11"/>
                <a:gd name="T10" fmla="*/ 2147483647 w 8"/>
                <a:gd name="T11" fmla="*/ 2147483647 h 11"/>
                <a:gd name="T12" fmla="*/ 2147483647 w 8"/>
                <a:gd name="T13" fmla="*/ 0 h 11"/>
                <a:gd name="T14" fmla="*/ 2147483647 w 8"/>
                <a:gd name="T15" fmla="*/ 2147483647 h 11"/>
                <a:gd name="T16" fmla="*/ 2147483647 w 8"/>
                <a:gd name="T17" fmla="*/ 2147483647 h 11"/>
                <a:gd name="T18" fmla="*/ 2147483647 w 8"/>
                <a:gd name="T19" fmla="*/ 2147483647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1"/>
                <a:gd name="T32" fmla="*/ 8 w 8"/>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1">
                  <a:moveTo>
                    <a:pt x="4" y="8"/>
                  </a:moveTo>
                  <a:lnTo>
                    <a:pt x="2" y="9"/>
                  </a:lnTo>
                  <a:lnTo>
                    <a:pt x="2" y="11"/>
                  </a:lnTo>
                  <a:lnTo>
                    <a:pt x="0" y="9"/>
                  </a:lnTo>
                  <a:lnTo>
                    <a:pt x="0" y="7"/>
                  </a:lnTo>
                  <a:lnTo>
                    <a:pt x="2" y="5"/>
                  </a:lnTo>
                  <a:lnTo>
                    <a:pt x="7" y="0"/>
                  </a:lnTo>
                  <a:lnTo>
                    <a:pt x="8" y="2"/>
                  </a:lnTo>
                  <a:lnTo>
                    <a:pt x="7" y="4"/>
                  </a:lnTo>
                  <a:lnTo>
                    <a:pt x="4"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4" name="Freeform 1233"/>
            <p:cNvSpPr>
              <a:spLocks/>
            </p:cNvSpPr>
            <p:nvPr/>
          </p:nvSpPr>
          <p:spPr bwMode="auto">
            <a:xfrm>
              <a:off x="4295775" y="2725742"/>
              <a:ext cx="7938" cy="9525"/>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2147483647 w 5"/>
                <a:gd name="T11" fmla="*/ 0 h 6"/>
                <a:gd name="T12" fmla="*/ 2147483647 w 5"/>
                <a:gd name="T13" fmla="*/ 0 h 6"/>
                <a:gd name="T14" fmla="*/ 2147483647 w 5"/>
                <a:gd name="T15" fmla="*/ 0 h 6"/>
                <a:gd name="T16" fmla="*/ 0 w 5"/>
                <a:gd name="T17" fmla="*/ 2147483647 h 6"/>
                <a:gd name="T18" fmla="*/ 0 w 5"/>
                <a:gd name="T19" fmla="*/ 2147483647 h 6"/>
                <a:gd name="T20" fmla="*/ 0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2"/>
                  </a:moveTo>
                  <a:lnTo>
                    <a:pt x="5" y="2"/>
                  </a:lnTo>
                  <a:lnTo>
                    <a:pt x="5" y="1"/>
                  </a:lnTo>
                  <a:lnTo>
                    <a:pt x="4" y="0"/>
                  </a:lnTo>
                  <a:lnTo>
                    <a:pt x="3" y="0"/>
                  </a:lnTo>
                  <a:lnTo>
                    <a:pt x="1" y="0"/>
                  </a:lnTo>
                  <a:lnTo>
                    <a:pt x="0" y="3"/>
                  </a:lnTo>
                  <a:lnTo>
                    <a:pt x="0" y="6"/>
                  </a:lnTo>
                  <a:lnTo>
                    <a:pt x="3" y="4"/>
                  </a:lnTo>
                  <a:lnTo>
                    <a:pt x="5" y="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5" name="Freeform 1234"/>
            <p:cNvSpPr>
              <a:spLocks/>
            </p:cNvSpPr>
            <p:nvPr/>
          </p:nvSpPr>
          <p:spPr bwMode="auto">
            <a:xfrm>
              <a:off x="4219575" y="2584454"/>
              <a:ext cx="12700" cy="15875"/>
            </a:xfrm>
            <a:custGeom>
              <a:avLst/>
              <a:gdLst>
                <a:gd name="T0" fmla="*/ 2147483647 w 8"/>
                <a:gd name="T1" fmla="*/ 2147483647 h 10"/>
                <a:gd name="T2" fmla="*/ 2147483647 w 8"/>
                <a:gd name="T3" fmla="*/ 2147483647 h 10"/>
                <a:gd name="T4" fmla="*/ 2147483647 w 8"/>
                <a:gd name="T5" fmla="*/ 2147483647 h 10"/>
                <a:gd name="T6" fmla="*/ 2147483647 w 8"/>
                <a:gd name="T7" fmla="*/ 2147483647 h 10"/>
                <a:gd name="T8" fmla="*/ 0 w 8"/>
                <a:gd name="T9" fmla="*/ 2147483647 h 10"/>
                <a:gd name="T10" fmla="*/ 0 w 8"/>
                <a:gd name="T11" fmla="*/ 2147483647 h 10"/>
                <a:gd name="T12" fmla="*/ 0 w 8"/>
                <a:gd name="T13" fmla="*/ 2147483647 h 10"/>
                <a:gd name="T14" fmla="*/ 2147483647 w 8"/>
                <a:gd name="T15" fmla="*/ 2147483647 h 10"/>
                <a:gd name="T16" fmla="*/ 2147483647 w 8"/>
                <a:gd name="T17" fmla="*/ 0 h 10"/>
                <a:gd name="T18" fmla="*/ 2147483647 w 8"/>
                <a:gd name="T19" fmla="*/ 0 h 10"/>
                <a:gd name="T20" fmla="*/ 2147483647 w 8"/>
                <a:gd name="T21" fmla="*/ 2147483647 h 10"/>
                <a:gd name="T22" fmla="*/ 2147483647 w 8"/>
                <a:gd name="T23" fmla="*/ 2147483647 h 10"/>
                <a:gd name="T24" fmla="*/ 2147483647 w 8"/>
                <a:gd name="T25" fmla="*/ 2147483647 h 10"/>
                <a:gd name="T26" fmla="*/ 2147483647 w 8"/>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0"/>
                <a:gd name="T44" fmla="*/ 8 w 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0">
                  <a:moveTo>
                    <a:pt x="4" y="8"/>
                  </a:moveTo>
                  <a:lnTo>
                    <a:pt x="4" y="8"/>
                  </a:lnTo>
                  <a:lnTo>
                    <a:pt x="1" y="9"/>
                  </a:lnTo>
                  <a:lnTo>
                    <a:pt x="1" y="10"/>
                  </a:lnTo>
                  <a:lnTo>
                    <a:pt x="0" y="9"/>
                  </a:lnTo>
                  <a:lnTo>
                    <a:pt x="0" y="7"/>
                  </a:lnTo>
                  <a:lnTo>
                    <a:pt x="1" y="5"/>
                  </a:lnTo>
                  <a:lnTo>
                    <a:pt x="6" y="0"/>
                  </a:lnTo>
                  <a:lnTo>
                    <a:pt x="8" y="2"/>
                  </a:lnTo>
                  <a:lnTo>
                    <a:pt x="6" y="3"/>
                  </a:lnTo>
                  <a:lnTo>
                    <a:pt x="4"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6" name="Freeform 1235"/>
            <p:cNvSpPr>
              <a:spLocks/>
            </p:cNvSpPr>
            <p:nvPr/>
          </p:nvSpPr>
          <p:spPr bwMode="auto">
            <a:xfrm>
              <a:off x="4219576" y="2614614"/>
              <a:ext cx="9525"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0 w 6"/>
                <a:gd name="T11" fmla="*/ 2147483647 h 8"/>
                <a:gd name="T12" fmla="*/ 0 w 6"/>
                <a:gd name="T13" fmla="*/ 2147483647 h 8"/>
                <a:gd name="T14" fmla="*/ 0 w 6"/>
                <a:gd name="T15" fmla="*/ 2147483647 h 8"/>
                <a:gd name="T16" fmla="*/ 2147483647 w 6"/>
                <a:gd name="T17" fmla="*/ 0 h 8"/>
                <a:gd name="T18" fmla="*/ 2147483647 w 6"/>
                <a:gd name="T19" fmla="*/ 0 h 8"/>
                <a:gd name="T20" fmla="*/ 2147483647 w 6"/>
                <a:gd name="T21" fmla="*/ 2147483647 h 8"/>
                <a:gd name="T22" fmla="*/ 2147483647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5" y="4"/>
                  </a:moveTo>
                  <a:lnTo>
                    <a:pt x="4" y="7"/>
                  </a:lnTo>
                  <a:lnTo>
                    <a:pt x="3" y="8"/>
                  </a:lnTo>
                  <a:lnTo>
                    <a:pt x="1" y="8"/>
                  </a:lnTo>
                  <a:lnTo>
                    <a:pt x="1" y="7"/>
                  </a:lnTo>
                  <a:lnTo>
                    <a:pt x="0" y="6"/>
                  </a:lnTo>
                  <a:lnTo>
                    <a:pt x="0" y="2"/>
                  </a:lnTo>
                  <a:lnTo>
                    <a:pt x="0" y="1"/>
                  </a:lnTo>
                  <a:lnTo>
                    <a:pt x="1" y="0"/>
                  </a:lnTo>
                  <a:lnTo>
                    <a:pt x="4" y="0"/>
                  </a:lnTo>
                  <a:lnTo>
                    <a:pt x="6" y="1"/>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7" name="Freeform 1236"/>
            <p:cNvSpPr>
              <a:spLocks/>
            </p:cNvSpPr>
            <p:nvPr/>
          </p:nvSpPr>
          <p:spPr bwMode="auto">
            <a:xfrm>
              <a:off x="4295776" y="2305055"/>
              <a:ext cx="14288" cy="47625"/>
            </a:xfrm>
            <a:custGeom>
              <a:avLst/>
              <a:gdLst>
                <a:gd name="T0" fmla="*/ 2147483647 w 9"/>
                <a:gd name="T1" fmla="*/ 2147483647 h 30"/>
                <a:gd name="T2" fmla="*/ 2147483647 w 9"/>
                <a:gd name="T3" fmla="*/ 2147483647 h 30"/>
                <a:gd name="T4" fmla="*/ 2147483647 w 9"/>
                <a:gd name="T5" fmla="*/ 0 h 30"/>
                <a:gd name="T6" fmla="*/ 2147483647 w 9"/>
                <a:gd name="T7" fmla="*/ 2147483647 h 30"/>
                <a:gd name="T8" fmla="*/ 2147483647 w 9"/>
                <a:gd name="T9" fmla="*/ 2147483647 h 30"/>
                <a:gd name="T10" fmla="*/ 2147483647 w 9"/>
                <a:gd name="T11" fmla="*/ 2147483647 h 30"/>
                <a:gd name="T12" fmla="*/ 2147483647 w 9"/>
                <a:gd name="T13" fmla="*/ 2147483647 h 30"/>
                <a:gd name="T14" fmla="*/ 2147483647 w 9"/>
                <a:gd name="T15" fmla="*/ 2147483647 h 30"/>
                <a:gd name="T16" fmla="*/ 0 w 9"/>
                <a:gd name="T17" fmla="*/ 2147483647 h 30"/>
                <a:gd name="T18" fmla="*/ 0 w 9"/>
                <a:gd name="T19" fmla="*/ 2147483647 h 30"/>
                <a:gd name="T20" fmla="*/ 0 w 9"/>
                <a:gd name="T21" fmla="*/ 2147483647 h 30"/>
                <a:gd name="T22" fmla="*/ 2147483647 w 9"/>
                <a:gd name="T23" fmla="*/ 2147483647 h 30"/>
                <a:gd name="T24" fmla="*/ 2147483647 w 9"/>
                <a:gd name="T25" fmla="*/ 2147483647 h 30"/>
                <a:gd name="T26" fmla="*/ 2147483647 w 9"/>
                <a:gd name="T27" fmla="*/ 2147483647 h 30"/>
                <a:gd name="T28" fmla="*/ 2147483647 w 9"/>
                <a:gd name="T29" fmla="*/ 2147483647 h 30"/>
                <a:gd name="T30" fmla="*/ 2147483647 w 9"/>
                <a:gd name="T31" fmla="*/ 2147483647 h 30"/>
                <a:gd name="T32" fmla="*/ 2147483647 w 9"/>
                <a:gd name="T33" fmla="*/ 2147483647 h 30"/>
                <a:gd name="T34" fmla="*/ 2147483647 w 9"/>
                <a:gd name="T35" fmla="*/ 2147483647 h 30"/>
                <a:gd name="T36" fmla="*/ 2147483647 w 9"/>
                <a:gd name="T37" fmla="*/ 2147483647 h 30"/>
                <a:gd name="T38" fmla="*/ 2147483647 w 9"/>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30"/>
                <a:gd name="T62" fmla="*/ 9 w 9"/>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30">
                  <a:moveTo>
                    <a:pt x="9" y="11"/>
                  </a:moveTo>
                  <a:lnTo>
                    <a:pt x="9" y="6"/>
                  </a:lnTo>
                  <a:lnTo>
                    <a:pt x="6" y="0"/>
                  </a:lnTo>
                  <a:lnTo>
                    <a:pt x="5" y="3"/>
                  </a:lnTo>
                  <a:lnTo>
                    <a:pt x="5" y="5"/>
                  </a:lnTo>
                  <a:lnTo>
                    <a:pt x="4" y="7"/>
                  </a:lnTo>
                  <a:lnTo>
                    <a:pt x="4" y="10"/>
                  </a:lnTo>
                  <a:lnTo>
                    <a:pt x="1" y="11"/>
                  </a:lnTo>
                  <a:lnTo>
                    <a:pt x="0" y="11"/>
                  </a:lnTo>
                  <a:lnTo>
                    <a:pt x="0" y="13"/>
                  </a:lnTo>
                  <a:lnTo>
                    <a:pt x="0" y="15"/>
                  </a:lnTo>
                  <a:lnTo>
                    <a:pt x="3" y="18"/>
                  </a:lnTo>
                  <a:lnTo>
                    <a:pt x="4" y="22"/>
                  </a:lnTo>
                  <a:lnTo>
                    <a:pt x="4" y="24"/>
                  </a:lnTo>
                  <a:lnTo>
                    <a:pt x="4" y="28"/>
                  </a:lnTo>
                  <a:lnTo>
                    <a:pt x="4" y="30"/>
                  </a:lnTo>
                  <a:lnTo>
                    <a:pt x="6" y="30"/>
                  </a:lnTo>
                  <a:lnTo>
                    <a:pt x="8" y="29"/>
                  </a:lnTo>
                  <a:lnTo>
                    <a:pt x="9" y="20"/>
                  </a:lnTo>
                  <a:lnTo>
                    <a:pt x="9" y="1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8" name="Freeform 1237"/>
            <p:cNvSpPr>
              <a:spLocks/>
            </p:cNvSpPr>
            <p:nvPr/>
          </p:nvSpPr>
          <p:spPr bwMode="auto">
            <a:xfrm>
              <a:off x="4219575" y="2613026"/>
              <a:ext cx="7938" cy="12700"/>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0 w 6"/>
                <a:gd name="T15" fmla="*/ 2147483647 h 8"/>
                <a:gd name="T16" fmla="*/ 0 w 6"/>
                <a:gd name="T17" fmla="*/ 2147483647 h 8"/>
                <a:gd name="T18" fmla="*/ 0 w 6"/>
                <a:gd name="T19" fmla="*/ 2147483647 h 8"/>
                <a:gd name="T20" fmla="*/ 0 w 6"/>
                <a:gd name="T21" fmla="*/ 2147483647 h 8"/>
                <a:gd name="T22" fmla="*/ 2147483647 w 6"/>
                <a:gd name="T23" fmla="*/ 0 h 8"/>
                <a:gd name="T24" fmla="*/ 2147483647 w 6"/>
                <a:gd name="T25" fmla="*/ 0 h 8"/>
                <a:gd name="T26" fmla="*/ 2147483647 w 6"/>
                <a:gd name="T27" fmla="*/ 0 h 8"/>
                <a:gd name="T28" fmla="*/ 2147483647 w 6"/>
                <a:gd name="T29" fmla="*/ 2147483647 h 8"/>
                <a:gd name="T30" fmla="*/ 2147483647 w 6"/>
                <a:gd name="T31" fmla="*/ 2147483647 h 8"/>
                <a:gd name="T32" fmla="*/ 2147483647 w 6"/>
                <a:gd name="T33" fmla="*/ 2147483647 h 8"/>
                <a:gd name="T34" fmla="*/ 2147483647 w 6"/>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8"/>
                <a:gd name="T56" fmla="*/ 6 w 6"/>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8">
                  <a:moveTo>
                    <a:pt x="5" y="4"/>
                  </a:moveTo>
                  <a:lnTo>
                    <a:pt x="5" y="4"/>
                  </a:lnTo>
                  <a:lnTo>
                    <a:pt x="4" y="7"/>
                  </a:lnTo>
                  <a:lnTo>
                    <a:pt x="2" y="8"/>
                  </a:lnTo>
                  <a:lnTo>
                    <a:pt x="1" y="8"/>
                  </a:lnTo>
                  <a:lnTo>
                    <a:pt x="1" y="7"/>
                  </a:lnTo>
                  <a:lnTo>
                    <a:pt x="0" y="5"/>
                  </a:lnTo>
                  <a:lnTo>
                    <a:pt x="0" y="2"/>
                  </a:lnTo>
                  <a:lnTo>
                    <a:pt x="0" y="1"/>
                  </a:lnTo>
                  <a:lnTo>
                    <a:pt x="1" y="0"/>
                  </a:lnTo>
                  <a:lnTo>
                    <a:pt x="4" y="0"/>
                  </a:lnTo>
                  <a:lnTo>
                    <a:pt x="6" y="1"/>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39" name="Freeform 1238"/>
            <p:cNvSpPr>
              <a:spLocks/>
            </p:cNvSpPr>
            <p:nvPr/>
          </p:nvSpPr>
          <p:spPr bwMode="auto">
            <a:xfrm>
              <a:off x="4295776" y="2303467"/>
              <a:ext cx="12700" cy="47625"/>
            </a:xfrm>
            <a:custGeom>
              <a:avLst/>
              <a:gdLst>
                <a:gd name="T0" fmla="*/ 2147483647 w 9"/>
                <a:gd name="T1" fmla="*/ 2147483647 h 30"/>
                <a:gd name="T2" fmla="*/ 2147483647 w 9"/>
                <a:gd name="T3" fmla="*/ 2147483647 h 30"/>
                <a:gd name="T4" fmla="*/ 2147483647 w 9"/>
                <a:gd name="T5" fmla="*/ 2147483647 h 30"/>
                <a:gd name="T6" fmla="*/ 2147483647 w 9"/>
                <a:gd name="T7" fmla="*/ 0 h 30"/>
                <a:gd name="T8" fmla="*/ 2147483647 w 9"/>
                <a:gd name="T9" fmla="*/ 0 h 30"/>
                <a:gd name="T10" fmla="*/ 2147483647 w 9"/>
                <a:gd name="T11" fmla="*/ 2147483647 h 30"/>
                <a:gd name="T12" fmla="*/ 2147483647 w 9"/>
                <a:gd name="T13" fmla="*/ 2147483647 h 30"/>
                <a:gd name="T14" fmla="*/ 2147483647 w 9"/>
                <a:gd name="T15" fmla="*/ 2147483647 h 30"/>
                <a:gd name="T16" fmla="*/ 2147483647 w 9"/>
                <a:gd name="T17" fmla="*/ 2147483647 h 30"/>
                <a:gd name="T18" fmla="*/ 2147483647 w 9"/>
                <a:gd name="T19" fmla="*/ 2147483647 h 30"/>
                <a:gd name="T20" fmla="*/ 2147483647 w 9"/>
                <a:gd name="T21" fmla="*/ 2147483647 h 30"/>
                <a:gd name="T22" fmla="*/ 0 w 9"/>
                <a:gd name="T23" fmla="*/ 2147483647 h 30"/>
                <a:gd name="T24" fmla="*/ 0 w 9"/>
                <a:gd name="T25" fmla="*/ 2147483647 h 30"/>
                <a:gd name="T26" fmla="*/ 0 w 9"/>
                <a:gd name="T27" fmla="*/ 2147483647 h 30"/>
                <a:gd name="T28" fmla="*/ 0 w 9"/>
                <a:gd name="T29" fmla="*/ 2147483647 h 30"/>
                <a:gd name="T30" fmla="*/ 2147483647 w 9"/>
                <a:gd name="T31" fmla="*/ 2147483647 h 30"/>
                <a:gd name="T32" fmla="*/ 2147483647 w 9"/>
                <a:gd name="T33" fmla="*/ 2147483647 h 30"/>
                <a:gd name="T34" fmla="*/ 2147483647 w 9"/>
                <a:gd name="T35" fmla="*/ 2147483647 h 30"/>
                <a:gd name="T36" fmla="*/ 2147483647 w 9"/>
                <a:gd name="T37" fmla="*/ 2147483647 h 30"/>
                <a:gd name="T38" fmla="*/ 2147483647 w 9"/>
                <a:gd name="T39" fmla="*/ 2147483647 h 30"/>
                <a:gd name="T40" fmla="*/ 2147483647 w 9"/>
                <a:gd name="T41" fmla="*/ 2147483647 h 30"/>
                <a:gd name="T42" fmla="*/ 2147483647 w 9"/>
                <a:gd name="T43" fmla="*/ 2147483647 h 30"/>
                <a:gd name="T44" fmla="*/ 2147483647 w 9"/>
                <a:gd name="T45" fmla="*/ 2147483647 h 30"/>
                <a:gd name="T46" fmla="*/ 2147483647 w 9"/>
                <a:gd name="T47" fmla="*/ 2147483647 h 30"/>
                <a:gd name="T48" fmla="*/ 2147483647 w 9"/>
                <a:gd name="T49" fmla="*/ 2147483647 h 30"/>
                <a:gd name="T50" fmla="*/ 2147483647 w 9"/>
                <a:gd name="T51" fmla="*/ 2147483647 h 30"/>
                <a:gd name="T52" fmla="*/ 2147483647 w 9"/>
                <a:gd name="T53" fmla="*/ 2147483647 h 30"/>
                <a:gd name="T54" fmla="*/ 2147483647 w 9"/>
                <a:gd name="T55" fmla="*/ 2147483647 h 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
                <a:gd name="T85" fmla="*/ 0 h 30"/>
                <a:gd name="T86" fmla="*/ 9 w 9"/>
                <a:gd name="T87" fmla="*/ 30 h 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 h="30">
                  <a:moveTo>
                    <a:pt x="9" y="11"/>
                  </a:moveTo>
                  <a:lnTo>
                    <a:pt x="9" y="11"/>
                  </a:lnTo>
                  <a:lnTo>
                    <a:pt x="9" y="6"/>
                  </a:lnTo>
                  <a:lnTo>
                    <a:pt x="6" y="0"/>
                  </a:lnTo>
                  <a:lnTo>
                    <a:pt x="5" y="2"/>
                  </a:lnTo>
                  <a:lnTo>
                    <a:pt x="5" y="5"/>
                  </a:lnTo>
                  <a:lnTo>
                    <a:pt x="4" y="7"/>
                  </a:lnTo>
                  <a:lnTo>
                    <a:pt x="4" y="10"/>
                  </a:lnTo>
                  <a:lnTo>
                    <a:pt x="1" y="11"/>
                  </a:lnTo>
                  <a:lnTo>
                    <a:pt x="0" y="11"/>
                  </a:lnTo>
                  <a:lnTo>
                    <a:pt x="0" y="13"/>
                  </a:lnTo>
                  <a:lnTo>
                    <a:pt x="0" y="14"/>
                  </a:lnTo>
                  <a:lnTo>
                    <a:pt x="2" y="18"/>
                  </a:lnTo>
                  <a:lnTo>
                    <a:pt x="4" y="21"/>
                  </a:lnTo>
                  <a:lnTo>
                    <a:pt x="4" y="24"/>
                  </a:lnTo>
                  <a:lnTo>
                    <a:pt x="4" y="27"/>
                  </a:lnTo>
                  <a:lnTo>
                    <a:pt x="4" y="30"/>
                  </a:lnTo>
                  <a:lnTo>
                    <a:pt x="6" y="30"/>
                  </a:lnTo>
                  <a:lnTo>
                    <a:pt x="7" y="29"/>
                  </a:lnTo>
                  <a:lnTo>
                    <a:pt x="9" y="20"/>
                  </a:lnTo>
                  <a:lnTo>
                    <a:pt x="9" y="1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0" name="Freeform 1239"/>
            <p:cNvSpPr>
              <a:spLocks/>
            </p:cNvSpPr>
            <p:nvPr/>
          </p:nvSpPr>
          <p:spPr bwMode="auto">
            <a:xfrm>
              <a:off x="4314825" y="2295526"/>
              <a:ext cx="7938" cy="14288"/>
            </a:xfrm>
            <a:custGeom>
              <a:avLst/>
              <a:gdLst>
                <a:gd name="T0" fmla="*/ 2147483647 w 5"/>
                <a:gd name="T1" fmla="*/ 2147483647 h 9"/>
                <a:gd name="T2" fmla="*/ 2147483647 w 5"/>
                <a:gd name="T3" fmla="*/ 2147483647 h 9"/>
                <a:gd name="T4" fmla="*/ 2147483647 w 5"/>
                <a:gd name="T5" fmla="*/ 0 h 9"/>
                <a:gd name="T6" fmla="*/ 0 w 5"/>
                <a:gd name="T7" fmla="*/ 0 h 9"/>
                <a:gd name="T8" fmla="*/ 0 w 5"/>
                <a:gd name="T9" fmla="*/ 2147483647 h 9"/>
                <a:gd name="T10" fmla="*/ 0 w 5"/>
                <a:gd name="T11" fmla="*/ 2147483647 h 9"/>
                <a:gd name="T12" fmla="*/ 2147483647 w 5"/>
                <a:gd name="T13" fmla="*/ 2147483647 h 9"/>
                <a:gd name="T14" fmla="*/ 2147483647 w 5"/>
                <a:gd name="T15" fmla="*/ 2147483647 h 9"/>
                <a:gd name="T16" fmla="*/ 2147483647 w 5"/>
                <a:gd name="T17" fmla="*/ 2147483647 h 9"/>
                <a:gd name="T18" fmla="*/ 2147483647 w 5"/>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9"/>
                <a:gd name="T32" fmla="*/ 5 w 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9">
                  <a:moveTo>
                    <a:pt x="4" y="6"/>
                  </a:moveTo>
                  <a:lnTo>
                    <a:pt x="2" y="4"/>
                  </a:lnTo>
                  <a:lnTo>
                    <a:pt x="1" y="0"/>
                  </a:lnTo>
                  <a:lnTo>
                    <a:pt x="0" y="0"/>
                  </a:lnTo>
                  <a:lnTo>
                    <a:pt x="0" y="3"/>
                  </a:lnTo>
                  <a:lnTo>
                    <a:pt x="0" y="5"/>
                  </a:lnTo>
                  <a:lnTo>
                    <a:pt x="4" y="9"/>
                  </a:lnTo>
                  <a:lnTo>
                    <a:pt x="4" y="7"/>
                  </a:lnTo>
                  <a:lnTo>
                    <a:pt x="5" y="6"/>
                  </a:lnTo>
                  <a:lnTo>
                    <a:pt x="4"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1" name="Freeform 1240"/>
            <p:cNvSpPr>
              <a:spLocks/>
            </p:cNvSpPr>
            <p:nvPr/>
          </p:nvSpPr>
          <p:spPr bwMode="auto">
            <a:xfrm>
              <a:off x="4249739" y="2371729"/>
              <a:ext cx="23812" cy="19050"/>
            </a:xfrm>
            <a:custGeom>
              <a:avLst/>
              <a:gdLst>
                <a:gd name="T0" fmla="*/ 2147483647 w 16"/>
                <a:gd name="T1" fmla="*/ 2147483647 h 12"/>
                <a:gd name="T2" fmla="*/ 2147483647 w 16"/>
                <a:gd name="T3" fmla="*/ 2147483647 h 12"/>
                <a:gd name="T4" fmla="*/ 2147483647 w 16"/>
                <a:gd name="T5" fmla="*/ 0 h 12"/>
                <a:gd name="T6" fmla="*/ 2147483647 w 16"/>
                <a:gd name="T7" fmla="*/ 0 h 12"/>
                <a:gd name="T8" fmla="*/ 0 w 16"/>
                <a:gd name="T9" fmla="*/ 2147483647 h 12"/>
                <a:gd name="T10" fmla="*/ 0 w 16"/>
                <a:gd name="T11" fmla="*/ 2147483647 h 12"/>
                <a:gd name="T12" fmla="*/ 0 w 16"/>
                <a:gd name="T13" fmla="*/ 2147483647 h 12"/>
                <a:gd name="T14" fmla="*/ 2147483647 w 16"/>
                <a:gd name="T15" fmla="*/ 2147483647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2"/>
                <a:gd name="T38" fmla="*/ 16 w 16"/>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2">
                  <a:moveTo>
                    <a:pt x="16" y="10"/>
                  </a:moveTo>
                  <a:lnTo>
                    <a:pt x="10" y="5"/>
                  </a:lnTo>
                  <a:lnTo>
                    <a:pt x="4" y="0"/>
                  </a:lnTo>
                  <a:lnTo>
                    <a:pt x="3" y="0"/>
                  </a:lnTo>
                  <a:lnTo>
                    <a:pt x="0" y="1"/>
                  </a:lnTo>
                  <a:lnTo>
                    <a:pt x="0" y="2"/>
                  </a:lnTo>
                  <a:lnTo>
                    <a:pt x="0" y="5"/>
                  </a:lnTo>
                  <a:lnTo>
                    <a:pt x="3" y="7"/>
                  </a:lnTo>
                  <a:lnTo>
                    <a:pt x="7" y="9"/>
                  </a:lnTo>
                  <a:lnTo>
                    <a:pt x="10" y="10"/>
                  </a:lnTo>
                  <a:lnTo>
                    <a:pt x="14" y="12"/>
                  </a:lnTo>
                  <a:lnTo>
                    <a:pt x="16"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2" name="Freeform 1241"/>
            <p:cNvSpPr>
              <a:spLocks/>
            </p:cNvSpPr>
            <p:nvPr/>
          </p:nvSpPr>
          <p:spPr bwMode="auto">
            <a:xfrm>
              <a:off x="4313242" y="2293939"/>
              <a:ext cx="7937" cy="12700"/>
            </a:xfrm>
            <a:custGeom>
              <a:avLst/>
              <a:gdLst>
                <a:gd name="T0" fmla="*/ 2147483647 w 6"/>
                <a:gd name="T1" fmla="*/ 2147483647 h 8"/>
                <a:gd name="T2" fmla="*/ 2147483647 w 6"/>
                <a:gd name="T3" fmla="*/ 2147483647 h 8"/>
                <a:gd name="T4" fmla="*/ 2147483647 w 6"/>
                <a:gd name="T5" fmla="*/ 2147483647 h 8"/>
                <a:gd name="T6" fmla="*/ 2147483647 w 6"/>
                <a:gd name="T7" fmla="*/ 0 h 8"/>
                <a:gd name="T8" fmla="*/ 2147483647 w 6"/>
                <a:gd name="T9" fmla="*/ 0 h 8"/>
                <a:gd name="T10" fmla="*/ 2147483647 w 6"/>
                <a:gd name="T11" fmla="*/ 0 h 8"/>
                <a:gd name="T12" fmla="*/ 0 w 6"/>
                <a:gd name="T13" fmla="*/ 0 h 8"/>
                <a:gd name="T14" fmla="*/ 0 w 6"/>
                <a:gd name="T15" fmla="*/ 0 h 8"/>
                <a:gd name="T16" fmla="*/ 0 w 6"/>
                <a:gd name="T17" fmla="*/ 2147483647 h 8"/>
                <a:gd name="T18" fmla="*/ 0 w 6"/>
                <a:gd name="T19" fmla="*/ 2147483647 h 8"/>
                <a:gd name="T20" fmla="*/ 2147483647 w 6"/>
                <a:gd name="T21" fmla="*/ 2147483647 h 8"/>
                <a:gd name="T22" fmla="*/ 2147483647 w 6"/>
                <a:gd name="T23" fmla="*/ 2147483647 h 8"/>
                <a:gd name="T24" fmla="*/ 2147483647 w 6"/>
                <a:gd name="T25" fmla="*/ 2147483647 h 8"/>
                <a:gd name="T26" fmla="*/ 2147483647 w 6"/>
                <a:gd name="T27" fmla="*/ 2147483647 h 8"/>
                <a:gd name="T28" fmla="*/ 2147483647 w 6"/>
                <a:gd name="T29" fmla="*/ 2147483647 h 8"/>
                <a:gd name="T30" fmla="*/ 2147483647 w 6"/>
                <a:gd name="T31" fmla="*/ 2147483647 h 8"/>
                <a:gd name="T32" fmla="*/ 2147483647 w 6"/>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8"/>
                <a:gd name="T53" fmla="*/ 6 w 6"/>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8">
                  <a:moveTo>
                    <a:pt x="4" y="6"/>
                  </a:moveTo>
                  <a:lnTo>
                    <a:pt x="4" y="6"/>
                  </a:lnTo>
                  <a:lnTo>
                    <a:pt x="3" y="4"/>
                  </a:lnTo>
                  <a:lnTo>
                    <a:pt x="2" y="0"/>
                  </a:lnTo>
                  <a:lnTo>
                    <a:pt x="0" y="0"/>
                  </a:lnTo>
                  <a:lnTo>
                    <a:pt x="0" y="3"/>
                  </a:lnTo>
                  <a:lnTo>
                    <a:pt x="0" y="5"/>
                  </a:lnTo>
                  <a:lnTo>
                    <a:pt x="4" y="8"/>
                  </a:lnTo>
                  <a:lnTo>
                    <a:pt x="4" y="7"/>
                  </a:lnTo>
                  <a:lnTo>
                    <a:pt x="6" y="6"/>
                  </a:lnTo>
                  <a:lnTo>
                    <a:pt x="4"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3" name="Freeform 1242"/>
            <p:cNvSpPr>
              <a:spLocks/>
            </p:cNvSpPr>
            <p:nvPr/>
          </p:nvSpPr>
          <p:spPr bwMode="auto">
            <a:xfrm>
              <a:off x="4248154" y="2370138"/>
              <a:ext cx="22225" cy="17462"/>
            </a:xfrm>
            <a:custGeom>
              <a:avLst/>
              <a:gdLst>
                <a:gd name="T0" fmla="*/ 2147483647 w 15"/>
                <a:gd name="T1" fmla="*/ 2147483647 h 11"/>
                <a:gd name="T2" fmla="*/ 2147483647 w 15"/>
                <a:gd name="T3" fmla="*/ 2147483647 h 11"/>
                <a:gd name="T4" fmla="*/ 2147483647 w 15"/>
                <a:gd name="T5" fmla="*/ 2147483647 h 11"/>
                <a:gd name="T6" fmla="*/ 2147483647 w 15"/>
                <a:gd name="T7" fmla="*/ 0 h 11"/>
                <a:gd name="T8" fmla="*/ 2147483647 w 15"/>
                <a:gd name="T9" fmla="*/ 0 h 11"/>
                <a:gd name="T10" fmla="*/ 2147483647 w 15"/>
                <a:gd name="T11" fmla="*/ 0 h 11"/>
                <a:gd name="T12" fmla="*/ 0 w 15"/>
                <a:gd name="T13" fmla="*/ 2147483647 h 11"/>
                <a:gd name="T14" fmla="*/ 0 w 15"/>
                <a:gd name="T15" fmla="*/ 2147483647 h 11"/>
                <a:gd name="T16" fmla="*/ 0 w 15"/>
                <a:gd name="T17" fmla="*/ 2147483647 h 11"/>
                <a:gd name="T18" fmla="*/ 0 w 15"/>
                <a:gd name="T19" fmla="*/ 2147483647 h 11"/>
                <a:gd name="T20" fmla="*/ 2147483647 w 15"/>
                <a:gd name="T21" fmla="*/ 2147483647 h 11"/>
                <a:gd name="T22" fmla="*/ 2147483647 w 15"/>
                <a:gd name="T23" fmla="*/ 2147483647 h 11"/>
                <a:gd name="T24" fmla="*/ 2147483647 w 15"/>
                <a:gd name="T25" fmla="*/ 2147483647 h 11"/>
                <a:gd name="T26" fmla="*/ 2147483647 w 15"/>
                <a:gd name="T27" fmla="*/ 2147483647 h 11"/>
                <a:gd name="T28" fmla="*/ 2147483647 w 15"/>
                <a:gd name="T29" fmla="*/ 2147483647 h 11"/>
                <a:gd name="T30" fmla="*/ 2147483647 w 15"/>
                <a:gd name="T31" fmla="*/ 2147483647 h 11"/>
                <a:gd name="T32" fmla="*/ 2147483647 w 15"/>
                <a:gd name="T33" fmla="*/ 2147483647 h 11"/>
                <a:gd name="T34" fmla="*/ 2147483647 w 15"/>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5" y="10"/>
                  </a:moveTo>
                  <a:lnTo>
                    <a:pt x="15" y="10"/>
                  </a:lnTo>
                  <a:lnTo>
                    <a:pt x="10" y="4"/>
                  </a:lnTo>
                  <a:lnTo>
                    <a:pt x="4" y="0"/>
                  </a:lnTo>
                  <a:lnTo>
                    <a:pt x="3" y="0"/>
                  </a:lnTo>
                  <a:lnTo>
                    <a:pt x="0" y="1"/>
                  </a:lnTo>
                  <a:lnTo>
                    <a:pt x="0" y="2"/>
                  </a:lnTo>
                  <a:lnTo>
                    <a:pt x="0" y="4"/>
                  </a:lnTo>
                  <a:lnTo>
                    <a:pt x="3" y="7"/>
                  </a:lnTo>
                  <a:lnTo>
                    <a:pt x="6" y="9"/>
                  </a:lnTo>
                  <a:lnTo>
                    <a:pt x="10" y="10"/>
                  </a:lnTo>
                  <a:lnTo>
                    <a:pt x="14" y="11"/>
                  </a:lnTo>
                  <a:lnTo>
                    <a:pt x="15"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4" name="Freeform 1243"/>
            <p:cNvSpPr>
              <a:spLocks/>
            </p:cNvSpPr>
            <p:nvPr/>
          </p:nvSpPr>
          <p:spPr bwMode="auto">
            <a:xfrm>
              <a:off x="4246565" y="2387600"/>
              <a:ext cx="6350" cy="12700"/>
            </a:xfrm>
            <a:custGeom>
              <a:avLst/>
              <a:gdLst>
                <a:gd name="T0" fmla="*/ 2147483647 w 4"/>
                <a:gd name="T1" fmla="*/ 2147483647 h 8"/>
                <a:gd name="T2" fmla="*/ 2147483647 w 4"/>
                <a:gd name="T3" fmla="*/ 2147483647 h 8"/>
                <a:gd name="T4" fmla="*/ 2147483647 w 4"/>
                <a:gd name="T5" fmla="*/ 0 h 8"/>
                <a:gd name="T6" fmla="*/ 0 w 4"/>
                <a:gd name="T7" fmla="*/ 0 h 8"/>
                <a:gd name="T8" fmla="*/ 0 w 4"/>
                <a:gd name="T9" fmla="*/ 2147483647 h 8"/>
                <a:gd name="T10" fmla="*/ 0 w 4"/>
                <a:gd name="T11" fmla="*/ 2147483647 h 8"/>
                <a:gd name="T12" fmla="*/ 0 w 4"/>
                <a:gd name="T13" fmla="*/ 2147483647 h 8"/>
                <a:gd name="T14" fmla="*/ 2147483647 w 4"/>
                <a:gd name="T15" fmla="*/ 2147483647 h 8"/>
                <a:gd name="T16" fmla="*/ 2147483647 w 4"/>
                <a:gd name="T17" fmla="*/ 2147483647 h 8"/>
                <a:gd name="T18" fmla="*/ 2147483647 w 4"/>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4" y="5"/>
                  </a:moveTo>
                  <a:lnTo>
                    <a:pt x="2" y="3"/>
                  </a:lnTo>
                  <a:lnTo>
                    <a:pt x="1" y="0"/>
                  </a:lnTo>
                  <a:lnTo>
                    <a:pt x="0" y="0"/>
                  </a:lnTo>
                  <a:lnTo>
                    <a:pt x="0" y="2"/>
                  </a:lnTo>
                  <a:lnTo>
                    <a:pt x="0" y="3"/>
                  </a:lnTo>
                  <a:lnTo>
                    <a:pt x="0" y="4"/>
                  </a:lnTo>
                  <a:lnTo>
                    <a:pt x="2" y="8"/>
                  </a:lnTo>
                  <a:lnTo>
                    <a:pt x="4" y="6"/>
                  </a:lnTo>
                  <a:lnTo>
                    <a:pt x="4"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5" name="Freeform 1244"/>
            <p:cNvSpPr>
              <a:spLocks/>
            </p:cNvSpPr>
            <p:nvPr/>
          </p:nvSpPr>
          <p:spPr bwMode="auto">
            <a:xfrm>
              <a:off x="4151313" y="2451103"/>
              <a:ext cx="6350" cy="11113"/>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2147483647 w 4"/>
                <a:gd name="T9" fmla="*/ 2147483647 h 7"/>
                <a:gd name="T10" fmla="*/ 0 w 4"/>
                <a:gd name="T11" fmla="*/ 2147483647 h 7"/>
                <a:gd name="T12" fmla="*/ 0 w 4"/>
                <a:gd name="T13" fmla="*/ 2147483647 h 7"/>
                <a:gd name="T14" fmla="*/ 2147483647 w 4"/>
                <a:gd name="T15" fmla="*/ 0 h 7"/>
                <a:gd name="T16" fmla="*/ 2147483647 w 4"/>
                <a:gd name="T17" fmla="*/ 2147483647 h 7"/>
                <a:gd name="T18" fmla="*/ 2147483647 w 4"/>
                <a:gd name="T19" fmla="*/ 2147483647 h 7"/>
                <a:gd name="T20" fmla="*/ 2147483647 w 4"/>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4" y="4"/>
                  </a:moveTo>
                  <a:lnTo>
                    <a:pt x="4" y="6"/>
                  </a:lnTo>
                  <a:lnTo>
                    <a:pt x="4" y="7"/>
                  </a:lnTo>
                  <a:lnTo>
                    <a:pt x="3" y="7"/>
                  </a:lnTo>
                  <a:lnTo>
                    <a:pt x="1" y="7"/>
                  </a:lnTo>
                  <a:lnTo>
                    <a:pt x="0" y="3"/>
                  </a:lnTo>
                  <a:lnTo>
                    <a:pt x="0" y="1"/>
                  </a:lnTo>
                  <a:lnTo>
                    <a:pt x="3" y="0"/>
                  </a:lnTo>
                  <a:lnTo>
                    <a:pt x="3" y="1"/>
                  </a:lnTo>
                  <a:lnTo>
                    <a:pt x="4" y="2"/>
                  </a:lnTo>
                  <a:lnTo>
                    <a:pt x="4"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6" name="Freeform 1245"/>
            <p:cNvSpPr>
              <a:spLocks/>
            </p:cNvSpPr>
            <p:nvPr/>
          </p:nvSpPr>
          <p:spPr bwMode="auto">
            <a:xfrm>
              <a:off x="4244976" y="2386017"/>
              <a:ext cx="4763" cy="11112"/>
            </a:xfrm>
            <a:custGeom>
              <a:avLst/>
              <a:gdLst>
                <a:gd name="T0" fmla="*/ 2147483647 w 3"/>
                <a:gd name="T1" fmla="*/ 2147483647 h 7"/>
                <a:gd name="T2" fmla="*/ 2147483647 w 3"/>
                <a:gd name="T3" fmla="*/ 2147483647 h 7"/>
                <a:gd name="T4" fmla="*/ 2147483647 w 3"/>
                <a:gd name="T5" fmla="*/ 2147483647 h 7"/>
                <a:gd name="T6" fmla="*/ 2147483647 w 3"/>
                <a:gd name="T7" fmla="*/ 0 h 7"/>
                <a:gd name="T8" fmla="*/ 2147483647 w 3"/>
                <a:gd name="T9" fmla="*/ 0 h 7"/>
                <a:gd name="T10" fmla="*/ 0 w 3"/>
                <a:gd name="T11" fmla="*/ 0 h 7"/>
                <a:gd name="T12" fmla="*/ 0 w 3"/>
                <a:gd name="T13" fmla="*/ 2147483647 h 7"/>
                <a:gd name="T14" fmla="*/ 0 w 3"/>
                <a:gd name="T15" fmla="*/ 2147483647 h 7"/>
                <a:gd name="T16" fmla="*/ 0 w 3"/>
                <a:gd name="T17" fmla="*/ 2147483647 h 7"/>
                <a:gd name="T18" fmla="*/ 0 w 3"/>
                <a:gd name="T19" fmla="*/ 2147483647 h 7"/>
                <a:gd name="T20" fmla="*/ 2147483647 w 3"/>
                <a:gd name="T21" fmla="*/ 2147483647 h 7"/>
                <a:gd name="T22" fmla="*/ 2147483647 w 3"/>
                <a:gd name="T23" fmla="*/ 2147483647 h 7"/>
                <a:gd name="T24" fmla="*/ 2147483647 w 3"/>
                <a:gd name="T25" fmla="*/ 2147483647 h 7"/>
                <a:gd name="T26" fmla="*/ 2147483647 w 3"/>
                <a:gd name="T27" fmla="*/ 2147483647 h 7"/>
                <a:gd name="T28" fmla="*/ 2147483647 w 3"/>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3" y="5"/>
                  </a:moveTo>
                  <a:lnTo>
                    <a:pt x="3" y="5"/>
                  </a:lnTo>
                  <a:lnTo>
                    <a:pt x="2" y="3"/>
                  </a:lnTo>
                  <a:lnTo>
                    <a:pt x="1" y="0"/>
                  </a:lnTo>
                  <a:lnTo>
                    <a:pt x="0" y="0"/>
                  </a:lnTo>
                  <a:lnTo>
                    <a:pt x="0" y="1"/>
                  </a:lnTo>
                  <a:lnTo>
                    <a:pt x="0" y="3"/>
                  </a:lnTo>
                  <a:lnTo>
                    <a:pt x="0" y="4"/>
                  </a:lnTo>
                  <a:lnTo>
                    <a:pt x="2" y="7"/>
                  </a:lnTo>
                  <a:lnTo>
                    <a:pt x="3" y="6"/>
                  </a:lnTo>
                  <a:lnTo>
                    <a:pt x="3"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7" name="Freeform 1246"/>
            <p:cNvSpPr>
              <a:spLocks/>
            </p:cNvSpPr>
            <p:nvPr/>
          </p:nvSpPr>
          <p:spPr bwMode="auto">
            <a:xfrm>
              <a:off x="4149726" y="2447925"/>
              <a:ext cx="6350" cy="12700"/>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2147483647 w 4"/>
                <a:gd name="T13" fmla="*/ 2147483647 h 8"/>
                <a:gd name="T14" fmla="*/ 0 w 4"/>
                <a:gd name="T15" fmla="*/ 2147483647 h 8"/>
                <a:gd name="T16" fmla="*/ 0 w 4"/>
                <a:gd name="T17" fmla="*/ 2147483647 h 8"/>
                <a:gd name="T18" fmla="*/ 2147483647 w 4"/>
                <a:gd name="T19" fmla="*/ 0 h 8"/>
                <a:gd name="T20" fmla="*/ 2147483647 w 4"/>
                <a:gd name="T21" fmla="*/ 0 h 8"/>
                <a:gd name="T22" fmla="*/ 2147483647 w 4"/>
                <a:gd name="T23" fmla="*/ 2147483647 h 8"/>
                <a:gd name="T24" fmla="*/ 2147483647 w 4"/>
                <a:gd name="T25" fmla="*/ 2147483647 h 8"/>
                <a:gd name="T26" fmla="*/ 2147483647 w 4"/>
                <a:gd name="T27" fmla="*/ 2147483647 h 8"/>
                <a:gd name="T28" fmla="*/ 2147483647 w 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8"/>
                <a:gd name="T47" fmla="*/ 4 w 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8">
                  <a:moveTo>
                    <a:pt x="4" y="5"/>
                  </a:moveTo>
                  <a:lnTo>
                    <a:pt x="4" y="5"/>
                  </a:lnTo>
                  <a:lnTo>
                    <a:pt x="4" y="6"/>
                  </a:lnTo>
                  <a:lnTo>
                    <a:pt x="4" y="8"/>
                  </a:lnTo>
                  <a:lnTo>
                    <a:pt x="2" y="8"/>
                  </a:lnTo>
                  <a:lnTo>
                    <a:pt x="1" y="8"/>
                  </a:lnTo>
                  <a:lnTo>
                    <a:pt x="0" y="4"/>
                  </a:lnTo>
                  <a:lnTo>
                    <a:pt x="0" y="2"/>
                  </a:lnTo>
                  <a:lnTo>
                    <a:pt x="2" y="0"/>
                  </a:lnTo>
                  <a:lnTo>
                    <a:pt x="2" y="2"/>
                  </a:lnTo>
                  <a:lnTo>
                    <a:pt x="4" y="3"/>
                  </a:lnTo>
                  <a:lnTo>
                    <a:pt x="4" y="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8" name="Freeform 1247"/>
            <p:cNvSpPr>
              <a:spLocks/>
            </p:cNvSpPr>
            <p:nvPr/>
          </p:nvSpPr>
          <p:spPr bwMode="auto">
            <a:xfrm>
              <a:off x="4162425" y="2413004"/>
              <a:ext cx="19050" cy="30163"/>
            </a:xfrm>
            <a:custGeom>
              <a:avLst/>
              <a:gdLst>
                <a:gd name="T0" fmla="*/ 2147483647 w 12"/>
                <a:gd name="T1" fmla="*/ 2147483647 h 19"/>
                <a:gd name="T2" fmla="*/ 2147483647 w 12"/>
                <a:gd name="T3" fmla="*/ 2147483647 h 19"/>
                <a:gd name="T4" fmla="*/ 2147483647 w 12"/>
                <a:gd name="T5" fmla="*/ 2147483647 h 19"/>
                <a:gd name="T6" fmla="*/ 0 w 12"/>
                <a:gd name="T7" fmla="*/ 2147483647 h 19"/>
                <a:gd name="T8" fmla="*/ 0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2147483647 w 12"/>
                <a:gd name="T19" fmla="*/ 2147483647 h 19"/>
                <a:gd name="T20" fmla="*/ 2147483647 w 12"/>
                <a:gd name="T21" fmla="*/ 0 h 19"/>
                <a:gd name="T22" fmla="*/ 2147483647 w 12"/>
                <a:gd name="T23" fmla="*/ 0 h 19"/>
                <a:gd name="T24" fmla="*/ 2147483647 w 12"/>
                <a:gd name="T25" fmla="*/ 2147483647 h 19"/>
                <a:gd name="T26" fmla="*/ 2147483647 w 12"/>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9"/>
                <a:gd name="T44" fmla="*/ 12 w 1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9">
                  <a:moveTo>
                    <a:pt x="10" y="13"/>
                  </a:moveTo>
                  <a:lnTo>
                    <a:pt x="5" y="16"/>
                  </a:lnTo>
                  <a:lnTo>
                    <a:pt x="2" y="19"/>
                  </a:lnTo>
                  <a:lnTo>
                    <a:pt x="0" y="19"/>
                  </a:lnTo>
                  <a:lnTo>
                    <a:pt x="0" y="18"/>
                  </a:lnTo>
                  <a:lnTo>
                    <a:pt x="2" y="16"/>
                  </a:lnTo>
                  <a:lnTo>
                    <a:pt x="2" y="15"/>
                  </a:lnTo>
                  <a:lnTo>
                    <a:pt x="1" y="11"/>
                  </a:lnTo>
                  <a:lnTo>
                    <a:pt x="3" y="7"/>
                  </a:lnTo>
                  <a:lnTo>
                    <a:pt x="9" y="1"/>
                  </a:lnTo>
                  <a:lnTo>
                    <a:pt x="10" y="0"/>
                  </a:lnTo>
                  <a:lnTo>
                    <a:pt x="12" y="0"/>
                  </a:lnTo>
                  <a:lnTo>
                    <a:pt x="11" y="7"/>
                  </a:lnTo>
                  <a:lnTo>
                    <a:pt x="10"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49" name="Freeform 1248"/>
            <p:cNvSpPr>
              <a:spLocks/>
            </p:cNvSpPr>
            <p:nvPr/>
          </p:nvSpPr>
          <p:spPr bwMode="auto">
            <a:xfrm>
              <a:off x="4171951" y="2455863"/>
              <a:ext cx="12700" cy="17462"/>
            </a:xfrm>
            <a:custGeom>
              <a:avLst/>
              <a:gdLst>
                <a:gd name="T0" fmla="*/ 2147483647 w 9"/>
                <a:gd name="T1" fmla="*/ 0 h 11"/>
                <a:gd name="T2" fmla="*/ 2147483647 w 9"/>
                <a:gd name="T3" fmla="*/ 0 h 11"/>
                <a:gd name="T4" fmla="*/ 0 w 9"/>
                <a:gd name="T5" fmla="*/ 2147483647 h 11"/>
                <a:gd name="T6" fmla="*/ 0 w 9"/>
                <a:gd name="T7" fmla="*/ 2147483647 h 11"/>
                <a:gd name="T8" fmla="*/ 2147483647 w 9"/>
                <a:gd name="T9" fmla="*/ 2147483647 h 11"/>
                <a:gd name="T10" fmla="*/ 2147483647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1"/>
                <a:gd name="T44" fmla="*/ 9 w 9"/>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1">
                  <a:moveTo>
                    <a:pt x="3" y="0"/>
                  </a:moveTo>
                  <a:lnTo>
                    <a:pt x="1" y="0"/>
                  </a:lnTo>
                  <a:lnTo>
                    <a:pt x="0" y="3"/>
                  </a:lnTo>
                  <a:lnTo>
                    <a:pt x="0" y="7"/>
                  </a:lnTo>
                  <a:lnTo>
                    <a:pt x="1" y="7"/>
                  </a:lnTo>
                  <a:lnTo>
                    <a:pt x="3" y="7"/>
                  </a:lnTo>
                  <a:lnTo>
                    <a:pt x="5" y="8"/>
                  </a:lnTo>
                  <a:lnTo>
                    <a:pt x="6" y="10"/>
                  </a:lnTo>
                  <a:lnTo>
                    <a:pt x="6" y="11"/>
                  </a:lnTo>
                  <a:lnTo>
                    <a:pt x="8" y="10"/>
                  </a:lnTo>
                  <a:lnTo>
                    <a:pt x="9" y="7"/>
                  </a:lnTo>
                  <a:lnTo>
                    <a:pt x="8" y="4"/>
                  </a:lnTo>
                  <a:lnTo>
                    <a:pt x="6" y="1"/>
                  </a:lnTo>
                  <a:lnTo>
                    <a:pt x="3"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0" name="Freeform 1249"/>
            <p:cNvSpPr>
              <a:spLocks/>
            </p:cNvSpPr>
            <p:nvPr/>
          </p:nvSpPr>
          <p:spPr bwMode="auto">
            <a:xfrm>
              <a:off x="4160838" y="2411413"/>
              <a:ext cx="19050" cy="30162"/>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0 w 13"/>
                <a:gd name="T9" fmla="*/ 2147483647 h 19"/>
                <a:gd name="T10" fmla="*/ 0 w 13"/>
                <a:gd name="T11" fmla="*/ 2147483647 h 19"/>
                <a:gd name="T12" fmla="*/ 0 w 13"/>
                <a:gd name="T13" fmla="*/ 2147483647 h 19"/>
                <a:gd name="T14" fmla="*/ 0 w 13"/>
                <a:gd name="T15" fmla="*/ 2147483647 h 19"/>
                <a:gd name="T16" fmla="*/ 2147483647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0 h 19"/>
                <a:gd name="T32" fmla="*/ 2147483647 w 13"/>
                <a:gd name="T33" fmla="*/ 0 h 19"/>
                <a:gd name="T34" fmla="*/ 2147483647 w 13"/>
                <a:gd name="T35" fmla="*/ 0 h 19"/>
                <a:gd name="T36" fmla="*/ 2147483647 w 13"/>
                <a:gd name="T37" fmla="*/ 2147483647 h 19"/>
                <a:gd name="T38" fmla="*/ 2147483647 w 13"/>
                <a:gd name="T39" fmla="*/ 2147483647 h 19"/>
                <a:gd name="T40" fmla="*/ 2147483647 w 13"/>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9"/>
                <a:gd name="T65" fmla="*/ 13 w 13"/>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9">
                  <a:moveTo>
                    <a:pt x="11" y="13"/>
                  </a:moveTo>
                  <a:lnTo>
                    <a:pt x="11" y="13"/>
                  </a:lnTo>
                  <a:lnTo>
                    <a:pt x="5" y="16"/>
                  </a:lnTo>
                  <a:lnTo>
                    <a:pt x="3" y="19"/>
                  </a:lnTo>
                  <a:lnTo>
                    <a:pt x="0" y="19"/>
                  </a:lnTo>
                  <a:lnTo>
                    <a:pt x="0" y="17"/>
                  </a:lnTo>
                  <a:lnTo>
                    <a:pt x="3" y="16"/>
                  </a:lnTo>
                  <a:lnTo>
                    <a:pt x="3" y="15"/>
                  </a:lnTo>
                  <a:lnTo>
                    <a:pt x="2" y="10"/>
                  </a:lnTo>
                  <a:lnTo>
                    <a:pt x="4" y="7"/>
                  </a:lnTo>
                  <a:lnTo>
                    <a:pt x="9" y="1"/>
                  </a:lnTo>
                  <a:lnTo>
                    <a:pt x="11" y="0"/>
                  </a:lnTo>
                  <a:lnTo>
                    <a:pt x="13" y="0"/>
                  </a:lnTo>
                  <a:lnTo>
                    <a:pt x="12" y="7"/>
                  </a:lnTo>
                  <a:lnTo>
                    <a:pt x="11"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1" name="Freeform 1250"/>
            <p:cNvSpPr>
              <a:spLocks/>
            </p:cNvSpPr>
            <p:nvPr/>
          </p:nvSpPr>
          <p:spPr bwMode="auto">
            <a:xfrm>
              <a:off x="4170363" y="2454279"/>
              <a:ext cx="12700" cy="17463"/>
            </a:xfrm>
            <a:custGeom>
              <a:avLst/>
              <a:gdLst>
                <a:gd name="T0" fmla="*/ 2147483647 w 9"/>
                <a:gd name="T1" fmla="*/ 0 h 11"/>
                <a:gd name="T2" fmla="*/ 2147483647 w 9"/>
                <a:gd name="T3" fmla="*/ 0 h 11"/>
                <a:gd name="T4" fmla="*/ 2147483647 w 9"/>
                <a:gd name="T5" fmla="*/ 0 h 11"/>
                <a:gd name="T6" fmla="*/ 0 w 9"/>
                <a:gd name="T7" fmla="*/ 2147483647 h 11"/>
                <a:gd name="T8" fmla="*/ 0 w 9"/>
                <a:gd name="T9" fmla="*/ 2147483647 h 11"/>
                <a:gd name="T10" fmla="*/ 0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0 h 11"/>
                <a:gd name="T40" fmla="*/ 2147483647 w 9"/>
                <a:gd name="T41" fmla="*/ 0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1"/>
                <a:gd name="T65" fmla="*/ 9 w 9"/>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1">
                  <a:moveTo>
                    <a:pt x="2" y="0"/>
                  </a:moveTo>
                  <a:lnTo>
                    <a:pt x="2" y="0"/>
                  </a:lnTo>
                  <a:lnTo>
                    <a:pt x="1" y="0"/>
                  </a:lnTo>
                  <a:lnTo>
                    <a:pt x="0" y="2"/>
                  </a:lnTo>
                  <a:lnTo>
                    <a:pt x="0" y="7"/>
                  </a:lnTo>
                  <a:lnTo>
                    <a:pt x="1" y="7"/>
                  </a:lnTo>
                  <a:lnTo>
                    <a:pt x="2" y="7"/>
                  </a:lnTo>
                  <a:lnTo>
                    <a:pt x="5" y="8"/>
                  </a:lnTo>
                  <a:lnTo>
                    <a:pt x="6" y="9"/>
                  </a:lnTo>
                  <a:lnTo>
                    <a:pt x="6" y="11"/>
                  </a:lnTo>
                  <a:lnTo>
                    <a:pt x="7" y="9"/>
                  </a:lnTo>
                  <a:lnTo>
                    <a:pt x="9" y="7"/>
                  </a:lnTo>
                  <a:lnTo>
                    <a:pt x="7" y="4"/>
                  </a:lnTo>
                  <a:lnTo>
                    <a:pt x="6" y="1"/>
                  </a:lnTo>
                  <a:lnTo>
                    <a:pt x="2" y="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2" name="Freeform 1251"/>
            <p:cNvSpPr>
              <a:spLocks/>
            </p:cNvSpPr>
            <p:nvPr/>
          </p:nvSpPr>
          <p:spPr bwMode="auto">
            <a:xfrm>
              <a:off x="4138614" y="2543177"/>
              <a:ext cx="55562" cy="55563"/>
            </a:xfrm>
            <a:custGeom>
              <a:avLst/>
              <a:gdLst>
                <a:gd name="T0" fmla="*/ 2147483647 w 38"/>
                <a:gd name="T1" fmla="*/ 2147483647 h 35"/>
                <a:gd name="T2" fmla="*/ 2147483647 w 38"/>
                <a:gd name="T3" fmla="*/ 2147483647 h 35"/>
                <a:gd name="T4" fmla="*/ 2147483647 w 38"/>
                <a:gd name="T5" fmla="*/ 2147483647 h 35"/>
                <a:gd name="T6" fmla="*/ 2147483647 w 38"/>
                <a:gd name="T7" fmla="*/ 2147483647 h 35"/>
                <a:gd name="T8" fmla="*/ 2147483647 w 38"/>
                <a:gd name="T9" fmla="*/ 2147483647 h 35"/>
                <a:gd name="T10" fmla="*/ 2147483647 w 38"/>
                <a:gd name="T11" fmla="*/ 2147483647 h 35"/>
                <a:gd name="T12" fmla="*/ 2147483647 w 38"/>
                <a:gd name="T13" fmla="*/ 2147483647 h 35"/>
                <a:gd name="T14" fmla="*/ 2147483647 w 38"/>
                <a:gd name="T15" fmla="*/ 2147483647 h 35"/>
                <a:gd name="T16" fmla="*/ 2147483647 w 38"/>
                <a:gd name="T17" fmla="*/ 2147483647 h 35"/>
                <a:gd name="T18" fmla="*/ 0 w 38"/>
                <a:gd name="T19" fmla="*/ 2147483647 h 35"/>
                <a:gd name="T20" fmla="*/ 0 w 38"/>
                <a:gd name="T21" fmla="*/ 2147483647 h 35"/>
                <a:gd name="T22" fmla="*/ 2147483647 w 38"/>
                <a:gd name="T23" fmla="*/ 2147483647 h 35"/>
                <a:gd name="T24" fmla="*/ 2147483647 w 38"/>
                <a:gd name="T25" fmla="*/ 2147483647 h 35"/>
                <a:gd name="T26" fmla="*/ 2147483647 w 38"/>
                <a:gd name="T27" fmla="*/ 2147483647 h 35"/>
                <a:gd name="T28" fmla="*/ 2147483647 w 38"/>
                <a:gd name="T29" fmla="*/ 2147483647 h 35"/>
                <a:gd name="T30" fmla="*/ 2147483647 w 38"/>
                <a:gd name="T31" fmla="*/ 2147483647 h 35"/>
                <a:gd name="T32" fmla="*/ 2147483647 w 38"/>
                <a:gd name="T33" fmla="*/ 2147483647 h 35"/>
                <a:gd name="T34" fmla="*/ 2147483647 w 38"/>
                <a:gd name="T35" fmla="*/ 2147483647 h 35"/>
                <a:gd name="T36" fmla="*/ 2147483647 w 38"/>
                <a:gd name="T37" fmla="*/ 2147483647 h 35"/>
                <a:gd name="T38" fmla="*/ 2147483647 w 38"/>
                <a:gd name="T39" fmla="*/ 0 h 35"/>
                <a:gd name="T40" fmla="*/ 2147483647 w 38"/>
                <a:gd name="T41" fmla="*/ 0 h 35"/>
                <a:gd name="T42" fmla="*/ 2147483647 w 38"/>
                <a:gd name="T43" fmla="*/ 2147483647 h 35"/>
                <a:gd name="T44" fmla="*/ 2147483647 w 38"/>
                <a:gd name="T45" fmla="*/ 2147483647 h 35"/>
                <a:gd name="T46" fmla="*/ 2147483647 w 38"/>
                <a:gd name="T47" fmla="*/ 2147483647 h 35"/>
                <a:gd name="T48" fmla="*/ 2147483647 w 38"/>
                <a:gd name="T49" fmla="*/ 2147483647 h 35"/>
                <a:gd name="T50" fmla="*/ 2147483647 w 38"/>
                <a:gd name="T51" fmla="*/ 2147483647 h 35"/>
                <a:gd name="T52" fmla="*/ 2147483647 w 38"/>
                <a:gd name="T53" fmla="*/ 2147483647 h 35"/>
                <a:gd name="T54" fmla="*/ 2147483647 w 38"/>
                <a:gd name="T55" fmla="*/ 0 h 35"/>
                <a:gd name="T56" fmla="*/ 2147483647 w 38"/>
                <a:gd name="T57" fmla="*/ 2147483647 h 35"/>
                <a:gd name="T58" fmla="*/ 2147483647 w 38"/>
                <a:gd name="T59" fmla="*/ 2147483647 h 35"/>
                <a:gd name="T60" fmla="*/ 2147483647 w 38"/>
                <a:gd name="T61" fmla="*/ 2147483647 h 35"/>
                <a:gd name="T62" fmla="*/ 2147483647 w 38"/>
                <a:gd name="T63" fmla="*/ 2147483647 h 35"/>
                <a:gd name="T64" fmla="*/ 2147483647 w 38"/>
                <a:gd name="T65" fmla="*/ 2147483647 h 35"/>
                <a:gd name="T66" fmla="*/ 2147483647 w 38"/>
                <a:gd name="T67" fmla="*/ 2147483647 h 35"/>
                <a:gd name="T68" fmla="*/ 2147483647 w 38"/>
                <a:gd name="T69" fmla="*/ 2147483647 h 35"/>
                <a:gd name="T70" fmla="*/ 2147483647 w 38"/>
                <a:gd name="T71" fmla="*/ 2147483647 h 35"/>
                <a:gd name="T72" fmla="*/ 2147483647 w 38"/>
                <a:gd name="T73" fmla="*/ 2147483647 h 35"/>
                <a:gd name="T74" fmla="*/ 2147483647 w 38"/>
                <a:gd name="T75" fmla="*/ 2147483647 h 35"/>
                <a:gd name="T76" fmla="*/ 2147483647 w 38"/>
                <a:gd name="T77" fmla="*/ 2147483647 h 35"/>
                <a:gd name="T78" fmla="*/ 2147483647 w 38"/>
                <a:gd name="T79" fmla="*/ 2147483647 h 35"/>
                <a:gd name="T80" fmla="*/ 2147483647 w 38"/>
                <a:gd name="T81" fmla="*/ 2147483647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
                <a:gd name="T124" fmla="*/ 0 h 35"/>
                <a:gd name="T125" fmla="*/ 38 w 38"/>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 h="35">
                  <a:moveTo>
                    <a:pt x="29" y="35"/>
                  </a:moveTo>
                  <a:lnTo>
                    <a:pt x="28" y="34"/>
                  </a:lnTo>
                  <a:lnTo>
                    <a:pt x="26" y="34"/>
                  </a:lnTo>
                  <a:lnTo>
                    <a:pt x="24" y="34"/>
                  </a:lnTo>
                  <a:lnTo>
                    <a:pt x="23" y="33"/>
                  </a:lnTo>
                  <a:lnTo>
                    <a:pt x="20" y="31"/>
                  </a:lnTo>
                  <a:lnTo>
                    <a:pt x="15" y="27"/>
                  </a:lnTo>
                  <a:lnTo>
                    <a:pt x="12" y="26"/>
                  </a:lnTo>
                  <a:lnTo>
                    <a:pt x="3" y="27"/>
                  </a:lnTo>
                  <a:lnTo>
                    <a:pt x="0" y="26"/>
                  </a:lnTo>
                  <a:lnTo>
                    <a:pt x="0" y="25"/>
                  </a:lnTo>
                  <a:lnTo>
                    <a:pt x="1" y="21"/>
                  </a:lnTo>
                  <a:lnTo>
                    <a:pt x="8" y="14"/>
                  </a:lnTo>
                  <a:lnTo>
                    <a:pt x="9" y="12"/>
                  </a:lnTo>
                  <a:lnTo>
                    <a:pt x="8" y="10"/>
                  </a:lnTo>
                  <a:lnTo>
                    <a:pt x="6" y="6"/>
                  </a:lnTo>
                  <a:lnTo>
                    <a:pt x="6" y="4"/>
                  </a:lnTo>
                  <a:lnTo>
                    <a:pt x="8" y="2"/>
                  </a:lnTo>
                  <a:lnTo>
                    <a:pt x="10" y="1"/>
                  </a:lnTo>
                  <a:lnTo>
                    <a:pt x="12" y="0"/>
                  </a:lnTo>
                  <a:lnTo>
                    <a:pt x="13" y="0"/>
                  </a:lnTo>
                  <a:lnTo>
                    <a:pt x="15" y="2"/>
                  </a:lnTo>
                  <a:lnTo>
                    <a:pt x="17" y="4"/>
                  </a:lnTo>
                  <a:lnTo>
                    <a:pt x="18" y="4"/>
                  </a:lnTo>
                  <a:lnTo>
                    <a:pt x="19" y="4"/>
                  </a:lnTo>
                  <a:lnTo>
                    <a:pt x="22" y="2"/>
                  </a:lnTo>
                  <a:lnTo>
                    <a:pt x="23" y="1"/>
                  </a:lnTo>
                  <a:lnTo>
                    <a:pt x="26" y="0"/>
                  </a:lnTo>
                  <a:lnTo>
                    <a:pt x="27" y="1"/>
                  </a:lnTo>
                  <a:lnTo>
                    <a:pt x="29" y="2"/>
                  </a:lnTo>
                  <a:lnTo>
                    <a:pt x="32" y="4"/>
                  </a:lnTo>
                  <a:lnTo>
                    <a:pt x="32" y="8"/>
                  </a:lnTo>
                  <a:lnTo>
                    <a:pt x="33" y="10"/>
                  </a:lnTo>
                  <a:lnTo>
                    <a:pt x="37" y="16"/>
                  </a:lnTo>
                  <a:lnTo>
                    <a:pt x="38" y="20"/>
                  </a:lnTo>
                  <a:lnTo>
                    <a:pt x="38" y="22"/>
                  </a:lnTo>
                  <a:lnTo>
                    <a:pt x="38" y="26"/>
                  </a:lnTo>
                  <a:lnTo>
                    <a:pt x="36" y="28"/>
                  </a:lnTo>
                  <a:lnTo>
                    <a:pt x="33" y="31"/>
                  </a:lnTo>
                  <a:lnTo>
                    <a:pt x="29" y="33"/>
                  </a:lnTo>
                  <a:lnTo>
                    <a:pt x="29" y="3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3" name="Freeform 1252"/>
            <p:cNvSpPr>
              <a:spLocks/>
            </p:cNvSpPr>
            <p:nvPr/>
          </p:nvSpPr>
          <p:spPr bwMode="auto">
            <a:xfrm>
              <a:off x="4841875" y="2325692"/>
              <a:ext cx="19050" cy="26987"/>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0 h 17"/>
                <a:gd name="T10" fmla="*/ 2147483647 w 13"/>
                <a:gd name="T11" fmla="*/ 2147483647 h 17"/>
                <a:gd name="T12" fmla="*/ 0 w 13"/>
                <a:gd name="T13" fmla="*/ 2147483647 h 17"/>
                <a:gd name="T14" fmla="*/ 0 w 13"/>
                <a:gd name="T15" fmla="*/ 2147483647 h 17"/>
                <a:gd name="T16" fmla="*/ 2147483647 w 13"/>
                <a:gd name="T17" fmla="*/ 2147483647 h 17"/>
                <a:gd name="T18" fmla="*/ 2147483647 w 13"/>
                <a:gd name="T19" fmla="*/ 2147483647 h 17"/>
                <a:gd name="T20" fmla="*/ 2147483647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7"/>
                <a:gd name="T47" fmla="*/ 13 w 13"/>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7">
                  <a:moveTo>
                    <a:pt x="13" y="10"/>
                  </a:moveTo>
                  <a:lnTo>
                    <a:pt x="13" y="7"/>
                  </a:lnTo>
                  <a:lnTo>
                    <a:pt x="10" y="3"/>
                  </a:lnTo>
                  <a:lnTo>
                    <a:pt x="8" y="2"/>
                  </a:lnTo>
                  <a:lnTo>
                    <a:pt x="5" y="0"/>
                  </a:lnTo>
                  <a:lnTo>
                    <a:pt x="3" y="3"/>
                  </a:lnTo>
                  <a:lnTo>
                    <a:pt x="0" y="5"/>
                  </a:lnTo>
                  <a:lnTo>
                    <a:pt x="0" y="9"/>
                  </a:lnTo>
                  <a:lnTo>
                    <a:pt x="1" y="12"/>
                  </a:lnTo>
                  <a:lnTo>
                    <a:pt x="5" y="16"/>
                  </a:lnTo>
                  <a:lnTo>
                    <a:pt x="6" y="17"/>
                  </a:lnTo>
                  <a:lnTo>
                    <a:pt x="9" y="17"/>
                  </a:lnTo>
                  <a:lnTo>
                    <a:pt x="10" y="16"/>
                  </a:lnTo>
                  <a:lnTo>
                    <a:pt x="12" y="15"/>
                  </a:lnTo>
                  <a:lnTo>
                    <a:pt x="13"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4" name="Freeform 1253"/>
            <p:cNvSpPr>
              <a:spLocks/>
            </p:cNvSpPr>
            <p:nvPr/>
          </p:nvSpPr>
          <p:spPr bwMode="auto">
            <a:xfrm>
              <a:off x="4137029" y="2540000"/>
              <a:ext cx="55563" cy="57150"/>
            </a:xfrm>
            <a:custGeom>
              <a:avLst/>
              <a:gdLst>
                <a:gd name="T0" fmla="*/ 2147483647 w 38"/>
                <a:gd name="T1" fmla="*/ 2147483647 h 36"/>
                <a:gd name="T2" fmla="*/ 2147483647 w 38"/>
                <a:gd name="T3" fmla="*/ 2147483647 h 36"/>
                <a:gd name="T4" fmla="*/ 2147483647 w 38"/>
                <a:gd name="T5" fmla="*/ 2147483647 h 36"/>
                <a:gd name="T6" fmla="*/ 2147483647 w 38"/>
                <a:gd name="T7" fmla="*/ 2147483647 h 36"/>
                <a:gd name="T8" fmla="*/ 2147483647 w 38"/>
                <a:gd name="T9" fmla="*/ 2147483647 h 36"/>
                <a:gd name="T10" fmla="*/ 2147483647 w 38"/>
                <a:gd name="T11" fmla="*/ 2147483647 h 36"/>
                <a:gd name="T12" fmla="*/ 2147483647 w 38"/>
                <a:gd name="T13" fmla="*/ 2147483647 h 36"/>
                <a:gd name="T14" fmla="*/ 2147483647 w 38"/>
                <a:gd name="T15" fmla="*/ 2147483647 h 36"/>
                <a:gd name="T16" fmla="*/ 2147483647 w 38"/>
                <a:gd name="T17" fmla="*/ 2147483647 h 36"/>
                <a:gd name="T18" fmla="*/ 2147483647 w 38"/>
                <a:gd name="T19" fmla="*/ 2147483647 h 36"/>
                <a:gd name="T20" fmla="*/ 2147483647 w 38"/>
                <a:gd name="T21" fmla="*/ 2147483647 h 36"/>
                <a:gd name="T22" fmla="*/ 2147483647 w 38"/>
                <a:gd name="T23" fmla="*/ 2147483647 h 36"/>
                <a:gd name="T24" fmla="*/ 2147483647 w 38"/>
                <a:gd name="T25" fmla="*/ 2147483647 h 36"/>
                <a:gd name="T26" fmla="*/ 0 w 38"/>
                <a:gd name="T27" fmla="*/ 2147483647 h 36"/>
                <a:gd name="T28" fmla="*/ 0 w 38"/>
                <a:gd name="T29" fmla="*/ 2147483647 h 36"/>
                <a:gd name="T30" fmla="*/ 2147483647 w 38"/>
                <a:gd name="T31" fmla="*/ 2147483647 h 36"/>
                <a:gd name="T32" fmla="*/ 2147483647 w 38"/>
                <a:gd name="T33" fmla="*/ 2147483647 h 36"/>
                <a:gd name="T34" fmla="*/ 2147483647 w 38"/>
                <a:gd name="T35" fmla="*/ 2147483647 h 36"/>
                <a:gd name="T36" fmla="*/ 2147483647 w 38"/>
                <a:gd name="T37" fmla="*/ 2147483647 h 36"/>
                <a:gd name="T38" fmla="*/ 2147483647 w 38"/>
                <a:gd name="T39" fmla="*/ 2147483647 h 36"/>
                <a:gd name="T40" fmla="*/ 2147483647 w 38"/>
                <a:gd name="T41" fmla="*/ 2147483647 h 36"/>
                <a:gd name="T42" fmla="*/ 2147483647 w 38"/>
                <a:gd name="T43" fmla="*/ 2147483647 h 36"/>
                <a:gd name="T44" fmla="*/ 2147483647 w 38"/>
                <a:gd name="T45" fmla="*/ 2147483647 h 36"/>
                <a:gd name="T46" fmla="*/ 2147483647 w 38"/>
                <a:gd name="T47" fmla="*/ 2147483647 h 36"/>
                <a:gd name="T48" fmla="*/ 2147483647 w 38"/>
                <a:gd name="T49" fmla="*/ 2147483647 h 36"/>
                <a:gd name="T50" fmla="*/ 2147483647 w 38"/>
                <a:gd name="T51" fmla="*/ 2147483647 h 36"/>
                <a:gd name="T52" fmla="*/ 2147483647 w 38"/>
                <a:gd name="T53" fmla="*/ 2147483647 h 36"/>
                <a:gd name="T54" fmla="*/ 2147483647 w 38"/>
                <a:gd name="T55" fmla="*/ 0 h 36"/>
                <a:gd name="T56" fmla="*/ 2147483647 w 38"/>
                <a:gd name="T57" fmla="*/ 0 h 36"/>
                <a:gd name="T58" fmla="*/ 2147483647 w 38"/>
                <a:gd name="T59" fmla="*/ 2147483647 h 36"/>
                <a:gd name="T60" fmla="*/ 2147483647 w 38"/>
                <a:gd name="T61" fmla="*/ 2147483647 h 36"/>
                <a:gd name="T62" fmla="*/ 2147483647 w 38"/>
                <a:gd name="T63" fmla="*/ 2147483647 h 36"/>
                <a:gd name="T64" fmla="*/ 2147483647 w 38"/>
                <a:gd name="T65" fmla="*/ 2147483647 h 36"/>
                <a:gd name="T66" fmla="*/ 2147483647 w 38"/>
                <a:gd name="T67" fmla="*/ 2147483647 h 36"/>
                <a:gd name="T68" fmla="*/ 2147483647 w 38"/>
                <a:gd name="T69" fmla="*/ 2147483647 h 36"/>
                <a:gd name="T70" fmla="*/ 2147483647 w 38"/>
                <a:gd name="T71" fmla="*/ 2147483647 h 36"/>
                <a:gd name="T72" fmla="*/ 2147483647 w 38"/>
                <a:gd name="T73" fmla="*/ 0 h 36"/>
                <a:gd name="T74" fmla="*/ 2147483647 w 38"/>
                <a:gd name="T75" fmla="*/ 0 h 36"/>
                <a:gd name="T76" fmla="*/ 2147483647 w 38"/>
                <a:gd name="T77" fmla="*/ 2147483647 h 36"/>
                <a:gd name="T78" fmla="*/ 2147483647 w 38"/>
                <a:gd name="T79" fmla="*/ 2147483647 h 36"/>
                <a:gd name="T80" fmla="*/ 2147483647 w 38"/>
                <a:gd name="T81" fmla="*/ 2147483647 h 36"/>
                <a:gd name="T82" fmla="*/ 2147483647 w 38"/>
                <a:gd name="T83" fmla="*/ 2147483647 h 36"/>
                <a:gd name="T84" fmla="*/ 2147483647 w 38"/>
                <a:gd name="T85" fmla="*/ 2147483647 h 36"/>
                <a:gd name="T86" fmla="*/ 2147483647 w 38"/>
                <a:gd name="T87" fmla="*/ 2147483647 h 36"/>
                <a:gd name="T88" fmla="*/ 2147483647 w 38"/>
                <a:gd name="T89" fmla="*/ 2147483647 h 36"/>
                <a:gd name="T90" fmla="*/ 2147483647 w 38"/>
                <a:gd name="T91" fmla="*/ 2147483647 h 36"/>
                <a:gd name="T92" fmla="*/ 2147483647 w 38"/>
                <a:gd name="T93" fmla="*/ 2147483647 h 36"/>
                <a:gd name="T94" fmla="*/ 2147483647 w 38"/>
                <a:gd name="T95" fmla="*/ 2147483647 h 36"/>
                <a:gd name="T96" fmla="*/ 2147483647 w 38"/>
                <a:gd name="T97" fmla="*/ 2147483647 h 36"/>
                <a:gd name="T98" fmla="*/ 2147483647 w 38"/>
                <a:gd name="T99" fmla="*/ 2147483647 h 36"/>
                <a:gd name="T100" fmla="*/ 2147483647 w 38"/>
                <a:gd name="T101" fmla="*/ 2147483647 h 36"/>
                <a:gd name="T102" fmla="*/ 2147483647 w 38"/>
                <a:gd name="T103" fmla="*/ 2147483647 h 36"/>
                <a:gd name="T104" fmla="*/ 2147483647 w 38"/>
                <a:gd name="T105" fmla="*/ 2147483647 h 36"/>
                <a:gd name="T106" fmla="*/ 2147483647 w 38"/>
                <a:gd name="T107" fmla="*/ 2147483647 h 36"/>
                <a:gd name="T108" fmla="*/ 2147483647 w 38"/>
                <a:gd name="T109" fmla="*/ 2147483647 h 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
                <a:gd name="T166" fmla="*/ 0 h 36"/>
                <a:gd name="T167" fmla="*/ 38 w 38"/>
                <a:gd name="T168" fmla="*/ 36 h 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 h="36">
                  <a:moveTo>
                    <a:pt x="29" y="36"/>
                  </a:moveTo>
                  <a:lnTo>
                    <a:pt x="29" y="36"/>
                  </a:lnTo>
                  <a:lnTo>
                    <a:pt x="28" y="35"/>
                  </a:lnTo>
                  <a:lnTo>
                    <a:pt x="25" y="35"/>
                  </a:lnTo>
                  <a:lnTo>
                    <a:pt x="24" y="35"/>
                  </a:lnTo>
                  <a:lnTo>
                    <a:pt x="23" y="34"/>
                  </a:lnTo>
                  <a:lnTo>
                    <a:pt x="20" y="31"/>
                  </a:lnTo>
                  <a:lnTo>
                    <a:pt x="15" y="28"/>
                  </a:lnTo>
                  <a:lnTo>
                    <a:pt x="11" y="27"/>
                  </a:lnTo>
                  <a:lnTo>
                    <a:pt x="2" y="28"/>
                  </a:lnTo>
                  <a:lnTo>
                    <a:pt x="0" y="27"/>
                  </a:lnTo>
                  <a:lnTo>
                    <a:pt x="0" y="25"/>
                  </a:lnTo>
                  <a:lnTo>
                    <a:pt x="1" y="22"/>
                  </a:lnTo>
                  <a:lnTo>
                    <a:pt x="7" y="15"/>
                  </a:lnTo>
                  <a:lnTo>
                    <a:pt x="9" y="12"/>
                  </a:lnTo>
                  <a:lnTo>
                    <a:pt x="7" y="11"/>
                  </a:lnTo>
                  <a:lnTo>
                    <a:pt x="6" y="6"/>
                  </a:lnTo>
                  <a:lnTo>
                    <a:pt x="6" y="5"/>
                  </a:lnTo>
                  <a:lnTo>
                    <a:pt x="7" y="3"/>
                  </a:lnTo>
                  <a:lnTo>
                    <a:pt x="10" y="2"/>
                  </a:lnTo>
                  <a:lnTo>
                    <a:pt x="11" y="0"/>
                  </a:lnTo>
                  <a:lnTo>
                    <a:pt x="13" y="0"/>
                  </a:lnTo>
                  <a:lnTo>
                    <a:pt x="15" y="3"/>
                  </a:lnTo>
                  <a:lnTo>
                    <a:pt x="16" y="5"/>
                  </a:lnTo>
                  <a:lnTo>
                    <a:pt x="18" y="5"/>
                  </a:lnTo>
                  <a:lnTo>
                    <a:pt x="19" y="5"/>
                  </a:lnTo>
                  <a:lnTo>
                    <a:pt x="21" y="3"/>
                  </a:lnTo>
                  <a:lnTo>
                    <a:pt x="23" y="2"/>
                  </a:lnTo>
                  <a:lnTo>
                    <a:pt x="25" y="0"/>
                  </a:lnTo>
                  <a:lnTo>
                    <a:pt x="27" y="2"/>
                  </a:lnTo>
                  <a:lnTo>
                    <a:pt x="29" y="3"/>
                  </a:lnTo>
                  <a:lnTo>
                    <a:pt x="32" y="5"/>
                  </a:lnTo>
                  <a:lnTo>
                    <a:pt x="32" y="9"/>
                  </a:lnTo>
                  <a:lnTo>
                    <a:pt x="33" y="11"/>
                  </a:lnTo>
                  <a:lnTo>
                    <a:pt x="37" y="17"/>
                  </a:lnTo>
                  <a:lnTo>
                    <a:pt x="38" y="21"/>
                  </a:lnTo>
                  <a:lnTo>
                    <a:pt x="38" y="23"/>
                  </a:lnTo>
                  <a:lnTo>
                    <a:pt x="38" y="27"/>
                  </a:lnTo>
                  <a:lnTo>
                    <a:pt x="35" y="29"/>
                  </a:lnTo>
                  <a:lnTo>
                    <a:pt x="33" y="31"/>
                  </a:lnTo>
                  <a:lnTo>
                    <a:pt x="29" y="34"/>
                  </a:lnTo>
                  <a:lnTo>
                    <a:pt x="29" y="3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5" name="Freeform 1254"/>
            <p:cNvSpPr>
              <a:spLocks/>
            </p:cNvSpPr>
            <p:nvPr/>
          </p:nvSpPr>
          <p:spPr bwMode="auto">
            <a:xfrm>
              <a:off x="4840288" y="2324100"/>
              <a:ext cx="19050" cy="26988"/>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2147483647 w 13"/>
                <a:gd name="T13" fmla="*/ 0 h 17"/>
                <a:gd name="T14" fmla="*/ 2147483647 w 13"/>
                <a:gd name="T15" fmla="*/ 0 h 17"/>
                <a:gd name="T16" fmla="*/ 2147483647 w 13"/>
                <a:gd name="T17" fmla="*/ 2147483647 h 17"/>
                <a:gd name="T18" fmla="*/ 0 w 13"/>
                <a:gd name="T19" fmla="*/ 2147483647 h 17"/>
                <a:gd name="T20" fmla="*/ 0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2147483647 w 13"/>
                <a:gd name="T37" fmla="*/ 2147483647 h 17"/>
                <a:gd name="T38" fmla="*/ 2147483647 w 13"/>
                <a:gd name="T39" fmla="*/ 2147483647 h 17"/>
                <a:gd name="T40" fmla="*/ 2147483647 w 13"/>
                <a:gd name="T41" fmla="*/ 2147483647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7"/>
                <a:gd name="T65" fmla="*/ 13 w 13"/>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7">
                  <a:moveTo>
                    <a:pt x="13" y="10"/>
                  </a:moveTo>
                  <a:lnTo>
                    <a:pt x="13" y="10"/>
                  </a:lnTo>
                  <a:lnTo>
                    <a:pt x="13" y="7"/>
                  </a:lnTo>
                  <a:lnTo>
                    <a:pt x="10" y="3"/>
                  </a:lnTo>
                  <a:lnTo>
                    <a:pt x="7" y="1"/>
                  </a:lnTo>
                  <a:lnTo>
                    <a:pt x="5" y="0"/>
                  </a:lnTo>
                  <a:lnTo>
                    <a:pt x="2" y="3"/>
                  </a:lnTo>
                  <a:lnTo>
                    <a:pt x="0" y="5"/>
                  </a:lnTo>
                  <a:lnTo>
                    <a:pt x="0" y="8"/>
                  </a:lnTo>
                  <a:lnTo>
                    <a:pt x="1" y="12"/>
                  </a:lnTo>
                  <a:lnTo>
                    <a:pt x="5" y="16"/>
                  </a:lnTo>
                  <a:lnTo>
                    <a:pt x="6" y="17"/>
                  </a:lnTo>
                  <a:lnTo>
                    <a:pt x="9" y="17"/>
                  </a:lnTo>
                  <a:lnTo>
                    <a:pt x="10" y="16"/>
                  </a:lnTo>
                  <a:lnTo>
                    <a:pt x="11" y="14"/>
                  </a:lnTo>
                  <a:lnTo>
                    <a:pt x="13"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6" name="Freeform 1255"/>
            <p:cNvSpPr>
              <a:spLocks/>
            </p:cNvSpPr>
            <p:nvPr/>
          </p:nvSpPr>
          <p:spPr bwMode="auto">
            <a:xfrm>
              <a:off x="4868867" y="1895479"/>
              <a:ext cx="255587" cy="468313"/>
            </a:xfrm>
            <a:custGeom>
              <a:avLst/>
              <a:gdLst>
                <a:gd name="T0" fmla="*/ 2147483647 w 174"/>
                <a:gd name="T1" fmla="*/ 2147483647 h 295"/>
                <a:gd name="T2" fmla="*/ 2147483647 w 174"/>
                <a:gd name="T3" fmla="*/ 2147483647 h 295"/>
                <a:gd name="T4" fmla="*/ 2147483647 w 174"/>
                <a:gd name="T5" fmla="*/ 2147483647 h 295"/>
                <a:gd name="T6" fmla="*/ 2147483647 w 174"/>
                <a:gd name="T7" fmla="*/ 2147483647 h 295"/>
                <a:gd name="T8" fmla="*/ 2147483647 w 174"/>
                <a:gd name="T9" fmla="*/ 2147483647 h 295"/>
                <a:gd name="T10" fmla="*/ 2147483647 w 174"/>
                <a:gd name="T11" fmla="*/ 2147483647 h 295"/>
                <a:gd name="T12" fmla="*/ 2147483647 w 174"/>
                <a:gd name="T13" fmla="*/ 2147483647 h 295"/>
                <a:gd name="T14" fmla="*/ 2147483647 w 174"/>
                <a:gd name="T15" fmla="*/ 2147483647 h 295"/>
                <a:gd name="T16" fmla="*/ 2147483647 w 174"/>
                <a:gd name="T17" fmla="*/ 2147483647 h 295"/>
                <a:gd name="T18" fmla="*/ 2147483647 w 174"/>
                <a:gd name="T19" fmla="*/ 2147483647 h 295"/>
                <a:gd name="T20" fmla="*/ 2147483647 w 174"/>
                <a:gd name="T21" fmla="*/ 0 h 295"/>
                <a:gd name="T22" fmla="*/ 2147483647 w 174"/>
                <a:gd name="T23" fmla="*/ 2147483647 h 295"/>
                <a:gd name="T24" fmla="*/ 2147483647 w 174"/>
                <a:gd name="T25" fmla="*/ 2147483647 h 295"/>
                <a:gd name="T26" fmla="*/ 2147483647 w 174"/>
                <a:gd name="T27" fmla="*/ 2147483647 h 295"/>
                <a:gd name="T28" fmla="*/ 2147483647 w 174"/>
                <a:gd name="T29" fmla="*/ 2147483647 h 295"/>
                <a:gd name="T30" fmla="*/ 2147483647 w 174"/>
                <a:gd name="T31" fmla="*/ 2147483647 h 295"/>
                <a:gd name="T32" fmla="*/ 2147483647 w 174"/>
                <a:gd name="T33" fmla="*/ 2147483647 h 295"/>
                <a:gd name="T34" fmla="*/ 2147483647 w 174"/>
                <a:gd name="T35" fmla="*/ 2147483647 h 295"/>
                <a:gd name="T36" fmla="*/ 2147483647 w 174"/>
                <a:gd name="T37" fmla="*/ 2147483647 h 295"/>
                <a:gd name="T38" fmla="*/ 2147483647 w 174"/>
                <a:gd name="T39" fmla="*/ 2147483647 h 295"/>
                <a:gd name="T40" fmla="*/ 2147483647 w 174"/>
                <a:gd name="T41" fmla="*/ 2147483647 h 295"/>
                <a:gd name="T42" fmla="*/ 2147483647 w 174"/>
                <a:gd name="T43" fmla="*/ 2147483647 h 295"/>
                <a:gd name="T44" fmla="*/ 2147483647 w 174"/>
                <a:gd name="T45" fmla="*/ 2147483647 h 295"/>
                <a:gd name="T46" fmla="*/ 2147483647 w 174"/>
                <a:gd name="T47" fmla="*/ 2147483647 h 295"/>
                <a:gd name="T48" fmla="*/ 2147483647 w 174"/>
                <a:gd name="T49" fmla="*/ 2147483647 h 295"/>
                <a:gd name="T50" fmla="*/ 2147483647 w 174"/>
                <a:gd name="T51" fmla="*/ 2147483647 h 295"/>
                <a:gd name="T52" fmla="*/ 2147483647 w 174"/>
                <a:gd name="T53" fmla="*/ 2147483647 h 295"/>
                <a:gd name="T54" fmla="*/ 2147483647 w 174"/>
                <a:gd name="T55" fmla="*/ 2147483647 h 295"/>
                <a:gd name="T56" fmla="*/ 2147483647 w 174"/>
                <a:gd name="T57" fmla="*/ 2147483647 h 295"/>
                <a:gd name="T58" fmla="*/ 2147483647 w 174"/>
                <a:gd name="T59" fmla="*/ 2147483647 h 295"/>
                <a:gd name="T60" fmla="*/ 2147483647 w 174"/>
                <a:gd name="T61" fmla="*/ 2147483647 h 295"/>
                <a:gd name="T62" fmla="*/ 2147483647 w 174"/>
                <a:gd name="T63" fmla="*/ 2147483647 h 295"/>
                <a:gd name="T64" fmla="*/ 2147483647 w 174"/>
                <a:gd name="T65" fmla="*/ 2147483647 h 295"/>
                <a:gd name="T66" fmla="*/ 2147483647 w 174"/>
                <a:gd name="T67" fmla="*/ 2147483647 h 295"/>
                <a:gd name="T68" fmla="*/ 2147483647 w 174"/>
                <a:gd name="T69" fmla="*/ 2147483647 h 295"/>
                <a:gd name="T70" fmla="*/ 2147483647 w 174"/>
                <a:gd name="T71" fmla="*/ 2147483647 h 295"/>
                <a:gd name="T72" fmla="*/ 2147483647 w 174"/>
                <a:gd name="T73" fmla="*/ 2147483647 h 295"/>
                <a:gd name="T74" fmla="*/ 2147483647 w 174"/>
                <a:gd name="T75" fmla="*/ 2147483647 h 295"/>
                <a:gd name="T76" fmla="*/ 2147483647 w 174"/>
                <a:gd name="T77" fmla="*/ 2147483647 h 295"/>
                <a:gd name="T78" fmla="*/ 2147483647 w 174"/>
                <a:gd name="T79" fmla="*/ 2147483647 h 295"/>
                <a:gd name="T80" fmla="*/ 2147483647 w 174"/>
                <a:gd name="T81" fmla="*/ 2147483647 h 295"/>
                <a:gd name="T82" fmla="*/ 2147483647 w 174"/>
                <a:gd name="T83" fmla="*/ 2147483647 h 295"/>
                <a:gd name="T84" fmla="*/ 2147483647 w 174"/>
                <a:gd name="T85" fmla="*/ 2147483647 h 295"/>
                <a:gd name="T86" fmla="*/ 2147483647 w 174"/>
                <a:gd name="T87" fmla="*/ 2147483647 h 295"/>
                <a:gd name="T88" fmla="*/ 2147483647 w 174"/>
                <a:gd name="T89" fmla="*/ 2147483647 h 295"/>
                <a:gd name="T90" fmla="*/ 2147483647 w 174"/>
                <a:gd name="T91" fmla="*/ 2147483647 h 295"/>
                <a:gd name="T92" fmla="*/ 2147483647 w 174"/>
                <a:gd name="T93" fmla="*/ 2147483647 h 295"/>
                <a:gd name="T94" fmla="*/ 2147483647 w 174"/>
                <a:gd name="T95" fmla="*/ 2147483647 h 295"/>
                <a:gd name="T96" fmla="*/ 2147483647 w 174"/>
                <a:gd name="T97" fmla="*/ 2147483647 h 295"/>
                <a:gd name="T98" fmla="*/ 2147483647 w 174"/>
                <a:gd name="T99" fmla="*/ 2147483647 h 295"/>
                <a:gd name="T100" fmla="*/ 2147483647 w 174"/>
                <a:gd name="T101" fmla="*/ 2147483647 h 295"/>
                <a:gd name="T102" fmla="*/ 2147483647 w 174"/>
                <a:gd name="T103" fmla="*/ 2147483647 h 295"/>
                <a:gd name="T104" fmla="*/ 2147483647 w 174"/>
                <a:gd name="T105" fmla="*/ 2147483647 h 295"/>
                <a:gd name="T106" fmla="*/ 2147483647 w 174"/>
                <a:gd name="T107" fmla="*/ 2147483647 h 295"/>
                <a:gd name="T108" fmla="*/ 0 w 174"/>
                <a:gd name="T109" fmla="*/ 2147483647 h 29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4"/>
                <a:gd name="T166" fmla="*/ 0 h 295"/>
                <a:gd name="T167" fmla="*/ 174 w 174"/>
                <a:gd name="T168" fmla="*/ 295 h 29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4" h="295">
                  <a:moveTo>
                    <a:pt x="0" y="39"/>
                  </a:moveTo>
                  <a:lnTo>
                    <a:pt x="8" y="33"/>
                  </a:lnTo>
                  <a:lnTo>
                    <a:pt x="15" y="28"/>
                  </a:lnTo>
                  <a:lnTo>
                    <a:pt x="18" y="29"/>
                  </a:lnTo>
                  <a:lnTo>
                    <a:pt x="19" y="31"/>
                  </a:lnTo>
                  <a:lnTo>
                    <a:pt x="23" y="38"/>
                  </a:lnTo>
                  <a:lnTo>
                    <a:pt x="28" y="44"/>
                  </a:lnTo>
                  <a:lnTo>
                    <a:pt x="31" y="46"/>
                  </a:lnTo>
                  <a:lnTo>
                    <a:pt x="34" y="47"/>
                  </a:lnTo>
                  <a:lnTo>
                    <a:pt x="38" y="48"/>
                  </a:lnTo>
                  <a:lnTo>
                    <a:pt x="42" y="47"/>
                  </a:lnTo>
                  <a:lnTo>
                    <a:pt x="48" y="46"/>
                  </a:lnTo>
                  <a:lnTo>
                    <a:pt x="52" y="45"/>
                  </a:lnTo>
                  <a:lnTo>
                    <a:pt x="57" y="43"/>
                  </a:lnTo>
                  <a:lnTo>
                    <a:pt x="59" y="41"/>
                  </a:lnTo>
                  <a:lnTo>
                    <a:pt x="61" y="43"/>
                  </a:lnTo>
                  <a:lnTo>
                    <a:pt x="73" y="46"/>
                  </a:lnTo>
                  <a:lnTo>
                    <a:pt x="76" y="45"/>
                  </a:lnTo>
                  <a:lnTo>
                    <a:pt x="83" y="43"/>
                  </a:lnTo>
                  <a:lnTo>
                    <a:pt x="87" y="38"/>
                  </a:lnTo>
                  <a:lnTo>
                    <a:pt x="88" y="37"/>
                  </a:lnTo>
                  <a:lnTo>
                    <a:pt x="89" y="35"/>
                  </a:lnTo>
                  <a:lnTo>
                    <a:pt x="87" y="29"/>
                  </a:lnTo>
                  <a:lnTo>
                    <a:pt x="84" y="24"/>
                  </a:lnTo>
                  <a:lnTo>
                    <a:pt x="84" y="20"/>
                  </a:lnTo>
                  <a:lnTo>
                    <a:pt x="85" y="18"/>
                  </a:lnTo>
                  <a:lnTo>
                    <a:pt x="87" y="15"/>
                  </a:lnTo>
                  <a:lnTo>
                    <a:pt x="89" y="13"/>
                  </a:lnTo>
                  <a:lnTo>
                    <a:pt x="97" y="9"/>
                  </a:lnTo>
                  <a:lnTo>
                    <a:pt x="104" y="7"/>
                  </a:lnTo>
                  <a:lnTo>
                    <a:pt x="112" y="3"/>
                  </a:lnTo>
                  <a:lnTo>
                    <a:pt x="120" y="0"/>
                  </a:lnTo>
                  <a:lnTo>
                    <a:pt x="122" y="0"/>
                  </a:lnTo>
                  <a:lnTo>
                    <a:pt x="125" y="1"/>
                  </a:lnTo>
                  <a:lnTo>
                    <a:pt x="126" y="3"/>
                  </a:lnTo>
                  <a:lnTo>
                    <a:pt x="127" y="7"/>
                  </a:lnTo>
                  <a:lnTo>
                    <a:pt x="130" y="11"/>
                  </a:lnTo>
                  <a:lnTo>
                    <a:pt x="132" y="13"/>
                  </a:lnTo>
                  <a:lnTo>
                    <a:pt x="137" y="15"/>
                  </a:lnTo>
                  <a:lnTo>
                    <a:pt x="142" y="19"/>
                  </a:lnTo>
                  <a:lnTo>
                    <a:pt x="146" y="22"/>
                  </a:lnTo>
                  <a:lnTo>
                    <a:pt x="150" y="27"/>
                  </a:lnTo>
                  <a:lnTo>
                    <a:pt x="151" y="31"/>
                  </a:lnTo>
                  <a:lnTo>
                    <a:pt x="153" y="38"/>
                  </a:lnTo>
                  <a:lnTo>
                    <a:pt x="154" y="46"/>
                  </a:lnTo>
                  <a:lnTo>
                    <a:pt x="158" y="56"/>
                  </a:lnTo>
                  <a:lnTo>
                    <a:pt x="158" y="59"/>
                  </a:lnTo>
                  <a:lnTo>
                    <a:pt x="158" y="63"/>
                  </a:lnTo>
                  <a:lnTo>
                    <a:pt x="154" y="69"/>
                  </a:lnTo>
                  <a:lnTo>
                    <a:pt x="150" y="78"/>
                  </a:lnTo>
                  <a:lnTo>
                    <a:pt x="149" y="86"/>
                  </a:lnTo>
                  <a:lnTo>
                    <a:pt x="149" y="94"/>
                  </a:lnTo>
                  <a:lnTo>
                    <a:pt x="150" y="99"/>
                  </a:lnTo>
                  <a:lnTo>
                    <a:pt x="155" y="109"/>
                  </a:lnTo>
                  <a:lnTo>
                    <a:pt x="159" y="120"/>
                  </a:lnTo>
                  <a:lnTo>
                    <a:pt x="160" y="124"/>
                  </a:lnTo>
                  <a:lnTo>
                    <a:pt x="159" y="129"/>
                  </a:lnTo>
                  <a:lnTo>
                    <a:pt x="156" y="135"/>
                  </a:lnTo>
                  <a:lnTo>
                    <a:pt x="156" y="140"/>
                  </a:lnTo>
                  <a:lnTo>
                    <a:pt x="158" y="146"/>
                  </a:lnTo>
                  <a:lnTo>
                    <a:pt x="159" y="148"/>
                  </a:lnTo>
                  <a:lnTo>
                    <a:pt x="160" y="149"/>
                  </a:lnTo>
                  <a:lnTo>
                    <a:pt x="160" y="152"/>
                  </a:lnTo>
                  <a:lnTo>
                    <a:pt x="161" y="152"/>
                  </a:lnTo>
                  <a:lnTo>
                    <a:pt x="163" y="153"/>
                  </a:lnTo>
                  <a:lnTo>
                    <a:pt x="164" y="154"/>
                  </a:lnTo>
                  <a:lnTo>
                    <a:pt x="165" y="154"/>
                  </a:lnTo>
                  <a:lnTo>
                    <a:pt x="168" y="154"/>
                  </a:lnTo>
                  <a:lnTo>
                    <a:pt x="168" y="158"/>
                  </a:lnTo>
                  <a:lnTo>
                    <a:pt x="167" y="161"/>
                  </a:lnTo>
                  <a:lnTo>
                    <a:pt x="165" y="165"/>
                  </a:lnTo>
                  <a:lnTo>
                    <a:pt x="165" y="167"/>
                  </a:lnTo>
                  <a:lnTo>
                    <a:pt x="169" y="172"/>
                  </a:lnTo>
                  <a:lnTo>
                    <a:pt x="169" y="176"/>
                  </a:lnTo>
                  <a:lnTo>
                    <a:pt x="167" y="181"/>
                  </a:lnTo>
                  <a:lnTo>
                    <a:pt x="163" y="187"/>
                  </a:lnTo>
                  <a:lnTo>
                    <a:pt x="161" y="188"/>
                  </a:lnTo>
                  <a:lnTo>
                    <a:pt x="163" y="191"/>
                  </a:lnTo>
                  <a:lnTo>
                    <a:pt x="164" y="195"/>
                  </a:lnTo>
                  <a:lnTo>
                    <a:pt x="167" y="197"/>
                  </a:lnTo>
                  <a:lnTo>
                    <a:pt x="169" y="198"/>
                  </a:lnTo>
                  <a:lnTo>
                    <a:pt x="172" y="198"/>
                  </a:lnTo>
                  <a:lnTo>
                    <a:pt x="172" y="200"/>
                  </a:lnTo>
                  <a:lnTo>
                    <a:pt x="172" y="207"/>
                  </a:lnTo>
                  <a:lnTo>
                    <a:pt x="173" y="213"/>
                  </a:lnTo>
                  <a:lnTo>
                    <a:pt x="174" y="218"/>
                  </a:lnTo>
                  <a:lnTo>
                    <a:pt x="174" y="223"/>
                  </a:lnTo>
                  <a:lnTo>
                    <a:pt x="173" y="226"/>
                  </a:lnTo>
                  <a:lnTo>
                    <a:pt x="169" y="231"/>
                  </a:lnTo>
                  <a:lnTo>
                    <a:pt x="156" y="244"/>
                  </a:lnTo>
                  <a:lnTo>
                    <a:pt x="132" y="268"/>
                  </a:lnTo>
                  <a:lnTo>
                    <a:pt x="126" y="267"/>
                  </a:lnTo>
                  <a:lnTo>
                    <a:pt x="120" y="267"/>
                  </a:lnTo>
                  <a:lnTo>
                    <a:pt x="114" y="268"/>
                  </a:lnTo>
                  <a:lnTo>
                    <a:pt x="104" y="270"/>
                  </a:lnTo>
                  <a:lnTo>
                    <a:pt x="93" y="275"/>
                  </a:lnTo>
                  <a:lnTo>
                    <a:pt x="81" y="281"/>
                  </a:lnTo>
                  <a:lnTo>
                    <a:pt x="78" y="281"/>
                  </a:lnTo>
                  <a:lnTo>
                    <a:pt x="73" y="281"/>
                  </a:lnTo>
                  <a:lnTo>
                    <a:pt x="67" y="281"/>
                  </a:lnTo>
                  <a:lnTo>
                    <a:pt x="64" y="282"/>
                  </a:lnTo>
                  <a:lnTo>
                    <a:pt x="51" y="290"/>
                  </a:lnTo>
                  <a:lnTo>
                    <a:pt x="45" y="294"/>
                  </a:lnTo>
                  <a:lnTo>
                    <a:pt x="37" y="295"/>
                  </a:lnTo>
                  <a:lnTo>
                    <a:pt x="36" y="294"/>
                  </a:lnTo>
                  <a:lnTo>
                    <a:pt x="34" y="293"/>
                  </a:lnTo>
                  <a:lnTo>
                    <a:pt x="32" y="288"/>
                  </a:lnTo>
                  <a:lnTo>
                    <a:pt x="31" y="286"/>
                  </a:lnTo>
                  <a:lnTo>
                    <a:pt x="31" y="282"/>
                  </a:lnTo>
                  <a:lnTo>
                    <a:pt x="32" y="280"/>
                  </a:lnTo>
                  <a:lnTo>
                    <a:pt x="33" y="276"/>
                  </a:lnTo>
                  <a:lnTo>
                    <a:pt x="32" y="274"/>
                  </a:lnTo>
                  <a:lnTo>
                    <a:pt x="29" y="273"/>
                  </a:lnTo>
                  <a:lnTo>
                    <a:pt x="26" y="270"/>
                  </a:lnTo>
                  <a:lnTo>
                    <a:pt x="18" y="270"/>
                  </a:lnTo>
                  <a:lnTo>
                    <a:pt x="14" y="269"/>
                  </a:lnTo>
                  <a:lnTo>
                    <a:pt x="12" y="267"/>
                  </a:lnTo>
                  <a:lnTo>
                    <a:pt x="10" y="262"/>
                  </a:lnTo>
                  <a:lnTo>
                    <a:pt x="10" y="257"/>
                  </a:lnTo>
                  <a:lnTo>
                    <a:pt x="12" y="252"/>
                  </a:lnTo>
                  <a:lnTo>
                    <a:pt x="13" y="248"/>
                  </a:lnTo>
                  <a:lnTo>
                    <a:pt x="12" y="241"/>
                  </a:lnTo>
                  <a:lnTo>
                    <a:pt x="9" y="235"/>
                  </a:lnTo>
                  <a:lnTo>
                    <a:pt x="8" y="230"/>
                  </a:lnTo>
                  <a:lnTo>
                    <a:pt x="8" y="226"/>
                  </a:lnTo>
                  <a:lnTo>
                    <a:pt x="9" y="223"/>
                  </a:lnTo>
                  <a:lnTo>
                    <a:pt x="10" y="219"/>
                  </a:lnTo>
                  <a:lnTo>
                    <a:pt x="15" y="213"/>
                  </a:lnTo>
                  <a:lnTo>
                    <a:pt x="20" y="206"/>
                  </a:lnTo>
                  <a:lnTo>
                    <a:pt x="22" y="203"/>
                  </a:lnTo>
                  <a:lnTo>
                    <a:pt x="22" y="199"/>
                  </a:lnTo>
                  <a:lnTo>
                    <a:pt x="23" y="198"/>
                  </a:lnTo>
                  <a:lnTo>
                    <a:pt x="24" y="197"/>
                  </a:lnTo>
                  <a:lnTo>
                    <a:pt x="29" y="193"/>
                  </a:lnTo>
                  <a:lnTo>
                    <a:pt x="36" y="190"/>
                  </a:lnTo>
                  <a:lnTo>
                    <a:pt x="45" y="180"/>
                  </a:lnTo>
                  <a:lnTo>
                    <a:pt x="55" y="171"/>
                  </a:lnTo>
                  <a:lnTo>
                    <a:pt x="65" y="161"/>
                  </a:lnTo>
                  <a:lnTo>
                    <a:pt x="69" y="159"/>
                  </a:lnTo>
                  <a:lnTo>
                    <a:pt x="73" y="158"/>
                  </a:lnTo>
                  <a:lnTo>
                    <a:pt x="76" y="155"/>
                  </a:lnTo>
                  <a:lnTo>
                    <a:pt x="79" y="152"/>
                  </a:lnTo>
                  <a:lnTo>
                    <a:pt x="80" y="147"/>
                  </a:lnTo>
                  <a:lnTo>
                    <a:pt x="81" y="140"/>
                  </a:lnTo>
                  <a:lnTo>
                    <a:pt x="81" y="137"/>
                  </a:lnTo>
                  <a:lnTo>
                    <a:pt x="80" y="135"/>
                  </a:lnTo>
                  <a:lnTo>
                    <a:pt x="78" y="133"/>
                  </a:lnTo>
                  <a:lnTo>
                    <a:pt x="75" y="131"/>
                  </a:lnTo>
                  <a:lnTo>
                    <a:pt x="70" y="131"/>
                  </a:lnTo>
                  <a:lnTo>
                    <a:pt x="67" y="130"/>
                  </a:lnTo>
                  <a:lnTo>
                    <a:pt x="65" y="129"/>
                  </a:lnTo>
                  <a:lnTo>
                    <a:pt x="64" y="128"/>
                  </a:lnTo>
                  <a:lnTo>
                    <a:pt x="61" y="128"/>
                  </a:lnTo>
                  <a:lnTo>
                    <a:pt x="57" y="128"/>
                  </a:lnTo>
                  <a:lnTo>
                    <a:pt x="55" y="117"/>
                  </a:lnTo>
                  <a:lnTo>
                    <a:pt x="54" y="107"/>
                  </a:lnTo>
                  <a:lnTo>
                    <a:pt x="52" y="85"/>
                  </a:lnTo>
                  <a:lnTo>
                    <a:pt x="51" y="76"/>
                  </a:lnTo>
                  <a:lnTo>
                    <a:pt x="50" y="69"/>
                  </a:lnTo>
                  <a:lnTo>
                    <a:pt x="46" y="63"/>
                  </a:lnTo>
                  <a:lnTo>
                    <a:pt x="45" y="60"/>
                  </a:lnTo>
                  <a:lnTo>
                    <a:pt x="41" y="59"/>
                  </a:lnTo>
                  <a:lnTo>
                    <a:pt x="22" y="52"/>
                  </a:lnTo>
                  <a:lnTo>
                    <a:pt x="12" y="46"/>
                  </a:lnTo>
                  <a:lnTo>
                    <a:pt x="0" y="3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7" name="Freeform 1256"/>
            <p:cNvSpPr>
              <a:spLocks/>
            </p:cNvSpPr>
            <p:nvPr/>
          </p:nvSpPr>
          <p:spPr bwMode="auto">
            <a:xfrm>
              <a:off x="4759326" y="2443167"/>
              <a:ext cx="25400" cy="52387"/>
            </a:xfrm>
            <a:custGeom>
              <a:avLst/>
              <a:gdLst>
                <a:gd name="T0" fmla="*/ 2147483647 w 17"/>
                <a:gd name="T1" fmla="*/ 2147483647 h 33"/>
                <a:gd name="T2" fmla="*/ 2147483647 w 17"/>
                <a:gd name="T3" fmla="*/ 2147483647 h 33"/>
                <a:gd name="T4" fmla="*/ 0 w 17"/>
                <a:gd name="T5" fmla="*/ 2147483647 h 33"/>
                <a:gd name="T6" fmla="*/ 0 w 17"/>
                <a:gd name="T7" fmla="*/ 2147483647 h 33"/>
                <a:gd name="T8" fmla="*/ 0 w 17"/>
                <a:gd name="T9" fmla="*/ 2147483647 h 33"/>
                <a:gd name="T10" fmla="*/ 2147483647 w 17"/>
                <a:gd name="T11" fmla="*/ 2147483647 h 33"/>
                <a:gd name="T12" fmla="*/ 2147483647 w 17"/>
                <a:gd name="T13" fmla="*/ 2147483647 h 33"/>
                <a:gd name="T14" fmla="*/ 2147483647 w 17"/>
                <a:gd name="T15" fmla="*/ 2147483647 h 33"/>
                <a:gd name="T16" fmla="*/ 2147483647 w 17"/>
                <a:gd name="T17" fmla="*/ 0 h 33"/>
                <a:gd name="T18" fmla="*/ 2147483647 w 17"/>
                <a:gd name="T19" fmla="*/ 2147483647 h 33"/>
                <a:gd name="T20" fmla="*/ 2147483647 w 17"/>
                <a:gd name="T21" fmla="*/ 2147483647 h 33"/>
                <a:gd name="T22" fmla="*/ 2147483647 w 17"/>
                <a:gd name="T23" fmla="*/ 2147483647 h 33"/>
                <a:gd name="T24" fmla="*/ 2147483647 w 17"/>
                <a:gd name="T25" fmla="*/ 2147483647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3"/>
                <a:gd name="T41" fmla="*/ 17 w 17"/>
                <a:gd name="T42" fmla="*/ 33 h 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3">
                  <a:moveTo>
                    <a:pt x="13" y="14"/>
                  </a:moveTo>
                  <a:lnTo>
                    <a:pt x="2" y="33"/>
                  </a:lnTo>
                  <a:lnTo>
                    <a:pt x="0" y="29"/>
                  </a:lnTo>
                  <a:lnTo>
                    <a:pt x="0" y="26"/>
                  </a:lnTo>
                  <a:lnTo>
                    <a:pt x="0" y="20"/>
                  </a:lnTo>
                  <a:lnTo>
                    <a:pt x="4" y="13"/>
                  </a:lnTo>
                  <a:lnTo>
                    <a:pt x="7" y="7"/>
                  </a:lnTo>
                  <a:lnTo>
                    <a:pt x="10" y="2"/>
                  </a:lnTo>
                  <a:lnTo>
                    <a:pt x="13" y="0"/>
                  </a:lnTo>
                  <a:lnTo>
                    <a:pt x="15" y="1"/>
                  </a:lnTo>
                  <a:lnTo>
                    <a:pt x="17" y="3"/>
                  </a:lnTo>
                  <a:lnTo>
                    <a:pt x="15" y="7"/>
                  </a:lnTo>
                  <a:lnTo>
                    <a:pt x="13"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8" name="Freeform 1257"/>
            <p:cNvSpPr>
              <a:spLocks/>
            </p:cNvSpPr>
            <p:nvPr/>
          </p:nvSpPr>
          <p:spPr bwMode="auto">
            <a:xfrm>
              <a:off x="4867278" y="1893889"/>
              <a:ext cx="255588" cy="468312"/>
            </a:xfrm>
            <a:custGeom>
              <a:avLst/>
              <a:gdLst>
                <a:gd name="T0" fmla="*/ 2147483647 w 174"/>
                <a:gd name="T1" fmla="*/ 2147483647 h 295"/>
                <a:gd name="T2" fmla="*/ 2147483647 w 174"/>
                <a:gd name="T3" fmla="*/ 2147483647 h 295"/>
                <a:gd name="T4" fmla="*/ 2147483647 w 174"/>
                <a:gd name="T5" fmla="*/ 2147483647 h 295"/>
                <a:gd name="T6" fmla="*/ 2147483647 w 174"/>
                <a:gd name="T7" fmla="*/ 2147483647 h 295"/>
                <a:gd name="T8" fmla="*/ 2147483647 w 174"/>
                <a:gd name="T9" fmla="*/ 2147483647 h 295"/>
                <a:gd name="T10" fmla="*/ 2147483647 w 174"/>
                <a:gd name="T11" fmla="*/ 2147483647 h 295"/>
                <a:gd name="T12" fmla="*/ 2147483647 w 174"/>
                <a:gd name="T13" fmla="*/ 2147483647 h 295"/>
                <a:gd name="T14" fmla="*/ 2147483647 w 174"/>
                <a:gd name="T15" fmla="*/ 2147483647 h 295"/>
                <a:gd name="T16" fmla="*/ 2147483647 w 174"/>
                <a:gd name="T17" fmla="*/ 2147483647 h 295"/>
                <a:gd name="T18" fmla="*/ 2147483647 w 174"/>
                <a:gd name="T19" fmla="*/ 0 h 295"/>
                <a:gd name="T20" fmla="*/ 2147483647 w 174"/>
                <a:gd name="T21" fmla="*/ 2147483647 h 295"/>
                <a:gd name="T22" fmla="*/ 2147483647 w 174"/>
                <a:gd name="T23" fmla="*/ 2147483647 h 295"/>
                <a:gd name="T24" fmla="*/ 2147483647 w 174"/>
                <a:gd name="T25" fmla="*/ 2147483647 h 295"/>
                <a:gd name="T26" fmla="*/ 2147483647 w 174"/>
                <a:gd name="T27" fmla="*/ 2147483647 h 295"/>
                <a:gd name="T28" fmla="*/ 2147483647 w 174"/>
                <a:gd name="T29" fmla="*/ 2147483647 h 295"/>
                <a:gd name="T30" fmla="*/ 2147483647 w 174"/>
                <a:gd name="T31" fmla="*/ 2147483647 h 295"/>
                <a:gd name="T32" fmla="*/ 2147483647 w 174"/>
                <a:gd name="T33" fmla="*/ 2147483647 h 295"/>
                <a:gd name="T34" fmla="*/ 2147483647 w 174"/>
                <a:gd name="T35" fmla="*/ 2147483647 h 295"/>
                <a:gd name="T36" fmla="*/ 2147483647 w 174"/>
                <a:gd name="T37" fmla="*/ 2147483647 h 295"/>
                <a:gd name="T38" fmla="*/ 2147483647 w 174"/>
                <a:gd name="T39" fmla="*/ 2147483647 h 295"/>
                <a:gd name="T40" fmla="*/ 2147483647 w 174"/>
                <a:gd name="T41" fmla="*/ 2147483647 h 295"/>
                <a:gd name="T42" fmla="*/ 2147483647 w 174"/>
                <a:gd name="T43" fmla="*/ 2147483647 h 295"/>
                <a:gd name="T44" fmla="*/ 2147483647 w 174"/>
                <a:gd name="T45" fmla="*/ 2147483647 h 295"/>
                <a:gd name="T46" fmla="*/ 2147483647 w 174"/>
                <a:gd name="T47" fmla="*/ 2147483647 h 295"/>
                <a:gd name="T48" fmla="*/ 2147483647 w 174"/>
                <a:gd name="T49" fmla="*/ 2147483647 h 295"/>
                <a:gd name="T50" fmla="*/ 2147483647 w 174"/>
                <a:gd name="T51" fmla="*/ 2147483647 h 295"/>
                <a:gd name="T52" fmla="*/ 2147483647 w 174"/>
                <a:gd name="T53" fmla="*/ 2147483647 h 295"/>
                <a:gd name="T54" fmla="*/ 2147483647 w 174"/>
                <a:gd name="T55" fmla="*/ 2147483647 h 295"/>
                <a:gd name="T56" fmla="*/ 2147483647 w 174"/>
                <a:gd name="T57" fmla="*/ 2147483647 h 295"/>
                <a:gd name="T58" fmla="*/ 2147483647 w 174"/>
                <a:gd name="T59" fmla="*/ 2147483647 h 295"/>
                <a:gd name="T60" fmla="*/ 2147483647 w 174"/>
                <a:gd name="T61" fmla="*/ 2147483647 h 295"/>
                <a:gd name="T62" fmla="*/ 2147483647 w 174"/>
                <a:gd name="T63" fmla="*/ 2147483647 h 295"/>
                <a:gd name="T64" fmla="*/ 2147483647 w 174"/>
                <a:gd name="T65" fmla="*/ 2147483647 h 295"/>
                <a:gd name="T66" fmla="*/ 2147483647 w 174"/>
                <a:gd name="T67" fmla="*/ 2147483647 h 295"/>
                <a:gd name="T68" fmla="*/ 2147483647 w 174"/>
                <a:gd name="T69" fmla="*/ 2147483647 h 295"/>
                <a:gd name="T70" fmla="*/ 2147483647 w 174"/>
                <a:gd name="T71" fmla="*/ 2147483647 h 295"/>
                <a:gd name="T72" fmla="*/ 2147483647 w 174"/>
                <a:gd name="T73" fmla="*/ 2147483647 h 295"/>
                <a:gd name="T74" fmla="*/ 2147483647 w 174"/>
                <a:gd name="T75" fmla="*/ 2147483647 h 295"/>
                <a:gd name="T76" fmla="*/ 2147483647 w 174"/>
                <a:gd name="T77" fmla="*/ 2147483647 h 295"/>
                <a:gd name="T78" fmla="*/ 2147483647 w 174"/>
                <a:gd name="T79" fmla="*/ 2147483647 h 295"/>
                <a:gd name="T80" fmla="*/ 2147483647 w 174"/>
                <a:gd name="T81" fmla="*/ 2147483647 h 295"/>
                <a:gd name="T82" fmla="*/ 2147483647 w 174"/>
                <a:gd name="T83" fmla="*/ 2147483647 h 295"/>
                <a:gd name="T84" fmla="*/ 2147483647 w 174"/>
                <a:gd name="T85" fmla="*/ 2147483647 h 295"/>
                <a:gd name="T86" fmla="*/ 2147483647 w 174"/>
                <a:gd name="T87" fmla="*/ 2147483647 h 295"/>
                <a:gd name="T88" fmla="*/ 2147483647 w 174"/>
                <a:gd name="T89" fmla="*/ 2147483647 h 295"/>
                <a:gd name="T90" fmla="*/ 2147483647 w 174"/>
                <a:gd name="T91" fmla="*/ 2147483647 h 295"/>
                <a:gd name="T92" fmla="*/ 2147483647 w 174"/>
                <a:gd name="T93" fmla="*/ 2147483647 h 295"/>
                <a:gd name="T94" fmla="*/ 2147483647 w 174"/>
                <a:gd name="T95" fmla="*/ 2147483647 h 295"/>
                <a:gd name="T96" fmla="*/ 2147483647 w 174"/>
                <a:gd name="T97" fmla="*/ 2147483647 h 295"/>
                <a:gd name="T98" fmla="*/ 2147483647 w 174"/>
                <a:gd name="T99" fmla="*/ 2147483647 h 295"/>
                <a:gd name="T100" fmla="*/ 2147483647 w 174"/>
                <a:gd name="T101" fmla="*/ 2147483647 h 295"/>
                <a:gd name="T102" fmla="*/ 2147483647 w 174"/>
                <a:gd name="T103" fmla="*/ 2147483647 h 295"/>
                <a:gd name="T104" fmla="*/ 0 w 174"/>
                <a:gd name="T105" fmla="*/ 2147483647 h 2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
                <a:gd name="T160" fmla="*/ 0 h 295"/>
                <a:gd name="T161" fmla="*/ 174 w 174"/>
                <a:gd name="T162" fmla="*/ 295 h 2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 h="295">
                  <a:moveTo>
                    <a:pt x="0" y="39"/>
                  </a:moveTo>
                  <a:lnTo>
                    <a:pt x="0" y="39"/>
                  </a:lnTo>
                  <a:lnTo>
                    <a:pt x="8" y="33"/>
                  </a:lnTo>
                  <a:lnTo>
                    <a:pt x="15" y="28"/>
                  </a:lnTo>
                  <a:lnTo>
                    <a:pt x="18" y="29"/>
                  </a:lnTo>
                  <a:lnTo>
                    <a:pt x="19" y="30"/>
                  </a:lnTo>
                  <a:lnTo>
                    <a:pt x="23" y="38"/>
                  </a:lnTo>
                  <a:lnTo>
                    <a:pt x="28" y="44"/>
                  </a:lnTo>
                  <a:lnTo>
                    <a:pt x="30" y="46"/>
                  </a:lnTo>
                  <a:lnTo>
                    <a:pt x="34" y="47"/>
                  </a:lnTo>
                  <a:lnTo>
                    <a:pt x="38" y="48"/>
                  </a:lnTo>
                  <a:lnTo>
                    <a:pt x="42" y="47"/>
                  </a:lnTo>
                  <a:lnTo>
                    <a:pt x="48" y="46"/>
                  </a:lnTo>
                  <a:lnTo>
                    <a:pt x="52" y="45"/>
                  </a:lnTo>
                  <a:lnTo>
                    <a:pt x="57" y="42"/>
                  </a:lnTo>
                  <a:lnTo>
                    <a:pt x="58" y="41"/>
                  </a:lnTo>
                  <a:lnTo>
                    <a:pt x="61" y="42"/>
                  </a:lnTo>
                  <a:lnTo>
                    <a:pt x="72" y="46"/>
                  </a:lnTo>
                  <a:lnTo>
                    <a:pt x="76" y="45"/>
                  </a:lnTo>
                  <a:lnTo>
                    <a:pt x="82" y="42"/>
                  </a:lnTo>
                  <a:lnTo>
                    <a:pt x="86" y="38"/>
                  </a:lnTo>
                  <a:lnTo>
                    <a:pt x="88" y="36"/>
                  </a:lnTo>
                  <a:lnTo>
                    <a:pt x="89" y="35"/>
                  </a:lnTo>
                  <a:lnTo>
                    <a:pt x="86" y="29"/>
                  </a:lnTo>
                  <a:lnTo>
                    <a:pt x="84" y="23"/>
                  </a:lnTo>
                  <a:lnTo>
                    <a:pt x="84" y="20"/>
                  </a:lnTo>
                  <a:lnTo>
                    <a:pt x="85" y="17"/>
                  </a:lnTo>
                  <a:lnTo>
                    <a:pt x="86" y="15"/>
                  </a:lnTo>
                  <a:lnTo>
                    <a:pt x="89" y="13"/>
                  </a:lnTo>
                  <a:lnTo>
                    <a:pt x="96" y="9"/>
                  </a:lnTo>
                  <a:lnTo>
                    <a:pt x="104" y="7"/>
                  </a:lnTo>
                  <a:lnTo>
                    <a:pt x="112" y="3"/>
                  </a:lnTo>
                  <a:lnTo>
                    <a:pt x="119" y="0"/>
                  </a:lnTo>
                  <a:lnTo>
                    <a:pt x="122" y="0"/>
                  </a:lnTo>
                  <a:lnTo>
                    <a:pt x="124" y="1"/>
                  </a:lnTo>
                  <a:lnTo>
                    <a:pt x="126" y="3"/>
                  </a:lnTo>
                  <a:lnTo>
                    <a:pt x="127" y="7"/>
                  </a:lnTo>
                  <a:lnTo>
                    <a:pt x="129" y="10"/>
                  </a:lnTo>
                  <a:lnTo>
                    <a:pt x="132" y="13"/>
                  </a:lnTo>
                  <a:lnTo>
                    <a:pt x="137" y="15"/>
                  </a:lnTo>
                  <a:lnTo>
                    <a:pt x="142" y="19"/>
                  </a:lnTo>
                  <a:lnTo>
                    <a:pt x="146" y="22"/>
                  </a:lnTo>
                  <a:lnTo>
                    <a:pt x="150" y="27"/>
                  </a:lnTo>
                  <a:lnTo>
                    <a:pt x="151" y="30"/>
                  </a:lnTo>
                  <a:lnTo>
                    <a:pt x="152" y="38"/>
                  </a:lnTo>
                  <a:lnTo>
                    <a:pt x="154" y="46"/>
                  </a:lnTo>
                  <a:lnTo>
                    <a:pt x="157" y="55"/>
                  </a:lnTo>
                  <a:lnTo>
                    <a:pt x="157" y="59"/>
                  </a:lnTo>
                  <a:lnTo>
                    <a:pt x="157" y="62"/>
                  </a:lnTo>
                  <a:lnTo>
                    <a:pt x="154" y="68"/>
                  </a:lnTo>
                  <a:lnTo>
                    <a:pt x="150" y="78"/>
                  </a:lnTo>
                  <a:lnTo>
                    <a:pt x="148" y="86"/>
                  </a:lnTo>
                  <a:lnTo>
                    <a:pt x="148" y="93"/>
                  </a:lnTo>
                  <a:lnTo>
                    <a:pt x="150" y="99"/>
                  </a:lnTo>
                  <a:lnTo>
                    <a:pt x="155" y="109"/>
                  </a:lnTo>
                  <a:lnTo>
                    <a:pt x="159" y="119"/>
                  </a:lnTo>
                  <a:lnTo>
                    <a:pt x="160" y="124"/>
                  </a:lnTo>
                  <a:lnTo>
                    <a:pt x="159" y="129"/>
                  </a:lnTo>
                  <a:lnTo>
                    <a:pt x="156" y="135"/>
                  </a:lnTo>
                  <a:lnTo>
                    <a:pt x="156" y="140"/>
                  </a:lnTo>
                  <a:lnTo>
                    <a:pt x="157" y="145"/>
                  </a:lnTo>
                  <a:lnTo>
                    <a:pt x="159" y="148"/>
                  </a:lnTo>
                  <a:lnTo>
                    <a:pt x="160" y="149"/>
                  </a:lnTo>
                  <a:lnTo>
                    <a:pt x="160" y="151"/>
                  </a:lnTo>
                  <a:lnTo>
                    <a:pt x="161" y="151"/>
                  </a:lnTo>
                  <a:lnTo>
                    <a:pt x="162" y="153"/>
                  </a:lnTo>
                  <a:lnTo>
                    <a:pt x="164" y="154"/>
                  </a:lnTo>
                  <a:lnTo>
                    <a:pt x="165" y="154"/>
                  </a:lnTo>
                  <a:lnTo>
                    <a:pt x="168" y="154"/>
                  </a:lnTo>
                  <a:lnTo>
                    <a:pt x="168" y="157"/>
                  </a:lnTo>
                  <a:lnTo>
                    <a:pt x="166" y="161"/>
                  </a:lnTo>
                  <a:lnTo>
                    <a:pt x="165" y="164"/>
                  </a:lnTo>
                  <a:lnTo>
                    <a:pt x="165" y="167"/>
                  </a:lnTo>
                  <a:lnTo>
                    <a:pt x="169" y="172"/>
                  </a:lnTo>
                  <a:lnTo>
                    <a:pt x="169" y="176"/>
                  </a:lnTo>
                  <a:lnTo>
                    <a:pt x="166" y="181"/>
                  </a:lnTo>
                  <a:lnTo>
                    <a:pt x="162" y="187"/>
                  </a:lnTo>
                  <a:lnTo>
                    <a:pt x="161" y="188"/>
                  </a:lnTo>
                  <a:lnTo>
                    <a:pt x="162" y="191"/>
                  </a:lnTo>
                  <a:lnTo>
                    <a:pt x="164" y="195"/>
                  </a:lnTo>
                  <a:lnTo>
                    <a:pt x="166" y="196"/>
                  </a:lnTo>
                  <a:lnTo>
                    <a:pt x="169" y="198"/>
                  </a:lnTo>
                  <a:lnTo>
                    <a:pt x="171" y="198"/>
                  </a:lnTo>
                  <a:lnTo>
                    <a:pt x="171" y="200"/>
                  </a:lnTo>
                  <a:lnTo>
                    <a:pt x="171" y="207"/>
                  </a:lnTo>
                  <a:lnTo>
                    <a:pt x="173" y="213"/>
                  </a:lnTo>
                  <a:lnTo>
                    <a:pt x="174" y="218"/>
                  </a:lnTo>
                  <a:lnTo>
                    <a:pt x="174" y="223"/>
                  </a:lnTo>
                  <a:lnTo>
                    <a:pt x="173" y="226"/>
                  </a:lnTo>
                  <a:lnTo>
                    <a:pt x="169" y="231"/>
                  </a:lnTo>
                  <a:lnTo>
                    <a:pt x="156" y="244"/>
                  </a:lnTo>
                  <a:lnTo>
                    <a:pt x="132" y="268"/>
                  </a:lnTo>
                  <a:lnTo>
                    <a:pt x="126" y="266"/>
                  </a:lnTo>
                  <a:lnTo>
                    <a:pt x="119" y="266"/>
                  </a:lnTo>
                  <a:lnTo>
                    <a:pt x="114" y="268"/>
                  </a:lnTo>
                  <a:lnTo>
                    <a:pt x="104" y="270"/>
                  </a:lnTo>
                  <a:lnTo>
                    <a:pt x="93" y="275"/>
                  </a:lnTo>
                  <a:lnTo>
                    <a:pt x="81" y="281"/>
                  </a:lnTo>
                  <a:lnTo>
                    <a:pt x="77" y="281"/>
                  </a:lnTo>
                  <a:lnTo>
                    <a:pt x="72" y="281"/>
                  </a:lnTo>
                  <a:lnTo>
                    <a:pt x="67" y="281"/>
                  </a:lnTo>
                  <a:lnTo>
                    <a:pt x="63" y="282"/>
                  </a:lnTo>
                  <a:lnTo>
                    <a:pt x="51" y="290"/>
                  </a:lnTo>
                  <a:lnTo>
                    <a:pt x="44" y="294"/>
                  </a:lnTo>
                  <a:lnTo>
                    <a:pt x="37" y="295"/>
                  </a:lnTo>
                  <a:lnTo>
                    <a:pt x="35" y="294"/>
                  </a:lnTo>
                  <a:lnTo>
                    <a:pt x="34" y="292"/>
                  </a:lnTo>
                  <a:lnTo>
                    <a:pt x="32" y="288"/>
                  </a:lnTo>
                  <a:lnTo>
                    <a:pt x="30" y="285"/>
                  </a:lnTo>
                  <a:lnTo>
                    <a:pt x="30" y="282"/>
                  </a:lnTo>
                  <a:lnTo>
                    <a:pt x="32" y="279"/>
                  </a:lnTo>
                  <a:lnTo>
                    <a:pt x="33" y="276"/>
                  </a:lnTo>
                  <a:lnTo>
                    <a:pt x="32" y="274"/>
                  </a:lnTo>
                  <a:lnTo>
                    <a:pt x="29" y="272"/>
                  </a:lnTo>
                  <a:lnTo>
                    <a:pt x="25" y="270"/>
                  </a:lnTo>
                  <a:lnTo>
                    <a:pt x="18" y="270"/>
                  </a:lnTo>
                  <a:lnTo>
                    <a:pt x="14" y="269"/>
                  </a:lnTo>
                  <a:lnTo>
                    <a:pt x="11" y="266"/>
                  </a:lnTo>
                  <a:lnTo>
                    <a:pt x="10" y="262"/>
                  </a:lnTo>
                  <a:lnTo>
                    <a:pt x="10" y="257"/>
                  </a:lnTo>
                  <a:lnTo>
                    <a:pt x="11" y="252"/>
                  </a:lnTo>
                  <a:lnTo>
                    <a:pt x="13" y="247"/>
                  </a:lnTo>
                  <a:lnTo>
                    <a:pt x="11" y="240"/>
                  </a:lnTo>
                  <a:lnTo>
                    <a:pt x="9" y="234"/>
                  </a:lnTo>
                  <a:lnTo>
                    <a:pt x="8" y="230"/>
                  </a:lnTo>
                  <a:lnTo>
                    <a:pt x="8" y="226"/>
                  </a:lnTo>
                  <a:lnTo>
                    <a:pt x="9" y="223"/>
                  </a:lnTo>
                  <a:lnTo>
                    <a:pt x="10" y="219"/>
                  </a:lnTo>
                  <a:lnTo>
                    <a:pt x="15" y="213"/>
                  </a:lnTo>
                  <a:lnTo>
                    <a:pt x="20" y="206"/>
                  </a:lnTo>
                  <a:lnTo>
                    <a:pt x="21" y="202"/>
                  </a:lnTo>
                  <a:lnTo>
                    <a:pt x="21" y="199"/>
                  </a:lnTo>
                  <a:lnTo>
                    <a:pt x="23" y="198"/>
                  </a:lnTo>
                  <a:lnTo>
                    <a:pt x="24" y="196"/>
                  </a:lnTo>
                  <a:lnTo>
                    <a:pt x="29" y="193"/>
                  </a:lnTo>
                  <a:lnTo>
                    <a:pt x="35" y="189"/>
                  </a:lnTo>
                  <a:lnTo>
                    <a:pt x="44" y="180"/>
                  </a:lnTo>
                  <a:lnTo>
                    <a:pt x="55" y="170"/>
                  </a:lnTo>
                  <a:lnTo>
                    <a:pt x="65" y="161"/>
                  </a:lnTo>
                  <a:lnTo>
                    <a:pt x="68" y="159"/>
                  </a:lnTo>
                  <a:lnTo>
                    <a:pt x="72" y="157"/>
                  </a:lnTo>
                  <a:lnTo>
                    <a:pt x="76" y="155"/>
                  </a:lnTo>
                  <a:lnTo>
                    <a:pt x="79" y="151"/>
                  </a:lnTo>
                  <a:lnTo>
                    <a:pt x="80" y="147"/>
                  </a:lnTo>
                  <a:lnTo>
                    <a:pt x="81" y="140"/>
                  </a:lnTo>
                  <a:lnTo>
                    <a:pt x="81" y="137"/>
                  </a:lnTo>
                  <a:lnTo>
                    <a:pt x="80" y="135"/>
                  </a:lnTo>
                  <a:lnTo>
                    <a:pt x="77" y="132"/>
                  </a:lnTo>
                  <a:lnTo>
                    <a:pt x="75" y="131"/>
                  </a:lnTo>
                  <a:lnTo>
                    <a:pt x="70" y="131"/>
                  </a:lnTo>
                  <a:lnTo>
                    <a:pt x="67" y="130"/>
                  </a:lnTo>
                  <a:lnTo>
                    <a:pt x="65" y="129"/>
                  </a:lnTo>
                  <a:lnTo>
                    <a:pt x="63" y="128"/>
                  </a:lnTo>
                  <a:lnTo>
                    <a:pt x="61" y="128"/>
                  </a:lnTo>
                  <a:lnTo>
                    <a:pt x="57" y="128"/>
                  </a:lnTo>
                  <a:lnTo>
                    <a:pt x="55" y="117"/>
                  </a:lnTo>
                  <a:lnTo>
                    <a:pt x="53" y="106"/>
                  </a:lnTo>
                  <a:lnTo>
                    <a:pt x="52" y="85"/>
                  </a:lnTo>
                  <a:lnTo>
                    <a:pt x="51" y="76"/>
                  </a:lnTo>
                  <a:lnTo>
                    <a:pt x="49" y="68"/>
                  </a:lnTo>
                  <a:lnTo>
                    <a:pt x="46" y="62"/>
                  </a:lnTo>
                  <a:lnTo>
                    <a:pt x="44" y="60"/>
                  </a:lnTo>
                  <a:lnTo>
                    <a:pt x="41" y="59"/>
                  </a:lnTo>
                  <a:lnTo>
                    <a:pt x="21" y="52"/>
                  </a:lnTo>
                  <a:lnTo>
                    <a:pt x="11" y="46"/>
                  </a:lnTo>
                  <a:lnTo>
                    <a:pt x="0" y="3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59" name="Freeform 1258"/>
            <p:cNvSpPr>
              <a:spLocks/>
            </p:cNvSpPr>
            <p:nvPr/>
          </p:nvSpPr>
          <p:spPr bwMode="auto">
            <a:xfrm>
              <a:off x="4757738" y="2441576"/>
              <a:ext cx="23812" cy="52388"/>
            </a:xfrm>
            <a:custGeom>
              <a:avLst/>
              <a:gdLst>
                <a:gd name="T0" fmla="*/ 2147483647 w 16"/>
                <a:gd name="T1" fmla="*/ 2147483647 h 33"/>
                <a:gd name="T2" fmla="*/ 2147483647 w 16"/>
                <a:gd name="T3" fmla="*/ 2147483647 h 33"/>
                <a:gd name="T4" fmla="*/ 2147483647 w 16"/>
                <a:gd name="T5" fmla="*/ 2147483647 h 33"/>
                <a:gd name="T6" fmla="*/ 2147483647 w 16"/>
                <a:gd name="T7" fmla="*/ 2147483647 h 33"/>
                <a:gd name="T8" fmla="*/ 0 w 16"/>
                <a:gd name="T9" fmla="*/ 2147483647 h 33"/>
                <a:gd name="T10" fmla="*/ 0 w 16"/>
                <a:gd name="T11" fmla="*/ 2147483647 h 33"/>
                <a:gd name="T12" fmla="*/ 0 w 16"/>
                <a:gd name="T13" fmla="*/ 2147483647 h 33"/>
                <a:gd name="T14" fmla="*/ 2147483647 w 16"/>
                <a:gd name="T15" fmla="*/ 2147483647 h 33"/>
                <a:gd name="T16" fmla="*/ 2147483647 w 16"/>
                <a:gd name="T17" fmla="*/ 2147483647 h 33"/>
                <a:gd name="T18" fmla="*/ 2147483647 w 16"/>
                <a:gd name="T19" fmla="*/ 2147483647 h 33"/>
                <a:gd name="T20" fmla="*/ 2147483647 w 16"/>
                <a:gd name="T21" fmla="*/ 2147483647 h 33"/>
                <a:gd name="T22" fmla="*/ 2147483647 w 16"/>
                <a:gd name="T23" fmla="*/ 0 h 33"/>
                <a:gd name="T24" fmla="*/ 2147483647 w 16"/>
                <a:gd name="T25" fmla="*/ 2147483647 h 33"/>
                <a:gd name="T26" fmla="*/ 2147483647 w 16"/>
                <a:gd name="T27" fmla="*/ 2147483647 h 33"/>
                <a:gd name="T28" fmla="*/ 2147483647 w 16"/>
                <a:gd name="T29" fmla="*/ 2147483647 h 33"/>
                <a:gd name="T30" fmla="*/ 2147483647 w 16"/>
                <a:gd name="T31" fmla="*/ 2147483647 h 33"/>
                <a:gd name="T32" fmla="*/ 2147483647 w 16"/>
                <a:gd name="T33" fmla="*/ 2147483647 h 33"/>
                <a:gd name="T34" fmla="*/ 2147483647 w 16"/>
                <a:gd name="T35" fmla="*/ 2147483647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3"/>
                <a:gd name="T56" fmla="*/ 16 w 16"/>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3">
                  <a:moveTo>
                    <a:pt x="13" y="14"/>
                  </a:moveTo>
                  <a:lnTo>
                    <a:pt x="13" y="14"/>
                  </a:lnTo>
                  <a:lnTo>
                    <a:pt x="1" y="33"/>
                  </a:lnTo>
                  <a:lnTo>
                    <a:pt x="0" y="29"/>
                  </a:lnTo>
                  <a:lnTo>
                    <a:pt x="0" y="26"/>
                  </a:lnTo>
                  <a:lnTo>
                    <a:pt x="0" y="20"/>
                  </a:lnTo>
                  <a:lnTo>
                    <a:pt x="4" y="13"/>
                  </a:lnTo>
                  <a:lnTo>
                    <a:pt x="6" y="7"/>
                  </a:lnTo>
                  <a:lnTo>
                    <a:pt x="10" y="2"/>
                  </a:lnTo>
                  <a:lnTo>
                    <a:pt x="13" y="0"/>
                  </a:lnTo>
                  <a:lnTo>
                    <a:pt x="15" y="1"/>
                  </a:lnTo>
                  <a:lnTo>
                    <a:pt x="16" y="3"/>
                  </a:lnTo>
                  <a:lnTo>
                    <a:pt x="15" y="7"/>
                  </a:lnTo>
                  <a:lnTo>
                    <a:pt x="13"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0" name="Freeform 1259"/>
            <p:cNvSpPr>
              <a:spLocks/>
            </p:cNvSpPr>
            <p:nvPr/>
          </p:nvSpPr>
          <p:spPr bwMode="auto">
            <a:xfrm>
              <a:off x="4800604" y="2425701"/>
              <a:ext cx="30163" cy="52388"/>
            </a:xfrm>
            <a:custGeom>
              <a:avLst/>
              <a:gdLst>
                <a:gd name="T0" fmla="*/ 2147483647 w 21"/>
                <a:gd name="T1" fmla="*/ 2147483647 h 33"/>
                <a:gd name="T2" fmla="*/ 2147483647 w 21"/>
                <a:gd name="T3" fmla="*/ 2147483647 h 33"/>
                <a:gd name="T4" fmla="*/ 2147483647 w 21"/>
                <a:gd name="T5" fmla="*/ 2147483647 h 33"/>
                <a:gd name="T6" fmla="*/ 2147483647 w 21"/>
                <a:gd name="T7" fmla="*/ 2147483647 h 33"/>
                <a:gd name="T8" fmla="*/ 2147483647 w 21"/>
                <a:gd name="T9" fmla="*/ 2147483647 h 33"/>
                <a:gd name="T10" fmla="*/ 2147483647 w 21"/>
                <a:gd name="T11" fmla="*/ 0 h 33"/>
                <a:gd name="T12" fmla="*/ 2147483647 w 21"/>
                <a:gd name="T13" fmla="*/ 2147483647 h 33"/>
                <a:gd name="T14" fmla="*/ 2147483647 w 21"/>
                <a:gd name="T15" fmla="*/ 2147483647 h 33"/>
                <a:gd name="T16" fmla="*/ 2147483647 w 21"/>
                <a:gd name="T17" fmla="*/ 2147483647 h 33"/>
                <a:gd name="T18" fmla="*/ 2147483647 w 21"/>
                <a:gd name="T19" fmla="*/ 2147483647 h 33"/>
                <a:gd name="T20" fmla="*/ 2147483647 w 21"/>
                <a:gd name="T21" fmla="*/ 2147483647 h 33"/>
                <a:gd name="T22" fmla="*/ 2147483647 w 21"/>
                <a:gd name="T23" fmla="*/ 2147483647 h 33"/>
                <a:gd name="T24" fmla="*/ 0 w 21"/>
                <a:gd name="T25" fmla="*/ 2147483647 h 33"/>
                <a:gd name="T26" fmla="*/ 2147483647 w 21"/>
                <a:gd name="T27" fmla="*/ 2147483647 h 33"/>
                <a:gd name="T28" fmla="*/ 2147483647 w 21"/>
                <a:gd name="T29" fmla="*/ 2147483647 h 33"/>
                <a:gd name="T30" fmla="*/ 2147483647 w 21"/>
                <a:gd name="T31" fmla="*/ 2147483647 h 33"/>
                <a:gd name="T32" fmla="*/ 2147483647 w 21"/>
                <a:gd name="T33" fmla="*/ 2147483647 h 33"/>
                <a:gd name="T34" fmla="*/ 2147483647 w 21"/>
                <a:gd name="T35" fmla="*/ 2147483647 h 33"/>
                <a:gd name="T36" fmla="*/ 2147483647 w 21"/>
                <a:gd name="T37" fmla="*/ 2147483647 h 33"/>
                <a:gd name="T38" fmla="*/ 2147483647 w 21"/>
                <a:gd name="T39" fmla="*/ 2147483647 h 33"/>
                <a:gd name="T40" fmla="*/ 2147483647 w 21"/>
                <a:gd name="T41" fmla="*/ 2147483647 h 33"/>
                <a:gd name="T42" fmla="*/ 2147483647 w 21"/>
                <a:gd name="T43" fmla="*/ 2147483647 h 33"/>
                <a:gd name="T44" fmla="*/ 2147483647 w 21"/>
                <a:gd name="T45" fmla="*/ 2147483647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33"/>
                <a:gd name="T71" fmla="*/ 21 w 21"/>
                <a:gd name="T72" fmla="*/ 33 h 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33">
                  <a:moveTo>
                    <a:pt x="18" y="14"/>
                  </a:moveTo>
                  <a:lnTo>
                    <a:pt x="17" y="11"/>
                  </a:lnTo>
                  <a:lnTo>
                    <a:pt x="18" y="10"/>
                  </a:lnTo>
                  <a:lnTo>
                    <a:pt x="21" y="5"/>
                  </a:lnTo>
                  <a:lnTo>
                    <a:pt x="21" y="1"/>
                  </a:lnTo>
                  <a:lnTo>
                    <a:pt x="21" y="0"/>
                  </a:lnTo>
                  <a:lnTo>
                    <a:pt x="14" y="1"/>
                  </a:lnTo>
                  <a:lnTo>
                    <a:pt x="9" y="4"/>
                  </a:lnTo>
                  <a:lnTo>
                    <a:pt x="4" y="7"/>
                  </a:lnTo>
                  <a:lnTo>
                    <a:pt x="3" y="10"/>
                  </a:lnTo>
                  <a:lnTo>
                    <a:pt x="1" y="12"/>
                  </a:lnTo>
                  <a:lnTo>
                    <a:pt x="1" y="18"/>
                  </a:lnTo>
                  <a:lnTo>
                    <a:pt x="0" y="24"/>
                  </a:lnTo>
                  <a:lnTo>
                    <a:pt x="1" y="30"/>
                  </a:lnTo>
                  <a:lnTo>
                    <a:pt x="3" y="32"/>
                  </a:lnTo>
                  <a:lnTo>
                    <a:pt x="5" y="33"/>
                  </a:lnTo>
                  <a:lnTo>
                    <a:pt x="7" y="26"/>
                  </a:lnTo>
                  <a:lnTo>
                    <a:pt x="8" y="24"/>
                  </a:lnTo>
                  <a:lnTo>
                    <a:pt x="12" y="22"/>
                  </a:lnTo>
                  <a:lnTo>
                    <a:pt x="13" y="20"/>
                  </a:lnTo>
                  <a:lnTo>
                    <a:pt x="15" y="18"/>
                  </a:lnTo>
                  <a:lnTo>
                    <a:pt x="18" y="16"/>
                  </a:lnTo>
                  <a:lnTo>
                    <a:pt x="18"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1" name="Freeform 1260"/>
            <p:cNvSpPr>
              <a:spLocks/>
            </p:cNvSpPr>
            <p:nvPr/>
          </p:nvSpPr>
          <p:spPr bwMode="auto">
            <a:xfrm>
              <a:off x="4629151" y="1957388"/>
              <a:ext cx="323850" cy="590550"/>
            </a:xfrm>
            <a:custGeom>
              <a:avLst/>
              <a:gdLst>
                <a:gd name="T0" fmla="*/ 2147483647 w 221"/>
                <a:gd name="T1" fmla="*/ 2147483647 h 372"/>
                <a:gd name="T2" fmla="*/ 2147483647 w 221"/>
                <a:gd name="T3" fmla="*/ 2147483647 h 372"/>
                <a:gd name="T4" fmla="*/ 2147483647 w 221"/>
                <a:gd name="T5" fmla="*/ 0 h 372"/>
                <a:gd name="T6" fmla="*/ 2147483647 w 221"/>
                <a:gd name="T7" fmla="*/ 2147483647 h 372"/>
                <a:gd name="T8" fmla="*/ 2147483647 w 221"/>
                <a:gd name="T9" fmla="*/ 2147483647 h 372"/>
                <a:gd name="T10" fmla="*/ 2147483647 w 221"/>
                <a:gd name="T11" fmla="*/ 2147483647 h 372"/>
                <a:gd name="T12" fmla="*/ 2147483647 w 221"/>
                <a:gd name="T13" fmla="*/ 2147483647 h 372"/>
                <a:gd name="T14" fmla="*/ 2147483647 w 221"/>
                <a:gd name="T15" fmla="*/ 2147483647 h 372"/>
                <a:gd name="T16" fmla="*/ 2147483647 w 221"/>
                <a:gd name="T17" fmla="*/ 2147483647 h 372"/>
                <a:gd name="T18" fmla="*/ 2147483647 w 221"/>
                <a:gd name="T19" fmla="*/ 2147483647 h 372"/>
                <a:gd name="T20" fmla="*/ 2147483647 w 221"/>
                <a:gd name="T21" fmla="*/ 2147483647 h 372"/>
                <a:gd name="T22" fmla="*/ 2147483647 w 221"/>
                <a:gd name="T23" fmla="*/ 2147483647 h 372"/>
                <a:gd name="T24" fmla="*/ 2147483647 w 221"/>
                <a:gd name="T25" fmla="*/ 2147483647 h 372"/>
                <a:gd name="T26" fmla="*/ 2147483647 w 221"/>
                <a:gd name="T27" fmla="*/ 2147483647 h 372"/>
                <a:gd name="T28" fmla="*/ 2147483647 w 221"/>
                <a:gd name="T29" fmla="*/ 2147483647 h 372"/>
                <a:gd name="T30" fmla="*/ 2147483647 w 221"/>
                <a:gd name="T31" fmla="*/ 2147483647 h 372"/>
                <a:gd name="T32" fmla="*/ 2147483647 w 221"/>
                <a:gd name="T33" fmla="*/ 2147483647 h 372"/>
                <a:gd name="T34" fmla="*/ 2147483647 w 221"/>
                <a:gd name="T35" fmla="*/ 2147483647 h 372"/>
                <a:gd name="T36" fmla="*/ 2147483647 w 221"/>
                <a:gd name="T37" fmla="*/ 2147483647 h 372"/>
                <a:gd name="T38" fmla="*/ 2147483647 w 221"/>
                <a:gd name="T39" fmla="*/ 2147483647 h 372"/>
                <a:gd name="T40" fmla="*/ 2147483647 w 221"/>
                <a:gd name="T41" fmla="*/ 2147483647 h 372"/>
                <a:gd name="T42" fmla="*/ 2147483647 w 221"/>
                <a:gd name="T43" fmla="*/ 2147483647 h 372"/>
                <a:gd name="T44" fmla="*/ 2147483647 w 221"/>
                <a:gd name="T45" fmla="*/ 2147483647 h 372"/>
                <a:gd name="T46" fmla="*/ 2147483647 w 221"/>
                <a:gd name="T47" fmla="*/ 2147483647 h 372"/>
                <a:gd name="T48" fmla="*/ 2147483647 w 221"/>
                <a:gd name="T49" fmla="*/ 2147483647 h 372"/>
                <a:gd name="T50" fmla="*/ 2147483647 w 221"/>
                <a:gd name="T51" fmla="*/ 2147483647 h 372"/>
                <a:gd name="T52" fmla="*/ 2147483647 w 221"/>
                <a:gd name="T53" fmla="*/ 2147483647 h 372"/>
                <a:gd name="T54" fmla="*/ 2147483647 w 221"/>
                <a:gd name="T55" fmla="*/ 2147483647 h 372"/>
                <a:gd name="T56" fmla="*/ 2147483647 w 221"/>
                <a:gd name="T57" fmla="*/ 2147483647 h 372"/>
                <a:gd name="T58" fmla="*/ 2147483647 w 221"/>
                <a:gd name="T59" fmla="*/ 2147483647 h 372"/>
                <a:gd name="T60" fmla="*/ 2147483647 w 221"/>
                <a:gd name="T61" fmla="*/ 2147483647 h 372"/>
                <a:gd name="T62" fmla="*/ 2147483647 w 221"/>
                <a:gd name="T63" fmla="*/ 2147483647 h 372"/>
                <a:gd name="T64" fmla="*/ 2147483647 w 221"/>
                <a:gd name="T65" fmla="*/ 2147483647 h 372"/>
                <a:gd name="T66" fmla="*/ 2147483647 w 221"/>
                <a:gd name="T67" fmla="*/ 2147483647 h 372"/>
                <a:gd name="T68" fmla="*/ 2147483647 w 221"/>
                <a:gd name="T69" fmla="*/ 2147483647 h 372"/>
                <a:gd name="T70" fmla="*/ 2147483647 w 221"/>
                <a:gd name="T71" fmla="*/ 2147483647 h 372"/>
                <a:gd name="T72" fmla="*/ 2147483647 w 221"/>
                <a:gd name="T73" fmla="*/ 2147483647 h 372"/>
                <a:gd name="T74" fmla="*/ 2147483647 w 221"/>
                <a:gd name="T75" fmla="*/ 2147483647 h 372"/>
                <a:gd name="T76" fmla="*/ 2147483647 w 221"/>
                <a:gd name="T77" fmla="*/ 2147483647 h 372"/>
                <a:gd name="T78" fmla="*/ 2147483647 w 221"/>
                <a:gd name="T79" fmla="*/ 2147483647 h 372"/>
                <a:gd name="T80" fmla="*/ 2147483647 w 221"/>
                <a:gd name="T81" fmla="*/ 2147483647 h 372"/>
                <a:gd name="T82" fmla="*/ 2147483647 w 221"/>
                <a:gd name="T83" fmla="*/ 2147483647 h 372"/>
                <a:gd name="T84" fmla="*/ 2147483647 w 221"/>
                <a:gd name="T85" fmla="*/ 2147483647 h 372"/>
                <a:gd name="T86" fmla="*/ 2147483647 w 221"/>
                <a:gd name="T87" fmla="*/ 2147483647 h 372"/>
                <a:gd name="T88" fmla="*/ 2147483647 w 221"/>
                <a:gd name="T89" fmla="*/ 2147483647 h 372"/>
                <a:gd name="T90" fmla="*/ 2147483647 w 221"/>
                <a:gd name="T91" fmla="*/ 2147483647 h 372"/>
                <a:gd name="T92" fmla="*/ 2147483647 w 221"/>
                <a:gd name="T93" fmla="*/ 2147483647 h 372"/>
                <a:gd name="T94" fmla="*/ 2147483647 w 221"/>
                <a:gd name="T95" fmla="*/ 2147483647 h 372"/>
                <a:gd name="T96" fmla="*/ 2147483647 w 221"/>
                <a:gd name="T97" fmla="*/ 2147483647 h 372"/>
                <a:gd name="T98" fmla="*/ 2147483647 w 221"/>
                <a:gd name="T99" fmla="*/ 2147483647 h 372"/>
                <a:gd name="T100" fmla="*/ 2147483647 w 221"/>
                <a:gd name="T101" fmla="*/ 2147483647 h 372"/>
                <a:gd name="T102" fmla="*/ 2147483647 w 221"/>
                <a:gd name="T103" fmla="*/ 2147483647 h 372"/>
                <a:gd name="T104" fmla="*/ 2147483647 w 221"/>
                <a:gd name="T105" fmla="*/ 2147483647 h 372"/>
                <a:gd name="T106" fmla="*/ 2147483647 w 221"/>
                <a:gd name="T107" fmla="*/ 2147483647 h 372"/>
                <a:gd name="T108" fmla="*/ 2147483647 w 221"/>
                <a:gd name="T109" fmla="*/ 2147483647 h 3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1"/>
                <a:gd name="T166" fmla="*/ 0 h 372"/>
                <a:gd name="T167" fmla="*/ 221 w 221"/>
                <a:gd name="T168" fmla="*/ 372 h 3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1" h="372">
                  <a:moveTo>
                    <a:pt x="221" y="89"/>
                  </a:moveTo>
                  <a:lnTo>
                    <a:pt x="219" y="78"/>
                  </a:lnTo>
                  <a:lnTo>
                    <a:pt x="218" y="68"/>
                  </a:lnTo>
                  <a:lnTo>
                    <a:pt x="216" y="46"/>
                  </a:lnTo>
                  <a:lnTo>
                    <a:pt x="215" y="37"/>
                  </a:lnTo>
                  <a:lnTo>
                    <a:pt x="214" y="30"/>
                  </a:lnTo>
                  <a:lnTo>
                    <a:pt x="210" y="24"/>
                  </a:lnTo>
                  <a:lnTo>
                    <a:pt x="209" y="21"/>
                  </a:lnTo>
                  <a:lnTo>
                    <a:pt x="205" y="20"/>
                  </a:lnTo>
                  <a:lnTo>
                    <a:pt x="186" y="13"/>
                  </a:lnTo>
                  <a:lnTo>
                    <a:pt x="176" y="7"/>
                  </a:lnTo>
                  <a:lnTo>
                    <a:pt x="164" y="0"/>
                  </a:lnTo>
                  <a:lnTo>
                    <a:pt x="158" y="7"/>
                  </a:lnTo>
                  <a:lnTo>
                    <a:pt x="153" y="14"/>
                  </a:lnTo>
                  <a:lnTo>
                    <a:pt x="149" y="17"/>
                  </a:lnTo>
                  <a:lnTo>
                    <a:pt x="146" y="18"/>
                  </a:lnTo>
                  <a:lnTo>
                    <a:pt x="143" y="18"/>
                  </a:lnTo>
                  <a:lnTo>
                    <a:pt x="139" y="17"/>
                  </a:lnTo>
                  <a:lnTo>
                    <a:pt x="134" y="15"/>
                  </a:lnTo>
                  <a:lnTo>
                    <a:pt x="129" y="15"/>
                  </a:lnTo>
                  <a:lnTo>
                    <a:pt x="125" y="15"/>
                  </a:lnTo>
                  <a:lnTo>
                    <a:pt x="121" y="18"/>
                  </a:lnTo>
                  <a:lnTo>
                    <a:pt x="117" y="22"/>
                  </a:lnTo>
                  <a:lnTo>
                    <a:pt x="113" y="26"/>
                  </a:lnTo>
                  <a:lnTo>
                    <a:pt x="104" y="31"/>
                  </a:lnTo>
                  <a:lnTo>
                    <a:pt x="94" y="36"/>
                  </a:lnTo>
                  <a:lnTo>
                    <a:pt x="84" y="40"/>
                  </a:lnTo>
                  <a:lnTo>
                    <a:pt x="82" y="43"/>
                  </a:lnTo>
                  <a:lnTo>
                    <a:pt x="79" y="45"/>
                  </a:lnTo>
                  <a:lnTo>
                    <a:pt x="78" y="51"/>
                  </a:lnTo>
                  <a:lnTo>
                    <a:pt x="75" y="56"/>
                  </a:lnTo>
                  <a:lnTo>
                    <a:pt x="71" y="60"/>
                  </a:lnTo>
                  <a:lnTo>
                    <a:pt x="66" y="64"/>
                  </a:lnTo>
                  <a:lnTo>
                    <a:pt x="65" y="65"/>
                  </a:lnTo>
                  <a:lnTo>
                    <a:pt x="64" y="68"/>
                  </a:lnTo>
                  <a:lnTo>
                    <a:pt x="64" y="72"/>
                  </a:lnTo>
                  <a:lnTo>
                    <a:pt x="61" y="76"/>
                  </a:lnTo>
                  <a:lnTo>
                    <a:pt x="58" y="78"/>
                  </a:lnTo>
                  <a:lnTo>
                    <a:pt x="52" y="79"/>
                  </a:lnTo>
                  <a:lnTo>
                    <a:pt x="49" y="83"/>
                  </a:lnTo>
                  <a:lnTo>
                    <a:pt x="47" y="87"/>
                  </a:lnTo>
                  <a:lnTo>
                    <a:pt x="46" y="102"/>
                  </a:lnTo>
                  <a:lnTo>
                    <a:pt x="44" y="109"/>
                  </a:lnTo>
                  <a:lnTo>
                    <a:pt x="40" y="116"/>
                  </a:lnTo>
                  <a:lnTo>
                    <a:pt x="40" y="119"/>
                  </a:lnTo>
                  <a:lnTo>
                    <a:pt x="41" y="121"/>
                  </a:lnTo>
                  <a:lnTo>
                    <a:pt x="45" y="128"/>
                  </a:lnTo>
                  <a:lnTo>
                    <a:pt x="46" y="132"/>
                  </a:lnTo>
                  <a:lnTo>
                    <a:pt x="44" y="134"/>
                  </a:lnTo>
                  <a:lnTo>
                    <a:pt x="41" y="135"/>
                  </a:lnTo>
                  <a:lnTo>
                    <a:pt x="37" y="135"/>
                  </a:lnTo>
                  <a:lnTo>
                    <a:pt x="31" y="133"/>
                  </a:lnTo>
                  <a:lnTo>
                    <a:pt x="26" y="133"/>
                  </a:lnTo>
                  <a:lnTo>
                    <a:pt x="21" y="134"/>
                  </a:lnTo>
                  <a:lnTo>
                    <a:pt x="17" y="136"/>
                  </a:lnTo>
                  <a:lnTo>
                    <a:pt x="14" y="140"/>
                  </a:lnTo>
                  <a:lnTo>
                    <a:pt x="12" y="145"/>
                  </a:lnTo>
                  <a:lnTo>
                    <a:pt x="9" y="155"/>
                  </a:lnTo>
                  <a:lnTo>
                    <a:pt x="8" y="165"/>
                  </a:lnTo>
                  <a:lnTo>
                    <a:pt x="8" y="172"/>
                  </a:lnTo>
                  <a:lnTo>
                    <a:pt x="9" y="179"/>
                  </a:lnTo>
                  <a:lnTo>
                    <a:pt x="9" y="186"/>
                  </a:lnTo>
                  <a:lnTo>
                    <a:pt x="9" y="192"/>
                  </a:lnTo>
                  <a:lnTo>
                    <a:pt x="12" y="198"/>
                  </a:lnTo>
                  <a:lnTo>
                    <a:pt x="13" y="199"/>
                  </a:lnTo>
                  <a:lnTo>
                    <a:pt x="16" y="200"/>
                  </a:lnTo>
                  <a:lnTo>
                    <a:pt x="18" y="203"/>
                  </a:lnTo>
                  <a:lnTo>
                    <a:pt x="19" y="204"/>
                  </a:lnTo>
                  <a:lnTo>
                    <a:pt x="21" y="210"/>
                  </a:lnTo>
                  <a:lnTo>
                    <a:pt x="22" y="212"/>
                  </a:lnTo>
                  <a:lnTo>
                    <a:pt x="21" y="215"/>
                  </a:lnTo>
                  <a:lnTo>
                    <a:pt x="17" y="216"/>
                  </a:lnTo>
                  <a:lnTo>
                    <a:pt x="14" y="217"/>
                  </a:lnTo>
                  <a:lnTo>
                    <a:pt x="13" y="218"/>
                  </a:lnTo>
                  <a:lnTo>
                    <a:pt x="12" y="234"/>
                  </a:lnTo>
                  <a:lnTo>
                    <a:pt x="9" y="245"/>
                  </a:lnTo>
                  <a:lnTo>
                    <a:pt x="5" y="256"/>
                  </a:lnTo>
                  <a:lnTo>
                    <a:pt x="0" y="268"/>
                  </a:lnTo>
                  <a:lnTo>
                    <a:pt x="2" y="269"/>
                  </a:lnTo>
                  <a:lnTo>
                    <a:pt x="3" y="271"/>
                  </a:lnTo>
                  <a:lnTo>
                    <a:pt x="4" y="277"/>
                  </a:lnTo>
                  <a:lnTo>
                    <a:pt x="5" y="283"/>
                  </a:lnTo>
                  <a:lnTo>
                    <a:pt x="7" y="289"/>
                  </a:lnTo>
                  <a:lnTo>
                    <a:pt x="8" y="292"/>
                  </a:lnTo>
                  <a:lnTo>
                    <a:pt x="12" y="294"/>
                  </a:lnTo>
                  <a:lnTo>
                    <a:pt x="12" y="295"/>
                  </a:lnTo>
                  <a:lnTo>
                    <a:pt x="12" y="299"/>
                  </a:lnTo>
                  <a:lnTo>
                    <a:pt x="11" y="301"/>
                  </a:lnTo>
                  <a:lnTo>
                    <a:pt x="11" y="305"/>
                  </a:lnTo>
                  <a:lnTo>
                    <a:pt x="16" y="318"/>
                  </a:lnTo>
                  <a:lnTo>
                    <a:pt x="18" y="324"/>
                  </a:lnTo>
                  <a:lnTo>
                    <a:pt x="22" y="330"/>
                  </a:lnTo>
                  <a:lnTo>
                    <a:pt x="23" y="332"/>
                  </a:lnTo>
                  <a:lnTo>
                    <a:pt x="24" y="334"/>
                  </a:lnTo>
                  <a:lnTo>
                    <a:pt x="26" y="337"/>
                  </a:lnTo>
                  <a:lnTo>
                    <a:pt x="24" y="340"/>
                  </a:lnTo>
                  <a:lnTo>
                    <a:pt x="23" y="346"/>
                  </a:lnTo>
                  <a:lnTo>
                    <a:pt x="24" y="351"/>
                  </a:lnTo>
                  <a:lnTo>
                    <a:pt x="26" y="356"/>
                  </a:lnTo>
                  <a:lnTo>
                    <a:pt x="27" y="359"/>
                  </a:lnTo>
                  <a:lnTo>
                    <a:pt x="27" y="363"/>
                  </a:lnTo>
                  <a:lnTo>
                    <a:pt x="24" y="371"/>
                  </a:lnTo>
                  <a:lnTo>
                    <a:pt x="31" y="372"/>
                  </a:lnTo>
                  <a:lnTo>
                    <a:pt x="37" y="372"/>
                  </a:lnTo>
                  <a:lnTo>
                    <a:pt x="51" y="372"/>
                  </a:lnTo>
                  <a:lnTo>
                    <a:pt x="52" y="371"/>
                  </a:lnTo>
                  <a:lnTo>
                    <a:pt x="54" y="369"/>
                  </a:lnTo>
                  <a:lnTo>
                    <a:pt x="55" y="365"/>
                  </a:lnTo>
                  <a:lnTo>
                    <a:pt x="58" y="360"/>
                  </a:lnTo>
                  <a:lnTo>
                    <a:pt x="59" y="356"/>
                  </a:lnTo>
                  <a:lnTo>
                    <a:pt x="60" y="351"/>
                  </a:lnTo>
                  <a:lnTo>
                    <a:pt x="63" y="347"/>
                  </a:lnTo>
                  <a:lnTo>
                    <a:pt x="66" y="345"/>
                  </a:lnTo>
                  <a:lnTo>
                    <a:pt x="70" y="344"/>
                  </a:lnTo>
                  <a:lnTo>
                    <a:pt x="75" y="341"/>
                  </a:lnTo>
                  <a:lnTo>
                    <a:pt x="79" y="338"/>
                  </a:lnTo>
                  <a:lnTo>
                    <a:pt x="87" y="326"/>
                  </a:lnTo>
                  <a:lnTo>
                    <a:pt x="91" y="318"/>
                  </a:lnTo>
                  <a:lnTo>
                    <a:pt x="94" y="309"/>
                  </a:lnTo>
                  <a:lnTo>
                    <a:pt x="97" y="302"/>
                  </a:lnTo>
                  <a:lnTo>
                    <a:pt x="97" y="295"/>
                  </a:lnTo>
                  <a:lnTo>
                    <a:pt x="97" y="293"/>
                  </a:lnTo>
                  <a:lnTo>
                    <a:pt x="96" y="289"/>
                  </a:lnTo>
                  <a:lnTo>
                    <a:pt x="93" y="288"/>
                  </a:lnTo>
                  <a:lnTo>
                    <a:pt x="91" y="286"/>
                  </a:lnTo>
                  <a:lnTo>
                    <a:pt x="91" y="283"/>
                  </a:lnTo>
                  <a:lnTo>
                    <a:pt x="91" y="281"/>
                  </a:lnTo>
                  <a:lnTo>
                    <a:pt x="96" y="277"/>
                  </a:lnTo>
                  <a:lnTo>
                    <a:pt x="102" y="276"/>
                  </a:lnTo>
                  <a:lnTo>
                    <a:pt x="107" y="274"/>
                  </a:lnTo>
                  <a:lnTo>
                    <a:pt x="112" y="271"/>
                  </a:lnTo>
                  <a:lnTo>
                    <a:pt x="115" y="268"/>
                  </a:lnTo>
                  <a:lnTo>
                    <a:pt x="115" y="266"/>
                  </a:lnTo>
                  <a:lnTo>
                    <a:pt x="115" y="263"/>
                  </a:lnTo>
                  <a:lnTo>
                    <a:pt x="112" y="262"/>
                  </a:lnTo>
                  <a:lnTo>
                    <a:pt x="110" y="261"/>
                  </a:lnTo>
                  <a:lnTo>
                    <a:pt x="106" y="260"/>
                  </a:lnTo>
                  <a:lnTo>
                    <a:pt x="101" y="261"/>
                  </a:lnTo>
                  <a:lnTo>
                    <a:pt x="99" y="262"/>
                  </a:lnTo>
                  <a:lnTo>
                    <a:pt x="97" y="261"/>
                  </a:lnTo>
                  <a:lnTo>
                    <a:pt x="97" y="260"/>
                  </a:lnTo>
                  <a:lnTo>
                    <a:pt x="97" y="258"/>
                  </a:lnTo>
                  <a:lnTo>
                    <a:pt x="99" y="257"/>
                  </a:lnTo>
                  <a:lnTo>
                    <a:pt x="103" y="257"/>
                  </a:lnTo>
                  <a:lnTo>
                    <a:pt x="107" y="257"/>
                  </a:lnTo>
                  <a:lnTo>
                    <a:pt x="111" y="258"/>
                  </a:lnTo>
                  <a:lnTo>
                    <a:pt x="115" y="260"/>
                  </a:lnTo>
                  <a:lnTo>
                    <a:pt x="116" y="260"/>
                  </a:lnTo>
                  <a:lnTo>
                    <a:pt x="117" y="261"/>
                  </a:lnTo>
                  <a:lnTo>
                    <a:pt x="118" y="263"/>
                  </a:lnTo>
                  <a:lnTo>
                    <a:pt x="118" y="267"/>
                  </a:lnTo>
                  <a:lnTo>
                    <a:pt x="121" y="269"/>
                  </a:lnTo>
                  <a:lnTo>
                    <a:pt x="122" y="266"/>
                  </a:lnTo>
                  <a:lnTo>
                    <a:pt x="125" y="263"/>
                  </a:lnTo>
                  <a:lnTo>
                    <a:pt x="127" y="261"/>
                  </a:lnTo>
                  <a:lnTo>
                    <a:pt x="132" y="261"/>
                  </a:lnTo>
                  <a:lnTo>
                    <a:pt x="134" y="261"/>
                  </a:lnTo>
                  <a:lnTo>
                    <a:pt x="132" y="258"/>
                  </a:lnTo>
                  <a:lnTo>
                    <a:pt x="131" y="256"/>
                  </a:lnTo>
                  <a:lnTo>
                    <a:pt x="131" y="254"/>
                  </a:lnTo>
                  <a:lnTo>
                    <a:pt x="134" y="249"/>
                  </a:lnTo>
                  <a:lnTo>
                    <a:pt x="135" y="245"/>
                  </a:lnTo>
                  <a:lnTo>
                    <a:pt x="135" y="243"/>
                  </a:lnTo>
                  <a:lnTo>
                    <a:pt x="135" y="242"/>
                  </a:lnTo>
                  <a:lnTo>
                    <a:pt x="132" y="241"/>
                  </a:lnTo>
                  <a:lnTo>
                    <a:pt x="129" y="241"/>
                  </a:lnTo>
                  <a:lnTo>
                    <a:pt x="127" y="238"/>
                  </a:lnTo>
                  <a:lnTo>
                    <a:pt x="125" y="236"/>
                  </a:lnTo>
                  <a:lnTo>
                    <a:pt x="117" y="236"/>
                  </a:lnTo>
                  <a:lnTo>
                    <a:pt x="113" y="235"/>
                  </a:lnTo>
                  <a:lnTo>
                    <a:pt x="111" y="232"/>
                  </a:lnTo>
                  <a:lnTo>
                    <a:pt x="106" y="219"/>
                  </a:lnTo>
                  <a:lnTo>
                    <a:pt x="103" y="204"/>
                  </a:lnTo>
                  <a:lnTo>
                    <a:pt x="103" y="197"/>
                  </a:lnTo>
                  <a:lnTo>
                    <a:pt x="103" y="190"/>
                  </a:lnTo>
                  <a:lnTo>
                    <a:pt x="106" y="183"/>
                  </a:lnTo>
                  <a:lnTo>
                    <a:pt x="108" y="175"/>
                  </a:lnTo>
                  <a:lnTo>
                    <a:pt x="110" y="174"/>
                  </a:lnTo>
                  <a:lnTo>
                    <a:pt x="111" y="173"/>
                  </a:lnTo>
                  <a:lnTo>
                    <a:pt x="115" y="173"/>
                  </a:lnTo>
                  <a:lnTo>
                    <a:pt x="118" y="173"/>
                  </a:lnTo>
                  <a:lnTo>
                    <a:pt x="121" y="173"/>
                  </a:lnTo>
                  <a:lnTo>
                    <a:pt x="125" y="165"/>
                  </a:lnTo>
                  <a:lnTo>
                    <a:pt x="127" y="162"/>
                  </a:lnTo>
                  <a:lnTo>
                    <a:pt x="132" y="161"/>
                  </a:lnTo>
                  <a:lnTo>
                    <a:pt x="140" y="159"/>
                  </a:lnTo>
                  <a:lnTo>
                    <a:pt x="143" y="158"/>
                  </a:lnTo>
                  <a:lnTo>
                    <a:pt x="144" y="156"/>
                  </a:lnTo>
                  <a:lnTo>
                    <a:pt x="146" y="151"/>
                  </a:lnTo>
                  <a:lnTo>
                    <a:pt x="149" y="148"/>
                  </a:lnTo>
                  <a:lnTo>
                    <a:pt x="150" y="148"/>
                  </a:lnTo>
                  <a:lnTo>
                    <a:pt x="154" y="147"/>
                  </a:lnTo>
                  <a:lnTo>
                    <a:pt x="158" y="146"/>
                  </a:lnTo>
                  <a:lnTo>
                    <a:pt x="162" y="141"/>
                  </a:lnTo>
                  <a:lnTo>
                    <a:pt x="165" y="136"/>
                  </a:lnTo>
                  <a:lnTo>
                    <a:pt x="169" y="132"/>
                  </a:lnTo>
                  <a:lnTo>
                    <a:pt x="173" y="129"/>
                  </a:lnTo>
                  <a:lnTo>
                    <a:pt x="174" y="128"/>
                  </a:lnTo>
                  <a:lnTo>
                    <a:pt x="174" y="127"/>
                  </a:lnTo>
                  <a:lnTo>
                    <a:pt x="172" y="120"/>
                  </a:lnTo>
                  <a:lnTo>
                    <a:pt x="172" y="113"/>
                  </a:lnTo>
                  <a:lnTo>
                    <a:pt x="176" y="107"/>
                  </a:lnTo>
                  <a:lnTo>
                    <a:pt x="182" y="101"/>
                  </a:lnTo>
                  <a:lnTo>
                    <a:pt x="186" y="96"/>
                  </a:lnTo>
                  <a:lnTo>
                    <a:pt x="188" y="94"/>
                  </a:lnTo>
                  <a:lnTo>
                    <a:pt x="191" y="91"/>
                  </a:lnTo>
                  <a:lnTo>
                    <a:pt x="192" y="91"/>
                  </a:lnTo>
                  <a:lnTo>
                    <a:pt x="195" y="92"/>
                  </a:lnTo>
                  <a:lnTo>
                    <a:pt x="196" y="94"/>
                  </a:lnTo>
                  <a:lnTo>
                    <a:pt x="198" y="94"/>
                  </a:lnTo>
                  <a:lnTo>
                    <a:pt x="200" y="92"/>
                  </a:lnTo>
                  <a:lnTo>
                    <a:pt x="201" y="90"/>
                  </a:lnTo>
                  <a:lnTo>
                    <a:pt x="204" y="88"/>
                  </a:lnTo>
                  <a:lnTo>
                    <a:pt x="205" y="87"/>
                  </a:lnTo>
                  <a:lnTo>
                    <a:pt x="206" y="88"/>
                  </a:lnTo>
                  <a:lnTo>
                    <a:pt x="207" y="89"/>
                  </a:lnTo>
                  <a:lnTo>
                    <a:pt x="209" y="90"/>
                  </a:lnTo>
                  <a:lnTo>
                    <a:pt x="211" y="91"/>
                  </a:lnTo>
                  <a:lnTo>
                    <a:pt x="214" y="92"/>
                  </a:lnTo>
                  <a:lnTo>
                    <a:pt x="216" y="91"/>
                  </a:lnTo>
                  <a:lnTo>
                    <a:pt x="221" y="8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2" name="Freeform 1261"/>
            <p:cNvSpPr>
              <a:spLocks/>
            </p:cNvSpPr>
            <p:nvPr/>
          </p:nvSpPr>
          <p:spPr bwMode="auto">
            <a:xfrm>
              <a:off x="4799013" y="2424117"/>
              <a:ext cx="30162" cy="52387"/>
            </a:xfrm>
            <a:custGeom>
              <a:avLst/>
              <a:gdLst>
                <a:gd name="T0" fmla="*/ 2147483647 w 20"/>
                <a:gd name="T1" fmla="*/ 2147483647 h 33"/>
                <a:gd name="T2" fmla="*/ 2147483647 w 20"/>
                <a:gd name="T3" fmla="*/ 2147483647 h 33"/>
                <a:gd name="T4" fmla="*/ 2147483647 w 20"/>
                <a:gd name="T5" fmla="*/ 2147483647 h 33"/>
                <a:gd name="T6" fmla="*/ 2147483647 w 20"/>
                <a:gd name="T7" fmla="*/ 2147483647 h 33"/>
                <a:gd name="T8" fmla="*/ 2147483647 w 20"/>
                <a:gd name="T9" fmla="*/ 2147483647 h 33"/>
                <a:gd name="T10" fmla="*/ 2147483647 w 20"/>
                <a:gd name="T11" fmla="*/ 2147483647 h 33"/>
                <a:gd name="T12" fmla="*/ 2147483647 w 20"/>
                <a:gd name="T13" fmla="*/ 2147483647 h 33"/>
                <a:gd name="T14" fmla="*/ 2147483647 w 20"/>
                <a:gd name="T15" fmla="*/ 0 h 33"/>
                <a:gd name="T16" fmla="*/ 2147483647 w 20"/>
                <a:gd name="T17" fmla="*/ 0 h 33"/>
                <a:gd name="T18" fmla="*/ 2147483647 w 20"/>
                <a:gd name="T19" fmla="*/ 2147483647 h 33"/>
                <a:gd name="T20" fmla="*/ 2147483647 w 20"/>
                <a:gd name="T21" fmla="*/ 2147483647 h 33"/>
                <a:gd name="T22" fmla="*/ 2147483647 w 20"/>
                <a:gd name="T23" fmla="*/ 2147483647 h 33"/>
                <a:gd name="T24" fmla="*/ 2147483647 w 20"/>
                <a:gd name="T25" fmla="*/ 2147483647 h 33"/>
                <a:gd name="T26" fmla="*/ 2147483647 w 20"/>
                <a:gd name="T27" fmla="*/ 2147483647 h 33"/>
                <a:gd name="T28" fmla="*/ 2147483647 w 20"/>
                <a:gd name="T29" fmla="*/ 2147483647 h 33"/>
                <a:gd name="T30" fmla="*/ 2147483647 w 20"/>
                <a:gd name="T31" fmla="*/ 2147483647 h 33"/>
                <a:gd name="T32" fmla="*/ 0 w 20"/>
                <a:gd name="T33" fmla="*/ 2147483647 h 33"/>
                <a:gd name="T34" fmla="*/ 2147483647 w 20"/>
                <a:gd name="T35" fmla="*/ 2147483647 h 33"/>
                <a:gd name="T36" fmla="*/ 2147483647 w 20"/>
                <a:gd name="T37" fmla="*/ 2147483647 h 33"/>
                <a:gd name="T38" fmla="*/ 2147483647 w 20"/>
                <a:gd name="T39" fmla="*/ 2147483647 h 33"/>
                <a:gd name="T40" fmla="*/ 2147483647 w 20"/>
                <a:gd name="T41" fmla="*/ 2147483647 h 33"/>
                <a:gd name="T42" fmla="*/ 2147483647 w 20"/>
                <a:gd name="T43" fmla="*/ 2147483647 h 33"/>
                <a:gd name="T44" fmla="*/ 2147483647 w 20"/>
                <a:gd name="T45" fmla="*/ 2147483647 h 33"/>
                <a:gd name="T46" fmla="*/ 2147483647 w 20"/>
                <a:gd name="T47" fmla="*/ 2147483647 h 33"/>
                <a:gd name="T48" fmla="*/ 2147483647 w 20"/>
                <a:gd name="T49" fmla="*/ 2147483647 h 33"/>
                <a:gd name="T50" fmla="*/ 2147483647 w 20"/>
                <a:gd name="T51" fmla="*/ 2147483647 h 33"/>
                <a:gd name="T52" fmla="*/ 2147483647 w 20"/>
                <a:gd name="T53" fmla="*/ 2147483647 h 33"/>
                <a:gd name="T54" fmla="*/ 2147483647 w 20"/>
                <a:gd name="T55" fmla="*/ 2147483647 h 33"/>
                <a:gd name="T56" fmla="*/ 2147483647 w 20"/>
                <a:gd name="T57" fmla="*/ 2147483647 h 33"/>
                <a:gd name="T58" fmla="*/ 2147483647 w 20"/>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33"/>
                <a:gd name="T92" fmla="*/ 20 w 20"/>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33">
                  <a:moveTo>
                    <a:pt x="18" y="14"/>
                  </a:moveTo>
                  <a:lnTo>
                    <a:pt x="18" y="14"/>
                  </a:lnTo>
                  <a:lnTo>
                    <a:pt x="16" y="11"/>
                  </a:lnTo>
                  <a:lnTo>
                    <a:pt x="18" y="9"/>
                  </a:lnTo>
                  <a:lnTo>
                    <a:pt x="20" y="5"/>
                  </a:lnTo>
                  <a:lnTo>
                    <a:pt x="20" y="1"/>
                  </a:lnTo>
                  <a:lnTo>
                    <a:pt x="20" y="0"/>
                  </a:lnTo>
                  <a:lnTo>
                    <a:pt x="14" y="1"/>
                  </a:lnTo>
                  <a:lnTo>
                    <a:pt x="9" y="4"/>
                  </a:lnTo>
                  <a:lnTo>
                    <a:pt x="4" y="7"/>
                  </a:lnTo>
                  <a:lnTo>
                    <a:pt x="2" y="9"/>
                  </a:lnTo>
                  <a:lnTo>
                    <a:pt x="1" y="12"/>
                  </a:lnTo>
                  <a:lnTo>
                    <a:pt x="1" y="18"/>
                  </a:lnTo>
                  <a:lnTo>
                    <a:pt x="0" y="24"/>
                  </a:lnTo>
                  <a:lnTo>
                    <a:pt x="1" y="30"/>
                  </a:lnTo>
                  <a:lnTo>
                    <a:pt x="2" y="32"/>
                  </a:lnTo>
                  <a:lnTo>
                    <a:pt x="5" y="33"/>
                  </a:lnTo>
                  <a:lnTo>
                    <a:pt x="6" y="26"/>
                  </a:lnTo>
                  <a:lnTo>
                    <a:pt x="8" y="24"/>
                  </a:lnTo>
                  <a:lnTo>
                    <a:pt x="11" y="21"/>
                  </a:lnTo>
                  <a:lnTo>
                    <a:pt x="13" y="20"/>
                  </a:lnTo>
                  <a:lnTo>
                    <a:pt x="15" y="18"/>
                  </a:lnTo>
                  <a:lnTo>
                    <a:pt x="18" y="15"/>
                  </a:lnTo>
                  <a:lnTo>
                    <a:pt x="18"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3" name="Freeform 1262"/>
            <p:cNvSpPr>
              <a:spLocks/>
            </p:cNvSpPr>
            <p:nvPr/>
          </p:nvSpPr>
          <p:spPr bwMode="auto">
            <a:xfrm>
              <a:off x="4627563" y="1955800"/>
              <a:ext cx="323850" cy="590550"/>
            </a:xfrm>
            <a:custGeom>
              <a:avLst/>
              <a:gdLst>
                <a:gd name="T0" fmla="*/ 2147483647 w 221"/>
                <a:gd name="T1" fmla="*/ 2147483647 h 372"/>
                <a:gd name="T2" fmla="*/ 2147483647 w 221"/>
                <a:gd name="T3" fmla="*/ 2147483647 h 372"/>
                <a:gd name="T4" fmla="*/ 2147483647 w 221"/>
                <a:gd name="T5" fmla="*/ 0 h 372"/>
                <a:gd name="T6" fmla="*/ 2147483647 w 221"/>
                <a:gd name="T7" fmla="*/ 2147483647 h 372"/>
                <a:gd name="T8" fmla="*/ 2147483647 w 221"/>
                <a:gd name="T9" fmla="*/ 2147483647 h 372"/>
                <a:gd name="T10" fmla="*/ 2147483647 w 221"/>
                <a:gd name="T11" fmla="*/ 2147483647 h 372"/>
                <a:gd name="T12" fmla="*/ 2147483647 w 221"/>
                <a:gd name="T13" fmla="*/ 2147483647 h 372"/>
                <a:gd name="T14" fmla="*/ 2147483647 w 221"/>
                <a:gd name="T15" fmla="*/ 2147483647 h 372"/>
                <a:gd name="T16" fmla="*/ 2147483647 w 221"/>
                <a:gd name="T17" fmla="*/ 2147483647 h 372"/>
                <a:gd name="T18" fmla="*/ 2147483647 w 221"/>
                <a:gd name="T19" fmla="*/ 2147483647 h 372"/>
                <a:gd name="T20" fmla="*/ 2147483647 w 221"/>
                <a:gd name="T21" fmla="*/ 2147483647 h 372"/>
                <a:gd name="T22" fmla="*/ 2147483647 w 221"/>
                <a:gd name="T23" fmla="*/ 2147483647 h 372"/>
                <a:gd name="T24" fmla="*/ 2147483647 w 221"/>
                <a:gd name="T25" fmla="*/ 2147483647 h 372"/>
                <a:gd name="T26" fmla="*/ 2147483647 w 221"/>
                <a:gd name="T27" fmla="*/ 2147483647 h 372"/>
                <a:gd name="T28" fmla="*/ 2147483647 w 221"/>
                <a:gd name="T29" fmla="*/ 2147483647 h 372"/>
                <a:gd name="T30" fmla="*/ 2147483647 w 221"/>
                <a:gd name="T31" fmla="*/ 2147483647 h 372"/>
                <a:gd name="T32" fmla="*/ 2147483647 w 221"/>
                <a:gd name="T33" fmla="*/ 2147483647 h 372"/>
                <a:gd name="T34" fmla="*/ 2147483647 w 221"/>
                <a:gd name="T35" fmla="*/ 2147483647 h 372"/>
                <a:gd name="T36" fmla="*/ 2147483647 w 221"/>
                <a:gd name="T37" fmla="*/ 2147483647 h 372"/>
                <a:gd name="T38" fmla="*/ 0 w 221"/>
                <a:gd name="T39" fmla="*/ 2147483647 h 372"/>
                <a:gd name="T40" fmla="*/ 2147483647 w 221"/>
                <a:gd name="T41" fmla="*/ 2147483647 h 372"/>
                <a:gd name="T42" fmla="*/ 2147483647 w 221"/>
                <a:gd name="T43" fmla="*/ 2147483647 h 372"/>
                <a:gd name="T44" fmla="*/ 2147483647 w 221"/>
                <a:gd name="T45" fmla="*/ 2147483647 h 372"/>
                <a:gd name="T46" fmla="*/ 2147483647 w 221"/>
                <a:gd name="T47" fmla="*/ 2147483647 h 372"/>
                <a:gd name="T48" fmla="*/ 2147483647 w 221"/>
                <a:gd name="T49" fmla="*/ 2147483647 h 372"/>
                <a:gd name="T50" fmla="*/ 2147483647 w 221"/>
                <a:gd name="T51" fmla="*/ 2147483647 h 372"/>
                <a:gd name="T52" fmla="*/ 2147483647 w 221"/>
                <a:gd name="T53" fmla="*/ 2147483647 h 372"/>
                <a:gd name="T54" fmla="*/ 2147483647 w 221"/>
                <a:gd name="T55" fmla="*/ 2147483647 h 372"/>
                <a:gd name="T56" fmla="*/ 2147483647 w 221"/>
                <a:gd name="T57" fmla="*/ 2147483647 h 372"/>
                <a:gd name="T58" fmla="*/ 2147483647 w 221"/>
                <a:gd name="T59" fmla="*/ 2147483647 h 372"/>
                <a:gd name="T60" fmla="*/ 2147483647 w 221"/>
                <a:gd name="T61" fmla="*/ 2147483647 h 372"/>
                <a:gd name="T62" fmla="*/ 2147483647 w 221"/>
                <a:gd name="T63" fmla="*/ 2147483647 h 372"/>
                <a:gd name="T64" fmla="*/ 2147483647 w 221"/>
                <a:gd name="T65" fmla="*/ 2147483647 h 372"/>
                <a:gd name="T66" fmla="*/ 2147483647 w 221"/>
                <a:gd name="T67" fmla="*/ 2147483647 h 372"/>
                <a:gd name="T68" fmla="*/ 2147483647 w 221"/>
                <a:gd name="T69" fmla="*/ 2147483647 h 372"/>
                <a:gd name="T70" fmla="*/ 2147483647 w 221"/>
                <a:gd name="T71" fmla="*/ 2147483647 h 372"/>
                <a:gd name="T72" fmla="*/ 2147483647 w 221"/>
                <a:gd name="T73" fmla="*/ 2147483647 h 372"/>
                <a:gd name="T74" fmla="*/ 2147483647 w 221"/>
                <a:gd name="T75" fmla="*/ 2147483647 h 372"/>
                <a:gd name="T76" fmla="*/ 2147483647 w 221"/>
                <a:gd name="T77" fmla="*/ 2147483647 h 372"/>
                <a:gd name="T78" fmla="*/ 2147483647 w 221"/>
                <a:gd name="T79" fmla="*/ 2147483647 h 372"/>
                <a:gd name="T80" fmla="*/ 2147483647 w 221"/>
                <a:gd name="T81" fmla="*/ 2147483647 h 372"/>
                <a:gd name="T82" fmla="*/ 2147483647 w 221"/>
                <a:gd name="T83" fmla="*/ 2147483647 h 372"/>
                <a:gd name="T84" fmla="*/ 2147483647 w 221"/>
                <a:gd name="T85" fmla="*/ 2147483647 h 372"/>
                <a:gd name="T86" fmla="*/ 2147483647 w 221"/>
                <a:gd name="T87" fmla="*/ 2147483647 h 372"/>
                <a:gd name="T88" fmla="*/ 2147483647 w 221"/>
                <a:gd name="T89" fmla="*/ 2147483647 h 372"/>
                <a:gd name="T90" fmla="*/ 2147483647 w 221"/>
                <a:gd name="T91" fmla="*/ 2147483647 h 372"/>
                <a:gd name="T92" fmla="*/ 2147483647 w 221"/>
                <a:gd name="T93" fmla="*/ 2147483647 h 372"/>
                <a:gd name="T94" fmla="*/ 2147483647 w 221"/>
                <a:gd name="T95" fmla="*/ 2147483647 h 372"/>
                <a:gd name="T96" fmla="*/ 2147483647 w 221"/>
                <a:gd name="T97" fmla="*/ 2147483647 h 372"/>
                <a:gd name="T98" fmla="*/ 2147483647 w 221"/>
                <a:gd name="T99" fmla="*/ 2147483647 h 372"/>
                <a:gd name="T100" fmla="*/ 2147483647 w 221"/>
                <a:gd name="T101" fmla="*/ 2147483647 h 372"/>
                <a:gd name="T102" fmla="*/ 2147483647 w 221"/>
                <a:gd name="T103" fmla="*/ 2147483647 h 372"/>
                <a:gd name="T104" fmla="*/ 2147483647 w 221"/>
                <a:gd name="T105" fmla="*/ 2147483647 h 372"/>
                <a:gd name="T106" fmla="*/ 2147483647 w 221"/>
                <a:gd name="T107" fmla="*/ 2147483647 h 372"/>
                <a:gd name="T108" fmla="*/ 2147483647 w 221"/>
                <a:gd name="T109" fmla="*/ 2147483647 h 372"/>
                <a:gd name="T110" fmla="*/ 2147483647 w 221"/>
                <a:gd name="T111" fmla="*/ 2147483647 h 372"/>
                <a:gd name="T112" fmla="*/ 2147483647 w 221"/>
                <a:gd name="T113" fmla="*/ 2147483647 h 3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1"/>
                <a:gd name="T172" fmla="*/ 0 h 372"/>
                <a:gd name="T173" fmla="*/ 221 w 221"/>
                <a:gd name="T174" fmla="*/ 372 h 3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1" h="372">
                  <a:moveTo>
                    <a:pt x="221" y="89"/>
                  </a:moveTo>
                  <a:lnTo>
                    <a:pt x="221" y="89"/>
                  </a:lnTo>
                  <a:lnTo>
                    <a:pt x="219" y="78"/>
                  </a:lnTo>
                  <a:lnTo>
                    <a:pt x="217" y="67"/>
                  </a:lnTo>
                  <a:lnTo>
                    <a:pt x="216" y="46"/>
                  </a:lnTo>
                  <a:lnTo>
                    <a:pt x="215" y="37"/>
                  </a:lnTo>
                  <a:lnTo>
                    <a:pt x="213" y="29"/>
                  </a:lnTo>
                  <a:lnTo>
                    <a:pt x="210" y="23"/>
                  </a:lnTo>
                  <a:lnTo>
                    <a:pt x="208" y="21"/>
                  </a:lnTo>
                  <a:lnTo>
                    <a:pt x="205" y="20"/>
                  </a:lnTo>
                  <a:lnTo>
                    <a:pt x="185" y="13"/>
                  </a:lnTo>
                  <a:lnTo>
                    <a:pt x="175" y="7"/>
                  </a:lnTo>
                  <a:lnTo>
                    <a:pt x="164" y="0"/>
                  </a:lnTo>
                  <a:lnTo>
                    <a:pt x="158" y="7"/>
                  </a:lnTo>
                  <a:lnTo>
                    <a:pt x="152" y="14"/>
                  </a:lnTo>
                  <a:lnTo>
                    <a:pt x="149" y="16"/>
                  </a:lnTo>
                  <a:lnTo>
                    <a:pt x="146" y="18"/>
                  </a:lnTo>
                  <a:lnTo>
                    <a:pt x="142" y="18"/>
                  </a:lnTo>
                  <a:lnTo>
                    <a:pt x="139" y="16"/>
                  </a:lnTo>
                  <a:lnTo>
                    <a:pt x="133" y="15"/>
                  </a:lnTo>
                  <a:lnTo>
                    <a:pt x="128" y="15"/>
                  </a:lnTo>
                  <a:lnTo>
                    <a:pt x="125" y="15"/>
                  </a:lnTo>
                  <a:lnTo>
                    <a:pt x="121" y="18"/>
                  </a:lnTo>
                  <a:lnTo>
                    <a:pt x="117" y="22"/>
                  </a:lnTo>
                  <a:lnTo>
                    <a:pt x="113" y="26"/>
                  </a:lnTo>
                  <a:lnTo>
                    <a:pt x="104" y="31"/>
                  </a:lnTo>
                  <a:lnTo>
                    <a:pt x="94" y="35"/>
                  </a:lnTo>
                  <a:lnTo>
                    <a:pt x="84" y="40"/>
                  </a:lnTo>
                  <a:lnTo>
                    <a:pt x="81" y="42"/>
                  </a:lnTo>
                  <a:lnTo>
                    <a:pt x="79" y="45"/>
                  </a:lnTo>
                  <a:lnTo>
                    <a:pt x="78" y="51"/>
                  </a:lnTo>
                  <a:lnTo>
                    <a:pt x="75" y="56"/>
                  </a:lnTo>
                  <a:lnTo>
                    <a:pt x="71" y="60"/>
                  </a:lnTo>
                  <a:lnTo>
                    <a:pt x="66" y="64"/>
                  </a:lnTo>
                  <a:lnTo>
                    <a:pt x="65" y="65"/>
                  </a:lnTo>
                  <a:lnTo>
                    <a:pt x="64" y="67"/>
                  </a:lnTo>
                  <a:lnTo>
                    <a:pt x="64" y="72"/>
                  </a:lnTo>
                  <a:lnTo>
                    <a:pt x="61" y="76"/>
                  </a:lnTo>
                  <a:lnTo>
                    <a:pt x="57" y="78"/>
                  </a:lnTo>
                  <a:lnTo>
                    <a:pt x="52" y="79"/>
                  </a:lnTo>
                  <a:lnTo>
                    <a:pt x="48" y="83"/>
                  </a:lnTo>
                  <a:lnTo>
                    <a:pt x="47" y="86"/>
                  </a:lnTo>
                  <a:lnTo>
                    <a:pt x="46" y="102"/>
                  </a:lnTo>
                  <a:lnTo>
                    <a:pt x="43" y="109"/>
                  </a:lnTo>
                  <a:lnTo>
                    <a:pt x="39" y="116"/>
                  </a:lnTo>
                  <a:lnTo>
                    <a:pt x="39" y="118"/>
                  </a:lnTo>
                  <a:lnTo>
                    <a:pt x="41" y="121"/>
                  </a:lnTo>
                  <a:lnTo>
                    <a:pt x="45" y="128"/>
                  </a:lnTo>
                  <a:lnTo>
                    <a:pt x="46" y="131"/>
                  </a:lnTo>
                  <a:lnTo>
                    <a:pt x="43" y="134"/>
                  </a:lnTo>
                  <a:lnTo>
                    <a:pt x="41" y="135"/>
                  </a:lnTo>
                  <a:lnTo>
                    <a:pt x="37" y="135"/>
                  </a:lnTo>
                  <a:lnTo>
                    <a:pt x="31" y="133"/>
                  </a:lnTo>
                  <a:lnTo>
                    <a:pt x="25" y="133"/>
                  </a:lnTo>
                  <a:lnTo>
                    <a:pt x="20" y="134"/>
                  </a:lnTo>
                  <a:lnTo>
                    <a:pt x="17" y="136"/>
                  </a:lnTo>
                  <a:lnTo>
                    <a:pt x="14" y="140"/>
                  </a:lnTo>
                  <a:lnTo>
                    <a:pt x="12" y="144"/>
                  </a:lnTo>
                  <a:lnTo>
                    <a:pt x="9" y="155"/>
                  </a:lnTo>
                  <a:lnTo>
                    <a:pt x="8" y="165"/>
                  </a:lnTo>
                  <a:lnTo>
                    <a:pt x="8" y="172"/>
                  </a:lnTo>
                  <a:lnTo>
                    <a:pt x="9" y="179"/>
                  </a:lnTo>
                  <a:lnTo>
                    <a:pt x="9" y="186"/>
                  </a:lnTo>
                  <a:lnTo>
                    <a:pt x="9" y="192"/>
                  </a:lnTo>
                  <a:lnTo>
                    <a:pt x="12" y="198"/>
                  </a:lnTo>
                  <a:lnTo>
                    <a:pt x="13" y="199"/>
                  </a:lnTo>
                  <a:lnTo>
                    <a:pt x="15" y="200"/>
                  </a:lnTo>
                  <a:lnTo>
                    <a:pt x="18" y="203"/>
                  </a:lnTo>
                  <a:lnTo>
                    <a:pt x="19" y="204"/>
                  </a:lnTo>
                  <a:lnTo>
                    <a:pt x="20" y="210"/>
                  </a:lnTo>
                  <a:lnTo>
                    <a:pt x="22" y="212"/>
                  </a:lnTo>
                  <a:lnTo>
                    <a:pt x="20" y="214"/>
                  </a:lnTo>
                  <a:lnTo>
                    <a:pt x="17" y="216"/>
                  </a:lnTo>
                  <a:lnTo>
                    <a:pt x="14" y="217"/>
                  </a:lnTo>
                  <a:lnTo>
                    <a:pt x="13" y="218"/>
                  </a:lnTo>
                  <a:lnTo>
                    <a:pt x="12" y="233"/>
                  </a:lnTo>
                  <a:lnTo>
                    <a:pt x="9" y="245"/>
                  </a:lnTo>
                  <a:lnTo>
                    <a:pt x="5" y="256"/>
                  </a:lnTo>
                  <a:lnTo>
                    <a:pt x="0" y="268"/>
                  </a:lnTo>
                  <a:lnTo>
                    <a:pt x="1" y="269"/>
                  </a:lnTo>
                  <a:lnTo>
                    <a:pt x="3" y="271"/>
                  </a:lnTo>
                  <a:lnTo>
                    <a:pt x="4" y="277"/>
                  </a:lnTo>
                  <a:lnTo>
                    <a:pt x="5" y="283"/>
                  </a:lnTo>
                  <a:lnTo>
                    <a:pt x="6" y="289"/>
                  </a:lnTo>
                  <a:lnTo>
                    <a:pt x="8" y="291"/>
                  </a:lnTo>
                  <a:lnTo>
                    <a:pt x="12" y="294"/>
                  </a:lnTo>
                  <a:lnTo>
                    <a:pt x="12" y="295"/>
                  </a:lnTo>
                  <a:lnTo>
                    <a:pt x="12" y="299"/>
                  </a:lnTo>
                  <a:lnTo>
                    <a:pt x="10" y="301"/>
                  </a:lnTo>
                  <a:lnTo>
                    <a:pt x="10" y="304"/>
                  </a:lnTo>
                  <a:lnTo>
                    <a:pt x="15" y="318"/>
                  </a:lnTo>
                  <a:lnTo>
                    <a:pt x="18" y="323"/>
                  </a:lnTo>
                  <a:lnTo>
                    <a:pt x="22" y="329"/>
                  </a:lnTo>
                  <a:lnTo>
                    <a:pt x="23" y="332"/>
                  </a:lnTo>
                  <a:lnTo>
                    <a:pt x="24" y="334"/>
                  </a:lnTo>
                  <a:lnTo>
                    <a:pt x="25" y="336"/>
                  </a:lnTo>
                  <a:lnTo>
                    <a:pt x="24" y="340"/>
                  </a:lnTo>
                  <a:lnTo>
                    <a:pt x="23" y="346"/>
                  </a:lnTo>
                  <a:lnTo>
                    <a:pt x="24" y="351"/>
                  </a:lnTo>
                  <a:lnTo>
                    <a:pt x="25" y="355"/>
                  </a:lnTo>
                  <a:lnTo>
                    <a:pt x="27" y="359"/>
                  </a:lnTo>
                  <a:lnTo>
                    <a:pt x="27" y="363"/>
                  </a:lnTo>
                  <a:lnTo>
                    <a:pt x="24" y="371"/>
                  </a:lnTo>
                  <a:lnTo>
                    <a:pt x="31" y="372"/>
                  </a:lnTo>
                  <a:lnTo>
                    <a:pt x="37" y="372"/>
                  </a:lnTo>
                  <a:lnTo>
                    <a:pt x="51" y="372"/>
                  </a:lnTo>
                  <a:lnTo>
                    <a:pt x="52" y="371"/>
                  </a:lnTo>
                  <a:lnTo>
                    <a:pt x="53" y="368"/>
                  </a:lnTo>
                  <a:lnTo>
                    <a:pt x="55" y="365"/>
                  </a:lnTo>
                  <a:lnTo>
                    <a:pt x="57" y="360"/>
                  </a:lnTo>
                  <a:lnTo>
                    <a:pt x="59" y="355"/>
                  </a:lnTo>
                  <a:lnTo>
                    <a:pt x="60" y="351"/>
                  </a:lnTo>
                  <a:lnTo>
                    <a:pt x="62" y="347"/>
                  </a:lnTo>
                  <a:lnTo>
                    <a:pt x="66" y="345"/>
                  </a:lnTo>
                  <a:lnTo>
                    <a:pt x="70" y="344"/>
                  </a:lnTo>
                  <a:lnTo>
                    <a:pt x="75" y="341"/>
                  </a:lnTo>
                  <a:lnTo>
                    <a:pt x="79" y="338"/>
                  </a:lnTo>
                  <a:lnTo>
                    <a:pt x="86" y="326"/>
                  </a:lnTo>
                  <a:lnTo>
                    <a:pt x="90" y="318"/>
                  </a:lnTo>
                  <a:lnTo>
                    <a:pt x="94" y="309"/>
                  </a:lnTo>
                  <a:lnTo>
                    <a:pt x="97" y="302"/>
                  </a:lnTo>
                  <a:lnTo>
                    <a:pt x="97" y="295"/>
                  </a:lnTo>
                  <a:lnTo>
                    <a:pt x="97" y="293"/>
                  </a:lnTo>
                  <a:lnTo>
                    <a:pt x="95" y="289"/>
                  </a:lnTo>
                  <a:lnTo>
                    <a:pt x="93" y="288"/>
                  </a:lnTo>
                  <a:lnTo>
                    <a:pt x="90" y="286"/>
                  </a:lnTo>
                  <a:lnTo>
                    <a:pt x="90" y="283"/>
                  </a:lnTo>
                  <a:lnTo>
                    <a:pt x="90" y="281"/>
                  </a:lnTo>
                  <a:lnTo>
                    <a:pt x="95" y="277"/>
                  </a:lnTo>
                  <a:lnTo>
                    <a:pt x="102" y="276"/>
                  </a:lnTo>
                  <a:lnTo>
                    <a:pt x="107" y="274"/>
                  </a:lnTo>
                  <a:lnTo>
                    <a:pt x="112" y="271"/>
                  </a:lnTo>
                  <a:lnTo>
                    <a:pt x="114" y="268"/>
                  </a:lnTo>
                  <a:lnTo>
                    <a:pt x="114" y="265"/>
                  </a:lnTo>
                  <a:lnTo>
                    <a:pt x="114" y="263"/>
                  </a:lnTo>
                  <a:lnTo>
                    <a:pt x="112" y="262"/>
                  </a:lnTo>
                  <a:lnTo>
                    <a:pt x="109" y="261"/>
                  </a:lnTo>
                  <a:lnTo>
                    <a:pt x="105" y="259"/>
                  </a:lnTo>
                  <a:lnTo>
                    <a:pt x="100" y="261"/>
                  </a:lnTo>
                  <a:lnTo>
                    <a:pt x="99" y="262"/>
                  </a:lnTo>
                  <a:lnTo>
                    <a:pt x="97" y="261"/>
                  </a:lnTo>
                  <a:lnTo>
                    <a:pt x="97" y="259"/>
                  </a:lnTo>
                  <a:lnTo>
                    <a:pt x="97" y="258"/>
                  </a:lnTo>
                  <a:lnTo>
                    <a:pt x="99" y="257"/>
                  </a:lnTo>
                  <a:lnTo>
                    <a:pt x="103" y="257"/>
                  </a:lnTo>
                  <a:lnTo>
                    <a:pt x="107" y="257"/>
                  </a:lnTo>
                  <a:lnTo>
                    <a:pt x="111" y="258"/>
                  </a:lnTo>
                  <a:lnTo>
                    <a:pt x="114" y="259"/>
                  </a:lnTo>
                  <a:lnTo>
                    <a:pt x="116" y="259"/>
                  </a:lnTo>
                  <a:lnTo>
                    <a:pt x="117" y="261"/>
                  </a:lnTo>
                  <a:lnTo>
                    <a:pt x="118" y="263"/>
                  </a:lnTo>
                  <a:lnTo>
                    <a:pt x="118" y="267"/>
                  </a:lnTo>
                  <a:lnTo>
                    <a:pt x="121" y="269"/>
                  </a:lnTo>
                  <a:lnTo>
                    <a:pt x="122" y="265"/>
                  </a:lnTo>
                  <a:lnTo>
                    <a:pt x="125" y="263"/>
                  </a:lnTo>
                  <a:lnTo>
                    <a:pt x="127" y="261"/>
                  </a:lnTo>
                  <a:lnTo>
                    <a:pt x="132" y="261"/>
                  </a:lnTo>
                  <a:lnTo>
                    <a:pt x="133" y="261"/>
                  </a:lnTo>
                  <a:lnTo>
                    <a:pt x="132" y="258"/>
                  </a:lnTo>
                  <a:lnTo>
                    <a:pt x="131" y="256"/>
                  </a:lnTo>
                  <a:lnTo>
                    <a:pt x="131" y="253"/>
                  </a:lnTo>
                  <a:lnTo>
                    <a:pt x="133" y="249"/>
                  </a:lnTo>
                  <a:lnTo>
                    <a:pt x="135" y="245"/>
                  </a:lnTo>
                  <a:lnTo>
                    <a:pt x="135" y="243"/>
                  </a:lnTo>
                  <a:lnTo>
                    <a:pt x="135" y="242"/>
                  </a:lnTo>
                  <a:lnTo>
                    <a:pt x="132" y="240"/>
                  </a:lnTo>
                  <a:lnTo>
                    <a:pt x="128" y="240"/>
                  </a:lnTo>
                  <a:lnTo>
                    <a:pt x="127" y="238"/>
                  </a:lnTo>
                  <a:lnTo>
                    <a:pt x="125" y="236"/>
                  </a:lnTo>
                  <a:lnTo>
                    <a:pt x="117" y="236"/>
                  </a:lnTo>
                  <a:lnTo>
                    <a:pt x="113" y="235"/>
                  </a:lnTo>
                  <a:lnTo>
                    <a:pt x="111" y="232"/>
                  </a:lnTo>
                  <a:lnTo>
                    <a:pt x="105" y="219"/>
                  </a:lnTo>
                  <a:lnTo>
                    <a:pt x="103" y="204"/>
                  </a:lnTo>
                  <a:lnTo>
                    <a:pt x="103" y="197"/>
                  </a:lnTo>
                  <a:lnTo>
                    <a:pt x="103" y="189"/>
                  </a:lnTo>
                  <a:lnTo>
                    <a:pt x="105" y="182"/>
                  </a:lnTo>
                  <a:lnTo>
                    <a:pt x="108" y="175"/>
                  </a:lnTo>
                  <a:lnTo>
                    <a:pt x="109" y="174"/>
                  </a:lnTo>
                  <a:lnTo>
                    <a:pt x="111" y="173"/>
                  </a:lnTo>
                  <a:lnTo>
                    <a:pt x="114" y="173"/>
                  </a:lnTo>
                  <a:lnTo>
                    <a:pt x="118" y="173"/>
                  </a:lnTo>
                  <a:lnTo>
                    <a:pt x="121" y="173"/>
                  </a:lnTo>
                  <a:lnTo>
                    <a:pt x="125" y="165"/>
                  </a:lnTo>
                  <a:lnTo>
                    <a:pt x="127" y="162"/>
                  </a:lnTo>
                  <a:lnTo>
                    <a:pt x="132" y="161"/>
                  </a:lnTo>
                  <a:lnTo>
                    <a:pt x="140" y="159"/>
                  </a:lnTo>
                  <a:lnTo>
                    <a:pt x="142" y="157"/>
                  </a:lnTo>
                  <a:lnTo>
                    <a:pt x="144" y="156"/>
                  </a:lnTo>
                  <a:lnTo>
                    <a:pt x="146" y="150"/>
                  </a:lnTo>
                  <a:lnTo>
                    <a:pt x="149" y="148"/>
                  </a:lnTo>
                  <a:lnTo>
                    <a:pt x="150" y="148"/>
                  </a:lnTo>
                  <a:lnTo>
                    <a:pt x="154" y="147"/>
                  </a:lnTo>
                  <a:lnTo>
                    <a:pt x="158" y="146"/>
                  </a:lnTo>
                  <a:lnTo>
                    <a:pt x="161" y="141"/>
                  </a:lnTo>
                  <a:lnTo>
                    <a:pt x="165" y="136"/>
                  </a:lnTo>
                  <a:lnTo>
                    <a:pt x="169" y="131"/>
                  </a:lnTo>
                  <a:lnTo>
                    <a:pt x="173" y="129"/>
                  </a:lnTo>
                  <a:lnTo>
                    <a:pt x="174" y="128"/>
                  </a:lnTo>
                  <a:lnTo>
                    <a:pt x="174" y="127"/>
                  </a:lnTo>
                  <a:lnTo>
                    <a:pt x="172" y="120"/>
                  </a:lnTo>
                  <a:lnTo>
                    <a:pt x="172" y="112"/>
                  </a:lnTo>
                  <a:lnTo>
                    <a:pt x="175" y="106"/>
                  </a:lnTo>
                  <a:lnTo>
                    <a:pt x="182" y="101"/>
                  </a:lnTo>
                  <a:lnTo>
                    <a:pt x="185" y="96"/>
                  </a:lnTo>
                  <a:lnTo>
                    <a:pt x="188" y="93"/>
                  </a:lnTo>
                  <a:lnTo>
                    <a:pt x="191" y="91"/>
                  </a:lnTo>
                  <a:lnTo>
                    <a:pt x="192" y="91"/>
                  </a:lnTo>
                  <a:lnTo>
                    <a:pt x="194" y="92"/>
                  </a:lnTo>
                  <a:lnTo>
                    <a:pt x="196" y="93"/>
                  </a:lnTo>
                  <a:lnTo>
                    <a:pt x="198" y="93"/>
                  </a:lnTo>
                  <a:lnTo>
                    <a:pt x="199" y="92"/>
                  </a:lnTo>
                  <a:lnTo>
                    <a:pt x="201" y="90"/>
                  </a:lnTo>
                  <a:lnTo>
                    <a:pt x="203" y="88"/>
                  </a:lnTo>
                  <a:lnTo>
                    <a:pt x="205" y="86"/>
                  </a:lnTo>
                  <a:lnTo>
                    <a:pt x="206" y="88"/>
                  </a:lnTo>
                  <a:lnTo>
                    <a:pt x="207" y="89"/>
                  </a:lnTo>
                  <a:lnTo>
                    <a:pt x="208" y="90"/>
                  </a:lnTo>
                  <a:lnTo>
                    <a:pt x="211" y="91"/>
                  </a:lnTo>
                  <a:lnTo>
                    <a:pt x="213" y="92"/>
                  </a:lnTo>
                  <a:lnTo>
                    <a:pt x="216" y="91"/>
                  </a:lnTo>
                  <a:lnTo>
                    <a:pt x="221" y="89"/>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4" name="Freeform 1263"/>
            <p:cNvSpPr>
              <a:spLocks/>
            </p:cNvSpPr>
            <p:nvPr/>
          </p:nvSpPr>
          <p:spPr bwMode="auto">
            <a:xfrm>
              <a:off x="4987927" y="1839914"/>
              <a:ext cx="23813" cy="19050"/>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0 w 16"/>
                <a:gd name="T17" fmla="*/ 2147483647 h 12"/>
                <a:gd name="T18" fmla="*/ 2147483647 w 16"/>
                <a:gd name="T19" fmla="*/ 2147483647 h 12"/>
                <a:gd name="T20" fmla="*/ 2147483647 w 16"/>
                <a:gd name="T21" fmla="*/ 2147483647 h 12"/>
                <a:gd name="T22" fmla="*/ 2147483647 w 16"/>
                <a:gd name="T23" fmla="*/ 0 h 12"/>
                <a:gd name="T24" fmla="*/ 2147483647 w 16"/>
                <a:gd name="T25" fmla="*/ 0 h 12"/>
                <a:gd name="T26" fmla="*/ 2147483647 w 16"/>
                <a:gd name="T27" fmla="*/ 2147483647 h 12"/>
                <a:gd name="T28" fmla="*/ 2147483647 w 16"/>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2"/>
                <a:gd name="T47" fmla="*/ 16 w 1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2">
                  <a:moveTo>
                    <a:pt x="16" y="6"/>
                  </a:moveTo>
                  <a:lnTo>
                    <a:pt x="16" y="9"/>
                  </a:lnTo>
                  <a:lnTo>
                    <a:pt x="14" y="11"/>
                  </a:lnTo>
                  <a:lnTo>
                    <a:pt x="13" y="11"/>
                  </a:lnTo>
                  <a:lnTo>
                    <a:pt x="11" y="12"/>
                  </a:lnTo>
                  <a:lnTo>
                    <a:pt x="8" y="11"/>
                  </a:lnTo>
                  <a:lnTo>
                    <a:pt x="3" y="9"/>
                  </a:lnTo>
                  <a:lnTo>
                    <a:pt x="2" y="8"/>
                  </a:lnTo>
                  <a:lnTo>
                    <a:pt x="0" y="5"/>
                  </a:lnTo>
                  <a:lnTo>
                    <a:pt x="2" y="4"/>
                  </a:lnTo>
                  <a:lnTo>
                    <a:pt x="3" y="2"/>
                  </a:lnTo>
                  <a:lnTo>
                    <a:pt x="7" y="0"/>
                  </a:lnTo>
                  <a:lnTo>
                    <a:pt x="9" y="0"/>
                  </a:lnTo>
                  <a:lnTo>
                    <a:pt x="13" y="2"/>
                  </a:lnTo>
                  <a:lnTo>
                    <a:pt x="16"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5" name="Freeform 1264"/>
            <p:cNvSpPr>
              <a:spLocks/>
            </p:cNvSpPr>
            <p:nvPr/>
          </p:nvSpPr>
          <p:spPr bwMode="auto">
            <a:xfrm>
              <a:off x="4846641" y="1882779"/>
              <a:ext cx="14287" cy="22225"/>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0 w 10"/>
                <a:gd name="T11" fmla="*/ 2147483647 h 14"/>
                <a:gd name="T12" fmla="*/ 0 w 10"/>
                <a:gd name="T13" fmla="*/ 2147483647 h 14"/>
                <a:gd name="T14" fmla="*/ 2147483647 w 10"/>
                <a:gd name="T15" fmla="*/ 2147483647 h 14"/>
                <a:gd name="T16" fmla="*/ 2147483647 w 10"/>
                <a:gd name="T17" fmla="*/ 2147483647 h 14"/>
                <a:gd name="T18" fmla="*/ 2147483647 w 10"/>
                <a:gd name="T19" fmla="*/ 0 h 14"/>
                <a:gd name="T20" fmla="*/ 2147483647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9" y="9"/>
                  </a:moveTo>
                  <a:lnTo>
                    <a:pt x="7" y="11"/>
                  </a:lnTo>
                  <a:lnTo>
                    <a:pt x="5" y="14"/>
                  </a:lnTo>
                  <a:lnTo>
                    <a:pt x="2" y="14"/>
                  </a:lnTo>
                  <a:lnTo>
                    <a:pt x="1" y="13"/>
                  </a:lnTo>
                  <a:lnTo>
                    <a:pt x="0" y="9"/>
                  </a:lnTo>
                  <a:lnTo>
                    <a:pt x="0" y="7"/>
                  </a:lnTo>
                  <a:lnTo>
                    <a:pt x="1" y="3"/>
                  </a:lnTo>
                  <a:lnTo>
                    <a:pt x="5" y="1"/>
                  </a:lnTo>
                  <a:lnTo>
                    <a:pt x="6" y="0"/>
                  </a:lnTo>
                  <a:lnTo>
                    <a:pt x="7" y="1"/>
                  </a:lnTo>
                  <a:lnTo>
                    <a:pt x="10" y="2"/>
                  </a:lnTo>
                  <a:lnTo>
                    <a:pt x="10" y="5"/>
                  </a:lnTo>
                  <a:lnTo>
                    <a:pt x="9" y="9"/>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6" name="Freeform 1265"/>
            <p:cNvSpPr>
              <a:spLocks/>
            </p:cNvSpPr>
            <p:nvPr/>
          </p:nvSpPr>
          <p:spPr bwMode="auto">
            <a:xfrm>
              <a:off x="4986342" y="1838326"/>
              <a:ext cx="22225" cy="19050"/>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0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0 h 12"/>
                <a:gd name="T30" fmla="*/ 2147483647 w 15"/>
                <a:gd name="T31" fmla="*/ 0 h 12"/>
                <a:gd name="T32" fmla="*/ 2147483647 w 15"/>
                <a:gd name="T33" fmla="*/ 2147483647 h 12"/>
                <a:gd name="T34" fmla="*/ 2147483647 w 15"/>
                <a:gd name="T35" fmla="*/ 2147483647 h 12"/>
                <a:gd name="T36" fmla="*/ 2147483647 w 15"/>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2"/>
                <a:gd name="T59" fmla="*/ 15 w 15"/>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2">
                  <a:moveTo>
                    <a:pt x="15" y="6"/>
                  </a:moveTo>
                  <a:lnTo>
                    <a:pt x="15" y="6"/>
                  </a:lnTo>
                  <a:lnTo>
                    <a:pt x="15" y="9"/>
                  </a:lnTo>
                  <a:lnTo>
                    <a:pt x="14" y="11"/>
                  </a:lnTo>
                  <a:lnTo>
                    <a:pt x="13" y="11"/>
                  </a:lnTo>
                  <a:lnTo>
                    <a:pt x="10" y="12"/>
                  </a:lnTo>
                  <a:lnTo>
                    <a:pt x="8" y="11"/>
                  </a:lnTo>
                  <a:lnTo>
                    <a:pt x="3" y="9"/>
                  </a:lnTo>
                  <a:lnTo>
                    <a:pt x="1" y="7"/>
                  </a:lnTo>
                  <a:lnTo>
                    <a:pt x="0" y="5"/>
                  </a:lnTo>
                  <a:lnTo>
                    <a:pt x="1" y="4"/>
                  </a:lnTo>
                  <a:lnTo>
                    <a:pt x="3" y="1"/>
                  </a:lnTo>
                  <a:lnTo>
                    <a:pt x="7" y="0"/>
                  </a:lnTo>
                  <a:lnTo>
                    <a:pt x="9" y="0"/>
                  </a:lnTo>
                  <a:lnTo>
                    <a:pt x="13" y="1"/>
                  </a:lnTo>
                  <a:lnTo>
                    <a:pt x="15"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7" name="Freeform 1266"/>
            <p:cNvSpPr>
              <a:spLocks/>
            </p:cNvSpPr>
            <p:nvPr/>
          </p:nvSpPr>
          <p:spPr bwMode="auto">
            <a:xfrm>
              <a:off x="4843464" y="1879604"/>
              <a:ext cx="15875" cy="23813"/>
            </a:xfrm>
            <a:custGeom>
              <a:avLst/>
              <a:gdLst>
                <a:gd name="T0" fmla="*/ 2147483647 w 11"/>
                <a:gd name="T1" fmla="*/ 2147483647 h 15"/>
                <a:gd name="T2" fmla="*/ 2147483647 w 11"/>
                <a:gd name="T3" fmla="*/ 2147483647 h 15"/>
                <a:gd name="T4" fmla="*/ 2147483647 w 11"/>
                <a:gd name="T5" fmla="*/ 2147483647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0 w 11"/>
                <a:gd name="T15" fmla="*/ 2147483647 h 15"/>
                <a:gd name="T16" fmla="*/ 0 w 11"/>
                <a:gd name="T17" fmla="*/ 2147483647 h 15"/>
                <a:gd name="T18" fmla="*/ 2147483647 w 11"/>
                <a:gd name="T19" fmla="*/ 2147483647 h 15"/>
                <a:gd name="T20" fmla="*/ 2147483647 w 11"/>
                <a:gd name="T21" fmla="*/ 2147483647 h 15"/>
                <a:gd name="T22" fmla="*/ 2147483647 w 11"/>
                <a:gd name="T23" fmla="*/ 2147483647 h 15"/>
                <a:gd name="T24" fmla="*/ 2147483647 w 11"/>
                <a:gd name="T25" fmla="*/ 0 h 15"/>
                <a:gd name="T26" fmla="*/ 2147483647 w 11"/>
                <a:gd name="T27" fmla="*/ 2147483647 h 15"/>
                <a:gd name="T28" fmla="*/ 2147483647 w 11"/>
                <a:gd name="T29" fmla="*/ 2147483647 h 15"/>
                <a:gd name="T30" fmla="*/ 2147483647 w 11"/>
                <a:gd name="T31" fmla="*/ 2147483647 h 15"/>
                <a:gd name="T32" fmla="*/ 2147483647 w 11"/>
                <a:gd name="T33" fmla="*/ 2147483647 h 15"/>
                <a:gd name="T34" fmla="*/ 2147483647 w 11"/>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5"/>
                <a:gd name="T56" fmla="*/ 11 w 11"/>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5">
                  <a:moveTo>
                    <a:pt x="9" y="10"/>
                  </a:moveTo>
                  <a:lnTo>
                    <a:pt x="9" y="10"/>
                  </a:lnTo>
                  <a:lnTo>
                    <a:pt x="8" y="12"/>
                  </a:lnTo>
                  <a:lnTo>
                    <a:pt x="5" y="15"/>
                  </a:lnTo>
                  <a:lnTo>
                    <a:pt x="3" y="15"/>
                  </a:lnTo>
                  <a:lnTo>
                    <a:pt x="2" y="13"/>
                  </a:lnTo>
                  <a:lnTo>
                    <a:pt x="0" y="10"/>
                  </a:lnTo>
                  <a:lnTo>
                    <a:pt x="0" y="7"/>
                  </a:lnTo>
                  <a:lnTo>
                    <a:pt x="2" y="4"/>
                  </a:lnTo>
                  <a:lnTo>
                    <a:pt x="5" y="2"/>
                  </a:lnTo>
                  <a:lnTo>
                    <a:pt x="7" y="0"/>
                  </a:lnTo>
                  <a:lnTo>
                    <a:pt x="8" y="2"/>
                  </a:lnTo>
                  <a:lnTo>
                    <a:pt x="11" y="3"/>
                  </a:lnTo>
                  <a:lnTo>
                    <a:pt x="11" y="6"/>
                  </a:lnTo>
                  <a:lnTo>
                    <a:pt x="9"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8" name="Freeform 1267"/>
            <p:cNvSpPr>
              <a:spLocks/>
            </p:cNvSpPr>
            <p:nvPr/>
          </p:nvSpPr>
          <p:spPr bwMode="auto">
            <a:xfrm>
              <a:off x="4899025" y="1865317"/>
              <a:ext cx="33338" cy="22225"/>
            </a:xfrm>
            <a:custGeom>
              <a:avLst/>
              <a:gdLst>
                <a:gd name="T0" fmla="*/ 2147483647 w 23"/>
                <a:gd name="T1" fmla="*/ 2147483647 h 14"/>
                <a:gd name="T2" fmla="*/ 2147483647 w 23"/>
                <a:gd name="T3" fmla="*/ 2147483647 h 14"/>
                <a:gd name="T4" fmla="*/ 2147483647 w 23"/>
                <a:gd name="T5" fmla="*/ 2147483647 h 14"/>
                <a:gd name="T6" fmla="*/ 2147483647 w 23"/>
                <a:gd name="T7" fmla="*/ 0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0 w 23"/>
                <a:gd name="T17" fmla="*/ 2147483647 h 14"/>
                <a:gd name="T18" fmla="*/ 2147483647 w 23"/>
                <a:gd name="T19" fmla="*/ 2147483647 h 14"/>
                <a:gd name="T20" fmla="*/ 2147483647 w 23"/>
                <a:gd name="T21" fmla="*/ 2147483647 h 14"/>
                <a:gd name="T22" fmla="*/ 2147483647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4"/>
                <a:gd name="T53" fmla="*/ 23 w 23"/>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4">
                  <a:moveTo>
                    <a:pt x="23" y="8"/>
                  </a:moveTo>
                  <a:lnTo>
                    <a:pt x="21" y="3"/>
                  </a:lnTo>
                  <a:lnTo>
                    <a:pt x="21" y="2"/>
                  </a:lnTo>
                  <a:lnTo>
                    <a:pt x="20" y="0"/>
                  </a:lnTo>
                  <a:lnTo>
                    <a:pt x="13" y="2"/>
                  </a:lnTo>
                  <a:lnTo>
                    <a:pt x="4" y="3"/>
                  </a:lnTo>
                  <a:lnTo>
                    <a:pt x="3" y="3"/>
                  </a:lnTo>
                  <a:lnTo>
                    <a:pt x="2" y="6"/>
                  </a:lnTo>
                  <a:lnTo>
                    <a:pt x="0" y="8"/>
                  </a:lnTo>
                  <a:lnTo>
                    <a:pt x="2" y="11"/>
                  </a:lnTo>
                  <a:lnTo>
                    <a:pt x="6" y="9"/>
                  </a:lnTo>
                  <a:lnTo>
                    <a:pt x="9" y="9"/>
                  </a:lnTo>
                  <a:lnTo>
                    <a:pt x="16" y="14"/>
                  </a:lnTo>
                  <a:lnTo>
                    <a:pt x="18" y="14"/>
                  </a:lnTo>
                  <a:lnTo>
                    <a:pt x="21" y="13"/>
                  </a:lnTo>
                  <a:lnTo>
                    <a:pt x="22" y="11"/>
                  </a:lnTo>
                  <a:lnTo>
                    <a:pt x="23" y="8"/>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69" name="Freeform 1268"/>
            <p:cNvSpPr>
              <a:spLocks/>
            </p:cNvSpPr>
            <p:nvPr/>
          </p:nvSpPr>
          <p:spPr bwMode="auto">
            <a:xfrm>
              <a:off x="4805367" y="1885950"/>
              <a:ext cx="33337" cy="39688"/>
            </a:xfrm>
            <a:custGeom>
              <a:avLst/>
              <a:gdLst>
                <a:gd name="T0" fmla="*/ 2147483647 w 23"/>
                <a:gd name="T1" fmla="*/ 2147483647 h 25"/>
                <a:gd name="T2" fmla="*/ 2147483647 w 23"/>
                <a:gd name="T3" fmla="*/ 2147483647 h 25"/>
                <a:gd name="T4" fmla="*/ 2147483647 w 23"/>
                <a:gd name="T5" fmla="*/ 2147483647 h 25"/>
                <a:gd name="T6" fmla="*/ 2147483647 w 23"/>
                <a:gd name="T7" fmla="*/ 2147483647 h 25"/>
                <a:gd name="T8" fmla="*/ 2147483647 w 23"/>
                <a:gd name="T9" fmla="*/ 2147483647 h 25"/>
                <a:gd name="T10" fmla="*/ 2147483647 w 23"/>
                <a:gd name="T11" fmla="*/ 2147483647 h 25"/>
                <a:gd name="T12" fmla="*/ 2147483647 w 23"/>
                <a:gd name="T13" fmla="*/ 0 h 25"/>
                <a:gd name="T14" fmla="*/ 2147483647 w 23"/>
                <a:gd name="T15" fmla="*/ 0 h 25"/>
                <a:gd name="T16" fmla="*/ 2147483647 w 23"/>
                <a:gd name="T17" fmla="*/ 2147483647 h 25"/>
                <a:gd name="T18" fmla="*/ 2147483647 w 23"/>
                <a:gd name="T19" fmla="*/ 2147483647 h 25"/>
                <a:gd name="T20" fmla="*/ 2147483647 w 23"/>
                <a:gd name="T21" fmla="*/ 2147483647 h 25"/>
                <a:gd name="T22" fmla="*/ 2147483647 w 23"/>
                <a:gd name="T23" fmla="*/ 2147483647 h 25"/>
                <a:gd name="T24" fmla="*/ 2147483647 w 23"/>
                <a:gd name="T25" fmla="*/ 2147483647 h 25"/>
                <a:gd name="T26" fmla="*/ 2147483647 w 23"/>
                <a:gd name="T27" fmla="*/ 2147483647 h 25"/>
                <a:gd name="T28" fmla="*/ 2147483647 w 23"/>
                <a:gd name="T29" fmla="*/ 2147483647 h 25"/>
                <a:gd name="T30" fmla="*/ 0 w 23"/>
                <a:gd name="T31" fmla="*/ 2147483647 h 25"/>
                <a:gd name="T32" fmla="*/ 0 w 23"/>
                <a:gd name="T33" fmla="*/ 2147483647 h 25"/>
                <a:gd name="T34" fmla="*/ 2147483647 w 23"/>
                <a:gd name="T35" fmla="*/ 2147483647 h 25"/>
                <a:gd name="T36" fmla="*/ 2147483647 w 23"/>
                <a:gd name="T37" fmla="*/ 2147483647 h 25"/>
                <a:gd name="T38" fmla="*/ 2147483647 w 23"/>
                <a:gd name="T39" fmla="*/ 2147483647 h 25"/>
                <a:gd name="T40" fmla="*/ 2147483647 w 23"/>
                <a:gd name="T41" fmla="*/ 2147483647 h 25"/>
                <a:gd name="T42" fmla="*/ 2147483647 w 23"/>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25"/>
                <a:gd name="T68" fmla="*/ 23 w 23"/>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25">
                  <a:moveTo>
                    <a:pt x="18" y="15"/>
                  </a:moveTo>
                  <a:lnTo>
                    <a:pt x="21" y="13"/>
                  </a:lnTo>
                  <a:lnTo>
                    <a:pt x="23" y="9"/>
                  </a:lnTo>
                  <a:lnTo>
                    <a:pt x="23" y="7"/>
                  </a:lnTo>
                  <a:lnTo>
                    <a:pt x="21" y="3"/>
                  </a:lnTo>
                  <a:lnTo>
                    <a:pt x="20" y="1"/>
                  </a:lnTo>
                  <a:lnTo>
                    <a:pt x="18" y="0"/>
                  </a:lnTo>
                  <a:lnTo>
                    <a:pt x="16" y="0"/>
                  </a:lnTo>
                  <a:lnTo>
                    <a:pt x="15" y="2"/>
                  </a:lnTo>
                  <a:lnTo>
                    <a:pt x="14" y="6"/>
                  </a:lnTo>
                  <a:lnTo>
                    <a:pt x="14" y="9"/>
                  </a:lnTo>
                  <a:lnTo>
                    <a:pt x="12" y="12"/>
                  </a:lnTo>
                  <a:lnTo>
                    <a:pt x="10" y="13"/>
                  </a:lnTo>
                  <a:lnTo>
                    <a:pt x="5" y="17"/>
                  </a:lnTo>
                  <a:lnTo>
                    <a:pt x="1" y="19"/>
                  </a:lnTo>
                  <a:lnTo>
                    <a:pt x="0" y="21"/>
                  </a:lnTo>
                  <a:lnTo>
                    <a:pt x="0" y="22"/>
                  </a:lnTo>
                  <a:lnTo>
                    <a:pt x="2" y="24"/>
                  </a:lnTo>
                  <a:lnTo>
                    <a:pt x="4" y="25"/>
                  </a:lnTo>
                  <a:lnTo>
                    <a:pt x="9" y="22"/>
                  </a:lnTo>
                  <a:lnTo>
                    <a:pt x="14" y="19"/>
                  </a:lnTo>
                  <a:lnTo>
                    <a:pt x="18" y="1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0" name="Freeform 1269"/>
            <p:cNvSpPr>
              <a:spLocks/>
            </p:cNvSpPr>
            <p:nvPr/>
          </p:nvSpPr>
          <p:spPr bwMode="auto">
            <a:xfrm>
              <a:off x="4897442" y="1863729"/>
              <a:ext cx="33337" cy="22225"/>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0 h 14"/>
                <a:gd name="T10" fmla="*/ 2147483647 w 23"/>
                <a:gd name="T11" fmla="*/ 0 h 14"/>
                <a:gd name="T12" fmla="*/ 2147483647 w 23"/>
                <a:gd name="T13" fmla="*/ 2147483647 h 14"/>
                <a:gd name="T14" fmla="*/ 2147483647 w 23"/>
                <a:gd name="T15" fmla="*/ 2147483647 h 14"/>
                <a:gd name="T16" fmla="*/ 2147483647 w 23"/>
                <a:gd name="T17" fmla="*/ 2147483647 h 14"/>
                <a:gd name="T18" fmla="*/ 2147483647 w 23"/>
                <a:gd name="T19" fmla="*/ 2147483647 h 14"/>
                <a:gd name="T20" fmla="*/ 2147483647 w 23"/>
                <a:gd name="T21" fmla="*/ 2147483647 h 14"/>
                <a:gd name="T22" fmla="*/ 0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2147483647 w 23"/>
                <a:gd name="T35" fmla="*/ 2147483647 h 14"/>
                <a:gd name="T36" fmla="*/ 2147483647 w 23"/>
                <a:gd name="T37" fmla="*/ 2147483647 h 14"/>
                <a:gd name="T38" fmla="*/ 2147483647 w 23"/>
                <a:gd name="T39" fmla="*/ 2147483647 h 14"/>
                <a:gd name="T40" fmla="*/ 2147483647 w 23"/>
                <a:gd name="T41" fmla="*/ 2147483647 h 14"/>
                <a:gd name="T42" fmla="*/ 2147483647 w 23"/>
                <a:gd name="T43" fmla="*/ 2147483647 h 14"/>
                <a:gd name="T44" fmla="*/ 2147483647 w 23"/>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4"/>
                <a:gd name="T71" fmla="*/ 23 w 23"/>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4">
                  <a:moveTo>
                    <a:pt x="23" y="8"/>
                  </a:moveTo>
                  <a:lnTo>
                    <a:pt x="23" y="8"/>
                  </a:lnTo>
                  <a:lnTo>
                    <a:pt x="21" y="3"/>
                  </a:lnTo>
                  <a:lnTo>
                    <a:pt x="21" y="2"/>
                  </a:lnTo>
                  <a:lnTo>
                    <a:pt x="19" y="0"/>
                  </a:lnTo>
                  <a:lnTo>
                    <a:pt x="13" y="2"/>
                  </a:lnTo>
                  <a:lnTo>
                    <a:pt x="4" y="3"/>
                  </a:lnTo>
                  <a:lnTo>
                    <a:pt x="3" y="3"/>
                  </a:lnTo>
                  <a:lnTo>
                    <a:pt x="1" y="6"/>
                  </a:lnTo>
                  <a:lnTo>
                    <a:pt x="0" y="8"/>
                  </a:lnTo>
                  <a:lnTo>
                    <a:pt x="1" y="10"/>
                  </a:lnTo>
                  <a:lnTo>
                    <a:pt x="5" y="9"/>
                  </a:lnTo>
                  <a:lnTo>
                    <a:pt x="9" y="9"/>
                  </a:lnTo>
                  <a:lnTo>
                    <a:pt x="15" y="14"/>
                  </a:lnTo>
                  <a:lnTo>
                    <a:pt x="18" y="14"/>
                  </a:lnTo>
                  <a:lnTo>
                    <a:pt x="21" y="13"/>
                  </a:lnTo>
                  <a:lnTo>
                    <a:pt x="22" y="10"/>
                  </a:lnTo>
                  <a:lnTo>
                    <a:pt x="23"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1" name="Freeform 1270"/>
            <p:cNvSpPr>
              <a:spLocks/>
            </p:cNvSpPr>
            <p:nvPr/>
          </p:nvSpPr>
          <p:spPr bwMode="auto">
            <a:xfrm>
              <a:off x="4802192" y="1884367"/>
              <a:ext cx="33337" cy="39687"/>
            </a:xfrm>
            <a:custGeom>
              <a:avLst/>
              <a:gdLst>
                <a:gd name="T0" fmla="*/ 2147483647 w 23"/>
                <a:gd name="T1" fmla="*/ 2147483647 h 25"/>
                <a:gd name="T2" fmla="*/ 2147483647 w 23"/>
                <a:gd name="T3" fmla="*/ 2147483647 h 25"/>
                <a:gd name="T4" fmla="*/ 2147483647 w 23"/>
                <a:gd name="T5" fmla="*/ 2147483647 h 25"/>
                <a:gd name="T6" fmla="*/ 2147483647 w 23"/>
                <a:gd name="T7" fmla="*/ 2147483647 h 25"/>
                <a:gd name="T8" fmla="*/ 2147483647 w 23"/>
                <a:gd name="T9" fmla="*/ 2147483647 h 25"/>
                <a:gd name="T10" fmla="*/ 2147483647 w 23"/>
                <a:gd name="T11" fmla="*/ 2147483647 h 25"/>
                <a:gd name="T12" fmla="*/ 2147483647 w 23"/>
                <a:gd name="T13" fmla="*/ 2147483647 h 25"/>
                <a:gd name="T14" fmla="*/ 2147483647 w 23"/>
                <a:gd name="T15" fmla="*/ 2147483647 h 25"/>
                <a:gd name="T16" fmla="*/ 2147483647 w 23"/>
                <a:gd name="T17" fmla="*/ 0 h 25"/>
                <a:gd name="T18" fmla="*/ 2147483647 w 23"/>
                <a:gd name="T19" fmla="*/ 0 h 25"/>
                <a:gd name="T20" fmla="*/ 2147483647 w 23"/>
                <a:gd name="T21" fmla="*/ 2147483647 h 25"/>
                <a:gd name="T22" fmla="*/ 2147483647 w 23"/>
                <a:gd name="T23" fmla="*/ 2147483647 h 25"/>
                <a:gd name="T24" fmla="*/ 2147483647 w 23"/>
                <a:gd name="T25" fmla="*/ 2147483647 h 25"/>
                <a:gd name="T26" fmla="*/ 2147483647 w 23"/>
                <a:gd name="T27" fmla="*/ 2147483647 h 25"/>
                <a:gd name="T28" fmla="*/ 2147483647 w 23"/>
                <a:gd name="T29" fmla="*/ 2147483647 h 25"/>
                <a:gd name="T30" fmla="*/ 2147483647 w 23"/>
                <a:gd name="T31" fmla="*/ 2147483647 h 25"/>
                <a:gd name="T32" fmla="*/ 2147483647 w 23"/>
                <a:gd name="T33" fmla="*/ 2147483647 h 25"/>
                <a:gd name="T34" fmla="*/ 2147483647 w 23"/>
                <a:gd name="T35" fmla="*/ 2147483647 h 25"/>
                <a:gd name="T36" fmla="*/ 2147483647 w 23"/>
                <a:gd name="T37" fmla="*/ 2147483647 h 25"/>
                <a:gd name="T38" fmla="*/ 0 w 23"/>
                <a:gd name="T39" fmla="*/ 2147483647 h 25"/>
                <a:gd name="T40" fmla="*/ 0 w 23"/>
                <a:gd name="T41" fmla="*/ 2147483647 h 25"/>
                <a:gd name="T42" fmla="*/ 0 w 23"/>
                <a:gd name="T43" fmla="*/ 2147483647 h 25"/>
                <a:gd name="T44" fmla="*/ 2147483647 w 23"/>
                <a:gd name="T45" fmla="*/ 2147483647 h 25"/>
                <a:gd name="T46" fmla="*/ 2147483647 w 23"/>
                <a:gd name="T47" fmla="*/ 2147483647 h 25"/>
                <a:gd name="T48" fmla="*/ 2147483647 w 23"/>
                <a:gd name="T49" fmla="*/ 2147483647 h 25"/>
                <a:gd name="T50" fmla="*/ 2147483647 w 23"/>
                <a:gd name="T51" fmla="*/ 2147483647 h 25"/>
                <a:gd name="T52" fmla="*/ 2147483647 w 23"/>
                <a:gd name="T53" fmla="*/ 2147483647 h 25"/>
                <a:gd name="T54" fmla="*/ 2147483647 w 23"/>
                <a:gd name="T55" fmla="*/ 2147483647 h 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
                <a:gd name="T85" fmla="*/ 0 h 25"/>
                <a:gd name="T86" fmla="*/ 23 w 23"/>
                <a:gd name="T87" fmla="*/ 25 h 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 h="25">
                  <a:moveTo>
                    <a:pt x="18" y="15"/>
                  </a:moveTo>
                  <a:lnTo>
                    <a:pt x="18" y="15"/>
                  </a:lnTo>
                  <a:lnTo>
                    <a:pt x="22" y="13"/>
                  </a:lnTo>
                  <a:lnTo>
                    <a:pt x="23" y="9"/>
                  </a:lnTo>
                  <a:lnTo>
                    <a:pt x="23" y="7"/>
                  </a:lnTo>
                  <a:lnTo>
                    <a:pt x="22" y="3"/>
                  </a:lnTo>
                  <a:lnTo>
                    <a:pt x="21" y="1"/>
                  </a:lnTo>
                  <a:lnTo>
                    <a:pt x="18" y="0"/>
                  </a:lnTo>
                  <a:lnTo>
                    <a:pt x="17" y="0"/>
                  </a:lnTo>
                  <a:lnTo>
                    <a:pt x="16" y="2"/>
                  </a:lnTo>
                  <a:lnTo>
                    <a:pt x="14" y="6"/>
                  </a:lnTo>
                  <a:lnTo>
                    <a:pt x="14" y="9"/>
                  </a:lnTo>
                  <a:lnTo>
                    <a:pt x="13" y="12"/>
                  </a:lnTo>
                  <a:lnTo>
                    <a:pt x="11" y="13"/>
                  </a:lnTo>
                  <a:lnTo>
                    <a:pt x="6" y="16"/>
                  </a:lnTo>
                  <a:lnTo>
                    <a:pt x="2" y="19"/>
                  </a:lnTo>
                  <a:lnTo>
                    <a:pt x="0" y="21"/>
                  </a:lnTo>
                  <a:lnTo>
                    <a:pt x="0" y="22"/>
                  </a:lnTo>
                  <a:lnTo>
                    <a:pt x="3" y="23"/>
                  </a:lnTo>
                  <a:lnTo>
                    <a:pt x="4" y="25"/>
                  </a:lnTo>
                  <a:lnTo>
                    <a:pt x="9" y="22"/>
                  </a:lnTo>
                  <a:lnTo>
                    <a:pt x="14" y="19"/>
                  </a:lnTo>
                  <a:lnTo>
                    <a:pt x="18" y="1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2" name="Freeform 1271"/>
            <p:cNvSpPr>
              <a:spLocks/>
            </p:cNvSpPr>
            <p:nvPr/>
          </p:nvSpPr>
          <p:spPr bwMode="auto">
            <a:xfrm>
              <a:off x="4778375" y="1925638"/>
              <a:ext cx="20638" cy="30162"/>
            </a:xfrm>
            <a:custGeom>
              <a:avLst/>
              <a:gdLst>
                <a:gd name="T0" fmla="*/ 2147483647 w 14"/>
                <a:gd name="T1" fmla="*/ 2147483647 h 19"/>
                <a:gd name="T2" fmla="*/ 2147483647 w 14"/>
                <a:gd name="T3" fmla="*/ 2147483647 h 19"/>
                <a:gd name="T4" fmla="*/ 2147483647 w 14"/>
                <a:gd name="T5" fmla="*/ 2147483647 h 19"/>
                <a:gd name="T6" fmla="*/ 2147483647 w 14"/>
                <a:gd name="T7" fmla="*/ 2147483647 h 19"/>
                <a:gd name="T8" fmla="*/ 2147483647 w 14"/>
                <a:gd name="T9" fmla="*/ 2147483647 h 19"/>
                <a:gd name="T10" fmla="*/ 2147483647 w 14"/>
                <a:gd name="T11" fmla="*/ 0 h 19"/>
                <a:gd name="T12" fmla="*/ 2147483647 w 14"/>
                <a:gd name="T13" fmla="*/ 2147483647 h 19"/>
                <a:gd name="T14" fmla="*/ 2147483647 w 14"/>
                <a:gd name="T15" fmla="*/ 2147483647 h 19"/>
                <a:gd name="T16" fmla="*/ 0 w 14"/>
                <a:gd name="T17" fmla="*/ 2147483647 h 19"/>
                <a:gd name="T18" fmla="*/ 0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9"/>
                <a:gd name="T56" fmla="*/ 14 w 14"/>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9">
                  <a:moveTo>
                    <a:pt x="6" y="13"/>
                  </a:moveTo>
                  <a:lnTo>
                    <a:pt x="11" y="8"/>
                  </a:lnTo>
                  <a:lnTo>
                    <a:pt x="14" y="6"/>
                  </a:lnTo>
                  <a:lnTo>
                    <a:pt x="13" y="2"/>
                  </a:lnTo>
                  <a:lnTo>
                    <a:pt x="9" y="1"/>
                  </a:lnTo>
                  <a:lnTo>
                    <a:pt x="6" y="0"/>
                  </a:lnTo>
                  <a:lnTo>
                    <a:pt x="2" y="1"/>
                  </a:lnTo>
                  <a:lnTo>
                    <a:pt x="1" y="5"/>
                  </a:lnTo>
                  <a:lnTo>
                    <a:pt x="0" y="9"/>
                  </a:lnTo>
                  <a:lnTo>
                    <a:pt x="0" y="14"/>
                  </a:lnTo>
                  <a:lnTo>
                    <a:pt x="1" y="18"/>
                  </a:lnTo>
                  <a:lnTo>
                    <a:pt x="2" y="19"/>
                  </a:lnTo>
                  <a:lnTo>
                    <a:pt x="5" y="19"/>
                  </a:lnTo>
                  <a:lnTo>
                    <a:pt x="6" y="19"/>
                  </a:lnTo>
                  <a:lnTo>
                    <a:pt x="6" y="16"/>
                  </a:lnTo>
                  <a:lnTo>
                    <a:pt x="6" y="14"/>
                  </a:lnTo>
                  <a:lnTo>
                    <a:pt x="8" y="13"/>
                  </a:lnTo>
                  <a:lnTo>
                    <a:pt x="6"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3" name="Freeform 1272"/>
            <p:cNvSpPr>
              <a:spLocks/>
            </p:cNvSpPr>
            <p:nvPr/>
          </p:nvSpPr>
          <p:spPr bwMode="auto">
            <a:xfrm>
              <a:off x="4762500" y="1954217"/>
              <a:ext cx="4763" cy="11112"/>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0 w 3"/>
                <a:gd name="T13" fmla="*/ 0 h 7"/>
                <a:gd name="T14" fmla="*/ 0 w 3"/>
                <a:gd name="T15" fmla="*/ 2147483647 h 7"/>
                <a:gd name="T16" fmla="*/ 0 w 3"/>
                <a:gd name="T17" fmla="*/ 2147483647 h 7"/>
                <a:gd name="T18" fmla="*/ 2147483647 w 3"/>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7"/>
                <a:gd name="T32" fmla="*/ 3 w 3"/>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7">
                  <a:moveTo>
                    <a:pt x="1" y="7"/>
                  </a:moveTo>
                  <a:lnTo>
                    <a:pt x="3" y="6"/>
                  </a:lnTo>
                  <a:lnTo>
                    <a:pt x="3" y="4"/>
                  </a:lnTo>
                  <a:lnTo>
                    <a:pt x="3" y="3"/>
                  </a:lnTo>
                  <a:lnTo>
                    <a:pt x="3" y="2"/>
                  </a:lnTo>
                  <a:lnTo>
                    <a:pt x="1" y="1"/>
                  </a:lnTo>
                  <a:lnTo>
                    <a:pt x="0" y="0"/>
                  </a:lnTo>
                  <a:lnTo>
                    <a:pt x="0" y="1"/>
                  </a:lnTo>
                  <a:lnTo>
                    <a:pt x="0" y="3"/>
                  </a:lnTo>
                  <a:lnTo>
                    <a:pt x="1"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4" name="Freeform 1273"/>
            <p:cNvSpPr>
              <a:spLocks/>
            </p:cNvSpPr>
            <p:nvPr/>
          </p:nvSpPr>
          <p:spPr bwMode="auto">
            <a:xfrm>
              <a:off x="4776791" y="1924054"/>
              <a:ext cx="20637" cy="30163"/>
            </a:xfrm>
            <a:custGeom>
              <a:avLst/>
              <a:gdLst>
                <a:gd name="T0" fmla="*/ 2147483647 w 14"/>
                <a:gd name="T1" fmla="*/ 2147483647 h 19"/>
                <a:gd name="T2" fmla="*/ 2147483647 w 14"/>
                <a:gd name="T3" fmla="*/ 2147483647 h 19"/>
                <a:gd name="T4" fmla="*/ 2147483647 w 14"/>
                <a:gd name="T5" fmla="*/ 2147483647 h 19"/>
                <a:gd name="T6" fmla="*/ 2147483647 w 14"/>
                <a:gd name="T7" fmla="*/ 2147483647 h 19"/>
                <a:gd name="T8" fmla="*/ 2147483647 w 14"/>
                <a:gd name="T9" fmla="*/ 2147483647 h 19"/>
                <a:gd name="T10" fmla="*/ 2147483647 w 14"/>
                <a:gd name="T11" fmla="*/ 2147483647 h 19"/>
                <a:gd name="T12" fmla="*/ 2147483647 w 14"/>
                <a:gd name="T13" fmla="*/ 2147483647 h 19"/>
                <a:gd name="T14" fmla="*/ 2147483647 w 14"/>
                <a:gd name="T15" fmla="*/ 0 h 19"/>
                <a:gd name="T16" fmla="*/ 2147483647 w 14"/>
                <a:gd name="T17" fmla="*/ 2147483647 h 19"/>
                <a:gd name="T18" fmla="*/ 2147483647 w 14"/>
                <a:gd name="T19" fmla="*/ 2147483647 h 19"/>
                <a:gd name="T20" fmla="*/ 2147483647 w 14"/>
                <a:gd name="T21" fmla="*/ 2147483647 h 19"/>
                <a:gd name="T22" fmla="*/ 0 w 14"/>
                <a:gd name="T23" fmla="*/ 2147483647 h 19"/>
                <a:gd name="T24" fmla="*/ 0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2147483647 w 14"/>
                <a:gd name="T37" fmla="*/ 2147483647 h 19"/>
                <a:gd name="T38" fmla="*/ 2147483647 w 14"/>
                <a:gd name="T39" fmla="*/ 2147483647 h 19"/>
                <a:gd name="T40" fmla="*/ 2147483647 w 14"/>
                <a:gd name="T41" fmla="*/ 2147483647 h 19"/>
                <a:gd name="T42" fmla="*/ 2147483647 w 14"/>
                <a:gd name="T43" fmla="*/ 2147483647 h 19"/>
                <a:gd name="T44" fmla="*/ 2147483647 w 14"/>
                <a:gd name="T45" fmla="*/ 2147483647 h 19"/>
                <a:gd name="T46" fmla="*/ 2147483647 w 14"/>
                <a:gd name="T47" fmla="*/ 2147483647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9"/>
                <a:gd name="T74" fmla="*/ 14 w 14"/>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9">
                  <a:moveTo>
                    <a:pt x="6" y="13"/>
                  </a:moveTo>
                  <a:lnTo>
                    <a:pt x="6" y="13"/>
                  </a:lnTo>
                  <a:lnTo>
                    <a:pt x="11" y="8"/>
                  </a:lnTo>
                  <a:lnTo>
                    <a:pt x="14" y="6"/>
                  </a:lnTo>
                  <a:lnTo>
                    <a:pt x="12" y="2"/>
                  </a:lnTo>
                  <a:lnTo>
                    <a:pt x="9" y="1"/>
                  </a:lnTo>
                  <a:lnTo>
                    <a:pt x="6" y="0"/>
                  </a:lnTo>
                  <a:lnTo>
                    <a:pt x="2" y="1"/>
                  </a:lnTo>
                  <a:lnTo>
                    <a:pt x="1" y="4"/>
                  </a:lnTo>
                  <a:lnTo>
                    <a:pt x="0" y="9"/>
                  </a:lnTo>
                  <a:lnTo>
                    <a:pt x="0" y="14"/>
                  </a:lnTo>
                  <a:lnTo>
                    <a:pt x="1" y="17"/>
                  </a:lnTo>
                  <a:lnTo>
                    <a:pt x="2" y="19"/>
                  </a:lnTo>
                  <a:lnTo>
                    <a:pt x="5" y="19"/>
                  </a:lnTo>
                  <a:lnTo>
                    <a:pt x="6" y="19"/>
                  </a:lnTo>
                  <a:lnTo>
                    <a:pt x="6" y="16"/>
                  </a:lnTo>
                  <a:lnTo>
                    <a:pt x="6" y="14"/>
                  </a:lnTo>
                  <a:lnTo>
                    <a:pt x="7" y="13"/>
                  </a:lnTo>
                  <a:lnTo>
                    <a:pt x="6"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5" name="Freeform 1274"/>
            <p:cNvSpPr>
              <a:spLocks/>
            </p:cNvSpPr>
            <p:nvPr/>
          </p:nvSpPr>
          <p:spPr bwMode="auto">
            <a:xfrm>
              <a:off x="4759325" y="1951039"/>
              <a:ext cx="6350" cy="12700"/>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2147483647 w 4"/>
                <a:gd name="T13" fmla="*/ 2147483647 h 8"/>
                <a:gd name="T14" fmla="*/ 2147483647 w 4"/>
                <a:gd name="T15" fmla="*/ 2147483647 h 8"/>
                <a:gd name="T16" fmla="*/ 2147483647 w 4"/>
                <a:gd name="T17" fmla="*/ 2147483647 h 8"/>
                <a:gd name="T18" fmla="*/ 0 w 4"/>
                <a:gd name="T19" fmla="*/ 0 h 8"/>
                <a:gd name="T20" fmla="*/ 0 w 4"/>
                <a:gd name="T21" fmla="*/ 2147483647 h 8"/>
                <a:gd name="T22" fmla="*/ 0 w 4"/>
                <a:gd name="T23" fmla="*/ 2147483647 h 8"/>
                <a:gd name="T24" fmla="*/ 0 w 4"/>
                <a:gd name="T25" fmla="*/ 2147483647 h 8"/>
                <a:gd name="T26" fmla="*/ 2147483647 w 4"/>
                <a:gd name="T27" fmla="*/ 2147483647 h 8"/>
                <a:gd name="T28" fmla="*/ 2147483647 w 4"/>
                <a:gd name="T29" fmla="*/ 2147483647 h 8"/>
                <a:gd name="T30" fmla="*/ 2147483647 w 4"/>
                <a:gd name="T31" fmla="*/ 2147483647 h 8"/>
                <a:gd name="T32" fmla="*/ 2147483647 w 4"/>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8"/>
                <a:gd name="T53" fmla="*/ 4 w 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8">
                  <a:moveTo>
                    <a:pt x="2" y="8"/>
                  </a:moveTo>
                  <a:lnTo>
                    <a:pt x="2" y="8"/>
                  </a:lnTo>
                  <a:lnTo>
                    <a:pt x="4" y="6"/>
                  </a:lnTo>
                  <a:lnTo>
                    <a:pt x="4" y="5"/>
                  </a:lnTo>
                  <a:lnTo>
                    <a:pt x="4" y="4"/>
                  </a:lnTo>
                  <a:lnTo>
                    <a:pt x="4" y="3"/>
                  </a:lnTo>
                  <a:lnTo>
                    <a:pt x="2" y="2"/>
                  </a:lnTo>
                  <a:lnTo>
                    <a:pt x="0" y="0"/>
                  </a:lnTo>
                  <a:lnTo>
                    <a:pt x="0" y="2"/>
                  </a:lnTo>
                  <a:lnTo>
                    <a:pt x="0" y="4"/>
                  </a:lnTo>
                  <a:lnTo>
                    <a:pt x="2" y="8"/>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6" name="Freeform 1275"/>
            <p:cNvSpPr>
              <a:spLocks/>
            </p:cNvSpPr>
            <p:nvPr/>
          </p:nvSpPr>
          <p:spPr bwMode="auto">
            <a:xfrm>
              <a:off x="4732339" y="1960567"/>
              <a:ext cx="25400" cy="26987"/>
            </a:xfrm>
            <a:custGeom>
              <a:avLst/>
              <a:gdLst>
                <a:gd name="T0" fmla="*/ 2147483647 w 18"/>
                <a:gd name="T1" fmla="*/ 2147483647 h 17"/>
                <a:gd name="T2" fmla="*/ 2147483647 w 18"/>
                <a:gd name="T3" fmla="*/ 2147483647 h 17"/>
                <a:gd name="T4" fmla="*/ 2147483647 w 18"/>
                <a:gd name="T5" fmla="*/ 2147483647 h 17"/>
                <a:gd name="T6" fmla="*/ 2147483647 w 18"/>
                <a:gd name="T7" fmla="*/ 0 h 17"/>
                <a:gd name="T8" fmla="*/ 2147483647 w 18"/>
                <a:gd name="T9" fmla="*/ 0 h 17"/>
                <a:gd name="T10" fmla="*/ 2147483647 w 18"/>
                <a:gd name="T11" fmla="*/ 2147483647 h 17"/>
                <a:gd name="T12" fmla="*/ 2147483647 w 18"/>
                <a:gd name="T13" fmla="*/ 2147483647 h 17"/>
                <a:gd name="T14" fmla="*/ 2147483647 w 18"/>
                <a:gd name="T15" fmla="*/ 2147483647 h 17"/>
                <a:gd name="T16" fmla="*/ 2147483647 w 18"/>
                <a:gd name="T17" fmla="*/ 2147483647 h 17"/>
                <a:gd name="T18" fmla="*/ 0 w 18"/>
                <a:gd name="T19" fmla="*/ 2147483647 h 17"/>
                <a:gd name="T20" fmla="*/ 2147483647 w 18"/>
                <a:gd name="T21" fmla="*/ 2147483647 h 17"/>
                <a:gd name="T22" fmla="*/ 2147483647 w 18"/>
                <a:gd name="T23" fmla="*/ 2147483647 h 17"/>
                <a:gd name="T24" fmla="*/ 2147483647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2147483647 w 18"/>
                <a:gd name="T35" fmla="*/ 2147483647 h 17"/>
                <a:gd name="T36" fmla="*/ 2147483647 w 18"/>
                <a:gd name="T37" fmla="*/ 2147483647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17"/>
                <a:gd name="T59" fmla="*/ 18 w 18"/>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17">
                  <a:moveTo>
                    <a:pt x="18" y="6"/>
                  </a:moveTo>
                  <a:lnTo>
                    <a:pt x="17" y="4"/>
                  </a:lnTo>
                  <a:lnTo>
                    <a:pt x="15" y="2"/>
                  </a:lnTo>
                  <a:lnTo>
                    <a:pt x="12" y="0"/>
                  </a:lnTo>
                  <a:lnTo>
                    <a:pt x="9" y="0"/>
                  </a:lnTo>
                  <a:lnTo>
                    <a:pt x="7" y="3"/>
                  </a:lnTo>
                  <a:lnTo>
                    <a:pt x="4" y="6"/>
                  </a:lnTo>
                  <a:lnTo>
                    <a:pt x="3" y="11"/>
                  </a:lnTo>
                  <a:lnTo>
                    <a:pt x="1" y="15"/>
                  </a:lnTo>
                  <a:lnTo>
                    <a:pt x="0" y="16"/>
                  </a:lnTo>
                  <a:lnTo>
                    <a:pt x="1" y="17"/>
                  </a:lnTo>
                  <a:lnTo>
                    <a:pt x="3" y="17"/>
                  </a:lnTo>
                  <a:lnTo>
                    <a:pt x="4" y="17"/>
                  </a:lnTo>
                  <a:lnTo>
                    <a:pt x="5" y="16"/>
                  </a:lnTo>
                  <a:lnTo>
                    <a:pt x="7" y="15"/>
                  </a:lnTo>
                  <a:lnTo>
                    <a:pt x="12" y="15"/>
                  </a:lnTo>
                  <a:lnTo>
                    <a:pt x="14" y="12"/>
                  </a:lnTo>
                  <a:lnTo>
                    <a:pt x="17" y="10"/>
                  </a:lnTo>
                  <a:lnTo>
                    <a:pt x="18" y="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7" name="Freeform 1276"/>
            <p:cNvSpPr>
              <a:spLocks/>
            </p:cNvSpPr>
            <p:nvPr/>
          </p:nvSpPr>
          <p:spPr bwMode="auto">
            <a:xfrm>
              <a:off x="4738688" y="1941514"/>
              <a:ext cx="12700" cy="12700"/>
            </a:xfrm>
            <a:custGeom>
              <a:avLst/>
              <a:gdLst>
                <a:gd name="T0" fmla="*/ 2147483647 w 8"/>
                <a:gd name="T1" fmla="*/ 2147483647 h 8"/>
                <a:gd name="T2" fmla="*/ 2147483647 w 8"/>
                <a:gd name="T3" fmla="*/ 2147483647 h 8"/>
                <a:gd name="T4" fmla="*/ 2147483647 w 8"/>
                <a:gd name="T5" fmla="*/ 0 h 8"/>
                <a:gd name="T6" fmla="*/ 2147483647 w 8"/>
                <a:gd name="T7" fmla="*/ 0 h 8"/>
                <a:gd name="T8" fmla="*/ 2147483647 w 8"/>
                <a:gd name="T9" fmla="*/ 0 h 8"/>
                <a:gd name="T10" fmla="*/ 2147483647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5" y="4"/>
                  </a:moveTo>
                  <a:lnTo>
                    <a:pt x="7" y="2"/>
                  </a:lnTo>
                  <a:lnTo>
                    <a:pt x="8" y="0"/>
                  </a:lnTo>
                  <a:lnTo>
                    <a:pt x="7" y="0"/>
                  </a:lnTo>
                  <a:lnTo>
                    <a:pt x="4" y="0"/>
                  </a:lnTo>
                  <a:lnTo>
                    <a:pt x="3" y="3"/>
                  </a:lnTo>
                  <a:lnTo>
                    <a:pt x="0" y="5"/>
                  </a:lnTo>
                  <a:lnTo>
                    <a:pt x="2" y="8"/>
                  </a:lnTo>
                  <a:lnTo>
                    <a:pt x="3" y="6"/>
                  </a:lnTo>
                  <a:lnTo>
                    <a:pt x="4" y="5"/>
                  </a:lnTo>
                  <a:lnTo>
                    <a:pt x="5" y="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8" name="Freeform 1277"/>
            <p:cNvSpPr>
              <a:spLocks/>
            </p:cNvSpPr>
            <p:nvPr/>
          </p:nvSpPr>
          <p:spPr bwMode="auto">
            <a:xfrm>
              <a:off x="4730750" y="1958976"/>
              <a:ext cx="25400" cy="26988"/>
            </a:xfrm>
            <a:custGeom>
              <a:avLst/>
              <a:gdLst>
                <a:gd name="T0" fmla="*/ 2147483647 w 18"/>
                <a:gd name="T1" fmla="*/ 2147483647 h 17"/>
                <a:gd name="T2" fmla="*/ 2147483647 w 18"/>
                <a:gd name="T3" fmla="*/ 2147483647 h 17"/>
                <a:gd name="T4" fmla="*/ 2147483647 w 18"/>
                <a:gd name="T5" fmla="*/ 2147483647 h 17"/>
                <a:gd name="T6" fmla="*/ 2147483647 w 18"/>
                <a:gd name="T7" fmla="*/ 2147483647 h 17"/>
                <a:gd name="T8" fmla="*/ 2147483647 w 18"/>
                <a:gd name="T9" fmla="*/ 0 h 17"/>
                <a:gd name="T10" fmla="*/ 2147483647 w 18"/>
                <a:gd name="T11" fmla="*/ 0 h 17"/>
                <a:gd name="T12" fmla="*/ 2147483647 w 18"/>
                <a:gd name="T13" fmla="*/ 0 h 17"/>
                <a:gd name="T14" fmla="*/ 2147483647 w 18"/>
                <a:gd name="T15" fmla="*/ 2147483647 h 17"/>
                <a:gd name="T16" fmla="*/ 2147483647 w 18"/>
                <a:gd name="T17" fmla="*/ 2147483647 h 17"/>
                <a:gd name="T18" fmla="*/ 2147483647 w 18"/>
                <a:gd name="T19" fmla="*/ 2147483647 h 17"/>
                <a:gd name="T20" fmla="*/ 2147483647 w 18"/>
                <a:gd name="T21" fmla="*/ 2147483647 h 17"/>
                <a:gd name="T22" fmla="*/ 2147483647 w 18"/>
                <a:gd name="T23" fmla="*/ 2147483647 h 17"/>
                <a:gd name="T24" fmla="*/ 0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2147483647 w 18"/>
                <a:gd name="T35" fmla="*/ 2147483647 h 17"/>
                <a:gd name="T36" fmla="*/ 2147483647 w 18"/>
                <a:gd name="T37" fmla="*/ 2147483647 h 17"/>
                <a:gd name="T38" fmla="*/ 2147483647 w 18"/>
                <a:gd name="T39" fmla="*/ 2147483647 h 17"/>
                <a:gd name="T40" fmla="*/ 2147483647 w 18"/>
                <a:gd name="T41" fmla="*/ 2147483647 h 17"/>
                <a:gd name="T42" fmla="*/ 2147483647 w 18"/>
                <a:gd name="T43" fmla="*/ 2147483647 h 17"/>
                <a:gd name="T44" fmla="*/ 2147483647 w 18"/>
                <a:gd name="T45" fmla="*/ 2147483647 h 17"/>
                <a:gd name="T46" fmla="*/ 2147483647 w 18"/>
                <a:gd name="T47" fmla="*/ 2147483647 h 17"/>
                <a:gd name="T48" fmla="*/ 2147483647 w 18"/>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7"/>
                <a:gd name="T77" fmla="*/ 18 w 18"/>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7">
                  <a:moveTo>
                    <a:pt x="18" y="6"/>
                  </a:moveTo>
                  <a:lnTo>
                    <a:pt x="18" y="6"/>
                  </a:lnTo>
                  <a:lnTo>
                    <a:pt x="16" y="4"/>
                  </a:lnTo>
                  <a:lnTo>
                    <a:pt x="15" y="1"/>
                  </a:lnTo>
                  <a:lnTo>
                    <a:pt x="11" y="0"/>
                  </a:lnTo>
                  <a:lnTo>
                    <a:pt x="9" y="0"/>
                  </a:lnTo>
                  <a:lnTo>
                    <a:pt x="6" y="3"/>
                  </a:lnTo>
                  <a:lnTo>
                    <a:pt x="4" y="6"/>
                  </a:lnTo>
                  <a:lnTo>
                    <a:pt x="2" y="11"/>
                  </a:lnTo>
                  <a:lnTo>
                    <a:pt x="1" y="14"/>
                  </a:lnTo>
                  <a:lnTo>
                    <a:pt x="0" y="16"/>
                  </a:lnTo>
                  <a:lnTo>
                    <a:pt x="1" y="17"/>
                  </a:lnTo>
                  <a:lnTo>
                    <a:pt x="2" y="17"/>
                  </a:lnTo>
                  <a:lnTo>
                    <a:pt x="4" y="17"/>
                  </a:lnTo>
                  <a:lnTo>
                    <a:pt x="5" y="16"/>
                  </a:lnTo>
                  <a:lnTo>
                    <a:pt x="6" y="14"/>
                  </a:lnTo>
                  <a:lnTo>
                    <a:pt x="11" y="14"/>
                  </a:lnTo>
                  <a:lnTo>
                    <a:pt x="14" y="12"/>
                  </a:lnTo>
                  <a:lnTo>
                    <a:pt x="16" y="10"/>
                  </a:lnTo>
                  <a:lnTo>
                    <a:pt x="18" y="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79" name="Freeform 1278"/>
            <p:cNvSpPr>
              <a:spLocks/>
            </p:cNvSpPr>
            <p:nvPr/>
          </p:nvSpPr>
          <p:spPr bwMode="auto">
            <a:xfrm>
              <a:off x="4737100" y="1939925"/>
              <a:ext cx="12700" cy="11113"/>
            </a:xfrm>
            <a:custGeom>
              <a:avLst/>
              <a:gdLst>
                <a:gd name="T0" fmla="*/ 2147483647 w 8"/>
                <a:gd name="T1" fmla="*/ 2147483647 h 7"/>
                <a:gd name="T2" fmla="*/ 2147483647 w 8"/>
                <a:gd name="T3" fmla="*/ 2147483647 h 7"/>
                <a:gd name="T4" fmla="*/ 2147483647 w 8"/>
                <a:gd name="T5" fmla="*/ 2147483647 h 7"/>
                <a:gd name="T6" fmla="*/ 2147483647 w 8"/>
                <a:gd name="T7" fmla="*/ 0 h 7"/>
                <a:gd name="T8" fmla="*/ 2147483647 w 8"/>
                <a:gd name="T9" fmla="*/ 0 h 7"/>
                <a:gd name="T10" fmla="*/ 2147483647 w 8"/>
                <a:gd name="T11" fmla="*/ 0 h 7"/>
                <a:gd name="T12" fmla="*/ 2147483647 w 8"/>
                <a:gd name="T13" fmla="*/ 0 h 7"/>
                <a:gd name="T14" fmla="*/ 2147483647 w 8"/>
                <a:gd name="T15" fmla="*/ 2147483647 h 7"/>
                <a:gd name="T16" fmla="*/ 0 w 8"/>
                <a:gd name="T17" fmla="*/ 2147483647 h 7"/>
                <a:gd name="T18" fmla="*/ 2147483647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7"/>
                <a:gd name="T50" fmla="*/ 8 w 8"/>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7">
                  <a:moveTo>
                    <a:pt x="5" y="4"/>
                  </a:moveTo>
                  <a:lnTo>
                    <a:pt x="5" y="4"/>
                  </a:lnTo>
                  <a:lnTo>
                    <a:pt x="6" y="1"/>
                  </a:lnTo>
                  <a:lnTo>
                    <a:pt x="8" y="0"/>
                  </a:lnTo>
                  <a:lnTo>
                    <a:pt x="6" y="0"/>
                  </a:lnTo>
                  <a:lnTo>
                    <a:pt x="4" y="0"/>
                  </a:lnTo>
                  <a:lnTo>
                    <a:pt x="3" y="3"/>
                  </a:lnTo>
                  <a:lnTo>
                    <a:pt x="0" y="5"/>
                  </a:lnTo>
                  <a:lnTo>
                    <a:pt x="1" y="7"/>
                  </a:lnTo>
                  <a:lnTo>
                    <a:pt x="3" y="6"/>
                  </a:lnTo>
                  <a:lnTo>
                    <a:pt x="4" y="5"/>
                  </a:lnTo>
                  <a:lnTo>
                    <a:pt x="5"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0" name="Freeform 1279"/>
            <p:cNvSpPr>
              <a:spLocks/>
            </p:cNvSpPr>
            <p:nvPr/>
          </p:nvSpPr>
          <p:spPr bwMode="auto">
            <a:xfrm>
              <a:off x="4711700" y="1958976"/>
              <a:ext cx="19050" cy="26988"/>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0 w 13"/>
                <a:gd name="T13" fmla="*/ 2147483647 h 17"/>
                <a:gd name="T14" fmla="*/ 2147483647 w 13"/>
                <a:gd name="T15" fmla="*/ 2147483647 h 17"/>
                <a:gd name="T16" fmla="*/ 2147483647 w 13"/>
                <a:gd name="T17" fmla="*/ 2147483647 h 17"/>
                <a:gd name="T18" fmla="*/ 2147483647 w 13"/>
                <a:gd name="T19" fmla="*/ 0 h 17"/>
                <a:gd name="T20" fmla="*/ 2147483647 w 13"/>
                <a:gd name="T21" fmla="*/ 0 h 17"/>
                <a:gd name="T22" fmla="*/ 2147483647 w 13"/>
                <a:gd name="T23" fmla="*/ 2147483647 h 17"/>
                <a:gd name="T24" fmla="*/ 2147483647 w 13"/>
                <a:gd name="T25" fmla="*/ 2147483647 h 17"/>
                <a:gd name="T26" fmla="*/ 2147483647 w 13"/>
                <a:gd name="T27" fmla="*/ 2147483647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7"/>
                <a:gd name="T44" fmla="*/ 13 w 13"/>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7">
                  <a:moveTo>
                    <a:pt x="13" y="7"/>
                  </a:moveTo>
                  <a:lnTo>
                    <a:pt x="10" y="12"/>
                  </a:lnTo>
                  <a:lnTo>
                    <a:pt x="8" y="16"/>
                  </a:lnTo>
                  <a:lnTo>
                    <a:pt x="4" y="17"/>
                  </a:lnTo>
                  <a:lnTo>
                    <a:pt x="3" y="17"/>
                  </a:lnTo>
                  <a:lnTo>
                    <a:pt x="2" y="16"/>
                  </a:lnTo>
                  <a:lnTo>
                    <a:pt x="0" y="11"/>
                  </a:lnTo>
                  <a:lnTo>
                    <a:pt x="2" y="7"/>
                  </a:lnTo>
                  <a:lnTo>
                    <a:pt x="4" y="3"/>
                  </a:lnTo>
                  <a:lnTo>
                    <a:pt x="9" y="0"/>
                  </a:lnTo>
                  <a:lnTo>
                    <a:pt x="12" y="0"/>
                  </a:lnTo>
                  <a:lnTo>
                    <a:pt x="13" y="3"/>
                  </a:lnTo>
                  <a:lnTo>
                    <a:pt x="13" y="5"/>
                  </a:lnTo>
                  <a:lnTo>
                    <a:pt x="13"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1" name="Freeform 1280"/>
            <p:cNvSpPr>
              <a:spLocks/>
            </p:cNvSpPr>
            <p:nvPr/>
          </p:nvSpPr>
          <p:spPr bwMode="auto">
            <a:xfrm>
              <a:off x="4467228" y="2346326"/>
              <a:ext cx="9525" cy="19050"/>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0 w 6"/>
                <a:gd name="T9" fmla="*/ 2147483647 h 12"/>
                <a:gd name="T10" fmla="*/ 0 w 6"/>
                <a:gd name="T11" fmla="*/ 2147483647 h 12"/>
                <a:gd name="T12" fmla="*/ 2147483647 w 6"/>
                <a:gd name="T13" fmla="*/ 2147483647 h 12"/>
                <a:gd name="T14" fmla="*/ 2147483647 w 6"/>
                <a:gd name="T15" fmla="*/ 2147483647 h 12"/>
                <a:gd name="T16" fmla="*/ 2147483647 w 6"/>
                <a:gd name="T17" fmla="*/ 0 h 12"/>
                <a:gd name="T18" fmla="*/ 2147483647 w 6"/>
                <a:gd name="T19" fmla="*/ 0 h 12"/>
                <a:gd name="T20" fmla="*/ 2147483647 w 6"/>
                <a:gd name="T21" fmla="*/ 2147483647 h 12"/>
                <a:gd name="T22" fmla="*/ 2147483647 w 6"/>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2"/>
                <a:gd name="T38" fmla="*/ 6 w 6"/>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2">
                  <a:moveTo>
                    <a:pt x="6" y="10"/>
                  </a:moveTo>
                  <a:lnTo>
                    <a:pt x="5" y="12"/>
                  </a:lnTo>
                  <a:lnTo>
                    <a:pt x="4" y="12"/>
                  </a:lnTo>
                  <a:lnTo>
                    <a:pt x="2" y="12"/>
                  </a:lnTo>
                  <a:lnTo>
                    <a:pt x="0" y="10"/>
                  </a:lnTo>
                  <a:lnTo>
                    <a:pt x="0" y="6"/>
                  </a:lnTo>
                  <a:lnTo>
                    <a:pt x="1" y="4"/>
                  </a:lnTo>
                  <a:lnTo>
                    <a:pt x="2" y="2"/>
                  </a:lnTo>
                  <a:lnTo>
                    <a:pt x="4" y="0"/>
                  </a:lnTo>
                  <a:lnTo>
                    <a:pt x="5" y="0"/>
                  </a:lnTo>
                  <a:lnTo>
                    <a:pt x="6" y="3"/>
                  </a:lnTo>
                  <a:lnTo>
                    <a:pt x="6"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2" name="Freeform 1281"/>
            <p:cNvSpPr>
              <a:spLocks/>
            </p:cNvSpPr>
            <p:nvPr/>
          </p:nvSpPr>
          <p:spPr bwMode="auto">
            <a:xfrm>
              <a:off x="4710113" y="1957392"/>
              <a:ext cx="19050" cy="26987"/>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2147483647 w 13"/>
                <a:gd name="T13" fmla="*/ 2147483647 h 17"/>
                <a:gd name="T14" fmla="*/ 2147483647 w 13"/>
                <a:gd name="T15" fmla="*/ 2147483647 h 17"/>
                <a:gd name="T16" fmla="*/ 0 w 13"/>
                <a:gd name="T17" fmla="*/ 2147483647 h 17"/>
                <a:gd name="T18" fmla="*/ 2147483647 w 13"/>
                <a:gd name="T19" fmla="*/ 2147483647 h 17"/>
                <a:gd name="T20" fmla="*/ 2147483647 w 13"/>
                <a:gd name="T21" fmla="*/ 2147483647 h 17"/>
                <a:gd name="T22" fmla="*/ 2147483647 w 13"/>
                <a:gd name="T23" fmla="*/ 0 h 17"/>
                <a:gd name="T24" fmla="*/ 2147483647 w 13"/>
                <a:gd name="T25" fmla="*/ 0 h 17"/>
                <a:gd name="T26" fmla="*/ 2147483647 w 13"/>
                <a:gd name="T27" fmla="*/ 0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7"/>
                <a:gd name="T56" fmla="*/ 13 w 13"/>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7">
                  <a:moveTo>
                    <a:pt x="13" y="7"/>
                  </a:moveTo>
                  <a:lnTo>
                    <a:pt x="13" y="7"/>
                  </a:lnTo>
                  <a:lnTo>
                    <a:pt x="10" y="12"/>
                  </a:lnTo>
                  <a:lnTo>
                    <a:pt x="8" y="15"/>
                  </a:lnTo>
                  <a:lnTo>
                    <a:pt x="4" y="17"/>
                  </a:lnTo>
                  <a:lnTo>
                    <a:pt x="3" y="17"/>
                  </a:lnTo>
                  <a:lnTo>
                    <a:pt x="1" y="15"/>
                  </a:lnTo>
                  <a:lnTo>
                    <a:pt x="0" y="11"/>
                  </a:lnTo>
                  <a:lnTo>
                    <a:pt x="1" y="7"/>
                  </a:lnTo>
                  <a:lnTo>
                    <a:pt x="4" y="2"/>
                  </a:lnTo>
                  <a:lnTo>
                    <a:pt x="9" y="0"/>
                  </a:lnTo>
                  <a:lnTo>
                    <a:pt x="11" y="0"/>
                  </a:lnTo>
                  <a:lnTo>
                    <a:pt x="13" y="2"/>
                  </a:lnTo>
                  <a:lnTo>
                    <a:pt x="13" y="5"/>
                  </a:lnTo>
                  <a:lnTo>
                    <a:pt x="13"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3" name="Freeform 1282"/>
            <p:cNvSpPr>
              <a:spLocks/>
            </p:cNvSpPr>
            <p:nvPr/>
          </p:nvSpPr>
          <p:spPr bwMode="auto">
            <a:xfrm>
              <a:off x="4467225" y="2344741"/>
              <a:ext cx="7938" cy="19050"/>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2147483647 w 6"/>
                <a:gd name="T11" fmla="*/ 2147483647 h 12"/>
                <a:gd name="T12" fmla="*/ 0 w 6"/>
                <a:gd name="T13" fmla="*/ 2147483647 h 12"/>
                <a:gd name="T14" fmla="*/ 0 w 6"/>
                <a:gd name="T15" fmla="*/ 2147483647 h 12"/>
                <a:gd name="T16" fmla="*/ 2147483647 w 6"/>
                <a:gd name="T17" fmla="*/ 2147483647 h 12"/>
                <a:gd name="T18" fmla="*/ 2147483647 w 6"/>
                <a:gd name="T19" fmla="*/ 2147483647 h 12"/>
                <a:gd name="T20" fmla="*/ 2147483647 w 6"/>
                <a:gd name="T21" fmla="*/ 2147483647 h 12"/>
                <a:gd name="T22" fmla="*/ 2147483647 w 6"/>
                <a:gd name="T23" fmla="*/ 0 h 12"/>
                <a:gd name="T24" fmla="*/ 2147483647 w 6"/>
                <a:gd name="T25" fmla="*/ 0 h 12"/>
                <a:gd name="T26" fmla="*/ 2147483647 w 6"/>
                <a:gd name="T27" fmla="*/ 2147483647 h 12"/>
                <a:gd name="T28" fmla="*/ 2147483647 w 6"/>
                <a:gd name="T29" fmla="*/ 2147483647 h 12"/>
                <a:gd name="T30" fmla="*/ 2147483647 w 6"/>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2"/>
                <a:gd name="T50" fmla="*/ 6 w 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2">
                  <a:moveTo>
                    <a:pt x="6" y="10"/>
                  </a:moveTo>
                  <a:lnTo>
                    <a:pt x="6" y="10"/>
                  </a:lnTo>
                  <a:lnTo>
                    <a:pt x="5" y="12"/>
                  </a:lnTo>
                  <a:lnTo>
                    <a:pt x="3" y="12"/>
                  </a:lnTo>
                  <a:lnTo>
                    <a:pt x="2" y="12"/>
                  </a:lnTo>
                  <a:lnTo>
                    <a:pt x="0" y="10"/>
                  </a:lnTo>
                  <a:lnTo>
                    <a:pt x="0" y="6"/>
                  </a:lnTo>
                  <a:lnTo>
                    <a:pt x="1" y="4"/>
                  </a:lnTo>
                  <a:lnTo>
                    <a:pt x="2" y="1"/>
                  </a:lnTo>
                  <a:lnTo>
                    <a:pt x="3" y="0"/>
                  </a:lnTo>
                  <a:lnTo>
                    <a:pt x="5" y="0"/>
                  </a:lnTo>
                  <a:lnTo>
                    <a:pt x="6" y="3"/>
                  </a:lnTo>
                  <a:lnTo>
                    <a:pt x="6"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4" name="Freeform 1283"/>
            <p:cNvSpPr>
              <a:spLocks/>
            </p:cNvSpPr>
            <p:nvPr/>
          </p:nvSpPr>
          <p:spPr bwMode="auto">
            <a:xfrm>
              <a:off x="4470401" y="1855791"/>
              <a:ext cx="658813" cy="576262"/>
            </a:xfrm>
            <a:custGeom>
              <a:avLst/>
              <a:gdLst>
                <a:gd name="T0" fmla="*/ 2147483647 w 449"/>
                <a:gd name="T1" fmla="*/ 2147483647 h 363"/>
                <a:gd name="T2" fmla="*/ 2147483647 w 449"/>
                <a:gd name="T3" fmla="*/ 2147483647 h 363"/>
                <a:gd name="T4" fmla="*/ 2147483647 w 449"/>
                <a:gd name="T5" fmla="*/ 2147483647 h 363"/>
                <a:gd name="T6" fmla="*/ 2147483647 w 449"/>
                <a:gd name="T7" fmla="*/ 2147483647 h 363"/>
                <a:gd name="T8" fmla="*/ 2147483647 w 449"/>
                <a:gd name="T9" fmla="*/ 2147483647 h 363"/>
                <a:gd name="T10" fmla="*/ 2147483647 w 449"/>
                <a:gd name="T11" fmla="*/ 2147483647 h 363"/>
                <a:gd name="T12" fmla="*/ 2147483647 w 449"/>
                <a:gd name="T13" fmla="*/ 2147483647 h 363"/>
                <a:gd name="T14" fmla="*/ 2147483647 w 449"/>
                <a:gd name="T15" fmla="*/ 2147483647 h 363"/>
                <a:gd name="T16" fmla="*/ 2147483647 w 449"/>
                <a:gd name="T17" fmla="*/ 2147483647 h 363"/>
                <a:gd name="T18" fmla="*/ 2147483647 w 449"/>
                <a:gd name="T19" fmla="*/ 2147483647 h 363"/>
                <a:gd name="T20" fmla="*/ 2147483647 w 449"/>
                <a:gd name="T21" fmla="*/ 2147483647 h 363"/>
                <a:gd name="T22" fmla="*/ 2147483647 w 449"/>
                <a:gd name="T23" fmla="*/ 2147483647 h 363"/>
                <a:gd name="T24" fmla="*/ 2147483647 w 449"/>
                <a:gd name="T25" fmla="*/ 2147483647 h 363"/>
                <a:gd name="T26" fmla="*/ 2147483647 w 449"/>
                <a:gd name="T27" fmla="*/ 2147483647 h 363"/>
                <a:gd name="T28" fmla="*/ 2147483647 w 449"/>
                <a:gd name="T29" fmla="*/ 2147483647 h 363"/>
                <a:gd name="T30" fmla="*/ 2147483647 w 449"/>
                <a:gd name="T31" fmla="*/ 2147483647 h 363"/>
                <a:gd name="T32" fmla="*/ 2147483647 w 449"/>
                <a:gd name="T33" fmla="*/ 2147483647 h 363"/>
                <a:gd name="T34" fmla="*/ 2147483647 w 449"/>
                <a:gd name="T35" fmla="*/ 2147483647 h 363"/>
                <a:gd name="T36" fmla="*/ 2147483647 w 449"/>
                <a:gd name="T37" fmla="*/ 2147483647 h 363"/>
                <a:gd name="T38" fmla="*/ 2147483647 w 449"/>
                <a:gd name="T39" fmla="*/ 2147483647 h 363"/>
                <a:gd name="T40" fmla="*/ 0 w 449"/>
                <a:gd name="T41" fmla="*/ 2147483647 h 363"/>
                <a:gd name="T42" fmla="*/ 2147483647 w 449"/>
                <a:gd name="T43" fmla="*/ 2147483647 h 363"/>
                <a:gd name="T44" fmla="*/ 2147483647 w 449"/>
                <a:gd name="T45" fmla="*/ 2147483647 h 363"/>
                <a:gd name="T46" fmla="*/ 2147483647 w 449"/>
                <a:gd name="T47" fmla="*/ 2147483647 h 363"/>
                <a:gd name="T48" fmla="*/ 2147483647 w 449"/>
                <a:gd name="T49" fmla="*/ 2147483647 h 363"/>
                <a:gd name="T50" fmla="*/ 2147483647 w 449"/>
                <a:gd name="T51" fmla="*/ 2147483647 h 363"/>
                <a:gd name="T52" fmla="*/ 2147483647 w 449"/>
                <a:gd name="T53" fmla="*/ 2147483647 h 363"/>
                <a:gd name="T54" fmla="*/ 2147483647 w 449"/>
                <a:gd name="T55" fmla="*/ 2147483647 h 363"/>
                <a:gd name="T56" fmla="*/ 2147483647 w 449"/>
                <a:gd name="T57" fmla="*/ 2147483647 h 363"/>
                <a:gd name="T58" fmla="*/ 2147483647 w 449"/>
                <a:gd name="T59" fmla="*/ 2147483647 h 363"/>
                <a:gd name="T60" fmla="*/ 2147483647 w 449"/>
                <a:gd name="T61" fmla="*/ 2147483647 h 363"/>
                <a:gd name="T62" fmla="*/ 2147483647 w 449"/>
                <a:gd name="T63" fmla="*/ 2147483647 h 363"/>
                <a:gd name="T64" fmla="*/ 2147483647 w 449"/>
                <a:gd name="T65" fmla="*/ 2147483647 h 363"/>
                <a:gd name="T66" fmla="*/ 2147483647 w 449"/>
                <a:gd name="T67" fmla="*/ 2147483647 h 363"/>
                <a:gd name="T68" fmla="*/ 2147483647 w 449"/>
                <a:gd name="T69" fmla="*/ 2147483647 h 363"/>
                <a:gd name="T70" fmla="*/ 2147483647 w 449"/>
                <a:gd name="T71" fmla="*/ 2147483647 h 363"/>
                <a:gd name="T72" fmla="*/ 2147483647 w 449"/>
                <a:gd name="T73" fmla="*/ 2147483647 h 363"/>
                <a:gd name="T74" fmla="*/ 2147483647 w 449"/>
                <a:gd name="T75" fmla="*/ 2147483647 h 363"/>
                <a:gd name="T76" fmla="*/ 2147483647 w 449"/>
                <a:gd name="T77" fmla="*/ 2147483647 h 363"/>
                <a:gd name="T78" fmla="*/ 2147483647 w 449"/>
                <a:gd name="T79" fmla="*/ 2147483647 h 363"/>
                <a:gd name="T80" fmla="*/ 2147483647 w 449"/>
                <a:gd name="T81" fmla="*/ 2147483647 h 363"/>
                <a:gd name="T82" fmla="*/ 2147483647 w 449"/>
                <a:gd name="T83" fmla="*/ 2147483647 h 363"/>
                <a:gd name="T84" fmla="*/ 2147483647 w 449"/>
                <a:gd name="T85" fmla="*/ 2147483647 h 363"/>
                <a:gd name="T86" fmla="*/ 2147483647 w 449"/>
                <a:gd name="T87" fmla="*/ 2147483647 h 363"/>
                <a:gd name="T88" fmla="*/ 2147483647 w 449"/>
                <a:gd name="T89" fmla="*/ 2147483647 h 363"/>
                <a:gd name="T90" fmla="*/ 2147483647 w 449"/>
                <a:gd name="T91" fmla="*/ 2147483647 h 363"/>
                <a:gd name="T92" fmla="*/ 2147483647 w 449"/>
                <a:gd name="T93" fmla="*/ 2147483647 h 363"/>
                <a:gd name="T94" fmla="*/ 2147483647 w 449"/>
                <a:gd name="T95" fmla="*/ 2147483647 h 363"/>
                <a:gd name="T96" fmla="*/ 2147483647 w 449"/>
                <a:gd name="T97" fmla="*/ 2147483647 h 363"/>
                <a:gd name="T98" fmla="*/ 2147483647 w 449"/>
                <a:gd name="T99" fmla="*/ 2147483647 h 363"/>
                <a:gd name="T100" fmla="*/ 2147483647 w 449"/>
                <a:gd name="T101" fmla="*/ 2147483647 h 363"/>
                <a:gd name="T102" fmla="*/ 2147483647 w 449"/>
                <a:gd name="T103" fmla="*/ 2147483647 h 363"/>
                <a:gd name="T104" fmla="*/ 2147483647 w 449"/>
                <a:gd name="T105" fmla="*/ 2147483647 h 363"/>
                <a:gd name="T106" fmla="*/ 2147483647 w 449"/>
                <a:gd name="T107" fmla="*/ 2147483647 h 363"/>
                <a:gd name="T108" fmla="*/ 2147483647 w 449"/>
                <a:gd name="T109" fmla="*/ 2147483647 h 363"/>
                <a:gd name="T110" fmla="*/ 2147483647 w 449"/>
                <a:gd name="T111" fmla="*/ 2147483647 h 363"/>
                <a:gd name="T112" fmla="*/ 2147483647 w 449"/>
                <a:gd name="T113" fmla="*/ 2147483647 h 3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9"/>
                <a:gd name="T172" fmla="*/ 0 h 363"/>
                <a:gd name="T173" fmla="*/ 449 w 449"/>
                <a:gd name="T174" fmla="*/ 363 h 3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9" h="363">
                  <a:moveTo>
                    <a:pt x="272" y="64"/>
                  </a:moveTo>
                  <a:lnTo>
                    <a:pt x="266" y="71"/>
                  </a:lnTo>
                  <a:lnTo>
                    <a:pt x="261" y="78"/>
                  </a:lnTo>
                  <a:lnTo>
                    <a:pt x="257" y="81"/>
                  </a:lnTo>
                  <a:lnTo>
                    <a:pt x="254" y="82"/>
                  </a:lnTo>
                  <a:lnTo>
                    <a:pt x="251" y="82"/>
                  </a:lnTo>
                  <a:lnTo>
                    <a:pt x="247" y="81"/>
                  </a:lnTo>
                  <a:lnTo>
                    <a:pt x="242" y="79"/>
                  </a:lnTo>
                  <a:lnTo>
                    <a:pt x="237" y="79"/>
                  </a:lnTo>
                  <a:lnTo>
                    <a:pt x="233" y="79"/>
                  </a:lnTo>
                  <a:lnTo>
                    <a:pt x="229" y="82"/>
                  </a:lnTo>
                  <a:lnTo>
                    <a:pt x="225" y="86"/>
                  </a:lnTo>
                  <a:lnTo>
                    <a:pt x="221" y="90"/>
                  </a:lnTo>
                  <a:lnTo>
                    <a:pt x="212" y="95"/>
                  </a:lnTo>
                  <a:lnTo>
                    <a:pt x="202" y="100"/>
                  </a:lnTo>
                  <a:lnTo>
                    <a:pt x="192" y="104"/>
                  </a:lnTo>
                  <a:lnTo>
                    <a:pt x="190" y="107"/>
                  </a:lnTo>
                  <a:lnTo>
                    <a:pt x="187" y="109"/>
                  </a:lnTo>
                  <a:lnTo>
                    <a:pt x="186" y="115"/>
                  </a:lnTo>
                  <a:lnTo>
                    <a:pt x="183" y="120"/>
                  </a:lnTo>
                  <a:lnTo>
                    <a:pt x="179" y="124"/>
                  </a:lnTo>
                  <a:lnTo>
                    <a:pt x="174" y="128"/>
                  </a:lnTo>
                  <a:lnTo>
                    <a:pt x="173" y="129"/>
                  </a:lnTo>
                  <a:lnTo>
                    <a:pt x="172" y="132"/>
                  </a:lnTo>
                  <a:lnTo>
                    <a:pt x="172" y="136"/>
                  </a:lnTo>
                  <a:lnTo>
                    <a:pt x="169" y="140"/>
                  </a:lnTo>
                  <a:lnTo>
                    <a:pt x="166" y="142"/>
                  </a:lnTo>
                  <a:lnTo>
                    <a:pt x="160" y="143"/>
                  </a:lnTo>
                  <a:lnTo>
                    <a:pt x="157" y="147"/>
                  </a:lnTo>
                  <a:lnTo>
                    <a:pt x="155" y="151"/>
                  </a:lnTo>
                  <a:lnTo>
                    <a:pt x="154" y="166"/>
                  </a:lnTo>
                  <a:lnTo>
                    <a:pt x="152" y="173"/>
                  </a:lnTo>
                  <a:lnTo>
                    <a:pt x="148" y="180"/>
                  </a:lnTo>
                  <a:lnTo>
                    <a:pt x="148" y="183"/>
                  </a:lnTo>
                  <a:lnTo>
                    <a:pt x="149" y="185"/>
                  </a:lnTo>
                  <a:lnTo>
                    <a:pt x="153" y="192"/>
                  </a:lnTo>
                  <a:lnTo>
                    <a:pt x="154" y="196"/>
                  </a:lnTo>
                  <a:lnTo>
                    <a:pt x="152" y="198"/>
                  </a:lnTo>
                  <a:lnTo>
                    <a:pt x="149" y="199"/>
                  </a:lnTo>
                  <a:lnTo>
                    <a:pt x="145" y="199"/>
                  </a:lnTo>
                  <a:lnTo>
                    <a:pt x="139" y="197"/>
                  </a:lnTo>
                  <a:lnTo>
                    <a:pt x="134" y="197"/>
                  </a:lnTo>
                  <a:lnTo>
                    <a:pt x="129" y="198"/>
                  </a:lnTo>
                  <a:lnTo>
                    <a:pt x="125" y="200"/>
                  </a:lnTo>
                  <a:lnTo>
                    <a:pt x="122" y="204"/>
                  </a:lnTo>
                  <a:lnTo>
                    <a:pt x="120" y="209"/>
                  </a:lnTo>
                  <a:lnTo>
                    <a:pt x="117" y="219"/>
                  </a:lnTo>
                  <a:lnTo>
                    <a:pt x="116" y="229"/>
                  </a:lnTo>
                  <a:lnTo>
                    <a:pt x="116" y="236"/>
                  </a:lnTo>
                  <a:lnTo>
                    <a:pt x="117" y="243"/>
                  </a:lnTo>
                  <a:lnTo>
                    <a:pt x="117" y="250"/>
                  </a:lnTo>
                  <a:lnTo>
                    <a:pt x="117" y="256"/>
                  </a:lnTo>
                  <a:lnTo>
                    <a:pt x="120" y="262"/>
                  </a:lnTo>
                  <a:lnTo>
                    <a:pt x="121" y="263"/>
                  </a:lnTo>
                  <a:lnTo>
                    <a:pt x="124" y="264"/>
                  </a:lnTo>
                  <a:lnTo>
                    <a:pt x="126" y="267"/>
                  </a:lnTo>
                  <a:lnTo>
                    <a:pt x="127" y="268"/>
                  </a:lnTo>
                  <a:lnTo>
                    <a:pt x="129" y="274"/>
                  </a:lnTo>
                  <a:lnTo>
                    <a:pt x="130" y="276"/>
                  </a:lnTo>
                  <a:lnTo>
                    <a:pt x="129" y="279"/>
                  </a:lnTo>
                  <a:lnTo>
                    <a:pt x="125" y="280"/>
                  </a:lnTo>
                  <a:lnTo>
                    <a:pt x="122" y="281"/>
                  </a:lnTo>
                  <a:lnTo>
                    <a:pt x="121" y="282"/>
                  </a:lnTo>
                  <a:lnTo>
                    <a:pt x="120" y="298"/>
                  </a:lnTo>
                  <a:lnTo>
                    <a:pt x="117" y="309"/>
                  </a:lnTo>
                  <a:lnTo>
                    <a:pt x="113" y="320"/>
                  </a:lnTo>
                  <a:lnTo>
                    <a:pt x="108" y="332"/>
                  </a:lnTo>
                  <a:lnTo>
                    <a:pt x="103" y="330"/>
                  </a:lnTo>
                  <a:lnTo>
                    <a:pt x="101" y="327"/>
                  </a:lnTo>
                  <a:lnTo>
                    <a:pt x="98" y="326"/>
                  </a:lnTo>
                  <a:lnTo>
                    <a:pt x="97" y="321"/>
                  </a:lnTo>
                  <a:lnTo>
                    <a:pt x="96" y="315"/>
                  </a:lnTo>
                  <a:lnTo>
                    <a:pt x="97" y="311"/>
                  </a:lnTo>
                  <a:lnTo>
                    <a:pt x="99" y="306"/>
                  </a:lnTo>
                  <a:lnTo>
                    <a:pt x="99" y="305"/>
                  </a:lnTo>
                  <a:lnTo>
                    <a:pt x="98" y="303"/>
                  </a:lnTo>
                  <a:lnTo>
                    <a:pt x="97" y="302"/>
                  </a:lnTo>
                  <a:lnTo>
                    <a:pt x="94" y="303"/>
                  </a:lnTo>
                  <a:lnTo>
                    <a:pt x="92" y="305"/>
                  </a:lnTo>
                  <a:lnTo>
                    <a:pt x="91" y="308"/>
                  </a:lnTo>
                  <a:lnTo>
                    <a:pt x="91" y="315"/>
                  </a:lnTo>
                  <a:lnTo>
                    <a:pt x="92" y="326"/>
                  </a:lnTo>
                  <a:lnTo>
                    <a:pt x="92" y="331"/>
                  </a:lnTo>
                  <a:lnTo>
                    <a:pt x="91" y="333"/>
                  </a:lnTo>
                  <a:lnTo>
                    <a:pt x="88" y="334"/>
                  </a:lnTo>
                  <a:lnTo>
                    <a:pt x="80" y="339"/>
                  </a:lnTo>
                  <a:lnTo>
                    <a:pt x="74" y="345"/>
                  </a:lnTo>
                  <a:lnTo>
                    <a:pt x="61" y="357"/>
                  </a:lnTo>
                  <a:lnTo>
                    <a:pt x="58" y="360"/>
                  </a:lnTo>
                  <a:lnTo>
                    <a:pt x="52" y="363"/>
                  </a:lnTo>
                  <a:lnTo>
                    <a:pt x="49" y="363"/>
                  </a:lnTo>
                  <a:lnTo>
                    <a:pt x="44" y="363"/>
                  </a:lnTo>
                  <a:lnTo>
                    <a:pt x="32" y="360"/>
                  </a:lnTo>
                  <a:lnTo>
                    <a:pt x="22" y="357"/>
                  </a:lnTo>
                  <a:lnTo>
                    <a:pt x="17" y="357"/>
                  </a:lnTo>
                  <a:lnTo>
                    <a:pt x="14" y="357"/>
                  </a:lnTo>
                  <a:lnTo>
                    <a:pt x="12" y="356"/>
                  </a:lnTo>
                  <a:lnTo>
                    <a:pt x="11" y="351"/>
                  </a:lnTo>
                  <a:lnTo>
                    <a:pt x="9" y="346"/>
                  </a:lnTo>
                  <a:lnTo>
                    <a:pt x="8" y="343"/>
                  </a:lnTo>
                  <a:lnTo>
                    <a:pt x="6" y="340"/>
                  </a:lnTo>
                  <a:lnTo>
                    <a:pt x="3" y="339"/>
                  </a:lnTo>
                  <a:lnTo>
                    <a:pt x="3" y="338"/>
                  </a:lnTo>
                  <a:lnTo>
                    <a:pt x="14" y="340"/>
                  </a:lnTo>
                  <a:lnTo>
                    <a:pt x="18" y="339"/>
                  </a:lnTo>
                  <a:lnTo>
                    <a:pt x="21" y="337"/>
                  </a:lnTo>
                  <a:lnTo>
                    <a:pt x="21" y="333"/>
                  </a:lnTo>
                  <a:lnTo>
                    <a:pt x="21" y="331"/>
                  </a:lnTo>
                  <a:lnTo>
                    <a:pt x="19" y="330"/>
                  </a:lnTo>
                  <a:lnTo>
                    <a:pt x="14" y="326"/>
                  </a:lnTo>
                  <a:lnTo>
                    <a:pt x="13" y="324"/>
                  </a:lnTo>
                  <a:lnTo>
                    <a:pt x="13" y="320"/>
                  </a:lnTo>
                  <a:lnTo>
                    <a:pt x="13" y="319"/>
                  </a:lnTo>
                  <a:lnTo>
                    <a:pt x="14" y="318"/>
                  </a:lnTo>
                  <a:lnTo>
                    <a:pt x="18" y="315"/>
                  </a:lnTo>
                  <a:lnTo>
                    <a:pt x="18" y="314"/>
                  </a:lnTo>
                  <a:lnTo>
                    <a:pt x="17" y="313"/>
                  </a:lnTo>
                  <a:lnTo>
                    <a:pt x="11" y="312"/>
                  </a:lnTo>
                  <a:lnTo>
                    <a:pt x="9" y="311"/>
                  </a:lnTo>
                  <a:lnTo>
                    <a:pt x="9" y="308"/>
                  </a:lnTo>
                  <a:lnTo>
                    <a:pt x="11" y="303"/>
                  </a:lnTo>
                  <a:lnTo>
                    <a:pt x="11" y="299"/>
                  </a:lnTo>
                  <a:lnTo>
                    <a:pt x="9" y="294"/>
                  </a:lnTo>
                  <a:lnTo>
                    <a:pt x="8" y="289"/>
                  </a:lnTo>
                  <a:lnTo>
                    <a:pt x="7" y="286"/>
                  </a:lnTo>
                  <a:lnTo>
                    <a:pt x="7" y="284"/>
                  </a:lnTo>
                  <a:lnTo>
                    <a:pt x="8" y="282"/>
                  </a:lnTo>
                  <a:lnTo>
                    <a:pt x="11" y="282"/>
                  </a:lnTo>
                  <a:lnTo>
                    <a:pt x="12" y="282"/>
                  </a:lnTo>
                  <a:lnTo>
                    <a:pt x="14" y="283"/>
                  </a:lnTo>
                  <a:lnTo>
                    <a:pt x="17" y="286"/>
                  </a:lnTo>
                  <a:lnTo>
                    <a:pt x="18" y="286"/>
                  </a:lnTo>
                  <a:lnTo>
                    <a:pt x="19" y="286"/>
                  </a:lnTo>
                  <a:lnTo>
                    <a:pt x="23" y="284"/>
                  </a:lnTo>
                  <a:lnTo>
                    <a:pt x="28" y="284"/>
                  </a:lnTo>
                  <a:lnTo>
                    <a:pt x="31" y="284"/>
                  </a:lnTo>
                  <a:lnTo>
                    <a:pt x="32" y="283"/>
                  </a:lnTo>
                  <a:lnTo>
                    <a:pt x="32" y="281"/>
                  </a:lnTo>
                  <a:lnTo>
                    <a:pt x="31" y="280"/>
                  </a:lnTo>
                  <a:lnTo>
                    <a:pt x="25" y="279"/>
                  </a:lnTo>
                  <a:lnTo>
                    <a:pt x="16" y="279"/>
                  </a:lnTo>
                  <a:lnTo>
                    <a:pt x="9" y="279"/>
                  </a:lnTo>
                  <a:lnTo>
                    <a:pt x="7" y="277"/>
                  </a:lnTo>
                  <a:lnTo>
                    <a:pt x="4" y="276"/>
                  </a:lnTo>
                  <a:lnTo>
                    <a:pt x="2" y="275"/>
                  </a:lnTo>
                  <a:lnTo>
                    <a:pt x="0" y="274"/>
                  </a:lnTo>
                  <a:lnTo>
                    <a:pt x="0" y="273"/>
                  </a:lnTo>
                  <a:lnTo>
                    <a:pt x="2" y="271"/>
                  </a:lnTo>
                  <a:lnTo>
                    <a:pt x="4" y="270"/>
                  </a:lnTo>
                  <a:lnTo>
                    <a:pt x="6" y="263"/>
                  </a:lnTo>
                  <a:lnTo>
                    <a:pt x="9" y="257"/>
                  </a:lnTo>
                  <a:lnTo>
                    <a:pt x="12" y="255"/>
                  </a:lnTo>
                  <a:lnTo>
                    <a:pt x="14" y="254"/>
                  </a:lnTo>
                  <a:lnTo>
                    <a:pt x="18" y="254"/>
                  </a:lnTo>
                  <a:lnTo>
                    <a:pt x="22" y="254"/>
                  </a:lnTo>
                  <a:lnTo>
                    <a:pt x="23" y="251"/>
                  </a:lnTo>
                  <a:lnTo>
                    <a:pt x="25" y="250"/>
                  </a:lnTo>
                  <a:lnTo>
                    <a:pt x="32" y="248"/>
                  </a:lnTo>
                  <a:lnTo>
                    <a:pt x="40" y="244"/>
                  </a:lnTo>
                  <a:lnTo>
                    <a:pt x="42" y="242"/>
                  </a:lnTo>
                  <a:lnTo>
                    <a:pt x="44" y="239"/>
                  </a:lnTo>
                  <a:lnTo>
                    <a:pt x="45" y="236"/>
                  </a:lnTo>
                  <a:lnTo>
                    <a:pt x="44" y="232"/>
                  </a:lnTo>
                  <a:lnTo>
                    <a:pt x="50" y="234"/>
                  </a:lnTo>
                  <a:lnTo>
                    <a:pt x="56" y="232"/>
                  </a:lnTo>
                  <a:lnTo>
                    <a:pt x="63" y="230"/>
                  </a:lnTo>
                  <a:lnTo>
                    <a:pt x="68" y="226"/>
                  </a:lnTo>
                  <a:lnTo>
                    <a:pt x="72" y="225"/>
                  </a:lnTo>
                  <a:lnTo>
                    <a:pt x="75" y="224"/>
                  </a:lnTo>
                  <a:lnTo>
                    <a:pt x="79" y="224"/>
                  </a:lnTo>
                  <a:lnTo>
                    <a:pt x="82" y="223"/>
                  </a:lnTo>
                  <a:lnTo>
                    <a:pt x="83" y="222"/>
                  </a:lnTo>
                  <a:lnTo>
                    <a:pt x="86" y="216"/>
                  </a:lnTo>
                  <a:lnTo>
                    <a:pt x="88" y="209"/>
                  </a:lnTo>
                  <a:lnTo>
                    <a:pt x="92" y="201"/>
                  </a:lnTo>
                  <a:lnTo>
                    <a:pt x="96" y="196"/>
                  </a:lnTo>
                  <a:lnTo>
                    <a:pt x="98" y="192"/>
                  </a:lnTo>
                  <a:lnTo>
                    <a:pt x="99" y="188"/>
                  </a:lnTo>
                  <a:lnTo>
                    <a:pt x="102" y="187"/>
                  </a:lnTo>
                  <a:lnTo>
                    <a:pt x="105" y="185"/>
                  </a:lnTo>
                  <a:lnTo>
                    <a:pt x="107" y="184"/>
                  </a:lnTo>
                  <a:lnTo>
                    <a:pt x="110" y="183"/>
                  </a:lnTo>
                  <a:lnTo>
                    <a:pt x="110" y="180"/>
                  </a:lnTo>
                  <a:lnTo>
                    <a:pt x="110" y="178"/>
                  </a:lnTo>
                  <a:lnTo>
                    <a:pt x="110" y="172"/>
                  </a:lnTo>
                  <a:lnTo>
                    <a:pt x="111" y="169"/>
                  </a:lnTo>
                  <a:lnTo>
                    <a:pt x="112" y="169"/>
                  </a:lnTo>
                  <a:lnTo>
                    <a:pt x="113" y="169"/>
                  </a:lnTo>
                  <a:lnTo>
                    <a:pt x="117" y="174"/>
                  </a:lnTo>
                  <a:lnTo>
                    <a:pt x="122" y="178"/>
                  </a:lnTo>
                  <a:lnTo>
                    <a:pt x="125" y="178"/>
                  </a:lnTo>
                  <a:lnTo>
                    <a:pt x="127" y="178"/>
                  </a:lnTo>
                  <a:lnTo>
                    <a:pt x="130" y="177"/>
                  </a:lnTo>
                  <a:lnTo>
                    <a:pt x="132" y="174"/>
                  </a:lnTo>
                  <a:lnTo>
                    <a:pt x="134" y="172"/>
                  </a:lnTo>
                  <a:lnTo>
                    <a:pt x="134" y="168"/>
                  </a:lnTo>
                  <a:lnTo>
                    <a:pt x="132" y="166"/>
                  </a:lnTo>
                  <a:lnTo>
                    <a:pt x="131" y="164"/>
                  </a:lnTo>
                  <a:lnTo>
                    <a:pt x="127" y="160"/>
                  </a:lnTo>
                  <a:lnTo>
                    <a:pt x="126" y="156"/>
                  </a:lnTo>
                  <a:lnTo>
                    <a:pt x="127" y="152"/>
                  </a:lnTo>
                  <a:lnTo>
                    <a:pt x="129" y="147"/>
                  </a:lnTo>
                  <a:lnTo>
                    <a:pt x="136" y="139"/>
                  </a:lnTo>
                  <a:lnTo>
                    <a:pt x="140" y="135"/>
                  </a:lnTo>
                  <a:lnTo>
                    <a:pt x="144" y="129"/>
                  </a:lnTo>
                  <a:lnTo>
                    <a:pt x="145" y="128"/>
                  </a:lnTo>
                  <a:lnTo>
                    <a:pt x="148" y="126"/>
                  </a:lnTo>
                  <a:lnTo>
                    <a:pt x="153" y="123"/>
                  </a:lnTo>
                  <a:lnTo>
                    <a:pt x="164" y="120"/>
                  </a:lnTo>
                  <a:lnTo>
                    <a:pt x="166" y="119"/>
                  </a:lnTo>
                  <a:lnTo>
                    <a:pt x="167" y="117"/>
                  </a:lnTo>
                  <a:lnTo>
                    <a:pt x="171" y="114"/>
                  </a:lnTo>
                  <a:lnTo>
                    <a:pt x="174" y="113"/>
                  </a:lnTo>
                  <a:lnTo>
                    <a:pt x="178" y="109"/>
                  </a:lnTo>
                  <a:lnTo>
                    <a:pt x="179" y="108"/>
                  </a:lnTo>
                  <a:lnTo>
                    <a:pt x="179" y="105"/>
                  </a:lnTo>
                  <a:lnTo>
                    <a:pt x="179" y="103"/>
                  </a:lnTo>
                  <a:lnTo>
                    <a:pt x="178" y="102"/>
                  </a:lnTo>
                  <a:lnTo>
                    <a:pt x="174" y="100"/>
                  </a:lnTo>
                  <a:lnTo>
                    <a:pt x="174" y="98"/>
                  </a:lnTo>
                  <a:lnTo>
                    <a:pt x="176" y="97"/>
                  </a:lnTo>
                  <a:lnTo>
                    <a:pt x="177" y="95"/>
                  </a:lnTo>
                  <a:lnTo>
                    <a:pt x="185" y="92"/>
                  </a:lnTo>
                  <a:lnTo>
                    <a:pt x="187" y="91"/>
                  </a:lnTo>
                  <a:lnTo>
                    <a:pt x="192" y="91"/>
                  </a:lnTo>
                  <a:lnTo>
                    <a:pt x="197" y="90"/>
                  </a:lnTo>
                  <a:lnTo>
                    <a:pt x="201" y="88"/>
                  </a:lnTo>
                  <a:lnTo>
                    <a:pt x="204" y="83"/>
                  </a:lnTo>
                  <a:lnTo>
                    <a:pt x="205" y="76"/>
                  </a:lnTo>
                  <a:lnTo>
                    <a:pt x="205" y="75"/>
                  </a:lnTo>
                  <a:lnTo>
                    <a:pt x="209" y="73"/>
                  </a:lnTo>
                  <a:lnTo>
                    <a:pt x="216" y="73"/>
                  </a:lnTo>
                  <a:lnTo>
                    <a:pt x="219" y="72"/>
                  </a:lnTo>
                  <a:lnTo>
                    <a:pt x="219" y="70"/>
                  </a:lnTo>
                  <a:lnTo>
                    <a:pt x="219" y="66"/>
                  </a:lnTo>
                  <a:lnTo>
                    <a:pt x="220" y="64"/>
                  </a:lnTo>
                  <a:lnTo>
                    <a:pt x="224" y="62"/>
                  </a:lnTo>
                  <a:lnTo>
                    <a:pt x="228" y="56"/>
                  </a:lnTo>
                  <a:lnTo>
                    <a:pt x="234" y="52"/>
                  </a:lnTo>
                  <a:lnTo>
                    <a:pt x="238" y="51"/>
                  </a:lnTo>
                  <a:lnTo>
                    <a:pt x="240" y="51"/>
                  </a:lnTo>
                  <a:lnTo>
                    <a:pt x="248" y="52"/>
                  </a:lnTo>
                  <a:lnTo>
                    <a:pt x="249" y="52"/>
                  </a:lnTo>
                  <a:lnTo>
                    <a:pt x="251" y="51"/>
                  </a:lnTo>
                  <a:lnTo>
                    <a:pt x="251" y="50"/>
                  </a:lnTo>
                  <a:lnTo>
                    <a:pt x="251" y="49"/>
                  </a:lnTo>
                  <a:lnTo>
                    <a:pt x="247" y="46"/>
                  </a:lnTo>
                  <a:lnTo>
                    <a:pt x="246" y="45"/>
                  </a:lnTo>
                  <a:lnTo>
                    <a:pt x="246" y="44"/>
                  </a:lnTo>
                  <a:lnTo>
                    <a:pt x="246" y="43"/>
                  </a:lnTo>
                  <a:lnTo>
                    <a:pt x="247" y="41"/>
                  </a:lnTo>
                  <a:lnTo>
                    <a:pt x="252" y="41"/>
                  </a:lnTo>
                  <a:lnTo>
                    <a:pt x="256" y="39"/>
                  </a:lnTo>
                  <a:lnTo>
                    <a:pt x="259" y="37"/>
                  </a:lnTo>
                  <a:lnTo>
                    <a:pt x="263" y="34"/>
                  </a:lnTo>
                  <a:lnTo>
                    <a:pt x="267" y="33"/>
                  </a:lnTo>
                  <a:lnTo>
                    <a:pt x="267" y="36"/>
                  </a:lnTo>
                  <a:lnTo>
                    <a:pt x="266" y="39"/>
                  </a:lnTo>
                  <a:lnTo>
                    <a:pt x="266" y="41"/>
                  </a:lnTo>
                  <a:lnTo>
                    <a:pt x="266" y="43"/>
                  </a:lnTo>
                  <a:lnTo>
                    <a:pt x="267" y="43"/>
                  </a:lnTo>
                  <a:lnTo>
                    <a:pt x="277" y="39"/>
                  </a:lnTo>
                  <a:lnTo>
                    <a:pt x="287" y="36"/>
                  </a:lnTo>
                  <a:lnTo>
                    <a:pt x="289" y="36"/>
                  </a:lnTo>
                  <a:lnTo>
                    <a:pt x="289" y="34"/>
                  </a:lnTo>
                  <a:lnTo>
                    <a:pt x="287" y="32"/>
                  </a:lnTo>
                  <a:lnTo>
                    <a:pt x="285" y="26"/>
                  </a:lnTo>
                  <a:lnTo>
                    <a:pt x="284" y="25"/>
                  </a:lnTo>
                  <a:lnTo>
                    <a:pt x="285" y="24"/>
                  </a:lnTo>
                  <a:lnTo>
                    <a:pt x="287" y="21"/>
                  </a:lnTo>
                  <a:lnTo>
                    <a:pt x="290" y="21"/>
                  </a:lnTo>
                  <a:lnTo>
                    <a:pt x="294" y="22"/>
                  </a:lnTo>
                  <a:lnTo>
                    <a:pt x="301" y="27"/>
                  </a:lnTo>
                  <a:lnTo>
                    <a:pt x="306" y="31"/>
                  </a:lnTo>
                  <a:lnTo>
                    <a:pt x="310" y="32"/>
                  </a:lnTo>
                  <a:lnTo>
                    <a:pt x="313" y="31"/>
                  </a:lnTo>
                  <a:lnTo>
                    <a:pt x="313" y="27"/>
                  </a:lnTo>
                  <a:lnTo>
                    <a:pt x="315" y="24"/>
                  </a:lnTo>
                  <a:lnTo>
                    <a:pt x="320" y="19"/>
                  </a:lnTo>
                  <a:lnTo>
                    <a:pt x="328" y="12"/>
                  </a:lnTo>
                  <a:lnTo>
                    <a:pt x="337" y="5"/>
                  </a:lnTo>
                  <a:lnTo>
                    <a:pt x="339" y="4"/>
                  </a:lnTo>
                  <a:lnTo>
                    <a:pt x="341" y="4"/>
                  </a:lnTo>
                  <a:lnTo>
                    <a:pt x="343" y="4"/>
                  </a:lnTo>
                  <a:lnTo>
                    <a:pt x="347" y="4"/>
                  </a:lnTo>
                  <a:lnTo>
                    <a:pt x="350" y="5"/>
                  </a:lnTo>
                  <a:lnTo>
                    <a:pt x="352" y="5"/>
                  </a:lnTo>
                  <a:lnTo>
                    <a:pt x="356" y="5"/>
                  </a:lnTo>
                  <a:lnTo>
                    <a:pt x="356" y="6"/>
                  </a:lnTo>
                  <a:lnTo>
                    <a:pt x="356" y="8"/>
                  </a:lnTo>
                  <a:lnTo>
                    <a:pt x="355" y="12"/>
                  </a:lnTo>
                  <a:lnTo>
                    <a:pt x="351" y="15"/>
                  </a:lnTo>
                  <a:lnTo>
                    <a:pt x="345" y="22"/>
                  </a:lnTo>
                  <a:lnTo>
                    <a:pt x="345" y="24"/>
                  </a:lnTo>
                  <a:lnTo>
                    <a:pt x="345" y="26"/>
                  </a:lnTo>
                  <a:lnTo>
                    <a:pt x="346" y="27"/>
                  </a:lnTo>
                  <a:lnTo>
                    <a:pt x="347" y="27"/>
                  </a:lnTo>
                  <a:lnTo>
                    <a:pt x="353" y="22"/>
                  </a:lnTo>
                  <a:lnTo>
                    <a:pt x="360" y="18"/>
                  </a:lnTo>
                  <a:lnTo>
                    <a:pt x="365" y="12"/>
                  </a:lnTo>
                  <a:lnTo>
                    <a:pt x="370" y="6"/>
                  </a:lnTo>
                  <a:lnTo>
                    <a:pt x="372" y="5"/>
                  </a:lnTo>
                  <a:lnTo>
                    <a:pt x="374" y="6"/>
                  </a:lnTo>
                  <a:lnTo>
                    <a:pt x="375" y="9"/>
                  </a:lnTo>
                  <a:lnTo>
                    <a:pt x="375" y="13"/>
                  </a:lnTo>
                  <a:lnTo>
                    <a:pt x="376" y="14"/>
                  </a:lnTo>
                  <a:lnTo>
                    <a:pt x="378" y="15"/>
                  </a:lnTo>
                  <a:lnTo>
                    <a:pt x="379" y="15"/>
                  </a:lnTo>
                  <a:lnTo>
                    <a:pt x="380" y="14"/>
                  </a:lnTo>
                  <a:lnTo>
                    <a:pt x="385" y="7"/>
                  </a:lnTo>
                  <a:lnTo>
                    <a:pt x="388" y="4"/>
                  </a:lnTo>
                  <a:lnTo>
                    <a:pt x="392" y="1"/>
                  </a:lnTo>
                  <a:lnTo>
                    <a:pt x="395" y="0"/>
                  </a:lnTo>
                  <a:lnTo>
                    <a:pt x="399" y="0"/>
                  </a:lnTo>
                  <a:lnTo>
                    <a:pt x="402" y="1"/>
                  </a:lnTo>
                  <a:lnTo>
                    <a:pt x="403" y="4"/>
                  </a:lnTo>
                  <a:lnTo>
                    <a:pt x="403" y="5"/>
                  </a:lnTo>
                  <a:lnTo>
                    <a:pt x="403" y="7"/>
                  </a:lnTo>
                  <a:lnTo>
                    <a:pt x="400" y="9"/>
                  </a:lnTo>
                  <a:lnTo>
                    <a:pt x="399" y="12"/>
                  </a:lnTo>
                  <a:lnTo>
                    <a:pt x="400" y="13"/>
                  </a:lnTo>
                  <a:lnTo>
                    <a:pt x="400" y="14"/>
                  </a:lnTo>
                  <a:lnTo>
                    <a:pt x="403" y="14"/>
                  </a:lnTo>
                  <a:lnTo>
                    <a:pt x="404" y="14"/>
                  </a:lnTo>
                  <a:lnTo>
                    <a:pt x="408" y="12"/>
                  </a:lnTo>
                  <a:lnTo>
                    <a:pt x="411" y="8"/>
                  </a:lnTo>
                  <a:lnTo>
                    <a:pt x="413" y="6"/>
                  </a:lnTo>
                  <a:lnTo>
                    <a:pt x="418" y="4"/>
                  </a:lnTo>
                  <a:lnTo>
                    <a:pt x="423" y="4"/>
                  </a:lnTo>
                  <a:lnTo>
                    <a:pt x="428" y="4"/>
                  </a:lnTo>
                  <a:lnTo>
                    <a:pt x="433" y="6"/>
                  </a:lnTo>
                  <a:lnTo>
                    <a:pt x="439" y="7"/>
                  </a:lnTo>
                  <a:lnTo>
                    <a:pt x="442" y="9"/>
                  </a:lnTo>
                  <a:lnTo>
                    <a:pt x="446" y="13"/>
                  </a:lnTo>
                  <a:lnTo>
                    <a:pt x="447" y="15"/>
                  </a:lnTo>
                  <a:lnTo>
                    <a:pt x="449" y="19"/>
                  </a:lnTo>
                  <a:lnTo>
                    <a:pt x="449" y="20"/>
                  </a:lnTo>
                  <a:lnTo>
                    <a:pt x="447" y="20"/>
                  </a:lnTo>
                  <a:lnTo>
                    <a:pt x="445" y="21"/>
                  </a:lnTo>
                  <a:lnTo>
                    <a:pt x="442" y="24"/>
                  </a:lnTo>
                  <a:lnTo>
                    <a:pt x="440" y="25"/>
                  </a:lnTo>
                  <a:lnTo>
                    <a:pt x="436" y="26"/>
                  </a:lnTo>
                  <a:lnTo>
                    <a:pt x="433" y="26"/>
                  </a:lnTo>
                  <a:lnTo>
                    <a:pt x="431" y="25"/>
                  </a:lnTo>
                  <a:lnTo>
                    <a:pt x="426" y="21"/>
                  </a:lnTo>
                  <a:lnTo>
                    <a:pt x="423" y="20"/>
                  </a:lnTo>
                  <a:lnTo>
                    <a:pt x="419" y="20"/>
                  </a:lnTo>
                  <a:lnTo>
                    <a:pt x="417" y="21"/>
                  </a:lnTo>
                  <a:lnTo>
                    <a:pt x="416" y="24"/>
                  </a:lnTo>
                  <a:lnTo>
                    <a:pt x="416" y="26"/>
                  </a:lnTo>
                  <a:lnTo>
                    <a:pt x="417" y="28"/>
                  </a:lnTo>
                  <a:lnTo>
                    <a:pt x="418" y="31"/>
                  </a:lnTo>
                  <a:lnTo>
                    <a:pt x="421" y="32"/>
                  </a:lnTo>
                  <a:lnTo>
                    <a:pt x="427" y="33"/>
                  </a:lnTo>
                  <a:lnTo>
                    <a:pt x="432" y="36"/>
                  </a:lnTo>
                  <a:lnTo>
                    <a:pt x="435" y="39"/>
                  </a:lnTo>
                  <a:lnTo>
                    <a:pt x="440" y="41"/>
                  </a:lnTo>
                  <a:lnTo>
                    <a:pt x="447" y="44"/>
                  </a:lnTo>
                  <a:lnTo>
                    <a:pt x="445" y="47"/>
                  </a:lnTo>
                  <a:lnTo>
                    <a:pt x="442" y="50"/>
                  </a:lnTo>
                  <a:lnTo>
                    <a:pt x="439" y="50"/>
                  </a:lnTo>
                  <a:lnTo>
                    <a:pt x="435" y="52"/>
                  </a:lnTo>
                  <a:lnTo>
                    <a:pt x="431" y="53"/>
                  </a:lnTo>
                  <a:lnTo>
                    <a:pt x="422" y="52"/>
                  </a:lnTo>
                  <a:lnTo>
                    <a:pt x="418" y="47"/>
                  </a:lnTo>
                  <a:lnTo>
                    <a:pt x="414" y="44"/>
                  </a:lnTo>
                  <a:lnTo>
                    <a:pt x="409" y="40"/>
                  </a:lnTo>
                  <a:lnTo>
                    <a:pt x="404" y="38"/>
                  </a:lnTo>
                  <a:lnTo>
                    <a:pt x="402" y="36"/>
                  </a:lnTo>
                  <a:lnTo>
                    <a:pt x="399" y="32"/>
                  </a:lnTo>
                  <a:lnTo>
                    <a:pt x="398" y="28"/>
                  </a:lnTo>
                  <a:lnTo>
                    <a:pt x="397" y="26"/>
                  </a:lnTo>
                  <a:lnTo>
                    <a:pt x="394" y="25"/>
                  </a:lnTo>
                  <a:lnTo>
                    <a:pt x="392" y="25"/>
                  </a:lnTo>
                  <a:lnTo>
                    <a:pt x="384" y="28"/>
                  </a:lnTo>
                  <a:lnTo>
                    <a:pt x="376" y="32"/>
                  </a:lnTo>
                  <a:lnTo>
                    <a:pt x="369" y="34"/>
                  </a:lnTo>
                  <a:lnTo>
                    <a:pt x="361" y="38"/>
                  </a:lnTo>
                  <a:lnTo>
                    <a:pt x="359" y="40"/>
                  </a:lnTo>
                  <a:lnTo>
                    <a:pt x="357" y="43"/>
                  </a:lnTo>
                  <a:lnTo>
                    <a:pt x="356" y="45"/>
                  </a:lnTo>
                  <a:lnTo>
                    <a:pt x="356" y="49"/>
                  </a:lnTo>
                  <a:lnTo>
                    <a:pt x="359" y="54"/>
                  </a:lnTo>
                  <a:lnTo>
                    <a:pt x="361" y="60"/>
                  </a:lnTo>
                  <a:lnTo>
                    <a:pt x="360" y="62"/>
                  </a:lnTo>
                  <a:lnTo>
                    <a:pt x="359" y="63"/>
                  </a:lnTo>
                  <a:lnTo>
                    <a:pt x="355" y="68"/>
                  </a:lnTo>
                  <a:lnTo>
                    <a:pt x="348" y="70"/>
                  </a:lnTo>
                  <a:lnTo>
                    <a:pt x="345" y="71"/>
                  </a:lnTo>
                  <a:lnTo>
                    <a:pt x="333" y="68"/>
                  </a:lnTo>
                  <a:lnTo>
                    <a:pt x="331" y="66"/>
                  </a:lnTo>
                  <a:lnTo>
                    <a:pt x="329" y="68"/>
                  </a:lnTo>
                  <a:lnTo>
                    <a:pt x="324" y="70"/>
                  </a:lnTo>
                  <a:lnTo>
                    <a:pt x="320" y="71"/>
                  </a:lnTo>
                  <a:lnTo>
                    <a:pt x="314" y="72"/>
                  </a:lnTo>
                  <a:lnTo>
                    <a:pt x="310" y="73"/>
                  </a:lnTo>
                  <a:lnTo>
                    <a:pt x="306" y="72"/>
                  </a:lnTo>
                  <a:lnTo>
                    <a:pt x="303" y="71"/>
                  </a:lnTo>
                  <a:lnTo>
                    <a:pt x="300" y="69"/>
                  </a:lnTo>
                  <a:lnTo>
                    <a:pt x="295" y="63"/>
                  </a:lnTo>
                  <a:lnTo>
                    <a:pt x="291" y="56"/>
                  </a:lnTo>
                  <a:lnTo>
                    <a:pt x="290" y="54"/>
                  </a:lnTo>
                  <a:lnTo>
                    <a:pt x="287" y="53"/>
                  </a:lnTo>
                  <a:lnTo>
                    <a:pt x="280" y="58"/>
                  </a:lnTo>
                  <a:lnTo>
                    <a:pt x="272" y="6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5" name="Freeform 1284"/>
            <p:cNvSpPr>
              <a:spLocks/>
            </p:cNvSpPr>
            <p:nvPr/>
          </p:nvSpPr>
          <p:spPr bwMode="auto">
            <a:xfrm>
              <a:off x="4624388" y="2508253"/>
              <a:ext cx="31750" cy="46039"/>
            </a:xfrm>
            <a:custGeom>
              <a:avLst/>
              <a:gdLst>
                <a:gd name="T0" fmla="*/ 2147483647 w 21"/>
                <a:gd name="T1" fmla="*/ 2147483647 h 29"/>
                <a:gd name="T2" fmla="*/ 2147483647 w 21"/>
                <a:gd name="T3" fmla="*/ 2147483647 h 29"/>
                <a:gd name="T4" fmla="*/ 2147483647 w 21"/>
                <a:gd name="T5" fmla="*/ 2147483647 h 29"/>
                <a:gd name="T6" fmla="*/ 2147483647 w 21"/>
                <a:gd name="T7" fmla="*/ 2147483647 h 29"/>
                <a:gd name="T8" fmla="*/ 2147483647 w 21"/>
                <a:gd name="T9" fmla="*/ 2147483647 h 29"/>
                <a:gd name="T10" fmla="*/ 2147483647 w 21"/>
                <a:gd name="T11" fmla="*/ 2147483647 h 29"/>
                <a:gd name="T12" fmla="*/ 2147483647 w 21"/>
                <a:gd name="T13" fmla="*/ 2147483647 h 29"/>
                <a:gd name="T14" fmla="*/ 0 w 21"/>
                <a:gd name="T15" fmla="*/ 2147483647 h 29"/>
                <a:gd name="T16" fmla="*/ 0 w 21"/>
                <a:gd name="T17" fmla="*/ 2147483647 h 29"/>
                <a:gd name="T18" fmla="*/ 0 w 21"/>
                <a:gd name="T19" fmla="*/ 2147483647 h 29"/>
                <a:gd name="T20" fmla="*/ 2147483647 w 21"/>
                <a:gd name="T21" fmla="*/ 2147483647 h 29"/>
                <a:gd name="T22" fmla="*/ 2147483647 w 21"/>
                <a:gd name="T23" fmla="*/ 2147483647 h 29"/>
                <a:gd name="T24" fmla="*/ 2147483647 w 21"/>
                <a:gd name="T25" fmla="*/ 2147483647 h 29"/>
                <a:gd name="T26" fmla="*/ 2147483647 w 21"/>
                <a:gd name="T27" fmla="*/ 0 h 29"/>
                <a:gd name="T28" fmla="*/ 2147483647 w 21"/>
                <a:gd name="T29" fmla="*/ 0 h 29"/>
                <a:gd name="T30" fmla="*/ 2147483647 w 21"/>
                <a:gd name="T31" fmla="*/ 2147483647 h 29"/>
                <a:gd name="T32" fmla="*/ 2147483647 w 21"/>
                <a:gd name="T33" fmla="*/ 2147483647 h 29"/>
                <a:gd name="T34" fmla="*/ 2147483647 w 21"/>
                <a:gd name="T35" fmla="*/ 2147483647 h 29"/>
                <a:gd name="T36" fmla="*/ 2147483647 w 21"/>
                <a:gd name="T37" fmla="*/ 2147483647 h 29"/>
                <a:gd name="T38" fmla="*/ 2147483647 w 21"/>
                <a:gd name="T39" fmla="*/ 2147483647 h 29"/>
                <a:gd name="T40" fmla="*/ 2147483647 w 21"/>
                <a:gd name="T41" fmla="*/ 2147483647 h 29"/>
                <a:gd name="T42" fmla="*/ 2147483647 w 21"/>
                <a:gd name="T43" fmla="*/ 2147483647 h 29"/>
                <a:gd name="T44" fmla="*/ 2147483647 w 21"/>
                <a:gd name="T45" fmla="*/ 2147483647 h 29"/>
                <a:gd name="T46" fmla="*/ 2147483647 w 21"/>
                <a:gd name="T47" fmla="*/ 2147483647 h 29"/>
                <a:gd name="T48" fmla="*/ 2147483647 w 21"/>
                <a:gd name="T49" fmla="*/ 2147483647 h 29"/>
                <a:gd name="T50" fmla="*/ 2147483647 w 21"/>
                <a:gd name="T51" fmla="*/ 2147483647 h 29"/>
                <a:gd name="T52" fmla="*/ 2147483647 w 21"/>
                <a:gd name="T53" fmla="*/ 2147483647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29"/>
                <a:gd name="T83" fmla="*/ 21 w 21"/>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29">
                  <a:moveTo>
                    <a:pt x="20" y="25"/>
                  </a:moveTo>
                  <a:lnTo>
                    <a:pt x="17" y="29"/>
                  </a:lnTo>
                  <a:lnTo>
                    <a:pt x="16" y="29"/>
                  </a:lnTo>
                  <a:lnTo>
                    <a:pt x="15" y="29"/>
                  </a:lnTo>
                  <a:lnTo>
                    <a:pt x="11" y="26"/>
                  </a:lnTo>
                  <a:lnTo>
                    <a:pt x="7" y="25"/>
                  </a:lnTo>
                  <a:lnTo>
                    <a:pt x="3" y="24"/>
                  </a:lnTo>
                  <a:lnTo>
                    <a:pt x="0" y="23"/>
                  </a:lnTo>
                  <a:lnTo>
                    <a:pt x="0" y="20"/>
                  </a:lnTo>
                  <a:lnTo>
                    <a:pt x="0" y="18"/>
                  </a:lnTo>
                  <a:lnTo>
                    <a:pt x="2" y="13"/>
                  </a:lnTo>
                  <a:lnTo>
                    <a:pt x="2" y="10"/>
                  </a:lnTo>
                  <a:lnTo>
                    <a:pt x="2" y="5"/>
                  </a:lnTo>
                  <a:lnTo>
                    <a:pt x="2" y="0"/>
                  </a:lnTo>
                  <a:lnTo>
                    <a:pt x="3" y="0"/>
                  </a:lnTo>
                  <a:lnTo>
                    <a:pt x="5" y="2"/>
                  </a:lnTo>
                  <a:lnTo>
                    <a:pt x="7" y="4"/>
                  </a:lnTo>
                  <a:lnTo>
                    <a:pt x="11" y="4"/>
                  </a:lnTo>
                  <a:lnTo>
                    <a:pt x="17" y="5"/>
                  </a:lnTo>
                  <a:lnTo>
                    <a:pt x="19" y="6"/>
                  </a:lnTo>
                  <a:lnTo>
                    <a:pt x="19" y="9"/>
                  </a:lnTo>
                  <a:lnTo>
                    <a:pt x="17" y="13"/>
                  </a:lnTo>
                  <a:lnTo>
                    <a:pt x="16" y="16"/>
                  </a:lnTo>
                  <a:lnTo>
                    <a:pt x="17" y="18"/>
                  </a:lnTo>
                  <a:lnTo>
                    <a:pt x="21" y="22"/>
                  </a:lnTo>
                  <a:lnTo>
                    <a:pt x="21" y="23"/>
                  </a:lnTo>
                  <a:lnTo>
                    <a:pt x="20" y="2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6" name="Freeform 1285"/>
            <p:cNvSpPr>
              <a:spLocks/>
            </p:cNvSpPr>
            <p:nvPr/>
          </p:nvSpPr>
          <p:spPr bwMode="auto">
            <a:xfrm>
              <a:off x="4468817" y="1854201"/>
              <a:ext cx="657225" cy="576263"/>
            </a:xfrm>
            <a:custGeom>
              <a:avLst/>
              <a:gdLst>
                <a:gd name="T0" fmla="*/ 2147483647 w 448"/>
                <a:gd name="T1" fmla="*/ 2147483647 h 363"/>
                <a:gd name="T2" fmla="*/ 2147483647 w 448"/>
                <a:gd name="T3" fmla="*/ 2147483647 h 363"/>
                <a:gd name="T4" fmla="*/ 2147483647 w 448"/>
                <a:gd name="T5" fmla="*/ 2147483647 h 363"/>
                <a:gd name="T6" fmla="*/ 2147483647 w 448"/>
                <a:gd name="T7" fmla="*/ 2147483647 h 363"/>
                <a:gd name="T8" fmla="*/ 2147483647 w 448"/>
                <a:gd name="T9" fmla="*/ 2147483647 h 363"/>
                <a:gd name="T10" fmla="*/ 2147483647 w 448"/>
                <a:gd name="T11" fmla="*/ 2147483647 h 363"/>
                <a:gd name="T12" fmla="*/ 2147483647 w 448"/>
                <a:gd name="T13" fmla="*/ 2147483647 h 363"/>
                <a:gd name="T14" fmla="*/ 2147483647 w 448"/>
                <a:gd name="T15" fmla="*/ 2147483647 h 363"/>
                <a:gd name="T16" fmla="*/ 2147483647 w 448"/>
                <a:gd name="T17" fmla="*/ 2147483647 h 363"/>
                <a:gd name="T18" fmla="*/ 2147483647 w 448"/>
                <a:gd name="T19" fmla="*/ 2147483647 h 363"/>
                <a:gd name="T20" fmla="*/ 2147483647 w 448"/>
                <a:gd name="T21" fmla="*/ 2147483647 h 363"/>
                <a:gd name="T22" fmla="*/ 2147483647 w 448"/>
                <a:gd name="T23" fmla="*/ 2147483647 h 363"/>
                <a:gd name="T24" fmla="*/ 2147483647 w 448"/>
                <a:gd name="T25" fmla="*/ 2147483647 h 363"/>
                <a:gd name="T26" fmla="*/ 2147483647 w 448"/>
                <a:gd name="T27" fmla="*/ 2147483647 h 363"/>
                <a:gd name="T28" fmla="*/ 2147483647 w 448"/>
                <a:gd name="T29" fmla="*/ 2147483647 h 363"/>
                <a:gd name="T30" fmla="*/ 2147483647 w 448"/>
                <a:gd name="T31" fmla="*/ 2147483647 h 363"/>
                <a:gd name="T32" fmla="*/ 2147483647 w 448"/>
                <a:gd name="T33" fmla="*/ 2147483647 h 363"/>
                <a:gd name="T34" fmla="*/ 2147483647 w 448"/>
                <a:gd name="T35" fmla="*/ 2147483647 h 363"/>
                <a:gd name="T36" fmla="*/ 2147483647 w 448"/>
                <a:gd name="T37" fmla="*/ 2147483647 h 363"/>
                <a:gd name="T38" fmla="*/ 2147483647 w 448"/>
                <a:gd name="T39" fmla="*/ 2147483647 h 363"/>
                <a:gd name="T40" fmla="*/ 0 w 448"/>
                <a:gd name="T41" fmla="*/ 2147483647 h 363"/>
                <a:gd name="T42" fmla="*/ 2147483647 w 448"/>
                <a:gd name="T43" fmla="*/ 2147483647 h 363"/>
                <a:gd name="T44" fmla="*/ 2147483647 w 448"/>
                <a:gd name="T45" fmla="*/ 2147483647 h 363"/>
                <a:gd name="T46" fmla="*/ 2147483647 w 448"/>
                <a:gd name="T47" fmla="*/ 2147483647 h 363"/>
                <a:gd name="T48" fmla="*/ 2147483647 w 448"/>
                <a:gd name="T49" fmla="*/ 2147483647 h 363"/>
                <a:gd name="T50" fmla="*/ 2147483647 w 448"/>
                <a:gd name="T51" fmla="*/ 2147483647 h 363"/>
                <a:gd name="T52" fmla="*/ 2147483647 w 448"/>
                <a:gd name="T53" fmla="*/ 2147483647 h 363"/>
                <a:gd name="T54" fmla="*/ 2147483647 w 448"/>
                <a:gd name="T55" fmla="*/ 2147483647 h 363"/>
                <a:gd name="T56" fmla="*/ 2147483647 w 448"/>
                <a:gd name="T57" fmla="*/ 2147483647 h 363"/>
                <a:gd name="T58" fmla="*/ 2147483647 w 448"/>
                <a:gd name="T59" fmla="*/ 2147483647 h 363"/>
                <a:gd name="T60" fmla="*/ 2147483647 w 448"/>
                <a:gd name="T61" fmla="*/ 2147483647 h 363"/>
                <a:gd name="T62" fmla="*/ 2147483647 w 448"/>
                <a:gd name="T63" fmla="*/ 2147483647 h 363"/>
                <a:gd name="T64" fmla="*/ 2147483647 w 448"/>
                <a:gd name="T65" fmla="*/ 2147483647 h 363"/>
                <a:gd name="T66" fmla="*/ 2147483647 w 448"/>
                <a:gd name="T67" fmla="*/ 2147483647 h 363"/>
                <a:gd name="T68" fmla="*/ 2147483647 w 448"/>
                <a:gd name="T69" fmla="*/ 2147483647 h 363"/>
                <a:gd name="T70" fmla="*/ 2147483647 w 448"/>
                <a:gd name="T71" fmla="*/ 2147483647 h 363"/>
                <a:gd name="T72" fmla="*/ 2147483647 w 448"/>
                <a:gd name="T73" fmla="*/ 2147483647 h 363"/>
                <a:gd name="T74" fmla="*/ 2147483647 w 448"/>
                <a:gd name="T75" fmla="*/ 2147483647 h 363"/>
                <a:gd name="T76" fmla="*/ 2147483647 w 448"/>
                <a:gd name="T77" fmla="*/ 2147483647 h 363"/>
                <a:gd name="T78" fmla="*/ 2147483647 w 448"/>
                <a:gd name="T79" fmla="*/ 2147483647 h 363"/>
                <a:gd name="T80" fmla="*/ 2147483647 w 448"/>
                <a:gd name="T81" fmla="*/ 2147483647 h 363"/>
                <a:gd name="T82" fmla="*/ 2147483647 w 448"/>
                <a:gd name="T83" fmla="*/ 2147483647 h 363"/>
                <a:gd name="T84" fmla="*/ 2147483647 w 448"/>
                <a:gd name="T85" fmla="*/ 2147483647 h 363"/>
                <a:gd name="T86" fmla="*/ 2147483647 w 448"/>
                <a:gd name="T87" fmla="*/ 2147483647 h 363"/>
                <a:gd name="T88" fmla="*/ 2147483647 w 448"/>
                <a:gd name="T89" fmla="*/ 2147483647 h 363"/>
                <a:gd name="T90" fmla="*/ 2147483647 w 448"/>
                <a:gd name="T91" fmla="*/ 2147483647 h 363"/>
                <a:gd name="T92" fmla="*/ 2147483647 w 448"/>
                <a:gd name="T93" fmla="*/ 2147483647 h 363"/>
                <a:gd name="T94" fmla="*/ 2147483647 w 448"/>
                <a:gd name="T95" fmla="*/ 2147483647 h 363"/>
                <a:gd name="T96" fmla="*/ 2147483647 w 448"/>
                <a:gd name="T97" fmla="*/ 2147483647 h 363"/>
                <a:gd name="T98" fmla="*/ 2147483647 w 448"/>
                <a:gd name="T99" fmla="*/ 2147483647 h 363"/>
                <a:gd name="T100" fmla="*/ 2147483647 w 448"/>
                <a:gd name="T101" fmla="*/ 2147483647 h 363"/>
                <a:gd name="T102" fmla="*/ 2147483647 w 448"/>
                <a:gd name="T103" fmla="*/ 2147483647 h 363"/>
                <a:gd name="T104" fmla="*/ 2147483647 w 448"/>
                <a:gd name="T105" fmla="*/ 2147483647 h 363"/>
                <a:gd name="T106" fmla="*/ 2147483647 w 448"/>
                <a:gd name="T107" fmla="*/ 2147483647 h 363"/>
                <a:gd name="T108" fmla="*/ 2147483647 w 448"/>
                <a:gd name="T109" fmla="*/ 2147483647 h 363"/>
                <a:gd name="T110" fmla="*/ 2147483647 w 448"/>
                <a:gd name="T111" fmla="*/ 2147483647 h 363"/>
                <a:gd name="T112" fmla="*/ 2147483647 w 448"/>
                <a:gd name="T113" fmla="*/ 2147483647 h 363"/>
                <a:gd name="T114" fmla="*/ 2147483647 w 448"/>
                <a:gd name="T115" fmla="*/ 2147483647 h 3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48"/>
                <a:gd name="T175" fmla="*/ 0 h 363"/>
                <a:gd name="T176" fmla="*/ 448 w 448"/>
                <a:gd name="T177" fmla="*/ 363 h 3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48" h="363">
                  <a:moveTo>
                    <a:pt x="272" y="64"/>
                  </a:moveTo>
                  <a:lnTo>
                    <a:pt x="272" y="64"/>
                  </a:lnTo>
                  <a:lnTo>
                    <a:pt x="266" y="71"/>
                  </a:lnTo>
                  <a:lnTo>
                    <a:pt x="260" y="78"/>
                  </a:lnTo>
                  <a:lnTo>
                    <a:pt x="257" y="80"/>
                  </a:lnTo>
                  <a:lnTo>
                    <a:pt x="254" y="82"/>
                  </a:lnTo>
                  <a:lnTo>
                    <a:pt x="250" y="82"/>
                  </a:lnTo>
                  <a:lnTo>
                    <a:pt x="247" y="80"/>
                  </a:lnTo>
                  <a:lnTo>
                    <a:pt x="241" y="79"/>
                  </a:lnTo>
                  <a:lnTo>
                    <a:pt x="236" y="79"/>
                  </a:lnTo>
                  <a:lnTo>
                    <a:pt x="233" y="79"/>
                  </a:lnTo>
                  <a:lnTo>
                    <a:pt x="229" y="82"/>
                  </a:lnTo>
                  <a:lnTo>
                    <a:pt x="225" y="86"/>
                  </a:lnTo>
                  <a:lnTo>
                    <a:pt x="221" y="90"/>
                  </a:lnTo>
                  <a:lnTo>
                    <a:pt x="212" y="95"/>
                  </a:lnTo>
                  <a:lnTo>
                    <a:pt x="202" y="99"/>
                  </a:lnTo>
                  <a:lnTo>
                    <a:pt x="192" y="104"/>
                  </a:lnTo>
                  <a:lnTo>
                    <a:pt x="189" y="106"/>
                  </a:lnTo>
                  <a:lnTo>
                    <a:pt x="187" y="109"/>
                  </a:lnTo>
                  <a:lnTo>
                    <a:pt x="186" y="115"/>
                  </a:lnTo>
                  <a:lnTo>
                    <a:pt x="183" y="120"/>
                  </a:lnTo>
                  <a:lnTo>
                    <a:pt x="179" y="124"/>
                  </a:lnTo>
                  <a:lnTo>
                    <a:pt x="174" y="128"/>
                  </a:lnTo>
                  <a:lnTo>
                    <a:pt x="173" y="129"/>
                  </a:lnTo>
                  <a:lnTo>
                    <a:pt x="172" y="131"/>
                  </a:lnTo>
                  <a:lnTo>
                    <a:pt x="172" y="136"/>
                  </a:lnTo>
                  <a:lnTo>
                    <a:pt x="169" y="140"/>
                  </a:lnTo>
                  <a:lnTo>
                    <a:pt x="165" y="142"/>
                  </a:lnTo>
                  <a:lnTo>
                    <a:pt x="160" y="143"/>
                  </a:lnTo>
                  <a:lnTo>
                    <a:pt x="156" y="147"/>
                  </a:lnTo>
                  <a:lnTo>
                    <a:pt x="155" y="150"/>
                  </a:lnTo>
                  <a:lnTo>
                    <a:pt x="154" y="166"/>
                  </a:lnTo>
                  <a:lnTo>
                    <a:pt x="151" y="173"/>
                  </a:lnTo>
                  <a:lnTo>
                    <a:pt x="147" y="180"/>
                  </a:lnTo>
                  <a:lnTo>
                    <a:pt x="147" y="182"/>
                  </a:lnTo>
                  <a:lnTo>
                    <a:pt x="149" y="185"/>
                  </a:lnTo>
                  <a:lnTo>
                    <a:pt x="153" y="192"/>
                  </a:lnTo>
                  <a:lnTo>
                    <a:pt x="154" y="195"/>
                  </a:lnTo>
                  <a:lnTo>
                    <a:pt x="151" y="198"/>
                  </a:lnTo>
                  <a:lnTo>
                    <a:pt x="149" y="199"/>
                  </a:lnTo>
                  <a:lnTo>
                    <a:pt x="145" y="199"/>
                  </a:lnTo>
                  <a:lnTo>
                    <a:pt x="139" y="197"/>
                  </a:lnTo>
                  <a:lnTo>
                    <a:pt x="133" y="197"/>
                  </a:lnTo>
                  <a:lnTo>
                    <a:pt x="128" y="198"/>
                  </a:lnTo>
                  <a:lnTo>
                    <a:pt x="125" y="200"/>
                  </a:lnTo>
                  <a:lnTo>
                    <a:pt x="122" y="204"/>
                  </a:lnTo>
                  <a:lnTo>
                    <a:pt x="120" y="208"/>
                  </a:lnTo>
                  <a:lnTo>
                    <a:pt x="117" y="219"/>
                  </a:lnTo>
                  <a:lnTo>
                    <a:pt x="116" y="229"/>
                  </a:lnTo>
                  <a:lnTo>
                    <a:pt x="116" y="236"/>
                  </a:lnTo>
                  <a:lnTo>
                    <a:pt x="117" y="243"/>
                  </a:lnTo>
                  <a:lnTo>
                    <a:pt x="117" y="250"/>
                  </a:lnTo>
                  <a:lnTo>
                    <a:pt x="117" y="256"/>
                  </a:lnTo>
                  <a:lnTo>
                    <a:pt x="120" y="262"/>
                  </a:lnTo>
                  <a:lnTo>
                    <a:pt x="121" y="263"/>
                  </a:lnTo>
                  <a:lnTo>
                    <a:pt x="123" y="264"/>
                  </a:lnTo>
                  <a:lnTo>
                    <a:pt x="126" y="267"/>
                  </a:lnTo>
                  <a:lnTo>
                    <a:pt x="127" y="268"/>
                  </a:lnTo>
                  <a:lnTo>
                    <a:pt x="128" y="274"/>
                  </a:lnTo>
                  <a:lnTo>
                    <a:pt x="130" y="276"/>
                  </a:lnTo>
                  <a:lnTo>
                    <a:pt x="128" y="278"/>
                  </a:lnTo>
                  <a:lnTo>
                    <a:pt x="125" y="280"/>
                  </a:lnTo>
                  <a:lnTo>
                    <a:pt x="122" y="281"/>
                  </a:lnTo>
                  <a:lnTo>
                    <a:pt x="121" y="282"/>
                  </a:lnTo>
                  <a:lnTo>
                    <a:pt x="120" y="297"/>
                  </a:lnTo>
                  <a:lnTo>
                    <a:pt x="117" y="309"/>
                  </a:lnTo>
                  <a:lnTo>
                    <a:pt x="113" y="320"/>
                  </a:lnTo>
                  <a:lnTo>
                    <a:pt x="108" y="332"/>
                  </a:lnTo>
                  <a:lnTo>
                    <a:pt x="103" y="329"/>
                  </a:lnTo>
                  <a:lnTo>
                    <a:pt x="100" y="327"/>
                  </a:lnTo>
                  <a:lnTo>
                    <a:pt x="98" y="326"/>
                  </a:lnTo>
                  <a:lnTo>
                    <a:pt x="97" y="321"/>
                  </a:lnTo>
                  <a:lnTo>
                    <a:pt x="95" y="315"/>
                  </a:lnTo>
                  <a:lnTo>
                    <a:pt x="97" y="310"/>
                  </a:lnTo>
                  <a:lnTo>
                    <a:pt x="99" y="306"/>
                  </a:lnTo>
                  <a:lnTo>
                    <a:pt x="99" y="304"/>
                  </a:lnTo>
                  <a:lnTo>
                    <a:pt x="98" y="303"/>
                  </a:lnTo>
                  <a:lnTo>
                    <a:pt x="97" y="302"/>
                  </a:lnTo>
                  <a:lnTo>
                    <a:pt x="94" y="303"/>
                  </a:lnTo>
                  <a:lnTo>
                    <a:pt x="92" y="304"/>
                  </a:lnTo>
                  <a:lnTo>
                    <a:pt x="90" y="308"/>
                  </a:lnTo>
                  <a:lnTo>
                    <a:pt x="90" y="315"/>
                  </a:lnTo>
                  <a:lnTo>
                    <a:pt x="92" y="326"/>
                  </a:lnTo>
                  <a:lnTo>
                    <a:pt x="92" y="331"/>
                  </a:lnTo>
                  <a:lnTo>
                    <a:pt x="90" y="333"/>
                  </a:lnTo>
                  <a:lnTo>
                    <a:pt x="88" y="334"/>
                  </a:lnTo>
                  <a:lnTo>
                    <a:pt x="80" y="339"/>
                  </a:lnTo>
                  <a:lnTo>
                    <a:pt x="74" y="345"/>
                  </a:lnTo>
                  <a:lnTo>
                    <a:pt x="61" y="357"/>
                  </a:lnTo>
                  <a:lnTo>
                    <a:pt x="57" y="360"/>
                  </a:lnTo>
                  <a:lnTo>
                    <a:pt x="52" y="363"/>
                  </a:lnTo>
                  <a:lnTo>
                    <a:pt x="48" y="363"/>
                  </a:lnTo>
                  <a:lnTo>
                    <a:pt x="43" y="363"/>
                  </a:lnTo>
                  <a:lnTo>
                    <a:pt x="32" y="360"/>
                  </a:lnTo>
                  <a:lnTo>
                    <a:pt x="22" y="357"/>
                  </a:lnTo>
                  <a:lnTo>
                    <a:pt x="17" y="357"/>
                  </a:lnTo>
                  <a:lnTo>
                    <a:pt x="14" y="357"/>
                  </a:lnTo>
                  <a:lnTo>
                    <a:pt x="12" y="355"/>
                  </a:lnTo>
                  <a:lnTo>
                    <a:pt x="10" y="351"/>
                  </a:lnTo>
                  <a:lnTo>
                    <a:pt x="9" y="346"/>
                  </a:lnTo>
                  <a:lnTo>
                    <a:pt x="8" y="342"/>
                  </a:lnTo>
                  <a:lnTo>
                    <a:pt x="5" y="340"/>
                  </a:lnTo>
                  <a:lnTo>
                    <a:pt x="3" y="339"/>
                  </a:lnTo>
                  <a:lnTo>
                    <a:pt x="3" y="338"/>
                  </a:lnTo>
                  <a:lnTo>
                    <a:pt x="14" y="340"/>
                  </a:lnTo>
                  <a:lnTo>
                    <a:pt x="18" y="339"/>
                  </a:lnTo>
                  <a:lnTo>
                    <a:pt x="20" y="336"/>
                  </a:lnTo>
                  <a:lnTo>
                    <a:pt x="20" y="333"/>
                  </a:lnTo>
                  <a:lnTo>
                    <a:pt x="20" y="331"/>
                  </a:lnTo>
                  <a:lnTo>
                    <a:pt x="19" y="329"/>
                  </a:lnTo>
                  <a:lnTo>
                    <a:pt x="14" y="326"/>
                  </a:lnTo>
                  <a:lnTo>
                    <a:pt x="13" y="323"/>
                  </a:lnTo>
                  <a:lnTo>
                    <a:pt x="13" y="320"/>
                  </a:lnTo>
                  <a:lnTo>
                    <a:pt x="13" y="319"/>
                  </a:lnTo>
                  <a:lnTo>
                    <a:pt x="14" y="317"/>
                  </a:lnTo>
                  <a:lnTo>
                    <a:pt x="18" y="315"/>
                  </a:lnTo>
                  <a:lnTo>
                    <a:pt x="18" y="314"/>
                  </a:lnTo>
                  <a:lnTo>
                    <a:pt x="17" y="313"/>
                  </a:lnTo>
                  <a:lnTo>
                    <a:pt x="10" y="312"/>
                  </a:lnTo>
                  <a:lnTo>
                    <a:pt x="9" y="310"/>
                  </a:lnTo>
                  <a:lnTo>
                    <a:pt x="9" y="308"/>
                  </a:lnTo>
                  <a:lnTo>
                    <a:pt x="10" y="303"/>
                  </a:lnTo>
                  <a:lnTo>
                    <a:pt x="10" y="299"/>
                  </a:lnTo>
                  <a:lnTo>
                    <a:pt x="9" y="294"/>
                  </a:lnTo>
                  <a:lnTo>
                    <a:pt x="8" y="289"/>
                  </a:lnTo>
                  <a:lnTo>
                    <a:pt x="7" y="285"/>
                  </a:lnTo>
                  <a:lnTo>
                    <a:pt x="7" y="284"/>
                  </a:lnTo>
                  <a:lnTo>
                    <a:pt x="8" y="282"/>
                  </a:lnTo>
                  <a:lnTo>
                    <a:pt x="10" y="282"/>
                  </a:lnTo>
                  <a:lnTo>
                    <a:pt x="12" y="282"/>
                  </a:lnTo>
                  <a:lnTo>
                    <a:pt x="14" y="283"/>
                  </a:lnTo>
                  <a:lnTo>
                    <a:pt x="17" y="285"/>
                  </a:lnTo>
                  <a:lnTo>
                    <a:pt x="18" y="285"/>
                  </a:lnTo>
                  <a:lnTo>
                    <a:pt x="19" y="285"/>
                  </a:lnTo>
                  <a:lnTo>
                    <a:pt x="23" y="284"/>
                  </a:lnTo>
                  <a:lnTo>
                    <a:pt x="28" y="284"/>
                  </a:lnTo>
                  <a:lnTo>
                    <a:pt x="31" y="284"/>
                  </a:lnTo>
                  <a:lnTo>
                    <a:pt x="32" y="283"/>
                  </a:lnTo>
                  <a:lnTo>
                    <a:pt x="32" y="281"/>
                  </a:lnTo>
                  <a:lnTo>
                    <a:pt x="31" y="280"/>
                  </a:lnTo>
                  <a:lnTo>
                    <a:pt x="24" y="278"/>
                  </a:lnTo>
                  <a:lnTo>
                    <a:pt x="15" y="278"/>
                  </a:lnTo>
                  <a:lnTo>
                    <a:pt x="9" y="278"/>
                  </a:lnTo>
                  <a:lnTo>
                    <a:pt x="7" y="277"/>
                  </a:lnTo>
                  <a:lnTo>
                    <a:pt x="4" y="276"/>
                  </a:lnTo>
                  <a:lnTo>
                    <a:pt x="1" y="275"/>
                  </a:lnTo>
                  <a:lnTo>
                    <a:pt x="0" y="274"/>
                  </a:lnTo>
                  <a:lnTo>
                    <a:pt x="0" y="272"/>
                  </a:lnTo>
                  <a:lnTo>
                    <a:pt x="1" y="271"/>
                  </a:lnTo>
                  <a:lnTo>
                    <a:pt x="4" y="270"/>
                  </a:lnTo>
                  <a:lnTo>
                    <a:pt x="5" y="263"/>
                  </a:lnTo>
                  <a:lnTo>
                    <a:pt x="9" y="257"/>
                  </a:lnTo>
                  <a:lnTo>
                    <a:pt x="12" y="255"/>
                  </a:lnTo>
                  <a:lnTo>
                    <a:pt x="14" y="253"/>
                  </a:lnTo>
                  <a:lnTo>
                    <a:pt x="18" y="253"/>
                  </a:lnTo>
                  <a:lnTo>
                    <a:pt x="22" y="253"/>
                  </a:lnTo>
                  <a:lnTo>
                    <a:pt x="23" y="251"/>
                  </a:lnTo>
                  <a:lnTo>
                    <a:pt x="24" y="250"/>
                  </a:lnTo>
                  <a:lnTo>
                    <a:pt x="32" y="248"/>
                  </a:lnTo>
                  <a:lnTo>
                    <a:pt x="40" y="244"/>
                  </a:lnTo>
                  <a:lnTo>
                    <a:pt x="42" y="242"/>
                  </a:lnTo>
                  <a:lnTo>
                    <a:pt x="43" y="239"/>
                  </a:lnTo>
                  <a:lnTo>
                    <a:pt x="45" y="236"/>
                  </a:lnTo>
                  <a:lnTo>
                    <a:pt x="43" y="232"/>
                  </a:lnTo>
                  <a:lnTo>
                    <a:pt x="50" y="233"/>
                  </a:lnTo>
                  <a:lnTo>
                    <a:pt x="56" y="232"/>
                  </a:lnTo>
                  <a:lnTo>
                    <a:pt x="62" y="230"/>
                  </a:lnTo>
                  <a:lnTo>
                    <a:pt x="67" y="226"/>
                  </a:lnTo>
                  <a:lnTo>
                    <a:pt x="71" y="225"/>
                  </a:lnTo>
                  <a:lnTo>
                    <a:pt x="75" y="224"/>
                  </a:lnTo>
                  <a:lnTo>
                    <a:pt x="79" y="224"/>
                  </a:lnTo>
                  <a:lnTo>
                    <a:pt x="81" y="223"/>
                  </a:lnTo>
                  <a:lnTo>
                    <a:pt x="83" y="221"/>
                  </a:lnTo>
                  <a:lnTo>
                    <a:pt x="85" y="216"/>
                  </a:lnTo>
                  <a:lnTo>
                    <a:pt x="88" y="208"/>
                  </a:lnTo>
                  <a:lnTo>
                    <a:pt x="92" y="201"/>
                  </a:lnTo>
                  <a:lnTo>
                    <a:pt x="95" y="195"/>
                  </a:lnTo>
                  <a:lnTo>
                    <a:pt x="98" y="192"/>
                  </a:lnTo>
                  <a:lnTo>
                    <a:pt x="99" y="188"/>
                  </a:lnTo>
                  <a:lnTo>
                    <a:pt x="102" y="187"/>
                  </a:lnTo>
                  <a:lnTo>
                    <a:pt x="104" y="185"/>
                  </a:lnTo>
                  <a:lnTo>
                    <a:pt x="107" y="184"/>
                  </a:lnTo>
                  <a:lnTo>
                    <a:pt x="109" y="182"/>
                  </a:lnTo>
                  <a:lnTo>
                    <a:pt x="109" y="180"/>
                  </a:lnTo>
                  <a:lnTo>
                    <a:pt x="109" y="178"/>
                  </a:lnTo>
                  <a:lnTo>
                    <a:pt x="109" y="172"/>
                  </a:lnTo>
                  <a:lnTo>
                    <a:pt x="111" y="169"/>
                  </a:lnTo>
                  <a:lnTo>
                    <a:pt x="112" y="169"/>
                  </a:lnTo>
                  <a:lnTo>
                    <a:pt x="113" y="169"/>
                  </a:lnTo>
                  <a:lnTo>
                    <a:pt x="117" y="174"/>
                  </a:lnTo>
                  <a:lnTo>
                    <a:pt x="122" y="178"/>
                  </a:lnTo>
                  <a:lnTo>
                    <a:pt x="125" y="178"/>
                  </a:lnTo>
                  <a:lnTo>
                    <a:pt x="127" y="178"/>
                  </a:lnTo>
                  <a:lnTo>
                    <a:pt x="130" y="176"/>
                  </a:lnTo>
                  <a:lnTo>
                    <a:pt x="132" y="174"/>
                  </a:lnTo>
                  <a:lnTo>
                    <a:pt x="133" y="172"/>
                  </a:lnTo>
                  <a:lnTo>
                    <a:pt x="133" y="168"/>
                  </a:lnTo>
                  <a:lnTo>
                    <a:pt x="132" y="166"/>
                  </a:lnTo>
                  <a:lnTo>
                    <a:pt x="131" y="163"/>
                  </a:lnTo>
                  <a:lnTo>
                    <a:pt x="127" y="160"/>
                  </a:lnTo>
                  <a:lnTo>
                    <a:pt x="126" y="156"/>
                  </a:lnTo>
                  <a:lnTo>
                    <a:pt x="127" y="152"/>
                  </a:lnTo>
                  <a:lnTo>
                    <a:pt x="128" y="147"/>
                  </a:lnTo>
                  <a:lnTo>
                    <a:pt x="136" y="138"/>
                  </a:lnTo>
                  <a:lnTo>
                    <a:pt x="140" y="135"/>
                  </a:lnTo>
                  <a:lnTo>
                    <a:pt x="144" y="129"/>
                  </a:lnTo>
                  <a:lnTo>
                    <a:pt x="145" y="128"/>
                  </a:lnTo>
                  <a:lnTo>
                    <a:pt x="147" y="125"/>
                  </a:lnTo>
                  <a:lnTo>
                    <a:pt x="153" y="123"/>
                  </a:lnTo>
                  <a:lnTo>
                    <a:pt x="164" y="120"/>
                  </a:lnTo>
                  <a:lnTo>
                    <a:pt x="165" y="118"/>
                  </a:lnTo>
                  <a:lnTo>
                    <a:pt x="167" y="117"/>
                  </a:lnTo>
                  <a:lnTo>
                    <a:pt x="170" y="114"/>
                  </a:lnTo>
                  <a:lnTo>
                    <a:pt x="174" y="112"/>
                  </a:lnTo>
                  <a:lnTo>
                    <a:pt x="178" y="109"/>
                  </a:lnTo>
                  <a:lnTo>
                    <a:pt x="179" y="108"/>
                  </a:lnTo>
                  <a:lnTo>
                    <a:pt x="179" y="105"/>
                  </a:lnTo>
                  <a:lnTo>
                    <a:pt x="179" y="103"/>
                  </a:lnTo>
                  <a:lnTo>
                    <a:pt x="178" y="102"/>
                  </a:lnTo>
                  <a:lnTo>
                    <a:pt x="174" y="99"/>
                  </a:lnTo>
                  <a:lnTo>
                    <a:pt x="174" y="98"/>
                  </a:lnTo>
                  <a:lnTo>
                    <a:pt x="175" y="97"/>
                  </a:lnTo>
                  <a:lnTo>
                    <a:pt x="177" y="95"/>
                  </a:lnTo>
                  <a:lnTo>
                    <a:pt x="184" y="92"/>
                  </a:lnTo>
                  <a:lnTo>
                    <a:pt x="187" y="91"/>
                  </a:lnTo>
                  <a:lnTo>
                    <a:pt x="192" y="91"/>
                  </a:lnTo>
                  <a:lnTo>
                    <a:pt x="197" y="90"/>
                  </a:lnTo>
                  <a:lnTo>
                    <a:pt x="201" y="87"/>
                  </a:lnTo>
                  <a:lnTo>
                    <a:pt x="203" y="83"/>
                  </a:lnTo>
                  <a:lnTo>
                    <a:pt x="205" y="76"/>
                  </a:lnTo>
                  <a:lnTo>
                    <a:pt x="205" y="74"/>
                  </a:lnTo>
                  <a:lnTo>
                    <a:pt x="208" y="73"/>
                  </a:lnTo>
                  <a:lnTo>
                    <a:pt x="216" y="73"/>
                  </a:lnTo>
                  <a:lnTo>
                    <a:pt x="219" y="72"/>
                  </a:lnTo>
                  <a:lnTo>
                    <a:pt x="219" y="70"/>
                  </a:lnTo>
                  <a:lnTo>
                    <a:pt x="219" y="66"/>
                  </a:lnTo>
                  <a:lnTo>
                    <a:pt x="220" y="64"/>
                  </a:lnTo>
                  <a:lnTo>
                    <a:pt x="224" y="61"/>
                  </a:lnTo>
                  <a:lnTo>
                    <a:pt x="227" y="55"/>
                  </a:lnTo>
                  <a:lnTo>
                    <a:pt x="234" y="52"/>
                  </a:lnTo>
                  <a:lnTo>
                    <a:pt x="238" y="51"/>
                  </a:lnTo>
                  <a:lnTo>
                    <a:pt x="240" y="51"/>
                  </a:lnTo>
                  <a:lnTo>
                    <a:pt x="248" y="52"/>
                  </a:lnTo>
                  <a:lnTo>
                    <a:pt x="249" y="52"/>
                  </a:lnTo>
                  <a:lnTo>
                    <a:pt x="250" y="51"/>
                  </a:lnTo>
                  <a:lnTo>
                    <a:pt x="250" y="50"/>
                  </a:lnTo>
                  <a:lnTo>
                    <a:pt x="250" y="48"/>
                  </a:lnTo>
                  <a:lnTo>
                    <a:pt x="247" y="46"/>
                  </a:lnTo>
                  <a:lnTo>
                    <a:pt x="245" y="45"/>
                  </a:lnTo>
                  <a:lnTo>
                    <a:pt x="245" y="44"/>
                  </a:lnTo>
                  <a:lnTo>
                    <a:pt x="245" y="42"/>
                  </a:lnTo>
                  <a:lnTo>
                    <a:pt x="247" y="41"/>
                  </a:lnTo>
                  <a:lnTo>
                    <a:pt x="252" y="41"/>
                  </a:lnTo>
                  <a:lnTo>
                    <a:pt x="255" y="39"/>
                  </a:lnTo>
                  <a:lnTo>
                    <a:pt x="259" y="37"/>
                  </a:lnTo>
                  <a:lnTo>
                    <a:pt x="263" y="34"/>
                  </a:lnTo>
                  <a:lnTo>
                    <a:pt x="267" y="33"/>
                  </a:lnTo>
                  <a:lnTo>
                    <a:pt x="267" y="35"/>
                  </a:lnTo>
                  <a:lnTo>
                    <a:pt x="266" y="39"/>
                  </a:lnTo>
                  <a:lnTo>
                    <a:pt x="266" y="41"/>
                  </a:lnTo>
                  <a:lnTo>
                    <a:pt x="266" y="42"/>
                  </a:lnTo>
                  <a:lnTo>
                    <a:pt x="267" y="42"/>
                  </a:lnTo>
                  <a:lnTo>
                    <a:pt x="277" y="39"/>
                  </a:lnTo>
                  <a:lnTo>
                    <a:pt x="287" y="35"/>
                  </a:lnTo>
                  <a:lnTo>
                    <a:pt x="288" y="35"/>
                  </a:lnTo>
                  <a:lnTo>
                    <a:pt x="288" y="34"/>
                  </a:lnTo>
                  <a:lnTo>
                    <a:pt x="287" y="32"/>
                  </a:lnTo>
                  <a:lnTo>
                    <a:pt x="285" y="26"/>
                  </a:lnTo>
                  <a:lnTo>
                    <a:pt x="283" y="25"/>
                  </a:lnTo>
                  <a:lnTo>
                    <a:pt x="285" y="23"/>
                  </a:lnTo>
                  <a:lnTo>
                    <a:pt x="287" y="21"/>
                  </a:lnTo>
                  <a:lnTo>
                    <a:pt x="290" y="21"/>
                  </a:lnTo>
                  <a:lnTo>
                    <a:pt x="293" y="22"/>
                  </a:lnTo>
                  <a:lnTo>
                    <a:pt x="301" y="27"/>
                  </a:lnTo>
                  <a:lnTo>
                    <a:pt x="306" y="31"/>
                  </a:lnTo>
                  <a:lnTo>
                    <a:pt x="310" y="32"/>
                  </a:lnTo>
                  <a:lnTo>
                    <a:pt x="313" y="31"/>
                  </a:lnTo>
                  <a:lnTo>
                    <a:pt x="313" y="27"/>
                  </a:lnTo>
                  <a:lnTo>
                    <a:pt x="315" y="23"/>
                  </a:lnTo>
                  <a:lnTo>
                    <a:pt x="320" y="19"/>
                  </a:lnTo>
                  <a:lnTo>
                    <a:pt x="328" y="12"/>
                  </a:lnTo>
                  <a:lnTo>
                    <a:pt x="337" y="5"/>
                  </a:lnTo>
                  <a:lnTo>
                    <a:pt x="339" y="3"/>
                  </a:lnTo>
                  <a:lnTo>
                    <a:pt x="340" y="3"/>
                  </a:lnTo>
                  <a:lnTo>
                    <a:pt x="343" y="3"/>
                  </a:lnTo>
                  <a:lnTo>
                    <a:pt x="347" y="3"/>
                  </a:lnTo>
                  <a:lnTo>
                    <a:pt x="349" y="5"/>
                  </a:lnTo>
                  <a:lnTo>
                    <a:pt x="352" y="5"/>
                  </a:lnTo>
                  <a:lnTo>
                    <a:pt x="356" y="5"/>
                  </a:lnTo>
                  <a:lnTo>
                    <a:pt x="356" y="6"/>
                  </a:lnTo>
                  <a:lnTo>
                    <a:pt x="356" y="8"/>
                  </a:lnTo>
                  <a:lnTo>
                    <a:pt x="354" y="12"/>
                  </a:lnTo>
                  <a:lnTo>
                    <a:pt x="351" y="15"/>
                  </a:lnTo>
                  <a:lnTo>
                    <a:pt x="344" y="22"/>
                  </a:lnTo>
                  <a:lnTo>
                    <a:pt x="344" y="23"/>
                  </a:lnTo>
                  <a:lnTo>
                    <a:pt x="344" y="26"/>
                  </a:lnTo>
                  <a:lnTo>
                    <a:pt x="346" y="27"/>
                  </a:lnTo>
                  <a:lnTo>
                    <a:pt x="347" y="27"/>
                  </a:lnTo>
                  <a:lnTo>
                    <a:pt x="353" y="22"/>
                  </a:lnTo>
                  <a:lnTo>
                    <a:pt x="360" y="18"/>
                  </a:lnTo>
                  <a:lnTo>
                    <a:pt x="365" y="12"/>
                  </a:lnTo>
                  <a:lnTo>
                    <a:pt x="370" y="6"/>
                  </a:lnTo>
                  <a:lnTo>
                    <a:pt x="372" y="5"/>
                  </a:lnTo>
                  <a:lnTo>
                    <a:pt x="373" y="6"/>
                  </a:lnTo>
                  <a:lnTo>
                    <a:pt x="375" y="9"/>
                  </a:lnTo>
                  <a:lnTo>
                    <a:pt x="375" y="13"/>
                  </a:lnTo>
                  <a:lnTo>
                    <a:pt x="376" y="14"/>
                  </a:lnTo>
                  <a:lnTo>
                    <a:pt x="377" y="15"/>
                  </a:lnTo>
                  <a:lnTo>
                    <a:pt x="379" y="15"/>
                  </a:lnTo>
                  <a:lnTo>
                    <a:pt x="380" y="14"/>
                  </a:lnTo>
                  <a:lnTo>
                    <a:pt x="385" y="7"/>
                  </a:lnTo>
                  <a:lnTo>
                    <a:pt x="387" y="3"/>
                  </a:lnTo>
                  <a:lnTo>
                    <a:pt x="391" y="1"/>
                  </a:lnTo>
                  <a:lnTo>
                    <a:pt x="395" y="0"/>
                  </a:lnTo>
                  <a:lnTo>
                    <a:pt x="399" y="0"/>
                  </a:lnTo>
                  <a:lnTo>
                    <a:pt x="401" y="1"/>
                  </a:lnTo>
                  <a:lnTo>
                    <a:pt x="403" y="3"/>
                  </a:lnTo>
                  <a:lnTo>
                    <a:pt x="403" y="5"/>
                  </a:lnTo>
                  <a:lnTo>
                    <a:pt x="403" y="7"/>
                  </a:lnTo>
                  <a:lnTo>
                    <a:pt x="400" y="9"/>
                  </a:lnTo>
                  <a:lnTo>
                    <a:pt x="399" y="12"/>
                  </a:lnTo>
                  <a:lnTo>
                    <a:pt x="400" y="13"/>
                  </a:lnTo>
                  <a:lnTo>
                    <a:pt x="400" y="14"/>
                  </a:lnTo>
                  <a:lnTo>
                    <a:pt x="403" y="14"/>
                  </a:lnTo>
                  <a:lnTo>
                    <a:pt x="404" y="14"/>
                  </a:lnTo>
                  <a:lnTo>
                    <a:pt x="408" y="12"/>
                  </a:lnTo>
                  <a:lnTo>
                    <a:pt x="410" y="8"/>
                  </a:lnTo>
                  <a:lnTo>
                    <a:pt x="413" y="6"/>
                  </a:lnTo>
                  <a:lnTo>
                    <a:pt x="418" y="3"/>
                  </a:lnTo>
                  <a:lnTo>
                    <a:pt x="423" y="3"/>
                  </a:lnTo>
                  <a:lnTo>
                    <a:pt x="428" y="3"/>
                  </a:lnTo>
                  <a:lnTo>
                    <a:pt x="433" y="6"/>
                  </a:lnTo>
                  <a:lnTo>
                    <a:pt x="438" y="7"/>
                  </a:lnTo>
                  <a:lnTo>
                    <a:pt x="442" y="9"/>
                  </a:lnTo>
                  <a:lnTo>
                    <a:pt x="446" y="13"/>
                  </a:lnTo>
                  <a:lnTo>
                    <a:pt x="447" y="15"/>
                  </a:lnTo>
                  <a:lnTo>
                    <a:pt x="448" y="19"/>
                  </a:lnTo>
                  <a:lnTo>
                    <a:pt x="448" y="20"/>
                  </a:lnTo>
                  <a:lnTo>
                    <a:pt x="447" y="20"/>
                  </a:lnTo>
                  <a:lnTo>
                    <a:pt x="445" y="21"/>
                  </a:lnTo>
                  <a:lnTo>
                    <a:pt x="442" y="23"/>
                  </a:lnTo>
                  <a:lnTo>
                    <a:pt x="440" y="25"/>
                  </a:lnTo>
                  <a:lnTo>
                    <a:pt x="436" y="26"/>
                  </a:lnTo>
                  <a:lnTo>
                    <a:pt x="433" y="26"/>
                  </a:lnTo>
                  <a:lnTo>
                    <a:pt x="431" y="25"/>
                  </a:lnTo>
                  <a:lnTo>
                    <a:pt x="426" y="21"/>
                  </a:lnTo>
                  <a:lnTo>
                    <a:pt x="423" y="20"/>
                  </a:lnTo>
                  <a:lnTo>
                    <a:pt x="419" y="20"/>
                  </a:lnTo>
                  <a:lnTo>
                    <a:pt x="417" y="21"/>
                  </a:lnTo>
                  <a:lnTo>
                    <a:pt x="415" y="23"/>
                  </a:lnTo>
                  <a:lnTo>
                    <a:pt x="415" y="26"/>
                  </a:lnTo>
                  <a:lnTo>
                    <a:pt x="417" y="28"/>
                  </a:lnTo>
                  <a:lnTo>
                    <a:pt x="418" y="31"/>
                  </a:lnTo>
                  <a:lnTo>
                    <a:pt x="420" y="32"/>
                  </a:lnTo>
                  <a:lnTo>
                    <a:pt x="427" y="33"/>
                  </a:lnTo>
                  <a:lnTo>
                    <a:pt x="432" y="35"/>
                  </a:lnTo>
                  <a:lnTo>
                    <a:pt x="434" y="39"/>
                  </a:lnTo>
                  <a:lnTo>
                    <a:pt x="440" y="41"/>
                  </a:lnTo>
                  <a:lnTo>
                    <a:pt x="447" y="44"/>
                  </a:lnTo>
                  <a:lnTo>
                    <a:pt x="445" y="47"/>
                  </a:lnTo>
                  <a:lnTo>
                    <a:pt x="442" y="50"/>
                  </a:lnTo>
                  <a:lnTo>
                    <a:pt x="438" y="50"/>
                  </a:lnTo>
                  <a:lnTo>
                    <a:pt x="434" y="52"/>
                  </a:lnTo>
                  <a:lnTo>
                    <a:pt x="431" y="53"/>
                  </a:lnTo>
                  <a:lnTo>
                    <a:pt x="422" y="52"/>
                  </a:lnTo>
                  <a:lnTo>
                    <a:pt x="418" y="47"/>
                  </a:lnTo>
                  <a:lnTo>
                    <a:pt x="414" y="44"/>
                  </a:lnTo>
                  <a:lnTo>
                    <a:pt x="409" y="40"/>
                  </a:lnTo>
                  <a:lnTo>
                    <a:pt x="404" y="38"/>
                  </a:lnTo>
                  <a:lnTo>
                    <a:pt x="401" y="35"/>
                  </a:lnTo>
                  <a:lnTo>
                    <a:pt x="399" y="32"/>
                  </a:lnTo>
                  <a:lnTo>
                    <a:pt x="398" y="28"/>
                  </a:lnTo>
                  <a:lnTo>
                    <a:pt x="396" y="26"/>
                  </a:lnTo>
                  <a:lnTo>
                    <a:pt x="394" y="25"/>
                  </a:lnTo>
                  <a:lnTo>
                    <a:pt x="391" y="25"/>
                  </a:lnTo>
                  <a:lnTo>
                    <a:pt x="384" y="28"/>
                  </a:lnTo>
                  <a:lnTo>
                    <a:pt x="376" y="32"/>
                  </a:lnTo>
                  <a:lnTo>
                    <a:pt x="368" y="34"/>
                  </a:lnTo>
                  <a:lnTo>
                    <a:pt x="361" y="38"/>
                  </a:lnTo>
                  <a:lnTo>
                    <a:pt x="358" y="40"/>
                  </a:lnTo>
                  <a:lnTo>
                    <a:pt x="357" y="42"/>
                  </a:lnTo>
                  <a:lnTo>
                    <a:pt x="356" y="45"/>
                  </a:lnTo>
                  <a:lnTo>
                    <a:pt x="356" y="48"/>
                  </a:lnTo>
                  <a:lnTo>
                    <a:pt x="358" y="54"/>
                  </a:lnTo>
                  <a:lnTo>
                    <a:pt x="361" y="60"/>
                  </a:lnTo>
                  <a:lnTo>
                    <a:pt x="360" y="61"/>
                  </a:lnTo>
                  <a:lnTo>
                    <a:pt x="358" y="63"/>
                  </a:lnTo>
                  <a:lnTo>
                    <a:pt x="354" y="67"/>
                  </a:lnTo>
                  <a:lnTo>
                    <a:pt x="348" y="70"/>
                  </a:lnTo>
                  <a:lnTo>
                    <a:pt x="344" y="71"/>
                  </a:lnTo>
                  <a:lnTo>
                    <a:pt x="333" y="67"/>
                  </a:lnTo>
                  <a:lnTo>
                    <a:pt x="330" y="66"/>
                  </a:lnTo>
                  <a:lnTo>
                    <a:pt x="329" y="67"/>
                  </a:lnTo>
                  <a:lnTo>
                    <a:pt x="324" y="70"/>
                  </a:lnTo>
                  <a:lnTo>
                    <a:pt x="320" y="71"/>
                  </a:lnTo>
                  <a:lnTo>
                    <a:pt x="314" y="72"/>
                  </a:lnTo>
                  <a:lnTo>
                    <a:pt x="310" y="73"/>
                  </a:lnTo>
                  <a:lnTo>
                    <a:pt x="306" y="72"/>
                  </a:lnTo>
                  <a:lnTo>
                    <a:pt x="302" y="71"/>
                  </a:lnTo>
                  <a:lnTo>
                    <a:pt x="300" y="69"/>
                  </a:lnTo>
                  <a:lnTo>
                    <a:pt x="295" y="63"/>
                  </a:lnTo>
                  <a:lnTo>
                    <a:pt x="291" y="55"/>
                  </a:lnTo>
                  <a:lnTo>
                    <a:pt x="290" y="54"/>
                  </a:lnTo>
                  <a:lnTo>
                    <a:pt x="287" y="53"/>
                  </a:lnTo>
                  <a:lnTo>
                    <a:pt x="280" y="58"/>
                  </a:lnTo>
                  <a:lnTo>
                    <a:pt x="272" y="6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7" name="Freeform 1286"/>
            <p:cNvSpPr>
              <a:spLocks/>
            </p:cNvSpPr>
            <p:nvPr/>
          </p:nvSpPr>
          <p:spPr bwMode="auto">
            <a:xfrm>
              <a:off x="4621217" y="2506664"/>
              <a:ext cx="33337" cy="46037"/>
            </a:xfrm>
            <a:custGeom>
              <a:avLst/>
              <a:gdLst>
                <a:gd name="T0" fmla="*/ 2147483647 w 22"/>
                <a:gd name="T1" fmla="*/ 2147483647 h 29"/>
                <a:gd name="T2" fmla="*/ 2147483647 w 22"/>
                <a:gd name="T3" fmla="*/ 2147483647 h 29"/>
                <a:gd name="T4" fmla="*/ 2147483647 w 22"/>
                <a:gd name="T5" fmla="*/ 2147483647 h 29"/>
                <a:gd name="T6" fmla="*/ 2147483647 w 22"/>
                <a:gd name="T7" fmla="*/ 2147483647 h 29"/>
                <a:gd name="T8" fmla="*/ 2147483647 w 22"/>
                <a:gd name="T9" fmla="*/ 2147483647 h 29"/>
                <a:gd name="T10" fmla="*/ 2147483647 w 22"/>
                <a:gd name="T11" fmla="*/ 2147483647 h 29"/>
                <a:gd name="T12" fmla="*/ 2147483647 w 22"/>
                <a:gd name="T13" fmla="*/ 2147483647 h 29"/>
                <a:gd name="T14" fmla="*/ 2147483647 w 22"/>
                <a:gd name="T15" fmla="*/ 2147483647 h 29"/>
                <a:gd name="T16" fmla="*/ 2147483647 w 22"/>
                <a:gd name="T17" fmla="*/ 2147483647 h 29"/>
                <a:gd name="T18" fmla="*/ 0 w 22"/>
                <a:gd name="T19" fmla="*/ 2147483647 h 29"/>
                <a:gd name="T20" fmla="*/ 0 w 22"/>
                <a:gd name="T21" fmla="*/ 2147483647 h 29"/>
                <a:gd name="T22" fmla="*/ 0 w 22"/>
                <a:gd name="T23" fmla="*/ 2147483647 h 29"/>
                <a:gd name="T24" fmla="*/ 0 w 22"/>
                <a:gd name="T25" fmla="*/ 2147483647 h 29"/>
                <a:gd name="T26" fmla="*/ 0 w 22"/>
                <a:gd name="T27" fmla="*/ 2147483647 h 29"/>
                <a:gd name="T28" fmla="*/ 2147483647 w 22"/>
                <a:gd name="T29" fmla="*/ 2147483647 h 29"/>
                <a:gd name="T30" fmla="*/ 2147483647 w 22"/>
                <a:gd name="T31" fmla="*/ 2147483647 h 29"/>
                <a:gd name="T32" fmla="*/ 2147483647 w 22"/>
                <a:gd name="T33" fmla="*/ 2147483647 h 29"/>
                <a:gd name="T34" fmla="*/ 2147483647 w 22"/>
                <a:gd name="T35" fmla="*/ 0 h 29"/>
                <a:gd name="T36" fmla="*/ 2147483647 w 22"/>
                <a:gd name="T37" fmla="*/ 0 h 29"/>
                <a:gd name="T38" fmla="*/ 2147483647 w 22"/>
                <a:gd name="T39" fmla="*/ 0 h 29"/>
                <a:gd name="T40" fmla="*/ 2147483647 w 22"/>
                <a:gd name="T41" fmla="*/ 2147483647 h 29"/>
                <a:gd name="T42" fmla="*/ 2147483647 w 22"/>
                <a:gd name="T43" fmla="*/ 2147483647 h 29"/>
                <a:gd name="T44" fmla="*/ 2147483647 w 22"/>
                <a:gd name="T45" fmla="*/ 2147483647 h 29"/>
                <a:gd name="T46" fmla="*/ 2147483647 w 22"/>
                <a:gd name="T47" fmla="*/ 2147483647 h 29"/>
                <a:gd name="T48" fmla="*/ 2147483647 w 22"/>
                <a:gd name="T49" fmla="*/ 2147483647 h 29"/>
                <a:gd name="T50" fmla="*/ 2147483647 w 22"/>
                <a:gd name="T51" fmla="*/ 2147483647 h 29"/>
                <a:gd name="T52" fmla="*/ 2147483647 w 22"/>
                <a:gd name="T53" fmla="*/ 2147483647 h 29"/>
                <a:gd name="T54" fmla="*/ 2147483647 w 22"/>
                <a:gd name="T55" fmla="*/ 2147483647 h 29"/>
                <a:gd name="T56" fmla="*/ 2147483647 w 22"/>
                <a:gd name="T57" fmla="*/ 2147483647 h 29"/>
                <a:gd name="T58" fmla="*/ 2147483647 w 22"/>
                <a:gd name="T59" fmla="*/ 2147483647 h 29"/>
                <a:gd name="T60" fmla="*/ 2147483647 w 22"/>
                <a:gd name="T61" fmla="*/ 2147483647 h 29"/>
                <a:gd name="T62" fmla="*/ 2147483647 w 22"/>
                <a:gd name="T63" fmla="*/ 2147483647 h 29"/>
                <a:gd name="T64" fmla="*/ 2147483647 w 22"/>
                <a:gd name="T65" fmla="*/ 2147483647 h 29"/>
                <a:gd name="T66" fmla="*/ 2147483647 w 22"/>
                <a:gd name="T67" fmla="*/ 2147483647 h 29"/>
                <a:gd name="T68" fmla="*/ 2147483647 w 22"/>
                <a:gd name="T69" fmla="*/ 2147483647 h 29"/>
                <a:gd name="T70" fmla="*/ 2147483647 w 22"/>
                <a:gd name="T71" fmla="*/ 2147483647 h 29"/>
                <a:gd name="T72" fmla="*/ 2147483647 w 22"/>
                <a:gd name="T73" fmla="*/ 2147483647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
                <a:gd name="T112" fmla="*/ 0 h 29"/>
                <a:gd name="T113" fmla="*/ 22 w 22"/>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 h="29">
                  <a:moveTo>
                    <a:pt x="21" y="25"/>
                  </a:moveTo>
                  <a:lnTo>
                    <a:pt x="21" y="25"/>
                  </a:lnTo>
                  <a:lnTo>
                    <a:pt x="18" y="29"/>
                  </a:lnTo>
                  <a:lnTo>
                    <a:pt x="17" y="29"/>
                  </a:lnTo>
                  <a:lnTo>
                    <a:pt x="16" y="29"/>
                  </a:lnTo>
                  <a:lnTo>
                    <a:pt x="12" y="26"/>
                  </a:lnTo>
                  <a:lnTo>
                    <a:pt x="8" y="25"/>
                  </a:lnTo>
                  <a:lnTo>
                    <a:pt x="4" y="24"/>
                  </a:lnTo>
                  <a:lnTo>
                    <a:pt x="0" y="23"/>
                  </a:lnTo>
                  <a:lnTo>
                    <a:pt x="0" y="20"/>
                  </a:lnTo>
                  <a:lnTo>
                    <a:pt x="0" y="18"/>
                  </a:lnTo>
                  <a:lnTo>
                    <a:pt x="3" y="13"/>
                  </a:lnTo>
                  <a:lnTo>
                    <a:pt x="3" y="10"/>
                  </a:lnTo>
                  <a:lnTo>
                    <a:pt x="3" y="5"/>
                  </a:lnTo>
                  <a:lnTo>
                    <a:pt x="3" y="0"/>
                  </a:lnTo>
                  <a:lnTo>
                    <a:pt x="4" y="0"/>
                  </a:lnTo>
                  <a:lnTo>
                    <a:pt x="5" y="1"/>
                  </a:lnTo>
                  <a:lnTo>
                    <a:pt x="8" y="4"/>
                  </a:lnTo>
                  <a:lnTo>
                    <a:pt x="12" y="4"/>
                  </a:lnTo>
                  <a:lnTo>
                    <a:pt x="18" y="5"/>
                  </a:lnTo>
                  <a:lnTo>
                    <a:pt x="19" y="6"/>
                  </a:lnTo>
                  <a:lnTo>
                    <a:pt x="19" y="8"/>
                  </a:lnTo>
                  <a:lnTo>
                    <a:pt x="18" y="13"/>
                  </a:lnTo>
                  <a:lnTo>
                    <a:pt x="17" y="16"/>
                  </a:lnTo>
                  <a:lnTo>
                    <a:pt x="18" y="18"/>
                  </a:lnTo>
                  <a:lnTo>
                    <a:pt x="22" y="21"/>
                  </a:lnTo>
                  <a:lnTo>
                    <a:pt x="22" y="23"/>
                  </a:lnTo>
                  <a:lnTo>
                    <a:pt x="21" y="25"/>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8" name="Freeform 1287"/>
            <p:cNvSpPr>
              <a:spLocks/>
            </p:cNvSpPr>
            <p:nvPr/>
          </p:nvSpPr>
          <p:spPr bwMode="auto">
            <a:xfrm>
              <a:off x="4597400" y="2533650"/>
              <a:ext cx="19050" cy="36513"/>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0 w 13"/>
                <a:gd name="T17" fmla="*/ 2147483647 h 23"/>
                <a:gd name="T18" fmla="*/ 0 w 13"/>
                <a:gd name="T19" fmla="*/ 2147483647 h 23"/>
                <a:gd name="T20" fmla="*/ 2147483647 w 13"/>
                <a:gd name="T21" fmla="*/ 2147483647 h 23"/>
                <a:gd name="T22" fmla="*/ 2147483647 w 13"/>
                <a:gd name="T23" fmla="*/ 2147483647 h 23"/>
                <a:gd name="T24" fmla="*/ 2147483647 w 13"/>
                <a:gd name="T25" fmla="*/ 2147483647 h 23"/>
                <a:gd name="T26" fmla="*/ 2147483647 w 13"/>
                <a:gd name="T27" fmla="*/ 0 h 23"/>
                <a:gd name="T28" fmla="*/ 2147483647 w 13"/>
                <a:gd name="T29" fmla="*/ 2147483647 h 23"/>
                <a:gd name="T30" fmla="*/ 2147483647 w 13"/>
                <a:gd name="T31" fmla="*/ 2147483647 h 23"/>
                <a:gd name="T32" fmla="*/ 2147483647 w 13"/>
                <a:gd name="T33" fmla="*/ 2147483647 h 23"/>
                <a:gd name="T34" fmla="*/ 2147483647 w 13"/>
                <a:gd name="T35" fmla="*/ 2147483647 h 23"/>
                <a:gd name="T36" fmla="*/ 2147483647 w 13"/>
                <a:gd name="T37" fmla="*/ 2147483647 h 23"/>
                <a:gd name="T38" fmla="*/ 2147483647 w 13"/>
                <a:gd name="T39" fmla="*/ 2147483647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23"/>
                <a:gd name="T62" fmla="*/ 13 w 13"/>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23">
                  <a:moveTo>
                    <a:pt x="12" y="14"/>
                  </a:moveTo>
                  <a:lnTo>
                    <a:pt x="12" y="18"/>
                  </a:lnTo>
                  <a:lnTo>
                    <a:pt x="11" y="21"/>
                  </a:lnTo>
                  <a:lnTo>
                    <a:pt x="10" y="22"/>
                  </a:lnTo>
                  <a:lnTo>
                    <a:pt x="8" y="23"/>
                  </a:lnTo>
                  <a:lnTo>
                    <a:pt x="6" y="22"/>
                  </a:lnTo>
                  <a:lnTo>
                    <a:pt x="3" y="21"/>
                  </a:lnTo>
                  <a:lnTo>
                    <a:pt x="1" y="18"/>
                  </a:lnTo>
                  <a:lnTo>
                    <a:pt x="0" y="15"/>
                  </a:lnTo>
                  <a:lnTo>
                    <a:pt x="0" y="12"/>
                  </a:lnTo>
                  <a:lnTo>
                    <a:pt x="2" y="6"/>
                  </a:lnTo>
                  <a:lnTo>
                    <a:pt x="3" y="3"/>
                  </a:lnTo>
                  <a:lnTo>
                    <a:pt x="6" y="1"/>
                  </a:lnTo>
                  <a:lnTo>
                    <a:pt x="8" y="0"/>
                  </a:lnTo>
                  <a:lnTo>
                    <a:pt x="11" y="1"/>
                  </a:lnTo>
                  <a:lnTo>
                    <a:pt x="12" y="2"/>
                  </a:lnTo>
                  <a:lnTo>
                    <a:pt x="13" y="4"/>
                  </a:lnTo>
                  <a:lnTo>
                    <a:pt x="13" y="7"/>
                  </a:lnTo>
                  <a:lnTo>
                    <a:pt x="13" y="9"/>
                  </a:lnTo>
                  <a:lnTo>
                    <a:pt x="12"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89" name="Freeform 1288"/>
            <p:cNvSpPr>
              <a:spLocks/>
            </p:cNvSpPr>
            <p:nvPr/>
          </p:nvSpPr>
          <p:spPr bwMode="auto">
            <a:xfrm>
              <a:off x="4619629" y="2559054"/>
              <a:ext cx="22225" cy="17463"/>
            </a:xfrm>
            <a:custGeom>
              <a:avLst/>
              <a:gdLst>
                <a:gd name="T0" fmla="*/ 2147483647 w 15"/>
                <a:gd name="T1" fmla="*/ 2147483647 h 11"/>
                <a:gd name="T2" fmla="*/ 2147483647 w 15"/>
                <a:gd name="T3" fmla="*/ 2147483647 h 11"/>
                <a:gd name="T4" fmla="*/ 2147483647 w 15"/>
                <a:gd name="T5" fmla="*/ 2147483647 h 11"/>
                <a:gd name="T6" fmla="*/ 2147483647 w 15"/>
                <a:gd name="T7" fmla="*/ 2147483647 h 11"/>
                <a:gd name="T8" fmla="*/ 0 w 15"/>
                <a:gd name="T9" fmla="*/ 2147483647 h 11"/>
                <a:gd name="T10" fmla="*/ 0 w 15"/>
                <a:gd name="T11" fmla="*/ 2147483647 h 11"/>
                <a:gd name="T12" fmla="*/ 2147483647 w 15"/>
                <a:gd name="T13" fmla="*/ 2147483647 h 11"/>
                <a:gd name="T14" fmla="*/ 2147483647 w 15"/>
                <a:gd name="T15" fmla="*/ 2147483647 h 11"/>
                <a:gd name="T16" fmla="*/ 2147483647 w 15"/>
                <a:gd name="T17" fmla="*/ 0 h 11"/>
                <a:gd name="T18" fmla="*/ 2147483647 w 15"/>
                <a:gd name="T19" fmla="*/ 0 h 11"/>
                <a:gd name="T20" fmla="*/ 2147483647 w 15"/>
                <a:gd name="T21" fmla="*/ 2147483647 h 11"/>
                <a:gd name="T22" fmla="*/ 2147483647 w 15"/>
                <a:gd name="T23" fmla="*/ 2147483647 h 11"/>
                <a:gd name="T24" fmla="*/ 2147483647 w 15"/>
                <a:gd name="T25" fmla="*/ 2147483647 h 11"/>
                <a:gd name="T26" fmla="*/ 2147483647 w 15"/>
                <a:gd name="T27" fmla="*/ 2147483647 h 11"/>
                <a:gd name="T28" fmla="*/ 2147483647 w 15"/>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1"/>
                <a:gd name="T47" fmla="*/ 15 w 15"/>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1">
                  <a:moveTo>
                    <a:pt x="11" y="10"/>
                  </a:moveTo>
                  <a:lnTo>
                    <a:pt x="6" y="11"/>
                  </a:lnTo>
                  <a:lnTo>
                    <a:pt x="4" y="11"/>
                  </a:lnTo>
                  <a:lnTo>
                    <a:pt x="1" y="10"/>
                  </a:lnTo>
                  <a:lnTo>
                    <a:pt x="0" y="9"/>
                  </a:lnTo>
                  <a:lnTo>
                    <a:pt x="0" y="6"/>
                  </a:lnTo>
                  <a:lnTo>
                    <a:pt x="1" y="4"/>
                  </a:lnTo>
                  <a:lnTo>
                    <a:pt x="4" y="2"/>
                  </a:lnTo>
                  <a:lnTo>
                    <a:pt x="8" y="0"/>
                  </a:lnTo>
                  <a:lnTo>
                    <a:pt x="10" y="0"/>
                  </a:lnTo>
                  <a:lnTo>
                    <a:pt x="11" y="2"/>
                  </a:lnTo>
                  <a:lnTo>
                    <a:pt x="14" y="3"/>
                  </a:lnTo>
                  <a:lnTo>
                    <a:pt x="15" y="5"/>
                  </a:lnTo>
                  <a:lnTo>
                    <a:pt x="14" y="7"/>
                  </a:lnTo>
                  <a:lnTo>
                    <a:pt x="11" y="1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0" name="Freeform 1289"/>
            <p:cNvSpPr>
              <a:spLocks/>
            </p:cNvSpPr>
            <p:nvPr/>
          </p:nvSpPr>
          <p:spPr bwMode="auto">
            <a:xfrm>
              <a:off x="4594226" y="2532064"/>
              <a:ext cx="20638" cy="36512"/>
            </a:xfrm>
            <a:custGeom>
              <a:avLst/>
              <a:gdLst>
                <a:gd name="T0" fmla="*/ 2147483647 w 14"/>
                <a:gd name="T1" fmla="*/ 2147483647 h 23"/>
                <a:gd name="T2" fmla="*/ 2147483647 w 14"/>
                <a:gd name="T3" fmla="*/ 2147483647 h 23"/>
                <a:gd name="T4" fmla="*/ 2147483647 w 14"/>
                <a:gd name="T5" fmla="*/ 2147483647 h 23"/>
                <a:gd name="T6" fmla="*/ 2147483647 w 14"/>
                <a:gd name="T7" fmla="*/ 2147483647 h 23"/>
                <a:gd name="T8" fmla="*/ 2147483647 w 14"/>
                <a:gd name="T9" fmla="*/ 2147483647 h 23"/>
                <a:gd name="T10" fmla="*/ 2147483647 w 14"/>
                <a:gd name="T11" fmla="*/ 2147483647 h 23"/>
                <a:gd name="T12" fmla="*/ 2147483647 w 14"/>
                <a:gd name="T13" fmla="*/ 2147483647 h 23"/>
                <a:gd name="T14" fmla="*/ 2147483647 w 14"/>
                <a:gd name="T15" fmla="*/ 2147483647 h 23"/>
                <a:gd name="T16" fmla="*/ 2147483647 w 14"/>
                <a:gd name="T17" fmla="*/ 2147483647 h 23"/>
                <a:gd name="T18" fmla="*/ 2147483647 w 14"/>
                <a:gd name="T19" fmla="*/ 2147483647 h 23"/>
                <a:gd name="T20" fmla="*/ 0 w 14"/>
                <a:gd name="T21" fmla="*/ 2147483647 h 23"/>
                <a:gd name="T22" fmla="*/ 0 w 14"/>
                <a:gd name="T23" fmla="*/ 2147483647 h 23"/>
                <a:gd name="T24" fmla="*/ 2147483647 w 14"/>
                <a:gd name="T25" fmla="*/ 2147483647 h 23"/>
                <a:gd name="T26" fmla="*/ 2147483647 w 14"/>
                <a:gd name="T27" fmla="*/ 2147483647 h 23"/>
                <a:gd name="T28" fmla="*/ 2147483647 w 14"/>
                <a:gd name="T29" fmla="*/ 2147483647 h 23"/>
                <a:gd name="T30" fmla="*/ 2147483647 w 14"/>
                <a:gd name="T31" fmla="*/ 2147483647 h 23"/>
                <a:gd name="T32" fmla="*/ 2147483647 w 14"/>
                <a:gd name="T33" fmla="*/ 0 h 23"/>
                <a:gd name="T34" fmla="*/ 2147483647 w 14"/>
                <a:gd name="T35" fmla="*/ 2147483647 h 23"/>
                <a:gd name="T36" fmla="*/ 2147483647 w 14"/>
                <a:gd name="T37" fmla="*/ 2147483647 h 23"/>
                <a:gd name="T38" fmla="*/ 2147483647 w 14"/>
                <a:gd name="T39" fmla="*/ 2147483647 h 23"/>
                <a:gd name="T40" fmla="*/ 2147483647 w 14"/>
                <a:gd name="T41" fmla="*/ 2147483647 h 23"/>
                <a:gd name="T42" fmla="*/ 2147483647 w 14"/>
                <a:gd name="T43" fmla="*/ 2147483647 h 23"/>
                <a:gd name="T44" fmla="*/ 2147483647 w 14"/>
                <a:gd name="T45" fmla="*/ 2147483647 h 23"/>
                <a:gd name="T46" fmla="*/ 2147483647 w 14"/>
                <a:gd name="T47" fmla="*/ 2147483647 h 23"/>
                <a:gd name="T48" fmla="*/ 2147483647 w 14"/>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
                <a:gd name="T76" fmla="*/ 0 h 23"/>
                <a:gd name="T77" fmla="*/ 14 w 14"/>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 h="23">
                  <a:moveTo>
                    <a:pt x="13" y="14"/>
                  </a:moveTo>
                  <a:lnTo>
                    <a:pt x="13" y="14"/>
                  </a:lnTo>
                  <a:lnTo>
                    <a:pt x="13" y="17"/>
                  </a:lnTo>
                  <a:lnTo>
                    <a:pt x="12" y="21"/>
                  </a:lnTo>
                  <a:lnTo>
                    <a:pt x="10" y="22"/>
                  </a:lnTo>
                  <a:lnTo>
                    <a:pt x="9" y="23"/>
                  </a:lnTo>
                  <a:lnTo>
                    <a:pt x="7" y="22"/>
                  </a:lnTo>
                  <a:lnTo>
                    <a:pt x="4" y="21"/>
                  </a:lnTo>
                  <a:lnTo>
                    <a:pt x="2" y="17"/>
                  </a:lnTo>
                  <a:lnTo>
                    <a:pt x="0" y="15"/>
                  </a:lnTo>
                  <a:lnTo>
                    <a:pt x="0" y="11"/>
                  </a:lnTo>
                  <a:lnTo>
                    <a:pt x="3" y="5"/>
                  </a:lnTo>
                  <a:lnTo>
                    <a:pt x="4" y="3"/>
                  </a:lnTo>
                  <a:lnTo>
                    <a:pt x="7" y="1"/>
                  </a:lnTo>
                  <a:lnTo>
                    <a:pt x="9" y="0"/>
                  </a:lnTo>
                  <a:lnTo>
                    <a:pt x="12" y="1"/>
                  </a:lnTo>
                  <a:lnTo>
                    <a:pt x="13" y="2"/>
                  </a:lnTo>
                  <a:lnTo>
                    <a:pt x="14" y="4"/>
                  </a:lnTo>
                  <a:lnTo>
                    <a:pt x="14" y="7"/>
                  </a:lnTo>
                  <a:lnTo>
                    <a:pt x="14" y="9"/>
                  </a:lnTo>
                  <a:lnTo>
                    <a:pt x="13" y="1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1" name="Freeform 1290"/>
            <p:cNvSpPr>
              <a:spLocks/>
            </p:cNvSpPr>
            <p:nvPr/>
          </p:nvSpPr>
          <p:spPr bwMode="auto">
            <a:xfrm>
              <a:off x="4619625" y="2557463"/>
              <a:ext cx="20638" cy="17462"/>
            </a:xfrm>
            <a:custGeom>
              <a:avLst/>
              <a:gdLst>
                <a:gd name="T0" fmla="*/ 2147483647 w 15"/>
                <a:gd name="T1" fmla="*/ 2147483647 h 11"/>
                <a:gd name="T2" fmla="*/ 2147483647 w 15"/>
                <a:gd name="T3" fmla="*/ 2147483647 h 11"/>
                <a:gd name="T4" fmla="*/ 2147483647 w 15"/>
                <a:gd name="T5" fmla="*/ 2147483647 h 11"/>
                <a:gd name="T6" fmla="*/ 2147483647 w 15"/>
                <a:gd name="T7" fmla="*/ 2147483647 h 11"/>
                <a:gd name="T8" fmla="*/ 2147483647 w 15"/>
                <a:gd name="T9" fmla="*/ 2147483647 h 11"/>
                <a:gd name="T10" fmla="*/ 2147483647 w 15"/>
                <a:gd name="T11" fmla="*/ 2147483647 h 11"/>
                <a:gd name="T12" fmla="*/ 0 w 15"/>
                <a:gd name="T13" fmla="*/ 2147483647 h 11"/>
                <a:gd name="T14" fmla="*/ 0 w 15"/>
                <a:gd name="T15" fmla="*/ 2147483647 h 11"/>
                <a:gd name="T16" fmla="*/ 2147483647 w 15"/>
                <a:gd name="T17" fmla="*/ 2147483647 h 11"/>
                <a:gd name="T18" fmla="*/ 2147483647 w 15"/>
                <a:gd name="T19" fmla="*/ 2147483647 h 11"/>
                <a:gd name="T20" fmla="*/ 2147483647 w 15"/>
                <a:gd name="T21" fmla="*/ 2147483647 h 11"/>
                <a:gd name="T22" fmla="*/ 2147483647 w 15"/>
                <a:gd name="T23" fmla="*/ 0 h 11"/>
                <a:gd name="T24" fmla="*/ 2147483647 w 15"/>
                <a:gd name="T25" fmla="*/ 0 h 11"/>
                <a:gd name="T26" fmla="*/ 2147483647 w 15"/>
                <a:gd name="T27" fmla="*/ 2147483647 h 11"/>
                <a:gd name="T28" fmla="*/ 2147483647 w 15"/>
                <a:gd name="T29" fmla="*/ 2147483647 h 11"/>
                <a:gd name="T30" fmla="*/ 2147483647 w 15"/>
                <a:gd name="T31" fmla="*/ 2147483647 h 11"/>
                <a:gd name="T32" fmla="*/ 2147483647 w 15"/>
                <a:gd name="T33" fmla="*/ 2147483647 h 11"/>
                <a:gd name="T34" fmla="*/ 2147483647 w 15"/>
                <a:gd name="T35" fmla="*/ 2147483647 h 11"/>
                <a:gd name="T36" fmla="*/ 2147483647 w 15"/>
                <a:gd name="T37" fmla="*/ 2147483647 h 11"/>
                <a:gd name="T38" fmla="*/ 2147483647 w 15"/>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1"/>
                <a:gd name="T62" fmla="*/ 15 w 15"/>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1">
                  <a:moveTo>
                    <a:pt x="11" y="10"/>
                  </a:moveTo>
                  <a:lnTo>
                    <a:pt x="11" y="10"/>
                  </a:lnTo>
                  <a:lnTo>
                    <a:pt x="6" y="11"/>
                  </a:lnTo>
                  <a:lnTo>
                    <a:pt x="4" y="11"/>
                  </a:lnTo>
                  <a:lnTo>
                    <a:pt x="1" y="10"/>
                  </a:lnTo>
                  <a:lnTo>
                    <a:pt x="0" y="8"/>
                  </a:lnTo>
                  <a:lnTo>
                    <a:pt x="0" y="6"/>
                  </a:lnTo>
                  <a:lnTo>
                    <a:pt x="1" y="4"/>
                  </a:lnTo>
                  <a:lnTo>
                    <a:pt x="4" y="1"/>
                  </a:lnTo>
                  <a:lnTo>
                    <a:pt x="7" y="0"/>
                  </a:lnTo>
                  <a:lnTo>
                    <a:pt x="10" y="0"/>
                  </a:lnTo>
                  <a:lnTo>
                    <a:pt x="11" y="1"/>
                  </a:lnTo>
                  <a:lnTo>
                    <a:pt x="14" y="3"/>
                  </a:lnTo>
                  <a:lnTo>
                    <a:pt x="15" y="5"/>
                  </a:lnTo>
                  <a:lnTo>
                    <a:pt x="14" y="7"/>
                  </a:lnTo>
                  <a:lnTo>
                    <a:pt x="11" y="1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2" name="Freeform 1291"/>
            <p:cNvSpPr>
              <a:spLocks/>
            </p:cNvSpPr>
            <p:nvPr/>
          </p:nvSpPr>
          <p:spPr bwMode="auto">
            <a:xfrm>
              <a:off x="4545016" y="2433638"/>
              <a:ext cx="66675" cy="146050"/>
            </a:xfrm>
            <a:custGeom>
              <a:avLst/>
              <a:gdLst>
                <a:gd name="T0" fmla="*/ 2147483647 w 45"/>
                <a:gd name="T1" fmla="*/ 2147483647 h 92"/>
                <a:gd name="T2" fmla="*/ 2147483647 w 45"/>
                <a:gd name="T3" fmla="*/ 2147483647 h 92"/>
                <a:gd name="T4" fmla="*/ 2147483647 w 45"/>
                <a:gd name="T5" fmla="*/ 2147483647 h 92"/>
                <a:gd name="T6" fmla="*/ 2147483647 w 45"/>
                <a:gd name="T7" fmla="*/ 2147483647 h 92"/>
                <a:gd name="T8" fmla="*/ 2147483647 w 45"/>
                <a:gd name="T9" fmla="*/ 2147483647 h 92"/>
                <a:gd name="T10" fmla="*/ 2147483647 w 45"/>
                <a:gd name="T11" fmla="*/ 2147483647 h 92"/>
                <a:gd name="T12" fmla="*/ 2147483647 w 45"/>
                <a:gd name="T13" fmla="*/ 2147483647 h 92"/>
                <a:gd name="T14" fmla="*/ 2147483647 w 45"/>
                <a:gd name="T15" fmla="*/ 2147483647 h 92"/>
                <a:gd name="T16" fmla="*/ 2147483647 w 45"/>
                <a:gd name="T17" fmla="*/ 2147483647 h 92"/>
                <a:gd name="T18" fmla="*/ 2147483647 w 45"/>
                <a:gd name="T19" fmla="*/ 2147483647 h 92"/>
                <a:gd name="T20" fmla="*/ 2147483647 w 45"/>
                <a:gd name="T21" fmla="*/ 2147483647 h 92"/>
                <a:gd name="T22" fmla="*/ 2147483647 w 45"/>
                <a:gd name="T23" fmla="*/ 2147483647 h 92"/>
                <a:gd name="T24" fmla="*/ 2147483647 w 45"/>
                <a:gd name="T25" fmla="*/ 2147483647 h 92"/>
                <a:gd name="T26" fmla="*/ 0 w 45"/>
                <a:gd name="T27" fmla="*/ 2147483647 h 92"/>
                <a:gd name="T28" fmla="*/ 2147483647 w 45"/>
                <a:gd name="T29" fmla="*/ 2147483647 h 92"/>
                <a:gd name="T30" fmla="*/ 2147483647 w 45"/>
                <a:gd name="T31" fmla="*/ 2147483647 h 92"/>
                <a:gd name="T32" fmla="*/ 2147483647 w 45"/>
                <a:gd name="T33" fmla="*/ 2147483647 h 92"/>
                <a:gd name="T34" fmla="*/ 2147483647 w 45"/>
                <a:gd name="T35" fmla="*/ 2147483647 h 92"/>
                <a:gd name="T36" fmla="*/ 2147483647 w 45"/>
                <a:gd name="T37" fmla="*/ 2147483647 h 92"/>
                <a:gd name="T38" fmla="*/ 2147483647 w 45"/>
                <a:gd name="T39" fmla="*/ 2147483647 h 92"/>
                <a:gd name="T40" fmla="*/ 2147483647 w 45"/>
                <a:gd name="T41" fmla="*/ 2147483647 h 92"/>
                <a:gd name="T42" fmla="*/ 2147483647 w 45"/>
                <a:gd name="T43" fmla="*/ 2147483647 h 92"/>
                <a:gd name="T44" fmla="*/ 2147483647 w 45"/>
                <a:gd name="T45" fmla="*/ 2147483647 h 92"/>
                <a:gd name="T46" fmla="*/ 2147483647 w 45"/>
                <a:gd name="T47" fmla="*/ 2147483647 h 92"/>
                <a:gd name="T48" fmla="*/ 2147483647 w 45"/>
                <a:gd name="T49" fmla="*/ 2147483647 h 92"/>
                <a:gd name="T50" fmla="*/ 2147483647 w 45"/>
                <a:gd name="T51" fmla="*/ 0 h 92"/>
                <a:gd name="T52" fmla="*/ 2147483647 w 45"/>
                <a:gd name="T53" fmla="*/ 2147483647 h 92"/>
                <a:gd name="T54" fmla="*/ 2147483647 w 45"/>
                <a:gd name="T55" fmla="*/ 2147483647 h 92"/>
                <a:gd name="T56" fmla="*/ 2147483647 w 45"/>
                <a:gd name="T57" fmla="*/ 2147483647 h 92"/>
                <a:gd name="T58" fmla="*/ 2147483647 w 45"/>
                <a:gd name="T59" fmla="*/ 2147483647 h 92"/>
                <a:gd name="T60" fmla="*/ 2147483647 w 45"/>
                <a:gd name="T61" fmla="*/ 2147483647 h 92"/>
                <a:gd name="T62" fmla="*/ 2147483647 w 45"/>
                <a:gd name="T63" fmla="*/ 2147483647 h 92"/>
                <a:gd name="T64" fmla="*/ 2147483647 w 45"/>
                <a:gd name="T65" fmla="*/ 2147483647 h 92"/>
                <a:gd name="T66" fmla="*/ 2147483647 w 45"/>
                <a:gd name="T67" fmla="*/ 2147483647 h 92"/>
                <a:gd name="T68" fmla="*/ 2147483647 w 45"/>
                <a:gd name="T69" fmla="*/ 2147483647 h 92"/>
                <a:gd name="T70" fmla="*/ 2147483647 w 45"/>
                <a:gd name="T71" fmla="*/ 2147483647 h 92"/>
                <a:gd name="T72" fmla="*/ 2147483647 w 45"/>
                <a:gd name="T73" fmla="*/ 2147483647 h 92"/>
                <a:gd name="T74" fmla="*/ 2147483647 w 45"/>
                <a:gd name="T75" fmla="*/ 2147483647 h 92"/>
                <a:gd name="T76" fmla="*/ 2147483647 w 45"/>
                <a:gd name="T77" fmla="*/ 2147483647 h 92"/>
                <a:gd name="T78" fmla="*/ 2147483647 w 45"/>
                <a:gd name="T79" fmla="*/ 2147483647 h 92"/>
                <a:gd name="T80" fmla="*/ 2147483647 w 45"/>
                <a:gd name="T81" fmla="*/ 2147483647 h 92"/>
                <a:gd name="T82" fmla="*/ 2147483647 w 45"/>
                <a:gd name="T83" fmla="*/ 2147483647 h 92"/>
                <a:gd name="T84" fmla="*/ 2147483647 w 45"/>
                <a:gd name="T85" fmla="*/ 2147483647 h 92"/>
                <a:gd name="T86" fmla="*/ 2147483647 w 45"/>
                <a:gd name="T87" fmla="*/ 2147483647 h 92"/>
                <a:gd name="T88" fmla="*/ 2147483647 w 45"/>
                <a:gd name="T89" fmla="*/ 2147483647 h 92"/>
                <a:gd name="T90" fmla="*/ 2147483647 w 45"/>
                <a:gd name="T91" fmla="*/ 2147483647 h 92"/>
                <a:gd name="T92" fmla="*/ 2147483647 w 45"/>
                <a:gd name="T93" fmla="*/ 2147483647 h 92"/>
                <a:gd name="T94" fmla="*/ 2147483647 w 45"/>
                <a:gd name="T95" fmla="*/ 2147483647 h 92"/>
                <a:gd name="T96" fmla="*/ 2147483647 w 45"/>
                <a:gd name="T97" fmla="*/ 2147483647 h 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
                <a:gd name="T148" fmla="*/ 0 h 92"/>
                <a:gd name="T149" fmla="*/ 45 w 45"/>
                <a:gd name="T150" fmla="*/ 92 h 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 h="92">
                  <a:moveTo>
                    <a:pt x="31" y="90"/>
                  </a:moveTo>
                  <a:lnTo>
                    <a:pt x="28" y="91"/>
                  </a:lnTo>
                  <a:lnTo>
                    <a:pt x="23" y="91"/>
                  </a:lnTo>
                  <a:lnTo>
                    <a:pt x="18" y="92"/>
                  </a:lnTo>
                  <a:lnTo>
                    <a:pt x="13" y="89"/>
                  </a:lnTo>
                  <a:lnTo>
                    <a:pt x="12" y="86"/>
                  </a:lnTo>
                  <a:lnTo>
                    <a:pt x="9" y="84"/>
                  </a:lnTo>
                  <a:lnTo>
                    <a:pt x="9" y="82"/>
                  </a:lnTo>
                  <a:lnTo>
                    <a:pt x="10" y="78"/>
                  </a:lnTo>
                  <a:lnTo>
                    <a:pt x="10" y="75"/>
                  </a:lnTo>
                  <a:lnTo>
                    <a:pt x="9" y="71"/>
                  </a:lnTo>
                  <a:lnTo>
                    <a:pt x="4" y="59"/>
                  </a:lnTo>
                  <a:lnTo>
                    <a:pt x="1" y="53"/>
                  </a:lnTo>
                  <a:lnTo>
                    <a:pt x="0" y="47"/>
                  </a:lnTo>
                  <a:lnTo>
                    <a:pt x="1" y="41"/>
                  </a:lnTo>
                  <a:lnTo>
                    <a:pt x="3" y="35"/>
                  </a:lnTo>
                  <a:lnTo>
                    <a:pt x="7" y="30"/>
                  </a:lnTo>
                  <a:lnTo>
                    <a:pt x="12" y="25"/>
                  </a:lnTo>
                  <a:lnTo>
                    <a:pt x="17" y="22"/>
                  </a:lnTo>
                  <a:lnTo>
                    <a:pt x="21" y="20"/>
                  </a:lnTo>
                  <a:lnTo>
                    <a:pt x="26" y="18"/>
                  </a:lnTo>
                  <a:lnTo>
                    <a:pt x="28" y="14"/>
                  </a:lnTo>
                  <a:lnTo>
                    <a:pt x="31" y="9"/>
                  </a:lnTo>
                  <a:lnTo>
                    <a:pt x="35" y="5"/>
                  </a:lnTo>
                  <a:lnTo>
                    <a:pt x="40" y="2"/>
                  </a:lnTo>
                  <a:lnTo>
                    <a:pt x="45" y="0"/>
                  </a:lnTo>
                  <a:lnTo>
                    <a:pt x="43" y="2"/>
                  </a:lnTo>
                  <a:lnTo>
                    <a:pt x="42" y="6"/>
                  </a:lnTo>
                  <a:lnTo>
                    <a:pt x="40" y="8"/>
                  </a:lnTo>
                  <a:lnTo>
                    <a:pt x="38" y="11"/>
                  </a:lnTo>
                  <a:lnTo>
                    <a:pt x="38" y="14"/>
                  </a:lnTo>
                  <a:lnTo>
                    <a:pt x="38" y="18"/>
                  </a:lnTo>
                  <a:lnTo>
                    <a:pt x="38" y="22"/>
                  </a:lnTo>
                  <a:lnTo>
                    <a:pt x="37" y="26"/>
                  </a:lnTo>
                  <a:lnTo>
                    <a:pt x="36" y="30"/>
                  </a:lnTo>
                  <a:lnTo>
                    <a:pt x="37" y="32"/>
                  </a:lnTo>
                  <a:lnTo>
                    <a:pt x="43" y="40"/>
                  </a:lnTo>
                  <a:lnTo>
                    <a:pt x="45" y="44"/>
                  </a:lnTo>
                  <a:lnTo>
                    <a:pt x="45" y="47"/>
                  </a:lnTo>
                  <a:lnTo>
                    <a:pt x="43" y="52"/>
                  </a:lnTo>
                  <a:lnTo>
                    <a:pt x="41" y="57"/>
                  </a:lnTo>
                  <a:lnTo>
                    <a:pt x="36" y="59"/>
                  </a:lnTo>
                  <a:lnTo>
                    <a:pt x="32" y="62"/>
                  </a:lnTo>
                  <a:lnTo>
                    <a:pt x="26" y="64"/>
                  </a:lnTo>
                  <a:lnTo>
                    <a:pt x="24" y="66"/>
                  </a:lnTo>
                  <a:lnTo>
                    <a:pt x="23" y="70"/>
                  </a:lnTo>
                  <a:lnTo>
                    <a:pt x="23" y="76"/>
                  </a:lnTo>
                  <a:lnTo>
                    <a:pt x="26" y="83"/>
                  </a:lnTo>
                  <a:lnTo>
                    <a:pt x="31" y="9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3" name="Freeform 1292"/>
            <p:cNvSpPr>
              <a:spLocks/>
            </p:cNvSpPr>
            <p:nvPr/>
          </p:nvSpPr>
          <p:spPr bwMode="auto">
            <a:xfrm>
              <a:off x="4494215" y="2576514"/>
              <a:ext cx="190500" cy="274637"/>
            </a:xfrm>
            <a:custGeom>
              <a:avLst/>
              <a:gdLst>
                <a:gd name="T0" fmla="*/ 2147483647 w 130"/>
                <a:gd name="T1" fmla="*/ 2147483647 h 173"/>
                <a:gd name="T2" fmla="*/ 2147483647 w 130"/>
                <a:gd name="T3" fmla="*/ 2147483647 h 173"/>
                <a:gd name="T4" fmla="*/ 2147483647 w 130"/>
                <a:gd name="T5" fmla="*/ 2147483647 h 173"/>
                <a:gd name="T6" fmla="*/ 2147483647 w 130"/>
                <a:gd name="T7" fmla="*/ 2147483647 h 173"/>
                <a:gd name="T8" fmla="*/ 2147483647 w 130"/>
                <a:gd name="T9" fmla="*/ 2147483647 h 173"/>
                <a:gd name="T10" fmla="*/ 2147483647 w 130"/>
                <a:gd name="T11" fmla="*/ 2147483647 h 173"/>
                <a:gd name="T12" fmla="*/ 2147483647 w 130"/>
                <a:gd name="T13" fmla="*/ 2147483647 h 173"/>
                <a:gd name="T14" fmla="*/ 2147483647 w 130"/>
                <a:gd name="T15" fmla="*/ 2147483647 h 173"/>
                <a:gd name="T16" fmla="*/ 2147483647 w 130"/>
                <a:gd name="T17" fmla="*/ 2147483647 h 173"/>
                <a:gd name="T18" fmla="*/ 2147483647 w 130"/>
                <a:gd name="T19" fmla="*/ 2147483647 h 173"/>
                <a:gd name="T20" fmla="*/ 2147483647 w 130"/>
                <a:gd name="T21" fmla="*/ 2147483647 h 173"/>
                <a:gd name="T22" fmla="*/ 2147483647 w 130"/>
                <a:gd name="T23" fmla="*/ 2147483647 h 173"/>
                <a:gd name="T24" fmla="*/ 2147483647 w 130"/>
                <a:gd name="T25" fmla="*/ 2147483647 h 173"/>
                <a:gd name="T26" fmla="*/ 2147483647 w 130"/>
                <a:gd name="T27" fmla="*/ 2147483647 h 173"/>
                <a:gd name="T28" fmla="*/ 2147483647 w 130"/>
                <a:gd name="T29" fmla="*/ 2147483647 h 173"/>
                <a:gd name="T30" fmla="*/ 2147483647 w 130"/>
                <a:gd name="T31" fmla="*/ 2147483647 h 173"/>
                <a:gd name="T32" fmla="*/ 0 w 130"/>
                <a:gd name="T33" fmla="*/ 2147483647 h 173"/>
                <a:gd name="T34" fmla="*/ 2147483647 w 130"/>
                <a:gd name="T35" fmla="*/ 2147483647 h 173"/>
                <a:gd name="T36" fmla="*/ 2147483647 w 130"/>
                <a:gd name="T37" fmla="*/ 2147483647 h 173"/>
                <a:gd name="T38" fmla="*/ 2147483647 w 130"/>
                <a:gd name="T39" fmla="*/ 2147483647 h 173"/>
                <a:gd name="T40" fmla="*/ 2147483647 w 130"/>
                <a:gd name="T41" fmla="*/ 2147483647 h 173"/>
                <a:gd name="T42" fmla="*/ 2147483647 w 130"/>
                <a:gd name="T43" fmla="*/ 2147483647 h 173"/>
                <a:gd name="T44" fmla="*/ 2147483647 w 130"/>
                <a:gd name="T45" fmla="*/ 2147483647 h 173"/>
                <a:gd name="T46" fmla="*/ 2147483647 w 130"/>
                <a:gd name="T47" fmla="*/ 2147483647 h 173"/>
                <a:gd name="T48" fmla="*/ 2147483647 w 130"/>
                <a:gd name="T49" fmla="*/ 2147483647 h 173"/>
                <a:gd name="T50" fmla="*/ 2147483647 w 130"/>
                <a:gd name="T51" fmla="*/ 2147483647 h 173"/>
                <a:gd name="T52" fmla="*/ 2147483647 w 130"/>
                <a:gd name="T53" fmla="*/ 2147483647 h 173"/>
                <a:gd name="T54" fmla="*/ 2147483647 w 130"/>
                <a:gd name="T55" fmla="*/ 2147483647 h 173"/>
                <a:gd name="T56" fmla="*/ 2147483647 w 130"/>
                <a:gd name="T57" fmla="*/ 2147483647 h 173"/>
                <a:gd name="T58" fmla="*/ 2147483647 w 130"/>
                <a:gd name="T59" fmla="*/ 2147483647 h 173"/>
                <a:gd name="T60" fmla="*/ 2147483647 w 130"/>
                <a:gd name="T61" fmla="*/ 2147483647 h 173"/>
                <a:gd name="T62" fmla="*/ 2147483647 w 130"/>
                <a:gd name="T63" fmla="*/ 2147483647 h 173"/>
                <a:gd name="T64" fmla="*/ 2147483647 w 130"/>
                <a:gd name="T65" fmla="*/ 2147483647 h 173"/>
                <a:gd name="T66" fmla="*/ 2147483647 w 130"/>
                <a:gd name="T67" fmla="*/ 2147483647 h 173"/>
                <a:gd name="T68" fmla="*/ 2147483647 w 130"/>
                <a:gd name="T69" fmla="*/ 2147483647 h 173"/>
                <a:gd name="T70" fmla="*/ 2147483647 w 130"/>
                <a:gd name="T71" fmla="*/ 2147483647 h 173"/>
                <a:gd name="T72" fmla="*/ 2147483647 w 130"/>
                <a:gd name="T73" fmla="*/ 2147483647 h 173"/>
                <a:gd name="T74" fmla="*/ 2147483647 w 130"/>
                <a:gd name="T75" fmla="*/ 2147483647 h 173"/>
                <a:gd name="T76" fmla="*/ 2147483647 w 130"/>
                <a:gd name="T77" fmla="*/ 2147483647 h 173"/>
                <a:gd name="T78" fmla="*/ 2147483647 w 130"/>
                <a:gd name="T79" fmla="*/ 2147483647 h 173"/>
                <a:gd name="T80" fmla="*/ 2147483647 w 130"/>
                <a:gd name="T81" fmla="*/ 2147483647 h 173"/>
                <a:gd name="T82" fmla="*/ 2147483647 w 130"/>
                <a:gd name="T83" fmla="*/ 2147483647 h 173"/>
                <a:gd name="T84" fmla="*/ 2147483647 w 130"/>
                <a:gd name="T85" fmla="*/ 2147483647 h 173"/>
                <a:gd name="T86" fmla="*/ 2147483647 w 130"/>
                <a:gd name="T87" fmla="*/ 2147483647 h 173"/>
                <a:gd name="T88" fmla="*/ 2147483647 w 130"/>
                <a:gd name="T89" fmla="*/ 2147483647 h 173"/>
                <a:gd name="T90" fmla="*/ 2147483647 w 130"/>
                <a:gd name="T91" fmla="*/ 2147483647 h 173"/>
                <a:gd name="T92" fmla="*/ 2147483647 w 130"/>
                <a:gd name="T93" fmla="*/ 0 h 1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
                <a:gd name="T142" fmla="*/ 0 h 173"/>
                <a:gd name="T143" fmla="*/ 130 w 130"/>
                <a:gd name="T144" fmla="*/ 173 h 1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 h="173">
                  <a:moveTo>
                    <a:pt x="66" y="0"/>
                  </a:moveTo>
                  <a:lnTo>
                    <a:pt x="63" y="1"/>
                  </a:lnTo>
                  <a:lnTo>
                    <a:pt x="58" y="1"/>
                  </a:lnTo>
                  <a:lnTo>
                    <a:pt x="53" y="2"/>
                  </a:lnTo>
                  <a:lnTo>
                    <a:pt x="54" y="4"/>
                  </a:lnTo>
                  <a:lnTo>
                    <a:pt x="53" y="6"/>
                  </a:lnTo>
                  <a:lnTo>
                    <a:pt x="49" y="8"/>
                  </a:lnTo>
                  <a:lnTo>
                    <a:pt x="49" y="11"/>
                  </a:lnTo>
                  <a:lnTo>
                    <a:pt x="49" y="13"/>
                  </a:lnTo>
                  <a:lnTo>
                    <a:pt x="48" y="15"/>
                  </a:lnTo>
                  <a:lnTo>
                    <a:pt x="47" y="18"/>
                  </a:lnTo>
                  <a:lnTo>
                    <a:pt x="45" y="20"/>
                  </a:lnTo>
                  <a:lnTo>
                    <a:pt x="39" y="24"/>
                  </a:lnTo>
                  <a:lnTo>
                    <a:pt x="33" y="24"/>
                  </a:lnTo>
                  <a:lnTo>
                    <a:pt x="29" y="23"/>
                  </a:lnTo>
                  <a:lnTo>
                    <a:pt x="28" y="23"/>
                  </a:lnTo>
                  <a:lnTo>
                    <a:pt x="26" y="24"/>
                  </a:lnTo>
                  <a:lnTo>
                    <a:pt x="24" y="28"/>
                  </a:lnTo>
                  <a:lnTo>
                    <a:pt x="23" y="32"/>
                  </a:lnTo>
                  <a:lnTo>
                    <a:pt x="21" y="32"/>
                  </a:lnTo>
                  <a:lnTo>
                    <a:pt x="19" y="37"/>
                  </a:lnTo>
                  <a:lnTo>
                    <a:pt x="16" y="45"/>
                  </a:lnTo>
                  <a:lnTo>
                    <a:pt x="15" y="55"/>
                  </a:lnTo>
                  <a:lnTo>
                    <a:pt x="14" y="59"/>
                  </a:lnTo>
                  <a:lnTo>
                    <a:pt x="11" y="63"/>
                  </a:lnTo>
                  <a:lnTo>
                    <a:pt x="7" y="68"/>
                  </a:lnTo>
                  <a:lnTo>
                    <a:pt x="3" y="70"/>
                  </a:lnTo>
                  <a:lnTo>
                    <a:pt x="2" y="71"/>
                  </a:lnTo>
                  <a:lnTo>
                    <a:pt x="2" y="74"/>
                  </a:lnTo>
                  <a:lnTo>
                    <a:pt x="2" y="76"/>
                  </a:lnTo>
                  <a:lnTo>
                    <a:pt x="2" y="81"/>
                  </a:lnTo>
                  <a:lnTo>
                    <a:pt x="2" y="84"/>
                  </a:lnTo>
                  <a:lnTo>
                    <a:pt x="1" y="92"/>
                  </a:lnTo>
                  <a:lnTo>
                    <a:pt x="0" y="102"/>
                  </a:lnTo>
                  <a:lnTo>
                    <a:pt x="0" y="110"/>
                  </a:lnTo>
                  <a:lnTo>
                    <a:pt x="2" y="114"/>
                  </a:lnTo>
                  <a:lnTo>
                    <a:pt x="3" y="119"/>
                  </a:lnTo>
                  <a:lnTo>
                    <a:pt x="5" y="129"/>
                  </a:lnTo>
                  <a:lnTo>
                    <a:pt x="14" y="132"/>
                  </a:lnTo>
                  <a:lnTo>
                    <a:pt x="23" y="135"/>
                  </a:lnTo>
                  <a:lnTo>
                    <a:pt x="28" y="136"/>
                  </a:lnTo>
                  <a:lnTo>
                    <a:pt x="31" y="138"/>
                  </a:lnTo>
                  <a:lnTo>
                    <a:pt x="42" y="136"/>
                  </a:lnTo>
                  <a:lnTo>
                    <a:pt x="39" y="143"/>
                  </a:lnTo>
                  <a:lnTo>
                    <a:pt x="36" y="149"/>
                  </a:lnTo>
                  <a:lnTo>
                    <a:pt x="34" y="155"/>
                  </a:lnTo>
                  <a:lnTo>
                    <a:pt x="34" y="162"/>
                  </a:lnTo>
                  <a:lnTo>
                    <a:pt x="42" y="164"/>
                  </a:lnTo>
                  <a:lnTo>
                    <a:pt x="49" y="166"/>
                  </a:lnTo>
                  <a:lnTo>
                    <a:pt x="56" y="168"/>
                  </a:lnTo>
                  <a:lnTo>
                    <a:pt x="61" y="173"/>
                  </a:lnTo>
                  <a:lnTo>
                    <a:pt x="71" y="173"/>
                  </a:lnTo>
                  <a:lnTo>
                    <a:pt x="80" y="172"/>
                  </a:lnTo>
                  <a:lnTo>
                    <a:pt x="90" y="168"/>
                  </a:lnTo>
                  <a:lnTo>
                    <a:pt x="99" y="164"/>
                  </a:lnTo>
                  <a:lnTo>
                    <a:pt x="100" y="164"/>
                  </a:lnTo>
                  <a:lnTo>
                    <a:pt x="101" y="164"/>
                  </a:lnTo>
                  <a:lnTo>
                    <a:pt x="105" y="165"/>
                  </a:lnTo>
                  <a:lnTo>
                    <a:pt x="113" y="170"/>
                  </a:lnTo>
                  <a:lnTo>
                    <a:pt x="114" y="170"/>
                  </a:lnTo>
                  <a:lnTo>
                    <a:pt x="115" y="170"/>
                  </a:lnTo>
                  <a:lnTo>
                    <a:pt x="116" y="168"/>
                  </a:lnTo>
                  <a:lnTo>
                    <a:pt x="116" y="162"/>
                  </a:lnTo>
                  <a:lnTo>
                    <a:pt x="114" y="158"/>
                  </a:lnTo>
                  <a:lnTo>
                    <a:pt x="116" y="157"/>
                  </a:lnTo>
                  <a:lnTo>
                    <a:pt x="118" y="155"/>
                  </a:lnTo>
                  <a:lnTo>
                    <a:pt x="124" y="148"/>
                  </a:lnTo>
                  <a:lnTo>
                    <a:pt x="130" y="145"/>
                  </a:lnTo>
                  <a:lnTo>
                    <a:pt x="120" y="133"/>
                  </a:lnTo>
                  <a:lnTo>
                    <a:pt x="109" y="122"/>
                  </a:lnTo>
                  <a:lnTo>
                    <a:pt x="108" y="120"/>
                  </a:lnTo>
                  <a:lnTo>
                    <a:pt x="106" y="116"/>
                  </a:lnTo>
                  <a:lnTo>
                    <a:pt x="101" y="109"/>
                  </a:lnTo>
                  <a:lnTo>
                    <a:pt x="100" y="106"/>
                  </a:lnTo>
                  <a:lnTo>
                    <a:pt x="99" y="101"/>
                  </a:lnTo>
                  <a:lnTo>
                    <a:pt x="95" y="97"/>
                  </a:lnTo>
                  <a:lnTo>
                    <a:pt x="91" y="95"/>
                  </a:lnTo>
                  <a:lnTo>
                    <a:pt x="87" y="95"/>
                  </a:lnTo>
                  <a:lnTo>
                    <a:pt x="82" y="95"/>
                  </a:lnTo>
                  <a:lnTo>
                    <a:pt x="80" y="95"/>
                  </a:lnTo>
                  <a:lnTo>
                    <a:pt x="78" y="94"/>
                  </a:lnTo>
                  <a:lnTo>
                    <a:pt x="77" y="91"/>
                  </a:lnTo>
                  <a:lnTo>
                    <a:pt x="76" y="87"/>
                  </a:lnTo>
                  <a:lnTo>
                    <a:pt x="77" y="84"/>
                  </a:lnTo>
                  <a:lnTo>
                    <a:pt x="81" y="64"/>
                  </a:lnTo>
                  <a:lnTo>
                    <a:pt x="85" y="45"/>
                  </a:lnTo>
                  <a:lnTo>
                    <a:pt x="85" y="34"/>
                  </a:lnTo>
                  <a:lnTo>
                    <a:pt x="85" y="25"/>
                  </a:lnTo>
                  <a:lnTo>
                    <a:pt x="82" y="15"/>
                  </a:lnTo>
                  <a:lnTo>
                    <a:pt x="78" y="6"/>
                  </a:lnTo>
                  <a:lnTo>
                    <a:pt x="73" y="6"/>
                  </a:lnTo>
                  <a:lnTo>
                    <a:pt x="72" y="5"/>
                  </a:lnTo>
                  <a:lnTo>
                    <a:pt x="70" y="2"/>
                  </a:lnTo>
                  <a:lnTo>
                    <a:pt x="66"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4" name="Freeform 1293"/>
            <p:cNvSpPr>
              <a:spLocks/>
            </p:cNvSpPr>
            <p:nvPr/>
          </p:nvSpPr>
          <p:spPr bwMode="auto">
            <a:xfrm>
              <a:off x="1190629" y="2057400"/>
              <a:ext cx="187325" cy="115888"/>
            </a:xfrm>
            <a:custGeom>
              <a:avLst/>
              <a:gdLst>
                <a:gd name="T0" fmla="*/ 2147483647 w 127"/>
                <a:gd name="T1" fmla="*/ 2147483647 h 73"/>
                <a:gd name="T2" fmla="*/ 2147483647 w 127"/>
                <a:gd name="T3" fmla="*/ 2147483647 h 73"/>
                <a:gd name="T4" fmla="*/ 2147483647 w 127"/>
                <a:gd name="T5" fmla="*/ 2147483647 h 73"/>
                <a:gd name="T6" fmla="*/ 2147483647 w 127"/>
                <a:gd name="T7" fmla="*/ 2147483647 h 73"/>
                <a:gd name="T8" fmla="*/ 2147483647 w 127"/>
                <a:gd name="T9" fmla="*/ 2147483647 h 73"/>
                <a:gd name="T10" fmla="*/ 2147483647 w 127"/>
                <a:gd name="T11" fmla="*/ 2147483647 h 73"/>
                <a:gd name="T12" fmla="*/ 2147483647 w 127"/>
                <a:gd name="T13" fmla="*/ 2147483647 h 73"/>
                <a:gd name="T14" fmla="*/ 2147483647 w 127"/>
                <a:gd name="T15" fmla="*/ 2147483647 h 73"/>
                <a:gd name="T16" fmla="*/ 2147483647 w 127"/>
                <a:gd name="T17" fmla="*/ 2147483647 h 73"/>
                <a:gd name="T18" fmla="*/ 2147483647 w 127"/>
                <a:gd name="T19" fmla="*/ 2147483647 h 73"/>
                <a:gd name="T20" fmla="*/ 2147483647 w 127"/>
                <a:gd name="T21" fmla="*/ 2147483647 h 73"/>
                <a:gd name="T22" fmla="*/ 2147483647 w 127"/>
                <a:gd name="T23" fmla="*/ 2147483647 h 73"/>
                <a:gd name="T24" fmla="*/ 2147483647 w 127"/>
                <a:gd name="T25" fmla="*/ 2147483647 h 73"/>
                <a:gd name="T26" fmla="*/ 2147483647 w 127"/>
                <a:gd name="T27" fmla="*/ 2147483647 h 73"/>
                <a:gd name="T28" fmla="*/ 2147483647 w 127"/>
                <a:gd name="T29" fmla="*/ 2147483647 h 73"/>
                <a:gd name="T30" fmla="*/ 2147483647 w 127"/>
                <a:gd name="T31" fmla="*/ 2147483647 h 73"/>
                <a:gd name="T32" fmla="*/ 2147483647 w 127"/>
                <a:gd name="T33" fmla="*/ 2147483647 h 73"/>
                <a:gd name="T34" fmla="*/ 2147483647 w 127"/>
                <a:gd name="T35" fmla="*/ 2147483647 h 73"/>
                <a:gd name="T36" fmla="*/ 2147483647 w 127"/>
                <a:gd name="T37" fmla="*/ 2147483647 h 73"/>
                <a:gd name="T38" fmla="*/ 2147483647 w 127"/>
                <a:gd name="T39" fmla="*/ 2147483647 h 73"/>
                <a:gd name="T40" fmla="*/ 2147483647 w 127"/>
                <a:gd name="T41" fmla="*/ 2147483647 h 73"/>
                <a:gd name="T42" fmla="*/ 2147483647 w 127"/>
                <a:gd name="T43" fmla="*/ 2147483647 h 73"/>
                <a:gd name="T44" fmla="*/ 2147483647 w 127"/>
                <a:gd name="T45" fmla="*/ 2147483647 h 73"/>
                <a:gd name="T46" fmla="*/ 2147483647 w 127"/>
                <a:gd name="T47" fmla="*/ 2147483647 h 73"/>
                <a:gd name="T48" fmla="*/ 2147483647 w 127"/>
                <a:gd name="T49" fmla="*/ 2147483647 h 73"/>
                <a:gd name="T50" fmla="*/ 2147483647 w 127"/>
                <a:gd name="T51" fmla="*/ 2147483647 h 73"/>
                <a:gd name="T52" fmla="*/ 2147483647 w 127"/>
                <a:gd name="T53" fmla="*/ 2147483647 h 73"/>
                <a:gd name="T54" fmla="*/ 2147483647 w 127"/>
                <a:gd name="T55" fmla="*/ 2147483647 h 73"/>
                <a:gd name="T56" fmla="*/ 2147483647 w 127"/>
                <a:gd name="T57" fmla="*/ 2147483647 h 73"/>
                <a:gd name="T58" fmla="*/ 2147483647 w 127"/>
                <a:gd name="T59" fmla="*/ 2147483647 h 73"/>
                <a:gd name="T60" fmla="*/ 2147483647 w 127"/>
                <a:gd name="T61" fmla="*/ 2147483647 h 73"/>
                <a:gd name="T62" fmla="*/ 2147483647 w 127"/>
                <a:gd name="T63" fmla="*/ 2147483647 h 73"/>
                <a:gd name="T64" fmla="*/ 2147483647 w 127"/>
                <a:gd name="T65" fmla="*/ 2147483647 h 73"/>
                <a:gd name="T66" fmla="*/ 2147483647 w 127"/>
                <a:gd name="T67" fmla="*/ 2147483647 h 73"/>
                <a:gd name="T68" fmla="*/ 2147483647 w 127"/>
                <a:gd name="T69" fmla="*/ 2147483647 h 73"/>
                <a:gd name="T70" fmla="*/ 2147483647 w 127"/>
                <a:gd name="T71" fmla="*/ 2147483647 h 73"/>
                <a:gd name="T72" fmla="*/ 2147483647 w 127"/>
                <a:gd name="T73" fmla="*/ 2147483647 h 73"/>
                <a:gd name="T74" fmla="*/ 2147483647 w 127"/>
                <a:gd name="T75" fmla="*/ 2147483647 h 73"/>
                <a:gd name="T76" fmla="*/ 2147483647 w 127"/>
                <a:gd name="T77" fmla="*/ 2147483647 h 73"/>
                <a:gd name="T78" fmla="*/ 2147483647 w 127"/>
                <a:gd name="T79" fmla="*/ 2147483647 h 73"/>
                <a:gd name="T80" fmla="*/ 2147483647 w 127"/>
                <a:gd name="T81" fmla="*/ 0 h 73"/>
                <a:gd name="T82" fmla="*/ 2147483647 w 127"/>
                <a:gd name="T83" fmla="*/ 0 h 73"/>
                <a:gd name="T84" fmla="*/ 2147483647 w 127"/>
                <a:gd name="T85" fmla="*/ 2147483647 h 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7"/>
                <a:gd name="T130" fmla="*/ 0 h 73"/>
                <a:gd name="T131" fmla="*/ 127 w 127"/>
                <a:gd name="T132" fmla="*/ 73 h 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7" h="73">
                  <a:moveTo>
                    <a:pt x="67" y="5"/>
                  </a:moveTo>
                  <a:lnTo>
                    <a:pt x="57" y="8"/>
                  </a:lnTo>
                  <a:lnTo>
                    <a:pt x="47" y="12"/>
                  </a:lnTo>
                  <a:lnTo>
                    <a:pt x="35" y="12"/>
                  </a:lnTo>
                  <a:lnTo>
                    <a:pt x="25" y="13"/>
                  </a:lnTo>
                  <a:lnTo>
                    <a:pt x="21" y="13"/>
                  </a:lnTo>
                  <a:lnTo>
                    <a:pt x="19" y="13"/>
                  </a:lnTo>
                  <a:lnTo>
                    <a:pt x="17" y="10"/>
                  </a:lnTo>
                  <a:lnTo>
                    <a:pt x="12" y="12"/>
                  </a:lnTo>
                  <a:lnTo>
                    <a:pt x="7" y="13"/>
                  </a:lnTo>
                  <a:lnTo>
                    <a:pt x="2" y="15"/>
                  </a:lnTo>
                  <a:lnTo>
                    <a:pt x="1" y="16"/>
                  </a:lnTo>
                  <a:lnTo>
                    <a:pt x="0" y="18"/>
                  </a:lnTo>
                  <a:lnTo>
                    <a:pt x="0" y="20"/>
                  </a:lnTo>
                  <a:lnTo>
                    <a:pt x="1" y="22"/>
                  </a:lnTo>
                  <a:lnTo>
                    <a:pt x="4" y="25"/>
                  </a:lnTo>
                  <a:lnTo>
                    <a:pt x="6" y="26"/>
                  </a:lnTo>
                  <a:lnTo>
                    <a:pt x="16" y="25"/>
                  </a:lnTo>
                  <a:lnTo>
                    <a:pt x="21" y="25"/>
                  </a:lnTo>
                  <a:lnTo>
                    <a:pt x="26" y="26"/>
                  </a:lnTo>
                  <a:lnTo>
                    <a:pt x="30" y="26"/>
                  </a:lnTo>
                  <a:lnTo>
                    <a:pt x="33" y="25"/>
                  </a:lnTo>
                  <a:lnTo>
                    <a:pt x="37" y="22"/>
                  </a:lnTo>
                  <a:lnTo>
                    <a:pt x="40" y="22"/>
                  </a:lnTo>
                  <a:lnTo>
                    <a:pt x="44" y="22"/>
                  </a:lnTo>
                  <a:lnTo>
                    <a:pt x="47" y="24"/>
                  </a:lnTo>
                  <a:lnTo>
                    <a:pt x="59" y="31"/>
                  </a:lnTo>
                  <a:lnTo>
                    <a:pt x="62" y="32"/>
                  </a:lnTo>
                  <a:lnTo>
                    <a:pt x="62" y="34"/>
                  </a:lnTo>
                  <a:lnTo>
                    <a:pt x="62" y="37"/>
                  </a:lnTo>
                  <a:lnTo>
                    <a:pt x="61" y="39"/>
                  </a:lnTo>
                  <a:lnTo>
                    <a:pt x="59" y="39"/>
                  </a:lnTo>
                  <a:lnTo>
                    <a:pt x="57" y="38"/>
                  </a:lnTo>
                  <a:lnTo>
                    <a:pt x="56" y="37"/>
                  </a:lnTo>
                  <a:lnTo>
                    <a:pt x="53" y="37"/>
                  </a:lnTo>
                  <a:lnTo>
                    <a:pt x="50" y="37"/>
                  </a:lnTo>
                  <a:lnTo>
                    <a:pt x="49" y="35"/>
                  </a:lnTo>
                  <a:lnTo>
                    <a:pt x="45" y="35"/>
                  </a:lnTo>
                  <a:lnTo>
                    <a:pt x="44" y="37"/>
                  </a:lnTo>
                  <a:lnTo>
                    <a:pt x="45" y="39"/>
                  </a:lnTo>
                  <a:lnTo>
                    <a:pt x="45" y="40"/>
                  </a:lnTo>
                  <a:lnTo>
                    <a:pt x="45" y="41"/>
                  </a:lnTo>
                  <a:lnTo>
                    <a:pt x="39" y="46"/>
                  </a:lnTo>
                  <a:lnTo>
                    <a:pt x="38" y="48"/>
                  </a:lnTo>
                  <a:lnTo>
                    <a:pt x="37" y="52"/>
                  </a:lnTo>
                  <a:lnTo>
                    <a:pt x="37" y="54"/>
                  </a:lnTo>
                  <a:lnTo>
                    <a:pt x="35" y="57"/>
                  </a:lnTo>
                  <a:lnTo>
                    <a:pt x="30" y="59"/>
                  </a:lnTo>
                  <a:lnTo>
                    <a:pt x="30" y="60"/>
                  </a:lnTo>
                  <a:lnTo>
                    <a:pt x="30" y="61"/>
                  </a:lnTo>
                  <a:lnTo>
                    <a:pt x="34" y="64"/>
                  </a:lnTo>
                  <a:lnTo>
                    <a:pt x="37" y="66"/>
                  </a:lnTo>
                  <a:lnTo>
                    <a:pt x="43" y="71"/>
                  </a:lnTo>
                  <a:lnTo>
                    <a:pt x="45" y="71"/>
                  </a:lnTo>
                  <a:lnTo>
                    <a:pt x="48" y="70"/>
                  </a:lnTo>
                  <a:lnTo>
                    <a:pt x="49" y="66"/>
                  </a:lnTo>
                  <a:lnTo>
                    <a:pt x="52" y="64"/>
                  </a:lnTo>
                  <a:lnTo>
                    <a:pt x="57" y="60"/>
                  </a:lnTo>
                  <a:lnTo>
                    <a:pt x="61" y="57"/>
                  </a:lnTo>
                  <a:lnTo>
                    <a:pt x="63" y="54"/>
                  </a:lnTo>
                  <a:lnTo>
                    <a:pt x="66" y="53"/>
                  </a:lnTo>
                  <a:lnTo>
                    <a:pt x="75" y="50"/>
                  </a:lnTo>
                  <a:lnTo>
                    <a:pt x="78" y="50"/>
                  </a:lnTo>
                  <a:lnTo>
                    <a:pt x="84" y="50"/>
                  </a:lnTo>
                  <a:lnTo>
                    <a:pt x="85" y="51"/>
                  </a:lnTo>
                  <a:lnTo>
                    <a:pt x="86" y="53"/>
                  </a:lnTo>
                  <a:lnTo>
                    <a:pt x="85" y="56"/>
                  </a:lnTo>
                  <a:lnTo>
                    <a:pt x="82" y="59"/>
                  </a:lnTo>
                  <a:lnTo>
                    <a:pt x="78" y="61"/>
                  </a:lnTo>
                  <a:lnTo>
                    <a:pt x="75" y="64"/>
                  </a:lnTo>
                  <a:lnTo>
                    <a:pt x="68" y="69"/>
                  </a:lnTo>
                  <a:lnTo>
                    <a:pt x="63" y="73"/>
                  </a:lnTo>
                  <a:lnTo>
                    <a:pt x="73" y="72"/>
                  </a:lnTo>
                  <a:lnTo>
                    <a:pt x="85" y="70"/>
                  </a:lnTo>
                  <a:lnTo>
                    <a:pt x="94" y="66"/>
                  </a:lnTo>
                  <a:lnTo>
                    <a:pt x="103" y="60"/>
                  </a:lnTo>
                  <a:lnTo>
                    <a:pt x="99" y="57"/>
                  </a:lnTo>
                  <a:lnTo>
                    <a:pt x="95" y="52"/>
                  </a:lnTo>
                  <a:lnTo>
                    <a:pt x="94" y="47"/>
                  </a:lnTo>
                  <a:lnTo>
                    <a:pt x="94" y="45"/>
                  </a:lnTo>
                  <a:lnTo>
                    <a:pt x="95" y="44"/>
                  </a:lnTo>
                  <a:lnTo>
                    <a:pt x="96" y="41"/>
                  </a:lnTo>
                  <a:lnTo>
                    <a:pt x="97" y="41"/>
                  </a:lnTo>
                  <a:lnTo>
                    <a:pt x="103" y="42"/>
                  </a:lnTo>
                  <a:lnTo>
                    <a:pt x="110" y="47"/>
                  </a:lnTo>
                  <a:lnTo>
                    <a:pt x="113" y="48"/>
                  </a:lnTo>
                  <a:lnTo>
                    <a:pt x="115" y="50"/>
                  </a:lnTo>
                  <a:lnTo>
                    <a:pt x="119" y="50"/>
                  </a:lnTo>
                  <a:lnTo>
                    <a:pt x="120" y="47"/>
                  </a:lnTo>
                  <a:lnTo>
                    <a:pt x="122" y="46"/>
                  </a:lnTo>
                  <a:lnTo>
                    <a:pt x="120" y="44"/>
                  </a:lnTo>
                  <a:lnTo>
                    <a:pt x="119" y="42"/>
                  </a:lnTo>
                  <a:lnTo>
                    <a:pt x="118" y="40"/>
                  </a:lnTo>
                  <a:lnTo>
                    <a:pt x="118" y="38"/>
                  </a:lnTo>
                  <a:lnTo>
                    <a:pt x="119" y="37"/>
                  </a:lnTo>
                  <a:lnTo>
                    <a:pt x="123" y="34"/>
                  </a:lnTo>
                  <a:lnTo>
                    <a:pt x="124" y="33"/>
                  </a:lnTo>
                  <a:lnTo>
                    <a:pt x="124" y="32"/>
                  </a:lnTo>
                  <a:lnTo>
                    <a:pt x="122" y="29"/>
                  </a:lnTo>
                  <a:lnTo>
                    <a:pt x="120" y="28"/>
                  </a:lnTo>
                  <a:lnTo>
                    <a:pt x="120" y="26"/>
                  </a:lnTo>
                  <a:lnTo>
                    <a:pt x="124" y="24"/>
                  </a:lnTo>
                  <a:lnTo>
                    <a:pt x="125" y="21"/>
                  </a:lnTo>
                  <a:lnTo>
                    <a:pt x="127" y="19"/>
                  </a:lnTo>
                  <a:lnTo>
                    <a:pt x="119" y="20"/>
                  </a:lnTo>
                  <a:lnTo>
                    <a:pt x="111" y="22"/>
                  </a:lnTo>
                  <a:lnTo>
                    <a:pt x="109" y="22"/>
                  </a:lnTo>
                  <a:lnTo>
                    <a:pt x="106" y="21"/>
                  </a:lnTo>
                  <a:lnTo>
                    <a:pt x="103" y="20"/>
                  </a:lnTo>
                  <a:lnTo>
                    <a:pt x="100" y="21"/>
                  </a:lnTo>
                  <a:lnTo>
                    <a:pt x="95" y="21"/>
                  </a:lnTo>
                  <a:lnTo>
                    <a:pt x="90" y="20"/>
                  </a:lnTo>
                  <a:lnTo>
                    <a:pt x="86" y="18"/>
                  </a:lnTo>
                  <a:lnTo>
                    <a:pt x="85" y="14"/>
                  </a:lnTo>
                  <a:lnTo>
                    <a:pt x="85" y="13"/>
                  </a:lnTo>
                  <a:lnTo>
                    <a:pt x="86" y="12"/>
                  </a:lnTo>
                  <a:lnTo>
                    <a:pt x="90" y="9"/>
                  </a:lnTo>
                  <a:lnTo>
                    <a:pt x="95" y="8"/>
                  </a:lnTo>
                  <a:lnTo>
                    <a:pt x="99" y="6"/>
                  </a:lnTo>
                  <a:lnTo>
                    <a:pt x="101" y="2"/>
                  </a:lnTo>
                  <a:lnTo>
                    <a:pt x="101" y="1"/>
                  </a:lnTo>
                  <a:lnTo>
                    <a:pt x="100" y="0"/>
                  </a:lnTo>
                  <a:lnTo>
                    <a:pt x="97" y="0"/>
                  </a:lnTo>
                  <a:lnTo>
                    <a:pt x="94" y="0"/>
                  </a:lnTo>
                  <a:lnTo>
                    <a:pt x="91" y="0"/>
                  </a:lnTo>
                  <a:lnTo>
                    <a:pt x="87" y="0"/>
                  </a:lnTo>
                  <a:lnTo>
                    <a:pt x="82" y="0"/>
                  </a:lnTo>
                  <a:lnTo>
                    <a:pt x="77" y="0"/>
                  </a:lnTo>
                  <a:lnTo>
                    <a:pt x="72" y="2"/>
                  </a:lnTo>
                  <a:lnTo>
                    <a:pt x="67" y="5"/>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5" name="Freeform 1294"/>
            <p:cNvSpPr>
              <a:spLocks/>
            </p:cNvSpPr>
            <p:nvPr/>
          </p:nvSpPr>
          <p:spPr bwMode="auto">
            <a:xfrm>
              <a:off x="4491042" y="2432054"/>
              <a:ext cx="192087" cy="417513"/>
            </a:xfrm>
            <a:custGeom>
              <a:avLst/>
              <a:gdLst>
                <a:gd name="T0" fmla="*/ 2147483647 w 131"/>
                <a:gd name="T1" fmla="*/ 2147483647 h 263"/>
                <a:gd name="T2" fmla="*/ 2147483647 w 131"/>
                <a:gd name="T3" fmla="*/ 2147483647 h 263"/>
                <a:gd name="T4" fmla="*/ 2147483647 w 131"/>
                <a:gd name="T5" fmla="*/ 2147483647 h 263"/>
                <a:gd name="T6" fmla="*/ 2147483647 w 131"/>
                <a:gd name="T7" fmla="*/ 2147483647 h 263"/>
                <a:gd name="T8" fmla="*/ 2147483647 w 131"/>
                <a:gd name="T9" fmla="*/ 2147483647 h 263"/>
                <a:gd name="T10" fmla="*/ 2147483647 w 131"/>
                <a:gd name="T11" fmla="*/ 2147483647 h 263"/>
                <a:gd name="T12" fmla="*/ 2147483647 w 131"/>
                <a:gd name="T13" fmla="*/ 2147483647 h 263"/>
                <a:gd name="T14" fmla="*/ 2147483647 w 131"/>
                <a:gd name="T15" fmla="*/ 2147483647 h 263"/>
                <a:gd name="T16" fmla="*/ 2147483647 w 131"/>
                <a:gd name="T17" fmla="*/ 2147483647 h 263"/>
                <a:gd name="T18" fmla="*/ 2147483647 w 131"/>
                <a:gd name="T19" fmla="*/ 2147483647 h 263"/>
                <a:gd name="T20" fmla="*/ 2147483647 w 131"/>
                <a:gd name="T21" fmla="*/ 0 h 263"/>
                <a:gd name="T22" fmla="*/ 2147483647 w 131"/>
                <a:gd name="T23" fmla="*/ 2147483647 h 263"/>
                <a:gd name="T24" fmla="*/ 2147483647 w 131"/>
                <a:gd name="T25" fmla="*/ 2147483647 h 263"/>
                <a:gd name="T26" fmla="*/ 2147483647 w 131"/>
                <a:gd name="T27" fmla="*/ 2147483647 h 263"/>
                <a:gd name="T28" fmla="*/ 2147483647 w 131"/>
                <a:gd name="T29" fmla="*/ 2147483647 h 263"/>
                <a:gd name="T30" fmla="*/ 2147483647 w 131"/>
                <a:gd name="T31" fmla="*/ 2147483647 h 263"/>
                <a:gd name="T32" fmla="*/ 2147483647 w 131"/>
                <a:gd name="T33" fmla="*/ 2147483647 h 263"/>
                <a:gd name="T34" fmla="*/ 2147483647 w 131"/>
                <a:gd name="T35" fmla="*/ 2147483647 h 263"/>
                <a:gd name="T36" fmla="*/ 2147483647 w 131"/>
                <a:gd name="T37" fmla="*/ 2147483647 h 263"/>
                <a:gd name="T38" fmla="*/ 2147483647 w 131"/>
                <a:gd name="T39" fmla="*/ 2147483647 h 263"/>
                <a:gd name="T40" fmla="*/ 2147483647 w 131"/>
                <a:gd name="T41" fmla="*/ 2147483647 h 263"/>
                <a:gd name="T42" fmla="*/ 2147483647 w 131"/>
                <a:gd name="T43" fmla="*/ 2147483647 h 263"/>
                <a:gd name="T44" fmla="*/ 2147483647 w 131"/>
                <a:gd name="T45" fmla="*/ 2147483647 h 263"/>
                <a:gd name="T46" fmla="*/ 2147483647 w 131"/>
                <a:gd name="T47" fmla="*/ 2147483647 h 263"/>
                <a:gd name="T48" fmla="*/ 2147483647 w 131"/>
                <a:gd name="T49" fmla="*/ 2147483647 h 263"/>
                <a:gd name="T50" fmla="*/ 2147483647 w 131"/>
                <a:gd name="T51" fmla="*/ 2147483647 h 263"/>
                <a:gd name="T52" fmla="*/ 2147483647 w 131"/>
                <a:gd name="T53" fmla="*/ 2147483647 h 263"/>
                <a:gd name="T54" fmla="*/ 2147483647 w 131"/>
                <a:gd name="T55" fmla="*/ 2147483647 h 263"/>
                <a:gd name="T56" fmla="*/ 2147483647 w 131"/>
                <a:gd name="T57" fmla="*/ 2147483647 h 263"/>
                <a:gd name="T58" fmla="*/ 2147483647 w 131"/>
                <a:gd name="T59" fmla="*/ 2147483647 h 263"/>
                <a:gd name="T60" fmla="*/ 2147483647 w 131"/>
                <a:gd name="T61" fmla="*/ 2147483647 h 263"/>
                <a:gd name="T62" fmla="*/ 2147483647 w 131"/>
                <a:gd name="T63" fmla="*/ 2147483647 h 263"/>
                <a:gd name="T64" fmla="*/ 2147483647 w 131"/>
                <a:gd name="T65" fmla="*/ 2147483647 h 263"/>
                <a:gd name="T66" fmla="*/ 2147483647 w 131"/>
                <a:gd name="T67" fmla="*/ 2147483647 h 263"/>
                <a:gd name="T68" fmla="*/ 2147483647 w 131"/>
                <a:gd name="T69" fmla="*/ 2147483647 h 263"/>
                <a:gd name="T70" fmla="*/ 0 w 131"/>
                <a:gd name="T71" fmla="*/ 2147483647 h 263"/>
                <a:gd name="T72" fmla="*/ 2147483647 w 131"/>
                <a:gd name="T73" fmla="*/ 2147483647 h 263"/>
                <a:gd name="T74" fmla="*/ 2147483647 w 131"/>
                <a:gd name="T75" fmla="*/ 2147483647 h 263"/>
                <a:gd name="T76" fmla="*/ 2147483647 w 131"/>
                <a:gd name="T77" fmla="*/ 2147483647 h 263"/>
                <a:gd name="T78" fmla="*/ 2147483647 w 131"/>
                <a:gd name="T79" fmla="*/ 2147483647 h 263"/>
                <a:gd name="T80" fmla="*/ 2147483647 w 131"/>
                <a:gd name="T81" fmla="*/ 2147483647 h 263"/>
                <a:gd name="T82" fmla="*/ 2147483647 w 131"/>
                <a:gd name="T83" fmla="*/ 2147483647 h 263"/>
                <a:gd name="T84" fmla="*/ 2147483647 w 131"/>
                <a:gd name="T85" fmla="*/ 2147483647 h 263"/>
                <a:gd name="T86" fmla="*/ 2147483647 w 131"/>
                <a:gd name="T87" fmla="*/ 2147483647 h 263"/>
                <a:gd name="T88" fmla="*/ 2147483647 w 131"/>
                <a:gd name="T89" fmla="*/ 2147483647 h 263"/>
                <a:gd name="T90" fmla="*/ 2147483647 w 131"/>
                <a:gd name="T91" fmla="*/ 2147483647 h 263"/>
                <a:gd name="T92" fmla="*/ 2147483647 w 131"/>
                <a:gd name="T93" fmla="*/ 2147483647 h 263"/>
                <a:gd name="T94" fmla="*/ 2147483647 w 131"/>
                <a:gd name="T95" fmla="*/ 2147483647 h 263"/>
                <a:gd name="T96" fmla="*/ 2147483647 w 131"/>
                <a:gd name="T97" fmla="*/ 2147483647 h 263"/>
                <a:gd name="T98" fmla="*/ 2147483647 w 131"/>
                <a:gd name="T99" fmla="*/ 2147483647 h 263"/>
                <a:gd name="T100" fmla="*/ 2147483647 w 131"/>
                <a:gd name="T101" fmla="*/ 2147483647 h 263"/>
                <a:gd name="T102" fmla="*/ 2147483647 w 131"/>
                <a:gd name="T103" fmla="*/ 2147483647 h 263"/>
                <a:gd name="T104" fmla="*/ 2147483647 w 131"/>
                <a:gd name="T105" fmla="*/ 2147483647 h 263"/>
                <a:gd name="T106" fmla="*/ 2147483647 w 131"/>
                <a:gd name="T107" fmla="*/ 2147483647 h 263"/>
                <a:gd name="T108" fmla="*/ 2147483647 w 131"/>
                <a:gd name="T109" fmla="*/ 2147483647 h 263"/>
                <a:gd name="T110" fmla="*/ 2147483647 w 131"/>
                <a:gd name="T111" fmla="*/ 2147483647 h 263"/>
                <a:gd name="T112" fmla="*/ 2147483647 w 131"/>
                <a:gd name="T113" fmla="*/ 2147483647 h 263"/>
                <a:gd name="T114" fmla="*/ 2147483647 w 131"/>
                <a:gd name="T115" fmla="*/ 2147483647 h 263"/>
                <a:gd name="T116" fmla="*/ 2147483647 w 131"/>
                <a:gd name="T117" fmla="*/ 2147483647 h 263"/>
                <a:gd name="T118" fmla="*/ 2147483647 w 131"/>
                <a:gd name="T119" fmla="*/ 2147483647 h 263"/>
                <a:gd name="T120" fmla="*/ 2147483647 w 131"/>
                <a:gd name="T121" fmla="*/ 2147483647 h 263"/>
                <a:gd name="T122" fmla="*/ 2147483647 w 131"/>
                <a:gd name="T123" fmla="*/ 2147483647 h 263"/>
                <a:gd name="T124" fmla="*/ 2147483647 w 131"/>
                <a:gd name="T125" fmla="*/ 2147483647 h 2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1"/>
                <a:gd name="T190" fmla="*/ 0 h 263"/>
                <a:gd name="T191" fmla="*/ 131 w 131"/>
                <a:gd name="T192" fmla="*/ 263 h 2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1" h="263">
                  <a:moveTo>
                    <a:pt x="66" y="90"/>
                  </a:moveTo>
                  <a:lnTo>
                    <a:pt x="66" y="90"/>
                  </a:lnTo>
                  <a:lnTo>
                    <a:pt x="64" y="91"/>
                  </a:lnTo>
                  <a:lnTo>
                    <a:pt x="59" y="91"/>
                  </a:lnTo>
                  <a:lnTo>
                    <a:pt x="54" y="92"/>
                  </a:lnTo>
                  <a:lnTo>
                    <a:pt x="49" y="89"/>
                  </a:lnTo>
                  <a:lnTo>
                    <a:pt x="47" y="86"/>
                  </a:lnTo>
                  <a:lnTo>
                    <a:pt x="45" y="84"/>
                  </a:lnTo>
                  <a:lnTo>
                    <a:pt x="45" y="82"/>
                  </a:lnTo>
                  <a:lnTo>
                    <a:pt x="46" y="78"/>
                  </a:lnTo>
                  <a:lnTo>
                    <a:pt x="46" y="74"/>
                  </a:lnTo>
                  <a:lnTo>
                    <a:pt x="45" y="71"/>
                  </a:lnTo>
                  <a:lnTo>
                    <a:pt x="40" y="59"/>
                  </a:lnTo>
                  <a:lnTo>
                    <a:pt x="37" y="53"/>
                  </a:lnTo>
                  <a:lnTo>
                    <a:pt x="36" y="47"/>
                  </a:lnTo>
                  <a:lnTo>
                    <a:pt x="37" y="41"/>
                  </a:lnTo>
                  <a:lnTo>
                    <a:pt x="38" y="35"/>
                  </a:lnTo>
                  <a:lnTo>
                    <a:pt x="42" y="29"/>
                  </a:lnTo>
                  <a:lnTo>
                    <a:pt x="47" y="25"/>
                  </a:lnTo>
                  <a:lnTo>
                    <a:pt x="52" y="22"/>
                  </a:lnTo>
                  <a:lnTo>
                    <a:pt x="56" y="20"/>
                  </a:lnTo>
                  <a:lnTo>
                    <a:pt x="61" y="18"/>
                  </a:lnTo>
                  <a:lnTo>
                    <a:pt x="64" y="14"/>
                  </a:lnTo>
                  <a:lnTo>
                    <a:pt x="66" y="9"/>
                  </a:lnTo>
                  <a:lnTo>
                    <a:pt x="70" y="4"/>
                  </a:lnTo>
                  <a:lnTo>
                    <a:pt x="75" y="2"/>
                  </a:lnTo>
                  <a:lnTo>
                    <a:pt x="80" y="0"/>
                  </a:lnTo>
                  <a:lnTo>
                    <a:pt x="79" y="2"/>
                  </a:lnTo>
                  <a:lnTo>
                    <a:pt x="78" y="6"/>
                  </a:lnTo>
                  <a:lnTo>
                    <a:pt x="75" y="8"/>
                  </a:lnTo>
                  <a:lnTo>
                    <a:pt x="74" y="10"/>
                  </a:lnTo>
                  <a:lnTo>
                    <a:pt x="74" y="14"/>
                  </a:lnTo>
                  <a:lnTo>
                    <a:pt x="74" y="18"/>
                  </a:lnTo>
                  <a:lnTo>
                    <a:pt x="74" y="22"/>
                  </a:lnTo>
                  <a:lnTo>
                    <a:pt x="73" y="26"/>
                  </a:lnTo>
                  <a:lnTo>
                    <a:pt x="72" y="29"/>
                  </a:lnTo>
                  <a:lnTo>
                    <a:pt x="73" y="32"/>
                  </a:lnTo>
                  <a:lnTo>
                    <a:pt x="79" y="40"/>
                  </a:lnTo>
                  <a:lnTo>
                    <a:pt x="80" y="44"/>
                  </a:lnTo>
                  <a:lnTo>
                    <a:pt x="80" y="47"/>
                  </a:lnTo>
                  <a:lnTo>
                    <a:pt x="79" y="52"/>
                  </a:lnTo>
                  <a:lnTo>
                    <a:pt x="77" y="57"/>
                  </a:lnTo>
                  <a:lnTo>
                    <a:pt x="72" y="59"/>
                  </a:lnTo>
                  <a:lnTo>
                    <a:pt x="68" y="61"/>
                  </a:lnTo>
                  <a:lnTo>
                    <a:pt x="61" y="64"/>
                  </a:lnTo>
                  <a:lnTo>
                    <a:pt x="60" y="66"/>
                  </a:lnTo>
                  <a:lnTo>
                    <a:pt x="59" y="70"/>
                  </a:lnTo>
                  <a:lnTo>
                    <a:pt x="59" y="76"/>
                  </a:lnTo>
                  <a:lnTo>
                    <a:pt x="61" y="83"/>
                  </a:lnTo>
                  <a:lnTo>
                    <a:pt x="66" y="90"/>
                  </a:lnTo>
                  <a:lnTo>
                    <a:pt x="64" y="91"/>
                  </a:lnTo>
                  <a:lnTo>
                    <a:pt x="59" y="91"/>
                  </a:lnTo>
                  <a:lnTo>
                    <a:pt x="54" y="92"/>
                  </a:lnTo>
                  <a:lnTo>
                    <a:pt x="55" y="93"/>
                  </a:lnTo>
                  <a:lnTo>
                    <a:pt x="54" y="96"/>
                  </a:lnTo>
                  <a:lnTo>
                    <a:pt x="50" y="98"/>
                  </a:lnTo>
                  <a:lnTo>
                    <a:pt x="50" y="101"/>
                  </a:lnTo>
                  <a:lnTo>
                    <a:pt x="50" y="103"/>
                  </a:lnTo>
                  <a:lnTo>
                    <a:pt x="49" y="105"/>
                  </a:lnTo>
                  <a:lnTo>
                    <a:pt x="47" y="108"/>
                  </a:lnTo>
                  <a:lnTo>
                    <a:pt x="46" y="110"/>
                  </a:lnTo>
                  <a:lnTo>
                    <a:pt x="40" y="114"/>
                  </a:lnTo>
                  <a:lnTo>
                    <a:pt x="33" y="114"/>
                  </a:lnTo>
                  <a:lnTo>
                    <a:pt x="30" y="112"/>
                  </a:lnTo>
                  <a:lnTo>
                    <a:pt x="28" y="112"/>
                  </a:lnTo>
                  <a:lnTo>
                    <a:pt x="27" y="114"/>
                  </a:lnTo>
                  <a:lnTo>
                    <a:pt x="25" y="118"/>
                  </a:lnTo>
                  <a:lnTo>
                    <a:pt x="23" y="122"/>
                  </a:lnTo>
                  <a:lnTo>
                    <a:pt x="22" y="122"/>
                  </a:lnTo>
                  <a:lnTo>
                    <a:pt x="19" y="127"/>
                  </a:lnTo>
                  <a:lnTo>
                    <a:pt x="17" y="135"/>
                  </a:lnTo>
                  <a:lnTo>
                    <a:pt x="16" y="144"/>
                  </a:lnTo>
                  <a:lnTo>
                    <a:pt x="14" y="149"/>
                  </a:lnTo>
                  <a:lnTo>
                    <a:pt x="12" y="153"/>
                  </a:lnTo>
                  <a:lnTo>
                    <a:pt x="8" y="157"/>
                  </a:lnTo>
                  <a:lnTo>
                    <a:pt x="4" y="160"/>
                  </a:lnTo>
                  <a:lnTo>
                    <a:pt x="3" y="161"/>
                  </a:lnTo>
                  <a:lnTo>
                    <a:pt x="3" y="163"/>
                  </a:lnTo>
                  <a:lnTo>
                    <a:pt x="3" y="166"/>
                  </a:lnTo>
                  <a:lnTo>
                    <a:pt x="3" y="170"/>
                  </a:lnTo>
                  <a:lnTo>
                    <a:pt x="3" y="174"/>
                  </a:lnTo>
                  <a:lnTo>
                    <a:pt x="2" y="182"/>
                  </a:lnTo>
                  <a:lnTo>
                    <a:pt x="0" y="192"/>
                  </a:lnTo>
                  <a:lnTo>
                    <a:pt x="0" y="200"/>
                  </a:lnTo>
                  <a:lnTo>
                    <a:pt x="3" y="204"/>
                  </a:lnTo>
                  <a:lnTo>
                    <a:pt x="4" y="208"/>
                  </a:lnTo>
                  <a:lnTo>
                    <a:pt x="5" y="219"/>
                  </a:lnTo>
                  <a:lnTo>
                    <a:pt x="14" y="221"/>
                  </a:lnTo>
                  <a:lnTo>
                    <a:pt x="23" y="225"/>
                  </a:lnTo>
                  <a:lnTo>
                    <a:pt x="28" y="226"/>
                  </a:lnTo>
                  <a:lnTo>
                    <a:pt x="32" y="227"/>
                  </a:lnTo>
                  <a:lnTo>
                    <a:pt x="42" y="226"/>
                  </a:lnTo>
                  <a:lnTo>
                    <a:pt x="40" y="233"/>
                  </a:lnTo>
                  <a:lnTo>
                    <a:pt x="37" y="239"/>
                  </a:lnTo>
                  <a:lnTo>
                    <a:pt x="35" y="245"/>
                  </a:lnTo>
                  <a:lnTo>
                    <a:pt x="35" y="252"/>
                  </a:lnTo>
                  <a:lnTo>
                    <a:pt x="42" y="253"/>
                  </a:lnTo>
                  <a:lnTo>
                    <a:pt x="50" y="256"/>
                  </a:lnTo>
                  <a:lnTo>
                    <a:pt x="56" y="258"/>
                  </a:lnTo>
                  <a:lnTo>
                    <a:pt x="61" y="263"/>
                  </a:lnTo>
                  <a:lnTo>
                    <a:pt x="72" y="263"/>
                  </a:lnTo>
                  <a:lnTo>
                    <a:pt x="80" y="262"/>
                  </a:lnTo>
                  <a:lnTo>
                    <a:pt x="91" y="258"/>
                  </a:lnTo>
                  <a:lnTo>
                    <a:pt x="99" y="253"/>
                  </a:lnTo>
                  <a:lnTo>
                    <a:pt x="101" y="253"/>
                  </a:lnTo>
                  <a:lnTo>
                    <a:pt x="102" y="253"/>
                  </a:lnTo>
                  <a:lnTo>
                    <a:pt x="106" y="255"/>
                  </a:lnTo>
                  <a:lnTo>
                    <a:pt x="113" y="259"/>
                  </a:lnTo>
                  <a:lnTo>
                    <a:pt x="115" y="259"/>
                  </a:lnTo>
                  <a:lnTo>
                    <a:pt x="116" y="259"/>
                  </a:lnTo>
                  <a:lnTo>
                    <a:pt x="117" y="258"/>
                  </a:lnTo>
                  <a:lnTo>
                    <a:pt x="117" y="252"/>
                  </a:lnTo>
                  <a:lnTo>
                    <a:pt x="115" y="248"/>
                  </a:lnTo>
                  <a:lnTo>
                    <a:pt x="117" y="246"/>
                  </a:lnTo>
                  <a:lnTo>
                    <a:pt x="118" y="245"/>
                  </a:lnTo>
                  <a:lnTo>
                    <a:pt x="125" y="238"/>
                  </a:lnTo>
                  <a:lnTo>
                    <a:pt x="131" y="234"/>
                  </a:lnTo>
                  <a:lnTo>
                    <a:pt x="121" y="223"/>
                  </a:lnTo>
                  <a:lnTo>
                    <a:pt x="110" y="212"/>
                  </a:lnTo>
                  <a:lnTo>
                    <a:pt x="108" y="210"/>
                  </a:lnTo>
                  <a:lnTo>
                    <a:pt x="107" y="206"/>
                  </a:lnTo>
                  <a:lnTo>
                    <a:pt x="102" y="199"/>
                  </a:lnTo>
                  <a:lnTo>
                    <a:pt x="101" y="195"/>
                  </a:lnTo>
                  <a:lnTo>
                    <a:pt x="99" y="191"/>
                  </a:lnTo>
                  <a:lnTo>
                    <a:pt x="96" y="187"/>
                  </a:lnTo>
                  <a:lnTo>
                    <a:pt x="92" y="185"/>
                  </a:lnTo>
                  <a:lnTo>
                    <a:pt x="88" y="185"/>
                  </a:lnTo>
                  <a:lnTo>
                    <a:pt x="83" y="185"/>
                  </a:lnTo>
                  <a:lnTo>
                    <a:pt x="80" y="185"/>
                  </a:lnTo>
                  <a:lnTo>
                    <a:pt x="79" y="183"/>
                  </a:lnTo>
                  <a:lnTo>
                    <a:pt x="78" y="181"/>
                  </a:lnTo>
                  <a:lnTo>
                    <a:pt x="77" y="176"/>
                  </a:lnTo>
                  <a:lnTo>
                    <a:pt x="78" y="174"/>
                  </a:lnTo>
                  <a:lnTo>
                    <a:pt x="82" y="154"/>
                  </a:lnTo>
                  <a:lnTo>
                    <a:pt x="85" y="135"/>
                  </a:lnTo>
                  <a:lnTo>
                    <a:pt x="85" y="124"/>
                  </a:lnTo>
                  <a:lnTo>
                    <a:pt x="85" y="115"/>
                  </a:lnTo>
                  <a:lnTo>
                    <a:pt x="83" y="105"/>
                  </a:lnTo>
                  <a:lnTo>
                    <a:pt x="79" y="96"/>
                  </a:lnTo>
                  <a:lnTo>
                    <a:pt x="74" y="96"/>
                  </a:lnTo>
                  <a:lnTo>
                    <a:pt x="73" y="95"/>
                  </a:lnTo>
                  <a:lnTo>
                    <a:pt x="70" y="92"/>
                  </a:lnTo>
                  <a:lnTo>
                    <a:pt x="66" y="9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6" name="Freeform 1295"/>
            <p:cNvSpPr>
              <a:spLocks/>
            </p:cNvSpPr>
            <p:nvPr/>
          </p:nvSpPr>
          <p:spPr bwMode="auto">
            <a:xfrm>
              <a:off x="1189039" y="2055814"/>
              <a:ext cx="185737" cy="115887"/>
            </a:xfrm>
            <a:custGeom>
              <a:avLst/>
              <a:gdLst>
                <a:gd name="T0" fmla="*/ 2147483647 w 127"/>
                <a:gd name="T1" fmla="*/ 2147483647 h 73"/>
                <a:gd name="T2" fmla="*/ 2147483647 w 127"/>
                <a:gd name="T3" fmla="*/ 2147483647 h 73"/>
                <a:gd name="T4" fmla="*/ 2147483647 w 127"/>
                <a:gd name="T5" fmla="*/ 2147483647 h 73"/>
                <a:gd name="T6" fmla="*/ 2147483647 w 127"/>
                <a:gd name="T7" fmla="*/ 2147483647 h 73"/>
                <a:gd name="T8" fmla="*/ 2147483647 w 127"/>
                <a:gd name="T9" fmla="*/ 2147483647 h 73"/>
                <a:gd name="T10" fmla="*/ 0 w 127"/>
                <a:gd name="T11" fmla="*/ 2147483647 h 73"/>
                <a:gd name="T12" fmla="*/ 2147483647 w 127"/>
                <a:gd name="T13" fmla="*/ 2147483647 h 73"/>
                <a:gd name="T14" fmla="*/ 2147483647 w 127"/>
                <a:gd name="T15" fmla="*/ 2147483647 h 73"/>
                <a:gd name="T16" fmla="*/ 2147483647 w 127"/>
                <a:gd name="T17" fmla="*/ 2147483647 h 73"/>
                <a:gd name="T18" fmla="*/ 2147483647 w 127"/>
                <a:gd name="T19" fmla="*/ 2147483647 h 73"/>
                <a:gd name="T20" fmla="*/ 2147483647 w 127"/>
                <a:gd name="T21" fmla="*/ 2147483647 h 73"/>
                <a:gd name="T22" fmla="*/ 2147483647 w 127"/>
                <a:gd name="T23" fmla="*/ 2147483647 h 73"/>
                <a:gd name="T24" fmla="*/ 2147483647 w 127"/>
                <a:gd name="T25" fmla="*/ 2147483647 h 73"/>
                <a:gd name="T26" fmla="*/ 2147483647 w 127"/>
                <a:gd name="T27" fmla="*/ 2147483647 h 73"/>
                <a:gd name="T28" fmla="*/ 2147483647 w 127"/>
                <a:gd name="T29" fmla="*/ 2147483647 h 73"/>
                <a:gd name="T30" fmla="*/ 2147483647 w 127"/>
                <a:gd name="T31" fmla="*/ 2147483647 h 73"/>
                <a:gd name="T32" fmla="*/ 2147483647 w 127"/>
                <a:gd name="T33" fmla="*/ 2147483647 h 73"/>
                <a:gd name="T34" fmla="*/ 2147483647 w 127"/>
                <a:gd name="T35" fmla="*/ 2147483647 h 73"/>
                <a:gd name="T36" fmla="*/ 2147483647 w 127"/>
                <a:gd name="T37" fmla="*/ 2147483647 h 73"/>
                <a:gd name="T38" fmla="*/ 2147483647 w 127"/>
                <a:gd name="T39" fmla="*/ 2147483647 h 73"/>
                <a:gd name="T40" fmla="*/ 2147483647 w 127"/>
                <a:gd name="T41" fmla="*/ 2147483647 h 73"/>
                <a:gd name="T42" fmla="*/ 2147483647 w 127"/>
                <a:gd name="T43" fmla="*/ 2147483647 h 73"/>
                <a:gd name="T44" fmla="*/ 2147483647 w 127"/>
                <a:gd name="T45" fmla="*/ 2147483647 h 73"/>
                <a:gd name="T46" fmla="*/ 2147483647 w 127"/>
                <a:gd name="T47" fmla="*/ 2147483647 h 73"/>
                <a:gd name="T48" fmla="*/ 2147483647 w 127"/>
                <a:gd name="T49" fmla="*/ 2147483647 h 73"/>
                <a:gd name="T50" fmla="*/ 2147483647 w 127"/>
                <a:gd name="T51" fmla="*/ 2147483647 h 73"/>
                <a:gd name="T52" fmla="*/ 2147483647 w 127"/>
                <a:gd name="T53" fmla="*/ 2147483647 h 73"/>
                <a:gd name="T54" fmla="*/ 2147483647 w 127"/>
                <a:gd name="T55" fmla="*/ 2147483647 h 73"/>
                <a:gd name="T56" fmla="*/ 2147483647 w 127"/>
                <a:gd name="T57" fmla="*/ 2147483647 h 73"/>
                <a:gd name="T58" fmla="*/ 2147483647 w 127"/>
                <a:gd name="T59" fmla="*/ 2147483647 h 73"/>
                <a:gd name="T60" fmla="*/ 2147483647 w 127"/>
                <a:gd name="T61" fmla="*/ 2147483647 h 73"/>
                <a:gd name="T62" fmla="*/ 2147483647 w 127"/>
                <a:gd name="T63" fmla="*/ 2147483647 h 73"/>
                <a:gd name="T64" fmla="*/ 2147483647 w 127"/>
                <a:gd name="T65" fmla="*/ 2147483647 h 73"/>
                <a:gd name="T66" fmla="*/ 2147483647 w 127"/>
                <a:gd name="T67" fmla="*/ 2147483647 h 73"/>
                <a:gd name="T68" fmla="*/ 2147483647 w 127"/>
                <a:gd name="T69" fmla="*/ 2147483647 h 73"/>
                <a:gd name="T70" fmla="*/ 2147483647 w 127"/>
                <a:gd name="T71" fmla="*/ 2147483647 h 73"/>
                <a:gd name="T72" fmla="*/ 2147483647 w 127"/>
                <a:gd name="T73" fmla="*/ 2147483647 h 73"/>
                <a:gd name="T74" fmla="*/ 2147483647 w 127"/>
                <a:gd name="T75" fmla="*/ 2147483647 h 73"/>
                <a:gd name="T76" fmla="*/ 2147483647 w 127"/>
                <a:gd name="T77" fmla="*/ 2147483647 h 73"/>
                <a:gd name="T78" fmla="*/ 2147483647 w 127"/>
                <a:gd name="T79" fmla="*/ 2147483647 h 73"/>
                <a:gd name="T80" fmla="*/ 2147483647 w 127"/>
                <a:gd name="T81" fmla="*/ 2147483647 h 73"/>
                <a:gd name="T82" fmla="*/ 2147483647 w 127"/>
                <a:gd name="T83" fmla="*/ 2147483647 h 73"/>
                <a:gd name="T84" fmla="*/ 2147483647 w 127"/>
                <a:gd name="T85" fmla="*/ 2147483647 h 73"/>
                <a:gd name="T86" fmla="*/ 2147483647 w 127"/>
                <a:gd name="T87" fmla="*/ 2147483647 h 73"/>
                <a:gd name="T88" fmla="*/ 2147483647 w 127"/>
                <a:gd name="T89" fmla="*/ 2147483647 h 73"/>
                <a:gd name="T90" fmla="*/ 2147483647 w 127"/>
                <a:gd name="T91" fmla="*/ 2147483647 h 73"/>
                <a:gd name="T92" fmla="*/ 2147483647 w 127"/>
                <a:gd name="T93" fmla="*/ 2147483647 h 73"/>
                <a:gd name="T94" fmla="*/ 2147483647 w 127"/>
                <a:gd name="T95" fmla="*/ 2147483647 h 73"/>
                <a:gd name="T96" fmla="*/ 2147483647 w 127"/>
                <a:gd name="T97" fmla="*/ 2147483647 h 73"/>
                <a:gd name="T98" fmla="*/ 2147483647 w 127"/>
                <a:gd name="T99" fmla="*/ 2147483647 h 73"/>
                <a:gd name="T100" fmla="*/ 2147483647 w 127"/>
                <a:gd name="T101" fmla="*/ 2147483647 h 73"/>
                <a:gd name="T102" fmla="*/ 2147483647 w 127"/>
                <a:gd name="T103" fmla="*/ 2147483647 h 73"/>
                <a:gd name="T104" fmla="*/ 2147483647 w 127"/>
                <a:gd name="T105" fmla="*/ 2147483647 h 73"/>
                <a:gd name="T106" fmla="*/ 2147483647 w 127"/>
                <a:gd name="T107" fmla="*/ 0 h 73"/>
                <a:gd name="T108" fmla="*/ 2147483647 w 127"/>
                <a:gd name="T109" fmla="*/ 0 h 73"/>
                <a:gd name="T110" fmla="*/ 2147483647 w 127"/>
                <a:gd name="T111" fmla="*/ 0 h 73"/>
                <a:gd name="T112" fmla="*/ 2147483647 w 127"/>
                <a:gd name="T113" fmla="*/ 2147483647 h 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7"/>
                <a:gd name="T172" fmla="*/ 0 h 73"/>
                <a:gd name="T173" fmla="*/ 127 w 127"/>
                <a:gd name="T174" fmla="*/ 73 h 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7" h="73">
                  <a:moveTo>
                    <a:pt x="68" y="4"/>
                  </a:moveTo>
                  <a:lnTo>
                    <a:pt x="68" y="4"/>
                  </a:lnTo>
                  <a:lnTo>
                    <a:pt x="58" y="8"/>
                  </a:lnTo>
                  <a:lnTo>
                    <a:pt x="47" y="11"/>
                  </a:lnTo>
                  <a:lnTo>
                    <a:pt x="36" y="11"/>
                  </a:lnTo>
                  <a:lnTo>
                    <a:pt x="26" y="13"/>
                  </a:lnTo>
                  <a:lnTo>
                    <a:pt x="22" y="13"/>
                  </a:lnTo>
                  <a:lnTo>
                    <a:pt x="19" y="13"/>
                  </a:lnTo>
                  <a:lnTo>
                    <a:pt x="18" y="10"/>
                  </a:lnTo>
                  <a:lnTo>
                    <a:pt x="13" y="11"/>
                  </a:lnTo>
                  <a:lnTo>
                    <a:pt x="8" y="13"/>
                  </a:lnTo>
                  <a:lnTo>
                    <a:pt x="3" y="15"/>
                  </a:lnTo>
                  <a:lnTo>
                    <a:pt x="2" y="16"/>
                  </a:lnTo>
                  <a:lnTo>
                    <a:pt x="0" y="17"/>
                  </a:lnTo>
                  <a:lnTo>
                    <a:pt x="0" y="20"/>
                  </a:lnTo>
                  <a:lnTo>
                    <a:pt x="2" y="22"/>
                  </a:lnTo>
                  <a:lnTo>
                    <a:pt x="4" y="25"/>
                  </a:lnTo>
                  <a:lnTo>
                    <a:pt x="7" y="26"/>
                  </a:lnTo>
                  <a:lnTo>
                    <a:pt x="17" y="25"/>
                  </a:lnTo>
                  <a:lnTo>
                    <a:pt x="22" y="25"/>
                  </a:lnTo>
                  <a:lnTo>
                    <a:pt x="27" y="26"/>
                  </a:lnTo>
                  <a:lnTo>
                    <a:pt x="31" y="26"/>
                  </a:lnTo>
                  <a:lnTo>
                    <a:pt x="33" y="25"/>
                  </a:lnTo>
                  <a:lnTo>
                    <a:pt x="37" y="22"/>
                  </a:lnTo>
                  <a:lnTo>
                    <a:pt x="41" y="22"/>
                  </a:lnTo>
                  <a:lnTo>
                    <a:pt x="45" y="22"/>
                  </a:lnTo>
                  <a:lnTo>
                    <a:pt x="47" y="23"/>
                  </a:lnTo>
                  <a:lnTo>
                    <a:pt x="60" y="30"/>
                  </a:lnTo>
                  <a:lnTo>
                    <a:pt x="63" y="32"/>
                  </a:lnTo>
                  <a:lnTo>
                    <a:pt x="63" y="34"/>
                  </a:lnTo>
                  <a:lnTo>
                    <a:pt x="63" y="36"/>
                  </a:lnTo>
                  <a:lnTo>
                    <a:pt x="61" y="39"/>
                  </a:lnTo>
                  <a:lnTo>
                    <a:pt x="60" y="39"/>
                  </a:lnTo>
                  <a:lnTo>
                    <a:pt x="58" y="38"/>
                  </a:lnTo>
                  <a:lnTo>
                    <a:pt x="56" y="36"/>
                  </a:lnTo>
                  <a:lnTo>
                    <a:pt x="54" y="36"/>
                  </a:lnTo>
                  <a:lnTo>
                    <a:pt x="51" y="36"/>
                  </a:lnTo>
                  <a:lnTo>
                    <a:pt x="50" y="35"/>
                  </a:lnTo>
                  <a:lnTo>
                    <a:pt x="46" y="35"/>
                  </a:lnTo>
                  <a:lnTo>
                    <a:pt x="45" y="36"/>
                  </a:lnTo>
                  <a:lnTo>
                    <a:pt x="46" y="39"/>
                  </a:lnTo>
                  <a:lnTo>
                    <a:pt x="46" y="40"/>
                  </a:lnTo>
                  <a:lnTo>
                    <a:pt x="46" y="41"/>
                  </a:lnTo>
                  <a:lnTo>
                    <a:pt x="40" y="46"/>
                  </a:lnTo>
                  <a:lnTo>
                    <a:pt x="39" y="48"/>
                  </a:lnTo>
                  <a:lnTo>
                    <a:pt x="37" y="52"/>
                  </a:lnTo>
                  <a:lnTo>
                    <a:pt x="37" y="54"/>
                  </a:lnTo>
                  <a:lnTo>
                    <a:pt x="36" y="57"/>
                  </a:lnTo>
                  <a:lnTo>
                    <a:pt x="31" y="59"/>
                  </a:lnTo>
                  <a:lnTo>
                    <a:pt x="31" y="60"/>
                  </a:lnTo>
                  <a:lnTo>
                    <a:pt x="31" y="61"/>
                  </a:lnTo>
                  <a:lnTo>
                    <a:pt x="35" y="64"/>
                  </a:lnTo>
                  <a:lnTo>
                    <a:pt x="37" y="66"/>
                  </a:lnTo>
                  <a:lnTo>
                    <a:pt x="44" y="71"/>
                  </a:lnTo>
                  <a:lnTo>
                    <a:pt x="46" y="71"/>
                  </a:lnTo>
                  <a:lnTo>
                    <a:pt x="49" y="70"/>
                  </a:lnTo>
                  <a:lnTo>
                    <a:pt x="50" y="66"/>
                  </a:lnTo>
                  <a:lnTo>
                    <a:pt x="52" y="64"/>
                  </a:lnTo>
                  <a:lnTo>
                    <a:pt x="58" y="60"/>
                  </a:lnTo>
                  <a:lnTo>
                    <a:pt x="61" y="57"/>
                  </a:lnTo>
                  <a:lnTo>
                    <a:pt x="64" y="54"/>
                  </a:lnTo>
                  <a:lnTo>
                    <a:pt x="66" y="53"/>
                  </a:lnTo>
                  <a:lnTo>
                    <a:pt x="75" y="49"/>
                  </a:lnTo>
                  <a:lnTo>
                    <a:pt x="79" y="49"/>
                  </a:lnTo>
                  <a:lnTo>
                    <a:pt x="84" y="49"/>
                  </a:lnTo>
                  <a:lnTo>
                    <a:pt x="86" y="51"/>
                  </a:lnTo>
                  <a:lnTo>
                    <a:pt x="87" y="53"/>
                  </a:lnTo>
                  <a:lnTo>
                    <a:pt x="86" y="55"/>
                  </a:lnTo>
                  <a:lnTo>
                    <a:pt x="83" y="59"/>
                  </a:lnTo>
                  <a:lnTo>
                    <a:pt x="79" y="61"/>
                  </a:lnTo>
                  <a:lnTo>
                    <a:pt x="75" y="64"/>
                  </a:lnTo>
                  <a:lnTo>
                    <a:pt x="69" y="68"/>
                  </a:lnTo>
                  <a:lnTo>
                    <a:pt x="64" y="73"/>
                  </a:lnTo>
                  <a:lnTo>
                    <a:pt x="74" y="72"/>
                  </a:lnTo>
                  <a:lnTo>
                    <a:pt x="86" y="70"/>
                  </a:lnTo>
                  <a:lnTo>
                    <a:pt x="94" y="66"/>
                  </a:lnTo>
                  <a:lnTo>
                    <a:pt x="103" y="60"/>
                  </a:lnTo>
                  <a:lnTo>
                    <a:pt x="99" y="57"/>
                  </a:lnTo>
                  <a:lnTo>
                    <a:pt x="96" y="52"/>
                  </a:lnTo>
                  <a:lnTo>
                    <a:pt x="94" y="47"/>
                  </a:lnTo>
                  <a:lnTo>
                    <a:pt x="94" y="45"/>
                  </a:lnTo>
                  <a:lnTo>
                    <a:pt x="96" y="43"/>
                  </a:lnTo>
                  <a:lnTo>
                    <a:pt x="97" y="41"/>
                  </a:lnTo>
                  <a:lnTo>
                    <a:pt x="98" y="41"/>
                  </a:lnTo>
                  <a:lnTo>
                    <a:pt x="103" y="42"/>
                  </a:lnTo>
                  <a:lnTo>
                    <a:pt x="111" y="47"/>
                  </a:lnTo>
                  <a:lnTo>
                    <a:pt x="113" y="48"/>
                  </a:lnTo>
                  <a:lnTo>
                    <a:pt x="116" y="49"/>
                  </a:lnTo>
                  <a:lnTo>
                    <a:pt x="120" y="49"/>
                  </a:lnTo>
                  <a:lnTo>
                    <a:pt x="121" y="47"/>
                  </a:lnTo>
                  <a:lnTo>
                    <a:pt x="122" y="46"/>
                  </a:lnTo>
                  <a:lnTo>
                    <a:pt x="121" y="43"/>
                  </a:lnTo>
                  <a:lnTo>
                    <a:pt x="120" y="42"/>
                  </a:lnTo>
                  <a:lnTo>
                    <a:pt x="119" y="40"/>
                  </a:lnTo>
                  <a:lnTo>
                    <a:pt x="119" y="38"/>
                  </a:lnTo>
                  <a:lnTo>
                    <a:pt x="120" y="36"/>
                  </a:lnTo>
                  <a:lnTo>
                    <a:pt x="124" y="34"/>
                  </a:lnTo>
                  <a:lnTo>
                    <a:pt x="125" y="33"/>
                  </a:lnTo>
                  <a:lnTo>
                    <a:pt x="125" y="32"/>
                  </a:lnTo>
                  <a:lnTo>
                    <a:pt x="122" y="29"/>
                  </a:lnTo>
                  <a:lnTo>
                    <a:pt x="121" y="28"/>
                  </a:lnTo>
                  <a:lnTo>
                    <a:pt x="121" y="26"/>
                  </a:lnTo>
                  <a:lnTo>
                    <a:pt x="125" y="23"/>
                  </a:lnTo>
                  <a:lnTo>
                    <a:pt x="126" y="21"/>
                  </a:lnTo>
                  <a:lnTo>
                    <a:pt x="127" y="19"/>
                  </a:lnTo>
                  <a:lnTo>
                    <a:pt x="120" y="20"/>
                  </a:lnTo>
                  <a:lnTo>
                    <a:pt x="112" y="22"/>
                  </a:lnTo>
                  <a:lnTo>
                    <a:pt x="110" y="22"/>
                  </a:lnTo>
                  <a:lnTo>
                    <a:pt x="107" y="21"/>
                  </a:lnTo>
                  <a:lnTo>
                    <a:pt x="103" y="20"/>
                  </a:lnTo>
                  <a:lnTo>
                    <a:pt x="101" y="21"/>
                  </a:lnTo>
                  <a:lnTo>
                    <a:pt x="96" y="21"/>
                  </a:lnTo>
                  <a:lnTo>
                    <a:pt x="91" y="20"/>
                  </a:lnTo>
                  <a:lnTo>
                    <a:pt x="87" y="17"/>
                  </a:lnTo>
                  <a:lnTo>
                    <a:pt x="86" y="14"/>
                  </a:lnTo>
                  <a:lnTo>
                    <a:pt x="86" y="13"/>
                  </a:lnTo>
                  <a:lnTo>
                    <a:pt x="87" y="11"/>
                  </a:lnTo>
                  <a:lnTo>
                    <a:pt x="91" y="9"/>
                  </a:lnTo>
                  <a:lnTo>
                    <a:pt x="96" y="8"/>
                  </a:lnTo>
                  <a:lnTo>
                    <a:pt x="99" y="6"/>
                  </a:lnTo>
                  <a:lnTo>
                    <a:pt x="102" y="2"/>
                  </a:lnTo>
                  <a:lnTo>
                    <a:pt x="102" y="1"/>
                  </a:lnTo>
                  <a:lnTo>
                    <a:pt x="101" y="0"/>
                  </a:lnTo>
                  <a:lnTo>
                    <a:pt x="98" y="0"/>
                  </a:lnTo>
                  <a:lnTo>
                    <a:pt x="94" y="0"/>
                  </a:lnTo>
                  <a:lnTo>
                    <a:pt x="92" y="0"/>
                  </a:lnTo>
                  <a:lnTo>
                    <a:pt x="88" y="0"/>
                  </a:lnTo>
                  <a:lnTo>
                    <a:pt x="83" y="0"/>
                  </a:lnTo>
                  <a:lnTo>
                    <a:pt x="78" y="0"/>
                  </a:lnTo>
                  <a:lnTo>
                    <a:pt x="73" y="2"/>
                  </a:lnTo>
                  <a:lnTo>
                    <a:pt x="68" y="4"/>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7" name="Freeform 1296"/>
            <p:cNvSpPr>
              <a:spLocks/>
            </p:cNvSpPr>
            <p:nvPr/>
          </p:nvSpPr>
          <p:spPr bwMode="auto">
            <a:xfrm>
              <a:off x="1390651" y="2220917"/>
              <a:ext cx="209550" cy="122237"/>
            </a:xfrm>
            <a:custGeom>
              <a:avLst/>
              <a:gdLst>
                <a:gd name="T0" fmla="*/ 2147483647 w 143"/>
                <a:gd name="T1" fmla="*/ 2147483647 h 77"/>
                <a:gd name="T2" fmla="*/ 2147483647 w 143"/>
                <a:gd name="T3" fmla="*/ 2147483647 h 77"/>
                <a:gd name="T4" fmla="*/ 2147483647 w 143"/>
                <a:gd name="T5" fmla="*/ 2147483647 h 77"/>
                <a:gd name="T6" fmla="*/ 2147483647 w 143"/>
                <a:gd name="T7" fmla="*/ 2147483647 h 77"/>
                <a:gd name="T8" fmla="*/ 2147483647 w 143"/>
                <a:gd name="T9" fmla="*/ 2147483647 h 77"/>
                <a:gd name="T10" fmla="*/ 2147483647 w 143"/>
                <a:gd name="T11" fmla="*/ 2147483647 h 77"/>
                <a:gd name="T12" fmla="*/ 2147483647 w 143"/>
                <a:gd name="T13" fmla="*/ 2147483647 h 77"/>
                <a:gd name="T14" fmla="*/ 2147483647 w 143"/>
                <a:gd name="T15" fmla="*/ 0 h 77"/>
                <a:gd name="T16" fmla="*/ 2147483647 w 143"/>
                <a:gd name="T17" fmla="*/ 2147483647 h 77"/>
                <a:gd name="T18" fmla="*/ 2147483647 w 143"/>
                <a:gd name="T19" fmla="*/ 2147483647 h 77"/>
                <a:gd name="T20" fmla="*/ 2147483647 w 143"/>
                <a:gd name="T21" fmla="*/ 2147483647 h 77"/>
                <a:gd name="T22" fmla="*/ 2147483647 w 143"/>
                <a:gd name="T23" fmla="*/ 2147483647 h 77"/>
                <a:gd name="T24" fmla="*/ 2147483647 w 143"/>
                <a:gd name="T25" fmla="*/ 2147483647 h 77"/>
                <a:gd name="T26" fmla="*/ 2147483647 w 143"/>
                <a:gd name="T27" fmla="*/ 2147483647 h 77"/>
                <a:gd name="T28" fmla="*/ 2147483647 w 143"/>
                <a:gd name="T29" fmla="*/ 2147483647 h 77"/>
                <a:gd name="T30" fmla="*/ 2147483647 w 143"/>
                <a:gd name="T31" fmla="*/ 2147483647 h 77"/>
                <a:gd name="T32" fmla="*/ 2147483647 w 143"/>
                <a:gd name="T33" fmla="*/ 2147483647 h 77"/>
                <a:gd name="T34" fmla="*/ 2147483647 w 143"/>
                <a:gd name="T35" fmla="*/ 2147483647 h 77"/>
                <a:gd name="T36" fmla="*/ 2147483647 w 143"/>
                <a:gd name="T37" fmla="*/ 2147483647 h 77"/>
                <a:gd name="T38" fmla="*/ 2147483647 w 143"/>
                <a:gd name="T39" fmla="*/ 2147483647 h 77"/>
                <a:gd name="T40" fmla="*/ 2147483647 w 143"/>
                <a:gd name="T41" fmla="*/ 2147483647 h 77"/>
                <a:gd name="T42" fmla="*/ 0 w 143"/>
                <a:gd name="T43" fmla="*/ 2147483647 h 77"/>
                <a:gd name="T44" fmla="*/ 2147483647 w 143"/>
                <a:gd name="T45" fmla="*/ 2147483647 h 77"/>
                <a:gd name="T46" fmla="*/ 2147483647 w 143"/>
                <a:gd name="T47" fmla="*/ 2147483647 h 77"/>
                <a:gd name="T48" fmla="*/ 2147483647 w 143"/>
                <a:gd name="T49" fmla="*/ 2147483647 h 77"/>
                <a:gd name="T50" fmla="*/ 2147483647 w 143"/>
                <a:gd name="T51" fmla="*/ 2147483647 h 77"/>
                <a:gd name="T52" fmla="*/ 2147483647 w 143"/>
                <a:gd name="T53" fmla="*/ 2147483647 h 77"/>
                <a:gd name="T54" fmla="*/ 2147483647 w 143"/>
                <a:gd name="T55" fmla="*/ 2147483647 h 77"/>
                <a:gd name="T56" fmla="*/ 2147483647 w 143"/>
                <a:gd name="T57" fmla="*/ 2147483647 h 77"/>
                <a:gd name="T58" fmla="*/ 2147483647 w 143"/>
                <a:gd name="T59" fmla="*/ 2147483647 h 77"/>
                <a:gd name="T60" fmla="*/ 2147483647 w 143"/>
                <a:gd name="T61" fmla="*/ 2147483647 h 77"/>
                <a:gd name="T62" fmla="*/ 2147483647 w 143"/>
                <a:gd name="T63" fmla="*/ 2147483647 h 77"/>
                <a:gd name="T64" fmla="*/ 2147483647 w 143"/>
                <a:gd name="T65" fmla="*/ 2147483647 h 77"/>
                <a:gd name="T66" fmla="*/ 2147483647 w 143"/>
                <a:gd name="T67" fmla="*/ 2147483647 h 77"/>
                <a:gd name="T68" fmla="*/ 2147483647 w 143"/>
                <a:gd name="T69" fmla="*/ 2147483647 h 77"/>
                <a:gd name="T70" fmla="*/ 2147483647 w 143"/>
                <a:gd name="T71" fmla="*/ 2147483647 h 77"/>
                <a:gd name="T72" fmla="*/ 2147483647 w 143"/>
                <a:gd name="T73" fmla="*/ 2147483647 h 77"/>
                <a:gd name="T74" fmla="*/ 2147483647 w 143"/>
                <a:gd name="T75" fmla="*/ 2147483647 h 77"/>
                <a:gd name="T76" fmla="*/ 2147483647 w 143"/>
                <a:gd name="T77" fmla="*/ 2147483647 h 77"/>
                <a:gd name="T78" fmla="*/ 2147483647 w 143"/>
                <a:gd name="T79" fmla="*/ 2147483647 h 77"/>
                <a:gd name="T80" fmla="*/ 2147483647 w 143"/>
                <a:gd name="T81" fmla="*/ 2147483647 h 77"/>
                <a:gd name="T82" fmla="*/ 2147483647 w 143"/>
                <a:gd name="T83" fmla="*/ 2147483647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77"/>
                <a:gd name="T128" fmla="*/ 143 w 143"/>
                <a:gd name="T129" fmla="*/ 77 h 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77">
                  <a:moveTo>
                    <a:pt x="92" y="13"/>
                  </a:moveTo>
                  <a:lnTo>
                    <a:pt x="87" y="15"/>
                  </a:lnTo>
                  <a:lnTo>
                    <a:pt x="82" y="17"/>
                  </a:lnTo>
                  <a:lnTo>
                    <a:pt x="78" y="18"/>
                  </a:lnTo>
                  <a:lnTo>
                    <a:pt x="73" y="20"/>
                  </a:lnTo>
                  <a:lnTo>
                    <a:pt x="66" y="27"/>
                  </a:lnTo>
                  <a:lnTo>
                    <a:pt x="61" y="31"/>
                  </a:lnTo>
                  <a:lnTo>
                    <a:pt x="58" y="31"/>
                  </a:lnTo>
                  <a:lnTo>
                    <a:pt x="55" y="31"/>
                  </a:lnTo>
                  <a:lnTo>
                    <a:pt x="54" y="30"/>
                  </a:lnTo>
                  <a:lnTo>
                    <a:pt x="53" y="27"/>
                  </a:lnTo>
                  <a:lnTo>
                    <a:pt x="53" y="25"/>
                  </a:lnTo>
                  <a:lnTo>
                    <a:pt x="50" y="22"/>
                  </a:lnTo>
                  <a:lnTo>
                    <a:pt x="43" y="19"/>
                  </a:lnTo>
                  <a:lnTo>
                    <a:pt x="36" y="13"/>
                  </a:lnTo>
                  <a:lnTo>
                    <a:pt x="25" y="0"/>
                  </a:lnTo>
                  <a:lnTo>
                    <a:pt x="22" y="0"/>
                  </a:lnTo>
                  <a:lnTo>
                    <a:pt x="20" y="1"/>
                  </a:lnTo>
                  <a:lnTo>
                    <a:pt x="19" y="4"/>
                  </a:lnTo>
                  <a:lnTo>
                    <a:pt x="16" y="6"/>
                  </a:lnTo>
                  <a:lnTo>
                    <a:pt x="19" y="7"/>
                  </a:lnTo>
                  <a:lnTo>
                    <a:pt x="20" y="8"/>
                  </a:lnTo>
                  <a:lnTo>
                    <a:pt x="21" y="13"/>
                  </a:lnTo>
                  <a:lnTo>
                    <a:pt x="25" y="17"/>
                  </a:lnTo>
                  <a:lnTo>
                    <a:pt x="31" y="22"/>
                  </a:lnTo>
                  <a:lnTo>
                    <a:pt x="36" y="28"/>
                  </a:lnTo>
                  <a:lnTo>
                    <a:pt x="39" y="32"/>
                  </a:lnTo>
                  <a:lnTo>
                    <a:pt x="40" y="36"/>
                  </a:lnTo>
                  <a:lnTo>
                    <a:pt x="39" y="39"/>
                  </a:lnTo>
                  <a:lnTo>
                    <a:pt x="38" y="41"/>
                  </a:lnTo>
                  <a:lnTo>
                    <a:pt x="35" y="44"/>
                  </a:lnTo>
                  <a:lnTo>
                    <a:pt x="31" y="45"/>
                  </a:lnTo>
                  <a:lnTo>
                    <a:pt x="22" y="49"/>
                  </a:lnTo>
                  <a:lnTo>
                    <a:pt x="19" y="50"/>
                  </a:lnTo>
                  <a:lnTo>
                    <a:pt x="15" y="52"/>
                  </a:lnTo>
                  <a:lnTo>
                    <a:pt x="15" y="53"/>
                  </a:lnTo>
                  <a:lnTo>
                    <a:pt x="16" y="54"/>
                  </a:lnTo>
                  <a:lnTo>
                    <a:pt x="16" y="57"/>
                  </a:lnTo>
                  <a:lnTo>
                    <a:pt x="15" y="59"/>
                  </a:lnTo>
                  <a:lnTo>
                    <a:pt x="14" y="60"/>
                  </a:lnTo>
                  <a:lnTo>
                    <a:pt x="12" y="59"/>
                  </a:lnTo>
                  <a:lnTo>
                    <a:pt x="8" y="59"/>
                  </a:lnTo>
                  <a:lnTo>
                    <a:pt x="6" y="59"/>
                  </a:lnTo>
                  <a:lnTo>
                    <a:pt x="0" y="62"/>
                  </a:lnTo>
                  <a:lnTo>
                    <a:pt x="0" y="63"/>
                  </a:lnTo>
                  <a:lnTo>
                    <a:pt x="7" y="71"/>
                  </a:lnTo>
                  <a:lnTo>
                    <a:pt x="11" y="75"/>
                  </a:lnTo>
                  <a:lnTo>
                    <a:pt x="16" y="76"/>
                  </a:lnTo>
                  <a:lnTo>
                    <a:pt x="28" y="77"/>
                  </a:lnTo>
                  <a:lnTo>
                    <a:pt x="39" y="76"/>
                  </a:lnTo>
                  <a:lnTo>
                    <a:pt x="44" y="75"/>
                  </a:lnTo>
                  <a:lnTo>
                    <a:pt x="49" y="72"/>
                  </a:lnTo>
                  <a:lnTo>
                    <a:pt x="53" y="69"/>
                  </a:lnTo>
                  <a:lnTo>
                    <a:pt x="55" y="63"/>
                  </a:lnTo>
                  <a:lnTo>
                    <a:pt x="55" y="62"/>
                  </a:lnTo>
                  <a:lnTo>
                    <a:pt x="58" y="62"/>
                  </a:lnTo>
                  <a:lnTo>
                    <a:pt x="62" y="59"/>
                  </a:lnTo>
                  <a:lnTo>
                    <a:pt x="63" y="58"/>
                  </a:lnTo>
                  <a:lnTo>
                    <a:pt x="64" y="56"/>
                  </a:lnTo>
                  <a:lnTo>
                    <a:pt x="64" y="51"/>
                  </a:lnTo>
                  <a:lnTo>
                    <a:pt x="66" y="49"/>
                  </a:lnTo>
                  <a:lnTo>
                    <a:pt x="68" y="46"/>
                  </a:lnTo>
                  <a:lnTo>
                    <a:pt x="87" y="37"/>
                  </a:lnTo>
                  <a:lnTo>
                    <a:pt x="97" y="31"/>
                  </a:lnTo>
                  <a:lnTo>
                    <a:pt x="101" y="27"/>
                  </a:lnTo>
                  <a:lnTo>
                    <a:pt x="105" y="22"/>
                  </a:lnTo>
                  <a:lnTo>
                    <a:pt x="109" y="20"/>
                  </a:lnTo>
                  <a:lnTo>
                    <a:pt x="113" y="18"/>
                  </a:lnTo>
                  <a:lnTo>
                    <a:pt x="116" y="17"/>
                  </a:lnTo>
                  <a:lnTo>
                    <a:pt x="121" y="17"/>
                  </a:lnTo>
                  <a:lnTo>
                    <a:pt x="130" y="17"/>
                  </a:lnTo>
                  <a:lnTo>
                    <a:pt x="141" y="18"/>
                  </a:lnTo>
                  <a:lnTo>
                    <a:pt x="142" y="17"/>
                  </a:lnTo>
                  <a:lnTo>
                    <a:pt x="143" y="17"/>
                  </a:lnTo>
                  <a:lnTo>
                    <a:pt x="133" y="12"/>
                  </a:lnTo>
                  <a:lnTo>
                    <a:pt x="124" y="7"/>
                  </a:lnTo>
                  <a:lnTo>
                    <a:pt x="119" y="5"/>
                  </a:lnTo>
                  <a:lnTo>
                    <a:pt x="114" y="5"/>
                  </a:lnTo>
                  <a:lnTo>
                    <a:pt x="109" y="5"/>
                  </a:lnTo>
                  <a:lnTo>
                    <a:pt x="104" y="6"/>
                  </a:lnTo>
                  <a:lnTo>
                    <a:pt x="99" y="8"/>
                  </a:lnTo>
                  <a:lnTo>
                    <a:pt x="95" y="11"/>
                  </a:lnTo>
                  <a:lnTo>
                    <a:pt x="90" y="14"/>
                  </a:lnTo>
                  <a:lnTo>
                    <a:pt x="83" y="15"/>
                  </a:lnTo>
                  <a:lnTo>
                    <a:pt x="92"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8" name="Freeform 1297"/>
            <p:cNvSpPr>
              <a:spLocks/>
            </p:cNvSpPr>
            <p:nvPr/>
          </p:nvSpPr>
          <p:spPr bwMode="auto">
            <a:xfrm>
              <a:off x="1838325" y="2608264"/>
              <a:ext cx="76200" cy="131762"/>
            </a:xfrm>
            <a:custGeom>
              <a:avLst/>
              <a:gdLst>
                <a:gd name="T0" fmla="*/ 2147483647 w 52"/>
                <a:gd name="T1" fmla="*/ 2147483647 h 83"/>
                <a:gd name="T2" fmla="*/ 2147483647 w 52"/>
                <a:gd name="T3" fmla="*/ 2147483647 h 83"/>
                <a:gd name="T4" fmla="*/ 2147483647 w 52"/>
                <a:gd name="T5" fmla="*/ 2147483647 h 83"/>
                <a:gd name="T6" fmla="*/ 2147483647 w 52"/>
                <a:gd name="T7" fmla="*/ 2147483647 h 83"/>
                <a:gd name="T8" fmla="*/ 2147483647 w 52"/>
                <a:gd name="T9" fmla="*/ 2147483647 h 83"/>
                <a:gd name="T10" fmla="*/ 2147483647 w 52"/>
                <a:gd name="T11" fmla="*/ 2147483647 h 83"/>
                <a:gd name="T12" fmla="*/ 2147483647 w 52"/>
                <a:gd name="T13" fmla="*/ 2147483647 h 83"/>
                <a:gd name="T14" fmla="*/ 2147483647 w 52"/>
                <a:gd name="T15" fmla="*/ 2147483647 h 83"/>
                <a:gd name="T16" fmla="*/ 2147483647 w 52"/>
                <a:gd name="T17" fmla="*/ 2147483647 h 83"/>
                <a:gd name="T18" fmla="*/ 2147483647 w 52"/>
                <a:gd name="T19" fmla="*/ 2147483647 h 83"/>
                <a:gd name="T20" fmla="*/ 2147483647 w 52"/>
                <a:gd name="T21" fmla="*/ 2147483647 h 83"/>
                <a:gd name="T22" fmla="*/ 2147483647 w 52"/>
                <a:gd name="T23" fmla="*/ 0 h 83"/>
                <a:gd name="T24" fmla="*/ 2147483647 w 52"/>
                <a:gd name="T25" fmla="*/ 0 h 83"/>
                <a:gd name="T26" fmla="*/ 2147483647 w 52"/>
                <a:gd name="T27" fmla="*/ 0 h 83"/>
                <a:gd name="T28" fmla="*/ 2147483647 w 52"/>
                <a:gd name="T29" fmla="*/ 2147483647 h 83"/>
                <a:gd name="T30" fmla="*/ 2147483647 w 52"/>
                <a:gd name="T31" fmla="*/ 2147483647 h 83"/>
                <a:gd name="T32" fmla="*/ 2147483647 w 52"/>
                <a:gd name="T33" fmla="*/ 2147483647 h 83"/>
                <a:gd name="T34" fmla="*/ 2147483647 w 52"/>
                <a:gd name="T35" fmla="*/ 2147483647 h 83"/>
                <a:gd name="T36" fmla="*/ 2147483647 w 52"/>
                <a:gd name="T37" fmla="*/ 2147483647 h 83"/>
                <a:gd name="T38" fmla="*/ 0 w 52"/>
                <a:gd name="T39" fmla="*/ 2147483647 h 83"/>
                <a:gd name="T40" fmla="*/ 0 w 52"/>
                <a:gd name="T41" fmla="*/ 2147483647 h 83"/>
                <a:gd name="T42" fmla="*/ 2147483647 w 52"/>
                <a:gd name="T43" fmla="*/ 2147483647 h 83"/>
                <a:gd name="T44" fmla="*/ 2147483647 w 52"/>
                <a:gd name="T45" fmla="*/ 2147483647 h 83"/>
                <a:gd name="T46" fmla="*/ 2147483647 w 52"/>
                <a:gd name="T47" fmla="*/ 2147483647 h 83"/>
                <a:gd name="T48" fmla="*/ 2147483647 w 52"/>
                <a:gd name="T49" fmla="*/ 2147483647 h 83"/>
                <a:gd name="T50" fmla="*/ 2147483647 w 52"/>
                <a:gd name="T51" fmla="*/ 2147483647 h 83"/>
                <a:gd name="T52" fmla="*/ 2147483647 w 52"/>
                <a:gd name="T53" fmla="*/ 2147483647 h 83"/>
                <a:gd name="T54" fmla="*/ 2147483647 w 52"/>
                <a:gd name="T55" fmla="*/ 2147483647 h 83"/>
                <a:gd name="T56" fmla="*/ 2147483647 w 52"/>
                <a:gd name="T57" fmla="*/ 2147483647 h 83"/>
                <a:gd name="T58" fmla="*/ 2147483647 w 52"/>
                <a:gd name="T59" fmla="*/ 2147483647 h 83"/>
                <a:gd name="T60" fmla="*/ 2147483647 w 52"/>
                <a:gd name="T61" fmla="*/ 2147483647 h 83"/>
                <a:gd name="T62" fmla="*/ 2147483647 w 52"/>
                <a:gd name="T63" fmla="*/ 2147483647 h 83"/>
                <a:gd name="T64" fmla="*/ 2147483647 w 52"/>
                <a:gd name="T65" fmla="*/ 2147483647 h 83"/>
                <a:gd name="T66" fmla="*/ 2147483647 w 52"/>
                <a:gd name="T67" fmla="*/ 2147483647 h 83"/>
                <a:gd name="T68" fmla="*/ 2147483647 w 52"/>
                <a:gd name="T69" fmla="*/ 2147483647 h 83"/>
                <a:gd name="T70" fmla="*/ 2147483647 w 52"/>
                <a:gd name="T71" fmla="*/ 2147483647 h 83"/>
                <a:gd name="T72" fmla="*/ 2147483647 w 52"/>
                <a:gd name="T73" fmla="*/ 2147483647 h 83"/>
                <a:gd name="T74" fmla="*/ 2147483647 w 52"/>
                <a:gd name="T75" fmla="*/ 2147483647 h 83"/>
                <a:gd name="T76" fmla="*/ 2147483647 w 52"/>
                <a:gd name="T77" fmla="*/ 2147483647 h 83"/>
                <a:gd name="T78" fmla="*/ 2147483647 w 52"/>
                <a:gd name="T79" fmla="*/ 2147483647 h 83"/>
                <a:gd name="T80" fmla="*/ 2147483647 w 52"/>
                <a:gd name="T81" fmla="*/ 2147483647 h 83"/>
                <a:gd name="T82" fmla="*/ 2147483647 w 52"/>
                <a:gd name="T83" fmla="*/ 2147483647 h 83"/>
                <a:gd name="T84" fmla="*/ 2147483647 w 52"/>
                <a:gd name="T85" fmla="*/ 2147483647 h 83"/>
                <a:gd name="T86" fmla="*/ 2147483647 w 52"/>
                <a:gd name="T87" fmla="*/ 2147483647 h 83"/>
                <a:gd name="T88" fmla="*/ 2147483647 w 52"/>
                <a:gd name="T89" fmla="*/ 2147483647 h 83"/>
                <a:gd name="T90" fmla="*/ 2147483647 w 52"/>
                <a:gd name="T91" fmla="*/ 2147483647 h 83"/>
                <a:gd name="T92" fmla="*/ 2147483647 w 52"/>
                <a:gd name="T93" fmla="*/ 2147483647 h 83"/>
                <a:gd name="T94" fmla="*/ 2147483647 w 52"/>
                <a:gd name="T95" fmla="*/ 2147483647 h 83"/>
                <a:gd name="T96" fmla="*/ 2147483647 w 52"/>
                <a:gd name="T97" fmla="*/ 2147483647 h 83"/>
                <a:gd name="T98" fmla="*/ 2147483647 w 52"/>
                <a:gd name="T99" fmla="*/ 2147483647 h 83"/>
                <a:gd name="T100" fmla="*/ 2147483647 w 52"/>
                <a:gd name="T101" fmla="*/ 2147483647 h 83"/>
                <a:gd name="T102" fmla="*/ 2147483647 w 52"/>
                <a:gd name="T103" fmla="*/ 2147483647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
                <a:gd name="T157" fmla="*/ 0 h 83"/>
                <a:gd name="T158" fmla="*/ 52 w 52"/>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 h="83">
                  <a:moveTo>
                    <a:pt x="39" y="50"/>
                  </a:moveTo>
                  <a:lnTo>
                    <a:pt x="38" y="46"/>
                  </a:lnTo>
                  <a:lnTo>
                    <a:pt x="35" y="44"/>
                  </a:lnTo>
                  <a:lnTo>
                    <a:pt x="28" y="30"/>
                  </a:lnTo>
                  <a:lnTo>
                    <a:pt x="21" y="17"/>
                  </a:lnTo>
                  <a:lnTo>
                    <a:pt x="20" y="13"/>
                  </a:lnTo>
                  <a:lnTo>
                    <a:pt x="19" y="10"/>
                  </a:lnTo>
                  <a:lnTo>
                    <a:pt x="19" y="6"/>
                  </a:lnTo>
                  <a:lnTo>
                    <a:pt x="17" y="3"/>
                  </a:lnTo>
                  <a:lnTo>
                    <a:pt x="16" y="3"/>
                  </a:lnTo>
                  <a:lnTo>
                    <a:pt x="15" y="3"/>
                  </a:lnTo>
                  <a:lnTo>
                    <a:pt x="12" y="0"/>
                  </a:lnTo>
                  <a:lnTo>
                    <a:pt x="11" y="0"/>
                  </a:lnTo>
                  <a:lnTo>
                    <a:pt x="10" y="0"/>
                  </a:lnTo>
                  <a:lnTo>
                    <a:pt x="6" y="1"/>
                  </a:lnTo>
                  <a:lnTo>
                    <a:pt x="6" y="4"/>
                  </a:lnTo>
                  <a:lnTo>
                    <a:pt x="5" y="6"/>
                  </a:lnTo>
                  <a:lnTo>
                    <a:pt x="3" y="8"/>
                  </a:lnTo>
                  <a:lnTo>
                    <a:pt x="1" y="14"/>
                  </a:lnTo>
                  <a:lnTo>
                    <a:pt x="0" y="17"/>
                  </a:lnTo>
                  <a:lnTo>
                    <a:pt x="0" y="18"/>
                  </a:lnTo>
                  <a:lnTo>
                    <a:pt x="2" y="19"/>
                  </a:lnTo>
                  <a:lnTo>
                    <a:pt x="7" y="19"/>
                  </a:lnTo>
                  <a:lnTo>
                    <a:pt x="10" y="20"/>
                  </a:lnTo>
                  <a:lnTo>
                    <a:pt x="11" y="22"/>
                  </a:lnTo>
                  <a:lnTo>
                    <a:pt x="11" y="24"/>
                  </a:lnTo>
                  <a:lnTo>
                    <a:pt x="10" y="26"/>
                  </a:lnTo>
                  <a:lnTo>
                    <a:pt x="8" y="29"/>
                  </a:lnTo>
                  <a:lnTo>
                    <a:pt x="7" y="31"/>
                  </a:lnTo>
                  <a:lnTo>
                    <a:pt x="7" y="33"/>
                  </a:lnTo>
                  <a:lnTo>
                    <a:pt x="11" y="42"/>
                  </a:lnTo>
                  <a:lnTo>
                    <a:pt x="15" y="45"/>
                  </a:lnTo>
                  <a:lnTo>
                    <a:pt x="16" y="45"/>
                  </a:lnTo>
                  <a:lnTo>
                    <a:pt x="19" y="45"/>
                  </a:lnTo>
                  <a:lnTo>
                    <a:pt x="22" y="44"/>
                  </a:lnTo>
                  <a:lnTo>
                    <a:pt x="24" y="44"/>
                  </a:lnTo>
                  <a:lnTo>
                    <a:pt x="25" y="44"/>
                  </a:lnTo>
                  <a:lnTo>
                    <a:pt x="29" y="49"/>
                  </a:lnTo>
                  <a:lnTo>
                    <a:pt x="31" y="54"/>
                  </a:lnTo>
                  <a:lnTo>
                    <a:pt x="34" y="58"/>
                  </a:lnTo>
                  <a:lnTo>
                    <a:pt x="38" y="63"/>
                  </a:lnTo>
                  <a:lnTo>
                    <a:pt x="40" y="65"/>
                  </a:lnTo>
                  <a:lnTo>
                    <a:pt x="40" y="67"/>
                  </a:lnTo>
                  <a:lnTo>
                    <a:pt x="42" y="72"/>
                  </a:lnTo>
                  <a:lnTo>
                    <a:pt x="40" y="83"/>
                  </a:lnTo>
                  <a:lnTo>
                    <a:pt x="47" y="78"/>
                  </a:lnTo>
                  <a:lnTo>
                    <a:pt x="50" y="75"/>
                  </a:lnTo>
                  <a:lnTo>
                    <a:pt x="52" y="69"/>
                  </a:lnTo>
                  <a:lnTo>
                    <a:pt x="52" y="62"/>
                  </a:lnTo>
                  <a:lnTo>
                    <a:pt x="49" y="58"/>
                  </a:lnTo>
                  <a:lnTo>
                    <a:pt x="47" y="55"/>
                  </a:lnTo>
                  <a:lnTo>
                    <a:pt x="39" y="5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299" name="Freeform 1298"/>
            <p:cNvSpPr>
              <a:spLocks/>
            </p:cNvSpPr>
            <p:nvPr/>
          </p:nvSpPr>
          <p:spPr bwMode="auto">
            <a:xfrm>
              <a:off x="1387476" y="2219326"/>
              <a:ext cx="211138" cy="122238"/>
            </a:xfrm>
            <a:custGeom>
              <a:avLst/>
              <a:gdLst>
                <a:gd name="T0" fmla="*/ 2147483647 w 144"/>
                <a:gd name="T1" fmla="*/ 2147483647 h 77"/>
                <a:gd name="T2" fmla="*/ 2147483647 w 144"/>
                <a:gd name="T3" fmla="*/ 2147483647 h 77"/>
                <a:gd name="T4" fmla="*/ 2147483647 w 144"/>
                <a:gd name="T5" fmla="*/ 2147483647 h 77"/>
                <a:gd name="T6" fmla="*/ 2147483647 w 144"/>
                <a:gd name="T7" fmla="*/ 2147483647 h 77"/>
                <a:gd name="T8" fmla="*/ 2147483647 w 144"/>
                <a:gd name="T9" fmla="*/ 2147483647 h 77"/>
                <a:gd name="T10" fmla="*/ 2147483647 w 144"/>
                <a:gd name="T11" fmla="*/ 2147483647 h 77"/>
                <a:gd name="T12" fmla="*/ 2147483647 w 144"/>
                <a:gd name="T13" fmla="*/ 2147483647 h 77"/>
                <a:gd name="T14" fmla="*/ 2147483647 w 144"/>
                <a:gd name="T15" fmla="*/ 2147483647 h 77"/>
                <a:gd name="T16" fmla="*/ 2147483647 w 144"/>
                <a:gd name="T17" fmla="*/ 2147483647 h 77"/>
                <a:gd name="T18" fmla="*/ 2147483647 w 144"/>
                <a:gd name="T19" fmla="*/ 0 h 77"/>
                <a:gd name="T20" fmla="*/ 2147483647 w 144"/>
                <a:gd name="T21" fmla="*/ 0 h 77"/>
                <a:gd name="T22" fmla="*/ 2147483647 w 144"/>
                <a:gd name="T23" fmla="*/ 2147483647 h 77"/>
                <a:gd name="T24" fmla="*/ 2147483647 w 144"/>
                <a:gd name="T25" fmla="*/ 2147483647 h 77"/>
                <a:gd name="T26" fmla="*/ 2147483647 w 144"/>
                <a:gd name="T27" fmla="*/ 2147483647 h 77"/>
                <a:gd name="T28" fmla="*/ 2147483647 w 144"/>
                <a:gd name="T29" fmla="*/ 2147483647 h 77"/>
                <a:gd name="T30" fmla="*/ 2147483647 w 144"/>
                <a:gd name="T31" fmla="*/ 2147483647 h 77"/>
                <a:gd name="T32" fmla="*/ 2147483647 w 144"/>
                <a:gd name="T33" fmla="*/ 2147483647 h 77"/>
                <a:gd name="T34" fmla="*/ 2147483647 w 144"/>
                <a:gd name="T35" fmla="*/ 2147483647 h 77"/>
                <a:gd name="T36" fmla="*/ 2147483647 w 144"/>
                <a:gd name="T37" fmla="*/ 2147483647 h 77"/>
                <a:gd name="T38" fmla="*/ 2147483647 w 144"/>
                <a:gd name="T39" fmla="*/ 2147483647 h 77"/>
                <a:gd name="T40" fmla="*/ 2147483647 w 144"/>
                <a:gd name="T41" fmla="*/ 2147483647 h 77"/>
                <a:gd name="T42" fmla="*/ 2147483647 w 144"/>
                <a:gd name="T43" fmla="*/ 2147483647 h 77"/>
                <a:gd name="T44" fmla="*/ 2147483647 w 144"/>
                <a:gd name="T45" fmla="*/ 2147483647 h 77"/>
                <a:gd name="T46" fmla="*/ 2147483647 w 144"/>
                <a:gd name="T47" fmla="*/ 2147483647 h 77"/>
                <a:gd name="T48" fmla="*/ 2147483647 w 144"/>
                <a:gd name="T49" fmla="*/ 2147483647 h 77"/>
                <a:gd name="T50" fmla="*/ 2147483647 w 144"/>
                <a:gd name="T51" fmla="*/ 2147483647 h 77"/>
                <a:gd name="T52" fmla="*/ 2147483647 w 144"/>
                <a:gd name="T53" fmla="*/ 2147483647 h 77"/>
                <a:gd name="T54" fmla="*/ 0 w 144"/>
                <a:gd name="T55" fmla="*/ 2147483647 h 77"/>
                <a:gd name="T56" fmla="*/ 0 w 144"/>
                <a:gd name="T57" fmla="*/ 2147483647 h 77"/>
                <a:gd name="T58" fmla="*/ 2147483647 w 144"/>
                <a:gd name="T59" fmla="*/ 2147483647 h 77"/>
                <a:gd name="T60" fmla="*/ 2147483647 w 144"/>
                <a:gd name="T61" fmla="*/ 2147483647 h 77"/>
                <a:gd name="T62" fmla="*/ 2147483647 w 144"/>
                <a:gd name="T63" fmla="*/ 2147483647 h 77"/>
                <a:gd name="T64" fmla="*/ 2147483647 w 144"/>
                <a:gd name="T65" fmla="*/ 2147483647 h 77"/>
                <a:gd name="T66" fmla="*/ 2147483647 w 144"/>
                <a:gd name="T67" fmla="*/ 2147483647 h 77"/>
                <a:gd name="T68" fmla="*/ 2147483647 w 144"/>
                <a:gd name="T69" fmla="*/ 2147483647 h 77"/>
                <a:gd name="T70" fmla="*/ 2147483647 w 144"/>
                <a:gd name="T71" fmla="*/ 2147483647 h 77"/>
                <a:gd name="T72" fmla="*/ 2147483647 w 144"/>
                <a:gd name="T73" fmla="*/ 2147483647 h 77"/>
                <a:gd name="T74" fmla="*/ 2147483647 w 144"/>
                <a:gd name="T75" fmla="*/ 2147483647 h 77"/>
                <a:gd name="T76" fmla="*/ 2147483647 w 144"/>
                <a:gd name="T77" fmla="*/ 2147483647 h 77"/>
                <a:gd name="T78" fmla="*/ 2147483647 w 144"/>
                <a:gd name="T79" fmla="*/ 2147483647 h 77"/>
                <a:gd name="T80" fmla="*/ 2147483647 w 144"/>
                <a:gd name="T81" fmla="*/ 2147483647 h 77"/>
                <a:gd name="T82" fmla="*/ 2147483647 w 144"/>
                <a:gd name="T83" fmla="*/ 2147483647 h 77"/>
                <a:gd name="T84" fmla="*/ 2147483647 w 144"/>
                <a:gd name="T85" fmla="*/ 2147483647 h 77"/>
                <a:gd name="T86" fmla="*/ 2147483647 w 144"/>
                <a:gd name="T87" fmla="*/ 2147483647 h 77"/>
                <a:gd name="T88" fmla="*/ 2147483647 w 144"/>
                <a:gd name="T89" fmla="*/ 2147483647 h 77"/>
                <a:gd name="T90" fmla="*/ 2147483647 w 144"/>
                <a:gd name="T91" fmla="*/ 2147483647 h 77"/>
                <a:gd name="T92" fmla="*/ 2147483647 w 144"/>
                <a:gd name="T93" fmla="*/ 2147483647 h 77"/>
                <a:gd name="T94" fmla="*/ 2147483647 w 144"/>
                <a:gd name="T95" fmla="*/ 2147483647 h 77"/>
                <a:gd name="T96" fmla="*/ 2147483647 w 144"/>
                <a:gd name="T97" fmla="*/ 2147483647 h 77"/>
                <a:gd name="T98" fmla="*/ 2147483647 w 144"/>
                <a:gd name="T99" fmla="*/ 2147483647 h 77"/>
                <a:gd name="T100" fmla="*/ 2147483647 w 144"/>
                <a:gd name="T101" fmla="*/ 2147483647 h 77"/>
                <a:gd name="T102" fmla="*/ 2147483647 w 144"/>
                <a:gd name="T103" fmla="*/ 2147483647 h 77"/>
                <a:gd name="T104" fmla="*/ 2147483647 w 144"/>
                <a:gd name="T105" fmla="*/ 2147483647 h 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4"/>
                <a:gd name="T160" fmla="*/ 0 h 77"/>
                <a:gd name="T161" fmla="*/ 144 w 144"/>
                <a:gd name="T162" fmla="*/ 77 h 7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4" h="77">
                  <a:moveTo>
                    <a:pt x="93" y="13"/>
                  </a:moveTo>
                  <a:lnTo>
                    <a:pt x="93" y="13"/>
                  </a:lnTo>
                  <a:lnTo>
                    <a:pt x="88" y="15"/>
                  </a:lnTo>
                  <a:lnTo>
                    <a:pt x="83" y="16"/>
                  </a:lnTo>
                  <a:lnTo>
                    <a:pt x="79" y="18"/>
                  </a:lnTo>
                  <a:lnTo>
                    <a:pt x="74" y="20"/>
                  </a:lnTo>
                  <a:lnTo>
                    <a:pt x="66" y="27"/>
                  </a:lnTo>
                  <a:lnTo>
                    <a:pt x="61" y="31"/>
                  </a:lnTo>
                  <a:lnTo>
                    <a:pt x="59" y="31"/>
                  </a:lnTo>
                  <a:lnTo>
                    <a:pt x="56" y="31"/>
                  </a:lnTo>
                  <a:lnTo>
                    <a:pt x="55" y="29"/>
                  </a:lnTo>
                  <a:lnTo>
                    <a:pt x="54" y="27"/>
                  </a:lnTo>
                  <a:lnTo>
                    <a:pt x="54" y="25"/>
                  </a:lnTo>
                  <a:lnTo>
                    <a:pt x="51" y="22"/>
                  </a:lnTo>
                  <a:lnTo>
                    <a:pt x="43" y="19"/>
                  </a:lnTo>
                  <a:lnTo>
                    <a:pt x="37" y="13"/>
                  </a:lnTo>
                  <a:lnTo>
                    <a:pt x="26" y="0"/>
                  </a:lnTo>
                  <a:lnTo>
                    <a:pt x="23" y="0"/>
                  </a:lnTo>
                  <a:lnTo>
                    <a:pt x="21" y="1"/>
                  </a:lnTo>
                  <a:lnTo>
                    <a:pt x="19" y="3"/>
                  </a:lnTo>
                  <a:lnTo>
                    <a:pt x="17" y="6"/>
                  </a:lnTo>
                  <a:lnTo>
                    <a:pt x="19" y="7"/>
                  </a:lnTo>
                  <a:lnTo>
                    <a:pt x="21" y="8"/>
                  </a:lnTo>
                  <a:lnTo>
                    <a:pt x="22" y="13"/>
                  </a:lnTo>
                  <a:lnTo>
                    <a:pt x="26" y="16"/>
                  </a:lnTo>
                  <a:lnTo>
                    <a:pt x="32" y="22"/>
                  </a:lnTo>
                  <a:lnTo>
                    <a:pt x="37" y="28"/>
                  </a:lnTo>
                  <a:lnTo>
                    <a:pt x="40" y="32"/>
                  </a:lnTo>
                  <a:lnTo>
                    <a:pt x="41" y="35"/>
                  </a:lnTo>
                  <a:lnTo>
                    <a:pt x="40" y="39"/>
                  </a:lnTo>
                  <a:lnTo>
                    <a:pt x="38" y="41"/>
                  </a:lnTo>
                  <a:lnTo>
                    <a:pt x="36" y="44"/>
                  </a:lnTo>
                  <a:lnTo>
                    <a:pt x="32" y="45"/>
                  </a:lnTo>
                  <a:lnTo>
                    <a:pt x="23" y="48"/>
                  </a:lnTo>
                  <a:lnTo>
                    <a:pt x="19" y="50"/>
                  </a:lnTo>
                  <a:lnTo>
                    <a:pt x="16" y="52"/>
                  </a:lnTo>
                  <a:lnTo>
                    <a:pt x="16" y="53"/>
                  </a:lnTo>
                  <a:lnTo>
                    <a:pt x="17" y="54"/>
                  </a:lnTo>
                  <a:lnTo>
                    <a:pt x="17" y="57"/>
                  </a:lnTo>
                  <a:lnTo>
                    <a:pt x="16" y="59"/>
                  </a:lnTo>
                  <a:lnTo>
                    <a:pt x="14" y="60"/>
                  </a:lnTo>
                  <a:lnTo>
                    <a:pt x="13" y="59"/>
                  </a:lnTo>
                  <a:lnTo>
                    <a:pt x="9" y="59"/>
                  </a:lnTo>
                  <a:lnTo>
                    <a:pt x="7" y="59"/>
                  </a:lnTo>
                  <a:lnTo>
                    <a:pt x="0" y="61"/>
                  </a:lnTo>
                  <a:lnTo>
                    <a:pt x="0" y="63"/>
                  </a:lnTo>
                  <a:lnTo>
                    <a:pt x="8" y="71"/>
                  </a:lnTo>
                  <a:lnTo>
                    <a:pt x="12" y="74"/>
                  </a:lnTo>
                  <a:lnTo>
                    <a:pt x="17" y="76"/>
                  </a:lnTo>
                  <a:lnTo>
                    <a:pt x="28" y="77"/>
                  </a:lnTo>
                  <a:lnTo>
                    <a:pt x="40" y="76"/>
                  </a:lnTo>
                  <a:lnTo>
                    <a:pt x="45" y="74"/>
                  </a:lnTo>
                  <a:lnTo>
                    <a:pt x="50" y="72"/>
                  </a:lnTo>
                  <a:lnTo>
                    <a:pt x="54" y="69"/>
                  </a:lnTo>
                  <a:lnTo>
                    <a:pt x="56" y="63"/>
                  </a:lnTo>
                  <a:lnTo>
                    <a:pt x="56" y="61"/>
                  </a:lnTo>
                  <a:lnTo>
                    <a:pt x="59" y="61"/>
                  </a:lnTo>
                  <a:lnTo>
                    <a:pt x="63" y="59"/>
                  </a:lnTo>
                  <a:lnTo>
                    <a:pt x="64" y="58"/>
                  </a:lnTo>
                  <a:lnTo>
                    <a:pt x="65" y="55"/>
                  </a:lnTo>
                  <a:lnTo>
                    <a:pt x="65" y="51"/>
                  </a:lnTo>
                  <a:lnTo>
                    <a:pt x="66" y="48"/>
                  </a:lnTo>
                  <a:lnTo>
                    <a:pt x="69" y="46"/>
                  </a:lnTo>
                  <a:lnTo>
                    <a:pt x="88" y="37"/>
                  </a:lnTo>
                  <a:lnTo>
                    <a:pt x="98" y="31"/>
                  </a:lnTo>
                  <a:lnTo>
                    <a:pt x="102" y="27"/>
                  </a:lnTo>
                  <a:lnTo>
                    <a:pt x="106" y="22"/>
                  </a:lnTo>
                  <a:lnTo>
                    <a:pt x="110" y="20"/>
                  </a:lnTo>
                  <a:lnTo>
                    <a:pt x="113" y="18"/>
                  </a:lnTo>
                  <a:lnTo>
                    <a:pt x="117" y="16"/>
                  </a:lnTo>
                  <a:lnTo>
                    <a:pt x="122" y="16"/>
                  </a:lnTo>
                  <a:lnTo>
                    <a:pt x="131" y="16"/>
                  </a:lnTo>
                  <a:lnTo>
                    <a:pt x="141" y="18"/>
                  </a:lnTo>
                  <a:lnTo>
                    <a:pt x="143" y="16"/>
                  </a:lnTo>
                  <a:lnTo>
                    <a:pt x="144" y="16"/>
                  </a:lnTo>
                  <a:lnTo>
                    <a:pt x="134" y="12"/>
                  </a:lnTo>
                  <a:lnTo>
                    <a:pt x="125" y="7"/>
                  </a:lnTo>
                  <a:lnTo>
                    <a:pt x="120" y="5"/>
                  </a:lnTo>
                  <a:lnTo>
                    <a:pt x="115" y="5"/>
                  </a:lnTo>
                  <a:lnTo>
                    <a:pt x="110" y="5"/>
                  </a:lnTo>
                  <a:lnTo>
                    <a:pt x="104" y="6"/>
                  </a:lnTo>
                  <a:lnTo>
                    <a:pt x="99" y="8"/>
                  </a:lnTo>
                  <a:lnTo>
                    <a:pt x="96" y="10"/>
                  </a:lnTo>
                  <a:lnTo>
                    <a:pt x="90" y="14"/>
                  </a:lnTo>
                  <a:lnTo>
                    <a:pt x="84" y="15"/>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0" name="Freeform 1299"/>
            <p:cNvSpPr>
              <a:spLocks/>
            </p:cNvSpPr>
            <p:nvPr/>
          </p:nvSpPr>
          <p:spPr bwMode="auto">
            <a:xfrm>
              <a:off x="1836740" y="2606678"/>
              <a:ext cx="76200" cy="131763"/>
            </a:xfrm>
            <a:custGeom>
              <a:avLst/>
              <a:gdLst>
                <a:gd name="T0" fmla="*/ 2147483647 w 52"/>
                <a:gd name="T1" fmla="*/ 2147483647 h 83"/>
                <a:gd name="T2" fmla="*/ 2147483647 w 52"/>
                <a:gd name="T3" fmla="*/ 2147483647 h 83"/>
                <a:gd name="T4" fmla="*/ 2147483647 w 52"/>
                <a:gd name="T5" fmla="*/ 2147483647 h 83"/>
                <a:gd name="T6" fmla="*/ 2147483647 w 52"/>
                <a:gd name="T7" fmla="*/ 2147483647 h 83"/>
                <a:gd name="T8" fmla="*/ 2147483647 w 52"/>
                <a:gd name="T9" fmla="*/ 2147483647 h 83"/>
                <a:gd name="T10" fmla="*/ 2147483647 w 52"/>
                <a:gd name="T11" fmla="*/ 2147483647 h 83"/>
                <a:gd name="T12" fmla="*/ 2147483647 w 52"/>
                <a:gd name="T13" fmla="*/ 2147483647 h 83"/>
                <a:gd name="T14" fmla="*/ 2147483647 w 52"/>
                <a:gd name="T15" fmla="*/ 2147483647 h 83"/>
                <a:gd name="T16" fmla="*/ 2147483647 w 52"/>
                <a:gd name="T17" fmla="*/ 0 h 83"/>
                <a:gd name="T18" fmla="*/ 2147483647 w 52"/>
                <a:gd name="T19" fmla="*/ 0 h 83"/>
                <a:gd name="T20" fmla="*/ 2147483647 w 52"/>
                <a:gd name="T21" fmla="*/ 2147483647 h 83"/>
                <a:gd name="T22" fmla="*/ 2147483647 w 52"/>
                <a:gd name="T23" fmla="*/ 2147483647 h 83"/>
                <a:gd name="T24" fmla="*/ 2147483647 w 52"/>
                <a:gd name="T25" fmla="*/ 2147483647 h 83"/>
                <a:gd name="T26" fmla="*/ 0 w 52"/>
                <a:gd name="T27" fmla="*/ 2147483647 h 83"/>
                <a:gd name="T28" fmla="*/ 2147483647 w 52"/>
                <a:gd name="T29" fmla="*/ 2147483647 h 83"/>
                <a:gd name="T30" fmla="*/ 2147483647 w 52"/>
                <a:gd name="T31" fmla="*/ 2147483647 h 83"/>
                <a:gd name="T32" fmla="*/ 2147483647 w 52"/>
                <a:gd name="T33" fmla="*/ 2147483647 h 83"/>
                <a:gd name="T34" fmla="*/ 2147483647 w 52"/>
                <a:gd name="T35" fmla="*/ 2147483647 h 83"/>
                <a:gd name="T36" fmla="*/ 2147483647 w 52"/>
                <a:gd name="T37" fmla="*/ 2147483647 h 83"/>
                <a:gd name="T38" fmla="*/ 2147483647 w 52"/>
                <a:gd name="T39" fmla="*/ 2147483647 h 83"/>
                <a:gd name="T40" fmla="*/ 2147483647 w 52"/>
                <a:gd name="T41" fmla="*/ 2147483647 h 83"/>
                <a:gd name="T42" fmla="*/ 2147483647 w 52"/>
                <a:gd name="T43" fmla="*/ 2147483647 h 83"/>
                <a:gd name="T44" fmla="*/ 2147483647 w 52"/>
                <a:gd name="T45" fmla="*/ 2147483647 h 83"/>
                <a:gd name="T46" fmla="*/ 2147483647 w 52"/>
                <a:gd name="T47" fmla="*/ 2147483647 h 83"/>
                <a:gd name="T48" fmla="*/ 2147483647 w 52"/>
                <a:gd name="T49" fmla="*/ 2147483647 h 83"/>
                <a:gd name="T50" fmla="*/ 2147483647 w 52"/>
                <a:gd name="T51" fmla="*/ 2147483647 h 83"/>
                <a:gd name="T52" fmla="*/ 2147483647 w 52"/>
                <a:gd name="T53" fmla="*/ 2147483647 h 83"/>
                <a:gd name="T54" fmla="*/ 2147483647 w 52"/>
                <a:gd name="T55" fmla="*/ 2147483647 h 83"/>
                <a:gd name="T56" fmla="*/ 2147483647 w 52"/>
                <a:gd name="T57" fmla="*/ 2147483647 h 83"/>
                <a:gd name="T58" fmla="*/ 2147483647 w 52"/>
                <a:gd name="T59" fmla="*/ 2147483647 h 83"/>
                <a:gd name="T60" fmla="*/ 2147483647 w 52"/>
                <a:gd name="T61" fmla="*/ 2147483647 h 83"/>
                <a:gd name="T62" fmla="*/ 2147483647 w 52"/>
                <a:gd name="T63" fmla="*/ 2147483647 h 83"/>
                <a:gd name="T64" fmla="*/ 2147483647 w 52"/>
                <a:gd name="T65" fmla="*/ 2147483647 h 83"/>
                <a:gd name="T66" fmla="*/ 2147483647 w 52"/>
                <a:gd name="T67" fmla="*/ 2147483647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83"/>
                <a:gd name="T104" fmla="*/ 52 w 52"/>
                <a:gd name="T105" fmla="*/ 83 h 8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83">
                  <a:moveTo>
                    <a:pt x="40" y="50"/>
                  </a:moveTo>
                  <a:lnTo>
                    <a:pt x="40" y="50"/>
                  </a:lnTo>
                  <a:lnTo>
                    <a:pt x="38" y="46"/>
                  </a:lnTo>
                  <a:lnTo>
                    <a:pt x="36" y="44"/>
                  </a:lnTo>
                  <a:lnTo>
                    <a:pt x="28" y="30"/>
                  </a:lnTo>
                  <a:lnTo>
                    <a:pt x="22" y="17"/>
                  </a:lnTo>
                  <a:lnTo>
                    <a:pt x="21" y="13"/>
                  </a:lnTo>
                  <a:lnTo>
                    <a:pt x="19" y="9"/>
                  </a:lnTo>
                  <a:lnTo>
                    <a:pt x="19" y="6"/>
                  </a:lnTo>
                  <a:lnTo>
                    <a:pt x="18" y="2"/>
                  </a:lnTo>
                  <a:lnTo>
                    <a:pt x="17" y="2"/>
                  </a:lnTo>
                  <a:lnTo>
                    <a:pt x="16" y="2"/>
                  </a:lnTo>
                  <a:lnTo>
                    <a:pt x="13" y="0"/>
                  </a:lnTo>
                  <a:lnTo>
                    <a:pt x="12" y="0"/>
                  </a:lnTo>
                  <a:lnTo>
                    <a:pt x="10" y="0"/>
                  </a:lnTo>
                  <a:lnTo>
                    <a:pt x="7" y="1"/>
                  </a:lnTo>
                  <a:lnTo>
                    <a:pt x="7" y="4"/>
                  </a:lnTo>
                  <a:lnTo>
                    <a:pt x="5" y="6"/>
                  </a:lnTo>
                  <a:lnTo>
                    <a:pt x="4" y="8"/>
                  </a:lnTo>
                  <a:lnTo>
                    <a:pt x="2" y="14"/>
                  </a:lnTo>
                  <a:lnTo>
                    <a:pt x="0" y="17"/>
                  </a:lnTo>
                  <a:lnTo>
                    <a:pt x="0" y="18"/>
                  </a:lnTo>
                  <a:lnTo>
                    <a:pt x="3" y="19"/>
                  </a:lnTo>
                  <a:lnTo>
                    <a:pt x="8" y="19"/>
                  </a:lnTo>
                  <a:lnTo>
                    <a:pt x="10" y="20"/>
                  </a:lnTo>
                  <a:lnTo>
                    <a:pt x="12" y="21"/>
                  </a:lnTo>
                  <a:lnTo>
                    <a:pt x="12" y="24"/>
                  </a:lnTo>
                  <a:lnTo>
                    <a:pt x="10" y="26"/>
                  </a:lnTo>
                  <a:lnTo>
                    <a:pt x="9" y="28"/>
                  </a:lnTo>
                  <a:lnTo>
                    <a:pt x="8" y="31"/>
                  </a:lnTo>
                  <a:lnTo>
                    <a:pt x="8" y="33"/>
                  </a:lnTo>
                  <a:lnTo>
                    <a:pt x="12" y="41"/>
                  </a:lnTo>
                  <a:lnTo>
                    <a:pt x="16" y="45"/>
                  </a:lnTo>
                  <a:lnTo>
                    <a:pt x="17" y="45"/>
                  </a:lnTo>
                  <a:lnTo>
                    <a:pt x="19" y="45"/>
                  </a:lnTo>
                  <a:lnTo>
                    <a:pt x="23" y="44"/>
                  </a:lnTo>
                  <a:lnTo>
                    <a:pt x="24" y="44"/>
                  </a:lnTo>
                  <a:lnTo>
                    <a:pt x="26" y="44"/>
                  </a:lnTo>
                  <a:lnTo>
                    <a:pt x="30" y="49"/>
                  </a:lnTo>
                  <a:lnTo>
                    <a:pt x="32" y="53"/>
                  </a:lnTo>
                  <a:lnTo>
                    <a:pt x="35" y="58"/>
                  </a:lnTo>
                  <a:lnTo>
                    <a:pt x="38" y="63"/>
                  </a:lnTo>
                  <a:lnTo>
                    <a:pt x="41" y="65"/>
                  </a:lnTo>
                  <a:lnTo>
                    <a:pt x="41" y="66"/>
                  </a:lnTo>
                  <a:lnTo>
                    <a:pt x="42" y="72"/>
                  </a:lnTo>
                  <a:lnTo>
                    <a:pt x="41" y="83"/>
                  </a:lnTo>
                  <a:lnTo>
                    <a:pt x="47" y="78"/>
                  </a:lnTo>
                  <a:lnTo>
                    <a:pt x="51" y="75"/>
                  </a:lnTo>
                  <a:lnTo>
                    <a:pt x="52" y="69"/>
                  </a:lnTo>
                  <a:lnTo>
                    <a:pt x="52" y="62"/>
                  </a:lnTo>
                  <a:lnTo>
                    <a:pt x="50" y="58"/>
                  </a:lnTo>
                  <a:lnTo>
                    <a:pt x="47" y="55"/>
                  </a:lnTo>
                  <a:lnTo>
                    <a:pt x="40" y="50"/>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1" name="Freeform 1300"/>
            <p:cNvSpPr>
              <a:spLocks/>
            </p:cNvSpPr>
            <p:nvPr/>
          </p:nvSpPr>
          <p:spPr bwMode="auto">
            <a:xfrm>
              <a:off x="2028829" y="2790829"/>
              <a:ext cx="303213" cy="271463"/>
            </a:xfrm>
            <a:custGeom>
              <a:avLst/>
              <a:gdLst>
                <a:gd name="T0" fmla="*/ 2147483647 w 207"/>
                <a:gd name="T1" fmla="*/ 2147483647 h 171"/>
                <a:gd name="T2" fmla="*/ 2147483647 w 207"/>
                <a:gd name="T3" fmla="*/ 2147483647 h 171"/>
                <a:gd name="T4" fmla="*/ 2147483647 w 207"/>
                <a:gd name="T5" fmla="*/ 2147483647 h 171"/>
                <a:gd name="T6" fmla="*/ 2147483647 w 207"/>
                <a:gd name="T7" fmla="*/ 2147483647 h 171"/>
                <a:gd name="T8" fmla="*/ 2147483647 w 207"/>
                <a:gd name="T9" fmla="*/ 2147483647 h 171"/>
                <a:gd name="T10" fmla="*/ 2147483647 w 207"/>
                <a:gd name="T11" fmla="*/ 2147483647 h 171"/>
                <a:gd name="T12" fmla="*/ 2147483647 w 207"/>
                <a:gd name="T13" fmla="*/ 2147483647 h 171"/>
                <a:gd name="T14" fmla="*/ 2147483647 w 207"/>
                <a:gd name="T15" fmla="*/ 2147483647 h 171"/>
                <a:gd name="T16" fmla="*/ 2147483647 w 207"/>
                <a:gd name="T17" fmla="*/ 2147483647 h 171"/>
                <a:gd name="T18" fmla="*/ 2147483647 w 207"/>
                <a:gd name="T19" fmla="*/ 2147483647 h 171"/>
                <a:gd name="T20" fmla="*/ 2147483647 w 207"/>
                <a:gd name="T21" fmla="*/ 2147483647 h 171"/>
                <a:gd name="T22" fmla="*/ 2147483647 w 207"/>
                <a:gd name="T23" fmla="*/ 2147483647 h 171"/>
                <a:gd name="T24" fmla="*/ 2147483647 w 207"/>
                <a:gd name="T25" fmla="*/ 2147483647 h 171"/>
                <a:gd name="T26" fmla="*/ 2147483647 w 207"/>
                <a:gd name="T27" fmla="*/ 2147483647 h 171"/>
                <a:gd name="T28" fmla="*/ 2147483647 w 207"/>
                <a:gd name="T29" fmla="*/ 2147483647 h 171"/>
                <a:gd name="T30" fmla="*/ 2147483647 w 207"/>
                <a:gd name="T31" fmla="*/ 2147483647 h 171"/>
                <a:gd name="T32" fmla="*/ 2147483647 w 207"/>
                <a:gd name="T33" fmla="*/ 2147483647 h 171"/>
                <a:gd name="T34" fmla="*/ 2147483647 w 207"/>
                <a:gd name="T35" fmla="*/ 2147483647 h 171"/>
                <a:gd name="T36" fmla="*/ 2147483647 w 207"/>
                <a:gd name="T37" fmla="*/ 2147483647 h 171"/>
                <a:gd name="T38" fmla="*/ 2147483647 w 207"/>
                <a:gd name="T39" fmla="*/ 2147483647 h 171"/>
                <a:gd name="T40" fmla="*/ 2147483647 w 207"/>
                <a:gd name="T41" fmla="*/ 2147483647 h 171"/>
                <a:gd name="T42" fmla="*/ 2147483647 w 207"/>
                <a:gd name="T43" fmla="*/ 2147483647 h 171"/>
                <a:gd name="T44" fmla="*/ 2147483647 w 207"/>
                <a:gd name="T45" fmla="*/ 2147483647 h 171"/>
                <a:gd name="T46" fmla="*/ 2147483647 w 207"/>
                <a:gd name="T47" fmla="*/ 2147483647 h 171"/>
                <a:gd name="T48" fmla="*/ 2147483647 w 207"/>
                <a:gd name="T49" fmla="*/ 2147483647 h 171"/>
                <a:gd name="T50" fmla="*/ 2147483647 w 207"/>
                <a:gd name="T51" fmla="*/ 2147483647 h 171"/>
                <a:gd name="T52" fmla="*/ 2147483647 w 207"/>
                <a:gd name="T53" fmla="*/ 2147483647 h 171"/>
                <a:gd name="T54" fmla="*/ 2147483647 w 207"/>
                <a:gd name="T55" fmla="*/ 2147483647 h 171"/>
                <a:gd name="T56" fmla="*/ 2147483647 w 207"/>
                <a:gd name="T57" fmla="*/ 2147483647 h 171"/>
                <a:gd name="T58" fmla="*/ 2147483647 w 207"/>
                <a:gd name="T59" fmla="*/ 2147483647 h 171"/>
                <a:gd name="T60" fmla="*/ 2147483647 w 207"/>
                <a:gd name="T61" fmla="*/ 2147483647 h 171"/>
                <a:gd name="T62" fmla="*/ 2147483647 w 207"/>
                <a:gd name="T63" fmla="*/ 2147483647 h 171"/>
                <a:gd name="T64" fmla="*/ 2147483647 w 207"/>
                <a:gd name="T65" fmla="*/ 2147483647 h 171"/>
                <a:gd name="T66" fmla="*/ 2147483647 w 207"/>
                <a:gd name="T67" fmla="*/ 2147483647 h 171"/>
                <a:gd name="T68" fmla="*/ 2147483647 w 207"/>
                <a:gd name="T69" fmla="*/ 2147483647 h 171"/>
                <a:gd name="T70" fmla="*/ 2147483647 w 207"/>
                <a:gd name="T71" fmla="*/ 2147483647 h 171"/>
                <a:gd name="T72" fmla="*/ 2147483647 w 207"/>
                <a:gd name="T73" fmla="*/ 2147483647 h 171"/>
                <a:gd name="T74" fmla="*/ 2147483647 w 207"/>
                <a:gd name="T75" fmla="*/ 2147483647 h 171"/>
                <a:gd name="T76" fmla="*/ 2147483647 w 207"/>
                <a:gd name="T77" fmla="*/ 2147483647 h 171"/>
                <a:gd name="T78" fmla="*/ 2147483647 w 207"/>
                <a:gd name="T79" fmla="*/ 2147483647 h 171"/>
                <a:gd name="T80" fmla="*/ 2147483647 w 207"/>
                <a:gd name="T81" fmla="*/ 2147483647 h 171"/>
                <a:gd name="T82" fmla="*/ 2147483647 w 207"/>
                <a:gd name="T83" fmla="*/ 2147483647 h 171"/>
                <a:gd name="T84" fmla="*/ 2147483647 w 207"/>
                <a:gd name="T85" fmla="*/ 2147483647 h 171"/>
                <a:gd name="T86" fmla="*/ 2147483647 w 207"/>
                <a:gd name="T87" fmla="*/ 2147483647 h 171"/>
                <a:gd name="T88" fmla="*/ 2147483647 w 207"/>
                <a:gd name="T89" fmla="*/ 2147483647 h 171"/>
                <a:gd name="T90" fmla="*/ 2147483647 w 207"/>
                <a:gd name="T91" fmla="*/ 2147483647 h 171"/>
                <a:gd name="T92" fmla="*/ 2147483647 w 207"/>
                <a:gd name="T93" fmla="*/ 2147483647 h 171"/>
                <a:gd name="T94" fmla="*/ 2147483647 w 207"/>
                <a:gd name="T95" fmla="*/ 2147483647 h 171"/>
                <a:gd name="T96" fmla="*/ 2147483647 w 207"/>
                <a:gd name="T97" fmla="*/ 2147483647 h 171"/>
                <a:gd name="T98" fmla="*/ 2147483647 w 207"/>
                <a:gd name="T99" fmla="*/ 2147483647 h 171"/>
                <a:gd name="T100" fmla="*/ 2147483647 w 207"/>
                <a:gd name="T101" fmla="*/ 2147483647 h 171"/>
                <a:gd name="T102" fmla="*/ 0 w 207"/>
                <a:gd name="T103" fmla="*/ 2147483647 h 171"/>
                <a:gd name="T104" fmla="*/ 2147483647 w 207"/>
                <a:gd name="T105" fmla="*/ 2147483647 h 171"/>
                <a:gd name="T106" fmla="*/ 2147483647 w 207"/>
                <a:gd name="T107" fmla="*/ 2147483647 h 171"/>
                <a:gd name="T108" fmla="*/ 2147483647 w 207"/>
                <a:gd name="T109" fmla="*/ 2147483647 h 171"/>
                <a:gd name="T110" fmla="*/ 2147483647 w 207"/>
                <a:gd name="T111" fmla="*/ 2147483647 h 171"/>
                <a:gd name="T112" fmla="*/ 2147483647 w 207"/>
                <a:gd name="T113" fmla="*/ 2147483647 h 171"/>
                <a:gd name="T114" fmla="*/ 2147483647 w 207"/>
                <a:gd name="T115" fmla="*/ 2147483647 h 171"/>
                <a:gd name="T116" fmla="*/ 2147483647 w 207"/>
                <a:gd name="T117" fmla="*/ 2147483647 h 171"/>
                <a:gd name="T118" fmla="*/ 2147483647 w 207"/>
                <a:gd name="T119" fmla="*/ 2147483647 h 1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7"/>
                <a:gd name="T181" fmla="*/ 0 h 171"/>
                <a:gd name="T182" fmla="*/ 207 w 207"/>
                <a:gd name="T183" fmla="*/ 171 h 1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7" h="171">
                  <a:moveTo>
                    <a:pt x="121" y="63"/>
                  </a:moveTo>
                  <a:lnTo>
                    <a:pt x="125" y="69"/>
                  </a:lnTo>
                  <a:lnTo>
                    <a:pt x="126" y="70"/>
                  </a:lnTo>
                  <a:lnTo>
                    <a:pt x="126" y="71"/>
                  </a:lnTo>
                  <a:lnTo>
                    <a:pt x="116" y="74"/>
                  </a:lnTo>
                  <a:lnTo>
                    <a:pt x="106" y="75"/>
                  </a:lnTo>
                  <a:lnTo>
                    <a:pt x="95" y="77"/>
                  </a:lnTo>
                  <a:lnTo>
                    <a:pt x="90" y="80"/>
                  </a:lnTo>
                  <a:lnTo>
                    <a:pt x="85" y="83"/>
                  </a:lnTo>
                  <a:lnTo>
                    <a:pt x="84" y="84"/>
                  </a:lnTo>
                  <a:lnTo>
                    <a:pt x="81" y="84"/>
                  </a:lnTo>
                  <a:lnTo>
                    <a:pt x="76" y="86"/>
                  </a:lnTo>
                  <a:lnTo>
                    <a:pt x="73" y="88"/>
                  </a:lnTo>
                  <a:lnTo>
                    <a:pt x="70" y="90"/>
                  </a:lnTo>
                  <a:lnTo>
                    <a:pt x="69" y="94"/>
                  </a:lnTo>
                  <a:lnTo>
                    <a:pt x="67" y="97"/>
                  </a:lnTo>
                  <a:lnTo>
                    <a:pt x="70" y="100"/>
                  </a:lnTo>
                  <a:lnTo>
                    <a:pt x="73" y="102"/>
                  </a:lnTo>
                  <a:lnTo>
                    <a:pt x="74" y="102"/>
                  </a:lnTo>
                  <a:lnTo>
                    <a:pt x="76" y="101"/>
                  </a:lnTo>
                  <a:lnTo>
                    <a:pt x="78" y="100"/>
                  </a:lnTo>
                  <a:lnTo>
                    <a:pt x="80" y="96"/>
                  </a:lnTo>
                  <a:lnTo>
                    <a:pt x="83" y="95"/>
                  </a:lnTo>
                  <a:lnTo>
                    <a:pt x="81" y="99"/>
                  </a:lnTo>
                  <a:lnTo>
                    <a:pt x="74" y="107"/>
                  </a:lnTo>
                  <a:lnTo>
                    <a:pt x="67" y="115"/>
                  </a:lnTo>
                  <a:lnTo>
                    <a:pt x="65" y="126"/>
                  </a:lnTo>
                  <a:lnTo>
                    <a:pt x="64" y="137"/>
                  </a:lnTo>
                  <a:lnTo>
                    <a:pt x="65" y="146"/>
                  </a:lnTo>
                  <a:lnTo>
                    <a:pt x="67" y="158"/>
                  </a:lnTo>
                  <a:lnTo>
                    <a:pt x="71" y="167"/>
                  </a:lnTo>
                  <a:lnTo>
                    <a:pt x="74" y="171"/>
                  </a:lnTo>
                  <a:lnTo>
                    <a:pt x="76" y="171"/>
                  </a:lnTo>
                  <a:lnTo>
                    <a:pt x="83" y="170"/>
                  </a:lnTo>
                  <a:lnTo>
                    <a:pt x="86" y="166"/>
                  </a:lnTo>
                  <a:lnTo>
                    <a:pt x="90" y="161"/>
                  </a:lnTo>
                  <a:lnTo>
                    <a:pt x="92" y="157"/>
                  </a:lnTo>
                  <a:lnTo>
                    <a:pt x="93" y="152"/>
                  </a:lnTo>
                  <a:lnTo>
                    <a:pt x="93" y="147"/>
                  </a:lnTo>
                  <a:lnTo>
                    <a:pt x="92" y="142"/>
                  </a:lnTo>
                  <a:lnTo>
                    <a:pt x="90" y="139"/>
                  </a:lnTo>
                  <a:lnTo>
                    <a:pt x="86" y="135"/>
                  </a:lnTo>
                  <a:lnTo>
                    <a:pt x="85" y="133"/>
                  </a:lnTo>
                  <a:lnTo>
                    <a:pt x="86" y="131"/>
                  </a:lnTo>
                  <a:lnTo>
                    <a:pt x="88" y="126"/>
                  </a:lnTo>
                  <a:lnTo>
                    <a:pt x="88" y="121"/>
                  </a:lnTo>
                  <a:lnTo>
                    <a:pt x="88" y="116"/>
                  </a:lnTo>
                  <a:lnTo>
                    <a:pt x="89" y="113"/>
                  </a:lnTo>
                  <a:lnTo>
                    <a:pt x="95" y="107"/>
                  </a:lnTo>
                  <a:lnTo>
                    <a:pt x="98" y="105"/>
                  </a:lnTo>
                  <a:lnTo>
                    <a:pt x="99" y="101"/>
                  </a:lnTo>
                  <a:lnTo>
                    <a:pt x="102" y="99"/>
                  </a:lnTo>
                  <a:lnTo>
                    <a:pt x="104" y="97"/>
                  </a:lnTo>
                  <a:lnTo>
                    <a:pt x="109" y="96"/>
                  </a:lnTo>
                  <a:lnTo>
                    <a:pt x="113" y="91"/>
                  </a:lnTo>
                  <a:lnTo>
                    <a:pt x="116" y="88"/>
                  </a:lnTo>
                  <a:lnTo>
                    <a:pt x="118" y="84"/>
                  </a:lnTo>
                  <a:lnTo>
                    <a:pt x="119" y="83"/>
                  </a:lnTo>
                  <a:lnTo>
                    <a:pt x="121" y="82"/>
                  </a:lnTo>
                  <a:lnTo>
                    <a:pt x="123" y="82"/>
                  </a:lnTo>
                  <a:lnTo>
                    <a:pt x="126" y="83"/>
                  </a:lnTo>
                  <a:lnTo>
                    <a:pt x="131" y="87"/>
                  </a:lnTo>
                  <a:lnTo>
                    <a:pt x="136" y="89"/>
                  </a:lnTo>
                  <a:lnTo>
                    <a:pt x="140" y="94"/>
                  </a:lnTo>
                  <a:lnTo>
                    <a:pt x="141" y="97"/>
                  </a:lnTo>
                  <a:lnTo>
                    <a:pt x="142" y="101"/>
                  </a:lnTo>
                  <a:lnTo>
                    <a:pt x="144" y="109"/>
                  </a:lnTo>
                  <a:lnTo>
                    <a:pt x="145" y="113"/>
                  </a:lnTo>
                  <a:lnTo>
                    <a:pt x="147" y="115"/>
                  </a:lnTo>
                  <a:lnTo>
                    <a:pt x="155" y="119"/>
                  </a:lnTo>
                  <a:lnTo>
                    <a:pt x="156" y="120"/>
                  </a:lnTo>
                  <a:lnTo>
                    <a:pt x="156" y="121"/>
                  </a:lnTo>
                  <a:lnTo>
                    <a:pt x="159" y="129"/>
                  </a:lnTo>
                  <a:lnTo>
                    <a:pt x="160" y="133"/>
                  </a:lnTo>
                  <a:lnTo>
                    <a:pt x="164" y="135"/>
                  </a:lnTo>
                  <a:lnTo>
                    <a:pt x="166" y="135"/>
                  </a:lnTo>
                  <a:lnTo>
                    <a:pt x="169" y="135"/>
                  </a:lnTo>
                  <a:lnTo>
                    <a:pt x="172" y="134"/>
                  </a:lnTo>
                  <a:lnTo>
                    <a:pt x="173" y="132"/>
                  </a:lnTo>
                  <a:lnTo>
                    <a:pt x="174" y="122"/>
                  </a:lnTo>
                  <a:lnTo>
                    <a:pt x="175" y="119"/>
                  </a:lnTo>
                  <a:lnTo>
                    <a:pt x="178" y="114"/>
                  </a:lnTo>
                  <a:lnTo>
                    <a:pt x="179" y="112"/>
                  </a:lnTo>
                  <a:lnTo>
                    <a:pt x="180" y="107"/>
                  </a:lnTo>
                  <a:lnTo>
                    <a:pt x="180" y="103"/>
                  </a:lnTo>
                  <a:lnTo>
                    <a:pt x="178" y="99"/>
                  </a:lnTo>
                  <a:lnTo>
                    <a:pt x="180" y="97"/>
                  </a:lnTo>
                  <a:lnTo>
                    <a:pt x="183" y="100"/>
                  </a:lnTo>
                  <a:lnTo>
                    <a:pt x="188" y="106"/>
                  </a:lnTo>
                  <a:lnTo>
                    <a:pt x="193" y="109"/>
                  </a:lnTo>
                  <a:lnTo>
                    <a:pt x="198" y="112"/>
                  </a:lnTo>
                  <a:lnTo>
                    <a:pt x="201" y="112"/>
                  </a:lnTo>
                  <a:lnTo>
                    <a:pt x="203" y="110"/>
                  </a:lnTo>
                  <a:lnTo>
                    <a:pt x="206" y="109"/>
                  </a:lnTo>
                  <a:lnTo>
                    <a:pt x="207" y="106"/>
                  </a:lnTo>
                  <a:lnTo>
                    <a:pt x="207" y="103"/>
                  </a:lnTo>
                  <a:lnTo>
                    <a:pt x="206" y="101"/>
                  </a:lnTo>
                  <a:lnTo>
                    <a:pt x="202" y="95"/>
                  </a:lnTo>
                  <a:lnTo>
                    <a:pt x="198" y="90"/>
                  </a:lnTo>
                  <a:lnTo>
                    <a:pt x="197" y="88"/>
                  </a:lnTo>
                  <a:lnTo>
                    <a:pt x="197" y="84"/>
                  </a:lnTo>
                  <a:lnTo>
                    <a:pt x="197" y="82"/>
                  </a:lnTo>
                  <a:lnTo>
                    <a:pt x="199" y="80"/>
                  </a:lnTo>
                  <a:lnTo>
                    <a:pt x="202" y="78"/>
                  </a:lnTo>
                  <a:lnTo>
                    <a:pt x="205" y="77"/>
                  </a:lnTo>
                  <a:lnTo>
                    <a:pt x="205" y="76"/>
                  </a:lnTo>
                  <a:lnTo>
                    <a:pt x="206" y="74"/>
                  </a:lnTo>
                  <a:lnTo>
                    <a:pt x="205" y="71"/>
                  </a:lnTo>
                  <a:lnTo>
                    <a:pt x="202" y="71"/>
                  </a:lnTo>
                  <a:lnTo>
                    <a:pt x="199" y="70"/>
                  </a:lnTo>
                  <a:lnTo>
                    <a:pt x="192" y="71"/>
                  </a:lnTo>
                  <a:lnTo>
                    <a:pt x="183" y="71"/>
                  </a:lnTo>
                  <a:lnTo>
                    <a:pt x="175" y="71"/>
                  </a:lnTo>
                  <a:lnTo>
                    <a:pt x="168" y="70"/>
                  </a:lnTo>
                  <a:lnTo>
                    <a:pt x="161" y="69"/>
                  </a:lnTo>
                  <a:lnTo>
                    <a:pt x="154" y="69"/>
                  </a:lnTo>
                  <a:lnTo>
                    <a:pt x="147" y="68"/>
                  </a:lnTo>
                  <a:lnTo>
                    <a:pt x="145" y="67"/>
                  </a:lnTo>
                  <a:lnTo>
                    <a:pt x="142" y="64"/>
                  </a:lnTo>
                  <a:lnTo>
                    <a:pt x="139" y="62"/>
                  </a:lnTo>
                  <a:lnTo>
                    <a:pt x="135" y="59"/>
                  </a:lnTo>
                  <a:lnTo>
                    <a:pt x="130" y="52"/>
                  </a:lnTo>
                  <a:lnTo>
                    <a:pt x="126" y="44"/>
                  </a:lnTo>
                  <a:lnTo>
                    <a:pt x="122" y="37"/>
                  </a:lnTo>
                  <a:lnTo>
                    <a:pt x="119" y="35"/>
                  </a:lnTo>
                  <a:lnTo>
                    <a:pt x="116" y="32"/>
                  </a:lnTo>
                  <a:lnTo>
                    <a:pt x="111" y="31"/>
                  </a:lnTo>
                  <a:lnTo>
                    <a:pt x="108" y="29"/>
                  </a:lnTo>
                  <a:lnTo>
                    <a:pt x="100" y="24"/>
                  </a:lnTo>
                  <a:lnTo>
                    <a:pt x="97" y="22"/>
                  </a:lnTo>
                  <a:lnTo>
                    <a:pt x="93" y="18"/>
                  </a:lnTo>
                  <a:lnTo>
                    <a:pt x="90" y="16"/>
                  </a:lnTo>
                  <a:lnTo>
                    <a:pt x="90" y="12"/>
                  </a:lnTo>
                  <a:lnTo>
                    <a:pt x="89" y="10"/>
                  </a:lnTo>
                  <a:lnTo>
                    <a:pt x="86" y="7"/>
                  </a:lnTo>
                  <a:lnTo>
                    <a:pt x="84" y="5"/>
                  </a:lnTo>
                  <a:lnTo>
                    <a:pt x="81" y="5"/>
                  </a:lnTo>
                  <a:lnTo>
                    <a:pt x="78" y="4"/>
                  </a:lnTo>
                  <a:lnTo>
                    <a:pt x="75" y="1"/>
                  </a:lnTo>
                  <a:lnTo>
                    <a:pt x="73" y="0"/>
                  </a:lnTo>
                  <a:lnTo>
                    <a:pt x="70" y="1"/>
                  </a:lnTo>
                  <a:lnTo>
                    <a:pt x="67" y="3"/>
                  </a:lnTo>
                  <a:lnTo>
                    <a:pt x="66" y="5"/>
                  </a:lnTo>
                  <a:lnTo>
                    <a:pt x="64" y="10"/>
                  </a:lnTo>
                  <a:lnTo>
                    <a:pt x="60" y="14"/>
                  </a:lnTo>
                  <a:lnTo>
                    <a:pt x="57" y="17"/>
                  </a:lnTo>
                  <a:lnTo>
                    <a:pt x="55" y="17"/>
                  </a:lnTo>
                  <a:lnTo>
                    <a:pt x="50" y="19"/>
                  </a:lnTo>
                  <a:lnTo>
                    <a:pt x="46" y="22"/>
                  </a:lnTo>
                  <a:lnTo>
                    <a:pt x="39" y="29"/>
                  </a:lnTo>
                  <a:lnTo>
                    <a:pt x="36" y="31"/>
                  </a:lnTo>
                  <a:lnTo>
                    <a:pt x="31" y="33"/>
                  </a:lnTo>
                  <a:lnTo>
                    <a:pt x="20" y="38"/>
                  </a:lnTo>
                  <a:lnTo>
                    <a:pt x="10" y="42"/>
                  </a:lnTo>
                  <a:lnTo>
                    <a:pt x="5" y="44"/>
                  </a:lnTo>
                  <a:lnTo>
                    <a:pt x="0" y="48"/>
                  </a:lnTo>
                  <a:lnTo>
                    <a:pt x="0" y="50"/>
                  </a:lnTo>
                  <a:lnTo>
                    <a:pt x="0" y="51"/>
                  </a:lnTo>
                  <a:lnTo>
                    <a:pt x="3" y="55"/>
                  </a:lnTo>
                  <a:lnTo>
                    <a:pt x="6" y="56"/>
                  </a:lnTo>
                  <a:lnTo>
                    <a:pt x="9" y="55"/>
                  </a:lnTo>
                  <a:lnTo>
                    <a:pt x="12" y="54"/>
                  </a:lnTo>
                  <a:lnTo>
                    <a:pt x="14" y="54"/>
                  </a:lnTo>
                  <a:lnTo>
                    <a:pt x="17" y="57"/>
                  </a:lnTo>
                  <a:lnTo>
                    <a:pt x="19" y="58"/>
                  </a:lnTo>
                  <a:lnTo>
                    <a:pt x="20" y="59"/>
                  </a:lnTo>
                  <a:lnTo>
                    <a:pt x="32" y="58"/>
                  </a:lnTo>
                  <a:lnTo>
                    <a:pt x="43" y="55"/>
                  </a:lnTo>
                  <a:lnTo>
                    <a:pt x="50" y="54"/>
                  </a:lnTo>
                  <a:lnTo>
                    <a:pt x="59" y="54"/>
                  </a:lnTo>
                  <a:lnTo>
                    <a:pt x="66" y="56"/>
                  </a:lnTo>
                  <a:lnTo>
                    <a:pt x="74" y="58"/>
                  </a:lnTo>
                  <a:lnTo>
                    <a:pt x="80" y="59"/>
                  </a:lnTo>
                  <a:lnTo>
                    <a:pt x="86" y="59"/>
                  </a:lnTo>
                  <a:lnTo>
                    <a:pt x="93" y="59"/>
                  </a:lnTo>
                  <a:lnTo>
                    <a:pt x="99" y="61"/>
                  </a:lnTo>
                  <a:lnTo>
                    <a:pt x="104" y="62"/>
                  </a:lnTo>
                  <a:lnTo>
                    <a:pt x="109" y="61"/>
                  </a:lnTo>
                  <a:lnTo>
                    <a:pt x="114" y="61"/>
                  </a:lnTo>
                  <a:lnTo>
                    <a:pt x="119" y="61"/>
                  </a:lnTo>
                  <a:lnTo>
                    <a:pt x="121" y="6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2" name="Freeform 1301"/>
            <p:cNvSpPr>
              <a:spLocks/>
            </p:cNvSpPr>
            <p:nvPr/>
          </p:nvSpPr>
          <p:spPr bwMode="auto">
            <a:xfrm>
              <a:off x="5532441" y="2409829"/>
              <a:ext cx="1036637" cy="854075"/>
            </a:xfrm>
            <a:custGeom>
              <a:avLst/>
              <a:gdLst>
                <a:gd name="T0" fmla="*/ 2147483647 w 708"/>
                <a:gd name="T1" fmla="*/ 2147483647 h 538"/>
                <a:gd name="T2" fmla="*/ 2147483647 w 708"/>
                <a:gd name="T3" fmla="*/ 2147483647 h 538"/>
                <a:gd name="T4" fmla="*/ 2147483647 w 708"/>
                <a:gd name="T5" fmla="*/ 2147483647 h 538"/>
                <a:gd name="T6" fmla="*/ 0 w 708"/>
                <a:gd name="T7" fmla="*/ 2147483647 h 538"/>
                <a:gd name="T8" fmla="*/ 2147483647 w 708"/>
                <a:gd name="T9" fmla="*/ 2147483647 h 538"/>
                <a:gd name="T10" fmla="*/ 2147483647 w 708"/>
                <a:gd name="T11" fmla="*/ 2147483647 h 538"/>
                <a:gd name="T12" fmla="*/ 2147483647 w 708"/>
                <a:gd name="T13" fmla="*/ 2147483647 h 538"/>
                <a:gd name="T14" fmla="*/ 2147483647 w 708"/>
                <a:gd name="T15" fmla="*/ 2147483647 h 538"/>
                <a:gd name="T16" fmla="*/ 2147483647 w 708"/>
                <a:gd name="T17" fmla="*/ 2147483647 h 538"/>
                <a:gd name="T18" fmla="*/ 2147483647 w 708"/>
                <a:gd name="T19" fmla="*/ 2147483647 h 538"/>
                <a:gd name="T20" fmla="*/ 2147483647 w 708"/>
                <a:gd name="T21" fmla="*/ 2147483647 h 538"/>
                <a:gd name="T22" fmla="*/ 2147483647 w 708"/>
                <a:gd name="T23" fmla="*/ 0 h 538"/>
                <a:gd name="T24" fmla="*/ 2147483647 w 708"/>
                <a:gd name="T25" fmla="*/ 2147483647 h 538"/>
                <a:gd name="T26" fmla="*/ 2147483647 w 708"/>
                <a:gd name="T27" fmla="*/ 2147483647 h 538"/>
                <a:gd name="T28" fmla="*/ 2147483647 w 708"/>
                <a:gd name="T29" fmla="*/ 2147483647 h 538"/>
                <a:gd name="T30" fmla="*/ 2147483647 w 708"/>
                <a:gd name="T31" fmla="*/ 2147483647 h 538"/>
                <a:gd name="T32" fmla="*/ 2147483647 w 708"/>
                <a:gd name="T33" fmla="*/ 2147483647 h 538"/>
                <a:gd name="T34" fmla="*/ 2147483647 w 708"/>
                <a:gd name="T35" fmla="*/ 2147483647 h 538"/>
                <a:gd name="T36" fmla="*/ 2147483647 w 708"/>
                <a:gd name="T37" fmla="*/ 2147483647 h 538"/>
                <a:gd name="T38" fmla="*/ 2147483647 w 708"/>
                <a:gd name="T39" fmla="*/ 2147483647 h 538"/>
                <a:gd name="T40" fmla="*/ 2147483647 w 708"/>
                <a:gd name="T41" fmla="*/ 2147483647 h 538"/>
                <a:gd name="T42" fmla="*/ 2147483647 w 708"/>
                <a:gd name="T43" fmla="*/ 2147483647 h 538"/>
                <a:gd name="T44" fmla="*/ 2147483647 w 708"/>
                <a:gd name="T45" fmla="*/ 2147483647 h 538"/>
                <a:gd name="T46" fmla="*/ 2147483647 w 708"/>
                <a:gd name="T47" fmla="*/ 2147483647 h 538"/>
                <a:gd name="T48" fmla="*/ 2147483647 w 708"/>
                <a:gd name="T49" fmla="*/ 2147483647 h 538"/>
                <a:gd name="T50" fmla="*/ 2147483647 w 708"/>
                <a:gd name="T51" fmla="*/ 2147483647 h 538"/>
                <a:gd name="T52" fmla="*/ 2147483647 w 708"/>
                <a:gd name="T53" fmla="*/ 2147483647 h 538"/>
                <a:gd name="T54" fmla="*/ 2147483647 w 708"/>
                <a:gd name="T55" fmla="*/ 2147483647 h 538"/>
                <a:gd name="T56" fmla="*/ 2147483647 w 708"/>
                <a:gd name="T57" fmla="*/ 2147483647 h 538"/>
                <a:gd name="T58" fmla="*/ 2147483647 w 708"/>
                <a:gd name="T59" fmla="*/ 2147483647 h 538"/>
                <a:gd name="T60" fmla="*/ 2147483647 w 708"/>
                <a:gd name="T61" fmla="*/ 2147483647 h 538"/>
                <a:gd name="T62" fmla="*/ 2147483647 w 708"/>
                <a:gd name="T63" fmla="*/ 2147483647 h 538"/>
                <a:gd name="T64" fmla="*/ 2147483647 w 708"/>
                <a:gd name="T65" fmla="*/ 2147483647 h 538"/>
                <a:gd name="T66" fmla="*/ 2147483647 w 708"/>
                <a:gd name="T67" fmla="*/ 2147483647 h 538"/>
                <a:gd name="T68" fmla="*/ 2147483647 w 708"/>
                <a:gd name="T69" fmla="*/ 2147483647 h 538"/>
                <a:gd name="T70" fmla="*/ 2147483647 w 708"/>
                <a:gd name="T71" fmla="*/ 2147483647 h 538"/>
                <a:gd name="T72" fmla="*/ 2147483647 w 708"/>
                <a:gd name="T73" fmla="*/ 2147483647 h 538"/>
                <a:gd name="T74" fmla="*/ 2147483647 w 708"/>
                <a:gd name="T75" fmla="*/ 2147483647 h 538"/>
                <a:gd name="T76" fmla="*/ 2147483647 w 708"/>
                <a:gd name="T77" fmla="*/ 2147483647 h 538"/>
                <a:gd name="T78" fmla="*/ 2147483647 w 708"/>
                <a:gd name="T79" fmla="*/ 2147483647 h 538"/>
                <a:gd name="T80" fmla="*/ 2147483647 w 708"/>
                <a:gd name="T81" fmla="*/ 2147483647 h 538"/>
                <a:gd name="T82" fmla="*/ 2147483647 w 708"/>
                <a:gd name="T83" fmla="*/ 2147483647 h 538"/>
                <a:gd name="T84" fmla="*/ 2147483647 w 708"/>
                <a:gd name="T85" fmla="*/ 2147483647 h 538"/>
                <a:gd name="T86" fmla="*/ 2147483647 w 708"/>
                <a:gd name="T87" fmla="*/ 2147483647 h 538"/>
                <a:gd name="T88" fmla="*/ 2147483647 w 708"/>
                <a:gd name="T89" fmla="*/ 2147483647 h 538"/>
                <a:gd name="T90" fmla="*/ 2147483647 w 708"/>
                <a:gd name="T91" fmla="*/ 2147483647 h 538"/>
                <a:gd name="T92" fmla="*/ 2147483647 w 708"/>
                <a:gd name="T93" fmla="*/ 2147483647 h 538"/>
                <a:gd name="T94" fmla="*/ 2147483647 w 708"/>
                <a:gd name="T95" fmla="*/ 2147483647 h 538"/>
                <a:gd name="T96" fmla="*/ 2147483647 w 708"/>
                <a:gd name="T97" fmla="*/ 2147483647 h 538"/>
                <a:gd name="T98" fmla="*/ 2147483647 w 708"/>
                <a:gd name="T99" fmla="*/ 2147483647 h 538"/>
                <a:gd name="T100" fmla="*/ 2147483647 w 708"/>
                <a:gd name="T101" fmla="*/ 2147483647 h 538"/>
                <a:gd name="T102" fmla="*/ 2147483647 w 708"/>
                <a:gd name="T103" fmla="*/ 2147483647 h 538"/>
                <a:gd name="T104" fmla="*/ 2147483647 w 708"/>
                <a:gd name="T105" fmla="*/ 2147483647 h 538"/>
                <a:gd name="T106" fmla="*/ 2147483647 w 708"/>
                <a:gd name="T107" fmla="*/ 2147483647 h 538"/>
                <a:gd name="T108" fmla="*/ 2147483647 w 708"/>
                <a:gd name="T109" fmla="*/ 2147483647 h 538"/>
                <a:gd name="T110" fmla="*/ 2147483647 w 708"/>
                <a:gd name="T111" fmla="*/ 2147483647 h 538"/>
                <a:gd name="T112" fmla="*/ 2147483647 w 708"/>
                <a:gd name="T113" fmla="*/ 2147483647 h 538"/>
                <a:gd name="T114" fmla="*/ 2147483647 w 708"/>
                <a:gd name="T115" fmla="*/ 2147483647 h 538"/>
                <a:gd name="T116" fmla="*/ 2147483647 w 708"/>
                <a:gd name="T117" fmla="*/ 2147483647 h 5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08"/>
                <a:gd name="T178" fmla="*/ 0 h 538"/>
                <a:gd name="T179" fmla="*/ 708 w 708"/>
                <a:gd name="T180" fmla="*/ 538 h 5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08" h="538">
                  <a:moveTo>
                    <a:pt x="35" y="302"/>
                  </a:moveTo>
                  <a:lnTo>
                    <a:pt x="41" y="295"/>
                  </a:lnTo>
                  <a:lnTo>
                    <a:pt x="54" y="279"/>
                  </a:lnTo>
                  <a:lnTo>
                    <a:pt x="59" y="270"/>
                  </a:lnTo>
                  <a:lnTo>
                    <a:pt x="61" y="262"/>
                  </a:lnTo>
                  <a:lnTo>
                    <a:pt x="62" y="258"/>
                  </a:lnTo>
                  <a:lnTo>
                    <a:pt x="61" y="254"/>
                  </a:lnTo>
                  <a:lnTo>
                    <a:pt x="60" y="252"/>
                  </a:lnTo>
                  <a:lnTo>
                    <a:pt x="57" y="250"/>
                  </a:lnTo>
                  <a:lnTo>
                    <a:pt x="50" y="246"/>
                  </a:lnTo>
                  <a:lnTo>
                    <a:pt x="46" y="243"/>
                  </a:lnTo>
                  <a:lnTo>
                    <a:pt x="43" y="239"/>
                  </a:lnTo>
                  <a:lnTo>
                    <a:pt x="43" y="235"/>
                  </a:lnTo>
                  <a:lnTo>
                    <a:pt x="42" y="232"/>
                  </a:lnTo>
                  <a:lnTo>
                    <a:pt x="41" y="230"/>
                  </a:lnTo>
                  <a:lnTo>
                    <a:pt x="38" y="226"/>
                  </a:lnTo>
                  <a:lnTo>
                    <a:pt x="35" y="224"/>
                  </a:lnTo>
                  <a:lnTo>
                    <a:pt x="24" y="220"/>
                  </a:lnTo>
                  <a:lnTo>
                    <a:pt x="18" y="219"/>
                  </a:lnTo>
                  <a:lnTo>
                    <a:pt x="9" y="218"/>
                  </a:lnTo>
                  <a:lnTo>
                    <a:pt x="7" y="218"/>
                  </a:lnTo>
                  <a:lnTo>
                    <a:pt x="5" y="215"/>
                  </a:lnTo>
                  <a:lnTo>
                    <a:pt x="2" y="206"/>
                  </a:lnTo>
                  <a:lnTo>
                    <a:pt x="0" y="197"/>
                  </a:lnTo>
                  <a:lnTo>
                    <a:pt x="2" y="190"/>
                  </a:lnTo>
                  <a:lnTo>
                    <a:pt x="3" y="184"/>
                  </a:lnTo>
                  <a:lnTo>
                    <a:pt x="5" y="180"/>
                  </a:lnTo>
                  <a:lnTo>
                    <a:pt x="9" y="173"/>
                  </a:lnTo>
                  <a:lnTo>
                    <a:pt x="10" y="170"/>
                  </a:lnTo>
                  <a:lnTo>
                    <a:pt x="9" y="169"/>
                  </a:lnTo>
                  <a:lnTo>
                    <a:pt x="12" y="169"/>
                  </a:lnTo>
                  <a:lnTo>
                    <a:pt x="18" y="173"/>
                  </a:lnTo>
                  <a:lnTo>
                    <a:pt x="22" y="174"/>
                  </a:lnTo>
                  <a:lnTo>
                    <a:pt x="27" y="175"/>
                  </a:lnTo>
                  <a:lnTo>
                    <a:pt x="33" y="175"/>
                  </a:lnTo>
                  <a:lnTo>
                    <a:pt x="38" y="174"/>
                  </a:lnTo>
                  <a:lnTo>
                    <a:pt x="42" y="171"/>
                  </a:lnTo>
                  <a:lnTo>
                    <a:pt x="45" y="168"/>
                  </a:lnTo>
                  <a:lnTo>
                    <a:pt x="45" y="163"/>
                  </a:lnTo>
                  <a:lnTo>
                    <a:pt x="43" y="160"/>
                  </a:lnTo>
                  <a:lnTo>
                    <a:pt x="38" y="152"/>
                  </a:lnTo>
                  <a:lnTo>
                    <a:pt x="37" y="150"/>
                  </a:lnTo>
                  <a:lnTo>
                    <a:pt x="68" y="130"/>
                  </a:lnTo>
                  <a:lnTo>
                    <a:pt x="80" y="117"/>
                  </a:lnTo>
                  <a:lnTo>
                    <a:pt x="92" y="120"/>
                  </a:lnTo>
                  <a:lnTo>
                    <a:pt x="116" y="126"/>
                  </a:lnTo>
                  <a:lnTo>
                    <a:pt x="137" y="144"/>
                  </a:lnTo>
                  <a:lnTo>
                    <a:pt x="162" y="156"/>
                  </a:lnTo>
                  <a:lnTo>
                    <a:pt x="179" y="137"/>
                  </a:lnTo>
                  <a:lnTo>
                    <a:pt x="203" y="141"/>
                  </a:lnTo>
                  <a:lnTo>
                    <a:pt x="220" y="155"/>
                  </a:lnTo>
                  <a:lnTo>
                    <a:pt x="244" y="150"/>
                  </a:lnTo>
                  <a:lnTo>
                    <a:pt x="255" y="144"/>
                  </a:lnTo>
                  <a:lnTo>
                    <a:pt x="263" y="139"/>
                  </a:lnTo>
                  <a:lnTo>
                    <a:pt x="264" y="137"/>
                  </a:lnTo>
                  <a:lnTo>
                    <a:pt x="263" y="136"/>
                  </a:lnTo>
                  <a:lnTo>
                    <a:pt x="253" y="133"/>
                  </a:lnTo>
                  <a:lnTo>
                    <a:pt x="248" y="131"/>
                  </a:lnTo>
                  <a:lnTo>
                    <a:pt x="243" y="126"/>
                  </a:lnTo>
                  <a:lnTo>
                    <a:pt x="239" y="122"/>
                  </a:lnTo>
                  <a:lnTo>
                    <a:pt x="239" y="116"/>
                  </a:lnTo>
                  <a:lnTo>
                    <a:pt x="240" y="111"/>
                  </a:lnTo>
                  <a:lnTo>
                    <a:pt x="242" y="107"/>
                  </a:lnTo>
                  <a:lnTo>
                    <a:pt x="248" y="100"/>
                  </a:lnTo>
                  <a:lnTo>
                    <a:pt x="250" y="98"/>
                  </a:lnTo>
                  <a:lnTo>
                    <a:pt x="244" y="85"/>
                  </a:lnTo>
                  <a:lnTo>
                    <a:pt x="266" y="80"/>
                  </a:lnTo>
                  <a:lnTo>
                    <a:pt x="249" y="59"/>
                  </a:lnTo>
                  <a:lnTo>
                    <a:pt x="286" y="47"/>
                  </a:lnTo>
                  <a:lnTo>
                    <a:pt x="310" y="40"/>
                  </a:lnTo>
                  <a:lnTo>
                    <a:pt x="366" y="21"/>
                  </a:lnTo>
                  <a:lnTo>
                    <a:pt x="395" y="0"/>
                  </a:lnTo>
                  <a:lnTo>
                    <a:pt x="418" y="7"/>
                  </a:lnTo>
                  <a:lnTo>
                    <a:pt x="428" y="41"/>
                  </a:lnTo>
                  <a:lnTo>
                    <a:pt x="451" y="40"/>
                  </a:lnTo>
                  <a:lnTo>
                    <a:pt x="468" y="54"/>
                  </a:lnTo>
                  <a:lnTo>
                    <a:pt x="489" y="55"/>
                  </a:lnTo>
                  <a:lnTo>
                    <a:pt x="509" y="40"/>
                  </a:lnTo>
                  <a:lnTo>
                    <a:pt x="544" y="73"/>
                  </a:lnTo>
                  <a:lnTo>
                    <a:pt x="565" y="125"/>
                  </a:lnTo>
                  <a:lnTo>
                    <a:pt x="581" y="145"/>
                  </a:lnTo>
                  <a:lnTo>
                    <a:pt x="595" y="132"/>
                  </a:lnTo>
                  <a:lnTo>
                    <a:pt x="608" y="145"/>
                  </a:lnTo>
                  <a:lnTo>
                    <a:pt x="624" y="147"/>
                  </a:lnTo>
                  <a:lnTo>
                    <a:pt x="644" y="141"/>
                  </a:lnTo>
                  <a:lnTo>
                    <a:pt x="652" y="155"/>
                  </a:lnTo>
                  <a:lnTo>
                    <a:pt x="661" y="165"/>
                  </a:lnTo>
                  <a:lnTo>
                    <a:pt x="676" y="179"/>
                  </a:lnTo>
                  <a:lnTo>
                    <a:pt x="697" y="186"/>
                  </a:lnTo>
                  <a:lnTo>
                    <a:pt x="708" y="200"/>
                  </a:lnTo>
                  <a:lnTo>
                    <a:pt x="695" y="224"/>
                  </a:lnTo>
                  <a:lnTo>
                    <a:pt x="702" y="228"/>
                  </a:lnTo>
                  <a:lnTo>
                    <a:pt x="685" y="237"/>
                  </a:lnTo>
                  <a:lnTo>
                    <a:pt x="678" y="243"/>
                  </a:lnTo>
                  <a:lnTo>
                    <a:pt x="673" y="245"/>
                  </a:lnTo>
                  <a:lnTo>
                    <a:pt x="669" y="247"/>
                  </a:lnTo>
                  <a:lnTo>
                    <a:pt x="667" y="248"/>
                  </a:lnTo>
                  <a:lnTo>
                    <a:pt x="666" y="252"/>
                  </a:lnTo>
                  <a:lnTo>
                    <a:pt x="664" y="262"/>
                  </a:lnTo>
                  <a:lnTo>
                    <a:pt x="663" y="270"/>
                  </a:lnTo>
                  <a:lnTo>
                    <a:pt x="663" y="273"/>
                  </a:lnTo>
                  <a:lnTo>
                    <a:pt x="662" y="276"/>
                  </a:lnTo>
                  <a:lnTo>
                    <a:pt x="658" y="278"/>
                  </a:lnTo>
                  <a:lnTo>
                    <a:pt x="653" y="280"/>
                  </a:lnTo>
                  <a:lnTo>
                    <a:pt x="644" y="282"/>
                  </a:lnTo>
                  <a:lnTo>
                    <a:pt x="631" y="282"/>
                  </a:lnTo>
                  <a:lnTo>
                    <a:pt x="626" y="282"/>
                  </a:lnTo>
                  <a:lnTo>
                    <a:pt x="622" y="283"/>
                  </a:lnTo>
                  <a:lnTo>
                    <a:pt x="620" y="284"/>
                  </a:lnTo>
                  <a:lnTo>
                    <a:pt x="617" y="288"/>
                  </a:lnTo>
                  <a:lnTo>
                    <a:pt x="615" y="294"/>
                  </a:lnTo>
                  <a:lnTo>
                    <a:pt x="615" y="301"/>
                  </a:lnTo>
                  <a:lnTo>
                    <a:pt x="615" y="308"/>
                  </a:lnTo>
                  <a:lnTo>
                    <a:pt x="617" y="314"/>
                  </a:lnTo>
                  <a:lnTo>
                    <a:pt x="620" y="318"/>
                  </a:lnTo>
                  <a:lnTo>
                    <a:pt x="614" y="320"/>
                  </a:lnTo>
                  <a:lnTo>
                    <a:pt x="593" y="323"/>
                  </a:lnTo>
                  <a:lnTo>
                    <a:pt x="575" y="326"/>
                  </a:lnTo>
                  <a:lnTo>
                    <a:pt x="573" y="327"/>
                  </a:lnTo>
                  <a:lnTo>
                    <a:pt x="573" y="329"/>
                  </a:lnTo>
                  <a:lnTo>
                    <a:pt x="581" y="343"/>
                  </a:lnTo>
                  <a:lnTo>
                    <a:pt x="587" y="355"/>
                  </a:lnTo>
                  <a:lnTo>
                    <a:pt x="587" y="359"/>
                  </a:lnTo>
                  <a:lnTo>
                    <a:pt x="586" y="362"/>
                  </a:lnTo>
                  <a:lnTo>
                    <a:pt x="581" y="371"/>
                  </a:lnTo>
                  <a:lnTo>
                    <a:pt x="574" y="378"/>
                  </a:lnTo>
                  <a:lnTo>
                    <a:pt x="572" y="382"/>
                  </a:lnTo>
                  <a:lnTo>
                    <a:pt x="573" y="386"/>
                  </a:lnTo>
                  <a:lnTo>
                    <a:pt x="575" y="391"/>
                  </a:lnTo>
                  <a:lnTo>
                    <a:pt x="575" y="393"/>
                  </a:lnTo>
                  <a:lnTo>
                    <a:pt x="574" y="395"/>
                  </a:lnTo>
                  <a:lnTo>
                    <a:pt x="572" y="398"/>
                  </a:lnTo>
                  <a:lnTo>
                    <a:pt x="568" y="400"/>
                  </a:lnTo>
                  <a:lnTo>
                    <a:pt x="558" y="406"/>
                  </a:lnTo>
                  <a:lnTo>
                    <a:pt x="550" y="411"/>
                  </a:lnTo>
                  <a:lnTo>
                    <a:pt x="537" y="418"/>
                  </a:lnTo>
                  <a:lnTo>
                    <a:pt x="531" y="420"/>
                  </a:lnTo>
                  <a:lnTo>
                    <a:pt x="523" y="420"/>
                  </a:lnTo>
                  <a:lnTo>
                    <a:pt x="517" y="420"/>
                  </a:lnTo>
                  <a:lnTo>
                    <a:pt x="516" y="423"/>
                  </a:lnTo>
                  <a:lnTo>
                    <a:pt x="515" y="427"/>
                  </a:lnTo>
                  <a:lnTo>
                    <a:pt x="511" y="432"/>
                  </a:lnTo>
                  <a:lnTo>
                    <a:pt x="508" y="435"/>
                  </a:lnTo>
                  <a:lnTo>
                    <a:pt x="506" y="436"/>
                  </a:lnTo>
                  <a:lnTo>
                    <a:pt x="499" y="436"/>
                  </a:lnTo>
                  <a:lnTo>
                    <a:pt x="495" y="433"/>
                  </a:lnTo>
                  <a:lnTo>
                    <a:pt x="492" y="430"/>
                  </a:lnTo>
                  <a:lnTo>
                    <a:pt x="489" y="430"/>
                  </a:lnTo>
                  <a:lnTo>
                    <a:pt x="483" y="432"/>
                  </a:lnTo>
                  <a:lnTo>
                    <a:pt x="474" y="438"/>
                  </a:lnTo>
                  <a:lnTo>
                    <a:pt x="470" y="442"/>
                  </a:lnTo>
                  <a:lnTo>
                    <a:pt x="466" y="450"/>
                  </a:lnTo>
                  <a:lnTo>
                    <a:pt x="464" y="460"/>
                  </a:lnTo>
                  <a:lnTo>
                    <a:pt x="464" y="463"/>
                  </a:lnTo>
                  <a:lnTo>
                    <a:pt x="466" y="467"/>
                  </a:lnTo>
                  <a:lnTo>
                    <a:pt x="470" y="469"/>
                  </a:lnTo>
                  <a:lnTo>
                    <a:pt x="475" y="470"/>
                  </a:lnTo>
                  <a:lnTo>
                    <a:pt x="479" y="470"/>
                  </a:lnTo>
                  <a:lnTo>
                    <a:pt x="483" y="473"/>
                  </a:lnTo>
                  <a:lnTo>
                    <a:pt x="485" y="475"/>
                  </a:lnTo>
                  <a:lnTo>
                    <a:pt x="485" y="476"/>
                  </a:lnTo>
                  <a:lnTo>
                    <a:pt x="484" y="478"/>
                  </a:lnTo>
                  <a:lnTo>
                    <a:pt x="483" y="481"/>
                  </a:lnTo>
                  <a:lnTo>
                    <a:pt x="483" y="483"/>
                  </a:lnTo>
                  <a:lnTo>
                    <a:pt x="484" y="490"/>
                  </a:lnTo>
                  <a:lnTo>
                    <a:pt x="487" y="495"/>
                  </a:lnTo>
                  <a:lnTo>
                    <a:pt x="487" y="496"/>
                  </a:lnTo>
                  <a:lnTo>
                    <a:pt x="487" y="495"/>
                  </a:lnTo>
                  <a:lnTo>
                    <a:pt x="480" y="497"/>
                  </a:lnTo>
                  <a:lnTo>
                    <a:pt x="476" y="499"/>
                  </a:lnTo>
                  <a:lnTo>
                    <a:pt x="473" y="500"/>
                  </a:lnTo>
                  <a:lnTo>
                    <a:pt x="459" y="500"/>
                  </a:lnTo>
                  <a:lnTo>
                    <a:pt x="451" y="501"/>
                  </a:lnTo>
                  <a:lnTo>
                    <a:pt x="447" y="502"/>
                  </a:lnTo>
                  <a:lnTo>
                    <a:pt x="445" y="505"/>
                  </a:lnTo>
                  <a:lnTo>
                    <a:pt x="442" y="506"/>
                  </a:lnTo>
                  <a:lnTo>
                    <a:pt x="440" y="506"/>
                  </a:lnTo>
                  <a:lnTo>
                    <a:pt x="440" y="505"/>
                  </a:lnTo>
                  <a:lnTo>
                    <a:pt x="441" y="496"/>
                  </a:lnTo>
                  <a:lnTo>
                    <a:pt x="441" y="493"/>
                  </a:lnTo>
                  <a:lnTo>
                    <a:pt x="438" y="490"/>
                  </a:lnTo>
                  <a:lnTo>
                    <a:pt x="435" y="488"/>
                  </a:lnTo>
                  <a:lnTo>
                    <a:pt x="432" y="486"/>
                  </a:lnTo>
                  <a:lnTo>
                    <a:pt x="429" y="483"/>
                  </a:lnTo>
                  <a:lnTo>
                    <a:pt x="429" y="482"/>
                  </a:lnTo>
                  <a:lnTo>
                    <a:pt x="431" y="480"/>
                  </a:lnTo>
                  <a:lnTo>
                    <a:pt x="436" y="474"/>
                  </a:lnTo>
                  <a:lnTo>
                    <a:pt x="436" y="473"/>
                  </a:lnTo>
                  <a:lnTo>
                    <a:pt x="433" y="474"/>
                  </a:lnTo>
                  <a:lnTo>
                    <a:pt x="428" y="475"/>
                  </a:lnTo>
                  <a:lnTo>
                    <a:pt x="423" y="477"/>
                  </a:lnTo>
                  <a:lnTo>
                    <a:pt x="418" y="480"/>
                  </a:lnTo>
                  <a:lnTo>
                    <a:pt x="415" y="483"/>
                  </a:lnTo>
                  <a:lnTo>
                    <a:pt x="413" y="487"/>
                  </a:lnTo>
                  <a:lnTo>
                    <a:pt x="408" y="493"/>
                  </a:lnTo>
                  <a:lnTo>
                    <a:pt x="403" y="497"/>
                  </a:lnTo>
                  <a:lnTo>
                    <a:pt x="399" y="500"/>
                  </a:lnTo>
                  <a:lnTo>
                    <a:pt x="395" y="501"/>
                  </a:lnTo>
                  <a:lnTo>
                    <a:pt x="391" y="501"/>
                  </a:lnTo>
                  <a:lnTo>
                    <a:pt x="381" y="502"/>
                  </a:lnTo>
                  <a:lnTo>
                    <a:pt x="374" y="503"/>
                  </a:lnTo>
                  <a:lnTo>
                    <a:pt x="366" y="505"/>
                  </a:lnTo>
                  <a:lnTo>
                    <a:pt x="361" y="505"/>
                  </a:lnTo>
                  <a:lnTo>
                    <a:pt x="355" y="501"/>
                  </a:lnTo>
                  <a:lnTo>
                    <a:pt x="349" y="499"/>
                  </a:lnTo>
                  <a:lnTo>
                    <a:pt x="344" y="497"/>
                  </a:lnTo>
                  <a:lnTo>
                    <a:pt x="342" y="497"/>
                  </a:lnTo>
                  <a:lnTo>
                    <a:pt x="339" y="496"/>
                  </a:lnTo>
                  <a:lnTo>
                    <a:pt x="337" y="494"/>
                  </a:lnTo>
                  <a:lnTo>
                    <a:pt x="335" y="493"/>
                  </a:lnTo>
                  <a:lnTo>
                    <a:pt x="333" y="494"/>
                  </a:lnTo>
                  <a:lnTo>
                    <a:pt x="332" y="496"/>
                  </a:lnTo>
                  <a:lnTo>
                    <a:pt x="329" y="499"/>
                  </a:lnTo>
                  <a:lnTo>
                    <a:pt x="324" y="500"/>
                  </a:lnTo>
                  <a:lnTo>
                    <a:pt x="315" y="502"/>
                  </a:lnTo>
                  <a:lnTo>
                    <a:pt x="311" y="505"/>
                  </a:lnTo>
                  <a:lnTo>
                    <a:pt x="309" y="507"/>
                  </a:lnTo>
                  <a:lnTo>
                    <a:pt x="304" y="518"/>
                  </a:lnTo>
                  <a:lnTo>
                    <a:pt x="300" y="525"/>
                  </a:lnTo>
                  <a:lnTo>
                    <a:pt x="296" y="525"/>
                  </a:lnTo>
                  <a:lnTo>
                    <a:pt x="294" y="525"/>
                  </a:lnTo>
                  <a:lnTo>
                    <a:pt x="291" y="526"/>
                  </a:lnTo>
                  <a:lnTo>
                    <a:pt x="288" y="533"/>
                  </a:lnTo>
                  <a:lnTo>
                    <a:pt x="285" y="537"/>
                  </a:lnTo>
                  <a:lnTo>
                    <a:pt x="283" y="538"/>
                  </a:lnTo>
                  <a:lnTo>
                    <a:pt x="282" y="538"/>
                  </a:lnTo>
                  <a:lnTo>
                    <a:pt x="268" y="535"/>
                  </a:lnTo>
                  <a:lnTo>
                    <a:pt x="255" y="534"/>
                  </a:lnTo>
                  <a:lnTo>
                    <a:pt x="257" y="531"/>
                  </a:lnTo>
                  <a:lnTo>
                    <a:pt x="257" y="525"/>
                  </a:lnTo>
                  <a:lnTo>
                    <a:pt x="255" y="520"/>
                  </a:lnTo>
                  <a:lnTo>
                    <a:pt x="254" y="516"/>
                  </a:lnTo>
                  <a:lnTo>
                    <a:pt x="253" y="514"/>
                  </a:lnTo>
                  <a:lnTo>
                    <a:pt x="249" y="512"/>
                  </a:lnTo>
                  <a:lnTo>
                    <a:pt x="235" y="506"/>
                  </a:lnTo>
                  <a:lnTo>
                    <a:pt x="225" y="500"/>
                  </a:lnTo>
                  <a:lnTo>
                    <a:pt x="215" y="494"/>
                  </a:lnTo>
                  <a:lnTo>
                    <a:pt x="206" y="489"/>
                  </a:lnTo>
                  <a:lnTo>
                    <a:pt x="200" y="488"/>
                  </a:lnTo>
                  <a:lnTo>
                    <a:pt x="193" y="486"/>
                  </a:lnTo>
                  <a:lnTo>
                    <a:pt x="187" y="483"/>
                  </a:lnTo>
                  <a:lnTo>
                    <a:pt x="178" y="480"/>
                  </a:lnTo>
                  <a:lnTo>
                    <a:pt x="154" y="490"/>
                  </a:lnTo>
                  <a:lnTo>
                    <a:pt x="142" y="495"/>
                  </a:lnTo>
                  <a:lnTo>
                    <a:pt x="134" y="497"/>
                  </a:lnTo>
                  <a:lnTo>
                    <a:pt x="132" y="496"/>
                  </a:lnTo>
                  <a:lnTo>
                    <a:pt x="131" y="494"/>
                  </a:lnTo>
                  <a:lnTo>
                    <a:pt x="130" y="486"/>
                  </a:lnTo>
                  <a:lnTo>
                    <a:pt x="130" y="477"/>
                  </a:lnTo>
                  <a:lnTo>
                    <a:pt x="131" y="471"/>
                  </a:lnTo>
                  <a:lnTo>
                    <a:pt x="131" y="470"/>
                  </a:lnTo>
                  <a:lnTo>
                    <a:pt x="130" y="469"/>
                  </a:lnTo>
                  <a:lnTo>
                    <a:pt x="126" y="463"/>
                  </a:lnTo>
                  <a:lnTo>
                    <a:pt x="121" y="458"/>
                  </a:lnTo>
                  <a:lnTo>
                    <a:pt x="121" y="456"/>
                  </a:lnTo>
                  <a:lnTo>
                    <a:pt x="123" y="454"/>
                  </a:lnTo>
                  <a:lnTo>
                    <a:pt x="128" y="451"/>
                  </a:lnTo>
                  <a:lnTo>
                    <a:pt x="131" y="449"/>
                  </a:lnTo>
                  <a:lnTo>
                    <a:pt x="131" y="446"/>
                  </a:lnTo>
                  <a:lnTo>
                    <a:pt x="128" y="445"/>
                  </a:lnTo>
                  <a:lnTo>
                    <a:pt x="120" y="445"/>
                  </a:lnTo>
                  <a:lnTo>
                    <a:pt x="115" y="444"/>
                  </a:lnTo>
                  <a:lnTo>
                    <a:pt x="112" y="443"/>
                  </a:lnTo>
                  <a:lnTo>
                    <a:pt x="112" y="442"/>
                  </a:lnTo>
                  <a:lnTo>
                    <a:pt x="111" y="437"/>
                  </a:lnTo>
                  <a:lnTo>
                    <a:pt x="112" y="433"/>
                  </a:lnTo>
                  <a:lnTo>
                    <a:pt x="113" y="430"/>
                  </a:lnTo>
                  <a:lnTo>
                    <a:pt x="115" y="429"/>
                  </a:lnTo>
                  <a:lnTo>
                    <a:pt x="125" y="432"/>
                  </a:lnTo>
                  <a:lnTo>
                    <a:pt x="127" y="432"/>
                  </a:lnTo>
                  <a:lnTo>
                    <a:pt x="130" y="432"/>
                  </a:lnTo>
                  <a:lnTo>
                    <a:pt x="132" y="431"/>
                  </a:lnTo>
                  <a:lnTo>
                    <a:pt x="134" y="429"/>
                  </a:lnTo>
                  <a:lnTo>
                    <a:pt x="135" y="424"/>
                  </a:lnTo>
                  <a:lnTo>
                    <a:pt x="136" y="419"/>
                  </a:lnTo>
                  <a:lnTo>
                    <a:pt x="135" y="411"/>
                  </a:lnTo>
                  <a:lnTo>
                    <a:pt x="134" y="401"/>
                  </a:lnTo>
                  <a:lnTo>
                    <a:pt x="132" y="397"/>
                  </a:lnTo>
                  <a:lnTo>
                    <a:pt x="131" y="395"/>
                  </a:lnTo>
                  <a:lnTo>
                    <a:pt x="131" y="394"/>
                  </a:lnTo>
                  <a:lnTo>
                    <a:pt x="128" y="395"/>
                  </a:lnTo>
                  <a:lnTo>
                    <a:pt x="123" y="399"/>
                  </a:lnTo>
                  <a:lnTo>
                    <a:pt x="122" y="400"/>
                  </a:lnTo>
                  <a:lnTo>
                    <a:pt x="120" y="400"/>
                  </a:lnTo>
                  <a:lnTo>
                    <a:pt x="118" y="401"/>
                  </a:lnTo>
                  <a:lnTo>
                    <a:pt x="115" y="406"/>
                  </a:lnTo>
                  <a:lnTo>
                    <a:pt x="113" y="410"/>
                  </a:lnTo>
                  <a:lnTo>
                    <a:pt x="112" y="411"/>
                  </a:lnTo>
                  <a:lnTo>
                    <a:pt x="112" y="410"/>
                  </a:lnTo>
                  <a:lnTo>
                    <a:pt x="112" y="411"/>
                  </a:lnTo>
                  <a:lnTo>
                    <a:pt x="109" y="414"/>
                  </a:lnTo>
                  <a:lnTo>
                    <a:pt x="108" y="418"/>
                  </a:lnTo>
                  <a:lnTo>
                    <a:pt x="108" y="419"/>
                  </a:lnTo>
                  <a:lnTo>
                    <a:pt x="107" y="419"/>
                  </a:lnTo>
                  <a:lnTo>
                    <a:pt x="107" y="406"/>
                  </a:lnTo>
                  <a:lnTo>
                    <a:pt x="107" y="397"/>
                  </a:lnTo>
                  <a:lnTo>
                    <a:pt x="109" y="387"/>
                  </a:lnTo>
                  <a:lnTo>
                    <a:pt x="108" y="385"/>
                  </a:lnTo>
                  <a:lnTo>
                    <a:pt x="106" y="381"/>
                  </a:lnTo>
                  <a:lnTo>
                    <a:pt x="101" y="379"/>
                  </a:lnTo>
                  <a:lnTo>
                    <a:pt x="98" y="379"/>
                  </a:lnTo>
                  <a:lnTo>
                    <a:pt x="93" y="380"/>
                  </a:lnTo>
                  <a:lnTo>
                    <a:pt x="90" y="380"/>
                  </a:lnTo>
                  <a:lnTo>
                    <a:pt x="90" y="377"/>
                  </a:lnTo>
                  <a:lnTo>
                    <a:pt x="83" y="380"/>
                  </a:lnTo>
                  <a:lnTo>
                    <a:pt x="79" y="382"/>
                  </a:lnTo>
                  <a:lnTo>
                    <a:pt x="78" y="382"/>
                  </a:lnTo>
                  <a:lnTo>
                    <a:pt x="78" y="381"/>
                  </a:lnTo>
                  <a:lnTo>
                    <a:pt x="80" y="378"/>
                  </a:lnTo>
                  <a:lnTo>
                    <a:pt x="82" y="374"/>
                  </a:lnTo>
                  <a:lnTo>
                    <a:pt x="82" y="371"/>
                  </a:lnTo>
                  <a:lnTo>
                    <a:pt x="75" y="356"/>
                  </a:lnTo>
                  <a:lnTo>
                    <a:pt x="73" y="355"/>
                  </a:lnTo>
                  <a:lnTo>
                    <a:pt x="70" y="353"/>
                  </a:lnTo>
                  <a:lnTo>
                    <a:pt x="68" y="349"/>
                  </a:lnTo>
                  <a:lnTo>
                    <a:pt x="68" y="347"/>
                  </a:lnTo>
                  <a:lnTo>
                    <a:pt x="68" y="346"/>
                  </a:lnTo>
                  <a:lnTo>
                    <a:pt x="69" y="347"/>
                  </a:lnTo>
                  <a:lnTo>
                    <a:pt x="79" y="350"/>
                  </a:lnTo>
                  <a:lnTo>
                    <a:pt x="84" y="350"/>
                  </a:lnTo>
                  <a:lnTo>
                    <a:pt x="85" y="350"/>
                  </a:lnTo>
                  <a:lnTo>
                    <a:pt x="87" y="349"/>
                  </a:lnTo>
                  <a:lnTo>
                    <a:pt x="85" y="345"/>
                  </a:lnTo>
                  <a:lnTo>
                    <a:pt x="84" y="339"/>
                  </a:lnTo>
                  <a:lnTo>
                    <a:pt x="83" y="331"/>
                  </a:lnTo>
                  <a:lnTo>
                    <a:pt x="83" y="328"/>
                  </a:lnTo>
                  <a:lnTo>
                    <a:pt x="87" y="321"/>
                  </a:lnTo>
                  <a:lnTo>
                    <a:pt x="90" y="317"/>
                  </a:lnTo>
                  <a:lnTo>
                    <a:pt x="93" y="316"/>
                  </a:lnTo>
                  <a:lnTo>
                    <a:pt x="97" y="316"/>
                  </a:lnTo>
                  <a:lnTo>
                    <a:pt x="99" y="317"/>
                  </a:lnTo>
                  <a:lnTo>
                    <a:pt x="103" y="318"/>
                  </a:lnTo>
                  <a:lnTo>
                    <a:pt x="115" y="324"/>
                  </a:lnTo>
                  <a:lnTo>
                    <a:pt x="118" y="326"/>
                  </a:lnTo>
                  <a:lnTo>
                    <a:pt x="121" y="326"/>
                  </a:lnTo>
                  <a:lnTo>
                    <a:pt x="123" y="326"/>
                  </a:lnTo>
                  <a:lnTo>
                    <a:pt x="126" y="324"/>
                  </a:lnTo>
                  <a:lnTo>
                    <a:pt x="127" y="322"/>
                  </a:lnTo>
                  <a:lnTo>
                    <a:pt x="128" y="321"/>
                  </a:lnTo>
                  <a:lnTo>
                    <a:pt x="126" y="316"/>
                  </a:lnTo>
                  <a:lnTo>
                    <a:pt x="125" y="312"/>
                  </a:lnTo>
                  <a:lnTo>
                    <a:pt x="126" y="310"/>
                  </a:lnTo>
                  <a:lnTo>
                    <a:pt x="128" y="309"/>
                  </a:lnTo>
                  <a:lnTo>
                    <a:pt x="128" y="308"/>
                  </a:lnTo>
                  <a:lnTo>
                    <a:pt x="128" y="305"/>
                  </a:lnTo>
                  <a:lnTo>
                    <a:pt x="126" y="302"/>
                  </a:lnTo>
                  <a:lnTo>
                    <a:pt x="123" y="298"/>
                  </a:lnTo>
                  <a:lnTo>
                    <a:pt x="118" y="286"/>
                  </a:lnTo>
                  <a:lnTo>
                    <a:pt x="115" y="282"/>
                  </a:lnTo>
                  <a:lnTo>
                    <a:pt x="113" y="279"/>
                  </a:lnTo>
                  <a:lnTo>
                    <a:pt x="111" y="279"/>
                  </a:lnTo>
                  <a:lnTo>
                    <a:pt x="99" y="277"/>
                  </a:lnTo>
                  <a:lnTo>
                    <a:pt x="92" y="276"/>
                  </a:lnTo>
                  <a:lnTo>
                    <a:pt x="84" y="279"/>
                  </a:lnTo>
                  <a:lnTo>
                    <a:pt x="73" y="284"/>
                  </a:lnTo>
                  <a:lnTo>
                    <a:pt x="51" y="294"/>
                  </a:lnTo>
                  <a:lnTo>
                    <a:pt x="35" y="30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3" name="Freeform 1302"/>
            <p:cNvSpPr>
              <a:spLocks/>
            </p:cNvSpPr>
            <p:nvPr/>
          </p:nvSpPr>
          <p:spPr bwMode="auto">
            <a:xfrm>
              <a:off x="2027238" y="2789238"/>
              <a:ext cx="303212" cy="271462"/>
            </a:xfrm>
            <a:custGeom>
              <a:avLst/>
              <a:gdLst>
                <a:gd name="T0" fmla="*/ 2147483647 w 207"/>
                <a:gd name="T1" fmla="*/ 2147483647 h 171"/>
                <a:gd name="T2" fmla="*/ 2147483647 w 207"/>
                <a:gd name="T3" fmla="*/ 2147483647 h 171"/>
                <a:gd name="T4" fmla="*/ 2147483647 w 207"/>
                <a:gd name="T5" fmla="*/ 2147483647 h 171"/>
                <a:gd name="T6" fmla="*/ 2147483647 w 207"/>
                <a:gd name="T7" fmla="*/ 2147483647 h 171"/>
                <a:gd name="T8" fmla="*/ 2147483647 w 207"/>
                <a:gd name="T9" fmla="*/ 2147483647 h 171"/>
                <a:gd name="T10" fmla="*/ 2147483647 w 207"/>
                <a:gd name="T11" fmla="*/ 2147483647 h 171"/>
                <a:gd name="T12" fmla="*/ 2147483647 w 207"/>
                <a:gd name="T13" fmla="*/ 2147483647 h 171"/>
                <a:gd name="T14" fmla="*/ 2147483647 w 207"/>
                <a:gd name="T15" fmla="*/ 2147483647 h 171"/>
                <a:gd name="T16" fmla="*/ 2147483647 w 207"/>
                <a:gd name="T17" fmla="*/ 2147483647 h 171"/>
                <a:gd name="T18" fmla="*/ 2147483647 w 207"/>
                <a:gd name="T19" fmla="*/ 2147483647 h 171"/>
                <a:gd name="T20" fmla="*/ 2147483647 w 207"/>
                <a:gd name="T21" fmla="*/ 2147483647 h 171"/>
                <a:gd name="T22" fmla="*/ 2147483647 w 207"/>
                <a:gd name="T23" fmla="*/ 2147483647 h 171"/>
                <a:gd name="T24" fmla="*/ 2147483647 w 207"/>
                <a:gd name="T25" fmla="*/ 2147483647 h 171"/>
                <a:gd name="T26" fmla="*/ 2147483647 w 207"/>
                <a:gd name="T27" fmla="*/ 2147483647 h 171"/>
                <a:gd name="T28" fmla="*/ 2147483647 w 207"/>
                <a:gd name="T29" fmla="*/ 2147483647 h 171"/>
                <a:gd name="T30" fmla="*/ 2147483647 w 207"/>
                <a:gd name="T31" fmla="*/ 2147483647 h 171"/>
                <a:gd name="T32" fmla="*/ 2147483647 w 207"/>
                <a:gd name="T33" fmla="*/ 2147483647 h 171"/>
                <a:gd name="T34" fmla="*/ 2147483647 w 207"/>
                <a:gd name="T35" fmla="*/ 2147483647 h 171"/>
                <a:gd name="T36" fmla="*/ 2147483647 w 207"/>
                <a:gd name="T37" fmla="*/ 2147483647 h 171"/>
                <a:gd name="T38" fmla="*/ 2147483647 w 207"/>
                <a:gd name="T39" fmla="*/ 2147483647 h 171"/>
                <a:gd name="T40" fmla="*/ 2147483647 w 207"/>
                <a:gd name="T41" fmla="*/ 2147483647 h 171"/>
                <a:gd name="T42" fmla="*/ 2147483647 w 207"/>
                <a:gd name="T43" fmla="*/ 2147483647 h 171"/>
                <a:gd name="T44" fmla="*/ 2147483647 w 207"/>
                <a:gd name="T45" fmla="*/ 2147483647 h 171"/>
                <a:gd name="T46" fmla="*/ 2147483647 w 207"/>
                <a:gd name="T47" fmla="*/ 2147483647 h 171"/>
                <a:gd name="T48" fmla="*/ 2147483647 w 207"/>
                <a:gd name="T49" fmla="*/ 2147483647 h 171"/>
                <a:gd name="T50" fmla="*/ 2147483647 w 207"/>
                <a:gd name="T51" fmla="*/ 2147483647 h 171"/>
                <a:gd name="T52" fmla="*/ 2147483647 w 207"/>
                <a:gd name="T53" fmla="*/ 2147483647 h 171"/>
                <a:gd name="T54" fmla="*/ 2147483647 w 207"/>
                <a:gd name="T55" fmla="*/ 2147483647 h 171"/>
                <a:gd name="T56" fmla="*/ 2147483647 w 207"/>
                <a:gd name="T57" fmla="*/ 2147483647 h 171"/>
                <a:gd name="T58" fmla="*/ 2147483647 w 207"/>
                <a:gd name="T59" fmla="*/ 2147483647 h 171"/>
                <a:gd name="T60" fmla="*/ 2147483647 w 207"/>
                <a:gd name="T61" fmla="*/ 2147483647 h 171"/>
                <a:gd name="T62" fmla="*/ 2147483647 w 207"/>
                <a:gd name="T63" fmla="*/ 2147483647 h 171"/>
                <a:gd name="T64" fmla="*/ 2147483647 w 207"/>
                <a:gd name="T65" fmla="*/ 2147483647 h 171"/>
                <a:gd name="T66" fmla="*/ 2147483647 w 207"/>
                <a:gd name="T67" fmla="*/ 2147483647 h 171"/>
                <a:gd name="T68" fmla="*/ 2147483647 w 207"/>
                <a:gd name="T69" fmla="*/ 2147483647 h 171"/>
                <a:gd name="T70" fmla="*/ 2147483647 w 207"/>
                <a:gd name="T71" fmla="*/ 2147483647 h 171"/>
                <a:gd name="T72" fmla="*/ 2147483647 w 207"/>
                <a:gd name="T73" fmla="*/ 2147483647 h 171"/>
                <a:gd name="T74" fmla="*/ 2147483647 w 207"/>
                <a:gd name="T75" fmla="*/ 2147483647 h 171"/>
                <a:gd name="T76" fmla="*/ 2147483647 w 207"/>
                <a:gd name="T77" fmla="*/ 2147483647 h 171"/>
                <a:gd name="T78" fmla="*/ 2147483647 w 207"/>
                <a:gd name="T79" fmla="*/ 2147483647 h 171"/>
                <a:gd name="T80" fmla="*/ 2147483647 w 207"/>
                <a:gd name="T81" fmla="*/ 2147483647 h 171"/>
                <a:gd name="T82" fmla="*/ 2147483647 w 207"/>
                <a:gd name="T83" fmla="*/ 2147483647 h 171"/>
                <a:gd name="T84" fmla="*/ 2147483647 w 207"/>
                <a:gd name="T85" fmla="*/ 2147483647 h 171"/>
                <a:gd name="T86" fmla="*/ 2147483647 w 207"/>
                <a:gd name="T87" fmla="*/ 2147483647 h 171"/>
                <a:gd name="T88" fmla="*/ 2147483647 w 207"/>
                <a:gd name="T89" fmla="*/ 2147483647 h 171"/>
                <a:gd name="T90" fmla="*/ 2147483647 w 207"/>
                <a:gd name="T91" fmla="*/ 2147483647 h 171"/>
                <a:gd name="T92" fmla="*/ 2147483647 w 207"/>
                <a:gd name="T93" fmla="*/ 2147483647 h 171"/>
                <a:gd name="T94" fmla="*/ 2147483647 w 207"/>
                <a:gd name="T95" fmla="*/ 2147483647 h 171"/>
                <a:gd name="T96" fmla="*/ 2147483647 w 207"/>
                <a:gd name="T97" fmla="*/ 2147483647 h 171"/>
                <a:gd name="T98" fmla="*/ 0 w 207"/>
                <a:gd name="T99" fmla="*/ 2147483647 h 171"/>
                <a:gd name="T100" fmla="*/ 2147483647 w 207"/>
                <a:gd name="T101" fmla="*/ 2147483647 h 171"/>
                <a:gd name="T102" fmla="*/ 2147483647 w 207"/>
                <a:gd name="T103" fmla="*/ 2147483647 h 171"/>
                <a:gd name="T104" fmla="*/ 2147483647 w 207"/>
                <a:gd name="T105" fmla="*/ 2147483647 h 171"/>
                <a:gd name="T106" fmla="*/ 2147483647 w 207"/>
                <a:gd name="T107" fmla="*/ 2147483647 h 171"/>
                <a:gd name="T108" fmla="*/ 2147483647 w 207"/>
                <a:gd name="T109" fmla="*/ 2147483647 h 171"/>
                <a:gd name="T110" fmla="*/ 2147483647 w 207"/>
                <a:gd name="T111" fmla="*/ 2147483647 h 171"/>
                <a:gd name="T112" fmla="*/ 2147483647 w 207"/>
                <a:gd name="T113" fmla="*/ 2147483647 h 1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7"/>
                <a:gd name="T172" fmla="*/ 0 h 171"/>
                <a:gd name="T173" fmla="*/ 207 w 207"/>
                <a:gd name="T174" fmla="*/ 171 h 1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7" h="171">
                  <a:moveTo>
                    <a:pt x="120" y="63"/>
                  </a:moveTo>
                  <a:lnTo>
                    <a:pt x="120" y="63"/>
                  </a:lnTo>
                  <a:lnTo>
                    <a:pt x="124" y="69"/>
                  </a:lnTo>
                  <a:lnTo>
                    <a:pt x="126" y="70"/>
                  </a:lnTo>
                  <a:lnTo>
                    <a:pt x="126" y="71"/>
                  </a:lnTo>
                  <a:lnTo>
                    <a:pt x="115" y="73"/>
                  </a:lnTo>
                  <a:lnTo>
                    <a:pt x="105" y="75"/>
                  </a:lnTo>
                  <a:lnTo>
                    <a:pt x="95" y="77"/>
                  </a:lnTo>
                  <a:lnTo>
                    <a:pt x="90" y="79"/>
                  </a:lnTo>
                  <a:lnTo>
                    <a:pt x="85" y="83"/>
                  </a:lnTo>
                  <a:lnTo>
                    <a:pt x="84" y="84"/>
                  </a:lnTo>
                  <a:lnTo>
                    <a:pt x="81" y="84"/>
                  </a:lnTo>
                  <a:lnTo>
                    <a:pt x="76" y="85"/>
                  </a:lnTo>
                  <a:lnTo>
                    <a:pt x="72" y="88"/>
                  </a:lnTo>
                  <a:lnTo>
                    <a:pt x="70" y="90"/>
                  </a:lnTo>
                  <a:lnTo>
                    <a:pt x="68" y="94"/>
                  </a:lnTo>
                  <a:lnTo>
                    <a:pt x="67" y="97"/>
                  </a:lnTo>
                  <a:lnTo>
                    <a:pt x="70" y="100"/>
                  </a:lnTo>
                  <a:lnTo>
                    <a:pt x="72" y="102"/>
                  </a:lnTo>
                  <a:lnTo>
                    <a:pt x="74" y="102"/>
                  </a:lnTo>
                  <a:lnTo>
                    <a:pt x="76" y="101"/>
                  </a:lnTo>
                  <a:lnTo>
                    <a:pt x="77" y="100"/>
                  </a:lnTo>
                  <a:lnTo>
                    <a:pt x="80" y="96"/>
                  </a:lnTo>
                  <a:lnTo>
                    <a:pt x="82" y="95"/>
                  </a:lnTo>
                  <a:lnTo>
                    <a:pt x="81" y="98"/>
                  </a:lnTo>
                  <a:lnTo>
                    <a:pt x="74" y="107"/>
                  </a:lnTo>
                  <a:lnTo>
                    <a:pt x="67" y="115"/>
                  </a:lnTo>
                  <a:lnTo>
                    <a:pt x="65" y="126"/>
                  </a:lnTo>
                  <a:lnTo>
                    <a:pt x="63" y="136"/>
                  </a:lnTo>
                  <a:lnTo>
                    <a:pt x="65" y="146"/>
                  </a:lnTo>
                  <a:lnTo>
                    <a:pt x="67" y="158"/>
                  </a:lnTo>
                  <a:lnTo>
                    <a:pt x="71" y="167"/>
                  </a:lnTo>
                  <a:lnTo>
                    <a:pt x="74" y="171"/>
                  </a:lnTo>
                  <a:lnTo>
                    <a:pt x="76" y="171"/>
                  </a:lnTo>
                  <a:lnTo>
                    <a:pt x="82" y="170"/>
                  </a:lnTo>
                  <a:lnTo>
                    <a:pt x="86" y="166"/>
                  </a:lnTo>
                  <a:lnTo>
                    <a:pt x="90" y="161"/>
                  </a:lnTo>
                  <a:lnTo>
                    <a:pt x="91" y="156"/>
                  </a:lnTo>
                  <a:lnTo>
                    <a:pt x="93" y="152"/>
                  </a:lnTo>
                  <a:lnTo>
                    <a:pt x="93" y="147"/>
                  </a:lnTo>
                  <a:lnTo>
                    <a:pt x="91" y="142"/>
                  </a:lnTo>
                  <a:lnTo>
                    <a:pt x="90" y="139"/>
                  </a:lnTo>
                  <a:lnTo>
                    <a:pt x="86" y="135"/>
                  </a:lnTo>
                  <a:lnTo>
                    <a:pt x="85" y="133"/>
                  </a:lnTo>
                  <a:lnTo>
                    <a:pt x="86" y="130"/>
                  </a:lnTo>
                  <a:lnTo>
                    <a:pt x="87" y="126"/>
                  </a:lnTo>
                  <a:lnTo>
                    <a:pt x="87" y="121"/>
                  </a:lnTo>
                  <a:lnTo>
                    <a:pt x="87" y="116"/>
                  </a:lnTo>
                  <a:lnTo>
                    <a:pt x="89" y="113"/>
                  </a:lnTo>
                  <a:lnTo>
                    <a:pt x="95" y="107"/>
                  </a:lnTo>
                  <a:lnTo>
                    <a:pt x="98" y="104"/>
                  </a:lnTo>
                  <a:lnTo>
                    <a:pt x="99" y="101"/>
                  </a:lnTo>
                  <a:lnTo>
                    <a:pt x="101" y="98"/>
                  </a:lnTo>
                  <a:lnTo>
                    <a:pt x="104" y="97"/>
                  </a:lnTo>
                  <a:lnTo>
                    <a:pt x="109" y="96"/>
                  </a:lnTo>
                  <a:lnTo>
                    <a:pt x="113" y="91"/>
                  </a:lnTo>
                  <a:lnTo>
                    <a:pt x="115" y="88"/>
                  </a:lnTo>
                  <a:lnTo>
                    <a:pt x="118" y="84"/>
                  </a:lnTo>
                  <a:lnTo>
                    <a:pt x="119" y="83"/>
                  </a:lnTo>
                  <a:lnTo>
                    <a:pt x="120" y="82"/>
                  </a:lnTo>
                  <a:lnTo>
                    <a:pt x="123" y="82"/>
                  </a:lnTo>
                  <a:lnTo>
                    <a:pt x="126" y="83"/>
                  </a:lnTo>
                  <a:lnTo>
                    <a:pt x="131" y="87"/>
                  </a:lnTo>
                  <a:lnTo>
                    <a:pt x="136" y="89"/>
                  </a:lnTo>
                  <a:lnTo>
                    <a:pt x="140" y="94"/>
                  </a:lnTo>
                  <a:lnTo>
                    <a:pt x="141" y="97"/>
                  </a:lnTo>
                  <a:lnTo>
                    <a:pt x="142" y="101"/>
                  </a:lnTo>
                  <a:lnTo>
                    <a:pt x="143" y="109"/>
                  </a:lnTo>
                  <a:lnTo>
                    <a:pt x="145" y="113"/>
                  </a:lnTo>
                  <a:lnTo>
                    <a:pt x="147" y="115"/>
                  </a:lnTo>
                  <a:lnTo>
                    <a:pt x="155" y="119"/>
                  </a:lnTo>
                  <a:lnTo>
                    <a:pt x="156" y="120"/>
                  </a:lnTo>
                  <a:lnTo>
                    <a:pt x="156" y="121"/>
                  </a:lnTo>
                  <a:lnTo>
                    <a:pt x="159" y="129"/>
                  </a:lnTo>
                  <a:lnTo>
                    <a:pt x="160" y="133"/>
                  </a:lnTo>
                  <a:lnTo>
                    <a:pt x="164" y="135"/>
                  </a:lnTo>
                  <a:lnTo>
                    <a:pt x="166" y="135"/>
                  </a:lnTo>
                  <a:lnTo>
                    <a:pt x="169" y="135"/>
                  </a:lnTo>
                  <a:lnTo>
                    <a:pt x="171" y="134"/>
                  </a:lnTo>
                  <a:lnTo>
                    <a:pt x="173" y="132"/>
                  </a:lnTo>
                  <a:lnTo>
                    <a:pt x="174" y="122"/>
                  </a:lnTo>
                  <a:lnTo>
                    <a:pt x="175" y="119"/>
                  </a:lnTo>
                  <a:lnTo>
                    <a:pt x="178" y="114"/>
                  </a:lnTo>
                  <a:lnTo>
                    <a:pt x="179" y="111"/>
                  </a:lnTo>
                  <a:lnTo>
                    <a:pt x="180" y="107"/>
                  </a:lnTo>
                  <a:lnTo>
                    <a:pt x="180" y="103"/>
                  </a:lnTo>
                  <a:lnTo>
                    <a:pt x="178" y="98"/>
                  </a:lnTo>
                  <a:lnTo>
                    <a:pt x="180" y="97"/>
                  </a:lnTo>
                  <a:lnTo>
                    <a:pt x="183" y="100"/>
                  </a:lnTo>
                  <a:lnTo>
                    <a:pt x="188" y="106"/>
                  </a:lnTo>
                  <a:lnTo>
                    <a:pt x="193" y="109"/>
                  </a:lnTo>
                  <a:lnTo>
                    <a:pt x="198" y="111"/>
                  </a:lnTo>
                  <a:lnTo>
                    <a:pt x="200" y="111"/>
                  </a:lnTo>
                  <a:lnTo>
                    <a:pt x="203" y="110"/>
                  </a:lnTo>
                  <a:lnTo>
                    <a:pt x="206" y="109"/>
                  </a:lnTo>
                  <a:lnTo>
                    <a:pt x="207" y="106"/>
                  </a:lnTo>
                  <a:lnTo>
                    <a:pt x="207" y="103"/>
                  </a:lnTo>
                  <a:lnTo>
                    <a:pt x="206" y="101"/>
                  </a:lnTo>
                  <a:lnTo>
                    <a:pt x="202" y="95"/>
                  </a:lnTo>
                  <a:lnTo>
                    <a:pt x="198" y="90"/>
                  </a:lnTo>
                  <a:lnTo>
                    <a:pt x="197" y="88"/>
                  </a:lnTo>
                  <a:lnTo>
                    <a:pt x="197" y="84"/>
                  </a:lnTo>
                  <a:lnTo>
                    <a:pt x="197" y="82"/>
                  </a:lnTo>
                  <a:lnTo>
                    <a:pt x="199" y="79"/>
                  </a:lnTo>
                  <a:lnTo>
                    <a:pt x="202" y="78"/>
                  </a:lnTo>
                  <a:lnTo>
                    <a:pt x="204" y="77"/>
                  </a:lnTo>
                  <a:lnTo>
                    <a:pt x="204" y="76"/>
                  </a:lnTo>
                  <a:lnTo>
                    <a:pt x="206" y="73"/>
                  </a:lnTo>
                  <a:lnTo>
                    <a:pt x="204" y="71"/>
                  </a:lnTo>
                  <a:lnTo>
                    <a:pt x="202" y="71"/>
                  </a:lnTo>
                  <a:lnTo>
                    <a:pt x="199" y="70"/>
                  </a:lnTo>
                  <a:lnTo>
                    <a:pt x="192" y="71"/>
                  </a:lnTo>
                  <a:lnTo>
                    <a:pt x="183" y="71"/>
                  </a:lnTo>
                  <a:lnTo>
                    <a:pt x="175" y="71"/>
                  </a:lnTo>
                  <a:lnTo>
                    <a:pt x="167" y="70"/>
                  </a:lnTo>
                  <a:lnTo>
                    <a:pt x="161" y="69"/>
                  </a:lnTo>
                  <a:lnTo>
                    <a:pt x="154" y="69"/>
                  </a:lnTo>
                  <a:lnTo>
                    <a:pt x="147" y="68"/>
                  </a:lnTo>
                  <a:lnTo>
                    <a:pt x="145" y="66"/>
                  </a:lnTo>
                  <a:lnTo>
                    <a:pt x="142" y="64"/>
                  </a:lnTo>
                  <a:lnTo>
                    <a:pt x="138" y="62"/>
                  </a:lnTo>
                  <a:lnTo>
                    <a:pt x="134" y="59"/>
                  </a:lnTo>
                  <a:lnTo>
                    <a:pt x="129" y="52"/>
                  </a:lnTo>
                  <a:lnTo>
                    <a:pt x="126" y="44"/>
                  </a:lnTo>
                  <a:lnTo>
                    <a:pt x="122" y="37"/>
                  </a:lnTo>
                  <a:lnTo>
                    <a:pt x="119" y="34"/>
                  </a:lnTo>
                  <a:lnTo>
                    <a:pt x="115" y="32"/>
                  </a:lnTo>
                  <a:lnTo>
                    <a:pt x="110" y="31"/>
                  </a:lnTo>
                  <a:lnTo>
                    <a:pt x="108" y="28"/>
                  </a:lnTo>
                  <a:lnTo>
                    <a:pt x="100" y="24"/>
                  </a:lnTo>
                  <a:lnTo>
                    <a:pt x="96" y="21"/>
                  </a:lnTo>
                  <a:lnTo>
                    <a:pt x="93" y="18"/>
                  </a:lnTo>
                  <a:lnTo>
                    <a:pt x="90" y="15"/>
                  </a:lnTo>
                  <a:lnTo>
                    <a:pt x="90" y="12"/>
                  </a:lnTo>
                  <a:lnTo>
                    <a:pt x="89" y="9"/>
                  </a:lnTo>
                  <a:lnTo>
                    <a:pt x="86" y="7"/>
                  </a:lnTo>
                  <a:lnTo>
                    <a:pt x="84" y="5"/>
                  </a:lnTo>
                  <a:lnTo>
                    <a:pt x="81" y="5"/>
                  </a:lnTo>
                  <a:lnTo>
                    <a:pt x="77" y="4"/>
                  </a:lnTo>
                  <a:lnTo>
                    <a:pt x="75" y="1"/>
                  </a:lnTo>
                  <a:lnTo>
                    <a:pt x="72" y="0"/>
                  </a:lnTo>
                  <a:lnTo>
                    <a:pt x="70" y="1"/>
                  </a:lnTo>
                  <a:lnTo>
                    <a:pt x="67" y="2"/>
                  </a:lnTo>
                  <a:lnTo>
                    <a:pt x="66" y="5"/>
                  </a:lnTo>
                  <a:lnTo>
                    <a:pt x="63" y="9"/>
                  </a:lnTo>
                  <a:lnTo>
                    <a:pt x="60" y="14"/>
                  </a:lnTo>
                  <a:lnTo>
                    <a:pt x="57" y="17"/>
                  </a:lnTo>
                  <a:lnTo>
                    <a:pt x="54" y="17"/>
                  </a:lnTo>
                  <a:lnTo>
                    <a:pt x="49" y="19"/>
                  </a:lnTo>
                  <a:lnTo>
                    <a:pt x="46" y="21"/>
                  </a:lnTo>
                  <a:lnTo>
                    <a:pt x="39" y="28"/>
                  </a:lnTo>
                  <a:lnTo>
                    <a:pt x="35" y="31"/>
                  </a:lnTo>
                  <a:lnTo>
                    <a:pt x="30" y="33"/>
                  </a:lnTo>
                  <a:lnTo>
                    <a:pt x="20" y="38"/>
                  </a:lnTo>
                  <a:lnTo>
                    <a:pt x="10" y="41"/>
                  </a:lnTo>
                  <a:lnTo>
                    <a:pt x="5" y="44"/>
                  </a:lnTo>
                  <a:lnTo>
                    <a:pt x="0" y="47"/>
                  </a:lnTo>
                  <a:lnTo>
                    <a:pt x="0" y="50"/>
                  </a:lnTo>
                  <a:lnTo>
                    <a:pt x="0" y="51"/>
                  </a:lnTo>
                  <a:lnTo>
                    <a:pt x="2" y="55"/>
                  </a:lnTo>
                  <a:lnTo>
                    <a:pt x="6" y="56"/>
                  </a:lnTo>
                  <a:lnTo>
                    <a:pt x="9" y="55"/>
                  </a:lnTo>
                  <a:lnTo>
                    <a:pt x="11" y="53"/>
                  </a:lnTo>
                  <a:lnTo>
                    <a:pt x="14" y="53"/>
                  </a:lnTo>
                  <a:lnTo>
                    <a:pt x="16" y="57"/>
                  </a:lnTo>
                  <a:lnTo>
                    <a:pt x="19" y="58"/>
                  </a:lnTo>
                  <a:lnTo>
                    <a:pt x="20" y="59"/>
                  </a:lnTo>
                  <a:lnTo>
                    <a:pt x="32" y="58"/>
                  </a:lnTo>
                  <a:lnTo>
                    <a:pt x="43" y="55"/>
                  </a:lnTo>
                  <a:lnTo>
                    <a:pt x="49" y="53"/>
                  </a:lnTo>
                  <a:lnTo>
                    <a:pt x="58" y="53"/>
                  </a:lnTo>
                  <a:lnTo>
                    <a:pt x="66" y="56"/>
                  </a:lnTo>
                  <a:lnTo>
                    <a:pt x="74" y="58"/>
                  </a:lnTo>
                  <a:lnTo>
                    <a:pt x="80" y="59"/>
                  </a:lnTo>
                  <a:lnTo>
                    <a:pt x="86" y="59"/>
                  </a:lnTo>
                  <a:lnTo>
                    <a:pt x="93" y="59"/>
                  </a:lnTo>
                  <a:lnTo>
                    <a:pt x="99" y="60"/>
                  </a:lnTo>
                  <a:lnTo>
                    <a:pt x="104" y="62"/>
                  </a:lnTo>
                  <a:lnTo>
                    <a:pt x="109" y="60"/>
                  </a:lnTo>
                  <a:lnTo>
                    <a:pt x="114" y="60"/>
                  </a:lnTo>
                  <a:lnTo>
                    <a:pt x="119" y="60"/>
                  </a:lnTo>
                  <a:lnTo>
                    <a:pt x="120" y="6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4" name="Freeform 1303"/>
            <p:cNvSpPr>
              <a:spLocks/>
            </p:cNvSpPr>
            <p:nvPr/>
          </p:nvSpPr>
          <p:spPr bwMode="auto">
            <a:xfrm>
              <a:off x="5530850" y="2406651"/>
              <a:ext cx="1035050" cy="855663"/>
            </a:xfrm>
            <a:custGeom>
              <a:avLst/>
              <a:gdLst>
                <a:gd name="T0" fmla="*/ 2147483647 w 707"/>
                <a:gd name="T1" fmla="*/ 2147483647 h 539"/>
                <a:gd name="T2" fmla="*/ 2147483647 w 707"/>
                <a:gd name="T3" fmla="*/ 2147483647 h 539"/>
                <a:gd name="T4" fmla="*/ 2147483647 w 707"/>
                <a:gd name="T5" fmla="*/ 2147483647 h 539"/>
                <a:gd name="T6" fmla="*/ 0 w 707"/>
                <a:gd name="T7" fmla="*/ 2147483647 h 539"/>
                <a:gd name="T8" fmla="*/ 2147483647 w 707"/>
                <a:gd name="T9" fmla="*/ 2147483647 h 539"/>
                <a:gd name="T10" fmla="*/ 2147483647 w 707"/>
                <a:gd name="T11" fmla="*/ 2147483647 h 539"/>
                <a:gd name="T12" fmla="*/ 2147483647 w 707"/>
                <a:gd name="T13" fmla="*/ 2147483647 h 539"/>
                <a:gd name="T14" fmla="*/ 2147483647 w 707"/>
                <a:gd name="T15" fmla="*/ 2147483647 h 539"/>
                <a:gd name="T16" fmla="*/ 2147483647 w 707"/>
                <a:gd name="T17" fmla="*/ 2147483647 h 539"/>
                <a:gd name="T18" fmla="*/ 2147483647 w 707"/>
                <a:gd name="T19" fmla="*/ 2147483647 h 539"/>
                <a:gd name="T20" fmla="*/ 2147483647 w 707"/>
                <a:gd name="T21" fmla="*/ 2147483647 h 539"/>
                <a:gd name="T22" fmla="*/ 2147483647 w 707"/>
                <a:gd name="T23" fmla="*/ 2147483647 h 539"/>
                <a:gd name="T24" fmla="*/ 2147483647 w 707"/>
                <a:gd name="T25" fmla="*/ 2147483647 h 539"/>
                <a:gd name="T26" fmla="*/ 2147483647 w 707"/>
                <a:gd name="T27" fmla="*/ 2147483647 h 539"/>
                <a:gd name="T28" fmla="*/ 2147483647 w 707"/>
                <a:gd name="T29" fmla="*/ 2147483647 h 539"/>
                <a:gd name="T30" fmla="*/ 2147483647 w 707"/>
                <a:gd name="T31" fmla="*/ 2147483647 h 539"/>
                <a:gd name="T32" fmla="*/ 2147483647 w 707"/>
                <a:gd name="T33" fmla="*/ 2147483647 h 539"/>
                <a:gd name="T34" fmla="*/ 2147483647 w 707"/>
                <a:gd name="T35" fmla="*/ 2147483647 h 539"/>
                <a:gd name="T36" fmla="*/ 2147483647 w 707"/>
                <a:gd name="T37" fmla="*/ 2147483647 h 539"/>
                <a:gd name="T38" fmla="*/ 2147483647 w 707"/>
                <a:gd name="T39" fmla="*/ 2147483647 h 539"/>
                <a:gd name="T40" fmla="*/ 2147483647 w 707"/>
                <a:gd name="T41" fmla="*/ 2147483647 h 539"/>
                <a:gd name="T42" fmla="*/ 2147483647 w 707"/>
                <a:gd name="T43" fmla="*/ 2147483647 h 539"/>
                <a:gd name="T44" fmla="*/ 2147483647 w 707"/>
                <a:gd name="T45" fmla="*/ 2147483647 h 539"/>
                <a:gd name="T46" fmla="*/ 2147483647 w 707"/>
                <a:gd name="T47" fmla="*/ 2147483647 h 539"/>
                <a:gd name="T48" fmla="*/ 2147483647 w 707"/>
                <a:gd name="T49" fmla="*/ 2147483647 h 539"/>
                <a:gd name="T50" fmla="*/ 2147483647 w 707"/>
                <a:gd name="T51" fmla="*/ 2147483647 h 539"/>
                <a:gd name="T52" fmla="*/ 2147483647 w 707"/>
                <a:gd name="T53" fmla="*/ 2147483647 h 539"/>
                <a:gd name="T54" fmla="*/ 2147483647 w 707"/>
                <a:gd name="T55" fmla="*/ 2147483647 h 539"/>
                <a:gd name="T56" fmla="*/ 2147483647 w 707"/>
                <a:gd name="T57" fmla="*/ 2147483647 h 539"/>
                <a:gd name="T58" fmla="*/ 2147483647 w 707"/>
                <a:gd name="T59" fmla="*/ 2147483647 h 539"/>
                <a:gd name="T60" fmla="*/ 2147483647 w 707"/>
                <a:gd name="T61" fmla="*/ 2147483647 h 539"/>
                <a:gd name="T62" fmla="*/ 2147483647 w 707"/>
                <a:gd name="T63" fmla="*/ 2147483647 h 539"/>
                <a:gd name="T64" fmla="*/ 2147483647 w 707"/>
                <a:gd name="T65" fmla="*/ 2147483647 h 539"/>
                <a:gd name="T66" fmla="*/ 2147483647 w 707"/>
                <a:gd name="T67" fmla="*/ 2147483647 h 539"/>
                <a:gd name="T68" fmla="*/ 2147483647 w 707"/>
                <a:gd name="T69" fmla="*/ 2147483647 h 539"/>
                <a:gd name="T70" fmla="*/ 2147483647 w 707"/>
                <a:gd name="T71" fmla="*/ 2147483647 h 539"/>
                <a:gd name="T72" fmla="*/ 2147483647 w 707"/>
                <a:gd name="T73" fmla="*/ 2147483647 h 539"/>
                <a:gd name="T74" fmla="*/ 2147483647 w 707"/>
                <a:gd name="T75" fmla="*/ 2147483647 h 539"/>
                <a:gd name="T76" fmla="*/ 2147483647 w 707"/>
                <a:gd name="T77" fmla="*/ 2147483647 h 539"/>
                <a:gd name="T78" fmla="*/ 2147483647 w 707"/>
                <a:gd name="T79" fmla="*/ 2147483647 h 539"/>
                <a:gd name="T80" fmla="*/ 2147483647 w 707"/>
                <a:gd name="T81" fmla="*/ 2147483647 h 539"/>
                <a:gd name="T82" fmla="*/ 2147483647 w 707"/>
                <a:gd name="T83" fmla="*/ 2147483647 h 539"/>
                <a:gd name="T84" fmla="*/ 2147483647 w 707"/>
                <a:gd name="T85" fmla="*/ 2147483647 h 539"/>
                <a:gd name="T86" fmla="*/ 2147483647 w 707"/>
                <a:gd name="T87" fmla="*/ 2147483647 h 539"/>
                <a:gd name="T88" fmla="*/ 2147483647 w 707"/>
                <a:gd name="T89" fmla="*/ 2147483647 h 539"/>
                <a:gd name="T90" fmla="*/ 2147483647 w 707"/>
                <a:gd name="T91" fmla="*/ 2147483647 h 539"/>
                <a:gd name="T92" fmla="*/ 2147483647 w 707"/>
                <a:gd name="T93" fmla="*/ 2147483647 h 539"/>
                <a:gd name="T94" fmla="*/ 2147483647 w 707"/>
                <a:gd name="T95" fmla="*/ 2147483647 h 539"/>
                <a:gd name="T96" fmla="*/ 2147483647 w 707"/>
                <a:gd name="T97" fmla="*/ 2147483647 h 539"/>
                <a:gd name="T98" fmla="*/ 2147483647 w 707"/>
                <a:gd name="T99" fmla="*/ 2147483647 h 539"/>
                <a:gd name="T100" fmla="*/ 2147483647 w 707"/>
                <a:gd name="T101" fmla="*/ 2147483647 h 539"/>
                <a:gd name="T102" fmla="*/ 2147483647 w 707"/>
                <a:gd name="T103" fmla="*/ 2147483647 h 539"/>
                <a:gd name="T104" fmla="*/ 2147483647 w 707"/>
                <a:gd name="T105" fmla="*/ 2147483647 h 539"/>
                <a:gd name="T106" fmla="*/ 2147483647 w 707"/>
                <a:gd name="T107" fmla="*/ 2147483647 h 539"/>
                <a:gd name="T108" fmla="*/ 2147483647 w 707"/>
                <a:gd name="T109" fmla="*/ 2147483647 h 539"/>
                <a:gd name="T110" fmla="*/ 2147483647 w 707"/>
                <a:gd name="T111" fmla="*/ 2147483647 h 539"/>
                <a:gd name="T112" fmla="*/ 2147483647 w 707"/>
                <a:gd name="T113" fmla="*/ 2147483647 h 539"/>
                <a:gd name="T114" fmla="*/ 2147483647 w 707"/>
                <a:gd name="T115" fmla="*/ 2147483647 h 539"/>
                <a:gd name="T116" fmla="*/ 2147483647 w 707"/>
                <a:gd name="T117" fmla="*/ 2147483647 h 539"/>
                <a:gd name="T118" fmla="*/ 2147483647 w 707"/>
                <a:gd name="T119" fmla="*/ 2147483647 h 539"/>
                <a:gd name="T120" fmla="*/ 2147483647 w 707"/>
                <a:gd name="T121" fmla="*/ 2147483647 h 539"/>
                <a:gd name="T122" fmla="*/ 2147483647 w 707"/>
                <a:gd name="T123" fmla="*/ 2147483647 h 539"/>
                <a:gd name="T124" fmla="*/ 2147483647 w 707"/>
                <a:gd name="T125" fmla="*/ 2147483647 h 5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7"/>
                <a:gd name="T190" fmla="*/ 0 h 539"/>
                <a:gd name="T191" fmla="*/ 707 w 707"/>
                <a:gd name="T192" fmla="*/ 539 h 53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7" h="539">
                  <a:moveTo>
                    <a:pt x="34" y="303"/>
                  </a:moveTo>
                  <a:lnTo>
                    <a:pt x="34" y="303"/>
                  </a:lnTo>
                  <a:lnTo>
                    <a:pt x="41" y="296"/>
                  </a:lnTo>
                  <a:lnTo>
                    <a:pt x="53" y="280"/>
                  </a:lnTo>
                  <a:lnTo>
                    <a:pt x="58" y="271"/>
                  </a:lnTo>
                  <a:lnTo>
                    <a:pt x="61" y="262"/>
                  </a:lnTo>
                  <a:lnTo>
                    <a:pt x="62" y="259"/>
                  </a:lnTo>
                  <a:lnTo>
                    <a:pt x="61" y="255"/>
                  </a:lnTo>
                  <a:lnTo>
                    <a:pt x="60" y="253"/>
                  </a:lnTo>
                  <a:lnTo>
                    <a:pt x="57" y="250"/>
                  </a:lnTo>
                  <a:lnTo>
                    <a:pt x="49" y="247"/>
                  </a:lnTo>
                  <a:lnTo>
                    <a:pt x="46" y="243"/>
                  </a:lnTo>
                  <a:lnTo>
                    <a:pt x="43" y="240"/>
                  </a:lnTo>
                  <a:lnTo>
                    <a:pt x="43" y="236"/>
                  </a:lnTo>
                  <a:lnTo>
                    <a:pt x="42" y="233"/>
                  </a:lnTo>
                  <a:lnTo>
                    <a:pt x="41" y="230"/>
                  </a:lnTo>
                  <a:lnTo>
                    <a:pt x="38" y="227"/>
                  </a:lnTo>
                  <a:lnTo>
                    <a:pt x="34" y="224"/>
                  </a:lnTo>
                  <a:lnTo>
                    <a:pt x="24" y="221"/>
                  </a:lnTo>
                  <a:lnTo>
                    <a:pt x="18" y="220"/>
                  </a:lnTo>
                  <a:lnTo>
                    <a:pt x="9" y="218"/>
                  </a:lnTo>
                  <a:lnTo>
                    <a:pt x="6" y="218"/>
                  </a:lnTo>
                  <a:lnTo>
                    <a:pt x="5" y="216"/>
                  </a:lnTo>
                  <a:lnTo>
                    <a:pt x="1" y="207"/>
                  </a:lnTo>
                  <a:lnTo>
                    <a:pt x="0" y="198"/>
                  </a:lnTo>
                  <a:lnTo>
                    <a:pt x="1" y="191"/>
                  </a:lnTo>
                  <a:lnTo>
                    <a:pt x="3" y="185"/>
                  </a:lnTo>
                  <a:lnTo>
                    <a:pt x="5" y="181"/>
                  </a:lnTo>
                  <a:lnTo>
                    <a:pt x="9" y="173"/>
                  </a:lnTo>
                  <a:lnTo>
                    <a:pt x="10" y="171"/>
                  </a:lnTo>
                  <a:lnTo>
                    <a:pt x="9" y="170"/>
                  </a:lnTo>
                  <a:lnTo>
                    <a:pt x="11" y="170"/>
                  </a:lnTo>
                  <a:lnTo>
                    <a:pt x="18" y="173"/>
                  </a:lnTo>
                  <a:lnTo>
                    <a:pt x="22" y="175"/>
                  </a:lnTo>
                  <a:lnTo>
                    <a:pt x="27" y="176"/>
                  </a:lnTo>
                  <a:lnTo>
                    <a:pt x="33" y="176"/>
                  </a:lnTo>
                  <a:lnTo>
                    <a:pt x="38" y="175"/>
                  </a:lnTo>
                  <a:lnTo>
                    <a:pt x="42" y="172"/>
                  </a:lnTo>
                  <a:lnTo>
                    <a:pt x="44" y="169"/>
                  </a:lnTo>
                  <a:lnTo>
                    <a:pt x="44" y="164"/>
                  </a:lnTo>
                  <a:lnTo>
                    <a:pt x="43" y="160"/>
                  </a:lnTo>
                  <a:lnTo>
                    <a:pt x="38" y="153"/>
                  </a:lnTo>
                  <a:lnTo>
                    <a:pt x="37" y="151"/>
                  </a:lnTo>
                  <a:lnTo>
                    <a:pt x="67" y="131"/>
                  </a:lnTo>
                  <a:lnTo>
                    <a:pt x="80" y="118"/>
                  </a:lnTo>
                  <a:lnTo>
                    <a:pt x="91" y="121"/>
                  </a:lnTo>
                  <a:lnTo>
                    <a:pt x="116" y="127"/>
                  </a:lnTo>
                  <a:lnTo>
                    <a:pt x="137" y="145"/>
                  </a:lnTo>
                  <a:lnTo>
                    <a:pt x="161" y="157"/>
                  </a:lnTo>
                  <a:lnTo>
                    <a:pt x="179" y="138"/>
                  </a:lnTo>
                  <a:lnTo>
                    <a:pt x="203" y="141"/>
                  </a:lnTo>
                  <a:lnTo>
                    <a:pt x="220" y="156"/>
                  </a:lnTo>
                  <a:lnTo>
                    <a:pt x="244" y="151"/>
                  </a:lnTo>
                  <a:lnTo>
                    <a:pt x="255" y="145"/>
                  </a:lnTo>
                  <a:lnTo>
                    <a:pt x="263" y="140"/>
                  </a:lnTo>
                  <a:lnTo>
                    <a:pt x="264" y="138"/>
                  </a:lnTo>
                  <a:lnTo>
                    <a:pt x="263" y="137"/>
                  </a:lnTo>
                  <a:lnTo>
                    <a:pt x="253" y="134"/>
                  </a:lnTo>
                  <a:lnTo>
                    <a:pt x="248" y="132"/>
                  </a:lnTo>
                  <a:lnTo>
                    <a:pt x="243" y="127"/>
                  </a:lnTo>
                  <a:lnTo>
                    <a:pt x="239" y="122"/>
                  </a:lnTo>
                  <a:lnTo>
                    <a:pt x="239" y="117"/>
                  </a:lnTo>
                  <a:lnTo>
                    <a:pt x="240" y="112"/>
                  </a:lnTo>
                  <a:lnTo>
                    <a:pt x="241" y="108"/>
                  </a:lnTo>
                  <a:lnTo>
                    <a:pt x="248" y="101"/>
                  </a:lnTo>
                  <a:lnTo>
                    <a:pt x="250" y="99"/>
                  </a:lnTo>
                  <a:lnTo>
                    <a:pt x="244" y="86"/>
                  </a:lnTo>
                  <a:lnTo>
                    <a:pt x="265" y="81"/>
                  </a:lnTo>
                  <a:lnTo>
                    <a:pt x="249" y="60"/>
                  </a:lnTo>
                  <a:lnTo>
                    <a:pt x="286" y="48"/>
                  </a:lnTo>
                  <a:lnTo>
                    <a:pt x="310" y="41"/>
                  </a:lnTo>
                  <a:lnTo>
                    <a:pt x="366" y="22"/>
                  </a:lnTo>
                  <a:lnTo>
                    <a:pt x="395" y="0"/>
                  </a:lnTo>
                  <a:lnTo>
                    <a:pt x="418" y="7"/>
                  </a:lnTo>
                  <a:lnTo>
                    <a:pt x="428" y="42"/>
                  </a:lnTo>
                  <a:lnTo>
                    <a:pt x="451" y="41"/>
                  </a:lnTo>
                  <a:lnTo>
                    <a:pt x="467" y="55"/>
                  </a:lnTo>
                  <a:lnTo>
                    <a:pt x="489" y="56"/>
                  </a:lnTo>
                  <a:lnTo>
                    <a:pt x="509" y="41"/>
                  </a:lnTo>
                  <a:lnTo>
                    <a:pt x="543" y="74"/>
                  </a:lnTo>
                  <a:lnTo>
                    <a:pt x="565" y="126"/>
                  </a:lnTo>
                  <a:lnTo>
                    <a:pt x="580" y="146"/>
                  </a:lnTo>
                  <a:lnTo>
                    <a:pt x="594" y="133"/>
                  </a:lnTo>
                  <a:lnTo>
                    <a:pt x="608" y="146"/>
                  </a:lnTo>
                  <a:lnTo>
                    <a:pt x="623" y="147"/>
                  </a:lnTo>
                  <a:lnTo>
                    <a:pt x="644" y="141"/>
                  </a:lnTo>
                  <a:lnTo>
                    <a:pt x="651" y="156"/>
                  </a:lnTo>
                  <a:lnTo>
                    <a:pt x="660" y="166"/>
                  </a:lnTo>
                  <a:lnTo>
                    <a:pt x="676" y="179"/>
                  </a:lnTo>
                  <a:lnTo>
                    <a:pt x="697" y="186"/>
                  </a:lnTo>
                  <a:lnTo>
                    <a:pt x="707" y="201"/>
                  </a:lnTo>
                  <a:lnTo>
                    <a:pt x="695" y="224"/>
                  </a:lnTo>
                  <a:lnTo>
                    <a:pt x="702" y="229"/>
                  </a:lnTo>
                  <a:lnTo>
                    <a:pt x="684" y="237"/>
                  </a:lnTo>
                  <a:lnTo>
                    <a:pt x="678" y="243"/>
                  </a:lnTo>
                  <a:lnTo>
                    <a:pt x="673" y="246"/>
                  </a:lnTo>
                  <a:lnTo>
                    <a:pt x="669" y="248"/>
                  </a:lnTo>
                  <a:lnTo>
                    <a:pt x="667" y="249"/>
                  </a:lnTo>
                  <a:lnTo>
                    <a:pt x="665" y="253"/>
                  </a:lnTo>
                  <a:lnTo>
                    <a:pt x="664" y="262"/>
                  </a:lnTo>
                  <a:lnTo>
                    <a:pt x="663" y="271"/>
                  </a:lnTo>
                  <a:lnTo>
                    <a:pt x="663" y="274"/>
                  </a:lnTo>
                  <a:lnTo>
                    <a:pt x="662" y="277"/>
                  </a:lnTo>
                  <a:lnTo>
                    <a:pt x="658" y="279"/>
                  </a:lnTo>
                  <a:lnTo>
                    <a:pt x="653" y="281"/>
                  </a:lnTo>
                  <a:lnTo>
                    <a:pt x="644" y="282"/>
                  </a:lnTo>
                  <a:lnTo>
                    <a:pt x="631" y="282"/>
                  </a:lnTo>
                  <a:lnTo>
                    <a:pt x="626" y="282"/>
                  </a:lnTo>
                  <a:lnTo>
                    <a:pt x="622" y="284"/>
                  </a:lnTo>
                  <a:lnTo>
                    <a:pt x="620" y="285"/>
                  </a:lnTo>
                  <a:lnTo>
                    <a:pt x="617" y="288"/>
                  </a:lnTo>
                  <a:lnTo>
                    <a:pt x="615" y="294"/>
                  </a:lnTo>
                  <a:lnTo>
                    <a:pt x="615" y="301"/>
                  </a:lnTo>
                  <a:lnTo>
                    <a:pt x="615" y="309"/>
                  </a:lnTo>
                  <a:lnTo>
                    <a:pt x="617" y="314"/>
                  </a:lnTo>
                  <a:lnTo>
                    <a:pt x="620" y="319"/>
                  </a:lnTo>
                  <a:lnTo>
                    <a:pt x="613" y="320"/>
                  </a:lnTo>
                  <a:lnTo>
                    <a:pt x="593" y="324"/>
                  </a:lnTo>
                  <a:lnTo>
                    <a:pt x="575" y="326"/>
                  </a:lnTo>
                  <a:lnTo>
                    <a:pt x="573" y="328"/>
                  </a:lnTo>
                  <a:lnTo>
                    <a:pt x="573" y="330"/>
                  </a:lnTo>
                  <a:lnTo>
                    <a:pt x="580" y="344"/>
                  </a:lnTo>
                  <a:lnTo>
                    <a:pt x="587" y="356"/>
                  </a:lnTo>
                  <a:lnTo>
                    <a:pt x="587" y="360"/>
                  </a:lnTo>
                  <a:lnTo>
                    <a:pt x="585" y="363"/>
                  </a:lnTo>
                  <a:lnTo>
                    <a:pt x="580" y="371"/>
                  </a:lnTo>
                  <a:lnTo>
                    <a:pt x="574" y="379"/>
                  </a:lnTo>
                  <a:lnTo>
                    <a:pt x="571" y="383"/>
                  </a:lnTo>
                  <a:lnTo>
                    <a:pt x="573" y="387"/>
                  </a:lnTo>
                  <a:lnTo>
                    <a:pt x="575" y="392"/>
                  </a:lnTo>
                  <a:lnTo>
                    <a:pt x="575" y="394"/>
                  </a:lnTo>
                  <a:lnTo>
                    <a:pt x="574" y="396"/>
                  </a:lnTo>
                  <a:lnTo>
                    <a:pt x="571" y="399"/>
                  </a:lnTo>
                  <a:lnTo>
                    <a:pt x="568" y="401"/>
                  </a:lnTo>
                  <a:lnTo>
                    <a:pt x="557" y="407"/>
                  </a:lnTo>
                  <a:lnTo>
                    <a:pt x="550" y="412"/>
                  </a:lnTo>
                  <a:lnTo>
                    <a:pt x="537" y="419"/>
                  </a:lnTo>
                  <a:lnTo>
                    <a:pt x="531" y="421"/>
                  </a:lnTo>
                  <a:lnTo>
                    <a:pt x="523" y="421"/>
                  </a:lnTo>
                  <a:lnTo>
                    <a:pt x="517" y="421"/>
                  </a:lnTo>
                  <a:lnTo>
                    <a:pt x="516" y="424"/>
                  </a:lnTo>
                  <a:lnTo>
                    <a:pt x="514" y="428"/>
                  </a:lnTo>
                  <a:lnTo>
                    <a:pt x="510" y="433"/>
                  </a:lnTo>
                  <a:lnTo>
                    <a:pt x="508" y="435"/>
                  </a:lnTo>
                  <a:lnTo>
                    <a:pt x="505" y="437"/>
                  </a:lnTo>
                  <a:lnTo>
                    <a:pt x="499" y="437"/>
                  </a:lnTo>
                  <a:lnTo>
                    <a:pt x="495" y="434"/>
                  </a:lnTo>
                  <a:lnTo>
                    <a:pt x="491" y="431"/>
                  </a:lnTo>
                  <a:lnTo>
                    <a:pt x="489" y="431"/>
                  </a:lnTo>
                  <a:lnTo>
                    <a:pt x="483" y="433"/>
                  </a:lnTo>
                  <a:lnTo>
                    <a:pt x="474" y="439"/>
                  </a:lnTo>
                  <a:lnTo>
                    <a:pt x="470" y="443"/>
                  </a:lnTo>
                  <a:lnTo>
                    <a:pt x="466" y="451"/>
                  </a:lnTo>
                  <a:lnTo>
                    <a:pt x="463" y="460"/>
                  </a:lnTo>
                  <a:lnTo>
                    <a:pt x="463" y="464"/>
                  </a:lnTo>
                  <a:lnTo>
                    <a:pt x="466" y="467"/>
                  </a:lnTo>
                  <a:lnTo>
                    <a:pt x="470" y="470"/>
                  </a:lnTo>
                  <a:lnTo>
                    <a:pt x="475" y="471"/>
                  </a:lnTo>
                  <a:lnTo>
                    <a:pt x="479" y="471"/>
                  </a:lnTo>
                  <a:lnTo>
                    <a:pt x="483" y="473"/>
                  </a:lnTo>
                  <a:lnTo>
                    <a:pt x="485" y="476"/>
                  </a:lnTo>
                  <a:lnTo>
                    <a:pt x="485" y="477"/>
                  </a:lnTo>
                  <a:lnTo>
                    <a:pt x="484" y="479"/>
                  </a:lnTo>
                  <a:lnTo>
                    <a:pt x="483" y="482"/>
                  </a:lnTo>
                  <a:lnTo>
                    <a:pt x="483" y="484"/>
                  </a:lnTo>
                  <a:lnTo>
                    <a:pt x="484" y="491"/>
                  </a:lnTo>
                  <a:lnTo>
                    <a:pt x="486" y="496"/>
                  </a:lnTo>
                  <a:lnTo>
                    <a:pt x="486" y="497"/>
                  </a:lnTo>
                  <a:lnTo>
                    <a:pt x="486" y="496"/>
                  </a:lnTo>
                  <a:lnTo>
                    <a:pt x="480" y="498"/>
                  </a:lnTo>
                  <a:lnTo>
                    <a:pt x="476" y="499"/>
                  </a:lnTo>
                  <a:lnTo>
                    <a:pt x="472" y="501"/>
                  </a:lnTo>
                  <a:lnTo>
                    <a:pt x="458" y="501"/>
                  </a:lnTo>
                  <a:lnTo>
                    <a:pt x="451" y="502"/>
                  </a:lnTo>
                  <a:lnTo>
                    <a:pt x="447" y="503"/>
                  </a:lnTo>
                  <a:lnTo>
                    <a:pt x="444" y="505"/>
                  </a:lnTo>
                  <a:lnTo>
                    <a:pt x="442" y="507"/>
                  </a:lnTo>
                  <a:lnTo>
                    <a:pt x="439" y="507"/>
                  </a:lnTo>
                  <a:lnTo>
                    <a:pt x="439" y="505"/>
                  </a:lnTo>
                  <a:lnTo>
                    <a:pt x="441" y="497"/>
                  </a:lnTo>
                  <a:lnTo>
                    <a:pt x="441" y="494"/>
                  </a:lnTo>
                  <a:lnTo>
                    <a:pt x="438" y="491"/>
                  </a:lnTo>
                  <a:lnTo>
                    <a:pt x="434" y="489"/>
                  </a:lnTo>
                  <a:lnTo>
                    <a:pt x="432" y="486"/>
                  </a:lnTo>
                  <a:lnTo>
                    <a:pt x="429" y="484"/>
                  </a:lnTo>
                  <a:lnTo>
                    <a:pt x="429" y="483"/>
                  </a:lnTo>
                  <a:lnTo>
                    <a:pt x="430" y="480"/>
                  </a:lnTo>
                  <a:lnTo>
                    <a:pt x="436" y="475"/>
                  </a:lnTo>
                  <a:lnTo>
                    <a:pt x="436" y="473"/>
                  </a:lnTo>
                  <a:lnTo>
                    <a:pt x="433" y="475"/>
                  </a:lnTo>
                  <a:lnTo>
                    <a:pt x="428" y="476"/>
                  </a:lnTo>
                  <a:lnTo>
                    <a:pt x="423" y="478"/>
                  </a:lnTo>
                  <a:lnTo>
                    <a:pt x="418" y="480"/>
                  </a:lnTo>
                  <a:lnTo>
                    <a:pt x="415" y="484"/>
                  </a:lnTo>
                  <a:lnTo>
                    <a:pt x="413" y="488"/>
                  </a:lnTo>
                  <a:lnTo>
                    <a:pt x="408" y="494"/>
                  </a:lnTo>
                  <a:lnTo>
                    <a:pt x="403" y="498"/>
                  </a:lnTo>
                  <a:lnTo>
                    <a:pt x="399" y="501"/>
                  </a:lnTo>
                  <a:lnTo>
                    <a:pt x="395" y="502"/>
                  </a:lnTo>
                  <a:lnTo>
                    <a:pt x="391" y="502"/>
                  </a:lnTo>
                  <a:lnTo>
                    <a:pt x="381" y="503"/>
                  </a:lnTo>
                  <a:lnTo>
                    <a:pt x="373" y="504"/>
                  </a:lnTo>
                  <a:lnTo>
                    <a:pt x="366" y="505"/>
                  </a:lnTo>
                  <a:lnTo>
                    <a:pt x="361" y="505"/>
                  </a:lnTo>
                  <a:lnTo>
                    <a:pt x="354" y="502"/>
                  </a:lnTo>
                  <a:lnTo>
                    <a:pt x="349" y="499"/>
                  </a:lnTo>
                  <a:lnTo>
                    <a:pt x="344" y="498"/>
                  </a:lnTo>
                  <a:lnTo>
                    <a:pt x="342" y="498"/>
                  </a:lnTo>
                  <a:lnTo>
                    <a:pt x="339" y="497"/>
                  </a:lnTo>
                  <a:lnTo>
                    <a:pt x="336" y="495"/>
                  </a:lnTo>
                  <a:lnTo>
                    <a:pt x="335" y="494"/>
                  </a:lnTo>
                  <a:lnTo>
                    <a:pt x="333" y="495"/>
                  </a:lnTo>
                  <a:lnTo>
                    <a:pt x="331" y="497"/>
                  </a:lnTo>
                  <a:lnTo>
                    <a:pt x="329" y="499"/>
                  </a:lnTo>
                  <a:lnTo>
                    <a:pt x="324" y="501"/>
                  </a:lnTo>
                  <a:lnTo>
                    <a:pt x="315" y="503"/>
                  </a:lnTo>
                  <a:lnTo>
                    <a:pt x="311" y="505"/>
                  </a:lnTo>
                  <a:lnTo>
                    <a:pt x="309" y="508"/>
                  </a:lnTo>
                  <a:lnTo>
                    <a:pt x="303" y="518"/>
                  </a:lnTo>
                  <a:lnTo>
                    <a:pt x="300" y="526"/>
                  </a:lnTo>
                  <a:lnTo>
                    <a:pt x="296" y="526"/>
                  </a:lnTo>
                  <a:lnTo>
                    <a:pt x="293" y="526"/>
                  </a:lnTo>
                  <a:lnTo>
                    <a:pt x="291" y="527"/>
                  </a:lnTo>
                  <a:lnTo>
                    <a:pt x="288" y="534"/>
                  </a:lnTo>
                  <a:lnTo>
                    <a:pt x="284" y="537"/>
                  </a:lnTo>
                  <a:lnTo>
                    <a:pt x="283" y="539"/>
                  </a:lnTo>
                  <a:lnTo>
                    <a:pt x="282" y="539"/>
                  </a:lnTo>
                  <a:lnTo>
                    <a:pt x="268" y="536"/>
                  </a:lnTo>
                  <a:lnTo>
                    <a:pt x="255" y="535"/>
                  </a:lnTo>
                  <a:lnTo>
                    <a:pt x="256" y="531"/>
                  </a:lnTo>
                  <a:lnTo>
                    <a:pt x="256" y="526"/>
                  </a:lnTo>
                  <a:lnTo>
                    <a:pt x="255" y="521"/>
                  </a:lnTo>
                  <a:lnTo>
                    <a:pt x="254" y="517"/>
                  </a:lnTo>
                  <a:lnTo>
                    <a:pt x="253" y="515"/>
                  </a:lnTo>
                  <a:lnTo>
                    <a:pt x="249" y="512"/>
                  </a:lnTo>
                  <a:lnTo>
                    <a:pt x="235" y="507"/>
                  </a:lnTo>
                  <a:lnTo>
                    <a:pt x="225" y="501"/>
                  </a:lnTo>
                  <a:lnTo>
                    <a:pt x="215" y="495"/>
                  </a:lnTo>
                  <a:lnTo>
                    <a:pt x="206" y="490"/>
                  </a:lnTo>
                  <a:lnTo>
                    <a:pt x="199" y="489"/>
                  </a:lnTo>
                  <a:lnTo>
                    <a:pt x="193" y="486"/>
                  </a:lnTo>
                  <a:lnTo>
                    <a:pt x="187" y="484"/>
                  </a:lnTo>
                  <a:lnTo>
                    <a:pt x="178" y="480"/>
                  </a:lnTo>
                  <a:lnTo>
                    <a:pt x="154" y="491"/>
                  </a:lnTo>
                  <a:lnTo>
                    <a:pt x="142" y="496"/>
                  </a:lnTo>
                  <a:lnTo>
                    <a:pt x="133" y="498"/>
                  </a:lnTo>
                  <a:lnTo>
                    <a:pt x="132" y="497"/>
                  </a:lnTo>
                  <a:lnTo>
                    <a:pt x="131" y="495"/>
                  </a:lnTo>
                  <a:lnTo>
                    <a:pt x="129" y="486"/>
                  </a:lnTo>
                  <a:lnTo>
                    <a:pt x="129" y="478"/>
                  </a:lnTo>
                  <a:lnTo>
                    <a:pt x="131" y="472"/>
                  </a:lnTo>
                  <a:lnTo>
                    <a:pt x="131" y="471"/>
                  </a:lnTo>
                  <a:lnTo>
                    <a:pt x="129" y="470"/>
                  </a:lnTo>
                  <a:lnTo>
                    <a:pt x="126" y="464"/>
                  </a:lnTo>
                  <a:lnTo>
                    <a:pt x="121" y="459"/>
                  </a:lnTo>
                  <a:lnTo>
                    <a:pt x="121" y="457"/>
                  </a:lnTo>
                  <a:lnTo>
                    <a:pt x="123" y="454"/>
                  </a:lnTo>
                  <a:lnTo>
                    <a:pt x="128" y="452"/>
                  </a:lnTo>
                  <a:lnTo>
                    <a:pt x="131" y="450"/>
                  </a:lnTo>
                  <a:lnTo>
                    <a:pt x="131" y="447"/>
                  </a:lnTo>
                  <a:lnTo>
                    <a:pt x="128" y="446"/>
                  </a:lnTo>
                  <a:lnTo>
                    <a:pt x="119" y="446"/>
                  </a:lnTo>
                  <a:lnTo>
                    <a:pt x="114" y="445"/>
                  </a:lnTo>
                  <a:lnTo>
                    <a:pt x="112" y="444"/>
                  </a:lnTo>
                  <a:lnTo>
                    <a:pt x="112" y="443"/>
                  </a:lnTo>
                  <a:lnTo>
                    <a:pt x="110" y="438"/>
                  </a:lnTo>
                  <a:lnTo>
                    <a:pt x="112" y="434"/>
                  </a:lnTo>
                  <a:lnTo>
                    <a:pt x="113" y="431"/>
                  </a:lnTo>
                  <a:lnTo>
                    <a:pt x="114" y="429"/>
                  </a:lnTo>
                  <a:lnTo>
                    <a:pt x="124" y="433"/>
                  </a:lnTo>
                  <a:lnTo>
                    <a:pt x="127" y="433"/>
                  </a:lnTo>
                  <a:lnTo>
                    <a:pt x="129" y="433"/>
                  </a:lnTo>
                  <a:lnTo>
                    <a:pt x="132" y="432"/>
                  </a:lnTo>
                  <a:lnTo>
                    <a:pt x="133" y="429"/>
                  </a:lnTo>
                  <a:lnTo>
                    <a:pt x="135" y="425"/>
                  </a:lnTo>
                  <a:lnTo>
                    <a:pt x="136" y="420"/>
                  </a:lnTo>
                  <a:lnTo>
                    <a:pt x="135" y="412"/>
                  </a:lnTo>
                  <a:lnTo>
                    <a:pt x="133" y="402"/>
                  </a:lnTo>
                  <a:lnTo>
                    <a:pt x="132" y="397"/>
                  </a:lnTo>
                  <a:lnTo>
                    <a:pt x="131" y="396"/>
                  </a:lnTo>
                  <a:lnTo>
                    <a:pt x="131" y="395"/>
                  </a:lnTo>
                  <a:lnTo>
                    <a:pt x="128" y="396"/>
                  </a:lnTo>
                  <a:lnTo>
                    <a:pt x="123" y="400"/>
                  </a:lnTo>
                  <a:lnTo>
                    <a:pt x="122" y="401"/>
                  </a:lnTo>
                  <a:lnTo>
                    <a:pt x="119" y="401"/>
                  </a:lnTo>
                  <a:lnTo>
                    <a:pt x="118" y="402"/>
                  </a:lnTo>
                  <a:lnTo>
                    <a:pt x="114" y="407"/>
                  </a:lnTo>
                  <a:lnTo>
                    <a:pt x="113" y="411"/>
                  </a:lnTo>
                  <a:lnTo>
                    <a:pt x="112" y="412"/>
                  </a:lnTo>
                  <a:lnTo>
                    <a:pt x="112" y="411"/>
                  </a:lnTo>
                  <a:lnTo>
                    <a:pt x="112" y="412"/>
                  </a:lnTo>
                  <a:lnTo>
                    <a:pt x="109" y="415"/>
                  </a:lnTo>
                  <a:lnTo>
                    <a:pt x="108" y="419"/>
                  </a:lnTo>
                  <a:lnTo>
                    <a:pt x="108" y="420"/>
                  </a:lnTo>
                  <a:lnTo>
                    <a:pt x="107" y="420"/>
                  </a:lnTo>
                  <a:lnTo>
                    <a:pt x="107" y="407"/>
                  </a:lnTo>
                  <a:lnTo>
                    <a:pt x="107" y="397"/>
                  </a:lnTo>
                  <a:lnTo>
                    <a:pt x="109" y="388"/>
                  </a:lnTo>
                  <a:lnTo>
                    <a:pt x="108" y="386"/>
                  </a:lnTo>
                  <a:lnTo>
                    <a:pt x="105" y="382"/>
                  </a:lnTo>
                  <a:lnTo>
                    <a:pt x="100" y="380"/>
                  </a:lnTo>
                  <a:lnTo>
                    <a:pt x="98" y="380"/>
                  </a:lnTo>
                  <a:lnTo>
                    <a:pt x="93" y="381"/>
                  </a:lnTo>
                  <a:lnTo>
                    <a:pt x="90" y="381"/>
                  </a:lnTo>
                  <a:lnTo>
                    <a:pt x="90" y="377"/>
                  </a:lnTo>
                  <a:lnTo>
                    <a:pt x="83" y="381"/>
                  </a:lnTo>
                  <a:lnTo>
                    <a:pt x="79" y="383"/>
                  </a:lnTo>
                  <a:lnTo>
                    <a:pt x="77" y="383"/>
                  </a:lnTo>
                  <a:lnTo>
                    <a:pt x="77" y="382"/>
                  </a:lnTo>
                  <a:lnTo>
                    <a:pt x="80" y="379"/>
                  </a:lnTo>
                  <a:lnTo>
                    <a:pt x="81" y="375"/>
                  </a:lnTo>
                  <a:lnTo>
                    <a:pt x="81" y="371"/>
                  </a:lnTo>
                  <a:lnTo>
                    <a:pt x="75" y="357"/>
                  </a:lnTo>
                  <a:lnTo>
                    <a:pt x="72" y="356"/>
                  </a:lnTo>
                  <a:lnTo>
                    <a:pt x="70" y="354"/>
                  </a:lnTo>
                  <a:lnTo>
                    <a:pt x="67" y="350"/>
                  </a:lnTo>
                  <a:lnTo>
                    <a:pt x="67" y="348"/>
                  </a:lnTo>
                  <a:lnTo>
                    <a:pt x="67" y="347"/>
                  </a:lnTo>
                  <a:lnTo>
                    <a:pt x="69" y="348"/>
                  </a:lnTo>
                  <a:lnTo>
                    <a:pt x="79" y="351"/>
                  </a:lnTo>
                  <a:lnTo>
                    <a:pt x="84" y="351"/>
                  </a:lnTo>
                  <a:lnTo>
                    <a:pt x="85" y="351"/>
                  </a:lnTo>
                  <a:lnTo>
                    <a:pt x="86" y="350"/>
                  </a:lnTo>
                  <a:lnTo>
                    <a:pt x="85" y="345"/>
                  </a:lnTo>
                  <a:lnTo>
                    <a:pt x="84" y="339"/>
                  </a:lnTo>
                  <a:lnTo>
                    <a:pt x="83" y="332"/>
                  </a:lnTo>
                  <a:lnTo>
                    <a:pt x="83" y="329"/>
                  </a:lnTo>
                  <a:lnTo>
                    <a:pt x="86" y="322"/>
                  </a:lnTo>
                  <a:lnTo>
                    <a:pt x="90" y="318"/>
                  </a:lnTo>
                  <a:lnTo>
                    <a:pt x="93" y="317"/>
                  </a:lnTo>
                  <a:lnTo>
                    <a:pt x="96" y="317"/>
                  </a:lnTo>
                  <a:lnTo>
                    <a:pt x="99" y="318"/>
                  </a:lnTo>
                  <a:lnTo>
                    <a:pt x="103" y="319"/>
                  </a:lnTo>
                  <a:lnTo>
                    <a:pt x="114" y="325"/>
                  </a:lnTo>
                  <a:lnTo>
                    <a:pt x="118" y="326"/>
                  </a:lnTo>
                  <a:lnTo>
                    <a:pt x="121" y="326"/>
                  </a:lnTo>
                  <a:lnTo>
                    <a:pt x="123" y="326"/>
                  </a:lnTo>
                  <a:lnTo>
                    <a:pt x="126" y="325"/>
                  </a:lnTo>
                  <a:lnTo>
                    <a:pt x="127" y="323"/>
                  </a:lnTo>
                  <a:lnTo>
                    <a:pt x="128" y="322"/>
                  </a:lnTo>
                  <a:lnTo>
                    <a:pt x="126" y="317"/>
                  </a:lnTo>
                  <a:lnTo>
                    <a:pt x="124" y="313"/>
                  </a:lnTo>
                  <a:lnTo>
                    <a:pt x="126" y="311"/>
                  </a:lnTo>
                  <a:lnTo>
                    <a:pt x="128" y="310"/>
                  </a:lnTo>
                  <a:lnTo>
                    <a:pt x="128" y="309"/>
                  </a:lnTo>
                  <a:lnTo>
                    <a:pt x="128" y="306"/>
                  </a:lnTo>
                  <a:lnTo>
                    <a:pt x="126" y="303"/>
                  </a:lnTo>
                  <a:lnTo>
                    <a:pt x="123" y="299"/>
                  </a:lnTo>
                  <a:lnTo>
                    <a:pt x="118" y="287"/>
                  </a:lnTo>
                  <a:lnTo>
                    <a:pt x="114" y="282"/>
                  </a:lnTo>
                  <a:lnTo>
                    <a:pt x="113" y="280"/>
                  </a:lnTo>
                  <a:lnTo>
                    <a:pt x="110" y="280"/>
                  </a:lnTo>
                  <a:lnTo>
                    <a:pt x="99" y="278"/>
                  </a:lnTo>
                  <a:lnTo>
                    <a:pt x="91" y="277"/>
                  </a:lnTo>
                  <a:lnTo>
                    <a:pt x="84" y="280"/>
                  </a:lnTo>
                  <a:lnTo>
                    <a:pt x="72" y="285"/>
                  </a:lnTo>
                  <a:lnTo>
                    <a:pt x="51" y="294"/>
                  </a:lnTo>
                  <a:lnTo>
                    <a:pt x="34" y="30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5" name="Freeform 1304"/>
            <p:cNvSpPr>
              <a:spLocks/>
            </p:cNvSpPr>
            <p:nvPr/>
          </p:nvSpPr>
          <p:spPr bwMode="auto">
            <a:xfrm>
              <a:off x="5829303" y="2854324"/>
              <a:ext cx="93663" cy="134938"/>
            </a:xfrm>
            <a:custGeom>
              <a:avLst/>
              <a:gdLst>
                <a:gd name="T0" fmla="*/ 2147483647 w 64"/>
                <a:gd name="T1" fmla="*/ 2147483647 h 85"/>
                <a:gd name="T2" fmla="*/ 2147483647 w 64"/>
                <a:gd name="T3" fmla="*/ 2147483647 h 85"/>
                <a:gd name="T4" fmla="*/ 2147483647 w 64"/>
                <a:gd name="T5" fmla="*/ 2147483647 h 85"/>
                <a:gd name="T6" fmla="*/ 2147483647 w 64"/>
                <a:gd name="T7" fmla="*/ 2147483647 h 85"/>
                <a:gd name="T8" fmla="*/ 2147483647 w 64"/>
                <a:gd name="T9" fmla="*/ 2147483647 h 85"/>
                <a:gd name="T10" fmla="*/ 2147483647 w 64"/>
                <a:gd name="T11" fmla="*/ 2147483647 h 85"/>
                <a:gd name="T12" fmla="*/ 0 w 64"/>
                <a:gd name="T13" fmla="*/ 2147483647 h 85"/>
                <a:gd name="T14" fmla="*/ 0 w 64"/>
                <a:gd name="T15" fmla="*/ 2147483647 h 85"/>
                <a:gd name="T16" fmla="*/ 2147483647 w 64"/>
                <a:gd name="T17" fmla="*/ 2147483647 h 85"/>
                <a:gd name="T18" fmla="*/ 2147483647 w 64"/>
                <a:gd name="T19" fmla="*/ 2147483647 h 85"/>
                <a:gd name="T20" fmla="*/ 2147483647 w 64"/>
                <a:gd name="T21" fmla="*/ 2147483647 h 85"/>
                <a:gd name="T22" fmla="*/ 2147483647 w 64"/>
                <a:gd name="T23" fmla="*/ 2147483647 h 85"/>
                <a:gd name="T24" fmla="*/ 2147483647 w 64"/>
                <a:gd name="T25" fmla="*/ 2147483647 h 85"/>
                <a:gd name="T26" fmla="*/ 2147483647 w 64"/>
                <a:gd name="T27" fmla="*/ 2147483647 h 85"/>
                <a:gd name="T28" fmla="*/ 2147483647 w 64"/>
                <a:gd name="T29" fmla="*/ 2147483647 h 85"/>
                <a:gd name="T30" fmla="*/ 2147483647 w 64"/>
                <a:gd name="T31" fmla="*/ 2147483647 h 85"/>
                <a:gd name="T32" fmla="*/ 2147483647 w 64"/>
                <a:gd name="T33" fmla="*/ 2147483647 h 85"/>
                <a:gd name="T34" fmla="*/ 2147483647 w 64"/>
                <a:gd name="T35" fmla="*/ 2147483647 h 85"/>
                <a:gd name="T36" fmla="*/ 2147483647 w 64"/>
                <a:gd name="T37" fmla="*/ 2147483647 h 85"/>
                <a:gd name="T38" fmla="*/ 2147483647 w 64"/>
                <a:gd name="T39" fmla="*/ 2147483647 h 85"/>
                <a:gd name="T40" fmla="*/ 2147483647 w 64"/>
                <a:gd name="T41" fmla="*/ 2147483647 h 85"/>
                <a:gd name="T42" fmla="*/ 2147483647 w 64"/>
                <a:gd name="T43" fmla="*/ 2147483647 h 85"/>
                <a:gd name="T44" fmla="*/ 2147483647 w 64"/>
                <a:gd name="T45" fmla="*/ 2147483647 h 85"/>
                <a:gd name="T46" fmla="*/ 2147483647 w 64"/>
                <a:gd name="T47" fmla="*/ 2147483647 h 85"/>
                <a:gd name="T48" fmla="*/ 2147483647 w 64"/>
                <a:gd name="T49" fmla="*/ 2147483647 h 85"/>
                <a:gd name="T50" fmla="*/ 2147483647 w 64"/>
                <a:gd name="T51" fmla="*/ 2147483647 h 85"/>
                <a:gd name="T52" fmla="*/ 2147483647 w 64"/>
                <a:gd name="T53" fmla="*/ 2147483647 h 85"/>
                <a:gd name="T54" fmla="*/ 2147483647 w 64"/>
                <a:gd name="T55" fmla="*/ 2147483647 h 85"/>
                <a:gd name="T56" fmla="*/ 2147483647 w 64"/>
                <a:gd name="T57" fmla="*/ 2147483647 h 85"/>
                <a:gd name="T58" fmla="*/ 2147483647 w 64"/>
                <a:gd name="T59" fmla="*/ 2147483647 h 85"/>
                <a:gd name="T60" fmla="*/ 2147483647 w 64"/>
                <a:gd name="T61" fmla="*/ 2147483647 h 85"/>
                <a:gd name="T62" fmla="*/ 2147483647 w 64"/>
                <a:gd name="T63" fmla="*/ 2147483647 h 85"/>
                <a:gd name="T64" fmla="*/ 2147483647 w 64"/>
                <a:gd name="T65" fmla="*/ 2147483647 h 85"/>
                <a:gd name="T66" fmla="*/ 2147483647 w 64"/>
                <a:gd name="T67" fmla="*/ 0 h 85"/>
                <a:gd name="T68" fmla="*/ 2147483647 w 64"/>
                <a:gd name="T69" fmla="*/ 0 h 85"/>
                <a:gd name="T70" fmla="*/ 2147483647 w 64"/>
                <a:gd name="T71" fmla="*/ 2147483647 h 85"/>
                <a:gd name="T72" fmla="*/ 2147483647 w 64"/>
                <a:gd name="T73" fmla="*/ 2147483647 h 85"/>
                <a:gd name="T74" fmla="*/ 2147483647 w 64"/>
                <a:gd name="T75" fmla="*/ 2147483647 h 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
                <a:gd name="T115" fmla="*/ 0 h 85"/>
                <a:gd name="T116" fmla="*/ 64 w 64"/>
                <a:gd name="T117" fmla="*/ 85 h 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 h="85">
                  <a:moveTo>
                    <a:pt x="19" y="16"/>
                  </a:moveTo>
                  <a:lnTo>
                    <a:pt x="21" y="19"/>
                  </a:lnTo>
                  <a:lnTo>
                    <a:pt x="21" y="22"/>
                  </a:lnTo>
                  <a:lnTo>
                    <a:pt x="18" y="24"/>
                  </a:lnTo>
                  <a:lnTo>
                    <a:pt x="17" y="27"/>
                  </a:lnTo>
                  <a:lnTo>
                    <a:pt x="12" y="27"/>
                  </a:lnTo>
                  <a:lnTo>
                    <a:pt x="8" y="27"/>
                  </a:lnTo>
                  <a:lnTo>
                    <a:pt x="7" y="28"/>
                  </a:lnTo>
                  <a:lnTo>
                    <a:pt x="5" y="30"/>
                  </a:lnTo>
                  <a:lnTo>
                    <a:pt x="4" y="34"/>
                  </a:lnTo>
                  <a:lnTo>
                    <a:pt x="4" y="37"/>
                  </a:lnTo>
                  <a:lnTo>
                    <a:pt x="3" y="42"/>
                  </a:lnTo>
                  <a:lnTo>
                    <a:pt x="2" y="43"/>
                  </a:lnTo>
                  <a:lnTo>
                    <a:pt x="0" y="44"/>
                  </a:lnTo>
                  <a:lnTo>
                    <a:pt x="0" y="46"/>
                  </a:lnTo>
                  <a:lnTo>
                    <a:pt x="0" y="63"/>
                  </a:lnTo>
                  <a:lnTo>
                    <a:pt x="0" y="72"/>
                  </a:lnTo>
                  <a:lnTo>
                    <a:pt x="3" y="80"/>
                  </a:lnTo>
                  <a:lnTo>
                    <a:pt x="4" y="81"/>
                  </a:lnTo>
                  <a:lnTo>
                    <a:pt x="8" y="82"/>
                  </a:lnTo>
                  <a:lnTo>
                    <a:pt x="13" y="81"/>
                  </a:lnTo>
                  <a:lnTo>
                    <a:pt x="17" y="79"/>
                  </a:lnTo>
                  <a:lnTo>
                    <a:pt x="18" y="79"/>
                  </a:lnTo>
                  <a:lnTo>
                    <a:pt x="19" y="79"/>
                  </a:lnTo>
                  <a:lnTo>
                    <a:pt x="23" y="82"/>
                  </a:lnTo>
                  <a:lnTo>
                    <a:pt x="27" y="85"/>
                  </a:lnTo>
                  <a:lnTo>
                    <a:pt x="31" y="85"/>
                  </a:lnTo>
                  <a:lnTo>
                    <a:pt x="35" y="82"/>
                  </a:lnTo>
                  <a:lnTo>
                    <a:pt x="41" y="78"/>
                  </a:lnTo>
                  <a:lnTo>
                    <a:pt x="44" y="75"/>
                  </a:lnTo>
                  <a:lnTo>
                    <a:pt x="46" y="73"/>
                  </a:lnTo>
                  <a:lnTo>
                    <a:pt x="46" y="72"/>
                  </a:lnTo>
                  <a:lnTo>
                    <a:pt x="45" y="69"/>
                  </a:lnTo>
                  <a:lnTo>
                    <a:pt x="45" y="68"/>
                  </a:lnTo>
                  <a:lnTo>
                    <a:pt x="46" y="67"/>
                  </a:lnTo>
                  <a:lnTo>
                    <a:pt x="50" y="66"/>
                  </a:lnTo>
                  <a:lnTo>
                    <a:pt x="54" y="66"/>
                  </a:lnTo>
                  <a:lnTo>
                    <a:pt x="55" y="65"/>
                  </a:lnTo>
                  <a:lnTo>
                    <a:pt x="58" y="63"/>
                  </a:lnTo>
                  <a:lnTo>
                    <a:pt x="58" y="59"/>
                  </a:lnTo>
                  <a:lnTo>
                    <a:pt x="58" y="54"/>
                  </a:lnTo>
                  <a:lnTo>
                    <a:pt x="59" y="50"/>
                  </a:lnTo>
                  <a:lnTo>
                    <a:pt x="64" y="43"/>
                  </a:lnTo>
                  <a:lnTo>
                    <a:pt x="60" y="46"/>
                  </a:lnTo>
                  <a:lnTo>
                    <a:pt x="58" y="46"/>
                  </a:lnTo>
                  <a:lnTo>
                    <a:pt x="54" y="44"/>
                  </a:lnTo>
                  <a:lnTo>
                    <a:pt x="51" y="43"/>
                  </a:lnTo>
                  <a:lnTo>
                    <a:pt x="49" y="41"/>
                  </a:lnTo>
                  <a:lnTo>
                    <a:pt x="47" y="38"/>
                  </a:lnTo>
                  <a:lnTo>
                    <a:pt x="46" y="35"/>
                  </a:lnTo>
                  <a:lnTo>
                    <a:pt x="46" y="31"/>
                  </a:lnTo>
                  <a:lnTo>
                    <a:pt x="49" y="28"/>
                  </a:lnTo>
                  <a:lnTo>
                    <a:pt x="51" y="24"/>
                  </a:lnTo>
                  <a:lnTo>
                    <a:pt x="52" y="21"/>
                  </a:lnTo>
                  <a:lnTo>
                    <a:pt x="52" y="18"/>
                  </a:lnTo>
                  <a:lnTo>
                    <a:pt x="51" y="17"/>
                  </a:lnTo>
                  <a:lnTo>
                    <a:pt x="51" y="15"/>
                  </a:lnTo>
                  <a:lnTo>
                    <a:pt x="51" y="12"/>
                  </a:lnTo>
                  <a:lnTo>
                    <a:pt x="55" y="9"/>
                  </a:lnTo>
                  <a:lnTo>
                    <a:pt x="56" y="8"/>
                  </a:lnTo>
                  <a:lnTo>
                    <a:pt x="56" y="5"/>
                  </a:lnTo>
                  <a:lnTo>
                    <a:pt x="55" y="3"/>
                  </a:lnTo>
                  <a:lnTo>
                    <a:pt x="54" y="3"/>
                  </a:lnTo>
                  <a:lnTo>
                    <a:pt x="50" y="4"/>
                  </a:lnTo>
                  <a:lnTo>
                    <a:pt x="49" y="5"/>
                  </a:lnTo>
                  <a:lnTo>
                    <a:pt x="47" y="4"/>
                  </a:lnTo>
                  <a:lnTo>
                    <a:pt x="45" y="2"/>
                  </a:lnTo>
                  <a:lnTo>
                    <a:pt x="44" y="0"/>
                  </a:lnTo>
                  <a:lnTo>
                    <a:pt x="42" y="0"/>
                  </a:lnTo>
                  <a:lnTo>
                    <a:pt x="37" y="0"/>
                  </a:lnTo>
                  <a:lnTo>
                    <a:pt x="33" y="4"/>
                  </a:lnTo>
                  <a:lnTo>
                    <a:pt x="31" y="9"/>
                  </a:lnTo>
                  <a:lnTo>
                    <a:pt x="30" y="14"/>
                  </a:lnTo>
                  <a:lnTo>
                    <a:pt x="27" y="11"/>
                  </a:lnTo>
                  <a:lnTo>
                    <a:pt x="25" y="12"/>
                  </a:lnTo>
                  <a:lnTo>
                    <a:pt x="19" y="16"/>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6" name="Freeform 1305"/>
            <p:cNvSpPr>
              <a:spLocks/>
            </p:cNvSpPr>
            <p:nvPr/>
          </p:nvSpPr>
          <p:spPr bwMode="auto">
            <a:xfrm>
              <a:off x="6207129" y="2859092"/>
              <a:ext cx="144463" cy="79375"/>
            </a:xfrm>
            <a:custGeom>
              <a:avLst/>
              <a:gdLst>
                <a:gd name="T0" fmla="*/ 2147483647 w 98"/>
                <a:gd name="T1" fmla="*/ 2147483647 h 50"/>
                <a:gd name="T2" fmla="*/ 2147483647 w 98"/>
                <a:gd name="T3" fmla="*/ 0 h 50"/>
                <a:gd name="T4" fmla="*/ 2147483647 w 98"/>
                <a:gd name="T5" fmla="*/ 0 h 50"/>
                <a:gd name="T6" fmla="*/ 2147483647 w 98"/>
                <a:gd name="T7" fmla="*/ 2147483647 h 50"/>
                <a:gd name="T8" fmla="*/ 2147483647 w 98"/>
                <a:gd name="T9" fmla="*/ 2147483647 h 50"/>
                <a:gd name="T10" fmla="*/ 2147483647 w 98"/>
                <a:gd name="T11" fmla="*/ 2147483647 h 50"/>
                <a:gd name="T12" fmla="*/ 2147483647 w 98"/>
                <a:gd name="T13" fmla="*/ 2147483647 h 50"/>
                <a:gd name="T14" fmla="*/ 2147483647 w 98"/>
                <a:gd name="T15" fmla="*/ 2147483647 h 50"/>
                <a:gd name="T16" fmla="*/ 2147483647 w 98"/>
                <a:gd name="T17" fmla="*/ 2147483647 h 50"/>
                <a:gd name="T18" fmla="*/ 2147483647 w 98"/>
                <a:gd name="T19" fmla="*/ 2147483647 h 50"/>
                <a:gd name="T20" fmla="*/ 2147483647 w 98"/>
                <a:gd name="T21" fmla="*/ 2147483647 h 50"/>
                <a:gd name="T22" fmla="*/ 2147483647 w 98"/>
                <a:gd name="T23" fmla="*/ 2147483647 h 50"/>
                <a:gd name="T24" fmla="*/ 2147483647 w 98"/>
                <a:gd name="T25" fmla="*/ 2147483647 h 50"/>
                <a:gd name="T26" fmla="*/ 2147483647 w 98"/>
                <a:gd name="T27" fmla="*/ 2147483647 h 50"/>
                <a:gd name="T28" fmla="*/ 0 w 98"/>
                <a:gd name="T29" fmla="*/ 2147483647 h 50"/>
                <a:gd name="T30" fmla="*/ 2147483647 w 98"/>
                <a:gd name="T31" fmla="*/ 2147483647 h 50"/>
                <a:gd name="T32" fmla="*/ 2147483647 w 98"/>
                <a:gd name="T33" fmla="*/ 2147483647 h 50"/>
                <a:gd name="T34" fmla="*/ 2147483647 w 98"/>
                <a:gd name="T35" fmla="*/ 2147483647 h 50"/>
                <a:gd name="T36" fmla="*/ 2147483647 w 98"/>
                <a:gd name="T37" fmla="*/ 2147483647 h 50"/>
                <a:gd name="T38" fmla="*/ 2147483647 w 98"/>
                <a:gd name="T39" fmla="*/ 2147483647 h 50"/>
                <a:gd name="T40" fmla="*/ 2147483647 w 98"/>
                <a:gd name="T41" fmla="*/ 2147483647 h 50"/>
                <a:gd name="T42" fmla="*/ 2147483647 w 98"/>
                <a:gd name="T43" fmla="*/ 2147483647 h 50"/>
                <a:gd name="T44" fmla="*/ 2147483647 w 98"/>
                <a:gd name="T45" fmla="*/ 2147483647 h 50"/>
                <a:gd name="T46" fmla="*/ 2147483647 w 98"/>
                <a:gd name="T47" fmla="*/ 2147483647 h 50"/>
                <a:gd name="T48" fmla="*/ 2147483647 w 98"/>
                <a:gd name="T49" fmla="*/ 2147483647 h 50"/>
                <a:gd name="T50" fmla="*/ 2147483647 w 98"/>
                <a:gd name="T51" fmla="*/ 2147483647 h 50"/>
                <a:gd name="T52" fmla="*/ 2147483647 w 98"/>
                <a:gd name="T53" fmla="*/ 2147483647 h 50"/>
                <a:gd name="T54" fmla="*/ 2147483647 w 98"/>
                <a:gd name="T55" fmla="*/ 2147483647 h 50"/>
                <a:gd name="T56" fmla="*/ 2147483647 w 98"/>
                <a:gd name="T57" fmla="*/ 2147483647 h 50"/>
                <a:gd name="T58" fmla="*/ 2147483647 w 98"/>
                <a:gd name="T59" fmla="*/ 2147483647 h 50"/>
                <a:gd name="T60" fmla="*/ 2147483647 w 98"/>
                <a:gd name="T61" fmla="*/ 2147483647 h 50"/>
                <a:gd name="T62" fmla="*/ 2147483647 w 98"/>
                <a:gd name="T63" fmla="*/ 2147483647 h 50"/>
                <a:gd name="T64" fmla="*/ 2147483647 w 98"/>
                <a:gd name="T65" fmla="*/ 2147483647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8"/>
                <a:gd name="T100" fmla="*/ 0 h 50"/>
                <a:gd name="T101" fmla="*/ 98 w 98"/>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8" h="50">
                  <a:moveTo>
                    <a:pt x="98" y="7"/>
                  </a:moveTo>
                  <a:lnTo>
                    <a:pt x="98" y="3"/>
                  </a:lnTo>
                  <a:lnTo>
                    <a:pt x="97" y="1"/>
                  </a:lnTo>
                  <a:lnTo>
                    <a:pt x="94" y="0"/>
                  </a:lnTo>
                  <a:lnTo>
                    <a:pt x="93" y="0"/>
                  </a:lnTo>
                  <a:lnTo>
                    <a:pt x="92" y="0"/>
                  </a:lnTo>
                  <a:lnTo>
                    <a:pt x="89" y="3"/>
                  </a:lnTo>
                  <a:lnTo>
                    <a:pt x="87" y="5"/>
                  </a:lnTo>
                  <a:lnTo>
                    <a:pt x="83" y="5"/>
                  </a:lnTo>
                  <a:lnTo>
                    <a:pt x="80" y="5"/>
                  </a:lnTo>
                  <a:lnTo>
                    <a:pt x="78" y="3"/>
                  </a:lnTo>
                  <a:lnTo>
                    <a:pt x="74" y="5"/>
                  </a:lnTo>
                  <a:lnTo>
                    <a:pt x="65" y="6"/>
                  </a:lnTo>
                  <a:lnTo>
                    <a:pt x="60" y="6"/>
                  </a:lnTo>
                  <a:lnTo>
                    <a:pt x="56" y="5"/>
                  </a:lnTo>
                  <a:lnTo>
                    <a:pt x="55" y="3"/>
                  </a:lnTo>
                  <a:lnTo>
                    <a:pt x="48" y="3"/>
                  </a:lnTo>
                  <a:lnTo>
                    <a:pt x="42" y="3"/>
                  </a:lnTo>
                  <a:lnTo>
                    <a:pt x="36" y="5"/>
                  </a:lnTo>
                  <a:lnTo>
                    <a:pt x="28" y="5"/>
                  </a:lnTo>
                  <a:lnTo>
                    <a:pt x="19" y="3"/>
                  </a:lnTo>
                  <a:lnTo>
                    <a:pt x="15" y="5"/>
                  </a:lnTo>
                  <a:lnTo>
                    <a:pt x="12" y="8"/>
                  </a:lnTo>
                  <a:lnTo>
                    <a:pt x="10" y="12"/>
                  </a:lnTo>
                  <a:lnTo>
                    <a:pt x="9" y="15"/>
                  </a:lnTo>
                  <a:lnTo>
                    <a:pt x="8" y="19"/>
                  </a:lnTo>
                  <a:lnTo>
                    <a:pt x="5" y="21"/>
                  </a:lnTo>
                  <a:lnTo>
                    <a:pt x="3" y="25"/>
                  </a:lnTo>
                  <a:lnTo>
                    <a:pt x="1" y="27"/>
                  </a:lnTo>
                  <a:lnTo>
                    <a:pt x="0" y="31"/>
                  </a:lnTo>
                  <a:lnTo>
                    <a:pt x="3" y="35"/>
                  </a:lnTo>
                  <a:lnTo>
                    <a:pt x="5" y="40"/>
                  </a:lnTo>
                  <a:lnTo>
                    <a:pt x="8" y="45"/>
                  </a:lnTo>
                  <a:lnTo>
                    <a:pt x="12" y="48"/>
                  </a:lnTo>
                  <a:lnTo>
                    <a:pt x="14" y="50"/>
                  </a:lnTo>
                  <a:lnTo>
                    <a:pt x="17" y="50"/>
                  </a:lnTo>
                  <a:lnTo>
                    <a:pt x="19" y="48"/>
                  </a:lnTo>
                  <a:lnTo>
                    <a:pt x="22" y="46"/>
                  </a:lnTo>
                  <a:lnTo>
                    <a:pt x="23" y="44"/>
                  </a:lnTo>
                  <a:lnTo>
                    <a:pt x="22" y="41"/>
                  </a:lnTo>
                  <a:lnTo>
                    <a:pt x="18" y="37"/>
                  </a:lnTo>
                  <a:lnTo>
                    <a:pt x="17" y="32"/>
                  </a:lnTo>
                  <a:lnTo>
                    <a:pt x="18" y="28"/>
                  </a:lnTo>
                  <a:lnTo>
                    <a:pt x="21" y="24"/>
                  </a:lnTo>
                  <a:lnTo>
                    <a:pt x="22" y="24"/>
                  </a:lnTo>
                  <a:lnTo>
                    <a:pt x="23" y="24"/>
                  </a:lnTo>
                  <a:lnTo>
                    <a:pt x="24" y="25"/>
                  </a:lnTo>
                  <a:lnTo>
                    <a:pt x="26" y="22"/>
                  </a:lnTo>
                  <a:lnTo>
                    <a:pt x="26" y="21"/>
                  </a:lnTo>
                  <a:lnTo>
                    <a:pt x="26" y="19"/>
                  </a:lnTo>
                  <a:lnTo>
                    <a:pt x="26" y="16"/>
                  </a:lnTo>
                  <a:lnTo>
                    <a:pt x="28" y="15"/>
                  </a:lnTo>
                  <a:lnTo>
                    <a:pt x="29" y="16"/>
                  </a:lnTo>
                  <a:lnTo>
                    <a:pt x="31" y="16"/>
                  </a:lnTo>
                  <a:lnTo>
                    <a:pt x="33" y="16"/>
                  </a:lnTo>
                  <a:lnTo>
                    <a:pt x="37" y="16"/>
                  </a:lnTo>
                  <a:lnTo>
                    <a:pt x="41" y="15"/>
                  </a:lnTo>
                  <a:lnTo>
                    <a:pt x="48" y="16"/>
                  </a:lnTo>
                  <a:lnTo>
                    <a:pt x="52" y="16"/>
                  </a:lnTo>
                  <a:lnTo>
                    <a:pt x="56" y="15"/>
                  </a:lnTo>
                  <a:lnTo>
                    <a:pt x="62" y="15"/>
                  </a:lnTo>
                  <a:lnTo>
                    <a:pt x="67" y="15"/>
                  </a:lnTo>
                  <a:lnTo>
                    <a:pt x="80" y="15"/>
                  </a:lnTo>
                  <a:lnTo>
                    <a:pt x="85" y="15"/>
                  </a:lnTo>
                  <a:lnTo>
                    <a:pt x="90" y="14"/>
                  </a:lnTo>
                  <a:lnTo>
                    <a:pt x="94" y="11"/>
                  </a:lnTo>
                  <a:lnTo>
                    <a:pt x="98" y="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7" name="Freeform 1306"/>
            <p:cNvSpPr>
              <a:spLocks/>
            </p:cNvSpPr>
            <p:nvPr/>
          </p:nvSpPr>
          <p:spPr bwMode="auto">
            <a:xfrm>
              <a:off x="5827713" y="2852742"/>
              <a:ext cx="93662" cy="133350"/>
            </a:xfrm>
            <a:custGeom>
              <a:avLst/>
              <a:gdLst>
                <a:gd name="T0" fmla="*/ 2147483647 w 64"/>
                <a:gd name="T1" fmla="*/ 2147483647 h 84"/>
                <a:gd name="T2" fmla="*/ 2147483647 w 64"/>
                <a:gd name="T3" fmla="*/ 2147483647 h 84"/>
                <a:gd name="T4" fmla="*/ 2147483647 w 64"/>
                <a:gd name="T5" fmla="*/ 2147483647 h 84"/>
                <a:gd name="T6" fmla="*/ 2147483647 w 64"/>
                <a:gd name="T7" fmla="*/ 2147483647 h 84"/>
                <a:gd name="T8" fmla="*/ 2147483647 w 64"/>
                <a:gd name="T9" fmla="*/ 2147483647 h 84"/>
                <a:gd name="T10" fmla="*/ 2147483647 w 64"/>
                <a:gd name="T11" fmla="*/ 2147483647 h 84"/>
                <a:gd name="T12" fmla="*/ 2147483647 w 64"/>
                <a:gd name="T13" fmla="*/ 2147483647 h 84"/>
                <a:gd name="T14" fmla="*/ 2147483647 w 64"/>
                <a:gd name="T15" fmla="*/ 2147483647 h 84"/>
                <a:gd name="T16" fmla="*/ 2147483647 w 64"/>
                <a:gd name="T17" fmla="*/ 2147483647 h 84"/>
                <a:gd name="T18" fmla="*/ 0 w 64"/>
                <a:gd name="T19" fmla="*/ 2147483647 h 84"/>
                <a:gd name="T20" fmla="*/ 0 w 64"/>
                <a:gd name="T21" fmla="*/ 2147483647 h 84"/>
                <a:gd name="T22" fmla="*/ 2147483647 w 64"/>
                <a:gd name="T23" fmla="*/ 2147483647 h 84"/>
                <a:gd name="T24" fmla="*/ 2147483647 w 64"/>
                <a:gd name="T25" fmla="*/ 2147483647 h 84"/>
                <a:gd name="T26" fmla="*/ 2147483647 w 64"/>
                <a:gd name="T27" fmla="*/ 2147483647 h 84"/>
                <a:gd name="T28" fmla="*/ 2147483647 w 64"/>
                <a:gd name="T29" fmla="*/ 2147483647 h 84"/>
                <a:gd name="T30" fmla="*/ 2147483647 w 64"/>
                <a:gd name="T31" fmla="*/ 2147483647 h 84"/>
                <a:gd name="T32" fmla="*/ 2147483647 w 64"/>
                <a:gd name="T33" fmla="*/ 2147483647 h 84"/>
                <a:gd name="T34" fmla="*/ 2147483647 w 64"/>
                <a:gd name="T35" fmla="*/ 2147483647 h 84"/>
                <a:gd name="T36" fmla="*/ 2147483647 w 64"/>
                <a:gd name="T37" fmla="*/ 2147483647 h 84"/>
                <a:gd name="T38" fmla="*/ 2147483647 w 64"/>
                <a:gd name="T39" fmla="*/ 2147483647 h 84"/>
                <a:gd name="T40" fmla="*/ 2147483647 w 64"/>
                <a:gd name="T41" fmla="*/ 2147483647 h 84"/>
                <a:gd name="T42" fmla="*/ 2147483647 w 64"/>
                <a:gd name="T43" fmla="*/ 2147483647 h 84"/>
                <a:gd name="T44" fmla="*/ 2147483647 w 64"/>
                <a:gd name="T45" fmla="*/ 2147483647 h 84"/>
                <a:gd name="T46" fmla="*/ 2147483647 w 64"/>
                <a:gd name="T47" fmla="*/ 2147483647 h 84"/>
                <a:gd name="T48" fmla="*/ 2147483647 w 64"/>
                <a:gd name="T49" fmla="*/ 2147483647 h 84"/>
                <a:gd name="T50" fmla="*/ 2147483647 w 64"/>
                <a:gd name="T51" fmla="*/ 2147483647 h 84"/>
                <a:gd name="T52" fmla="*/ 2147483647 w 64"/>
                <a:gd name="T53" fmla="*/ 2147483647 h 84"/>
                <a:gd name="T54" fmla="*/ 2147483647 w 64"/>
                <a:gd name="T55" fmla="*/ 2147483647 h 84"/>
                <a:gd name="T56" fmla="*/ 2147483647 w 64"/>
                <a:gd name="T57" fmla="*/ 2147483647 h 84"/>
                <a:gd name="T58" fmla="*/ 2147483647 w 64"/>
                <a:gd name="T59" fmla="*/ 2147483647 h 84"/>
                <a:gd name="T60" fmla="*/ 2147483647 w 64"/>
                <a:gd name="T61" fmla="*/ 2147483647 h 84"/>
                <a:gd name="T62" fmla="*/ 2147483647 w 64"/>
                <a:gd name="T63" fmla="*/ 2147483647 h 84"/>
                <a:gd name="T64" fmla="*/ 2147483647 w 64"/>
                <a:gd name="T65" fmla="*/ 2147483647 h 84"/>
                <a:gd name="T66" fmla="*/ 2147483647 w 64"/>
                <a:gd name="T67" fmla="*/ 2147483647 h 84"/>
                <a:gd name="T68" fmla="*/ 2147483647 w 64"/>
                <a:gd name="T69" fmla="*/ 2147483647 h 84"/>
                <a:gd name="T70" fmla="*/ 2147483647 w 64"/>
                <a:gd name="T71" fmla="*/ 2147483647 h 84"/>
                <a:gd name="T72" fmla="*/ 2147483647 w 64"/>
                <a:gd name="T73" fmla="*/ 2147483647 h 84"/>
                <a:gd name="T74" fmla="*/ 2147483647 w 64"/>
                <a:gd name="T75" fmla="*/ 2147483647 h 84"/>
                <a:gd name="T76" fmla="*/ 2147483647 w 64"/>
                <a:gd name="T77" fmla="*/ 2147483647 h 84"/>
                <a:gd name="T78" fmla="*/ 2147483647 w 64"/>
                <a:gd name="T79" fmla="*/ 2147483647 h 84"/>
                <a:gd name="T80" fmla="*/ 2147483647 w 64"/>
                <a:gd name="T81" fmla="*/ 2147483647 h 84"/>
                <a:gd name="T82" fmla="*/ 2147483647 w 64"/>
                <a:gd name="T83" fmla="*/ 2147483647 h 84"/>
                <a:gd name="T84" fmla="*/ 2147483647 w 64"/>
                <a:gd name="T85" fmla="*/ 2147483647 h 84"/>
                <a:gd name="T86" fmla="*/ 2147483647 w 64"/>
                <a:gd name="T87" fmla="*/ 0 h 84"/>
                <a:gd name="T88" fmla="*/ 2147483647 w 64"/>
                <a:gd name="T89" fmla="*/ 0 h 84"/>
                <a:gd name="T90" fmla="*/ 2147483647 w 64"/>
                <a:gd name="T91" fmla="*/ 2147483647 h 84"/>
                <a:gd name="T92" fmla="*/ 2147483647 w 64"/>
                <a:gd name="T93" fmla="*/ 2147483647 h 84"/>
                <a:gd name="T94" fmla="*/ 2147483647 w 64"/>
                <a:gd name="T95" fmla="*/ 2147483647 h 84"/>
                <a:gd name="T96" fmla="*/ 2147483647 w 64"/>
                <a:gd name="T97" fmla="*/ 2147483647 h 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
                <a:gd name="T148" fmla="*/ 0 h 84"/>
                <a:gd name="T149" fmla="*/ 64 w 64"/>
                <a:gd name="T150" fmla="*/ 84 h 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 h="84">
                  <a:moveTo>
                    <a:pt x="19" y="16"/>
                  </a:moveTo>
                  <a:lnTo>
                    <a:pt x="19" y="16"/>
                  </a:lnTo>
                  <a:lnTo>
                    <a:pt x="20" y="19"/>
                  </a:lnTo>
                  <a:lnTo>
                    <a:pt x="20" y="22"/>
                  </a:lnTo>
                  <a:lnTo>
                    <a:pt x="18" y="24"/>
                  </a:lnTo>
                  <a:lnTo>
                    <a:pt x="17" y="26"/>
                  </a:lnTo>
                  <a:lnTo>
                    <a:pt x="12" y="26"/>
                  </a:lnTo>
                  <a:lnTo>
                    <a:pt x="8" y="26"/>
                  </a:lnTo>
                  <a:lnTo>
                    <a:pt x="6" y="28"/>
                  </a:lnTo>
                  <a:lnTo>
                    <a:pt x="5" y="30"/>
                  </a:lnTo>
                  <a:lnTo>
                    <a:pt x="4" y="33"/>
                  </a:lnTo>
                  <a:lnTo>
                    <a:pt x="4" y="37"/>
                  </a:lnTo>
                  <a:lnTo>
                    <a:pt x="3" y="42"/>
                  </a:lnTo>
                  <a:lnTo>
                    <a:pt x="1" y="43"/>
                  </a:lnTo>
                  <a:lnTo>
                    <a:pt x="0" y="44"/>
                  </a:lnTo>
                  <a:lnTo>
                    <a:pt x="0" y="45"/>
                  </a:lnTo>
                  <a:lnTo>
                    <a:pt x="0" y="63"/>
                  </a:lnTo>
                  <a:lnTo>
                    <a:pt x="0" y="71"/>
                  </a:lnTo>
                  <a:lnTo>
                    <a:pt x="3" y="80"/>
                  </a:lnTo>
                  <a:lnTo>
                    <a:pt x="4" y="81"/>
                  </a:lnTo>
                  <a:lnTo>
                    <a:pt x="8" y="82"/>
                  </a:lnTo>
                  <a:lnTo>
                    <a:pt x="13" y="81"/>
                  </a:lnTo>
                  <a:lnTo>
                    <a:pt x="17" y="79"/>
                  </a:lnTo>
                  <a:lnTo>
                    <a:pt x="18" y="79"/>
                  </a:lnTo>
                  <a:lnTo>
                    <a:pt x="19" y="79"/>
                  </a:lnTo>
                  <a:lnTo>
                    <a:pt x="23" y="82"/>
                  </a:lnTo>
                  <a:lnTo>
                    <a:pt x="27" y="84"/>
                  </a:lnTo>
                  <a:lnTo>
                    <a:pt x="31" y="84"/>
                  </a:lnTo>
                  <a:lnTo>
                    <a:pt x="34" y="82"/>
                  </a:lnTo>
                  <a:lnTo>
                    <a:pt x="41" y="77"/>
                  </a:lnTo>
                  <a:lnTo>
                    <a:pt x="43" y="75"/>
                  </a:lnTo>
                  <a:lnTo>
                    <a:pt x="46" y="73"/>
                  </a:lnTo>
                  <a:lnTo>
                    <a:pt x="46" y="71"/>
                  </a:lnTo>
                  <a:lnTo>
                    <a:pt x="45" y="69"/>
                  </a:lnTo>
                  <a:lnTo>
                    <a:pt x="45" y="68"/>
                  </a:lnTo>
                  <a:lnTo>
                    <a:pt x="46" y="67"/>
                  </a:lnTo>
                  <a:lnTo>
                    <a:pt x="50" y="66"/>
                  </a:lnTo>
                  <a:lnTo>
                    <a:pt x="53" y="66"/>
                  </a:lnTo>
                  <a:lnTo>
                    <a:pt x="55" y="64"/>
                  </a:lnTo>
                  <a:lnTo>
                    <a:pt x="57" y="63"/>
                  </a:lnTo>
                  <a:lnTo>
                    <a:pt x="57" y="58"/>
                  </a:lnTo>
                  <a:lnTo>
                    <a:pt x="57" y="54"/>
                  </a:lnTo>
                  <a:lnTo>
                    <a:pt x="59" y="50"/>
                  </a:lnTo>
                  <a:lnTo>
                    <a:pt x="64" y="43"/>
                  </a:lnTo>
                  <a:lnTo>
                    <a:pt x="60" y="45"/>
                  </a:lnTo>
                  <a:lnTo>
                    <a:pt x="57" y="45"/>
                  </a:lnTo>
                  <a:lnTo>
                    <a:pt x="53" y="44"/>
                  </a:lnTo>
                  <a:lnTo>
                    <a:pt x="51" y="43"/>
                  </a:lnTo>
                  <a:lnTo>
                    <a:pt x="48" y="41"/>
                  </a:lnTo>
                  <a:lnTo>
                    <a:pt x="47" y="38"/>
                  </a:lnTo>
                  <a:lnTo>
                    <a:pt x="46" y="35"/>
                  </a:lnTo>
                  <a:lnTo>
                    <a:pt x="46" y="31"/>
                  </a:lnTo>
                  <a:lnTo>
                    <a:pt x="48" y="28"/>
                  </a:lnTo>
                  <a:lnTo>
                    <a:pt x="51" y="24"/>
                  </a:lnTo>
                  <a:lnTo>
                    <a:pt x="52" y="20"/>
                  </a:lnTo>
                  <a:lnTo>
                    <a:pt x="52" y="18"/>
                  </a:lnTo>
                  <a:lnTo>
                    <a:pt x="51" y="17"/>
                  </a:lnTo>
                  <a:lnTo>
                    <a:pt x="51" y="15"/>
                  </a:lnTo>
                  <a:lnTo>
                    <a:pt x="51" y="12"/>
                  </a:lnTo>
                  <a:lnTo>
                    <a:pt x="55" y="9"/>
                  </a:lnTo>
                  <a:lnTo>
                    <a:pt x="56" y="7"/>
                  </a:lnTo>
                  <a:lnTo>
                    <a:pt x="56" y="5"/>
                  </a:lnTo>
                  <a:lnTo>
                    <a:pt x="55" y="3"/>
                  </a:lnTo>
                  <a:lnTo>
                    <a:pt x="53" y="3"/>
                  </a:lnTo>
                  <a:lnTo>
                    <a:pt x="50" y="4"/>
                  </a:lnTo>
                  <a:lnTo>
                    <a:pt x="48" y="5"/>
                  </a:lnTo>
                  <a:lnTo>
                    <a:pt x="47" y="4"/>
                  </a:lnTo>
                  <a:lnTo>
                    <a:pt x="45" y="1"/>
                  </a:lnTo>
                  <a:lnTo>
                    <a:pt x="43" y="0"/>
                  </a:lnTo>
                  <a:lnTo>
                    <a:pt x="42" y="0"/>
                  </a:lnTo>
                  <a:lnTo>
                    <a:pt x="37" y="0"/>
                  </a:lnTo>
                  <a:lnTo>
                    <a:pt x="33" y="4"/>
                  </a:lnTo>
                  <a:lnTo>
                    <a:pt x="31" y="9"/>
                  </a:lnTo>
                  <a:lnTo>
                    <a:pt x="29" y="13"/>
                  </a:lnTo>
                  <a:lnTo>
                    <a:pt x="27" y="11"/>
                  </a:lnTo>
                  <a:lnTo>
                    <a:pt x="24" y="12"/>
                  </a:lnTo>
                  <a:lnTo>
                    <a:pt x="19" y="16"/>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8" name="Freeform 1307"/>
            <p:cNvSpPr>
              <a:spLocks/>
            </p:cNvSpPr>
            <p:nvPr/>
          </p:nvSpPr>
          <p:spPr bwMode="auto">
            <a:xfrm>
              <a:off x="6205538" y="2857501"/>
              <a:ext cx="144462" cy="77788"/>
            </a:xfrm>
            <a:custGeom>
              <a:avLst/>
              <a:gdLst>
                <a:gd name="T0" fmla="*/ 2147483647 w 98"/>
                <a:gd name="T1" fmla="*/ 2147483647 h 49"/>
                <a:gd name="T2" fmla="*/ 2147483647 w 98"/>
                <a:gd name="T3" fmla="*/ 2147483647 h 49"/>
                <a:gd name="T4" fmla="*/ 2147483647 w 98"/>
                <a:gd name="T5" fmla="*/ 0 h 49"/>
                <a:gd name="T6" fmla="*/ 2147483647 w 98"/>
                <a:gd name="T7" fmla="*/ 0 h 49"/>
                <a:gd name="T8" fmla="*/ 2147483647 w 98"/>
                <a:gd name="T9" fmla="*/ 2147483647 h 49"/>
                <a:gd name="T10" fmla="*/ 2147483647 w 98"/>
                <a:gd name="T11" fmla="*/ 2147483647 h 49"/>
                <a:gd name="T12" fmla="*/ 2147483647 w 98"/>
                <a:gd name="T13" fmla="*/ 2147483647 h 49"/>
                <a:gd name="T14" fmla="*/ 2147483647 w 98"/>
                <a:gd name="T15" fmla="*/ 2147483647 h 49"/>
                <a:gd name="T16" fmla="*/ 2147483647 w 98"/>
                <a:gd name="T17" fmla="*/ 2147483647 h 49"/>
                <a:gd name="T18" fmla="*/ 2147483647 w 98"/>
                <a:gd name="T19" fmla="*/ 2147483647 h 49"/>
                <a:gd name="T20" fmla="*/ 2147483647 w 98"/>
                <a:gd name="T21" fmla="*/ 2147483647 h 49"/>
                <a:gd name="T22" fmla="*/ 2147483647 w 98"/>
                <a:gd name="T23" fmla="*/ 2147483647 h 49"/>
                <a:gd name="T24" fmla="*/ 2147483647 w 98"/>
                <a:gd name="T25" fmla="*/ 2147483647 h 49"/>
                <a:gd name="T26" fmla="*/ 2147483647 w 98"/>
                <a:gd name="T27" fmla="*/ 2147483647 h 49"/>
                <a:gd name="T28" fmla="*/ 2147483647 w 98"/>
                <a:gd name="T29" fmla="*/ 2147483647 h 49"/>
                <a:gd name="T30" fmla="*/ 2147483647 w 98"/>
                <a:gd name="T31" fmla="*/ 2147483647 h 49"/>
                <a:gd name="T32" fmla="*/ 2147483647 w 98"/>
                <a:gd name="T33" fmla="*/ 2147483647 h 49"/>
                <a:gd name="T34" fmla="*/ 2147483647 w 98"/>
                <a:gd name="T35" fmla="*/ 2147483647 h 49"/>
                <a:gd name="T36" fmla="*/ 2147483647 w 98"/>
                <a:gd name="T37" fmla="*/ 2147483647 h 49"/>
                <a:gd name="T38" fmla="*/ 2147483647 w 98"/>
                <a:gd name="T39" fmla="*/ 2147483647 h 49"/>
                <a:gd name="T40" fmla="*/ 0 w 98"/>
                <a:gd name="T41" fmla="*/ 2147483647 h 49"/>
                <a:gd name="T42" fmla="*/ 2147483647 w 98"/>
                <a:gd name="T43" fmla="*/ 2147483647 h 49"/>
                <a:gd name="T44" fmla="*/ 2147483647 w 98"/>
                <a:gd name="T45" fmla="*/ 2147483647 h 49"/>
                <a:gd name="T46" fmla="*/ 2147483647 w 98"/>
                <a:gd name="T47" fmla="*/ 2147483647 h 49"/>
                <a:gd name="T48" fmla="*/ 2147483647 w 98"/>
                <a:gd name="T49" fmla="*/ 2147483647 h 49"/>
                <a:gd name="T50" fmla="*/ 2147483647 w 98"/>
                <a:gd name="T51" fmla="*/ 2147483647 h 49"/>
                <a:gd name="T52" fmla="*/ 2147483647 w 98"/>
                <a:gd name="T53" fmla="*/ 2147483647 h 49"/>
                <a:gd name="T54" fmla="*/ 2147483647 w 98"/>
                <a:gd name="T55" fmla="*/ 2147483647 h 49"/>
                <a:gd name="T56" fmla="*/ 2147483647 w 98"/>
                <a:gd name="T57" fmla="*/ 2147483647 h 49"/>
                <a:gd name="T58" fmla="*/ 2147483647 w 98"/>
                <a:gd name="T59" fmla="*/ 2147483647 h 49"/>
                <a:gd name="T60" fmla="*/ 2147483647 w 98"/>
                <a:gd name="T61" fmla="*/ 2147483647 h 49"/>
                <a:gd name="T62" fmla="*/ 2147483647 w 98"/>
                <a:gd name="T63" fmla="*/ 2147483647 h 49"/>
                <a:gd name="T64" fmla="*/ 2147483647 w 98"/>
                <a:gd name="T65" fmla="*/ 2147483647 h 49"/>
                <a:gd name="T66" fmla="*/ 2147483647 w 98"/>
                <a:gd name="T67" fmla="*/ 2147483647 h 49"/>
                <a:gd name="T68" fmla="*/ 2147483647 w 98"/>
                <a:gd name="T69" fmla="*/ 2147483647 h 49"/>
                <a:gd name="T70" fmla="*/ 2147483647 w 98"/>
                <a:gd name="T71" fmla="*/ 2147483647 h 49"/>
                <a:gd name="T72" fmla="*/ 2147483647 w 98"/>
                <a:gd name="T73" fmla="*/ 2147483647 h 49"/>
                <a:gd name="T74" fmla="*/ 2147483647 w 98"/>
                <a:gd name="T75" fmla="*/ 2147483647 h 49"/>
                <a:gd name="T76" fmla="*/ 2147483647 w 98"/>
                <a:gd name="T77" fmla="*/ 2147483647 h 49"/>
                <a:gd name="T78" fmla="*/ 2147483647 w 98"/>
                <a:gd name="T79" fmla="*/ 2147483647 h 49"/>
                <a:gd name="T80" fmla="*/ 2147483647 w 98"/>
                <a:gd name="T81" fmla="*/ 2147483647 h 49"/>
                <a:gd name="T82" fmla="*/ 2147483647 w 98"/>
                <a:gd name="T83" fmla="*/ 2147483647 h 49"/>
                <a:gd name="T84" fmla="*/ 2147483647 w 98"/>
                <a:gd name="T85" fmla="*/ 2147483647 h 49"/>
                <a:gd name="T86" fmla="*/ 2147483647 w 98"/>
                <a:gd name="T87" fmla="*/ 2147483647 h 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8"/>
                <a:gd name="T133" fmla="*/ 0 h 49"/>
                <a:gd name="T134" fmla="*/ 98 w 98"/>
                <a:gd name="T135" fmla="*/ 49 h 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8" h="49">
                  <a:moveTo>
                    <a:pt x="98" y="7"/>
                  </a:moveTo>
                  <a:lnTo>
                    <a:pt x="98" y="7"/>
                  </a:lnTo>
                  <a:lnTo>
                    <a:pt x="98" y="3"/>
                  </a:lnTo>
                  <a:lnTo>
                    <a:pt x="96" y="1"/>
                  </a:lnTo>
                  <a:lnTo>
                    <a:pt x="94" y="0"/>
                  </a:lnTo>
                  <a:lnTo>
                    <a:pt x="93" y="0"/>
                  </a:lnTo>
                  <a:lnTo>
                    <a:pt x="91" y="0"/>
                  </a:lnTo>
                  <a:lnTo>
                    <a:pt x="89" y="3"/>
                  </a:lnTo>
                  <a:lnTo>
                    <a:pt x="86" y="4"/>
                  </a:lnTo>
                  <a:lnTo>
                    <a:pt x="82" y="4"/>
                  </a:lnTo>
                  <a:lnTo>
                    <a:pt x="80" y="4"/>
                  </a:lnTo>
                  <a:lnTo>
                    <a:pt x="77" y="3"/>
                  </a:lnTo>
                  <a:lnTo>
                    <a:pt x="74" y="4"/>
                  </a:lnTo>
                  <a:lnTo>
                    <a:pt x="65" y="6"/>
                  </a:lnTo>
                  <a:lnTo>
                    <a:pt x="60" y="6"/>
                  </a:lnTo>
                  <a:lnTo>
                    <a:pt x="56" y="4"/>
                  </a:lnTo>
                  <a:lnTo>
                    <a:pt x="55" y="3"/>
                  </a:lnTo>
                  <a:lnTo>
                    <a:pt x="48" y="3"/>
                  </a:lnTo>
                  <a:lnTo>
                    <a:pt x="42" y="3"/>
                  </a:lnTo>
                  <a:lnTo>
                    <a:pt x="35" y="4"/>
                  </a:lnTo>
                  <a:lnTo>
                    <a:pt x="28" y="4"/>
                  </a:lnTo>
                  <a:lnTo>
                    <a:pt x="19" y="3"/>
                  </a:lnTo>
                  <a:lnTo>
                    <a:pt x="15" y="4"/>
                  </a:lnTo>
                  <a:lnTo>
                    <a:pt x="11" y="8"/>
                  </a:lnTo>
                  <a:lnTo>
                    <a:pt x="10" y="12"/>
                  </a:lnTo>
                  <a:lnTo>
                    <a:pt x="9" y="15"/>
                  </a:lnTo>
                  <a:lnTo>
                    <a:pt x="8" y="19"/>
                  </a:lnTo>
                  <a:lnTo>
                    <a:pt x="5" y="21"/>
                  </a:lnTo>
                  <a:lnTo>
                    <a:pt x="2" y="25"/>
                  </a:lnTo>
                  <a:lnTo>
                    <a:pt x="1" y="27"/>
                  </a:lnTo>
                  <a:lnTo>
                    <a:pt x="0" y="30"/>
                  </a:lnTo>
                  <a:lnTo>
                    <a:pt x="2" y="35"/>
                  </a:lnTo>
                  <a:lnTo>
                    <a:pt x="5" y="40"/>
                  </a:lnTo>
                  <a:lnTo>
                    <a:pt x="8" y="45"/>
                  </a:lnTo>
                  <a:lnTo>
                    <a:pt x="11" y="48"/>
                  </a:lnTo>
                  <a:lnTo>
                    <a:pt x="14" y="49"/>
                  </a:lnTo>
                  <a:lnTo>
                    <a:pt x="16" y="49"/>
                  </a:lnTo>
                  <a:lnTo>
                    <a:pt x="19" y="48"/>
                  </a:lnTo>
                  <a:lnTo>
                    <a:pt x="22" y="46"/>
                  </a:lnTo>
                  <a:lnTo>
                    <a:pt x="23" y="44"/>
                  </a:lnTo>
                  <a:lnTo>
                    <a:pt x="22" y="41"/>
                  </a:lnTo>
                  <a:lnTo>
                    <a:pt x="18" y="36"/>
                  </a:lnTo>
                  <a:lnTo>
                    <a:pt x="16" y="32"/>
                  </a:lnTo>
                  <a:lnTo>
                    <a:pt x="18" y="28"/>
                  </a:lnTo>
                  <a:lnTo>
                    <a:pt x="20" y="23"/>
                  </a:lnTo>
                  <a:lnTo>
                    <a:pt x="22" y="23"/>
                  </a:lnTo>
                  <a:lnTo>
                    <a:pt x="23" y="23"/>
                  </a:lnTo>
                  <a:lnTo>
                    <a:pt x="24" y="25"/>
                  </a:lnTo>
                  <a:lnTo>
                    <a:pt x="25" y="22"/>
                  </a:lnTo>
                  <a:lnTo>
                    <a:pt x="25" y="21"/>
                  </a:lnTo>
                  <a:lnTo>
                    <a:pt x="25" y="19"/>
                  </a:lnTo>
                  <a:lnTo>
                    <a:pt x="25" y="16"/>
                  </a:lnTo>
                  <a:lnTo>
                    <a:pt x="28" y="15"/>
                  </a:lnTo>
                  <a:lnTo>
                    <a:pt x="29" y="16"/>
                  </a:lnTo>
                  <a:lnTo>
                    <a:pt x="30" y="16"/>
                  </a:lnTo>
                  <a:lnTo>
                    <a:pt x="33" y="16"/>
                  </a:lnTo>
                  <a:lnTo>
                    <a:pt x="37" y="16"/>
                  </a:lnTo>
                  <a:lnTo>
                    <a:pt x="41" y="15"/>
                  </a:lnTo>
                  <a:lnTo>
                    <a:pt x="48" y="16"/>
                  </a:lnTo>
                  <a:lnTo>
                    <a:pt x="52" y="16"/>
                  </a:lnTo>
                  <a:lnTo>
                    <a:pt x="56" y="15"/>
                  </a:lnTo>
                  <a:lnTo>
                    <a:pt x="62" y="15"/>
                  </a:lnTo>
                  <a:lnTo>
                    <a:pt x="67" y="15"/>
                  </a:lnTo>
                  <a:lnTo>
                    <a:pt x="80" y="15"/>
                  </a:lnTo>
                  <a:lnTo>
                    <a:pt x="85" y="15"/>
                  </a:lnTo>
                  <a:lnTo>
                    <a:pt x="90" y="14"/>
                  </a:lnTo>
                  <a:lnTo>
                    <a:pt x="94" y="10"/>
                  </a:lnTo>
                  <a:lnTo>
                    <a:pt x="98" y="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09" name="Freeform 1308"/>
            <p:cNvSpPr>
              <a:spLocks/>
            </p:cNvSpPr>
            <p:nvPr/>
          </p:nvSpPr>
          <p:spPr bwMode="auto">
            <a:xfrm>
              <a:off x="6129342" y="2968629"/>
              <a:ext cx="244475" cy="153987"/>
            </a:xfrm>
            <a:custGeom>
              <a:avLst/>
              <a:gdLst>
                <a:gd name="T0" fmla="*/ 2147483647 w 167"/>
                <a:gd name="T1" fmla="*/ 2147483647 h 97"/>
                <a:gd name="T2" fmla="*/ 2147483647 w 167"/>
                <a:gd name="T3" fmla="*/ 2147483647 h 97"/>
                <a:gd name="T4" fmla="*/ 2147483647 w 167"/>
                <a:gd name="T5" fmla="*/ 2147483647 h 97"/>
                <a:gd name="T6" fmla="*/ 2147483647 w 167"/>
                <a:gd name="T7" fmla="*/ 2147483647 h 97"/>
                <a:gd name="T8" fmla="*/ 2147483647 w 167"/>
                <a:gd name="T9" fmla="*/ 2147483647 h 97"/>
                <a:gd name="T10" fmla="*/ 2147483647 w 167"/>
                <a:gd name="T11" fmla="*/ 2147483647 h 97"/>
                <a:gd name="T12" fmla="*/ 2147483647 w 167"/>
                <a:gd name="T13" fmla="*/ 2147483647 h 97"/>
                <a:gd name="T14" fmla="*/ 2147483647 w 167"/>
                <a:gd name="T15" fmla="*/ 2147483647 h 97"/>
                <a:gd name="T16" fmla="*/ 2147483647 w 167"/>
                <a:gd name="T17" fmla="*/ 2147483647 h 97"/>
                <a:gd name="T18" fmla="*/ 2147483647 w 167"/>
                <a:gd name="T19" fmla="*/ 2147483647 h 97"/>
                <a:gd name="T20" fmla="*/ 2147483647 w 167"/>
                <a:gd name="T21" fmla="*/ 2147483647 h 97"/>
                <a:gd name="T22" fmla="*/ 2147483647 w 167"/>
                <a:gd name="T23" fmla="*/ 2147483647 h 97"/>
                <a:gd name="T24" fmla="*/ 2147483647 w 167"/>
                <a:gd name="T25" fmla="*/ 2147483647 h 97"/>
                <a:gd name="T26" fmla="*/ 0 w 167"/>
                <a:gd name="T27" fmla="*/ 2147483647 h 97"/>
                <a:gd name="T28" fmla="*/ 2147483647 w 167"/>
                <a:gd name="T29" fmla="*/ 2147483647 h 97"/>
                <a:gd name="T30" fmla="*/ 2147483647 w 167"/>
                <a:gd name="T31" fmla="*/ 2147483647 h 97"/>
                <a:gd name="T32" fmla="*/ 2147483647 w 167"/>
                <a:gd name="T33" fmla="*/ 2147483647 h 97"/>
                <a:gd name="T34" fmla="*/ 2147483647 w 167"/>
                <a:gd name="T35" fmla="*/ 2147483647 h 97"/>
                <a:gd name="T36" fmla="*/ 2147483647 w 167"/>
                <a:gd name="T37" fmla="*/ 2147483647 h 97"/>
                <a:gd name="T38" fmla="*/ 2147483647 w 167"/>
                <a:gd name="T39" fmla="*/ 2147483647 h 97"/>
                <a:gd name="T40" fmla="*/ 2147483647 w 167"/>
                <a:gd name="T41" fmla="*/ 2147483647 h 97"/>
                <a:gd name="T42" fmla="*/ 2147483647 w 167"/>
                <a:gd name="T43" fmla="*/ 2147483647 h 97"/>
                <a:gd name="T44" fmla="*/ 2147483647 w 167"/>
                <a:gd name="T45" fmla="*/ 2147483647 h 97"/>
                <a:gd name="T46" fmla="*/ 2147483647 w 167"/>
                <a:gd name="T47" fmla="*/ 2147483647 h 97"/>
                <a:gd name="T48" fmla="*/ 2147483647 w 167"/>
                <a:gd name="T49" fmla="*/ 2147483647 h 97"/>
                <a:gd name="T50" fmla="*/ 2147483647 w 167"/>
                <a:gd name="T51" fmla="*/ 2147483647 h 97"/>
                <a:gd name="T52" fmla="*/ 2147483647 w 167"/>
                <a:gd name="T53" fmla="*/ 2147483647 h 97"/>
                <a:gd name="T54" fmla="*/ 2147483647 w 167"/>
                <a:gd name="T55" fmla="*/ 2147483647 h 97"/>
                <a:gd name="T56" fmla="*/ 2147483647 w 167"/>
                <a:gd name="T57" fmla="*/ 2147483647 h 97"/>
                <a:gd name="T58" fmla="*/ 2147483647 w 167"/>
                <a:gd name="T59" fmla="*/ 2147483647 h 97"/>
                <a:gd name="T60" fmla="*/ 2147483647 w 167"/>
                <a:gd name="T61" fmla="*/ 2147483647 h 97"/>
                <a:gd name="T62" fmla="*/ 2147483647 w 167"/>
                <a:gd name="T63" fmla="*/ 2147483647 h 97"/>
                <a:gd name="T64" fmla="*/ 2147483647 w 167"/>
                <a:gd name="T65" fmla="*/ 2147483647 h 97"/>
                <a:gd name="T66" fmla="*/ 2147483647 w 167"/>
                <a:gd name="T67" fmla="*/ 2147483647 h 97"/>
                <a:gd name="T68" fmla="*/ 2147483647 w 167"/>
                <a:gd name="T69" fmla="*/ 2147483647 h 97"/>
                <a:gd name="T70" fmla="*/ 2147483647 w 167"/>
                <a:gd name="T71" fmla="*/ 2147483647 h 97"/>
                <a:gd name="T72" fmla="*/ 2147483647 w 167"/>
                <a:gd name="T73" fmla="*/ 2147483647 h 97"/>
                <a:gd name="T74" fmla="*/ 2147483647 w 167"/>
                <a:gd name="T75" fmla="*/ 2147483647 h 97"/>
                <a:gd name="T76" fmla="*/ 2147483647 w 167"/>
                <a:gd name="T77" fmla="*/ 2147483647 h 97"/>
                <a:gd name="T78" fmla="*/ 2147483647 w 167"/>
                <a:gd name="T79" fmla="*/ 2147483647 h 97"/>
                <a:gd name="T80" fmla="*/ 2147483647 w 167"/>
                <a:gd name="T81" fmla="*/ 2147483647 h 97"/>
                <a:gd name="T82" fmla="*/ 2147483647 w 167"/>
                <a:gd name="T83" fmla="*/ 2147483647 h 97"/>
                <a:gd name="T84" fmla="*/ 2147483647 w 167"/>
                <a:gd name="T85" fmla="*/ 2147483647 h 97"/>
                <a:gd name="T86" fmla="*/ 2147483647 w 167"/>
                <a:gd name="T87" fmla="*/ 2147483647 h 9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7"/>
                <a:gd name="T133" fmla="*/ 0 h 97"/>
                <a:gd name="T134" fmla="*/ 167 w 167"/>
                <a:gd name="T135" fmla="*/ 97 h 9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7" h="97">
                  <a:moveTo>
                    <a:pt x="161" y="20"/>
                  </a:moveTo>
                  <a:lnTo>
                    <a:pt x="145" y="15"/>
                  </a:lnTo>
                  <a:lnTo>
                    <a:pt x="128" y="13"/>
                  </a:lnTo>
                  <a:lnTo>
                    <a:pt x="110" y="11"/>
                  </a:lnTo>
                  <a:lnTo>
                    <a:pt x="103" y="11"/>
                  </a:lnTo>
                  <a:lnTo>
                    <a:pt x="95" y="9"/>
                  </a:lnTo>
                  <a:lnTo>
                    <a:pt x="84" y="4"/>
                  </a:lnTo>
                  <a:lnTo>
                    <a:pt x="75" y="1"/>
                  </a:lnTo>
                  <a:lnTo>
                    <a:pt x="71" y="0"/>
                  </a:lnTo>
                  <a:lnTo>
                    <a:pt x="68" y="1"/>
                  </a:lnTo>
                  <a:lnTo>
                    <a:pt x="66" y="3"/>
                  </a:lnTo>
                  <a:lnTo>
                    <a:pt x="66" y="6"/>
                  </a:lnTo>
                  <a:lnTo>
                    <a:pt x="65" y="11"/>
                  </a:lnTo>
                  <a:lnTo>
                    <a:pt x="63" y="16"/>
                  </a:lnTo>
                  <a:lnTo>
                    <a:pt x="61" y="19"/>
                  </a:lnTo>
                  <a:lnTo>
                    <a:pt x="58" y="20"/>
                  </a:lnTo>
                  <a:lnTo>
                    <a:pt x="54" y="20"/>
                  </a:lnTo>
                  <a:lnTo>
                    <a:pt x="49" y="17"/>
                  </a:lnTo>
                  <a:lnTo>
                    <a:pt x="40" y="13"/>
                  </a:lnTo>
                  <a:lnTo>
                    <a:pt x="35" y="9"/>
                  </a:lnTo>
                  <a:lnTo>
                    <a:pt x="30" y="8"/>
                  </a:lnTo>
                  <a:lnTo>
                    <a:pt x="27" y="7"/>
                  </a:lnTo>
                  <a:lnTo>
                    <a:pt x="23" y="8"/>
                  </a:lnTo>
                  <a:lnTo>
                    <a:pt x="14" y="16"/>
                  </a:lnTo>
                  <a:lnTo>
                    <a:pt x="9" y="21"/>
                  </a:lnTo>
                  <a:lnTo>
                    <a:pt x="5" y="27"/>
                  </a:lnTo>
                  <a:lnTo>
                    <a:pt x="1" y="33"/>
                  </a:lnTo>
                  <a:lnTo>
                    <a:pt x="0" y="38"/>
                  </a:lnTo>
                  <a:lnTo>
                    <a:pt x="1" y="42"/>
                  </a:lnTo>
                  <a:lnTo>
                    <a:pt x="4" y="45"/>
                  </a:lnTo>
                  <a:lnTo>
                    <a:pt x="6" y="46"/>
                  </a:lnTo>
                  <a:lnTo>
                    <a:pt x="11" y="48"/>
                  </a:lnTo>
                  <a:lnTo>
                    <a:pt x="15" y="49"/>
                  </a:lnTo>
                  <a:lnTo>
                    <a:pt x="19" y="48"/>
                  </a:lnTo>
                  <a:lnTo>
                    <a:pt x="21" y="48"/>
                  </a:lnTo>
                  <a:lnTo>
                    <a:pt x="28" y="47"/>
                  </a:lnTo>
                  <a:lnTo>
                    <a:pt x="30" y="47"/>
                  </a:lnTo>
                  <a:lnTo>
                    <a:pt x="34" y="49"/>
                  </a:lnTo>
                  <a:lnTo>
                    <a:pt x="42" y="55"/>
                  </a:lnTo>
                  <a:lnTo>
                    <a:pt x="48" y="61"/>
                  </a:lnTo>
                  <a:lnTo>
                    <a:pt x="49" y="64"/>
                  </a:lnTo>
                  <a:lnTo>
                    <a:pt x="49" y="65"/>
                  </a:lnTo>
                  <a:lnTo>
                    <a:pt x="48" y="67"/>
                  </a:lnTo>
                  <a:lnTo>
                    <a:pt x="44" y="68"/>
                  </a:lnTo>
                  <a:lnTo>
                    <a:pt x="40" y="70"/>
                  </a:lnTo>
                  <a:lnTo>
                    <a:pt x="38" y="72"/>
                  </a:lnTo>
                  <a:lnTo>
                    <a:pt x="35" y="75"/>
                  </a:lnTo>
                  <a:lnTo>
                    <a:pt x="34" y="79"/>
                  </a:lnTo>
                  <a:lnTo>
                    <a:pt x="33" y="85"/>
                  </a:lnTo>
                  <a:lnTo>
                    <a:pt x="30" y="91"/>
                  </a:lnTo>
                  <a:lnTo>
                    <a:pt x="29" y="93"/>
                  </a:lnTo>
                  <a:lnTo>
                    <a:pt x="27" y="94"/>
                  </a:lnTo>
                  <a:lnTo>
                    <a:pt x="20" y="94"/>
                  </a:lnTo>
                  <a:lnTo>
                    <a:pt x="16" y="93"/>
                  </a:lnTo>
                  <a:lnTo>
                    <a:pt x="24" y="96"/>
                  </a:lnTo>
                  <a:lnTo>
                    <a:pt x="34" y="97"/>
                  </a:lnTo>
                  <a:lnTo>
                    <a:pt x="43" y="97"/>
                  </a:lnTo>
                  <a:lnTo>
                    <a:pt x="49" y="96"/>
                  </a:lnTo>
                  <a:lnTo>
                    <a:pt x="66" y="85"/>
                  </a:lnTo>
                  <a:lnTo>
                    <a:pt x="76" y="79"/>
                  </a:lnTo>
                  <a:lnTo>
                    <a:pt x="82" y="77"/>
                  </a:lnTo>
                  <a:lnTo>
                    <a:pt x="84" y="78"/>
                  </a:lnTo>
                  <a:lnTo>
                    <a:pt x="84" y="81"/>
                  </a:lnTo>
                  <a:lnTo>
                    <a:pt x="85" y="84"/>
                  </a:lnTo>
                  <a:lnTo>
                    <a:pt x="86" y="85"/>
                  </a:lnTo>
                  <a:lnTo>
                    <a:pt x="89" y="85"/>
                  </a:lnTo>
                  <a:lnTo>
                    <a:pt x="96" y="84"/>
                  </a:lnTo>
                  <a:lnTo>
                    <a:pt x="103" y="81"/>
                  </a:lnTo>
                  <a:lnTo>
                    <a:pt x="105" y="80"/>
                  </a:lnTo>
                  <a:lnTo>
                    <a:pt x="107" y="78"/>
                  </a:lnTo>
                  <a:lnTo>
                    <a:pt x="108" y="73"/>
                  </a:lnTo>
                  <a:lnTo>
                    <a:pt x="108" y="72"/>
                  </a:lnTo>
                  <a:lnTo>
                    <a:pt x="109" y="71"/>
                  </a:lnTo>
                  <a:lnTo>
                    <a:pt x="114" y="68"/>
                  </a:lnTo>
                  <a:lnTo>
                    <a:pt x="118" y="68"/>
                  </a:lnTo>
                  <a:lnTo>
                    <a:pt x="123" y="67"/>
                  </a:lnTo>
                  <a:lnTo>
                    <a:pt x="129" y="66"/>
                  </a:lnTo>
                  <a:lnTo>
                    <a:pt x="137" y="64"/>
                  </a:lnTo>
                  <a:lnTo>
                    <a:pt x="145" y="58"/>
                  </a:lnTo>
                  <a:lnTo>
                    <a:pt x="161" y="48"/>
                  </a:lnTo>
                  <a:lnTo>
                    <a:pt x="165" y="45"/>
                  </a:lnTo>
                  <a:lnTo>
                    <a:pt x="167" y="41"/>
                  </a:lnTo>
                  <a:lnTo>
                    <a:pt x="167" y="39"/>
                  </a:lnTo>
                  <a:lnTo>
                    <a:pt x="167" y="36"/>
                  </a:lnTo>
                  <a:lnTo>
                    <a:pt x="165" y="32"/>
                  </a:lnTo>
                  <a:lnTo>
                    <a:pt x="162" y="29"/>
                  </a:lnTo>
                  <a:lnTo>
                    <a:pt x="164" y="26"/>
                  </a:lnTo>
                  <a:lnTo>
                    <a:pt x="162" y="22"/>
                  </a:lnTo>
                  <a:lnTo>
                    <a:pt x="161" y="2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0" name="Freeform 1309"/>
            <p:cNvSpPr>
              <a:spLocks/>
            </p:cNvSpPr>
            <p:nvPr/>
          </p:nvSpPr>
          <p:spPr bwMode="auto">
            <a:xfrm>
              <a:off x="6064253" y="3109917"/>
              <a:ext cx="180975" cy="104775"/>
            </a:xfrm>
            <a:custGeom>
              <a:avLst/>
              <a:gdLst>
                <a:gd name="T0" fmla="*/ 0 w 124"/>
                <a:gd name="T1" fmla="*/ 2147483647 h 66"/>
                <a:gd name="T2" fmla="*/ 0 w 124"/>
                <a:gd name="T3" fmla="*/ 2147483647 h 66"/>
                <a:gd name="T4" fmla="*/ 2147483647 w 124"/>
                <a:gd name="T5" fmla="*/ 2147483647 h 66"/>
                <a:gd name="T6" fmla="*/ 2147483647 w 124"/>
                <a:gd name="T7" fmla="*/ 2147483647 h 66"/>
                <a:gd name="T8" fmla="*/ 2147483647 w 124"/>
                <a:gd name="T9" fmla="*/ 2147483647 h 66"/>
                <a:gd name="T10" fmla="*/ 2147483647 w 124"/>
                <a:gd name="T11" fmla="*/ 2147483647 h 66"/>
                <a:gd name="T12" fmla="*/ 2147483647 w 124"/>
                <a:gd name="T13" fmla="*/ 2147483647 h 66"/>
                <a:gd name="T14" fmla="*/ 2147483647 w 124"/>
                <a:gd name="T15" fmla="*/ 2147483647 h 66"/>
                <a:gd name="T16" fmla="*/ 2147483647 w 124"/>
                <a:gd name="T17" fmla="*/ 2147483647 h 66"/>
                <a:gd name="T18" fmla="*/ 2147483647 w 124"/>
                <a:gd name="T19" fmla="*/ 2147483647 h 66"/>
                <a:gd name="T20" fmla="*/ 2147483647 w 124"/>
                <a:gd name="T21" fmla="*/ 2147483647 h 66"/>
                <a:gd name="T22" fmla="*/ 2147483647 w 124"/>
                <a:gd name="T23" fmla="*/ 2147483647 h 66"/>
                <a:gd name="T24" fmla="*/ 2147483647 w 124"/>
                <a:gd name="T25" fmla="*/ 0 h 66"/>
                <a:gd name="T26" fmla="*/ 2147483647 w 124"/>
                <a:gd name="T27" fmla="*/ 2147483647 h 66"/>
                <a:gd name="T28" fmla="*/ 2147483647 w 124"/>
                <a:gd name="T29" fmla="*/ 2147483647 h 66"/>
                <a:gd name="T30" fmla="*/ 2147483647 w 124"/>
                <a:gd name="T31" fmla="*/ 2147483647 h 66"/>
                <a:gd name="T32" fmla="*/ 2147483647 w 124"/>
                <a:gd name="T33" fmla="*/ 2147483647 h 66"/>
                <a:gd name="T34" fmla="*/ 2147483647 w 124"/>
                <a:gd name="T35" fmla="*/ 2147483647 h 66"/>
                <a:gd name="T36" fmla="*/ 2147483647 w 124"/>
                <a:gd name="T37" fmla="*/ 2147483647 h 66"/>
                <a:gd name="T38" fmla="*/ 2147483647 w 124"/>
                <a:gd name="T39" fmla="*/ 2147483647 h 66"/>
                <a:gd name="T40" fmla="*/ 2147483647 w 124"/>
                <a:gd name="T41" fmla="*/ 2147483647 h 66"/>
                <a:gd name="T42" fmla="*/ 2147483647 w 124"/>
                <a:gd name="T43" fmla="*/ 2147483647 h 66"/>
                <a:gd name="T44" fmla="*/ 2147483647 w 124"/>
                <a:gd name="T45" fmla="*/ 2147483647 h 66"/>
                <a:gd name="T46" fmla="*/ 2147483647 w 124"/>
                <a:gd name="T47" fmla="*/ 2147483647 h 66"/>
                <a:gd name="T48" fmla="*/ 2147483647 w 124"/>
                <a:gd name="T49" fmla="*/ 2147483647 h 66"/>
                <a:gd name="T50" fmla="*/ 2147483647 w 124"/>
                <a:gd name="T51" fmla="*/ 2147483647 h 66"/>
                <a:gd name="T52" fmla="*/ 2147483647 w 124"/>
                <a:gd name="T53" fmla="*/ 2147483647 h 66"/>
                <a:gd name="T54" fmla="*/ 2147483647 w 124"/>
                <a:gd name="T55" fmla="*/ 2147483647 h 66"/>
                <a:gd name="T56" fmla="*/ 2147483647 w 124"/>
                <a:gd name="T57" fmla="*/ 2147483647 h 66"/>
                <a:gd name="T58" fmla="*/ 2147483647 w 124"/>
                <a:gd name="T59" fmla="*/ 2147483647 h 66"/>
                <a:gd name="T60" fmla="*/ 2147483647 w 124"/>
                <a:gd name="T61" fmla="*/ 2147483647 h 66"/>
                <a:gd name="T62" fmla="*/ 2147483647 w 124"/>
                <a:gd name="T63" fmla="*/ 2147483647 h 66"/>
                <a:gd name="T64" fmla="*/ 2147483647 w 124"/>
                <a:gd name="T65" fmla="*/ 2147483647 h 66"/>
                <a:gd name="T66" fmla="*/ 2147483647 w 124"/>
                <a:gd name="T67" fmla="*/ 2147483647 h 66"/>
                <a:gd name="T68" fmla="*/ 2147483647 w 124"/>
                <a:gd name="T69" fmla="*/ 2147483647 h 66"/>
                <a:gd name="T70" fmla="*/ 2147483647 w 124"/>
                <a:gd name="T71" fmla="*/ 2147483647 h 66"/>
                <a:gd name="T72" fmla="*/ 2147483647 w 124"/>
                <a:gd name="T73" fmla="*/ 2147483647 h 66"/>
                <a:gd name="T74" fmla="*/ 2147483647 w 124"/>
                <a:gd name="T75" fmla="*/ 2147483647 h 66"/>
                <a:gd name="T76" fmla="*/ 2147483647 w 124"/>
                <a:gd name="T77" fmla="*/ 2147483647 h 66"/>
                <a:gd name="T78" fmla="*/ 2147483647 w 124"/>
                <a:gd name="T79" fmla="*/ 2147483647 h 66"/>
                <a:gd name="T80" fmla="*/ 2147483647 w 124"/>
                <a:gd name="T81" fmla="*/ 2147483647 h 66"/>
                <a:gd name="T82" fmla="*/ 2147483647 w 124"/>
                <a:gd name="T83" fmla="*/ 2147483647 h 66"/>
                <a:gd name="T84" fmla="*/ 2147483647 w 124"/>
                <a:gd name="T85" fmla="*/ 2147483647 h 66"/>
                <a:gd name="T86" fmla="*/ 2147483647 w 124"/>
                <a:gd name="T87" fmla="*/ 2147483647 h 66"/>
                <a:gd name="T88" fmla="*/ 2147483647 w 124"/>
                <a:gd name="T89" fmla="*/ 2147483647 h 66"/>
                <a:gd name="T90" fmla="*/ 2147483647 w 124"/>
                <a:gd name="T91" fmla="*/ 2147483647 h 66"/>
                <a:gd name="T92" fmla="*/ 2147483647 w 124"/>
                <a:gd name="T93" fmla="*/ 2147483647 h 66"/>
                <a:gd name="T94" fmla="*/ 2147483647 w 124"/>
                <a:gd name="T95" fmla="*/ 2147483647 h 66"/>
                <a:gd name="T96" fmla="*/ 2147483647 w 124"/>
                <a:gd name="T97" fmla="*/ 2147483647 h 66"/>
                <a:gd name="T98" fmla="*/ 2147483647 w 124"/>
                <a:gd name="T99" fmla="*/ 2147483647 h 66"/>
                <a:gd name="T100" fmla="*/ 2147483647 w 124"/>
                <a:gd name="T101" fmla="*/ 2147483647 h 66"/>
                <a:gd name="T102" fmla="*/ 2147483647 w 124"/>
                <a:gd name="T103" fmla="*/ 2147483647 h 66"/>
                <a:gd name="T104" fmla="*/ 2147483647 w 124"/>
                <a:gd name="T105" fmla="*/ 2147483647 h 66"/>
                <a:gd name="T106" fmla="*/ 2147483647 w 124"/>
                <a:gd name="T107" fmla="*/ 2147483647 h 66"/>
                <a:gd name="T108" fmla="*/ 2147483647 w 124"/>
                <a:gd name="T109" fmla="*/ 2147483647 h 66"/>
                <a:gd name="T110" fmla="*/ 2147483647 w 124"/>
                <a:gd name="T111" fmla="*/ 2147483647 h 66"/>
                <a:gd name="T112" fmla="*/ 2147483647 w 124"/>
                <a:gd name="T113" fmla="*/ 2147483647 h 66"/>
                <a:gd name="T114" fmla="*/ 2147483647 w 124"/>
                <a:gd name="T115" fmla="*/ 2147483647 h 66"/>
                <a:gd name="T116" fmla="*/ 2147483647 w 124"/>
                <a:gd name="T117" fmla="*/ 2147483647 h 66"/>
                <a:gd name="T118" fmla="*/ 2147483647 w 124"/>
                <a:gd name="T119" fmla="*/ 2147483647 h 66"/>
                <a:gd name="T120" fmla="*/ 2147483647 w 124"/>
                <a:gd name="T121" fmla="*/ 2147483647 h 66"/>
                <a:gd name="T122" fmla="*/ 0 w 124"/>
                <a:gd name="T123" fmla="*/ 2147483647 h 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4"/>
                <a:gd name="T187" fmla="*/ 0 h 66"/>
                <a:gd name="T188" fmla="*/ 124 w 124"/>
                <a:gd name="T189" fmla="*/ 66 h 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4" h="66">
                  <a:moveTo>
                    <a:pt x="0" y="13"/>
                  </a:moveTo>
                  <a:lnTo>
                    <a:pt x="0" y="11"/>
                  </a:lnTo>
                  <a:lnTo>
                    <a:pt x="2" y="9"/>
                  </a:lnTo>
                  <a:lnTo>
                    <a:pt x="5" y="7"/>
                  </a:lnTo>
                  <a:lnTo>
                    <a:pt x="13" y="4"/>
                  </a:lnTo>
                  <a:lnTo>
                    <a:pt x="25" y="4"/>
                  </a:lnTo>
                  <a:lnTo>
                    <a:pt x="36" y="4"/>
                  </a:lnTo>
                  <a:lnTo>
                    <a:pt x="54" y="4"/>
                  </a:lnTo>
                  <a:lnTo>
                    <a:pt x="80" y="5"/>
                  </a:lnTo>
                  <a:lnTo>
                    <a:pt x="96" y="4"/>
                  </a:lnTo>
                  <a:lnTo>
                    <a:pt x="102" y="3"/>
                  </a:lnTo>
                  <a:lnTo>
                    <a:pt x="105" y="1"/>
                  </a:lnTo>
                  <a:lnTo>
                    <a:pt x="106" y="0"/>
                  </a:lnTo>
                  <a:lnTo>
                    <a:pt x="106" y="1"/>
                  </a:lnTo>
                  <a:lnTo>
                    <a:pt x="105" y="8"/>
                  </a:lnTo>
                  <a:lnTo>
                    <a:pt x="103" y="13"/>
                  </a:lnTo>
                  <a:lnTo>
                    <a:pt x="103" y="17"/>
                  </a:lnTo>
                  <a:lnTo>
                    <a:pt x="105" y="21"/>
                  </a:lnTo>
                  <a:lnTo>
                    <a:pt x="108" y="23"/>
                  </a:lnTo>
                  <a:lnTo>
                    <a:pt x="116" y="27"/>
                  </a:lnTo>
                  <a:lnTo>
                    <a:pt x="120" y="30"/>
                  </a:lnTo>
                  <a:lnTo>
                    <a:pt x="122" y="34"/>
                  </a:lnTo>
                  <a:lnTo>
                    <a:pt x="120" y="39"/>
                  </a:lnTo>
                  <a:lnTo>
                    <a:pt x="120" y="40"/>
                  </a:lnTo>
                  <a:lnTo>
                    <a:pt x="120" y="43"/>
                  </a:lnTo>
                  <a:lnTo>
                    <a:pt x="122" y="49"/>
                  </a:lnTo>
                  <a:lnTo>
                    <a:pt x="124" y="53"/>
                  </a:lnTo>
                  <a:lnTo>
                    <a:pt x="124" y="55"/>
                  </a:lnTo>
                  <a:lnTo>
                    <a:pt x="124" y="56"/>
                  </a:lnTo>
                  <a:lnTo>
                    <a:pt x="120" y="58"/>
                  </a:lnTo>
                  <a:lnTo>
                    <a:pt x="110" y="58"/>
                  </a:lnTo>
                  <a:lnTo>
                    <a:pt x="97" y="60"/>
                  </a:lnTo>
                  <a:lnTo>
                    <a:pt x="77" y="66"/>
                  </a:lnTo>
                  <a:lnTo>
                    <a:pt x="74" y="66"/>
                  </a:lnTo>
                  <a:lnTo>
                    <a:pt x="73" y="64"/>
                  </a:lnTo>
                  <a:lnTo>
                    <a:pt x="72" y="56"/>
                  </a:lnTo>
                  <a:lnTo>
                    <a:pt x="72" y="52"/>
                  </a:lnTo>
                  <a:lnTo>
                    <a:pt x="69" y="48"/>
                  </a:lnTo>
                  <a:lnTo>
                    <a:pt x="66" y="45"/>
                  </a:lnTo>
                  <a:lnTo>
                    <a:pt x="63" y="42"/>
                  </a:lnTo>
                  <a:lnTo>
                    <a:pt x="63" y="41"/>
                  </a:lnTo>
                  <a:lnTo>
                    <a:pt x="63" y="40"/>
                  </a:lnTo>
                  <a:lnTo>
                    <a:pt x="65" y="37"/>
                  </a:lnTo>
                  <a:lnTo>
                    <a:pt x="66" y="34"/>
                  </a:lnTo>
                  <a:lnTo>
                    <a:pt x="66" y="33"/>
                  </a:lnTo>
                  <a:lnTo>
                    <a:pt x="65" y="34"/>
                  </a:lnTo>
                  <a:lnTo>
                    <a:pt x="60" y="35"/>
                  </a:lnTo>
                  <a:lnTo>
                    <a:pt x="56" y="39"/>
                  </a:lnTo>
                  <a:lnTo>
                    <a:pt x="49" y="47"/>
                  </a:lnTo>
                  <a:lnTo>
                    <a:pt x="42" y="55"/>
                  </a:lnTo>
                  <a:lnTo>
                    <a:pt x="39" y="58"/>
                  </a:lnTo>
                  <a:lnTo>
                    <a:pt x="35" y="60"/>
                  </a:lnTo>
                  <a:lnTo>
                    <a:pt x="26" y="61"/>
                  </a:lnTo>
                  <a:lnTo>
                    <a:pt x="14" y="62"/>
                  </a:lnTo>
                  <a:lnTo>
                    <a:pt x="2" y="62"/>
                  </a:lnTo>
                  <a:lnTo>
                    <a:pt x="5" y="46"/>
                  </a:lnTo>
                  <a:lnTo>
                    <a:pt x="7" y="34"/>
                  </a:lnTo>
                  <a:lnTo>
                    <a:pt x="7" y="22"/>
                  </a:lnTo>
                  <a:lnTo>
                    <a:pt x="5" y="17"/>
                  </a:lnTo>
                  <a:lnTo>
                    <a:pt x="4" y="14"/>
                  </a:lnTo>
                  <a:lnTo>
                    <a:pt x="3" y="13"/>
                  </a:lnTo>
                  <a:lnTo>
                    <a:pt x="0" y="1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1" name="Freeform 1310"/>
            <p:cNvSpPr>
              <a:spLocks/>
            </p:cNvSpPr>
            <p:nvPr/>
          </p:nvSpPr>
          <p:spPr bwMode="auto">
            <a:xfrm>
              <a:off x="6127754" y="2965450"/>
              <a:ext cx="244475" cy="155575"/>
            </a:xfrm>
            <a:custGeom>
              <a:avLst/>
              <a:gdLst>
                <a:gd name="T0" fmla="*/ 2147483647 w 167"/>
                <a:gd name="T1" fmla="*/ 2147483647 h 98"/>
                <a:gd name="T2" fmla="*/ 2147483647 w 167"/>
                <a:gd name="T3" fmla="*/ 2147483647 h 98"/>
                <a:gd name="T4" fmla="*/ 2147483647 w 167"/>
                <a:gd name="T5" fmla="*/ 2147483647 h 98"/>
                <a:gd name="T6" fmla="*/ 2147483647 w 167"/>
                <a:gd name="T7" fmla="*/ 2147483647 h 98"/>
                <a:gd name="T8" fmla="*/ 2147483647 w 167"/>
                <a:gd name="T9" fmla="*/ 2147483647 h 98"/>
                <a:gd name="T10" fmla="*/ 2147483647 w 167"/>
                <a:gd name="T11" fmla="*/ 2147483647 h 98"/>
                <a:gd name="T12" fmla="*/ 2147483647 w 167"/>
                <a:gd name="T13" fmla="*/ 2147483647 h 98"/>
                <a:gd name="T14" fmla="*/ 2147483647 w 167"/>
                <a:gd name="T15" fmla="*/ 2147483647 h 98"/>
                <a:gd name="T16" fmla="*/ 2147483647 w 167"/>
                <a:gd name="T17" fmla="*/ 2147483647 h 98"/>
                <a:gd name="T18" fmla="*/ 2147483647 w 167"/>
                <a:gd name="T19" fmla="*/ 2147483647 h 98"/>
                <a:gd name="T20" fmla="*/ 2147483647 w 167"/>
                <a:gd name="T21" fmla="*/ 2147483647 h 98"/>
                <a:gd name="T22" fmla="*/ 2147483647 w 167"/>
                <a:gd name="T23" fmla="*/ 2147483647 h 98"/>
                <a:gd name="T24" fmla="*/ 2147483647 w 167"/>
                <a:gd name="T25" fmla="*/ 2147483647 h 98"/>
                <a:gd name="T26" fmla="*/ 2147483647 w 167"/>
                <a:gd name="T27" fmla="*/ 2147483647 h 98"/>
                <a:gd name="T28" fmla="*/ 2147483647 w 167"/>
                <a:gd name="T29" fmla="*/ 2147483647 h 98"/>
                <a:gd name="T30" fmla="*/ 2147483647 w 167"/>
                <a:gd name="T31" fmla="*/ 2147483647 h 98"/>
                <a:gd name="T32" fmla="*/ 2147483647 w 167"/>
                <a:gd name="T33" fmla="*/ 2147483647 h 98"/>
                <a:gd name="T34" fmla="*/ 2147483647 w 167"/>
                <a:gd name="T35" fmla="*/ 2147483647 h 98"/>
                <a:gd name="T36" fmla="*/ 2147483647 w 167"/>
                <a:gd name="T37" fmla="*/ 2147483647 h 98"/>
                <a:gd name="T38" fmla="*/ 2147483647 w 167"/>
                <a:gd name="T39" fmla="*/ 2147483647 h 98"/>
                <a:gd name="T40" fmla="*/ 2147483647 w 167"/>
                <a:gd name="T41" fmla="*/ 2147483647 h 98"/>
                <a:gd name="T42" fmla="*/ 2147483647 w 167"/>
                <a:gd name="T43" fmla="*/ 2147483647 h 98"/>
                <a:gd name="T44" fmla="*/ 2147483647 w 167"/>
                <a:gd name="T45" fmla="*/ 2147483647 h 98"/>
                <a:gd name="T46" fmla="*/ 2147483647 w 167"/>
                <a:gd name="T47" fmla="*/ 2147483647 h 98"/>
                <a:gd name="T48" fmla="*/ 2147483647 w 167"/>
                <a:gd name="T49" fmla="*/ 2147483647 h 98"/>
                <a:gd name="T50" fmla="*/ 2147483647 w 167"/>
                <a:gd name="T51" fmla="*/ 2147483647 h 98"/>
                <a:gd name="T52" fmla="*/ 2147483647 w 167"/>
                <a:gd name="T53" fmla="*/ 2147483647 h 98"/>
                <a:gd name="T54" fmla="*/ 2147483647 w 167"/>
                <a:gd name="T55" fmla="*/ 2147483647 h 98"/>
                <a:gd name="T56" fmla="*/ 2147483647 w 167"/>
                <a:gd name="T57" fmla="*/ 2147483647 h 98"/>
                <a:gd name="T58" fmla="*/ 2147483647 w 167"/>
                <a:gd name="T59" fmla="*/ 2147483647 h 98"/>
                <a:gd name="T60" fmla="*/ 2147483647 w 167"/>
                <a:gd name="T61" fmla="*/ 2147483647 h 98"/>
                <a:gd name="T62" fmla="*/ 2147483647 w 167"/>
                <a:gd name="T63" fmla="*/ 2147483647 h 98"/>
                <a:gd name="T64" fmla="*/ 2147483647 w 167"/>
                <a:gd name="T65" fmla="*/ 2147483647 h 98"/>
                <a:gd name="T66" fmla="*/ 2147483647 w 167"/>
                <a:gd name="T67" fmla="*/ 2147483647 h 98"/>
                <a:gd name="T68" fmla="*/ 2147483647 w 167"/>
                <a:gd name="T69" fmla="*/ 2147483647 h 98"/>
                <a:gd name="T70" fmla="*/ 2147483647 w 167"/>
                <a:gd name="T71" fmla="*/ 2147483647 h 98"/>
                <a:gd name="T72" fmla="*/ 2147483647 w 167"/>
                <a:gd name="T73" fmla="*/ 2147483647 h 98"/>
                <a:gd name="T74" fmla="*/ 2147483647 w 167"/>
                <a:gd name="T75" fmla="*/ 2147483647 h 98"/>
                <a:gd name="T76" fmla="*/ 2147483647 w 167"/>
                <a:gd name="T77" fmla="*/ 2147483647 h 98"/>
                <a:gd name="T78" fmla="*/ 2147483647 w 167"/>
                <a:gd name="T79" fmla="*/ 2147483647 h 98"/>
                <a:gd name="T80" fmla="*/ 2147483647 w 167"/>
                <a:gd name="T81" fmla="*/ 2147483647 h 98"/>
                <a:gd name="T82" fmla="*/ 2147483647 w 167"/>
                <a:gd name="T83" fmla="*/ 2147483647 h 98"/>
                <a:gd name="T84" fmla="*/ 2147483647 w 167"/>
                <a:gd name="T85" fmla="*/ 2147483647 h 98"/>
                <a:gd name="T86" fmla="*/ 2147483647 w 167"/>
                <a:gd name="T87" fmla="*/ 2147483647 h 98"/>
                <a:gd name="T88" fmla="*/ 2147483647 w 167"/>
                <a:gd name="T89" fmla="*/ 2147483647 h 98"/>
                <a:gd name="T90" fmla="*/ 2147483647 w 167"/>
                <a:gd name="T91" fmla="*/ 2147483647 h 98"/>
                <a:gd name="T92" fmla="*/ 2147483647 w 167"/>
                <a:gd name="T93" fmla="*/ 2147483647 h 98"/>
                <a:gd name="T94" fmla="*/ 2147483647 w 167"/>
                <a:gd name="T95" fmla="*/ 2147483647 h 98"/>
                <a:gd name="T96" fmla="*/ 2147483647 w 167"/>
                <a:gd name="T97" fmla="*/ 2147483647 h 98"/>
                <a:gd name="T98" fmla="*/ 2147483647 w 167"/>
                <a:gd name="T99" fmla="*/ 2147483647 h 98"/>
                <a:gd name="T100" fmla="*/ 2147483647 w 167"/>
                <a:gd name="T101" fmla="*/ 2147483647 h 98"/>
                <a:gd name="T102" fmla="*/ 2147483647 w 167"/>
                <a:gd name="T103" fmla="*/ 2147483647 h 98"/>
                <a:gd name="T104" fmla="*/ 2147483647 w 167"/>
                <a:gd name="T105" fmla="*/ 2147483647 h 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7"/>
                <a:gd name="T160" fmla="*/ 0 h 98"/>
                <a:gd name="T161" fmla="*/ 167 w 167"/>
                <a:gd name="T162" fmla="*/ 98 h 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7" h="98">
                  <a:moveTo>
                    <a:pt x="161" y="21"/>
                  </a:moveTo>
                  <a:lnTo>
                    <a:pt x="161" y="21"/>
                  </a:lnTo>
                  <a:lnTo>
                    <a:pt x="144" y="16"/>
                  </a:lnTo>
                  <a:lnTo>
                    <a:pt x="128" y="13"/>
                  </a:lnTo>
                  <a:lnTo>
                    <a:pt x="110" y="12"/>
                  </a:lnTo>
                  <a:lnTo>
                    <a:pt x="102" y="12"/>
                  </a:lnTo>
                  <a:lnTo>
                    <a:pt x="95" y="10"/>
                  </a:lnTo>
                  <a:lnTo>
                    <a:pt x="83" y="5"/>
                  </a:lnTo>
                  <a:lnTo>
                    <a:pt x="75" y="2"/>
                  </a:lnTo>
                  <a:lnTo>
                    <a:pt x="71" y="0"/>
                  </a:lnTo>
                  <a:lnTo>
                    <a:pt x="68" y="2"/>
                  </a:lnTo>
                  <a:lnTo>
                    <a:pt x="66" y="4"/>
                  </a:lnTo>
                  <a:lnTo>
                    <a:pt x="66" y="6"/>
                  </a:lnTo>
                  <a:lnTo>
                    <a:pt x="64" y="12"/>
                  </a:lnTo>
                  <a:lnTo>
                    <a:pt x="63" y="17"/>
                  </a:lnTo>
                  <a:lnTo>
                    <a:pt x="61" y="19"/>
                  </a:lnTo>
                  <a:lnTo>
                    <a:pt x="58" y="21"/>
                  </a:lnTo>
                  <a:lnTo>
                    <a:pt x="54" y="21"/>
                  </a:lnTo>
                  <a:lnTo>
                    <a:pt x="49" y="18"/>
                  </a:lnTo>
                  <a:lnTo>
                    <a:pt x="40" y="13"/>
                  </a:lnTo>
                  <a:lnTo>
                    <a:pt x="35" y="10"/>
                  </a:lnTo>
                  <a:lnTo>
                    <a:pt x="30" y="9"/>
                  </a:lnTo>
                  <a:lnTo>
                    <a:pt x="26" y="8"/>
                  </a:lnTo>
                  <a:lnTo>
                    <a:pt x="22" y="9"/>
                  </a:lnTo>
                  <a:lnTo>
                    <a:pt x="14" y="17"/>
                  </a:lnTo>
                  <a:lnTo>
                    <a:pt x="8" y="22"/>
                  </a:lnTo>
                  <a:lnTo>
                    <a:pt x="5" y="28"/>
                  </a:lnTo>
                  <a:lnTo>
                    <a:pt x="1" y="34"/>
                  </a:lnTo>
                  <a:lnTo>
                    <a:pt x="0" y="38"/>
                  </a:lnTo>
                  <a:lnTo>
                    <a:pt x="1" y="43"/>
                  </a:lnTo>
                  <a:lnTo>
                    <a:pt x="3" y="45"/>
                  </a:lnTo>
                  <a:lnTo>
                    <a:pt x="6" y="47"/>
                  </a:lnTo>
                  <a:lnTo>
                    <a:pt x="11" y="49"/>
                  </a:lnTo>
                  <a:lnTo>
                    <a:pt x="15" y="50"/>
                  </a:lnTo>
                  <a:lnTo>
                    <a:pt x="19" y="49"/>
                  </a:lnTo>
                  <a:lnTo>
                    <a:pt x="21" y="49"/>
                  </a:lnTo>
                  <a:lnTo>
                    <a:pt x="28" y="48"/>
                  </a:lnTo>
                  <a:lnTo>
                    <a:pt x="30" y="48"/>
                  </a:lnTo>
                  <a:lnTo>
                    <a:pt x="34" y="50"/>
                  </a:lnTo>
                  <a:lnTo>
                    <a:pt x="41" y="56"/>
                  </a:lnTo>
                  <a:lnTo>
                    <a:pt x="48" y="62"/>
                  </a:lnTo>
                  <a:lnTo>
                    <a:pt x="49" y="64"/>
                  </a:lnTo>
                  <a:lnTo>
                    <a:pt x="49" y="66"/>
                  </a:lnTo>
                  <a:lnTo>
                    <a:pt x="48" y="68"/>
                  </a:lnTo>
                  <a:lnTo>
                    <a:pt x="44" y="69"/>
                  </a:lnTo>
                  <a:lnTo>
                    <a:pt x="40" y="70"/>
                  </a:lnTo>
                  <a:lnTo>
                    <a:pt x="38" y="73"/>
                  </a:lnTo>
                  <a:lnTo>
                    <a:pt x="35" y="76"/>
                  </a:lnTo>
                  <a:lnTo>
                    <a:pt x="34" y="80"/>
                  </a:lnTo>
                  <a:lnTo>
                    <a:pt x="33" y="86"/>
                  </a:lnTo>
                  <a:lnTo>
                    <a:pt x="30" y="92"/>
                  </a:lnTo>
                  <a:lnTo>
                    <a:pt x="29" y="94"/>
                  </a:lnTo>
                  <a:lnTo>
                    <a:pt x="26" y="95"/>
                  </a:lnTo>
                  <a:lnTo>
                    <a:pt x="20" y="95"/>
                  </a:lnTo>
                  <a:lnTo>
                    <a:pt x="16" y="94"/>
                  </a:lnTo>
                  <a:lnTo>
                    <a:pt x="24" y="96"/>
                  </a:lnTo>
                  <a:lnTo>
                    <a:pt x="34" y="98"/>
                  </a:lnTo>
                  <a:lnTo>
                    <a:pt x="43" y="98"/>
                  </a:lnTo>
                  <a:lnTo>
                    <a:pt x="49" y="96"/>
                  </a:lnTo>
                  <a:lnTo>
                    <a:pt x="66" y="86"/>
                  </a:lnTo>
                  <a:lnTo>
                    <a:pt x="76" y="80"/>
                  </a:lnTo>
                  <a:lnTo>
                    <a:pt x="82" y="77"/>
                  </a:lnTo>
                  <a:lnTo>
                    <a:pt x="83" y="79"/>
                  </a:lnTo>
                  <a:lnTo>
                    <a:pt x="83" y="82"/>
                  </a:lnTo>
                  <a:lnTo>
                    <a:pt x="85" y="85"/>
                  </a:lnTo>
                  <a:lnTo>
                    <a:pt x="86" y="86"/>
                  </a:lnTo>
                  <a:lnTo>
                    <a:pt x="88" y="86"/>
                  </a:lnTo>
                  <a:lnTo>
                    <a:pt x="96" y="85"/>
                  </a:lnTo>
                  <a:lnTo>
                    <a:pt x="102" y="82"/>
                  </a:lnTo>
                  <a:lnTo>
                    <a:pt x="105" y="81"/>
                  </a:lnTo>
                  <a:lnTo>
                    <a:pt x="106" y="79"/>
                  </a:lnTo>
                  <a:lnTo>
                    <a:pt x="108" y="74"/>
                  </a:lnTo>
                  <a:lnTo>
                    <a:pt x="108" y="73"/>
                  </a:lnTo>
                  <a:lnTo>
                    <a:pt x="109" y="72"/>
                  </a:lnTo>
                  <a:lnTo>
                    <a:pt x="114" y="69"/>
                  </a:lnTo>
                  <a:lnTo>
                    <a:pt x="118" y="69"/>
                  </a:lnTo>
                  <a:lnTo>
                    <a:pt x="123" y="68"/>
                  </a:lnTo>
                  <a:lnTo>
                    <a:pt x="129" y="67"/>
                  </a:lnTo>
                  <a:lnTo>
                    <a:pt x="137" y="64"/>
                  </a:lnTo>
                  <a:lnTo>
                    <a:pt x="144" y="59"/>
                  </a:lnTo>
                  <a:lnTo>
                    <a:pt x="161" y="49"/>
                  </a:lnTo>
                  <a:lnTo>
                    <a:pt x="165" y="45"/>
                  </a:lnTo>
                  <a:lnTo>
                    <a:pt x="167" y="42"/>
                  </a:lnTo>
                  <a:lnTo>
                    <a:pt x="167" y="40"/>
                  </a:lnTo>
                  <a:lnTo>
                    <a:pt x="167" y="37"/>
                  </a:lnTo>
                  <a:lnTo>
                    <a:pt x="165" y="32"/>
                  </a:lnTo>
                  <a:lnTo>
                    <a:pt x="162" y="30"/>
                  </a:lnTo>
                  <a:lnTo>
                    <a:pt x="163" y="27"/>
                  </a:lnTo>
                  <a:lnTo>
                    <a:pt x="162" y="23"/>
                  </a:lnTo>
                  <a:lnTo>
                    <a:pt x="161" y="21"/>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2" name="Freeform 1311"/>
            <p:cNvSpPr>
              <a:spLocks/>
            </p:cNvSpPr>
            <p:nvPr/>
          </p:nvSpPr>
          <p:spPr bwMode="auto">
            <a:xfrm>
              <a:off x="6062666" y="3106742"/>
              <a:ext cx="179386" cy="106361"/>
            </a:xfrm>
            <a:custGeom>
              <a:avLst/>
              <a:gdLst>
                <a:gd name="T0" fmla="*/ 0 w 123"/>
                <a:gd name="T1" fmla="*/ 2147483647 h 67"/>
                <a:gd name="T2" fmla="*/ 2147483647 w 123"/>
                <a:gd name="T3" fmla="*/ 2147483647 h 67"/>
                <a:gd name="T4" fmla="*/ 2147483647 w 123"/>
                <a:gd name="T5" fmla="*/ 2147483647 h 67"/>
                <a:gd name="T6" fmla="*/ 2147483647 w 123"/>
                <a:gd name="T7" fmla="*/ 2147483647 h 67"/>
                <a:gd name="T8" fmla="*/ 2147483647 w 123"/>
                <a:gd name="T9" fmla="*/ 2147483647 h 67"/>
                <a:gd name="T10" fmla="*/ 2147483647 w 123"/>
                <a:gd name="T11" fmla="*/ 2147483647 h 67"/>
                <a:gd name="T12" fmla="*/ 2147483647 w 123"/>
                <a:gd name="T13" fmla="*/ 2147483647 h 67"/>
                <a:gd name="T14" fmla="*/ 2147483647 w 123"/>
                <a:gd name="T15" fmla="*/ 2147483647 h 67"/>
                <a:gd name="T16" fmla="*/ 2147483647 w 123"/>
                <a:gd name="T17" fmla="*/ 2147483647 h 67"/>
                <a:gd name="T18" fmla="*/ 2147483647 w 123"/>
                <a:gd name="T19" fmla="*/ 2147483647 h 67"/>
                <a:gd name="T20" fmla="*/ 2147483647 w 123"/>
                <a:gd name="T21" fmla="*/ 2147483647 h 67"/>
                <a:gd name="T22" fmla="*/ 2147483647 w 123"/>
                <a:gd name="T23" fmla="*/ 2147483647 h 67"/>
                <a:gd name="T24" fmla="*/ 2147483647 w 123"/>
                <a:gd name="T25" fmla="*/ 2147483647 h 67"/>
                <a:gd name="T26" fmla="*/ 2147483647 w 123"/>
                <a:gd name="T27" fmla="*/ 2147483647 h 67"/>
                <a:gd name="T28" fmla="*/ 2147483647 w 123"/>
                <a:gd name="T29" fmla="*/ 2147483647 h 67"/>
                <a:gd name="T30" fmla="*/ 2147483647 w 123"/>
                <a:gd name="T31" fmla="*/ 2147483647 h 67"/>
                <a:gd name="T32" fmla="*/ 2147483647 w 123"/>
                <a:gd name="T33" fmla="*/ 2147483647 h 67"/>
                <a:gd name="T34" fmla="*/ 2147483647 w 123"/>
                <a:gd name="T35" fmla="*/ 2147483647 h 67"/>
                <a:gd name="T36" fmla="*/ 2147483647 w 123"/>
                <a:gd name="T37" fmla="*/ 2147483647 h 67"/>
                <a:gd name="T38" fmla="*/ 2147483647 w 123"/>
                <a:gd name="T39" fmla="*/ 2147483647 h 67"/>
                <a:gd name="T40" fmla="*/ 2147483647 w 123"/>
                <a:gd name="T41" fmla="*/ 2147483647 h 67"/>
                <a:gd name="T42" fmla="*/ 2147483647 w 123"/>
                <a:gd name="T43" fmla="*/ 2147483647 h 67"/>
                <a:gd name="T44" fmla="*/ 2147483647 w 123"/>
                <a:gd name="T45" fmla="*/ 2147483647 h 67"/>
                <a:gd name="T46" fmla="*/ 2147483647 w 123"/>
                <a:gd name="T47" fmla="*/ 2147483647 h 67"/>
                <a:gd name="T48" fmla="*/ 2147483647 w 123"/>
                <a:gd name="T49" fmla="*/ 2147483647 h 67"/>
                <a:gd name="T50" fmla="*/ 2147483647 w 123"/>
                <a:gd name="T51" fmla="*/ 2147483647 h 67"/>
                <a:gd name="T52" fmla="*/ 2147483647 w 123"/>
                <a:gd name="T53" fmla="*/ 2147483647 h 67"/>
                <a:gd name="T54" fmla="*/ 2147483647 w 123"/>
                <a:gd name="T55" fmla="*/ 2147483647 h 67"/>
                <a:gd name="T56" fmla="*/ 2147483647 w 123"/>
                <a:gd name="T57" fmla="*/ 2147483647 h 67"/>
                <a:gd name="T58" fmla="*/ 2147483647 w 123"/>
                <a:gd name="T59" fmla="*/ 2147483647 h 67"/>
                <a:gd name="T60" fmla="*/ 2147483647 w 123"/>
                <a:gd name="T61" fmla="*/ 2147483647 h 67"/>
                <a:gd name="T62" fmla="*/ 2147483647 w 123"/>
                <a:gd name="T63" fmla="*/ 2147483647 h 67"/>
                <a:gd name="T64" fmla="*/ 2147483647 w 123"/>
                <a:gd name="T65" fmla="*/ 2147483647 h 67"/>
                <a:gd name="T66" fmla="*/ 2147483647 w 123"/>
                <a:gd name="T67" fmla="*/ 2147483647 h 67"/>
                <a:gd name="T68" fmla="*/ 2147483647 w 123"/>
                <a:gd name="T69" fmla="*/ 2147483647 h 67"/>
                <a:gd name="T70" fmla="*/ 2147483647 w 123"/>
                <a:gd name="T71" fmla="*/ 2147483647 h 67"/>
                <a:gd name="T72" fmla="*/ 2147483647 w 123"/>
                <a:gd name="T73" fmla="*/ 2147483647 h 67"/>
                <a:gd name="T74" fmla="*/ 0 w 123"/>
                <a:gd name="T75" fmla="*/ 2147483647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
                <a:gd name="T115" fmla="*/ 0 h 67"/>
                <a:gd name="T116" fmla="*/ 123 w 123"/>
                <a:gd name="T117" fmla="*/ 67 h 6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 h="67">
                  <a:moveTo>
                    <a:pt x="0" y="13"/>
                  </a:moveTo>
                  <a:lnTo>
                    <a:pt x="0" y="13"/>
                  </a:lnTo>
                  <a:lnTo>
                    <a:pt x="0" y="12"/>
                  </a:lnTo>
                  <a:lnTo>
                    <a:pt x="1" y="10"/>
                  </a:lnTo>
                  <a:lnTo>
                    <a:pt x="5" y="7"/>
                  </a:lnTo>
                  <a:lnTo>
                    <a:pt x="13" y="5"/>
                  </a:lnTo>
                  <a:lnTo>
                    <a:pt x="24" y="5"/>
                  </a:lnTo>
                  <a:lnTo>
                    <a:pt x="36" y="5"/>
                  </a:lnTo>
                  <a:lnTo>
                    <a:pt x="53" y="5"/>
                  </a:lnTo>
                  <a:lnTo>
                    <a:pt x="80" y="6"/>
                  </a:lnTo>
                  <a:lnTo>
                    <a:pt x="95" y="5"/>
                  </a:lnTo>
                  <a:lnTo>
                    <a:pt x="102" y="4"/>
                  </a:lnTo>
                  <a:lnTo>
                    <a:pt x="104" y="2"/>
                  </a:lnTo>
                  <a:lnTo>
                    <a:pt x="106" y="0"/>
                  </a:lnTo>
                  <a:lnTo>
                    <a:pt x="106" y="2"/>
                  </a:lnTo>
                  <a:lnTo>
                    <a:pt x="104" y="9"/>
                  </a:lnTo>
                  <a:lnTo>
                    <a:pt x="103" y="13"/>
                  </a:lnTo>
                  <a:lnTo>
                    <a:pt x="103" y="18"/>
                  </a:lnTo>
                  <a:lnTo>
                    <a:pt x="104" y="22"/>
                  </a:lnTo>
                  <a:lnTo>
                    <a:pt x="108" y="24"/>
                  </a:lnTo>
                  <a:lnTo>
                    <a:pt x="116" y="28"/>
                  </a:lnTo>
                  <a:lnTo>
                    <a:pt x="120" y="31"/>
                  </a:lnTo>
                  <a:lnTo>
                    <a:pt x="122" y="35"/>
                  </a:lnTo>
                  <a:lnTo>
                    <a:pt x="120" y="39"/>
                  </a:lnTo>
                  <a:lnTo>
                    <a:pt x="120" y="41"/>
                  </a:lnTo>
                  <a:lnTo>
                    <a:pt x="120" y="44"/>
                  </a:lnTo>
                  <a:lnTo>
                    <a:pt x="122" y="50"/>
                  </a:lnTo>
                  <a:lnTo>
                    <a:pt x="123" y="54"/>
                  </a:lnTo>
                  <a:lnTo>
                    <a:pt x="123" y="56"/>
                  </a:lnTo>
                  <a:lnTo>
                    <a:pt x="123" y="57"/>
                  </a:lnTo>
                  <a:lnTo>
                    <a:pt x="120" y="58"/>
                  </a:lnTo>
                  <a:lnTo>
                    <a:pt x="109" y="58"/>
                  </a:lnTo>
                  <a:lnTo>
                    <a:pt x="97" y="61"/>
                  </a:lnTo>
                  <a:lnTo>
                    <a:pt x="76" y="67"/>
                  </a:lnTo>
                  <a:lnTo>
                    <a:pt x="74" y="67"/>
                  </a:lnTo>
                  <a:lnTo>
                    <a:pt x="73" y="64"/>
                  </a:lnTo>
                  <a:lnTo>
                    <a:pt x="71" y="57"/>
                  </a:lnTo>
                  <a:lnTo>
                    <a:pt x="71" y="53"/>
                  </a:lnTo>
                  <a:lnTo>
                    <a:pt x="69" y="49"/>
                  </a:lnTo>
                  <a:lnTo>
                    <a:pt x="66" y="45"/>
                  </a:lnTo>
                  <a:lnTo>
                    <a:pt x="62" y="43"/>
                  </a:lnTo>
                  <a:lnTo>
                    <a:pt x="62" y="42"/>
                  </a:lnTo>
                  <a:lnTo>
                    <a:pt x="62" y="41"/>
                  </a:lnTo>
                  <a:lnTo>
                    <a:pt x="65" y="38"/>
                  </a:lnTo>
                  <a:lnTo>
                    <a:pt x="66" y="35"/>
                  </a:lnTo>
                  <a:lnTo>
                    <a:pt x="66" y="34"/>
                  </a:lnTo>
                  <a:lnTo>
                    <a:pt x="65" y="35"/>
                  </a:lnTo>
                  <a:lnTo>
                    <a:pt x="60" y="36"/>
                  </a:lnTo>
                  <a:lnTo>
                    <a:pt x="56" y="39"/>
                  </a:lnTo>
                  <a:lnTo>
                    <a:pt x="48" y="48"/>
                  </a:lnTo>
                  <a:lnTo>
                    <a:pt x="42" y="56"/>
                  </a:lnTo>
                  <a:lnTo>
                    <a:pt x="38" y="58"/>
                  </a:lnTo>
                  <a:lnTo>
                    <a:pt x="34" y="61"/>
                  </a:lnTo>
                  <a:lnTo>
                    <a:pt x="26" y="62"/>
                  </a:lnTo>
                  <a:lnTo>
                    <a:pt x="14" y="63"/>
                  </a:lnTo>
                  <a:lnTo>
                    <a:pt x="1" y="63"/>
                  </a:lnTo>
                  <a:lnTo>
                    <a:pt x="5" y="47"/>
                  </a:lnTo>
                  <a:lnTo>
                    <a:pt x="6" y="35"/>
                  </a:lnTo>
                  <a:lnTo>
                    <a:pt x="6" y="23"/>
                  </a:lnTo>
                  <a:lnTo>
                    <a:pt x="5" y="18"/>
                  </a:lnTo>
                  <a:lnTo>
                    <a:pt x="4" y="15"/>
                  </a:lnTo>
                  <a:lnTo>
                    <a:pt x="3" y="13"/>
                  </a:lnTo>
                  <a:lnTo>
                    <a:pt x="0" y="13"/>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3" name="Freeform 1312"/>
            <p:cNvSpPr>
              <a:spLocks/>
            </p:cNvSpPr>
            <p:nvPr/>
          </p:nvSpPr>
          <p:spPr bwMode="auto">
            <a:xfrm>
              <a:off x="5686427" y="3001966"/>
              <a:ext cx="349250" cy="265112"/>
            </a:xfrm>
            <a:custGeom>
              <a:avLst/>
              <a:gdLst>
                <a:gd name="T0" fmla="*/ 2147483647 w 238"/>
                <a:gd name="T1" fmla="*/ 2147483647 h 167"/>
                <a:gd name="T2" fmla="*/ 2147483647 w 238"/>
                <a:gd name="T3" fmla="*/ 2147483647 h 167"/>
                <a:gd name="T4" fmla="*/ 2147483647 w 238"/>
                <a:gd name="T5" fmla="*/ 2147483647 h 167"/>
                <a:gd name="T6" fmla="*/ 2147483647 w 238"/>
                <a:gd name="T7" fmla="*/ 2147483647 h 167"/>
                <a:gd name="T8" fmla="*/ 0 w 238"/>
                <a:gd name="T9" fmla="*/ 2147483647 h 167"/>
                <a:gd name="T10" fmla="*/ 2147483647 w 238"/>
                <a:gd name="T11" fmla="*/ 2147483647 h 167"/>
                <a:gd name="T12" fmla="*/ 2147483647 w 238"/>
                <a:gd name="T13" fmla="*/ 2147483647 h 167"/>
                <a:gd name="T14" fmla="*/ 2147483647 w 238"/>
                <a:gd name="T15" fmla="*/ 2147483647 h 167"/>
                <a:gd name="T16" fmla="*/ 2147483647 w 238"/>
                <a:gd name="T17" fmla="*/ 2147483647 h 167"/>
                <a:gd name="T18" fmla="*/ 2147483647 w 238"/>
                <a:gd name="T19" fmla="*/ 2147483647 h 167"/>
                <a:gd name="T20" fmla="*/ 2147483647 w 238"/>
                <a:gd name="T21" fmla="*/ 2147483647 h 167"/>
                <a:gd name="T22" fmla="*/ 2147483647 w 238"/>
                <a:gd name="T23" fmla="*/ 2147483647 h 167"/>
                <a:gd name="T24" fmla="*/ 2147483647 w 238"/>
                <a:gd name="T25" fmla="*/ 2147483647 h 167"/>
                <a:gd name="T26" fmla="*/ 2147483647 w 238"/>
                <a:gd name="T27" fmla="*/ 2147483647 h 167"/>
                <a:gd name="T28" fmla="*/ 2147483647 w 238"/>
                <a:gd name="T29" fmla="*/ 2147483647 h 167"/>
                <a:gd name="T30" fmla="*/ 2147483647 w 238"/>
                <a:gd name="T31" fmla="*/ 2147483647 h 167"/>
                <a:gd name="T32" fmla="*/ 2147483647 w 238"/>
                <a:gd name="T33" fmla="*/ 2147483647 h 167"/>
                <a:gd name="T34" fmla="*/ 2147483647 w 238"/>
                <a:gd name="T35" fmla="*/ 2147483647 h 167"/>
                <a:gd name="T36" fmla="*/ 2147483647 w 238"/>
                <a:gd name="T37" fmla="*/ 2147483647 h 167"/>
                <a:gd name="T38" fmla="*/ 2147483647 w 238"/>
                <a:gd name="T39" fmla="*/ 2147483647 h 167"/>
                <a:gd name="T40" fmla="*/ 2147483647 w 238"/>
                <a:gd name="T41" fmla="*/ 2147483647 h 167"/>
                <a:gd name="T42" fmla="*/ 2147483647 w 238"/>
                <a:gd name="T43" fmla="*/ 2147483647 h 167"/>
                <a:gd name="T44" fmla="*/ 2147483647 w 238"/>
                <a:gd name="T45" fmla="*/ 2147483647 h 167"/>
                <a:gd name="T46" fmla="*/ 2147483647 w 238"/>
                <a:gd name="T47" fmla="*/ 2147483647 h 167"/>
                <a:gd name="T48" fmla="*/ 2147483647 w 238"/>
                <a:gd name="T49" fmla="*/ 2147483647 h 167"/>
                <a:gd name="T50" fmla="*/ 2147483647 w 238"/>
                <a:gd name="T51" fmla="*/ 2147483647 h 167"/>
                <a:gd name="T52" fmla="*/ 2147483647 w 238"/>
                <a:gd name="T53" fmla="*/ 2147483647 h 167"/>
                <a:gd name="T54" fmla="*/ 2147483647 w 238"/>
                <a:gd name="T55" fmla="*/ 2147483647 h 167"/>
                <a:gd name="T56" fmla="*/ 2147483647 w 238"/>
                <a:gd name="T57" fmla="*/ 2147483647 h 167"/>
                <a:gd name="T58" fmla="*/ 2147483647 w 238"/>
                <a:gd name="T59" fmla="*/ 2147483647 h 167"/>
                <a:gd name="T60" fmla="*/ 2147483647 w 238"/>
                <a:gd name="T61" fmla="*/ 2147483647 h 167"/>
                <a:gd name="T62" fmla="*/ 2147483647 w 238"/>
                <a:gd name="T63" fmla="*/ 2147483647 h 167"/>
                <a:gd name="T64" fmla="*/ 2147483647 w 238"/>
                <a:gd name="T65" fmla="*/ 2147483647 h 167"/>
                <a:gd name="T66" fmla="*/ 2147483647 w 238"/>
                <a:gd name="T67" fmla="*/ 2147483647 h 167"/>
                <a:gd name="T68" fmla="*/ 2147483647 w 238"/>
                <a:gd name="T69" fmla="*/ 2147483647 h 167"/>
                <a:gd name="T70" fmla="*/ 2147483647 w 238"/>
                <a:gd name="T71" fmla="*/ 2147483647 h 167"/>
                <a:gd name="T72" fmla="*/ 2147483647 w 238"/>
                <a:gd name="T73" fmla="*/ 2147483647 h 167"/>
                <a:gd name="T74" fmla="*/ 2147483647 w 238"/>
                <a:gd name="T75" fmla="*/ 2147483647 h 167"/>
                <a:gd name="T76" fmla="*/ 2147483647 w 238"/>
                <a:gd name="T77" fmla="*/ 2147483647 h 167"/>
                <a:gd name="T78" fmla="*/ 2147483647 w 238"/>
                <a:gd name="T79" fmla="*/ 2147483647 h 167"/>
                <a:gd name="T80" fmla="*/ 2147483647 w 238"/>
                <a:gd name="T81" fmla="*/ 2147483647 h 167"/>
                <a:gd name="T82" fmla="*/ 2147483647 w 238"/>
                <a:gd name="T83" fmla="*/ 2147483647 h 167"/>
                <a:gd name="T84" fmla="*/ 2147483647 w 238"/>
                <a:gd name="T85" fmla="*/ 0 h 167"/>
                <a:gd name="T86" fmla="*/ 2147483647 w 238"/>
                <a:gd name="T87" fmla="*/ 2147483647 h 167"/>
                <a:gd name="T88" fmla="*/ 2147483647 w 238"/>
                <a:gd name="T89" fmla="*/ 2147483647 h 167"/>
                <a:gd name="T90" fmla="*/ 2147483647 w 238"/>
                <a:gd name="T91" fmla="*/ 2147483647 h 167"/>
                <a:gd name="T92" fmla="*/ 2147483647 w 238"/>
                <a:gd name="T93" fmla="*/ 2147483647 h 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8"/>
                <a:gd name="T142" fmla="*/ 0 h 167"/>
                <a:gd name="T143" fmla="*/ 238 w 238"/>
                <a:gd name="T144" fmla="*/ 167 h 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8" h="167">
                  <a:moveTo>
                    <a:pt x="44" y="32"/>
                  </a:moveTo>
                  <a:lnTo>
                    <a:pt x="42" y="30"/>
                  </a:lnTo>
                  <a:lnTo>
                    <a:pt x="39" y="26"/>
                  </a:lnTo>
                  <a:lnTo>
                    <a:pt x="33" y="15"/>
                  </a:lnTo>
                  <a:lnTo>
                    <a:pt x="25" y="6"/>
                  </a:lnTo>
                  <a:lnTo>
                    <a:pt x="22" y="2"/>
                  </a:lnTo>
                  <a:lnTo>
                    <a:pt x="19" y="1"/>
                  </a:lnTo>
                  <a:lnTo>
                    <a:pt x="14" y="2"/>
                  </a:lnTo>
                  <a:lnTo>
                    <a:pt x="9" y="6"/>
                  </a:lnTo>
                  <a:lnTo>
                    <a:pt x="6" y="11"/>
                  </a:lnTo>
                  <a:lnTo>
                    <a:pt x="2" y="15"/>
                  </a:lnTo>
                  <a:lnTo>
                    <a:pt x="1" y="19"/>
                  </a:lnTo>
                  <a:lnTo>
                    <a:pt x="1" y="24"/>
                  </a:lnTo>
                  <a:lnTo>
                    <a:pt x="0" y="34"/>
                  </a:lnTo>
                  <a:lnTo>
                    <a:pt x="0" y="47"/>
                  </a:lnTo>
                  <a:lnTo>
                    <a:pt x="12" y="28"/>
                  </a:lnTo>
                  <a:lnTo>
                    <a:pt x="14" y="30"/>
                  </a:lnTo>
                  <a:lnTo>
                    <a:pt x="16" y="28"/>
                  </a:lnTo>
                  <a:lnTo>
                    <a:pt x="20" y="25"/>
                  </a:lnTo>
                  <a:lnTo>
                    <a:pt x="21" y="24"/>
                  </a:lnTo>
                  <a:lnTo>
                    <a:pt x="22" y="24"/>
                  </a:lnTo>
                  <a:lnTo>
                    <a:pt x="25" y="27"/>
                  </a:lnTo>
                  <a:lnTo>
                    <a:pt x="29" y="46"/>
                  </a:lnTo>
                  <a:lnTo>
                    <a:pt x="30" y="50"/>
                  </a:lnTo>
                  <a:lnTo>
                    <a:pt x="29" y="52"/>
                  </a:lnTo>
                  <a:lnTo>
                    <a:pt x="25" y="56"/>
                  </a:lnTo>
                  <a:lnTo>
                    <a:pt x="20" y="58"/>
                  </a:lnTo>
                  <a:lnTo>
                    <a:pt x="16" y="58"/>
                  </a:lnTo>
                  <a:lnTo>
                    <a:pt x="14" y="57"/>
                  </a:lnTo>
                  <a:lnTo>
                    <a:pt x="11" y="56"/>
                  </a:lnTo>
                  <a:lnTo>
                    <a:pt x="9" y="56"/>
                  </a:lnTo>
                  <a:lnTo>
                    <a:pt x="6" y="57"/>
                  </a:lnTo>
                  <a:lnTo>
                    <a:pt x="5" y="58"/>
                  </a:lnTo>
                  <a:lnTo>
                    <a:pt x="3" y="63"/>
                  </a:lnTo>
                  <a:lnTo>
                    <a:pt x="3" y="69"/>
                  </a:lnTo>
                  <a:lnTo>
                    <a:pt x="3" y="71"/>
                  </a:lnTo>
                  <a:lnTo>
                    <a:pt x="6" y="72"/>
                  </a:lnTo>
                  <a:lnTo>
                    <a:pt x="12" y="73"/>
                  </a:lnTo>
                  <a:lnTo>
                    <a:pt x="19" y="75"/>
                  </a:lnTo>
                  <a:lnTo>
                    <a:pt x="21" y="76"/>
                  </a:lnTo>
                  <a:lnTo>
                    <a:pt x="22" y="78"/>
                  </a:lnTo>
                  <a:lnTo>
                    <a:pt x="24" y="79"/>
                  </a:lnTo>
                  <a:lnTo>
                    <a:pt x="22" y="79"/>
                  </a:lnTo>
                  <a:lnTo>
                    <a:pt x="19" y="78"/>
                  </a:lnTo>
                  <a:lnTo>
                    <a:pt x="17" y="79"/>
                  </a:lnTo>
                  <a:lnTo>
                    <a:pt x="15" y="81"/>
                  </a:lnTo>
                  <a:lnTo>
                    <a:pt x="14" y="83"/>
                  </a:lnTo>
                  <a:lnTo>
                    <a:pt x="14" y="87"/>
                  </a:lnTo>
                  <a:lnTo>
                    <a:pt x="16" y="94"/>
                  </a:lnTo>
                  <a:lnTo>
                    <a:pt x="19" y="101"/>
                  </a:lnTo>
                  <a:lnTo>
                    <a:pt x="19" y="103"/>
                  </a:lnTo>
                  <a:lnTo>
                    <a:pt x="19" y="107"/>
                  </a:lnTo>
                  <a:lnTo>
                    <a:pt x="17" y="116"/>
                  </a:lnTo>
                  <a:lnTo>
                    <a:pt x="17" y="120"/>
                  </a:lnTo>
                  <a:lnTo>
                    <a:pt x="19" y="123"/>
                  </a:lnTo>
                  <a:lnTo>
                    <a:pt x="21" y="126"/>
                  </a:lnTo>
                  <a:lnTo>
                    <a:pt x="24" y="128"/>
                  </a:lnTo>
                  <a:lnTo>
                    <a:pt x="28" y="128"/>
                  </a:lnTo>
                  <a:lnTo>
                    <a:pt x="31" y="128"/>
                  </a:lnTo>
                  <a:lnTo>
                    <a:pt x="35" y="127"/>
                  </a:lnTo>
                  <a:lnTo>
                    <a:pt x="40" y="124"/>
                  </a:lnTo>
                  <a:lnTo>
                    <a:pt x="52" y="119"/>
                  </a:lnTo>
                  <a:lnTo>
                    <a:pt x="63" y="110"/>
                  </a:lnTo>
                  <a:lnTo>
                    <a:pt x="73" y="115"/>
                  </a:lnTo>
                  <a:lnTo>
                    <a:pt x="83" y="119"/>
                  </a:lnTo>
                  <a:lnTo>
                    <a:pt x="92" y="121"/>
                  </a:lnTo>
                  <a:lnTo>
                    <a:pt x="116" y="127"/>
                  </a:lnTo>
                  <a:lnTo>
                    <a:pt x="116" y="128"/>
                  </a:lnTo>
                  <a:lnTo>
                    <a:pt x="119" y="130"/>
                  </a:lnTo>
                  <a:lnTo>
                    <a:pt x="127" y="135"/>
                  </a:lnTo>
                  <a:lnTo>
                    <a:pt x="143" y="142"/>
                  </a:lnTo>
                  <a:lnTo>
                    <a:pt x="146" y="145"/>
                  </a:lnTo>
                  <a:lnTo>
                    <a:pt x="147" y="146"/>
                  </a:lnTo>
                  <a:lnTo>
                    <a:pt x="148" y="151"/>
                  </a:lnTo>
                  <a:lnTo>
                    <a:pt x="147" y="161"/>
                  </a:lnTo>
                  <a:lnTo>
                    <a:pt x="148" y="162"/>
                  </a:lnTo>
                  <a:lnTo>
                    <a:pt x="151" y="164"/>
                  </a:lnTo>
                  <a:lnTo>
                    <a:pt x="160" y="165"/>
                  </a:lnTo>
                  <a:lnTo>
                    <a:pt x="170" y="165"/>
                  </a:lnTo>
                  <a:lnTo>
                    <a:pt x="174" y="166"/>
                  </a:lnTo>
                  <a:lnTo>
                    <a:pt x="176" y="167"/>
                  </a:lnTo>
                  <a:lnTo>
                    <a:pt x="177" y="167"/>
                  </a:lnTo>
                  <a:lnTo>
                    <a:pt x="179" y="165"/>
                  </a:lnTo>
                  <a:lnTo>
                    <a:pt x="182" y="161"/>
                  </a:lnTo>
                  <a:lnTo>
                    <a:pt x="188" y="155"/>
                  </a:lnTo>
                  <a:lnTo>
                    <a:pt x="191" y="154"/>
                  </a:lnTo>
                  <a:lnTo>
                    <a:pt x="194" y="153"/>
                  </a:lnTo>
                  <a:lnTo>
                    <a:pt x="196" y="152"/>
                  </a:lnTo>
                  <a:lnTo>
                    <a:pt x="199" y="148"/>
                  </a:lnTo>
                  <a:lnTo>
                    <a:pt x="204" y="141"/>
                  </a:lnTo>
                  <a:lnTo>
                    <a:pt x="210" y="134"/>
                  </a:lnTo>
                  <a:lnTo>
                    <a:pt x="214" y="130"/>
                  </a:lnTo>
                  <a:lnTo>
                    <a:pt x="218" y="129"/>
                  </a:lnTo>
                  <a:lnTo>
                    <a:pt x="223" y="127"/>
                  </a:lnTo>
                  <a:lnTo>
                    <a:pt x="226" y="126"/>
                  </a:lnTo>
                  <a:lnTo>
                    <a:pt x="228" y="126"/>
                  </a:lnTo>
                  <a:lnTo>
                    <a:pt x="233" y="127"/>
                  </a:lnTo>
                  <a:lnTo>
                    <a:pt x="237" y="127"/>
                  </a:lnTo>
                  <a:lnTo>
                    <a:pt x="238" y="127"/>
                  </a:lnTo>
                  <a:lnTo>
                    <a:pt x="238" y="126"/>
                  </a:lnTo>
                  <a:lnTo>
                    <a:pt x="237" y="122"/>
                  </a:lnTo>
                  <a:lnTo>
                    <a:pt x="237" y="117"/>
                  </a:lnTo>
                  <a:lnTo>
                    <a:pt x="237" y="113"/>
                  </a:lnTo>
                  <a:lnTo>
                    <a:pt x="236" y="110"/>
                  </a:lnTo>
                  <a:lnTo>
                    <a:pt x="232" y="109"/>
                  </a:lnTo>
                  <a:lnTo>
                    <a:pt x="226" y="109"/>
                  </a:lnTo>
                  <a:lnTo>
                    <a:pt x="219" y="107"/>
                  </a:lnTo>
                  <a:lnTo>
                    <a:pt x="212" y="103"/>
                  </a:lnTo>
                  <a:lnTo>
                    <a:pt x="194" y="89"/>
                  </a:lnTo>
                  <a:lnTo>
                    <a:pt x="177" y="73"/>
                  </a:lnTo>
                  <a:lnTo>
                    <a:pt x="167" y="63"/>
                  </a:lnTo>
                  <a:lnTo>
                    <a:pt x="158" y="51"/>
                  </a:lnTo>
                  <a:lnTo>
                    <a:pt x="155" y="44"/>
                  </a:lnTo>
                  <a:lnTo>
                    <a:pt x="152" y="38"/>
                  </a:lnTo>
                  <a:lnTo>
                    <a:pt x="151" y="36"/>
                  </a:lnTo>
                  <a:lnTo>
                    <a:pt x="148" y="34"/>
                  </a:lnTo>
                  <a:lnTo>
                    <a:pt x="142" y="32"/>
                  </a:lnTo>
                  <a:lnTo>
                    <a:pt x="133" y="32"/>
                  </a:lnTo>
                  <a:lnTo>
                    <a:pt x="125" y="32"/>
                  </a:lnTo>
                  <a:lnTo>
                    <a:pt x="123" y="31"/>
                  </a:lnTo>
                  <a:lnTo>
                    <a:pt x="122" y="30"/>
                  </a:lnTo>
                  <a:lnTo>
                    <a:pt x="120" y="24"/>
                  </a:lnTo>
                  <a:lnTo>
                    <a:pt x="119" y="18"/>
                  </a:lnTo>
                  <a:lnTo>
                    <a:pt x="118" y="14"/>
                  </a:lnTo>
                  <a:lnTo>
                    <a:pt x="116" y="11"/>
                  </a:lnTo>
                  <a:lnTo>
                    <a:pt x="113" y="6"/>
                  </a:lnTo>
                  <a:lnTo>
                    <a:pt x="106" y="1"/>
                  </a:lnTo>
                  <a:lnTo>
                    <a:pt x="102" y="0"/>
                  </a:lnTo>
                  <a:lnTo>
                    <a:pt x="99" y="0"/>
                  </a:lnTo>
                  <a:lnTo>
                    <a:pt x="95" y="0"/>
                  </a:lnTo>
                  <a:lnTo>
                    <a:pt x="90" y="1"/>
                  </a:lnTo>
                  <a:lnTo>
                    <a:pt x="85" y="4"/>
                  </a:lnTo>
                  <a:lnTo>
                    <a:pt x="82" y="7"/>
                  </a:lnTo>
                  <a:lnTo>
                    <a:pt x="78" y="12"/>
                  </a:lnTo>
                  <a:lnTo>
                    <a:pt x="77" y="15"/>
                  </a:lnTo>
                  <a:lnTo>
                    <a:pt x="75" y="24"/>
                  </a:lnTo>
                  <a:lnTo>
                    <a:pt x="73" y="30"/>
                  </a:lnTo>
                  <a:lnTo>
                    <a:pt x="72" y="31"/>
                  </a:lnTo>
                  <a:lnTo>
                    <a:pt x="69" y="32"/>
                  </a:lnTo>
                  <a:lnTo>
                    <a:pt x="64" y="32"/>
                  </a:lnTo>
                  <a:lnTo>
                    <a:pt x="58" y="30"/>
                  </a:lnTo>
                  <a:lnTo>
                    <a:pt x="44" y="32"/>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4" name="Freeform 1313"/>
            <p:cNvSpPr>
              <a:spLocks/>
            </p:cNvSpPr>
            <p:nvPr/>
          </p:nvSpPr>
          <p:spPr bwMode="auto">
            <a:xfrm>
              <a:off x="5684839" y="3000376"/>
              <a:ext cx="349250" cy="265113"/>
            </a:xfrm>
            <a:custGeom>
              <a:avLst/>
              <a:gdLst>
                <a:gd name="T0" fmla="*/ 2147483647 w 239"/>
                <a:gd name="T1" fmla="*/ 2147483647 h 167"/>
                <a:gd name="T2" fmla="*/ 2147483647 w 239"/>
                <a:gd name="T3" fmla="*/ 2147483647 h 167"/>
                <a:gd name="T4" fmla="*/ 2147483647 w 239"/>
                <a:gd name="T5" fmla="*/ 2147483647 h 167"/>
                <a:gd name="T6" fmla="*/ 2147483647 w 239"/>
                <a:gd name="T7" fmla="*/ 2147483647 h 167"/>
                <a:gd name="T8" fmla="*/ 2147483647 w 239"/>
                <a:gd name="T9" fmla="*/ 2147483647 h 167"/>
                <a:gd name="T10" fmla="*/ 0 w 239"/>
                <a:gd name="T11" fmla="*/ 2147483647 h 167"/>
                <a:gd name="T12" fmla="*/ 2147483647 w 239"/>
                <a:gd name="T13" fmla="*/ 2147483647 h 167"/>
                <a:gd name="T14" fmla="*/ 2147483647 w 239"/>
                <a:gd name="T15" fmla="*/ 2147483647 h 167"/>
                <a:gd name="T16" fmla="*/ 2147483647 w 239"/>
                <a:gd name="T17" fmla="*/ 2147483647 h 167"/>
                <a:gd name="T18" fmla="*/ 2147483647 w 239"/>
                <a:gd name="T19" fmla="*/ 2147483647 h 167"/>
                <a:gd name="T20" fmla="*/ 2147483647 w 239"/>
                <a:gd name="T21" fmla="*/ 2147483647 h 167"/>
                <a:gd name="T22" fmla="*/ 2147483647 w 239"/>
                <a:gd name="T23" fmla="*/ 2147483647 h 167"/>
                <a:gd name="T24" fmla="*/ 2147483647 w 239"/>
                <a:gd name="T25" fmla="*/ 2147483647 h 167"/>
                <a:gd name="T26" fmla="*/ 2147483647 w 239"/>
                <a:gd name="T27" fmla="*/ 2147483647 h 167"/>
                <a:gd name="T28" fmla="*/ 2147483647 w 239"/>
                <a:gd name="T29" fmla="*/ 2147483647 h 167"/>
                <a:gd name="T30" fmla="*/ 2147483647 w 239"/>
                <a:gd name="T31" fmla="*/ 2147483647 h 167"/>
                <a:gd name="T32" fmla="*/ 2147483647 w 239"/>
                <a:gd name="T33" fmla="*/ 2147483647 h 167"/>
                <a:gd name="T34" fmla="*/ 2147483647 w 239"/>
                <a:gd name="T35" fmla="*/ 2147483647 h 167"/>
                <a:gd name="T36" fmla="*/ 2147483647 w 239"/>
                <a:gd name="T37" fmla="*/ 2147483647 h 167"/>
                <a:gd name="T38" fmla="*/ 2147483647 w 239"/>
                <a:gd name="T39" fmla="*/ 2147483647 h 167"/>
                <a:gd name="T40" fmla="*/ 2147483647 w 239"/>
                <a:gd name="T41" fmla="*/ 2147483647 h 167"/>
                <a:gd name="T42" fmla="*/ 2147483647 w 239"/>
                <a:gd name="T43" fmla="*/ 2147483647 h 167"/>
                <a:gd name="T44" fmla="*/ 2147483647 w 239"/>
                <a:gd name="T45" fmla="*/ 2147483647 h 167"/>
                <a:gd name="T46" fmla="*/ 2147483647 w 239"/>
                <a:gd name="T47" fmla="*/ 2147483647 h 167"/>
                <a:gd name="T48" fmla="*/ 2147483647 w 239"/>
                <a:gd name="T49" fmla="*/ 2147483647 h 167"/>
                <a:gd name="T50" fmla="*/ 2147483647 w 239"/>
                <a:gd name="T51" fmla="*/ 2147483647 h 167"/>
                <a:gd name="T52" fmla="*/ 2147483647 w 239"/>
                <a:gd name="T53" fmla="*/ 2147483647 h 167"/>
                <a:gd name="T54" fmla="*/ 2147483647 w 239"/>
                <a:gd name="T55" fmla="*/ 2147483647 h 167"/>
                <a:gd name="T56" fmla="*/ 2147483647 w 239"/>
                <a:gd name="T57" fmla="*/ 2147483647 h 167"/>
                <a:gd name="T58" fmla="*/ 2147483647 w 239"/>
                <a:gd name="T59" fmla="*/ 2147483647 h 167"/>
                <a:gd name="T60" fmla="*/ 2147483647 w 239"/>
                <a:gd name="T61" fmla="*/ 2147483647 h 167"/>
                <a:gd name="T62" fmla="*/ 2147483647 w 239"/>
                <a:gd name="T63" fmla="*/ 2147483647 h 167"/>
                <a:gd name="T64" fmla="*/ 2147483647 w 239"/>
                <a:gd name="T65" fmla="*/ 2147483647 h 167"/>
                <a:gd name="T66" fmla="*/ 2147483647 w 239"/>
                <a:gd name="T67" fmla="*/ 2147483647 h 167"/>
                <a:gd name="T68" fmla="*/ 2147483647 w 239"/>
                <a:gd name="T69" fmla="*/ 2147483647 h 167"/>
                <a:gd name="T70" fmla="*/ 2147483647 w 239"/>
                <a:gd name="T71" fmla="*/ 2147483647 h 167"/>
                <a:gd name="T72" fmla="*/ 2147483647 w 239"/>
                <a:gd name="T73" fmla="*/ 2147483647 h 167"/>
                <a:gd name="T74" fmla="*/ 2147483647 w 239"/>
                <a:gd name="T75" fmla="*/ 2147483647 h 167"/>
                <a:gd name="T76" fmla="*/ 2147483647 w 239"/>
                <a:gd name="T77" fmla="*/ 2147483647 h 167"/>
                <a:gd name="T78" fmla="*/ 2147483647 w 239"/>
                <a:gd name="T79" fmla="*/ 2147483647 h 167"/>
                <a:gd name="T80" fmla="*/ 2147483647 w 239"/>
                <a:gd name="T81" fmla="*/ 2147483647 h 167"/>
                <a:gd name="T82" fmla="*/ 2147483647 w 239"/>
                <a:gd name="T83" fmla="*/ 2147483647 h 167"/>
                <a:gd name="T84" fmla="*/ 2147483647 w 239"/>
                <a:gd name="T85" fmla="*/ 2147483647 h 167"/>
                <a:gd name="T86" fmla="*/ 2147483647 w 239"/>
                <a:gd name="T87" fmla="*/ 2147483647 h 167"/>
                <a:gd name="T88" fmla="*/ 2147483647 w 239"/>
                <a:gd name="T89" fmla="*/ 2147483647 h 167"/>
                <a:gd name="T90" fmla="*/ 2147483647 w 239"/>
                <a:gd name="T91" fmla="*/ 2147483647 h 167"/>
                <a:gd name="T92" fmla="*/ 2147483647 w 239"/>
                <a:gd name="T93" fmla="*/ 2147483647 h 167"/>
                <a:gd name="T94" fmla="*/ 2147483647 w 239"/>
                <a:gd name="T95" fmla="*/ 2147483647 h 167"/>
                <a:gd name="T96" fmla="*/ 2147483647 w 239"/>
                <a:gd name="T97" fmla="*/ 2147483647 h 167"/>
                <a:gd name="T98" fmla="*/ 2147483647 w 239"/>
                <a:gd name="T99" fmla="*/ 2147483647 h 167"/>
                <a:gd name="T100" fmla="*/ 2147483647 w 239"/>
                <a:gd name="T101" fmla="*/ 2147483647 h 167"/>
                <a:gd name="T102" fmla="*/ 2147483647 w 239"/>
                <a:gd name="T103" fmla="*/ 0 h 167"/>
                <a:gd name="T104" fmla="*/ 2147483647 w 239"/>
                <a:gd name="T105" fmla="*/ 2147483647 h 167"/>
                <a:gd name="T106" fmla="*/ 2147483647 w 239"/>
                <a:gd name="T107" fmla="*/ 2147483647 h 167"/>
                <a:gd name="T108" fmla="*/ 2147483647 w 239"/>
                <a:gd name="T109" fmla="*/ 2147483647 h 167"/>
                <a:gd name="T110" fmla="*/ 2147483647 w 239"/>
                <a:gd name="T111" fmla="*/ 2147483647 h 167"/>
                <a:gd name="T112" fmla="*/ 2147483647 w 239"/>
                <a:gd name="T113" fmla="*/ 2147483647 h 1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9"/>
                <a:gd name="T172" fmla="*/ 0 h 167"/>
                <a:gd name="T173" fmla="*/ 239 w 239"/>
                <a:gd name="T174" fmla="*/ 167 h 1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9" h="167">
                  <a:moveTo>
                    <a:pt x="45" y="32"/>
                  </a:moveTo>
                  <a:lnTo>
                    <a:pt x="45" y="32"/>
                  </a:lnTo>
                  <a:lnTo>
                    <a:pt x="42" y="29"/>
                  </a:lnTo>
                  <a:lnTo>
                    <a:pt x="40" y="26"/>
                  </a:lnTo>
                  <a:lnTo>
                    <a:pt x="33" y="15"/>
                  </a:lnTo>
                  <a:lnTo>
                    <a:pt x="26" y="6"/>
                  </a:lnTo>
                  <a:lnTo>
                    <a:pt x="23" y="2"/>
                  </a:lnTo>
                  <a:lnTo>
                    <a:pt x="19" y="1"/>
                  </a:lnTo>
                  <a:lnTo>
                    <a:pt x="14" y="2"/>
                  </a:lnTo>
                  <a:lnTo>
                    <a:pt x="9" y="6"/>
                  </a:lnTo>
                  <a:lnTo>
                    <a:pt x="7" y="10"/>
                  </a:lnTo>
                  <a:lnTo>
                    <a:pt x="3" y="15"/>
                  </a:lnTo>
                  <a:lnTo>
                    <a:pt x="2" y="19"/>
                  </a:lnTo>
                  <a:lnTo>
                    <a:pt x="2" y="23"/>
                  </a:lnTo>
                  <a:lnTo>
                    <a:pt x="0" y="34"/>
                  </a:lnTo>
                  <a:lnTo>
                    <a:pt x="0" y="47"/>
                  </a:lnTo>
                  <a:lnTo>
                    <a:pt x="13" y="28"/>
                  </a:lnTo>
                  <a:lnTo>
                    <a:pt x="14" y="29"/>
                  </a:lnTo>
                  <a:lnTo>
                    <a:pt x="17" y="28"/>
                  </a:lnTo>
                  <a:lnTo>
                    <a:pt x="21" y="25"/>
                  </a:lnTo>
                  <a:lnTo>
                    <a:pt x="22" y="23"/>
                  </a:lnTo>
                  <a:lnTo>
                    <a:pt x="23" y="23"/>
                  </a:lnTo>
                  <a:lnTo>
                    <a:pt x="26" y="27"/>
                  </a:lnTo>
                  <a:lnTo>
                    <a:pt x="30" y="46"/>
                  </a:lnTo>
                  <a:lnTo>
                    <a:pt x="31" y="50"/>
                  </a:lnTo>
                  <a:lnTo>
                    <a:pt x="30" y="52"/>
                  </a:lnTo>
                  <a:lnTo>
                    <a:pt x="26" y="55"/>
                  </a:lnTo>
                  <a:lnTo>
                    <a:pt x="21" y="58"/>
                  </a:lnTo>
                  <a:lnTo>
                    <a:pt x="17" y="58"/>
                  </a:lnTo>
                  <a:lnTo>
                    <a:pt x="14" y="57"/>
                  </a:lnTo>
                  <a:lnTo>
                    <a:pt x="12" y="55"/>
                  </a:lnTo>
                  <a:lnTo>
                    <a:pt x="9" y="55"/>
                  </a:lnTo>
                  <a:lnTo>
                    <a:pt x="7" y="57"/>
                  </a:lnTo>
                  <a:lnTo>
                    <a:pt x="5" y="58"/>
                  </a:lnTo>
                  <a:lnTo>
                    <a:pt x="4" y="63"/>
                  </a:lnTo>
                  <a:lnTo>
                    <a:pt x="4" y="69"/>
                  </a:lnTo>
                  <a:lnTo>
                    <a:pt x="4" y="71"/>
                  </a:lnTo>
                  <a:lnTo>
                    <a:pt x="7" y="72"/>
                  </a:lnTo>
                  <a:lnTo>
                    <a:pt x="13" y="73"/>
                  </a:lnTo>
                  <a:lnTo>
                    <a:pt x="19" y="74"/>
                  </a:lnTo>
                  <a:lnTo>
                    <a:pt x="22" y="76"/>
                  </a:lnTo>
                  <a:lnTo>
                    <a:pt x="23" y="78"/>
                  </a:lnTo>
                  <a:lnTo>
                    <a:pt x="24" y="79"/>
                  </a:lnTo>
                  <a:lnTo>
                    <a:pt x="23" y="79"/>
                  </a:lnTo>
                  <a:lnTo>
                    <a:pt x="19" y="78"/>
                  </a:lnTo>
                  <a:lnTo>
                    <a:pt x="18" y="79"/>
                  </a:lnTo>
                  <a:lnTo>
                    <a:pt x="16" y="80"/>
                  </a:lnTo>
                  <a:lnTo>
                    <a:pt x="14" y="83"/>
                  </a:lnTo>
                  <a:lnTo>
                    <a:pt x="14" y="86"/>
                  </a:lnTo>
                  <a:lnTo>
                    <a:pt x="17" y="93"/>
                  </a:lnTo>
                  <a:lnTo>
                    <a:pt x="19" y="101"/>
                  </a:lnTo>
                  <a:lnTo>
                    <a:pt x="19" y="103"/>
                  </a:lnTo>
                  <a:lnTo>
                    <a:pt x="19" y="106"/>
                  </a:lnTo>
                  <a:lnTo>
                    <a:pt x="18" y="116"/>
                  </a:lnTo>
                  <a:lnTo>
                    <a:pt x="18" y="120"/>
                  </a:lnTo>
                  <a:lnTo>
                    <a:pt x="19" y="123"/>
                  </a:lnTo>
                  <a:lnTo>
                    <a:pt x="22" y="125"/>
                  </a:lnTo>
                  <a:lnTo>
                    <a:pt x="24" y="128"/>
                  </a:lnTo>
                  <a:lnTo>
                    <a:pt x="28" y="128"/>
                  </a:lnTo>
                  <a:lnTo>
                    <a:pt x="32" y="128"/>
                  </a:lnTo>
                  <a:lnTo>
                    <a:pt x="36" y="127"/>
                  </a:lnTo>
                  <a:lnTo>
                    <a:pt x="41" y="124"/>
                  </a:lnTo>
                  <a:lnTo>
                    <a:pt x="52" y="118"/>
                  </a:lnTo>
                  <a:lnTo>
                    <a:pt x="64" y="110"/>
                  </a:lnTo>
                  <a:lnTo>
                    <a:pt x="74" y="115"/>
                  </a:lnTo>
                  <a:lnTo>
                    <a:pt x="84" y="118"/>
                  </a:lnTo>
                  <a:lnTo>
                    <a:pt x="93" y="121"/>
                  </a:lnTo>
                  <a:lnTo>
                    <a:pt x="117" y="127"/>
                  </a:lnTo>
                  <a:lnTo>
                    <a:pt x="117" y="128"/>
                  </a:lnTo>
                  <a:lnTo>
                    <a:pt x="120" y="130"/>
                  </a:lnTo>
                  <a:lnTo>
                    <a:pt x="127" y="135"/>
                  </a:lnTo>
                  <a:lnTo>
                    <a:pt x="144" y="142"/>
                  </a:lnTo>
                  <a:lnTo>
                    <a:pt x="146" y="144"/>
                  </a:lnTo>
                  <a:lnTo>
                    <a:pt x="148" y="146"/>
                  </a:lnTo>
                  <a:lnTo>
                    <a:pt x="149" y="150"/>
                  </a:lnTo>
                  <a:lnTo>
                    <a:pt x="148" y="161"/>
                  </a:lnTo>
                  <a:lnTo>
                    <a:pt x="149" y="162"/>
                  </a:lnTo>
                  <a:lnTo>
                    <a:pt x="151" y="163"/>
                  </a:lnTo>
                  <a:lnTo>
                    <a:pt x="160" y="165"/>
                  </a:lnTo>
                  <a:lnTo>
                    <a:pt x="171" y="165"/>
                  </a:lnTo>
                  <a:lnTo>
                    <a:pt x="174" y="166"/>
                  </a:lnTo>
                  <a:lnTo>
                    <a:pt x="177" y="167"/>
                  </a:lnTo>
                  <a:lnTo>
                    <a:pt x="178" y="167"/>
                  </a:lnTo>
                  <a:lnTo>
                    <a:pt x="179" y="165"/>
                  </a:lnTo>
                  <a:lnTo>
                    <a:pt x="183" y="161"/>
                  </a:lnTo>
                  <a:lnTo>
                    <a:pt x="188" y="155"/>
                  </a:lnTo>
                  <a:lnTo>
                    <a:pt x="192" y="154"/>
                  </a:lnTo>
                  <a:lnTo>
                    <a:pt x="195" y="153"/>
                  </a:lnTo>
                  <a:lnTo>
                    <a:pt x="197" y="152"/>
                  </a:lnTo>
                  <a:lnTo>
                    <a:pt x="200" y="148"/>
                  </a:lnTo>
                  <a:lnTo>
                    <a:pt x="205" y="141"/>
                  </a:lnTo>
                  <a:lnTo>
                    <a:pt x="211" y="134"/>
                  </a:lnTo>
                  <a:lnTo>
                    <a:pt x="215" y="130"/>
                  </a:lnTo>
                  <a:lnTo>
                    <a:pt x="219" y="129"/>
                  </a:lnTo>
                  <a:lnTo>
                    <a:pt x="224" y="127"/>
                  </a:lnTo>
                  <a:lnTo>
                    <a:pt x="226" y="125"/>
                  </a:lnTo>
                  <a:lnTo>
                    <a:pt x="229" y="125"/>
                  </a:lnTo>
                  <a:lnTo>
                    <a:pt x="234" y="127"/>
                  </a:lnTo>
                  <a:lnTo>
                    <a:pt x="238" y="127"/>
                  </a:lnTo>
                  <a:lnTo>
                    <a:pt x="239" y="127"/>
                  </a:lnTo>
                  <a:lnTo>
                    <a:pt x="239" y="125"/>
                  </a:lnTo>
                  <a:lnTo>
                    <a:pt x="238" y="122"/>
                  </a:lnTo>
                  <a:lnTo>
                    <a:pt x="238" y="117"/>
                  </a:lnTo>
                  <a:lnTo>
                    <a:pt x="238" y="112"/>
                  </a:lnTo>
                  <a:lnTo>
                    <a:pt x="237" y="110"/>
                  </a:lnTo>
                  <a:lnTo>
                    <a:pt x="233" y="109"/>
                  </a:lnTo>
                  <a:lnTo>
                    <a:pt x="226" y="109"/>
                  </a:lnTo>
                  <a:lnTo>
                    <a:pt x="220" y="106"/>
                  </a:lnTo>
                  <a:lnTo>
                    <a:pt x="212" y="103"/>
                  </a:lnTo>
                  <a:lnTo>
                    <a:pt x="195" y="89"/>
                  </a:lnTo>
                  <a:lnTo>
                    <a:pt x="178" y="73"/>
                  </a:lnTo>
                  <a:lnTo>
                    <a:pt x="168" y="63"/>
                  </a:lnTo>
                  <a:lnTo>
                    <a:pt x="159" y="51"/>
                  </a:lnTo>
                  <a:lnTo>
                    <a:pt x="155" y="44"/>
                  </a:lnTo>
                  <a:lnTo>
                    <a:pt x="153" y="38"/>
                  </a:lnTo>
                  <a:lnTo>
                    <a:pt x="151" y="35"/>
                  </a:lnTo>
                  <a:lnTo>
                    <a:pt x="149" y="34"/>
                  </a:lnTo>
                  <a:lnTo>
                    <a:pt x="143" y="32"/>
                  </a:lnTo>
                  <a:lnTo>
                    <a:pt x="134" y="32"/>
                  </a:lnTo>
                  <a:lnTo>
                    <a:pt x="126" y="32"/>
                  </a:lnTo>
                  <a:lnTo>
                    <a:pt x="124" y="31"/>
                  </a:lnTo>
                  <a:lnTo>
                    <a:pt x="122" y="29"/>
                  </a:lnTo>
                  <a:lnTo>
                    <a:pt x="121" y="23"/>
                  </a:lnTo>
                  <a:lnTo>
                    <a:pt x="120" y="18"/>
                  </a:lnTo>
                  <a:lnTo>
                    <a:pt x="118" y="14"/>
                  </a:lnTo>
                  <a:lnTo>
                    <a:pt x="117" y="10"/>
                  </a:lnTo>
                  <a:lnTo>
                    <a:pt x="113" y="6"/>
                  </a:lnTo>
                  <a:lnTo>
                    <a:pt x="107" y="1"/>
                  </a:lnTo>
                  <a:lnTo>
                    <a:pt x="103" y="0"/>
                  </a:lnTo>
                  <a:lnTo>
                    <a:pt x="99" y="0"/>
                  </a:lnTo>
                  <a:lnTo>
                    <a:pt x="96" y="0"/>
                  </a:lnTo>
                  <a:lnTo>
                    <a:pt x="91" y="1"/>
                  </a:lnTo>
                  <a:lnTo>
                    <a:pt x="85" y="3"/>
                  </a:lnTo>
                  <a:lnTo>
                    <a:pt x="83" y="7"/>
                  </a:lnTo>
                  <a:lnTo>
                    <a:pt x="79" y="12"/>
                  </a:lnTo>
                  <a:lnTo>
                    <a:pt x="78" y="15"/>
                  </a:lnTo>
                  <a:lnTo>
                    <a:pt x="75" y="23"/>
                  </a:lnTo>
                  <a:lnTo>
                    <a:pt x="74" y="29"/>
                  </a:lnTo>
                  <a:lnTo>
                    <a:pt x="73" y="31"/>
                  </a:lnTo>
                  <a:lnTo>
                    <a:pt x="70" y="32"/>
                  </a:lnTo>
                  <a:lnTo>
                    <a:pt x="65" y="32"/>
                  </a:lnTo>
                  <a:lnTo>
                    <a:pt x="59" y="29"/>
                  </a:lnTo>
                  <a:lnTo>
                    <a:pt x="45" y="32"/>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5" name="Freeform 1314"/>
            <p:cNvSpPr>
              <a:spLocks/>
            </p:cNvSpPr>
            <p:nvPr/>
          </p:nvSpPr>
          <p:spPr bwMode="auto">
            <a:xfrm>
              <a:off x="4683126" y="2889250"/>
              <a:ext cx="76200" cy="25400"/>
            </a:xfrm>
            <a:custGeom>
              <a:avLst/>
              <a:gdLst>
                <a:gd name="T0" fmla="*/ 0 w 52"/>
                <a:gd name="T1" fmla="*/ 2147483647 h 16"/>
                <a:gd name="T2" fmla="*/ 0 w 52"/>
                <a:gd name="T3" fmla="*/ 2147483647 h 16"/>
                <a:gd name="T4" fmla="*/ 2147483647 w 52"/>
                <a:gd name="T5" fmla="*/ 2147483647 h 16"/>
                <a:gd name="T6" fmla="*/ 2147483647 w 52"/>
                <a:gd name="T7" fmla="*/ 2147483647 h 16"/>
                <a:gd name="T8" fmla="*/ 2147483647 w 52"/>
                <a:gd name="T9" fmla="*/ 2147483647 h 16"/>
                <a:gd name="T10" fmla="*/ 2147483647 w 52"/>
                <a:gd name="T11" fmla="*/ 2147483647 h 16"/>
                <a:gd name="T12" fmla="*/ 2147483647 w 52"/>
                <a:gd name="T13" fmla="*/ 2147483647 h 16"/>
                <a:gd name="T14" fmla="*/ 2147483647 w 52"/>
                <a:gd name="T15" fmla="*/ 2147483647 h 16"/>
                <a:gd name="T16" fmla="*/ 2147483647 w 52"/>
                <a:gd name="T17" fmla="*/ 2147483647 h 16"/>
                <a:gd name="T18" fmla="*/ 2147483647 w 52"/>
                <a:gd name="T19" fmla="*/ 2147483647 h 16"/>
                <a:gd name="T20" fmla="*/ 2147483647 w 52"/>
                <a:gd name="T21" fmla="*/ 2147483647 h 16"/>
                <a:gd name="T22" fmla="*/ 2147483647 w 52"/>
                <a:gd name="T23" fmla="*/ 2147483647 h 16"/>
                <a:gd name="T24" fmla="*/ 2147483647 w 52"/>
                <a:gd name="T25" fmla="*/ 2147483647 h 16"/>
                <a:gd name="T26" fmla="*/ 2147483647 w 52"/>
                <a:gd name="T27" fmla="*/ 2147483647 h 16"/>
                <a:gd name="T28" fmla="*/ 2147483647 w 52"/>
                <a:gd name="T29" fmla="*/ 2147483647 h 16"/>
                <a:gd name="T30" fmla="*/ 2147483647 w 52"/>
                <a:gd name="T31" fmla="*/ 2147483647 h 16"/>
                <a:gd name="T32" fmla="*/ 2147483647 w 52"/>
                <a:gd name="T33" fmla="*/ 2147483647 h 16"/>
                <a:gd name="T34" fmla="*/ 2147483647 w 52"/>
                <a:gd name="T35" fmla="*/ 0 h 16"/>
                <a:gd name="T36" fmla="*/ 2147483647 w 52"/>
                <a:gd name="T37" fmla="*/ 2147483647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16"/>
                <a:gd name="T59" fmla="*/ 52 w 52"/>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16">
                  <a:moveTo>
                    <a:pt x="0" y="15"/>
                  </a:moveTo>
                  <a:lnTo>
                    <a:pt x="0" y="15"/>
                  </a:lnTo>
                  <a:lnTo>
                    <a:pt x="7" y="16"/>
                  </a:lnTo>
                  <a:lnTo>
                    <a:pt x="14" y="16"/>
                  </a:lnTo>
                  <a:lnTo>
                    <a:pt x="21" y="16"/>
                  </a:lnTo>
                  <a:lnTo>
                    <a:pt x="27" y="14"/>
                  </a:lnTo>
                  <a:lnTo>
                    <a:pt x="32" y="12"/>
                  </a:lnTo>
                  <a:lnTo>
                    <a:pt x="36" y="10"/>
                  </a:lnTo>
                  <a:lnTo>
                    <a:pt x="38" y="9"/>
                  </a:lnTo>
                  <a:lnTo>
                    <a:pt x="41" y="9"/>
                  </a:lnTo>
                  <a:lnTo>
                    <a:pt x="43" y="8"/>
                  </a:lnTo>
                  <a:lnTo>
                    <a:pt x="46" y="6"/>
                  </a:lnTo>
                  <a:lnTo>
                    <a:pt x="48" y="2"/>
                  </a:lnTo>
                  <a:lnTo>
                    <a:pt x="50" y="1"/>
                  </a:lnTo>
                  <a:lnTo>
                    <a:pt x="51" y="0"/>
                  </a:lnTo>
                  <a:lnTo>
                    <a:pt x="52" y="1"/>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6" name="Freeform 1315"/>
            <p:cNvSpPr>
              <a:spLocks/>
            </p:cNvSpPr>
            <p:nvPr/>
          </p:nvSpPr>
          <p:spPr bwMode="auto">
            <a:xfrm>
              <a:off x="4741864" y="2951164"/>
              <a:ext cx="60325" cy="77788"/>
            </a:xfrm>
            <a:custGeom>
              <a:avLst/>
              <a:gdLst>
                <a:gd name="T0" fmla="*/ 2147483647 w 41"/>
                <a:gd name="T1" fmla="*/ 2147483647 h 49"/>
                <a:gd name="T2" fmla="*/ 2147483647 w 41"/>
                <a:gd name="T3" fmla="*/ 2147483647 h 49"/>
                <a:gd name="T4" fmla="*/ 2147483647 w 41"/>
                <a:gd name="T5" fmla="*/ 2147483647 h 49"/>
                <a:gd name="T6" fmla="*/ 2147483647 w 41"/>
                <a:gd name="T7" fmla="*/ 2147483647 h 49"/>
                <a:gd name="T8" fmla="*/ 2147483647 w 41"/>
                <a:gd name="T9" fmla="*/ 2147483647 h 49"/>
                <a:gd name="T10" fmla="*/ 2147483647 w 41"/>
                <a:gd name="T11" fmla="*/ 2147483647 h 49"/>
                <a:gd name="T12" fmla="*/ 2147483647 w 41"/>
                <a:gd name="T13" fmla="*/ 2147483647 h 49"/>
                <a:gd name="T14" fmla="*/ 2147483647 w 41"/>
                <a:gd name="T15" fmla="*/ 2147483647 h 49"/>
                <a:gd name="T16" fmla="*/ 2147483647 w 41"/>
                <a:gd name="T17" fmla="*/ 2147483647 h 49"/>
                <a:gd name="T18" fmla="*/ 2147483647 w 41"/>
                <a:gd name="T19" fmla="*/ 2147483647 h 49"/>
                <a:gd name="T20" fmla="*/ 2147483647 w 41"/>
                <a:gd name="T21" fmla="*/ 0 h 49"/>
                <a:gd name="T22" fmla="*/ 2147483647 w 41"/>
                <a:gd name="T23" fmla="*/ 0 h 49"/>
                <a:gd name="T24" fmla="*/ 2147483647 w 41"/>
                <a:gd name="T25" fmla="*/ 0 h 49"/>
                <a:gd name="T26" fmla="*/ 2147483647 w 41"/>
                <a:gd name="T27" fmla="*/ 0 h 49"/>
                <a:gd name="T28" fmla="*/ 2147483647 w 41"/>
                <a:gd name="T29" fmla="*/ 2147483647 h 49"/>
                <a:gd name="T30" fmla="*/ 2147483647 w 41"/>
                <a:gd name="T31" fmla="*/ 2147483647 h 49"/>
                <a:gd name="T32" fmla="*/ 2147483647 w 41"/>
                <a:gd name="T33" fmla="*/ 2147483647 h 49"/>
                <a:gd name="T34" fmla="*/ 2147483647 w 41"/>
                <a:gd name="T35" fmla="*/ 2147483647 h 49"/>
                <a:gd name="T36" fmla="*/ 2147483647 w 41"/>
                <a:gd name="T37" fmla="*/ 2147483647 h 49"/>
                <a:gd name="T38" fmla="*/ 2147483647 w 41"/>
                <a:gd name="T39" fmla="*/ 2147483647 h 49"/>
                <a:gd name="T40" fmla="*/ 0 w 41"/>
                <a:gd name="T41" fmla="*/ 2147483647 h 49"/>
                <a:gd name="T42" fmla="*/ 2147483647 w 41"/>
                <a:gd name="T43" fmla="*/ 2147483647 h 49"/>
                <a:gd name="T44" fmla="*/ 2147483647 w 41"/>
                <a:gd name="T45" fmla="*/ 2147483647 h 49"/>
                <a:gd name="T46" fmla="*/ 2147483647 w 41"/>
                <a:gd name="T47" fmla="*/ 2147483647 h 49"/>
                <a:gd name="T48" fmla="*/ 2147483647 w 41"/>
                <a:gd name="T49" fmla="*/ 2147483647 h 49"/>
                <a:gd name="T50" fmla="*/ 2147483647 w 41"/>
                <a:gd name="T51" fmla="*/ 2147483647 h 49"/>
                <a:gd name="T52" fmla="*/ 2147483647 w 41"/>
                <a:gd name="T53" fmla="*/ 2147483647 h 49"/>
                <a:gd name="T54" fmla="*/ 2147483647 w 41"/>
                <a:gd name="T55" fmla="*/ 2147483647 h 49"/>
                <a:gd name="T56" fmla="*/ 2147483647 w 41"/>
                <a:gd name="T57" fmla="*/ 2147483647 h 49"/>
                <a:gd name="T58" fmla="*/ 2147483647 w 41"/>
                <a:gd name="T59" fmla="*/ 2147483647 h 49"/>
                <a:gd name="T60" fmla="*/ 2147483647 w 41"/>
                <a:gd name="T61" fmla="*/ 2147483647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
                <a:gd name="T94" fmla="*/ 0 h 49"/>
                <a:gd name="T95" fmla="*/ 41 w 41"/>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 h="49">
                  <a:moveTo>
                    <a:pt x="41" y="8"/>
                  </a:moveTo>
                  <a:lnTo>
                    <a:pt x="41" y="8"/>
                  </a:lnTo>
                  <a:lnTo>
                    <a:pt x="39" y="8"/>
                  </a:lnTo>
                  <a:lnTo>
                    <a:pt x="31" y="7"/>
                  </a:lnTo>
                  <a:lnTo>
                    <a:pt x="29" y="6"/>
                  </a:lnTo>
                  <a:lnTo>
                    <a:pt x="26" y="5"/>
                  </a:lnTo>
                  <a:lnTo>
                    <a:pt x="22" y="1"/>
                  </a:lnTo>
                  <a:lnTo>
                    <a:pt x="20" y="1"/>
                  </a:lnTo>
                  <a:lnTo>
                    <a:pt x="16" y="0"/>
                  </a:lnTo>
                  <a:lnTo>
                    <a:pt x="8" y="0"/>
                  </a:lnTo>
                  <a:lnTo>
                    <a:pt x="7" y="0"/>
                  </a:lnTo>
                  <a:lnTo>
                    <a:pt x="7" y="1"/>
                  </a:lnTo>
                  <a:lnTo>
                    <a:pt x="7" y="2"/>
                  </a:lnTo>
                  <a:lnTo>
                    <a:pt x="6" y="2"/>
                  </a:lnTo>
                  <a:lnTo>
                    <a:pt x="3" y="2"/>
                  </a:lnTo>
                  <a:lnTo>
                    <a:pt x="1" y="4"/>
                  </a:lnTo>
                  <a:lnTo>
                    <a:pt x="0" y="5"/>
                  </a:lnTo>
                  <a:lnTo>
                    <a:pt x="1" y="8"/>
                  </a:lnTo>
                  <a:lnTo>
                    <a:pt x="7" y="13"/>
                  </a:lnTo>
                  <a:lnTo>
                    <a:pt x="14" y="18"/>
                  </a:lnTo>
                  <a:lnTo>
                    <a:pt x="17" y="21"/>
                  </a:lnTo>
                  <a:lnTo>
                    <a:pt x="24" y="27"/>
                  </a:lnTo>
                  <a:lnTo>
                    <a:pt x="31" y="36"/>
                  </a:lnTo>
                  <a:lnTo>
                    <a:pt x="41" y="49"/>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7" name="Freeform 1316"/>
            <p:cNvSpPr>
              <a:spLocks/>
            </p:cNvSpPr>
            <p:nvPr/>
          </p:nvSpPr>
          <p:spPr bwMode="auto">
            <a:xfrm>
              <a:off x="4794250" y="2900367"/>
              <a:ext cx="130175" cy="141287"/>
            </a:xfrm>
            <a:custGeom>
              <a:avLst/>
              <a:gdLst>
                <a:gd name="T0" fmla="*/ 2147483647 w 89"/>
                <a:gd name="T1" fmla="*/ 2147483647 h 89"/>
                <a:gd name="T2" fmla="*/ 2147483647 w 89"/>
                <a:gd name="T3" fmla="*/ 2147483647 h 89"/>
                <a:gd name="T4" fmla="*/ 2147483647 w 89"/>
                <a:gd name="T5" fmla="*/ 2147483647 h 89"/>
                <a:gd name="T6" fmla="*/ 2147483647 w 89"/>
                <a:gd name="T7" fmla="*/ 2147483647 h 89"/>
                <a:gd name="T8" fmla="*/ 2147483647 w 89"/>
                <a:gd name="T9" fmla="*/ 2147483647 h 89"/>
                <a:gd name="T10" fmla="*/ 2147483647 w 89"/>
                <a:gd name="T11" fmla="*/ 2147483647 h 89"/>
                <a:gd name="T12" fmla="*/ 2147483647 w 89"/>
                <a:gd name="T13" fmla="*/ 2147483647 h 89"/>
                <a:gd name="T14" fmla="*/ 2147483647 w 89"/>
                <a:gd name="T15" fmla="*/ 2147483647 h 89"/>
                <a:gd name="T16" fmla="*/ 2147483647 w 89"/>
                <a:gd name="T17" fmla="*/ 2147483647 h 89"/>
                <a:gd name="T18" fmla="*/ 2147483647 w 89"/>
                <a:gd name="T19" fmla="*/ 2147483647 h 89"/>
                <a:gd name="T20" fmla="*/ 2147483647 w 89"/>
                <a:gd name="T21" fmla="*/ 2147483647 h 89"/>
                <a:gd name="T22" fmla="*/ 2147483647 w 89"/>
                <a:gd name="T23" fmla="*/ 2147483647 h 89"/>
                <a:gd name="T24" fmla="*/ 2147483647 w 89"/>
                <a:gd name="T25" fmla="*/ 2147483647 h 89"/>
                <a:gd name="T26" fmla="*/ 2147483647 w 89"/>
                <a:gd name="T27" fmla="*/ 2147483647 h 89"/>
                <a:gd name="T28" fmla="*/ 2147483647 w 89"/>
                <a:gd name="T29" fmla="*/ 2147483647 h 89"/>
                <a:gd name="T30" fmla="*/ 2147483647 w 89"/>
                <a:gd name="T31" fmla="*/ 2147483647 h 89"/>
                <a:gd name="T32" fmla="*/ 2147483647 w 89"/>
                <a:gd name="T33" fmla="*/ 2147483647 h 89"/>
                <a:gd name="T34" fmla="*/ 2147483647 w 89"/>
                <a:gd name="T35" fmla="*/ 2147483647 h 89"/>
                <a:gd name="T36" fmla="*/ 2147483647 w 89"/>
                <a:gd name="T37" fmla="*/ 2147483647 h 89"/>
                <a:gd name="T38" fmla="*/ 2147483647 w 89"/>
                <a:gd name="T39" fmla="*/ 2147483647 h 89"/>
                <a:gd name="T40" fmla="*/ 2147483647 w 89"/>
                <a:gd name="T41" fmla="*/ 2147483647 h 89"/>
                <a:gd name="T42" fmla="*/ 2147483647 w 89"/>
                <a:gd name="T43" fmla="*/ 2147483647 h 89"/>
                <a:gd name="T44" fmla="*/ 2147483647 w 89"/>
                <a:gd name="T45" fmla="*/ 2147483647 h 89"/>
                <a:gd name="T46" fmla="*/ 2147483647 w 89"/>
                <a:gd name="T47" fmla="*/ 2147483647 h 89"/>
                <a:gd name="T48" fmla="*/ 2147483647 w 89"/>
                <a:gd name="T49" fmla="*/ 2147483647 h 89"/>
                <a:gd name="T50" fmla="*/ 2147483647 w 89"/>
                <a:gd name="T51" fmla="*/ 2147483647 h 89"/>
                <a:gd name="T52" fmla="*/ 2147483647 w 89"/>
                <a:gd name="T53" fmla="*/ 2147483647 h 89"/>
                <a:gd name="T54" fmla="*/ 2147483647 w 89"/>
                <a:gd name="T55" fmla="*/ 2147483647 h 89"/>
                <a:gd name="T56" fmla="*/ 2147483647 w 89"/>
                <a:gd name="T57" fmla="*/ 2147483647 h 89"/>
                <a:gd name="T58" fmla="*/ 2147483647 w 89"/>
                <a:gd name="T59" fmla="*/ 2147483647 h 89"/>
                <a:gd name="T60" fmla="*/ 2147483647 w 89"/>
                <a:gd name="T61" fmla="*/ 2147483647 h 89"/>
                <a:gd name="T62" fmla="*/ 2147483647 w 89"/>
                <a:gd name="T63" fmla="*/ 2147483647 h 89"/>
                <a:gd name="T64" fmla="*/ 2147483647 w 89"/>
                <a:gd name="T65" fmla="*/ 2147483647 h 89"/>
                <a:gd name="T66" fmla="*/ 2147483647 w 89"/>
                <a:gd name="T67" fmla="*/ 2147483647 h 89"/>
                <a:gd name="T68" fmla="*/ 2147483647 w 89"/>
                <a:gd name="T69" fmla="*/ 2147483647 h 89"/>
                <a:gd name="T70" fmla="*/ 2147483647 w 89"/>
                <a:gd name="T71" fmla="*/ 2147483647 h 89"/>
                <a:gd name="T72" fmla="*/ 2147483647 w 89"/>
                <a:gd name="T73" fmla="*/ 0 h 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89"/>
                <a:gd name="T113" fmla="*/ 89 w 89"/>
                <a:gd name="T114" fmla="*/ 89 h 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89">
                  <a:moveTo>
                    <a:pt x="49" y="0"/>
                  </a:moveTo>
                  <a:lnTo>
                    <a:pt x="45" y="1"/>
                  </a:lnTo>
                  <a:lnTo>
                    <a:pt x="32" y="5"/>
                  </a:lnTo>
                  <a:lnTo>
                    <a:pt x="25" y="7"/>
                  </a:lnTo>
                  <a:lnTo>
                    <a:pt x="18" y="8"/>
                  </a:lnTo>
                  <a:lnTo>
                    <a:pt x="12" y="8"/>
                  </a:lnTo>
                  <a:lnTo>
                    <a:pt x="8" y="8"/>
                  </a:lnTo>
                  <a:lnTo>
                    <a:pt x="2" y="6"/>
                  </a:lnTo>
                  <a:lnTo>
                    <a:pt x="0" y="6"/>
                  </a:lnTo>
                  <a:lnTo>
                    <a:pt x="2" y="6"/>
                  </a:lnTo>
                  <a:lnTo>
                    <a:pt x="2" y="8"/>
                  </a:lnTo>
                  <a:lnTo>
                    <a:pt x="3" y="15"/>
                  </a:lnTo>
                  <a:lnTo>
                    <a:pt x="5" y="24"/>
                  </a:lnTo>
                  <a:lnTo>
                    <a:pt x="8" y="27"/>
                  </a:lnTo>
                  <a:lnTo>
                    <a:pt x="12" y="30"/>
                  </a:lnTo>
                  <a:lnTo>
                    <a:pt x="14" y="32"/>
                  </a:lnTo>
                  <a:lnTo>
                    <a:pt x="16" y="34"/>
                  </a:lnTo>
                  <a:lnTo>
                    <a:pt x="14" y="36"/>
                  </a:lnTo>
                  <a:lnTo>
                    <a:pt x="13" y="37"/>
                  </a:lnTo>
                  <a:lnTo>
                    <a:pt x="11" y="39"/>
                  </a:lnTo>
                  <a:lnTo>
                    <a:pt x="8" y="39"/>
                  </a:lnTo>
                  <a:lnTo>
                    <a:pt x="8" y="40"/>
                  </a:lnTo>
                  <a:lnTo>
                    <a:pt x="8" y="41"/>
                  </a:lnTo>
                  <a:lnTo>
                    <a:pt x="9" y="45"/>
                  </a:lnTo>
                  <a:lnTo>
                    <a:pt x="13" y="49"/>
                  </a:lnTo>
                  <a:lnTo>
                    <a:pt x="16" y="51"/>
                  </a:lnTo>
                  <a:lnTo>
                    <a:pt x="17" y="56"/>
                  </a:lnTo>
                  <a:lnTo>
                    <a:pt x="19" y="59"/>
                  </a:lnTo>
                  <a:lnTo>
                    <a:pt x="22" y="60"/>
                  </a:lnTo>
                  <a:lnTo>
                    <a:pt x="26" y="62"/>
                  </a:lnTo>
                  <a:lnTo>
                    <a:pt x="30" y="62"/>
                  </a:lnTo>
                  <a:lnTo>
                    <a:pt x="31" y="63"/>
                  </a:lnTo>
                  <a:lnTo>
                    <a:pt x="31" y="64"/>
                  </a:lnTo>
                  <a:lnTo>
                    <a:pt x="31" y="66"/>
                  </a:lnTo>
                  <a:lnTo>
                    <a:pt x="30" y="68"/>
                  </a:lnTo>
                  <a:lnTo>
                    <a:pt x="28" y="69"/>
                  </a:lnTo>
                  <a:lnTo>
                    <a:pt x="36" y="75"/>
                  </a:lnTo>
                  <a:lnTo>
                    <a:pt x="40" y="78"/>
                  </a:lnTo>
                  <a:lnTo>
                    <a:pt x="40" y="81"/>
                  </a:lnTo>
                  <a:lnTo>
                    <a:pt x="40" y="84"/>
                  </a:lnTo>
                  <a:lnTo>
                    <a:pt x="41" y="85"/>
                  </a:lnTo>
                  <a:lnTo>
                    <a:pt x="44" y="86"/>
                  </a:lnTo>
                  <a:lnTo>
                    <a:pt x="49" y="89"/>
                  </a:lnTo>
                  <a:lnTo>
                    <a:pt x="50" y="88"/>
                  </a:lnTo>
                  <a:lnTo>
                    <a:pt x="52" y="86"/>
                  </a:lnTo>
                  <a:lnTo>
                    <a:pt x="59" y="79"/>
                  </a:lnTo>
                  <a:lnTo>
                    <a:pt x="64" y="77"/>
                  </a:lnTo>
                  <a:lnTo>
                    <a:pt x="69" y="75"/>
                  </a:lnTo>
                  <a:lnTo>
                    <a:pt x="74" y="72"/>
                  </a:lnTo>
                  <a:lnTo>
                    <a:pt x="82" y="73"/>
                  </a:lnTo>
                  <a:lnTo>
                    <a:pt x="85" y="73"/>
                  </a:lnTo>
                  <a:lnTo>
                    <a:pt x="87" y="72"/>
                  </a:lnTo>
                  <a:lnTo>
                    <a:pt x="87" y="71"/>
                  </a:lnTo>
                  <a:lnTo>
                    <a:pt x="85" y="69"/>
                  </a:lnTo>
                  <a:lnTo>
                    <a:pt x="82" y="63"/>
                  </a:lnTo>
                  <a:lnTo>
                    <a:pt x="79" y="59"/>
                  </a:lnTo>
                  <a:lnTo>
                    <a:pt x="79" y="57"/>
                  </a:lnTo>
                  <a:lnTo>
                    <a:pt x="79" y="54"/>
                  </a:lnTo>
                  <a:lnTo>
                    <a:pt x="80" y="52"/>
                  </a:lnTo>
                  <a:lnTo>
                    <a:pt x="84" y="47"/>
                  </a:lnTo>
                  <a:lnTo>
                    <a:pt x="88" y="44"/>
                  </a:lnTo>
                  <a:lnTo>
                    <a:pt x="89" y="40"/>
                  </a:lnTo>
                  <a:lnTo>
                    <a:pt x="87" y="36"/>
                  </a:lnTo>
                  <a:lnTo>
                    <a:pt x="84" y="33"/>
                  </a:lnTo>
                  <a:lnTo>
                    <a:pt x="75" y="31"/>
                  </a:lnTo>
                  <a:lnTo>
                    <a:pt x="73" y="30"/>
                  </a:lnTo>
                  <a:lnTo>
                    <a:pt x="71" y="27"/>
                  </a:lnTo>
                  <a:lnTo>
                    <a:pt x="69" y="22"/>
                  </a:lnTo>
                  <a:lnTo>
                    <a:pt x="65" y="20"/>
                  </a:lnTo>
                  <a:lnTo>
                    <a:pt x="63" y="18"/>
                  </a:lnTo>
                  <a:lnTo>
                    <a:pt x="61" y="17"/>
                  </a:lnTo>
                  <a:lnTo>
                    <a:pt x="58" y="11"/>
                  </a:lnTo>
                  <a:lnTo>
                    <a:pt x="54" y="5"/>
                  </a:lnTo>
                  <a:lnTo>
                    <a:pt x="49"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8" name="Freeform 1317"/>
            <p:cNvSpPr>
              <a:spLocks/>
            </p:cNvSpPr>
            <p:nvPr/>
          </p:nvSpPr>
          <p:spPr bwMode="auto">
            <a:xfrm>
              <a:off x="4806950" y="3009899"/>
              <a:ext cx="25400" cy="31751"/>
            </a:xfrm>
            <a:custGeom>
              <a:avLst/>
              <a:gdLst>
                <a:gd name="T0" fmla="*/ 2147483647 w 18"/>
                <a:gd name="T1" fmla="*/ 0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2147483647 h 20"/>
                <a:gd name="T14" fmla="*/ 0 60000 65536"/>
                <a:gd name="T15" fmla="*/ 0 60000 65536"/>
                <a:gd name="T16" fmla="*/ 0 60000 65536"/>
                <a:gd name="T17" fmla="*/ 0 60000 65536"/>
                <a:gd name="T18" fmla="*/ 0 60000 65536"/>
                <a:gd name="T19" fmla="*/ 0 60000 65536"/>
                <a:gd name="T20" fmla="*/ 0 60000 65536"/>
                <a:gd name="T21" fmla="*/ 0 w 18"/>
                <a:gd name="T22" fmla="*/ 0 h 20"/>
                <a:gd name="T23" fmla="*/ 18 w 18"/>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0">
                  <a:moveTo>
                    <a:pt x="18" y="0"/>
                  </a:moveTo>
                  <a:lnTo>
                    <a:pt x="18" y="4"/>
                  </a:lnTo>
                  <a:lnTo>
                    <a:pt x="10" y="7"/>
                  </a:lnTo>
                  <a:lnTo>
                    <a:pt x="5" y="12"/>
                  </a:lnTo>
                  <a:lnTo>
                    <a:pt x="3" y="15"/>
                  </a:lnTo>
                  <a:lnTo>
                    <a:pt x="0" y="2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19" name="Freeform 1318"/>
            <p:cNvSpPr>
              <a:spLocks/>
            </p:cNvSpPr>
            <p:nvPr/>
          </p:nvSpPr>
          <p:spPr bwMode="auto">
            <a:xfrm>
              <a:off x="4864100" y="3014663"/>
              <a:ext cx="58738" cy="25400"/>
            </a:xfrm>
            <a:custGeom>
              <a:avLst/>
              <a:gdLst>
                <a:gd name="T0" fmla="*/ 0 w 40"/>
                <a:gd name="T1" fmla="*/ 2147483647 h 16"/>
                <a:gd name="T2" fmla="*/ 0 w 40"/>
                <a:gd name="T3" fmla="*/ 2147483647 h 16"/>
                <a:gd name="T4" fmla="*/ 2147483647 w 40"/>
                <a:gd name="T5" fmla="*/ 2147483647 h 16"/>
                <a:gd name="T6" fmla="*/ 2147483647 w 40"/>
                <a:gd name="T7" fmla="*/ 2147483647 h 16"/>
                <a:gd name="T8" fmla="*/ 2147483647 w 40"/>
                <a:gd name="T9" fmla="*/ 2147483647 h 16"/>
                <a:gd name="T10" fmla="*/ 2147483647 w 40"/>
                <a:gd name="T11" fmla="*/ 2147483647 h 16"/>
                <a:gd name="T12" fmla="*/ 2147483647 w 40"/>
                <a:gd name="T13" fmla="*/ 0 h 16"/>
                <a:gd name="T14" fmla="*/ 2147483647 w 4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16"/>
                <a:gd name="T26" fmla="*/ 40 w 4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16">
                  <a:moveTo>
                    <a:pt x="0" y="16"/>
                  </a:moveTo>
                  <a:lnTo>
                    <a:pt x="0" y="16"/>
                  </a:lnTo>
                  <a:lnTo>
                    <a:pt x="3" y="13"/>
                  </a:lnTo>
                  <a:lnTo>
                    <a:pt x="11" y="6"/>
                  </a:lnTo>
                  <a:lnTo>
                    <a:pt x="16" y="4"/>
                  </a:lnTo>
                  <a:lnTo>
                    <a:pt x="23" y="1"/>
                  </a:lnTo>
                  <a:lnTo>
                    <a:pt x="31" y="0"/>
                  </a:lnTo>
                  <a:lnTo>
                    <a:pt x="40" y="1"/>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0" name="Freeform 1319"/>
            <p:cNvSpPr>
              <a:spLocks/>
            </p:cNvSpPr>
            <p:nvPr/>
          </p:nvSpPr>
          <p:spPr bwMode="auto">
            <a:xfrm>
              <a:off x="4792663" y="2908300"/>
              <a:ext cx="57150" cy="127000"/>
            </a:xfrm>
            <a:custGeom>
              <a:avLst/>
              <a:gdLst>
                <a:gd name="T0" fmla="*/ 2147483647 w 39"/>
                <a:gd name="T1" fmla="*/ 2147483647 h 80"/>
                <a:gd name="T2" fmla="*/ 2147483647 w 39"/>
                <a:gd name="T3" fmla="*/ 2147483647 h 80"/>
                <a:gd name="T4" fmla="*/ 2147483647 w 39"/>
                <a:gd name="T5" fmla="*/ 2147483647 h 80"/>
                <a:gd name="T6" fmla="*/ 2147483647 w 39"/>
                <a:gd name="T7" fmla="*/ 2147483647 h 80"/>
                <a:gd name="T8" fmla="*/ 2147483647 w 39"/>
                <a:gd name="T9" fmla="*/ 2147483647 h 80"/>
                <a:gd name="T10" fmla="*/ 2147483647 w 39"/>
                <a:gd name="T11" fmla="*/ 2147483647 h 80"/>
                <a:gd name="T12" fmla="*/ 2147483647 w 39"/>
                <a:gd name="T13" fmla="*/ 2147483647 h 80"/>
                <a:gd name="T14" fmla="*/ 2147483647 w 39"/>
                <a:gd name="T15" fmla="*/ 2147483647 h 80"/>
                <a:gd name="T16" fmla="*/ 2147483647 w 39"/>
                <a:gd name="T17" fmla="*/ 2147483647 h 80"/>
                <a:gd name="T18" fmla="*/ 2147483647 w 39"/>
                <a:gd name="T19" fmla="*/ 2147483647 h 80"/>
                <a:gd name="T20" fmla="*/ 2147483647 w 39"/>
                <a:gd name="T21" fmla="*/ 2147483647 h 80"/>
                <a:gd name="T22" fmla="*/ 2147483647 w 39"/>
                <a:gd name="T23" fmla="*/ 2147483647 h 80"/>
                <a:gd name="T24" fmla="*/ 2147483647 w 39"/>
                <a:gd name="T25" fmla="*/ 2147483647 h 80"/>
                <a:gd name="T26" fmla="*/ 2147483647 w 39"/>
                <a:gd name="T27" fmla="*/ 2147483647 h 80"/>
                <a:gd name="T28" fmla="*/ 2147483647 w 39"/>
                <a:gd name="T29" fmla="*/ 2147483647 h 80"/>
                <a:gd name="T30" fmla="*/ 2147483647 w 39"/>
                <a:gd name="T31" fmla="*/ 2147483647 h 80"/>
                <a:gd name="T32" fmla="*/ 2147483647 w 39"/>
                <a:gd name="T33" fmla="*/ 2147483647 h 80"/>
                <a:gd name="T34" fmla="*/ 2147483647 w 39"/>
                <a:gd name="T35" fmla="*/ 2147483647 h 80"/>
                <a:gd name="T36" fmla="*/ 2147483647 w 39"/>
                <a:gd name="T37" fmla="*/ 2147483647 h 80"/>
                <a:gd name="T38" fmla="*/ 2147483647 w 39"/>
                <a:gd name="T39" fmla="*/ 2147483647 h 80"/>
                <a:gd name="T40" fmla="*/ 2147483647 w 39"/>
                <a:gd name="T41" fmla="*/ 2147483647 h 80"/>
                <a:gd name="T42" fmla="*/ 2147483647 w 39"/>
                <a:gd name="T43" fmla="*/ 2147483647 h 80"/>
                <a:gd name="T44" fmla="*/ 2147483647 w 39"/>
                <a:gd name="T45" fmla="*/ 2147483647 h 80"/>
                <a:gd name="T46" fmla="*/ 2147483647 w 39"/>
                <a:gd name="T47" fmla="*/ 2147483647 h 80"/>
                <a:gd name="T48" fmla="*/ 2147483647 w 39"/>
                <a:gd name="T49" fmla="*/ 2147483647 h 80"/>
                <a:gd name="T50" fmla="*/ 2147483647 w 39"/>
                <a:gd name="T51" fmla="*/ 2147483647 h 80"/>
                <a:gd name="T52" fmla="*/ 2147483647 w 39"/>
                <a:gd name="T53" fmla="*/ 2147483647 h 80"/>
                <a:gd name="T54" fmla="*/ 2147483647 w 39"/>
                <a:gd name="T55" fmla="*/ 2147483647 h 80"/>
                <a:gd name="T56" fmla="*/ 2147483647 w 39"/>
                <a:gd name="T57" fmla="*/ 2147483647 h 80"/>
                <a:gd name="T58" fmla="*/ 2147483647 w 39"/>
                <a:gd name="T59" fmla="*/ 2147483647 h 80"/>
                <a:gd name="T60" fmla="*/ 2147483647 w 39"/>
                <a:gd name="T61" fmla="*/ 2147483647 h 80"/>
                <a:gd name="T62" fmla="*/ 2147483647 w 39"/>
                <a:gd name="T63" fmla="*/ 2147483647 h 80"/>
                <a:gd name="T64" fmla="*/ 2147483647 w 39"/>
                <a:gd name="T65" fmla="*/ 2147483647 h 80"/>
                <a:gd name="T66" fmla="*/ 2147483647 w 39"/>
                <a:gd name="T67" fmla="*/ 2147483647 h 80"/>
                <a:gd name="T68" fmla="*/ 2147483647 w 39"/>
                <a:gd name="T69" fmla="*/ 2147483647 h 80"/>
                <a:gd name="T70" fmla="*/ 2147483647 w 39"/>
                <a:gd name="T71" fmla="*/ 2147483647 h 80"/>
                <a:gd name="T72" fmla="*/ 2147483647 w 39"/>
                <a:gd name="T73" fmla="*/ 2147483647 h 80"/>
                <a:gd name="T74" fmla="*/ 0 w 39"/>
                <a:gd name="T75" fmla="*/ 0 h 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
                <a:gd name="T115" fmla="*/ 0 h 80"/>
                <a:gd name="T116" fmla="*/ 39 w 39"/>
                <a:gd name="T117" fmla="*/ 80 h 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 h="80">
                  <a:moveTo>
                    <a:pt x="39" y="80"/>
                  </a:moveTo>
                  <a:lnTo>
                    <a:pt x="39" y="80"/>
                  </a:lnTo>
                  <a:lnTo>
                    <a:pt x="39" y="78"/>
                  </a:lnTo>
                  <a:lnTo>
                    <a:pt x="39" y="74"/>
                  </a:lnTo>
                  <a:lnTo>
                    <a:pt x="37" y="72"/>
                  </a:lnTo>
                  <a:lnTo>
                    <a:pt x="34" y="68"/>
                  </a:lnTo>
                  <a:lnTo>
                    <a:pt x="28" y="65"/>
                  </a:lnTo>
                  <a:lnTo>
                    <a:pt x="27" y="63"/>
                  </a:lnTo>
                  <a:lnTo>
                    <a:pt x="27" y="61"/>
                  </a:lnTo>
                  <a:lnTo>
                    <a:pt x="29" y="60"/>
                  </a:lnTo>
                  <a:lnTo>
                    <a:pt x="29" y="58"/>
                  </a:lnTo>
                  <a:lnTo>
                    <a:pt x="29" y="57"/>
                  </a:lnTo>
                  <a:lnTo>
                    <a:pt x="26" y="57"/>
                  </a:lnTo>
                  <a:lnTo>
                    <a:pt x="22" y="55"/>
                  </a:lnTo>
                  <a:lnTo>
                    <a:pt x="19" y="54"/>
                  </a:lnTo>
                  <a:lnTo>
                    <a:pt x="17" y="51"/>
                  </a:lnTo>
                  <a:lnTo>
                    <a:pt x="15" y="46"/>
                  </a:lnTo>
                  <a:lnTo>
                    <a:pt x="13" y="42"/>
                  </a:lnTo>
                  <a:lnTo>
                    <a:pt x="10" y="40"/>
                  </a:lnTo>
                  <a:lnTo>
                    <a:pt x="8" y="39"/>
                  </a:lnTo>
                  <a:lnTo>
                    <a:pt x="6" y="36"/>
                  </a:lnTo>
                  <a:lnTo>
                    <a:pt x="8" y="33"/>
                  </a:lnTo>
                  <a:lnTo>
                    <a:pt x="10" y="32"/>
                  </a:lnTo>
                  <a:lnTo>
                    <a:pt x="14" y="31"/>
                  </a:lnTo>
                  <a:lnTo>
                    <a:pt x="15" y="28"/>
                  </a:lnTo>
                  <a:lnTo>
                    <a:pt x="15" y="27"/>
                  </a:lnTo>
                  <a:lnTo>
                    <a:pt x="14" y="26"/>
                  </a:lnTo>
                  <a:lnTo>
                    <a:pt x="10" y="23"/>
                  </a:lnTo>
                  <a:lnTo>
                    <a:pt x="8" y="22"/>
                  </a:lnTo>
                  <a:lnTo>
                    <a:pt x="5" y="19"/>
                  </a:lnTo>
                  <a:lnTo>
                    <a:pt x="1" y="10"/>
                  </a:lnTo>
                  <a:lnTo>
                    <a:pt x="0"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1" name="Freeform 1320"/>
            <p:cNvSpPr>
              <a:spLocks/>
            </p:cNvSpPr>
            <p:nvPr/>
          </p:nvSpPr>
          <p:spPr bwMode="auto">
            <a:xfrm>
              <a:off x="4867276" y="2828928"/>
              <a:ext cx="236538" cy="157163"/>
            </a:xfrm>
            <a:custGeom>
              <a:avLst/>
              <a:gdLst>
                <a:gd name="T0" fmla="*/ 2147483647 w 162"/>
                <a:gd name="T1" fmla="*/ 2147483647 h 99"/>
                <a:gd name="T2" fmla="*/ 2147483647 w 162"/>
                <a:gd name="T3" fmla="*/ 2147483647 h 99"/>
                <a:gd name="T4" fmla="*/ 2147483647 w 162"/>
                <a:gd name="T5" fmla="*/ 2147483647 h 99"/>
                <a:gd name="T6" fmla="*/ 2147483647 w 162"/>
                <a:gd name="T7" fmla="*/ 2147483647 h 99"/>
                <a:gd name="T8" fmla="*/ 2147483647 w 162"/>
                <a:gd name="T9" fmla="*/ 2147483647 h 99"/>
                <a:gd name="T10" fmla="*/ 2147483647 w 162"/>
                <a:gd name="T11" fmla="*/ 2147483647 h 99"/>
                <a:gd name="T12" fmla="*/ 2147483647 w 162"/>
                <a:gd name="T13" fmla="*/ 2147483647 h 99"/>
                <a:gd name="T14" fmla="*/ 2147483647 w 162"/>
                <a:gd name="T15" fmla="*/ 2147483647 h 99"/>
                <a:gd name="T16" fmla="*/ 2147483647 w 162"/>
                <a:gd name="T17" fmla="*/ 2147483647 h 99"/>
                <a:gd name="T18" fmla="*/ 2147483647 w 162"/>
                <a:gd name="T19" fmla="*/ 2147483647 h 99"/>
                <a:gd name="T20" fmla="*/ 2147483647 w 162"/>
                <a:gd name="T21" fmla="*/ 2147483647 h 99"/>
                <a:gd name="T22" fmla="*/ 2147483647 w 162"/>
                <a:gd name="T23" fmla="*/ 2147483647 h 99"/>
                <a:gd name="T24" fmla="*/ 2147483647 w 162"/>
                <a:gd name="T25" fmla="*/ 2147483647 h 99"/>
                <a:gd name="T26" fmla="*/ 2147483647 w 162"/>
                <a:gd name="T27" fmla="*/ 2147483647 h 99"/>
                <a:gd name="T28" fmla="*/ 2147483647 w 162"/>
                <a:gd name="T29" fmla="*/ 2147483647 h 99"/>
                <a:gd name="T30" fmla="*/ 2147483647 w 162"/>
                <a:gd name="T31" fmla="*/ 2147483647 h 99"/>
                <a:gd name="T32" fmla="*/ 2147483647 w 162"/>
                <a:gd name="T33" fmla="*/ 2147483647 h 99"/>
                <a:gd name="T34" fmla="*/ 0 w 162"/>
                <a:gd name="T35" fmla="*/ 2147483647 h 99"/>
                <a:gd name="T36" fmla="*/ 2147483647 w 162"/>
                <a:gd name="T37" fmla="*/ 2147483647 h 99"/>
                <a:gd name="T38" fmla="*/ 2147483647 w 162"/>
                <a:gd name="T39" fmla="*/ 2147483647 h 99"/>
                <a:gd name="T40" fmla="*/ 2147483647 w 162"/>
                <a:gd name="T41" fmla="*/ 2147483647 h 99"/>
                <a:gd name="T42" fmla="*/ 2147483647 w 162"/>
                <a:gd name="T43" fmla="*/ 2147483647 h 99"/>
                <a:gd name="T44" fmla="*/ 2147483647 w 162"/>
                <a:gd name="T45" fmla="*/ 2147483647 h 99"/>
                <a:gd name="T46" fmla="*/ 2147483647 w 162"/>
                <a:gd name="T47" fmla="*/ 2147483647 h 99"/>
                <a:gd name="T48" fmla="*/ 2147483647 w 162"/>
                <a:gd name="T49" fmla="*/ 2147483647 h 99"/>
                <a:gd name="T50" fmla="*/ 2147483647 w 162"/>
                <a:gd name="T51" fmla="*/ 2147483647 h 99"/>
                <a:gd name="T52" fmla="*/ 2147483647 w 162"/>
                <a:gd name="T53" fmla="*/ 2147483647 h 99"/>
                <a:gd name="T54" fmla="*/ 2147483647 w 162"/>
                <a:gd name="T55" fmla="*/ 2147483647 h 99"/>
                <a:gd name="T56" fmla="*/ 2147483647 w 162"/>
                <a:gd name="T57" fmla="*/ 2147483647 h 99"/>
                <a:gd name="T58" fmla="*/ 2147483647 w 162"/>
                <a:gd name="T59" fmla="*/ 2147483647 h 99"/>
                <a:gd name="T60" fmla="*/ 2147483647 w 162"/>
                <a:gd name="T61" fmla="*/ 2147483647 h 99"/>
                <a:gd name="T62" fmla="*/ 2147483647 w 162"/>
                <a:gd name="T63" fmla="*/ 2147483647 h 99"/>
                <a:gd name="T64" fmla="*/ 2147483647 w 162"/>
                <a:gd name="T65" fmla="*/ 0 h 99"/>
                <a:gd name="T66" fmla="*/ 2147483647 w 162"/>
                <a:gd name="T67" fmla="*/ 2147483647 h 99"/>
                <a:gd name="T68" fmla="*/ 2147483647 w 162"/>
                <a:gd name="T69" fmla="*/ 2147483647 h 99"/>
                <a:gd name="T70" fmla="*/ 2147483647 w 162"/>
                <a:gd name="T71" fmla="*/ 2147483647 h 99"/>
                <a:gd name="T72" fmla="*/ 2147483647 w 162"/>
                <a:gd name="T73" fmla="*/ 2147483647 h 99"/>
                <a:gd name="T74" fmla="*/ 2147483647 w 162"/>
                <a:gd name="T75" fmla="*/ 2147483647 h 99"/>
                <a:gd name="T76" fmla="*/ 2147483647 w 162"/>
                <a:gd name="T77" fmla="*/ 2147483647 h 99"/>
                <a:gd name="T78" fmla="*/ 2147483647 w 162"/>
                <a:gd name="T79" fmla="*/ 2147483647 h 99"/>
                <a:gd name="T80" fmla="*/ 2147483647 w 162"/>
                <a:gd name="T81" fmla="*/ 2147483647 h 99"/>
                <a:gd name="T82" fmla="*/ 2147483647 w 162"/>
                <a:gd name="T83" fmla="*/ 2147483647 h 99"/>
                <a:gd name="T84" fmla="*/ 2147483647 w 162"/>
                <a:gd name="T85" fmla="*/ 2147483647 h 99"/>
                <a:gd name="T86" fmla="*/ 2147483647 w 162"/>
                <a:gd name="T87" fmla="*/ 2147483647 h 99"/>
                <a:gd name="T88" fmla="*/ 2147483647 w 162"/>
                <a:gd name="T89" fmla="*/ 2147483647 h 99"/>
                <a:gd name="T90" fmla="*/ 2147483647 w 162"/>
                <a:gd name="T91" fmla="*/ 2147483647 h 99"/>
                <a:gd name="T92" fmla="*/ 2147483647 w 162"/>
                <a:gd name="T93" fmla="*/ 2147483647 h 99"/>
                <a:gd name="T94" fmla="*/ 2147483647 w 162"/>
                <a:gd name="T95" fmla="*/ 2147483647 h 99"/>
                <a:gd name="T96" fmla="*/ 2147483647 w 162"/>
                <a:gd name="T97" fmla="*/ 2147483647 h 99"/>
                <a:gd name="T98" fmla="*/ 2147483647 w 162"/>
                <a:gd name="T99" fmla="*/ 2147483647 h 9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2"/>
                <a:gd name="T151" fmla="*/ 0 h 99"/>
                <a:gd name="T152" fmla="*/ 162 w 162"/>
                <a:gd name="T153" fmla="*/ 99 h 9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2" h="99">
                  <a:moveTo>
                    <a:pt x="143" y="97"/>
                  </a:moveTo>
                  <a:lnTo>
                    <a:pt x="137" y="98"/>
                  </a:lnTo>
                  <a:lnTo>
                    <a:pt x="132" y="99"/>
                  </a:lnTo>
                  <a:lnTo>
                    <a:pt x="127" y="98"/>
                  </a:lnTo>
                  <a:lnTo>
                    <a:pt x="122" y="97"/>
                  </a:lnTo>
                  <a:lnTo>
                    <a:pt x="110" y="92"/>
                  </a:lnTo>
                  <a:lnTo>
                    <a:pt x="105" y="91"/>
                  </a:lnTo>
                  <a:lnTo>
                    <a:pt x="100" y="90"/>
                  </a:lnTo>
                  <a:lnTo>
                    <a:pt x="97" y="90"/>
                  </a:lnTo>
                  <a:lnTo>
                    <a:pt x="95" y="91"/>
                  </a:lnTo>
                  <a:lnTo>
                    <a:pt x="91" y="94"/>
                  </a:lnTo>
                  <a:lnTo>
                    <a:pt x="87" y="97"/>
                  </a:lnTo>
                  <a:lnTo>
                    <a:pt x="83" y="99"/>
                  </a:lnTo>
                  <a:lnTo>
                    <a:pt x="80" y="98"/>
                  </a:lnTo>
                  <a:lnTo>
                    <a:pt x="76" y="98"/>
                  </a:lnTo>
                  <a:lnTo>
                    <a:pt x="66" y="99"/>
                  </a:lnTo>
                  <a:lnTo>
                    <a:pt x="56" y="98"/>
                  </a:lnTo>
                  <a:lnTo>
                    <a:pt x="52" y="97"/>
                  </a:lnTo>
                  <a:lnTo>
                    <a:pt x="47" y="95"/>
                  </a:lnTo>
                  <a:lnTo>
                    <a:pt x="43" y="91"/>
                  </a:lnTo>
                  <a:lnTo>
                    <a:pt x="40" y="86"/>
                  </a:lnTo>
                  <a:lnTo>
                    <a:pt x="40" y="83"/>
                  </a:lnTo>
                  <a:lnTo>
                    <a:pt x="39" y="79"/>
                  </a:lnTo>
                  <a:lnTo>
                    <a:pt x="36" y="78"/>
                  </a:lnTo>
                  <a:lnTo>
                    <a:pt x="34" y="77"/>
                  </a:lnTo>
                  <a:lnTo>
                    <a:pt x="26" y="75"/>
                  </a:lnTo>
                  <a:lnTo>
                    <a:pt x="24" y="73"/>
                  </a:lnTo>
                  <a:lnTo>
                    <a:pt x="21" y="72"/>
                  </a:lnTo>
                  <a:lnTo>
                    <a:pt x="20" y="70"/>
                  </a:lnTo>
                  <a:lnTo>
                    <a:pt x="20" y="66"/>
                  </a:lnTo>
                  <a:lnTo>
                    <a:pt x="16" y="64"/>
                  </a:lnTo>
                  <a:lnTo>
                    <a:pt x="15" y="63"/>
                  </a:lnTo>
                  <a:lnTo>
                    <a:pt x="14" y="62"/>
                  </a:lnTo>
                  <a:lnTo>
                    <a:pt x="11" y="57"/>
                  </a:lnTo>
                  <a:lnTo>
                    <a:pt x="7" y="52"/>
                  </a:lnTo>
                  <a:lnTo>
                    <a:pt x="0" y="44"/>
                  </a:lnTo>
                  <a:lnTo>
                    <a:pt x="9" y="43"/>
                  </a:lnTo>
                  <a:lnTo>
                    <a:pt x="12" y="43"/>
                  </a:lnTo>
                  <a:lnTo>
                    <a:pt x="17" y="45"/>
                  </a:lnTo>
                  <a:lnTo>
                    <a:pt x="20" y="45"/>
                  </a:lnTo>
                  <a:lnTo>
                    <a:pt x="21" y="44"/>
                  </a:lnTo>
                  <a:lnTo>
                    <a:pt x="22" y="43"/>
                  </a:lnTo>
                  <a:lnTo>
                    <a:pt x="22" y="41"/>
                  </a:lnTo>
                  <a:lnTo>
                    <a:pt x="22" y="39"/>
                  </a:lnTo>
                  <a:lnTo>
                    <a:pt x="24" y="38"/>
                  </a:lnTo>
                  <a:lnTo>
                    <a:pt x="25" y="35"/>
                  </a:lnTo>
                  <a:lnTo>
                    <a:pt x="25" y="32"/>
                  </a:lnTo>
                  <a:lnTo>
                    <a:pt x="36" y="20"/>
                  </a:lnTo>
                  <a:lnTo>
                    <a:pt x="42" y="13"/>
                  </a:lnTo>
                  <a:lnTo>
                    <a:pt x="45" y="6"/>
                  </a:lnTo>
                  <a:lnTo>
                    <a:pt x="47" y="5"/>
                  </a:lnTo>
                  <a:lnTo>
                    <a:pt x="48" y="5"/>
                  </a:lnTo>
                  <a:lnTo>
                    <a:pt x="50" y="5"/>
                  </a:lnTo>
                  <a:lnTo>
                    <a:pt x="53" y="5"/>
                  </a:lnTo>
                  <a:lnTo>
                    <a:pt x="57" y="5"/>
                  </a:lnTo>
                  <a:lnTo>
                    <a:pt x="61" y="5"/>
                  </a:lnTo>
                  <a:lnTo>
                    <a:pt x="64" y="3"/>
                  </a:lnTo>
                  <a:lnTo>
                    <a:pt x="68" y="3"/>
                  </a:lnTo>
                  <a:lnTo>
                    <a:pt x="72" y="6"/>
                  </a:lnTo>
                  <a:lnTo>
                    <a:pt x="76" y="8"/>
                  </a:lnTo>
                  <a:lnTo>
                    <a:pt x="80" y="9"/>
                  </a:lnTo>
                  <a:lnTo>
                    <a:pt x="81" y="9"/>
                  </a:lnTo>
                  <a:lnTo>
                    <a:pt x="83" y="8"/>
                  </a:lnTo>
                  <a:lnTo>
                    <a:pt x="87" y="5"/>
                  </a:lnTo>
                  <a:lnTo>
                    <a:pt x="92" y="1"/>
                  </a:lnTo>
                  <a:lnTo>
                    <a:pt x="96" y="0"/>
                  </a:lnTo>
                  <a:lnTo>
                    <a:pt x="99" y="1"/>
                  </a:lnTo>
                  <a:lnTo>
                    <a:pt x="100" y="1"/>
                  </a:lnTo>
                  <a:lnTo>
                    <a:pt x="104" y="7"/>
                  </a:lnTo>
                  <a:lnTo>
                    <a:pt x="105" y="11"/>
                  </a:lnTo>
                  <a:lnTo>
                    <a:pt x="105" y="16"/>
                  </a:lnTo>
                  <a:lnTo>
                    <a:pt x="104" y="22"/>
                  </a:lnTo>
                  <a:lnTo>
                    <a:pt x="105" y="24"/>
                  </a:lnTo>
                  <a:lnTo>
                    <a:pt x="105" y="25"/>
                  </a:lnTo>
                  <a:lnTo>
                    <a:pt x="105" y="28"/>
                  </a:lnTo>
                  <a:lnTo>
                    <a:pt x="105" y="32"/>
                  </a:lnTo>
                  <a:lnTo>
                    <a:pt x="106" y="34"/>
                  </a:lnTo>
                  <a:lnTo>
                    <a:pt x="120" y="46"/>
                  </a:lnTo>
                  <a:lnTo>
                    <a:pt x="127" y="52"/>
                  </a:lnTo>
                  <a:lnTo>
                    <a:pt x="130" y="60"/>
                  </a:lnTo>
                  <a:lnTo>
                    <a:pt x="133" y="63"/>
                  </a:lnTo>
                  <a:lnTo>
                    <a:pt x="136" y="64"/>
                  </a:lnTo>
                  <a:lnTo>
                    <a:pt x="139" y="64"/>
                  </a:lnTo>
                  <a:lnTo>
                    <a:pt x="142" y="64"/>
                  </a:lnTo>
                  <a:lnTo>
                    <a:pt x="149" y="62"/>
                  </a:lnTo>
                  <a:lnTo>
                    <a:pt x="156" y="60"/>
                  </a:lnTo>
                  <a:lnTo>
                    <a:pt x="158" y="60"/>
                  </a:lnTo>
                  <a:lnTo>
                    <a:pt x="162" y="62"/>
                  </a:lnTo>
                  <a:lnTo>
                    <a:pt x="161" y="70"/>
                  </a:lnTo>
                  <a:lnTo>
                    <a:pt x="160" y="72"/>
                  </a:lnTo>
                  <a:lnTo>
                    <a:pt x="157" y="73"/>
                  </a:lnTo>
                  <a:lnTo>
                    <a:pt x="152" y="73"/>
                  </a:lnTo>
                  <a:lnTo>
                    <a:pt x="149" y="73"/>
                  </a:lnTo>
                  <a:lnTo>
                    <a:pt x="148" y="75"/>
                  </a:lnTo>
                  <a:lnTo>
                    <a:pt x="146" y="77"/>
                  </a:lnTo>
                  <a:lnTo>
                    <a:pt x="144" y="79"/>
                  </a:lnTo>
                  <a:lnTo>
                    <a:pt x="144" y="84"/>
                  </a:lnTo>
                  <a:lnTo>
                    <a:pt x="146" y="89"/>
                  </a:lnTo>
                  <a:lnTo>
                    <a:pt x="144" y="92"/>
                  </a:lnTo>
                  <a:lnTo>
                    <a:pt x="143" y="97"/>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2" name="Freeform 1321"/>
            <p:cNvSpPr>
              <a:spLocks/>
            </p:cNvSpPr>
            <p:nvPr/>
          </p:nvSpPr>
          <p:spPr bwMode="auto">
            <a:xfrm>
              <a:off x="4910143" y="2965454"/>
              <a:ext cx="166687" cy="104775"/>
            </a:xfrm>
            <a:custGeom>
              <a:avLst/>
              <a:gdLst>
                <a:gd name="T0" fmla="*/ 2147483647 w 113"/>
                <a:gd name="T1" fmla="*/ 2147483647 h 66"/>
                <a:gd name="T2" fmla="*/ 2147483647 w 113"/>
                <a:gd name="T3" fmla="*/ 2147483647 h 66"/>
                <a:gd name="T4" fmla="*/ 2147483647 w 113"/>
                <a:gd name="T5" fmla="*/ 2147483647 h 66"/>
                <a:gd name="T6" fmla="*/ 2147483647 w 113"/>
                <a:gd name="T7" fmla="*/ 2147483647 h 66"/>
                <a:gd name="T8" fmla="*/ 2147483647 w 113"/>
                <a:gd name="T9" fmla="*/ 2147483647 h 66"/>
                <a:gd name="T10" fmla="*/ 2147483647 w 113"/>
                <a:gd name="T11" fmla="*/ 2147483647 h 66"/>
                <a:gd name="T12" fmla="*/ 2147483647 w 113"/>
                <a:gd name="T13" fmla="*/ 2147483647 h 66"/>
                <a:gd name="T14" fmla="*/ 2147483647 w 113"/>
                <a:gd name="T15" fmla="*/ 2147483647 h 66"/>
                <a:gd name="T16" fmla="*/ 2147483647 w 113"/>
                <a:gd name="T17" fmla="*/ 2147483647 h 66"/>
                <a:gd name="T18" fmla="*/ 2147483647 w 113"/>
                <a:gd name="T19" fmla="*/ 2147483647 h 66"/>
                <a:gd name="T20" fmla="*/ 2147483647 w 113"/>
                <a:gd name="T21" fmla="*/ 2147483647 h 66"/>
                <a:gd name="T22" fmla="*/ 2147483647 w 113"/>
                <a:gd name="T23" fmla="*/ 2147483647 h 66"/>
                <a:gd name="T24" fmla="*/ 2147483647 w 113"/>
                <a:gd name="T25" fmla="*/ 2147483647 h 66"/>
                <a:gd name="T26" fmla="*/ 2147483647 w 113"/>
                <a:gd name="T27" fmla="*/ 2147483647 h 66"/>
                <a:gd name="T28" fmla="*/ 2147483647 w 113"/>
                <a:gd name="T29" fmla="*/ 2147483647 h 66"/>
                <a:gd name="T30" fmla="*/ 2147483647 w 113"/>
                <a:gd name="T31" fmla="*/ 2147483647 h 66"/>
                <a:gd name="T32" fmla="*/ 2147483647 w 113"/>
                <a:gd name="T33" fmla="*/ 2147483647 h 66"/>
                <a:gd name="T34" fmla="*/ 2147483647 w 113"/>
                <a:gd name="T35" fmla="*/ 2147483647 h 66"/>
                <a:gd name="T36" fmla="*/ 2147483647 w 113"/>
                <a:gd name="T37" fmla="*/ 2147483647 h 66"/>
                <a:gd name="T38" fmla="*/ 2147483647 w 113"/>
                <a:gd name="T39" fmla="*/ 2147483647 h 66"/>
                <a:gd name="T40" fmla="*/ 2147483647 w 113"/>
                <a:gd name="T41" fmla="*/ 2147483647 h 66"/>
                <a:gd name="T42" fmla="*/ 2147483647 w 113"/>
                <a:gd name="T43" fmla="*/ 2147483647 h 66"/>
                <a:gd name="T44" fmla="*/ 2147483647 w 113"/>
                <a:gd name="T45" fmla="*/ 2147483647 h 66"/>
                <a:gd name="T46" fmla="*/ 2147483647 w 113"/>
                <a:gd name="T47" fmla="*/ 2147483647 h 66"/>
                <a:gd name="T48" fmla="*/ 2147483647 w 113"/>
                <a:gd name="T49" fmla="*/ 2147483647 h 66"/>
                <a:gd name="T50" fmla="*/ 2147483647 w 113"/>
                <a:gd name="T51" fmla="*/ 2147483647 h 66"/>
                <a:gd name="T52" fmla="*/ 2147483647 w 113"/>
                <a:gd name="T53" fmla="*/ 2147483647 h 66"/>
                <a:gd name="T54" fmla="*/ 2147483647 w 113"/>
                <a:gd name="T55" fmla="*/ 2147483647 h 66"/>
                <a:gd name="T56" fmla="*/ 0 w 113"/>
                <a:gd name="T57" fmla="*/ 2147483647 h 66"/>
                <a:gd name="T58" fmla="*/ 2147483647 w 113"/>
                <a:gd name="T59" fmla="*/ 2147483647 h 66"/>
                <a:gd name="T60" fmla="*/ 2147483647 w 113"/>
                <a:gd name="T61" fmla="*/ 2147483647 h 66"/>
                <a:gd name="T62" fmla="*/ 2147483647 w 113"/>
                <a:gd name="T63" fmla="*/ 2147483647 h 66"/>
                <a:gd name="T64" fmla="*/ 2147483647 w 113"/>
                <a:gd name="T65" fmla="*/ 0 h 66"/>
                <a:gd name="T66" fmla="*/ 2147483647 w 113"/>
                <a:gd name="T67" fmla="*/ 0 h 66"/>
                <a:gd name="T68" fmla="*/ 2147483647 w 113"/>
                <a:gd name="T69" fmla="*/ 2147483647 h 66"/>
                <a:gd name="T70" fmla="*/ 2147483647 w 113"/>
                <a:gd name="T71" fmla="*/ 2147483647 h 66"/>
                <a:gd name="T72" fmla="*/ 2147483647 w 113"/>
                <a:gd name="T73" fmla="*/ 2147483647 h 66"/>
                <a:gd name="T74" fmla="*/ 2147483647 w 113"/>
                <a:gd name="T75" fmla="*/ 2147483647 h 66"/>
                <a:gd name="T76" fmla="*/ 2147483647 w 113"/>
                <a:gd name="T77" fmla="*/ 2147483647 h 66"/>
                <a:gd name="T78" fmla="*/ 2147483647 w 113"/>
                <a:gd name="T79" fmla="*/ 2147483647 h 66"/>
                <a:gd name="T80" fmla="*/ 2147483647 w 113"/>
                <a:gd name="T81" fmla="*/ 2147483647 h 66"/>
                <a:gd name="T82" fmla="*/ 2147483647 w 113"/>
                <a:gd name="T83" fmla="*/ 2147483647 h 66"/>
                <a:gd name="T84" fmla="*/ 2147483647 w 113"/>
                <a:gd name="T85" fmla="*/ 2147483647 h 66"/>
                <a:gd name="T86" fmla="*/ 2147483647 w 113"/>
                <a:gd name="T87" fmla="*/ 2147483647 h 66"/>
                <a:gd name="T88" fmla="*/ 2147483647 w 113"/>
                <a:gd name="T89" fmla="*/ 2147483647 h 66"/>
                <a:gd name="T90" fmla="*/ 2147483647 w 113"/>
                <a:gd name="T91" fmla="*/ 2147483647 h 66"/>
                <a:gd name="T92" fmla="*/ 2147483647 w 113"/>
                <a:gd name="T93" fmla="*/ 2147483647 h 66"/>
                <a:gd name="T94" fmla="*/ 2147483647 w 113"/>
                <a:gd name="T95" fmla="*/ 2147483647 h 66"/>
                <a:gd name="T96" fmla="*/ 2147483647 w 113"/>
                <a:gd name="T97" fmla="*/ 2147483647 h 66"/>
                <a:gd name="T98" fmla="*/ 2147483647 w 113"/>
                <a:gd name="T99" fmla="*/ 2147483647 h 66"/>
                <a:gd name="T100" fmla="*/ 2147483647 w 113"/>
                <a:gd name="T101" fmla="*/ 2147483647 h 66"/>
                <a:gd name="T102" fmla="*/ 2147483647 w 113"/>
                <a:gd name="T103" fmla="*/ 2147483647 h 66"/>
                <a:gd name="T104" fmla="*/ 2147483647 w 113"/>
                <a:gd name="T105" fmla="*/ 2147483647 h 66"/>
                <a:gd name="T106" fmla="*/ 2147483647 w 113"/>
                <a:gd name="T107" fmla="*/ 2147483647 h 66"/>
                <a:gd name="T108" fmla="*/ 2147483647 w 113"/>
                <a:gd name="T109" fmla="*/ 2147483647 h 66"/>
                <a:gd name="T110" fmla="*/ 2147483647 w 113"/>
                <a:gd name="T111" fmla="*/ 2147483647 h 66"/>
                <a:gd name="T112" fmla="*/ 2147483647 w 113"/>
                <a:gd name="T113" fmla="*/ 2147483647 h 66"/>
                <a:gd name="T114" fmla="*/ 2147483647 w 113"/>
                <a:gd name="T115" fmla="*/ 2147483647 h 66"/>
                <a:gd name="T116" fmla="*/ 2147483647 w 113"/>
                <a:gd name="T117" fmla="*/ 2147483647 h 66"/>
                <a:gd name="T118" fmla="*/ 2147483647 w 113"/>
                <a:gd name="T119" fmla="*/ 2147483647 h 66"/>
                <a:gd name="T120" fmla="*/ 2147483647 w 113"/>
                <a:gd name="T121" fmla="*/ 2147483647 h 66"/>
                <a:gd name="T122" fmla="*/ 2147483647 w 113"/>
                <a:gd name="T123" fmla="*/ 2147483647 h 66"/>
                <a:gd name="T124" fmla="*/ 2147483647 w 113"/>
                <a:gd name="T125" fmla="*/ 2147483647 h 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
                <a:gd name="T190" fmla="*/ 0 h 66"/>
                <a:gd name="T191" fmla="*/ 113 w 113"/>
                <a:gd name="T192" fmla="*/ 66 h 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 h="66">
                  <a:moveTo>
                    <a:pt x="74" y="50"/>
                  </a:moveTo>
                  <a:lnTo>
                    <a:pt x="70" y="50"/>
                  </a:lnTo>
                  <a:lnTo>
                    <a:pt x="69" y="51"/>
                  </a:lnTo>
                  <a:lnTo>
                    <a:pt x="66" y="59"/>
                  </a:lnTo>
                  <a:lnTo>
                    <a:pt x="65" y="61"/>
                  </a:lnTo>
                  <a:lnTo>
                    <a:pt x="61" y="63"/>
                  </a:lnTo>
                  <a:lnTo>
                    <a:pt x="59" y="63"/>
                  </a:lnTo>
                  <a:lnTo>
                    <a:pt x="56" y="63"/>
                  </a:lnTo>
                  <a:lnTo>
                    <a:pt x="50" y="61"/>
                  </a:lnTo>
                  <a:lnTo>
                    <a:pt x="45" y="60"/>
                  </a:lnTo>
                  <a:lnTo>
                    <a:pt x="39" y="60"/>
                  </a:lnTo>
                  <a:lnTo>
                    <a:pt x="29" y="61"/>
                  </a:lnTo>
                  <a:lnTo>
                    <a:pt x="26" y="62"/>
                  </a:lnTo>
                  <a:lnTo>
                    <a:pt x="20" y="64"/>
                  </a:lnTo>
                  <a:lnTo>
                    <a:pt x="17" y="66"/>
                  </a:lnTo>
                  <a:lnTo>
                    <a:pt x="12" y="66"/>
                  </a:lnTo>
                  <a:lnTo>
                    <a:pt x="9" y="66"/>
                  </a:lnTo>
                  <a:lnTo>
                    <a:pt x="8" y="63"/>
                  </a:lnTo>
                  <a:lnTo>
                    <a:pt x="8" y="57"/>
                  </a:lnTo>
                  <a:lnTo>
                    <a:pt x="4" y="51"/>
                  </a:lnTo>
                  <a:lnTo>
                    <a:pt x="3" y="47"/>
                  </a:lnTo>
                  <a:lnTo>
                    <a:pt x="3" y="42"/>
                  </a:lnTo>
                  <a:lnTo>
                    <a:pt x="5" y="36"/>
                  </a:lnTo>
                  <a:lnTo>
                    <a:pt x="8" y="31"/>
                  </a:lnTo>
                  <a:lnTo>
                    <a:pt x="9" y="30"/>
                  </a:lnTo>
                  <a:lnTo>
                    <a:pt x="9" y="28"/>
                  </a:lnTo>
                  <a:lnTo>
                    <a:pt x="6" y="24"/>
                  </a:lnTo>
                  <a:lnTo>
                    <a:pt x="3" y="19"/>
                  </a:lnTo>
                  <a:lnTo>
                    <a:pt x="0" y="16"/>
                  </a:lnTo>
                  <a:lnTo>
                    <a:pt x="1" y="10"/>
                  </a:lnTo>
                  <a:lnTo>
                    <a:pt x="4" y="5"/>
                  </a:lnTo>
                  <a:lnTo>
                    <a:pt x="8" y="2"/>
                  </a:lnTo>
                  <a:lnTo>
                    <a:pt x="9" y="0"/>
                  </a:lnTo>
                  <a:lnTo>
                    <a:pt x="10" y="0"/>
                  </a:lnTo>
                  <a:lnTo>
                    <a:pt x="13" y="5"/>
                  </a:lnTo>
                  <a:lnTo>
                    <a:pt x="17" y="9"/>
                  </a:lnTo>
                  <a:lnTo>
                    <a:pt x="22" y="11"/>
                  </a:lnTo>
                  <a:lnTo>
                    <a:pt x="26" y="12"/>
                  </a:lnTo>
                  <a:lnTo>
                    <a:pt x="36" y="13"/>
                  </a:lnTo>
                  <a:lnTo>
                    <a:pt x="46" y="12"/>
                  </a:lnTo>
                  <a:lnTo>
                    <a:pt x="50" y="12"/>
                  </a:lnTo>
                  <a:lnTo>
                    <a:pt x="53" y="13"/>
                  </a:lnTo>
                  <a:lnTo>
                    <a:pt x="57" y="11"/>
                  </a:lnTo>
                  <a:lnTo>
                    <a:pt x="61" y="8"/>
                  </a:lnTo>
                  <a:lnTo>
                    <a:pt x="65" y="5"/>
                  </a:lnTo>
                  <a:lnTo>
                    <a:pt x="67" y="4"/>
                  </a:lnTo>
                  <a:lnTo>
                    <a:pt x="70" y="4"/>
                  </a:lnTo>
                  <a:lnTo>
                    <a:pt x="75" y="5"/>
                  </a:lnTo>
                  <a:lnTo>
                    <a:pt x="80" y="6"/>
                  </a:lnTo>
                  <a:lnTo>
                    <a:pt x="92" y="11"/>
                  </a:lnTo>
                  <a:lnTo>
                    <a:pt x="97" y="12"/>
                  </a:lnTo>
                  <a:lnTo>
                    <a:pt x="102" y="13"/>
                  </a:lnTo>
                  <a:lnTo>
                    <a:pt x="107" y="12"/>
                  </a:lnTo>
                  <a:lnTo>
                    <a:pt x="113" y="11"/>
                  </a:lnTo>
                  <a:lnTo>
                    <a:pt x="107" y="21"/>
                  </a:lnTo>
                  <a:lnTo>
                    <a:pt x="99" y="30"/>
                  </a:lnTo>
                  <a:lnTo>
                    <a:pt x="93" y="37"/>
                  </a:lnTo>
                  <a:lnTo>
                    <a:pt x="90" y="41"/>
                  </a:lnTo>
                  <a:lnTo>
                    <a:pt x="90" y="43"/>
                  </a:lnTo>
                  <a:lnTo>
                    <a:pt x="92" y="44"/>
                  </a:lnTo>
                  <a:lnTo>
                    <a:pt x="93" y="47"/>
                  </a:lnTo>
                  <a:lnTo>
                    <a:pt x="85" y="49"/>
                  </a:lnTo>
                  <a:lnTo>
                    <a:pt x="74" y="5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3" name="Freeform 1322"/>
            <p:cNvSpPr>
              <a:spLocks/>
            </p:cNvSpPr>
            <p:nvPr/>
          </p:nvSpPr>
          <p:spPr bwMode="auto">
            <a:xfrm>
              <a:off x="4864103" y="2827338"/>
              <a:ext cx="238125" cy="157162"/>
            </a:xfrm>
            <a:custGeom>
              <a:avLst/>
              <a:gdLst>
                <a:gd name="T0" fmla="*/ 2147483647 w 163"/>
                <a:gd name="T1" fmla="*/ 2147483647 h 99"/>
                <a:gd name="T2" fmla="*/ 2147483647 w 163"/>
                <a:gd name="T3" fmla="*/ 2147483647 h 99"/>
                <a:gd name="T4" fmla="*/ 2147483647 w 163"/>
                <a:gd name="T5" fmla="*/ 2147483647 h 99"/>
                <a:gd name="T6" fmla="*/ 2147483647 w 163"/>
                <a:gd name="T7" fmla="*/ 2147483647 h 99"/>
                <a:gd name="T8" fmla="*/ 2147483647 w 163"/>
                <a:gd name="T9" fmla="*/ 2147483647 h 99"/>
                <a:gd name="T10" fmla="*/ 2147483647 w 163"/>
                <a:gd name="T11" fmla="*/ 2147483647 h 99"/>
                <a:gd name="T12" fmla="*/ 2147483647 w 163"/>
                <a:gd name="T13" fmla="*/ 2147483647 h 99"/>
                <a:gd name="T14" fmla="*/ 2147483647 w 163"/>
                <a:gd name="T15" fmla="*/ 2147483647 h 99"/>
                <a:gd name="T16" fmla="*/ 2147483647 w 163"/>
                <a:gd name="T17" fmla="*/ 2147483647 h 99"/>
                <a:gd name="T18" fmla="*/ 2147483647 w 163"/>
                <a:gd name="T19" fmla="*/ 2147483647 h 99"/>
                <a:gd name="T20" fmla="*/ 2147483647 w 163"/>
                <a:gd name="T21" fmla="*/ 2147483647 h 99"/>
                <a:gd name="T22" fmla="*/ 2147483647 w 163"/>
                <a:gd name="T23" fmla="*/ 2147483647 h 99"/>
                <a:gd name="T24" fmla="*/ 2147483647 w 163"/>
                <a:gd name="T25" fmla="*/ 2147483647 h 99"/>
                <a:gd name="T26" fmla="*/ 2147483647 w 163"/>
                <a:gd name="T27" fmla="*/ 2147483647 h 99"/>
                <a:gd name="T28" fmla="*/ 0 w 163"/>
                <a:gd name="T29" fmla="*/ 2147483647 h 99"/>
                <a:gd name="T30" fmla="*/ 2147483647 w 163"/>
                <a:gd name="T31" fmla="*/ 2147483647 h 99"/>
                <a:gd name="T32" fmla="*/ 2147483647 w 163"/>
                <a:gd name="T33" fmla="*/ 2147483647 h 99"/>
                <a:gd name="T34" fmla="*/ 2147483647 w 163"/>
                <a:gd name="T35" fmla="*/ 2147483647 h 99"/>
                <a:gd name="T36" fmla="*/ 2147483647 w 163"/>
                <a:gd name="T37" fmla="*/ 2147483647 h 99"/>
                <a:gd name="T38" fmla="*/ 2147483647 w 163"/>
                <a:gd name="T39" fmla="*/ 2147483647 h 99"/>
                <a:gd name="T40" fmla="*/ 2147483647 w 163"/>
                <a:gd name="T41" fmla="*/ 2147483647 h 99"/>
                <a:gd name="T42" fmla="*/ 2147483647 w 163"/>
                <a:gd name="T43" fmla="*/ 2147483647 h 99"/>
                <a:gd name="T44" fmla="*/ 2147483647 w 163"/>
                <a:gd name="T45" fmla="*/ 2147483647 h 99"/>
                <a:gd name="T46" fmla="*/ 2147483647 w 163"/>
                <a:gd name="T47" fmla="*/ 2147483647 h 99"/>
                <a:gd name="T48" fmla="*/ 2147483647 w 163"/>
                <a:gd name="T49" fmla="*/ 2147483647 h 99"/>
                <a:gd name="T50" fmla="*/ 2147483647 w 163"/>
                <a:gd name="T51" fmla="*/ 2147483647 h 99"/>
                <a:gd name="T52" fmla="*/ 2147483647 w 163"/>
                <a:gd name="T53" fmla="*/ 2147483647 h 99"/>
                <a:gd name="T54" fmla="*/ 2147483647 w 163"/>
                <a:gd name="T55" fmla="*/ 0 h 99"/>
                <a:gd name="T56" fmla="*/ 2147483647 w 163"/>
                <a:gd name="T57" fmla="*/ 2147483647 h 99"/>
                <a:gd name="T58" fmla="*/ 2147483647 w 163"/>
                <a:gd name="T59" fmla="*/ 2147483647 h 99"/>
                <a:gd name="T60" fmla="*/ 2147483647 w 163"/>
                <a:gd name="T61" fmla="*/ 2147483647 h 99"/>
                <a:gd name="T62" fmla="*/ 2147483647 w 163"/>
                <a:gd name="T63" fmla="*/ 2147483647 h 99"/>
                <a:gd name="T64" fmla="*/ 2147483647 w 163"/>
                <a:gd name="T65" fmla="*/ 2147483647 h 99"/>
                <a:gd name="T66" fmla="*/ 2147483647 w 163"/>
                <a:gd name="T67" fmla="*/ 2147483647 h 99"/>
                <a:gd name="T68" fmla="*/ 2147483647 w 163"/>
                <a:gd name="T69" fmla="*/ 2147483647 h 99"/>
                <a:gd name="T70" fmla="*/ 2147483647 w 163"/>
                <a:gd name="T71" fmla="*/ 2147483647 h 99"/>
                <a:gd name="T72" fmla="*/ 2147483647 w 163"/>
                <a:gd name="T73" fmla="*/ 2147483647 h 99"/>
                <a:gd name="T74" fmla="*/ 2147483647 w 163"/>
                <a:gd name="T75" fmla="*/ 2147483647 h 99"/>
                <a:gd name="T76" fmla="*/ 2147483647 w 163"/>
                <a:gd name="T77" fmla="*/ 2147483647 h 99"/>
                <a:gd name="T78" fmla="*/ 2147483647 w 163"/>
                <a:gd name="T79" fmla="*/ 2147483647 h 99"/>
                <a:gd name="T80" fmla="*/ 2147483647 w 163"/>
                <a:gd name="T81" fmla="*/ 2147483647 h 99"/>
                <a:gd name="T82" fmla="*/ 2147483647 w 163"/>
                <a:gd name="T83" fmla="*/ 2147483647 h 99"/>
                <a:gd name="T84" fmla="*/ 2147483647 w 163"/>
                <a:gd name="T85" fmla="*/ 2147483647 h 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3"/>
                <a:gd name="T130" fmla="*/ 0 h 99"/>
                <a:gd name="T131" fmla="*/ 163 w 163"/>
                <a:gd name="T132" fmla="*/ 99 h 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3" h="99">
                  <a:moveTo>
                    <a:pt x="144" y="97"/>
                  </a:moveTo>
                  <a:lnTo>
                    <a:pt x="144" y="97"/>
                  </a:lnTo>
                  <a:lnTo>
                    <a:pt x="138" y="98"/>
                  </a:lnTo>
                  <a:lnTo>
                    <a:pt x="132" y="99"/>
                  </a:lnTo>
                  <a:lnTo>
                    <a:pt x="127" y="98"/>
                  </a:lnTo>
                  <a:lnTo>
                    <a:pt x="122" y="97"/>
                  </a:lnTo>
                  <a:lnTo>
                    <a:pt x="111" y="92"/>
                  </a:lnTo>
                  <a:lnTo>
                    <a:pt x="106" y="91"/>
                  </a:lnTo>
                  <a:lnTo>
                    <a:pt x="101" y="90"/>
                  </a:lnTo>
                  <a:lnTo>
                    <a:pt x="98" y="90"/>
                  </a:lnTo>
                  <a:lnTo>
                    <a:pt x="96" y="91"/>
                  </a:lnTo>
                  <a:lnTo>
                    <a:pt x="92" y="93"/>
                  </a:lnTo>
                  <a:lnTo>
                    <a:pt x="88" y="97"/>
                  </a:lnTo>
                  <a:lnTo>
                    <a:pt x="84" y="99"/>
                  </a:lnTo>
                  <a:lnTo>
                    <a:pt x="80" y="98"/>
                  </a:lnTo>
                  <a:lnTo>
                    <a:pt x="77" y="98"/>
                  </a:lnTo>
                  <a:lnTo>
                    <a:pt x="66" y="99"/>
                  </a:lnTo>
                  <a:lnTo>
                    <a:pt x="56" y="98"/>
                  </a:lnTo>
                  <a:lnTo>
                    <a:pt x="52" y="97"/>
                  </a:lnTo>
                  <a:lnTo>
                    <a:pt x="47" y="95"/>
                  </a:lnTo>
                  <a:lnTo>
                    <a:pt x="44" y="91"/>
                  </a:lnTo>
                  <a:lnTo>
                    <a:pt x="41" y="86"/>
                  </a:lnTo>
                  <a:lnTo>
                    <a:pt x="41" y="83"/>
                  </a:lnTo>
                  <a:lnTo>
                    <a:pt x="40" y="79"/>
                  </a:lnTo>
                  <a:lnTo>
                    <a:pt x="37" y="78"/>
                  </a:lnTo>
                  <a:lnTo>
                    <a:pt x="35" y="77"/>
                  </a:lnTo>
                  <a:lnTo>
                    <a:pt x="27" y="74"/>
                  </a:lnTo>
                  <a:lnTo>
                    <a:pt x="24" y="73"/>
                  </a:lnTo>
                  <a:lnTo>
                    <a:pt x="22" y="72"/>
                  </a:lnTo>
                  <a:lnTo>
                    <a:pt x="21" y="70"/>
                  </a:lnTo>
                  <a:lnTo>
                    <a:pt x="21" y="66"/>
                  </a:lnTo>
                  <a:lnTo>
                    <a:pt x="17" y="64"/>
                  </a:lnTo>
                  <a:lnTo>
                    <a:pt x="16" y="63"/>
                  </a:lnTo>
                  <a:lnTo>
                    <a:pt x="14" y="61"/>
                  </a:lnTo>
                  <a:lnTo>
                    <a:pt x="12" y="57"/>
                  </a:lnTo>
                  <a:lnTo>
                    <a:pt x="8" y="52"/>
                  </a:lnTo>
                  <a:lnTo>
                    <a:pt x="0" y="44"/>
                  </a:lnTo>
                  <a:lnTo>
                    <a:pt x="9" y="42"/>
                  </a:lnTo>
                  <a:lnTo>
                    <a:pt x="13" y="42"/>
                  </a:lnTo>
                  <a:lnTo>
                    <a:pt x="18" y="45"/>
                  </a:lnTo>
                  <a:lnTo>
                    <a:pt x="21" y="45"/>
                  </a:lnTo>
                  <a:lnTo>
                    <a:pt x="22" y="44"/>
                  </a:lnTo>
                  <a:lnTo>
                    <a:pt x="23" y="42"/>
                  </a:lnTo>
                  <a:lnTo>
                    <a:pt x="23" y="41"/>
                  </a:lnTo>
                  <a:lnTo>
                    <a:pt x="23" y="39"/>
                  </a:lnTo>
                  <a:lnTo>
                    <a:pt x="24" y="38"/>
                  </a:lnTo>
                  <a:lnTo>
                    <a:pt x="26" y="35"/>
                  </a:lnTo>
                  <a:lnTo>
                    <a:pt x="26" y="32"/>
                  </a:lnTo>
                  <a:lnTo>
                    <a:pt x="37" y="20"/>
                  </a:lnTo>
                  <a:lnTo>
                    <a:pt x="42" y="13"/>
                  </a:lnTo>
                  <a:lnTo>
                    <a:pt x="46" y="6"/>
                  </a:lnTo>
                  <a:lnTo>
                    <a:pt x="47" y="4"/>
                  </a:lnTo>
                  <a:lnTo>
                    <a:pt x="49" y="4"/>
                  </a:lnTo>
                  <a:lnTo>
                    <a:pt x="51" y="4"/>
                  </a:lnTo>
                  <a:lnTo>
                    <a:pt x="54" y="4"/>
                  </a:lnTo>
                  <a:lnTo>
                    <a:pt x="58" y="4"/>
                  </a:lnTo>
                  <a:lnTo>
                    <a:pt x="61" y="4"/>
                  </a:lnTo>
                  <a:lnTo>
                    <a:pt x="65" y="3"/>
                  </a:lnTo>
                  <a:lnTo>
                    <a:pt x="69" y="3"/>
                  </a:lnTo>
                  <a:lnTo>
                    <a:pt x="73" y="6"/>
                  </a:lnTo>
                  <a:lnTo>
                    <a:pt x="77" y="8"/>
                  </a:lnTo>
                  <a:lnTo>
                    <a:pt x="80" y="9"/>
                  </a:lnTo>
                  <a:lnTo>
                    <a:pt x="82" y="9"/>
                  </a:lnTo>
                  <a:lnTo>
                    <a:pt x="84" y="8"/>
                  </a:lnTo>
                  <a:lnTo>
                    <a:pt x="88" y="4"/>
                  </a:lnTo>
                  <a:lnTo>
                    <a:pt x="93" y="1"/>
                  </a:lnTo>
                  <a:lnTo>
                    <a:pt x="97" y="0"/>
                  </a:lnTo>
                  <a:lnTo>
                    <a:pt x="99" y="1"/>
                  </a:lnTo>
                  <a:lnTo>
                    <a:pt x="101" y="1"/>
                  </a:lnTo>
                  <a:lnTo>
                    <a:pt x="104" y="7"/>
                  </a:lnTo>
                  <a:lnTo>
                    <a:pt x="106" y="10"/>
                  </a:lnTo>
                  <a:lnTo>
                    <a:pt x="106" y="16"/>
                  </a:lnTo>
                  <a:lnTo>
                    <a:pt x="104" y="22"/>
                  </a:lnTo>
                  <a:lnTo>
                    <a:pt x="106" y="23"/>
                  </a:lnTo>
                  <a:lnTo>
                    <a:pt x="106" y="25"/>
                  </a:lnTo>
                  <a:lnTo>
                    <a:pt x="106" y="28"/>
                  </a:lnTo>
                  <a:lnTo>
                    <a:pt x="106" y="32"/>
                  </a:lnTo>
                  <a:lnTo>
                    <a:pt x="107" y="34"/>
                  </a:lnTo>
                  <a:lnTo>
                    <a:pt x="121" y="46"/>
                  </a:lnTo>
                  <a:lnTo>
                    <a:pt x="127" y="52"/>
                  </a:lnTo>
                  <a:lnTo>
                    <a:pt x="131" y="60"/>
                  </a:lnTo>
                  <a:lnTo>
                    <a:pt x="134" y="63"/>
                  </a:lnTo>
                  <a:lnTo>
                    <a:pt x="136" y="64"/>
                  </a:lnTo>
                  <a:lnTo>
                    <a:pt x="140" y="64"/>
                  </a:lnTo>
                  <a:lnTo>
                    <a:pt x="143" y="64"/>
                  </a:lnTo>
                  <a:lnTo>
                    <a:pt x="150" y="61"/>
                  </a:lnTo>
                  <a:lnTo>
                    <a:pt x="157" y="60"/>
                  </a:lnTo>
                  <a:lnTo>
                    <a:pt x="159" y="60"/>
                  </a:lnTo>
                  <a:lnTo>
                    <a:pt x="163" y="61"/>
                  </a:lnTo>
                  <a:lnTo>
                    <a:pt x="162" y="70"/>
                  </a:lnTo>
                  <a:lnTo>
                    <a:pt x="160" y="72"/>
                  </a:lnTo>
                  <a:lnTo>
                    <a:pt x="158" y="73"/>
                  </a:lnTo>
                  <a:lnTo>
                    <a:pt x="153" y="73"/>
                  </a:lnTo>
                  <a:lnTo>
                    <a:pt x="150" y="73"/>
                  </a:lnTo>
                  <a:lnTo>
                    <a:pt x="149" y="74"/>
                  </a:lnTo>
                  <a:lnTo>
                    <a:pt x="146" y="77"/>
                  </a:lnTo>
                  <a:lnTo>
                    <a:pt x="145" y="79"/>
                  </a:lnTo>
                  <a:lnTo>
                    <a:pt x="145" y="84"/>
                  </a:lnTo>
                  <a:lnTo>
                    <a:pt x="146" y="89"/>
                  </a:lnTo>
                  <a:lnTo>
                    <a:pt x="145" y="92"/>
                  </a:lnTo>
                  <a:lnTo>
                    <a:pt x="144" y="97"/>
                  </a:lnTo>
                  <a:close/>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4" name="Freeform 1323"/>
            <p:cNvSpPr>
              <a:spLocks/>
            </p:cNvSpPr>
            <p:nvPr/>
          </p:nvSpPr>
          <p:spPr bwMode="auto">
            <a:xfrm>
              <a:off x="4908550" y="2963867"/>
              <a:ext cx="166688" cy="103187"/>
            </a:xfrm>
            <a:custGeom>
              <a:avLst/>
              <a:gdLst>
                <a:gd name="T0" fmla="*/ 2147483647 w 113"/>
                <a:gd name="T1" fmla="*/ 2147483647 h 65"/>
                <a:gd name="T2" fmla="*/ 2147483647 w 113"/>
                <a:gd name="T3" fmla="*/ 2147483647 h 65"/>
                <a:gd name="T4" fmla="*/ 2147483647 w 113"/>
                <a:gd name="T5" fmla="*/ 2147483647 h 65"/>
                <a:gd name="T6" fmla="*/ 2147483647 w 113"/>
                <a:gd name="T7" fmla="*/ 2147483647 h 65"/>
                <a:gd name="T8" fmla="*/ 2147483647 w 113"/>
                <a:gd name="T9" fmla="*/ 2147483647 h 65"/>
                <a:gd name="T10" fmla="*/ 2147483647 w 113"/>
                <a:gd name="T11" fmla="*/ 2147483647 h 65"/>
                <a:gd name="T12" fmla="*/ 2147483647 w 113"/>
                <a:gd name="T13" fmla="*/ 2147483647 h 65"/>
                <a:gd name="T14" fmla="*/ 2147483647 w 113"/>
                <a:gd name="T15" fmla="*/ 2147483647 h 65"/>
                <a:gd name="T16" fmla="*/ 2147483647 w 113"/>
                <a:gd name="T17" fmla="*/ 2147483647 h 65"/>
                <a:gd name="T18" fmla="*/ 2147483647 w 113"/>
                <a:gd name="T19" fmla="*/ 2147483647 h 65"/>
                <a:gd name="T20" fmla="*/ 2147483647 w 113"/>
                <a:gd name="T21" fmla="*/ 2147483647 h 65"/>
                <a:gd name="T22" fmla="*/ 2147483647 w 113"/>
                <a:gd name="T23" fmla="*/ 2147483647 h 65"/>
                <a:gd name="T24" fmla="*/ 2147483647 w 113"/>
                <a:gd name="T25" fmla="*/ 2147483647 h 65"/>
                <a:gd name="T26" fmla="*/ 2147483647 w 113"/>
                <a:gd name="T27" fmla="*/ 2147483647 h 65"/>
                <a:gd name="T28" fmla="*/ 2147483647 w 113"/>
                <a:gd name="T29" fmla="*/ 2147483647 h 65"/>
                <a:gd name="T30" fmla="*/ 2147483647 w 113"/>
                <a:gd name="T31" fmla="*/ 2147483647 h 65"/>
                <a:gd name="T32" fmla="*/ 2147483647 w 113"/>
                <a:gd name="T33" fmla="*/ 2147483647 h 65"/>
                <a:gd name="T34" fmla="*/ 2147483647 w 113"/>
                <a:gd name="T35" fmla="*/ 2147483647 h 65"/>
                <a:gd name="T36" fmla="*/ 2147483647 w 113"/>
                <a:gd name="T37" fmla="*/ 2147483647 h 65"/>
                <a:gd name="T38" fmla="*/ 0 w 113"/>
                <a:gd name="T39" fmla="*/ 2147483647 h 65"/>
                <a:gd name="T40" fmla="*/ 2147483647 w 113"/>
                <a:gd name="T41" fmla="*/ 2147483647 h 65"/>
                <a:gd name="T42" fmla="*/ 2147483647 w 113"/>
                <a:gd name="T43" fmla="*/ 0 h 65"/>
                <a:gd name="T44" fmla="*/ 2147483647 w 113"/>
                <a:gd name="T45" fmla="*/ 0 h 65"/>
                <a:gd name="T46" fmla="*/ 2147483647 w 113"/>
                <a:gd name="T47" fmla="*/ 2147483647 h 65"/>
                <a:gd name="T48" fmla="*/ 2147483647 w 113"/>
                <a:gd name="T49" fmla="*/ 2147483647 h 65"/>
                <a:gd name="T50" fmla="*/ 2147483647 w 113"/>
                <a:gd name="T51" fmla="*/ 2147483647 h 65"/>
                <a:gd name="T52" fmla="*/ 2147483647 w 113"/>
                <a:gd name="T53" fmla="*/ 2147483647 h 65"/>
                <a:gd name="T54" fmla="*/ 2147483647 w 113"/>
                <a:gd name="T55" fmla="*/ 2147483647 h 65"/>
                <a:gd name="T56" fmla="*/ 2147483647 w 113"/>
                <a:gd name="T57" fmla="*/ 2147483647 h 65"/>
                <a:gd name="T58" fmla="*/ 2147483647 w 113"/>
                <a:gd name="T59" fmla="*/ 2147483647 h 65"/>
                <a:gd name="T60" fmla="*/ 2147483647 w 113"/>
                <a:gd name="T61" fmla="*/ 2147483647 h 65"/>
                <a:gd name="T62" fmla="*/ 2147483647 w 113"/>
                <a:gd name="T63" fmla="*/ 2147483647 h 65"/>
                <a:gd name="T64" fmla="*/ 2147483647 w 113"/>
                <a:gd name="T65" fmla="*/ 2147483647 h 65"/>
                <a:gd name="T66" fmla="*/ 2147483647 w 113"/>
                <a:gd name="T67" fmla="*/ 2147483647 h 65"/>
                <a:gd name="T68" fmla="*/ 2147483647 w 113"/>
                <a:gd name="T69" fmla="*/ 2147483647 h 65"/>
                <a:gd name="T70" fmla="*/ 2147483647 w 113"/>
                <a:gd name="T71" fmla="*/ 2147483647 h 65"/>
                <a:gd name="T72" fmla="*/ 2147483647 w 113"/>
                <a:gd name="T73" fmla="*/ 2147483647 h 65"/>
                <a:gd name="T74" fmla="*/ 2147483647 w 113"/>
                <a:gd name="T75" fmla="*/ 2147483647 h 65"/>
                <a:gd name="T76" fmla="*/ 2147483647 w 113"/>
                <a:gd name="T77" fmla="*/ 2147483647 h 65"/>
                <a:gd name="T78" fmla="*/ 2147483647 w 113"/>
                <a:gd name="T79" fmla="*/ 2147483647 h 65"/>
                <a:gd name="T80" fmla="*/ 2147483647 w 113"/>
                <a:gd name="T81" fmla="*/ 2147483647 h 65"/>
                <a:gd name="T82" fmla="*/ 2147483647 w 113"/>
                <a:gd name="T83" fmla="*/ 2147483647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3"/>
                <a:gd name="T127" fmla="*/ 0 h 65"/>
                <a:gd name="T128" fmla="*/ 113 w 113"/>
                <a:gd name="T129" fmla="*/ 65 h 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3" h="65">
                  <a:moveTo>
                    <a:pt x="73" y="50"/>
                  </a:moveTo>
                  <a:lnTo>
                    <a:pt x="73" y="50"/>
                  </a:lnTo>
                  <a:lnTo>
                    <a:pt x="70" y="50"/>
                  </a:lnTo>
                  <a:lnTo>
                    <a:pt x="68" y="51"/>
                  </a:lnTo>
                  <a:lnTo>
                    <a:pt x="66" y="58"/>
                  </a:lnTo>
                  <a:lnTo>
                    <a:pt x="65" y="61"/>
                  </a:lnTo>
                  <a:lnTo>
                    <a:pt x="61" y="63"/>
                  </a:lnTo>
                  <a:lnTo>
                    <a:pt x="58" y="63"/>
                  </a:lnTo>
                  <a:lnTo>
                    <a:pt x="56" y="63"/>
                  </a:lnTo>
                  <a:lnTo>
                    <a:pt x="49" y="61"/>
                  </a:lnTo>
                  <a:lnTo>
                    <a:pt x="44" y="60"/>
                  </a:lnTo>
                  <a:lnTo>
                    <a:pt x="39" y="60"/>
                  </a:lnTo>
                  <a:lnTo>
                    <a:pt x="29" y="61"/>
                  </a:lnTo>
                  <a:lnTo>
                    <a:pt x="25" y="62"/>
                  </a:lnTo>
                  <a:lnTo>
                    <a:pt x="20" y="64"/>
                  </a:lnTo>
                  <a:lnTo>
                    <a:pt x="16" y="65"/>
                  </a:lnTo>
                  <a:lnTo>
                    <a:pt x="11" y="65"/>
                  </a:lnTo>
                  <a:lnTo>
                    <a:pt x="9" y="65"/>
                  </a:lnTo>
                  <a:lnTo>
                    <a:pt x="7" y="63"/>
                  </a:lnTo>
                  <a:lnTo>
                    <a:pt x="7" y="57"/>
                  </a:lnTo>
                  <a:lnTo>
                    <a:pt x="4" y="51"/>
                  </a:lnTo>
                  <a:lnTo>
                    <a:pt x="2" y="46"/>
                  </a:lnTo>
                  <a:lnTo>
                    <a:pt x="2" y="42"/>
                  </a:lnTo>
                  <a:lnTo>
                    <a:pt x="5" y="36"/>
                  </a:lnTo>
                  <a:lnTo>
                    <a:pt x="7" y="31"/>
                  </a:lnTo>
                  <a:lnTo>
                    <a:pt x="9" y="30"/>
                  </a:lnTo>
                  <a:lnTo>
                    <a:pt x="9" y="28"/>
                  </a:lnTo>
                  <a:lnTo>
                    <a:pt x="6" y="24"/>
                  </a:lnTo>
                  <a:lnTo>
                    <a:pt x="2" y="19"/>
                  </a:lnTo>
                  <a:lnTo>
                    <a:pt x="0" y="16"/>
                  </a:lnTo>
                  <a:lnTo>
                    <a:pt x="1" y="10"/>
                  </a:lnTo>
                  <a:lnTo>
                    <a:pt x="4" y="5"/>
                  </a:lnTo>
                  <a:lnTo>
                    <a:pt x="7" y="1"/>
                  </a:lnTo>
                  <a:lnTo>
                    <a:pt x="9" y="0"/>
                  </a:lnTo>
                  <a:lnTo>
                    <a:pt x="10" y="0"/>
                  </a:lnTo>
                  <a:lnTo>
                    <a:pt x="13" y="5"/>
                  </a:lnTo>
                  <a:lnTo>
                    <a:pt x="16" y="9"/>
                  </a:lnTo>
                  <a:lnTo>
                    <a:pt x="21" y="11"/>
                  </a:lnTo>
                  <a:lnTo>
                    <a:pt x="25" y="12"/>
                  </a:lnTo>
                  <a:lnTo>
                    <a:pt x="35" y="13"/>
                  </a:lnTo>
                  <a:lnTo>
                    <a:pt x="46" y="12"/>
                  </a:lnTo>
                  <a:lnTo>
                    <a:pt x="49" y="12"/>
                  </a:lnTo>
                  <a:lnTo>
                    <a:pt x="53" y="13"/>
                  </a:lnTo>
                  <a:lnTo>
                    <a:pt x="57" y="11"/>
                  </a:lnTo>
                  <a:lnTo>
                    <a:pt x="61" y="7"/>
                  </a:lnTo>
                  <a:lnTo>
                    <a:pt x="65" y="5"/>
                  </a:lnTo>
                  <a:lnTo>
                    <a:pt x="67" y="4"/>
                  </a:lnTo>
                  <a:lnTo>
                    <a:pt x="70" y="4"/>
                  </a:lnTo>
                  <a:lnTo>
                    <a:pt x="75" y="5"/>
                  </a:lnTo>
                  <a:lnTo>
                    <a:pt x="80" y="6"/>
                  </a:lnTo>
                  <a:lnTo>
                    <a:pt x="91" y="11"/>
                  </a:lnTo>
                  <a:lnTo>
                    <a:pt x="96" y="12"/>
                  </a:lnTo>
                  <a:lnTo>
                    <a:pt x="101" y="13"/>
                  </a:lnTo>
                  <a:lnTo>
                    <a:pt x="107" y="12"/>
                  </a:lnTo>
                  <a:lnTo>
                    <a:pt x="113" y="11"/>
                  </a:lnTo>
                  <a:lnTo>
                    <a:pt x="107" y="20"/>
                  </a:lnTo>
                  <a:lnTo>
                    <a:pt x="99" y="30"/>
                  </a:lnTo>
                  <a:lnTo>
                    <a:pt x="93" y="37"/>
                  </a:lnTo>
                  <a:lnTo>
                    <a:pt x="90" y="41"/>
                  </a:lnTo>
                  <a:lnTo>
                    <a:pt x="90" y="43"/>
                  </a:lnTo>
                  <a:lnTo>
                    <a:pt x="91" y="44"/>
                  </a:lnTo>
                  <a:lnTo>
                    <a:pt x="93" y="46"/>
                  </a:lnTo>
                  <a:lnTo>
                    <a:pt x="85" y="49"/>
                  </a:lnTo>
                  <a:lnTo>
                    <a:pt x="73" y="5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5" name="Freeform 1324"/>
            <p:cNvSpPr>
              <a:spLocks/>
            </p:cNvSpPr>
            <p:nvPr/>
          </p:nvSpPr>
          <p:spPr bwMode="auto">
            <a:xfrm>
              <a:off x="4603751" y="2573342"/>
              <a:ext cx="107950" cy="166687"/>
            </a:xfrm>
            <a:custGeom>
              <a:avLst/>
              <a:gdLst>
                <a:gd name="T0" fmla="*/ 2147483647 w 73"/>
                <a:gd name="T1" fmla="*/ 2147483647 h 105"/>
                <a:gd name="T2" fmla="*/ 2147483647 w 73"/>
                <a:gd name="T3" fmla="*/ 2147483647 h 105"/>
                <a:gd name="T4" fmla="*/ 2147483647 w 73"/>
                <a:gd name="T5" fmla="*/ 2147483647 h 105"/>
                <a:gd name="T6" fmla="*/ 2147483647 w 73"/>
                <a:gd name="T7" fmla="*/ 2147483647 h 105"/>
                <a:gd name="T8" fmla="*/ 2147483647 w 73"/>
                <a:gd name="T9" fmla="*/ 2147483647 h 105"/>
                <a:gd name="T10" fmla="*/ 2147483647 w 73"/>
                <a:gd name="T11" fmla="*/ 2147483647 h 105"/>
                <a:gd name="T12" fmla="*/ 2147483647 w 73"/>
                <a:gd name="T13" fmla="*/ 2147483647 h 105"/>
                <a:gd name="T14" fmla="*/ 2147483647 w 73"/>
                <a:gd name="T15" fmla="*/ 2147483647 h 105"/>
                <a:gd name="T16" fmla="*/ 2147483647 w 73"/>
                <a:gd name="T17" fmla="*/ 2147483647 h 105"/>
                <a:gd name="T18" fmla="*/ 2147483647 w 73"/>
                <a:gd name="T19" fmla="*/ 2147483647 h 105"/>
                <a:gd name="T20" fmla="*/ 2147483647 w 73"/>
                <a:gd name="T21" fmla="*/ 2147483647 h 105"/>
                <a:gd name="T22" fmla="*/ 2147483647 w 73"/>
                <a:gd name="T23" fmla="*/ 2147483647 h 105"/>
                <a:gd name="T24" fmla="*/ 2147483647 w 73"/>
                <a:gd name="T25" fmla="*/ 2147483647 h 105"/>
                <a:gd name="T26" fmla="*/ 2147483647 w 73"/>
                <a:gd name="T27" fmla="*/ 2147483647 h 105"/>
                <a:gd name="T28" fmla="*/ 2147483647 w 73"/>
                <a:gd name="T29" fmla="*/ 2147483647 h 105"/>
                <a:gd name="T30" fmla="*/ 2147483647 w 73"/>
                <a:gd name="T31" fmla="*/ 2147483647 h 105"/>
                <a:gd name="T32" fmla="*/ 2147483647 w 73"/>
                <a:gd name="T33" fmla="*/ 2147483647 h 105"/>
                <a:gd name="T34" fmla="*/ 2147483647 w 73"/>
                <a:gd name="T35" fmla="*/ 2147483647 h 105"/>
                <a:gd name="T36" fmla="*/ 2147483647 w 73"/>
                <a:gd name="T37" fmla="*/ 2147483647 h 105"/>
                <a:gd name="T38" fmla="*/ 0 w 73"/>
                <a:gd name="T39" fmla="*/ 2147483647 h 105"/>
                <a:gd name="T40" fmla="*/ 2147483647 w 73"/>
                <a:gd name="T41" fmla="*/ 2147483647 h 105"/>
                <a:gd name="T42" fmla="*/ 2147483647 w 73"/>
                <a:gd name="T43" fmla="*/ 2147483647 h 105"/>
                <a:gd name="T44" fmla="*/ 2147483647 w 73"/>
                <a:gd name="T45" fmla="*/ 2147483647 h 105"/>
                <a:gd name="T46" fmla="*/ 2147483647 w 73"/>
                <a:gd name="T47" fmla="*/ 2147483647 h 105"/>
                <a:gd name="T48" fmla="*/ 2147483647 w 73"/>
                <a:gd name="T49" fmla="*/ 2147483647 h 105"/>
                <a:gd name="T50" fmla="*/ 2147483647 w 73"/>
                <a:gd name="T51" fmla="*/ 2147483647 h 105"/>
                <a:gd name="T52" fmla="*/ 2147483647 w 73"/>
                <a:gd name="T53" fmla="*/ 2147483647 h 105"/>
                <a:gd name="T54" fmla="*/ 2147483647 w 73"/>
                <a:gd name="T55" fmla="*/ 2147483647 h 105"/>
                <a:gd name="T56" fmla="*/ 2147483647 w 73"/>
                <a:gd name="T57" fmla="*/ 2147483647 h 105"/>
                <a:gd name="T58" fmla="*/ 2147483647 w 73"/>
                <a:gd name="T59" fmla="*/ 0 h 105"/>
                <a:gd name="T60" fmla="*/ 2147483647 w 73"/>
                <a:gd name="T61" fmla="*/ 2147483647 h 105"/>
                <a:gd name="T62" fmla="*/ 2147483647 w 73"/>
                <a:gd name="T63" fmla="*/ 2147483647 h 105"/>
                <a:gd name="T64" fmla="*/ 2147483647 w 73"/>
                <a:gd name="T65" fmla="*/ 2147483647 h 105"/>
                <a:gd name="T66" fmla="*/ 2147483647 w 73"/>
                <a:gd name="T67" fmla="*/ 2147483647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3"/>
                <a:gd name="T103" fmla="*/ 0 h 105"/>
                <a:gd name="T104" fmla="*/ 73 w 73"/>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3" h="105">
                  <a:moveTo>
                    <a:pt x="63" y="14"/>
                  </a:moveTo>
                  <a:lnTo>
                    <a:pt x="62" y="19"/>
                  </a:lnTo>
                  <a:lnTo>
                    <a:pt x="61" y="23"/>
                  </a:lnTo>
                  <a:lnTo>
                    <a:pt x="61" y="28"/>
                  </a:lnTo>
                  <a:lnTo>
                    <a:pt x="59" y="32"/>
                  </a:lnTo>
                  <a:lnTo>
                    <a:pt x="58" y="36"/>
                  </a:lnTo>
                  <a:lnTo>
                    <a:pt x="59" y="40"/>
                  </a:lnTo>
                  <a:lnTo>
                    <a:pt x="61" y="45"/>
                  </a:lnTo>
                  <a:lnTo>
                    <a:pt x="63" y="48"/>
                  </a:lnTo>
                  <a:lnTo>
                    <a:pt x="63" y="52"/>
                  </a:lnTo>
                  <a:lnTo>
                    <a:pt x="62" y="54"/>
                  </a:lnTo>
                  <a:lnTo>
                    <a:pt x="62" y="58"/>
                  </a:lnTo>
                  <a:lnTo>
                    <a:pt x="62" y="60"/>
                  </a:lnTo>
                  <a:lnTo>
                    <a:pt x="62" y="62"/>
                  </a:lnTo>
                  <a:lnTo>
                    <a:pt x="63" y="65"/>
                  </a:lnTo>
                  <a:lnTo>
                    <a:pt x="69" y="68"/>
                  </a:lnTo>
                  <a:lnTo>
                    <a:pt x="72" y="73"/>
                  </a:lnTo>
                  <a:lnTo>
                    <a:pt x="73" y="78"/>
                  </a:lnTo>
                  <a:lnTo>
                    <a:pt x="71" y="84"/>
                  </a:lnTo>
                  <a:lnTo>
                    <a:pt x="64" y="87"/>
                  </a:lnTo>
                  <a:lnTo>
                    <a:pt x="58" y="92"/>
                  </a:lnTo>
                  <a:lnTo>
                    <a:pt x="55" y="94"/>
                  </a:lnTo>
                  <a:lnTo>
                    <a:pt x="52" y="94"/>
                  </a:lnTo>
                  <a:lnTo>
                    <a:pt x="49" y="96"/>
                  </a:lnTo>
                  <a:lnTo>
                    <a:pt x="45" y="97"/>
                  </a:lnTo>
                  <a:lnTo>
                    <a:pt x="41" y="100"/>
                  </a:lnTo>
                  <a:lnTo>
                    <a:pt x="40" y="102"/>
                  </a:lnTo>
                  <a:lnTo>
                    <a:pt x="39" y="102"/>
                  </a:lnTo>
                  <a:lnTo>
                    <a:pt x="30" y="100"/>
                  </a:lnTo>
                  <a:lnTo>
                    <a:pt x="25" y="102"/>
                  </a:lnTo>
                  <a:lnTo>
                    <a:pt x="22" y="103"/>
                  </a:lnTo>
                  <a:lnTo>
                    <a:pt x="21" y="105"/>
                  </a:lnTo>
                  <a:lnTo>
                    <a:pt x="19" y="102"/>
                  </a:lnTo>
                  <a:lnTo>
                    <a:pt x="16" y="99"/>
                  </a:lnTo>
                  <a:lnTo>
                    <a:pt x="12" y="99"/>
                  </a:lnTo>
                  <a:lnTo>
                    <a:pt x="7" y="99"/>
                  </a:lnTo>
                  <a:lnTo>
                    <a:pt x="5" y="99"/>
                  </a:lnTo>
                  <a:lnTo>
                    <a:pt x="3" y="98"/>
                  </a:lnTo>
                  <a:lnTo>
                    <a:pt x="1" y="94"/>
                  </a:lnTo>
                  <a:lnTo>
                    <a:pt x="0" y="90"/>
                  </a:lnTo>
                  <a:lnTo>
                    <a:pt x="0" y="86"/>
                  </a:lnTo>
                  <a:lnTo>
                    <a:pt x="3" y="67"/>
                  </a:lnTo>
                  <a:lnTo>
                    <a:pt x="7" y="47"/>
                  </a:lnTo>
                  <a:lnTo>
                    <a:pt x="7" y="38"/>
                  </a:lnTo>
                  <a:lnTo>
                    <a:pt x="7" y="28"/>
                  </a:lnTo>
                  <a:lnTo>
                    <a:pt x="5" y="19"/>
                  </a:lnTo>
                  <a:lnTo>
                    <a:pt x="2" y="9"/>
                  </a:lnTo>
                  <a:lnTo>
                    <a:pt x="6" y="8"/>
                  </a:lnTo>
                  <a:lnTo>
                    <a:pt x="11" y="7"/>
                  </a:lnTo>
                  <a:lnTo>
                    <a:pt x="14" y="6"/>
                  </a:lnTo>
                  <a:lnTo>
                    <a:pt x="16" y="7"/>
                  </a:lnTo>
                  <a:lnTo>
                    <a:pt x="22" y="9"/>
                  </a:lnTo>
                  <a:lnTo>
                    <a:pt x="25" y="10"/>
                  </a:lnTo>
                  <a:lnTo>
                    <a:pt x="26" y="10"/>
                  </a:lnTo>
                  <a:lnTo>
                    <a:pt x="28" y="10"/>
                  </a:lnTo>
                  <a:lnTo>
                    <a:pt x="30" y="9"/>
                  </a:lnTo>
                  <a:lnTo>
                    <a:pt x="36" y="4"/>
                  </a:lnTo>
                  <a:lnTo>
                    <a:pt x="43" y="1"/>
                  </a:lnTo>
                  <a:lnTo>
                    <a:pt x="45" y="0"/>
                  </a:lnTo>
                  <a:lnTo>
                    <a:pt x="49" y="0"/>
                  </a:lnTo>
                  <a:lnTo>
                    <a:pt x="53" y="1"/>
                  </a:lnTo>
                  <a:lnTo>
                    <a:pt x="55" y="3"/>
                  </a:lnTo>
                  <a:lnTo>
                    <a:pt x="57" y="6"/>
                  </a:lnTo>
                  <a:lnTo>
                    <a:pt x="55" y="7"/>
                  </a:lnTo>
                  <a:lnTo>
                    <a:pt x="50" y="10"/>
                  </a:lnTo>
                  <a:lnTo>
                    <a:pt x="49" y="10"/>
                  </a:lnTo>
                  <a:lnTo>
                    <a:pt x="50" y="12"/>
                  </a:lnTo>
                  <a:lnTo>
                    <a:pt x="52" y="13"/>
                  </a:lnTo>
                  <a:lnTo>
                    <a:pt x="63" y="14"/>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6" name="Freeform 1325"/>
            <p:cNvSpPr>
              <a:spLocks/>
            </p:cNvSpPr>
            <p:nvPr/>
          </p:nvSpPr>
          <p:spPr bwMode="auto">
            <a:xfrm>
              <a:off x="4881563" y="2517779"/>
              <a:ext cx="57150" cy="60325"/>
            </a:xfrm>
            <a:custGeom>
              <a:avLst/>
              <a:gdLst>
                <a:gd name="T0" fmla="*/ 0 w 39"/>
                <a:gd name="T1" fmla="*/ 0 h 38"/>
                <a:gd name="T2" fmla="*/ 2147483647 w 39"/>
                <a:gd name="T3" fmla="*/ 2147483647 h 38"/>
                <a:gd name="T4" fmla="*/ 2147483647 w 39"/>
                <a:gd name="T5" fmla="*/ 2147483647 h 38"/>
                <a:gd name="T6" fmla="*/ 2147483647 w 39"/>
                <a:gd name="T7" fmla="*/ 2147483647 h 38"/>
                <a:gd name="T8" fmla="*/ 2147483647 w 39"/>
                <a:gd name="T9" fmla="*/ 2147483647 h 38"/>
                <a:gd name="T10" fmla="*/ 2147483647 w 39"/>
                <a:gd name="T11" fmla="*/ 2147483647 h 38"/>
                <a:gd name="T12" fmla="*/ 2147483647 w 39"/>
                <a:gd name="T13" fmla="*/ 2147483647 h 38"/>
                <a:gd name="T14" fmla="*/ 2147483647 w 39"/>
                <a:gd name="T15" fmla="*/ 2147483647 h 38"/>
                <a:gd name="T16" fmla="*/ 2147483647 w 39"/>
                <a:gd name="T17" fmla="*/ 2147483647 h 38"/>
                <a:gd name="T18" fmla="*/ 2147483647 w 39"/>
                <a:gd name="T19" fmla="*/ 2147483647 h 38"/>
                <a:gd name="T20" fmla="*/ 2147483647 w 39"/>
                <a:gd name="T21" fmla="*/ 2147483647 h 38"/>
                <a:gd name="T22" fmla="*/ 2147483647 w 39"/>
                <a:gd name="T23" fmla="*/ 2147483647 h 38"/>
                <a:gd name="T24" fmla="*/ 0 w 39"/>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8"/>
                <a:gd name="T41" fmla="*/ 39 w 39"/>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8">
                  <a:moveTo>
                    <a:pt x="0" y="0"/>
                  </a:moveTo>
                  <a:lnTo>
                    <a:pt x="9" y="10"/>
                  </a:lnTo>
                  <a:lnTo>
                    <a:pt x="16" y="16"/>
                  </a:lnTo>
                  <a:lnTo>
                    <a:pt x="20" y="17"/>
                  </a:lnTo>
                  <a:lnTo>
                    <a:pt x="23" y="17"/>
                  </a:lnTo>
                  <a:lnTo>
                    <a:pt x="26" y="16"/>
                  </a:lnTo>
                  <a:lnTo>
                    <a:pt x="32" y="16"/>
                  </a:lnTo>
                  <a:lnTo>
                    <a:pt x="35" y="14"/>
                  </a:lnTo>
                  <a:lnTo>
                    <a:pt x="39" y="20"/>
                  </a:lnTo>
                  <a:lnTo>
                    <a:pt x="39" y="28"/>
                  </a:lnTo>
                  <a:lnTo>
                    <a:pt x="34" y="31"/>
                  </a:lnTo>
                  <a:lnTo>
                    <a:pt x="32" y="38"/>
                  </a:lnTo>
                  <a:lnTo>
                    <a:pt x="0"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7" name="Freeform 1326"/>
            <p:cNvSpPr>
              <a:spLocks/>
            </p:cNvSpPr>
            <p:nvPr/>
          </p:nvSpPr>
          <p:spPr bwMode="auto">
            <a:xfrm>
              <a:off x="4772026" y="2759078"/>
              <a:ext cx="28574" cy="42863"/>
            </a:xfrm>
            <a:custGeom>
              <a:avLst/>
              <a:gdLst>
                <a:gd name="T0" fmla="*/ 0 w 19"/>
                <a:gd name="T1" fmla="*/ 2147483647 h 27"/>
                <a:gd name="T2" fmla="*/ 0 w 19"/>
                <a:gd name="T3" fmla="*/ 2147483647 h 27"/>
                <a:gd name="T4" fmla="*/ 0 w 19"/>
                <a:gd name="T5" fmla="*/ 2147483647 h 27"/>
                <a:gd name="T6" fmla="*/ 2147483647 w 19"/>
                <a:gd name="T7" fmla="*/ 2147483647 h 27"/>
                <a:gd name="T8" fmla="*/ 2147483647 w 19"/>
                <a:gd name="T9" fmla="*/ 2147483647 h 27"/>
                <a:gd name="T10" fmla="*/ 2147483647 w 19"/>
                <a:gd name="T11" fmla="*/ 2147483647 h 27"/>
                <a:gd name="T12" fmla="*/ 2147483647 w 19"/>
                <a:gd name="T13" fmla="*/ 2147483647 h 27"/>
                <a:gd name="T14" fmla="*/ 2147483647 w 19"/>
                <a:gd name="T15" fmla="*/ 2147483647 h 27"/>
                <a:gd name="T16" fmla="*/ 2147483647 w 19"/>
                <a:gd name="T17" fmla="*/ 2147483647 h 27"/>
                <a:gd name="T18" fmla="*/ 2147483647 w 19"/>
                <a:gd name="T19" fmla="*/ 2147483647 h 27"/>
                <a:gd name="T20" fmla="*/ 2147483647 w 19"/>
                <a:gd name="T21" fmla="*/ 2147483647 h 27"/>
                <a:gd name="T22" fmla="*/ 2147483647 w 19"/>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27"/>
                <a:gd name="T38" fmla="*/ 19 w 19"/>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27">
                  <a:moveTo>
                    <a:pt x="0" y="27"/>
                  </a:moveTo>
                  <a:lnTo>
                    <a:pt x="0" y="27"/>
                  </a:lnTo>
                  <a:lnTo>
                    <a:pt x="0" y="25"/>
                  </a:lnTo>
                  <a:lnTo>
                    <a:pt x="3" y="23"/>
                  </a:lnTo>
                  <a:lnTo>
                    <a:pt x="5" y="19"/>
                  </a:lnTo>
                  <a:lnTo>
                    <a:pt x="13" y="12"/>
                  </a:lnTo>
                  <a:lnTo>
                    <a:pt x="17" y="8"/>
                  </a:lnTo>
                  <a:lnTo>
                    <a:pt x="18" y="5"/>
                  </a:lnTo>
                  <a:lnTo>
                    <a:pt x="19"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8" name="Freeform 1327"/>
            <p:cNvSpPr>
              <a:spLocks/>
            </p:cNvSpPr>
            <p:nvPr/>
          </p:nvSpPr>
          <p:spPr bwMode="auto">
            <a:xfrm>
              <a:off x="4879975" y="2516192"/>
              <a:ext cx="57150" cy="60325"/>
            </a:xfrm>
            <a:custGeom>
              <a:avLst/>
              <a:gdLst>
                <a:gd name="T0" fmla="*/ 0 w 39"/>
                <a:gd name="T1" fmla="*/ 0 h 38"/>
                <a:gd name="T2" fmla="*/ 0 w 39"/>
                <a:gd name="T3" fmla="*/ 0 h 38"/>
                <a:gd name="T4" fmla="*/ 2147483647 w 39"/>
                <a:gd name="T5" fmla="*/ 2147483647 h 38"/>
                <a:gd name="T6" fmla="*/ 2147483647 w 39"/>
                <a:gd name="T7" fmla="*/ 2147483647 h 38"/>
                <a:gd name="T8" fmla="*/ 2147483647 w 39"/>
                <a:gd name="T9" fmla="*/ 2147483647 h 38"/>
                <a:gd name="T10" fmla="*/ 2147483647 w 39"/>
                <a:gd name="T11" fmla="*/ 2147483647 h 38"/>
                <a:gd name="T12" fmla="*/ 2147483647 w 39"/>
                <a:gd name="T13" fmla="*/ 2147483647 h 38"/>
                <a:gd name="T14" fmla="*/ 2147483647 w 39"/>
                <a:gd name="T15" fmla="*/ 2147483647 h 38"/>
                <a:gd name="T16" fmla="*/ 2147483647 w 39"/>
                <a:gd name="T17" fmla="*/ 2147483647 h 38"/>
                <a:gd name="T18" fmla="*/ 2147483647 w 39"/>
                <a:gd name="T19" fmla="*/ 2147483647 h 38"/>
                <a:gd name="T20" fmla="*/ 2147483647 w 39"/>
                <a:gd name="T21" fmla="*/ 2147483647 h 38"/>
                <a:gd name="T22" fmla="*/ 2147483647 w 39"/>
                <a:gd name="T23" fmla="*/ 2147483647 h 38"/>
                <a:gd name="T24" fmla="*/ 2147483647 w 39"/>
                <a:gd name="T25" fmla="*/ 2147483647 h 38"/>
                <a:gd name="T26" fmla="*/ 2147483647 w 39"/>
                <a:gd name="T27" fmla="*/ 2147483647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8"/>
                <a:gd name="T44" fmla="*/ 39 w 39"/>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8">
                  <a:moveTo>
                    <a:pt x="0" y="0"/>
                  </a:moveTo>
                  <a:lnTo>
                    <a:pt x="0" y="0"/>
                  </a:lnTo>
                  <a:lnTo>
                    <a:pt x="8" y="10"/>
                  </a:lnTo>
                  <a:lnTo>
                    <a:pt x="16" y="15"/>
                  </a:lnTo>
                  <a:lnTo>
                    <a:pt x="20" y="17"/>
                  </a:lnTo>
                  <a:lnTo>
                    <a:pt x="22" y="17"/>
                  </a:lnTo>
                  <a:lnTo>
                    <a:pt x="26" y="15"/>
                  </a:lnTo>
                  <a:lnTo>
                    <a:pt x="31" y="15"/>
                  </a:lnTo>
                  <a:lnTo>
                    <a:pt x="35" y="14"/>
                  </a:lnTo>
                  <a:lnTo>
                    <a:pt x="39" y="20"/>
                  </a:lnTo>
                  <a:lnTo>
                    <a:pt x="39" y="27"/>
                  </a:lnTo>
                  <a:lnTo>
                    <a:pt x="34" y="31"/>
                  </a:lnTo>
                  <a:lnTo>
                    <a:pt x="31" y="38"/>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29" name="Freeform 1328"/>
            <p:cNvSpPr>
              <a:spLocks/>
            </p:cNvSpPr>
            <p:nvPr/>
          </p:nvSpPr>
          <p:spPr bwMode="auto">
            <a:xfrm>
              <a:off x="4875213" y="2411418"/>
              <a:ext cx="239712" cy="136525"/>
            </a:xfrm>
            <a:custGeom>
              <a:avLst/>
              <a:gdLst>
                <a:gd name="T0" fmla="*/ 2147483647 w 163"/>
                <a:gd name="T1" fmla="*/ 2147483647 h 86"/>
                <a:gd name="T2" fmla="*/ 2147483647 w 163"/>
                <a:gd name="T3" fmla="*/ 2147483647 h 86"/>
                <a:gd name="T4" fmla="*/ 2147483647 w 163"/>
                <a:gd name="T5" fmla="*/ 0 h 86"/>
                <a:gd name="T6" fmla="*/ 2147483647 w 163"/>
                <a:gd name="T7" fmla="*/ 2147483647 h 86"/>
                <a:gd name="T8" fmla="*/ 2147483647 w 163"/>
                <a:gd name="T9" fmla="*/ 2147483647 h 86"/>
                <a:gd name="T10" fmla="*/ 2147483647 w 163"/>
                <a:gd name="T11" fmla="*/ 2147483647 h 86"/>
                <a:gd name="T12" fmla="*/ 2147483647 w 163"/>
                <a:gd name="T13" fmla="*/ 2147483647 h 86"/>
                <a:gd name="T14" fmla="*/ 2147483647 w 163"/>
                <a:gd name="T15" fmla="*/ 2147483647 h 86"/>
                <a:gd name="T16" fmla="*/ 2147483647 w 163"/>
                <a:gd name="T17" fmla="*/ 2147483647 h 86"/>
                <a:gd name="T18" fmla="*/ 2147483647 w 163"/>
                <a:gd name="T19" fmla="*/ 2147483647 h 86"/>
                <a:gd name="T20" fmla="*/ 2147483647 w 163"/>
                <a:gd name="T21" fmla="*/ 2147483647 h 86"/>
                <a:gd name="T22" fmla="*/ 2147483647 w 163"/>
                <a:gd name="T23" fmla="*/ 2147483647 h 86"/>
                <a:gd name="T24" fmla="*/ 2147483647 w 163"/>
                <a:gd name="T25" fmla="*/ 2147483647 h 86"/>
                <a:gd name="T26" fmla="*/ 2147483647 w 163"/>
                <a:gd name="T27" fmla="*/ 2147483647 h 86"/>
                <a:gd name="T28" fmla="*/ 2147483647 w 163"/>
                <a:gd name="T29" fmla="*/ 2147483647 h 86"/>
                <a:gd name="T30" fmla="*/ 2147483647 w 163"/>
                <a:gd name="T31" fmla="*/ 2147483647 h 86"/>
                <a:gd name="T32" fmla="*/ 2147483647 w 163"/>
                <a:gd name="T33" fmla="*/ 2147483647 h 86"/>
                <a:gd name="T34" fmla="*/ 2147483647 w 163"/>
                <a:gd name="T35" fmla="*/ 2147483647 h 86"/>
                <a:gd name="T36" fmla="*/ 2147483647 w 163"/>
                <a:gd name="T37" fmla="*/ 2147483647 h 86"/>
                <a:gd name="T38" fmla="*/ 2147483647 w 163"/>
                <a:gd name="T39" fmla="*/ 2147483647 h 86"/>
                <a:gd name="T40" fmla="*/ 2147483647 w 163"/>
                <a:gd name="T41" fmla="*/ 2147483647 h 86"/>
                <a:gd name="T42" fmla="*/ 2147483647 w 163"/>
                <a:gd name="T43" fmla="*/ 2147483647 h 86"/>
                <a:gd name="T44" fmla="*/ 2147483647 w 163"/>
                <a:gd name="T45" fmla="*/ 2147483647 h 86"/>
                <a:gd name="T46" fmla="*/ 2147483647 w 163"/>
                <a:gd name="T47" fmla="*/ 2147483647 h 86"/>
                <a:gd name="T48" fmla="*/ 2147483647 w 163"/>
                <a:gd name="T49" fmla="*/ 2147483647 h 86"/>
                <a:gd name="T50" fmla="*/ 2147483647 w 163"/>
                <a:gd name="T51" fmla="*/ 2147483647 h 86"/>
                <a:gd name="T52" fmla="*/ 2147483647 w 163"/>
                <a:gd name="T53" fmla="*/ 2147483647 h 86"/>
                <a:gd name="T54" fmla="*/ 2147483647 w 163"/>
                <a:gd name="T55" fmla="*/ 2147483647 h 86"/>
                <a:gd name="T56" fmla="*/ 2147483647 w 163"/>
                <a:gd name="T57" fmla="*/ 2147483647 h 86"/>
                <a:gd name="T58" fmla="*/ 2147483647 w 163"/>
                <a:gd name="T59" fmla="*/ 2147483647 h 86"/>
                <a:gd name="T60" fmla="*/ 2147483647 w 163"/>
                <a:gd name="T61" fmla="*/ 2147483647 h 86"/>
                <a:gd name="T62" fmla="*/ 2147483647 w 163"/>
                <a:gd name="T63" fmla="*/ 2147483647 h 86"/>
                <a:gd name="T64" fmla="*/ 2147483647 w 163"/>
                <a:gd name="T65" fmla="*/ 2147483647 h 86"/>
                <a:gd name="T66" fmla="*/ 2147483647 w 163"/>
                <a:gd name="T67" fmla="*/ 2147483647 h 86"/>
                <a:gd name="T68" fmla="*/ 2147483647 w 163"/>
                <a:gd name="T69" fmla="*/ 2147483647 h 86"/>
                <a:gd name="T70" fmla="*/ 2147483647 w 163"/>
                <a:gd name="T71" fmla="*/ 2147483647 h 86"/>
                <a:gd name="T72" fmla="*/ 2147483647 w 163"/>
                <a:gd name="T73" fmla="*/ 2147483647 h 86"/>
                <a:gd name="T74" fmla="*/ 2147483647 w 163"/>
                <a:gd name="T75" fmla="*/ 2147483647 h 86"/>
                <a:gd name="T76" fmla="*/ 2147483647 w 163"/>
                <a:gd name="T77" fmla="*/ 2147483647 h 86"/>
                <a:gd name="T78" fmla="*/ 2147483647 w 163"/>
                <a:gd name="T79" fmla="*/ 2147483647 h 86"/>
                <a:gd name="T80" fmla="*/ 2147483647 w 163"/>
                <a:gd name="T81" fmla="*/ 2147483647 h 86"/>
                <a:gd name="T82" fmla="*/ 2147483647 w 163"/>
                <a:gd name="T83" fmla="*/ 2147483647 h 86"/>
                <a:gd name="T84" fmla="*/ 2147483647 w 163"/>
                <a:gd name="T85" fmla="*/ 2147483647 h 86"/>
                <a:gd name="T86" fmla="*/ 2147483647 w 163"/>
                <a:gd name="T87" fmla="*/ 2147483647 h 86"/>
                <a:gd name="T88" fmla="*/ 2147483647 w 163"/>
                <a:gd name="T89" fmla="*/ 2147483647 h 86"/>
                <a:gd name="T90" fmla="*/ 2147483647 w 163"/>
                <a:gd name="T91" fmla="*/ 2147483647 h 86"/>
                <a:gd name="T92" fmla="*/ 2147483647 w 163"/>
                <a:gd name="T93" fmla="*/ 2147483647 h 86"/>
                <a:gd name="T94" fmla="*/ 2147483647 w 163"/>
                <a:gd name="T95" fmla="*/ 2147483647 h 86"/>
                <a:gd name="T96" fmla="*/ 2147483647 w 163"/>
                <a:gd name="T97" fmla="*/ 2147483647 h 86"/>
                <a:gd name="T98" fmla="*/ 2147483647 w 163"/>
                <a:gd name="T99" fmla="*/ 2147483647 h 86"/>
                <a:gd name="T100" fmla="*/ 2147483647 w 163"/>
                <a:gd name="T101" fmla="*/ 2147483647 h 86"/>
                <a:gd name="T102" fmla="*/ 2147483647 w 163"/>
                <a:gd name="T103" fmla="*/ 2147483647 h 86"/>
                <a:gd name="T104" fmla="*/ 2147483647 w 163"/>
                <a:gd name="T105" fmla="*/ 2147483647 h 86"/>
                <a:gd name="T106" fmla="*/ 2147483647 w 163"/>
                <a:gd name="T107" fmla="*/ 2147483647 h 86"/>
                <a:gd name="T108" fmla="*/ 2147483647 w 163"/>
                <a:gd name="T109" fmla="*/ 2147483647 h 86"/>
                <a:gd name="T110" fmla="*/ 2147483647 w 163"/>
                <a:gd name="T111" fmla="*/ 2147483647 h 86"/>
                <a:gd name="T112" fmla="*/ 2147483647 w 163"/>
                <a:gd name="T113" fmla="*/ 2147483647 h 86"/>
                <a:gd name="T114" fmla="*/ 2147483647 w 163"/>
                <a:gd name="T115" fmla="*/ 2147483647 h 86"/>
                <a:gd name="T116" fmla="*/ 2147483647 w 163"/>
                <a:gd name="T117" fmla="*/ 2147483647 h 86"/>
                <a:gd name="T118" fmla="*/ 2147483647 w 163"/>
                <a:gd name="T119" fmla="*/ 2147483647 h 86"/>
                <a:gd name="T120" fmla="*/ 0 w 163"/>
                <a:gd name="T121" fmla="*/ 2147483647 h 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3"/>
                <a:gd name="T184" fmla="*/ 0 h 86"/>
                <a:gd name="T185" fmla="*/ 163 w 163"/>
                <a:gd name="T186" fmla="*/ 86 h 8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3" h="86">
                  <a:moveTo>
                    <a:pt x="48" y="10"/>
                  </a:moveTo>
                  <a:lnTo>
                    <a:pt x="62" y="2"/>
                  </a:lnTo>
                  <a:lnTo>
                    <a:pt x="81" y="0"/>
                  </a:lnTo>
                  <a:lnTo>
                    <a:pt x="86" y="8"/>
                  </a:lnTo>
                  <a:lnTo>
                    <a:pt x="88" y="15"/>
                  </a:lnTo>
                  <a:lnTo>
                    <a:pt x="96" y="22"/>
                  </a:lnTo>
                  <a:lnTo>
                    <a:pt x="119" y="25"/>
                  </a:lnTo>
                  <a:lnTo>
                    <a:pt x="122" y="25"/>
                  </a:lnTo>
                  <a:lnTo>
                    <a:pt x="133" y="26"/>
                  </a:lnTo>
                  <a:lnTo>
                    <a:pt x="149" y="28"/>
                  </a:lnTo>
                  <a:lnTo>
                    <a:pt x="156" y="28"/>
                  </a:lnTo>
                  <a:lnTo>
                    <a:pt x="159" y="34"/>
                  </a:lnTo>
                  <a:lnTo>
                    <a:pt x="161" y="39"/>
                  </a:lnTo>
                  <a:lnTo>
                    <a:pt x="163" y="44"/>
                  </a:lnTo>
                  <a:lnTo>
                    <a:pt x="161" y="53"/>
                  </a:lnTo>
                  <a:lnTo>
                    <a:pt x="160" y="59"/>
                  </a:lnTo>
                  <a:lnTo>
                    <a:pt x="159" y="61"/>
                  </a:lnTo>
                  <a:lnTo>
                    <a:pt x="157" y="63"/>
                  </a:lnTo>
                  <a:lnTo>
                    <a:pt x="156" y="64"/>
                  </a:lnTo>
                  <a:lnTo>
                    <a:pt x="155" y="67"/>
                  </a:lnTo>
                  <a:lnTo>
                    <a:pt x="152" y="70"/>
                  </a:lnTo>
                  <a:lnTo>
                    <a:pt x="143" y="77"/>
                  </a:lnTo>
                  <a:lnTo>
                    <a:pt x="140" y="80"/>
                  </a:lnTo>
                  <a:lnTo>
                    <a:pt x="137" y="84"/>
                  </a:lnTo>
                  <a:lnTo>
                    <a:pt x="137" y="86"/>
                  </a:lnTo>
                  <a:lnTo>
                    <a:pt x="135" y="86"/>
                  </a:lnTo>
                  <a:lnTo>
                    <a:pt x="128" y="86"/>
                  </a:lnTo>
                  <a:lnTo>
                    <a:pt x="121" y="85"/>
                  </a:lnTo>
                  <a:lnTo>
                    <a:pt x="118" y="84"/>
                  </a:lnTo>
                  <a:lnTo>
                    <a:pt x="117" y="81"/>
                  </a:lnTo>
                  <a:lnTo>
                    <a:pt x="113" y="76"/>
                  </a:lnTo>
                  <a:lnTo>
                    <a:pt x="109" y="70"/>
                  </a:lnTo>
                  <a:lnTo>
                    <a:pt x="103" y="64"/>
                  </a:lnTo>
                  <a:lnTo>
                    <a:pt x="100" y="63"/>
                  </a:lnTo>
                  <a:lnTo>
                    <a:pt x="90" y="59"/>
                  </a:lnTo>
                  <a:lnTo>
                    <a:pt x="84" y="57"/>
                  </a:lnTo>
                  <a:lnTo>
                    <a:pt x="80" y="55"/>
                  </a:lnTo>
                  <a:lnTo>
                    <a:pt x="77" y="55"/>
                  </a:lnTo>
                  <a:lnTo>
                    <a:pt x="74" y="57"/>
                  </a:lnTo>
                  <a:lnTo>
                    <a:pt x="69" y="59"/>
                  </a:lnTo>
                  <a:lnTo>
                    <a:pt x="66" y="60"/>
                  </a:lnTo>
                  <a:lnTo>
                    <a:pt x="39" y="57"/>
                  </a:lnTo>
                  <a:lnTo>
                    <a:pt x="28" y="54"/>
                  </a:lnTo>
                  <a:lnTo>
                    <a:pt x="19" y="53"/>
                  </a:lnTo>
                  <a:lnTo>
                    <a:pt x="15" y="53"/>
                  </a:lnTo>
                  <a:lnTo>
                    <a:pt x="13" y="54"/>
                  </a:lnTo>
                  <a:lnTo>
                    <a:pt x="0" y="58"/>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0" name="Freeform 1329"/>
            <p:cNvSpPr>
              <a:spLocks/>
            </p:cNvSpPr>
            <p:nvPr/>
          </p:nvSpPr>
          <p:spPr bwMode="auto">
            <a:xfrm>
              <a:off x="5091113" y="2360617"/>
              <a:ext cx="11112" cy="96837"/>
            </a:xfrm>
            <a:custGeom>
              <a:avLst/>
              <a:gdLst>
                <a:gd name="T0" fmla="*/ 2147483647 w 8"/>
                <a:gd name="T1" fmla="*/ 0 h 61"/>
                <a:gd name="T2" fmla="*/ 2147483647 w 8"/>
                <a:gd name="T3" fmla="*/ 2147483647 h 61"/>
                <a:gd name="T4" fmla="*/ 0 w 8"/>
                <a:gd name="T5" fmla="*/ 2147483647 h 61"/>
                <a:gd name="T6" fmla="*/ 2147483647 w 8"/>
                <a:gd name="T7" fmla="*/ 2147483647 h 61"/>
                <a:gd name="T8" fmla="*/ 2147483647 w 8"/>
                <a:gd name="T9" fmla="*/ 2147483647 h 61"/>
                <a:gd name="T10" fmla="*/ 2147483647 w 8"/>
                <a:gd name="T11" fmla="*/ 2147483647 h 61"/>
                <a:gd name="T12" fmla="*/ 2147483647 w 8"/>
                <a:gd name="T13" fmla="*/ 2147483647 h 61"/>
                <a:gd name="T14" fmla="*/ 2147483647 w 8"/>
                <a:gd name="T15" fmla="*/ 2147483647 h 61"/>
                <a:gd name="T16" fmla="*/ 2147483647 w 8"/>
                <a:gd name="T17" fmla="*/ 2147483647 h 61"/>
                <a:gd name="T18" fmla="*/ 2147483647 w 8"/>
                <a:gd name="T19" fmla="*/ 2147483647 h 61"/>
                <a:gd name="T20" fmla="*/ 2147483647 w 8"/>
                <a:gd name="T21" fmla="*/ 2147483647 h 61"/>
                <a:gd name="T22" fmla="*/ 2147483647 w 8"/>
                <a:gd name="T23" fmla="*/ 2147483647 h 61"/>
                <a:gd name="T24" fmla="*/ 2147483647 w 8"/>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61"/>
                <a:gd name="T41" fmla="*/ 8 w 8"/>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61">
                  <a:moveTo>
                    <a:pt x="2" y="0"/>
                  </a:moveTo>
                  <a:lnTo>
                    <a:pt x="2" y="12"/>
                  </a:lnTo>
                  <a:lnTo>
                    <a:pt x="0" y="22"/>
                  </a:lnTo>
                  <a:lnTo>
                    <a:pt x="2" y="28"/>
                  </a:lnTo>
                  <a:lnTo>
                    <a:pt x="3" y="32"/>
                  </a:lnTo>
                  <a:lnTo>
                    <a:pt x="5" y="34"/>
                  </a:lnTo>
                  <a:lnTo>
                    <a:pt x="7" y="38"/>
                  </a:lnTo>
                  <a:lnTo>
                    <a:pt x="8" y="40"/>
                  </a:lnTo>
                  <a:lnTo>
                    <a:pt x="8" y="47"/>
                  </a:lnTo>
                  <a:lnTo>
                    <a:pt x="8" y="52"/>
                  </a:lnTo>
                  <a:lnTo>
                    <a:pt x="8" y="57"/>
                  </a:lnTo>
                  <a:lnTo>
                    <a:pt x="7" y="61"/>
                  </a:lnTo>
                  <a:lnTo>
                    <a:pt x="2"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1" name="Freeform 1330"/>
            <p:cNvSpPr>
              <a:spLocks/>
            </p:cNvSpPr>
            <p:nvPr/>
          </p:nvSpPr>
          <p:spPr bwMode="auto">
            <a:xfrm>
              <a:off x="5089529" y="2357439"/>
              <a:ext cx="11113" cy="98425"/>
            </a:xfrm>
            <a:custGeom>
              <a:avLst/>
              <a:gdLst>
                <a:gd name="T0" fmla="*/ 2147483647 w 8"/>
                <a:gd name="T1" fmla="*/ 0 h 62"/>
                <a:gd name="T2" fmla="*/ 2147483647 w 8"/>
                <a:gd name="T3" fmla="*/ 0 h 62"/>
                <a:gd name="T4" fmla="*/ 2147483647 w 8"/>
                <a:gd name="T5" fmla="*/ 2147483647 h 62"/>
                <a:gd name="T6" fmla="*/ 2147483647 w 8"/>
                <a:gd name="T7" fmla="*/ 2147483647 h 62"/>
                <a:gd name="T8" fmla="*/ 0 w 8"/>
                <a:gd name="T9" fmla="*/ 2147483647 h 62"/>
                <a:gd name="T10" fmla="*/ 2147483647 w 8"/>
                <a:gd name="T11" fmla="*/ 2147483647 h 62"/>
                <a:gd name="T12" fmla="*/ 2147483647 w 8"/>
                <a:gd name="T13" fmla="*/ 2147483647 h 62"/>
                <a:gd name="T14" fmla="*/ 2147483647 w 8"/>
                <a:gd name="T15" fmla="*/ 2147483647 h 62"/>
                <a:gd name="T16" fmla="*/ 2147483647 w 8"/>
                <a:gd name="T17" fmla="*/ 2147483647 h 62"/>
                <a:gd name="T18" fmla="*/ 2147483647 w 8"/>
                <a:gd name="T19" fmla="*/ 2147483647 h 62"/>
                <a:gd name="T20" fmla="*/ 2147483647 w 8"/>
                <a:gd name="T21" fmla="*/ 2147483647 h 62"/>
                <a:gd name="T22" fmla="*/ 2147483647 w 8"/>
                <a:gd name="T23" fmla="*/ 2147483647 h 62"/>
                <a:gd name="T24" fmla="*/ 2147483647 w 8"/>
                <a:gd name="T25" fmla="*/ 2147483647 h 62"/>
                <a:gd name="T26" fmla="*/ 2147483647 w 8"/>
                <a:gd name="T27" fmla="*/ 2147483647 h 62"/>
                <a:gd name="T28" fmla="*/ 2147483647 w 8"/>
                <a:gd name="T29" fmla="*/ 2147483647 h 62"/>
                <a:gd name="T30" fmla="*/ 2147483647 w 8"/>
                <a:gd name="T31" fmla="*/ 2147483647 h 62"/>
                <a:gd name="T32" fmla="*/ 2147483647 w 8"/>
                <a:gd name="T33" fmla="*/ 2147483647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62"/>
                <a:gd name="T53" fmla="*/ 8 w 8"/>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62">
                  <a:moveTo>
                    <a:pt x="1" y="0"/>
                  </a:moveTo>
                  <a:lnTo>
                    <a:pt x="1" y="0"/>
                  </a:lnTo>
                  <a:lnTo>
                    <a:pt x="1" y="12"/>
                  </a:lnTo>
                  <a:lnTo>
                    <a:pt x="0" y="23"/>
                  </a:lnTo>
                  <a:lnTo>
                    <a:pt x="1" y="29"/>
                  </a:lnTo>
                  <a:lnTo>
                    <a:pt x="3" y="33"/>
                  </a:lnTo>
                  <a:lnTo>
                    <a:pt x="5" y="35"/>
                  </a:lnTo>
                  <a:lnTo>
                    <a:pt x="6" y="38"/>
                  </a:lnTo>
                  <a:lnTo>
                    <a:pt x="8" y="41"/>
                  </a:lnTo>
                  <a:lnTo>
                    <a:pt x="8" y="48"/>
                  </a:lnTo>
                  <a:lnTo>
                    <a:pt x="8" y="53"/>
                  </a:lnTo>
                  <a:lnTo>
                    <a:pt x="8" y="57"/>
                  </a:lnTo>
                  <a:lnTo>
                    <a:pt x="6" y="62"/>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2" name="Freeform 1331"/>
            <p:cNvSpPr>
              <a:spLocks/>
            </p:cNvSpPr>
            <p:nvPr/>
          </p:nvSpPr>
          <p:spPr bwMode="auto">
            <a:xfrm>
              <a:off x="5011741" y="2817816"/>
              <a:ext cx="104775" cy="84137"/>
            </a:xfrm>
            <a:custGeom>
              <a:avLst/>
              <a:gdLst>
                <a:gd name="T0" fmla="*/ 2147483647 w 72"/>
                <a:gd name="T1" fmla="*/ 2147483647 h 53"/>
                <a:gd name="T2" fmla="*/ 2147483647 w 72"/>
                <a:gd name="T3" fmla="*/ 2147483647 h 53"/>
                <a:gd name="T4" fmla="*/ 2147483647 w 72"/>
                <a:gd name="T5" fmla="*/ 2147483647 h 53"/>
                <a:gd name="T6" fmla="*/ 2147483647 w 72"/>
                <a:gd name="T7" fmla="*/ 2147483647 h 53"/>
                <a:gd name="T8" fmla="*/ 2147483647 w 72"/>
                <a:gd name="T9" fmla="*/ 2147483647 h 53"/>
                <a:gd name="T10" fmla="*/ 2147483647 w 72"/>
                <a:gd name="T11" fmla="*/ 2147483647 h 53"/>
                <a:gd name="T12" fmla="*/ 2147483647 w 72"/>
                <a:gd name="T13" fmla="*/ 2147483647 h 53"/>
                <a:gd name="T14" fmla="*/ 2147483647 w 72"/>
                <a:gd name="T15" fmla="*/ 2147483647 h 53"/>
                <a:gd name="T16" fmla="*/ 2147483647 w 72"/>
                <a:gd name="T17" fmla="*/ 2147483647 h 53"/>
                <a:gd name="T18" fmla="*/ 2147483647 w 72"/>
                <a:gd name="T19" fmla="*/ 2147483647 h 53"/>
                <a:gd name="T20" fmla="*/ 2147483647 w 72"/>
                <a:gd name="T21" fmla="*/ 2147483647 h 53"/>
                <a:gd name="T22" fmla="*/ 2147483647 w 72"/>
                <a:gd name="T23" fmla="*/ 2147483647 h 53"/>
                <a:gd name="T24" fmla="*/ 2147483647 w 72"/>
                <a:gd name="T25" fmla="*/ 2147483647 h 53"/>
                <a:gd name="T26" fmla="*/ 2147483647 w 72"/>
                <a:gd name="T27" fmla="*/ 2147483647 h 53"/>
                <a:gd name="T28" fmla="*/ 2147483647 w 72"/>
                <a:gd name="T29" fmla="*/ 2147483647 h 53"/>
                <a:gd name="T30" fmla="*/ 2147483647 w 72"/>
                <a:gd name="T31" fmla="*/ 2147483647 h 53"/>
                <a:gd name="T32" fmla="*/ 2147483647 w 72"/>
                <a:gd name="T33" fmla="*/ 2147483647 h 53"/>
                <a:gd name="T34" fmla="*/ 2147483647 w 72"/>
                <a:gd name="T35" fmla="*/ 2147483647 h 53"/>
                <a:gd name="T36" fmla="*/ 2147483647 w 72"/>
                <a:gd name="T37" fmla="*/ 2147483647 h 53"/>
                <a:gd name="T38" fmla="*/ 2147483647 w 72"/>
                <a:gd name="T39" fmla="*/ 2147483647 h 53"/>
                <a:gd name="T40" fmla="*/ 2147483647 w 72"/>
                <a:gd name="T41" fmla="*/ 2147483647 h 53"/>
                <a:gd name="T42" fmla="*/ 2147483647 w 72"/>
                <a:gd name="T43" fmla="*/ 2147483647 h 53"/>
                <a:gd name="T44" fmla="*/ 2147483647 w 72"/>
                <a:gd name="T45" fmla="*/ 2147483647 h 53"/>
                <a:gd name="T46" fmla="*/ 2147483647 w 72"/>
                <a:gd name="T47" fmla="*/ 2147483647 h 53"/>
                <a:gd name="T48" fmla="*/ 2147483647 w 72"/>
                <a:gd name="T49" fmla="*/ 2147483647 h 53"/>
                <a:gd name="T50" fmla="*/ 2147483647 w 72"/>
                <a:gd name="T51" fmla="*/ 2147483647 h 53"/>
                <a:gd name="T52" fmla="*/ 2147483647 w 72"/>
                <a:gd name="T53" fmla="*/ 2147483647 h 53"/>
                <a:gd name="T54" fmla="*/ 2147483647 w 72"/>
                <a:gd name="T55" fmla="*/ 2147483647 h 53"/>
                <a:gd name="T56" fmla="*/ 2147483647 w 72"/>
                <a:gd name="T57" fmla="*/ 2147483647 h 53"/>
                <a:gd name="T58" fmla="*/ 2147483647 w 72"/>
                <a:gd name="T59" fmla="*/ 2147483647 h 53"/>
                <a:gd name="T60" fmla="*/ 2147483647 w 72"/>
                <a:gd name="T61" fmla="*/ 0 h 53"/>
                <a:gd name="T62" fmla="*/ 2147483647 w 72"/>
                <a:gd name="T63" fmla="*/ 0 h 53"/>
                <a:gd name="T64" fmla="*/ 2147483647 w 72"/>
                <a:gd name="T65" fmla="*/ 0 h 53"/>
                <a:gd name="T66" fmla="*/ 2147483647 w 72"/>
                <a:gd name="T67" fmla="*/ 2147483647 h 53"/>
                <a:gd name="T68" fmla="*/ 2147483647 w 72"/>
                <a:gd name="T69" fmla="*/ 2147483647 h 53"/>
                <a:gd name="T70" fmla="*/ 0 w 72"/>
                <a:gd name="T71" fmla="*/ 2147483647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
                <a:gd name="T109" fmla="*/ 0 h 53"/>
                <a:gd name="T110" fmla="*/ 72 w 72"/>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 h="53">
                  <a:moveTo>
                    <a:pt x="24" y="53"/>
                  </a:moveTo>
                  <a:lnTo>
                    <a:pt x="24" y="53"/>
                  </a:lnTo>
                  <a:lnTo>
                    <a:pt x="33" y="48"/>
                  </a:lnTo>
                  <a:lnTo>
                    <a:pt x="40" y="42"/>
                  </a:lnTo>
                  <a:lnTo>
                    <a:pt x="45" y="38"/>
                  </a:lnTo>
                  <a:lnTo>
                    <a:pt x="45" y="31"/>
                  </a:lnTo>
                  <a:lnTo>
                    <a:pt x="47" y="26"/>
                  </a:lnTo>
                  <a:lnTo>
                    <a:pt x="48" y="25"/>
                  </a:lnTo>
                  <a:lnTo>
                    <a:pt x="49" y="23"/>
                  </a:lnTo>
                  <a:lnTo>
                    <a:pt x="52" y="26"/>
                  </a:lnTo>
                  <a:lnTo>
                    <a:pt x="57" y="29"/>
                  </a:lnTo>
                  <a:lnTo>
                    <a:pt x="62" y="33"/>
                  </a:lnTo>
                  <a:lnTo>
                    <a:pt x="67" y="34"/>
                  </a:lnTo>
                  <a:lnTo>
                    <a:pt x="70" y="35"/>
                  </a:lnTo>
                  <a:lnTo>
                    <a:pt x="72" y="38"/>
                  </a:lnTo>
                  <a:lnTo>
                    <a:pt x="72" y="37"/>
                  </a:lnTo>
                  <a:lnTo>
                    <a:pt x="71" y="29"/>
                  </a:lnTo>
                  <a:lnTo>
                    <a:pt x="68" y="22"/>
                  </a:lnTo>
                  <a:lnTo>
                    <a:pt x="66" y="19"/>
                  </a:lnTo>
                  <a:lnTo>
                    <a:pt x="62" y="18"/>
                  </a:lnTo>
                  <a:lnTo>
                    <a:pt x="58" y="14"/>
                  </a:lnTo>
                  <a:lnTo>
                    <a:pt x="54" y="9"/>
                  </a:lnTo>
                  <a:lnTo>
                    <a:pt x="52" y="6"/>
                  </a:lnTo>
                  <a:lnTo>
                    <a:pt x="49" y="2"/>
                  </a:lnTo>
                  <a:lnTo>
                    <a:pt x="47" y="0"/>
                  </a:lnTo>
                  <a:lnTo>
                    <a:pt x="43" y="0"/>
                  </a:lnTo>
                  <a:lnTo>
                    <a:pt x="37" y="1"/>
                  </a:lnTo>
                  <a:lnTo>
                    <a:pt x="21" y="3"/>
                  </a:lnTo>
                  <a:lnTo>
                    <a:pt x="0" y="7"/>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3" name="Freeform 1332"/>
            <p:cNvSpPr>
              <a:spLocks/>
            </p:cNvSpPr>
            <p:nvPr/>
          </p:nvSpPr>
          <p:spPr bwMode="auto">
            <a:xfrm>
              <a:off x="4964117" y="2636842"/>
              <a:ext cx="384175" cy="217487"/>
            </a:xfrm>
            <a:custGeom>
              <a:avLst/>
              <a:gdLst>
                <a:gd name="T0" fmla="*/ 0 w 262"/>
                <a:gd name="T1" fmla="*/ 2147483647 h 137"/>
                <a:gd name="T2" fmla="*/ 2147483647 w 262"/>
                <a:gd name="T3" fmla="*/ 2147483647 h 137"/>
                <a:gd name="T4" fmla="*/ 2147483647 w 262"/>
                <a:gd name="T5" fmla="*/ 2147483647 h 137"/>
                <a:gd name="T6" fmla="*/ 2147483647 w 262"/>
                <a:gd name="T7" fmla="*/ 2147483647 h 137"/>
                <a:gd name="T8" fmla="*/ 2147483647 w 262"/>
                <a:gd name="T9" fmla="*/ 2147483647 h 137"/>
                <a:gd name="T10" fmla="*/ 2147483647 w 262"/>
                <a:gd name="T11" fmla="*/ 2147483647 h 137"/>
                <a:gd name="T12" fmla="*/ 2147483647 w 262"/>
                <a:gd name="T13" fmla="*/ 2147483647 h 137"/>
                <a:gd name="T14" fmla="*/ 2147483647 w 262"/>
                <a:gd name="T15" fmla="*/ 2147483647 h 137"/>
                <a:gd name="T16" fmla="*/ 2147483647 w 262"/>
                <a:gd name="T17" fmla="*/ 2147483647 h 137"/>
                <a:gd name="T18" fmla="*/ 2147483647 w 262"/>
                <a:gd name="T19" fmla="*/ 2147483647 h 137"/>
                <a:gd name="T20" fmla="*/ 2147483647 w 262"/>
                <a:gd name="T21" fmla="*/ 2147483647 h 137"/>
                <a:gd name="T22" fmla="*/ 2147483647 w 262"/>
                <a:gd name="T23" fmla="*/ 2147483647 h 137"/>
                <a:gd name="T24" fmla="*/ 2147483647 w 262"/>
                <a:gd name="T25" fmla="*/ 2147483647 h 137"/>
                <a:gd name="T26" fmla="*/ 2147483647 w 262"/>
                <a:gd name="T27" fmla="*/ 2147483647 h 137"/>
                <a:gd name="T28" fmla="*/ 2147483647 w 262"/>
                <a:gd name="T29" fmla="*/ 2147483647 h 137"/>
                <a:gd name="T30" fmla="*/ 2147483647 w 262"/>
                <a:gd name="T31" fmla="*/ 2147483647 h 137"/>
                <a:gd name="T32" fmla="*/ 2147483647 w 262"/>
                <a:gd name="T33" fmla="*/ 0 h 137"/>
                <a:gd name="T34" fmla="*/ 2147483647 w 262"/>
                <a:gd name="T35" fmla="*/ 2147483647 h 137"/>
                <a:gd name="T36" fmla="*/ 2147483647 w 262"/>
                <a:gd name="T37" fmla="*/ 2147483647 h 137"/>
                <a:gd name="T38" fmla="*/ 2147483647 w 262"/>
                <a:gd name="T39" fmla="*/ 2147483647 h 137"/>
                <a:gd name="T40" fmla="*/ 2147483647 w 262"/>
                <a:gd name="T41" fmla="*/ 0 h 137"/>
                <a:gd name="T42" fmla="*/ 2147483647 w 262"/>
                <a:gd name="T43" fmla="*/ 2147483647 h 137"/>
                <a:gd name="T44" fmla="*/ 2147483647 w 262"/>
                <a:gd name="T45" fmla="*/ 2147483647 h 137"/>
                <a:gd name="T46" fmla="*/ 2147483647 w 262"/>
                <a:gd name="T47" fmla="*/ 2147483647 h 137"/>
                <a:gd name="T48" fmla="*/ 2147483647 w 262"/>
                <a:gd name="T49" fmla="*/ 2147483647 h 137"/>
                <a:gd name="T50" fmla="*/ 2147483647 w 262"/>
                <a:gd name="T51" fmla="*/ 2147483647 h 137"/>
                <a:gd name="T52" fmla="*/ 2147483647 w 262"/>
                <a:gd name="T53" fmla="*/ 2147483647 h 137"/>
                <a:gd name="T54" fmla="*/ 2147483647 w 262"/>
                <a:gd name="T55" fmla="*/ 2147483647 h 137"/>
                <a:gd name="T56" fmla="*/ 2147483647 w 262"/>
                <a:gd name="T57" fmla="*/ 2147483647 h 137"/>
                <a:gd name="T58" fmla="*/ 2147483647 w 262"/>
                <a:gd name="T59" fmla="*/ 2147483647 h 137"/>
                <a:gd name="T60" fmla="*/ 2147483647 w 262"/>
                <a:gd name="T61" fmla="*/ 2147483647 h 137"/>
                <a:gd name="T62" fmla="*/ 2147483647 w 262"/>
                <a:gd name="T63" fmla="*/ 2147483647 h 137"/>
                <a:gd name="T64" fmla="*/ 2147483647 w 262"/>
                <a:gd name="T65" fmla="*/ 2147483647 h 137"/>
                <a:gd name="T66" fmla="*/ 2147483647 w 262"/>
                <a:gd name="T67" fmla="*/ 2147483647 h 137"/>
                <a:gd name="T68" fmla="*/ 2147483647 w 262"/>
                <a:gd name="T69" fmla="*/ 2147483647 h 137"/>
                <a:gd name="T70" fmla="*/ 2147483647 w 262"/>
                <a:gd name="T71" fmla="*/ 2147483647 h 137"/>
                <a:gd name="T72" fmla="*/ 2147483647 w 262"/>
                <a:gd name="T73" fmla="*/ 2147483647 h 137"/>
                <a:gd name="T74" fmla="*/ 2147483647 w 262"/>
                <a:gd name="T75" fmla="*/ 2147483647 h 137"/>
                <a:gd name="T76" fmla="*/ 2147483647 w 262"/>
                <a:gd name="T77" fmla="*/ 2147483647 h 137"/>
                <a:gd name="T78" fmla="*/ 2147483647 w 262"/>
                <a:gd name="T79" fmla="*/ 2147483647 h 137"/>
                <a:gd name="T80" fmla="*/ 2147483647 w 262"/>
                <a:gd name="T81" fmla="*/ 2147483647 h 137"/>
                <a:gd name="T82" fmla="*/ 2147483647 w 262"/>
                <a:gd name="T83" fmla="*/ 2147483647 h 137"/>
                <a:gd name="T84" fmla="*/ 2147483647 w 262"/>
                <a:gd name="T85" fmla="*/ 2147483647 h 1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2"/>
                <a:gd name="T130" fmla="*/ 0 h 137"/>
                <a:gd name="T131" fmla="*/ 262 w 262"/>
                <a:gd name="T132" fmla="*/ 137 h 1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2" h="137">
                  <a:moveTo>
                    <a:pt x="0" y="20"/>
                  </a:moveTo>
                  <a:lnTo>
                    <a:pt x="0" y="20"/>
                  </a:lnTo>
                  <a:lnTo>
                    <a:pt x="2" y="22"/>
                  </a:lnTo>
                  <a:lnTo>
                    <a:pt x="5" y="24"/>
                  </a:lnTo>
                  <a:lnTo>
                    <a:pt x="9" y="24"/>
                  </a:lnTo>
                  <a:lnTo>
                    <a:pt x="13" y="22"/>
                  </a:lnTo>
                  <a:lnTo>
                    <a:pt x="19" y="19"/>
                  </a:lnTo>
                  <a:lnTo>
                    <a:pt x="27" y="17"/>
                  </a:lnTo>
                  <a:lnTo>
                    <a:pt x="30" y="15"/>
                  </a:lnTo>
                  <a:lnTo>
                    <a:pt x="34" y="17"/>
                  </a:lnTo>
                  <a:lnTo>
                    <a:pt x="38" y="18"/>
                  </a:lnTo>
                  <a:lnTo>
                    <a:pt x="44" y="18"/>
                  </a:lnTo>
                  <a:lnTo>
                    <a:pt x="58" y="18"/>
                  </a:lnTo>
                  <a:lnTo>
                    <a:pt x="77" y="15"/>
                  </a:lnTo>
                  <a:lnTo>
                    <a:pt x="99" y="20"/>
                  </a:lnTo>
                  <a:lnTo>
                    <a:pt x="114" y="21"/>
                  </a:lnTo>
                  <a:lnTo>
                    <a:pt x="121" y="21"/>
                  </a:lnTo>
                  <a:lnTo>
                    <a:pt x="128" y="19"/>
                  </a:lnTo>
                  <a:lnTo>
                    <a:pt x="131" y="17"/>
                  </a:lnTo>
                  <a:lnTo>
                    <a:pt x="133" y="11"/>
                  </a:lnTo>
                  <a:lnTo>
                    <a:pt x="137" y="6"/>
                  </a:lnTo>
                  <a:lnTo>
                    <a:pt x="138" y="5"/>
                  </a:lnTo>
                  <a:lnTo>
                    <a:pt x="141" y="4"/>
                  </a:lnTo>
                  <a:lnTo>
                    <a:pt x="150" y="4"/>
                  </a:lnTo>
                  <a:lnTo>
                    <a:pt x="156" y="4"/>
                  </a:lnTo>
                  <a:lnTo>
                    <a:pt x="162" y="1"/>
                  </a:lnTo>
                  <a:lnTo>
                    <a:pt x="166" y="0"/>
                  </a:lnTo>
                  <a:lnTo>
                    <a:pt x="169" y="0"/>
                  </a:lnTo>
                  <a:lnTo>
                    <a:pt x="171" y="2"/>
                  </a:lnTo>
                  <a:lnTo>
                    <a:pt x="173" y="4"/>
                  </a:lnTo>
                  <a:lnTo>
                    <a:pt x="176" y="7"/>
                  </a:lnTo>
                  <a:lnTo>
                    <a:pt x="178" y="7"/>
                  </a:lnTo>
                  <a:lnTo>
                    <a:pt x="180" y="4"/>
                  </a:lnTo>
                  <a:lnTo>
                    <a:pt x="182" y="1"/>
                  </a:lnTo>
                  <a:lnTo>
                    <a:pt x="183" y="0"/>
                  </a:lnTo>
                  <a:lnTo>
                    <a:pt x="185" y="0"/>
                  </a:lnTo>
                  <a:lnTo>
                    <a:pt x="187" y="1"/>
                  </a:lnTo>
                  <a:lnTo>
                    <a:pt x="190" y="4"/>
                  </a:lnTo>
                  <a:lnTo>
                    <a:pt x="193" y="5"/>
                  </a:lnTo>
                  <a:lnTo>
                    <a:pt x="194" y="4"/>
                  </a:lnTo>
                  <a:lnTo>
                    <a:pt x="198" y="4"/>
                  </a:lnTo>
                  <a:lnTo>
                    <a:pt x="203" y="4"/>
                  </a:lnTo>
                  <a:lnTo>
                    <a:pt x="208" y="4"/>
                  </a:lnTo>
                  <a:lnTo>
                    <a:pt x="212" y="5"/>
                  </a:lnTo>
                  <a:lnTo>
                    <a:pt x="213" y="7"/>
                  </a:lnTo>
                  <a:lnTo>
                    <a:pt x="216" y="11"/>
                  </a:lnTo>
                  <a:lnTo>
                    <a:pt x="221" y="18"/>
                  </a:lnTo>
                  <a:lnTo>
                    <a:pt x="222" y="21"/>
                  </a:lnTo>
                  <a:lnTo>
                    <a:pt x="225" y="27"/>
                  </a:lnTo>
                  <a:lnTo>
                    <a:pt x="227" y="30"/>
                  </a:lnTo>
                  <a:lnTo>
                    <a:pt x="231" y="33"/>
                  </a:lnTo>
                  <a:lnTo>
                    <a:pt x="235" y="36"/>
                  </a:lnTo>
                  <a:lnTo>
                    <a:pt x="241" y="38"/>
                  </a:lnTo>
                  <a:lnTo>
                    <a:pt x="248" y="40"/>
                  </a:lnTo>
                  <a:lnTo>
                    <a:pt x="251" y="43"/>
                  </a:lnTo>
                  <a:lnTo>
                    <a:pt x="255" y="46"/>
                  </a:lnTo>
                  <a:lnTo>
                    <a:pt x="256" y="49"/>
                  </a:lnTo>
                  <a:lnTo>
                    <a:pt x="258" y="51"/>
                  </a:lnTo>
                  <a:lnTo>
                    <a:pt x="258" y="54"/>
                  </a:lnTo>
                  <a:lnTo>
                    <a:pt x="258" y="62"/>
                  </a:lnTo>
                  <a:lnTo>
                    <a:pt x="258" y="71"/>
                  </a:lnTo>
                  <a:lnTo>
                    <a:pt x="260" y="81"/>
                  </a:lnTo>
                  <a:lnTo>
                    <a:pt x="262" y="90"/>
                  </a:lnTo>
                  <a:lnTo>
                    <a:pt x="262" y="100"/>
                  </a:lnTo>
                  <a:lnTo>
                    <a:pt x="259" y="108"/>
                  </a:lnTo>
                  <a:lnTo>
                    <a:pt x="258" y="113"/>
                  </a:lnTo>
                  <a:lnTo>
                    <a:pt x="254" y="116"/>
                  </a:lnTo>
                  <a:lnTo>
                    <a:pt x="248" y="120"/>
                  </a:lnTo>
                  <a:lnTo>
                    <a:pt x="245" y="122"/>
                  </a:lnTo>
                  <a:lnTo>
                    <a:pt x="245" y="124"/>
                  </a:lnTo>
                  <a:lnTo>
                    <a:pt x="246" y="130"/>
                  </a:lnTo>
                  <a:lnTo>
                    <a:pt x="249" y="137"/>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4" name="Freeform 1333"/>
            <p:cNvSpPr>
              <a:spLocks/>
            </p:cNvSpPr>
            <p:nvPr/>
          </p:nvSpPr>
          <p:spPr bwMode="auto">
            <a:xfrm>
              <a:off x="4957766" y="2546350"/>
              <a:ext cx="90487" cy="57150"/>
            </a:xfrm>
            <a:custGeom>
              <a:avLst/>
              <a:gdLst>
                <a:gd name="T0" fmla="*/ 2147483647 w 62"/>
                <a:gd name="T1" fmla="*/ 0 h 36"/>
                <a:gd name="T2" fmla="*/ 2147483647 w 62"/>
                <a:gd name="T3" fmla="*/ 2147483647 h 36"/>
                <a:gd name="T4" fmla="*/ 2147483647 w 62"/>
                <a:gd name="T5" fmla="*/ 2147483647 h 36"/>
                <a:gd name="T6" fmla="*/ 2147483647 w 62"/>
                <a:gd name="T7" fmla="*/ 2147483647 h 36"/>
                <a:gd name="T8" fmla="*/ 2147483647 w 62"/>
                <a:gd name="T9" fmla="*/ 2147483647 h 36"/>
                <a:gd name="T10" fmla="*/ 2147483647 w 62"/>
                <a:gd name="T11" fmla="*/ 2147483647 h 36"/>
                <a:gd name="T12" fmla="*/ 2147483647 w 62"/>
                <a:gd name="T13" fmla="*/ 2147483647 h 36"/>
                <a:gd name="T14" fmla="*/ 2147483647 w 62"/>
                <a:gd name="T15" fmla="*/ 2147483647 h 36"/>
                <a:gd name="T16" fmla="*/ 2147483647 w 62"/>
                <a:gd name="T17" fmla="*/ 2147483647 h 36"/>
                <a:gd name="T18" fmla="*/ 2147483647 w 62"/>
                <a:gd name="T19" fmla="*/ 2147483647 h 36"/>
                <a:gd name="T20" fmla="*/ 2147483647 w 62"/>
                <a:gd name="T21" fmla="*/ 2147483647 h 36"/>
                <a:gd name="T22" fmla="*/ 2147483647 w 62"/>
                <a:gd name="T23" fmla="*/ 2147483647 h 36"/>
                <a:gd name="T24" fmla="*/ 2147483647 w 62"/>
                <a:gd name="T25" fmla="*/ 2147483647 h 36"/>
                <a:gd name="T26" fmla="*/ 2147483647 w 62"/>
                <a:gd name="T27" fmla="*/ 2147483647 h 36"/>
                <a:gd name="T28" fmla="*/ 2147483647 w 62"/>
                <a:gd name="T29" fmla="*/ 2147483647 h 36"/>
                <a:gd name="T30" fmla="*/ 2147483647 w 62"/>
                <a:gd name="T31" fmla="*/ 2147483647 h 36"/>
                <a:gd name="T32" fmla="*/ 2147483647 w 62"/>
                <a:gd name="T33" fmla="*/ 2147483647 h 36"/>
                <a:gd name="T34" fmla="*/ 2147483647 w 62"/>
                <a:gd name="T35" fmla="*/ 2147483647 h 36"/>
                <a:gd name="T36" fmla="*/ 2147483647 w 62"/>
                <a:gd name="T37" fmla="*/ 2147483647 h 36"/>
                <a:gd name="T38" fmla="*/ 2147483647 w 62"/>
                <a:gd name="T39" fmla="*/ 2147483647 h 36"/>
                <a:gd name="T40" fmla="*/ 2147483647 w 62"/>
                <a:gd name="T41" fmla="*/ 2147483647 h 36"/>
                <a:gd name="T42" fmla="*/ 2147483647 w 62"/>
                <a:gd name="T43" fmla="*/ 2147483647 h 36"/>
                <a:gd name="T44" fmla="*/ 2147483647 w 62"/>
                <a:gd name="T45" fmla="*/ 2147483647 h 36"/>
                <a:gd name="T46" fmla="*/ 2147483647 w 62"/>
                <a:gd name="T47" fmla="*/ 2147483647 h 36"/>
                <a:gd name="T48" fmla="*/ 2147483647 w 62"/>
                <a:gd name="T49" fmla="*/ 2147483647 h 36"/>
                <a:gd name="T50" fmla="*/ 2147483647 w 62"/>
                <a:gd name="T51" fmla="*/ 2147483647 h 36"/>
                <a:gd name="T52" fmla="*/ 2147483647 w 62"/>
                <a:gd name="T53" fmla="*/ 2147483647 h 36"/>
                <a:gd name="T54" fmla="*/ 2147483647 w 62"/>
                <a:gd name="T55" fmla="*/ 2147483647 h 36"/>
                <a:gd name="T56" fmla="*/ 2147483647 w 62"/>
                <a:gd name="T57" fmla="*/ 2147483647 h 36"/>
                <a:gd name="T58" fmla="*/ 2147483647 w 62"/>
                <a:gd name="T59" fmla="*/ 2147483647 h 36"/>
                <a:gd name="T60" fmla="*/ 2147483647 w 62"/>
                <a:gd name="T61" fmla="*/ 2147483647 h 36"/>
                <a:gd name="T62" fmla="*/ 2147483647 w 62"/>
                <a:gd name="T63" fmla="*/ 2147483647 h 36"/>
                <a:gd name="T64" fmla="*/ 2147483647 w 62"/>
                <a:gd name="T65" fmla="*/ 2147483647 h 36"/>
                <a:gd name="T66" fmla="*/ 2147483647 w 62"/>
                <a:gd name="T67" fmla="*/ 2147483647 h 36"/>
                <a:gd name="T68" fmla="*/ 2147483647 w 62"/>
                <a:gd name="T69" fmla="*/ 2147483647 h 36"/>
                <a:gd name="T70" fmla="*/ 0 w 62"/>
                <a:gd name="T71" fmla="*/ 2147483647 h 36"/>
                <a:gd name="T72" fmla="*/ 0 w 62"/>
                <a:gd name="T73" fmla="*/ 2147483647 h 36"/>
                <a:gd name="T74" fmla="*/ 2147483647 w 62"/>
                <a:gd name="T75" fmla="*/ 2147483647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2"/>
                <a:gd name="T115" fmla="*/ 0 h 36"/>
                <a:gd name="T116" fmla="*/ 62 w 62"/>
                <a:gd name="T117" fmla="*/ 36 h 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2" h="36">
                  <a:moveTo>
                    <a:pt x="62" y="0"/>
                  </a:moveTo>
                  <a:lnTo>
                    <a:pt x="54" y="11"/>
                  </a:lnTo>
                  <a:lnTo>
                    <a:pt x="54" y="12"/>
                  </a:lnTo>
                  <a:lnTo>
                    <a:pt x="53" y="13"/>
                  </a:lnTo>
                  <a:lnTo>
                    <a:pt x="52" y="14"/>
                  </a:lnTo>
                  <a:lnTo>
                    <a:pt x="51" y="17"/>
                  </a:lnTo>
                  <a:lnTo>
                    <a:pt x="51" y="18"/>
                  </a:lnTo>
                  <a:lnTo>
                    <a:pt x="49" y="19"/>
                  </a:lnTo>
                  <a:lnTo>
                    <a:pt x="49" y="21"/>
                  </a:lnTo>
                  <a:lnTo>
                    <a:pt x="48" y="21"/>
                  </a:lnTo>
                  <a:lnTo>
                    <a:pt x="47" y="21"/>
                  </a:lnTo>
                  <a:lnTo>
                    <a:pt x="47" y="23"/>
                  </a:lnTo>
                  <a:lnTo>
                    <a:pt x="46" y="26"/>
                  </a:lnTo>
                  <a:lnTo>
                    <a:pt x="47" y="30"/>
                  </a:lnTo>
                  <a:lnTo>
                    <a:pt x="47" y="33"/>
                  </a:lnTo>
                  <a:lnTo>
                    <a:pt x="46" y="34"/>
                  </a:lnTo>
                  <a:lnTo>
                    <a:pt x="43" y="36"/>
                  </a:lnTo>
                  <a:lnTo>
                    <a:pt x="38" y="36"/>
                  </a:lnTo>
                  <a:lnTo>
                    <a:pt x="34" y="34"/>
                  </a:lnTo>
                  <a:lnTo>
                    <a:pt x="33" y="33"/>
                  </a:lnTo>
                  <a:lnTo>
                    <a:pt x="32" y="32"/>
                  </a:lnTo>
                  <a:lnTo>
                    <a:pt x="30" y="31"/>
                  </a:lnTo>
                  <a:lnTo>
                    <a:pt x="30" y="30"/>
                  </a:lnTo>
                  <a:lnTo>
                    <a:pt x="29" y="30"/>
                  </a:lnTo>
                  <a:lnTo>
                    <a:pt x="24" y="30"/>
                  </a:lnTo>
                  <a:lnTo>
                    <a:pt x="10" y="31"/>
                  </a:lnTo>
                  <a:lnTo>
                    <a:pt x="1" y="32"/>
                  </a:lnTo>
                  <a:lnTo>
                    <a:pt x="0" y="33"/>
                  </a:lnTo>
                  <a:lnTo>
                    <a:pt x="0" y="34"/>
                  </a:lnTo>
                  <a:lnTo>
                    <a:pt x="2" y="34"/>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5" name="Freeform 1334"/>
            <p:cNvSpPr>
              <a:spLocks/>
            </p:cNvSpPr>
            <p:nvPr/>
          </p:nvSpPr>
          <p:spPr bwMode="auto">
            <a:xfrm>
              <a:off x="5114926" y="2505076"/>
              <a:ext cx="71438" cy="138113"/>
            </a:xfrm>
            <a:custGeom>
              <a:avLst/>
              <a:gdLst>
                <a:gd name="T0" fmla="*/ 0 w 49"/>
                <a:gd name="T1" fmla="*/ 0 h 87"/>
                <a:gd name="T2" fmla="*/ 2147483647 w 49"/>
                <a:gd name="T3" fmla="*/ 2147483647 h 87"/>
                <a:gd name="T4" fmla="*/ 2147483647 w 49"/>
                <a:gd name="T5" fmla="*/ 2147483647 h 87"/>
                <a:gd name="T6" fmla="*/ 2147483647 w 49"/>
                <a:gd name="T7" fmla="*/ 2147483647 h 87"/>
                <a:gd name="T8" fmla="*/ 2147483647 w 49"/>
                <a:gd name="T9" fmla="*/ 2147483647 h 87"/>
                <a:gd name="T10" fmla="*/ 2147483647 w 49"/>
                <a:gd name="T11" fmla="*/ 2147483647 h 87"/>
                <a:gd name="T12" fmla="*/ 2147483647 w 49"/>
                <a:gd name="T13" fmla="*/ 2147483647 h 87"/>
                <a:gd name="T14" fmla="*/ 2147483647 w 49"/>
                <a:gd name="T15" fmla="*/ 2147483647 h 87"/>
                <a:gd name="T16" fmla="*/ 2147483647 w 49"/>
                <a:gd name="T17" fmla="*/ 2147483647 h 87"/>
                <a:gd name="T18" fmla="*/ 2147483647 w 49"/>
                <a:gd name="T19" fmla="*/ 2147483647 h 87"/>
                <a:gd name="T20" fmla="*/ 2147483647 w 49"/>
                <a:gd name="T21" fmla="*/ 2147483647 h 87"/>
                <a:gd name="T22" fmla="*/ 2147483647 w 49"/>
                <a:gd name="T23" fmla="*/ 2147483647 h 87"/>
                <a:gd name="T24" fmla="*/ 2147483647 w 49"/>
                <a:gd name="T25" fmla="*/ 2147483647 h 87"/>
                <a:gd name="T26" fmla="*/ 2147483647 w 49"/>
                <a:gd name="T27" fmla="*/ 2147483647 h 87"/>
                <a:gd name="T28" fmla="*/ 2147483647 w 49"/>
                <a:gd name="T29" fmla="*/ 2147483647 h 87"/>
                <a:gd name="T30" fmla="*/ 2147483647 w 49"/>
                <a:gd name="T31" fmla="*/ 2147483647 h 87"/>
                <a:gd name="T32" fmla="*/ 2147483647 w 49"/>
                <a:gd name="T33" fmla="*/ 2147483647 h 87"/>
                <a:gd name="T34" fmla="*/ 2147483647 w 49"/>
                <a:gd name="T35" fmla="*/ 2147483647 h 87"/>
                <a:gd name="T36" fmla="*/ 2147483647 w 49"/>
                <a:gd name="T37" fmla="*/ 2147483647 h 87"/>
                <a:gd name="T38" fmla="*/ 2147483647 w 49"/>
                <a:gd name="T39" fmla="*/ 2147483647 h 87"/>
                <a:gd name="T40" fmla="*/ 2147483647 w 49"/>
                <a:gd name="T41" fmla="*/ 2147483647 h 87"/>
                <a:gd name="T42" fmla="*/ 2147483647 w 49"/>
                <a:gd name="T43" fmla="*/ 2147483647 h 87"/>
                <a:gd name="T44" fmla="*/ 2147483647 w 49"/>
                <a:gd name="T45" fmla="*/ 2147483647 h 87"/>
                <a:gd name="T46" fmla="*/ 2147483647 w 49"/>
                <a:gd name="T47" fmla="*/ 2147483647 h 87"/>
                <a:gd name="T48" fmla="*/ 2147483647 w 49"/>
                <a:gd name="T49" fmla="*/ 2147483647 h 87"/>
                <a:gd name="T50" fmla="*/ 2147483647 w 49"/>
                <a:gd name="T51" fmla="*/ 2147483647 h 87"/>
                <a:gd name="T52" fmla="*/ 2147483647 w 49"/>
                <a:gd name="T53" fmla="*/ 2147483647 h 87"/>
                <a:gd name="T54" fmla="*/ 2147483647 w 49"/>
                <a:gd name="T55" fmla="*/ 2147483647 h 87"/>
                <a:gd name="T56" fmla="*/ 0 w 49"/>
                <a:gd name="T57" fmla="*/ 0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
                <a:gd name="T88" fmla="*/ 0 h 87"/>
                <a:gd name="T89" fmla="*/ 49 w 4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 h="87">
                  <a:moveTo>
                    <a:pt x="0" y="0"/>
                  </a:moveTo>
                  <a:lnTo>
                    <a:pt x="3" y="2"/>
                  </a:lnTo>
                  <a:lnTo>
                    <a:pt x="8" y="5"/>
                  </a:lnTo>
                  <a:lnTo>
                    <a:pt x="11" y="7"/>
                  </a:lnTo>
                  <a:lnTo>
                    <a:pt x="13" y="11"/>
                  </a:lnTo>
                  <a:lnTo>
                    <a:pt x="16" y="18"/>
                  </a:lnTo>
                  <a:lnTo>
                    <a:pt x="17" y="22"/>
                  </a:lnTo>
                  <a:lnTo>
                    <a:pt x="17" y="30"/>
                  </a:lnTo>
                  <a:lnTo>
                    <a:pt x="17" y="31"/>
                  </a:lnTo>
                  <a:lnTo>
                    <a:pt x="20" y="32"/>
                  </a:lnTo>
                  <a:lnTo>
                    <a:pt x="24" y="32"/>
                  </a:lnTo>
                  <a:lnTo>
                    <a:pt x="29" y="36"/>
                  </a:lnTo>
                  <a:lnTo>
                    <a:pt x="39" y="43"/>
                  </a:lnTo>
                  <a:lnTo>
                    <a:pt x="41" y="44"/>
                  </a:lnTo>
                  <a:lnTo>
                    <a:pt x="43" y="44"/>
                  </a:lnTo>
                  <a:lnTo>
                    <a:pt x="47" y="45"/>
                  </a:lnTo>
                  <a:lnTo>
                    <a:pt x="48" y="45"/>
                  </a:lnTo>
                  <a:lnTo>
                    <a:pt x="49" y="47"/>
                  </a:lnTo>
                  <a:lnTo>
                    <a:pt x="49" y="50"/>
                  </a:lnTo>
                  <a:lnTo>
                    <a:pt x="48" y="52"/>
                  </a:lnTo>
                  <a:lnTo>
                    <a:pt x="47" y="52"/>
                  </a:lnTo>
                  <a:lnTo>
                    <a:pt x="47" y="53"/>
                  </a:lnTo>
                  <a:lnTo>
                    <a:pt x="44" y="57"/>
                  </a:lnTo>
                  <a:lnTo>
                    <a:pt x="41" y="66"/>
                  </a:lnTo>
                  <a:lnTo>
                    <a:pt x="41" y="70"/>
                  </a:lnTo>
                  <a:lnTo>
                    <a:pt x="44" y="75"/>
                  </a:lnTo>
                  <a:lnTo>
                    <a:pt x="48" y="82"/>
                  </a:lnTo>
                  <a:lnTo>
                    <a:pt x="49" y="87"/>
                  </a:lnTo>
                  <a:lnTo>
                    <a:pt x="0"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6" name="Freeform 1335"/>
            <p:cNvSpPr>
              <a:spLocks/>
            </p:cNvSpPr>
            <p:nvPr/>
          </p:nvSpPr>
          <p:spPr bwMode="auto">
            <a:xfrm>
              <a:off x="5084764" y="4525965"/>
              <a:ext cx="61912" cy="161924"/>
            </a:xfrm>
            <a:custGeom>
              <a:avLst/>
              <a:gdLst>
                <a:gd name="T0" fmla="*/ 2147483647 w 42"/>
                <a:gd name="T1" fmla="*/ 2147483647 h 102"/>
                <a:gd name="T2" fmla="*/ 2147483647 w 42"/>
                <a:gd name="T3" fmla="*/ 2147483647 h 102"/>
                <a:gd name="T4" fmla="*/ 2147483647 w 42"/>
                <a:gd name="T5" fmla="*/ 2147483647 h 102"/>
                <a:gd name="T6" fmla="*/ 2147483647 w 42"/>
                <a:gd name="T7" fmla="*/ 2147483647 h 102"/>
                <a:gd name="T8" fmla="*/ 2147483647 w 42"/>
                <a:gd name="T9" fmla="*/ 2147483647 h 102"/>
                <a:gd name="T10" fmla="*/ 2147483647 w 42"/>
                <a:gd name="T11" fmla="*/ 2147483647 h 102"/>
                <a:gd name="T12" fmla="*/ 2147483647 w 42"/>
                <a:gd name="T13" fmla="*/ 2147483647 h 102"/>
                <a:gd name="T14" fmla="*/ 2147483647 w 42"/>
                <a:gd name="T15" fmla="*/ 2147483647 h 102"/>
                <a:gd name="T16" fmla="*/ 2147483647 w 42"/>
                <a:gd name="T17" fmla="*/ 2147483647 h 102"/>
                <a:gd name="T18" fmla="*/ 2147483647 w 42"/>
                <a:gd name="T19" fmla="*/ 2147483647 h 102"/>
                <a:gd name="T20" fmla="*/ 2147483647 w 42"/>
                <a:gd name="T21" fmla="*/ 2147483647 h 102"/>
                <a:gd name="T22" fmla="*/ 2147483647 w 42"/>
                <a:gd name="T23" fmla="*/ 2147483647 h 102"/>
                <a:gd name="T24" fmla="*/ 2147483647 w 42"/>
                <a:gd name="T25" fmla="*/ 2147483647 h 102"/>
                <a:gd name="T26" fmla="*/ 2147483647 w 42"/>
                <a:gd name="T27" fmla="*/ 2147483647 h 102"/>
                <a:gd name="T28" fmla="*/ 2147483647 w 42"/>
                <a:gd name="T29" fmla="*/ 2147483647 h 102"/>
                <a:gd name="T30" fmla="*/ 2147483647 w 42"/>
                <a:gd name="T31" fmla="*/ 2147483647 h 102"/>
                <a:gd name="T32" fmla="*/ 2147483647 w 42"/>
                <a:gd name="T33" fmla="*/ 2147483647 h 102"/>
                <a:gd name="T34" fmla="*/ 2147483647 w 42"/>
                <a:gd name="T35" fmla="*/ 2147483647 h 102"/>
                <a:gd name="T36" fmla="*/ 2147483647 w 42"/>
                <a:gd name="T37" fmla="*/ 2147483647 h 102"/>
                <a:gd name="T38" fmla="*/ 2147483647 w 42"/>
                <a:gd name="T39" fmla="*/ 2147483647 h 102"/>
                <a:gd name="T40" fmla="*/ 2147483647 w 42"/>
                <a:gd name="T41" fmla="*/ 2147483647 h 102"/>
                <a:gd name="T42" fmla="*/ 2147483647 w 42"/>
                <a:gd name="T43" fmla="*/ 2147483647 h 102"/>
                <a:gd name="T44" fmla="*/ 2147483647 w 42"/>
                <a:gd name="T45" fmla="*/ 2147483647 h 102"/>
                <a:gd name="T46" fmla="*/ 2147483647 w 42"/>
                <a:gd name="T47" fmla="*/ 2147483647 h 102"/>
                <a:gd name="T48" fmla="*/ 2147483647 w 42"/>
                <a:gd name="T49" fmla="*/ 2147483647 h 102"/>
                <a:gd name="T50" fmla="*/ 2147483647 w 42"/>
                <a:gd name="T51" fmla="*/ 2147483647 h 102"/>
                <a:gd name="T52" fmla="*/ 2147483647 w 42"/>
                <a:gd name="T53" fmla="*/ 2147483647 h 102"/>
                <a:gd name="T54" fmla="*/ 0 w 42"/>
                <a:gd name="T55" fmla="*/ 2147483647 h 102"/>
                <a:gd name="T56" fmla="*/ 0 w 42"/>
                <a:gd name="T57" fmla="*/ 2147483647 h 102"/>
                <a:gd name="T58" fmla="*/ 2147483647 w 42"/>
                <a:gd name="T59" fmla="*/ 2147483647 h 102"/>
                <a:gd name="T60" fmla="*/ 2147483647 w 42"/>
                <a:gd name="T61" fmla="*/ 2147483647 h 102"/>
                <a:gd name="T62" fmla="*/ 2147483647 w 42"/>
                <a:gd name="T63" fmla="*/ 0 h 102"/>
                <a:gd name="T64" fmla="*/ 2147483647 w 42"/>
                <a:gd name="T65" fmla="*/ 0 h 102"/>
                <a:gd name="T66" fmla="*/ 2147483647 w 42"/>
                <a:gd name="T67" fmla="*/ 2147483647 h 102"/>
                <a:gd name="T68" fmla="*/ 2147483647 w 42"/>
                <a:gd name="T69" fmla="*/ 2147483647 h 102"/>
                <a:gd name="T70" fmla="*/ 2147483647 w 42"/>
                <a:gd name="T71" fmla="*/ 2147483647 h 102"/>
                <a:gd name="T72" fmla="*/ 2147483647 w 42"/>
                <a:gd name="T73" fmla="*/ 2147483647 h 102"/>
                <a:gd name="T74" fmla="*/ 2147483647 w 42"/>
                <a:gd name="T75" fmla="*/ 2147483647 h 102"/>
                <a:gd name="T76" fmla="*/ 2147483647 w 42"/>
                <a:gd name="T77" fmla="*/ 2147483647 h 102"/>
                <a:gd name="T78" fmla="*/ 2147483647 w 42"/>
                <a:gd name="T79" fmla="*/ 2147483647 h 102"/>
                <a:gd name="T80" fmla="*/ 2147483647 w 42"/>
                <a:gd name="T81" fmla="*/ 2147483647 h 102"/>
                <a:gd name="T82" fmla="*/ 2147483647 w 42"/>
                <a:gd name="T83" fmla="*/ 2147483647 h 102"/>
                <a:gd name="T84" fmla="*/ 2147483647 w 42"/>
                <a:gd name="T85" fmla="*/ 2147483647 h 1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102"/>
                <a:gd name="T131" fmla="*/ 42 w 42"/>
                <a:gd name="T132" fmla="*/ 102 h 1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102">
                  <a:moveTo>
                    <a:pt x="14" y="51"/>
                  </a:moveTo>
                  <a:lnTo>
                    <a:pt x="17" y="56"/>
                  </a:lnTo>
                  <a:lnTo>
                    <a:pt x="21" y="60"/>
                  </a:lnTo>
                  <a:lnTo>
                    <a:pt x="25" y="63"/>
                  </a:lnTo>
                  <a:lnTo>
                    <a:pt x="26" y="68"/>
                  </a:lnTo>
                  <a:lnTo>
                    <a:pt x="30" y="76"/>
                  </a:lnTo>
                  <a:lnTo>
                    <a:pt x="33" y="83"/>
                  </a:lnTo>
                  <a:lnTo>
                    <a:pt x="39" y="89"/>
                  </a:lnTo>
                  <a:lnTo>
                    <a:pt x="41" y="96"/>
                  </a:lnTo>
                  <a:lnTo>
                    <a:pt x="42" y="100"/>
                  </a:lnTo>
                  <a:lnTo>
                    <a:pt x="41" y="102"/>
                  </a:lnTo>
                  <a:lnTo>
                    <a:pt x="36" y="102"/>
                  </a:lnTo>
                  <a:lnTo>
                    <a:pt x="32" y="102"/>
                  </a:lnTo>
                  <a:lnTo>
                    <a:pt x="30" y="100"/>
                  </a:lnTo>
                  <a:lnTo>
                    <a:pt x="27" y="97"/>
                  </a:lnTo>
                  <a:lnTo>
                    <a:pt x="25" y="95"/>
                  </a:lnTo>
                  <a:lnTo>
                    <a:pt x="23" y="92"/>
                  </a:lnTo>
                  <a:lnTo>
                    <a:pt x="23" y="83"/>
                  </a:lnTo>
                  <a:lnTo>
                    <a:pt x="22" y="82"/>
                  </a:lnTo>
                  <a:lnTo>
                    <a:pt x="21" y="81"/>
                  </a:lnTo>
                  <a:lnTo>
                    <a:pt x="18" y="75"/>
                  </a:lnTo>
                  <a:lnTo>
                    <a:pt x="16" y="69"/>
                  </a:lnTo>
                  <a:lnTo>
                    <a:pt x="8" y="60"/>
                  </a:lnTo>
                  <a:lnTo>
                    <a:pt x="7" y="56"/>
                  </a:lnTo>
                  <a:lnTo>
                    <a:pt x="8" y="51"/>
                  </a:lnTo>
                  <a:lnTo>
                    <a:pt x="4" y="45"/>
                  </a:lnTo>
                  <a:lnTo>
                    <a:pt x="2" y="39"/>
                  </a:lnTo>
                  <a:lnTo>
                    <a:pt x="0" y="33"/>
                  </a:lnTo>
                  <a:lnTo>
                    <a:pt x="0" y="28"/>
                  </a:lnTo>
                  <a:lnTo>
                    <a:pt x="3" y="14"/>
                  </a:lnTo>
                  <a:lnTo>
                    <a:pt x="6" y="1"/>
                  </a:lnTo>
                  <a:lnTo>
                    <a:pt x="7" y="0"/>
                  </a:lnTo>
                  <a:lnTo>
                    <a:pt x="8" y="0"/>
                  </a:lnTo>
                  <a:lnTo>
                    <a:pt x="11" y="5"/>
                  </a:lnTo>
                  <a:lnTo>
                    <a:pt x="12" y="10"/>
                  </a:lnTo>
                  <a:lnTo>
                    <a:pt x="12" y="18"/>
                  </a:lnTo>
                  <a:lnTo>
                    <a:pt x="12" y="28"/>
                  </a:lnTo>
                  <a:lnTo>
                    <a:pt x="13" y="32"/>
                  </a:lnTo>
                  <a:lnTo>
                    <a:pt x="14" y="36"/>
                  </a:lnTo>
                  <a:lnTo>
                    <a:pt x="14" y="39"/>
                  </a:lnTo>
                  <a:lnTo>
                    <a:pt x="14" y="43"/>
                  </a:lnTo>
                  <a:lnTo>
                    <a:pt x="13" y="48"/>
                  </a:lnTo>
                  <a:lnTo>
                    <a:pt x="14" y="51"/>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7" name="Freeform 1336"/>
            <p:cNvSpPr>
              <a:spLocks/>
            </p:cNvSpPr>
            <p:nvPr/>
          </p:nvSpPr>
          <p:spPr bwMode="auto">
            <a:xfrm>
              <a:off x="5146679" y="4405313"/>
              <a:ext cx="85725" cy="95250"/>
            </a:xfrm>
            <a:custGeom>
              <a:avLst/>
              <a:gdLst>
                <a:gd name="T0" fmla="*/ 2147483647 w 59"/>
                <a:gd name="T1" fmla="*/ 2147483647 h 60"/>
                <a:gd name="T2" fmla="*/ 2147483647 w 59"/>
                <a:gd name="T3" fmla="*/ 2147483647 h 60"/>
                <a:gd name="T4" fmla="*/ 2147483647 w 59"/>
                <a:gd name="T5" fmla="*/ 2147483647 h 60"/>
                <a:gd name="T6" fmla="*/ 2147483647 w 59"/>
                <a:gd name="T7" fmla="*/ 2147483647 h 60"/>
                <a:gd name="T8" fmla="*/ 2147483647 w 59"/>
                <a:gd name="T9" fmla="*/ 2147483647 h 60"/>
                <a:gd name="T10" fmla="*/ 2147483647 w 59"/>
                <a:gd name="T11" fmla="*/ 2147483647 h 60"/>
                <a:gd name="T12" fmla="*/ 2147483647 w 59"/>
                <a:gd name="T13" fmla="*/ 2147483647 h 60"/>
                <a:gd name="T14" fmla="*/ 2147483647 w 59"/>
                <a:gd name="T15" fmla="*/ 2147483647 h 60"/>
                <a:gd name="T16" fmla="*/ 2147483647 w 59"/>
                <a:gd name="T17" fmla="*/ 2147483647 h 60"/>
                <a:gd name="T18" fmla="*/ 2147483647 w 59"/>
                <a:gd name="T19" fmla="*/ 2147483647 h 60"/>
                <a:gd name="T20" fmla="*/ 2147483647 w 59"/>
                <a:gd name="T21" fmla="*/ 0 h 60"/>
                <a:gd name="T22" fmla="*/ 2147483647 w 59"/>
                <a:gd name="T23" fmla="*/ 0 h 60"/>
                <a:gd name="T24" fmla="*/ 2147483647 w 59"/>
                <a:gd name="T25" fmla="*/ 2147483647 h 60"/>
                <a:gd name="T26" fmla="*/ 2147483647 w 59"/>
                <a:gd name="T27" fmla="*/ 2147483647 h 60"/>
                <a:gd name="T28" fmla="*/ 2147483647 w 59"/>
                <a:gd name="T29" fmla="*/ 2147483647 h 60"/>
                <a:gd name="T30" fmla="*/ 2147483647 w 59"/>
                <a:gd name="T31" fmla="*/ 2147483647 h 60"/>
                <a:gd name="T32" fmla="*/ 2147483647 w 59"/>
                <a:gd name="T33" fmla="*/ 2147483647 h 60"/>
                <a:gd name="T34" fmla="*/ 0 w 59"/>
                <a:gd name="T35" fmla="*/ 2147483647 h 60"/>
                <a:gd name="T36" fmla="*/ 2147483647 w 59"/>
                <a:gd name="T37" fmla="*/ 2147483647 h 60"/>
                <a:gd name="T38" fmla="*/ 2147483647 w 59"/>
                <a:gd name="T39" fmla="*/ 2147483647 h 60"/>
                <a:gd name="T40" fmla="*/ 2147483647 w 59"/>
                <a:gd name="T41" fmla="*/ 2147483647 h 60"/>
                <a:gd name="T42" fmla="*/ 2147483647 w 59"/>
                <a:gd name="T43" fmla="*/ 2147483647 h 60"/>
                <a:gd name="T44" fmla="*/ 2147483647 w 59"/>
                <a:gd name="T45" fmla="*/ 2147483647 h 60"/>
                <a:gd name="T46" fmla="*/ 2147483647 w 59"/>
                <a:gd name="T47" fmla="*/ 2147483647 h 60"/>
                <a:gd name="T48" fmla="*/ 0 w 59"/>
                <a:gd name="T49" fmla="*/ 2147483647 h 60"/>
                <a:gd name="T50" fmla="*/ 2147483647 w 59"/>
                <a:gd name="T51" fmla="*/ 2147483647 h 60"/>
                <a:gd name="T52" fmla="*/ 2147483647 w 59"/>
                <a:gd name="T53" fmla="*/ 2147483647 h 60"/>
                <a:gd name="T54" fmla="*/ 2147483647 w 59"/>
                <a:gd name="T55" fmla="*/ 2147483647 h 60"/>
                <a:gd name="T56" fmla="*/ 2147483647 w 59"/>
                <a:gd name="T57" fmla="*/ 2147483647 h 60"/>
                <a:gd name="T58" fmla="*/ 2147483647 w 59"/>
                <a:gd name="T59" fmla="*/ 2147483647 h 60"/>
                <a:gd name="T60" fmla="*/ 2147483647 w 59"/>
                <a:gd name="T61" fmla="*/ 2147483647 h 60"/>
                <a:gd name="T62" fmla="*/ 2147483647 w 59"/>
                <a:gd name="T63" fmla="*/ 2147483647 h 60"/>
                <a:gd name="T64" fmla="*/ 2147483647 w 59"/>
                <a:gd name="T65" fmla="*/ 2147483647 h 60"/>
                <a:gd name="T66" fmla="*/ 2147483647 w 59"/>
                <a:gd name="T67" fmla="*/ 2147483647 h 60"/>
                <a:gd name="T68" fmla="*/ 2147483647 w 59"/>
                <a:gd name="T69" fmla="*/ 2147483647 h 60"/>
                <a:gd name="T70" fmla="*/ 2147483647 w 59"/>
                <a:gd name="T71" fmla="*/ 2147483647 h 60"/>
                <a:gd name="T72" fmla="*/ 2147483647 w 59"/>
                <a:gd name="T73" fmla="*/ 2147483647 h 60"/>
                <a:gd name="T74" fmla="*/ 2147483647 w 59"/>
                <a:gd name="T75" fmla="*/ 2147483647 h 60"/>
                <a:gd name="T76" fmla="*/ 2147483647 w 59"/>
                <a:gd name="T77" fmla="*/ 2147483647 h 60"/>
                <a:gd name="T78" fmla="*/ 2147483647 w 59"/>
                <a:gd name="T79" fmla="*/ 2147483647 h 60"/>
                <a:gd name="T80" fmla="*/ 2147483647 w 59"/>
                <a:gd name="T81" fmla="*/ 2147483647 h 60"/>
                <a:gd name="T82" fmla="*/ 2147483647 w 59"/>
                <a:gd name="T83" fmla="*/ 2147483647 h 60"/>
                <a:gd name="T84" fmla="*/ 2147483647 w 59"/>
                <a:gd name="T85" fmla="*/ 2147483647 h 60"/>
                <a:gd name="T86" fmla="*/ 2147483647 w 59"/>
                <a:gd name="T87" fmla="*/ 2147483647 h 60"/>
                <a:gd name="T88" fmla="*/ 2147483647 w 59"/>
                <a:gd name="T89" fmla="*/ 2147483647 h 60"/>
                <a:gd name="T90" fmla="*/ 2147483647 w 59"/>
                <a:gd name="T91" fmla="*/ 2147483647 h 60"/>
                <a:gd name="T92" fmla="*/ 2147483647 w 59"/>
                <a:gd name="T93" fmla="*/ 2147483647 h 60"/>
                <a:gd name="T94" fmla="*/ 2147483647 w 59"/>
                <a:gd name="T95" fmla="*/ 2147483647 h 60"/>
                <a:gd name="T96" fmla="*/ 2147483647 w 59"/>
                <a:gd name="T97" fmla="*/ 2147483647 h 60"/>
                <a:gd name="T98" fmla="*/ 2147483647 w 59"/>
                <a:gd name="T99" fmla="*/ 2147483647 h 60"/>
                <a:gd name="T100" fmla="*/ 2147483647 w 59"/>
                <a:gd name="T101" fmla="*/ 2147483647 h 60"/>
                <a:gd name="T102" fmla="*/ 2147483647 w 59"/>
                <a:gd name="T103" fmla="*/ 2147483647 h 60"/>
                <a:gd name="T104" fmla="*/ 2147483647 w 59"/>
                <a:gd name="T105" fmla="*/ 2147483647 h 60"/>
                <a:gd name="T106" fmla="*/ 2147483647 w 59"/>
                <a:gd name="T107" fmla="*/ 2147483647 h 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
                <a:gd name="T163" fmla="*/ 0 h 60"/>
                <a:gd name="T164" fmla="*/ 59 w 59"/>
                <a:gd name="T165" fmla="*/ 60 h 6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 h="60">
                  <a:moveTo>
                    <a:pt x="49" y="23"/>
                  </a:moveTo>
                  <a:lnTo>
                    <a:pt x="49" y="21"/>
                  </a:lnTo>
                  <a:lnTo>
                    <a:pt x="52" y="19"/>
                  </a:lnTo>
                  <a:lnTo>
                    <a:pt x="56" y="19"/>
                  </a:lnTo>
                  <a:lnTo>
                    <a:pt x="59" y="18"/>
                  </a:lnTo>
                  <a:lnTo>
                    <a:pt x="59" y="17"/>
                  </a:lnTo>
                  <a:lnTo>
                    <a:pt x="58" y="16"/>
                  </a:lnTo>
                  <a:lnTo>
                    <a:pt x="51" y="8"/>
                  </a:lnTo>
                  <a:lnTo>
                    <a:pt x="47" y="4"/>
                  </a:lnTo>
                  <a:lnTo>
                    <a:pt x="42" y="3"/>
                  </a:lnTo>
                  <a:lnTo>
                    <a:pt x="36" y="0"/>
                  </a:lnTo>
                  <a:lnTo>
                    <a:pt x="28" y="0"/>
                  </a:lnTo>
                  <a:lnTo>
                    <a:pt x="22" y="2"/>
                  </a:lnTo>
                  <a:lnTo>
                    <a:pt x="17" y="5"/>
                  </a:lnTo>
                  <a:lnTo>
                    <a:pt x="11" y="9"/>
                  </a:lnTo>
                  <a:lnTo>
                    <a:pt x="7" y="13"/>
                  </a:lnTo>
                  <a:lnTo>
                    <a:pt x="3" y="19"/>
                  </a:lnTo>
                  <a:lnTo>
                    <a:pt x="0" y="25"/>
                  </a:lnTo>
                  <a:lnTo>
                    <a:pt x="3" y="25"/>
                  </a:lnTo>
                  <a:lnTo>
                    <a:pt x="4" y="26"/>
                  </a:lnTo>
                  <a:lnTo>
                    <a:pt x="5" y="29"/>
                  </a:lnTo>
                  <a:lnTo>
                    <a:pt x="5" y="34"/>
                  </a:lnTo>
                  <a:lnTo>
                    <a:pt x="4" y="37"/>
                  </a:lnTo>
                  <a:lnTo>
                    <a:pt x="2" y="45"/>
                  </a:lnTo>
                  <a:lnTo>
                    <a:pt x="0" y="50"/>
                  </a:lnTo>
                  <a:lnTo>
                    <a:pt x="2" y="55"/>
                  </a:lnTo>
                  <a:lnTo>
                    <a:pt x="3" y="57"/>
                  </a:lnTo>
                  <a:lnTo>
                    <a:pt x="5" y="58"/>
                  </a:lnTo>
                  <a:lnTo>
                    <a:pt x="8" y="60"/>
                  </a:lnTo>
                  <a:lnTo>
                    <a:pt x="11" y="58"/>
                  </a:lnTo>
                  <a:lnTo>
                    <a:pt x="16" y="54"/>
                  </a:lnTo>
                  <a:lnTo>
                    <a:pt x="21" y="53"/>
                  </a:lnTo>
                  <a:lnTo>
                    <a:pt x="26" y="54"/>
                  </a:lnTo>
                  <a:lnTo>
                    <a:pt x="31" y="56"/>
                  </a:lnTo>
                  <a:lnTo>
                    <a:pt x="35" y="57"/>
                  </a:lnTo>
                  <a:lnTo>
                    <a:pt x="38" y="56"/>
                  </a:lnTo>
                  <a:lnTo>
                    <a:pt x="45" y="53"/>
                  </a:lnTo>
                  <a:lnTo>
                    <a:pt x="45" y="50"/>
                  </a:lnTo>
                  <a:lnTo>
                    <a:pt x="44" y="49"/>
                  </a:lnTo>
                  <a:lnTo>
                    <a:pt x="42" y="47"/>
                  </a:lnTo>
                  <a:lnTo>
                    <a:pt x="40" y="45"/>
                  </a:lnTo>
                  <a:lnTo>
                    <a:pt x="38" y="43"/>
                  </a:lnTo>
                  <a:lnTo>
                    <a:pt x="37" y="43"/>
                  </a:lnTo>
                  <a:lnTo>
                    <a:pt x="38" y="42"/>
                  </a:lnTo>
                  <a:lnTo>
                    <a:pt x="44" y="36"/>
                  </a:lnTo>
                  <a:lnTo>
                    <a:pt x="45" y="34"/>
                  </a:lnTo>
                  <a:lnTo>
                    <a:pt x="45" y="30"/>
                  </a:lnTo>
                  <a:lnTo>
                    <a:pt x="46" y="30"/>
                  </a:lnTo>
                  <a:lnTo>
                    <a:pt x="47" y="29"/>
                  </a:lnTo>
                  <a:lnTo>
                    <a:pt x="47" y="28"/>
                  </a:lnTo>
                  <a:lnTo>
                    <a:pt x="49" y="26"/>
                  </a:lnTo>
                  <a:lnTo>
                    <a:pt x="47" y="25"/>
                  </a:lnTo>
                  <a:lnTo>
                    <a:pt x="47" y="24"/>
                  </a:lnTo>
                  <a:lnTo>
                    <a:pt x="49" y="2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8" name="Freeform 1337"/>
            <p:cNvSpPr>
              <a:spLocks/>
            </p:cNvSpPr>
            <p:nvPr/>
          </p:nvSpPr>
          <p:spPr bwMode="auto">
            <a:xfrm>
              <a:off x="5205414" y="4705353"/>
              <a:ext cx="23812" cy="71438"/>
            </a:xfrm>
            <a:custGeom>
              <a:avLst/>
              <a:gdLst>
                <a:gd name="T0" fmla="*/ 2147483647 w 16"/>
                <a:gd name="T1" fmla="*/ 2147483647 h 45"/>
                <a:gd name="T2" fmla="*/ 2147483647 w 16"/>
                <a:gd name="T3" fmla="*/ 2147483647 h 45"/>
                <a:gd name="T4" fmla="*/ 2147483647 w 16"/>
                <a:gd name="T5" fmla="*/ 2147483647 h 45"/>
                <a:gd name="T6" fmla="*/ 2147483647 w 16"/>
                <a:gd name="T7" fmla="*/ 2147483647 h 45"/>
                <a:gd name="T8" fmla="*/ 2147483647 w 16"/>
                <a:gd name="T9" fmla="*/ 2147483647 h 45"/>
                <a:gd name="T10" fmla="*/ 2147483647 w 16"/>
                <a:gd name="T11" fmla="*/ 2147483647 h 45"/>
                <a:gd name="T12" fmla="*/ 2147483647 w 16"/>
                <a:gd name="T13" fmla="*/ 2147483647 h 45"/>
                <a:gd name="T14" fmla="*/ 2147483647 w 16"/>
                <a:gd name="T15" fmla="*/ 2147483647 h 45"/>
                <a:gd name="T16" fmla="*/ 2147483647 w 16"/>
                <a:gd name="T17" fmla="*/ 0 h 45"/>
                <a:gd name="T18" fmla="*/ 0 w 16"/>
                <a:gd name="T19" fmla="*/ 2147483647 h 45"/>
                <a:gd name="T20" fmla="*/ 0 w 16"/>
                <a:gd name="T21" fmla="*/ 2147483647 h 45"/>
                <a:gd name="T22" fmla="*/ 0 w 16"/>
                <a:gd name="T23" fmla="*/ 2147483647 h 45"/>
                <a:gd name="T24" fmla="*/ 2147483647 w 16"/>
                <a:gd name="T25" fmla="*/ 2147483647 h 45"/>
                <a:gd name="T26" fmla="*/ 2147483647 w 16"/>
                <a:gd name="T27" fmla="*/ 2147483647 h 45"/>
                <a:gd name="T28" fmla="*/ 2147483647 w 16"/>
                <a:gd name="T29" fmla="*/ 2147483647 h 45"/>
                <a:gd name="T30" fmla="*/ 2147483647 w 16"/>
                <a:gd name="T31" fmla="*/ 2147483647 h 45"/>
                <a:gd name="T32" fmla="*/ 2147483647 w 16"/>
                <a:gd name="T33" fmla="*/ 2147483647 h 45"/>
                <a:gd name="T34" fmla="*/ 2147483647 w 16"/>
                <a:gd name="T35" fmla="*/ 2147483647 h 45"/>
                <a:gd name="T36" fmla="*/ 2147483647 w 16"/>
                <a:gd name="T37" fmla="*/ 2147483647 h 45"/>
                <a:gd name="T38" fmla="*/ 2147483647 w 16"/>
                <a:gd name="T39" fmla="*/ 2147483647 h 45"/>
                <a:gd name="T40" fmla="*/ 2147483647 w 16"/>
                <a:gd name="T41" fmla="*/ 2147483647 h 45"/>
                <a:gd name="T42" fmla="*/ 2147483647 w 16"/>
                <a:gd name="T43" fmla="*/ 2147483647 h 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45"/>
                <a:gd name="T68" fmla="*/ 16 w 16"/>
                <a:gd name="T69" fmla="*/ 45 h 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45">
                  <a:moveTo>
                    <a:pt x="16" y="43"/>
                  </a:moveTo>
                  <a:lnTo>
                    <a:pt x="16" y="39"/>
                  </a:lnTo>
                  <a:lnTo>
                    <a:pt x="16" y="31"/>
                  </a:lnTo>
                  <a:lnTo>
                    <a:pt x="16" y="21"/>
                  </a:lnTo>
                  <a:lnTo>
                    <a:pt x="14" y="16"/>
                  </a:lnTo>
                  <a:lnTo>
                    <a:pt x="11" y="13"/>
                  </a:lnTo>
                  <a:lnTo>
                    <a:pt x="7" y="8"/>
                  </a:lnTo>
                  <a:lnTo>
                    <a:pt x="4" y="3"/>
                  </a:lnTo>
                  <a:lnTo>
                    <a:pt x="1" y="0"/>
                  </a:lnTo>
                  <a:lnTo>
                    <a:pt x="0" y="1"/>
                  </a:lnTo>
                  <a:lnTo>
                    <a:pt x="0" y="2"/>
                  </a:lnTo>
                  <a:lnTo>
                    <a:pt x="0" y="8"/>
                  </a:lnTo>
                  <a:lnTo>
                    <a:pt x="1" y="12"/>
                  </a:lnTo>
                  <a:lnTo>
                    <a:pt x="4" y="18"/>
                  </a:lnTo>
                  <a:lnTo>
                    <a:pt x="7" y="32"/>
                  </a:lnTo>
                  <a:lnTo>
                    <a:pt x="9" y="37"/>
                  </a:lnTo>
                  <a:lnTo>
                    <a:pt x="9" y="40"/>
                  </a:lnTo>
                  <a:lnTo>
                    <a:pt x="9" y="43"/>
                  </a:lnTo>
                  <a:lnTo>
                    <a:pt x="10" y="45"/>
                  </a:lnTo>
                  <a:lnTo>
                    <a:pt x="12" y="45"/>
                  </a:lnTo>
                  <a:lnTo>
                    <a:pt x="15" y="44"/>
                  </a:lnTo>
                  <a:lnTo>
                    <a:pt x="16" y="43"/>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39" name="Freeform 1338"/>
            <p:cNvSpPr>
              <a:spLocks/>
            </p:cNvSpPr>
            <p:nvPr/>
          </p:nvSpPr>
          <p:spPr bwMode="auto">
            <a:xfrm>
              <a:off x="5191128" y="3278192"/>
              <a:ext cx="3175" cy="36512"/>
            </a:xfrm>
            <a:custGeom>
              <a:avLst/>
              <a:gdLst>
                <a:gd name="T0" fmla="*/ 0 w 2"/>
                <a:gd name="T1" fmla="*/ 0 h 23"/>
                <a:gd name="T2" fmla="*/ 2147483647 w 2"/>
                <a:gd name="T3" fmla="*/ 2147483647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lnTo>
                    <a:pt x="2" y="23"/>
                  </a:lnTo>
                  <a:lnTo>
                    <a:pt x="0" y="0"/>
                  </a:lnTo>
                  <a:close/>
                </a:path>
              </a:pathLst>
            </a:custGeom>
            <a:grpFill/>
            <a:ln w="9525">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0" name="Freeform 1339"/>
            <p:cNvSpPr>
              <a:spLocks/>
            </p:cNvSpPr>
            <p:nvPr/>
          </p:nvSpPr>
          <p:spPr bwMode="auto">
            <a:xfrm>
              <a:off x="5114926" y="2505076"/>
              <a:ext cx="71438" cy="138113"/>
            </a:xfrm>
            <a:custGeom>
              <a:avLst/>
              <a:gdLst>
                <a:gd name="T0" fmla="*/ 0 w 49"/>
                <a:gd name="T1" fmla="*/ 0 h 87"/>
                <a:gd name="T2" fmla="*/ 0 w 49"/>
                <a:gd name="T3" fmla="*/ 0 h 87"/>
                <a:gd name="T4" fmla="*/ 2147483647 w 49"/>
                <a:gd name="T5" fmla="*/ 2147483647 h 87"/>
                <a:gd name="T6" fmla="*/ 2147483647 w 49"/>
                <a:gd name="T7" fmla="*/ 2147483647 h 87"/>
                <a:gd name="T8" fmla="*/ 2147483647 w 49"/>
                <a:gd name="T9" fmla="*/ 2147483647 h 87"/>
                <a:gd name="T10" fmla="*/ 2147483647 w 49"/>
                <a:gd name="T11" fmla="*/ 2147483647 h 87"/>
                <a:gd name="T12" fmla="*/ 2147483647 w 49"/>
                <a:gd name="T13" fmla="*/ 2147483647 h 87"/>
                <a:gd name="T14" fmla="*/ 2147483647 w 49"/>
                <a:gd name="T15" fmla="*/ 2147483647 h 87"/>
                <a:gd name="T16" fmla="*/ 2147483647 w 49"/>
                <a:gd name="T17" fmla="*/ 2147483647 h 87"/>
                <a:gd name="T18" fmla="*/ 2147483647 w 49"/>
                <a:gd name="T19" fmla="*/ 2147483647 h 87"/>
                <a:gd name="T20" fmla="*/ 2147483647 w 49"/>
                <a:gd name="T21" fmla="*/ 2147483647 h 87"/>
                <a:gd name="T22" fmla="*/ 2147483647 w 49"/>
                <a:gd name="T23" fmla="*/ 2147483647 h 87"/>
                <a:gd name="T24" fmla="*/ 2147483647 w 49"/>
                <a:gd name="T25" fmla="*/ 2147483647 h 87"/>
                <a:gd name="T26" fmla="*/ 2147483647 w 49"/>
                <a:gd name="T27" fmla="*/ 2147483647 h 87"/>
                <a:gd name="T28" fmla="*/ 2147483647 w 49"/>
                <a:gd name="T29" fmla="*/ 2147483647 h 87"/>
                <a:gd name="T30" fmla="*/ 2147483647 w 49"/>
                <a:gd name="T31" fmla="*/ 2147483647 h 87"/>
                <a:gd name="T32" fmla="*/ 2147483647 w 49"/>
                <a:gd name="T33" fmla="*/ 2147483647 h 87"/>
                <a:gd name="T34" fmla="*/ 2147483647 w 49"/>
                <a:gd name="T35" fmla="*/ 2147483647 h 87"/>
                <a:gd name="T36" fmla="*/ 2147483647 w 49"/>
                <a:gd name="T37" fmla="*/ 2147483647 h 87"/>
                <a:gd name="T38" fmla="*/ 2147483647 w 49"/>
                <a:gd name="T39" fmla="*/ 2147483647 h 87"/>
                <a:gd name="T40" fmla="*/ 2147483647 w 49"/>
                <a:gd name="T41" fmla="*/ 2147483647 h 87"/>
                <a:gd name="T42" fmla="*/ 2147483647 w 49"/>
                <a:gd name="T43" fmla="*/ 2147483647 h 87"/>
                <a:gd name="T44" fmla="*/ 2147483647 w 49"/>
                <a:gd name="T45" fmla="*/ 2147483647 h 87"/>
                <a:gd name="T46" fmla="*/ 2147483647 w 49"/>
                <a:gd name="T47" fmla="*/ 2147483647 h 87"/>
                <a:gd name="T48" fmla="*/ 2147483647 w 49"/>
                <a:gd name="T49" fmla="*/ 2147483647 h 87"/>
                <a:gd name="T50" fmla="*/ 2147483647 w 49"/>
                <a:gd name="T51" fmla="*/ 2147483647 h 87"/>
                <a:gd name="T52" fmla="*/ 2147483647 w 49"/>
                <a:gd name="T53" fmla="*/ 2147483647 h 87"/>
                <a:gd name="T54" fmla="*/ 2147483647 w 49"/>
                <a:gd name="T55" fmla="*/ 2147483647 h 87"/>
                <a:gd name="T56" fmla="*/ 2147483647 w 49"/>
                <a:gd name="T57" fmla="*/ 2147483647 h 87"/>
                <a:gd name="T58" fmla="*/ 2147483647 w 49"/>
                <a:gd name="T59" fmla="*/ 2147483647 h 87"/>
                <a:gd name="T60" fmla="*/ 2147483647 w 49"/>
                <a:gd name="T61" fmla="*/ 2147483647 h 87"/>
                <a:gd name="T62" fmla="*/ 2147483647 w 49"/>
                <a:gd name="T63" fmla="*/ 2147483647 h 87"/>
                <a:gd name="T64" fmla="*/ 2147483647 w 49"/>
                <a:gd name="T65" fmla="*/ 2147483647 h 87"/>
                <a:gd name="T66" fmla="*/ 2147483647 w 49"/>
                <a:gd name="T67" fmla="*/ 2147483647 h 87"/>
                <a:gd name="T68" fmla="*/ 2147483647 w 49"/>
                <a:gd name="T69" fmla="*/ 2147483647 h 87"/>
                <a:gd name="T70" fmla="*/ 2147483647 w 49"/>
                <a:gd name="T71" fmla="*/ 2147483647 h 87"/>
                <a:gd name="T72" fmla="*/ 2147483647 w 49"/>
                <a:gd name="T73" fmla="*/ 2147483647 h 87"/>
                <a:gd name="T74" fmla="*/ 2147483647 w 49"/>
                <a:gd name="T75" fmla="*/ 2147483647 h 8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
                <a:gd name="T115" fmla="*/ 0 h 87"/>
                <a:gd name="T116" fmla="*/ 49 w 49"/>
                <a:gd name="T117" fmla="*/ 87 h 8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 h="87">
                  <a:moveTo>
                    <a:pt x="0" y="0"/>
                  </a:moveTo>
                  <a:lnTo>
                    <a:pt x="0" y="0"/>
                  </a:lnTo>
                  <a:lnTo>
                    <a:pt x="3" y="2"/>
                  </a:lnTo>
                  <a:lnTo>
                    <a:pt x="8" y="5"/>
                  </a:lnTo>
                  <a:lnTo>
                    <a:pt x="11" y="7"/>
                  </a:lnTo>
                  <a:lnTo>
                    <a:pt x="13" y="11"/>
                  </a:lnTo>
                  <a:lnTo>
                    <a:pt x="16" y="18"/>
                  </a:lnTo>
                  <a:lnTo>
                    <a:pt x="17" y="22"/>
                  </a:lnTo>
                  <a:lnTo>
                    <a:pt x="17" y="30"/>
                  </a:lnTo>
                  <a:lnTo>
                    <a:pt x="17" y="31"/>
                  </a:lnTo>
                  <a:lnTo>
                    <a:pt x="20" y="32"/>
                  </a:lnTo>
                  <a:lnTo>
                    <a:pt x="24" y="32"/>
                  </a:lnTo>
                  <a:lnTo>
                    <a:pt x="29" y="36"/>
                  </a:lnTo>
                  <a:lnTo>
                    <a:pt x="39" y="43"/>
                  </a:lnTo>
                  <a:lnTo>
                    <a:pt x="41" y="44"/>
                  </a:lnTo>
                  <a:lnTo>
                    <a:pt x="43" y="44"/>
                  </a:lnTo>
                  <a:lnTo>
                    <a:pt x="47" y="45"/>
                  </a:lnTo>
                  <a:lnTo>
                    <a:pt x="48" y="45"/>
                  </a:lnTo>
                  <a:lnTo>
                    <a:pt x="49" y="47"/>
                  </a:lnTo>
                  <a:lnTo>
                    <a:pt x="49" y="50"/>
                  </a:lnTo>
                  <a:lnTo>
                    <a:pt x="48" y="52"/>
                  </a:lnTo>
                  <a:lnTo>
                    <a:pt x="47" y="52"/>
                  </a:lnTo>
                  <a:lnTo>
                    <a:pt x="47" y="53"/>
                  </a:lnTo>
                  <a:lnTo>
                    <a:pt x="44" y="57"/>
                  </a:lnTo>
                  <a:lnTo>
                    <a:pt x="41" y="66"/>
                  </a:lnTo>
                  <a:lnTo>
                    <a:pt x="41" y="70"/>
                  </a:lnTo>
                  <a:lnTo>
                    <a:pt x="44" y="75"/>
                  </a:lnTo>
                  <a:lnTo>
                    <a:pt x="48" y="82"/>
                  </a:lnTo>
                  <a:lnTo>
                    <a:pt x="49" y="87"/>
                  </a:lnTo>
                </a:path>
              </a:pathLst>
            </a:custGeom>
            <a:grpFill/>
            <a:ln w="1588">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1" name="Line 1338"/>
            <p:cNvSpPr>
              <a:spLocks noChangeShapeType="1"/>
            </p:cNvSpPr>
            <p:nvPr/>
          </p:nvSpPr>
          <p:spPr bwMode="auto">
            <a:xfrm>
              <a:off x="5191125" y="3276601"/>
              <a:ext cx="1588" cy="36513"/>
            </a:xfrm>
            <a:prstGeom prst="line">
              <a:avLst/>
            </a:prstGeom>
            <a:grpFill/>
            <a:ln w="4763">
              <a:noFill/>
              <a:round/>
              <a:headEnd/>
              <a:tailEnd/>
            </a:ln>
          </p:spPr>
          <p:txBody>
            <a:bodyPr lIns="91430" tIns="45716" rIns="91430" bIns="45716"/>
            <a:lstStyle/>
            <a:p>
              <a:pPr defTabSz="455892" fontAlgn="base">
                <a:spcBef>
                  <a:spcPct val="0"/>
                </a:spcBef>
                <a:spcAft>
                  <a:spcPct val="0"/>
                </a:spcAft>
              </a:pPr>
              <a:endParaRPr lang="en-US" sz="1100">
                <a:solidFill>
                  <a:prstClr val="black"/>
                </a:solidFill>
              </a:endParaRPr>
            </a:p>
          </p:txBody>
        </p:sp>
        <p:sp>
          <p:nvSpPr>
            <p:cNvPr id="1342" name="Freeform 1341"/>
            <p:cNvSpPr>
              <a:spLocks/>
            </p:cNvSpPr>
            <p:nvPr/>
          </p:nvSpPr>
          <p:spPr bwMode="auto">
            <a:xfrm>
              <a:off x="5773738" y="2919412"/>
              <a:ext cx="63500" cy="131762"/>
            </a:xfrm>
            <a:custGeom>
              <a:avLst/>
              <a:gdLst>
                <a:gd name="T0" fmla="*/ 2147483647 w 43"/>
                <a:gd name="T1" fmla="*/ 0 h 83"/>
                <a:gd name="T2" fmla="*/ 2147483647 w 43"/>
                <a:gd name="T3" fmla="*/ 0 h 83"/>
                <a:gd name="T4" fmla="*/ 2147483647 w 43"/>
                <a:gd name="T5" fmla="*/ 2147483647 h 83"/>
                <a:gd name="T6" fmla="*/ 2147483647 w 43"/>
                <a:gd name="T7" fmla="*/ 2147483647 h 83"/>
                <a:gd name="T8" fmla="*/ 2147483647 w 43"/>
                <a:gd name="T9" fmla="*/ 2147483647 h 83"/>
                <a:gd name="T10" fmla="*/ 2147483647 w 43"/>
                <a:gd name="T11" fmla="*/ 2147483647 h 83"/>
                <a:gd name="T12" fmla="*/ 2147483647 w 43"/>
                <a:gd name="T13" fmla="*/ 2147483647 h 83"/>
                <a:gd name="T14" fmla="*/ 2147483647 w 43"/>
                <a:gd name="T15" fmla="*/ 2147483647 h 83"/>
                <a:gd name="T16" fmla="*/ 2147483647 w 43"/>
                <a:gd name="T17" fmla="*/ 2147483647 h 83"/>
                <a:gd name="T18" fmla="*/ 2147483647 w 43"/>
                <a:gd name="T19" fmla="*/ 2147483647 h 83"/>
                <a:gd name="T20" fmla="*/ 2147483647 w 43"/>
                <a:gd name="T21" fmla="*/ 2147483647 h 83"/>
                <a:gd name="T22" fmla="*/ 2147483647 w 43"/>
                <a:gd name="T23" fmla="*/ 2147483647 h 83"/>
                <a:gd name="T24" fmla="*/ 2147483647 w 43"/>
                <a:gd name="T25" fmla="*/ 2147483647 h 83"/>
                <a:gd name="T26" fmla="*/ 2147483647 w 43"/>
                <a:gd name="T27" fmla="*/ 2147483647 h 83"/>
                <a:gd name="T28" fmla="*/ 2147483647 w 43"/>
                <a:gd name="T29" fmla="*/ 2147483647 h 83"/>
                <a:gd name="T30" fmla="*/ 2147483647 w 43"/>
                <a:gd name="T31" fmla="*/ 2147483647 h 83"/>
                <a:gd name="T32" fmla="*/ 0 w 43"/>
                <a:gd name="T33" fmla="*/ 2147483647 h 83"/>
                <a:gd name="T34" fmla="*/ 0 w 43"/>
                <a:gd name="T35" fmla="*/ 2147483647 h 83"/>
                <a:gd name="T36" fmla="*/ 0 w 43"/>
                <a:gd name="T37" fmla="*/ 2147483647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83"/>
                <a:gd name="T59" fmla="*/ 43 w 43"/>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83">
                  <a:moveTo>
                    <a:pt x="43" y="0"/>
                  </a:moveTo>
                  <a:lnTo>
                    <a:pt x="43" y="0"/>
                  </a:lnTo>
                  <a:lnTo>
                    <a:pt x="40" y="3"/>
                  </a:lnTo>
                  <a:lnTo>
                    <a:pt x="36" y="7"/>
                  </a:lnTo>
                  <a:lnTo>
                    <a:pt x="31" y="9"/>
                  </a:lnTo>
                  <a:lnTo>
                    <a:pt x="18" y="13"/>
                  </a:lnTo>
                  <a:lnTo>
                    <a:pt x="9" y="18"/>
                  </a:lnTo>
                  <a:lnTo>
                    <a:pt x="7" y="19"/>
                  </a:lnTo>
                  <a:lnTo>
                    <a:pt x="5" y="21"/>
                  </a:lnTo>
                  <a:lnTo>
                    <a:pt x="4" y="27"/>
                  </a:lnTo>
                  <a:lnTo>
                    <a:pt x="4" y="35"/>
                  </a:lnTo>
                  <a:lnTo>
                    <a:pt x="5" y="59"/>
                  </a:lnTo>
                  <a:lnTo>
                    <a:pt x="3" y="66"/>
                  </a:lnTo>
                  <a:lnTo>
                    <a:pt x="0" y="76"/>
                  </a:lnTo>
                  <a:lnTo>
                    <a:pt x="0" y="83"/>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3" name="Freeform 1342"/>
            <p:cNvSpPr>
              <a:spLocks/>
            </p:cNvSpPr>
            <p:nvPr/>
          </p:nvSpPr>
          <p:spPr bwMode="auto">
            <a:xfrm>
              <a:off x="5903913" y="2951168"/>
              <a:ext cx="246062" cy="65087"/>
            </a:xfrm>
            <a:custGeom>
              <a:avLst/>
              <a:gdLst>
                <a:gd name="T0" fmla="*/ 0 w 168"/>
                <a:gd name="T1" fmla="*/ 0 h 41"/>
                <a:gd name="T2" fmla="*/ 0 w 168"/>
                <a:gd name="T3" fmla="*/ 0 h 41"/>
                <a:gd name="T4" fmla="*/ 2147483647 w 168"/>
                <a:gd name="T5" fmla="*/ 2147483647 h 41"/>
                <a:gd name="T6" fmla="*/ 2147483647 w 168"/>
                <a:gd name="T7" fmla="*/ 2147483647 h 41"/>
                <a:gd name="T8" fmla="*/ 2147483647 w 168"/>
                <a:gd name="T9" fmla="*/ 2147483647 h 41"/>
                <a:gd name="T10" fmla="*/ 2147483647 w 168"/>
                <a:gd name="T11" fmla="*/ 2147483647 h 41"/>
                <a:gd name="T12" fmla="*/ 2147483647 w 168"/>
                <a:gd name="T13" fmla="*/ 2147483647 h 41"/>
                <a:gd name="T14" fmla="*/ 2147483647 w 168"/>
                <a:gd name="T15" fmla="*/ 2147483647 h 41"/>
                <a:gd name="T16" fmla="*/ 2147483647 w 168"/>
                <a:gd name="T17" fmla="*/ 2147483647 h 41"/>
                <a:gd name="T18" fmla="*/ 2147483647 w 168"/>
                <a:gd name="T19" fmla="*/ 2147483647 h 41"/>
                <a:gd name="T20" fmla="*/ 2147483647 w 168"/>
                <a:gd name="T21" fmla="*/ 2147483647 h 41"/>
                <a:gd name="T22" fmla="*/ 2147483647 w 168"/>
                <a:gd name="T23" fmla="*/ 2147483647 h 41"/>
                <a:gd name="T24" fmla="*/ 2147483647 w 168"/>
                <a:gd name="T25" fmla="*/ 2147483647 h 41"/>
                <a:gd name="T26" fmla="*/ 2147483647 w 168"/>
                <a:gd name="T27" fmla="*/ 2147483647 h 41"/>
                <a:gd name="T28" fmla="*/ 2147483647 w 168"/>
                <a:gd name="T29" fmla="*/ 2147483647 h 41"/>
                <a:gd name="T30" fmla="*/ 2147483647 w 168"/>
                <a:gd name="T31" fmla="*/ 2147483647 h 41"/>
                <a:gd name="T32" fmla="*/ 2147483647 w 168"/>
                <a:gd name="T33" fmla="*/ 2147483647 h 41"/>
                <a:gd name="T34" fmla="*/ 2147483647 w 168"/>
                <a:gd name="T35" fmla="*/ 2147483647 h 41"/>
                <a:gd name="T36" fmla="*/ 2147483647 w 168"/>
                <a:gd name="T37" fmla="*/ 2147483647 h 41"/>
                <a:gd name="T38" fmla="*/ 2147483647 w 168"/>
                <a:gd name="T39" fmla="*/ 2147483647 h 41"/>
                <a:gd name="T40" fmla="*/ 2147483647 w 168"/>
                <a:gd name="T41" fmla="*/ 2147483647 h 41"/>
                <a:gd name="T42" fmla="*/ 2147483647 w 168"/>
                <a:gd name="T43" fmla="*/ 2147483647 h 41"/>
                <a:gd name="T44" fmla="*/ 2147483647 w 168"/>
                <a:gd name="T45" fmla="*/ 2147483647 h 41"/>
                <a:gd name="T46" fmla="*/ 2147483647 w 168"/>
                <a:gd name="T47" fmla="*/ 2147483647 h 41"/>
                <a:gd name="T48" fmla="*/ 2147483647 w 168"/>
                <a:gd name="T49" fmla="*/ 2147483647 h 41"/>
                <a:gd name="T50" fmla="*/ 2147483647 w 168"/>
                <a:gd name="T51" fmla="*/ 2147483647 h 41"/>
                <a:gd name="T52" fmla="*/ 2147483647 w 168"/>
                <a:gd name="T53" fmla="*/ 2147483647 h 41"/>
                <a:gd name="T54" fmla="*/ 2147483647 w 168"/>
                <a:gd name="T55" fmla="*/ 21474836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41"/>
                <a:gd name="T86" fmla="*/ 168 w 168"/>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41">
                  <a:moveTo>
                    <a:pt x="0" y="0"/>
                  </a:moveTo>
                  <a:lnTo>
                    <a:pt x="0" y="0"/>
                  </a:lnTo>
                  <a:lnTo>
                    <a:pt x="18" y="14"/>
                  </a:lnTo>
                  <a:lnTo>
                    <a:pt x="32" y="15"/>
                  </a:lnTo>
                  <a:lnTo>
                    <a:pt x="52" y="17"/>
                  </a:lnTo>
                  <a:lnTo>
                    <a:pt x="54" y="15"/>
                  </a:lnTo>
                  <a:lnTo>
                    <a:pt x="59" y="13"/>
                  </a:lnTo>
                  <a:lnTo>
                    <a:pt x="62" y="13"/>
                  </a:lnTo>
                  <a:lnTo>
                    <a:pt x="68" y="13"/>
                  </a:lnTo>
                  <a:lnTo>
                    <a:pt x="75" y="14"/>
                  </a:lnTo>
                  <a:lnTo>
                    <a:pt x="83" y="18"/>
                  </a:lnTo>
                  <a:lnTo>
                    <a:pt x="103" y="26"/>
                  </a:lnTo>
                  <a:lnTo>
                    <a:pt x="106" y="28"/>
                  </a:lnTo>
                  <a:lnTo>
                    <a:pt x="106" y="31"/>
                  </a:lnTo>
                  <a:lnTo>
                    <a:pt x="106" y="34"/>
                  </a:lnTo>
                  <a:lnTo>
                    <a:pt x="107" y="38"/>
                  </a:lnTo>
                  <a:lnTo>
                    <a:pt x="111" y="40"/>
                  </a:lnTo>
                  <a:lnTo>
                    <a:pt x="117" y="41"/>
                  </a:lnTo>
                  <a:lnTo>
                    <a:pt x="123" y="41"/>
                  </a:lnTo>
                  <a:lnTo>
                    <a:pt x="130" y="40"/>
                  </a:lnTo>
                  <a:lnTo>
                    <a:pt x="146" y="34"/>
                  </a:lnTo>
                  <a:lnTo>
                    <a:pt x="160" y="28"/>
                  </a:lnTo>
                  <a:lnTo>
                    <a:pt x="168" y="25"/>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4" name="Freeform 1343"/>
            <p:cNvSpPr>
              <a:spLocks/>
            </p:cNvSpPr>
            <p:nvPr/>
          </p:nvSpPr>
          <p:spPr bwMode="auto">
            <a:xfrm>
              <a:off x="5459417" y="3087692"/>
              <a:ext cx="85725" cy="53974"/>
            </a:xfrm>
            <a:custGeom>
              <a:avLst/>
              <a:gdLst>
                <a:gd name="T0" fmla="*/ 0 w 58"/>
                <a:gd name="T1" fmla="*/ 2147483647 h 34"/>
                <a:gd name="T2" fmla="*/ 0 w 58"/>
                <a:gd name="T3" fmla="*/ 2147483647 h 34"/>
                <a:gd name="T4" fmla="*/ 2147483647 w 58"/>
                <a:gd name="T5" fmla="*/ 2147483647 h 34"/>
                <a:gd name="T6" fmla="*/ 2147483647 w 58"/>
                <a:gd name="T7" fmla="*/ 0 h 34"/>
                <a:gd name="T8" fmla="*/ 2147483647 w 58"/>
                <a:gd name="T9" fmla="*/ 0 h 34"/>
                <a:gd name="T10" fmla="*/ 2147483647 w 58"/>
                <a:gd name="T11" fmla="*/ 0 h 34"/>
                <a:gd name="T12" fmla="*/ 2147483647 w 58"/>
                <a:gd name="T13" fmla="*/ 0 h 34"/>
                <a:gd name="T14" fmla="*/ 2147483647 w 58"/>
                <a:gd name="T15" fmla="*/ 2147483647 h 34"/>
                <a:gd name="T16" fmla="*/ 2147483647 w 58"/>
                <a:gd name="T17" fmla="*/ 2147483647 h 34"/>
                <a:gd name="T18" fmla="*/ 2147483647 w 58"/>
                <a:gd name="T19" fmla="*/ 2147483647 h 34"/>
                <a:gd name="T20" fmla="*/ 2147483647 w 58"/>
                <a:gd name="T21" fmla="*/ 2147483647 h 34"/>
                <a:gd name="T22" fmla="*/ 2147483647 w 58"/>
                <a:gd name="T23" fmla="*/ 2147483647 h 34"/>
                <a:gd name="T24" fmla="*/ 2147483647 w 58"/>
                <a:gd name="T25" fmla="*/ 2147483647 h 34"/>
                <a:gd name="T26" fmla="*/ 2147483647 w 58"/>
                <a:gd name="T27" fmla="*/ 2147483647 h 34"/>
                <a:gd name="T28" fmla="*/ 2147483647 w 58"/>
                <a:gd name="T29" fmla="*/ 2147483647 h 34"/>
                <a:gd name="T30" fmla="*/ 2147483647 w 58"/>
                <a:gd name="T31" fmla="*/ 2147483647 h 34"/>
                <a:gd name="T32" fmla="*/ 2147483647 w 58"/>
                <a:gd name="T33" fmla="*/ 2147483647 h 34"/>
                <a:gd name="T34" fmla="*/ 2147483647 w 58"/>
                <a:gd name="T35" fmla="*/ 2147483647 h 34"/>
                <a:gd name="T36" fmla="*/ 2147483647 w 58"/>
                <a:gd name="T37" fmla="*/ 2147483647 h 34"/>
                <a:gd name="T38" fmla="*/ 2147483647 w 58"/>
                <a:gd name="T39" fmla="*/ 2147483647 h 34"/>
                <a:gd name="T40" fmla="*/ 2147483647 w 58"/>
                <a:gd name="T41" fmla="*/ 2147483647 h 34"/>
                <a:gd name="T42" fmla="*/ 2147483647 w 58"/>
                <a:gd name="T43" fmla="*/ 2147483647 h 34"/>
                <a:gd name="T44" fmla="*/ 2147483647 w 58"/>
                <a:gd name="T45" fmla="*/ 2147483647 h 34"/>
                <a:gd name="T46" fmla="*/ 2147483647 w 58"/>
                <a:gd name="T47" fmla="*/ 2147483647 h 34"/>
                <a:gd name="T48" fmla="*/ 2147483647 w 58"/>
                <a:gd name="T49" fmla="*/ 2147483647 h 34"/>
                <a:gd name="T50" fmla="*/ 2147483647 w 58"/>
                <a:gd name="T51" fmla="*/ 2147483647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34"/>
                <a:gd name="T80" fmla="*/ 58 w 58"/>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34">
                  <a:moveTo>
                    <a:pt x="0" y="4"/>
                  </a:moveTo>
                  <a:lnTo>
                    <a:pt x="0" y="4"/>
                  </a:lnTo>
                  <a:lnTo>
                    <a:pt x="5" y="2"/>
                  </a:lnTo>
                  <a:lnTo>
                    <a:pt x="9" y="0"/>
                  </a:lnTo>
                  <a:lnTo>
                    <a:pt x="14" y="0"/>
                  </a:lnTo>
                  <a:lnTo>
                    <a:pt x="23" y="0"/>
                  </a:lnTo>
                  <a:lnTo>
                    <a:pt x="29" y="3"/>
                  </a:lnTo>
                  <a:lnTo>
                    <a:pt x="37" y="5"/>
                  </a:lnTo>
                  <a:lnTo>
                    <a:pt x="39" y="6"/>
                  </a:lnTo>
                  <a:lnTo>
                    <a:pt x="48" y="6"/>
                  </a:lnTo>
                  <a:lnTo>
                    <a:pt x="54" y="8"/>
                  </a:lnTo>
                  <a:lnTo>
                    <a:pt x="57" y="9"/>
                  </a:lnTo>
                  <a:lnTo>
                    <a:pt x="58" y="14"/>
                  </a:lnTo>
                  <a:lnTo>
                    <a:pt x="58" y="18"/>
                  </a:lnTo>
                  <a:lnTo>
                    <a:pt x="57" y="21"/>
                  </a:lnTo>
                  <a:lnTo>
                    <a:pt x="56" y="22"/>
                  </a:lnTo>
                  <a:lnTo>
                    <a:pt x="54" y="24"/>
                  </a:lnTo>
                  <a:lnTo>
                    <a:pt x="54" y="27"/>
                  </a:lnTo>
                  <a:lnTo>
                    <a:pt x="56" y="31"/>
                  </a:lnTo>
                  <a:lnTo>
                    <a:pt x="57" y="34"/>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5" name="Freeform 1344"/>
            <p:cNvSpPr>
              <a:spLocks/>
            </p:cNvSpPr>
            <p:nvPr/>
          </p:nvSpPr>
          <p:spPr bwMode="auto">
            <a:xfrm>
              <a:off x="5502276" y="3035300"/>
              <a:ext cx="88900" cy="57150"/>
            </a:xfrm>
            <a:custGeom>
              <a:avLst/>
              <a:gdLst>
                <a:gd name="T0" fmla="*/ 0 w 60"/>
                <a:gd name="T1" fmla="*/ 2147483647 h 36"/>
                <a:gd name="T2" fmla="*/ 0 w 60"/>
                <a:gd name="T3" fmla="*/ 2147483647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2147483647 w 60"/>
                <a:gd name="T13" fmla="*/ 2147483647 h 36"/>
                <a:gd name="T14" fmla="*/ 2147483647 w 60"/>
                <a:gd name="T15" fmla="*/ 2147483647 h 36"/>
                <a:gd name="T16" fmla="*/ 2147483647 w 60"/>
                <a:gd name="T17" fmla="*/ 2147483647 h 36"/>
                <a:gd name="T18" fmla="*/ 2147483647 w 60"/>
                <a:gd name="T19" fmla="*/ 2147483647 h 36"/>
                <a:gd name="T20" fmla="*/ 2147483647 w 60"/>
                <a:gd name="T21" fmla="*/ 2147483647 h 36"/>
                <a:gd name="T22" fmla="*/ 2147483647 w 60"/>
                <a:gd name="T23" fmla="*/ 2147483647 h 36"/>
                <a:gd name="T24" fmla="*/ 2147483647 w 60"/>
                <a:gd name="T25" fmla="*/ 2147483647 h 36"/>
                <a:gd name="T26" fmla="*/ 2147483647 w 60"/>
                <a:gd name="T27" fmla="*/ 2147483647 h 36"/>
                <a:gd name="T28" fmla="*/ 2147483647 w 60"/>
                <a:gd name="T29" fmla="*/ 2147483647 h 36"/>
                <a:gd name="T30" fmla="*/ 2147483647 w 60"/>
                <a:gd name="T31" fmla="*/ 2147483647 h 36"/>
                <a:gd name="T32" fmla="*/ 2147483647 w 60"/>
                <a:gd name="T33" fmla="*/ 2147483647 h 36"/>
                <a:gd name="T34" fmla="*/ 2147483647 w 60"/>
                <a:gd name="T35" fmla="*/ 2147483647 h 36"/>
                <a:gd name="T36" fmla="*/ 2147483647 w 60"/>
                <a:gd name="T37" fmla="*/ 2147483647 h 36"/>
                <a:gd name="T38" fmla="*/ 2147483647 w 60"/>
                <a:gd name="T39" fmla="*/ 2147483647 h 36"/>
                <a:gd name="T40" fmla="*/ 2147483647 w 60"/>
                <a:gd name="T41" fmla="*/ 2147483647 h 36"/>
                <a:gd name="T42" fmla="*/ 2147483647 w 60"/>
                <a:gd name="T43" fmla="*/ 2147483647 h 36"/>
                <a:gd name="T44" fmla="*/ 2147483647 w 60"/>
                <a:gd name="T45" fmla="*/ 2147483647 h 36"/>
                <a:gd name="T46" fmla="*/ 2147483647 w 60"/>
                <a:gd name="T47" fmla="*/ 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36"/>
                <a:gd name="T74" fmla="*/ 60 w 60"/>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36">
                  <a:moveTo>
                    <a:pt x="0" y="36"/>
                  </a:moveTo>
                  <a:lnTo>
                    <a:pt x="0" y="36"/>
                  </a:lnTo>
                  <a:lnTo>
                    <a:pt x="4" y="31"/>
                  </a:lnTo>
                  <a:lnTo>
                    <a:pt x="6" y="28"/>
                  </a:lnTo>
                  <a:lnTo>
                    <a:pt x="10" y="25"/>
                  </a:lnTo>
                  <a:lnTo>
                    <a:pt x="13" y="25"/>
                  </a:lnTo>
                  <a:lnTo>
                    <a:pt x="15" y="25"/>
                  </a:lnTo>
                  <a:lnTo>
                    <a:pt x="16" y="25"/>
                  </a:lnTo>
                  <a:lnTo>
                    <a:pt x="19" y="24"/>
                  </a:lnTo>
                  <a:lnTo>
                    <a:pt x="22" y="23"/>
                  </a:lnTo>
                  <a:lnTo>
                    <a:pt x="23" y="23"/>
                  </a:lnTo>
                  <a:lnTo>
                    <a:pt x="24" y="22"/>
                  </a:lnTo>
                  <a:lnTo>
                    <a:pt x="23" y="17"/>
                  </a:lnTo>
                  <a:lnTo>
                    <a:pt x="23" y="10"/>
                  </a:lnTo>
                  <a:lnTo>
                    <a:pt x="23" y="7"/>
                  </a:lnTo>
                  <a:lnTo>
                    <a:pt x="25" y="6"/>
                  </a:lnTo>
                  <a:lnTo>
                    <a:pt x="33" y="5"/>
                  </a:lnTo>
                  <a:lnTo>
                    <a:pt x="43" y="4"/>
                  </a:lnTo>
                  <a:lnTo>
                    <a:pt x="52" y="3"/>
                  </a:lnTo>
                  <a:lnTo>
                    <a:pt x="60" y="0"/>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sp>
          <p:nvSpPr>
            <p:cNvPr id="1346" name="Freeform 1345"/>
            <p:cNvSpPr>
              <a:spLocks/>
            </p:cNvSpPr>
            <p:nvPr/>
          </p:nvSpPr>
          <p:spPr bwMode="auto">
            <a:xfrm>
              <a:off x="5349879" y="2989263"/>
              <a:ext cx="188913" cy="57150"/>
            </a:xfrm>
            <a:custGeom>
              <a:avLst/>
              <a:gdLst>
                <a:gd name="T0" fmla="*/ 0 w 129"/>
                <a:gd name="T1" fmla="*/ 2147483647 h 36"/>
                <a:gd name="T2" fmla="*/ 0 w 129"/>
                <a:gd name="T3" fmla="*/ 2147483647 h 36"/>
                <a:gd name="T4" fmla="*/ 2147483647 w 129"/>
                <a:gd name="T5" fmla="*/ 0 h 36"/>
                <a:gd name="T6" fmla="*/ 2147483647 w 129"/>
                <a:gd name="T7" fmla="*/ 0 h 36"/>
                <a:gd name="T8" fmla="*/ 2147483647 w 129"/>
                <a:gd name="T9" fmla="*/ 0 h 36"/>
                <a:gd name="T10" fmla="*/ 2147483647 w 129"/>
                <a:gd name="T11" fmla="*/ 2147483647 h 36"/>
                <a:gd name="T12" fmla="*/ 2147483647 w 129"/>
                <a:gd name="T13" fmla="*/ 2147483647 h 36"/>
                <a:gd name="T14" fmla="*/ 2147483647 w 129"/>
                <a:gd name="T15" fmla="*/ 2147483647 h 36"/>
                <a:gd name="T16" fmla="*/ 2147483647 w 129"/>
                <a:gd name="T17" fmla="*/ 2147483647 h 36"/>
                <a:gd name="T18" fmla="*/ 2147483647 w 129"/>
                <a:gd name="T19" fmla="*/ 2147483647 h 36"/>
                <a:gd name="T20" fmla="*/ 2147483647 w 129"/>
                <a:gd name="T21" fmla="*/ 2147483647 h 36"/>
                <a:gd name="T22" fmla="*/ 2147483647 w 129"/>
                <a:gd name="T23" fmla="*/ 2147483647 h 36"/>
                <a:gd name="T24" fmla="*/ 2147483647 w 129"/>
                <a:gd name="T25" fmla="*/ 2147483647 h 36"/>
                <a:gd name="T26" fmla="*/ 2147483647 w 129"/>
                <a:gd name="T27" fmla="*/ 2147483647 h 36"/>
                <a:gd name="T28" fmla="*/ 2147483647 w 129"/>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36"/>
                <a:gd name="T47" fmla="*/ 129 w 129"/>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36">
                  <a:moveTo>
                    <a:pt x="0" y="1"/>
                  </a:moveTo>
                  <a:lnTo>
                    <a:pt x="0" y="1"/>
                  </a:lnTo>
                  <a:lnTo>
                    <a:pt x="18" y="0"/>
                  </a:lnTo>
                  <a:lnTo>
                    <a:pt x="32" y="0"/>
                  </a:lnTo>
                  <a:lnTo>
                    <a:pt x="37" y="0"/>
                  </a:lnTo>
                  <a:lnTo>
                    <a:pt x="40" y="1"/>
                  </a:lnTo>
                  <a:lnTo>
                    <a:pt x="56" y="8"/>
                  </a:lnTo>
                  <a:lnTo>
                    <a:pt x="68" y="13"/>
                  </a:lnTo>
                  <a:lnTo>
                    <a:pt x="96" y="25"/>
                  </a:lnTo>
                  <a:lnTo>
                    <a:pt x="114" y="33"/>
                  </a:lnTo>
                  <a:lnTo>
                    <a:pt x="124" y="36"/>
                  </a:lnTo>
                  <a:lnTo>
                    <a:pt x="129" y="36"/>
                  </a:lnTo>
                </a:path>
              </a:pathLst>
            </a:custGeom>
            <a:grpFill/>
            <a:ln w="4763">
              <a:noFill/>
              <a:round/>
              <a:headEnd/>
              <a:tailEnd/>
            </a:ln>
          </p:spPr>
          <p:txBody>
            <a:bodyPr lIns="91430" tIns="45716" rIns="91430" bIns="45716"/>
            <a:lstStyle/>
            <a:p>
              <a:pPr defTabSz="455892" fontAlgn="base">
                <a:spcBef>
                  <a:spcPct val="0"/>
                </a:spcBef>
                <a:spcAft>
                  <a:spcPct val="0"/>
                </a:spcAft>
              </a:pPr>
              <a:endParaRPr lang="en-GB" sz="1100">
                <a:solidFill>
                  <a:prstClr val="black"/>
                </a:solidFill>
              </a:endParaRPr>
            </a:p>
          </p:txBody>
        </p:sp>
      </p:grpSp>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48372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Map Asia Pacific">
    <p:spTree>
      <p:nvGrpSpPr>
        <p:cNvPr id="1" name=""/>
        <p:cNvGrpSpPr/>
        <p:nvPr/>
      </p:nvGrpSpPr>
      <p:grpSpPr>
        <a:xfrm>
          <a:off x="0" y="0"/>
          <a:ext cx="0" cy="0"/>
          <a:chOff x="0" y="0"/>
          <a:chExt cx="0" cy="0"/>
        </a:xfrm>
      </p:grpSpPr>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grpSp>
        <p:nvGrpSpPr>
          <p:cNvPr id="5921" name="Group 5920"/>
          <p:cNvGrpSpPr/>
          <p:nvPr userDrawn="1"/>
        </p:nvGrpSpPr>
        <p:grpSpPr>
          <a:xfrm>
            <a:off x="1565690" y="1493955"/>
            <a:ext cx="9060621" cy="4636258"/>
            <a:chOff x="1565690" y="1493955"/>
            <a:chExt cx="9060621" cy="4636258"/>
          </a:xfrm>
          <a:solidFill>
            <a:srgbClr val="CECECE"/>
          </a:solidFill>
        </p:grpSpPr>
        <p:grpSp>
          <p:nvGrpSpPr>
            <p:cNvPr id="5922" name="Group 5921"/>
            <p:cNvGrpSpPr/>
            <p:nvPr/>
          </p:nvGrpSpPr>
          <p:grpSpPr>
            <a:xfrm>
              <a:off x="1565690" y="1493955"/>
              <a:ext cx="9060621" cy="4613098"/>
              <a:chOff x="447792" y="1624583"/>
              <a:chExt cx="9224893" cy="4716351"/>
            </a:xfrm>
            <a:grpFill/>
          </p:grpSpPr>
          <p:grpSp>
            <p:nvGrpSpPr>
              <p:cNvPr id="6305" name="Group 6304"/>
              <p:cNvGrpSpPr/>
              <p:nvPr/>
            </p:nvGrpSpPr>
            <p:grpSpPr>
              <a:xfrm>
                <a:off x="6018880" y="1624583"/>
                <a:ext cx="3653805" cy="4716351"/>
                <a:chOff x="681740" y="1643823"/>
                <a:chExt cx="3653805" cy="4716351"/>
              </a:xfrm>
              <a:grpFill/>
            </p:grpSpPr>
            <p:sp>
              <p:nvSpPr>
                <p:cNvPr id="7094" name="Freeform 482"/>
                <p:cNvSpPr>
                  <a:spLocks/>
                </p:cNvSpPr>
                <p:nvPr/>
              </p:nvSpPr>
              <p:spPr bwMode="auto">
                <a:xfrm>
                  <a:off x="3130933" y="4124085"/>
                  <a:ext cx="7399" cy="11839"/>
                </a:xfrm>
                <a:custGeom>
                  <a:avLst/>
                  <a:gdLst>
                    <a:gd name="T0" fmla="*/ 2147483647 w 6"/>
                    <a:gd name="T1" fmla="*/ 2147483647 h 8"/>
                    <a:gd name="T2" fmla="*/ 0 w 6"/>
                    <a:gd name="T3" fmla="*/ 2147483647 h 8"/>
                    <a:gd name="T4" fmla="*/ 0 w 6"/>
                    <a:gd name="T5" fmla="*/ 2147483647 h 8"/>
                    <a:gd name="T6" fmla="*/ 0 w 6"/>
                    <a:gd name="T7" fmla="*/ 0 h 8"/>
                    <a:gd name="T8" fmla="*/ 2147483647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1" y="6"/>
                      </a:moveTo>
                      <a:lnTo>
                        <a:pt x="0" y="5"/>
                      </a:lnTo>
                      <a:lnTo>
                        <a:pt x="0" y="4"/>
                      </a:lnTo>
                      <a:lnTo>
                        <a:pt x="0" y="0"/>
                      </a:lnTo>
                      <a:lnTo>
                        <a:pt x="4" y="3"/>
                      </a:lnTo>
                      <a:lnTo>
                        <a:pt x="5" y="4"/>
                      </a:lnTo>
                      <a:lnTo>
                        <a:pt x="6" y="5"/>
                      </a:lnTo>
                      <a:lnTo>
                        <a:pt x="4" y="8"/>
                      </a:lnTo>
                      <a:lnTo>
                        <a:pt x="2" y="8"/>
                      </a:lnTo>
                      <a:lnTo>
                        <a:pt x="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5" name="Freeform 484"/>
                <p:cNvSpPr>
                  <a:spLocks/>
                </p:cNvSpPr>
                <p:nvPr/>
              </p:nvSpPr>
              <p:spPr bwMode="auto">
                <a:xfrm>
                  <a:off x="3129449" y="4122605"/>
                  <a:ext cx="7400" cy="10360"/>
                </a:xfrm>
                <a:custGeom>
                  <a:avLst/>
                  <a:gdLst>
                    <a:gd name="T0" fmla="*/ 2147483647 w 6"/>
                    <a:gd name="T1" fmla="*/ 2147483647 h 7"/>
                    <a:gd name="T2" fmla="*/ 2147483647 w 6"/>
                    <a:gd name="T3" fmla="*/ 2147483647 h 7"/>
                    <a:gd name="T4" fmla="*/ 0 w 6"/>
                    <a:gd name="T5" fmla="*/ 2147483647 h 7"/>
                    <a:gd name="T6" fmla="*/ 0 w 6"/>
                    <a:gd name="T7" fmla="*/ 2147483647 h 7"/>
                    <a:gd name="T8" fmla="*/ 0 w 6"/>
                    <a:gd name="T9" fmla="*/ 0 h 7"/>
                    <a:gd name="T10" fmla="*/ 0 w 6"/>
                    <a:gd name="T11" fmla="*/ 0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1" y="6"/>
                      </a:moveTo>
                      <a:lnTo>
                        <a:pt x="1" y="6"/>
                      </a:lnTo>
                      <a:lnTo>
                        <a:pt x="0" y="5"/>
                      </a:lnTo>
                      <a:lnTo>
                        <a:pt x="0" y="4"/>
                      </a:lnTo>
                      <a:lnTo>
                        <a:pt x="0" y="0"/>
                      </a:lnTo>
                      <a:lnTo>
                        <a:pt x="3" y="3"/>
                      </a:lnTo>
                      <a:lnTo>
                        <a:pt x="5" y="4"/>
                      </a:lnTo>
                      <a:lnTo>
                        <a:pt x="6" y="5"/>
                      </a:lnTo>
                      <a:lnTo>
                        <a:pt x="3" y="7"/>
                      </a:lnTo>
                      <a:lnTo>
                        <a:pt x="2" y="7"/>
                      </a:lnTo>
                      <a:lnTo>
                        <a:pt x="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6" name="Freeform 485"/>
                <p:cNvSpPr>
                  <a:spLocks/>
                </p:cNvSpPr>
                <p:nvPr/>
              </p:nvSpPr>
              <p:spPr bwMode="auto">
                <a:xfrm>
                  <a:off x="3159047" y="4152206"/>
                  <a:ext cx="25158" cy="16279"/>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0 w 18"/>
                    <a:gd name="T9" fmla="*/ 2147483647 h 11"/>
                    <a:gd name="T10" fmla="*/ 0 w 18"/>
                    <a:gd name="T11" fmla="*/ 2147483647 h 11"/>
                    <a:gd name="T12" fmla="*/ 2147483647 w 18"/>
                    <a:gd name="T13" fmla="*/ 2147483647 h 11"/>
                    <a:gd name="T14" fmla="*/ 2147483647 w 18"/>
                    <a:gd name="T15" fmla="*/ 2147483647 h 11"/>
                    <a:gd name="T16" fmla="*/ 2147483647 w 18"/>
                    <a:gd name="T17" fmla="*/ 2147483647 h 11"/>
                    <a:gd name="T18" fmla="*/ 2147483647 w 18"/>
                    <a:gd name="T19" fmla="*/ 0 h 11"/>
                    <a:gd name="T20" fmla="*/ 2147483647 w 18"/>
                    <a:gd name="T21" fmla="*/ 2147483647 h 11"/>
                    <a:gd name="T22" fmla="*/ 2147483647 w 18"/>
                    <a:gd name="T23" fmla="*/ 2147483647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1"/>
                    <a:gd name="T53" fmla="*/ 18 w 1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1">
                      <a:moveTo>
                        <a:pt x="12" y="9"/>
                      </a:moveTo>
                      <a:lnTo>
                        <a:pt x="8" y="11"/>
                      </a:lnTo>
                      <a:lnTo>
                        <a:pt x="3" y="11"/>
                      </a:lnTo>
                      <a:lnTo>
                        <a:pt x="2" y="10"/>
                      </a:lnTo>
                      <a:lnTo>
                        <a:pt x="0" y="9"/>
                      </a:lnTo>
                      <a:lnTo>
                        <a:pt x="0" y="6"/>
                      </a:lnTo>
                      <a:lnTo>
                        <a:pt x="2" y="4"/>
                      </a:lnTo>
                      <a:lnTo>
                        <a:pt x="3" y="3"/>
                      </a:lnTo>
                      <a:lnTo>
                        <a:pt x="5" y="2"/>
                      </a:lnTo>
                      <a:lnTo>
                        <a:pt x="11" y="0"/>
                      </a:lnTo>
                      <a:lnTo>
                        <a:pt x="16" y="2"/>
                      </a:lnTo>
                      <a:lnTo>
                        <a:pt x="17" y="3"/>
                      </a:lnTo>
                      <a:lnTo>
                        <a:pt x="18" y="5"/>
                      </a:lnTo>
                      <a:lnTo>
                        <a:pt x="18" y="8"/>
                      </a:lnTo>
                      <a:lnTo>
                        <a:pt x="17" y="8"/>
                      </a:lnTo>
                      <a:lnTo>
                        <a:pt x="14" y="9"/>
                      </a:lnTo>
                      <a:lnTo>
                        <a:pt x="12"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7" name="Freeform 486"/>
                <p:cNvSpPr>
                  <a:spLocks/>
                </p:cNvSpPr>
                <p:nvPr/>
              </p:nvSpPr>
              <p:spPr bwMode="auto">
                <a:xfrm>
                  <a:off x="3164966" y="4180320"/>
                  <a:ext cx="5919" cy="10359"/>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0 w 5"/>
                    <a:gd name="T9" fmla="*/ 2147483647 h 7"/>
                    <a:gd name="T10" fmla="*/ 0 w 5"/>
                    <a:gd name="T11" fmla="*/ 0 h 7"/>
                    <a:gd name="T12" fmla="*/ 2147483647 w 5"/>
                    <a:gd name="T13" fmla="*/ 0 h 7"/>
                    <a:gd name="T14" fmla="*/ 2147483647 w 5"/>
                    <a:gd name="T15" fmla="*/ 2147483647 h 7"/>
                    <a:gd name="T16" fmla="*/ 2147483647 w 5"/>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7"/>
                    <a:gd name="T29" fmla="*/ 5 w 5"/>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7">
                      <a:moveTo>
                        <a:pt x="5" y="5"/>
                      </a:moveTo>
                      <a:lnTo>
                        <a:pt x="5" y="7"/>
                      </a:lnTo>
                      <a:lnTo>
                        <a:pt x="4" y="7"/>
                      </a:lnTo>
                      <a:lnTo>
                        <a:pt x="3" y="6"/>
                      </a:lnTo>
                      <a:lnTo>
                        <a:pt x="0" y="4"/>
                      </a:lnTo>
                      <a:lnTo>
                        <a:pt x="0" y="0"/>
                      </a:lnTo>
                      <a:lnTo>
                        <a:pt x="3" y="0"/>
                      </a:lnTo>
                      <a:lnTo>
                        <a:pt x="4" y="3"/>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8" name="Freeform 487"/>
                <p:cNvSpPr>
                  <a:spLocks/>
                </p:cNvSpPr>
                <p:nvPr/>
              </p:nvSpPr>
              <p:spPr bwMode="auto">
                <a:xfrm>
                  <a:off x="3157570" y="4150722"/>
                  <a:ext cx="25157" cy="16278"/>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2147483647 w 18"/>
                    <a:gd name="T9" fmla="*/ 2147483647 h 11"/>
                    <a:gd name="T10" fmla="*/ 0 w 18"/>
                    <a:gd name="T11" fmla="*/ 2147483647 h 11"/>
                    <a:gd name="T12" fmla="*/ 0 w 18"/>
                    <a:gd name="T13" fmla="*/ 2147483647 h 11"/>
                    <a:gd name="T14" fmla="*/ 2147483647 w 18"/>
                    <a:gd name="T15" fmla="*/ 2147483647 h 11"/>
                    <a:gd name="T16" fmla="*/ 2147483647 w 18"/>
                    <a:gd name="T17" fmla="*/ 2147483647 h 11"/>
                    <a:gd name="T18" fmla="*/ 2147483647 w 18"/>
                    <a:gd name="T19" fmla="*/ 2147483647 h 11"/>
                    <a:gd name="T20" fmla="*/ 2147483647 w 18"/>
                    <a:gd name="T21" fmla="*/ 2147483647 h 11"/>
                    <a:gd name="T22" fmla="*/ 2147483647 w 18"/>
                    <a:gd name="T23" fmla="*/ 0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2147483647 w 18"/>
                    <a:gd name="T35" fmla="*/ 2147483647 h 11"/>
                    <a:gd name="T36" fmla="*/ 2147483647 w 18"/>
                    <a:gd name="T37" fmla="*/ 2147483647 h 11"/>
                    <a:gd name="T38" fmla="*/ 2147483647 w 18"/>
                    <a:gd name="T39" fmla="*/ 2147483647 h 11"/>
                    <a:gd name="T40" fmla="*/ 2147483647 w 18"/>
                    <a:gd name="T41" fmla="*/ 2147483647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1"/>
                    <a:gd name="T65" fmla="*/ 18 w 18"/>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1">
                      <a:moveTo>
                        <a:pt x="12" y="9"/>
                      </a:moveTo>
                      <a:lnTo>
                        <a:pt x="12" y="9"/>
                      </a:lnTo>
                      <a:lnTo>
                        <a:pt x="8" y="11"/>
                      </a:lnTo>
                      <a:lnTo>
                        <a:pt x="3" y="11"/>
                      </a:lnTo>
                      <a:lnTo>
                        <a:pt x="1" y="10"/>
                      </a:lnTo>
                      <a:lnTo>
                        <a:pt x="0" y="9"/>
                      </a:lnTo>
                      <a:lnTo>
                        <a:pt x="0" y="6"/>
                      </a:lnTo>
                      <a:lnTo>
                        <a:pt x="1" y="4"/>
                      </a:lnTo>
                      <a:lnTo>
                        <a:pt x="3" y="3"/>
                      </a:lnTo>
                      <a:lnTo>
                        <a:pt x="5" y="1"/>
                      </a:lnTo>
                      <a:lnTo>
                        <a:pt x="10" y="0"/>
                      </a:lnTo>
                      <a:lnTo>
                        <a:pt x="15" y="1"/>
                      </a:lnTo>
                      <a:lnTo>
                        <a:pt x="17" y="3"/>
                      </a:lnTo>
                      <a:lnTo>
                        <a:pt x="18" y="5"/>
                      </a:lnTo>
                      <a:lnTo>
                        <a:pt x="18" y="7"/>
                      </a:lnTo>
                      <a:lnTo>
                        <a:pt x="17" y="7"/>
                      </a:lnTo>
                      <a:lnTo>
                        <a:pt x="14" y="9"/>
                      </a:lnTo>
                      <a:lnTo>
                        <a:pt x="12"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9" name="Freeform 488"/>
                <p:cNvSpPr>
                  <a:spLocks/>
                </p:cNvSpPr>
                <p:nvPr/>
              </p:nvSpPr>
              <p:spPr bwMode="auto">
                <a:xfrm>
                  <a:off x="3163487" y="4178841"/>
                  <a:ext cx="5919" cy="10360"/>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0 w 5"/>
                    <a:gd name="T15" fmla="*/ 0 h 7"/>
                    <a:gd name="T16" fmla="*/ 0 w 5"/>
                    <a:gd name="T17" fmla="*/ 0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7"/>
                    <a:gd name="T44" fmla="*/ 5 w 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7">
                      <a:moveTo>
                        <a:pt x="5" y="5"/>
                      </a:moveTo>
                      <a:lnTo>
                        <a:pt x="5" y="5"/>
                      </a:lnTo>
                      <a:lnTo>
                        <a:pt x="5" y="7"/>
                      </a:lnTo>
                      <a:lnTo>
                        <a:pt x="4" y="7"/>
                      </a:lnTo>
                      <a:lnTo>
                        <a:pt x="2" y="6"/>
                      </a:lnTo>
                      <a:lnTo>
                        <a:pt x="0" y="4"/>
                      </a:lnTo>
                      <a:lnTo>
                        <a:pt x="0" y="0"/>
                      </a:lnTo>
                      <a:lnTo>
                        <a:pt x="2" y="0"/>
                      </a:lnTo>
                      <a:lnTo>
                        <a:pt x="4" y="3"/>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0" name="Freeform 489"/>
                <p:cNvSpPr>
                  <a:spLocks/>
                </p:cNvSpPr>
                <p:nvPr/>
              </p:nvSpPr>
              <p:spPr bwMode="auto">
                <a:xfrm>
                  <a:off x="3176805" y="4205478"/>
                  <a:ext cx="8879" cy="11839"/>
                </a:xfrm>
                <a:custGeom>
                  <a:avLst/>
                  <a:gdLst>
                    <a:gd name="T0" fmla="*/ 2147483647 w 6"/>
                    <a:gd name="T1" fmla="*/ 2147483647 h 8"/>
                    <a:gd name="T2" fmla="*/ 2147483647 w 6"/>
                    <a:gd name="T3" fmla="*/ 2147483647 h 8"/>
                    <a:gd name="T4" fmla="*/ 2147483647 w 6"/>
                    <a:gd name="T5" fmla="*/ 2147483647 h 8"/>
                    <a:gd name="T6" fmla="*/ 0 w 6"/>
                    <a:gd name="T7" fmla="*/ 2147483647 h 8"/>
                    <a:gd name="T8" fmla="*/ 0 w 6"/>
                    <a:gd name="T9" fmla="*/ 2147483647 h 8"/>
                    <a:gd name="T10" fmla="*/ 2147483647 w 6"/>
                    <a:gd name="T11" fmla="*/ 0 h 8"/>
                    <a:gd name="T12" fmla="*/ 2147483647 w 6"/>
                    <a:gd name="T13" fmla="*/ 0 h 8"/>
                    <a:gd name="T14" fmla="*/ 2147483647 w 6"/>
                    <a:gd name="T15" fmla="*/ 2147483647 h 8"/>
                    <a:gd name="T16" fmla="*/ 2147483647 w 6"/>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6"/>
                      </a:moveTo>
                      <a:lnTo>
                        <a:pt x="5" y="7"/>
                      </a:lnTo>
                      <a:lnTo>
                        <a:pt x="4" y="8"/>
                      </a:lnTo>
                      <a:lnTo>
                        <a:pt x="0" y="5"/>
                      </a:lnTo>
                      <a:lnTo>
                        <a:pt x="0" y="2"/>
                      </a:lnTo>
                      <a:lnTo>
                        <a:pt x="1" y="0"/>
                      </a:lnTo>
                      <a:lnTo>
                        <a:pt x="4" y="0"/>
                      </a:lnTo>
                      <a:lnTo>
                        <a:pt x="5" y="1"/>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1" name="Freeform 490"/>
                <p:cNvSpPr>
                  <a:spLocks/>
                </p:cNvSpPr>
                <p:nvPr/>
              </p:nvSpPr>
              <p:spPr bwMode="auto">
                <a:xfrm>
                  <a:off x="3178286" y="4223238"/>
                  <a:ext cx="8879" cy="13319"/>
                </a:xfrm>
                <a:custGeom>
                  <a:avLst/>
                  <a:gdLst>
                    <a:gd name="T0" fmla="*/ 2147483647 w 7"/>
                    <a:gd name="T1" fmla="*/ 2147483647 h 9"/>
                    <a:gd name="T2" fmla="*/ 2147483647 w 7"/>
                    <a:gd name="T3" fmla="*/ 2147483647 h 9"/>
                    <a:gd name="T4" fmla="*/ 2147483647 w 7"/>
                    <a:gd name="T5" fmla="*/ 2147483647 h 9"/>
                    <a:gd name="T6" fmla="*/ 2147483647 w 7"/>
                    <a:gd name="T7" fmla="*/ 2147483647 h 9"/>
                    <a:gd name="T8" fmla="*/ 0 w 7"/>
                    <a:gd name="T9" fmla="*/ 2147483647 h 9"/>
                    <a:gd name="T10" fmla="*/ 0 w 7"/>
                    <a:gd name="T11" fmla="*/ 2147483647 h 9"/>
                    <a:gd name="T12" fmla="*/ 0 w 7"/>
                    <a:gd name="T13" fmla="*/ 2147483647 h 9"/>
                    <a:gd name="T14" fmla="*/ 2147483647 w 7"/>
                    <a:gd name="T15" fmla="*/ 0 h 9"/>
                    <a:gd name="T16" fmla="*/ 2147483647 w 7"/>
                    <a:gd name="T17" fmla="*/ 0 h 9"/>
                    <a:gd name="T18" fmla="*/ 2147483647 w 7"/>
                    <a:gd name="T19" fmla="*/ 2147483647 h 9"/>
                    <a:gd name="T20" fmla="*/ 2147483647 w 7"/>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9"/>
                    <a:gd name="T35" fmla="*/ 7 w 7"/>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9">
                      <a:moveTo>
                        <a:pt x="5" y="6"/>
                      </a:moveTo>
                      <a:lnTo>
                        <a:pt x="7" y="7"/>
                      </a:lnTo>
                      <a:lnTo>
                        <a:pt x="4" y="9"/>
                      </a:lnTo>
                      <a:lnTo>
                        <a:pt x="2" y="8"/>
                      </a:lnTo>
                      <a:lnTo>
                        <a:pt x="0" y="5"/>
                      </a:lnTo>
                      <a:lnTo>
                        <a:pt x="0" y="2"/>
                      </a:lnTo>
                      <a:lnTo>
                        <a:pt x="0" y="1"/>
                      </a:lnTo>
                      <a:lnTo>
                        <a:pt x="2" y="0"/>
                      </a:lnTo>
                      <a:lnTo>
                        <a:pt x="4" y="0"/>
                      </a:lnTo>
                      <a:lnTo>
                        <a:pt x="4" y="3"/>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2" name="Freeform 491"/>
                <p:cNvSpPr>
                  <a:spLocks/>
                </p:cNvSpPr>
                <p:nvPr/>
              </p:nvSpPr>
              <p:spPr bwMode="auto">
                <a:xfrm>
                  <a:off x="3175328" y="4203997"/>
                  <a:ext cx="8879"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0 w 6"/>
                    <a:gd name="T11" fmla="*/ 2147483647 h 8"/>
                    <a:gd name="T12" fmla="*/ 0 w 6"/>
                    <a:gd name="T13" fmla="*/ 2147483647 h 8"/>
                    <a:gd name="T14" fmla="*/ 2147483647 w 6"/>
                    <a:gd name="T15" fmla="*/ 0 h 8"/>
                    <a:gd name="T16" fmla="*/ 2147483647 w 6"/>
                    <a:gd name="T17" fmla="*/ 0 h 8"/>
                    <a:gd name="T18" fmla="*/ 2147483647 w 6"/>
                    <a:gd name="T19" fmla="*/ 0 h 8"/>
                    <a:gd name="T20" fmla="*/ 2147483647 w 6"/>
                    <a:gd name="T21" fmla="*/ 2147483647 h 8"/>
                    <a:gd name="T22" fmla="*/ 2147483647 w 6"/>
                    <a:gd name="T23" fmla="*/ 2147483647 h 8"/>
                    <a:gd name="T24" fmla="*/ 2147483647 w 6"/>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6" y="6"/>
                      </a:moveTo>
                      <a:lnTo>
                        <a:pt x="6" y="6"/>
                      </a:lnTo>
                      <a:lnTo>
                        <a:pt x="5" y="7"/>
                      </a:lnTo>
                      <a:lnTo>
                        <a:pt x="4" y="8"/>
                      </a:lnTo>
                      <a:lnTo>
                        <a:pt x="0" y="5"/>
                      </a:lnTo>
                      <a:lnTo>
                        <a:pt x="0" y="2"/>
                      </a:lnTo>
                      <a:lnTo>
                        <a:pt x="1" y="0"/>
                      </a:lnTo>
                      <a:lnTo>
                        <a:pt x="4" y="0"/>
                      </a:lnTo>
                      <a:lnTo>
                        <a:pt x="5" y="1"/>
                      </a:lnTo>
                      <a:lnTo>
                        <a:pt x="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3" name="Freeform 492"/>
                <p:cNvSpPr>
                  <a:spLocks/>
                </p:cNvSpPr>
                <p:nvPr/>
              </p:nvSpPr>
              <p:spPr bwMode="auto">
                <a:xfrm>
                  <a:off x="3176805" y="4221757"/>
                  <a:ext cx="8879" cy="13319"/>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0 w 6"/>
                    <a:gd name="T15" fmla="*/ 2147483647 h 9"/>
                    <a:gd name="T16" fmla="*/ 0 w 6"/>
                    <a:gd name="T17" fmla="*/ 2147483647 h 9"/>
                    <a:gd name="T18" fmla="*/ 0 w 6"/>
                    <a:gd name="T19" fmla="*/ 2147483647 h 9"/>
                    <a:gd name="T20" fmla="*/ 0 w 6"/>
                    <a:gd name="T21" fmla="*/ 2147483647 h 9"/>
                    <a:gd name="T22" fmla="*/ 2147483647 w 6"/>
                    <a:gd name="T23" fmla="*/ 0 h 9"/>
                    <a:gd name="T24" fmla="*/ 2147483647 w 6"/>
                    <a:gd name="T25" fmla="*/ 0 h 9"/>
                    <a:gd name="T26" fmla="*/ 2147483647 w 6"/>
                    <a:gd name="T27" fmla="*/ 0 h 9"/>
                    <a:gd name="T28" fmla="*/ 2147483647 w 6"/>
                    <a:gd name="T29" fmla="*/ 2147483647 h 9"/>
                    <a:gd name="T30" fmla="*/ 2147483647 w 6"/>
                    <a:gd name="T31" fmla="*/ 2147483647 h 9"/>
                    <a:gd name="T32" fmla="*/ 2147483647 w 6"/>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9"/>
                    <a:gd name="T53" fmla="*/ 6 w 6"/>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9">
                      <a:moveTo>
                        <a:pt x="5" y="6"/>
                      </a:moveTo>
                      <a:lnTo>
                        <a:pt x="5" y="6"/>
                      </a:lnTo>
                      <a:lnTo>
                        <a:pt x="6" y="7"/>
                      </a:lnTo>
                      <a:lnTo>
                        <a:pt x="4" y="9"/>
                      </a:lnTo>
                      <a:lnTo>
                        <a:pt x="1" y="8"/>
                      </a:lnTo>
                      <a:lnTo>
                        <a:pt x="0" y="4"/>
                      </a:lnTo>
                      <a:lnTo>
                        <a:pt x="0" y="2"/>
                      </a:lnTo>
                      <a:lnTo>
                        <a:pt x="0" y="1"/>
                      </a:lnTo>
                      <a:lnTo>
                        <a:pt x="1" y="0"/>
                      </a:lnTo>
                      <a:lnTo>
                        <a:pt x="4" y="0"/>
                      </a:lnTo>
                      <a:lnTo>
                        <a:pt x="4" y="3"/>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4" name="Freeform 493"/>
                <p:cNvSpPr>
                  <a:spLocks/>
                </p:cNvSpPr>
                <p:nvPr/>
              </p:nvSpPr>
              <p:spPr bwMode="auto">
                <a:xfrm>
                  <a:off x="3173845" y="4254314"/>
                  <a:ext cx="4440" cy="14799"/>
                </a:xfrm>
                <a:custGeom>
                  <a:avLst/>
                  <a:gdLst>
                    <a:gd name="T0" fmla="*/ 0 w 3"/>
                    <a:gd name="T1" fmla="*/ 2147483647 h 10"/>
                    <a:gd name="T2" fmla="*/ 0 w 3"/>
                    <a:gd name="T3" fmla="*/ 2147483647 h 10"/>
                    <a:gd name="T4" fmla="*/ 0 w 3"/>
                    <a:gd name="T5" fmla="*/ 0 h 10"/>
                    <a:gd name="T6" fmla="*/ 2147483647 w 3"/>
                    <a:gd name="T7" fmla="*/ 0 h 10"/>
                    <a:gd name="T8" fmla="*/ 2147483647 w 3"/>
                    <a:gd name="T9" fmla="*/ 2147483647 h 10"/>
                    <a:gd name="T10" fmla="*/ 2147483647 w 3"/>
                    <a:gd name="T11" fmla="*/ 2147483647 h 10"/>
                    <a:gd name="T12" fmla="*/ 2147483647 w 3"/>
                    <a:gd name="T13" fmla="*/ 2147483647 h 10"/>
                    <a:gd name="T14" fmla="*/ 0 w 3"/>
                    <a:gd name="T15" fmla="*/ 2147483647 h 10"/>
                    <a:gd name="T16" fmla="*/ 0 w 3"/>
                    <a:gd name="T17" fmla="*/ 2147483647 h 10"/>
                    <a:gd name="T18" fmla="*/ 0 w 3"/>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0"/>
                    <a:gd name="T32" fmla="*/ 3 w 3"/>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0">
                      <a:moveTo>
                        <a:pt x="0" y="5"/>
                      </a:moveTo>
                      <a:lnTo>
                        <a:pt x="0" y="1"/>
                      </a:lnTo>
                      <a:lnTo>
                        <a:pt x="0" y="0"/>
                      </a:lnTo>
                      <a:lnTo>
                        <a:pt x="2" y="0"/>
                      </a:lnTo>
                      <a:lnTo>
                        <a:pt x="3" y="3"/>
                      </a:lnTo>
                      <a:lnTo>
                        <a:pt x="3" y="6"/>
                      </a:lnTo>
                      <a:lnTo>
                        <a:pt x="3" y="8"/>
                      </a:lnTo>
                      <a:lnTo>
                        <a:pt x="0" y="10"/>
                      </a:lnTo>
                      <a:lnTo>
                        <a:pt x="0" y="8"/>
                      </a:lnTo>
                      <a:lnTo>
                        <a:pt x="0"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5" name="Freeform 494"/>
                <p:cNvSpPr>
                  <a:spLocks/>
                </p:cNvSpPr>
                <p:nvPr/>
              </p:nvSpPr>
              <p:spPr bwMode="auto">
                <a:xfrm>
                  <a:off x="3215285" y="4243953"/>
                  <a:ext cx="10360" cy="11839"/>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2147483647 w 8"/>
                    <a:gd name="T9" fmla="*/ 2147483647 h 8"/>
                    <a:gd name="T10" fmla="*/ 2147483647 w 8"/>
                    <a:gd name="T11" fmla="*/ 2147483647 h 8"/>
                    <a:gd name="T12" fmla="*/ 0 w 8"/>
                    <a:gd name="T13" fmla="*/ 2147483647 h 8"/>
                    <a:gd name="T14" fmla="*/ 0 w 8"/>
                    <a:gd name="T15" fmla="*/ 2147483647 h 8"/>
                    <a:gd name="T16" fmla="*/ 2147483647 w 8"/>
                    <a:gd name="T17" fmla="*/ 0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6" y="4"/>
                      </a:moveTo>
                      <a:lnTo>
                        <a:pt x="8" y="6"/>
                      </a:lnTo>
                      <a:lnTo>
                        <a:pt x="8" y="7"/>
                      </a:lnTo>
                      <a:lnTo>
                        <a:pt x="6" y="8"/>
                      </a:lnTo>
                      <a:lnTo>
                        <a:pt x="4" y="8"/>
                      </a:lnTo>
                      <a:lnTo>
                        <a:pt x="1" y="7"/>
                      </a:lnTo>
                      <a:lnTo>
                        <a:pt x="0" y="4"/>
                      </a:lnTo>
                      <a:lnTo>
                        <a:pt x="0" y="1"/>
                      </a:lnTo>
                      <a:lnTo>
                        <a:pt x="1" y="0"/>
                      </a:lnTo>
                      <a:lnTo>
                        <a:pt x="3"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6" name="Freeform 495"/>
                <p:cNvSpPr>
                  <a:spLocks/>
                </p:cNvSpPr>
                <p:nvPr/>
              </p:nvSpPr>
              <p:spPr bwMode="auto">
                <a:xfrm>
                  <a:off x="3170885" y="4252833"/>
                  <a:ext cx="5919" cy="13319"/>
                </a:xfrm>
                <a:custGeom>
                  <a:avLst/>
                  <a:gdLst>
                    <a:gd name="T0" fmla="*/ 0 w 4"/>
                    <a:gd name="T1" fmla="*/ 2147483647 h 9"/>
                    <a:gd name="T2" fmla="*/ 0 w 4"/>
                    <a:gd name="T3" fmla="*/ 2147483647 h 9"/>
                    <a:gd name="T4" fmla="*/ 0 w 4"/>
                    <a:gd name="T5" fmla="*/ 2147483647 h 9"/>
                    <a:gd name="T6" fmla="*/ 0 w 4"/>
                    <a:gd name="T7" fmla="*/ 0 h 9"/>
                    <a:gd name="T8" fmla="*/ 2147483647 w 4"/>
                    <a:gd name="T9" fmla="*/ 0 h 9"/>
                    <a:gd name="T10" fmla="*/ 2147483647 w 4"/>
                    <a:gd name="T11" fmla="*/ 0 h 9"/>
                    <a:gd name="T12" fmla="*/ 2147483647 w 4"/>
                    <a:gd name="T13" fmla="*/ 2147483647 h 9"/>
                    <a:gd name="T14" fmla="*/ 2147483647 w 4"/>
                    <a:gd name="T15" fmla="*/ 2147483647 h 9"/>
                    <a:gd name="T16" fmla="*/ 2147483647 w 4"/>
                    <a:gd name="T17" fmla="*/ 2147483647 h 9"/>
                    <a:gd name="T18" fmla="*/ 0 w 4"/>
                    <a:gd name="T19" fmla="*/ 2147483647 h 9"/>
                    <a:gd name="T20" fmla="*/ 0 w 4"/>
                    <a:gd name="T21" fmla="*/ 2147483647 h 9"/>
                    <a:gd name="T22" fmla="*/ 0 w 4"/>
                    <a:gd name="T23" fmla="*/ 2147483647 h 9"/>
                    <a:gd name="T24" fmla="*/ 0 w 4"/>
                    <a:gd name="T25" fmla="*/ 2147483647 h 9"/>
                    <a:gd name="T26" fmla="*/ 0 w 4"/>
                    <a:gd name="T27" fmla="*/ 2147483647 h 9"/>
                    <a:gd name="T28" fmla="*/ 0 w 4"/>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9"/>
                    <a:gd name="T47" fmla="*/ 4 w 4"/>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9">
                      <a:moveTo>
                        <a:pt x="0" y="5"/>
                      </a:moveTo>
                      <a:lnTo>
                        <a:pt x="0" y="5"/>
                      </a:lnTo>
                      <a:lnTo>
                        <a:pt x="0" y="1"/>
                      </a:lnTo>
                      <a:lnTo>
                        <a:pt x="0" y="0"/>
                      </a:lnTo>
                      <a:lnTo>
                        <a:pt x="3" y="0"/>
                      </a:lnTo>
                      <a:lnTo>
                        <a:pt x="4" y="2"/>
                      </a:lnTo>
                      <a:lnTo>
                        <a:pt x="4" y="6"/>
                      </a:lnTo>
                      <a:lnTo>
                        <a:pt x="4" y="8"/>
                      </a:lnTo>
                      <a:lnTo>
                        <a:pt x="0" y="9"/>
                      </a:lnTo>
                      <a:lnTo>
                        <a:pt x="0" y="8"/>
                      </a:lnTo>
                      <a:lnTo>
                        <a:pt x="0"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7" name="Freeform 496"/>
                <p:cNvSpPr>
                  <a:spLocks/>
                </p:cNvSpPr>
                <p:nvPr/>
              </p:nvSpPr>
              <p:spPr bwMode="auto">
                <a:xfrm>
                  <a:off x="3213803" y="4242475"/>
                  <a:ext cx="8879" cy="11839"/>
                </a:xfrm>
                <a:custGeom>
                  <a:avLst/>
                  <a:gdLst>
                    <a:gd name="T0" fmla="*/ 2147483647 w 7"/>
                    <a:gd name="T1" fmla="*/ 2147483647 h 8"/>
                    <a:gd name="T2" fmla="*/ 2147483647 w 7"/>
                    <a:gd name="T3" fmla="*/ 2147483647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2147483647 w 7"/>
                    <a:gd name="T15" fmla="*/ 2147483647 h 8"/>
                    <a:gd name="T16" fmla="*/ 2147483647 w 7"/>
                    <a:gd name="T17" fmla="*/ 2147483647 h 8"/>
                    <a:gd name="T18" fmla="*/ 0 w 7"/>
                    <a:gd name="T19" fmla="*/ 2147483647 h 8"/>
                    <a:gd name="T20" fmla="*/ 0 w 7"/>
                    <a:gd name="T21" fmla="*/ 2147483647 h 8"/>
                    <a:gd name="T22" fmla="*/ 0 w 7"/>
                    <a:gd name="T23" fmla="*/ 2147483647 h 8"/>
                    <a:gd name="T24" fmla="*/ 2147483647 w 7"/>
                    <a:gd name="T25" fmla="*/ 0 h 8"/>
                    <a:gd name="T26" fmla="*/ 2147483647 w 7"/>
                    <a:gd name="T27" fmla="*/ 2147483647 h 8"/>
                    <a:gd name="T28" fmla="*/ 2147483647 w 7"/>
                    <a:gd name="T29" fmla="*/ 2147483647 h 8"/>
                    <a:gd name="T30" fmla="*/ 2147483647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6" y="3"/>
                      </a:moveTo>
                      <a:lnTo>
                        <a:pt x="6" y="3"/>
                      </a:lnTo>
                      <a:lnTo>
                        <a:pt x="7" y="6"/>
                      </a:lnTo>
                      <a:lnTo>
                        <a:pt x="7" y="7"/>
                      </a:lnTo>
                      <a:lnTo>
                        <a:pt x="6" y="8"/>
                      </a:lnTo>
                      <a:lnTo>
                        <a:pt x="4" y="8"/>
                      </a:lnTo>
                      <a:lnTo>
                        <a:pt x="1" y="7"/>
                      </a:lnTo>
                      <a:lnTo>
                        <a:pt x="0" y="3"/>
                      </a:lnTo>
                      <a:lnTo>
                        <a:pt x="0" y="1"/>
                      </a:lnTo>
                      <a:lnTo>
                        <a:pt x="1" y="0"/>
                      </a:lnTo>
                      <a:lnTo>
                        <a:pt x="2" y="1"/>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8" name="Freeform 497"/>
                <p:cNvSpPr>
                  <a:spLocks/>
                </p:cNvSpPr>
                <p:nvPr/>
              </p:nvSpPr>
              <p:spPr bwMode="auto">
                <a:xfrm>
                  <a:off x="3159046" y="4277995"/>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0 w 5"/>
                    <a:gd name="T13" fmla="*/ 2147483647 h 6"/>
                    <a:gd name="T14" fmla="*/ 2147483647 w 5"/>
                    <a:gd name="T15" fmla="*/ 0 h 6"/>
                    <a:gd name="T16" fmla="*/ 2147483647 w 5"/>
                    <a:gd name="T17" fmla="*/ 0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3"/>
                      </a:moveTo>
                      <a:lnTo>
                        <a:pt x="5" y="4"/>
                      </a:lnTo>
                      <a:lnTo>
                        <a:pt x="5" y="6"/>
                      </a:lnTo>
                      <a:lnTo>
                        <a:pt x="3" y="4"/>
                      </a:lnTo>
                      <a:lnTo>
                        <a:pt x="2" y="3"/>
                      </a:lnTo>
                      <a:lnTo>
                        <a:pt x="0" y="2"/>
                      </a:lnTo>
                      <a:lnTo>
                        <a:pt x="0" y="1"/>
                      </a:lnTo>
                      <a:lnTo>
                        <a:pt x="2" y="0"/>
                      </a:lnTo>
                      <a:lnTo>
                        <a:pt x="3" y="0"/>
                      </a:lnTo>
                      <a:lnTo>
                        <a:pt x="4" y="1"/>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09" name="Freeform 498"/>
                <p:cNvSpPr>
                  <a:spLocks/>
                </p:cNvSpPr>
                <p:nvPr/>
              </p:nvSpPr>
              <p:spPr bwMode="auto">
                <a:xfrm>
                  <a:off x="3164969" y="4310551"/>
                  <a:ext cx="20718" cy="25157"/>
                </a:xfrm>
                <a:custGeom>
                  <a:avLst/>
                  <a:gdLst>
                    <a:gd name="T0" fmla="*/ 2147483647 w 15"/>
                    <a:gd name="T1" fmla="*/ 2147483647 h 17"/>
                    <a:gd name="T2" fmla="*/ 2147483647 w 15"/>
                    <a:gd name="T3" fmla="*/ 2147483647 h 17"/>
                    <a:gd name="T4" fmla="*/ 2147483647 w 15"/>
                    <a:gd name="T5" fmla="*/ 2147483647 h 17"/>
                    <a:gd name="T6" fmla="*/ 2147483647 w 15"/>
                    <a:gd name="T7" fmla="*/ 2147483647 h 17"/>
                    <a:gd name="T8" fmla="*/ 2147483647 w 15"/>
                    <a:gd name="T9" fmla="*/ 0 h 17"/>
                    <a:gd name="T10" fmla="*/ 2147483647 w 15"/>
                    <a:gd name="T11" fmla="*/ 2147483647 h 17"/>
                    <a:gd name="T12" fmla="*/ 2147483647 w 15"/>
                    <a:gd name="T13" fmla="*/ 2147483647 h 17"/>
                    <a:gd name="T14" fmla="*/ 2147483647 w 15"/>
                    <a:gd name="T15" fmla="*/ 2147483647 h 17"/>
                    <a:gd name="T16" fmla="*/ 2147483647 w 15"/>
                    <a:gd name="T17" fmla="*/ 2147483647 h 17"/>
                    <a:gd name="T18" fmla="*/ 2147483647 w 15"/>
                    <a:gd name="T19" fmla="*/ 2147483647 h 17"/>
                    <a:gd name="T20" fmla="*/ 0 w 15"/>
                    <a:gd name="T21" fmla="*/ 2147483647 h 17"/>
                    <a:gd name="T22" fmla="*/ 0 w 15"/>
                    <a:gd name="T23" fmla="*/ 2147483647 h 17"/>
                    <a:gd name="T24" fmla="*/ 0 w 15"/>
                    <a:gd name="T25" fmla="*/ 2147483647 h 17"/>
                    <a:gd name="T26" fmla="*/ 2147483647 w 15"/>
                    <a:gd name="T27" fmla="*/ 2147483647 h 17"/>
                    <a:gd name="T28" fmla="*/ 2147483647 w 15"/>
                    <a:gd name="T29" fmla="*/ 2147483647 h 17"/>
                    <a:gd name="T30" fmla="*/ 2147483647 w 15"/>
                    <a:gd name="T31" fmla="*/ 2147483647 h 17"/>
                    <a:gd name="T32" fmla="*/ 2147483647 w 15"/>
                    <a:gd name="T33" fmla="*/ 2147483647 h 17"/>
                    <a:gd name="T34" fmla="*/ 2147483647 w 15"/>
                    <a:gd name="T35" fmla="*/ 2147483647 h 17"/>
                    <a:gd name="T36" fmla="*/ 2147483647 w 15"/>
                    <a:gd name="T37" fmla="*/ 2147483647 h 17"/>
                    <a:gd name="T38" fmla="*/ 2147483647 w 15"/>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7"/>
                    <a:gd name="T62" fmla="*/ 15 w 15"/>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7">
                      <a:moveTo>
                        <a:pt x="12" y="10"/>
                      </a:moveTo>
                      <a:lnTo>
                        <a:pt x="12" y="7"/>
                      </a:lnTo>
                      <a:lnTo>
                        <a:pt x="13" y="5"/>
                      </a:lnTo>
                      <a:lnTo>
                        <a:pt x="14" y="2"/>
                      </a:lnTo>
                      <a:lnTo>
                        <a:pt x="15" y="0"/>
                      </a:lnTo>
                      <a:lnTo>
                        <a:pt x="13" y="2"/>
                      </a:lnTo>
                      <a:lnTo>
                        <a:pt x="9" y="2"/>
                      </a:lnTo>
                      <a:lnTo>
                        <a:pt x="7" y="4"/>
                      </a:lnTo>
                      <a:lnTo>
                        <a:pt x="4" y="4"/>
                      </a:lnTo>
                      <a:lnTo>
                        <a:pt x="1" y="6"/>
                      </a:lnTo>
                      <a:lnTo>
                        <a:pt x="0" y="8"/>
                      </a:lnTo>
                      <a:lnTo>
                        <a:pt x="0" y="11"/>
                      </a:lnTo>
                      <a:lnTo>
                        <a:pt x="0" y="13"/>
                      </a:lnTo>
                      <a:lnTo>
                        <a:pt x="1" y="16"/>
                      </a:lnTo>
                      <a:lnTo>
                        <a:pt x="4" y="17"/>
                      </a:lnTo>
                      <a:lnTo>
                        <a:pt x="7" y="17"/>
                      </a:lnTo>
                      <a:lnTo>
                        <a:pt x="9" y="16"/>
                      </a:lnTo>
                      <a:lnTo>
                        <a:pt x="10" y="12"/>
                      </a:lnTo>
                      <a:lnTo>
                        <a:pt x="12" y="8"/>
                      </a:lnTo>
                      <a:lnTo>
                        <a:pt x="12"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0" name="Freeform 499"/>
                <p:cNvSpPr>
                  <a:spLocks/>
                </p:cNvSpPr>
                <p:nvPr/>
              </p:nvSpPr>
              <p:spPr bwMode="auto">
                <a:xfrm>
                  <a:off x="3157570" y="4275035"/>
                  <a:ext cx="739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0 w 5"/>
                    <a:gd name="T15" fmla="*/ 2147483647 h 6"/>
                    <a:gd name="T16" fmla="*/ 0 w 5"/>
                    <a:gd name="T17" fmla="*/ 2147483647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4"/>
                      </a:moveTo>
                      <a:lnTo>
                        <a:pt x="5" y="4"/>
                      </a:lnTo>
                      <a:lnTo>
                        <a:pt x="5" y="5"/>
                      </a:lnTo>
                      <a:lnTo>
                        <a:pt x="5" y="6"/>
                      </a:lnTo>
                      <a:lnTo>
                        <a:pt x="3" y="5"/>
                      </a:lnTo>
                      <a:lnTo>
                        <a:pt x="1" y="4"/>
                      </a:lnTo>
                      <a:lnTo>
                        <a:pt x="0" y="3"/>
                      </a:lnTo>
                      <a:lnTo>
                        <a:pt x="0" y="2"/>
                      </a:lnTo>
                      <a:lnTo>
                        <a:pt x="1" y="0"/>
                      </a:lnTo>
                      <a:lnTo>
                        <a:pt x="3" y="0"/>
                      </a:lnTo>
                      <a:lnTo>
                        <a:pt x="4" y="2"/>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1" name="Freeform 500"/>
                <p:cNvSpPr>
                  <a:spLocks/>
                </p:cNvSpPr>
                <p:nvPr/>
              </p:nvSpPr>
              <p:spPr bwMode="auto">
                <a:xfrm>
                  <a:off x="3163490" y="4309068"/>
                  <a:ext cx="20718" cy="25158"/>
                </a:xfrm>
                <a:custGeom>
                  <a:avLst/>
                  <a:gdLst>
                    <a:gd name="T0" fmla="*/ 2147483647 w 15"/>
                    <a:gd name="T1" fmla="*/ 2147483647 h 17"/>
                    <a:gd name="T2" fmla="*/ 2147483647 w 15"/>
                    <a:gd name="T3" fmla="*/ 2147483647 h 17"/>
                    <a:gd name="T4" fmla="*/ 2147483647 w 15"/>
                    <a:gd name="T5" fmla="*/ 2147483647 h 17"/>
                    <a:gd name="T6" fmla="*/ 2147483647 w 15"/>
                    <a:gd name="T7" fmla="*/ 2147483647 h 17"/>
                    <a:gd name="T8" fmla="*/ 2147483647 w 15"/>
                    <a:gd name="T9" fmla="*/ 2147483647 h 17"/>
                    <a:gd name="T10" fmla="*/ 2147483647 w 15"/>
                    <a:gd name="T11" fmla="*/ 0 h 17"/>
                    <a:gd name="T12" fmla="*/ 2147483647 w 15"/>
                    <a:gd name="T13" fmla="*/ 0 h 17"/>
                    <a:gd name="T14" fmla="*/ 2147483647 w 15"/>
                    <a:gd name="T15" fmla="*/ 2147483647 h 17"/>
                    <a:gd name="T16" fmla="*/ 2147483647 w 15"/>
                    <a:gd name="T17" fmla="*/ 2147483647 h 17"/>
                    <a:gd name="T18" fmla="*/ 2147483647 w 15"/>
                    <a:gd name="T19" fmla="*/ 2147483647 h 17"/>
                    <a:gd name="T20" fmla="*/ 2147483647 w 15"/>
                    <a:gd name="T21" fmla="*/ 2147483647 h 17"/>
                    <a:gd name="T22" fmla="*/ 2147483647 w 15"/>
                    <a:gd name="T23" fmla="*/ 2147483647 h 17"/>
                    <a:gd name="T24" fmla="*/ 2147483647 w 15"/>
                    <a:gd name="T25" fmla="*/ 2147483647 h 17"/>
                    <a:gd name="T26" fmla="*/ 0 w 15"/>
                    <a:gd name="T27" fmla="*/ 2147483647 h 17"/>
                    <a:gd name="T28" fmla="*/ 0 w 15"/>
                    <a:gd name="T29" fmla="*/ 2147483647 h 17"/>
                    <a:gd name="T30" fmla="*/ 0 w 15"/>
                    <a:gd name="T31" fmla="*/ 2147483647 h 17"/>
                    <a:gd name="T32" fmla="*/ 0 w 15"/>
                    <a:gd name="T33" fmla="*/ 2147483647 h 17"/>
                    <a:gd name="T34" fmla="*/ 2147483647 w 15"/>
                    <a:gd name="T35" fmla="*/ 2147483647 h 17"/>
                    <a:gd name="T36" fmla="*/ 2147483647 w 15"/>
                    <a:gd name="T37" fmla="*/ 2147483647 h 17"/>
                    <a:gd name="T38" fmla="*/ 2147483647 w 15"/>
                    <a:gd name="T39" fmla="*/ 2147483647 h 17"/>
                    <a:gd name="T40" fmla="*/ 2147483647 w 15"/>
                    <a:gd name="T41" fmla="*/ 2147483647 h 17"/>
                    <a:gd name="T42" fmla="*/ 2147483647 w 15"/>
                    <a:gd name="T43" fmla="*/ 2147483647 h 17"/>
                    <a:gd name="T44" fmla="*/ 2147483647 w 15"/>
                    <a:gd name="T45" fmla="*/ 2147483647 h 17"/>
                    <a:gd name="T46" fmla="*/ 2147483647 w 15"/>
                    <a:gd name="T47" fmla="*/ 2147483647 h 17"/>
                    <a:gd name="T48" fmla="*/ 2147483647 w 15"/>
                    <a:gd name="T49" fmla="*/ 2147483647 h 17"/>
                    <a:gd name="T50" fmla="*/ 2147483647 w 15"/>
                    <a:gd name="T51" fmla="*/ 2147483647 h 17"/>
                    <a:gd name="T52" fmla="*/ 2147483647 w 15"/>
                    <a:gd name="T53" fmla="*/ 2147483647 h 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
                    <a:gd name="T82" fmla="*/ 0 h 17"/>
                    <a:gd name="T83" fmla="*/ 15 w 15"/>
                    <a:gd name="T84" fmla="*/ 17 h 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 h="17">
                      <a:moveTo>
                        <a:pt x="11" y="9"/>
                      </a:moveTo>
                      <a:lnTo>
                        <a:pt x="11" y="9"/>
                      </a:lnTo>
                      <a:lnTo>
                        <a:pt x="11" y="7"/>
                      </a:lnTo>
                      <a:lnTo>
                        <a:pt x="13" y="5"/>
                      </a:lnTo>
                      <a:lnTo>
                        <a:pt x="14" y="2"/>
                      </a:lnTo>
                      <a:lnTo>
                        <a:pt x="15" y="0"/>
                      </a:lnTo>
                      <a:lnTo>
                        <a:pt x="13" y="2"/>
                      </a:lnTo>
                      <a:lnTo>
                        <a:pt x="9" y="2"/>
                      </a:lnTo>
                      <a:lnTo>
                        <a:pt x="6" y="3"/>
                      </a:lnTo>
                      <a:lnTo>
                        <a:pt x="4" y="3"/>
                      </a:lnTo>
                      <a:lnTo>
                        <a:pt x="1" y="6"/>
                      </a:lnTo>
                      <a:lnTo>
                        <a:pt x="0" y="8"/>
                      </a:lnTo>
                      <a:lnTo>
                        <a:pt x="0" y="11"/>
                      </a:lnTo>
                      <a:lnTo>
                        <a:pt x="0" y="13"/>
                      </a:lnTo>
                      <a:lnTo>
                        <a:pt x="1" y="15"/>
                      </a:lnTo>
                      <a:lnTo>
                        <a:pt x="4" y="17"/>
                      </a:lnTo>
                      <a:lnTo>
                        <a:pt x="6" y="17"/>
                      </a:lnTo>
                      <a:lnTo>
                        <a:pt x="9" y="15"/>
                      </a:lnTo>
                      <a:lnTo>
                        <a:pt x="10" y="12"/>
                      </a:lnTo>
                      <a:lnTo>
                        <a:pt x="11" y="8"/>
                      </a:lnTo>
                      <a:lnTo>
                        <a:pt x="11"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2" name="Freeform 506"/>
                <p:cNvSpPr>
                  <a:spLocks/>
                </p:cNvSpPr>
                <p:nvPr/>
              </p:nvSpPr>
              <p:spPr bwMode="auto">
                <a:xfrm>
                  <a:off x="3722878" y="6326137"/>
                  <a:ext cx="57715" cy="34037"/>
                </a:xfrm>
                <a:custGeom>
                  <a:avLst/>
                  <a:gdLst>
                    <a:gd name="T0" fmla="*/ 2147483647 w 42"/>
                    <a:gd name="T1" fmla="*/ 2147483647 h 23"/>
                    <a:gd name="T2" fmla="*/ 2147483647 w 42"/>
                    <a:gd name="T3" fmla="*/ 2147483647 h 23"/>
                    <a:gd name="T4" fmla="*/ 2147483647 w 42"/>
                    <a:gd name="T5" fmla="*/ 2147483647 h 23"/>
                    <a:gd name="T6" fmla="*/ 0 w 42"/>
                    <a:gd name="T7" fmla="*/ 2147483647 h 23"/>
                    <a:gd name="T8" fmla="*/ 0 w 42"/>
                    <a:gd name="T9" fmla="*/ 2147483647 h 23"/>
                    <a:gd name="T10" fmla="*/ 0 w 42"/>
                    <a:gd name="T11" fmla="*/ 2147483647 h 23"/>
                    <a:gd name="T12" fmla="*/ 2147483647 w 42"/>
                    <a:gd name="T13" fmla="*/ 2147483647 h 23"/>
                    <a:gd name="T14" fmla="*/ 2147483647 w 42"/>
                    <a:gd name="T15" fmla="*/ 2147483647 h 23"/>
                    <a:gd name="T16" fmla="*/ 2147483647 w 42"/>
                    <a:gd name="T17" fmla="*/ 0 h 23"/>
                    <a:gd name="T18" fmla="*/ 2147483647 w 42"/>
                    <a:gd name="T19" fmla="*/ 0 h 23"/>
                    <a:gd name="T20" fmla="*/ 2147483647 w 42"/>
                    <a:gd name="T21" fmla="*/ 2147483647 h 23"/>
                    <a:gd name="T22" fmla="*/ 2147483647 w 42"/>
                    <a:gd name="T23" fmla="*/ 2147483647 h 23"/>
                    <a:gd name="T24" fmla="*/ 2147483647 w 42"/>
                    <a:gd name="T25" fmla="*/ 2147483647 h 23"/>
                    <a:gd name="T26" fmla="*/ 2147483647 w 42"/>
                    <a:gd name="T27" fmla="*/ 2147483647 h 23"/>
                    <a:gd name="T28" fmla="*/ 2147483647 w 42"/>
                    <a:gd name="T29" fmla="*/ 2147483647 h 23"/>
                    <a:gd name="T30" fmla="*/ 2147483647 w 42"/>
                    <a:gd name="T31" fmla="*/ 2147483647 h 23"/>
                    <a:gd name="T32" fmla="*/ 2147483647 w 42"/>
                    <a:gd name="T33" fmla="*/ 2147483647 h 23"/>
                    <a:gd name="T34" fmla="*/ 2147483647 w 42"/>
                    <a:gd name="T35" fmla="*/ 2147483647 h 23"/>
                    <a:gd name="T36" fmla="*/ 2147483647 w 42"/>
                    <a:gd name="T37" fmla="*/ 2147483647 h 23"/>
                    <a:gd name="T38" fmla="*/ 2147483647 w 42"/>
                    <a:gd name="T39" fmla="*/ 2147483647 h 23"/>
                    <a:gd name="T40" fmla="*/ 2147483647 w 42"/>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23"/>
                    <a:gd name="T65" fmla="*/ 42 w 42"/>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23">
                      <a:moveTo>
                        <a:pt x="17" y="11"/>
                      </a:moveTo>
                      <a:lnTo>
                        <a:pt x="10" y="10"/>
                      </a:lnTo>
                      <a:lnTo>
                        <a:pt x="4" y="9"/>
                      </a:lnTo>
                      <a:lnTo>
                        <a:pt x="0" y="7"/>
                      </a:lnTo>
                      <a:lnTo>
                        <a:pt x="0" y="6"/>
                      </a:lnTo>
                      <a:lnTo>
                        <a:pt x="0" y="4"/>
                      </a:lnTo>
                      <a:lnTo>
                        <a:pt x="1" y="3"/>
                      </a:lnTo>
                      <a:lnTo>
                        <a:pt x="4" y="2"/>
                      </a:lnTo>
                      <a:lnTo>
                        <a:pt x="10" y="0"/>
                      </a:lnTo>
                      <a:lnTo>
                        <a:pt x="15" y="0"/>
                      </a:lnTo>
                      <a:lnTo>
                        <a:pt x="20" y="2"/>
                      </a:lnTo>
                      <a:lnTo>
                        <a:pt x="27" y="3"/>
                      </a:lnTo>
                      <a:lnTo>
                        <a:pt x="33" y="6"/>
                      </a:lnTo>
                      <a:lnTo>
                        <a:pt x="37" y="11"/>
                      </a:lnTo>
                      <a:lnTo>
                        <a:pt x="41" y="16"/>
                      </a:lnTo>
                      <a:lnTo>
                        <a:pt x="42" y="19"/>
                      </a:lnTo>
                      <a:lnTo>
                        <a:pt x="41" y="22"/>
                      </a:lnTo>
                      <a:lnTo>
                        <a:pt x="39" y="23"/>
                      </a:lnTo>
                      <a:lnTo>
                        <a:pt x="37" y="22"/>
                      </a:lnTo>
                      <a:lnTo>
                        <a:pt x="27" y="15"/>
                      </a:lnTo>
                      <a:lnTo>
                        <a:pt x="17"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3" name="Freeform 508"/>
                <p:cNvSpPr>
                  <a:spLocks/>
                </p:cNvSpPr>
                <p:nvPr/>
              </p:nvSpPr>
              <p:spPr bwMode="auto">
                <a:xfrm>
                  <a:off x="3721401" y="6324654"/>
                  <a:ext cx="57715" cy="34038"/>
                </a:xfrm>
                <a:custGeom>
                  <a:avLst/>
                  <a:gdLst>
                    <a:gd name="T0" fmla="*/ 2147483647 w 42"/>
                    <a:gd name="T1" fmla="*/ 2147483647 h 23"/>
                    <a:gd name="T2" fmla="*/ 2147483647 w 42"/>
                    <a:gd name="T3" fmla="*/ 2147483647 h 23"/>
                    <a:gd name="T4" fmla="*/ 2147483647 w 42"/>
                    <a:gd name="T5" fmla="*/ 2147483647 h 23"/>
                    <a:gd name="T6" fmla="*/ 2147483647 w 42"/>
                    <a:gd name="T7" fmla="*/ 2147483647 h 23"/>
                    <a:gd name="T8" fmla="*/ 0 w 42"/>
                    <a:gd name="T9" fmla="*/ 2147483647 h 23"/>
                    <a:gd name="T10" fmla="*/ 0 w 42"/>
                    <a:gd name="T11" fmla="*/ 2147483647 h 23"/>
                    <a:gd name="T12" fmla="*/ 0 w 42"/>
                    <a:gd name="T13" fmla="*/ 2147483647 h 23"/>
                    <a:gd name="T14" fmla="*/ 0 w 42"/>
                    <a:gd name="T15" fmla="*/ 2147483647 h 23"/>
                    <a:gd name="T16" fmla="*/ 2147483647 w 42"/>
                    <a:gd name="T17" fmla="*/ 2147483647 h 23"/>
                    <a:gd name="T18" fmla="*/ 2147483647 w 42"/>
                    <a:gd name="T19" fmla="*/ 2147483647 h 23"/>
                    <a:gd name="T20" fmla="*/ 2147483647 w 42"/>
                    <a:gd name="T21" fmla="*/ 0 h 23"/>
                    <a:gd name="T22" fmla="*/ 2147483647 w 42"/>
                    <a:gd name="T23" fmla="*/ 0 h 23"/>
                    <a:gd name="T24" fmla="*/ 2147483647 w 42"/>
                    <a:gd name="T25" fmla="*/ 2147483647 h 23"/>
                    <a:gd name="T26" fmla="*/ 2147483647 w 42"/>
                    <a:gd name="T27" fmla="*/ 2147483647 h 23"/>
                    <a:gd name="T28" fmla="*/ 2147483647 w 42"/>
                    <a:gd name="T29" fmla="*/ 2147483647 h 23"/>
                    <a:gd name="T30" fmla="*/ 2147483647 w 42"/>
                    <a:gd name="T31" fmla="*/ 2147483647 h 23"/>
                    <a:gd name="T32" fmla="*/ 2147483647 w 42"/>
                    <a:gd name="T33" fmla="*/ 2147483647 h 23"/>
                    <a:gd name="T34" fmla="*/ 2147483647 w 42"/>
                    <a:gd name="T35" fmla="*/ 2147483647 h 23"/>
                    <a:gd name="T36" fmla="*/ 2147483647 w 42"/>
                    <a:gd name="T37" fmla="*/ 2147483647 h 23"/>
                    <a:gd name="T38" fmla="*/ 2147483647 w 42"/>
                    <a:gd name="T39" fmla="*/ 2147483647 h 23"/>
                    <a:gd name="T40" fmla="*/ 2147483647 w 42"/>
                    <a:gd name="T41" fmla="*/ 2147483647 h 23"/>
                    <a:gd name="T42" fmla="*/ 2147483647 w 42"/>
                    <a:gd name="T43" fmla="*/ 2147483647 h 23"/>
                    <a:gd name="T44" fmla="*/ 2147483647 w 42"/>
                    <a:gd name="T45" fmla="*/ 2147483647 h 23"/>
                    <a:gd name="T46" fmla="*/ 2147483647 w 42"/>
                    <a:gd name="T47" fmla="*/ 2147483647 h 23"/>
                    <a:gd name="T48" fmla="*/ 2147483647 w 42"/>
                    <a:gd name="T49" fmla="*/ 2147483647 h 23"/>
                    <a:gd name="T50" fmla="*/ 2147483647 w 42"/>
                    <a:gd name="T51" fmla="*/ 2147483647 h 23"/>
                    <a:gd name="T52" fmla="*/ 2147483647 w 42"/>
                    <a:gd name="T53" fmla="*/ 2147483647 h 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23"/>
                    <a:gd name="T83" fmla="*/ 42 w 42"/>
                    <a:gd name="T84" fmla="*/ 23 h 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23">
                      <a:moveTo>
                        <a:pt x="16" y="11"/>
                      </a:moveTo>
                      <a:lnTo>
                        <a:pt x="16" y="11"/>
                      </a:lnTo>
                      <a:lnTo>
                        <a:pt x="10" y="10"/>
                      </a:lnTo>
                      <a:lnTo>
                        <a:pt x="4" y="8"/>
                      </a:lnTo>
                      <a:lnTo>
                        <a:pt x="0" y="7"/>
                      </a:lnTo>
                      <a:lnTo>
                        <a:pt x="0" y="6"/>
                      </a:lnTo>
                      <a:lnTo>
                        <a:pt x="0" y="4"/>
                      </a:lnTo>
                      <a:lnTo>
                        <a:pt x="1" y="3"/>
                      </a:lnTo>
                      <a:lnTo>
                        <a:pt x="4" y="1"/>
                      </a:lnTo>
                      <a:lnTo>
                        <a:pt x="10" y="0"/>
                      </a:lnTo>
                      <a:lnTo>
                        <a:pt x="15" y="0"/>
                      </a:lnTo>
                      <a:lnTo>
                        <a:pt x="20" y="1"/>
                      </a:lnTo>
                      <a:lnTo>
                        <a:pt x="27" y="3"/>
                      </a:lnTo>
                      <a:lnTo>
                        <a:pt x="33" y="6"/>
                      </a:lnTo>
                      <a:lnTo>
                        <a:pt x="37" y="11"/>
                      </a:lnTo>
                      <a:lnTo>
                        <a:pt x="40" y="16"/>
                      </a:lnTo>
                      <a:lnTo>
                        <a:pt x="42" y="19"/>
                      </a:lnTo>
                      <a:lnTo>
                        <a:pt x="40" y="21"/>
                      </a:lnTo>
                      <a:lnTo>
                        <a:pt x="39" y="23"/>
                      </a:lnTo>
                      <a:lnTo>
                        <a:pt x="37" y="21"/>
                      </a:lnTo>
                      <a:lnTo>
                        <a:pt x="27" y="14"/>
                      </a:lnTo>
                      <a:lnTo>
                        <a:pt x="16"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4" name="Freeform 509"/>
                <p:cNvSpPr>
                  <a:spLocks/>
                </p:cNvSpPr>
                <p:nvPr/>
              </p:nvSpPr>
              <p:spPr bwMode="auto">
                <a:xfrm>
                  <a:off x="3981855" y="2256485"/>
                  <a:ext cx="41436" cy="23678"/>
                </a:xfrm>
                <a:custGeom>
                  <a:avLst/>
                  <a:gdLst>
                    <a:gd name="T0" fmla="*/ 2147483647 w 31"/>
                    <a:gd name="T1" fmla="*/ 2147483647 h 16"/>
                    <a:gd name="T2" fmla="*/ 2147483647 w 31"/>
                    <a:gd name="T3" fmla="*/ 2147483647 h 16"/>
                    <a:gd name="T4" fmla="*/ 2147483647 w 31"/>
                    <a:gd name="T5" fmla="*/ 2147483647 h 16"/>
                    <a:gd name="T6" fmla="*/ 2147483647 w 31"/>
                    <a:gd name="T7" fmla="*/ 2147483647 h 16"/>
                    <a:gd name="T8" fmla="*/ 2147483647 w 31"/>
                    <a:gd name="T9" fmla="*/ 2147483647 h 16"/>
                    <a:gd name="T10" fmla="*/ 0 w 31"/>
                    <a:gd name="T11" fmla="*/ 2147483647 h 16"/>
                    <a:gd name="T12" fmla="*/ 0 w 31"/>
                    <a:gd name="T13" fmla="*/ 2147483647 h 16"/>
                    <a:gd name="T14" fmla="*/ 2147483647 w 31"/>
                    <a:gd name="T15" fmla="*/ 2147483647 h 16"/>
                    <a:gd name="T16" fmla="*/ 2147483647 w 31"/>
                    <a:gd name="T17" fmla="*/ 2147483647 h 16"/>
                    <a:gd name="T18" fmla="*/ 2147483647 w 31"/>
                    <a:gd name="T19" fmla="*/ 0 h 16"/>
                    <a:gd name="T20" fmla="*/ 2147483647 w 31"/>
                    <a:gd name="T21" fmla="*/ 0 h 16"/>
                    <a:gd name="T22" fmla="*/ 2147483647 w 31"/>
                    <a:gd name="T23" fmla="*/ 2147483647 h 16"/>
                    <a:gd name="T24" fmla="*/ 2147483647 w 31"/>
                    <a:gd name="T25" fmla="*/ 2147483647 h 16"/>
                    <a:gd name="T26" fmla="*/ 2147483647 w 31"/>
                    <a:gd name="T27" fmla="*/ 2147483647 h 16"/>
                    <a:gd name="T28" fmla="*/ 2147483647 w 31"/>
                    <a:gd name="T29" fmla="*/ 2147483647 h 16"/>
                    <a:gd name="T30" fmla="*/ 2147483647 w 31"/>
                    <a:gd name="T31" fmla="*/ 2147483647 h 16"/>
                    <a:gd name="T32" fmla="*/ 2147483647 w 31"/>
                    <a:gd name="T33" fmla="*/ 2147483647 h 16"/>
                    <a:gd name="T34" fmla="*/ 2147483647 w 31"/>
                    <a:gd name="T35" fmla="*/ 2147483647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6"/>
                    <a:gd name="T56" fmla="*/ 31 w 31"/>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6">
                      <a:moveTo>
                        <a:pt x="19" y="14"/>
                      </a:moveTo>
                      <a:lnTo>
                        <a:pt x="12" y="15"/>
                      </a:lnTo>
                      <a:lnTo>
                        <a:pt x="5" y="16"/>
                      </a:lnTo>
                      <a:lnTo>
                        <a:pt x="3" y="15"/>
                      </a:lnTo>
                      <a:lnTo>
                        <a:pt x="2" y="14"/>
                      </a:lnTo>
                      <a:lnTo>
                        <a:pt x="0" y="12"/>
                      </a:lnTo>
                      <a:lnTo>
                        <a:pt x="0" y="8"/>
                      </a:lnTo>
                      <a:lnTo>
                        <a:pt x="3" y="6"/>
                      </a:lnTo>
                      <a:lnTo>
                        <a:pt x="7" y="3"/>
                      </a:lnTo>
                      <a:lnTo>
                        <a:pt x="17" y="0"/>
                      </a:lnTo>
                      <a:lnTo>
                        <a:pt x="22" y="0"/>
                      </a:lnTo>
                      <a:lnTo>
                        <a:pt x="27" y="1"/>
                      </a:lnTo>
                      <a:lnTo>
                        <a:pt x="31" y="3"/>
                      </a:lnTo>
                      <a:lnTo>
                        <a:pt x="31" y="6"/>
                      </a:lnTo>
                      <a:lnTo>
                        <a:pt x="31" y="8"/>
                      </a:lnTo>
                      <a:lnTo>
                        <a:pt x="28" y="10"/>
                      </a:lnTo>
                      <a:lnTo>
                        <a:pt x="26" y="12"/>
                      </a:lnTo>
                      <a:lnTo>
                        <a:pt x="19"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5" name="Freeform 510"/>
                <p:cNvSpPr>
                  <a:spLocks/>
                </p:cNvSpPr>
                <p:nvPr/>
              </p:nvSpPr>
              <p:spPr bwMode="auto">
                <a:xfrm>
                  <a:off x="4042531" y="2169173"/>
                  <a:ext cx="34037" cy="25158"/>
                </a:xfrm>
                <a:custGeom>
                  <a:avLst/>
                  <a:gdLst>
                    <a:gd name="T0" fmla="*/ 2147483647 w 25"/>
                    <a:gd name="T1" fmla="*/ 2147483647 h 17"/>
                    <a:gd name="T2" fmla="*/ 2147483647 w 25"/>
                    <a:gd name="T3" fmla="*/ 2147483647 h 17"/>
                    <a:gd name="T4" fmla="*/ 2147483647 w 25"/>
                    <a:gd name="T5" fmla="*/ 2147483647 h 17"/>
                    <a:gd name="T6" fmla="*/ 2147483647 w 25"/>
                    <a:gd name="T7" fmla="*/ 2147483647 h 17"/>
                    <a:gd name="T8" fmla="*/ 2147483647 w 25"/>
                    <a:gd name="T9" fmla="*/ 2147483647 h 17"/>
                    <a:gd name="T10" fmla="*/ 2147483647 w 25"/>
                    <a:gd name="T11" fmla="*/ 0 h 17"/>
                    <a:gd name="T12" fmla="*/ 2147483647 w 25"/>
                    <a:gd name="T13" fmla="*/ 0 h 17"/>
                    <a:gd name="T14" fmla="*/ 2147483647 w 25"/>
                    <a:gd name="T15" fmla="*/ 2147483647 h 17"/>
                    <a:gd name="T16" fmla="*/ 0 w 25"/>
                    <a:gd name="T17" fmla="*/ 2147483647 h 17"/>
                    <a:gd name="T18" fmla="*/ 0 w 25"/>
                    <a:gd name="T19" fmla="*/ 2147483647 h 17"/>
                    <a:gd name="T20" fmla="*/ 0 w 25"/>
                    <a:gd name="T21" fmla="*/ 2147483647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2147483647 w 25"/>
                    <a:gd name="T35" fmla="*/ 2147483647 h 17"/>
                    <a:gd name="T36" fmla="*/ 2147483647 w 25"/>
                    <a:gd name="T37" fmla="*/ 2147483647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17"/>
                    <a:gd name="T59" fmla="*/ 25 w 25"/>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17">
                      <a:moveTo>
                        <a:pt x="25" y="14"/>
                      </a:moveTo>
                      <a:lnTo>
                        <a:pt x="24" y="9"/>
                      </a:lnTo>
                      <a:lnTo>
                        <a:pt x="21" y="5"/>
                      </a:lnTo>
                      <a:lnTo>
                        <a:pt x="18" y="2"/>
                      </a:lnTo>
                      <a:lnTo>
                        <a:pt x="12" y="1"/>
                      </a:lnTo>
                      <a:lnTo>
                        <a:pt x="9" y="0"/>
                      </a:lnTo>
                      <a:lnTo>
                        <a:pt x="5" y="0"/>
                      </a:lnTo>
                      <a:lnTo>
                        <a:pt x="2" y="1"/>
                      </a:lnTo>
                      <a:lnTo>
                        <a:pt x="0" y="3"/>
                      </a:lnTo>
                      <a:lnTo>
                        <a:pt x="0" y="7"/>
                      </a:lnTo>
                      <a:lnTo>
                        <a:pt x="0" y="9"/>
                      </a:lnTo>
                      <a:lnTo>
                        <a:pt x="2" y="10"/>
                      </a:lnTo>
                      <a:lnTo>
                        <a:pt x="5" y="13"/>
                      </a:lnTo>
                      <a:lnTo>
                        <a:pt x="11" y="15"/>
                      </a:lnTo>
                      <a:lnTo>
                        <a:pt x="18" y="17"/>
                      </a:lnTo>
                      <a:lnTo>
                        <a:pt x="20" y="17"/>
                      </a:lnTo>
                      <a:lnTo>
                        <a:pt x="23" y="17"/>
                      </a:lnTo>
                      <a:lnTo>
                        <a:pt x="24" y="16"/>
                      </a:lnTo>
                      <a:lnTo>
                        <a:pt x="25"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6" name="Freeform 511"/>
                <p:cNvSpPr>
                  <a:spLocks/>
                </p:cNvSpPr>
                <p:nvPr/>
              </p:nvSpPr>
              <p:spPr bwMode="auto">
                <a:xfrm>
                  <a:off x="3980376" y="2255006"/>
                  <a:ext cx="41436" cy="23678"/>
                </a:xfrm>
                <a:custGeom>
                  <a:avLst/>
                  <a:gdLst>
                    <a:gd name="T0" fmla="*/ 2147483647 w 31"/>
                    <a:gd name="T1" fmla="*/ 2147483647 h 16"/>
                    <a:gd name="T2" fmla="*/ 2147483647 w 31"/>
                    <a:gd name="T3" fmla="*/ 2147483647 h 16"/>
                    <a:gd name="T4" fmla="*/ 2147483647 w 31"/>
                    <a:gd name="T5" fmla="*/ 2147483647 h 16"/>
                    <a:gd name="T6" fmla="*/ 2147483647 w 31"/>
                    <a:gd name="T7" fmla="*/ 2147483647 h 16"/>
                    <a:gd name="T8" fmla="*/ 2147483647 w 31"/>
                    <a:gd name="T9" fmla="*/ 2147483647 h 16"/>
                    <a:gd name="T10" fmla="*/ 2147483647 w 31"/>
                    <a:gd name="T11" fmla="*/ 2147483647 h 16"/>
                    <a:gd name="T12" fmla="*/ 0 w 31"/>
                    <a:gd name="T13" fmla="*/ 2147483647 h 16"/>
                    <a:gd name="T14" fmla="*/ 0 w 31"/>
                    <a:gd name="T15" fmla="*/ 2147483647 h 16"/>
                    <a:gd name="T16" fmla="*/ 0 w 31"/>
                    <a:gd name="T17" fmla="*/ 2147483647 h 16"/>
                    <a:gd name="T18" fmla="*/ 2147483647 w 31"/>
                    <a:gd name="T19" fmla="*/ 2147483647 h 16"/>
                    <a:gd name="T20" fmla="*/ 2147483647 w 31"/>
                    <a:gd name="T21" fmla="*/ 2147483647 h 16"/>
                    <a:gd name="T22" fmla="*/ 2147483647 w 31"/>
                    <a:gd name="T23" fmla="*/ 0 h 16"/>
                    <a:gd name="T24" fmla="*/ 2147483647 w 31"/>
                    <a:gd name="T25" fmla="*/ 0 h 16"/>
                    <a:gd name="T26" fmla="*/ 2147483647 w 31"/>
                    <a:gd name="T27" fmla="*/ 0 h 16"/>
                    <a:gd name="T28" fmla="*/ 2147483647 w 31"/>
                    <a:gd name="T29" fmla="*/ 2147483647 h 16"/>
                    <a:gd name="T30" fmla="*/ 2147483647 w 31"/>
                    <a:gd name="T31" fmla="*/ 2147483647 h 16"/>
                    <a:gd name="T32" fmla="*/ 2147483647 w 31"/>
                    <a:gd name="T33" fmla="*/ 2147483647 h 16"/>
                    <a:gd name="T34" fmla="*/ 2147483647 w 31"/>
                    <a:gd name="T35" fmla="*/ 2147483647 h 16"/>
                    <a:gd name="T36" fmla="*/ 2147483647 w 31"/>
                    <a:gd name="T37" fmla="*/ 2147483647 h 16"/>
                    <a:gd name="T38" fmla="*/ 2147483647 w 31"/>
                    <a:gd name="T39" fmla="*/ 2147483647 h 16"/>
                    <a:gd name="T40" fmla="*/ 2147483647 w 31"/>
                    <a:gd name="T41" fmla="*/ 2147483647 h 16"/>
                    <a:gd name="T42" fmla="*/ 2147483647 w 31"/>
                    <a:gd name="T43" fmla="*/ 2147483647 h 16"/>
                    <a:gd name="T44" fmla="*/ 2147483647 w 31"/>
                    <a:gd name="T45" fmla="*/ 2147483647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16"/>
                    <a:gd name="T71" fmla="*/ 31 w 31"/>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16">
                      <a:moveTo>
                        <a:pt x="19" y="14"/>
                      </a:moveTo>
                      <a:lnTo>
                        <a:pt x="19" y="14"/>
                      </a:lnTo>
                      <a:lnTo>
                        <a:pt x="11" y="15"/>
                      </a:lnTo>
                      <a:lnTo>
                        <a:pt x="5" y="16"/>
                      </a:lnTo>
                      <a:lnTo>
                        <a:pt x="3" y="15"/>
                      </a:lnTo>
                      <a:lnTo>
                        <a:pt x="1" y="14"/>
                      </a:lnTo>
                      <a:lnTo>
                        <a:pt x="0" y="11"/>
                      </a:lnTo>
                      <a:lnTo>
                        <a:pt x="0" y="8"/>
                      </a:lnTo>
                      <a:lnTo>
                        <a:pt x="3" y="6"/>
                      </a:lnTo>
                      <a:lnTo>
                        <a:pt x="6" y="3"/>
                      </a:lnTo>
                      <a:lnTo>
                        <a:pt x="17" y="0"/>
                      </a:lnTo>
                      <a:lnTo>
                        <a:pt x="22" y="0"/>
                      </a:lnTo>
                      <a:lnTo>
                        <a:pt x="27" y="1"/>
                      </a:lnTo>
                      <a:lnTo>
                        <a:pt x="31" y="3"/>
                      </a:lnTo>
                      <a:lnTo>
                        <a:pt x="31" y="6"/>
                      </a:lnTo>
                      <a:lnTo>
                        <a:pt x="31" y="8"/>
                      </a:lnTo>
                      <a:lnTo>
                        <a:pt x="28" y="10"/>
                      </a:lnTo>
                      <a:lnTo>
                        <a:pt x="25" y="11"/>
                      </a:lnTo>
                      <a:lnTo>
                        <a:pt x="19"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7" name="Freeform 512"/>
                <p:cNvSpPr>
                  <a:spLocks/>
                </p:cNvSpPr>
                <p:nvPr/>
              </p:nvSpPr>
              <p:spPr bwMode="auto">
                <a:xfrm>
                  <a:off x="4039570" y="2166216"/>
                  <a:ext cx="35517" cy="26638"/>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2147483647 w 26"/>
                    <a:gd name="T15" fmla="*/ 0 h 18"/>
                    <a:gd name="T16" fmla="*/ 2147483647 w 26"/>
                    <a:gd name="T17" fmla="*/ 0 h 18"/>
                    <a:gd name="T18" fmla="*/ 2147483647 w 26"/>
                    <a:gd name="T19" fmla="*/ 2147483647 h 18"/>
                    <a:gd name="T20" fmla="*/ 0 w 26"/>
                    <a:gd name="T21" fmla="*/ 2147483647 h 18"/>
                    <a:gd name="T22" fmla="*/ 0 w 26"/>
                    <a:gd name="T23" fmla="*/ 2147483647 h 18"/>
                    <a:gd name="T24" fmla="*/ 0 w 26"/>
                    <a:gd name="T25" fmla="*/ 2147483647 h 18"/>
                    <a:gd name="T26" fmla="*/ 0 w 26"/>
                    <a:gd name="T27" fmla="*/ 2147483647 h 18"/>
                    <a:gd name="T28" fmla="*/ 2147483647 w 26"/>
                    <a:gd name="T29" fmla="*/ 2147483647 h 18"/>
                    <a:gd name="T30" fmla="*/ 2147483647 w 26"/>
                    <a:gd name="T31" fmla="*/ 2147483647 h 18"/>
                    <a:gd name="T32" fmla="*/ 2147483647 w 26"/>
                    <a:gd name="T33" fmla="*/ 2147483647 h 18"/>
                    <a:gd name="T34" fmla="*/ 2147483647 w 26"/>
                    <a:gd name="T35" fmla="*/ 2147483647 h 18"/>
                    <a:gd name="T36" fmla="*/ 2147483647 w 26"/>
                    <a:gd name="T37" fmla="*/ 2147483647 h 18"/>
                    <a:gd name="T38" fmla="*/ 2147483647 w 26"/>
                    <a:gd name="T39" fmla="*/ 2147483647 h 18"/>
                    <a:gd name="T40" fmla="*/ 2147483647 w 26"/>
                    <a:gd name="T41" fmla="*/ 2147483647 h 18"/>
                    <a:gd name="T42" fmla="*/ 2147483647 w 26"/>
                    <a:gd name="T43" fmla="*/ 2147483647 h 18"/>
                    <a:gd name="T44" fmla="*/ 2147483647 w 26"/>
                    <a:gd name="T45" fmla="*/ 2147483647 h 18"/>
                    <a:gd name="T46" fmla="*/ 2147483647 w 26"/>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8"/>
                    <a:gd name="T74" fmla="*/ 26 w 26"/>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8">
                      <a:moveTo>
                        <a:pt x="26" y="15"/>
                      </a:moveTo>
                      <a:lnTo>
                        <a:pt x="26" y="15"/>
                      </a:lnTo>
                      <a:lnTo>
                        <a:pt x="25" y="10"/>
                      </a:lnTo>
                      <a:lnTo>
                        <a:pt x="22" y="6"/>
                      </a:lnTo>
                      <a:lnTo>
                        <a:pt x="18" y="3"/>
                      </a:lnTo>
                      <a:lnTo>
                        <a:pt x="13" y="2"/>
                      </a:lnTo>
                      <a:lnTo>
                        <a:pt x="9" y="0"/>
                      </a:lnTo>
                      <a:lnTo>
                        <a:pt x="6" y="0"/>
                      </a:lnTo>
                      <a:lnTo>
                        <a:pt x="3" y="2"/>
                      </a:lnTo>
                      <a:lnTo>
                        <a:pt x="0" y="4"/>
                      </a:lnTo>
                      <a:lnTo>
                        <a:pt x="0" y="7"/>
                      </a:lnTo>
                      <a:lnTo>
                        <a:pt x="0" y="10"/>
                      </a:lnTo>
                      <a:lnTo>
                        <a:pt x="3" y="11"/>
                      </a:lnTo>
                      <a:lnTo>
                        <a:pt x="6" y="13"/>
                      </a:lnTo>
                      <a:lnTo>
                        <a:pt x="12" y="16"/>
                      </a:lnTo>
                      <a:lnTo>
                        <a:pt x="18" y="18"/>
                      </a:lnTo>
                      <a:lnTo>
                        <a:pt x="21" y="18"/>
                      </a:lnTo>
                      <a:lnTo>
                        <a:pt x="23" y="18"/>
                      </a:lnTo>
                      <a:lnTo>
                        <a:pt x="25" y="17"/>
                      </a:lnTo>
                      <a:lnTo>
                        <a:pt x="26"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8" name="Freeform 513"/>
                <p:cNvSpPr>
                  <a:spLocks/>
                </p:cNvSpPr>
                <p:nvPr/>
              </p:nvSpPr>
              <p:spPr bwMode="auto">
                <a:xfrm>
                  <a:off x="4052890" y="2155857"/>
                  <a:ext cx="29597" cy="19238"/>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2147483647 w 22"/>
                    <a:gd name="T21" fmla="*/ 2147483647 h 13"/>
                    <a:gd name="T22" fmla="*/ 2147483647 w 22"/>
                    <a:gd name="T23" fmla="*/ 0 h 13"/>
                    <a:gd name="T24" fmla="*/ 2147483647 w 22"/>
                    <a:gd name="T25" fmla="*/ 0 h 13"/>
                    <a:gd name="T26" fmla="*/ 2147483647 w 22"/>
                    <a:gd name="T27" fmla="*/ 2147483647 h 13"/>
                    <a:gd name="T28" fmla="*/ 0 w 22"/>
                    <a:gd name="T29" fmla="*/ 2147483647 h 13"/>
                    <a:gd name="T30" fmla="*/ 0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2147483647 w 22"/>
                    <a:gd name="T43" fmla="*/ 2147483647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13"/>
                    <a:gd name="T68" fmla="*/ 22 w 22"/>
                    <a:gd name="T69" fmla="*/ 13 h 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13">
                      <a:moveTo>
                        <a:pt x="11" y="5"/>
                      </a:moveTo>
                      <a:lnTo>
                        <a:pt x="12" y="6"/>
                      </a:lnTo>
                      <a:lnTo>
                        <a:pt x="14" y="9"/>
                      </a:lnTo>
                      <a:lnTo>
                        <a:pt x="16" y="11"/>
                      </a:lnTo>
                      <a:lnTo>
                        <a:pt x="17" y="12"/>
                      </a:lnTo>
                      <a:lnTo>
                        <a:pt x="18" y="13"/>
                      </a:lnTo>
                      <a:lnTo>
                        <a:pt x="19" y="13"/>
                      </a:lnTo>
                      <a:lnTo>
                        <a:pt x="22" y="11"/>
                      </a:lnTo>
                      <a:lnTo>
                        <a:pt x="22" y="9"/>
                      </a:lnTo>
                      <a:lnTo>
                        <a:pt x="18" y="4"/>
                      </a:lnTo>
                      <a:lnTo>
                        <a:pt x="12" y="1"/>
                      </a:lnTo>
                      <a:lnTo>
                        <a:pt x="9" y="0"/>
                      </a:lnTo>
                      <a:lnTo>
                        <a:pt x="5" y="0"/>
                      </a:lnTo>
                      <a:lnTo>
                        <a:pt x="3" y="1"/>
                      </a:lnTo>
                      <a:lnTo>
                        <a:pt x="0" y="4"/>
                      </a:lnTo>
                      <a:lnTo>
                        <a:pt x="0" y="5"/>
                      </a:lnTo>
                      <a:lnTo>
                        <a:pt x="5" y="6"/>
                      </a:lnTo>
                      <a:lnTo>
                        <a:pt x="8" y="6"/>
                      </a:lnTo>
                      <a:lnTo>
                        <a:pt x="11" y="5"/>
                      </a:lnTo>
                      <a:lnTo>
                        <a:pt x="12" y="6"/>
                      </a:lnTo>
                      <a:lnTo>
                        <a:pt x="12" y="7"/>
                      </a:lnTo>
                      <a:lnTo>
                        <a:pt x="1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19" name="Freeform 514"/>
                <p:cNvSpPr>
                  <a:spLocks/>
                </p:cNvSpPr>
                <p:nvPr/>
              </p:nvSpPr>
              <p:spPr bwMode="auto">
                <a:xfrm>
                  <a:off x="4024773" y="2138097"/>
                  <a:ext cx="32557" cy="17758"/>
                </a:xfrm>
                <a:custGeom>
                  <a:avLst/>
                  <a:gdLst>
                    <a:gd name="T0" fmla="*/ 2147483647 w 24"/>
                    <a:gd name="T1" fmla="*/ 2147483647 h 12"/>
                    <a:gd name="T2" fmla="*/ 2147483647 w 24"/>
                    <a:gd name="T3" fmla="*/ 2147483647 h 12"/>
                    <a:gd name="T4" fmla="*/ 2147483647 w 24"/>
                    <a:gd name="T5" fmla="*/ 2147483647 h 12"/>
                    <a:gd name="T6" fmla="*/ 0 w 24"/>
                    <a:gd name="T7" fmla="*/ 2147483647 h 12"/>
                    <a:gd name="T8" fmla="*/ 0 w 24"/>
                    <a:gd name="T9" fmla="*/ 2147483647 h 12"/>
                    <a:gd name="T10" fmla="*/ 2147483647 w 24"/>
                    <a:gd name="T11" fmla="*/ 2147483647 h 12"/>
                    <a:gd name="T12" fmla="*/ 2147483647 w 24"/>
                    <a:gd name="T13" fmla="*/ 2147483647 h 12"/>
                    <a:gd name="T14" fmla="*/ 2147483647 w 24"/>
                    <a:gd name="T15" fmla="*/ 0 h 12"/>
                    <a:gd name="T16" fmla="*/ 2147483647 w 24"/>
                    <a:gd name="T17" fmla="*/ 0 h 12"/>
                    <a:gd name="T18" fmla="*/ 2147483647 w 24"/>
                    <a:gd name="T19" fmla="*/ 2147483647 h 12"/>
                    <a:gd name="T20" fmla="*/ 2147483647 w 24"/>
                    <a:gd name="T21" fmla="*/ 2147483647 h 12"/>
                    <a:gd name="T22" fmla="*/ 2147483647 w 24"/>
                    <a:gd name="T23" fmla="*/ 2147483647 h 12"/>
                    <a:gd name="T24" fmla="*/ 2147483647 w 24"/>
                    <a:gd name="T25" fmla="*/ 2147483647 h 12"/>
                    <a:gd name="T26" fmla="*/ 2147483647 w 24"/>
                    <a:gd name="T27" fmla="*/ 2147483647 h 12"/>
                    <a:gd name="T28" fmla="*/ 2147483647 w 24"/>
                    <a:gd name="T29" fmla="*/ 2147483647 h 12"/>
                    <a:gd name="T30" fmla="*/ 2147483647 w 24"/>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12"/>
                    <a:gd name="T50" fmla="*/ 24 w 24"/>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12">
                      <a:moveTo>
                        <a:pt x="10" y="11"/>
                      </a:moveTo>
                      <a:lnTo>
                        <a:pt x="4" y="12"/>
                      </a:lnTo>
                      <a:lnTo>
                        <a:pt x="1" y="12"/>
                      </a:lnTo>
                      <a:lnTo>
                        <a:pt x="0" y="10"/>
                      </a:lnTo>
                      <a:lnTo>
                        <a:pt x="0" y="6"/>
                      </a:lnTo>
                      <a:lnTo>
                        <a:pt x="3" y="3"/>
                      </a:lnTo>
                      <a:lnTo>
                        <a:pt x="5" y="2"/>
                      </a:lnTo>
                      <a:lnTo>
                        <a:pt x="9" y="0"/>
                      </a:lnTo>
                      <a:lnTo>
                        <a:pt x="14" y="0"/>
                      </a:lnTo>
                      <a:lnTo>
                        <a:pt x="18" y="2"/>
                      </a:lnTo>
                      <a:lnTo>
                        <a:pt x="22" y="3"/>
                      </a:lnTo>
                      <a:lnTo>
                        <a:pt x="24" y="5"/>
                      </a:lnTo>
                      <a:lnTo>
                        <a:pt x="24" y="7"/>
                      </a:lnTo>
                      <a:lnTo>
                        <a:pt x="24" y="9"/>
                      </a:lnTo>
                      <a:lnTo>
                        <a:pt x="20" y="10"/>
                      </a:lnTo>
                      <a:lnTo>
                        <a:pt x="10"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0" name="Freeform 515"/>
                <p:cNvSpPr>
                  <a:spLocks/>
                </p:cNvSpPr>
                <p:nvPr/>
              </p:nvSpPr>
              <p:spPr bwMode="auto">
                <a:xfrm>
                  <a:off x="4051409" y="2154375"/>
                  <a:ext cx="29597" cy="19239"/>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2147483647 w 22"/>
                    <a:gd name="T21" fmla="*/ 2147483647 h 13"/>
                    <a:gd name="T22" fmla="*/ 2147483647 w 22"/>
                    <a:gd name="T23" fmla="*/ 2147483647 h 13"/>
                    <a:gd name="T24" fmla="*/ 2147483647 w 22"/>
                    <a:gd name="T25" fmla="*/ 2147483647 h 13"/>
                    <a:gd name="T26" fmla="*/ 2147483647 w 22"/>
                    <a:gd name="T27" fmla="*/ 2147483647 h 13"/>
                    <a:gd name="T28" fmla="*/ 2147483647 w 22"/>
                    <a:gd name="T29" fmla="*/ 2147483647 h 13"/>
                    <a:gd name="T30" fmla="*/ 2147483647 w 22"/>
                    <a:gd name="T31" fmla="*/ 0 h 13"/>
                    <a:gd name="T32" fmla="*/ 2147483647 w 22"/>
                    <a:gd name="T33" fmla="*/ 0 h 13"/>
                    <a:gd name="T34" fmla="*/ 2147483647 w 22"/>
                    <a:gd name="T35" fmla="*/ 2147483647 h 13"/>
                    <a:gd name="T36" fmla="*/ 0 w 22"/>
                    <a:gd name="T37" fmla="*/ 2147483647 h 13"/>
                    <a:gd name="T38" fmla="*/ 0 w 22"/>
                    <a:gd name="T39" fmla="*/ 2147483647 h 13"/>
                    <a:gd name="T40" fmla="*/ 0 w 22"/>
                    <a:gd name="T41" fmla="*/ 2147483647 h 13"/>
                    <a:gd name="T42" fmla="*/ 0 w 22"/>
                    <a:gd name="T43" fmla="*/ 2147483647 h 13"/>
                    <a:gd name="T44" fmla="*/ 0 w 22"/>
                    <a:gd name="T45" fmla="*/ 2147483647 h 13"/>
                    <a:gd name="T46" fmla="*/ 2147483647 w 22"/>
                    <a:gd name="T47" fmla="*/ 2147483647 h 13"/>
                    <a:gd name="T48" fmla="*/ 2147483647 w 22"/>
                    <a:gd name="T49" fmla="*/ 2147483647 h 13"/>
                    <a:gd name="T50" fmla="*/ 2147483647 w 22"/>
                    <a:gd name="T51" fmla="*/ 2147483647 h 13"/>
                    <a:gd name="T52" fmla="*/ 2147483647 w 22"/>
                    <a:gd name="T53" fmla="*/ 2147483647 h 13"/>
                    <a:gd name="T54" fmla="*/ 2147483647 w 22"/>
                    <a:gd name="T55" fmla="*/ 2147483647 h 13"/>
                    <a:gd name="T56" fmla="*/ 2147483647 w 22"/>
                    <a:gd name="T57" fmla="*/ 2147483647 h 13"/>
                    <a:gd name="T58" fmla="*/ 2147483647 w 22"/>
                    <a:gd name="T59" fmla="*/ 2147483647 h 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
                    <a:gd name="T91" fmla="*/ 0 h 13"/>
                    <a:gd name="T92" fmla="*/ 22 w 22"/>
                    <a:gd name="T93" fmla="*/ 13 h 1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 h="13">
                      <a:moveTo>
                        <a:pt x="10" y="5"/>
                      </a:moveTo>
                      <a:lnTo>
                        <a:pt x="10" y="5"/>
                      </a:lnTo>
                      <a:lnTo>
                        <a:pt x="12" y="6"/>
                      </a:lnTo>
                      <a:lnTo>
                        <a:pt x="14" y="8"/>
                      </a:lnTo>
                      <a:lnTo>
                        <a:pt x="15" y="11"/>
                      </a:lnTo>
                      <a:lnTo>
                        <a:pt x="17" y="12"/>
                      </a:lnTo>
                      <a:lnTo>
                        <a:pt x="18" y="13"/>
                      </a:lnTo>
                      <a:lnTo>
                        <a:pt x="19" y="13"/>
                      </a:lnTo>
                      <a:lnTo>
                        <a:pt x="22" y="11"/>
                      </a:lnTo>
                      <a:lnTo>
                        <a:pt x="22" y="8"/>
                      </a:lnTo>
                      <a:lnTo>
                        <a:pt x="18" y="4"/>
                      </a:lnTo>
                      <a:lnTo>
                        <a:pt x="12" y="1"/>
                      </a:lnTo>
                      <a:lnTo>
                        <a:pt x="9" y="0"/>
                      </a:lnTo>
                      <a:lnTo>
                        <a:pt x="5" y="0"/>
                      </a:lnTo>
                      <a:lnTo>
                        <a:pt x="3" y="1"/>
                      </a:lnTo>
                      <a:lnTo>
                        <a:pt x="0" y="4"/>
                      </a:lnTo>
                      <a:lnTo>
                        <a:pt x="0" y="5"/>
                      </a:lnTo>
                      <a:lnTo>
                        <a:pt x="5" y="6"/>
                      </a:lnTo>
                      <a:lnTo>
                        <a:pt x="8" y="6"/>
                      </a:lnTo>
                      <a:lnTo>
                        <a:pt x="10" y="5"/>
                      </a:lnTo>
                      <a:lnTo>
                        <a:pt x="12" y="6"/>
                      </a:lnTo>
                      <a:lnTo>
                        <a:pt x="12" y="7"/>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1" name="Freeform 516"/>
                <p:cNvSpPr>
                  <a:spLocks/>
                </p:cNvSpPr>
                <p:nvPr/>
              </p:nvSpPr>
              <p:spPr bwMode="auto">
                <a:xfrm>
                  <a:off x="4023291" y="2136617"/>
                  <a:ext cx="32557" cy="17758"/>
                </a:xfrm>
                <a:custGeom>
                  <a:avLst/>
                  <a:gdLst>
                    <a:gd name="T0" fmla="*/ 2147483647 w 24"/>
                    <a:gd name="T1" fmla="*/ 2147483647 h 12"/>
                    <a:gd name="T2" fmla="*/ 2147483647 w 24"/>
                    <a:gd name="T3" fmla="*/ 2147483647 h 12"/>
                    <a:gd name="T4" fmla="*/ 2147483647 w 24"/>
                    <a:gd name="T5" fmla="*/ 2147483647 h 12"/>
                    <a:gd name="T6" fmla="*/ 2147483647 w 24"/>
                    <a:gd name="T7" fmla="*/ 2147483647 h 12"/>
                    <a:gd name="T8" fmla="*/ 0 w 24"/>
                    <a:gd name="T9" fmla="*/ 2147483647 h 12"/>
                    <a:gd name="T10" fmla="*/ 0 w 24"/>
                    <a:gd name="T11" fmla="*/ 2147483647 h 12"/>
                    <a:gd name="T12" fmla="*/ 0 w 24"/>
                    <a:gd name="T13" fmla="*/ 2147483647 h 12"/>
                    <a:gd name="T14" fmla="*/ 2147483647 w 24"/>
                    <a:gd name="T15" fmla="*/ 2147483647 h 12"/>
                    <a:gd name="T16" fmla="*/ 2147483647 w 24"/>
                    <a:gd name="T17" fmla="*/ 2147483647 h 12"/>
                    <a:gd name="T18" fmla="*/ 2147483647 w 24"/>
                    <a:gd name="T19" fmla="*/ 0 h 12"/>
                    <a:gd name="T20" fmla="*/ 2147483647 w 24"/>
                    <a:gd name="T21" fmla="*/ 0 h 12"/>
                    <a:gd name="T22" fmla="*/ 2147483647 w 24"/>
                    <a:gd name="T23" fmla="*/ 2147483647 h 12"/>
                    <a:gd name="T24" fmla="*/ 2147483647 w 24"/>
                    <a:gd name="T25" fmla="*/ 2147483647 h 12"/>
                    <a:gd name="T26" fmla="*/ 2147483647 w 24"/>
                    <a:gd name="T27" fmla="*/ 2147483647 h 12"/>
                    <a:gd name="T28" fmla="*/ 2147483647 w 24"/>
                    <a:gd name="T29" fmla="*/ 2147483647 h 12"/>
                    <a:gd name="T30" fmla="*/ 2147483647 w 24"/>
                    <a:gd name="T31" fmla="*/ 2147483647 h 12"/>
                    <a:gd name="T32" fmla="*/ 2147483647 w 24"/>
                    <a:gd name="T33" fmla="*/ 2147483647 h 12"/>
                    <a:gd name="T34" fmla="*/ 2147483647 w 24"/>
                    <a:gd name="T35" fmla="*/ 2147483647 h 12"/>
                    <a:gd name="T36" fmla="*/ 2147483647 w 24"/>
                    <a:gd name="T37" fmla="*/ 2147483647 h 12"/>
                    <a:gd name="T38" fmla="*/ 2147483647 w 24"/>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12"/>
                    <a:gd name="T62" fmla="*/ 24 w 24"/>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12">
                      <a:moveTo>
                        <a:pt x="10" y="11"/>
                      </a:moveTo>
                      <a:lnTo>
                        <a:pt x="10" y="11"/>
                      </a:lnTo>
                      <a:lnTo>
                        <a:pt x="4" y="12"/>
                      </a:lnTo>
                      <a:lnTo>
                        <a:pt x="1" y="12"/>
                      </a:lnTo>
                      <a:lnTo>
                        <a:pt x="0" y="10"/>
                      </a:lnTo>
                      <a:lnTo>
                        <a:pt x="0" y="6"/>
                      </a:lnTo>
                      <a:lnTo>
                        <a:pt x="2" y="3"/>
                      </a:lnTo>
                      <a:lnTo>
                        <a:pt x="5" y="1"/>
                      </a:lnTo>
                      <a:lnTo>
                        <a:pt x="9" y="0"/>
                      </a:lnTo>
                      <a:lnTo>
                        <a:pt x="14" y="0"/>
                      </a:lnTo>
                      <a:lnTo>
                        <a:pt x="18" y="1"/>
                      </a:lnTo>
                      <a:lnTo>
                        <a:pt x="21" y="3"/>
                      </a:lnTo>
                      <a:lnTo>
                        <a:pt x="24" y="5"/>
                      </a:lnTo>
                      <a:lnTo>
                        <a:pt x="24" y="7"/>
                      </a:lnTo>
                      <a:lnTo>
                        <a:pt x="24" y="8"/>
                      </a:lnTo>
                      <a:lnTo>
                        <a:pt x="20" y="10"/>
                      </a:lnTo>
                      <a:lnTo>
                        <a:pt x="10"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2" name="Freeform 517"/>
                <p:cNvSpPr>
                  <a:spLocks/>
                </p:cNvSpPr>
                <p:nvPr/>
              </p:nvSpPr>
              <p:spPr bwMode="auto">
                <a:xfrm>
                  <a:off x="4126885" y="2107022"/>
                  <a:ext cx="22199" cy="16279"/>
                </a:xfrm>
                <a:custGeom>
                  <a:avLst/>
                  <a:gdLst>
                    <a:gd name="T0" fmla="*/ 2147483647 w 17"/>
                    <a:gd name="T1" fmla="*/ 2147483647 h 11"/>
                    <a:gd name="T2" fmla="*/ 2147483647 w 17"/>
                    <a:gd name="T3" fmla="*/ 2147483647 h 11"/>
                    <a:gd name="T4" fmla="*/ 0 w 17"/>
                    <a:gd name="T5" fmla="*/ 2147483647 h 11"/>
                    <a:gd name="T6" fmla="*/ 2147483647 w 17"/>
                    <a:gd name="T7" fmla="*/ 2147483647 h 11"/>
                    <a:gd name="T8" fmla="*/ 2147483647 w 17"/>
                    <a:gd name="T9" fmla="*/ 2147483647 h 11"/>
                    <a:gd name="T10" fmla="*/ 2147483647 w 17"/>
                    <a:gd name="T11" fmla="*/ 0 h 11"/>
                    <a:gd name="T12" fmla="*/ 2147483647 w 17"/>
                    <a:gd name="T13" fmla="*/ 0 h 11"/>
                    <a:gd name="T14" fmla="*/ 2147483647 w 17"/>
                    <a:gd name="T15" fmla="*/ 2147483647 h 11"/>
                    <a:gd name="T16" fmla="*/ 2147483647 w 17"/>
                    <a:gd name="T17" fmla="*/ 2147483647 h 11"/>
                    <a:gd name="T18" fmla="*/ 2147483647 w 17"/>
                    <a:gd name="T19" fmla="*/ 2147483647 h 11"/>
                    <a:gd name="T20" fmla="*/ 2147483647 w 17"/>
                    <a:gd name="T21" fmla="*/ 2147483647 h 11"/>
                    <a:gd name="T22" fmla="*/ 2147483647 w 17"/>
                    <a:gd name="T23" fmla="*/ 2147483647 h 11"/>
                    <a:gd name="T24" fmla="*/ 2147483647 w 17"/>
                    <a:gd name="T25" fmla="*/ 2147483647 h 11"/>
                    <a:gd name="T26" fmla="*/ 2147483647 w 17"/>
                    <a:gd name="T27" fmla="*/ 2147483647 h 11"/>
                    <a:gd name="T28" fmla="*/ 2147483647 w 17"/>
                    <a:gd name="T29" fmla="*/ 2147483647 h 11"/>
                    <a:gd name="T30" fmla="*/ 2147483647 w 17"/>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1"/>
                    <a:gd name="T50" fmla="*/ 17 w 17"/>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1">
                      <a:moveTo>
                        <a:pt x="5" y="8"/>
                      </a:moveTo>
                      <a:lnTo>
                        <a:pt x="1" y="6"/>
                      </a:lnTo>
                      <a:lnTo>
                        <a:pt x="0" y="5"/>
                      </a:lnTo>
                      <a:lnTo>
                        <a:pt x="1" y="2"/>
                      </a:lnTo>
                      <a:lnTo>
                        <a:pt x="4" y="1"/>
                      </a:lnTo>
                      <a:lnTo>
                        <a:pt x="6" y="0"/>
                      </a:lnTo>
                      <a:lnTo>
                        <a:pt x="9" y="0"/>
                      </a:lnTo>
                      <a:lnTo>
                        <a:pt x="14" y="1"/>
                      </a:lnTo>
                      <a:lnTo>
                        <a:pt x="16" y="2"/>
                      </a:lnTo>
                      <a:lnTo>
                        <a:pt x="17" y="5"/>
                      </a:lnTo>
                      <a:lnTo>
                        <a:pt x="17" y="7"/>
                      </a:lnTo>
                      <a:lnTo>
                        <a:pt x="17" y="10"/>
                      </a:lnTo>
                      <a:lnTo>
                        <a:pt x="16" y="11"/>
                      </a:lnTo>
                      <a:lnTo>
                        <a:pt x="14" y="11"/>
                      </a:lnTo>
                      <a:lnTo>
                        <a:pt x="9" y="11"/>
                      </a:lnTo>
                      <a:lnTo>
                        <a:pt x="5"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3" name="Freeform 519"/>
                <p:cNvSpPr>
                  <a:spLocks/>
                </p:cNvSpPr>
                <p:nvPr/>
              </p:nvSpPr>
              <p:spPr bwMode="auto">
                <a:xfrm>
                  <a:off x="4123924" y="2105539"/>
                  <a:ext cx="23678" cy="16278"/>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0 w 18"/>
                    <a:gd name="T9" fmla="*/ 2147483647 h 11"/>
                    <a:gd name="T10" fmla="*/ 0 w 18"/>
                    <a:gd name="T11" fmla="*/ 2147483647 h 11"/>
                    <a:gd name="T12" fmla="*/ 2147483647 w 18"/>
                    <a:gd name="T13" fmla="*/ 2147483647 h 11"/>
                    <a:gd name="T14" fmla="*/ 2147483647 w 18"/>
                    <a:gd name="T15" fmla="*/ 2147483647 h 11"/>
                    <a:gd name="T16" fmla="*/ 2147483647 w 18"/>
                    <a:gd name="T17" fmla="*/ 0 h 11"/>
                    <a:gd name="T18" fmla="*/ 2147483647 w 18"/>
                    <a:gd name="T19" fmla="*/ 0 h 11"/>
                    <a:gd name="T20" fmla="*/ 2147483647 w 18"/>
                    <a:gd name="T21" fmla="*/ 2147483647 h 11"/>
                    <a:gd name="T22" fmla="*/ 2147483647 w 18"/>
                    <a:gd name="T23" fmla="*/ 2147483647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2147483647 w 18"/>
                    <a:gd name="T35" fmla="*/ 2147483647 h 11"/>
                    <a:gd name="T36" fmla="*/ 2147483647 w 18"/>
                    <a:gd name="T37" fmla="*/ 2147483647 h 11"/>
                    <a:gd name="T38" fmla="*/ 2147483647 w 18"/>
                    <a:gd name="T39" fmla="*/ 2147483647 h 11"/>
                    <a:gd name="T40" fmla="*/ 2147483647 w 18"/>
                    <a:gd name="T41" fmla="*/ 2147483647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1"/>
                    <a:gd name="T65" fmla="*/ 18 w 18"/>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1">
                      <a:moveTo>
                        <a:pt x="6" y="8"/>
                      </a:moveTo>
                      <a:lnTo>
                        <a:pt x="6" y="8"/>
                      </a:lnTo>
                      <a:lnTo>
                        <a:pt x="2" y="6"/>
                      </a:lnTo>
                      <a:lnTo>
                        <a:pt x="0" y="5"/>
                      </a:lnTo>
                      <a:lnTo>
                        <a:pt x="2" y="2"/>
                      </a:lnTo>
                      <a:lnTo>
                        <a:pt x="4" y="1"/>
                      </a:lnTo>
                      <a:lnTo>
                        <a:pt x="7" y="0"/>
                      </a:lnTo>
                      <a:lnTo>
                        <a:pt x="9" y="0"/>
                      </a:lnTo>
                      <a:lnTo>
                        <a:pt x="14" y="1"/>
                      </a:lnTo>
                      <a:lnTo>
                        <a:pt x="17" y="2"/>
                      </a:lnTo>
                      <a:lnTo>
                        <a:pt x="18" y="5"/>
                      </a:lnTo>
                      <a:lnTo>
                        <a:pt x="18" y="7"/>
                      </a:lnTo>
                      <a:lnTo>
                        <a:pt x="18" y="9"/>
                      </a:lnTo>
                      <a:lnTo>
                        <a:pt x="17" y="11"/>
                      </a:lnTo>
                      <a:lnTo>
                        <a:pt x="14" y="11"/>
                      </a:lnTo>
                      <a:lnTo>
                        <a:pt x="9" y="11"/>
                      </a:lnTo>
                      <a:lnTo>
                        <a:pt x="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4" name="Freeform 522"/>
                <p:cNvSpPr>
                  <a:spLocks/>
                </p:cNvSpPr>
                <p:nvPr/>
              </p:nvSpPr>
              <p:spPr bwMode="auto">
                <a:xfrm>
                  <a:off x="2913387" y="1645301"/>
                  <a:ext cx="1422158" cy="1068468"/>
                </a:xfrm>
                <a:custGeom>
                  <a:avLst/>
                  <a:gdLst>
                    <a:gd name="T0" fmla="*/ 2147483647 w 1041"/>
                    <a:gd name="T1" fmla="*/ 2147483647 h 722"/>
                    <a:gd name="T2" fmla="*/ 2147483647 w 1041"/>
                    <a:gd name="T3" fmla="*/ 2147483647 h 722"/>
                    <a:gd name="T4" fmla="*/ 2147483647 w 1041"/>
                    <a:gd name="T5" fmla="*/ 2147483647 h 722"/>
                    <a:gd name="T6" fmla="*/ 2147483647 w 1041"/>
                    <a:gd name="T7" fmla="*/ 2147483647 h 722"/>
                    <a:gd name="T8" fmla="*/ 2147483647 w 1041"/>
                    <a:gd name="T9" fmla="*/ 2147483647 h 722"/>
                    <a:gd name="T10" fmla="*/ 2147483647 w 1041"/>
                    <a:gd name="T11" fmla="*/ 2147483647 h 722"/>
                    <a:gd name="T12" fmla="*/ 2147483647 w 1041"/>
                    <a:gd name="T13" fmla="*/ 2147483647 h 722"/>
                    <a:gd name="T14" fmla="*/ 2147483647 w 1041"/>
                    <a:gd name="T15" fmla="*/ 2147483647 h 722"/>
                    <a:gd name="T16" fmla="*/ 2147483647 w 1041"/>
                    <a:gd name="T17" fmla="*/ 2147483647 h 722"/>
                    <a:gd name="T18" fmla="*/ 2147483647 w 1041"/>
                    <a:gd name="T19" fmla="*/ 2147483647 h 722"/>
                    <a:gd name="T20" fmla="*/ 2147483647 w 1041"/>
                    <a:gd name="T21" fmla="*/ 2147483647 h 722"/>
                    <a:gd name="T22" fmla="*/ 2147483647 w 1041"/>
                    <a:gd name="T23" fmla="*/ 2147483647 h 722"/>
                    <a:gd name="T24" fmla="*/ 2147483647 w 1041"/>
                    <a:gd name="T25" fmla="*/ 2147483647 h 722"/>
                    <a:gd name="T26" fmla="*/ 2147483647 w 1041"/>
                    <a:gd name="T27" fmla="*/ 2147483647 h 722"/>
                    <a:gd name="T28" fmla="*/ 2147483647 w 1041"/>
                    <a:gd name="T29" fmla="*/ 2147483647 h 722"/>
                    <a:gd name="T30" fmla="*/ 2147483647 w 1041"/>
                    <a:gd name="T31" fmla="*/ 2147483647 h 722"/>
                    <a:gd name="T32" fmla="*/ 2147483647 w 1041"/>
                    <a:gd name="T33" fmla="*/ 2147483647 h 722"/>
                    <a:gd name="T34" fmla="*/ 2147483647 w 1041"/>
                    <a:gd name="T35" fmla="*/ 2147483647 h 722"/>
                    <a:gd name="T36" fmla="*/ 2147483647 w 1041"/>
                    <a:gd name="T37" fmla="*/ 2147483647 h 722"/>
                    <a:gd name="T38" fmla="*/ 2147483647 w 1041"/>
                    <a:gd name="T39" fmla="*/ 2147483647 h 722"/>
                    <a:gd name="T40" fmla="*/ 2147483647 w 1041"/>
                    <a:gd name="T41" fmla="*/ 2147483647 h 722"/>
                    <a:gd name="T42" fmla="*/ 2147483647 w 1041"/>
                    <a:gd name="T43" fmla="*/ 2147483647 h 722"/>
                    <a:gd name="T44" fmla="*/ 2147483647 w 1041"/>
                    <a:gd name="T45" fmla="*/ 2147483647 h 722"/>
                    <a:gd name="T46" fmla="*/ 2147483647 w 1041"/>
                    <a:gd name="T47" fmla="*/ 2147483647 h 722"/>
                    <a:gd name="T48" fmla="*/ 2147483647 w 1041"/>
                    <a:gd name="T49" fmla="*/ 2147483647 h 722"/>
                    <a:gd name="T50" fmla="*/ 2147483647 w 1041"/>
                    <a:gd name="T51" fmla="*/ 2147483647 h 722"/>
                    <a:gd name="T52" fmla="*/ 2147483647 w 1041"/>
                    <a:gd name="T53" fmla="*/ 2147483647 h 722"/>
                    <a:gd name="T54" fmla="*/ 2147483647 w 1041"/>
                    <a:gd name="T55" fmla="*/ 2147483647 h 722"/>
                    <a:gd name="T56" fmla="*/ 2147483647 w 1041"/>
                    <a:gd name="T57" fmla="*/ 2147483647 h 722"/>
                    <a:gd name="T58" fmla="*/ 2147483647 w 1041"/>
                    <a:gd name="T59" fmla="*/ 2147483647 h 722"/>
                    <a:gd name="T60" fmla="*/ 2147483647 w 1041"/>
                    <a:gd name="T61" fmla="*/ 2147483647 h 722"/>
                    <a:gd name="T62" fmla="*/ 2147483647 w 1041"/>
                    <a:gd name="T63" fmla="*/ 2147483647 h 722"/>
                    <a:gd name="T64" fmla="*/ 2147483647 w 1041"/>
                    <a:gd name="T65" fmla="*/ 2147483647 h 722"/>
                    <a:gd name="T66" fmla="*/ 2147483647 w 1041"/>
                    <a:gd name="T67" fmla="*/ 2147483647 h 722"/>
                    <a:gd name="T68" fmla="*/ 2147483647 w 1041"/>
                    <a:gd name="T69" fmla="*/ 2147483647 h 722"/>
                    <a:gd name="T70" fmla="*/ 2147483647 w 1041"/>
                    <a:gd name="T71" fmla="*/ 2147483647 h 722"/>
                    <a:gd name="T72" fmla="*/ 2147483647 w 1041"/>
                    <a:gd name="T73" fmla="*/ 2147483647 h 722"/>
                    <a:gd name="T74" fmla="*/ 2147483647 w 1041"/>
                    <a:gd name="T75" fmla="*/ 2147483647 h 722"/>
                    <a:gd name="T76" fmla="*/ 2147483647 w 1041"/>
                    <a:gd name="T77" fmla="*/ 2147483647 h 722"/>
                    <a:gd name="T78" fmla="*/ 2147483647 w 1041"/>
                    <a:gd name="T79" fmla="*/ 2147483647 h 722"/>
                    <a:gd name="T80" fmla="*/ 2147483647 w 1041"/>
                    <a:gd name="T81" fmla="*/ 2147483647 h 722"/>
                    <a:gd name="T82" fmla="*/ 2147483647 w 1041"/>
                    <a:gd name="T83" fmla="*/ 2147483647 h 722"/>
                    <a:gd name="T84" fmla="*/ 2147483647 w 1041"/>
                    <a:gd name="T85" fmla="*/ 2147483647 h 722"/>
                    <a:gd name="T86" fmla="*/ 2147483647 w 1041"/>
                    <a:gd name="T87" fmla="*/ 2147483647 h 722"/>
                    <a:gd name="T88" fmla="*/ 2147483647 w 1041"/>
                    <a:gd name="T89" fmla="*/ 2147483647 h 722"/>
                    <a:gd name="T90" fmla="*/ 2147483647 w 1041"/>
                    <a:gd name="T91" fmla="*/ 2147483647 h 722"/>
                    <a:gd name="T92" fmla="*/ 2147483647 w 1041"/>
                    <a:gd name="T93" fmla="*/ 2147483647 h 722"/>
                    <a:gd name="T94" fmla="*/ 2147483647 w 1041"/>
                    <a:gd name="T95" fmla="*/ 2147483647 h 722"/>
                    <a:gd name="T96" fmla="*/ 2147483647 w 1041"/>
                    <a:gd name="T97" fmla="*/ 2147483647 h 722"/>
                    <a:gd name="T98" fmla="*/ 2147483647 w 1041"/>
                    <a:gd name="T99" fmla="*/ 2147483647 h 722"/>
                    <a:gd name="T100" fmla="*/ 2147483647 w 1041"/>
                    <a:gd name="T101" fmla="*/ 2147483647 h 722"/>
                    <a:gd name="T102" fmla="*/ 2147483647 w 1041"/>
                    <a:gd name="T103" fmla="*/ 2147483647 h 722"/>
                    <a:gd name="T104" fmla="*/ 2147483647 w 1041"/>
                    <a:gd name="T105" fmla="*/ 2147483647 h 722"/>
                    <a:gd name="T106" fmla="*/ 2147483647 w 1041"/>
                    <a:gd name="T107" fmla="*/ 2147483647 h 722"/>
                    <a:gd name="T108" fmla="*/ 2147483647 w 1041"/>
                    <a:gd name="T109" fmla="*/ 2147483647 h 722"/>
                    <a:gd name="T110" fmla="*/ 2147483647 w 1041"/>
                    <a:gd name="T111" fmla="*/ 2147483647 h 722"/>
                    <a:gd name="T112" fmla="*/ 2147483647 w 1041"/>
                    <a:gd name="T113" fmla="*/ 2147483647 h 722"/>
                    <a:gd name="T114" fmla="*/ 2147483647 w 1041"/>
                    <a:gd name="T115" fmla="*/ 2147483647 h 722"/>
                    <a:gd name="T116" fmla="*/ 2147483647 w 1041"/>
                    <a:gd name="T117" fmla="*/ 2147483647 h 722"/>
                    <a:gd name="T118" fmla="*/ 2147483647 w 1041"/>
                    <a:gd name="T119" fmla="*/ 2147483647 h 722"/>
                    <a:gd name="T120" fmla="*/ 2147483647 w 1041"/>
                    <a:gd name="T121" fmla="*/ 2147483647 h 722"/>
                    <a:gd name="T122" fmla="*/ 2147483647 w 1041"/>
                    <a:gd name="T123" fmla="*/ 2147483647 h 722"/>
                    <a:gd name="T124" fmla="*/ 2147483647 w 1041"/>
                    <a:gd name="T125" fmla="*/ 2147483647 h 7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1"/>
                    <a:gd name="T190" fmla="*/ 0 h 722"/>
                    <a:gd name="T191" fmla="*/ 1041 w 1041"/>
                    <a:gd name="T192" fmla="*/ 722 h 72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1" h="722">
                      <a:moveTo>
                        <a:pt x="145" y="255"/>
                      </a:moveTo>
                      <a:lnTo>
                        <a:pt x="140" y="259"/>
                      </a:lnTo>
                      <a:lnTo>
                        <a:pt x="137" y="261"/>
                      </a:lnTo>
                      <a:lnTo>
                        <a:pt x="135" y="261"/>
                      </a:lnTo>
                      <a:lnTo>
                        <a:pt x="132" y="260"/>
                      </a:lnTo>
                      <a:lnTo>
                        <a:pt x="131" y="257"/>
                      </a:lnTo>
                      <a:lnTo>
                        <a:pt x="130" y="256"/>
                      </a:lnTo>
                      <a:lnTo>
                        <a:pt x="127" y="255"/>
                      </a:lnTo>
                      <a:lnTo>
                        <a:pt x="123" y="254"/>
                      </a:lnTo>
                      <a:lnTo>
                        <a:pt x="121" y="255"/>
                      </a:lnTo>
                      <a:lnTo>
                        <a:pt x="114" y="259"/>
                      </a:lnTo>
                      <a:lnTo>
                        <a:pt x="113" y="259"/>
                      </a:lnTo>
                      <a:lnTo>
                        <a:pt x="112" y="259"/>
                      </a:lnTo>
                      <a:lnTo>
                        <a:pt x="111" y="257"/>
                      </a:lnTo>
                      <a:lnTo>
                        <a:pt x="109" y="257"/>
                      </a:lnTo>
                      <a:lnTo>
                        <a:pt x="107" y="257"/>
                      </a:lnTo>
                      <a:lnTo>
                        <a:pt x="105" y="259"/>
                      </a:lnTo>
                      <a:lnTo>
                        <a:pt x="105" y="261"/>
                      </a:lnTo>
                      <a:lnTo>
                        <a:pt x="107" y="265"/>
                      </a:lnTo>
                      <a:lnTo>
                        <a:pt x="107" y="267"/>
                      </a:lnTo>
                      <a:lnTo>
                        <a:pt x="107" y="269"/>
                      </a:lnTo>
                      <a:lnTo>
                        <a:pt x="105" y="272"/>
                      </a:lnTo>
                      <a:lnTo>
                        <a:pt x="104" y="273"/>
                      </a:lnTo>
                      <a:lnTo>
                        <a:pt x="100" y="273"/>
                      </a:lnTo>
                      <a:lnTo>
                        <a:pt x="97" y="273"/>
                      </a:lnTo>
                      <a:lnTo>
                        <a:pt x="93" y="269"/>
                      </a:lnTo>
                      <a:lnTo>
                        <a:pt x="90" y="266"/>
                      </a:lnTo>
                      <a:lnTo>
                        <a:pt x="86" y="262"/>
                      </a:lnTo>
                      <a:lnTo>
                        <a:pt x="79" y="256"/>
                      </a:lnTo>
                      <a:lnTo>
                        <a:pt x="69" y="252"/>
                      </a:lnTo>
                      <a:lnTo>
                        <a:pt x="60" y="247"/>
                      </a:lnTo>
                      <a:lnTo>
                        <a:pt x="62" y="244"/>
                      </a:lnTo>
                      <a:lnTo>
                        <a:pt x="65" y="242"/>
                      </a:lnTo>
                      <a:lnTo>
                        <a:pt x="65" y="240"/>
                      </a:lnTo>
                      <a:lnTo>
                        <a:pt x="64" y="237"/>
                      </a:lnTo>
                      <a:lnTo>
                        <a:pt x="61" y="235"/>
                      </a:lnTo>
                      <a:lnTo>
                        <a:pt x="57" y="235"/>
                      </a:lnTo>
                      <a:lnTo>
                        <a:pt x="53" y="235"/>
                      </a:lnTo>
                      <a:lnTo>
                        <a:pt x="50" y="235"/>
                      </a:lnTo>
                      <a:lnTo>
                        <a:pt x="50" y="234"/>
                      </a:lnTo>
                      <a:lnTo>
                        <a:pt x="41" y="230"/>
                      </a:lnTo>
                      <a:lnTo>
                        <a:pt x="33" y="227"/>
                      </a:lnTo>
                      <a:lnTo>
                        <a:pt x="32" y="225"/>
                      </a:lnTo>
                      <a:lnTo>
                        <a:pt x="31" y="224"/>
                      </a:lnTo>
                      <a:lnTo>
                        <a:pt x="31" y="223"/>
                      </a:lnTo>
                      <a:lnTo>
                        <a:pt x="32" y="222"/>
                      </a:lnTo>
                      <a:lnTo>
                        <a:pt x="42" y="220"/>
                      </a:lnTo>
                      <a:lnTo>
                        <a:pt x="52" y="220"/>
                      </a:lnTo>
                      <a:lnTo>
                        <a:pt x="64" y="221"/>
                      </a:lnTo>
                      <a:lnTo>
                        <a:pt x="74" y="223"/>
                      </a:lnTo>
                      <a:lnTo>
                        <a:pt x="76" y="224"/>
                      </a:lnTo>
                      <a:lnTo>
                        <a:pt x="79" y="224"/>
                      </a:lnTo>
                      <a:lnTo>
                        <a:pt x="80" y="223"/>
                      </a:lnTo>
                      <a:lnTo>
                        <a:pt x="80" y="222"/>
                      </a:lnTo>
                      <a:lnTo>
                        <a:pt x="79" y="221"/>
                      </a:lnTo>
                      <a:lnTo>
                        <a:pt x="74" y="221"/>
                      </a:lnTo>
                      <a:lnTo>
                        <a:pt x="69" y="220"/>
                      </a:lnTo>
                      <a:lnTo>
                        <a:pt x="67" y="217"/>
                      </a:lnTo>
                      <a:lnTo>
                        <a:pt x="66" y="216"/>
                      </a:lnTo>
                      <a:lnTo>
                        <a:pt x="67" y="215"/>
                      </a:lnTo>
                      <a:lnTo>
                        <a:pt x="70" y="215"/>
                      </a:lnTo>
                      <a:lnTo>
                        <a:pt x="72" y="214"/>
                      </a:lnTo>
                      <a:lnTo>
                        <a:pt x="78" y="215"/>
                      </a:lnTo>
                      <a:lnTo>
                        <a:pt x="88" y="218"/>
                      </a:lnTo>
                      <a:lnTo>
                        <a:pt x="94" y="221"/>
                      </a:lnTo>
                      <a:lnTo>
                        <a:pt x="99" y="222"/>
                      </a:lnTo>
                      <a:lnTo>
                        <a:pt x="102" y="222"/>
                      </a:lnTo>
                      <a:lnTo>
                        <a:pt x="104" y="224"/>
                      </a:lnTo>
                      <a:lnTo>
                        <a:pt x="105" y="225"/>
                      </a:lnTo>
                      <a:lnTo>
                        <a:pt x="108" y="225"/>
                      </a:lnTo>
                      <a:lnTo>
                        <a:pt x="111" y="225"/>
                      </a:lnTo>
                      <a:lnTo>
                        <a:pt x="112" y="224"/>
                      </a:lnTo>
                      <a:lnTo>
                        <a:pt x="111" y="222"/>
                      </a:lnTo>
                      <a:lnTo>
                        <a:pt x="108" y="217"/>
                      </a:lnTo>
                      <a:lnTo>
                        <a:pt x="105" y="212"/>
                      </a:lnTo>
                      <a:lnTo>
                        <a:pt x="104" y="211"/>
                      </a:lnTo>
                      <a:lnTo>
                        <a:pt x="103" y="210"/>
                      </a:lnTo>
                      <a:lnTo>
                        <a:pt x="98" y="209"/>
                      </a:lnTo>
                      <a:lnTo>
                        <a:pt x="94" y="208"/>
                      </a:lnTo>
                      <a:lnTo>
                        <a:pt x="90" y="204"/>
                      </a:lnTo>
                      <a:lnTo>
                        <a:pt x="89" y="199"/>
                      </a:lnTo>
                      <a:lnTo>
                        <a:pt x="88" y="199"/>
                      </a:lnTo>
                      <a:lnTo>
                        <a:pt x="85" y="199"/>
                      </a:lnTo>
                      <a:lnTo>
                        <a:pt x="83" y="201"/>
                      </a:lnTo>
                      <a:lnTo>
                        <a:pt x="81" y="202"/>
                      </a:lnTo>
                      <a:lnTo>
                        <a:pt x="81" y="205"/>
                      </a:lnTo>
                      <a:lnTo>
                        <a:pt x="80" y="208"/>
                      </a:lnTo>
                      <a:lnTo>
                        <a:pt x="78" y="210"/>
                      </a:lnTo>
                      <a:lnTo>
                        <a:pt x="74" y="209"/>
                      </a:lnTo>
                      <a:lnTo>
                        <a:pt x="71" y="208"/>
                      </a:lnTo>
                      <a:lnTo>
                        <a:pt x="70" y="205"/>
                      </a:lnTo>
                      <a:lnTo>
                        <a:pt x="69" y="203"/>
                      </a:lnTo>
                      <a:lnTo>
                        <a:pt x="66" y="201"/>
                      </a:lnTo>
                      <a:lnTo>
                        <a:pt x="65" y="201"/>
                      </a:lnTo>
                      <a:lnTo>
                        <a:pt x="61" y="204"/>
                      </a:lnTo>
                      <a:lnTo>
                        <a:pt x="59" y="207"/>
                      </a:lnTo>
                      <a:lnTo>
                        <a:pt x="57" y="210"/>
                      </a:lnTo>
                      <a:lnTo>
                        <a:pt x="53" y="214"/>
                      </a:lnTo>
                      <a:lnTo>
                        <a:pt x="51" y="215"/>
                      </a:lnTo>
                      <a:lnTo>
                        <a:pt x="50" y="215"/>
                      </a:lnTo>
                      <a:lnTo>
                        <a:pt x="45" y="214"/>
                      </a:lnTo>
                      <a:lnTo>
                        <a:pt x="36" y="208"/>
                      </a:lnTo>
                      <a:lnTo>
                        <a:pt x="31" y="207"/>
                      </a:lnTo>
                      <a:lnTo>
                        <a:pt x="25" y="204"/>
                      </a:lnTo>
                      <a:lnTo>
                        <a:pt x="24" y="204"/>
                      </a:lnTo>
                      <a:lnTo>
                        <a:pt x="23" y="205"/>
                      </a:lnTo>
                      <a:lnTo>
                        <a:pt x="20" y="207"/>
                      </a:lnTo>
                      <a:lnTo>
                        <a:pt x="18" y="207"/>
                      </a:lnTo>
                      <a:lnTo>
                        <a:pt x="17" y="207"/>
                      </a:lnTo>
                      <a:lnTo>
                        <a:pt x="14" y="204"/>
                      </a:lnTo>
                      <a:lnTo>
                        <a:pt x="13" y="201"/>
                      </a:lnTo>
                      <a:lnTo>
                        <a:pt x="10" y="197"/>
                      </a:lnTo>
                      <a:lnTo>
                        <a:pt x="6" y="197"/>
                      </a:lnTo>
                      <a:lnTo>
                        <a:pt x="4" y="193"/>
                      </a:lnTo>
                      <a:lnTo>
                        <a:pt x="1" y="190"/>
                      </a:lnTo>
                      <a:lnTo>
                        <a:pt x="0" y="186"/>
                      </a:lnTo>
                      <a:lnTo>
                        <a:pt x="0" y="184"/>
                      </a:lnTo>
                      <a:lnTo>
                        <a:pt x="3" y="183"/>
                      </a:lnTo>
                      <a:lnTo>
                        <a:pt x="5" y="183"/>
                      </a:lnTo>
                      <a:lnTo>
                        <a:pt x="8" y="183"/>
                      </a:lnTo>
                      <a:lnTo>
                        <a:pt x="12" y="183"/>
                      </a:lnTo>
                      <a:lnTo>
                        <a:pt x="14" y="182"/>
                      </a:lnTo>
                      <a:lnTo>
                        <a:pt x="17" y="180"/>
                      </a:lnTo>
                      <a:lnTo>
                        <a:pt x="19" y="179"/>
                      </a:lnTo>
                      <a:lnTo>
                        <a:pt x="22" y="179"/>
                      </a:lnTo>
                      <a:lnTo>
                        <a:pt x="23" y="179"/>
                      </a:lnTo>
                      <a:lnTo>
                        <a:pt x="25" y="179"/>
                      </a:lnTo>
                      <a:lnTo>
                        <a:pt x="28" y="179"/>
                      </a:lnTo>
                      <a:lnTo>
                        <a:pt x="32" y="179"/>
                      </a:lnTo>
                      <a:lnTo>
                        <a:pt x="36" y="178"/>
                      </a:lnTo>
                      <a:lnTo>
                        <a:pt x="36" y="177"/>
                      </a:lnTo>
                      <a:lnTo>
                        <a:pt x="37" y="176"/>
                      </a:lnTo>
                      <a:lnTo>
                        <a:pt x="39" y="175"/>
                      </a:lnTo>
                      <a:lnTo>
                        <a:pt x="43" y="172"/>
                      </a:lnTo>
                      <a:lnTo>
                        <a:pt x="48" y="172"/>
                      </a:lnTo>
                      <a:lnTo>
                        <a:pt x="59" y="171"/>
                      </a:lnTo>
                      <a:lnTo>
                        <a:pt x="69" y="169"/>
                      </a:lnTo>
                      <a:lnTo>
                        <a:pt x="75" y="167"/>
                      </a:lnTo>
                      <a:lnTo>
                        <a:pt x="81" y="164"/>
                      </a:lnTo>
                      <a:lnTo>
                        <a:pt x="84" y="161"/>
                      </a:lnTo>
                      <a:lnTo>
                        <a:pt x="86" y="161"/>
                      </a:lnTo>
                      <a:lnTo>
                        <a:pt x="94" y="163"/>
                      </a:lnTo>
                      <a:lnTo>
                        <a:pt x="100" y="164"/>
                      </a:lnTo>
                      <a:lnTo>
                        <a:pt x="103" y="164"/>
                      </a:lnTo>
                      <a:lnTo>
                        <a:pt x="105" y="163"/>
                      </a:lnTo>
                      <a:lnTo>
                        <a:pt x="109" y="160"/>
                      </a:lnTo>
                      <a:lnTo>
                        <a:pt x="114" y="159"/>
                      </a:lnTo>
                      <a:lnTo>
                        <a:pt x="125" y="157"/>
                      </a:lnTo>
                      <a:lnTo>
                        <a:pt x="127" y="156"/>
                      </a:lnTo>
                      <a:lnTo>
                        <a:pt x="128" y="153"/>
                      </a:lnTo>
                      <a:lnTo>
                        <a:pt x="130" y="150"/>
                      </a:lnTo>
                      <a:lnTo>
                        <a:pt x="132" y="145"/>
                      </a:lnTo>
                      <a:lnTo>
                        <a:pt x="133" y="144"/>
                      </a:lnTo>
                      <a:lnTo>
                        <a:pt x="136" y="142"/>
                      </a:lnTo>
                      <a:lnTo>
                        <a:pt x="137" y="141"/>
                      </a:lnTo>
                      <a:lnTo>
                        <a:pt x="137" y="139"/>
                      </a:lnTo>
                      <a:lnTo>
                        <a:pt x="136" y="137"/>
                      </a:lnTo>
                      <a:lnTo>
                        <a:pt x="133" y="135"/>
                      </a:lnTo>
                      <a:lnTo>
                        <a:pt x="131" y="133"/>
                      </a:lnTo>
                      <a:lnTo>
                        <a:pt x="128" y="131"/>
                      </a:lnTo>
                      <a:lnTo>
                        <a:pt x="127" y="128"/>
                      </a:lnTo>
                      <a:lnTo>
                        <a:pt x="126" y="127"/>
                      </a:lnTo>
                      <a:lnTo>
                        <a:pt x="121" y="126"/>
                      </a:lnTo>
                      <a:lnTo>
                        <a:pt x="111" y="126"/>
                      </a:lnTo>
                      <a:lnTo>
                        <a:pt x="105" y="125"/>
                      </a:lnTo>
                      <a:lnTo>
                        <a:pt x="100" y="124"/>
                      </a:lnTo>
                      <a:lnTo>
                        <a:pt x="97" y="124"/>
                      </a:lnTo>
                      <a:lnTo>
                        <a:pt x="93" y="124"/>
                      </a:lnTo>
                      <a:lnTo>
                        <a:pt x="90" y="124"/>
                      </a:lnTo>
                      <a:lnTo>
                        <a:pt x="88" y="122"/>
                      </a:lnTo>
                      <a:lnTo>
                        <a:pt x="89" y="120"/>
                      </a:lnTo>
                      <a:lnTo>
                        <a:pt x="89" y="119"/>
                      </a:lnTo>
                      <a:lnTo>
                        <a:pt x="94" y="116"/>
                      </a:lnTo>
                      <a:lnTo>
                        <a:pt x="100" y="115"/>
                      </a:lnTo>
                      <a:lnTo>
                        <a:pt x="104" y="113"/>
                      </a:lnTo>
                      <a:lnTo>
                        <a:pt x="113" y="110"/>
                      </a:lnTo>
                      <a:lnTo>
                        <a:pt x="121" y="107"/>
                      </a:lnTo>
                      <a:lnTo>
                        <a:pt x="128" y="105"/>
                      </a:lnTo>
                      <a:lnTo>
                        <a:pt x="136" y="100"/>
                      </a:lnTo>
                      <a:lnTo>
                        <a:pt x="140" y="97"/>
                      </a:lnTo>
                      <a:lnTo>
                        <a:pt x="142" y="96"/>
                      </a:lnTo>
                      <a:lnTo>
                        <a:pt x="145" y="95"/>
                      </a:lnTo>
                      <a:lnTo>
                        <a:pt x="146" y="97"/>
                      </a:lnTo>
                      <a:lnTo>
                        <a:pt x="149" y="99"/>
                      </a:lnTo>
                      <a:lnTo>
                        <a:pt x="152" y="100"/>
                      </a:lnTo>
                      <a:lnTo>
                        <a:pt x="156" y="100"/>
                      </a:lnTo>
                      <a:lnTo>
                        <a:pt x="156" y="103"/>
                      </a:lnTo>
                      <a:lnTo>
                        <a:pt x="159" y="107"/>
                      </a:lnTo>
                      <a:lnTo>
                        <a:pt x="161" y="108"/>
                      </a:lnTo>
                      <a:lnTo>
                        <a:pt x="165" y="107"/>
                      </a:lnTo>
                      <a:lnTo>
                        <a:pt x="168" y="103"/>
                      </a:lnTo>
                      <a:lnTo>
                        <a:pt x="168" y="101"/>
                      </a:lnTo>
                      <a:lnTo>
                        <a:pt x="168" y="100"/>
                      </a:lnTo>
                      <a:lnTo>
                        <a:pt x="164" y="97"/>
                      </a:lnTo>
                      <a:lnTo>
                        <a:pt x="159" y="95"/>
                      </a:lnTo>
                      <a:lnTo>
                        <a:pt x="156" y="93"/>
                      </a:lnTo>
                      <a:lnTo>
                        <a:pt x="155" y="92"/>
                      </a:lnTo>
                      <a:lnTo>
                        <a:pt x="156" y="89"/>
                      </a:lnTo>
                      <a:lnTo>
                        <a:pt x="158" y="87"/>
                      </a:lnTo>
                      <a:lnTo>
                        <a:pt x="160" y="87"/>
                      </a:lnTo>
                      <a:lnTo>
                        <a:pt x="163" y="88"/>
                      </a:lnTo>
                      <a:lnTo>
                        <a:pt x="165" y="89"/>
                      </a:lnTo>
                      <a:lnTo>
                        <a:pt x="165" y="92"/>
                      </a:lnTo>
                      <a:lnTo>
                        <a:pt x="166" y="93"/>
                      </a:lnTo>
                      <a:lnTo>
                        <a:pt x="174" y="93"/>
                      </a:lnTo>
                      <a:lnTo>
                        <a:pt x="180" y="95"/>
                      </a:lnTo>
                      <a:lnTo>
                        <a:pt x="185" y="99"/>
                      </a:lnTo>
                      <a:lnTo>
                        <a:pt x="189" y="105"/>
                      </a:lnTo>
                      <a:lnTo>
                        <a:pt x="191" y="105"/>
                      </a:lnTo>
                      <a:lnTo>
                        <a:pt x="192" y="103"/>
                      </a:lnTo>
                      <a:lnTo>
                        <a:pt x="196" y="100"/>
                      </a:lnTo>
                      <a:lnTo>
                        <a:pt x="199" y="95"/>
                      </a:lnTo>
                      <a:lnTo>
                        <a:pt x="201" y="94"/>
                      </a:lnTo>
                      <a:lnTo>
                        <a:pt x="201" y="93"/>
                      </a:lnTo>
                      <a:lnTo>
                        <a:pt x="198" y="90"/>
                      </a:lnTo>
                      <a:lnTo>
                        <a:pt x="194" y="88"/>
                      </a:lnTo>
                      <a:lnTo>
                        <a:pt x="191" y="81"/>
                      </a:lnTo>
                      <a:lnTo>
                        <a:pt x="188" y="77"/>
                      </a:lnTo>
                      <a:lnTo>
                        <a:pt x="188" y="74"/>
                      </a:lnTo>
                      <a:lnTo>
                        <a:pt x="189" y="70"/>
                      </a:lnTo>
                      <a:lnTo>
                        <a:pt x="192" y="67"/>
                      </a:lnTo>
                      <a:lnTo>
                        <a:pt x="199" y="63"/>
                      </a:lnTo>
                      <a:lnTo>
                        <a:pt x="208" y="62"/>
                      </a:lnTo>
                      <a:lnTo>
                        <a:pt x="210" y="62"/>
                      </a:lnTo>
                      <a:lnTo>
                        <a:pt x="211" y="64"/>
                      </a:lnTo>
                      <a:lnTo>
                        <a:pt x="212" y="67"/>
                      </a:lnTo>
                      <a:lnTo>
                        <a:pt x="215" y="69"/>
                      </a:lnTo>
                      <a:lnTo>
                        <a:pt x="217" y="69"/>
                      </a:lnTo>
                      <a:lnTo>
                        <a:pt x="221" y="68"/>
                      </a:lnTo>
                      <a:lnTo>
                        <a:pt x="221" y="71"/>
                      </a:lnTo>
                      <a:lnTo>
                        <a:pt x="222" y="74"/>
                      </a:lnTo>
                      <a:lnTo>
                        <a:pt x="225" y="75"/>
                      </a:lnTo>
                      <a:lnTo>
                        <a:pt x="229" y="76"/>
                      </a:lnTo>
                      <a:lnTo>
                        <a:pt x="238" y="75"/>
                      </a:lnTo>
                      <a:lnTo>
                        <a:pt x="241" y="75"/>
                      </a:lnTo>
                      <a:lnTo>
                        <a:pt x="245" y="76"/>
                      </a:lnTo>
                      <a:lnTo>
                        <a:pt x="245" y="74"/>
                      </a:lnTo>
                      <a:lnTo>
                        <a:pt x="245" y="73"/>
                      </a:lnTo>
                      <a:lnTo>
                        <a:pt x="239" y="69"/>
                      </a:lnTo>
                      <a:lnTo>
                        <a:pt x="232" y="67"/>
                      </a:lnTo>
                      <a:lnTo>
                        <a:pt x="227" y="64"/>
                      </a:lnTo>
                      <a:lnTo>
                        <a:pt x="226" y="62"/>
                      </a:lnTo>
                      <a:lnTo>
                        <a:pt x="225" y="60"/>
                      </a:lnTo>
                      <a:lnTo>
                        <a:pt x="226" y="57"/>
                      </a:lnTo>
                      <a:lnTo>
                        <a:pt x="230" y="56"/>
                      </a:lnTo>
                      <a:lnTo>
                        <a:pt x="235" y="55"/>
                      </a:lnTo>
                      <a:lnTo>
                        <a:pt x="240" y="54"/>
                      </a:lnTo>
                      <a:lnTo>
                        <a:pt x="246" y="54"/>
                      </a:lnTo>
                      <a:lnTo>
                        <a:pt x="250" y="52"/>
                      </a:lnTo>
                      <a:lnTo>
                        <a:pt x="264" y="54"/>
                      </a:lnTo>
                      <a:lnTo>
                        <a:pt x="269" y="54"/>
                      </a:lnTo>
                      <a:lnTo>
                        <a:pt x="278" y="52"/>
                      </a:lnTo>
                      <a:lnTo>
                        <a:pt x="288" y="50"/>
                      </a:lnTo>
                      <a:lnTo>
                        <a:pt x="292" y="48"/>
                      </a:lnTo>
                      <a:lnTo>
                        <a:pt x="296" y="48"/>
                      </a:lnTo>
                      <a:lnTo>
                        <a:pt x="300" y="49"/>
                      </a:lnTo>
                      <a:lnTo>
                        <a:pt x="304" y="50"/>
                      </a:lnTo>
                      <a:lnTo>
                        <a:pt x="307" y="50"/>
                      </a:lnTo>
                      <a:lnTo>
                        <a:pt x="311" y="49"/>
                      </a:lnTo>
                      <a:lnTo>
                        <a:pt x="314" y="51"/>
                      </a:lnTo>
                      <a:lnTo>
                        <a:pt x="318" y="54"/>
                      </a:lnTo>
                      <a:lnTo>
                        <a:pt x="323" y="60"/>
                      </a:lnTo>
                      <a:lnTo>
                        <a:pt x="329" y="63"/>
                      </a:lnTo>
                      <a:lnTo>
                        <a:pt x="333" y="64"/>
                      </a:lnTo>
                      <a:lnTo>
                        <a:pt x="335" y="63"/>
                      </a:lnTo>
                      <a:lnTo>
                        <a:pt x="337" y="63"/>
                      </a:lnTo>
                      <a:lnTo>
                        <a:pt x="338" y="62"/>
                      </a:lnTo>
                      <a:lnTo>
                        <a:pt x="337" y="60"/>
                      </a:lnTo>
                      <a:lnTo>
                        <a:pt x="333" y="52"/>
                      </a:lnTo>
                      <a:lnTo>
                        <a:pt x="333" y="50"/>
                      </a:lnTo>
                      <a:lnTo>
                        <a:pt x="334" y="49"/>
                      </a:lnTo>
                      <a:lnTo>
                        <a:pt x="335" y="48"/>
                      </a:lnTo>
                      <a:lnTo>
                        <a:pt x="338" y="48"/>
                      </a:lnTo>
                      <a:lnTo>
                        <a:pt x="344" y="50"/>
                      </a:lnTo>
                      <a:lnTo>
                        <a:pt x="349" y="54"/>
                      </a:lnTo>
                      <a:lnTo>
                        <a:pt x="356" y="56"/>
                      </a:lnTo>
                      <a:lnTo>
                        <a:pt x="358" y="57"/>
                      </a:lnTo>
                      <a:lnTo>
                        <a:pt x="362" y="57"/>
                      </a:lnTo>
                      <a:lnTo>
                        <a:pt x="362" y="56"/>
                      </a:lnTo>
                      <a:lnTo>
                        <a:pt x="365" y="55"/>
                      </a:lnTo>
                      <a:lnTo>
                        <a:pt x="366" y="56"/>
                      </a:lnTo>
                      <a:lnTo>
                        <a:pt x="370" y="58"/>
                      </a:lnTo>
                      <a:lnTo>
                        <a:pt x="373" y="62"/>
                      </a:lnTo>
                      <a:lnTo>
                        <a:pt x="377" y="67"/>
                      </a:lnTo>
                      <a:lnTo>
                        <a:pt x="380" y="73"/>
                      </a:lnTo>
                      <a:lnTo>
                        <a:pt x="382" y="77"/>
                      </a:lnTo>
                      <a:lnTo>
                        <a:pt x="385" y="83"/>
                      </a:lnTo>
                      <a:lnTo>
                        <a:pt x="389" y="88"/>
                      </a:lnTo>
                      <a:lnTo>
                        <a:pt x="391" y="89"/>
                      </a:lnTo>
                      <a:lnTo>
                        <a:pt x="392" y="88"/>
                      </a:lnTo>
                      <a:lnTo>
                        <a:pt x="394" y="86"/>
                      </a:lnTo>
                      <a:lnTo>
                        <a:pt x="394" y="83"/>
                      </a:lnTo>
                      <a:lnTo>
                        <a:pt x="392" y="82"/>
                      </a:lnTo>
                      <a:lnTo>
                        <a:pt x="392" y="80"/>
                      </a:lnTo>
                      <a:lnTo>
                        <a:pt x="392" y="74"/>
                      </a:lnTo>
                      <a:lnTo>
                        <a:pt x="391" y="68"/>
                      </a:lnTo>
                      <a:lnTo>
                        <a:pt x="389" y="62"/>
                      </a:lnTo>
                      <a:lnTo>
                        <a:pt x="385" y="57"/>
                      </a:lnTo>
                      <a:lnTo>
                        <a:pt x="380" y="54"/>
                      </a:lnTo>
                      <a:lnTo>
                        <a:pt x="375" y="49"/>
                      </a:lnTo>
                      <a:lnTo>
                        <a:pt x="365" y="43"/>
                      </a:lnTo>
                      <a:lnTo>
                        <a:pt x="365" y="41"/>
                      </a:lnTo>
                      <a:lnTo>
                        <a:pt x="368" y="39"/>
                      </a:lnTo>
                      <a:lnTo>
                        <a:pt x="373" y="38"/>
                      </a:lnTo>
                      <a:lnTo>
                        <a:pt x="379" y="39"/>
                      </a:lnTo>
                      <a:lnTo>
                        <a:pt x="382" y="41"/>
                      </a:lnTo>
                      <a:lnTo>
                        <a:pt x="386" y="43"/>
                      </a:lnTo>
                      <a:lnTo>
                        <a:pt x="389" y="44"/>
                      </a:lnTo>
                      <a:lnTo>
                        <a:pt x="390" y="44"/>
                      </a:lnTo>
                      <a:lnTo>
                        <a:pt x="392" y="42"/>
                      </a:lnTo>
                      <a:lnTo>
                        <a:pt x="392" y="41"/>
                      </a:lnTo>
                      <a:lnTo>
                        <a:pt x="394" y="39"/>
                      </a:lnTo>
                      <a:lnTo>
                        <a:pt x="396" y="41"/>
                      </a:lnTo>
                      <a:lnTo>
                        <a:pt x="399" y="42"/>
                      </a:lnTo>
                      <a:lnTo>
                        <a:pt x="401" y="46"/>
                      </a:lnTo>
                      <a:lnTo>
                        <a:pt x="403" y="48"/>
                      </a:lnTo>
                      <a:lnTo>
                        <a:pt x="404" y="48"/>
                      </a:lnTo>
                      <a:lnTo>
                        <a:pt x="408" y="48"/>
                      </a:lnTo>
                      <a:lnTo>
                        <a:pt x="412" y="48"/>
                      </a:lnTo>
                      <a:lnTo>
                        <a:pt x="415" y="49"/>
                      </a:lnTo>
                      <a:lnTo>
                        <a:pt x="420" y="50"/>
                      </a:lnTo>
                      <a:lnTo>
                        <a:pt x="423" y="51"/>
                      </a:lnTo>
                      <a:lnTo>
                        <a:pt x="425" y="51"/>
                      </a:lnTo>
                      <a:lnTo>
                        <a:pt x="427" y="50"/>
                      </a:lnTo>
                      <a:lnTo>
                        <a:pt x="427" y="48"/>
                      </a:lnTo>
                      <a:lnTo>
                        <a:pt x="425" y="46"/>
                      </a:lnTo>
                      <a:lnTo>
                        <a:pt x="424" y="45"/>
                      </a:lnTo>
                      <a:lnTo>
                        <a:pt x="419" y="43"/>
                      </a:lnTo>
                      <a:lnTo>
                        <a:pt x="414" y="41"/>
                      </a:lnTo>
                      <a:lnTo>
                        <a:pt x="414" y="39"/>
                      </a:lnTo>
                      <a:lnTo>
                        <a:pt x="415" y="38"/>
                      </a:lnTo>
                      <a:lnTo>
                        <a:pt x="419" y="38"/>
                      </a:lnTo>
                      <a:lnTo>
                        <a:pt x="431" y="41"/>
                      </a:lnTo>
                      <a:lnTo>
                        <a:pt x="441" y="42"/>
                      </a:lnTo>
                      <a:lnTo>
                        <a:pt x="451" y="42"/>
                      </a:lnTo>
                      <a:lnTo>
                        <a:pt x="462" y="42"/>
                      </a:lnTo>
                      <a:lnTo>
                        <a:pt x="462" y="41"/>
                      </a:lnTo>
                      <a:lnTo>
                        <a:pt x="461" y="39"/>
                      </a:lnTo>
                      <a:lnTo>
                        <a:pt x="457" y="35"/>
                      </a:lnTo>
                      <a:lnTo>
                        <a:pt x="452" y="32"/>
                      </a:lnTo>
                      <a:lnTo>
                        <a:pt x="446" y="31"/>
                      </a:lnTo>
                      <a:lnTo>
                        <a:pt x="441" y="29"/>
                      </a:lnTo>
                      <a:lnTo>
                        <a:pt x="437" y="27"/>
                      </a:lnTo>
                      <a:lnTo>
                        <a:pt x="432" y="26"/>
                      </a:lnTo>
                      <a:lnTo>
                        <a:pt x="432" y="25"/>
                      </a:lnTo>
                      <a:lnTo>
                        <a:pt x="432" y="23"/>
                      </a:lnTo>
                      <a:lnTo>
                        <a:pt x="436" y="22"/>
                      </a:lnTo>
                      <a:lnTo>
                        <a:pt x="443" y="22"/>
                      </a:lnTo>
                      <a:lnTo>
                        <a:pt x="452" y="22"/>
                      </a:lnTo>
                      <a:lnTo>
                        <a:pt x="461" y="23"/>
                      </a:lnTo>
                      <a:lnTo>
                        <a:pt x="470" y="24"/>
                      </a:lnTo>
                      <a:lnTo>
                        <a:pt x="480" y="25"/>
                      </a:lnTo>
                      <a:lnTo>
                        <a:pt x="486" y="23"/>
                      </a:lnTo>
                      <a:lnTo>
                        <a:pt x="502" y="22"/>
                      </a:lnTo>
                      <a:lnTo>
                        <a:pt x="516" y="18"/>
                      </a:lnTo>
                      <a:lnTo>
                        <a:pt x="518" y="17"/>
                      </a:lnTo>
                      <a:lnTo>
                        <a:pt x="519" y="18"/>
                      </a:lnTo>
                      <a:lnTo>
                        <a:pt x="521" y="20"/>
                      </a:lnTo>
                      <a:lnTo>
                        <a:pt x="523" y="23"/>
                      </a:lnTo>
                      <a:lnTo>
                        <a:pt x="528" y="24"/>
                      </a:lnTo>
                      <a:lnTo>
                        <a:pt x="539" y="24"/>
                      </a:lnTo>
                      <a:lnTo>
                        <a:pt x="540" y="25"/>
                      </a:lnTo>
                      <a:lnTo>
                        <a:pt x="540" y="27"/>
                      </a:lnTo>
                      <a:lnTo>
                        <a:pt x="541" y="30"/>
                      </a:lnTo>
                      <a:lnTo>
                        <a:pt x="542" y="31"/>
                      </a:lnTo>
                      <a:lnTo>
                        <a:pt x="545" y="32"/>
                      </a:lnTo>
                      <a:lnTo>
                        <a:pt x="546" y="32"/>
                      </a:lnTo>
                      <a:lnTo>
                        <a:pt x="547" y="37"/>
                      </a:lnTo>
                      <a:lnTo>
                        <a:pt x="549" y="39"/>
                      </a:lnTo>
                      <a:lnTo>
                        <a:pt x="555" y="45"/>
                      </a:lnTo>
                      <a:lnTo>
                        <a:pt x="556" y="46"/>
                      </a:lnTo>
                      <a:lnTo>
                        <a:pt x="559" y="48"/>
                      </a:lnTo>
                      <a:lnTo>
                        <a:pt x="561" y="48"/>
                      </a:lnTo>
                      <a:lnTo>
                        <a:pt x="564" y="48"/>
                      </a:lnTo>
                      <a:lnTo>
                        <a:pt x="565" y="46"/>
                      </a:lnTo>
                      <a:lnTo>
                        <a:pt x="564" y="45"/>
                      </a:lnTo>
                      <a:lnTo>
                        <a:pt x="560" y="39"/>
                      </a:lnTo>
                      <a:lnTo>
                        <a:pt x="556" y="32"/>
                      </a:lnTo>
                      <a:lnTo>
                        <a:pt x="555" y="31"/>
                      </a:lnTo>
                      <a:lnTo>
                        <a:pt x="552" y="30"/>
                      </a:lnTo>
                      <a:lnTo>
                        <a:pt x="551" y="27"/>
                      </a:lnTo>
                      <a:lnTo>
                        <a:pt x="549" y="25"/>
                      </a:lnTo>
                      <a:lnTo>
                        <a:pt x="549" y="20"/>
                      </a:lnTo>
                      <a:lnTo>
                        <a:pt x="549" y="18"/>
                      </a:lnTo>
                      <a:lnTo>
                        <a:pt x="551" y="16"/>
                      </a:lnTo>
                      <a:lnTo>
                        <a:pt x="555" y="14"/>
                      </a:lnTo>
                      <a:lnTo>
                        <a:pt x="560" y="13"/>
                      </a:lnTo>
                      <a:lnTo>
                        <a:pt x="564" y="12"/>
                      </a:lnTo>
                      <a:lnTo>
                        <a:pt x="566" y="10"/>
                      </a:lnTo>
                      <a:lnTo>
                        <a:pt x="566" y="6"/>
                      </a:lnTo>
                      <a:lnTo>
                        <a:pt x="566" y="5"/>
                      </a:lnTo>
                      <a:lnTo>
                        <a:pt x="568" y="4"/>
                      </a:lnTo>
                      <a:lnTo>
                        <a:pt x="578" y="4"/>
                      </a:lnTo>
                      <a:lnTo>
                        <a:pt x="588" y="5"/>
                      </a:lnTo>
                      <a:lnTo>
                        <a:pt x="589" y="5"/>
                      </a:lnTo>
                      <a:lnTo>
                        <a:pt x="592" y="7"/>
                      </a:lnTo>
                      <a:lnTo>
                        <a:pt x="596" y="10"/>
                      </a:lnTo>
                      <a:lnTo>
                        <a:pt x="601" y="13"/>
                      </a:lnTo>
                      <a:lnTo>
                        <a:pt x="605" y="14"/>
                      </a:lnTo>
                      <a:lnTo>
                        <a:pt x="608" y="14"/>
                      </a:lnTo>
                      <a:lnTo>
                        <a:pt x="613" y="14"/>
                      </a:lnTo>
                      <a:lnTo>
                        <a:pt x="615" y="14"/>
                      </a:lnTo>
                      <a:lnTo>
                        <a:pt x="616" y="13"/>
                      </a:lnTo>
                      <a:lnTo>
                        <a:pt x="616" y="11"/>
                      </a:lnTo>
                      <a:lnTo>
                        <a:pt x="616" y="7"/>
                      </a:lnTo>
                      <a:lnTo>
                        <a:pt x="613" y="3"/>
                      </a:lnTo>
                      <a:lnTo>
                        <a:pt x="615" y="3"/>
                      </a:lnTo>
                      <a:lnTo>
                        <a:pt x="617" y="1"/>
                      </a:lnTo>
                      <a:lnTo>
                        <a:pt x="624" y="4"/>
                      </a:lnTo>
                      <a:lnTo>
                        <a:pt x="630" y="5"/>
                      </a:lnTo>
                      <a:lnTo>
                        <a:pt x="644" y="5"/>
                      </a:lnTo>
                      <a:lnTo>
                        <a:pt x="671" y="4"/>
                      </a:lnTo>
                      <a:lnTo>
                        <a:pt x="674" y="3"/>
                      </a:lnTo>
                      <a:lnTo>
                        <a:pt x="678" y="1"/>
                      </a:lnTo>
                      <a:lnTo>
                        <a:pt x="682" y="0"/>
                      </a:lnTo>
                      <a:lnTo>
                        <a:pt x="686" y="0"/>
                      </a:lnTo>
                      <a:lnTo>
                        <a:pt x="695" y="4"/>
                      </a:lnTo>
                      <a:lnTo>
                        <a:pt x="699" y="5"/>
                      </a:lnTo>
                      <a:lnTo>
                        <a:pt x="702" y="5"/>
                      </a:lnTo>
                      <a:lnTo>
                        <a:pt x="710" y="3"/>
                      </a:lnTo>
                      <a:lnTo>
                        <a:pt x="718" y="1"/>
                      </a:lnTo>
                      <a:lnTo>
                        <a:pt x="720" y="1"/>
                      </a:lnTo>
                      <a:lnTo>
                        <a:pt x="724" y="1"/>
                      </a:lnTo>
                      <a:lnTo>
                        <a:pt x="728" y="4"/>
                      </a:lnTo>
                      <a:lnTo>
                        <a:pt x="730" y="6"/>
                      </a:lnTo>
                      <a:lnTo>
                        <a:pt x="735" y="11"/>
                      </a:lnTo>
                      <a:lnTo>
                        <a:pt x="740" y="14"/>
                      </a:lnTo>
                      <a:lnTo>
                        <a:pt x="745" y="17"/>
                      </a:lnTo>
                      <a:lnTo>
                        <a:pt x="752" y="19"/>
                      </a:lnTo>
                      <a:lnTo>
                        <a:pt x="763" y="20"/>
                      </a:lnTo>
                      <a:lnTo>
                        <a:pt x="777" y="22"/>
                      </a:lnTo>
                      <a:lnTo>
                        <a:pt x="787" y="22"/>
                      </a:lnTo>
                      <a:lnTo>
                        <a:pt x="798" y="20"/>
                      </a:lnTo>
                      <a:lnTo>
                        <a:pt x="806" y="19"/>
                      </a:lnTo>
                      <a:lnTo>
                        <a:pt x="814" y="19"/>
                      </a:lnTo>
                      <a:lnTo>
                        <a:pt x="822" y="18"/>
                      </a:lnTo>
                      <a:lnTo>
                        <a:pt x="822" y="20"/>
                      </a:lnTo>
                      <a:lnTo>
                        <a:pt x="822" y="23"/>
                      </a:lnTo>
                      <a:lnTo>
                        <a:pt x="819" y="24"/>
                      </a:lnTo>
                      <a:lnTo>
                        <a:pt x="818" y="24"/>
                      </a:lnTo>
                      <a:lnTo>
                        <a:pt x="817" y="26"/>
                      </a:lnTo>
                      <a:lnTo>
                        <a:pt x="817" y="29"/>
                      </a:lnTo>
                      <a:lnTo>
                        <a:pt x="819" y="32"/>
                      </a:lnTo>
                      <a:lnTo>
                        <a:pt x="823" y="33"/>
                      </a:lnTo>
                      <a:lnTo>
                        <a:pt x="824" y="33"/>
                      </a:lnTo>
                      <a:lnTo>
                        <a:pt x="825" y="33"/>
                      </a:lnTo>
                      <a:lnTo>
                        <a:pt x="829" y="29"/>
                      </a:lnTo>
                      <a:lnTo>
                        <a:pt x="833" y="26"/>
                      </a:lnTo>
                      <a:lnTo>
                        <a:pt x="837" y="26"/>
                      </a:lnTo>
                      <a:lnTo>
                        <a:pt x="842" y="29"/>
                      </a:lnTo>
                      <a:lnTo>
                        <a:pt x="846" y="30"/>
                      </a:lnTo>
                      <a:lnTo>
                        <a:pt x="851" y="31"/>
                      </a:lnTo>
                      <a:lnTo>
                        <a:pt x="864" y="30"/>
                      </a:lnTo>
                      <a:lnTo>
                        <a:pt x="878" y="29"/>
                      </a:lnTo>
                      <a:lnTo>
                        <a:pt x="884" y="29"/>
                      </a:lnTo>
                      <a:lnTo>
                        <a:pt x="889" y="30"/>
                      </a:lnTo>
                      <a:lnTo>
                        <a:pt x="894" y="32"/>
                      </a:lnTo>
                      <a:lnTo>
                        <a:pt x="895" y="33"/>
                      </a:lnTo>
                      <a:lnTo>
                        <a:pt x="894" y="35"/>
                      </a:lnTo>
                      <a:lnTo>
                        <a:pt x="892" y="37"/>
                      </a:lnTo>
                      <a:lnTo>
                        <a:pt x="885" y="41"/>
                      </a:lnTo>
                      <a:lnTo>
                        <a:pt x="876" y="44"/>
                      </a:lnTo>
                      <a:lnTo>
                        <a:pt x="867" y="46"/>
                      </a:lnTo>
                      <a:lnTo>
                        <a:pt x="857" y="48"/>
                      </a:lnTo>
                      <a:lnTo>
                        <a:pt x="836" y="48"/>
                      </a:lnTo>
                      <a:lnTo>
                        <a:pt x="818" y="46"/>
                      </a:lnTo>
                      <a:lnTo>
                        <a:pt x="798" y="43"/>
                      </a:lnTo>
                      <a:lnTo>
                        <a:pt x="777" y="43"/>
                      </a:lnTo>
                      <a:lnTo>
                        <a:pt x="757" y="44"/>
                      </a:lnTo>
                      <a:lnTo>
                        <a:pt x="737" y="46"/>
                      </a:lnTo>
                      <a:lnTo>
                        <a:pt x="734" y="48"/>
                      </a:lnTo>
                      <a:lnTo>
                        <a:pt x="732" y="50"/>
                      </a:lnTo>
                      <a:lnTo>
                        <a:pt x="732" y="52"/>
                      </a:lnTo>
                      <a:lnTo>
                        <a:pt x="732" y="56"/>
                      </a:lnTo>
                      <a:lnTo>
                        <a:pt x="734" y="63"/>
                      </a:lnTo>
                      <a:lnTo>
                        <a:pt x="737" y="69"/>
                      </a:lnTo>
                      <a:lnTo>
                        <a:pt x="738" y="69"/>
                      </a:lnTo>
                      <a:lnTo>
                        <a:pt x="739" y="69"/>
                      </a:lnTo>
                      <a:lnTo>
                        <a:pt x="742" y="67"/>
                      </a:lnTo>
                      <a:lnTo>
                        <a:pt x="748" y="61"/>
                      </a:lnTo>
                      <a:lnTo>
                        <a:pt x="754" y="58"/>
                      </a:lnTo>
                      <a:lnTo>
                        <a:pt x="759" y="57"/>
                      </a:lnTo>
                      <a:lnTo>
                        <a:pt x="767" y="58"/>
                      </a:lnTo>
                      <a:lnTo>
                        <a:pt x="771" y="57"/>
                      </a:lnTo>
                      <a:lnTo>
                        <a:pt x="773" y="56"/>
                      </a:lnTo>
                      <a:lnTo>
                        <a:pt x="777" y="55"/>
                      </a:lnTo>
                      <a:lnTo>
                        <a:pt x="780" y="54"/>
                      </a:lnTo>
                      <a:lnTo>
                        <a:pt x="782" y="55"/>
                      </a:lnTo>
                      <a:lnTo>
                        <a:pt x="787" y="55"/>
                      </a:lnTo>
                      <a:lnTo>
                        <a:pt x="794" y="54"/>
                      </a:lnTo>
                      <a:lnTo>
                        <a:pt x="800" y="54"/>
                      </a:lnTo>
                      <a:lnTo>
                        <a:pt x="804" y="54"/>
                      </a:lnTo>
                      <a:lnTo>
                        <a:pt x="806" y="55"/>
                      </a:lnTo>
                      <a:lnTo>
                        <a:pt x="806" y="56"/>
                      </a:lnTo>
                      <a:lnTo>
                        <a:pt x="806" y="57"/>
                      </a:lnTo>
                      <a:lnTo>
                        <a:pt x="805" y="60"/>
                      </a:lnTo>
                      <a:lnTo>
                        <a:pt x="801" y="64"/>
                      </a:lnTo>
                      <a:lnTo>
                        <a:pt x="799" y="67"/>
                      </a:lnTo>
                      <a:lnTo>
                        <a:pt x="799" y="69"/>
                      </a:lnTo>
                      <a:lnTo>
                        <a:pt x="800" y="70"/>
                      </a:lnTo>
                      <a:lnTo>
                        <a:pt x="803" y="71"/>
                      </a:lnTo>
                      <a:lnTo>
                        <a:pt x="819" y="71"/>
                      </a:lnTo>
                      <a:lnTo>
                        <a:pt x="827" y="70"/>
                      </a:lnTo>
                      <a:lnTo>
                        <a:pt x="834" y="68"/>
                      </a:lnTo>
                      <a:lnTo>
                        <a:pt x="834" y="67"/>
                      </a:lnTo>
                      <a:lnTo>
                        <a:pt x="836" y="65"/>
                      </a:lnTo>
                      <a:lnTo>
                        <a:pt x="834" y="63"/>
                      </a:lnTo>
                      <a:lnTo>
                        <a:pt x="836" y="61"/>
                      </a:lnTo>
                      <a:lnTo>
                        <a:pt x="836" y="60"/>
                      </a:lnTo>
                      <a:lnTo>
                        <a:pt x="838" y="60"/>
                      </a:lnTo>
                      <a:lnTo>
                        <a:pt x="847" y="58"/>
                      </a:lnTo>
                      <a:lnTo>
                        <a:pt x="857" y="58"/>
                      </a:lnTo>
                      <a:lnTo>
                        <a:pt x="866" y="58"/>
                      </a:lnTo>
                      <a:lnTo>
                        <a:pt x="875" y="57"/>
                      </a:lnTo>
                      <a:lnTo>
                        <a:pt x="878" y="56"/>
                      </a:lnTo>
                      <a:lnTo>
                        <a:pt x="880" y="57"/>
                      </a:lnTo>
                      <a:lnTo>
                        <a:pt x="880" y="58"/>
                      </a:lnTo>
                      <a:lnTo>
                        <a:pt x="879" y="61"/>
                      </a:lnTo>
                      <a:lnTo>
                        <a:pt x="876" y="63"/>
                      </a:lnTo>
                      <a:lnTo>
                        <a:pt x="875" y="65"/>
                      </a:lnTo>
                      <a:lnTo>
                        <a:pt x="874" y="68"/>
                      </a:lnTo>
                      <a:lnTo>
                        <a:pt x="871" y="70"/>
                      </a:lnTo>
                      <a:lnTo>
                        <a:pt x="861" y="76"/>
                      </a:lnTo>
                      <a:lnTo>
                        <a:pt x="851" y="82"/>
                      </a:lnTo>
                      <a:lnTo>
                        <a:pt x="829" y="89"/>
                      </a:lnTo>
                      <a:lnTo>
                        <a:pt x="820" y="94"/>
                      </a:lnTo>
                      <a:lnTo>
                        <a:pt x="815" y="97"/>
                      </a:lnTo>
                      <a:lnTo>
                        <a:pt x="812" y="102"/>
                      </a:lnTo>
                      <a:lnTo>
                        <a:pt x="810" y="106"/>
                      </a:lnTo>
                      <a:lnTo>
                        <a:pt x="809" y="108"/>
                      </a:lnTo>
                      <a:lnTo>
                        <a:pt x="806" y="109"/>
                      </a:lnTo>
                      <a:lnTo>
                        <a:pt x="805" y="109"/>
                      </a:lnTo>
                      <a:lnTo>
                        <a:pt x="806" y="110"/>
                      </a:lnTo>
                      <a:lnTo>
                        <a:pt x="810" y="113"/>
                      </a:lnTo>
                      <a:lnTo>
                        <a:pt x="815" y="113"/>
                      </a:lnTo>
                      <a:lnTo>
                        <a:pt x="819" y="112"/>
                      </a:lnTo>
                      <a:lnTo>
                        <a:pt x="824" y="109"/>
                      </a:lnTo>
                      <a:lnTo>
                        <a:pt x="845" y="99"/>
                      </a:lnTo>
                      <a:lnTo>
                        <a:pt x="856" y="94"/>
                      </a:lnTo>
                      <a:lnTo>
                        <a:pt x="869" y="92"/>
                      </a:lnTo>
                      <a:lnTo>
                        <a:pt x="876" y="89"/>
                      </a:lnTo>
                      <a:lnTo>
                        <a:pt x="885" y="86"/>
                      </a:lnTo>
                      <a:lnTo>
                        <a:pt x="894" y="82"/>
                      </a:lnTo>
                      <a:lnTo>
                        <a:pt x="903" y="81"/>
                      </a:lnTo>
                      <a:lnTo>
                        <a:pt x="905" y="80"/>
                      </a:lnTo>
                      <a:lnTo>
                        <a:pt x="908" y="77"/>
                      </a:lnTo>
                      <a:lnTo>
                        <a:pt x="909" y="74"/>
                      </a:lnTo>
                      <a:lnTo>
                        <a:pt x="912" y="71"/>
                      </a:lnTo>
                      <a:lnTo>
                        <a:pt x="917" y="71"/>
                      </a:lnTo>
                      <a:lnTo>
                        <a:pt x="923" y="71"/>
                      </a:lnTo>
                      <a:lnTo>
                        <a:pt x="928" y="71"/>
                      </a:lnTo>
                      <a:lnTo>
                        <a:pt x="933" y="70"/>
                      </a:lnTo>
                      <a:lnTo>
                        <a:pt x="940" y="69"/>
                      </a:lnTo>
                      <a:lnTo>
                        <a:pt x="946" y="68"/>
                      </a:lnTo>
                      <a:lnTo>
                        <a:pt x="959" y="69"/>
                      </a:lnTo>
                      <a:lnTo>
                        <a:pt x="961" y="69"/>
                      </a:lnTo>
                      <a:lnTo>
                        <a:pt x="964" y="68"/>
                      </a:lnTo>
                      <a:lnTo>
                        <a:pt x="968" y="63"/>
                      </a:lnTo>
                      <a:lnTo>
                        <a:pt x="970" y="62"/>
                      </a:lnTo>
                      <a:lnTo>
                        <a:pt x="973" y="61"/>
                      </a:lnTo>
                      <a:lnTo>
                        <a:pt x="985" y="61"/>
                      </a:lnTo>
                      <a:lnTo>
                        <a:pt x="997" y="58"/>
                      </a:lnTo>
                      <a:lnTo>
                        <a:pt x="1005" y="56"/>
                      </a:lnTo>
                      <a:lnTo>
                        <a:pt x="1012" y="54"/>
                      </a:lnTo>
                      <a:lnTo>
                        <a:pt x="1017" y="54"/>
                      </a:lnTo>
                      <a:lnTo>
                        <a:pt x="1020" y="55"/>
                      </a:lnTo>
                      <a:lnTo>
                        <a:pt x="1022" y="57"/>
                      </a:lnTo>
                      <a:lnTo>
                        <a:pt x="1025" y="61"/>
                      </a:lnTo>
                      <a:lnTo>
                        <a:pt x="1027" y="68"/>
                      </a:lnTo>
                      <a:lnTo>
                        <a:pt x="1032" y="74"/>
                      </a:lnTo>
                      <a:lnTo>
                        <a:pt x="1038" y="78"/>
                      </a:lnTo>
                      <a:lnTo>
                        <a:pt x="1041" y="84"/>
                      </a:lnTo>
                      <a:lnTo>
                        <a:pt x="1041" y="87"/>
                      </a:lnTo>
                      <a:lnTo>
                        <a:pt x="1040" y="88"/>
                      </a:lnTo>
                      <a:lnTo>
                        <a:pt x="1026" y="89"/>
                      </a:lnTo>
                      <a:lnTo>
                        <a:pt x="1020" y="92"/>
                      </a:lnTo>
                      <a:lnTo>
                        <a:pt x="1012" y="94"/>
                      </a:lnTo>
                      <a:lnTo>
                        <a:pt x="1011" y="94"/>
                      </a:lnTo>
                      <a:lnTo>
                        <a:pt x="1008" y="94"/>
                      </a:lnTo>
                      <a:lnTo>
                        <a:pt x="1003" y="92"/>
                      </a:lnTo>
                      <a:lnTo>
                        <a:pt x="998" y="90"/>
                      </a:lnTo>
                      <a:lnTo>
                        <a:pt x="996" y="92"/>
                      </a:lnTo>
                      <a:lnTo>
                        <a:pt x="994" y="93"/>
                      </a:lnTo>
                      <a:lnTo>
                        <a:pt x="994" y="95"/>
                      </a:lnTo>
                      <a:lnTo>
                        <a:pt x="996" y="97"/>
                      </a:lnTo>
                      <a:lnTo>
                        <a:pt x="999" y="103"/>
                      </a:lnTo>
                      <a:lnTo>
                        <a:pt x="979" y="106"/>
                      </a:lnTo>
                      <a:lnTo>
                        <a:pt x="969" y="106"/>
                      </a:lnTo>
                      <a:lnTo>
                        <a:pt x="964" y="105"/>
                      </a:lnTo>
                      <a:lnTo>
                        <a:pt x="959" y="102"/>
                      </a:lnTo>
                      <a:lnTo>
                        <a:pt x="954" y="100"/>
                      </a:lnTo>
                      <a:lnTo>
                        <a:pt x="951" y="101"/>
                      </a:lnTo>
                      <a:lnTo>
                        <a:pt x="950" y="102"/>
                      </a:lnTo>
                      <a:lnTo>
                        <a:pt x="950" y="106"/>
                      </a:lnTo>
                      <a:lnTo>
                        <a:pt x="951" y="107"/>
                      </a:lnTo>
                      <a:lnTo>
                        <a:pt x="954" y="109"/>
                      </a:lnTo>
                      <a:lnTo>
                        <a:pt x="956" y="110"/>
                      </a:lnTo>
                      <a:lnTo>
                        <a:pt x="964" y="112"/>
                      </a:lnTo>
                      <a:lnTo>
                        <a:pt x="966" y="113"/>
                      </a:lnTo>
                      <a:lnTo>
                        <a:pt x="969" y="114"/>
                      </a:lnTo>
                      <a:lnTo>
                        <a:pt x="969" y="115"/>
                      </a:lnTo>
                      <a:lnTo>
                        <a:pt x="968" y="116"/>
                      </a:lnTo>
                      <a:lnTo>
                        <a:pt x="964" y="118"/>
                      </a:lnTo>
                      <a:lnTo>
                        <a:pt x="955" y="118"/>
                      </a:lnTo>
                      <a:lnTo>
                        <a:pt x="950" y="118"/>
                      </a:lnTo>
                      <a:lnTo>
                        <a:pt x="945" y="119"/>
                      </a:lnTo>
                      <a:lnTo>
                        <a:pt x="942" y="119"/>
                      </a:lnTo>
                      <a:lnTo>
                        <a:pt x="941" y="118"/>
                      </a:lnTo>
                      <a:lnTo>
                        <a:pt x="936" y="115"/>
                      </a:lnTo>
                      <a:lnTo>
                        <a:pt x="932" y="115"/>
                      </a:lnTo>
                      <a:lnTo>
                        <a:pt x="928" y="116"/>
                      </a:lnTo>
                      <a:lnTo>
                        <a:pt x="925" y="116"/>
                      </a:lnTo>
                      <a:lnTo>
                        <a:pt x="921" y="116"/>
                      </a:lnTo>
                      <a:lnTo>
                        <a:pt x="913" y="113"/>
                      </a:lnTo>
                      <a:lnTo>
                        <a:pt x="909" y="112"/>
                      </a:lnTo>
                      <a:lnTo>
                        <a:pt x="907" y="112"/>
                      </a:lnTo>
                      <a:lnTo>
                        <a:pt x="905" y="113"/>
                      </a:lnTo>
                      <a:lnTo>
                        <a:pt x="904" y="115"/>
                      </a:lnTo>
                      <a:lnTo>
                        <a:pt x="905" y="119"/>
                      </a:lnTo>
                      <a:lnTo>
                        <a:pt x="908" y="121"/>
                      </a:lnTo>
                      <a:lnTo>
                        <a:pt x="909" y="125"/>
                      </a:lnTo>
                      <a:lnTo>
                        <a:pt x="913" y="132"/>
                      </a:lnTo>
                      <a:lnTo>
                        <a:pt x="916" y="134"/>
                      </a:lnTo>
                      <a:lnTo>
                        <a:pt x="919" y="134"/>
                      </a:lnTo>
                      <a:lnTo>
                        <a:pt x="931" y="131"/>
                      </a:lnTo>
                      <a:lnTo>
                        <a:pt x="937" y="129"/>
                      </a:lnTo>
                      <a:lnTo>
                        <a:pt x="942" y="129"/>
                      </a:lnTo>
                      <a:lnTo>
                        <a:pt x="946" y="129"/>
                      </a:lnTo>
                      <a:lnTo>
                        <a:pt x="947" y="132"/>
                      </a:lnTo>
                      <a:lnTo>
                        <a:pt x="947" y="134"/>
                      </a:lnTo>
                      <a:lnTo>
                        <a:pt x="946" y="135"/>
                      </a:lnTo>
                      <a:lnTo>
                        <a:pt x="942" y="135"/>
                      </a:lnTo>
                      <a:lnTo>
                        <a:pt x="940" y="138"/>
                      </a:lnTo>
                      <a:lnTo>
                        <a:pt x="937" y="140"/>
                      </a:lnTo>
                      <a:lnTo>
                        <a:pt x="936" y="144"/>
                      </a:lnTo>
                      <a:lnTo>
                        <a:pt x="935" y="145"/>
                      </a:lnTo>
                      <a:lnTo>
                        <a:pt x="933" y="145"/>
                      </a:lnTo>
                      <a:lnTo>
                        <a:pt x="930" y="146"/>
                      </a:lnTo>
                      <a:lnTo>
                        <a:pt x="926" y="147"/>
                      </a:lnTo>
                      <a:lnTo>
                        <a:pt x="925" y="147"/>
                      </a:lnTo>
                      <a:lnTo>
                        <a:pt x="925" y="148"/>
                      </a:lnTo>
                      <a:lnTo>
                        <a:pt x="922" y="152"/>
                      </a:lnTo>
                      <a:lnTo>
                        <a:pt x="921" y="154"/>
                      </a:lnTo>
                      <a:lnTo>
                        <a:pt x="917" y="159"/>
                      </a:lnTo>
                      <a:lnTo>
                        <a:pt x="916" y="161"/>
                      </a:lnTo>
                      <a:lnTo>
                        <a:pt x="916" y="164"/>
                      </a:lnTo>
                      <a:lnTo>
                        <a:pt x="917" y="167"/>
                      </a:lnTo>
                      <a:lnTo>
                        <a:pt x="918" y="172"/>
                      </a:lnTo>
                      <a:lnTo>
                        <a:pt x="918" y="176"/>
                      </a:lnTo>
                      <a:lnTo>
                        <a:pt x="914" y="189"/>
                      </a:lnTo>
                      <a:lnTo>
                        <a:pt x="914" y="195"/>
                      </a:lnTo>
                      <a:lnTo>
                        <a:pt x="914" y="197"/>
                      </a:lnTo>
                      <a:lnTo>
                        <a:pt x="917" y="201"/>
                      </a:lnTo>
                      <a:lnTo>
                        <a:pt x="918" y="203"/>
                      </a:lnTo>
                      <a:lnTo>
                        <a:pt x="918" y="207"/>
                      </a:lnTo>
                      <a:lnTo>
                        <a:pt x="917" y="210"/>
                      </a:lnTo>
                      <a:lnTo>
                        <a:pt x="916" y="210"/>
                      </a:lnTo>
                      <a:lnTo>
                        <a:pt x="913" y="210"/>
                      </a:lnTo>
                      <a:lnTo>
                        <a:pt x="911" y="209"/>
                      </a:lnTo>
                      <a:lnTo>
                        <a:pt x="907" y="207"/>
                      </a:lnTo>
                      <a:lnTo>
                        <a:pt x="904" y="207"/>
                      </a:lnTo>
                      <a:lnTo>
                        <a:pt x="902" y="208"/>
                      </a:lnTo>
                      <a:lnTo>
                        <a:pt x="900" y="210"/>
                      </a:lnTo>
                      <a:lnTo>
                        <a:pt x="900" y="212"/>
                      </a:lnTo>
                      <a:lnTo>
                        <a:pt x="902" y="216"/>
                      </a:lnTo>
                      <a:lnTo>
                        <a:pt x="905" y="218"/>
                      </a:lnTo>
                      <a:lnTo>
                        <a:pt x="908" y="220"/>
                      </a:lnTo>
                      <a:lnTo>
                        <a:pt x="912" y="221"/>
                      </a:lnTo>
                      <a:lnTo>
                        <a:pt x="921" y="221"/>
                      </a:lnTo>
                      <a:lnTo>
                        <a:pt x="928" y="220"/>
                      </a:lnTo>
                      <a:lnTo>
                        <a:pt x="931" y="220"/>
                      </a:lnTo>
                      <a:lnTo>
                        <a:pt x="932" y="221"/>
                      </a:lnTo>
                      <a:lnTo>
                        <a:pt x="933" y="225"/>
                      </a:lnTo>
                      <a:lnTo>
                        <a:pt x="932" y="230"/>
                      </a:lnTo>
                      <a:lnTo>
                        <a:pt x="931" y="234"/>
                      </a:lnTo>
                      <a:lnTo>
                        <a:pt x="928" y="236"/>
                      </a:lnTo>
                      <a:lnTo>
                        <a:pt x="925" y="237"/>
                      </a:lnTo>
                      <a:lnTo>
                        <a:pt x="921" y="237"/>
                      </a:lnTo>
                      <a:lnTo>
                        <a:pt x="917" y="236"/>
                      </a:lnTo>
                      <a:lnTo>
                        <a:pt x="909" y="231"/>
                      </a:lnTo>
                      <a:lnTo>
                        <a:pt x="902" y="227"/>
                      </a:lnTo>
                      <a:lnTo>
                        <a:pt x="900" y="227"/>
                      </a:lnTo>
                      <a:lnTo>
                        <a:pt x="898" y="228"/>
                      </a:lnTo>
                      <a:lnTo>
                        <a:pt x="894" y="230"/>
                      </a:lnTo>
                      <a:lnTo>
                        <a:pt x="890" y="235"/>
                      </a:lnTo>
                      <a:lnTo>
                        <a:pt x="889" y="237"/>
                      </a:lnTo>
                      <a:lnTo>
                        <a:pt x="889" y="240"/>
                      </a:lnTo>
                      <a:lnTo>
                        <a:pt x="892" y="244"/>
                      </a:lnTo>
                      <a:lnTo>
                        <a:pt x="894" y="248"/>
                      </a:lnTo>
                      <a:lnTo>
                        <a:pt x="899" y="252"/>
                      </a:lnTo>
                      <a:lnTo>
                        <a:pt x="904" y="254"/>
                      </a:lnTo>
                      <a:lnTo>
                        <a:pt x="905" y="255"/>
                      </a:lnTo>
                      <a:lnTo>
                        <a:pt x="907" y="257"/>
                      </a:lnTo>
                      <a:lnTo>
                        <a:pt x="905" y="257"/>
                      </a:lnTo>
                      <a:lnTo>
                        <a:pt x="903" y="259"/>
                      </a:lnTo>
                      <a:lnTo>
                        <a:pt x="900" y="259"/>
                      </a:lnTo>
                      <a:lnTo>
                        <a:pt x="895" y="259"/>
                      </a:lnTo>
                      <a:lnTo>
                        <a:pt x="890" y="257"/>
                      </a:lnTo>
                      <a:lnTo>
                        <a:pt x="885" y="257"/>
                      </a:lnTo>
                      <a:lnTo>
                        <a:pt x="884" y="259"/>
                      </a:lnTo>
                      <a:lnTo>
                        <a:pt x="883" y="261"/>
                      </a:lnTo>
                      <a:lnTo>
                        <a:pt x="884" y="262"/>
                      </a:lnTo>
                      <a:lnTo>
                        <a:pt x="885" y="263"/>
                      </a:lnTo>
                      <a:lnTo>
                        <a:pt x="894" y="266"/>
                      </a:lnTo>
                      <a:lnTo>
                        <a:pt x="899" y="267"/>
                      </a:lnTo>
                      <a:lnTo>
                        <a:pt x="903" y="269"/>
                      </a:lnTo>
                      <a:lnTo>
                        <a:pt x="905" y="271"/>
                      </a:lnTo>
                      <a:lnTo>
                        <a:pt x="908" y="271"/>
                      </a:lnTo>
                      <a:lnTo>
                        <a:pt x="911" y="274"/>
                      </a:lnTo>
                      <a:lnTo>
                        <a:pt x="912" y="276"/>
                      </a:lnTo>
                      <a:lnTo>
                        <a:pt x="912" y="282"/>
                      </a:lnTo>
                      <a:lnTo>
                        <a:pt x="911" y="285"/>
                      </a:lnTo>
                      <a:lnTo>
                        <a:pt x="909" y="286"/>
                      </a:lnTo>
                      <a:lnTo>
                        <a:pt x="908" y="286"/>
                      </a:lnTo>
                      <a:lnTo>
                        <a:pt x="905" y="285"/>
                      </a:lnTo>
                      <a:lnTo>
                        <a:pt x="902" y="282"/>
                      </a:lnTo>
                      <a:lnTo>
                        <a:pt x="899" y="280"/>
                      </a:lnTo>
                      <a:lnTo>
                        <a:pt x="894" y="279"/>
                      </a:lnTo>
                      <a:lnTo>
                        <a:pt x="892" y="278"/>
                      </a:lnTo>
                      <a:lnTo>
                        <a:pt x="888" y="275"/>
                      </a:lnTo>
                      <a:lnTo>
                        <a:pt x="885" y="273"/>
                      </a:lnTo>
                      <a:lnTo>
                        <a:pt x="883" y="272"/>
                      </a:lnTo>
                      <a:lnTo>
                        <a:pt x="881" y="273"/>
                      </a:lnTo>
                      <a:lnTo>
                        <a:pt x="881" y="275"/>
                      </a:lnTo>
                      <a:lnTo>
                        <a:pt x="881" y="276"/>
                      </a:lnTo>
                      <a:lnTo>
                        <a:pt x="883" y="278"/>
                      </a:lnTo>
                      <a:lnTo>
                        <a:pt x="888" y="281"/>
                      </a:lnTo>
                      <a:lnTo>
                        <a:pt x="892" y="286"/>
                      </a:lnTo>
                      <a:lnTo>
                        <a:pt x="892" y="291"/>
                      </a:lnTo>
                      <a:lnTo>
                        <a:pt x="892" y="297"/>
                      </a:lnTo>
                      <a:lnTo>
                        <a:pt x="892" y="298"/>
                      </a:lnTo>
                      <a:lnTo>
                        <a:pt x="893" y="299"/>
                      </a:lnTo>
                      <a:lnTo>
                        <a:pt x="897" y="300"/>
                      </a:lnTo>
                      <a:lnTo>
                        <a:pt x="902" y="300"/>
                      </a:lnTo>
                      <a:lnTo>
                        <a:pt x="907" y="301"/>
                      </a:lnTo>
                      <a:lnTo>
                        <a:pt x="912" y="303"/>
                      </a:lnTo>
                      <a:lnTo>
                        <a:pt x="912" y="304"/>
                      </a:lnTo>
                      <a:lnTo>
                        <a:pt x="912" y="306"/>
                      </a:lnTo>
                      <a:lnTo>
                        <a:pt x="908" y="308"/>
                      </a:lnTo>
                      <a:lnTo>
                        <a:pt x="905" y="308"/>
                      </a:lnTo>
                      <a:lnTo>
                        <a:pt x="902" y="307"/>
                      </a:lnTo>
                      <a:lnTo>
                        <a:pt x="899" y="306"/>
                      </a:lnTo>
                      <a:lnTo>
                        <a:pt x="895" y="306"/>
                      </a:lnTo>
                      <a:lnTo>
                        <a:pt x="893" y="307"/>
                      </a:lnTo>
                      <a:lnTo>
                        <a:pt x="886" y="306"/>
                      </a:lnTo>
                      <a:lnTo>
                        <a:pt x="884" y="306"/>
                      </a:lnTo>
                      <a:lnTo>
                        <a:pt x="883" y="308"/>
                      </a:lnTo>
                      <a:lnTo>
                        <a:pt x="879" y="317"/>
                      </a:lnTo>
                      <a:lnTo>
                        <a:pt x="879" y="320"/>
                      </a:lnTo>
                      <a:lnTo>
                        <a:pt x="880" y="322"/>
                      </a:lnTo>
                      <a:lnTo>
                        <a:pt x="881" y="323"/>
                      </a:lnTo>
                      <a:lnTo>
                        <a:pt x="885" y="323"/>
                      </a:lnTo>
                      <a:lnTo>
                        <a:pt x="888" y="325"/>
                      </a:lnTo>
                      <a:lnTo>
                        <a:pt x="890" y="329"/>
                      </a:lnTo>
                      <a:lnTo>
                        <a:pt x="890" y="333"/>
                      </a:lnTo>
                      <a:lnTo>
                        <a:pt x="890" y="337"/>
                      </a:lnTo>
                      <a:lnTo>
                        <a:pt x="889" y="339"/>
                      </a:lnTo>
                      <a:lnTo>
                        <a:pt x="888" y="339"/>
                      </a:lnTo>
                      <a:lnTo>
                        <a:pt x="885" y="340"/>
                      </a:lnTo>
                      <a:lnTo>
                        <a:pt x="883" y="339"/>
                      </a:lnTo>
                      <a:lnTo>
                        <a:pt x="879" y="337"/>
                      </a:lnTo>
                      <a:lnTo>
                        <a:pt x="874" y="336"/>
                      </a:lnTo>
                      <a:lnTo>
                        <a:pt x="871" y="336"/>
                      </a:lnTo>
                      <a:lnTo>
                        <a:pt x="869" y="337"/>
                      </a:lnTo>
                      <a:lnTo>
                        <a:pt x="864" y="340"/>
                      </a:lnTo>
                      <a:lnTo>
                        <a:pt x="860" y="342"/>
                      </a:lnTo>
                      <a:lnTo>
                        <a:pt x="855" y="343"/>
                      </a:lnTo>
                      <a:lnTo>
                        <a:pt x="853" y="342"/>
                      </a:lnTo>
                      <a:lnTo>
                        <a:pt x="851" y="340"/>
                      </a:lnTo>
                      <a:lnTo>
                        <a:pt x="847" y="337"/>
                      </a:lnTo>
                      <a:lnTo>
                        <a:pt x="843" y="335"/>
                      </a:lnTo>
                      <a:lnTo>
                        <a:pt x="839" y="332"/>
                      </a:lnTo>
                      <a:lnTo>
                        <a:pt x="836" y="329"/>
                      </a:lnTo>
                      <a:lnTo>
                        <a:pt x="834" y="325"/>
                      </a:lnTo>
                      <a:lnTo>
                        <a:pt x="834" y="324"/>
                      </a:lnTo>
                      <a:lnTo>
                        <a:pt x="836" y="324"/>
                      </a:lnTo>
                      <a:lnTo>
                        <a:pt x="842" y="322"/>
                      </a:lnTo>
                      <a:lnTo>
                        <a:pt x="845" y="319"/>
                      </a:lnTo>
                      <a:lnTo>
                        <a:pt x="846" y="317"/>
                      </a:lnTo>
                      <a:lnTo>
                        <a:pt x="845" y="316"/>
                      </a:lnTo>
                      <a:lnTo>
                        <a:pt x="842" y="316"/>
                      </a:lnTo>
                      <a:lnTo>
                        <a:pt x="833" y="317"/>
                      </a:lnTo>
                      <a:lnTo>
                        <a:pt x="823" y="318"/>
                      </a:lnTo>
                      <a:lnTo>
                        <a:pt x="822" y="318"/>
                      </a:lnTo>
                      <a:lnTo>
                        <a:pt x="822" y="319"/>
                      </a:lnTo>
                      <a:lnTo>
                        <a:pt x="820" y="322"/>
                      </a:lnTo>
                      <a:lnTo>
                        <a:pt x="818" y="323"/>
                      </a:lnTo>
                      <a:lnTo>
                        <a:pt x="814" y="323"/>
                      </a:lnTo>
                      <a:lnTo>
                        <a:pt x="812" y="323"/>
                      </a:lnTo>
                      <a:lnTo>
                        <a:pt x="810" y="323"/>
                      </a:lnTo>
                      <a:lnTo>
                        <a:pt x="809" y="325"/>
                      </a:lnTo>
                      <a:lnTo>
                        <a:pt x="808" y="329"/>
                      </a:lnTo>
                      <a:lnTo>
                        <a:pt x="805" y="332"/>
                      </a:lnTo>
                      <a:lnTo>
                        <a:pt x="798" y="337"/>
                      </a:lnTo>
                      <a:lnTo>
                        <a:pt x="796" y="339"/>
                      </a:lnTo>
                      <a:lnTo>
                        <a:pt x="796" y="342"/>
                      </a:lnTo>
                      <a:lnTo>
                        <a:pt x="798" y="345"/>
                      </a:lnTo>
                      <a:lnTo>
                        <a:pt x="800" y="346"/>
                      </a:lnTo>
                      <a:lnTo>
                        <a:pt x="808" y="349"/>
                      </a:lnTo>
                      <a:lnTo>
                        <a:pt x="809" y="351"/>
                      </a:lnTo>
                      <a:lnTo>
                        <a:pt x="809" y="352"/>
                      </a:lnTo>
                      <a:lnTo>
                        <a:pt x="809" y="354"/>
                      </a:lnTo>
                      <a:lnTo>
                        <a:pt x="808" y="355"/>
                      </a:lnTo>
                      <a:lnTo>
                        <a:pt x="808" y="356"/>
                      </a:lnTo>
                      <a:lnTo>
                        <a:pt x="809" y="357"/>
                      </a:lnTo>
                      <a:lnTo>
                        <a:pt x="812" y="358"/>
                      </a:lnTo>
                      <a:lnTo>
                        <a:pt x="815" y="358"/>
                      </a:lnTo>
                      <a:lnTo>
                        <a:pt x="815" y="361"/>
                      </a:lnTo>
                      <a:lnTo>
                        <a:pt x="813" y="363"/>
                      </a:lnTo>
                      <a:lnTo>
                        <a:pt x="808" y="364"/>
                      </a:lnTo>
                      <a:lnTo>
                        <a:pt x="805" y="367"/>
                      </a:lnTo>
                      <a:lnTo>
                        <a:pt x="804" y="368"/>
                      </a:lnTo>
                      <a:lnTo>
                        <a:pt x="803" y="370"/>
                      </a:lnTo>
                      <a:lnTo>
                        <a:pt x="805" y="374"/>
                      </a:lnTo>
                      <a:lnTo>
                        <a:pt x="808" y="377"/>
                      </a:lnTo>
                      <a:lnTo>
                        <a:pt x="809" y="378"/>
                      </a:lnTo>
                      <a:lnTo>
                        <a:pt x="810" y="378"/>
                      </a:lnTo>
                      <a:lnTo>
                        <a:pt x="810" y="380"/>
                      </a:lnTo>
                      <a:lnTo>
                        <a:pt x="813" y="376"/>
                      </a:lnTo>
                      <a:lnTo>
                        <a:pt x="815" y="374"/>
                      </a:lnTo>
                      <a:lnTo>
                        <a:pt x="819" y="372"/>
                      </a:lnTo>
                      <a:lnTo>
                        <a:pt x="823" y="374"/>
                      </a:lnTo>
                      <a:lnTo>
                        <a:pt x="828" y="376"/>
                      </a:lnTo>
                      <a:lnTo>
                        <a:pt x="833" y="376"/>
                      </a:lnTo>
                      <a:lnTo>
                        <a:pt x="843" y="375"/>
                      </a:lnTo>
                      <a:lnTo>
                        <a:pt x="845" y="376"/>
                      </a:lnTo>
                      <a:lnTo>
                        <a:pt x="846" y="377"/>
                      </a:lnTo>
                      <a:lnTo>
                        <a:pt x="847" y="380"/>
                      </a:lnTo>
                      <a:lnTo>
                        <a:pt x="848" y="384"/>
                      </a:lnTo>
                      <a:lnTo>
                        <a:pt x="850" y="387"/>
                      </a:lnTo>
                      <a:lnTo>
                        <a:pt x="851" y="387"/>
                      </a:lnTo>
                      <a:lnTo>
                        <a:pt x="853" y="387"/>
                      </a:lnTo>
                      <a:lnTo>
                        <a:pt x="855" y="386"/>
                      </a:lnTo>
                      <a:lnTo>
                        <a:pt x="856" y="384"/>
                      </a:lnTo>
                      <a:lnTo>
                        <a:pt x="857" y="386"/>
                      </a:lnTo>
                      <a:lnTo>
                        <a:pt x="857" y="387"/>
                      </a:lnTo>
                      <a:lnTo>
                        <a:pt x="859" y="389"/>
                      </a:lnTo>
                      <a:lnTo>
                        <a:pt x="860" y="390"/>
                      </a:lnTo>
                      <a:lnTo>
                        <a:pt x="862" y="390"/>
                      </a:lnTo>
                      <a:lnTo>
                        <a:pt x="864" y="390"/>
                      </a:lnTo>
                      <a:lnTo>
                        <a:pt x="869" y="388"/>
                      </a:lnTo>
                      <a:lnTo>
                        <a:pt x="870" y="388"/>
                      </a:lnTo>
                      <a:lnTo>
                        <a:pt x="871" y="389"/>
                      </a:lnTo>
                      <a:lnTo>
                        <a:pt x="872" y="391"/>
                      </a:lnTo>
                      <a:lnTo>
                        <a:pt x="872" y="393"/>
                      </a:lnTo>
                      <a:lnTo>
                        <a:pt x="870" y="395"/>
                      </a:lnTo>
                      <a:lnTo>
                        <a:pt x="869" y="395"/>
                      </a:lnTo>
                      <a:lnTo>
                        <a:pt x="869" y="396"/>
                      </a:lnTo>
                      <a:lnTo>
                        <a:pt x="871" y="405"/>
                      </a:lnTo>
                      <a:lnTo>
                        <a:pt x="871" y="408"/>
                      </a:lnTo>
                      <a:lnTo>
                        <a:pt x="871" y="413"/>
                      </a:lnTo>
                      <a:lnTo>
                        <a:pt x="870" y="414"/>
                      </a:lnTo>
                      <a:lnTo>
                        <a:pt x="870" y="419"/>
                      </a:lnTo>
                      <a:lnTo>
                        <a:pt x="869" y="422"/>
                      </a:lnTo>
                      <a:lnTo>
                        <a:pt x="866" y="425"/>
                      </a:lnTo>
                      <a:lnTo>
                        <a:pt x="864" y="427"/>
                      </a:lnTo>
                      <a:lnTo>
                        <a:pt x="861" y="426"/>
                      </a:lnTo>
                      <a:lnTo>
                        <a:pt x="859" y="425"/>
                      </a:lnTo>
                      <a:lnTo>
                        <a:pt x="855" y="419"/>
                      </a:lnTo>
                      <a:lnTo>
                        <a:pt x="853" y="418"/>
                      </a:lnTo>
                      <a:lnTo>
                        <a:pt x="851" y="419"/>
                      </a:lnTo>
                      <a:lnTo>
                        <a:pt x="845" y="422"/>
                      </a:lnTo>
                      <a:lnTo>
                        <a:pt x="839" y="423"/>
                      </a:lnTo>
                      <a:lnTo>
                        <a:pt x="836" y="422"/>
                      </a:lnTo>
                      <a:lnTo>
                        <a:pt x="832" y="419"/>
                      </a:lnTo>
                      <a:lnTo>
                        <a:pt x="828" y="412"/>
                      </a:lnTo>
                      <a:lnTo>
                        <a:pt x="825" y="407"/>
                      </a:lnTo>
                      <a:lnTo>
                        <a:pt x="824" y="405"/>
                      </a:lnTo>
                      <a:lnTo>
                        <a:pt x="822" y="403"/>
                      </a:lnTo>
                      <a:lnTo>
                        <a:pt x="819" y="403"/>
                      </a:lnTo>
                      <a:lnTo>
                        <a:pt x="818" y="403"/>
                      </a:lnTo>
                      <a:lnTo>
                        <a:pt x="815" y="402"/>
                      </a:lnTo>
                      <a:lnTo>
                        <a:pt x="813" y="400"/>
                      </a:lnTo>
                      <a:lnTo>
                        <a:pt x="812" y="397"/>
                      </a:lnTo>
                      <a:lnTo>
                        <a:pt x="810" y="394"/>
                      </a:lnTo>
                      <a:lnTo>
                        <a:pt x="806" y="391"/>
                      </a:lnTo>
                      <a:lnTo>
                        <a:pt x="803" y="389"/>
                      </a:lnTo>
                      <a:lnTo>
                        <a:pt x="799" y="389"/>
                      </a:lnTo>
                      <a:lnTo>
                        <a:pt x="791" y="389"/>
                      </a:lnTo>
                      <a:lnTo>
                        <a:pt x="787" y="389"/>
                      </a:lnTo>
                      <a:lnTo>
                        <a:pt x="785" y="387"/>
                      </a:lnTo>
                      <a:lnTo>
                        <a:pt x="781" y="383"/>
                      </a:lnTo>
                      <a:lnTo>
                        <a:pt x="779" y="377"/>
                      </a:lnTo>
                      <a:lnTo>
                        <a:pt x="777" y="375"/>
                      </a:lnTo>
                      <a:lnTo>
                        <a:pt x="775" y="374"/>
                      </a:lnTo>
                      <a:lnTo>
                        <a:pt x="773" y="375"/>
                      </a:lnTo>
                      <a:lnTo>
                        <a:pt x="772" y="377"/>
                      </a:lnTo>
                      <a:lnTo>
                        <a:pt x="773" y="381"/>
                      </a:lnTo>
                      <a:lnTo>
                        <a:pt x="773" y="383"/>
                      </a:lnTo>
                      <a:lnTo>
                        <a:pt x="773" y="386"/>
                      </a:lnTo>
                      <a:lnTo>
                        <a:pt x="771" y="387"/>
                      </a:lnTo>
                      <a:lnTo>
                        <a:pt x="768" y="389"/>
                      </a:lnTo>
                      <a:lnTo>
                        <a:pt x="768" y="391"/>
                      </a:lnTo>
                      <a:lnTo>
                        <a:pt x="772" y="393"/>
                      </a:lnTo>
                      <a:lnTo>
                        <a:pt x="777" y="394"/>
                      </a:lnTo>
                      <a:lnTo>
                        <a:pt x="785" y="395"/>
                      </a:lnTo>
                      <a:lnTo>
                        <a:pt x="791" y="397"/>
                      </a:lnTo>
                      <a:lnTo>
                        <a:pt x="798" y="399"/>
                      </a:lnTo>
                      <a:lnTo>
                        <a:pt x="799" y="400"/>
                      </a:lnTo>
                      <a:lnTo>
                        <a:pt x="799" y="403"/>
                      </a:lnTo>
                      <a:lnTo>
                        <a:pt x="796" y="407"/>
                      </a:lnTo>
                      <a:lnTo>
                        <a:pt x="792" y="409"/>
                      </a:lnTo>
                      <a:lnTo>
                        <a:pt x="784" y="410"/>
                      </a:lnTo>
                      <a:lnTo>
                        <a:pt x="782" y="413"/>
                      </a:lnTo>
                      <a:lnTo>
                        <a:pt x="781" y="415"/>
                      </a:lnTo>
                      <a:lnTo>
                        <a:pt x="779" y="416"/>
                      </a:lnTo>
                      <a:lnTo>
                        <a:pt x="776" y="416"/>
                      </a:lnTo>
                      <a:lnTo>
                        <a:pt x="773" y="418"/>
                      </a:lnTo>
                      <a:lnTo>
                        <a:pt x="771" y="419"/>
                      </a:lnTo>
                      <a:lnTo>
                        <a:pt x="772" y="421"/>
                      </a:lnTo>
                      <a:lnTo>
                        <a:pt x="773" y="422"/>
                      </a:lnTo>
                      <a:lnTo>
                        <a:pt x="776" y="425"/>
                      </a:lnTo>
                      <a:lnTo>
                        <a:pt x="776" y="426"/>
                      </a:lnTo>
                      <a:lnTo>
                        <a:pt x="776" y="427"/>
                      </a:lnTo>
                      <a:lnTo>
                        <a:pt x="773" y="431"/>
                      </a:lnTo>
                      <a:lnTo>
                        <a:pt x="771" y="433"/>
                      </a:lnTo>
                      <a:lnTo>
                        <a:pt x="768" y="437"/>
                      </a:lnTo>
                      <a:lnTo>
                        <a:pt x="768" y="438"/>
                      </a:lnTo>
                      <a:lnTo>
                        <a:pt x="771" y="439"/>
                      </a:lnTo>
                      <a:lnTo>
                        <a:pt x="776" y="439"/>
                      </a:lnTo>
                      <a:lnTo>
                        <a:pt x="779" y="438"/>
                      </a:lnTo>
                      <a:lnTo>
                        <a:pt x="789" y="438"/>
                      </a:lnTo>
                      <a:lnTo>
                        <a:pt x="798" y="435"/>
                      </a:lnTo>
                      <a:lnTo>
                        <a:pt x="806" y="433"/>
                      </a:lnTo>
                      <a:lnTo>
                        <a:pt x="815" y="428"/>
                      </a:lnTo>
                      <a:lnTo>
                        <a:pt x="817" y="428"/>
                      </a:lnTo>
                      <a:lnTo>
                        <a:pt x="819" y="428"/>
                      </a:lnTo>
                      <a:lnTo>
                        <a:pt x="823" y="432"/>
                      </a:lnTo>
                      <a:lnTo>
                        <a:pt x="828" y="433"/>
                      </a:lnTo>
                      <a:lnTo>
                        <a:pt x="837" y="435"/>
                      </a:lnTo>
                      <a:lnTo>
                        <a:pt x="856" y="435"/>
                      </a:lnTo>
                      <a:lnTo>
                        <a:pt x="857" y="437"/>
                      </a:lnTo>
                      <a:lnTo>
                        <a:pt x="857" y="438"/>
                      </a:lnTo>
                      <a:lnTo>
                        <a:pt x="839" y="444"/>
                      </a:lnTo>
                      <a:lnTo>
                        <a:pt x="831" y="448"/>
                      </a:lnTo>
                      <a:lnTo>
                        <a:pt x="823" y="453"/>
                      </a:lnTo>
                      <a:lnTo>
                        <a:pt x="819" y="455"/>
                      </a:lnTo>
                      <a:lnTo>
                        <a:pt x="813" y="458"/>
                      </a:lnTo>
                      <a:lnTo>
                        <a:pt x="812" y="460"/>
                      </a:lnTo>
                      <a:lnTo>
                        <a:pt x="809" y="463"/>
                      </a:lnTo>
                      <a:lnTo>
                        <a:pt x="808" y="466"/>
                      </a:lnTo>
                      <a:lnTo>
                        <a:pt x="805" y="467"/>
                      </a:lnTo>
                      <a:lnTo>
                        <a:pt x="786" y="476"/>
                      </a:lnTo>
                      <a:lnTo>
                        <a:pt x="767" y="483"/>
                      </a:lnTo>
                      <a:lnTo>
                        <a:pt x="753" y="487"/>
                      </a:lnTo>
                      <a:lnTo>
                        <a:pt x="738" y="491"/>
                      </a:lnTo>
                      <a:lnTo>
                        <a:pt x="732" y="492"/>
                      </a:lnTo>
                      <a:lnTo>
                        <a:pt x="726" y="492"/>
                      </a:lnTo>
                      <a:lnTo>
                        <a:pt x="720" y="491"/>
                      </a:lnTo>
                      <a:lnTo>
                        <a:pt x="715" y="489"/>
                      </a:lnTo>
                      <a:lnTo>
                        <a:pt x="710" y="486"/>
                      </a:lnTo>
                      <a:lnTo>
                        <a:pt x="706" y="482"/>
                      </a:lnTo>
                      <a:lnTo>
                        <a:pt x="704" y="477"/>
                      </a:lnTo>
                      <a:lnTo>
                        <a:pt x="702" y="470"/>
                      </a:lnTo>
                      <a:lnTo>
                        <a:pt x="701" y="469"/>
                      </a:lnTo>
                      <a:lnTo>
                        <a:pt x="699" y="467"/>
                      </a:lnTo>
                      <a:lnTo>
                        <a:pt x="697" y="469"/>
                      </a:lnTo>
                      <a:lnTo>
                        <a:pt x="696" y="470"/>
                      </a:lnTo>
                      <a:lnTo>
                        <a:pt x="696" y="473"/>
                      </a:lnTo>
                      <a:lnTo>
                        <a:pt x="697" y="478"/>
                      </a:lnTo>
                      <a:lnTo>
                        <a:pt x="700" y="484"/>
                      </a:lnTo>
                      <a:lnTo>
                        <a:pt x="702" y="489"/>
                      </a:lnTo>
                      <a:lnTo>
                        <a:pt x="702" y="492"/>
                      </a:lnTo>
                      <a:lnTo>
                        <a:pt x="701" y="495"/>
                      </a:lnTo>
                      <a:lnTo>
                        <a:pt x="699" y="497"/>
                      </a:lnTo>
                      <a:lnTo>
                        <a:pt x="695" y="498"/>
                      </a:lnTo>
                      <a:lnTo>
                        <a:pt x="690" y="501"/>
                      </a:lnTo>
                      <a:lnTo>
                        <a:pt x="687" y="503"/>
                      </a:lnTo>
                      <a:lnTo>
                        <a:pt x="682" y="508"/>
                      </a:lnTo>
                      <a:lnTo>
                        <a:pt x="676" y="512"/>
                      </a:lnTo>
                      <a:lnTo>
                        <a:pt x="671" y="517"/>
                      </a:lnTo>
                      <a:lnTo>
                        <a:pt x="667" y="523"/>
                      </a:lnTo>
                      <a:lnTo>
                        <a:pt x="663" y="529"/>
                      </a:lnTo>
                      <a:lnTo>
                        <a:pt x="662" y="533"/>
                      </a:lnTo>
                      <a:lnTo>
                        <a:pt x="659" y="536"/>
                      </a:lnTo>
                      <a:lnTo>
                        <a:pt x="655" y="541"/>
                      </a:lnTo>
                      <a:lnTo>
                        <a:pt x="653" y="543"/>
                      </a:lnTo>
                      <a:lnTo>
                        <a:pt x="650" y="544"/>
                      </a:lnTo>
                      <a:lnTo>
                        <a:pt x="648" y="544"/>
                      </a:lnTo>
                      <a:lnTo>
                        <a:pt x="644" y="544"/>
                      </a:lnTo>
                      <a:lnTo>
                        <a:pt x="641" y="544"/>
                      </a:lnTo>
                      <a:lnTo>
                        <a:pt x="639" y="546"/>
                      </a:lnTo>
                      <a:lnTo>
                        <a:pt x="639" y="549"/>
                      </a:lnTo>
                      <a:lnTo>
                        <a:pt x="639" y="554"/>
                      </a:lnTo>
                      <a:lnTo>
                        <a:pt x="638" y="556"/>
                      </a:lnTo>
                      <a:lnTo>
                        <a:pt x="636" y="557"/>
                      </a:lnTo>
                      <a:lnTo>
                        <a:pt x="634" y="557"/>
                      </a:lnTo>
                      <a:lnTo>
                        <a:pt x="627" y="555"/>
                      </a:lnTo>
                      <a:lnTo>
                        <a:pt x="624" y="555"/>
                      </a:lnTo>
                      <a:lnTo>
                        <a:pt x="620" y="556"/>
                      </a:lnTo>
                      <a:lnTo>
                        <a:pt x="617" y="557"/>
                      </a:lnTo>
                      <a:lnTo>
                        <a:pt x="613" y="557"/>
                      </a:lnTo>
                      <a:lnTo>
                        <a:pt x="611" y="555"/>
                      </a:lnTo>
                      <a:lnTo>
                        <a:pt x="610" y="554"/>
                      </a:lnTo>
                      <a:lnTo>
                        <a:pt x="611" y="553"/>
                      </a:lnTo>
                      <a:lnTo>
                        <a:pt x="612" y="550"/>
                      </a:lnTo>
                      <a:lnTo>
                        <a:pt x="613" y="549"/>
                      </a:lnTo>
                      <a:lnTo>
                        <a:pt x="613" y="548"/>
                      </a:lnTo>
                      <a:lnTo>
                        <a:pt x="611" y="547"/>
                      </a:lnTo>
                      <a:lnTo>
                        <a:pt x="608" y="547"/>
                      </a:lnTo>
                      <a:lnTo>
                        <a:pt x="606" y="547"/>
                      </a:lnTo>
                      <a:lnTo>
                        <a:pt x="603" y="547"/>
                      </a:lnTo>
                      <a:lnTo>
                        <a:pt x="601" y="547"/>
                      </a:lnTo>
                      <a:lnTo>
                        <a:pt x="599" y="544"/>
                      </a:lnTo>
                      <a:lnTo>
                        <a:pt x="598" y="544"/>
                      </a:lnTo>
                      <a:lnTo>
                        <a:pt x="597" y="544"/>
                      </a:lnTo>
                      <a:lnTo>
                        <a:pt x="597" y="548"/>
                      </a:lnTo>
                      <a:lnTo>
                        <a:pt x="598" y="550"/>
                      </a:lnTo>
                      <a:lnTo>
                        <a:pt x="599" y="555"/>
                      </a:lnTo>
                      <a:lnTo>
                        <a:pt x="599" y="560"/>
                      </a:lnTo>
                      <a:lnTo>
                        <a:pt x="598" y="561"/>
                      </a:lnTo>
                      <a:lnTo>
                        <a:pt x="596" y="562"/>
                      </a:lnTo>
                      <a:lnTo>
                        <a:pt x="593" y="562"/>
                      </a:lnTo>
                      <a:lnTo>
                        <a:pt x="591" y="563"/>
                      </a:lnTo>
                      <a:lnTo>
                        <a:pt x="588" y="568"/>
                      </a:lnTo>
                      <a:lnTo>
                        <a:pt x="584" y="568"/>
                      </a:lnTo>
                      <a:lnTo>
                        <a:pt x="583" y="569"/>
                      </a:lnTo>
                      <a:lnTo>
                        <a:pt x="579" y="572"/>
                      </a:lnTo>
                      <a:lnTo>
                        <a:pt x="574" y="570"/>
                      </a:lnTo>
                      <a:lnTo>
                        <a:pt x="572" y="570"/>
                      </a:lnTo>
                      <a:lnTo>
                        <a:pt x="570" y="572"/>
                      </a:lnTo>
                      <a:lnTo>
                        <a:pt x="566" y="576"/>
                      </a:lnTo>
                      <a:lnTo>
                        <a:pt x="564" y="580"/>
                      </a:lnTo>
                      <a:lnTo>
                        <a:pt x="561" y="582"/>
                      </a:lnTo>
                      <a:lnTo>
                        <a:pt x="555" y="585"/>
                      </a:lnTo>
                      <a:lnTo>
                        <a:pt x="552" y="586"/>
                      </a:lnTo>
                      <a:lnTo>
                        <a:pt x="552" y="587"/>
                      </a:lnTo>
                      <a:lnTo>
                        <a:pt x="551" y="589"/>
                      </a:lnTo>
                      <a:lnTo>
                        <a:pt x="552" y="591"/>
                      </a:lnTo>
                      <a:lnTo>
                        <a:pt x="556" y="594"/>
                      </a:lnTo>
                      <a:lnTo>
                        <a:pt x="559" y="599"/>
                      </a:lnTo>
                      <a:lnTo>
                        <a:pt x="558" y="602"/>
                      </a:lnTo>
                      <a:lnTo>
                        <a:pt x="556" y="607"/>
                      </a:lnTo>
                      <a:lnTo>
                        <a:pt x="555" y="607"/>
                      </a:lnTo>
                      <a:lnTo>
                        <a:pt x="552" y="606"/>
                      </a:lnTo>
                      <a:lnTo>
                        <a:pt x="550" y="604"/>
                      </a:lnTo>
                      <a:lnTo>
                        <a:pt x="547" y="604"/>
                      </a:lnTo>
                      <a:lnTo>
                        <a:pt x="546" y="604"/>
                      </a:lnTo>
                      <a:lnTo>
                        <a:pt x="545" y="605"/>
                      </a:lnTo>
                      <a:lnTo>
                        <a:pt x="545" y="607"/>
                      </a:lnTo>
                      <a:lnTo>
                        <a:pt x="549" y="612"/>
                      </a:lnTo>
                      <a:lnTo>
                        <a:pt x="549" y="614"/>
                      </a:lnTo>
                      <a:lnTo>
                        <a:pt x="547" y="616"/>
                      </a:lnTo>
                      <a:lnTo>
                        <a:pt x="542" y="620"/>
                      </a:lnTo>
                      <a:lnTo>
                        <a:pt x="535" y="625"/>
                      </a:lnTo>
                      <a:lnTo>
                        <a:pt x="532" y="625"/>
                      </a:lnTo>
                      <a:lnTo>
                        <a:pt x="531" y="625"/>
                      </a:lnTo>
                      <a:lnTo>
                        <a:pt x="530" y="626"/>
                      </a:lnTo>
                      <a:lnTo>
                        <a:pt x="528" y="629"/>
                      </a:lnTo>
                      <a:lnTo>
                        <a:pt x="528" y="632"/>
                      </a:lnTo>
                      <a:lnTo>
                        <a:pt x="530" y="636"/>
                      </a:lnTo>
                      <a:lnTo>
                        <a:pt x="530" y="639"/>
                      </a:lnTo>
                      <a:lnTo>
                        <a:pt x="527" y="642"/>
                      </a:lnTo>
                      <a:lnTo>
                        <a:pt x="526" y="644"/>
                      </a:lnTo>
                      <a:lnTo>
                        <a:pt x="525" y="645"/>
                      </a:lnTo>
                      <a:lnTo>
                        <a:pt x="523" y="649"/>
                      </a:lnTo>
                      <a:lnTo>
                        <a:pt x="522" y="653"/>
                      </a:lnTo>
                      <a:lnTo>
                        <a:pt x="523" y="658"/>
                      </a:lnTo>
                      <a:lnTo>
                        <a:pt x="523" y="663"/>
                      </a:lnTo>
                      <a:lnTo>
                        <a:pt x="523" y="669"/>
                      </a:lnTo>
                      <a:lnTo>
                        <a:pt x="522" y="672"/>
                      </a:lnTo>
                      <a:lnTo>
                        <a:pt x="518" y="677"/>
                      </a:lnTo>
                      <a:lnTo>
                        <a:pt x="514" y="682"/>
                      </a:lnTo>
                      <a:lnTo>
                        <a:pt x="513" y="685"/>
                      </a:lnTo>
                      <a:lnTo>
                        <a:pt x="513" y="690"/>
                      </a:lnTo>
                      <a:lnTo>
                        <a:pt x="513" y="694"/>
                      </a:lnTo>
                      <a:lnTo>
                        <a:pt x="512" y="696"/>
                      </a:lnTo>
                      <a:lnTo>
                        <a:pt x="509" y="699"/>
                      </a:lnTo>
                      <a:lnTo>
                        <a:pt x="503" y="702"/>
                      </a:lnTo>
                      <a:lnTo>
                        <a:pt x="494" y="707"/>
                      </a:lnTo>
                      <a:lnTo>
                        <a:pt x="494" y="708"/>
                      </a:lnTo>
                      <a:lnTo>
                        <a:pt x="494" y="710"/>
                      </a:lnTo>
                      <a:lnTo>
                        <a:pt x="497" y="712"/>
                      </a:lnTo>
                      <a:lnTo>
                        <a:pt x="498" y="712"/>
                      </a:lnTo>
                      <a:lnTo>
                        <a:pt x="502" y="712"/>
                      </a:lnTo>
                      <a:lnTo>
                        <a:pt x="507" y="710"/>
                      </a:lnTo>
                      <a:lnTo>
                        <a:pt x="511" y="712"/>
                      </a:lnTo>
                      <a:lnTo>
                        <a:pt x="512" y="712"/>
                      </a:lnTo>
                      <a:lnTo>
                        <a:pt x="513" y="712"/>
                      </a:lnTo>
                      <a:lnTo>
                        <a:pt x="512" y="713"/>
                      </a:lnTo>
                      <a:lnTo>
                        <a:pt x="507" y="716"/>
                      </a:lnTo>
                      <a:lnTo>
                        <a:pt x="502" y="719"/>
                      </a:lnTo>
                      <a:lnTo>
                        <a:pt x="495" y="721"/>
                      </a:lnTo>
                      <a:lnTo>
                        <a:pt x="489" y="722"/>
                      </a:lnTo>
                      <a:lnTo>
                        <a:pt x="488" y="717"/>
                      </a:lnTo>
                      <a:lnTo>
                        <a:pt x="485" y="715"/>
                      </a:lnTo>
                      <a:lnTo>
                        <a:pt x="480" y="714"/>
                      </a:lnTo>
                      <a:lnTo>
                        <a:pt x="476" y="715"/>
                      </a:lnTo>
                      <a:lnTo>
                        <a:pt x="475" y="714"/>
                      </a:lnTo>
                      <a:lnTo>
                        <a:pt x="475" y="713"/>
                      </a:lnTo>
                      <a:lnTo>
                        <a:pt x="480" y="708"/>
                      </a:lnTo>
                      <a:lnTo>
                        <a:pt x="481" y="706"/>
                      </a:lnTo>
                      <a:lnTo>
                        <a:pt x="480" y="703"/>
                      </a:lnTo>
                      <a:lnTo>
                        <a:pt x="478" y="702"/>
                      </a:lnTo>
                      <a:lnTo>
                        <a:pt x="475" y="701"/>
                      </a:lnTo>
                      <a:lnTo>
                        <a:pt x="470" y="701"/>
                      </a:lnTo>
                      <a:lnTo>
                        <a:pt x="464" y="700"/>
                      </a:lnTo>
                      <a:lnTo>
                        <a:pt x="462" y="699"/>
                      </a:lnTo>
                      <a:lnTo>
                        <a:pt x="460" y="697"/>
                      </a:lnTo>
                      <a:lnTo>
                        <a:pt x="459" y="695"/>
                      </a:lnTo>
                      <a:lnTo>
                        <a:pt x="459" y="694"/>
                      </a:lnTo>
                      <a:lnTo>
                        <a:pt x="461" y="689"/>
                      </a:lnTo>
                      <a:lnTo>
                        <a:pt x="461" y="688"/>
                      </a:lnTo>
                      <a:lnTo>
                        <a:pt x="459" y="687"/>
                      </a:lnTo>
                      <a:lnTo>
                        <a:pt x="456" y="688"/>
                      </a:lnTo>
                      <a:lnTo>
                        <a:pt x="451" y="691"/>
                      </a:lnTo>
                      <a:lnTo>
                        <a:pt x="445" y="695"/>
                      </a:lnTo>
                      <a:lnTo>
                        <a:pt x="438" y="696"/>
                      </a:lnTo>
                      <a:lnTo>
                        <a:pt x="432" y="697"/>
                      </a:lnTo>
                      <a:lnTo>
                        <a:pt x="429" y="696"/>
                      </a:lnTo>
                      <a:lnTo>
                        <a:pt x="427" y="695"/>
                      </a:lnTo>
                      <a:lnTo>
                        <a:pt x="425" y="693"/>
                      </a:lnTo>
                      <a:lnTo>
                        <a:pt x="423" y="691"/>
                      </a:lnTo>
                      <a:lnTo>
                        <a:pt x="420" y="690"/>
                      </a:lnTo>
                      <a:lnTo>
                        <a:pt x="417" y="687"/>
                      </a:lnTo>
                      <a:lnTo>
                        <a:pt x="414" y="687"/>
                      </a:lnTo>
                      <a:lnTo>
                        <a:pt x="412" y="687"/>
                      </a:lnTo>
                      <a:lnTo>
                        <a:pt x="412" y="684"/>
                      </a:lnTo>
                      <a:lnTo>
                        <a:pt x="413" y="683"/>
                      </a:lnTo>
                      <a:lnTo>
                        <a:pt x="415" y="682"/>
                      </a:lnTo>
                      <a:lnTo>
                        <a:pt x="417" y="680"/>
                      </a:lnTo>
                      <a:lnTo>
                        <a:pt x="417" y="678"/>
                      </a:lnTo>
                      <a:lnTo>
                        <a:pt x="415" y="678"/>
                      </a:lnTo>
                      <a:lnTo>
                        <a:pt x="412" y="677"/>
                      </a:lnTo>
                      <a:lnTo>
                        <a:pt x="408" y="677"/>
                      </a:lnTo>
                      <a:lnTo>
                        <a:pt x="404" y="677"/>
                      </a:lnTo>
                      <a:lnTo>
                        <a:pt x="401" y="676"/>
                      </a:lnTo>
                      <a:lnTo>
                        <a:pt x="399" y="675"/>
                      </a:lnTo>
                      <a:lnTo>
                        <a:pt x="399" y="674"/>
                      </a:lnTo>
                      <a:lnTo>
                        <a:pt x="401" y="670"/>
                      </a:lnTo>
                      <a:lnTo>
                        <a:pt x="405" y="668"/>
                      </a:lnTo>
                      <a:lnTo>
                        <a:pt x="408" y="665"/>
                      </a:lnTo>
                      <a:lnTo>
                        <a:pt x="408" y="664"/>
                      </a:lnTo>
                      <a:lnTo>
                        <a:pt x="406" y="663"/>
                      </a:lnTo>
                      <a:lnTo>
                        <a:pt x="404" y="661"/>
                      </a:lnTo>
                      <a:lnTo>
                        <a:pt x="401" y="661"/>
                      </a:lnTo>
                      <a:lnTo>
                        <a:pt x="398" y="662"/>
                      </a:lnTo>
                      <a:lnTo>
                        <a:pt x="395" y="662"/>
                      </a:lnTo>
                      <a:lnTo>
                        <a:pt x="392" y="661"/>
                      </a:lnTo>
                      <a:lnTo>
                        <a:pt x="394" y="658"/>
                      </a:lnTo>
                      <a:lnTo>
                        <a:pt x="396" y="653"/>
                      </a:lnTo>
                      <a:lnTo>
                        <a:pt x="396" y="652"/>
                      </a:lnTo>
                      <a:lnTo>
                        <a:pt x="396" y="651"/>
                      </a:lnTo>
                      <a:lnTo>
                        <a:pt x="394" y="650"/>
                      </a:lnTo>
                      <a:lnTo>
                        <a:pt x="386" y="651"/>
                      </a:lnTo>
                      <a:lnTo>
                        <a:pt x="385" y="650"/>
                      </a:lnTo>
                      <a:lnTo>
                        <a:pt x="386" y="649"/>
                      </a:lnTo>
                      <a:lnTo>
                        <a:pt x="387" y="646"/>
                      </a:lnTo>
                      <a:lnTo>
                        <a:pt x="387" y="645"/>
                      </a:lnTo>
                      <a:lnTo>
                        <a:pt x="385" y="645"/>
                      </a:lnTo>
                      <a:lnTo>
                        <a:pt x="384" y="645"/>
                      </a:lnTo>
                      <a:lnTo>
                        <a:pt x="381" y="645"/>
                      </a:lnTo>
                      <a:lnTo>
                        <a:pt x="381" y="643"/>
                      </a:lnTo>
                      <a:lnTo>
                        <a:pt x="382" y="642"/>
                      </a:lnTo>
                      <a:lnTo>
                        <a:pt x="384" y="640"/>
                      </a:lnTo>
                      <a:lnTo>
                        <a:pt x="386" y="639"/>
                      </a:lnTo>
                      <a:lnTo>
                        <a:pt x="387" y="638"/>
                      </a:lnTo>
                      <a:lnTo>
                        <a:pt x="387" y="637"/>
                      </a:lnTo>
                      <a:lnTo>
                        <a:pt x="386" y="637"/>
                      </a:lnTo>
                      <a:lnTo>
                        <a:pt x="384" y="638"/>
                      </a:lnTo>
                      <a:lnTo>
                        <a:pt x="381" y="638"/>
                      </a:lnTo>
                      <a:lnTo>
                        <a:pt x="377" y="636"/>
                      </a:lnTo>
                      <a:lnTo>
                        <a:pt x="376" y="632"/>
                      </a:lnTo>
                      <a:lnTo>
                        <a:pt x="375" y="629"/>
                      </a:lnTo>
                      <a:lnTo>
                        <a:pt x="375" y="627"/>
                      </a:lnTo>
                      <a:lnTo>
                        <a:pt x="377" y="626"/>
                      </a:lnTo>
                      <a:lnTo>
                        <a:pt x="380" y="625"/>
                      </a:lnTo>
                      <a:lnTo>
                        <a:pt x="384" y="626"/>
                      </a:lnTo>
                      <a:lnTo>
                        <a:pt x="386" y="626"/>
                      </a:lnTo>
                      <a:lnTo>
                        <a:pt x="389" y="624"/>
                      </a:lnTo>
                      <a:lnTo>
                        <a:pt x="390" y="621"/>
                      </a:lnTo>
                      <a:lnTo>
                        <a:pt x="389" y="619"/>
                      </a:lnTo>
                      <a:lnTo>
                        <a:pt x="391" y="618"/>
                      </a:lnTo>
                      <a:lnTo>
                        <a:pt x="391" y="617"/>
                      </a:lnTo>
                      <a:lnTo>
                        <a:pt x="389" y="617"/>
                      </a:lnTo>
                      <a:lnTo>
                        <a:pt x="387" y="617"/>
                      </a:lnTo>
                      <a:lnTo>
                        <a:pt x="385" y="618"/>
                      </a:lnTo>
                      <a:lnTo>
                        <a:pt x="382" y="619"/>
                      </a:lnTo>
                      <a:lnTo>
                        <a:pt x="380" y="618"/>
                      </a:lnTo>
                      <a:lnTo>
                        <a:pt x="377" y="618"/>
                      </a:lnTo>
                      <a:lnTo>
                        <a:pt x="375" y="618"/>
                      </a:lnTo>
                      <a:lnTo>
                        <a:pt x="373" y="619"/>
                      </a:lnTo>
                      <a:lnTo>
                        <a:pt x="372" y="620"/>
                      </a:lnTo>
                      <a:lnTo>
                        <a:pt x="371" y="624"/>
                      </a:lnTo>
                      <a:lnTo>
                        <a:pt x="370" y="625"/>
                      </a:lnTo>
                      <a:lnTo>
                        <a:pt x="367" y="625"/>
                      </a:lnTo>
                      <a:lnTo>
                        <a:pt x="366" y="623"/>
                      </a:lnTo>
                      <a:lnTo>
                        <a:pt x="366" y="621"/>
                      </a:lnTo>
                      <a:lnTo>
                        <a:pt x="368" y="618"/>
                      </a:lnTo>
                      <a:lnTo>
                        <a:pt x="368" y="617"/>
                      </a:lnTo>
                      <a:lnTo>
                        <a:pt x="367" y="614"/>
                      </a:lnTo>
                      <a:lnTo>
                        <a:pt x="366" y="612"/>
                      </a:lnTo>
                      <a:lnTo>
                        <a:pt x="368" y="607"/>
                      </a:lnTo>
                      <a:lnTo>
                        <a:pt x="371" y="601"/>
                      </a:lnTo>
                      <a:lnTo>
                        <a:pt x="372" y="600"/>
                      </a:lnTo>
                      <a:lnTo>
                        <a:pt x="373" y="599"/>
                      </a:lnTo>
                      <a:lnTo>
                        <a:pt x="376" y="600"/>
                      </a:lnTo>
                      <a:lnTo>
                        <a:pt x="379" y="602"/>
                      </a:lnTo>
                      <a:lnTo>
                        <a:pt x="380" y="604"/>
                      </a:lnTo>
                      <a:lnTo>
                        <a:pt x="380" y="602"/>
                      </a:lnTo>
                      <a:lnTo>
                        <a:pt x="381" y="600"/>
                      </a:lnTo>
                      <a:lnTo>
                        <a:pt x="380" y="598"/>
                      </a:lnTo>
                      <a:lnTo>
                        <a:pt x="381" y="595"/>
                      </a:lnTo>
                      <a:lnTo>
                        <a:pt x="382" y="594"/>
                      </a:lnTo>
                      <a:lnTo>
                        <a:pt x="384" y="594"/>
                      </a:lnTo>
                      <a:lnTo>
                        <a:pt x="386" y="599"/>
                      </a:lnTo>
                      <a:lnTo>
                        <a:pt x="389" y="604"/>
                      </a:lnTo>
                      <a:lnTo>
                        <a:pt x="390" y="605"/>
                      </a:lnTo>
                      <a:lnTo>
                        <a:pt x="394" y="606"/>
                      </a:lnTo>
                      <a:lnTo>
                        <a:pt x="396" y="605"/>
                      </a:lnTo>
                      <a:lnTo>
                        <a:pt x="398" y="604"/>
                      </a:lnTo>
                      <a:lnTo>
                        <a:pt x="399" y="600"/>
                      </a:lnTo>
                      <a:lnTo>
                        <a:pt x="399" y="598"/>
                      </a:lnTo>
                      <a:lnTo>
                        <a:pt x="398" y="598"/>
                      </a:lnTo>
                      <a:lnTo>
                        <a:pt x="399" y="599"/>
                      </a:lnTo>
                      <a:lnTo>
                        <a:pt x="396" y="597"/>
                      </a:lnTo>
                      <a:lnTo>
                        <a:pt x="395" y="593"/>
                      </a:lnTo>
                      <a:lnTo>
                        <a:pt x="394" y="587"/>
                      </a:lnTo>
                      <a:lnTo>
                        <a:pt x="392" y="586"/>
                      </a:lnTo>
                      <a:lnTo>
                        <a:pt x="391" y="586"/>
                      </a:lnTo>
                      <a:lnTo>
                        <a:pt x="385" y="586"/>
                      </a:lnTo>
                      <a:lnTo>
                        <a:pt x="382" y="586"/>
                      </a:lnTo>
                      <a:lnTo>
                        <a:pt x="381" y="584"/>
                      </a:lnTo>
                      <a:lnTo>
                        <a:pt x="380" y="584"/>
                      </a:lnTo>
                      <a:lnTo>
                        <a:pt x="379" y="584"/>
                      </a:lnTo>
                      <a:lnTo>
                        <a:pt x="377" y="585"/>
                      </a:lnTo>
                      <a:lnTo>
                        <a:pt x="376" y="587"/>
                      </a:lnTo>
                      <a:lnTo>
                        <a:pt x="375" y="589"/>
                      </a:lnTo>
                      <a:lnTo>
                        <a:pt x="373" y="589"/>
                      </a:lnTo>
                      <a:lnTo>
                        <a:pt x="372" y="588"/>
                      </a:lnTo>
                      <a:lnTo>
                        <a:pt x="370" y="588"/>
                      </a:lnTo>
                      <a:lnTo>
                        <a:pt x="368" y="588"/>
                      </a:lnTo>
                      <a:lnTo>
                        <a:pt x="366" y="591"/>
                      </a:lnTo>
                      <a:lnTo>
                        <a:pt x="363" y="594"/>
                      </a:lnTo>
                      <a:lnTo>
                        <a:pt x="362" y="597"/>
                      </a:lnTo>
                      <a:lnTo>
                        <a:pt x="358" y="599"/>
                      </a:lnTo>
                      <a:lnTo>
                        <a:pt x="357" y="601"/>
                      </a:lnTo>
                      <a:lnTo>
                        <a:pt x="356" y="602"/>
                      </a:lnTo>
                      <a:lnTo>
                        <a:pt x="354" y="602"/>
                      </a:lnTo>
                      <a:lnTo>
                        <a:pt x="353" y="599"/>
                      </a:lnTo>
                      <a:lnTo>
                        <a:pt x="356" y="592"/>
                      </a:lnTo>
                      <a:lnTo>
                        <a:pt x="357" y="586"/>
                      </a:lnTo>
                      <a:lnTo>
                        <a:pt x="357" y="579"/>
                      </a:lnTo>
                      <a:lnTo>
                        <a:pt x="356" y="572"/>
                      </a:lnTo>
                      <a:lnTo>
                        <a:pt x="357" y="572"/>
                      </a:lnTo>
                      <a:lnTo>
                        <a:pt x="359" y="570"/>
                      </a:lnTo>
                      <a:lnTo>
                        <a:pt x="362" y="568"/>
                      </a:lnTo>
                      <a:lnTo>
                        <a:pt x="365" y="566"/>
                      </a:lnTo>
                      <a:lnTo>
                        <a:pt x="367" y="562"/>
                      </a:lnTo>
                      <a:lnTo>
                        <a:pt x="370" y="559"/>
                      </a:lnTo>
                      <a:lnTo>
                        <a:pt x="371" y="557"/>
                      </a:lnTo>
                      <a:lnTo>
                        <a:pt x="366" y="556"/>
                      </a:lnTo>
                      <a:lnTo>
                        <a:pt x="363" y="556"/>
                      </a:lnTo>
                      <a:lnTo>
                        <a:pt x="359" y="559"/>
                      </a:lnTo>
                      <a:lnTo>
                        <a:pt x="357" y="561"/>
                      </a:lnTo>
                      <a:lnTo>
                        <a:pt x="353" y="567"/>
                      </a:lnTo>
                      <a:lnTo>
                        <a:pt x="347" y="572"/>
                      </a:lnTo>
                      <a:lnTo>
                        <a:pt x="345" y="573"/>
                      </a:lnTo>
                      <a:lnTo>
                        <a:pt x="343" y="573"/>
                      </a:lnTo>
                      <a:lnTo>
                        <a:pt x="340" y="572"/>
                      </a:lnTo>
                      <a:lnTo>
                        <a:pt x="339" y="570"/>
                      </a:lnTo>
                      <a:lnTo>
                        <a:pt x="338" y="562"/>
                      </a:lnTo>
                      <a:lnTo>
                        <a:pt x="338" y="559"/>
                      </a:lnTo>
                      <a:lnTo>
                        <a:pt x="339" y="557"/>
                      </a:lnTo>
                      <a:lnTo>
                        <a:pt x="342" y="556"/>
                      </a:lnTo>
                      <a:lnTo>
                        <a:pt x="347" y="555"/>
                      </a:lnTo>
                      <a:lnTo>
                        <a:pt x="349" y="554"/>
                      </a:lnTo>
                      <a:lnTo>
                        <a:pt x="349" y="553"/>
                      </a:lnTo>
                      <a:lnTo>
                        <a:pt x="345" y="552"/>
                      </a:lnTo>
                      <a:lnTo>
                        <a:pt x="342" y="552"/>
                      </a:lnTo>
                      <a:lnTo>
                        <a:pt x="337" y="552"/>
                      </a:lnTo>
                      <a:lnTo>
                        <a:pt x="335" y="550"/>
                      </a:lnTo>
                      <a:lnTo>
                        <a:pt x="334" y="548"/>
                      </a:lnTo>
                      <a:lnTo>
                        <a:pt x="333" y="547"/>
                      </a:lnTo>
                      <a:lnTo>
                        <a:pt x="333" y="544"/>
                      </a:lnTo>
                      <a:lnTo>
                        <a:pt x="337" y="542"/>
                      </a:lnTo>
                      <a:lnTo>
                        <a:pt x="339" y="542"/>
                      </a:lnTo>
                      <a:lnTo>
                        <a:pt x="342" y="542"/>
                      </a:lnTo>
                      <a:lnTo>
                        <a:pt x="347" y="542"/>
                      </a:lnTo>
                      <a:lnTo>
                        <a:pt x="347" y="541"/>
                      </a:lnTo>
                      <a:lnTo>
                        <a:pt x="347" y="540"/>
                      </a:lnTo>
                      <a:lnTo>
                        <a:pt x="344" y="537"/>
                      </a:lnTo>
                      <a:lnTo>
                        <a:pt x="343" y="535"/>
                      </a:lnTo>
                      <a:lnTo>
                        <a:pt x="342" y="529"/>
                      </a:lnTo>
                      <a:lnTo>
                        <a:pt x="340" y="528"/>
                      </a:lnTo>
                      <a:lnTo>
                        <a:pt x="339" y="529"/>
                      </a:lnTo>
                      <a:lnTo>
                        <a:pt x="337" y="530"/>
                      </a:lnTo>
                      <a:lnTo>
                        <a:pt x="334" y="529"/>
                      </a:lnTo>
                      <a:lnTo>
                        <a:pt x="333" y="528"/>
                      </a:lnTo>
                      <a:lnTo>
                        <a:pt x="333" y="527"/>
                      </a:lnTo>
                      <a:lnTo>
                        <a:pt x="334" y="525"/>
                      </a:lnTo>
                      <a:lnTo>
                        <a:pt x="340" y="522"/>
                      </a:lnTo>
                      <a:lnTo>
                        <a:pt x="340" y="521"/>
                      </a:lnTo>
                      <a:lnTo>
                        <a:pt x="339" y="520"/>
                      </a:lnTo>
                      <a:lnTo>
                        <a:pt x="337" y="520"/>
                      </a:lnTo>
                      <a:lnTo>
                        <a:pt x="334" y="521"/>
                      </a:lnTo>
                      <a:lnTo>
                        <a:pt x="332" y="521"/>
                      </a:lnTo>
                      <a:lnTo>
                        <a:pt x="330" y="521"/>
                      </a:lnTo>
                      <a:lnTo>
                        <a:pt x="332" y="518"/>
                      </a:lnTo>
                      <a:lnTo>
                        <a:pt x="333" y="517"/>
                      </a:lnTo>
                      <a:lnTo>
                        <a:pt x="339" y="515"/>
                      </a:lnTo>
                      <a:lnTo>
                        <a:pt x="345" y="514"/>
                      </a:lnTo>
                      <a:lnTo>
                        <a:pt x="352" y="512"/>
                      </a:lnTo>
                      <a:lnTo>
                        <a:pt x="352" y="514"/>
                      </a:lnTo>
                      <a:lnTo>
                        <a:pt x="353" y="515"/>
                      </a:lnTo>
                      <a:lnTo>
                        <a:pt x="357" y="515"/>
                      </a:lnTo>
                      <a:lnTo>
                        <a:pt x="359" y="514"/>
                      </a:lnTo>
                      <a:lnTo>
                        <a:pt x="361" y="512"/>
                      </a:lnTo>
                      <a:lnTo>
                        <a:pt x="365" y="516"/>
                      </a:lnTo>
                      <a:lnTo>
                        <a:pt x="370" y="518"/>
                      </a:lnTo>
                      <a:lnTo>
                        <a:pt x="375" y="520"/>
                      </a:lnTo>
                      <a:lnTo>
                        <a:pt x="377" y="518"/>
                      </a:lnTo>
                      <a:lnTo>
                        <a:pt x="379" y="517"/>
                      </a:lnTo>
                      <a:lnTo>
                        <a:pt x="380" y="516"/>
                      </a:lnTo>
                      <a:lnTo>
                        <a:pt x="380" y="514"/>
                      </a:lnTo>
                      <a:lnTo>
                        <a:pt x="379" y="510"/>
                      </a:lnTo>
                      <a:lnTo>
                        <a:pt x="379" y="506"/>
                      </a:lnTo>
                      <a:lnTo>
                        <a:pt x="379" y="505"/>
                      </a:lnTo>
                      <a:lnTo>
                        <a:pt x="380" y="504"/>
                      </a:lnTo>
                      <a:lnTo>
                        <a:pt x="379" y="503"/>
                      </a:lnTo>
                      <a:lnTo>
                        <a:pt x="377" y="503"/>
                      </a:lnTo>
                      <a:lnTo>
                        <a:pt x="373" y="503"/>
                      </a:lnTo>
                      <a:lnTo>
                        <a:pt x="372" y="503"/>
                      </a:lnTo>
                      <a:lnTo>
                        <a:pt x="370" y="501"/>
                      </a:lnTo>
                      <a:lnTo>
                        <a:pt x="368" y="499"/>
                      </a:lnTo>
                      <a:lnTo>
                        <a:pt x="366" y="499"/>
                      </a:lnTo>
                      <a:lnTo>
                        <a:pt x="365" y="501"/>
                      </a:lnTo>
                      <a:lnTo>
                        <a:pt x="365" y="503"/>
                      </a:lnTo>
                      <a:lnTo>
                        <a:pt x="363" y="505"/>
                      </a:lnTo>
                      <a:lnTo>
                        <a:pt x="362" y="506"/>
                      </a:lnTo>
                      <a:lnTo>
                        <a:pt x="358" y="508"/>
                      </a:lnTo>
                      <a:lnTo>
                        <a:pt x="354" y="506"/>
                      </a:lnTo>
                      <a:lnTo>
                        <a:pt x="351" y="505"/>
                      </a:lnTo>
                      <a:lnTo>
                        <a:pt x="347" y="504"/>
                      </a:lnTo>
                      <a:lnTo>
                        <a:pt x="343" y="504"/>
                      </a:lnTo>
                      <a:lnTo>
                        <a:pt x="338" y="506"/>
                      </a:lnTo>
                      <a:lnTo>
                        <a:pt x="335" y="506"/>
                      </a:lnTo>
                      <a:lnTo>
                        <a:pt x="333" y="509"/>
                      </a:lnTo>
                      <a:lnTo>
                        <a:pt x="332" y="510"/>
                      </a:lnTo>
                      <a:lnTo>
                        <a:pt x="328" y="511"/>
                      </a:lnTo>
                      <a:lnTo>
                        <a:pt x="328" y="509"/>
                      </a:lnTo>
                      <a:lnTo>
                        <a:pt x="329" y="508"/>
                      </a:lnTo>
                      <a:lnTo>
                        <a:pt x="333" y="504"/>
                      </a:lnTo>
                      <a:lnTo>
                        <a:pt x="342" y="499"/>
                      </a:lnTo>
                      <a:lnTo>
                        <a:pt x="343" y="498"/>
                      </a:lnTo>
                      <a:lnTo>
                        <a:pt x="343" y="497"/>
                      </a:lnTo>
                      <a:lnTo>
                        <a:pt x="344" y="493"/>
                      </a:lnTo>
                      <a:lnTo>
                        <a:pt x="348" y="489"/>
                      </a:lnTo>
                      <a:lnTo>
                        <a:pt x="349" y="486"/>
                      </a:lnTo>
                      <a:lnTo>
                        <a:pt x="352" y="485"/>
                      </a:lnTo>
                      <a:lnTo>
                        <a:pt x="354" y="485"/>
                      </a:lnTo>
                      <a:lnTo>
                        <a:pt x="356" y="486"/>
                      </a:lnTo>
                      <a:lnTo>
                        <a:pt x="357" y="489"/>
                      </a:lnTo>
                      <a:lnTo>
                        <a:pt x="358" y="490"/>
                      </a:lnTo>
                      <a:lnTo>
                        <a:pt x="359" y="490"/>
                      </a:lnTo>
                      <a:lnTo>
                        <a:pt x="361" y="490"/>
                      </a:lnTo>
                      <a:lnTo>
                        <a:pt x="363" y="489"/>
                      </a:lnTo>
                      <a:lnTo>
                        <a:pt x="367" y="486"/>
                      </a:lnTo>
                      <a:lnTo>
                        <a:pt x="371" y="486"/>
                      </a:lnTo>
                      <a:lnTo>
                        <a:pt x="373" y="486"/>
                      </a:lnTo>
                      <a:lnTo>
                        <a:pt x="375" y="486"/>
                      </a:lnTo>
                      <a:lnTo>
                        <a:pt x="376" y="484"/>
                      </a:lnTo>
                      <a:lnTo>
                        <a:pt x="376" y="483"/>
                      </a:lnTo>
                      <a:lnTo>
                        <a:pt x="375" y="479"/>
                      </a:lnTo>
                      <a:lnTo>
                        <a:pt x="373" y="476"/>
                      </a:lnTo>
                      <a:lnTo>
                        <a:pt x="373" y="473"/>
                      </a:lnTo>
                      <a:lnTo>
                        <a:pt x="375" y="472"/>
                      </a:lnTo>
                      <a:lnTo>
                        <a:pt x="376" y="472"/>
                      </a:lnTo>
                      <a:lnTo>
                        <a:pt x="379" y="474"/>
                      </a:lnTo>
                      <a:lnTo>
                        <a:pt x="381" y="477"/>
                      </a:lnTo>
                      <a:lnTo>
                        <a:pt x="384" y="480"/>
                      </a:lnTo>
                      <a:lnTo>
                        <a:pt x="385" y="482"/>
                      </a:lnTo>
                      <a:lnTo>
                        <a:pt x="386" y="482"/>
                      </a:lnTo>
                      <a:lnTo>
                        <a:pt x="389" y="480"/>
                      </a:lnTo>
                      <a:lnTo>
                        <a:pt x="389" y="479"/>
                      </a:lnTo>
                      <a:lnTo>
                        <a:pt x="390" y="473"/>
                      </a:lnTo>
                      <a:lnTo>
                        <a:pt x="390" y="470"/>
                      </a:lnTo>
                      <a:lnTo>
                        <a:pt x="389" y="467"/>
                      </a:lnTo>
                      <a:lnTo>
                        <a:pt x="386" y="465"/>
                      </a:lnTo>
                      <a:lnTo>
                        <a:pt x="382" y="464"/>
                      </a:lnTo>
                      <a:lnTo>
                        <a:pt x="379" y="464"/>
                      </a:lnTo>
                      <a:lnTo>
                        <a:pt x="376" y="465"/>
                      </a:lnTo>
                      <a:lnTo>
                        <a:pt x="375" y="463"/>
                      </a:lnTo>
                      <a:lnTo>
                        <a:pt x="382" y="459"/>
                      </a:lnTo>
                      <a:lnTo>
                        <a:pt x="387" y="455"/>
                      </a:lnTo>
                      <a:lnTo>
                        <a:pt x="389" y="453"/>
                      </a:lnTo>
                      <a:lnTo>
                        <a:pt x="390" y="451"/>
                      </a:lnTo>
                      <a:lnTo>
                        <a:pt x="389" y="447"/>
                      </a:lnTo>
                      <a:lnTo>
                        <a:pt x="386" y="444"/>
                      </a:lnTo>
                      <a:lnTo>
                        <a:pt x="386" y="441"/>
                      </a:lnTo>
                      <a:lnTo>
                        <a:pt x="386" y="440"/>
                      </a:lnTo>
                      <a:lnTo>
                        <a:pt x="385" y="435"/>
                      </a:lnTo>
                      <a:lnTo>
                        <a:pt x="381" y="431"/>
                      </a:lnTo>
                      <a:lnTo>
                        <a:pt x="379" y="428"/>
                      </a:lnTo>
                      <a:lnTo>
                        <a:pt x="379" y="426"/>
                      </a:lnTo>
                      <a:lnTo>
                        <a:pt x="380" y="422"/>
                      </a:lnTo>
                      <a:lnTo>
                        <a:pt x="380" y="420"/>
                      </a:lnTo>
                      <a:lnTo>
                        <a:pt x="375" y="414"/>
                      </a:lnTo>
                      <a:lnTo>
                        <a:pt x="370" y="407"/>
                      </a:lnTo>
                      <a:lnTo>
                        <a:pt x="368" y="406"/>
                      </a:lnTo>
                      <a:lnTo>
                        <a:pt x="366" y="405"/>
                      </a:lnTo>
                      <a:lnTo>
                        <a:pt x="359" y="405"/>
                      </a:lnTo>
                      <a:lnTo>
                        <a:pt x="344" y="407"/>
                      </a:lnTo>
                      <a:lnTo>
                        <a:pt x="345" y="405"/>
                      </a:lnTo>
                      <a:lnTo>
                        <a:pt x="348" y="403"/>
                      </a:lnTo>
                      <a:lnTo>
                        <a:pt x="353" y="401"/>
                      </a:lnTo>
                      <a:lnTo>
                        <a:pt x="354" y="401"/>
                      </a:lnTo>
                      <a:lnTo>
                        <a:pt x="356" y="399"/>
                      </a:lnTo>
                      <a:lnTo>
                        <a:pt x="356" y="397"/>
                      </a:lnTo>
                      <a:lnTo>
                        <a:pt x="354" y="395"/>
                      </a:lnTo>
                      <a:lnTo>
                        <a:pt x="344" y="388"/>
                      </a:lnTo>
                      <a:lnTo>
                        <a:pt x="340" y="384"/>
                      </a:lnTo>
                      <a:lnTo>
                        <a:pt x="339" y="381"/>
                      </a:lnTo>
                      <a:lnTo>
                        <a:pt x="338" y="378"/>
                      </a:lnTo>
                      <a:lnTo>
                        <a:pt x="338" y="377"/>
                      </a:lnTo>
                      <a:lnTo>
                        <a:pt x="337" y="377"/>
                      </a:lnTo>
                      <a:lnTo>
                        <a:pt x="334" y="380"/>
                      </a:lnTo>
                      <a:lnTo>
                        <a:pt x="333" y="383"/>
                      </a:lnTo>
                      <a:lnTo>
                        <a:pt x="332" y="386"/>
                      </a:lnTo>
                      <a:lnTo>
                        <a:pt x="329" y="388"/>
                      </a:lnTo>
                      <a:lnTo>
                        <a:pt x="326" y="391"/>
                      </a:lnTo>
                      <a:lnTo>
                        <a:pt x="326" y="395"/>
                      </a:lnTo>
                      <a:lnTo>
                        <a:pt x="325" y="400"/>
                      </a:lnTo>
                      <a:lnTo>
                        <a:pt x="324" y="403"/>
                      </a:lnTo>
                      <a:lnTo>
                        <a:pt x="321" y="406"/>
                      </a:lnTo>
                      <a:lnTo>
                        <a:pt x="320" y="407"/>
                      </a:lnTo>
                      <a:lnTo>
                        <a:pt x="318" y="407"/>
                      </a:lnTo>
                      <a:lnTo>
                        <a:pt x="316" y="406"/>
                      </a:lnTo>
                      <a:lnTo>
                        <a:pt x="315" y="403"/>
                      </a:lnTo>
                      <a:lnTo>
                        <a:pt x="315" y="401"/>
                      </a:lnTo>
                      <a:lnTo>
                        <a:pt x="312" y="400"/>
                      </a:lnTo>
                      <a:lnTo>
                        <a:pt x="311" y="400"/>
                      </a:lnTo>
                      <a:lnTo>
                        <a:pt x="307" y="403"/>
                      </a:lnTo>
                      <a:lnTo>
                        <a:pt x="305" y="405"/>
                      </a:lnTo>
                      <a:lnTo>
                        <a:pt x="302" y="403"/>
                      </a:lnTo>
                      <a:lnTo>
                        <a:pt x="297" y="399"/>
                      </a:lnTo>
                      <a:lnTo>
                        <a:pt x="296" y="396"/>
                      </a:lnTo>
                      <a:lnTo>
                        <a:pt x="295" y="394"/>
                      </a:lnTo>
                      <a:lnTo>
                        <a:pt x="296" y="393"/>
                      </a:lnTo>
                      <a:lnTo>
                        <a:pt x="299" y="391"/>
                      </a:lnTo>
                      <a:lnTo>
                        <a:pt x="300" y="390"/>
                      </a:lnTo>
                      <a:lnTo>
                        <a:pt x="300" y="389"/>
                      </a:lnTo>
                      <a:lnTo>
                        <a:pt x="299" y="386"/>
                      </a:lnTo>
                      <a:lnTo>
                        <a:pt x="297" y="382"/>
                      </a:lnTo>
                      <a:lnTo>
                        <a:pt x="297" y="377"/>
                      </a:lnTo>
                      <a:lnTo>
                        <a:pt x="299" y="371"/>
                      </a:lnTo>
                      <a:lnTo>
                        <a:pt x="299" y="365"/>
                      </a:lnTo>
                      <a:lnTo>
                        <a:pt x="297" y="363"/>
                      </a:lnTo>
                      <a:lnTo>
                        <a:pt x="295" y="361"/>
                      </a:lnTo>
                      <a:lnTo>
                        <a:pt x="295" y="359"/>
                      </a:lnTo>
                      <a:lnTo>
                        <a:pt x="296" y="357"/>
                      </a:lnTo>
                      <a:lnTo>
                        <a:pt x="301" y="355"/>
                      </a:lnTo>
                      <a:lnTo>
                        <a:pt x="302" y="352"/>
                      </a:lnTo>
                      <a:lnTo>
                        <a:pt x="302" y="351"/>
                      </a:lnTo>
                      <a:lnTo>
                        <a:pt x="302" y="350"/>
                      </a:lnTo>
                      <a:lnTo>
                        <a:pt x="295" y="339"/>
                      </a:lnTo>
                      <a:lnTo>
                        <a:pt x="288" y="329"/>
                      </a:lnTo>
                      <a:lnTo>
                        <a:pt x="287" y="329"/>
                      </a:lnTo>
                      <a:lnTo>
                        <a:pt x="285" y="329"/>
                      </a:lnTo>
                      <a:lnTo>
                        <a:pt x="282" y="329"/>
                      </a:lnTo>
                      <a:lnTo>
                        <a:pt x="281" y="327"/>
                      </a:lnTo>
                      <a:lnTo>
                        <a:pt x="279" y="326"/>
                      </a:lnTo>
                      <a:lnTo>
                        <a:pt x="279" y="325"/>
                      </a:lnTo>
                      <a:lnTo>
                        <a:pt x="282" y="322"/>
                      </a:lnTo>
                      <a:lnTo>
                        <a:pt x="283" y="320"/>
                      </a:lnTo>
                      <a:lnTo>
                        <a:pt x="285" y="318"/>
                      </a:lnTo>
                      <a:lnTo>
                        <a:pt x="283" y="316"/>
                      </a:lnTo>
                      <a:lnTo>
                        <a:pt x="282" y="316"/>
                      </a:lnTo>
                      <a:lnTo>
                        <a:pt x="279" y="314"/>
                      </a:lnTo>
                      <a:lnTo>
                        <a:pt x="278" y="314"/>
                      </a:lnTo>
                      <a:lnTo>
                        <a:pt x="278" y="312"/>
                      </a:lnTo>
                      <a:lnTo>
                        <a:pt x="278" y="310"/>
                      </a:lnTo>
                      <a:lnTo>
                        <a:pt x="281" y="307"/>
                      </a:lnTo>
                      <a:lnTo>
                        <a:pt x="283" y="306"/>
                      </a:lnTo>
                      <a:lnTo>
                        <a:pt x="286" y="305"/>
                      </a:lnTo>
                      <a:lnTo>
                        <a:pt x="286" y="301"/>
                      </a:lnTo>
                      <a:lnTo>
                        <a:pt x="286" y="300"/>
                      </a:lnTo>
                      <a:lnTo>
                        <a:pt x="285" y="300"/>
                      </a:lnTo>
                      <a:lnTo>
                        <a:pt x="281" y="300"/>
                      </a:lnTo>
                      <a:lnTo>
                        <a:pt x="279" y="301"/>
                      </a:lnTo>
                      <a:lnTo>
                        <a:pt x="277" y="303"/>
                      </a:lnTo>
                      <a:lnTo>
                        <a:pt x="274" y="303"/>
                      </a:lnTo>
                      <a:lnTo>
                        <a:pt x="272" y="301"/>
                      </a:lnTo>
                      <a:lnTo>
                        <a:pt x="269" y="300"/>
                      </a:lnTo>
                      <a:lnTo>
                        <a:pt x="267" y="301"/>
                      </a:lnTo>
                      <a:lnTo>
                        <a:pt x="263" y="303"/>
                      </a:lnTo>
                      <a:lnTo>
                        <a:pt x="259" y="303"/>
                      </a:lnTo>
                      <a:lnTo>
                        <a:pt x="257" y="303"/>
                      </a:lnTo>
                      <a:lnTo>
                        <a:pt x="254" y="300"/>
                      </a:lnTo>
                      <a:lnTo>
                        <a:pt x="252" y="292"/>
                      </a:lnTo>
                      <a:lnTo>
                        <a:pt x="252" y="290"/>
                      </a:lnTo>
                      <a:lnTo>
                        <a:pt x="250" y="287"/>
                      </a:lnTo>
                      <a:lnTo>
                        <a:pt x="246" y="284"/>
                      </a:lnTo>
                      <a:lnTo>
                        <a:pt x="244" y="282"/>
                      </a:lnTo>
                      <a:lnTo>
                        <a:pt x="241" y="282"/>
                      </a:lnTo>
                      <a:lnTo>
                        <a:pt x="238" y="280"/>
                      </a:lnTo>
                      <a:lnTo>
                        <a:pt x="236" y="279"/>
                      </a:lnTo>
                      <a:lnTo>
                        <a:pt x="236" y="278"/>
                      </a:lnTo>
                      <a:lnTo>
                        <a:pt x="236" y="274"/>
                      </a:lnTo>
                      <a:lnTo>
                        <a:pt x="235" y="272"/>
                      </a:lnTo>
                      <a:lnTo>
                        <a:pt x="232" y="272"/>
                      </a:lnTo>
                      <a:lnTo>
                        <a:pt x="229" y="271"/>
                      </a:lnTo>
                      <a:lnTo>
                        <a:pt x="224" y="272"/>
                      </a:lnTo>
                      <a:lnTo>
                        <a:pt x="219" y="272"/>
                      </a:lnTo>
                      <a:lnTo>
                        <a:pt x="216" y="272"/>
                      </a:lnTo>
                      <a:lnTo>
                        <a:pt x="213" y="269"/>
                      </a:lnTo>
                      <a:lnTo>
                        <a:pt x="211" y="263"/>
                      </a:lnTo>
                      <a:lnTo>
                        <a:pt x="210" y="261"/>
                      </a:lnTo>
                      <a:lnTo>
                        <a:pt x="208" y="260"/>
                      </a:lnTo>
                      <a:lnTo>
                        <a:pt x="207" y="260"/>
                      </a:lnTo>
                      <a:lnTo>
                        <a:pt x="206" y="260"/>
                      </a:lnTo>
                      <a:lnTo>
                        <a:pt x="202" y="263"/>
                      </a:lnTo>
                      <a:lnTo>
                        <a:pt x="199" y="266"/>
                      </a:lnTo>
                      <a:lnTo>
                        <a:pt x="196" y="267"/>
                      </a:lnTo>
                      <a:lnTo>
                        <a:pt x="191" y="267"/>
                      </a:lnTo>
                      <a:lnTo>
                        <a:pt x="188" y="266"/>
                      </a:lnTo>
                      <a:lnTo>
                        <a:pt x="187" y="263"/>
                      </a:lnTo>
                      <a:lnTo>
                        <a:pt x="183" y="257"/>
                      </a:lnTo>
                      <a:lnTo>
                        <a:pt x="182" y="256"/>
                      </a:lnTo>
                      <a:lnTo>
                        <a:pt x="180" y="255"/>
                      </a:lnTo>
                      <a:lnTo>
                        <a:pt x="177" y="256"/>
                      </a:lnTo>
                      <a:lnTo>
                        <a:pt x="172" y="255"/>
                      </a:lnTo>
                      <a:lnTo>
                        <a:pt x="169" y="254"/>
                      </a:lnTo>
                      <a:lnTo>
                        <a:pt x="165" y="250"/>
                      </a:lnTo>
                      <a:lnTo>
                        <a:pt x="164" y="249"/>
                      </a:lnTo>
                      <a:lnTo>
                        <a:pt x="161" y="250"/>
                      </a:lnTo>
                      <a:lnTo>
                        <a:pt x="156" y="253"/>
                      </a:lnTo>
                      <a:lnTo>
                        <a:pt x="154" y="255"/>
                      </a:lnTo>
                      <a:lnTo>
                        <a:pt x="149" y="256"/>
                      </a:lnTo>
                      <a:lnTo>
                        <a:pt x="147" y="256"/>
                      </a:lnTo>
                      <a:lnTo>
                        <a:pt x="145" y="25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5" name="Freeform 524"/>
                <p:cNvSpPr>
                  <a:spLocks/>
                </p:cNvSpPr>
                <p:nvPr/>
              </p:nvSpPr>
              <p:spPr bwMode="auto">
                <a:xfrm>
                  <a:off x="2911908" y="1643823"/>
                  <a:ext cx="1422157" cy="1068468"/>
                </a:xfrm>
                <a:custGeom>
                  <a:avLst/>
                  <a:gdLst>
                    <a:gd name="T0" fmla="*/ 2147483647 w 1041"/>
                    <a:gd name="T1" fmla="*/ 2147483647 h 722"/>
                    <a:gd name="T2" fmla="*/ 2147483647 w 1041"/>
                    <a:gd name="T3" fmla="*/ 2147483647 h 722"/>
                    <a:gd name="T4" fmla="*/ 2147483647 w 1041"/>
                    <a:gd name="T5" fmla="*/ 2147483647 h 722"/>
                    <a:gd name="T6" fmla="*/ 2147483647 w 1041"/>
                    <a:gd name="T7" fmla="*/ 2147483647 h 722"/>
                    <a:gd name="T8" fmla="*/ 2147483647 w 1041"/>
                    <a:gd name="T9" fmla="*/ 2147483647 h 722"/>
                    <a:gd name="T10" fmla="*/ 2147483647 w 1041"/>
                    <a:gd name="T11" fmla="*/ 2147483647 h 722"/>
                    <a:gd name="T12" fmla="*/ 2147483647 w 1041"/>
                    <a:gd name="T13" fmla="*/ 2147483647 h 722"/>
                    <a:gd name="T14" fmla="*/ 2147483647 w 1041"/>
                    <a:gd name="T15" fmla="*/ 2147483647 h 722"/>
                    <a:gd name="T16" fmla="*/ 2147483647 w 1041"/>
                    <a:gd name="T17" fmla="*/ 2147483647 h 722"/>
                    <a:gd name="T18" fmla="*/ 2147483647 w 1041"/>
                    <a:gd name="T19" fmla="*/ 2147483647 h 722"/>
                    <a:gd name="T20" fmla="*/ 2147483647 w 1041"/>
                    <a:gd name="T21" fmla="*/ 2147483647 h 722"/>
                    <a:gd name="T22" fmla="*/ 2147483647 w 1041"/>
                    <a:gd name="T23" fmla="*/ 2147483647 h 722"/>
                    <a:gd name="T24" fmla="*/ 2147483647 w 1041"/>
                    <a:gd name="T25" fmla="*/ 2147483647 h 722"/>
                    <a:gd name="T26" fmla="*/ 2147483647 w 1041"/>
                    <a:gd name="T27" fmla="*/ 2147483647 h 722"/>
                    <a:gd name="T28" fmla="*/ 2147483647 w 1041"/>
                    <a:gd name="T29" fmla="*/ 2147483647 h 722"/>
                    <a:gd name="T30" fmla="*/ 2147483647 w 1041"/>
                    <a:gd name="T31" fmla="*/ 2147483647 h 722"/>
                    <a:gd name="T32" fmla="*/ 2147483647 w 1041"/>
                    <a:gd name="T33" fmla="*/ 0 h 722"/>
                    <a:gd name="T34" fmla="*/ 2147483647 w 1041"/>
                    <a:gd name="T35" fmla="*/ 2147483647 h 722"/>
                    <a:gd name="T36" fmla="*/ 2147483647 w 1041"/>
                    <a:gd name="T37" fmla="*/ 2147483647 h 722"/>
                    <a:gd name="T38" fmla="*/ 2147483647 w 1041"/>
                    <a:gd name="T39" fmla="*/ 2147483647 h 722"/>
                    <a:gd name="T40" fmla="*/ 2147483647 w 1041"/>
                    <a:gd name="T41" fmla="*/ 2147483647 h 722"/>
                    <a:gd name="T42" fmla="*/ 2147483647 w 1041"/>
                    <a:gd name="T43" fmla="*/ 2147483647 h 722"/>
                    <a:gd name="T44" fmla="*/ 2147483647 w 1041"/>
                    <a:gd name="T45" fmla="*/ 2147483647 h 722"/>
                    <a:gd name="T46" fmla="*/ 2147483647 w 1041"/>
                    <a:gd name="T47" fmla="*/ 2147483647 h 722"/>
                    <a:gd name="T48" fmla="*/ 2147483647 w 1041"/>
                    <a:gd name="T49" fmla="*/ 2147483647 h 722"/>
                    <a:gd name="T50" fmla="*/ 2147483647 w 1041"/>
                    <a:gd name="T51" fmla="*/ 2147483647 h 722"/>
                    <a:gd name="T52" fmla="*/ 2147483647 w 1041"/>
                    <a:gd name="T53" fmla="*/ 2147483647 h 722"/>
                    <a:gd name="T54" fmla="*/ 2147483647 w 1041"/>
                    <a:gd name="T55" fmla="*/ 2147483647 h 722"/>
                    <a:gd name="T56" fmla="*/ 2147483647 w 1041"/>
                    <a:gd name="T57" fmla="*/ 2147483647 h 722"/>
                    <a:gd name="T58" fmla="*/ 2147483647 w 1041"/>
                    <a:gd name="T59" fmla="*/ 2147483647 h 722"/>
                    <a:gd name="T60" fmla="*/ 2147483647 w 1041"/>
                    <a:gd name="T61" fmla="*/ 2147483647 h 722"/>
                    <a:gd name="T62" fmla="*/ 2147483647 w 1041"/>
                    <a:gd name="T63" fmla="*/ 2147483647 h 722"/>
                    <a:gd name="T64" fmla="*/ 2147483647 w 1041"/>
                    <a:gd name="T65" fmla="*/ 2147483647 h 722"/>
                    <a:gd name="T66" fmla="*/ 2147483647 w 1041"/>
                    <a:gd name="T67" fmla="*/ 2147483647 h 722"/>
                    <a:gd name="T68" fmla="*/ 2147483647 w 1041"/>
                    <a:gd name="T69" fmla="*/ 2147483647 h 722"/>
                    <a:gd name="T70" fmla="*/ 2147483647 w 1041"/>
                    <a:gd name="T71" fmla="*/ 2147483647 h 722"/>
                    <a:gd name="T72" fmla="*/ 2147483647 w 1041"/>
                    <a:gd name="T73" fmla="*/ 2147483647 h 722"/>
                    <a:gd name="T74" fmla="*/ 2147483647 w 1041"/>
                    <a:gd name="T75" fmla="*/ 2147483647 h 722"/>
                    <a:gd name="T76" fmla="*/ 2147483647 w 1041"/>
                    <a:gd name="T77" fmla="*/ 2147483647 h 722"/>
                    <a:gd name="T78" fmla="*/ 2147483647 w 1041"/>
                    <a:gd name="T79" fmla="*/ 2147483647 h 722"/>
                    <a:gd name="T80" fmla="*/ 2147483647 w 1041"/>
                    <a:gd name="T81" fmla="*/ 2147483647 h 722"/>
                    <a:gd name="T82" fmla="*/ 2147483647 w 1041"/>
                    <a:gd name="T83" fmla="*/ 2147483647 h 722"/>
                    <a:gd name="T84" fmla="*/ 2147483647 w 1041"/>
                    <a:gd name="T85" fmla="*/ 2147483647 h 722"/>
                    <a:gd name="T86" fmla="*/ 2147483647 w 1041"/>
                    <a:gd name="T87" fmla="*/ 2147483647 h 722"/>
                    <a:gd name="T88" fmla="*/ 2147483647 w 1041"/>
                    <a:gd name="T89" fmla="*/ 2147483647 h 722"/>
                    <a:gd name="T90" fmla="*/ 2147483647 w 1041"/>
                    <a:gd name="T91" fmla="*/ 2147483647 h 722"/>
                    <a:gd name="T92" fmla="*/ 2147483647 w 1041"/>
                    <a:gd name="T93" fmla="*/ 2147483647 h 722"/>
                    <a:gd name="T94" fmla="*/ 2147483647 w 1041"/>
                    <a:gd name="T95" fmla="*/ 2147483647 h 722"/>
                    <a:gd name="T96" fmla="*/ 2147483647 w 1041"/>
                    <a:gd name="T97" fmla="*/ 2147483647 h 722"/>
                    <a:gd name="T98" fmla="*/ 2147483647 w 1041"/>
                    <a:gd name="T99" fmla="*/ 2147483647 h 722"/>
                    <a:gd name="T100" fmla="*/ 2147483647 w 1041"/>
                    <a:gd name="T101" fmla="*/ 2147483647 h 722"/>
                    <a:gd name="T102" fmla="*/ 2147483647 w 1041"/>
                    <a:gd name="T103" fmla="*/ 2147483647 h 722"/>
                    <a:gd name="T104" fmla="*/ 2147483647 w 1041"/>
                    <a:gd name="T105" fmla="*/ 2147483647 h 722"/>
                    <a:gd name="T106" fmla="*/ 2147483647 w 1041"/>
                    <a:gd name="T107" fmla="*/ 2147483647 h 722"/>
                    <a:gd name="T108" fmla="*/ 2147483647 w 1041"/>
                    <a:gd name="T109" fmla="*/ 2147483647 h 722"/>
                    <a:gd name="T110" fmla="*/ 2147483647 w 1041"/>
                    <a:gd name="T111" fmla="*/ 2147483647 h 722"/>
                    <a:gd name="T112" fmla="*/ 2147483647 w 1041"/>
                    <a:gd name="T113" fmla="*/ 2147483647 h 722"/>
                    <a:gd name="T114" fmla="*/ 2147483647 w 1041"/>
                    <a:gd name="T115" fmla="*/ 2147483647 h 722"/>
                    <a:gd name="T116" fmla="*/ 2147483647 w 1041"/>
                    <a:gd name="T117" fmla="*/ 2147483647 h 722"/>
                    <a:gd name="T118" fmla="*/ 2147483647 w 1041"/>
                    <a:gd name="T119" fmla="*/ 2147483647 h 722"/>
                    <a:gd name="T120" fmla="*/ 2147483647 w 1041"/>
                    <a:gd name="T121" fmla="*/ 2147483647 h 722"/>
                    <a:gd name="T122" fmla="*/ 2147483647 w 1041"/>
                    <a:gd name="T123" fmla="*/ 2147483647 h 7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1"/>
                    <a:gd name="T187" fmla="*/ 0 h 722"/>
                    <a:gd name="T188" fmla="*/ 1041 w 1041"/>
                    <a:gd name="T189" fmla="*/ 722 h 7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1" h="722">
                      <a:moveTo>
                        <a:pt x="145" y="255"/>
                      </a:moveTo>
                      <a:lnTo>
                        <a:pt x="145" y="255"/>
                      </a:lnTo>
                      <a:lnTo>
                        <a:pt x="140" y="258"/>
                      </a:lnTo>
                      <a:lnTo>
                        <a:pt x="137" y="261"/>
                      </a:lnTo>
                      <a:lnTo>
                        <a:pt x="134" y="261"/>
                      </a:lnTo>
                      <a:lnTo>
                        <a:pt x="132" y="260"/>
                      </a:lnTo>
                      <a:lnTo>
                        <a:pt x="131" y="257"/>
                      </a:lnTo>
                      <a:lnTo>
                        <a:pt x="129" y="256"/>
                      </a:lnTo>
                      <a:lnTo>
                        <a:pt x="127" y="255"/>
                      </a:lnTo>
                      <a:lnTo>
                        <a:pt x="123" y="254"/>
                      </a:lnTo>
                      <a:lnTo>
                        <a:pt x="120" y="255"/>
                      </a:lnTo>
                      <a:lnTo>
                        <a:pt x="114" y="258"/>
                      </a:lnTo>
                      <a:lnTo>
                        <a:pt x="113" y="258"/>
                      </a:lnTo>
                      <a:lnTo>
                        <a:pt x="112" y="258"/>
                      </a:lnTo>
                      <a:lnTo>
                        <a:pt x="110" y="257"/>
                      </a:lnTo>
                      <a:lnTo>
                        <a:pt x="109" y="257"/>
                      </a:lnTo>
                      <a:lnTo>
                        <a:pt x="106" y="257"/>
                      </a:lnTo>
                      <a:lnTo>
                        <a:pt x="105" y="258"/>
                      </a:lnTo>
                      <a:lnTo>
                        <a:pt x="105" y="261"/>
                      </a:lnTo>
                      <a:lnTo>
                        <a:pt x="106" y="264"/>
                      </a:lnTo>
                      <a:lnTo>
                        <a:pt x="106" y="267"/>
                      </a:lnTo>
                      <a:lnTo>
                        <a:pt x="106" y="269"/>
                      </a:lnTo>
                      <a:lnTo>
                        <a:pt x="105" y="272"/>
                      </a:lnTo>
                      <a:lnTo>
                        <a:pt x="104" y="273"/>
                      </a:lnTo>
                      <a:lnTo>
                        <a:pt x="100" y="273"/>
                      </a:lnTo>
                      <a:lnTo>
                        <a:pt x="96" y="273"/>
                      </a:lnTo>
                      <a:lnTo>
                        <a:pt x="93" y="269"/>
                      </a:lnTo>
                      <a:lnTo>
                        <a:pt x="90" y="266"/>
                      </a:lnTo>
                      <a:lnTo>
                        <a:pt x="86" y="262"/>
                      </a:lnTo>
                      <a:lnTo>
                        <a:pt x="79" y="256"/>
                      </a:lnTo>
                      <a:lnTo>
                        <a:pt x="68" y="251"/>
                      </a:lnTo>
                      <a:lnTo>
                        <a:pt x="60" y="247"/>
                      </a:lnTo>
                      <a:lnTo>
                        <a:pt x="62" y="244"/>
                      </a:lnTo>
                      <a:lnTo>
                        <a:pt x="65" y="242"/>
                      </a:lnTo>
                      <a:lnTo>
                        <a:pt x="65" y="240"/>
                      </a:lnTo>
                      <a:lnTo>
                        <a:pt x="63" y="237"/>
                      </a:lnTo>
                      <a:lnTo>
                        <a:pt x="61" y="235"/>
                      </a:lnTo>
                      <a:lnTo>
                        <a:pt x="57" y="235"/>
                      </a:lnTo>
                      <a:lnTo>
                        <a:pt x="53" y="235"/>
                      </a:lnTo>
                      <a:lnTo>
                        <a:pt x="49" y="235"/>
                      </a:lnTo>
                      <a:lnTo>
                        <a:pt x="49" y="234"/>
                      </a:lnTo>
                      <a:lnTo>
                        <a:pt x="40" y="230"/>
                      </a:lnTo>
                      <a:lnTo>
                        <a:pt x="33" y="226"/>
                      </a:lnTo>
                      <a:lnTo>
                        <a:pt x="32" y="225"/>
                      </a:lnTo>
                      <a:lnTo>
                        <a:pt x="30" y="224"/>
                      </a:lnTo>
                      <a:lnTo>
                        <a:pt x="30" y="223"/>
                      </a:lnTo>
                      <a:lnTo>
                        <a:pt x="32" y="222"/>
                      </a:lnTo>
                      <a:lnTo>
                        <a:pt x="42" y="219"/>
                      </a:lnTo>
                      <a:lnTo>
                        <a:pt x="52" y="219"/>
                      </a:lnTo>
                      <a:lnTo>
                        <a:pt x="63" y="221"/>
                      </a:lnTo>
                      <a:lnTo>
                        <a:pt x="73" y="223"/>
                      </a:lnTo>
                      <a:lnTo>
                        <a:pt x="76" y="224"/>
                      </a:lnTo>
                      <a:lnTo>
                        <a:pt x="79" y="224"/>
                      </a:lnTo>
                      <a:lnTo>
                        <a:pt x="80" y="223"/>
                      </a:lnTo>
                      <a:lnTo>
                        <a:pt x="80" y="222"/>
                      </a:lnTo>
                      <a:lnTo>
                        <a:pt x="79" y="221"/>
                      </a:lnTo>
                      <a:lnTo>
                        <a:pt x="73" y="221"/>
                      </a:lnTo>
                      <a:lnTo>
                        <a:pt x="68" y="219"/>
                      </a:lnTo>
                      <a:lnTo>
                        <a:pt x="67" y="217"/>
                      </a:lnTo>
                      <a:lnTo>
                        <a:pt x="66" y="216"/>
                      </a:lnTo>
                      <a:lnTo>
                        <a:pt x="67" y="215"/>
                      </a:lnTo>
                      <a:lnTo>
                        <a:pt x="70" y="215"/>
                      </a:lnTo>
                      <a:lnTo>
                        <a:pt x="72" y="213"/>
                      </a:lnTo>
                      <a:lnTo>
                        <a:pt x="77" y="215"/>
                      </a:lnTo>
                      <a:lnTo>
                        <a:pt x="87" y="218"/>
                      </a:lnTo>
                      <a:lnTo>
                        <a:pt x="94" y="221"/>
                      </a:lnTo>
                      <a:lnTo>
                        <a:pt x="99" y="222"/>
                      </a:lnTo>
                      <a:lnTo>
                        <a:pt x="101" y="222"/>
                      </a:lnTo>
                      <a:lnTo>
                        <a:pt x="104" y="224"/>
                      </a:lnTo>
                      <a:lnTo>
                        <a:pt x="105" y="225"/>
                      </a:lnTo>
                      <a:lnTo>
                        <a:pt x="108" y="225"/>
                      </a:lnTo>
                      <a:lnTo>
                        <a:pt x="110" y="225"/>
                      </a:lnTo>
                      <a:lnTo>
                        <a:pt x="112" y="224"/>
                      </a:lnTo>
                      <a:lnTo>
                        <a:pt x="110" y="222"/>
                      </a:lnTo>
                      <a:lnTo>
                        <a:pt x="108" y="217"/>
                      </a:lnTo>
                      <a:lnTo>
                        <a:pt x="105" y="212"/>
                      </a:lnTo>
                      <a:lnTo>
                        <a:pt x="104" y="211"/>
                      </a:lnTo>
                      <a:lnTo>
                        <a:pt x="103" y="210"/>
                      </a:lnTo>
                      <a:lnTo>
                        <a:pt x="98" y="209"/>
                      </a:lnTo>
                      <a:lnTo>
                        <a:pt x="94" y="208"/>
                      </a:lnTo>
                      <a:lnTo>
                        <a:pt x="90" y="204"/>
                      </a:lnTo>
                      <a:lnTo>
                        <a:pt x="89" y="199"/>
                      </a:lnTo>
                      <a:lnTo>
                        <a:pt x="87" y="199"/>
                      </a:lnTo>
                      <a:lnTo>
                        <a:pt x="85" y="199"/>
                      </a:lnTo>
                      <a:lnTo>
                        <a:pt x="82" y="200"/>
                      </a:lnTo>
                      <a:lnTo>
                        <a:pt x="81" y="202"/>
                      </a:lnTo>
                      <a:lnTo>
                        <a:pt x="81" y="205"/>
                      </a:lnTo>
                      <a:lnTo>
                        <a:pt x="80" y="208"/>
                      </a:lnTo>
                      <a:lnTo>
                        <a:pt x="77" y="210"/>
                      </a:lnTo>
                      <a:lnTo>
                        <a:pt x="73" y="209"/>
                      </a:lnTo>
                      <a:lnTo>
                        <a:pt x="71" y="208"/>
                      </a:lnTo>
                      <a:lnTo>
                        <a:pt x="70" y="205"/>
                      </a:lnTo>
                      <a:lnTo>
                        <a:pt x="68" y="203"/>
                      </a:lnTo>
                      <a:lnTo>
                        <a:pt x="66" y="200"/>
                      </a:lnTo>
                      <a:lnTo>
                        <a:pt x="65" y="200"/>
                      </a:lnTo>
                      <a:lnTo>
                        <a:pt x="61" y="204"/>
                      </a:lnTo>
                      <a:lnTo>
                        <a:pt x="58" y="206"/>
                      </a:lnTo>
                      <a:lnTo>
                        <a:pt x="57" y="210"/>
                      </a:lnTo>
                      <a:lnTo>
                        <a:pt x="53" y="213"/>
                      </a:lnTo>
                      <a:lnTo>
                        <a:pt x="51" y="215"/>
                      </a:lnTo>
                      <a:lnTo>
                        <a:pt x="49" y="215"/>
                      </a:lnTo>
                      <a:lnTo>
                        <a:pt x="44" y="213"/>
                      </a:lnTo>
                      <a:lnTo>
                        <a:pt x="35" y="208"/>
                      </a:lnTo>
                      <a:lnTo>
                        <a:pt x="30" y="206"/>
                      </a:lnTo>
                      <a:lnTo>
                        <a:pt x="25" y="204"/>
                      </a:lnTo>
                      <a:lnTo>
                        <a:pt x="24" y="204"/>
                      </a:lnTo>
                      <a:lnTo>
                        <a:pt x="23" y="205"/>
                      </a:lnTo>
                      <a:lnTo>
                        <a:pt x="20" y="206"/>
                      </a:lnTo>
                      <a:lnTo>
                        <a:pt x="18" y="206"/>
                      </a:lnTo>
                      <a:lnTo>
                        <a:pt x="16" y="206"/>
                      </a:lnTo>
                      <a:lnTo>
                        <a:pt x="14" y="204"/>
                      </a:lnTo>
                      <a:lnTo>
                        <a:pt x="13" y="200"/>
                      </a:lnTo>
                      <a:lnTo>
                        <a:pt x="10" y="197"/>
                      </a:lnTo>
                      <a:lnTo>
                        <a:pt x="6" y="197"/>
                      </a:lnTo>
                      <a:lnTo>
                        <a:pt x="4" y="193"/>
                      </a:lnTo>
                      <a:lnTo>
                        <a:pt x="1" y="190"/>
                      </a:lnTo>
                      <a:lnTo>
                        <a:pt x="0" y="186"/>
                      </a:lnTo>
                      <a:lnTo>
                        <a:pt x="0" y="184"/>
                      </a:lnTo>
                      <a:lnTo>
                        <a:pt x="2" y="183"/>
                      </a:lnTo>
                      <a:lnTo>
                        <a:pt x="5" y="183"/>
                      </a:lnTo>
                      <a:lnTo>
                        <a:pt x="7" y="183"/>
                      </a:lnTo>
                      <a:lnTo>
                        <a:pt x="11" y="183"/>
                      </a:lnTo>
                      <a:lnTo>
                        <a:pt x="14" y="181"/>
                      </a:lnTo>
                      <a:lnTo>
                        <a:pt x="16" y="180"/>
                      </a:lnTo>
                      <a:lnTo>
                        <a:pt x="19" y="179"/>
                      </a:lnTo>
                      <a:lnTo>
                        <a:pt x="21" y="179"/>
                      </a:lnTo>
                      <a:lnTo>
                        <a:pt x="23" y="179"/>
                      </a:lnTo>
                      <a:lnTo>
                        <a:pt x="25" y="179"/>
                      </a:lnTo>
                      <a:lnTo>
                        <a:pt x="28" y="179"/>
                      </a:lnTo>
                      <a:lnTo>
                        <a:pt x="32" y="179"/>
                      </a:lnTo>
                      <a:lnTo>
                        <a:pt x="35" y="178"/>
                      </a:lnTo>
                      <a:lnTo>
                        <a:pt x="35" y="177"/>
                      </a:lnTo>
                      <a:lnTo>
                        <a:pt x="37" y="176"/>
                      </a:lnTo>
                      <a:lnTo>
                        <a:pt x="39" y="174"/>
                      </a:lnTo>
                      <a:lnTo>
                        <a:pt x="43" y="172"/>
                      </a:lnTo>
                      <a:lnTo>
                        <a:pt x="48" y="172"/>
                      </a:lnTo>
                      <a:lnTo>
                        <a:pt x="58" y="171"/>
                      </a:lnTo>
                      <a:lnTo>
                        <a:pt x="68" y="168"/>
                      </a:lnTo>
                      <a:lnTo>
                        <a:pt x="75" y="167"/>
                      </a:lnTo>
                      <a:lnTo>
                        <a:pt x="81" y="164"/>
                      </a:lnTo>
                      <a:lnTo>
                        <a:pt x="84" y="161"/>
                      </a:lnTo>
                      <a:lnTo>
                        <a:pt x="86" y="161"/>
                      </a:lnTo>
                      <a:lnTo>
                        <a:pt x="94" y="162"/>
                      </a:lnTo>
                      <a:lnTo>
                        <a:pt x="100" y="164"/>
                      </a:lnTo>
                      <a:lnTo>
                        <a:pt x="103" y="164"/>
                      </a:lnTo>
                      <a:lnTo>
                        <a:pt x="105" y="162"/>
                      </a:lnTo>
                      <a:lnTo>
                        <a:pt x="109" y="160"/>
                      </a:lnTo>
                      <a:lnTo>
                        <a:pt x="114" y="159"/>
                      </a:lnTo>
                      <a:lnTo>
                        <a:pt x="124" y="157"/>
                      </a:lnTo>
                      <a:lnTo>
                        <a:pt x="127" y="155"/>
                      </a:lnTo>
                      <a:lnTo>
                        <a:pt x="128" y="153"/>
                      </a:lnTo>
                      <a:lnTo>
                        <a:pt x="129" y="149"/>
                      </a:lnTo>
                      <a:lnTo>
                        <a:pt x="132" y="145"/>
                      </a:lnTo>
                      <a:lnTo>
                        <a:pt x="133" y="143"/>
                      </a:lnTo>
                      <a:lnTo>
                        <a:pt x="136" y="142"/>
                      </a:lnTo>
                      <a:lnTo>
                        <a:pt x="137" y="141"/>
                      </a:lnTo>
                      <a:lnTo>
                        <a:pt x="137" y="139"/>
                      </a:lnTo>
                      <a:lnTo>
                        <a:pt x="136" y="136"/>
                      </a:lnTo>
                      <a:lnTo>
                        <a:pt x="133" y="135"/>
                      </a:lnTo>
                      <a:lnTo>
                        <a:pt x="131" y="133"/>
                      </a:lnTo>
                      <a:lnTo>
                        <a:pt x="128" y="130"/>
                      </a:lnTo>
                      <a:lnTo>
                        <a:pt x="127" y="128"/>
                      </a:lnTo>
                      <a:lnTo>
                        <a:pt x="126" y="127"/>
                      </a:lnTo>
                      <a:lnTo>
                        <a:pt x="120" y="126"/>
                      </a:lnTo>
                      <a:lnTo>
                        <a:pt x="110" y="126"/>
                      </a:lnTo>
                      <a:lnTo>
                        <a:pt x="105" y="125"/>
                      </a:lnTo>
                      <a:lnTo>
                        <a:pt x="100" y="123"/>
                      </a:lnTo>
                      <a:lnTo>
                        <a:pt x="96" y="123"/>
                      </a:lnTo>
                      <a:lnTo>
                        <a:pt x="93" y="123"/>
                      </a:lnTo>
                      <a:lnTo>
                        <a:pt x="90" y="123"/>
                      </a:lnTo>
                      <a:lnTo>
                        <a:pt x="87" y="122"/>
                      </a:lnTo>
                      <a:lnTo>
                        <a:pt x="89" y="120"/>
                      </a:lnTo>
                      <a:lnTo>
                        <a:pt x="89" y="119"/>
                      </a:lnTo>
                      <a:lnTo>
                        <a:pt x="94" y="116"/>
                      </a:lnTo>
                      <a:lnTo>
                        <a:pt x="100" y="115"/>
                      </a:lnTo>
                      <a:lnTo>
                        <a:pt x="104" y="113"/>
                      </a:lnTo>
                      <a:lnTo>
                        <a:pt x="113" y="110"/>
                      </a:lnTo>
                      <a:lnTo>
                        <a:pt x="120" y="107"/>
                      </a:lnTo>
                      <a:lnTo>
                        <a:pt x="128" y="104"/>
                      </a:lnTo>
                      <a:lnTo>
                        <a:pt x="136" y="100"/>
                      </a:lnTo>
                      <a:lnTo>
                        <a:pt x="140" y="97"/>
                      </a:lnTo>
                      <a:lnTo>
                        <a:pt x="142" y="96"/>
                      </a:lnTo>
                      <a:lnTo>
                        <a:pt x="145" y="95"/>
                      </a:lnTo>
                      <a:lnTo>
                        <a:pt x="146" y="97"/>
                      </a:lnTo>
                      <a:lnTo>
                        <a:pt x="148" y="98"/>
                      </a:lnTo>
                      <a:lnTo>
                        <a:pt x="152" y="100"/>
                      </a:lnTo>
                      <a:lnTo>
                        <a:pt x="156" y="100"/>
                      </a:lnTo>
                      <a:lnTo>
                        <a:pt x="156" y="103"/>
                      </a:lnTo>
                      <a:lnTo>
                        <a:pt x="159" y="107"/>
                      </a:lnTo>
                      <a:lnTo>
                        <a:pt x="161" y="108"/>
                      </a:lnTo>
                      <a:lnTo>
                        <a:pt x="165" y="107"/>
                      </a:lnTo>
                      <a:lnTo>
                        <a:pt x="167" y="103"/>
                      </a:lnTo>
                      <a:lnTo>
                        <a:pt x="167" y="101"/>
                      </a:lnTo>
                      <a:lnTo>
                        <a:pt x="167" y="100"/>
                      </a:lnTo>
                      <a:lnTo>
                        <a:pt x="164" y="97"/>
                      </a:lnTo>
                      <a:lnTo>
                        <a:pt x="159" y="95"/>
                      </a:lnTo>
                      <a:lnTo>
                        <a:pt x="156" y="93"/>
                      </a:lnTo>
                      <a:lnTo>
                        <a:pt x="155" y="91"/>
                      </a:lnTo>
                      <a:lnTo>
                        <a:pt x="156" y="89"/>
                      </a:lnTo>
                      <a:lnTo>
                        <a:pt x="157" y="87"/>
                      </a:lnTo>
                      <a:lnTo>
                        <a:pt x="160" y="87"/>
                      </a:lnTo>
                      <a:lnTo>
                        <a:pt x="162" y="88"/>
                      </a:lnTo>
                      <a:lnTo>
                        <a:pt x="165" y="89"/>
                      </a:lnTo>
                      <a:lnTo>
                        <a:pt x="165" y="91"/>
                      </a:lnTo>
                      <a:lnTo>
                        <a:pt x="166" y="93"/>
                      </a:lnTo>
                      <a:lnTo>
                        <a:pt x="174" y="93"/>
                      </a:lnTo>
                      <a:lnTo>
                        <a:pt x="180" y="95"/>
                      </a:lnTo>
                      <a:lnTo>
                        <a:pt x="185" y="98"/>
                      </a:lnTo>
                      <a:lnTo>
                        <a:pt x="189" y="104"/>
                      </a:lnTo>
                      <a:lnTo>
                        <a:pt x="190" y="104"/>
                      </a:lnTo>
                      <a:lnTo>
                        <a:pt x="192" y="103"/>
                      </a:lnTo>
                      <a:lnTo>
                        <a:pt x="195" y="100"/>
                      </a:lnTo>
                      <a:lnTo>
                        <a:pt x="199" y="95"/>
                      </a:lnTo>
                      <a:lnTo>
                        <a:pt x="200" y="94"/>
                      </a:lnTo>
                      <a:lnTo>
                        <a:pt x="200" y="93"/>
                      </a:lnTo>
                      <a:lnTo>
                        <a:pt x="198" y="90"/>
                      </a:lnTo>
                      <a:lnTo>
                        <a:pt x="194" y="88"/>
                      </a:lnTo>
                      <a:lnTo>
                        <a:pt x="190" y="81"/>
                      </a:lnTo>
                      <a:lnTo>
                        <a:pt x="188" y="77"/>
                      </a:lnTo>
                      <a:lnTo>
                        <a:pt x="188" y="74"/>
                      </a:lnTo>
                      <a:lnTo>
                        <a:pt x="189" y="70"/>
                      </a:lnTo>
                      <a:lnTo>
                        <a:pt x="192" y="66"/>
                      </a:lnTo>
                      <a:lnTo>
                        <a:pt x="199" y="63"/>
                      </a:lnTo>
                      <a:lnTo>
                        <a:pt x="208" y="62"/>
                      </a:lnTo>
                      <a:lnTo>
                        <a:pt x="209" y="62"/>
                      </a:lnTo>
                      <a:lnTo>
                        <a:pt x="211" y="64"/>
                      </a:lnTo>
                      <a:lnTo>
                        <a:pt x="212" y="66"/>
                      </a:lnTo>
                      <a:lnTo>
                        <a:pt x="214" y="69"/>
                      </a:lnTo>
                      <a:lnTo>
                        <a:pt x="217" y="69"/>
                      </a:lnTo>
                      <a:lnTo>
                        <a:pt x="221" y="68"/>
                      </a:lnTo>
                      <a:lnTo>
                        <a:pt x="221" y="71"/>
                      </a:lnTo>
                      <a:lnTo>
                        <a:pt x="222" y="74"/>
                      </a:lnTo>
                      <a:lnTo>
                        <a:pt x="225" y="75"/>
                      </a:lnTo>
                      <a:lnTo>
                        <a:pt x="228" y="76"/>
                      </a:lnTo>
                      <a:lnTo>
                        <a:pt x="237" y="75"/>
                      </a:lnTo>
                      <a:lnTo>
                        <a:pt x="241" y="75"/>
                      </a:lnTo>
                      <a:lnTo>
                        <a:pt x="245" y="76"/>
                      </a:lnTo>
                      <a:lnTo>
                        <a:pt x="245" y="74"/>
                      </a:lnTo>
                      <a:lnTo>
                        <a:pt x="245" y="72"/>
                      </a:lnTo>
                      <a:lnTo>
                        <a:pt x="239" y="69"/>
                      </a:lnTo>
                      <a:lnTo>
                        <a:pt x="232" y="66"/>
                      </a:lnTo>
                      <a:lnTo>
                        <a:pt x="227" y="64"/>
                      </a:lnTo>
                      <a:lnTo>
                        <a:pt x="226" y="62"/>
                      </a:lnTo>
                      <a:lnTo>
                        <a:pt x="225" y="59"/>
                      </a:lnTo>
                      <a:lnTo>
                        <a:pt x="226" y="57"/>
                      </a:lnTo>
                      <a:lnTo>
                        <a:pt x="230" y="56"/>
                      </a:lnTo>
                      <a:lnTo>
                        <a:pt x="235" y="55"/>
                      </a:lnTo>
                      <a:lnTo>
                        <a:pt x="240" y="53"/>
                      </a:lnTo>
                      <a:lnTo>
                        <a:pt x="246" y="53"/>
                      </a:lnTo>
                      <a:lnTo>
                        <a:pt x="250" y="52"/>
                      </a:lnTo>
                      <a:lnTo>
                        <a:pt x="264" y="53"/>
                      </a:lnTo>
                      <a:lnTo>
                        <a:pt x="269" y="53"/>
                      </a:lnTo>
                      <a:lnTo>
                        <a:pt x="278" y="52"/>
                      </a:lnTo>
                      <a:lnTo>
                        <a:pt x="288" y="50"/>
                      </a:lnTo>
                      <a:lnTo>
                        <a:pt x="292" y="47"/>
                      </a:lnTo>
                      <a:lnTo>
                        <a:pt x="296" y="47"/>
                      </a:lnTo>
                      <a:lnTo>
                        <a:pt x="300" y="49"/>
                      </a:lnTo>
                      <a:lnTo>
                        <a:pt x="303" y="50"/>
                      </a:lnTo>
                      <a:lnTo>
                        <a:pt x="307" y="50"/>
                      </a:lnTo>
                      <a:lnTo>
                        <a:pt x="311" y="49"/>
                      </a:lnTo>
                      <a:lnTo>
                        <a:pt x="313" y="51"/>
                      </a:lnTo>
                      <a:lnTo>
                        <a:pt x="317" y="53"/>
                      </a:lnTo>
                      <a:lnTo>
                        <a:pt x="322" y="59"/>
                      </a:lnTo>
                      <a:lnTo>
                        <a:pt x="329" y="63"/>
                      </a:lnTo>
                      <a:lnTo>
                        <a:pt x="333" y="64"/>
                      </a:lnTo>
                      <a:lnTo>
                        <a:pt x="335" y="63"/>
                      </a:lnTo>
                      <a:lnTo>
                        <a:pt x="336" y="63"/>
                      </a:lnTo>
                      <a:lnTo>
                        <a:pt x="338" y="62"/>
                      </a:lnTo>
                      <a:lnTo>
                        <a:pt x="336" y="59"/>
                      </a:lnTo>
                      <a:lnTo>
                        <a:pt x="333" y="52"/>
                      </a:lnTo>
                      <a:lnTo>
                        <a:pt x="333" y="50"/>
                      </a:lnTo>
                      <a:lnTo>
                        <a:pt x="334" y="49"/>
                      </a:lnTo>
                      <a:lnTo>
                        <a:pt x="335" y="47"/>
                      </a:lnTo>
                      <a:lnTo>
                        <a:pt x="338" y="47"/>
                      </a:lnTo>
                      <a:lnTo>
                        <a:pt x="344" y="50"/>
                      </a:lnTo>
                      <a:lnTo>
                        <a:pt x="349" y="53"/>
                      </a:lnTo>
                      <a:lnTo>
                        <a:pt x="355" y="56"/>
                      </a:lnTo>
                      <a:lnTo>
                        <a:pt x="358" y="57"/>
                      </a:lnTo>
                      <a:lnTo>
                        <a:pt x="362" y="57"/>
                      </a:lnTo>
                      <a:lnTo>
                        <a:pt x="362" y="56"/>
                      </a:lnTo>
                      <a:lnTo>
                        <a:pt x="364" y="55"/>
                      </a:lnTo>
                      <a:lnTo>
                        <a:pt x="366" y="56"/>
                      </a:lnTo>
                      <a:lnTo>
                        <a:pt x="369" y="58"/>
                      </a:lnTo>
                      <a:lnTo>
                        <a:pt x="373" y="62"/>
                      </a:lnTo>
                      <a:lnTo>
                        <a:pt x="377" y="66"/>
                      </a:lnTo>
                      <a:lnTo>
                        <a:pt x="380" y="72"/>
                      </a:lnTo>
                      <a:lnTo>
                        <a:pt x="382" y="77"/>
                      </a:lnTo>
                      <a:lnTo>
                        <a:pt x="385" y="83"/>
                      </a:lnTo>
                      <a:lnTo>
                        <a:pt x="388" y="88"/>
                      </a:lnTo>
                      <a:lnTo>
                        <a:pt x="391" y="89"/>
                      </a:lnTo>
                      <a:lnTo>
                        <a:pt x="392" y="88"/>
                      </a:lnTo>
                      <a:lnTo>
                        <a:pt x="393" y="85"/>
                      </a:lnTo>
                      <a:lnTo>
                        <a:pt x="393" y="83"/>
                      </a:lnTo>
                      <a:lnTo>
                        <a:pt x="392" y="82"/>
                      </a:lnTo>
                      <a:lnTo>
                        <a:pt x="392" y="79"/>
                      </a:lnTo>
                      <a:lnTo>
                        <a:pt x="392" y="74"/>
                      </a:lnTo>
                      <a:lnTo>
                        <a:pt x="391" y="68"/>
                      </a:lnTo>
                      <a:lnTo>
                        <a:pt x="388" y="62"/>
                      </a:lnTo>
                      <a:lnTo>
                        <a:pt x="385" y="57"/>
                      </a:lnTo>
                      <a:lnTo>
                        <a:pt x="380" y="53"/>
                      </a:lnTo>
                      <a:lnTo>
                        <a:pt x="374" y="49"/>
                      </a:lnTo>
                      <a:lnTo>
                        <a:pt x="364" y="43"/>
                      </a:lnTo>
                      <a:lnTo>
                        <a:pt x="364" y="40"/>
                      </a:lnTo>
                      <a:lnTo>
                        <a:pt x="368" y="39"/>
                      </a:lnTo>
                      <a:lnTo>
                        <a:pt x="373" y="38"/>
                      </a:lnTo>
                      <a:lnTo>
                        <a:pt x="378" y="39"/>
                      </a:lnTo>
                      <a:lnTo>
                        <a:pt x="382" y="40"/>
                      </a:lnTo>
                      <a:lnTo>
                        <a:pt x="386" y="43"/>
                      </a:lnTo>
                      <a:lnTo>
                        <a:pt x="388" y="44"/>
                      </a:lnTo>
                      <a:lnTo>
                        <a:pt x="390" y="44"/>
                      </a:lnTo>
                      <a:lnTo>
                        <a:pt x="392" y="42"/>
                      </a:lnTo>
                      <a:lnTo>
                        <a:pt x="392" y="40"/>
                      </a:lnTo>
                      <a:lnTo>
                        <a:pt x="393" y="39"/>
                      </a:lnTo>
                      <a:lnTo>
                        <a:pt x="396" y="40"/>
                      </a:lnTo>
                      <a:lnTo>
                        <a:pt x="399" y="42"/>
                      </a:lnTo>
                      <a:lnTo>
                        <a:pt x="401" y="46"/>
                      </a:lnTo>
                      <a:lnTo>
                        <a:pt x="402" y="47"/>
                      </a:lnTo>
                      <a:lnTo>
                        <a:pt x="404" y="47"/>
                      </a:lnTo>
                      <a:lnTo>
                        <a:pt x="407" y="47"/>
                      </a:lnTo>
                      <a:lnTo>
                        <a:pt x="411" y="47"/>
                      </a:lnTo>
                      <a:lnTo>
                        <a:pt x="415" y="49"/>
                      </a:lnTo>
                      <a:lnTo>
                        <a:pt x="420" y="50"/>
                      </a:lnTo>
                      <a:lnTo>
                        <a:pt x="423" y="51"/>
                      </a:lnTo>
                      <a:lnTo>
                        <a:pt x="425" y="51"/>
                      </a:lnTo>
                      <a:lnTo>
                        <a:pt x="426" y="50"/>
                      </a:lnTo>
                      <a:lnTo>
                        <a:pt x="426" y="47"/>
                      </a:lnTo>
                      <a:lnTo>
                        <a:pt x="425" y="46"/>
                      </a:lnTo>
                      <a:lnTo>
                        <a:pt x="424" y="45"/>
                      </a:lnTo>
                      <a:lnTo>
                        <a:pt x="419" y="43"/>
                      </a:lnTo>
                      <a:lnTo>
                        <a:pt x="414" y="40"/>
                      </a:lnTo>
                      <a:lnTo>
                        <a:pt x="414" y="39"/>
                      </a:lnTo>
                      <a:lnTo>
                        <a:pt x="415" y="38"/>
                      </a:lnTo>
                      <a:lnTo>
                        <a:pt x="419" y="38"/>
                      </a:lnTo>
                      <a:lnTo>
                        <a:pt x="430" y="40"/>
                      </a:lnTo>
                      <a:lnTo>
                        <a:pt x="440" y="42"/>
                      </a:lnTo>
                      <a:lnTo>
                        <a:pt x="451" y="42"/>
                      </a:lnTo>
                      <a:lnTo>
                        <a:pt x="462" y="42"/>
                      </a:lnTo>
                      <a:lnTo>
                        <a:pt x="462" y="40"/>
                      </a:lnTo>
                      <a:lnTo>
                        <a:pt x="461" y="39"/>
                      </a:lnTo>
                      <a:lnTo>
                        <a:pt x="457" y="34"/>
                      </a:lnTo>
                      <a:lnTo>
                        <a:pt x="452" y="32"/>
                      </a:lnTo>
                      <a:lnTo>
                        <a:pt x="446" y="31"/>
                      </a:lnTo>
                      <a:lnTo>
                        <a:pt x="440" y="28"/>
                      </a:lnTo>
                      <a:lnTo>
                        <a:pt x="437" y="27"/>
                      </a:lnTo>
                      <a:lnTo>
                        <a:pt x="432" y="26"/>
                      </a:lnTo>
                      <a:lnTo>
                        <a:pt x="432" y="25"/>
                      </a:lnTo>
                      <a:lnTo>
                        <a:pt x="432" y="23"/>
                      </a:lnTo>
                      <a:lnTo>
                        <a:pt x="435" y="21"/>
                      </a:lnTo>
                      <a:lnTo>
                        <a:pt x="443" y="21"/>
                      </a:lnTo>
                      <a:lnTo>
                        <a:pt x="452" y="21"/>
                      </a:lnTo>
                      <a:lnTo>
                        <a:pt x="461" y="23"/>
                      </a:lnTo>
                      <a:lnTo>
                        <a:pt x="470" y="24"/>
                      </a:lnTo>
                      <a:lnTo>
                        <a:pt x="480" y="25"/>
                      </a:lnTo>
                      <a:lnTo>
                        <a:pt x="486" y="23"/>
                      </a:lnTo>
                      <a:lnTo>
                        <a:pt x="501" y="21"/>
                      </a:lnTo>
                      <a:lnTo>
                        <a:pt x="515" y="18"/>
                      </a:lnTo>
                      <a:lnTo>
                        <a:pt x="518" y="17"/>
                      </a:lnTo>
                      <a:lnTo>
                        <a:pt x="519" y="18"/>
                      </a:lnTo>
                      <a:lnTo>
                        <a:pt x="520" y="20"/>
                      </a:lnTo>
                      <a:lnTo>
                        <a:pt x="523" y="23"/>
                      </a:lnTo>
                      <a:lnTo>
                        <a:pt x="528" y="24"/>
                      </a:lnTo>
                      <a:lnTo>
                        <a:pt x="538" y="24"/>
                      </a:lnTo>
                      <a:lnTo>
                        <a:pt x="540" y="25"/>
                      </a:lnTo>
                      <a:lnTo>
                        <a:pt x="540" y="27"/>
                      </a:lnTo>
                      <a:lnTo>
                        <a:pt x="541" y="30"/>
                      </a:lnTo>
                      <a:lnTo>
                        <a:pt x="542" y="31"/>
                      </a:lnTo>
                      <a:lnTo>
                        <a:pt x="545" y="32"/>
                      </a:lnTo>
                      <a:lnTo>
                        <a:pt x="546" y="32"/>
                      </a:lnTo>
                      <a:lnTo>
                        <a:pt x="547" y="37"/>
                      </a:lnTo>
                      <a:lnTo>
                        <a:pt x="548" y="39"/>
                      </a:lnTo>
                      <a:lnTo>
                        <a:pt x="555" y="45"/>
                      </a:lnTo>
                      <a:lnTo>
                        <a:pt x="556" y="46"/>
                      </a:lnTo>
                      <a:lnTo>
                        <a:pt x="559" y="47"/>
                      </a:lnTo>
                      <a:lnTo>
                        <a:pt x="561" y="47"/>
                      </a:lnTo>
                      <a:lnTo>
                        <a:pt x="564" y="47"/>
                      </a:lnTo>
                      <a:lnTo>
                        <a:pt x="565" y="46"/>
                      </a:lnTo>
                      <a:lnTo>
                        <a:pt x="564" y="45"/>
                      </a:lnTo>
                      <a:lnTo>
                        <a:pt x="560" y="39"/>
                      </a:lnTo>
                      <a:lnTo>
                        <a:pt x="556" y="32"/>
                      </a:lnTo>
                      <a:lnTo>
                        <a:pt x="555" y="31"/>
                      </a:lnTo>
                      <a:lnTo>
                        <a:pt x="552" y="30"/>
                      </a:lnTo>
                      <a:lnTo>
                        <a:pt x="551" y="27"/>
                      </a:lnTo>
                      <a:lnTo>
                        <a:pt x="548" y="25"/>
                      </a:lnTo>
                      <a:lnTo>
                        <a:pt x="548" y="20"/>
                      </a:lnTo>
                      <a:lnTo>
                        <a:pt x="548" y="18"/>
                      </a:lnTo>
                      <a:lnTo>
                        <a:pt x="551" y="15"/>
                      </a:lnTo>
                      <a:lnTo>
                        <a:pt x="555" y="14"/>
                      </a:lnTo>
                      <a:lnTo>
                        <a:pt x="560" y="13"/>
                      </a:lnTo>
                      <a:lnTo>
                        <a:pt x="564" y="12"/>
                      </a:lnTo>
                      <a:lnTo>
                        <a:pt x="566" y="10"/>
                      </a:lnTo>
                      <a:lnTo>
                        <a:pt x="566" y="6"/>
                      </a:lnTo>
                      <a:lnTo>
                        <a:pt x="566" y="5"/>
                      </a:lnTo>
                      <a:lnTo>
                        <a:pt x="567" y="4"/>
                      </a:lnTo>
                      <a:lnTo>
                        <a:pt x="578" y="4"/>
                      </a:lnTo>
                      <a:lnTo>
                        <a:pt x="588" y="5"/>
                      </a:lnTo>
                      <a:lnTo>
                        <a:pt x="589" y="5"/>
                      </a:lnTo>
                      <a:lnTo>
                        <a:pt x="592" y="7"/>
                      </a:lnTo>
                      <a:lnTo>
                        <a:pt x="595" y="10"/>
                      </a:lnTo>
                      <a:lnTo>
                        <a:pt x="600" y="13"/>
                      </a:lnTo>
                      <a:lnTo>
                        <a:pt x="604" y="14"/>
                      </a:lnTo>
                      <a:lnTo>
                        <a:pt x="608" y="14"/>
                      </a:lnTo>
                      <a:lnTo>
                        <a:pt x="613" y="14"/>
                      </a:lnTo>
                      <a:lnTo>
                        <a:pt x="614" y="14"/>
                      </a:lnTo>
                      <a:lnTo>
                        <a:pt x="616" y="13"/>
                      </a:lnTo>
                      <a:lnTo>
                        <a:pt x="616" y="11"/>
                      </a:lnTo>
                      <a:lnTo>
                        <a:pt x="616" y="7"/>
                      </a:lnTo>
                      <a:lnTo>
                        <a:pt x="613" y="2"/>
                      </a:lnTo>
                      <a:lnTo>
                        <a:pt x="614" y="2"/>
                      </a:lnTo>
                      <a:lnTo>
                        <a:pt x="617" y="1"/>
                      </a:lnTo>
                      <a:lnTo>
                        <a:pt x="623" y="4"/>
                      </a:lnTo>
                      <a:lnTo>
                        <a:pt x="630" y="5"/>
                      </a:lnTo>
                      <a:lnTo>
                        <a:pt x="644" y="5"/>
                      </a:lnTo>
                      <a:lnTo>
                        <a:pt x="670" y="4"/>
                      </a:lnTo>
                      <a:lnTo>
                        <a:pt x="674" y="2"/>
                      </a:lnTo>
                      <a:lnTo>
                        <a:pt x="678" y="1"/>
                      </a:lnTo>
                      <a:lnTo>
                        <a:pt x="682" y="0"/>
                      </a:lnTo>
                      <a:lnTo>
                        <a:pt x="686" y="0"/>
                      </a:lnTo>
                      <a:lnTo>
                        <a:pt x="694" y="4"/>
                      </a:lnTo>
                      <a:lnTo>
                        <a:pt x="698" y="5"/>
                      </a:lnTo>
                      <a:lnTo>
                        <a:pt x="702" y="5"/>
                      </a:lnTo>
                      <a:lnTo>
                        <a:pt x="710" y="2"/>
                      </a:lnTo>
                      <a:lnTo>
                        <a:pt x="717" y="1"/>
                      </a:lnTo>
                      <a:lnTo>
                        <a:pt x="720" y="1"/>
                      </a:lnTo>
                      <a:lnTo>
                        <a:pt x="724" y="1"/>
                      </a:lnTo>
                      <a:lnTo>
                        <a:pt x="727" y="4"/>
                      </a:lnTo>
                      <a:lnTo>
                        <a:pt x="730" y="6"/>
                      </a:lnTo>
                      <a:lnTo>
                        <a:pt x="735" y="11"/>
                      </a:lnTo>
                      <a:lnTo>
                        <a:pt x="740" y="14"/>
                      </a:lnTo>
                      <a:lnTo>
                        <a:pt x="745" y="17"/>
                      </a:lnTo>
                      <a:lnTo>
                        <a:pt x="752" y="19"/>
                      </a:lnTo>
                      <a:lnTo>
                        <a:pt x="763" y="20"/>
                      </a:lnTo>
                      <a:lnTo>
                        <a:pt x="777" y="21"/>
                      </a:lnTo>
                      <a:lnTo>
                        <a:pt x="787" y="21"/>
                      </a:lnTo>
                      <a:lnTo>
                        <a:pt x="797" y="20"/>
                      </a:lnTo>
                      <a:lnTo>
                        <a:pt x="806" y="19"/>
                      </a:lnTo>
                      <a:lnTo>
                        <a:pt x="814" y="19"/>
                      </a:lnTo>
                      <a:lnTo>
                        <a:pt x="821" y="18"/>
                      </a:lnTo>
                      <a:lnTo>
                        <a:pt x="821" y="20"/>
                      </a:lnTo>
                      <a:lnTo>
                        <a:pt x="821" y="23"/>
                      </a:lnTo>
                      <a:lnTo>
                        <a:pt x="819" y="24"/>
                      </a:lnTo>
                      <a:lnTo>
                        <a:pt x="818" y="24"/>
                      </a:lnTo>
                      <a:lnTo>
                        <a:pt x="816" y="26"/>
                      </a:lnTo>
                      <a:lnTo>
                        <a:pt x="816" y="28"/>
                      </a:lnTo>
                      <a:lnTo>
                        <a:pt x="819" y="32"/>
                      </a:lnTo>
                      <a:lnTo>
                        <a:pt x="823" y="33"/>
                      </a:lnTo>
                      <a:lnTo>
                        <a:pt x="824" y="33"/>
                      </a:lnTo>
                      <a:lnTo>
                        <a:pt x="825" y="33"/>
                      </a:lnTo>
                      <a:lnTo>
                        <a:pt x="829" y="28"/>
                      </a:lnTo>
                      <a:lnTo>
                        <a:pt x="833" y="26"/>
                      </a:lnTo>
                      <a:lnTo>
                        <a:pt x="837" y="26"/>
                      </a:lnTo>
                      <a:lnTo>
                        <a:pt x="842" y="28"/>
                      </a:lnTo>
                      <a:lnTo>
                        <a:pt x="846" y="30"/>
                      </a:lnTo>
                      <a:lnTo>
                        <a:pt x="851" y="31"/>
                      </a:lnTo>
                      <a:lnTo>
                        <a:pt x="863" y="30"/>
                      </a:lnTo>
                      <a:lnTo>
                        <a:pt x="877" y="28"/>
                      </a:lnTo>
                      <a:lnTo>
                        <a:pt x="884" y="28"/>
                      </a:lnTo>
                      <a:lnTo>
                        <a:pt x="889" y="30"/>
                      </a:lnTo>
                      <a:lnTo>
                        <a:pt x="894" y="32"/>
                      </a:lnTo>
                      <a:lnTo>
                        <a:pt x="895" y="33"/>
                      </a:lnTo>
                      <a:lnTo>
                        <a:pt x="894" y="34"/>
                      </a:lnTo>
                      <a:lnTo>
                        <a:pt x="891" y="37"/>
                      </a:lnTo>
                      <a:lnTo>
                        <a:pt x="885" y="40"/>
                      </a:lnTo>
                      <a:lnTo>
                        <a:pt x="876" y="44"/>
                      </a:lnTo>
                      <a:lnTo>
                        <a:pt x="867" y="46"/>
                      </a:lnTo>
                      <a:lnTo>
                        <a:pt x="857" y="47"/>
                      </a:lnTo>
                      <a:lnTo>
                        <a:pt x="835" y="47"/>
                      </a:lnTo>
                      <a:lnTo>
                        <a:pt x="818" y="46"/>
                      </a:lnTo>
                      <a:lnTo>
                        <a:pt x="797" y="43"/>
                      </a:lnTo>
                      <a:lnTo>
                        <a:pt x="777" y="43"/>
                      </a:lnTo>
                      <a:lnTo>
                        <a:pt x="757" y="44"/>
                      </a:lnTo>
                      <a:lnTo>
                        <a:pt x="736" y="46"/>
                      </a:lnTo>
                      <a:lnTo>
                        <a:pt x="734" y="47"/>
                      </a:lnTo>
                      <a:lnTo>
                        <a:pt x="731" y="50"/>
                      </a:lnTo>
                      <a:lnTo>
                        <a:pt x="731" y="52"/>
                      </a:lnTo>
                      <a:lnTo>
                        <a:pt x="731" y="56"/>
                      </a:lnTo>
                      <a:lnTo>
                        <a:pt x="734" y="63"/>
                      </a:lnTo>
                      <a:lnTo>
                        <a:pt x="736" y="69"/>
                      </a:lnTo>
                      <a:lnTo>
                        <a:pt x="738" y="69"/>
                      </a:lnTo>
                      <a:lnTo>
                        <a:pt x="739" y="69"/>
                      </a:lnTo>
                      <a:lnTo>
                        <a:pt x="741" y="66"/>
                      </a:lnTo>
                      <a:lnTo>
                        <a:pt x="748" y="61"/>
                      </a:lnTo>
                      <a:lnTo>
                        <a:pt x="754" y="58"/>
                      </a:lnTo>
                      <a:lnTo>
                        <a:pt x="759" y="57"/>
                      </a:lnTo>
                      <a:lnTo>
                        <a:pt x="767" y="58"/>
                      </a:lnTo>
                      <a:lnTo>
                        <a:pt x="771" y="57"/>
                      </a:lnTo>
                      <a:lnTo>
                        <a:pt x="773" y="56"/>
                      </a:lnTo>
                      <a:lnTo>
                        <a:pt x="777" y="55"/>
                      </a:lnTo>
                      <a:lnTo>
                        <a:pt x="780" y="53"/>
                      </a:lnTo>
                      <a:lnTo>
                        <a:pt x="782" y="55"/>
                      </a:lnTo>
                      <a:lnTo>
                        <a:pt x="787" y="55"/>
                      </a:lnTo>
                      <a:lnTo>
                        <a:pt x="793" y="53"/>
                      </a:lnTo>
                      <a:lnTo>
                        <a:pt x="800" y="53"/>
                      </a:lnTo>
                      <a:lnTo>
                        <a:pt x="804" y="53"/>
                      </a:lnTo>
                      <a:lnTo>
                        <a:pt x="806" y="55"/>
                      </a:lnTo>
                      <a:lnTo>
                        <a:pt x="806" y="56"/>
                      </a:lnTo>
                      <a:lnTo>
                        <a:pt x="806" y="57"/>
                      </a:lnTo>
                      <a:lnTo>
                        <a:pt x="805" y="59"/>
                      </a:lnTo>
                      <a:lnTo>
                        <a:pt x="801" y="64"/>
                      </a:lnTo>
                      <a:lnTo>
                        <a:pt x="799" y="66"/>
                      </a:lnTo>
                      <a:lnTo>
                        <a:pt x="799" y="69"/>
                      </a:lnTo>
                      <a:lnTo>
                        <a:pt x="800" y="70"/>
                      </a:lnTo>
                      <a:lnTo>
                        <a:pt x="802" y="71"/>
                      </a:lnTo>
                      <a:lnTo>
                        <a:pt x="819" y="71"/>
                      </a:lnTo>
                      <a:lnTo>
                        <a:pt x="826" y="70"/>
                      </a:lnTo>
                      <a:lnTo>
                        <a:pt x="834" y="68"/>
                      </a:lnTo>
                      <a:lnTo>
                        <a:pt x="834" y="66"/>
                      </a:lnTo>
                      <a:lnTo>
                        <a:pt x="835" y="65"/>
                      </a:lnTo>
                      <a:lnTo>
                        <a:pt x="834" y="63"/>
                      </a:lnTo>
                      <a:lnTo>
                        <a:pt x="835" y="61"/>
                      </a:lnTo>
                      <a:lnTo>
                        <a:pt x="835" y="59"/>
                      </a:lnTo>
                      <a:lnTo>
                        <a:pt x="838" y="59"/>
                      </a:lnTo>
                      <a:lnTo>
                        <a:pt x="847" y="58"/>
                      </a:lnTo>
                      <a:lnTo>
                        <a:pt x="857" y="58"/>
                      </a:lnTo>
                      <a:lnTo>
                        <a:pt x="866" y="58"/>
                      </a:lnTo>
                      <a:lnTo>
                        <a:pt x="875" y="57"/>
                      </a:lnTo>
                      <a:lnTo>
                        <a:pt x="877" y="56"/>
                      </a:lnTo>
                      <a:lnTo>
                        <a:pt x="880" y="57"/>
                      </a:lnTo>
                      <a:lnTo>
                        <a:pt x="880" y="58"/>
                      </a:lnTo>
                      <a:lnTo>
                        <a:pt x="879" y="61"/>
                      </a:lnTo>
                      <a:lnTo>
                        <a:pt x="876" y="63"/>
                      </a:lnTo>
                      <a:lnTo>
                        <a:pt x="875" y="65"/>
                      </a:lnTo>
                      <a:lnTo>
                        <a:pt x="873" y="68"/>
                      </a:lnTo>
                      <a:lnTo>
                        <a:pt x="871" y="70"/>
                      </a:lnTo>
                      <a:lnTo>
                        <a:pt x="861" y="76"/>
                      </a:lnTo>
                      <a:lnTo>
                        <a:pt x="851" y="82"/>
                      </a:lnTo>
                      <a:lnTo>
                        <a:pt x="829" y="89"/>
                      </a:lnTo>
                      <a:lnTo>
                        <a:pt x="820" y="94"/>
                      </a:lnTo>
                      <a:lnTo>
                        <a:pt x="815" y="97"/>
                      </a:lnTo>
                      <a:lnTo>
                        <a:pt x="811" y="102"/>
                      </a:lnTo>
                      <a:lnTo>
                        <a:pt x="810" y="106"/>
                      </a:lnTo>
                      <a:lnTo>
                        <a:pt x="809" y="108"/>
                      </a:lnTo>
                      <a:lnTo>
                        <a:pt x="806" y="109"/>
                      </a:lnTo>
                      <a:lnTo>
                        <a:pt x="805" y="109"/>
                      </a:lnTo>
                      <a:lnTo>
                        <a:pt x="806" y="110"/>
                      </a:lnTo>
                      <a:lnTo>
                        <a:pt x="810" y="113"/>
                      </a:lnTo>
                      <a:lnTo>
                        <a:pt x="815" y="113"/>
                      </a:lnTo>
                      <a:lnTo>
                        <a:pt x="819" y="111"/>
                      </a:lnTo>
                      <a:lnTo>
                        <a:pt x="824" y="109"/>
                      </a:lnTo>
                      <a:lnTo>
                        <a:pt x="844" y="98"/>
                      </a:lnTo>
                      <a:lnTo>
                        <a:pt x="856" y="94"/>
                      </a:lnTo>
                      <a:lnTo>
                        <a:pt x="868" y="91"/>
                      </a:lnTo>
                      <a:lnTo>
                        <a:pt x="876" y="89"/>
                      </a:lnTo>
                      <a:lnTo>
                        <a:pt x="885" y="85"/>
                      </a:lnTo>
                      <a:lnTo>
                        <a:pt x="894" y="82"/>
                      </a:lnTo>
                      <a:lnTo>
                        <a:pt x="903" y="81"/>
                      </a:lnTo>
                      <a:lnTo>
                        <a:pt x="905" y="79"/>
                      </a:lnTo>
                      <a:lnTo>
                        <a:pt x="908" y="77"/>
                      </a:lnTo>
                      <a:lnTo>
                        <a:pt x="909" y="74"/>
                      </a:lnTo>
                      <a:lnTo>
                        <a:pt x="912" y="71"/>
                      </a:lnTo>
                      <a:lnTo>
                        <a:pt x="917" y="71"/>
                      </a:lnTo>
                      <a:lnTo>
                        <a:pt x="923" y="71"/>
                      </a:lnTo>
                      <a:lnTo>
                        <a:pt x="928" y="71"/>
                      </a:lnTo>
                      <a:lnTo>
                        <a:pt x="933" y="70"/>
                      </a:lnTo>
                      <a:lnTo>
                        <a:pt x="940" y="69"/>
                      </a:lnTo>
                      <a:lnTo>
                        <a:pt x="946" y="68"/>
                      </a:lnTo>
                      <a:lnTo>
                        <a:pt x="959" y="69"/>
                      </a:lnTo>
                      <a:lnTo>
                        <a:pt x="961" y="69"/>
                      </a:lnTo>
                      <a:lnTo>
                        <a:pt x="964" y="68"/>
                      </a:lnTo>
                      <a:lnTo>
                        <a:pt x="967" y="63"/>
                      </a:lnTo>
                      <a:lnTo>
                        <a:pt x="970" y="62"/>
                      </a:lnTo>
                      <a:lnTo>
                        <a:pt x="973" y="61"/>
                      </a:lnTo>
                      <a:lnTo>
                        <a:pt x="985" y="61"/>
                      </a:lnTo>
                      <a:lnTo>
                        <a:pt x="997" y="58"/>
                      </a:lnTo>
                      <a:lnTo>
                        <a:pt x="1004" y="56"/>
                      </a:lnTo>
                      <a:lnTo>
                        <a:pt x="1012" y="53"/>
                      </a:lnTo>
                      <a:lnTo>
                        <a:pt x="1017" y="53"/>
                      </a:lnTo>
                      <a:lnTo>
                        <a:pt x="1020" y="55"/>
                      </a:lnTo>
                      <a:lnTo>
                        <a:pt x="1022" y="57"/>
                      </a:lnTo>
                      <a:lnTo>
                        <a:pt x="1025" y="61"/>
                      </a:lnTo>
                      <a:lnTo>
                        <a:pt x="1027" y="68"/>
                      </a:lnTo>
                      <a:lnTo>
                        <a:pt x="1032" y="74"/>
                      </a:lnTo>
                      <a:lnTo>
                        <a:pt x="1037" y="78"/>
                      </a:lnTo>
                      <a:lnTo>
                        <a:pt x="1041" y="84"/>
                      </a:lnTo>
                      <a:lnTo>
                        <a:pt x="1041" y="87"/>
                      </a:lnTo>
                      <a:lnTo>
                        <a:pt x="1040" y="88"/>
                      </a:lnTo>
                      <a:lnTo>
                        <a:pt x="1026" y="89"/>
                      </a:lnTo>
                      <a:lnTo>
                        <a:pt x="1020" y="91"/>
                      </a:lnTo>
                      <a:lnTo>
                        <a:pt x="1012" y="94"/>
                      </a:lnTo>
                      <a:lnTo>
                        <a:pt x="1011" y="94"/>
                      </a:lnTo>
                      <a:lnTo>
                        <a:pt x="1008" y="94"/>
                      </a:lnTo>
                      <a:lnTo>
                        <a:pt x="1003" y="91"/>
                      </a:lnTo>
                      <a:lnTo>
                        <a:pt x="998" y="90"/>
                      </a:lnTo>
                      <a:lnTo>
                        <a:pt x="995" y="91"/>
                      </a:lnTo>
                      <a:lnTo>
                        <a:pt x="994" y="93"/>
                      </a:lnTo>
                      <a:lnTo>
                        <a:pt x="994" y="95"/>
                      </a:lnTo>
                      <a:lnTo>
                        <a:pt x="995" y="97"/>
                      </a:lnTo>
                      <a:lnTo>
                        <a:pt x="999" y="103"/>
                      </a:lnTo>
                      <a:lnTo>
                        <a:pt x="979" y="106"/>
                      </a:lnTo>
                      <a:lnTo>
                        <a:pt x="969" y="106"/>
                      </a:lnTo>
                      <a:lnTo>
                        <a:pt x="964" y="104"/>
                      </a:lnTo>
                      <a:lnTo>
                        <a:pt x="959" y="102"/>
                      </a:lnTo>
                      <a:lnTo>
                        <a:pt x="953" y="100"/>
                      </a:lnTo>
                      <a:lnTo>
                        <a:pt x="951" y="101"/>
                      </a:lnTo>
                      <a:lnTo>
                        <a:pt x="950" y="102"/>
                      </a:lnTo>
                      <a:lnTo>
                        <a:pt x="950" y="106"/>
                      </a:lnTo>
                      <a:lnTo>
                        <a:pt x="951" y="107"/>
                      </a:lnTo>
                      <a:lnTo>
                        <a:pt x="953" y="109"/>
                      </a:lnTo>
                      <a:lnTo>
                        <a:pt x="956" y="110"/>
                      </a:lnTo>
                      <a:lnTo>
                        <a:pt x="964" y="111"/>
                      </a:lnTo>
                      <a:lnTo>
                        <a:pt x="966" y="113"/>
                      </a:lnTo>
                      <a:lnTo>
                        <a:pt x="969" y="114"/>
                      </a:lnTo>
                      <a:lnTo>
                        <a:pt x="969" y="115"/>
                      </a:lnTo>
                      <a:lnTo>
                        <a:pt x="967" y="116"/>
                      </a:lnTo>
                      <a:lnTo>
                        <a:pt x="964" y="117"/>
                      </a:lnTo>
                      <a:lnTo>
                        <a:pt x="955" y="117"/>
                      </a:lnTo>
                      <a:lnTo>
                        <a:pt x="950" y="117"/>
                      </a:lnTo>
                      <a:lnTo>
                        <a:pt x="945" y="119"/>
                      </a:lnTo>
                      <a:lnTo>
                        <a:pt x="942" y="119"/>
                      </a:lnTo>
                      <a:lnTo>
                        <a:pt x="941" y="117"/>
                      </a:lnTo>
                      <a:lnTo>
                        <a:pt x="936" y="115"/>
                      </a:lnTo>
                      <a:lnTo>
                        <a:pt x="932" y="115"/>
                      </a:lnTo>
                      <a:lnTo>
                        <a:pt x="928" y="116"/>
                      </a:lnTo>
                      <a:lnTo>
                        <a:pt x="924" y="116"/>
                      </a:lnTo>
                      <a:lnTo>
                        <a:pt x="920" y="116"/>
                      </a:lnTo>
                      <a:lnTo>
                        <a:pt x="913" y="113"/>
                      </a:lnTo>
                      <a:lnTo>
                        <a:pt x="909" y="111"/>
                      </a:lnTo>
                      <a:lnTo>
                        <a:pt x="906" y="111"/>
                      </a:lnTo>
                      <a:lnTo>
                        <a:pt x="905" y="113"/>
                      </a:lnTo>
                      <a:lnTo>
                        <a:pt x="904" y="115"/>
                      </a:lnTo>
                      <a:lnTo>
                        <a:pt x="905" y="119"/>
                      </a:lnTo>
                      <a:lnTo>
                        <a:pt x="908" y="121"/>
                      </a:lnTo>
                      <a:lnTo>
                        <a:pt x="909" y="125"/>
                      </a:lnTo>
                      <a:lnTo>
                        <a:pt x="913" y="132"/>
                      </a:lnTo>
                      <a:lnTo>
                        <a:pt x="915" y="134"/>
                      </a:lnTo>
                      <a:lnTo>
                        <a:pt x="919" y="134"/>
                      </a:lnTo>
                      <a:lnTo>
                        <a:pt x="931" y="130"/>
                      </a:lnTo>
                      <a:lnTo>
                        <a:pt x="937" y="129"/>
                      </a:lnTo>
                      <a:lnTo>
                        <a:pt x="942" y="129"/>
                      </a:lnTo>
                      <a:lnTo>
                        <a:pt x="946" y="129"/>
                      </a:lnTo>
                      <a:lnTo>
                        <a:pt x="947" y="132"/>
                      </a:lnTo>
                      <a:lnTo>
                        <a:pt x="947" y="134"/>
                      </a:lnTo>
                      <a:lnTo>
                        <a:pt x="946" y="135"/>
                      </a:lnTo>
                      <a:lnTo>
                        <a:pt x="942" y="135"/>
                      </a:lnTo>
                      <a:lnTo>
                        <a:pt x="940" y="138"/>
                      </a:lnTo>
                      <a:lnTo>
                        <a:pt x="937" y="140"/>
                      </a:lnTo>
                      <a:lnTo>
                        <a:pt x="936" y="143"/>
                      </a:lnTo>
                      <a:lnTo>
                        <a:pt x="934" y="145"/>
                      </a:lnTo>
                      <a:lnTo>
                        <a:pt x="933" y="145"/>
                      </a:lnTo>
                      <a:lnTo>
                        <a:pt x="929" y="146"/>
                      </a:lnTo>
                      <a:lnTo>
                        <a:pt x="926" y="147"/>
                      </a:lnTo>
                      <a:lnTo>
                        <a:pt x="924" y="147"/>
                      </a:lnTo>
                      <a:lnTo>
                        <a:pt x="924" y="148"/>
                      </a:lnTo>
                      <a:lnTo>
                        <a:pt x="922" y="152"/>
                      </a:lnTo>
                      <a:lnTo>
                        <a:pt x="920" y="154"/>
                      </a:lnTo>
                      <a:lnTo>
                        <a:pt x="917" y="159"/>
                      </a:lnTo>
                      <a:lnTo>
                        <a:pt x="915" y="161"/>
                      </a:lnTo>
                      <a:lnTo>
                        <a:pt x="915" y="164"/>
                      </a:lnTo>
                      <a:lnTo>
                        <a:pt x="917" y="167"/>
                      </a:lnTo>
                      <a:lnTo>
                        <a:pt x="918" y="172"/>
                      </a:lnTo>
                      <a:lnTo>
                        <a:pt x="918" y="176"/>
                      </a:lnTo>
                      <a:lnTo>
                        <a:pt x="914" y="189"/>
                      </a:lnTo>
                      <a:lnTo>
                        <a:pt x="914" y="194"/>
                      </a:lnTo>
                      <a:lnTo>
                        <a:pt x="914" y="197"/>
                      </a:lnTo>
                      <a:lnTo>
                        <a:pt x="917" y="200"/>
                      </a:lnTo>
                      <a:lnTo>
                        <a:pt x="918" y="203"/>
                      </a:lnTo>
                      <a:lnTo>
                        <a:pt x="918" y="206"/>
                      </a:lnTo>
                      <a:lnTo>
                        <a:pt x="917" y="210"/>
                      </a:lnTo>
                      <a:lnTo>
                        <a:pt x="915" y="210"/>
                      </a:lnTo>
                      <a:lnTo>
                        <a:pt x="913" y="210"/>
                      </a:lnTo>
                      <a:lnTo>
                        <a:pt x="910" y="209"/>
                      </a:lnTo>
                      <a:lnTo>
                        <a:pt x="906" y="206"/>
                      </a:lnTo>
                      <a:lnTo>
                        <a:pt x="904" y="206"/>
                      </a:lnTo>
                      <a:lnTo>
                        <a:pt x="901" y="208"/>
                      </a:lnTo>
                      <a:lnTo>
                        <a:pt x="900" y="210"/>
                      </a:lnTo>
                      <a:lnTo>
                        <a:pt x="900" y="212"/>
                      </a:lnTo>
                      <a:lnTo>
                        <a:pt x="901" y="216"/>
                      </a:lnTo>
                      <a:lnTo>
                        <a:pt x="905" y="218"/>
                      </a:lnTo>
                      <a:lnTo>
                        <a:pt x="908" y="219"/>
                      </a:lnTo>
                      <a:lnTo>
                        <a:pt x="912" y="221"/>
                      </a:lnTo>
                      <a:lnTo>
                        <a:pt x="920" y="221"/>
                      </a:lnTo>
                      <a:lnTo>
                        <a:pt x="928" y="219"/>
                      </a:lnTo>
                      <a:lnTo>
                        <a:pt x="931" y="219"/>
                      </a:lnTo>
                      <a:lnTo>
                        <a:pt x="932" y="221"/>
                      </a:lnTo>
                      <a:lnTo>
                        <a:pt x="933" y="225"/>
                      </a:lnTo>
                      <a:lnTo>
                        <a:pt x="932" y="230"/>
                      </a:lnTo>
                      <a:lnTo>
                        <a:pt x="931" y="234"/>
                      </a:lnTo>
                      <a:lnTo>
                        <a:pt x="928" y="236"/>
                      </a:lnTo>
                      <a:lnTo>
                        <a:pt x="924" y="237"/>
                      </a:lnTo>
                      <a:lnTo>
                        <a:pt x="920" y="237"/>
                      </a:lnTo>
                      <a:lnTo>
                        <a:pt x="917" y="236"/>
                      </a:lnTo>
                      <a:lnTo>
                        <a:pt x="909" y="231"/>
                      </a:lnTo>
                      <a:lnTo>
                        <a:pt x="901" y="226"/>
                      </a:lnTo>
                      <a:lnTo>
                        <a:pt x="900" y="226"/>
                      </a:lnTo>
                      <a:lnTo>
                        <a:pt x="898" y="228"/>
                      </a:lnTo>
                      <a:lnTo>
                        <a:pt x="894" y="230"/>
                      </a:lnTo>
                      <a:lnTo>
                        <a:pt x="890" y="235"/>
                      </a:lnTo>
                      <a:lnTo>
                        <a:pt x="889" y="237"/>
                      </a:lnTo>
                      <a:lnTo>
                        <a:pt x="889" y="240"/>
                      </a:lnTo>
                      <a:lnTo>
                        <a:pt x="891" y="244"/>
                      </a:lnTo>
                      <a:lnTo>
                        <a:pt x="894" y="248"/>
                      </a:lnTo>
                      <a:lnTo>
                        <a:pt x="899" y="251"/>
                      </a:lnTo>
                      <a:lnTo>
                        <a:pt x="904" y="254"/>
                      </a:lnTo>
                      <a:lnTo>
                        <a:pt x="905" y="255"/>
                      </a:lnTo>
                      <a:lnTo>
                        <a:pt x="906" y="257"/>
                      </a:lnTo>
                      <a:lnTo>
                        <a:pt x="905" y="257"/>
                      </a:lnTo>
                      <a:lnTo>
                        <a:pt x="903" y="258"/>
                      </a:lnTo>
                      <a:lnTo>
                        <a:pt x="900" y="258"/>
                      </a:lnTo>
                      <a:lnTo>
                        <a:pt x="895" y="258"/>
                      </a:lnTo>
                      <a:lnTo>
                        <a:pt x="890" y="257"/>
                      </a:lnTo>
                      <a:lnTo>
                        <a:pt x="885" y="257"/>
                      </a:lnTo>
                      <a:lnTo>
                        <a:pt x="884" y="258"/>
                      </a:lnTo>
                      <a:lnTo>
                        <a:pt x="882" y="261"/>
                      </a:lnTo>
                      <a:lnTo>
                        <a:pt x="884" y="262"/>
                      </a:lnTo>
                      <a:lnTo>
                        <a:pt x="885" y="263"/>
                      </a:lnTo>
                      <a:lnTo>
                        <a:pt x="894" y="266"/>
                      </a:lnTo>
                      <a:lnTo>
                        <a:pt x="899" y="267"/>
                      </a:lnTo>
                      <a:lnTo>
                        <a:pt x="903" y="269"/>
                      </a:lnTo>
                      <a:lnTo>
                        <a:pt x="905" y="270"/>
                      </a:lnTo>
                      <a:lnTo>
                        <a:pt x="908" y="270"/>
                      </a:lnTo>
                      <a:lnTo>
                        <a:pt x="910" y="274"/>
                      </a:lnTo>
                      <a:lnTo>
                        <a:pt x="912" y="276"/>
                      </a:lnTo>
                      <a:lnTo>
                        <a:pt x="912" y="282"/>
                      </a:lnTo>
                      <a:lnTo>
                        <a:pt x="910" y="285"/>
                      </a:lnTo>
                      <a:lnTo>
                        <a:pt x="909" y="286"/>
                      </a:lnTo>
                      <a:lnTo>
                        <a:pt x="908" y="286"/>
                      </a:lnTo>
                      <a:lnTo>
                        <a:pt x="905" y="285"/>
                      </a:lnTo>
                      <a:lnTo>
                        <a:pt x="901" y="282"/>
                      </a:lnTo>
                      <a:lnTo>
                        <a:pt x="899" y="280"/>
                      </a:lnTo>
                      <a:lnTo>
                        <a:pt x="894" y="279"/>
                      </a:lnTo>
                      <a:lnTo>
                        <a:pt x="891" y="277"/>
                      </a:lnTo>
                      <a:lnTo>
                        <a:pt x="887" y="275"/>
                      </a:lnTo>
                      <a:lnTo>
                        <a:pt x="885" y="273"/>
                      </a:lnTo>
                      <a:lnTo>
                        <a:pt x="882" y="272"/>
                      </a:lnTo>
                      <a:lnTo>
                        <a:pt x="881" y="273"/>
                      </a:lnTo>
                      <a:lnTo>
                        <a:pt x="881" y="275"/>
                      </a:lnTo>
                      <a:lnTo>
                        <a:pt x="881" y="276"/>
                      </a:lnTo>
                      <a:lnTo>
                        <a:pt x="882" y="277"/>
                      </a:lnTo>
                      <a:lnTo>
                        <a:pt x="887" y="281"/>
                      </a:lnTo>
                      <a:lnTo>
                        <a:pt x="891" y="286"/>
                      </a:lnTo>
                      <a:lnTo>
                        <a:pt x="891" y="291"/>
                      </a:lnTo>
                      <a:lnTo>
                        <a:pt x="891" y="296"/>
                      </a:lnTo>
                      <a:lnTo>
                        <a:pt x="891" y="298"/>
                      </a:lnTo>
                      <a:lnTo>
                        <a:pt x="893" y="299"/>
                      </a:lnTo>
                      <a:lnTo>
                        <a:pt x="896" y="300"/>
                      </a:lnTo>
                      <a:lnTo>
                        <a:pt x="901" y="300"/>
                      </a:lnTo>
                      <a:lnTo>
                        <a:pt x="906" y="301"/>
                      </a:lnTo>
                      <a:lnTo>
                        <a:pt x="912" y="302"/>
                      </a:lnTo>
                      <a:lnTo>
                        <a:pt x="912" y="304"/>
                      </a:lnTo>
                      <a:lnTo>
                        <a:pt x="912" y="306"/>
                      </a:lnTo>
                      <a:lnTo>
                        <a:pt x="908" y="308"/>
                      </a:lnTo>
                      <a:lnTo>
                        <a:pt x="905" y="308"/>
                      </a:lnTo>
                      <a:lnTo>
                        <a:pt x="901" y="307"/>
                      </a:lnTo>
                      <a:lnTo>
                        <a:pt x="899" y="306"/>
                      </a:lnTo>
                      <a:lnTo>
                        <a:pt x="895" y="306"/>
                      </a:lnTo>
                      <a:lnTo>
                        <a:pt x="893" y="307"/>
                      </a:lnTo>
                      <a:lnTo>
                        <a:pt x="886" y="306"/>
                      </a:lnTo>
                      <a:lnTo>
                        <a:pt x="884" y="306"/>
                      </a:lnTo>
                      <a:lnTo>
                        <a:pt x="882" y="308"/>
                      </a:lnTo>
                      <a:lnTo>
                        <a:pt x="879" y="317"/>
                      </a:lnTo>
                      <a:lnTo>
                        <a:pt x="879" y="320"/>
                      </a:lnTo>
                      <a:lnTo>
                        <a:pt x="880" y="321"/>
                      </a:lnTo>
                      <a:lnTo>
                        <a:pt x="881" y="323"/>
                      </a:lnTo>
                      <a:lnTo>
                        <a:pt x="885" y="323"/>
                      </a:lnTo>
                      <a:lnTo>
                        <a:pt x="887" y="325"/>
                      </a:lnTo>
                      <a:lnTo>
                        <a:pt x="890" y="328"/>
                      </a:lnTo>
                      <a:lnTo>
                        <a:pt x="890" y="333"/>
                      </a:lnTo>
                      <a:lnTo>
                        <a:pt x="890" y="337"/>
                      </a:lnTo>
                      <a:lnTo>
                        <a:pt x="889" y="339"/>
                      </a:lnTo>
                      <a:lnTo>
                        <a:pt x="887" y="339"/>
                      </a:lnTo>
                      <a:lnTo>
                        <a:pt x="885" y="340"/>
                      </a:lnTo>
                      <a:lnTo>
                        <a:pt x="882" y="339"/>
                      </a:lnTo>
                      <a:lnTo>
                        <a:pt x="879" y="337"/>
                      </a:lnTo>
                      <a:lnTo>
                        <a:pt x="873" y="336"/>
                      </a:lnTo>
                      <a:lnTo>
                        <a:pt x="871" y="336"/>
                      </a:lnTo>
                      <a:lnTo>
                        <a:pt x="868" y="337"/>
                      </a:lnTo>
                      <a:lnTo>
                        <a:pt x="863" y="340"/>
                      </a:lnTo>
                      <a:lnTo>
                        <a:pt x="860" y="341"/>
                      </a:lnTo>
                      <a:lnTo>
                        <a:pt x="854" y="343"/>
                      </a:lnTo>
                      <a:lnTo>
                        <a:pt x="853" y="341"/>
                      </a:lnTo>
                      <a:lnTo>
                        <a:pt x="851" y="340"/>
                      </a:lnTo>
                      <a:lnTo>
                        <a:pt x="847" y="337"/>
                      </a:lnTo>
                      <a:lnTo>
                        <a:pt x="843" y="334"/>
                      </a:lnTo>
                      <a:lnTo>
                        <a:pt x="839" y="332"/>
                      </a:lnTo>
                      <a:lnTo>
                        <a:pt x="835" y="328"/>
                      </a:lnTo>
                      <a:lnTo>
                        <a:pt x="834" y="325"/>
                      </a:lnTo>
                      <a:lnTo>
                        <a:pt x="834" y="324"/>
                      </a:lnTo>
                      <a:lnTo>
                        <a:pt x="835" y="324"/>
                      </a:lnTo>
                      <a:lnTo>
                        <a:pt x="842" y="321"/>
                      </a:lnTo>
                      <a:lnTo>
                        <a:pt x="844" y="319"/>
                      </a:lnTo>
                      <a:lnTo>
                        <a:pt x="846" y="317"/>
                      </a:lnTo>
                      <a:lnTo>
                        <a:pt x="844" y="315"/>
                      </a:lnTo>
                      <a:lnTo>
                        <a:pt x="842" y="315"/>
                      </a:lnTo>
                      <a:lnTo>
                        <a:pt x="833" y="317"/>
                      </a:lnTo>
                      <a:lnTo>
                        <a:pt x="823" y="318"/>
                      </a:lnTo>
                      <a:lnTo>
                        <a:pt x="821" y="318"/>
                      </a:lnTo>
                      <a:lnTo>
                        <a:pt x="821" y="319"/>
                      </a:lnTo>
                      <a:lnTo>
                        <a:pt x="820" y="321"/>
                      </a:lnTo>
                      <a:lnTo>
                        <a:pt x="818" y="323"/>
                      </a:lnTo>
                      <a:lnTo>
                        <a:pt x="814" y="323"/>
                      </a:lnTo>
                      <a:lnTo>
                        <a:pt x="811" y="323"/>
                      </a:lnTo>
                      <a:lnTo>
                        <a:pt x="810" y="323"/>
                      </a:lnTo>
                      <a:lnTo>
                        <a:pt x="809" y="325"/>
                      </a:lnTo>
                      <a:lnTo>
                        <a:pt x="807" y="328"/>
                      </a:lnTo>
                      <a:lnTo>
                        <a:pt x="805" y="332"/>
                      </a:lnTo>
                      <a:lnTo>
                        <a:pt x="797" y="337"/>
                      </a:lnTo>
                      <a:lnTo>
                        <a:pt x="796" y="339"/>
                      </a:lnTo>
                      <a:lnTo>
                        <a:pt x="796" y="341"/>
                      </a:lnTo>
                      <a:lnTo>
                        <a:pt x="797" y="345"/>
                      </a:lnTo>
                      <a:lnTo>
                        <a:pt x="800" y="346"/>
                      </a:lnTo>
                      <a:lnTo>
                        <a:pt x="807" y="349"/>
                      </a:lnTo>
                      <a:lnTo>
                        <a:pt x="809" y="351"/>
                      </a:lnTo>
                      <a:lnTo>
                        <a:pt x="809" y="352"/>
                      </a:lnTo>
                      <a:lnTo>
                        <a:pt x="809" y="353"/>
                      </a:lnTo>
                      <a:lnTo>
                        <a:pt x="807" y="355"/>
                      </a:lnTo>
                      <a:lnTo>
                        <a:pt x="807" y="356"/>
                      </a:lnTo>
                      <a:lnTo>
                        <a:pt x="809" y="357"/>
                      </a:lnTo>
                      <a:lnTo>
                        <a:pt x="811" y="358"/>
                      </a:lnTo>
                      <a:lnTo>
                        <a:pt x="815" y="358"/>
                      </a:lnTo>
                      <a:lnTo>
                        <a:pt x="815" y="360"/>
                      </a:lnTo>
                      <a:lnTo>
                        <a:pt x="813" y="363"/>
                      </a:lnTo>
                      <a:lnTo>
                        <a:pt x="807" y="364"/>
                      </a:lnTo>
                      <a:lnTo>
                        <a:pt x="805" y="366"/>
                      </a:lnTo>
                      <a:lnTo>
                        <a:pt x="804" y="368"/>
                      </a:lnTo>
                      <a:lnTo>
                        <a:pt x="802" y="370"/>
                      </a:lnTo>
                      <a:lnTo>
                        <a:pt x="805" y="373"/>
                      </a:lnTo>
                      <a:lnTo>
                        <a:pt x="807" y="377"/>
                      </a:lnTo>
                      <a:lnTo>
                        <a:pt x="809" y="378"/>
                      </a:lnTo>
                      <a:lnTo>
                        <a:pt x="810" y="378"/>
                      </a:lnTo>
                      <a:lnTo>
                        <a:pt x="810" y="379"/>
                      </a:lnTo>
                      <a:lnTo>
                        <a:pt x="813" y="376"/>
                      </a:lnTo>
                      <a:lnTo>
                        <a:pt x="815" y="373"/>
                      </a:lnTo>
                      <a:lnTo>
                        <a:pt x="819" y="372"/>
                      </a:lnTo>
                      <a:lnTo>
                        <a:pt x="823" y="373"/>
                      </a:lnTo>
                      <a:lnTo>
                        <a:pt x="828" y="376"/>
                      </a:lnTo>
                      <a:lnTo>
                        <a:pt x="833" y="376"/>
                      </a:lnTo>
                      <a:lnTo>
                        <a:pt x="843" y="375"/>
                      </a:lnTo>
                      <a:lnTo>
                        <a:pt x="844" y="376"/>
                      </a:lnTo>
                      <a:lnTo>
                        <a:pt x="846" y="377"/>
                      </a:lnTo>
                      <a:lnTo>
                        <a:pt x="847" y="379"/>
                      </a:lnTo>
                      <a:lnTo>
                        <a:pt x="848" y="384"/>
                      </a:lnTo>
                      <a:lnTo>
                        <a:pt x="849" y="387"/>
                      </a:lnTo>
                      <a:lnTo>
                        <a:pt x="851" y="387"/>
                      </a:lnTo>
                      <a:lnTo>
                        <a:pt x="853" y="387"/>
                      </a:lnTo>
                      <a:lnTo>
                        <a:pt x="854" y="385"/>
                      </a:lnTo>
                      <a:lnTo>
                        <a:pt x="856" y="384"/>
                      </a:lnTo>
                      <a:lnTo>
                        <a:pt x="857" y="385"/>
                      </a:lnTo>
                      <a:lnTo>
                        <a:pt x="857" y="387"/>
                      </a:lnTo>
                      <a:lnTo>
                        <a:pt x="858" y="389"/>
                      </a:lnTo>
                      <a:lnTo>
                        <a:pt x="860" y="390"/>
                      </a:lnTo>
                      <a:lnTo>
                        <a:pt x="862" y="390"/>
                      </a:lnTo>
                      <a:lnTo>
                        <a:pt x="863" y="390"/>
                      </a:lnTo>
                      <a:lnTo>
                        <a:pt x="868" y="388"/>
                      </a:lnTo>
                      <a:lnTo>
                        <a:pt x="870" y="388"/>
                      </a:lnTo>
                      <a:lnTo>
                        <a:pt x="871" y="389"/>
                      </a:lnTo>
                      <a:lnTo>
                        <a:pt x="872" y="391"/>
                      </a:lnTo>
                      <a:lnTo>
                        <a:pt x="872" y="392"/>
                      </a:lnTo>
                      <a:lnTo>
                        <a:pt x="870" y="395"/>
                      </a:lnTo>
                      <a:lnTo>
                        <a:pt x="868" y="395"/>
                      </a:lnTo>
                      <a:lnTo>
                        <a:pt x="868" y="396"/>
                      </a:lnTo>
                      <a:lnTo>
                        <a:pt x="871" y="404"/>
                      </a:lnTo>
                      <a:lnTo>
                        <a:pt x="871" y="408"/>
                      </a:lnTo>
                      <a:lnTo>
                        <a:pt x="871" y="413"/>
                      </a:lnTo>
                      <a:lnTo>
                        <a:pt x="870" y="414"/>
                      </a:lnTo>
                      <a:lnTo>
                        <a:pt x="870" y="419"/>
                      </a:lnTo>
                      <a:lnTo>
                        <a:pt x="868" y="422"/>
                      </a:lnTo>
                      <a:lnTo>
                        <a:pt x="866" y="424"/>
                      </a:lnTo>
                      <a:lnTo>
                        <a:pt x="863" y="427"/>
                      </a:lnTo>
                      <a:lnTo>
                        <a:pt x="861" y="426"/>
                      </a:lnTo>
                      <a:lnTo>
                        <a:pt x="858" y="424"/>
                      </a:lnTo>
                      <a:lnTo>
                        <a:pt x="854" y="419"/>
                      </a:lnTo>
                      <a:lnTo>
                        <a:pt x="853" y="417"/>
                      </a:lnTo>
                      <a:lnTo>
                        <a:pt x="851" y="419"/>
                      </a:lnTo>
                      <a:lnTo>
                        <a:pt x="844" y="422"/>
                      </a:lnTo>
                      <a:lnTo>
                        <a:pt x="839" y="423"/>
                      </a:lnTo>
                      <a:lnTo>
                        <a:pt x="835" y="422"/>
                      </a:lnTo>
                      <a:lnTo>
                        <a:pt x="832" y="419"/>
                      </a:lnTo>
                      <a:lnTo>
                        <a:pt x="828" y="411"/>
                      </a:lnTo>
                      <a:lnTo>
                        <a:pt x="825" y="407"/>
                      </a:lnTo>
                      <a:lnTo>
                        <a:pt x="824" y="404"/>
                      </a:lnTo>
                      <a:lnTo>
                        <a:pt x="821" y="403"/>
                      </a:lnTo>
                      <a:lnTo>
                        <a:pt x="819" y="403"/>
                      </a:lnTo>
                      <a:lnTo>
                        <a:pt x="818" y="403"/>
                      </a:lnTo>
                      <a:lnTo>
                        <a:pt x="815" y="402"/>
                      </a:lnTo>
                      <a:lnTo>
                        <a:pt x="813" y="400"/>
                      </a:lnTo>
                      <a:lnTo>
                        <a:pt x="811" y="397"/>
                      </a:lnTo>
                      <a:lnTo>
                        <a:pt x="810" y="394"/>
                      </a:lnTo>
                      <a:lnTo>
                        <a:pt x="806" y="391"/>
                      </a:lnTo>
                      <a:lnTo>
                        <a:pt x="802" y="389"/>
                      </a:lnTo>
                      <a:lnTo>
                        <a:pt x="799" y="389"/>
                      </a:lnTo>
                      <a:lnTo>
                        <a:pt x="791" y="389"/>
                      </a:lnTo>
                      <a:lnTo>
                        <a:pt x="787" y="389"/>
                      </a:lnTo>
                      <a:lnTo>
                        <a:pt x="785" y="387"/>
                      </a:lnTo>
                      <a:lnTo>
                        <a:pt x="781" y="383"/>
                      </a:lnTo>
                      <a:lnTo>
                        <a:pt x="778" y="377"/>
                      </a:lnTo>
                      <a:lnTo>
                        <a:pt x="777" y="375"/>
                      </a:lnTo>
                      <a:lnTo>
                        <a:pt x="774" y="373"/>
                      </a:lnTo>
                      <a:lnTo>
                        <a:pt x="773" y="375"/>
                      </a:lnTo>
                      <a:lnTo>
                        <a:pt x="772" y="377"/>
                      </a:lnTo>
                      <a:lnTo>
                        <a:pt x="773" y="381"/>
                      </a:lnTo>
                      <a:lnTo>
                        <a:pt x="773" y="383"/>
                      </a:lnTo>
                      <a:lnTo>
                        <a:pt x="773" y="385"/>
                      </a:lnTo>
                      <a:lnTo>
                        <a:pt x="771" y="387"/>
                      </a:lnTo>
                      <a:lnTo>
                        <a:pt x="768" y="389"/>
                      </a:lnTo>
                      <a:lnTo>
                        <a:pt x="768" y="391"/>
                      </a:lnTo>
                      <a:lnTo>
                        <a:pt x="772" y="392"/>
                      </a:lnTo>
                      <a:lnTo>
                        <a:pt x="777" y="394"/>
                      </a:lnTo>
                      <a:lnTo>
                        <a:pt x="785" y="395"/>
                      </a:lnTo>
                      <a:lnTo>
                        <a:pt x="791" y="397"/>
                      </a:lnTo>
                      <a:lnTo>
                        <a:pt x="797" y="398"/>
                      </a:lnTo>
                      <a:lnTo>
                        <a:pt x="799" y="400"/>
                      </a:lnTo>
                      <a:lnTo>
                        <a:pt x="799" y="403"/>
                      </a:lnTo>
                      <a:lnTo>
                        <a:pt x="796" y="407"/>
                      </a:lnTo>
                      <a:lnTo>
                        <a:pt x="792" y="409"/>
                      </a:lnTo>
                      <a:lnTo>
                        <a:pt x="783" y="410"/>
                      </a:lnTo>
                      <a:lnTo>
                        <a:pt x="782" y="413"/>
                      </a:lnTo>
                      <a:lnTo>
                        <a:pt x="781" y="415"/>
                      </a:lnTo>
                      <a:lnTo>
                        <a:pt x="778" y="416"/>
                      </a:lnTo>
                      <a:lnTo>
                        <a:pt x="776" y="416"/>
                      </a:lnTo>
                      <a:lnTo>
                        <a:pt x="773" y="417"/>
                      </a:lnTo>
                      <a:lnTo>
                        <a:pt x="771" y="419"/>
                      </a:lnTo>
                      <a:lnTo>
                        <a:pt x="772" y="421"/>
                      </a:lnTo>
                      <a:lnTo>
                        <a:pt x="773" y="422"/>
                      </a:lnTo>
                      <a:lnTo>
                        <a:pt x="776" y="424"/>
                      </a:lnTo>
                      <a:lnTo>
                        <a:pt x="776" y="426"/>
                      </a:lnTo>
                      <a:lnTo>
                        <a:pt x="776" y="427"/>
                      </a:lnTo>
                      <a:lnTo>
                        <a:pt x="773" y="430"/>
                      </a:lnTo>
                      <a:lnTo>
                        <a:pt x="771" y="433"/>
                      </a:lnTo>
                      <a:lnTo>
                        <a:pt x="768" y="436"/>
                      </a:lnTo>
                      <a:lnTo>
                        <a:pt x="768" y="438"/>
                      </a:lnTo>
                      <a:lnTo>
                        <a:pt x="771" y="439"/>
                      </a:lnTo>
                      <a:lnTo>
                        <a:pt x="776" y="439"/>
                      </a:lnTo>
                      <a:lnTo>
                        <a:pt x="778" y="438"/>
                      </a:lnTo>
                      <a:lnTo>
                        <a:pt x="788" y="438"/>
                      </a:lnTo>
                      <a:lnTo>
                        <a:pt x="797" y="435"/>
                      </a:lnTo>
                      <a:lnTo>
                        <a:pt x="806" y="433"/>
                      </a:lnTo>
                      <a:lnTo>
                        <a:pt x="815" y="428"/>
                      </a:lnTo>
                      <a:lnTo>
                        <a:pt x="816" y="428"/>
                      </a:lnTo>
                      <a:lnTo>
                        <a:pt x="819" y="428"/>
                      </a:lnTo>
                      <a:lnTo>
                        <a:pt x="823" y="432"/>
                      </a:lnTo>
                      <a:lnTo>
                        <a:pt x="828" y="433"/>
                      </a:lnTo>
                      <a:lnTo>
                        <a:pt x="837" y="435"/>
                      </a:lnTo>
                      <a:lnTo>
                        <a:pt x="856" y="435"/>
                      </a:lnTo>
                      <a:lnTo>
                        <a:pt x="857" y="436"/>
                      </a:lnTo>
                      <a:lnTo>
                        <a:pt x="857" y="438"/>
                      </a:lnTo>
                      <a:lnTo>
                        <a:pt x="839" y="443"/>
                      </a:lnTo>
                      <a:lnTo>
                        <a:pt x="830" y="448"/>
                      </a:lnTo>
                      <a:lnTo>
                        <a:pt x="823" y="453"/>
                      </a:lnTo>
                      <a:lnTo>
                        <a:pt x="819" y="455"/>
                      </a:lnTo>
                      <a:lnTo>
                        <a:pt x="813" y="458"/>
                      </a:lnTo>
                      <a:lnTo>
                        <a:pt x="811" y="460"/>
                      </a:lnTo>
                      <a:lnTo>
                        <a:pt x="809" y="462"/>
                      </a:lnTo>
                      <a:lnTo>
                        <a:pt x="807" y="466"/>
                      </a:lnTo>
                      <a:lnTo>
                        <a:pt x="805" y="467"/>
                      </a:lnTo>
                      <a:lnTo>
                        <a:pt x="786" y="475"/>
                      </a:lnTo>
                      <a:lnTo>
                        <a:pt x="767" y="483"/>
                      </a:lnTo>
                      <a:lnTo>
                        <a:pt x="753" y="487"/>
                      </a:lnTo>
                      <a:lnTo>
                        <a:pt x="738" y="491"/>
                      </a:lnTo>
                      <a:lnTo>
                        <a:pt x="731" y="492"/>
                      </a:lnTo>
                      <a:lnTo>
                        <a:pt x="726" y="492"/>
                      </a:lnTo>
                      <a:lnTo>
                        <a:pt x="720" y="491"/>
                      </a:lnTo>
                      <a:lnTo>
                        <a:pt x="715" y="488"/>
                      </a:lnTo>
                      <a:lnTo>
                        <a:pt x="710" y="486"/>
                      </a:lnTo>
                      <a:lnTo>
                        <a:pt x="706" y="481"/>
                      </a:lnTo>
                      <a:lnTo>
                        <a:pt x="703" y="477"/>
                      </a:lnTo>
                      <a:lnTo>
                        <a:pt x="702" y="470"/>
                      </a:lnTo>
                      <a:lnTo>
                        <a:pt x="701" y="468"/>
                      </a:lnTo>
                      <a:lnTo>
                        <a:pt x="698" y="467"/>
                      </a:lnTo>
                      <a:lnTo>
                        <a:pt x="697" y="468"/>
                      </a:lnTo>
                      <a:lnTo>
                        <a:pt x="696" y="470"/>
                      </a:lnTo>
                      <a:lnTo>
                        <a:pt x="696" y="473"/>
                      </a:lnTo>
                      <a:lnTo>
                        <a:pt x="697" y="478"/>
                      </a:lnTo>
                      <a:lnTo>
                        <a:pt x="700" y="484"/>
                      </a:lnTo>
                      <a:lnTo>
                        <a:pt x="702" y="488"/>
                      </a:lnTo>
                      <a:lnTo>
                        <a:pt x="702" y="492"/>
                      </a:lnTo>
                      <a:lnTo>
                        <a:pt x="701" y="494"/>
                      </a:lnTo>
                      <a:lnTo>
                        <a:pt x="698" y="497"/>
                      </a:lnTo>
                      <a:lnTo>
                        <a:pt x="694" y="498"/>
                      </a:lnTo>
                      <a:lnTo>
                        <a:pt x="689" y="500"/>
                      </a:lnTo>
                      <a:lnTo>
                        <a:pt x="687" y="503"/>
                      </a:lnTo>
                      <a:lnTo>
                        <a:pt x="682" y="507"/>
                      </a:lnTo>
                      <a:lnTo>
                        <a:pt x="675" y="512"/>
                      </a:lnTo>
                      <a:lnTo>
                        <a:pt x="670" y="517"/>
                      </a:lnTo>
                      <a:lnTo>
                        <a:pt x="666" y="523"/>
                      </a:lnTo>
                      <a:lnTo>
                        <a:pt x="663" y="529"/>
                      </a:lnTo>
                      <a:lnTo>
                        <a:pt x="661" y="532"/>
                      </a:lnTo>
                      <a:lnTo>
                        <a:pt x="659" y="536"/>
                      </a:lnTo>
                      <a:lnTo>
                        <a:pt x="655" y="541"/>
                      </a:lnTo>
                      <a:lnTo>
                        <a:pt x="653" y="543"/>
                      </a:lnTo>
                      <a:lnTo>
                        <a:pt x="650" y="544"/>
                      </a:lnTo>
                      <a:lnTo>
                        <a:pt x="647" y="544"/>
                      </a:lnTo>
                      <a:lnTo>
                        <a:pt x="644" y="544"/>
                      </a:lnTo>
                      <a:lnTo>
                        <a:pt x="641" y="544"/>
                      </a:lnTo>
                      <a:lnTo>
                        <a:pt x="639" y="545"/>
                      </a:lnTo>
                      <a:lnTo>
                        <a:pt x="639" y="549"/>
                      </a:lnTo>
                      <a:lnTo>
                        <a:pt x="639" y="554"/>
                      </a:lnTo>
                      <a:lnTo>
                        <a:pt x="637" y="556"/>
                      </a:lnTo>
                      <a:lnTo>
                        <a:pt x="636" y="557"/>
                      </a:lnTo>
                      <a:lnTo>
                        <a:pt x="633" y="557"/>
                      </a:lnTo>
                      <a:lnTo>
                        <a:pt x="627" y="555"/>
                      </a:lnTo>
                      <a:lnTo>
                        <a:pt x="623" y="555"/>
                      </a:lnTo>
                      <a:lnTo>
                        <a:pt x="620" y="556"/>
                      </a:lnTo>
                      <a:lnTo>
                        <a:pt x="617" y="557"/>
                      </a:lnTo>
                      <a:lnTo>
                        <a:pt x="613" y="557"/>
                      </a:lnTo>
                      <a:lnTo>
                        <a:pt x="611" y="555"/>
                      </a:lnTo>
                      <a:lnTo>
                        <a:pt x="609" y="554"/>
                      </a:lnTo>
                      <a:lnTo>
                        <a:pt x="611" y="553"/>
                      </a:lnTo>
                      <a:lnTo>
                        <a:pt x="612" y="550"/>
                      </a:lnTo>
                      <a:lnTo>
                        <a:pt x="613" y="549"/>
                      </a:lnTo>
                      <a:lnTo>
                        <a:pt x="613" y="548"/>
                      </a:lnTo>
                      <a:lnTo>
                        <a:pt x="611" y="547"/>
                      </a:lnTo>
                      <a:lnTo>
                        <a:pt x="608" y="547"/>
                      </a:lnTo>
                      <a:lnTo>
                        <a:pt x="606" y="547"/>
                      </a:lnTo>
                      <a:lnTo>
                        <a:pt x="603" y="547"/>
                      </a:lnTo>
                      <a:lnTo>
                        <a:pt x="600" y="547"/>
                      </a:lnTo>
                      <a:lnTo>
                        <a:pt x="599" y="544"/>
                      </a:lnTo>
                      <a:lnTo>
                        <a:pt x="598" y="544"/>
                      </a:lnTo>
                      <a:lnTo>
                        <a:pt x="597" y="544"/>
                      </a:lnTo>
                      <a:lnTo>
                        <a:pt x="597" y="548"/>
                      </a:lnTo>
                      <a:lnTo>
                        <a:pt x="598" y="550"/>
                      </a:lnTo>
                      <a:lnTo>
                        <a:pt x="599" y="555"/>
                      </a:lnTo>
                      <a:lnTo>
                        <a:pt x="599" y="560"/>
                      </a:lnTo>
                      <a:lnTo>
                        <a:pt x="598" y="561"/>
                      </a:lnTo>
                      <a:lnTo>
                        <a:pt x="595" y="562"/>
                      </a:lnTo>
                      <a:lnTo>
                        <a:pt x="593" y="562"/>
                      </a:lnTo>
                      <a:lnTo>
                        <a:pt x="590" y="563"/>
                      </a:lnTo>
                      <a:lnTo>
                        <a:pt x="588" y="568"/>
                      </a:lnTo>
                      <a:lnTo>
                        <a:pt x="584" y="568"/>
                      </a:lnTo>
                      <a:lnTo>
                        <a:pt x="583" y="569"/>
                      </a:lnTo>
                      <a:lnTo>
                        <a:pt x="579" y="571"/>
                      </a:lnTo>
                      <a:lnTo>
                        <a:pt x="574" y="570"/>
                      </a:lnTo>
                      <a:lnTo>
                        <a:pt x="571" y="570"/>
                      </a:lnTo>
                      <a:lnTo>
                        <a:pt x="570" y="571"/>
                      </a:lnTo>
                      <a:lnTo>
                        <a:pt x="566" y="576"/>
                      </a:lnTo>
                      <a:lnTo>
                        <a:pt x="564" y="580"/>
                      </a:lnTo>
                      <a:lnTo>
                        <a:pt x="561" y="582"/>
                      </a:lnTo>
                      <a:lnTo>
                        <a:pt x="555" y="585"/>
                      </a:lnTo>
                      <a:lnTo>
                        <a:pt x="552" y="586"/>
                      </a:lnTo>
                      <a:lnTo>
                        <a:pt x="552" y="587"/>
                      </a:lnTo>
                      <a:lnTo>
                        <a:pt x="551" y="589"/>
                      </a:lnTo>
                      <a:lnTo>
                        <a:pt x="552" y="590"/>
                      </a:lnTo>
                      <a:lnTo>
                        <a:pt x="556" y="594"/>
                      </a:lnTo>
                      <a:lnTo>
                        <a:pt x="559" y="599"/>
                      </a:lnTo>
                      <a:lnTo>
                        <a:pt x="557" y="602"/>
                      </a:lnTo>
                      <a:lnTo>
                        <a:pt x="556" y="607"/>
                      </a:lnTo>
                      <a:lnTo>
                        <a:pt x="555" y="607"/>
                      </a:lnTo>
                      <a:lnTo>
                        <a:pt x="552" y="606"/>
                      </a:lnTo>
                      <a:lnTo>
                        <a:pt x="550" y="603"/>
                      </a:lnTo>
                      <a:lnTo>
                        <a:pt x="547" y="603"/>
                      </a:lnTo>
                      <a:lnTo>
                        <a:pt x="546" y="603"/>
                      </a:lnTo>
                      <a:lnTo>
                        <a:pt x="545" y="605"/>
                      </a:lnTo>
                      <a:lnTo>
                        <a:pt x="545" y="607"/>
                      </a:lnTo>
                      <a:lnTo>
                        <a:pt x="548" y="612"/>
                      </a:lnTo>
                      <a:lnTo>
                        <a:pt x="548" y="614"/>
                      </a:lnTo>
                      <a:lnTo>
                        <a:pt x="547" y="615"/>
                      </a:lnTo>
                      <a:lnTo>
                        <a:pt x="542" y="620"/>
                      </a:lnTo>
                      <a:lnTo>
                        <a:pt x="534" y="625"/>
                      </a:lnTo>
                      <a:lnTo>
                        <a:pt x="532" y="625"/>
                      </a:lnTo>
                      <a:lnTo>
                        <a:pt x="531" y="625"/>
                      </a:lnTo>
                      <a:lnTo>
                        <a:pt x="529" y="626"/>
                      </a:lnTo>
                      <a:lnTo>
                        <a:pt x="528" y="628"/>
                      </a:lnTo>
                      <a:lnTo>
                        <a:pt x="528" y="632"/>
                      </a:lnTo>
                      <a:lnTo>
                        <a:pt x="529" y="636"/>
                      </a:lnTo>
                      <a:lnTo>
                        <a:pt x="529" y="639"/>
                      </a:lnTo>
                      <a:lnTo>
                        <a:pt x="527" y="641"/>
                      </a:lnTo>
                      <a:lnTo>
                        <a:pt x="526" y="644"/>
                      </a:lnTo>
                      <a:lnTo>
                        <a:pt x="524" y="645"/>
                      </a:lnTo>
                      <a:lnTo>
                        <a:pt x="523" y="649"/>
                      </a:lnTo>
                      <a:lnTo>
                        <a:pt x="522" y="653"/>
                      </a:lnTo>
                      <a:lnTo>
                        <a:pt x="523" y="658"/>
                      </a:lnTo>
                      <a:lnTo>
                        <a:pt x="523" y="663"/>
                      </a:lnTo>
                      <a:lnTo>
                        <a:pt x="523" y="669"/>
                      </a:lnTo>
                      <a:lnTo>
                        <a:pt x="522" y="672"/>
                      </a:lnTo>
                      <a:lnTo>
                        <a:pt x="518" y="677"/>
                      </a:lnTo>
                      <a:lnTo>
                        <a:pt x="514" y="682"/>
                      </a:lnTo>
                      <a:lnTo>
                        <a:pt x="513" y="685"/>
                      </a:lnTo>
                      <a:lnTo>
                        <a:pt x="513" y="690"/>
                      </a:lnTo>
                      <a:lnTo>
                        <a:pt x="513" y="694"/>
                      </a:lnTo>
                      <a:lnTo>
                        <a:pt x="512" y="696"/>
                      </a:lnTo>
                      <a:lnTo>
                        <a:pt x="509" y="698"/>
                      </a:lnTo>
                      <a:lnTo>
                        <a:pt x="503" y="702"/>
                      </a:lnTo>
                      <a:lnTo>
                        <a:pt x="494" y="707"/>
                      </a:lnTo>
                      <a:lnTo>
                        <a:pt x="494" y="708"/>
                      </a:lnTo>
                      <a:lnTo>
                        <a:pt x="494" y="710"/>
                      </a:lnTo>
                      <a:lnTo>
                        <a:pt x="496" y="711"/>
                      </a:lnTo>
                      <a:lnTo>
                        <a:pt x="498" y="711"/>
                      </a:lnTo>
                      <a:lnTo>
                        <a:pt x="501" y="711"/>
                      </a:lnTo>
                      <a:lnTo>
                        <a:pt x="506" y="710"/>
                      </a:lnTo>
                      <a:lnTo>
                        <a:pt x="510" y="711"/>
                      </a:lnTo>
                      <a:lnTo>
                        <a:pt x="512" y="711"/>
                      </a:lnTo>
                      <a:lnTo>
                        <a:pt x="513" y="711"/>
                      </a:lnTo>
                      <a:lnTo>
                        <a:pt x="512" y="713"/>
                      </a:lnTo>
                      <a:lnTo>
                        <a:pt x="506" y="716"/>
                      </a:lnTo>
                      <a:lnTo>
                        <a:pt x="501" y="718"/>
                      </a:lnTo>
                      <a:lnTo>
                        <a:pt x="495" y="721"/>
                      </a:lnTo>
                      <a:lnTo>
                        <a:pt x="489" y="722"/>
                      </a:lnTo>
                      <a:lnTo>
                        <a:pt x="487" y="717"/>
                      </a:lnTo>
                      <a:lnTo>
                        <a:pt x="485" y="715"/>
                      </a:lnTo>
                      <a:lnTo>
                        <a:pt x="480" y="714"/>
                      </a:lnTo>
                      <a:lnTo>
                        <a:pt x="476" y="715"/>
                      </a:lnTo>
                      <a:lnTo>
                        <a:pt x="475" y="714"/>
                      </a:lnTo>
                      <a:lnTo>
                        <a:pt x="475" y="713"/>
                      </a:lnTo>
                      <a:lnTo>
                        <a:pt x="480" y="708"/>
                      </a:lnTo>
                      <a:lnTo>
                        <a:pt x="481" y="705"/>
                      </a:lnTo>
                      <a:lnTo>
                        <a:pt x="480" y="703"/>
                      </a:lnTo>
                      <a:lnTo>
                        <a:pt x="477" y="702"/>
                      </a:lnTo>
                      <a:lnTo>
                        <a:pt x="475" y="701"/>
                      </a:lnTo>
                      <a:lnTo>
                        <a:pt x="470" y="701"/>
                      </a:lnTo>
                      <a:lnTo>
                        <a:pt x="463" y="700"/>
                      </a:lnTo>
                      <a:lnTo>
                        <a:pt x="462" y="698"/>
                      </a:lnTo>
                      <a:lnTo>
                        <a:pt x="460" y="697"/>
                      </a:lnTo>
                      <a:lnTo>
                        <a:pt x="458" y="695"/>
                      </a:lnTo>
                      <a:lnTo>
                        <a:pt x="458" y="694"/>
                      </a:lnTo>
                      <a:lnTo>
                        <a:pt x="461" y="689"/>
                      </a:lnTo>
                      <a:lnTo>
                        <a:pt x="461" y="688"/>
                      </a:lnTo>
                      <a:lnTo>
                        <a:pt x="458" y="686"/>
                      </a:lnTo>
                      <a:lnTo>
                        <a:pt x="456" y="688"/>
                      </a:lnTo>
                      <a:lnTo>
                        <a:pt x="451" y="691"/>
                      </a:lnTo>
                      <a:lnTo>
                        <a:pt x="444" y="695"/>
                      </a:lnTo>
                      <a:lnTo>
                        <a:pt x="438" y="696"/>
                      </a:lnTo>
                      <a:lnTo>
                        <a:pt x="432" y="697"/>
                      </a:lnTo>
                      <a:lnTo>
                        <a:pt x="429" y="696"/>
                      </a:lnTo>
                      <a:lnTo>
                        <a:pt x="426" y="695"/>
                      </a:lnTo>
                      <a:lnTo>
                        <a:pt x="425" y="692"/>
                      </a:lnTo>
                      <a:lnTo>
                        <a:pt x="423" y="691"/>
                      </a:lnTo>
                      <a:lnTo>
                        <a:pt x="420" y="690"/>
                      </a:lnTo>
                      <a:lnTo>
                        <a:pt x="416" y="686"/>
                      </a:lnTo>
                      <a:lnTo>
                        <a:pt x="414" y="686"/>
                      </a:lnTo>
                      <a:lnTo>
                        <a:pt x="411" y="686"/>
                      </a:lnTo>
                      <a:lnTo>
                        <a:pt x="411" y="684"/>
                      </a:lnTo>
                      <a:lnTo>
                        <a:pt x="413" y="683"/>
                      </a:lnTo>
                      <a:lnTo>
                        <a:pt x="415" y="682"/>
                      </a:lnTo>
                      <a:lnTo>
                        <a:pt x="416" y="679"/>
                      </a:lnTo>
                      <a:lnTo>
                        <a:pt x="416" y="678"/>
                      </a:lnTo>
                      <a:lnTo>
                        <a:pt x="415" y="678"/>
                      </a:lnTo>
                      <a:lnTo>
                        <a:pt x="411" y="677"/>
                      </a:lnTo>
                      <a:lnTo>
                        <a:pt x="407" y="677"/>
                      </a:lnTo>
                      <a:lnTo>
                        <a:pt x="404" y="677"/>
                      </a:lnTo>
                      <a:lnTo>
                        <a:pt x="401" y="676"/>
                      </a:lnTo>
                      <a:lnTo>
                        <a:pt x="399" y="675"/>
                      </a:lnTo>
                      <a:lnTo>
                        <a:pt x="399" y="673"/>
                      </a:lnTo>
                      <a:lnTo>
                        <a:pt x="401" y="670"/>
                      </a:lnTo>
                      <a:lnTo>
                        <a:pt x="405" y="668"/>
                      </a:lnTo>
                      <a:lnTo>
                        <a:pt x="407" y="665"/>
                      </a:lnTo>
                      <a:lnTo>
                        <a:pt x="407" y="664"/>
                      </a:lnTo>
                      <a:lnTo>
                        <a:pt x="406" y="663"/>
                      </a:lnTo>
                      <a:lnTo>
                        <a:pt x="404" y="660"/>
                      </a:lnTo>
                      <a:lnTo>
                        <a:pt x="401" y="660"/>
                      </a:lnTo>
                      <a:lnTo>
                        <a:pt x="397" y="662"/>
                      </a:lnTo>
                      <a:lnTo>
                        <a:pt x="395" y="662"/>
                      </a:lnTo>
                      <a:lnTo>
                        <a:pt x="392" y="660"/>
                      </a:lnTo>
                      <a:lnTo>
                        <a:pt x="393" y="658"/>
                      </a:lnTo>
                      <a:lnTo>
                        <a:pt x="396" y="653"/>
                      </a:lnTo>
                      <a:lnTo>
                        <a:pt x="396" y="652"/>
                      </a:lnTo>
                      <a:lnTo>
                        <a:pt x="396" y="651"/>
                      </a:lnTo>
                      <a:lnTo>
                        <a:pt x="393" y="650"/>
                      </a:lnTo>
                      <a:lnTo>
                        <a:pt x="386" y="651"/>
                      </a:lnTo>
                      <a:lnTo>
                        <a:pt x="385" y="650"/>
                      </a:lnTo>
                      <a:lnTo>
                        <a:pt x="386" y="649"/>
                      </a:lnTo>
                      <a:lnTo>
                        <a:pt x="387" y="646"/>
                      </a:lnTo>
                      <a:lnTo>
                        <a:pt x="387" y="645"/>
                      </a:lnTo>
                      <a:lnTo>
                        <a:pt x="385" y="645"/>
                      </a:lnTo>
                      <a:lnTo>
                        <a:pt x="383" y="645"/>
                      </a:lnTo>
                      <a:lnTo>
                        <a:pt x="381" y="645"/>
                      </a:lnTo>
                      <a:lnTo>
                        <a:pt x="381" y="643"/>
                      </a:lnTo>
                      <a:lnTo>
                        <a:pt x="382" y="641"/>
                      </a:lnTo>
                      <a:lnTo>
                        <a:pt x="383" y="640"/>
                      </a:lnTo>
                      <a:lnTo>
                        <a:pt x="386" y="639"/>
                      </a:lnTo>
                      <a:lnTo>
                        <a:pt x="387" y="638"/>
                      </a:lnTo>
                      <a:lnTo>
                        <a:pt x="387" y="637"/>
                      </a:lnTo>
                      <a:lnTo>
                        <a:pt x="386" y="637"/>
                      </a:lnTo>
                      <a:lnTo>
                        <a:pt x="383" y="638"/>
                      </a:lnTo>
                      <a:lnTo>
                        <a:pt x="381" y="638"/>
                      </a:lnTo>
                      <a:lnTo>
                        <a:pt x="377" y="636"/>
                      </a:lnTo>
                      <a:lnTo>
                        <a:pt x="376" y="632"/>
                      </a:lnTo>
                      <a:lnTo>
                        <a:pt x="374" y="628"/>
                      </a:lnTo>
                      <a:lnTo>
                        <a:pt x="374" y="627"/>
                      </a:lnTo>
                      <a:lnTo>
                        <a:pt x="377" y="626"/>
                      </a:lnTo>
                      <a:lnTo>
                        <a:pt x="380" y="625"/>
                      </a:lnTo>
                      <a:lnTo>
                        <a:pt x="383" y="626"/>
                      </a:lnTo>
                      <a:lnTo>
                        <a:pt x="386" y="626"/>
                      </a:lnTo>
                      <a:lnTo>
                        <a:pt x="388" y="624"/>
                      </a:lnTo>
                      <a:lnTo>
                        <a:pt x="390" y="621"/>
                      </a:lnTo>
                      <a:lnTo>
                        <a:pt x="388" y="619"/>
                      </a:lnTo>
                      <a:lnTo>
                        <a:pt x="391" y="618"/>
                      </a:lnTo>
                      <a:lnTo>
                        <a:pt x="391" y="617"/>
                      </a:lnTo>
                      <a:lnTo>
                        <a:pt x="388" y="617"/>
                      </a:lnTo>
                      <a:lnTo>
                        <a:pt x="387" y="617"/>
                      </a:lnTo>
                      <a:lnTo>
                        <a:pt x="385" y="618"/>
                      </a:lnTo>
                      <a:lnTo>
                        <a:pt x="382" y="619"/>
                      </a:lnTo>
                      <a:lnTo>
                        <a:pt x="380" y="618"/>
                      </a:lnTo>
                      <a:lnTo>
                        <a:pt x="377" y="618"/>
                      </a:lnTo>
                      <a:lnTo>
                        <a:pt x="374" y="618"/>
                      </a:lnTo>
                      <a:lnTo>
                        <a:pt x="373" y="619"/>
                      </a:lnTo>
                      <a:lnTo>
                        <a:pt x="372" y="620"/>
                      </a:lnTo>
                      <a:lnTo>
                        <a:pt x="371" y="624"/>
                      </a:lnTo>
                      <a:lnTo>
                        <a:pt x="369" y="625"/>
                      </a:lnTo>
                      <a:lnTo>
                        <a:pt x="367" y="625"/>
                      </a:lnTo>
                      <a:lnTo>
                        <a:pt x="366" y="622"/>
                      </a:lnTo>
                      <a:lnTo>
                        <a:pt x="366" y="621"/>
                      </a:lnTo>
                      <a:lnTo>
                        <a:pt x="368" y="618"/>
                      </a:lnTo>
                      <a:lnTo>
                        <a:pt x="368" y="617"/>
                      </a:lnTo>
                      <a:lnTo>
                        <a:pt x="367" y="614"/>
                      </a:lnTo>
                      <a:lnTo>
                        <a:pt x="366" y="612"/>
                      </a:lnTo>
                      <a:lnTo>
                        <a:pt x="368" y="607"/>
                      </a:lnTo>
                      <a:lnTo>
                        <a:pt x="371" y="601"/>
                      </a:lnTo>
                      <a:lnTo>
                        <a:pt x="372" y="600"/>
                      </a:lnTo>
                      <a:lnTo>
                        <a:pt x="373" y="599"/>
                      </a:lnTo>
                      <a:lnTo>
                        <a:pt x="376" y="600"/>
                      </a:lnTo>
                      <a:lnTo>
                        <a:pt x="378" y="602"/>
                      </a:lnTo>
                      <a:lnTo>
                        <a:pt x="380" y="603"/>
                      </a:lnTo>
                      <a:lnTo>
                        <a:pt x="380" y="602"/>
                      </a:lnTo>
                      <a:lnTo>
                        <a:pt x="381" y="600"/>
                      </a:lnTo>
                      <a:lnTo>
                        <a:pt x="380" y="598"/>
                      </a:lnTo>
                      <a:lnTo>
                        <a:pt x="381" y="595"/>
                      </a:lnTo>
                      <a:lnTo>
                        <a:pt x="382" y="594"/>
                      </a:lnTo>
                      <a:lnTo>
                        <a:pt x="383" y="594"/>
                      </a:lnTo>
                      <a:lnTo>
                        <a:pt x="386" y="599"/>
                      </a:lnTo>
                      <a:lnTo>
                        <a:pt x="388" y="603"/>
                      </a:lnTo>
                      <a:lnTo>
                        <a:pt x="390" y="605"/>
                      </a:lnTo>
                      <a:lnTo>
                        <a:pt x="393" y="606"/>
                      </a:lnTo>
                      <a:lnTo>
                        <a:pt x="396" y="605"/>
                      </a:lnTo>
                      <a:lnTo>
                        <a:pt x="397" y="603"/>
                      </a:lnTo>
                      <a:lnTo>
                        <a:pt x="399" y="600"/>
                      </a:lnTo>
                      <a:lnTo>
                        <a:pt x="399" y="598"/>
                      </a:lnTo>
                      <a:lnTo>
                        <a:pt x="397" y="598"/>
                      </a:lnTo>
                      <a:lnTo>
                        <a:pt x="399" y="599"/>
                      </a:lnTo>
                      <a:lnTo>
                        <a:pt x="396" y="596"/>
                      </a:lnTo>
                      <a:lnTo>
                        <a:pt x="395" y="593"/>
                      </a:lnTo>
                      <a:lnTo>
                        <a:pt x="393" y="587"/>
                      </a:lnTo>
                      <a:lnTo>
                        <a:pt x="392" y="586"/>
                      </a:lnTo>
                      <a:lnTo>
                        <a:pt x="391" y="586"/>
                      </a:lnTo>
                      <a:lnTo>
                        <a:pt x="385" y="586"/>
                      </a:lnTo>
                      <a:lnTo>
                        <a:pt x="382" y="586"/>
                      </a:lnTo>
                      <a:lnTo>
                        <a:pt x="381" y="583"/>
                      </a:lnTo>
                      <a:lnTo>
                        <a:pt x="380" y="583"/>
                      </a:lnTo>
                      <a:lnTo>
                        <a:pt x="378" y="583"/>
                      </a:lnTo>
                      <a:lnTo>
                        <a:pt x="377" y="585"/>
                      </a:lnTo>
                      <a:lnTo>
                        <a:pt x="376" y="587"/>
                      </a:lnTo>
                      <a:lnTo>
                        <a:pt x="374" y="589"/>
                      </a:lnTo>
                      <a:lnTo>
                        <a:pt x="373" y="589"/>
                      </a:lnTo>
                      <a:lnTo>
                        <a:pt x="372" y="588"/>
                      </a:lnTo>
                      <a:lnTo>
                        <a:pt x="369" y="588"/>
                      </a:lnTo>
                      <a:lnTo>
                        <a:pt x="368" y="588"/>
                      </a:lnTo>
                      <a:lnTo>
                        <a:pt x="366" y="590"/>
                      </a:lnTo>
                      <a:lnTo>
                        <a:pt x="363" y="594"/>
                      </a:lnTo>
                      <a:lnTo>
                        <a:pt x="362" y="596"/>
                      </a:lnTo>
                      <a:lnTo>
                        <a:pt x="358" y="599"/>
                      </a:lnTo>
                      <a:lnTo>
                        <a:pt x="357" y="601"/>
                      </a:lnTo>
                      <a:lnTo>
                        <a:pt x="355" y="602"/>
                      </a:lnTo>
                      <a:lnTo>
                        <a:pt x="354" y="602"/>
                      </a:lnTo>
                      <a:lnTo>
                        <a:pt x="353" y="599"/>
                      </a:lnTo>
                      <a:lnTo>
                        <a:pt x="355" y="592"/>
                      </a:lnTo>
                      <a:lnTo>
                        <a:pt x="357" y="586"/>
                      </a:lnTo>
                      <a:lnTo>
                        <a:pt x="357" y="579"/>
                      </a:lnTo>
                      <a:lnTo>
                        <a:pt x="355" y="571"/>
                      </a:lnTo>
                      <a:lnTo>
                        <a:pt x="357" y="571"/>
                      </a:lnTo>
                      <a:lnTo>
                        <a:pt x="359" y="570"/>
                      </a:lnTo>
                      <a:lnTo>
                        <a:pt x="362" y="568"/>
                      </a:lnTo>
                      <a:lnTo>
                        <a:pt x="364" y="566"/>
                      </a:lnTo>
                      <a:lnTo>
                        <a:pt x="367" y="562"/>
                      </a:lnTo>
                      <a:lnTo>
                        <a:pt x="369" y="558"/>
                      </a:lnTo>
                      <a:lnTo>
                        <a:pt x="371" y="557"/>
                      </a:lnTo>
                      <a:lnTo>
                        <a:pt x="366" y="556"/>
                      </a:lnTo>
                      <a:lnTo>
                        <a:pt x="363" y="556"/>
                      </a:lnTo>
                      <a:lnTo>
                        <a:pt x="359" y="558"/>
                      </a:lnTo>
                      <a:lnTo>
                        <a:pt x="357" y="561"/>
                      </a:lnTo>
                      <a:lnTo>
                        <a:pt x="353" y="567"/>
                      </a:lnTo>
                      <a:lnTo>
                        <a:pt x="346" y="571"/>
                      </a:lnTo>
                      <a:lnTo>
                        <a:pt x="345" y="573"/>
                      </a:lnTo>
                      <a:lnTo>
                        <a:pt x="343" y="573"/>
                      </a:lnTo>
                      <a:lnTo>
                        <a:pt x="340" y="571"/>
                      </a:lnTo>
                      <a:lnTo>
                        <a:pt x="339" y="570"/>
                      </a:lnTo>
                      <a:lnTo>
                        <a:pt x="338" y="562"/>
                      </a:lnTo>
                      <a:lnTo>
                        <a:pt x="338" y="558"/>
                      </a:lnTo>
                      <a:lnTo>
                        <a:pt x="339" y="557"/>
                      </a:lnTo>
                      <a:lnTo>
                        <a:pt x="341" y="556"/>
                      </a:lnTo>
                      <a:lnTo>
                        <a:pt x="346" y="555"/>
                      </a:lnTo>
                      <a:lnTo>
                        <a:pt x="349" y="554"/>
                      </a:lnTo>
                      <a:lnTo>
                        <a:pt x="349" y="553"/>
                      </a:lnTo>
                      <a:lnTo>
                        <a:pt x="345" y="551"/>
                      </a:lnTo>
                      <a:lnTo>
                        <a:pt x="341" y="551"/>
                      </a:lnTo>
                      <a:lnTo>
                        <a:pt x="336" y="551"/>
                      </a:lnTo>
                      <a:lnTo>
                        <a:pt x="335" y="550"/>
                      </a:lnTo>
                      <a:lnTo>
                        <a:pt x="334" y="548"/>
                      </a:lnTo>
                      <a:lnTo>
                        <a:pt x="333" y="547"/>
                      </a:lnTo>
                      <a:lnTo>
                        <a:pt x="333" y="544"/>
                      </a:lnTo>
                      <a:lnTo>
                        <a:pt x="336" y="542"/>
                      </a:lnTo>
                      <a:lnTo>
                        <a:pt x="339" y="542"/>
                      </a:lnTo>
                      <a:lnTo>
                        <a:pt x="341" y="542"/>
                      </a:lnTo>
                      <a:lnTo>
                        <a:pt x="346" y="542"/>
                      </a:lnTo>
                      <a:lnTo>
                        <a:pt x="346" y="541"/>
                      </a:lnTo>
                      <a:lnTo>
                        <a:pt x="346" y="539"/>
                      </a:lnTo>
                      <a:lnTo>
                        <a:pt x="344" y="537"/>
                      </a:lnTo>
                      <a:lnTo>
                        <a:pt x="343" y="535"/>
                      </a:lnTo>
                      <a:lnTo>
                        <a:pt x="341" y="529"/>
                      </a:lnTo>
                      <a:lnTo>
                        <a:pt x="340" y="528"/>
                      </a:lnTo>
                      <a:lnTo>
                        <a:pt x="339" y="529"/>
                      </a:lnTo>
                      <a:lnTo>
                        <a:pt x="336" y="530"/>
                      </a:lnTo>
                      <a:lnTo>
                        <a:pt x="334" y="529"/>
                      </a:lnTo>
                      <a:lnTo>
                        <a:pt x="333" y="528"/>
                      </a:lnTo>
                      <a:lnTo>
                        <a:pt x="333" y="526"/>
                      </a:lnTo>
                      <a:lnTo>
                        <a:pt x="334" y="525"/>
                      </a:lnTo>
                      <a:lnTo>
                        <a:pt x="340" y="522"/>
                      </a:lnTo>
                      <a:lnTo>
                        <a:pt x="340" y="521"/>
                      </a:lnTo>
                      <a:lnTo>
                        <a:pt x="339" y="519"/>
                      </a:lnTo>
                      <a:lnTo>
                        <a:pt x="336" y="519"/>
                      </a:lnTo>
                      <a:lnTo>
                        <a:pt x="334" y="521"/>
                      </a:lnTo>
                      <a:lnTo>
                        <a:pt x="331" y="521"/>
                      </a:lnTo>
                      <a:lnTo>
                        <a:pt x="330" y="521"/>
                      </a:lnTo>
                      <a:lnTo>
                        <a:pt x="331" y="518"/>
                      </a:lnTo>
                      <a:lnTo>
                        <a:pt x="333" y="517"/>
                      </a:lnTo>
                      <a:lnTo>
                        <a:pt x="339" y="515"/>
                      </a:lnTo>
                      <a:lnTo>
                        <a:pt x="345" y="513"/>
                      </a:lnTo>
                      <a:lnTo>
                        <a:pt x="352" y="512"/>
                      </a:lnTo>
                      <a:lnTo>
                        <a:pt x="352" y="513"/>
                      </a:lnTo>
                      <a:lnTo>
                        <a:pt x="353" y="515"/>
                      </a:lnTo>
                      <a:lnTo>
                        <a:pt x="357" y="515"/>
                      </a:lnTo>
                      <a:lnTo>
                        <a:pt x="359" y="513"/>
                      </a:lnTo>
                      <a:lnTo>
                        <a:pt x="360" y="512"/>
                      </a:lnTo>
                      <a:lnTo>
                        <a:pt x="364" y="516"/>
                      </a:lnTo>
                      <a:lnTo>
                        <a:pt x="369" y="518"/>
                      </a:lnTo>
                      <a:lnTo>
                        <a:pt x="374" y="519"/>
                      </a:lnTo>
                      <a:lnTo>
                        <a:pt x="377" y="518"/>
                      </a:lnTo>
                      <a:lnTo>
                        <a:pt x="378" y="517"/>
                      </a:lnTo>
                      <a:lnTo>
                        <a:pt x="380" y="516"/>
                      </a:lnTo>
                      <a:lnTo>
                        <a:pt x="380" y="513"/>
                      </a:lnTo>
                      <a:lnTo>
                        <a:pt x="378" y="510"/>
                      </a:lnTo>
                      <a:lnTo>
                        <a:pt x="378" y="506"/>
                      </a:lnTo>
                      <a:lnTo>
                        <a:pt x="378" y="505"/>
                      </a:lnTo>
                      <a:lnTo>
                        <a:pt x="380" y="504"/>
                      </a:lnTo>
                      <a:lnTo>
                        <a:pt x="378" y="503"/>
                      </a:lnTo>
                      <a:lnTo>
                        <a:pt x="377" y="503"/>
                      </a:lnTo>
                      <a:lnTo>
                        <a:pt x="373" y="503"/>
                      </a:lnTo>
                      <a:lnTo>
                        <a:pt x="372" y="503"/>
                      </a:lnTo>
                      <a:lnTo>
                        <a:pt x="369" y="500"/>
                      </a:lnTo>
                      <a:lnTo>
                        <a:pt x="368" y="499"/>
                      </a:lnTo>
                      <a:lnTo>
                        <a:pt x="366" y="499"/>
                      </a:lnTo>
                      <a:lnTo>
                        <a:pt x="364" y="500"/>
                      </a:lnTo>
                      <a:lnTo>
                        <a:pt x="364" y="503"/>
                      </a:lnTo>
                      <a:lnTo>
                        <a:pt x="363" y="505"/>
                      </a:lnTo>
                      <a:lnTo>
                        <a:pt x="362" y="506"/>
                      </a:lnTo>
                      <a:lnTo>
                        <a:pt x="358" y="507"/>
                      </a:lnTo>
                      <a:lnTo>
                        <a:pt x="354" y="506"/>
                      </a:lnTo>
                      <a:lnTo>
                        <a:pt x="350" y="505"/>
                      </a:lnTo>
                      <a:lnTo>
                        <a:pt x="346" y="504"/>
                      </a:lnTo>
                      <a:lnTo>
                        <a:pt x="343" y="504"/>
                      </a:lnTo>
                      <a:lnTo>
                        <a:pt x="338" y="506"/>
                      </a:lnTo>
                      <a:lnTo>
                        <a:pt x="335" y="506"/>
                      </a:lnTo>
                      <a:lnTo>
                        <a:pt x="333" y="509"/>
                      </a:lnTo>
                      <a:lnTo>
                        <a:pt x="331" y="510"/>
                      </a:lnTo>
                      <a:lnTo>
                        <a:pt x="327" y="511"/>
                      </a:lnTo>
                      <a:lnTo>
                        <a:pt x="327" y="509"/>
                      </a:lnTo>
                      <a:lnTo>
                        <a:pt x="329" y="507"/>
                      </a:lnTo>
                      <a:lnTo>
                        <a:pt x="333" y="504"/>
                      </a:lnTo>
                      <a:lnTo>
                        <a:pt x="341" y="499"/>
                      </a:lnTo>
                      <a:lnTo>
                        <a:pt x="343" y="498"/>
                      </a:lnTo>
                      <a:lnTo>
                        <a:pt x="343" y="497"/>
                      </a:lnTo>
                      <a:lnTo>
                        <a:pt x="344" y="493"/>
                      </a:lnTo>
                      <a:lnTo>
                        <a:pt x="348" y="488"/>
                      </a:lnTo>
                      <a:lnTo>
                        <a:pt x="349" y="486"/>
                      </a:lnTo>
                      <a:lnTo>
                        <a:pt x="352" y="485"/>
                      </a:lnTo>
                      <a:lnTo>
                        <a:pt x="354" y="485"/>
                      </a:lnTo>
                      <a:lnTo>
                        <a:pt x="355" y="486"/>
                      </a:lnTo>
                      <a:lnTo>
                        <a:pt x="357" y="488"/>
                      </a:lnTo>
                      <a:lnTo>
                        <a:pt x="358" y="490"/>
                      </a:lnTo>
                      <a:lnTo>
                        <a:pt x="359" y="490"/>
                      </a:lnTo>
                      <a:lnTo>
                        <a:pt x="360" y="490"/>
                      </a:lnTo>
                      <a:lnTo>
                        <a:pt x="363" y="488"/>
                      </a:lnTo>
                      <a:lnTo>
                        <a:pt x="367" y="486"/>
                      </a:lnTo>
                      <a:lnTo>
                        <a:pt x="371" y="486"/>
                      </a:lnTo>
                      <a:lnTo>
                        <a:pt x="373" y="486"/>
                      </a:lnTo>
                      <a:lnTo>
                        <a:pt x="374" y="486"/>
                      </a:lnTo>
                      <a:lnTo>
                        <a:pt x="376" y="484"/>
                      </a:lnTo>
                      <a:lnTo>
                        <a:pt x="376" y="483"/>
                      </a:lnTo>
                      <a:lnTo>
                        <a:pt x="374" y="479"/>
                      </a:lnTo>
                      <a:lnTo>
                        <a:pt x="373" y="475"/>
                      </a:lnTo>
                      <a:lnTo>
                        <a:pt x="373" y="473"/>
                      </a:lnTo>
                      <a:lnTo>
                        <a:pt x="374" y="472"/>
                      </a:lnTo>
                      <a:lnTo>
                        <a:pt x="376" y="472"/>
                      </a:lnTo>
                      <a:lnTo>
                        <a:pt x="378" y="474"/>
                      </a:lnTo>
                      <a:lnTo>
                        <a:pt x="381" y="477"/>
                      </a:lnTo>
                      <a:lnTo>
                        <a:pt x="383" y="480"/>
                      </a:lnTo>
                      <a:lnTo>
                        <a:pt x="385" y="481"/>
                      </a:lnTo>
                      <a:lnTo>
                        <a:pt x="386" y="481"/>
                      </a:lnTo>
                      <a:lnTo>
                        <a:pt x="388" y="480"/>
                      </a:lnTo>
                      <a:lnTo>
                        <a:pt x="388" y="479"/>
                      </a:lnTo>
                      <a:lnTo>
                        <a:pt x="390" y="473"/>
                      </a:lnTo>
                      <a:lnTo>
                        <a:pt x="390" y="470"/>
                      </a:lnTo>
                      <a:lnTo>
                        <a:pt x="388" y="467"/>
                      </a:lnTo>
                      <a:lnTo>
                        <a:pt x="386" y="465"/>
                      </a:lnTo>
                      <a:lnTo>
                        <a:pt x="382" y="464"/>
                      </a:lnTo>
                      <a:lnTo>
                        <a:pt x="378" y="464"/>
                      </a:lnTo>
                      <a:lnTo>
                        <a:pt x="376" y="465"/>
                      </a:lnTo>
                      <a:lnTo>
                        <a:pt x="374" y="462"/>
                      </a:lnTo>
                      <a:lnTo>
                        <a:pt x="382" y="459"/>
                      </a:lnTo>
                      <a:lnTo>
                        <a:pt x="387" y="455"/>
                      </a:lnTo>
                      <a:lnTo>
                        <a:pt x="388" y="453"/>
                      </a:lnTo>
                      <a:lnTo>
                        <a:pt x="390" y="451"/>
                      </a:lnTo>
                      <a:lnTo>
                        <a:pt x="388" y="447"/>
                      </a:lnTo>
                      <a:lnTo>
                        <a:pt x="386" y="443"/>
                      </a:lnTo>
                      <a:lnTo>
                        <a:pt x="386" y="441"/>
                      </a:lnTo>
                      <a:lnTo>
                        <a:pt x="386" y="440"/>
                      </a:lnTo>
                      <a:lnTo>
                        <a:pt x="385" y="435"/>
                      </a:lnTo>
                      <a:lnTo>
                        <a:pt x="381" y="430"/>
                      </a:lnTo>
                      <a:lnTo>
                        <a:pt x="378" y="428"/>
                      </a:lnTo>
                      <a:lnTo>
                        <a:pt x="378" y="426"/>
                      </a:lnTo>
                      <a:lnTo>
                        <a:pt x="380" y="422"/>
                      </a:lnTo>
                      <a:lnTo>
                        <a:pt x="380" y="420"/>
                      </a:lnTo>
                      <a:lnTo>
                        <a:pt x="374" y="414"/>
                      </a:lnTo>
                      <a:lnTo>
                        <a:pt x="369" y="407"/>
                      </a:lnTo>
                      <a:lnTo>
                        <a:pt x="368" y="406"/>
                      </a:lnTo>
                      <a:lnTo>
                        <a:pt x="366" y="404"/>
                      </a:lnTo>
                      <a:lnTo>
                        <a:pt x="359" y="404"/>
                      </a:lnTo>
                      <a:lnTo>
                        <a:pt x="344" y="407"/>
                      </a:lnTo>
                      <a:lnTo>
                        <a:pt x="345" y="404"/>
                      </a:lnTo>
                      <a:lnTo>
                        <a:pt x="348" y="403"/>
                      </a:lnTo>
                      <a:lnTo>
                        <a:pt x="353" y="401"/>
                      </a:lnTo>
                      <a:lnTo>
                        <a:pt x="354" y="401"/>
                      </a:lnTo>
                      <a:lnTo>
                        <a:pt x="355" y="398"/>
                      </a:lnTo>
                      <a:lnTo>
                        <a:pt x="355" y="397"/>
                      </a:lnTo>
                      <a:lnTo>
                        <a:pt x="354" y="395"/>
                      </a:lnTo>
                      <a:lnTo>
                        <a:pt x="344" y="388"/>
                      </a:lnTo>
                      <a:lnTo>
                        <a:pt x="340" y="384"/>
                      </a:lnTo>
                      <a:lnTo>
                        <a:pt x="339" y="381"/>
                      </a:lnTo>
                      <a:lnTo>
                        <a:pt x="338" y="378"/>
                      </a:lnTo>
                      <a:lnTo>
                        <a:pt x="338" y="377"/>
                      </a:lnTo>
                      <a:lnTo>
                        <a:pt x="336" y="377"/>
                      </a:lnTo>
                      <a:lnTo>
                        <a:pt x="334" y="379"/>
                      </a:lnTo>
                      <a:lnTo>
                        <a:pt x="333" y="383"/>
                      </a:lnTo>
                      <a:lnTo>
                        <a:pt x="331" y="385"/>
                      </a:lnTo>
                      <a:lnTo>
                        <a:pt x="329" y="388"/>
                      </a:lnTo>
                      <a:lnTo>
                        <a:pt x="326" y="391"/>
                      </a:lnTo>
                      <a:lnTo>
                        <a:pt x="326" y="395"/>
                      </a:lnTo>
                      <a:lnTo>
                        <a:pt x="325" y="400"/>
                      </a:lnTo>
                      <a:lnTo>
                        <a:pt x="324" y="403"/>
                      </a:lnTo>
                      <a:lnTo>
                        <a:pt x="321" y="406"/>
                      </a:lnTo>
                      <a:lnTo>
                        <a:pt x="320" y="407"/>
                      </a:lnTo>
                      <a:lnTo>
                        <a:pt x="317" y="407"/>
                      </a:lnTo>
                      <a:lnTo>
                        <a:pt x="316" y="406"/>
                      </a:lnTo>
                      <a:lnTo>
                        <a:pt x="315" y="403"/>
                      </a:lnTo>
                      <a:lnTo>
                        <a:pt x="315" y="401"/>
                      </a:lnTo>
                      <a:lnTo>
                        <a:pt x="312" y="400"/>
                      </a:lnTo>
                      <a:lnTo>
                        <a:pt x="311" y="400"/>
                      </a:lnTo>
                      <a:lnTo>
                        <a:pt x="307" y="403"/>
                      </a:lnTo>
                      <a:lnTo>
                        <a:pt x="305" y="404"/>
                      </a:lnTo>
                      <a:lnTo>
                        <a:pt x="302" y="403"/>
                      </a:lnTo>
                      <a:lnTo>
                        <a:pt x="297" y="398"/>
                      </a:lnTo>
                      <a:lnTo>
                        <a:pt x="296" y="396"/>
                      </a:lnTo>
                      <a:lnTo>
                        <a:pt x="294" y="394"/>
                      </a:lnTo>
                      <a:lnTo>
                        <a:pt x="296" y="392"/>
                      </a:lnTo>
                      <a:lnTo>
                        <a:pt x="298" y="391"/>
                      </a:lnTo>
                      <a:lnTo>
                        <a:pt x="300" y="390"/>
                      </a:lnTo>
                      <a:lnTo>
                        <a:pt x="300" y="389"/>
                      </a:lnTo>
                      <a:lnTo>
                        <a:pt x="298" y="385"/>
                      </a:lnTo>
                      <a:lnTo>
                        <a:pt x="297" y="382"/>
                      </a:lnTo>
                      <a:lnTo>
                        <a:pt x="297" y="377"/>
                      </a:lnTo>
                      <a:lnTo>
                        <a:pt x="298" y="371"/>
                      </a:lnTo>
                      <a:lnTo>
                        <a:pt x="298" y="365"/>
                      </a:lnTo>
                      <a:lnTo>
                        <a:pt x="297" y="363"/>
                      </a:lnTo>
                      <a:lnTo>
                        <a:pt x="294" y="360"/>
                      </a:lnTo>
                      <a:lnTo>
                        <a:pt x="294" y="359"/>
                      </a:lnTo>
                      <a:lnTo>
                        <a:pt x="296" y="357"/>
                      </a:lnTo>
                      <a:lnTo>
                        <a:pt x="301" y="355"/>
                      </a:lnTo>
                      <a:lnTo>
                        <a:pt x="302" y="352"/>
                      </a:lnTo>
                      <a:lnTo>
                        <a:pt x="302" y="351"/>
                      </a:lnTo>
                      <a:lnTo>
                        <a:pt x="302" y="350"/>
                      </a:lnTo>
                      <a:lnTo>
                        <a:pt x="294" y="339"/>
                      </a:lnTo>
                      <a:lnTo>
                        <a:pt x="288" y="328"/>
                      </a:lnTo>
                      <a:lnTo>
                        <a:pt x="287" y="328"/>
                      </a:lnTo>
                      <a:lnTo>
                        <a:pt x="284" y="328"/>
                      </a:lnTo>
                      <a:lnTo>
                        <a:pt x="282" y="328"/>
                      </a:lnTo>
                      <a:lnTo>
                        <a:pt x="280" y="327"/>
                      </a:lnTo>
                      <a:lnTo>
                        <a:pt x="279" y="326"/>
                      </a:lnTo>
                      <a:lnTo>
                        <a:pt x="279" y="325"/>
                      </a:lnTo>
                      <a:lnTo>
                        <a:pt x="282" y="321"/>
                      </a:lnTo>
                      <a:lnTo>
                        <a:pt x="283" y="320"/>
                      </a:lnTo>
                      <a:lnTo>
                        <a:pt x="284" y="318"/>
                      </a:lnTo>
                      <a:lnTo>
                        <a:pt x="283" y="315"/>
                      </a:lnTo>
                      <a:lnTo>
                        <a:pt x="282" y="315"/>
                      </a:lnTo>
                      <a:lnTo>
                        <a:pt x="279" y="314"/>
                      </a:lnTo>
                      <a:lnTo>
                        <a:pt x="278" y="314"/>
                      </a:lnTo>
                      <a:lnTo>
                        <a:pt x="278" y="312"/>
                      </a:lnTo>
                      <a:lnTo>
                        <a:pt x="278" y="309"/>
                      </a:lnTo>
                      <a:lnTo>
                        <a:pt x="280" y="307"/>
                      </a:lnTo>
                      <a:lnTo>
                        <a:pt x="283" y="306"/>
                      </a:lnTo>
                      <a:lnTo>
                        <a:pt x="286" y="305"/>
                      </a:lnTo>
                      <a:lnTo>
                        <a:pt x="286" y="301"/>
                      </a:lnTo>
                      <a:lnTo>
                        <a:pt x="286" y="300"/>
                      </a:lnTo>
                      <a:lnTo>
                        <a:pt x="284" y="300"/>
                      </a:lnTo>
                      <a:lnTo>
                        <a:pt x="280" y="300"/>
                      </a:lnTo>
                      <a:lnTo>
                        <a:pt x="279" y="301"/>
                      </a:lnTo>
                      <a:lnTo>
                        <a:pt x="277" y="302"/>
                      </a:lnTo>
                      <a:lnTo>
                        <a:pt x="274" y="302"/>
                      </a:lnTo>
                      <a:lnTo>
                        <a:pt x="272" y="301"/>
                      </a:lnTo>
                      <a:lnTo>
                        <a:pt x="269" y="300"/>
                      </a:lnTo>
                      <a:lnTo>
                        <a:pt x="266" y="301"/>
                      </a:lnTo>
                      <a:lnTo>
                        <a:pt x="263" y="302"/>
                      </a:lnTo>
                      <a:lnTo>
                        <a:pt x="259" y="302"/>
                      </a:lnTo>
                      <a:lnTo>
                        <a:pt x="256" y="302"/>
                      </a:lnTo>
                      <a:lnTo>
                        <a:pt x="254" y="300"/>
                      </a:lnTo>
                      <a:lnTo>
                        <a:pt x="251" y="292"/>
                      </a:lnTo>
                      <a:lnTo>
                        <a:pt x="251" y="289"/>
                      </a:lnTo>
                      <a:lnTo>
                        <a:pt x="250" y="287"/>
                      </a:lnTo>
                      <a:lnTo>
                        <a:pt x="246" y="283"/>
                      </a:lnTo>
                      <a:lnTo>
                        <a:pt x="244" y="282"/>
                      </a:lnTo>
                      <a:lnTo>
                        <a:pt x="241" y="282"/>
                      </a:lnTo>
                      <a:lnTo>
                        <a:pt x="237" y="280"/>
                      </a:lnTo>
                      <a:lnTo>
                        <a:pt x="236" y="279"/>
                      </a:lnTo>
                      <a:lnTo>
                        <a:pt x="236" y="277"/>
                      </a:lnTo>
                      <a:lnTo>
                        <a:pt x="236" y="274"/>
                      </a:lnTo>
                      <a:lnTo>
                        <a:pt x="235" y="272"/>
                      </a:lnTo>
                      <a:lnTo>
                        <a:pt x="232" y="272"/>
                      </a:lnTo>
                      <a:lnTo>
                        <a:pt x="228" y="270"/>
                      </a:lnTo>
                      <a:lnTo>
                        <a:pt x="223" y="272"/>
                      </a:lnTo>
                      <a:lnTo>
                        <a:pt x="218" y="272"/>
                      </a:lnTo>
                      <a:lnTo>
                        <a:pt x="216" y="272"/>
                      </a:lnTo>
                      <a:lnTo>
                        <a:pt x="213" y="269"/>
                      </a:lnTo>
                      <a:lnTo>
                        <a:pt x="211" y="263"/>
                      </a:lnTo>
                      <a:lnTo>
                        <a:pt x="209" y="261"/>
                      </a:lnTo>
                      <a:lnTo>
                        <a:pt x="208" y="260"/>
                      </a:lnTo>
                      <a:lnTo>
                        <a:pt x="207" y="260"/>
                      </a:lnTo>
                      <a:lnTo>
                        <a:pt x="206" y="260"/>
                      </a:lnTo>
                      <a:lnTo>
                        <a:pt x="202" y="263"/>
                      </a:lnTo>
                      <a:lnTo>
                        <a:pt x="199" y="266"/>
                      </a:lnTo>
                      <a:lnTo>
                        <a:pt x="195" y="267"/>
                      </a:lnTo>
                      <a:lnTo>
                        <a:pt x="190" y="267"/>
                      </a:lnTo>
                      <a:lnTo>
                        <a:pt x="188" y="266"/>
                      </a:lnTo>
                      <a:lnTo>
                        <a:pt x="186" y="263"/>
                      </a:lnTo>
                      <a:lnTo>
                        <a:pt x="183" y="257"/>
                      </a:lnTo>
                      <a:lnTo>
                        <a:pt x="181" y="256"/>
                      </a:lnTo>
                      <a:lnTo>
                        <a:pt x="180" y="255"/>
                      </a:lnTo>
                      <a:lnTo>
                        <a:pt x="176" y="256"/>
                      </a:lnTo>
                      <a:lnTo>
                        <a:pt x="171" y="255"/>
                      </a:lnTo>
                      <a:lnTo>
                        <a:pt x="169" y="254"/>
                      </a:lnTo>
                      <a:lnTo>
                        <a:pt x="165" y="250"/>
                      </a:lnTo>
                      <a:lnTo>
                        <a:pt x="164" y="249"/>
                      </a:lnTo>
                      <a:lnTo>
                        <a:pt x="161" y="250"/>
                      </a:lnTo>
                      <a:lnTo>
                        <a:pt x="156" y="253"/>
                      </a:lnTo>
                      <a:lnTo>
                        <a:pt x="153" y="255"/>
                      </a:lnTo>
                      <a:lnTo>
                        <a:pt x="148" y="256"/>
                      </a:lnTo>
                      <a:lnTo>
                        <a:pt x="147" y="256"/>
                      </a:lnTo>
                      <a:lnTo>
                        <a:pt x="145" y="25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6" name="Freeform 525"/>
                <p:cNvSpPr>
                  <a:spLocks/>
                </p:cNvSpPr>
                <p:nvPr/>
              </p:nvSpPr>
              <p:spPr bwMode="auto">
                <a:xfrm>
                  <a:off x="3027340" y="4093011"/>
                  <a:ext cx="45876" cy="20718"/>
                </a:xfrm>
                <a:custGeom>
                  <a:avLst/>
                  <a:gdLst>
                    <a:gd name="T0" fmla="*/ 2147483647 w 33"/>
                    <a:gd name="T1" fmla="*/ 2147483647 h 14"/>
                    <a:gd name="T2" fmla="*/ 2147483647 w 33"/>
                    <a:gd name="T3" fmla="*/ 2147483647 h 14"/>
                    <a:gd name="T4" fmla="*/ 2147483647 w 33"/>
                    <a:gd name="T5" fmla="*/ 2147483647 h 14"/>
                    <a:gd name="T6" fmla="*/ 2147483647 w 33"/>
                    <a:gd name="T7" fmla="*/ 2147483647 h 14"/>
                    <a:gd name="T8" fmla="*/ 2147483647 w 33"/>
                    <a:gd name="T9" fmla="*/ 2147483647 h 14"/>
                    <a:gd name="T10" fmla="*/ 2147483647 w 33"/>
                    <a:gd name="T11" fmla="*/ 2147483647 h 14"/>
                    <a:gd name="T12" fmla="*/ 2147483647 w 33"/>
                    <a:gd name="T13" fmla="*/ 2147483647 h 14"/>
                    <a:gd name="T14" fmla="*/ 2147483647 w 33"/>
                    <a:gd name="T15" fmla="*/ 2147483647 h 14"/>
                    <a:gd name="T16" fmla="*/ 2147483647 w 33"/>
                    <a:gd name="T17" fmla="*/ 2147483647 h 14"/>
                    <a:gd name="T18" fmla="*/ 2147483647 w 33"/>
                    <a:gd name="T19" fmla="*/ 0 h 14"/>
                    <a:gd name="T20" fmla="*/ 2147483647 w 33"/>
                    <a:gd name="T21" fmla="*/ 2147483647 h 14"/>
                    <a:gd name="T22" fmla="*/ 2147483647 w 33"/>
                    <a:gd name="T23" fmla="*/ 2147483647 h 14"/>
                    <a:gd name="T24" fmla="*/ 2147483647 w 33"/>
                    <a:gd name="T25" fmla="*/ 2147483647 h 14"/>
                    <a:gd name="T26" fmla="*/ 2147483647 w 33"/>
                    <a:gd name="T27" fmla="*/ 2147483647 h 14"/>
                    <a:gd name="T28" fmla="*/ 2147483647 w 33"/>
                    <a:gd name="T29" fmla="*/ 2147483647 h 14"/>
                    <a:gd name="T30" fmla="*/ 0 w 33"/>
                    <a:gd name="T31" fmla="*/ 2147483647 h 14"/>
                    <a:gd name="T32" fmla="*/ 0 w 33"/>
                    <a:gd name="T33" fmla="*/ 2147483647 h 14"/>
                    <a:gd name="T34" fmla="*/ 0 w 33"/>
                    <a:gd name="T35" fmla="*/ 2147483647 h 14"/>
                    <a:gd name="T36" fmla="*/ 0 w 33"/>
                    <a:gd name="T37" fmla="*/ 2147483647 h 14"/>
                    <a:gd name="T38" fmla="*/ 2147483647 w 33"/>
                    <a:gd name="T39" fmla="*/ 2147483647 h 14"/>
                    <a:gd name="T40" fmla="*/ 2147483647 w 33"/>
                    <a:gd name="T41" fmla="*/ 2147483647 h 14"/>
                    <a:gd name="T42" fmla="*/ 2147483647 w 33"/>
                    <a:gd name="T43" fmla="*/ 2147483647 h 14"/>
                    <a:gd name="T44" fmla="*/ 2147483647 w 33"/>
                    <a:gd name="T45" fmla="*/ 2147483647 h 14"/>
                    <a:gd name="T46" fmla="*/ 2147483647 w 33"/>
                    <a:gd name="T47" fmla="*/ 2147483647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14"/>
                    <a:gd name="T74" fmla="*/ 33 w 33"/>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14">
                      <a:moveTo>
                        <a:pt x="15" y="14"/>
                      </a:moveTo>
                      <a:lnTo>
                        <a:pt x="21" y="14"/>
                      </a:lnTo>
                      <a:lnTo>
                        <a:pt x="28" y="12"/>
                      </a:lnTo>
                      <a:lnTo>
                        <a:pt x="30" y="11"/>
                      </a:lnTo>
                      <a:lnTo>
                        <a:pt x="32" y="10"/>
                      </a:lnTo>
                      <a:lnTo>
                        <a:pt x="33" y="7"/>
                      </a:lnTo>
                      <a:lnTo>
                        <a:pt x="32" y="4"/>
                      </a:lnTo>
                      <a:lnTo>
                        <a:pt x="30" y="2"/>
                      </a:lnTo>
                      <a:lnTo>
                        <a:pt x="28" y="1"/>
                      </a:lnTo>
                      <a:lnTo>
                        <a:pt x="24" y="0"/>
                      </a:lnTo>
                      <a:lnTo>
                        <a:pt x="20" y="1"/>
                      </a:lnTo>
                      <a:lnTo>
                        <a:pt x="15" y="4"/>
                      </a:lnTo>
                      <a:lnTo>
                        <a:pt x="11" y="5"/>
                      </a:lnTo>
                      <a:lnTo>
                        <a:pt x="8" y="4"/>
                      </a:lnTo>
                      <a:lnTo>
                        <a:pt x="4" y="2"/>
                      </a:lnTo>
                      <a:lnTo>
                        <a:pt x="0" y="1"/>
                      </a:lnTo>
                      <a:lnTo>
                        <a:pt x="0" y="2"/>
                      </a:lnTo>
                      <a:lnTo>
                        <a:pt x="0" y="4"/>
                      </a:lnTo>
                      <a:lnTo>
                        <a:pt x="0" y="5"/>
                      </a:lnTo>
                      <a:lnTo>
                        <a:pt x="2" y="8"/>
                      </a:lnTo>
                      <a:lnTo>
                        <a:pt x="4" y="12"/>
                      </a:lnTo>
                      <a:lnTo>
                        <a:pt x="6" y="13"/>
                      </a:lnTo>
                      <a:lnTo>
                        <a:pt x="9" y="14"/>
                      </a:lnTo>
                      <a:lnTo>
                        <a:pt x="15"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7" name="Freeform 526"/>
                <p:cNvSpPr>
                  <a:spLocks/>
                </p:cNvSpPr>
                <p:nvPr/>
              </p:nvSpPr>
              <p:spPr bwMode="auto">
                <a:xfrm>
                  <a:off x="2775761" y="4088567"/>
                  <a:ext cx="53275" cy="22198"/>
                </a:xfrm>
                <a:custGeom>
                  <a:avLst/>
                  <a:gdLst>
                    <a:gd name="T0" fmla="*/ 2147483647 w 39"/>
                    <a:gd name="T1" fmla="*/ 2147483647 h 15"/>
                    <a:gd name="T2" fmla="*/ 2147483647 w 39"/>
                    <a:gd name="T3" fmla="*/ 2147483647 h 15"/>
                    <a:gd name="T4" fmla="*/ 2147483647 w 39"/>
                    <a:gd name="T5" fmla="*/ 0 h 15"/>
                    <a:gd name="T6" fmla="*/ 2147483647 w 39"/>
                    <a:gd name="T7" fmla="*/ 2147483647 h 15"/>
                    <a:gd name="T8" fmla="*/ 0 w 39"/>
                    <a:gd name="T9" fmla="*/ 2147483647 h 15"/>
                    <a:gd name="T10" fmla="*/ 0 w 39"/>
                    <a:gd name="T11" fmla="*/ 2147483647 h 15"/>
                    <a:gd name="T12" fmla="*/ 2147483647 w 39"/>
                    <a:gd name="T13" fmla="*/ 2147483647 h 15"/>
                    <a:gd name="T14" fmla="*/ 2147483647 w 39"/>
                    <a:gd name="T15" fmla="*/ 2147483647 h 15"/>
                    <a:gd name="T16" fmla="*/ 2147483647 w 39"/>
                    <a:gd name="T17" fmla="*/ 2147483647 h 15"/>
                    <a:gd name="T18" fmla="*/ 2147483647 w 39"/>
                    <a:gd name="T19" fmla="*/ 2147483647 h 15"/>
                    <a:gd name="T20" fmla="*/ 2147483647 w 39"/>
                    <a:gd name="T21" fmla="*/ 2147483647 h 15"/>
                    <a:gd name="T22" fmla="*/ 2147483647 w 39"/>
                    <a:gd name="T23" fmla="*/ 2147483647 h 15"/>
                    <a:gd name="T24" fmla="*/ 2147483647 w 39"/>
                    <a:gd name="T25" fmla="*/ 2147483647 h 15"/>
                    <a:gd name="T26" fmla="*/ 2147483647 w 39"/>
                    <a:gd name="T27" fmla="*/ 2147483647 h 15"/>
                    <a:gd name="T28" fmla="*/ 2147483647 w 39"/>
                    <a:gd name="T29" fmla="*/ 2147483647 h 15"/>
                    <a:gd name="T30" fmla="*/ 2147483647 w 39"/>
                    <a:gd name="T31" fmla="*/ 2147483647 h 15"/>
                    <a:gd name="T32" fmla="*/ 2147483647 w 39"/>
                    <a:gd name="T33" fmla="*/ 2147483647 h 15"/>
                    <a:gd name="T34" fmla="*/ 2147483647 w 39"/>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
                    <a:gd name="T55" fmla="*/ 0 h 15"/>
                    <a:gd name="T56" fmla="*/ 39 w 39"/>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 h="15">
                      <a:moveTo>
                        <a:pt x="22" y="4"/>
                      </a:moveTo>
                      <a:lnTo>
                        <a:pt x="15" y="2"/>
                      </a:lnTo>
                      <a:lnTo>
                        <a:pt x="6" y="0"/>
                      </a:lnTo>
                      <a:lnTo>
                        <a:pt x="1" y="1"/>
                      </a:lnTo>
                      <a:lnTo>
                        <a:pt x="0" y="2"/>
                      </a:lnTo>
                      <a:lnTo>
                        <a:pt x="0" y="3"/>
                      </a:lnTo>
                      <a:lnTo>
                        <a:pt x="5" y="8"/>
                      </a:lnTo>
                      <a:lnTo>
                        <a:pt x="10" y="10"/>
                      </a:lnTo>
                      <a:lnTo>
                        <a:pt x="16" y="14"/>
                      </a:lnTo>
                      <a:lnTo>
                        <a:pt x="20" y="15"/>
                      </a:lnTo>
                      <a:lnTo>
                        <a:pt x="22" y="15"/>
                      </a:lnTo>
                      <a:lnTo>
                        <a:pt x="30" y="14"/>
                      </a:lnTo>
                      <a:lnTo>
                        <a:pt x="39" y="14"/>
                      </a:lnTo>
                      <a:lnTo>
                        <a:pt x="39" y="10"/>
                      </a:lnTo>
                      <a:lnTo>
                        <a:pt x="38" y="9"/>
                      </a:lnTo>
                      <a:lnTo>
                        <a:pt x="33" y="7"/>
                      </a:lnTo>
                      <a:lnTo>
                        <a:pt x="27" y="5"/>
                      </a:lnTo>
                      <a:lnTo>
                        <a:pt x="22"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8" name="Freeform 527"/>
                <p:cNvSpPr>
                  <a:spLocks/>
                </p:cNvSpPr>
                <p:nvPr/>
              </p:nvSpPr>
              <p:spPr bwMode="auto">
                <a:xfrm>
                  <a:off x="3025860" y="4091531"/>
                  <a:ext cx="45877" cy="20718"/>
                </a:xfrm>
                <a:custGeom>
                  <a:avLst/>
                  <a:gdLst>
                    <a:gd name="T0" fmla="*/ 2147483647 w 33"/>
                    <a:gd name="T1" fmla="*/ 2147483647 h 14"/>
                    <a:gd name="T2" fmla="*/ 2147483647 w 33"/>
                    <a:gd name="T3" fmla="*/ 2147483647 h 14"/>
                    <a:gd name="T4" fmla="*/ 2147483647 w 33"/>
                    <a:gd name="T5" fmla="*/ 2147483647 h 14"/>
                    <a:gd name="T6" fmla="*/ 2147483647 w 33"/>
                    <a:gd name="T7" fmla="*/ 2147483647 h 14"/>
                    <a:gd name="T8" fmla="*/ 2147483647 w 33"/>
                    <a:gd name="T9" fmla="*/ 2147483647 h 14"/>
                    <a:gd name="T10" fmla="*/ 2147483647 w 33"/>
                    <a:gd name="T11" fmla="*/ 2147483647 h 14"/>
                    <a:gd name="T12" fmla="*/ 2147483647 w 33"/>
                    <a:gd name="T13" fmla="*/ 2147483647 h 14"/>
                    <a:gd name="T14" fmla="*/ 2147483647 w 33"/>
                    <a:gd name="T15" fmla="*/ 2147483647 h 14"/>
                    <a:gd name="T16" fmla="*/ 2147483647 w 33"/>
                    <a:gd name="T17" fmla="*/ 2147483647 h 14"/>
                    <a:gd name="T18" fmla="*/ 2147483647 w 33"/>
                    <a:gd name="T19" fmla="*/ 2147483647 h 14"/>
                    <a:gd name="T20" fmla="*/ 2147483647 w 33"/>
                    <a:gd name="T21" fmla="*/ 2147483647 h 14"/>
                    <a:gd name="T22" fmla="*/ 2147483647 w 33"/>
                    <a:gd name="T23" fmla="*/ 0 h 14"/>
                    <a:gd name="T24" fmla="*/ 2147483647 w 33"/>
                    <a:gd name="T25" fmla="*/ 2147483647 h 14"/>
                    <a:gd name="T26" fmla="*/ 2147483647 w 33"/>
                    <a:gd name="T27" fmla="*/ 2147483647 h 14"/>
                    <a:gd name="T28" fmla="*/ 2147483647 w 33"/>
                    <a:gd name="T29" fmla="*/ 2147483647 h 14"/>
                    <a:gd name="T30" fmla="*/ 2147483647 w 33"/>
                    <a:gd name="T31" fmla="*/ 2147483647 h 14"/>
                    <a:gd name="T32" fmla="*/ 2147483647 w 33"/>
                    <a:gd name="T33" fmla="*/ 2147483647 h 14"/>
                    <a:gd name="T34" fmla="*/ 2147483647 w 33"/>
                    <a:gd name="T35" fmla="*/ 2147483647 h 14"/>
                    <a:gd name="T36" fmla="*/ 0 w 33"/>
                    <a:gd name="T37" fmla="*/ 2147483647 h 14"/>
                    <a:gd name="T38" fmla="*/ 0 w 33"/>
                    <a:gd name="T39" fmla="*/ 2147483647 h 14"/>
                    <a:gd name="T40" fmla="*/ 0 w 33"/>
                    <a:gd name="T41" fmla="*/ 2147483647 h 14"/>
                    <a:gd name="T42" fmla="*/ 0 w 33"/>
                    <a:gd name="T43" fmla="*/ 2147483647 h 14"/>
                    <a:gd name="T44" fmla="*/ 0 w 33"/>
                    <a:gd name="T45" fmla="*/ 2147483647 h 14"/>
                    <a:gd name="T46" fmla="*/ 0 w 33"/>
                    <a:gd name="T47" fmla="*/ 2147483647 h 14"/>
                    <a:gd name="T48" fmla="*/ 2147483647 w 33"/>
                    <a:gd name="T49" fmla="*/ 2147483647 h 14"/>
                    <a:gd name="T50" fmla="*/ 2147483647 w 33"/>
                    <a:gd name="T51" fmla="*/ 2147483647 h 14"/>
                    <a:gd name="T52" fmla="*/ 2147483647 w 33"/>
                    <a:gd name="T53" fmla="*/ 2147483647 h 14"/>
                    <a:gd name="T54" fmla="*/ 2147483647 w 33"/>
                    <a:gd name="T55" fmla="*/ 2147483647 h 14"/>
                    <a:gd name="T56" fmla="*/ 2147483647 w 33"/>
                    <a:gd name="T57" fmla="*/ 2147483647 h 14"/>
                    <a:gd name="T58" fmla="*/ 2147483647 w 33"/>
                    <a:gd name="T59" fmla="*/ 2147483647 h 14"/>
                    <a:gd name="T60" fmla="*/ 2147483647 w 33"/>
                    <a:gd name="T61" fmla="*/ 2147483647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4"/>
                    <a:gd name="T95" fmla="*/ 33 w 33"/>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4">
                      <a:moveTo>
                        <a:pt x="15" y="14"/>
                      </a:moveTo>
                      <a:lnTo>
                        <a:pt x="15" y="14"/>
                      </a:lnTo>
                      <a:lnTo>
                        <a:pt x="21" y="14"/>
                      </a:lnTo>
                      <a:lnTo>
                        <a:pt x="28" y="12"/>
                      </a:lnTo>
                      <a:lnTo>
                        <a:pt x="30" y="11"/>
                      </a:lnTo>
                      <a:lnTo>
                        <a:pt x="31" y="9"/>
                      </a:lnTo>
                      <a:lnTo>
                        <a:pt x="33" y="7"/>
                      </a:lnTo>
                      <a:lnTo>
                        <a:pt x="31" y="3"/>
                      </a:lnTo>
                      <a:lnTo>
                        <a:pt x="30" y="2"/>
                      </a:lnTo>
                      <a:lnTo>
                        <a:pt x="28" y="1"/>
                      </a:lnTo>
                      <a:lnTo>
                        <a:pt x="24" y="0"/>
                      </a:lnTo>
                      <a:lnTo>
                        <a:pt x="20" y="1"/>
                      </a:lnTo>
                      <a:lnTo>
                        <a:pt x="15" y="3"/>
                      </a:lnTo>
                      <a:lnTo>
                        <a:pt x="11" y="5"/>
                      </a:lnTo>
                      <a:lnTo>
                        <a:pt x="7" y="3"/>
                      </a:lnTo>
                      <a:lnTo>
                        <a:pt x="3" y="2"/>
                      </a:lnTo>
                      <a:lnTo>
                        <a:pt x="0" y="1"/>
                      </a:lnTo>
                      <a:lnTo>
                        <a:pt x="0" y="2"/>
                      </a:lnTo>
                      <a:lnTo>
                        <a:pt x="0" y="3"/>
                      </a:lnTo>
                      <a:lnTo>
                        <a:pt x="0" y="5"/>
                      </a:lnTo>
                      <a:lnTo>
                        <a:pt x="2" y="8"/>
                      </a:lnTo>
                      <a:lnTo>
                        <a:pt x="3" y="12"/>
                      </a:lnTo>
                      <a:lnTo>
                        <a:pt x="6" y="13"/>
                      </a:lnTo>
                      <a:lnTo>
                        <a:pt x="9" y="14"/>
                      </a:lnTo>
                      <a:lnTo>
                        <a:pt x="15"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29" name="Freeform 528"/>
                <p:cNvSpPr>
                  <a:spLocks/>
                </p:cNvSpPr>
                <p:nvPr/>
              </p:nvSpPr>
              <p:spPr bwMode="auto">
                <a:xfrm>
                  <a:off x="2772804" y="4085608"/>
                  <a:ext cx="54755" cy="23678"/>
                </a:xfrm>
                <a:custGeom>
                  <a:avLst/>
                  <a:gdLst>
                    <a:gd name="T0" fmla="*/ 2147483647 w 40"/>
                    <a:gd name="T1" fmla="*/ 2147483647 h 16"/>
                    <a:gd name="T2" fmla="*/ 2147483647 w 40"/>
                    <a:gd name="T3" fmla="*/ 2147483647 h 16"/>
                    <a:gd name="T4" fmla="*/ 2147483647 w 40"/>
                    <a:gd name="T5" fmla="*/ 2147483647 h 16"/>
                    <a:gd name="T6" fmla="*/ 2147483647 w 40"/>
                    <a:gd name="T7" fmla="*/ 0 h 16"/>
                    <a:gd name="T8" fmla="*/ 2147483647 w 40"/>
                    <a:gd name="T9" fmla="*/ 0 h 16"/>
                    <a:gd name="T10" fmla="*/ 2147483647 w 40"/>
                    <a:gd name="T11" fmla="*/ 2147483647 h 16"/>
                    <a:gd name="T12" fmla="*/ 0 w 40"/>
                    <a:gd name="T13" fmla="*/ 2147483647 h 16"/>
                    <a:gd name="T14" fmla="*/ 0 w 40"/>
                    <a:gd name="T15" fmla="*/ 2147483647 h 16"/>
                    <a:gd name="T16" fmla="*/ 0 w 40"/>
                    <a:gd name="T17" fmla="*/ 2147483647 h 16"/>
                    <a:gd name="T18" fmla="*/ 2147483647 w 40"/>
                    <a:gd name="T19" fmla="*/ 2147483647 h 16"/>
                    <a:gd name="T20" fmla="*/ 2147483647 w 40"/>
                    <a:gd name="T21" fmla="*/ 2147483647 h 16"/>
                    <a:gd name="T22" fmla="*/ 2147483647 w 40"/>
                    <a:gd name="T23" fmla="*/ 2147483647 h 16"/>
                    <a:gd name="T24" fmla="*/ 2147483647 w 40"/>
                    <a:gd name="T25" fmla="*/ 2147483647 h 16"/>
                    <a:gd name="T26" fmla="*/ 2147483647 w 40"/>
                    <a:gd name="T27" fmla="*/ 2147483647 h 16"/>
                    <a:gd name="T28" fmla="*/ 2147483647 w 40"/>
                    <a:gd name="T29" fmla="*/ 2147483647 h 16"/>
                    <a:gd name="T30" fmla="*/ 2147483647 w 40"/>
                    <a:gd name="T31" fmla="*/ 2147483647 h 16"/>
                    <a:gd name="T32" fmla="*/ 2147483647 w 40"/>
                    <a:gd name="T33" fmla="*/ 2147483647 h 16"/>
                    <a:gd name="T34" fmla="*/ 2147483647 w 40"/>
                    <a:gd name="T35" fmla="*/ 2147483647 h 16"/>
                    <a:gd name="T36" fmla="*/ 2147483647 w 40"/>
                    <a:gd name="T37" fmla="*/ 2147483647 h 16"/>
                    <a:gd name="T38" fmla="*/ 2147483647 w 40"/>
                    <a:gd name="T39" fmla="*/ 2147483647 h 16"/>
                    <a:gd name="T40" fmla="*/ 2147483647 w 40"/>
                    <a:gd name="T41" fmla="*/ 2147483647 h 16"/>
                    <a:gd name="T42" fmla="*/ 2147483647 w 40"/>
                    <a:gd name="T43" fmla="*/ 2147483647 h 16"/>
                    <a:gd name="T44" fmla="*/ 2147483647 w 40"/>
                    <a:gd name="T45" fmla="*/ 2147483647 h 16"/>
                    <a:gd name="T46" fmla="*/ 2147483647 w 40"/>
                    <a:gd name="T47" fmla="*/ 2147483647 h 16"/>
                    <a:gd name="T48" fmla="*/ 2147483647 w 40"/>
                    <a:gd name="T49" fmla="*/ 2147483647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16"/>
                    <a:gd name="T77" fmla="*/ 40 w 40"/>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16">
                      <a:moveTo>
                        <a:pt x="23" y="5"/>
                      </a:moveTo>
                      <a:lnTo>
                        <a:pt x="23" y="5"/>
                      </a:lnTo>
                      <a:lnTo>
                        <a:pt x="15" y="3"/>
                      </a:lnTo>
                      <a:lnTo>
                        <a:pt x="7" y="0"/>
                      </a:lnTo>
                      <a:lnTo>
                        <a:pt x="2" y="2"/>
                      </a:lnTo>
                      <a:lnTo>
                        <a:pt x="0" y="3"/>
                      </a:lnTo>
                      <a:lnTo>
                        <a:pt x="0" y="4"/>
                      </a:lnTo>
                      <a:lnTo>
                        <a:pt x="5" y="9"/>
                      </a:lnTo>
                      <a:lnTo>
                        <a:pt x="10" y="11"/>
                      </a:lnTo>
                      <a:lnTo>
                        <a:pt x="17" y="15"/>
                      </a:lnTo>
                      <a:lnTo>
                        <a:pt x="21" y="16"/>
                      </a:lnTo>
                      <a:lnTo>
                        <a:pt x="23" y="16"/>
                      </a:lnTo>
                      <a:lnTo>
                        <a:pt x="31" y="15"/>
                      </a:lnTo>
                      <a:lnTo>
                        <a:pt x="40" y="15"/>
                      </a:lnTo>
                      <a:lnTo>
                        <a:pt x="40" y="11"/>
                      </a:lnTo>
                      <a:lnTo>
                        <a:pt x="38" y="10"/>
                      </a:lnTo>
                      <a:lnTo>
                        <a:pt x="33" y="7"/>
                      </a:lnTo>
                      <a:lnTo>
                        <a:pt x="28" y="6"/>
                      </a:lnTo>
                      <a:lnTo>
                        <a:pt x="2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0" name="Freeform 529"/>
                <p:cNvSpPr>
                  <a:spLocks/>
                </p:cNvSpPr>
                <p:nvPr/>
              </p:nvSpPr>
              <p:spPr bwMode="auto">
                <a:xfrm>
                  <a:off x="2925230" y="4053051"/>
                  <a:ext cx="85833" cy="69554"/>
                </a:xfrm>
                <a:custGeom>
                  <a:avLst/>
                  <a:gdLst>
                    <a:gd name="T0" fmla="*/ 0 w 63"/>
                    <a:gd name="T1" fmla="*/ 2147483647 h 47"/>
                    <a:gd name="T2" fmla="*/ 2147483647 w 63"/>
                    <a:gd name="T3" fmla="*/ 2147483647 h 47"/>
                    <a:gd name="T4" fmla="*/ 2147483647 w 63"/>
                    <a:gd name="T5" fmla="*/ 2147483647 h 47"/>
                    <a:gd name="T6" fmla="*/ 2147483647 w 63"/>
                    <a:gd name="T7" fmla="*/ 2147483647 h 47"/>
                    <a:gd name="T8" fmla="*/ 2147483647 w 63"/>
                    <a:gd name="T9" fmla="*/ 2147483647 h 47"/>
                    <a:gd name="T10" fmla="*/ 2147483647 w 63"/>
                    <a:gd name="T11" fmla="*/ 2147483647 h 47"/>
                    <a:gd name="T12" fmla="*/ 0 w 63"/>
                    <a:gd name="T13" fmla="*/ 2147483647 h 47"/>
                    <a:gd name="T14" fmla="*/ 2147483647 w 63"/>
                    <a:gd name="T15" fmla="*/ 2147483647 h 47"/>
                    <a:gd name="T16" fmla="*/ 2147483647 w 63"/>
                    <a:gd name="T17" fmla="*/ 2147483647 h 47"/>
                    <a:gd name="T18" fmla="*/ 2147483647 w 63"/>
                    <a:gd name="T19" fmla="*/ 2147483647 h 47"/>
                    <a:gd name="T20" fmla="*/ 2147483647 w 63"/>
                    <a:gd name="T21" fmla="*/ 2147483647 h 47"/>
                    <a:gd name="T22" fmla="*/ 2147483647 w 63"/>
                    <a:gd name="T23" fmla="*/ 0 h 47"/>
                    <a:gd name="T24" fmla="*/ 2147483647 w 63"/>
                    <a:gd name="T25" fmla="*/ 2147483647 h 47"/>
                    <a:gd name="T26" fmla="*/ 2147483647 w 63"/>
                    <a:gd name="T27" fmla="*/ 2147483647 h 47"/>
                    <a:gd name="T28" fmla="*/ 2147483647 w 63"/>
                    <a:gd name="T29" fmla="*/ 2147483647 h 47"/>
                    <a:gd name="T30" fmla="*/ 2147483647 w 63"/>
                    <a:gd name="T31" fmla="*/ 2147483647 h 47"/>
                    <a:gd name="T32" fmla="*/ 2147483647 w 63"/>
                    <a:gd name="T33" fmla="*/ 2147483647 h 47"/>
                    <a:gd name="T34" fmla="*/ 2147483647 w 63"/>
                    <a:gd name="T35" fmla="*/ 2147483647 h 47"/>
                    <a:gd name="T36" fmla="*/ 2147483647 w 63"/>
                    <a:gd name="T37" fmla="*/ 2147483647 h 47"/>
                    <a:gd name="T38" fmla="*/ 2147483647 w 63"/>
                    <a:gd name="T39" fmla="*/ 2147483647 h 47"/>
                    <a:gd name="T40" fmla="*/ 2147483647 w 63"/>
                    <a:gd name="T41" fmla="*/ 2147483647 h 47"/>
                    <a:gd name="T42" fmla="*/ 2147483647 w 63"/>
                    <a:gd name="T43" fmla="*/ 2147483647 h 47"/>
                    <a:gd name="T44" fmla="*/ 2147483647 w 63"/>
                    <a:gd name="T45" fmla="*/ 2147483647 h 47"/>
                    <a:gd name="T46" fmla="*/ 2147483647 w 63"/>
                    <a:gd name="T47" fmla="*/ 2147483647 h 47"/>
                    <a:gd name="T48" fmla="*/ 2147483647 w 63"/>
                    <a:gd name="T49" fmla="*/ 2147483647 h 47"/>
                    <a:gd name="T50" fmla="*/ 2147483647 w 63"/>
                    <a:gd name="T51" fmla="*/ 2147483647 h 47"/>
                    <a:gd name="T52" fmla="*/ 2147483647 w 63"/>
                    <a:gd name="T53" fmla="*/ 2147483647 h 47"/>
                    <a:gd name="T54" fmla="*/ 2147483647 w 63"/>
                    <a:gd name="T55" fmla="*/ 2147483647 h 47"/>
                    <a:gd name="T56" fmla="*/ 2147483647 w 63"/>
                    <a:gd name="T57" fmla="*/ 2147483647 h 47"/>
                    <a:gd name="T58" fmla="*/ 2147483647 w 63"/>
                    <a:gd name="T59" fmla="*/ 2147483647 h 47"/>
                    <a:gd name="T60" fmla="*/ 2147483647 w 63"/>
                    <a:gd name="T61" fmla="*/ 2147483647 h 47"/>
                    <a:gd name="T62" fmla="*/ 2147483647 w 63"/>
                    <a:gd name="T63" fmla="*/ 2147483647 h 47"/>
                    <a:gd name="T64" fmla="*/ 2147483647 w 63"/>
                    <a:gd name="T65" fmla="*/ 2147483647 h 47"/>
                    <a:gd name="T66" fmla="*/ 2147483647 w 63"/>
                    <a:gd name="T67" fmla="*/ 2147483647 h 47"/>
                    <a:gd name="T68" fmla="*/ 2147483647 w 63"/>
                    <a:gd name="T69" fmla="*/ 2147483647 h 47"/>
                    <a:gd name="T70" fmla="*/ 2147483647 w 63"/>
                    <a:gd name="T71" fmla="*/ 2147483647 h 47"/>
                    <a:gd name="T72" fmla="*/ 2147483647 w 63"/>
                    <a:gd name="T73" fmla="*/ 2147483647 h 47"/>
                    <a:gd name="T74" fmla="*/ 2147483647 w 63"/>
                    <a:gd name="T75" fmla="*/ 2147483647 h 47"/>
                    <a:gd name="T76" fmla="*/ 2147483647 w 63"/>
                    <a:gd name="T77" fmla="*/ 2147483647 h 47"/>
                    <a:gd name="T78" fmla="*/ 2147483647 w 63"/>
                    <a:gd name="T79" fmla="*/ 2147483647 h 47"/>
                    <a:gd name="T80" fmla="*/ 2147483647 w 63"/>
                    <a:gd name="T81" fmla="*/ 2147483647 h 47"/>
                    <a:gd name="T82" fmla="*/ 2147483647 w 63"/>
                    <a:gd name="T83" fmla="*/ 2147483647 h 47"/>
                    <a:gd name="T84" fmla="*/ 2147483647 w 63"/>
                    <a:gd name="T85" fmla="*/ 2147483647 h 47"/>
                    <a:gd name="T86" fmla="*/ 2147483647 w 63"/>
                    <a:gd name="T87" fmla="*/ 2147483647 h 47"/>
                    <a:gd name="T88" fmla="*/ 2147483647 w 63"/>
                    <a:gd name="T89" fmla="*/ 2147483647 h 47"/>
                    <a:gd name="T90" fmla="*/ 2147483647 w 63"/>
                    <a:gd name="T91" fmla="*/ 2147483647 h 47"/>
                    <a:gd name="T92" fmla="*/ 2147483647 w 63"/>
                    <a:gd name="T93" fmla="*/ 2147483647 h 47"/>
                    <a:gd name="T94" fmla="*/ 2147483647 w 63"/>
                    <a:gd name="T95" fmla="*/ 2147483647 h 47"/>
                    <a:gd name="T96" fmla="*/ 0 w 63"/>
                    <a:gd name="T97" fmla="*/ 2147483647 h 4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47"/>
                    <a:gd name="T149" fmla="*/ 63 w 63"/>
                    <a:gd name="T150" fmla="*/ 47 h 4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47">
                      <a:moveTo>
                        <a:pt x="0" y="38"/>
                      </a:moveTo>
                      <a:lnTo>
                        <a:pt x="3" y="37"/>
                      </a:lnTo>
                      <a:lnTo>
                        <a:pt x="4" y="34"/>
                      </a:lnTo>
                      <a:lnTo>
                        <a:pt x="4" y="32"/>
                      </a:lnTo>
                      <a:lnTo>
                        <a:pt x="4" y="29"/>
                      </a:lnTo>
                      <a:lnTo>
                        <a:pt x="1" y="25"/>
                      </a:lnTo>
                      <a:lnTo>
                        <a:pt x="0" y="24"/>
                      </a:lnTo>
                      <a:lnTo>
                        <a:pt x="1" y="21"/>
                      </a:lnTo>
                      <a:lnTo>
                        <a:pt x="4" y="16"/>
                      </a:lnTo>
                      <a:lnTo>
                        <a:pt x="5" y="12"/>
                      </a:lnTo>
                      <a:lnTo>
                        <a:pt x="6" y="6"/>
                      </a:lnTo>
                      <a:lnTo>
                        <a:pt x="6" y="0"/>
                      </a:lnTo>
                      <a:lnTo>
                        <a:pt x="15" y="1"/>
                      </a:lnTo>
                      <a:lnTo>
                        <a:pt x="19" y="1"/>
                      </a:lnTo>
                      <a:lnTo>
                        <a:pt x="23" y="3"/>
                      </a:lnTo>
                      <a:lnTo>
                        <a:pt x="32" y="7"/>
                      </a:lnTo>
                      <a:lnTo>
                        <a:pt x="37" y="9"/>
                      </a:lnTo>
                      <a:lnTo>
                        <a:pt x="39" y="13"/>
                      </a:lnTo>
                      <a:lnTo>
                        <a:pt x="43" y="15"/>
                      </a:lnTo>
                      <a:lnTo>
                        <a:pt x="48" y="18"/>
                      </a:lnTo>
                      <a:lnTo>
                        <a:pt x="56" y="21"/>
                      </a:lnTo>
                      <a:lnTo>
                        <a:pt x="62" y="26"/>
                      </a:lnTo>
                      <a:lnTo>
                        <a:pt x="63" y="28"/>
                      </a:lnTo>
                      <a:lnTo>
                        <a:pt x="63" y="29"/>
                      </a:lnTo>
                      <a:lnTo>
                        <a:pt x="62" y="32"/>
                      </a:lnTo>
                      <a:lnTo>
                        <a:pt x="61" y="33"/>
                      </a:lnTo>
                      <a:lnTo>
                        <a:pt x="58" y="34"/>
                      </a:lnTo>
                      <a:lnTo>
                        <a:pt x="53" y="34"/>
                      </a:lnTo>
                      <a:lnTo>
                        <a:pt x="48" y="32"/>
                      </a:lnTo>
                      <a:lnTo>
                        <a:pt x="44" y="28"/>
                      </a:lnTo>
                      <a:lnTo>
                        <a:pt x="42" y="28"/>
                      </a:lnTo>
                      <a:lnTo>
                        <a:pt x="39" y="29"/>
                      </a:lnTo>
                      <a:lnTo>
                        <a:pt x="38" y="32"/>
                      </a:lnTo>
                      <a:lnTo>
                        <a:pt x="34" y="33"/>
                      </a:lnTo>
                      <a:lnTo>
                        <a:pt x="33" y="34"/>
                      </a:lnTo>
                      <a:lnTo>
                        <a:pt x="30" y="35"/>
                      </a:lnTo>
                      <a:lnTo>
                        <a:pt x="28" y="37"/>
                      </a:lnTo>
                      <a:lnTo>
                        <a:pt x="24" y="35"/>
                      </a:lnTo>
                      <a:lnTo>
                        <a:pt x="22" y="35"/>
                      </a:lnTo>
                      <a:lnTo>
                        <a:pt x="19" y="37"/>
                      </a:lnTo>
                      <a:lnTo>
                        <a:pt x="16" y="38"/>
                      </a:lnTo>
                      <a:lnTo>
                        <a:pt x="15" y="41"/>
                      </a:lnTo>
                      <a:lnTo>
                        <a:pt x="15" y="45"/>
                      </a:lnTo>
                      <a:lnTo>
                        <a:pt x="14" y="47"/>
                      </a:lnTo>
                      <a:lnTo>
                        <a:pt x="13" y="47"/>
                      </a:lnTo>
                      <a:lnTo>
                        <a:pt x="10" y="47"/>
                      </a:lnTo>
                      <a:lnTo>
                        <a:pt x="8" y="44"/>
                      </a:lnTo>
                      <a:lnTo>
                        <a:pt x="4" y="40"/>
                      </a:lnTo>
                      <a:lnTo>
                        <a:pt x="0" y="3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1" name="Freeform 530"/>
                <p:cNvSpPr>
                  <a:spLocks/>
                </p:cNvSpPr>
                <p:nvPr/>
              </p:nvSpPr>
              <p:spPr bwMode="auto">
                <a:xfrm>
                  <a:off x="2874911" y="4004218"/>
                  <a:ext cx="29597" cy="16279"/>
                </a:xfrm>
                <a:custGeom>
                  <a:avLst/>
                  <a:gdLst>
                    <a:gd name="T0" fmla="*/ 2147483647 w 22"/>
                    <a:gd name="T1" fmla="*/ 0 h 11"/>
                    <a:gd name="T2" fmla="*/ 2147483647 w 22"/>
                    <a:gd name="T3" fmla="*/ 0 h 11"/>
                    <a:gd name="T4" fmla="*/ 2147483647 w 22"/>
                    <a:gd name="T5" fmla="*/ 0 h 11"/>
                    <a:gd name="T6" fmla="*/ 2147483647 w 22"/>
                    <a:gd name="T7" fmla="*/ 2147483647 h 11"/>
                    <a:gd name="T8" fmla="*/ 2147483647 w 22"/>
                    <a:gd name="T9" fmla="*/ 2147483647 h 11"/>
                    <a:gd name="T10" fmla="*/ 2147483647 w 22"/>
                    <a:gd name="T11" fmla="*/ 2147483647 h 11"/>
                    <a:gd name="T12" fmla="*/ 2147483647 w 22"/>
                    <a:gd name="T13" fmla="*/ 2147483647 h 11"/>
                    <a:gd name="T14" fmla="*/ 2147483647 w 22"/>
                    <a:gd name="T15" fmla="*/ 2147483647 h 11"/>
                    <a:gd name="T16" fmla="*/ 2147483647 w 22"/>
                    <a:gd name="T17" fmla="*/ 2147483647 h 11"/>
                    <a:gd name="T18" fmla="*/ 2147483647 w 22"/>
                    <a:gd name="T19" fmla="*/ 2147483647 h 11"/>
                    <a:gd name="T20" fmla="*/ 2147483647 w 22"/>
                    <a:gd name="T21" fmla="*/ 2147483647 h 11"/>
                    <a:gd name="T22" fmla="*/ 0 w 22"/>
                    <a:gd name="T23" fmla="*/ 2147483647 h 11"/>
                    <a:gd name="T24" fmla="*/ 0 w 22"/>
                    <a:gd name="T25" fmla="*/ 2147483647 h 11"/>
                    <a:gd name="T26" fmla="*/ 0 w 22"/>
                    <a:gd name="T27" fmla="*/ 2147483647 h 11"/>
                    <a:gd name="T28" fmla="*/ 2147483647 w 22"/>
                    <a:gd name="T29" fmla="*/ 2147483647 h 11"/>
                    <a:gd name="T30" fmla="*/ 2147483647 w 22"/>
                    <a:gd name="T31" fmla="*/ 0 h 11"/>
                    <a:gd name="T32" fmla="*/ 2147483647 w 22"/>
                    <a:gd name="T33" fmla="*/ 0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1"/>
                    <a:gd name="T53" fmla="*/ 22 w 22"/>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1">
                      <a:moveTo>
                        <a:pt x="13" y="0"/>
                      </a:moveTo>
                      <a:lnTo>
                        <a:pt x="17" y="0"/>
                      </a:lnTo>
                      <a:lnTo>
                        <a:pt x="19" y="0"/>
                      </a:lnTo>
                      <a:lnTo>
                        <a:pt x="20" y="2"/>
                      </a:lnTo>
                      <a:lnTo>
                        <a:pt x="22" y="4"/>
                      </a:lnTo>
                      <a:lnTo>
                        <a:pt x="20" y="7"/>
                      </a:lnTo>
                      <a:lnTo>
                        <a:pt x="19" y="9"/>
                      </a:lnTo>
                      <a:lnTo>
                        <a:pt x="17" y="10"/>
                      </a:lnTo>
                      <a:lnTo>
                        <a:pt x="13" y="11"/>
                      </a:lnTo>
                      <a:lnTo>
                        <a:pt x="8" y="11"/>
                      </a:lnTo>
                      <a:lnTo>
                        <a:pt x="4" y="10"/>
                      </a:lnTo>
                      <a:lnTo>
                        <a:pt x="0" y="8"/>
                      </a:lnTo>
                      <a:lnTo>
                        <a:pt x="0" y="6"/>
                      </a:lnTo>
                      <a:lnTo>
                        <a:pt x="0" y="3"/>
                      </a:lnTo>
                      <a:lnTo>
                        <a:pt x="3" y="1"/>
                      </a:lnTo>
                      <a:lnTo>
                        <a:pt x="8" y="0"/>
                      </a:lnTo>
                      <a:lnTo>
                        <a:pt x="1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2" name="Freeform 531"/>
                <p:cNvSpPr>
                  <a:spLocks/>
                </p:cNvSpPr>
                <p:nvPr/>
              </p:nvSpPr>
              <p:spPr bwMode="auto">
                <a:xfrm>
                  <a:off x="2923751" y="4051574"/>
                  <a:ext cx="85833" cy="69554"/>
                </a:xfrm>
                <a:custGeom>
                  <a:avLst/>
                  <a:gdLst>
                    <a:gd name="T0" fmla="*/ 0 w 63"/>
                    <a:gd name="T1" fmla="*/ 2147483647 h 47"/>
                    <a:gd name="T2" fmla="*/ 2147483647 w 63"/>
                    <a:gd name="T3" fmla="*/ 2147483647 h 47"/>
                    <a:gd name="T4" fmla="*/ 2147483647 w 63"/>
                    <a:gd name="T5" fmla="*/ 2147483647 h 47"/>
                    <a:gd name="T6" fmla="*/ 2147483647 w 63"/>
                    <a:gd name="T7" fmla="*/ 2147483647 h 47"/>
                    <a:gd name="T8" fmla="*/ 2147483647 w 63"/>
                    <a:gd name="T9" fmla="*/ 2147483647 h 47"/>
                    <a:gd name="T10" fmla="*/ 2147483647 w 63"/>
                    <a:gd name="T11" fmla="*/ 2147483647 h 47"/>
                    <a:gd name="T12" fmla="*/ 2147483647 w 63"/>
                    <a:gd name="T13" fmla="*/ 2147483647 h 47"/>
                    <a:gd name="T14" fmla="*/ 2147483647 w 63"/>
                    <a:gd name="T15" fmla="*/ 0 h 47"/>
                    <a:gd name="T16" fmla="*/ 2147483647 w 63"/>
                    <a:gd name="T17" fmla="*/ 2147483647 h 47"/>
                    <a:gd name="T18" fmla="*/ 2147483647 w 63"/>
                    <a:gd name="T19" fmla="*/ 2147483647 h 47"/>
                    <a:gd name="T20" fmla="*/ 2147483647 w 63"/>
                    <a:gd name="T21" fmla="*/ 2147483647 h 47"/>
                    <a:gd name="T22" fmla="*/ 2147483647 w 63"/>
                    <a:gd name="T23" fmla="*/ 2147483647 h 47"/>
                    <a:gd name="T24" fmla="*/ 2147483647 w 63"/>
                    <a:gd name="T25" fmla="*/ 2147483647 h 47"/>
                    <a:gd name="T26" fmla="*/ 2147483647 w 63"/>
                    <a:gd name="T27" fmla="*/ 2147483647 h 47"/>
                    <a:gd name="T28" fmla="*/ 2147483647 w 63"/>
                    <a:gd name="T29" fmla="*/ 2147483647 h 47"/>
                    <a:gd name="T30" fmla="*/ 2147483647 w 63"/>
                    <a:gd name="T31" fmla="*/ 2147483647 h 47"/>
                    <a:gd name="T32" fmla="*/ 2147483647 w 63"/>
                    <a:gd name="T33" fmla="*/ 2147483647 h 47"/>
                    <a:gd name="T34" fmla="*/ 2147483647 w 63"/>
                    <a:gd name="T35" fmla="*/ 2147483647 h 47"/>
                    <a:gd name="T36" fmla="*/ 2147483647 w 63"/>
                    <a:gd name="T37" fmla="*/ 2147483647 h 47"/>
                    <a:gd name="T38" fmla="*/ 2147483647 w 63"/>
                    <a:gd name="T39" fmla="*/ 2147483647 h 47"/>
                    <a:gd name="T40" fmla="*/ 2147483647 w 63"/>
                    <a:gd name="T41" fmla="*/ 2147483647 h 47"/>
                    <a:gd name="T42" fmla="*/ 2147483647 w 63"/>
                    <a:gd name="T43" fmla="*/ 2147483647 h 47"/>
                    <a:gd name="T44" fmla="*/ 2147483647 w 63"/>
                    <a:gd name="T45" fmla="*/ 2147483647 h 47"/>
                    <a:gd name="T46" fmla="*/ 2147483647 w 63"/>
                    <a:gd name="T47" fmla="*/ 2147483647 h 47"/>
                    <a:gd name="T48" fmla="*/ 2147483647 w 63"/>
                    <a:gd name="T49" fmla="*/ 2147483647 h 47"/>
                    <a:gd name="T50" fmla="*/ 2147483647 w 63"/>
                    <a:gd name="T51" fmla="*/ 2147483647 h 47"/>
                    <a:gd name="T52" fmla="*/ 2147483647 w 63"/>
                    <a:gd name="T53" fmla="*/ 2147483647 h 47"/>
                    <a:gd name="T54" fmla="*/ 2147483647 w 63"/>
                    <a:gd name="T55" fmla="*/ 2147483647 h 47"/>
                    <a:gd name="T56" fmla="*/ 2147483647 w 63"/>
                    <a:gd name="T57" fmla="*/ 2147483647 h 47"/>
                    <a:gd name="T58" fmla="*/ 2147483647 w 63"/>
                    <a:gd name="T59" fmla="*/ 2147483647 h 47"/>
                    <a:gd name="T60" fmla="*/ 2147483647 w 63"/>
                    <a:gd name="T61" fmla="*/ 2147483647 h 47"/>
                    <a:gd name="T62" fmla="*/ 0 w 63"/>
                    <a:gd name="T63" fmla="*/ 2147483647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47"/>
                    <a:gd name="T98" fmla="*/ 63 w 63"/>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47">
                      <a:moveTo>
                        <a:pt x="0" y="38"/>
                      </a:moveTo>
                      <a:lnTo>
                        <a:pt x="0" y="38"/>
                      </a:lnTo>
                      <a:lnTo>
                        <a:pt x="2" y="36"/>
                      </a:lnTo>
                      <a:lnTo>
                        <a:pt x="4" y="34"/>
                      </a:lnTo>
                      <a:lnTo>
                        <a:pt x="4" y="32"/>
                      </a:lnTo>
                      <a:lnTo>
                        <a:pt x="4" y="29"/>
                      </a:lnTo>
                      <a:lnTo>
                        <a:pt x="1" y="25"/>
                      </a:lnTo>
                      <a:lnTo>
                        <a:pt x="0" y="23"/>
                      </a:lnTo>
                      <a:lnTo>
                        <a:pt x="1" y="21"/>
                      </a:lnTo>
                      <a:lnTo>
                        <a:pt x="4" y="16"/>
                      </a:lnTo>
                      <a:lnTo>
                        <a:pt x="5" y="11"/>
                      </a:lnTo>
                      <a:lnTo>
                        <a:pt x="6" y="6"/>
                      </a:lnTo>
                      <a:lnTo>
                        <a:pt x="6" y="0"/>
                      </a:lnTo>
                      <a:lnTo>
                        <a:pt x="15" y="1"/>
                      </a:lnTo>
                      <a:lnTo>
                        <a:pt x="19" y="1"/>
                      </a:lnTo>
                      <a:lnTo>
                        <a:pt x="23" y="3"/>
                      </a:lnTo>
                      <a:lnTo>
                        <a:pt x="31" y="7"/>
                      </a:lnTo>
                      <a:lnTo>
                        <a:pt x="37" y="9"/>
                      </a:lnTo>
                      <a:lnTo>
                        <a:pt x="39" y="13"/>
                      </a:lnTo>
                      <a:lnTo>
                        <a:pt x="43" y="15"/>
                      </a:lnTo>
                      <a:lnTo>
                        <a:pt x="48" y="17"/>
                      </a:lnTo>
                      <a:lnTo>
                        <a:pt x="56" y="21"/>
                      </a:lnTo>
                      <a:lnTo>
                        <a:pt x="62" y="26"/>
                      </a:lnTo>
                      <a:lnTo>
                        <a:pt x="63" y="28"/>
                      </a:lnTo>
                      <a:lnTo>
                        <a:pt x="63" y="29"/>
                      </a:lnTo>
                      <a:lnTo>
                        <a:pt x="62" y="32"/>
                      </a:lnTo>
                      <a:lnTo>
                        <a:pt x="61" y="33"/>
                      </a:lnTo>
                      <a:lnTo>
                        <a:pt x="58" y="34"/>
                      </a:lnTo>
                      <a:lnTo>
                        <a:pt x="53" y="34"/>
                      </a:lnTo>
                      <a:lnTo>
                        <a:pt x="48" y="32"/>
                      </a:lnTo>
                      <a:lnTo>
                        <a:pt x="44" y="28"/>
                      </a:lnTo>
                      <a:lnTo>
                        <a:pt x="42" y="28"/>
                      </a:lnTo>
                      <a:lnTo>
                        <a:pt x="39" y="29"/>
                      </a:lnTo>
                      <a:lnTo>
                        <a:pt x="38" y="32"/>
                      </a:lnTo>
                      <a:lnTo>
                        <a:pt x="34" y="33"/>
                      </a:lnTo>
                      <a:lnTo>
                        <a:pt x="33" y="34"/>
                      </a:lnTo>
                      <a:lnTo>
                        <a:pt x="30" y="35"/>
                      </a:lnTo>
                      <a:lnTo>
                        <a:pt x="28" y="36"/>
                      </a:lnTo>
                      <a:lnTo>
                        <a:pt x="24" y="35"/>
                      </a:lnTo>
                      <a:lnTo>
                        <a:pt x="21" y="35"/>
                      </a:lnTo>
                      <a:lnTo>
                        <a:pt x="19" y="36"/>
                      </a:lnTo>
                      <a:lnTo>
                        <a:pt x="16" y="38"/>
                      </a:lnTo>
                      <a:lnTo>
                        <a:pt x="15" y="41"/>
                      </a:lnTo>
                      <a:lnTo>
                        <a:pt x="15" y="45"/>
                      </a:lnTo>
                      <a:lnTo>
                        <a:pt x="14" y="47"/>
                      </a:lnTo>
                      <a:lnTo>
                        <a:pt x="12" y="47"/>
                      </a:lnTo>
                      <a:lnTo>
                        <a:pt x="10" y="47"/>
                      </a:lnTo>
                      <a:lnTo>
                        <a:pt x="7" y="44"/>
                      </a:lnTo>
                      <a:lnTo>
                        <a:pt x="4" y="40"/>
                      </a:lnTo>
                      <a:lnTo>
                        <a:pt x="0" y="3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3" name="Freeform 532"/>
                <p:cNvSpPr>
                  <a:spLocks/>
                </p:cNvSpPr>
                <p:nvPr/>
              </p:nvSpPr>
              <p:spPr bwMode="auto">
                <a:xfrm>
                  <a:off x="2873431" y="4001255"/>
                  <a:ext cx="28117" cy="17758"/>
                </a:xfrm>
                <a:custGeom>
                  <a:avLst/>
                  <a:gdLst>
                    <a:gd name="T0" fmla="*/ 2147483647 w 21"/>
                    <a:gd name="T1" fmla="*/ 0 h 12"/>
                    <a:gd name="T2" fmla="*/ 2147483647 w 21"/>
                    <a:gd name="T3" fmla="*/ 0 h 12"/>
                    <a:gd name="T4" fmla="*/ 2147483647 w 21"/>
                    <a:gd name="T5" fmla="*/ 0 h 12"/>
                    <a:gd name="T6" fmla="*/ 2147483647 w 21"/>
                    <a:gd name="T7" fmla="*/ 0 h 12"/>
                    <a:gd name="T8" fmla="*/ 2147483647 w 21"/>
                    <a:gd name="T9" fmla="*/ 2147483647 h 12"/>
                    <a:gd name="T10" fmla="*/ 2147483647 w 21"/>
                    <a:gd name="T11" fmla="*/ 2147483647 h 12"/>
                    <a:gd name="T12" fmla="*/ 2147483647 w 21"/>
                    <a:gd name="T13" fmla="*/ 2147483647 h 12"/>
                    <a:gd name="T14" fmla="*/ 2147483647 w 21"/>
                    <a:gd name="T15" fmla="*/ 2147483647 h 12"/>
                    <a:gd name="T16" fmla="*/ 2147483647 w 21"/>
                    <a:gd name="T17" fmla="*/ 2147483647 h 12"/>
                    <a:gd name="T18" fmla="*/ 2147483647 w 21"/>
                    <a:gd name="T19" fmla="*/ 2147483647 h 12"/>
                    <a:gd name="T20" fmla="*/ 2147483647 w 21"/>
                    <a:gd name="T21" fmla="*/ 2147483647 h 12"/>
                    <a:gd name="T22" fmla="*/ 2147483647 w 21"/>
                    <a:gd name="T23" fmla="*/ 2147483647 h 12"/>
                    <a:gd name="T24" fmla="*/ 2147483647 w 21"/>
                    <a:gd name="T25" fmla="*/ 2147483647 h 12"/>
                    <a:gd name="T26" fmla="*/ 2147483647 w 21"/>
                    <a:gd name="T27" fmla="*/ 2147483647 h 12"/>
                    <a:gd name="T28" fmla="*/ 0 w 21"/>
                    <a:gd name="T29" fmla="*/ 2147483647 h 12"/>
                    <a:gd name="T30" fmla="*/ 0 w 21"/>
                    <a:gd name="T31" fmla="*/ 2147483647 h 12"/>
                    <a:gd name="T32" fmla="*/ 0 w 21"/>
                    <a:gd name="T33" fmla="*/ 2147483647 h 12"/>
                    <a:gd name="T34" fmla="*/ 0 w 21"/>
                    <a:gd name="T35" fmla="*/ 2147483647 h 12"/>
                    <a:gd name="T36" fmla="*/ 2147483647 w 21"/>
                    <a:gd name="T37" fmla="*/ 2147483647 h 12"/>
                    <a:gd name="T38" fmla="*/ 2147483647 w 21"/>
                    <a:gd name="T39" fmla="*/ 0 h 12"/>
                    <a:gd name="T40" fmla="*/ 2147483647 w 21"/>
                    <a:gd name="T41" fmla="*/ 0 h 12"/>
                    <a:gd name="T42" fmla="*/ 2147483647 w 21"/>
                    <a:gd name="T43" fmla="*/ 0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12"/>
                    <a:gd name="T68" fmla="*/ 21 w 21"/>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12">
                      <a:moveTo>
                        <a:pt x="13" y="0"/>
                      </a:moveTo>
                      <a:lnTo>
                        <a:pt x="13" y="0"/>
                      </a:lnTo>
                      <a:lnTo>
                        <a:pt x="16" y="0"/>
                      </a:lnTo>
                      <a:lnTo>
                        <a:pt x="19" y="0"/>
                      </a:lnTo>
                      <a:lnTo>
                        <a:pt x="20" y="3"/>
                      </a:lnTo>
                      <a:lnTo>
                        <a:pt x="21" y="5"/>
                      </a:lnTo>
                      <a:lnTo>
                        <a:pt x="20" y="8"/>
                      </a:lnTo>
                      <a:lnTo>
                        <a:pt x="19" y="10"/>
                      </a:lnTo>
                      <a:lnTo>
                        <a:pt x="16" y="11"/>
                      </a:lnTo>
                      <a:lnTo>
                        <a:pt x="13" y="12"/>
                      </a:lnTo>
                      <a:lnTo>
                        <a:pt x="8" y="12"/>
                      </a:lnTo>
                      <a:lnTo>
                        <a:pt x="4" y="11"/>
                      </a:lnTo>
                      <a:lnTo>
                        <a:pt x="0" y="9"/>
                      </a:lnTo>
                      <a:lnTo>
                        <a:pt x="0" y="6"/>
                      </a:lnTo>
                      <a:lnTo>
                        <a:pt x="0" y="4"/>
                      </a:lnTo>
                      <a:lnTo>
                        <a:pt x="2" y="2"/>
                      </a:lnTo>
                      <a:lnTo>
                        <a:pt x="8" y="0"/>
                      </a:lnTo>
                      <a:lnTo>
                        <a:pt x="1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4" name="Freeform 533"/>
                <p:cNvSpPr>
                  <a:spLocks/>
                </p:cNvSpPr>
                <p:nvPr/>
              </p:nvSpPr>
              <p:spPr bwMode="auto">
                <a:xfrm>
                  <a:off x="2843835" y="3939103"/>
                  <a:ext cx="8879" cy="13319"/>
                </a:xfrm>
                <a:custGeom>
                  <a:avLst/>
                  <a:gdLst>
                    <a:gd name="T0" fmla="*/ 2147483647 w 7"/>
                    <a:gd name="T1" fmla="*/ 2147483647 h 9"/>
                    <a:gd name="T2" fmla="*/ 0 w 7"/>
                    <a:gd name="T3" fmla="*/ 2147483647 h 9"/>
                    <a:gd name="T4" fmla="*/ 0 w 7"/>
                    <a:gd name="T5" fmla="*/ 2147483647 h 9"/>
                    <a:gd name="T6" fmla="*/ 2147483647 w 7"/>
                    <a:gd name="T7" fmla="*/ 0 h 9"/>
                    <a:gd name="T8" fmla="*/ 2147483647 w 7"/>
                    <a:gd name="T9" fmla="*/ 2147483647 h 9"/>
                    <a:gd name="T10" fmla="*/ 2147483647 w 7"/>
                    <a:gd name="T11" fmla="*/ 2147483647 h 9"/>
                    <a:gd name="T12" fmla="*/ 2147483647 w 7"/>
                    <a:gd name="T13" fmla="*/ 2147483647 h 9"/>
                    <a:gd name="T14" fmla="*/ 2147483647 w 7"/>
                    <a:gd name="T15" fmla="*/ 2147483647 h 9"/>
                    <a:gd name="T16" fmla="*/ 2147483647 w 7"/>
                    <a:gd name="T17" fmla="*/ 2147483647 h 9"/>
                    <a:gd name="T18" fmla="*/ 2147483647 w 7"/>
                    <a:gd name="T19" fmla="*/ 2147483647 h 9"/>
                    <a:gd name="T20" fmla="*/ 2147483647 w 7"/>
                    <a:gd name="T21" fmla="*/ 2147483647 h 9"/>
                    <a:gd name="T22" fmla="*/ 2147483647 w 7"/>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9"/>
                    <a:gd name="T38" fmla="*/ 7 w 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9">
                      <a:moveTo>
                        <a:pt x="2" y="5"/>
                      </a:moveTo>
                      <a:lnTo>
                        <a:pt x="0" y="3"/>
                      </a:lnTo>
                      <a:lnTo>
                        <a:pt x="0" y="1"/>
                      </a:lnTo>
                      <a:lnTo>
                        <a:pt x="2" y="0"/>
                      </a:lnTo>
                      <a:lnTo>
                        <a:pt x="3" y="1"/>
                      </a:lnTo>
                      <a:lnTo>
                        <a:pt x="5" y="2"/>
                      </a:lnTo>
                      <a:lnTo>
                        <a:pt x="7" y="5"/>
                      </a:lnTo>
                      <a:lnTo>
                        <a:pt x="7" y="7"/>
                      </a:lnTo>
                      <a:lnTo>
                        <a:pt x="5" y="9"/>
                      </a:lnTo>
                      <a:lnTo>
                        <a:pt x="3" y="9"/>
                      </a:lnTo>
                      <a:lnTo>
                        <a:pt x="2" y="8"/>
                      </a:lnTo>
                      <a:lnTo>
                        <a:pt x="2"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5" name="Freeform 534"/>
                <p:cNvSpPr>
                  <a:spLocks/>
                </p:cNvSpPr>
                <p:nvPr/>
              </p:nvSpPr>
              <p:spPr bwMode="auto">
                <a:xfrm>
                  <a:off x="2867514" y="3967222"/>
                  <a:ext cx="8879" cy="10359"/>
                </a:xfrm>
                <a:custGeom>
                  <a:avLst/>
                  <a:gdLst>
                    <a:gd name="T0" fmla="*/ 2147483647 w 6"/>
                    <a:gd name="T1" fmla="*/ 2147483647 h 7"/>
                    <a:gd name="T2" fmla="*/ 0 w 6"/>
                    <a:gd name="T3" fmla="*/ 2147483647 h 7"/>
                    <a:gd name="T4" fmla="*/ 0 w 6"/>
                    <a:gd name="T5" fmla="*/ 2147483647 h 7"/>
                    <a:gd name="T6" fmla="*/ 2147483647 w 6"/>
                    <a:gd name="T7" fmla="*/ 0 h 7"/>
                    <a:gd name="T8" fmla="*/ 2147483647 w 6"/>
                    <a:gd name="T9" fmla="*/ 0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1" y="4"/>
                      </a:moveTo>
                      <a:lnTo>
                        <a:pt x="0" y="3"/>
                      </a:lnTo>
                      <a:lnTo>
                        <a:pt x="0" y="2"/>
                      </a:lnTo>
                      <a:lnTo>
                        <a:pt x="1" y="0"/>
                      </a:lnTo>
                      <a:lnTo>
                        <a:pt x="3" y="0"/>
                      </a:lnTo>
                      <a:lnTo>
                        <a:pt x="5" y="1"/>
                      </a:lnTo>
                      <a:lnTo>
                        <a:pt x="6" y="2"/>
                      </a:lnTo>
                      <a:lnTo>
                        <a:pt x="5" y="4"/>
                      </a:lnTo>
                      <a:lnTo>
                        <a:pt x="5" y="7"/>
                      </a:lnTo>
                      <a:lnTo>
                        <a:pt x="3" y="7"/>
                      </a:lnTo>
                      <a:lnTo>
                        <a:pt x="1"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6" name="Freeform 535"/>
                <p:cNvSpPr>
                  <a:spLocks/>
                </p:cNvSpPr>
                <p:nvPr/>
              </p:nvSpPr>
              <p:spPr bwMode="auto">
                <a:xfrm>
                  <a:off x="2842353" y="3937621"/>
                  <a:ext cx="7400" cy="13319"/>
                </a:xfrm>
                <a:custGeom>
                  <a:avLst/>
                  <a:gdLst>
                    <a:gd name="T0" fmla="*/ 2147483647 w 6"/>
                    <a:gd name="T1" fmla="*/ 2147483647 h 9"/>
                    <a:gd name="T2" fmla="*/ 2147483647 w 6"/>
                    <a:gd name="T3" fmla="*/ 2147483647 h 9"/>
                    <a:gd name="T4" fmla="*/ 0 w 6"/>
                    <a:gd name="T5" fmla="*/ 2147483647 h 9"/>
                    <a:gd name="T6" fmla="*/ 0 w 6"/>
                    <a:gd name="T7" fmla="*/ 2147483647 h 9"/>
                    <a:gd name="T8" fmla="*/ 0 w 6"/>
                    <a:gd name="T9" fmla="*/ 2147483647 h 9"/>
                    <a:gd name="T10" fmla="*/ 0 w 6"/>
                    <a:gd name="T11" fmla="*/ 2147483647 h 9"/>
                    <a:gd name="T12" fmla="*/ 2147483647 w 6"/>
                    <a:gd name="T13" fmla="*/ 0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2147483647 w 6"/>
                    <a:gd name="T25" fmla="*/ 2147483647 h 9"/>
                    <a:gd name="T26" fmla="*/ 2147483647 w 6"/>
                    <a:gd name="T27" fmla="*/ 2147483647 h 9"/>
                    <a:gd name="T28" fmla="*/ 2147483647 w 6"/>
                    <a:gd name="T29" fmla="*/ 2147483647 h 9"/>
                    <a:gd name="T30" fmla="*/ 2147483647 w 6"/>
                    <a:gd name="T31" fmla="*/ 2147483647 h 9"/>
                    <a:gd name="T32" fmla="*/ 2147483647 w 6"/>
                    <a:gd name="T33" fmla="*/ 2147483647 h 9"/>
                    <a:gd name="T34" fmla="*/ 2147483647 w 6"/>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9"/>
                    <a:gd name="T56" fmla="*/ 6 w 6"/>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9">
                      <a:moveTo>
                        <a:pt x="1" y="4"/>
                      </a:moveTo>
                      <a:lnTo>
                        <a:pt x="1" y="4"/>
                      </a:lnTo>
                      <a:lnTo>
                        <a:pt x="0" y="3"/>
                      </a:lnTo>
                      <a:lnTo>
                        <a:pt x="0" y="1"/>
                      </a:lnTo>
                      <a:lnTo>
                        <a:pt x="1" y="0"/>
                      </a:lnTo>
                      <a:lnTo>
                        <a:pt x="3" y="1"/>
                      </a:lnTo>
                      <a:lnTo>
                        <a:pt x="5" y="2"/>
                      </a:lnTo>
                      <a:lnTo>
                        <a:pt x="6" y="4"/>
                      </a:lnTo>
                      <a:lnTo>
                        <a:pt x="6" y="7"/>
                      </a:lnTo>
                      <a:lnTo>
                        <a:pt x="5" y="9"/>
                      </a:lnTo>
                      <a:lnTo>
                        <a:pt x="3" y="9"/>
                      </a:lnTo>
                      <a:lnTo>
                        <a:pt x="1" y="8"/>
                      </a:lnTo>
                      <a:lnTo>
                        <a:pt x="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7" name="Freeform 536"/>
                <p:cNvSpPr>
                  <a:spLocks/>
                </p:cNvSpPr>
                <p:nvPr/>
              </p:nvSpPr>
              <p:spPr bwMode="auto">
                <a:xfrm>
                  <a:off x="2866033" y="3965741"/>
                  <a:ext cx="8879" cy="10360"/>
                </a:xfrm>
                <a:custGeom>
                  <a:avLst/>
                  <a:gdLst>
                    <a:gd name="T0" fmla="*/ 2147483647 w 6"/>
                    <a:gd name="T1" fmla="*/ 2147483647 h 7"/>
                    <a:gd name="T2" fmla="*/ 2147483647 w 6"/>
                    <a:gd name="T3" fmla="*/ 2147483647 h 7"/>
                    <a:gd name="T4" fmla="*/ 0 w 6"/>
                    <a:gd name="T5" fmla="*/ 2147483647 h 7"/>
                    <a:gd name="T6" fmla="*/ 0 w 6"/>
                    <a:gd name="T7" fmla="*/ 2147483647 h 7"/>
                    <a:gd name="T8" fmla="*/ 2147483647 w 6"/>
                    <a:gd name="T9" fmla="*/ 0 h 7"/>
                    <a:gd name="T10" fmla="*/ 2147483647 w 6"/>
                    <a:gd name="T11" fmla="*/ 0 h 7"/>
                    <a:gd name="T12" fmla="*/ 2147483647 w 6"/>
                    <a:gd name="T13" fmla="*/ 0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1" y="4"/>
                      </a:moveTo>
                      <a:lnTo>
                        <a:pt x="1" y="4"/>
                      </a:lnTo>
                      <a:lnTo>
                        <a:pt x="0" y="3"/>
                      </a:lnTo>
                      <a:lnTo>
                        <a:pt x="0" y="2"/>
                      </a:lnTo>
                      <a:lnTo>
                        <a:pt x="1" y="0"/>
                      </a:lnTo>
                      <a:lnTo>
                        <a:pt x="2" y="0"/>
                      </a:lnTo>
                      <a:lnTo>
                        <a:pt x="5" y="1"/>
                      </a:lnTo>
                      <a:lnTo>
                        <a:pt x="6" y="2"/>
                      </a:lnTo>
                      <a:lnTo>
                        <a:pt x="5" y="4"/>
                      </a:lnTo>
                      <a:lnTo>
                        <a:pt x="5" y="7"/>
                      </a:lnTo>
                      <a:lnTo>
                        <a:pt x="2" y="7"/>
                      </a:lnTo>
                      <a:lnTo>
                        <a:pt x="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8" name="Freeform 537"/>
                <p:cNvSpPr>
                  <a:spLocks/>
                </p:cNvSpPr>
                <p:nvPr/>
              </p:nvSpPr>
              <p:spPr bwMode="auto">
                <a:xfrm>
                  <a:off x="2823119" y="3934665"/>
                  <a:ext cx="7399" cy="7399"/>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2147483647 w 6"/>
                    <a:gd name="T9" fmla="*/ 0 h 5"/>
                    <a:gd name="T10" fmla="*/ 2147483647 w 6"/>
                    <a:gd name="T11" fmla="*/ 0 h 5"/>
                    <a:gd name="T12" fmla="*/ 2147483647 w 6"/>
                    <a:gd name="T13" fmla="*/ 2147483647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6" y="4"/>
                      </a:moveTo>
                      <a:lnTo>
                        <a:pt x="5" y="5"/>
                      </a:lnTo>
                      <a:lnTo>
                        <a:pt x="3" y="4"/>
                      </a:lnTo>
                      <a:lnTo>
                        <a:pt x="0" y="2"/>
                      </a:lnTo>
                      <a:lnTo>
                        <a:pt x="3" y="0"/>
                      </a:lnTo>
                      <a:lnTo>
                        <a:pt x="4" y="0"/>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39" name="Freeform 538"/>
                <p:cNvSpPr>
                  <a:spLocks/>
                </p:cNvSpPr>
                <p:nvPr/>
              </p:nvSpPr>
              <p:spPr bwMode="auto">
                <a:xfrm>
                  <a:off x="2808320" y="3915426"/>
                  <a:ext cx="7399" cy="8879"/>
                </a:xfrm>
                <a:custGeom>
                  <a:avLst/>
                  <a:gdLst>
                    <a:gd name="T0" fmla="*/ 2147483647 w 6"/>
                    <a:gd name="T1" fmla="*/ 2147483647 h 6"/>
                    <a:gd name="T2" fmla="*/ 0 w 6"/>
                    <a:gd name="T3" fmla="*/ 2147483647 h 6"/>
                    <a:gd name="T4" fmla="*/ 0 w 6"/>
                    <a:gd name="T5" fmla="*/ 2147483647 h 6"/>
                    <a:gd name="T6" fmla="*/ 2147483647 w 6"/>
                    <a:gd name="T7" fmla="*/ 0 h 6"/>
                    <a:gd name="T8" fmla="*/ 2147483647 w 6"/>
                    <a:gd name="T9" fmla="*/ 0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2" y="4"/>
                      </a:moveTo>
                      <a:lnTo>
                        <a:pt x="0" y="3"/>
                      </a:lnTo>
                      <a:lnTo>
                        <a:pt x="0" y="2"/>
                      </a:lnTo>
                      <a:lnTo>
                        <a:pt x="1" y="0"/>
                      </a:lnTo>
                      <a:lnTo>
                        <a:pt x="2" y="0"/>
                      </a:lnTo>
                      <a:lnTo>
                        <a:pt x="5" y="2"/>
                      </a:lnTo>
                      <a:lnTo>
                        <a:pt x="6" y="4"/>
                      </a:lnTo>
                      <a:lnTo>
                        <a:pt x="6" y="6"/>
                      </a:lnTo>
                      <a:lnTo>
                        <a:pt x="5" y="6"/>
                      </a:lnTo>
                      <a:lnTo>
                        <a:pt x="2"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0" name="Freeform 539"/>
                <p:cNvSpPr>
                  <a:spLocks/>
                </p:cNvSpPr>
                <p:nvPr/>
              </p:nvSpPr>
              <p:spPr bwMode="auto">
                <a:xfrm>
                  <a:off x="2821637" y="3933180"/>
                  <a:ext cx="8879" cy="7400"/>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0 w 6"/>
                    <a:gd name="T13" fmla="*/ 2147483647 h 5"/>
                    <a:gd name="T14" fmla="*/ 0 w 6"/>
                    <a:gd name="T15" fmla="*/ 2147483647 h 5"/>
                    <a:gd name="T16" fmla="*/ 2147483647 w 6"/>
                    <a:gd name="T17" fmla="*/ 0 h 5"/>
                    <a:gd name="T18" fmla="*/ 2147483647 w 6"/>
                    <a:gd name="T19" fmla="*/ 0 h 5"/>
                    <a:gd name="T20" fmla="*/ 2147483647 w 6"/>
                    <a:gd name="T21" fmla="*/ 2147483647 h 5"/>
                    <a:gd name="T22" fmla="*/ 2147483647 w 6"/>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
                    <a:gd name="T38" fmla="*/ 6 w 6"/>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
                      <a:moveTo>
                        <a:pt x="6" y="4"/>
                      </a:moveTo>
                      <a:lnTo>
                        <a:pt x="6" y="4"/>
                      </a:lnTo>
                      <a:lnTo>
                        <a:pt x="5" y="5"/>
                      </a:lnTo>
                      <a:lnTo>
                        <a:pt x="2" y="4"/>
                      </a:lnTo>
                      <a:lnTo>
                        <a:pt x="0" y="1"/>
                      </a:lnTo>
                      <a:lnTo>
                        <a:pt x="2" y="0"/>
                      </a:lnTo>
                      <a:lnTo>
                        <a:pt x="4" y="0"/>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1" name="Freeform 540"/>
                <p:cNvSpPr>
                  <a:spLocks/>
                </p:cNvSpPr>
                <p:nvPr/>
              </p:nvSpPr>
              <p:spPr bwMode="auto">
                <a:xfrm>
                  <a:off x="2805360" y="3913946"/>
                  <a:ext cx="8879" cy="8879"/>
                </a:xfrm>
                <a:custGeom>
                  <a:avLst/>
                  <a:gdLst>
                    <a:gd name="T0" fmla="*/ 2147483647 w 7"/>
                    <a:gd name="T1" fmla="*/ 2147483647 h 6"/>
                    <a:gd name="T2" fmla="*/ 2147483647 w 7"/>
                    <a:gd name="T3" fmla="*/ 2147483647 h 6"/>
                    <a:gd name="T4" fmla="*/ 0 w 7"/>
                    <a:gd name="T5" fmla="*/ 2147483647 h 6"/>
                    <a:gd name="T6" fmla="*/ 0 w 7"/>
                    <a:gd name="T7" fmla="*/ 2147483647 h 6"/>
                    <a:gd name="T8" fmla="*/ 2147483647 w 7"/>
                    <a:gd name="T9" fmla="*/ 0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6"/>
                    <a:gd name="T44" fmla="*/ 7 w 7"/>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6">
                      <a:moveTo>
                        <a:pt x="3" y="4"/>
                      </a:moveTo>
                      <a:lnTo>
                        <a:pt x="3" y="4"/>
                      </a:lnTo>
                      <a:lnTo>
                        <a:pt x="0" y="3"/>
                      </a:lnTo>
                      <a:lnTo>
                        <a:pt x="0" y="1"/>
                      </a:lnTo>
                      <a:lnTo>
                        <a:pt x="2" y="0"/>
                      </a:lnTo>
                      <a:lnTo>
                        <a:pt x="3" y="0"/>
                      </a:lnTo>
                      <a:lnTo>
                        <a:pt x="5" y="1"/>
                      </a:lnTo>
                      <a:lnTo>
                        <a:pt x="7" y="4"/>
                      </a:lnTo>
                      <a:lnTo>
                        <a:pt x="7" y="6"/>
                      </a:lnTo>
                      <a:lnTo>
                        <a:pt x="5" y="6"/>
                      </a:lnTo>
                      <a:lnTo>
                        <a:pt x="3"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2" name="Freeform 541"/>
                <p:cNvSpPr>
                  <a:spLocks/>
                </p:cNvSpPr>
                <p:nvPr/>
              </p:nvSpPr>
              <p:spPr bwMode="auto">
                <a:xfrm>
                  <a:off x="2808318" y="3873989"/>
                  <a:ext cx="14799" cy="22199"/>
                </a:xfrm>
                <a:custGeom>
                  <a:avLst/>
                  <a:gdLst>
                    <a:gd name="T0" fmla="*/ 2147483647 w 11"/>
                    <a:gd name="T1" fmla="*/ 2147483647 h 15"/>
                    <a:gd name="T2" fmla="*/ 2147483647 w 11"/>
                    <a:gd name="T3" fmla="*/ 2147483647 h 15"/>
                    <a:gd name="T4" fmla="*/ 0 w 11"/>
                    <a:gd name="T5" fmla="*/ 2147483647 h 15"/>
                    <a:gd name="T6" fmla="*/ 2147483647 w 11"/>
                    <a:gd name="T7" fmla="*/ 2147483647 h 15"/>
                    <a:gd name="T8" fmla="*/ 2147483647 w 11"/>
                    <a:gd name="T9" fmla="*/ 2147483647 h 15"/>
                    <a:gd name="T10" fmla="*/ 2147483647 w 11"/>
                    <a:gd name="T11" fmla="*/ 0 h 15"/>
                    <a:gd name="T12" fmla="*/ 2147483647 w 11"/>
                    <a:gd name="T13" fmla="*/ 2147483647 h 15"/>
                    <a:gd name="T14" fmla="*/ 2147483647 w 11"/>
                    <a:gd name="T15" fmla="*/ 2147483647 h 15"/>
                    <a:gd name="T16" fmla="*/ 2147483647 w 11"/>
                    <a:gd name="T17" fmla="*/ 2147483647 h 15"/>
                    <a:gd name="T18" fmla="*/ 2147483647 w 11"/>
                    <a:gd name="T19" fmla="*/ 2147483647 h 15"/>
                    <a:gd name="T20" fmla="*/ 2147483647 w 11"/>
                    <a:gd name="T21" fmla="*/ 2147483647 h 15"/>
                    <a:gd name="T22" fmla="*/ 2147483647 w 11"/>
                    <a:gd name="T23" fmla="*/ 2147483647 h 15"/>
                    <a:gd name="T24" fmla="*/ 2147483647 w 11"/>
                    <a:gd name="T25" fmla="*/ 2147483647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5"/>
                    <a:gd name="T41" fmla="*/ 11 w 11"/>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5">
                      <a:moveTo>
                        <a:pt x="5" y="7"/>
                      </a:moveTo>
                      <a:lnTo>
                        <a:pt x="1" y="5"/>
                      </a:lnTo>
                      <a:lnTo>
                        <a:pt x="0" y="5"/>
                      </a:lnTo>
                      <a:lnTo>
                        <a:pt x="1" y="2"/>
                      </a:lnTo>
                      <a:lnTo>
                        <a:pt x="2" y="1"/>
                      </a:lnTo>
                      <a:lnTo>
                        <a:pt x="3" y="0"/>
                      </a:lnTo>
                      <a:lnTo>
                        <a:pt x="5" y="1"/>
                      </a:lnTo>
                      <a:lnTo>
                        <a:pt x="10" y="7"/>
                      </a:lnTo>
                      <a:lnTo>
                        <a:pt x="11" y="12"/>
                      </a:lnTo>
                      <a:lnTo>
                        <a:pt x="11" y="13"/>
                      </a:lnTo>
                      <a:lnTo>
                        <a:pt x="10" y="15"/>
                      </a:lnTo>
                      <a:lnTo>
                        <a:pt x="7" y="11"/>
                      </a:lnTo>
                      <a:lnTo>
                        <a:pt x="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3" name="Freeform 542"/>
                <p:cNvSpPr>
                  <a:spLocks/>
                </p:cNvSpPr>
                <p:nvPr/>
              </p:nvSpPr>
              <p:spPr bwMode="auto">
                <a:xfrm>
                  <a:off x="2830515" y="3903587"/>
                  <a:ext cx="13319" cy="17758"/>
                </a:xfrm>
                <a:custGeom>
                  <a:avLst/>
                  <a:gdLst>
                    <a:gd name="T0" fmla="*/ 2147483647 w 9"/>
                    <a:gd name="T1" fmla="*/ 2147483647 h 12"/>
                    <a:gd name="T2" fmla="*/ 0 w 9"/>
                    <a:gd name="T3" fmla="*/ 0 h 12"/>
                    <a:gd name="T4" fmla="*/ 2147483647 w 9"/>
                    <a:gd name="T5" fmla="*/ 0 h 12"/>
                    <a:gd name="T6" fmla="*/ 2147483647 w 9"/>
                    <a:gd name="T7" fmla="*/ 2147483647 h 12"/>
                    <a:gd name="T8" fmla="*/ 2147483647 w 9"/>
                    <a:gd name="T9" fmla="*/ 2147483647 h 12"/>
                    <a:gd name="T10" fmla="*/ 2147483647 w 9"/>
                    <a:gd name="T11" fmla="*/ 2147483647 h 12"/>
                    <a:gd name="T12" fmla="*/ 2147483647 w 9"/>
                    <a:gd name="T13" fmla="*/ 2147483647 h 12"/>
                    <a:gd name="T14" fmla="*/ 2147483647 w 9"/>
                    <a:gd name="T15" fmla="*/ 2147483647 h 12"/>
                    <a:gd name="T16" fmla="*/ 2147483647 w 9"/>
                    <a:gd name="T17" fmla="*/ 2147483647 h 12"/>
                    <a:gd name="T18" fmla="*/ 2147483647 w 9"/>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2"/>
                    <a:gd name="T32" fmla="*/ 9 w 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2">
                      <a:moveTo>
                        <a:pt x="3" y="5"/>
                      </a:moveTo>
                      <a:lnTo>
                        <a:pt x="0" y="0"/>
                      </a:lnTo>
                      <a:lnTo>
                        <a:pt x="3" y="0"/>
                      </a:lnTo>
                      <a:lnTo>
                        <a:pt x="5" y="1"/>
                      </a:lnTo>
                      <a:lnTo>
                        <a:pt x="8" y="5"/>
                      </a:lnTo>
                      <a:lnTo>
                        <a:pt x="9" y="8"/>
                      </a:lnTo>
                      <a:lnTo>
                        <a:pt x="8" y="11"/>
                      </a:lnTo>
                      <a:lnTo>
                        <a:pt x="5" y="12"/>
                      </a:lnTo>
                      <a:lnTo>
                        <a:pt x="4" y="11"/>
                      </a:lnTo>
                      <a:lnTo>
                        <a:pt x="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4" name="Freeform 543"/>
                <p:cNvSpPr>
                  <a:spLocks/>
                </p:cNvSpPr>
                <p:nvPr/>
              </p:nvSpPr>
              <p:spPr bwMode="auto">
                <a:xfrm>
                  <a:off x="2805358" y="3872506"/>
                  <a:ext cx="16278" cy="22198"/>
                </a:xfrm>
                <a:custGeom>
                  <a:avLst/>
                  <a:gdLst>
                    <a:gd name="T0" fmla="*/ 2147483647 w 12"/>
                    <a:gd name="T1" fmla="*/ 2147483647 h 15"/>
                    <a:gd name="T2" fmla="*/ 2147483647 w 12"/>
                    <a:gd name="T3" fmla="*/ 2147483647 h 15"/>
                    <a:gd name="T4" fmla="*/ 2147483647 w 12"/>
                    <a:gd name="T5" fmla="*/ 2147483647 h 15"/>
                    <a:gd name="T6" fmla="*/ 0 w 12"/>
                    <a:gd name="T7" fmla="*/ 2147483647 h 15"/>
                    <a:gd name="T8" fmla="*/ 2147483647 w 12"/>
                    <a:gd name="T9" fmla="*/ 2147483647 h 15"/>
                    <a:gd name="T10" fmla="*/ 2147483647 w 12"/>
                    <a:gd name="T11" fmla="*/ 2147483647 h 15"/>
                    <a:gd name="T12" fmla="*/ 2147483647 w 12"/>
                    <a:gd name="T13" fmla="*/ 2147483647 h 15"/>
                    <a:gd name="T14" fmla="*/ 2147483647 w 12"/>
                    <a:gd name="T15" fmla="*/ 0 h 15"/>
                    <a:gd name="T16" fmla="*/ 2147483647 w 12"/>
                    <a:gd name="T17" fmla="*/ 2147483647 h 15"/>
                    <a:gd name="T18" fmla="*/ 2147483647 w 12"/>
                    <a:gd name="T19" fmla="*/ 2147483647 h 15"/>
                    <a:gd name="T20" fmla="*/ 2147483647 w 12"/>
                    <a:gd name="T21" fmla="*/ 2147483647 h 15"/>
                    <a:gd name="T22" fmla="*/ 2147483647 w 12"/>
                    <a:gd name="T23" fmla="*/ 2147483647 h 15"/>
                    <a:gd name="T24" fmla="*/ 2147483647 w 12"/>
                    <a:gd name="T25" fmla="*/ 2147483647 h 15"/>
                    <a:gd name="T26" fmla="*/ 2147483647 w 12"/>
                    <a:gd name="T27" fmla="*/ 2147483647 h 15"/>
                    <a:gd name="T28" fmla="*/ 2147483647 w 12"/>
                    <a:gd name="T29" fmla="*/ 2147483647 h 15"/>
                    <a:gd name="T30" fmla="*/ 2147483647 w 12"/>
                    <a:gd name="T31" fmla="*/ 2147483647 h 15"/>
                    <a:gd name="T32" fmla="*/ 2147483647 w 12"/>
                    <a:gd name="T33" fmla="*/ 2147483647 h 15"/>
                    <a:gd name="T34" fmla="*/ 2147483647 w 12"/>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5"/>
                    <a:gd name="T56" fmla="*/ 12 w 12"/>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5">
                      <a:moveTo>
                        <a:pt x="5" y="7"/>
                      </a:moveTo>
                      <a:lnTo>
                        <a:pt x="5" y="7"/>
                      </a:lnTo>
                      <a:lnTo>
                        <a:pt x="2" y="4"/>
                      </a:lnTo>
                      <a:lnTo>
                        <a:pt x="0" y="4"/>
                      </a:lnTo>
                      <a:lnTo>
                        <a:pt x="2" y="2"/>
                      </a:lnTo>
                      <a:lnTo>
                        <a:pt x="3" y="1"/>
                      </a:lnTo>
                      <a:lnTo>
                        <a:pt x="4" y="0"/>
                      </a:lnTo>
                      <a:lnTo>
                        <a:pt x="5" y="1"/>
                      </a:lnTo>
                      <a:lnTo>
                        <a:pt x="11" y="7"/>
                      </a:lnTo>
                      <a:lnTo>
                        <a:pt x="12" y="12"/>
                      </a:lnTo>
                      <a:lnTo>
                        <a:pt x="12" y="13"/>
                      </a:lnTo>
                      <a:lnTo>
                        <a:pt x="11" y="15"/>
                      </a:lnTo>
                      <a:lnTo>
                        <a:pt x="8" y="10"/>
                      </a:lnTo>
                      <a:lnTo>
                        <a:pt x="5"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5" name="Freeform 544"/>
                <p:cNvSpPr>
                  <a:spLocks/>
                </p:cNvSpPr>
                <p:nvPr/>
              </p:nvSpPr>
              <p:spPr bwMode="auto">
                <a:xfrm>
                  <a:off x="2830514" y="3902106"/>
                  <a:ext cx="11839" cy="17758"/>
                </a:xfrm>
                <a:custGeom>
                  <a:avLst/>
                  <a:gdLst>
                    <a:gd name="T0" fmla="*/ 2147483647 w 9"/>
                    <a:gd name="T1" fmla="*/ 2147483647 h 12"/>
                    <a:gd name="T2" fmla="*/ 2147483647 w 9"/>
                    <a:gd name="T3" fmla="*/ 2147483647 h 12"/>
                    <a:gd name="T4" fmla="*/ 0 w 9"/>
                    <a:gd name="T5" fmla="*/ 0 h 12"/>
                    <a:gd name="T6" fmla="*/ 0 w 9"/>
                    <a:gd name="T7" fmla="*/ 0 h 12"/>
                    <a:gd name="T8" fmla="*/ 2147483647 w 9"/>
                    <a:gd name="T9" fmla="*/ 0 h 12"/>
                    <a:gd name="T10" fmla="*/ 2147483647 w 9"/>
                    <a:gd name="T11" fmla="*/ 2147483647 h 12"/>
                    <a:gd name="T12" fmla="*/ 2147483647 w 9"/>
                    <a:gd name="T13" fmla="*/ 2147483647 h 12"/>
                    <a:gd name="T14" fmla="*/ 2147483647 w 9"/>
                    <a:gd name="T15" fmla="*/ 2147483647 h 12"/>
                    <a:gd name="T16" fmla="*/ 2147483647 w 9"/>
                    <a:gd name="T17" fmla="*/ 2147483647 h 12"/>
                    <a:gd name="T18" fmla="*/ 2147483647 w 9"/>
                    <a:gd name="T19" fmla="*/ 2147483647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2"/>
                    <a:gd name="T44" fmla="*/ 9 w 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2">
                      <a:moveTo>
                        <a:pt x="3" y="5"/>
                      </a:moveTo>
                      <a:lnTo>
                        <a:pt x="3" y="5"/>
                      </a:lnTo>
                      <a:lnTo>
                        <a:pt x="0" y="0"/>
                      </a:lnTo>
                      <a:lnTo>
                        <a:pt x="3" y="0"/>
                      </a:lnTo>
                      <a:lnTo>
                        <a:pt x="5" y="1"/>
                      </a:lnTo>
                      <a:lnTo>
                        <a:pt x="8" y="5"/>
                      </a:lnTo>
                      <a:lnTo>
                        <a:pt x="9" y="8"/>
                      </a:lnTo>
                      <a:lnTo>
                        <a:pt x="8" y="11"/>
                      </a:lnTo>
                      <a:lnTo>
                        <a:pt x="5" y="12"/>
                      </a:lnTo>
                      <a:lnTo>
                        <a:pt x="4" y="11"/>
                      </a:lnTo>
                      <a:lnTo>
                        <a:pt x="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6" name="Freeform 545"/>
                <p:cNvSpPr>
                  <a:spLocks/>
                </p:cNvSpPr>
                <p:nvPr/>
              </p:nvSpPr>
              <p:spPr bwMode="auto">
                <a:xfrm>
                  <a:off x="2753565" y="3836990"/>
                  <a:ext cx="28118" cy="16278"/>
                </a:xfrm>
                <a:custGeom>
                  <a:avLst/>
                  <a:gdLst>
                    <a:gd name="T0" fmla="*/ 2147483647 w 21"/>
                    <a:gd name="T1" fmla="*/ 2147483647 h 11"/>
                    <a:gd name="T2" fmla="*/ 2147483647 w 21"/>
                    <a:gd name="T3" fmla="*/ 2147483647 h 11"/>
                    <a:gd name="T4" fmla="*/ 2147483647 w 21"/>
                    <a:gd name="T5" fmla="*/ 2147483647 h 11"/>
                    <a:gd name="T6" fmla="*/ 2147483647 w 21"/>
                    <a:gd name="T7" fmla="*/ 2147483647 h 11"/>
                    <a:gd name="T8" fmla="*/ 2147483647 w 21"/>
                    <a:gd name="T9" fmla="*/ 2147483647 h 11"/>
                    <a:gd name="T10" fmla="*/ 0 w 21"/>
                    <a:gd name="T11" fmla="*/ 2147483647 h 11"/>
                    <a:gd name="T12" fmla="*/ 0 w 21"/>
                    <a:gd name="T13" fmla="*/ 2147483647 h 11"/>
                    <a:gd name="T14" fmla="*/ 2147483647 w 21"/>
                    <a:gd name="T15" fmla="*/ 2147483647 h 11"/>
                    <a:gd name="T16" fmla="*/ 2147483647 w 21"/>
                    <a:gd name="T17" fmla="*/ 2147483647 h 11"/>
                    <a:gd name="T18" fmla="*/ 2147483647 w 21"/>
                    <a:gd name="T19" fmla="*/ 0 h 11"/>
                    <a:gd name="T20" fmla="*/ 2147483647 w 21"/>
                    <a:gd name="T21" fmla="*/ 2147483647 h 11"/>
                    <a:gd name="T22" fmla="*/ 2147483647 w 21"/>
                    <a:gd name="T23" fmla="*/ 2147483647 h 11"/>
                    <a:gd name="T24" fmla="*/ 2147483647 w 21"/>
                    <a:gd name="T25" fmla="*/ 2147483647 h 11"/>
                    <a:gd name="T26" fmla="*/ 2147483647 w 21"/>
                    <a:gd name="T27" fmla="*/ 2147483647 h 11"/>
                    <a:gd name="T28" fmla="*/ 2147483647 w 21"/>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
                    <a:gd name="T46" fmla="*/ 0 h 11"/>
                    <a:gd name="T47" fmla="*/ 21 w 21"/>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 h="11">
                      <a:moveTo>
                        <a:pt x="16" y="8"/>
                      </a:moveTo>
                      <a:lnTo>
                        <a:pt x="13" y="11"/>
                      </a:lnTo>
                      <a:lnTo>
                        <a:pt x="10" y="11"/>
                      </a:lnTo>
                      <a:lnTo>
                        <a:pt x="4" y="9"/>
                      </a:lnTo>
                      <a:lnTo>
                        <a:pt x="2" y="8"/>
                      </a:lnTo>
                      <a:lnTo>
                        <a:pt x="0" y="7"/>
                      </a:lnTo>
                      <a:lnTo>
                        <a:pt x="0" y="5"/>
                      </a:lnTo>
                      <a:lnTo>
                        <a:pt x="2" y="4"/>
                      </a:lnTo>
                      <a:lnTo>
                        <a:pt x="7" y="1"/>
                      </a:lnTo>
                      <a:lnTo>
                        <a:pt x="12" y="0"/>
                      </a:lnTo>
                      <a:lnTo>
                        <a:pt x="17" y="1"/>
                      </a:lnTo>
                      <a:lnTo>
                        <a:pt x="21" y="5"/>
                      </a:lnTo>
                      <a:lnTo>
                        <a:pt x="21" y="6"/>
                      </a:lnTo>
                      <a:lnTo>
                        <a:pt x="19" y="7"/>
                      </a:lnTo>
                      <a:lnTo>
                        <a:pt x="16"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7" name="Freeform 546"/>
                <p:cNvSpPr>
                  <a:spLocks/>
                </p:cNvSpPr>
                <p:nvPr/>
              </p:nvSpPr>
              <p:spPr bwMode="auto">
                <a:xfrm>
                  <a:off x="2789080" y="3834030"/>
                  <a:ext cx="22199" cy="39956"/>
                </a:xfrm>
                <a:custGeom>
                  <a:avLst/>
                  <a:gdLst>
                    <a:gd name="T0" fmla="*/ 2147483647 w 16"/>
                    <a:gd name="T1" fmla="*/ 2147483647 h 27"/>
                    <a:gd name="T2" fmla="*/ 2147483647 w 16"/>
                    <a:gd name="T3" fmla="*/ 2147483647 h 27"/>
                    <a:gd name="T4" fmla="*/ 2147483647 w 16"/>
                    <a:gd name="T5" fmla="*/ 2147483647 h 27"/>
                    <a:gd name="T6" fmla="*/ 0 w 16"/>
                    <a:gd name="T7" fmla="*/ 2147483647 h 27"/>
                    <a:gd name="T8" fmla="*/ 0 w 16"/>
                    <a:gd name="T9" fmla="*/ 0 h 27"/>
                    <a:gd name="T10" fmla="*/ 2147483647 w 16"/>
                    <a:gd name="T11" fmla="*/ 2147483647 h 27"/>
                    <a:gd name="T12" fmla="*/ 2147483647 w 16"/>
                    <a:gd name="T13" fmla="*/ 2147483647 h 27"/>
                    <a:gd name="T14" fmla="*/ 2147483647 w 16"/>
                    <a:gd name="T15" fmla="*/ 2147483647 h 27"/>
                    <a:gd name="T16" fmla="*/ 2147483647 w 16"/>
                    <a:gd name="T17" fmla="*/ 2147483647 h 27"/>
                    <a:gd name="T18" fmla="*/ 2147483647 w 16"/>
                    <a:gd name="T19" fmla="*/ 2147483647 h 27"/>
                    <a:gd name="T20" fmla="*/ 2147483647 w 16"/>
                    <a:gd name="T21" fmla="*/ 2147483647 h 27"/>
                    <a:gd name="T22" fmla="*/ 2147483647 w 16"/>
                    <a:gd name="T23" fmla="*/ 2147483647 h 27"/>
                    <a:gd name="T24" fmla="*/ 2147483647 w 16"/>
                    <a:gd name="T25" fmla="*/ 2147483647 h 27"/>
                    <a:gd name="T26" fmla="*/ 2147483647 w 16"/>
                    <a:gd name="T27" fmla="*/ 2147483647 h 27"/>
                    <a:gd name="T28" fmla="*/ 2147483647 w 16"/>
                    <a:gd name="T29" fmla="*/ 2147483647 h 27"/>
                    <a:gd name="T30" fmla="*/ 2147483647 w 16"/>
                    <a:gd name="T31" fmla="*/ 2147483647 h 27"/>
                    <a:gd name="T32" fmla="*/ 2147483647 w 16"/>
                    <a:gd name="T33" fmla="*/ 2147483647 h 27"/>
                    <a:gd name="T34" fmla="*/ 2147483647 w 16"/>
                    <a:gd name="T35" fmla="*/ 2147483647 h 27"/>
                    <a:gd name="T36" fmla="*/ 2147483647 w 16"/>
                    <a:gd name="T37" fmla="*/ 2147483647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27"/>
                    <a:gd name="T59" fmla="*/ 16 w 16"/>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27">
                      <a:moveTo>
                        <a:pt x="5" y="11"/>
                      </a:moveTo>
                      <a:lnTo>
                        <a:pt x="3" y="9"/>
                      </a:lnTo>
                      <a:lnTo>
                        <a:pt x="2" y="6"/>
                      </a:lnTo>
                      <a:lnTo>
                        <a:pt x="0" y="3"/>
                      </a:lnTo>
                      <a:lnTo>
                        <a:pt x="0" y="0"/>
                      </a:lnTo>
                      <a:lnTo>
                        <a:pt x="6" y="3"/>
                      </a:lnTo>
                      <a:lnTo>
                        <a:pt x="11" y="7"/>
                      </a:lnTo>
                      <a:lnTo>
                        <a:pt x="14" y="9"/>
                      </a:lnTo>
                      <a:lnTo>
                        <a:pt x="15" y="13"/>
                      </a:lnTo>
                      <a:lnTo>
                        <a:pt x="16" y="15"/>
                      </a:lnTo>
                      <a:lnTo>
                        <a:pt x="15" y="19"/>
                      </a:lnTo>
                      <a:lnTo>
                        <a:pt x="12" y="25"/>
                      </a:lnTo>
                      <a:lnTo>
                        <a:pt x="11" y="26"/>
                      </a:lnTo>
                      <a:lnTo>
                        <a:pt x="7" y="27"/>
                      </a:lnTo>
                      <a:lnTo>
                        <a:pt x="5" y="27"/>
                      </a:lnTo>
                      <a:lnTo>
                        <a:pt x="3" y="26"/>
                      </a:lnTo>
                      <a:lnTo>
                        <a:pt x="2" y="23"/>
                      </a:lnTo>
                      <a:lnTo>
                        <a:pt x="2" y="22"/>
                      </a:lnTo>
                      <a:lnTo>
                        <a:pt x="5"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8" name="Freeform 547"/>
                <p:cNvSpPr>
                  <a:spLocks/>
                </p:cNvSpPr>
                <p:nvPr/>
              </p:nvSpPr>
              <p:spPr bwMode="auto">
                <a:xfrm>
                  <a:off x="2752083" y="3835511"/>
                  <a:ext cx="26637" cy="14799"/>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2147483647 h 10"/>
                    <a:gd name="T10" fmla="*/ 2147483647 w 20"/>
                    <a:gd name="T11" fmla="*/ 2147483647 h 10"/>
                    <a:gd name="T12" fmla="*/ 2147483647 w 20"/>
                    <a:gd name="T13" fmla="*/ 2147483647 h 10"/>
                    <a:gd name="T14" fmla="*/ 0 w 20"/>
                    <a:gd name="T15" fmla="*/ 2147483647 h 10"/>
                    <a:gd name="T16" fmla="*/ 0 w 20"/>
                    <a:gd name="T17" fmla="*/ 2147483647 h 10"/>
                    <a:gd name="T18" fmla="*/ 2147483647 w 20"/>
                    <a:gd name="T19" fmla="*/ 2147483647 h 10"/>
                    <a:gd name="T20" fmla="*/ 2147483647 w 20"/>
                    <a:gd name="T21" fmla="*/ 2147483647 h 10"/>
                    <a:gd name="T22" fmla="*/ 2147483647 w 20"/>
                    <a:gd name="T23" fmla="*/ 2147483647 h 10"/>
                    <a:gd name="T24" fmla="*/ 2147483647 w 20"/>
                    <a:gd name="T25" fmla="*/ 0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2147483647 w 20"/>
                    <a:gd name="T35" fmla="*/ 2147483647 h 10"/>
                    <a:gd name="T36" fmla="*/ 2147483647 w 20"/>
                    <a:gd name="T37" fmla="*/ 2147483647 h 10"/>
                    <a:gd name="T38" fmla="*/ 2147483647 w 20"/>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0"/>
                    <a:gd name="T62" fmla="*/ 20 w 20"/>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0">
                      <a:moveTo>
                        <a:pt x="15" y="8"/>
                      </a:moveTo>
                      <a:lnTo>
                        <a:pt x="15" y="8"/>
                      </a:lnTo>
                      <a:lnTo>
                        <a:pt x="13" y="10"/>
                      </a:lnTo>
                      <a:lnTo>
                        <a:pt x="10" y="10"/>
                      </a:lnTo>
                      <a:lnTo>
                        <a:pt x="4" y="9"/>
                      </a:lnTo>
                      <a:lnTo>
                        <a:pt x="1" y="8"/>
                      </a:lnTo>
                      <a:lnTo>
                        <a:pt x="0" y="7"/>
                      </a:lnTo>
                      <a:lnTo>
                        <a:pt x="0" y="5"/>
                      </a:lnTo>
                      <a:lnTo>
                        <a:pt x="1" y="3"/>
                      </a:lnTo>
                      <a:lnTo>
                        <a:pt x="6" y="1"/>
                      </a:lnTo>
                      <a:lnTo>
                        <a:pt x="11" y="0"/>
                      </a:lnTo>
                      <a:lnTo>
                        <a:pt x="17" y="1"/>
                      </a:lnTo>
                      <a:lnTo>
                        <a:pt x="20" y="5"/>
                      </a:lnTo>
                      <a:lnTo>
                        <a:pt x="20" y="6"/>
                      </a:lnTo>
                      <a:lnTo>
                        <a:pt x="19" y="7"/>
                      </a:lnTo>
                      <a:lnTo>
                        <a:pt x="15"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49" name="Freeform 548"/>
                <p:cNvSpPr>
                  <a:spLocks/>
                </p:cNvSpPr>
                <p:nvPr/>
              </p:nvSpPr>
              <p:spPr bwMode="auto">
                <a:xfrm>
                  <a:off x="2786119" y="3831070"/>
                  <a:ext cx="23678" cy="41436"/>
                </a:xfrm>
                <a:custGeom>
                  <a:avLst/>
                  <a:gdLst>
                    <a:gd name="T0" fmla="*/ 2147483647 w 17"/>
                    <a:gd name="T1" fmla="*/ 2147483647 h 28"/>
                    <a:gd name="T2" fmla="*/ 2147483647 w 17"/>
                    <a:gd name="T3" fmla="*/ 2147483647 h 28"/>
                    <a:gd name="T4" fmla="*/ 2147483647 w 17"/>
                    <a:gd name="T5" fmla="*/ 2147483647 h 28"/>
                    <a:gd name="T6" fmla="*/ 2147483647 w 17"/>
                    <a:gd name="T7" fmla="*/ 2147483647 h 28"/>
                    <a:gd name="T8" fmla="*/ 0 w 17"/>
                    <a:gd name="T9" fmla="*/ 2147483647 h 28"/>
                    <a:gd name="T10" fmla="*/ 0 w 17"/>
                    <a:gd name="T11" fmla="*/ 0 h 28"/>
                    <a:gd name="T12" fmla="*/ 0 w 17"/>
                    <a:gd name="T13" fmla="*/ 0 h 28"/>
                    <a:gd name="T14" fmla="*/ 2147483647 w 17"/>
                    <a:gd name="T15" fmla="*/ 2147483647 h 28"/>
                    <a:gd name="T16" fmla="*/ 2147483647 w 17"/>
                    <a:gd name="T17" fmla="*/ 2147483647 h 28"/>
                    <a:gd name="T18" fmla="*/ 2147483647 w 17"/>
                    <a:gd name="T19" fmla="*/ 2147483647 h 28"/>
                    <a:gd name="T20" fmla="*/ 2147483647 w 17"/>
                    <a:gd name="T21" fmla="*/ 2147483647 h 28"/>
                    <a:gd name="T22" fmla="*/ 2147483647 w 17"/>
                    <a:gd name="T23" fmla="*/ 2147483647 h 28"/>
                    <a:gd name="T24" fmla="*/ 2147483647 w 17"/>
                    <a:gd name="T25" fmla="*/ 2147483647 h 28"/>
                    <a:gd name="T26" fmla="*/ 2147483647 w 17"/>
                    <a:gd name="T27" fmla="*/ 2147483647 h 28"/>
                    <a:gd name="T28" fmla="*/ 2147483647 w 17"/>
                    <a:gd name="T29" fmla="*/ 2147483647 h 28"/>
                    <a:gd name="T30" fmla="*/ 2147483647 w 17"/>
                    <a:gd name="T31" fmla="*/ 2147483647 h 28"/>
                    <a:gd name="T32" fmla="*/ 2147483647 w 17"/>
                    <a:gd name="T33" fmla="*/ 2147483647 h 28"/>
                    <a:gd name="T34" fmla="*/ 2147483647 w 17"/>
                    <a:gd name="T35" fmla="*/ 2147483647 h 28"/>
                    <a:gd name="T36" fmla="*/ 2147483647 w 17"/>
                    <a:gd name="T37" fmla="*/ 2147483647 h 28"/>
                    <a:gd name="T38" fmla="*/ 2147483647 w 17"/>
                    <a:gd name="T39" fmla="*/ 2147483647 h 28"/>
                    <a:gd name="T40" fmla="*/ 2147483647 w 17"/>
                    <a:gd name="T41" fmla="*/ 2147483647 h 28"/>
                    <a:gd name="T42" fmla="*/ 2147483647 w 17"/>
                    <a:gd name="T43" fmla="*/ 2147483647 h 28"/>
                    <a:gd name="T44" fmla="*/ 2147483647 w 17"/>
                    <a:gd name="T45" fmla="*/ 2147483647 h 28"/>
                    <a:gd name="T46" fmla="*/ 2147483647 w 17"/>
                    <a:gd name="T47" fmla="*/ 214748364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28"/>
                    <a:gd name="T74" fmla="*/ 17 w 17"/>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28">
                      <a:moveTo>
                        <a:pt x="5" y="12"/>
                      </a:moveTo>
                      <a:lnTo>
                        <a:pt x="5" y="12"/>
                      </a:lnTo>
                      <a:lnTo>
                        <a:pt x="4" y="10"/>
                      </a:lnTo>
                      <a:lnTo>
                        <a:pt x="3" y="6"/>
                      </a:lnTo>
                      <a:lnTo>
                        <a:pt x="0" y="4"/>
                      </a:lnTo>
                      <a:lnTo>
                        <a:pt x="0" y="0"/>
                      </a:lnTo>
                      <a:lnTo>
                        <a:pt x="7" y="4"/>
                      </a:lnTo>
                      <a:lnTo>
                        <a:pt x="12" y="8"/>
                      </a:lnTo>
                      <a:lnTo>
                        <a:pt x="14" y="10"/>
                      </a:lnTo>
                      <a:lnTo>
                        <a:pt x="16" y="13"/>
                      </a:lnTo>
                      <a:lnTo>
                        <a:pt x="17" y="16"/>
                      </a:lnTo>
                      <a:lnTo>
                        <a:pt x="16" y="19"/>
                      </a:lnTo>
                      <a:lnTo>
                        <a:pt x="13" y="25"/>
                      </a:lnTo>
                      <a:lnTo>
                        <a:pt x="12" y="27"/>
                      </a:lnTo>
                      <a:lnTo>
                        <a:pt x="8" y="28"/>
                      </a:lnTo>
                      <a:lnTo>
                        <a:pt x="5" y="28"/>
                      </a:lnTo>
                      <a:lnTo>
                        <a:pt x="4" y="27"/>
                      </a:lnTo>
                      <a:lnTo>
                        <a:pt x="3" y="24"/>
                      </a:lnTo>
                      <a:lnTo>
                        <a:pt x="3" y="23"/>
                      </a:lnTo>
                      <a:lnTo>
                        <a:pt x="5"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0" name="Freeform 549"/>
                <p:cNvSpPr>
                  <a:spLocks/>
                </p:cNvSpPr>
                <p:nvPr/>
              </p:nvSpPr>
              <p:spPr bwMode="auto">
                <a:xfrm>
                  <a:off x="2765400" y="3878427"/>
                  <a:ext cx="29597" cy="47356"/>
                </a:xfrm>
                <a:custGeom>
                  <a:avLst/>
                  <a:gdLst>
                    <a:gd name="T0" fmla="*/ 2147483647 w 22"/>
                    <a:gd name="T1" fmla="*/ 2147483647 h 32"/>
                    <a:gd name="T2" fmla="*/ 2147483647 w 22"/>
                    <a:gd name="T3" fmla="*/ 2147483647 h 32"/>
                    <a:gd name="T4" fmla="*/ 2147483647 w 22"/>
                    <a:gd name="T5" fmla="*/ 0 h 32"/>
                    <a:gd name="T6" fmla="*/ 2147483647 w 22"/>
                    <a:gd name="T7" fmla="*/ 2147483647 h 32"/>
                    <a:gd name="T8" fmla="*/ 2147483647 w 22"/>
                    <a:gd name="T9" fmla="*/ 2147483647 h 32"/>
                    <a:gd name="T10" fmla="*/ 2147483647 w 22"/>
                    <a:gd name="T11" fmla="*/ 2147483647 h 32"/>
                    <a:gd name="T12" fmla="*/ 2147483647 w 22"/>
                    <a:gd name="T13" fmla="*/ 2147483647 h 32"/>
                    <a:gd name="T14" fmla="*/ 2147483647 w 22"/>
                    <a:gd name="T15" fmla="*/ 2147483647 h 32"/>
                    <a:gd name="T16" fmla="*/ 0 w 22"/>
                    <a:gd name="T17" fmla="*/ 2147483647 h 32"/>
                    <a:gd name="T18" fmla="*/ 0 w 22"/>
                    <a:gd name="T19" fmla="*/ 2147483647 h 32"/>
                    <a:gd name="T20" fmla="*/ 2147483647 w 22"/>
                    <a:gd name="T21" fmla="*/ 2147483647 h 32"/>
                    <a:gd name="T22" fmla="*/ 2147483647 w 22"/>
                    <a:gd name="T23" fmla="*/ 2147483647 h 32"/>
                    <a:gd name="T24" fmla="*/ 2147483647 w 22"/>
                    <a:gd name="T25" fmla="*/ 2147483647 h 32"/>
                    <a:gd name="T26" fmla="*/ 2147483647 w 22"/>
                    <a:gd name="T27" fmla="*/ 2147483647 h 32"/>
                    <a:gd name="T28" fmla="*/ 2147483647 w 22"/>
                    <a:gd name="T29" fmla="*/ 2147483647 h 32"/>
                    <a:gd name="T30" fmla="*/ 2147483647 w 22"/>
                    <a:gd name="T31" fmla="*/ 2147483647 h 32"/>
                    <a:gd name="T32" fmla="*/ 2147483647 w 22"/>
                    <a:gd name="T33" fmla="*/ 2147483647 h 32"/>
                    <a:gd name="T34" fmla="*/ 2147483647 w 22"/>
                    <a:gd name="T35" fmla="*/ 2147483647 h 32"/>
                    <a:gd name="T36" fmla="*/ 2147483647 w 22"/>
                    <a:gd name="T37" fmla="*/ 2147483647 h 32"/>
                    <a:gd name="T38" fmla="*/ 2147483647 w 22"/>
                    <a:gd name="T39" fmla="*/ 2147483647 h 32"/>
                    <a:gd name="T40" fmla="*/ 2147483647 w 22"/>
                    <a:gd name="T41" fmla="*/ 2147483647 h 32"/>
                    <a:gd name="T42" fmla="*/ 2147483647 w 22"/>
                    <a:gd name="T43" fmla="*/ 2147483647 h 32"/>
                    <a:gd name="T44" fmla="*/ 2147483647 w 22"/>
                    <a:gd name="T45" fmla="*/ 2147483647 h 32"/>
                    <a:gd name="T46" fmla="*/ 2147483647 w 22"/>
                    <a:gd name="T47" fmla="*/ 2147483647 h 32"/>
                    <a:gd name="T48" fmla="*/ 2147483647 w 22"/>
                    <a:gd name="T49" fmla="*/ 2147483647 h 32"/>
                    <a:gd name="T50" fmla="*/ 2147483647 w 22"/>
                    <a:gd name="T51" fmla="*/ 2147483647 h 32"/>
                    <a:gd name="T52" fmla="*/ 2147483647 w 22"/>
                    <a:gd name="T53" fmla="*/ 2147483647 h 32"/>
                    <a:gd name="T54" fmla="*/ 2147483647 w 22"/>
                    <a:gd name="T55" fmla="*/ 2147483647 h 32"/>
                    <a:gd name="T56" fmla="*/ 2147483647 w 22"/>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
                    <a:gd name="T88" fmla="*/ 0 h 32"/>
                    <a:gd name="T89" fmla="*/ 22 w 22"/>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 h="32">
                      <a:moveTo>
                        <a:pt x="13" y="3"/>
                      </a:moveTo>
                      <a:lnTo>
                        <a:pt x="9" y="2"/>
                      </a:lnTo>
                      <a:lnTo>
                        <a:pt x="7" y="0"/>
                      </a:lnTo>
                      <a:lnTo>
                        <a:pt x="5" y="2"/>
                      </a:lnTo>
                      <a:lnTo>
                        <a:pt x="4" y="5"/>
                      </a:lnTo>
                      <a:lnTo>
                        <a:pt x="4" y="10"/>
                      </a:lnTo>
                      <a:lnTo>
                        <a:pt x="3" y="13"/>
                      </a:lnTo>
                      <a:lnTo>
                        <a:pt x="3" y="16"/>
                      </a:lnTo>
                      <a:lnTo>
                        <a:pt x="0" y="18"/>
                      </a:lnTo>
                      <a:lnTo>
                        <a:pt x="0" y="21"/>
                      </a:lnTo>
                      <a:lnTo>
                        <a:pt x="3" y="22"/>
                      </a:lnTo>
                      <a:lnTo>
                        <a:pt x="8" y="23"/>
                      </a:lnTo>
                      <a:lnTo>
                        <a:pt x="12" y="24"/>
                      </a:lnTo>
                      <a:lnTo>
                        <a:pt x="15" y="28"/>
                      </a:lnTo>
                      <a:lnTo>
                        <a:pt x="18" y="31"/>
                      </a:lnTo>
                      <a:lnTo>
                        <a:pt x="19" y="32"/>
                      </a:lnTo>
                      <a:lnTo>
                        <a:pt x="22" y="31"/>
                      </a:lnTo>
                      <a:lnTo>
                        <a:pt x="22" y="29"/>
                      </a:lnTo>
                      <a:lnTo>
                        <a:pt x="18" y="25"/>
                      </a:lnTo>
                      <a:lnTo>
                        <a:pt x="17" y="24"/>
                      </a:lnTo>
                      <a:lnTo>
                        <a:pt x="17" y="22"/>
                      </a:lnTo>
                      <a:lnTo>
                        <a:pt x="15" y="16"/>
                      </a:lnTo>
                      <a:lnTo>
                        <a:pt x="13" y="11"/>
                      </a:lnTo>
                      <a:lnTo>
                        <a:pt x="13" y="10"/>
                      </a:lnTo>
                      <a:lnTo>
                        <a:pt x="14" y="10"/>
                      </a:lnTo>
                      <a:lnTo>
                        <a:pt x="15" y="8"/>
                      </a:lnTo>
                      <a:lnTo>
                        <a:pt x="15" y="5"/>
                      </a:lnTo>
                      <a:lnTo>
                        <a:pt x="14" y="4"/>
                      </a:lnTo>
                      <a:lnTo>
                        <a:pt x="1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1" name="Freeform 550"/>
                <p:cNvSpPr>
                  <a:spLocks/>
                </p:cNvSpPr>
                <p:nvPr/>
              </p:nvSpPr>
              <p:spPr bwMode="auto">
                <a:xfrm>
                  <a:off x="2651452" y="3987937"/>
                  <a:ext cx="19238" cy="16278"/>
                </a:xfrm>
                <a:custGeom>
                  <a:avLst/>
                  <a:gdLst>
                    <a:gd name="T0" fmla="*/ 2147483647 w 14"/>
                    <a:gd name="T1" fmla="*/ 2147483647 h 11"/>
                    <a:gd name="T2" fmla="*/ 2147483647 w 14"/>
                    <a:gd name="T3" fmla="*/ 2147483647 h 11"/>
                    <a:gd name="T4" fmla="*/ 2147483647 w 14"/>
                    <a:gd name="T5" fmla="*/ 2147483647 h 11"/>
                    <a:gd name="T6" fmla="*/ 0 w 14"/>
                    <a:gd name="T7" fmla="*/ 2147483647 h 11"/>
                    <a:gd name="T8" fmla="*/ 0 w 14"/>
                    <a:gd name="T9" fmla="*/ 2147483647 h 11"/>
                    <a:gd name="T10" fmla="*/ 2147483647 w 14"/>
                    <a:gd name="T11" fmla="*/ 2147483647 h 11"/>
                    <a:gd name="T12" fmla="*/ 2147483647 w 14"/>
                    <a:gd name="T13" fmla="*/ 2147483647 h 11"/>
                    <a:gd name="T14" fmla="*/ 2147483647 w 14"/>
                    <a:gd name="T15" fmla="*/ 0 h 11"/>
                    <a:gd name="T16" fmla="*/ 2147483647 w 14"/>
                    <a:gd name="T17" fmla="*/ 0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1"/>
                    <a:gd name="T44" fmla="*/ 14 w 14"/>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1">
                      <a:moveTo>
                        <a:pt x="9" y="9"/>
                      </a:moveTo>
                      <a:lnTo>
                        <a:pt x="5" y="11"/>
                      </a:lnTo>
                      <a:lnTo>
                        <a:pt x="2" y="9"/>
                      </a:lnTo>
                      <a:lnTo>
                        <a:pt x="0" y="7"/>
                      </a:lnTo>
                      <a:lnTo>
                        <a:pt x="0" y="5"/>
                      </a:lnTo>
                      <a:lnTo>
                        <a:pt x="2" y="2"/>
                      </a:lnTo>
                      <a:lnTo>
                        <a:pt x="4" y="1"/>
                      </a:lnTo>
                      <a:lnTo>
                        <a:pt x="7" y="0"/>
                      </a:lnTo>
                      <a:lnTo>
                        <a:pt x="11" y="0"/>
                      </a:lnTo>
                      <a:lnTo>
                        <a:pt x="14" y="2"/>
                      </a:lnTo>
                      <a:lnTo>
                        <a:pt x="14" y="4"/>
                      </a:lnTo>
                      <a:lnTo>
                        <a:pt x="14" y="5"/>
                      </a:lnTo>
                      <a:lnTo>
                        <a:pt x="12" y="7"/>
                      </a:lnTo>
                      <a:lnTo>
                        <a:pt x="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2" name="Freeform 551"/>
                <p:cNvSpPr>
                  <a:spLocks/>
                </p:cNvSpPr>
                <p:nvPr/>
              </p:nvSpPr>
              <p:spPr bwMode="auto">
                <a:xfrm>
                  <a:off x="2763922" y="3876948"/>
                  <a:ext cx="29597" cy="47356"/>
                </a:xfrm>
                <a:custGeom>
                  <a:avLst/>
                  <a:gdLst>
                    <a:gd name="T0" fmla="*/ 2147483647 w 21"/>
                    <a:gd name="T1" fmla="*/ 2147483647 h 32"/>
                    <a:gd name="T2" fmla="*/ 2147483647 w 21"/>
                    <a:gd name="T3" fmla="*/ 2147483647 h 32"/>
                    <a:gd name="T4" fmla="*/ 2147483647 w 21"/>
                    <a:gd name="T5" fmla="*/ 2147483647 h 32"/>
                    <a:gd name="T6" fmla="*/ 2147483647 w 21"/>
                    <a:gd name="T7" fmla="*/ 0 h 32"/>
                    <a:gd name="T8" fmla="*/ 2147483647 w 21"/>
                    <a:gd name="T9" fmla="*/ 2147483647 h 32"/>
                    <a:gd name="T10" fmla="*/ 2147483647 w 21"/>
                    <a:gd name="T11" fmla="*/ 2147483647 h 32"/>
                    <a:gd name="T12" fmla="*/ 2147483647 w 21"/>
                    <a:gd name="T13" fmla="*/ 2147483647 h 32"/>
                    <a:gd name="T14" fmla="*/ 2147483647 w 21"/>
                    <a:gd name="T15" fmla="*/ 2147483647 h 32"/>
                    <a:gd name="T16" fmla="*/ 2147483647 w 21"/>
                    <a:gd name="T17" fmla="*/ 2147483647 h 32"/>
                    <a:gd name="T18" fmla="*/ 2147483647 w 21"/>
                    <a:gd name="T19" fmla="*/ 2147483647 h 32"/>
                    <a:gd name="T20" fmla="*/ 0 w 21"/>
                    <a:gd name="T21" fmla="*/ 2147483647 h 32"/>
                    <a:gd name="T22" fmla="*/ 0 w 21"/>
                    <a:gd name="T23" fmla="*/ 2147483647 h 32"/>
                    <a:gd name="T24" fmla="*/ 0 w 21"/>
                    <a:gd name="T25" fmla="*/ 2147483647 h 32"/>
                    <a:gd name="T26" fmla="*/ 0 w 21"/>
                    <a:gd name="T27" fmla="*/ 2147483647 h 32"/>
                    <a:gd name="T28" fmla="*/ 2147483647 w 21"/>
                    <a:gd name="T29" fmla="*/ 2147483647 h 32"/>
                    <a:gd name="T30" fmla="*/ 2147483647 w 21"/>
                    <a:gd name="T31" fmla="*/ 2147483647 h 32"/>
                    <a:gd name="T32" fmla="*/ 2147483647 w 21"/>
                    <a:gd name="T33" fmla="*/ 2147483647 h 32"/>
                    <a:gd name="T34" fmla="*/ 2147483647 w 21"/>
                    <a:gd name="T35" fmla="*/ 2147483647 h 32"/>
                    <a:gd name="T36" fmla="*/ 2147483647 w 21"/>
                    <a:gd name="T37" fmla="*/ 2147483647 h 32"/>
                    <a:gd name="T38" fmla="*/ 2147483647 w 21"/>
                    <a:gd name="T39" fmla="*/ 2147483647 h 32"/>
                    <a:gd name="T40" fmla="*/ 2147483647 w 21"/>
                    <a:gd name="T41" fmla="*/ 2147483647 h 32"/>
                    <a:gd name="T42" fmla="*/ 2147483647 w 21"/>
                    <a:gd name="T43" fmla="*/ 2147483647 h 32"/>
                    <a:gd name="T44" fmla="*/ 2147483647 w 21"/>
                    <a:gd name="T45" fmla="*/ 2147483647 h 32"/>
                    <a:gd name="T46" fmla="*/ 2147483647 w 21"/>
                    <a:gd name="T47" fmla="*/ 2147483647 h 32"/>
                    <a:gd name="T48" fmla="*/ 2147483647 w 21"/>
                    <a:gd name="T49" fmla="*/ 2147483647 h 32"/>
                    <a:gd name="T50" fmla="*/ 2147483647 w 21"/>
                    <a:gd name="T51" fmla="*/ 2147483647 h 32"/>
                    <a:gd name="T52" fmla="*/ 2147483647 w 21"/>
                    <a:gd name="T53" fmla="*/ 2147483647 h 32"/>
                    <a:gd name="T54" fmla="*/ 2147483647 w 21"/>
                    <a:gd name="T55" fmla="*/ 2147483647 h 32"/>
                    <a:gd name="T56" fmla="*/ 2147483647 w 21"/>
                    <a:gd name="T57" fmla="*/ 2147483647 h 32"/>
                    <a:gd name="T58" fmla="*/ 2147483647 w 21"/>
                    <a:gd name="T59" fmla="*/ 2147483647 h 32"/>
                    <a:gd name="T60" fmla="*/ 2147483647 w 21"/>
                    <a:gd name="T61" fmla="*/ 2147483647 h 32"/>
                    <a:gd name="T62" fmla="*/ 2147483647 w 21"/>
                    <a:gd name="T63" fmla="*/ 2147483647 h 32"/>
                    <a:gd name="T64" fmla="*/ 2147483647 w 21"/>
                    <a:gd name="T65" fmla="*/ 2147483647 h 32"/>
                    <a:gd name="T66" fmla="*/ 2147483647 w 21"/>
                    <a:gd name="T67" fmla="*/ 2147483647 h 32"/>
                    <a:gd name="T68" fmla="*/ 2147483647 w 21"/>
                    <a:gd name="T69" fmla="*/ 2147483647 h 32"/>
                    <a:gd name="T70" fmla="*/ 2147483647 w 21"/>
                    <a:gd name="T71" fmla="*/ 2147483647 h 32"/>
                    <a:gd name="T72" fmla="*/ 2147483647 w 21"/>
                    <a:gd name="T73" fmla="*/ 2147483647 h 32"/>
                    <a:gd name="T74" fmla="*/ 2147483647 w 21"/>
                    <a:gd name="T75" fmla="*/ 2147483647 h 32"/>
                    <a:gd name="T76" fmla="*/ 2147483647 w 21"/>
                    <a:gd name="T77" fmla="*/ 2147483647 h 32"/>
                    <a:gd name="T78" fmla="*/ 2147483647 w 21"/>
                    <a:gd name="T79" fmla="*/ 2147483647 h 32"/>
                    <a:gd name="T80" fmla="*/ 2147483647 w 21"/>
                    <a:gd name="T81" fmla="*/ 2147483647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
                    <a:gd name="T124" fmla="*/ 0 h 32"/>
                    <a:gd name="T125" fmla="*/ 21 w 21"/>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 h="32">
                      <a:moveTo>
                        <a:pt x="13" y="3"/>
                      </a:moveTo>
                      <a:lnTo>
                        <a:pt x="13" y="3"/>
                      </a:lnTo>
                      <a:lnTo>
                        <a:pt x="9" y="1"/>
                      </a:lnTo>
                      <a:lnTo>
                        <a:pt x="6" y="0"/>
                      </a:lnTo>
                      <a:lnTo>
                        <a:pt x="5" y="1"/>
                      </a:lnTo>
                      <a:lnTo>
                        <a:pt x="4" y="5"/>
                      </a:lnTo>
                      <a:lnTo>
                        <a:pt x="4" y="10"/>
                      </a:lnTo>
                      <a:lnTo>
                        <a:pt x="2" y="13"/>
                      </a:lnTo>
                      <a:lnTo>
                        <a:pt x="2" y="16"/>
                      </a:lnTo>
                      <a:lnTo>
                        <a:pt x="0" y="18"/>
                      </a:lnTo>
                      <a:lnTo>
                        <a:pt x="0" y="20"/>
                      </a:lnTo>
                      <a:lnTo>
                        <a:pt x="2" y="22"/>
                      </a:lnTo>
                      <a:lnTo>
                        <a:pt x="8" y="23"/>
                      </a:lnTo>
                      <a:lnTo>
                        <a:pt x="11" y="24"/>
                      </a:lnTo>
                      <a:lnTo>
                        <a:pt x="15" y="28"/>
                      </a:lnTo>
                      <a:lnTo>
                        <a:pt x="18" y="31"/>
                      </a:lnTo>
                      <a:lnTo>
                        <a:pt x="19" y="32"/>
                      </a:lnTo>
                      <a:lnTo>
                        <a:pt x="21" y="31"/>
                      </a:lnTo>
                      <a:lnTo>
                        <a:pt x="21" y="29"/>
                      </a:lnTo>
                      <a:lnTo>
                        <a:pt x="18" y="25"/>
                      </a:lnTo>
                      <a:lnTo>
                        <a:pt x="16" y="24"/>
                      </a:lnTo>
                      <a:lnTo>
                        <a:pt x="16" y="22"/>
                      </a:lnTo>
                      <a:lnTo>
                        <a:pt x="15" y="16"/>
                      </a:lnTo>
                      <a:lnTo>
                        <a:pt x="13" y="11"/>
                      </a:lnTo>
                      <a:lnTo>
                        <a:pt x="13" y="10"/>
                      </a:lnTo>
                      <a:lnTo>
                        <a:pt x="14" y="10"/>
                      </a:lnTo>
                      <a:lnTo>
                        <a:pt x="15" y="7"/>
                      </a:lnTo>
                      <a:lnTo>
                        <a:pt x="15" y="5"/>
                      </a:lnTo>
                      <a:lnTo>
                        <a:pt x="14" y="4"/>
                      </a:lnTo>
                      <a:lnTo>
                        <a:pt x="13"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3" name="Freeform 552"/>
                <p:cNvSpPr>
                  <a:spLocks/>
                </p:cNvSpPr>
                <p:nvPr/>
              </p:nvSpPr>
              <p:spPr bwMode="auto">
                <a:xfrm>
                  <a:off x="2649970" y="3986460"/>
                  <a:ext cx="19239" cy="14799"/>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0 w 14"/>
                    <a:gd name="T9" fmla="*/ 2147483647 h 10"/>
                    <a:gd name="T10" fmla="*/ 0 w 14"/>
                    <a:gd name="T11" fmla="*/ 2147483647 h 10"/>
                    <a:gd name="T12" fmla="*/ 0 w 14"/>
                    <a:gd name="T13" fmla="*/ 2147483647 h 10"/>
                    <a:gd name="T14" fmla="*/ 2147483647 w 14"/>
                    <a:gd name="T15" fmla="*/ 2147483647 h 10"/>
                    <a:gd name="T16" fmla="*/ 2147483647 w 14"/>
                    <a:gd name="T17" fmla="*/ 2147483647 h 10"/>
                    <a:gd name="T18" fmla="*/ 2147483647 w 14"/>
                    <a:gd name="T19" fmla="*/ 0 h 10"/>
                    <a:gd name="T20" fmla="*/ 2147483647 w 14"/>
                    <a:gd name="T21" fmla="*/ 0 h 10"/>
                    <a:gd name="T22" fmla="*/ 2147483647 w 14"/>
                    <a:gd name="T23" fmla="*/ 0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9" y="9"/>
                      </a:moveTo>
                      <a:lnTo>
                        <a:pt x="9" y="9"/>
                      </a:lnTo>
                      <a:lnTo>
                        <a:pt x="5" y="10"/>
                      </a:lnTo>
                      <a:lnTo>
                        <a:pt x="1" y="9"/>
                      </a:lnTo>
                      <a:lnTo>
                        <a:pt x="0" y="7"/>
                      </a:lnTo>
                      <a:lnTo>
                        <a:pt x="0" y="5"/>
                      </a:lnTo>
                      <a:lnTo>
                        <a:pt x="1" y="2"/>
                      </a:lnTo>
                      <a:lnTo>
                        <a:pt x="4" y="1"/>
                      </a:lnTo>
                      <a:lnTo>
                        <a:pt x="6" y="0"/>
                      </a:lnTo>
                      <a:lnTo>
                        <a:pt x="10" y="0"/>
                      </a:lnTo>
                      <a:lnTo>
                        <a:pt x="14" y="2"/>
                      </a:lnTo>
                      <a:lnTo>
                        <a:pt x="14" y="3"/>
                      </a:lnTo>
                      <a:lnTo>
                        <a:pt x="14" y="5"/>
                      </a:lnTo>
                      <a:lnTo>
                        <a:pt x="12" y="7"/>
                      </a:lnTo>
                      <a:lnTo>
                        <a:pt x="9"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4" name="Freeform 553"/>
                <p:cNvSpPr>
                  <a:spLocks/>
                </p:cNvSpPr>
                <p:nvPr/>
              </p:nvSpPr>
              <p:spPr bwMode="auto">
                <a:xfrm>
                  <a:off x="2612976" y="3953902"/>
                  <a:ext cx="250098" cy="93232"/>
                </a:xfrm>
                <a:custGeom>
                  <a:avLst/>
                  <a:gdLst>
                    <a:gd name="T0" fmla="*/ 2147483647 w 183"/>
                    <a:gd name="T1" fmla="*/ 2147483647 h 63"/>
                    <a:gd name="T2" fmla="*/ 2147483647 w 183"/>
                    <a:gd name="T3" fmla="*/ 2147483647 h 63"/>
                    <a:gd name="T4" fmla="*/ 2147483647 w 183"/>
                    <a:gd name="T5" fmla="*/ 2147483647 h 63"/>
                    <a:gd name="T6" fmla="*/ 2147483647 w 183"/>
                    <a:gd name="T7" fmla="*/ 2147483647 h 63"/>
                    <a:gd name="T8" fmla="*/ 2147483647 w 183"/>
                    <a:gd name="T9" fmla="*/ 0 h 63"/>
                    <a:gd name="T10" fmla="*/ 2147483647 w 183"/>
                    <a:gd name="T11" fmla="*/ 0 h 63"/>
                    <a:gd name="T12" fmla="*/ 2147483647 w 183"/>
                    <a:gd name="T13" fmla="*/ 2147483647 h 63"/>
                    <a:gd name="T14" fmla="*/ 2147483647 w 183"/>
                    <a:gd name="T15" fmla="*/ 2147483647 h 63"/>
                    <a:gd name="T16" fmla="*/ 2147483647 w 183"/>
                    <a:gd name="T17" fmla="*/ 2147483647 h 63"/>
                    <a:gd name="T18" fmla="*/ 2147483647 w 183"/>
                    <a:gd name="T19" fmla="*/ 2147483647 h 63"/>
                    <a:gd name="T20" fmla="*/ 2147483647 w 183"/>
                    <a:gd name="T21" fmla="*/ 2147483647 h 63"/>
                    <a:gd name="T22" fmla="*/ 2147483647 w 183"/>
                    <a:gd name="T23" fmla="*/ 2147483647 h 63"/>
                    <a:gd name="T24" fmla="*/ 2147483647 w 183"/>
                    <a:gd name="T25" fmla="*/ 2147483647 h 63"/>
                    <a:gd name="T26" fmla="*/ 2147483647 w 183"/>
                    <a:gd name="T27" fmla="*/ 2147483647 h 63"/>
                    <a:gd name="T28" fmla="*/ 0 w 183"/>
                    <a:gd name="T29" fmla="*/ 2147483647 h 63"/>
                    <a:gd name="T30" fmla="*/ 2147483647 w 183"/>
                    <a:gd name="T31" fmla="*/ 2147483647 h 63"/>
                    <a:gd name="T32" fmla="*/ 2147483647 w 183"/>
                    <a:gd name="T33" fmla="*/ 2147483647 h 63"/>
                    <a:gd name="T34" fmla="*/ 2147483647 w 183"/>
                    <a:gd name="T35" fmla="*/ 2147483647 h 63"/>
                    <a:gd name="T36" fmla="*/ 2147483647 w 183"/>
                    <a:gd name="T37" fmla="*/ 2147483647 h 63"/>
                    <a:gd name="T38" fmla="*/ 2147483647 w 183"/>
                    <a:gd name="T39" fmla="*/ 2147483647 h 63"/>
                    <a:gd name="T40" fmla="*/ 2147483647 w 183"/>
                    <a:gd name="T41" fmla="*/ 2147483647 h 63"/>
                    <a:gd name="T42" fmla="*/ 2147483647 w 183"/>
                    <a:gd name="T43" fmla="*/ 2147483647 h 63"/>
                    <a:gd name="T44" fmla="*/ 2147483647 w 183"/>
                    <a:gd name="T45" fmla="*/ 2147483647 h 63"/>
                    <a:gd name="T46" fmla="*/ 2147483647 w 183"/>
                    <a:gd name="T47" fmla="*/ 2147483647 h 63"/>
                    <a:gd name="T48" fmla="*/ 2147483647 w 183"/>
                    <a:gd name="T49" fmla="*/ 2147483647 h 63"/>
                    <a:gd name="T50" fmla="*/ 2147483647 w 183"/>
                    <a:gd name="T51" fmla="*/ 2147483647 h 63"/>
                    <a:gd name="T52" fmla="*/ 2147483647 w 183"/>
                    <a:gd name="T53" fmla="*/ 2147483647 h 63"/>
                    <a:gd name="T54" fmla="*/ 2147483647 w 183"/>
                    <a:gd name="T55" fmla="*/ 2147483647 h 63"/>
                    <a:gd name="T56" fmla="*/ 2147483647 w 183"/>
                    <a:gd name="T57" fmla="*/ 2147483647 h 63"/>
                    <a:gd name="T58" fmla="*/ 2147483647 w 183"/>
                    <a:gd name="T59" fmla="*/ 2147483647 h 63"/>
                    <a:gd name="T60" fmla="*/ 2147483647 w 183"/>
                    <a:gd name="T61" fmla="*/ 2147483647 h 63"/>
                    <a:gd name="T62" fmla="*/ 2147483647 w 183"/>
                    <a:gd name="T63" fmla="*/ 2147483647 h 63"/>
                    <a:gd name="T64" fmla="*/ 2147483647 w 183"/>
                    <a:gd name="T65" fmla="*/ 2147483647 h 63"/>
                    <a:gd name="T66" fmla="*/ 2147483647 w 183"/>
                    <a:gd name="T67" fmla="*/ 2147483647 h 63"/>
                    <a:gd name="T68" fmla="*/ 2147483647 w 183"/>
                    <a:gd name="T69" fmla="*/ 2147483647 h 63"/>
                    <a:gd name="T70" fmla="*/ 2147483647 w 183"/>
                    <a:gd name="T71" fmla="*/ 2147483647 h 63"/>
                    <a:gd name="T72" fmla="*/ 2147483647 w 183"/>
                    <a:gd name="T73" fmla="*/ 2147483647 h 63"/>
                    <a:gd name="T74" fmla="*/ 2147483647 w 183"/>
                    <a:gd name="T75" fmla="*/ 2147483647 h 63"/>
                    <a:gd name="T76" fmla="*/ 2147483647 w 183"/>
                    <a:gd name="T77" fmla="*/ 2147483647 h 63"/>
                    <a:gd name="T78" fmla="*/ 2147483647 w 183"/>
                    <a:gd name="T79" fmla="*/ 2147483647 h 63"/>
                    <a:gd name="T80" fmla="*/ 2147483647 w 183"/>
                    <a:gd name="T81" fmla="*/ 2147483647 h 63"/>
                    <a:gd name="T82" fmla="*/ 2147483647 w 183"/>
                    <a:gd name="T83" fmla="*/ 2147483647 h 63"/>
                    <a:gd name="T84" fmla="*/ 2147483647 w 183"/>
                    <a:gd name="T85" fmla="*/ 2147483647 h 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3"/>
                    <a:gd name="T130" fmla="*/ 0 h 63"/>
                    <a:gd name="T131" fmla="*/ 183 w 183"/>
                    <a:gd name="T132" fmla="*/ 63 h 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3" h="63">
                      <a:moveTo>
                        <a:pt x="135" y="30"/>
                      </a:moveTo>
                      <a:lnTo>
                        <a:pt x="129" y="27"/>
                      </a:lnTo>
                      <a:lnTo>
                        <a:pt x="126" y="24"/>
                      </a:lnTo>
                      <a:lnTo>
                        <a:pt x="124" y="24"/>
                      </a:lnTo>
                      <a:lnTo>
                        <a:pt x="117" y="23"/>
                      </a:lnTo>
                      <a:lnTo>
                        <a:pt x="112" y="22"/>
                      </a:lnTo>
                      <a:lnTo>
                        <a:pt x="108" y="19"/>
                      </a:lnTo>
                      <a:lnTo>
                        <a:pt x="105" y="16"/>
                      </a:lnTo>
                      <a:lnTo>
                        <a:pt x="97" y="8"/>
                      </a:lnTo>
                      <a:lnTo>
                        <a:pt x="89" y="0"/>
                      </a:lnTo>
                      <a:lnTo>
                        <a:pt x="87" y="0"/>
                      </a:lnTo>
                      <a:lnTo>
                        <a:pt x="85" y="0"/>
                      </a:lnTo>
                      <a:lnTo>
                        <a:pt x="80" y="3"/>
                      </a:lnTo>
                      <a:lnTo>
                        <a:pt x="77" y="4"/>
                      </a:lnTo>
                      <a:lnTo>
                        <a:pt x="73" y="5"/>
                      </a:lnTo>
                      <a:lnTo>
                        <a:pt x="65" y="3"/>
                      </a:lnTo>
                      <a:lnTo>
                        <a:pt x="63" y="3"/>
                      </a:lnTo>
                      <a:lnTo>
                        <a:pt x="59" y="2"/>
                      </a:lnTo>
                      <a:lnTo>
                        <a:pt x="51" y="3"/>
                      </a:lnTo>
                      <a:lnTo>
                        <a:pt x="44" y="4"/>
                      </a:lnTo>
                      <a:lnTo>
                        <a:pt x="39" y="3"/>
                      </a:lnTo>
                      <a:lnTo>
                        <a:pt x="35" y="2"/>
                      </a:lnTo>
                      <a:lnTo>
                        <a:pt x="28" y="2"/>
                      </a:lnTo>
                      <a:lnTo>
                        <a:pt x="22" y="4"/>
                      </a:lnTo>
                      <a:lnTo>
                        <a:pt x="17" y="8"/>
                      </a:lnTo>
                      <a:lnTo>
                        <a:pt x="11" y="13"/>
                      </a:lnTo>
                      <a:lnTo>
                        <a:pt x="9" y="15"/>
                      </a:lnTo>
                      <a:lnTo>
                        <a:pt x="5" y="16"/>
                      </a:lnTo>
                      <a:lnTo>
                        <a:pt x="3" y="18"/>
                      </a:lnTo>
                      <a:lnTo>
                        <a:pt x="0" y="19"/>
                      </a:lnTo>
                      <a:lnTo>
                        <a:pt x="0" y="22"/>
                      </a:lnTo>
                      <a:lnTo>
                        <a:pt x="4" y="23"/>
                      </a:lnTo>
                      <a:lnTo>
                        <a:pt x="9" y="23"/>
                      </a:lnTo>
                      <a:lnTo>
                        <a:pt x="18" y="23"/>
                      </a:lnTo>
                      <a:lnTo>
                        <a:pt x="39" y="11"/>
                      </a:lnTo>
                      <a:lnTo>
                        <a:pt x="42" y="10"/>
                      </a:lnTo>
                      <a:lnTo>
                        <a:pt x="46" y="11"/>
                      </a:lnTo>
                      <a:lnTo>
                        <a:pt x="51" y="12"/>
                      </a:lnTo>
                      <a:lnTo>
                        <a:pt x="56" y="15"/>
                      </a:lnTo>
                      <a:lnTo>
                        <a:pt x="59" y="17"/>
                      </a:lnTo>
                      <a:lnTo>
                        <a:pt x="63" y="17"/>
                      </a:lnTo>
                      <a:lnTo>
                        <a:pt x="69" y="15"/>
                      </a:lnTo>
                      <a:lnTo>
                        <a:pt x="72" y="13"/>
                      </a:lnTo>
                      <a:lnTo>
                        <a:pt x="74" y="13"/>
                      </a:lnTo>
                      <a:lnTo>
                        <a:pt x="77" y="15"/>
                      </a:lnTo>
                      <a:lnTo>
                        <a:pt x="78" y="16"/>
                      </a:lnTo>
                      <a:lnTo>
                        <a:pt x="82" y="22"/>
                      </a:lnTo>
                      <a:lnTo>
                        <a:pt x="87" y="25"/>
                      </a:lnTo>
                      <a:lnTo>
                        <a:pt x="91" y="28"/>
                      </a:lnTo>
                      <a:lnTo>
                        <a:pt x="96" y="28"/>
                      </a:lnTo>
                      <a:lnTo>
                        <a:pt x="103" y="29"/>
                      </a:lnTo>
                      <a:lnTo>
                        <a:pt x="107" y="30"/>
                      </a:lnTo>
                      <a:lnTo>
                        <a:pt x="108" y="31"/>
                      </a:lnTo>
                      <a:lnTo>
                        <a:pt x="116" y="38"/>
                      </a:lnTo>
                      <a:lnTo>
                        <a:pt x="121" y="43"/>
                      </a:lnTo>
                      <a:lnTo>
                        <a:pt x="127" y="45"/>
                      </a:lnTo>
                      <a:lnTo>
                        <a:pt x="136" y="49"/>
                      </a:lnTo>
                      <a:lnTo>
                        <a:pt x="138" y="50"/>
                      </a:lnTo>
                      <a:lnTo>
                        <a:pt x="136" y="53"/>
                      </a:lnTo>
                      <a:lnTo>
                        <a:pt x="134" y="55"/>
                      </a:lnTo>
                      <a:lnTo>
                        <a:pt x="131" y="57"/>
                      </a:lnTo>
                      <a:lnTo>
                        <a:pt x="131" y="60"/>
                      </a:lnTo>
                      <a:lnTo>
                        <a:pt x="131" y="61"/>
                      </a:lnTo>
                      <a:lnTo>
                        <a:pt x="134" y="61"/>
                      </a:lnTo>
                      <a:lnTo>
                        <a:pt x="146" y="62"/>
                      </a:lnTo>
                      <a:lnTo>
                        <a:pt x="160" y="63"/>
                      </a:lnTo>
                      <a:lnTo>
                        <a:pt x="168" y="63"/>
                      </a:lnTo>
                      <a:lnTo>
                        <a:pt x="173" y="62"/>
                      </a:lnTo>
                      <a:lnTo>
                        <a:pt x="179" y="61"/>
                      </a:lnTo>
                      <a:lnTo>
                        <a:pt x="183" y="56"/>
                      </a:lnTo>
                      <a:lnTo>
                        <a:pt x="183" y="55"/>
                      </a:lnTo>
                      <a:lnTo>
                        <a:pt x="183" y="54"/>
                      </a:lnTo>
                      <a:lnTo>
                        <a:pt x="179" y="51"/>
                      </a:lnTo>
                      <a:lnTo>
                        <a:pt x="174" y="50"/>
                      </a:lnTo>
                      <a:lnTo>
                        <a:pt x="169" y="50"/>
                      </a:lnTo>
                      <a:lnTo>
                        <a:pt x="168" y="50"/>
                      </a:lnTo>
                      <a:lnTo>
                        <a:pt x="167" y="49"/>
                      </a:lnTo>
                      <a:lnTo>
                        <a:pt x="163" y="43"/>
                      </a:lnTo>
                      <a:lnTo>
                        <a:pt x="160" y="41"/>
                      </a:lnTo>
                      <a:lnTo>
                        <a:pt x="157" y="40"/>
                      </a:lnTo>
                      <a:lnTo>
                        <a:pt x="152" y="40"/>
                      </a:lnTo>
                      <a:lnTo>
                        <a:pt x="145" y="41"/>
                      </a:lnTo>
                      <a:lnTo>
                        <a:pt x="144" y="40"/>
                      </a:lnTo>
                      <a:lnTo>
                        <a:pt x="143" y="40"/>
                      </a:lnTo>
                      <a:lnTo>
                        <a:pt x="140" y="36"/>
                      </a:lnTo>
                      <a:lnTo>
                        <a:pt x="138" y="32"/>
                      </a:lnTo>
                      <a:lnTo>
                        <a:pt x="135"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5" name="Freeform 554"/>
                <p:cNvSpPr>
                  <a:spLocks/>
                </p:cNvSpPr>
                <p:nvPr/>
              </p:nvSpPr>
              <p:spPr bwMode="auto">
                <a:xfrm>
                  <a:off x="3092453" y="3654968"/>
                  <a:ext cx="14799" cy="14799"/>
                </a:xfrm>
                <a:custGeom>
                  <a:avLst/>
                  <a:gdLst>
                    <a:gd name="T0" fmla="*/ 2147483647 w 11"/>
                    <a:gd name="T1" fmla="*/ 2147483647 h 10"/>
                    <a:gd name="T2" fmla="*/ 2147483647 w 11"/>
                    <a:gd name="T3" fmla="*/ 2147483647 h 10"/>
                    <a:gd name="T4" fmla="*/ 2147483647 w 11"/>
                    <a:gd name="T5" fmla="*/ 0 h 10"/>
                    <a:gd name="T6" fmla="*/ 2147483647 w 11"/>
                    <a:gd name="T7" fmla="*/ 0 h 10"/>
                    <a:gd name="T8" fmla="*/ 2147483647 w 11"/>
                    <a:gd name="T9" fmla="*/ 2147483647 h 10"/>
                    <a:gd name="T10" fmla="*/ 2147483647 w 11"/>
                    <a:gd name="T11" fmla="*/ 2147483647 h 10"/>
                    <a:gd name="T12" fmla="*/ 2147483647 w 11"/>
                    <a:gd name="T13" fmla="*/ 2147483647 h 10"/>
                    <a:gd name="T14" fmla="*/ 2147483647 w 11"/>
                    <a:gd name="T15" fmla="*/ 2147483647 h 10"/>
                    <a:gd name="T16" fmla="*/ 2147483647 w 11"/>
                    <a:gd name="T17" fmla="*/ 2147483647 h 10"/>
                    <a:gd name="T18" fmla="*/ 2147483647 w 11"/>
                    <a:gd name="T19" fmla="*/ 2147483647 h 10"/>
                    <a:gd name="T20" fmla="*/ 0 w 11"/>
                    <a:gd name="T21" fmla="*/ 2147483647 h 10"/>
                    <a:gd name="T22" fmla="*/ 2147483647 w 11"/>
                    <a:gd name="T23" fmla="*/ 2147483647 h 10"/>
                    <a:gd name="T24" fmla="*/ 2147483647 w 11"/>
                    <a:gd name="T25" fmla="*/ 2147483647 h 10"/>
                    <a:gd name="T26" fmla="*/ 2147483647 w 11"/>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0"/>
                    <a:gd name="T44" fmla="*/ 11 w 11"/>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0">
                      <a:moveTo>
                        <a:pt x="6" y="2"/>
                      </a:moveTo>
                      <a:lnTo>
                        <a:pt x="9" y="1"/>
                      </a:lnTo>
                      <a:lnTo>
                        <a:pt x="9" y="0"/>
                      </a:lnTo>
                      <a:lnTo>
                        <a:pt x="10" y="0"/>
                      </a:lnTo>
                      <a:lnTo>
                        <a:pt x="11" y="2"/>
                      </a:lnTo>
                      <a:lnTo>
                        <a:pt x="11" y="4"/>
                      </a:lnTo>
                      <a:lnTo>
                        <a:pt x="9" y="8"/>
                      </a:lnTo>
                      <a:lnTo>
                        <a:pt x="5" y="10"/>
                      </a:lnTo>
                      <a:lnTo>
                        <a:pt x="4" y="10"/>
                      </a:lnTo>
                      <a:lnTo>
                        <a:pt x="1" y="10"/>
                      </a:lnTo>
                      <a:lnTo>
                        <a:pt x="0" y="8"/>
                      </a:lnTo>
                      <a:lnTo>
                        <a:pt x="1" y="6"/>
                      </a:lnTo>
                      <a:lnTo>
                        <a:pt x="2" y="3"/>
                      </a:lnTo>
                      <a:lnTo>
                        <a:pt x="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6" name="Freeform 555"/>
                <p:cNvSpPr>
                  <a:spLocks/>
                </p:cNvSpPr>
                <p:nvPr/>
              </p:nvSpPr>
              <p:spPr bwMode="auto">
                <a:xfrm>
                  <a:off x="2611493" y="3952420"/>
                  <a:ext cx="250099" cy="93231"/>
                </a:xfrm>
                <a:custGeom>
                  <a:avLst/>
                  <a:gdLst>
                    <a:gd name="T0" fmla="*/ 2147483647 w 183"/>
                    <a:gd name="T1" fmla="*/ 2147483647 h 63"/>
                    <a:gd name="T2" fmla="*/ 2147483647 w 183"/>
                    <a:gd name="T3" fmla="*/ 2147483647 h 63"/>
                    <a:gd name="T4" fmla="*/ 2147483647 w 183"/>
                    <a:gd name="T5" fmla="*/ 2147483647 h 63"/>
                    <a:gd name="T6" fmla="*/ 2147483647 w 183"/>
                    <a:gd name="T7" fmla="*/ 2147483647 h 63"/>
                    <a:gd name="T8" fmla="*/ 2147483647 w 183"/>
                    <a:gd name="T9" fmla="*/ 2147483647 h 63"/>
                    <a:gd name="T10" fmla="*/ 2147483647 w 183"/>
                    <a:gd name="T11" fmla="*/ 0 h 63"/>
                    <a:gd name="T12" fmla="*/ 2147483647 w 183"/>
                    <a:gd name="T13" fmla="*/ 0 h 63"/>
                    <a:gd name="T14" fmla="*/ 2147483647 w 183"/>
                    <a:gd name="T15" fmla="*/ 2147483647 h 63"/>
                    <a:gd name="T16" fmla="*/ 2147483647 w 183"/>
                    <a:gd name="T17" fmla="*/ 2147483647 h 63"/>
                    <a:gd name="T18" fmla="*/ 2147483647 w 183"/>
                    <a:gd name="T19" fmla="*/ 2147483647 h 63"/>
                    <a:gd name="T20" fmla="*/ 2147483647 w 183"/>
                    <a:gd name="T21" fmla="*/ 2147483647 h 63"/>
                    <a:gd name="T22" fmla="*/ 2147483647 w 183"/>
                    <a:gd name="T23" fmla="*/ 2147483647 h 63"/>
                    <a:gd name="T24" fmla="*/ 2147483647 w 183"/>
                    <a:gd name="T25" fmla="*/ 2147483647 h 63"/>
                    <a:gd name="T26" fmla="*/ 2147483647 w 183"/>
                    <a:gd name="T27" fmla="*/ 2147483647 h 63"/>
                    <a:gd name="T28" fmla="*/ 2147483647 w 183"/>
                    <a:gd name="T29" fmla="*/ 2147483647 h 63"/>
                    <a:gd name="T30" fmla="*/ 2147483647 w 183"/>
                    <a:gd name="T31" fmla="*/ 2147483647 h 63"/>
                    <a:gd name="T32" fmla="*/ 2147483647 w 183"/>
                    <a:gd name="T33" fmla="*/ 2147483647 h 63"/>
                    <a:gd name="T34" fmla="*/ 2147483647 w 183"/>
                    <a:gd name="T35" fmla="*/ 2147483647 h 63"/>
                    <a:gd name="T36" fmla="*/ 2147483647 w 183"/>
                    <a:gd name="T37" fmla="*/ 2147483647 h 63"/>
                    <a:gd name="T38" fmla="*/ 0 w 183"/>
                    <a:gd name="T39" fmla="*/ 2147483647 h 63"/>
                    <a:gd name="T40" fmla="*/ 0 w 183"/>
                    <a:gd name="T41" fmla="*/ 2147483647 h 63"/>
                    <a:gd name="T42" fmla="*/ 2147483647 w 183"/>
                    <a:gd name="T43" fmla="*/ 2147483647 h 63"/>
                    <a:gd name="T44" fmla="*/ 2147483647 w 183"/>
                    <a:gd name="T45" fmla="*/ 2147483647 h 63"/>
                    <a:gd name="T46" fmla="*/ 2147483647 w 183"/>
                    <a:gd name="T47" fmla="*/ 2147483647 h 63"/>
                    <a:gd name="T48" fmla="*/ 2147483647 w 183"/>
                    <a:gd name="T49" fmla="*/ 2147483647 h 63"/>
                    <a:gd name="T50" fmla="*/ 2147483647 w 183"/>
                    <a:gd name="T51" fmla="*/ 2147483647 h 63"/>
                    <a:gd name="T52" fmla="*/ 2147483647 w 183"/>
                    <a:gd name="T53" fmla="*/ 2147483647 h 63"/>
                    <a:gd name="T54" fmla="*/ 2147483647 w 183"/>
                    <a:gd name="T55" fmla="*/ 2147483647 h 63"/>
                    <a:gd name="T56" fmla="*/ 2147483647 w 183"/>
                    <a:gd name="T57" fmla="*/ 2147483647 h 63"/>
                    <a:gd name="T58" fmla="*/ 2147483647 w 183"/>
                    <a:gd name="T59" fmla="*/ 2147483647 h 63"/>
                    <a:gd name="T60" fmla="*/ 2147483647 w 183"/>
                    <a:gd name="T61" fmla="*/ 2147483647 h 63"/>
                    <a:gd name="T62" fmla="*/ 2147483647 w 183"/>
                    <a:gd name="T63" fmla="*/ 2147483647 h 63"/>
                    <a:gd name="T64" fmla="*/ 2147483647 w 183"/>
                    <a:gd name="T65" fmla="*/ 2147483647 h 63"/>
                    <a:gd name="T66" fmla="*/ 2147483647 w 183"/>
                    <a:gd name="T67" fmla="*/ 2147483647 h 63"/>
                    <a:gd name="T68" fmla="*/ 2147483647 w 183"/>
                    <a:gd name="T69" fmla="*/ 2147483647 h 63"/>
                    <a:gd name="T70" fmla="*/ 2147483647 w 183"/>
                    <a:gd name="T71" fmla="*/ 2147483647 h 63"/>
                    <a:gd name="T72" fmla="*/ 2147483647 w 183"/>
                    <a:gd name="T73" fmla="*/ 2147483647 h 63"/>
                    <a:gd name="T74" fmla="*/ 2147483647 w 183"/>
                    <a:gd name="T75" fmla="*/ 2147483647 h 63"/>
                    <a:gd name="T76" fmla="*/ 2147483647 w 183"/>
                    <a:gd name="T77" fmla="*/ 2147483647 h 63"/>
                    <a:gd name="T78" fmla="*/ 2147483647 w 183"/>
                    <a:gd name="T79" fmla="*/ 2147483647 h 63"/>
                    <a:gd name="T80" fmla="*/ 2147483647 w 183"/>
                    <a:gd name="T81" fmla="*/ 2147483647 h 63"/>
                    <a:gd name="T82" fmla="*/ 2147483647 w 183"/>
                    <a:gd name="T83" fmla="*/ 2147483647 h 63"/>
                    <a:gd name="T84" fmla="*/ 2147483647 w 183"/>
                    <a:gd name="T85" fmla="*/ 2147483647 h 63"/>
                    <a:gd name="T86" fmla="*/ 2147483647 w 183"/>
                    <a:gd name="T87" fmla="*/ 2147483647 h 63"/>
                    <a:gd name="T88" fmla="*/ 2147483647 w 183"/>
                    <a:gd name="T89" fmla="*/ 2147483647 h 63"/>
                    <a:gd name="T90" fmla="*/ 2147483647 w 183"/>
                    <a:gd name="T91" fmla="*/ 2147483647 h 63"/>
                    <a:gd name="T92" fmla="*/ 2147483647 w 183"/>
                    <a:gd name="T93" fmla="*/ 2147483647 h 63"/>
                    <a:gd name="T94" fmla="*/ 2147483647 w 183"/>
                    <a:gd name="T95" fmla="*/ 2147483647 h 63"/>
                    <a:gd name="T96" fmla="*/ 2147483647 w 183"/>
                    <a:gd name="T97" fmla="*/ 2147483647 h 63"/>
                    <a:gd name="T98" fmla="*/ 2147483647 w 183"/>
                    <a:gd name="T99" fmla="*/ 2147483647 h 63"/>
                    <a:gd name="T100" fmla="*/ 2147483647 w 183"/>
                    <a:gd name="T101" fmla="*/ 2147483647 h 63"/>
                    <a:gd name="T102" fmla="*/ 2147483647 w 183"/>
                    <a:gd name="T103" fmla="*/ 2147483647 h 63"/>
                    <a:gd name="T104" fmla="*/ 2147483647 w 183"/>
                    <a:gd name="T105" fmla="*/ 2147483647 h 63"/>
                    <a:gd name="T106" fmla="*/ 2147483647 w 183"/>
                    <a:gd name="T107" fmla="*/ 2147483647 h 63"/>
                    <a:gd name="T108" fmla="*/ 2147483647 w 183"/>
                    <a:gd name="T109" fmla="*/ 2147483647 h 63"/>
                    <a:gd name="T110" fmla="*/ 2147483647 w 183"/>
                    <a:gd name="T111" fmla="*/ 2147483647 h 63"/>
                    <a:gd name="T112" fmla="*/ 2147483647 w 183"/>
                    <a:gd name="T113" fmla="*/ 2147483647 h 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3"/>
                    <a:gd name="T172" fmla="*/ 0 h 63"/>
                    <a:gd name="T173" fmla="*/ 183 w 183"/>
                    <a:gd name="T174" fmla="*/ 63 h 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3" h="63">
                      <a:moveTo>
                        <a:pt x="135" y="30"/>
                      </a:moveTo>
                      <a:lnTo>
                        <a:pt x="135" y="30"/>
                      </a:lnTo>
                      <a:lnTo>
                        <a:pt x="128" y="26"/>
                      </a:lnTo>
                      <a:lnTo>
                        <a:pt x="126" y="24"/>
                      </a:lnTo>
                      <a:lnTo>
                        <a:pt x="123" y="24"/>
                      </a:lnTo>
                      <a:lnTo>
                        <a:pt x="117" y="23"/>
                      </a:lnTo>
                      <a:lnTo>
                        <a:pt x="112" y="22"/>
                      </a:lnTo>
                      <a:lnTo>
                        <a:pt x="108" y="19"/>
                      </a:lnTo>
                      <a:lnTo>
                        <a:pt x="104" y="16"/>
                      </a:lnTo>
                      <a:lnTo>
                        <a:pt x="97" y="7"/>
                      </a:lnTo>
                      <a:lnTo>
                        <a:pt x="89" y="0"/>
                      </a:lnTo>
                      <a:lnTo>
                        <a:pt x="86" y="0"/>
                      </a:lnTo>
                      <a:lnTo>
                        <a:pt x="85" y="0"/>
                      </a:lnTo>
                      <a:lnTo>
                        <a:pt x="80" y="3"/>
                      </a:lnTo>
                      <a:lnTo>
                        <a:pt x="76" y="4"/>
                      </a:lnTo>
                      <a:lnTo>
                        <a:pt x="73" y="5"/>
                      </a:lnTo>
                      <a:lnTo>
                        <a:pt x="65" y="3"/>
                      </a:lnTo>
                      <a:lnTo>
                        <a:pt x="62" y="3"/>
                      </a:lnTo>
                      <a:lnTo>
                        <a:pt x="59" y="1"/>
                      </a:lnTo>
                      <a:lnTo>
                        <a:pt x="51" y="3"/>
                      </a:lnTo>
                      <a:lnTo>
                        <a:pt x="43" y="4"/>
                      </a:lnTo>
                      <a:lnTo>
                        <a:pt x="38" y="3"/>
                      </a:lnTo>
                      <a:lnTo>
                        <a:pt x="34" y="1"/>
                      </a:lnTo>
                      <a:lnTo>
                        <a:pt x="28" y="1"/>
                      </a:lnTo>
                      <a:lnTo>
                        <a:pt x="22" y="4"/>
                      </a:lnTo>
                      <a:lnTo>
                        <a:pt x="17" y="7"/>
                      </a:lnTo>
                      <a:lnTo>
                        <a:pt x="10" y="13"/>
                      </a:lnTo>
                      <a:lnTo>
                        <a:pt x="9" y="14"/>
                      </a:lnTo>
                      <a:lnTo>
                        <a:pt x="5" y="16"/>
                      </a:lnTo>
                      <a:lnTo>
                        <a:pt x="3" y="18"/>
                      </a:lnTo>
                      <a:lnTo>
                        <a:pt x="0" y="19"/>
                      </a:lnTo>
                      <a:lnTo>
                        <a:pt x="0" y="22"/>
                      </a:lnTo>
                      <a:lnTo>
                        <a:pt x="4" y="23"/>
                      </a:lnTo>
                      <a:lnTo>
                        <a:pt x="9" y="23"/>
                      </a:lnTo>
                      <a:lnTo>
                        <a:pt x="18" y="23"/>
                      </a:lnTo>
                      <a:lnTo>
                        <a:pt x="38" y="11"/>
                      </a:lnTo>
                      <a:lnTo>
                        <a:pt x="42" y="10"/>
                      </a:lnTo>
                      <a:lnTo>
                        <a:pt x="46" y="11"/>
                      </a:lnTo>
                      <a:lnTo>
                        <a:pt x="51" y="12"/>
                      </a:lnTo>
                      <a:lnTo>
                        <a:pt x="56" y="14"/>
                      </a:lnTo>
                      <a:lnTo>
                        <a:pt x="59" y="17"/>
                      </a:lnTo>
                      <a:lnTo>
                        <a:pt x="62" y="17"/>
                      </a:lnTo>
                      <a:lnTo>
                        <a:pt x="69" y="14"/>
                      </a:lnTo>
                      <a:lnTo>
                        <a:pt x="71" y="13"/>
                      </a:lnTo>
                      <a:lnTo>
                        <a:pt x="74" y="13"/>
                      </a:lnTo>
                      <a:lnTo>
                        <a:pt x="76" y="14"/>
                      </a:lnTo>
                      <a:lnTo>
                        <a:pt x="78" y="16"/>
                      </a:lnTo>
                      <a:lnTo>
                        <a:pt x="81" y="22"/>
                      </a:lnTo>
                      <a:lnTo>
                        <a:pt x="86" y="25"/>
                      </a:lnTo>
                      <a:lnTo>
                        <a:pt x="90" y="28"/>
                      </a:lnTo>
                      <a:lnTo>
                        <a:pt x="95" y="28"/>
                      </a:lnTo>
                      <a:lnTo>
                        <a:pt x="103" y="29"/>
                      </a:lnTo>
                      <a:lnTo>
                        <a:pt x="107" y="30"/>
                      </a:lnTo>
                      <a:lnTo>
                        <a:pt x="108" y="31"/>
                      </a:lnTo>
                      <a:lnTo>
                        <a:pt x="116" y="38"/>
                      </a:lnTo>
                      <a:lnTo>
                        <a:pt x="121" y="43"/>
                      </a:lnTo>
                      <a:lnTo>
                        <a:pt x="127" y="45"/>
                      </a:lnTo>
                      <a:lnTo>
                        <a:pt x="136" y="49"/>
                      </a:lnTo>
                      <a:lnTo>
                        <a:pt x="137" y="50"/>
                      </a:lnTo>
                      <a:lnTo>
                        <a:pt x="136" y="52"/>
                      </a:lnTo>
                      <a:lnTo>
                        <a:pt x="133" y="55"/>
                      </a:lnTo>
                      <a:lnTo>
                        <a:pt x="131" y="57"/>
                      </a:lnTo>
                      <a:lnTo>
                        <a:pt x="131" y="60"/>
                      </a:lnTo>
                      <a:lnTo>
                        <a:pt x="131" y="61"/>
                      </a:lnTo>
                      <a:lnTo>
                        <a:pt x="133" y="61"/>
                      </a:lnTo>
                      <a:lnTo>
                        <a:pt x="146" y="62"/>
                      </a:lnTo>
                      <a:lnTo>
                        <a:pt x="160" y="63"/>
                      </a:lnTo>
                      <a:lnTo>
                        <a:pt x="168" y="63"/>
                      </a:lnTo>
                      <a:lnTo>
                        <a:pt x="173" y="62"/>
                      </a:lnTo>
                      <a:lnTo>
                        <a:pt x="179" y="61"/>
                      </a:lnTo>
                      <a:lnTo>
                        <a:pt x="183" y="56"/>
                      </a:lnTo>
                      <a:lnTo>
                        <a:pt x="183" y="55"/>
                      </a:lnTo>
                      <a:lnTo>
                        <a:pt x="183" y="54"/>
                      </a:lnTo>
                      <a:lnTo>
                        <a:pt x="179" y="51"/>
                      </a:lnTo>
                      <a:lnTo>
                        <a:pt x="174" y="50"/>
                      </a:lnTo>
                      <a:lnTo>
                        <a:pt x="169" y="50"/>
                      </a:lnTo>
                      <a:lnTo>
                        <a:pt x="168" y="50"/>
                      </a:lnTo>
                      <a:lnTo>
                        <a:pt x="166" y="49"/>
                      </a:lnTo>
                      <a:lnTo>
                        <a:pt x="163" y="43"/>
                      </a:lnTo>
                      <a:lnTo>
                        <a:pt x="160" y="41"/>
                      </a:lnTo>
                      <a:lnTo>
                        <a:pt x="156" y="39"/>
                      </a:lnTo>
                      <a:lnTo>
                        <a:pt x="151" y="39"/>
                      </a:lnTo>
                      <a:lnTo>
                        <a:pt x="145" y="41"/>
                      </a:lnTo>
                      <a:lnTo>
                        <a:pt x="144" y="39"/>
                      </a:lnTo>
                      <a:lnTo>
                        <a:pt x="142" y="39"/>
                      </a:lnTo>
                      <a:lnTo>
                        <a:pt x="140" y="36"/>
                      </a:lnTo>
                      <a:lnTo>
                        <a:pt x="137" y="32"/>
                      </a:lnTo>
                      <a:lnTo>
                        <a:pt x="135" y="3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7" name="Freeform 556"/>
                <p:cNvSpPr>
                  <a:spLocks/>
                </p:cNvSpPr>
                <p:nvPr/>
              </p:nvSpPr>
              <p:spPr bwMode="auto">
                <a:xfrm>
                  <a:off x="3090972" y="3653489"/>
                  <a:ext cx="14799" cy="14799"/>
                </a:xfrm>
                <a:custGeom>
                  <a:avLst/>
                  <a:gdLst>
                    <a:gd name="T0" fmla="*/ 2147483647 w 11"/>
                    <a:gd name="T1" fmla="*/ 2147483647 h 10"/>
                    <a:gd name="T2" fmla="*/ 2147483647 w 11"/>
                    <a:gd name="T3" fmla="*/ 2147483647 h 10"/>
                    <a:gd name="T4" fmla="*/ 2147483647 w 11"/>
                    <a:gd name="T5" fmla="*/ 2147483647 h 10"/>
                    <a:gd name="T6" fmla="*/ 2147483647 w 11"/>
                    <a:gd name="T7" fmla="*/ 0 h 10"/>
                    <a:gd name="T8" fmla="*/ 2147483647 w 11"/>
                    <a:gd name="T9" fmla="*/ 0 h 10"/>
                    <a:gd name="T10" fmla="*/ 2147483647 w 11"/>
                    <a:gd name="T11" fmla="*/ 0 h 10"/>
                    <a:gd name="T12" fmla="*/ 2147483647 w 11"/>
                    <a:gd name="T13" fmla="*/ 2147483647 h 10"/>
                    <a:gd name="T14" fmla="*/ 2147483647 w 11"/>
                    <a:gd name="T15" fmla="*/ 2147483647 h 10"/>
                    <a:gd name="T16" fmla="*/ 2147483647 w 11"/>
                    <a:gd name="T17" fmla="*/ 2147483647 h 10"/>
                    <a:gd name="T18" fmla="*/ 2147483647 w 11"/>
                    <a:gd name="T19" fmla="*/ 2147483647 h 10"/>
                    <a:gd name="T20" fmla="*/ 2147483647 w 11"/>
                    <a:gd name="T21" fmla="*/ 2147483647 h 10"/>
                    <a:gd name="T22" fmla="*/ 2147483647 w 11"/>
                    <a:gd name="T23" fmla="*/ 2147483647 h 10"/>
                    <a:gd name="T24" fmla="*/ 2147483647 w 11"/>
                    <a:gd name="T25" fmla="*/ 2147483647 h 10"/>
                    <a:gd name="T26" fmla="*/ 0 w 11"/>
                    <a:gd name="T27" fmla="*/ 2147483647 h 10"/>
                    <a:gd name="T28" fmla="*/ 2147483647 w 11"/>
                    <a:gd name="T29" fmla="*/ 2147483647 h 10"/>
                    <a:gd name="T30" fmla="*/ 2147483647 w 11"/>
                    <a:gd name="T31" fmla="*/ 2147483647 h 10"/>
                    <a:gd name="T32" fmla="*/ 2147483647 w 11"/>
                    <a:gd name="T33" fmla="*/ 2147483647 h 10"/>
                    <a:gd name="T34" fmla="*/ 2147483647 w 11"/>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0"/>
                    <a:gd name="T56" fmla="*/ 11 w 11"/>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0">
                      <a:moveTo>
                        <a:pt x="6" y="2"/>
                      </a:moveTo>
                      <a:lnTo>
                        <a:pt x="6" y="2"/>
                      </a:lnTo>
                      <a:lnTo>
                        <a:pt x="9" y="1"/>
                      </a:lnTo>
                      <a:lnTo>
                        <a:pt x="9" y="0"/>
                      </a:lnTo>
                      <a:lnTo>
                        <a:pt x="10" y="0"/>
                      </a:lnTo>
                      <a:lnTo>
                        <a:pt x="11" y="2"/>
                      </a:lnTo>
                      <a:lnTo>
                        <a:pt x="11" y="4"/>
                      </a:lnTo>
                      <a:lnTo>
                        <a:pt x="9" y="8"/>
                      </a:lnTo>
                      <a:lnTo>
                        <a:pt x="5" y="10"/>
                      </a:lnTo>
                      <a:lnTo>
                        <a:pt x="3" y="10"/>
                      </a:lnTo>
                      <a:lnTo>
                        <a:pt x="1" y="10"/>
                      </a:lnTo>
                      <a:lnTo>
                        <a:pt x="0" y="8"/>
                      </a:lnTo>
                      <a:lnTo>
                        <a:pt x="1" y="5"/>
                      </a:lnTo>
                      <a:lnTo>
                        <a:pt x="2" y="3"/>
                      </a:lnTo>
                      <a:lnTo>
                        <a:pt x="6"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8" name="Freeform 557"/>
                <p:cNvSpPr>
                  <a:spLocks/>
                </p:cNvSpPr>
                <p:nvPr/>
              </p:nvSpPr>
              <p:spPr bwMode="auto">
                <a:xfrm>
                  <a:off x="3048057" y="4064892"/>
                  <a:ext cx="4439" cy="5919"/>
                </a:xfrm>
                <a:custGeom>
                  <a:avLst/>
                  <a:gdLst>
                    <a:gd name="T0" fmla="*/ 0 w 3"/>
                    <a:gd name="T1" fmla="*/ 2147483647 h 4"/>
                    <a:gd name="T2" fmla="*/ 2147483647 w 3"/>
                    <a:gd name="T3" fmla="*/ 0 h 4"/>
                    <a:gd name="T4" fmla="*/ 2147483647 w 3"/>
                    <a:gd name="T5" fmla="*/ 2147483647 h 4"/>
                    <a:gd name="T6" fmla="*/ 2147483647 w 3"/>
                    <a:gd name="T7" fmla="*/ 2147483647 h 4"/>
                    <a:gd name="T8" fmla="*/ 0 w 3"/>
                    <a:gd name="T9" fmla="*/ 2147483647 h 4"/>
                    <a:gd name="T10" fmla="*/ 0 w 3"/>
                    <a:gd name="T11" fmla="*/ 2147483647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1"/>
                      </a:moveTo>
                      <a:lnTo>
                        <a:pt x="1" y="0"/>
                      </a:lnTo>
                      <a:lnTo>
                        <a:pt x="3" y="1"/>
                      </a:lnTo>
                      <a:lnTo>
                        <a:pt x="3" y="4"/>
                      </a:lnTo>
                      <a:lnTo>
                        <a:pt x="0" y="4"/>
                      </a:lnTo>
                      <a:lnTo>
                        <a:pt x="0"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59" name="Freeform 558"/>
                <p:cNvSpPr>
                  <a:spLocks/>
                </p:cNvSpPr>
                <p:nvPr/>
              </p:nvSpPr>
              <p:spPr bwMode="auto">
                <a:xfrm>
                  <a:off x="2457587" y="4627245"/>
                  <a:ext cx="17758" cy="14799"/>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0 h 10"/>
                    <a:gd name="T10" fmla="*/ 2147483647 w 13"/>
                    <a:gd name="T11" fmla="*/ 0 h 10"/>
                    <a:gd name="T12" fmla="*/ 2147483647 w 13"/>
                    <a:gd name="T13" fmla="*/ 2147483647 h 10"/>
                    <a:gd name="T14" fmla="*/ 0 w 13"/>
                    <a:gd name="T15" fmla="*/ 2147483647 h 10"/>
                    <a:gd name="T16" fmla="*/ 0 w 13"/>
                    <a:gd name="T17" fmla="*/ 2147483647 h 10"/>
                    <a:gd name="T18" fmla="*/ 2147483647 w 13"/>
                    <a:gd name="T19" fmla="*/ 2147483647 h 10"/>
                    <a:gd name="T20" fmla="*/ 2147483647 w 13"/>
                    <a:gd name="T21" fmla="*/ 2147483647 h 10"/>
                    <a:gd name="T22" fmla="*/ 2147483647 w 13"/>
                    <a:gd name="T23" fmla="*/ 2147483647 h 10"/>
                    <a:gd name="T24" fmla="*/ 2147483647 w 13"/>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0"/>
                    <a:gd name="T41" fmla="*/ 13 w 13"/>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0">
                      <a:moveTo>
                        <a:pt x="8" y="8"/>
                      </a:moveTo>
                      <a:lnTo>
                        <a:pt x="12" y="5"/>
                      </a:lnTo>
                      <a:lnTo>
                        <a:pt x="13" y="4"/>
                      </a:lnTo>
                      <a:lnTo>
                        <a:pt x="13" y="2"/>
                      </a:lnTo>
                      <a:lnTo>
                        <a:pt x="9" y="0"/>
                      </a:lnTo>
                      <a:lnTo>
                        <a:pt x="5" y="0"/>
                      </a:lnTo>
                      <a:lnTo>
                        <a:pt x="2" y="1"/>
                      </a:lnTo>
                      <a:lnTo>
                        <a:pt x="0" y="5"/>
                      </a:lnTo>
                      <a:lnTo>
                        <a:pt x="0" y="8"/>
                      </a:lnTo>
                      <a:lnTo>
                        <a:pt x="2" y="9"/>
                      </a:lnTo>
                      <a:lnTo>
                        <a:pt x="3" y="10"/>
                      </a:lnTo>
                      <a:lnTo>
                        <a:pt x="5" y="9"/>
                      </a:lnTo>
                      <a:lnTo>
                        <a:pt x="8"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0" name="Freeform 559"/>
                <p:cNvSpPr>
                  <a:spLocks/>
                </p:cNvSpPr>
                <p:nvPr/>
              </p:nvSpPr>
              <p:spPr bwMode="auto">
                <a:xfrm>
                  <a:off x="3046579" y="4063412"/>
                  <a:ext cx="2960" cy="4440"/>
                </a:xfrm>
                <a:custGeom>
                  <a:avLst/>
                  <a:gdLst>
                    <a:gd name="T0" fmla="*/ 0 w 2"/>
                    <a:gd name="T1" fmla="*/ 2147483647 h 3"/>
                    <a:gd name="T2" fmla="*/ 0 w 2"/>
                    <a:gd name="T3" fmla="*/ 2147483647 h 3"/>
                    <a:gd name="T4" fmla="*/ 2147483647 w 2"/>
                    <a:gd name="T5" fmla="*/ 0 h 3"/>
                    <a:gd name="T6" fmla="*/ 2147483647 w 2"/>
                    <a:gd name="T7" fmla="*/ 0 h 3"/>
                    <a:gd name="T8" fmla="*/ 2147483647 w 2"/>
                    <a:gd name="T9" fmla="*/ 2147483647 h 3"/>
                    <a:gd name="T10" fmla="*/ 2147483647 w 2"/>
                    <a:gd name="T11" fmla="*/ 2147483647 h 3"/>
                    <a:gd name="T12" fmla="*/ 2147483647 w 2"/>
                    <a:gd name="T13" fmla="*/ 2147483647 h 3"/>
                    <a:gd name="T14" fmla="*/ 2147483647 w 2"/>
                    <a:gd name="T15" fmla="*/ 2147483647 h 3"/>
                    <a:gd name="T16" fmla="*/ 2147483647 w 2"/>
                    <a:gd name="T17" fmla="*/ 2147483647 h 3"/>
                    <a:gd name="T18" fmla="*/ 0 w 2"/>
                    <a:gd name="T19" fmla="*/ 2147483647 h 3"/>
                    <a:gd name="T20" fmla="*/ 0 w 2"/>
                    <a:gd name="T21" fmla="*/ 2147483647 h 3"/>
                    <a:gd name="T22" fmla="*/ 0 w 2"/>
                    <a:gd name="T23" fmla="*/ 2147483647 h 3"/>
                    <a:gd name="T24" fmla="*/ 0 w 2"/>
                    <a:gd name="T25" fmla="*/ 2147483647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
                    <a:gd name="T40" fmla="*/ 0 h 3"/>
                    <a:gd name="T41" fmla="*/ 2 w 2"/>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 h="3">
                      <a:moveTo>
                        <a:pt x="0" y="1"/>
                      </a:moveTo>
                      <a:lnTo>
                        <a:pt x="0" y="1"/>
                      </a:lnTo>
                      <a:lnTo>
                        <a:pt x="1" y="0"/>
                      </a:lnTo>
                      <a:lnTo>
                        <a:pt x="2" y="1"/>
                      </a:lnTo>
                      <a:lnTo>
                        <a:pt x="2" y="3"/>
                      </a:lnTo>
                      <a:lnTo>
                        <a:pt x="0" y="3"/>
                      </a:lnTo>
                      <a:lnTo>
                        <a:pt x="0"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1" name="Freeform 560"/>
                <p:cNvSpPr>
                  <a:spLocks/>
                </p:cNvSpPr>
                <p:nvPr/>
              </p:nvSpPr>
              <p:spPr bwMode="auto">
                <a:xfrm>
                  <a:off x="2457587" y="4624281"/>
                  <a:ext cx="17758" cy="16278"/>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0 h 11"/>
                    <a:gd name="T14" fmla="*/ 2147483647 w 13"/>
                    <a:gd name="T15" fmla="*/ 0 h 11"/>
                    <a:gd name="T16" fmla="*/ 2147483647 w 13"/>
                    <a:gd name="T17" fmla="*/ 2147483647 h 11"/>
                    <a:gd name="T18" fmla="*/ 0 w 13"/>
                    <a:gd name="T19" fmla="*/ 2147483647 h 11"/>
                    <a:gd name="T20" fmla="*/ 0 w 13"/>
                    <a:gd name="T21" fmla="*/ 2147483647 h 11"/>
                    <a:gd name="T22" fmla="*/ 0 w 13"/>
                    <a:gd name="T23" fmla="*/ 2147483647 h 11"/>
                    <a:gd name="T24" fmla="*/ 2147483647 w 13"/>
                    <a:gd name="T25" fmla="*/ 2147483647 h 11"/>
                    <a:gd name="T26" fmla="*/ 2147483647 w 13"/>
                    <a:gd name="T27" fmla="*/ 2147483647 h 11"/>
                    <a:gd name="T28" fmla="*/ 2147483647 w 13"/>
                    <a:gd name="T29" fmla="*/ 2147483647 h 11"/>
                    <a:gd name="T30" fmla="*/ 2147483647 w 13"/>
                    <a:gd name="T31" fmla="*/ 2147483647 h 11"/>
                    <a:gd name="T32" fmla="*/ 2147483647 w 13"/>
                    <a:gd name="T33" fmla="*/ 2147483647 h 11"/>
                    <a:gd name="T34" fmla="*/ 2147483647 w 13"/>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1"/>
                    <a:gd name="T56" fmla="*/ 13 w 13"/>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1">
                      <a:moveTo>
                        <a:pt x="8" y="9"/>
                      </a:moveTo>
                      <a:lnTo>
                        <a:pt x="8" y="9"/>
                      </a:lnTo>
                      <a:lnTo>
                        <a:pt x="12" y="6"/>
                      </a:lnTo>
                      <a:lnTo>
                        <a:pt x="13" y="5"/>
                      </a:lnTo>
                      <a:lnTo>
                        <a:pt x="13" y="3"/>
                      </a:lnTo>
                      <a:lnTo>
                        <a:pt x="9" y="0"/>
                      </a:lnTo>
                      <a:lnTo>
                        <a:pt x="5" y="0"/>
                      </a:lnTo>
                      <a:lnTo>
                        <a:pt x="1" y="2"/>
                      </a:lnTo>
                      <a:lnTo>
                        <a:pt x="0" y="6"/>
                      </a:lnTo>
                      <a:lnTo>
                        <a:pt x="0" y="9"/>
                      </a:lnTo>
                      <a:lnTo>
                        <a:pt x="1" y="10"/>
                      </a:lnTo>
                      <a:lnTo>
                        <a:pt x="3" y="11"/>
                      </a:lnTo>
                      <a:lnTo>
                        <a:pt x="5" y="10"/>
                      </a:lnTo>
                      <a:lnTo>
                        <a:pt x="8"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2" name="Freeform 561"/>
                <p:cNvSpPr>
                  <a:spLocks/>
                </p:cNvSpPr>
                <p:nvPr/>
              </p:nvSpPr>
              <p:spPr bwMode="auto">
                <a:xfrm>
                  <a:off x="2462028" y="4646479"/>
                  <a:ext cx="19238" cy="13319"/>
                </a:xfrm>
                <a:custGeom>
                  <a:avLst/>
                  <a:gdLst>
                    <a:gd name="T0" fmla="*/ 2147483647 w 14"/>
                    <a:gd name="T1" fmla="*/ 2147483647 h 9"/>
                    <a:gd name="T2" fmla="*/ 2147483647 w 14"/>
                    <a:gd name="T3" fmla="*/ 2147483647 h 9"/>
                    <a:gd name="T4" fmla="*/ 2147483647 w 14"/>
                    <a:gd name="T5" fmla="*/ 2147483647 h 9"/>
                    <a:gd name="T6" fmla="*/ 2147483647 w 14"/>
                    <a:gd name="T7" fmla="*/ 2147483647 h 9"/>
                    <a:gd name="T8" fmla="*/ 2147483647 w 14"/>
                    <a:gd name="T9" fmla="*/ 0 h 9"/>
                    <a:gd name="T10" fmla="*/ 2147483647 w 14"/>
                    <a:gd name="T11" fmla="*/ 2147483647 h 9"/>
                    <a:gd name="T12" fmla="*/ 0 w 14"/>
                    <a:gd name="T13" fmla="*/ 2147483647 h 9"/>
                    <a:gd name="T14" fmla="*/ 0 w 14"/>
                    <a:gd name="T15" fmla="*/ 2147483647 h 9"/>
                    <a:gd name="T16" fmla="*/ 0 w 14"/>
                    <a:gd name="T17" fmla="*/ 2147483647 h 9"/>
                    <a:gd name="T18" fmla="*/ 2147483647 w 14"/>
                    <a:gd name="T19" fmla="*/ 2147483647 h 9"/>
                    <a:gd name="T20" fmla="*/ 2147483647 w 14"/>
                    <a:gd name="T21" fmla="*/ 2147483647 h 9"/>
                    <a:gd name="T22" fmla="*/ 2147483647 w 14"/>
                    <a:gd name="T23" fmla="*/ 2147483647 h 9"/>
                    <a:gd name="T24" fmla="*/ 2147483647 w 14"/>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9"/>
                    <a:gd name="T41" fmla="*/ 14 w 14"/>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9">
                      <a:moveTo>
                        <a:pt x="9" y="5"/>
                      </a:moveTo>
                      <a:lnTo>
                        <a:pt x="13" y="3"/>
                      </a:lnTo>
                      <a:lnTo>
                        <a:pt x="14" y="2"/>
                      </a:lnTo>
                      <a:lnTo>
                        <a:pt x="13" y="1"/>
                      </a:lnTo>
                      <a:lnTo>
                        <a:pt x="6" y="0"/>
                      </a:lnTo>
                      <a:lnTo>
                        <a:pt x="2" y="1"/>
                      </a:lnTo>
                      <a:lnTo>
                        <a:pt x="0" y="2"/>
                      </a:lnTo>
                      <a:lnTo>
                        <a:pt x="0" y="3"/>
                      </a:lnTo>
                      <a:lnTo>
                        <a:pt x="0" y="4"/>
                      </a:lnTo>
                      <a:lnTo>
                        <a:pt x="2" y="8"/>
                      </a:lnTo>
                      <a:lnTo>
                        <a:pt x="4" y="9"/>
                      </a:lnTo>
                      <a:lnTo>
                        <a:pt x="5" y="8"/>
                      </a:lnTo>
                      <a:lnTo>
                        <a:pt x="9"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3" name="Freeform 562"/>
                <p:cNvSpPr>
                  <a:spLocks/>
                </p:cNvSpPr>
                <p:nvPr/>
              </p:nvSpPr>
              <p:spPr bwMode="auto">
                <a:xfrm>
                  <a:off x="2460546" y="4643523"/>
                  <a:ext cx="19239" cy="14799"/>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2147483647 h 10"/>
                    <a:gd name="T12" fmla="*/ 2147483647 w 14"/>
                    <a:gd name="T13" fmla="*/ 0 h 10"/>
                    <a:gd name="T14" fmla="*/ 2147483647 w 14"/>
                    <a:gd name="T15" fmla="*/ 2147483647 h 10"/>
                    <a:gd name="T16" fmla="*/ 0 w 14"/>
                    <a:gd name="T17" fmla="*/ 2147483647 h 10"/>
                    <a:gd name="T18" fmla="*/ 0 w 14"/>
                    <a:gd name="T19" fmla="*/ 2147483647 h 10"/>
                    <a:gd name="T20" fmla="*/ 0 w 14"/>
                    <a:gd name="T21" fmla="*/ 2147483647 h 10"/>
                    <a:gd name="T22" fmla="*/ 0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0"/>
                    <a:gd name="T56" fmla="*/ 14 w 14"/>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0">
                      <a:moveTo>
                        <a:pt x="9" y="6"/>
                      </a:moveTo>
                      <a:lnTo>
                        <a:pt x="9" y="6"/>
                      </a:lnTo>
                      <a:lnTo>
                        <a:pt x="12" y="4"/>
                      </a:lnTo>
                      <a:lnTo>
                        <a:pt x="14" y="3"/>
                      </a:lnTo>
                      <a:lnTo>
                        <a:pt x="12" y="2"/>
                      </a:lnTo>
                      <a:lnTo>
                        <a:pt x="6" y="0"/>
                      </a:lnTo>
                      <a:lnTo>
                        <a:pt x="2" y="2"/>
                      </a:lnTo>
                      <a:lnTo>
                        <a:pt x="0" y="3"/>
                      </a:lnTo>
                      <a:lnTo>
                        <a:pt x="0" y="4"/>
                      </a:lnTo>
                      <a:lnTo>
                        <a:pt x="0" y="5"/>
                      </a:lnTo>
                      <a:lnTo>
                        <a:pt x="2" y="9"/>
                      </a:lnTo>
                      <a:lnTo>
                        <a:pt x="3" y="10"/>
                      </a:lnTo>
                      <a:lnTo>
                        <a:pt x="5" y="9"/>
                      </a:lnTo>
                      <a:lnTo>
                        <a:pt x="9"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4" name="Freeform 563"/>
                <p:cNvSpPr>
                  <a:spLocks/>
                </p:cNvSpPr>
                <p:nvPr/>
              </p:nvSpPr>
              <p:spPr bwMode="auto">
                <a:xfrm>
                  <a:off x="3176808" y="6218103"/>
                  <a:ext cx="38477" cy="36997"/>
                </a:xfrm>
                <a:custGeom>
                  <a:avLst/>
                  <a:gdLst>
                    <a:gd name="T0" fmla="*/ 2147483647 w 28"/>
                    <a:gd name="T1" fmla="*/ 2147483647 h 25"/>
                    <a:gd name="T2" fmla="*/ 2147483647 w 28"/>
                    <a:gd name="T3" fmla="*/ 2147483647 h 25"/>
                    <a:gd name="T4" fmla="*/ 0 w 28"/>
                    <a:gd name="T5" fmla="*/ 2147483647 h 25"/>
                    <a:gd name="T6" fmla="*/ 0 w 28"/>
                    <a:gd name="T7" fmla="*/ 2147483647 h 25"/>
                    <a:gd name="T8" fmla="*/ 0 w 28"/>
                    <a:gd name="T9" fmla="*/ 2147483647 h 25"/>
                    <a:gd name="T10" fmla="*/ 2147483647 w 28"/>
                    <a:gd name="T11" fmla="*/ 2147483647 h 25"/>
                    <a:gd name="T12" fmla="*/ 2147483647 w 28"/>
                    <a:gd name="T13" fmla="*/ 2147483647 h 25"/>
                    <a:gd name="T14" fmla="*/ 2147483647 w 28"/>
                    <a:gd name="T15" fmla="*/ 2147483647 h 25"/>
                    <a:gd name="T16" fmla="*/ 2147483647 w 28"/>
                    <a:gd name="T17" fmla="*/ 2147483647 h 25"/>
                    <a:gd name="T18" fmla="*/ 2147483647 w 28"/>
                    <a:gd name="T19" fmla="*/ 2147483647 h 25"/>
                    <a:gd name="T20" fmla="*/ 2147483647 w 28"/>
                    <a:gd name="T21" fmla="*/ 2147483647 h 25"/>
                    <a:gd name="T22" fmla="*/ 2147483647 w 28"/>
                    <a:gd name="T23" fmla="*/ 2147483647 h 25"/>
                    <a:gd name="T24" fmla="*/ 2147483647 w 28"/>
                    <a:gd name="T25" fmla="*/ 2147483647 h 25"/>
                    <a:gd name="T26" fmla="*/ 2147483647 w 28"/>
                    <a:gd name="T27" fmla="*/ 2147483647 h 25"/>
                    <a:gd name="T28" fmla="*/ 2147483647 w 28"/>
                    <a:gd name="T29" fmla="*/ 0 h 25"/>
                    <a:gd name="T30" fmla="*/ 2147483647 w 28"/>
                    <a:gd name="T31" fmla="*/ 0 h 25"/>
                    <a:gd name="T32" fmla="*/ 2147483647 w 28"/>
                    <a:gd name="T33" fmla="*/ 0 h 25"/>
                    <a:gd name="T34" fmla="*/ 2147483647 w 28"/>
                    <a:gd name="T35" fmla="*/ 2147483647 h 25"/>
                    <a:gd name="T36" fmla="*/ 2147483647 w 28"/>
                    <a:gd name="T37" fmla="*/ 2147483647 h 25"/>
                    <a:gd name="T38" fmla="*/ 2147483647 w 28"/>
                    <a:gd name="T39" fmla="*/ 2147483647 h 25"/>
                    <a:gd name="T40" fmla="*/ 2147483647 w 28"/>
                    <a:gd name="T41" fmla="*/ 2147483647 h 25"/>
                    <a:gd name="T42" fmla="*/ 2147483647 w 28"/>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5"/>
                    <a:gd name="T68" fmla="*/ 28 w 28"/>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5">
                      <a:moveTo>
                        <a:pt x="5" y="16"/>
                      </a:moveTo>
                      <a:lnTo>
                        <a:pt x="1" y="19"/>
                      </a:lnTo>
                      <a:lnTo>
                        <a:pt x="0" y="22"/>
                      </a:lnTo>
                      <a:lnTo>
                        <a:pt x="0" y="24"/>
                      </a:lnTo>
                      <a:lnTo>
                        <a:pt x="0" y="25"/>
                      </a:lnTo>
                      <a:lnTo>
                        <a:pt x="3" y="25"/>
                      </a:lnTo>
                      <a:lnTo>
                        <a:pt x="5" y="25"/>
                      </a:lnTo>
                      <a:lnTo>
                        <a:pt x="6" y="25"/>
                      </a:lnTo>
                      <a:lnTo>
                        <a:pt x="8" y="24"/>
                      </a:lnTo>
                      <a:lnTo>
                        <a:pt x="12" y="20"/>
                      </a:lnTo>
                      <a:lnTo>
                        <a:pt x="18" y="16"/>
                      </a:lnTo>
                      <a:lnTo>
                        <a:pt x="22" y="12"/>
                      </a:lnTo>
                      <a:lnTo>
                        <a:pt x="26" y="7"/>
                      </a:lnTo>
                      <a:lnTo>
                        <a:pt x="28" y="2"/>
                      </a:lnTo>
                      <a:lnTo>
                        <a:pt x="26" y="0"/>
                      </a:lnTo>
                      <a:lnTo>
                        <a:pt x="24" y="0"/>
                      </a:lnTo>
                      <a:lnTo>
                        <a:pt x="22" y="0"/>
                      </a:lnTo>
                      <a:lnTo>
                        <a:pt x="19" y="3"/>
                      </a:lnTo>
                      <a:lnTo>
                        <a:pt x="15" y="6"/>
                      </a:lnTo>
                      <a:lnTo>
                        <a:pt x="13" y="8"/>
                      </a:lnTo>
                      <a:lnTo>
                        <a:pt x="8" y="15"/>
                      </a:lnTo>
                      <a:lnTo>
                        <a:pt x="5"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5" name="Freeform 564"/>
                <p:cNvSpPr>
                  <a:spLocks/>
                </p:cNvSpPr>
                <p:nvPr/>
              </p:nvSpPr>
              <p:spPr bwMode="auto">
                <a:xfrm>
                  <a:off x="681741" y="3937620"/>
                  <a:ext cx="8879" cy="5919"/>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2147483647 w 6"/>
                    <a:gd name="T9" fmla="*/ 2147483647 h 4"/>
                    <a:gd name="T10" fmla="*/ 0 w 6"/>
                    <a:gd name="T11" fmla="*/ 2147483647 h 4"/>
                    <a:gd name="T12" fmla="*/ 0 w 6"/>
                    <a:gd name="T13" fmla="*/ 2147483647 h 4"/>
                    <a:gd name="T14" fmla="*/ 2147483647 w 6"/>
                    <a:gd name="T15" fmla="*/ 2147483647 h 4"/>
                    <a:gd name="T16" fmla="*/ 2147483647 w 6"/>
                    <a:gd name="T17" fmla="*/ 0 h 4"/>
                    <a:gd name="T18" fmla="*/ 2147483647 w 6"/>
                    <a:gd name="T19" fmla="*/ 2147483647 h 4"/>
                    <a:gd name="T20" fmla="*/ 2147483647 w 6"/>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4"/>
                    <a:gd name="T35" fmla="*/ 6 w 6"/>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4">
                      <a:moveTo>
                        <a:pt x="5" y="2"/>
                      </a:moveTo>
                      <a:lnTo>
                        <a:pt x="6" y="3"/>
                      </a:lnTo>
                      <a:lnTo>
                        <a:pt x="6" y="4"/>
                      </a:lnTo>
                      <a:lnTo>
                        <a:pt x="4" y="4"/>
                      </a:lnTo>
                      <a:lnTo>
                        <a:pt x="1" y="4"/>
                      </a:lnTo>
                      <a:lnTo>
                        <a:pt x="0" y="3"/>
                      </a:lnTo>
                      <a:lnTo>
                        <a:pt x="0" y="2"/>
                      </a:lnTo>
                      <a:lnTo>
                        <a:pt x="1" y="1"/>
                      </a:lnTo>
                      <a:lnTo>
                        <a:pt x="3" y="0"/>
                      </a:lnTo>
                      <a:lnTo>
                        <a:pt x="3" y="1"/>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6" name="Freeform 565"/>
                <p:cNvSpPr>
                  <a:spLocks/>
                </p:cNvSpPr>
                <p:nvPr/>
              </p:nvSpPr>
              <p:spPr bwMode="auto">
                <a:xfrm>
                  <a:off x="681740" y="3934665"/>
                  <a:ext cx="7400" cy="7399"/>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2147483647 w 6"/>
                    <a:gd name="T19" fmla="*/ 2147483647 h 5"/>
                    <a:gd name="T20" fmla="*/ 2147483647 w 6"/>
                    <a:gd name="T21" fmla="*/ 2147483647 h 5"/>
                    <a:gd name="T22" fmla="*/ 2147483647 w 6"/>
                    <a:gd name="T23" fmla="*/ 0 h 5"/>
                    <a:gd name="T24" fmla="*/ 2147483647 w 6"/>
                    <a:gd name="T25" fmla="*/ 2147483647 h 5"/>
                    <a:gd name="T26" fmla="*/ 2147483647 w 6"/>
                    <a:gd name="T27" fmla="*/ 2147483647 h 5"/>
                    <a:gd name="T28" fmla="*/ 2147483647 w 6"/>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5" y="3"/>
                      </a:moveTo>
                      <a:lnTo>
                        <a:pt x="5" y="3"/>
                      </a:lnTo>
                      <a:lnTo>
                        <a:pt x="6" y="4"/>
                      </a:lnTo>
                      <a:lnTo>
                        <a:pt x="6" y="5"/>
                      </a:lnTo>
                      <a:lnTo>
                        <a:pt x="4" y="5"/>
                      </a:lnTo>
                      <a:lnTo>
                        <a:pt x="1" y="5"/>
                      </a:lnTo>
                      <a:lnTo>
                        <a:pt x="0" y="4"/>
                      </a:lnTo>
                      <a:lnTo>
                        <a:pt x="0" y="3"/>
                      </a:lnTo>
                      <a:lnTo>
                        <a:pt x="1" y="2"/>
                      </a:lnTo>
                      <a:lnTo>
                        <a:pt x="2" y="0"/>
                      </a:lnTo>
                      <a:lnTo>
                        <a:pt x="2" y="2"/>
                      </a:lnTo>
                      <a:lnTo>
                        <a:pt x="5"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7" name="Freeform 566"/>
                <p:cNvSpPr>
                  <a:spLocks/>
                </p:cNvSpPr>
                <p:nvPr/>
              </p:nvSpPr>
              <p:spPr bwMode="auto">
                <a:xfrm>
                  <a:off x="726136" y="3937621"/>
                  <a:ext cx="7400" cy="4439"/>
                </a:xfrm>
                <a:custGeom>
                  <a:avLst/>
                  <a:gdLst>
                    <a:gd name="T0" fmla="*/ 2147483647 w 5"/>
                    <a:gd name="T1" fmla="*/ 2147483647 h 3"/>
                    <a:gd name="T2" fmla="*/ 0 w 5"/>
                    <a:gd name="T3" fmla="*/ 2147483647 h 3"/>
                    <a:gd name="T4" fmla="*/ 0 w 5"/>
                    <a:gd name="T5" fmla="*/ 2147483647 h 3"/>
                    <a:gd name="T6" fmla="*/ 2147483647 w 5"/>
                    <a:gd name="T7" fmla="*/ 0 h 3"/>
                    <a:gd name="T8" fmla="*/ 2147483647 w 5"/>
                    <a:gd name="T9" fmla="*/ 0 h 3"/>
                    <a:gd name="T10" fmla="*/ 2147483647 w 5"/>
                    <a:gd name="T11" fmla="*/ 2147483647 h 3"/>
                    <a:gd name="T12" fmla="*/ 2147483647 w 5"/>
                    <a:gd name="T13" fmla="*/ 2147483647 h 3"/>
                    <a:gd name="T14" fmla="*/ 2147483647 w 5"/>
                    <a:gd name="T15" fmla="*/ 2147483647 h 3"/>
                    <a:gd name="T16" fmla="*/ 2147483647 w 5"/>
                    <a:gd name="T17" fmla="*/ 2147483647 h 3"/>
                    <a:gd name="T18" fmla="*/ 2147483647 w 5"/>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1" y="3"/>
                      </a:moveTo>
                      <a:lnTo>
                        <a:pt x="0" y="3"/>
                      </a:lnTo>
                      <a:lnTo>
                        <a:pt x="0" y="2"/>
                      </a:lnTo>
                      <a:lnTo>
                        <a:pt x="1" y="0"/>
                      </a:lnTo>
                      <a:lnTo>
                        <a:pt x="2" y="0"/>
                      </a:lnTo>
                      <a:lnTo>
                        <a:pt x="5" y="1"/>
                      </a:lnTo>
                      <a:lnTo>
                        <a:pt x="5" y="2"/>
                      </a:lnTo>
                      <a:lnTo>
                        <a:pt x="5" y="3"/>
                      </a:lnTo>
                      <a:lnTo>
                        <a:pt x="2" y="3"/>
                      </a:lnTo>
                      <a:lnTo>
                        <a:pt x="1"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8" name="Freeform 567"/>
                <p:cNvSpPr>
                  <a:spLocks/>
                </p:cNvSpPr>
                <p:nvPr/>
              </p:nvSpPr>
              <p:spPr bwMode="auto">
                <a:xfrm>
                  <a:off x="789773" y="3965738"/>
                  <a:ext cx="8879" cy="5919"/>
                </a:xfrm>
                <a:custGeom>
                  <a:avLst/>
                  <a:gdLst>
                    <a:gd name="T0" fmla="*/ 2147483647 w 6"/>
                    <a:gd name="T1" fmla="*/ 2147483647 h 4"/>
                    <a:gd name="T2" fmla="*/ 2147483647 w 6"/>
                    <a:gd name="T3" fmla="*/ 2147483647 h 4"/>
                    <a:gd name="T4" fmla="*/ 2147483647 w 6"/>
                    <a:gd name="T5" fmla="*/ 2147483647 h 4"/>
                    <a:gd name="T6" fmla="*/ 2147483647 w 6"/>
                    <a:gd name="T7" fmla="*/ 2147483647 h 4"/>
                    <a:gd name="T8" fmla="*/ 0 w 6"/>
                    <a:gd name="T9" fmla="*/ 2147483647 h 4"/>
                    <a:gd name="T10" fmla="*/ 0 w 6"/>
                    <a:gd name="T11" fmla="*/ 2147483647 h 4"/>
                    <a:gd name="T12" fmla="*/ 2147483647 w 6"/>
                    <a:gd name="T13" fmla="*/ 0 h 4"/>
                    <a:gd name="T14" fmla="*/ 2147483647 w 6"/>
                    <a:gd name="T15" fmla="*/ 2147483647 h 4"/>
                    <a:gd name="T16" fmla="*/ 2147483647 w 6"/>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6" y="2"/>
                      </a:moveTo>
                      <a:lnTo>
                        <a:pt x="6" y="3"/>
                      </a:lnTo>
                      <a:lnTo>
                        <a:pt x="5" y="4"/>
                      </a:lnTo>
                      <a:lnTo>
                        <a:pt x="2" y="4"/>
                      </a:lnTo>
                      <a:lnTo>
                        <a:pt x="0" y="2"/>
                      </a:lnTo>
                      <a:lnTo>
                        <a:pt x="0" y="1"/>
                      </a:lnTo>
                      <a:lnTo>
                        <a:pt x="2" y="0"/>
                      </a:lnTo>
                      <a:lnTo>
                        <a:pt x="5" y="1"/>
                      </a:lnTo>
                      <a:lnTo>
                        <a:pt x="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69" name="Freeform 568"/>
                <p:cNvSpPr>
                  <a:spLocks/>
                </p:cNvSpPr>
                <p:nvPr/>
              </p:nvSpPr>
              <p:spPr bwMode="auto">
                <a:xfrm>
                  <a:off x="724661" y="3934664"/>
                  <a:ext cx="7399" cy="5919"/>
                </a:xfrm>
                <a:custGeom>
                  <a:avLst/>
                  <a:gdLst>
                    <a:gd name="T0" fmla="*/ 2147483647 w 5"/>
                    <a:gd name="T1" fmla="*/ 2147483647 h 4"/>
                    <a:gd name="T2" fmla="*/ 2147483647 w 5"/>
                    <a:gd name="T3" fmla="*/ 2147483647 h 4"/>
                    <a:gd name="T4" fmla="*/ 0 w 5"/>
                    <a:gd name="T5" fmla="*/ 2147483647 h 4"/>
                    <a:gd name="T6" fmla="*/ 0 w 5"/>
                    <a:gd name="T7" fmla="*/ 2147483647 h 4"/>
                    <a:gd name="T8" fmla="*/ 0 w 5"/>
                    <a:gd name="T9" fmla="*/ 2147483647 h 4"/>
                    <a:gd name="T10" fmla="*/ 2147483647 w 5"/>
                    <a:gd name="T11" fmla="*/ 0 h 4"/>
                    <a:gd name="T12" fmla="*/ 2147483647 w 5"/>
                    <a:gd name="T13" fmla="*/ 0 h 4"/>
                    <a:gd name="T14" fmla="*/ 2147483647 w 5"/>
                    <a:gd name="T15" fmla="*/ 2147483647 h 4"/>
                    <a:gd name="T16" fmla="*/ 2147483647 w 5"/>
                    <a:gd name="T17" fmla="*/ 2147483647 h 4"/>
                    <a:gd name="T18" fmla="*/ 2147483647 w 5"/>
                    <a:gd name="T19" fmla="*/ 2147483647 h 4"/>
                    <a:gd name="T20" fmla="*/ 2147483647 w 5"/>
                    <a:gd name="T21" fmla="*/ 2147483647 h 4"/>
                    <a:gd name="T22" fmla="*/ 2147483647 w 5"/>
                    <a:gd name="T23" fmla="*/ 2147483647 h 4"/>
                    <a:gd name="T24" fmla="*/ 2147483647 w 5"/>
                    <a:gd name="T25" fmla="*/ 2147483647 h 4"/>
                    <a:gd name="T26" fmla="*/ 2147483647 w 5"/>
                    <a:gd name="T27" fmla="*/ 2147483647 h 4"/>
                    <a:gd name="T28" fmla="*/ 2147483647 w 5"/>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4"/>
                    <a:gd name="T47" fmla="*/ 5 w 5"/>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4">
                      <a:moveTo>
                        <a:pt x="1" y="4"/>
                      </a:moveTo>
                      <a:lnTo>
                        <a:pt x="1" y="4"/>
                      </a:lnTo>
                      <a:lnTo>
                        <a:pt x="0" y="4"/>
                      </a:lnTo>
                      <a:lnTo>
                        <a:pt x="0" y="3"/>
                      </a:lnTo>
                      <a:lnTo>
                        <a:pt x="1" y="0"/>
                      </a:lnTo>
                      <a:lnTo>
                        <a:pt x="2" y="0"/>
                      </a:lnTo>
                      <a:lnTo>
                        <a:pt x="5" y="2"/>
                      </a:lnTo>
                      <a:lnTo>
                        <a:pt x="5" y="3"/>
                      </a:lnTo>
                      <a:lnTo>
                        <a:pt x="5" y="4"/>
                      </a:lnTo>
                      <a:lnTo>
                        <a:pt x="2" y="4"/>
                      </a:lnTo>
                      <a:lnTo>
                        <a:pt x="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0" name="Freeform 569"/>
                <p:cNvSpPr>
                  <a:spLocks/>
                </p:cNvSpPr>
                <p:nvPr/>
              </p:nvSpPr>
              <p:spPr bwMode="auto">
                <a:xfrm>
                  <a:off x="788292" y="3962778"/>
                  <a:ext cx="8879" cy="7400"/>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0 w 6"/>
                    <a:gd name="T19" fmla="*/ 2147483647 h 5"/>
                    <a:gd name="T20" fmla="*/ 2147483647 w 6"/>
                    <a:gd name="T21" fmla="*/ 0 h 5"/>
                    <a:gd name="T22" fmla="*/ 2147483647 w 6"/>
                    <a:gd name="T23" fmla="*/ 2147483647 h 5"/>
                    <a:gd name="T24" fmla="*/ 2147483647 w 6"/>
                    <a:gd name="T25" fmla="*/ 2147483647 h 5"/>
                    <a:gd name="T26" fmla="*/ 2147483647 w 6"/>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5"/>
                    <a:gd name="T44" fmla="*/ 6 w 6"/>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5">
                      <a:moveTo>
                        <a:pt x="6" y="3"/>
                      </a:moveTo>
                      <a:lnTo>
                        <a:pt x="6" y="3"/>
                      </a:lnTo>
                      <a:lnTo>
                        <a:pt x="6" y="4"/>
                      </a:lnTo>
                      <a:lnTo>
                        <a:pt x="5" y="5"/>
                      </a:lnTo>
                      <a:lnTo>
                        <a:pt x="2" y="5"/>
                      </a:lnTo>
                      <a:lnTo>
                        <a:pt x="0" y="3"/>
                      </a:lnTo>
                      <a:lnTo>
                        <a:pt x="0" y="2"/>
                      </a:lnTo>
                      <a:lnTo>
                        <a:pt x="2" y="0"/>
                      </a:lnTo>
                      <a:lnTo>
                        <a:pt x="5" y="2"/>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1" name="Freeform 570"/>
                <p:cNvSpPr>
                  <a:spLocks/>
                </p:cNvSpPr>
                <p:nvPr/>
              </p:nvSpPr>
              <p:spPr bwMode="auto">
                <a:xfrm>
                  <a:off x="822329" y="3982018"/>
                  <a:ext cx="35517" cy="22198"/>
                </a:xfrm>
                <a:custGeom>
                  <a:avLst/>
                  <a:gdLst>
                    <a:gd name="T0" fmla="*/ 2147483647 w 26"/>
                    <a:gd name="T1" fmla="*/ 2147483647 h 15"/>
                    <a:gd name="T2" fmla="*/ 2147483647 w 26"/>
                    <a:gd name="T3" fmla="*/ 2147483647 h 15"/>
                    <a:gd name="T4" fmla="*/ 2147483647 w 26"/>
                    <a:gd name="T5" fmla="*/ 2147483647 h 15"/>
                    <a:gd name="T6" fmla="*/ 2147483647 w 26"/>
                    <a:gd name="T7" fmla="*/ 2147483647 h 15"/>
                    <a:gd name="T8" fmla="*/ 2147483647 w 26"/>
                    <a:gd name="T9" fmla="*/ 2147483647 h 15"/>
                    <a:gd name="T10" fmla="*/ 0 w 26"/>
                    <a:gd name="T11" fmla="*/ 2147483647 h 15"/>
                    <a:gd name="T12" fmla="*/ 0 w 26"/>
                    <a:gd name="T13" fmla="*/ 2147483647 h 15"/>
                    <a:gd name="T14" fmla="*/ 2147483647 w 26"/>
                    <a:gd name="T15" fmla="*/ 2147483647 h 15"/>
                    <a:gd name="T16" fmla="*/ 2147483647 w 26"/>
                    <a:gd name="T17" fmla="*/ 2147483647 h 15"/>
                    <a:gd name="T18" fmla="*/ 2147483647 w 26"/>
                    <a:gd name="T19" fmla="*/ 2147483647 h 15"/>
                    <a:gd name="T20" fmla="*/ 2147483647 w 26"/>
                    <a:gd name="T21" fmla="*/ 2147483647 h 15"/>
                    <a:gd name="T22" fmla="*/ 2147483647 w 26"/>
                    <a:gd name="T23" fmla="*/ 0 h 15"/>
                    <a:gd name="T24" fmla="*/ 2147483647 w 26"/>
                    <a:gd name="T25" fmla="*/ 2147483647 h 15"/>
                    <a:gd name="T26" fmla="*/ 2147483647 w 26"/>
                    <a:gd name="T27" fmla="*/ 2147483647 h 15"/>
                    <a:gd name="T28" fmla="*/ 2147483647 w 26"/>
                    <a:gd name="T29" fmla="*/ 2147483647 h 15"/>
                    <a:gd name="T30" fmla="*/ 2147483647 w 26"/>
                    <a:gd name="T31" fmla="*/ 2147483647 h 15"/>
                    <a:gd name="T32" fmla="*/ 2147483647 w 26"/>
                    <a:gd name="T33" fmla="*/ 2147483647 h 15"/>
                    <a:gd name="T34" fmla="*/ 2147483647 w 26"/>
                    <a:gd name="T35" fmla="*/ 2147483647 h 15"/>
                    <a:gd name="T36" fmla="*/ 2147483647 w 26"/>
                    <a:gd name="T37" fmla="*/ 2147483647 h 15"/>
                    <a:gd name="T38" fmla="*/ 2147483647 w 26"/>
                    <a:gd name="T39" fmla="*/ 2147483647 h 15"/>
                    <a:gd name="T40" fmla="*/ 2147483647 w 26"/>
                    <a:gd name="T41" fmla="*/ 2147483647 h 15"/>
                    <a:gd name="T42" fmla="*/ 2147483647 w 26"/>
                    <a:gd name="T43" fmla="*/ 2147483647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
                    <a:gd name="T67" fmla="*/ 0 h 15"/>
                    <a:gd name="T68" fmla="*/ 26 w 26"/>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 h="15">
                      <a:moveTo>
                        <a:pt x="14" y="12"/>
                      </a:moveTo>
                      <a:lnTo>
                        <a:pt x="9" y="13"/>
                      </a:lnTo>
                      <a:lnTo>
                        <a:pt x="3" y="15"/>
                      </a:lnTo>
                      <a:lnTo>
                        <a:pt x="2" y="15"/>
                      </a:lnTo>
                      <a:lnTo>
                        <a:pt x="1" y="15"/>
                      </a:lnTo>
                      <a:lnTo>
                        <a:pt x="0" y="12"/>
                      </a:lnTo>
                      <a:lnTo>
                        <a:pt x="0" y="10"/>
                      </a:lnTo>
                      <a:lnTo>
                        <a:pt x="1" y="6"/>
                      </a:lnTo>
                      <a:lnTo>
                        <a:pt x="3" y="4"/>
                      </a:lnTo>
                      <a:lnTo>
                        <a:pt x="6" y="3"/>
                      </a:lnTo>
                      <a:lnTo>
                        <a:pt x="9" y="2"/>
                      </a:lnTo>
                      <a:lnTo>
                        <a:pt x="16" y="0"/>
                      </a:lnTo>
                      <a:lnTo>
                        <a:pt x="23" y="2"/>
                      </a:lnTo>
                      <a:lnTo>
                        <a:pt x="25" y="3"/>
                      </a:lnTo>
                      <a:lnTo>
                        <a:pt x="26" y="5"/>
                      </a:lnTo>
                      <a:lnTo>
                        <a:pt x="26" y="8"/>
                      </a:lnTo>
                      <a:lnTo>
                        <a:pt x="26" y="10"/>
                      </a:lnTo>
                      <a:lnTo>
                        <a:pt x="25" y="12"/>
                      </a:lnTo>
                      <a:lnTo>
                        <a:pt x="24" y="12"/>
                      </a:lnTo>
                      <a:lnTo>
                        <a:pt x="20" y="12"/>
                      </a:lnTo>
                      <a:lnTo>
                        <a:pt x="17" y="12"/>
                      </a:lnTo>
                      <a:lnTo>
                        <a:pt x="1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2" name="Freeform 571"/>
                <p:cNvSpPr>
                  <a:spLocks/>
                </p:cNvSpPr>
                <p:nvPr/>
              </p:nvSpPr>
              <p:spPr bwMode="auto">
                <a:xfrm>
                  <a:off x="868208" y="3999775"/>
                  <a:ext cx="20718" cy="23678"/>
                </a:xfrm>
                <a:custGeom>
                  <a:avLst/>
                  <a:gdLst>
                    <a:gd name="T0" fmla="*/ 2147483647 w 15"/>
                    <a:gd name="T1" fmla="*/ 2147483647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2147483647 h 16"/>
                    <a:gd name="T12" fmla="*/ 2147483647 w 15"/>
                    <a:gd name="T13" fmla="*/ 2147483647 h 16"/>
                    <a:gd name="T14" fmla="*/ 2147483647 w 15"/>
                    <a:gd name="T15" fmla="*/ 2147483647 h 16"/>
                    <a:gd name="T16" fmla="*/ 0 w 15"/>
                    <a:gd name="T17" fmla="*/ 2147483647 h 16"/>
                    <a:gd name="T18" fmla="*/ 0 w 15"/>
                    <a:gd name="T19" fmla="*/ 2147483647 h 16"/>
                    <a:gd name="T20" fmla="*/ 2147483647 w 15"/>
                    <a:gd name="T21" fmla="*/ 2147483647 h 16"/>
                    <a:gd name="T22" fmla="*/ 2147483647 w 15"/>
                    <a:gd name="T23" fmla="*/ 2147483647 h 16"/>
                    <a:gd name="T24" fmla="*/ 2147483647 w 15"/>
                    <a:gd name="T25" fmla="*/ 0 h 16"/>
                    <a:gd name="T26" fmla="*/ 2147483647 w 15"/>
                    <a:gd name="T27" fmla="*/ 0 h 16"/>
                    <a:gd name="T28" fmla="*/ 2147483647 w 15"/>
                    <a:gd name="T29" fmla="*/ 2147483647 h 16"/>
                    <a:gd name="T30" fmla="*/ 2147483647 w 15"/>
                    <a:gd name="T31" fmla="*/ 2147483647 h 16"/>
                    <a:gd name="T32" fmla="*/ 2147483647 w 15"/>
                    <a:gd name="T33" fmla="*/ 2147483647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16"/>
                    <a:gd name="T53" fmla="*/ 15 w 15"/>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16">
                      <a:moveTo>
                        <a:pt x="15" y="9"/>
                      </a:moveTo>
                      <a:lnTo>
                        <a:pt x="15" y="12"/>
                      </a:lnTo>
                      <a:lnTo>
                        <a:pt x="15" y="13"/>
                      </a:lnTo>
                      <a:lnTo>
                        <a:pt x="15" y="14"/>
                      </a:lnTo>
                      <a:lnTo>
                        <a:pt x="11" y="16"/>
                      </a:lnTo>
                      <a:lnTo>
                        <a:pt x="8" y="14"/>
                      </a:lnTo>
                      <a:lnTo>
                        <a:pt x="4" y="12"/>
                      </a:lnTo>
                      <a:lnTo>
                        <a:pt x="1" y="10"/>
                      </a:lnTo>
                      <a:lnTo>
                        <a:pt x="0" y="6"/>
                      </a:lnTo>
                      <a:lnTo>
                        <a:pt x="0" y="5"/>
                      </a:lnTo>
                      <a:lnTo>
                        <a:pt x="1" y="4"/>
                      </a:lnTo>
                      <a:lnTo>
                        <a:pt x="5" y="1"/>
                      </a:lnTo>
                      <a:lnTo>
                        <a:pt x="8" y="0"/>
                      </a:lnTo>
                      <a:lnTo>
                        <a:pt x="10" y="0"/>
                      </a:lnTo>
                      <a:lnTo>
                        <a:pt x="13" y="1"/>
                      </a:lnTo>
                      <a:lnTo>
                        <a:pt x="14" y="4"/>
                      </a:lnTo>
                      <a:lnTo>
                        <a:pt x="15"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3" name="Freeform 572"/>
                <p:cNvSpPr>
                  <a:spLocks/>
                </p:cNvSpPr>
                <p:nvPr/>
              </p:nvSpPr>
              <p:spPr bwMode="auto">
                <a:xfrm>
                  <a:off x="819370" y="3980541"/>
                  <a:ext cx="36996" cy="20718"/>
                </a:xfrm>
                <a:custGeom>
                  <a:avLst/>
                  <a:gdLst>
                    <a:gd name="T0" fmla="*/ 2147483647 w 27"/>
                    <a:gd name="T1" fmla="*/ 2147483647 h 14"/>
                    <a:gd name="T2" fmla="*/ 2147483647 w 27"/>
                    <a:gd name="T3" fmla="*/ 2147483647 h 14"/>
                    <a:gd name="T4" fmla="*/ 2147483647 w 27"/>
                    <a:gd name="T5" fmla="*/ 2147483647 h 14"/>
                    <a:gd name="T6" fmla="*/ 2147483647 w 27"/>
                    <a:gd name="T7" fmla="*/ 2147483647 h 14"/>
                    <a:gd name="T8" fmla="*/ 2147483647 w 27"/>
                    <a:gd name="T9" fmla="*/ 2147483647 h 14"/>
                    <a:gd name="T10" fmla="*/ 2147483647 w 27"/>
                    <a:gd name="T11" fmla="*/ 2147483647 h 14"/>
                    <a:gd name="T12" fmla="*/ 0 w 27"/>
                    <a:gd name="T13" fmla="*/ 2147483647 h 14"/>
                    <a:gd name="T14" fmla="*/ 0 w 27"/>
                    <a:gd name="T15" fmla="*/ 2147483647 h 14"/>
                    <a:gd name="T16" fmla="*/ 0 w 27"/>
                    <a:gd name="T17" fmla="*/ 2147483647 h 14"/>
                    <a:gd name="T18" fmla="*/ 2147483647 w 27"/>
                    <a:gd name="T19" fmla="*/ 2147483647 h 14"/>
                    <a:gd name="T20" fmla="*/ 2147483647 w 27"/>
                    <a:gd name="T21" fmla="*/ 2147483647 h 14"/>
                    <a:gd name="T22" fmla="*/ 2147483647 w 27"/>
                    <a:gd name="T23" fmla="*/ 2147483647 h 14"/>
                    <a:gd name="T24" fmla="*/ 2147483647 w 27"/>
                    <a:gd name="T25" fmla="*/ 2147483647 h 14"/>
                    <a:gd name="T26" fmla="*/ 2147483647 w 27"/>
                    <a:gd name="T27" fmla="*/ 0 h 14"/>
                    <a:gd name="T28" fmla="*/ 2147483647 w 27"/>
                    <a:gd name="T29" fmla="*/ 2147483647 h 14"/>
                    <a:gd name="T30" fmla="*/ 2147483647 w 27"/>
                    <a:gd name="T31" fmla="*/ 2147483647 h 14"/>
                    <a:gd name="T32" fmla="*/ 2147483647 w 27"/>
                    <a:gd name="T33" fmla="*/ 2147483647 h 14"/>
                    <a:gd name="T34" fmla="*/ 2147483647 w 27"/>
                    <a:gd name="T35" fmla="*/ 2147483647 h 14"/>
                    <a:gd name="T36" fmla="*/ 2147483647 w 27"/>
                    <a:gd name="T37" fmla="*/ 2147483647 h 14"/>
                    <a:gd name="T38" fmla="*/ 2147483647 w 27"/>
                    <a:gd name="T39" fmla="*/ 2147483647 h 14"/>
                    <a:gd name="T40" fmla="*/ 2147483647 w 27"/>
                    <a:gd name="T41" fmla="*/ 2147483647 h 14"/>
                    <a:gd name="T42" fmla="*/ 2147483647 w 27"/>
                    <a:gd name="T43" fmla="*/ 2147483647 h 14"/>
                    <a:gd name="T44" fmla="*/ 2147483647 w 27"/>
                    <a:gd name="T45" fmla="*/ 2147483647 h 14"/>
                    <a:gd name="T46" fmla="*/ 2147483647 w 27"/>
                    <a:gd name="T47" fmla="*/ 2147483647 h 14"/>
                    <a:gd name="T48" fmla="*/ 2147483647 w 27"/>
                    <a:gd name="T49" fmla="*/ 2147483647 h 14"/>
                    <a:gd name="T50" fmla="*/ 2147483647 w 27"/>
                    <a:gd name="T51" fmla="*/ 2147483647 h 14"/>
                    <a:gd name="T52" fmla="*/ 2147483647 w 27"/>
                    <a:gd name="T53" fmla="*/ 2147483647 h 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
                    <a:gd name="T82" fmla="*/ 0 h 14"/>
                    <a:gd name="T83" fmla="*/ 27 w 27"/>
                    <a:gd name="T84" fmla="*/ 14 h 1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 h="14">
                      <a:moveTo>
                        <a:pt x="14" y="12"/>
                      </a:moveTo>
                      <a:lnTo>
                        <a:pt x="14" y="12"/>
                      </a:lnTo>
                      <a:lnTo>
                        <a:pt x="9" y="13"/>
                      </a:lnTo>
                      <a:lnTo>
                        <a:pt x="4" y="14"/>
                      </a:lnTo>
                      <a:lnTo>
                        <a:pt x="3" y="14"/>
                      </a:lnTo>
                      <a:lnTo>
                        <a:pt x="2" y="14"/>
                      </a:lnTo>
                      <a:lnTo>
                        <a:pt x="0" y="12"/>
                      </a:lnTo>
                      <a:lnTo>
                        <a:pt x="0" y="10"/>
                      </a:lnTo>
                      <a:lnTo>
                        <a:pt x="2" y="6"/>
                      </a:lnTo>
                      <a:lnTo>
                        <a:pt x="4" y="4"/>
                      </a:lnTo>
                      <a:lnTo>
                        <a:pt x="7" y="3"/>
                      </a:lnTo>
                      <a:lnTo>
                        <a:pt x="9" y="1"/>
                      </a:lnTo>
                      <a:lnTo>
                        <a:pt x="17" y="0"/>
                      </a:lnTo>
                      <a:lnTo>
                        <a:pt x="23" y="1"/>
                      </a:lnTo>
                      <a:lnTo>
                        <a:pt x="26" y="3"/>
                      </a:lnTo>
                      <a:lnTo>
                        <a:pt x="27" y="5"/>
                      </a:lnTo>
                      <a:lnTo>
                        <a:pt x="27" y="7"/>
                      </a:lnTo>
                      <a:lnTo>
                        <a:pt x="27" y="10"/>
                      </a:lnTo>
                      <a:lnTo>
                        <a:pt x="26" y="12"/>
                      </a:lnTo>
                      <a:lnTo>
                        <a:pt x="25" y="12"/>
                      </a:lnTo>
                      <a:lnTo>
                        <a:pt x="21" y="12"/>
                      </a:lnTo>
                      <a:lnTo>
                        <a:pt x="18" y="12"/>
                      </a:lnTo>
                      <a:lnTo>
                        <a:pt x="1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4" name="Freeform 573"/>
                <p:cNvSpPr>
                  <a:spLocks/>
                </p:cNvSpPr>
                <p:nvPr/>
              </p:nvSpPr>
              <p:spPr bwMode="auto">
                <a:xfrm>
                  <a:off x="866728" y="3998296"/>
                  <a:ext cx="20718" cy="22199"/>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2147483647 w 15"/>
                    <a:gd name="T19" fmla="*/ 2147483647 h 15"/>
                    <a:gd name="T20" fmla="*/ 2147483647 w 15"/>
                    <a:gd name="T21" fmla="*/ 2147483647 h 15"/>
                    <a:gd name="T22" fmla="*/ 0 w 15"/>
                    <a:gd name="T23" fmla="*/ 2147483647 h 15"/>
                    <a:gd name="T24" fmla="*/ 0 w 15"/>
                    <a:gd name="T25" fmla="*/ 2147483647 h 15"/>
                    <a:gd name="T26" fmla="*/ 2147483647 w 15"/>
                    <a:gd name="T27" fmla="*/ 2147483647 h 15"/>
                    <a:gd name="T28" fmla="*/ 2147483647 w 15"/>
                    <a:gd name="T29" fmla="*/ 2147483647 h 15"/>
                    <a:gd name="T30" fmla="*/ 2147483647 w 15"/>
                    <a:gd name="T31" fmla="*/ 2147483647 h 15"/>
                    <a:gd name="T32" fmla="*/ 2147483647 w 15"/>
                    <a:gd name="T33" fmla="*/ 0 h 15"/>
                    <a:gd name="T34" fmla="*/ 2147483647 w 15"/>
                    <a:gd name="T35" fmla="*/ 0 h 15"/>
                    <a:gd name="T36" fmla="*/ 2147483647 w 15"/>
                    <a:gd name="T37" fmla="*/ 0 h 15"/>
                    <a:gd name="T38" fmla="*/ 2147483647 w 15"/>
                    <a:gd name="T39" fmla="*/ 2147483647 h 15"/>
                    <a:gd name="T40" fmla="*/ 2147483647 w 15"/>
                    <a:gd name="T41" fmla="*/ 2147483647 h 15"/>
                    <a:gd name="T42" fmla="*/ 2147483647 w 15"/>
                    <a:gd name="T43" fmla="*/ 2147483647 h 15"/>
                    <a:gd name="T44" fmla="*/ 2147483647 w 15"/>
                    <a:gd name="T45" fmla="*/ 2147483647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
                    <a:gd name="T70" fmla="*/ 0 h 15"/>
                    <a:gd name="T71" fmla="*/ 15 w 15"/>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 h="15">
                      <a:moveTo>
                        <a:pt x="15" y="8"/>
                      </a:moveTo>
                      <a:lnTo>
                        <a:pt x="15" y="8"/>
                      </a:lnTo>
                      <a:lnTo>
                        <a:pt x="15" y="12"/>
                      </a:lnTo>
                      <a:lnTo>
                        <a:pt x="15" y="13"/>
                      </a:lnTo>
                      <a:lnTo>
                        <a:pt x="15" y="14"/>
                      </a:lnTo>
                      <a:lnTo>
                        <a:pt x="11" y="15"/>
                      </a:lnTo>
                      <a:lnTo>
                        <a:pt x="7" y="14"/>
                      </a:lnTo>
                      <a:lnTo>
                        <a:pt x="3" y="12"/>
                      </a:lnTo>
                      <a:lnTo>
                        <a:pt x="1" y="10"/>
                      </a:lnTo>
                      <a:lnTo>
                        <a:pt x="0" y="6"/>
                      </a:lnTo>
                      <a:lnTo>
                        <a:pt x="0" y="5"/>
                      </a:lnTo>
                      <a:lnTo>
                        <a:pt x="1" y="4"/>
                      </a:lnTo>
                      <a:lnTo>
                        <a:pt x="5" y="1"/>
                      </a:lnTo>
                      <a:lnTo>
                        <a:pt x="7" y="0"/>
                      </a:lnTo>
                      <a:lnTo>
                        <a:pt x="10" y="0"/>
                      </a:lnTo>
                      <a:lnTo>
                        <a:pt x="12" y="1"/>
                      </a:lnTo>
                      <a:lnTo>
                        <a:pt x="14" y="4"/>
                      </a:lnTo>
                      <a:lnTo>
                        <a:pt x="15"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5" name="Freeform 574"/>
                <p:cNvSpPr>
                  <a:spLocks/>
                </p:cNvSpPr>
                <p:nvPr/>
              </p:nvSpPr>
              <p:spPr bwMode="auto">
                <a:xfrm>
                  <a:off x="900761" y="4013094"/>
                  <a:ext cx="31078" cy="23678"/>
                </a:xfrm>
                <a:custGeom>
                  <a:avLst/>
                  <a:gdLst>
                    <a:gd name="T0" fmla="*/ 2147483647 w 23"/>
                    <a:gd name="T1" fmla="*/ 2147483647 h 16"/>
                    <a:gd name="T2" fmla="*/ 2147483647 w 23"/>
                    <a:gd name="T3" fmla="*/ 2147483647 h 16"/>
                    <a:gd name="T4" fmla="*/ 2147483647 w 23"/>
                    <a:gd name="T5" fmla="*/ 2147483647 h 16"/>
                    <a:gd name="T6" fmla="*/ 2147483647 w 23"/>
                    <a:gd name="T7" fmla="*/ 2147483647 h 16"/>
                    <a:gd name="T8" fmla="*/ 2147483647 w 23"/>
                    <a:gd name="T9" fmla="*/ 2147483647 h 16"/>
                    <a:gd name="T10" fmla="*/ 2147483647 w 23"/>
                    <a:gd name="T11" fmla="*/ 2147483647 h 16"/>
                    <a:gd name="T12" fmla="*/ 2147483647 w 23"/>
                    <a:gd name="T13" fmla="*/ 2147483647 h 16"/>
                    <a:gd name="T14" fmla="*/ 2147483647 w 23"/>
                    <a:gd name="T15" fmla="*/ 2147483647 h 16"/>
                    <a:gd name="T16" fmla="*/ 2147483647 w 23"/>
                    <a:gd name="T17" fmla="*/ 2147483647 h 16"/>
                    <a:gd name="T18" fmla="*/ 2147483647 w 23"/>
                    <a:gd name="T19" fmla="*/ 2147483647 h 16"/>
                    <a:gd name="T20" fmla="*/ 0 w 23"/>
                    <a:gd name="T21" fmla="*/ 2147483647 h 16"/>
                    <a:gd name="T22" fmla="*/ 2147483647 w 23"/>
                    <a:gd name="T23" fmla="*/ 2147483647 h 16"/>
                    <a:gd name="T24" fmla="*/ 2147483647 w 23"/>
                    <a:gd name="T25" fmla="*/ 0 h 16"/>
                    <a:gd name="T26" fmla="*/ 2147483647 w 23"/>
                    <a:gd name="T27" fmla="*/ 0 h 16"/>
                    <a:gd name="T28" fmla="*/ 2147483647 w 23"/>
                    <a:gd name="T29" fmla="*/ 0 h 16"/>
                    <a:gd name="T30" fmla="*/ 2147483647 w 23"/>
                    <a:gd name="T31" fmla="*/ 2147483647 h 16"/>
                    <a:gd name="T32" fmla="*/ 2147483647 w 23"/>
                    <a:gd name="T33" fmla="*/ 2147483647 h 16"/>
                    <a:gd name="T34" fmla="*/ 2147483647 w 23"/>
                    <a:gd name="T35" fmla="*/ 2147483647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6"/>
                    <a:gd name="T56" fmla="*/ 23 w 23"/>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6">
                      <a:moveTo>
                        <a:pt x="15" y="5"/>
                      </a:moveTo>
                      <a:lnTo>
                        <a:pt x="19" y="8"/>
                      </a:lnTo>
                      <a:lnTo>
                        <a:pt x="23" y="11"/>
                      </a:lnTo>
                      <a:lnTo>
                        <a:pt x="23" y="14"/>
                      </a:lnTo>
                      <a:lnTo>
                        <a:pt x="22" y="15"/>
                      </a:lnTo>
                      <a:lnTo>
                        <a:pt x="15" y="16"/>
                      </a:lnTo>
                      <a:lnTo>
                        <a:pt x="12" y="16"/>
                      </a:lnTo>
                      <a:lnTo>
                        <a:pt x="8" y="15"/>
                      </a:lnTo>
                      <a:lnTo>
                        <a:pt x="5" y="11"/>
                      </a:lnTo>
                      <a:lnTo>
                        <a:pt x="1" y="8"/>
                      </a:lnTo>
                      <a:lnTo>
                        <a:pt x="0" y="3"/>
                      </a:lnTo>
                      <a:lnTo>
                        <a:pt x="1" y="1"/>
                      </a:lnTo>
                      <a:lnTo>
                        <a:pt x="3" y="0"/>
                      </a:lnTo>
                      <a:lnTo>
                        <a:pt x="4" y="0"/>
                      </a:lnTo>
                      <a:lnTo>
                        <a:pt x="5" y="0"/>
                      </a:lnTo>
                      <a:lnTo>
                        <a:pt x="9" y="1"/>
                      </a:lnTo>
                      <a:lnTo>
                        <a:pt x="12" y="3"/>
                      </a:lnTo>
                      <a:lnTo>
                        <a:pt x="1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6" name="Freeform 575"/>
                <p:cNvSpPr>
                  <a:spLocks/>
                </p:cNvSpPr>
                <p:nvPr/>
              </p:nvSpPr>
              <p:spPr bwMode="auto">
                <a:xfrm>
                  <a:off x="928879" y="4044175"/>
                  <a:ext cx="29597" cy="36996"/>
                </a:xfrm>
                <a:custGeom>
                  <a:avLst/>
                  <a:gdLst>
                    <a:gd name="T0" fmla="*/ 2147483647 w 22"/>
                    <a:gd name="T1" fmla="*/ 2147483647 h 25"/>
                    <a:gd name="T2" fmla="*/ 2147483647 w 22"/>
                    <a:gd name="T3" fmla="*/ 2147483647 h 25"/>
                    <a:gd name="T4" fmla="*/ 2147483647 w 22"/>
                    <a:gd name="T5" fmla="*/ 0 h 25"/>
                    <a:gd name="T6" fmla="*/ 2147483647 w 22"/>
                    <a:gd name="T7" fmla="*/ 0 h 25"/>
                    <a:gd name="T8" fmla="*/ 2147483647 w 22"/>
                    <a:gd name="T9" fmla="*/ 2147483647 h 25"/>
                    <a:gd name="T10" fmla="*/ 2147483647 w 22"/>
                    <a:gd name="T11" fmla="*/ 2147483647 h 25"/>
                    <a:gd name="T12" fmla="*/ 0 w 22"/>
                    <a:gd name="T13" fmla="*/ 2147483647 h 25"/>
                    <a:gd name="T14" fmla="*/ 0 w 22"/>
                    <a:gd name="T15" fmla="*/ 2147483647 h 25"/>
                    <a:gd name="T16" fmla="*/ 2147483647 w 22"/>
                    <a:gd name="T17" fmla="*/ 2147483647 h 25"/>
                    <a:gd name="T18" fmla="*/ 2147483647 w 22"/>
                    <a:gd name="T19" fmla="*/ 2147483647 h 25"/>
                    <a:gd name="T20" fmla="*/ 2147483647 w 22"/>
                    <a:gd name="T21" fmla="*/ 2147483647 h 25"/>
                    <a:gd name="T22" fmla="*/ 2147483647 w 22"/>
                    <a:gd name="T23" fmla="*/ 2147483647 h 25"/>
                    <a:gd name="T24" fmla="*/ 2147483647 w 22"/>
                    <a:gd name="T25" fmla="*/ 2147483647 h 25"/>
                    <a:gd name="T26" fmla="*/ 2147483647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2147483647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25"/>
                    <a:gd name="T71" fmla="*/ 22 w 22"/>
                    <a:gd name="T72" fmla="*/ 25 h 2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25">
                      <a:moveTo>
                        <a:pt x="12" y="3"/>
                      </a:moveTo>
                      <a:lnTo>
                        <a:pt x="9" y="1"/>
                      </a:lnTo>
                      <a:lnTo>
                        <a:pt x="8" y="0"/>
                      </a:lnTo>
                      <a:lnTo>
                        <a:pt x="7" y="0"/>
                      </a:lnTo>
                      <a:lnTo>
                        <a:pt x="4" y="1"/>
                      </a:lnTo>
                      <a:lnTo>
                        <a:pt x="2" y="2"/>
                      </a:lnTo>
                      <a:lnTo>
                        <a:pt x="0" y="5"/>
                      </a:lnTo>
                      <a:lnTo>
                        <a:pt x="0" y="7"/>
                      </a:lnTo>
                      <a:lnTo>
                        <a:pt x="3" y="22"/>
                      </a:lnTo>
                      <a:lnTo>
                        <a:pt x="4" y="24"/>
                      </a:lnTo>
                      <a:lnTo>
                        <a:pt x="5" y="25"/>
                      </a:lnTo>
                      <a:lnTo>
                        <a:pt x="8" y="25"/>
                      </a:lnTo>
                      <a:lnTo>
                        <a:pt x="9" y="25"/>
                      </a:lnTo>
                      <a:lnTo>
                        <a:pt x="11" y="22"/>
                      </a:lnTo>
                      <a:lnTo>
                        <a:pt x="11" y="20"/>
                      </a:lnTo>
                      <a:lnTo>
                        <a:pt x="18" y="16"/>
                      </a:lnTo>
                      <a:lnTo>
                        <a:pt x="22" y="14"/>
                      </a:lnTo>
                      <a:lnTo>
                        <a:pt x="22" y="12"/>
                      </a:lnTo>
                      <a:lnTo>
                        <a:pt x="21" y="11"/>
                      </a:lnTo>
                      <a:lnTo>
                        <a:pt x="19" y="9"/>
                      </a:lnTo>
                      <a:lnTo>
                        <a:pt x="17" y="8"/>
                      </a:lnTo>
                      <a:lnTo>
                        <a:pt x="14" y="6"/>
                      </a:lnTo>
                      <a:lnTo>
                        <a:pt x="12"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7" name="Freeform 576"/>
                <p:cNvSpPr>
                  <a:spLocks/>
                </p:cNvSpPr>
                <p:nvPr/>
              </p:nvSpPr>
              <p:spPr bwMode="auto">
                <a:xfrm>
                  <a:off x="899285" y="4010134"/>
                  <a:ext cx="31077" cy="25158"/>
                </a:xfrm>
                <a:custGeom>
                  <a:avLst/>
                  <a:gdLst>
                    <a:gd name="T0" fmla="*/ 2147483647 w 23"/>
                    <a:gd name="T1" fmla="*/ 2147483647 h 17"/>
                    <a:gd name="T2" fmla="*/ 2147483647 w 23"/>
                    <a:gd name="T3" fmla="*/ 2147483647 h 17"/>
                    <a:gd name="T4" fmla="*/ 2147483647 w 23"/>
                    <a:gd name="T5" fmla="*/ 2147483647 h 17"/>
                    <a:gd name="T6" fmla="*/ 2147483647 w 23"/>
                    <a:gd name="T7" fmla="*/ 2147483647 h 17"/>
                    <a:gd name="T8" fmla="*/ 2147483647 w 23"/>
                    <a:gd name="T9" fmla="*/ 2147483647 h 17"/>
                    <a:gd name="T10" fmla="*/ 2147483647 w 23"/>
                    <a:gd name="T11" fmla="*/ 2147483647 h 17"/>
                    <a:gd name="T12" fmla="*/ 2147483647 w 23"/>
                    <a:gd name="T13" fmla="*/ 2147483647 h 17"/>
                    <a:gd name="T14" fmla="*/ 2147483647 w 23"/>
                    <a:gd name="T15" fmla="*/ 2147483647 h 17"/>
                    <a:gd name="T16" fmla="*/ 2147483647 w 23"/>
                    <a:gd name="T17" fmla="*/ 2147483647 h 17"/>
                    <a:gd name="T18" fmla="*/ 2147483647 w 23"/>
                    <a:gd name="T19" fmla="*/ 2147483647 h 17"/>
                    <a:gd name="T20" fmla="*/ 2147483647 w 23"/>
                    <a:gd name="T21" fmla="*/ 2147483647 h 17"/>
                    <a:gd name="T22" fmla="*/ 2147483647 w 23"/>
                    <a:gd name="T23" fmla="*/ 2147483647 h 17"/>
                    <a:gd name="T24" fmla="*/ 2147483647 w 23"/>
                    <a:gd name="T25" fmla="*/ 2147483647 h 17"/>
                    <a:gd name="T26" fmla="*/ 2147483647 w 23"/>
                    <a:gd name="T27" fmla="*/ 2147483647 h 17"/>
                    <a:gd name="T28" fmla="*/ 2147483647 w 23"/>
                    <a:gd name="T29" fmla="*/ 2147483647 h 17"/>
                    <a:gd name="T30" fmla="*/ 0 w 23"/>
                    <a:gd name="T31" fmla="*/ 2147483647 h 17"/>
                    <a:gd name="T32" fmla="*/ 2147483647 w 23"/>
                    <a:gd name="T33" fmla="*/ 2147483647 h 17"/>
                    <a:gd name="T34" fmla="*/ 2147483647 w 23"/>
                    <a:gd name="T35" fmla="*/ 0 h 17"/>
                    <a:gd name="T36" fmla="*/ 2147483647 w 23"/>
                    <a:gd name="T37" fmla="*/ 0 h 17"/>
                    <a:gd name="T38" fmla="*/ 2147483647 w 23"/>
                    <a:gd name="T39" fmla="*/ 0 h 17"/>
                    <a:gd name="T40" fmla="*/ 2147483647 w 23"/>
                    <a:gd name="T41" fmla="*/ 0 h 17"/>
                    <a:gd name="T42" fmla="*/ 2147483647 w 23"/>
                    <a:gd name="T43" fmla="*/ 2147483647 h 17"/>
                    <a:gd name="T44" fmla="*/ 2147483647 w 23"/>
                    <a:gd name="T45" fmla="*/ 2147483647 h 17"/>
                    <a:gd name="T46" fmla="*/ 2147483647 w 23"/>
                    <a:gd name="T47" fmla="*/ 2147483647 h 17"/>
                    <a:gd name="T48" fmla="*/ 2147483647 w 23"/>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17"/>
                    <a:gd name="T77" fmla="*/ 23 w 23"/>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17">
                      <a:moveTo>
                        <a:pt x="15" y="6"/>
                      </a:moveTo>
                      <a:lnTo>
                        <a:pt x="15" y="6"/>
                      </a:lnTo>
                      <a:lnTo>
                        <a:pt x="19" y="9"/>
                      </a:lnTo>
                      <a:lnTo>
                        <a:pt x="23" y="12"/>
                      </a:lnTo>
                      <a:lnTo>
                        <a:pt x="23" y="15"/>
                      </a:lnTo>
                      <a:lnTo>
                        <a:pt x="21" y="16"/>
                      </a:lnTo>
                      <a:lnTo>
                        <a:pt x="15" y="17"/>
                      </a:lnTo>
                      <a:lnTo>
                        <a:pt x="11" y="17"/>
                      </a:lnTo>
                      <a:lnTo>
                        <a:pt x="7" y="16"/>
                      </a:lnTo>
                      <a:lnTo>
                        <a:pt x="5" y="12"/>
                      </a:lnTo>
                      <a:lnTo>
                        <a:pt x="1" y="9"/>
                      </a:lnTo>
                      <a:lnTo>
                        <a:pt x="0" y="4"/>
                      </a:lnTo>
                      <a:lnTo>
                        <a:pt x="1" y="2"/>
                      </a:lnTo>
                      <a:lnTo>
                        <a:pt x="2" y="0"/>
                      </a:lnTo>
                      <a:lnTo>
                        <a:pt x="4" y="0"/>
                      </a:lnTo>
                      <a:lnTo>
                        <a:pt x="5" y="0"/>
                      </a:lnTo>
                      <a:lnTo>
                        <a:pt x="9" y="2"/>
                      </a:lnTo>
                      <a:lnTo>
                        <a:pt x="11" y="4"/>
                      </a:lnTo>
                      <a:lnTo>
                        <a:pt x="1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8" name="Freeform 577"/>
                <p:cNvSpPr>
                  <a:spLocks/>
                </p:cNvSpPr>
                <p:nvPr/>
              </p:nvSpPr>
              <p:spPr bwMode="auto">
                <a:xfrm>
                  <a:off x="927399" y="4042691"/>
                  <a:ext cx="29597" cy="36997"/>
                </a:xfrm>
                <a:custGeom>
                  <a:avLst/>
                  <a:gdLst>
                    <a:gd name="T0" fmla="*/ 2147483647 w 22"/>
                    <a:gd name="T1" fmla="*/ 2147483647 h 25"/>
                    <a:gd name="T2" fmla="*/ 2147483647 w 22"/>
                    <a:gd name="T3" fmla="*/ 2147483647 h 25"/>
                    <a:gd name="T4" fmla="*/ 2147483647 w 22"/>
                    <a:gd name="T5" fmla="*/ 2147483647 h 25"/>
                    <a:gd name="T6" fmla="*/ 2147483647 w 22"/>
                    <a:gd name="T7" fmla="*/ 0 h 25"/>
                    <a:gd name="T8" fmla="*/ 2147483647 w 22"/>
                    <a:gd name="T9" fmla="*/ 0 h 25"/>
                    <a:gd name="T10" fmla="*/ 2147483647 w 22"/>
                    <a:gd name="T11" fmla="*/ 0 h 25"/>
                    <a:gd name="T12" fmla="*/ 2147483647 w 22"/>
                    <a:gd name="T13" fmla="*/ 2147483647 h 25"/>
                    <a:gd name="T14" fmla="*/ 2147483647 w 22"/>
                    <a:gd name="T15" fmla="*/ 2147483647 h 25"/>
                    <a:gd name="T16" fmla="*/ 0 w 22"/>
                    <a:gd name="T17" fmla="*/ 2147483647 h 25"/>
                    <a:gd name="T18" fmla="*/ 0 w 22"/>
                    <a:gd name="T19" fmla="*/ 2147483647 h 25"/>
                    <a:gd name="T20" fmla="*/ 0 w 22"/>
                    <a:gd name="T21" fmla="*/ 2147483647 h 25"/>
                    <a:gd name="T22" fmla="*/ 2147483647 w 22"/>
                    <a:gd name="T23" fmla="*/ 2147483647 h 25"/>
                    <a:gd name="T24" fmla="*/ 2147483647 w 22"/>
                    <a:gd name="T25" fmla="*/ 2147483647 h 25"/>
                    <a:gd name="T26" fmla="*/ 2147483647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2147483647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2147483647 w 22"/>
                    <a:gd name="T47" fmla="*/ 2147483647 h 25"/>
                    <a:gd name="T48" fmla="*/ 2147483647 w 22"/>
                    <a:gd name="T49" fmla="*/ 2147483647 h 25"/>
                    <a:gd name="T50" fmla="*/ 2147483647 w 22"/>
                    <a:gd name="T51" fmla="*/ 2147483647 h 25"/>
                    <a:gd name="T52" fmla="*/ 2147483647 w 22"/>
                    <a:gd name="T53" fmla="*/ 2147483647 h 25"/>
                    <a:gd name="T54" fmla="*/ 2147483647 w 22"/>
                    <a:gd name="T55" fmla="*/ 2147483647 h 25"/>
                    <a:gd name="T56" fmla="*/ 2147483647 w 22"/>
                    <a:gd name="T57" fmla="*/ 2147483647 h 25"/>
                    <a:gd name="T58" fmla="*/ 2147483647 w 22"/>
                    <a:gd name="T59" fmla="*/ 2147483647 h 25"/>
                    <a:gd name="T60" fmla="*/ 2147483647 w 22"/>
                    <a:gd name="T61" fmla="*/ 2147483647 h 2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25"/>
                    <a:gd name="T95" fmla="*/ 22 w 22"/>
                    <a:gd name="T96" fmla="*/ 25 h 2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25">
                      <a:moveTo>
                        <a:pt x="12" y="3"/>
                      </a:moveTo>
                      <a:lnTo>
                        <a:pt x="12" y="3"/>
                      </a:lnTo>
                      <a:lnTo>
                        <a:pt x="9" y="1"/>
                      </a:lnTo>
                      <a:lnTo>
                        <a:pt x="8" y="0"/>
                      </a:lnTo>
                      <a:lnTo>
                        <a:pt x="6" y="0"/>
                      </a:lnTo>
                      <a:lnTo>
                        <a:pt x="4" y="1"/>
                      </a:lnTo>
                      <a:lnTo>
                        <a:pt x="1" y="2"/>
                      </a:lnTo>
                      <a:lnTo>
                        <a:pt x="0" y="4"/>
                      </a:lnTo>
                      <a:lnTo>
                        <a:pt x="0" y="7"/>
                      </a:lnTo>
                      <a:lnTo>
                        <a:pt x="3" y="22"/>
                      </a:lnTo>
                      <a:lnTo>
                        <a:pt x="4" y="23"/>
                      </a:lnTo>
                      <a:lnTo>
                        <a:pt x="5" y="25"/>
                      </a:lnTo>
                      <a:lnTo>
                        <a:pt x="8" y="25"/>
                      </a:lnTo>
                      <a:lnTo>
                        <a:pt x="9" y="25"/>
                      </a:lnTo>
                      <a:lnTo>
                        <a:pt x="10" y="22"/>
                      </a:lnTo>
                      <a:lnTo>
                        <a:pt x="10" y="20"/>
                      </a:lnTo>
                      <a:lnTo>
                        <a:pt x="18" y="16"/>
                      </a:lnTo>
                      <a:lnTo>
                        <a:pt x="22" y="14"/>
                      </a:lnTo>
                      <a:lnTo>
                        <a:pt x="22" y="12"/>
                      </a:lnTo>
                      <a:lnTo>
                        <a:pt x="20" y="10"/>
                      </a:lnTo>
                      <a:lnTo>
                        <a:pt x="19" y="9"/>
                      </a:lnTo>
                      <a:lnTo>
                        <a:pt x="17" y="8"/>
                      </a:lnTo>
                      <a:lnTo>
                        <a:pt x="14" y="6"/>
                      </a:lnTo>
                      <a:lnTo>
                        <a:pt x="12"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79" name="Freeform 578"/>
                <p:cNvSpPr>
                  <a:spLocks/>
                </p:cNvSpPr>
                <p:nvPr/>
              </p:nvSpPr>
              <p:spPr bwMode="auto">
                <a:xfrm>
                  <a:off x="823808" y="4489616"/>
                  <a:ext cx="7400"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2147483647 w 6"/>
                    <a:gd name="T13" fmla="*/ 0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5" y="2"/>
                      </a:moveTo>
                      <a:lnTo>
                        <a:pt x="6" y="4"/>
                      </a:lnTo>
                      <a:lnTo>
                        <a:pt x="6" y="6"/>
                      </a:lnTo>
                      <a:lnTo>
                        <a:pt x="1" y="4"/>
                      </a:lnTo>
                      <a:lnTo>
                        <a:pt x="0" y="2"/>
                      </a:lnTo>
                      <a:lnTo>
                        <a:pt x="0" y="1"/>
                      </a:lnTo>
                      <a:lnTo>
                        <a:pt x="1" y="0"/>
                      </a:lnTo>
                      <a:lnTo>
                        <a:pt x="2" y="0"/>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0" name="Freeform 579"/>
                <p:cNvSpPr>
                  <a:spLocks/>
                </p:cNvSpPr>
                <p:nvPr/>
              </p:nvSpPr>
              <p:spPr bwMode="auto">
                <a:xfrm>
                  <a:off x="847487" y="4520694"/>
                  <a:ext cx="8879" cy="7399"/>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0 w 6"/>
                    <a:gd name="T11" fmla="*/ 2147483647 h 5"/>
                    <a:gd name="T12" fmla="*/ 2147483647 w 6"/>
                    <a:gd name="T13" fmla="*/ 0 h 5"/>
                    <a:gd name="T14" fmla="*/ 2147483647 w 6"/>
                    <a:gd name="T15" fmla="*/ 0 h 5"/>
                    <a:gd name="T16" fmla="*/ 2147483647 w 6"/>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6" y="2"/>
                      </a:moveTo>
                      <a:lnTo>
                        <a:pt x="6" y="4"/>
                      </a:lnTo>
                      <a:lnTo>
                        <a:pt x="5" y="5"/>
                      </a:lnTo>
                      <a:lnTo>
                        <a:pt x="2" y="5"/>
                      </a:lnTo>
                      <a:lnTo>
                        <a:pt x="1" y="4"/>
                      </a:lnTo>
                      <a:lnTo>
                        <a:pt x="0" y="2"/>
                      </a:lnTo>
                      <a:lnTo>
                        <a:pt x="1" y="0"/>
                      </a:lnTo>
                      <a:lnTo>
                        <a:pt x="5" y="0"/>
                      </a:lnTo>
                      <a:lnTo>
                        <a:pt x="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1" name="Freeform 580"/>
                <p:cNvSpPr>
                  <a:spLocks/>
                </p:cNvSpPr>
                <p:nvPr/>
              </p:nvSpPr>
              <p:spPr bwMode="auto">
                <a:xfrm>
                  <a:off x="822332" y="4488137"/>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0 w 6"/>
                    <a:gd name="T13" fmla="*/ 2147483647 h 6"/>
                    <a:gd name="T14" fmla="*/ 0 w 6"/>
                    <a:gd name="T15" fmla="*/ 2147483647 h 6"/>
                    <a:gd name="T16" fmla="*/ 0 w 6"/>
                    <a:gd name="T17" fmla="*/ 2147483647 h 6"/>
                    <a:gd name="T18" fmla="*/ 2147483647 w 6"/>
                    <a:gd name="T19" fmla="*/ 0 h 6"/>
                    <a:gd name="T20" fmla="*/ 2147483647 w 6"/>
                    <a:gd name="T21" fmla="*/ 0 h 6"/>
                    <a:gd name="T22" fmla="*/ 2147483647 w 6"/>
                    <a:gd name="T23" fmla="*/ 2147483647 h 6"/>
                    <a:gd name="T24" fmla="*/ 2147483647 w 6"/>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6"/>
                    <a:gd name="T41" fmla="*/ 6 w 6"/>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6">
                      <a:moveTo>
                        <a:pt x="5" y="2"/>
                      </a:moveTo>
                      <a:lnTo>
                        <a:pt x="5" y="2"/>
                      </a:lnTo>
                      <a:lnTo>
                        <a:pt x="6" y="3"/>
                      </a:lnTo>
                      <a:lnTo>
                        <a:pt x="6" y="6"/>
                      </a:lnTo>
                      <a:lnTo>
                        <a:pt x="1" y="3"/>
                      </a:lnTo>
                      <a:lnTo>
                        <a:pt x="0" y="2"/>
                      </a:lnTo>
                      <a:lnTo>
                        <a:pt x="0" y="1"/>
                      </a:lnTo>
                      <a:lnTo>
                        <a:pt x="1" y="0"/>
                      </a:lnTo>
                      <a:lnTo>
                        <a:pt x="2" y="0"/>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2" name="Freeform 581"/>
                <p:cNvSpPr>
                  <a:spLocks/>
                </p:cNvSpPr>
                <p:nvPr/>
              </p:nvSpPr>
              <p:spPr bwMode="auto">
                <a:xfrm>
                  <a:off x="844530" y="4519210"/>
                  <a:ext cx="10360" cy="7400"/>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2147483647 w 7"/>
                    <a:gd name="T17" fmla="*/ 0 h 5"/>
                    <a:gd name="T18" fmla="*/ 2147483647 w 7"/>
                    <a:gd name="T19" fmla="*/ 0 h 5"/>
                    <a:gd name="T20" fmla="*/ 2147483647 w 7"/>
                    <a:gd name="T21" fmla="*/ 0 h 5"/>
                    <a:gd name="T22" fmla="*/ 2147483647 w 7"/>
                    <a:gd name="T23" fmla="*/ 2147483647 h 5"/>
                    <a:gd name="T24" fmla="*/ 2147483647 w 7"/>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
                    <a:gd name="T41" fmla="*/ 7 w 7"/>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
                      <a:moveTo>
                        <a:pt x="7" y="1"/>
                      </a:moveTo>
                      <a:lnTo>
                        <a:pt x="7" y="1"/>
                      </a:lnTo>
                      <a:lnTo>
                        <a:pt x="7" y="4"/>
                      </a:lnTo>
                      <a:lnTo>
                        <a:pt x="6" y="5"/>
                      </a:lnTo>
                      <a:lnTo>
                        <a:pt x="3" y="5"/>
                      </a:lnTo>
                      <a:lnTo>
                        <a:pt x="2" y="4"/>
                      </a:lnTo>
                      <a:lnTo>
                        <a:pt x="0" y="1"/>
                      </a:lnTo>
                      <a:lnTo>
                        <a:pt x="2" y="0"/>
                      </a:lnTo>
                      <a:lnTo>
                        <a:pt x="6" y="0"/>
                      </a:lnTo>
                      <a:lnTo>
                        <a:pt x="7"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3" name="Freeform 582"/>
                <p:cNvSpPr>
                  <a:spLocks/>
                </p:cNvSpPr>
                <p:nvPr/>
              </p:nvSpPr>
              <p:spPr bwMode="auto">
                <a:xfrm>
                  <a:off x="893366" y="4566569"/>
                  <a:ext cx="13318" cy="14799"/>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0 w 10"/>
                    <a:gd name="T13" fmla="*/ 2147483647 h 10"/>
                    <a:gd name="T14" fmla="*/ 0 w 10"/>
                    <a:gd name="T15" fmla="*/ 2147483647 h 10"/>
                    <a:gd name="T16" fmla="*/ 2147483647 w 10"/>
                    <a:gd name="T17" fmla="*/ 2147483647 h 10"/>
                    <a:gd name="T18" fmla="*/ 2147483647 w 10"/>
                    <a:gd name="T19" fmla="*/ 0 h 10"/>
                    <a:gd name="T20" fmla="*/ 2147483647 w 10"/>
                    <a:gd name="T21" fmla="*/ 0 h 10"/>
                    <a:gd name="T22" fmla="*/ 2147483647 w 10"/>
                    <a:gd name="T23" fmla="*/ 2147483647 h 10"/>
                    <a:gd name="T24" fmla="*/ 2147483647 w 10"/>
                    <a:gd name="T25" fmla="*/ 2147483647 h 10"/>
                    <a:gd name="T26" fmla="*/ 2147483647 w 10"/>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9" y="6"/>
                      </a:moveTo>
                      <a:lnTo>
                        <a:pt x="9" y="7"/>
                      </a:lnTo>
                      <a:lnTo>
                        <a:pt x="10" y="8"/>
                      </a:lnTo>
                      <a:lnTo>
                        <a:pt x="7" y="10"/>
                      </a:lnTo>
                      <a:lnTo>
                        <a:pt x="4" y="10"/>
                      </a:lnTo>
                      <a:lnTo>
                        <a:pt x="1" y="8"/>
                      </a:lnTo>
                      <a:lnTo>
                        <a:pt x="0" y="6"/>
                      </a:lnTo>
                      <a:lnTo>
                        <a:pt x="0" y="4"/>
                      </a:lnTo>
                      <a:lnTo>
                        <a:pt x="1" y="1"/>
                      </a:lnTo>
                      <a:lnTo>
                        <a:pt x="2" y="0"/>
                      </a:lnTo>
                      <a:lnTo>
                        <a:pt x="5" y="0"/>
                      </a:lnTo>
                      <a:lnTo>
                        <a:pt x="6" y="1"/>
                      </a:lnTo>
                      <a:lnTo>
                        <a:pt x="7" y="3"/>
                      </a:lnTo>
                      <a:lnTo>
                        <a:pt x="9"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4" name="Freeform 583"/>
                <p:cNvSpPr>
                  <a:spLocks/>
                </p:cNvSpPr>
                <p:nvPr/>
              </p:nvSpPr>
              <p:spPr bwMode="auto">
                <a:xfrm>
                  <a:off x="1047273" y="5133360"/>
                  <a:ext cx="7399" cy="10359"/>
                </a:xfrm>
                <a:custGeom>
                  <a:avLst/>
                  <a:gdLst>
                    <a:gd name="T0" fmla="*/ 2147483647 w 5"/>
                    <a:gd name="T1" fmla="*/ 0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2147483647 w 5"/>
                    <a:gd name="T13" fmla="*/ 2147483647 h 7"/>
                    <a:gd name="T14" fmla="*/ 0 w 5"/>
                    <a:gd name="T15" fmla="*/ 2147483647 h 7"/>
                    <a:gd name="T16" fmla="*/ 0 w 5"/>
                    <a:gd name="T17" fmla="*/ 0 h 7"/>
                    <a:gd name="T18" fmla="*/ 2147483647 w 5"/>
                    <a:gd name="T19" fmla="*/ 0 h 7"/>
                    <a:gd name="T20" fmla="*/ 2147483647 w 5"/>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4" y="0"/>
                      </a:moveTo>
                      <a:lnTo>
                        <a:pt x="5" y="1"/>
                      </a:lnTo>
                      <a:lnTo>
                        <a:pt x="5" y="4"/>
                      </a:lnTo>
                      <a:lnTo>
                        <a:pt x="5" y="6"/>
                      </a:lnTo>
                      <a:lnTo>
                        <a:pt x="4" y="7"/>
                      </a:lnTo>
                      <a:lnTo>
                        <a:pt x="2" y="7"/>
                      </a:lnTo>
                      <a:lnTo>
                        <a:pt x="1" y="5"/>
                      </a:lnTo>
                      <a:lnTo>
                        <a:pt x="0" y="4"/>
                      </a:lnTo>
                      <a:lnTo>
                        <a:pt x="0" y="0"/>
                      </a:lnTo>
                      <a:lnTo>
                        <a:pt x="2" y="0"/>
                      </a:lnTo>
                      <a:lnTo>
                        <a:pt x="4"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5" name="Freeform 584"/>
                <p:cNvSpPr>
                  <a:spLocks/>
                </p:cNvSpPr>
                <p:nvPr/>
              </p:nvSpPr>
              <p:spPr bwMode="auto">
                <a:xfrm>
                  <a:off x="890403" y="4565087"/>
                  <a:ext cx="14799" cy="13319"/>
                </a:xfrm>
                <a:custGeom>
                  <a:avLst/>
                  <a:gdLst>
                    <a:gd name="T0" fmla="*/ 2147483647 w 11"/>
                    <a:gd name="T1" fmla="*/ 2147483647 h 9"/>
                    <a:gd name="T2" fmla="*/ 2147483647 w 11"/>
                    <a:gd name="T3" fmla="*/ 2147483647 h 9"/>
                    <a:gd name="T4" fmla="*/ 2147483647 w 11"/>
                    <a:gd name="T5" fmla="*/ 2147483647 h 9"/>
                    <a:gd name="T6" fmla="*/ 2147483647 w 11"/>
                    <a:gd name="T7" fmla="*/ 2147483647 h 9"/>
                    <a:gd name="T8" fmla="*/ 2147483647 w 11"/>
                    <a:gd name="T9" fmla="*/ 2147483647 h 9"/>
                    <a:gd name="T10" fmla="*/ 2147483647 w 11"/>
                    <a:gd name="T11" fmla="*/ 2147483647 h 9"/>
                    <a:gd name="T12" fmla="*/ 2147483647 w 11"/>
                    <a:gd name="T13" fmla="*/ 2147483647 h 9"/>
                    <a:gd name="T14" fmla="*/ 2147483647 w 11"/>
                    <a:gd name="T15" fmla="*/ 2147483647 h 9"/>
                    <a:gd name="T16" fmla="*/ 0 w 11"/>
                    <a:gd name="T17" fmla="*/ 2147483647 h 9"/>
                    <a:gd name="T18" fmla="*/ 0 w 11"/>
                    <a:gd name="T19" fmla="*/ 2147483647 h 9"/>
                    <a:gd name="T20" fmla="*/ 0 w 11"/>
                    <a:gd name="T21" fmla="*/ 2147483647 h 9"/>
                    <a:gd name="T22" fmla="*/ 2147483647 w 11"/>
                    <a:gd name="T23" fmla="*/ 2147483647 h 9"/>
                    <a:gd name="T24" fmla="*/ 2147483647 w 11"/>
                    <a:gd name="T25" fmla="*/ 0 h 9"/>
                    <a:gd name="T26" fmla="*/ 2147483647 w 11"/>
                    <a:gd name="T27" fmla="*/ 0 h 9"/>
                    <a:gd name="T28" fmla="*/ 2147483647 w 11"/>
                    <a:gd name="T29" fmla="*/ 0 h 9"/>
                    <a:gd name="T30" fmla="*/ 2147483647 w 11"/>
                    <a:gd name="T31" fmla="*/ 2147483647 h 9"/>
                    <a:gd name="T32" fmla="*/ 2147483647 w 11"/>
                    <a:gd name="T33" fmla="*/ 2147483647 h 9"/>
                    <a:gd name="T34" fmla="*/ 2147483647 w 11"/>
                    <a:gd name="T35" fmla="*/ 2147483647 h 9"/>
                    <a:gd name="T36" fmla="*/ 2147483647 w 11"/>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9"/>
                    <a:gd name="T59" fmla="*/ 11 w 11"/>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9">
                      <a:moveTo>
                        <a:pt x="9" y="6"/>
                      </a:moveTo>
                      <a:lnTo>
                        <a:pt x="9" y="6"/>
                      </a:lnTo>
                      <a:lnTo>
                        <a:pt x="9" y="7"/>
                      </a:lnTo>
                      <a:lnTo>
                        <a:pt x="11" y="8"/>
                      </a:lnTo>
                      <a:lnTo>
                        <a:pt x="8" y="9"/>
                      </a:lnTo>
                      <a:lnTo>
                        <a:pt x="4" y="9"/>
                      </a:lnTo>
                      <a:lnTo>
                        <a:pt x="2" y="8"/>
                      </a:lnTo>
                      <a:lnTo>
                        <a:pt x="0" y="6"/>
                      </a:lnTo>
                      <a:lnTo>
                        <a:pt x="0" y="4"/>
                      </a:lnTo>
                      <a:lnTo>
                        <a:pt x="2" y="1"/>
                      </a:lnTo>
                      <a:lnTo>
                        <a:pt x="3" y="0"/>
                      </a:lnTo>
                      <a:lnTo>
                        <a:pt x="6" y="0"/>
                      </a:lnTo>
                      <a:lnTo>
                        <a:pt x="7" y="1"/>
                      </a:lnTo>
                      <a:lnTo>
                        <a:pt x="8" y="2"/>
                      </a:lnTo>
                      <a:lnTo>
                        <a:pt x="9"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6" name="Freeform 585"/>
                <p:cNvSpPr>
                  <a:spLocks/>
                </p:cNvSpPr>
                <p:nvPr/>
              </p:nvSpPr>
              <p:spPr bwMode="auto">
                <a:xfrm>
                  <a:off x="1044311" y="5131880"/>
                  <a:ext cx="8879" cy="10360"/>
                </a:xfrm>
                <a:custGeom>
                  <a:avLst/>
                  <a:gdLst>
                    <a:gd name="T0" fmla="*/ 2147483647 w 6"/>
                    <a:gd name="T1" fmla="*/ 0 h 7"/>
                    <a:gd name="T2" fmla="*/ 2147483647 w 6"/>
                    <a:gd name="T3" fmla="*/ 0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0 w 6"/>
                    <a:gd name="T21" fmla="*/ 2147483647 h 7"/>
                    <a:gd name="T22" fmla="*/ 0 w 6"/>
                    <a:gd name="T23" fmla="*/ 0 h 7"/>
                    <a:gd name="T24" fmla="*/ 0 w 6"/>
                    <a:gd name="T25" fmla="*/ 0 h 7"/>
                    <a:gd name="T26" fmla="*/ 2147483647 w 6"/>
                    <a:gd name="T27" fmla="*/ 0 h 7"/>
                    <a:gd name="T28" fmla="*/ 2147483647 w 6"/>
                    <a:gd name="T29" fmla="*/ 0 h 7"/>
                    <a:gd name="T30" fmla="*/ 2147483647 w 6"/>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7"/>
                    <a:gd name="T50" fmla="*/ 6 w 6"/>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7">
                      <a:moveTo>
                        <a:pt x="4" y="0"/>
                      </a:moveTo>
                      <a:lnTo>
                        <a:pt x="4" y="0"/>
                      </a:lnTo>
                      <a:lnTo>
                        <a:pt x="6" y="1"/>
                      </a:lnTo>
                      <a:lnTo>
                        <a:pt x="6" y="4"/>
                      </a:lnTo>
                      <a:lnTo>
                        <a:pt x="6" y="6"/>
                      </a:lnTo>
                      <a:lnTo>
                        <a:pt x="4" y="7"/>
                      </a:lnTo>
                      <a:lnTo>
                        <a:pt x="3" y="7"/>
                      </a:lnTo>
                      <a:lnTo>
                        <a:pt x="2" y="5"/>
                      </a:lnTo>
                      <a:lnTo>
                        <a:pt x="0" y="4"/>
                      </a:lnTo>
                      <a:lnTo>
                        <a:pt x="0" y="0"/>
                      </a:lnTo>
                      <a:lnTo>
                        <a:pt x="3" y="0"/>
                      </a:lnTo>
                      <a:lnTo>
                        <a:pt x="4"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7" name="Freeform 586"/>
                <p:cNvSpPr>
                  <a:spLocks/>
                </p:cNvSpPr>
                <p:nvPr/>
              </p:nvSpPr>
              <p:spPr bwMode="auto">
                <a:xfrm>
                  <a:off x="1143460" y="5068246"/>
                  <a:ext cx="17758" cy="13319"/>
                </a:xfrm>
                <a:custGeom>
                  <a:avLst/>
                  <a:gdLst>
                    <a:gd name="T0" fmla="*/ 2147483647 w 14"/>
                    <a:gd name="T1" fmla="*/ 2147483647 h 9"/>
                    <a:gd name="T2" fmla="*/ 2147483647 w 14"/>
                    <a:gd name="T3" fmla="*/ 2147483647 h 9"/>
                    <a:gd name="T4" fmla="*/ 0 w 14"/>
                    <a:gd name="T5" fmla="*/ 2147483647 h 9"/>
                    <a:gd name="T6" fmla="*/ 2147483647 w 14"/>
                    <a:gd name="T7" fmla="*/ 0 h 9"/>
                    <a:gd name="T8" fmla="*/ 2147483647 w 14"/>
                    <a:gd name="T9" fmla="*/ 2147483647 h 9"/>
                    <a:gd name="T10" fmla="*/ 2147483647 w 14"/>
                    <a:gd name="T11" fmla="*/ 2147483647 h 9"/>
                    <a:gd name="T12" fmla="*/ 2147483647 w 14"/>
                    <a:gd name="T13" fmla="*/ 2147483647 h 9"/>
                    <a:gd name="T14" fmla="*/ 2147483647 w 14"/>
                    <a:gd name="T15" fmla="*/ 2147483647 h 9"/>
                    <a:gd name="T16" fmla="*/ 2147483647 w 14"/>
                    <a:gd name="T17" fmla="*/ 2147483647 h 9"/>
                    <a:gd name="T18" fmla="*/ 2147483647 w 14"/>
                    <a:gd name="T19" fmla="*/ 2147483647 h 9"/>
                    <a:gd name="T20" fmla="*/ 2147483647 w 14"/>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9"/>
                    <a:gd name="T35" fmla="*/ 14 w 14"/>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9">
                      <a:moveTo>
                        <a:pt x="6" y="6"/>
                      </a:moveTo>
                      <a:lnTo>
                        <a:pt x="2" y="4"/>
                      </a:lnTo>
                      <a:lnTo>
                        <a:pt x="0" y="1"/>
                      </a:lnTo>
                      <a:lnTo>
                        <a:pt x="3" y="0"/>
                      </a:lnTo>
                      <a:lnTo>
                        <a:pt x="7" y="1"/>
                      </a:lnTo>
                      <a:lnTo>
                        <a:pt x="14" y="6"/>
                      </a:lnTo>
                      <a:lnTo>
                        <a:pt x="14" y="7"/>
                      </a:lnTo>
                      <a:lnTo>
                        <a:pt x="14" y="9"/>
                      </a:lnTo>
                      <a:lnTo>
                        <a:pt x="11" y="9"/>
                      </a:lnTo>
                      <a:lnTo>
                        <a:pt x="10" y="7"/>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8" name="Freeform 587"/>
                <p:cNvSpPr>
                  <a:spLocks/>
                </p:cNvSpPr>
                <p:nvPr/>
              </p:nvSpPr>
              <p:spPr bwMode="auto">
                <a:xfrm>
                  <a:off x="1248532" y="5105243"/>
                  <a:ext cx="17758" cy="16279"/>
                </a:xfrm>
                <a:custGeom>
                  <a:avLst/>
                  <a:gdLst>
                    <a:gd name="T0" fmla="*/ 2147483647 w 13"/>
                    <a:gd name="T1" fmla="*/ 2147483647 h 11"/>
                    <a:gd name="T2" fmla="*/ 0 w 13"/>
                    <a:gd name="T3" fmla="*/ 2147483647 h 11"/>
                    <a:gd name="T4" fmla="*/ 0 w 13"/>
                    <a:gd name="T5" fmla="*/ 2147483647 h 11"/>
                    <a:gd name="T6" fmla="*/ 2147483647 w 13"/>
                    <a:gd name="T7" fmla="*/ 0 h 11"/>
                    <a:gd name="T8" fmla="*/ 2147483647 w 13"/>
                    <a:gd name="T9" fmla="*/ 0 h 11"/>
                    <a:gd name="T10" fmla="*/ 2147483647 w 13"/>
                    <a:gd name="T11" fmla="*/ 0 h 11"/>
                    <a:gd name="T12" fmla="*/ 2147483647 w 13"/>
                    <a:gd name="T13" fmla="*/ 2147483647 h 11"/>
                    <a:gd name="T14" fmla="*/ 2147483647 w 13"/>
                    <a:gd name="T15" fmla="*/ 2147483647 h 11"/>
                    <a:gd name="T16" fmla="*/ 2147483647 w 13"/>
                    <a:gd name="T17" fmla="*/ 2147483647 h 11"/>
                    <a:gd name="T18" fmla="*/ 2147483647 w 13"/>
                    <a:gd name="T19" fmla="*/ 2147483647 h 11"/>
                    <a:gd name="T20" fmla="*/ 2147483647 w 13"/>
                    <a:gd name="T21" fmla="*/ 2147483647 h 11"/>
                    <a:gd name="T22" fmla="*/ 2147483647 w 13"/>
                    <a:gd name="T23" fmla="*/ 2147483647 h 11"/>
                    <a:gd name="T24" fmla="*/ 2147483647 w 13"/>
                    <a:gd name="T25" fmla="*/ 2147483647 h 11"/>
                    <a:gd name="T26" fmla="*/ 2147483647 w 13"/>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5" y="7"/>
                      </a:moveTo>
                      <a:lnTo>
                        <a:pt x="0" y="4"/>
                      </a:lnTo>
                      <a:lnTo>
                        <a:pt x="0" y="1"/>
                      </a:lnTo>
                      <a:lnTo>
                        <a:pt x="1" y="0"/>
                      </a:lnTo>
                      <a:lnTo>
                        <a:pt x="3" y="0"/>
                      </a:lnTo>
                      <a:lnTo>
                        <a:pt x="5" y="0"/>
                      </a:lnTo>
                      <a:lnTo>
                        <a:pt x="8" y="1"/>
                      </a:lnTo>
                      <a:lnTo>
                        <a:pt x="10" y="5"/>
                      </a:lnTo>
                      <a:lnTo>
                        <a:pt x="11" y="8"/>
                      </a:lnTo>
                      <a:lnTo>
                        <a:pt x="13" y="10"/>
                      </a:lnTo>
                      <a:lnTo>
                        <a:pt x="11" y="11"/>
                      </a:lnTo>
                      <a:lnTo>
                        <a:pt x="10" y="11"/>
                      </a:lnTo>
                      <a:lnTo>
                        <a:pt x="8" y="8"/>
                      </a:lnTo>
                      <a:lnTo>
                        <a:pt x="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89" name="Freeform 588"/>
                <p:cNvSpPr>
                  <a:spLocks/>
                </p:cNvSpPr>
                <p:nvPr/>
              </p:nvSpPr>
              <p:spPr bwMode="auto">
                <a:xfrm>
                  <a:off x="1140500" y="5066762"/>
                  <a:ext cx="19239" cy="11839"/>
                </a:xfrm>
                <a:custGeom>
                  <a:avLst/>
                  <a:gdLst>
                    <a:gd name="T0" fmla="*/ 2147483647 w 14"/>
                    <a:gd name="T1" fmla="*/ 2147483647 h 8"/>
                    <a:gd name="T2" fmla="*/ 2147483647 w 14"/>
                    <a:gd name="T3" fmla="*/ 2147483647 h 8"/>
                    <a:gd name="T4" fmla="*/ 2147483647 w 14"/>
                    <a:gd name="T5" fmla="*/ 2147483647 h 8"/>
                    <a:gd name="T6" fmla="*/ 0 w 14"/>
                    <a:gd name="T7" fmla="*/ 2147483647 h 8"/>
                    <a:gd name="T8" fmla="*/ 0 w 14"/>
                    <a:gd name="T9" fmla="*/ 2147483647 h 8"/>
                    <a:gd name="T10" fmla="*/ 2147483647 w 14"/>
                    <a:gd name="T11" fmla="*/ 0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2147483647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2147483647 w 14"/>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8"/>
                    <a:gd name="T50" fmla="*/ 14 w 14"/>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8">
                      <a:moveTo>
                        <a:pt x="7" y="6"/>
                      </a:moveTo>
                      <a:lnTo>
                        <a:pt x="7" y="6"/>
                      </a:lnTo>
                      <a:lnTo>
                        <a:pt x="3" y="4"/>
                      </a:lnTo>
                      <a:lnTo>
                        <a:pt x="0" y="1"/>
                      </a:lnTo>
                      <a:lnTo>
                        <a:pt x="4" y="0"/>
                      </a:lnTo>
                      <a:lnTo>
                        <a:pt x="8" y="1"/>
                      </a:lnTo>
                      <a:lnTo>
                        <a:pt x="14" y="6"/>
                      </a:lnTo>
                      <a:lnTo>
                        <a:pt x="14" y="7"/>
                      </a:lnTo>
                      <a:lnTo>
                        <a:pt x="14" y="8"/>
                      </a:lnTo>
                      <a:lnTo>
                        <a:pt x="12" y="8"/>
                      </a:lnTo>
                      <a:lnTo>
                        <a:pt x="10" y="7"/>
                      </a:lnTo>
                      <a:lnTo>
                        <a:pt x="7"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0" name="Freeform 589"/>
                <p:cNvSpPr>
                  <a:spLocks/>
                </p:cNvSpPr>
                <p:nvPr/>
              </p:nvSpPr>
              <p:spPr bwMode="auto">
                <a:xfrm>
                  <a:off x="1247054" y="5103760"/>
                  <a:ext cx="16279" cy="16278"/>
                </a:xfrm>
                <a:custGeom>
                  <a:avLst/>
                  <a:gdLst>
                    <a:gd name="T0" fmla="*/ 2147483647 w 12"/>
                    <a:gd name="T1" fmla="*/ 2147483647 h 11"/>
                    <a:gd name="T2" fmla="*/ 2147483647 w 12"/>
                    <a:gd name="T3" fmla="*/ 2147483647 h 11"/>
                    <a:gd name="T4" fmla="*/ 0 w 12"/>
                    <a:gd name="T5" fmla="*/ 2147483647 h 11"/>
                    <a:gd name="T6" fmla="*/ 0 w 12"/>
                    <a:gd name="T7" fmla="*/ 2147483647 h 11"/>
                    <a:gd name="T8" fmla="*/ 2147483647 w 12"/>
                    <a:gd name="T9" fmla="*/ 0 h 11"/>
                    <a:gd name="T10" fmla="*/ 2147483647 w 12"/>
                    <a:gd name="T11" fmla="*/ 0 h 11"/>
                    <a:gd name="T12" fmla="*/ 2147483647 w 12"/>
                    <a:gd name="T13" fmla="*/ 0 h 11"/>
                    <a:gd name="T14" fmla="*/ 2147483647 w 12"/>
                    <a:gd name="T15" fmla="*/ 0 h 11"/>
                    <a:gd name="T16" fmla="*/ 2147483647 w 12"/>
                    <a:gd name="T17" fmla="*/ 2147483647 h 11"/>
                    <a:gd name="T18" fmla="*/ 2147483647 w 12"/>
                    <a:gd name="T19" fmla="*/ 2147483647 h 11"/>
                    <a:gd name="T20" fmla="*/ 2147483647 w 12"/>
                    <a:gd name="T21" fmla="*/ 2147483647 h 11"/>
                    <a:gd name="T22" fmla="*/ 2147483647 w 12"/>
                    <a:gd name="T23" fmla="*/ 2147483647 h 11"/>
                    <a:gd name="T24" fmla="*/ 2147483647 w 12"/>
                    <a:gd name="T25" fmla="*/ 2147483647 h 11"/>
                    <a:gd name="T26" fmla="*/ 2147483647 w 12"/>
                    <a:gd name="T27" fmla="*/ 2147483647 h 11"/>
                    <a:gd name="T28" fmla="*/ 2147483647 w 12"/>
                    <a:gd name="T29" fmla="*/ 2147483647 h 11"/>
                    <a:gd name="T30" fmla="*/ 2147483647 w 12"/>
                    <a:gd name="T31" fmla="*/ 2147483647 h 11"/>
                    <a:gd name="T32" fmla="*/ 2147483647 w 12"/>
                    <a:gd name="T33" fmla="*/ 2147483647 h 11"/>
                    <a:gd name="T34" fmla="*/ 2147483647 w 12"/>
                    <a:gd name="T35" fmla="*/ 2147483647 h 11"/>
                    <a:gd name="T36" fmla="*/ 2147483647 w 12"/>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1"/>
                    <a:gd name="T59" fmla="*/ 12 w 12"/>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1">
                      <a:moveTo>
                        <a:pt x="5" y="7"/>
                      </a:moveTo>
                      <a:lnTo>
                        <a:pt x="5" y="7"/>
                      </a:lnTo>
                      <a:lnTo>
                        <a:pt x="0" y="4"/>
                      </a:lnTo>
                      <a:lnTo>
                        <a:pt x="0" y="1"/>
                      </a:lnTo>
                      <a:lnTo>
                        <a:pt x="1" y="0"/>
                      </a:lnTo>
                      <a:lnTo>
                        <a:pt x="2" y="0"/>
                      </a:lnTo>
                      <a:lnTo>
                        <a:pt x="5" y="0"/>
                      </a:lnTo>
                      <a:lnTo>
                        <a:pt x="7" y="1"/>
                      </a:lnTo>
                      <a:lnTo>
                        <a:pt x="10" y="5"/>
                      </a:lnTo>
                      <a:lnTo>
                        <a:pt x="11" y="8"/>
                      </a:lnTo>
                      <a:lnTo>
                        <a:pt x="12" y="9"/>
                      </a:lnTo>
                      <a:lnTo>
                        <a:pt x="11" y="11"/>
                      </a:lnTo>
                      <a:lnTo>
                        <a:pt x="10" y="11"/>
                      </a:lnTo>
                      <a:lnTo>
                        <a:pt x="7" y="8"/>
                      </a:lnTo>
                      <a:lnTo>
                        <a:pt x="5"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1" name="Freeform 590"/>
                <p:cNvSpPr>
                  <a:spLocks/>
                </p:cNvSpPr>
                <p:nvPr/>
              </p:nvSpPr>
              <p:spPr bwMode="auto">
                <a:xfrm>
                  <a:off x="1303287" y="5142240"/>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2147483647 w 6"/>
                    <a:gd name="T13" fmla="*/ 0 h 6"/>
                    <a:gd name="T14" fmla="*/ 2147483647 w 6"/>
                    <a:gd name="T15" fmla="*/ 0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4"/>
                      </a:moveTo>
                      <a:lnTo>
                        <a:pt x="5" y="6"/>
                      </a:lnTo>
                      <a:lnTo>
                        <a:pt x="3" y="6"/>
                      </a:lnTo>
                      <a:lnTo>
                        <a:pt x="2" y="6"/>
                      </a:lnTo>
                      <a:lnTo>
                        <a:pt x="0" y="5"/>
                      </a:lnTo>
                      <a:lnTo>
                        <a:pt x="0" y="2"/>
                      </a:lnTo>
                      <a:lnTo>
                        <a:pt x="1" y="0"/>
                      </a:lnTo>
                      <a:lnTo>
                        <a:pt x="5" y="0"/>
                      </a:lnTo>
                      <a:lnTo>
                        <a:pt x="6"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2" name="Freeform 591"/>
                <p:cNvSpPr>
                  <a:spLocks/>
                </p:cNvSpPr>
                <p:nvPr/>
              </p:nvSpPr>
              <p:spPr bwMode="auto">
                <a:xfrm>
                  <a:off x="1195257" y="5112642"/>
                  <a:ext cx="11839" cy="10359"/>
                </a:xfrm>
                <a:custGeom>
                  <a:avLst/>
                  <a:gdLst>
                    <a:gd name="T0" fmla="*/ 2147483647 w 9"/>
                    <a:gd name="T1" fmla="*/ 2147483647 h 7"/>
                    <a:gd name="T2" fmla="*/ 0 w 9"/>
                    <a:gd name="T3" fmla="*/ 2147483647 h 7"/>
                    <a:gd name="T4" fmla="*/ 0 w 9"/>
                    <a:gd name="T5" fmla="*/ 0 h 7"/>
                    <a:gd name="T6" fmla="*/ 2147483647 w 9"/>
                    <a:gd name="T7" fmla="*/ 0 h 7"/>
                    <a:gd name="T8" fmla="*/ 2147483647 w 9"/>
                    <a:gd name="T9" fmla="*/ 0 h 7"/>
                    <a:gd name="T10" fmla="*/ 2147483647 w 9"/>
                    <a:gd name="T11" fmla="*/ 2147483647 h 7"/>
                    <a:gd name="T12" fmla="*/ 2147483647 w 9"/>
                    <a:gd name="T13" fmla="*/ 2147483647 h 7"/>
                    <a:gd name="T14" fmla="*/ 2147483647 w 9"/>
                    <a:gd name="T15" fmla="*/ 2147483647 h 7"/>
                    <a:gd name="T16" fmla="*/ 2147483647 w 9"/>
                    <a:gd name="T17" fmla="*/ 2147483647 h 7"/>
                    <a:gd name="T18" fmla="*/ 2147483647 w 9"/>
                    <a:gd name="T19" fmla="*/ 2147483647 h 7"/>
                    <a:gd name="T20" fmla="*/ 2147483647 w 9"/>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1" y="3"/>
                      </a:moveTo>
                      <a:lnTo>
                        <a:pt x="0" y="1"/>
                      </a:lnTo>
                      <a:lnTo>
                        <a:pt x="0" y="0"/>
                      </a:lnTo>
                      <a:lnTo>
                        <a:pt x="2" y="0"/>
                      </a:lnTo>
                      <a:lnTo>
                        <a:pt x="3" y="0"/>
                      </a:lnTo>
                      <a:lnTo>
                        <a:pt x="7" y="3"/>
                      </a:lnTo>
                      <a:lnTo>
                        <a:pt x="9" y="6"/>
                      </a:lnTo>
                      <a:lnTo>
                        <a:pt x="7" y="6"/>
                      </a:lnTo>
                      <a:lnTo>
                        <a:pt x="5" y="7"/>
                      </a:lnTo>
                      <a:lnTo>
                        <a:pt x="3" y="6"/>
                      </a:lnTo>
                      <a:lnTo>
                        <a:pt x="1"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3" name="Freeform 592"/>
                <p:cNvSpPr>
                  <a:spLocks/>
                </p:cNvSpPr>
                <p:nvPr/>
              </p:nvSpPr>
              <p:spPr bwMode="auto">
                <a:xfrm>
                  <a:off x="1301810" y="5140760"/>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0 w 7"/>
                    <a:gd name="T11" fmla="*/ 2147483647 h 6"/>
                    <a:gd name="T12" fmla="*/ 0 w 7"/>
                    <a:gd name="T13" fmla="*/ 2147483647 h 6"/>
                    <a:gd name="T14" fmla="*/ 0 w 7"/>
                    <a:gd name="T15" fmla="*/ 2147483647 h 6"/>
                    <a:gd name="T16" fmla="*/ 2147483647 w 7"/>
                    <a:gd name="T17" fmla="*/ 0 h 6"/>
                    <a:gd name="T18" fmla="*/ 2147483647 w 7"/>
                    <a:gd name="T19" fmla="*/ 0 h 6"/>
                    <a:gd name="T20" fmla="*/ 2147483647 w 7"/>
                    <a:gd name="T21" fmla="*/ 0 h 6"/>
                    <a:gd name="T22" fmla="*/ 2147483647 w 7"/>
                    <a:gd name="T23" fmla="*/ 2147483647 h 6"/>
                    <a:gd name="T24" fmla="*/ 2147483647 w 7"/>
                    <a:gd name="T25" fmla="*/ 2147483647 h 6"/>
                    <a:gd name="T26" fmla="*/ 2147483647 w 7"/>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6"/>
                    <a:gd name="T44" fmla="*/ 7 w 7"/>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6">
                      <a:moveTo>
                        <a:pt x="7" y="3"/>
                      </a:moveTo>
                      <a:lnTo>
                        <a:pt x="7" y="3"/>
                      </a:lnTo>
                      <a:lnTo>
                        <a:pt x="5" y="6"/>
                      </a:lnTo>
                      <a:lnTo>
                        <a:pt x="4" y="6"/>
                      </a:lnTo>
                      <a:lnTo>
                        <a:pt x="3" y="6"/>
                      </a:lnTo>
                      <a:lnTo>
                        <a:pt x="0" y="5"/>
                      </a:lnTo>
                      <a:lnTo>
                        <a:pt x="0" y="2"/>
                      </a:lnTo>
                      <a:lnTo>
                        <a:pt x="2" y="0"/>
                      </a:lnTo>
                      <a:lnTo>
                        <a:pt x="5" y="0"/>
                      </a:lnTo>
                      <a:lnTo>
                        <a:pt x="7" y="1"/>
                      </a:lnTo>
                      <a:lnTo>
                        <a:pt x="7"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4" name="Freeform 593"/>
                <p:cNvSpPr>
                  <a:spLocks/>
                </p:cNvSpPr>
                <p:nvPr/>
              </p:nvSpPr>
              <p:spPr bwMode="auto">
                <a:xfrm>
                  <a:off x="1192296" y="5111158"/>
                  <a:ext cx="11839" cy="10360"/>
                </a:xfrm>
                <a:custGeom>
                  <a:avLst/>
                  <a:gdLst>
                    <a:gd name="T0" fmla="*/ 2147483647 w 9"/>
                    <a:gd name="T1" fmla="*/ 2147483647 h 7"/>
                    <a:gd name="T2" fmla="*/ 2147483647 w 9"/>
                    <a:gd name="T3" fmla="*/ 2147483647 h 7"/>
                    <a:gd name="T4" fmla="*/ 0 w 9"/>
                    <a:gd name="T5" fmla="*/ 2147483647 h 7"/>
                    <a:gd name="T6" fmla="*/ 0 w 9"/>
                    <a:gd name="T7" fmla="*/ 0 h 7"/>
                    <a:gd name="T8" fmla="*/ 0 w 9"/>
                    <a:gd name="T9" fmla="*/ 0 h 7"/>
                    <a:gd name="T10" fmla="*/ 0 w 9"/>
                    <a:gd name="T11" fmla="*/ 0 h 7"/>
                    <a:gd name="T12" fmla="*/ 2147483647 w 9"/>
                    <a:gd name="T13" fmla="*/ 0 h 7"/>
                    <a:gd name="T14" fmla="*/ 2147483647 w 9"/>
                    <a:gd name="T15" fmla="*/ 0 h 7"/>
                    <a:gd name="T16" fmla="*/ 2147483647 w 9"/>
                    <a:gd name="T17" fmla="*/ 2147483647 h 7"/>
                    <a:gd name="T18" fmla="*/ 2147483647 w 9"/>
                    <a:gd name="T19" fmla="*/ 2147483647 h 7"/>
                    <a:gd name="T20" fmla="*/ 2147483647 w 9"/>
                    <a:gd name="T21" fmla="*/ 2147483647 h 7"/>
                    <a:gd name="T22" fmla="*/ 2147483647 w 9"/>
                    <a:gd name="T23" fmla="*/ 2147483647 h 7"/>
                    <a:gd name="T24" fmla="*/ 2147483647 w 9"/>
                    <a:gd name="T25" fmla="*/ 2147483647 h 7"/>
                    <a:gd name="T26" fmla="*/ 2147483647 w 9"/>
                    <a:gd name="T27" fmla="*/ 2147483647 h 7"/>
                    <a:gd name="T28" fmla="*/ 2147483647 w 9"/>
                    <a:gd name="T29" fmla="*/ 2147483647 h 7"/>
                    <a:gd name="T30" fmla="*/ 2147483647 w 9"/>
                    <a:gd name="T31" fmla="*/ 2147483647 h 7"/>
                    <a:gd name="T32" fmla="*/ 2147483647 w 9"/>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7"/>
                    <a:gd name="T53" fmla="*/ 9 w 9"/>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7">
                      <a:moveTo>
                        <a:pt x="2" y="3"/>
                      </a:moveTo>
                      <a:lnTo>
                        <a:pt x="2" y="3"/>
                      </a:lnTo>
                      <a:lnTo>
                        <a:pt x="0" y="1"/>
                      </a:lnTo>
                      <a:lnTo>
                        <a:pt x="0" y="0"/>
                      </a:lnTo>
                      <a:lnTo>
                        <a:pt x="3" y="0"/>
                      </a:lnTo>
                      <a:lnTo>
                        <a:pt x="4" y="0"/>
                      </a:lnTo>
                      <a:lnTo>
                        <a:pt x="8" y="3"/>
                      </a:lnTo>
                      <a:lnTo>
                        <a:pt x="9" y="6"/>
                      </a:lnTo>
                      <a:lnTo>
                        <a:pt x="8" y="6"/>
                      </a:lnTo>
                      <a:lnTo>
                        <a:pt x="5" y="7"/>
                      </a:lnTo>
                      <a:lnTo>
                        <a:pt x="4" y="6"/>
                      </a:lnTo>
                      <a:lnTo>
                        <a:pt x="2"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5" name="Freeform 594"/>
                <p:cNvSpPr>
                  <a:spLocks/>
                </p:cNvSpPr>
                <p:nvPr/>
              </p:nvSpPr>
              <p:spPr bwMode="auto">
                <a:xfrm>
                  <a:off x="1097586" y="5151115"/>
                  <a:ext cx="8879" cy="10359"/>
                </a:xfrm>
                <a:custGeom>
                  <a:avLst/>
                  <a:gdLst>
                    <a:gd name="T0" fmla="*/ 2147483647 w 6"/>
                    <a:gd name="T1" fmla="*/ 2147483647 h 7"/>
                    <a:gd name="T2" fmla="*/ 0 w 6"/>
                    <a:gd name="T3" fmla="*/ 2147483647 h 7"/>
                    <a:gd name="T4" fmla="*/ 0 w 6"/>
                    <a:gd name="T5" fmla="*/ 2147483647 h 7"/>
                    <a:gd name="T6" fmla="*/ 2147483647 w 6"/>
                    <a:gd name="T7" fmla="*/ 0 h 7"/>
                    <a:gd name="T8" fmla="*/ 2147483647 w 6"/>
                    <a:gd name="T9" fmla="*/ 0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7"/>
                    <a:gd name="T38" fmla="*/ 6 w 6"/>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7">
                      <a:moveTo>
                        <a:pt x="1" y="6"/>
                      </a:moveTo>
                      <a:lnTo>
                        <a:pt x="0" y="5"/>
                      </a:lnTo>
                      <a:lnTo>
                        <a:pt x="0" y="2"/>
                      </a:lnTo>
                      <a:lnTo>
                        <a:pt x="1" y="0"/>
                      </a:lnTo>
                      <a:lnTo>
                        <a:pt x="3" y="0"/>
                      </a:lnTo>
                      <a:lnTo>
                        <a:pt x="6" y="1"/>
                      </a:lnTo>
                      <a:lnTo>
                        <a:pt x="6" y="4"/>
                      </a:lnTo>
                      <a:lnTo>
                        <a:pt x="6" y="6"/>
                      </a:lnTo>
                      <a:lnTo>
                        <a:pt x="5" y="7"/>
                      </a:lnTo>
                      <a:lnTo>
                        <a:pt x="3" y="7"/>
                      </a:lnTo>
                      <a:lnTo>
                        <a:pt x="2" y="7"/>
                      </a:lnTo>
                      <a:lnTo>
                        <a:pt x="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6" name="Freeform 595"/>
                <p:cNvSpPr>
                  <a:spLocks/>
                </p:cNvSpPr>
                <p:nvPr/>
              </p:nvSpPr>
              <p:spPr bwMode="auto">
                <a:xfrm>
                  <a:off x="1060590" y="5128917"/>
                  <a:ext cx="2960" cy="5919"/>
                </a:xfrm>
                <a:custGeom>
                  <a:avLst/>
                  <a:gdLst>
                    <a:gd name="T0" fmla="*/ 2147483647 w 2"/>
                    <a:gd name="T1" fmla="*/ 2147483647 h 4"/>
                    <a:gd name="T2" fmla="*/ 2147483647 w 2"/>
                    <a:gd name="T3" fmla="*/ 0 h 4"/>
                    <a:gd name="T4" fmla="*/ 2147483647 w 2"/>
                    <a:gd name="T5" fmla="*/ 0 h 4"/>
                    <a:gd name="T6" fmla="*/ 0 w 2"/>
                    <a:gd name="T7" fmla="*/ 0 h 4"/>
                    <a:gd name="T8" fmla="*/ 0 w 2"/>
                    <a:gd name="T9" fmla="*/ 2147483647 h 4"/>
                    <a:gd name="T10" fmla="*/ 0 w 2"/>
                    <a:gd name="T11" fmla="*/ 2147483647 h 4"/>
                    <a:gd name="T12" fmla="*/ 2147483647 w 2"/>
                    <a:gd name="T13" fmla="*/ 2147483647 h 4"/>
                    <a:gd name="T14" fmla="*/ 2147483647 w 2"/>
                    <a:gd name="T15" fmla="*/ 2147483647 h 4"/>
                    <a:gd name="T16" fmla="*/ 2147483647 w 2"/>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4"/>
                    <a:gd name="T29" fmla="*/ 2 w 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4">
                      <a:moveTo>
                        <a:pt x="2" y="3"/>
                      </a:moveTo>
                      <a:lnTo>
                        <a:pt x="2" y="0"/>
                      </a:lnTo>
                      <a:lnTo>
                        <a:pt x="1" y="0"/>
                      </a:lnTo>
                      <a:lnTo>
                        <a:pt x="0" y="0"/>
                      </a:lnTo>
                      <a:lnTo>
                        <a:pt x="0" y="2"/>
                      </a:lnTo>
                      <a:lnTo>
                        <a:pt x="0" y="3"/>
                      </a:lnTo>
                      <a:lnTo>
                        <a:pt x="1" y="4"/>
                      </a:lnTo>
                      <a:lnTo>
                        <a:pt x="2" y="4"/>
                      </a:lnTo>
                      <a:lnTo>
                        <a:pt x="2"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7" name="Freeform 596"/>
                <p:cNvSpPr>
                  <a:spLocks/>
                </p:cNvSpPr>
                <p:nvPr/>
              </p:nvSpPr>
              <p:spPr bwMode="auto">
                <a:xfrm>
                  <a:off x="1094625" y="5149635"/>
                  <a:ext cx="10359" cy="10360"/>
                </a:xfrm>
                <a:custGeom>
                  <a:avLst/>
                  <a:gdLst>
                    <a:gd name="T0" fmla="*/ 2147483647 w 7"/>
                    <a:gd name="T1" fmla="*/ 2147483647 h 7"/>
                    <a:gd name="T2" fmla="*/ 2147483647 w 7"/>
                    <a:gd name="T3" fmla="*/ 2147483647 h 7"/>
                    <a:gd name="T4" fmla="*/ 0 w 7"/>
                    <a:gd name="T5" fmla="*/ 2147483647 h 7"/>
                    <a:gd name="T6" fmla="*/ 0 w 7"/>
                    <a:gd name="T7" fmla="*/ 2147483647 h 7"/>
                    <a:gd name="T8" fmla="*/ 0 w 7"/>
                    <a:gd name="T9" fmla="*/ 2147483647 h 7"/>
                    <a:gd name="T10" fmla="*/ 2147483647 w 7"/>
                    <a:gd name="T11" fmla="*/ 0 h 7"/>
                    <a:gd name="T12" fmla="*/ 2147483647 w 7"/>
                    <a:gd name="T13" fmla="*/ 0 h 7"/>
                    <a:gd name="T14" fmla="*/ 2147483647 w 7"/>
                    <a:gd name="T15" fmla="*/ 0 h 7"/>
                    <a:gd name="T16" fmla="*/ 2147483647 w 7"/>
                    <a:gd name="T17" fmla="*/ 2147483647 h 7"/>
                    <a:gd name="T18" fmla="*/ 2147483647 w 7"/>
                    <a:gd name="T19" fmla="*/ 2147483647 h 7"/>
                    <a:gd name="T20" fmla="*/ 2147483647 w 7"/>
                    <a:gd name="T21" fmla="*/ 2147483647 h 7"/>
                    <a:gd name="T22" fmla="*/ 2147483647 w 7"/>
                    <a:gd name="T23" fmla="*/ 2147483647 h 7"/>
                    <a:gd name="T24" fmla="*/ 2147483647 w 7"/>
                    <a:gd name="T25" fmla="*/ 2147483647 h 7"/>
                    <a:gd name="T26" fmla="*/ 2147483647 w 7"/>
                    <a:gd name="T27" fmla="*/ 2147483647 h 7"/>
                    <a:gd name="T28" fmla="*/ 2147483647 w 7"/>
                    <a:gd name="T29" fmla="*/ 2147483647 h 7"/>
                    <a:gd name="T30" fmla="*/ 2147483647 w 7"/>
                    <a:gd name="T31" fmla="*/ 2147483647 h 7"/>
                    <a:gd name="T32" fmla="*/ 2147483647 w 7"/>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7"/>
                    <a:gd name="T53" fmla="*/ 7 w 7"/>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7">
                      <a:moveTo>
                        <a:pt x="2" y="6"/>
                      </a:moveTo>
                      <a:lnTo>
                        <a:pt x="2" y="6"/>
                      </a:lnTo>
                      <a:lnTo>
                        <a:pt x="0" y="5"/>
                      </a:lnTo>
                      <a:lnTo>
                        <a:pt x="0" y="2"/>
                      </a:lnTo>
                      <a:lnTo>
                        <a:pt x="2" y="0"/>
                      </a:lnTo>
                      <a:lnTo>
                        <a:pt x="4" y="0"/>
                      </a:lnTo>
                      <a:lnTo>
                        <a:pt x="7" y="1"/>
                      </a:lnTo>
                      <a:lnTo>
                        <a:pt x="7" y="3"/>
                      </a:lnTo>
                      <a:lnTo>
                        <a:pt x="7" y="6"/>
                      </a:lnTo>
                      <a:lnTo>
                        <a:pt x="5" y="7"/>
                      </a:lnTo>
                      <a:lnTo>
                        <a:pt x="4" y="7"/>
                      </a:lnTo>
                      <a:lnTo>
                        <a:pt x="3" y="7"/>
                      </a:lnTo>
                      <a:lnTo>
                        <a:pt x="2"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8" name="Freeform 597"/>
                <p:cNvSpPr>
                  <a:spLocks/>
                </p:cNvSpPr>
                <p:nvPr/>
              </p:nvSpPr>
              <p:spPr bwMode="auto">
                <a:xfrm>
                  <a:off x="1059112" y="5125957"/>
                  <a:ext cx="2960" cy="7400"/>
                </a:xfrm>
                <a:custGeom>
                  <a:avLst/>
                  <a:gdLst>
                    <a:gd name="T0" fmla="*/ 2147483647 w 2"/>
                    <a:gd name="T1" fmla="*/ 2147483647 h 5"/>
                    <a:gd name="T2" fmla="*/ 2147483647 w 2"/>
                    <a:gd name="T3" fmla="*/ 2147483647 h 5"/>
                    <a:gd name="T4" fmla="*/ 2147483647 w 2"/>
                    <a:gd name="T5" fmla="*/ 0 h 5"/>
                    <a:gd name="T6" fmla="*/ 2147483647 w 2"/>
                    <a:gd name="T7" fmla="*/ 0 h 5"/>
                    <a:gd name="T8" fmla="*/ 0 w 2"/>
                    <a:gd name="T9" fmla="*/ 0 h 5"/>
                    <a:gd name="T10" fmla="*/ 0 w 2"/>
                    <a:gd name="T11" fmla="*/ 0 h 5"/>
                    <a:gd name="T12" fmla="*/ 0 w 2"/>
                    <a:gd name="T13" fmla="*/ 0 h 5"/>
                    <a:gd name="T14" fmla="*/ 0 w 2"/>
                    <a:gd name="T15" fmla="*/ 2147483647 h 5"/>
                    <a:gd name="T16" fmla="*/ 0 w 2"/>
                    <a:gd name="T17" fmla="*/ 2147483647 h 5"/>
                    <a:gd name="T18" fmla="*/ 2147483647 w 2"/>
                    <a:gd name="T19" fmla="*/ 2147483647 h 5"/>
                    <a:gd name="T20" fmla="*/ 2147483647 w 2"/>
                    <a:gd name="T21" fmla="*/ 2147483647 h 5"/>
                    <a:gd name="T22" fmla="*/ 2147483647 w 2"/>
                    <a:gd name="T23" fmla="*/ 2147483647 h 5"/>
                    <a:gd name="T24" fmla="*/ 2147483647 w 2"/>
                    <a:gd name="T25" fmla="*/ 2147483647 h 5"/>
                    <a:gd name="T26" fmla="*/ 2147483647 w 2"/>
                    <a:gd name="T27" fmla="*/ 2147483647 h 5"/>
                    <a:gd name="T28" fmla="*/ 2147483647 w 2"/>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
                    <a:gd name="T46" fmla="*/ 0 h 5"/>
                    <a:gd name="T47" fmla="*/ 2 w 2"/>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 h="5">
                      <a:moveTo>
                        <a:pt x="2" y="4"/>
                      </a:moveTo>
                      <a:lnTo>
                        <a:pt x="2" y="4"/>
                      </a:lnTo>
                      <a:lnTo>
                        <a:pt x="2" y="0"/>
                      </a:lnTo>
                      <a:lnTo>
                        <a:pt x="1" y="0"/>
                      </a:lnTo>
                      <a:lnTo>
                        <a:pt x="0" y="0"/>
                      </a:lnTo>
                      <a:lnTo>
                        <a:pt x="0" y="3"/>
                      </a:lnTo>
                      <a:lnTo>
                        <a:pt x="0" y="4"/>
                      </a:lnTo>
                      <a:lnTo>
                        <a:pt x="1" y="5"/>
                      </a:lnTo>
                      <a:lnTo>
                        <a:pt x="2" y="5"/>
                      </a:lnTo>
                      <a:lnTo>
                        <a:pt x="2"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199" name="Freeform 598"/>
                <p:cNvSpPr>
                  <a:spLocks/>
                </p:cNvSpPr>
                <p:nvPr/>
              </p:nvSpPr>
              <p:spPr bwMode="auto">
                <a:xfrm>
                  <a:off x="1062070" y="5117082"/>
                  <a:ext cx="5919" cy="8879"/>
                </a:xfrm>
                <a:custGeom>
                  <a:avLst/>
                  <a:gdLst>
                    <a:gd name="T0" fmla="*/ 2147483647 w 4"/>
                    <a:gd name="T1" fmla="*/ 2147483647 h 6"/>
                    <a:gd name="T2" fmla="*/ 2147483647 w 4"/>
                    <a:gd name="T3" fmla="*/ 0 h 6"/>
                    <a:gd name="T4" fmla="*/ 0 w 4"/>
                    <a:gd name="T5" fmla="*/ 2147483647 h 6"/>
                    <a:gd name="T6" fmla="*/ 0 w 4"/>
                    <a:gd name="T7" fmla="*/ 2147483647 h 6"/>
                    <a:gd name="T8" fmla="*/ 0 w 4"/>
                    <a:gd name="T9" fmla="*/ 2147483647 h 6"/>
                    <a:gd name="T10" fmla="*/ 2147483647 w 4"/>
                    <a:gd name="T11" fmla="*/ 2147483647 h 6"/>
                    <a:gd name="T12" fmla="*/ 2147483647 w 4"/>
                    <a:gd name="T13" fmla="*/ 2147483647 h 6"/>
                    <a:gd name="T14" fmla="*/ 2147483647 w 4"/>
                    <a:gd name="T15" fmla="*/ 2147483647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2"/>
                      </a:moveTo>
                      <a:lnTo>
                        <a:pt x="3" y="0"/>
                      </a:lnTo>
                      <a:lnTo>
                        <a:pt x="0" y="2"/>
                      </a:lnTo>
                      <a:lnTo>
                        <a:pt x="0" y="3"/>
                      </a:lnTo>
                      <a:lnTo>
                        <a:pt x="0" y="4"/>
                      </a:lnTo>
                      <a:lnTo>
                        <a:pt x="3" y="6"/>
                      </a:lnTo>
                      <a:lnTo>
                        <a:pt x="4" y="5"/>
                      </a:lnTo>
                      <a:lnTo>
                        <a:pt x="4" y="4"/>
                      </a:lnTo>
                      <a:lnTo>
                        <a:pt x="4"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0" name="Freeform 599"/>
                <p:cNvSpPr>
                  <a:spLocks/>
                </p:cNvSpPr>
                <p:nvPr/>
              </p:nvSpPr>
              <p:spPr bwMode="auto">
                <a:xfrm>
                  <a:off x="1395039" y="5244351"/>
                  <a:ext cx="13319" cy="14799"/>
                </a:xfrm>
                <a:custGeom>
                  <a:avLst/>
                  <a:gdLst>
                    <a:gd name="T0" fmla="*/ 2147483647 w 9"/>
                    <a:gd name="T1" fmla="*/ 2147483647 h 10"/>
                    <a:gd name="T2" fmla="*/ 2147483647 w 9"/>
                    <a:gd name="T3" fmla="*/ 2147483647 h 10"/>
                    <a:gd name="T4" fmla="*/ 2147483647 w 9"/>
                    <a:gd name="T5" fmla="*/ 2147483647 h 10"/>
                    <a:gd name="T6" fmla="*/ 2147483647 w 9"/>
                    <a:gd name="T7" fmla="*/ 0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0"/>
                    <a:gd name="T44" fmla="*/ 9 w 9"/>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0">
                      <a:moveTo>
                        <a:pt x="9" y="8"/>
                      </a:moveTo>
                      <a:lnTo>
                        <a:pt x="6" y="3"/>
                      </a:lnTo>
                      <a:lnTo>
                        <a:pt x="5" y="1"/>
                      </a:lnTo>
                      <a:lnTo>
                        <a:pt x="3" y="0"/>
                      </a:lnTo>
                      <a:lnTo>
                        <a:pt x="1" y="1"/>
                      </a:lnTo>
                      <a:lnTo>
                        <a:pt x="0" y="1"/>
                      </a:lnTo>
                      <a:lnTo>
                        <a:pt x="0" y="5"/>
                      </a:lnTo>
                      <a:lnTo>
                        <a:pt x="1" y="7"/>
                      </a:lnTo>
                      <a:lnTo>
                        <a:pt x="3" y="9"/>
                      </a:lnTo>
                      <a:lnTo>
                        <a:pt x="5" y="10"/>
                      </a:lnTo>
                      <a:lnTo>
                        <a:pt x="6" y="10"/>
                      </a:lnTo>
                      <a:lnTo>
                        <a:pt x="8" y="10"/>
                      </a:lnTo>
                      <a:lnTo>
                        <a:pt x="9" y="9"/>
                      </a:lnTo>
                      <a:lnTo>
                        <a:pt x="9"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1" name="Freeform 600"/>
                <p:cNvSpPr>
                  <a:spLocks/>
                </p:cNvSpPr>
                <p:nvPr/>
              </p:nvSpPr>
              <p:spPr bwMode="auto">
                <a:xfrm>
                  <a:off x="1060589" y="5115603"/>
                  <a:ext cx="5919" cy="8879"/>
                </a:xfrm>
                <a:custGeom>
                  <a:avLst/>
                  <a:gdLst>
                    <a:gd name="T0" fmla="*/ 2147483647 w 4"/>
                    <a:gd name="T1" fmla="*/ 2147483647 h 6"/>
                    <a:gd name="T2" fmla="*/ 2147483647 w 4"/>
                    <a:gd name="T3" fmla="*/ 2147483647 h 6"/>
                    <a:gd name="T4" fmla="*/ 2147483647 w 4"/>
                    <a:gd name="T5" fmla="*/ 0 h 6"/>
                    <a:gd name="T6" fmla="*/ 0 w 4"/>
                    <a:gd name="T7" fmla="*/ 2147483647 h 6"/>
                    <a:gd name="T8" fmla="*/ 0 w 4"/>
                    <a:gd name="T9" fmla="*/ 2147483647 h 6"/>
                    <a:gd name="T10" fmla="*/ 0 w 4"/>
                    <a:gd name="T11" fmla="*/ 2147483647 h 6"/>
                    <a:gd name="T12" fmla="*/ 0 w 4"/>
                    <a:gd name="T13" fmla="*/ 2147483647 h 6"/>
                    <a:gd name="T14" fmla="*/ 2147483647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2147483647 w 4"/>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6"/>
                    <a:gd name="T44" fmla="*/ 4 w 4"/>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6">
                      <a:moveTo>
                        <a:pt x="4" y="1"/>
                      </a:moveTo>
                      <a:lnTo>
                        <a:pt x="4" y="1"/>
                      </a:lnTo>
                      <a:lnTo>
                        <a:pt x="2" y="0"/>
                      </a:lnTo>
                      <a:lnTo>
                        <a:pt x="0" y="1"/>
                      </a:lnTo>
                      <a:lnTo>
                        <a:pt x="0" y="3"/>
                      </a:lnTo>
                      <a:lnTo>
                        <a:pt x="0" y="4"/>
                      </a:lnTo>
                      <a:lnTo>
                        <a:pt x="2" y="6"/>
                      </a:lnTo>
                      <a:lnTo>
                        <a:pt x="4" y="5"/>
                      </a:lnTo>
                      <a:lnTo>
                        <a:pt x="4" y="4"/>
                      </a:lnTo>
                      <a:lnTo>
                        <a:pt x="4"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2" name="Freeform 601"/>
                <p:cNvSpPr>
                  <a:spLocks/>
                </p:cNvSpPr>
                <p:nvPr/>
              </p:nvSpPr>
              <p:spPr bwMode="auto">
                <a:xfrm>
                  <a:off x="1393563" y="5242868"/>
                  <a:ext cx="13318" cy="14799"/>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0 h 10"/>
                    <a:gd name="T10" fmla="*/ 2147483647 w 9"/>
                    <a:gd name="T11" fmla="*/ 0 h 10"/>
                    <a:gd name="T12" fmla="*/ 2147483647 w 9"/>
                    <a:gd name="T13" fmla="*/ 2147483647 h 10"/>
                    <a:gd name="T14" fmla="*/ 0 w 9"/>
                    <a:gd name="T15" fmla="*/ 2147483647 h 10"/>
                    <a:gd name="T16" fmla="*/ 0 w 9"/>
                    <a:gd name="T17" fmla="*/ 2147483647 h 10"/>
                    <a:gd name="T18" fmla="*/ 0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2147483647 w 9"/>
                    <a:gd name="T29" fmla="*/ 2147483647 h 10"/>
                    <a:gd name="T30" fmla="*/ 2147483647 w 9"/>
                    <a:gd name="T31" fmla="*/ 2147483647 h 10"/>
                    <a:gd name="T32" fmla="*/ 2147483647 w 9"/>
                    <a:gd name="T33" fmla="*/ 2147483647 h 10"/>
                    <a:gd name="T34" fmla="*/ 2147483647 w 9"/>
                    <a:gd name="T35" fmla="*/ 2147483647 h 10"/>
                    <a:gd name="T36" fmla="*/ 2147483647 w 9"/>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0"/>
                    <a:gd name="T59" fmla="*/ 9 w 9"/>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0">
                      <a:moveTo>
                        <a:pt x="9" y="8"/>
                      </a:moveTo>
                      <a:lnTo>
                        <a:pt x="9" y="8"/>
                      </a:lnTo>
                      <a:lnTo>
                        <a:pt x="6" y="3"/>
                      </a:lnTo>
                      <a:lnTo>
                        <a:pt x="5" y="1"/>
                      </a:lnTo>
                      <a:lnTo>
                        <a:pt x="2" y="0"/>
                      </a:lnTo>
                      <a:lnTo>
                        <a:pt x="1" y="1"/>
                      </a:lnTo>
                      <a:lnTo>
                        <a:pt x="0" y="1"/>
                      </a:lnTo>
                      <a:lnTo>
                        <a:pt x="0" y="4"/>
                      </a:lnTo>
                      <a:lnTo>
                        <a:pt x="1" y="7"/>
                      </a:lnTo>
                      <a:lnTo>
                        <a:pt x="2" y="9"/>
                      </a:lnTo>
                      <a:lnTo>
                        <a:pt x="5" y="10"/>
                      </a:lnTo>
                      <a:lnTo>
                        <a:pt x="6" y="10"/>
                      </a:lnTo>
                      <a:lnTo>
                        <a:pt x="7" y="10"/>
                      </a:lnTo>
                      <a:lnTo>
                        <a:pt x="9" y="9"/>
                      </a:lnTo>
                      <a:lnTo>
                        <a:pt x="9"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3" name="Freeform 856"/>
                <p:cNvSpPr>
                  <a:spLocks/>
                </p:cNvSpPr>
                <p:nvPr/>
              </p:nvSpPr>
              <p:spPr bwMode="auto">
                <a:xfrm>
                  <a:off x="3238959" y="5519604"/>
                  <a:ext cx="130229" cy="153907"/>
                </a:xfrm>
                <a:custGeom>
                  <a:avLst/>
                  <a:gdLst>
                    <a:gd name="T0" fmla="*/ 0 w 95"/>
                    <a:gd name="T1" fmla="*/ 2147483647 h 104"/>
                    <a:gd name="T2" fmla="*/ 2147483647 w 95"/>
                    <a:gd name="T3" fmla="*/ 2147483647 h 104"/>
                    <a:gd name="T4" fmla="*/ 2147483647 w 95"/>
                    <a:gd name="T5" fmla="*/ 2147483647 h 104"/>
                    <a:gd name="T6" fmla="*/ 2147483647 w 95"/>
                    <a:gd name="T7" fmla="*/ 2147483647 h 104"/>
                    <a:gd name="T8" fmla="*/ 2147483647 w 95"/>
                    <a:gd name="T9" fmla="*/ 2147483647 h 104"/>
                    <a:gd name="T10" fmla="*/ 2147483647 w 95"/>
                    <a:gd name="T11" fmla="*/ 2147483647 h 104"/>
                    <a:gd name="T12" fmla="*/ 2147483647 w 95"/>
                    <a:gd name="T13" fmla="*/ 2147483647 h 104"/>
                    <a:gd name="T14" fmla="*/ 2147483647 w 95"/>
                    <a:gd name="T15" fmla="*/ 2147483647 h 104"/>
                    <a:gd name="T16" fmla="*/ 2147483647 w 95"/>
                    <a:gd name="T17" fmla="*/ 0 h 104"/>
                    <a:gd name="T18" fmla="*/ 2147483647 w 95"/>
                    <a:gd name="T19" fmla="*/ 2147483647 h 104"/>
                    <a:gd name="T20" fmla="*/ 2147483647 w 95"/>
                    <a:gd name="T21" fmla="*/ 2147483647 h 104"/>
                    <a:gd name="T22" fmla="*/ 2147483647 w 95"/>
                    <a:gd name="T23" fmla="*/ 2147483647 h 104"/>
                    <a:gd name="T24" fmla="*/ 2147483647 w 95"/>
                    <a:gd name="T25" fmla="*/ 2147483647 h 104"/>
                    <a:gd name="T26" fmla="*/ 2147483647 w 95"/>
                    <a:gd name="T27" fmla="*/ 2147483647 h 104"/>
                    <a:gd name="T28" fmla="*/ 2147483647 w 95"/>
                    <a:gd name="T29" fmla="*/ 2147483647 h 104"/>
                    <a:gd name="T30" fmla="*/ 2147483647 w 95"/>
                    <a:gd name="T31" fmla="*/ 2147483647 h 104"/>
                    <a:gd name="T32" fmla="*/ 2147483647 w 95"/>
                    <a:gd name="T33" fmla="*/ 2147483647 h 104"/>
                    <a:gd name="T34" fmla="*/ 2147483647 w 95"/>
                    <a:gd name="T35" fmla="*/ 2147483647 h 104"/>
                    <a:gd name="T36" fmla="*/ 2147483647 w 95"/>
                    <a:gd name="T37" fmla="*/ 2147483647 h 104"/>
                    <a:gd name="T38" fmla="*/ 2147483647 w 95"/>
                    <a:gd name="T39" fmla="*/ 2147483647 h 104"/>
                    <a:gd name="T40" fmla="*/ 2147483647 w 95"/>
                    <a:gd name="T41" fmla="*/ 2147483647 h 104"/>
                    <a:gd name="T42" fmla="*/ 2147483647 w 95"/>
                    <a:gd name="T43" fmla="*/ 2147483647 h 104"/>
                    <a:gd name="T44" fmla="*/ 2147483647 w 95"/>
                    <a:gd name="T45" fmla="*/ 2147483647 h 104"/>
                    <a:gd name="T46" fmla="*/ 2147483647 w 95"/>
                    <a:gd name="T47" fmla="*/ 2147483647 h 104"/>
                    <a:gd name="T48" fmla="*/ 2147483647 w 95"/>
                    <a:gd name="T49" fmla="*/ 2147483647 h 104"/>
                    <a:gd name="T50" fmla="*/ 2147483647 w 95"/>
                    <a:gd name="T51" fmla="*/ 2147483647 h 104"/>
                    <a:gd name="T52" fmla="*/ 2147483647 w 95"/>
                    <a:gd name="T53" fmla="*/ 2147483647 h 104"/>
                    <a:gd name="T54" fmla="*/ 2147483647 w 95"/>
                    <a:gd name="T55" fmla="*/ 2147483647 h 104"/>
                    <a:gd name="T56" fmla="*/ 2147483647 w 95"/>
                    <a:gd name="T57" fmla="*/ 2147483647 h 104"/>
                    <a:gd name="T58" fmla="*/ 2147483647 w 95"/>
                    <a:gd name="T59" fmla="*/ 2147483647 h 104"/>
                    <a:gd name="T60" fmla="*/ 2147483647 w 95"/>
                    <a:gd name="T61" fmla="*/ 2147483647 h 104"/>
                    <a:gd name="T62" fmla="*/ 2147483647 w 95"/>
                    <a:gd name="T63" fmla="*/ 2147483647 h 104"/>
                    <a:gd name="T64" fmla="*/ 2147483647 w 95"/>
                    <a:gd name="T65" fmla="*/ 2147483647 h 104"/>
                    <a:gd name="T66" fmla="*/ 2147483647 w 95"/>
                    <a:gd name="T67" fmla="*/ 2147483647 h 104"/>
                    <a:gd name="T68" fmla="*/ 2147483647 w 95"/>
                    <a:gd name="T69" fmla="*/ 2147483647 h 104"/>
                    <a:gd name="T70" fmla="*/ 2147483647 w 95"/>
                    <a:gd name="T71" fmla="*/ 2147483647 h 104"/>
                    <a:gd name="T72" fmla="*/ 2147483647 w 95"/>
                    <a:gd name="T73" fmla="*/ 2147483647 h 104"/>
                    <a:gd name="T74" fmla="*/ 0 w 95"/>
                    <a:gd name="T75" fmla="*/ 2147483647 h 104"/>
                    <a:gd name="T76" fmla="*/ 0 w 95"/>
                    <a:gd name="T77" fmla="*/ 2147483647 h 1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5"/>
                    <a:gd name="T118" fmla="*/ 0 h 104"/>
                    <a:gd name="T119" fmla="*/ 95 w 95"/>
                    <a:gd name="T120" fmla="*/ 104 h 1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5" h="104">
                      <a:moveTo>
                        <a:pt x="0" y="62"/>
                      </a:moveTo>
                      <a:lnTo>
                        <a:pt x="2" y="56"/>
                      </a:lnTo>
                      <a:lnTo>
                        <a:pt x="4" y="53"/>
                      </a:lnTo>
                      <a:lnTo>
                        <a:pt x="5" y="51"/>
                      </a:lnTo>
                      <a:lnTo>
                        <a:pt x="5" y="31"/>
                      </a:lnTo>
                      <a:lnTo>
                        <a:pt x="5" y="21"/>
                      </a:lnTo>
                      <a:lnTo>
                        <a:pt x="7" y="12"/>
                      </a:lnTo>
                      <a:lnTo>
                        <a:pt x="11" y="6"/>
                      </a:lnTo>
                      <a:lnTo>
                        <a:pt x="14" y="0"/>
                      </a:lnTo>
                      <a:lnTo>
                        <a:pt x="16" y="1"/>
                      </a:lnTo>
                      <a:lnTo>
                        <a:pt x="18" y="2"/>
                      </a:lnTo>
                      <a:lnTo>
                        <a:pt x="23" y="2"/>
                      </a:lnTo>
                      <a:lnTo>
                        <a:pt x="26" y="2"/>
                      </a:lnTo>
                      <a:lnTo>
                        <a:pt x="28" y="4"/>
                      </a:lnTo>
                      <a:lnTo>
                        <a:pt x="37" y="13"/>
                      </a:lnTo>
                      <a:lnTo>
                        <a:pt x="44" y="20"/>
                      </a:lnTo>
                      <a:lnTo>
                        <a:pt x="54" y="26"/>
                      </a:lnTo>
                      <a:lnTo>
                        <a:pt x="70" y="33"/>
                      </a:lnTo>
                      <a:lnTo>
                        <a:pt x="76" y="38"/>
                      </a:lnTo>
                      <a:lnTo>
                        <a:pt x="82" y="44"/>
                      </a:lnTo>
                      <a:lnTo>
                        <a:pt x="86" y="58"/>
                      </a:lnTo>
                      <a:lnTo>
                        <a:pt x="89" y="64"/>
                      </a:lnTo>
                      <a:lnTo>
                        <a:pt x="95" y="71"/>
                      </a:lnTo>
                      <a:lnTo>
                        <a:pt x="84" y="82"/>
                      </a:lnTo>
                      <a:lnTo>
                        <a:pt x="75" y="95"/>
                      </a:lnTo>
                      <a:lnTo>
                        <a:pt x="70" y="100"/>
                      </a:lnTo>
                      <a:lnTo>
                        <a:pt x="65" y="102"/>
                      </a:lnTo>
                      <a:lnTo>
                        <a:pt x="58" y="104"/>
                      </a:lnTo>
                      <a:lnTo>
                        <a:pt x="52" y="103"/>
                      </a:lnTo>
                      <a:lnTo>
                        <a:pt x="46" y="102"/>
                      </a:lnTo>
                      <a:lnTo>
                        <a:pt x="38" y="101"/>
                      </a:lnTo>
                      <a:lnTo>
                        <a:pt x="26" y="96"/>
                      </a:lnTo>
                      <a:lnTo>
                        <a:pt x="13" y="91"/>
                      </a:lnTo>
                      <a:lnTo>
                        <a:pt x="9" y="88"/>
                      </a:lnTo>
                      <a:lnTo>
                        <a:pt x="5" y="85"/>
                      </a:lnTo>
                      <a:lnTo>
                        <a:pt x="4" y="82"/>
                      </a:lnTo>
                      <a:lnTo>
                        <a:pt x="1" y="78"/>
                      </a:lnTo>
                      <a:lnTo>
                        <a:pt x="0" y="70"/>
                      </a:lnTo>
                      <a:lnTo>
                        <a:pt x="0" y="6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4" name="Freeform 858"/>
                <p:cNvSpPr>
                  <a:spLocks/>
                </p:cNvSpPr>
                <p:nvPr/>
              </p:nvSpPr>
              <p:spPr bwMode="auto">
                <a:xfrm>
                  <a:off x="3238959" y="5518125"/>
                  <a:ext cx="128749" cy="153907"/>
                </a:xfrm>
                <a:custGeom>
                  <a:avLst/>
                  <a:gdLst>
                    <a:gd name="T0" fmla="*/ 0 w 95"/>
                    <a:gd name="T1" fmla="*/ 2147483647 h 104"/>
                    <a:gd name="T2" fmla="*/ 0 w 95"/>
                    <a:gd name="T3" fmla="*/ 2147483647 h 104"/>
                    <a:gd name="T4" fmla="*/ 2147483647 w 95"/>
                    <a:gd name="T5" fmla="*/ 2147483647 h 104"/>
                    <a:gd name="T6" fmla="*/ 2147483647 w 95"/>
                    <a:gd name="T7" fmla="*/ 2147483647 h 104"/>
                    <a:gd name="T8" fmla="*/ 2147483647 w 95"/>
                    <a:gd name="T9" fmla="*/ 2147483647 h 104"/>
                    <a:gd name="T10" fmla="*/ 2147483647 w 95"/>
                    <a:gd name="T11" fmla="*/ 2147483647 h 104"/>
                    <a:gd name="T12" fmla="*/ 2147483647 w 95"/>
                    <a:gd name="T13" fmla="*/ 2147483647 h 104"/>
                    <a:gd name="T14" fmla="*/ 2147483647 w 95"/>
                    <a:gd name="T15" fmla="*/ 2147483647 h 104"/>
                    <a:gd name="T16" fmla="*/ 2147483647 w 95"/>
                    <a:gd name="T17" fmla="*/ 2147483647 h 104"/>
                    <a:gd name="T18" fmla="*/ 2147483647 w 95"/>
                    <a:gd name="T19" fmla="*/ 2147483647 h 104"/>
                    <a:gd name="T20" fmla="*/ 2147483647 w 95"/>
                    <a:gd name="T21" fmla="*/ 2147483647 h 104"/>
                    <a:gd name="T22" fmla="*/ 2147483647 w 95"/>
                    <a:gd name="T23" fmla="*/ 2147483647 h 104"/>
                    <a:gd name="T24" fmla="*/ 2147483647 w 95"/>
                    <a:gd name="T25" fmla="*/ 0 h 104"/>
                    <a:gd name="T26" fmla="*/ 2147483647 w 95"/>
                    <a:gd name="T27" fmla="*/ 0 h 104"/>
                    <a:gd name="T28" fmla="*/ 2147483647 w 95"/>
                    <a:gd name="T29" fmla="*/ 2147483647 h 104"/>
                    <a:gd name="T30" fmla="*/ 2147483647 w 95"/>
                    <a:gd name="T31" fmla="*/ 2147483647 h 104"/>
                    <a:gd name="T32" fmla="*/ 2147483647 w 95"/>
                    <a:gd name="T33" fmla="*/ 2147483647 h 104"/>
                    <a:gd name="T34" fmla="*/ 2147483647 w 95"/>
                    <a:gd name="T35" fmla="*/ 2147483647 h 104"/>
                    <a:gd name="T36" fmla="*/ 2147483647 w 95"/>
                    <a:gd name="T37" fmla="*/ 2147483647 h 104"/>
                    <a:gd name="T38" fmla="*/ 2147483647 w 95"/>
                    <a:gd name="T39" fmla="*/ 2147483647 h 104"/>
                    <a:gd name="T40" fmla="*/ 2147483647 w 95"/>
                    <a:gd name="T41" fmla="*/ 2147483647 h 104"/>
                    <a:gd name="T42" fmla="*/ 2147483647 w 95"/>
                    <a:gd name="T43" fmla="*/ 2147483647 h 104"/>
                    <a:gd name="T44" fmla="*/ 2147483647 w 95"/>
                    <a:gd name="T45" fmla="*/ 2147483647 h 104"/>
                    <a:gd name="T46" fmla="*/ 2147483647 w 95"/>
                    <a:gd name="T47" fmla="*/ 2147483647 h 104"/>
                    <a:gd name="T48" fmla="*/ 2147483647 w 95"/>
                    <a:gd name="T49" fmla="*/ 2147483647 h 104"/>
                    <a:gd name="T50" fmla="*/ 2147483647 w 95"/>
                    <a:gd name="T51" fmla="*/ 2147483647 h 104"/>
                    <a:gd name="T52" fmla="*/ 2147483647 w 95"/>
                    <a:gd name="T53" fmla="*/ 2147483647 h 104"/>
                    <a:gd name="T54" fmla="*/ 2147483647 w 95"/>
                    <a:gd name="T55" fmla="*/ 2147483647 h 104"/>
                    <a:gd name="T56" fmla="*/ 2147483647 w 95"/>
                    <a:gd name="T57" fmla="*/ 2147483647 h 104"/>
                    <a:gd name="T58" fmla="*/ 2147483647 w 95"/>
                    <a:gd name="T59" fmla="*/ 2147483647 h 104"/>
                    <a:gd name="T60" fmla="*/ 2147483647 w 95"/>
                    <a:gd name="T61" fmla="*/ 2147483647 h 104"/>
                    <a:gd name="T62" fmla="*/ 2147483647 w 95"/>
                    <a:gd name="T63" fmla="*/ 2147483647 h 104"/>
                    <a:gd name="T64" fmla="*/ 2147483647 w 95"/>
                    <a:gd name="T65" fmla="*/ 2147483647 h 104"/>
                    <a:gd name="T66" fmla="*/ 2147483647 w 95"/>
                    <a:gd name="T67" fmla="*/ 2147483647 h 104"/>
                    <a:gd name="T68" fmla="*/ 2147483647 w 95"/>
                    <a:gd name="T69" fmla="*/ 2147483647 h 104"/>
                    <a:gd name="T70" fmla="*/ 2147483647 w 95"/>
                    <a:gd name="T71" fmla="*/ 2147483647 h 104"/>
                    <a:gd name="T72" fmla="*/ 2147483647 w 95"/>
                    <a:gd name="T73" fmla="*/ 2147483647 h 104"/>
                    <a:gd name="T74" fmla="*/ 2147483647 w 95"/>
                    <a:gd name="T75" fmla="*/ 2147483647 h 104"/>
                    <a:gd name="T76" fmla="*/ 2147483647 w 95"/>
                    <a:gd name="T77" fmla="*/ 2147483647 h 104"/>
                    <a:gd name="T78" fmla="*/ 2147483647 w 95"/>
                    <a:gd name="T79" fmla="*/ 2147483647 h 104"/>
                    <a:gd name="T80" fmla="*/ 2147483647 w 95"/>
                    <a:gd name="T81" fmla="*/ 2147483647 h 104"/>
                    <a:gd name="T82" fmla="*/ 2147483647 w 95"/>
                    <a:gd name="T83" fmla="*/ 2147483647 h 104"/>
                    <a:gd name="T84" fmla="*/ 2147483647 w 95"/>
                    <a:gd name="T85" fmla="*/ 2147483647 h 104"/>
                    <a:gd name="T86" fmla="*/ 2147483647 w 95"/>
                    <a:gd name="T87" fmla="*/ 2147483647 h 104"/>
                    <a:gd name="T88" fmla="*/ 2147483647 w 95"/>
                    <a:gd name="T89" fmla="*/ 2147483647 h 104"/>
                    <a:gd name="T90" fmla="*/ 2147483647 w 95"/>
                    <a:gd name="T91" fmla="*/ 2147483647 h 104"/>
                    <a:gd name="T92" fmla="*/ 2147483647 w 95"/>
                    <a:gd name="T93" fmla="*/ 2147483647 h 104"/>
                    <a:gd name="T94" fmla="*/ 2147483647 w 95"/>
                    <a:gd name="T95" fmla="*/ 2147483647 h 104"/>
                    <a:gd name="T96" fmla="*/ 2147483647 w 95"/>
                    <a:gd name="T97" fmla="*/ 2147483647 h 104"/>
                    <a:gd name="T98" fmla="*/ 2147483647 w 95"/>
                    <a:gd name="T99" fmla="*/ 2147483647 h 104"/>
                    <a:gd name="T100" fmla="*/ 0 w 95"/>
                    <a:gd name="T101" fmla="*/ 2147483647 h 104"/>
                    <a:gd name="T102" fmla="*/ 0 w 95"/>
                    <a:gd name="T103" fmla="*/ 2147483647 h 104"/>
                    <a:gd name="T104" fmla="*/ 0 w 95"/>
                    <a:gd name="T105" fmla="*/ 2147483647 h 1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5"/>
                    <a:gd name="T160" fmla="*/ 0 h 104"/>
                    <a:gd name="T161" fmla="*/ 95 w 95"/>
                    <a:gd name="T162" fmla="*/ 104 h 1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5" h="104">
                      <a:moveTo>
                        <a:pt x="0" y="61"/>
                      </a:moveTo>
                      <a:lnTo>
                        <a:pt x="0" y="61"/>
                      </a:lnTo>
                      <a:lnTo>
                        <a:pt x="2" y="55"/>
                      </a:lnTo>
                      <a:lnTo>
                        <a:pt x="3" y="53"/>
                      </a:lnTo>
                      <a:lnTo>
                        <a:pt x="5" y="51"/>
                      </a:lnTo>
                      <a:lnTo>
                        <a:pt x="5" y="31"/>
                      </a:lnTo>
                      <a:lnTo>
                        <a:pt x="5" y="21"/>
                      </a:lnTo>
                      <a:lnTo>
                        <a:pt x="7" y="12"/>
                      </a:lnTo>
                      <a:lnTo>
                        <a:pt x="11" y="6"/>
                      </a:lnTo>
                      <a:lnTo>
                        <a:pt x="14" y="0"/>
                      </a:lnTo>
                      <a:lnTo>
                        <a:pt x="16" y="1"/>
                      </a:lnTo>
                      <a:lnTo>
                        <a:pt x="17" y="2"/>
                      </a:lnTo>
                      <a:lnTo>
                        <a:pt x="22" y="2"/>
                      </a:lnTo>
                      <a:lnTo>
                        <a:pt x="26" y="2"/>
                      </a:lnTo>
                      <a:lnTo>
                        <a:pt x="27" y="3"/>
                      </a:lnTo>
                      <a:lnTo>
                        <a:pt x="36" y="13"/>
                      </a:lnTo>
                      <a:lnTo>
                        <a:pt x="44" y="20"/>
                      </a:lnTo>
                      <a:lnTo>
                        <a:pt x="54" y="26"/>
                      </a:lnTo>
                      <a:lnTo>
                        <a:pt x="69" y="33"/>
                      </a:lnTo>
                      <a:lnTo>
                        <a:pt x="76" y="38"/>
                      </a:lnTo>
                      <a:lnTo>
                        <a:pt x="82" y="44"/>
                      </a:lnTo>
                      <a:lnTo>
                        <a:pt x="86" y="58"/>
                      </a:lnTo>
                      <a:lnTo>
                        <a:pt x="88" y="64"/>
                      </a:lnTo>
                      <a:lnTo>
                        <a:pt x="95" y="71"/>
                      </a:lnTo>
                      <a:lnTo>
                        <a:pt x="83" y="82"/>
                      </a:lnTo>
                      <a:lnTo>
                        <a:pt x="74" y="95"/>
                      </a:lnTo>
                      <a:lnTo>
                        <a:pt x="69" y="99"/>
                      </a:lnTo>
                      <a:lnTo>
                        <a:pt x="64" y="102"/>
                      </a:lnTo>
                      <a:lnTo>
                        <a:pt x="58" y="104"/>
                      </a:lnTo>
                      <a:lnTo>
                        <a:pt x="52" y="103"/>
                      </a:lnTo>
                      <a:lnTo>
                        <a:pt x="45" y="102"/>
                      </a:lnTo>
                      <a:lnTo>
                        <a:pt x="38" y="101"/>
                      </a:lnTo>
                      <a:lnTo>
                        <a:pt x="26" y="96"/>
                      </a:lnTo>
                      <a:lnTo>
                        <a:pt x="12" y="91"/>
                      </a:lnTo>
                      <a:lnTo>
                        <a:pt x="8" y="88"/>
                      </a:lnTo>
                      <a:lnTo>
                        <a:pt x="5" y="85"/>
                      </a:lnTo>
                      <a:lnTo>
                        <a:pt x="3" y="82"/>
                      </a:lnTo>
                      <a:lnTo>
                        <a:pt x="1" y="78"/>
                      </a:lnTo>
                      <a:lnTo>
                        <a:pt x="0" y="70"/>
                      </a:lnTo>
                      <a:lnTo>
                        <a:pt x="0" y="6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5" name="Freeform 859"/>
                <p:cNvSpPr>
                  <a:spLocks/>
                </p:cNvSpPr>
                <p:nvPr/>
              </p:nvSpPr>
              <p:spPr bwMode="auto">
                <a:xfrm>
                  <a:off x="3420987" y="4609486"/>
                  <a:ext cx="25157" cy="25157"/>
                </a:xfrm>
                <a:custGeom>
                  <a:avLst/>
                  <a:gdLst>
                    <a:gd name="T0" fmla="*/ 2147483647 w 18"/>
                    <a:gd name="T1" fmla="*/ 2147483647 h 17"/>
                    <a:gd name="T2" fmla="*/ 2147483647 w 18"/>
                    <a:gd name="T3" fmla="*/ 2147483647 h 17"/>
                    <a:gd name="T4" fmla="*/ 2147483647 w 18"/>
                    <a:gd name="T5" fmla="*/ 2147483647 h 17"/>
                    <a:gd name="T6" fmla="*/ 2147483647 w 18"/>
                    <a:gd name="T7" fmla="*/ 2147483647 h 17"/>
                    <a:gd name="T8" fmla="*/ 2147483647 w 18"/>
                    <a:gd name="T9" fmla="*/ 2147483647 h 17"/>
                    <a:gd name="T10" fmla="*/ 2147483647 w 18"/>
                    <a:gd name="T11" fmla="*/ 0 h 17"/>
                    <a:gd name="T12" fmla="*/ 2147483647 w 18"/>
                    <a:gd name="T13" fmla="*/ 2147483647 h 17"/>
                    <a:gd name="T14" fmla="*/ 2147483647 w 18"/>
                    <a:gd name="T15" fmla="*/ 2147483647 h 17"/>
                    <a:gd name="T16" fmla="*/ 2147483647 w 18"/>
                    <a:gd name="T17" fmla="*/ 2147483647 h 17"/>
                    <a:gd name="T18" fmla="*/ 2147483647 w 18"/>
                    <a:gd name="T19" fmla="*/ 2147483647 h 17"/>
                    <a:gd name="T20" fmla="*/ 0 w 18"/>
                    <a:gd name="T21" fmla="*/ 2147483647 h 17"/>
                    <a:gd name="T22" fmla="*/ 0 w 18"/>
                    <a:gd name="T23" fmla="*/ 2147483647 h 17"/>
                    <a:gd name="T24" fmla="*/ 2147483647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7"/>
                    <a:gd name="T53" fmla="*/ 18 w 18"/>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7">
                      <a:moveTo>
                        <a:pt x="9" y="13"/>
                      </a:moveTo>
                      <a:lnTo>
                        <a:pt x="14" y="10"/>
                      </a:lnTo>
                      <a:lnTo>
                        <a:pt x="18" y="8"/>
                      </a:lnTo>
                      <a:lnTo>
                        <a:pt x="18" y="6"/>
                      </a:lnTo>
                      <a:lnTo>
                        <a:pt x="17" y="1"/>
                      </a:lnTo>
                      <a:lnTo>
                        <a:pt x="14" y="0"/>
                      </a:lnTo>
                      <a:lnTo>
                        <a:pt x="13" y="1"/>
                      </a:lnTo>
                      <a:lnTo>
                        <a:pt x="10" y="3"/>
                      </a:lnTo>
                      <a:lnTo>
                        <a:pt x="5" y="8"/>
                      </a:lnTo>
                      <a:lnTo>
                        <a:pt x="1" y="13"/>
                      </a:lnTo>
                      <a:lnTo>
                        <a:pt x="0" y="15"/>
                      </a:lnTo>
                      <a:lnTo>
                        <a:pt x="0" y="16"/>
                      </a:lnTo>
                      <a:lnTo>
                        <a:pt x="1" y="17"/>
                      </a:lnTo>
                      <a:lnTo>
                        <a:pt x="3" y="17"/>
                      </a:lnTo>
                      <a:lnTo>
                        <a:pt x="5" y="16"/>
                      </a:lnTo>
                      <a:lnTo>
                        <a:pt x="7" y="14"/>
                      </a:lnTo>
                      <a:lnTo>
                        <a:pt x="9"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6" name="Freeform 860"/>
                <p:cNvSpPr>
                  <a:spLocks/>
                </p:cNvSpPr>
                <p:nvPr/>
              </p:nvSpPr>
              <p:spPr bwMode="auto">
                <a:xfrm>
                  <a:off x="3400267" y="4642039"/>
                  <a:ext cx="14799" cy="23678"/>
                </a:xfrm>
                <a:custGeom>
                  <a:avLst/>
                  <a:gdLst>
                    <a:gd name="T0" fmla="*/ 2147483647 w 10"/>
                    <a:gd name="T1" fmla="*/ 2147483647 h 16"/>
                    <a:gd name="T2" fmla="*/ 2147483647 w 10"/>
                    <a:gd name="T3" fmla="*/ 2147483647 h 16"/>
                    <a:gd name="T4" fmla="*/ 2147483647 w 10"/>
                    <a:gd name="T5" fmla="*/ 2147483647 h 16"/>
                    <a:gd name="T6" fmla="*/ 2147483647 w 10"/>
                    <a:gd name="T7" fmla="*/ 2147483647 h 16"/>
                    <a:gd name="T8" fmla="*/ 0 w 10"/>
                    <a:gd name="T9" fmla="*/ 2147483647 h 16"/>
                    <a:gd name="T10" fmla="*/ 0 w 10"/>
                    <a:gd name="T11" fmla="*/ 2147483647 h 16"/>
                    <a:gd name="T12" fmla="*/ 0 w 10"/>
                    <a:gd name="T13" fmla="*/ 2147483647 h 16"/>
                    <a:gd name="T14" fmla="*/ 2147483647 w 10"/>
                    <a:gd name="T15" fmla="*/ 2147483647 h 16"/>
                    <a:gd name="T16" fmla="*/ 2147483647 w 10"/>
                    <a:gd name="T17" fmla="*/ 2147483647 h 16"/>
                    <a:gd name="T18" fmla="*/ 2147483647 w 10"/>
                    <a:gd name="T19" fmla="*/ 0 h 16"/>
                    <a:gd name="T20" fmla="*/ 2147483647 w 10"/>
                    <a:gd name="T21" fmla="*/ 2147483647 h 16"/>
                    <a:gd name="T22" fmla="*/ 2147483647 w 10"/>
                    <a:gd name="T23" fmla="*/ 2147483647 h 16"/>
                    <a:gd name="T24" fmla="*/ 2147483647 w 10"/>
                    <a:gd name="T25" fmla="*/ 2147483647 h 16"/>
                    <a:gd name="T26" fmla="*/ 2147483647 w 10"/>
                    <a:gd name="T27" fmla="*/ 2147483647 h 16"/>
                    <a:gd name="T28" fmla="*/ 2147483647 w 1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6"/>
                    <a:gd name="T47" fmla="*/ 10 w 1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6">
                      <a:moveTo>
                        <a:pt x="6" y="12"/>
                      </a:moveTo>
                      <a:lnTo>
                        <a:pt x="6" y="13"/>
                      </a:lnTo>
                      <a:lnTo>
                        <a:pt x="4" y="14"/>
                      </a:lnTo>
                      <a:lnTo>
                        <a:pt x="2" y="16"/>
                      </a:lnTo>
                      <a:lnTo>
                        <a:pt x="0" y="14"/>
                      </a:lnTo>
                      <a:lnTo>
                        <a:pt x="0" y="12"/>
                      </a:lnTo>
                      <a:lnTo>
                        <a:pt x="0" y="10"/>
                      </a:lnTo>
                      <a:lnTo>
                        <a:pt x="2" y="6"/>
                      </a:lnTo>
                      <a:lnTo>
                        <a:pt x="6" y="3"/>
                      </a:lnTo>
                      <a:lnTo>
                        <a:pt x="10" y="0"/>
                      </a:lnTo>
                      <a:lnTo>
                        <a:pt x="9" y="3"/>
                      </a:lnTo>
                      <a:lnTo>
                        <a:pt x="9" y="6"/>
                      </a:lnTo>
                      <a:lnTo>
                        <a:pt x="9" y="10"/>
                      </a:lnTo>
                      <a:lnTo>
                        <a:pt x="8" y="11"/>
                      </a:lnTo>
                      <a:lnTo>
                        <a:pt x="6"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7" name="Freeform 861"/>
                <p:cNvSpPr>
                  <a:spLocks/>
                </p:cNvSpPr>
                <p:nvPr/>
              </p:nvSpPr>
              <p:spPr bwMode="auto">
                <a:xfrm>
                  <a:off x="3419505" y="4606524"/>
                  <a:ext cx="25158" cy="26638"/>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0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0 w 18"/>
                    <a:gd name="T29" fmla="*/ 2147483647 h 18"/>
                    <a:gd name="T30" fmla="*/ 0 w 18"/>
                    <a:gd name="T31" fmla="*/ 2147483647 h 18"/>
                    <a:gd name="T32" fmla="*/ 0 w 18"/>
                    <a:gd name="T33" fmla="*/ 2147483647 h 18"/>
                    <a:gd name="T34" fmla="*/ 2147483647 w 18"/>
                    <a:gd name="T35" fmla="*/ 2147483647 h 18"/>
                    <a:gd name="T36" fmla="*/ 2147483647 w 18"/>
                    <a:gd name="T37" fmla="*/ 2147483647 h 18"/>
                    <a:gd name="T38" fmla="*/ 2147483647 w 18"/>
                    <a:gd name="T39" fmla="*/ 2147483647 h 18"/>
                    <a:gd name="T40" fmla="*/ 2147483647 w 18"/>
                    <a:gd name="T41" fmla="*/ 2147483647 h 18"/>
                    <a:gd name="T42" fmla="*/ 2147483647 w 18"/>
                    <a:gd name="T43" fmla="*/ 2147483647 h 18"/>
                    <a:gd name="T44" fmla="*/ 2147483647 w 18"/>
                    <a:gd name="T45" fmla="*/ 2147483647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18"/>
                    <a:gd name="T71" fmla="*/ 18 w 18"/>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18">
                      <a:moveTo>
                        <a:pt x="9" y="14"/>
                      </a:moveTo>
                      <a:lnTo>
                        <a:pt x="9" y="14"/>
                      </a:lnTo>
                      <a:lnTo>
                        <a:pt x="14" y="11"/>
                      </a:lnTo>
                      <a:lnTo>
                        <a:pt x="18" y="9"/>
                      </a:lnTo>
                      <a:lnTo>
                        <a:pt x="18" y="6"/>
                      </a:lnTo>
                      <a:lnTo>
                        <a:pt x="16" y="2"/>
                      </a:lnTo>
                      <a:lnTo>
                        <a:pt x="14" y="0"/>
                      </a:lnTo>
                      <a:lnTo>
                        <a:pt x="13" y="2"/>
                      </a:lnTo>
                      <a:lnTo>
                        <a:pt x="10" y="4"/>
                      </a:lnTo>
                      <a:lnTo>
                        <a:pt x="5" y="9"/>
                      </a:lnTo>
                      <a:lnTo>
                        <a:pt x="1" y="14"/>
                      </a:lnTo>
                      <a:lnTo>
                        <a:pt x="0" y="16"/>
                      </a:lnTo>
                      <a:lnTo>
                        <a:pt x="0" y="17"/>
                      </a:lnTo>
                      <a:lnTo>
                        <a:pt x="1" y="18"/>
                      </a:lnTo>
                      <a:lnTo>
                        <a:pt x="2" y="18"/>
                      </a:lnTo>
                      <a:lnTo>
                        <a:pt x="5" y="17"/>
                      </a:lnTo>
                      <a:lnTo>
                        <a:pt x="6" y="15"/>
                      </a:lnTo>
                      <a:lnTo>
                        <a:pt x="9"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8" name="Freeform 862"/>
                <p:cNvSpPr>
                  <a:spLocks/>
                </p:cNvSpPr>
                <p:nvPr/>
              </p:nvSpPr>
              <p:spPr bwMode="auto">
                <a:xfrm>
                  <a:off x="3398786" y="4640562"/>
                  <a:ext cx="14799" cy="22199"/>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0 w 10"/>
                    <a:gd name="T11" fmla="*/ 2147483647 h 15"/>
                    <a:gd name="T12" fmla="*/ 0 w 10"/>
                    <a:gd name="T13" fmla="*/ 2147483647 h 15"/>
                    <a:gd name="T14" fmla="*/ 0 w 10"/>
                    <a:gd name="T15" fmla="*/ 2147483647 h 15"/>
                    <a:gd name="T16" fmla="*/ 0 w 10"/>
                    <a:gd name="T17" fmla="*/ 2147483647 h 15"/>
                    <a:gd name="T18" fmla="*/ 2147483647 w 10"/>
                    <a:gd name="T19" fmla="*/ 2147483647 h 15"/>
                    <a:gd name="T20" fmla="*/ 2147483647 w 10"/>
                    <a:gd name="T21" fmla="*/ 2147483647 h 15"/>
                    <a:gd name="T22" fmla="*/ 2147483647 w 10"/>
                    <a:gd name="T23" fmla="*/ 0 h 15"/>
                    <a:gd name="T24" fmla="*/ 2147483647 w 10"/>
                    <a:gd name="T25" fmla="*/ 0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2147483647 w 10"/>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5"/>
                    <a:gd name="T65" fmla="*/ 10 w 10"/>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5">
                      <a:moveTo>
                        <a:pt x="6" y="12"/>
                      </a:moveTo>
                      <a:lnTo>
                        <a:pt x="6" y="12"/>
                      </a:lnTo>
                      <a:lnTo>
                        <a:pt x="6" y="13"/>
                      </a:lnTo>
                      <a:lnTo>
                        <a:pt x="3" y="14"/>
                      </a:lnTo>
                      <a:lnTo>
                        <a:pt x="2" y="15"/>
                      </a:lnTo>
                      <a:lnTo>
                        <a:pt x="0" y="14"/>
                      </a:lnTo>
                      <a:lnTo>
                        <a:pt x="0" y="12"/>
                      </a:lnTo>
                      <a:lnTo>
                        <a:pt x="0" y="9"/>
                      </a:lnTo>
                      <a:lnTo>
                        <a:pt x="2" y="6"/>
                      </a:lnTo>
                      <a:lnTo>
                        <a:pt x="6" y="2"/>
                      </a:lnTo>
                      <a:lnTo>
                        <a:pt x="10" y="0"/>
                      </a:lnTo>
                      <a:lnTo>
                        <a:pt x="9" y="2"/>
                      </a:lnTo>
                      <a:lnTo>
                        <a:pt x="9" y="6"/>
                      </a:lnTo>
                      <a:lnTo>
                        <a:pt x="9" y="9"/>
                      </a:lnTo>
                      <a:lnTo>
                        <a:pt x="7" y="11"/>
                      </a:lnTo>
                      <a:lnTo>
                        <a:pt x="6"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09" name="Freeform 864"/>
                <p:cNvSpPr>
                  <a:spLocks/>
                </p:cNvSpPr>
                <p:nvPr/>
              </p:nvSpPr>
              <p:spPr bwMode="auto">
                <a:xfrm>
                  <a:off x="3144248" y="5191073"/>
                  <a:ext cx="193864" cy="244177"/>
                </a:xfrm>
                <a:custGeom>
                  <a:avLst/>
                  <a:gdLst>
                    <a:gd name="T0" fmla="*/ 2147483647 w 142"/>
                    <a:gd name="T1" fmla="*/ 2147483647 h 165"/>
                    <a:gd name="T2" fmla="*/ 2147483647 w 142"/>
                    <a:gd name="T3" fmla="*/ 2147483647 h 165"/>
                    <a:gd name="T4" fmla="*/ 2147483647 w 142"/>
                    <a:gd name="T5" fmla="*/ 2147483647 h 165"/>
                    <a:gd name="T6" fmla="*/ 2147483647 w 142"/>
                    <a:gd name="T7" fmla="*/ 2147483647 h 165"/>
                    <a:gd name="T8" fmla="*/ 2147483647 w 142"/>
                    <a:gd name="T9" fmla="*/ 2147483647 h 165"/>
                    <a:gd name="T10" fmla="*/ 2147483647 w 142"/>
                    <a:gd name="T11" fmla="*/ 2147483647 h 165"/>
                    <a:gd name="T12" fmla="*/ 2147483647 w 142"/>
                    <a:gd name="T13" fmla="*/ 2147483647 h 165"/>
                    <a:gd name="T14" fmla="*/ 2147483647 w 142"/>
                    <a:gd name="T15" fmla="*/ 2147483647 h 165"/>
                    <a:gd name="T16" fmla="*/ 2147483647 w 142"/>
                    <a:gd name="T17" fmla="*/ 2147483647 h 165"/>
                    <a:gd name="T18" fmla="*/ 2147483647 w 142"/>
                    <a:gd name="T19" fmla="*/ 2147483647 h 165"/>
                    <a:gd name="T20" fmla="*/ 2147483647 w 142"/>
                    <a:gd name="T21" fmla="*/ 2147483647 h 165"/>
                    <a:gd name="T22" fmla="*/ 2147483647 w 142"/>
                    <a:gd name="T23" fmla="*/ 2147483647 h 165"/>
                    <a:gd name="T24" fmla="*/ 2147483647 w 142"/>
                    <a:gd name="T25" fmla="*/ 2147483647 h 165"/>
                    <a:gd name="T26" fmla="*/ 2147483647 w 142"/>
                    <a:gd name="T27" fmla="*/ 2147483647 h 165"/>
                    <a:gd name="T28" fmla="*/ 2147483647 w 142"/>
                    <a:gd name="T29" fmla="*/ 2147483647 h 165"/>
                    <a:gd name="T30" fmla="*/ 2147483647 w 142"/>
                    <a:gd name="T31" fmla="*/ 2147483647 h 165"/>
                    <a:gd name="T32" fmla="*/ 2147483647 w 142"/>
                    <a:gd name="T33" fmla="*/ 2147483647 h 165"/>
                    <a:gd name="T34" fmla="*/ 2147483647 w 142"/>
                    <a:gd name="T35" fmla="*/ 2147483647 h 165"/>
                    <a:gd name="T36" fmla="*/ 2147483647 w 142"/>
                    <a:gd name="T37" fmla="*/ 2147483647 h 165"/>
                    <a:gd name="T38" fmla="*/ 2147483647 w 142"/>
                    <a:gd name="T39" fmla="*/ 2147483647 h 165"/>
                    <a:gd name="T40" fmla="*/ 2147483647 w 142"/>
                    <a:gd name="T41" fmla="*/ 2147483647 h 165"/>
                    <a:gd name="T42" fmla="*/ 2147483647 w 142"/>
                    <a:gd name="T43" fmla="*/ 2147483647 h 165"/>
                    <a:gd name="T44" fmla="*/ 2147483647 w 142"/>
                    <a:gd name="T45" fmla="*/ 2147483647 h 165"/>
                    <a:gd name="T46" fmla="*/ 2147483647 w 142"/>
                    <a:gd name="T47" fmla="*/ 2147483647 h 165"/>
                    <a:gd name="T48" fmla="*/ 2147483647 w 142"/>
                    <a:gd name="T49" fmla="*/ 2147483647 h 165"/>
                    <a:gd name="T50" fmla="*/ 0 w 142"/>
                    <a:gd name="T51" fmla="*/ 2147483647 h 165"/>
                    <a:gd name="T52" fmla="*/ 2147483647 w 142"/>
                    <a:gd name="T53" fmla="*/ 2147483647 h 165"/>
                    <a:gd name="T54" fmla="*/ 2147483647 w 142"/>
                    <a:gd name="T55" fmla="*/ 2147483647 h 165"/>
                    <a:gd name="T56" fmla="*/ 2147483647 w 142"/>
                    <a:gd name="T57" fmla="*/ 2147483647 h 165"/>
                    <a:gd name="T58" fmla="*/ 2147483647 w 142"/>
                    <a:gd name="T59" fmla="*/ 2147483647 h 165"/>
                    <a:gd name="T60" fmla="*/ 2147483647 w 142"/>
                    <a:gd name="T61" fmla="*/ 2147483647 h 165"/>
                    <a:gd name="T62" fmla="*/ 2147483647 w 142"/>
                    <a:gd name="T63" fmla="*/ 0 h 165"/>
                    <a:gd name="T64" fmla="*/ 2147483647 w 142"/>
                    <a:gd name="T65" fmla="*/ 0 h 165"/>
                    <a:gd name="T66" fmla="*/ 2147483647 w 142"/>
                    <a:gd name="T67" fmla="*/ 2147483647 h 165"/>
                    <a:gd name="T68" fmla="*/ 2147483647 w 142"/>
                    <a:gd name="T69" fmla="*/ 2147483647 h 165"/>
                    <a:gd name="T70" fmla="*/ 2147483647 w 142"/>
                    <a:gd name="T71" fmla="*/ 2147483647 h 165"/>
                    <a:gd name="T72" fmla="*/ 2147483647 w 142"/>
                    <a:gd name="T73" fmla="*/ 2147483647 h 165"/>
                    <a:gd name="T74" fmla="*/ 2147483647 w 142"/>
                    <a:gd name="T75" fmla="*/ 2147483647 h 165"/>
                    <a:gd name="T76" fmla="*/ 2147483647 w 142"/>
                    <a:gd name="T77" fmla="*/ 2147483647 h 165"/>
                    <a:gd name="T78" fmla="*/ 2147483647 w 142"/>
                    <a:gd name="T79" fmla="*/ 2147483647 h 165"/>
                    <a:gd name="T80" fmla="*/ 2147483647 w 142"/>
                    <a:gd name="T81" fmla="*/ 2147483647 h 165"/>
                    <a:gd name="T82" fmla="*/ 2147483647 w 142"/>
                    <a:gd name="T83" fmla="*/ 2147483647 h 165"/>
                    <a:gd name="T84" fmla="*/ 2147483647 w 142"/>
                    <a:gd name="T85" fmla="*/ 2147483647 h 165"/>
                    <a:gd name="T86" fmla="*/ 2147483647 w 142"/>
                    <a:gd name="T87" fmla="*/ 2147483647 h 165"/>
                    <a:gd name="T88" fmla="*/ 2147483647 w 142"/>
                    <a:gd name="T89" fmla="*/ 2147483647 h 165"/>
                    <a:gd name="T90" fmla="*/ 2147483647 w 142"/>
                    <a:gd name="T91" fmla="*/ 2147483647 h 165"/>
                    <a:gd name="T92" fmla="*/ 2147483647 w 142"/>
                    <a:gd name="T93" fmla="*/ 2147483647 h 165"/>
                    <a:gd name="T94" fmla="*/ 2147483647 w 142"/>
                    <a:gd name="T95" fmla="*/ 2147483647 h 1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2"/>
                    <a:gd name="T145" fmla="*/ 0 h 165"/>
                    <a:gd name="T146" fmla="*/ 142 w 142"/>
                    <a:gd name="T147" fmla="*/ 165 h 1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2" h="165">
                      <a:moveTo>
                        <a:pt x="132" y="127"/>
                      </a:moveTo>
                      <a:lnTo>
                        <a:pt x="133" y="133"/>
                      </a:lnTo>
                      <a:lnTo>
                        <a:pt x="135" y="140"/>
                      </a:lnTo>
                      <a:lnTo>
                        <a:pt x="133" y="144"/>
                      </a:lnTo>
                      <a:lnTo>
                        <a:pt x="131" y="146"/>
                      </a:lnTo>
                      <a:lnTo>
                        <a:pt x="128" y="147"/>
                      </a:lnTo>
                      <a:lnTo>
                        <a:pt x="126" y="150"/>
                      </a:lnTo>
                      <a:lnTo>
                        <a:pt x="121" y="156"/>
                      </a:lnTo>
                      <a:lnTo>
                        <a:pt x="117" y="161"/>
                      </a:lnTo>
                      <a:lnTo>
                        <a:pt x="113" y="164"/>
                      </a:lnTo>
                      <a:lnTo>
                        <a:pt x="109" y="164"/>
                      </a:lnTo>
                      <a:lnTo>
                        <a:pt x="105" y="161"/>
                      </a:lnTo>
                      <a:lnTo>
                        <a:pt x="102" y="159"/>
                      </a:lnTo>
                      <a:lnTo>
                        <a:pt x="99" y="161"/>
                      </a:lnTo>
                      <a:lnTo>
                        <a:pt x="95" y="164"/>
                      </a:lnTo>
                      <a:lnTo>
                        <a:pt x="93" y="165"/>
                      </a:lnTo>
                      <a:lnTo>
                        <a:pt x="91" y="165"/>
                      </a:lnTo>
                      <a:lnTo>
                        <a:pt x="90" y="164"/>
                      </a:lnTo>
                      <a:lnTo>
                        <a:pt x="84" y="163"/>
                      </a:lnTo>
                      <a:lnTo>
                        <a:pt x="80" y="163"/>
                      </a:lnTo>
                      <a:lnTo>
                        <a:pt x="77" y="161"/>
                      </a:lnTo>
                      <a:lnTo>
                        <a:pt x="75" y="161"/>
                      </a:lnTo>
                      <a:lnTo>
                        <a:pt x="72" y="161"/>
                      </a:lnTo>
                      <a:lnTo>
                        <a:pt x="70" y="160"/>
                      </a:lnTo>
                      <a:lnTo>
                        <a:pt x="69" y="160"/>
                      </a:lnTo>
                      <a:lnTo>
                        <a:pt x="69" y="158"/>
                      </a:lnTo>
                      <a:lnTo>
                        <a:pt x="69" y="156"/>
                      </a:lnTo>
                      <a:lnTo>
                        <a:pt x="71" y="151"/>
                      </a:lnTo>
                      <a:lnTo>
                        <a:pt x="75" y="145"/>
                      </a:lnTo>
                      <a:lnTo>
                        <a:pt x="77" y="140"/>
                      </a:lnTo>
                      <a:lnTo>
                        <a:pt x="79" y="132"/>
                      </a:lnTo>
                      <a:lnTo>
                        <a:pt x="80" y="125"/>
                      </a:lnTo>
                      <a:lnTo>
                        <a:pt x="79" y="121"/>
                      </a:lnTo>
                      <a:lnTo>
                        <a:pt x="77" y="118"/>
                      </a:lnTo>
                      <a:lnTo>
                        <a:pt x="75" y="114"/>
                      </a:lnTo>
                      <a:lnTo>
                        <a:pt x="72" y="112"/>
                      </a:lnTo>
                      <a:lnTo>
                        <a:pt x="62" y="107"/>
                      </a:lnTo>
                      <a:lnTo>
                        <a:pt x="53" y="102"/>
                      </a:lnTo>
                      <a:lnTo>
                        <a:pt x="43" y="97"/>
                      </a:lnTo>
                      <a:lnTo>
                        <a:pt x="34" y="90"/>
                      </a:lnTo>
                      <a:lnTo>
                        <a:pt x="33" y="89"/>
                      </a:lnTo>
                      <a:lnTo>
                        <a:pt x="33" y="87"/>
                      </a:lnTo>
                      <a:lnTo>
                        <a:pt x="32" y="82"/>
                      </a:lnTo>
                      <a:lnTo>
                        <a:pt x="32" y="77"/>
                      </a:lnTo>
                      <a:lnTo>
                        <a:pt x="30" y="76"/>
                      </a:lnTo>
                      <a:lnTo>
                        <a:pt x="29" y="75"/>
                      </a:lnTo>
                      <a:lnTo>
                        <a:pt x="22" y="70"/>
                      </a:lnTo>
                      <a:lnTo>
                        <a:pt x="15" y="65"/>
                      </a:lnTo>
                      <a:lnTo>
                        <a:pt x="11" y="62"/>
                      </a:lnTo>
                      <a:lnTo>
                        <a:pt x="9" y="58"/>
                      </a:lnTo>
                      <a:lnTo>
                        <a:pt x="5" y="54"/>
                      </a:lnTo>
                      <a:lnTo>
                        <a:pt x="0" y="51"/>
                      </a:lnTo>
                      <a:lnTo>
                        <a:pt x="4" y="49"/>
                      </a:lnTo>
                      <a:lnTo>
                        <a:pt x="5" y="46"/>
                      </a:lnTo>
                      <a:lnTo>
                        <a:pt x="8" y="39"/>
                      </a:lnTo>
                      <a:lnTo>
                        <a:pt x="10" y="35"/>
                      </a:lnTo>
                      <a:lnTo>
                        <a:pt x="11" y="29"/>
                      </a:lnTo>
                      <a:lnTo>
                        <a:pt x="14" y="17"/>
                      </a:lnTo>
                      <a:lnTo>
                        <a:pt x="16" y="11"/>
                      </a:lnTo>
                      <a:lnTo>
                        <a:pt x="19" y="6"/>
                      </a:lnTo>
                      <a:lnTo>
                        <a:pt x="23" y="4"/>
                      </a:lnTo>
                      <a:lnTo>
                        <a:pt x="29" y="3"/>
                      </a:lnTo>
                      <a:lnTo>
                        <a:pt x="37" y="1"/>
                      </a:lnTo>
                      <a:lnTo>
                        <a:pt x="43" y="0"/>
                      </a:lnTo>
                      <a:lnTo>
                        <a:pt x="50" y="0"/>
                      </a:lnTo>
                      <a:lnTo>
                        <a:pt x="52" y="0"/>
                      </a:lnTo>
                      <a:lnTo>
                        <a:pt x="56" y="1"/>
                      </a:lnTo>
                      <a:lnTo>
                        <a:pt x="65" y="5"/>
                      </a:lnTo>
                      <a:lnTo>
                        <a:pt x="69" y="6"/>
                      </a:lnTo>
                      <a:lnTo>
                        <a:pt x="71" y="9"/>
                      </a:lnTo>
                      <a:lnTo>
                        <a:pt x="75" y="13"/>
                      </a:lnTo>
                      <a:lnTo>
                        <a:pt x="77" y="18"/>
                      </a:lnTo>
                      <a:lnTo>
                        <a:pt x="79" y="24"/>
                      </a:lnTo>
                      <a:lnTo>
                        <a:pt x="79" y="29"/>
                      </a:lnTo>
                      <a:lnTo>
                        <a:pt x="79" y="39"/>
                      </a:lnTo>
                      <a:lnTo>
                        <a:pt x="79" y="46"/>
                      </a:lnTo>
                      <a:lnTo>
                        <a:pt x="80" y="48"/>
                      </a:lnTo>
                      <a:lnTo>
                        <a:pt x="83" y="49"/>
                      </a:lnTo>
                      <a:lnTo>
                        <a:pt x="94" y="51"/>
                      </a:lnTo>
                      <a:lnTo>
                        <a:pt x="105" y="54"/>
                      </a:lnTo>
                      <a:lnTo>
                        <a:pt x="112" y="56"/>
                      </a:lnTo>
                      <a:lnTo>
                        <a:pt x="117" y="58"/>
                      </a:lnTo>
                      <a:lnTo>
                        <a:pt x="119" y="61"/>
                      </a:lnTo>
                      <a:lnTo>
                        <a:pt x="122" y="64"/>
                      </a:lnTo>
                      <a:lnTo>
                        <a:pt x="123" y="71"/>
                      </a:lnTo>
                      <a:lnTo>
                        <a:pt x="122" y="86"/>
                      </a:lnTo>
                      <a:lnTo>
                        <a:pt x="123" y="89"/>
                      </a:lnTo>
                      <a:lnTo>
                        <a:pt x="126" y="90"/>
                      </a:lnTo>
                      <a:lnTo>
                        <a:pt x="128" y="92"/>
                      </a:lnTo>
                      <a:lnTo>
                        <a:pt x="132" y="90"/>
                      </a:lnTo>
                      <a:lnTo>
                        <a:pt x="138" y="89"/>
                      </a:lnTo>
                      <a:lnTo>
                        <a:pt x="142" y="87"/>
                      </a:lnTo>
                      <a:lnTo>
                        <a:pt x="140" y="97"/>
                      </a:lnTo>
                      <a:lnTo>
                        <a:pt x="136" y="107"/>
                      </a:lnTo>
                      <a:lnTo>
                        <a:pt x="133" y="118"/>
                      </a:lnTo>
                      <a:lnTo>
                        <a:pt x="132" y="12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0" name="Freeform 866"/>
                <p:cNvSpPr>
                  <a:spLocks/>
                </p:cNvSpPr>
                <p:nvPr/>
              </p:nvSpPr>
              <p:spPr bwMode="auto">
                <a:xfrm>
                  <a:off x="3142770" y="5189597"/>
                  <a:ext cx="193863" cy="244177"/>
                </a:xfrm>
                <a:custGeom>
                  <a:avLst/>
                  <a:gdLst>
                    <a:gd name="T0" fmla="*/ 2147483647 w 142"/>
                    <a:gd name="T1" fmla="*/ 2147483647 h 165"/>
                    <a:gd name="T2" fmla="*/ 2147483647 w 142"/>
                    <a:gd name="T3" fmla="*/ 2147483647 h 165"/>
                    <a:gd name="T4" fmla="*/ 2147483647 w 142"/>
                    <a:gd name="T5" fmla="*/ 2147483647 h 165"/>
                    <a:gd name="T6" fmla="*/ 2147483647 w 142"/>
                    <a:gd name="T7" fmla="*/ 2147483647 h 165"/>
                    <a:gd name="T8" fmla="*/ 2147483647 w 142"/>
                    <a:gd name="T9" fmla="*/ 2147483647 h 165"/>
                    <a:gd name="T10" fmla="*/ 2147483647 w 142"/>
                    <a:gd name="T11" fmla="*/ 2147483647 h 165"/>
                    <a:gd name="T12" fmla="*/ 2147483647 w 142"/>
                    <a:gd name="T13" fmla="*/ 2147483647 h 165"/>
                    <a:gd name="T14" fmla="*/ 2147483647 w 142"/>
                    <a:gd name="T15" fmla="*/ 2147483647 h 165"/>
                    <a:gd name="T16" fmla="*/ 2147483647 w 142"/>
                    <a:gd name="T17" fmla="*/ 2147483647 h 165"/>
                    <a:gd name="T18" fmla="*/ 2147483647 w 142"/>
                    <a:gd name="T19" fmla="*/ 2147483647 h 165"/>
                    <a:gd name="T20" fmla="*/ 2147483647 w 142"/>
                    <a:gd name="T21" fmla="*/ 2147483647 h 165"/>
                    <a:gd name="T22" fmla="*/ 2147483647 w 142"/>
                    <a:gd name="T23" fmla="*/ 2147483647 h 165"/>
                    <a:gd name="T24" fmla="*/ 2147483647 w 142"/>
                    <a:gd name="T25" fmla="*/ 2147483647 h 165"/>
                    <a:gd name="T26" fmla="*/ 2147483647 w 142"/>
                    <a:gd name="T27" fmla="*/ 2147483647 h 165"/>
                    <a:gd name="T28" fmla="*/ 2147483647 w 142"/>
                    <a:gd name="T29" fmla="*/ 2147483647 h 165"/>
                    <a:gd name="T30" fmla="*/ 2147483647 w 142"/>
                    <a:gd name="T31" fmla="*/ 2147483647 h 165"/>
                    <a:gd name="T32" fmla="*/ 2147483647 w 142"/>
                    <a:gd name="T33" fmla="*/ 2147483647 h 165"/>
                    <a:gd name="T34" fmla="*/ 2147483647 w 142"/>
                    <a:gd name="T35" fmla="*/ 2147483647 h 165"/>
                    <a:gd name="T36" fmla="*/ 2147483647 w 142"/>
                    <a:gd name="T37" fmla="*/ 2147483647 h 165"/>
                    <a:gd name="T38" fmla="*/ 2147483647 w 142"/>
                    <a:gd name="T39" fmla="*/ 2147483647 h 165"/>
                    <a:gd name="T40" fmla="*/ 2147483647 w 142"/>
                    <a:gd name="T41" fmla="*/ 2147483647 h 165"/>
                    <a:gd name="T42" fmla="*/ 2147483647 w 142"/>
                    <a:gd name="T43" fmla="*/ 2147483647 h 165"/>
                    <a:gd name="T44" fmla="*/ 2147483647 w 142"/>
                    <a:gd name="T45" fmla="*/ 2147483647 h 165"/>
                    <a:gd name="T46" fmla="*/ 2147483647 w 142"/>
                    <a:gd name="T47" fmla="*/ 2147483647 h 165"/>
                    <a:gd name="T48" fmla="*/ 2147483647 w 142"/>
                    <a:gd name="T49" fmla="*/ 2147483647 h 165"/>
                    <a:gd name="T50" fmla="*/ 2147483647 w 142"/>
                    <a:gd name="T51" fmla="*/ 2147483647 h 165"/>
                    <a:gd name="T52" fmla="*/ 2147483647 w 142"/>
                    <a:gd name="T53" fmla="*/ 2147483647 h 165"/>
                    <a:gd name="T54" fmla="*/ 2147483647 w 142"/>
                    <a:gd name="T55" fmla="*/ 2147483647 h 165"/>
                    <a:gd name="T56" fmla="*/ 2147483647 w 142"/>
                    <a:gd name="T57" fmla="*/ 2147483647 h 165"/>
                    <a:gd name="T58" fmla="*/ 2147483647 w 142"/>
                    <a:gd name="T59" fmla="*/ 2147483647 h 165"/>
                    <a:gd name="T60" fmla="*/ 2147483647 w 142"/>
                    <a:gd name="T61" fmla="*/ 2147483647 h 165"/>
                    <a:gd name="T62" fmla="*/ 2147483647 w 142"/>
                    <a:gd name="T63" fmla="*/ 2147483647 h 165"/>
                    <a:gd name="T64" fmla="*/ 2147483647 w 142"/>
                    <a:gd name="T65" fmla="*/ 2147483647 h 165"/>
                    <a:gd name="T66" fmla="*/ 2147483647 w 142"/>
                    <a:gd name="T67" fmla="*/ 2147483647 h 165"/>
                    <a:gd name="T68" fmla="*/ 0 w 142"/>
                    <a:gd name="T69" fmla="*/ 2147483647 h 165"/>
                    <a:gd name="T70" fmla="*/ 2147483647 w 142"/>
                    <a:gd name="T71" fmla="*/ 2147483647 h 165"/>
                    <a:gd name="T72" fmla="*/ 2147483647 w 142"/>
                    <a:gd name="T73" fmla="*/ 2147483647 h 165"/>
                    <a:gd name="T74" fmla="*/ 2147483647 w 142"/>
                    <a:gd name="T75" fmla="*/ 2147483647 h 165"/>
                    <a:gd name="T76" fmla="*/ 2147483647 w 142"/>
                    <a:gd name="T77" fmla="*/ 2147483647 h 165"/>
                    <a:gd name="T78" fmla="*/ 2147483647 w 142"/>
                    <a:gd name="T79" fmla="*/ 2147483647 h 165"/>
                    <a:gd name="T80" fmla="*/ 2147483647 w 142"/>
                    <a:gd name="T81" fmla="*/ 2147483647 h 165"/>
                    <a:gd name="T82" fmla="*/ 2147483647 w 142"/>
                    <a:gd name="T83" fmla="*/ 0 h 165"/>
                    <a:gd name="T84" fmla="*/ 2147483647 w 142"/>
                    <a:gd name="T85" fmla="*/ 0 h 165"/>
                    <a:gd name="T86" fmla="*/ 2147483647 w 142"/>
                    <a:gd name="T87" fmla="*/ 2147483647 h 165"/>
                    <a:gd name="T88" fmla="*/ 2147483647 w 142"/>
                    <a:gd name="T89" fmla="*/ 2147483647 h 165"/>
                    <a:gd name="T90" fmla="*/ 2147483647 w 142"/>
                    <a:gd name="T91" fmla="*/ 2147483647 h 165"/>
                    <a:gd name="T92" fmla="*/ 2147483647 w 142"/>
                    <a:gd name="T93" fmla="*/ 2147483647 h 165"/>
                    <a:gd name="T94" fmla="*/ 2147483647 w 142"/>
                    <a:gd name="T95" fmla="*/ 2147483647 h 165"/>
                    <a:gd name="T96" fmla="*/ 2147483647 w 142"/>
                    <a:gd name="T97" fmla="*/ 2147483647 h 165"/>
                    <a:gd name="T98" fmla="*/ 2147483647 w 142"/>
                    <a:gd name="T99" fmla="*/ 2147483647 h 165"/>
                    <a:gd name="T100" fmla="*/ 2147483647 w 142"/>
                    <a:gd name="T101" fmla="*/ 2147483647 h 165"/>
                    <a:gd name="T102" fmla="*/ 2147483647 w 142"/>
                    <a:gd name="T103" fmla="*/ 2147483647 h 165"/>
                    <a:gd name="T104" fmla="*/ 2147483647 w 142"/>
                    <a:gd name="T105" fmla="*/ 2147483647 h 165"/>
                    <a:gd name="T106" fmla="*/ 2147483647 w 142"/>
                    <a:gd name="T107" fmla="*/ 2147483647 h 165"/>
                    <a:gd name="T108" fmla="*/ 2147483647 w 142"/>
                    <a:gd name="T109" fmla="*/ 2147483647 h 165"/>
                    <a:gd name="T110" fmla="*/ 2147483647 w 142"/>
                    <a:gd name="T111" fmla="*/ 2147483647 h 165"/>
                    <a:gd name="T112" fmla="*/ 2147483647 w 142"/>
                    <a:gd name="T113" fmla="*/ 2147483647 h 165"/>
                    <a:gd name="T114" fmla="*/ 2147483647 w 142"/>
                    <a:gd name="T115" fmla="*/ 2147483647 h 165"/>
                    <a:gd name="T116" fmla="*/ 2147483647 w 142"/>
                    <a:gd name="T117" fmla="*/ 2147483647 h 165"/>
                    <a:gd name="T118" fmla="*/ 2147483647 w 142"/>
                    <a:gd name="T119" fmla="*/ 2147483647 h 165"/>
                    <a:gd name="T120" fmla="*/ 2147483647 w 142"/>
                    <a:gd name="T121" fmla="*/ 2147483647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2"/>
                    <a:gd name="T184" fmla="*/ 0 h 165"/>
                    <a:gd name="T185" fmla="*/ 142 w 142"/>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2" h="165">
                      <a:moveTo>
                        <a:pt x="132" y="127"/>
                      </a:moveTo>
                      <a:lnTo>
                        <a:pt x="132" y="127"/>
                      </a:lnTo>
                      <a:lnTo>
                        <a:pt x="133" y="133"/>
                      </a:lnTo>
                      <a:lnTo>
                        <a:pt x="134" y="140"/>
                      </a:lnTo>
                      <a:lnTo>
                        <a:pt x="133" y="144"/>
                      </a:lnTo>
                      <a:lnTo>
                        <a:pt x="131" y="146"/>
                      </a:lnTo>
                      <a:lnTo>
                        <a:pt x="128" y="147"/>
                      </a:lnTo>
                      <a:lnTo>
                        <a:pt x="125" y="149"/>
                      </a:lnTo>
                      <a:lnTo>
                        <a:pt x="120" y="155"/>
                      </a:lnTo>
                      <a:lnTo>
                        <a:pt x="117" y="161"/>
                      </a:lnTo>
                      <a:lnTo>
                        <a:pt x="113" y="164"/>
                      </a:lnTo>
                      <a:lnTo>
                        <a:pt x="109" y="164"/>
                      </a:lnTo>
                      <a:lnTo>
                        <a:pt x="105" y="161"/>
                      </a:lnTo>
                      <a:lnTo>
                        <a:pt x="101" y="159"/>
                      </a:lnTo>
                      <a:lnTo>
                        <a:pt x="99" y="161"/>
                      </a:lnTo>
                      <a:lnTo>
                        <a:pt x="95" y="164"/>
                      </a:lnTo>
                      <a:lnTo>
                        <a:pt x="92" y="165"/>
                      </a:lnTo>
                      <a:lnTo>
                        <a:pt x="91" y="165"/>
                      </a:lnTo>
                      <a:lnTo>
                        <a:pt x="90" y="164"/>
                      </a:lnTo>
                      <a:lnTo>
                        <a:pt x="84" y="162"/>
                      </a:lnTo>
                      <a:lnTo>
                        <a:pt x="80" y="162"/>
                      </a:lnTo>
                      <a:lnTo>
                        <a:pt x="77" y="161"/>
                      </a:lnTo>
                      <a:lnTo>
                        <a:pt x="75" y="161"/>
                      </a:lnTo>
                      <a:lnTo>
                        <a:pt x="72" y="161"/>
                      </a:lnTo>
                      <a:lnTo>
                        <a:pt x="70" y="160"/>
                      </a:lnTo>
                      <a:lnTo>
                        <a:pt x="68" y="160"/>
                      </a:lnTo>
                      <a:lnTo>
                        <a:pt x="68" y="158"/>
                      </a:lnTo>
                      <a:lnTo>
                        <a:pt x="68" y="155"/>
                      </a:lnTo>
                      <a:lnTo>
                        <a:pt x="71" y="151"/>
                      </a:lnTo>
                      <a:lnTo>
                        <a:pt x="75" y="145"/>
                      </a:lnTo>
                      <a:lnTo>
                        <a:pt x="77" y="140"/>
                      </a:lnTo>
                      <a:lnTo>
                        <a:pt x="78" y="132"/>
                      </a:lnTo>
                      <a:lnTo>
                        <a:pt x="80" y="125"/>
                      </a:lnTo>
                      <a:lnTo>
                        <a:pt x="78" y="121"/>
                      </a:lnTo>
                      <a:lnTo>
                        <a:pt x="77" y="117"/>
                      </a:lnTo>
                      <a:lnTo>
                        <a:pt x="75" y="114"/>
                      </a:lnTo>
                      <a:lnTo>
                        <a:pt x="72" y="112"/>
                      </a:lnTo>
                      <a:lnTo>
                        <a:pt x="62" y="107"/>
                      </a:lnTo>
                      <a:lnTo>
                        <a:pt x="53" y="102"/>
                      </a:lnTo>
                      <a:lnTo>
                        <a:pt x="43" y="97"/>
                      </a:lnTo>
                      <a:lnTo>
                        <a:pt x="34" y="90"/>
                      </a:lnTo>
                      <a:lnTo>
                        <a:pt x="33" y="89"/>
                      </a:lnTo>
                      <a:lnTo>
                        <a:pt x="33" y="87"/>
                      </a:lnTo>
                      <a:lnTo>
                        <a:pt x="31" y="82"/>
                      </a:lnTo>
                      <a:lnTo>
                        <a:pt x="31" y="77"/>
                      </a:lnTo>
                      <a:lnTo>
                        <a:pt x="30" y="76"/>
                      </a:lnTo>
                      <a:lnTo>
                        <a:pt x="29" y="75"/>
                      </a:lnTo>
                      <a:lnTo>
                        <a:pt x="21" y="70"/>
                      </a:lnTo>
                      <a:lnTo>
                        <a:pt x="15" y="65"/>
                      </a:lnTo>
                      <a:lnTo>
                        <a:pt x="11" y="62"/>
                      </a:lnTo>
                      <a:lnTo>
                        <a:pt x="9" y="58"/>
                      </a:lnTo>
                      <a:lnTo>
                        <a:pt x="5" y="53"/>
                      </a:lnTo>
                      <a:lnTo>
                        <a:pt x="0" y="51"/>
                      </a:lnTo>
                      <a:lnTo>
                        <a:pt x="4" y="49"/>
                      </a:lnTo>
                      <a:lnTo>
                        <a:pt x="5" y="46"/>
                      </a:lnTo>
                      <a:lnTo>
                        <a:pt x="7" y="39"/>
                      </a:lnTo>
                      <a:lnTo>
                        <a:pt x="10" y="34"/>
                      </a:lnTo>
                      <a:lnTo>
                        <a:pt x="11" y="29"/>
                      </a:lnTo>
                      <a:lnTo>
                        <a:pt x="14" y="17"/>
                      </a:lnTo>
                      <a:lnTo>
                        <a:pt x="16" y="11"/>
                      </a:lnTo>
                      <a:lnTo>
                        <a:pt x="19" y="6"/>
                      </a:lnTo>
                      <a:lnTo>
                        <a:pt x="23" y="4"/>
                      </a:lnTo>
                      <a:lnTo>
                        <a:pt x="29" y="2"/>
                      </a:lnTo>
                      <a:lnTo>
                        <a:pt x="37" y="1"/>
                      </a:lnTo>
                      <a:lnTo>
                        <a:pt x="43" y="0"/>
                      </a:lnTo>
                      <a:lnTo>
                        <a:pt x="49" y="0"/>
                      </a:lnTo>
                      <a:lnTo>
                        <a:pt x="52" y="0"/>
                      </a:lnTo>
                      <a:lnTo>
                        <a:pt x="56" y="1"/>
                      </a:lnTo>
                      <a:lnTo>
                        <a:pt x="64" y="5"/>
                      </a:lnTo>
                      <a:lnTo>
                        <a:pt x="68" y="6"/>
                      </a:lnTo>
                      <a:lnTo>
                        <a:pt x="71" y="8"/>
                      </a:lnTo>
                      <a:lnTo>
                        <a:pt x="75" y="13"/>
                      </a:lnTo>
                      <a:lnTo>
                        <a:pt x="77" y="18"/>
                      </a:lnTo>
                      <a:lnTo>
                        <a:pt x="78" y="24"/>
                      </a:lnTo>
                      <a:lnTo>
                        <a:pt x="78" y="29"/>
                      </a:lnTo>
                      <a:lnTo>
                        <a:pt x="78" y="39"/>
                      </a:lnTo>
                      <a:lnTo>
                        <a:pt x="78" y="46"/>
                      </a:lnTo>
                      <a:lnTo>
                        <a:pt x="80" y="47"/>
                      </a:lnTo>
                      <a:lnTo>
                        <a:pt x="82" y="49"/>
                      </a:lnTo>
                      <a:lnTo>
                        <a:pt x="94" y="51"/>
                      </a:lnTo>
                      <a:lnTo>
                        <a:pt x="105" y="53"/>
                      </a:lnTo>
                      <a:lnTo>
                        <a:pt x="111" y="56"/>
                      </a:lnTo>
                      <a:lnTo>
                        <a:pt x="117" y="58"/>
                      </a:lnTo>
                      <a:lnTo>
                        <a:pt x="119" y="61"/>
                      </a:lnTo>
                      <a:lnTo>
                        <a:pt x="122" y="64"/>
                      </a:lnTo>
                      <a:lnTo>
                        <a:pt x="123" y="71"/>
                      </a:lnTo>
                      <a:lnTo>
                        <a:pt x="122" y="85"/>
                      </a:lnTo>
                      <a:lnTo>
                        <a:pt x="123" y="89"/>
                      </a:lnTo>
                      <a:lnTo>
                        <a:pt x="125" y="90"/>
                      </a:lnTo>
                      <a:lnTo>
                        <a:pt x="128" y="91"/>
                      </a:lnTo>
                      <a:lnTo>
                        <a:pt x="132" y="90"/>
                      </a:lnTo>
                      <a:lnTo>
                        <a:pt x="138" y="89"/>
                      </a:lnTo>
                      <a:lnTo>
                        <a:pt x="142" y="87"/>
                      </a:lnTo>
                      <a:lnTo>
                        <a:pt x="139" y="97"/>
                      </a:lnTo>
                      <a:lnTo>
                        <a:pt x="136" y="107"/>
                      </a:lnTo>
                      <a:lnTo>
                        <a:pt x="133" y="117"/>
                      </a:lnTo>
                      <a:lnTo>
                        <a:pt x="132" y="12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1" name="Freeform 867"/>
                <p:cNvSpPr>
                  <a:spLocks/>
                </p:cNvSpPr>
                <p:nvPr/>
              </p:nvSpPr>
              <p:spPr bwMode="auto">
                <a:xfrm>
                  <a:off x="2977026" y="4933578"/>
                  <a:ext cx="275256" cy="352210"/>
                </a:xfrm>
                <a:custGeom>
                  <a:avLst/>
                  <a:gdLst>
                    <a:gd name="T0" fmla="*/ 2147483647 w 201"/>
                    <a:gd name="T1" fmla="*/ 2147483647 h 238"/>
                    <a:gd name="T2" fmla="*/ 2147483647 w 201"/>
                    <a:gd name="T3" fmla="*/ 2147483647 h 238"/>
                    <a:gd name="T4" fmla="*/ 2147483647 w 201"/>
                    <a:gd name="T5" fmla="*/ 2147483647 h 238"/>
                    <a:gd name="T6" fmla="*/ 2147483647 w 201"/>
                    <a:gd name="T7" fmla="*/ 2147483647 h 238"/>
                    <a:gd name="T8" fmla="*/ 2147483647 w 201"/>
                    <a:gd name="T9" fmla="*/ 2147483647 h 238"/>
                    <a:gd name="T10" fmla="*/ 2147483647 w 201"/>
                    <a:gd name="T11" fmla="*/ 2147483647 h 238"/>
                    <a:gd name="T12" fmla="*/ 2147483647 w 201"/>
                    <a:gd name="T13" fmla="*/ 2147483647 h 238"/>
                    <a:gd name="T14" fmla="*/ 2147483647 w 201"/>
                    <a:gd name="T15" fmla="*/ 2147483647 h 238"/>
                    <a:gd name="T16" fmla="*/ 2147483647 w 201"/>
                    <a:gd name="T17" fmla="*/ 2147483647 h 238"/>
                    <a:gd name="T18" fmla="*/ 2147483647 w 201"/>
                    <a:gd name="T19" fmla="*/ 2147483647 h 238"/>
                    <a:gd name="T20" fmla="*/ 2147483647 w 201"/>
                    <a:gd name="T21" fmla="*/ 2147483647 h 238"/>
                    <a:gd name="T22" fmla="*/ 2147483647 w 201"/>
                    <a:gd name="T23" fmla="*/ 2147483647 h 238"/>
                    <a:gd name="T24" fmla="*/ 2147483647 w 201"/>
                    <a:gd name="T25" fmla="*/ 2147483647 h 238"/>
                    <a:gd name="T26" fmla="*/ 2147483647 w 201"/>
                    <a:gd name="T27" fmla="*/ 2147483647 h 238"/>
                    <a:gd name="T28" fmla="*/ 2147483647 w 201"/>
                    <a:gd name="T29" fmla="*/ 2147483647 h 238"/>
                    <a:gd name="T30" fmla="*/ 2147483647 w 201"/>
                    <a:gd name="T31" fmla="*/ 2147483647 h 238"/>
                    <a:gd name="T32" fmla="*/ 2147483647 w 201"/>
                    <a:gd name="T33" fmla="*/ 2147483647 h 238"/>
                    <a:gd name="T34" fmla="*/ 2147483647 w 201"/>
                    <a:gd name="T35" fmla="*/ 2147483647 h 238"/>
                    <a:gd name="T36" fmla="*/ 2147483647 w 201"/>
                    <a:gd name="T37" fmla="*/ 2147483647 h 238"/>
                    <a:gd name="T38" fmla="*/ 2147483647 w 201"/>
                    <a:gd name="T39" fmla="*/ 2147483647 h 238"/>
                    <a:gd name="T40" fmla="*/ 2147483647 w 201"/>
                    <a:gd name="T41" fmla="*/ 2147483647 h 238"/>
                    <a:gd name="T42" fmla="*/ 2147483647 w 201"/>
                    <a:gd name="T43" fmla="*/ 2147483647 h 238"/>
                    <a:gd name="T44" fmla="*/ 2147483647 w 201"/>
                    <a:gd name="T45" fmla="*/ 2147483647 h 238"/>
                    <a:gd name="T46" fmla="*/ 2147483647 w 201"/>
                    <a:gd name="T47" fmla="*/ 2147483647 h 238"/>
                    <a:gd name="T48" fmla="*/ 2147483647 w 201"/>
                    <a:gd name="T49" fmla="*/ 2147483647 h 238"/>
                    <a:gd name="T50" fmla="*/ 2147483647 w 201"/>
                    <a:gd name="T51" fmla="*/ 2147483647 h 238"/>
                    <a:gd name="T52" fmla="*/ 2147483647 w 201"/>
                    <a:gd name="T53" fmla="*/ 2147483647 h 238"/>
                    <a:gd name="T54" fmla="*/ 2147483647 w 201"/>
                    <a:gd name="T55" fmla="*/ 2147483647 h 238"/>
                    <a:gd name="T56" fmla="*/ 2147483647 w 201"/>
                    <a:gd name="T57" fmla="*/ 2147483647 h 238"/>
                    <a:gd name="T58" fmla="*/ 2147483647 w 201"/>
                    <a:gd name="T59" fmla="*/ 2147483647 h 238"/>
                    <a:gd name="T60" fmla="*/ 2147483647 w 201"/>
                    <a:gd name="T61" fmla="*/ 2147483647 h 238"/>
                    <a:gd name="T62" fmla="*/ 0 w 201"/>
                    <a:gd name="T63" fmla="*/ 2147483647 h 238"/>
                    <a:gd name="T64" fmla="*/ 2147483647 w 201"/>
                    <a:gd name="T65" fmla="*/ 2147483647 h 238"/>
                    <a:gd name="T66" fmla="*/ 2147483647 w 201"/>
                    <a:gd name="T67" fmla="*/ 2147483647 h 238"/>
                    <a:gd name="T68" fmla="*/ 2147483647 w 201"/>
                    <a:gd name="T69" fmla="*/ 2147483647 h 238"/>
                    <a:gd name="T70" fmla="*/ 2147483647 w 201"/>
                    <a:gd name="T71" fmla="*/ 2147483647 h 238"/>
                    <a:gd name="T72" fmla="*/ 2147483647 w 201"/>
                    <a:gd name="T73" fmla="*/ 2147483647 h 238"/>
                    <a:gd name="T74" fmla="*/ 2147483647 w 201"/>
                    <a:gd name="T75" fmla="*/ 2147483647 h 238"/>
                    <a:gd name="T76" fmla="*/ 2147483647 w 201"/>
                    <a:gd name="T77" fmla="*/ 2147483647 h 238"/>
                    <a:gd name="T78" fmla="*/ 2147483647 w 201"/>
                    <a:gd name="T79" fmla="*/ 2147483647 h 238"/>
                    <a:gd name="T80" fmla="*/ 2147483647 w 201"/>
                    <a:gd name="T81" fmla="*/ 2147483647 h 238"/>
                    <a:gd name="T82" fmla="*/ 2147483647 w 201"/>
                    <a:gd name="T83" fmla="*/ 2147483647 h 238"/>
                    <a:gd name="T84" fmla="*/ 2147483647 w 201"/>
                    <a:gd name="T85" fmla="*/ 2147483647 h 238"/>
                    <a:gd name="T86" fmla="*/ 2147483647 w 201"/>
                    <a:gd name="T87" fmla="*/ 2147483647 h 238"/>
                    <a:gd name="T88" fmla="*/ 2147483647 w 201"/>
                    <a:gd name="T89" fmla="*/ 2147483647 h 238"/>
                    <a:gd name="T90" fmla="*/ 2147483647 w 201"/>
                    <a:gd name="T91" fmla="*/ 2147483647 h 238"/>
                    <a:gd name="T92" fmla="*/ 2147483647 w 201"/>
                    <a:gd name="T93" fmla="*/ 2147483647 h 238"/>
                    <a:gd name="T94" fmla="*/ 2147483647 w 201"/>
                    <a:gd name="T95" fmla="*/ 2147483647 h 238"/>
                    <a:gd name="T96" fmla="*/ 2147483647 w 201"/>
                    <a:gd name="T97" fmla="*/ 2147483647 h 238"/>
                    <a:gd name="T98" fmla="*/ 2147483647 w 201"/>
                    <a:gd name="T99" fmla="*/ 2147483647 h 238"/>
                    <a:gd name="T100" fmla="*/ 2147483647 w 201"/>
                    <a:gd name="T101" fmla="*/ 2147483647 h 238"/>
                    <a:gd name="T102" fmla="*/ 2147483647 w 201"/>
                    <a:gd name="T103" fmla="*/ 2147483647 h 238"/>
                    <a:gd name="T104" fmla="*/ 2147483647 w 201"/>
                    <a:gd name="T105" fmla="*/ 2147483647 h 238"/>
                    <a:gd name="T106" fmla="*/ 2147483647 w 201"/>
                    <a:gd name="T107" fmla="*/ 2147483647 h 238"/>
                    <a:gd name="T108" fmla="*/ 2147483647 w 201"/>
                    <a:gd name="T109" fmla="*/ 2147483647 h 238"/>
                    <a:gd name="T110" fmla="*/ 2147483647 w 201"/>
                    <a:gd name="T111" fmla="*/ 2147483647 h 238"/>
                    <a:gd name="T112" fmla="*/ 2147483647 w 201"/>
                    <a:gd name="T113" fmla="*/ 2147483647 h 238"/>
                    <a:gd name="T114" fmla="*/ 2147483647 w 201"/>
                    <a:gd name="T115" fmla="*/ 2147483647 h 238"/>
                    <a:gd name="T116" fmla="*/ 2147483647 w 201"/>
                    <a:gd name="T117" fmla="*/ 2147483647 h 238"/>
                    <a:gd name="T118" fmla="*/ 2147483647 w 201"/>
                    <a:gd name="T119" fmla="*/ 2147483647 h 238"/>
                    <a:gd name="T120" fmla="*/ 2147483647 w 201"/>
                    <a:gd name="T121" fmla="*/ 2147483647 h 238"/>
                    <a:gd name="T122" fmla="*/ 2147483647 w 201"/>
                    <a:gd name="T123" fmla="*/ 2147483647 h 238"/>
                    <a:gd name="T124" fmla="*/ 2147483647 w 201"/>
                    <a:gd name="T125" fmla="*/ 2147483647 h 2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1"/>
                    <a:gd name="T190" fmla="*/ 0 h 238"/>
                    <a:gd name="T191" fmla="*/ 201 w 201"/>
                    <a:gd name="T192" fmla="*/ 238 h 2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1" h="238">
                      <a:moveTo>
                        <a:pt x="193" y="183"/>
                      </a:moveTo>
                      <a:lnTo>
                        <a:pt x="194" y="177"/>
                      </a:lnTo>
                      <a:lnTo>
                        <a:pt x="196" y="171"/>
                      </a:lnTo>
                      <a:lnTo>
                        <a:pt x="198" y="165"/>
                      </a:lnTo>
                      <a:lnTo>
                        <a:pt x="199" y="160"/>
                      </a:lnTo>
                      <a:lnTo>
                        <a:pt x="201" y="154"/>
                      </a:lnTo>
                      <a:lnTo>
                        <a:pt x="201" y="148"/>
                      </a:lnTo>
                      <a:lnTo>
                        <a:pt x="199" y="143"/>
                      </a:lnTo>
                      <a:lnTo>
                        <a:pt x="197" y="138"/>
                      </a:lnTo>
                      <a:lnTo>
                        <a:pt x="193" y="133"/>
                      </a:lnTo>
                      <a:lnTo>
                        <a:pt x="188" y="129"/>
                      </a:lnTo>
                      <a:lnTo>
                        <a:pt x="187" y="128"/>
                      </a:lnTo>
                      <a:lnTo>
                        <a:pt x="188" y="126"/>
                      </a:lnTo>
                      <a:lnTo>
                        <a:pt x="191" y="122"/>
                      </a:lnTo>
                      <a:lnTo>
                        <a:pt x="191" y="117"/>
                      </a:lnTo>
                      <a:lnTo>
                        <a:pt x="188" y="115"/>
                      </a:lnTo>
                      <a:lnTo>
                        <a:pt x="185" y="113"/>
                      </a:lnTo>
                      <a:lnTo>
                        <a:pt x="182" y="111"/>
                      </a:lnTo>
                      <a:lnTo>
                        <a:pt x="173" y="110"/>
                      </a:lnTo>
                      <a:lnTo>
                        <a:pt x="164" y="109"/>
                      </a:lnTo>
                      <a:lnTo>
                        <a:pt x="161" y="107"/>
                      </a:lnTo>
                      <a:lnTo>
                        <a:pt x="160" y="105"/>
                      </a:lnTo>
                      <a:lnTo>
                        <a:pt x="158" y="100"/>
                      </a:lnTo>
                      <a:lnTo>
                        <a:pt x="156" y="94"/>
                      </a:lnTo>
                      <a:lnTo>
                        <a:pt x="158" y="88"/>
                      </a:lnTo>
                      <a:lnTo>
                        <a:pt x="159" y="81"/>
                      </a:lnTo>
                      <a:lnTo>
                        <a:pt x="158" y="75"/>
                      </a:lnTo>
                      <a:lnTo>
                        <a:pt x="154" y="68"/>
                      </a:lnTo>
                      <a:lnTo>
                        <a:pt x="151" y="62"/>
                      </a:lnTo>
                      <a:lnTo>
                        <a:pt x="144" y="59"/>
                      </a:lnTo>
                      <a:lnTo>
                        <a:pt x="136" y="58"/>
                      </a:lnTo>
                      <a:lnTo>
                        <a:pt x="128" y="56"/>
                      </a:lnTo>
                      <a:lnTo>
                        <a:pt x="122" y="51"/>
                      </a:lnTo>
                      <a:lnTo>
                        <a:pt x="113" y="43"/>
                      </a:lnTo>
                      <a:lnTo>
                        <a:pt x="108" y="38"/>
                      </a:lnTo>
                      <a:lnTo>
                        <a:pt x="103" y="34"/>
                      </a:lnTo>
                      <a:lnTo>
                        <a:pt x="85" y="28"/>
                      </a:lnTo>
                      <a:lnTo>
                        <a:pt x="80" y="26"/>
                      </a:lnTo>
                      <a:lnTo>
                        <a:pt x="76" y="24"/>
                      </a:lnTo>
                      <a:lnTo>
                        <a:pt x="74" y="20"/>
                      </a:lnTo>
                      <a:lnTo>
                        <a:pt x="71" y="17"/>
                      </a:lnTo>
                      <a:lnTo>
                        <a:pt x="71" y="11"/>
                      </a:lnTo>
                      <a:lnTo>
                        <a:pt x="70" y="2"/>
                      </a:lnTo>
                      <a:lnTo>
                        <a:pt x="70" y="1"/>
                      </a:lnTo>
                      <a:lnTo>
                        <a:pt x="67" y="0"/>
                      </a:lnTo>
                      <a:lnTo>
                        <a:pt x="65" y="1"/>
                      </a:lnTo>
                      <a:lnTo>
                        <a:pt x="62" y="1"/>
                      </a:lnTo>
                      <a:lnTo>
                        <a:pt x="48" y="4"/>
                      </a:lnTo>
                      <a:lnTo>
                        <a:pt x="43" y="5"/>
                      </a:lnTo>
                      <a:lnTo>
                        <a:pt x="38" y="9"/>
                      </a:lnTo>
                      <a:lnTo>
                        <a:pt x="34" y="13"/>
                      </a:lnTo>
                      <a:lnTo>
                        <a:pt x="23" y="23"/>
                      </a:lnTo>
                      <a:lnTo>
                        <a:pt x="10" y="33"/>
                      </a:lnTo>
                      <a:lnTo>
                        <a:pt x="6" y="36"/>
                      </a:lnTo>
                      <a:lnTo>
                        <a:pt x="4" y="39"/>
                      </a:lnTo>
                      <a:lnTo>
                        <a:pt x="3" y="43"/>
                      </a:lnTo>
                      <a:lnTo>
                        <a:pt x="3" y="46"/>
                      </a:lnTo>
                      <a:lnTo>
                        <a:pt x="4" y="75"/>
                      </a:lnTo>
                      <a:lnTo>
                        <a:pt x="9" y="103"/>
                      </a:lnTo>
                      <a:lnTo>
                        <a:pt x="9" y="108"/>
                      </a:lnTo>
                      <a:lnTo>
                        <a:pt x="8" y="114"/>
                      </a:lnTo>
                      <a:lnTo>
                        <a:pt x="3" y="123"/>
                      </a:lnTo>
                      <a:lnTo>
                        <a:pt x="0" y="128"/>
                      </a:lnTo>
                      <a:lnTo>
                        <a:pt x="0" y="134"/>
                      </a:lnTo>
                      <a:lnTo>
                        <a:pt x="0" y="139"/>
                      </a:lnTo>
                      <a:lnTo>
                        <a:pt x="3" y="143"/>
                      </a:lnTo>
                      <a:lnTo>
                        <a:pt x="6" y="148"/>
                      </a:lnTo>
                      <a:lnTo>
                        <a:pt x="13" y="155"/>
                      </a:lnTo>
                      <a:lnTo>
                        <a:pt x="17" y="164"/>
                      </a:lnTo>
                      <a:lnTo>
                        <a:pt x="20" y="173"/>
                      </a:lnTo>
                      <a:lnTo>
                        <a:pt x="22" y="183"/>
                      </a:lnTo>
                      <a:lnTo>
                        <a:pt x="22" y="190"/>
                      </a:lnTo>
                      <a:lnTo>
                        <a:pt x="24" y="197"/>
                      </a:lnTo>
                      <a:lnTo>
                        <a:pt x="28" y="209"/>
                      </a:lnTo>
                      <a:lnTo>
                        <a:pt x="32" y="220"/>
                      </a:lnTo>
                      <a:lnTo>
                        <a:pt x="36" y="229"/>
                      </a:lnTo>
                      <a:lnTo>
                        <a:pt x="38" y="236"/>
                      </a:lnTo>
                      <a:lnTo>
                        <a:pt x="41" y="238"/>
                      </a:lnTo>
                      <a:lnTo>
                        <a:pt x="43" y="238"/>
                      </a:lnTo>
                      <a:lnTo>
                        <a:pt x="46" y="237"/>
                      </a:lnTo>
                      <a:lnTo>
                        <a:pt x="48" y="234"/>
                      </a:lnTo>
                      <a:lnTo>
                        <a:pt x="51" y="229"/>
                      </a:lnTo>
                      <a:lnTo>
                        <a:pt x="55" y="226"/>
                      </a:lnTo>
                      <a:lnTo>
                        <a:pt x="56" y="225"/>
                      </a:lnTo>
                      <a:lnTo>
                        <a:pt x="60" y="225"/>
                      </a:lnTo>
                      <a:lnTo>
                        <a:pt x="62" y="228"/>
                      </a:lnTo>
                      <a:lnTo>
                        <a:pt x="64" y="230"/>
                      </a:lnTo>
                      <a:lnTo>
                        <a:pt x="66" y="231"/>
                      </a:lnTo>
                      <a:lnTo>
                        <a:pt x="67" y="231"/>
                      </a:lnTo>
                      <a:lnTo>
                        <a:pt x="70" y="230"/>
                      </a:lnTo>
                      <a:lnTo>
                        <a:pt x="72" y="228"/>
                      </a:lnTo>
                      <a:lnTo>
                        <a:pt x="75" y="226"/>
                      </a:lnTo>
                      <a:lnTo>
                        <a:pt x="79" y="228"/>
                      </a:lnTo>
                      <a:lnTo>
                        <a:pt x="81" y="229"/>
                      </a:lnTo>
                      <a:lnTo>
                        <a:pt x="84" y="231"/>
                      </a:lnTo>
                      <a:lnTo>
                        <a:pt x="85" y="234"/>
                      </a:lnTo>
                      <a:lnTo>
                        <a:pt x="86" y="237"/>
                      </a:lnTo>
                      <a:lnTo>
                        <a:pt x="89" y="238"/>
                      </a:lnTo>
                      <a:lnTo>
                        <a:pt x="92" y="238"/>
                      </a:lnTo>
                      <a:lnTo>
                        <a:pt x="94" y="237"/>
                      </a:lnTo>
                      <a:lnTo>
                        <a:pt x="95" y="230"/>
                      </a:lnTo>
                      <a:lnTo>
                        <a:pt x="98" y="228"/>
                      </a:lnTo>
                      <a:lnTo>
                        <a:pt x="99" y="226"/>
                      </a:lnTo>
                      <a:lnTo>
                        <a:pt x="103" y="225"/>
                      </a:lnTo>
                      <a:lnTo>
                        <a:pt x="105" y="225"/>
                      </a:lnTo>
                      <a:lnTo>
                        <a:pt x="113" y="226"/>
                      </a:lnTo>
                      <a:lnTo>
                        <a:pt x="121" y="225"/>
                      </a:lnTo>
                      <a:lnTo>
                        <a:pt x="122" y="225"/>
                      </a:lnTo>
                      <a:lnTo>
                        <a:pt x="126" y="223"/>
                      </a:lnTo>
                      <a:lnTo>
                        <a:pt x="127" y="220"/>
                      </a:lnTo>
                      <a:lnTo>
                        <a:pt x="130" y="213"/>
                      </a:lnTo>
                      <a:lnTo>
                        <a:pt x="132" y="209"/>
                      </a:lnTo>
                      <a:lnTo>
                        <a:pt x="133" y="203"/>
                      </a:lnTo>
                      <a:lnTo>
                        <a:pt x="136" y="191"/>
                      </a:lnTo>
                      <a:lnTo>
                        <a:pt x="138" y="185"/>
                      </a:lnTo>
                      <a:lnTo>
                        <a:pt x="141" y="180"/>
                      </a:lnTo>
                      <a:lnTo>
                        <a:pt x="145" y="178"/>
                      </a:lnTo>
                      <a:lnTo>
                        <a:pt x="151" y="177"/>
                      </a:lnTo>
                      <a:lnTo>
                        <a:pt x="159" y="175"/>
                      </a:lnTo>
                      <a:lnTo>
                        <a:pt x="165" y="174"/>
                      </a:lnTo>
                      <a:lnTo>
                        <a:pt x="172" y="174"/>
                      </a:lnTo>
                      <a:lnTo>
                        <a:pt x="174" y="174"/>
                      </a:lnTo>
                      <a:lnTo>
                        <a:pt x="178" y="175"/>
                      </a:lnTo>
                      <a:lnTo>
                        <a:pt x="187" y="179"/>
                      </a:lnTo>
                      <a:lnTo>
                        <a:pt x="191" y="180"/>
                      </a:lnTo>
                      <a:lnTo>
                        <a:pt x="193" y="18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2" name="Freeform 869"/>
                <p:cNvSpPr>
                  <a:spLocks/>
                </p:cNvSpPr>
                <p:nvPr/>
              </p:nvSpPr>
              <p:spPr bwMode="auto">
                <a:xfrm>
                  <a:off x="2975543" y="4932099"/>
                  <a:ext cx="273777" cy="352210"/>
                </a:xfrm>
                <a:custGeom>
                  <a:avLst/>
                  <a:gdLst>
                    <a:gd name="T0" fmla="*/ 2147483647 w 200"/>
                    <a:gd name="T1" fmla="*/ 2147483647 h 238"/>
                    <a:gd name="T2" fmla="*/ 2147483647 w 200"/>
                    <a:gd name="T3" fmla="*/ 2147483647 h 238"/>
                    <a:gd name="T4" fmla="*/ 2147483647 w 200"/>
                    <a:gd name="T5" fmla="*/ 2147483647 h 238"/>
                    <a:gd name="T6" fmla="*/ 2147483647 w 200"/>
                    <a:gd name="T7" fmla="*/ 2147483647 h 238"/>
                    <a:gd name="T8" fmla="*/ 2147483647 w 200"/>
                    <a:gd name="T9" fmla="*/ 2147483647 h 238"/>
                    <a:gd name="T10" fmla="*/ 2147483647 w 200"/>
                    <a:gd name="T11" fmla="*/ 2147483647 h 238"/>
                    <a:gd name="T12" fmla="*/ 2147483647 w 200"/>
                    <a:gd name="T13" fmla="*/ 2147483647 h 238"/>
                    <a:gd name="T14" fmla="*/ 2147483647 w 200"/>
                    <a:gd name="T15" fmla="*/ 2147483647 h 238"/>
                    <a:gd name="T16" fmla="*/ 2147483647 w 200"/>
                    <a:gd name="T17" fmla="*/ 2147483647 h 238"/>
                    <a:gd name="T18" fmla="*/ 2147483647 w 200"/>
                    <a:gd name="T19" fmla="*/ 2147483647 h 238"/>
                    <a:gd name="T20" fmla="*/ 2147483647 w 200"/>
                    <a:gd name="T21" fmla="*/ 2147483647 h 238"/>
                    <a:gd name="T22" fmla="*/ 2147483647 w 200"/>
                    <a:gd name="T23" fmla="*/ 2147483647 h 238"/>
                    <a:gd name="T24" fmla="*/ 2147483647 w 200"/>
                    <a:gd name="T25" fmla="*/ 2147483647 h 238"/>
                    <a:gd name="T26" fmla="*/ 2147483647 w 200"/>
                    <a:gd name="T27" fmla="*/ 2147483647 h 238"/>
                    <a:gd name="T28" fmla="*/ 2147483647 w 200"/>
                    <a:gd name="T29" fmla="*/ 2147483647 h 238"/>
                    <a:gd name="T30" fmla="*/ 2147483647 w 200"/>
                    <a:gd name="T31" fmla="*/ 2147483647 h 238"/>
                    <a:gd name="T32" fmla="*/ 2147483647 w 200"/>
                    <a:gd name="T33" fmla="*/ 2147483647 h 238"/>
                    <a:gd name="T34" fmla="*/ 2147483647 w 200"/>
                    <a:gd name="T35" fmla="*/ 2147483647 h 238"/>
                    <a:gd name="T36" fmla="*/ 2147483647 w 200"/>
                    <a:gd name="T37" fmla="*/ 2147483647 h 238"/>
                    <a:gd name="T38" fmla="*/ 2147483647 w 200"/>
                    <a:gd name="T39" fmla="*/ 2147483647 h 238"/>
                    <a:gd name="T40" fmla="*/ 2147483647 w 200"/>
                    <a:gd name="T41" fmla="*/ 2147483647 h 238"/>
                    <a:gd name="T42" fmla="*/ 2147483647 w 200"/>
                    <a:gd name="T43" fmla="*/ 2147483647 h 238"/>
                    <a:gd name="T44" fmla="*/ 2147483647 w 200"/>
                    <a:gd name="T45" fmla="*/ 2147483647 h 238"/>
                    <a:gd name="T46" fmla="*/ 2147483647 w 200"/>
                    <a:gd name="T47" fmla="*/ 2147483647 h 238"/>
                    <a:gd name="T48" fmla="*/ 2147483647 w 200"/>
                    <a:gd name="T49" fmla="*/ 2147483647 h 238"/>
                    <a:gd name="T50" fmla="*/ 2147483647 w 200"/>
                    <a:gd name="T51" fmla="*/ 2147483647 h 238"/>
                    <a:gd name="T52" fmla="*/ 0 w 200"/>
                    <a:gd name="T53" fmla="*/ 2147483647 h 238"/>
                    <a:gd name="T54" fmla="*/ 2147483647 w 200"/>
                    <a:gd name="T55" fmla="*/ 2147483647 h 238"/>
                    <a:gd name="T56" fmla="*/ 2147483647 w 200"/>
                    <a:gd name="T57" fmla="*/ 2147483647 h 238"/>
                    <a:gd name="T58" fmla="*/ 2147483647 w 200"/>
                    <a:gd name="T59" fmla="*/ 2147483647 h 238"/>
                    <a:gd name="T60" fmla="*/ 2147483647 w 200"/>
                    <a:gd name="T61" fmla="*/ 2147483647 h 238"/>
                    <a:gd name="T62" fmla="*/ 2147483647 w 200"/>
                    <a:gd name="T63" fmla="*/ 2147483647 h 238"/>
                    <a:gd name="T64" fmla="*/ 2147483647 w 200"/>
                    <a:gd name="T65" fmla="*/ 2147483647 h 238"/>
                    <a:gd name="T66" fmla="*/ 2147483647 w 200"/>
                    <a:gd name="T67" fmla="*/ 2147483647 h 238"/>
                    <a:gd name="T68" fmla="*/ 2147483647 w 200"/>
                    <a:gd name="T69" fmla="*/ 2147483647 h 238"/>
                    <a:gd name="T70" fmla="*/ 2147483647 w 200"/>
                    <a:gd name="T71" fmla="*/ 2147483647 h 238"/>
                    <a:gd name="T72" fmla="*/ 2147483647 w 200"/>
                    <a:gd name="T73" fmla="*/ 2147483647 h 238"/>
                    <a:gd name="T74" fmla="*/ 2147483647 w 200"/>
                    <a:gd name="T75" fmla="*/ 2147483647 h 238"/>
                    <a:gd name="T76" fmla="*/ 2147483647 w 200"/>
                    <a:gd name="T77" fmla="*/ 2147483647 h 238"/>
                    <a:gd name="T78" fmla="*/ 2147483647 w 200"/>
                    <a:gd name="T79" fmla="*/ 2147483647 h 238"/>
                    <a:gd name="T80" fmla="*/ 2147483647 w 200"/>
                    <a:gd name="T81" fmla="*/ 2147483647 h 238"/>
                    <a:gd name="T82" fmla="*/ 2147483647 w 200"/>
                    <a:gd name="T83" fmla="*/ 2147483647 h 238"/>
                    <a:gd name="T84" fmla="*/ 2147483647 w 200"/>
                    <a:gd name="T85" fmla="*/ 2147483647 h 238"/>
                    <a:gd name="T86" fmla="*/ 2147483647 w 200"/>
                    <a:gd name="T87" fmla="*/ 2147483647 h 238"/>
                    <a:gd name="T88" fmla="*/ 2147483647 w 200"/>
                    <a:gd name="T89" fmla="*/ 2147483647 h 238"/>
                    <a:gd name="T90" fmla="*/ 2147483647 w 200"/>
                    <a:gd name="T91" fmla="*/ 2147483647 h 238"/>
                    <a:gd name="T92" fmla="*/ 2147483647 w 200"/>
                    <a:gd name="T93" fmla="*/ 2147483647 h 238"/>
                    <a:gd name="T94" fmla="*/ 2147483647 w 200"/>
                    <a:gd name="T95" fmla="*/ 2147483647 h 238"/>
                    <a:gd name="T96" fmla="*/ 2147483647 w 200"/>
                    <a:gd name="T97" fmla="*/ 2147483647 h 238"/>
                    <a:gd name="T98" fmla="*/ 2147483647 w 200"/>
                    <a:gd name="T99" fmla="*/ 2147483647 h 238"/>
                    <a:gd name="T100" fmla="*/ 2147483647 w 200"/>
                    <a:gd name="T101" fmla="*/ 2147483647 h 238"/>
                    <a:gd name="T102" fmla="*/ 2147483647 w 200"/>
                    <a:gd name="T103" fmla="*/ 2147483647 h 238"/>
                    <a:gd name="T104" fmla="*/ 2147483647 w 200"/>
                    <a:gd name="T105" fmla="*/ 2147483647 h 238"/>
                    <a:gd name="T106" fmla="*/ 2147483647 w 200"/>
                    <a:gd name="T107" fmla="*/ 2147483647 h 2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0"/>
                    <a:gd name="T163" fmla="*/ 0 h 238"/>
                    <a:gd name="T164" fmla="*/ 200 w 200"/>
                    <a:gd name="T165" fmla="*/ 238 h 2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0" h="238">
                      <a:moveTo>
                        <a:pt x="193" y="182"/>
                      </a:moveTo>
                      <a:lnTo>
                        <a:pt x="193" y="182"/>
                      </a:lnTo>
                      <a:lnTo>
                        <a:pt x="194" y="176"/>
                      </a:lnTo>
                      <a:lnTo>
                        <a:pt x="195" y="171"/>
                      </a:lnTo>
                      <a:lnTo>
                        <a:pt x="198" y="165"/>
                      </a:lnTo>
                      <a:lnTo>
                        <a:pt x="199" y="160"/>
                      </a:lnTo>
                      <a:lnTo>
                        <a:pt x="200" y="154"/>
                      </a:lnTo>
                      <a:lnTo>
                        <a:pt x="200" y="148"/>
                      </a:lnTo>
                      <a:lnTo>
                        <a:pt x="199" y="143"/>
                      </a:lnTo>
                      <a:lnTo>
                        <a:pt x="197" y="137"/>
                      </a:lnTo>
                      <a:lnTo>
                        <a:pt x="193" y="133"/>
                      </a:lnTo>
                      <a:lnTo>
                        <a:pt x="188" y="129"/>
                      </a:lnTo>
                      <a:lnTo>
                        <a:pt x="186" y="128"/>
                      </a:lnTo>
                      <a:lnTo>
                        <a:pt x="188" y="125"/>
                      </a:lnTo>
                      <a:lnTo>
                        <a:pt x="190" y="122"/>
                      </a:lnTo>
                      <a:lnTo>
                        <a:pt x="190" y="117"/>
                      </a:lnTo>
                      <a:lnTo>
                        <a:pt x="188" y="115"/>
                      </a:lnTo>
                      <a:lnTo>
                        <a:pt x="185" y="112"/>
                      </a:lnTo>
                      <a:lnTo>
                        <a:pt x="181" y="111"/>
                      </a:lnTo>
                      <a:lnTo>
                        <a:pt x="173" y="110"/>
                      </a:lnTo>
                      <a:lnTo>
                        <a:pt x="164" y="109"/>
                      </a:lnTo>
                      <a:lnTo>
                        <a:pt x="161" y="106"/>
                      </a:lnTo>
                      <a:lnTo>
                        <a:pt x="160" y="105"/>
                      </a:lnTo>
                      <a:lnTo>
                        <a:pt x="157" y="99"/>
                      </a:lnTo>
                      <a:lnTo>
                        <a:pt x="156" y="93"/>
                      </a:lnTo>
                      <a:lnTo>
                        <a:pt x="157" y="88"/>
                      </a:lnTo>
                      <a:lnTo>
                        <a:pt x="159" y="80"/>
                      </a:lnTo>
                      <a:lnTo>
                        <a:pt x="157" y="74"/>
                      </a:lnTo>
                      <a:lnTo>
                        <a:pt x="153" y="67"/>
                      </a:lnTo>
                      <a:lnTo>
                        <a:pt x="151" y="61"/>
                      </a:lnTo>
                      <a:lnTo>
                        <a:pt x="143" y="59"/>
                      </a:lnTo>
                      <a:lnTo>
                        <a:pt x="136" y="58"/>
                      </a:lnTo>
                      <a:lnTo>
                        <a:pt x="128" y="56"/>
                      </a:lnTo>
                      <a:lnTo>
                        <a:pt x="122" y="51"/>
                      </a:lnTo>
                      <a:lnTo>
                        <a:pt x="113" y="42"/>
                      </a:lnTo>
                      <a:lnTo>
                        <a:pt x="108" y="38"/>
                      </a:lnTo>
                      <a:lnTo>
                        <a:pt x="103" y="34"/>
                      </a:lnTo>
                      <a:lnTo>
                        <a:pt x="85" y="28"/>
                      </a:lnTo>
                      <a:lnTo>
                        <a:pt x="80" y="26"/>
                      </a:lnTo>
                      <a:lnTo>
                        <a:pt x="76" y="24"/>
                      </a:lnTo>
                      <a:lnTo>
                        <a:pt x="73" y="20"/>
                      </a:lnTo>
                      <a:lnTo>
                        <a:pt x="71" y="16"/>
                      </a:lnTo>
                      <a:lnTo>
                        <a:pt x="71" y="10"/>
                      </a:lnTo>
                      <a:lnTo>
                        <a:pt x="70" y="2"/>
                      </a:lnTo>
                      <a:lnTo>
                        <a:pt x="70" y="1"/>
                      </a:lnTo>
                      <a:lnTo>
                        <a:pt x="67" y="0"/>
                      </a:lnTo>
                      <a:lnTo>
                        <a:pt x="65" y="1"/>
                      </a:lnTo>
                      <a:lnTo>
                        <a:pt x="62" y="1"/>
                      </a:lnTo>
                      <a:lnTo>
                        <a:pt x="48" y="3"/>
                      </a:lnTo>
                      <a:lnTo>
                        <a:pt x="43" y="5"/>
                      </a:lnTo>
                      <a:lnTo>
                        <a:pt x="38" y="9"/>
                      </a:lnTo>
                      <a:lnTo>
                        <a:pt x="34" y="13"/>
                      </a:lnTo>
                      <a:lnTo>
                        <a:pt x="23" y="22"/>
                      </a:lnTo>
                      <a:lnTo>
                        <a:pt x="10" y="33"/>
                      </a:lnTo>
                      <a:lnTo>
                        <a:pt x="6" y="35"/>
                      </a:lnTo>
                      <a:lnTo>
                        <a:pt x="4" y="39"/>
                      </a:lnTo>
                      <a:lnTo>
                        <a:pt x="2" y="42"/>
                      </a:lnTo>
                      <a:lnTo>
                        <a:pt x="2" y="46"/>
                      </a:lnTo>
                      <a:lnTo>
                        <a:pt x="4" y="74"/>
                      </a:lnTo>
                      <a:lnTo>
                        <a:pt x="9" y="103"/>
                      </a:lnTo>
                      <a:lnTo>
                        <a:pt x="9" y="108"/>
                      </a:lnTo>
                      <a:lnTo>
                        <a:pt x="7" y="114"/>
                      </a:lnTo>
                      <a:lnTo>
                        <a:pt x="2" y="123"/>
                      </a:lnTo>
                      <a:lnTo>
                        <a:pt x="0" y="128"/>
                      </a:lnTo>
                      <a:lnTo>
                        <a:pt x="0" y="134"/>
                      </a:lnTo>
                      <a:lnTo>
                        <a:pt x="0" y="139"/>
                      </a:lnTo>
                      <a:lnTo>
                        <a:pt x="2" y="143"/>
                      </a:lnTo>
                      <a:lnTo>
                        <a:pt x="6" y="148"/>
                      </a:lnTo>
                      <a:lnTo>
                        <a:pt x="13" y="155"/>
                      </a:lnTo>
                      <a:lnTo>
                        <a:pt x="16" y="163"/>
                      </a:lnTo>
                      <a:lnTo>
                        <a:pt x="20" y="173"/>
                      </a:lnTo>
                      <a:lnTo>
                        <a:pt x="21" y="182"/>
                      </a:lnTo>
                      <a:lnTo>
                        <a:pt x="21" y="189"/>
                      </a:lnTo>
                      <a:lnTo>
                        <a:pt x="24" y="197"/>
                      </a:lnTo>
                      <a:lnTo>
                        <a:pt x="28" y="208"/>
                      </a:lnTo>
                      <a:lnTo>
                        <a:pt x="32" y="220"/>
                      </a:lnTo>
                      <a:lnTo>
                        <a:pt x="35" y="229"/>
                      </a:lnTo>
                      <a:lnTo>
                        <a:pt x="38" y="236"/>
                      </a:lnTo>
                      <a:lnTo>
                        <a:pt x="40" y="238"/>
                      </a:lnTo>
                      <a:lnTo>
                        <a:pt x="43" y="238"/>
                      </a:lnTo>
                      <a:lnTo>
                        <a:pt x="46" y="237"/>
                      </a:lnTo>
                      <a:lnTo>
                        <a:pt x="48" y="233"/>
                      </a:lnTo>
                      <a:lnTo>
                        <a:pt x="51" y="229"/>
                      </a:lnTo>
                      <a:lnTo>
                        <a:pt x="54" y="226"/>
                      </a:lnTo>
                      <a:lnTo>
                        <a:pt x="56" y="225"/>
                      </a:lnTo>
                      <a:lnTo>
                        <a:pt x="59" y="225"/>
                      </a:lnTo>
                      <a:lnTo>
                        <a:pt x="62" y="227"/>
                      </a:lnTo>
                      <a:lnTo>
                        <a:pt x="63" y="230"/>
                      </a:lnTo>
                      <a:lnTo>
                        <a:pt x="66" y="231"/>
                      </a:lnTo>
                      <a:lnTo>
                        <a:pt x="67" y="231"/>
                      </a:lnTo>
                      <a:lnTo>
                        <a:pt x="70" y="230"/>
                      </a:lnTo>
                      <a:lnTo>
                        <a:pt x="72" y="227"/>
                      </a:lnTo>
                      <a:lnTo>
                        <a:pt x="75" y="226"/>
                      </a:lnTo>
                      <a:lnTo>
                        <a:pt x="79" y="227"/>
                      </a:lnTo>
                      <a:lnTo>
                        <a:pt x="81" y="229"/>
                      </a:lnTo>
                      <a:lnTo>
                        <a:pt x="84" y="231"/>
                      </a:lnTo>
                      <a:lnTo>
                        <a:pt x="85" y="233"/>
                      </a:lnTo>
                      <a:lnTo>
                        <a:pt x="86" y="237"/>
                      </a:lnTo>
                      <a:lnTo>
                        <a:pt x="89" y="238"/>
                      </a:lnTo>
                      <a:lnTo>
                        <a:pt x="91" y="238"/>
                      </a:lnTo>
                      <a:lnTo>
                        <a:pt x="94" y="237"/>
                      </a:lnTo>
                      <a:lnTo>
                        <a:pt x="95" y="230"/>
                      </a:lnTo>
                      <a:lnTo>
                        <a:pt x="98" y="227"/>
                      </a:lnTo>
                      <a:lnTo>
                        <a:pt x="99" y="226"/>
                      </a:lnTo>
                      <a:lnTo>
                        <a:pt x="103" y="225"/>
                      </a:lnTo>
                      <a:lnTo>
                        <a:pt x="105" y="225"/>
                      </a:lnTo>
                      <a:lnTo>
                        <a:pt x="113" y="226"/>
                      </a:lnTo>
                      <a:lnTo>
                        <a:pt x="120" y="225"/>
                      </a:lnTo>
                      <a:lnTo>
                        <a:pt x="122" y="225"/>
                      </a:lnTo>
                      <a:lnTo>
                        <a:pt x="126" y="223"/>
                      </a:lnTo>
                      <a:lnTo>
                        <a:pt x="127" y="220"/>
                      </a:lnTo>
                      <a:lnTo>
                        <a:pt x="129" y="213"/>
                      </a:lnTo>
                      <a:lnTo>
                        <a:pt x="132" y="208"/>
                      </a:lnTo>
                      <a:lnTo>
                        <a:pt x="133" y="203"/>
                      </a:lnTo>
                      <a:lnTo>
                        <a:pt x="136" y="191"/>
                      </a:lnTo>
                      <a:lnTo>
                        <a:pt x="138" y="185"/>
                      </a:lnTo>
                      <a:lnTo>
                        <a:pt x="141" y="180"/>
                      </a:lnTo>
                      <a:lnTo>
                        <a:pt x="145" y="178"/>
                      </a:lnTo>
                      <a:lnTo>
                        <a:pt x="151" y="176"/>
                      </a:lnTo>
                      <a:lnTo>
                        <a:pt x="159" y="175"/>
                      </a:lnTo>
                      <a:lnTo>
                        <a:pt x="165" y="174"/>
                      </a:lnTo>
                      <a:lnTo>
                        <a:pt x="171" y="174"/>
                      </a:lnTo>
                      <a:lnTo>
                        <a:pt x="174" y="174"/>
                      </a:lnTo>
                      <a:lnTo>
                        <a:pt x="178" y="175"/>
                      </a:lnTo>
                      <a:lnTo>
                        <a:pt x="186" y="179"/>
                      </a:lnTo>
                      <a:lnTo>
                        <a:pt x="190" y="180"/>
                      </a:lnTo>
                      <a:lnTo>
                        <a:pt x="193" y="18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3" name="Freeform 871"/>
                <p:cNvSpPr>
                  <a:spLocks/>
                </p:cNvSpPr>
                <p:nvPr/>
              </p:nvSpPr>
              <p:spPr bwMode="auto">
                <a:xfrm>
                  <a:off x="2707685" y="4582848"/>
                  <a:ext cx="147987" cy="179064"/>
                </a:xfrm>
                <a:custGeom>
                  <a:avLst/>
                  <a:gdLst>
                    <a:gd name="T0" fmla="*/ 2147483647 w 108"/>
                    <a:gd name="T1" fmla="*/ 2147483647 h 121"/>
                    <a:gd name="T2" fmla="*/ 2147483647 w 108"/>
                    <a:gd name="T3" fmla="*/ 2147483647 h 121"/>
                    <a:gd name="T4" fmla="*/ 2147483647 w 108"/>
                    <a:gd name="T5" fmla="*/ 2147483647 h 121"/>
                    <a:gd name="T6" fmla="*/ 2147483647 w 108"/>
                    <a:gd name="T7" fmla="*/ 2147483647 h 121"/>
                    <a:gd name="T8" fmla="*/ 2147483647 w 108"/>
                    <a:gd name="T9" fmla="*/ 2147483647 h 121"/>
                    <a:gd name="T10" fmla="*/ 2147483647 w 108"/>
                    <a:gd name="T11" fmla="*/ 2147483647 h 121"/>
                    <a:gd name="T12" fmla="*/ 2147483647 w 108"/>
                    <a:gd name="T13" fmla="*/ 2147483647 h 121"/>
                    <a:gd name="T14" fmla="*/ 2147483647 w 108"/>
                    <a:gd name="T15" fmla="*/ 2147483647 h 121"/>
                    <a:gd name="T16" fmla="*/ 2147483647 w 108"/>
                    <a:gd name="T17" fmla="*/ 2147483647 h 121"/>
                    <a:gd name="T18" fmla="*/ 2147483647 w 108"/>
                    <a:gd name="T19" fmla="*/ 2147483647 h 121"/>
                    <a:gd name="T20" fmla="*/ 2147483647 w 108"/>
                    <a:gd name="T21" fmla="*/ 2147483647 h 121"/>
                    <a:gd name="T22" fmla="*/ 2147483647 w 108"/>
                    <a:gd name="T23" fmla="*/ 2147483647 h 121"/>
                    <a:gd name="T24" fmla="*/ 2147483647 w 108"/>
                    <a:gd name="T25" fmla="*/ 2147483647 h 121"/>
                    <a:gd name="T26" fmla="*/ 2147483647 w 108"/>
                    <a:gd name="T27" fmla="*/ 2147483647 h 121"/>
                    <a:gd name="T28" fmla="*/ 2147483647 w 108"/>
                    <a:gd name="T29" fmla="*/ 2147483647 h 121"/>
                    <a:gd name="T30" fmla="*/ 2147483647 w 108"/>
                    <a:gd name="T31" fmla="*/ 2147483647 h 121"/>
                    <a:gd name="T32" fmla="*/ 2147483647 w 108"/>
                    <a:gd name="T33" fmla="*/ 2147483647 h 121"/>
                    <a:gd name="T34" fmla="*/ 2147483647 w 108"/>
                    <a:gd name="T35" fmla="*/ 2147483647 h 121"/>
                    <a:gd name="T36" fmla="*/ 2147483647 w 108"/>
                    <a:gd name="T37" fmla="*/ 2147483647 h 121"/>
                    <a:gd name="T38" fmla="*/ 2147483647 w 108"/>
                    <a:gd name="T39" fmla="*/ 2147483647 h 121"/>
                    <a:gd name="T40" fmla="*/ 2147483647 w 108"/>
                    <a:gd name="T41" fmla="*/ 2147483647 h 121"/>
                    <a:gd name="T42" fmla="*/ 2147483647 w 108"/>
                    <a:gd name="T43" fmla="*/ 2147483647 h 121"/>
                    <a:gd name="T44" fmla="*/ 2147483647 w 108"/>
                    <a:gd name="T45" fmla="*/ 2147483647 h 121"/>
                    <a:gd name="T46" fmla="*/ 2147483647 w 108"/>
                    <a:gd name="T47" fmla="*/ 0 h 121"/>
                    <a:gd name="T48" fmla="*/ 2147483647 w 108"/>
                    <a:gd name="T49" fmla="*/ 2147483647 h 121"/>
                    <a:gd name="T50" fmla="*/ 2147483647 w 108"/>
                    <a:gd name="T51" fmla="*/ 2147483647 h 121"/>
                    <a:gd name="T52" fmla="*/ 2147483647 w 108"/>
                    <a:gd name="T53" fmla="*/ 2147483647 h 121"/>
                    <a:gd name="T54" fmla="*/ 2147483647 w 108"/>
                    <a:gd name="T55" fmla="*/ 2147483647 h 121"/>
                    <a:gd name="T56" fmla="*/ 2147483647 w 108"/>
                    <a:gd name="T57" fmla="*/ 2147483647 h 121"/>
                    <a:gd name="T58" fmla="*/ 0 w 108"/>
                    <a:gd name="T59" fmla="*/ 2147483647 h 121"/>
                    <a:gd name="T60" fmla="*/ 2147483647 w 108"/>
                    <a:gd name="T61" fmla="*/ 2147483647 h 121"/>
                    <a:gd name="T62" fmla="*/ 2147483647 w 108"/>
                    <a:gd name="T63" fmla="*/ 2147483647 h 121"/>
                    <a:gd name="T64" fmla="*/ 2147483647 w 108"/>
                    <a:gd name="T65" fmla="*/ 2147483647 h 121"/>
                    <a:gd name="T66" fmla="*/ 2147483647 w 108"/>
                    <a:gd name="T67" fmla="*/ 2147483647 h 121"/>
                    <a:gd name="T68" fmla="*/ 2147483647 w 108"/>
                    <a:gd name="T69" fmla="*/ 2147483647 h 121"/>
                    <a:gd name="T70" fmla="*/ 2147483647 w 108"/>
                    <a:gd name="T71" fmla="*/ 2147483647 h 121"/>
                    <a:gd name="T72" fmla="*/ 2147483647 w 108"/>
                    <a:gd name="T73" fmla="*/ 2147483647 h 121"/>
                    <a:gd name="T74" fmla="*/ 2147483647 w 108"/>
                    <a:gd name="T75" fmla="*/ 2147483647 h 1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8"/>
                    <a:gd name="T115" fmla="*/ 0 h 121"/>
                    <a:gd name="T116" fmla="*/ 108 w 108"/>
                    <a:gd name="T117" fmla="*/ 121 h 1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8" h="121">
                      <a:moveTo>
                        <a:pt x="18" y="97"/>
                      </a:moveTo>
                      <a:lnTo>
                        <a:pt x="19" y="99"/>
                      </a:lnTo>
                      <a:lnTo>
                        <a:pt x="19" y="102"/>
                      </a:lnTo>
                      <a:lnTo>
                        <a:pt x="18" y="107"/>
                      </a:lnTo>
                      <a:lnTo>
                        <a:pt x="15" y="110"/>
                      </a:lnTo>
                      <a:lnTo>
                        <a:pt x="14" y="114"/>
                      </a:lnTo>
                      <a:lnTo>
                        <a:pt x="14" y="117"/>
                      </a:lnTo>
                      <a:lnTo>
                        <a:pt x="17" y="120"/>
                      </a:lnTo>
                      <a:lnTo>
                        <a:pt x="18" y="120"/>
                      </a:lnTo>
                      <a:lnTo>
                        <a:pt x="21" y="120"/>
                      </a:lnTo>
                      <a:lnTo>
                        <a:pt x="27" y="118"/>
                      </a:lnTo>
                      <a:lnTo>
                        <a:pt x="31" y="117"/>
                      </a:lnTo>
                      <a:lnTo>
                        <a:pt x="33" y="118"/>
                      </a:lnTo>
                      <a:lnTo>
                        <a:pt x="36" y="121"/>
                      </a:lnTo>
                      <a:lnTo>
                        <a:pt x="37" y="121"/>
                      </a:lnTo>
                      <a:lnTo>
                        <a:pt x="41" y="121"/>
                      </a:lnTo>
                      <a:lnTo>
                        <a:pt x="42" y="118"/>
                      </a:lnTo>
                      <a:lnTo>
                        <a:pt x="45" y="117"/>
                      </a:lnTo>
                      <a:lnTo>
                        <a:pt x="50" y="116"/>
                      </a:lnTo>
                      <a:lnTo>
                        <a:pt x="52" y="114"/>
                      </a:lnTo>
                      <a:lnTo>
                        <a:pt x="55" y="111"/>
                      </a:lnTo>
                      <a:lnTo>
                        <a:pt x="56" y="108"/>
                      </a:lnTo>
                      <a:lnTo>
                        <a:pt x="59" y="102"/>
                      </a:lnTo>
                      <a:lnTo>
                        <a:pt x="60" y="97"/>
                      </a:lnTo>
                      <a:lnTo>
                        <a:pt x="64" y="92"/>
                      </a:lnTo>
                      <a:lnTo>
                        <a:pt x="71" y="86"/>
                      </a:lnTo>
                      <a:lnTo>
                        <a:pt x="80" y="80"/>
                      </a:lnTo>
                      <a:lnTo>
                        <a:pt x="89" y="75"/>
                      </a:lnTo>
                      <a:lnTo>
                        <a:pt x="95" y="69"/>
                      </a:lnTo>
                      <a:lnTo>
                        <a:pt x="103" y="62"/>
                      </a:lnTo>
                      <a:lnTo>
                        <a:pt x="106" y="58"/>
                      </a:lnTo>
                      <a:lnTo>
                        <a:pt x="107" y="53"/>
                      </a:lnTo>
                      <a:lnTo>
                        <a:pt x="108" y="50"/>
                      </a:lnTo>
                      <a:lnTo>
                        <a:pt x="107" y="45"/>
                      </a:lnTo>
                      <a:lnTo>
                        <a:pt x="104" y="40"/>
                      </a:lnTo>
                      <a:lnTo>
                        <a:pt x="102" y="34"/>
                      </a:lnTo>
                      <a:lnTo>
                        <a:pt x="99" y="30"/>
                      </a:lnTo>
                      <a:lnTo>
                        <a:pt x="97" y="24"/>
                      </a:lnTo>
                      <a:lnTo>
                        <a:pt x="83" y="20"/>
                      </a:lnTo>
                      <a:lnTo>
                        <a:pt x="74" y="19"/>
                      </a:lnTo>
                      <a:lnTo>
                        <a:pt x="68" y="19"/>
                      </a:lnTo>
                      <a:lnTo>
                        <a:pt x="65" y="16"/>
                      </a:lnTo>
                      <a:lnTo>
                        <a:pt x="62" y="14"/>
                      </a:lnTo>
                      <a:lnTo>
                        <a:pt x="59" y="8"/>
                      </a:lnTo>
                      <a:lnTo>
                        <a:pt x="56" y="6"/>
                      </a:lnTo>
                      <a:lnTo>
                        <a:pt x="52" y="3"/>
                      </a:lnTo>
                      <a:lnTo>
                        <a:pt x="47" y="1"/>
                      </a:lnTo>
                      <a:lnTo>
                        <a:pt x="41" y="0"/>
                      </a:lnTo>
                      <a:lnTo>
                        <a:pt x="38" y="3"/>
                      </a:lnTo>
                      <a:lnTo>
                        <a:pt x="35" y="6"/>
                      </a:lnTo>
                      <a:lnTo>
                        <a:pt x="28" y="9"/>
                      </a:lnTo>
                      <a:lnTo>
                        <a:pt x="22" y="14"/>
                      </a:lnTo>
                      <a:lnTo>
                        <a:pt x="18" y="16"/>
                      </a:lnTo>
                      <a:lnTo>
                        <a:pt x="17" y="19"/>
                      </a:lnTo>
                      <a:lnTo>
                        <a:pt x="13" y="26"/>
                      </a:lnTo>
                      <a:lnTo>
                        <a:pt x="12" y="33"/>
                      </a:lnTo>
                      <a:lnTo>
                        <a:pt x="8" y="40"/>
                      </a:lnTo>
                      <a:lnTo>
                        <a:pt x="4" y="46"/>
                      </a:lnTo>
                      <a:lnTo>
                        <a:pt x="2" y="51"/>
                      </a:lnTo>
                      <a:lnTo>
                        <a:pt x="0" y="56"/>
                      </a:lnTo>
                      <a:lnTo>
                        <a:pt x="2" y="60"/>
                      </a:lnTo>
                      <a:lnTo>
                        <a:pt x="4" y="65"/>
                      </a:lnTo>
                      <a:lnTo>
                        <a:pt x="7" y="69"/>
                      </a:lnTo>
                      <a:lnTo>
                        <a:pt x="12" y="72"/>
                      </a:lnTo>
                      <a:lnTo>
                        <a:pt x="17" y="75"/>
                      </a:lnTo>
                      <a:lnTo>
                        <a:pt x="22" y="76"/>
                      </a:lnTo>
                      <a:lnTo>
                        <a:pt x="23" y="77"/>
                      </a:lnTo>
                      <a:lnTo>
                        <a:pt x="19" y="80"/>
                      </a:lnTo>
                      <a:lnTo>
                        <a:pt x="18" y="83"/>
                      </a:lnTo>
                      <a:lnTo>
                        <a:pt x="19" y="85"/>
                      </a:lnTo>
                      <a:lnTo>
                        <a:pt x="22" y="88"/>
                      </a:lnTo>
                      <a:lnTo>
                        <a:pt x="23" y="89"/>
                      </a:lnTo>
                      <a:lnTo>
                        <a:pt x="23" y="91"/>
                      </a:lnTo>
                      <a:lnTo>
                        <a:pt x="22" y="92"/>
                      </a:lnTo>
                      <a:lnTo>
                        <a:pt x="19" y="94"/>
                      </a:lnTo>
                      <a:lnTo>
                        <a:pt x="18" y="96"/>
                      </a:lnTo>
                      <a:lnTo>
                        <a:pt x="18" y="9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4" name="Freeform 872"/>
                <p:cNvSpPr>
                  <a:spLocks/>
                </p:cNvSpPr>
                <p:nvPr/>
              </p:nvSpPr>
              <p:spPr bwMode="auto">
                <a:xfrm>
                  <a:off x="3074694" y="4317950"/>
                  <a:ext cx="11839" cy="4440"/>
                </a:xfrm>
                <a:custGeom>
                  <a:avLst/>
                  <a:gdLst>
                    <a:gd name="T0" fmla="*/ 2147483647 w 9"/>
                    <a:gd name="T1" fmla="*/ 2147483647 h 3"/>
                    <a:gd name="T2" fmla="*/ 0 w 9"/>
                    <a:gd name="T3" fmla="*/ 2147483647 h 3"/>
                    <a:gd name="T4" fmla="*/ 2147483647 w 9"/>
                    <a:gd name="T5" fmla="*/ 0 h 3"/>
                    <a:gd name="T6" fmla="*/ 2147483647 w 9"/>
                    <a:gd name="T7" fmla="*/ 0 h 3"/>
                    <a:gd name="T8" fmla="*/ 2147483647 w 9"/>
                    <a:gd name="T9" fmla="*/ 0 h 3"/>
                    <a:gd name="T10" fmla="*/ 2147483647 w 9"/>
                    <a:gd name="T11" fmla="*/ 2147483647 h 3"/>
                    <a:gd name="T12" fmla="*/ 2147483647 w 9"/>
                    <a:gd name="T13" fmla="*/ 2147483647 h 3"/>
                    <a:gd name="T14" fmla="*/ 2147483647 w 9"/>
                    <a:gd name="T15" fmla="*/ 2147483647 h 3"/>
                    <a:gd name="T16" fmla="*/ 2147483647 w 9"/>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3"/>
                    <a:gd name="T29" fmla="*/ 9 w 9"/>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3">
                      <a:moveTo>
                        <a:pt x="4" y="3"/>
                      </a:moveTo>
                      <a:lnTo>
                        <a:pt x="0" y="3"/>
                      </a:lnTo>
                      <a:lnTo>
                        <a:pt x="1" y="0"/>
                      </a:lnTo>
                      <a:lnTo>
                        <a:pt x="4" y="0"/>
                      </a:lnTo>
                      <a:lnTo>
                        <a:pt x="7" y="0"/>
                      </a:lnTo>
                      <a:lnTo>
                        <a:pt x="9" y="1"/>
                      </a:lnTo>
                      <a:lnTo>
                        <a:pt x="9" y="3"/>
                      </a:lnTo>
                      <a:lnTo>
                        <a:pt x="8" y="3"/>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5" name="Freeform 873"/>
                <p:cNvSpPr>
                  <a:spLocks/>
                </p:cNvSpPr>
                <p:nvPr/>
              </p:nvSpPr>
              <p:spPr bwMode="auto">
                <a:xfrm>
                  <a:off x="2706205" y="4581364"/>
                  <a:ext cx="147987" cy="179065"/>
                </a:xfrm>
                <a:custGeom>
                  <a:avLst/>
                  <a:gdLst>
                    <a:gd name="T0" fmla="*/ 2147483647 w 108"/>
                    <a:gd name="T1" fmla="*/ 2147483647 h 121"/>
                    <a:gd name="T2" fmla="*/ 2147483647 w 108"/>
                    <a:gd name="T3" fmla="*/ 2147483647 h 121"/>
                    <a:gd name="T4" fmla="*/ 2147483647 w 108"/>
                    <a:gd name="T5" fmla="*/ 2147483647 h 121"/>
                    <a:gd name="T6" fmla="*/ 2147483647 w 108"/>
                    <a:gd name="T7" fmla="*/ 2147483647 h 121"/>
                    <a:gd name="T8" fmla="*/ 2147483647 w 108"/>
                    <a:gd name="T9" fmla="*/ 2147483647 h 121"/>
                    <a:gd name="T10" fmla="*/ 2147483647 w 108"/>
                    <a:gd name="T11" fmla="*/ 2147483647 h 121"/>
                    <a:gd name="T12" fmla="*/ 2147483647 w 108"/>
                    <a:gd name="T13" fmla="*/ 2147483647 h 121"/>
                    <a:gd name="T14" fmla="*/ 2147483647 w 108"/>
                    <a:gd name="T15" fmla="*/ 2147483647 h 121"/>
                    <a:gd name="T16" fmla="*/ 2147483647 w 108"/>
                    <a:gd name="T17" fmla="*/ 2147483647 h 121"/>
                    <a:gd name="T18" fmla="*/ 2147483647 w 108"/>
                    <a:gd name="T19" fmla="*/ 2147483647 h 121"/>
                    <a:gd name="T20" fmla="*/ 2147483647 w 108"/>
                    <a:gd name="T21" fmla="*/ 2147483647 h 121"/>
                    <a:gd name="T22" fmla="*/ 2147483647 w 108"/>
                    <a:gd name="T23" fmla="*/ 2147483647 h 121"/>
                    <a:gd name="T24" fmla="*/ 2147483647 w 108"/>
                    <a:gd name="T25" fmla="*/ 2147483647 h 121"/>
                    <a:gd name="T26" fmla="*/ 2147483647 w 108"/>
                    <a:gd name="T27" fmla="*/ 2147483647 h 121"/>
                    <a:gd name="T28" fmla="*/ 2147483647 w 108"/>
                    <a:gd name="T29" fmla="*/ 2147483647 h 121"/>
                    <a:gd name="T30" fmla="*/ 2147483647 w 108"/>
                    <a:gd name="T31" fmla="*/ 2147483647 h 121"/>
                    <a:gd name="T32" fmla="*/ 2147483647 w 108"/>
                    <a:gd name="T33" fmla="*/ 2147483647 h 121"/>
                    <a:gd name="T34" fmla="*/ 2147483647 w 108"/>
                    <a:gd name="T35" fmla="*/ 2147483647 h 121"/>
                    <a:gd name="T36" fmla="*/ 2147483647 w 108"/>
                    <a:gd name="T37" fmla="*/ 2147483647 h 121"/>
                    <a:gd name="T38" fmla="*/ 2147483647 w 108"/>
                    <a:gd name="T39" fmla="*/ 2147483647 h 121"/>
                    <a:gd name="T40" fmla="*/ 2147483647 w 108"/>
                    <a:gd name="T41" fmla="*/ 2147483647 h 121"/>
                    <a:gd name="T42" fmla="*/ 2147483647 w 108"/>
                    <a:gd name="T43" fmla="*/ 2147483647 h 121"/>
                    <a:gd name="T44" fmla="*/ 2147483647 w 108"/>
                    <a:gd name="T45" fmla="*/ 2147483647 h 121"/>
                    <a:gd name="T46" fmla="*/ 2147483647 w 108"/>
                    <a:gd name="T47" fmla="*/ 2147483647 h 121"/>
                    <a:gd name="T48" fmla="*/ 2147483647 w 108"/>
                    <a:gd name="T49" fmla="*/ 2147483647 h 121"/>
                    <a:gd name="T50" fmla="*/ 2147483647 w 108"/>
                    <a:gd name="T51" fmla="*/ 2147483647 h 121"/>
                    <a:gd name="T52" fmla="*/ 2147483647 w 108"/>
                    <a:gd name="T53" fmla="*/ 2147483647 h 121"/>
                    <a:gd name="T54" fmla="*/ 2147483647 w 108"/>
                    <a:gd name="T55" fmla="*/ 2147483647 h 121"/>
                    <a:gd name="T56" fmla="*/ 2147483647 w 108"/>
                    <a:gd name="T57" fmla="*/ 2147483647 h 121"/>
                    <a:gd name="T58" fmla="*/ 2147483647 w 108"/>
                    <a:gd name="T59" fmla="*/ 0 h 121"/>
                    <a:gd name="T60" fmla="*/ 2147483647 w 108"/>
                    <a:gd name="T61" fmla="*/ 2147483647 h 121"/>
                    <a:gd name="T62" fmla="*/ 2147483647 w 108"/>
                    <a:gd name="T63" fmla="*/ 2147483647 h 121"/>
                    <a:gd name="T64" fmla="*/ 2147483647 w 108"/>
                    <a:gd name="T65" fmla="*/ 2147483647 h 121"/>
                    <a:gd name="T66" fmla="*/ 2147483647 w 108"/>
                    <a:gd name="T67" fmla="*/ 2147483647 h 121"/>
                    <a:gd name="T68" fmla="*/ 2147483647 w 108"/>
                    <a:gd name="T69" fmla="*/ 2147483647 h 121"/>
                    <a:gd name="T70" fmla="*/ 2147483647 w 108"/>
                    <a:gd name="T71" fmla="*/ 2147483647 h 121"/>
                    <a:gd name="T72" fmla="*/ 2147483647 w 108"/>
                    <a:gd name="T73" fmla="*/ 2147483647 h 121"/>
                    <a:gd name="T74" fmla="*/ 2147483647 w 108"/>
                    <a:gd name="T75" fmla="*/ 2147483647 h 121"/>
                    <a:gd name="T76" fmla="*/ 2147483647 w 108"/>
                    <a:gd name="T77" fmla="*/ 2147483647 h 121"/>
                    <a:gd name="T78" fmla="*/ 2147483647 w 108"/>
                    <a:gd name="T79" fmla="*/ 2147483647 h 121"/>
                    <a:gd name="T80" fmla="*/ 2147483647 w 108"/>
                    <a:gd name="T81" fmla="*/ 2147483647 h 121"/>
                    <a:gd name="T82" fmla="*/ 2147483647 w 108"/>
                    <a:gd name="T83" fmla="*/ 2147483647 h 121"/>
                    <a:gd name="T84" fmla="*/ 2147483647 w 108"/>
                    <a:gd name="T85" fmla="*/ 2147483647 h 121"/>
                    <a:gd name="T86" fmla="*/ 2147483647 w 108"/>
                    <a:gd name="T87" fmla="*/ 2147483647 h 121"/>
                    <a:gd name="T88" fmla="*/ 2147483647 w 108"/>
                    <a:gd name="T89" fmla="*/ 2147483647 h 121"/>
                    <a:gd name="T90" fmla="*/ 2147483647 w 108"/>
                    <a:gd name="T91" fmla="*/ 2147483647 h 121"/>
                    <a:gd name="T92" fmla="*/ 2147483647 w 108"/>
                    <a:gd name="T93" fmla="*/ 2147483647 h 121"/>
                    <a:gd name="T94" fmla="*/ 2147483647 w 108"/>
                    <a:gd name="T95" fmla="*/ 2147483647 h 121"/>
                    <a:gd name="T96" fmla="*/ 2147483647 w 108"/>
                    <a:gd name="T97" fmla="*/ 2147483647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8"/>
                    <a:gd name="T148" fmla="*/ 0 h 121"/>
                    <a:gd name="T149" fmla="*/ 108 w 108"/>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8" h="121">
                      <a:moveTo>
                        <a:pt x="18" y="97"/>
                      </a:moveTo>
                      <a:lnTo>
                        <a:pt x="18" y="97"/>
                      </a:lnTo>
                      <a:lnTo>
                        <a:pt x="19" y="99"/>
                      </a:lnTo>
                      <a:lnTo>
                        <a:pt x="19" y="102"/>
                      </a:lnTo>
                      <a:lnTo>
                        <a:pt x="18" y="106"/>
                      </a:lnTo>
                      <a:lnTo>
                        <a:pt x="15" y="110"/>
                      </a:lnTo>
                      <a:lnTo>
                        <a:pt x="14" y="113"/>
                      </a:lnTo>
                      <a:lnTo>
                        <a:pt x="14" y="117"/>
                      </a:lnTo>
                      <a:lnTo>
                        <a:pt x="16" y="119"/>
                      </a:lnTo>
                      <a:lnTo>
                        <a:pt x="18" y="119"/>
                      </a:lnTo>
                      <a:lnTo>
                        <a:pt x="20" y="119"/>
                      </a:lnTo>
                      <a:lnTo>
                        <a:pt x="27" y="118"/>
                      </a:lnTo>
                      <a:lnTo>
                        <a:pt x="30" y="117"/>
                      </a:lnTo>
                      <a:lnTo>
                        <a:pt x="33" y="118"/>
                      </a:lnTo>
                      <a:lnTo>
                        <a:pt x="36" y="121"/>
                      </a:lnTo>
                      <a:lnTo>
                        <a:pt x="37" y="121"/>
                      </a:lnTo>
                      <a:lnTo>
                        <a:pt x="41" y="121"/>
                      </a:lnTo>
                      <a:lnTo>
                        <a:pt x="42" y="118"/>
                      </a:lnTo>
                      <a:lnTo>
                        <a:pt x="44" y="117"/>
                      </a:lnTo>
                      <a:lnTo>
                        <a:pt x="50" y="116"/>
                      </a:lnTo>
                      <a:lnTo>
                        <a:pt x="52" y="113"/>
                      </a:lnTo>
                      <a:lnTo>
                        <a:pt x="55" y="111"/>
                      </a:lnTo>
                      <a:lnTo>
                        <a:pt x="56" y="108"/>
                      </a:lnTo>
                      <a:lnTo>
                        <a:pt x="58" y="102"/>
                      </a:lnTo>
                      <a:lnTo>
                        <a:pt x="60" y="97"/>
                      </a:lnTo>
                      <a:lnTo>
                        <a:pt x="63" y="92"/>
                      </a:lnTo>
                      <a:lnTo>
                        <a:pt x="71" y="86"/>
                      </a:lnTo>
                      <a:lnTo>
                        <a:pt x="80" y="80"/>
                      </a:lnTo>
                      <a:lnTo>
                        <a:pt x="89" y="74"/>
                      </a:lnTo>
                      <a:lnTo>
                        <a:pt x="95" y="68"/>
                      </a:lnTo>
                      <a:lnTo>
                        <a:pt x="103" y="61"/>
                      </a:lnTo>
                      <a:lnTo>
                        <a:pt x="105" y="58"/>
                      </a:lnTo>
                      <a:lnTo>
                        <a:pt x="107" y="53"/>
                      </a:lnTo>
                      <a:lnTo>
                        <a:pt x="108" y="49"/>
                      </a:lnTo>
                      <a:lnTo>
                        <a:pt x="107" y="45"/>
                      </a:lnTo>
                      <a:lnTo>
                        <a:pt x="104" y="40"/>
                      </a:lnTo>
                      <a:lnTo>
                        <a:pt x="102" y="34"/>
                      </a:lnTo>
                      <a:lnTo>
                        <a:pt x="99" y="29"/>
                      </a:lnTo>
                      <a:lnTo>
                        <a:pt x="96" y="23"/>
                      </a:lnTo>
                      <a:lnTo>
                        <a:pt x="83" y="20"/>
                      </a:lnTo>
                      <a:lnTo>
                        <a:pt x="74" y="19"/>
                      </a:lnTo>
                      <a:lnTo>
                        <a:pt x="67" y="19"/>
                      </a:lnTo>
                      <a:lnTo>
                        <a:pt x="65" y="16"/>
                      </a:lnTo>
                      <a:lnTo>
                        <a:pt x="62" y="14"/>
                      </a:lnTo>
                      <a:lnTo>
                        <a:pt x="58" y="8"/>
                      </a:lnTo>
                      <a:lnTo>
                        <a:pt x="56" y="6"/>
                      </a:lnTo>
                      <a:lnTo>
                        <a:pt x="52" y="3"/>
                      </a:lnTo>
                      <a:lnTo>
                        <a:pt x="47" y="1"/>
                      </a:lnTo>
                      <a:lnTo>
                        <a:pt x="41" y="0"/>
                      </a:lnTo>
                      <a:lnTo>
                        <a:pt x="38" y="3"/>
                      </a:lnTo>
                      <a:lnTo>
                        <a:pt x="34" y="6"/>
                      </a:lnTo>
                      <a:lnTo>
                        <a:pt x="28" y="9"/>
                      </a:lnTo>
                      <a:lnTo>
                        <a:pt x="22" y="14"/>
                      </a:lnTo>
                      <a:lnTo>
                        <a:pt x="18" y="16"/>
                      </a:lnTo>
                      <a:lnTo>
                        <a:pt x="16" y="19"/>
                      </a:lnTo>
                      <a:lnTo>
                        <a:pt x="13" y="26"/>
                      </a:lnTo>
                      <a:lnTo>
                        <a:pt x="11" y="33"/>
                      </a:lnTo>
                      <a:lnTo>
                        <a:pt x="8" y="40"/>
                      </a:lnTo>
                      <a:lnTo>
                        <a:pt x="4" y="46"/>
                      </a:lnTo>
                      <a:lnTo>
                        <a:pt x="1" y="51"/>
                      </a:lnTo>
                      <a:lnTo>
                        <a:pt x="0" y="55"/>
                      </a:lnTo>
                      <a:lnTo>
                        <a:pt x="1" y="60"/>
                      </a:lnTo>
                      <a:lnTo>
                        <a:pt x="4" y="65"/>
                      </a:lnTo>
                      <a:lnTo>
                        <a:pt x="6" y="68"/>
                      </a:lnTo>
                      <a:lnTo>
                        <a:pt x="11" y="72"/>
                      </a:lnTo>
                      <a:lnTo>
                        <a:pt x="16" y="74"/>
                      </a:lnTo>
                      <a:lnTo>
                        <a:pt x="22" y="76"/>
                      </a:lnTo>
                      <a:lnTo>
                        <a:pt x="23" y="77"/>
                      </a:lnTo>
                      <a:lnTo>
                        <a:pt x="19" y="80"/>
                      </a:lnTo>
                      <a:lnTo>
                        <a:pt x="18" y="83"/>
                      </a:lnTo>
                      <a:lnTo>
                        <a:pt x="19" y="85"/>
                      </a:lnTo>
                      <a:lnTo>
                        <a:pt x="22" y="87"/>
                      </a:lnTo>
                      <a:lnTo>
                        <a:pt x="23" y="89"/>
                      </a:lnTo>
                      <a:lnTo>
                        <a:pt x="23" y="91"/>
                      </a:lnTo>
                      <a:lnTo>
                        <a:pt x="22" y="92"/>
                      </a:lnTo>
                      <a:lnTo>
                        <a:pt x="19" y="93"/>
                      </a:lnTo>
                      <a:lnTo>
                        <a:pt x="18" y="96"/>
                      </a:lnTo>
                      <a:lnTo>
                        <a:pt x="18" y="9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6" name="Freeform 874"/>
                <p:cNvSpPr>
                  <a:spLocks/>
                </p:cNvSpPr>
                <p:nvPr/>
              </p:nvSpPr>
              <p:spPr bwMode="auto">
                <a:xfrm>
                  <a:off x="3073213" y="4316469"/>
                  <a:ext cx="11839" cy="4439"/>
                </a:xfrm>
                <a:custGeom>
                  <a:avLst/>
                  <a:gdLst>
                    <a:gd name="T0" fmla="*/ 2147483647 w 9"/>
                    <a:gd name="T1" fmla="*/ 2147483647 h 3"/>
                    <a:gd name="T2" fmla="*/ 2147483647 w 9"/>
                    <a:gd name="T3" fmla="*/ 2147483647 h 3"/>
                    <a:gd name="T4" fmla="*/ 0 w 9"/>
                    <a:gd name="T5" fmla="*/ 2147483647 h 3"/>
                    <a:gd name="T6" fmla="*/ 0 w 9"/>
                    <a:gd name="T7" fmla="*/ 2147483647 h 3"/>
                    <a:gd name="T8" fmla="*/ 2147483647 w 9"/>
                    <a:gd name="T9" fmla="*/ 0 h 3"/>
                    <a:gd name="T10" fmla="*/ 2147483647 w 9"/>
                    <a:gd name="T11" fmla="*/ 0 h 3"/>
                    <a:gd name="T12" fmla="*/ 2147483647 w 9"/>
                    <a:gd name="T13" fmla="*/ 0 h 3"/>
                    <a:gd name="T14" fmla="*/ 2147483647 w 9"/>
                    <a:gd name="T15" fmla="*/ 2147483647 h 3"/>
                    <a:gd name="T16" fmla="*/ 2147483647 w 9"/>
                    <a:gd name="T17" fmla="*/ 2147483647 h 3"/>
                    <a:gd name="T18" fmla="*/ 2147483647 w 9"/>
                    <a:gd name="T19" fmla="*/ 2147483647 h 3"/>
                    <a:gd name="T20" fmla="*/ 2147483647 w 9"/>
                    <a:gd name="T21" fmla="*/ 2147483647 h 3"/>
                    <a:gd name="T22" fmla="*/ 2147483647 w 9"/>
                    <a:gd name="T23" fmla="*/ 2147483647 h 3"/>
                    <a:gd name="T24" fmla="*/ 2147483647 w 9"/>
                    <a:gd name="T25" fmla="*/ 2147483647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
                    <a:gd name="T41" fmla="*/ 9 w 9"/>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
                      <a:moveTo>
                        <a:pt x="4" y="3"/>
                      </a:moveTo>
                      <a:lnTo>
                        <a:pt x="4" y="3"/>
                      </a:lnTo>
                      <a:lnTo>
                        <a:pt x="0" y="3"/>
                      </a:lnTo>
                      <a:lnTo>
                        <a:pt x="1" y="0"/>
                      </a:lnTo>
                      <a:lnTo>
                        <a:pt x="4" y="0"/>
                      </a:lnTo>
                      <a:lnTo>
                        <a:pt x="6" y="0"/>
                      </a:lnTo>
                      <a:lnTo>
                        <a:pt x="9" y="1"/>
                      </a:lnTo>
                      <a:lnTo>
                        <a:pt x="9" y="3"/>
                      </a:lnTo>
                      <a:lnTo>
                        <a:pt x="8" y="3"/>
                      </a:lnTo>
                      <a:lnTo>
                        <a:pt x="4"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7" name="Freeform 875"/>
                <p:cNvSpPr>
                  <a:spLocks/>
                </p:cNvSpPr>
                <p:nvPr/>
              </p:nvSpPr>
              <p:spPr bwMode="auto">
                <a:xfrm>
                  <a:off x="2990341" y="4272073"/>
                  <a:ext cx="7400"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0 w 6"/>
                    <a:gd name="T9" fmla="*/ 2147483647 h 8"/>
                    <a:gd name="T10" fmla="*/ 0 w 6"/>
                    <a:gd name="T11" fmla="*/ 2147483647 h 8"/>
                    <a:gd name="T12" fmla="*/ 0 w 6"/>
                    <a:gd name="T13" fmla="*/ 2147483647 h 8"/>
                    <a:gd name="T14" fmla="*/ 2147483647 w 6"/>
                    <a:gd name="T15" fmla="*/ 0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5" y="5"/>
                      </a:moveTo>
                      <a:lnTo>
                        <a:pt x="6" y="7"/>
                      </a:lnTo>
                      <a:lnTo>
                        <a:pt x="5" y="8"/>
                      </a:lnTo>
                      <a:lnTo>
                        <a:pt x="1" y="7"/>
                      </a:lnTo>
                      <a:lnTo>
                        <a:pt x="0" y="5"/>
                      </a:lnTo>
                      <a:lnTo>
                        <a:pt x="0" y="2"/>
                      </a:lnTo>
                      <a:lnTo>
                        <a:pt x="0" y="1"/>
                      </a:lnTo>
                      <a:lnTo>
                        <a:pt x="3" y="0"/>
                      </a:lnTo>
                      <a:lnTo>
                        <a:pt x="4" y="1"/>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8" name="Freeform 876"/>
                <p:cNvSpPr>
                  <a:spLocks/>
                </p:cNvSpPr>
                <p:nvPr/>
              </p:nvSpPr>
              <p:spPr bwMode="auto">
                <a:xfrm>
                  <a:off x="3003661" y="4272075"/>
                  <a:ext cx="5919" cy="7399"/>
                </a:xfrm>
                <a:custGeom>
                  <a:avLst/>
                  <a:gdLst>
                    <a:gd name="T0" fmla="*/ 2147483647 w 5"/>
                    <a:gd name="T1" fmla="*/ 2147483647 h 5"/>
                    <a:gd name="T2" fmla="*/ 0 w 5"/>
                    <a:gd name="T3" fmla="*/ 2147483647 h 5"/>
                    <a:gd name="T4" fmla="*/ 0 w 5"/>
                    <a:gd name="T5" fmla="*/ 2147483647 h 5"/>
                    <a:gd name="T6" fmla="*/ 2147483647 w 5"/>
                    <a:gd name="T7" fmla="*/ 0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5"/>
                    <a:gd name="T29" fmla="*/ 5 w 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5">
                      <a:moveTo>
                        <a:pt x="3" y="5"/>
                      </a:moveTo>
                      <a:lnTo>
                        <a:pt x="0" y="2"/>
                      </a:lnTo>
                      <a:lnTo>
                        <a:pt x="0" y="1"/>
                      </a:lnTo>
                      <a:lnTo>
                        <a:pt x="1" y="0"/>
                      </a:lnTo>
                      <a:lnTo>
                        <a:pt x="4" y="1"/>
                      </a:lnTo>
                      <a:lnTo>
                        <a:pt x="5" y="2"/>
                      </a:lnTo>
                      <a:lnTo>
                        <a:pt x="5" y="5"/>
                      </a:lnTo>
                      <a:lnTo>
                        <a:pt x="4" y="5"/>
                      </a:lnTo>
                      <a:lnTo>
                        <a:pt x="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19" name="Freeform 877"/>
                <p:cNvSpPr>
                  <a:spLocks/>
                </p:cNvSpPr>
                <p:nvPr/>
              </p:nvSpPr>
              <p:spPr bwMode="auto">
                <a:xfrm>
                  <a:off x="2988865" y="4270591"/>
                  <a:ext cx="7399"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0 w 6"/>
                    <a:gd name="T13" fmla="*/ 2147483647 h 8"/>
                    <a:gd name="T14" fmla="*/ 0 w 6"/>
                    <a:gd name="T15" fmla="*/ 2147483647 h 8"/>
                    <a:gd name="T16" fmla="*/ 0 w 6"/>
                    <a:gd name="T17" fmla="*/ 2147483647 h 8"/>
                    <a:gd name="T18" fmla="*/ 0 w 6"/>
                    <a:gd name="T19" fmla="*/ 2147483647 h 8"/>
                    <a:gd name="T20" fmla="*/ 2147483647 w 6"/>
                    <a:gd name="T21" fmla="*/ 0 h 8"/>
                    <a:gd name="T22" fmla="*/ 2147483647 w 6"/>
                    <a:gd name="T23" fmla="*/ 2147483647 h 8"/>
                    <a:gd name="T24" fmla="*/ 2147483647 w 6"/>
                    <a:gd name="T25" fmla="*/ 2147483647 h 8"/>
                    <a:gd name="T26" fmla="*/ 2147483647 w 6"/>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8"/>
                    <a:gd name="T44" fmla="*/ 6 w 6"/>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8">
                      <a:moveTo>
                        <a:pt x="5" y="5"/>
                      </a:moveTo>
                      <a:lnTo>
                        <a:pt x="5" y="5"/>
                      </a:lnTo>
                      <a:lnTo>
                        <a:pt x="6" y="7"/>
                      </a:lnTo>
                      <a:lnTo>
                        <a:pt x="5" y="8"/>
                      </a:lnTo>
                      <a:lnTo>
                        <a:pt x="1" y="7"/>
                      </a:lnTo>
                      <a:lnTo>
                        <a:pt x="0" y="5"/>
                      </a:lnTo>
                      <a:lnTo>
                        <a:pt x="0" y="2"/>
                      </a:lnTo>
                      <a:lnTo>
                        <a:pt x="0" y="1"/>
                      </a:lnTo>
                      <a:lnTo>
                        <a:pt x="2" y="0"/>
                      </a:lnTo>
                      <a:lnTo>
                        <a:pt x="4" y="1"/>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0" name="Freeform 878"/>
                <p:cNvSpPr>
                  <a:spLocks/>
                </p:cNvSpPr>
                <p:nvPr/>
              </p:nvSpPr>
              <p:spPr bwMode="auto">
                <a:xfrm>
                  <a:off x="3002180" y="4270591"/>
                  <a:ext cx="5919" cy="7400"/>
                </a:xfrm>
                <a:custGeom>
                  <a:avLst/>
                  <a:gdLst>
                    <a:gd name="T0" fmla="*/ 2147483647 w 5"/>
                    <a:gd name="T1" fmla="*/ 2147483647 h 5"/>
                    <a:gd name="T2" fmla="*/ 2147483647 w 5"/>
                    <a:gd name="T3" fmla="*/ 2147483647 h 5"/>
                    <a:gd name="T4" fmla="*/ 0 w 5"/>
                    <a:gd name="T5" fmla="*/ 2147483647 h 5"/>
                    <a:gd name="T6" fmla="*/ 0 w 5"/>
                    <a:gd name="T7" fmla="*/ 2147483647 h 5"/>
                    <a:gd name="T8" fmla="*/ 2147483647 w 5"/>
                    <a:gd name="T9" fmla="*/ 0 h 5"/>
                    <a:gd name="T10" fmla="*/ 2147483647 w 5"/>
                    <a:gd name="T11" fmla="*/ 0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2147483647 h 5"/>
                    <a:gd name="T24" fmla="*/ 2147483647 w 5"/>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5"/>
                    <a:gd name="T41" fmla="*/ 5 w 5"/>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5">
                      <a:moveTo>
                        <a:pt x="2" y="5"/>
                      </a:moveTo>
                      <a:lnTo>
                        <a:pt x="2" y="5"/>
                      </a:lnTo>
                      <a:lnTo>
                        <a:pt x="0" y="2"/>
                      </a:lnTo>
                      <a:lnTo>
                        <a:pt x="0" y="1"/>
                      </a:lnTo>
                      <a:lnTo>
                        <a:pt x="1" y="0"/>
                      </a:lnTo>
                      <a:lnTo>
                        <a:pt x="4" y="1"/>
                      </a:lnTo>
                      <a:lnTo>
                        <a:pt x="5" y="2"/>
                      </a:lnTo>
                      <a:lnTo>
                        <a:pt x="5" y="5"/>
                      </a:lnTo>
                      <a:lnTo>
                        <a:pt x="4" y="5"/>
                      </a:lnTo>
                      <a:lnTo>
                        <a:pt x="2"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1" name="Freeform 879"/>
                <p:cNvSpPr>
                  <a:spLocks/>
                </p:cNvSpPr>
                <p:nvPr/>
              </p:nvSpPr>
              <p:spPr bwMode="auto">
                <a:xfrm>
                  <a:off x="2892669" y="4275033"/>
                  <a:ext cx="309294" cy="328532"/>
                </a:xfrm>
                <a:custGeom>
                  <a:avLst/>
                  <a:gdLst>
                    <a:gd name="T0" fmla="*/ 2147483647 w 226"/>
                    <a:gd name="T1" fmla="*/ 2147483647 h 222"/>
                    <a:gd name="T2" fmla="*/ 0 w 226"/>
                    <a:gd name="T3" fmla="*/ 2147483647 h 222"/>
                    <a:gd name="T4" fmla="*/ 2147483647 w 226"/>
                    <a:gd name="T5" fmla="*/ 2147483647 h 222"/>
                    <a:gd name="T6" fmla="*/ 2147483647 w 226"/>
                    <a:gd name="T7" fmla="*/ 2147483647 h 222"/>
                    <a:gd name="T8" fmla="*/ 2147483647 w 226"/>
                    <a:gd name="T9" fmla="*/ 2147483647 h 222"/>
                    <a:gd name="T10" fmla="*/ 2147483647 w 226"/>
                    <a:gd name="T11" fmla="*/ 2147483647 h 222"/>
                    <a:gd name="T12" fmla="*/ 2147483647 w 226"/>
                    <a:gd name="T13" fmla="*/ 2147483647 h 222"/>
                    <a:gd name="T14" fmla="*/ 2147483647 w 226"/>
                    <a:gd name="T15" fmla="*/ 2147483647 h 222"/>
                    <a:gd name="T16" fmla="*/ 2147483647 w 226"/>
                    <a:gd name="T17" fmla="*/ 2147483647 h 222"/>
                    <a:gd name="T18" fmla="*/ 2147483647 w 226"/>
                    <a:gd name="T19" fmla="*/ 2147483647 h 222"/>
                    <a:gd name="T20" fmla="*/ 2147483647 w 226"/>
                    <a:gd name="T21" fmla="*/ 2147483647 h 222"/>
                    <a:gd name="T22" fmla="*/ 2147483647 w 226"/>
                    <a:gd name="T23" fmla="*/ 2147483647 h 222"/>
                    <a:gd name="T24" fmla="*/ 2147483647 w 226"/>
                    <a:gd name="T25" fmla="*/ 2147483647 h 222"/>
                    <a:gd name="T26" fmla="*/ 2147483647 w 226"/>
                    <a:gd name="T27" fmla="*/ 2147483647 h 222"/>
                    <a:gd name="T28" fmla="*/ 2147483647 w 226"/>
                    <a:gd name="T29" fmla="*/ 2147483647 h 222"/>
                    <a:gd name="T30" fmla="*/ 2147483647 w 226"/>
                    <a:gd name="T31" fmla="*/ 2147483647 h 222"/>
                    <a:gd name="T32" fmla="*/ 2147483647 w 226"/>
                    <a:gd name="T33" fmla="*/ 2147483647 h 222"/>
                    <a:gd name="T34" fmla="*/ 2147483647 w 226"/>
                    <a:gd name="T35" fmla="*/ 2147483647 h 222"/>
                    <a:gd name="T36" fmla="*/ 2147483647 w 226"/>
                    <a:gd name="T37" fmla="*/ 2147483647 h 222"/>
                    <a:gd name="T38" fmla="*/ 2147483647 w 226"/>
                    <a:gd name="T39" fmla="*/ 2147483647 h 222"/>
                    <a:gd name="T40" fmla="*/ 2147483647 w 226"/>
                    <a:gd name="T41" fmla="*/ 2147483647 h 222"/>
                    <a:gd name="T42" fmla="*/ 2147483647 w 226"/>
                    <a:gd name="T43" fmla="*/ 2147483647 h 222"/>
                    <a:gd name="T44" fmla="*/ 2147483647 w 226"/>
                    <a:gd name="T45" fmla="*/ 2147483647 h 222"/>
                    <a:gd name="T46" fmla="*/ 2147483647 w 226"/>
                    <a:gd name="T47" fmla="*/ 2147483647 h 222"/>
                    <a:gd name="T48" fmla="*/ 2147483647 w 226"/>
                    <a:gd name="T49" fmla="*/ 2147483647 h 222"/>
                    <a:gd name="T50" fmla="*/ 2147483647 w 226"/>
                    <a:gd name="T51" fmla="*/ 2147483647 h 222"/>
                    <a:gd name="T52" fmla="*/ 2147483647 w 226"/>
                    <a:gd name="T53" fmla="*/ 2147483647 h 222"/>
                    <a:gd name="T54" fmla="*/ 2147483647 w 226"/>
                    <a:gd name="T55" fmla="*/ 2147483647 h 222"/>
                    <a:gd name="T56" fmla="*/ 2147483647 w 226"/>
                    <a:gd name="T57" fmla="*/ 2147483647 h 222"/>
                    <a:gd name="T58" fmla="*/ 2147483647 w 226"/>
                    <a:gd name="T59" fmla="*/ 2147483647 h 222"/>
                    <a:gd name="T60" fmla="*/ 2147483647 w 226"/>
                    <a:gd name="T61" fmla="*/ 2147483647 h 222"/>
                    <a:gd name="T62" fmla="*/ 2147483647 w 226"/>
                    <a:gd name="T63" fmla="*/ 2147483647 h 222"/>
                    <a:gd name="T64" fmla="*/ 2147483647 w 226"/>
                    <a:gd name="T65" fmla="*/ 2147483647 h 222"/>
                    <a:gd name="T66" fmla="*/ 2147483647 w 226"/>
                    <a:gd name="T67" fmla="*/ 2147483647 h 222"/>
                    <a:gd name="T68" fmla="*/ 2147483647 w 226"/>
                    <a:gd name="T69" fmla="*/ 2147483647 h 222"/>
                    <a:gd name="T70" fmla="*/ 2147483647 w 226"/>
                    <a:gd name="T71" fmla="*/ 2147483647 h 222"/>
                    <a:gd name="T72" fmla="*/ 2147483647 w 226"/>
                    <a:gd name="T73" fmla="*/ 2147483647 h 222"/>
                    <a:gd name="T74" fmla="*/ 2147483647 w 226"/>
                    <a:gd name="T75" fmla="*/ 2147483647 h 222"/>
                    <a:gd name="T76" fmla="*/ 2147483647 w 226"/>
                    <a:gd name="T77" fmla="*/ 2147483647 h 222"/>
                    <a:gd name="T78" fmla="*/ 2147483647 w 226"/>
                    <a:gd name="T79" fmla="*/ 2147483647 h 222"/>
                    <a:gd name="T80" fmla="*/ 2147483647 w 226"/>
                    <a:gd name="T81" fmla="*/ 2147483647 h 222"/>
                    <a:gd name="T82" fmla="*/ 2147483647 w 226"/>
                    <a:gd name="T83" fmla="*/ 2147483647 h 222"/>
                    <a:gd name="T84" fmla="*/ 2147483647 w 226"/>
                    <a:gd name="T85" fmla="*/ 2147483647 h 222"/>
                    <a:gd name="T86" fmla="*/ 2147483647 w 226"/>
                    <a:gd name="T87" fmla="*/ 2147483647 h 222"/>
                    <a:gd name="T88" fmla="*/ 2147483647 w 226"/>
                    <a:gd name="T89" fmla="*/ 2147483647 h 222"/>
                    <a:gd name="T90" fmla="*/ 2147483647 w 226"/>
                    <a:gd name="T91" fmla="*/ 2147483647 h 222"/>
                    <a:gd name="T92" fmla="*/ 2147483647 w 226"/>
                    <a:gd name="T93" fmla="*/ 2147483647 h 222"/>
                    <a:gd name="T94" fmla="*/ 2147483647 w 226"/>
                    <a:gd name="T95" fmla="*/ 2147483647 h 222"/>
                    <a:gd name="T96" fmla="*/ 2147483647 w 226"/>
                    <a:gd name="T97" fmla="*/ 2147483647 h 222"/>
                    <a:gd name="T98" fmla="*/ 2147483647 w 226"/>
                    <a:gd name="T99" fmla="*/ 2147483647 h 222"/>
                    <a:gd name="T100" fmla="*/ 2147483647 w 226"/>
                    <a:gd name="T101" fmla="*/ 2147483647 h 222"/>
                    <a:gd name="T102" fmla="*/ 2147483647 w 226"/>
                    <a:gd name="T103" fmla="*/ 2147483647 h 222"/>
                    <a:gd name="T104" fmla="*/ 2147483647 w 226"/>
                    <a:gd name="T105" fmla="*/ 2147483647 h 222"/>
                    <a:gd name="T106" fmla="*/ 2147483647 w 226"/>
                    <a:gd name="T107" fmla="*/ 2147483647 h 222"/>
                    <a:gd name="T108" fmla="*/ 2147483647 w 226"/>
                    <a:gd name="T109" fmla="*/ 2147483647 h 222"/>
                    <a:gd name="T110" fmla="*/ 2147483647 w 226"/>
                    <a:gd name="T111" fmla="*/ 2147483647 h 222"/>
                    <a:gd name="T112" fmla="*/ 2147483647 w 226"/>
                    <a:gd name="T113" fmla="*/ 2147483647 h 222"/>
                    <a:gd name="T114" fmla="*/ 2147483647 w 226"/>
                    <a:gd name="T115" fmla="*/ 2147483647 h 222"/>
                    <a:gd name="T116" fmla="*/ 2147483647 w 226"/>
                    <a:gd name="T117" fmla="*/ 2147483647 h 2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6"/>
                    <a:gd name="T178" fmla="*/ 0 h 222"/>
                    <a:gd name="T179" fmla="*/ 226 w 226"/>
                    <a:gd name="T180" fmla="*/ 222 h 2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6" h="222">
                      <a:moveTo>
                        <a:pt x="21" y="15"/>
                      </a:moveTo>
                      <a:lnTo>
                        <a:pt x="14" y="16"/>
                      </a:lnTo>
                      <a:lnTo>
                        <a:pt x="9" y="19"/>
                      </a:lnTo>
                      <a:lnTo>
                        <a:pt x="5" y="24"/>
                      </a:lnTo>
                      <a:lnTo>
                        <a:pt x="4" y="30"/>
                      </a:lnTo>
                      <a:lnTo>
                        <a:pt x="1" y="43"/>
                      </a:lnTo>
                      <a:lnTo>
                        <a:pt x="0" y="56"/>
                      </a:lnTo>
                      <a:lnTo>
                        <a:pt x="0" y="58"/>
                      </a:lnTo>
                      <a:lnTo>
                        <a:pt x="0" y="61"/>
                      </a:lnTo>
                      <a:lnTo>
                        <a:pt x="5" y="64"/>
                      </a:lnTo>
                      <a:lnTo>
                        <a:pt x="10" y="67"/>
                      </a:lnTo>
                      <a:lnTo>
                        <a:pt x="15" y="70"/>
                      </a:lnTo>
                      <a:lnTo>
                        <a:pt x="16" y="72"/>
                      </a:lnTo>
                      <a:lnTo>
                        <a:pt x="16" y="73"/>
                      </a:lnTo>
                      <a:lnTo>
                        <a:pt x="15" y="76"/>
                      </a:lnTo>
                      <a:lnTo>
                        <a:pt x="15" y="82"/>
                      </a:lnTo>
                      <a:lnTo>
                        <a:pt x="18" y="88"/>
                      </a:lnTo>
                      <a:lnTo>
                        <a:pt x="23" y="93"/>
                      </a:lnTo>
                      <a:lnTo>
                        <a:pt x="28" y="96"/>
                      </a:lnTo>
                      <a:lnTo>
                        <a:pt x="34" y="100"/>
                      </a:lnTo>
                      <a:lnTo>
                        <a:pt x="40" y="102"/>
                      </a:lnTo>
                      <a:lnTo>
                        <a:pt x="48" y="104"/>
                      </a:lnTo>
                      <a:lnTo>
                        <a:pt x="54" y="105"/>
                      </a:lnTo>
                      <a:lnTo>
                        <a:pt x="56" y="105"/>
                      </a:lnTo>
                      <a:lnTo>
                        <a:pt x="57" y="106"/>
                      </a:lnTo>
                      <a:lnTo>
                        <a:pt x="60" y="111"/>
                      </a:lnTo>
                      <a:lnTo>
                        <a:pt x="63" y="114"/>
                      </a:lnTo>
                      <a:lnTo>
                        <a:pt x="68" y="117"/>
                      </a:lnTo>
                      <a:lnTo>
                        <a:pt x="74" y="118"/>
                      </a:lnTo>
                      <a:lnTo>
                        <a:pt x="79" y="118"/>
                      </a:lnTo>
                      <a:lnTo>
                        <a:pt x="84" y="117"/>
                      </a:lnTo>
                      <a:lnTo>
                        <a:pt x="89" y="114"/>
                      </a:lnTo>
                      <a:lnTo>
                        <a:pt x="94" y="112"/>
                      </a:lnTo>
                      <a:lnTo>
                        <a:pt x="93" y="118"/>
                      </a:lnTo>
                      <a:lnTo>
                        <a:pt x="94" y="125"/>
                      </a:lnTo>
                      <a:lnTo>
                        <a:pt x="95" y="138"/>
                      </a:lnTo>
                      <a:lnTo>
                        <a:pt x="99" y="151"/>
                      </a:lnTo>
                      <a:lnTo>
                        <a:pt x="100" y="164"/>
                      </a:lnTo>
                      <a:lnTo>
                        <a:pt x="100" y="166"/>
                      </a:lnTo>
                      <a:lnTo>
                        <a:pt x="99" y="168"/>
                      </a:lnTo>
                      <a:lnTo>
                        <a:pt x="95" y="172"/>
                      </a:lnTo>
                      <a:lnTo>
                        <a:pt x="94" y="176"/>
                      </a:lnTo>
                      <a:lnTo>
                        <a:pt x="93" y="177"/>
                      </a:lnTo>
                      <a:lnTo>
                        <a:pt x="94" y="178"/>
                      </a:lnTo>
                      <a:lnTo>
                        <a:pt x="104" y="183"/>
                      </a:lnTo>
                      <a:lnTo>
                        <a:pt x="109" y="185"/>
                      </a:lnTo>
                      <a:lnTo>
                        <a:pt x="112" y="190"/>
                      </a:lnTo>
                      <a:lnTo>
                        <a:pt x="113" y="195"/>
                      </a:lnTo>
                      <a:lnTo>
                        <a:pt x="114" y="200"/>
                      </a:lnTo>
                      <a:lnTo>
                        <a:pt x="113" y="204"/>
                      </a:lnTo>
                      <a:lnTo>
                        <a:pt x="112" y="209"/>
                      </a:lnTo>
                      <a:lnTo>
                        <a:pt x="113" y="211"/>
                      </a:lnTo>
                      <a:lnTo>
                        <a:pt x="114" y="214"/>
                      </a:lnTo>
                      <a:lnTo>
                        <a:pt x="117" y="219"/>
                      </a:lnTo>
                      <a:lnTo>
                        <a:pt x="120" y="221"/>
                      </a:lnTo>
                      <a:lnTo>
                        <a:pt x="122" y="222"/>
                      </a:lnTo>
                      <a:lnTo>
                        <a:pt x="124" y="222"/>
                      </a:lnTo>
                      <a:lnTo>
                        <a:pt x="131" y="220"/>
                      </a:lnTo>
                      <a:lnTo>
                        <a:pt x="136" y="217"/>
                      </a:lnTo>
                      <a:lnTo>
                        <a:pt x="142" y="215"/>
                      </a:lnTo>
                      <a:lnTo>
                        <a:pt x="148" y="214"/>
                      </a:lnTo>
                      <a:lnTo>
                        <a:pt x="151" y="213"/>
                      </a:lnTo>
                      <a:lnTo>
                        <a:pt x="151" y="211"/>
                      </a:lnTo>
                      <a:lnTo>
                        <a:pt x="151" y="207"/>
                      </a:lnTo>
                      <a:lnTo>
                        <a:pt x="154" y="202"/>
                      </a:lnTo>
                      <a:lnTo>
                        <a:pt x="157" y="198"/>
                      </a:lnTo>
                      <a:lnTo>
                        <a:pt x="161" y="196"/>
                      </a:lnTo>
                      <a:lnTo>
                        <a:pt x="166" y="194"/>
                      </a:lnTo>
                      <a:lnTo>
                        <a:pt x="167" y="192"/>
                      </a:lnTo>
                      <a:lnTo>
                        <a:pt x="169" y="190"/>
                      </a:lnTo>
                      <a:lnTo>
                        <a:pt x="167" y="189"/>
                      </a:lnTo>
                      <a:lnTo>
                        <a:pt x="166" y="189"/>
                      </a:lnTo>
                      <a:lnTo>
                        <a:pt x="162" y="189"/>
                      </a:lnTo>
                      <a:lnTo>
                        <a:pt x="157" y="189"/>
                      </a:lnTo>
                      <a:lnTo>
                        <a:pt x="154" y="187"/>
                      </a:lnTo>
                      <a:lnTo>
                        <a:pt x="152" y="183"/>
                      </a:lnTo>
                      <a:lnTo>
                        <a:pt x="151" y="176"/>
                      </a:lnTo>
                      <a:lnTo>
                        <a:pt x="148" y="169"/>
                      </a:lnTo>
                      <a:lnTo>
                        <a:pt x="145" y="163"/>
                      </a:lnTo>
                      <a:lnTo>
                        <a:pt x="140" y="157"/>
                      </a:lnTo>
                      <a:lnTo>
                        <a:pt x="140" y="156"/>
                      </a:lnTo>
                      <a:lnTo>
                        <a:pt x="140" y="153"/>
                      </a:lnTo>
                      <a:lnTo>
                        <a:pt x="142" y="152"/>
                      </a:lnTo>
                      <a:lnTo>
                        <a:pt x="148" y="155"/>
                      </a:lnTo>
                      <a:lnTo>
                        <a:pt x="155" y="157"/>
                      </a:lnTo>
                      <a:lnTo>
                        <a:pt x="170" y="160"/>
                      </a:lnTo>
                      <a:lnTo>
                        <a:pt x="173" y="162"/>
                      </a:lnTo>
                      <a:lnTo>
                        <a:pt x="174" y="164"/>
                      </a:lnTo>
                      <a:lnTo>
                        <a:pt x="175" y="163"/>
                      </a:lnTo>
                      <a:lnTo>
                        <a:pt x="179" y="160"/>
                      </a:lnTo>
                      <a:lnTo>
                        <a:pt x="183" y="158"/>
                      </a:lnTo>
                      <a:lnTo>
                        <a:pt x="190" y="156"/>
                      </a:lnTo>
                      <a:lnTo>
                        <a:pt x="195" y="153"/>
                      </a:lnTo>
                      <a:lnTo>
                        <a:pt x="200" y="150"/>
                      </a:lnTo>
                      <a:lnTo>
                        <a:pt x="207" y="147"/>
                      </a:lnTo>
                      <a:lnTo>
                        <a:pt x="213" y="145"/>
                      </a:lnTo>
                      <a:lnTo>
                        <a:pt x="214" y="144"/>
                      </a:lnTo>
                      <a:lnTo>
                        <a:pt x="216" y="140"/>
                      </a:lnTo>
                      <a:lnTo>
                        <a:pt x="216" y="137"/>
                      </a:lnTo>
                      <a:lnTo>
                        <a:pt x="216" y="134"/>
                      </a:lnTo>
                      <a:lnTo>
                        <a:pt x="212" y="133"/>
                      </a:lnTo>
                      <a:lnTo>
                        <a:pt x="209" y="132"/>
                      </a:lnTo>
                      <a:lnTo>
                        <a:pt x="208" y="131"/>
                      </a:lnTo>
                      <a:lnTo>
                        <a:pt x="203" y="123"/>
                      </a:lnTo>
                      <a:lnTo>
                        <a:pt x="197" y="114"/>
                      </a:lnTo>
                      <a:lnTo>
                        <a:pt x="197" y="112"/>
                      </a:lnTo>
                      <a:lnTo>
                        <a:pt x="198" y="111"/>
                      </a:lnTo>
                      <a:lnTo>
                        <a:pt x="204" y="108"/>
                      </a:lnTo>
                      <a:lnTo>
                        <a:pt x="211" y="106"/>
                      </a:lnTo>
                      <a:lnTo>
                        <a:pt x="217" y="104"/>
                      </a:lnTo>
                      <a:lnTo>
                        <a:pt x="220" y="101"/>
                      </a:lnTo>
                      <a:lnTo>
                        <a:pt x="222" y="99"/>
                      </a:lnTo>
                      <a:lnTo>
                        <a:pt x="222" y="98"/>
                      </a:lnTo>
                      <a:lnTo>
                        <a:pt x="221" y="96"/>
                      </a:lnTo>
                      <a:lnTo>
                        <a:pt x="218" y="93"/>
                      </a:lnTo>
                      <a:lnTo>
                        <a:pt x="216" y="89"/>
                      </a:lnTo>
                      <a:lnTo>
                        <a:pt x="216" y="88"/>
                      </a:lnTo>
                      <a:lnTo>
                        <a:pt x="216" y="87"/>
                      </a:lnTo>
                      <a:lnTo>
                        <a:pt x="217" y="83"/>
                      </a:lnTo>
                      <a:lnTo>
                        <a:pt x="221" y="81"/>
                      </a:lnTo>
                      <a:lnTo>
                        <a:pt x="226" y="75"/>
                      </a:lnTo>
                      <a:lnTo>
                        <a:pt x="222" y="73"/>
                      </a:lnTo>
                      <a:lnTo>
                        <a:pt x="220" y="72"/>
                      </a:lnTo>
                      <a:lnTo>
                        <a:pt x="213" y="72"/>
                      </a:lnTo>
                      <a:lnTo>
                        <a:pt x="209" y="72"/>
                      </a:lnTo>
                      <a:lnTo>
                        <a:pt x="208" y="70"/>
                      </a:lnTo>
                      <a:lnTo>
                        <a:pt x="207" y="69"/>
                      </a:lnTo>
                      <a:lnTo>
                        <a:pt x="207" y="64"/>
                      </a:lnTo>
                      <a:lnTo>
                        <a:pt x="207" y="61"/>
                      </a:lnTo>
                      <a:lnTo>
                        <a:pt x="206" y="57"/>
                      </a:lnTo>
                      <a:lnTo>
                        <a:pt x="203" y="54"/>
                      </a:lnTo>
                      <a:lnTo>
                        <a:pt x="200" y="51"/>
                      </a:lnTo>
                      <a:lnTo>
                        <a:pt x="197" y="50"/>
                      </a:lnTo>
                      <a:lnTo>
                        <a:pt x="192" y="49"/>
                      </a:lnTo>
                      <a:lnTo>
                        <a:pt x="185" y="50"/>
                      </a:lnTo>
                      <a:lnTo>
                        <a:pt x="179" y="53"/>
                      </a:lnTo>
                      <a:lnTo>
                        <a:pt x="176" y="53"/>
                      </a:lnTo>
                      <a:lnTo>
                        <a:pt x="174" y="51"/>
                      </a:lnTo>
                      <a:lnTo>
                        <a:pt x="174" y="49"/>
                      </a:lnTo>
                      <a:lnTo>
                        <a:pt x="174" y="47"/>
                      </a:lnTo>
                      <a:lnTo>
                        <a:pt x="175" y="47"/>
                      </a:lnTo>
                      <a:lnTo>
                        <a:pt x="175" y="43"/>
                      </a:lnTo>
                      <a:lnTo>
                        <a:pt x="176" y="42"/>
                      </a:lnTo>
                      <a:lnTo>
                        <a:pt x="180" y="40"/>
                      </a:lnTo>
                      <a:lnTo>
                        <a:pt x="185" y="38"/>
                      </a:lnTo>
                      <a:lnTo>
                        <a:pt x="190" y="36"/>
                      </a:lnTo>
                      <a:lnTo>
                        <a:pt x="193" y="34"/>
                      </a:lnTo>
                      <a:lnTo>
                        <a:pt x="193" y="32"/>
                      </a:lnTo>
                      <a:lnTo>
                        <a:pt x="192" y="31"/>
                      </a:lnTo>
                      <a:lnTo>
                        <a:pt x="189" y="30"/>
                      </a:lnTo>
                      <a:lnTo>
                        <a:pt x="185" y="30"/>
                      </a:lnTo>
                      <a:lnTo>
                        <a:pt x="178" y="34"/>
                      </a:lnTo>
                      <a:lnTo>
                        <a:pt x="175" y="34"/>
                      </a:lnTo>
                      <a:lnTo>
                        <a:pt x="173" y="34"/>
                      </a:lnTo>
                      <a:lnTo>
                        <a:pt x="170" y="35"/>
                      </a:lnTo>
                      <a:lnTo>
                        <a:pt x="167" y="34"/>
                      </a:lnTo>
                      <a:lnTo>
                        <a:pt x="161" y="32"/>
                      </a:lnTo>
                      <a:lnTo>
                        <a:pt x="156" y="31"/>
                      </a:lnTo>
                      <a:lnTo>
                        <a:pt x="154" y="31"/>
                      </a:lnTo>
                      <a:lnTo>
                        <a:pt x="151" y="32"/>
                      </a:lnTo>
                      <a:lnTo>
                        <a:pt x="150" y="35"/>
                      </a:lnTo>
                      <a:lnTo>
                        <a:pt x="150" y="37"/>
                      </a:lnTo>
                      <a:lnTo>
                        <a:pt x="150" y="41"/>
                      </a:lnTo>
                      <a:lnTo>
                        <a:pt x="148" y="42"/>
                      </a:lnTo>
                      <a:lnTo>
                        <a:pt x="147" y="42"/>
                      </a:lnTo>
                      <a:lnTo>
                        <a:pt x="143" y="42"/>
                      </a:lnTo>
                      <a:lnTo>
                        <a:pt x="140" y="42"/>
                      </a:lnTo>
                      <a:lnTo>
                        <a:pt x="136" y="41"/>
                      </a:lnTo>
                      <a:lnTo>
                        <a:pt x="132" y="41"/>
                      </a:lnTo>
                      <a:lnTo>
                        <a:pt x="124" y="44"/>
                      </a:lnTo>
                      <a:lnTo>
                        <a:pt x="120" y="44"/>
                      </a:lnTo>
                      <a:lnTo>
                        <a:pt x="119" y="44"/>
                      </a:lnTo>
                      <a:lnTo>
                        <a:pt x="118" y="43"/>
                      </a:lnTo>
                      <a:lnTo>
                        <a:pt x="118" y="41"/>
                      </a:lnTo>
                      <a:lnTo>
                        <a:pt x="118" y="37"/>
                      </a:lnTo>
                      <a:lnTo>
                        <a:pt x="118" y="34"/>
                      </a:lnTo>
                      <a:lnTo>
                        <a:pt x="115" y="31"/>
                      </a:lnTo>
                      <a:lnTo>
                        <a:pt x="114" y="30"/>
                      </a:lnTo>
                      <a:lnTo>
                        <a:pt x="112" y="30"/>
                      </a:lnTo>
                      <a:lnTo>
                        <a:pt x="108" y="31"/>
                      </a:lnTo>
                      <a:lnTo>
                        <a:pt x="103" y="34"/>
                      </a:lnTo>
                      <a:lnTo>
                        <a:pt x="99" y="35"/>
                      </a:lnTo>
                      <a:lnTo>
                        <a:pt x="96" y="35"/>
                      </a:lnTo>
                      <a:lnTo>
                        <a:pt x="94" y="34"/>
                      </a:lnTo>
                      <a:lnTo>
                        <a:pt x="89" y="32"/>
                      </a:lnTo>
                      <a:lnTo>
                        <a:pt x="86" y="31"/>
                      </a:lnTo>
                      <a:lnTo>
                        <a:pt x="84" y="32"/>
                      </a:lnTo>
                      <a:lnTo>
                        <a:pt x="82" y="32"/>
                      </a:lnTo>
                      <a:lnTo>
                        <a:pt x="81" y="30"/>
                      </a:lnTo>
                      <a:lnTo>
                        <a:pt x="81" y="26"/>
                      </a:lnTo>
                      <a:lnTo>
                        <a:pt x="80" y="23"/>
                      </a:lnTo>
                      <a:lnTo>
                        <a:pt x="79" y="19"/>
                      </a:lnTo>
                      <a:lnTo>
                        <a:pt x="75" y="17"/>
                      </a:lnTo>
                      <a:lnTo>
                        <a:pt x="72" y="16"/>
                      </a:lnTo>
                      <a:lnTo>
                        <a:pt x="71" y="16"/>
                      </a:lnTo>
                      <a:lnTo>
                        <a:pt x="66" y="17"/>
                      </a:lnTo>
                      <a:lnTo>
                        <a:pt x="62" y="18"/>
                      </a:lnTo>
                      <a:lnTo>
                        <a:pt x="57" y="19"/>
                      </a:lnTo>
                      <a:lnTo>
                        <a:pt x="56" y="19"/>
                      </a:lnTo>
                      <a:lnTo>
                        <a:pt x="54" y="18"/>
                      </a:lnTo>
                      <a:lnTo>
                        <a:pt x="53" y="16"/>
                      </a:lnTo>
                      <a:lnTo>
                        <a:pt x="53" y="11"/>
                      </a:lnTo>
                      <a:lnTo>
                        <a:pt x="54" y="9"/>
                      </a:lnTo>
                      <a:lnTo>
                        <a:pt x="57" y="3"/>
                      </a:lnTo>
                      <a:lnTo>
                        <a:pt x="57" y="2"/>
                      </a:lnTo>
                      <a:lnTo>
                        <a:pt x="54" y="0"/>
                      </a:lnTo>
                      <a:lnTo>
                        <a:pt x="53" y="0"/>
                      </a:lnTo>
                      <a:lnTo>
                        <a:pt x="51" y="3"/>
                      </a:lnTo>
                      <a:lnTo>
                        <a:pt x="51" y="5"/>
                      </a:lnTo>
                      <a:lnTo>
                        <a:pt x="51" y="8"/>
                      </a:lnTo>
                      <a:lnTo>
                        <a:pt x="51" y="11"/>
                      </a:lnTo>
                      <a:lnTo>
                        <a:pt x="49" y="15"/>
                      </a:lnTo>
                      <a:lnTo>
                        <a:pt x="48" y="18"/>
                      </a:lnTo>
                      <a:lnTo>
                        <a:pt x="46" y="21"/>
                      </a:lnTo>
                      <a:lnTo>
                        <a:pt x="40" y="24"/>
                      </a:lnTo>
                      <a:lnTo>
                        <a:pt x="37" y="26"/>
                      </a:lnTo>
                      <a:lnTo>
                        <a:pt x="34" y="29"/>
                      </a:lnTo>
                      <a:lnTo>
                        <a:pt x="34" y="32"/>
                      </a:lnTo>
                      <a:lnTo>
                        <a:pt x="35" y="40"/>
                      </a:lnTo>
                      <a:lnTo>
                        <a:pt x="39" y="48"/>
                      </a:lnTo>
                      <a:lnTo>
                        <a:pt x="42" y="56"/>
                      </a:lnTo>
                      <a:lnTo>
                        <a:pt x="42" y="58"/>
                      </a:lnTo>
                      <a:lnTo>
                        <a:pt x="40" y="61"/>
                      </a:lnTo>
                      <a:lnTo>
                        <a:pt x="38" y="62"/>
                      </a:lnTo>
                      <a:lnTo>
                        <a:pt x="35" y="62"/>
                      </a:lnTo>
                      <a:lnTo>
                        <a:pt x="34" y="61"/>
                      </a:lnTo>
                      <a:lnTo>
                        <a:pt x="34" y="58"/>
                      </a:lnTo>
                      <a:lnTo>
                        <a:pt x="28" y="60"/>
                      </a:lnTo>
                      <a:lnTo>
                        <a:pt x="23" y="60"/>
                      </a:lnTo>
                      <a:lnTo>
                        <a:pt x="18" y="56"/>
                      </a:lnTo>
                      <a:lnTo>
                        <a:pt x="16" y="54"/>
                      </a:lnTo>
                      <a:lnTo>
                        <a:pt x="16" y="51"/>
                      </a:lnTo>
                      <a:lnTo>
                        <a:pt x="18" y="49"/>
                      </a:lnTo>
                      <a:lnTo>
                        <a:pt x="19" y="45"/>
                      </a:lnTo>
                      <a:lnTo>
                        <a:pt x="25" y="37"/>
                      </a:lnTo>
                      <a:lnTo>
                        <a:pt x="27" y="32"/>
                      </a:lnTo>
                      <a:lnTo>
                        <a:pt x="27" y="26"/>
                      </a:lnTo>
                      <a:lnTo>
                        <a:pt x="25" y="21"/>
                      </a:lnTo>
                      <a:lnTo>
                        <a:pt x="21"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2" name="Freeform 880"/>
                <p:cNvSpPr>
                  <a:spLocks/>
                </p:cNvSpPr>
                <p:nvPr/>
              </p:nvSpPr>
              <p:spPr bwMode="auto">
                <a:xfrm>
                  <a:off x="3162006" y="4386021"/>
                  <a:ext cx="112470" cy="207182"/>
                </a:xfrm>
                <a:custGeom>
                  <a:avLst/>
                  <a:gdLst>
                    <a:gd name="T0" fmla="*/ 2147483647 w 82"/>
                    <a:gd name="T1" fmla="*/ 2147483647 h 140"/>
                    <a:gd name="T2" fmla="*/ 2147483647 w 82"/>
                    <a:gd name="T3" fmla="*/ 2147483647 h 140"/>
                    <a:gd name="T4" fmla="*/ 2147483647 w 82"/>
                    <a:gd name="T5" fmla="*/ 2147483647 h 140"/>
                    <a:gd name="T6" fmla="*/ 2147483647 w 82"/>
                    <a:gd name="T7" fmla="*/ 2147483647 h 140"/>
                    <a:gd name="T8" fmla="*/ 2147483647 w 82"/>
                    <a:gd name="T9" fmla="*/ 2147483647 h 140"/>
                    <a:gd name="T10" fmla="*/ 2147483647 w 82"/>
                    <a:gd name="T11" fmla="*/ 2147483647 h 140"/>
                    <a:gd name="T12" fmla="*/ 2147483647 w 82"/>
                    <a:gd name="T13" fmla="*/ 2147483647 h 140"/>
                    <a:gd name="T14" fmla="*/ 2147483647 w 82"/>
                    <a:gd name="T15" fmla="*/ 2147483647 h 140"/>
                    <a:gd name="T16" fmla="*/ 2147483647 w 82"/>
                    <a:gd name="T17" fmla="*/ 2147483647 h 140"/>
                    <a:gd name="T18" fmla="*/ 2147483647 w 82"/>
                    <a:gd name="T19" fmla="*/ 2147483647 h 140"/>
                    <a:gd name="T20" fmla="*/ 2147483647 w 82"/>
                    <a:gd name="T21" fmla="*/ 2147483647 h 140"/>
                    <a:gd name="T22" fmla="*/ 2147483647 w 82"/>
                    <a:gd name="T23" fmla="*/ 2147483647 h 140"/>
                    <a:gd name="T24" fmla="*/ 2147483647 w 82"/>
                    <a:gd name="T25" fmla="*/ 2147483647 h 140"/>
                    <a:gd name="T26" fmla="*/ 2147483647 w 82"/>
                    <a:gd name="T27" fmla="*/ 2147483647 h 140"/>
                    <a:gd name="T28" fmla="*/ 2147483647 w 82"/>
                    <a:gd name="T29" fmla="*/ 2147483647 h 140"/>
                    <a:gd name="T30" fmla="*/ 2147483647 w 82"/>
                    <a:gd name="T31" fmla="*/ 2147483647 h 140"/>
                    <a:gd name="T32" fmla="*/ 2147483647 w 82"/>
                    <a:gd name="T33" fmla="*/ 2147483647 h 140"/>
                    <a:gd name="T34" fmla="*/ 2147483647 w 82"/>
                    <a:gd name="T35" fmla="*/ 2147483647 h 140"/>
                    <a:gd name="T36" fmla="*/ 0 w 82"/>
                    <a:gd name="T37" fmla="*/ 2147483647 h 140"/>
                    <a:gd name="T38" fmla="*/ 2147483647 w 82"/>
                    <a:gd name="T39" fmla="*/ 2147483647 h 140"/>
                    <a:gd name="T40" fmla="*/ 2147483647 w 82"/>
                    <a:gd name="T41" fmla="*/ 2147483647 h 140"/>
                    <a:gd name="T42" fmla="*/ 2147483647 w 82"/>
                    <a:gd name="T43" fmla="*/ 2147483647 h 140"/>
                    <a:gd name="T44" fmla="*/ 2147483647 w 82"/>
                    <a:gd name="T45" fmla="*/ 2147483647 h 140"/>
                    <a:gd name="T46" fmla="*/ 2147483647 w 82"/>
                    <a:gd name="T47" fmla="*/ 2147483647 h 140"/>
                    <a:gd name="T48" fmla="*/ 2147483647 w 82"/>
                    <a:gd name="T49" fmla="*/ 2147483647 h 140"/>
                    <a:gd name="T50" fmla="*/ 2147483647 w 82"/>
                    <a:gd name="T51" fmla="*/ 2147483647 h 140"/>
                    <a:gd name="T52" fmla="*/ 2147483647 w 82"/>
                    <a:gd name="T53" fmla="*/ 0 h 140"/>
                    <a:gd name="T54" fmla="*/ 2147483647 w 82"/>
                    <a:gd name="T55" fmla="*/ 2147483647 h 140"/>
                    <a:gd name="T56" fmla="*/ 2147483647 w 82"/>
                    <a:gd name="T57" fmla="*/ 2147483647 h 140"/>
                    <a:gd name="T58" fmla="*/ 2147483647 w 82"/>
                    <a:gd name="T59" fmla="*/ 2147483647 h 140"/>
                    <a:gd name="T60" fmla="*/ 2147483647 w 82"/>
                    <a:gd name="T61" fmla="*/ 2147483647 h 140"/>
                    <a:gd name="T62" fmla="*/ 2147483647 w 82"/>
                    <a:gd name="T63" fmla="*/ 2147483647 h 140"/>
                    <a:gd name="T64" fmla="*/ 2147483647 w 82"/>
                    <a:gd name="T65" fmla="*/ 2147483647 h 140"/>
                    <a:gd name="T66" fmla="*/ 2147483647 w 82"/>
                    <a:gd name="T67" fmla="*/ 2147483647 h 140"/>
                    <a:gd name="T68" fmla="*/ 2147483647 w 82"/>
                    <a:gd name="T69" fmla="*/ 2147483647 h 140"/>
                    <a:gd name="T70" fmla="*/ 2147483647 w 82"/>
                    <a:gd name="T71" fmla="*/ 2147483647 h 140"/>
                    <a:gd name="T72" fmla="*/ 2147483647 w 82"/>
                    <a:gd name="T73" fmla="*/ 2147483647 h 140"/>
                    <a:gd name="T74" fmla="*/ 2147483647 w 82"/>
                    <a:gd name="T75" fmla="*/ 2147483647 h 140"/>
                    <a:gd name="T76" fmla="*/ 2147483647 w 82"/>
                    <a:gd name="T77" fmla="*/ 2147483647 h 140"/>
                    <a:gd name="T78" fmla="*/ 2147483647 w 82"/>
                    <a:gd name="T79" fmla="*/ 2147483647 h 140"/>
                    <a:gd name="T80" fmla="*/ 2147483647 w 82"/>
                    <a:gd name="T81" fmla="*/ 2147483647 h 140"/>
                    <a:gd name="T82" fmla="*/ 2147483647 w 82"/>
                    <a:gd name="T83" fmla="*/ 2147483647 h 140"/>
                    <a:gd name="T84" fmla="*/ 2147483647 w 82"/>
                    <a:gd name="T85" fmla="*/ 2147483647 h 140"/>
                    <a:gd name="T86" fmla="*/ 2147483647 w 82"/>
                    <a:gd name="T87" fmla="*/ 2147483647 h 1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2"/>
                    <a:gd name="T133" fmla="*/ 0 h 140"/>
                    <a:gd name="T134" fmla="*/ 82 w 82"/>
                    <a:gd name="T135" fmla="*/ 140 h 1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2" h="140">
                      <a:moveTo>
                        <a:pt x="81" y="125"/>
                      </a:moveTo>
                      <a:lnTo>
                        <a:pt x="77" y="127"/>
                      </a:lnTo>
                      <a:lnTo>
                        <a:pt x="73" y="128"/>
                      </a:lnTo>
                      <a:lnTo>
                        <a:pt x="70" y="130"/>
                      </a:lnTo>
                      <a:lnTo>
                        <a:pt x="66" y="132"/>
                      </a:lnTo>
                      <a:lnTo>
                        <a:pt x="62" y="132"/>
                      </a:lnTo>
                      <a:lnTo>
                        <a:pt x="57" y="134"/>
                      </a:lnTo>
                      <a:lnTo>
                        <a:pt x="52" y="138"/>
                      </a:lnTo>
                      <a:lnTo>
                        <a:pt x="49" y="140"/>
                      </a:lnTo>
                      <a:lnTo>
                        <a:pt x="47" y="140"/>
                      </a:lnTo>
                      <a:lnTo>
                        <a:pt x="43" y="136"/>
                      </a:lnTo>
                      <a:lnTo>
                        <a:pt x="39" y="130"/>
                      </a:lnTo>
                      <a:lnTo>
                        <a:pt x="37" y="125"/>
                      </a:lnTo>
                      <a:lnTo>
                        <a:pt x="34" y="117"/>
                      </a:lnTo>
                      <a:lnTo>
                        <a:pt x="33" y="112"/>
                      </a:lnTo>
                      <a:lnTo>
                        <a:pt x="33" y="104"/>
                      </a:lnTo>
                      <a:lnTo>
                        <a:pt x="33" y="98"/>
                      </a:lnTo>
                      <a:lnTo>
                        <a:pt x="35" y="95"/>
                      </a:lnTo>
                      <a:lnTo>
                        <a:pt x="38" y="91"/>
                      </a:lnTo>
                      <a:lnTo>
                        <a:pt x="40" y="90"/>
                      </a:lnTo>
                      <a:lnTo>
                        <a:pt x="42" y="88"/>
                      </a:lnTo>
                      <a:lnTo>
                        <a:pt x="43" y="85"/>
                      </a:lnTo>
                      <a:lnTo>
                        <a:pt x="43" y="82"/>
                      </a:lnTo>
                      <a:lnTo>
                        <a:pt x="42" y="80"/>
                      </a:lnTo>
                      <a:lnTo>
                        <a:pt x="39" y="77"/>
                      </a:lnTo>
                      <a:lnTo>
                        <a:pt x="34" y="74"/>
                      </a:lnTo>
                      <a:lnTo>
                        <a:pt x="31" y="71"/>
                      </a:lnTo>
                      <a:lnTo>
                        <a:pt x="30" y="69"/>
                      </a:lnTo>
                      <a:lnTo>
                        <a:pt x="29" y="64"/>
                      </a:lnTo>
                      <a:lnTo>
                        <a:pt x="29" y="62"/>
                      </a:lnTo>
                      <a:lnTo>
                        <a:pt x="28" y="59"/>
                      </a:lnTo>
                      <a:lnTo>
                        <a:pt x="24" y="59"/>
                      </a:lnTo>
                      <a:lnTo>
                        <a:pt x="19" y="59"/>
                      </a:lnTo>
                      <a:lnTo>
                        <a:pt x="15" y="58"/>
                      </a:lnTo>
                      <a:lnTo>
                        <a:pt x="12" y="57"/>
                      </a:lnTo>
                      <a:lnTo>
                        <a:pt x="11" y="56"/>
                      </a:lnTo>
                      <a:lnTo>
                        <a:pt x="6" y="48"/>
                      </a:lnTo>
                      <a:lnTo>
                        <a:pt x="0" y="39"/>
                      </a:lnTo>
                      <a:lnTo>
                        <a:pt x="0" y="37"/>
                      </a:lnTo>
                      <a:lnTo>
                        <a:pt x="1" y="36"/>
                      </a:lnTo>
                      <a:lnTo>
                        <a:pt x="7" y="33"/>
                      </a:lnTo>
                      <a:lnTo>
                        <a:pt x="14" y="31"/>
                      </a:lnTo>
                      <a:lnTo>
                        <a:pt x="20" y="29"/>
                      </a:lnTo>
                      <a:lnTo>
                        <a:pt x="23" y="26"/>
                      </a:lnTo>
                      <a:lnTo>
                        <a:pt x="25" y="24"/>
                      </a:lnTo>
                      <a:lnTo>
                        <a:pt x="25" y="23"/>
                      </a:lnTo>
                      <a:lnTo>
                        <a:pt x="24" y="21"/>
                      </a:lnTo>
                      <a:lnTo>
                        <a:pt x="21" y="18"/>
                      </a:lnTo>
                      <a:lnTo>
                        <a:pt x="19" y="14"/>
                      </a:lnTo>
                      <a:lnTo>
                        <a:pt x="19" y="13"/>
                      </a:lnTo>
                      <a:lnTo>
                        <a:pt x="19" y="12"/>
                      </a:lnTo>
                      <a:lnTo>
                        <a:pt x="20" y="8"/>
                      </a:lnTo>
                      <a:lnTo>
                        <a:pt x="24" y="6"/>
                      </a:lnTo>
                      <a:lnTo>
                        <a:pt x="29" y="0"/>
                      </a:lnTo>
                      <a:lnTo>
                        <a:pt x="31" y="0"/>
                      </a:lnTo>
                      <a:lnTo>
                        <a:pt x="34" y="1"/>
                      </a:lnTo>
                      <a:lnTo>
                        <a:pt x="39" y="1"/>
                      </a:lnTo>
                      <a:lnTo>
                        <a:pt x="40" y="4"/>
                      </a:lnTo>
                      <a:lnTo>
                        <a:pt x="43" y="6"/>
                      </a:lnTo>
                      <a:lnTo>
                        <a:pt x="48" y="13"/>
                      </a:lnTo>
                      <a:lnTo>
                        <a:pt x="50" y="21"/>
                      </a:lnTo>
                      <a:lnTo>
                        <a:pt x="52" y="26"/>
                      </a:lnTo>
                      <a:lnTo>
                        <a:pt x="52" y="27"/>
                      </a:lnTo>
                      <a:lnTo>
                        <a:pt x="54" y="30"/>
                      </a:lnTo>
                      <a:lnTo>
                        <a:pt x="56" y="30"/>
                      </a:lnTo>
                      <a:lnTo>
                        <a:pt x="57" y="30"/>
                      </a:lnTo>
                      <a:lnTo>
                        <a:pt x="58" y="29"/>
                      </a:lnTo>
                      <a:lnTo>
                        <a:pt x="62" y="29"/>
                      </a:lnTo>
                      <a:lnTo>
                        <a:pt x="64" y="30"/>
                      </a:lnTo>
                      <a:lnTo>
                        <a:pt x="68" y="34"/>
                      </a:lnTo>
                      <a:lnTo>
                        <a:pt x="71" y="36"/>
                      </a:lnTo>
                      <a:lnTo>
                        <a:pt x="73" y="37"/>
                      </a:lnTo>
                      <a:lnTo>
                        <a:pt x="76" y="37"/>
                      </a:lnTo>
                      <a:lnTo>
                        <a:pt x="78" y="38"/>
                      </a:lnTo>
                      <a:lnTo>
                        <a:pt x="81" y="39"/>
                      </a:lnTo>
                      <a:lnTo>
                        <a:pt x="82" y="42"/>
                      </a:lnTo>
                      <a:lnTo>
                        <a:pt x="82" y="48"/>
                      </a:lnTo>
                      <a:lnTo>
                        <a:pt x="81" y="53"/>
                      </a:lnTo>
                      <a:lnTo>
                        <a:pt x="78" y="59"/>
                      </a:lnTo>
                      <a:lnTo>
                        <a:pt x="75" y="65"/>
                      </a:lnTo>
                      <a:lnTo>
                        <a:pt x="71" y="71"/>
                      </a:lnTo>
                      <a:lnTo>
                        <a:pt x="70" y="77"/>
                      </a:lnTo>
                      <a:lnTo>
                        <a:pt x="68" y="82"/>
                      </a:lnTo>
                      <a:lnTo>
                        <a:pt x="70" y="88"/>
                      </a:lnTo>
                      <a:lnTo>
                        <a:pt x="72" y="95"/>
                      </a:lnTo>
                      <a:lnTo>
                        <a:pt x="73" y="102"/>
                      </a:lnTo>
                      <a:lnTo>
                        <a:pt x="77" y="116"/>
                      </a:lnTo>
                      <a:lnTo>
                        <a:pt x="81" y="12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3" name="Freeform 881"/>
                <p:cNvSpPr>
                  <a:spLocks/>
                </p:cNvSpPr>
                <p:nvPr/>
              </p:nvSpPr>
              <p:spPr bwMode="auto">
                <a:xfrm>
                  <a:off x="2891193" y="4273553"/>
                  <a:ext cx="309293" cy="328532"/>
                </a:xfrm>
                <a:custGeom>
                  <a:avLst/>
                  <a:gdLst>
                    <a:gd name="T0" fmla="*/ 2147483647 w 226"/>
                    <a:gd name="T1" fmla="*/ 2147483647 h 222"/>
                    <a:gd name="T2" fmla="*/ 0 w 226"/>
                    <a:gd name="T3" fmla="*/ 2147483647 h 222"/>
                    <a:gd name="T4" fmla="*/ 2147483647 w 226"/>
                    <a:gd name="T5" fmla="*/ 2147483647 h 222"/>
                    <a:gd name="T6" fmla="*/ 2147483647 w 226"/>
                    <a:gd name="T7" fmla="*/ 2147483647 h 222"/>
                    <a:gd name="T8" fmla="*/ 2147483647 w 226"/>
                    <a:gd name="T9" fmla="*/ 2147483647 h 222"/>
                    <a:gd name="T10" fmla="*/ 2147483647 w 226"/>
                    <a:gd name="T11" fmla="*/ 2147483647 h 222"/>
                    <a:gd name="T12" fmla="*/ 2147483647 w 226"/>
                    <a:gd name="T13" fmla="*/ 2147483647 h 222"/>
                    <a:gd name="T14" fmla="*/ 2147483647 w 226"/>
                    <a:gd name="T15" fmla="*/ 2147483647 h 222"/>
                    <a:gd name="T16" fmla="*/ 2147483647 w 226"/>
                    <a:gd name="T17" fmla="*/ 2147483647 h 222"/>
                    <a:gd name="T18" fmla="*/ 2147483647 w 226"/>
                    <a:gd name="T19" fmla="*/ 2147483647 h 222"/>
                    <a:gd name="T20" fmla="*/ 2147483647 w 226"/>
                    <a:gd name="T21" fmla="*/ 2147483647 h 222"/>
                    <a:gd name="T22" fmla="*/ 2147483647 w 226"/>
                    <a:gd name="T23" fmla="*/ 2147483647 h 222"/>
                    <a:gd name="T24" fmla="*/ 2147483647 w 226"/>
                    <a:gd name="T25" fmla="*/ 2147483647 h 222"/>
                    <a:gd name="T26" fmla="*/ 2147483647 w 226"/>
                    <a:gd name="T27" fmla="*/ 2147483647 h 222"/>
                    <a:gd name="T28" fmla="*/ 2147483647 w 226"/>
                    <a:gd name="T29" fmla="*/ 2147483647 h 222"/>
                    <a:gd name="T30" fmla="*/ 2147483647 w 226"/>
                    <a:gd name="T31" fmla="*/ 2147483647 h 222"/>
                    <a:gd name="T32" fmla="*/ 2147483647 w 226"/>
                    <a:gd name="T33" fmla="*/ 2147483647 h 222"/>
                    <a:gd name="T34" fmla="*/ 2147483647 w 226"/>
                    <a:gd name="T35" fmla="*/ 2147483647 h 222"/>
                    <a:gd name="T36" fmla="*/ 2147483647 w 226"/>
                    <a:gd name="T37" fmla="*/ 2147483647 h 222"/>
                    <a:gd name="T38" fmla="*/ 2147483647 w 226"/>
                    <a:gd name="T39" fmla="*/ 2147483647 h 222"/>
                    <a:gd name="T40" fmla="*/ 2147483647 w 226"/>
                    <a:gd name="T41" fmla="*/ 2147483647 h 222"/>
                    <a:gd name="T42" fmla="*/ 2147483647 w 226"/>
                    <a:gd name="T43" fmla="*/ 2147483647 h 222"/>
                    <a:gd name="T44" fmla="*/ 2147483647 w 226"/>
                    <a:gd name="T45" fmla="*/ 2147483647 h 222"/>
                    <a:gd name="T46" fmla="*/ 2147483647 w 226"/>
                    <a:gd name="T47" fmla="*/ 2147483647 h 222"/>
                    <a:gd name="T48" fmla="*/ 2147483647 w 226"/>
                    <a:gd name="T49" fmla="*/ 2147483647 h 222"/>
                    <a:gd name="T50" fmla="*/ 2147483647 w 226"/>
                    <a:gd name="T51" fmla="*/ 2147483647 h 222"/>
                    <a:gd name="T52" fmla="*/ 2147483647 w 226"/>
                    <a:gd name="T53" fmla="*/ 2147483647 h 222"/>
                    <a:gd name="T54" fmla="*/ 2147483647 w 226"/>
                    <a:gd name="T55" fmla="*/ 2147483647 h 222"/>
                    <a:gd name="T56" fmla="*/ 2147483647 w 226"/>
                    <a:gd name="T57" fmla="*/ 2147483647 h 222"/>
                    <a:gd name="T58" fmla="*/ 2147483647 w 226"/>
                    <a:gd name="T59" fmla="*/ 2147483647 h 222"/>
                    <a:gd name="T60" fmla="*/ 2147483647 w 226"/>
                    <a:gd name="T61" fmla="*/ 2147483647 h 222"/>
                    <a:gd name="T62" fmla="*/ 2147483647 w 226"/>
                    <a:gd name="T63" fmla="*/ 2147483647 h 222"/>
                    <a:gd name="T64" fmla="*/ 2147483647 w 226"/>
                    <a:gd name="T65" fmla="*/ 2147483647 h 222"/>
                    <a:gd name="T66" fmla="*/ 2147483647 w 226"/>
                    <a:gd name="T67" fmla="*/ 2147483647 h 222"/>
                    <a:gd name="T68" fmla="*/ 2147483647 w 226"/>
                    <a:gd name="T69" fmla="*/ 2147483647 h 222"/>
                    <a:gd name="T70" fmla="*/ 2147483647 w 226"/>
                    <a:gd name="T71" fmla="*/ 2147483647 h 222"/>
                    <a:gd name="T72" fmla="*/ 2147483647 w 226"/>
                    <a:gd name="T73" fmla="*/ 2147483647 h 222"/>
                    <a:gd name="T74" fmla="*/ 2147483647 w 226"/>
                    <a:gd name="T75" fmla="*/ 2147483647 h 222"/>
                    <a:gd name="T76" fmla="*/ 2147483647 w 226"/>
                    <a:gd name="T77" fmla="*/ 2147483647 h 222"/>
                    <a:gd name="T78" fmla="*/ 2147483647 w 226"/>
                    <a:gd name="T79" fmla="*/ 2147483647 h 222"/>
                    <a:gd name="T80" fmla="*/ 2147483647 w 226"/>
                    <a:gd name="T81" fmla="*/ 2147483647 h 222"/>
                    <a:gd name="T82" fmla="*/ 2147483647 w 226"/>
                    <a:gd name="T83" fmla="*/ 2147483647 h 222"/>
                    <a:gd name="T84" fmla="*/ 2147483647 w 226"/>
                    <a:gd name="T85" fmla="*/ 2147483647 h 222"/>
                    <a:gd name="T86" fmla="*/ 2147483647 w 226"/>
                    <a:gd name="T87" fmla="*/ 2147483647 h 222"/>
                    <a:gd name="T88" fmla="*/ 2147483647 w 226"/>
                    <a:gd name="T89" fmla="*/ 2147483647 h 222"/>
                    <a:gd name="T90" fmla="*/ 2147483647 w 226"/>
                    <a:gd name="T91" fmla="*/ 2147483647 h 222"/>
                    <a:gd name="T92" fmla="*/ 2147483647 w 226"/>
                    <a:gd name="T93" fmla="*/ 2147483647 h 222"/>
                    <a:gd name="T94" fmla="*/ 2147483647 w 226"/>
                    <a:gd name="T95" fmla="*/ 2147483647 h 222"/>
                    <a:gd name="T96" fmla="*/ 2147483647 w 226"/>
                    <a:gd name="T97" fmla="*/ 2147483647 h 222"/>
                    <a:gd name="T98" fmla="*/ 2147483647 w 226"/>
                    <a:gd name="T99" fmla="*/ 2147483647 h 222"/>
                    <a:gd name="T100" fmla="*/ 2147483647 w 226"/>
                    <a:gd name="T101" fmla="*/ 2147483647 h 222"/>
                    <a:gd name="T102" fmla="*/ 2147483647 w 226"/>
                    <a:gd name="T103" fmla="*/ 2147483647 h 222"/>
                    <a:gd name="T104" fmla="*/ 2147483647 w 226"/>
                    <a:gd name="T105" fmla="*/ 2147483647 h 222"/>
                    <a:gd name="T106" fmla="*/ 2147483647 w 226"/>
                    <a:gd name="T107" fmla="*/ 2147483647 h 222"/>
                    <a:gd name="T108" fmla="*/ 2147483647 w 226"/>
                    <a:gd name="T109" fmla="*/ 2147483647 h 222"/>
                    <a:gd name="T110" fmla="*/ 2147483647 w 226"/>
                    <a:gd name="T111" fmla="*/ 2147483647 h 222"/>
                    <a:gd name="T112" fmla="*/ 2147483647 w 226"/>
                    <a:gd name="T113" fmla="*/ 2147483647 h 222"/>
                    <a:gd name="T114" fmla="*/ 2147483647 w 226"/>
                    <a:gd name="T115" fmla="*/ 2147483647 h 222"/>
                    <a:gd name="T116" fmla="*/ 2147483647 w 226"/>
                    <a:gd name="T117" fmla="*/ 2147483647 h 222"/>
                    <a:gd name="T118" fmla="*/ 2147483647 w 226"/>
                    <a:gd name="T119" fmla="*/ 2147483647 h 2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6"/>
                    <a:gd name="T181" fmla="*/ 0 h 222"/>
                    <a:gd name="T182" fmla="*/ 226 w 226"/>
                    <a:gd name="T183" fmla="*/ 222 h 2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6" h="222">
                      <a:moveTo>
                        <a:pt x="21" y="14"/>
                      </a:moveTo>
                      <a:lnTo>
                        <a:pt x="21" y="14"/>
                      </a:lnTo>
                      <a:lnTo>
                        <a:pt x="14" y="16"/>
                      </a:lnTo>
                      <a:lnTo>
                        <a:pt x="8" y="19"/>
                      </a:lnTo>
                      <a:lnTo>
                        <a:pt x="5" y="24"/>
                      </a:lnTo>
                      <a:lnTo>
                        <a:pt x="3" y="30"/>
                      </a:lnTo>
                      <a:lnTo>
                        <a:pt x="1" y="43"/>
                      </a:lnTo>
                      <a:lnTo>
                        <a:pt x="0" y="56"/>
                      </a:lnTo>
                      <a:lnTo>
                        <a:pt x="0" y="58"/>
                      </a:lnTo>
                      <a:lnTo>
                        <a:pt x="0" y="61"/>
                      </a:lnTo>
                      <a:lnTo>
                        <a:pt x="5" y="64"/>
                      </a:lnTo>
                      <a:lnTo>
                        <a:pt x="10" y="67"/>
                      </a:lnTo>
                      <a:lnTo>
                        <a:pt x="15" y="70"/>
                      </a:lnTo>
                      <a:lnTo>
                        <a:pt x="16" y="71"/>
                      </a:lnTo>
                      <a:lnTo>
                        <a:pt x="16" y="73"/>
                      </a:lnTo>
                      <a:lnTo>
                        <a:pt x="15" y="76"/>
                      </a:lnTo>
                      <a:lnTo>
                        <a:pt x="15" y="82"/>
                      </a:lnTo>
                      <a:lnTo>
                        <a:pt x="17" y="88"/>
                      </a:lnTo>
                      <a:lnTo>
                        <a:pt x="22" y="93"/>
                      </a:lnTo>
                      <a:lnTo>
                        <a:pt x="28" y="96"/>
                      </a:lnTo>
                      <a:lnTo>
                        <a:pt x="34" y="100"/>
                      </a:lnTo>
                      <a:lnTo>
                        <a:pt x="40" y="102"/>
                      </a:lnTo>
                      <a:lnTo>
                        <a:pt x="48" y="103"/>
                      </a:lnTo>
                      <a:lnTo>
                        <a:pt x="54" y="105"/>
                      </a:lnTo>
                      <a:lnTo>
                        <a:pt x="55" y="105"/>
                      </a:lnTo>
                      <a:lnTo>
                        <a:pt x="57" y="106"/>
                      </a:lnTo>
                      <a:lnTo>
                        <a:pt x="59" y="110"/>
                      </a:lnTo>
                      <a:lnTo>
                        <a:pt x="63" y="114"/>
                      </a:lnTo>
                      <a:lnTo>
                        <a:pt x="68" y="116"/>
                      </a:lnTo>
                      <a:lnTo>
                        <a:pt x="73" y="118"/>
                      </a:lnTo>
                      <a:lnTo>
                        <a:pt x="78" y="118"/>
                      </a:lnTo>
                      <a:lnTo>
                        <a:pt x="83" y="116"/>
                      </a:lnTo>
                      <a:lnTo>
                        <a:pt x="88" y="114"/>
                      </a:lnTo>
                      <a:lnTo>
                        <a:pt x="94" y="112"/>
                      </a:lnTo>
                      <a:lnTo>
                        <a:pt x="92" y="118"/>
                      </a:lnTo>
                      <a:lnTo>
                        <a:pt x="94" y="125"/>
                      </a:lnTo>
                      <a:lnTo>
                        <a:pt x="95" y="138"/>
                      </a:lnTo>
                      <a:lnTo>
                        <a:pt x="99" y="151"/>
                      </a:lnTo>
                      <a:lnTo>
                        <a:pt x="100" y="164"/>
                      </a:lnTo>
                      <a:lnTo>
                        <a:pt x="100" y="166"/>
                      </a:lnTo>
                      <a:lnTo>
                        <a:pt x="99" y="167"/>
                      </a:lnTo>
                      <a:lnTo>
                        <a:pt x="95" y="172"/>
                      </a:lnTo>
                      <a:lnTo>
                        <a:pt x="94" y="176"/>
                      </a:lnTo>
                      <a:lnTo>
                        <a:pt x="92" y="177"/>
                      </a:lnTo>
                      <a:lnTo>
                        <a:pt x="94" y="178"/>
                      </a:lnTo>
                      <a:lnTo>
                        <a:pt x="104" y="183"/>
                      </a:lnTo>
                      <a:lnTo>
                        <a:pt x="109" y="185"/>
                      </a:lnTo>
                      <a:lnTo>
                        <a:pt x="111" y="190"/>
                      </a:lnTo>
                      <a:lnTo>
                        <a:pt x="113" y="195"/>
                      </a:lnTo>
                      <a:lnTo>
                        <a:pt x="114" y="199"/>
                      </a:lnTo>
                      <a:lnTo>
                        <a:pt x="113" y="204"/>
                      </a:lnTo>
                      <a:lnTo>
                        <a:pt x="111" y="209"/>
                      </a:lnTo>
                      <a:lnTo>
                        <a:pt x="113" y="211"/>
                      </a:lnTo>
                      <a:lnTo>
                        <a:pt x="114" y="214"/>
                      </a:lnTo>
                      <a:lnTo>
                        <a:pt x="116" y="218"/>
                      </a:lnTo>
                      <a:lnTo>
                        <a:pt x="120" y="221"/>
                      </a:lnTo>
                      <a:lnTo>
                        <a:pt x="121" y="222"/>
                      </a:lnTo>
                      <a:lnTo>
                        <a:pt x="124" y="222"/>
                      </a:lnTo>
                      <a:lnTo>
                        <a:pt x="130" y="220"/>
                      </a:lnTo>
                      <a:lnTo>
                        <a:pt x="135" y="217"/>
                      </a:lnTo>
                      <a:lnTo>
                        <a:pt x="142" y="215"/>
                      </a:lnTo>
                      <a:lnTo>
                        <a:pt x="148" y="214"/>
                      </a:lnTo>
                      <a:lnTo>
                        <a:pt x="151" y="212"/>
                      </a:lnTo>
                      <a:lnTo>
                        <a:pt x="151" y="211"/>
                      </a:lnTo>
                      <a:lnTo>
                        <a:pt x="151" y="206"/>
                      </a:lnTo>
                      <a:lnTo>
                        <a:pt x="153" y="202"/>
                      </a:lnTo>
                      <a:lnTo>
                        <a:pt x="157" y="198"/>
                      </a:lnTo>
                      <a:lnTo>
                        <a:pt x="161" y="196"/>
                      </a:lnTo>
                      <a:lnTo>
                        <a:pt x="166" y="193"/>
                      </a:lnTo>
                      <a:lnTo>
                        <a:pt x="167" y="192"/>
                      </a:lnTo>
                      <a:lnTo>
                        <a:pt x="168" y="190"/>
                      </a:lnTo>
                      <a:lnTo>
                        <a:pt x="167" y="189"/>
                      </a:lnTo>
                      <a:lnTo>
                        <a:pt x="166" y="189"/>
                      </a:lnTo>
                      <a:lnTo>
                        <a:pt x="162" y="189"/>
                      </a:lnTo>
                      <a:lnTo>
                        <a:pt x="157" y="189"/>
                      </a:lnTo>
                      <a:lnTo>
                        <a:pt x="153" y="186"/>
                      </a:lnTo>
                      <a:lnTo>
                        <a:pt x="152" y="183"/>
                      </a:lnTo>
                      <a:lnTo>
                        <a:pt x="151" y="176"/>
                      </a:lnTo>
                      <a:lnTo>
                        <a:pt x="148" y="169"/>
                      </a:lnTo>
                      <a:lnTo>
                        <a:pt x="144" y="163"/>
                      </a:lnTo>
                      <a:lnTo>
                        <a:pt x="139" y="157"/>
                      </a:lnTo>
                      <a:lnTo>
                        <a:pt x="139" y="156"/>
                      </a:lnTo>
                      <a:lnTo>
                        <a:pt x="139" y="153"/>
                      </a:lnTo>
                      <a:lnTo>
                        <a:pt x="142" y="152"/>
                      </a:lnTo>
                      <a:lnTo>
                        <a:pt x="148" y="154"/>
                      </a:lnTo>
                      <a:lnTo>
                        <a:pt x="155" y="157"/>
                      </a:lnTo>
                      <a:lnTo>
                        <a:pt x="170" y="160"/>
                      </a:lnTo>
                      <a:lnTo>
                        <a:pt x="172" y="161"/>
                      </a:lnTo>
                      <a:lnTo>
                        <a:pt x="174" y="164"/>
                      </a:lnTo>
                      <a:lnTo>
                        <a:pt x="175" y="163"/>
                      </a:lnTo>
                      <a:lnTo>
                        <a:pt x="179" y="160"/>
                      </a:lnTo>
                      <a:lnTo>
                        <a:pt x="182" y="158"/>
                      </a:lnTo>
                      <a:lnTo>
                        <a:pt x="190" y="156"/>
                      </a:lnTo>
                      <a:lnTo>
                        <a:pt x="195" y="153"/>
                      </a:lnTo>
                      <a:lnTo>
                        <a:pt x="200" y="150"/>
                      </a:lnTo>
                      <a:lnTo>
                        <a:pt x="207" y="147"/>
                      </a:lnTo>
                      <a:lnTo>
                        <a:pt x="213" y="145"/>
                      </a:lnTo>
                      <a:lnTo>
                        <a:pt x="214" y="144"/>
                      </a:lnTo>
                      <a:lnTo>
                        <a:pt x="215" y="140"/>
                      </a:lnTo>
                      <a:lnTo>
                        <a:pt x="215" y="137"/>
                      </a:lnTo>
                      <a:lnTo>
                        <a:pt x="215" y="134"/>
                      </a:lnTo>
                      <a:lnTo>
                        <a:pt x="212" y="133"/>
                      </a:lnTo>
                      <a:lnTo>
                        <a:pt x="209" y="132"/>
                      </a:lnTo>
                      <a:lnTo>
                        <a:pt x="208" y="131"/>
                      </a:lnTo>
                      <a:lnTo>
                        <a:pt x="203" y="122"/>
                      </a:lnTo>
                      <a:lnTo>
                        <a:pt x="196" y="114"/>
                      </a:lnTo>
                      <a:lnTo>
                        <a:pt x="196" y="112"/>
                      </a:lnTo>
                      <a:lnTo>
                        <a:pt x="198" y="110"/>
                      </a:lnTo>
                      <a:lnTo>
                        <a:pt x="204" y="108"/>
                      </a:lnTo>
                      <a:lnTo>
                        <a:pt x="210" y="106"/>
                      </a:lnTo>
                      <a:lnTo>
                        <a:pt x="217" y="103"/>
                      </a:lnTo>
                      <a:lnTo>
                        <a:pt x="219" y="101"/>
                      </a:lnTo>
                      <a:lnTo>
                        <a:pt x="222" y="99"/>
                      </a:lnTo>
                      <a:lnTo>
                        <a:pt x="222" y="97"/>
                      </a:lnTo>
                      <a:lnTo>
                        <a:pt x="221" y="96"/>
                      </a:lnTo>
                      <a:lnTo>
                        <a:pt x="218" y="93"/>
                      </a:lnTo>
                      <a:lnTo>
                        <a:pt x="215" y="89"/>
                      </a:lnTo>
                      <a:lnTo>
                        <a:pt x="215" y="88"/>
                      </a:lnTo>
                      <a:lnTo>
                        <a:pt x="215" y="87"/>
                      </a:lnTo>
                      <a:lnTo>
                        <a:pt x="217" y="83"/>
                      </a:lnTo>
                      <a:lnTo>
                        <a:pt x="221" y="81"/>
                      </a:lnTo>
                      <a:lnTo>
                        <a:pt x="226" y="75"/>
                      </a:lnTo>
                      <a:lnTo>
                        <a:pt x="222" y="73"/>
                      </a:lnTo>
                      <a:lnTo>
                        <a:pt x="219" y="71"/>
                      </a:lnTo>
                      <a:lnTo>
                        <a:pt x="213" y="71"/>
                      </a:lnTo>
                      <a:lnTo>
                        <a:pt x="209" y="71"/>
                      </a:lnTo>
                      <a:lnTo>
                        <a:pt x="208" y="70"/>
                      </a:lnTo>
                      <a:lnTo>
                        <a:pt x="207" y="69"/>
                      </a:lnTo>
                      <a:lnTo>
                        <a:pt x="207" y="64"/>
                      </a:lnTo>
                      <a:lnTo>
                        <a:pt x="207" y="61"/>
                      </a:lnTo>
                      <a:lnTo>
                        <a:pt x="205" y="57"/>
                      </a:lnTo>
                      <a:lnTo>
                        <a:pt x="203" y="54"/>
                      </a:lnTo>
                      <a:lnTo>
                        <a:pt x="200" y="51"/>
                      </a:lnTo>
                      <a:lnTo>
                        <a:pt x="196" y="50"/>
                      </a:lnTo>
                      <a:lnTo>
                        <a:pt x="191" y="49"/>
                      </a:lnTo>
                      <a:lnTo>
                        <a:pt x="185" y="50"/>
                      </a:lnTo>
                      <a:lnTo>
                        <a:pt x="179" y="52"/>
                      </a:lnTo>
                      <a:lnTo>
                        <a:pt x="176" y="52"/>
                      </a:lnTo>
                      <a:lnTo>
                        <a:pt x="174" y="51"/>
                      </a:lnTo>
                      <a:lnTo>
                        <a:pt x="174" y="49"/>
                      </a:lnTo>
                      <a:lnTo>
                        <a:pt x="174" y="46"/>
                      </a:lnTo>
                      <a:lnTo>
                        <a:pt x="175" y="46"/>
                      </a:lnTo>
                      <a:lnTo>
                        <a:pt x="175" y="43"/>
                      </a:lnTo>
                      <a:lnTo>
                        <a:pt x="176" y="42"/>
                      </a:lnTo>
                      <a:lnTo>
                        <a:pt x="180" y="39"/>
                      </a:lnTo>
                      <a:lnTo>
                        <a:pt x="185" y="38"/>
                      </a:lnTo>
                      <a:lnTo>
                        <a:pt x="190" y="36"/>
                      </a:lnTo>
                      <a:lnTo>
                        <a:pt x="193" y="33"/>
                      </a:lnTo>
                      <a:lnTo>
                        <a:pt x="193" y="32"/>
                      </a:lnTo>
                      <a:lnTo>
                        <a:pt x="191" y="31"/>
                      </a:lnTo>
                      <a:lnTo>
                        <a:pt x="189" y="30"/>
                      </a:lnTo>
                      <a:lnTo>
                        <a:pt x="185" y="30"/>
                      </a:lnTo>
                      <a:lnTo>
                        <a:pt x="177" y="33"/>
                      </a:lnTo>
                      <a:lnTo>
                        <a:pt x="175" y="33"/>
                      </a:lnTo>
                      <a:lnTo>
                        <a:pt x="172" y="33"/>
                      </a:lnTo>
                      <a:lnTo>
                        <a:pt x="170" y="35"/>
                      </a:lnTo>
                      <a:lnTo>
                        <a:pt x="167" y="33"/>
                      </a:lnTo>
                      <a:lnTo>
                        <a:pt x="161" y="32"/>
                      </a:lnTo>
                      <a:lnTo>
                        <a:pt x="156" y="31"/>
                      </a:lnTo>
                      <a:lnTo>
                        <a:pt x="153" y="31"/>
                      </a:lnTo>
                      <a:lnTo>
                        <a:pt x="151" y="32"/>
                      </a:lnTo>
                      <a:lnTo>
                        <a:pt x="149" y="35"/>
                      </a:lnTo>
                      <a:lnTo>
                        <a:pt x="149" y="37"/>
                      </a:lnTo>
                      <a:lnTo>
                        <a:pt x="149" y="41"/>
                      </a:lnTo>
                      <a:lnTo>
                        <a:pt x="148" y="42"/>
                      </a:lnTo>
                      <a:lnTo>
                        <a:pt x="147" y="42"/>
                      </a:lnTo>
                      <a:lnTo>
                        <a:pt x="143" y="42"/>
                      </a:lnTo>
                      <a:lnTo>
                        <a:pt x="139" y="42"/>
                      </a:lnTo>
                      <a:lnTo>
                        <a:pt x="135" y="41"/>
                      </a:lnTo>
                      <a:lnTo>
                        <a:pt x="132" y="41"/>
                      </a:lnTo>
                      <a:lnTo>
                        <a:pt x="124" y="44"/>
                      </a:lnTo>
                      <a:lnTo>
                        <a:pt x="120" y="44"/>
                      </a:lnTo>
                      <a:lnTo>
                        <a:pt x="119" y="44"/>
                      </a:lnTo>
                      <a:lnTo>
                        <a:pt x="118" y="43"/>
                      </a:lnTo>
                      <a:lnTo>
                        <a:pt x="118" y="41"/>
                      </a:lnTo>
                      <a:lnTo>
                        <a:pt x="118" y="37"/>
                      </a:lnTo>
                      <a:lnTo>
                        <a:pt x="118" y="33"/>
                      </a:lnTo>
                      <a:lnTo>
                        <a:pt x="115" y="31"/>
                      </a:lnTo>
                      <a:lnTo>
                        <a:pt x="114" y="30"/>
                      </a:lnTo>
                      <a:lnTo>
                        <a:pt x="111" y="30"/>
                      </a:lnTo>
                      <a:lnTo>
                        <a:pt x="108" y="31"/>
                      </a:lnTo>
                      <a:lnTo>
                        <a:pt x="102" y="33"/>
                      </a:lnTo>
                      <a:lnTo>
                        <a:pt x="99" y="35"/>
                      </a:lnTo>
                      <a:lnTo>
                        <a:pt x="96" y="35"/>
                      </a:lnTo>
                      <a:lnTo>
                        <a:pt x="94" y="33"/>
                      </a:lnTo>
                      <a:lnTo>
                        <a:pt x="88" y="32"/>
                      </a:lnTo>
                      <a:lnTo>
                        <a:pt x="86" y="31"/>
                      </a:lnTo>
                      <a:lnTo>
                        <a:pt x="83" y="32"/>
                      </a:lnTo>
                      <a:lnTo>
                        <a:pt x="82" y="32"/>
                      </a:lnTo>
                      <a:lnTo>
                        <a:pt x="81" y="30"/>
                      </a:lnTo>
                      <a:lnTo>
                        <a:pt x="81" y="26"/>
                      </a:lnTo>
                      <a:lnTo>
                        <a:pt x="80" y="23"/>
                      </a:lnTo>
                      <a:lnTo>
                        <a:pt x="78" y="19"/>
                      </a:lnTo>
                      <a:lnTo>
                        <a:pt x="75" y="17"/>
                      </a:lnTo>
                      <a:lnTo>
                        <a:pt x="72" y="16"/>
                      </a:lnTo>
                      <a:lnTo>
                        <a:pt x="71" y="16"/>
                      </a:lnTo>
                      <a:lnTo>
                        <a:pt x="66" y="17"/>
                      </a:lnTo>
                      <a:lnTo>
                        <a:pt x="62" y="18"/>
                      </a:lnTo>
                      <a:lnTo>
                        <a:pt x="57" y="19"/>
                      </a:lnTo>
                      <a:lnTo>
                        <a:pt x="55" y="19"/>
                      </a:lnTo>
                      <a:lnTo>
                        <a:pt x="54" y="18"/>
                      </a:lnTo>
                      <a:lnTo>
                        <a:pt x="53" y="16"/>
                      </a:lnTo>
                      <a:lnTo>
                        <a:pt x="53" y="11"/>
                      </a:lnTo>
                      <a:lnTo>
                        <a:pt x="54" y="9"/>
                      </a:lnTo>
                      <a:lnTo>
                        <a:pt x="57" y="3"/>
                      </a:lnTo>
                      <a:lnTo>
                        <a:pt x="57" y="1"/>
                      </a:lnTo>
                      <a:lnTo>
                        <a:pt x="54" y="0"/>
                      </a:lnTo>
                      <a:lnTo>
                        <a:pt x="53" y="0"/>
                      </a:lnTo>
                      <a:lnTo>
                        <a:pt x="50" y="3"/>
                      </a:lnTo>
                      <a:lnTo>
                        <a:pt x="50" y="5"/>
                      </a:lnTo>
                      <a:lnTo>
                        <a:pt x="50" y="7"/>
                      </a:lnTo>
                      <a:lnTo>
                        <a:pt x="50" y="11"/>
                      </a:lnTo>
                      <a:lnTo>
                        <a:pt x="49" y="14"/>
                      </a:lnTo>
                      <a:lnTo>
                        <a:pt x="48" y="18"/>
                      </a:lnTo>
                      <a:lnTo>
                        <a:pt x="45" y="20"/>
                      </a:lnTo>
                      <a:lnTo>
                        <a:pt x="40" y="24"/>
                      </a:lnTo>
                      <a:lnTo>
                        <a:pt x="36" y="26"/>
                      </a:lnTo>
                      <a:lnTo>
                        <a:pt x="34" y="29"/>
                      </a:lnTo>
                      <a:lnTo>
                        <a:pt x="34" y="32"/>
                      </a:lnTo>
                      <a:lnTo>
                        <a:pt x="35" y="39"/>
                      </a:lnTo>
                      <a:lnTo>
                        <a:pt x="39" y="48"/>
                      </a:lnTo>
                      <a:lnTo>
                        <a:pt x="41" y="56"/>
                      </a:lnTo>
                      <a:lnTo>
                        <a:pt x="41" y="58"/>
                      </a:lnTo>
                      <a:lnTo>
                        <a:pt x="40" y="61"/>
                      </a:lnTo>
                      <a:lnTo>
                        <a:pt x="38" y="62"/>
                      </a:lnTo>
                      <a:lnTo>
                        <a:pt x="35" y="62"/>
                      </a:lnTo>
                      <a:lnTo>
                        <a:pt x="34" y="61"/>
                      </a:lnTo>
                      <a:lnTo>
                        <a:pt x="34" y="58"/>
                      </a:lnTo>
                      <a:lnTo>
                        <a:pt x="28" y="59"/>
                      </a:lnTo>
                      <a:lnTo>
                        <a:pt x="22" y="59"/>
                      </a:lnTo>
                      <a:lnTo>
                        <a:pt x="17" y="56"/>
                      </a:lnTo>
                      <a:lnTo>
                        <a:pt x="16" y="54"/>
                      </a:lnTo>
                      <a:lnTo>
                        <a:pt x="16" y="51"/>
                      </a:lnTo>
                      <a:lnTo>
                        <a:pt x="17" y="49"/>
                      </a:lnTo>
                      <a:lnTo>
                        <a:pt x="19" y="45"/>
                      </a:lnTo>
                      <a:lnTo>
                        <a:pt x="25" y="37"/>
                      </a:lnTo>
                      <a:lnTo>
                        <a:pt x="26" y="32"/>
                      </a:lnTo>
                      <a:lnTo>
                        <a:pt x="26" y="26"/>
                      </a:lnTo>
                      <a:lnTo>
                        <a:pt x="25" y="20"/>
                      </a:lnTo>
                      <a:lnTo>
                        <a:pt x="21"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4" name="Freeform 882"/>
                <p:cNvSpPr>
                  <a:spLocks/>
                </p:cNvSpPr>
                <p:nvPr/>
              </p:nvSpPr>
              <p:spPr bwMode="auto">
                <a:xfrm>
                  <a:off x="3159050" y="4384541"/>
                  <a:ext cx="113950" cy="207182"/>
                </a:xfrm>
                <a:custGeom>
                  <a:avLst/>
                  <a:gdLst>
                    <a:gd name="T0" fmla="*/ 2147483647 w 83"/>
                    <a:gd name="T1" fmla="*/ 2147483647 h 140"/>
                    <a:gd name="T2" fmla="*/ 2147483647 w 83"/>
                    <a:gd name="T3" fmla="*/ 2147483647 h 140"/>
                    <a:gd name="T4" fmla="*/ 2147483647 w 83"/>
                    <a:gd name="T5" fmla="*/ 2147483647 h 140"/>
                    <a:gd name="T6" fmla="*/ 2147483647 w 83"/>
                    <a:gd name="T7" fmla="*/ 2147483647 h 140"/>
                    <a:gd name="T8" fmla="*/ 2147483647 w 83"/>
                    <a:gd name="T9" fmla="*/ 2147483647 h 140"/>
                    <a:gd name="T10" fmla="*/ 2147483647 w 83"/>
                    <a:gd name="T11" fmla="*/ 2147483647 h 140"/>
                    <a:gd name="T12" fmla="*/ 2147483647 w 83"/>
                    <a:gd name="T13" fmla="*/ 2147483647 h 140"/>
                    <a:gd name="T14" fmla="*/ 2147483647 w 83"/>
                    <a:gd name="T15" fmla="*/ 2147483647 h 140"/>
                    <a:gd name="T16" fmla="*/ 2147483647 w 83"/>
                    <a:gd name="T17" fmla="*/ 2147483647 h 140"/>
                    <a:gd name="T18" fmla="*/ 2147483647 w 83"/>
                    <a:gd name="T19" fmla="*/ 2147483647 h 140"/>
                    <a:gd name="T20" fmla="*/ 2147483647 w 83"/>
                    <a:gd name="T21" fmla="*/ 2147483647 h 140"/>
                    <a:gd name="T22" fmla="*/ 2147483647 w 83"/>
                    <a:gd name="T23" fmla="*/ 2147483647 h 140"/>
                    <a:gd name="T24" fmla="*/ 2147483647 w 83"/>
                    <a:gd name="T25" fmla="*/ 2147483647 h 140"/>
                    <a:gd name="T26" fmla="*/ 2147483647 w 83"/>
                    <a:gd name="T27" fmla="*/ 2147483647 h 140"/>
                    <a:gd name="T28" fmla="*/ 2147483647 w 83"/>
                    <a:gd name="T29" fmla="*/ 2147483647 h 140"/>
                    <a:gd name="T30" fmla="*/ 2147483647 w 83"/>
                    <a:gd name="T31" fmla="*/ 2147483647 h 140"/>
                    <a:gd name="T32" fmla="*/ 2147483647 w 83"/>
                    <a:gd name="T33" fmla="*/ 2147483647 h 140"/>
                    <a:gd name="T34" fmla="*/ 2147483647 w 83"/>
                    <a:gd name="T35" fmla="*/ 2147483647 h 140"/>
                    <a:gd name="T36" fmla="*/ 2147483647 w 83"/>
                    <a:gd name="T37" fmla="*/ 2147483647 h 140"/>
                    <a:gd name="T38" fmla="*/ 2147483647 w 83"/>
                    <a:gd name="T39" fmla="*/ 2147483647 h 140"/>
                    <a:gd name="T40" fmla="*/ 2147483647 w 83"/>
                    <a:gd name="T41" fmla="*/ 2147483647 h 140"/>
                    <a:gd name="T42" fmla="*/ 2147483647 w 83"/>
                    <a:gd name="T43" fmla="*/ 2147483647 h 140"/>
                    <a:gd name="T44" fmla="*/ 2147483647 w 83"/>
                    <a:gd name="T45" fmla="*/ 2147483647 h 140"/>
                    <a:gd name="T46" fmla="*/ 2147483647 w 83"/>
                    <a:gd name="T47" fmla="*/ 2147483647 h 140"/>
                    <a:gd name="T48" fmla="*/ 0 w 83"/>
                    <a:gd name="T49" fmla="*/ 2147483647 h 140"/>
                    <a:gd name="T50" fmla="*/ 0 w 83"/>
                    <a:gd name="T51" fmla="*/ 2147483647 h 140"/>
                    <a:gd name="T52" fmla="*/ 2147483647 w 83"/>
                    <a:gd name="T53" fmla="*/ 2147483647 h 140"/>
                    <a:gd name="T54" fmla="*/ 2147483647 w 83"/>
                    <a:gd name="T55" fmla="*/ 2147483647 h 140"/>
                    <a:gd name="T56" fmla="*/ 2147483647 w 83"/>
                    <a:gd name="T57" fmla="*/ 2147483647 h 140"/>
                    <a:gd name="T58" fmla="*/ 2147483647 w 83"/>
                    <a:gd name="T59" fmla="*/ 2147483647 h 140"/>
                    <a:gd name="T60" fmla="*/ 2147483647 w 83"/>
                    <a:gd name="T61" fmla="*/ 2147483647 h 140"/>
                    <a:gd name="T62" fmla="*/ 2147483647 w 83"/>
                    <a:gd name="T63" fmla="*/ 2147483647 h 140"/>
                    <a:gd name="T64" fmla="*/ 2147483647 w 83"/>
                    <a:gd name="T65" fmla="*/ 2147483647 h 140"/>
                    <a:gd name="T66" fmla="*/ 2147483647 w 83"/>
                    <a:gd name="T67" fmla="*/ 2147483647 h 140"/>
                    <a:gd name="T68" fmla="*/ 2147483647 w 83"/>
                    <a:gd name="T69" fmla="*/ 0 h 140"/>
                    <a:gd name="T70" fmla="*/ 2147483647 w 83"/>
                    <a:gd name="T71" fmla="*/ 0 h 140"/>
                    <a:gd name="T72" fmla="*/ 2147483647 w 83"/>
                    <a:gd name="T73" fmla="*/ 2147483647 h 140"/>
                    <a:gd name="T74" fmla="*/ 2147483647 w 83"/>
                    <a:gd name="T75" fmla="*/ 2147483647 h 140"/>
                    <a:gd name="T76" fmla="*/ 2147483647 w 83"/>
                    <a:gd name="T77" fmla="*/ 2147483647 h 140"/>
                    <a:gd name="T78" fmla="*/ 2147483647 w 83"/>
                    <a:gd name="T79" fmla="*/ 2147483647 h 140"/>
                    <a:gd name="T80" fmla="*/ 2147483647 w 83"/>
                    <a:gd name="T81" fmla="*/ 2147483647 h 140"/>
                    <a:gd name="T82" fmla="*/ 2147483647 w 83"/>
                    <a:gd name="T83" fmla="*/ 2147483647 h 140"/>
                    <a:gd name="T84" fmla="*/ 2147483647 w 83"/>
                    <a:gd name="T85" fmla="*/ 2147483647 h 140"/>
                    <a:gd name="T86" fmla="*/ 2147483647 w 83"/>
                    <a:gd name="T87" fmla="*/ 2147483647 h 140"/>
                    <a:gd name="T88" fmla="*/ 2147483647 w 83"/>
                    <a:gd name="T89" fmla="*/ 2147483647 h 140"/>
                    <a:gd name="T90" fmla="*/ 2147483647 w 83"/>
                    <a:gd name="T91" fmla="*/ 2147483647 h 140"/>
                    <a:gd name="T92" fmla="*/ 2147483647 w 83"/>
                    <a:gd name="T93" fmla="*/ 2147483647 h 140"/>
                    <a:gd name="T94" fmla="*/ 2147483647 w 83"/>
                    <a:gd name="T95" fmla="*/ 2147483647 h 140"/>
                    <a:gd name="T96" fmla="*/ 2147483647 w 83"/>
                    <a:gd name="T97" fmla="*/ 2147483647 h 140"/>
                    <a:gd name="T98" fmla="*/ 2147483647 w 83"/>
                    <a:gd name="T99" fmla="*/ 2147483647 h 140"/>
                    <a:gd name="T100" fmla="*/ 2147483647 w 83"/>
                    <a:gd name="T101" fmla="*/ 2147483647 h 140"/>
                    <a:gd name="T102" fmla="*/ 2147483647 w 83"/>
                    <a:gd name="T103" fmla="*/ 2147483647 h 140"/>
                    <a:gd name="T104" fmla="*/ 2147483647 w 83"/>
                    <a:gd name="T105" fmla="*/ 2147483647 h 140"/>
                    <a:gd name="T106" fmla="*/ 2147483647 w 83"/>
                    <a:gd name="T107" fmla="*/ 2147483647 h 140"/>
                    <a:gd name="T108" fmla="*/ 2147483647 w 83"/>
                    <a:gd name="T109" fmla="*/ 2147483647 h 140"/>
                    <a:gd name="T110" fmla="*/ 2147483647 w 83"/>
                    <a:gd name="T111" fmla="*/ 2147483647 h 140"/>
                    <a:gd name="T112" fmla="*/ 2147483647 w 83"/>
                    <a:gd name="T113" fmla="*/ 2147483647 h 140"/>
                    <a:gd name="T114" fmla="*/ 2147483647 w 83"/>
                    <a:gd name="T115" fmla="*/ 2147483647 h 1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140"/>
                    <a:gd name="T176" fmla="*/ 83 w 83"/>
                    <a:gd name="T177" fmla="*/ 140 h 1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140">
                      <a:moveTo>
                        <a:pt x="82" y="124"/>
                      </a:moveTo>
                      <a:lnTo>
                        <a:pt x="82" y="124"/>
                      </a:lnTo>
                      <a:lnTo>
                        <a:pt x="78" y="127"/>
                      </a:lnTo>
                      <a:lnTo>
                        <a:pt x="74" y="128"/>
                      </a:lnTo>
                      <a:lnTo>
                        <a:pt x="70" y="130"/>
                      </a:lnTo>
                      <a:lnTo>
                        <a:pt x="66" y="131"/>
                      </a:lnTo>
                      <a:lnTo>
                        <a:pt x="63" y="131"/>
                      </a:lnTo>
                      <a:lnTo>
                        <a:pt x="58" y="134"/>
                      </a:lnTo>
                      <a:lnTo>
                        <a:pt x="52" y="137"/>
                      </a:lnTo>
                      <a:lnTo>
                        <a:pt x="50" y="140"/>
                      </a:lnTo>
                      <a:lnTo>
                        <a:pt x="47" y="140"/>
                      </a:lnTo>
                      <a:lnTo>
                        <a:pt x="44" y="136"/>
                      </a:lnTo>
                      <a:lnTo>
                        <a:pt x="40" y="130"/>
                      </a:lnTo>
                      <a:lnTo>
                        <a:pt x="37" y="124"/>
                      </a:lnTo>
                      <a:lnTo>
                        <a:pt x="35" y="117"/>
                      </a:lnTo>
                      <a:lnTo>
                        <a:pt x="33" y="111"/>
                      </a:lnTo>
                      <a:lnTo>
                        <a:pt x="33" y="104"/>
                      </a:lnTo>
                      <a:lnTo>
                        <a:pt x="33" y="98"/>
                      </a:lnTo>
                      <a:lnTo>
                        <a:pt x="36" y="95"/>
                      </a:lnTo>
                      <a:lnTo>
                        <a:pt x="39" y="91"/>
                      </a:lnTo>
                      <a:lnTo>
                        <a:pt x="41" y="90"/>
                      </a:lnTo>
                      <a:lnTo>
                        <a:pt x="42" y="88"/>
                      </a:lnTo>
                      <a:lnTo>
                        <a:pt x="44" y="85"/>
                      </a:lnTo>
                      <a:lnTo>
                        <a:pt x="44" y="82"/>
                      </a:lnTo>
                      <a:lnTo>
                        <a:pt x="42" y="79"/>
                      </a:lnTo>
                      <a:lnTo>
                        <a:pt x="40" y="77"/>
                      </a:lnTo>
                      <a:lnTo>
                        <a:pt x="35" y="73"/>
                      </a:lnTo>
                      <a:lnTo>
                        <a:pt x="32" y="71"/>
                      </a:lnTo>
                      <a:lnTo>
                        <a:pt x="31" y="69"/>
                      </a:lnTo>
                      <a:lnTo>
                        <a:pt x="30" y="64"/>
                      </a:lnTo>
                      <a:lnTo>
                        <a:pt x="30" y="62"/>
                      </a:lnTo>
                      <a:lnTo>
                        <a:pt x="28" y="59"/>
                      </a:lnTo>
                      <a:lnTo>
                        <a:pt x="25" y="59"/>
                      </a:lnTo>
                      <a:lnTo>
                        <a:pt x="19" y="59"/>
                      </a:lnTo>
                      <a:lnTo>
                        <a:pt x="16" y="58"/>
                      </a:lnTo>
                      <a:lnTo>
                        <a:pt x="13" y="57"/>
                      </a:lnTo>
                      <a:lnTo>
                        <a:pt x="12" y="56"/>
                      </a:lnTo>
                      <a:lnTo>
                        <a:pt x="7" y="47"/>
                      </a:lnTo>
                      <a:lnTo>
                        <a:pt x="0" y="39"/>
                      </a:lnTo>
                      <a:lnTo>
                        <a:pt x="0" y="37"/>
                      </a:lnTo>
                      <a:lnTo>
                        <a:pt x="2" y="35"/>
                      </a:lnTo>
                      <a:lnTo>
                        <a:pt x="8" y="33"/>
                      </a:lnTo>
                      <a:lnTo>
                        <a:pt x="14" y="31"/>
                      </a:lnTo>
                      <a:lnTo>
                        <a:pt x="21" y="28"/>
                      </a:lnTo>
                      <a:lnTo>
                        <a:pt x="23" y="26"/>
                      </a:lnTo>
                      <a:lnTo>
                        <a:pt x="26" y="24"/>
                      </a:lnTo>
                      <a:lnTo>
                        <a:pt x="26" y="22"/>
                      </a:lnTo>
                      <a:lnTo>
                        <a:pt x="25" y="21"/>
                      </a:lnTo>
                      <a:lnTo>
                        <a:pt x="22" y="18"/>
                      </a:lnTo>
                      <a:lnTo>
                        <a:pt x="19" y="14"/>
                      </a:lnTo>
                      <a:lnTo>
                        <a:pt x="19" y="13"/>
                      </a:lnTo>
                      <a:lnTo>
                        <a:pt x="19" y="12"/>
                      </a:lnTo>
                      <a:lnTo>
                        <a:pt x="21" y="8"/>
                      </a:lnTo>
                      <a:lnTo>
                        <a:pt x="25" y="6"/>
                      </a:lnTo>
                      <a:lnTo>
                        <a:pt x="30" y="0"/>
                      </a:lnTo>
                      <a:lnTo>
                        <a:pt x="32" y="0"/>
                      </a:lnTo>
                      <a:lnTo>
                        <a:pt x="35" y="1"/>
                      </a:lnTo>
                      <a:lnTo>
                        <a:pt x="40" y="1"/>
                      </a:lnTo>
                      <a:lnTo>
                        <a:pt x="41" y="3"/>
                      </a:lnTo>
                      <a:lnTo>
                        <a:pt x="44" y="6"/>
                      </a:lnTo>
                      <a:lnTo>
                        <a:pt x="49" y="13"/>
                      </a:lnTo>
                      <a:lnTo>
                        <a:pt x="51" y="21"/>
                      </a:lnTo>
                      <a:lnTo>
                        <a:pt x="52" y="26"/>
                      </a:lnTo>
                      <a:lnTo>
                        <a:pt x="52" y="27"/>
                      </a:lnTo>
                      <a:lnTo>
                        <a:pt x="55" y="30"/>
                      </a:lnTo>
                      <a:lnTo>
                        <a:pt x="56" y="30"/>
                      </a:lnTo>
                      <a:lnTo>
                        <a:pt x="58" y="30"/>
                      </a:lnTo>
                      <a:lnTo>
                        <a:pt x="59" y="28"/>
                      </a:lnTo>
                      <a:lnTo>
                        <a:pt x="63" y="28"/>
                      </a:lnTo>
                      <a:lnTo>
                        <a:pt x="65" y="30"/>
                      </a:lnTo>
                      <a:lnTo>
                        <a:pt x="69" y="34"/>
                      </a:lnTo>
                      <a:lnTo>
                        <a:pt x="72" y="35"/>
                      </a:lnTo>
                      <a:lnTo>
                        <a:pt x="74" y="37"/>
                      </a:lnTo>
                      <a:lnTo>
                        <a:pt x="77" y="37"/>
                      </a:lnTo>
                      <a:lnTo>
                        <a:pt x="79" y="38"/>
                      </a:lnTo>
                      <a:lnTo>
                        <a:pt x="82" y="39"/>
                      </a:lnTo>
                      <a:lnTo>
                        <a:pt x="83" y="41"/>
                      </a:lnTo>
                      <a:lnTo>
                        <a:pt x="83" y="47"/>
                      </a:lnTo>
                      <a:lnTo>
                        <a:pt x="82" y="53"/>
                      </a:lnTo>
                      <a:lnTo>
                        <a:pt x="79" y="59"/>
                      </a:lnTo>
                      <a:lnTo>
                        <a:pt x="75" y="65"/>
                      </a:lnTo>
                      <a:lnTo>
                        <a:pt x="72" y="71"/>
                      </a:lnTo>
                      <a:lnTo>
                        <a:pt x="70" y="77"/>
                      </a:lnTo>
                      <a:lnTo>
                        <a:pt x="69" y="82"/>
                      </a:lnTo>
                      <a:lnTo>
                        <a:pt x="70" y="88"/>
                      </a:lnTo>
                      <a:lnTo>
                        <a:pt x="73" y="95"/>
                      </a:lnTo>
                      <a:lnTo>
                        <a:pt x="74" y="102"/>
                      </a:lnTo>
                      <a:lnTo>
                        <a:pt x="78" y="116"/>
                      </a:lnTo>
                      <a:lnTo>
                        <a:pt x="82" y="12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5" name="Freeform 883"/>
                <p:cNvSpPr>
                  <a:spLocks/>
                </p:cNvSpPr>
                <p:nvPr/>
              </p:nvSpPr>
              <p:spPr bwMode="auto">
                <a:xfrm>
                  <a:off x="3255239" y="4448175"/>
                  <a:ext cx="91752" cy="125790"/>
                </a:xfrm>
                <a:custGeom>
                  <a:avLst/>
                  <a:gdLst>
                    <a:gd name="T0" fmla="*/ 2147483647 w 68"/>
                    <a:gd name="T1" fmla="*/ 0 h 85"/>
                    <a:gd name="T2" fmla="*/ 2147483647 w 68"/>
                    <a:gd name="T3" fmla="*/ 2147483647 h 85"/>
                    <a:gd name="T4" fmla="*/ 2147483647 w 68"/>
                    <a:gd name="T5" fmla="*/ 2147483647 h 85"/>
                    <a:gd name="T6" fmla="*/ 2147483647 w 68"/>
                    <a:gd name="T7" fmla="*/ 2147483647 h 85"/>
                    <a:gd name="T8" fmla="*/ 2147483647 w 68"/>
                    <a:gd name="T9" fmla="*/ 2147483647 h 85"/>
                    <a:gd name="T10" fmla="*/ 2147483647 w 68"/>
                    <a:gd name="T11" fmla="*/ 2147483647 h 85"/>
                    <a:gd name="T12" fmla="*/ 2147483647 w 68"/>
                    <a:gd name="T13" fmla="*/ 2147483647 h 85"/>
                    <a:gd name="T14" fmla="*/ 0 w 68"/>
                    <a:gd name="T15" fmla="*/ 2147483647 h 85"/>
                    <a:gd name="T16" fmla="*/ 2147483647 w 68"/>
                    <a:gd name="T17" fmla="*/ 2147483647 h 85"/>
                    <a:gd name="T18" fmla="*/ 2147483647 w 68"/>
                    <a:gd name="T19" fmla="*/ 2147483647 h 85"/>
                    <a:gd name="T20" fmla="*/ 2147483647 w 68"/>
                    <a:gd name="T21" fmla="*/ 2147483647 h 85"/>
                    <a:gd name="T22" fmla="*/ 2147483647 w 68"/>
                    <a:gd name="T23" fmla="*/ 2147483647 h 85"/>
                    <a:gd name="T24" fmla="*/ 2147483647 w 68"/>
                    <a:gd name="T25" fmla="*/ 2147483647 h 85"/>
                    <a:gd name="T26" fmla="*/ 2147483647 w 68"/>
                    <a:gd name="T27" fmla="*/ 2147483647 h 85"/>
                    <a:gd name="T28" fmla="*/ 2147483647 w 68"/>
                    <a:gd name="T29" fmla="*/ 2147483647 h 85"/>
                    <a:gd name="T30" fmla="*/ 2147483647 w 68"/>
                    <a:gd name="T31" fmla="*/ 2147483647 h 85"/>
                    <a:gd name="T32" fmla="*/ 2147483647 w 68"/>
                    <a:gd name="T33" fmla="*/ 2147483647 h 85"/>
                    <a:gd name="T34" fmla="*/ 2147483647 w 68"/>
                    <a:gd name="T35" fmla="*/ 2147483647 h 85"/>
                    <a:gd name="T36" fmla="*/ 2147483647 w 68"/>
                    <a:gd name="T37" fmla="*/ 2147483647 h 85"/>
                    <a:gd name="T38" fmla="*/ 2147483647 w 68"/>
                    <a:gd name="T39" fmla="*/ 2147483647 h 85"/>
                    <a:gd name="T40" fmla="*/ 2147483647 w 68"/>
                    <a:gd name="T41" fmla="*/ 2147483647 h 85"/>
                    <a:gd name="T42" fmla="*/ 2147483647 w 68"/>
                    <a:gd name="T43" fmla="*/ 2147483647 h 85"/>
                    <a:gd name="T44" fmla="*/ 2147483647 w 68"/>
                    <a:gd name="T45" fmla="*/ 2147483647 h 85"/>
                    <a:gd name="T46" fmla="*/ 2147483647 w 68"/>
                    <a:gd name="T47" fmla="*/ 2147483647 h 85"/>
                    <a:gd name="T48" fmla="*/ 2147483647 w 68"/>
                    <a:gd name="T49" fmla="*/ 2147483647 h 85"/>
                    <a:gd name="T50" fmla="*/ 2147483647 w 68"/>
                    <a:gd name="T51" fmla="*/ 2147483647 h 85"/>
                    <a:gd name="T52" fmla="*/ 2147483647 w 68"/>
                    <a:gd name="T53" fmla="*/ 2147483647 h 85"/>
                    <a:gd name="T54" fmla="*/ 2147483647 w 68"/>
                    <a:gd name="T55" fmla="*/ 2147483647 h 85"/>
                    <a:gd name="T56" fmla="*/ 2147483647 w 68"/>
                    <a:gd name="T57" fmla="*/ 2147483647 h 85"/>
                    <a:gd name="T58" fmla="*/ 2147483647 w 68"/>
                    <a:gd name="T59" fmla="*/ 2147483647 h 85"/>
                    <a:gd name="T60" fmla="*/ 2147483647 w 68"/>
                    <a:gd name="T61" fmla="*/ 2147483647 h 85"/>
                    <a:gd name="T62" fmla="*/ 2147483647 w 68"/>
                    <a:gd name="T63" fmla="*/ 2147483647 h 85"/>
                    <a:gd name="T64" fmla="*/ 2147483647 w 68"/>
                    <a:gd name="T65" fmla="*/ 2147483647 h 85"/>
                    <a:gd name="T66" fmla="*/ 2147483647 w 68"/>
                    <a:gd name="T67" fmla="*/ 2147483647 h 85"/>
                    <a:gd name="T68" fmla="*/ 2147483647 w 68"/>
                    <a:gd name="T69" fmla="*/ 2147483647 h 85"/>
                    <a:gd name="T70" fmla="*/ 2147483647 w 68"/>
                    <a:gd name="T71" fmla="*/ 2147483647 h 85"/>
                    <a:gd name="T72" fmla="*/ 2147483647 w 68"/>
                    <a:gd name="T73" fmla="*/ 2147483647 h 85"/>
                    <a:gd name="T74" fmla="*/ 2147483647 w 68"/>
                    <a:gd name="T75" fmla="*/ 2147483647 h 85"/>
                    <a:gd name="T76" fmla="*/ 2147483647 w 68"/>
                    <a:gd name="T77" fmla="*/ 2147483647 h 85"/>
                    <a:gd name="T78" fmla="*/ 2147483647 w 68"/>
                    <a:gd name="T79" fmla="*/ 2147483647 h 85"/>
                    <a:gd name="T80" fmla="*/ 2147483647 w 68"/>
                    <a:gd name="T81" fmla="*/ 2147483647 h 85"/>
                    <a:gd name="T82" fmla="*/ 2147483647 w 68"/>
                    <a:gd name="T83" fmla="*/ 2147483647 h 85"/>
                    <a:gd name="T84" fmla="*/ 2147483647 w 68"/>
                    <a:gd name="T85" fmla="*/ 2147483647 h 85"/>
                    <a:gd name="T86" fmla="*/ 2147483647 w 68"/>
                    <a:gd name="T87" fmla="*/ 2147483647 h 85"/>
                    <a:gd name="T88" fmla="*/ 2147483647 w 68"/>
                    <a:gd name="T89" fmla="*/ 0 h 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8"/>
                    <a:gd name="T136" fmla="*/ 0 h 85"/>
                    <a:gd name="T137" fmla="*/ 68 w 68"/>
                    <a:gd name="T138" fmla="*/ 85 h 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8" h="85">
                      <a:moveTo>
                        <a:pt x="14" y="0"/>
                      </a:moveTo>
                      <a:lnTo>
                        <a:pt x="14" y="6"/>
                      </a:lnTo>
                      <a:lnTo>
                        <a:pt x="13" y="11"/>
                      </a:lnTo>
                      <a:lnTo>
                        <a:pt x="10" y="17"/>
                      </a:lnTo>
                      <a:lnTo>
                        <a:pt x="7" y="23"/>
                      </a:lnTo>
                      <a:lnTo>
                        <a:pt x="3" y="29"/>
                      </a:lnTo>
                      <a:lnTo>
                        <a:pt x="2" y="35"/>
                      </a:lnTo>
                      <a:lnTo>
                        <a:pt x="0" y="40"/>
                      </a:lnTo>
                      <a:lnTo>
                        <a:pt x="2" y="46"/>
                      </a:lnTo>
                      <a:lnTo>
                        <a:pt x="4" y="53"/>
                      </a:lnTo>
                      <a:lnTo>
                        <a:pt x="5" y="60"/>
                      </a:lnTo>
                      <a:lnTo>
                        <a:pt x="9" y="74"/>
                      </a:lnTo>
                      <a:lnTo>
                        <a:pt x="13" y="83"/>
                      </a:lnTo>
                      <a:lnTo>
                        <a:pt x="22" y="85"/>
                      </a:lnTo>
                      <a:lnTo>
                        <a:pt x="26" y="84"/>
                      </a:lnTo>
                      <a:lnTo>
                        <a:pt x="27" y="84"/>
                      </a:lnTo>
                      <a:lnTo>
                        <a:pt x="28" y="81"/>
                      </a:lnTo>
                      <a:lnTo>
                        <a:pt x="29" y="77"/>
                      </a:lnTo>
                      <a:lnTo>
                        <a:pt x="29" y="73"/>
                      </a:lnTo>
                      <a:lnTo>
                        <a:pt x="32" y="72"/>
                      </a:lnTo>
                      <a:lnTo>
                        <a:pt x="36" y="70"/>
                      </a:lnTo>
                      <a:lnTo>
                        <a:pt x="41" y="70"/>
                      </a:lnTo>
                      <a:lnTo>
                        <a:pt x="45" y="71"/>
                      </a:lnTo>
                      <a:lnTo>
                        <a:pt x="50" y="73"/>
                      </a:lnTo>
                      <a:lnTo>
                        <a:pt x="55" y="74"/>
                      </a:lnTo>
                      <a:lnTo>
                        <a:pt x="60" y="75"/>
                      </a:lnTo>
                      <a:lnTo>
                        <a:pt x="60" y="71"/>
                      </a:lnTo>
                      <a:lnTo>
                        <a:pt x="62" y="67"/>
                      </a:lnTo>
                      <a:lnTo>
                        <a:pt x="65" y="64"/>
                      </a:lnTo>
                      <a:lnTo>
                        <a:pt x="68" y="59"/>
                      </a:lnTo>
                      <a:lnTo>
                        <a:pt x="68" y="54"/>
                      </a:lnTo>
                      <a:lnTo>
                        <a:pt x="66" y="51"/>
                      </a:lnTo>
                      <a:lnTo>
                        <a:pt x="62" y="46"/>
                      </a:lnTo>
                      <a:lnTo>
                        <a:pt x="60" y="41"/>
                      </a:lnTo>
                      <a:lnTo>
                        <a:pt x="59" y="36"/>
                      </a:lnTo>
                      <a:lnTo>
                        <a:pt x="57" y="32"/>
                      </a:lnTo>
                      <a:lnTo>
                        <a:pt x="57" y="27"/>
                      </a:lnTo>
                      <a:lnTo>
                        <a:pt x="59" y="22"/>
                      </a:lnTo>
                      <a:lnTo>
                        <a:pt x="61" y="16"/>
                      </a:lnTo>
                      <a:lnTo>
                        <a:pt x="64" y="13"/>
                      </a:lnTo>
                      <a:lnTo>
                        <a:pt x="59" y="9"/>
                      </a:lnTo>
                      <a:lnTo>
                        <a:pt x="52" y="6"/>
                      </a:lnTo>
                      <a:lnTo>
                        <a:pt x="45" y="6"/>
                      </a:lnTo>
                      <a:lnTo>
                        <a:pt x="37" y="4"/>
                      </a:lnTo>
                      <a:lnTo>
                        <a:pt x="14"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6" name="Freeform 884"/>
                <p:cNvSpPr>
                  <a:spLocks/>
                </p:cNvSpPr>
                <p:nvPr/>
              </p:nvSpPr>
              <p:spPr bwMode="auto">
                <a:xfrm>
                  <a:off x="3332191" y="4467417"/>
                  <a:ext cx="71034" cy="105070"/>
                </a:xfrm>
                <a:custGeom>
                  <a:avLst/>
                  <a:gdLst>
                    <a:gd name="T0" fmla="*/ 2147483647 w 52"/>
                    <a:gd name="T1" fmla="*/ 0 h 71"/>
                    <a:gd name="T2" fmla="*/ 2147483647 w 52"/>
                    <a:gd name="T3" fmla="*/ 2147483647 h 71"/>
                    <a:gd name="T4" fmla="*/ 2147483647 w 52"/>
                    <a:gd name="T5" fmla="*/ 2147483647 h 71"/>
                    <a:gd name="T6" fmla="*/ 0 w 52"/>
                    <a:gd name="T7" fmla="*/ 2147483647 h 71"/>
                    <a:gd name="T8" fmla="*/ 0 w 52"/>
                    <a:gd name="T9" fmla="*/ 2147483647 h 71"/>
                    <a:gd name="T10" fmla="*/ 2147483647 w 52"/>
                    <a:gd name="T11" fmla="*/ 2147483647 h 71"/>
                    <a:gd name="T12" fmla="*/ 2147483647 w 52"/>
                    <a:gd name="T13" fmla="*/ 2147483647 h 71"/>
                    <a:gd name="T14" fmla="*/ 2147483647 w 52"/>
                    <a:gd name="T15" fmla="*/ 2147483647 h 71"/>
                    <a:gd name="T16" fmla="*/ 2147483647 w 52"/>
                    <a:gd name="T17" fmla="*/ 2147483647 h 71"/>
                    <a:gd name="T18" fmla="*/ 2147483647 w 52"/>
                    <a:gd name="T19" fmla="*/ 2147483647 h 71"/>
                    <a:gd name="T20" fmla="*/ 2147483647 w 52"/>
                    <a:gd name="T21" fmla="*/ 2147483647 h 71"/>
                    <a:gd name="T22" fmla="*/ 2147483647 w 52"/>
                    <a:gd name="T23" fmla="*/ 2147483647 h 71"/>
                    <a:gd name="T24" fmla="*/ 2147483647 w 52"/>
                    <a:gd name="T25" fmla="*/ 2147483647 h 71"/>
                    <a:gd name="T26" fmla="*/ 2147483647 w 52"/>
                    <a:gd name="T27" fmla="*/ 2147483647 h 71"/>
                    <a:gd name="T28" fmla="*/ 2147483647 w 52"/>
                    <a:gd name="T29" fmla="*/ 2147483647 h 71"/>
                    <a:gd name="T30" fmla="*/ 2147483647 w 52"/>
                    <a:gd name="T31" fmla="*/ 2147483647 h 71"/>
                    <a:gd name="T32" fmla="*/ 2147483647 w 52"/>
                    <a:gd name="T33" fmla="*/ 2147483647 h 71"/>
                    <a:gd name="T34" fmla="*/ 2147483647 w 52"/>
                    <a:gd name="T35" fmla="*/ 2147483647 h 71"/>
                    <a:gd name="T36" fmla="*/ 2147483647 w 52"/>
                    <a:gd name="T37" fmla="*/ 2147483647 h 71"/>
                    <a:gd name="T38" fmla="*/ 2147483647 w 52"/>
                    <a:gd name="T39" fmla="*/ 2147483647 h 71"/>
                    <a:gd name="T40" fmla="*/ 2147483647 w 52"/>
                    <a:gd name="T41" fmla="*/ 2147483647 h 71"/>
                    <a:gd name="T42" fmla="*/ 2147483647 w 52"/>
                    <a:gd name="T43" fmla="*/ 2147483647 h 71"/>
                    <a:gd name="T44" fmla="*/ 2147483647 w 52"/>
                    <a:gd name="T45" fmla="*/ 2147483647 h 71"/>
                    <a:gd name="T46" fmla="*/ 2147483647 w 52"/>
                    <a:gd name="T47" fmla="*/ 2147483647 h 71"/>
                    <a:gd name="T48" fmla="*/ 2147483647 w 52"/>
                    <a:gd name="T49" fmla="*/ 2147483647 h 71"/>
                    <a:gd name="T50" fmla="*/ 2147483647 w 52"/>
                    <a:gd name="T51" fmla="*/ 2147483647 h 71"/>
                    <a:gd name="T52" fmla="*/ 2147483647 w 52"/>
                    <a:gd name="T53" fmla="*/ 2147483647 h 71"/>
                    <a:gd name="T54" fmla="*/ 2147483647 w 52"/>
                    <a:gd name="T55" fmla="*/ 2147483647 h 71"/>
                    <a:gd name="T56" fmla="*/ 2147483647 w 52"/>
                    <a:gd name="T57" fmla="*/ 2147483647 h 71"/>
                    <a:gd name="T58" fmla="*/ 2147483647 w 52"/>
                    <a:gd name="T59" fmla="*/ 2147483647 h 71"/>
                    <a:gd name="T60" fmla="*/ 2147483647 w 52"/>
                    <a:gd name="T61" fmla="*/ 2147483647 h 71"/>
                    <a:gd name="T62" fmla="*/ 2147483647 w 52"/>
                    <a:gd name="T63" fmla="*/ 2147483647 h 71"/>
                    <a:gd name="T64" fmla="*/ 2147483647 w 52"/>
                    <a:gd name="T65" fmla="*/ 2147483647 h 71"/>
                    <a:gd name="T66" fmla="*/ 2147483647 w 52"/>
                    <a:gd name="T67" fmla="*/ 2147483647 h 71"/>
                    <a:gd name="T68" fmla="*/ 2147483647 w 52"/>
                    <a:gd name="T69" fmla="*/ 2147483647 h 71"/>
                    <a:gd name="T70" fmla="*/ 2147483647 w 52"/>
                    <a:gd name="T71" fmla="*/ 2147483647 h 71"/>
                    <a:gd name="T72" fmla="*/ 2147483647 w 52"/>
                    <a:gd name="T73" fmla="*/ 2147483647 h 71"/>
                    <a:gd name="T74" fmla="*/ 2147483647 w 52"/>
                    <a:gd name="T75" fmla="*/ 2147483647 h 71"/>
                    <a:gd name="T76" fmla="*/ 2147483647 w 52"/>
                    <a:gd name="T77" fmla="*/ 2147483647 h 71"/>
                    <a:gd name="T78" fmla="*/ 2147483647 w 52"/>
                    <a:gd name="T79" fmla="*/ 2147483647 h 71"/>
                    <a:gd name="T80" fmla="*/ 2147483647 w 52"/>
                    <a:gd name="T81" fmla="*/ 2147483647 h 71"/>
                    <a:gd name="T82" fmla="*/ 2147483647 w 52"/>
                    <a:gd name="T83" fmla="*/ 2147483647 h 71"/>
                    <a:gd name="T84" fmla="*/ 2147483647 w 52"/>
                    <a:gd name="T85" fmla="*/ 2147483647 h 71"/>
                    <a:gd name="T86" fmla="*/ 2147483647 w 52"/>
                    <a:gd name="T87" fmla="*/ 2147483647 h 71"/>
                    <a:gd name="T88" fmla="*/ 2147483647 w 52"/>
                    <a:gd name="T89" fmla="*/ 2147483647 h 71"/>
                    <a:gd name="T90" fmla="*/ 2147483647 w 52"/>
                    <a:gd name="T91" fmla="*/ 0 h 71"/>
                    <a:gd name="T92" fmla="*/ 2147483647 w 52"/>
                    <a:gd name="T93" fmla="*/ 0 h 71"/>
                    <a:gd name="T94" fmla="*/ 2147483647 w 52"/>
                    <a:gd name="T95" fmla="*/ 0 h 71"/>
                    <a:gd name="T96" fmla="*/ 2147483647 w 52"/>
                    <a:gd name="T97" fmla="*/ 0 h 71"/>
                    <a:gd name="T98" fmla="*/ 2147483647 w 52"/>
                    <a:gd name="T99" fmla="*/ 0 h 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71"/>
                    <a:gd name="T152" fmla="*/ 52 w 52"/>
                    <a:gd name="T153" fmla="*/ 71 h 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71">
                      <a:moveTo>
                        <a:pt x="7" y="0"/>
                      </a:moveTo>
                      <a:lnTo>
                        <a:pt x="4" y="3"/>
                      </a:lnTo>
                      <a:lnTo>
                        <a:pt x="2" y="9"/>
                      </a:lnTo>
                      <a:lnTo>
                        <a:pt x="0" y="14"/>
                      </a:lnTo>
                      <a:lnTo>
                        <a:pt x="0" y="19"/>
                      </a:lnTo>
                      <a:lnTo>
                        <a:pt x="2" y="23"/>
                      </a:lnTo>
                      <a:lnTo>
                        <a:pt x="3" y="28"/>
                      </a:lnTo>
                      <a:lnTo>
                        <a:pt x="5" y="33"/>
                      </a:lnTo>
                      <a:lnTo>
                        <a:pt x="9" y="38"/>
                      </a:lnTo>
                      <a:lnTo>
                        <a:pt x="11" y="41"/>
                      </a:lnTo>
                      <a:lnTo>
                        <a:pt x="11" y="46"/>
                      </a:lnTo>
                      <a:lnTo>
                        <a:pt x="8" y="51"/>
                      </a:lnTo>
                      <a:lnTo>
                        <a:pt x="5" y="54"/>
                      </a:lnTo>
                      <a:lnTo>
                        <a:pt x="3" y="58"/>
                      </a:lnTo>
                      <a:lnTo>
                        <a:pt x="3" y="62"/>
                      </a:lnTo>
                      <a:lnTo>
                        <a:pt x="5" y="64"/>
                      </a:lnTo>
                      <a:lnTo>
                        <a:pt x="7" y="66"/>
                      </a:lnTo>
                      <a:lnTo>
                        <a:pt x="8" y="68"/>
                      </a:lnTo>
                      <a:lnTo>
                        <a:pt x="11" y="71"/>
                      </a:lnTo>
                      <a:lnTo>
                        <a:pt x="13" y="71"/>
                      </a:lnTo>
                      <a:lnTo>
                        <a:pt x="14" y="71"/>
                      </a:lnTo>
                      <a:lnTo>
                        <a:pt x="17" y="67"/>
                      </a:lnTo>
                      <a:lnTo>
                        <a:pt x="21" y="66"/>
                      </a:lnTo>
                      <a:lnTo>
                        <a:pt x="26" y="64"/>
                      </a:lnTo>
                      <a:lnTo>
                        <a:pt x="33" y="64"/>
                      </a:lnTo>
                      <a:lnTo>
                        <a:pt x="38" y="61"/>
                      </a:lnTo>
                      <a:lnTo>
                        <a:pt x="41" y="59"/>
                      </a:lnTo>
                      <a:lnTo>
                        <a:pt x="42" y="55"/>
                      </a:lnTo>
                      <a:lnTo>
                        <a:pt x="44" y="52"/>
                      </a:lnTo>
                      <a:lnTo>
                        <a:pt x="45" y="47"/>
                      </a:lnTo>
                      <a:lnTo>
                        <a:pt x="46" y="41"/>
                      </a:lnTo>
                      <a:lnTo>
                        <a:pt x="47" y="35"/>
                      </a:lnTo>
                      <a:lnTo>
                        <a:pt x="49" y="29"/>
                      </a:lnTo>
                      <a:lnTo>
                        <a:pt x="50" y="23"/>
                      </a:lnTo>
                      <a:lnTo>
                        <a:pt x="51" y="19"/>
                      </a:lnTo>
                      <a:lnTo>
                        <a:pt x="51" y="17"/>
                      </a:lnTo>
                      <a:lnTo>
                        <a:pt x="52" y="16"/>
                      </a:lnTo>
                      <a:lnTo>
                        <a:pt x="50" y="10"/>
                      </a:lnTo>
                      <a:lnTo>
                        <a:pt x="49" y="9"/>
                      </a:lnTo>
                      <a:lnTo>
                        <a:pt x="46" y="10"/>
                      </a:lnTo>
                      <a:lnTo>
                        <a:pt x="44" y="10"/>
                      </a:lnTo>
                      <a:lnTo>
                        <a:pt x="40" y="10"/>
                      </a:lnTo>
                      <a:lnTo>
                        <a:pt x="40" y="8"/>
                      </a:lnTo>
                      <a:lnTo>
                        <a:pt x="33" y="7"/>
                      </a:lnTo>
                      <a:lnTo>
                        <a:pt x="27" y="4"/>
                      </a:lnTo>
                      <a:lnTo>
                        <a:pt x="16" y="0"/>
                      </a:lnTo>
                      <a:lnTo>
                        <a:pt x="14" y="0"/>
                      </a:lnTo>
                      <a:lnTo>
                        <a:pt x="12" y="0"/>
                      </a:lnTo>
                      <a:lnTo>
                        <a:pt x="9" y="0"/>
                      </a:lnTo>
                      <a:lnTo>
                        <a:pt x="7"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7" name="Freeform 885"/>
                <p:cNvSpPr>
                  <a:spLocks/>
                </p:cNvSpPr>
                <p:nvPr/>
              </p:nvSpPr>
              <p:spPr bwMode="auto">
                <a:xfrm>
                  <a:off x="3253759" y="4445220"/>
                  <a:ext cx="91752" cy="127269"/>
                </a:xfrm>
                <a:custGeom>
                  <a:avLst/>
                  <a:gdLst>
                    <a:gd name="T0" fmla="*/ 2147483647 w 67"/>
                    <a:gd name="T1" fmla="*/ 0 h 86"/>
                    <a:gd name="T2" fmla="*/ 2147483647 w 67"/>
                    <a:gd name="T3" fmla="*/ 0 h 86"/>
                    <a:gd name="T4" fmla="*/ 2147483647 w 67"/>
                    <a:gd name="T5" fmla="*/ 2147483647 h 86"/>
                    <a:gd name="T6" fmla="*/ 2147483647 w 67"/>
                    <a:gd name="T7" fmla="*/ 2147483647 h 86"/>
                    <a:gd name="T8" fmla="*/ 2147483647 w 67"/>
                    <a:gd name="T9" fmla="*/ 2147483647 h 86"/>
                    <a:gd name="T10" fmla="*/ 2147483647 w 67"/>
                    <a:gd name="T11" fmla="*/ 2147483647 h 86"/>
                    <a:gd name="T12" fmla="*/ 2147483647 w 67"/>
                    <a:gd name="T13" fmla="*/ 2147483647 h 86"/>
                    <a:gd name="T14" fmla="*/ 2147483647 w 67"/>
                    <a:gd name="T15" fmla="*/ 2147483647 h 86"/>
                    <a:gd name="T16" fmla="*/ 2147483647 w 67"/>
                    <a:gd name="T17" fmla="*/ 2147483647 h 86"/>
                    <a:gd name="T18" fmla="*/ 0 w 67"/>
                    <a:gd name="T19" fmla="*/ 2147483647 h 86"/>
                    <a:gd name="T20" fmla="*/ 2147483647 w 67"/>
                    <a:gd name="T21" fmla="*/ 2147483647 h 86"/>
                    <a:gd name="T22" fmla="*/ 2147483647 w 67"/>
                    <a:gd name="T23" fmla="*/ 2147483647 h 86"/>
                    <a:gd name="T24" fmla="*/ 2147483647 w 67"/>
                    <a:gd name="T25" fmla="*/ 2147483647 h 86"/>
                    <a:gd name="T26" fmla="*/ 2147483647 w 67"/>
                    <a:gd name="T27" fmla="*/ 2147483647 h 86"/>
                    <a:gd name="T28" fmla="*/ 2147483647 w 67"/>
                    <a:gd name="T29" fmla="*/ 2147483647 h 86"/>
                    <a:gd name="T30" fmla="*/ 2147483647 w 67"/>
                    <a:gd name="T31" fmla="*/ 2147483647 h 86"/>
                    <a:gd name="T32" fmla="*/ 2147483647 w 67"/>
                    <a:gd name="T33" fmla="*/ 2147483647 h 86"/>
                    <a:gd name="T34" fmla="*/ 2147483647 w 67"/>
                    <a:gd name="T35" fmla="*/ 2147483647 h 86"/>
                    <a:gd name="T36" fmla="*/ 2147483647 w 67"/>
                    <a:gd name="T37" fmla="*/ 2147483647 h 86"/>
                    <a:gd name="T38" fmla="*/ 2147483647 w 67"/>
                    <a:gd name="T39" fmla="*/ 2147483647 h 86"/>
                    <a:gd name="T40" fmla="*/ 2147483647 w 67"/>
                    <a:gd name="T41" fmla="*/ 2147483647 h 86"/>
                    <a:gd name="T42" fmla="*/ 2147483647 w 67"/>
                    <a:gd name="T43" fmla="*/ 2147483647 h 86"/>
                    <a:gd name="T44" fmla="*/ 2147483647 w 67"/>
                    <a:gd name="T45" fmla="*/ 2147483647 h 86"/>
                    <a:gd name="T46" fmla="*/ 2147483647 w 67"/>
                    <a:gd name="T47" fmla="*/ 2147483647 h 86"/>
                    <a:gd name="T48" fmla="*/ 2147483647 w 67"/>
                    <a:gd name="T49" fmla="*/ 2147483647 h 86"/>
                    <a:gd name="T50" fmla="*/ 2147483647 w 67"/>
                    <a:gd name="T51" fmla="*/ 2147483647 h 86"/>
                    <a:gd name="T52" fmla="*/ 2147483647 w 67"/>
                    <a:gd name="T53" fmla="*/ 2147483647 h 86"/>
                    <a:gd name="T54" fmla="*/ 2147483647 w 67"/>
                    <a:gd name="T55" fmla="*/ 2147483647 h 86"/>
                    <a:gd name="T56" fmla="*/ 2147483647 w 67"/>
                    <a:gd name="T57" fmla="*/ 2147483647 h 86"/>
                    <a:gd name="T58" fmla="*/ 2147483647 w 67"/>
                    <a:gd name="T59" fmla="*/ 2147483647 h 86"/>
                    <a:gd name="T60" fmla="*/ 2147483647 w 67"/>
                    <a:gd name="T61" fmla="*/ 2147483647 h 86"/>
                    <a:gd name="T62" fmla="*/ 2147483647 w 67"/>
                    <a:gd name="T63" fmla="*/ 2147483647 h 86"/>
                    <a:gd name="T64" fmla="*/ 2147483647 w 67"/>
                    <a:gd name="T65" fmla="*/ 2147483647 h 86"/>
                    <a:gd name="T66" fmla="*/ 2147483647 w 67"/>
                    <a:gd name="T67" fmla="*/ 2147483647 h 86"/>
                    <a:gd name="T68" fmla="*/ 2147483647 w 67"/>
                    <a:gd name="T69" fmla="*/ 2147483647 h 86"/>
                    <a:gd name="T70" fmla="*/ 2147483647 w 67"/>
                    <a:gd name="T71" fmla="*/ 2147483647 h 86"/>
                    <a:gd name="T72" fmla="*/ 2147483647 w 67"/>
                    <a:gd name="T73" fmla="*/ 2147483647 h 86"/>
                    <a:gd name="T74" fmla="*/ 2147483647 w 67"/>
                    <a:gd name="T75" fmla="*/ 2147483647 h 86"/>
                    <a:gd name="T76" fmla="*/ 2147483647 w 67"/>
                    <a:gd name="T77" fmla="*/ 2147483647 h 86"/>
                    <a:gd name="T78" fmla="*/ 2147483647 w 67"/>
                    <a:gd name="T79" fmla="*/ 2147483647 h 86"/>
                    <a:gd name="T80" fmla="*/ 2147483647 w 67"/>
                    <a:gd name="T81" fmla="*/ 2147483647 h 86"/>
                    <a:gd name="T82" fmla="*/ 2147483647 w 67"/>
                    <a:gd name="T83" fmla="*/ 2147483647 h 86"/>
                    <a:gd name="T84" fmla="*/ 2147483647 w 67"/>
                    <a:gd name="T85" fmla="*/ 2147483647 h 86"/>
                    <a:gd name="T86" fmla="*/ 2147483647 w 67"/>
                    <a:gd name="T87" fmla="*/ 2147483647 h 86"/>
                    <a:gd name="T88" fmla="*/ 2147483647 w 67"/>
                    <a:gd name="T89" fmla="*/ 2147483647 h 86"/>
                    <a:gd name="T90" fmla="*/ 2147483647 w 67"/>
                    <a:gd name="T91" fmla="*/ 2147483647 h 86"/>
                    <a:gd name="T92" fmla="*/ 2147483647 w 67"/>
                    <a:gd name="T93" fmla="*/ 2147483647 h 86"/>
                    <a:gd name="T94" fmla="*/ 2147483647 w 67"/>
                    <a:gd name="T95" fmla="*/ 2147483647 h 86"/>
                    <a:gd name="T96" fmla="*/ 2147483647 w 67"/>
                    <a:gd name="T97" fmla="*/ 2147483647 h 86"/>
                    <a:gd name="T98" fmla="*/ 2147483647 w 67"/>
                    <a:gd name="T99" fmla="*/ 2147483647 h 86"/>
                    <a:gd name="T100" fmla="*/ 2147483647 w 67"/>
                    <a:gd name="T101" fmla="*/ 2147483647 h 86"/>
                    <a:gd name="T102" fmla="*/ 2147483647 w 67"/>
                    <a:gd name="T103" fmla="*/ 2147483647 h 86"/>
                    <a:gd name="T104" fmla="*/ 2147483647 w 67"/>
                    <a:gd name="T105" fmla="*/ 2147483647 h 86"/>
                    <a:gd name="T106" fmla="*/ 2147483647 w 67"/>
                    <a:gd name="T107" fmla="*/ 2147483647 h 86"/>
                    <a:gd name="T108" fmla="*/ 2147483647 w 67"/>
                    <a:gd name="T109" fmla="*/ 2147483647 h 86"/>
                    <a:gd name="T110" fmla="*/ 2147483647 w 67"/>
                    <a:gd name="T111" fmla="*/ 2147483647 h 86"/>
                    <a:gd name="T112" fmla="*/ 2147483647 w 67"/>
                    <a:gd name="T113" fmla="*/ 2147483647 h 86"/>
                    <a:gd name="T114" fmla="*/ 2147483647 w 67"/>
                    <a:gd name="T115" fmla="*/ 2147483647 h 86"/>
                    <a:gd name="T116" fmla="*/ 2147483647 w 67"/>
                    <a:gd name="T117" fmla="*/ 0 h 86"/>
                    <a:gd name="T118" fmla="*/ 2147483647 w 67"/>
                    <a:gd name="T119" fmla="*/ 0 h 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7"/>
                    <a:gd name="T181" fmla="*/ 0 h 86"/>
                    <a:gd name="T182" fmla="*/ 67 w 67"/>
                    <a:gd name="T183" fmla="*/ 86 h 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7" h="86">
                      <a:moveTo>
                        <a:pt x="14" y="0"/>
                      </a:moveTo>
                      <a:lnTo>
                        <a:pt x="14" y="0"/>
                      </a:lnTo>
                      <a:lnTo>
                        <a:pt x="14" y="6"/>
                      </a:lnTo>
                      <a:lnTo>
                        <a:pt x="13" y="12"/>
                      </a:lnTo>
                      <a:lnTo>
                        <a:pt x="10" y="18"/>
                      </a:lnTo>
                      <a:lnTo>
                        <a:pt x="6" y="24"/>
                      </a:lnTo>
                      <a:lnTo>
                        <a:pt x="3" y="30"/>
                      </a:lnTo>
                      <a:lnTo>
                        <a:pt x="1" y="36"/>
                      </a:lnTo>
                      <a:lnTo>
                        <a:pt x="0" y="41"/>
                      </a:lnTo>
                      <a:lnTo>
                        <a:pt x="1" y="47"/>
                      </a:lnTo>
                      <a:lnTo>
                        <a:pt x="4" y="54"/>
                      </a:lnTo>
                      <a:lnTo>
                        <a:pt x="5" y="61"/>
                      </a:lnTo>
                      <a:lnTo>
                        <a:pt x="9" y="75"/>
                      </a:lnTo>
                      <a:lnTo>
                        <a:pt x="13" y="83"/>
                      </a:lnTo>
                      <a:lnTo>
                        <a:pt x="22" y="86"/>
                      </a:lnTo>
                      <a:lnTo>
                        <a:pt x="25" y="85"/>
                      </a:lnTo>
                      <a:lnTo>
                        <a:pt x="27" y="85"/>
                      </a:lnTo>
                      <a:lnTo>
                        <a:pt x="28" y="82"/>
                      </a:lnTo>
                      <a:lnTo>
                        <a:pt x="29" y="77"/>
                      </a:lnTo>
                      <a:lnTo>
                        <a:pt x="29" y="74"/>
                      </a:lnTo>
                      <a:lnTo>
                        <a:pt x="32" y="73"/>
                      </a:lnTo>
                      <a:lnTo>
                        <a:pt x="36" y="70"/>
                      </a:lnTo>
                      <a:lnTo>
                        <a:pt x="41" y="70"/>
                      </a:lnTo>
                      <a:lnTo>
                        <a:pt x="44" y="72"/>
                      </a:lnTo>
                      <a:lnTo>
                        <a:pt x="50" y="74"/>
                      </a:lnTo>
                      <a:lnTo>
                        <a:pt x="55" y="75"/>
                      </a:lnTo>
                      <a:lnTo>
                        <a:pt x="60" y="76"/>
                      </a:lnTo>
                      <a:lnTo>
                        <a:pt x="60" y="72"/>
                      </a:lnTo>
                      <a:lnTo>
                        <a:pt x="62" y="68"/>
                      </a:lnTo>
                      <a:lnTo>
                        <a:pt x="65" y="64"/>
                      </a:lnTo>
                      <a:lnTo>
                        <a:pt x="67" y="60"/>
                      </a:lnTo>
                      <a:lnTo>
                        <a:pt x="67" y="55"/>
                      </a:lnTo>
                      <a:lnTo>
                        <a:pt x="66" y="51"/>
                      </a:lnTo>
                      <a:lnTo>
                        <a:pt x="62" y="47"/>
                      </a:lnTo>
                      <a:lnTo>
                        <a:pt x="60" y="42"/>
                      </a:lnTo>
                      <a:lnTo>
                        <a:pt x="58" y="37"/>
                      </a:lnTo>
                      <a:lnTo>
                        <a:pt x="57" y="32"/>
                      </a:lnTo>
                      <a:lnTo>
                        <a:pt x="57" y="28"/>
                      </a:lnTo>
                      <a:lnTo>
                        <a:pt x="58" y="23"/>
                      </a:lnTo>
                      <a:lnTo>
                        <a:pt x="61" y="17"/>
                      </a:lnTo>
                      <a:lnTo>
                        <a:pt x="63" y="13"/>
                      </a:lnTo>
                      <a:lnTo>
                        <a:pt x="58" y="10"/>
                      </a:lnTo>
                      <a:lnTo>
                        <a:pt x="52" y="6"/>
                      </a:lnTo>
                      <a:lnTo>
                        <a:pt x="44" y="6"/>
                      </a:lnTo>
                      <a:lnTo>
                        <a:pt x="37" y="5"/>
                      </a:lnTo>
                      <a:lnTo>
                        <a:pt x="14"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8" name="Freeform 886"/>
                <p:cNvSpPr>
                  <a:spLocks/>
                </p:cNvSpPr>
                <p:nvPr/>
              </p:nvSpPr>
              <p:spPr bwMode="auto">
                <a:xfrm>
                  <a:off x="3330712" y="4464456"/>
                  <a:ext cx="71034" cy="106551"/>
                </a:xfrm>
                <a:custGeom>
                  <a:avLst/>
                  <a:gdLst>
                    <a:gd name="T0" fmla="*/ 2147483647 w 52"/>
                    <a:gd name="T1" fmla="*/ 0 h 72"/>
                    <a:gd name="T2" fmla="*/ 2147483647 w 52"/>
                    <a:gd name="T3" fmla="*/ 2147483647 h 72"/>
                    <a:gd name="T4" fmla="*/ 0 w 52"/>
                    <a:gd name="T5" fmla="*/ 2147483647 h 72"/>
                    <a:gd name="T6" fmla="*/ 2147483647 w 52"/>
                    <a:gd name="T7" fmla="*/ 2147483647 h 72"/>
                    <a:gd name="T8" fmla="*/ 2147483647 w 52"/>
                    <a:gd name="T9" fmla="*/ 2147483647 h 72"/>
                    <a:gd name="T10" fmla="*/ 2147483647 w 52"/>
                    <a:gd name="T11" fmla="*/ 2147483647 h 72"/>
                    <a:gd name="T12" fmla="*/ 2147483647 w 52"/>
                    <a:gd name="T13" fmla="*/ 2147483647 h 72"/>
                    <a:gd name="T14" fmla="*/ 2147483647 w 52"/>
                    <a:gd name="T15" fmla="*/ 2147483647 h 72"/>
                    <a:gd name="T16" fmla="*/ 2147483647 w 52"/>
                    <a:gd name="T17" fmla="*/ 2147483647 h 72"/>
                    <a:gd name="T18" fmla="*/ 2147483647 w 52"/>
                    <a:gd name="T19" fmla="*/ 2147483647 h 72"/>
                    <a:gd name="T20" fmla="*/ 2147483647 w 52"/>
                    <a:gd name="T21" fmla="*/ 2147483647 h 72"/>
                    <a:gd name="T22" fmla="*/ 2147483647 w 52"/>
                    <a:gd name="T23" fmla="*/ 2147483647 h 72"/>
                    <a:gd name="T24" fmla="*/ 2147483647 w 52"/>
                    <a:gd name="T25" fmla="*/ 2147483647 h 72"/>
                    <a:gd name="T26" fmla="*/ 2147483647 w 52"/>
                    <a:gd name="T27" fmla="*/ 2147483647 h 72"/>
                    <a:gd name="T28" fmla="*/ 2147483647 w 52"/>
                    <a:gd name="T29" fmla="*/ 2147483647 h 72"/>
                    <a:gd name="T30" fmla="*/ 2147483647 w 52"/>
                    <a:gd name="T31" fmla="*/ 2147483647 h 72"/>
                    <a:gd name="T32" fmla="*/ 2147483647 w 52"/>
                    <a:gd name="T33" fmla="*/ 2147483647 h 72"/>
                    <a:gd name="T34" fmla="*/ 2147483647 w 52"/>
                    <a:gd name="T35" fmla="*/ 2147483647 h 72"/>
                    <a:gd name="T36" fmla="*/ 2147483647 w 52"/>
                    <a:gd name="T37" fmla="*/ 2147483647 h 72"/>
                    <a:gd name="T38" fmla="*/ 2147483647 w 52"/>
                    <a:gd name="T39" fmla="*/ 2147483647 h 72"/>
                    <a:gd name="T40" fmla="*/ 2147483647 w 52"/>
                    <a:gd name="T41" fmla="*/ 2147483647 h 72"/>
                    <a:gd name="T42" fmla="*/ 2147483647 w 52"/>
                    <a:gd name="T43" fmla="*/ 2147483647 h 72"/>
                    <a:gd name="T44" fmla="*/ 2147483647 w 52"/>
                    <a:gd name="T45" fmla="*/ 2147483647 h 72"/>
                    <a:gd name="T46" fmla="*/ 2147483647 w 52"/>
                    <a:gd name="T47" fmla="*/ 2147483647 h 72"/>
                    <a:gd name="T48" fmla="*/ 2147483647 w 52"/>
                    <a:gd name="T49" fmla="*/ 2147483647 h 72"/>
                    <a:gd name="T50" fmla="*/ 2147483647 w 52"/>
                    <a:gd name="T51" fmla="*/ 2147483647 h 72"/>
                    <a:gd name="T52" fmla="*/ 2147483647 w 52"/>
                    <a:gd name="T53" fmla="*/ 2147483647 h 72"/>
                    <a:gd name="T54" fmla="*/ 2147483647 w 52"/>
                    <a:gd name="T55" fmla="*/ 2147483647 h 72"/>
                    <a:gd name="T56" fmla="*/ 2147483647 w 52"/>
                    <a:gd name="T57" fmla="*/ 2147483647 h 72"/>
                    <a:gd name="T58" fmla="*/ 2147483647 w 52"/>
                    <a:gd name="T59" fmla="*/ 0 h 72"/>
                    <a:gd name="T60" fmla="*/ 2147483647 w 52"/>
                    <a:gd name="T61" fmla="*/ 0 h 72"/>
                    <a:gd name="T62" fmla="*/ 2147483647 w 52"/>
                    <a:gd name="T63" fmla="*/ 0 h 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72"/>
                    <a:gd name="T98" fmla="*/ 52 w 52"/>
                    <a:gd name="T99" fmla="*/ 72 h 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72">
                      <a:moveTo>
                        <a:pt x="6" y="0"/>
                      </a:moveTo>
                      <a:lnTo>
                        <a:pt x="6" y="0"/>
                      </a:lnTo>
                      <a:lnTo>
                        <a:pt x="4" y="4"/>
                      </a:lnTo>
                      <a:lnTo>
                        <a:pt x="1" y="10"/>
                      </a:lnTo>
                      <a:lnTo>
                        <a:pt x="0" y="15"/>
                      </a:lnTo>
                      <a:lnTo>
                        <a:pt x="0" y="19"/>
                      </a:lnTo>
                      <a:lnTo>
                        <a:pt x="1" y="24"/>
                      </a:lnTo>
                      <a:lnTo>
                        <a:pt x="3" y="29"/>
                      </a:lnTo>
                      <a:lnTo>
                        <a:pt x="5" y="34"/>
                      </a:lnTo>
                      <a:lnTo>
                        <a:pt x="9" y="38"/>
                      </a:lnTo>
                      <a:lnTo>
                        <a:pt x="10" y="42"/>
                      </a:lnTo>
                      <a:lnTo>
                        <a:pt x="10" y="47"/>
                      </a:lnTo>
                      <a:lnTo>
                        <a:pt x="8" y="51"/>
                      </a:lnTo>
                      <a:lnTo>
                        <a:pt x="5" y="55"/>
                      </a:lnTo>
                      <a:lnTo>
                        <a:pt x="3" y="59"/>
                      </a:lnTo>
                      <a:lnTo>
                        <a:pt x="3" y="63"/>
                      </a:lnTo>
                      <a:lnTo>
                        <a:pt x="5" y="64"/>
                      </a:lnTo>
                      <a:lnTo>
                        <a:pt x="6" y="67"/>
                      </a:lnTo>
                      <a:lnTo>
                        <a:pt x="8" y="69"/>
                      </a:lnTo>
                      <a:lnTo>
                        <a:pt x="10" y="72"/>
                      </a:lnTo>
                      <a:lnTo>
                        <a:pt x="13" y="72"/>
                      </a:lnTo>
                      <a:lnTo>
                        <a:pt x="14" y="72"/>
                      </a:lnTo>
                      <a:lnTo>
                        <a:pt x="17" y="68"/>
                      </a:lnTo>
                      <a:lnTo>
                        <a:pt x="20" y="67"/>
                      </a:lnTo>
                      <a:lnTo>
                        <a:pt x="26" y="64"/>
                      </a:lnTo>
                      <a:lnTo>
                        <a:pt x="33" y="64"/>
                      </a:lnTo>
                      <a:lnTo>
                        <a:pt x="38" y="62"/>
                      </a:lnTo>
                      <a:lnTo>
                        <a:pt x="41" y="60"/>
                      </a:lnTo>
                      <a:lnTo>
                        <a:pt x="42" y="56"/>
                      </a:lnTo>
                      <a:lnTo>
                        <a:pt x="43" y="53"/>
                      </a:lnTo>
                      <a:lnTo>
                        <a:pt x="45" y="48"/>
                      </a:lnTo>
                      <a:lnTo>
                        <a:pt x="46" y="42"/>
                      </a:lnTo>
                      <a:lnTo>
                        <a:pt x="47" y="36"/>
                      </a:lnTo>
                      <a:lnTo>
                        <a:pt x="48" y="30"/>
                      </a:lnTo>
                      <a:lnTo>
                        <a:pt x="50" y="24"/>
                      </a:lnTo>
                      <a:lnTo>
                        <a:pt x="51" y="19"/>
                      </a:lnTo>
                      <a:lnTo>
                        <a:pt x="51" y="18"/>
                      </a:lnTo>
                      <a:lnTo>
                        <a:pt x="52" y="17"/>
                      </a:lnTo>
                      <a:lnTo>
                        <a:pt x="50" y="11"/>
                      </a:lnTo>
                      <a:lnTo>
                        <a:pt x="48" y="10"/>
                      </a:lnTo>
                      <a:lnTo>
                        <a:pt x="46" y="11"/>
                      </a:lnTo>
                      <a:lnTo>
                        <a:pt x="43" y="11"/>
                      </a:lnTo>
                      <a:lnTo>
                        <a:pt x="39" y="11"/>
                      </a:lnTo>
                      <a:lnTo>
                        <a:pt x="39" y="9"/>
                      </a:lnTo>
                      <a:lnTo>
                        <a:pt x="33" y="8"/>
                      </a:lnTo>
                      <a:lnTo>
                        <a:pt x="27" y="5"/>
                      </a:lnTo>
                      <a:lnTo>
                        <a:pt x="15" y="0"/>
                      </a:lnTo>
                      <a:lnTo>
                        <a:pt x="14" y="0"/>
                      </a:lnTo>
                      <a:lnTo>
                        <a:pt x="12" y="0"/>
                      </a:lnTo>
                      <a:lnTo>
                        <a:pt x="9" y="0"/>
                      </a:lnTo>
                      <a:lnTo>
                        <a:pt x="6"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29" name="Freeform 887"/>
                <p:cNvSpPr>
                  <a:spLocks/>
                </p:cNvSpPr>
                <p:nvPr/>
              </p:nvSpPr>
              <p:spPr bwMode="auto">
                <a:xfrm>
                  <a:off x="2866035" y="4047135"/>
                  <a:ext cx="68074" cy="62155"/>
                </a:xfrm>
                <a:custGeom>
                  <a:avLst/>
                  <a:gdLst>
                    <a:gd name="T0" fmla="*/ 2147483647 w 49"/>
                    <a:gd name="T1" fmla="*/ 2147483647 h 42"/>
                    <a:gd name="T2" fmla="*/ 2147483647 w 49"/>
                    <a:gd name="T3" fmla="*/ 2147483647 h 42"/>
                    <a:gd name="T4" fmla="*/ 2147483647 w 49"/>
                    <a:gd name="T5" fmla="*/ 2147483647 h 42"/>
                    <a:gd name="T6" fmla="*/ 2147483647 w 49"/>
                    <a:gd name="T7" fmla="*/ 2147483647 h 42"/>
                    <a:gd name="T8" fmla="*/ 2147483647 w 49"/>
                    <a:gd name="T9" fmla="*/ 2147483647 h 42"/>
                    <a:gd name="T10" fmla="*/ 2147483647 w 49"/>
                    <a:gd name="T11" fmla="*/ 2147483647 h 42"/>
                    <a:gd name="T12" fmla="*/ 2147483647 w 49"/>
                    <a:gd name="T13" fmla="*/ 2147483647 h 42"/>
                    <a:gd name="T14" fmla="*/ 2147483647 w 49"/>
                    <a:gd name="T15" fmla="*/ 2147483647 h 42"/>
                    <a:gd name="T16" fmla="*/ 2147483647 w 49"/>
                    <a:gd name="T17" fmla="*/ 2147483647 h 42"/>
                    <a:gd name="T18" fmla="*/ 2147483647 w 49"/>
                    <a:gd name="T19" fmla="*/ 2147483647 h 42"/>
                    <a:gd name="T20" fmla="*/ 2147483647 w 49"/>
                    <a:gd name="T21" fmla="*/ 2147483647 h 42"/>
                    <a:gd name="T22" fmla="*/ 2147483647 w 49"/>
                    <a:gd name="T23" fmla="*/ 2147483647 h 42"/>
                    <a:gd name="T24" fmla="*/ 2147483647 w 49"/>
                    <a:gd name="T25" fmla="*/ 2147483647 h 42"/>
                    <a:gd name="T26" fmla="*/ 2147483647 w 49"/>
                    <a:gd name="T27" fmla="*/ 2147483647 h 42"/>
                    <a:gd name="T28" fmla="*/ 2147483647 w 49"/>
                    <a:gd name="T29" fmla="*/ 0 h 42"/>
                    <a:gd name="T30" fmla="*/ 2147483647 w 49"/>
                    <a:gd name="T31" fmla="*/ 0 h 42"/>
                    <a:gd name="T32" fmla="*/ 2147483647 w 49"/>
                    <a:gd name="T33" fmla="*/ 2147483647 h 42"/>
                    <a:gd name="T34" fmla="*/ 2147483647 w 49"/>
                    <a:gd name="T35" fmla="*/ 2147483647 h 42"/>
                    <a:gd name="T36" fmla="*/ 2147483647 w 49"/>
                    <a:gd name="T37" fmla="*/ 2147483647 h 42"/>
                    <a:gd name="T38" fmla="*/ 2147483647 w 49"/>
                    <a:gd name="T39" fmla="*/ 2147483647 h 42"/>
                    <a:gd name="T40" fmla="*/ 2147483647 w 49"/>
                    <a:gd name="T41" fmla="*/ 2147483647 h 42"/>
                    <a:gd name="T42" fmla="*/ 2147483647 w 49"/>
                    <a:gd name="T43" fmla="*/ 2147483647 h 42"/>
                    <a:gd name="T44" fmla="*/ 2147483647 w 49"/>
                    <a:gd name="T45" fmla="*/ 2147483647 h 42"/>
                    <a:gd name="T46" fmla="*/ 2147483647 w 49"/>
                    <a:gd name="T47" fmla="*/ 2147483647 h 42"/>
                    <a:gd name="T48" fmla="*/ 2147483647 w 49"/>
                    <a:gd name="T49" fmla="*/ 2147483647 h 42"/>
                    <a:gd name="T50" fmla="*/ 2147483647 w 49"/>
                    <a:gd name="T51" fmla="*/ 2147483647 h 42"/>
                    <a:gd name="T52" fmla="*/ 2147483647 w 49"/>
                    <a:gd name="T53" fmla="*/ 2147483647 h 42"/>
                    <a:gd name="T54" fmla="*/ 2147483647 w 49"/>
                    <a:gd name="T55" fmla="*/ 2147483647 h 42"/>
                    <a:gd name="T56" fmla="*/ 2147483647 w 49"/>
                    <a:gd name="T57" fmla="*/ 2147483647 h 42"/>
                    <a:gd name="T58" fmla="*/ 2147483647 w 49"/>
                    <a:gd name="T59" fmla="*/ 2147483647 h 42"/>
                    <a:gd name="T60" fmla="*/ 2147483647 w 49"/>
                    <a:gd name="T61" fmla="*/ 2147483647 h 42"/>
                    <a:gd name="T62" fmla="*/ 2147483647 w 49"/>
                    <a:gd name="T63" fmla="*/ 2147483647 h 42"/>
                    <a:gd name="T64" fmla="*/ 2147483647 w 49"/>
                    <a:gd name="T65" fmla="*/ 2147483647 h 42"/>
                    <a:gd name="T66" fmla="*/ 0 w 49"/>
                    <a:gd name="T67" fmla="*/ 2147483647 h 42"/>
                    <a:gd name="T68" fmla="*/ 0 w 49"/>
                    <a:gd name="T69" fmla="*/ 2147483647 h 42"/>
                    <a:gd name="T70" fmla="*/ 2147483647 w 49"/>
                    <a:gd name="T71" fmla="*/ 2147483647 h 42"/>
                    <a:gd name="T72" fmla="*/ 2147483647 w 49"/>
                    <a:gd name="T73" fmla="*/ 2147483647 h 42"/>
                    <a:gd name="T74" fmla="*/ 2147483647 w 49"/>
                    <a:gd name="T75" fmla="*/ 2147483647 h 42"/>
                    <a:gd name="T76" fmla="*/ 2147483647 w 49"/>
                    <a:gd name="T77" fmla="*/ 2147483647 h 42"/>
                    <a:gd name="T78" fmla="*/ 2147483647 w 49"/>
                    <a:gd name="T79" fmla="*/ 2147483647 h 42"/>
                    <a:gd name="T80" fmla="*/ 2147483647 w 49"/>
                    <a:gd name="T81" fmla="*/ 2147483647 h 42"/>
                    <a:gd name="T82" fmla="*/ 2147483647 w 49"/>
                    <a:gd name="T83" fmla="*/ 2147483647 h 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
                    <a:gd name="T127" fmla="*/ 0 h 42"/>
                    <a:gd name="T128" fmla="*/ 49 w 49"/>
                    <a:gd name="T129" fmla="*/ 42 h 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 h="42">
                      <a:moveTo>
                        <a:pt x="43" y="42"/>
                      </a:moveTo>
                      <a:lnTo>
                        <a:pt x="46" y="41"/>
                      </a:lnTo>
                      <a:lnTo>
                        <a:pt x="47" y="38"/>
                      </a:lnTo>
                      <a:lnTo>
                        <a:pt x="47" y="36"/>
                      </a:lnTo>
                      <a:lnTo>
                        <a:pt x="47" y="33"/>
                      </a:lnTo>
                      <a:lnTo>
                        <a:pt x="44" y="29"/>
                      </a:lnTo>
                      <a:lnTo>
                        <a:pt x="43" y="28"/>
                      </a:lnTo>
                      <a:lnTo>
                        <a:pt x="44" y="25"/>
                      </a:lnTo>
                      <a:lnTo>
                        <a:pt x="47" y="20"/>
                      </a:lnTo>
                      <a:lnTo>
                        <a:pt x="48" y="16"/>
                      </a:lnTo>
                      <a:lnTo>
                        <a:pt x="49" y="10"/>
                      </a:lnTo>
                      <a:lnTo>
                        <a:pt x="49" y="4"/>
                      </a:lnTo>
                      <a:lnTo>
                        <a:pt x="43" y="4"/>
                      </a:lnTo>
                      <a:lnTo>
                        <a:pt x="38" y="3"/>
                      </a:lnTo>
                      <a:lnTo>
                        <a:pt x="32" y="0"/>
                      </a:lnTo>
                      <a:lnTo>
                        <a:pt x="23" y="0"/>
                      </a:lnTo>
                      <a:lnTo>
                        <a:pt x="20" y="1"/>
                      </a:lnTo>
                      <a:lnTo>
                        <a:pt x="18" y="3"/>
                      </a:lnTo>
                      <a:lnTo>
                        <a:pt x="16" y="5"/>
                      </a:lnTo>
                      <a:lnTo>
                        <a:pt x="18" y="9"/>
                      </a:lnTo>
                      <a:lnTo>
                        <a:pt x="19" y="11"/>
                      </a:lnTo>
                      <a:lnTo>
                        <a:pt x="21" y="12"/>
                      </a:lnTo>
                      <a:lnTo>
                        <a:pt x="26" y="16"/>
                      </a:lnTo>
                      <a:lnTo>
                        <a:pt x="29" y="17"/>
                      </a:lnTo>
                      <a:lnTo>
                        <a:pt x="30" y="19"/>
                      </a:lnTo>
                      <a:lnTo>
                        <a:pt x="32" y="20"/>
                      </a:lnTo>
                      <a:lnTo>
                        <a:pt x="29" y="23"/>
                      </a:lnTo>
                      <a:lnTo>
                        <a:pt x="26" y="25"/>
                      </a:lnTo>
                      <a:lnTo>
                        <a:pt x="24" y="25"/>
                      </a:lnTo>
                      <a:lnTo>
                        <a:pt x="16" y="25"/>
                      </a:lnTo>
                      <a:lnTo>
                        <a:pt x="9" y="25"/>
                      </a:lnTo>
                      <a:lnTo>
                        <a:pt x="5" y="25"/>
                      </a:lnTo>
                      <a:lnTo>
                        <a:pt x="1" y="28"/>
                      </a:lnTo>
                      <a:lnTo>
                        <a:pt x="0" y="29"/>
                      </a:lnTo>
                      <a:lnTo>
                        <a:pt x="0" y="30"/>
                      </a:lnTo>
                      <a:lnTo>
                        <a:pt x="2" y="33"/>
                      </a:lnTo>
                      <a:lnTo>
                        <a:pt x="5" y="35"/>
                      </a:lnTo>
                      <a:lnTo>
                        <a:pt x="9" y="36"/>
                      </a:lnTo>
                      <a:lnTo>
                        <a:pt x="18" y="36"/>
                      </a:lnTo>
                      <a:lnTo>
                        <a:pt x="26" y="36"/>
                      </a:lnTo>
                      <a:lnTo>
                        <a:pt x="35" y="38"/>
                      </a:lnTo>
                      <a:lnTo>
                        <a:pt x="43" y="4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0" name="Freeform 888"/>
                <p:cNvSpPr>
                  <a:spLocks/>
                </p:cNvSpPr>
                <p:nvPr/>
              </p:nvSpPr>
              <p:spPr bwMode="auto">
                <a:xfrm>
                  <a:off x="2593735" y="4307588"/>
                  <a:ext cx="78434" cy="75473"/>
                </a:xfrm>
                <a:custGeom>
                  <a:avLst/>
                  <a:gdLst>
                    <a:gd name="T0" fmla="*/ 2147483647 w 58"/>
                    <a:gd name="T1" fmla="*/ 2147483647 h 51"/>
                    <a:gd name="T2" fmla="*/ 2147483647 w 58"/>
                    <a:gd name="T3" fmla="*/ 2147483647 h 51"/>
                    <a:gd name="T4" fmla="*/ 2147483647 w 58"/>
                    <a:gd name="T5" fmla="*/ 2147483647 h 51"/>
                    <a:gd name="T6" fmla="*/ 2147483647 w 58"/>
                    <a:gd name="T7" fmla="*/ 2147483647 h 51"/>
                    <a:gd name="T8" fmla="*/ 2147483647 w 58"/>
                    <a:gd name="T9" fmla="*/ 2147483647 h 51"/>
                    <a:gd name="T10" fmla="*/ 2147483647 w 58"/>
                    <a:gd name="T11" fmla="*/ 2147483647 h 51"/>
                    <a:gd name="T12" fmla="*/ 2147483647 w 58"/>
                    <a:gd name="T13" fmla="*/ 2147483647 h 51"/>
                    <a:gd name="T14" fmla="*/ 2147483647 w 58"/>
                    <a:gd name="T15" fmla="*/ 2147483647 h 51"/>
                    <a:gd name="T16" fmla="*/ 2147483647 w 58"/>
                    <a:gd name="T17" fmla="*/ 2147483647 h 51"/>
                    <a:gd name="T18" fmla="*/ 2147483647 w 58"/>
                    <a:gd name="T19" fmla="*/ 2147483647 h 51"/>
                    <a:gd name="T20" fmla="*/ 2147483647 w 58"/>
                    <a:gd name="T21" fmla="*/ 2147483647 h 51"/>
                    <a:gd name="T22" fmla="*/ 2147483647 w 58"/>
                    <a:gd name="T23" fmla="*/ 2147483647 h 51"/>
                    <a:gd name="T24" fmla="*/ 2147483647 w 58"/>
                    <a:gd name="T25" fmla="*/ 2147483647 h 51"/>
                    <a:gd name="T26" fmla="*/ 2147483647 w 58"/>
                    <a:gd name="T27" fmla="*/ 2147483647 h 51"/>
                    <a:gd name="T28" fmla="*/ 2147483647 w 58"/>
                    <a:gd name="T29" fmla="*/ 2147483647 h 51"/>
                    <a:gd name="T30" fmla="*/ 2147483647 w 58"/>
                    <a:gd name="T31" fmla="*/ 2147483647 h 51"/>
                    <a:gd name="T32" fmla="*/ 2147483647 w 58"/>
                    <a:gd name="T33" fmla="*/ 2147483647 h 51"/>
                    <a:gd name="T34" fmla="*/ 2147483647 w 58"/>
                    <a:gd name="T35" fmla="*/ 2147483647 h 51"/>
                    <a:gd name="T36" fmla="*/ 2147483647 w 58"/>
                    <a:gd name="T37" fmla="*/ 2147483647 h 51"/>
                    <a:gd name="T38" fmla="*/ 2147483647 w 58"/>
                    <a:gd name="T39" fmla="*/ 2147483647 h 51"/>
                    <a:gd name="T40" fmla="*/ 2147483647 w 58"/>
                    <a:gd name="T41" fmla="*/ 2147483647 h 51"/>
                    <a:gd name="T42" fmla="*/ 2147483647 w 58"/>
                    <a:gd name="T43" fmla="*/ 2147483647 h 51"/>
                    <a:gd name="T44" fmla="*/ 2147483647 w 58"/>
                    <a:gd name="T45" fmla="*/ 2147483647 h 51"/>
                    <a:gd name="T46" fmla="*/ 2147483647 w 58"/>
                    <a:gd name="T47" fmla="*/ 2147483647 h 51"/>
                    <a:gd name="T48" fmla="*/ 2147483647 w 58"/>
                    <a:gd name="T49" fmla="*/ 2147483647 h 51"/>
                    <a:gd name="T50" fmla="*/ 2147483647 w 58"/>
                    <a:gd name="T51" fmla="*/ 2147483647 h 51"/>
                    <a:gd name="T52" fmla="*/ 2147483647 w 58"/>
                    <a:gd name="T53" fmla="*/ 2147483647 h 51"/>
                    <a:gd name="T54" fmla="*/ 2147483647 w 58"/>
                    <a:gd name="T55" fmla="*/ 2147483647 h 51"/>
                    <a:gd name="T56" fmla="*/ 2147483647 w 58"/>
                    <a:gd name="T57" fmla="*/ 2147483647 h 51"/>
                    <a:gd name="T58" fmla="*/ 2147483647 w 58"/>
                    <a:gd name="T59" fmla="*/ 2147483647 h 51"/>
                    <a:gd name="T60" fmla="*/ 2147483647 w 58"/>
                    <a:gd name="T61" fmla="*/ 2147483647 h 51"/>
                    <a:gd name="T62" fmla="*/ 2147483647 w 58"/>
                    <a:gd name="T63" fmla="*/ 2147483647 h 51"/>
                    <a:gd name="T64" fmla="*/ 2147483647 w 58"/>
                    <a:gd name="T65" fmla="*/ 2147483647 h 51"/>
                    <a:gd name="T66" fmla="*/ 2147483647 w 58"/>
                    <a:gd name="T67" fmla="*/ 2147483647 h 51"/>
                    <a:gd name="T68" fmla="*/ 2147483647 w 58"/>
                    <a:gd name="T69" fmla="*/ 2147483647 h 51"/>
                    <a:gd name="T70" fmla="*/ 2147483647 w 58"/>
                    <a:gd name="T71" fmla="*/ 2147483647 h 51"/>
                    <a:gd name="T72" fmla="*/ 2147483647 w 58"/>
                    <a:gd name="T73" fmla="*/ 2147483647 h 51"/>
                    <a:gd name="T74" fmla="*/ 0 w 58"/>
                    <a:gd name="T75" fmla="*/ 2147483647 h 51"/>
                    <a:gd name="T76" fmla="*/ 2147483647 w 58"/>
                    <a:gd name="T77" fmla="*/ 2147483647 h 51"/>
                    <a:gd name="T78" fmla="*/ 2147483647 w 58"/>
                    <a:gd name="T79" fmla="*/ 0 h 51"/>
                    <a:gd name="T80" fmla="*/ 2147483647 w 58"/>
                    <a:gd name="T81" fmla="*/ 2147483647 h 51"/>
                    <a:gd name="T82" fmla="*/ 2147483647 w 58"/>
                    <a:gd name="T83" fmla="*/ 2147483647 h 51"/>
                    <a:gd name="T84" fmla="*/ 2147483647 w 58"/>
                    <a:gd name="T85" fmla="*/ 2147483647 h 51"/>
                    <a:gd name="T86" fmla="*/ 2147483647 w 58"/>
                    <a:gd name="T87" fmla="*/ 2147483647 h 51"/>
                    <a:gd name="T88" fmla="*/ 2147483647 w 58"/>
                    <a:gd name="T89" fmla="*/ 2147483647 h 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51"/>
                    <a:gd name="T137" fmla="*/ 58 w 58"/>
                    <a:gd name="T138" fmla="*/ 51 h 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51">
                      <a:moveTo>
                        <a:pt x="36" y="2"/>
                      </a:moveTo>
                      <a:lnTo>
                        <a:pt x="39" y="4"/>
                      </a:lnTo>
                      <a:lnTo>
                        <a:pt x="41" y="7"/>
                      </a:lnTo>
                      <a:lnTo>
                        <a:pt x="42" y="12"/>
                      </a:lnTo>
                      <a:lnTo>
                        <a:pt x="44" y="19"/>
                      </a:lnTo>
                      <a:lnTo>
                        <a:pt x="46" y="20"/>
                      </a:lnTo>
                      <a:lnTo>
                        <a:pt x="49" y="21"/>
                      </a:lnTo>
                      <a:lnTo>
                        <a:pt x="51" y="21"/>
                      </a:lnTo>
                      <a:lnTo>
                        <a:pt x="55" y="22"/>
                      </a:lnTo>
                      <a:lnTo>
                        <a:pt x="51" y="29"/>
                      </a:lnTo>
                      <a:lnTo>
                        <a:pt x="51" y="33"/>
                      </a:lnTo>
                      <a:lnTo>
                        <a:pt x="53" y="35"/>
                      </a:lnTo>
                      <a:lnTo>
                        <a:pt x="56" y="42"/>
                      </a:lnTo>
                      <a:lnTo>
                        <a:pt x="58" y="46"/>
                      </a:lnTo>
                      <a:lnTo>
                        <a:pt x="55" y="50"/>
                      </a:lnTo>
                      <a:lnTo>
                        <a:pt x="50" y="50"/>
                      </a:lnTo>
                      <a:lnTo>
                        <a:pt x="45" y="51"/>
                      </a:lnTo>
                      <a:lnTo>
                        <a:pt x="42" y="51"/>
                      </a:lnTo>
                      <a:lnTo>
                        <a:pt x="41" y="50"/>
                      </a:lnTo>
                      <a:lnTo>
                        <a:pt x="39" y="46"/>
                      </a:lnTo>
                      <a:lnTo>
                        <a:pt x="39" y="41"/>
                      </a:lnTo>
                      <a:lnTo>
                        <a:pt x="37" y="36"/>
                      </a:lnTo>
                      <a:lnTo>
                        <a:pt x="36" y="35"/>
                      </a:lnTo>
                      <a:lnTo>
                        <a:pt x="35" y="34"/>
                      </a:lnTo>
                      <a:lnTo>
                        <a:pt x="31" y="33"/>
                      </a:lnTo>
                      <a:lnTo>
                        <a:pt x="28" y="31"/>
                      </a:lnTo>
                      <a:lnTo>
                        <a:pt x="26" y="28"/>
                      </a:lnTo>
                      <a:lnTo>
                        <a:pt x="23" y="27"/>
                      </a:lnTo>
                      <a:lnTo>
                        <a:pt x="22" y="27"/>
                      </a:lnTo>
                      <a:lnTo>
                        <a:pt x="21" y="28"/>
                      </a:lnTo>
                      <a:lnTo>
                        <a:pt x="21" y="31"/>
                      </a:lnTo>
                      <a:lnTo>
                        <a:pt x="19" y="31"/>
                      </a:lnTo>
                      <a:lnTo>
                        <a:pt x="14" y="32"/>
                      </a:lnTo>
                      <a:lnTo>
                        <a:pt x="9" y="29"/>
                      </a:lnTo>
                      <a:lnTo>
                        <a:pt x="7" y="27"/>
                      </a:lnTo>
                      <a:lnTo>
                        <a:pt x="4" y="22"/>
                      </a:lnTo>
                      <a:lnTo>
                        <a:pt x="3" y="14"/>
                      </a:lnTo>
                      <a:lnTo>
                        <a:pt x="0" y="4"/>
                      </a:lnTo>
                      <a:lnTo>
                        <a:pt x="3" y="2"/>
                      </a:lnTo>
                      <a:lnTo>
                        <a:pt x="4" y="0"/>
                      </a:lnTo>
                      <a:lnTo>
                        <a:pt x="13" y="1"/>
                      </a:lnTo>
                      <a:lnTo>
                        <a:pt x="21" y="2"/>
                      </a:lnTo>
                      <a:lnTo>
                        <a:pt x="28" y="3"/>
                      </a:lnTo>
                      <a:lnTo>
                        <a:pt x="32" y="3"/>
                      </a:lnTo>
                      <a:lnTo>
                        <a:pt x="3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1" name="Freeform 889"/>
                <p:cNvSpPr>
                  <a:spLocks/>
                </p:cNvSpPr>
                <p:nvPr/>
              </p:nvSpPr>
              <p:spPr bwMode="auto">
                <a:xfrm>
                  <a:off x="2866032" y="4045654"/>
                  <a:ext cx="66595" cy="62155"/>
                </a:xfrm>
                <a:custGeom>
                  <a:avLst/>
                  <a:gdLst>
                    <a:gd name="T0" fmla="*/ 2147483647 w 49"/>
                    <a:gd name="T1" fmla="*/ 2147483647 h 42"/>
                    <a:gd name="T2" fmla="*/ 2147483647 w 49"/>
                    <a:gd name="T3" fmla="*/ 2147483647 h 42"/>
                    <a:gd name="T4" fmla="*/ 2147483647 w 49"/>
                    <a:gd name="T5" fmla="*/ 2147483647 h 42"/>
                    <a:gd name="T6" fmla="*/ 2147483647 w 49"/>
                    <a:gd name="T7" fmla="*/ 2147483647 h 42"/>
                    <a:gd name="T8" fmla="*/ 2147483647 w 49"/>
                    <a:gd name="T9" fmla="*/ 2147483647 h 42"/>
                    <a:gd name="T10" fmla="*/ 2147483647 w 49"/>
                    <a:gd name="T11" fmla="*/ 2147483647 h 42"/>
                    <a:gd name="T12" fmla="*/ 2147483647 w 49"/>
                    <a:gd name="T13" fmla="*/ 2147483647 h 42"/>
                    <a:gd name="T14" fmla="*/ 2147483647 w 49"/>
                    <a:gd name="T15" fmla="*/ 2147483647 h 42"/>
                    <a:gd name="T16" fmla="*/ 2147483647 w 49"/>
                    <a:gd name="T17" fmla="*/ 2147483647 h 42"/>
                    <a:gd name="T18" fmla="*/ 2147483647 w 49"/>
                    <a:gd name="T19" fmla="*/ 2147483647 h 42"/>
                    <a:gd name="T20" fmla="*/ 2147483647 w 49"/>
                    <a:gd name="T21" fmla="*/ 2147483647 h 42"/>
                    <a:gd name="T22" fmla="*/ 2147483647 w 49"/>
                    <a:gd name="T23" fmla="*/ 2147483647 h 42"/>
                    <a:gd name="T24" fmla="*/ 2147483647 w 49"/>
                    <a:gd name="T25" fmla="*/ 2147483647 h 42"/>
                    <a:gd name="T26" fmla="*/ 2147483647 w 49"/>
                    <a:gd name="T27" fmla="*/ 2147483647 h 42"/>
                    <a:gd name="T28" fmla="*/ 2147483647 w 49"/>
                    <a:gd name="T29" fmla="*/ 2147483647 h 42"/>
                    <a:gd name="T30" fmla="*/ 2147483647 w 49"/>
                    <a:gd name="T31" fmla="*/ 2147483647 h 42"/>
                    <a:gd name="T32" fmla="*/ 2147483647 w 49"/>
                    <a:gd name="T33" fmla="*/ 2147483647 h 42"/>
                    <a:gd name="T34" fmla="*/ 2147483647 w 49"/>
                    <a:gd name="T35" fmla="*/ 2147483647 h 42"/>
                    <a:gd name="T36" fmla="*/ 2147483647 w 49"/>
                    <a:gd name="T37" fmla="*/ 2147483647 h 42"/>
                    <a:gd name="T38" fmla="*/ 2147483647 w 49"/>
                    <a:gd name="T39" fmla="*/ 0 h 42"/>
                    <a:gd name="T40" fmla="*/ 2147483647 w 49"/>
                    <a:gd name="T41" fmla="*/ 0 h 42"/>
                    <a:gd name="T42" fmla="*/ 2147483647 w 49"/>
                    <a:gd name="T43" fmla="*/ 2147483647 h 42"/>
                    <a:gd name="T44" fmla="*/ 2147483647 w 49"/>
                    <a:gd name="T45" fmla="*/ 2147483647 h 42"/>
                    <a:gd name="T46" fmla="*/ 2147483647 w 49"/>
                    <a:gd name="T47" fmla="*/ 2147483647 h 42"/>
                    <a:gd name="T48" fmla="*/ 2147483647 w 49"/>
                    <a:gd name="T49" fmla="*/ 2147483647 h 42"/>
                    <a:gd name="T50" fmla="*/ 2147483647 w 49"/>
                    <a:gd name="T51" fmla="*/ 2147483647 h 42"/>
                    <a:gd name="T52" fmla="*/ 2147483647 w 49"/>
                    <a:gd name="T53" fmla="*/ 2147483647 h 42"/>
                    <a:gd name="T54" fmla="*/ 2147483647 w 49"/>
                    <a:gd name="T55" fmla="*/ 2147483647 h 42"/>
                    <a:gd name="T56" fmla="*/ 2147483647 w 49"/>
                    <a:gd name="T57" fmla="*/ 2147483647 h 42"/>
                    <a:gd name="T58" fmla="*/ 2147483647 w 49"/>
                    <a:gd name="T59" fmla="*/ 2147483647 h 42"/>
                    <a:gd name="T60" fmla="*/ 2147483647 w 49"/>
                    <a:gd name="T61" fmla="*/ 2147483647 h 42"/>
                    <a:gd name="T62" fmla="*/ 2147483647 w 49"/>
                    <a:gd name="T63" fmla="*/ 2147483647 h 42"/>
                    <a:gd name="T64" fmla="*/ 2147483647 w 49"/>
                    <a:gd name="T65" fmla="*/ 2147483647 h 42"/>
                    <a:gd name="T66" fmla="*/ 2147483647 w 49"/>
                    <a:gd name="T67" fmla="*/ 2147483647 h 42"/>
                    <a:gd name="T68" fmla="*/ 2147483647 w 49"/>
                    <a:gd name="T69" fmla="*/ 2147483647 h 42"/>
                    <a:gd name="T70" fmla="*/ 2147483647 w 49"/>
                    <a:gd name="T71" fmla="*/ 2147483647 h 42"/>
                    <a:gd name="T72" fmla="*/ 2147483647 w 49"/>
                    <a:gd name="T73" fmla="*/ 2147483647 h 42"/>
                    <a:gd name="T74" fmla="*/ 2147483647 w 49"/>
                    <a:gd name="T75" fmla="*/ 2147483647 h 42"/>
                    <a:gd name="T76" fmla="*/ 2147483647 w 49"/>
                    <a:gd name="T77" fmla="*/ 2147483647 h 42"/>
                    <a:gd name="T78" fmla="*/ 2147483647 w 49"/>
                    <a:gd name="T79" fmla="*/ 2147483647 h 42"/>
                    <a:gd name="T80" fmla="*/ 2147483647 w 49"/>
                    <a:gd name="T81" fmla="*/ 2147483647 h 42"/>
                    <a:gd name="T82" fmla="*/ 0 w 49"/>
                    <a:gd name="T83" fmla="*/ 2147483647 h 42"/>
                    <a:gd name="T84" fmla="*/ 0 w 49"/>
                    <a:gd name="T85" fmla="*/ 2147483647 h 42"/>
                    <a:gd name="T86" fmla="*/ 2147483647 w 49"/>
                    <a:gd name="T87" fmla="*/ 2147483647 h 42"/>
                    <a:gd name="T88" fmla="*/ 2147483647 w 49"/>
                    <a:gd name="T89" fmla="*/ 2147483647 h 42"/>
                    <a:gd name="T90" fmla="*/ 2147483647 w 49"/>
                    <a:gd name="T91" fmla="*/ 2147483647 h 42"/>
                    <a:gd name="T92" fmla="*/ 2147483647 w 49"/>
                    <a:gd name="T93" fmla="*/ 2147483647 h 42"/>
                    <a:gd name="T94" fmla="*/ 2147483647 w 49"/>
                    <a:gd name="T95" fmla="*/ 2147483647 h 42"/>
                    <a:gd name="T96" fmla="*/ 2147483647 w 49"/>
                    <a:gd name="T97" fmla="*/ 2147483647 h 42"/>
                    <a:gd name="T98" fmla="*/ 2147483647 w 49"/>
                    <a:gd name="T99" fmla="*/ 2147483647 h 42"/>
                    <a:gd name="T100" fmla="*/ 2147483647 w 49"/>
                    <a:gd name="T101" fmla="*/ 2147483647 h 42"/>
                    <a:gd name="T102" fmla="*/ 2147483647 w 49"/>
                    <a:gd name="T103" fmla="*/ 2147483647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9"/>
                    <a:gd name="T157" fmla="*/ 0 h 42"/>
                    <a:gd name="T158" fmla="*/ 49 w 49"/>
                    <a:gd name="T159" fmla="*/ 42 h 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9" h="42">
                      <a:moveTo>
                        <a:pt x="43" y="42"/>
                      </a:moveTo>
                      <a:lnTo>
                        <a:pt x="43" y="42"/>
                      </a:lnTo>
                      <a:lnTo>
                        <a:pt x="45" y="40"/>
                      </a:lnTo>
                      <a:lnTo>
                        <a:pt x="47" y="38"/>
                      </a:lnTo>
                      <a:lnTo>
                        <a:pt x="47" y="36"/>
                      </a:lnTo>
                      <a:lnTo>
                        <a:pt x="47" y="33"/>
                      </a:lnTo>
                      <a:lnTo>
                        <a:pt x="44" y="29"/>
                      </a:lnTo>
                      <a:lnTo>
                        <a:pt x="43" y="27"/>
                      </a:lnTo>
                      <a:lnTo>
                        <a:pt x="44" y="25"/>
                      </a:lnTo>
                      <a:lnTo>
                        <a:pt x="47" y="20"/>
                      </a:lnTo>
                      <a:lnTo>
                        <a:pt x="48" y="15"/>
                      </a:lnTo>
                      <a:lnTo>
                        <a:pt x="49" y="10"/>
                      </a:lnTo>
                      <a:lnTo>
                        <a:pt x="49" y="4"/>
                      </a:lnTo>
                      <a:lnTo>
                        <a:pt x="43" y="4"/>
                      </a:lnTo>
                      <a:lnTo>
                        <a:pt x="38" y="2"/>
                      </a:lnTo>
                      <a:lnTo>
                        <a:pt x="31" y="0"/>
                      </a:lnTo>
                      <a:lnTo>
                        <a:pt x="22" y="0"/>
                      </a:lnTo>
                      <a:lnTo>
                        <a:pt x="20" y="1"/>
                      </a:lnTo>
                      <a:lnTo>
                        <a:pt x="17" y="2"/>
                      </a:lnTo>
                      <a:lnTo>
                        <a:pt x="16" y="5"/>
                      </a:lnTo>
                      <a:lnTo>
                        <a:pt x="17" y="8"/>
                      </a:lnTo>
                      <a:lnTo>
                        <a:pt x="19" y="11"/>
                      </a:lnTo>
                      <a:lnTo>
                        <a:pt x="21" y="12"/>
                      </a:lnTo>
                      <a:lnTo>
                        <a:pt x="26" y="15"/>
                      </a:lnTo>
                      <a:lnTo>
                        <a:pt x="29" y="17"/>
                      </a:lnTo>
                      <a:lnTo>
                        <a:pt x="30" y="19"/>
                      </a:lnTo>
                      <a:lnTo>
                        <a:pt x="31" y="20"/>
                      </a:lnTo>
                      <a:lnTo>
                        <a:pt x="29" y="23"/>
                      </a:lnTo>
                      <a:lnTo>
                        <a:pt x="26" y="25"/>
                      </a:lnTo>
                      <a:lnTo>
                        <a:pt x="24" y="25"/>
                      </a:lnTo>
                      <a:lnTo>
                        <a:pt x="16" y="25"/>
                      </a:lnTo>
                      <a:lnTo>
                        <a:pt x="8" y="25"/>
                      </a:lnTo>
                      <a:lnTo>
                        <a:pt x="5" y="25"/>
                      </a:lnTo>
                      <a:lnTo>
                        <a:pt x="1" y="27"/>
                      </a:lnTo>
                      <a:lnTo>
                        <a:pt x="0" y="29"/>
                      </a:lnTo>
                      <a:lnTo>
                        <a:pt x="0" y="30"/>
                      </a:lnTo>
                      <a:lnTo>
                        <a:pt x="2" y="33"/>
                      </a:lnTo>
                      <a:lnTo>
                        <a:pt x="5" y="34"/>
                      </a:lnTo>
                      <a:lnTo>
                        <a:pt x="8" y="36"/>
                      </a:lnTo>
                      <a:lnTo>
                        <a:pt x="17" y="36"/>
                      </a:lnTo>
                      <a:lnTo>
                        <a:pt x="26" y="36"/>
                      </a:lnTo>
                      <a:lnTo>
                        <a:pt x="35" y="38"/>
                      </a:lnTo>
                      <a:lnTo>
                        <a:pt x="43" y="4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2" name="Freeform 890"/>
                <p:cNvSpPr>
                  <a:spLocks/>
                </p:cNvSpPr>
                <p:nvPr/>
              </p:nvSpPr>
              <p:spPr bwMode="auto">
                <a:xfrm>
                  <a:off x="2592257" y="4306109"/>
                  <a:ext cx="78433" cy="75474"/>
                </a:xfrm>
                <a:custGeom>
                  <a:avLst/>
                  <a:gdLst>
                    <a:gd name="T0" fmla="*/ 2147483647 w 57"/>
                    <a:gd name="T1" fmla="*/ 2147483647 h 51"/>
                    <a:gd name="T2" fmla="*/ 2147483647 w 57"/>
                    <a:gd name="T3" fmla="*/ 2147483647 h 51"/>
                    <a:gd name="T4" fmla="*/ 2147483647 w 57"/>
                    <a:gd name="T5" fmla="*/ 2147483647 h 51"/>
                    <a:gd name="T6" fmla="*/ 2147483647 w 57"/>
                    <a:gd name="T7" fmla="*/ 2147483647 h 51"/>
                    <a:gd name="T8" fmla="*/ 2147483647 w 57"/>
                    <a:gd name="T9" fmla="*/ 2147483647 h 51"/>
                    <a:gd name="T10" fmla="*/ 2147483647 w 57"/>
                    <a:gd name="T11" fmla="*/ 2147483647 h 51"/>
                    <a:gd name="T12" fmla="*/ 2147483647 w 57"/>
                    <a:gd name="T13" fmla="*/ 2147483647 h 51"/>
                    <a:gd name="T14" fmla="*/ 2147483647 w 57"/>
                    <a:gd name="T15" fmla="*/ 2147483647 h 51"/>
                    <a:gd name="T16" fmla="*/ 2147483647 w 57"/>
                    <a:gd name="T17" fmla="*/ 2147483647 h 51"/>
                    <a:gd name="T18" fmla="*/ 2147483647 w 57"/>
                    <a:gd name="T19" fmla="*/ 2147483647 h 51"/>
                    <a:gd name="T20" fmla="*/ 2147483647 w 57"/>
                    <a:gd name="T21" fmla="*/ 2147483647 h 51"/>
                    <a:gd name="T22" fmla="*/ 2147483647 w 57"/>
                    <a:gd name="T23" fmla="*/ 2147483647 h 51"/>
                    <a:gd name="T24" fmla="*/ 2147483647 w 57"/>
                    <a:gd name="T25" fmla="*/ 2147483647 h 51"/>
                    <a:gd name="T26" fmla="*/ 2147483647 w 57"/>
                    <a:gd name="T27" fmla="*/ 2147483647 h 51"/>
                    <a:gd name="T28" fmla="*/ 2147483647 w 57"/>
                    <a:gd name="T29" fmla="*/ 2147483647 h 51"/>
                    <a:gd name="T30" fmla="*/ 2147483647 w 57"/>
                    <a:gd name="T31" fmla="*/ 2147483647 h 51"/>
                    <a:gd name="T32" fmla="*/ 2147483647 w 57"/>
                    <a:gd name="T33" fmla="*/ 2147483647 h 51"/>
                    <a:gd name="T34" fmla="*/ 2147483647 w 57"/>
                    <a:gd name="T35" fmla="*/ 2147483647 h 51"/>
                    <a:gd name="T36" fmla="*/ 2147483647 w 57"/>
                    <a:gd name="T37" fmla="*/ 2147483647 h 51"/>
                    <a:gd name="T38" fmla="*/ 2147483647 w 57"/>
                    <a:gd name="T39" fmla="*/ 2147483647 h 51"/>
                    <a:gd name="T40" fmla="*/ 2147483647 w 57"/>
                    <a:gd name="T41" fmla="*/ 2147483647 h 51"/>
                    <a:gd name="T42" fmla="*/ 2147483647 w 57"/>
                    <a:gd name="T43" fmla="*/ 2147483647 h 51"/>
                    <a:gd name="T44" fmla="*/ 2147483647 w 57"/>
                    <a:gd name="T45" fmla="*/ 2147483647 h 51"/>
                    <a:gd name="T46" fmla="*/ 2147483647 w 57"/>
                    <a:gd name="T47" fmla="*/ 2147483647 h 51"/>
                    <a:gd name="T48" fmla="*/ 2147483647 w 57"/>
                    <a:gd name="T49" fmla="*/ 2147483647 h 51"/>
                    <a:gd name="T50" fmla="*/ 2147483647 w 57"/>
                    <a:gd name="T51" fmla="*/ 2147483647 h 51"/>
                    <a:gd name="T52" fmla="*/ 2147483647 w 57"/>
                    <a:gd name="T53" fmla="*/ 2147483647 h 51"/>
                    <a:gd name="T54" fmla="*/ 2147483647 w 57"/>
                    <a:gd name="T55" fmla="*/ 2147483647 h 51"/>
                    <a:gd name="T56" fmla="*/ 2147483647 w 57"/>
                    <a:gd name="T57" fmla="*/ 2147483647 h 51"/>
                    <a:gd name="T58" fmla="*/ 2147483647 w 57"/>
                    <a:gd name="T59" fmla="*/ 2147483647 h 51"/>
                    <a:gd name="T60" fmla="*/ 2147483647 w 57"/>
                    <a:gd name="T61" fmla="*/ 2147483647 h 51"/>
                    <a:gd name="T62" fmla="*/ 2147483647 w 57"/>
                    <a:gd name="T63" fmla="*/ 2147483647 h 51"/>
                    <a:gd name="T64" fmla="*/ 2147483647 w 57"/>
                    <a:gd name="T65" fmla="*/ 2147483647 h 51"/>
                    <a:gd name="T66" fmla="*/ 2147483647 w 57"/>
                    <a:gd name="T67" fmla="*/ 2147483647 h 51"/>
                    <a:gd name="T68" fmla="*/ 2147483647 w 57"/>
                    <a:gd name="T69" fmla="*/ 2147483647 h 51"/>
                    <a:gd name="T70" fmla="*/ 2147483647 w 57"/>
                    <a:gd name="T71" fmla="*/ 2147483647 h 51"/>
                    <a:gd name="T72" fmla="*/ 2147483647 w 57"/>
                    <a:gd name="T73" fmla="*/ 2147483647 h 51"/>
                    <a:gd name="T74" fmla="*/ 2147483647 w 57"/>
                    <a:gd name="T75" fmla="*/ 2147483647 h 51"/>
                    <a:gd name="T76" fmla="*/ 2147483647 w 57"/>
                    <a:gd name="T77" fmla="*/ 2147483647 h 51"/>
                    <a:gd name="T78" fmla="*/ 2147483647 w 57"/>
                    <a:gd name="T79" fmla="*/ 2147483647 h 51"/>
                    <a:gd name="T80" fmla="*/ 2147483647 w 57"/>
                    <a:gd name="T81" fmla="*/ 2147483647 h 51"/>
                    <a:gd name="T82" fmla="*/ 2147483647 w 57"/>
                    <a:gd name="T83" fmla="*/ 2147483647 h 51"/>
                    <a:gd name="T84" fmla="*/ 2147483647 w 57"/>
                    <a:gd name="T85" fmla="*/ 2147483647 h 51"/>
                    <a:gd name="T86" fmla="*/ 2147483647 w 57"/>
                    <a:gd name="T87" fmla="*/ 2147483647 h 51"/>
                    <a:gd name="T88" fmla="*/ 2147483647 w 57"/>
                    <a:gd name="T89" fmla="*/ 2147483647 h 51"/>
                    <a:gd name="T90" fmla="*/ 2147483647 w 57"/>
                    <a:gd name="T91" fmla="*/ 2147483647 h 51"/>
                    <a:gd name="T92" fmla="*/ 2147483647 w 57"/>
                    <a:gd name="T93" fmla="*/ 2147483647 h 51"/>
                    <a:gd name="T94" fmla="*/ 2147483647 w 57"/>
                    <a:gd name="T95" fmla="*/ 2147483647 h 51"/>
                    <a:gd name="T96" fmla="*/ 2147483647 w 57"/>
                    <a:gd name="T97" fmla="*/ 2147483647 h 51"/>
                    <a:gd name="T98" fmla="*/ 0 w 57"/>
                    <a:gd name="T99" fmla="*/ 2147483647 h 51"/>
                    <a:gd name="T100" fmla="*/ 0 w 57"/>
                    <a:gd name="T101" fmla="*/ 2147483647 h 51"/>
                    <a:gd name="T102" fmla="*/ 2147483647 w 57"/>
                    <a:gd name="T103" fmla="*/ 2147483647 h 51"/>
                    <a:gd name="T104" fmla="*/ 2147483647 w 57"/>
                    <a:gd name="T105" fmla="*/ 0 h 51"/>
                    <a:gd name="T106" fmla="*/ 2147483647 w 57"/>
                    <a:gd name="T107" fmla="*/ 0 h 51"/>
                    <a:gd name="T108" fmla="*/ 2147483647 w 57"/>
                    <a:gd name="T109" fmla="*/ 2147483647 h 51"/>
                    <a:gd name="T110" fmla="*/ 2147483647 w 57"/>
                    <a:gd name="T111" fmla="*/ 2147483647 h 51"/>
                    <a:gd name="T112" fmla="*/ 2147483647 w 57"/>
                    <a:gd name="T113" fmla="*/ 2147483647 h 51"/>
                    <a:gd name="T114" fmla="*/ 2147483647 w 57"/>
                    <a:gd name="T115" fmla="*/ 2147483647 h 51"/>
                    <a:gd name="T116" fmla="*/ 2147483647 w 57"/>
                    <a:gd name="T117" fmla="*/ 2147483647 h 51"/>
                    <a:gd name="T118" fmla="*/ 2147483647 w 57"/>
                    <a:gd name="T119" fmla="*/ 2147483647 h 5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7"/>
                    <a:gd name="T181" fmla="*/ 0 h 51"/>
                    <a:gd name="T182" fmla="*/ 57 w 57"/>
                    <a:gd name="T183" fmla="*/ 51 h 5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7" h="51">
                      <a:moveTo>
                        <a:pt x="36" y="2"/>
                      </a:moveTo>
                      <a:lnTo>
                        <a:pt x="36" y="2"/>
                      </a:lnTo>
                      <a:lnTo>
                        <a:pt x="38" y="4"/>
                      </a:lnTo>
                      <a:lnTo>
                        <a:pt x="41" y="7"/>
                      </a:lnTo>
                      <a:lnTo>
                        <a:pt x="42" y="11"/>
                      </a:lnTo>
                      <a:lnTo>
                        <a:pt x="43" y="19"/>
                      </a:lnTo>
                      <a:lnTo>
                        <a:pt x="46" y="20"/>
                      </a:lnTo>
                      <a:lnTo>
                        <a:pt x="48" y="21"/>
                      </a:lnTo>
                      <a:lnTo>
                        <a:pt x="51" y="21"/>
                      </a:lnTo>
                      <a:lnTo>
                        <a:pt x="55" y="22"/>
                      </a:lnTo>
                      <a:lnTo>
                        <a:pt x="51" y="29"/>
                      </a:lnTo>
                      <a:lnTo>
                        <a:pt x="51" y="33"/>
                      </a:lnTo>
                      <a:lnTo>
                        <a:pt x="52" y="35"/>
                      </a:lnTo>
                      <a:lnTo>
                        <a:pt x="56" y="42"/>
                      </a:lnTo>
                      <a:lnTo>
                        <a:pt x="57" y="46"/>
                      </a:lnTo>
                      <a:lnTo>
                        <a:pt x="55" y="49"/>
                      </a:lnTo>
                      <a:lnTo>
                        <a:pt x="50" y="49"/>
                      </a:lnTo>
                      <a:lnTo>
                        <a:pt x="45" y="51"/>
                      </a:lnTo>
                      <a:lnTo>
                        <a:pt x="42" y="51"/>
                      </a:lnTo>
                      <a:lnTo>
                        <a:pt x="41" y="49"/>
                      </a:lnTo>
                      <a:lnTo>
                        <a:pt x="38" y="46"/>
                      </a:lnTo>
                      <a:lnTo>
                        <a:pt x="38" y="41"/>
                      </a:lnTo>
                      <a:lnTo>
                        <a:pt x="37" y="36"/>
                      </a:lnTo>
                      <a:lnTo>
                        <a:pt x="36" y="35"/>
                      </a:lnTo>
                      <a:lnTo>
                        <a:pt x="34" y="34"/>
                      </a:lnTo>
                      <a:lnTo>
                        <a:pt x="31" y="33"/>
                      </a:lnTo>
                      <a:lnTo>
                        <a:pt x="28" y="30"/>
                      </a:lnTo>
                      <a:lnTo>
                        <a:pt x="26" y="28"/>
                      </a:lnTo>
                      <a:lnTo>
                        <a:pt x="23" y="27"/>
                      </a:lnTo>
                      <a:lnTo>
                        <a:pt x="22" y="27"/>
                      </a:lnTo>
                      <a:lnTo>
                        <a:pt x="20" y="28"/>
                      </a:lnTo>
                      <a:lnTo>
                        <a:pt x="20" y="30"/>
                      </a:lnTo>
                      <a:lnTo>
                        <a:pt x="19" y="30"/>
                      </a:lnTo>
                      <a:lnTo>
                        <a:pt x="14" y="32"/>
                      </a:lnTo>
                      <a:lnTo>
                        <a:pt x="9" y="29"/>
                      </a:lnTo>
                      <a:lnTo>
                        <a:pt x="7" y="27"/>
                      </a:lnTo>
                      <a:lnTo>
                        <a:pt x="4" y="22"/>
                      </a:lnTo>
                      <a:lnTo>
                        <a:pt x="3" y="14"/>
                      </a:lnTo>
                      <a:lnTo>
                        <a:pt x="0" y="4"/>
                      </a:lnTo>
                      <a:lnTo>
                        <a:pt x="3" y="2"/>
                      </a:lnTo>
                      <a:lnTo>
                        <a:pt x="4" y="0"/>
                      </a:lnTo>
                      <a:lnTo>
                        <a:pt x="13" y="1"/>
                      </a:lnTo>
                      <a:lnTo>
                        <a:pt x="20" y="2"/>
                      </a:lnTo>
                      <a:lnTo>
                        <a:pt x="28" y="3"/>
                      </a:lnTo>
                      <a:lnTo>
                        <a:pt x="32" y="3"/>
                      </a:lnTo>
                      <a:lnTo>
                        <a:pt x="36"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3" name="Freeform 891"/>
                <p:cNvSpPr>
                  <a:spLocks/>
                </p:cNvSpPr>
                <p:nvPr/>
              </p:nvSpPr>
              <p:spPr bwMode="auto">
                <a:xfrm>
                  <a:off x="2552299" y="4186243"/>
                  <a:ext cx="102112" cy="127269"/>
                </a:xfrm>
                <a:custGeom>
                  <a:avLst/>
                  <a:gdLst>
                    <a:gd name="T0" fmla="*/ 2147483647 w 75"/>
                    <a:gd name="T1" fmla="*/ 2147483647 h 86"/>
                    <a:gd name="T2" fmla="*/ 2147483647 w 75"/>
                    <a:gd name="T3" fmla="*/ 2147483647 h 86"/>
                    <a:gd name="T4" fmla="*/ 2147483647 w 75"/>
                    <a:gd name="T5" fmla="*/ 2147483647 h 86"/>
                    <a:gd name="T6" fmla="*/ 2147483647 w 75"/>
                    <a:gd name="T7" fmla="*/ 2147483647 h 86"/>
                    <a:gd name="T8" fmla="*/ 2147483647 w 75"/>
                    <a:gd name="T9" fmla="*/ 2147483647 h 86"/>
                    <a:gd name="T10" fmla="*/ 2147483647 w 75"/>
                    <a:gd name="T11" fmla="*/ 2147483647 h 86"/>
                    <a:gd name="T12" fmla="*/ 2147483647 w 75"/>
                    <a:gd name="T13" fmla="*/ 2147483647 h 86"/>
                    <a:gd name="T14" fmla="*/ 2147483647 w 75"/>
                    <a:gd name="T15" fmla="*/ 2147483647 h 86"/>
                    <a:gd name="T16" fmla="*/ 2147483647 w 75"/>
                    <a:gd name="T17" fmla="*/ 2147483647 h 86"/>
                    <a:gd name="T18" fmla="*/ 2147483647 w 75"/>
                    <a:gd name="T19" fmla="*/ 2147483647 h 86"/>
                    <a:gd name="T20" fmla="*/ 2147483647 w 75"/>
                    <a:gd name="T21" fmla="*/ 2147483647 h 86"/>
                    <a:gd name="T22" fmla="*/ 2147483647 w 75"/>
                    <a:gd name="T23" fmla="*/ 2147483647 h 86"/>
                    <a:gd name="T24" fmla="*/ 2147483647 w 75"/>
                    <a:gd name="T25" fmla="*/ 2147483647 h 86"/>
                    <a:gd name="T26" fmla="*/ 2147483647 w 75"/>
                    <a:gd name="T27" fmla="*/ 2147483647 h 86"/>
                    <a:gd name="T28" fmla="*/ 2147483647 w 75"/>
                    <a:gd name="T29" fmla="*/ 2147483647 h 86"/>
                    <a:gd name="T30" fmla="*/ 2147483647 w 75"/>
                    <a:gd name="T31" fmla="*/ 2147483647 h 86"/>
                    <a:gd name="T32" fmla="*/ 2147483647 w 75"/>
                    <a:gd name="T33" fmla="*/ 2147483647 h 86"/>
                    <a:gd name="T34" fmla="*/ 2147483647 w 75"/>
                    <a:gd name="T35" fmla="*/ 2147483647 h 86"/>
                    <a:gd name="T36" fmla="*/ 2147483647 w 75"/>
                    <a:gd name="T37" fmla="*/ 2147483647 h 86"/>
                    <a:gd name="T38" fmla="*/ 2147483647 w 75"/>
                    <a:gd name="T39" fmla="*/ 2147483647 h 86"/>
                    <a:gd name="T40" fmla="*/ 2147483647 w 75"/>
                    <a:gd name="T41" fmla="*/ 0 h 86"/>
                    <a:gd name="T42" fmla="*/ 2147483647 w 75"/>
                    <a:gd name="T43" fmla="*/ 2147483647 h 86"/>
                    <a:gd name="T44" fmla="*/ 2147483647 w 75"/>
                    <a:gd name="T45" fmla="*/ 2147483647 h 86"/>
                    <a:gd name="T46" fmla="*/ 2147483647 w 75"/>
                    <a:gd name="T47" fmla="*/ 2147483647 h 86"/>
                    <a:gd name="T48" fmla="*/ 2147483647 w 75"/>
                    <a:gd name="T49" fmla="*/ 2147483647 h 86"/>
                    <a:gd name="T50" fmla="*/ 2147483647 w 75"/>
                    <a:gd name="T51" fmla="*/ 2147483647 h 86"/>
                    <a:gd name="T52" fmla="*/ 2147483647 w 75"/>
                    <a:gd name="T53" fmla="*/ 2147483647 h 86"/>
                    <a:gd name="T54" fmla="*/ 2147483647 w 75"/>
                    <a:gd name="T55" fmla="*/ 2147483647 h 86"/>
                    <a:gd name="T56" fmla="*/ 2147483647 w 75"/>
                    <a:gd name="T57" fmla="*/ 2147483647 h 86"/>
                    <a:gd name="T58" fmla="*/ 2147483647 w 75"/>
                    <a:gd name="T59" fmla="*/ 2147483647 h 86"/>
                    <a:gd name="T60" fmla="*/ 2147483647 w 75"/>
                    <a:gd name="T61" fmla="*/ 2147483647 h 86"/>
                    <a:gd name="T62" fmla="*/ 2147483647 w 75"/>
                    <a:gd name="T63" fmla="*/ 2147483647 h 86"/>
                    <a:gd name="T64" fmla="*/ 2147483647 w 75"/>
                    <a:gd name="T65" fmla="*/ 2147483647 h 86"/>
                    <a:gd name="T66" fmla="*/ 2147483647 w 75"/>
                    <a:gd name="T67" fmla="*/ 2147483647 h 86"/>
                    <a:gd name="T68" fmla="*/ 2147483647 w 75"/>
                    <a:gd name="T69" fmla="*/ 2147483647 h 86"/>
                    <a:gd name="T70" fmla="*/ 2147483647 w 75"/>
                    <a:gd name="T71" fmla="*/ 2147483647 h 86"/>
                    <a:gd name="T72" fmla="*/ 2147483647 w 75"/>
                    <a:gd name="T73" fmla="*/ 2147483647 h 86"/>
                    <a:gd name="T74" fmla="*/ 2147483647 w 75"/>
                    <a:gd name="T75" fmla="*/ 2147483647 h 86"/>
                    <a:gd name="T76" fmla="*/ 0 w 75"/>
                    <a:gd name="T77" fmla="*/ 2147483647 h 86"/>
                    <a:gd name="T78" fmla="*/ 2147483647 w 75"/>
                    <a:gd name="T79" fmla="*/ 2147483647 h 86"/>
                    <a:gd name="T80" fmla="*/ 2147483647 w 75"/>
                    <a:gd name="T81" fmla="*/ 2147483647 h 86"/>
                    <a:gd name="T82" fmla="*/ 2147483647 w 75"/>
                    <a:gd name="T83" fmla="*/ 2147483647 h 86"/>
                    <a:gd name="T84" fmla="*/ 2147483647 w 75"/>
                    <a:gd name="T85" fmla="*/ 2147483647 h 86"/>
                    <a:gd name="T86" fmla="*/ 2147483647 w 75"/>
                    <a:gd name="T87" fmla="*/ 2147483647 h 86"/>
                    <a:gd name="T88" fmla="*/ 2147483647 w 75"/>
                    <a:gd name="T89" fmla="*/ 2147483647 h 86"/>
                    <a:gd name="T90" fmla="*/ 2147483647 w 75"/>
                    <a:gd name="T91" fmla="*/ 2147483647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86"/>
                    <a:gd name="T140" fmla="*/ 75 w 75"/>
                    <a:gd name="T141" fmla="*/ 86 h 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86">
                      <a:moveTo>
                        <a:pt x="30" y="86"/>
                      </a:moveTo>
                      <a:lnTo>
                        <a:pt x="33" y="84"/>
                      </a:lnTo>
                      <a:lnTo>
                        <a:pt x="34" y="82"/>
                      </a:lnTo>
                      <a:lnTo>
                        <a:pt x="43" y="83"/>
                      </a:lnTo>
                      <a:lnTo>
                        <a:pt x="51" y="84"/>
                      </a:lnTo>
                      <a:lnTo>
                        <a:pt x="58" y="85"/>
                      </a:lnTo>
                      <a:lnTo>
                        <a:pt x="62" y="85"/>
                      </a:lnTo>
                      <a:lnTo>
                        <a:pt x="66" y="84"/>
                      </a:lnTo>
                      <a:lnTo>
                        <a:pt x="65" y="82"/>
                      </a:lnTo>
                      <a:lnTo>
                        <a:pt x="65" y="78"/>
                      </a:lnTo>
                      <a:lnTo>
                        <a:pt x="65" y="75"/>
                      </a:lnTo>
                      <a:lnTo>
                        <a:pt x="67" y="68"/>
                      </a:lnTo>
                      <a:lnTo>
                        <a:pt x="69" y="60"/>
                      </a:lnTo>
                      <a:lnTo>
                        <a:pt x="69" y="52"/>
                      </a:lnTo>
                      <a:lnTo>
                        <a:pt x="70" y="50"/>
                      </a:lnTo>
                      <a:lnTo>
                        <a:pt x="71" y="46"/>
                      </a:lnTo>
                      <a:lnTo>
                        <a:pt x="72" y="38"/>
                      </a:lnTo>
                      <a:lnTo>
                        <a:pt x="72" y="30"/>
                      </a:lnTo>
                      <a:lnTo>
                        <a:pt x="71" y="21"/>
                      </a:lnTo>
                      <a:lnTo>
                        <a:pt x="72" y="12"/>
                      </a:lnTo>
                      <a:lnTo>
                        <a:pt x="75" y="0"/>
                      </a:lnTo>
                      <a:lnTo>
                        <a:pt x="71" y="1"/>
                      </a:lnTo>
                      <a:lnTo>
                        <a:pt x="66" y="2"/>
                      </a:lnTo>
                      <a:lnTo>
                        <a:pt x="58" y="8"/>
                      </a:lnTo>
                      <a:lnTo>
                        <a:pt x="55" y="9"/>
                      </a:lnTo>
                      <a:lnTo>
                        <a:pt x="51" y="9"/>
                      </a:lnTo>
                      <a:lnTo>
                        <a:pt x="47" y="9"/>
                      </a:lnTo>
                      <a:lnTo>
                        <a:pt x="44" y="12"/>
                      </a:lnTo>
                      <a:lnTo>
                        <a:pt x="34" y="20"/>
                      </a:lnTo>
                      <a:lnTo>
                        <a:pt x="30" y="24"/>
                      </a:lnTo>
                      <a:lnTo>
                        <a:pt x="27" y="25"/>
                      </a:lnTo>
                      <a:lnTo>
                        <a:pt x="22" y="26"/>
                      </a:lnTo>
                      <a:lnTo>
                        <a:pt x="16" y="27"/>
                      </a:lnTo>
                      <a:lnTo>
                        <a:pt x="11" y="28"/>
                      </a:lnTo>
                      <a:lnTo>
                        <a:pt x="10" y="30"/>
                      </a:lnTo>
                      <a:lnTo>
                        <a:pt x="10" y="32"/>
                      </a:lnTo>
                      <a:lnTo>
                        <a:pt x="9" y="34"/>
                      </a:lnTo>
                      <a:lnTo>
                        <a:pt x="4" y="38"/>
                      </a:lnTo>
                      <a:lnTo>
                        <a:pt x="0" y="41"/>
                      </a:lnTo>
                      <a:lnTo>
                        <a:pt x="5" y="46"/>
                      </a:lnTo>
                      <a:lnTo>
                        <a:pt x="8" y="52"/>
                      </a:lnTo>
                      <a:lnTo>
                        <a:pt x="11" y="60"/>
                      </a:lnTo>
                      <a:lnTo>
                        <a:pt x="15" y="66"/>
                      </a:lnTo>
                      <a:lnTo>
                        <a:pt x="27" y="79"/>
                      </a:lnTo>
                      <a:lnTo>
                        <a:pt x="29" y="83"/>
                      </a:lnTo>
                      <a:lnTo>
                        <a:pt x="30" y="8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4" name="Freeform 892"/>
                <p:cNvSpPr>
                  <a:spLocks/>
                </p:cNvSpPr>
                <p:nvPr/>
              </p:nvSpPr>
              <p:spPr bwMode="auto">
                <a:xfrm>
                  <a:off x="2512342" y="4167000"/>
                  <a:ext cx="142068" cy="79913"/>
                </a:xfrm>
                <a:custGeom>
                  <a:avLst/>
                  <a:gdLst>
                    <a:gd name="T0" fmla="*/ 2147483647 w 104"/>
                    <a:gd name="T1" fmla="*/ 2147483647 h 54"/>
                    <a:gd name="T2" fmla="*/ 2147483647 w 104"/>
                    <a:gd name="T3" fmla="*/ 2147483647 h 54"/>
                    <a:gd name="T4" fmla="*/ 2147483647 w 104"/>
                    <a:gd name="T5" fmla="*/ 2147483647 h 54"/>
                    <a:gd name="T6" fmla="*/ 2147483647 w 104"/>
                    <a:gd name="T7" fmla="*/ 2147483647 h 54"/>
                    <a:gd name="T8" fmla="*/ 2147483647 w 104"/>
                    <a:gd name="T9" fmla="*/ 2147483647 h 54"/>
                    <a:gd name="T10" fmla="*/ 2147483647 w 104"/>
                    <a:gd name="T11" fmla="*/ 2147483647 h 54"/>
                    <a:gd name="T12" fmla="*/ 2147483647 w 104"/>
                    <a:gd name="T13" fmla="*/ 2147483647 h 54"/>
                    <a:gd name="T14" fmla="*/ 2147483647 w 104"/>
                    <a:gd name="T15" fmla="*/ 2147483647 h 54"/>
                    <a:gd name="T16" fmla="*/ 2147483647 w 104"/>
                    <a:gd name="T17" fmla="*/ 2147483647 h 54"/>
                    <a:gd name="T18" fmla="*/ 2147483647 w 104"/>
                    <a:gd name="T19" fmla="*/ 2147483647 h 54"/>
                    <a:gd name="T20" fmla="*/ 2147483647 w 104"/>
                    <a:gd name="T21" fmla="*/ 2147483647 h 54"/>
                    <a:gd name="T22" fmla="*/ 2147483647 w 104"/>
                    <a:gd name="T23" fmla="*/ 2147483647 h 54"/>
                    <a:gd name="T24" fmla="*/ 2147483647 w 104"/>
                    <a:gd name="T25" fmla="*/ 2147483647 h 54"/>
                    <a:gd name="T26" fmla="*/ 2147483647 w 104"/>
                    <a:gd name="T27" fmla="*/ 2147483647 h 54"/>
                    <a:gd name="T28" fmla="*/ 2147483647 w 104"/>
                    <a:gd name="T29" fmla="*/ 2147483647 h 54"/>
                    <a:gd name="T30" fmla="*/ 2147483647 w 104"/>
                    <a:gd name="T31" fmla="*/ 2147483647 h 54"/>
                    <a:gd name="T32" fmla="*/ 2147483647 w 104"/>
                    <a:gd name="T33" fmla="*/ 2147483647 h 54"/>
                    <a:gd name="T34" fmla="*/ 2147483647 w 104"/>
                    <a:gd name="T35" fmla="*/ 2147483647 h 54"/>
                    <a:gd name="T36" fmla="*/ 2147483647 w 104"/>
                    <a:gd name="T37" fmla="*/ 2147483647 h 54"/>
                    <a:gd name="T38" fmla="*/ 2147483647 w 104"/>
                    <a:gd name="T39" fmla="*/ 2147483647 h 54"/>
                    <a:gd name="T40" fmla="*/ 2147483647 w 104"/>
                    <a:gd name="T41" fmla="*/ 2147483647 h 54"/>
                    <a:gd name="T42" fmla="*/ 2147483647 w 104"/>
                    <a:gd name="T43" fmla="*/ 2147483647 h 54"/>
                    <a:gd name="T44" fmla="*/ 2147483647 w 104"/>
                    <a:gd name="T45" fmla="*/ 2147483647 h 54"/>
                    <a:gd name="T46" fmla="*/ 2147483647 w 104"/>
                    <a:gd name="T47" fmla="*/ 0 h 54"/>
                    <a:gd name="T48" fmla="*/ 2147483647 w 104"/>
                    <a:gd name="T49" fmla="*/ 2147483647 h 54"/>
                    <a:gd name="T50" fmla="*/ 2147483647 w 104"/>
                    <a:gd name="T51" fmla="*/ 2147483647 h 54"/>
                    <a:gd name="T52" fmla="*/ 2147483647 w 104"/>
                    <a:gd name="T53" fmla="*/ 0 h 54"/>
                    <a:gd name="T54" fmla="*/ 2147483647 w 104"/>
                    <a:gd name="T55" fmla="*/ 0 h 54"/>
                    <a:gd name="T56" fmla="*/ 2147483647 w 104"/>
                    <a:gd name="T57" fmla="*/ 2147483647 h 54"/>
                    <a:gd name="T58" fmla="*/ 2147483647 w 104"/>
                    <a:gd name="T59" fmla="*/ 2147483647 h 54"/>
                    <a:gd name="T60" fmla="*/ 2147483647 w 104"/>
                    <a:gd name="T61" fmla="*/ 2147483647 h 54"/>
                    <a:gd name="T62" fmla="*/ 2147483647 w 104"/>
                    <a:gd name="T63" fmla="*/ 2147483647 h 54"/>
                    <a:gd name="T64" fmla="*/ 2147483647 w 104"/>
                    <a:gd name="T65" fmla="*/ 2147483647 h 54"/>
                    <a:gd name="T66" fmla="*/ 2147483647 w 104"/>
                    <a:gd name="T67" fmla="*/ 2147483647 h 54"/>
                    <a:gd name="T68" fmla="*/ 2147483647 w 104"/>
                    <a:gd name="T69" fmla="*/ 2147483647 h 54"/>
                    <a:gd name="T70" fmla="*/ 2147483647 w 104"/>
                    <a:gd name="T71" fmla="*/ 2147483647 h 54"/>
                    <a:gd name="T72" fmla="*/ 0 w 104"/>
                    <a:gd name="T73" fmla="*/ 2147483647 h 54"/>
                    <a:gd name="T74" fmla="*/ 0 w 104"/>
                    <a:gd name="T75" fmla="*/ 2147483647 h 54"/>
                    <a:gd name="T76" fmla="*/ 0 w 104"/>
                    <a:gd name="T77" fmla="*/ 2147483647 h 54"/>
                    <a:gd name="T78" fmla="*/ 2147483647 w 104"/>
                    <a:gd name="T79" fmla="*/ 2147483647 h 54"/>
                    <a:gd name="T80" fmla="*/ 2147483647 w 104"/>
                    <a:gd name="T81" fmla="*/ 2147483647 h 54"/>
                    <a:gd name="T82" fmla="*/ 2147483647 w 104"/>
                    <a:gd name="T83" fmla="*/ 2147483647 h 54"/>
                    <a:gd name="T84" fmla="*/ 2147483647 w 104"/>
                    <a:gd name="T85" fmla="*/ 2147483647 h 54"/>
                    <a:gd name="T86" fmla="*/ 2147483647 w 104"/>
                    <a:gd name="T87" fmla="*/ 2147483647 h 54"/>
                    <a:gd name="T88" fmla="*/ 2147483647 w 104"/>
                    <a:gd name="T89" fmla="*/ 2147483647 h 54"/>
                    <a:gd name="T90" fmla="*/ 2147483647 w 104"/>
                    <a:gd name="T91" fmla="*/ 2147483647 h 54"/>
                    <a:gd name="T92" fmla="*/ 2147483647 w 104"/>
                    <a:gd name="T93" fmla="*/ 2147483647 h 54"/>
                    <a:gd name="T94" fmla="*/ 2147483647 w 104"/>
                    <a:gd name="T95" fmla="*/ 2147483647 h 54"/>
                    <a:gd name="T96" fmla="*/ 2147483647 w 104"/>
                    <a:gd name="T97" fmla="*/ 2147483647 h 54"/>
                    <a:gd name="T98" fmla="*/ 2147483647 w 104"/>
                    <a:gd name="T99" fmla="*/ 2147483647 h 54"/>
                    <a:gd name="T100" fmla="*/ 2147483647 w 104"/>
                    <a:gd name="T101" fmla="*/ 2147483647 h 54"/>
                    <a:gd name="T102" fmla="*/ 2147483647 w 104"/>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
                    <a:gd name="T157" fmla="*/ 0 h 54"/>
                    <a:gd name="T158" fmla="*/ 104 w 104"/>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 h="54">
                      <a:moveTo>
                        <a:pt x="29" y="54"/>
                      </a:moveTo>
                      <a:lnTo>
                        <a:pt x="33" y="51"/>
                      </a:lnTo>
                      <a:lnTo>
                        <a:pt x="38" y="47"/>
                      </a:lnTo>
                      <a:lnTo>
                        <a:pt x="39" y="45"/>
                      </a:lnTo>
                      <a:lnTo>
                        <a:pt x="39" y="43"/>
                      </a:lnTo>
                      <a:lnTo>
                        <a:pt x="40" y="41"/>
                      </a:lnTo>
                      <a:lnTo>
                        <a:pt x="45" y="40"/>
                      </a:lnTo>
                      <a:lnTo>
                        <a:pt x="51" y="39"/>
                      </a:lnTo>
                      <a:lnTo>
                        <a:pt x="56" y="38"/>
                      </a:lnTo>
                      <a:lnTo>
                        <a:pt x="59" y="37"/>
                      </a:lnTo>
                      <a:lnTo>
                        <a:pt x="63" y="33"/>
                      </a:lnTo>
                      <a:lnTo>
                        <a:pt x="73" y="25"/>
                      </a:lnTo>
                      <a:lnTo>
                        <a:pt x="76" y="22"/>
                      </a:lnTo>
                      <a:lnTo>
                        <a:pt x="80" y="22"/>
                      </a:lnTo>
                      <a:lnTo>
                        <a:pt x="84" y="22"/>
                      </a:lnTo>
                      <a:lnTo>
                        <a:pt x="87" y="21"/>
                      </a:lnTo>
                      <a:lnTo>
                        <a:pt x="95" y="15"/>
                      </a:lnTo>
                      <a:lnTo>
                        <a:pt x="100" y="14"/>
                      </a:lnTo>
                      <a:lnTo>
                        <a:pt x="104" y="13"/>
                      </a:lnTo>
                      <a:lnTo>
                        <a:pt x="104" y="8"/>
                      </a:lnTo>
                      <a:lnTo>
                        <a:pt x="104" y="5"/>
                      </a:lnTo>
                      <a:lnTo>
                        <a:pt x="101" y="2"/>
                      </a:lnTo>
                      <a:lnTo>
                        <a:pt x="98" y="1"/>
                      </a:lnTo>
                      <a:lnTo>
                        <a:pt x="82" y="0"/>
                      </a:lnTo>
                      <a:lnTo>
                        <a:pt x="67" y="1"/>
                      </a:lnTo>
                      <a:lnTo>
                        <a:pt x="52" y="1"/>
                      </a:lnTo>
                      <a:lnTo>
                        <a:pt x="37" y="0"/>
                      </a:lnTo>
                      <a:lnTo>
                        <a:pt x="33" y="0"/>
                      </a:lnTo>
                      <a:lnTo>
                        <a:pt x="29" y="1"/>
                      </a:lnTo>
                      <a:lnTo>
                        <a:pt x="25" y="2"/>
                      </a:lnTo>
                      <a:lnTo>
                        <a:pt x="21" y="2"/>
                      </a:lnTo>
                      <a:lnTo>
                        <a:pt x="16" y="2"/>
                      </a:lnTo>
                      <a:lnTo>
                        <a:pt x="11" y="1"/>
                      </a:lnTo>
                      <a:lnTo>
                        <a:pt x="10" y="3"/>
                      </a:lnTo>
                      <a:lnTo>
                        <a:pt x="7" y="7"/>
                      </a:lnTo>
                      <a:lnTo>
                        <a:pt x="2" y="12"/>
                      </a:lnTo>
                      <a:lnTo>
                        <a:pt x="0" y="13"/>
                      </a:lnTo>
                      <a:lnTo>
                        <a:pt x="0" y="14"/>
                      </a:lnTo>
                      <a:lnTo>
                        <a:pt x="0" y="18"/>
                      </a:lnTo>
                      <a:lnTo>
                        <a:pt x="1" y="22"/>
                      </a:lnTo>
                      <a:lnTo>
                        <a:pt x="4" y="26"/>
                      </a:lnTo>
                      <a:lnTo>
                        <a:pt x="6" y="28"/>
                      </a:lnTo>
                      <a:lnTo>
                        <a:pt x="9" y="30"/>
                      </a:lnTo>
                      <a:lnTo>
                        <a:pt x="15" y="32"/>
                      </a:lnTo>
                      <a:lnTo>
                        <a:pt x="21" y="32"/>
                      </a:lnTo>
                      <a:lnTo>
                        <a:pt x="26" y="34"/>
                      </a:lnTo>
                      <a:lnTo>
                        <a:pt x="28" y="35"/>
                      </a:lnTo>
                      <a:lnTo>
                        <a:pt x="29" y="37"/>
                      </a:lnTo>
                      <a:lnTo>
                        <a:pt x="28" y="41"/>
                      </a:lnTo>
                      <a:lnTo>
                        <a:pt x="25" y="46"/>
                      </a:lnTo>
                      <a:lnTo>
                        <a:pt x="21" y="50"/>
                      </a:lnTo>
                      <a:lnTo>
                        <a:pt x="29" y="5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5" name="Freeform 893"/>
                <p:cNvSpPr>
                  <a:spLocks/>
                </p:cNvSpPr>
                <p:nvPr/>
              </p:nvSpPr>
              <p:spPr bwMode="auto">
                <a:xfrm>
                  <a:off x="2550822" y="4184763"/>
                  <a:ext cx="102111" cy="127269"/>
                </a:xfrm>
                <a:custGeom>
                  <a:avLst/>
                  <a:gdLst>
                    <a:gd name="T0" fmla="*/ 2147483647 w 75"/>
                    <a:gd name="T1" fmla="*/ 2147483647 h 86"/>
                    <a:gd name="T2" fmla="*/ 2147483647 w 75"/>
                    <a:gd name="T3" fmla="*/ 2147483647 h 86"/>
                    <a:gd name="T4" fmla="*/ 2147483647 w 75"/>
                    <a:gd name="T5" fmla="*/ 2147483647 h 86"/>
                    <a:gd name="T6" fmla="*/ 2147483647 w 75"/>
                    <a:gd name="T7" fmla="*/ 2147483647 h 86"/>
                    <a:gd name="T8" fmla="*/ 2147483647 w 75"/>
                    <a:gd name="T9" fmla="*/ 2147483647 h 86"/>
                    <a:gd name="T10" fmla="*/ 2147483647 w 75"/>
                    <a:gd name="T11" fmla="*/ 2147483647 h 86"/>
                    <a:gd name="T12" fmla="*/ 2147483647 w 75"/>
                    <a:gd name="T13" fmla="*/ 2147483647 h 86"/>
                    <a:gd name="T14" fmla="*/ 2147483647 w 75"/>
                    <a:gd name="T15" fmla="*/ 2147483647 h 86"/>
                    <a:gd name="T16" fmla="*/ 2147483647 w 75"/>
                    <a:gd name="T17" fmla="*/ 2147483647 h 86"/>
                    <a:gd name="T18" fmla="*/ 2147483647 w 75"/>
                    <a:gd name="T19" fmla="*/ 2147483647 h 86"/>
                    <a:gd name="T20" fmla="*/ 2147483647 w 75"/>
                    <a:gd name="T21" fmla="*/ 2147483647 h 86"/>
                    <a:gd name="T22" fmla="*/ 2147483647 w 75"/>
                    <a:gd name="T23" fmla="*/ 2147483647 h 86"/>
                    <a:gd name="T24" fmla="*/ 2147483647 w 75"/>
                    <a:gd name="T25" fmla="*/ 2147483647 h 86"/>
                    <a:gd name="T26" fmla="*/ 2147483647 w 75"/>
                    <a:gd name="T27" fmla="*/ 0 h 86"/>
                    <a:gd name="T28" fmla="*/ 2147483647 w 75"/>
                    <a:gd name="T29" fmla="*/ 2147483647 h 86"/>
                    <a:gd name="T30" fmla="*/ 2147483647 w 75"/>
                    <a:gd name="T31" fmla="*/ 2147483647 h 86"/>
                    <a:gd name="T32" fmla="*/ 2147483647 w 75"/>
                    <a:gd name="T33" fmla="*/ 2147483647 h 86"/>
                    <a:gd name="T34" fmla="*/ 2147483647 w 75"/>
                    <a:gd name="T35" fmla="*/ 2147483647 h 86"/>
                    <a:gd name="T36" fmla="*/ 2147483647 w 75"/>
                    <a:gd name="T37" fmla="*/ 2147483647 h 86"/>
                    <a:gd name="T38" fmla="*/ 2147483647 w 75"/>
                    <a:gd name="T39" fmla="*/ 2147483647 h 86"/>
                    <a:gd name="T40" fmla="*/ 2147483647 w 75"/>
                    <a:gd name="T41" fmla="*/ 2147483647 h 86"/>
                    <a:gd name="T42" fmla="*/ 2147483647 w 75"/>
                    <a:gd name="T43" fmla="*/ 2147483647 h 86"/>
                    <a:gd name="T44" fmla="*/ 2147483647 w 75"/>
                    <a:gd name="T45" fmla="*/ 2147483647 h 86"/>
                    <a:gd name="T46" fmla="*/ 2147483647 w 75"/>
                    <a:gd name="T47" fmla="*/ 2147483647 h 86"/>
                    <a:gd name="T48" fmla="*/ 2147483647 w 75"/>
                    <a:gd name="T49" fmla="*/ 2147483647 h 86"/>
                    <a:gd name="T50" fmla="*/ 2147483647 w 75"/>
                    <a:gd name="T51" fmla="*/ 2147483647 h 86"/>
                    <a:gd name="T52" fmla="*/ 0 w 75"/>
                    <a:gd name="T53" fmla="*/ 2147483647 h 86"/>
                    <a:gd name="T54" fmla="*/ 2147483647 w 75"/>
                    <a:gd name="T55" fmla="*/ 2147483647 h 86"/>
                    <a:gd name="T56" fmla="*/ 2147483647 w 75"/>
                    <a:gd name="T57" fmla="*/ 2147483647 h 86"/>
                    <a:gd name="T58" fmla="*/ 2147483647 w 75"/>
                    <a:gd name="T59" fmla="*/ 2147483647 h 86"/>
                    <a:gd name="T60" fmla="*/ 2147483647 w 75"/>
                    <a:gd name="T61" fmla="*/ 2147483647 h 86"/>
                    <a:gd name="T62" fmla="*/ 2147483647 w 75"/>
                    <a:gd name="T63" fmla="*/ 2147483647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5"/>
                    <a:gd name="T97" fmla="*/ 0 h 86"/>
                    <a:gd name="T98" fmla="*/ 75 w 75"/>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5" h="86">
                      <a:moveTo>
                        <a:pt x="30" y="86"/>
                      </a:moveTo>
                      <a:lnTo>
                        <a:pt x="30" y="86"/>
                      </a:lnTo>
                      <a:lnTo>
                        <a:pt x="33" y="84"/>
                      </a:lnTo>
                      <a:lnTo>
                        <a:pt x="34" y="82"/>
                      </a:lnTo>
                      <a:lnTo>
                        <a:pt x="43" y="83"/>
                      </a:lnTo>
                      <a:lnTo>
                        <a:pt x="50" y="84"/>
                      </a:lnTo>
                      <a:lnTo>
                        <a:pt x="58" y="85"/>
                      </a:lnTo>
                      <a:lnTo>
                        <a:pt x="62" y="85"/>
                      </a:lnTo>
                      <a:lnTo>
                        <a:pt x="66" y="84"/>
                      </a:lnTo>
                      <a:lnTo>
                        <a:pt x="64" y="82"/>
                      </a:lnTo>
                      <a:lnTo>
                        <a:pt x="64" y="78"/>
                      </a:lnTo>
                      <a:lnTo>
                        <a:pt x="64" y="74"/>
                      </a:lnTo>
                      <a:lnTo>
                        <a:pt x="67" y="67"/>
                      </a:lnTo>
                      <a:lnTo>
                        <a:pt x="68" y="60"/>
                      </a:lnTo>
                      <a:lnTo>
                        <a:pt x="68" y="52"/>
                      </a:lnTo>
                      <a:lnTo>
                        <a:pt x="70" y="50"/>
                      </a:lnTo>
                      <a:lnTo>
                        <a:pt x="71" y="46"/>
                      </a:lnTo>
                      <a:lnTo>
                        <a:pt x="72" y="38"/>
                      </a:lnTo>
                      <a:lnTo>
                        <a:pt x="72" y="29"/>
                      </a:lnTo>
                      <a:lnTo>
                        <a:pt x="71" y="21"/>
                      </a:lnTo>
                      <a:lnTo>
                        <a:pt x="72" y="12"/>
                      </a:lnTo>
                      <a:lnTo>
                        <a:pt x="75" y="0"/>
                      </a:lnTo>
                      <a:lnTo>
                        <a:pt x="71" y="1"/>
                      </a:lnTo>
                      <a:lnTo>
                        <a:pt x="66" y="2"/>
                      </a:lnTo>
                      <a:lnTo>
                        <a:pt x="58" y="8"/>
                      </a:lnTo>
                      <a:lnTo>
                        <a:pt x="54" y="9"/>
                      </a:lnTo>
                      <a:lnTo>
                        <a:pt x="50" y="9"/>
                      </a:lnTo>
                      <a:lnTo>
                        <a:pt x="47" y="9"/>
                      </a:lnTo>
                      <a:lnTo>
                        <a:pt x="44" y="12"/>
                      </a:lnTo>
                      <a:lnTo>
                        <a:pt x="34" y="20"/>
                      </a:lnTo>
                      <a:lnTo>
                        <a:pt x="30" y="23"/>
                      </a:lnTo>
                      <a:lnTo>
                        <a:pt x="26" y="25"/>
                      </a:lnTo>
                      <a:lnTo>
                        <a:pt x="21" y="26"/>
                      </a:lnTo>
                      <a:lnTo>
                        <a:pt x="16" y="27"/>
                      </a:lnTo>
                      <a:lnTo>
                        <a:pt x="11" y="28"/>
                      </a:lnTo>
                      <a:lnTo>
                        <a:pt x="10" y="29"/>
                      </a:lnTo>
                      <a:lnTo>
                        <a:pt x="10" y="32"/>
                      </a:lnTo>
                      <a:lnTo>
                        <a:pt x="9" y="34"/>
                      </a:lnTo>
                      <a:lnTo>
                        <a:pt x="4" y="38"/>
                      </a:lnTo>
                      <a:lnTo>
                        <a:pt x="0" y="41"/>
                      </a:lnTo>
                      <a:lnTo>
                        <a:pt x="5" y="46"/>
                      </a:lnTo>
                      <a:lnTo>
                        <a:pt x="7" y="52"/>
                      </a:lnTo>
                      <a:lnTo>
                        <a:pt x="11" y="60"/>
                      </a:lnTo>
                      <a:lnTo>
                        <a:pt x="15" y="66"/>
                      </a:lnTo>
                      <a:lnTo>
                        <a:pt x="26" y="79"/>
                      </a:lnTo>
                      <a:lnTo>
                        <a:pt x="29" y="83"/>
                      </a:lnTo>
                      <a:lnTo>
                        <a:pt x="30" y="8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6" name="Freeform 894"/>
                <p:cNvSpPr>
                  <a:spLocks/>
                </p:cNvSpPr>
                <p:nvPr/>
              </p:nvSpPr>
              <p:spPr bwMode="auto">
                <a:xfrm>
                  <a:off x="2510862" y="4165524"/>
                  <a:ext cx="142068" cy="79913"/>
                </a:xfrm>
                <a:custGeom>
                  <a:avLst/>
                  <a:gdLst>
                    <a:gd name="T0" fmla="*/ 2147483647 w 105"/>
                    <a:gd name="T1" fmla="*/ 2147483647 h 54"/>
                    <a:gd name="T2" fmla="*/ 2147483647 w 105"/>
                    <a:gd name="T3" fmla="*/ 2147483647 h 54"/>
                    <a:gd name="T4" fmla="*/ 2147483647 w 105"/>
                    <a:gd name="T5" fmla="*/ 2147483647 h 54"/>
                    <a:gd name="T6" fmla="*/ 2147483647 w 105"/>
                    <a:gd name="T7" fmla="*/ 2147483647 h 54"/>
                    <a:gd name="T8" fmla="*/ 2147483647 w 105"/>
                    <a:gd name="T9" fmla="*/ 2147483647 h 54"/>
                    <a:gd name="T10" fmla="*/ 2147483647 w 105"/>
                    <a:gd name="T11" fmla="*/ 2147483647 h 54"/>
                    <a:gd name="T12" fmla="*/ 2147483647 w 105"/>
                    <a:gd name="T13" fmla="*/ 2147483647 h 54"/>
                    <a:gd name="T14" fmla="*/ 2147483647 w 105"/>
                    <a:gd name="T15" fmla="*/ 2147483647 h 54"/>
                    <a:gd name="T16" fmla="*/ 2147483647 w 105"/>
                    <a:gd name="T17" fmla="*/ 2147483647 h 54"/>
                    <a:gd name="T18" fmla="*/ 2147483647 w 105"/>
                    <a:gd name="T19" fmla="*/ 2147483647 h 54"/>
                    <a:gd name="T20" fmla="*/ 2147483647 w 105"/>
                    <a:gd name="T21" fmla="*/ 2147483647 h 54"/>
                    <a:gd name="T22" fmla="*/ 2147483647 w 105"/>
                    <a:gd name="T23" fmla="*/ 2147483647 h 54"/>
                    <a:gd name="T24" fmla="*/ 2147483647 w 105"/>
                    <a:gd name="T25" fmla="*/ 2147483647 h 54"/>
                    <a:gd name="T26" fmla="*/ 2147483647 w 105"/>
                    <a:gd name="T27" fmla="*/ 2147483647 h 54"/>
                    <a:gd name="T28" fmla="*/ 2147483647 w 105"/>
                    <a:gd name="T29" fmla="*/ 2147483647 h 54"/>
                    <a:gd name="T30" fmla="*/ 2147483647 w 105"/>
                    <a:gd name="T31" fmla="*/ 2147483647 h 54"/>
                    <a:gd name="T32" fmla="*/ 2147483647 w 105"/>
                    <a:gd name="T33" fmla="*/ 2147483647 h 54"/>
                    <a:gd name="T34" fmla="*/ 2147483647 w 105"/>
                    <a:gd name="T35" fmla="*/ 0 h 54"/>
                    <a:gd name="T36" fmla="*/ 2147483647 w 105"/>
                    <a:gd name="T37" fmla="*/ 0 h 54"/>
                    <a:gd name="T38" fmla="*/ 2147483647 w 105"/>
                    <a:gd name="T39" fmla="*/ 2147483647 h 54"/>
                    <a:gd name="T40" fmla="*/ 2147483647 w 105"/>
                    <a:gd name="T41" fmla="*/ 2147483647 h 54"/>
                    <a:gd name="T42" fmla="*/ 2147483647 w 105"/>
                    <a:gd name="T43" fmla="*/ 2147483647 h 54"/>
                    <a:gd name="T44" fmla="*/ 2147483647 w 105"/>
                    <a:gd name="T45" fmla="*/ 2147483647 h 54"/>
                    <a:gd name="T46" fmla="*/ 2147483647 w 105"/>
                    <a:gd name="T47" fmla="*/ 2147483647 h 54"/>
                    <a:gd name="T48" fmla="*/ 0 w 105"/>
                    <a:gd name="T49" fmla="*/ 2147483647 h 54"/>
                    <a:gd name="T50" fmla="*/ 0 w 105"/>
                    <a:gd name="T51" fmla="*/ 2147483647 h 54"/>
                    <a:gd name="T52" fmla="*/ 2147483647 w 105"/>
                    <a:gd name="T53" fmla="*/ 2147483647 h 54"/>
                    <a:gd name="T54" fmla="*/ 2147483647 w 105"/>
                    <a:gd name="T55" fmla="*/ 2147483647 h 54"/>
                    <a:gd name="T56" fmla="*/ 2147483647 w 105"/>
                    <a:gd name="T57" fmla="*/ 2147483647 h 54"/>
                    <a:gd name="T58" fmla="*/ 2147483647 w 105"/>
                    <a:gd name="T59" fmla="*/ 2147483647 h 54"/>
                    <a:gd name="T60" fmla="*/ 2147483647 w 105"/>
                    <a:gd name="T61" fmla="*/ 2147483647 h 54"/>
                    <a:gd name="T62" fmla="*/ 2147483647 w 105"/>
                    <a:gd name="T63" fmla="*/ 2147483647 h 54"/>
                    <a:gd name="T64" fmla="*/ 2147483647 w 105"/>
                    <a:gd name="T65" fmla="*/ 2147483647 h 54"/>
                    <a:gd name="T66" fmla="*/ 2147483647 w 105"/>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5"/>
                    <a:gd name="T103" fmla="*/ 0 h 54"/>
                    <a:gd name="T104" fmla="*/ 105 w 105"/>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5" h="54">
                      <a:moveTo>
                        <a:pt x="30" y="54"/>
                      </a:moveTo>
                      <a:lnTo>
                        <a:pt x="30" y="54"/>
                      </a:lnTo>
                      <a:lnTo>
                        <a:pt x="34" y="51"/>
                      </a:lnTo>
                      <a:lnTo>
                        <a:pt x="39" y="47"/>
                      </a:lnTo>
                      <a:lnTo>
                        <a:pt x="40" y="45"/>
                      </a:lnTo>
                      <a:lnTo>
                        <a:pt x="40" y="42"/>
                      </a:lnTo>
                      <a:lnTo>
                        <a:pt x="41" y="41"/>
                      </a:lnTo>
                      <a:lnTo>
                        <a:pt x="46" y="40"/>
                      </a:lnTo>
                      <a:lnTo>
                        <a:pt x="51" y="39"/>
                      </a:lnTo>
                      <a:lnTo>
                        <a:pt x="56" y="38"/>
                      </a:lnTo>
                      <a:lnTo>
                        <a:pt x="60" y="36"/>
                      </a:lnTo>
                      <a:lnTo>
                        <a:pt x="64" y="33"/>
                      </a:lnTo>
                      <a:lnTo>
                        <a:pt x="74" y="25"/>
                      </a:lnTo>
                      <a:lnTo>
                        <a:pt x="77" y="22"/>
                      </a:lnTo>
                      <a:lnTo>
                        <a:pt x="80" y="22"/>
                      </a:lnTo>
                      <a:lnTo>
                        <a:pt x="84" y="22"/>
                      </a:lnTo>
                      <a:lnTo>
                        <a:pt x="88" y="21"/>
                      </a:lnTo>
                      <a:lnTo>
                        <a:pt x="96" y="15"/>
                      </a:lnTo>
                      <a:lnTo>
                        <a:pt x="101" y="14"/>
                      </a:lnTo>
                      <a:lnTo>
                        <a:pt x="105" y="13"/>
                      </a:lnTo>
                      <a:lnTo>
                        <a:pt x="105" y="8"/>
                      </a:lnTo>
                      <a:lnTo>
                        <a:pt x="105" y="4"/>
                      </a:lnTo>
                      <a:lnTo>
                        <a:pt x="102" y="2"/>
                      </a:lnTo>
                      <a:lnTo>
                        <a:pt x="98" y="1"/>
                      </a:lnTo>
                      <a:lnTo>
                        <a:pt x="83" y="0"/>
                      </a:lnTo>
                      <a:lnTo>
                        <a:pt x="68" y="1"/>
                      </a:lnTo>
                      <a:lnTo>
                        <a:pt x="53" y="1"/>
                      </a:lnTo>
                      <a:lnTo>
                        <a:pt x="37" y="0"/>
                      </a:lnTo>
                      <a:lnTo>
                        <a:pt x="34" y="0"/>
                      </a:lnTo>
                      <a:lnTo>
                        <a:pt x="30" y="1"/>
                      </a:lnTo>
                      <a:lnTo>
                        <a:pt x="26" y="2"/>
                      </a:lnTo>
                      <a:lnTo>
                        <a:pt x="22" y="2"/>
                      </a:lnTo>
                      <a:lnTo>
                        <a:pt x="17" y="2"/>
                      </a:lnTo>
                      <a:lnTo>
                        <a:pt x="12" y="1"/>
                      </a:lnTo>
                      <a:lnTo>
                        <a:pt x="11" y="3"/>
                      </a:lnTo>
                      <a:lnTo>
                        <a:pt x="8" y="7"/>
                      </a:lnTo>
                      <a:lnTo>
                        <a:pt x="3" y="12"/>
                      </a:lnTo>
                      <a:lnTo>
                        <a:pt x="0" y="13"/>
                      </a:lnTo>
                      <a:lnTo>
                        <a:pt x="0" y="14"/>
                      </a:lnTo>
                      <a:lnTo>
                        <a:pt x="0" y="17"/>
                      </a:lnTo>
                      <a:lnTo>
                        <a:pt x="2" y="22"/>
                      </a:lnTo>
                      <a:lnTo>
                        <a:pt x="4" y="26"/>
                      </a:lnTo>
                      <a:lnTo>
                        <a:pt x="7" y="28"/>
                      </a:lnTo>
                      <a:lnTo>
                        <a:pt x="9" y="29"/>
                      </a:lnTo>
                      <a:lnTo>
                        <a:pt x="16" y="32"/>
                      </a:lnTo>
                      <a:lnTo>
                        <a:pt x="22" y="32"/>
                      </a:lnTo>
                      <a:lnTo>
                        <a:pt x="27" y="34"/>
                      </a:lnTo>
                      <a:lnTo>
                        <a:pt x="28" y="35"/>
                      </a:lnTo>
                      <a:lnTo>
                        <a:pt x="30" y="36"/>
                      </a:lnTo>
                      <a:lnTo>
                        <a:pt x="28" y="41"/>
                      </a:lnTo>
                      <a:lnTo>
                        <a:pt x="26" y="46"/>
                      </a:lnTo>
                      <a:lnTo>
                        <a:pt x="22" y="49"/>
                      </a:lnTo>
                      <a:lnTo>
                        <a:pt x="30" y="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7" name="Freeform 895"/>
                <p:cNvSpPr>
                  <a:spLocks/>
                </p:cNvSpPr>
                <p:nvPr/>
              </p:nvSpPr>
              <p:spPr bwMode="auto">
                <a:xfrm>
                  <a:off x="2494584" y="4204001"/>
                  <a:ext cx="57715" cy="36996"/>
                </a:xfrm>
                <a:custGeom>
                  <a:avLst/>
                  <a:gdLst>
                    <a:gd name="T0" fmla="*/ 2147483647 w 42"/>
                    <a:gd name="T1" fmla="*/ 2147483647 h 25"/>
                    <a:gd name="T2" fmla="*/ 2147483647 w 42"/>
                    <a:gd name="T3" fmla="*/ 2147483647 h 25"/>
                    <a:gd name="T4" fmla="*/ 2147483647 w 42"/>
                    <a:gd name="T5" fmla="*/ 2147483647 h 25"/>
                    <a:gd name="T6" fmla="*/ 2147483647 w 42"/>
                    <a:gd name="T7" fmla="*/ 2147483647 h 25"/>
                    <a:gd name="T8" fmla="*/ 2147483647 w 42"/>
                    <a:gd name="T9" fmla="*/ 2147483647 h 25"/>
                    <a:gd name="T10" fmla="*/ 2147483647 w 42"/>
                    <a:gd name="T11" fmla="*/ 2147483647 h 25"/>
                    <a:gd name="T12" fmla="*/ 2147483647 w 42"/>
                    <a:gd name="T13" fmla="*/ 2147483647 h 25"/>
                    <a:gd name="T14" fmla="*/ 2147483647 w 42"/>
                    <a:gd name="T15" fmla="*/ 2147483647 h 25"/>
                    <a:gd name="T16" fmla="*/ 2147483647 w 42"/>
                    <a:gd name="T17" fmla="*/ 2147483647 h 25"/>
                    <a:gd name="T18" fmla="*/ 2147483647 w 42"/>
                    <a:gd name="T19" fmla="*/ 2147483647 h 25"/>
                    <a:gd name="T20" fmla="*/ 2147483647 w 42"/>
                    <a:gd name="T21" fmla="*/ 2147483647 h 25"/>
                    <a:gd name="T22" fmla="*/ 2147483647 w 42"/>
                    <a:gd name="T23" fmla="*/ 2147483647 h 25"/>
                    <a:gd name="T24" fmla="*/ 2147483647 w 42"/>
                    <a:gd name="T25" fmla="*/ 2147483647 h 25"/>
                    <a:gd name="T26" fmla="*/ 2147483647 w 42"/>
                    <a:gd name="T27" fmla="*/ 0 h 25"/>
                    <a:gd name="T28" fmla="*/ 2147483647 w 42"/>
                    <a:gd name="T29" fmla="*/ 2147483647 h 25"/>
                    <a:gd name="T30" fmla="*/ 2147483647 w 42"/>
                    <a:gd name="T31" fmla="*/ 2147483647 h 25"/>
                    <a:gd name="T32" fmla="*/ 2147483647 w 42"/>
                    <a:gd name="T33" fmla="*/ 2147483647 h 25"/>
                    <a:gd name="T34" fmla="*/ 2147483647 w 42"/>
                    <a:gd name="T35" fmla="*/ 2147483647 h 25"/>
                    <a:gd name="T36" fmla="*/ 2147483647 w 42"/>
                    <a:gd name="T37" fmla="*/ 2147483647 h 25"/>
                    <a:gd name="T38" fmla="*/ 0 w 42"/>
                    <a:gd name="T39" fmla="*/ 2147483647 h 25"/>
                    <a:gd name="T40" fmla="*/ 2147483647 w 42"/>
                    <a:gd name="T41" fmla="*/ 2147483647 h 25"/>
                    <a:gd name="T42" fmla="*/ 2147483647 w 42"/>
                    <a:gd name="T43" fmla="*/ 2147483647 h 25"/>
                    <a:gd name="T44" fmla="*/ 2147483647 w 42"/>
                    <a:gd name="T45" fmla="*/ 2147483647 h 25"/>
                    <a:gd name="T46" fmla="*/ 2147483647 w 42"/>
                    <a:gd name="T47" fmla="*/ 2147483647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
                    <a:gd name="T73" fmla="*/ 0 h 25"/>
                    <a:gd name="T74" fmla="*/ 42 w 42"/>
                    <a:gd name="T75" fmla="*/ 25 h 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 h="25">
                      <a:moveTo>
                        <a:pt x="34" y="25"/>
                      </a:moveTo>
                      <a:lnTo>
                        <a:pt x="38" y="21"/>
                      </a:lnTo>
                      <a:lnTo>
                        <a:pt x="41" y="16"/>
                      </a:lnTo>
                      <a:lnTo>
                        <a:pt x="42" y="12"/>
                      </a:lnTo>
                      <a:lnTo>
                        <a:pt x="41" y="10"/>
                      </a:lnTo>
                      <a:lnTo>
                        <a:pt x="39" y="9"/>
                      </a:lnTo>
                      <a:lnTo>
                        <a:pt x="34" y="7"/>
                      </a:lnTo>
                      <a:lnTo>
                        <a:pt x="28" y="7"/>
                      </a:lnTo>
                      <a:lnTo>
                        <a:pt x="22" y="5"/>
                      </a:lnTo>
                      <a:lnTo>
                        <a:pt x="19" y="3"/>
                      </a:lnTo>
                      <a:lnTo>
                        <a:pt x="17" y="1"/>
                      </a:lnTo>
                      <a:lnTo>
                        <a:pt x="14" y="1"/>
                      </a:lnTo>
                      <a:lnTo>
                        <a:pt x="10" y="1"/>
                      </a:lnTo>
                      <a:lnTo>
                        <a:pt x="8" y="0"/>
                      </a:lnTo>
                      <a:lnTo>
                        <a:pt x="5" y="1"/>
                      </a:lnTo>
                      <a:lnTo>
                        <a:pt x="4" y="2"/>
                      </a:lnTo>
                      <a:lnTo>
                        <a:pt x="3" y="5"/>
                      </a:lnTo>
                      <a:lnTo>
                        <a:pt x="1" y="8"/>
                      </a:lnTo>
                      <a:lnTo>
                        <a:pt x="1" y="13"/>
                      </a:lnTo>
                      <a:lnTo>
                        <a:pt x="0" y="18"/>
                      </a:lnTo>
                      <a:lnTo>
                        <a:pt x="3" y="19"/>
                      </a:lnTo>
                      <a:lnTo>
                        <a:pt x="18" y="21"/>
                      </a:lnTo>
                      <a:lnTo>
                        <a:pt x="27" y="22"/>
                      </a:lnTo>
                      <a:lnTo>
                        <a:pt x="34" y="2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8" name="Freeform 896"/>
                <p:cNvSpPr>
                  <a:spLocks/>
                </p:cNvSpPr>
                <p:nvPr/>
              </p:nvSpPr>
              <p:spPr bwMode="auto">
                <a:xfrm>
                  <a:off x="2430952" y="4107809"/>
                  <a:ext cx="97672" cy="122830"/>
                </a:xfrm>
                <a:custGeom>
                  <a:avLst/>
                  <a:gdLst>
                    <a:gd name="T0" fmla="*/ 2147483647 w 71"/>
                    <a:gd name="T1" fmla="*/ 2147483647 h 83"/>
                    <a:gd name="T2" fmla="*/ 2147483647 w 71"/>
                    <a:gd name="T3" fmla="*/ 2147483647 h 83"/>
                    <a:gd name="T4" fmla="*/ 2147483647 w 71"/>
                    <a:gd name="T5" fmla="*/ 2147483647 h 83"/>
                    <a:gd name="T6" fmla="*/ 2147483647 w 71"/>
                    <a:gd name="T7" fmla="*/ 2147483647 h 83"/>
                    <a:gd name="T8" fmla="*/ 2147483647 w 71"/>
                    <a:gd name="T9" fmla="*/ 2147483647 h 83"/>
                    <a:gd name="T10" fmla="*/ 2147483647 w 71"/>
                    <a:gd name="T11" fmla="*/ 2147483647 h 83"/>
                    <a:gd name="T12" fmla="*/ 2147483647 w 71"/>
                    <a:gd name="T13" fmla="*/ 2147483647 h 83"/>
                    <a:gd name="T14" fmla="*/ 2147483647 w 71"/>
                    <a:gd name="T15" fmla="*/ 2147483647 h 83"/>
                    <a:gd name="T16" fmla="*/ 2147483647 w 71"/>
                    <a:gd name="T17" fmla="*/ 2147483647 h 83"/>
                    <a:gd name="T18" fmla="*/ 2147483647 w 71"/>
                    <a:gd name="T19" fmla="*/ 2147483647 h 83"/>
                    <a:gd name="T20" fmla="*/ 2147483647 w 71"/>
                    <a:gd name="T21" fmla="*/ 2147483647 h 83"/>
                    <a:gd name="T22" fmla="*/ 2147483647 w 71"/>
                    <a:gd name="T23" fmla="*/ 2147483647 h 83"/>
                    <a:gd name="T24" fmla="*/ 2147483647 w 71"/>
                    <a:gd name="T25" fmla="*/ 2147483647 h 83"/>
                    <a:gd name="T26" fmla="*/ 2147483647 w 71"/>
                    <a:gd name="T27" fmla="*/ 2147483647 h 83"/>
                    <a:gd name="T28" fmla="*/ 2147483647 w 71"/>
                    <a:gd name="T29" fmla="*/ 2147483647 h 83"/>
                    <a:gd name="T30" fmla="*/ 2147483647 w 71"/>
                    <a:gd name="T31" fmla="*/ 2147483647 h 83"/>
                    <a:gd name="T32" fmla="*/ 2147483647 w 71"/>
                    <a:gd name="T33" fmla="*/ 2147483647 h 83"/>
                    <a:gd name="T34" fmla="*/ 2147483647 w 71"/>
                    <a:gd name="T35" fmla="*/ 2147483647 h 83"/>
                    <a:gd name="T36" fmla="*/ 2147483647 w 71"/>
                    <a:gd name="T37" fmla="*/ 2147483647 h 83"/>
                    <a:gd name="T38" fmla="*/ 2147483647 w 71"/>
                    <a:gd name="T39" fmla="*/ 2147483647 h 83"/>
                    <a:gd name="T40" fmla="*/ 2147483647 w 71"/>
                    <a:gd name="T41" fmla="*/ 2147483647 h 83"/>
                    <a:gd name="T42" fmla="*/ 2147483647 w 71"/>
                    <a:gd name="T43" fmla="*/ 2147483647 h 83"/>
                    <a:gd name="T44" fmla="*/ 2147483647 w 71"/>
                    <a:gd name="T45" fmla="*/ 2147483647 h 83"/>
                    <a:gd name="T46" fmla="*/ 2147483647 w 71"/>
                    <a:gd name="T47" fmla="*/ 2147483647 h 83"/>
                    <a:gd name="T48" fmla="*/ 2147483647 w 71"/>
                    <a:gd name="T49" fmla="*/ 2147483647 h 83"/>
                    <a:gd name="T50" fmla="*/ 2147483647 w 71"/>
                    <a:gd name="T51" fmla="*/ 0 h 83"/>
                    <a:gd name="T52" fmla="*/ 2147483647 w 71"/>
                    <a:gd name="T53" fmla="*/ 2147483647 h 83"/>
                    <a:gd name="T54" fmla="*/ 2147483647 w 71"/>
                    <a:gd name="T55" fmla="*/ 2147483647 h 83"/>
                    <a:gd name="T56" fmla="*/ 2147483647 w 71"/>
                    <a:gd name="T57" fmla="*/ 0 h 83"/>
                    <a:gd name="T58" fmla="*/ 2147483647 w 71"/>
                    <a:gd name="T59" fmla="*/ 0 h 83"/>
                    <a:gd name="T60" fmla="*/ 2147483647 w 71"/>
                    <a:gd name="T61" fmla="*/ 2147483647 h 83"/>
                    <a:gd name="T62" fmla="*/ 2147483647 w 71"/>
                    <a:gd name="T63" fmla="*/ 2147483647 h 83"/>
                    <a:gd name="T64" fmla="*/ 2147483647 w 71"/>
                    <a:gd name="T65" fmla="*/ 2147483647 h 83"/>
                    <a:gd name="T66" fmla="*/ 2147483647 w 71"/>
                    <a:gd name="T67" fmla="*/ 2147483647 h 83"/>
                    <a:gd name="T68" fmla="*/ 2147483647 w 71"/>
                    <a:gd name="T69" fmla="*/ 2147483647 h 83"/>
                    <a:gd name="T70" fmla="*/ 2147483647 w 71"/>
                    <a:gd name="T71" fmla="*/ 2147483647 h 83"/>
                    <a:gd name="T72" fmla="*/ 2147483647 w 71"/>
                    <a:gd name="T73" fmla="*/ 2147483647 h 83"/>
                    <a:gd name="T74" fmla="*/ 2147483647 w 71"/>
                    <a:gd name="T75" fmla="*/ 2147483647 h 83"/>
                    <a:gd name="T76" fmla="*/ 2147483647 w 71"/>
                    <a:gd name="T77" fmla="*/ 2147483647 h 83"/>
                    <a:gd name="T78" fmla="*/ 2147483647 w 71"/>
                    <a:gd name="T79" fmla="*/ 2147483647 h 83"/>
                    <a:gd name="T80" fmla="*/ 2147483647 w 71"/>
                    <a:gd name="T81" fmla="*/ 2147483647 h 83"/>
                    <a:gd name="T82" fmla="*/ 2147483647 w 71"/>
                    <a:gd name="T83" fmla="*/ 2147483647 h 83"/>
                    <a:gd name="T84" fmla="*/ 2147483647 w 71"/>
                    <a:gd name="T85" fmla="*/ 2147483647 h 83"/>
                    <a:gd name="T86" fmla="*/ 2147483647 w 71"/>
                    <a:gd name="T87" fmla="*/ 2147483647 h 83"/>
                    <a:gd name="T88" fmla="*/ 2147483647 w 71"/>
                    <a:gd name="T89" fmla="*/ 2147483647 h 83"/>
                    <a:gd name="T90" fmla="*/ 2147483647 w 71"/>
                    <a:gd name="T91" fmla="*/ 2147483647 h 83"/>
                    <a:gd name="T92" fmla="*/ 2147483647 w 71"/>
                    <a:gd name="T93" fmla="*/ 2147483647 h 83"/>
                    <a:gd name="T94" fmla="*/ 2147483647 w 71"/>
                    <a:gd name="T95" fmla="*/ 2147483647 h 83"/>
                    <a:gd name="T96" fmla="*/ 2147483647 w 71"/>
                    <a:gd name="T97" fmla="*/ 2147483647 h 83"/>
                    <a:gd name="T98" fmla="*/ 2147483647 w 71"/>
                    <a:gd name="T99" fmla="*/ 2147483647 h 83"/>
                    <a:gd name="T100" fmla="*/ 0 w 71"/>
                    <a:gd name="T101" fmla="*/ 2147483647 h 83"/>
                    <a:gd name="T102" fmla="*/ 2147483647 w 71"/>
                    <a:gd name="T103" fmla="*/ 2147483647 h 83"/>
                    <a:gd name="T104" fmla="*/ 2147483647 w 71"/>
                    <a:gd name="T105" fmla="*/ 2147483647 h 83"/>
                    <a:gd name="T106" fmla="*/ 2147483647 w 71"/>
                    <a:gd name="T107" fmla="*/ 2147483647 h 83"/>
                    <a:gd name="T108" fmla="*/ 2147483647 w 71"/>
                    <a:gd name="T109" fmla="*/ 2147483647 h 83"/>
                    <a:gd name="T110" fmla="*/ 2147483647 w 71"/>
                    <a:gd name="T111" fmla="*/ 2147483647 h 83"/>
                    <a:gd name="T112" fmla="*/ 2147483647 w 71"/>
                    <a:gd name="T113" fmla="*/ 2147483647 h 83"/>
                    <a:gd name="T114" fmla="*/ 2147483647 w 71"/>
                    <a:gd name="T115" fmla="*/ 2147483647 h 83"/>
                    <a:gd name="T116" fmla="*/ 2147483647 w 71"/>
                    <a:gd name="T117" fmla="*/ 2147483647 h 83"/>
                    <a:gd name="T118" fmla="*/ 2147483647 w 71"/>
                    <a:gd name="T119" fmla="*/ 2147483647 h 83"/>
                    <a:gd name="T120" fmla="*/ 2147483647 w 71"/>
                    <a:gd name="T121" fmla="*/ 2147483647 h 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83"/>
                    <a:gd name="T185" fmla="*/ 71 w 71"/>
                    <a:gd name="T186" fmla="*/ 83 h 8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83">
                      <a:moveTo>
                        <a:pt x="47" y="83"/>
                      </a:moveTo>
                      <a:lnTo>
                        <a:pt x="48" y="78"/>
                      </a:lnTo>
                      <a:lnTo>
                        <a:pt x="48" y="73"/>
                      </a:lnTo>
                      <a:lnTo>
                        <a:pt x="50" y="70"/>
                      </a:lnTo>
                      <a:lnTo>
                        <a:pt x="51" y="67"/>
                      </a:lnTo>
                      <a:lnTo>
                        <a:pt x="52" y="66"/>
                      </a:lnTo>
                      <a:lnTo>
                        <a:pt x="55" y="65"/>
                      </a:lnTo>
                      <a:lnTo>
                        <a:pt x="57" y="66"/>
                      </a:lnTo>
                      <a:lnTo>
                        <a:pt x="61" y="66"/>
                      </a:lnTo>
                      <a:lnTo>
                        <a:pt x="64" y="66"/>
                      </a:lnTo>
                      <a:lnTo>
                        <a:pt x="61" y="62"/>
                      </a:lnTo>
                      <a:lnTo>
                        <a:pt x="60" y="58"/>
                      </a:lnTo>
                      <a:lnTo>
                        <a:pt x="60" y="54"/>
                      </a:lnTo>
                      <a:lnTo>
                        <a:pt x="60" y="53"/>
                      </a:lnTo>
                      <a:lnTo>
                        <a:pt x="62" y="52"/>
                      </a:lnTo>
                      <a:lnTo>
                        <a:pt x="67" y="47"/>
                      </a:lnTo>
                      <a:lnTo>
                        <a:pt x="70" y="43"/>
                      </a:lnTo>
                      <a:lnTo>
                        <a:pt x="71" y="41"/>
                      </a:lnTo>
                      <a:lnTo>
                        <a:pt x="69" y="41"/>
                      </a:lnTo>
                      <a:lnTo>
                        <a:pt x="66" y="41"/>
                      </a:lnTo>
                      <a:lnTo>
                        <a:pt x="64" y="40"/>
                      </a:lnTo>
                      <a:lnTo>
                        <a:pt x="64" y="39"/>
                      </a:lnTo>
                      <a:lnTo>
                        <a:pt x="64" y="36"/>
                      </a:lnTo>
                      <a:lnTo>
                        <a:pt x="57" y="36"/>
                      </a:lnTo>
                      <a:lnTo>
                        <a:pt x="55" y="38"/>
                      </a:lnTo>
                      <a:lnTo>
                        <a:pt x="55" y="0"/>
                      </a:lnTo>
                      <a:lnTo>
                        <a:pt x="51" y="1"/>
                      </a:lnTo>
                      <a:lnTo>
                        <a:pt x="46" y="1"/>
                      </a:lnTo>
                      <a:lnTo>
                        <a:pt x="41" y="0"/>
                      </a:lnTo>
                      <a:lnTo>
                        <a:pt x="34" y="0"/>
                      </a:lnTo>
                      <a:lnTo>
                        <a:pt x="31" y="2"/>
                      </a:lnTo>
                      <a:lnTo>
                        <a:pt x="29" y="3"/>
                      </a:lnTo>
                      <a:lnTo>
                        <a:pt x="28" y="6"/>
                      </a:lnTo>
                      <a:lnTo>
                        <a:pt x="28" y="7"/>
                      </a:lnTo>
                      <a:lnTo>
                        <a:pt x="29" y="8"/>
                      </a:lnTo>
                      <a:lnTo>
                        <a:pt x="31" y="10"/>
                      </a:lnTo>
                      <a:lnTo>
                        <a:pt x="31" y="16"/>
                      </a:lnTo>
                      <a:lnTo>
                        <a:pt x="32" y="19"/>
                      </a:lnTo>
                      <a:lnTo>
                        <a:pt x="33" y="21"/>
                      </a:lnTo>
                      <a:lnTo>
                        <a:pt x="34" y="22"/>
                      </a:lnTo>
                      <a:lnTo>
                        <a:pt x="36" y="23"/>
                      </a:lnTo>
                      <a:lnTo>
                        <a:pt x="37" y="23"/>
                      </a:lnTo>
                      <a:lnTo>
                        <a:pt x="38" y="26"/>
                      </a:lnTo>
                      <a:lnTo>
                        <a:pt x="37" y="28"/>
                      </a:lnTo>
                      <a:lnTo>
                        <a:pt x="34" y="30"/>
                      </a:lnTo>
                      <a:lnTo>
                        <a:pt x="24" y="32"/>
                      </a:lnTo>
                      <a:lnTo>
                        <a:pt x="20" y="33"/>
                      </a:lnTo>
                      <a:lnTo>
                        <a:pt x="17" y="36"/>
                      </a:lnTo>
                      <a:lnTo>
                        <a:pt x="9" y="45"/>
                      </a:lnTo>
                      <a:lnTo>
                        <a:pt x="4" y="48"/>
                      </a:lnTo>
                      <a:lnTo>
                        <a:pt x="0" y="52"/>
                      </a:lnTo>
                      <a:lnTo>
                        <a:pt x="5" y="59"/>
                      </a:lnTo>
                      <a:lnTo>
                        <a:pt x="10" y="66"/>
                      </a:lnTo>
                      <a:lnTo>
                        <a:pt x="13" y="68"/>
                      </a:lnTo>
                      <a:lnTo>
                        <a:pt x="15" y="70"/>
                      </a:lnTo>
                      <a:lnTo>
                        <a:pt x="22" y="70"/>
                      </a:lnTo>
                      <a:lnTo>
                        <a:pt x="27" y="71"/>
                      </a:lnTo>
                      <a:lnTo>
                        <a:pt x="32" y="73"/>
                      </a:lnTo>
                      <a:lnTo>
                        <a:pt x="37" y="77"/>
                      </a:lnTo>
                      <a:lnTo>
                        <a:pt x="42" y="79"/>
                      </a:lnTo>
                      <a:lnTo>
                        <a:pt x="47" y="8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39" name="Freeform 897"/>
                <p:cNvSpPr>
                  <a:spLocks/>
                </p:cNvSpPr>
                <p:nvPr/>
              </p:nvSpPr>
              <p:spPr bwMode="auto">
                <a:xfrm>
                  <a:off x="2493107" y="4202517"/>
                  <a:ext cx="57715" cy="35517"/>
                </a:xfrm>
                <a:custGeom>
                  <a:avLst/>
                  <a:gdLst>
                    <a:gd name="T0" fmla="*/ 2147483647 w 42"/>
                    <a:gd name="T1" fmla="*/ 2147483647 h 24"/>
                    <a:gd name="T2" fmla="*/ 2147483647 w 42"/>
                    <a:gd name="T3" fmla="*/ 2147483647 h 24"/>
                    <a:gd name="T4" fmla="*/ 2147483647 w 42"/>
                    <a:gd name="T5" fmla="*/ 2147483647 h 24"/>
                    <a:gd name="T6" fmla="*/ 2147483647 w 42"/>
                    <a:gd name="T7" fmla="*/ 2147483647 h 24"/>
                    <a:gd name="T8" fmla="*/ 2147483647 w 42"/>
                    <a:gd name="T9" fmla="*/ 2147483647 h 24"/>
                    <a:gd name="T10" fmla="*/ 2147483647 w 42"/>
                    <a:gd name="T11" fmla="*/ 2147483647 h 24"/>
                    <a:gd name="T12" fmla="*/ 2147483647 w 42"/>
                    <a:gd name="T13" fmla="*/ 2147483647 h 24"/>
                    <a:gd name="T14" fmla="*/ 2147483647 w 42"/>
                    <a:gd name="T15" fmla="*/ 2147483647 h 24"/>
                    <a:gd name="T16" fmla="*/ 2147483647 w 42"/>
                    <a:gd name="T17" fmla="*/ 2147483647 h 24"/>
                    <a:gd name="T18" fmla="*/ 2147483647 w 42"/>
                    <a:gd name="T19" fmla="*/ 2147483647 h 24"/>
                    <a:gd name="T20" fmla="*/ 2147483647 w 42"/>
                    <a:gd name="T21" fmla="*/ 2147483647 h 24"/>
                    <a:gd name="T22" fmla="*/ 2147483647 w 42"/>
                    <a:gd name="T23" fmla="*/ 2147483647 h 24"/>
                    <a:gd name="T24" fmla="*/ 2147483647 w 42"/>
                    <a:gd name="T25" fmla="*/ 2147483647 h 24"/>
                    <a:gd name="T26" fmla="*/ 2147483647 w 42"/>
                    <a:gd name="T27" fmla="*/ 2147483647 h 24"/>
                    <a:gd name="T28" fmla="*/ 2147483647 w 42"/>
                    <a:gd name="T29" fmla="*/ 2147483647 h 24"/>
                    <a:gd name="T30" fmla="*/ 2147483647 w 42"/>
                    <a:gd name="T31" fmla="*/ 2147483647 h 24"/>
                    <a:gd name="T32" fmla="*/ 2147483647 w 42"/>
                    <a:gd name="T33" fmla="*/ 0 h 24"/>
                    <a:gd name="T34" fmla="*/ 2147483647 w 42"/>
                    <a:gd name="T35" fmla="*/ 2147483647 h 24"/>
                    <a:gd name="T36" fmla="*/ 2147483647 w 42"/>
                    <a:gd name="T37" fmla="*/ 2147483647 h 24"/>
                    <a:gd name="T38" fmla="*/ 2147483647 w 42"/>
                    <a:gd name="T39" fmla="*/ 2147483647 h 24"/>
                    <a:gd name="T40" fmla="*/ 2147483647 w 42"/>
                    <a:gd name="T41" fmla="*/ 2147483647 h 24"/>
                    <a:gd name="T42" fmla="*/ 2147483647 w 42"/>
                    <a:gd name="T43" fmla="*/ 2147483647 h 24"/>
                    <a:gd name="T44" fmla="*/ 2147483647 w 42"/>
                    <a:gd name="T45" fmla="*/ 2147483647 h 24"/>
                    <a:gd name="T46" fmla="*/ 0 w 42"/>
                    <a:gd name="T47" fmla="*/ 2147483647 h 24"/>
                    <a:gd name="T48" fmla="*/ 0 w 42"/>
                    <a:gd name="T49" fmla="*/ 2147483647 h 24"/>
                    <a:gd name="T50" fmla="*/ 2147483647 w 42"/>
                    <a:gd name="T51" fmla="*/ 2147483647 h 24"/>
                    <a:gd name="T52" fmla="*/ 2147483647 w 42"/>
                    <a:gd name="T53" fmla="*/ 2147483647 h 24"/>
                    <a:gd name="T54" fmla="*/ 2147483647 w 42"/>
                    <a:gd name="T55" fmla="*/ 2147483647 h 24"/>
                    <a:gd name="T56" fmla="*/ 2147483647 w 42"/>
                    <a:gd name="T57" fmla="*/ 2147483647 h 24"/>
                    <a:gd name="T58" fmla="*/ 2147483647 w 42"/>
                    <a:gd name="T59" fmla="*/ 2147483647 h 24"/>
                    <a:gd name="T60" fmla="*/ 2147483647 w 42"/>
                    <a:gd name="T61" fmla="*/ 2147483647 h 2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2"/>
                    <a:gd name="T94" fmla="*/ 0 h 24"/>
                    <a:gd name="T95" fmla="*/ 42 w 42"/>
                    <a:gd name="T96" fmla="*/ 24 h 2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2" h="24">
                      <a:moveTo>
                        <a:pt x="34" y="24"/>
                      </a:moveTo>
                      <a:lnTo>
                        <a:pt x="34" y="24"/>
                      </a:lnTo>
                      <a:lnTo>
                        <a:pt x="38" y="21"/>
                      </a:lnTo>
                      <a:lnTo>
                        <a:pt x="40" y="16"/>
                      </a:lnTo>
                      <a:lnTo>
                        <a:pt x="42" y="11"/>
                      </a:lnTo>
                      <a:lnTo>
                        <a:pt x="40" y="10"/>
                      </a:lnTo>
                      <a:lnTo>
                        <a:pt x="39" y="9"/>
                      </a:lnTo>
                      <a:lnTo>
                        <a:pt x="34" y="7"/>
                      </a:lnTo>
                      <a:lnTo>
                        <a:pt x="28" y="7"/>
                      </a:lnTo>
                      <a:lnTo>
                        <a:pt x="21" y="4"/>
                      </a:lnTo>
                      <a:lnTo>
                        <a:pt x="19" y="3"/>
                      </a:lnTo>
                      <a:lnTo>
                        <a:pt x="16" y="1"/>
                      </a:lnTo>
                      <a:lnTo>
                        <a:pt x="14" y="1"/>
                      </a:lnTo>
                      <a:lnTo>
                        <a:pt x="10" y="1"/>
                      </a:lnTo>
                      <a:lnTo>
                        <a:pt x="7" y="0"/>
                      </a:lnTo>
                      <a:lnTo>
                        <a:pt x="5" y="1"/>
                      </a:lnTo>
                      <a:lnTo>
                        <a:pt x="4" y="2"/>
                      </a:lnTo>
                      <a:lnTo>
                        <a:pt x="2" y="4"/>
                      </a:lnTo>
                      <a:lnTo>
                        <a:pt x="1" y="8"/>
                      </a:lnTo>
                      <a:lnTo>
                        <a:pt x="1" y="13"/>
                      </a:lnTo>
                      <a:lnTo>
                        <a:pt x="0" y="17"/>
                      </a:lnTo>
                      <a:lnTo>
                        <a:pt x="2" y="19"/>
                      </a:lnTo>
                      <a:lnTo>
                        <a:pt x="18" y="21"/>
                      </a:lnTo>
                      <a:lnTo>
                        <a:pt x="26" y="22"/>
                      </a:lnTo>
                      <a:lnTo>
                        <a:pt x="34" y="2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0" name="Freeform 898"/>
                <p:cNvSpPr>
                  <a:spLocks/>
                </p:cNvSpPr>
                <p:nvPr/>
              </p:nvSpPr>
              <p:spPr bwMode="auto">
                <a:xfrm>
                  <a:off x="2429471" y="4104848"/>
                  <a:ext cx="97672" cy="122830"/>
                </a:xfrm>
                <a:custGeom>
                  <a:avLst/>
                  <a:gdLst>
                    <a:gd name="T0" fmla="*/ 2147483647 w 71"/>
                    <a:gd name="T1" fmla="*/ 2147483647 h 83"/>
                    <a:gd name="T2" fmla="*/ 2147483647 w 71"/>
                    <a:gd name="T3" fmla="*/ 2147483647 h 83"/>
                    <a:gd name="T4" fmla="*/ 2147483647 w 71"/>
                    <a:gd name="T5" fmla="*/ 2147483647 h 83"/>
                    <a:gd name="T6" fmla="*/ 2147483647 w 71"/>
                    <a:gd name="T7" fmla="*/ 2147483647 h 83"/>
                    <a:gd name="T8" fmla="*/ 2147483647 w 71"/>
                    <a:gd name="T9" fmla="*/ 2147483647 h 83"/>
                    <a:gd name="T10" fmla="*/ 2147483647 w 71"/>
                    <a:gd name="T11" fmla="*/ 2147483647 h 83"/>
                    <a:gd name="T12" fmla="*/ 2147483647 w 71"/>
                    <a:gd name="T13" fmla="*/ 2147483647 h 83"/>
                    <a:gd name="T14" fmla="*/ 2147483647 w 71"/>
                    <a:gd name="T15" fmla="*/ 2147483647 h 83"/>
                    <a:gd name="T16" fmla="*/ 2147483647 w 71"/>
                    <a:gd name="T17" fmla="*/ 2147483647 h 83"/>
                    <a:gd name="T18" fmla="*/ 2147483647 w 71"/>
                    <a:gd name="T19" fmla="*/ 2147483647 h 83"/>
                    <a:gd name="T20" fmla="*/ 2147483647 w 71"/>
                    <a:gd name="T21" fmla="*/ 2147483647 h 83"/>
                    <a:gd name="T22" fmla="*/ 2147483647 w 71"/>
                    <a:gd name="T23" fmla="*/ 2147483647 h 83"/>
                    <a:gd name="T24" fmla="*/ 2147483647 w 71"/>
                    <a:gd name="T25" fmla="*/ 2147483647 h 83"/>
                    <a:gd name="T26" fmla="*/ 2147483647 w 71"/>
                    <a:gd name="T27" fmla="*/ 2147483647 h 83"/>
                    <a:gd name="T28" fmla="*/ 2147483647 w 71"/>
                    <a:gd name="T29" fmla="*/ 2147483647 h 83"/>
                    <a:gd name="T30" fmla="*/ 2147483647 w 71"/>
                    <a:gd name="T31" fmla="*/ 2147483647 h 83"/>
                    <a:gd name="T32" fmla="*/ 2147483647 w 71"/>
                    <a:gd name="T33" fmla="*/ 0 h 83"/>
                    <a:gd name="T34" fmla="*/ 2147483647 w 71"/>
                    <a:gd name="T35" fmla="*/ 2147483647 h 83"/>
                    <a:gd name="T36" fmla="*/ 2147483647 w 71"/>
                    <a:gd name="T37" fmla="*/ 0 h 83"/>
                    <a:gd name="T38" fmla="*/ 2147483647 w 71"/>
                    <a:gd name="T39" fmla="*/ 0 h 83"/>
                    <a:gd name="T40" fmla="*/ 2147483647 w 71"/>
                    <a:gd name="T41" fmla="*/ 2147483647 h 83"/>
                    <a:gd name="T42" fmla="*/ 2147483647 w 71"/>
                    <a:gd name="T43" fmla="*/ 2147483647 h 83"/>
                    <a:gd name="T44" fmla="*/ 2147483647 w 71"/>
                    <a:gd name="T45" fmla="*/ 2147483647 h 83"/>
                    <a:gd name="T46" fmla="*/ 2147483647 w 71"/>
                    <a:gd name="T47" fmla="*/ 2147483647 h 83"/>
                    <a:gd name="T48" fmla="*/ 2147483647 w 71"/>
                    <a:gd name="T49" fmla="*/ 2147483647 h 83"/>
                    <a:gd name="T50" fmla="*/ 2147483647 w 71"/>
                    <a:gd name="T51" fmla="*/ 2147483647 h 83"/>
                    <a:gd name="T52" fmla="*/ 2147483647 w 71"/>
                    <a:gd name="T53" fmla="*/ 2147483647 h 83"/>
                    <a:gd name="T54" fmla="*/ 2147483647 w 71"/>
                    <a:gd name="T55" fmla="*/ 2147483647 h 83"/>
                    <a:gd name="T56" fmla="*/ 2147483647 w 71"/>
                    <a:gd name="T57" fmla="*/ 2147483647 h 83"/>
                    <a:gd name="T58" fmla="*/ 2147483647 w 71"/>
                    <a:gd name="T59" fmla="*/ 2147483647 h 83"/>
                    <a:gd name="T60" fmla="*/ 2147483647 w 71"/>
                    <a:gd name="T61" fmla="*/ 2147483647 h 83"/>
                    <a:gd name="T62" fmla="*/ 2147483647 w 71"/>
                    <a:gd name="T63" fmla="*/ 2147483647 h 83"/>
                    <a:gd name="T64" fmla="*/ 2147483647 w 71"/>
                    <a:gd name="T65" fmla="*/ 2147483647 h 83"/>
                    <a:gd name="T66" fmla="*/ 0 w 71"/>
                    <a:gd name="T67" fmla="*/ 2147483647 h 83"/>
                    <a:gd name="T68" fmla="*/ 2147483647 w 71"/>
                    <a:gd name="T69" fmla="*/ 2147483647 h 83"/>
                    <a:gd name="T70" fmla="*/ 2147483647 w 71"/>
                    <a:gd name="T71" fmla="*/ 2147483647 h 83"/>
                    <a:gd name="T72" fmla="*/ 2147483647 w 71"/>
                    <a:gd name="T73" fmla="*/ 2147483647 h 83"/>
                    <a:gd name="T74" fmla="*/ 2147483647 w 71"/>
                    <a:gd name="T75" fmla="*/ 2147483647 h 83"/>
                    <a:gd name="T76" fmla="*/ 2147483647 w 71"/>
                    <a:gd name="T77" fmla="*/ 2147483647 h 83"/>
                    <a:gd name="T78" fmla="*/ 2147483647 w 71"/>
                    <a:gd name="T79" fmla="*/ 2147483647 h 83"/>
                    <a:gd name="T80" fmla="*/ 2147483647 w 71"/>
                    <a:gd name="T81" fmla="*/ 2147483647 h 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83"/>
                    <a:gd name="T125" fmla="*/ 71 w 71"/>
                    <a:gd name="T126" fmla="*/ 83 h 8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83">
                      <a:moveTo>
                        <a:pt x="47" y="83"/>
                      </a:moveTo>
                      <a:lnTo>
                        <a:pt x="47" y="83"/>
                      </a:lnTo>
                      <a:lnTo>
                        <a:pt x="48" y="79"/>
                      </a:lnTo>
                      <a:lnTo>
                        <a:pt x="48" y="74"/>
                      </a:lnTo>
                      <a:lnTo>
                        <a:pt x="49" y="70"/>
                      </a:lnTo>
                      <a:lnTo>
                        <a:pt x="51" y="68"/>
                      </a:lnTo>
                      <a:lnTo>
                        <a:pt x="52" y="67"/>
                      </a:lnTo>
                      <a:lnTo>
                        <a:pt x="54" y="66"/>
                      </a:lnTo>
                      <a:lnTo>
                        <a:pt x="57" y="67"/>
                      </a:lnTo>
                      <a:lnTo>
                        <a:pt x="61" y="67"/>
                      </a:lnTo>
                      <a:lnTo>
                        <a:pt x="63" y="67"/>
                      </a:lnTo>
                      <a:lnTo>
                        <a:pt x="61" y="63"/>
                      </a:lnTo>
                      <a:lnTo>
                        <a:pt x="59" y="58"/>
                      </a:lnTo>
                      <a:lnTo>
                        <a:pt x="59" y="55"/>
                      </a:lnTo>
                      <a:lnTo>
                        <a:pt x="59" y="54"/>
                      </a:lnTo>
                      <a:lnTo>
                        <a:pt x="62" y="53"/>
                      </a:lnTo>
                      <a:lnTo>
                        <a:pt x="67" y="48"/>
                      </a:lnTo>
                      <a:lnTo>
                        <a:pt x="70" y="44"/>
                      </a:lnTo>
                      <a:lnTo>
                        <a:pt x="71" y="42"/>
                      </a:lnTo>
                      <a:lnTo>
                        <a:pt x="68" y="42"/>
                      </a:lnTo>
                      <a:lnTo>
                        <a:pt x="66" y="42"/>
                      </a:lnTo>
                      <a:lnTo>
                        <a:pt x="63" y="41"/>
                      </a:lnTo>
                      <a:lnTo>
                        <a:pt x="63" y="40"/>
                      </a:lnTo>
                      <a:lnTo>
                        <a:pt x="63" y="37"/>
                      </a:lnTo>
                      <a:lnTo>
                        <a:pt x="57" y="37"/>
                      </a:lnTo>
                      <a:lnTo>
                        <a:pt x="54" y="38"/>
                      </a:lnTo>
                      <a:lnTo>
                        <a:pt x="54" y="0"/>
                      </a:lnTo>
                      <a:lnTo>
                        <a:pt x="51" y="2"/>
                      </a:lnTo>
                      <a:lnTo>
                        <a:pt x="46" y="2"/>
                      </a:lnTo>
                      <a:lnTo>
                        <a:pt x="40" y="0"/>
                      </a:lnTo>
                      <a:lnTo>
                        <a:pt x="34" y="0"/>
                      </a:lnTo>
                      <a:lnTo>
                        <a:pt x="30" y="3"/>
                      </a:lnTo>
                      <a:lnTo>
                        <a:pt x="29" y="4"/>
                      </a:lnTo>
                      <a:lnTo>
                        <a:pt x="28" y="6"/>
                      </a:lnTo>
                      <a:lnTo>
                        <a:pt x="28" y="8"/>
                      </a:lnTo>
                      <a:lnTo>
                        <a:pt x="29" y="9"/>
                      </a:lnTo>
                      <a:lnTo>
                        <a:pt x="30" y="11"/>
                      </a:lnTo>
                      <a:lnTo>
                        <a:pt x="30" y="17"/>
                      </a:lnTo>
                      <a:lnTo>
                        <a:pt x="32" y="19"/>
                      </a:lnTo>
                      <a:lnTo>
                        <a:pt x="33" y="22"/>
                      </a:lnTo>
                      <a:lnTo>
                        <a:pt x="34" y="23"/>
                      </a:lnTo>
                      <a:lnTo>
                        <a:pt x="35" y="24"/>
                      </a:lnTo>
                      <a:lnTo>
                        <a:pt x="37" y="24"/>
                      </a:lnTo>
                      <a:lnTo>
                        <a:pt x="38" y="26"/>
                      </a:lnTo>
                      <a:lnTo>
                        <a:pt x="37" y="29"/>
                      </a:lnTo>
                      <a:lnTo>
                        <a:pt x="34" y="31"/>
                      </a:lnTo>
                      <a:lnTo>
                        <a:pt x="24" y="32"/>
                      </a:lnTo>
                      <a:lnTo>
                        <a:pt x="20" y="34"/>
                      </a:lnTo>
                      <a:lnTo>
                        <a:pt x="16" y="37"/>
                      </a:lnTo>
                      <a:lnTo>
                        <a:pt x="9" y="45"/>
                      </a:lnTo>
                      <a:lnTo>
                        <a:pt x="4" y="49"/>
                      </a:lnTo>
                      <a:lnTo>
                        <a:pt x="0" y="53"/>
                      </a:lnTo>
                      <a:lnTo>
                        <a:pt x="5" y="60"/>
                      </a:lnTo>
                      <a:lnTo>
                        <a:pt x="10" y="67"/>
                      </a:lnTo>
                      <a:lnTo>
                        <a:pt x="13" y="69"/>
                      </a:lnTo>
                      <a:lnTo>
                        <a:pt x="15" y="70"/>
                      </a:lnTo>
                      <a:lnTo>
                        <a:pt x="21" y="70"/>
                      </a:lnTo>
                      <a:lnTo>
                        <a:pt x="26" y="72"/>
                      </a:lnTo>
                      <a:lnTo>
                        <a:pt x="32" y="74"/>
                      </a:lnTo>
                      <a:lnTo>
                        <a:pt x="37" y="77"/>
                      </a:lnTo>
                      <a:lnTo>
                        <a:pt x="42" y="80"/>
                      </a:lnTo>
                      <a:lnTo>
                        <a:pt x="47" y="8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1" name="Freeform 899"/>
                <p:cNvSpPr>
                  <a:spLocks/>
                </p:cNvSpPr>
                <p:nvPr/>
              </p:nvSpPr>
              <p:spPr bwMode="auto">
                <a:xfrm>
                  <a:off x="2506423" y="4093007"/>
                  <a:ext cx="39956" cy="71034"/>
                </a:xfrm>
                <a:custGeom>
                  <a:avLst/>
                  <a:gdLst>
                    <a:gd name="T0" fmla="*/ 2147483647 w 30"/>
                    <a:gd name="T1" fmla="*/ 2147483647 h 48"/>
                    <a:gd name="T2" fmla="*/ 2147483647 w 30"/>
                    <a:gd name="T3" fmla="*/ 2147483647 h 48"/>
                    <a:gd name="T4" fmla="*/ 0 w 30"/>
                    <a:gd name="T5" fmla="*/ 2147483647 h 48"/>
                    <a:gd name="T6" fmla="*/ 0 w 30"/>
                    <a:gd name="T7" fmla="*/ 2147483647 h 48"/>
                    <a:gd name="T8" fmla="*/ 2147483647 w 30"/>
                    <a:gd name="T9" fmla="*/ 2147483647 h 48"/>
                    <a:gd name="T10" fmla="*/ 2147483647 w 30"/>
                    <a:gd name="T11" fmla="*/ 2147483647 h 48"/>
                    <a:gd name="T12" fmla="*/ 2147483647 w 30"/>
                    <a:gd name="T13" fmla="*/ 2147483647 h 48"/>
                    <a:gd name="T14" fmla="*/ 2147483647 w 30"/>
                    <a:gd name="T15" fmla="*/ 2147483647 h 48"/>
                    <a:gd name="T16" fmla="*/ 2147483647 w 30"/>
                    <a:gd name="T17" fmla="*/ 2147483647 h 48"/>
                    <a:gd name="T18" fmla="*/ 2147483647 w 30"/>
                    <a:gd name="T19" fmla="*/ 0 h 48"/>
                    <a:gd name="T20" fmla="*/ 2147483647 w 30"/>
                    <a:gd name="T21" fmla="*/ 0 h 48"/>
                    <a:gd name="T22" fmla="*/ 2147483647 w 30"/>
                    <a:gd name="T23" fmla="*/ 0 h 48"/>
                    <a:gd name="T24" fmla="*/ 2147483647 w 30"/>
                    <a:gd name="T25" fmla="*/ 2147483647 h 48"/>
                    <a:gd name="T26" fmla="*/ 2147483647 w 30"/>
                    <a:gd name="T27" fmla="*/ 2147483647 h 48"/>
                    <a:gd name="T28" fmla="*/ 2147483647 w 30"/>
                    <a:gd name="T29" fmla="*/ 2147483647 h 48"/>
                    <a:gd name="T30" fmla="*/ 2147483647 w 30"/>
                    <a:gd name="T31" fmla="*/ 2147483647 h 48"/>
                    <a:gd name="T32" fmla="*/ 2147483647 w 30"/>
                    <a:gd name="T33" fmla="*/ 2147483647 h 48"/>
                    <a:gd name="T34" fmla="*/ 2147483647 w 30"/>
                    <a:gd name="T35" fmla="*/ 2147483647 h 48"/>
                    <a:gd name="T36" fmla="*/ 2147483647 w 30"/>
                    <a:gd name="T37" fmla="*/ 2147483647 h 48"/>
                    <a:gd name="T38" fmla="*/ 2147483647 w 30"/>
                    <a:gd name="T39" fmla="*/ 2147483647 h 48"/>
                    <a:gd name="T40" fmla="*/ 2147483647 w 30"/>
                    <a:gd name="T41" fmla="*/ 2147483647 h 48"/>
                    <a:gd name="T42" fmla="*/ 2147483647 w 30"/>
                    <a:gd name="T43" fmla="*/ 2147483647 h 48"/>
                    <a:gd name="T44" fmla="*/ 2147483647 w 30"/>
                    <a:gd name="T45" fmla="*/ 2147483647 h 48"/>
                    <a:gd name="T46" fmla="*/ 2147483647 w 30"/>
                    <a:gd name="T47" fmla="*/ 2147483647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48"/>
                    <a:gd name="T74" fmla="*/ 30 w 30"/>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48">
                      <a:moveTo>
                        <a:pt x="9" y="46"/>
                      </a:moveTo>
                      <a:lnTo>
                        <a:pt x="2" y="46"/>
                      </a:lnTo>
                      <a:lnTo>
                        <a:pt x="0" y="48"/>
                      </a:lnTo>
                      <a:lnTo>
                        <a:pt x="0" y="10"/>
                      </a:lnTo>
                      <a:lnTo>
                        <a:pt x="5" y="8"/>
                      </a:lnTo>
                      <a:lnTo>
                        <a:pt x="12" y="8"/>
                      </a:lnTo>
                      <a:lnTo>
                        <a:pt x="15" y="7"/>
                      </a:lnTo>
                      <a:lnTo>
                        <a:pt x="17" y="5"/>
                      </a:lnTo>
                      <a:lnTo>
                        <a:pt x="20" y="1"/>
                      </a:lnTo>
                      <a:lnTo>
                        <a:pt x="24" y="0"/>
                      </a:lnTo>
                      <a:lnTo>
                        <a:pt x="26" y="0"/>
                      </a:lnTo>
                      <a:lnTo>
                        <a:pt x="30" y="0"/>
                      </a:lnTo>
                      <a:lnTo>
                        <a:pt x="26" y="4"/>
                      </a:lnTo>
                      <a:lnTo>
                        <a:pt x="24" y="7"/>
                      </a:lnTo>
                      <a:lnTo>
                        <a:pt x="23" y="11"/>
                      </a:lnTo>
                      <a:lnTo>
                        <a:pt x="21" y="16"/>
                      </a:lnTo>
                      <a:lnTo>
                        <a:pt x="21" y="25"/>
                      </a:lnTo>
                      <a:lnTo>
                        <a:pt x="20" y="33"/>
                      </a:lnTo>
                      <a:lnTo>
                        <a:pt x="19" y="37"/>
                      </a:lnTo>
                      <a:lnTo>
                        <a:pt x="16" y="42"/>
                      </a:lnTo>
                      <a:lnTo>
                        <a:pt x="14" y="43"/>
                      </a:lnTo>
                      <a:lnTo>
                        <a:pt x="11" y="43"/>
                      </a:lnTo>
                      <a:lnTo>
                        <a:pt x="10" y="43"/>
                      </a:lnTo>
                      <a:lnTo>
                        <a:pt x="9" y="4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2" name="Freeform 900"/>
                <p:cNvSpPr>
                  <a:spLocks/>
                </p:cNvSpPr>
                <p:nvPr/>
              </p:nvSpPr>
              <p:spPr bwMode="auto">
                <a:xfrm>
                  <a:off x="1856759" y="3649049"/>
                  <a:ext cx="710340" cy="535714"/>
                </a:xfrm>
                <a:custGeom>
                  <a:avLst/>
                  <a:gdLst>
                    <a:gd name="T0" fmla="*/ 2147483647 w 520"/>
                    <a:gd name="T1" fmla="*/ 2147483647 h 362"/>
                    <a:gd name="T2" fmla="*/ 2147483647 w 520"/>
                    <a:gd name="T3" fmla="*/ 2147483647 h 362"/>
                    <a:gd name="T4" fmla="*/ 2147483647 w 520"/>
                    <a:gd name="T5" fmla="*/ 2147483647 h 362"/>
                    <a:gd name="T6" fmla="*/ 2147483647 w 520"/>
                    <a:gd name="T7" fmla="*/ 2147483647 h 362"/>
                    <a:gd name="T8" fmla="*/ 2147483647 w 520"/>
                    <a:gd name="T9" fmla="*/ 2147483647 h 362"/>
                    <a:gd name="T10" fmla="*/ 2147483647 w 520"/>
                    <a:gd name="T11" fmla="*/ 2147483647 h 362"/>
                    <a:gd name="T12" fmla="*/ 2147483647 w 520"/>
                    <a:gd name="T13" fmla="*/ 2147483647 h 362"/>
                    <a:gd name="T14" fmla="*/ 2147483647 w 520"/>
                    <a:gd name="T15" fmla="*/ 2147483647 h 362"/>
                    <a:gd name="T16" fmla="*/ 2147483647 w 520"/>
                    <a:gd name="T17" fmla="*/ 2147483647 h 362"/>
                    <a:gd name="T18" fmla="*/ 2147483647 w 520"/>
                    <a:gd name="T19" fmla="*/ 2147483647 h 362"/>
                    <a:gd name="T20" fmla="*/ 2147483647 w 520"/>
                    <a:gd name="T21" fmla="*/ 2147483647 h 362"/>
                    <a:gd name="T22" fmla="*/ 2147483647 w 520"/>
                    <a:gd name="T23" fmla="*/ 2147483647 h 362"/>
                    <a:gd name="T24" fmla="*/ 2147483647 w 520"/>
                    <a:gd name="T25" fmla="*/ 2147483647 h 362"/>
                    <a:gd name="T26" fmla="*/ 2147483647 w 520"/>
                    <a:gd name="T27" fmla="*/ 2147483647 h 362"/>
                    <a:gd name="T28" fmla="*/ 2147483647 w 520"/>
                    <a:gd name="T29" fmla="*/ 2147483647 h 362"/>
                    <a:gd name="T30" fmla="*/ 2147483647 w 520"/>
                    <a:gd name="T31" fmla="*/ 2147483647 h 362"/>
                    <a:gd name="T32" fmla="*/ 2147483647 w 520"/>
                    <a:gd name="T33" fmla="*/ 2147483647 h 362"/>
                    <a:gd name="T34" fmla="*/ 2147483647 w 520"/>
                    <a:gd name="T35" fmla="*/ 2147483647 h 362"/>
                    <a:gd name="T36" fmla="*/ 2147483647 w 520"/>
                    <a:gd name="T37" fmla="*/ 2147483647 h 362"/>
                    <a:gd name="T38" fmla="*/ 2147483647 w 520"/>
                    <a:gd name="T39" fmla="*/ 2147483647 h 362"/>
                    <a:gd name="T40" fmla="*/ 2147483647 w 520"/>
                    <a:gd name="T41" fmla="*/ 2147483647 h 362"/>
                    <a:gd name="T42" fmla="*/ 2147483647 w 520"/>
                    <a:gd name="T43" fmla="*/ 2147483647 h 362"/>
                    <a:gd name="T44" fmla="*/ 2147483647 w 520"/>
                    <a:gd name="T45" fmla="*/ 2147483647 h 362"/>
                    <a:gd name="T46" fmla="*/ 2147483647 w 520"/>
                    <a:gd name="T47" fmla="*/ 2147483647 h 362"/>
                    <a:gd name="T48" fmla="*/ 2147483647 w 520"/>
                    <a:gd name="T49" fmla="*/ 2147483647 h 362"/>
                    <a:gd name="T50" fmla="*/ 2147483647 w 520"/>
                    <a:gd name="T51" fmla="*/ 2147483647 h 362"/>
                    <a:gd name="T52" fmla="*/ 2147483647 w 520"/>
                    <a:gd name="T53" fmla="*/ 2147483647 h 362"/>
                    <a:gd name="T54" fmla="*/ 2147483647 w 520"/>
                    <a:gd name="T55" fmla="*/ 2147483647 h 362"/>
                    <a:gd name="T56" fmla="*/ 2147483647 w 520"/>
                    <a:gd name="T57" fmla="*/ 2147483647 h 362"/>
                    <a:gd name="T58" fmla="*/ 2147483647 w 520"/>
                    <a:gd name="T59" fmla="*/ 2147483647 h 362"/>
                    <a:gd name="T60" fmla="*/ 2147483647 w 520"/>
                    <a:gd name="T61" fmla="*/ 2147483647 h 362"/>
                    <a:gd name="T62" fmla="*/ 2147483647 w 520"/>
                    <a:gd name="T63" fmla="*/ 2147483647 h 362"/>
                    <a:gd name="T64" fmla="*/ 2147483647 w 520"/>
                    <a:gd name="T65" fmla="*/ 2147483647 h 362"/>
                    <a:gd name="T66" fmla="*/ 2147483647 w 520"/>
                    <a:gd name="T67" fmla="*/ 2147483647 h 362"/>
                    <a:gd name="T68" fmla="*/ 2147483647 w 520"/>
                    <a:gd name="T69" fmla="*/ 2147483647 h 362"/>
                    <a:gd name="T70" fmla="*/ 2147483647 w 520"/>
                    <a:gd name="T71" fmla="*/ 0 h 362"/>
                    <a:gd name="T72" fmla="*/ 2147483647 w 520"/>
                    <a:gd name="T73" fmla="*/ 2147483647 h 362"/>
                    <a:gd name="T74" fmla="*/ 2147483647 w 520"/>
                    <a:gd name="T75" fmla="*/ 2147483647 h 362"/>
                    <a:gd name="T76" fmla="*/ 2147483647 w 520"/>
                    <a:gd name="T77" fmla="*/ 2147483647 h 362"/>
                    <a:gd name="T78" fmla="*/ 2147483647 w 520"/>
                    <a:gd name="T79" fmla="*/ 2147483647 h 362"/>
                    <a:gd name="T80" fmla="*/ 2147483647 w 520"/>
                    <a:gd name="T81" fmla="*/ 2147483647 h 362"/>
                    <a:gd name="T82" fmla="*/ 2147483647 w 520"/>
                    <a:gd name="T83" fmla="*/ 2147483647 h 362"/>
                    <a:gd name="T84" fmla="*/ 2147483647 w 520"/>
                    <a:gd name="T85" fmla="*/ 2147483647 h 362"/>
                    <a:gd name="T86" fmla="*/ 2147483647 w 520"/>
                    <a:gd name="T87" fmla="*/ 2147483647 h 362"/>
                    <a:gd name="T88" fmla="*/ 2147483647 w 520"/>
                    <a:gd name="T89" fmla="*/ 2147483647 h 362"/>
                    <a:gd name="T90" fmla="*/ 2147483647 w 520"/>
                    <a:gd name="T91" fmla="*/ 2147483647 h 362"/>
                    <a:gd name="T92" fmla="*/ 2147483647 w 520"/>
                    <a:gd name="T93" fmla="*/ 2147483647 h 362"/>
                    <a:gd name="T94" fmla="*/ 2147483647 w 520"/>
                    <a:gd name="T95" fmla="*/ 2147483647 h 362"/>
                    <a:gd name="T96" fmla="*/ 2147483647 w 520"/>
                    <a:gd name="T97" fmla="*/ 2147483647 h 362"/>
                    <a:gd name="T98" fmla="*/ 2147483647 w 520"/>
                    <a:gd name="T99" fmla="*/ 2147483647 h 362"/>
                    <a:gd name="T100" fmla="*/ 2147483647 w 520"/>
                    <a:gd name="T101" fmla="*/ 2147483647 h 362"/>
                    <a:gd name="T102" fmla="*/ 2147483647 w 520"/>
                    <a:gd name="T103" fmla="*/ 2147483647 h 362"/>
                    <a:gd name="T104" fmla="*/ 2147483647 w 520"/>
                    <a:gd name="T105" fmla="*/ 2147483647 h 362"/>
                    <a:gd name="T106" fmla="*/ 2147483647 w 520"/>
                    <a:gd name="T107" fmla="*/ 2147483647 h 362"/>
                    <a:gd name="T108" fmla="*/ 2147483647 w 520"/>
                    <a:gd name="T109" fmla="*/ 2147483647 h 362"/>
                    <a:gd name="T110" fmla="*/ 2147483647 w 520"/>
                    <a:gd name="T111" fmla="*/ 2147483647 h 362"/>
                    <a:gd name="T112" fmla="*/ 2147483647 w 520"/>
                    <a:gd name="T113" fmla="*/ 2147483647 h 362"/>
                    <a:gd name="T114" fmla="*/ 2147483647 w 520"/>
                    <a:gd name="T115" fmla="*/ 2147483647 h 3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0"/>
                    <a:gd name="T175" fmla="*/ 0 h 362"/>
                    <a:gd name="T176" fmla="*/ 520 w 520"/>
                    <a:gd name="T177" fmla="*/ 362 h 36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0" h="362">
                      <a:moveTo>
                        <a:pt x="505" y="300"/>
                      </a:moveTo>
                      <a:lnTo>
                        <a:pt x="501" y="300"/>
                      </a:lnTo>
                      <a:lnTo>
                        <a:pt x="499" y="300"/>
                      </a:lnTo>
                      <a:lnTo>
                        <a:pt x="495" y="301"/>
                      </a:lnTo>
                      <a:lnTo>
                        <a:pt x="492" y="305"/>
                      </a:lnTo>
                      <a:lnTo>
                        <a:pt x="490" y="307"/>
                      </a:lnTo>
                      <a:lnTo>
                        <a:pt x="487" y="308"/>
                      </a:lnTo>
                      <a:lnTo>
                        <a:pt x="480" y="308"/>
                      </a:lnTo>
                      <a:lnTo>
                        <a:pt x="475" y="310"/>
                      </a:lnTo>
                      <a:lnTo>
                        <a:pt x="471" y="311"/>
                      </a:lnTo>
                      <a:lnTo>
                        <a:pt x="466" y="311"/>
                      </a:lnTo>
                      <a:lnTo>
                        <a:pt x="461" y="310"/>
                      </a:lnTo>
                      <a:lnTo>
                        <a:pt x="454" y="310"/>
                      </a:lnTo>
                      <a:lnTo>
                        <a:pt x="451" y="312"/>
                      </a:lnTo>
                      <a:lnTo>
                        <a:pt x="449" y="313"/>
                      </a:lnTo>
                      <a:lnTo>
                        <a:pt x="448" y="316"/>
                      </a:lnTo>
                      <a:lnTo>
                        <a:pt x="448" y="317"/>
                      </a:lnTo>
                      <a:lnTo>
                        <a:pt x="449" y="318"/>
                      </a:lnTo>
                      <a:lnTo>
                        <a:pt x="451" y="320"/>
                      </a:lnTo>
                      <a:lnTo>
                        <a:pt x="451" y="326"/>
                      </a:lnTo>
                      <a:lnTo>
                        <a:pt x="452" y="329"/>
                      </a:lnTo>
                      <a:lnTo>
                        <a:pt x="453" y="331"/>
                      </a:lnTo>
                      <a:lnTo>
                        <a:pt x="454" y="332"/>
                      </a:lnTo>
                      <a:lnTo>
                        <a:pt x="456" y="333"/>
                      </a:lnTo>
                      <a:lnTo>
                        <a:pt x="457" y="333"/>
                      </a:lnTo>
                      <a:lnTo>
                        <a:pt x="458" y="336"/>
                      </a:lnTo>
                      <a:lnTo>
                        <a:pt x="457" y="338"/>
                      </a:lnTo>
                      <a:lnTo>
                        <a:pt x="454" y="340"/>
                      </a:lnTo>
                      <a:lnTo>
                        <a:pt x="444" y="342"/>
                      </a:lnTo>
                      <a:lnTo>
                        <a:pt x="440" y="343"/>
                      </a:lnTo>
                      <a:lnTo>
                        <a:pt x="437" y="346"/>
                      </a:lnTo>
                      <a:lnTo>
                        <a:pt x="429" y="355"/>
                      </a:lnTo>
                      <a:lnTo>
                        <a:pt x="424" y="358"/>
                      </a:lnTo>
                      <a:lnTo>
                        <a:pt x="420" y="362"/>
                      </a:lnTo>
                      <a:lnTo>
                        <a:pt x="415" y="355"/>
                      </a:lnTo>
                      <a:lnTo>
                        <a:pt x="410" y="348"/>
                      </a:lnTo>
                      <a:lnTo>
                        <a:pt x="404" y="343"/>
                      </a:lnTo>
                      <a:lnTo>
                        <a:pt x="398" y="340"/>
                      </a:lnTo>
                      <a:lnTo>
                        <a:pt x="395" y="339"/>
                      </a:lnTo>
                      <a:lnTo>
                        <a:pt x="391" y="339"/>
                      </a:lnTo>
                      <a:lnTo>
                        <a:pt x="387" y="342"/>
                      </a:lnTo>
                      <a:lnTo>
                        <a:pt x="382" y="346"/>
                      </a:lnTo>
                      <a:lnTo>
                        <a:pt x="378" y="350"/>
                      </a:lnTo>
                      <a:lnTo>
                        <a:pt x="374" y="352"/>
                      </a:lnTo>
                      <a:lnTo>
                        <a:pt x="369" y="353"/>
                      </a:lnTo>
                      <a:lnTo>
                        <a:pt x="365" y="353"/>
                      </a:lnTo>
                      <a:lnTo>
                        <a:pt x="355" y="351"/>
                      </a:lnTo>
                      <a:lnTo>
                        <a:pt x="346" y="348"/>
                      </a:lnTo>
                      <a:lnTo>
                        <a:pt x="343" y="346"/>
                      </a:lnTo>
                      <a:lnTo>
                        <a:pt x="340" y="346"/>
                      </a:lnTo>
                      <a:lnTo>
                        <a:pt x="334" y="346"/>
                      </a:lnTo>
                      <a:lnTo>
                        <a:pt x="325" y="344"/>
                      </a:lnTo>
                      <a:lnTo>
                        <a:pt x="317" y="339"/>
                      </a:lnTo>
                      <a:lnTo>
                        <a:pt x="312" y="338"/>
                      </a:lnTo>
                      <a:lnTo>
                        <a:pt x="307" y="338"/>
                      </a:lnTo>
                      <a:lnTo>
                        <a:pt x="302" y="338"/>
                      </a:lnTo>
                      <a:lnTo>
                        <a:pt x="299" y="337"/>
                      </a:lnTo>
                      <a:lnTo>
                        <a:pt x="297" y="336"/>
                      </a:lnTo>
                      <a:lnTo>
                        <a:pt x="293" y="332"/>
                      </a:lnTo>
                      <a:lnTo>
                        <a:pt x="291" y="330"/>
                      </a:lnTo>
                      <a:lnTo>
                        <a:pt x="289" y="329"/>
                      </a:lnTo>
                      <a:lnTo>
                        <a:pt x="280" y="326"/>
                      </a:lnTo>
                      <a:lnTo>
                        <a:pt x="273" y="323"/>
                      </a:lnTo>
                      <a:lnTo>
                        <a:pt x="265" y="317"/>
                      </a:lnTo>
                      <a:lnTo>
                        <a:pt x="263" y="313"/>
                      </a:lnTo>
                      <a:lnTo>
                        <a:pt x="261" y="310"/>
                      </a:lnTo>
                      <a:lnTo>
                        <a:pt x="259" y="308"/>
                      </a:lnTo>
                      <a:lnTo>
                        <a:pt x="256" y="307"/>
                      </a:lnTo>
                      <a:lnTo>
                        <a:pt x="242" y="306"/>
                      </a:lnTo>
                      <a:lnTo>
                        <a:pt x="235" y="304"/>
                      </a:lnTo>
                      <a:lnTo>
                        <a:pt x="230" y="300"/>
                      </a:lnTo>
                      <a:lnTo>
                        <a:pt x="225" y="295"/>
                      </a:lnTo>
                      <a:lnTo>
                        <a:pt x="223" y="292"/>
                      </a:lnTo>
                      <a:lnTo>
                        <a:pt x="221" y="291"/>
                      </a:lnTo>
                      <a:lnTo>
                        <a:pt x="213" y="288"/>
                      </a:lnTo>
                      <a:lnTo>
                        <a:pt x="207" y="283"/>
                      </a:lnTo>
                      <a:lnTo>
                        <a:pt x="202" y="279"/>
                      </a:lnTo>
                      <a:lnTo>
                        <a:pt x="198" y="273"/>
                      </a:lnTo>
                      <a:lnTo>
                        <a:pt x="195" y="266"/>
                      </a:lnTo>
                      <a:lnTo>
                        <a:pt x="195" y="259"/>
                      </a:lnTo>
                      <a:lnTo>
                        <a:pt x="195" y="251"/>
                      </a:lnTo>
                      <a:lnTo>
                        <a:pt x="198" y="244"/>
                      </a:lnTo>
                      <a:lnTo>
                        <a:pt x="199" y="241"/>
                      </a:lnTo>
                      <a:lnTo>
                        <a:pt x="199" y="237"/>
                      </a:lnTo>
                      <a:lnTo>
                        <a:pt x="198" y="234"/>
                      </a:lnTo>
                      <a:lnTo>
                        <a:pt x="195" y="230"/>
                      </a:lnTo>
                      <a:lnTo>
                        <a:pt x="192" y="223"/>
                      </a:lnTo>
                      <a:lnTo>
                        <a:pt x="185" y="212"/>
                      </a:lnTo>
                      <a:lnTo>
                        <a:pt x="179" y="204"/>
                      </a:lnTo>
                      <a:lnTo>
                        <a:pt x="165" y="186"/>
                      </a:lnTo>
                      <a:lnTo>
                        <a:pt x="162" y="183"/>
                      </a:lnTo>
                      <a:lnTo>
                        <a:pt x="160" y="178"/>
                      </a:lnTo>
                      <a:lnTo>
                        <a:pt x="152" y="166"/>
                      </a:lnTo>
                      <a:lnTo>
                        <a:pt x="147" y="160"/>
                      </a:lnTo>
                      <a:lnTo>
                        <a:pt x="142" y="155"/>
                      </a:lnTo>
                      <a:lnTo>
                        <a:pt x="137" y="150"/>
                      </a:lnTo>
                      <a:lnTo>
                        <a:pt x="134" y="144"/>
                      </a:lnTo>
                      <a:lnTo>
                        <a:pt x="132" y="136"/>
                      </a:lnTo>
                      <a:lnTo>
                        <a:pt x="128" y="131"/>
                      </a:lnTo>
                      <a:lnTo>
                        <a:pt x="125" y="129"/>
                      </a:lnTo>
                      <a:lnTo>
                        <a:pt x="124" y="128"/>
                      </a:lnTo>
                      <a:lnTo>
                        <a:pt x="119" y="123"/>
                      </a:lnTo>
                      <a:lnTo>
                        <a:pt x="115" y="119"/>
                      </a:lnTo>
                      <a:lnTo>
                        <a:pt x="108" y="110"/>
                      </a:lnTo>
                      <a:lnTo>
                        <a:pt x="104" y="107"/>
                      </a:lnTo>
                      <a:lnTo>
                        <a:pt x="99" y="104"/>
                      </a:lnTo>
                      <a:lnTo>
                        <a:pt x="96" y="102"/>
                      </a:lnTo>
                      <a:lnTo>
                        <a:pt x="94" y="100"/>
                      </a:lnTo>
                      <a:lnTo>
                        <a:pt x="91" y="94"/>
                      </a:lnTo>
                      <a:lnTo>
                        <a:pt x="89" y="87"/>
                      </a:lnTo>
                      <a:lnTo>
                        <a:pt x="86" y="83"/>
                      </a:lnTo>
                      <a:lnTo>
                        <a:pt x="84" y="81"/>
                      </a:lnTo>
                      <a:lnTo>
                        <a:pt x="80" y="78"/>
                      </a:lnTo>
                      <a:lnTo>
                        <a:pt x="77" y="76"/>
                      </a:lnTo>
                      <a:lnTo>
                        <a:pt x="76" y="72"/>
                      </a:lnTo>
                      <a:lnTo>
                        <a:pt x="75" y="69"/>
                      </a:lnTo>
                      <a:lnTo>
                        <a:pt x="73" y="62"/>
                      </a:lnTo>
                      <a:lnTo>
                        <a:pt x="71" y="55"/>
                      </a:lnTo>
                      <a:lnTo>
                        <a:pt x="70" y="52"/>
                      </a:lnTo>
                      <a:lnTo>
                        <a:pt x="66" y="50"/>
                      </a:lnTo>
                      <a:lnTo>
                        <a:pt x="65" y="49"/>
                      </a:lnTo>
                      <a:lnTo>
                        <a:pt x="63" y="46"/>
                      </a:lnTo>
                      <a:lnTo>
                        <a:pt x="65" y="43"/>
                      </a:lnTo>
                      <a:lnTo>
                        <a:pt x="66" y="39"/>
                      </a:lnTo>
                      <a:lnTo>
                        <a:pt x="66" y="36"/>
                      </a:lnTo>
                      <a:lnTo>
                        <a:pt x="66" y="35"/>
                      </a:lnTo>
                      <a:lnTo>
                        <a:pt x="63" y="33"/>
                      </a:lnTo>
                      <a:lnTo>
                        <a:pt x="61" y="33"/>
                      </a:lnTo>
                      <a:lnTo>
                        <a:pt x="59" y="35"/>
                      </a:lnTo>
                      <a:lnTo>
                        <a:pt x="58" y="33"/>
                      </a:lnTo>
                      <a:lnTo>
                        <a:pt x="56" y="32"/>
                      </a:lnTo>
                      <a:lnTo>
                        <a:pt x="53" y="32"/>
                      </a:lnTo>
                      <a:lnTo>
                        <a:pt x="47" y="35"/>
                      </a:lnTo>
                      <a:lnTo>
                        <a:pt x="44" y="33"/>
                      </a:lnTo>
                      <a:lnTo>
                        <a:pt x="43" y="32"/>
                      </a:lnTo>
                      <a:lnTo>
                        <a:pt x="42" y="30"/>
                      </a:lnTo>
                      <a:lnTo>
                        <a:pt x="40" y="29"/>
                      </a:lnTo>
                      <a:lnTo>
                        <a:pt x="39" y="27"/>
                      </a:lnTo>
                      <a:lnTo>
                        <a:pt x="38" y="27"/>
                      </a:lnTo>
                      <a:lnTo>
                        <a:pt x="37" y="33"/>
                      </a:lnTo>
                      <a:lnTo>
                        <a:pt x="37" y="38"/>
                      </a:lnTo>
                      <a:lnTo>
                        <a:pt x="38" y="45"/>
                      </a:lnTo>
                      <a:lnTo>
                        <a:pt x="39" y="51"/>
                      </a:lnTo>
                      <a:lnTo>
                        <a:pt x="40" y="64"/>
                      </a:lnTo>
                      <a:lnTo>
                        <a:pt x="42" y="68"/>
                      </a:lnTo>
                      <a:lnTo>
                        <a:pt x="43" y="70"/>
                      </a:lnTo>
                      <a:lnTo>
                        <a:pt x="47" y="72"/>
                      </a:lnTo>
                      <a:lnTo>
                        <a:pt x="52" y="75"/>
                      </a:lnTo>
                      <a:lnTo>
                        <a:pt x="56" y="77"/>
                      </a:lnTo>
                      <a:lnTo>
                        <a:pt x="58" y="81"/>
                      </a:lnTo>
                      <a:lnTo>
                        <a:pt x="61" y="90"/>
                      </a:lnTo>
                      <a:lnTo>
                        <a:pt x="59" y="91"/>
                      </a:lnTo>
                      <a:lnTo>
                        <a:pt x="62" y="93"/>
                      </a:lnTo>
                      <a:lnTo>
                        <a:pt x="70" y="100"/>
                      </a:lnTo>
                      <a:lnTo>
                        <a:pt x="71" y="102"/>
                      </a:lnTo>
                      <a:lnTo>
                        <a:pt x="71" y="104"/>
                      </a:lnTo>
                      <a:lnTo>
                        <a:pt x="71" y="108"/>
                      </a:lnTo>
                      <a:lnTo>
                        <a:pt x="71" y="110"/>
                      </a:lnTo>
                      <a:lnTo>
                        <a:pt x="73" y="113"/>
                      </a:lnTo>
                      <a:lnTo>
                        <a:pt x="77" y="116"/>
                      </a:lnTo>
                      <a:lnTo>
                        <a:pt x="78" y="121"/>
                      </a:lnTo>
                      <a:lnTo>
                        <a:pt x="80" y="123"/>
                      </a:lnTo>
                      <a:lnTo>
                        <a:pt x="82" y="123"/>
                      </a:lnTo>
                      <a:lnTo>
                        <a:pt x="84" y="129"/>
                      </a:lnTo>
                      <a:lnTo>
                        <a:pt x="86" y="133"/>
                      </a:lnTo>
                      <a:lnTo>
                        <a:pt x="90" y="135"/>
                      </a:lnTo>
                      <a:lnTo>
                        <a:pt x="94" y="136"/>
                      </a:lnTo>
                      <a:lnTo>
                        <a:pt x="95" y="138"/>
                      </a:lnTo>
                      <a:lnTo>
                        <a:pt x="95" y="140"/>
                      </a:lnTo>
                      <a:lnTo>
                        <a:pt x="94" y="142"/>
                      </a:lnTo>
                      <a:lnTo>
                        <a:pt x="94" y="145"/>
                      </a:lnTo>
                      <a:lnTo>
                        <a:pt x="99" y="158"/>
                      </a:lnTo>
                      <a:lnTo>
                        <a:pt x="103" y="161"/>
                      </a:lnTo>
                      <a:lnTo>
                        <a:pt x="106" y="165"/>
                      </a:lnTo>
                      <a:lnTo>
                        <a:pt x="108" y="170"/>
                      </a:lnTo>
                      <a:lnTo>
                        <a:pt x="108" y="173"/>
                      </a:lnTo>
                      <a:lnTo>
                        <a:pt x="110" y="177"/>
                      </a:lnTo>
                      <a:lnTo>
                        <a:pt x="114" y="179"/>
                      </a:lnTo>
                      <a:lnTo>
                        <a:pt x="118" y="182"/>
                      </a:lnTo>
                      <a:lnTo>
                        <a:pt x="120" y="184"/>
                      </a:lnTo>
                      <a:lnTo>
                        <a:pt x="125" y="191"/>
                      </a:lnTo>
                      <a:lnTo>
                        <a:pt x="129" y="199"/>
                      </a:lnTo>
                      <a:lnTo>
                        <a:pt x="131" y="201"/>
                      </a:lnTo>
                      <a:lnTo>
                        <a:pt x="129" y="202"/>
                      </a:lnTo>
                      <a:lnTo>
                        <a:pt x="128" y="204"/>
                      </a:lnTo>
                      <a:lnTo>
                        <a:pt x="120" y="206"/>
                      </a:lnTo>
                      <a:lnTo>
                        <a:pt x="118" y="206"/>
                      </a:lnTo>
                      <a:lnTo>
                        <a:pt x="117" y="205"/>
                      </a:lnTo>
                      <a:lnTo>
                        <a:pt x="115" y="203"/>
                      </a:lnTo>
                      <a:lnTo>
                        <a:pt x="115" y="201"/>
                      </a:lnTo>
                      <a:lnTo>
                        <a:pt x="114" y="196"/>
                      </a:lnTo>
                      <a:lnTo>
                        <a:pt x="112" y="193"/>
                      </a:lnTo>
                      <a:lnTo>
                        <a:pt x="108" y="191"/>
                      </a:lnTo>
                      <a:lnTo>
                        <a:pt x="103" y="191"/>
                      </a:lnTo>
                      <a:lnTo>
                        <a:pt x="101" y="186"/>
                      </a:lnTo>
                      <a:lnTo>
                        <a:pt x="99" y="183"/>
                      </a:lnTo>
                      <a:lnTo>
                        <a:pt x="92" y="179"/>
                      </a:lnTo>
                      <a:lnTo>
                        <a:pt x="87" y="174"/>
                      </a:lnTo>
                      <a:lnTo>
                        <a:pt x="85" y="173"/>
                      </a:lnTo>
                      <a:lnTo>
                        <a:pt x="82" y="172"/>
                      </a:lnTo>
                      <a:lnTo>
                        <a:pt x="81" y="167"/>
                      </a:lnTo>
                      <a:lnTo>
                        <a:pt x="80" y="163"/>
                      </a:lnTo>
                      <a:lnTo>
                        <a:pt x="78" y="152"/>
                      </a:lnTo>
                      <a:lnTo>
                        <a:pt x="77" y="146"/>
                      </a:lnTo>
                      <a:lnTo>
                        <a:pt x="76" y="141"/>
                      </a:lnTo>
                      <a:lnTo>
                        <a:pt x="72" y="138"/>
                      </a:lnTo>
                      <a:lnTo>
                        <a:pt x="67" y="135"/>
                      </a:lnTo>
                      <a:lnTo>
                        <a:pt x="66" y="134"/>
                      </a:lnTo>
                      <a:lnTo>
                        <a:pt x="65" y="131"/>
                      </a:lnTo>
                      <a:lnTo>
                        <a:pt x="63" y="128"/>
                      </a:lnTo>
                      <a:lnTo>
                        <a:pt x="62" y="128"/>
                      </a:lnTo>
                      <a:lnTo>
                        <a:pt x="58" y="129"/>
                      </a:lnTo>
                      <a:lnTo>
                        <a:pt x="56" y="131"/>
                      </a:lnTo>
                      <a:lnTo>
                        <a:pt x="53" y="131"/>
                      </a:lnTo>
                      <a:lnTo>
                        <a:pt x="52" y="129"/>
                      </a:lnTo>
                      <a:lnTo>
                        <a:pt x="52" y="128"/>
                      </a:lnTo>
                      <a:lnTo>
                        <a:pt x="51" y="126"/>
                      </a:lnTo>
                      <a:lnTo>
                        <a:pt x="47" y="125"/>
                      </a:lnTo>
                      <a:lnTo>
                        <a:pt x="43" y="116"/>
                      </a:lnTo>
                      <a:lnTo>
                        <a:pt x="37" y="108"/>
                      </a:lnTo>
                      <a:lnTo>
                        <a:pt x="40" y="107"/>
                      </a:lnTo>
                      <a:lnTo>
                        <a:pt x="43" y="108"/>
                      </a:lnTo>
                      <a:lnTo>
                        <a:pt x="45" y="107"/>
                      </a:lnTo>
                      <a:lnTo>
                        <a:pt x="48" y="106"/>
                      </a:lnTo>
                      <a:lnTo>
                        <a:pt x="51" y="103"/>
                      </a:lnTo>
                      <a:lnTo>
                        <a:pt x="51" y="102"/>
                      </a:lnTo>
                      <a:lnTo>
                        <a:pt x="51" y="101"/>
                      </a:lnTo>
                      <a:lnTo>
                        <a:pt x="48" y="97"/>
                      </a:lnTo>
                      <a:lnTo>
                        <a:pt x="47" y="96"/>
                      </a:lnTo>
                      <a:lnTo>
                        <a:pt x="45" y="94"/>
                      </a:lnTo>
                      <a:lnTo>
                        <a:pt x="44" y="93"/>
                      </a:lnTo>
                      <a:lnTo>
                        <a:pt x="43" y="93"/>
                      </a:lnTo>
                      <a:lnTo>
                        <a:pt x="42" y="88"/>
                      </a:lnTo>
                      <a:lnTo>
                        <a:pt x="39" y="86"/>
                      </a:lnTo>
                      <a:lnTo>
                        <a:pt x="32" y="81"/>
                      </a:lnTo>
                      <a:lnTo>
                        <a:pt x="30" y="78"/>
                      </a:lnTo>
                      <a:lnTo>
                        <a:pt x="30" y="76"/>
                      </a:lnTo>
                      <a:lnTo>
                        <a:pt x="29" y="74"/>
                      </a:lnTo>
                      <a:lnTo>
                        <a:pt x="28" y="72"/>
                      </a:lnTo>
                      <a:lnTo>
                        <a:pt x="26" y="71"/>
                      </a:lnTo>
                      <a:lnTo>
                        <a:pt x="25" y="70"/>
                      </a:lnTo>
                      <a:lnTo>
                        <a:pt x="23" y="61"/>
                      </a:lnTo>
                      <a:lnTo>
                        <a:pt x="19" y="51"/>
                      </a:lnTo>
                      <a:lnTo>
                        <a:pt x="10" y="32"/>
                      </a:lnTo>
                      <a:lnTo>
                        <a:pt x="10" y="29"/>
                      </a:lnTo>
                      <a:lnTo>
                        <a:pt x="9" y="25"/>
                      </a:lnTo>
                      <a:lnTo>
                        <a:pt x="6" y="23"/>
                      </a:lnTo>
                      <a:lnTo>
                        <a:pt x="5" y="20"/>
                      </a:lnTo>
                      <a:lnTo>
                        <a:pt x="4" y="17"/>
                      </a:lnTo>
                      <a:lnTo>
                        <a:pt x="2" y="8"/>
                      </a:lnTo>
                      <a:lnTo>
                        <a:pt x="0" y="1"/>
                      </a:lnTo>
                      <a:lnTo>
                        <a:pt x="40" y="0"/>
                      </a:lnTo>
                      <a:lnTo>
                        <a:pt x="43" y="1"/>
                      </a:lnTo>
                      <a:lnTo>
                        <a:pt x="45" y="3"/>
                      </a:lnTo>
                      <a:lnTo>
                        <a:pt x="45" y="5"/>
                      </a:lnTo>
                      <a:lnTo>
                        <a:pt x="43" y="7"/>
                      </a:lnTo>
                      <a:lnTo>
                        <a:pt x="42" y="8"/>
                      </a:lnTo>
                      <a:lnTo>
                        <a:pt x="42" y="10"/>
                      </a:lnTo>
                      <a:lnTo>
                        <a:pt x="43" y="12"/>
                      </a:lnTo>
                      <a:lnTo>
                        <a:pt x="47" y="13"/>
                      </a:lnTo>
                      <a:lnTo>
                        <a:pt x="57" y="14"/>
                      </a:lnTo>
                      <a:lnTo>
                        <a:pt x="73" y="19"/>
                      </a:lnTo>
                      <a:lnTo>
                        <a:pt x="89" y="25"/>
                      </a:lnTo>
                      <a:lnTo>
                        <a:pt x="99" y="29"/>
                      </a:lnTo>
                      <a:lnTo>
                        <a:pt x="109" y="32"/>
                      </a:lnTo>
                      <a:lnTo>
                        <a:pt x="114" y="32"/>
                      </a:lnTo>
                      <a:lnTo>
                        <a:pt x="117" y="32"/>
                      </a:lnTo>
                      <a:lnTo>
                        <a:pt x="125" y="31"/>
                      </a:lnTo>
                      <a:lnTo>
                        <a:pt x="136" y="32"/>
                      </a:lnTo>
                      <a:lnTo>
                        <a:pt x="138" y="31"/>
                      </a:lnTo>
                      <a:lnTo>
                        <a:pt x="139" y="31"/>
                      </a:lnTo>
                      <a:lnTo>
                        <a:pt x="141" y="29"/>
                      </a:lnTo>
                      <a:lnTo>
                        <a:pt x="141" y="25"/>
                      </a:lnTo>
                      <a:lnTo>
                        <a:pt x="142" y="23"/>
                      </a:lnTo>
                      <a:lnTo>
                        <a:pt x="143" y="21"/>
                      </a:lnTo>
                      <a:lnTo>
                        <a:pt x="145" y="20"/>
                      </a:lnTo>
                      <a:lnTo>
                        <a:pt x="185" y="19"/>
                      </a:lnTo>
                      <a:lnTo>
                        <a:pt x="188" y="19"/>
                      </a:lnTo>
                      <a:lnTo>
                        <a:pt x="189" y="20"/>
                      </a:lnTo>
                      <a:lnTo>
                        <a:pt x="192" y="24"/>
                      </a:lnTo>
                      <a:lnTo>
                        <a:pt x="207" y="44"/>
                      </a:lnTo>
                      <a:lnTo>
                        <a:pt x="218" y="59"/>
                      </a:lnTo>
                      <a:lnTo>
                        <a:pt x="230" y="70"/>
                      </a:lnTo>
                      <a:lnTo>
                        <a:pt x="233" y="74"/>
                      </a:lnTo>
                      <a:lnTo>
                        <a:pt x="237" y="75"/>
                      </a:lnTo>
                      <a:lnTo>
                        <a:pt x="240" y="75"/>
                      </a:lnTo>
                      <a:lnTo>
                        <a:pt x="242" y="74"/>
                      </a:lnTo>
                      <a:lnTo>
                        <a:pt x="245" y="70"/>
                      </a:lnTo>
                      <a:lnTo>
                        <a:pt x="247" y="65"/>
                      </a:lnTo>
                      <a:lnTo>
                        <a:pt x="250" y="63"/>
                      </a:lnTo>
                      <a:lnTo>
                        <a:pt x="254" y="62"/>
                      </a:lnTo>
                      <a:lnTo>
                        <a:pt x="256" y="62"/>
                      </a:lnTo>
                      <a:lnTo>
                        <a:pt x="259" y="63"/>
                      </a:lnTo>
                      <a:lnTo>
                        <a:pt x="261" y="64"/>
                      </a:lnTo>
                      <a:lnTo>
                        <a:pt x="265" y="65"/>
                      </a:lnTo>
                      <a:lnTo>
                        <a:pt x="273" y="68"/>
                      </a:lnTo>
                      <a:lnTo>
                        <a:pt x="275" y="69"/>
                      </a:lnTo>
                      <a:lnTo>
                        <a:pt x="279" y="71"/>
                      </a:lnTo>
                      <a:lnTo>
                        <a:pt x="283" y="76"/>
                      </a:lnTo>
                      <a:lnTo>
                        <a:pt x="284" y="81"/>
                      </a:lnTo>
                      <a:lnTo>
                        <a:pt x="284" y="86"/>
                      </a:lnTo>
                      <a:lnTo>
                        <a:pt x="287" y="91"/>
                      </a:lnTo>
                      <a:lnTo>
                        <a:pt x="289" y="97"/>
                      </a:lnTo>
                      <a:lnTo>
                        <a:pt x="292" y="101"/>
                      </a:lnTo>
                      <a:lnTo>
                        <a:pt x="296" y="104"/>
                      </a:lnTo>
                      <a:lnTo>
                        <a:pt x="298" y="113"/>
                      </a:lnTo>
                      <a:lnTo>
                        <a:pt x="303" y="126"/>
                      </a:lnTo>
                      <a:lnTo>
                        <a:pt x="305" y="128"/>
                      </a:lnTo>
                      <a:lnTo>
                        <a:pt x="307" y="132"/>
                      </a:lnTo>
                      <a:lnTo>
                        <a:pt x="310" y="133"/>
                      </a:lnTo>
                      <a:lnTo>
                        <a:pt x="316" y="134"/>
                      </a:lnTo>
                      <a:lnTo>
                        <a:pt x="322" y="135"/>
                      </a:lnTo>
                      <a:lnTo>
                        <a:pt x="331" y="138"/>
                      </a:lnTo>
                      <a:lnTo>
                        <a:pt x="340" y="141"/>
                      </a:lnTo>
                      <a:lnTo>
                        <a:pt x="340" y="146"/>
                      </a:lnTo>
                      <a:lnTo>
                        <a:pt x="340" y="151"/>
                      </a:lnTo>
                      <a:lnTo>
                        <a:pt x="340" y="158"/>
                      </a:lnTo>
                      <a:lnTo>
                        <a:pt x="340" y="163"/>
                      </a:lnTo>
                      <a:lnTo>
                        <a:pt x="339" y="164"/>
                      </a:lnTo>
                      <a:lnTo>
                        <a:pt x="338" y="164"/>
                      </a:lnTo>
                      <a:lnTo>
                        <a:pt x="336" y="161"/>
                      </a:lnTo>
                      <a:lnTo>
                        <a:pt x="334" y="159"/>
                      </a:lnTo>
                      <a:lnTo>
                        <a:pt x="332" y="158"/>
                      </a:lnTo>
                      <a:lnTo>
                        <a:pt x="331" y="158"/>
                      </a:lnTo>
                      <a:lnTo>
                        <a:pt x="330" y="160"/>
                      </a:lnTo>
                      <a:lnTo>
                        <a:pt x="330" y="167"/>
                      </a:lnTo>
                      <a:lnTo>
                        <a:pt x="330" y="174"/>
                      </a:lnTo>
                      <a:lnTo>
                        <a:pt x="331" y="182"/>
                      </a:lnTo>
                      <a:lnTo>
                        <a:pt x="332" y="180"/>
                      </a:lnTo>
                      <a:lnTo>
                        <a:pt x="332" y="179"/>
                      </a:lnTo>
                      <a:lnTo>
                        <a:pt x="334" y="174"/>
                      </a:lnTo>
                      <a:lnTo>
                        <a:pt x="335" y="177"/>
                      </a:lnTo>
                      <a:lnTo>
                        <a:pt x="336" y="182"/>
                      </a:lnTo>
                      <a:lnTo>
                        <a:pt x="336" y="192"/>
                      </a:lnTo>
                      <a:lnTo>
                        <a:pt x="336" y="203"/>
                      </a:lnTo>
                      <a:lnTo>
                        <a:pt x="332" y="224"/>
                      </a:lnTo>
                      <a:lnTo>
                        <a:pt x="332" y="223"/>
                      </a:lnTo>
                      <a:lnTo>
                        <a:pt x="332" y="225"/>
                      </a:lnTo>
                      <a:lnTo>
                        <a:pt x="332" y="228"/>
                      </a:lnTo>
                      <a:lnTo>
                        <a:pt x="335" y="229"/>
                      </a:lnTo>
                      <a:lnTo>
                        <a:pt x="336" y="231"/>
                      </a:lnTo>
                      <a:lnTo>
                        <a:pt x="340" y="244"/>
                      </a:lnTo>
                      <a:lnTo>
                        <a:pt x="345" y="256"/>
                      </a:lnTo>
                      <a:lnTo>
                        <a:pt x="352" y="267"/>
                      </a:lnTo>
                      <a:lnTo>
                        <a:pt x="362" y="276"/>
                      </a:lnTo>
                      <a:lnTo>
                        <a:pt x="365" y="281"/>
                      </a:lnTo>
                      <a:lnTo>
                        <a:pt x="367" y="283"/>
                      </a:lnTo>
                      <a:lnTo>
                        <a:pt x="369" y="286"/>
                      </a:lnTo>
                      <a:lnTo>
                        <a:pt x="374" y="291"/>
                      </a:lnTo>
                      <a:lnTo>
                        <a:pt x="379" y="295"/>
                      </a:lnTo>
                      <a:lnTo>
                        <a:pt x="385" y="300"/>
                      </a:lnTo>
                      <a:lnTo>
                        <a:pt x="388" y="301"/>
                      </a:lnTo>
                      <a:lnTo>
                        <a:pt x="392" y="301"/>
                      </a:lnTo>
                      <a:lnTo>
                        <a:pt x="396" y="301"/>
                      </a:lnTo>
                      <a:lnTo>
                        <a:pt x="400" y="300"/>
                      </a:lnTo>
                      <a:lnTo>
                        <a:pt x="402" y="300"/>
                      </a:lnTo>
                      <a:lnTo>
                        <a:pt x="406" y="301"/>
                      </a:lnTo>
                      <a:lnTo>
                        <a:pt x="409" y="299"/>
                      </a:lnTo>
                      <a:lnTo>
                        <a:pt x="412" y="298"/>
                      </a:lnTo>
                      <a:lnTo>
                        <a:pt x="414" y="298"/>
                      </a:lnTo>
                      <a:lnTo>
                        <a:pt x="416" y="299"/>
                      </a:lnTo>
                      <a:lnTo>
                        <a:pt x="418" y="300"/>
                      </a:lnTo>
                      <a:lnTo>
                        <a:pt x="420" y="300"/>
                      </a:lnTo>
                      <a:lnTo>
                        <a:pt x="426" y="298"/>
                      </a:lnTo>
                      <a:lnTo>
                        <a:pt x="429" y="297"/>
                      </a:lnTo>
                      <a:lnTo>
                        <a:pt x="433" y="298"/>
                      </a:lnTo>
                      <a:lnTo>
                        <a:pt x="434" y="300"/>
                      </a:lnTo>
                      <a:lnTo>
                        <a:pt x="435" y="301"/>
                      </a:lnTo>
                      <a:lnTo>
                        <a:pt x="435" y="304"/>
                      </a:lnTo>
                      <a:lnTo>
                        <a:pt x="438" y="304"/>
                      </a:lnTo>
                      <a:lnTo>
                        <a:pt x="444" y="302"/>
                      </a:lnTo>
                      <a:lnTo>
                        <a:pt x="447" y="300"/>
                      </a:lnTo>
                      <a:lnTo>
                        <a:pt x="448" y="299"/>
                      </a:lnTo>
                      <a:lnTo>
                        <a:pt x="449" y="293"/>
                      </a:lnTo>
                      <a:lnTo>
                        <a:pt x="451" y="291"/>
                      </a:lnTo>
                      <a:lnTo>
                        <a:pt x="452" y="288"/>
                      </a:lnTo>
                      <a:lnTo>
                        <a:pt x="453" y="286"/>
                      </a:lnTo>
                      <a:lnTo>
                        <a:pt x="453" y="285"/>
                      </a:lnTo>
                      <a:lnTo>
                        <a:pt x="453" y="280"/>
                      </a:lnTo>
                      <a:lnTo>
                        <a:pt x="454" y="274"/>
                      </a:lnTo>
                      <a:lnTo>
                        <a:pt x="456" y="269"/>
                      </a:lnTo>
                      <a:lnTo>
                        <a:pt x="458" y="267"/>
                      </a:lnTo>
                      <a:lnTo>
                        <a:pt x="461" y="263"/>
                      </a:lnTo>
                      <a:lnTo>
                        <a:pt x="462" y="261"/>
                      </a:lnTo>
                      <a:lnTo>
                        <a:pt x="462" y="259"/>
                      </a:lnTo>
                      <a:lnTo>
                        <a:pt x="463" y="254"/>
                      </a:lnTo>
                      <a:lnTo>
                        <a:pt x="466" y="250"/>
                      </a:lnTo>
                      <a:lnTo>
                        <a:pt x="468" y="248"/>
                      </a:lnTo>
                      <a:lnTo>
                        <a:pt x="471" y="248"/>
                      </a:lnTo>
                      <a:lnTo>
                        <a:pt x="475" y="248"/>
                      </a:lnTo>
                      <a:lnTo>
                        <a:pt x="477" y="248"/>
                      </a:lnTo>
                      <a:lnTo>
                        <a:pt x="480" y="248"/>
                      </a:lnTo>
                      <a:lnTo>
                        <a:pt x="489" y="244"/>
                      </a:lnTo>
                      <a:lnTo>
                        <a:pt x="498" y="242"/>
                      </a:lnTo>
                      <a:lnTo>
                        <a:pt x="517" y="241"/>
                      </a:lnTo>
                      <a:lnTo>
                        <a:pt x="518" y="241"/>
                      </a:lnTo>
                      <a:lnTo>
                        <a:pt x="519" y="243"/>
                      </a:lnTo>
                      <a:lnTo>
                        <a:pt x="520" y="246"/>
                      </a:lnTo>
                      <a:lnTo>
                        <a:pt x="519" y="248"/>
                      </a:lnTo>
                      <a:lnTo>
                        <a:pt x="515" y="254"/>
                      </a:lnTo>
                      <a:lnTo>
                        <a:pt x="513" y="260"/>
                      </a:lnTo>
                      <a:lnTo>
                        <a:pt x="512" y="266"/>
                      </a:lnTo>
                      <a:lnTo>
                        <a:pt x="510" y="272"/>
                      </a:lnTo>
                      <a:lnTo>
                        <a:pt x="510" y="283"/>
                      </a:lnTo>
                      <a:lnTo>
                        <a:pt x="510" y="297"/>
                      </a:lnTo>
                      <a:lnTo>
                        <a:pt x="510" y="298"/>
                      </a:lnTo>
                      <a:lnTo>
                        <a:pt x="508" y="299"/>
                      </a:lnTo>
                      <a:lnTo>
                        <a:pt x="505" y="30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3" name="Freeform 901"/>
                <p:cNvSpPr>
                  <a:spLocks/>
                </p:cNvSpPr>
                <p:nvPr/>
              </p:nvSpPr>
              <p:spPr bwMode="auto">
                <a:xfrm>
                  <a:off x="2503465" y="4091528"/>
                  <a:ext cx="42916" cy="69554"/>
                </a:xfrm>
                <a:custGeom>
                  <a:avLst/>
                  <a:gdLst>
                    <a:gd name="T0" fmla="*/ 2147483647 w 31"/>
                    <a:gd name="T1" fmla="*/ 2147483647 h 47"/>
                    <a:gd name="T2" fmla="*/ 2147483647 w 31"/>
                    <a:gd name="T3" fmla="*/ 2147483647 h 47"/>
                    <a:gd name="T4" fmla="*/ 2147483647 w 31"/>
                    <a:gd name="T5" fmla="*/ 2147483647 h 47"/>
                    <a:gd name="T6" fmla="*/ 0 w 31"/>
                    <a:gd name="T7" fmla="*/ 2147483647 h 47"/>
                    <a:gd name="T8" fmla="*/ 0 w 31"/>
                    <a:gd name="T9" fmla="*/ 2147483647 h 47"/>
                    <a:gd name="T10" fmla="*/ 0 w 31"/>
                    <a:gd name="T11" fmla="*/ 2147483647 h 47"/>
                    <a:gd name="T12" fmla="*/ 2147483647 w 31"/>
                    <a:gd name="T13" fmla="*/ 2147483647 h 47"/>
                    <a:gd name="T14" fmla="*/ 2147483647 w 31"/>
                    <a:gd name="T15" fmla="*/ 2147483647 h 47"/>
                    <a:gd name="T16" fmla="*/ 2147483647 w 31"/>
                    <a:gd name="T17" fmla="*/ 2147483647 h 47"/>
                    <a:gd name="T18" fmla="*/ 2147483647 w 31"/>
                    <a:gd name="T19" fmla="*/ 2147483647 h 47"/>
                    <a:gd name="T20" fmla="*/ 2147483647 w 31"/>
                    <a:gd name="T21" fmla="*/ 2147483647 h 47"/>
                    <a:gd name="T22" fmla="*/ 2147483647 w 31"/>
                    <a:gd name="T23" fmla="*/ 2147483647 h 47"/>
                    <a:gd name="T24" fmla="*/ 2147483647 w 31"/>
                    <a:gd name="T25" fmla="*/ 0 h 47"/>
                    <a:gd name="T26" fmla="*/ 2147483647 w 31"/>
                    <a:gd name="T27" fmla="*/ 0 h 47"/>
                    <a:gd name="T28" fmla="*/ 2147483647 w 31"/>
                    <a:gd name="T29" fmla="*/ 0 h 47"/>
                    <a:gd name="T30" fmla="*/ 2147483647 w 31"/>
                    <a:gd name="T31" fmla="*/ 0 h 47"/>
                    <a:gd name="T32" fmla="*/ 2147483647 w 31"/>
                    <a:gd name="T33" fmla="*/ 0 h 47"/>
                    <a:gd name="T34" fmla="*/ 2147483647 w 31"/>
                    <a:gd name="T35" fmla="*/ 2147483647 h 47"/>
                    <a:gd name="T36" fmla="*/ 2147483647 w 31"/>
                    <a:gd name="T37" fmla="*/ 2147483647 h 47"/>
                    <a:gd name="T38" fmla="*/ 2147483647 w 31"/>
                    <a:gd name="T39" fmla="*/ 2147483647 h 47"/>
                    <a:gd name="T40" fmla="*/ 2147483647 w 31"/>
                    <a:gd name="T41" fmla="*/ 2147483647 h 47"/>
                    <a:gd name="T42" fmla="*/ 2147483647 w 31"/>
                    <a:gd name="T43" fmla="*/ 2147483647 h 47"/>
                    <a:gd name="T44" fmla="*/ 2147483647 w 31"/>
                    <a:gd name="T45" fmla="*/ 2147483647 h 47"/>
                    <a:gd name="T46" fmla="*/ 2147483647 w 31"/>
                    <a:gd name="T47" fmla="*/ 2147483647 h 47"/>
                    <a:gd name="T48" fmla="*/ 2147483647 w 31"/>
                    <a:gd name="T49" fmla="*/ 2147483647 h 47"/>
                    <a:gd name="T50" fmla="*/ 2147483647 w 31"/>
                    <a:gd name="T51" fmla="*/ 2147483647 h 47"/>
                    <a:gd name="T52" fmla="*/ 2147483647 w 31"/>
                    <a:gd name="T53" fmla="*/ 2147483647 h 47"/>
                    <a:gd name="T54" fmla="*/ 2147483647 w 31"/>
                    <a:gd name="T55" fmla="*/ 2147483647 h 47"/>
                    <a:gd name="T56" fmla="*/ 2147483647 w 31"/>
                    <a:gd name="T57" fmla="*/ 2147483647 h 47"/>
                    <a:gd name="T58" fmla="*/ 2147483647 w 31"/>
                    <a:gd name="T59" fmla="*/ 2147483647 h 47"/>
                    <a:gd name="T60" fmla="*/ 2147483647 w 31"/>
                    <a:gd name="T61" fmla="*/ 2147483647 h 47"/>
                    <a:gd name="T62" fmla="*/ 2147483647 w 31"/>
                    <a:gd name="T63" fmla="*/ 2147483647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1"/>
                    <a:gd name="T97" fmla="*/ 0 h 47"/>
                    <a:gd name="T98" fmla="*/ 31 w 31"/>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1" h="47">
                      <a:moveTo>
                        <a:pt x="9" y="46"/>
                      </a:moveTo>
                      <a:lnTo>
                        <a:pt x="9" y="46"/>
                      </a:lnTo>
                      <a:lnTo>
                        <a:pt x="3" y="46"/>
                      </a:lnTo>
                      <a:lnTo>
                        <a:pt x="0" y="47"/>
                      </a:lnTo>
                      <a:lnTo>
                        <a:pt x="0" y="9"/>
                      </a:lnTo>
                      <a:lnTo>
                        <a:pt x="5" y="8"/>
                      </a:lnTo>
                      <a:lnTo>
                        <a:pt x="13" y="8"/>
                      </a:lnTo>
                      <a:lnTo>
                        <a:pt x="16" y="7"/>
                      </a:lnTo>
                      <a:lnTo>
                        <a:pt x="18" y="5"/>
                      </a:lnTo>
                      <a:lnTo>
                        <a:pt x="21" y="1"/>
                      </a:lnTo>
                      <a:lnTo>
                        <a:pt x="25" y="0"/>
                      </a:lnTo>
                      <a:lnTo>
                        <a:pt x="27" y="0"/>
                      </a:lnTo>
                      <a:lnTo>
                        <a:pt x="31" y="0"/>
                      </a:lnTo>
                      <a:lnTo>
                        <a:pt x="27" y="3"/>
                      </a:lnTo>
                      <a:lnTo>
                        <a:pt x="25" y="7"/>
                      </a:lnTo>
                      <a:lnTo>
                        <a:pt x="23" y="11"/>
                      </a:lnTo>
                      <a:lnTo>
                        <a:pt x="22" y="15"/>
                      </a:lnTo>
                      <a:lnTo>
                        <a:pt x="22" y="25"/>
                      </a:lnTo>
                      <a:lnTo>
                        <a:pt x="21" y="33"/>
                      </a:lnTo>
                      <a:lnTo>
                        <a:pt x="19" y="37"/>
                      </a:lnTo>
                      <a:lnTo>
                        <a:pt x="17" y="41"/>
                      </a:lnTo>
                      <a:lnTo>
                        <a:pt x="14" y="43"/>
                      </a:lnTo>
                      <a:lnTo>
                        <a:pt x="12" y="43"/>
                      </a:lnTo>
                      <a:lnTo>
                        <a:pt x="11" y="43"/>
                      </a:lnTo>
                      <a:lnTo>
                        <a:pt x="9" y="4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4" name="Freeform 902"/>
                <p:cNvSpPr>
                  <a:spLocks/>
                </p:cNvSpPr>
                <p:nvPr/>
              </p:nvSpPr>
              <p:spPr bwMode="auto">
                <a:xfrm>
                  <a:off x="1853799" y="3647570"/>
                  <a:ext cx="711819" cy="535714"/>
                </a:xfrm>
                <a:custGeom>
                  <a:avLst/>
                  <a:gdLst>
                    <a:gd name="T0" fmla="*/ 2147483647 w 521"/>
                    <a:gd name="T1" fmla="*/ 2147483647 h 362"/>
                    <a:gd name="T2" fmla="*/ 2147483647 w 521"/>
                    <a:gd name="T3" fmla="*/ 2147483647 h 362"/>
                    <a:gd name="T4" fmla="*/ 2147483647 w 521"/>
                    <a:gd name="T5" fmla="*/ 2147483647 h 362"/>
                    <a:gd name="T6" fmla="*/ 2147483647 w 521"/>
                    <a:gd name="T7" fmla="*/ 2147483647 h 362"/>
                    <a:gd name="T8" fmla="*/ 2147483647 w 521"/>
                    <a:gd name="T9" fmla="*/ 2147483647 h 362"/>
                    <a:gd name="T10" fmla="*/ 2147483647 w 521"/>
                    <a:gd name="T11" fmla="*/ 2147483647 h 362"/>
                    <a:gd name="T12" fmla="*/ 2147483647 w 521"/>
                    <a:gd name="T13" fmla="*/ 2147483647 h 362"/>
                    <a:gd name="T14" fmla="*/ 2147483647 w 521"/>
                    <a:gd name="T15" fmla="*/ 2147483647 h 362"/>
                    <a:gd name="T16" fmla="*/ 2147483647 w 521"/>
                    <a:gd name="T17" fmla="*/ 2147483647 h 362"/>
                    <a:gd name="T18" fmla="*/ 2147483647 w 521"/>
                    <a:gd name="T19" fmla="*/ 2147483647 h 362"/>
                    <a:gd name="T20" fmla="*/ 2147483647 w 521"/>
                    <a:gd name="T21" fmla="*/ 2147483647 h 362"/>
                    <a:gd name="T22" fmla="*/ 2147483647 w 521"/>
                    <a:gd name="T23" fmla="*/ 2147483647 h 362"/>
                    <a:gd name="T24" fmla="*/ 2147483647 w 521"/>
                    <a:gd name="T25" fmla="*/ 2147483647 h 362"/>
                    <a:gd name="T26" fmla="*/ 2147483647 w 521"/>
                    <a:gd name="T27" fmla="*/ 2147483647 h 362"/>
                    <a:gd name="T28" fmla="*/ 2147483647 w 521"/>
                    <a:gd name="T29" fmla="*/ 2147483647 h 362"/>
                    <a:gd name="T30" fmla="*/ 2147483647 w 521"/>
                    <a:gd name="T31" fmla="*/ 2147483647 h 362"/>
                    <a:gd name="T32" fmla="*/ 2147483647 w 521"/>
                    <a:gd name="T33" fmla="*/ 2147483647 h 362"/>
                    <a:gd name="T34" fmla="*/ 2147483647 w 521"/>
                    <a:gd name="T35" fmla="*/ 2147483647 h 362"/>
                    <a:gd name="T36" fmla="*/ 2147483647 w 521"/>
                    <a:gd name="T37" fmla="*/ 2147483647 h 362"/>
                    <a:gd name="T38" fmla="*/ 2147483647 w 521"/>
                    <a:gd name="T39" fmla="*/ 2147483647 h 362"/>
                    <a:gd name="T40" fmla="*/ 2147483647 w 521"/>
                    <a:gd name="T41" fmla="*/ 2147483647 h 362"/>
                    <a:gd name="T42" fmla="*/ 2147483647 w 521"/>
                    <a:gd name="T43" fmla="*/ 2147483647 h 362"/>
                    <a:gd name="T44" fmla="*/ 2147483647 w 521"/>
                    <a:gd name="T45" fmla="*/ 2147483647 h 362"/>
                    <a:gd name="T46" fmla="*/ 2147483647 w 521"/>
                    <a:gd name="T47" fmla="*/ 2147483647 h 362"/>
                    <a:gd name="T48" fmla="*/ 2147483647 w 521"/>
                    <a:gd name="T49" fmla="*/ 2147483647 h 362"/>
                    <a:gd name="T50" fmla="*/ 2147483647 w 521"/>
                    <a:gd name="T51" fmla="*/ 2147483647 h 362"/>
                    <a:gd name="T52" fmla="*/ 2147483647 w 521"/>
                    <a:gd name="T53" fmla="*/ 2147483647 h 362"/>
                    <a:gd name="T54" fmla="*/ 2147483647 w 521"/>
                    <a:gd name="T55" fmla="*/ 2147483647 h 362"/>
                    <a:gd name="T56" fmla="*/ 2147483647 w 521"/>
                    <a:gd name="T57" fmla="*/ 2147483647 h 362"/>
                    <a:gd name="T58" fmla="*/ 2147483647 w 521"/>
                    <a:gd name="T59" fmla="*/ 2147483647 h 362"/>
                    <a:gd name="T60" fmla="*/ 2147483647 w 521"/>
                    <a:gd name="T61" fmla="*/ 2147483647 h 362"/>
                    <a:gd name="T62" fmla="*/ 2147483647 w 521"/>
                    <a:gd name="T63" fmla="*/ 2147483647 h 362"/>
                    <a:gd name="T64" fmla="*/ 2147483647 w 521"/>
                    <a:gd name="T65" fmla="*/ 2147483647 h 362"/>
                    <a:gd name="T66" fmla="*/ 2147483647 w 521"/>
                    <a:gd name="T67" fmla="*/ 2147483647 h 362"/>
                    <a:gd name="T68" fmla="*/ 2147483647 w 521"/>
                    <a:gd name="T69" fmla="*/ 2147483647 h 362"/>
                    <a:gd name="T70" fmla="*/ 2147483647 w 521"/>
                    <a:gd name="T71" fmla="*/ 2147483647 h 362"/>
                    <a:gd name="T72" fmla="*/ 0 w 521"/>
                    <a:gd name="T73" fmla="*/ 2147483647 h 362"/>
                    <a:gd name="T74" fmla="*/ 2147483647 w 521"/>
                    <a:gd name="T75" fmla="*/ 2147483647 h 362"/>
                    <a:gd name="T76" fmla="*/ 2147483647 w 521"/>
                    <a:gd name="T77" fmla="*/ 2147483647 h 362"/>
                    <a:gd name="T78" fmla="*/ 2147483647 w 521"/>
                    <a:gd name="T79" fmla="*/ 2147483647 h 362"/>
                    <a:gd name="T80" fmla="*/ 2147483647 w 521"/>
                    <a:gd name="T81" fmla="*/ 2147483647 h 362"/>
                    <a:gd name="T82" fmla="*/ 2147483647 w 521"/>
                    <a:gd name="T83" fmla="*/ 2147483647 h 362"/>
                    <a:gd name="T84" fmla="*/ 2147483647 w 521"/>
                    <a:gd name="T85" fmla="*/ 2147483647 h 362"/>
                    <a:gd name="T86" fmla="*/ 2147483647 w 521"/>
                    <a:gd name="T87" fmla="*/ 2147483647 h 362"/>
                    <a:gd name="T88" fmla="*/ 2147483647 w 521"/>
                    <a:gd name="T89" fmla="*/ 2147483647 h 362"/>
                    <a:gd name="T90" fmla="*/ 2147483647 w 521"/>
                    <a:gd name="T91" fmla="*/ 2147483647 h 362"/>
                    <a:gd name="T92" fmla="*/ 2147483647 w 521"/>
                    <a:gd name="T93" fmla="*/ 2147483647 h 362"/>
                    <a:gd name="T94" fmla="*/ 2147483647 w 521"/>
                    <a:gd name="T95" fmla="*/ 2147483647 h 362"/>
                    <a:gd name="T96" fmla="*/ 2147483647 w 521"/>
                    <a:gd name="T97" fmla="*/ 2147483647 h 362"/>
                    <a:gd name="T98" fmla="*/ 2147483647 w 521"/>
                    <a:gd name="T99" fmla="*/ 2147483647 h 362"/>
                    <a:gd name="T100" fmla="*/ 2147483647 w 521"/>
                    <a:gd name="T101" fmla="*/ 2147483647 h 362"/>
                    <a:gd name="T102" fmla="*/ 2147483647 w 521"/>
                    <a:gd name="T103" fmla="*/ 2147483647 h 362"/>
                    <a:gd name="T104" fmla="*/ 2147483647 w 521"/>
                    <a:gd name="T105" fmla="*/ 2147483647 h 362"/>
                    <a:gd name="T106" fmla="*/ 2147483647 w 521"/>
                    <a:gd name="T107" fmla="*/ 2147483647 h 362"/>
                    <a:gd name="T108" fmla="*/ 2147483647 w 521"/>
                    <a:gd name="T109" fmla="*/ 2147483647 h 362"/>
                    <a:gd name="T110" fmla="*/ 2147483647 w 521"/>
                    <a:gd name="T111" fmla="*/ 2147483647 h 362"/>
                    <a:gd name="T112" fmla="*/ 2147483647 w 521"/>
                    <a:gd name="T113" fmla="*/ 2147483647 h 362"/>
                    <a:gd name="T114" fmla="*/ 2147483647 w 521"/>
                    <a:gd name="T115" fmla="*/ 2147483647 h 362"/>
                    <a:gd name="T116" fmla="*/ 2147483647 w 521"/>
                    <a:gd name="T117" fmla="*/ 2147483647 h 362"/>
                    <a:gd name="T118" fmla="*/ 2147483647 w 521"/>
                    <a:gd name="T119" fmla="*/ 2147483647 h 3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21"/>
                    <a:gd name="T181" fmla="*/ 0 h 362"/>
                    <a:gd name="T182" fmla="*/ 521 w 521"/>
                    <a:gd name="T183" fmla="*/ 362 h 3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21" h="362">
                      <a:moveTo>
                        <a:pt x="506" y="300"/>
                      </a:moveTo>
                      <a:lnTo>
                        <a:pt x="506" y="300"/>
                      </a:lnTo>
                      <a:lnTo>
                        <a:pt x="502" y="300"/>
                      </a:lnTo>
                      <a:lnTo>
                        <a:pt x="500" y="300"/>
                      </a:lnTo>
                      <a:lnTo>
                        <a:pt x="496" y="301"/>
                      </a:lnTo>
                      <a:lnTo>
                        <a:pt x="493" y="305"/>
                      </a:lnTo>
                      <a:lnTo>
                        <a:pt x="491" y="307"/>
                      </a:lnTo>
                      <a:lnTo>
                        <a:pt x="488" y="308"/>
                      </a:lnTo>
                      <a:lnTo>
                        <a:pt x="480" y="308"/>
                      </a:lnTo>
                      <a:lnTo>
                        <a:pt x="475" y="309"/>
                      </a:lnTo>
                      <a:lnTo>
                        <a:pt x="472" y="311"/>
                      </a:lnTo>
                      <a:lnTo>
                        <a:pt x="467" y="311"/>
                      </a:lnTo>
                      <a:lnTo>
                        <a:pt x="461" y="309"/>
                      </a:lnTo>
                      <a:lnTo>
                        <a:pt x="455" y="309"/>
                      </a:lnTo>
                      <a:lnTo>
                        <a:pt x="451" y="312"/>
                      </a:lnTo>
                      <a:lnTo>
                        <a:pt x="450" y="313"/>
                      </a:lnTo>
                      <a:lnTo>
                        <a:pt x="449" y="315"/>
                      </a:lnTo>
                      <a:lnTo>
                        <a:pt x="449" y="317"/>
                      </a:lnTo>
                      <a:lnTo>
                        <a:pt x="450" y="318"/>
                      </a:lnTo>
                      <a:lnTo>
                        <a:pt x="451" y="320"/>
                      </a:lnTo>
                      <a:lnTo>
                        <a:pt x="451" y="326"/>
                      </a:lnTo>
                      <a:lnTo>
                        <a:pt x="453" y="328"/>
                      </a:lnTo>
                      <a:lnTo>
                        <a:pt x="454" y="331"/>
                      </a:lnTo>
                      <a:lnTo>
                        <a:pt x="455" y="332"/>
                      </a:lnTo>
                      <a:lnTo>
                        <a:pt x="456" y="333"/>
                      </a:lnTo>
                      <a:lnTo>
                        <a:pt x="458" y="333"/>
                      </a:lnTo>
                      <a:lnTo>
                        <a:pt x="459" y="335"/>
                      </a:lnTo>
                      <a:lnTo>
                        <a:pt x="458" y="338"/>
                      </a:lnTo>
                      <a:lnTo>
                        <a:pt x="455" y="340"/>
                      </a:lnTo>
                      <a:lnTo>
                        <a:pt x="445" y="341"/>
                      </a:lnTo>
                      <a:lnTo>
                        <a:pt x="441" y="343"/>
                      </a:lnTo>
                      <a:lnTo>
                        <a:pt x="437" y="346"/>
                      </a:lnTo>
                      <a:lnTo>
                        <a:pt x="430" y="354"/>
                      </a:lnTo>
                      <a:lnTo>
                        <a:pt x="425" y="358"/>
                      </a:lnTo>
                      <a:lnTo>
                        <a:pt x="421" y="362"/>
                      </a:lnTo>
                      <a:lnTo>
                        <a:pt x="416" y="354"/>
                      </a:lnTo>
                      <a:lnTo>
                        <a:pt x="411" y="347"/>
                      </a:lnTo>
                      <a:lnTo>
                        <a:pt x="404" y="343"/>
                      </a:lnTo>
                      <a:lnTo>
                        <a:pt x="399" y="340"/>
                      </a:lnTo>
                      <a:lnTo>
                        <a:pt x="395" y="339"/>
                      </a:lnTo>
                      <a:lnTo>
                        <a:pt x="392" y="339"/>
                      </a:lnTo>
                      <a:lnTo>
                        <a:pt x="388" y="341"/>
                      </a:lnTo>
                      <a:lnTo>
                        <a:pt x="383" y="346"/>
                      </a:lnTo>
                      <a:lnTo>
                        <a:pt x="379" y="350"/>
                      </a:lnTo>
                      <a:lnTo>
                        <a:pt x="375" y="352"/>
                      </a:lnTo>
                      <a:lnTo>
                        <a:pt x="370" y="353"/>
                      </a:lnTo>
                      <a:lnTo>
                        <a:pt x="366" y="353"/>
                      </a:lnTo>
                      <a:lnTo>
                        <a:pt x="356" y="351"/>
                      </a:lnTo>
                      <a:lnTo>
                        <a:pt x="347" y="347"/>
                      </a:lnTo>
                      <a:lnTo>
                        <a:pt x="343" y="346"/>
                      </a:lnTo>
                      <a:lnTo>
                        <a:pt x="341" y="346"/>
                      </a:lnTo>
                      <a:lnTo>
                        <a:pt x="334" y="346"/>
                      </a:lnTo>
                      <a:lnTo>
                        <a:pt x="326" y="344"/>
                      </a:lnTo>
                      <a:lnTo>
                        <a:pt x="318" y="339"/>
                      </a:lnTo>
                      <a:lnTo>
                        <a:pt x="313" y="338"/>
                      </a:lnTo>
                      <a:lnTo>
                        <a:pt x="308" y="338"/>
                      </a:lnTo>
                      <a:lnTo>
                        <a:pt x="303" y="338"/>
                      </a:lnTo>
                      <a:lnTo>
                        <a:pt x="300" y="337"/>
                      </a:lnTo>
                      <a:lnTo>
                        <a:pt x="298" y="335"/>
                      </a:lnTo>
                      <a:lnTo>
                        <a:pt x="294" y="332"/>
                      </a:lnTo>
                      <a:lnTo>
                        <a:pt x="291" y="330"/>
                      </a:lnTo>
                      <a:lnTo>
                        <a:pt x="290" y="328"/>
                      </a:lnTo>
                      <a:lnTo>
                        <a:pt x="281" y="326"/>
                      </a:lnTo>
                      <a:lnTo>
                        <a:pt x="274" y="322"/>
                      </a:lnTo>
                      <a:lnTo>
                        <a:pt x="266" y="317"/>
                      </a:lnTo>
                      <a:lnTo>
                        <a:pt x="263" y="313"/>
                      </a:lnTo>
                      <a:lnTo>
                        <a:pt x="262" y="309"/>
                      </a:lnTo>
                      <a:lnTo>
                        <a:pt x="260" y="308"/>
                      </a:lnTo>
                      <a:lnTo>
                        <a:pt x="257" y="307"/>
                      </a:lnTo>
                      <a:lnTo>
                        <a:pt x="243" y="306"/>
                      </a:lnTo>
                      <a:lnTo>
                        <a:pt x="235" y="303"/>
                      </a:lnTo>
                      <a:lnTo>
                        <a:pt x="230" y="300"/>
                      </a:lnTo>
                      <a:lnTo>
                        <a:pt x="225" y="295"/>
                      </a:lnTo>
                      <a:lnTo>
                        <a:pt x="224" y="292"/>
                      </a:lnTo>
                      <a:lnTo>
                        <a:pt x="221" y="290"/>
                      </a:lnTo>
                      <a:lnTo>
                        <a:pt x="214" y="288"/>
                      </a:lnTo>
                      <a:lnTo>
                        <a:pt x="207" y="283"/>
                      </a:lnTo>
                      <a:lnTo>
                        <a:pt x="202" y="279"/>
                      </a:lnTo>
                      <a:lnTo>
                        <a:pt x="199" y="273"/>
                      </a:lnTo>
                      <a:lnTo>
                        <a:pt x="196" y="266"/>
                      </a:lnTo>
                      <a:lnTo>
                        <a:pt x="196" y="258"/>
                      </a:lnTo>
                      <a:lnTo>
                        <a:pt x="196" y="251"/>
                      </a:lnTo>
                      <a:lnTo>
                        <a:pt x="199" y="244"/>
                      </a:lnTo>
                      <a:lnTo>
                        <a:pt x="200" y="241"/>
                      </a:lnTo>
                      <a:lnTo>
                        <a:pt x="200" y="237"/>
                      </a:lnTo>
                      <a:lnTo>
                        <a:pt x="199" y="234"/>
                      </a:lnTo>
                      <a:lnTo>
                        <a:pt x="196" y="230"/>
                      </a:lnTo>
                      <a:lnTo>
                        <a:pt x="192" y="223"/>
                      </a:lnTo>
                      <a:lnTo>
                        <a:pt x="186" y="212"/>
                      </a:lnTo>
                      <a:lnTo>
                        <a:pt x="180" y="204"/>
                      </a:lnTo>
                      <a:lnTo>
                        <a:pt x="166" y="186"/>
                      </a:lnTo>
                      <a:lnTo>
                        <a:pt x="163" y="183"/>
                      </a:lnTo>
                      <a:lnTo>
                        <a:pt x="160" y="178"/>
                      </a:lnTo>
                      <a:lnTo>
                        <a:pt x="153" y="166"/>
                      </a:lnTo>
                      <a:lnTo>
                        <a:pt x="148" y="160"/>
                      </a:lnTo>
                      <a:lnTo>
                        <a:pt x="143" y="155"/>
                      </a:lnTo>
                      <a:lnTo>
                        <a:pt x="138" y="149"/>
                      </a:lnTo>
                      <a:lnTo>
                        <a:pt x="135" y="143"/>
                      </a:lnTo>
                      <a:lnTo>
                        <a:pt x="133" y="136"/>
                      </a:lnTo>
                      <a:lnTo>
                        <a:pt x="129" y="130"/>
                      </a:lnTo>
                      <a:lnTo>
                        <a:pt x="126" y="129"/>
                      </a:lnTo>
                      <a:lnTo>
                        <a:pt x="125" y="128"/>
                      </a:lnTo>
                      <a:lnTo>
                        <a:pt x="120" y="123"/>
                      </a:lnTo>
                      <a:lnTo>
                        <a:pt x="116" y="119"/>
                      </a:lnTo>
                      <a:lnTo>
                        <a:pt x="108" y="110"/>
                      </a:lnTo>
                      <a:lnTo>
                        <a:pt x="105" y="107"/>
                      </a:lnTo>
                      <a:lnTo>
                        <a:pt x="100" y="104"/>
                      </a:lnTo>
                      <a:lnTo>
                        <a:pt x="97" y="102"/>
                      </a:lnTo>
                      <a:lnTo>
                        <a:pt x="94" y="100"/>
                      </a:lnTo>
                      <a:lnTo>
                        <a:pt x="92" y="94"/>
                      </a:lnTo>
                      <a:lnTo>
                        <a:pt x="89" y="87"/>
                      </a:lnTo>
                      <a:lnTo>
                        <a:pt x="87" y="83"/>
                      </a:lnTo>
                      <a:lnTo>
                        <a:pt x="84" y="81"/>
                      </a:lnTo>
                      <a:lnTo>
                        <a:pt x="80" y="78"/>
                      </a:lnTo>
                      <a:lnTo>
                        <a:pt x="78" y="76"/>
                      </a:lnTo>
                      <a:lnTo>
                        <a:pt x="77" y="72"/>
                      </a:lnTo>
                      <a:lnTo>
                        <a:pt x="75" y="69"/>
                      </a:lnTo>
                      <a:lnTo>
                        <a:pt x="74" y="62"/>
                      </a:lnTo>
                      <a:lnTo>
                        <a:pt x="72" y="54"/>
                      </a:lnTo>
                      <a:lnTo>
                        <a:pt x="70" y="52"/>
                      </a:lnTo>
                      <a:lnTo>
                        <a:pt x="67" y="50"/>
                      </a:lnTo>
                      <a:lnTo>
                        <a:pt x="65" y="49"/>
                      </a:lnTo>
                      <a:lnTo>
                        <a:pt x="64" y="46"/>
                      </a:lnTo>
                      <a:lnTo>
                        <a:pt x="65" y="43"/>
                      </a:lnTo>
                      <a:lnTo>
                        <a:pt x="67" y="39"/>
                      </a:lnTo>
                      <a:lnTo>
                        <a:pt x="67" y="36"/>
                      </a:lnTo>
                      <a:lnTo>
                        <a:pt x="67" y="34"/>
                      </a:lnTo>
                      <a:lnTo>
                        <a:pt x="64" y="33"/>
                      </a:lnTo>
                      <a:lnTo>
                        <a:pt x="61" y="33"/>
                      </a:lnTo>
                      <a:lnTo>
                        <a:pt x="60" y="34"/>
                      </a:lnTo>
                      <a:lnTo>
                        <a:pt x="59" y="33"/>
                      </a:lnTo>
                      <a:lnTo>
                        <a:pt x="56" y="32"/>
                      </a:lnTo>
                      <a:lnTo>
                        <a:pt x="54" y="32"/>
                      </a:lnTo>
                      <a:lnTo>
                        <a:pt x="47" y="34"/>
                      </a:lnTo>
                      <a:lnTo>
                        <a:pt x="45" y="33"/>
                      </a:lnTo>
                      <a:lnTo>
                        <a:pt x="44" y="32"/>
                      </a:lnTo>
                      <a:lnTo>
                        <a:pt x="42" y="30"/>
                      </a:lnTo>
                      <a:lnTo>
                        <a:pt x="41" y="28"/>
                      </a:lnTo>
                      <a:lnTo>
                        <a:pt x="40" y="27"/>
                      </a:lnTo>
                      <a:lnTo>
                        <a:pt x="39" y="27"/>
                      </a:lnTo>
                      <a:lnTo>
                        <a:pt x="37" y="33"/>
                      </a:lnTo>
                      <a:lnTo>
                        <a:pt x="37" y="38"/>
                      </a:lnTo>
                      <a:lnTo>
                        <a:pt x="39" y="45"/>
                      </a:lnTo>
                      <a:lnTo>
                        <a:pt x="40" y="51"/>
                      </a:lnTo>
                      <a:lnTo>
                        <a:pt x="41" y="64"/>
                      </a:lnTo>
                      <a:lnTo>
                        <a:pt x="42" y="68"/>
                      </a:lnTo>
                      <a:lnTo>
                        <a:pt x="44" y="70"/>
                      </a:lnTo>
                      <a:lnTo>
                        <a:pt x="47" y="72"/>
                      </a:lnTo>
                      <a:lnTo>
                        <a:pt x="53" y="75"/>
                      </a:lnTo>
                      <a:lnTo>
                        <a:pt x="56" y="77"/>
                      </a:lnTo>
                      <a:lnTo>
                        <a:pt x="59" y="81"/>
                      </a:lnTo>
                      <a:lnTo>
                        <a:pt x="61" y="90"/>
                      </a:lnTo>
                      <a:lnTo>
                        <a:pt x="60" y="91"/>
                      </a:lnTo>
                      <a:lnTo>
                        <a:pt x="63" y="92"/>
                      </a:lnTo>
                      <a:lnTo>
                        <a:pt x="70" y="100"/>
                      </a:lnTo>
                      <a:lnTo>
                        <a:pt x="72" y="102"/>
                      </a:lnTo>
                      <a:lnTo>
                        <a:pt x="72" y="104"/>
                      </a:lnTo>
                      <a:lnTo>
                        <a:pt x="72" y="108"/>
                      </a:lnTo>
                      <a:lnTo>
                        <a:pt x="72" y="110"/>
                      </a:lnTo>
                      <a:lnTo>
                        <a:pt x="74" y="113"/>
                      </a:lnTo>
                      <a:lnTo>
                        <a:pt x="78" y="116"/>
                      </a:lnTo>
                      <a:lnTo>
                        <a:pt x="79" y="121"/>
                      </a:lnTo>
                      <a:lnTo>
                        <a:pt x="80" y="123"/>
                      </a:lnTo>
                      <a:lnTo>
                        <a:pt x="83" y="123"/>
                      </a:lnTo>
                      <a:lnTo>
                        <a:pt x="84" y="129"/>
                      </a:lnTo>
                      <a:lnTo>
                        <a:pt x="87" y="133"/>
                      </a:lnTo>
                      <a:lnTo>
                        <a:pt x="91" y="135"/>
                      </a:lnTo>
                      <a:lnTo>
                        <a:pt x="94" y="136"/>
                      </a:lnTo>
                      <a:lnTo>
                        <a:pt x="96" y="137"/>
                      </a:lnTo>
                      <a:lnTo>
                        <a:pt x="96" y="140"/>
                      </a:lnTo>
                      <a:lnTo>
                        <a:pt x="94" y="142"/>
                      </a:lnTo>
                      <a:lnTo>
                        <a:pt x="94" y="145"/>
                      </a:lnTo>
                      <a:lnTo>
                        <a:pt x="100" y="158"/>
                      </a:lnTo>
                      <a:lnTo>
                        <a:pt x="103" y="161"/>
                      </a:lnTo>
                      <a:lnTo>
                        <a:pt x="107" y="165"/>
                      </a:lnTo>
                      <a:lnTo>
                        <a:pt x="108" y="169"/>
                      </a:lnTo>
                      <a:lnTo>
                        <a:pt x="108" y="173"/>
                      </a:lnTo>
                      <a:lnTo>
                        <a:pt x="111" y="177"/>
                      </a:lnTo>
                      <a:lnTo>
                        <a:pt x="115" y="179"/>
                      </a:lnTo>
                      <a:lnTo>
                        <a:pt x="119" y="181"/>
                      </a:lnTo>
                      <a:lnTo>
                        <a:pt x="121" y="184"/>
                      </a:lnTo>
                      <a:lnTo>
                        <a:pt x="126" y="191"/>
                      </a:lnTo>
                      <a:lnTo>
                        <a:pt x="130" y="199"/>
                      </a:lnTo>
                      <a:lnTo>
                        <a:pt x="131" y="200"/>
                      </a:lnTo>
                      <a:lnTo>
                        <a:pt x="130" y="202"/>
                      </a:lnTo>
                      <a:lnTo>
                        <a:pt x="129" y="204"/>
                      </a:lnTo>
                      <a:lnTo>
                        <a:pt x="121" y="206"/>
                      </a:lnTo>
                      <a:lnTo>
                        <a:pt x="119" y="206"/>
                      </a:lnTo>
                      <a:lnTo>
                        <a:pt x="117" y="205"/>
                      </a:lnTo>
                      <a:lnTo>
                        <a:pt x="116" y="203"/>
                      </a:lnTo>
                      <a:lnTo>
                        <a:pt x="116" y="200"/>
                      </a:lnTo>
                      <a:lnTo>
                        <a:pt x="115" y="196"/>
                      </a:lnTo>
                      <a:lnTo>
                        <a:pt x="112" y="193"/>
                      </a:lnTo>
                      <a:lnTo>
                        <a:pt x="108" y="191"/>
                      </a:lnTo>
                      <a:lnTo>
                        <a:pt x="103" y="191"/>
                      </a:lnTo>
                      <a:lnTo>
                        <a:pt x="102" y="186"/>
                      </a:lnTo>
                      <a:lnTo>
                        <a:pt x="100" y="183"/>
                      </a:lnTo>
                      <a:lnTo>
                        <a:pt x="93" y="179"/>
                      </a:lnTo>
                      <a:lnTo>
                        <a:pt x="88" y="174"/>
                      </a:lnTo>
                      <a:lnTo>
                        <a:pt x="86" y="173"/>
                      </a:lnTo>
                      <a:lnTo>
                        <a:pt x="83" y="172"/>
                      </a:lnTo>
                      <a:lnTo>
                        <a:pt x="82" y="167"/>
                      </a:lnTo>
                      <a:lnTo>
                        <a:pt x="80" y="162"/>
                      </a:lnTo>
                      <a:lnTo>
                        <a:pt x="79" y="152"/>
                      </a:lnTo>
                      <a:lnTo>
                        <a:pt x="78" y="146"/>
                      </a:lnTo>
                      <a:lnTo>
                        <a:pt x="77" y="141"/>
                      </a:lnTo>
                      <a:lnTo>
                        <a:pt x="73" y="137"/>
                      </a:lnTo>
                      <a:lnTo>
                        <a:pt x="68" y="135"/>
                      </a:lnTo>
                      <a:lnTo>
                        <a:pt x="67" y="134"/>
                      </a:lnTo>
                      <a:lnTo>
                        <a:pt x="65" y="130"/>
                      </a:lnTo>
                      <a:lnTo>
                        <a:pt x="64" y="128"/>
                      </a:lnTo>
                      <a:lnTo>
                        <a:pt x="63" y="128"/>
                      </a:lnTo>
                      <a:lnTo>
                        <a:pt x="59" y="129"/>
                      </a:lnTo>
                      <a:lnTo>
                        <a:pt x="56" y="130"/>
                      </a:lnTo>
                      <a:lnTo>
                        <a:pt x="54" y="130"/>
                      </a:lnTo>
                      <a:lnTo>
                        <a:pt x="53" y="129"/>
                      </a:lnTo>
                      <a:lnTo>
                        <a:pt x="53" y="128"/>
                      </a:lnTo>
                      <a:lnTo>
                        <a:pt x="51" y="126"/>
                      </a:lnTo>
                      <a:lnTo>
                        <a:pt x="47" y="124"/>
                      </a:lnTo>
                      <a:lnTo>
                        <a:pt x="44" y="116"/>
                      </a:lnTo>
                      <a:lnTo>
                        <a:pt x="37" y="108"/>
                      </a:lnTo>
                      <a:lnTo>
                        <a:pt x="41" y="107"/>
                      </a:lnTo>
                      <a:lnTo>
                        <a:pt x="44" y="108"/>
                      </a:lnTo>
                      <a:lnTo>
                        <a:pt x="46" y="107"/>
                      </a:lnTo>
                      <a:lnTo>
                        <a:pt x="49" y="105"/>
                      </a:lnTo>
                      <a:lnTo>
                        <a:pt x="51" y="103"/>
                      </a:lnTo>
                      <a:lnTo>
                        <a:pt x="51" y="102"/>
                      </a:lnTo>
                      <a:lnTo>
                        <a:pt x="51" y="101"/>
                      </a:lnTo>
                      <a:lnTo>
                        <a:pt x="49" y="97"/>
                      </a:lnTo>
                      <a:lnTo>
                        <a:pt x="47" y="96"/>
                      </a:lnTo>
                      <a:lnTo>
                        <a:pt x="46" y="94"/>
                      </a:lnTo>
                      <a:lnTo>
                        <a:pt x="45" y="92"/>
                      </a:lnTo>
                      <a:lnTo>
                        <a:pt x="44" y="92"/>
                      </a:lnTo>
                      <a:lnTo>
                        <a:pt x="42" y="88"/>
                      </a:lnTo>
                      <a:lnTo>
                        <a:pt x="40" y="85"/>
                      </a:lnTo>
                      <a:lnTo>
                        <a:pt x="32" y="81"/>
                      </a:lnTo>
                      <a:lnTo>
                        <a:pt x="31" y="78"/>
                      </a:lnTo>
                      <a:lnTo>
                        <a:pt x="31" y="76"/>
                      </a:lnTo>
                      <a:lnTo>
                        <a:pt x="30" y="73"/>
                      </a:lnTo>
                      <a:lnTo>
                        <a:pt x="28" y="72"/>
                      </a:lnTo>
                      <a:lnTo>
                        <a:pt x="27" y="71"/>
                      </a:lnTo>
                      <a:lnTo>
                        <a:pt x="26" y="70"/>
                      </a:lnTo>
                      <a:lnTo>
                        <a:pt x="23" y="60"/>
                      </a:lnTo>
                      <a:lnTo>
                        <a:pt x="20" y="51"/>
                      </a:lnTo>
                      <a:lnTo>
                        <a:pt x="11" y="32"/>
                      </a:lnTo>
                      <a:lnTo>
                        <a:pt x="11" y="28"/>
                      </a:lnTo>
                      <a:lnTo>
                        <a:pt x="9" y="25"/>
                      </a:lnTo>
                      <a:lnTo>
                        <a:pt x="7" y="22"/>
                      </a:lnTo>
                      <a:lnTo>
                        <a:pt x="6" y="20"/>
                      </a:lnTo>
                      <a:lnTo>
                        <a:pt x="4" y="17"/>
                      </a:lnTo>
                      <a:lnTo>
                        <a:pt x="3" y="8"/>
                      </a:lnTo>
                      <a:lnTo>
                        <a:pt x="0" y="1"/>
                      </a:lnTo>
                      <a:lnTo>
                        <a:pt x="41" y="0"/>
                      </a:lnTo>
                      <a:lnTo>
                        <a:pt x="44" y="1"/>
                      </a:lnTo>
                      <a:lnTo>
                        <a:pt x="46" y="2"/>
                      </a:lnTo>
                      <a:lnTo>
                        <a:pt x="46" y="5"/>
                      </a:lnTo>
                      <a:lnTo>
                        <a:pt x="44" y="7"/>
                      </a:lnTo>
                      <a:lnTo>
                        <a:pt x="42" y="8"/>
                      </a:lnTo>
                      <a:lnTo>
                        <a:pt x="42" y="9"/>
                      </a:lnTo>
                      <a:lnTo>
                        <a:pt x="44" y="12"/>
                      </a:lnTo>
                      <a:lnTo>
                        <a:pt x="47" y="13"/>
                      </a:lnTo>
                      <a:lnTo>
                        <a:pt x="58" y="14"/>
                      </a:lnTo>
                      <a:lnTo>
                        <a:pt x="74" y="19"/>
                      </a:lnTo>
                      <a:lnTo>
                        <a:pt x="89" y="25"/>
                      </a:lnTo>
                      <a:lnTo>
                        <a:pt x="100" y="28"/>
                      </a:lnTo>
                      <a:lnTo>
                        <a:pt x="110" y="32"/>
                      </a:lnTo>
                      <a:lnTo>
                        <a:pt x="115" y="32"/>
                      </a:lnTo>
                      <a:lnTo>
                        <a:pt x="117" y="32"/>
                      </a:lnTo>
                      <a:lnTo>
                        <a:pt x="126" y="31"/>
                      </a:lnTo>
                      <a:lnTo>
                        <a:pt x="136" y="32"/>
                      </a:lnTo>
                      <a:lnTo>
                        <a:pt x="139" y="31"/>
                      </a:lnTo>
                      <a:lnTo>
                        <a:pt x="140" y="31"/>
                      </a:lnTo>
                      <a:lnTo>
                        <a:pt x="141" y="28"/>
                      </a:lnTo>
                      <a:lnTo>
                        <a:pt x="141" y="25"/>
                      </a:lnTo>
                      <a:lnTo>
                        <a:pt x="143" y="22"/>
                      </a:lnTo>
                      <a:lnTo>
                        <a:pt x="144" y="21"/>
                      </a:lnTo>
                      <a:lnTo>
                        <a:pt x="145" y="20"/>
                      </a:lnTo>
                      <a:lnTo>
                        <a:pt x="186" y="19"/>
                      </a:lnTo>
                      <a:lnTo>
                        <a:pt x="188" y="19"/>
                      </a:lnTo>
                      <a:lnTo>
                        <a:pt x="190" y="20"/>
                      </a:lnTo>
                      <a:lnTo>
                        <a:pt x="192" y="24"/>
                      </a:lnTo>
                      <a:lnTo>
                        <a:pt x="207" y="44"/>
                      </a:lnTo>
                      <a:lnTo>
                        <a:pt x="219" y="59"/>
                      </a:lnTo>
                      <a:lnTo>
                        <a:pt x="230" y="70"/>
                      </a:lnTo>
                      <a:lnTo>
                        <a:pt x="234" y="73"/>
                      </a:lnTo>
                      <a:lnTo>
                        <a:pt x="238" y="75"/>
                      </a:lnTo>
                      <a:lnTo>
                        <a:pt x="240" y="75"/>
                      </a:lnTo>
                      <a:lnTo>
                        <a:pt x="243" y="73"/>
                      </a:lnTo>
                      <a:lnTo>
                        <a:pt x="246" y="70"/>
                      </a:lnTo>
                      <a:lnTo>
                        <a:pt x="248" y="65"/>
                      </a:lnTo>
                      <a:lnTo>
                        <a:pt x="251" y="63"/>
                      </a:lnTo>
                      <a:lnTo>
                        <a:pt x="254" y="62"/>
                      </a:lnTo>
                      <a:lnTo>
                        <a:pt x="257" y="62"/>
                      </a:lnTo>
                      <a:lnTo>
                        <a:pt x="260" y="63"/>
                      </a:lnTo>
                      <a:lnTo>
                        <a:pt x="262" y="64"/>
                      </a:lnTo>
                      <a:lnTo>
                        <a:pt x="266" y="65"/>
                      </a:lnTo>
                      <a:lnTo>
                        <a:pt x="274" y="68"/>
                      </a:lnTo>
                      <a:lnTo>
                        <a:pt x="276" y="69"/>
                      </a:lnTo>
                      <a:lnTo>
                        <a:pt x="280" y="71"/>
                      </a:lnTo>
                      <a:lnTo>
                        <a:pt x="284" y="76"/>
                      </a:lnTo>
                      <a:lnTo>
                        <a:pt x="285" y="81"/>
                      </a:lnTo>
                      <a:lnTo>
                        <a:pt x="285" y="85"/>
                      </a:lnTo>
                      <a:lnTo>
                        <a:pt x="287" y="91"/>
                      </a:lnTo>
                      <a:lnTo>
                        <a:pt x="290" y="97"/>
                      </a:lnTo>
                      <a:lnTo>
                        <a:pt x="293" y="101"/>
                      </a:lnTo>
                      <a:lnTo>
                        <a:pt x="296" y="104"/>
                      </a:lnTo>
                      <a:lnTo>
                        <a:pt x="299" y="113"/>
                      </a:lnTo>
                      <a:lnTo>
                        <a:pt x="304" y="126"/>
                      </a:lnTo>
                      <a:lnTo>
                        <a:pt x="305" y="128"/>
                      </a:lnTo>
                      <a:lnTo>
                        <a:pt x="308" y="132"/>
                      </a:lnTo>
                      <a:lnTo>
                        <a:pt x="310" y="133"/>
                      </a:lnTo>
                      <a:lnTo>
                        <a:pt x="317" y="134"/>
                      </a:lnTo>
                      <a:lnTo>
                        <a:pt x="323" y="135"/>
                      </a:lnTo>
                      <a:lnTo>
                        <a:pt x="332" y="137"/>
                      </a:lnTo>
                      <a:lnTo>
                        <a:pt x="341" y="141"/>
                      </a:lnTo>
                      <a:lnTo>
                        <a:pt x="341" y="146"/>
                      </a:lnTo>
                      <a:lnTo>
                        <a:pt x="341" y="151"/>
                      </a:lnTo>
                      <a:lnTo>
                        <a:pt x="341" y="158"/>
                      </a:lnTo>
                      <a:lnTo>
                        <a:pt x="341" y="162"/>
                      </a:lnTo>
                      <a:lnTo>
                        <a:pt x="340" y="164"/>
                      </a:lnTo>
                      <a:lnTo>
                        <a:pt x="338" y="164"/>
                      </a:lnTo>
                      <a:lnTo>
                        <a:pt x="337" y="161"/>
                      </a:lnTo>
                      <a:lnTo>
                        <a:pt x="334" y="159"/>
                      </a:lnTo>
                      <a:lnTo>
                        <a:pt x="333" y="158"/>
                      </a:lnTo>
                      <a:lnTo>
                        <a:pt x="332" y="158"/>
                      </a:lnTo>
                      <a:lnTo>
                        <a:pt x="331" y="160"/>
                      </a:lnTo>
                      <a:lnTo>
                        <a:pt x="331" y="167"/>
                      </a:lnTo>
                      <a:lnTo>
                        <a:pt x="331" y="174"/>
                      </a:lnTo>
                      <a:lnTo>
                        <a:pt x="332" y="181"/>
                      </a:lnTo>
                      <a:lnTo>
                        <a:pt x="333" y="180"/>
                      </a:lnTo>
                      <a:lnTo>
                        <a:pt x="333" y="179"/>
                      </a:lnTo>
                      <a:lnTo>
                        <a:pt x="334" y="174"/>
                      </a:lnTo>
                      <a:lnTo>
                        <a:pt x="336" y="177"/>
                      </a:lnTo>
                      <a:lnTo>
                        <a:pt x="337" y="181"/>
                      </a:lnTo>
                      <a:lnTo>
                        <a:pt x="337" y="192"/>
                      </a:lnTo>
                      <a:lnTo>
                        <a:pt x="337" y="203"/>
                      </a:lnTo>
                      <a:lnTo>
                        <a:pt x="333" y="224"/>
                      </a:lnTo>
                      <a:lnTo>
                        <a:pt x="333" y="223"/>
                      </a:lnTo>
                      <a:lnTo>
                        <a:pt x="333" y="225"/>
                      </a:lnTo>
                      <a:lnTo>
                        <a:pt x="333" y="228"/>
                      </a:lnTo>
                      <a:lnTo>
                        <a:pt x="336" y="229"/>
                      </a:lnTo>
                      <a:lnTo>
                        <a:pt x="337" y="231"/>
                      </a:lnTo>
                      <a:lnTo>
                        <a:pt x="341" y="244"/>
                      </a:lnTo>
                      <a:lnTo>
                        <a:pt x="346" y="256"/>
                      </a:lnTo>
                      <a:lnTo>
                        <a:pt x="352" y="267"/>
                      </a:lnTo>
                      <a:lnTo>
                        <a:pt x="362" y="276"/>
                      </a:lnTo>
                      <a:lnTo>
                        <a:pt x="366" y="281"/>
                      </a:lnTo>
                      <a:lnTo>
                        <a:pt x="367" y="283"/>
                      </a:lnTo>
                      <a:lnTo>
                        <a:pt x="370" y="286"/>
                      </a:lnTo>
                      <a:lnTo>
                        <a:pt x="375" y="290"/>
                      </a:lnTo>
                      <a:lnTo>
                        <a:pt x="380" y="295"/>
                      </a:lnTo>
                      <a:lnTo>
                        <a:pt x="385" y="300"/>
                      </a:lnTo>
                      <a:lnTo>
                        <a:pt x="389" y="301"/>
                      </a:lnTo>
                      <a:lnTo>
                        <a:pt x="393" y="301"/>
                      </a:lnTo>
                      <a:lnTo>
                        <a:pt x="397" y="301"/>
                      </a:lnTo>
                      <a:lnTo>
                        <a:pt x="400" y="300"/>
                      </a:lnTo>
                      <a:lnTo>
                        <a:pt x="403" y="300"/>
                      </a:lnTo>
                      <a:lnTo>
                        <a:pt x="407" y="301"/>
                      </a:lnTo>
                      <a:lnTo>
                        <a:pt x="409" y="299"/>
                      </a:lnTo>
                      <a:lnTo>
                        <a:pt x="413" y="298"/>
                      </a:lnTo>
                      <a:lnTo>
                        <a:pt x="414" y="298"/>
                      </a:lnTo>
                      <a:lnTo>
                        <a:pt x="417" y="299"/>
                      </a:lnTo>
                      <a:lnTo>
                        <a:pt x="418" y="300"/>
                      </a:lnTo>
                      <a:lnTo>
                        <a:pt x="421" y="300"/>
                      </a:lnTo>
                      <a:lnTo>
                        <a:pt x="427" y="298"/>
                      </a:lnTo>
                      <a:lnTo>
                        <a:pt x="430" y="296"/>
                      </a:lnTo>
                      <a:lnTo>
                        <a:pt x="434" y="298"/>
                      </a:lnTo>
                      <a:lnTo>
                        <a:pt x="435" y="300"/>
                      </a:lnTo>
                      <a:lnTo>
                        <a:pt x="436" y="301"/>
                      </a:lnTo>
                      <a:lnTo>
                        <a:pt x="436" y="303"/>
                      </a:lnTo>
                      <a:lnTo>
                        <a:pt x="439" y="303"/>
                      </a:lnTo>
                      <a:lnTo>
                        <a:pt x="445" y="302"/>
                      </a:lnTo>
                      <a:lnTo>
                        <a:pt x="447" y="300"/>
                      </a:lnTo>
                      <a:lnTo>
                        <a:pt x="449" y="299"/>
                      </a:lnTo>
                      <a:lnTo>
                        <a:pt x="450" y="293"/>
                      </a:lnTo>
                      <a:lnTo>
                        <a:pt x="451" y="290"/>
                      </a:lnTo>
                      <a:lnTo>
                        <a:pt x="453" y="288"/>
                      </a:lnTo>
                      <a:lnTo>
                        <a:pt x="454" y="286"/>
                      </a:lnTo>
                      <a:lnTo>
                        <a:pt x="454" y="284"/>
                      </a:lnTo>
                      <a:lnTo>
                        <a:pt x="454" y="280"/>
                      </a:lnTo>
                      <a:lnTo>
                        <a:pt x="455" y="274"/>
                      </a:lnTo>
                      <a:lnTo>
                        <a:pt x="456" y="269"/>
                      </a:lnTo>
                      <a:lnTo>
                        <a:pt x="459" y="267"/>
                      </a:lnTo>
                      <a:lnTo>
                        <a:pt x="461" y="263"/>
                      </a:lnTo>
                      <a:lnTo>
                        <a:pt x="463" y="261"/>
                      </a:lnTo>
                      <a:lnTo>
                        <a:pt x="463" y="258"/>
                      </a:lnTo>
                      <a:lnTo>
                        <a:pt x="464" y="254"/>
                      </a:lnTo>
                      <a:lnTo>
                        <a:pt x="467" y="250"/>
                      </a:lnTo>
                      <a:lnTo>
                        <a:pt x="469" y="248"/>
                      </a:lnTo>
                      <a:lnTo>
                        <a:pt x="472" y="248"/>
                      </a:lnTo>
                      <a:lnTo>
                        <a:pt x="475" y="248"/>
                      </a:lnTo>
                      <a:lnTo>
                        <a:pt x="478" y="248"/>
                      </a:lnTo>
                      <a:lnTo>
                        <a:pt x="480" y="248"/>
                      </a:lnTo>
                      <a:lnTo>
                        <a:pt x="489" y="244"/>
                      </a:lnTo>
                      <a:lnTo>
                        <a:pt x="498" y="242"/>
                      </a:lnTo>
                      <a:lnTo>
                        <a:pt x="517" y="241"/>
                      </a:lnTo>
                      <a:lnTo>
                        <a:pt x="519" y="241"/>
                      </a:lnTo>
                      <a:lnTo>
                        <a:pt x="520" y="243"/>
                      </a:lnTo>
                      <a:lnTo>
                        <a:pt x="521" y="245"/>
                      </a:lnTo>
                      <a:lnTo>
                        <a:pt x="520" y="248"/>
                      </a:lnTo>
                      <a:lnTo>
                        <a:pt x="516" y="254"/>
                      </a:lnTo>
                      <a:lnTo>
                        <a:pt x="514" y="260"/>
                      </a:lnTo>
                      <a:lnTo>
                        <a:pt x="512" y="266"/>
                      </a:lnTo>
                      <a:lnTo>
                        <a:pt x="511" y="271"/>
                      </a:lnTo>
                      <a:lnTo>
                        <a:pt x="511" y="283"/>
                      </a:lnTo>
                      <a:lnTo>
                        <a:pt x="511" y="296"/>
                      </a:lnTo>
                      <a:lnTo>
                        <a:pt x="511" y="298"/>
                      </a:lnTo>
                      <a:lnTo>
                        <a:pt x="508" y="299"/>
                      </a:lnTo>
                      <a:lnTo>
                        <a:pt x="506" y="30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5" name="Freeform 1039"/>
                <p:cNvSpPr>
                  <a:spLocks/>
                </p:cNvSpPr>
                <p:nvPr/>
              </p:nvSpPr>
              <p:spPr bwMode="auto">
                <a:xfrm>
                  <a:off x="2663289" y="4340149"/>
                  <a:ext cx="134668" cy="66594"/>
                </a:xfrm>
                <a:custGeom>
                  <a:avLst/>
                  <a:gdLst>
                    <a:gd name="T0" fmla="*/ 2147483647 w 99"/>
                    <a:gd name="T1" fmla="*/ 2147483647 h 45"/>
                    <a:gd name="T2" fmla="*/ 2147483647 w 99"/>
                    <a:gd name="T3" fmla="*/ 2147483647 h 45"/>
                    <a:gd name="T4" fmla="*/ 2147483647 w 99"/>
                    <a:gd name="T5" fmla="*/ 2147483647 h 45"/>
                    <a:gd name="T6" fmla="*/ 2147483647 w 99"/>
                    <a:gd name="T7" fmla="*/ 2147483647 h 45"/>
                    <a:gd name="T8" fmla="*/ 2147483647 w 99"/>
                    <a:gd name="T9" fmla="*/ 2147483647 h 45"/>
                    <a:gd name="T10" fmla="*/ 2147483647 w 99"/>
                    <a:gd name="T11" fmla="*/ 2147483647 h 45"/>
                    <a:gd name="T12" fmla="*/ 2147483647 w 99"/>
                    <a:gd name="T13" fmla="*/ 2147483647 h 45"/>
                    <a:gd name="T14" fmla="*/ 2147483647 w 99"/>
                    <a:gd name="T15" fmla="*/ 2147483647 h 45"/>
                    <a:gd name="T16" fmla="*/ 2147483647 w 99"/>
                    <a:gd name="T17" fmla="*/ 2147483647 h 45"/>
                    <a:gd name="T18" fmla="*/ 2147483647 w 99"/>
                    <a:gd name="T19" fmla="*/ 2147483647 h 45"/>
                    <a:gd name="T20" fmla="*/ 2147483647 w 99"/>
                    <a:gd name="T21" fmla="*/ 2147483647 h 45"/>
                    <a:gd name="T22" fmla="*/ 2147483647 w 99"/>
                    <a:gd name="T23" fmla="*/ 2147483647 h 45"/>
                    <a:gd name="T24" fmla="*/ 2147483647 w 99"/>
                    <a:gd name="T25" fmla="*/ 2147483647 h 45"/>
                    <a:gd name="T26" fmla="*/ 2147483647 w 99"/>
                    <a:gd name="T27" fmla="*/ 2147483647 h 45"/>
                    <a:gd name="T28" fmla="*/ 2147483647 w 99"/>
                    <a:gd name="T29" fmla="*/ 2147483647 h 45"/>
                    <a:gd name="T30" fmla="*/ 2147483647 w 99"/>
                    <a:gd name="T31" fmla="*/ 2147483647 h 45"/>
                    <a:gd name="T32" fmla="*/ 2147483647 w 99"/>
                    <a:gd name="T33" fmla="*/ 2147483647 h 45"/>
                    <a:gd name="T34" fmla="*/ 2147483647 w 99"/>
                    <a:gd name="T35" fmla="*/ 2147483647 h 45"/>
                    <a:gd name="T36" fmla="*/ 2147483647 w 99"/>
                    <a:gd name="T37" fmla="*/ 2147483647 h 45"/>
                    <a:gd name="T38" fmla="*/ 2147483647 w 99"/>
                    <a:gd name="T39" fmla="*/ 2147483647 h 45"/>
                    <a:gd name="T40" fmla="*/ 2147483647 w 99"/>
                    <a:gd name="T41" fmla="*/ 2147483647 h 45"/>
                    <a:gd name="T42" fmla="*/ 2147483647 w 99"/>
                    <a:gd name="T43" fmla="*/ 2147483647 h 45"/>
                    <a:gd name="T44" fmla="*/ 2147483647 w 99"/>
                    <a:gd name="T45" fmla="*/ 2147483647 h 45"/>
                    <a:gd name="T46" fmla="*/ 2147483647 w 99"/>
                    <a:gd name="T47" fmla="*/ 0 h 45"/>
                    <a:gd name="T48" fmla="*/ 0 w 99"/>
                    <a:gd name="T49" fmla="*/ 2147483647 h 45"/>
                    <a:gd name="T50" fmla="*/ 0 w 99"/>
                    <a:gd name="T51" fmla="*/ 2147483647 h 45"/>
                    <a:gd name="T52" fmla="*/ 2147483647 w 99"/>
                    <a:gd name="T53" fmla="*/ 2147483647 h 45"/>
                    <a:gd name="T54" fmla="*/ 2147483647 w 99"/>
                    <a:gd name="T55" fmla="*/ 2147483647 h 45"/>
                    <a:gd name="T56" fmla="*/ 2147483647 w 99"/>
                    <a:gd name="T57" fmla="*/ 2147483647 h 45"/>
                    <a:gd name="T58" fmla="*/ 2147483647 w 99"/>
                    <a:gd name="T59" fmla="*/ 2147483647 h 45"/>
                    <a:gd name="T60" fmla="*/ 2147483647 w 99"/>
                    <a:gd name="T61" fmla="*/ 2147483647 h 45"/>
                    <a:gd name="T62" fmla="*/ 2147483647 w 99"/>
                    <a:gd name="T63" fmla="*/ 2147483647 h 45"/>
                    <a:gd name="T64" fmla="*/ 2147483647 w 99"/>
                    <a:gd name="T65" fmla="*/ 2147483647 h 45"/>
                    <a:gd name="T66" fmla="*/ 2147483647 w 99"/>
                    <a:gd name="T67" fmla="*/ 2147483647 h 45"/>
                    <a:gd name="T68" fmla="*/ 2147483647 w 99"/>
                    <a:gd name="T69" fmla="*/ 2147483647 h 45"/>
                    <a:gd name="T70" fmla="*/ 2147483647 w 99"/>
                    <a:gd name="T71" fmla="*/ 2147483647 h 45"/>
                    <a:gd name="T72" fmla="*/ 2147483647 w 99"/>
                    <a:gd name="T73" fmla="*/ 2147483647 h 45"/>
                    <a:gd name="T74" fmla="*/ 2147483647 w 99"/>
                    <a:gd name="T75" fmla="*/ 2147483647 h 45"/>
                    <a:gd name="T76" fmla="*/ 2147483647 w 99"/>
                    <a:gd name="T77" fmla="*/ 2147483647 h 45"/>
                    <a:gd name="T78" fmla="*/ 2147483647 w 99"/>
                    <a:gd name="T79" fmla="*/ 2147483647 h 45"/>
                    <a:gd name="T80" fmla="*/ 2147483647 w 99"/>
                    <a:gd name="T81" fmla="*/ 2147483647 h 45"/>
                    <a:gd name="T82" fmla="*/ 2147483647 w 99"/>
                    <a:gd name="T83" fmla="*/ 2147483647 h 45"/>
                    <a:gd name="T84" fmla="*/ 2147483647 w 99"/>
                    <a:gd name="T85" fmla="*/ 2147483647 h 45"/>
                    <a:gd name="T86" fmla="*/ 2147483647 w 99"/>
                    <a:gd name="T87" fmla="*/ 2147483647 h 45"/>
                    <a:gd name="T88" fmla="*/ 2147483647 w 99"/>
                    <a:gd name="T89" fmla="*/ 2147483647 h 45"/>
                    <a:gd name="T90" fmla="*/ 2147483647 w 99"/>
                    <a:gd name="T91" fmla="*/ 2147483647 h 45"/>
                    <a:gd name="T92" fmla="*/ 2147483647 w 99"/>
                    <a:gd name="T93" fmla="*/ 2147483647 h 45"/>
                    <a:gd name="T94" fmla="*/ 2147483647 w 99"/>
                    <a:gd name="T95" fmla="*/ 2147483647 h 45"/>
                    <a:gd name="T96" fmla="*/ 2147483647 w 99"/>
                    <a:gd name="T97" fmla="*/ 2147483647 h 45"/>
                    <a:gd name="T98" fmla="*/ 2147483647 w 99"/>
                    <a:gd name="T99" fmla="*/ 2147483647 h 45"/>
                    <a:gd name="T100" fmla="*/ 2147483647 w 99"/>
                    <a:gd name="T101" fmla="*/ 2147483647 h 45"/>
                    <a:gd name="T102" fmla="*/ 2147483647 w 99"/>
                    <a:gd name="T103" fmla="*/ 2147483647 h 45"/>
                    <a:gd name="T104" fmla="*/ 2147483647 w 99"/>
                    <a:gd name="T105" fmla="*/ 2147483647 h 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
                    <a:gd name="T160" fmla="*/ 0 h 45"/>
                    <a:gd name="T161" fmla="*/ 99 w 99"/>
                    <a:gd name="T162" fmla="*/ 45 h 4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 h="45">
                      <a:moveTo>
                        <a:pt x="89" y="42"/>
                      </a:moveTo>
                      <a:lnTo>
                        <a:pt x="92" y="41"/>
                      </a:lnTo>
                      <a:lnTo>
                        <a:pt x="94" y="38"/>
                      </a:lnTo>
                      <a:lnTo>
                        <a:pt x="97" y="31"/>
                      </a:lnTo>
                      <a:lnTo>
                        <a:pt x="98" y="28"/>
                      </a:lnTo>
                      <a:lnTo>
                        <a:pt x="99" y="24"/>
                      </a:lnTo>
                      <a:lnTo>
                        <a:pt x="95" y="18"/>
                      </a:lnTo>
                      <a:lnTo>
                        <a:pt x="93" y="14"/>
                      </a:lnTo>
                      <a:lnTo>
                        <a:pt x="90" y="13"/>
                      </a:lnTo>
                      <a:lnTo>
                        <a:pt x="80" y="9"/>
                      </a:lnTo>
                      <a:lnTo>
                        <a:pt x="69" y="5"/>
                      </a:lnTo>
                      <a:lnTo>
                        <a:pt x="65" y="5"/>
                      </a:lnTo>
                      <a:lnTo>
                        <a:pt x="62" y="6"/>
                      </a:lnTo>
                      <a:lnTo>
                        <a:pt x="52" y="11"/>
                      </a:lnTo>
                      <a:lnTo>
                        <a:pt x="41" y="13"/>
                      </a:lnTo>
                      <a:lnTo>
                        <a:pt x="31" y="14"/>
                      </a:lnTo>
                      <a:lnTo>
                        <a:pt x="19" y="14"/>
                      </a:lnTo>
                      <a:lnTo>
                        <a:pt x="17" y="14"/>
                      </a:lnTo>
                      <a:lnTo>
                        <a:pt x="13" y="16"/>
                      </a:lnTo>
                      <a:lnTo>
                        <a:pt x="10" y="16"/>
                      </a:lnTo>
                      <a:lnTo>
                        <a:pt x="9" y="14"/>
                      </a:lnTo>
                      <a:lnTo>
                        <a:pt x="8" y="7"/>
                      </a:lnTo>
                      <a:lnTo>
                        <a:pt x="7" y="4"/>
                      </a:lnTo>
                      <a:lnTo>
                        <a:pt x="4" y="0"/>
                      </a:lnTo>
                      <a:lnTo>
                        <a:pt x="0" y="7"/>
                      </a:lnTo>
                      <a:lnTo>
                        <a:pt x="0" y="11"/>
                      </a:lnTo>
                      <a:lnTo>
                        <a:pt x="2" y="13"/>
                      </a:lnTo>
                      <a:lnTo>
                        <a:pt x="5" y="20"/>
                      </a:lnTo>
                      <a:lnTo>
                        <a:pt x="7" y="24"/>
                      </a:lnTo>
                      <a:lnTo>
                        <a:pt x="4" y="28"/>
                      </a:lnTo>
                      <a:lnTo>
                        <a:pt x="5" y="29"/>
                      </a:lnTo>
                      <a:lnTo>
                        <a:pt x="7" y="30"/>
                      </a:lnTo>
                      <a:lnTo>
                        <a:pt x="14" y="32"/>
                      </a:lnTo>
                      <a:lnTo>
                        <a:pt x="21" y="36"/>
                      </a:lnTo>
                      <a:lnTo>
                        <a:pt x="33" y="44"/>
                      </a:lnTo>
                      <a:lnTo>
                        <a:pt x="38" y="45"/>
                      </a:lnTo>
                      <a:lnTo>
                        <a:pt x="40" y="45"/>
                      </a:lnTo>
                      <a:lnTo>
                        <a:pt x="42" y="44"/>
                      </a:lnTo>
                      <a:lnTo>
                        <a:pt x="43" y="39"/>
                      </a:lnTo>
                      <a:lnTo>
                        <a:pt x="43" y="36"/>
                      </a:lnTo>
                      <a:lnTo>
                        <a:pt x="46" y="31"/>
                      </a:lnTo>
                      <a:lnTo>
                        <a:pt x="50" y="28"/>
                      </a:lnTo>
                      <a:lnTo>
                        <a:pt x="54" y="25"/>
                      </a:lnTo>
                      <a:lnTo>
                        <a:pt x="57" y="23"/>
                      </a:lnTo>
                      <a:lnTo>
                        <a:pt x="61" y="20"/>
                      </a:lnTo>
                      <a:lnTo>
                        <a:pt x="66" y="19"/>
                      </a:lnTo>
                      <a:lnTo>
                        <a:pt x="71" y="19"/>
                      </a:lnTo>
                      <a:lnTo>
                        <a:pt x="76" y="19"/>
                      </a:lnTo>
                      <a:lnTo>
                        <a:pt x="79" y="20"/>
                      </a:lnTo>
                      <a:lnTo>
                        <a:pt x="82" y="23"/>
                      </a:lnTo>
                      <a:lnTo>
                        <a:pt x="85" y="29"/>
                      </a:lnTo>
                      <a:lnTo>
                        <a:pt x="88" y="35"/>
                      </a:lnTo>
                      <a:lnTo>
                        <a:pt x="89" y="4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6" name="Freeform 1040"/>
                <p:cNvSpPr>
                  <a:spLocks/>
                </p:cNvSpPr>
                <p:nvPr/>
              </p:nvSpPr>
              <p:spPr bwMode="auto">
                <a:xfrm>
                  <a:off x="2763922" y="4270595"/>
                  <a:ext cx="284135" cy="470599"/>
                </a:xfrm>
                <a:custGeom>
                  <a:avLst/>
                  <a:gdLst>
                    <a:gd name="T0" fmla="*/ 2147483647 w 208"/>
                    <a:gd name="T1" fmla="*/ 2147483647 h 318"/>
                    <a:gd name="T2" fmla="*/ 2147483647 w 208"/>
                    <a:gd name="T3" fmla="*/ 2147483647 h 318"/>
                    <a:gd name="T4" fmla="*/ 2147483647 w 208"/>
                    <a:gd name="T5" fmla="*/ 2147483647 h 318"/>
                    <a:gd name="T6" fmla="*/ 2147483647 w 208"/>
                    <a:gd name="T7" fmla="*/ 2147483647 h 318"/>
                    <a:gd name="T8" fmla="*/ 2147483647 w 208"/>
                    <a:gd name="T9" fmla="*/ 2147483647 h 318"/>
                    <a:gd name="T10" fmla="*/ 2147483647 w 208"/>
                    <a:gd name="T11" fmla="*/ 2147483647 h 318"/>
                    <a:gd name="T12" fmla="*/ 2147483647 w 208"/>
                    <a:gd name="T13" fmla="*/ 2147483647 h 318"/>
                    <a:gd name="T14" fmla="*/ 2147483647 w 208"/>
                    <a:gd name="T15" fmla="*/ 2147483647 h 318"/>
                    <a:gd name="T16" fmla="*/ 2147483647 w 208"/>
                    <a:gd name="T17" fmla="*/ 2147483647 h 318"/>
                    <a:gd name="T18" fmla="*/ 2147483647 w 208"/>
                    <a:gd name="T19" fmla="*/ 2147483647 h 318"/>
                    <a:gd name="T20" fmla="*/ 2147483647 w 208"/>
                    <a:gd name="T21" fmla="*/ 2147483647 h 318"/>
                    <a:gd name="T22" fmla="*/ 2147483647 w 208"/>
                    <a:gd name="T23" fmla="*/ 2147483647 h 318"/>
                    <a:gd name="T24" fmla="*/ 2147483647 w 208"/>
                    <a:gd name="T25" fmla="*/ 2147483647 h 318"/>
                    <a:gd name="T26" fmla="*/ 2147483647 w 208"/>
                    <a:gd name="T27" fmla="*/ 2147483647 h 318"/>
                    <a:gd name="T28" fmla="*/ 2147483647 w 208"/>
                    <a:gd name="T29" fmla="*/ 2147483647 h 318"/>
                    <a:gd name="T30" fmla="*/ 2147483647 w 208"/>
                    <a:gd name="T31" fmla="*/ 2147483647 h 318"/>
                    <a:gd name="T32" fmla="*/ 2147483647 w 208"/>
                    <a:gd name="T33" fmla="*/ 2147483647 h 318"/>
                    <a:gd name="T34" fmla="*/ 2147483647 w 208"/>
                    <a:gd name="T35" fmla="*/ 2147483647 h 318"/>
                    <a:gd name="T36" fmla="*/ 2147483647 w 208"/>
                    <a:gd name="T37" fmla="*/ 2147483647 h 318"/>
                    <a:gd name="T38" fmla="*/ 2147483647 w 208"/>
                    <a:gd name="T39" fmla="*/ 2147483647 h 318"/>
                    <a:gd name="T40" fmla="*/ 2147483647 w 208"/>
                    <a:gd name="T41" fmla="*/ 2147483647 h 318"/>
                    <a:gd name="T42" fmla="*/ 2147483647 w 208"/>
                    <a:gd name="T43" fmla="*/ 2147483647 h 318"/>
                    <a:gd name="T44" fmla="*/ 2147483647 w 208"/>
                    <a:gd name="T45" fmla="*/ 2147483647 h 318"/>
                    <a:gd name="T46" fmla="*/ 2147483647 w 208"/>
                    <a:gd name="T47" fmla="*/ 2147483647 h 318"/>
                    <a:gd name="T48" fmla="*/ 2147483647 w 208"/>
                    <a:gd name="T49" fmla="*/ 2147483647 h 318"/>
                    <a:gd name="T50" fmla="*/ 2147483647 w 208"/>
                    <a:gd name="T51" fmla="*/ 2147483647 h 318"/>
                    <a:gd name="T52" fmla="*/ 2147483647 w 208"/>
                    <a:gd name="T53" fmla="*/ 2147483647 h 318"/>
                    <a:gd name="T54" fmla="*/ 2147483647 w 208"/>
                    <a:gd name="T55" fmla="*/ 2147483647 h 318"/>
                    <a:gd name="T56" fmla="*/ 2147483647 w 208"/>
                    <a:gd name="T57" fmla="*/ 2147483647 h 318"/>
                    <a:gd name="T58" fmla="*/ 2147483647 w 208"/>
                    <a:gd name="T59" fmla="*/ 2147483647 h 318"/>
                    <a:gd name="T60" fmla="*/ 2147483647 w 208"/>
                    <a:gd name="T61" fmla="*/ 2147483647 h 318"/>
                    <a:gd name="T62" fmla="*/ 2147483647 w 208"/>
                    <a:gd name="T63" fmla="*/ 2147483647 h 318"/>
                    <a:gd name="T64" fmla="*/ 2147483647 w 208"/>
                    <a:gd name="T65" fmla="*/ 2147483647 h 318"/>
                    <a:gd name="T66" fmla="*/ 2147483647 w 208"/>
                    <a:gd name="T67" fmla="*/ 2147483647 h 318"/>
                    <a:gd name="T68" fmla="*/ 2147483647 w 208"/>
                    <a:gd name="T69" fmla="*/ 2147483647 h 318"/>
                    <a:gd name="T70" fmla="*/ 2147483647 w 208"/>
                    <a:gd name="T71" fmla="*/ 2147483647 h 318"/>
                    <a:gd name="T72" fmla="*/ 2147483647 w 208"/>
                    <a:gd name="T73" fmla="*/ 2147483647 h 318"/>
                    <a:gd name="T74" fmla="*/ 2147483647 w 208"/>
                    <a:gd name="T75" fmla="*/ 2147483647 h 318"/>
                    <a:gd name="T76" fmla="*/ 2147483647 w 208"/>
                    <a:gd name="T77" fmla="*/ 2147483647 h 318"/>
                    <a:gd name="T78" fmla="*/ 2147483647 w 208"/>
                    <a:gd name="T79" fmla="*/ 2147483647 h 318"/>
                    <a:gd name="T80" fmla="*/ 2147483647 w 208"/>
                    <a:gd name="T81" fmla="*/ 2147483647 h 318"/>
                    <a:gd name="T82" fmla="*/ 0 w 208"/>
                    <a:gd name="T83" fmla="*/ 2147483647 h 318"/>
                    <a:gd name="T84" fmla="*/ 2147483647 w 208"/>
                    <a:gd name="T85" fmla="*/ 2147483647 h 318"/>
                    <a:gd name="T86" fmla="*/ 2147483647 w 208"/>
                    <a:gd name="T87" fmla="*/ 2147483647 h 318"/>
                    <a:gd name="T88" fmla="*/ 2147483647 w 208"/>
                    <a:gd name="T89" fmla="*/ 2147483647 h 318"/>
                    <a:gd name="T90" fmla="*/ 2147483647 w 208"/>
                    <a:gd name="T91" fmla="*/ 2147483647 h 318"/>
                    <a:gd name="T92" fmla="*/ 2147483647 w 208"/>
                    <a:gd name="T93" fmla="*/ 2147483647 h 318"/>
                    <a:gd name="T94" fmla="*/ 2147483647 w 208"/>
                    <a:gd name="T95" fmla="*/ 2147483647 h 318"/>
                    <a:gd name="T96" fmla="*/ 2147483647 w 208"/>
                    <a:gd name="T97" fmla="*/ 2147483647 h 318"/>
                    <a:gd name="T98" fmla="*/ 2147483647 w 208"/>
                    <a:gd name="T99" fmla="*/ 2147483647 h 3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8"/>
                    <a:gd name="T151" fmla="*/ 0 h 318"/>
                    <a:gd name="T152" fmla="*/ 208 w 208"/>
                    <a:gd name="T153" fmla="*/ 318 h 3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8" h="318">
                      <a:moveTo>
                        <a:pt x="15" y="89"/>
                      </a:moveTo>
                      <a:lnTo>
                        <a:pt x="18" y="88"/>
                      </a:lnTo>
                      <a:lnTo>
                        <a:pt x="20" y="85"/>
                      </a:lnTo>
                      <a:lnTo>
                        <a:pt x="23" y="78"/>
                      </a:lnTo>
                      <a:lnTo>
                        <a:pt x="24" y="75"/>
                      </a:lnTo>
                      <a:lnTo>
                        <a:pt x="25" y="71"/>
                      </a:lnTo>
                      <a:lnTo>
                        <a:pt x="25" y="72"/>
                      </a:lnTo>
                      <a:lnTo>
                        <a:pt x="27" y="72"/>
                      </a:lnTo>
                      <a:lnTo>
                        <a:pt x="29" y="72"/>
                      </a:lnTo>
                      <a:lnTo>
                        <a:pt x="32" y="66"/>
                      </a:lnTo>
                      <a:lnTo>
                        <a:pt x="37" y="61"/>
                      </a:lnTo>
                      <a:lnTo>
                        <a:pt x="47" y="56"/>
                      </a:lnTo>
                      <a:lnTo>
                        <a:pt x="52" y="50"/>
                      </a:lnTo>
                      <a:lnTo>
                        <a:pt x="56" y="44"/>
                      </a:lnTo>
                      <a:lnTo>
                        <a:pt x="54" y="38"/>
                      </a:lnTo>
                      <a:lnTo>
                        <a:pt x="57" y="33"/>
                      </a:lnTo>
                      <a:lnTo>
                        <a:pt x="61" y="29"/>
                      </a:lnTo>
                      <a:lnTo>
                        <a:pt x="66" y="27"/>
                      </a:lnTo>
                      <a:lnTo>
                        <a:pt x="72" y="25"/>
                      </a:lnTo>
                      <a:lnTo>
                        <a:pt x="79" y="24"/>
                      </a:lnTo>
                      <a:lnTo>
                        <a:pt x="90" y="21"/>
                      </a:lnTo>
                      <a:lnTo>
                        <a:pt x="95" y="20"/>
                      </a:lnTo>
                      <a:lnTo>
                        <a:pt x="98" y="19"/>
                      </a:lnTo>
                      <a:lnTo>
                        <a:pt x="100" y="18"/>
                      </a:lnTo>
                      <a:lnTo>
                        <a:pt x="101" y="15"/>
                      </a:lnTo>
                      <a:lnTo>
                        <a:pt x="104" y="13"/>
                      </a:lnTo>
                      <a:lnTo>
                        <a:pt x="108" y="11"/>
                      </a:lnTo>
                      <a:lnTo>
                        <a:pt x="110" y="7"/>
                      </a:lnTo>
                      <a:lnTo>
                        <a:pt x="115" y="1"/>
                      </a:lnTo>
                      <a:lnTo>
                        <a:pt x="118" y="0"/>
                      </a:lnTo>
                      <a:lnTo>
                        <a:pt x="122" y="0"/>
                      </a:lnTo>
                      <a:lnTo>
                        <a:pt x="124" y="1"/>
                      </a:lnTo>
                      <a:lnTo>
                        <a:pt x="126" y="3"/>
                      </a:lnTo>
                      <a:lnTo>
                        <a:pt x="124" y="7"/>
                      </a:lnTo>
                      <a:lnTo>
                        <a:pt x="123" y="11"/>
                      </a:lnTo>
                      <a:lnTo>
                        <a:pt x="119" y="15"/>
                      </a:lnTo>
                      <a:lnTo>
                        <a:pt x="115" y="18"/>
                      </a:lnTo>
                      <a:lnTo>
                        <a:pt x="108" y="19"/>
                      </a:lnTo>
                      <a:lnTo>
                        <a:pt x="103" y="22"/>
                      </a:lnTo>
                      <a:lnTo>
                        <a:pt x="99" y="27"/>
                      </a:lnTo>
                      <a:lnTo>
                        <a:pt x="98" y="33"/>
                      </a:lnTo>
                      <a:lnTo>
                        <a:pt x="95" y="46"/>
                      </a:lnTo>
                      <a:lnTo>
                        <a:pt x="94" y="59"/>
                      </a:lnTo>
                      <a:lnTo>
                        <a:pt x="94" y="61"/>
                      </a:lnTo>
                      <a:lnTo>
                        <a:pt x="94" y="64"/>
                      </a:lnTo>
                      <a:lnTo>
                        <a:pt x="99" y="67"/>
                      </a:lnTo>
                      <a:lnTo>
                        <a:pt x="104" y="70"/>
                      </a:lnTo>
                      <a:lnTo>
                        <a:pt x="109" y="73"/>
                      </a:lnTo>
                      <a:lnTo>
                        <a:pt x="110" y="75"/>
                      </a:lnTo>
                      <a:lnTo>
                        <a:pt x="110" y="76"/>
                      </a:lnTo>
                      <a:lnTo>
                        <a:pt x="109" y="79"/>
                      </a:lnTo>
                      <a:lnTo>
                        <a:pt x="109" y="85"/>
                      </a:lnTo>
                      <a:lnTo>
                        <a:pt x="112" y="91"/>
                      </a:lnTo>
                      <a:lnTo>
                        <a:pt x="117" y="96"/>
                      </a:lnTo>
                      <a:lnTo>
                        <a:pt x="122" y="99"/>
                      </a:lnTo>
                      <a:lnTo>
                        <a:pt x="128" y="103"/>
                      </a:lnTo>
                      <a:lnTo>
                        <a:pt x="134" y="105"/>
                      </a:lnTo>
                      <a:lnTo>
                        <a:pt x="142" y="107"/>
                      </a:lnTo>
                      <a:lnTo>
                        <a:pt x="148" y="108"/>
                      </a:lnTo>
                      <a:lnTo>
                        <a:pt x="150" y="108"/>
                      </a:lnTo>
                      <a:lnTo>
                        <a:pt x="151" y="109"/>
                      </a:lnTo>
                      <a:lnTo>
                        <a:pt x="154" y="114"/>
                      </a:lnTo>
                      <a:lnTo>
                        <a:pt x="157" y="117"/>
                      </a:lnTo>
                      <a:lnTo>
                        <a:pt x="162" y="120"/>
                      </a:lnTo>
                      <a:lnTo>
                        <a:pt x="168" y="121"/>
                      </a:lnTo>
                      <a:lnTo>
                        <a:pt x="173" y="121"/>
                      </a:lnTo>
                      <a:lnTo>
                        <a:pt x="178" y="120"/>
                      </a:lnTo>
                      <a:lnTo>
                        <a:pt x="183" y="117"/>
                      </a:lnTo>
                      <a:lnTo>
                        <a:pt x="188" y="115"/>
                      </a:lnTo>
                      <a:lnTo>
                        <a:pt x="187" y="121"/>
                      </a:lnTo>
                      <a:lnTo>
                        <a:pt x="188" y="128"/>
                      </a:lnTo>
                      <a:lnTo>
                        <a:pt x="189" y="141"/>
                      </a:lnTo>
                      <a:lnTo>
                        <a:pt x="193" y="154"/>
                      </a:lnTo>
                      <a:lnTo>
                        <a:pt x="194" y="167"/>
                      </a:lnTo>
                      <a:lnTo>
                        <a:pt x="194" y="169"/>
                      </a:lnTo>
                      <a:lnTo>
                        <a:pt x="193" y="171"/>
                      </a:lnTo>
                      <a:lnTo>
                        <a:pt x="189" y="175"/>
                      </a:lnTo>
                      <a:lnTo>
                        <a:pt x="188" y="179"/>
                      </a:lnTo>
                      <a:lnTo>
                        <a:pt x="187" y="180"/>
                      </a:lnTo>
                      <a:lnTo>
                        <a:pt x="188" y="181"/>
                      </a:lnTo>
                      <a:lnTo>
                        <a:pt x="198" y="186"/>
                      </a:lnTo>
                      <a:lnTo>
                        <a:pt x="203" y="188"/>
                      </a:lnTo>
                      <a:lnTo>
                        <a:pt x="206" y="193"/>
                      </a:lnTo>
                      <a:lnTo>
                        <a:pt x="207" y="198"/>
                      </a:lnTo>
                      <a:lnTo>
                        <a:pt x="208" y="203"/>
                      </a:lnTo>
                      <a:lnTo>
                        <a:pt x="207" y="207"/>
                      </a:lnTo>
                      <a:lnTo>
                        <a:pt x="206" y="212"/>
                      </a:lnTo>
                      <a:lnTo>
                        <a:pt x="203" y="212"/>
                      </a:lnTo>
                      <a:lnTo>
                        <a:pt x="201" y="212"/>
                      </a:lnTo>
                      <a:lnTo>
                        <a:pt x="199" y="210"/>
                      </a:lnTo>
                      <a:lnTo>
                        <a:pt x="198" y="206"/>
                      </a:lnTo>
                      <a:lnTo>
                        <a:pt x="198" y="201"/>
                      </a:lnTo>
                      <a:lnTo>
                        <a:pt x="195" y="197"/>
                      </a:lnTo>
                      <a:lnTo>
                        <a:pt x="193" y="198"/>
                      </a:lnTo>
                      <a:lnTo>
                        <a:pt x="192" y="200"/>
                      </a:lnTo>
                      <a:lnTo>
                        <a:pt x="190" y="204"/>
                      </a:lnTo>
                      <a:lnTo>
                        <a:pt x="188" y="207"/>
                      </a:lnTo>
                      <a:lnTo>
                        <a:pt x="184" y="210"/>
                      </a:lnTo>
                      <a:lnTo>
                        <a:pt x="180" y="211"/>
                      </a:lnTo>
                      <a:lnTo>
                        <a:pt x="171" y="212"/>
                      </a:lnTo>
                      <a:lnTo>
                        <a:pt x="166" y="213"/>
                      </a:lnTo>
                      <a:lnTo>
                        <a:pt x="162" y="216"/>
                      </a:lnTo>
                      <a:lnTo>
                        <a:pt x="160" y="218"/>
                      </a:lnTo>
                      <a:lnTo>
                        <a:pt x="160" y="220"/>
                      </a:lnTo>
                      <a:lnTo>
                        <a:pt x="160" y="223"/>
                      </a:lnTo>
                      <a:lnTo>
                        <a:pt x="162" y="224"/>
                      </a:lnTo>
                      <a:lnTo>
                        <a:pt x="168" y="224"/>
                      </a:lnTo>
                      <a:lnTo>
                        <a:pt x="171" y="225"/>
                      </a:lnTo>
                      <a:lnTo>
                        <a:pt x="174" y="227"/>
                      </a:lnTo>
                      <a:lnTo>
                        <a:pt x="176" y="231"/>
                      </a:lnTo>
                      <a:lnTo>
                        <a:pt x="179" y="231"/>
                      </a:lnTo>
                      <a:lnTo>
                        <a:pt x="180" y="231"/>
                      </a:lnTo>
                      <a:lnTo>
                        <a:pt x="180" y="232"/>
                      </a:lnTo>
                      <a:lnTo>
                        <a:pt x="180" y="235"/>
                      </a:lnTo>
                      <a:lnTo>
                        <a:pt x="176" y="236"/>
                      </a:lnTo>
                      <a:lnTo>
                        <a:pt x="169" y="238"/>
                      </a:lnTo>
                      <a:lnTo>
                        <a:pt x="159" y="238"/>
                      </a:lnTo>
                      <a:lnTo>
                        <a:pt x="156" y="238"/>
                      </a:lnTo>
                      <a:lnTo>
                        <a:pt x="156" y="241"/>
                      </a:lnTo>
                      <a:lnTo>
                        <a:pt x="155" y="249"/>
                      </a:lnTo>
                      <a:lnTo>
                        <a:pt x="155" y="252"/>
                      </a:lnTo>
                      <a:lnTo>
                        <a:pt x="156" y="254"/>
                      </a:lnTo>
                      <a:lnTo>
                        <a:pt x="160" y="256"/>
                      </a:lnTo>
                      <a:lnTo>
                        <a:pt x="161" y="258"/>
                      </a:lnTo>
                      <a:lnTo>
                        <a:pt x="164" y="264"/>
                      </a:lnTo>
                      <a:lnTo>
                        <a:pt x="165" y="270"/>
                      </a:lnTo>
                      <a:lnTo>
                        <a:pt x="162" y="277"/>
                      </a:lnTo>
                      <a:lnTo>
                        <a:pt x="157" y="290"/>
                      </a:lnTo>
                      <a:lnTo>
                        <a:pt x="150" y="302"/>
                      </a:lnTo>
                      <a:lnTo>
                        <a:pt x="147" y="310"/>
                      </a:lnTo>
                      <a:lnTo>
                        <a:pt x="146" y="314"/>
                      </a:lnTo>
                      <a:lnTo>
                        <a:pt x="145" y="316"/>
                      </a:lnTo>
                      <a:lnTo>
                        <a:pt x="141" y="318"/>
                      </a:lnTo>
                      <a:lnTo>
                        <a:pt x="137" y="318"/>
                      </a:lnTo>
                      <a:lnTo>
                        <a:pt x="133" y="316"/>
                      </a:lnTo>
                      <a:lnTo>
                        <a:pt x="131" y="314"/>
                      </a:lnTo>
                      <a:lnTo>
                        <a:pt x="133" y="308"/>
                      </a:lnTo>
                      <a:lnTo>
                        <a:pt x="137" y="300"/>
                      </a:lnTo>
                      <a:lnTo>
                        <a:pt x="147" y="283"/>
                      </a:lnTo>
                      <a:lnTo>
                        <a:pt x="145" y="281"/>
                      </a:lnTo>
                      <a:lnTo>
                        <a:pt x="141" y="280"/>
                      </a:lnTo>
                      <a:lnTo>
                        <a:pt x="137" y="280"/>
                      </a:lnTo>
                      <a:lnTo>
                        <a:pt x="133" y="278"/>
                      </a:lnTo>
                      <a:lnTo>
                        <a:pt x="128" y="275"/>
                      </a:lnTo>
                      <a:lnTo>
                        <a:pt x="124" y="271"/>
                      </a:lnTo>
                      <a:lnTo>
                        <a:pt x="121" y="270"/>
                      </a:lnTo>
                      <a:lnTo>
                        <a:pt x="115" y="271"/>
                      </a:lnTo>
                      <a:lnTo>
                        <a:pt x="112" y="273"/>
                      </a:lnTo>
                      <a:lnTo>
                        <a:pt x="108" y="271"/>
                      </a:lnTo>
                      <a:lnTo>
                        <a:pt x="104" y="269"/>
                      </a:lnTo>
                      <a:lnTo>
                        <a:pt x="101" y="265"/>
                      </a:lnTo>
                      <a:lnTo>
                        <a:pt x="100" y="262"/>
                      </a:lnTo>
                      <a:lnTo>
                        <a:pt x="98" y="259"/>
                      </a:lnTo>
                      <a:lnTo>
                        <a:pt x="85" y="256"/>
                      </a:lnTo>
                      <a:lnTo>
                        <a:pt x="81" y="255"/>
                      </a:lnTo>
                      <a:lnTo>
                        <a:pt x="66" y="241"/>
                      </a:lnTo>
                      <a:lnTo>
                        <a:pt x="62" y="238"/>
                      </a:lnTo>
                      <a:lnTo>
                        <a:pt x="56" y="235"/>
                      </a:lnTo>
                      <a:lnTo>
                        <a:pt x="42" y="231"/>
                      </a:lnTo>
                      <a:lnTo>
                        <a:pt x="33" y="230"/>
                      </a:lnTo>
                      <a:lnTo>
                        <a:pt x="27" y="230"/>
                      </a:lnTo>
                      <a:lnTo>
                        <a:pt x="24" y="227"/>
                      </a:lnTo>
                      <a:lnTo>
                        <a:pt x="21" y="225"/>
                      </a:lnTo>
                      <a:lnTo>
                        <a:pt x="18" y="219"/>
                      </a:lnTo>
                      <a:lnTo>
                        <a:pt x="15" y="217"/>
                      </a:lnTo>
                      <a:lnTo>
                        <a:pt x="11" y="214"/>
                      </a:lnTo>
                      <a:lnTo>
                        <a:pt x="6" y="212"/>
                      </a:lnTo>
                      <a:lnTo>
                        <a:pt x="0" y="211"/>
                      </a:lnTo>
                      <a:lnTo>
                        <a:pt x="0" y="210"/>
                      </a:lnTo>
                      <a:lnTo>
                        <a:pt x="0" y="207"/>
                      </a:lnTo>
                      <a:lnTo>
                        <a:pt x="0" y="205"/>
                      </a:lnTo>
                      <a:lnTo>
                        <a:pt x="1" y="204"/>
                      </a:lnTo>
                      <a:lnTo>
                        <a:pt x="5" y="200"/>
                      </a:lnTo>
                      <a:lnTo>
                        <a:pt x="6" y="199"/>
                      </a:lnTo>
                      <a:lnTo>
                        <a:pt x="8" y="198"/>
                      </a:lnTo>
                      <a:lnTo>
                        <a:pt x="9" y="194"/>
                      </a:lnTo>
                      <a:lnTo>
                        <a:pt x="9" y="192"/>
                      </a:lnTo>
                      <a:lnTo>
                        <a:pt x="10" y="191"/>
                      </a:lnTo>
                      <a:lnTo>
                        <a:pt x="16" y="182"/>
                      </a:lnTo>
                      <a:lnTo>
                        <a:pt x="24" y="173"/>
                      </a:lnTo>
                      <a:lnTo>
                        <a:pt x="28" y="166"/>
                      </a:lnTo>
                      <a:lnTo>
                        <a:pt x="28" y="162"/>
                      </a:lnTo>
                      <a:lnTo>
                        <a:pt x="27" y="160"/>
                      </a:lnTo>
                      <a:lnTo>
                        <a:pt x="23" y="155"/>
                      </a:lnTo>
                      <a:lnTo>
                        <a:pt x="21" y="149"/>
                      </a:lnTo>
                      <a:lnTo>
                        <a:pt x="21" y="142"/>
                      </a:lnTo>
                      <a:lnTo>
                        <a:pt x="24" y="136"/>
                      </a:lnTo>
                      <a:lnTo>
                        <a:pt x="25" y="134"/>
                      </a:lnTo>
                      <a:lnTo>
                        <a:pt x="27" y="130"/>
                      </a:lnTo>
                      <a:lnTo>
                        <a:pt x="29" y="128"/>
                      </a:lnTo>
                      <a:lnTo>
                        <a:pt x="29" y="126"/>
                      </a:lnTo>
                      <a:lnTo>
                        <a:pt x="28" y="122"/>
                      </a:lnTo>
                      <a:lnTo>
                        <a:pt x="27" y="118"/>
                      </a:lnTo>
                      <a:lnTo>
                        <a:pt x="23" y="112"/>
                      </a:lnTo>
                      <a:lnTo>
                        <a:pt x="23" y="109"/>
                      </a:lnTo>
                      <a:lnTo>
                        <a:pt x="23" y="105"/>
                      </a:lnTo>
                      <a:lnTo>
                        <a:pt x="23" y="97"/>
                      </a:lnTo>
                      <a:lnTo>
                        <a:pt x="21" y="96"/>
                      </a:lnTo>
                      <a:lnTo>
                        <a:pt x="19" y="95"/>
                      </a:lnTo>
                      <a:lnTo>
                        <a:pt x="16" y="93"/>
                      </a:lnTo>
                      <a:lnTo>
                        <a:pt x="15" y="91"/>
                      </a:lnTo>
                      <a:lnTo>
                        <a:pt x="15" y="8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7" name="Freeform 1042"/>
                <p:cNvSpPr>
                  <a:spLocks/>
                </p:cNvSpPr>
                <p:nvPr/>
              </p:nvSpPr>
              <p:spPr bwMode="auto">
                <a:xfrm>
                  <a:off x="2661809" y="4269116"/>
                  <a:ext cx="384767" cy="469119"/>
                </a:xfrm>
                <a:custGeom>
                  <a:avLst/>
                  <a:gdLst>
                    <a:gd name="T0" fmla="*/ 2147483647 w 282"/>
                    <a:gd name="T1" fmla="*/ 2147483647 h 317"/>
                    <a:gd name="T2" fmla="*/ 2147483647 w 282"/>
                    <a:gd name="T3" fmla="*/ 2147483647 h 317"/>
                    <a:gd name="T4" fmla="*/ 2147483647 w 282"/>
                    <a:gd name="T5" fmla="*/ 2147483647 h 317"/>
                    <a:gd name="T6" fmla="*/ 2147483647 w 282"/>
                    <a:gd name="T7" fmla="*/ 2147483647 h 317"/>
                    <a:gd name="T8" fmla="*/ 2147483647 w 282"/>
                    <a:gd name="T9" fmla="*/ 2147483647 h 317"/>
                    <a:gd name="T10" fmla="*/ 0 w 282"/>
                    <a:gd name="T11" fmla="*/ 2147483647 h 317"/>
                    <a:gd name="T12" fmla="*/ 2147483647 w 282"/>
                    <a:gd name="T13" fmla="*/ 2147483647 h 317"/>
                    <a:gd name="T14" fmla="*/ 2147483647 w 282"/>
                    <a:gd name="T15" fmla="*/ 2147483647 h 317"/>
                    <a:gd name="T16" fmla="*/ 2147483647 w 282"/>
                    <a:gd name="T17" fmla="*/ 2147483647 h 317"/>
                    <a:gd name="T18" fmla="*/ 2147483647 w 282"/>
                    <a:gd name="T19" fmla="*/ 2147483647 h 317"/>
                    <a:gd name="T20" fmla="*/ 2147483647 w 282"/>
                    <a:gd name="T21" fmla="*/ 2147483647 h 317"/>
                    <a:gd name="T22" fmla="*/ 2147483647 w 282"/>
                    <a:gd name="T23" fmla="*/ 2147483647 h 317"/>
                    <a:gd name="T24" fmla="*/ 2147483647 w 282"/>
                    <a:gd name="T25" fmla="*/ 2147483647 h 317"/>
                    <a:gd name="T26" fmla="*/ 2147483647 w 282"/>
                    <a:gd name="T27" fmla="*/ 2147483647 h 317"/>
                    <a:gd name="T28" fmla="*/ 2147483647 w 282"/>
                    <a:gd name="T29" fmla="*/ 2147483647 h 317"/>
                    <a:gd name="T30" fmla="*/ 2147483647 w 282"/>
                    <a:gd name="T31" fmla="*/ 2147483647 h 317"/>
                    <a:gd name="T32" fmla="*/ 2147483647 w 282"/>
                    <a:gd name="T33" fmla="*/ 2147483647 h 317"/>
                    <a:gd name="T34" fmla="*/ 2147483647 w 282"/>
                    <a:gd name="T35" fmla="*/ 2147483647 h 317"/>
                    <a:gd name="T36" fmla="*/ 2147483647 w 282"/>
                    <a:gd name="T37" fmla="*/ 0 h 317"/>
                    <a:gd name="T38" fmla="*/ 2147483647 w 282"/>
                    <a:gd name="T39" fmla="*/ 2147483647 h 317"/>
                    <a:gd name="T40" fmla="*/ 2147483647 w 282"/>
                    <a:gd name="T41" fmla="*/ 2147483647 h 317"/>
                    <a:gd name="T42" fmla="*/ 2147483647 w 282"/>
                    <a:gd name="T43" fmla="*/ 2147483647 h 317"/>
                    <a:gd name="T44" fmla="*/ 2147483647 w 282"/>
                    <a:gd name="T45" fmla="*/ 2147483647 h 317"/>
                    <a:gd name="T46" fmla="*/ 2147483647 w 282"/>
                    <a:gd name="T47" fmla="*/ 2147483647 h 317"/>
                    <a:gd name="T48" fmla="*/ 2147483647 w 282"/>
                    <a:gd name="T49" fmla="*/ 2147483647 h 317"/>
                    <a:gd name="T50" fmla="*/ 2147483647 w 282"/>
                    <a:gd name="T51" fmla="*/ 2147483647 h 317"/>
                    <a:gd name="T52" fmla="*/ 2147483647 w 282"/>
                    <a:gd name="T53" fmla="*/ 2147483647 h 317"/>
                    <a:gd name="T54" fmla="*/ 2147483647 w 282"/>
                    <a:gd name="T55" fmla="*/ 2147483647 h 317"/>
                    <a:gd name="T56" fmla="*/ 2147483647 w 282"/>
                    <a:gd name="T57" fmla="*/ 2147483647 h 317"/>
                    <a:gd name="T58" fmla="*/ 2147483647 w 282"/>
                    <a:gd name="T59" fmla="*/ 2147483647 h 317"/>
                    <a:gd name="T60" fmla="*/ 2147483647 w 282"/>
                    <a:gd name="T61" fmla="*/ 2147483647 h 317"/>
                    <a:gd name="T62" fmla="*/ 2147483647 w 282"/>
                    <a:gd name="T63" fmla="*/ 2147483647 h 317"/>
                    <a:gd name="T64" fmla="*/ 2147483647 w 282"/>
                    <a:gd name="T65" fmla="*/ 2147483647 h 317"/>
                    <a:gd name="T66" fmla="*/ 2147483647 w 282"/>
                    <a:gd name="T67" fmla="*/ 2147483647 h 317"/>
                    <a:gd name="T68" fmla="*/ 2147483647 w 282"/>
                    <a:gd name="T69" fmla="*/ 2147483647 h 317"/>
                    <a:gd name="T70" fmla="*/ 2147483647 w 282"/>
                    <a:gd name="T71" fmla="*/ 2147483647 h 317"/>
                    <a:gd name="T72" fmla="*/ 2147483647 w 282"/>
                    <a:gd name="T73" fmla="*/ 2147483647 h 317"/>
                    <a:gd name="T74" fmla="*/ 2147483647 w 282"/>
                    <a:gd name="T75" fmla="*/ 2147483647 h 317"/>
                    <a:gd name="T76" fmla="*/ 2147483647 w 282"/>
                    <a:gd name="T77" fmla="*/ 2147483647 h 317"/>
                    <a:gd name="T78" fmla="*/ 2147483647 w 282"/>
                    <a:gd name="T79" fmla="*/ 2147483647 h 317"/>
                    <a:gd name="T80" fmla="*/ 2147483647 w 282"/>
                    <a:gd name="T81" fmla="*/ 2147483647 h 317"/>
                    <a:gd name="T82" fmla="*/ 2147483647 w 282"/>
                    <a:gd name="T83" fmla="*/ 2147483647 h 317"/>
                    <a:gd name="T84" fmla="*/ 2147483647 w 282"/>
                    <a:gd name="T85" fmla="*/ 2147483647 h 317"/>
                    <a:gd name="T86" fmla="*/ 2147483647 w 282"/>
                    <a:gd name="T87" fmla="*/ 2147483647 h 317"/>
                    <a:gd name="T88" fmla="*/ 2147483647 w 282"/>
                    <a:gd name="T89" fmla="*/ 2147483647 h 317"/>
                    <a:gd name="T90" fmla="*/ 2147483647 w 282"/>
                    <a:gd name="T91" fmla="*/ 2147483647 h 317"/>
                    <a:gd name="T92" fmla="*/ 2147483647 w 282"/>
                    <a:gd name="T93" fmla="*/ 2147483647 h 317"/>
                    <a:gd name="T94" fmla="*/ 2147483647 w 282"/>
                    <a:gd name="T95" fmla="*/ 2147483647 h 317"/>
                    <a:gd name="T96" fmla="*/ 2147483647 w 282"/>
                    <a:gd name="T97" fmla="*/ 2147483647 h 317"/>
                    <a:gd name="T98" fmla="*/ 2147483647 w 282"/>
                    <a:gd name="T99" fmla="*/ 2147483647 h 317"/>
                    <a:gd name="T100" fmla="*/ 2147483647 w 282"/>
                    <a:gd name="T101" fmla="*/ 2147483647 h 317"/>
                    <a:gd name="T102" fmla="*/ 2147483647 w 282"/>
                    <a:gd name="T103" fmla="*/ 2147483647 h 317"/>
                    <a:gd name="T104" fmla="*/ 2147483647 w 282"/>
                    <a:gd name="T105" fmla="*/ 2147483647 h 317"/>
                    <a:gd name="T106" fmla="*/ 2147483647 w 282"/>
                    <a:gd name="T107" fmla="*/ 2147483647 h 317"/>
                    <a:gd name="T108" fmla="*/ 2147483647 w 282"/>
                    <a:gd name="T109" fmla="*/ 2147483647 h 3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2"/>
                    <a:gd name="T166" fmla="*/ 0 h 317"/>
                    <a:gd name="T167" fmla="*/ 282 w 282"/>
                    <a:gd name="T168" fmla="*/ 317 h 3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2" h="317">
                      <a:moveTo>
                        <a:pt x="89" y="89"/>
                      </a:moveTo>
                      <a:lnTo>
                        <a:pt x="89" y="89"/>
                      </a:lnTo>
                      <a:lnTo>
                        <a:pt x="91" y="87"/>
                      </a:lnTo>
                      <a:lnTo>
                        <a:pt x="94" y="85"/>
                      </a:lnTo>
                      <a:lnTo>
                        <a:pt x="96" y="78"/>
                      </a:lnTo>
                      <a:lnTo>
                        <a:pt x="98" y="74"/>
                      </a:lnTo>
                      <a:lnTo>
                        <a:pt x="99" y="71"/>
                      </a:lnTo>
                      <a:lnTo>
                        <a:pt x="95" y="65"/>
                      </a:lnTo>
                      <a:lnTo>
                        <a:pt x="93" y="61"/>
                      </a:lnTo>
                      <a:lnTo>
                        <a:pt x="90" y="60"/>
                      </a:lnTo>
                      <a:lnTo>
                        <a:pt x="80" y="55"/>
                      </a:lnTo>
                      <a:lnTo>
                        <a:pt x="69" y="52"/>
                      </a:lnTo>
                      <a:lnTo>
                        <a:pt x="65" y="52"/>
                      </a:lnTo>
                      <a:lnTo>
                        <a:pt x="62" y="53"/>
                      </a:lnTo>
                      <a:lnTo>
                        <a:pt x="52" y="58"/>
                      </a:lnTo>
                      <a:lnTo>
                        <a:pt x="41" y="60"/>
                      </a:lnTo>
                      <a:lnTo>
                        <a:pt x="30" y="61"/>
                      </a:lnTo>
                      <a:lnTo>
                        <a:pt x="19" y="61"/>
                      </a:lnTo>
                      <a:lnTo>
                        <a:pt x="16" y="61"/>
                      </a:lnTo>
                      <a:lnTo>
                        <a:pt x="13" y="62"/>
                      </a:lnTo>
                      <a:lnTo>
                        <a:pt x="10" y="62"/>
                      </a:lnTo>
                      <a:lnTo>
                        <a:pt x="9" y="61"/>
                      </a:lnTo>
                      <a:lnTo>
                        <a:pt x="8" y="54"/>
                      </a:lnTo>
                      <a:lnTo>
                        <a:pt x="6" y="51"/>
                      </a:lnTo>
                      <a:lnTo>
                        <a:pt x="4" y="47"/>
                      </a:lnTo>
                      <a:lnTo>
                        <a:pt x="0" y="54"/>
                      </a:lnTo>
                      <a:lnTo>
                        <a:pt x="0" y="58"/>
                      </a:lnTo>
                      <a:lnTo>
                        <a:pt x="1" y="60"/>
                      </a:lnTo>
                      <a:lnTo>
                        <a:pt x="5" y="67"/>
                      </a:lnTo>
                      <a:lnTo>
                        <a:pt x="6" y="71"/>
                      </a:lnTo>
                      <a:lnTo>
                        <a:pt x="4" y="74"/>
                      </a:lnTo>
                      <a:lnTo>
                        <a:pt x="5" y="76"/>
                      </a:lnTo>
                      <a:lnTo>
                        <a:pt x="6" y="77"/>
                      </a:lnTo>
                      <a:lnTo>
                        <a:pt x="14" y="79"/>
                      </a:lnTo>
                      <a:lnTo>
                        <a:pt x="20" y="83"/>
                      </a:lnTo>
                      <a:lnTo>
                        <a:pt x="33" y="91"/>
                      </a:lnTo>
                      <a:lnTo>
                        <a:pt x="38" y="92"/>
                      </a:lnTo>
                      <a:lnTo>
                        <a:pt x="39" y="92"/>
                      </a:lnTo>
                      <a:lnTo>
                        <a:pt x="42" y="91"/>
                      </a:lnTo>
                      <a:lnTo>
                        <a:pt x="43" y="86"/>
                      </a:lnTo>
                      <a:lnTo>
                        <a:pt x="43" y="83"/>
                      </a:lnTo>
                      <a:lnTo>
                        <a:pt x="46" y="78"/>
                      </a:lnTo>
                      <a:lnTo>
                        <a:pt x="49" y="74"/>
                      </a:lnTo>
                      <a:lnTo>
                        <a:pt x="53" y="72"/>
                      </a:lnTo>
                      <a:lnTo>
                        <a:pt x="57" y="70"/>
                      </a:lnTo>
                      <a:lnTo>
                        <a:pt x="61" y="67"/>
                      </a:lnTo>
                      <a:lnTo>
                        <a:pt x="66" y="66"/>
                      </a:lnTo>
                      <a:lnTo>
                        <a:pt x="71" y="66"/>
                      </a:lnTo>
                      <a:lnTo>
                        <a:pt x="76" y="66"/>
                      </a:lnTo>
                      <a:lnTo>
                        <a:pt x="79" y="67"/>
                      </a:lnTo>
                      <a:lnTo>
                        <a:pt x="81" y="70"/>
                      </a:lnTo>
                      <a:lnTo>
                        <a:pt x="85" y="76"/>
                      </a:lnTo>
                      <a:lnTo>
                        <a:pt x="88" y="81"/>
                      </a:lnTo>
                      <a:lnTo>
                        <a:pt x="89" y="89"/>
                      </a:lnTo>
                      <a:lnTo>
                        <a:pt x="91" y="87"/>
                      </a:lnTo>
                      <a:lnTo>
                        <a:pt x="94" y="85"/>
                      </a:lnTo>
                      <a:lnTo>
                        <a:pt x="96" y="78"/>
                      </a:lnTo>
                      <a:lnTo>
                        <a:pt x="98" y="74"/>
                      </a:lnTo>
                      <a:lnTo>
                        <a:pt x="99" y="71"/>
                      </a:lnTo>
                      <a:lnTo>
                        <a:pt x="99" y="72"/>
                      </a:lnTo>
                      <a:lnTo>
                        <a:pt x="100" y="72"/>
                      </a:lnTo>
                      <a:lnTo>
                        <a:pt x="103" y="72"/>
                      </a:lnTo>
                      <a:lnTo>
                        <a:pt x="105" y="66"/>
                      </a:lnTo>
                      <a:lnTo>
                        <a:pt x="110" y="61"/>
                      </a:lnTo>
                      <a:lnTo>
                        <a:pt x="121" y="55"/>
                      </a:lnTo>
                      <a:lnTo>
                        <a:pt x="126" y="49"/>
                      </a:lnTo>
                      <a:lnTo>
                        <a:pt x="129" y="44"/>
                      </a:lnTo>
                      <a:lnTo>
                        <a:pt x="128" y="38"/>
                      </a:lnTo>
                      <a:lnTo>
                        <a:pt x="131" y="33"/>
                      </a:lnTo>
                      <a:lnTo>
                        <a:pt x="135" y="29"/>
                      </a:lnTo>
                      <a:lnTo>
                        <a:pt x="140" y="27"/>
                      </a:lnTo>
                      <a:lnTo>
                        <a:pt x="146" y="25"/>
                      </a:lnTo>
                      <a:lnTo>
                        <a:pt x="152" y="23"/>
                      </a:lnTo>
                      <a:lnTo>
                        <a:pt x="164" y="21"/>
                      </a:lnTo>
                      <a:lnTo>
                        <a:pt x="169" y="20"/>
                      </a:lnTo>
                      <a:lnTo>
                        <a:pt x="171" y="19"/>
                      </a:lnTo>
                      <a:lnTo>
                        <a:pt x="174" y="17"/>
                      </a:lnTo>
                      <a:lnTo>
                        <a:pt x="175" y="15"/>
                      </a:lnTo>
                      <a:lnTo>
                        <a:pt x="178" y="13"/>
                      </a:lnTo>
                      <a:lnTo>
                        <a:pt x="182" y="10"/>
                      </a:lnTo>
                      <a:lnTo>
                        <a:pt x="184" y="7"/>
                      </a:lnTo>
                      <a:lnTo>
                        <a:pt x="189" y="1"/>
                      </a:lnTo>
                      <a:lnTo>
                        <a:pt x="192" y="0"/>
                      </a:lnTo>
                      <a:lnTo>
                        <a:pt x="196" y="0"/>
                      </a:lnTo>
                      <a:lnTo>
                        <a:pt x="198" y="1"/>
                      </a:lnTo>
                      <a:lnTo>
                        <a:pt x="199" y="3"/>
                      </a:lnTo>
                      <a:lnTo>
                        <a:pt x="198" y="7"/>
                      </a:lnTo>
                      <a:lnTo>
                        <a:pt x="197" y="10"/>
                      </a:lnTo>
                      <a:lnTo>
                        <a:pt x="193" y="15"/>
                      </a:lnTo>
                      <a:lnTo>
                        <a:pt x="189" y="17"/>
                      </a:lnTo>
                      <a:lnTo>
                        <a:pt x="182" y="19"/>
                      </a:lnTo>
                      <a:lnTo>
                        <a:pt x="176" y="22"/>
                      </a:lnTo>
                      <a:lnTo>
                        <a:pt x="173" y="27"/>
                      </a:lnTo>
                      <a:lnTo>
                        <a:pt x="171" y="33"/>
                      </a:lnTo>
                      <a:lnTo>
                        <a:pt x="169" y="46"/>
                      </a:lnTo>
                      <a:lnTo>
                        <a:pt x="168" y="59"/>
                      </a:lnTo>
                      <a:lnTo>
                        <a:pt x="168" y="61"/>
                      </a:lnTo>
                      <a:lnTo>
                        <a:pt x="168" y="64"/>
                      </a:lnTo>
                      <a:lnTo>
                        <a:pt x="173" y="67"/>
                      </a:lnTo>
                      <a:lnTo>
                        <a:pt x="178" y="70"/>
                      </a:lnTo>
                      <a:lnTo>
                        <a:pt x="183" y="73"/>
                      </a:lnTo>
                      <a:lnTo>
                        <a:pt x="184" y="74"/>
                      </a:lnTo>
                      <a:lnTo>
                        <a:pt x="184" y="76"/>
                      </a:lnTo>
                      <a:lnTo>
                        <a:pt x="183" y="79"/>
                      </a:lnTo>
                      <a:lnTo>
                        <a:pt x="183" y="85"/>
                      </a:lnTo>
                      <a:lnTo>
                        <a:pt x="185" y="91"/>
                      </a:lnTo>
                      <a:lnTo>
                        <a:pt x="190" y="96"/>
                      </a:lnTo>
                      <a:lnTo>
                        <a:pt x="196" y="99"/>
                      </a:lnTo>
                      <a:lnTo>
                        <a:pt x="202" y="103"/>
                      </a:lnTo>
                      <a:lnTo>
                        <a:pt x="208" y="105"/>
                      </a:lnTo>
                      <a:lnTo>
                        <a:pt x="216" y="106"/>
                      </a:lnTo>
                      <a:lnTo>
                        <a:pt x="222" y="108"/>
                      </a:lnTo>
                      <a:lnTo>
                        <a:pt x="223" y="108"/>
                      </a:lnTo>
                      <a:lnTo>
                        <a:pt x="225" y="109"/>
                      </a:lnTo>
                      <a:lnTo>
                        <a:pt x="227" y="113"/>
                      </a:lnTo>
                      <a:lnTo>
                        <a:pt x="231" y="117"/>
                      </a:lnTo>
                      <a:lnTo>
                        <a:pt x="236" y="119"/>
                      </a:lnTo>
                      <a:lnTo>
                        <a:pt x="241" y="121"/>
                      </a:lnTo>
                      <a:lnTo>
                        <a:pt x="246" y="121"/>
                      </a:lnTo>
                      <a:lnTo>
                        <a:pt x="251" y="119"/>
                      </a:lnTo>
                      <a:lnTo>
                        <a:pt x="256" y="117"/>
                      </a:lnTo>
                      <a:lnTo>
                        <a:pt x="262" y="115"/>
                      </a:lnTo>
                      <a:lnTo>
                        <a:pt x="260" y="121"/>
                      </a:lnTo>
                      <a:lnTo>
                        <a:pt x="262" y="128"/>
                      </a:lnTo>
                      <a:lnTo>
                        <a:pt x="263" y="141"/>
                      </a:lnTo>
                      <a:lnTo>
                        <a:pt x="267" y="154"/>
                      </a:lnTo>
                      <a:lnTo>
                        <a:pt x="268" y="167"/>
                      </a:lnTo>
                      <a:lnTo>
                        <a:pt x="268" y="169"/>
                      </a:lnTo>
                      <a:lnTo>
                        <a:pt x="267" y="170"/>
                      </a:lnTo>
                      <a:lnTo>
                        <a:pt x="263" y="175"/>
                      </a:lnTo>
                      <a:lnTo>
                        <a:pt x="262" y="179"/>
                      </a:lnTo>
                      <a:lnTo>
                        <a:pt x="260" y="180"/>
                      </a:lnTo>
                      <a:lnTo>
                        <a:pt x="262" y="181"/>
                      </a:lnTo>
                      <a:lnTo>
                        <a:pt x="272" y="186"/>
                      </a:lnTo>
                      <a:lnTo>
                        <a:pt x="277" y="188"/>
                      </a:lnTo>
                      <a:lnTo>
                        <a:pt x="279" y="193"/>
                      </a:lnTo>
                      <a:lnTo>
                        <a:pt x="281" y="198"/>
                      </a:lnTo>
                      <a:lnTo>
                        <a:pt x="282" y="202"/>
                      </a:lnTo>
                      <a:lnTo>
                        <a:pt x="281" y="207"/>
                      </a:lnTo>
                      <a:lnTo>
                        <a:pt x="279" y="212"/>
                      </a:lnTo>
                      <a:lnTo>
                        <a:pt x="277" y="212"/>
                      </a:lnTo>
                      <a:lnTo>
                        <a:pt x="274" y="212"/>
                      </a:lnTo>
                      <a:lnTo>
                        <a:pt x="273" y="209"/>
                      </a:lnTo>
                      <a:lnTo>
                        <a:pt x="272" y="206"/>
                      </a:lnTo>
                      <a:lnTo>
                        <a:pt x="272" y="201"/>
                      </a:lnTo>
                      <a:lnTo>
                        <a:pt x="269" y="196"/>
                      </a:lnTo>
                      <a:lnTo>
                        <a:pt x="267" y="198"/>
                      </a:lnTo>
                      <a:lnTo>
                        <a:pt x="265" y="200"/>
                      </a:lnTo>
                      <a:lnTo>
                        <a:pt x="264" y="204"/>
                      </a:lnTo>
                      <a:lnTo>
                        <a:pt x="262" y="207"/>
                      </a:lnTo>
                      <a:lnTo>
                        <a:pt x="258" y="209"/>
                      </a:lnTo>
                      <a:lnTo>
                        <a:pt x="254" y="211"/>
                      </a:lnTo>
                      <a:lnTo>
                        <a:pt x="245" y="212"/>
                      </a:lnTo>
                      <a:lnTo>
                        <a:pt x="240" y="213"/>
                      </a:lnTo>
                      <a:lnTo>
                        <a:pt x="236" y="215"/>
                      </a:lnTo>
                      <a:lnTo>
                        <a:pt x="234" y="218"/>
                      </a:lnTo>
                      <a:lnTo>
                        <a:pt x="234" y="220"/>
                      </a:lnTo>
                      <a:lnTo>
                        <a:pt x="234" y="223"/>
                      </a:lnTo>
                      <a:lnTo>
                        <a:pt x="236" y="224"/>
                      </a:lnTo>
                      <a:lnTo>
                        <a:pt x="241" y="224"/>
                      </a:lnTo>
                      <a:lnTo>
                        <a:pt x="245" y="225"/>
                      </a:lnTo>
                      <a:lnTo>
                        <a:pt x="248" y="227"/>
                      </a:lnTo>
                      <a:lnTo>
                        <a:pt x="250" y="231"/>
                      </a:lnTo>
                      <a:lnTo>
                        <a:pt x="253" y="231"/>
                      </a:lnTo>
                      <a:lnTo>
                        <a:pt x="254" y="231"/>
                      </a:lnTo>
                      <a:lnTo>
                        <a:pt x="254" y="232"/>
                      </a:lnTo>
                      <a:lnTo>
                        <a:pt x="254" y="234"/>
                      </a:lnTo>
                      <a:lnTo>
                        <a:pt x="250" y="236"/>
                      </a:lnTo>
                      <a:lnTo>
                        <a:pt x="243" y="238"/>
                      </a:lnTo>
                      <a:lnTo>
                        <a:pt x="232" y="238"/>
                      </a:lnTo>
                      <a:lnTo>
                        <a:pt x="230" y="238"/>
                      </a:lnTo>
                      <a:lnTo>
                        <a:pt x="230" y="240"/>
                      </a:lnTo>
                      <a:lnTo>
                        <a:pt x="229" y="249"/>
                      </a:lnTo>
                      <a:lnTo>
                        <a:pt x="229" y="252"/>
                      </a:lnTo>
                      <a:lnTo>
                        <a:pt x="230" y="253"/>
                      </a:lnTo>
                      <a:lnTo>
                        <a:pt x="234" y="256"/>
                      </a:lnTo>
                      <a:lnTo>
                        <a:pt x="235" y="258"/>
                      </a:lnTo>
                      <a:lnTo>
                        <a:pt x="237" y="264"/>
                      </a:lnTo>
                      <a:lnTo>
                        <a:pt x="239" y="270"/>
                      </a:lnTo>
                      <a:lnTo>
                        <a:pt x="236" y="277"/>
                      </a:lnTo>
                      <a:lnTo>
                        <a:pt x="231" y="290"/>
                      </a:lnTo>
                      <a:lnTo>
                        <a:pt x="223" y="302"/>
                      </a:lnTo>
                      <a:lnTo>
                        <a:pt x="221" y="310"/>
                      </a:lnTo>
                      <a:lnTo>
                        <a:pt x="220" y="314"/>
                      </a:lnTo>
                      <a:lnTo>
                        <a:pt x="218" y="316"/>
                      </a:lnTo>
                      <a:lnTo>
                        <a:pt x="215" y="317"/>
                      </a:lnTo>
                      <a:lnTo>
                        <a:pt x="211" y="317"/>
                      </a:lnTo>
                      <a:lnTo>
                        <a:pt x="207" y="316"/>
                      </a:lnTo>
                      <a:lnTo>
                        <a:pt x="204" y="314"/>
                      </a:lnTo>
                      <a:lnTo>
                        <a:pt x="207" y="308"/>
                      </a:lnTo>
                      <a:lnTo>
                        <a:pt x="211" y="300"/>
                      </a:lnTo>
                      <a:lnTo>
                        <a:pt x="221" y="283"/>
                      </a:lnTo>
                      <a:lnTo>
                        <a:pt x="218" y="281"/>
                      </a:lnTo>
                      <a:lnTo>
                        <a:pt x="215" y="279"/>
                      </a:lnTo>
                      <a:lnTo>
                        <a:pt x="211" y="279"/>
                      </a:lnTo>
                      <a:lnTo>
                        <a:pt x="207" y="278"/>
                      </a:lnTo>
                      <a:lnTo>
                        <a:pt x="202" y="275"/>
                      </a:lnTo>
                      <a:lnTo>
                        <a:pt x="198" y="271"/>
                      </a:lnTo>
                      <a:lnTo>
                        <a:pt x="194" y="270"/>
                      </a:lnTo>
                      <a:lnTo>
                        <a:pt x="189" y="271"/>
                      </a:lnTo>
                      <a:lnTo>
                        <a:pt x="185" y="272"/>
                      </a:lnTo>
                      <a:lnTo>
                        <a:pt x="182" y="271"/>
                      </a:lnTo>
                      <a:lnTo>
                        <a:pt x="178" y="269"/>
                      </a:lnTo>
                      <a:lnTo>
                        <a:pt x="175" y="265"/>
                      </a:lnTo>
                      <a:lnTo>
                        <a:pt x="174" y="262"/>
                      </a:lnTo>
                      <a:lnTo>
                        <a:pt x="171" y="259"/>
                      </a:lnTo>
                      <a:lnTo>
                        <a:pt x="159" y="256"/>
                      </a:lnTo>
                      <a:lnTo>
                        <a:pt x="155" y="255"/>
                      </a:lnTo>
                      <a:lnTo>
                        <a:pt x="140" y="240"/>
                      </a:lnTo>
                      <a:lnTo>
                        <a:pt x="136" y="238"/>
                      </a:lnTo>
                      <a:lnTo>
                        <a:pt x="129" y="234"/>
                      </a:lnTo>
                      <a:lnTo>
                        <a:pt x="116" y="231"/>
                      </a:lnTo>
                      <a:lnTo>
                        <a:pt x="107" y="230"/>
                      </a:lnTo>
                      <a:lnTo>
                        <a:pt x="100" y="230"/>
                      </a:lnTo>
                      <a:lnTo>
                        <a:pt x="98" y="227"/>
                      </a:lnTo>
                      <a:lnTo>
                        <a:pt x="95" y="225"/>
                      </a:lnTo>
                      <a:lnTo>
                        <a:pt x="91" y="219"/>
                      </a:lnTo>
                      <a:lnTo>
                        <a:pt x="89" y="217"/>
                      </a:lnTo>
                      <a:lnTo>
                        <a:pt x="85" y="214"/>
                      </a:lnTo>
                      <a:lnTo>
                        <a:pt x="80" y="212"/>
                      </a:lnTo>
                      <a:lnTo>
                        <a:pt x="74" y="211"/>
                      </a:lnTo>
                      <a:lnTo>
                        <a:pt x="74" y="209"/>
                      </a:lnTo>
                      <a:lnTo>
                        <a:pt x="74" y="207"/>
                      </a:lnTo>
                      <a:lnTo>
                        <a:pt x="74" y="205"/>
                      </a:lnTo>
                      <a:lnTo>
                        <a:pt x="75" y="204"/>
                      </a:lnTo>
                      <a:lnTo>
                        <a:pt x="79" y="200"/>
                      </a:lnTo>
                      <a:lnTo>
                        <a:pt x="80" y="199"/>
                      </a:lnTo>
                      <a:lnTo>
                        <a:pt x="81" y="198"/>
                      </a:lnTo>
                      <a:lnTo>
                        <a:pt x="83" y="194"/>
                      </a:lnTo>
                      <a:lnTo>
                        <a:pt x="83" y="192"/>
                      </a:lnTo>
                      <a:lnTo>
                        <a:pt x="84" y="191"/>
                      </a:lnTo>
                      <a:lnTo>
                        <a:pt x="90" y="182"/>
                      </a:lnTo>
                      <a:lnTo>
                        <a:pt x="98" y="173"/>
                      </a:lnTo>
                      <a:lnTo>
                        <a:pt x="102" y="166"/>
                      </a:lnTo>
                      <a:lnTo>
                        <a:pt x="102" y="162"/>
                      </a:lnTo>
                      <a:lnTo>
                        <a:pt x="100" y="160"/>
                      </a:lnTo>
                      <a:lnTo>
                        <a:pt x="96" y="155"/>
                      </a:lnTo>
                      <a:lnTo>
                        <a:pt x="95" y="149"/>
                      </a:lnTo>
                      <a:lnTo>
                        <a:pt x="95" y="142"/>
                      </a:lnTo>
                      <a:lnTo>
                        <a:pt x="98" y="136"/>
                      </a:lnTo>
                      <a:lnTo>
                        <a:pt x="99" y="134"/>
                      </a:lnTo>
                      <a:lnTo>
                        <a:pt x="100" y="130"/>
                      </a:lnTo>
                      <a:lnTo>
                        <a:pt x="103" y="128"/>
                      </a:lnTo>
                      <a:lnTo>
                        <a:pt x="103" y="125"/>
                      </a:lnTo>
                      <a:lnTo>
                        <a:pt x="102" y="122"/>
                      </a:lnTo>
                      <a:lnTo>
                        <a:pt x="100" y="118"/>
                      </a:lnTo>
                      <a:lnTo>
                        <a:pt x="96" y="112"/>
                      </a:lnTo>
                      <a:lnTo>
                        <a:pt x="96" y="109"/>
                      </a:lnTo>
                      <a:lnTo>
                        <a:pt x="96" y="105"/>
                      </a:lnTo>
                      <a:lnTo>
                        <a:pt x="96" y="97"/>
                      </a:lnTo>
                      <a:lnTo>
                        <a:pt x="95" y="96"/>
                      </a:lnTo>
                      <a:lnTo>
                        <a:pt x="93" y="94"/>
                      </a:lnTo>
                      <a:lnTo>
                        <a:pt x="90" y="93"/>
                      </a:lnTo>
                      <a:lnTo>
                        <a:pt x="89" y="91"/>
                      </a:lnTo>
                      <a:lnTo>
                        <a:pt x="89" y="8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8" name="Freeform 1084"/>
                <p:cNvSpPr>
                  <a:spLocks/>
                </p:cNvSpPr>
                <p:nvPr/>
              </p:nvSpPr>
              <p:spPr bwMode="auto">
                <a:xfrm>
                  <a:off x="2885274" y="5266546"/>
                  <a:ext cx="464680" cy="978195"/>
                </a:xfrm>
                <a:custGeom>
                  <a:avLst/>
                  <a:gdLst>
                    <a:gd name="T0" fmla="*/ 2147483647 w 340"/>
                    <a:gd name="T1" fmla="*/ 2147483647 h 661"/>
                    <a:gd name="T2" fmla="*/ 2147483647 w 340"/>
                    <a:gd name="T3" fmla="*/ 2147483647 h 661"/>
                    <a:gd name="T4" fmla="*/ 2147483647 w 340"/>
                    <a:gd name="T5" fmla="*/ 2147483647 h 661"/>
                    <a:gd name="T6" fmla="*/ 2147483647 w 340"/>
                    <a:gd name="T7" fmla="*/ 2147483647 h 661"/>
                    <a:gd name="T8" fmla="*/ 2147483647 w 340"/>
                    <a:gd name="T9" fmla="*/ 2147483647 h 661"/>
                    <a:gd name="T10" fmla="*/ 2147483647 w 340"/>
                    <a:gd name="T11" fmla="*/ 2147483647 h 661"/>
                    <a:gd name="T12" fmla="*/ 2147483647 w 340"/>
                    <a:gd name="T13" fmla="*/ 2147483647 h 661"/>
                    <a:gd name="T14" fmla="*/ 2147483647 w 340"/>
                    <a:gd name="T15" fmla="*/ 2147483647 h 661"/>
                    <a:gd name="T16" fmla="*/ 2147483647 w 340"/>
                    <a:gd name="T17" fmla="*/ 2147483647 h 661"/>
                    <a:gd name="T18" fmla="*/ 2147483647 w 340"/>
                    <a:gd name="T19" fmla="*/ 2147483647 h 661"/>
                    <a:gd name="T20" fmla="*/ 2147483647 w 340"/>
                    <a:gd name="T21" fmla="*/ 2147483647 h 661"/>
                    <a:gd name="T22" fmla="*/ 2147483647 w 340"/>
                    <a:gd name="T23" fmla="*/ 2147483647 h 661"/>
                    <a:gd name="T24" fmla="*/ 2147483647 w 340"/>
                    <a:gd name="T25" fmla="*/ 2147483647 h 661"/>
                    <a:gd name="T26" fmla="*/ 2147483647 w 340"/>
                    <a:gd name="T27" fmla="*/ 2147483647 h 661"/>
                    <a:gd name="T28" fmla="*/ 2147483647 w 340"/>
                    <a:gd name="T29" fmla="*/ 2147483647 h 661"/>
                    <a:gd name="T30" fmla="*/ 2147483647 w 340"/>
                    <a:gd name="T31" fmla="*/ 2147483647 h 661"/>
                    <a:gd name="T32" fmla="*/ 2147483647 w 340"/>
                    <a:gd name="T33" fmla="*/ 2147483647 h 661"/>
                    <a:gd name="T34" fmla="*/ 2147483647 w 340"/>
                    <a:gd name="T35" fmla="*/ 2147483647 h 661"/>
                    <a:gd name="T36" fmla="*/ 2147483647 w 340"/>
                    <a:gd name="T37" fmla="*/ 2147483647 h 661"/>
                    <a:gd name="T38" fmla="*/ 2147483647 w 340"/>
                    <a:gd name="T39" fmla="*/ 2147483647 h 661"/>
                    <a:gd name="T40" fmla="*/ 2147483647 w 340"/>
                    <a:gd name="T41" fmla="*/ 2147483647 h 661"/>
                    <a:gd name="T42" fmla="*/ 2147483647 w 340"/>
                    <a:gd name="T43" fmla="*/ 2147483647 h 661"/>
                    <a:gd name="T44" fmla="*/ 2147483647 w 340"/>
                    <a:gd name="T45" fmla="*/ 2147483647 h 661"/>
                    <a:gd name="T46" fmla="*/ 2147483647 w 340"/>
                    <a:gd name="T47" fmla="*/ 2147483647 h 661"/>
                    <a:gd name="T48" fmla="*/ 2147483647 w 340"/>
                    <a:gd name="T49" fmla="*/ 2147483647 h 661"/>
                    <a:gd name="T50" fmla="*/ 2147483647 w 340"/>
                    <a:gd name="T51" fmla="*/ 2147483647 h 661"/>
                    <a:gd name="T52" fmla="*/ 2147483647 w 340"/>
                    <a:gd name="T53" fmla="*/ 2147483647 h 661"/>
                    <a:gd name="T54" fmla="*/ 2147483647 w 340"/>
                    <a:gd name="T55" fmla="*/ 2147483647 h 661"/>
                    <a:gd name="T56" fmla="*/ 2147483647 w 340"/>
                    <a:gd name="T57" fmla="*/ 2147483647 h 661"/>
                    <a:gd name="T58" fmla="*/ 2147483647 w 340"/>
                    <a:gd name="T59" fmla="*/ 2147483647 h 661"/>
                    <a:gd name="T60" fmla="*/ 2147483647 w 340"/>
                    <a:gd name="T61" fmla="*/ 2147483647 h 661"/>
                    <a:gd name="T62" fmla="*/ 2147483647 w 340"/>
                    <a:gd name="T63" fmla="*/ 2147483647 h 661"/>
                    <a:gd name="T64" fmla="*/ 2147483647 w 340"/>
                    <a:gd name="T65" fmla="*/ 2147483647 h 661"/>
                    <a:gd name="T66" fmla="*/ 2147483647 w 340"/>
                    <a:gd name="T67" fmla="*/ 2147483647 h 661"/>
                    <a:gd name="T68" fmla="*/ 2147483647 w 340"/>
                    <a:gd name="T69" fmla="*/ 2147483647 h 661"/>
                    <a:gd name="T70" fmla="*/ 2147483647 w 340"/>
                    <a:gd name="T71" fmla="*/ 2147483647 h 661"/>
                    <a:gd name="T72" fmla="*/ 2147483647 w 340"/>
                    <a:gd name="T73" fmla="*/ 2147483647 h 661"/>
                    <a:gd name="T74" fmla="*/ 2147483647 w 340"/>
                    <a:gd name="T75" fmla="*/ 2147483647 h 661"/>
                    <a:gd name="T76" fmla="*/ 2147483647 w 340"/>
                    <a:gd name="T77" fmla="*/ 2147483647 h 661"/>
                    <a:gd name="T78" fmla="*/ 2147483647 w 340"/>
                    <a:gd name="T79" fmla="*/ 2147483647 h 661"/>
                    <a:gd name="T80" fmla="*/ 2147483647 w 340"/>
                    <a:gd name="T81" fmla="*/ 2147483647 h 661"/>
                    <a:gd name="T82" fmla="*/ 2147483647 w 340"/>
                    <a:gd name="T83" fmla="*/ 2147483647 h 661"/>
                    <a:gd name="T84" fmla="*/ 2147483647 w 340"/>
                    <a:gd name="T85" fmla="*/ 2147483647 h 661"/>
                    <a:gd name="T86" fmla="*/ 2147483647 w 340"/>
                    <a:gd name="T87" fmla="*/ 2147483647 h 661"/>
                    <a:gd name="T88" fmla="*/ 2147483647 w 340"/>
                    <a:gd name="T89" fmla="*/ 2147483647 h 661"/>
                    <a:gd name="T90" fmla="*/ 2147483647 w 340"/>
                    <a:gd name="T91" fmla="*/ 2147483647 h 661"/>
                    <a:gd name="T92" fmla="*/ 2147483647 w 340"/>
                    <a:gd name="T93" fmla="*/ 2147483647 h 661"/>
                    <a:gd name="T94" fmla="*/ 2147483647 w 340"/>
                    <a:gd name="T95" fmla="*/ 2147483647 h 661"/>
                    <a:gd name="T96" fmla="*/ 2147483647 w 340"/>
                    <a:gd name="T97" fmla="*/ 2147483647 h 661"/>
                    <a:gd name="T98" fmla="*/ 2147483647 w 340"/>
                    <a:gd name="T99" fmla="*/ 2147483647 h 661"/>
                    <a:gd name="T100" fmla="*/ 2147483647 w 340"/>
                    <a:gd name="T101" fmla="*/ 2147483647 h 661"/>
                    <a:gd name="T102" fmla="*/ 2147483647 w 340"/>
                    <a:gd name="T103" fmla="*/ 2147483647 h 661"/>
                    <a:gd name="T104" fmla="*/ 2147483647 w 340"/>
                    <a:gd name="T105" fmla="*/ 2147483647 h 661"/>
                    <a:gd name="T106" fmla="*/ 2147483647 w 340"/>
                    <a:gd name="T107" fmla="*/ 2147483647 h 6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0"/>
                    <a:gd name="T163" fmla="*/ 0 h 661"/>
                    <a:gd name="T164" fmla="*/ 340 w 340"/>
                    <a:gd name="T165" fmla="*/ 661 h 6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0" h="661">
                      <a:moveTo>
                        <a:pt x="81" y="661"/>
                      </a:moveTo>
                      <a:lnTo>
                        <a:pt x="75" y="653"/>
                      </a:lnTo>
                      <a:lnTo>
                        <a:pt x="72" y="650"/>
                      </a:lnTo>
                      <a:lnTo>
                        <a:pt x="72" y="645"/>
                      </a:lnTo>
                      <a:lnTo>
                        <a:pt x="73" y="640"/>
                      </a:lnTo>
                      <a:lnTo>
                        <a:pt x="76" y="636"/>
                      </a:lnTo>
                      <a:lnTo>
                        <a:pt x="75" y="630"/>
                      </a:lnTo>
                      <a:lnTo>
                        <a:pt x="75" y="627"/>
                      </a:lnTo>
                      <a:lnTo>
                        <a:pt x="75" y="626"/>
                      </a:lnTo>
                      <a:lnTo>
                        <a:pt x="77" y="624"/>
                      </a:lnTo>
                      <a:lnTo>
                        <a:pt x="81" y="621"/>
                      </a:lnTo>
                      <a:lnTo>
                        <a:pt x="84" y="619"/>
                      </a:lnTo>
                      <a:lnTo>
                        <a:pt x="87" y="617"/>
                      </a:lnTo>
                      <a:lnTo>
                        <a:pt x="90" y="614"/>
                      </a:lnTo>
                      <a:lnTo>
                        <a:pt x="90" y="612"/>
                      </a:lnTo>
                      <a:lnTo>
                        <a:pt x="91" y="608"/>
                      </a:lnTo>
                      <a:lnTo>
                        <a:pt x="94" y="606"/>
                      </a:lnTo>
                      <a:lnTo>
                        <a:pt x="98" y="603"/>
                      </a:lnTo>
                      <a:lnTo>
                        <a:pt x="100" y="601"/>
                      </a:lnTo>
                      <a:lnTo>
                        <a:pt x="100" y="600"/>
                      </a:lnTo>
                      <a:lnTo>
                        <a:pt x="100" y="594"/>
                      </a:lnTo>
                      <a:lnTo>
                        <a:pt x="100" y="592"/>
                      </a:lnTo>
                      <a:lnTo>
                        <a:pt x="103" y="591"/>
                      </a:lnTo>
                      <a:lnTo>
                        <a:pt x="108" y="588"/>
                      </a:lnTo>
                      <a:lnTo>
                        <a:pt x="110" y="588"/>
                      </a:lnTo>
                      <a:lnTo>
                        <a:pt x="113" y="586"/>
                      </a:lnTo>
                      <a:lnTo>
                        <a:pt x="123" y="576"/>
                      </a:lnTo>
                      <a:lnTo>
                        <a:pt x="127" y="570"/>
                      </a:lnTo>
                      <a:lnTo>
                        <a:pt x="131" y="566"/>
                      </a:lnTo>
                      <a:lnTo>
                        <a:pt x="131" y="561"/>
                      </a:lnTo>
                      <a:lnTo>
                        <a:pt x="131" y="556"/>
                      </a:lnTo>
                      <a:lnTo>
                        <a:pt x="132" y="550"/>
                      </a:lnTo>
                      <a:lnTo>
                        <a:pt x="133" y="548"/>
                      </a:lnTo>
                      <a:lnTo>
                        <a:pt x="134" y="547"/>
                      </a:lnTo>
                      <a:lnTo>
                        <a:pt x="134" y="546"/>
                      </a:lnTo>
                      <a:lnTo>
                        <a:pt x="134" y="543"/>
                      </a:lnTo>
                      <a:lnTo>
                        <a:pt x="127" y="544"/>
                      </a:lnTo>
                      <a:lnTo>
                        <a:pt x="119" y="546"/>
                      </a:lnTo>
                      <a:lnTo>
                        <a:pt x="115" y="546"/>
                      </a:lnTo>
                      <a:lnTo>
                        <a:pt x="113" y="544"/>
                      </a:lnTo>
                      <a:lnTo>
                        <a:pt x="110" y="543"/>
                      </a:lnTo>
                      <a:lnTo>
                        <a:pt x="108" y="540"/>
                      </a:lnTo>
                      <a:lnTo>
                        <a:pt x="105" y="534"/>
                      </a:lnTo>
                      <a:lnTo>
                        <a:pt x="101" y="529"/>
                      </a:lnTo>
                      <a:lnTo>
                        <a:pt x="100" y="525"/>
                      </a:lnTo>
                      <a:lnTo>
                        <a:pt x="100" y="524"/>
                      </a:lnTo>
                      <a:lnTo>
                        <a:pt x="101" y="523"/>
                      </a:lnTo>
                      <a:lnTo>
                        <a:pt x="105" y="518"/>
                      </a:lnTo>
                      <a:lnTo>
                        <a:pt x="109" y="512"/>
                      </a:lnTo>
                      <a:lnTo>
                        <a:pt x="109" y="509"/>
                      </a:lnTo>
                      <a:lnTo>
                        <a:pt x="110" y="506"/>
                      </a:lnTo>
                      <a:lnTo>
                        <a:pt x="112" y="504"/>
                      </a:lnTo>
                      <a:lnTo>
                        <a:pt x="113" y="504"/>
                      </a:lnTo>
                      <a:lnTo>
                        <a:pt x="114" y="504"/>
                      </a:lnTo>
                      <a:lnTo>
                        <a:pt x="115" y="504"/>
                      </a:lnTo>
                      <a:lnTo>
                        <a:pt x="118" y="502"/>
                      </a:lnTo>
                      <a:lnTo>
                        <a:pt x="122" y="501"/>
                      </a:lnTo>
                      <a:lnTo>
                        <a:pt x="125" y="501"/>
                      </a:lnTo>
                      <a:lnTo>
                        <a:pt x="127" y="501"/>
                      </a:lnTo>
                      <a:lnTo>
                        <a:pt x="129" y="501"/>
                      </a:lnTo>
                      <a:lnTo>
                        <a:pt x="134" y="497"/>
                      </a:lnTo>
                      <a:lnTo>
                        <a:pt x="139" y="496"/>
                      </a:lnTo>
                      <a:lnTo>
                        <a:pt x="145" y="496"/>
                      </a:lnTo>
                      <a:lnTo>
                        <a:pt x="147" y="497"/>
                      </a:lnTo>
                      <a:lnTo>
                        <a:pt x="151" y="497"/>
                      </a:lnTo>
                      <a:lnTo>
                        <a:pt x="151" y="495"/>
                      </a:lnTo>
                      <a:lnTo>
                        <a:pt x="151" y="492"/>
                      </a:lnTo>
                      <a:lnTo>
                        <a:pt x="148" y="490"/>
                      </a:lnTo>
                      <a:lnTo>
                        <a:pt x="146" y="488"/>
                      </a:lnTo>
                      <a:lnTo>
                        <a:pt x="143" y="485"/>
                      </a:lnTo>
                      <a:lnTo>
                        <a:pt x="143" y="483"/>
                      </a:lnTo>
                      <a:lnTo>
                        <a:pt x="143" y="474"/>
                      </a:lnTo>
                      <a:lnTo>
                        <a:pt x="146" y="467"/>
                      </a:lnTo>
                      <a:lnTo>
                        <a:pt x="150" y="460"/>
                      </a:lnTo>
                      <a:lnTo>
                        <a:pt x="155" y="454"/>
                      </a:lnTo>
                      <a:lnTo>
                        <a:pt x="156" y="453"/>
                      </a:lnTo>
                      <a:lnTo>
                        <a:pt x="155" y="452"/>
                      </a:lnTo>
                      <a:lnTo>
                        <a:pt x="151" y="450"/>
                      </a:lnTo>
                      <a:lnTo>
                        <a:pt x="151" y="448"/>
                      </a:lnTo>
                      <a:lnTo>
                        <a:pt x="151" y="447"/>
                      </a:lnTo>
                      <a:lnTo>
                        <a:pt x="153" y="446"/>
                      </a:lnTo>
                      <a:lnTo>
                        <a:pt x="156" y="447"/>
                      </a:lnTo>
                      <a:lnTo>
                        <a:pt x="159" y="450"/>
                      </a:lnTo>
                      <a:lnTo>
                        <a:pt x="161" y="451"/>
                      </a:lnTo>
                      <a:lnTo>
                        <a:pt x="167" y="451"/>
                      </a:lnTo>
                      <a:lnTo>
                        <a:pt x="170" y="450"/>
                      </a:lnTo>
                      <a:lnTo>
                        <a:pt x="172" y="448"/>
                      </a:lnTo>
                      <a:lnTo>
                        <a:pt x="174" y="444"/>
                      </a:lnTo>
                      <a:lnTo>
                        <a:pt x="174" y="440"/>
                      </a:lnTo>
                      <a:lnTo>
                        <a:pt x="171" y="435"/>
                      </a:lnTo>
                      <a:lnTo>
                        <a:pt x="170" y="434"/>
                      </a:lnTo>
                      <a:lnTo>
                        <a:pt x="169" y="434"/>
                      </a:lnTo>
                      <a:lnTo>
                        <a:pt x="166" y="435"/>
                      </a:lnTo>
                      <a:lnTo>
                        <a:pt x="164" y="438"/>
                      </a:lnTo>
                      <a:lnTo>
                        <a:pt x="160" y="440"/>
                      </a:lnTo>
                      <a:lnTo>
                        <a:pt x="159" y="440"/>
                      </a:lnTo>
                      <a:lnTo>
                        <a:pt x="156" y="439"/>
                      </a:lnTo>
                      <a:lnTo>
                        <a:pt x="152" y="434"/>
                      </a:lnTo>
                      <a:lnTo>
                        <a:pt x="148" y="429"/>
                      </a:lnTo>
                      <a:lnTo>
                        <a:pt x="146" y="423"/>
                      </a:lnTo>
                      <a:lnTo>
                        <a:pt x="146" y="418"/>
                      </a:lnTo>
                      <a:lnTo>
                        <a:pt x="146" y="415"/>
                      </a:lnTo>
                      <a:lnTo>
                        <a:pt x="145" y="414"/>
                      </a:lnTo>
                      <a:lnTo>
                        <a:pt x="143" y="414"/>
                      </a:lnTo>
                      <a:lnTo>
                        <a:pt x="143" y="413"/>
                      </a:lnTo>
                      <a:lnTo>
                        <a:pt x="147" y="408"/>
                      </a:lnTo>
                      <a:lnTo>
                        <a:pt x="152" y="403"/>
                      </a:lnTo>
                      <a:lnTo>
                        <a:pt x="152" y="402"/>
                      </a:lnTo>
                      <a:lnTo>
                        <a:pt x="153" y="403"/>
                      </a:lnTo>
                      <a:lnTo>
                        <a:pt x="155" y="406"/>
                      </a:lnTo>
                      <a:lnTo>
                        <a:pt x="157" y="408"/>
                      </a:lnTo>
                      <a:lnTo>
                        <a:pt x="162" y="410"/>
                      </a:lnTo>
                      <a:lnTo>
                        <a:pt x="170" y="412"/>
                      </a:lnTo>
                      <a:lnTo>
                        <a:pt x="178" y="410"/>
                      </a:lnTo>
                      <a:lnTo>
                        <a:pt x="184" y="407"/>
                      </a:lnTo>
                      <a:lnTo>
                        <a:pt x="188" y="406"/>
                      </a:lnTo>
                      <a:lnTo>
                        <a:pt x="190" y="402"/>
                      </a:lnTo>
                      <a:lnTo>
                        <a:pt x="192" y="397"/>
                      </a:lnTo>
                      <a:lnTo>
                        <a:pt x="193" y="393"/>
                      </a:lnTo>
                      <a:lnTo>
                        <a:pt x="193" y="388"/>
                      </a:lnTo>
                      <a:lnTo>
                        <a:pt x="194" y="382"/>
                      </a:lnTo>
                      <a:lnTo>
                        <a:pt x="195" y="381"/>
                      </a:lnTo>
                      <a:lnTo>
                        <a:pt x="195" y="378"/>
                      </a:lnTo>
                      <a:lnTo>
                        <a:pt x="194" y="373"/>
                      </a:lnTo>
                      <a:lnTo>
                        <a:pt x="193" y="368"/>
                      </a:lnTo>
                      <a:lnTo>
                        <a:pt x="194" y="363"/>
                      </a:lnTo>
                      <a:lnTo>
                        <a:pt x="194" y="361"/>
                      </a:lnTo>
                      <a:lnTo>
                        <a:pt x="197" y="359"/>
                      </a:lnTo>
                      <a:lnTo>
                        <a:pt x="199" y="359"/>
                      </a:lnTo>
                      <a:lnTo>
                        <a:pt x="202" y="359"/>
                      </a:lnTo>
                      <a:lnTo>
                        <a:pt x="207" y="362"/>
                      </a:lnTo>
                      <a:lnTo>
                        <a:pt x="212" y="363"/>
                      </a:lnTo>
                      <a:lnTo>
                        <a:pt x="214" y="364"/>
                      </a:lnTo>
                      <a:lnTo>
                        <a:pt x="217" y="363"/>
                      </a:lnTo>
                      <a:lnTo>
                        <a:pt x="223" y="363"/>
                      </a:lnTo>
                      <a:lnTo>
                        <a:pt x="228" y="363"/>
                      </a:lnTo>
                      <a:lnTo>
                        <a:pt x="237" y="359"/>
                      </a:lnTo>
                      <a:lnTo>
                        <a:pt x="246" y="356"/>
                      </a:lnTo>
                      <a:lnTo>
                        <a:pt x="251" y="355"/>
                      </a:lnTo>
                      <a:lnTo>
                        <a:pt x="256" y="355"/>
                      </a:lnTo>
                      <a:lnTo>
                        <a:pt x="261" y="355"/>
                      </a:lnTo>
                      <a:lnTo>
                        <a:pt x="265" y="354"/>
                      </a:lnTo>
                      <a:lnTo>
                        <a:pt x="269" y="351"/>
                      </a:lnTo>
                      <a:lnTo>
                        <a:pt x="273" y="349"/>
                      </a:lnTo>
                      <a:lnTo>
                        <a:pt x="275" y="345"/>
                      </a:lnTo>
                      <a:lnTo>
                        <a:pt x="277" y="343"/>
                      </a:lnTo>
                      <a:lnTo>
                        <a:pt x="275" y="340"/>
                      </a:lnTo>
                      <a:lnTo>
                        <a:pt x="277" y="337"/>
                      </a:lnTo>
                      <a:lnTo>
                        <a:pt x="278" y="333"/>
                      </a:lnTo>
                      <a:lnTo>
                        <a:pt x="279" y="331"/>
                      </a:lnTo>
                      <a:lnTo>
                        <a:pt x="283" y="325"/>
                      </a:lnTo>
                      <a:lnTo>
                        <a:pt x="285" y="319"/>
                      </a:lnTo>
                      <a:lnTo>
                        <a:pt x="287" y="313"/>
                      </a:lnTo>
                      <a:lnTo>
                        <a:pt x="285" y="306"/>
                      </a:lnTo>
                      <a:lnTo>
                        <a:pt x="283" y="304"/>
                      </a:lnTo>
                      <a:lnTo>
                        <a:pt x="280" y="303"/>
                      </a:lnTo>
                      <a:lnTo>
                        <a:pt x="278" y="301"/>
                      </a:lnTo>
                      <a:lnTo>
                        <a:pt x="275" y="299"/>
                      </a:lnTo>
                      <a:lnTo>
                        <a:pt x="272" y="295"/>
                      </a:lnTo>
                      <a:lnTo>
                        <a:pt x="273" y="285"/>
                      </a:lnTo>
                      <a:lnTo>
                        <a:pt x="273" y="281"/>
                      </a:lnTo>
                      <a:lnTo>
                        <a:pt x="270" y="278"/>
                      </a:lnTo>
                      <a:lnTo>
                        <a:pt x="268" y="274"/>
                      </a:lnTo>
                      <a:lnTo>
                        <a:pt x="264" y="273"/>
                      </a:lnTo>
                      <a:lnTo>
                        <a:pt x="260" y="271"/>
                      </a:lnTo>
                      <a:lnTo>
                        <a:pt x="258" y="268"/>
                      </a:lnTo>
                      <a:lnTo>
                        <a:pt x="258" y="265"/>
                      </a:lnTo>
                      <a:lnTo>
                        <a:pt x="258" y="262"/>
                      </a:lnTo>
                      <a:lnTo>
                        <a:pt x="255" y="258"/>
                      </a:lnTo>
                      <a:lnTo>
                        <a:pt x="254" y="254"/>
                      </a:lnTo>
                      <a:lnTo>
                        <a:pt x="252" y="247"/>
                      </a:lnTo>
                      <a:lnTo>
                        <a:pt x="255" y="240"/>
                      </a:lnTo>
                      <a:lnTo>
                        <a:pt x="259" y="233"/>
                      </a:lnTo>
                      <a:lnTo>
                        <a:pt x="261" y="227"/>
                      </a:lnTo>
                      <a:lnTo>
                        <a:pt x="263" y="224"/>
                      </a:lnTo>
                      <a:lnTo>
                        <a:pt x="264" y="222"/>
                      </a:lnTo>
                      <a:lnTo>
                        <a:pt x="264" y="202"/>
                      </a:lnTo>
                      <a:lnTo>
                        <a:pt x="264" y="192"/>
                      </a:lnTo>
                      <a:lnTo>
                        <a:pt x="266" y="183"/>
                      </a:lnTo>
                      <a:lnTo>
                        <a:pt x="270" y="177"/>
                      </a:lnTo>
                      <a:lnTo>
                        <a:pt x="273" y="171"/>
                      </a:lnTo>
                      <a:lnTo>
                        <a:pt x="275" y="167"/>
                      </a:lnTo>
                      <a:lnTo>
                        <a:pt x="278" y="164"/>
                      </a:lnTo>
                      <a:lnTo>
                        <a:pt x="282" y="159"/>
                      </a:lnTo>
                      <a:lnTo>
                        <a:pt x="284" y="154"/>
                      </a:lnTo>
                      <a:lnTo>
                        <a:pt x="289" y="144"/>
                      </a:lnTo>
                      <a:lnTo>
                        <a:pt x="291" y="143"/>
                      </a:lnTo>
                      <a:lnTo>
                        <a:pt x="292" y="141"/>
                      </a:lnTo>
                      <a:lnTo>
                        <a:pt x="298" y="140"/>
                      </a:lnTo>
                      <a:lnTo>
                        <a:pt x="303" y="137"/>
                      </a:lnTo>
                      <a:lnTo>
                        <a:pt x="320" y="121"/>
                      </a:lnTo>
                      <a:lnTo>
                        <a:pt x="327" y="113"/>
                      </a:lnTo>
                      <a:lnTo>
                        <a:pt x="338" y="107"/>
                      </a:lnTo>
                      <a:lnTo>
                        <a:pt x="339" y="106"/>
                      </a:lnTo>
                      <a:lnTo>
                        <a:pt x="339" y="105"/>
                      </a:lnTo>
                      <a:lnTo>
                        <a:pt x="340" y="101"/>
                      </a:lnTo>
                      <a:lnTo>
                        <a:pt x="339" y="95"/>
                      </a:lnTo>
                      <a:lnTo>
                        <a:pt x="339" y="89"/>
                      </a:lnTo>
                      <a:lnTo>
                        <a:pt x="338" y="83"/>
                      </a:lnTo>
                      <a:lnTo>
                        <a:pt x="339" y="77"/>
                      </a:lnTo>
                      <a:lnTo>
                        <a:pt x="334" y="77"/>
                      </a:lnTo>
                      <a:lnTo>
                        <a:pt x="330" y="77"/>
                      </a:lnTo>
                      <a:lnTo>
                        <a:pt x="321" y="76"/>
                      </a:lnTo>
                      <a:lnTo>
                        <a:pt x="322" y="82"/>
                      </a:lnTo>
                      <a:lnTo>
                        <a:pt x="324" y="89"/>
                      </a:lnTo>
                      <a:lnTo>
                        <a:pt x="322" y="93"/>
                      </a:lnTo>
                      <a:lnTo>
                        <a:pt x="320" y="95"/>
                      </a:lnTo>
                      <a:lnTo>
                        <a:pt x="317" y="96"/>
                      </a:lnTo>
                      <a:lnTo>
                        <a:pt x="315" y="99"/>
                      </a:lnTo>
                      <a:lnTo>
                        <a:pt x="310" y="105"/>
                      </a:lnTo>
                      <a:lnTo>
                        <a:pt x="306" y="110"/>
                      </a:lnTo>
                      <a:lnTo>
                        <a:pt x="302" y="113"/>
                      </a:lnTo>
                      <a:lnTo>
                        <a:pt x="298" y="113"/>
                      </a:lnTo>
                      <a:lnTo>
                        <a:pt x="294" y="110"/>
                      </a:lnTo>
                      <a:lnTo>
                        <a:pt x="291" y="108"/>
                      </a:lnTo>
                      <a:lnTo>
                        <a:pt x="288" y="110"/>
                      </a:lnTo>
                      <a:lnTo>
                        <a:pt x="284" y="113"/>
                      </a:lnTo>
                      <a:lnTo>
                        <a:pt x="282" y="114"/>
                      </a:lnTo>
                      <a:lnTo>
                        <a:pt x="280" y="114"/>
                      </a:lnTo>
                      <a:lnTo>
                        <a:pt x="279" y="113"/>
                      </a:lnTo>
                      <a:lnTo>
                        <a:pt x="273" y="112"/>
                      </a:lnTo>
                      <a:lnTo>
                        <a:pt x="269" y="112"/>
                      </a:lnTo>
                      <a:lnTo>
                        <a:pt x="266" y="110"/>
                      </a:lnTo>
                      <a:lnTo>
                        <a:pt x="264" y="110"/>
                      </a:lnTo>
                      <a:lnTo>
                        <a:pt x="261" y="110"/>
                      </a:lnTo>
                      <a:lnTo>
                        <a:pt x="259" y="109"/>
                      </a:lnTo>
                      <a:lnTo>
                        <a:pt x="258" y="109"/>
                      </a:lnTo>
                      <a:lnTo>
                        <a:pt x="258" y="107"/>
                      </a:lnTo>
                      <a:lnTo>
                        <a:pt x="258" y="105"/>
                      </a:lnTo>
                      <a:lnTo>
                        <a:pt x="260" y="100"/>
                      </a:lnTo>
                      <a:lnTo>
                        <a:pt x="264" y="94"/>
                      </a:lnTo>
                      <a:lnTo>
                        <a:pt x="266" y="89"/>
                      </a:lnTo>
                      <a:lnTo>
                        <a:pt x="268" y="81"/>
                      </a:lnTo>
                      <a:lnTo>
                        <a:pt x="269" y="74"/>
                      </a:lnTo>
                      <a:lnTo>
                        <a:pt x="268" y="70"/>
                      </a:lnTo>
                      <a:lnTo>
                        <a:pt x="266" y="67"/>
                      </a:lnTo>
                      <a:lnTo>
                        <a:pt x="264" y="63"/>
                      </a:lnTo>
                      <a:lnTo>
                        <a:pt x="261" y="61"/>
                      </a:lnTo>
                      <a:lnTo>
                        <a:pt x="251" y="56"/>
                      </a:lnTo>
                      <a:lnTo>
                        <a:pt x="242" y="51"/>
                      </a:lnTo>
                      <a:lnTo>
                        <a:pt x="232" y="46"/>
                      </a:lnTo>
                      <a:lnTo>
                        <a:pt x="223" y="39"/>
                      </a:lnTo>
                      <a:lnTo>
                        <a:pt x="222" y="38"/>
                      </a:lnTo>
                      <a:lnTo>
                        <a:pt x="222" y="36"/>
                      </a:lnTo>
                      <a:lnTo>
                        <a:pt x="221" y="31"/>
                      </a:lnTo>
                      <a:lnTo>
                        <a:pt x="221" y="26"/>
                      </a:lnTo>
                      <a:lnTo>
                        <a:pt x="219" y="25"/>
                      </a:lnTo>
                      <a:lnTo>
                        <a:pt x="218" y="24"/>
                      </a:lnTo>
                      <a:lnTo>
                        <a:pt x="211" y="19"/>
                      </a:lnTo>
                      <a:lnTo>
                        <a:pt x="204" y="14"/>
                      </a:lnTo>
                      <a:lnTo>
                        <a:pt x="200" y="11"/>
                      </a:lnTo>
                      <a:lnTo>
                        <a:pt x="198" y="7"/>
                      </a:lnTo>
                      <a:lnTo>
                        <a:pt x="194" y="3"/>
                      </a:lnTo>
                      <a:lnTo>
                        <a:pt x="189" y="0"/>
                      </a:lnTo>
                      <a:lnTo>
                        <a:pt x="188" y="0"/>
                      </a:lnTo>
                      <a:lnTo>
                        <a:pt x="180" y="1"/>
                      </a:lnTo>
                      <a:lnTo>
                        <a:pt x="172" y="0"/>
                      </a:lnTo>
                      <a:lnTo>
                        <a:pt x="170" y="0"/>
                      </a:lnTo>
                      <a:lnTo>
                        <a:pt x="166" y="1"/>
                      </a:lnTo>
                      <a:lnTo>
                        <a:pt x="165" y="3"/>
                      </a:lnTo>
                      <a:lnTo>
                        <a:pt x="162" y="5"/>
                      </a:lnTo>
                      <a:lnTo>
                        <a:pt x="161" y="12"/>
                      </a:lnTo>
                      <a:lnTo>
                        <a:pt x="159" y="13"/>
                      </a:lnTo>
                      <a:lnTo>
                        <a:pt x="156" y="13"/>
                      </a:lnTo>
                      <a:lnTo>
                        <a:pt x="153" y="12"/>
                      </a:lnTo>
                      <a:lnTo>
                        <a:pt x="152" y="9"/>
                      </a:lnTo>
                      <a:lnTo>
                        <a:pt x="151" y="6"/>
                      </a:lnTo>
                      <a:lnTo>
                        <a:pt x="148" y="4"/>
                      </a:lnTo>
                      <a:lnTo>
                        <a:pt x="146" y="3"/>
                      </a:lnTo>
                      <a:lnTo>
                        <a:pt x="142" y="1"/>
                      </a:lnTo>
                      <a:lnTo>
                        <a:pt x="139" y="3"/>
                      </a:lnTo>
                      <a:lnTo>
                        <a:pt x="137" y="5"/>
                      </a:lnTo>
                      <a:lnTo>
                        <a:pt x="134" y="6"/>
                      </a:lnTo>
                      <a:lnTo>
                        <a:pt x="133" y="6"/>
                      </a:lnTo>
                      <a:lnTo>
                        <a:pt x="131" y="5"/>
                      </a:lnTo>
                      <a:lnTo>
                        <a:pt x="129" y="3"/>
                      </a:lnTo>
                      <a:lnTo>
                        <a:pt x="127" y="0"/>
                      </a:lnTo>
                      <a:lnTo>
                        <a:pt x="123" y="0"/>
                      </a:lnTo>
                      <a:lnTo>
                        <a:pt x="122" y="1"/>
                      </a:lnTo>
                      <a:lnTo>
                        <a:pt x="118" y="4"/>
                      </a:lnTo>
                      <a:lnTo>
                        <a:pt x="115" y="9"/>
                      </a:lnTo>
                      <a:lnTo>
                        <a:pt x="113" y="12"/>
                      </a:lnTo>
                      <a:lnTo>
                        <a:pt x="110" y="13"/>
                      </a:lnTo>
                      <a:lnTo>
                        <a:pt x="113" y="20"/>
                      </a:lnTo>
                      <a:lnTo>
                        <a:pt x="114" y="29"/>
                      </a:lnTo>
                      <a:lnTo>
                        <a:pt x="114" y="32"/>
                      </a:lnTo>
                      <a:lnTo>
                        <a:pt x="113" y="36"/>
                      </a:lnTo>
                      <a:lnTo>
                        <a:pt x="112" y="39"/>
                      </a:lnTo>
                      <a:lnTo>
                        <a:pt x="109" y="42"/>
                      </a:lnTo>
                      <a:lnTo>
                        <a:pt x="99" y="50"/>
                      </a:lnTo>
                      <a:lnTo>
                        <a:pt x="91" y="58"/>
                      </a:lnTo>
                      <a:lnTo>
                        <a:pt x="85" y="69"/>
                      </a:lnTo>
                      <a:lnTo>
                        <a:pt x="82" y="80"/>
                      </a:lnTo>
                      <a:lnTo>
                        <a:pt x="79" y="95"/>
                      </a:lnTo>
                      <a:lnTo>
                        <a:pt x="73" y="110"/>
                      </a:lnTo>
                      <a:lnTo>
                        <a:pt x="63" y="139"/>
                      </a:lnTo>
                      <a:lnTo>
                        <a:pt x="61" y="148"/>
                      </a:lnTo>
                      <a:lnTo>
                        <a:pt x="58" y="157"/>
                      </a:lnTo>
                      <a:lnTo>
                        <a:pt x="57" y="175"/>
                      </a:lnTo>
                      <a:lnTo>
                        <a:pt x="53" y="189"/>
                      </a:lnTo>
                      <a:lnTo>
                        <a:pt x="52" y="196"/>
                      </a:lnTo>
                      <a:lnTo>
                        <a:pt x="51" y="203"/>
                      </a:lnTo>
                      <a:lnTo>
                        <a:pt x="51" y="210"/>
                      </a:lnTo>
                      <a:lnTo>
                        <a:pt x="52" y="217"/>
                      </a:lnTo>
                      <a:lnTo>
                        <a:pt x="54" y="230"/>
                      </a:lnTo>
                      <a:lnTo>
                        <a:pt x="57" y="243"/>
                      </a:lnTo>
                      <a:lnTo>
                        <a:pt x="57" y="250"/>
                      </a:lnTo>
                      <a:lnTo>
                        <a:pt x="56" y="258"/>
                      </a:lnTo>
                      <a:lnTo>
                        <a:pt x="52" y="268"/>
                      </a:lnTo>
                      <a:lnTo>
                        <a:pt x="51" y="274"/>
                      </a:lnTo>
                      <a:lnTo>
                        <a:pt x="49" y="281"/>
                      </a:lnTo>
                      <a:lnTo>
                        <a:pt x="49" y="286"/>
                      </a:lnTo>
                      <a:lnTo>
                        <a:pt x="49" y="291"/>
                      </a:lnTo>
                      <a:lnTo>
                        <a:pt x="51" y="294"/>
                      </a:lnTo>
                      <a:lnTo>
                        <a:pt x="49" y="298"/>
                      </a:lnTo>
                      <a:lnTo>
                        <a:pt x="48" y="303"/>
                      </a:lnTo>
                      <a:lnTo>
                        <a:pt x="45" y="305"/>
                      </a:lnTo>
                      <a:lnTo>
                        <a:pt x="42" y="307"/>
                      </a:lnTo>
                      <a:lnTo>
                        <a:pt x="40" y="310"/>
                      </a:lnTo>
                      <a:lnTo>
                        <a:pt x="38" y="314"/>
                      </a:lnTo>
                      <a:lnTo>
                        <a:pt x="38" y="322"/>
                      </a:lnTo>
                      <a:lnTo>
                        <a:pt x="38" y="330"/>
                      </a:lnTo>
                      <a:lnTo>
                        <a:pt x="42" y="343"/>
                      </a:lnTo>
                      <a:lnTo>
                        <a:pt x="42" y="346"/>
                      </a:lnTo>
                      <a:lnTo>
                        <a:pt x="42" y="349"/>
                      </a:lnTo>
                      <a:lnTo>
                        <a:pt x="40" y="351"/>
                      </a:lnTo>
                      <a:lnTo>
                        <a:pt x="38" y="355"/>
                      </a:lnTo>
                      <a:lnTo>
                        <a:pt x="34" y="361"/>
                      </a:lnTo>
                      <a:lnTo>
                        <a:pt x="30" y="369"/>
                      </a:lnTo>
                      <a:lnTo>
                        <a:pt x="25" y="384"/>
                      </a:lnTo>
                      <a:lnTo>
                        <a:pt x="24" y="393"/>
                      </a:lnTo>
                      <a:lnTo>
                        <a:pt x="23" y="402"/>
                      </a:lnTo>
                      <a:lnTo>
                        <a:pt x="23" y="421"/>
                      </a:lnTo>
                      <a:lnTo>
                        <a:pt x="25" y="440"/>
                      </a:lnTo>
                      <a:lnTo>
                        <a:pt x="28" y="459"/>
                      </a:lnTo>
                      <a:lnTo>
                        <a:pt x="28" y="465"/>
                      </a:lnTo>
                      <a:lnTo>
                        <a:pt x="28" y="471"/>
                      </a:lnTo>
                      <a:lnTo>
                        <a:pt x="29" y="473"/>
                      </a:lnTo>
                      <a:lnTo>
                        <a:pt x="32" y="476"/>
                      </a:lnTo>
                      <a:lnTo>
                        <a:pt x="35" y="479"/>
                      </a:lnTo>
                      <a:lnTo>
                        <a:pt x="37" y="483"/>
                      </a:lnTo>
                      <a:lnTo>
                        <a:pt x="35" y="484"/>
                      </a:lnTo>
                      <a:lnTo>
                        <a:pt x="30" y="488"/>
                      </a:lnTo>
                      <a:lnTo>
                        <a:pt x="29" y="490"/>
                      </a:lnTo>
                      <a:lnTo>
                        <a:pt x="30" y="491"/>
                      </a:lnTo>
                      <a:lnTo>
                        <a:pt x="33" y="495"/>
                      </a:lnTo>
                      <a:lnTo>
                        <a:pt x="34" y="497"/>
                      </a:lnTo>
                      <a:lnTo>
                        <a:pt x="34" y="499"/>
                      </a:lnTo>
                      <a:lnTo>
                        <a:pt x="32" y="504"/>
                      </a:lnTo>
                      <a:lnTo>
                        <a:pt x="30" y="509"/>
                      </a:lnTo>
                      <a:lnTo>
                        <a:pt x="30" y="515"/>
                      </a:lnTo>
                      <a:lnTo>
                        <a:pt x="30" y="520"/>
                      </a:lnTo>
                      <a:lnTo>
                        <a:pt x="30" y="528"/>
                      </a:lnTo>
                      <a:lnTo>
                        <a:pt x="26" y="542"/>
                      </a:lnTo>
                      <a:lnTo>
                        <a:pt x="20" y="555"/>
                      </a:lnTo>
                      <a:lnTo>
                        <a:pt x="19" y="559"/>
                      </a:lnTo>
                      <a:lnTo>
                        <a:pt x="20" y="561"/>
                      </a:lnTo>
                      <a:lnTo>
                        <a:pt x="21" y="566"/>
                      </a:lnTo>
                      <a:lnTo>
                        <a:pt x="21" y="569"/>
                      </a:lnTo>
                      <a:lnTo>
                        <a:pt x="19" y="574"/>
                      </a:lnTo>
                      <a:lnTo>
                        <a:pt x="16" y="578"/>
                      </a:lnTo>
                      <a:lnTo>
                        <a:pt x="14" y="581"/>
                      </a:lnTo>
                      <a:lnTo>
                        <a:pt x="11" y="585"/>
                      </a:lnTo>
                      <a:lnTo>
                        <a:pt x="9" y="593"/>
                      </a:lnTo>
                      <a:lnTo>
                        <a:pt x="5" y="600"/>
                      </a:lnTo>
                      <a:lnTo>
                        <a:pt x="2" y="606"/>
                      </a:lnTo>
                      <a:lnTo>
                        <a:pt x="0" y="612"/>
                      </a:lnTo>
                      <a:lnTo>
                        <a:pt x="1" y="618"/>
                      </a:lnTo>
                      <a:lnTo>
                        <a:pt x="1" y="621"/>
                      </a:lnTo>
                      <a:lnTo>
                        <a:pt x="4" y="623"/>
                      </a:lnTo>
                      <a:lnTo>
                        <a:pt x="9" y="627"/>
                      </a:lnTo>
                      <a:lnTo>
                        <a:pt x="12" y="631"/>
                      </a:lnTo>
                      <a:lnTo>
                        <a:pt x="15" y="636"/>
                      </a:lnTo>
                      <a:lnTo>
                        <a:pt x="16" y="642"/>
                      </a:lnTo>
                      <a:lnTo>
                        <a:pt x="18" y="646"/>
                      </a:lnTo>
                      <a:lnTo>
                        <a:pt x="19" y="651"/>
                      </a:lnTo>
                      <a:lnTo>
                        <a:pt x="20" y="655"/>
                      </a:lnTo>
                      <a:lnTo>
                        <a:pt x="23" y="656"/>
                      </a:lnTo>
                      <a:lnTo>
                        <a:pt x="28" y="658"/>
                      </a:lnTo>
                      <a:lnTo>
                        <a:pt x="34" y="659"/>
                      </a:lnTo>
                      <a:lnTo>
                        <a:pt x="40" y="659"/>
                      </a:lnTo>
                      <a:lnTo>
                        <a:pt x="42" y="661"/>
                      </a:lnTo>
                      <a:lnTo>
                        <a:pt x="61" y="661"/>
                      </a:lnTo>
                      <a:lnTo>
                        <a:pt x="81" y="66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49" name="Freeform 1086"/>
                <p:cNvSpPr>
                  <a:spLocks/>
                </p:cNvSpPr>
                <p:nvPr/>
              </p:nvSpPr>
              <p:spPr bwMode="auto">
                <a:xfrm>
                  <a:off x="2883794" y="5265065"/>
                  <a:ext cx="464680" cy="976715"/>
                </a:xfrm>
                <a:custGeom>
                  <a:avLst/>
                  <a:gdLst>
                    <a:gd name="T0" fmla="*/ 2147483647 w 340"/>
                    <a:gd name="T1" fmla="*/ 2147483647 h 660"/>
                    <a:gd name="T2" fmla="*/ 2147483647 w 340"/>
                    <a:gd name="T3" fmla="*/ 2147483647 h 660"/>
                    <a:gd name="T4" fmla="*/ 2147483647 w 340"/>
                    <a:gd name="T5" fmla="*/ 2147483647 h 660"/>
                    <a:gd name="T6" fmla="*/ 2147483647 w 340"/>
                    <a:gd name="T7" fmla="*/ 2147483647 h 660"/>
                    <a:gd name="T8" fmla="*/ 2147483647 w 340"/>
                    <a:gd name="T9" fmla="*/ 2147483647 h 660"/>
                    <a:gd name="T10" fmla="*/ 2147483647 w 340"/>
                    <a:gd name="T11" fmla="*/ 2147483647 h 660"/>
                    <a:gd name="T12" fmla="*/ 2147483647 w 340"/>
                    <a:gd name="T13" fmla="*/ 2147483647 h 660"/>
                    <a:gd name="T14" fmla="*/ 2147483647 w 340"/>
                    <a:gd name="T15" fmla="*/ 2147483647 h 660"/>
                    <a:gd name="T16" fmla="*/ 2147483647 w 340"/>
                    <a:gd name="T17" fmla="*/ 2147483647 h 660"/>
                    <a:gd name="T18" fmla="*/ 2147483647 w 340"/>
                    <a:gd name="T19" fmla="*/ 2147483647 h 660"/>
                    <a:gd name="T20" fmla="*/ 2147483647 w 340"/>
                    <a:gd name="T21" fmla="*/ 2147483647 h 660"/>
                    <a:gd name="T22" fmla="*/ 2147483647 w 340"/>
                    <a:gd name="T23" fmla="*/ 2147483647 h 660"/>
                    <a:gd name="T24" fmla="*/ 2147483647 w 340"/>
                    <a:gd name="T25" fmla="*/ 2147483647 h 660"/>
                    <a:gd name="T26" fmla="*/ 2147483647 w 340"/>
                    <a:gd name="T27" fmla="*/ 2147483647 h 660"/>
                    <a:gd name="T28" fmla="*/ 2147483647 w 340"/>
                    <a:gd name="T29" fmla="*/ 2147483647 h 660"/>
                    <a:gd name="T30" fmla="*/ 2147483647 w 340"/>
                    <a:gd name="T31" fmla="*/ 2147483647 h 660"/>
                    <a:gd name="T32" fmla="*/ 2147483647 w 340"/>
                    <a:gd name="T33" fmla="*/ 2147483647 h 660"/>
                    <a:gd name="T34" fmla="*/ 2147483647 w 340"/>
                    <a:gd name="T35" fmla="*/ 2147483647 h 660"/>
                    <a:gd name="T36" fmla="*/ 2147483647 w 340"/>
                    <a:gd name="T37" fmla="*/ 2147483647 h 660"/>
                    <a:gd name="T38" fmla="*/ 2147483647 w 340"/>
                    <a:gd name="T39" fmla="*/ 2147483647 h 660"/>
                    <a:gd name="T40" fmla="*/ 2147483647 w 340"/>
                    <a:gd name="T41" fmla="*/ 2147483647 h 660"/>
                    <a:gd name="T42" fmla="*/ 2147483647 w 340"/>
                    <a:gd name="T43" fmla="*/ 2147483647 h 660"/>
                    <a:gd name="T44" fmla="*/ 2147483647 w 340"/>
                    <a:gd name="T45" fmla="*/ 2147483647 h 660"/>
                    <a:gd name="T46" fmla="*/ 2147483647 w 340"/>
                    <a:gd name="T47" fmla="*/ 2147483647 h 660"/>
                    <a:gd name="T48" fmla="*/ 2147483647 w 340"/>
                    <a:gd name="T49" fmla="*/ 2147483647 h 660"/>
                    <a:gd name="T50" fmla="*/ 2147483647 w 340"/>
                    <a:gd name="T51" fmla="*/ 2147483647 h 660"/>
                    <a:gd name="T52" fmla="*/ 2147483647 w 340"/>
                    <a:gd name="T53" fmla="*/ 2147483647 h 660"/>
                    <a:gd name="T54" fmla="*/ 2147483647 w 340"/>
                    <a:gd name="T55" fmla="*/ 2147483647 h 660"/>
                    <a:gd name="T56" fmla="*/ 2147483647 w 340"/>
                    <a:gd name="T57" fmla="*/ 2147483647 h 660"/>
                    <a:gd name="T58" fmla="*/ 2147483647 w 340"/>
                    <a:gd name="T59" fmla="*/ 2147483647 h 660"/>
                    <a:gd name="T60" fmla="*/ 2147483647 w 340"/>
                    <a:gd name="T61" fmla="*/ 2147483647 h 660"/>
                    <a:gd name="T62" fmla="*/ 2147483647 w 340"/>
                    <a:gd name="T63" fmla="*/ 2147483647 h 660"/>
                    <a:gd name="T64" fmla="*/ 2147483647 w 340"/>
                    <a:gd name="T65" fmla="*/ 2147483647 h 660"/>
                    <a:gd name="T66" fmla="*/ 2147483647 w 340"/>
                    <a:gd name="T67" fmla="*/ 2147483647 h 660"/>
                    <a:gd name="T68" fmla="*/ 2147483647 w 340"/>
                    <a:gd name="T69" fmla="*/ 2147483647 h 660"/>
                    <a:gd name="T70" fmla="*/ 2147483647 w 340"/>
                    <a:gd name="T71" fmla="*/ 2147483647 h 660"/>
                    <a:gd name="T72" fmla="*/ 2147483647 w 340"/>
                    <a:gd name="T73" fmla="*/ 2147483647 h 660"/>
                    <a:gd name="T74" fmla="*/ 2147483647 w 340"/>
                    <a:gd name="T75" fmla="*/ 2147483647 h 660"/>
                    <a:gd name="T76" fmla="*/ 2147483647 w 340"/>
                    <a:gd name="T77" fmla="*/ 2147483647 h 660"/>
                    <a:gd name="T78" fmla="*/ 2147483647 w 340"/>
                    <a:gd name="T79" fmla="*/ 2147483647 h 660"/>
                    <a:gd name="T80" fmla="*/ 2147483647 w 340"/>
                    <a:gd name="T81" fmla="*/ 2147483647 h 660"/>
                    <a:gd name="T82" fmla="*/ 2147483647 w 340"/>
                    <a:gd name="T83" fmla="*/ 0 h 660"/>
                    <a:gd name="T84" fmla="*/ 2147483647 w 340"/>
                    <a:gd name="T85" fmla="*/ 2147483647 h 660"/>
                    <a:gd name="T86" fmla="*/ 2147483647 w 340"/>
                    <a:gd name="T87" fmla="*/ 2147483647 h 660"/>
                    <a:gd name="T88" fmla="*/ 2147483647 w 340"/>
                    <a:gd name="T89" fmla="*/ 2147483647 h 660"/>
                    <a:gd name="T90" fmla="*/ 2147483647 w 340"/>
                    <a:gd name="T91" fmla="*/ 2147483647 h 660"/>
                    <a:gd name="T92" fmla="*/ 2147483647 w 340"/>
                    <a:gd name="T93" fmla="*/ 2147483647 h 660"/>
                    <a:gd name="T94" fmla="*/ 2147483647 w 340"/>
                    <a:gd name="T95" fmla="*/ 2147483647 h 660"/>
                    <a:gd name="T96" fmla="*/ 2147483647 w 340"/>
                    <a:gd name="T97" fmla="*/ 2147483647 h 660"/>
                    <a:gd name="T98" fmla="*/ 2147483647 w 340"/>
                    <a:gd name="T99" fmla="*/ 2147483647 h 660"/>
                    <a:gd name="T100" fmla="*/ 2147483647 w 340"/>
                    <a:gd name="T101" fmla="*/ 2147483647 h 660"/>
                    <a:gd name="T102" fmla="*/ 2147483647 w 340"/>
                    <a:gd name="T103" fmla="*/ 2147483647 h 660"/>
                    <a:gd name="T104" fmla="*/ 2147483647 w 340"/>
                    <a:gd name="T105" fmla="*/ 2147483647 h 660"/>
                    <a:gd name="T106" fmla="*/ 2147483647 w 340"/>
                    <a:gd name="T107" fmla="*/ 2147483647 h 660"/>
                    <a:gd name="T108" fmla="*/ 2147483647 w 340"/>
                    <a:gd name="T109" fmla="*/ 2147483647 h 660"/>
                    <a:gd name="T110" fmla="*/ 2147483647 w 340"/>
                    <a:gd name="T111" fmla="*/ 2147483647 h 660"/>
                    <a:gd name="T112" fmla="*/ 2147483647 w 340"/>
                    <a:gd name="T113" fmla="*/ 2147483647 h 660"/>
                    <a:gd name="T114" fmla="*/ 2147483647 w 340"/>
                    <a:gd name="T115" fmla="*/ 2147483647 h 660"/>
                    <a:gd name="T116" fmla="*/ 2147483647 w 340"/>
                    <a:gd name="T117" fmla="*/ 2147483647 h 660"/>
                    <a:gd name="T118" fmla="*/ 2147483647 w 340"/>
                    <a:gd name="T119" fmla="*/ 2147483647 h 660"/>
                    <a:gd name="T120" fmla="*/ 2147483647 w 340"/>
                    <a:gd name="T121" fmla="*/ 2147483647 h 660"/>
                    <a:gd name="T122" fmla="*/ 2147483647 w 340"/>
                    <a:gd name="T123" fmla="*/ 2147483647 h 660"/>
                    <a:gd name="T124" fmla="*/ 2147483647 w 340"/>
                    <a:gd name="T125" fmla="*/ 2147483647 h 6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40"/>
                    <a:gd name="T190" fmla="*/ 0 h 660"/>
                    <a:gd name="T191" fmla="*/ 340 w 340"/>
                    <a:gd name="T192" fmla="*/ 660 h 6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40" h="660">
                      <a:moveTo>
                        <a:pt x="81" y="660"/>
                      </a:moveTo>
                      <a:lnTo>
                        <a:pt x="81" y="660"/>
                      </a:lnTo>
                      <a:lnTo>
                        <a:pt x="74" y="653"/>
                      </a:lnTo>
                      <a:lnTo>
                        <a:pt x="72" y="650"/>
                      </a:lnTo>
                      <a:lnTo>
                        <a:pt x="72" y="645"/>
                      </a:lnTo>
                      <a:lnTo>
                        <a:pt x="73" y="640"/>
                      </a:lnTo>
                      <a:lnTo>
                        <a:pt x="76" y="636"/>
                      </a:lnTo>
                      <a:lnTo>
                        <a:pt x="74" y="630"/>
                      </a:lnTo>
                      <a:lnTo>
                        <a:pt x="74" y="627"/>
                      </a:lnTo>
                      <a:lnTo>
                        <a:pt x="74" y="626"/>
                      </a:lnTo>
                      <a:lnTo>
                        <a:pt x="77" y="624"/>
                      </a:lnTo>
                      <a:lnTo>
                        <a:pt x="81" y="621"/>
                      </a:lnTo>
                      <a:lnTo>
                        <a:pt x="83" y="619"/>
                      </a:lnTo>
                      <a:lnTo>
                        <a:pt x="87" y="617"/>
                      </a:lnTo>
                      <a:lnTo>
                        <a:pt x="90" y="614"/>
                      </a:lnTo>
                      <a:lnTo>
                        <a:pt x="90" y="612"/>
                      </a:lnTo>
                      <a:lnTo>
                        <a:pt x="91" y="608"/>
                      </a:lnTo>
                      <a:lnTo>
                        <a:pt x="93" y="606"/>
                      </a:lnTo>
                      <a:lnTo>
                        <a:pt x="97" y="602"/>
                      </a:lnTo>
                      <a:lnTo>
                        <a:pt x="100" y="601"/>
                      </a:lnTo>
                      <a:lnTo>
                        <a:pt x="100" y="600"/>
                      </a:lnTo>
                      <a:lnTo>
                        <a:pt x="100" y="594"/>
                      </a:lnTo>
                      <a:lnTo>
                        <a:pt x="100" y="592"/>
                      </a:lnTo>
                      <a:lnTo>
                        <a:pt x="102" y="590"/>
                      </a:lnTo>
                      <a:lnTo>
                        <a:pt x="107" y="588"/>
                      </a:lnTo>
                      <a:lnTo>
                        <a:pt x="110" y="588"/>
                      </a:lnTo>
                      <a:lnTo>
                        <a:pt x="113" y="586"/>
                      </a:lnTo>
                      <a:lnTo>
                        <a:pt x="123" y="576"/>
                      </a:lnTo>
                      <a:lnTo>
                        <a:pt x="126" y="570"/>
                      </a:lnTo>
                      <a:lnTo>
                        <a:pt x="130" y="566"/>
                      </a:lnTo>
                      <a:lnTo>
                        <a:pt x="130" y="561"/>
                      </a:lnTo>
                      <a:lnTo>
                        <a:pt x="130" y="556"/>
                      </a:lnTo>
                      <a:lnTo>
                        <a:pt x="132" y="550"/>
                      </a:lnTo>
                      <a:lnTo>
                        <a:pt x="133" y="548"/>
                      </a:lnTo>
                      <a:lnTo>
                        <a:pt x="134" y="547"/>
                      </a:lnTo>
                      <a:lnTo>
                        <a:pt x="134" y="545"/>
                      </a:lnTo>
                      <a:lnTo>
                        <a:pt x="134" y="543"/>
                      </a:lnTo>
                      <a:lnTo>
                        <a:pt x="126" y="544"/>
                      </a:lnTo>
                      <a:lnTo>
                        <a:pt x="119" y="545"/>
                      </a:lnTo>
                      <a:lnTo>
                        <a:pt x="115" y="545"/>
                      </a:lnTo>
                      <a:lnTo>
                        <a:pt x="113" y="544"/>
                      </a:lnTo>
                      <a:lnTo>
                        <a:pt x="110" y="543"/>
                      </a:lnTo>
                      <a:lnTo>
                        <a:pt x="107" y="539"/>
                      </a:lnTo>
                      <a:lnTo>
                        <a:pt x="105" y="534"/>
                      </a:lnTo>
                      <a:lnTo>
                        <a:pt x="101" y="529"/>
                      </a:lnTo>
                      <a:lnTo>
                        <a:pt x="100" y="525"/>
                      </a:lnTo>
                      <a:lnTo>
                        <a:pt x="100" y="524"/>
                      </a:lnTo>
                      <a:lnTo>
                        <a:pt x="101" y="523"/>
                      </a:lnTo>
                      <a:lnTo>
                        <a:pt x="105" y="518"/>
                      </a:lnTo>
                      <a:lnTo>
                        <a:pt x="109" y="512"/>
                      </a:lnTo>
                      <a:lnTo>
                        <a:pt x="109" y="509"/>
                      </a:lnTo>
                      <a:lnTo>
                        <a:pt x="110" y="506"/>
                      </a:lnTo>
                      <a:lnTo>
                        <a:pt x="111" y="504"/>
                      </a:lnTo>
                      <a:lnTo>
                        <a:pt x="113" y="504"/>
                      </a:lnTo>
                      <a:lnTo>
                        <a:pt x="114" y="504"/>
                      </a:lnTo>
                      <a:lnTo>
                        <a:pt x="115" y="504"/>
                      </a:lnTo>
                      <a:lnTo>
                        <a:pt x="118" y="502"/>
                      </a:lnTo>
                      <a:lnTo>
                        <a:pt x="121" y="500"/>
                      </a:lnTo>
                      <a:lnTo>
                        <a:pt x="125" y="500"/>
                      </a:lnTo>
                      <a:lnTo>
                        <a:pt x="126" y="500"/>
                      </a:lnTo>
                      <a:lnTo>
                        <a:pt x="129" y="500"/>
                      </a:lnTo>
                      <a:lnTo>
                        <a:pt x="134" y="497"/>
                      </a:lnTo>
                      <a:lnTo>
                        <a:pt x="139" y="496"/>
                      </a:lnTo>
                      <a:lnTo>
                        <a:pt x="144" y="496"/>
                      </a:lnTo>
                      <a:lnTo>
                        <a:pt x="147" y="497"/>
                      </a:lnTo>
                      <a:lnTo>
                        <a:pt x="151" y="497"/>
                      </a:lnTo>
                      <a:lnTo>
                        <a:pt x="151" y="494"/>
                      </a:lnTo>
                      <a:lnTo>
                        <a:pt x="151" y="492"/>
                      </a:lnTo>
                      <a:lnTo>
                        <a:pt x="148" y="490"/>
                      </a:lnTo>
                      <a:lnTo>
                        <a:pt x="146" y="487"/>
                      </a:lnTo>
                      <a:lnTo>
                        <a:pt x="143" y="485"/>
                      </a:lnTo>
                      <a:lnTo>
                        <a:pt x="143" y="483"/>
                      </a:lnTo>
                      <a:lnTo>
                        <a:pt x="143" y="474"/>
                      </a:lnTo>
                      <a:lnTo>
                        <a:pt x="146" y="467"/>
                      </a:lnTo>
                      <a:lnTo>
                        <a:pt x="149" y="460"/>
                      </a:lnTo>
                      <a:lnTo>
                        <a:pt x="154" y="454"/>
                      </a:lnTo>
                      <a:lnTo>
                        <a:pt x="156" y="453"/>
                      </a:lnTo>
                      <a:lnTo>
                        <a:pt x="154" y="452"/>
                      </a:lnTo>
                      <a:lnTo>
                        <a:pt x="151" y="449"/>
                      </a:lnTo>
                      <a:lnTo>
                        <a:pt x="151" y="448"/>
                      </a:lnTo>
                      <a:lnTo>
                        <a:pt x="151" y="447"/>
                      </a:lnTo>
                      <a:lnTo>
                        <a:pt x="153" y="446"/>
                      </a:lnTo>
                      <a:lnTo>
                        <a:pt x="156" y="447"/>
                      </a:lnTo>
                      <a:lnTo>
                        <a:pt x="158" y="449"/>
                      </a:lnTo>
                      <a:lnTo>
                        <a:pt x="161" y="451"/>
                      </a:lnTo>
                      <a:lnTo>
                        <a:pt x="167" y="451"/>
                      </a:lnTo>
                      <a:lnTo>
                        <a:pt x="170" y="449"/>
                      </a:lnTo>
                      <a:lnTo>
                        <a:pt x="172" y="448"/>
                      </a:lnTo>
                      <a:lnTo>
                        <a:pt x="173" y="443"/>
                      </a:lnTo>
                      <a:lnTo>
                        <a:pt x="173" y="440"/>
                      </a:lnTo>
                      <a:lnTo>
                        <a:pt x="171" y="435"/>
                      </a:lnTo>
                      <a:lnTo>
                        <a:pt x="170" y="434"/>
                      </a:lnTo>
                      <a:lnTo>
                        <a:pt x="168" y="434"/>
                      </a:lnTo>
                      <a:lnTo>
                        <a:pt x="166" y="435"/>
                      </a:lnTo>
                      <a:lnTo>
                        <a:pt x="163" y="438"/>
                      </a:lnTo>
                      <a:lnTo>
                        <a:pt x="160" y="440"/>
                      </a:lnTo>
                      <a:lnTo>
                        <a:pt x="158" y="440"/>
                      </a:lnTo>
                      <a:lnTo>
                        <a:pt x="156" y="439"/>
                      </a:lnTo>
                      <a:lnTo>
                        <a:pt x="152" y="434"/>
                      </a:lnTo>
                      <a:lnTo>
                        <a:pt x="148" y="429"/>
                      </a:lnTo>
                      <a:lnTo>
                        <a:pt x="146" y="423"/>
                      </a:lnTo>
                      <a:lnTo>
                        <a:pt x="146" y="417"/>
                      </a:lnTo>
                      <a:lnTo>
                        <a:pt x="146" y="415"/>
                      </a:lnTo>
                      <a:lnTo>
                        <a:pt x="144" y="414"/>
                      </a:lnTo>
                      <a:lnTo>
                        <a:pt x="143" y="414"/>
                      </a:lnTo>
                      <a:lnTo>
                        <a:pt x="143" y="413"/>
                      </a:lnTo>
                      <a:lnTo>
                        <a:pt x="147" y="408"/>
                      </a:lnTo>
                      <a:lnTo>
                        <a:pt x="152" y="403"/>
                      </a:lnTo>
                      <a:lnTo>
                        <a:pt x="152" y="402"/>
                      </a:lnTo>
                      <a:lnTo>
                        <a:pt x="153" y="403"/>
                      </a:lnTo>
                      <a:lnTo>
                        <a:pt x="154" y="406"/>
                      </a:lnTo>
                      <a:lnTo>
                        <a:pt x="157" y="408"/>
                      </a:lnTo>
                      <a:lnTo>
                        <a:pt x="162" y="410"/>
                      </a:lnTo>
                      <a:lnTo>
                        <a:pt x="170" y="411"/>
                      </a:lnTo>
                      <a:lnTo>
                        <a:pt x="177" y="410"/>
                      </a:lnTo>
                      <a:lnTo>
                        <a:pt x="184" y="407"/>
                      </a:lnTo>
                      <a:lnTo>
                        <a:pt x="187" y="406"/>
                      </a:lnTo>
                      <a:lnTo>
                        <a:pt x="190" y="402"/>
                      </a:lnTo>
                      <a:lnTo>
                        <a:pt x="191" y="397"/>
                      </a:lnTo>
                      <a:lnTo>
                        <a:pt x="193" y="392"/>
                      </a:lnTo>
                      <a:lnTo>
                        <a:pt x="193" y="388"/>
                      </a:lnTo>
                      <a:lnTo>
                        <a:pt x="194" y="382"/>
                      </a:lnTo>
                      <a:lnTo>
                        <a:pt x="195" y="381"/>
                      </a:lnTo>
                      <a:lnTo>
                        <a:pt x="195" y="378"/>
                      </a:lnTo>
                      <a:lnTo>
                        <a:pt x="194" y="372"/>
                      </a:lnTo>
                      <a:lnTo>
                        <a:pt x="193" y="368"/>
                      </a:lnTo>
                      <a:lnTo>
                        <a:pt x="194" y="363"/>
                      </a:lnTo>
                      <a:lnTo>
                        <a:pt x="194" y="360"/>
                      </a:lnTo>
                      <a:lnTo>
                        <a:pt x="196" y="359"/>
                      </a:lnTo>
                      <a:lnTo>
                        <a:pt x="199" y="359"/>
                      </a:lnTo>
                      <a:lnTo>
                        <a:pt x="201" y="359"/>
                      </a:lnTo>
                      <a:lnTo>
                        <a:pt x="206" y="362"/>
                      </a:lnTo>
                      <a:lnTo>
                        <a:pt x="212" y="363"/>
                      </a:lnTo>
                      <a:lnTo>
                        <a:pt x="214" y="364"/>
                      </a:lnTo>
                      <a:lnTo>
                        <a:pt x="217" y="363"/>
                      </a:lnTo>
                      <a:lnTo>
                        <a:pt x="223" y="363"/>
                      </a:lnTo>
                      <a:lnTo>
                        <a:pt x="228" y="363"/>
                      </a:lnTo>
                      <a:lnTo>
                        <a:pt x="237" y="359"/>
                      </a:lnTo>
                      <a:lnTo>
                        <a:pt x="246" y="356"/>
                      </a:lnTo>
                      <a:lnTo>
                        <a:pt x="251" y="355"/>
                      </a:lnTo>
                      <a:lnTo>
                        <a:pt x="256" y="355"/>
                      </a:lnTo>
                      <a:lnTo>
                        <a:pt x="261" y="355"/>
                      </a:lnTo>
                      <a:lnTo>
                        <a:pt x="265" y="353"/>
                      </a:lnTo>
                      <a:lnTo>
                        <a:pt x="269" y="351"/>
                      </a:lnTo>
                      <a:lnTo>
                        <a:pt x="273" y="349"/>
                      </a:lnTo>
                      <a:lnTo>
                        <a:pt x="275" y="345"/>
                      </a:lnTo>
                      <a:lnTo>
                        <a:pt x="276" y="343"/>
                      </a:lnTo>
                      <a:lnTo>
                        <a:pt x="275" y="340"/>
                      </a:lnTo>
                      <a:lnTo>
                        <a:pt x="276" y="337"/>
                      </a:lnTo>
                      <a:lnTo>
                        <a:pt x="278" y="333"/>
                      </a:lnTo>
                      <a:lnTo>
                        <a:pt x="279" y="331"/>
                      </a:lnTo>
                      <a:lnTo>
                        <a:pt x="283" y="325"/>
                      </a:lnTo>
                      <a:lnTo>
                        <a:pt x="285" y="319"/>
                      </a:lnTo>
                      <a:lnTo>
                        <a:pt x="286" y="313"/>
                      </a:lnTo>
                      <a:lnTo>
                        <a:pt x="285" y="306"/>
                      </a:lnTo>
                      <a:lnTo>
                        <a:pt x="283" y="304"/>
                      </a:lnTo>
                      <a:lnTo>
                        <a:pt x="280" y="302"/>
                      </a:lnTo>
                      <a:lnTo>
                        <a:pt x="278" y="301"/>
                      </a:lnTo>
                      <a:lnTo>
                        <a:pt x="275" y="299"/>
                      </a:lnTo>
                      <a:lnTo>
                        <a:pt x="271" y="295"/>
                      </a:lnTo>
                      <a:lnTo>
                        <a:pt x="273" y="285"/>
                      </a:lnTo>
                      <a:lnTo>
                        <a:pt x="273" y="281"/>
                      </a:lnTo>
                      <a:lnTo>
                        <a:pt x="270" y="277"/>
                      </a:lnTo>
                      <a:lnTo>
                        <a:pt x="267" y="274"/>
                      </a:lnTo>
                      <a:lnTo>
                        <a:pt x="264" y="273"/>
                      </a:lnTo>
                      <a:lnTo>
                        <a:pt x="260" y="270"/>
                      </a:lnTo>
                      <a:lnTo>
                        <a:pt x="257" y="268"/>
                      </a:lnTo>
                      <a:lnTo>
                        <a:pt x="257" y="264"/>
                      </a:lnTo>
                      <a:lnTo>
                        <a:pt x="257" y="262"/>
                      </a:lnTo>
                      <a:lnTo>
                        <a:pt x="255" y="257"/>
                      </a:lnTo>
                      <a:lnTo>
                        <a:pt x="253" y="254"/>
                      </a:lnTo>
                      <a:lnTo>
                        <a:pt x="252" y="247"/>
                      </a:lnTo>
                      <a:lnTo>
                        <a:pt x="255" y="240"/>
                      </a:lnTo>
                      <a:lnTo>
                        <a:pt x="259" y="232"/>
                      </a:lnTo>
                      <a:lnTo>
                        <a:pt x="261" y="226"/>
                      </a:lnTo>
                      <a:lnTo>
                        <a:pt x="262" y="224"/>
                      </a:lnTo>
                      <a:lnTo>
                        <a:pt x="264" y="222"/>
                      </a:lnTo>
                      <a:lnTo>
                        <a:pt x="264" y="202"/>
                      </a:lnTo>
                      <a:lnTo>
                        <a:pt x="264" y="192"/>
                      </a:lnTo>
                      <a:lnTo>
                        <a:pt x="266" y="183"/>
                      </a:lnTo>
                      <a:lnTo>
                        <a:pt x="270" y="177"/>
                      </a:lnTo>
                      <a:lnTo>
                        <a:pt x="273" y="171"/>
                      </a:lnTo>
                      <a:lnTo>
                        <a:pt x="275" y="167"/>
                      </a:lnTo>
                      <a:lnTo>
                        <a:pt x="278" y="164"/>
                      </a:lnTo>
                      <a:lnTo>
                        <a:pt x="281" y="159"/>
                      </a:lnTo>
                      <a:lnTo>
                        <a:pt x="284" y="154"/>
                      </a:lnTo>
                      <a:lnTo>
                        <a:pt x="289" y="144"/>
                      </a:lnTo>
                      <a:lnTo>
                        <a:pt x="290" y="142"/>
                      </a:lnTo>
                      <a:lnTo>
                        <a:pt x="292" y="141"/>
                      </a:lnTo>
                      <a:lnTo>
                        <a:pt x="298" y="140"/>
                      </a:lnTo>
                      <a:lnTo>
                        <a:pt x="303" y="136"/>
                      </a:lnTo>
                      <a:lnTo>
                        <a:pt x="320" y="121"/>
                      </a:lnTo>
                      <a:lnTo>
                        <a:pt x="327" y="113"/>
                      </a:lnTo>
                      <a:lnTo>
                        <a:pt x="337" y="107"/>
                      </a:lnTo>
                      <a:lnTo>
                        <a:pt x="339" y="106"/>
                      </a:lnTo>
                      <a:lnTo>
                        <a:pt x="339" y="104"/>
                      </a:lnTo>
                      <a:lnTo>
                        <a:pt x="340" y="101"/>
                      </a:lnTo>
                      <a:lnTo>
                        <a:pt x="339" y="95"/>
                      </a:lnTo>
                      <a:lnTo>
                        <a:pt x="339" y="89"/>
                      </a:lnTo>
                      <a:lnTo>
                        <a:pt x="337" y="83"/>
                      </a:lnTo>
                      <a:lnTo>
                        <a:pt x="339" y="77"/>
                      </a:lnTo>
                      <a:lnTo>
                        <a:pt x="333" y="77"/>
                      </a:lnTo>
                      <a:lnTo>
                        <a:pt x="330" y="77"/>
                      </a:lnTo>
                      <a:lnTo>
                        <a:pt x="321" y="76"/>
                      </a:lnTo>
                      <a:lnTo>
                        <a:pt x="322" y="82"/>
                      </a:lnTo>
                      <a:lnTo>
                        <a:pt x="323" y="89"/>
                      </a:lnTo>
                      <a:lnTo>
                        <a:pt x="322" y="93"/>
                      </a:lnTo>
                      <a:lnTo>
                        <a:pt x="320" y="95"/>
                      </a:lnTo>
                      <a:lnTo>
                        <a:pt x="317" y="96"/>
                      </a:lnTo>
                      <a:lnTo>
                        <a:pt x="314" y="98"/>
                      </a:lnTo>
                      <a:lnTo>
                        <a:pt x="309" y="104"/>
                      </a:lnTo>
                      <a:lnTo>
                        <a:pt x="306" y="110"/>
                      </a:lnTo>
                      <a:lnTo>
                        <a:pt x="302" y="113"/>
                      </a:lnTo>
                      <a:lnTo>
                        <a:pt x="298" y="113"/>
                      </a:lnTo>
                      <a:lnTo>
                        <a:pt x="294" y="110"/>
                      </a:lnTo>
                      <a:lnTo>
                        <a:pt x="290" y="108"/>
                      </a:lnTo>
                      <a:lnTo>
                        <a:pt x="288" y="110"/>
                      </a:lnTo>
                      <a:lnTo>
                        <a:pt x="284" y="113"/>
                      </a:lnTo>
                      <a:lnTo>
                        <a:pt x="281" y="114"/>
                      </a:lnTo>
                      <a:lnTo>
                        <a:pt x="280" y="114"/>
                      </a:lnTo>
                      <a:lnTo>
                        <a:pt x="279" y="113"/>
                      </a:lnTo>
                      <a:lnTo>
                        <a:pt x="273" y="111"/>
                      </a:lnTo>
                      <a:lnTo>
                        <a:pt x="269" y="111"/>
                      </a:lnTo>
                      <a:lnTo>
                        <a:pt x="266" y="110"/>
                      </a:lnTo>
                      <a:lnTo>
                        <a:pt x="264" y="110"/>
                      </a:lnTo>
                      <a:lnTo>
                        <a:pt x="261" y="110"/>
                      </a:lnTo>
                      <a:lnTo>
                        <a:pt x="259" y="109"/>
                      </a:lnTo>
                      <a:lnTo>
                        <a:pt x="257" y="109"/>
                      </a:lnTo>
                      <a:lnTo>
                        <a:pt x="257" y="107"/>
                      </a:lnTo>
                      <a:lnTo>
                        <a:pt x="257" y="104"/>
                      </a:lnTo>
                      <a:lnTo>
                        <a:pt x="260" y="100"/>
                      </a:lnTo>
                      <a:lnTo>
                        <a:pt x="264" y="94"/>
                      </a:lnTo>
                      <a:lnTo>
                        <a:pt x="266" y="89"/>
                      </a:lnTo>
                      <a:lnTo>
                        <a:pt x="267" y="81"/>
                      </a:lnTo>
                      <a:lnTo>
                        <a:pt x="269" y="74"/>
                      </a:lnTo>
                      <a:lnTo>
                        <a:pt x="267" y="70"/>
                      </a:lnTo>
                      <a:lnTo>
                        <a:pt x="266" y="66"/>
                      </a:lnTo>
                      <a:lnTo>
                        <a:pt x="264" y="63"/>
                      </a:lnTo>
                      <a:lnTo>
                        <a:pt x="261" y="61"/>
                      </a:lnTo>
                      <a:lnTo>
                        <a:pt x="251" y="56"/>
                      </a:lnTo>
                      <a:lnTo>
                        <a:pt x="242" y="51"/>
                      </a:lnTo>
                      <a:lnTo>
                        <a:pt x="232" y="46"/>
                      </a:lnTo>
                      <a:lnTo>
                        <a:pt x="223" y="39"/>
                      </a:lnTo>
                      <a:lnTo>
                        <a:pt x="222" y="38"/>
                      </a:lnTo>
                      <a:lnTo>
                        <a:pt x="222" y="36"/>
                      </a:lnTo>
                      <a:lnTo>
                        <a:pt x="220" y="31"/>
                      </a:lnTo>
                      <a:lnTo>
                        <a:pt x="220" y="26"/>
                      </a:lnTo>
                      <a:lnTo>
                        <a:pt x="219" y="25"/>
                      </a:lnTo>
                      <a:lnTo>
                        <a:pt x="218" y="24"/>
                      </a:lnTo>
                      <a:lnTo>
                        <a:pt x="210" y="19"/>
                      </a:lnTo>
                      <a:lnTo>
                        <a:pt x="204" y="14"/>
                      </a:lnTo>
                      <a:lnTo>
                        <a:pt x="200" y="11"/>
                      </a:lnTo>
                      <a:lnTo>
                        <a:pt x="198" y="7"/>
                      </a:lnTo>
                      <a:lnTo>
                        <a:pt x="194" y="2"/>
                      </a:lnTo>
                      <a:lnTo>
                        <a:pt x="189" y="0"/>
                      </a:lnTo>
                      <a:lnTo>
                        <a:pt x="187" y="0"/>
                      </a:lnTo>
                      <a:lnTo>
                        <a:pt x="180" y="1"/>
                      </a:lnTo>
                      <a:lnTo>
                        <a:pt x="172" y="0"/>
                      </a:lnTo>
                      <a:lnTo>
                        <a:pt x="170" y="0"/>
                      </a:lnTo>
                      <a:lnTo>
                        <a:pt x="166" y="1"/>
                      </a:lnTo>
                      <a:lnTo>
                        <a:pt x="165" y="2"/>
                      </a:lnTo>
                      <a:lnTo>
                        <a:pt x="162" y="5"/>
                      </a:lnTo>
                      <a:lnTo>
                        <a:pt x="161" y="12"/>
                      </a:lnTo>
                      <a:lnTo>
                        <a:pt x="158" y="13"/>
                      </a:lnTo>
                      <a:lnTo>
                        <a:pt x="156" y="13"/>
                      </a:lnTo>
                      <a:lnTo>
                        <a:pt x="153" y="12"/>
                      </a:lnTo>
                      <a:lnTo>
                        <a:pt x="152" y="8"/>
                      </a:lnTo>
                      <a:lnTo>
                        <a:pt x="151" y="6"/>
                      </a:lnTo>
                      <a:lnTo>
                        <a:pt x="148" y="4"/>
                      </a:lnTo>
                      <a:lnTo>
                        <a:pt x="146" y="2"/>
                      </a:lnTo>
                      <a:lnTo>
                        <a:pt x="142" y="1"/>
                      </a:lnTo>
                      <a:lnTo>
                        <a:pt x="139" y="2"/>
                      </a:lnTo>
                      <a:lnTo>
                        <a:pt x="137" y="5"/>
                      </a:lnTo>
                      <a:lnTo>
                        <a:pt x="134" y="6"/>
                      </a:lnTo>
                      <a:lnTo>
                        <a:pt x="133" y="6"/>
                      </a:lnTo>
                      <a:lnTo>
                        <a:pt x="130" y="5"/>
                      </a:lnTo>
                      <a:lnTo>
                        <a:pt x="129" y="2"/>
                      </a:lnTo>
                      <a:lnTo>
                        <a:pt x="126" y="0"/>
                      </a:lnTo>
                      <a:lnTo>
                        <a:pt x="123" y="0"/>
                      </a:lnTo>
                      <a:lnTo>
                        <a:pt x="121" y="1"/>
                      </a:lnTo>
                      <a:lnTo>
                        <a:pt x="118" y="4"/>
                      </a:lnTo>
                      <a:lnTo>
                        <a:pt x="115" y="8"/>
                      </a:lnTo>
                      <a:lnTo>
                        <a:pt x="113" y="12"/>
                      </a:lnTo>
                      <a:lnTo>
                        <a:pt x="110" y="13"/>
                      </a:lnTo>
                      <a:lnTo>
                        <a:pt x="113" y="20"/>
                      </a:lnTo>
                      <a:lnTo>
                        <a:pt x="114" y="29"/>
                      </a:lnTo>
                      <a:lnTo>
                        <a:pt x="114" y="32"/>
                      </a:lnTo>
                      <a:lnTo>
                        <a:pt x="113" y="36"/>
                      </a:lnTo>
                      <a:lnTo>
                        <a:pt x="111" y="39"/>
                      </a:lnTo>
                      <a:lnTo>
                        <a:pt x="109" y="42"/>
                      </a:lnTo>
                      <a:lnTo>
                        <a:pt x="99" y="50"/>
                      </a:lnTo>
                      <a:lnTo>
                        <a:pt x="91" y="58"/>
                      </a:lnTo>
                      <a:lnTo>
                        <a:pt x="85" y="69"/>
                      </a:lnTo>
                      <a:lnTo>
                        <a:pt x="82" y="79"/>
                      </a:lnTo>
                      <a:lnTo>
                        <a:pt x="78" y="95"/>
                      </a:lnTo>
                      <a:lnTo>
                        <a:pt x="73" y="110"/>
                      </a:lnTo>
                      <a:lnTo>
                        <a:pt x="63" y="139"/>
                      </a:lnTo>
                      <a:lnTo>
                        <a:pt x="60" y="148"/>
                      </a:lnTo>
                      <a:lnTo>
                        <a:pt x="58" y="157"/>
                      </a:lnTo>
                      <a:lnTo>
                        <a:pt x="57" y="174"/>
                      </a:lnTo>
                      <a:lnTo>
                        <a:pt x="53" y="189"/>
                      </a:lnTo>
                      <a:lnTo>
                        <a:pt x="52" y="196"/>
                      </a:lnTo>
                      <a:lnTo>
                        <a:pt x="50" y="203"/>
                      </a:lnTo>
                      <a:lnTo>
                        <a:pt x="50" y="210"/>
                      </a:lnTo>
                      <a:lnTo>
                        <a:pt x="52" y="217"/>
                      </a:lnTo>
                      <a:lnTo>
                        <a:pt x="54" y="230"/>
                      </a:lnTo>
                      <a:lnTo>
                        <a:pt x="57" y="243"/>
                      </a:lnTo>
                      <a:lnTo>
                        <a:pt x="57" y="250"/>
                      </a:lnTo>
                      <a:lnTo>
                        <a:pt x="55" y="257"/>
                      </a:lnTo>
                      <a:lnTo>
                        <a:pt x="52" y="268"/>
                      </a:lnTo>
                      <a:lnTo>
                        <a:pt x="50" y="274"/>
                      </a:lnTo>
                      <a:lnTo>
                        <a:pt x="49" y="281"/>
                      </a:lnTo>
                      <a:lnTo>
                        <a:pt x="49" y="286"/>
                      </a:lnTo>
                      <a:lnTo>
                        <a:pt x="49" y="291"/>
                      </a:lnTo>
                      <a:lnTo>
                        <a:pt x="50" y="294"/>
                      </a:lnTo>
                      <a:lnTo>
                        <a:pt x="49" y="298"/>
                      </a:lnTo>
                      <a:lnTo>
                        <a:pt x="48" y="302"/>
                      </a:lnTo>
                      <a:lnTo>
                        <a:pt x="45" y="305"/>
                      </a:lnTo>
                      <a:lnTo>
                        <a:pt x="41" y="307"/>
                      </a:lnTo>
                      <a:lnTo>
                        <a:pt x="40" y="309"/>
                      </a:lnTo>
                      <a:lnTo>
                        <a:pt x="38" y="314"/>
                      </a:lnTo>
                      <a:lnTo>
                        <a:pt x="38" y="321"/>
                      </a:lnTo>
                      <a:lnTo>
                        <a:pt x="38" y="330"/>
                      </a:lnTo>
                      <a:lnTo>
                        <a:pt x="41" y="343"/>
                      </a:lnTo>
                      <a:lnTo>
                        <a:pt x="41" y="346"/>
                      </a:lnTo>
                      <a:lnTo>
                        <a:pt x="41" y="349"/>
                      </a:lnTo>
                      <a:lnTo>
                        <a:pt x="40" y="351"/>
                      </a:lnTo>
                      <a:lnTo>
                        <a:pt x="38" y="355"/>
                      </a:lnTo>
                      <a:lnTo>
                        <a:pt x="34" y="360"/>
                      </a:lnTo>
                      <a:lnTo>
                        <a:pt x="30" y="369"/>
                      </a:lnTo>
                      <a:lnTo>
                        <a:pt x="25" y="384"/>
                      </a:lnTo>
                      <a:lnTo>
                        <a:pt x="24" y="392"/>
                      </a:lnTo>
                      <a:lnTo>
                        <a:pt x="22" y="402"/>
                      </a:lnTo>
                      <a:lnTo>
                        <a:pt x="22" y="421"/>
                      </a:lnTo>
                      <a:lnTo>
                        <a:pt x="25" y="440"/>
                      </a:lnTo>
                      <a:lnTo>
                        <a:pt x="27" y="459"/>
                      </a:lnTo>
                      <a:lnTo>
                        <a:pt x="27" y="465"/>
                      </a:lnTo>
                      <a:lnTo>
                        <a:pt x="27" y="471"/>
                      </a:lnTo>
                      <a:lnTo>
                        <a:pt x="29" y="473"/>
                      </a:lnTo>
                      <a:lnTo>
                        <a:pt x="31" y="475"/>
                      </a:lnTo>
                      <a:lnTo>
                        <a:pt x="35" y="479"/>
                      </a:lnTo>
                      <a:lnTo>
                        <a:pt x="36" y="483"/>
                      </a:lnTo>
                      <a:lnTo>
                        <a:pt x="35" y="484"/>
                      </a:lnTo>
                      <a:lnTo>
                        <a:pt x="30" y="487"/>
                      </a:lnTo>
                      <a:lnTo>
                        <a:pt x="29" y="490"/>
                      </a:lnTo>
                      <a:lnTo>
                        <a:pt x="30" y="491"/>
                      </a:lnTo>
                      <a:lnTo>
                        <a:pt x="33" y="494"/>
                      </a:lnTo>
                      <a:lnTo>
                        <a:pt x="34" y="497"/>
                      </a:lnTo>
                      <a:lnTo>
                        <a:pt x="34" y="499"/>
                      </a:lnTo>
                      <a:lnTo>
                        <a:pt x="31" y="504"/>
                      </a:lnTo>
                      <a:lnTo>
                        <a:pt x="30" y="509"/>
                      </a:lnTo>
                      <a:lnTo>
                        <a:pt x="30" y="515"/>
                      </a:lnTo>
                      <a:lnTo>
                        <a:pt x="30" y="519"/>
                      </a:lnTo>
                      <a:lnTo>
                        <a:pt x="30" y="528"/>
                      </a:lnTo>
                      <a:lnTo>
                        <a:pt x="26" y="542"/>
                      </a:lnTo>
                      <a:lnTo>
                        <a:pt x="20" y="555"/>
                      </a:lnTo>
                      <a:lnTo>
                        <a:pt x="19" y="558"/>
                      </a:lnTo>
                      <a:lnTo>
                        <a:pt x="20" y="561"/>
                      </a:lnTo>
                      <a:lnTo>
                        <a:pt x="21" y="566"/>
                      </a:lnTo>
                      <a:lnTo>
                        <a:pt x="21" y="569"/>
                      </a:lnTo>
                      <a:lnTo>
                        <a:pt x="19" y="574"/>
                      </a:lnTo>
                      <a:lnTo>
                        <a:pt x="16" y="577"/>
                      </a:lnTo>
                      <a:lnTo>
                        <a:pt x="13" y="581"/>
                      </a:lnTo>
                      <a:lnTo>
                        <a:pt x="11" y="585"/>
                      </a:lnTo>
                      <a:lnTo>
                        <a:pt x="8" y="593"/>
                      </a:lnTo>
                      <a:lnTo>
                        <a:pt x="5" y="600"/>
                      </a:lnTo>
                      <a:lnTo>
                        <a:pt x="2" y="606"/>
                      </a:lnTo>
                      <a:lnTo>
                        <a:pt x="0" y="612"/>
                      </a:lnTo>
                      <a:lnTo>
                        <a:pt x="1" y="618"/>
                      </a:lnTo>
                      <a:lnTo>
                        <a:pt x="1" y="621"/>
                      </a:lnTo>
                      <a:lnTo>
                        <a:pt x="3" y="622"/>
                      </a:lnTo>
                      <a:lnTo>
                        <a:pt x="8" y="627"/>
                      </a:lnTo>
                      <a:lnTo>
                        <a:pt x="12" y="631"/>
                      </a:lnTo>
                      <a:lnTo>
                        <a:pt x="15" y="636"/>
                      </a:lnTo>
                      <a:lnTo>
                        <a:pt x="16" y="641"/>
                      </a:lnTo>
                      <a:lnTo>
                        <a:pt x="17" y="646"/>
                      </a:lnTo>
                      <a:lnTo>
                        <a:pt x="19" y="651"/>
                      </a:lnTo>
                      <a:lnTo>
                        <a:pt x="20" y="654"/>
                      </a:lnTo>
                      <a:lnTo>
                        <a:pt x="22" y="656"/>
                      </a:lnTo>
                      <a:lnTo>
                        <a:pt x="27" y="658"/>
                      </a:lnTo>
                      <a:lnTo>
                        <a:pt x="34" y="659"/>
                      </a:lnTo>
                      <a:lnTo>
                        <a:pt x="40" y="659"/>
                      </a:lnTo>
                      <a:lnTo>
                        <a:pt x="41" y="660"/>
                      </a:lnTo>
                      <a:lnTo>
                        <a:pt x="60" y="660"/>
                      </a:lnTo>
                      <a:lnTo>
                        <a:pt x="81" y="66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50" name="Freeform 518"/>
                <p:cNvSpPr>
                  <a:spLocks/>
                </p:cNvSpPr>
                <p:nvPr/>
              </p:nvSpPr>
              <p:spPr bwMode="auto">
                <a:xfrm>
                  <a:off x="3344030" y="2265366"/>
                  <a:ext cx="88792" cy="38477"/>
                </a:xfrm>
                <a:custGeom>
                  <a:avLst/>
                  <a:gdLst>
                    <a:gd name="T0" fmla="*/ 2147483647 w 65"/>
                    <a:gd name="T1" fmla="*/ 2147483647 h 26"/>
                    <a:gd name="T2" fmla="*/ 2147483647 w 65"/>
                    <a:gd name="T3" fmla="*/ 2147483647 h 26"/>
                    <a:gd name="T4" fmla="*/ 2147483647 w 65"/>
                    <a:gd name="T5" fmla="*/ 2147483647 h 26"/>
                    <a:gd name="T6" fmla="*/ 2147483647 w 65"/>
                    <a:gd name="T7" fmla="*/ 2147483647 h 26"/>
                    <a:gd name="T8" fmla="*/ 2147483647 w 65"/>
                    <a:gd name="T9" fmla="*/ 2147483647 h 26"/>
                    <a:gd name="T10" fmla="*/ 2147483647 w 65"/>
                    <a:gd name="T11" fmla="*/ 2147483647 h 26"/>
                    <a:gd name="T12" fmla="*/ 2147483647 w 65"/>
                    <a:gd name="T13" fmla="*/ 2147483647 h 26"/>
                    <a:gd name="T14" fmla="*/ 2147483647 w 65"/>
                    <a:gd name="T15" fmla="*/ 2147483647 h 26"/>
                    <a:gd name="T16" fmla="*/ 2147483647 w 65"/>
                    <a:gd name="T17" fmla="*/ 2147483647 h 26"/>
                    <a:gd name="T18" fmla="*/ 2147483647 w 65"/>
                    <a:gd name="T19" fmla="*/ 2147483647 h 26"/>
                    <a:gd name="T20" fmla="*/ 2147483647 w 65"/>
                    <a:gd name="T21" fmla="*/ 2147483647 h 26"/>
                    <a:gd name="T22" fmla="*/ 2147483647 w 65"/>
                    <a:gd name="T23" fmla="*/ 2147483647 h 26"/>
                    <a:gd name="T24" fmla="*/ 2147483647 w 65"/>
                    <a:gd name="T25" fmla="*/ 2147483647 h 26"/>
                    <a:gd name="T26" fmla="*/ 2147483647 w 65"/>
                    <a:gd name="T27" fmla="*/ 2147483647 h 26"/>
                    <a:gd name="T28" fmla="*/ 2147483647 w 65"/>
                    <a:gd name="T29" fmla="*/ 2147483647 h 26"/>
                    <a:gd name="T30" fmla="*/ 2147483647 w 65"/>
                    <a:gd name="T31" fmla="*/ 2147483647 h 26"/>
                    <a:gd name="T32" fmla="*/ 2147483647 w 65"/>
                    <a:gd name="T33" fmla="*/ 2147483647 h 26"/>
                    <a:gd name="T34" fmla="*/ 0 w 65"/>
                    <a:gd name="T35" fmla="*/ 2147483647 h 26"/>
                    <a:gd name="T36" fmla="*/ 2147483647 w 65"/>
                    <a:gd name="T37" fmla="*/ 2147483647 h 26"/>
                    <a:gd name="T38" fmla="*/ 2147483647 w 65"/>
                    <a:gd name="T39" fmla="*/ 2147483647 h 26"/>
                    <a:gd name="T40" fmla="*/ 2147483647 w 65"/>
                    <a:gd name="T41" fmla="*/ 2147483647 h 26"/>
                    <a:gd name="T42" fmla="*/ 2147483647 w 65"/>
                    <a:gd name="T43" fmla="*/ 2147483647 h 26"/>
                    <a:gd name="T44" fmla="*/ 2147483647 w 65"/>
                    <a:gd name="T45" fmla="*/ 2147483647 h 26"/>
                    <a:gd name="T46" fmla="*/ 2147483647 w 65"/>
                    <a:gd name="T47" fmla="*/ 2147483647 h 26"/>
                    <a:gd name="T48" fmla="*/ 2147483647 w 65"/>
                    <a:gd name="T49" fmla="*/ 2147483647 h 26"/>
                    <a:gd name="T50" fmla="*/ 2147483647 w 65"/>
                    <a:gd name="T51" fmla="*/ 2147483647 h 26"/>
                    <a:gd name="T52" fmla="*/ 2147483647 w 65"/>
                    <a:gd name="T53" fmla="*/ 0 h 26"/>
                    <a:gd name="T54" fmla="*/ 2147483647 w 65"/>
                    <a:gd name="T55" fmla="*/ 2147483647 h 26"/>
                    <a:gd name="T56" fmla="*/ 2147483647 w 65"/>
                    <a:gd name="T57" fmla="*/ 2147483647 h 26"/>
                    <a:gd name="T58" fmla="*/ 2147483647 w 65"/>
                    <a:gd name="T59" fmla="*/ 2147483647 h 26"/>
                    <a:gd name="T60" fmla="*/ 2147483647 w 65"/>
                    <a:gd name="T61" fmla="*/ 2147483647 h 26"/>
                    <a:gd name="T62" fmla="*/ 2147483647 w 65"/>
                    <a:gd name="T63" fmla="*/ 2147483647 h 26"/>
                    <a:gd name="T64" fmla="*/ 2147483647 w 65"/>
                    <a:gd name="T65" fmla="*/ 2147483647 h 26"/>
                    <a:gd name="T66" fmla="*/ 2147483647 w 65"/>
                    <a:gd name="T67" fmla="*/ 2147483647 h 26"/>
                    <a:gd name="T68" fmla="*/ 2147483647 w 65"/>
                    <a:gd name="T69" fmla="*/ 2147483647 h 26"/>
                    <a:gd name="T70" fmla="*/ 2147483647 w 65"/>
                    <a:gd name="T71" fmla="*/ 2147483647 h 26"/>
                    <a:gd name="T72" fmla="*/ 2147483647 w 65"/>
                    <a:gd name="T73" fmla="*/ 2147483647 h 2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26"/>
                    <a:gd name="T113" fmla="*/ 65 w 65"/>
                    <a:gd name="T114" fmla="*/ 26 h 2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26">
                      <a:moveTo>
                        <a:pt x="65" y="22"/>
                      </a:moveTo>
                      <a:lnTo>
                        <a:pt x="65" y="23"/>
                      </a:lnTo>
                      <a:lnTo>
                        <a:pt x="64" y="25"/>
                      </a:lnTo>
                      <a:lnTo>
                        <a:pt x="61" y="26"/>
                      </a:lnTo>
                      <a:lnTo>
                        <a:pt x="60" y="26"/>
                      </a:lnTo>
                      <a:lnTo>
                        <a:pt x="55" y="25"/>
                      </a:lnTo>
                      <a:lnTo>
                        <a:pt x="51" y="25"/>
                      </a:lnTo>
                      <a:lnTo>
                        <a:pt x="47" y="25"/>
                      </a:lnTo>
                      <a:lnTo>
                        <a:pt x="43" y="25"/>
                      </a:lnTo>
                      <a:lnTo>
                        <a:pt x="42" y="23"/>
                      </a:lnTo>
                      <a:lnTo>
                        <a:pt x="39" y="21"/>
                      </a:lnTo>
                      <a:lnTo>
                        <a:pt x="37" y="20"/>
                      </a:lnTo>
                      <a:lnTo>
                        <a:pt x="34" y="18"/>
                      </a:lnTo>
                      <a:lnTo>
                        <a:pt x="27" y="14"/>
                      </a:lnTo>
                      <a:lnTo>
                        <a:pt x="19" y="10"/>
                      </a:lnTo>
                      <a:lnTo>
                        <a:pt x="3" y="6"/>
                      </a:lnTo>
                      <a:lnTo>
                        <a:pt x="1" y="4"/>
                      </a:lnTo>
                      <a:lnTo>
                        <a:pt x="0" y="3"/>
                      </a:lnTo>
                      <a:lnTo>
                        <a:pt x="1" y="2"/>
                      </a:lnTo>
                      <a:lnTo>
                        <a:pt x="4" y="1"/>
                      </a:lnTo>
                      <a:lnTo>
                        <a:pt x="6" y="1"/>
                      </a:lnTo>
                      <a:lnTo>
                        <a:pt x="13" y="1"/>
                      </a:lnTo>
                      <a:lnTo>
                        <a:pt x="19" y="2"/>
                      </a:lnTo>
                      <a:lnTo>
                        <a:pt x="22" y="3"/>
                      </a:lnTo>
                      <a:lnTo>
                        <a:pt x="25" y="2"/>
                      </a:lnTo>
                      <a:lnTo>
                        <a:pt x="28" y="1"/>
                      </a:lnTo>
                      <a:lnTo>
                        <a:pt x="30" y="0"/>
                      </a:lnTo>
                      <a:lnTo>
                        <a:pt x="32" y="1"/>
                      </a:lnTo>
                      <a:lnTo>
                        <a:pt x="42" y="8"/>
                      </a:lnTo>
                      <a:lnTo>
                        <a:pt x="48" y="10"/>
                      </a:lnTo>
                      <a:lnTo>
                        <a:pt x="55" y="10"/>
                      </a:lnTo>
                      <a:lnTo>
                        <a:pt x="56" y="12"/>
                      </a:lnTo>
                      <a:lnTo>
                        <a:pt x="57" y="13"/>
                      </a:lnTo>
                      <a:lnTo>
                        <a:pt x="58" y="16"/>
                      </a:lnTo>
                      <a:lnTo>
                        <a:pt x="60" y="19"/>
                      </a:lnTo>
                      <a:lnTo>
                        <a:pt x="61" y="20"/>
                      </a:lnTo>
                      <a:lnTo>
                        <a:pt x="65"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251" name="Freeform 521"/>
                <p:cNvSpPr>
                  <a:spLocks/>
                </p:cNvSpPr>
                <p:nvPr/>
              </p:nvSpPr>
              <p:spPr bwMode="auto">
                <a:xfrm>
                  <a:off x="3338114" y="2289047"/>
                  <a:ext cx="63634" cy="44396"/>
                </a:xfrm>
                <a:custGeom>
                  <a:avLst/>
                  <a:gdLst>
                    <a:gd name="T0" fmla="*/ 2147483647 w 47"/>
                    <a:gd name="T1" fmla="*/ 2147483647 h 30"/>
                    <a:gd name="T2" fmla="*/ 2147483647 w 47"/>
                    <a:gd name="T3" fmla="*/ 2147483647 h 30"/>
                    <a:gd name="T4" fmla="*/ 2147483647 w 47"/>
                    <a:gd name="T5" fmla="*/ 2147483647 h 30"/>
                    <a:gd name="T6" fmla="*/ 2147483647 w 47"/>
                    <a:gd name="T7" fmla="*/ 2147483647 h 30"/>
                    <a:gd name="T8" fmla="*/ 2147483647 w 47"/>
                    <a:gd name="T9" fmla="*/ 2147483647 h 30"/>
                    <a:gd name="T10" fmla="*/ 2147483647 w 47"/>
                    <a:gd name="T11" fmla="*/ 2147483647 h 30"/>
                    <a:gd name="T12" fmla="*/ 2147483647 w 47"/>
                    <a:gd name="T13" fmla="*/ 2147483647 h 30"/>
                    <a:gd name="T14" fmla="*/ 2147483647 w 47"/>
                    <a:gd name="T15" fmla="*/ 2147483647 h 30"/>
                    <a:gd name="T16" fmla="*/ 2147483647 w 47"/>
                    <a:gd name="T17" fmla="*/ 2147483647 h 30"/>
                    <a:gd name="T18" fmla="*/ 2147483647 w 47"/>
                    <a:gd name="T19" fmla="*/ 0 h 30"/>
                    <a:gd name="T20" fmla="*/ 2147483647 w 47"/>
                    <a:gd name="T21" fmla="*/ 0 h 30"/>
                    <a:gd name="T22" fmla="*/ 2147483647 w 47"/>
                    <a:gd name="T23" fmla="*/ 2147483647 h 30"/>
                    <a:gd name="T24" fmla="*/ 2147483647 w 47"/>
                    <a:gd name="T25" fmla="*/ 2147483647 h 30"/>
                    <a:gd name="T26" fmla="*/ 2147483647 w 47"/>
                    <a:gd name="T27" fmla="*/ 2147483647 h 30"/>
                    <a:gd name="T28" fmla="*/ 2147483647 w 47"/>
                    <a:gd name="T29" fmla="*/ 2147483647 h 30"/>
                    <a:gd name="T30" fmla="*/ 2147483647 w 47"/>
                    <a:gd name="T31" fmla="*/ 2147483647 h 30"/>
                    <a:gd name="T32" fmla="*/ 0 w 47"/>
                    <a:gd name="T33" fmla="*/ 2147483647 h 30"/>
                    <a:gd name="T34" fmla="*/ 2147483647 w 47"/>
                    <a:gd name="T35" fmla="*/ 2147483647 h 30"/>
                    <a:gd name="T36" fmla="*/ 2147483647 w 47"/>
                    <a:gd name="T37" fmla="*/ 2147483647 h 30"/>
                    <a:gd name="T38" fmla="*/ 2147483647 w 47"/>
                    <a:gd name="T39" fmla="*/ 2147483647 h 30"/>
                    <a:gd name="T40" fmla="*/ 2147483647 w 47"/>
                    <a:gd name="T41" fmla="*/ 2147483647 h 30"/>
                    <a:gd name="T42" fmla="*/ 2147483647 w 47"/>
                    <a:gd name="T43" fmla="*/ 2147483647 h 30"/>
                    <a:gd name="T44" fmla="*/ 2147483647 w 47"/>
                    <a:gd name="T45" fmla="*/ 2147483647 h 30"/>
                    <a:gd name="T46" fmla="*/ 2147483647 w 47"/>
                    <a:gd name="T47" fmla="*/ 2147483647 h 30"/>
                    <a:gd name="T48" fmla="*/ 2147483647 w 47"/>
                    <a:gd name="T49" fmla="*/ 2147483647 h 30"/>
                    <a:gd name="T50" fmla="*/ 2147483647 w 47"/>
                    <a:gd name="T51" fmla="*/ 2147483647 h 30"/>
                    <a:gd name="T52" fmla="*/ 2147483647 w 47"/>
                    <a:gd name="T53" fmla="*/ 2147483647 h 30"/>
                    <a:gd name="T54" fmla="*/ 2147483647 w 47"/>
                    <a:gd name="T55" fmla="*/ 2147483647 h 30"/>
                    <a:gd name="T56" fmla="*/ 2147483647 w 47"/>
                    <a:gd name="T57" fmla="*/ 2147483647 h 30"/>
                    <a:gd name="T58" fmla="*/ 2147483647 w 47"/>
                    <a:gd name="T59" fmla="*/ 2147483647 h 30"/>
                    <a:gd name="T60" fmla="*/ 2147483647 w 47"/>
                    <a:gd name="T61" fmla="*/ 2147483647 h 30"/>
                    <a:gd name="T62" fmla="*/ 2147483647 w 47"/>
                    <a:gd name="T63" fmla="*/ 2147483647 h 30"/>
                    <a:gd name="T64" fmla="*/ 2147483647 w 47"/>
                    <a:gd name="T65" fmla="*/ 2147483647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
                    <a:gd name="T100" fmla="*/ 0 h 30"/>
                    <a:gd name="T101" fmla="*/ 47 w 47"/>
                    <a:gd name="T102" fmla="*/ 30 h 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 h="30">
                      <a:moveTo>
                        <a:pt x="45" y="19"/>
                      </a:moveTo>
                      <a:lnTo>
                        <a:pt x="40" y="17"/>
                      </a:lnTo>
                      <a:lnTo>
                        <a:pt x="34" y="12"/>
                      </a:lnTo>
                      <a:lnTo>
                        <a:pt x="27" y="5"/>
                      </a:lnTo>
                      <a:lnTo>
                        <a:pt x="24" y="4"/>
                      </a:lnTo>
                      <a:lnTo>
                        <a:pt x="22" y="4"/>
                      </a:lnTo>
                      <a:lnTo>
                        <a:pt x="15" y="4"/>
                      </a:lnTo>
                      <a:lnTo>
                        <a:pt x="14" y="4"/>
                      </a:lnTo>
                      <a:lnTo>
                        <a:pt x="13" y="3"/>
                      </a:lnTo>
                      <a:lnTo>
                        <a:pt x="10" y="0"/>
                      </a:lnTo>
                      <a:lnTo>
                        <a:pt x="8" y="0"/>
                      </a:lnTo>
                      <a:lnTo>
                        <a:pt x="7" y="3"/>
                      </a:lnTo>
                      <a:lnTo>
                        <a:pt x="7" y="5"/>
                      </a:lnTo>
                      <a:lnTo>
                        <a:pt x="7" y="7"/>
                      </a:lnTo>
                      <a:lnTo>
                        <a:pt x="3" y="10"/>
                      </a:lnTo>
                      <a:lnTo>
                        <a:pt x="1" y="11"/>
                      </a:lnTo>
                      <a:lnTo>
                        <a:pt x="0" y="13"/>
                      </a:lnTo>
                      <a:lnTo>
                        <a:pt x="1" y="15"/>
                      </a:lnTo>
                      <a:lnTo>
                        <a:pt x="3" y="16"/>
                      </a:lnTo>
                      <a:lnTo>
                        <a:pt x="4" y="18"/>
                      </a:lnTo>
                      <a:lnTo>
                        <a:pt x="7" y="22"/>
                      </a:lnTo>
                      <a:lnTo>
                        <a:pt x="8" y="24"/>
                      </a:lnTo>
                      <a:lnTo>
                        <a:pt x="10" y="25"/>
                      </a:lnTo>
                      <a:lnTo>
                        <a:pt x="22" y="29"/>
                      </a:lnTo>
                      <a:lnTo>
                        <a:pt x="26" y="30"/>
                      </a:lnTo>
                      <a:lnTo>
                        <a:pt x="31" y="30"/>
                      </a:lnTo>
                      <a:lnTo>
                        <a:pt x="40" y="29"/>
                      </a:lnTo>
                      <a:lnTo>
                        <a:pt x="42" y="29"/>
                      </a:lnTo>
                      <a:lnTo>
                        <a:pt x="45" y="26"/>
                      </a:lnTo>
                      <a:lnTo>
                        <a:pt x="47" y="23"/>
                      </a:lnTo>
                      <a:lnTo>
                        <a:pt x="47" y="22"/>
                      </a:lnTo>
                      <a:lnTo>
                        <a:pt x="46" y="20"/>
                      </a:lnTo>
                      <a:lnTo>
                        <a:pt x="45" y="1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grpSp>
          <p:grpSp>
            <p:nvGrpSpPr>
              <p:cNvPr id="6306" name="Group 6305"/>
              <p:cNvGrpSpPr/>
              <p:nvPr/>
            </p:nvGrpSpPr>
            <p:grpSpPr>
              <a:xfrm>
                <a:off x="447792" y="1624583"/>
                <a:ext cx="5158834" cy="4704514"/>
                <a:chOff x="3927103" y="1624583"/>
                <a:chExt cx="5158834" cy="4704514"/>
              </a:xfrm>
              <a:grpFill/>
            </p:grpSpPr>
            <p:sp>
              <p:nvSpPr>
                <p:cNvPr id="6307" name="Freeform 2"/>
                <p:cNvSpPr>
                  <a:spLocks/>
                </p:cNvSpPr>
                <p:nvPr/>
              </p:nvSpPr>
              <p:spPr bwMode="auto">
                <a:xfrm>
                  <a:off x="5630433" y="4131485"/>
                  <a:ext cx="118390" cy="121349"/>
                </a:xfrm>
                <a:custGeom>
                  <a:avLst/>
                  <a:gdLst>
                    <a:gd name="T0" fmla="*/ 2147483647 w 87"/>
                    <a:gd name="T1" fmla="*/ 0 h 82"/>
                    <a:gd name="T2" fmla="*/ 2147483647 w 87"/>
                    <a:gd name="T3" fmla="*/ 2147483647 h 82"/>
                    <a:gd name="T4" fmla="*/ 2147483647 w 87"/>
                    <a:gd name="T5" fmla="*/ 0 h 82"/>
                    <a:gd name="T6" fmla="*/ 2147483647 w 87"/>
                    <a:gd name="T7" fmla="*/ 0 h 82"/>
                    <a:gd name="T8" fmla="*/ 2147483647 w 87"/>
                    <a:gd name="T9" fmla="*/ 2147483647 h 82"/>
                    <a:gd name="T10" fmla="*/ 2147483647 w 87"/>
                    <a:gd name="T11" fmla="*/ 2147483647 h 82"/>
                    <a:gd name="T12" fmla="*/ 2147483647 w 87"/>
                    <a:gd name="T13" fmla="*/ 2147483647 h 82"/>
                    <a:gd name="T14" fmla="*/ 2147483647 w 87"/>
                    <a:gd name="T15" fmla="*/ 2147483647 h 82"/>
                    <a:gd name="T16" fmla="*/ 2147483647 w 87"/>
                    <a:gd name="T17" fmla="*/ 2147483647 h 82"/>
                    <a:gd name="T18" fmla="*/ 0 w 87"/>
                    <a:gd name="T19" fmla="*/ 2147483647 h 82"/>
                    <a:gd name="T20" fmla="*/ 2147483647 w 87"/>
                    <a:gd name="T21" fmla="*/ 2147483647 h 82"/>
                    <a:gd name="T22" fmla="*/ 2147483647 w 87"/>
                    <a:gd name="T23" fmla="*/ 2147483647 h 82"/>
                    <a:gd name="T24" fmla="*/ 2147483647 w 87"/>
                    <a:gd name="T25" fmla="*/ 2147483647 h 82"/>
                    <a:gd name="T26" fmla="*/ 2147483647 w 87"/>
                    <a:gd name="T27" fmla="*/ 2147483647 h 82"/>
                    <a:gd name="T28" fmla="*/ 2147483647 w 87"/>
                    <a:gd name="T29" fmla="*/ 2147483647 h 82"/>
                    <a:gd name="T30" fmla="*/ 2147483647 w 87"/>
                    <a:gd name="T31" fmla="*/ 2147483647 h 82"/>
                    <a:gd name="T32" fmla="*/ 2147483647 w 87"/>
                    <a:gd name="T33" fmla="*/ 2147483647 h 82"/>
                    <a:gd name="T34" fmla="*/ 2147483647 w 87"/>
                    <a:gd name="T35" fmla="*/ 2147483647 h 82"/>
                    <a:gd name="T36" fmla="*/ 2147483647 w 87"/>
                    <a:gd name="T37" fmla="*/ 2147483647 h 82"/>
                    <a:gd name="T38" fmla="*/ 2147483647 w 87"/>
                    <a:gd name="T39" fmla="*/ 2147483647 h 82"/>
                    <a:gd name="T40" fmla="*/ 2147483647 w 87"/>
                    <a:gd name="T41" fmla="*/ 2147483647 h 82"/>
                    <a:gd name="T42" fmla="*/ 2147483647 w 87"/>
                    <a:gd name="T43" fmla="*/ 2147483647 h 82"/>
                    <a:gd name="T44" fmla="*/ 2147483647 w 87"/>
                    <a:gd name="T45" fmla="*/ 2147483647 h 82"/>
                    <a:gd name="T46" fmla="*/ 2147483647 w 87"/>
                    <a:gd name="T47" fmla="*/ 2147483647 h 82"/>
                    <a:gd name="T48" fmla="*/ 2147483647 w 87"/>
                    <a:gd name="T49" fmla="*/ 2147483647 h 82"/>
                    <a:gd name="T50" fmla="*/ 2147483647 w 87"/>
                    <a:gd name="T51" fmla="*/ 2147483647 h 82"/>
                    <a:gd name="T52" fmla="*/ 2147483647 w 87"/>
                    <a:gd name="T53" fmla="*/ 2147483647 h 82"/>
                    <a:gd name="T54" fmla="*/ 2147483647 w 87"/>
                    <a:gd name="T55" fmla="*/ 2147483647 h 82"/>
                    <a:gd name="T56" fmla="*/ 2147483647 w 87"/>
                    <a:gd name="T57" fmla="*/ 2147483647 h 82"/>
                    <a:gd name="T58" fmla="*/ 2147483647 w 87"/>
                    <a:gd name="T59" fmla="*/ 2147483647 h 82"/>
                    <a:gd name="T60" fmla="*/ 2147483647 w 87"/>
                    <a:gd name="T61" fmla="*/ 2147483647 h 82"/>
                    <a:gd name="T62" fmla="*/ 2147483647 w 87"/>
                    <a:gd name="T63" fmla="*/ 2147483647 h 82"/>
                    <a:gd name="T64" fmla="*/ 2147483647 w 87"/>
                    <a:gd name="T65" fmla="*/ 2147483647 h 82"/>
                    <a:gd name="T66" fmla="*/ 2147483647 w 87"/>
                    <a:gd name="T67" fmla="*/ 2147483647 h 82"/>
                    <a:gd name="T68" fmla="*/ 2147483647 w 87"/>
                    <a:gd name="T69" fmla="*/ 2147483647 h 82"/>
                    <a:gd name="T70" fmla="*/ 2147483647 w 87"/>
                    <a:gd name="T71" fmla="*/ 2147483647 h 82"/>
                    <a:gd name="T72" fmla="*/ 2147483647 w 87"/>
                    <a:gd name="T73" fmla="*/ 2147483647 h 82"/>
                    <a:gd name="T74" fmla="*/ 2147483647 w 87"/>
                    <a:gd name="T75" fmla="*/ 2147483647 h 82"/>
                    <a:gd name="T76" fmla="*/ 2147483647 w 87"/>
                    <a:gd name="T77" fmla="*/ 2147483647 h 82"/>
                    <a:gd name="T78" fmla="*/ 2147483647 w 87"/>
                    <a:gd name="T79" fmla="*/ 2147483647 h 82"/>
                    <a:gd name="T80" fmla="*/ 2147483647 w 87"/>
                    <a:gd name="T81" fmla="*/ 2147483647 h 82"/>
                    <a:gd name="T82" fmla="*/ 2147483647 w 87"/>
                    <a:gd name="T83" fmla="*/ 2147483647 h 82"/>
                    <a:gd name="T84" fmla="*/ 2147483647 w 87"/>
                    <a:gd name="T85" fmla="*/ 2147483647 h 82"/>
                    <a:gd name="T86" fmla="*/ 2147483647 w 87"/>
                    <a:gd name="T87" fmla="*/ 2147483647 h 82"/>
                    <a:gd name="T88" fmla="*/ 2147483647 w 87"/>
                    <a:gd name="T89" fmla="*/ 2147483647 h 82"/>
                    <a:gd name="T90" fmla="*/ 2147483647 w 87"/>
                    <a:gd name="T91" fmla="*/ 2147483647 h 82"/>
                    <a:gd name="T92" fmla="*/ 2147483647 w 87"/>
                    <a:gd name="T93" fmla="*/ 2147483647 h 82"/>
                    <a:gd name="T94" fmla="*/ 2147483647 w 87"/>
                    <a:gd name="T95" fmla="*/ 2147483647 h 82"/>
                    <a:gd name="T96" fmla="*/ 2147483647 w 87"/>
                    <a:gd name="T97" fmla="*/ 2147483647 h 82"/>
                    <a:gd name="T98" fmla="*/ 2147483647 w 87"/>
                    <a:gd name="T99" fmla="*/ 2147483647 h 82"/>
                    <a:gd name="T100" fmla="*/ 2147483647 w 87"/>
                    <a:gd name="T101" fmla="*/ 2147483647 h 82"/>
                    <a:gd name="T102" fmla="*/ 2147483647 w 87"/>
                    <a:gd name="T103" fmla="*/ 2147483647 h 82"/>
                    <a:gd name="T104" fmla="*/ 2147483647 w 87"/>
                    <a:gd name="T105" fmla="*/ 2147483647 h 82"/>
                    <a:gd name="T106" fmla="*/ 2147483647 w 87"/>
                    <a:gd name="T107" fmla="*/ 0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
                    <a:gd name="T163" fmla="*/ 0 h 82"/>
                    <a:gd name="T164" fmla="*/ 87 w 87"/>
                    <a:gd name="T165" fmla="*/ 82 h 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 h="82">
                      <a:moveTo>
                        <a:pt x="87" y="0"/>
                      </a:moveTo>
                      <a:lnTo>
                        <a:pt x="72" y="1"/>
                      </a:lnTo>
                      <a:lnTo>
                        <a:pt x="58" y="0"/>
                      </a:lnTo>
                      <a:lnTo>
                        <a:pt x="43" y="0"/>
                      </a:lnTo>
                      <a:lnTo>
                        <a:pt x="26" y="1"/>
                      </a:lnTo>
                      <a:lnTo>
                        <a:pt x="20" y="1"/>
                      </a:lnTo>
                      <a:lnTo>
                        <a:pt x="12" y="1"/>
                      </a:lnTo>
                      <a:lnTo>
                        <a:pt x="5" y="1"/>
                      </a:lnTo>
                      <a:lnTo>
                        <a:pt x="2" y="3"/>
                      </a:lnTo>
                      <a:lnTo>
                        <a:pt x="0" y="5"/>
                      </a:lnTo>
                      <a:lnTo>
                        <a:pt x="3" y="12"/>
                      </a:lnTo>
                      <a:lnTo>
                        <a:pt x="5" y="14"/>
                      </a:lnTo>
                      <a:lnTo>
                        <a:pt x="5" y="17"/>
                      </a:lnTo>
                      <a:lnTo>
                        <a:pt x="3" y="22"/>
                      </a:lnTo>
                      <a:lnTo>
                        <a:pt x="2" y="27"/>
                      </a:lnTo>
                      <a:lnTo>
                        <a:pt x="1" y="32"/>
                      </a:lnTo>
                      <a:lnTo>
                        <a:pt x="1" y="36"/>
                      </a:lnTo>
                      <a:lnTo>
                        <a:pt x="2" y="38"/>
                      </a:lnTo>
                      <a:lnTo>
                        <a:pt x="5" y="44"/>
                      </a:lnTo>
                      <a:lnTo>
                        <a:pt x="6" y="50"/>
                      </a:lnTo>
                      <a:lnTo>
                        <a:pt x="9" y="63"/>
                      </a:lnTo>
                      <a:lnTo>
                        <a:pt x="10" y="68"/>
                      </a:lnTo>
                      <a:lnTo>
                        <a:pt x="11" y="71"/>
                      </a:lnTo>
                      <a:lnTo>
                        <a:pt x="11" y="77"/>
                      </a:lnTo>
                      <a:lnTo>
                        <a:pt x="12" y="82"/>
                      </a:lnTo>
                      <a:lnTo>
                        <a:pt x="17" y="77"/>
                      </a:lnTo>
                      <a:lnTo>
                        <a:pt x="20" y="75"/>
                      </a:lnTo>
                      <a:lnTo>
                        <a:pt x="24" y="74"/>
                      </a:lnTo>
                      <a:lnTo>
                        <a:pt x="26" y="72"/>
                      </a:lnTo>
                      <a:lnTo>
                        <a:pt x="28" y="71"/>
                      </a:lnTo>
                      <a:lnTo>
                        <a:pt x="29" y="68"/>
                      </a:lnTo>
                      <a:lnTo>
                        <a:pt x="31" y="63"/>
                      </a:lnTo>
                      <a:lnTo>
                        <a:pt x="35" y="59"/>
                      </a:lnTo>
                      <a:lnTo>
                        <a:pt x="39" y="57"/>
                      </a:lnTo>
                      <a:lnTo>
                        <a:pt x="47" y="57"/>
                      </a:lnTo>
                      <a:lnTo>
                        <a:pt x="54" y="58"/>
                      </a:lnTo>
                      <a:lnTo>
                        <a:pt x="57" y="58"/>
                      </a:lnTo>
                      <a:lnTo>
                        <a:pt x="59" y="58"/>
                      </a:lnTo>
                      <a:lnTo>
                        <a:pt x="62" y="57"/>
                      </a:lnTo>
                      <a:lnTo>
                        <a:pt x="63" y="55"/>
                      </a:lnTo>
                      <a:lnTo>
                        <a:pt x="66" y="50"/>
                      </a:lnTo>
                      <a:lnTo>
                        <a:pt x="66" y="48"/>
                      </a:lnTo>
                      <a:lnTo>
                        <a:pt x="63" y="48"/>
                      </a:lnTo>
                      <a:lnTo>
                        <a:pt x="57" y="49"/>
                      </a:lnTo>
                      <a:lnTo>
                        <a:pt x="54" y="49"/>
                      </a:lnTo>
                      <a:lnTo>
                        <a:pt x="52" y="48"/>
                      </a:lnTo>
                      <a:lnTo>
                        <a:pt x="52" y="44"/>
                      </a:lnTo>
                      <a:lnTo>
                        <a:pt x="52" y="42"/>
                      </a:lnTo>
                      <a:lnTo>
                        <a:pt x="54" y="39"/>
                      </a:lnTo>
                      <a:lnTo>
                        <a:pt x="57" y="37"/>
                      </a:lnTo>
                      <a:lnTo>
                        <a:pt x="62" y="32"/>
                      </a:lnTo>
                      <a:lnTo>
                        <a:pt x="66" y="27"/>
                      </a:lnTo>
                      <a:lnTo>
                        <a:pt x="76" y="13"/>
                      </a:lnTo>
                      <a:lnTo>
                        <a:pt x="87"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8" name="Freeform 3"/>
                <p:cNvSpPr>
                  <a:spLocks/>
                </p:cNvSpPr>
                <p:nvPr/>
              </p:nvSpPr>
              <p:spPr bwMode="auto">
                <a:xfrm>
                  <a:off x="5646712" y="4088567"/>
                  <a:ext cx="217541" cy="174626"/>
                </a:xfrm>
                <a:custGeom>
                  <a:avLst/>
                  <a:gdLst>
                    <a:gd name="T0" fmla="*/ 2147483647 w 159"/>
                    <a:gd name="T1" fmla="*/ 2147483647 h 118"/>
                    <a:gd name="T2" fmla="*/ 2147483647 w 159"/>
                    <a:gd name="T3" fmla="*/ 2147483647 h 118"/>
                    <a:gd name="T4" fmla="*/ 2147483647 w 159"/>
                    <a:gd name="T5" fmla="*/ 2147483647 h 118"/>
                    <a:gd name="T6" fmla="*/ 2147483647 w 159"/>
                    <a:gd name="T7" fmla="*/ 0 h 118"/>
                    <a:gd name="T8" fmla="*/ 2147483647 w 159"/>
                    <a:gd name="T9" fmla="*/ 2147483647 h 118"/>
                    <a:gd name="T10" fmla="*/ 2147483647 w 159"/>
                    <a:gd name="T11" fmla="*/ 2147483647 h 118"/>
                    <a:gd name="T12" fmla="*/ 2147483647 w 159"/>
                    <a:gd name="T13" fmla="*/ 2147483647 h 118"/>
                    <a:gd name="T14" fmla="*/ 2147483647 w 159"/>
                    <a:gd name="T15" fmla="*/ 2147483647 h 118"/>
                    <a:gd name="T16" fmla="*/ 2147483647 w 159"/>
                    <a:gd name="T17" fmla="*/ 2147483647 h 118"/>
                    <a:gd name="T18" fmla="*/ 2147483647 w 159"/>
                    <a:gd name="T19" fmla="*/ 2147483647 h 118"/>
                    <a:gd name="T20" fmla="*/ 2147483647 w 159"/>
                    <a:gd name="T21" fmla="*/ 2147483647 h 118"/>
                    <a:gd name="T22" fmla="*/ 2147483647 w 159"/>
                    <a:gd name="T23" fmla="*/ 2147483647 h 118"/>
                    <a:gd name="T24" fmla="*/ 2147483647 w 159"/>
                    <a:gd name="T25" fmla="*/ 2147483647 h 118"/>
                    <a:gd name="T26" fmla="*/ 2147483647 w 159"/>
                    <a:gd name="T27" fmla="*/ 2147483647 h 118"/>
                    <a:gd name="T28" fmla="*/ 2147483647 w 159"/>
                    <a:gd name="T29" fmla="*/ 2147483647 h 118"/>
                    <a:gd name="T30" fmla="*/ 2147483647 w 159"/>
                    <a:gd name="T31" fmla="*/ 2147483647 h 118"/>
                    <a:gd name="T32" fmla="*/ 2147483647 w 159"/>
                    <a:gd name="T33" fmla="*/ 2147483647 h 118"/>
                    <a:gd name="T34" fmla="*/ 2147483647 w 159"/>
                    <a:gd name="T35" fmla="*/ 2147483647 h 118"/>
                    <a:gd name="T36" fmla="*/ 0 w 159"/>
                    <a:gd name="T37" fmla="*/ 2147483647 h 118"/>
                    <a:gd name="T38" fmla="*/ 2147483647 w 159"/>
                    <a:gd name="T39" fmla="*/ 2147483647 h 118"/>
                    <a:gd name="T40" fmla="*/ 2147483647 w 159"/>
                    <a:gd name="T41" fmla="*/ 2147483647 h 118"/>
                    <a:gd name="T42" fmla="*/ 2147483647 w 159"/>
                    <a:gd name="T43" fmla="*/ 2147483647 h 118"/>
                    <a:gd name="T44" fmla="*/ 2147483647 w 159"/>
                    <a:gd name="T45" fmla="*/ 2147483647 h 118"/>
                    <a:gd name="T46" fmla="*/ 2147483647 w 159"/>
                    <a:gd name="T47" fmla="*/ 2147483647 h 118"/>
                    <a:gd name="T48" fmla="*/ 2147483647 w 159"/>
                    <a:gd name="T49" fmla="*/ 2147483647 h 118"/>
                    <a:gd name="T50" fmla="*/ 2147483647 w 159"/>
                    <a:gd name="T51" fmla="*/ 2147483647 h 118"/>
                    <a:gd name="T52" fmla="*/ 2147483647 w 159"/>
                    <a:gd name="T53" fmla="*/ 2147483647 h 118"/>
                    <a:gd name="T54" fmla="*/ 2147483647 w 159"/>
                    <a:gd name="T55" fmla="*/ 2147483647 h 118"/>
                    <a:gd name="T56" fmla="*/ 2147483647 w 159"/>
                    <a:gd name="T57" fmla="*/ 2147483647 h 118"/>
                    <a:gd name="T58" fmla="*/ 2147483647 w 159"/>
                    <a:gd name="T59" fmla="*/ 2147483647 h 118"/>
                    <a:gd name="T60" fmla="*/ 2147483647 w 159"/>
                    <a:gd name="T61" fmla="*/ 2147483647 h 118"/>
                    <a:gd name="T62" fmla="*/ 2147483647 w 159"/>
                    <a:gd name="T63" fmla="*/ 2147483647 h 118"/>
                    <a:gd name="T64" fmla="*/ 2147483647 w 159"/>
                    <a:gd name="T65" fmla="*/ 2147483647 h 118"/>
                    <a:gd name="T66" fmla="*/ 2147483647 w 159"/>
                    <a:gd name="T67" fmla="*/ 2147483647 h 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9"/>
                    <a:gd name="T103" fmla="*/ 0 h 118"/>
                    <a:gd name="T104" fmla="*/ 159 w 159"/>
                    <a:gd name="T105" fmla="*/ 118 h 1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9" h="118">
                      <a:moveTo>
                        <a:pt x="75" y="29"/>
                      </a:moveTo>
                      <a:lnTo>
                        <a:pt x="79" y="26"/>
                      </a:lnTo>
                      <a:lnTo>
                        <a:pt x="82" y="22"/>
                      </a:lnTo>
                      <a:lnTo>
                        <a:pt x="83" y="19"/>
                      </a:lnTo>
                      <a:lnTo>
                        <a:pt x="84" y="15"/>
                      </a:lnTo>
                      <a:lnTo>
                        <a:pt x="85" y="13"/>
                      </a:lnTo>
                      <a:lnTo>
                        <a:pt x="107" y="7"/>
                      </a:lnTo>
                      <a:lnTo>
                        <a:pt x="130" y="0"/>
                      </a:lnTo>
                      <a:lnTo>
                        <a:pt x="144" y="20"/>
                      </a:lnTo>
                      <a:lnTo>
                        <a:pt x="150" y="30"/>
                      </a:lnTo>
                      <a:lnTo>
                        <a:pt x="159" y="39"/>
                      </a:lnTo>
                      <a:lnTo>
                        <a:pt x="153" y="45"/>
                      </a:lnTo>
                      <a:lnTo>
                        <a:pt x="150" y="47"/>
                      </a:lnTo>
                      <a:lnTo>
                        <a:pt x="146" y="49"/>
                      </a:lnTo>
                      <a:lnTo>
                        <a:pt x="138" y="55"/>
                      </a:lnTo>
                      <a:lnTo>
                        <a:pt x="131" y="61"/>
                      </a:lnTo>
                      <a:lnTo>
                        <a:pt x="116" y="74"/>
                      </a:lnTo>
                      <a:lnTo>
                        <a:pt x="112" y="75"/>
                      </a:lnTo>
                      <a:lnTo>
                        <a:pt x="110" y="77"/>
                      </a:lnTo>
                      <a:lnTo>
                        <a:pt x="102" y="79"/>
                      </a:lnTo>
                      <a:lnTo>
                        <a:pt x="98" y="81"/>
                      </a:lnTo>
                      <a:lnTo>
                        <a:pt x="94" y="84"/>
                      </a:lnTo>
                      <a:lnTo>
                        <a:pt x="85" y="91"/>
                      </a:lnTo>
                      <a:lnTo>
                        <a:pt x="82" y="93"/>
                      </a:lnTo>
                      <a:lnTo>
                        <a:pt x="78" y="94"/>
                      </a:lnTo>
                      <a:lnTo>
                        <a:pt x="70" y="96"/>
                      </a:lnTo>
                      <a:lnTo>
                        <a:pt x="63" y="99"/>
                      </a:lnTo>
                      <a:lnTo>
                        <a:pt x="55" y="104"/>
                      </a:lnTo>
                      <a:lnTo>
                        <a:pt x="51" y="105"/>
                      </a:lnTo>
                      <a:lnTo>
                        <a:pt x="49" y="106"/>
                      </a:lnTo>
                      <a:lnTo>
                        <a:pt x="42" y="106"/>
                      </a:lnTo>
                      <a:lnTo>
                        <a:pt x="26" y="110"/>
                      </a:lnTo>
                      <a:lnTo>
                        <a:pt x="18" y="113"/>
                      </a:lnTo>
                      <a:lnTo>
                        <a:pt x="11" y="117"/>
                      </a:lnTo>
                      <a:lnTo>
                        <a:pt x="8" y="118"/>
                      </a:lnTo>
                      <a:lnTo>
                        <a:pt x="5" y="118"/>
                      </a:lnTo>
                      <a:lnTo>
                        <a:pt x="3" y="117"/>
                      </a:lnTo>
                      <a:lnTo>
                        <a:pt x="0" y="115"/>
                      </a:lnTo>
                      <a:lnTo>
                        <a:pt x="0" y="111"/>
                      </a:lnTo>
                      <a:lnTo>
                        <a:pt x="5" y="106"/>
                      </a:lnTo>
                      <a:lnTo>
                        <a:pt x="8" y="104"/>
                      </a:lnTo>
                      <a:lnTo>
                        <a:pt x="12" y="103"/>
                      </a:lnTo>
                      <a:lnTo>
                        <a:pt x="14" y="101"/>
                      </a:lnTo>
                      <a:lnTo>
                        <a:pt x="16" y="100"/>
                      </a:lnTo>
                      <a:lnTo>
                        <a:pt x="17" y="97"/>
                      </a:lnTo>
                      <a:lnTo>
                        <a:pt x="19" y="92"/>
                      </a:lnTo>
                      <a:lnTo>
                        <a:pt x="23" y="88"/>
                      </a:lnTo>
                      <a:lnTo>
                        <a:pt x="27" y="86"/>
                      </a:lnTo>
                      <a:lnTo>
                        <a:pt x="35" y="86"/>
                      </a:lnTo>
                      <a:lnTo>
                        <a:pt x="42" y="87"/>
                      </a:lnTo>
                      <a:lnTo>
                        <a:pt x="45" y="87"/>
                      </a:lnTo>
                      <a:lnTo>
                        <a:pt x="47" y="87"/>
                      </a:lnTo>
                      <a:lnTo>
                        <a:pt x="50" y="86"/>
                      </a:lnTo>
                      <a:lnTo>
                        <a:pt x="51" y="84"/>
                      </a:lnTo>
                      <a:lnTo>
                        <a:pt x="54" y="79"/>
                      </a:lnTo>
                      <a:lnTo>
                        <a:pt x="54" y="77"/>
                      </a:lnTo>
                      <a:lnTo>
                        <a:pt x="51" y="77"/>
                      </a:lnTo>
                      <a:lnTo>
                        <a:pt x="45" y="78"/>
                      </a:lnTo>
                      <a:lnTo>
                        <a:pt x="42" y="78"/>
                      </a:lnTo>
                      <a:lnTo>
                        <a:pt x="40" y="77"/>
                      </a:lnTo>
                      <a:lnTo>
                        <a:pt x="40" y="73"/>
                      </a:lnTo>
                      <a:lnTo>
                        <a:pt x="40" y="71"/>
                      </a:lnTo>
                      <a:lnTo>
                        <a:pt x="42" y="68"/>
                      </a:lnTo>
                      <a:lnTo>
                        <a:pt x="45" y="66"/>
                      </a:lnTo>
                      <a:lnTo>
                        <a:pt x="50" y="61"/>
                      </a:lnTo>
                      <a:lnTo>
                        <a:pt x="54" y="56"/>
                      </a:lnTo>
                      <a:lnTo>
                        <a:pt x="64" y="42"/>
                      </a:lnTo>
                      <a:lnTo>
                        <a:pt x="75" y="2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9" name="Freeform 4"/>
                <p:cNvSpPr>
                  <a:spLocks/>
                </p:cNvSpPr>
                <p:nvPr/>
              </p:nvSpPr>
              <p:spPr bwMode="auto">
                <a:xfrm>
                  <a:off x="5395133" y="4896577"/>
                  <a:ext cx="76953" cy="224941"/>
                </a:xfrm>
                <a:custGeom>
                  <a:avLst/>
                  <a:gdLst>
                    <a:gd name="T0" fmla="*/ 2147483647 w 56"/>
                    <a:gd name="T1" fmla="*/ 2147483647 h 152"/>
                    <a:gd name="T2" fmla="*/ 2147483647 w 56"/>
                    <a:gd name="T3" fmla="*/ 2147483647 h 152"/>
                    <a:gd name="T4" fmla="*/ 2147483647 w 56"/>
                    <a:gd name="T5" fmla="*/ 2147483647 h 152"/>
                    <a:gd name="T6" fmla="*/ 2147483647 w 56"/>
                    <a:gd name="T7" fmla="*/ 2147483647 h 152"/>
                    <a:gd name="T8" fmla="*/ 2147483647 w 56"/>
                    <a:gd name="T9" fmla="*/ 2147483647 h 152"/>
                    <a:gd name="T10" fmla="*/ 2147483647 w 56"/>
                    <a:gd name="T11" fmla="*/ 2147483647 h 152"/>
                    <a:gd name="T12" fmla="*/ 2147483647 w 56"/>
                    <a:gd name="T13" fmla="*/ 2147483647 h 152"/>
                    <a:gd name="T14" fmla="*/ 2147483647 w 56"/>
                    <a:gd name="T15" fmla="*/ 2147483647 h 152"/>
                    <a:gd name="T16" fmla="*/ 2147483647 w 56"/>
                    <a:gd name="T17" fmla="*/ 2147483647 h 152"/>
                    <a:gd name="T18" fmla="*/ 2147483647 w 56"/>
                    <a:gd name="T19" fmla="*/ 2147483647 h 152"/>
                    <a:gd name="T20" fmla="*/ 2147483647 w 56"/>
                    <a:gd name="T21" fmla="*/ 2147483647 h 152"/>
                    <a:gd name="T22" fmla="*/ 2147483647 w 56"/>
                    <a:gd name="T23" fmla="*/ 2147483647 h 152"/>
                    <a:gd name="T24" fmla="*/ 2147483647 w 56"/>
                    <a:gd name="T25" fmla="*/ 2147483647 h 152"/>
                    <a:gd name="T26" fmla="*/ 2147483647 w 56"/>
                    <a:gd name="T27" fmla="*/ 2147483647 h 152"/>
                    <a:gd name="T28" fmla="*/ 2147483647 w 56"/>
                    <a:gd name="T29" fmla="*/ 2147483647 h 152"/>
                    <a:gd name="T30" fmla="*/ 2147483647 w 56"/>
                    <a:gd name="T31" fmla="*/ 2147483647 h 152"/>
                    <a:gd name="T32" fmla="*/ 2147483647 w 56"/>
                    <a:gd name="T33" fmla="*/ 2147483647 h 152"/>
                    <a:gd name="T34" fmla="*/ 2147483647 w 56"/>
                    <a:gd name="T35" fmla="*/ 2147483647 h 152"/>
                    <a:gd name="T36" fmla="*/ 2147483647 w 56"/>
                    <a:gd name="T37" fmla="*/ 2147483647 h 152"/>
                    <a:gd name="T38" fmla="*/ 0 w 56"/>
                    <a:gd name="T39" fmla="*/ 2147483647 h 152"/>
                    <a:gd name="T40" fmla="*/ 2147483647 w 56"/>
                    <a:gd name="T41" fmla="*/ 2147483647 h 152"/>
                    <a:gd name="T42" fmla="*/ 2147483647 w 56"/>
                    <a:gd name="T43" fmla="*/ 2147483647 h 152"/>
                    <a:gd name="T44" fmla="*/ 2147483647 w 56"/>
                    <a:gd name="T45" fmla="*/ 2147483647 h 152"/>
                    <a:gd name="T46" fmla="*/ 2147483647 w 56"/>
                    <a:gd name="T47" fmla="*/ 2147483647 h 152"/>
                    <a:gd name="T48" fmla="*/ 2147483647 w 56"/>
                    <a:gd name="T49" fmla="*/ 2147483647 h 152"/>
                    <a:gd name="T50" fmla="*/ 2147483647 w 56"/>
                    <a:gd name="T51" fmla="*/ 2147483647 h 152"/>
                    <a:gd name="T52" fmla="*/ 2147483647 w 56"/>
                    <a:gd name="T53" fmla="*/ 0 h 152"/>
                    <a:gd name="T54" fmla="*/ 2147483647 w 56"/>
                    <a:gd name="T55" fmla="*/ 2147483647 h 152"/>
                    <a:gd name="T56" fmla="*/ 2147483647 w 56"/>
                    <a:gd name="T57" fmla="*/ 2147483647 h 152"/>
                    <a:gd name="T58" fmla="*/ 2147483647 w 56"/>
                    <a:gd name="T59" fmla="*/ 0 h 152"/>
                    <a:gd name="T60" fmla="*/ 2147483647 w 56"/>
                    <a:gd name="T61" fmla="*/ 2147483647 h 152"/>
                    <a:gd name="T62" fmla="*/ 2147483647 w 56"/>
                    <a:gd name="T63" fmla="*/ 2147483647 h 152"/>
                    <a:gd name="T64" fmla="*/ 2147483647 w 56"/>
                    <a:gd name="T65" fmla="*/ 2147483647 h 152"/>
                    <a:gd name="T66" fmla="*/ 2147483647 w 56"/>
                    <a:gd name="T67" fmla="*/ 2147483647 h 152"/>
                    <a:gd name="T68" fmla="*/ 2147483647 w 56"/>
                    <a:gd name="T69" fmla="*/ 2147483647 h 152"/>
                    <a:gd name="T70" fmla="*/ 2147483647 w 56"/>
                    <a:gd name="T71" fmla="*/ 2147483647 h 152"/>
                    <a:gd name="T72" fmla="*/ 2147483647 w 56"/>
                    <a:gd name="T73" fmla="*/ 2147483647 h 1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
                    <a:gd name="T112" fmla="*/ 0 h 152"/>
                    <a:gd name="T113" fmla="*/ 56 w 56"/>
                    <a:gd name="T114" fmla="*/ 152 h 1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 h="152">
                      <a:moveTo>
                        <a:pt x="40" y="77"/>
                      </a:moveTo>
                      <a:lnTo>
                        <a:pt x="45" y="80"/>
                      </a:lnTo>
                      <a:lnTo>
                        <a:pt x="50" y="84"/>
                      </a:lnTo>
                      <a:lnTo>
                        <a:pt x="54" y="90"/>
                      </a:lnTo>
                      <a:lnTo>
                        <a:pt x="55" y="93"/>
                      </a:lnTo>
                      <a:lnTo>
                        <a:pt x="56" y="95"/>
                      </a:lnTo>
                      <a:lnTo>
                        <a:pt x="56" y="101"/>
                      </a:lnTo>
                      <a:lnTo>
                        <a:pt x="55" y="108"/>
                      </a:lnTo>
                      <a:lnTo>
                        <a:pt x="52" y="115"/>
                      </a:lnTo>
                      <a:lnTo>
                        <a:pt x="48" y="122"/>
                      </a:lnTo>
                      <a:lnTo>
                        <a:pt x="47" y="130"/>
                      </a:lnTo>
                      <a:lnTo>
                        <a:pt x="47" y="139"/>
                      </a:lnTo>
                      <a:lnTo>
                        <a:pt x="47" y="147"/>
                      </a:lnTo>
                      <a:lnTo>
                        <a:pt x="47" y="149"/>
                      </a:lnTo>
                      <a:lnTo>
                        <a:pt x="45" y="152"/>
                      </a:lnTo>
                      <a:lnTo>
                        <a:pt x="42" y="152"/>
                      </a:lnTo>
                      <a:lnTo>
                        <a:pt x="41" y="151"/>
                      </a:lnTo>
                      <a:lnTo>
                        <a:pt x="38" y="148"/>
                      </a:lnTo>
                      <a:lnTo>
                        <a:pt x="33" y="138"/>
                      </a:lnTo>
                      <a:lnTo>
                        <a:pt x="29" y="133"/>
                      </a:lnTo>
                      <a:lnTo>
                        <a:pt x="23" y="129"/>
                      </a:lnTo>
                      <a:lnTo>
                        <a:pt x="22" y="128"/>
                      </a:lnTo>
                      <a:lnTo>
                        <a:pt x="21" y="127"/>
                      </a:lnTo>
                      <a:lnTo>
                        <a:pt x="21" y="122"/>
                      </a:lnTo>
                      <a:lnTo>
                        <a:pt x="24" y="113"/>
                      </a:lnTo>
                      <a:lnTo>
                        <a:pt x="27" y="109"/>
                      </a:lnTo>
                      <a:lnTo>
                        <a:pt x="28" y="106"/>
                      </a:lnTo>
                      <a:lnTo>
                        <a:pt x="28" y="103"/>
                      </a:lnTo>
                      <a:lnTo>
                        <a:pt x="27" y="102"/>
                      </a:lnTo>
                      <a:lnTo>
                        <a:pt x="23" y="98"/>
                      </a:lnTo>
                      <a:lnTo>
                        <a:pt x="19" y="98"/>
                      </a:lnTo>
                      <a:lnTo>
                        <a:pt x="15" y="98"/>
                      </a:lnTo>
                      <a:lnTo>
                        <a:pt x="10" y="100"/>
                      </a:lnTo>
                      <a:lnTo>
                        <a:pt x="7" y="100"/>
                      </a:lnTo>
                      <a:lnTo>
                        <a:pt x="5" y="98"/>
                      </a:lnTo>
                      <a:lnTo>
                        <a:pt x="4" y="97"/>
                      </a:lnTo>
                      <a:lnTo>
                        <a:pt x="3" y="94"/>
                      </a:lnTo>
                      <a:lnTo>
                        <a:pt x="2" y="89"/>
                      </a:lnTo>
                      <a:lnTo>
                        <a:pt x="0" y="84"/>
                      </a:lnTo>
                      <a:lnTo>
                        <a:pt x="0" y="81"/>
                      </a:lnTo>
                      <a:lnTo>
                        <a:pt x="2" y="78"/>
                      </a:lnTo>
                      <a:lnTo>
                        <a:pt x="4" y="75"/>
                      </a:lnTo>
                      <a:lnTo>
                        <a:pt x="8" y="71"/>
                      </a:lnTo>
                      <a:lnTo>
                        <a:pt x="12" y="68"/>
                      </a:lnTo>
                      <a:lnTo>
                        <a:pt x="13" y="65"/>
                      </a:lnTo>
                      <a:lnTo>
                        <a:pt x="13" y="63"/>
                      </a:lnTo>
                      <a:lnTo>
                        <a:pt x="10" y="55"/>
                      </a:lnTo>
                      <a:lnTo>
                        <a:pt x="10" y="45"/>
                      </a:lnTo>
                      <a:lnTo>
                        <a:pt x="10" y="27"/>
                      </a:lnTo>
                      <a:lnTo>
                        <a:pt x="10" y="21"/>
                      </a:lnTo>
                      <a:lnTo>
                        <a:pt x="8" y="15"/>
                      </a:lnTo>
                      <a:lnTo>
                        <a:pt x="2" y="4"/>
                      </a:lnTo>
                      <a:lnTo>
                        <a:pt x="2" y="2"/>
                      </a:lnTo>
                      <a:lnTo>
                        <a:pt x="2" y="0"/>
                      </a:lnTo>
                      <a:lnTo>
                        <a:pt x="8" y="0"/>
                      </a:lnTo>
                      <a:lnTo>
                        <a:pt x="13" y="2"/>
                      </a:lnTo>
                      <a:lnTo>
                        <a:pt x="18" y="4"/>
                      </a:lnTo>
                      <a:lnTo>
                        <a:pt x="17" y="2"/>
                      </a:lnTo>
                      <a:lnTo>
                        <a:pt x="18" y="0"/>
                      </a:lnTo>
                      <a:lnTo>
                        <a:pt x="19" y="0"/>
                      </a:lnTo>
                      <a:lnTo>
                        <a:pt x="26" y="8"/>
                      </a:lnTo>
                      <a:lnTo>
                        <a:pt x="32" y="18"/>
                      </a:lnTo>
                      <a:lnTo>
                        <a:pt x="33" y="21"/>
                      </a:lnTo>
                      <a:lnTo>
                        <a:pt x="33" y="25"/>
                      </a:lnTo>
                      <a:lnTo>
                        <a:pt x="33" y="33"/>
                      </a:lnTo>
                      <a:lnTo>
                        <a:pt x="35" y="43"/>
                      </a:lnTo>
                      <a:lnTo>
                        <a:pt x="31" y="45"/>
                      </a:lnTo>
                      <a:lnTo>
                        <a:pt x="29" y="50"/>
                      </a:lnTo>
                      <a:lnTo>
                        <a:pt x="28" y="56"/>
                      </a:lnTo>
                      <a:lnTo>
                        <a:pt x="29" y="62"/>
                      </a:lnTo>
                      <a:lnTo>
                        <a:pt x="31" y="66"/>
                      </a:lnTo>
                      <a:lnTo>
                        <a:pt x="32" y="70"/>
                      </a:lnTo>
                      <a:lnTo>
                        <a:pt x="33" y="74"/>
                      </a:lnTo>
                      <a:lnTo>
                        <a:pt x="33" y="76"/>
                      </a:lnTo>
                      <a:lnTo>
                        <a:pt x="40" y="7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0" name="Rectangle 5"/>
                <p:cNvSpPr>
                  <a:spLocks noChangeArrowheads="1"/>
                </p:cNvSpPr>
                <p:nvPr/>
              </p:nvSpPr>
              <p:spPr bwMode="auto">
                <a:xfrm>
                  <a:off x="5720706" y="3148849"/>
                  <a:ext cx="256017" cy="389207"/>
                </a:xfrm>
                <a:prstGeom prst="rect">
                  <a:avLst/>
                </a:prstGeom>
                <a:grpFill/>
                <a:ln w="9525">
                  <a:noFill/>
                  <a:miter lim="800000"/>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1" name="Freeform 6"/>
                <p:cNvSpPr>
                  <a:spLocks/>
                </p:cNvSpPr>
                <p:nvPr/>
              </p:nvSpPr>
              <p:spPr bwMode="auto">
                <a:xfrm>
                  <a:off x="5393653" y="4895097"/>
                  <a:ext cx="76953" cy="224941"/>
                </a:xfrm>
                <a:custGeom>
                  <a:avLst/>
                  <a:gdLst>
                    <a:gd name="T0" fmla="*/ 2147483647 w 56"/>
                    <a:gd name="T1" fmla="*/ 2147483647 h 152"/>
                    <a:gd name="T2" fmla="*/ 2147483647 w 56"/>
                    <a:gd name="T3" fmla="*/ 2147483647 h 152"/>
                    <a:gd name="T4" fmla="*/ 2147483647 w 56"/>
                    <a:gd name="T5" fmla="*/ 2147483647 h 152"/>
                    <a:gd name="T6" fmla="*/ 2147483647 w 56"/>
                    <a:gd name="T7" fmla="*/ 2147483647 h 152"/>
                    <a:gd name="T8" fmla="*/ 2147483647 w 56"/>
                    <a:gd name="T9" fmla="*/ 2147483647 h 152"/>
                    <a:gd name="T10" fmla="*/ 2147483647 w 56"/>
                    <a:gd name="T11" fmla="*/ 2147483647 h 152"/>
                    <a:gd name="T12" fmla="*/ 2147483647 w 56"/>
                    <a:gd name="T13" fmla="*/ 2147483647 h 152"/>
                    <a:gd name="T14" fmla="*/ 2147483647 w 56"/>
                    <a:gd name="T15" fmla="*/ 2147483647 h 152"/>
                    <a:gd name="T16" fmla="*/ 2147483647 w 56"/>
                    <a:gd name="T17" fmla="*/ 2147483647 h 152"/>
                    <a:gd name="T18" fmla="*/ 2147483647 w 56"/>
                    <a:gd name="T19" fmla="*/ 2147483647 h 152"/>
                    <a:gd name="T20" fmla="*/ 2147483647 w 56"/>
                    <a:gd name="T21" fmla="*/ 2147483647 h 152"/>
                    <a:gd name="T22" fmla="*/ 2147483647 w 56"/>
                    <a:gd name="T23" fmla="*/ 2147483647 h 152"/>
                    <a:gd name="T24" fmla="*/ 2147483647 w 56"/>
                    <a:gd name="T25" fmla="*/ 2147483647 h 152"/>
                    <a:gd name="T26" fmla="*/ 2147483647 w 56"/>
                    <a:gd name="T27" fmla="*/ 2147483647 h 152"/>
                    <a:gd name="T28" fmla="*/ 2147483647 w 56"/>
                    <a:gd name="T29" fmla="*/ 2147483647 h 152"/>
                    <a:gd name="T30" fmla="*/ 2147483647 w 56"/>
                    <a:gd name="T31" fmla="*/ 2147483647 h 152"/>
                    <a:gd name="T32" fmla="*/ 2147483647 w 56"/>
                    <a:gd name="T33" fmla="*/ 2147483647 h 152"/>
                    <a:gd name="T34" fmla="*/ 2147483647 w 56"/>
                    <a:gd name="T35" fmla="*/ 2147483647 h 152"/>
                    <a:gd name="T36" fmla="*/ 2147483647 w 56"/>
                    <a:gd name="T37" fmla="*/ 2147483647 h 152"/>
                    <a:gd name="T38" fmla="*/ 2147483647 w 56"/>
                    <a:gd name="T39" fmla="*/ 2147483647 h 152"/>
                    <a:gd name="T40" fmla="*/ 2147483647 w 56"/>
                    <a:gd name="T41" fmla="*/ 2147483647 h 152"/>
                    <a:gd name="T42" fmla="*/ 2147483647 w 56"/>
                    <a:gd name="T43" fmla="*/ 2147483647 h 152"/>
                    <a:gd name="T44" fmla="*/ 2147483647 w 56"/>
                    <a:gd name="T45" fmla="*/ 2147483647 h 152"/>
                    <a:gd name="T46" fmla="*/ 2147483647 w 56"/>
                    <a:gd name="T47" fmla="*/ 2147483647 h 152"/>
                    <a:gd name="T48" fmla="*/ 2147483647 w 56"/>
                    <a:gd name="T49" fmla="*/ 2147483647 h 152"/>
                    <a:gd name="T50" fmla="*/ 2147483647 w 56"/>
                    <a:gd name="T51" fmla="*/ 2147483647 h 152"/>
                    <a:gd name="T52" fmla="*/ 2147483647 w 56"/>
                    <a:gd name="T53" fmla="*/ 2147483647 h 152"/>
                    <a:gd name="T54" fmla="*/ 0 w 56"/>
                    <a:gd name="T55" fmla="*/ 2147483647 h 152"/>
                    <a:gd name="T56" fmla="*/ 2147483647 w 56"/>
                    <a:gd name="T57" fmla="*/ 2147483647 h 152"/>
                    <a:gd name="T58" fmla="*/ 2147483647 w 56"/>
                    <a:gd name="T59" fmla="*/ 2147483647 h 152"/>
                    <a:gd name="T60" fmla="*/ 2147483647 w 56"/>
                    <a:gd name="T61" fmla="*/ 2147483647 h 152"/>
                    <a:gd name="T62" fmla="*/ 2147483647 w 56"/>
                    <a:gd name="T63" fmla="*/ 2147483647 h 152"/>
                    <a:gd name="T64" fmla="*/ 2147483647 w 56"/>
                    <a:gd name="T65" fmla="*/ 2147483647 h 152"/>
                    <a:gd name="T66" fmla="*/ 2147483647 w 56"/>
                    <a:gd name="T67" fmla="*/ 2147483647 h 152"/>
                    <a:gd name="T68" fmla="*/ 2147483647 w 56"/>
                    <a:gd name="T69" fmla="*/ 2147483647 h 152"/>
                    <a:gd name="T70" fmla="*/ 2147483647 w 56"/>
                    <a:gd name="T71" fmla="*/ 2147483647 h 152"/>
                    <a:gd name="T72" fmla="*/ 2147483647 w 56"/>
                    <a:gd name="T73" fmla="*/ 2147483647 h 152"/>
                    <a:gd name="T74" fmla="*/ 2147483647 w 56"/>
                    <a:gd name="T75" fmla="*/ 0 h 152"/>
                    <a:gd name="T76" fmla="*/ 2147483647 w 56"/>
                    <a:gd name="T77" fmla="*/ 0 h 152"/>
                    <a:gd name="T78" fmla="*/ 2147483647 w 56"/>
                    <a:gd name="T79" fmla="*/ 2147483647 h 152"/>
                    <a:gd name="T80" fmla="*/ 2147483647 w 56"/>
                    <a:gd name="T81" fmla="*/ 2147483647 h 152"/>
                    <a:gd name="T82" fmla="*/ 2147483647 w 56"/>
                    <a:gd name="T83" fmla="*/ 0 h 152"/>
                    <a:gd name="T84" fmla="*/ 2147483647 w 56"/>
                    <a:gd name="T85" fmla="*/ 0 h 152"/>
                    <a:gd name="T86" fmla="*/ 2147483647 w 56"/>
                    <a:gd name="T87" fmla="*/ 2147483647 h 152"/>
                    <a:gd name="T88" fmla="*/ 2147483647 w 56"/>
                    <a:gd name="T89" fmla="*/ 2147483647 h 152"/>
                    <a:gd name="T90" fmla="*/ 2147483647 w 56"/>
                    <a:gd name="T91" fmla="*/ 2147483647 h 152"/>
                    <a:gd name="T92" fmla="*/ 2147483647 w 56"/>
                    <a:gd name="T93" fmla="*/ 2147483647 h 152"/>
                    <a:gd name="T94" fmla="*/ 2147483647 w 56"/>
                    <a:gd name="T95" fmla="*/ 2147483647 h 152"/>
                    <a:gd name="T96" fmla="*/ 2147483647 w 56"/>
                    <a:gd name="T97" fmla="*/ 2147483647 h 152"/>
                    <a:gd name="T98" fmla="*/ 2147483647 w 56"/>
                    <a:gd name="T99" fmla="*/ 2147483647 h 152"/>
                    <a:gd name="T100" fmla="*/ 2147483647 w 56"/>
                    <a:gd name="T101" fmla="*/ 2147483647 h 152"/>
                    <a:gd name="T102" fmla="*/ 2147483647 w 56"/>
                    <a:gd name="T103" fmla="*/ 2147483647 h 152"/>
                    <a:gd name="T104" fmla="*/ 2147483647 w 56"/>
                    <a:gd name="T105" fmla="*/ 2147483647 h 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
                    <a:gd name="T160" fmla="*/ 0 h 152"/>
                    <a:gd name="T161" fmla="*/ 56 w 56"/>
                    <a:gd name="T162" fmla="*/ 152 h 1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6" h="152">
                      <a:moveTo>
                        <a:pt x="39" y="77"/>
                      </a:moveTo>
                      <a:lnTo>
                        <a:pt x="39" y="77"/>
                      </a:lnTo>
                      <a:lnTo>
                        <a:pt x="44" y="79"/>
                      </a:lnTo>
                      <a:lnTo>
                        <a:pt x="49" y="84"/>
                      </a:lnTo>
                      <a:lnTo>
                        <a:pt x="53" y="90"/>
                      </a:lnTo>
                      <a:lnTo>
                        <a:pt x="55" y="92"/>
                      </a:lnTo>
                      <a:lnTo>
                        <a:pt x="56" y="95"/>
                      </a:lnTo>
                      <a:lnTo>
                        <a:pt x="56" y="101"/>
                      </a:lnTo>
                      <a:lnTo>
                        <a:pt x="55" y="108"/>
                      </a:lnTo>
                      <a:lnTo>
                        <a:pt x="52" y="115"/>
                      </a:lnTo>
                      <a:lnTo>
                        <a:pt x="48" y="122"/>
                      </a:lnTo>
                      <a:lnTo>
                        <a:pt x="47" y="130"/>
                      </a:lnTo>
                      <a:lnTo>
                        <a:pt x="47" y="139"/>
                      </a:lnTo>
                      <a:lnTo>
                        <a:pt x="47" y="147"/>
                      </a:lnTo>
                      <a:lnTo>
                        <a:pt x="47" y="149"/>
                      </a:lnTo>
                      <a:lnTo>
                        <a:pt x="44" y="152"/>
                      </a:lnTo>
                      <a:lnTo>
                        <a:pt x="42" y="152"/>
                      </a:lnTo>
                      <a:lnTo>
                        <a:pt x="41" y="150"/>
                      </a:lnTo>
                      <a:lnTo>
                        <a:pt x="38" y="148"/>
                      </a:lnTo>
                      <a:lnTo>
                        <a:pt x="33" y="137"/>
                      </a:lnTo>
                      <a:lnTo>
                        <a:pt x="29" y="133"/>
                      </a:lnTo>
                      <a:lnTo>
                        <a:pt x="23" y="129"/>
                      </a:lnTo>
                      <a:lnTo>
                        <a:pt x="22" y="128"/>
                      </a:lnTo>
                      <a:lnTo>
                        <a:pt x="20" y="127"/>
                      </a:lnTo>
                      <a:lnTo>
                        <a:pt x="20" y="122"/>
                      </a:lnTo>
                      <a:lnTo>
                        <a:pt x="24" y="113"/>
                      </a:lnTo>
                      <a:lnTo>
                        <a:pt x="27" y="109"/>
                      </a:lnTo>
                      <a:lnTo>
                        <a:pt x="28" y="105"/>
                      </a:lnTo>
                      <a:lnTo>
                        <a:pt x="28" y="103"/>
                      </a:lnTo>
                      <a:lnTo>
                        <a:pt x="27" y="102"/>
                      </a:lnTo>
                      <a:lnTo>
                        <a:pt x="23" y="98"/>
                      </a:lnTo>
                      <a:lnTo>
                        <a:pt x="19" y="98"/>
                      </a:lnTo>
                      <a:lnTo>
                        <a:pt x="15" y="98"/>
                      </a:lnTo>
                      <a:lnTo>
                        <a:pt x="10" y="99"/>
                      </a:lnTo>
                      <a:lnTo>
                        <a:pt x="6" y="99"/>
                      </a:lnTo>
                      <a:lnTo>
                        <a:pt x="5" y="98"/>
                      </a:lnTo>
                      <a:lnTo>
                        <a:pt x="4" y="97"/>
                      </a:lnTo>
                      <a:lnTo>
                        <a:pt x="3" y="94"/>
                      </a:lnTo>
                      <a:lnTo>
                        <a:pt x="1" y="89"/>
                      </a:lnTo>
                      <a:lnTo>
                        <a:pt x="0" y="84"/>
                      </a:lnTo>
                      <a:lnTo>
                        <a:pt x="0" y="81"/>
                      </a:lnTo>
                      <a:lnTo>
                        <a:pt x="1" y="78"/>
                      </a:lnTo>
                      <a:lnTo>
                        <a:pt x="4" y="75"/>
                      </a:lnTo>
                      <a:lnTo>
                        <a:pt x="8" y="71"/>
                      </a:lnTo>
                      <a:lnTo>
                        <a:pt x="11" y="67"/>
                      </a:lnTo>
                      <a:lnTo>
                        <a:pt x="13" y="65"/>
                      </a:lnTo>
                      <a:lnTo>
                        <a:pt x="13" y="63"/>
                      </a:lnTo>
                      <a:lnTo>
                        <a:pt x="10" y="54"/>
                      </a:lnTo>
                      <a:lnTo>
                        <a:pt x="10" y="45"/>
                      </a:lnTo>
                      <a:lnTo>
                        <a:pt x="10" y="27"/>
                      </a:lnTo>
                      <a:lnTo>
                        <a:pt x="10" y="21"/>
                      </a:lnTo>
                      <a:lnTo>
                        <a:pt x="8" y="15"/>
                      </a:lnTo>
                      <a:lnTo>
                        <a:pt x="1" y="3"/>
                      </a:lnTo>
                      <a:lnTo>
                        <a:pt x="1" y="2"/>
                      </a:lnTo>
                      <a:lnTo>
                        <a:pt x="1" y="0"/>
                      </a:lnTo>
                      <a:lnTo>
                        <a:pt x="8" y="0"/>
                      </a:lnTo>
                      <a:lnTo>
                        <a:pt x="13" y="2"/>
                      </a:lnTo>
                      <a:lnTo>
                        <a:pt x="18" y="3"/>
                      </a:lnTo>
                      <a:lnTo>
                        <a:pt x="16" y="2"/>
                      </a:lnTo>
                      <a:lnTo>
                        <a:pt x="18" y="0"/>
                      </a:lnTo>
                      <a:lnTo>
                        <a:pt x="19" y="0"/>
                      </a:lnTo>
                      <a:lnTo>
                        <a:pt x="25" y="8"/>
                      </a:lnTo>
                      <a:lnTo>
                        <a:pt x="32" y="18"/>
                      </a:lnTo>
                      <a:lnTo>
                        <a:pt x="33" y="21"/>
                      </a:lnTo>
                      <a:lnTo>
                        <a:pt x="33" y="25"/>
                      </a:lnTo>
                      <a:lnTo>
                        <a:pt x="33" y="33"/>
                      </a:lnTo>
                      <a:lnTo>
                        <a:pt x="34" y="43"/>
                      </a:lnTo>
                      <a:lnTo>
                        <a:pt x="30" y="45"/>
                      </a:lnTo>
                      <a:lnTo>
                        <a:pt x="29" y="50"/>
                      </a:lnTo>
                      <a:lnTo>
                        <a:pt x="28" y="56"/>
                      </a:lnTo>
                      <a:lnTo>
                        <a:pt x="29" y="62"/>
                      </a:lnTo>
                      <a:lnTo>
                        <a:pt x="30" y="66"/>
                      </a:lnTo>
                      <a:lnTo>
                        <a:pt x="32" y="70"/>
                      </a:lnTo>
                      <a:lnTo>
                        <a:pt x="33" y="73"/>
                      </a:lnTo>
                      <a:lnTo>
                        <a:pt x="33" y="76"/>
                      </a:lnTo>
                      <a:lnTo>
                        <a:pt x="39" y="7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2" name="Rectangle 7"/>
                <p:cNvSpPr>
                  <a:spLocks noChangeArrowheads="1"/>
                </p:cNvSpPr>
                <p:nvPr/>
              </p:nvSpPr>
              <p:spPr bwMode="auto">
                <a:xfrm>
                  <a:off x="5716269" y="3145890"/>
                  <a:ext cx="257498" cy="389207"/>
                </a:xfrm>
                <a:prstGeom prst="rect">
                  <a:avLst/>
                </a:prstGeom>
                <a:grpFill/>
                <a:ln w="7938">
                  <a:noFill/>
                  <a:miter lim="800000"/>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3" name="Freeform 8"/>
                <p:cNvSpPr>
                  <a:spLocks/>
                </p:cNvSpPr>
                <p:nvPr/>
              </p:nvSpPr>
              <p:spPr bwMode="auto">
                <a:xfrm>
                  <a:off x="8454028" y="2715246"/>
                  <a:ext cx="36997" cy="28117"/>
                </a:xfrm>
                <a:custGeom>
                  <a:avLst/>
                  <a:gdLst>
                    <a:gd name="T0" fmla="*/ 2147483647 w 27"/>
                    <a:gd name="T1" fmla="*/ 2147483647 h 19"/>
                    <a:gd name="T2" fmla="*/ 2147483647 w 27"/>
                    <a:gd name="T3" fmla="*/ 2147483647 h 19"/>
                    <a:gd name="T4" fmla="*/ 2147483647 w 27"/>
                    <a:gd name="T5" fmla="*/ 2147483647 h 19"/>
                    <a:gd name="T6" fmla="*/ 2147483647 w 27"/>
                    <a:gd name="T7" fmla="*/ 2147483647 h 19"/>
                    <a:gd name="T8" fmla="*/ 2147483647 w 27"/>
                    <a:gd name="T9" fmla="*/ 2147483647 h 19"/>
                    <a:gd name="T10" fmla="*/ 2147483647 w 27"/>
                    <a:gd name="T11" fmla="*/ 2147483647 h 19"/>
                    <a:gd name="T12" fmla="*/ 2147483647 w 27"/>
                    <a:gd name="T13" fmla="*/ 2147483647 h 19"/>
                    <a:gd name="T14" fmla="*/ 2147483647 w 27"/>
                    <a:gd name="T15" fmla="*/ 2147483647 h 19"/>
                    <a:gd name="T16" fmla="*/ 2147483647 w 27"/>
                    <a:gd name="T17" fmla="*/ 0 h 19"/>
                    <a:gd name="T18" fmla="*/ 2147483647 w 27"/>
                    <a:gd name="T19" fmla="*/ 2147483647 h 19"/>
                    <a:gd name="T20" fmla="*/ 2147483647 w 27"/>
                    <a:gd name="T21" fmla="*/ 2147483647 h 19"/>
                    <a:gd name="T22" fmla="*/ 2147483647 w 27"/>
                    <a:gd name="T23" fmla="*/ 2147483647 h 19"/>
                    <a:gd name="T24" fmla="*/ 2147483647 w 27"/>
                    <a:gd name="T25" fmla="*/ 2147483647 h 19"/>
                    <a:gd name="T26" fmla="*/ 2147483647 w 27"/>
                    <a:gd name="T27" fmla="*/ 2147483647 h 19"/>
                    <a:gd name="T28" fmla="*/ 2147483647 w 27"/>
                    <a:gd name="T29" fmla="*/ 2147483647 h 19"/>
                    <a:gd name="T30" fmla="*/ 0 w 27"/>
                    <a:gd name="T31" fmla="*/ 2147483647 h 19"/>
                    <a:gd name="T32" fmla="*/ 0 w 27"/>
                    <a:gd name="T33" fmla="*/ 2147483647 h 19"/>
                    <a:gd name="T34" fmla="*/ 0 w 27"/>
                    <a:gd name="T35" fmla="*/ 2147483647 h 19"/>
                    <a:gd name="T36" fmla="*/ 2147483647 w 27"/>
                    <a:gd name="T37" fmla="*/ 2147483647 h 19"/>
                    <a:gd name="T38" fmla="*/ 2147483647 w 27"/>
                    <a:gd name="T39" fmla="*/ 2147483647 h 19"/>
                    <a:gd name="T40" fmla="*/ 2147483647 w 27"/>
                    <a:gd name="T41" fmla="*/ 2147483647 h 19"/>
                    <a:gd name="T42" fmla="*/ 2147483647 w 27"/>
                    <a:gd name="T43" fmla="*/ 2147483647 h 19"/>
                    <a:gd name="T44" fmla="*/ 2147483647 w 27"/>
                    <a:gd name="T45" fmla="*/ 2147483647 h 19"/>
                    <a:gd name="T46" fmla="*/ 2147483647 w 27"/>
                    <a:gd name="T47" fmla="*/ 2147483647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19"/>
                    <a:gd name="T74" fmla="*/ 27 w 27"/>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19">
                      <a:moveTo>
                        <a:pt x="16" y="12"/>
                      </a:moveTo>
                      <a:lnTo>
                        <a:pt x="20" y="11"/>
                      </a:lnTo>
                      <a:lnTo>
                        <a:pt x="24" y="11"/>
                      </a:lnTo>
                      <a:lnTo>
                        <a:pt x="27" y="10"/>
                      </a:lnTo>
                      <a:lnTo>
                        <a:pt x="27" y="8"/>
                      </a:lnTo>
                      <a:lnTo>
                        <a:pt x="25" y="5"/>
                      </a:lnTo>
                      <a:lnTo>
                        <a:pt x="24" y="3"/>
                      </a:lnTo>
                      <a:lnTo>
                        <a:pt x="19" y="2"/>
                      </a:lnTo>
                      <a:lnTo>
                        <a:pt x="13" y="0"/>
                      </a:lnTo>
                      <a:lnTo>
                        <a:pt x="9" y="2"/>
                      </a:lnTo>
                      <a:lnTo>
                        <a:pt x="6" y="3"/>
                      </a:lnTo>
                      <a:lnTo>
                        <a:pt x="6" y="5"/>
                      </a:lnTo>
                      <a:lnTo>
                        <a:pt x="5" y="9"/>
                      </a:lnTo>
                      <a:lnTo>
                        <a:pt x="4" y="11"/>
                      </a:lnTo>
                      <a:lnTo>
                        <a:pt x="1" y="13"/>
                      </a:lnTo>
                      <a:lnTo>
                        <a:pt x="0" y="16"/>
                      </a:lnTo>
                      <a:lnTo>
                        <a:pt x="0" y="17"/>
                      </a:lnTo>
                      <a:lnTo>
                        <a:pt x="0" y="19"/>
                      </a:lnTo>
                      <a:lnTo>
                        <a:pt x="3" y="19"/>
                      </a:lnTo>
                      <a:lnTo>
                        <a:pt x="5" y="19"/>
                      </a:lnTo>
                      <a:lnTo>
                        <a:pt x="9" y="17"/>
                      </a:lnTo>
                      <a:lnTo>
                        <a:pt x="11" y="16"/>
                      </a:lnTo>
                      <a:lnTo>
                        <a:pt x="13" y="15"/>
                      </a:lnTo>
                      <a:lnTo>
                        <a:pt x="16"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4" name="Freeform 9"/>
                <p:cNvSpPr>
                  <a:spLocks/>
                </p:cNvSpPr>
                <p:nvPr/>
              </p:nvSpPr>
              <p:spPr bwMode="auto">
                <a:xfrm>
                  <a:off x="7828047" y="2864717"/>
                  <a:ext cx="20718" cy="17758"/>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0 h 12"/>
                    <a:gd name="T14" fmla="*/ 2147483647 w 15"/>
                    <a:gd name="T15" fmla="*/ 2147483647 h 12"/>
                    <a:gd name="T16" fmla="*/ 2147483647 w 15"/>
                    <a:gd name="T17" fmla="*/ 2147483647 h 12"/>
                    <a:gd name="T18" fmla="*/ 0 w 15"/>
                    <a:gd name="T19" fmla="*/ 2147483647 h 12"/>
                    <a:gd name="T20" fmla="*/ 0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2147483647 h 12"/>
                    <a:gd name="T30" fmla="*/ 2147483647 w 15"/>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12"/>
                    <a:gd name="T50" fmla="*/ 15 w 15"/>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12">
                      <a:moveTo>
                        <a:pt x="14" y="11"/>
                      </a:moveTo>
                      <a:lnTo>
                        <a:pt x="15" y="10"/>
                      </a:lnTo>
                      <a:lnTo>
                        <a:pt x="15" y="8"/>
                      </a:lnTo>
                      <a:lnTo>
                        <a:pt x="14" y="5"/>
                      </a:lnTo>
                      <a:lnTo>
                        <a:pt x="11" y="3"/>
                      </a:lnTo>
                      <a:lnTo>
                        <a:pt x="8" y="1"/>
                      </a:lnTo>
                      <a:lnTo>
                        <a:pt x="6" y="0"/>
                      </a:lnTo>
                      <a:lnTo>
                        <a:pt x="2" y="1"/>
                      </a:lnTo>
                      <a:lnTo>
                        <a:pt x="1" y="3"/>
                      </a:lnTo>
                      <a:lnTo>
                        <a:pt x="0" y="5"/>
                      </a:lnTo>
                      <a:lnTo>
                        <a:pt x="0" y="7"/>
                      </a:lnTo>
                      <a:lnTo>
                        <a:pt x="1" y="10"/>
                      </a:lnTo>
                      <a:lnTo>
                        <a:pt x="3" y="11"/>
                      </a:lnTo>
                      <a:lnTo>
                        <a:pt x="6" y="12"/>
                      </a:lnTo>
                      <a:lnTo>
                        <a:pt x="10" y="12"/>
                      </a:lnTo>
                      <a:lnTo>
                        <a:pt x="14"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5" name="Freeform 10"/>
                <p:cNvSpPr>
                  <a:spLocks/>
                </p:cNvSpPr>
                <p:nvPr/>
              </p:nvSpPr>
              <p:spPr bwMode="auto">
                <a:xfrm>
                  <a:off x="8452550" y="2713770"/>
                  <a:ext cx="35517" cy="28118"/>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0 h 19"/>
                    <a:gd name="T22" fmla="*/ 2147483647 w 26"/>
                    <a:gd name="T23" fmla="*/ 2147483647 h 19"/>
                    <a:gd name="T24" fmla="*/ 2147483647 w 26"/>
                    <a:gd name="T25" fmla="*/ 2147483647 h 19"/>
                    <a:gd name="T26" fmla="*/ 2147483647 w 26"/>
                    <a:gd name="T27" fmla="*/ 2147483647 h 19"/>
                    <a:gd name="T28" fmla="*/ 2147483647 w 26"/>
                    <a:gd name="T29" fmla="*/ 2147483647 h 19"/>
                    <a:gd name="T30" fmla="*/ 2147483647 w 26"/>
                    <a:gd name="T31" fmla="*/ 2147483647 h 19"/>
                    <a:gd name="T32" fmla="*/ 2147483647 w 26"/>
                    <a:gd name="T33" fmla="*/ 2147483647 h 19"/>
                    <a:gd name="T34" fmla="*/ 2147483647 w 26"/>
                    <a:gd name="T35" fmla="*/ 2147483647 h 19"/>
                    <a:gd name="T36" fmla="*/ 2147483647 w 26"/>
                    <a:gd name="T37" fmla="*/ 2147483647 h 19"/>
                    <a:gd name="T38" fmla="*/ 0 w 26"/>
                    <a:gd name="T39" fmla="*/ 2147483647 h 19"/>
                    <a:gd name="T40" fmla="*/ 0 w 26"/>
                    <a:gd name="T41" fmla="*/ 2147483647 h 19"/>
                    <a:gd name="T42" fmla="*/ 0 w 26"/>
                    <a:gd name="T43" fmla="*/ 2147483647 h 19"/>
                    <a:gd name="T44" fmla="*/ 0 w 26"/>
                    <a:gd name="T45" fmla="*/ 2147483647 h 19"/>
                    <a:gd name="T46" fmla="*/ 2147483647 w 26"/>
                    <a:gd name="T47" fmla="*/ 2147483647 h 19"/>
                    <a:gd name="T48" fmla="*/ 2147483647 w 26"/>
                    <a:gd name="T49" fmla="*/ 2147483647 h 19"/>
                    <a:gd name="T50" fmla="*/ 2147483647 w 26"/>
                    <a:gd name="T51" fmla="*/ 2147483647 h 19"/>
                    <a:gd name="T52" fmla="*/ 2147483647 w 26"/>
                    <a:gd name="T53" fmla="*/ 2147483647 h 19"/>
                    <a:gd name="T54" fmla="*/ 2147483647 w 26"/>
                    <a:gd name="T55" fmla="*/ 2147483647 h 19"/>
                    <a:gd name="T56" fmla="*/ 2147483647 w 26"/>
                    <a:gd name="T57" fmla="*/ 2147483647 h 19"/>
                    <a:gd name="T58" fmla="*/ 2147483647 w 26"/>
                    <a:gd name="T59" fmla="*/ 2147483647 h 19"/>
                    <a:gd name="T60" fmla="*/ 2147483647 w 26"/>
                    <a:gd name="T61" fmla="*/ 2147483647 h 1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
                    <a:gd name="T94" fmla="*/ 0 h 19"/>
                    <a:gd name="T95" fmla="*/ 26 w 26"/>
                    <a:gd name="T96" fmla="*/ 19 h 1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 h="19">
                      <a:moveTo>
                        <a:pt x="16" y="12"/>
                      </a:moveTo>
                      <a:lnTo>
                        <a:pt x="16" y="12"/>
                      </a:lnTo>
                      <a:lnTo>
                        <a:pt x="20" y="11"/>
                      </a:lnTo>
                      <a:lnTo>
                        <a:pt x="24" y="11"/>
                      </a:lnTo>
                      <a:lnTo>
                        <a:pt x="26" y="10"/>
                      </a:lnTo>
                      <a:lnTo>
                        <a:pt x="26" y="7"/>
                      </a:lnTo>
                      <a:lnTo>
                        <a:pt x="25" y="5"/>
                      </a:lnTo>
                      <a:lnTo>
                        <a:pt x="24" y="3"/>
                      </a:lnTo>
                      <a:lnTo>
                        <a:pt x="19" y="1"/>
                      </a:lnTo>
                      <a:lnTo>
                        <a:pt x="12" y="0"/>
                      </a:lnTo>
                      <a:lnTo>
                        <a:pt x="9" y="1"/>
                      </a:lnTo>
                      <a:lnTo>
                        <a:pt x="6" y="3"/>
                      </a:lnTo>
                      <a:lnTo>
                        <a:pt x="6" y="5"/>
                      </a:lnTo>
                      <a:lnTo>
                        <a:pt x="5" y="9"/>
                      </a:lnTo>
                      <a:lnTo>
                        <a:pt x="4" y="11"/>
                      </a:lnTo>
                      <a:lnTo>
                        <a:pt x="1" y="13"/>
                      </a:lnTo>
                      <a:lnTo>
                        <a:pt x="0" y="16"/>
                      </a:lnTo>
                      <a:lnTo>
                        <a:pt x="0" y="17"/>
                      </a:lnTo>
                      <a:lnTo>
                        <a:pt x="0" y="19"/>
                      </a:lnTo>
                      <a:lnTo>
                        <a:pt x="2" y="19"/>
                      </a:lnTo>
                      <a:lnTo>
                        <a:pt x="5" y="19"/>
                      </a:lnTo>
                      <a:lnTo>
                        <a:pt x="9" y="17"/>
                      </a:lnTo>
                      <a:lnTo>
                        <a:pt x="11" y="16"/>
                      </a:lnTo>
                      <a:lnTo>
                        <a:pt x="12" y="14"/>
                      </a:lnTo>
                      <a:lnTo>
                        <a:pt x="16"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6" name="Freeform 11"/>
                <p:cNvSpPr>
                  <a:spLocks/>
                </p:cNvSpPr>
                <p:nvPr/>
              </p:nvSpPr>
              <p:spPr bwMode="auto">
                <a:xfrm>
                  <a:off x="7825085" y="2863233"/>
                  <a:ext cx="22198" cy="17758"/>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2147483647 w 16"/>
                    <a:gd name="T17" fmla="*/ 0 h 12"/>
                    <a:gd name="T18" fmla="*/ 2147483647 w 16"/>
                    <a:gd name="T19" fmla="*/ 2147483647 h 12"/>
                    <a:gd name="T20" fmla="*/ 2147483647 w 16"/>
                    <a:gd name="T21" fmla="*/ 2147483647 h 12"/>
                    <a:gd name="T22" fmla="*/ 2147483647 w 16"/>
                    <a:gd name="T23" fmla="*/ 2147483647 h 12"/>
                    <a:gd name="T24" fmla="*/ 0 w 16"/>
                    <a:gd name="T25" fmla="*/ 2147483647 h 12"/>
                    <a:gd name="T26" fmla="*/ 0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2147483647 h 12"/>
                    <a:gd name="T40" fmla="*/ 2147483647 w 16"/>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2"/>
                    <a:gd name="T65" fmla="*/ 16 w 16"/>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2">
                      <a:moveTo>
                        <a:pt x="14" y="11"/>
                      </a:moveTo>
                      <a:lnTo>
                        <a:pt x="14" y="11"/>
                      </a:lnTo>
                      <a:lnTo>
                        <a:pt x="16" y="9"/>
                      </a:lnTo>
                      <a:lnTo>
                        <a:pt x="16" y="8"/>
                      </a:lnTo>
                      <a:lnTo>
                        <a:pt x="14" y="5"/>
                      </a:lnTo>
                      <a:lnTo>
                        <a:pt x="12" y="2"/>
                      </a:lnTo>
                      <a:lnTo>
                        <a:pt x="9" y="1"/>
                      </a:lnTo>
                      <a:lnTo>
                        <a:pt x="7" y="0"/>
                      </a:lnTo>
                      <a:lnTo>
                        <a:pt x="3" y="1"/>
                      </a:lnTo>
                      <a:lnTo>
                        <a:pt x="2" y="2"/>
                      </a:lnTo>
                      <a:lnTo>
                        <a:pt x="0" y="5"/>
                      </a:lnTo>
                      <a:lnTo>
                        <a:pt x="0" y="7"/>
                      </a:lnTo>
                      <a:lnTo>
                        <a:pt x="2" y="9"/>
                      </a:lnTo>
                      <a:lnTo>
                        <a:pt x="4" y="11"/>
                      </a:lnTo>
                      <a:lnTo>
                        <a:pt x="7" y="12"/>
                      </a:lnTo>
                      <a:lnTo>
                        <a:pt x="10" y="12"/>
                      </a:lnTo>
                      <a:lnTo>
                        <a:pt x="14"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7" name="Freeform 12"/>
                <p:cNvSpPr>
                  <a:spLocks/>
                </p:cNvSpPr>
                <p:nvPr/>
              </p:nvSpPr>
              <p:spPr bwMode="auto">
                <a:xfrm>
                  <a:off x="8257207" y="3027503"/>
                  <a:ext cx="35517" cy="28118"/>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2147483647 h 19"/>
                    <a:gd name="T22" fmla="*/ 2147483647 w 26"/>
                    <a:gd name="T23" fmla="*/ 2147483647 h 19"/>
                    <a:gd name="T24" fmla="*/ 2147483647 w 26"/>
                    <a:gd name="T25" fmla="*/ 2147483647 h 19"/>
                    <a:gd name="T26" fmla="*/ 2147483647 w 26"/>
                    <a:gd name="T27" fmla="*/ 2147483647 h 19"/>
                    <a:gd name="T28" fmla="*/ 2147483647 w 26"/>
                    <a:gd name="T29" fmla="*/ 0 h 19"/>
                    <a:gd name="T30" fmla="*/ 2147483647 w 26"/>
                    <a:gd name="T31" fmla="*/ 0 h 19"/>
                    <a:gd name="T32" fmla="*/ 2147483647 w 26"/>
                    <a:gd name="T33" fmla="*/ 2147483647 h 19"/>
                    <a:gd name="T34" fmla="*/ 2147483647 w 26"/>
                    <a:gd name="T35" fmla="*/ 2147483647 h 19"/>
                    <a:gd name="T36" fmla="*/ 2147483647 w 26"/>
                    <a:gd name="T37" fmla="*/ 2147483647 h 19"/>
                    <a:gd name="T38" fmla="*/ 0 w 26"/>
                    <a:gd name="T39" fmla="*/ 2147483647 h 19"/>
                    <a:gd name="T40" fmla="*/ 2147483647 w 26"/>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19"/>
                    <a:gd name="T65" fmla="*/ 26 w 26"/>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19">
                      <a:moveTo>
                        <a:pt x="3" y="18"/>
                      </a:moveTo>
                      <a:lnTo>
                        <a:pt x="4" y="19"/>
                      </a:lnTo>
                      <a:lnTo>
                        <a:pt x="7" y="19"/>
                      </a:lnTo>
                      <a:lnTo>
                        <a:pt x="8" y="18"/>
                      </a:lnTo>
                      <a:lnTo>
                        <a:pt x="9" y="16"/>
                      </a:lnTo>
                      <a:lnTo>
                        <a:pt x="11" y="12"/>
                      </a:lnTo>
                      <a:lnTo>
                        <a:pt x="13" y="10"/>
                      </a:lnTo>
                      <a:lnTo>
                        <a:pt x="16" y="9"/>
                      </a:lnTo>
                      <a:lnTo>
                        <a:pt x="20" y="9"/>
                      </a:lnTo>
                      <a:lnTo>
                        <a:pt x="23" y="8"/>
                      </a:lnTo>
                      <a:lnTo>
                        <a:pt x="25" y="6"/>
                      </a:lnTo>
                      <a:lnTo>
                        <a:pt x="26" y="4"/>
                      </a:lnTo>
                      <a:lnTo>
                        <a:pt x="25" y="3"/>
                      </a:lnTo>
                      <a:lnTo>
                        <a:pt x="23" y="2"/>
                      </a:lnTo>
                      <a:lnTo>
                        <a:pt x="20" y="0"/>
                      </a:lnTo>
                      <a:lnTo>
                        <a:pt x="14" y="0"/>
                      </a:lnTo>
                      <a:lnTo>
                        <a:pt x="9" y="3"/>
                      </a:lnTo>
                      <a:lnTo>
                        <a:pt x="6" y="6"/>
                      </a:lnTo>
                      <a:lnTo>
                        <a:pt x="2" y="12"/>
                      </a:lnTo>
                      <a:lnTo>
                        <a:pt x="0" y="15"/>
                      </a:lnTo>
                      <a:lnTo>
                        <a:pt x="3" y="1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8" name="Freeform 13"/>
                <p:cNvSpPr>
                  <a:spLocks/>
                </p:cNvSpPr>
                <p:nvPr/>
              </p:nvSpPr>
              <p:spPr bwMode="auto">
                <a:xfrm>
                  <a:off x="8242407" y="3070416"/>
                  <a:ext cx="4439" cy="16278"/>
                </a:xfrm>
                <a:custGeom>
                  <a:avLst/>
                  <a:gdLst>
                    <a:gd name="T0" fmla="*/ 2147483647 w 4"/>
                    <a:gd name="T1" fmla="*/ 2147483647 h 11"/>
                    <a:gd name="T2" fmla="*/ 2147483647 w 4"/>
                    <a:gd name="T3" fmla="*/ 0 h 11"/>
                    <a:gd name="T4" fmla="*/ 0 w 4"/>
                    <a:gd name="T5" fmla="*/ 2147483647 h 11"/>
                    <a:gd name="T6" fmla="*/ 0 w 4"/>
                    <a:gd name="T7" fmla="*/ 2147483647 h 11"/>
                    <a:gd name="T8" fmla="*/ 0 w 4"/>
                    <a:gd name="T9" fmla="*/ 2147483647 h 11"/>
                    <a:gd name="T10" fmla="*/ 0 w 4"/>
                    <a:gd name="T11" fmla="*/ 2147483647 h 11"/>
                    <a:gd name="T12" fmla="*/ 2147483647 w 4"/>
                    <a:gd name="T13" fmla="*/ 2147483647 h 11"/>
                    <a:gd name="T14" fmla="*/ 2147483647 w 4"/>
                    <a:gd name="T15" fmla="*/ 2147483647 h 11"/>
                    <a:gd name="T16" fmla="*/ 2147483647 w 4"/>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3" y="1"/>
                      </a:moveTo>
                      <a:lnTo>
                        <a:pt x="3" y="0"/>
                      </a:lnTo>
                      <a:lnTo>
                        <a:pt x="0" y="2"/>
                      </a:lnTo>
                      <a:lnTo>
                        <a:pt x="0" y="5"/>
                      </a:lnTo>
                      <a:lnTo>
                        <a:pt x="0" y="8"/>
                      </a:lnTo>
                      <a:lnTo>
                        <a:pt x="0" y="11"/>
                      </a:lnTo>
                      <a:lnTo>
                        <a:pt x="4" y="6"/>
                      </a:lnTo>
                      <a:lnTo>
                        <a:pt x="4" y="3"/>
                      </a:lnTo>
                      <a:lnTo>
                        <a:pt x="3"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19" name="Freeform 14"/>
                <p:cNvSpPr>
                  <a:spLocks/>
                </p:cNvSpPr>
                <p:nvPr/>
              </p:nvSpPr>
              <p:spPr bwMode="auto">
                <a:xfrm>
                  <a:off x="8255726" y="3026019"/>
                  <a:ext cx="35517" cy="28117"/>
                </a:xfrm>
                <a:custGeom>
                  <a:avLst/>
                  <a:gdLst>
                    <a:gd name="T0" fmla="*/ 2147483647 w 26"/>
                    <a:gd name="T1" fmla="*/ 2147483647 h 19"/>
                    <a:gd name="T2" fmla="*/ 2147483647 w 26"/>
                    <a:gd name="T3" fmla="*/ 2147483647 h 19"/>
                    <a:gd name="T4" fmla="*/ 2147483647 w 26"/>
                    <a:gd name="T5" fmla="*/ 2147483647 h 19"/>
                    <a:gd name="T6" fmla="*/ 2147483647 w 26"/>
                    <a:gd name="T7" fmla="*/ 2147483647 h 19"/>
                    <a:gd name="T8" fmla="*/ 2147483647 w 26"/>
                    <a:gd name="T9" fmla="*/ 2147483647 h 19"/>
                    <a:gd name="T10" fmla="*/ 2147483647 w 26"/>
                    <a:gd name="T11" fmla="*/ 2147483647 h 19"/>
                    <a:gd name="T12" fmla="*/ 2147483647 w 26"/>
                    <a:gd name="T13" fmla="*/ 2147483647 h 19"/>
                    <a:gd name="T14" fmla="*/ 2147483647 w 26"/>
                    <a:gd name="T15" fmla="*/ 2147483647 h 19"/>
                    <a:gd name="T16" fmla="*/ 2147483647 w 26"/>
                    <a:gd name="T17" fmla="*/ 2147483647 h 19"/>
                    <a:gd name="T18" fmla="*/ 2147483647 w 26"/>
                    <a:gd name="T19" fmla="*/ 2147483647 h 19"/>
                    <a:gd name="T20" fmla="*/ 2147483647 w 26"/>
                    <a:gd name="T21" fmla="*/ 2147483647 h 19"/>
                    <a:gd name="T22" fmla="*/ 2147483647 w 26"/>
                    <a:gd name="T23" fmla="*/ 2147483647 h 19"/>
                    <a:gd name="T24" fmla="*/ 2147483647 w 26"/>
                    <a:gd name="T25" fmla="*/ 2147483647 h 19"/>
                    <a:gd name="T26" fmla="*/ 2147483647 w 26"/>
                    <a:gd name="T27" fmla="*/ 2147483647 h 19"/>
                    <a:gd name="T28" fmla="*/ 2147483647 w 26"/>
                    <a:gd name="T29" fmla="*/ 2147483647 h 19"/>
                    <a:gd name="T30" fmla="*/ 2147483647 w 26"/>
                    <a:gd name="T31" fmla="*/ 2147483647 h 19"/>
                    <a:gd name="T32" fmla="*/ 2147483647 w 26"/>
                    <a:gd name="T33" fmla="*/ 2147483647 h 19"/>
                    <a:gd name="T34" fmla="*/ 2147483647 w 26"/>
                    <a:gd name="T35" fmla="*/ 2147483647 h 19"/>
                    <a:gd name="T36" fmla="*/ 2147483647 w 26"/>
                    <a:gd name="T37" fmla="*/ 2147483647 h 19"/>
                    <a:gd name="T38" fmla="*/ 2147483647 w 26"/>
                    <a:gd name="T39" fmla="*/ 0 h 19"/>
                    <a:gd name="T40" fmla="*/ 2147483647 w 26"/>
                    <a:gd name="T41" fmla="*/ 0 h 19"/>
                    <a:gd name="T42" fmla="*/ 2147483647 w 26"/>
                    <a:gd name="T43" fmla="*/ 2147483647 h 19"/>
                    <a:gd name="T44" fmla="*/ 2147483647 w 26"/>
                    <a:gd name="T45" fmla="*/ 2147483647 h 19"/>
                    <a:gd name="T46" fmla="*/ 2147483647 w 26"/>
                    <a:gd name="T47" fmla="*/ 2147483647 h 19"/>
                    <a:gd name="T48" fmla="*/ 2147483647 w 26"/>
                    <a:gd name="T49" fmla="*/ 2147483647 h 19"/>
                    <a:gd name="T50" fmla="*/ 0 w 26"/>
                    <a:gd name="T51" fmla="*/ 2147483647 h 19"/>
                    <a:gd name="T52" fmla="*/ 2147483647 w 26"/>
                    <a:gd name="T53" fmla="*/ 2147483647 h 19"/>
                    <a:gd name="T54" fmla="*/ 2147483647 w 26"/>
                    <a:gd name="T55" fmla="*/ 2147483647 h 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19"/>
                    <a:gd name="T86" fmla="*/ 26 w 26"/>
                    <a:gd name="T87" fmla="*/ 19 h 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19">
                      <a:moveTo>
                        <a:pt x="3" y="18"/>
                      </a:moveTo>
                      <a:lnTo>
                        <a:pt x="3" y="18"/>
                      </a:lnTo>
                      <a:lnTo>
                        <a:pt x="4" y="19"/>
                      </a:lnTo>
                      <a:lnTo>
                        <a:pt x="7" y="19"/>
                      </a:lnTo>
                      <a:lnTo>
                        <a:pt x="8" y="18"/>
                      </a:lnTo>
                      <a:lnTo>
                        <a:pt x="9" y="16"/>
                      </a:lnTo>
                      <a:lnTo>
                        <a:pt x="10" y="12"/>
                      </a:lnTo>
                      <a:lnTo>
                        <a:pt x="13" y="10"/>
                      </a:lnTo>
                      <a:lnTo>
                        <a:pt x="15" y="9"/>
                      </a:lnTo>
                      <a:lnTo>
                        <a:pt x="19" y="9"/>
                      </a:lnTo>
                      <a:lnTo>
                        <a:pt x="23" y="7"/>
                      </a:lnTo>
                      <a:lnTo>
                        <a:pt x="24" y="6"/>
                      </a:lnTo>
                      <a:lnTo>
                        <a:pt x="26" y="4"/>
                      </a:lnTo>
                      <a:lnTo>
                        <a:pt x="24" y="3"/>
                      </a:lnTo>
                      <a:lnTo>
                        <a:pt x="23" y="1"/>
                      </a:lnTo>
                      <a:lnTo>
                        <a:pt x="19" y="0"/>
                      </a:lnTo>
                      <a:lnTo>
                        <a:pt x="14" y="0"/>
                      </a:lnTo>
                      <a:lnTo>
                        <a:pt x="9" y="3"/>
                      </a:lnTo>
                      <a:lnTo>
                        <a:pt x="5" y="6"/>
                      </a:lnTo>
                      <a:lnTo>
                        <a:pt x="1" y="12"/>
                      </a:lnTo>
                      <a:lnTo>
                        <a:pt x="0" y="14"/>
                      </a:lnTo>
                      <a:lnTo>
                        <a:pt x="3" y="1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0" name="Freeform 15"/>
                <p:cNvSpPr>
                  <a:spLocks/>
                </p:cNvSpPr>
                <p:nvPr/>
              </p:nvSpPr>
              <p:spPr bwMode="auto">
                <a:xfrm>
                  <a:off x="8240929" y="3068939"/>
                  <a:ext cx="5919" cy="14799"/>
                </a:xfrm>
                <a:custGeom>
                  <a:avLst/>
                  <a:gdLst>
                    <a:gd name="T0" fmla="*/ 2147483647 w 4"/>
                    <a:gd name="T1" fmla="*/ 2147483647 h 10"/>
                    <a:gd name="T2" fmla="*/ 2147483647 w 4"/>
                    <a:gd name="T3" fmla="*/ 2147483647 h 10"/>
                    <a:gd name="T4" fmla="*/ 2147483647 w 4"/>
                    <a:gd name="T5" fmla="*/ 0 h 10"/>
                    <a:gd name="T6" fmla="*/ 2147483647 w 4"/>
                    <a:gd name="T7" fmla="*/ 0 h 10"/>
                    <a:gd name="T8" fmla="*/ 2147483647 w 4"/>
                    <a:gd name="T9" fmla="*/ 0 h 10"/>
                    <a:gd name="T10" fmla="*/ 0 w 4"/>
                    <a:gd name="T11" fmla="*/ 2147483647 h 10"/>
                    <a:gd name="T12" fmla="*/ 0 w 4"/>
                    <a:gd name="T13" fmla="*/ 2147483647 h 10"/>
                    <a:gd name="T14" fmla="*/ 0 w 4"/>
                    <a:gd name="T15" fmla="*/ 2147483647 h 10"/>
                    <a:gd name="T16" fmla="*/ 0 w 4"/>
                    <a:gd name="T17" fmla="*/ 2147483647 h 10"/>
                    <a:gd name="T18" fmla="*/ 0 w 4"/>
                    <a:gd name="T19" fmla="*/ 2147483647 h 10"/>
                    <a:gd name="T20" fmla="*/ 2147483647 w 4"/>
                    <a:gd name="T21" fmla="*/ 2147483647 h 10"/>
                    <a:gd name="T22" fmla="*/ 2147483647 w 4"/>
                    <a:gd name="T23" fmla="*/ 2147483647 h 10"/>
                    <a:gd name="T24" fmla="*/ 2147483647 w 4"/>
                    <a:gd name="T25" fmla="*/ 2147483647 h 10"/>
                    <a:gd name="T26" fmla="*/ 2147483647 w 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10"/>
                    <a:gd name="T44" fmla="*/ 4 w 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10">
                      <a:moveTo>
                        <a:pt x="2" y="1"/>
                      </a:moveTo>
                      <a:lnTo>
                        <a:pt x="2" y="1"/>
                      </a:lnTo>
                      <a:lnTo>
                        <a:pt x="2" y="0"/>
                      </a:lnTo>
                      <a:lnTo>
                        <a:pt x="0" y="2"/>
                      </a:lnTo>
                      <a:lnTo>
                        <a:pt x="0" y="4"/>
                      </a:lnTo>
                      <a:lnTo>
                        <a:pt x="0" y="8"/>
                      </a:lnTo>
                      <a:lnTo>
                        <a:pt x="0" y="10"/>
                      </a:lnTo>
                      <a:lnTo>
                        <a:pt x="4" y="6"/>
                      </a:lnTo>
                      <a:lnTo>
                        <a:pt x="4" y="3"/>
                      </a:lnTo>
                      <a:lnTo>
                        <a:pt x="2"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1" name="Freeform 16"/>
                <p:cNvSpPr>
                  <a:spLocks/>
                </p:cNvSpPr>
                <p:nvPr/>
              </p:nvSpPr>
              <p:spPr bwMode="auto">
                <a:xfrm>
                  <a:off x="8221693" y="3098536"/>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2147483647 h 6"/>
                    <a:gd name="T16" fmla="*/ 2147483647 w 6"/>
                    <a:gd name="T17" fmla="*/ 0 h 6"/>
                    <a:gd name="T18" fmla="*/ 2147483647 w 6"/>
                    <a:gd name="T19" fmla="*/ 0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1"/>
                      </a:moveTo>
                      <a:lnTo>
                        <a:pt x="6" y="3"/>
                      </a:lnTo>
                      <a:lnTo>
                        <a:pt x="4" y="5"/>
                      </a:lnTo>
                      <a:lnTo>
                        <a:pt x="2" y="6"/>
                      </a:lnTo>
                      <a:lnTo>
                        <a:pt x="0" y="6"/>
                      </a:lnTo>
                      <a:lnTo>
                        <a:pt x="0" y="5"/>
                      </a:lnTo>
                      <a:lnTo>
                        <a:pt x="0" y="2"/>
                      </a:lnTo>
                      <a:lnTo>
                        <a:pt x="1" y="1"/>
                      </a:lnTo>
                      <a:lnTo>
                        <a:pt x="4" y="0"/>
                      </a:lnTo>
                      <a:lnTo>
                        <a:pt x="6" y="0"/>
                      </a:lnTo>
                      <a:lnTo>
                        <a:pt x="6"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2" name="Freeform 17"/>
                <p:cNvSpPr>
                  <a:spLocks/>
                </p:cNvSpPr>
                <p:nvPr/>
              </p:nvSpPr>
              <p:spPr bwMode="auto">
                <a:xfrm>
                  <a:off x="8208372" y="3119255"/>
                  <a:ext cx="2960" cy="8879"/>
                </a:xfrm>
                <a:custGeom>
                  <a:avLst/>
                  <a:gdLst>
                    <a:gd name="T0" fmla="*/ 2147483647 w 2"/>
                    <a:gd name="T1" fmla="*/ 2147483647 h 6"/>
                    <a:gd name="T2" fmla="*/ 2147483647 w 2"/>
                    <a:gd name="T3" fmla="*/ 2147483647 h 6"/>
                    <a:gd name="T4" fmla="*/ 2147483647 w 2"/>
                    <a:gd name="T5" fmla="*/ 0 h 6"/>
                    <a:gd name="T6" fmla="*/ 0 w 2"/>
                    <a:gd name="T7" fmla="*/ 2147483647 h 6"/>
                    <a:gd name="T8" fmla="*/ 0 w 2"/>
                    <a:gd name="T9" fmla="*/ 2147483647 h 6"/>
                    <a:gd name="T10" fmla="*/ 0 w 2"/>
                    <a:gd name="T11" fmla="*/ 2147483647 h 6"/>
                    <a:gd name="T12" fmla="*/ 2147483647 w 2"/>
                    <a:gd name="T13" fmla="*/ 2147483647 h 6"/>
                    <a:gd name="T14" fmla="*/ 2147483647 w 2"/>
                    <a:gd name="T15" fmla="*/ 2147483647 h 6"/>
                    <a:gd name="T16" fmla="*/ 2147483647 w 2"/>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6"/>
                    <a:gd name="T29" fmla="*/ 2 w 2"/>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6">
                      <a:moveTo>
                        <a:pt x="2" y="4"/>
                      </a:moveTo>
                      <a:lnTo>
                        <a:pt x="2" y="1"/>
                      </a:lnTo>
                      <a:lnTo>
                        <a:pt x="1" y="0"/>
                      </a:lnTo>
                      <a:lnTo>
                        <a:pt x="0" y="1"/>
                      </a:lnTo>
                      <a:lnTo>
                        <a:pt x="0" y="2"/>
                      </a:lnTo>
                      <a:lnTo>
                        <a:pt x="0" y="6"/>
                      </a:lnTo>
                      <a:lnTo>
                        <a:pt x="2" y="6"/>
                      </a:lnTo>
                      <a:lnTo>
                        <a:pt x="2" y="5"/>
                      </a:lnTo>
                      <a:lnTo>
                        <a:pt x="2"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3" name="Freeform 18"/>
                <p:cNvSpPr>
                  <a:spLocks/>
                </p:cNvSpPr>
                <p:nvPr/>
              </p:nvSpPr>
              <p:spPr bwMode="auto">
                <a:xfrm>
                  <a:off x="8220209" y="3097057"/>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0 w 6"/>
                    <a:gd name="T15" fmla="*/ 2147483647 h 6"/>
                    <a:gd name="T16" fmla="*/ 0 w 6"/>
                    <a:gd name="T17" fmla="*/ 2147483647 h 6"/>
                    <a:gd name="T18" fmla="*/ 2147483647 w 6"/>
                    <a:gd name="T19" fmla="*/ 2147483647 h 6"/>
                    <a:gd name="T20" fmla="*/ 2147483647 w 6"/>
                    <a:gd name="T21" fmla="*/ 0 h 6"/>
                    <a:gd name="T22" fmla="*/ 2147483647 w 6"/>
                    <a:gd name="T23" fmla="*/ 0 h 6"/>
                    <a:gd name="T24" fmla="*/ 2147483647 w 6"/>
                    <a:gd name="T25" fmla="*/ 0 h 6"/>
                    <a:gd name="T26" fmla="*/ 2147483647 w 6"/>
                    <a:gd name="T27" fmla="*/ 0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1"/>
                      </a:moveTo>
                      <a:lnTo>
                        <a:pt x="6" y="1"/>
                      </a:lnTo>
                      <a:lnTo>
                        <a:pt x="6" y="3"/>
                      </a:lnTo>
                      <a:lnTo>
                        <a:pt x="3" y="4"/>
                      </a:lnTo>
                      <a:lnTo>
                        <a:pt x="2" y="6"/>
                      </a:lnTo>
                      <a:lnTo>
                        <a:pt x="0" y="6"/>
                      </a:lnTo>
                      <a:lnTo>
                        <a:pt x="0" y="4"/>
                      </a:lnTo>
                      <a:lnTo>
                        <a:pt x="0" y="2"/>
                      </a:lnTo>
                      <a:lnTo>
                        <a:pt x="1" y="1"/>
                      </a:lnTo>
                      <a:lnTo>
                        <a:pt x="3" y="0"/>
                      </a:lnTo>
                      <a:lnTo>
                        <a:pt x="6" y="0"/>
                      </a:lnTo>
                      <a:lnTo>
                        <a:pt x="6"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4" name="Freeform 19"/>
                <p:cNvSpPr>
                  <a:spLocks/>
                </p:cNvSpPr>
                <p:nvPr/>
              </p:nvSpPr>
              <p:spPr bwMode="auto">
                <a:xfrm>
                  <a:off x="8205411" y="3117775"/>
                  <a:ext cx="4440" cy="8879"/>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2147483647 w 3"/>
                    <a:gd name="T9" fmla="*/ 0 h 6"/>
                    <a:gd name="T10" fmla="*/ 2147483647 w 3"/>
                    <a:gd name="T11" fmla="*/ 0 h 6"/>
                    <a:gd name="T12" fmla="*/ 0 w 3"/>
                    <a:gd name="T13" fmla="*/ 2147483647 h 6"/>
                    <a:gd name="T14" fmla="*/ 0 w 3"/>
                    <a:gd name="T15" fmla="*/ 2147483647 h 6"/>
                    <a:gd name="T16" fmla="*/ 0 w 3"/>
                    <a:gd name="T17" fmla="*/ 2147483647 h 6"/>
                    <a:gd name="T18" fmla="*/ 0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6"/>
                    <a:gd name="T47" fmla="*/ 3 w 3"/>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6">
                      <a:moveTo>
                        <a:pt x="3" y="3"/>
                      </a:moveTo>
                      <a:lnTo>
                        <a:pt x="3" y="3"/>
                      </a:lnTo>
                      <a:lnTo>
                        <a:pt x="3" y="1"/>
                      </a:lnTo>
                      <a:lnTo>
                        <a:pt x="2" y="0"/>
                      </a:lnTo>
                      <a:lnTo>
                        <a:pt x="0" y="1"/>
                      </a:lnTo>
                      <a:lnTo>
                        <a:pt x="0" y="2"/>
                      </a:lnTo>
                      <a:lnTo>
                        <a:pt x="0" y="6"/>
                      </a:lnTo>
                      <a:lnTo>
                        <a:pt x="3" y="6"/>
                      </a:lnTo>
                      <a:lnTo>
                        <a:pt x="3" y="5"/>
                      </a:lnTo>
                      <a:lnTo>
                        <a:pt x="3"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5" name="Freeform 20"/>
                <p:cNvSpPr>
                  <a:spLocks/>
                </p:cNvSpPr>
                <p:nvPr/>
              </p:nvSpPr>
              <p:spPr bwMode="auto">
                <a:xfrm>
                  <a:off x="8172855" y="3156252"/>
                  <a:ext cx="8879" cy="8879"/>
                </a:xfrm>
                <a:custGeom>
                  <a:avLst/>
                  <a:gdLst>
                    <a:gd name="T0" fmla="*/ 2147483647 w 7"/>
                    <a:gd name="T1" fmla="*/ 2147483647 h 6"/>
                    <a:gd name="T2" fmla="*/ 2147483647 w 7"/>
                    <a:gd name="T3" fmla="*/ 2147483647 h 6"/>
                    <a:gd name="T4" fmla="*/ 2147483647 w 7"/>
                    <a:gd name="T5" fmla="*/ 0 h 6"/>
                    <a:gd name="T6" fmla="*/ 2147483647 w 7"/>
                    <a:gd name="T7" fmla="*/ 2147483647 h 6"/>
                    <a:gd name="T8" fmla="*/ 2147483647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6"/>
                    <a:gd name="T32" fmla="*/ 7 w 7"/>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6">
                      <a:moveTo>
                        <a:pt x="5" y="2"/>
                      </a:moveTo>
                      <a:lnTo>
                        <a:pt x="7" y="1"/>
                      </a:lnTo>
                      <a:lnTo>
                        <a:pt x="7" y="0"/>
                      </a:lnTo>
                      <a:lnTo>
                        <a:pt x="3" y="1"/>
                      </a:lnTo>
                      <a:lnTo>
                        <a:pt x="2" y="2"/>
                      </a:lnTo>
                      <a:lnTo>
                        <a:pt x="0" y="5"/>
                      </a:lnTo>
                      <a:lnTo>
                        <a:pt x="2" y="6"/>
                      </a:lnTo>
                      <a:lnTo>
                        <a:pt x="3" y="6"/>
                      </a:lnTo>
                      <a:lnTo>
                        <a:pt x="5" y="5"/>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6" name="Freeform 21"/>
                <p:cNvSpPr>
                  <a:spLocks/>
                </p:cNvSpPr>
                <p:nvPr/>
              </p:nvSpPr>
              <p:spPr bwMode="auto">
                <a:xfrm>
                  <a:off x="8511748" y="2861755"/>
                  <a:ext cx="20718" cy="29598"/>
                </a:xfrm>
                <a:custGeom>
                  <a:avLst/>
                  <a:gdLst>
                    <a:gd name="T0" fmla="*/ 0 w 16"/>
                    <a:gd name="T1" fmla="*/ 2147483647 h 20"/>
                    <a:gd name="T2" fmla="*/ 0 w 16"/>
                    <a:gd name="T3" fmla="*/ 2147483647 h 20"/>
                    <a:gd name="T4" fmla="*/ 2147483647 w 16"/>
                    <a:gd name="T5" fmla="*/ 2147483647 h 20"/>
                    <a:gd name="T6" fmla="*/ 2147483647 w 16"/>
                    <a:gd name="T7" fmla="*/ 2147483647 h 20"/>
                    <a:gd name="T8" fmla="*/ 2147483647 w 16"/>
                    <a:gd name="T9" fmla="*/ 2147483647 h 20"/>
                    <a:gd name="T10" fmla="*/ 2147483647 w 16"/>
                    <a:gd name="T11" fmla="*/ 2147483647 h 20"/>
                    <a:gd name="T12" fmla="*/ 2147483647 w 16"/>
                    <a:gd name="T13" fmla="*/ 2147483647 h 20"/>
                    <a:gd name="T14" fmla="*/ 2147483647 w 16"/>
                    <a:gd name="T15" fmla="*/ 2147483647 h 20"/>
                    <a:gd name="T16" fmla="*/ 2147483647 w 16"/>
                    <a:gd name="T17" fmla="*/ 2147483647 h 20"/>
                    <a:gd name="T18" fmla="*/ 2147483647 w 16"/>
                    <a:gd name="T19" fmla="*/ 2147483647 h 20"/>
                    <a:gd name="T20" fmla="*/ 2147483647 w 16"/>
                    <a:gd name="T21" fmla="*/ 2147483647 h 20"/>
                    <a:gd name="T22" fmla="*/ 2147483647 w 16"/>
                    <a:gd name="T23" fmla="*/ 2147483647 h 20"/>
                    <a:gd name="T24" fmla="*/ 0 w 16"/>
                    <a:gd name="T25" fmla="*/ 0 h 20"/>
                    <a:gd name="T26" fmla="*/ 0 w 16"/>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0"/>
                    <a:gd name="T44" fmla="*/ 16 w 1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0">
                      <a:moveTo>
                        <a:pt x="0" y="1"/>
                      </a:moveTo>
                      <a:lnTo>
                        <a:pt x="0" y="7"/>
                      </a:lnTo>
                      <a:lnTo>
                        <a:pt x="2" y="10"/>
                      </a:lnTo>
                      <a:lnTo>
                        <a:pt x="10" y="19"/>
                      </a:lnTo>
                      <a:lnTo>
                        <a:pt x="13" y="20"/>
                      </a:lnTo>
                      <a:lnTo>
                        <a:pt x="15" y="19"/>
                      </a:lnTo>
                      <a:lnTo>
                        <a:pt x="16" y="16"/>
                      </a:lnTo>
                      <a:lnTo>
                        <a:pt x="16" y="14"/>
                      </a:lnTo>
                      <a:lnTo>
                        <a:pt x="11" y="9"/>
                      </a:lnTo>
                      <a:lnTo>
                        <a:pt x="6" y="6"/>
                      </a:lnTo>
                      <a:lnTo>
                        <a:pt x="4" y="2"/>
                      </a:lnTo>
                      <a:lnTo>
                        <a:pt x="2" y="1"/>
                      </a:lnTo>
                      <a:lnTo>
                        <a:pt x="0" y="0"/>
                      </a:lnTo>
                      <a:lnTo>
                        <a:pt x="0"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7" name="Freeform 22"/>
                <p:cNvSpPr>
                  <a:spLocks/>
                </p:cNvSpPr>
                <p:nvPr/>
              </p:nvSpPr>
              <p:spPr bwMode="auto">
                <a:xfrm>
                  <a:off x="8171377" y="3154772"/>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0 h 6"/>
                    <a:gd name="T8" fmla="*/ 2147483647 w 6"/>
                    <a:gd name="T9" fmla="*/ 0 h 6"/>
                    <a:gd name="T10" fmla="*/ 2147483647 w 6"/>
                    <a:gd name="T11" fmla="*/ 2147483647 h 6"/>
                    <a:gd name="T12" fmla="*/ 2147483647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6"/>
                    <a:gd name="T47" fmla="*/ 6 w 6"/>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6">
                      <a:moveTo>
                        <a:pt x="5" y="2"/>
                      </a:moveTo>
                      <a:lnTo>
                        <a:pt x="5" y="2"/>
                      </a:lnTo>
                      <a:lnTo>
                        <a:pt x="6" y="1"/>
                      </a:lnTo>
                      <a:lnTo>
                        <a:pt x="6" y="0"/>
                      </a:lnTo>
                      <a:lnTo>
                        <a:pt x="3" y="1"/>
                      </a:lnTo>
                      <a:lnTo>
                        <a:pt x="1" y="2"/>
                      </a:lnTo>
                      <a:lnTo>
                        <a:pt x="0" y="5"/>
                      </a:lnTo>
                      <a:lnTo>
                        <a:pt x="1" y="6"/>
                      </a:lnTo>
                      <a:lnTo>
                        <a:pt x="3" y="6"/>
                      </a:lnTo>
                      <a:lnTo>
                        <a:pt x="5" y="5"/>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8" name="Freeform 23"/>
                <p:cNvSpPr>
                  <a:spLocks/>
                </p:cNvSpPr>
                <p:nvPr/>
              </p:nvSpPr>
              <p:spPr bwMode="auto">
                <a:xfrm>
                  <a:off x="8510267" y="2860273"/>
                  <a:ext cx="20718" cy="29598"/>
                </a:xfrm>
                <a:custGeom>
                  <a:avLst/>
                  <a:gdLst>
                    <a:gd name="T0" fmla="*/ 0 w 16"/>
                    <a:gd name="T1" fmla="*/ 2147483647 h 20"/>
                    <a:gd name="T2" fmla="*/ 0 w 16"/>
                    <a:gd name="T3" fmla="*/ 2147483647 h 20"/>
                    <a:gd name="T4" fmla="*/ 0 w 16"/>
                    <a:gd name="T5" fmla="*/ 2147483647 h 20"/>
                    <a:gd name="T6" fmla="*/ 2147483647 w 16"/>
                    <a:gd name="T7" fmla="*/ 2147483647 h 20"/>
                    <a:gd name="T8" fmla="*/ 2147483647 w 16"/>
                    <a:gd name="T9" fmla="*/ 2147483647 h 20"/>
                    <a:gd name="T10" fmla="*/ 2147483647 w 16"/>
                    <a:gd name="T11" fmla="*/ 2147483647 h 20"/>
                    <a:gd name="T12" fmla="*/ 2147483647 w 16"/>
                    <a:gd name="T13" fmla="*/ 2147483647 h 20"/>
                    <a:gd name="T14" fmla="*/ 2147483647 w 16"/>
                    <a:gd name="T15" fmla="*/ 2147483647 h 20"/>
                    <a:gd name="T16" fmla="*/ 2147483647 w 16"/>
                    <a:gd name="T17" fmla="*/ 2147483647 h 20"/>
                    <a:gd name="T18" fmla="*/ 2147483647 w 16"/>
                    <a:gd name="T19" fmla="*/ 2147483647 h 20"/>
                    <a:gd name="T20" fmla="*/ 2147483647 w 16"/>
                    <a:gd name="T21" fmla="*/ 2147483647 h 20"/>
                    <a:gd name="T22" fmla="*/ 2147483647 w 16"/>
                    <a:gd name="T23" fmla="*/ 2147483647 h 20"/>
                    <a:gd name="T24" fmla="*/ 2147483647 w 16"/>
                    <a:gd name="T25" fmla="*/ 2147483647 h 20"/>
                    <a:gd name="T26" fmla="*/ 2147483647 w 16"/>
                    <a:gd name="T27" fmla="*/ 2147483647 h 20"/>
                    <a:gd name="T28" fmla="*/ 2147483647 w 16"/>
                    <a:gd name="T29" fmla="*/ 2147483647 h 20"/>
                    <a:gd name="T30" fmla="*/ 2147483647 w 16"/>
                    <a:gd name="T31" fmla="*/ 2147483647 h 20"/>
                    <a:gd name="T32" fmla="*/ 2147483647 w 16"/>
                    <a:gd name="T33" fmla="*/ 2147483647 h 20"/>
                    <a:gd name="T34" fmla="*/ 0 w 16"/>
                    <a:gd name="T35" fmla="*/ 0 h 20"/>
                    <a:gd name="T36" fmla="*/ 0 w 16"/>
                    <a:gd name="T37" fmla="*/ 0 h 20"/>
                    <a:gd name="T38" fmla="*/ 0 w 16"/>
                    <a:gd name="T39" fmla="*/ 2147483647 h 20"/>
                    <a:gd name="T40" fmla="*/ 0 w 16"/>
                    <a:gd name="T41" fmla="*/ 2147483647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20"/>
                    <a:gd name="T65" fmla="*/ 16 w 16"/>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20">
                      <a:moveTo>
                        <a:pt x="0" y="1"/>
                      </a:moveTo>
                      <a:lnTo>
                        <a:pt x="0" y="1"/>
                      </a:lnTo>
                      <a:lnTo>
                        <a:pt x="0" y="7"/>
                      </a:lnTo>
                      <a:lnTo>
                        <a:pt x="2" y="10"/>
                      </a:lnTo>
                      <a:lnTo>
                        <a:pt x="10" y="19"/>
                      </a:lnTo>
                      <a:lnTo>
                        <a:pt x="12" y="20"/>
                      </a:lnTo>
                      <a:lnTo>
                        <a:pt x="15" y="19"/>
                      </a:lnTo>
                      <a:lnTo>
                        <a:pt x="16" y="16"/>
                      </a:lnTo>
                      <a:lnTo>
                        <a:pt x="16" y="14"/>
                      </a:lnTo>
                      <a:lnTo>
                        <a:pt x="11" y="9"/>
                      </a:lnTo>
                      <a:lnTo>
                        <a:pt x="6" y="6"/>
                      </a:lnTo>
                      <a:lnTo>
                        <a:pt x="3" y="2"/>
                      </a:lnTo>
                      <a:lnTo>
                        <a:pt x="2" y="1"/>
                      </a:lnTo>
                      <a:lnTo>
                        <a:pt x="0" y="0"/>
                      </a:lnTo>
                      <a:lnTo>
                        <a:pt x="0"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29" name="Freeform 24"/>
                <p:cNvSpPr>
                  <a:spLocks/>
                </p:cNvSpPr>
                <p:nvPr/>
              </p:nvSpPr>
              <p:spPr bwMode="auto">
                <a:xfrm>
                  <a:off x="8575379" y="2882472"/>
                  <a:ext cx="19239" cy="11839"/>
                </a:xfrm>
                <a:custGeom>
                  <a:avLst/>
                  <a:gdLst>
                    <a:gd name="T0" fmla="*/ 2147483647 w 14"/>
                    <a:gd name="T1" fmla="*/ 2147483647 h 8"/>
                    <a:gd name="T2" fmla="*/ 2147483647 w 14"/>
                    <a:gd name="T3" fmla="*/ 2147483647 h 8"/>
                    <a:gd name="T4" fmla="*/ 2147483647 w 14"/>
                    <a:gd name="T5" fmla="*/ 0 h 8"/>
                    <a:gd name="T6" fmla="*/ 0 w 14"/>
                    <a:gd name="T7" fmla="*/ 0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8"/>
                    <a:gd name="T29" fmla="*/ 14 w 1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8">
                      <a:moveTo>
                        <a:pt x="14" y="6"/>
                      </a:moveTo>
                      <a:lnTo>
                        <a:pt x="7" y="1"/>
                      </a:lnTo>
                      <a:lnTo>
                        <a:pt x="4" y="0"/>
                      </a:lnTo>
                      <a:lnTo>
                        <a:pt x="0" y="0"/>
                      </a:lnTo>
                      <a:lnTo>
                        <a:pt x="6" y="7"/>
                      </a:lnTo>
                      <a:lnTo>
                        <a:pt x="9" y="8"/>
                      </a:lnTo>
                      <a:lnTo>
                        <a:pt x="11" y="8"/>
                      </a:lnTo>
                      <a:lnTo>
                        <a:pt x="14" y="7"/>
                      </a:lnTo>
                      <a:lnTo>
                        <a:pt x="14"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0" name="Freeform 25"/>
                <p:cNvSpPr>
                  <a:spLocks/>
                </p:cNvSpPr>
                <p:nvPr/>
              </p:nvSpPr>
              <p:spPr bwMode="auto">
                <a:xfrm>
                  <a:off x="8664174" y="2946107"/>
                  <a:ext cx="16279" cy="11839"/>
                </a:xfrm>
                <a:custGeom>
                  <a:avLst/>
                  <a:gdLst>
                    <a:gd name="T0" fmla="*/ 2147483647 w 12"/>
                    <a:gd name="T1" fmla="*/ 2147483647 h 8"/>
                    <a:gd name="T2" fmla="*/ 2147483647 w 12"/>
                    <a:gd name="T3" fmla="*/ 2147483647 h 8"/>
                    <a:gd name="T4" fmla="*/ 2147483647 w 12"/>
                    <a:gd name="T5" fmla="*/ 2147483647 h 8"/>
                    <a:gd name="T6" fmla="*/ 2147483647 w 12"/>
                    <a:gd name="T7" fmla="*/ 0 h 8"/>
                    <a:gd name="T8" fmla="*/ 0 w 12"/>
                    <a:gd name="T9" fmla="*/ 2147483647 h 8"/>
                    <a:gd name="T10" fmla="*/ 0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8"/>
                    <a:gd name="T32" fmla="*/ 12 w 12"/>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8">
                      <a:moveTo>
                        <a:pt x="12" y="7"/>
                      </a:moveTo>
                      <a:lnTo>
                        <a:pt x="11" y="3"/>
                      </a:lnTo>
                      <a:lnTo>
                        <a:pt x="7" y="1"/>
                      </a:lnTo>
                      <a:lnTo>
                        <a:pt x="3" y="0"/>
                      </a:lnTo>
                      <a:lnTo>
                        <a:pt x="0" y="2"/>
                      </a:lnTo>
                      <a:lnTo>
                        <a:pt x="0" y="3"/>
                      </a:lnTo>
                      <a:lnTo>
                        <a:pt x="1" y="4"/>
                      </a:lnTo>
                      <a:lnTo>
                        <a:pt x="9" y="8"/>
                      </a:lnTo>
                      <a:lnTo>
                        <a:pt x="11" y="8"/>
                      </a:lnTo>
                      <a:lnTo>
                        <a:pt x="12"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1" name="Freeform 26"/>
                <p:cNvSpPr>
                  <a:spLocks/>
                </p:cNvSpPr>
                <p:nvPr/>
              </p:nvSpPr>
              <p:spPr bwMode="auto">
                <a:xfrm>
                  <a:off x="8573900" y="2880992"/>
                  <a:ext cx="19238" cy="11839"/>
                </a:xfrm>
                <a:custGeom>
                  <a:avLst/>
                  <a:gdLst>
                    <a:gd name="T0" fmla="*/ 2147483647 w 14"/>
                    <a:gd name="T1" fmla="*/ 2147483647 h 8"/>
                    <a:gd name="T2" fmla="*/ 2147483647 w 14"/>
                    <a:gd name="T3" fmla="*/ 2147483647 h 8"/>
                    <a:gd name="T4" fmla="*/ 2147483647 w 14"/>
                    <a:gd name="T5" fmla="*/ 2147483647 h 8"/>
                    <a:gd name="T6" fmla="*/ 2147483647 w 14"/>
                    <a:gd name="T7" fmla="*/ 0 h 8"/>
                    <a:gd name="T8" fmla="*/ 0 w 14"/>
                    <a:gd name="T9" fmla="*/ 0 h 8"/>
                    <a:gd name="T10" fmla="*/ 0 w 14"/>
                    <a:gd name="T11" fmla="*/ 0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2147483647 w 14"/>
                    <a:gd name="T21" fmla="*/ 2147483647 h 8"/>
                    <a:gd name="T22" fmla="*/ 2147483647 w 14"/>
                    <a:gd name="T23" fmla="*/ 2147483647 h 8"/>
                    <a:gd name="T24" fmla="*/ 2147483647 w 14"/>
                    <a:gd name="T25" fmla="*/ 2147483647 h 8"/>
                    <a:gd name="T26" fmla="*/ 2147483647 w 14"/>
                    <a:gd name="T27" fmla="*/ 2147483647 h 8"/>
                    <a:gd name="T28" fmla="*/ 2147483647 w 1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8"/>
                    <a:gd name="T47" fmla="*/ 14 w 1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8">
                      <a:moveTo>
                        <a:pt x="14" y="6"/>
                      </a:moveTo>
                      <a:lnTo>
                        <a:pt x="14" y="6"/>
                      </a:lnTo>
                      <a:lnTo>
                        <a:pt x="7" y="1"/>
                      </a:lnTo>
                      <a:lnTo>
                        <a:pt x="3" y="0"/>
                      </a:lnTo>
                      <a:lnTo>
                        <a:pt x="0" y="0"/>
                      </a:lnTo>
                      <a:lnTo>
                        <a:pt x="6" y="7"/>
                      </a:lnTo>
                      <a:lnTo>
                        <a:pt x="8" y="8"/>
                      </a:lnTo>
                      <a:lnTo>
                        <a:pt x="11" y="8"/>
                      </a:lnTo>
                      <a:lnTo>
                        <a:pt x="14" y="7"/>
                      </a:lnTo>
                      <a:lnTo>
                        <a:pt x="14"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2" name="Freeform 27"/>
                <p:cNvSpPr>
                  <a:spLocks/>
                </p:cNvSpPr>
                <p:nvPr/>
              </p:nvSpPr>
              <p:spPr bwMode="auto">
                <a:xfrm>
                  <a:off x="8661210" y="2944627"/>
                  <a:ext cx="17758" cy="11839"/>
                </a:xfrm>
                <a:custGeom>
                  <a:avLst/>
                  <a:gdLst>
                    <a:gd name="T0" fmla="*/ 2147483647 w 13"/>
                    <a:gd name="T1" fmla="*/ 2147483647 h 8"/>
                    <a:gd name="T2" fmla="*/ 2147483647 w 13"/>
                    <a:gd name="T3" fmla="*/ 2147483647 h 8"/>
                    <a:gd name="T4" fmla="*/ 2147483647 w 13"/>
                    <a:gd name="T5" fmla="*/ 2147483647 h 8"/>
                    <a:gd name="T6" fmla="*/ 2147483647 w 13"/>
                    <a:gd name="T7" fmla="*/ 2147483647 h 8"/>
                    <a:gd name="T8" fmla="*/ 2147483647 w 13"/>
                    <a:gd name="T9" fmla="*/ 0 h 8"/>
                    <a:gd name="T10" fmla="*/ 0 w 13"/>
                    <a:gd name="T11" fmla="*/ 2147483647 h 8"/>
                    <a:gd name="T12" fmla="*/ 0 w 13"/>
                    <a:gd name="T13" fmla="*/ 2147483647 h 8"/>
                    <a:gd name="T14" fmla="*/ 0 w 13"/>
                    <a:gd name="T15" fmla="*/ 2147483647 h 8"/>
                    <a:gd name="T16" fmla="*/ 2147483647 w 13"/>
                    <a:gd name="T17" fmla="*/ 2147483647 h 8"/>
                    <a:gd name="T18" fmla="*/ 2147483647 w 13"/>
                    <a:gd name="T19" fmla="*/ 2147483647 h 8"/>
                    <a:gd name="T20" fmla="*/ 2147483647 w 13"/>
                    <a:gd name="T21" fmla="*/ 2147483647 h 8"/>
                    <a:gd name="T22" fmla="*/ 2147483647 w 13"/>
                    <a:gd name="T23" fmla="*/ 2147483647 h 8"/>
                    <a:gd name="T24" fmla="*/ 2147483647 w 13"/>
                    <a:gd name="T25" fmla="*/ 2147483647 h 8"/>
                    <a:gd name="T26" fmla="*/ 2147483647 w 13"/>
                    <a:gd name="T27" fmla="*/ 2147483647 h 8"/>
                    <a:gd name="T28" fmla="*/ 2147483647 w 13"/>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8"/>
                    <a:gd name="T47" fmla="*/ 13 w 13"/>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8">
                      <a:moveTo>
                        <a:pt x="13" y="7"/>
                      </a:moveTo>
                      <a:lnTo>
                        <a:pt x="13" y="7"/>
                      </a:lnTo>
                      <a:lnTo>
                        <a:pt x="12" y="3"/>
                      </a:lnTo>
                      <a:lnTo>
                        <a:pt x="8" y="1"/>
                      </a:lnTo>
                      <a:lnTo>
                        <a:pt x="4" y="0"/>
                      </a:lnTo>
                      <a:lnTo>
                        <a:pt x="0" y="2"/>
                      </a:lnTo>
                      <a:lnTo>
                        <a:pt x="0" y="3"/>
                      </a:lnTo>
                      <a:lnTo>
                        <a:pt x="2" y="4"/>
                      </a:lnTo>
                      <a:lnTo>
                        <a:pt x="9" y="8"/>
                      </a:lnTo>
                      <a:lnTo>
                        <a:pt x="12" y="8"/>
                      </a:lnTo>
                      <a:lnTo>
                        <a:pt x="13"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3" name="Freeform 28"/>
                <p:cNvSpPr>
                  <a:spLocks/>
                </p:cNvSpPr>
                <p:nvPr/>
              </p:nvSpPr>
              <p:spPr bwMode="auto">
                <a:xfrm>
                  <a:off x="8690808" y="2974226"/>
                  <a:ext cx="13319" cy="5919"/>
                </a:xfrm>
                <a:custGeom>
                  <a:avLst/>
                  <a:gdLst>
                    <a:gd name="T0" fmla="*/ 2147483647 w 9"/>
                    <a:gd name="T1" fmla="*/ 2147483647 h 4"/>
                    <a:gd name="T2" fmla="*/ 2147483647 w 9"/>
                    <a:gd name="T3" fmla="*/ 0 h 4"/>
                    <a:gd name="T4" fmla="*/ 2147483647 w 9"/>
                    <a:gd name="T5" fmla="*/ 0 h 4"/>
                    <a:gd name="T6" fmla="*/ 0 w 9"/>
                    <a:gd name="T7" fmla="*/ 2147483647 h 4"/>
                    <a:gd name="T8" fmla="*/ 0 w 9"/>
                    <a:gd name="T9" fmla="*/ 2147483647 h 4"/>
                    <a:gd name="T10" fmla="*/ 2147483647 w 9"/>
                    <a:gd name="T11" fmla="*/ 2147483647 h 4"/>
                    <a:gd name="T12" fmla="*/ 2147483647 w 9"/>
                    <a:gd name="T13" fmla="*/ 2147483647 h 4"/>
                    <a:gd name="T14" fmla="*/ 2147483647 w 9"/>
                    <a:gd name="T15" fmla="*/ 2147483647 h 4"/>
                    <a:gd name="T16" fmla="*/ 2147483647 w 9"/>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4"/>
                    <a:gd name="T29" fmla="*/ 9 w 9"/>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4">
                      <a:moveTo>
                        <a:pt x="9" y="3"/>
                      </a:moveTo>
                      <a:lnTo>
                        <a:pt x="5" y="0"/>
                      </a:lnTo>
                      <a:lnTo>
                        <a:pt x="2" y="0"/>
                      </a:lnTo>
                      <a:lnTo>
                        <a:pt x="0" y="1"/>
                      </a:lnTo>
                      <a:lnTo>
                        <a:pt x="0" y="2"/>
                      </a:lnTo>
                      <a:lnTo>
                        <a:pt x="2" y="3"/>
                      </a:lnTo>
                      <a:lnTo>
                        <a:pt x="8" y="4"/>
                      </a:lnTo>
                      <a:lnTo>
                        <a:pt x="9" y="4"/>
                      </a:lnTo>
                      <a:lnTo>
                        <a:pt x="9"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4" name="Freeform 29"/>
                <p:cNvSpPr>
                  <a:spLocks/>
                </p:cNvSpPr>
                <p:nvPr/>
              </p:nvSpPr>
              <p:spPr bwMode="auto">
                <a:xfrm>
                  <a:off x="8776642" y="2978664"/>
                  <a:ext cx="11839" cy="14799"/>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0 w 9"/>
                    <a:gd name="T9" fmla="*/ 2147483647 h 10"/>
                    <a:gd name="T10" fmla="*/ 0 w 9"/>
                    <a:gd name="T11" fmla="*/ 2147483647 h 10"/>
                    <a:gd name="T12" fmla="*/ 2147483647 w 9"/>
                    <a:gd name="T13" fmla="*/ 2147483647 h 10"/>
                    <a:gd name="T14" fmla="*/ 2147483647 w 9"/>
                    <a:gd name="T15" fmla="*/ 2147483647 h 10"/>
                    <a:gd name="T16" fmla="*/ 2147483647 w 9"/>
                    <a:gd name="T17" fmla="*/ 0 h 10"/>
                    <a:gd name="T18" fmla="*/ 2147483647 w 9"/>
                    <a:gd name="T19" fmla="*/ 2147483647 h 10"/>
                    <a:gd name="T20" fmla="*/ 2147483647 w 9"/>
                    <a:gd name="T21" fmla="*/ 2147483647 h 10"/>
                    <a:gd name="T22" fmla="*/ 2147483647 w 9"/>
                    <a:gd name="T23" fmla="*/ 2147483647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0"/>
                    <a:gd name="T38" fmla="*/ 9 w 9"/>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0">
                      <a:moveTo>
                        <a:pt x="9" y="4"/>
                      </a:moveTo>
                      <a:lnTo>
                        <a:pt x="5" y="9"/>
                      </a:lnTo>
                      <a:lnTo>
                        <a:pt x="3" y="10"/>
                      </a:lnTo>
                      <a:lnTo>
                        <a:pt x="1" y="10"/>
                      </a:lnTo>
                      <a:lnTo>
                        <a:pt x="0" y="9"/>
                      </a:lnTo>
                      <a:lnTo>
                        <a:pt x="0" y="6"/>
                      </a:lnTo>
                      <a:lnTo>
                        <a:pt x="1" y="4"/>
                      </a:lnTo>
                      <a:lnTo>
                        <a:pt x="7" y="1"/>
                      </a:lnTo>
                      <a:lnTo>
                        <a:pt x="8" y="0"/>
                      </a:lnTo>
                      <a:lnTo>
                        <a:pt x="9" y="1"/>
                      </a:lnTo>
                      <a:lnTo>
                        <a:pt x="9" y="3"/>
                      </a:lnTo>
                      <a:lnTo>
                        <a:pt x="9"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5" name="Freeform 30"/>
                <p:cNvSpPr>
                  <a:spLocks/>
                </p:cNvSpPr>
                <p:nvPr/>
              </p:nvSpPr>
              <p:spPr bwMode="auto">
                <a:xfrm>
                  <a:off x="8690809" y="2972747"/>
                  <a:ext cx="11839" cy="5919"/>
                </a:xfrm>
                <a:custGeom>
                  <a:avLst/>
                  <a:gdLst>
                    <a:gd name="T0" fmla="*/ 2147483647 w 9"/>
                    <a:gd name="T1" fmla="*/ 2147483647 h 4"/>
                    <a:gd name="T2" fmla="*/ 2147483647 w 9"/>
                    <a:gd name="T3" fmla="*/ 2147483647 h 4"/>
                    <a:gd name="T4" fmla="*/ 2147483647 w 9"/>
                    <a:gd name="T5" fmla="*/ 0 h 4"/>
                    <a:gd name="T6" fmla="*/ 2147483647 w 9"/>
                    <a:gd name="T7" fmla="*/ 0 h 4"/>
                    <a:gd name="T8" fmla="*/ 0 w 9"/>
                    <a:gd name="T9" fmla="*/ 2147483647 h 4"/>
                    <a:gd name="T10" fmla="*/ 0 w 9"/>
                    <a:gd name="T11" fmla="*/ 2147483647 h 4"/>
                    <a:gd name="T12" fmla="*/ 0 w 9"/>
                    <a:gd name="T13" fmla="*/ 2147483647 h 4"/>
                    <a:gd name="T14" fmla="*/ 2147483647 w 9"/>
                    <a:gd name="T15" fmla="*/ 2147483647 h 4"/>
                    <a:gd name="T16" fmla="*/ 2147483647 w 9"/>
                    <a:gd name="T17" fmla="*/ 2147483647 h 4"/>
                    <a:gd name="T18" fmla="*/ 2147483647 w 9"/>
                    <a:gd name="T19" fmla="*/ 2147483647 h 4"/>
                    <a:gd name="T20" fmla="*/ 2147483647 w 9"/>
                    <a:gd name="T21" fmla="*/ 2147483647 h 4"/>
                    <a:gd name="T22" fmla="*/ 2147483647 w 9"/>
                    <a:gd name="T23" fmla="*/ 2147483647 h 4"/>
                    <a:gd name="T24" fmla="*/ 2147483647 w 9"/>
                    <a:gd name="T25" fmla="*/ 2147483647 h 4"/>
                    <a:gd name="T26" fmla="*/ 2147483647 w 9"/>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4"/>
                    <a:gd name="T44" fmla="*/ 9 w 9"/>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4">
                      <a:moveTo>
                        <a:pt x="9" y="3"/>
                      </a:moveTo>
                      <a:lnTo>
                        <a:pt x="9" y="3"/>
                      </a:lnTo>
                      <a:lnTo>
                        <a:pt x="5" y="0"/>
                      </a:lnTo>
                      <a:lnTo>
                        <a:pt x="2" y="0"/>
                      </a:lnTo>
                      <a:lnTo>
                        <a:pt x="0" y="1"/>
                      </a:lnTo>
                      <a:lnTo>
                        <a:pt x="0" y="2"/>
                      </a:lnTo>
                      <a:lnTo>
                        <a:pt x="2" y="3"/>
                      </a:lnTo>
                      <a:lnTo>
                        <a:pt x="7" y="4"/>
                      </a:lnTo>
                      <a:lnTo>
                        <a:pt x="9" y="4"/>
                      </a:lnTo>
                      <a:lnTo>
                        <a:pt x="9"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6" name="Freeform 31"/>
                <p:cNvSpPr>
                  <a:spLocks/>
                </p:cNvSpPr>
                <p:nvPr/>
              </p:nvSpPr>
              <p:spPr bwMode="auto">
                <a:xfrm>
                  <a:off x="8775162" y="2977187"/>
                  <a:ext cx="11839" cy="14799"/>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0 w 9"/>
                    <a:gd name="T11" fmla="*/ 2147483647 h 10"/>
                    <a:gd name="T12" fmla="*/ 0 w 9"/>
                    <a:gd name="T13" fmla="*/ 2147483647 h 10"/>
                    <a:gd name="T14" fmla="*/ 0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0 h 10"/>
                    <a:gd name="T24" fmla="*/ 2147483647 w 9"/>
                    <a:gd name="T25" fmla="*/ 2147483647 h 10"/>
                    <a:gd name="T26" fmla="*/ 2147483647 w 9"/>
                    <a:gd name="T27" fmla="*/ 2147483647 h 10"/>
                    <a:gd name="T28" fmla="*/ 2147483647 w 9"/>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0"/>
                    <a:gd name="T47" fmla="*/ 9 w 9"/>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0">
                      <a:moveTo>
                        <a:pt x="9" y="4"/>
                      </a:moveTo>
                      <a:lnTo>
                        <a:pt x="9" y="4"/>
                      </a:lnTo>
                      <a:lnTo>
                        <a:pt x="5" y="8"/>
                      </a:lnTo>
                      <a:lnTo>
                        <a:pt x="2" y="10"/>
                      </a:lnTo>
                      <a:lnTo>
                        <a:pt x="1" y="10"/>
                      </a:lnTo>
                      <a:lnTo>
                        <a:pt x="0" y="8"/>
                      </a:lnTo>
                      <a:lnTo>
                        <a:pt x="0" y="6"/>
                      </a:lnTo>
                      <a:lnTo>
                        <a:pt x="1" y="4"/>
                      </a:lnTo>
                      <a:lnTo>
                        <a:pt x="6" y="1"/>
                      </a:lnTo>
                      <a:lnTo>
                        <a:pt x="8" y="0"/>
                      </a:lnTo>
                      <a:lnTo>
                        <a:pt x="9" y="1"/>
                      </a:lnTo>
                      <a:lnTo>
                        <a:pt x="9" y="2"/>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7" name="Freeform 32"/>
                <p:cNvSpPr>
                  <a:spLocks/>
                </p:cNvSpPr>
                <p:nvPr/>
              </p:nvSpPr>
              <p:spPr bwMode="auto">
                <a:xfrm>
                  <a:off x="8832876" y="2980143"/>
                  <a:ext cx="7400" cy="7400"/>
                </a:xfrm>
                <a:custGeom>
                  <a:avLst/>
                  <a:gdLst>
                    <a:gd name="T0" fmla="*/ 2147483647 w 6"/>
                    <a:gd name="T1" fmla="*/ 2147483647 h 5"/>
                    <a:gd name="T2" fmla="*/ 2147483647 w 6"/>
                    <a:gd name="T3" fmla="*/ 2147483647 h 5"/>
                    <a:gd name="T4" fmla="*/ 2147483647 w 6"/>
                    <a:gd name="T5" fmla="*/ 0 h 5"/>
                    <a:gd name="T6" fmla="*/ 2147483647 w 6"/>
                    <a:gd name="T7" fmla="*/ 0 h 5"/>
                    <a:gd name="T8" fmla="*/ 0 w 6"/>
                    <a:gd name="T9" fmla="*/ 2147483647 h 5"/>
                    <a:gd name="T10" fmla="*/ 2147483647 w 6"/>
                    <a:gd name="T11" fmla="*/ 2147483647 h 5"/>
                    <a:gd name="T12" fmla="*/ 2147483647 w 6"/>
                    <a:gd name="T13" fmla="*/ 2147483647 h 5"/>
                    <a:gd name="T14" fmla="*/ 2147483647 w 6"/>
                    <a:gd name="T15" fmla="*/ 2147483647 h 5"/>
                    <a:gd name="T16" fmla="*/ 2147483647 w 6"/>
                    <a:gd name="T17" fmla="*/ 2147483647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3"/>
                      </a:moveTo>
                      <a:lnTo>
                        <a:pt x="5" y="2"/>
                      </a:lnTo>
                      <a:lnTo>
                        <a:pt x="4" y="0"/>
                      </a:lnTo>
                      <a:lnTo>
                        <a:pt x="1" y="0"/>
                      </a:lnTo>
                      <a:lnTo>
                        <a:pt x="0" y="2"/>
                      </a:lnTo>
                      <a:lnTo>
                        <a:pt x="1" y="4"/>
                      </a:lnTo>
                      <a:lnTo>
                        <a:pt x="2" y="5"/>
                      </a:lnTo>
                      <a:lnTo>
                        <a:pt x="4" y="5"/>
                      </a:lnTo>
                      <a:lnTo>
                        <a:pt x="5" y="5"/>
                      </a:lnTo>
                      <a:lnTo>
                        <a:pt x="6"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8" name="Freeform 33"/>
                <p:cNvSpPr>
                  <a:spLocks/>
                </p:cNvSpPr>
                <p:nvPr/>
              </p:nvSpPr>
              <p:spPr bwMode="auto">
                <a:xfrm>
                  <a:off x="8812161" y="3002342"/>
                  <a:ext cx="20718" cy="11839"/>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2147483647 w 16"/>
                    <a:gd name="T9" fmla="*/ 0 h 8"/>
                    <a:gd name="T10" fmla="*/ 0 w 16"/>
                    <a:gd name="T11" fmla="*/ 0 h 8"/>
                    <a:gd name="T12" fmla="*/ 0 w 16"/>
                    <a:gd name="T13" fmla="*/ 2147483647 h 8"/>
                    <a:gd name="T14" fmla="*/ 2147483647 w 16"/>
                    <a:gd name="T15" fmla="*/ 2147483647 h 8"/>
                    <a:gd name="T16" fmla="*/ 2147483647 w 16"/>
                    <a:gd name="T17" fmla="*/ 2147483647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6" y="7"/>
                      </a:moveTo>
                      <a:lnTo>
                        <a:pt x="16" y="6"/>
                      </a:lnTo>
                      <a:lnTo>
                        <a:pt x="10" y="3"/>
                      </a:lnTo>
                      <a:lnTo>
                        <a:pt x="3" y="1"/>
                      </a:lnTo>
                      <a:lnTo>
                        <a:pt x="2" y="0"/>
                      </a:lnTo>
                      <a:lnTo>
                        <a:pt x="0" y="0"/>
                      </a:lnTo>
                      <a:lnTo>
                        <a:pt x="0" y="1"/>
                      </a:lnTo>
                      <a:lnTo>
                        <a:pt x="1" y="2"/>
                      </a:lnTo>
                      <a:lnTo>
                        <a:pt x="3" y="6"/>
                      </a:lnTo>
                      <a:lnTo>
                        <a:pt x="7" y="7"/>
                      </a:lnTo>
                      <a:lnTo>
                        <a:pt x="12" y="8"/>
                      </a:lnTo>
                      <a:lnTo>
                        <a:pt x="1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39" name="Freeform 34"/>
                <p:cNvSpPr>
                  <a:spLocks/>
                </p:cNvSpPr>
                <p:nvPr/>
              </p:nvSpPr>
              <p:spPr bwMode="auto">
                <a:xfrm>
                  <a:off x="8831400" y="2978667"/>
                  <a:ext cx="7399" cy="7399"/>
                </a:xfrm>
                <a:custGeom>
                  <a:avLst/>
                  <a:gdLst>
                    <a:gd name="T0" fmla="*/ 2147483647 w 6"/>
                    <a:gd name="T1" fmla="*/ 2147483647 h 5"/>
                    <a:gd name="T2" fmla="*/ 2147483647 w 6"/>
                    <a:gd name="T3" fmla="*/ 2147483647 h 5"/>
                    <a:gd name="T4" fmla="*/ 2147483647 w 6"/>
                    <a:gd name="T5" fmla="*/ 2147483647 h 5"/>
                    <a:gd name="T6" fmla="*/ 2147483647 w 6"/>
                    <a:gd name="T7" fmla="*/ 0 h 5"/>
                    <a:gd name="T8" fmla="*/ 2147483647 w 6"/>
                    <a:gd name="T9" fmla="*/ 0 h 5"/>
                    <a:gd name="T10" fmla="*/ 2147483647 w 6"/>
                    <a:gd name="T11" fmla="*/ 0 h 5"/>
                    <a:gd name="T12" fmla="*/ 0 w 6"/>
                    <a:gd name="T13" fmla="*/ 2147483647 h 5"/>
                    <a:gd name="T14" fmla="*/ 0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5"/>
                    <a:gd name="T47" fmla="*/ 6 w 6"/>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5">
                      <a:moveTo>
                        <a:pt x="6" y="3"/>
                      </a:moveTo>
                      <a:lnTo>
                        <a:pt x="6" y="3"/>
                      </a:lnTo>
                      <a:lnTo>
                        <a:pt x="5" y="1"/>
                      </a:lnTo>
                      <a:lnTo>
                        <a:pt x="3" y="0"/>
                      </a:lnTo>
                      <a:lnTo>
                        <a:pt x="1" y="0"/>
                      </a:lnTo>
                      <a:lnTo>
                        <a:pt x="0" y="1"/>
                      </a:lnTo>
                      <a:lnTo>
                        <a:pt x="1" y="4"/>
                      </a:lnTo>
                      <a:lnTo>
                        <a:pt x="2" y="5"/>
                      </a:lnTo>
                      <a:lnTo>
                        <a:pt x="3" y="5"/>
                      </a:lnTo>
                      <a:lnTo>
                        <a:pt x="5" y="5"/>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0" name="Freeform 35"/>
                <p:cNvSpPr>
                  <a:spLocks/>
                </p:cNvSpPr>
                <p:nvPr/>
              </p:nvSpPr>
              <p:spPr bwMode="auto">
                <a:xfrm>
                  <a:off x="8809199" y="2999385"/>
                  <a:ext cx="23678" cy="13319"/>
                </a:xfrm>
                <a:custGeom>
                  <a:avLst/>
                  <a:gdLst>
                    <a:gd name="T0" fmla="*/ 2147483647 w 17"/>
                    <a:gd name="T1" fmla="*/ 2147483647 h 9"/>
                    <a:gd name="T2" fmla="*/ 2147483647 w 17"/>
                    <a:gd name="T3" fmla="*/ 2147483647 h 9"/>
                    <a:gd name="T4" fmla="*/ 2147483647 w 17"/>
                    <a:gd name="T5" fmla="*/ 2147483647 h 9"/>
                    <a:gd name="T6" fmla="*/ 2147483647 w 17"/>
                    <a:gd name="T7" fmla="*/ 2147483647 h 9"/>
                    <a:gd name="T8" fmla="*/ 2147483647 w 17"/>
                    <a:gd name="T9" fmla="*/ 2147483647 h 9"/>
                    <a:gd name="T10" fmla="*/ 2147483647 w 17"/>
                    <a:gd name="T11" fmla="*/ 2147483647 h 9"/>
                    <a:gd name="T12" fmla="*/ 2147483647 w 17"/>
                    <a:gd name="T13" fmla="*/ 2147483647 h 9"/>
                    <a:gd name="T14" fmla="*/ 2147483647 w 17"/>
                    <a:gd name="T15" fmla="*/ 0 h 9"/>
                    <a:gd name="T16" fmla="*/ 0 w 17"/>
                    <a:gd name="T17" fmla="*/ 0 h 9"/>
                    <a:gd name="T18" fmla="*/ 0 w 17"/>
                    <a:gd name="T19" fmla="*/ 0 h 9"/>
                    <a:gd name="T20" fmla="*/ 0 w 17"/>
                    <a:gd name="T21" fmla="*/ 2147483647 h 9"/>
                    <a:gd name="T22" fmla="*/ 0 w 17"/>
                    <a:gd name="T23" fmla="*/ 2147483647 h 9"/>
                    <a:gd name="T24" fmla="*/ 2147483647 w 17"/>
                    <a:gd name="T25" fmla="*/ 2147483647 h 9"/>
                    <a:gd name="T26" fmla="*/ 2147483647 w 17"/>
                    <a:gd name="T27" fmla="*/ 2147483647 h 9"/>
                    <a:gd name="T28" fmla="*/ 2147483647 w 17"/>
                    <a:gd name="T29" fmla="*/ 2147483647 h 9"/>
                    <a:gd name="T30" fmla="*/ 2147483647 w 17"/>
                    <a:gd name="T31" fmla="*/ 2147483647 h 9"/>
                    <a:gd name="T32" fmla="*/ 2147483647 w 17"/>
                    <a:gd name="T33" fmla="*/ 2147483647 h 9"/>
                    <a:gd name="T34" fmla="*/ 2147483647 w 17"/>
                    <a:gd name="T35" fmla="*/ 2147483647 h 9"/>
                    <a:gd name="T36" fmla="*/ 2147483647 w 17"/>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9"/>
                    <a:gd name="T59" fmla="*/ 17 w 17"/>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9">
                      <a:moveTo>
                        <a:pt x="17" y="8"/>
                      </a:moveTo>
                      <a:lnTo>
                        <a:pt x="17" y="8"/>
                      </a:lnTo>
                      <a:lnTo>
                        <a:pt x="17" y="6"/>
                      </a:lnTo>
                      <a:lnTo>
                        <a:pt x="10" y="4"/>
                      </a:lnTo>
                      <a:lnTo>
                        <a:pt x="4" y="2"/>
                      </a:lnTo>
                      <a:lnTo>
                        <a:pt x="3" y="0"/>
                      </a:lnTo>
                      <a:lnTo>
                        <a:pt x="0" y="0"/>
                      </a:lnTo>
                      <a:lnTo>
                        <a:pt x="0" y="2"/>
                      </a:lnTo>
                      <a:lnTo>
                        <a:pt x="2" y="3"/>
                      </a:lnTo>
                      <a:lnTo>
                        <a:pt x="4" y="6"/>
                      </a:lnTo>
                      <a:lnTo>
                        <a:pt x="8" y="8"/>
                      </a:lnTo>
                      <a:lnTo>
                        <a:pt x="13" y="9"/>
                      </a:lnTo>
                      <a:lnTo>
                        <a:pt x="17"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1" name="Freeform 36"/>
                <p:cNvSpPr>
                  <a:spLocks/>
                </p:cNvSpPr>
                <p:nvPr/>
              </p:nvSpPr>
              <p:spPr bwMode="auto">
                <a:xfrm>
                  <a:off x="8863957" y="2987542"/>
                  <a:ext cx="7399" cy="11839"/>
                </a:xfrm>
                <a:custGeom>
                  <a:avLst/>
                  <a:gdLst>
                    <a:gd name="T0" fmla="*/ 2147483647 w 6"/>
                    <a:gd name="T1" fmla="*/ 2147483647 h 8"/>
                    <a:gd name="T2" fmla="*/ 2147483647 w 6"/>
                    <a:gd name="T3" fmla="*/ 0 h 8"/>
                    <a:gd name="T4" fmla="*/ 2147483647 w 6"/>
                    <a:gd name="T5" fmla="*/ 2147483647 h 8"/>
                    <a:gd name="T6" fmla="*/ 2147483647 w 6"/>
                    <a:gd name="T7" fmla="*/ 2147483647 h 8"/>
                    <a:gd name="T8" fmla="*/ 0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6" y="1"/>
                      </a:moveTo>
                      <a:lnTo>
                        <a:pt x="5" y="0"/>
                      </a:lnTo>
                      <a:lnTo>
                        <a:pt x="3" y="1"/>
                      </a:lnTo>
                      <a:lnTo>
                        <a:pt x="1" y="4"/>
                      </a:lnTo>
                      <a:lnTo>
                        <a:pt x="0" y="7"/>
                      </a:lnTo>
                      <a:lnTo>
                        <a:pt x="1" y="8"/>
                      </a:lnTo>
                      <a:lnTo>
                        <a:pt x="2" y="8"/>
                      </a:lnTo>
                      <a:lnTo>
                        <a:pt x="3" y="7"/>
                      </a:lnTo>
                      <a:lnTo>
                        <a:pt x="5" y="5"/>
                      </a:lnTo>
                      <a:lnTo>
                        <a:pt x="6"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2" name="Freeform 37"/>
                <p:cNvSpPr>
                  <a:spLocks/>
                </p:cNvSpPr>
                <p:nvPr/>
              </p:nvSpPr>
              <p:spPr bwMode="auto">
                <a:xfrm>
                  <a:off x="8884672" y="2989026"/>
                  <a:ext cx="11839" cy="16279"/>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0 h 11"/>
                    <a:gd name="T10" fmla="*/ 2147483647 w 9"/>
                    <a:gd name="T11" fmla="*/ 0 h 11"/>
                    <a:gd name="T12" fmla="*/ 2147483647 w 9"/>
                    <a:gd name="T13" fmla="*/ 2147483647 h 11"/>
                    <a:gd name="T14" fmla="*/ 0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1"/>
                    <a:gd name="T44" fmla="*/ 9 w 9"/>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1">
                      <a:moveTo>
                        <a:pt x="8" y="10"/>
                      </a:moveTo>
                      <a:lnTo>
                        <a:pt x="9" y="7"/>
                      </a:lnTo>
                      <a:lnTo>
                        <a:pt x="8" y="6"/>
                      </a:lnTo>
                      <a:lnTo>
                        <a:pt x="6" y="3"/>
                      </a:lnTo>
                      <a:lnTo>
                        <a:pt x="5" y="0"/>
                      </a:lnTo>
                      <a:lnTo>
                        <a:pt x="2" y="0"/>
                      </a:lnTo>
                      <a:lnTo>
                        <a:pt x="1" y="3"/>
                      </a:lnTo>
                      <a:lnTo>
                        <a:pt x="0" y="4"/>
                      </a:lnTo>
                      <a:lnTo>
                        <a:pt x="0" y="5"/>
                      </a:lnTo>
                      <a:lnTo>
                        <a:pt x="2" y="9"/>
                      </a:lnTo>
                      <a:lnTo>
                        <a:pt x="4" y="11"/>
                      </a:lnTo>
                      <a:lnTo>
                        <a:pt x="5" y="11"/>
                      </a:lnTo>
                      <a:lnTo>
                        <a:pt x="6" y="11"/>
                      </a:lnTo>
                      <a:lnTo>
                        <a:pt x="8"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3" name="Freeform 38"/>
                <p:cNvSpPr>
                  <a:spLocks/>
                </p:cNvSpPr>
                <p:nvPr/>
              </p:nvSpPr>
              <p:spPr bwMode="auto">
                <a:xfrm>
                  <a:off x="8860996" y="2986063"/>
                  <a:ext cx="8879" cy="11839"/>
                </a:xfrm>
                <a:custGeom>
                  <a:avLst/>
                  <a:gdLst>
                    <a:gd name="T0" fmla="*/ 2147483647 w 7"/>
                    <a:gd name="T1" fmla="*/ 2147483647 h 8"/>
                    <a:gd name="T2" fmla="*/ 2147483647 w 7"/>
                    <a:gd name="T3" fmla="*/ 2147483647 h 8"/>
                    <a:gd name="T4" fmla="*/ 2147483647 w 7"/>
                    <a:gd name="T5" fmla="*/ 0 h 8"/>
                    <a:gd name="T6" fmla="*/ 2147483647 w 7"/>
                    <a:gd name="T7" fmla="*/ 0 h 8"/>
                    <a:gd name="T8" fmla="*/ 2147483647 w 7"/>
                    <a:gd name="T9" fmla="*/ 2147483647 h 8"/>
                    <a:gd name="T10" fmla="*/ 2147483647 w 7"/>
                    <a:gd name="T11" fmla="*/ 2147483647 h 8"/>
                    <a:gd name="T12" fmla="*/ 2147483647 w 7"/>
                    <a:gd name="T13" fmla="*/ 2147483647 h 8"/>
                    <a:gd name="T14" fmla="*/ 0 w 7"/>
                    <a:gd name="T15" fmla="*/ 2147483647 h 8"/>
                    <a:gd name="T16" fmla="*/ 0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2147483647 w 7"/>
                    <a:gd name="T33" fmla="*/ 2147483647 h 8"/>
                    <a:gd name="T34" fmla="*/ 2147483647 w 7"/>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8"/>
                    <a:gd name="T56" fmla="*/ 7 w 7"/>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8">
                      <a:moveTo>
                        <a:pt x="7" y="1"/>
                      </a:moveTo>
                      <a:lnTo>
                        <a:pt x="7" y="1"/>
                      </a:lnTo>
                      <a:lnTo>
                        <a:pt x="5" y="0"/>
                      </a:lnTo>
                      <a:lnTo>
                        <a:pt x="4" y="1"/>
                      </a:lnTo>
                      <a:lnTo>
                        <a:pt x="2" y="4"/>
                      </a:lnTo>
                      <a:lnTo>
                        <a:pt x="0" y="7"/>
                      </a:lnTo>
                      <a:lnTo>
                        <a:pt x="2" y="8"/>
                      </a:lnTo>
                      <a:lnTo>
                        <a:pt x="3" y="8"/>
                      </a:lnTo>
                      <a:lnTo>
                        <a:pt x="4" y="7"/>
                      </a:lnTo>
                      <a:lnTo>
                        <a:pt x="5" y="5"/>
                      </a:lnTo>
                      <a:lnTo>
                        <a:pt x="7"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4" name="Freeform 39"/>
                <p:cNvSpPr>
                  <a:spLocks/>
                </p:cNvSpPr>
                <p:nvPr/>
              </p:nvSpPr>
              <p:spPr bwMode="auto">
                <a:xfrm>
                  <a:off x="8883190" y="2987543"/>
                  <a:ext cx="11839" cy="16278"/>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2147483647 h 11"/>
                    <a:gd name="T12" fmla="*/ 2147483647 w 9"/>
                    <a:gd name="T13" fmla="*/ 0 h 11"/>
                    <a:gd name="T14" fmla="*/ 2147483647 w 9"/>
                    <a:gd name="T15" fmla="*/ 0 h 11"/>
                    <a:gd name="T16" fmla="*/ 2147483647 w 9"/>
                    <a:gd name="T17" fmla="*/ 0 h 11"/>
                    <a:gd name="T18" fmla="*/ 2147483647 w 9"/>
                    <a:gd name="T19" fmla="*/ 2147483647 h 11"/>
                    <a:gd name="T20" fmla="*/ 0 w 9"/>
                    <a:gd name="T21" fmla="*/ 2147483647 h 11"/>
                    <a:gd name="T22" fmla="*/ 0 w 9"/>
                    <a:gd name="T23" fmla="*/ 2147483647 h 11"/>
                    <a:gd name="T24" fmla="*/ 0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1"/>
                    <a:gd name="T62" fmla="*/ 9 w 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1">
                      <a:moveTo>
                        <a:pt x="7" y="10"/>
                      </a:moveTo>
                      <a:lnTo>
                        <a:pt x="7" y="10"/>
                      </a:lnTo>
                      <a:lnTo>
                        <a:pt x="9" y="7"/>
                      </a:lnTo>
                      <a:lnTo>
                        <a:pt x="7" y="6"/>
                      </a:lnTo>
                      <a:lnTo>
                        <a:pt x="6" y="3"/>
                      </a:lnTo>
                      <a:lnTo>
                        <a:pt x="5" y="0"/>
                      </a:lnTo>
                      <a:lnTo>
                        <a:pt x="2" y="0"/>
                      </a:lnTo>
                      <a:lnTo>
                        <a:pt x="1" y="3"/>
                      </a:lnTo>
                      <a:lnTo>
                        <a:pt x="0" y="4"/>
                      </a:lnTo>
                      <a:lnTo>
                        <a:pt x="0" y="5"/>
                      </a:lnTo>
                      <a:lnTo>
                        <a:pt x="2" y="8"/>
                      </a:lnTo>
                      <a:lnTo>
                        <a:pt x="3" y="11"/>
                      </a:lnTo>
                      <a:lnTo>
                        <a:pt x="5" y="11"/>
                      </a:lnTo>
                      <a:lnTo>
                        <a:pt x="6" y="11"/>
                      </a:lnTo>
                      <a:lnTo>
                        <a:pt x="7"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5" name="Freeform 40"/>
                <p:cNvSpPr>
                  <a:spLocks/>
                </p:cNvSpPr>
                <p:nvPr/>
              </p:nvSpPr>
              <p:spPr bwMode="auto">
                <a:xfrm>
                  <a:off x="8903909" y="2986066"/>
                  <a:ext cx="17758" cy="8879"/>
                </a:xfrm>
                <a:custGeom>
                  <a:avLst/>
                  <a:gdLst>
                    <a:gd name="T0" fmla="*/ 2147483647 w 13"/>
                    <a:gd name="T1" fmla="*/ 2147483647 h 6"/>
                    <a:gd name="T2" fmla="*/ 2147483647 w 13"/>
                    <a:gd name="T3" fmla="*/ 0 h 6"/>
                    <a:gd name="T4" fmla="*/ 2147483647 w 13"/>
                    <a:gd name="T5" fmla="*/ 0 h 6"/>
                    <a:gd name="T6" fmla="*/ 2147483647 w 13"/>
                    <a:gd name="T7" fmla="*/ 0 h 6"/>
                    <a:gd name="T8" fmla="*/ 2147483647 w 13"/>
                    <a:gd name="T9" fmla="*/ 0 h 6"/>
                    <a:gd name="T10" fmla="*/ 0 w 13"/>
                    <a:gd name="T11" fmla="*/ 2147483647 h 6"/>
                    <a:gd name="T12" fmla="*/ 0 w 13"/>
                    <a:gd name="T13" fmla="*/ 2147483647 h 6"/>
                    <a:gd name="T14" fmla="*/ 2147483647 w 13"/>
                    <a:gd name="T15" fmla="*/ 2147483647 h 6"/>
                    <a:gd name="T16" fmla="*/ 2147483647 w 13"/>
                    <a:gd name="T17" fmla="*/ 2147483647 h 6"/>
                    <a:gd name="T18" fmla="*/ 2147483647 w 13"/>
                    <a:gd name="T19" fmla="*/ 2147483647 h 6"/>
                    <a:gd name="T20" fmla="*/ 2147483647 w 13"/>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6"/>
                    <a:gd name="T35" fmla="*/ 13 w 13"/>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6">
                      <a:moveTo>
                        <a:pt x="13" y="1"/>
                      </a:moveTo>
                      <a:lnTo>
                        <a:pt x="13" y="0"/>
                      </a:lnTo>
                      <a:lnTo>
                        <a:pt x="12" y="0"/>
                      </a:lnTo>
                      <a:lnTo>
                        <a:pt x="8" y="0"/>
                      </a:lnTo>
                      <a:lnTo>
                        <a:pt x="4" y="0"/>
                      </a:lnTo>
                      <a:lnTo>
                        <a:pt x="0" y="2"/>
                      </a:lnTo>
                      <a:lnTo>
                        <a:pt x="0" y="5"/>
                      </a:lnTo>
                      <a:lnTo>
                        <a:pt x="1" y="6"/>
                      </a:lnTo>
                      <a:lnTo>
                        <a:pt x="8" y="5"/>
                      </a:lnTo>
                      <a:lnTo>
                        <a:pt x="10" y="4"/>
                      </a:lnTo>
                      <a:lnTo>
                        <a:pt x="13"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6" name="Freeform 41"/>
                <p:cNvSpPr>
                  <a:spLocks/>
                </p:cNvSpPr>
                <p:nvPr/>
              </p:nvSpPr>
              <p:spPr bwMode="auto">
                <a:xfrm>
                  <a:off x="8951265" y="2960905"/>
                  <a:ext cx="31078" cy="28117"/>
                </a:xfrm>
                <a:custGeom>
                  <a:avLst/>
                  <a:gdLst>
                    <a:gd name="T0" fmla="*/ 2147483647 w 23"/>
                    <a:gd name="T1" fmla="*/ 2147483647 h 19"/>
                    <a:gd name="T2" fmla="*/ 2147483647 w 23"/>
                    <a:gd name="T3" fmla="*/ 2147483647 h 19"/>
                    <a:gd name="T4" fmla="*/ 2147483647 w 23"/>
                    <a:gd name="T5" fmla="*/ 2147483647 h 19"/>
                    <a:gd name="T6" fmla="*/ 2147483647 w 23"/>
                    <a:gd name="T7" fmla="*/ 0 h 19"/>
                    <a:gd name="T8" fmla="*/ 2147483647 w 23"/>
                    <a:gd name="T9" fmla="*/ 0 h 19"/>
                    <a:gd name="T10" fmla="*/ 2147483647 w 23"/>
                    <a:gd name="T11" fmla="*/ 0 h 19"/>
                    <a:gd name="T12" fmla="*/ 2147483647 w 23"/>
                    <a:gd name="T13" fmla="*/ 2147483647 h 19"/>
                    <a:gd name="T14" fmla="*/ 2147483647 w 23"/>
                    <a:gd name="T15" fmla="*/ 2147483647 h 19"/>
                    <a:gd name="T16" fmla="*/ 2147483647 w 23"/>
                    <a:gd name="T17" fmla="*/ 2147483647 h 19"/>
                    <a:gd name="T18" fmla="*/ 2147483647 w 23"/>
                    <a:gd name="T19" fmla="*/ 2147483647 h 19"/>
                    <a:gd name="T20" fmla="*/ 2147483647 w 23"/>
                    <a:gd name="T21" fmla="*/ 2147483647 h 19"/>
                    <a:gd name="T22" fmla="*/ 2147483647 w 23"/>
                    <a:gd name="T23" fmla="*/ 2147483647 h 19"/>
                    <a:gd name="T24" fmla="*/ 0 w 23"/>
                    <a:gd name="T25" fmla="*/ 2147483647 h 19"/>
                    <a:gd name="T26" fmla="*/ 0 w 23"/>
                    <a:gd name="T27" fmla="*/ 2147483647 h 19"/>
                    <a:gd name="T28" fmla="*/ 2147483647 w 23"/>
                    <a:gd name="T29" fmla="*/ 2147483647 h 19"/>
                    <a:gd name="T30" fmla="*/ 2147483647 w 23"/>
                    <a:gd name="T31" fmla="*/ 2147483647 h 19"/>
                    <a:gd name="T32" fmla="*/ 2147483647 w 23"/>
                    <a:gd name="T33" fmla="*/ 2147483647 h 19"/>
                    <a:gd name="T34" fmla="*/ 2147483647 w 23"/>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9"/>
                    <a:gd name="T56" fmla="*/ 23 w 23"/>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9">
                      <a:moveTo>
                        <a:pt x="23" y="5"/>
                      </a:moveTo>
                      <a:lnTo>
                        <a:pt x="23" y="3"/>
                      </a:lnTo>
                      <a:lnTo>
                        <a:pt x="23" y="2"/>
                      </a:lnTo>
                      <a:lnTo>
                        <a:pt x="22" y="0"/>
                      </a:lnTo>
                      <a:lnTo>
                        <a:pt x="21" y="0"/>
                      </a:lnTo>
                      <a:lnTo>
                        <a:pt x="19" y="0"/>
                      </a:lnTo>
                      <a:lnTo>
                        <a:pt x="17" y="3"/>
                      </a:lnTo>
                      <a:lnTo>
                        <a:pt x="16" y="6"/>
                      </a:lnTo>
                      <a:lnTo>
                        <a:pt x="14" y="9"/>
                      </a:lnTo>
                      <a:lnTo>
                        <a:pt x="11" y="11"/>
                      </a:lnTo>
                      <a:lnTo>
                        <a:pt x="5" y="13"/>
                      </a:lnTo>
                      <a:lnTo>
                        <a:pt x="2" y="16"/>
                      </a:lnTo>
                      <a:lnTo>
                        <a:pt x="0" y="17"/>
                      </a:lnTo>
                      <a:lnTo>
                        <a:pt x="0" y="19"/>
                      </a:lnTo>
                      <a:lnTo>
                        <a:pt x="7" y="18"/>
                      </a:lnTo>
                      <a:lnTo>
                        <a:pt x="13" y="15"/>
                      </a:lnTo>
                      <a:lnTo>
                        <a:pt x="19" y="11"/>
                      </a:lnTo>
                      <a:lnTo>
                        <a:pt x="2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7" name="Freeform 42"/>
                <p:cNvSpPr>
                  <a:spLocks/>
                </p:cNvSpPr>
                <p:nvPr/>
              </p:nvSpPr>
              <p:spPr bwMode="auto">
                <a:xfrm>
                  <a:off x="8903909" y="2984587"/>
                  <a:ext cx="17758" cy="8879"/>
                </a:xfrm>
                <a:custGeom>
                  <a:avLst/>
                  <a:gdLst>
                    <a:gd name="T0" fmla="*/ 2147483647 w 13"/>
                    <a:gd name="T1" fmla="*/ 2147483647 h 6"/>
                    <a:gd name="T2" fmla="*/ 2147483647 w 13"/>
                    <a:gd name="T3" fmla="*/ 2147483647 h 6"/>
                    <a:gd name="T4" fmla="*/ 2147483647 w 13"/>
                    <a:gd name="T5" fmla="*/ 0 h 6"/>
                    <a:gd name="T6" fmla="*/ 2147483647 w 13"/>
                    <a:gd name="T7" fmla="*/ 0 h 6"/>
                    <a:gd name="T8" fmla="*/ 2147483647 w 13"/>
                    <a:gd name="T9" fmla="*/ 0 h 6"/>
                    <a:gd name="T10" fmla="*/ 2147483647 w 13"/>
                    <a:gd name="T11" fmla="*/ 0 h 6"/>
                    <a:gd name="T12" fmla="*/ 2147483647 w 13"/>
                    <a:gd name="T13" fmla="*/ 0 h 6"/>
                    <a:gd name="T14" fmla="*/ 0 w 13"/>
                    <a:gd name="T15" fmla="*/ 2147483647 h 6"/>
                    <a:gd name="T16" fmla="*/ 0 w 13"/>
                    <a:gd name="T17" fmla="*/ 2147483647 h 6"/>
                    <a:gd name="T18" fmla="*/ 0 w 13"/>
                    <a:gd name="T19" fmla="*/ 2147483647 h 6"/>
                    <a:gd name="T20" fmla="*/ 2147483647 w 13"/>
                    <a:gd name="T21" fmla="*/ 2147483647 h 6"/>
                    <a:gd name="T22" fmla="*/ 2147483647 w 13"/>
                    <a:gd name="T23" fmla="*/ 2147483647 h 6"/>
                    <a:gd name="T24" fmla="*/ 2147483647 w 13"/>
                    <a:gd name="T25" fmla="*/ 2147483647 h 6"/>
                    <a:gd name="T26" fmla="*/ 2147483647 w 13"/>
                    <a:gd name="T27" fmla="*/ 2147483647 h 6"/>
                    <a:gd name="T28" fmla="*/ 2147483647 w 13"/>
                    <a:gd name="T29" fmla="*/ 2147483647 h 6"/>
                    <a:gd name="T30" fmla="*/ 2147483647 w 13"/>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6"/>
                    <a:gd name="T50" fmla="*/ 13 w 13"/>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6">
                      <a:moveTo>
                        <a:pt x="13" y="1"/>
                      </a:moveTo>
                      <a:lnTo>
                        <a:pt x="13" y="1"/>
                      </a:lnTo>
                      <a:lnTo>
                        <a:pt x="13" y="0"/>
                      </a:lnTo>
                      <a:lnTo>
                        <a:pt x="11" y="0"/>
                      </a:lnTo>
                      <a:lnTo>
                        <a:pt x="7" y="0"/>
                      </a:lnTo>
                      <a:lnTo>
                        <a:pt x="4" y="0"/>
                      </a:lnTo>
                      <a:lnTo>
                        <a:pt x="0" y="2"/>
                      </a:lnTo>
                      <a:lnTo>
                        <a:pt x="0" y="5"/>
                      </a:lnTo>
                      <a:lnTo>
                        <a:pt x="1" y="6"/>
                      </a:lnTo>
                      <a:lnTo>
                        <a:pt x="7" y="5"/>
                      </a:lnTo>
                      <a:lnTo>
                        <a:pt x="10" y="3"/>
                      </a:lnTo>
                      <a:lnTo>
                        <a:pt x="13"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8" name="Freeform 43"/>
                <p:cNvSpPr>
                  <a:spLocks/>
                </p:cNvSpPr>
                <p:nvPr/>
              </p:nvSpPr>
              <p:spPr bwMode="auto">
                <a:xfrm>
                  <a:off x="8949790" y="2959428"/>
                  <a:ext cx="31077" cy="28118"/>
                </a:xfrm>
                <a:custGeom>
                  <a:avLst/>
                  <a:gdLst>
                    <a:gd name="T0" fmla="*/ 2147483647 w 23"/>
                    <a:gd name="T1" fmla="*/ 2147483647 h 19"/>
                    <a:gd name="T2" fmla="*/ 2147483647 w 23"/>
                    <a:gd name="T3" fmla="*/ 2147483647 h 19"/>
                    <a:gd name="T4" fmla="*/ 2147483647 w 23"/>
                    <a:gd name="T5" fmla="*/ 2147483647 h 19"/>
                    <a:gd name="T6" fmla="*/ 2147483647 w 23"/>
                    <a:gd name="T7" fmla="*/ 2147483647 h 19"/>
                    <a:gd name="T8" fmla="*/ 2147483647 w 23"/>
                    <a:gd name="T9" fmla="*/ 0 h 19"/>
                    <a:gd name="T10" fmla="*/ 2147483647 w 23"/>
                    <a:gd name="T11" fmla="*/ 0 h 19"/>
                    <a:gd name="T12" fmla="*/ 2147483647 w 23"/>
                    <a:gd name="T13" fmla="*/ 0 h 19"/>
                    <a:gd name="T14" fmla="*/ 2147483647 w 23"/>
                    <a:gd name="T15" fmla="*/ 0 h 19"/>
                    <a:gd name="T16" fmla="*/ 2147483647 w 23"/>
                    <a:gd name="T17" fmla="*/ 2147483647 h 19"/>
                    <a:gd name="T18" fmla="*/ 2147483647 w 23"/>
                    <a:gd name="T19" fmla="*/ 2147483647 h 19"/>
                    <a:gd name="T20" fmla="*/ 2147483647 w 23"/>
                    <a:gd name="T21" fmla="*/ 2147483647 h 19"/>
                    <a:gd name="T22" fmla="*/ 2147483647 w 23"/>
                    <a:gd name="T23" fmla="*/ 2147483647 h 19"/>
                    <a:gd name="T24" fmla="*/ 2147483647 w 23"/>
                    <a:gd name="T25" fmla="*/ 2147483647 h 19"/>
                    <a:gd name="T26" fmla="*/ 2147483647 w 23"/>
                    <a:gd name="T27" fmla="*/ 2147483647 h 19"/>
                    <a:gd name="T28" fmla="*/ 2147483647 w 23"/>
                    <a:gd name="T29" fmla="*/ 2147483647 h 19"/>
                    <a:gd name="T30" fmla="*/ 0 w 23"/>
                    <a:gd name="T31" fmla="*/ 2147483647 h 19"/>
                    <a:gd name="T32" fmla="*/ 0 w 23"/>
                    <a:gd name="T33" fmla="*/ 2147483647 h 19"/>
                    <a:gd name="T34" fmla="*/ 0 w 23"/>
                    <a:gd name="T35" fmla="*/ 2147483647 h 19"/>
                    <a:gd name="T36" fmla="*/ 2147483647 w 23"/>
                    <a:gd name="T37" fmla="*/ 2147483647 h 19"/>
                    <a:gd name="T38" fmla="*/ 2147483647 w 23"/>
                    <a:gd name="T39" fmla="*/ 2147483647 h 19"/>
                    <a:gd name="T40" fmla="*/ 2147483647 w 23"/>
                    <a:gd name="T41" fmla="*/ 2147483647 h 19"/>
                    <a:gd name="T42" fmla="*/ 2147483647 w 23"/>
                    <a:gd name="T43" fmla="*/ 2147483647 h 19"/>
                    <a:gd name="T44" fmla="*/ 2147483647 w 23"/>
                    <a:gd name="T45" fmla="*/ 2147483647 h 19"/>
                    <a:gd name="T46" fmla="*/ 2147483647 w 23"/>
                    <a:gd name="T47" fmla="*/ 2147483647 h 19"/>
                    <a:gd name="T48" fmla="*/ 2147483647 w 23"/>
                    <a:gd name="T49" fmla="*/ 2147483647 h 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19"/>
                    <a:gd name="T77" fmla="*/ 23 w 23"/>
                    <a:gd name="T78" fmla="*/ 19 h 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19">
                      <a:moveTo>
                        <a:pt x="23" y="5"/>
                      </a:moveTo>
                      <a:lnTo>
                        <a:pt x="23" y="5"/>
                      </a:lnTo>
                      <a:lnTo>
                        <a:pt x="23" y="3"/>
                      </a:lnTo>
                      <a:lnTo>
                        <a:pt x="23" y="1"/>
                      </a:lnTo>
                      <a:lnTo>
                        <a:pt x="22" y="0"/>
                      </a:lnTo>
                      <a:lnTo>
                        <a:pt x="20" y="0"/>
                      </a:lnTo>
                      <a:lnTo>
                        <a:pt x="19" y="0"/>
                      </a:lnTo>
                      <a:lnTo>
                        <a:pt x="17" y="3"/>
                      </a:lnTo>
                      <a:lnTo>
                        <a:pt x="15" y="6"/>
                      </a:lnTo>
                      <a:lnTo>
                        <a:pt x="14" y="9"/>
                      </a:lnTo>
                      <a:lnTo>
                        <a:pt x="10" y="11"/>
                      </a:lnTo>
                      <a:lnTo>
                        <a:pt x="5" y="13"/>
                      </a:lnTo>
                      <a:lnTo>
                        <a:pt x="1" y="16"/>
                      </a:lnTo>
                      <a:lnTo>
                        <a:pt x="0" y="17"/>
                      </a:lnTo>
                      <a:lnTo>
                        <a:pt x="0" y="19"/>
                      </a:lnTo>
                      <a:lnTo>
                        <a:pt x="6" y="18"/>
                      </a:lnTo>
                      <a:lnTo>
                        <a:pt x="13" y="14"/>
                      </a:lnTo>
                      <a:lnTo>
                        <a:pt x="19" y="11"/>
                      </a:lnTo>
                      <a:lnTo>
                        <a:pt x="2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49" name="Freeform 44"/>
                <p:cNvSpPr>
                  <a:spLocks/>
                </p:cNvSpPr>
                <p:nvPr/>
              </p:nvSpPr>
              <p:spPr bwMode="auto">
                <a:xfrm>
                  <a:off x="8992704" y="2975707"/>
                  <a:ext cx="14799" cy="7399"/>
                </a:xfrm>
                <a:custGeom>
                  <a:avLst/>
                  <a:gdLst>
                    <a:gd name="T0" fmla="*/ 2147483647 w 10"/>
                    <a:gd name="T1" fmla="*/ 2147483647 h 5"/>
                    <a:gd name="T2" fmla="*/ 2147483647 w 10"/>
                    <a:gd name="T3" fmla="*/ 0 h 5"/>
                    <a:gd name="T4" fmla="*/ 2147483647 w 10"/>
                    <a:gd name="T5" fmla="*/ 0 h 5"/>
                    <a:gd name="T6" fmla="*/ 2147483647 w 10"/>
                    <a:gd name="T7" fmla="*/ 2147483647 h 5"/>
                    <a:gd name="T8" fmla="*/ 0 w 10"/>
                    <a:gd name="T9" fmla="*/ 2147483647 h 5"/>
                    <a:gd name="T10" fmla="*/ 2147483647 w 10"/>
                    <a:gd name="T11" fmla="*/ 2147483647 h 5"/>
                    <a:gd name="T12" fmla="*/ 2147483647 w 10"/>
                    <a:gd name="T13" fmla="*/ 2147483647 h 5"/>
                    <a:gd name="T14" fmla="*/ 2147483647 w 10"/>
                    <a:gd name="T15" fmla="*/ 2147483647 h 5"/>
                    <a:gd name="T16" fmla="*/ 2147483647 w 10"/>
                    <a:gd name="T17" fmla="*/ 2147483647 h 5"/>
                    <a:gd name="T18" fmla="*/ 2147483647 w 1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5"/>
                    <a:gd name="T32" fmla="*/ 10 w 1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5">
                      <a:moveTo>
                        <a:pt x="10" y="2"/>
                      </a:moveTo>
                      <a:lnTo>
                        <a:pt x="9" y="0"/>
                      </a:lnTo>
                      <a:lnTo>
                        <a:pt x="6" y="0"/>
                      </a:lnTo>
                      <a:lnTo>
                        <a:pt x="1" y="1"/>
                      </a:lnTo>
                      <a:lnTo>
                        <a:pt x="0" y="2"/>
                      </a:lnTo>
                      <a:lnTo>
                        <a:pt x="1" y="5"/>
                      </a:lnTo>
                      <a:lnTo>
                        <a:pt x="4" y="5"/>
                      </a:lnTo>
                      <a:lnTo>
                        <a:pt x="6" y="5"/>
                      </a:lnTo>
                      <a:lnTo>
                        <a:pt x="9" y="3"/>
                      </a:lnTo>
                      <a:lnTo>
                        <a:pt x="10"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0" name="Freeform 45"/>
                <p:cNvSpPr>
                  <a:spLocks/>
                </p:cNvSpPr>
                <p:nvPr/>
              </p:nvSpPr>
              <p:spPr bwMode="auto">
                <a:xfrm>
                  <a:off x="9020824" y="2969788"/>
                  <a:ext cx="7399" cy="7399"/>
                </a:xfrm>
                <a:custGeom>
                  <a:avLst/>
                  <a:gdLst>
                    <a:gd name="T0" fmla="*/ 2147483647 w 5"/>
                    <a:gd name="T1" fmla="*/ 0 h 5"/>
                    <a:gd name="T2" fmla="*/ 2147483647 w 5"/>
                    <a:gd name="T3" fmla="*/ 0 h 5"/>
                    <a:gd name="T4" fmla="*/ 2147483647 w 5"/>
                    <a:gd name="T5" fmla="*/ 2147483647 h 5"/>
                    <a:gd name="T6" fmla="*/ 0 w 5"/>
                    <a:gd name="T7" fmla="*/ 2147483647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5"/>
                    <a:gd name="T29" fmla="*/ 5 w 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5">
                      <a:moveTo>
                        <a:pt x="5" y="0"/>
                      </a:moveTo>
                      <a:lnTo>
                        <a:pt x="3" y="0"/>
                      </a:lnTo>
                      <a:lnTo>
                        <a:pt x="1" y="2"/>
                      </a:lnTo>
                      <a:lnTo>
                        <a:pt x="0" y="3"/>
                      </a:lnTo>
                      <a:lnTo>
                        <a:pt x="1" y="4"/>
                      </a:lnTo>
                      <a:lnTo>
                        <a:pt x="3" y="5"/>
                      </a:lnTo>
                      <a:lnTo>
                        <a:pt x="5" y="4"/>
                      </a:lnTo>
                      <a:lnTo>
                        <a:pt x="5" y="3"/>
                      </a:lnTo>
                      <a:lnTo>
                        <a:pt x="5"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1" name="Freeform 46"/>
                <p:cNvSpPr>
                  <a:spLocks/>
                </p:cNvSpPr>
                <p:nvPr/>
              </p:nvSpPr>
              <p:spPr bwMode="auto">
                <a:xfrm>
                  <a:off x="8992703" y="2974226"/>
                  <a:ext cx="13319" cy="5919"/>
                </a:xfrm>
                <a:custGeom>
                  <a:avLst/>
                  <a:gdLst>
                    <a:gd name="T0" fmla="*/ 2147483647 w 10"/>
                    <a:gd name="T1" fmla="*/ 2147483647 h 4"/>
                    <a:gd name="T2" fmla="*/ 2147483647 w 10"/>
                    <a:gd name="T3" fmla="*/ 2147483647 h 4"/>
                    <a:gd name="T4" fmla="*/ 2147483647 w 10"/>
                    <a:gd name="T5" fmla="*/ 0 h 4"/>
                    <a:gd name="T6" fmla="*/ 2147483647 w 10"/>
                    <a:gd name="T7" fmla="*/ 0 h 4"/>
                    <a:gd name="T8" fmla="*/ 2147483647 w 10"/>
                    <a:gd name="T9" fmla="*/ 2147483647 h 4"/>
                    <a:gd name="T10" fmla="*/ 2147483647 w 10"/>
                    <a:gd name="T11" fmla="*/ 2147483647 h 4"/>
                    <a:gd name="T12" fmla="*/ 0 w 10"/>
                    <a:gd name="T13" fmla="*/ 2147483647 h 4"/>
                    <a:gd name="T14" fmla="*/ 2147483647 w 10"/>
                    <a:gd name="T15" fmla="*/ 2147483647 h 4"/>
                    <a:gd name="T16" fmla="*/ 2147483647 w 10"/>
                    <a:gd name="T17" fmla="*/ 2147483647 h 4"/>
                    <a:gd name="T18" fmla="*/ 2147483647 w 10"/>
                    <a:gd name="T19" fmla="*/ 2147483647 h 4"/>
                    <a:gd name="T20" fmla="*/ 2147483647 w 10"/>
                    <a:gd name="T21" fmla="*/ 2147483647 h 4"/>
                    <a:gd name="T22" fmla="*/ 2147483647 w 10"/>
                    <a:gd name="T23" fmla="*/ 2147483647 h 4"/>
                    <a:gd name="T24" fmla="*/ 2147483647 w 10"/>
                    <a:gd name="T25" fmla="*/ 2147483647 h 4"/>
                    <a:gd name="T26" fmla="*/ 2147483647 w 10"/>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4"/>
                    <a:gd name="T44" fmla="*/ 10 w 1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4">
                      <a:moveTo>
                        <a:pt x="10" y="2"/>
                      </a:moveTo>
                      <a:lnTo>
                        <a:pt x="10" y="2"/>
                      </a:lnTo>
                      <a:lnTo>
                        <a:pt x="9" y="0"/>
                      </a:lnTo>
                      <a:lnTo>
                        <a:pt x="6" y="0"/>
                      </a:lnTo>
                      <a:lnTo>
                        <a:pt x="1" y="1"/>
                      </a:lnTo>
                      <a:lnTo>
                        <a:pt x="0" y="2"/>
                      </a:lnTo>
                      <a:lnTo>
                        <a:pt x="1" y="4"/>
                      </a:lnTo>
                      <a:lnTo>
                        <a:pt x="3" y="4"/>
                      </a:lnTo>
                      <a:lnTo>
                        <a:pt x="6" y="4"/>
                      </a:lnTo>
                      <a:lnTo>
                        <a:pt x="9" y="3"/>
                      </a:lnTo>
                      <a:lnTo>
                        <a:pt x="10"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2" name="Freeform 47"/>
                <p:cNvSpPr>
                  <a:spLocks/>
                </p:cNvSpPr>
                <p:nvPr/>
              </p:nvSpPr>
              <p:spPr bwMode="auto">
                <a:xfrm>
                  <a:off x="9019339" y="2968304"/>
                  <a:ext cx="7400" cy="7400"/>
                </a:xfrm>
                <a:custGeom>
                  <a:avLst/>
                  <a:gdLst>
                    <a:gd name="T0" fmla="*/ 2147483647 w 5"/>
                    <a:gd name="T1" fmla="*/ 0 h 5"/>
                    <a:gd name="T2" fmla="*/ 2147483647 w 5"/>
                    <a:gd name="T3" fmla="*/ 0 h 5"/>
                    <a:gd name="T4" fmla="*/ 2147483647 w 5"/>
                    <a:gd name="T5" fmla="*/ 0 h 5"/>
                    <a:gd name="T6" fmla="*/ 2147483647 w 5"/>
                    <a:gd name="T7" fmla="*/ 2147483647 h 5"/>
                    <a:gd name="T8" fmla="*/ 2147483647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0 h 5"/>
                    <a:gd name="T24" fmla="*/ 2147483647 w 5"/>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5"/>
                    <a:gd name="T41" fmla="*/ 5 w 5"/>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5">
                      <a:moveTo>
                        <a:pt x="5" y="0"/>
                      </a:moveTo>
                      <a:lnTo>
                        <a:pt x="5" y="0"/>
                      </a:lnTo>
                      <a:lnTo>
                        <a:pt x="2" y="0"/>
                      </a:lnTo>
                      <a:lnTo>
                        <a:pt x="1" y="1"/>
                      </a:lnTo>
                      <a:lnTo>
                        <a:pt x="0" y="3"/>
                      </a:lnTo>
                      <a:lnTo>
                        <a:pt x="1" y="4"/>
                      </a:lnTo>
                      <a:lnTo>
                        <a:pt x="2" y="5"/>
                      </a:lnTo>
                      <a:lnTo>
                        <a:pt x="5" y="4"/>
                      </a:lnTo>
                      <a:lnTo>
                        <a:pt x="5" y="3"/>
                      </a:lnTo>
                      <a:lnTo>
                        <a:pt x="5"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3" name="Freeform 48"/>
                <p:cNvSpPr>
                  <a:spLocks/>
                </p:cNvSpPr>
                <p:nvPr/>
              </p:nvSpPr>
              <p:spPr bwMode="auto">
                <a:xfrm>
                  <a:off x="9045977" y="2960909"/>
                  <a:ext cx="7400" cy="7399"/>
                </a:xfrm>
                <a:custGeom>
                  <a:avLst/>
                  <a:gdLst>
                    <a:gd name="T0" fmla="*/ 2147483647 w 6"/>
                    <a:gd name="T1" fmla="*/ 2147483647 h 5"/>
                    <a:gd name="T2" fmla="*/ 2147483647 w 6"/>
                    <a:gd name="T3" fmla="*/ 0 h 5"/>
                    <a:gd name="T4" fmla="*/ 2147483647 w 6"/>
                    <a:gd name="T5" fmla="*/ 2147483647 h 5"/>
                    <a:gd name="T6" fmla="*/ 0 w 6"/>
                    <a:gd name="T7" fmla="*/ 2147483647 h 5"/>
                    <a:gd name="T8" fmla="*/ 0 w 6"/>
                    <a:gd name="T9" fmla="*/ 2147483647 h 5"/>
                    <a:gd name="T10" fmla="*/ 2147483647 w 6"/>
                    <a:gd name="T11" fmla="*/ 2147483647 h 5"/>
                    <a:gd name="T12" fmla="*/ 2147483647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5" y="2"/>
                      </a:moveTo>
                      <a:lnTo>
                        <a:pt x="4" y="0"/>
                      </a:lnTo>
                      <a:lnTo>
                        <a:pt x="1" y="2"/>
                      </a:lnTo>
                      <a:lnTo>
                        <a:pt x="0" y="3"/>
                      </a:lnTo>
                      <a:lnTo>
                        <a:pt x="0" y="5"/>
                      </a:lnTo>
                      <a:lnTo>
                        <a:pt x="1" y="5"/>
                      </a:lnTo>
                      <a:lnTo>
                        <a:pt x="3" y="5"/>
                      </a:lnTo>
                      <a:lnTo>
                        <a:pt x="3" y="4"/>
                      </a:lnTo>
                      <a:lnTo>
                        <a:pt x="5" y="3"/>
                      </a:lnTo>
                      <a:lnTo>
                        <a:pt x="6" y="2"/>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4" name="Freeform 49"/>
                <p:cNvSpPr>
                  <a:spLocks/>
                </p:cNvSpPr>
                <p:nvPr/>
              </p:nvSpPr>
              <p:spPr bwMode="auto">
                <a:xfrm>
                  <a:off x="9080018" y="2949070"/>
                  <a:ext cx="5919" cy="8879"/>
                </a:xfrm>
                <a:custGeom>
                  <a:avLst/>
                  <a:gdLst>
                    <a:gd name="T0" fmla="*/ 2147483647 w 5"/>
                    <a:gd name="T1" fmla="*/ 2147483647 h 6"/>
                    <a:gd name="T2" fmla="*/ 2147483647 w 5"/>
                    <a:gd name="T3" fmla="*/ 0 h 6"/>
                    <a:gd name="T4" fmla="*/ 2147483647 w 5"/>
                    <a:gd name="T5" fmla="*/ 2147483647 h 6"/>
                    <a:gd name="T6" fmla="*/ 0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1"/>
                      </a:moveTo>
                      <a:lnTo>
                        <a:pt x="4" y="0"/>
                      </a:lnTo>
                      <a:lnTo>
                        <a:pt x="3" y="1"/>
                      </a:lnTo>
                      <a:lnTo>
                        <a:pt x="0" y="4"/>
                      </a:lnTo>
                      <a:lnTo>
                        <a:pt x="0" y="5"/>
                      </a:lnTo>
                      <a:lnTo>
                        <a:pt x="2" y="6"/>
                      </a:lnTo>
                      <a:lnTo>
                        <a:pt x="3" y="5"/>
                      </a:lnTo>
                      <a:lnTo>
                        <a:pt x="5" y="4"/>
                      </a:lnTo>
                      <a:lnTo>
                        <a:pt x="5" y="2"/>
                      </a:lnTo>
                      <a:lnTo>
                        <a:pt x="5"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5" name="Freeform 50"/>
                <p:cNvSpPr>
                  <a:spLocks/>
                </p:cNvSpPr>
                <p:nvPr/>
              </p:nvSpPr>
              <p:spPr bwMode="auto">
                <a:xfrm>
                  <a:off x="9044502" y="2959425"/>
                  <a:ext cx="7399" cy="7400"/>
                </a:xfrm>
                <a:custGeom>
                  <a:avLst/>
                  <a:gdLst>
                    <a:gd name="T0" fmla="*/ 2147483647 w 6"/>
                    <a:gd name="T1" fmla="*/ 2147483647 h 5"/>
                    <a:gd name="T2" fmla="*/ 2147483647 w 6"/>
                    <a:gd name="T3" fmla="*/ 2147483647 h 5"/>
                    <a:gd name="T4" fmla="*/ 2147483647 w 6"/>
                    <a:gd name="T5" fmla="*/ 0 h 5"/>
                    <a:gd name="T6" fmla="*/ 2147483647 w 6"/>
                    <a:gd name="T7" fmla="*/ 2147483647 h 5"/>
                    <a:gd name="T8" fmla="*/ 0 w 6"/>
                    <a:gd name="T9" fmla="*/ 2147483647 h 5"/>
                    <a:gd name="T10" fmla="*/ 0 w 6"/>
                    <a:gd name="T11" fmla="*/ 2147483647 h 5"/>
                    <a:gd name="T12" fmla="*/ 0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2147483647 w 6"/>
                    <a:gd name="T31" fmla="*/ 2147483647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5"/>
                    <a:gd name="T50" fmla="*/ 6 w 6"/>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5">
                      <a:moveTo>
                        <a:pt x="5" y="1"/>
                      </a:moveTo>
                      <a:lnTo>
                        <a:pt x="5" y="1"/>
                      </a:lnTo>
                      <a:lnTo>
                        <a:pt x="4" y="0"/>
                      </a:lnTo>
                      <a:lnTo>
                        <a:pt x="1" y="1"/>
                      </a:lnTo>
                      <a:lnTo>
                        <a:pt x="0" y="3"/>
                      </a:lnTo>
                      <a:lnTo>
                        <a:pt x="0" y="5"/>
                      </a:lnTo>
                      <a:lnTo>
                        <a:pt x="1" y="5"/>
                      </a:lnTo>
                      <a:lnTo>
                        <a:pt x="2" y="5"/>
                      </a:lnTo>
                      <a:lnTo>
                        <a:pt x="2" y="4"/>
                      </a:lnTo>
                      <a:lnTo>
                        <a:pt x="5" y="3"/>
                      </a:lnTo>
                      <a:lnTo>
                        <a:pt x="6" y="1"/>
                      </a:lnTo>
                      <a:lnTo>
                        <a:pt x="5"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6" name="Freeform 51"/>
                <p:cNvSpPr>
                  <a:spLocks/>
                </p:cNvSpPr>
                <p:nvPr/>
              </p:nvSpPr>
              <p:spPr bwMode="auto">
                <a:xfrm>
                  <a:off x="9078537" y="2947589"/>
                  <a:ext cx="5919" cy="8879"/>
                </a:xfrm>
                <a:custGeom>
                  <a:avLst/>
                  <a:gdLst>
                    <a:gd name="T0" fmla="*/ 2147483647 w 5"/>
                    <a:gd name="T1" fmla="*/ 2147483647 h 6"/>
                    <a:gd name="T2" fmla="*/ 2147483647 w 5"/>
                    <a:gd name="T3" fmla="*/ 2147483647 h 6"/>
                    <a:gd name="T4" fmla="*/ 2147483647 w 5"/>
                    <a:gd name="T5" fmla="*/ 0 h 6"/>
                    <a:gd name="T6" fmla="*/ 2147483647 w 5"/>
                    <a:gd name="T7" fmla="*/ 2147483647 h 6"/>
                    <a:gd name="T8" fmla="*/ 0 w 5"/>
                    <a:gd name="T9" fmla="*/ 2147483647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1"/>
                      </a:moveTo>
                      <a:lnTo>
                        <a:pt x="5" y="1"/>
                      </a:lnTo>
                      <a:lnTo>
                        <a:pt x="4" y="0"/>
                      </a:lnTo>
                      <a:lnTo>
                        <a:pt x="3" y="1"/>
                      </a:lnTo>
                      <a:lnTo>
                        <a:pt x="0" y="3"/>
                      </a:lnTo>
                      <a:lnTo>
                        <a:pt x="0" y="5"/>
                      </a:lnTo>
                      <a:lnTo>
                        <a:pt x="1" y="6"/>
                      </a:lnTo>
                      <a:lnTo>
                        <a:pt x="3" y="5"/>
                      </a:lnTo>
                      <a:lnTo>
                        <a:pt x="5" y="3"/>
                      </a:lnTo>
                      <a:lnTo>
                        <a:pt x="5" y="2"/>
                      </a:lnTo>
                      <a:lnTo>
                        <a:pt x="5"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7" name="Freeform 52"/>
                <p:cNvSpPr>
                  <a:spLocks/>
                </p:cNvSpPr>
                <p:nvPr/>
              </p:nvSpPr>
              <p:spPr bwMode="auto">
                <a:xfrm>
                  <a:off x="7644539" y="3767438"/>
                  <a:ext cx="17758" cy="20718"/>
                </a:xfrm>
                <a:custGeom>
                  <a:avLst/>
                  <a:gdLst>
                    <a:gd name="T0" fmla="*/ 2147483647 w 13"/>
                    <a:gd name="T1" fmla="*/ 2147483647 h 14"/>
                    <a:gd name="T2" fmla="*/ 2147483647 w 13"/>
                    <a:gd name="T3" fmla="*/ 2147483647 h 14"/>
                    <a:gd name="T4" fmla="*/ 2147483647 w 13"/>
                    <a:gd name="T5" fmla="*/ 2147483647 h 14"/>
                    <a:gd name="T6" fmla="*/ 2147483647 w 13"/>
                    <a:gd name="T7" fmla="*/ 0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w 13"/>
                    <a:gd name="T17" fmla="*/ 2147483647 h 14"/>
                    <a:gd name="T18" fmla="*/ 2147483647 w 13"/>
                    <a:gd name="T19" fmla="*/ 2147483647 h 14"/>
                    <a:gd name="T20" fmla="*/ 2147483647 w 13"/>
                    <a:gd name="T21" fmla="*/ 2147483647 h 14"/>
                    <a:gd name="T22" fmla="*/ 2147483647 w 13"/>
                    <a:gd name="T23" fmla="*/ 2147483647 h 14"/>
                    <a:gd name="T24" fmla="*/ 2147483647 w 13"/>
                    <a:gd name="T25" fmla="*/ 2147483647 h 14"/>
                    <a:gd name="T26" fmla="*/ 2147483647 w 13"/>
                    <a:gd name="T27" fmla="*/ 2147483647 h 14"/>
                    <a:gd name="T28" fmla="*/ 2147483647 w 13"/>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4"/>
                    <a:gd name="T47" fmla="*/ 13 w 13"/>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4">
                      <a:moveTo>
                        <a:pt x="9" y="7"/>
                      </a:moveTo>
                      <a:lnTo>
                        <a:pt x="13" y="3"/>
                      </a:lnTo>
                      <a:lnTo>
                        <a:pt x="13" y="1"/>
                      </a:lnTo>
                      <a:lnTo>
                        <a:pt x="12" y="0"/>
                      </a:lnTo>
                      <a:lnTo>
                        <a:pt x="8" y="1"/>
                      </a:lnTo>
                      <a:lnTo>
                        <a:pt x="5" y="1"/>
                      </a:lnTo>
                      <a:lnTo>
                        <a:pt x="3" y="2"/>
                      </a:lnTo>
                      <a:lnTo>
                        <a:pt x="1" y="4"/>
                      </a:lnTo>
                      <a:lnTo>
                        <a:pt x="0" y="9"/>
                      </a:lnTo>
                      <a:lnTo>
                        <a:pt x="1" y="11"/>
                      </a:lnTo>
                      <a:lnTo>
                        <a:pt x="3" y="14"/>
                      </a:lnTo>
                      <a:lnTo>
                        <a:pt x="4" y="14"/>
                      </a:lnTo>
                      <a:lnTo>
                        <a:pt x="5" y="11"/>
                      </a:lnTo>
                      <a:lnTo>
                        <a:pt x="8" y="9"/>
                      </a:lnTo>
                      <a:lnTo>
                        <a:pt x="9"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8" name="Freeform 53"/>
                <p:cNvSpPr>
                  <a:spLocks/>
                </p:cNvSpPr>
                <p:nvPr/>
              </p:nvSpPr>
              <p:spPr bwMode="auto">
                <a:xfrm>
                  <a:off x="7611985" y="3817754"/>
                  <a:ext cx="25157" cy="20718"/>
                </a:xfrm>
                <a:custGeom>
                  <a:avLst/>
                  <a:gdLst>
                    <a:gd name="T0" fmla="*/ 2147483647 w 18"/>
                    <a:gd name="T1" fmla="*/ 2147483647 h 14"/>
                    <a:gd name="T2" fmla="*/ 2147483647 w 18"/>
                    <a:gd name="T3" fmla="*/ 0 h 14"/>
                    <a:gd name="T4" fmla="*/ 2147483647 w 18"/>
                    <a:gd name="T5" fmla="*/ 0 h 14"/>
                    <a:gd name="T6" fmla="*/ 2147483647 w 18"/>
                    <a:gd name="T7" fmla="*/ 2147483647 h 14"/>
                    <a:gd name="T8" fmla="*/ 2147483647 w 18"/>
                    <a:gd name="T9" fmla="*/ 2147483647 h 14"/>
                    <a:gd name="T10" fmla="*/ 2147483647 w 18"/>
                    <a:gd name="T11" fmla="*/ 2147483647 h 14"/>
                    <a:gd name="T12" fmla="*/ 0 w 18"/>
                    <a:gd name="T13" fmla="*/ 2147483647 h 14"/>
                    <a:gd name="T14" fmla="*/ 2147483647 w 18"/>
                    <a:gd name="T15" fmla="*/ 2147483647 h 14"/>
                    <a:gd name="T16" fmla="*/ 2147483647 w 18"/>
                    <a:gd name="T17" fmla="*/ 2147483647 h 14"/>
                    <a:gd name="T18" fmla="*/ 2147483647 w 18"/>
                    <a:gd name="T19" fmla="*/ 2147483647 h 14"/>
                    <a:gd name="T20" fmla="*/ 2147483647 w 18"/>
                    <a:gd name="T21" fmla="*/ 2147483647 h 14"/>
                    <a:gd name="T22" fmla="*/ 2147483647 w 18"/>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4"/>
                    <a:gd name="T38" fmla="*/ 18 w 1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4">
                      <a:moveTo>
                        <a:pt x="13" y="7"/>
                      </a:moveTo>
                      <a:lnTo>
                        <a:pt x="18" y="0"/>
                      </a:lnTo>
                      <a:lnTo>
                        <a:pt x="12" y="0"/>
                      </a:lnTo>
                      <a:lnTo>
                        <a:pt x="5" y="4"/>
                      </a:lnTo>
                      <a:lnTo>
                        <a:pt x="3" y="5"/>
                      </a:lnTo>
                      <a:lnTo>
                        <a:pt x="1" y="7"/>
                      </a:lnTo>
                      <a:lnTo>
                        <a:pt x="0" y="9"/>
                      </a:lnTo>
                      <a:lnTo>
                        <a:pt x="1" y="12"/>
                      </a:lnTo>
                      <a:lnTo>
                        <a:pt x="4" y="14"/>
                      </a:lnTo>
                      <a:lnTo>
                        <a:pt x="6" y="13"/>
                      </a:lnTo>
                      <a:lnTo>
                        <a:pt x="9" y="9"/>
                      </a:lnTo>
                      <a:lnTo>
                        <a:pt x="13"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59" name="Freeform 54"/>
                <p:cNvSpPr>
                  <a:spLocks/>
                </p:cNvSpPr>
                <p:nvPr/>
              </p:nvSpPr>
              <p:spPr bwMode="auto">
                <a:xfrm>
                  <a:off x="7643058" y="3764476"/>
                  <a:ext cx="17758" cy="22199"/>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0 h 15"/>
                    <a:gd name="T10" fmla="*/ 2147483647 w 13"/>
                    <a:gd name="T11" fmla="*/ 0 h 15"/>
                    <a:gd name="T12" fmla="*/ 2147483647 w 13"/>
                    <a:gd name="T13" fmla="*/ 2147483647 h 15"/>
                    <a:gd name="T14" fmla="*/ 2147483647 w 13"/>
                    <a:gd name="T15" fmla="*/ 2147483647 h 15"/>
                    <a:gd name="T16" fmla="*/ 2147483647 w 13"/>
                    <a:gd name="T17" fmla="*/ 2147483647 h 15"/>
                    <a:gd name="T18" fmla="*/ 2147483647 w 13"/>
                    <a:gd name="T19" fmla="*/ 2147483647 h 15"/>
                    <a:gd name="T20" fmla="*/ 0 w 13"/>
                    <a:gd name="T21" fmla="*/ 2147483647 h 15"/>
                    <a:gd name="T22" fmla="*/ 2147483647 w 13"/>
                    <a:gd name="T23" fmla="*/ 2147483647 h 15"/>
                    <a:gd name="T24" fmla="*/ 2147483647 w 13"/>
                    <a:gd name="T25" fmla="*/ 2147483647 h 15"/>
                    <a:gd name="T26" fmla="*/ 2147483647 w 13"/>
                    <a:gd name="T27" fmla="*/ 2147483647 h 15"/>
                    <a:gd name="T28" fmla="*/ 2147483647 w 13"/>
                    <a:gd name="T29" fmla="*/ 2147483647 h 15"/>
                    <a:gd name="T30" fmla="*/ 2147483647 w 13"/>
                    <a:gd name="T31" fmla="*/ 2147483647 h 15"/>
                    <a:gd name="T32" fmla="*/ 2147483647 w 13"/>
                    <a:gd name="T33" fmla="*/ 2147483647 h 15"/>
                    <a:gd name="T34" fmla="*/ 2147483647 w 13"/>
                    <a:gd name="T35" fmla="*/ 2147483647 h 15"/>
                    <a:gd name="T36" fmla="*/ 2147483647 w 13"/>
                    <a:gd name="T37" fmla="*/ 2147483647 h 15"/>
                    <a:gd name="T38" fmla="*/ 2147483647 w 13"/>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5"/>
                    <a:gd name="T62" fmla="*/ 13 w 13"/>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5">
                      <a:moveTo>
                        <a:pt x="9" y="8"/>
                      </a:moveTo>
                      <a:lnTo>
                        <a:pt x="9" y="8"/>
                      </a:lnTo>
                      <a:lnTo>
                        <a:pt x="13" y="4"/>
                      </a:lnTo>
                      <a:lnTo>
                        <a:pt x="13" y="2"/>
                      </a:lnTo>
                      <a:lnTo>
                        <a:pt x="11" y="0"/>
                      </a:lnTo>
                      <a:lnTo>
                        <a:pt x="8" y="2"/>
                      </a:lnTo>
                      <a:lnTo>
                        <a:pt x="5" y="2"/>
                      </a:lnTo>
                      <a:lnTo>
                        <a:pt x="2" y="3"/>
                      </a:lnTo>
                      <a:lnTo>
                        <a:pt x="1" y="5"/>
                      </a:lnTo>
                      <a:lnTo>
                        <a:pt x="0" y="10"/>
                      </a:lnTo>
                      <a:lnTo>
                        <a:pt x="1" y="12"/>
                      </a:lnTo>
                      <a:lnTo>
                        <a:pt x="2" y="15"/>
                      </a:lnTo>
                      <a:lnTo>
                        <a:pt x="4" y="15"/>
                      </a:lnTo>
                      <a:lnTo>
                        <a:pt x="5" y="12"/>
                      </a:lnTo>
                      <a:lnTo>
                        <a:pt x="8" y="10"/>
                      </a:lnTo>
                      <a:lnTo>
                        <a:pt x="9"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0" name="Freeform 55"/>
                <p:cNvSpPr>
                  <a:spLocks/>
                </p:cNvSpPr>
                <p:nvPr/>
              </p:nvSpPr>
              <p:spPr bwMode="auto">
                <a:xfrm>
                  <a:off x="7610502" y="3816275"/>
                  <a:ext cx="25158" cy="20718"/>
                </a:xfrm>
                <a:custGeom>
                  <a:avLst/>
                  <a:gdLst>
                    <a:gd name="T0" fmla="*/ 2147483647 w 18"/>
                    <a:gd name="T1" fmla="*/ 2147483647 h 14"/>
                    <a:gd name="T2" fmla="*/ 2147483647 w 18"/>
                    <a:gd name="T3" fmla="*/ 2147483647 h 14"/>
                    <a:gd name="T4" fmla="*/ 2147483647 w 18"/>
                    <a:gd name="T5" fmla="*/ 0 h 14"/>
                    <a:gd name="T6" fmla="*/ 2147483647 w 18"/>
                    <a:gd name="T7" fmla="*/ 0 h 14"/>
                    <a:gd name="T8" fmla="*/ 2147483647 w 18"/>
                    <a:gd name="T9" fmla="*/ 0 h 14"/>
                    <a:gd name="T10" fmla="*/ 2147483647 w 18"/>
                    <a:gd name="T11" fmla="*/ 2147483647 h 14"/>
                    <a:gd name="T12" fmla="*/ 2147483647 w 18"/>
                    <a:gd name="T13" fmla="*/ 2147483647 h 14"/>
                    <a:gd name="T14" fmla="*/ 2147483647 w 18"/>
                    <a:gd name="T15" fmla="*/ 2147483647 h 14"/>
                    <a:gd name="T16" fmla="*/ 0 w 18"/>
                    <a:gd name="T17" fmla="*/ 2147483647 h 14"/>
                    <a:gd name="T18" fmla="*/ 2147483647 w 18"/>
                    <a:gd name="T19" fmla="*/ 2147483647 h 14"/>
                    <a:gd name="T20" fmla="*/ 2147483647 w 18"/>
                    <a:gd name="T21" fmla="*/ 2147483647 h 14"/>
                    <a:gd name="T22" fmla="*/ 2147483647 w 18"/>
                    <a:gd name="T23" fmla="*/ 2147483647 h 14"/>
                    <a:gd name="T24" fmla="*/ 2147483647 w 18"/>
                    <a:gd name="T25" fmla="*/ 2147483647 h 14"/>
                    <a:gd name="T26" fmla="*/ 2147483647 w 18"/>
                    <a:gd name="T27" fmla="*/ 2147483647 h 14"/>
                    <a:gd name="T28" fmla="*/ 2147483647 w 18"/>
                    <a:gd name="T29" fmla="*/ 2147483647 h 14"/>
                    <a:gd name="T30" fmla="*/ 2147483647 w 18"/>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4"/>
                    <a:gd name="T50" fmla="*/ 18 w 18"/>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4">
                      <a:moveTo>
                        <a:pt x="13" y="7"/>
                      </a:moveTo>
                      <a:lnTo>
                        <a:pt x="13" y="7"/>
                      </a:lnTo>
                      <a:lnTo>
                        <a:pt x="18" y="0"/>
                      </a:lnTo>
                      <a:lnTo>
                        <a:pt x="11" y="0"/>
                      </a:lnTo>
                      <a:lnTo>
                        <a:pt x="5" y="3"/>
                      </a:lnTo>
                      <a:lnTo>
                        <a:pt x="2" y="5"/>
                      </a:lnTo>
                      <a:lnTo>
                        <a:pt x="1" y="7"/>
                      </a:lnTo>
                      <a:lnTo>
                        <a:pt x="0" y="9"/>
                      </a:lnTo>
                      <a:lnTo>
                        <a:pt x="1" y="12"/>
                      </a:lnTo>
                      <a:lnTo>
                        <a:pt x="4" y="14"/>
                      </a:lnTo>
                      <a:lnTo>
                        <a:pt x="6" y="13"/>
                      </a:lnTo>
                      <a:lnTo>
                        <a:pt x="9" y="9"/>
                      </a:lnTo>
                      <a:lnTo>
                        <a:pt x="13"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1" name="Freeform 56"/>
                <p:cNvSpPr>
                  <a:spLocks/>
                </p:cNvSpPr>
                <p:nvPr/>
              </p:nvSpPr>
              <p:spPr bwMode="auto">
                <a:xfrm>
                  <a:off x="7651938" y="3600213"/>
                  <a:ext cx="54756" cy="85833"/>
                </a:xfrm>
                <a:custGeom>
                  <a:avLst/>
                  <a:gdLst>
                    <a:gd name="T0" fmla="*/ 2147483647 w 40"/>
                    <a:gd name="T1" fmla="*/ 2147483647 h 58"/>
                    <a:gd name="T2" fmla="*/ 2147483647 w 40"/>
                    <a:gd name="T3" fmla="*/ 2147483647 h 58"/>
                    <a:gd name="T4" fmla="*/ 2147483647 w 40"/>
                    <a:gd name="T5" fmla="*/ 2147483647 h 58"/>
                    <a:gd name="T6" fmla="*/ 2147483647 w 40"/>
                    <a:gd name="T7" fmla="*/ 2147483647 h 58"/>
                    <a:gd name="T8" fmla="*/ 2147483647 w 40"/>
                    <a:gd name="T9" fmla="*/ 2147483647 h 58"/>
                    <a:gd name="T10" fmla="*/ 2147483647 w 40"/>
                    <a:gd name="T11" fmla="*/ 2147483647 h 58"/>
                    <a:gd name="T12" fmla="*/ 2147483647 w 40"/>
                    <a:gd name="T13" fmla="*/ 2147483647 h 58"/>
                    <a:gd name="T14" fmla="*/ 2147483647 w 40"/>
                    <a:gd name="T15" fmla="*/ 2147483647 h 58"/>
                    <a:gd name="T16" fmla="*/ 2147483647 w 40"/>
                    <a:gd name="T17" fmla="*/ 2147483647 h 58"/>
                    <a:gd name="T18" fmla="*/ 2147483647 w 40"/>
                    <a:gd name="T19" fmla="*/ 2147483647 h 58"/>
                    <a:gd name="T20" fmla="*/ 2147483647 w 40"/>
                    <a:gd name="T21" fmla="*/ 2147483647 h 58"/>
                    <a:gd name="T22" fmla="*/ 2147483647 w 40"/>
                    <a:gd name="T23" fmla="*/ 2147483647 h 58"/>
                    <a:gd name="T24" fmla="*/ 2147483647 w 40"/>
                    <a:gd name="T25" fmla="*/ 2147483647 h 58"/>
                    <a:gd name="T26" fmla="*/ 2147483647 w 40"/>
                    <a:gd name="T27" fmla="*/ 2147483647 h 58"/>
                    <a:gd name="T28" fmla="*/ 2147483647 w 40"/>
                    <a:gd name="T29" fmla="*/ 2147483647 h 58"/>
                    <a:gd name="T30" fmla="*/ 2147483647 w 40"/>
                    <a:gd name="T31" fmla="*/ 2147483647 h 58"/>
                    <a:gd name="T32" fmla="*/ 2147483647 w 40"/>
                    <a:gd name="T33" fmla="*/ 2147483647 h 58"/>
                    <a:gd name="T34" fmla="*/ 2147483647 w 40"/>
                    <a:gd name="T35" fmla="*/ 2147483647 h 58"/>
                    <a:gd name="T36" fmla="*/ 2147483647 w 40"/>
                    <a:gd name="T37" fmla="*/ 2147483647 h 58"/>
                    <a:gd name="T38" fmla="*/ 2147483647 w 40"/>
                    <a:gd name="T39" fmla="*/ 2147483647 h 58"/>
                    <a:gd name="T40" fmla="*/ 2147483647 w 40"/>
                    <a:gd name="T41" fmla="*/ 2147483647 h 58"/>
                    <a:gd name="T42" fmla="*/ 2147483647 w 40"/>
                    <a:gd name="T43" fmla="*/ 2147483647 h 58"/>
                    <a:gd name="T44" fmla="*/ 2147483647 w 40"/>
                    <a:gd name="T45" fmla="*/ 2147483647 h 58"/>
                    <a:gd name="T46" fmla="*/ 2147483647 w 40"/>
                    <a:gd name="T47" fmla="*/ 2147483647 h 58"/>
                    <a:gd name="T48" fmla="*/ 2147483647 w 40"/>
                    <a:gd name="T49" fmla="*/ 2147483647 h 58"/>
                    <a:gd name="T50" fmla="*/ 2147483647 w 40"/>
                    <a:gd name="T51" fmla="*/ 2147483647 h 58"/>
                    <a:gd name="T52" fmla="*/ 2147483647 w 40"/>
                    <a:gd name="T53" fmla="*/ 2147483647 h 58"/>
                    <a:gd name="T54" fmla="*/ 2147483647 w 40"/>
                    <a:gd name="T55" fmla="*/ 2147483647 h 58"/>
                    <a:gd name="T56" fmla="*/ 2147483647 w 40"/>
                    <a:gd name="T57" fmla="*/ 2147483647 h 58"/>
                    <a:gd name="T58" fmla="*/ 2147483647 w 40"/>
                    <a:gd name="T59" fmla="*/ 2147483647 h 58"/>
                    <a:gd name="T60" fmla="*/ 2147483647 w 40"/>
                    <a:gd name="T61" fmla="*/ 2147483647 h 58"/>
                    <a:gd name="T62" fmla="*/ 2147483647 w 40"/>
                    <a:gd name="T63" fmla="*/ 2147483647 h 58"/>
                    <a:gd name="T64" fmla="*/ 2147483647 w 40"/>
                    <a:gd name="T65" fmla="*/ 2147483647 h 58"/>
                    <a:gd name="T66" fmla="*/ 2147483647 w 40"/>
                    <a:gd name="T67" fmla="*/ 2147483647 h 58"/>
                    <a:gd name="T68" fmla="*/ 2147483647 w 40"/>
                    <a:gd name="T69" fmla="*/ 2147483647 h 58"/>
                    <a:gd name="T70" fmla="*/ 2147483647 w 40"/>
                    <a:gd name="T71" fmla="*/ 2147483647 h 58"/>
                    <a:gd name="T72" fmla="*/ 2147483647 w 40"/>
                    <a:gd name="T73" fmla="*/ 2147483647 h 58"/>
                    <a:gd name="T74" fmla="*/ 2147483647 w 40"/>
                    <a:gd name="T75" fmla="*/ 2147483647 h 58"/>
                    <a:gd name="T76" fmla="*/ 2147483647 w 40"/>
                    <a:gd name="T77" fmla="*/ 2147483647 h 58"/>
                    <a:gd name="T78" fmla="*/ 2147483647 w 40"/>
                    <a:gd name="T79" fmla="*/ 2147483647 h 58"/>
                    <a:gd name="T80" fmla="*/ 2147483647 w 40"/>
                    <a:gd name="T81" fmla="*/ 2147483647 h 58"/>
                    <a:gd name="T82" fmla="*/ 2147483647 w 40"/>
                    <a:gd name="T83" fmla="*/ 2147483647 h 58"/>
                    <a:gd name="T84" fmla="*/ 2147483647 w 40"/>
                    <a:gd name="T85" fmla="*/ 2147483647 h 58"/>
                    <a:gd name="T86" fmla="*/ 0 w 40"/>
                    <a:gd name="T87" fmla="*/ 2147483647 h 58"/>
                    <a:gd name="T88" fmla="*/ 2147483647 w 40"/>
                    <a:gd name="T89" fmla="*/ 2147483647 h 58"/>
                    <a:gd name="T90" fmla="*/ 2147483647 w 40"/>
                    <a:gd name="T91" fmla="*/ 2147483647 h 58"/>
                    <a:gd name="T92" fmla="*/ 2147483647 w 40"/>
                    <a:gd name="T93" fmla="*/ 2147483647 h 58"/>
                    <a:gd name="T94" fmla="*/ 2147483647 w 40"/>
                    <a:gd name="T95" fmla="*/ 2147483647 h 58"/>
                    <a:gd name="T96" fmla="*/ 2147483647 w 40"/>
                    <a:gd name="T97" fmla="*/ 2147483647 h 58"/>
                    <a:gd name="T98" fmla="*/ 2147483647 w 40"/>
                    <a:gd name="T99" fmla="*/ 2147483647 h 58"/>
                    <a:gd name="T100" fmla="*/ 2147483647 w 40"/>
                    <a:gd name="T101" fmla="*/ 0 h 58"/>
                    <a:gd name="T102" fmla="*/ 2147483647 w 40"/>
                    <a:gd name="T103" fmla="*/ 0 h 58"/>
                    <a:gd name="T104" fmla="*/ 2147483647 w 40"/>
                    <a:gd name="T105" fmla="*/ 2147483647 h 58"/>
                    <a:gd name="T106" fmla="*/ 2147483647 w 40"/>
                    <a:gd name="T107" fmla="*/ 2147483647 h 58"/>
                    <a:gd name="T108" fmla="*/ 2147483647 w 40"/>
                    <a:gd name="T109" fmla="*/ 2147483647 h 58"/>
                    <a:gd name="T110" fmla="*/ 2147483647 w 40"/>
                    <a:gd name="T111" fmla="*/ 2147483647 h 58"/>
                    <a:gd name="T112" fmla="*/ 2147483647 w 40"/>
                    <a:gd name="T113" fmla="*/ 2147483647 h 58"/>
                    <a:gd name="T114" fmla="*/ 2147483647 w 40"/>
                    <a:gd name="T115" fmla="*/ 2147483647 h 58"/>
                    <a:gd name="T116" fmla="*/ 2147483647 w 40"/>
                    <a:gd name="T117" fmla="*/ 2147483647 h 58"/>
                    <a:gd name="T118" fmla="*/ 2147483647 w 40"/>
                    <a:gd name="T119" fmla="*/ 2147483647 h 58"/>
                    <a:gd name="T120" fmla="*/ 2147483647 w 40"/>
                    <a:gd name="T121" fmla="*/ 2147483647 h 58"/>
                    <a:gd name="T122" fmla="*/ 2147483647 w 40"/>
                    <a:gd name="T123" fmla="*/ 2147483647 h 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
                    <a:gd name="T187" fmla="*/ 0 h 58"/>
                    <a:gd name="T188" fmla="*/ 40 w 40"/>
                    <a:gd name="T189" fmla="*/ 58 h 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 h="58">
                      <a:moveTo>
                        <a:pt x="40" y="26"/>
                      </a:moveTo>
                      <a:lnTo>
                        <a:pt x="32" y="38"/>
                      </a:lnTo>
                      <a:lnTo>
                        <a:pt x="31" y="41"/>
                      </a:lnTo>
                      <a:lnTo>
                        <a:pt x="31" y="45"/>
                      </a:lnTo>
                      <a:lnTo>
                        <a:pt x="32" y="49"/>
                      </a:lnTo>
                      <a:lnTo>
                        <a:pt x="31" y="50"/>
                      </a:lnTo>
                      <a:lnTo>
                        <a:pt x="30" y="52"/>
                      </a:lnTo>
                      <a:lnTo>
                        <a:pt x="26" y="56"/>
                      </a:lnTo>
                      <a:lnTo>
                        <a:pt x="23" y="56"/>
                      </a:lnTo>
                      <a:lnTo>
                        <a:pt x="21" y="56"/>
                      </a:lnTo>
                      <a:lnTo>
                        <a:pt x="19" y="53"/>
                      </a:lnTo>
                      <a:lnTo>
                        <a:pt x="19" y="52"/>
                      </a:lnTo>
                      <a:lnTo>
                        <a:pt x="19" y="50"/>
                      </a:lnTo>
                      <a:lnTo>
                        <a:pt x="17" y="49"/>
                      </a:lnTo>
                      <a:lnTo>
                        <a:pt x="16" y="49"/>
                      </a:lnTo>
                      <a:lnTo>
                        <a:pt x="16" y="50"/>
                      </a:lnTo>
                      <a:lnTo>
                        <a:pt x="14" y="56"/>
                      </a:lnTo>
                      <a:lnTo>
                        <a:pt x="13" y="57"/>
                      </a:lnTo>
                      <a:lnTo>
                        <a:pt x="10" y="58"/>
                      </a:lnTo>
                      <a:lnTo>
                        <a:pt x="7" y="57"/>
                      </a:lnTo>
                      <a:lnTo>
                        <a:pt x="5" y="53"/>
                      </a:lnTo>
                      <a:lnTo>
                        <a:pt x="5" y="51"/>
                      </a:lnTo>
                      <a:lnTo>
                        <a:pt x="5" y="49"/>
                      </a:lnTo>
                      <a:lnTo>
                        <a:pt x="9" y="45"/>
                      </a:lnTo>
                      <a:lnTo>
                        <a:pt x="10" y="41"/>
                      </a:lnTo>
                      <a:lnTo>
                        <a:pt x="12" y="33"/>
                      </a:lnTo>
                      <a:lnTo>
                        <a:pt x="12" y="32"/>
                      </a:lnTo>
                      <a:lnTo>
                        <a:pt x="12" y="31"/>
                      </a:lnTo>
                      <a:lnTo>
                        <a:pt x="14" y="31"/>
                      </a:lnTo>
                      <a:lnTo>
                        <a:pt x="18" y="31"/>
                      </a:lnTo>
                      <a:lnTo>
                        <a:pt x="19" y="30"/>
                      </a:lnTo>
                      <a:lnTo>
                        <a:pt x="19" y="26"/>
                      </a:lnTo>
                      <a:lnTo>
                        <a:pt x="19" y="21"/>
                      </a:lnTo>
                      <a:lnTo>
                        <a:pt x="18" y="17"/>
                      </a:lnTo>
                      <a:lnTo>
                        <a:pt x="17" y="17"/>
                      </a:lnTo>
                      <a:lnTo>
                        <a:pt x="14" y="17"/>
                      </a:lnTo>
                      <a:lnTo>
                        <a:pt x="13" y="18"/>
                      </a:lnTo>
                      <a:lnTo>
                        <a:pt x="12" y="20"/>
                      </a:lnTo>
                      <a:lnTo>
                        <a:pt x="12" y="22"/>
                      </a:lnTo>
                      <a:lnTo>
                        <a:pt x="9" y="25"/>
                      </a:lnTo>
                      <a:lnTo>
                        <a:pt x="7" y="26"/>
                      </a:lnTo>
                      <a:lnTo>
                        <a:pt x="4" y="26"/>
                      </a:lnTo>
                      <a:lnTo>
                        <a:pt x="2" y="22"/>
                      </a:lnTo>
                      <a:lnTo>
                        <a:pt x="0" y="21"/>
                      </a:lnTo>
                      <a:lnTo>
                        <a:pt x="2" y="20"/>
                      </a:lnTo>
                      <a:lnTo>
                        <a:pt x="4" y="17"/>
                      </a:lnTo>
                      <a:lnTo>
                        <a:pt x="7" y="13"/>
                      </a:lnTo>
                      <a:lnTo>
                        <a:pt x="9" y="9"/>
                      </a:lnTo>
                      <a:lnTo>
                        <a:pt x="9" y="5"/>
                      </a:lnTo>
                      <a:lnTo>
                        <a:pt x="14" y="4"/>
                      </a:lnTo>
                      <a:lnTo>
                        <a:pt x="18" y="0"/>
                      </a:lnTo>
                      <a:lnTo>
                        <a:pt x="19" y="0"/>
                      </a:lnTo>
                      <a:lnTo>
                        <a:pt x="22" y="1"/>
                      </a:lnTo>
                      <a:lnTo>
                        <a:pt x="24" y="4"/>
                      </a:lnTo>
                      <a:lnTo>
                        <a:pt x="27" y="5"/>
                      </a:lnTo>
                      <a:lnTo>
                        <a:pt x="30" y="6"/>
                      </a:lnTo>
                      <a:lnTo>
                        <a:pt x="31" y="8"/>
                      </a:lnTo>
                      <a:lnTo>
                        <a:pt x="33" y="15"/>
                      </a:lnTo>
                      <a:lnTo>
                        <a:pt x="36" y="19"/>
                      </a:lnTo>
                      <a:lnTo>
                        <a:pt x="40" y="21"/>
                      </a:lnTo>
                      <a:lnTo>
                        <a:pt x="40" y="24"/>
                      </a:lnTo>
                      <a:lnTo>
                        <a:pt x="40"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2" name="Freeform 57"/>
                <p:cNvSpPr>
                  <a:spLocks/>
                </p:cNvSpPr>
                <p:nvPr/>
              </p:nvSpPr>
              <p:spPr bwMode="auto">
                <a:xfrm>
                  <a:off x="7715573" y="3583934"/>
                  <a:ext cx="57715" cy="51796"/>
                </a:xfrm>
                <a:custGeom>
                  <a:avLst/>
                  <a:gdLst>
                    <a:gd name="T0" fmla="*/ 2147483647 w 42"/>
                    <a:gd name="T1" fmla="*/ 2147483647 h 35"/>
                    <a:gd name="T2" fmla="*/ 2147483647 w 42"/>
                    <a:gd name="T3" fmla="*/ 0 h 35"/>
                    <a:gd name="T4" fmla="*/ 2147483647 w 42"/>
                    <a:gd name="T5" fmla="*/ 0 h 35"/>
                    <a:gd name="T6" fmla="*/ 2147483647 w 42"/>
                    <a:gd name="T7" fmla="*/ 2147483647 h 35"/>
                    <a:gd name="T8" fmla="*/ 2147483647 w 42"/>
                    <a:gd name="T9" fmla="*/ 2147483647 h 35"/>
                    <a:gd name="T10" fmla="*/ 2147483647 w 42"/>
                    <a:gd name="T11" fmla="*/ 2147483647 h 35"/>
                    <a:gd name="T12" fmla="*/ 2147483647 w 42"/>
                    <a:gd name="T13" fmla="*/ 2147483647 h 35"/>
                    <a:gd name="T14" fmla="*/ 2147483647 w 42"/>
                    <a:gd name="T15" fmla="*/ 2147483647 h 35"/>
                    <a:gd name="T16" fmla="*/ 2147483647 w 42"/>
                    <a:gd name="T17" fmla="*/ 2147483647 h 35"/>
                    <a:gd name="T18" fmla="*/ 2147483647 w 42"/>
                    <a:gd name="T19" fmla="*/ 2147483647 h 35"/>
                    <a:gd name="T20" fmla="*/ 2147483647 w 42"/>
                    <a:gd name="T21" fmla="*/ 2147483647 h 35"/>
                    <a:gd name="T22" fmla="*/ 2147483647 w 42"/>
                    <a:gd name="T23" fmla="*/ 2147483647 h 35"/>
                    <a:gd name="T24" fmla="*/ 2147483647 w 42"/>
                    <a:gd name="T25" fmla="*/ 2147483647 h 35"/>
                    <a:gd name="T26" fmla="*/ 0 w 42"/>
                    <a:gd name="T27" fmla="*/ 2147483647 h 35"/>
                    <a:gd name="T28" fmla="*/ 0 w 42"/>
                    <a:gd name="T29" fmla="*/ 2147483647 h 35"/>
                    <a:gd name="T30" fmla="*/ 0 w 42"/>
                    <a:gd name="T31" fmla="*/ 2147483647 h 35"/>
                    <a:gd name="T32" fmla="*/ 2147483647 w 42"/>
                    <a:gd name="T33" fmla="*/ 2147483647 h 35"/>
                    <a:gd name="T34" fmla="*/ 2147483647 w 42"/>
                    <a:gd name="T35" fmla="*/ 2147483647 h 35"/>
                    <a:gd name="T36" fmla="*/ 2147483647 w 42"/>
                    <a:gd name="T37" fmla="*/ 2147483647 h 35"/>
                    <a:gd name="T38" fmla="*/ 2147483647 w 42"/>
                    <a:gd name="T39" fmla="*/ 2147483647 h 35"/>
                    <a:gd name="T40" fmla="*/ 2147483647 w 42"/>
                    <a:gd name="T41" fmla="*/ 2147483647 h 35"/>
                    <a:gd name="T42" fmla="*/ 2147483647 w 42"/>
                    <a:gd name="T43" fmla="*/ 2147483647 h 35"/>
                    <a:gd name="T44" fmla="*/ 2147483647 w 42"/>
                    <a:gd name="T45" fmla="*/ 2147483647 h 35"/>
                    <a:gd name="T46" fmla="*/ 2147483647 w 42"/>
                    <a:gd name="T47" fmla="*/ 2147483647 h 35"/>
                    <a:gd name="T48" fmla="*/ 2147483647 w 42"/>
                    <a:gd name="T49" fmla="*/ 2147483647 h 35"/>
                    <a:gd name="T50" fmla="*/ 2147483647 w 42"/>
                    <a:gd name="T51" fmla="*/ 2147483647 h 35"/>
                    <a:gd name="T52" fmla="*/ 2147483647 w 42"/>
                    <a:gd name="T53" fmla="*/ 2147483647 h 35"/>
                    <a:gd name="T54" fmla="*/ 2147483647 w 42"/>
                    <a:gd name="T55" fmla="*/ 2147483647 h 35"/>
                    <a:gd name="T56" fmla="*/ 2147483647 w 42"/>
                    <a:gd name="T57" fmla="*/ 2147483647 h 35"/>
                    <a:gd name="T58" fmla="*/ 2147483647 w 42"/>
                    <a:gd name="T59" fmla="*/ 2147483647 h 35"/>
                    <a:gd name="T60" fmla="*/ 2147483647 w 42"/>
                    <a:gd name="T61" fmla="*/ 2147483647 h 35"/>
                    <a:gd name="T62" fmla="*/ 2147483647 w 42"/>
                    <a:gd name="T63" fmla="*/ 2147483647 h 35"/>
                    <a:gd name="T64" fmla="*/ 2147483647 w 42"/>
                    <a:gd name="T65" fmla="*/ 2147483647 h 35"/>
                    <a:gd name="T66" fmla="*/ 2147483647 w 42"/>
                    <a:gd name="T67" fmla="*/ 2147483647 h 35"/>
                    <a:gd name="T68" fmla="*/ 2147483647 w 42"/>
                    <a:gd name="T69" fmla="*/ 2147483647 h 35"/>
                    <a:gd name="T70" fmla="*/ 2147483647 w 42"/>
                    <a:gd name="T71" fmla="*/ 2147483647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
                    <a:gd name="T109" fmla="*/ 0 h 35"/>
                    <a:gd name="T110" fmla="*/ 42 w 42"/>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 h="35">
                      <a:moveTo>
                        <a:pt x="41" y="3"/>
                      </a:moveTo>
                      <a:lnTo>
                        <a:pt x="37" y="0"/>
                      </a:lnTo>
                      <a:lnTo>
                        <a:pt x="32" y="0"/>
                      </a:lnTo>
                      <a:lnTo>
                        <a:pt x="28" y="3"/>
                      </a:lnTo>
                      <a:lnTo>
                        <a:pt x="24" y="6"/>
                      </a:lnTo>
                      <a:lnTo>
                        <a:pt x="23" y="7"/>
                      </a:lnTo>
                      <a:lnTo>
                        <a:pt x="21" y="9"/>
                      </a:lnTo>
                      <a:lnTo>
                        <a:pt x="17" y="9"/>
                      </a:lnTo>
                      <a:lnTo>
                        <a:pt x="14" y="9"/>
                      </a:lnTo>
                      <a:lnTo>
                        <a:pt x="13" y="9"/>
                      </a:lnTo>
                      <a:lnTo>
                        <a:pt x="10" y="13"/>
                      </a:lnTo>
                      <a:lnTo>
                        <a:pt x="8" y="16"/>
                      </a:lnTo>
                      <a:lnTo>
                        <a:pt x="4" y="17"/>
                      </a:lnTo>
                      <a:lnTo>
                        <a:pt x="0" y="17"/>
                      </a:lnTo>
                      <a:lnTo>
                        <a:pt x="0" y="18"/>
                      </a:lnTo>
                      <a:lnTo>
                        <a:pt x="0" y="20"/>
                      </a:lnTo>
                      <a:lnTo>
                        <a:pt x="3" y="22"/>
                      </a:lnTo>
                      <a:lnTo>
                        <a:pt x="4" y="23"/>
                      </a:lnTo>
                      <a:lnTo>
                        <a:pt x="7" y="26"/>
                      </a:lnTo>
                      <a:lnTo>
                        <a:pt x="8" y="31"/>
                      </a:lnTo>
                      <a:lnTo>
                        <a:pt x="10" y="33"/>
                      </a:lnTo>
                      <a:lnTo>
                        <a:pt x="12" y="35"/>
                      </a:lnTo>
                      <a:lnTo>
                        <a:pt x="13" y="35"/>
                      </a:lnTo>
                      <a:lnTo>
                        <a:pt x="14" y="32"/>
                      </a:lnTo>
                      <a:lnTo>
                        <a:pt x="18" y="26"/>
                      </a:lnTo>
                      <a:lnTo>
                        <a:pt x="21" y="23"/>
                      </a:lnTo>
                      <a:lnTo>
                        <a:pt x="24" y="22"/>
                      </a:lnTo>
                      <a:lnTo>
                        <a:pt x="29" y="22"/>
                      </a:lnTo>
                      <a:lnTo>
                        <a:pt x="33" y="23"/>
                      </a:lnTo>
                      <a:lnTo>
                        <a:pt x="35" y="22"/>
                      </a:lnTo>
                      <a:lnTo>
                        <a:pt x="36" y="20"/>
                      </a:lnTo>
                      <a:lnTo>
                        <a:pt x="37" y="13"/>
                      </a:lnTo>
                      <a:lnTo>
                        <a:pt x="38" y="11"/>
                      </a:lnTo>
                      <a:lnTo>
                        <a:pt x="41" y="7"/>
                      </a:lnTo>
                      <a:lnTo>
                        <a:pt x="42" y="5"/>
                      </a:lnTo>
                      <a:lnTo>
                        <a:pt x="41"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3" name="Freeform 58"/>
                <p:cNvSpPr>
                  <a:spLocks/>
                </p:cNvSpPr>
                <p:nvPr/>
              </p:nvSpPr>
              <p:spPr bwMode="auto">
                <a:xfrm>
                  <a:off x="7650458" y="3598733"/>
                  <a:ext cx="53275" cy="85833"/>
                </a:xfrm>
                <a:custGeom>
                  <a:avLst/>
                  <a:gdLst>
                    <a:gd name="T0" fmla="*/ 2147483647 w 39"/>
                    <a:gd name="T1" fmla="*/ 2147483647 h 58"/>
                    <a:gd name="T2" fmla="*/ 2147483647 w 39"/>
                    <a:gd name="T3" fmla="*/ 2147483647 h 58"/>
                    <a:gd name="T4" fmla="*/ 2147483647 w 39"/>
                    <a:gd name="T5" fmla="*/ 2147483647 h 58"/>
                    <a:gd name="T6" fmla="*/ 2147483647 w 39"/>
                    <a:gd name="T7" fmla="*/ 2147483647 h 58"/>
                    <a:gd name="T8" fmla="*/ 2147483647 w 39"/>
                    <a:gd name="T9" fmla="*/ 2147483647 h 58"/>
                    <a:gd name="T10" fmla="*/ 2147483647 w 39"/>
                    <a:gd name="T11" fmla="*/ 2147483647 h 58"/>
                    <a:gd name="T12" fmla="*/ 2147483647 w 39"/>
                    <a:gd name="T13" fmla="*/ 2147483647 h 58"/>
                    <a:gd name="T14" fmla="*/ 2147483647 w 39"/>
                    <a:gd name="T15" fmla="*/ 2147483647 h 58"/>
                    <a:gd name="T16" fmla="*/ 2147483647 w 39"/>
                    <a:gd name="T17" fmla="*/ 2147483647 h 58"/>
                    <a:gd name="T18" fmla="*/ 2147483647 w 39"/>
                    <a:gd name="T19" fmla="*/ 2147483647 h 58"/>
                    <a:gd name="T20" fmla="*/ 2147483647 w 39"/>
                    <a:gd name="T21" fmla="*/ 2147483647 h 58"/>
                    <a:gd name="T22" fmla="*/ 2147483647 w 39"/>
                    <a:gd name="T23" fmla="*/ 2147483647 h 58"/>
                    <a:gd name="T24" fmla="*/ 2147483647 w 39"/>
                    <a:gd name="T25" fmla="*/ 2147483647 h 58"/>
                    <a:gd name="T26" fmla="*/ 2147483647 w 39"/>
                    <a:gd name="T27" fmla="*/ 2147483647 h 58"/>
                    <a:gd name="T28" fmla="*/ 2147483647 w 39"/>
                    <a:gd name="T29" fmla="*/ 2147483647 h 58"/>
                    <a:gd name="T30" fmla="*/ 2147483647 w 39"/>
                    <a:gd name="T31" fmla="*/ 2147483647 h 58"/>
                    <a:gd name="T32" fmla="*/ 2147483647 w 39"/>
                    <a:gd name="T33" fmla="*/ 2147483647 h 58"/>
                    <a:gd name="T34" fmla="*/ 2147483647 w 39"/>
                    <a:gd name="T35" fmla="*/ 2147483647 h 58"/>
                    <a:gd name="T36" fmla="*/ 2147483647 w 39"/>
                    <a:gd name="T37" fmla="*/ 2147483647 h 58"/>
                    <a:gd name="T38" fmla="*/ 2147483647 w 39"/>
                    <a:gd name="T39" fmla="*/ 2147483647 h 58"/>
                    <a:gd name="T40" fmla="*/ 2147483647 w 39"/>
                    <a:gd name="T41" fmla="*/ 2147483647 h 58"/>
                    <a:gd name="T42" fmla="*/ 2147483647 w 39"/>
                    <a:gd name="T43" fmla="*/ 2147483647 h 58"/>
                    <a:gd name="T44" fmla="*/ 2147483647 w 39"/>
                    <a:gd name="T45" fmla="*/ 2147483647 h 58"/>
                    <a:gd name="T46" fmla="*/ 2147483647 w 39"/>
                    <a:gd name="T47" fmla="*/ 2147483647 h 58"/>
                    <a:gd name="T48" fmla="*/ 2147483647 w 39"/>
                    <a:gd name="T49" fmla="*/ 2147483647 h 58"/>
                    <a:gd name="T50" fmla="*/ 2147483647 w 39"/>
                    <a:gd name="T51" fmla="*/ 2147483647 h 58"/>
                    <a:gd name="T52" fmla="*/ 2147483647 w 39"/>
                    <a:gd name="T53" fmla="*/ 2147483647 h 58"/>
                    <a:gd name="T54" fmla="*/ 2147483647 w 39"/>
                    <a:gd name="T55" fmla="*/ 2147483647 h 58"/>
                    <a:gd name="T56" fmla="*/ 2147483647 w 39"/>
                    <a:gd name="T57" fmla="*/ 2147483647 h 58"/>
                    <a:gd name="T58" fmla="*/ 2147483647 w 39"/>
                    <a:gd name="T59" fmla="*/ 2147483647 h 58"/>
                    <a:gd name="T60" fmla="*/ 2147483647 w 39"/>
                    <a:gd name="T61" fmla="*/ 2147483647 h 58"/>
                    <a:gd name="T62" fmla="*/ 2147483647 w 39"/>
                    <a:gd name="T63" fmla="*/ 2147483647 h 58"/>
                    <a:gd name="T64" fmla="*/ 2147483647 w 39"/>
                    <a:gd name="T65" fmla="*/ 0 h 58"/>
                    <a:gd name="T66" fmla="*/ 2147483647 w 39"/>
                    <a:gd name="T67" fmla="*/ 0 h 58"/>
                    <a:gd name="T68" fmla="*/ 2147483647 w 39"/>
                    <a:gd name="T69" fmla="*/ 2147483647 h 58"/>
                    <a:gd name="T70" fmla="*/ 2147483647 w 39"/>
                    <a:gd name="T71" fmla="*/ 2147483647 h 58"/>
                    <a:gd name="T72" fmla="*/ 2147483647 w 39"/>
                    <a:gd name="T73" fmla="*/ 2147483647 h 58"/>
                    <a:gd name="T74" fmla="*/ 2147483647 w 39"/>
                    <a:gd name="T75" fmla="*/ 2147483647 h 58"/>
                    <a:gd name="T76" fmla="*/ 2147483647 w 39"/>
                    <a:gd name="T77" fmla="*/ 2147483647 h 58"/>
                    <a:gd name="T78" fmla="*/ 2147483647 w 39"/>
                    <a:gd name="T79" fmla="*/ 2147483647 h 58"/>
                    <a:gd name="T80" fmla="*/ 2147483647 w 39"/>
                    <a:gd name="T81" fmla="*/ 2147483647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9"/>
                    <a:gd name="T124" fmla="*/ 0 h 58"/>
                    <a:gd name="T125" fmla="*/ 39 w 39"/>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9" h="58">
                      <a:moveTo>
                        <a:pt x="39" y="26"/>
                      </a:moveTo>
                      <a:lnTo>
                        <a:pt x="39" y="26"/>
                      </a:lnTo>
                      <a:lnTo>
                        <a:pt x="32" y="38"/>
                      </a:lnTo>
                      <a:lnTo>
                        <a:pt x="31" y="41"/>
                      </a:lnTo>
                      <a:lnTo>
                        <a:pt x="31" y="45"/>
                      </a:lnTo>
                      <a:lnTo>
                        <a:pt x="32" y="48"/>
                      </a:lnTo>
                      <a:lnTo>
                        <a:pt x="31" y="50"/>
                      </a:lnTo>
                      <a:lnTo>
                        <a:pt x="29" y="52"/>
                      </a:lnTo>
                      <a:lnTo>
                        <a:pt x="25" y="55"/>
                      </a:lnTo>
                      <a:lnTo>
                        <a:pt x="23" y="55"/>
                      </a:lnTo>
                      <a:lnTo>
                        <a:pt x="20" y="55"/>
                      </a:lnTo>
                      <a:lnTo>
                        <a:pt x="19" y="53"/>
                      </a:lnTo>
                      <a:lnTo>
                        <a:pt x="19" y="52"/>
                      </a:lnTo>
                      <a:lnTo>
                        <a:pt x="19" y="50"/>
                      </a:lnTo>
                      <a:lnTo>
                        <a:pt x="17" y="48"/>
                      </a:lnTo>
                      <a:lnTo>
                        <a:pt x="15" y="48"/>
                      </a:lnTo>
                      <a:lnTo>
                        <a:pt x="15" y="50"/>
                      </a:lnTo>
                      <a:lnTo>
                        <a:pt x="14" y="55"/>
                      </a:lnTo>
                      <a:lnTo>
                        <a:pt x="13" y="57"/>
                      </a:lnTo>
                      <a:lnTo>
                        <a:pt x="10" y="58"/>
                      </a:lnTo>
                      <a:lnTo>
                        <a:pt x="6" y="57"/>
                      </a:lnTo>
                      <a:lnTo>
                        <a:pt x="5" y="53"/>
                      </a:lnTo>
                      <a:lnTo>
                        <a:pt x="5" y="51"/>
                      </a:lnTo>
                      <a:lnTo>
                        <a:pt x="5" y="48"/>
                      </a:lnTo>
                      <a:lnTo>
                        <a:pt x="9" y="45"/>
                      </a:lnTo>
                      <a:lnTo>
                        <a:pt x="10" y="41"/>
                      </a:lnTo>
                      <a:lnTo>
                        <a:pt x="11" y="33"/>
                      </a:lnTo>
                      <a:lnTo>
                        <a:pt x="11" y="32"/>
                      </a:lnTo>
                      <a:lnTo>
                        <a:pt x="11" y="31"/>
                      </a:lnTo>
                      <a:lnTo>
                        <a:pt x="14" y="31"/>
                      </a:lnTo>
                      <a:lnTo>
                        <a:pt x="18" y="31"/>
                      </a:lnTo>
                      <a:lnTo>
                        <a:pt x="19" y="29"/>
                      </a:lnTo>
                      <a:lnTo>
                        <a:pt x="19" y="26"/>
                      </a:lnTo>
                      <a:lnTo>
                        <a:pt x="19" y="21"/>
                      </a:lnTo>
                      <a:lnTo>
                        <a:pt x="18" y="16"/>
                      </a:lnTo>
                      <a:lnTo>
                        <a:pt x="17" y="16"/>
                      </a:lnTo>
                      <a:lnTo>
                        <a:pt x="14" y="16"/>
                      </a:lnTo>
                      <a:lnTo>
                        <a:pt x="13" y="18"/>
                      </a:lnTo>
                      <a:lnTo>
                        <a:pt x="11" y="20"/>
                      </a:lnTo>
                      <a:lnTo>
                        <a:pt x="11" y="22"/>
                      </a:lnTo>
                      <a:lnTo>
                        <a:pt x="9" y="25"/>
                      </a:lnTo>
                      <a:lnTo>
                        <a:pt x="6" y="26"/>
                      </a:lnTo>
                      <a:lnTo>
                        <a:pt x="4" y="26"/>
                      </a:lnTo>
                      <a:lnTo>
                        <a:pt x="1" y="22"/>
                      </a:lnTo>
                      <a:lnTo>
                        <a:pt x="0" y="21"/>
                      </a:lnTo>
                      <a:lnTo>
                        <a:pt x="1" y="20"/>
                      </a:lnTo>
                      <a:lnTo>
                        <a:pt x="4" y="16"/>
                      </a:lnTo>
                      <a:lnTo>
                        <a:pt x="6" y="13"/>
                      </a:lnTo>
                      <a:lnTo>
                        <a:pt x="9" y="9"/>
                      </a:lnTo>
                      <a:lnTo>
                        <a:pt x="9" y="5"/>
                      </a:lnTo>
                      <a:lnTo>
                        <a:pt x="14" y="3"/>
                      </a:lnTo>
                      <a:lnTo>
                        <a:pt x="18" y="0"/>
                      </a:lnTo>
                      <a:lnTo>
                        <a:pt x="19" y="0"/>
                      </a:lnTo>
                      <a:lnTo>
                        <a:pt x="22" y="1"/>
                      </a:lnTo>
                      <a:lnTo>
                        <a:pt x="24" y="3"/>
                      </a:lnTo>
                      <a:lnTo>
                        <a:pt x="27" y="5"/>
                      </a:lnTo>
                      <a:lnTo>
                        <a:pt x="29" y="6"/>
                      </a:lnTo>
                      <a:lnTo>
                        <a:pt x="31" y="8"/>
                      </a:lnTo>
                      <a:lnTo>
                        <a:pt x="33" y="15"/>
                      </a:lnTo>
                      <a:lnTo>
                        <a:pt x="36" y="19"/>
                      </a:lnTo>
                      <a:lnTo>
                        <a:pt x="39" y="21"/>
                      </a:lnTo>
                      <a:lnTo>
                        <a:pt x="39" y="23"/>
                      </a:lnTo>
                      <a:lnTo>
                        <a:pt x="39"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4" name="Freeform 59"/>
                <p:cNvSpPr>
                  <a:spLocks/>
                </p:cNvSpPr>
                <p:nvPr/>
              </p:nvSpPr>
              <p:spPr bwMode="auto">
                <a:xfrm>
                  <a:off x="7714096" y="3582452"/>
                  <a:ext cx="57715" cy="50315"/>
                </a:xfrm>
                <a:custGeom>
                  <a:avLst/>
                  <a:gdLst>
                    <a:gd name="T0" fmla="*/ 2147483647 w 42"/>
                    <a:gd name="T1" fmla="*/ 2147483647 h 34"/>
                    <a:gd name="T2" fmla="*/ 2147483647 w 42"/>
                    <a:gd name="T3" fmla="*/ 2147483647 h 34"/>
                    <a:gd name="T4" fmla="*/ 2147483647 w 42"/>
                    <a:gd name="T5" fmla="*/ 0 h 34"/>
                    <a:gd name="T6" fmla="*/ 2147483647 w 42"/>
                    <a:gd name="T7" fmla="*/ 0 h 34"/>
                    <a:gd name="T8" fmla="*/ 2147483647 w 42"/>
                    <a:gd name="T9" fmla="*/ 2147483647 h 34"/>
                    <a:gd name="T10" fmla="*/ 2147483647 w 42"/>
                    <a:gd name="T11" fmla="*/ 2147483647 h 34"/>
                    <a:gd name="T12" fmla="*/ 2147483647 w 42"/>
                    <a:gd name="T13" fmla="*/ 2147483647 h 34"/>
                    <a:gd name="T14" fmla="*/ 2147483647 w 42"/>
                    <a:gd name="T15" fmla="*/ 2147483647 h 34"/>
                    <a:gd name="T16" fmla="*/ 2147483647 w 42"/>
                    <a:gd name="T17" fmla="*/ 2147483647 h 34"/>
                    <a:gd name="T18" fmla="*/ 2147483647 w 42"/>
                    <a:gd name="T19" fmla="*/ 2147483647 h 34"/>
                    <a:gd name="T20" fmla="*/ 2147483647 w 42"/>
                    <a:gd name="T21" fmla="*/ 2147483647 h 34"/>
                    <a:gd name="T22" fmla="*/ 2147483647 w 42"/>
                    <a:gd name="T23" fmla="*/ 2147483647 h 34"/>
                    <a:gd name="T24" fmla="*/ 2147483647 w 42"/>
                    <a:gd name="T25" fmla="*/ 2147483647 h 34"/>
                    <a:gd name="T26" fmla="*/ 2147483647 w 42"/>
                    <a:gd name="T27" fmla="*/ 2147483647 h 34"/>
                    <a:gd name="T28" fmla="*/ 2147483647 w 42"/>
                    <a:gd name="T29" fmla="*/ 2147483647 h 34"/>
                    <a:gd name="T30" fmla="*/ 2147483647 w 42"/>
                    <a:gd name="T31" fmla="*/ 2147483647 h 34"/>
                    <a:gd name="T32" fmla="*/ 2147483647 w 42"/>
                    <a:gd name="T33" fmla="*/ 2147483647 h 34"/>
                    <a:gd name="T34" fmla="*/ 0 w 42"/>
                    <a:gd name="T35" fmla="*/ 2147483647 h 34"/>
                    <a:gd name="T36" fmla="*/ 0 w 42"/>
                    <a:gd name="T37" fmla="*/ 2147483647 h 34"/>
                    <a:gd name="T38" fmla="*/ 0 w 42"/>
                    <a:gd name="T39" fmla="*/ 2147483647 h 34"/>
                    <a:gd name="T40" fmla="*/ 0 w 42"/>
                    <a:gd name="T41" fmla="*/ 2147483647 h 34"/>
                    <a:gd name="T42" fmla="*/ 0 w 42"/>
                    <a:gd name="T43" fmla="*/ 2147483647 h 34"/>
                    <a:gd name="T44" fmla="*/ 2147483647 w 42"/>
                    <a:gd name="T45" fmla="*/ 2147483647 h 34"/>
                    <a:gd name="T46" fmla="*/ 2147483647 w 42"/>
                    <a:gd name="T47" fmla="*/ 2147483647 h 34"/>
                    <a:gd name="T48" fmla="*/ 2147483647 w 42"/>
                    <a:gd name="T49" fmla="*/ 2147483647 h 34"/>
                    <a:gd name="T50" fmla="*/ 2147483647 w 42"/>
                    <a:gd name="T51" fmla="*/ 2147483647 h 34"/>
                    <a:gd name="T52" fmla="*/ 2147483647 w 42"/>
                    <a:gd name="T53" fmla="*/ 2147483647 h 34"/>
                    <a:gd name="T54" fmla="*/ 2147483647 w 42"/>
                    <a:gd name="T55" fmla="*/ 2147483647 h 34"/>
                    <a:gd name="T56" fmla="*/ 2147483647 w 42"/>
                    <a:gd name="T57" fmla="*/ 2147483647 h 34"/>
                    <a:gd name="T58" fmla="*/ 2147483647 w 42"/>
                    <a:gd name="T59" fmla="*/ 2147483647 h 34"/>
                    <a:gd name="T60" fmla="*/ 2147483647 w 42"/>
                    <a:gd name="T61" fmla="*/ 2147483647 h 34"/>
                    <a:gd name="T62" fmla="*/ 2147483647 w 42"/>
                    <a:gd name="T63" fmla="*/ 2147483647 h 34"/>
                    <a:gd name="T64" fmla="*/ 2147483647 w 42"/>
                    <a:gd name="T65" fmla="*/ 2147483647 h 34"/>
                    <a:gd name="T66" fmla="*/ 2147483647 w 42"/>
                    <a:gd name="T67" fmla="*/ 2147483647 h 34"/>
                    <a:gd name="T68" fmla="*/ 2147483647 w 42"/>
                    <a:gd name="T69" fmla="*/ 2147483647 h 34"/>
                    <a:gd name="T70" fmla="*/ 2147483647 w 42"/>
                    <a:gd name="T71" fmla="*/ 2147483647 h 34"/>
                    <a:gd name="T72" fmla="*/ 2147483647 w 42"/>
                    <a:gd name="T73" fmla="*/ 2147483647 h 34"/>
                    <a:gd name="T74" fmla="*/ 2147483647 w 42"/>
                    <a:gd name="T75" fmla="*/ 2147483647 h 34"/>
                    <a:gd name="T76" fmla="*/ 2147483647 w 42"/>
                    <a:gd name="T77" fmla="*/ 2147483647 h 34"/>
                    <a:gd name="T78" fmla="*/ 2147483647 w 42"/>
                    <a:gd name="T79" fmla="*/ 2147483647 h 34"/>
                    <a:gd name="T80" fmla="*/ 2147483647 w 42"/>
                    <a:gd name="T81" fmla="*/ 2147483647 h 34"/>
                    <a:gd name="T82" fmla="*/ 2147483647 w 42"/>
                    <a:gd name="T83" fmla="*/ 2147483647 h 34"/>
                    <a:gd name="T84" fmla="*/ 2147483647 w 42"/>
                    <a:gd name="T85" fmla="*/ 2147483647 h 34"/>
                    <a:gd name="T86" fmla="*/ 2147483647 w 42"/>
                    <a:gd name="T87" fmla="*/ 2147483647 h 34"/>
                    <a:gd name="T88" fmla="*/ 2147483647 w 42"/>
                    <a:gd name="T89" fmla="*/ 2147483647 h 34"/>
                    <a:gd name="T90" fmla="*/ 2147483647 w 42"/>
                    <a:gd name="T91" fmla="*/ 2147483647 h 34"/>
                    <a:gd name="T92" fmla="*/ 2147483647 w 42"/>
                    <a:gd name="T93" fmla="*/ 2147483647 h 34"/>
                    <a:gd name="T94" fmla="*/ 2147483647 w 42"/>
                    <a:gd name="T95" fmla="*/ 2147483647 h 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2"/>
                    <a:gd name="T145" fmla="*/ 0 h 34"/>
                    <a:gd name="T146" fmla="*/ 42 w 42"/>
                    <a:gd name="T147" fmla="*/ 34 h 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2" h="34">
                      <a:moveTo>
                        <a:pt x="41" y="2"/>
                      </a:moveTo>
                      <a:lnTo>
                        <a:pt x="41" y="2"/>
                      </a:lnTo>
                      <a:lnTo>
                        <a:pt x="37" y="0"/>
                      </a:lnTo>
                      <a:lnTo>
                        <a:pt x="32" y="0"/>
                      </a:lnTo>
                      <a:lnTo>
                        <a:pt x="28" y="2"/>
                      </a:lnTo>
                      <a:lnTo>
                        <a:pt x="24" y="6"/>
                      </a:lnTo>
                      <a:lnTo>
                        <a:pt x="23" y="7"/>
                      </a:lnTo>
                      <a:lnTo>
                        <a:pt x="20" y="8"/>
                      </a:lnTo>
                      <a:lnTo>
                        <a:pt x="17" y="8"/>
                      </a:lnTo>
                      <a:lnTo>
                        <a:pt x="14" y="8"/>
                      </a:lnTo>
                      <a:lnTo>
                        <a:pt x="13" y="8"/>
                      </a:lnTo>
                      <a:lnTo>
                        <a:pt x="10" y="13"/>
                      </a:lnTo>
                      <a:lnTo>
                        <a:pt x="8" y="16"/>
                      </a:lnTo>
                      <a:lnTo>
                        <a:pt x="4" y="17"/>
                      </a:lnTo>
                      <a:lnTo>
                        <a:pt x="0" y="17"/>
                      </a:lnTo>
                      <a:lnTo>
                        <a:pt x="0" y="18"/>
                      </a:lnTo>
                      <a:lnTo>
                        <a:pt x="0" y="20"/>
                      </a:lnTo>
                      <a:lnTo>
                        <a:pt x="3" y="21"/>
                      </a:lnTo>
                      <a:lnTo>
                        <a:pt x="4" y="23"/>
                      </a:lnTo>
                      <a:lnTo>
                        <a:pt x="6" y="26"/>
                      </a:lnTo>
                      <a:lnTo>
                        <a:pt x="8" y="31"/>
                      </a:lnTo>
                      <a:lnTo>
                        <a:pt x="10" y="33"/>
                      </a:lnTo>
                      <a:lnTo>
                        <a:pt x="11" y="34"/>
                      </a:lnTo>
                      <a:lnTo>
                        <a:pt x="13" y="34"/>
                      </a:lnTo>
                      <a:lnTo>
                        <a:pt x="14" y="32"/>
                      </a:lnTo>
                      <a:lnTo>
                        <a:pt x="18" y="26"/>
                      </a:lnTo>
                      <a:lnTo>
                        <a:pt x="20" y="23"/>
                      </a:lnTo>
                      <a:lnTo>
                        <a:pt x="24" y="21"/>
                      </a:lnTo>
                      <a:lnTo>
                        <a:pt x="29" y="21"/>
                      </a:lnTo>
                      <a:lnTo>
                        <a:pt x="33" y="23"/>
                      </a:lnTo>
                      <a:lnTo>
                        <a:pt x="34" y="21"/>
                      </a:lnTo>
                      <a:lnTo>
                        <a:pt x="36" y="20"/>
                      </a:lnTo>
                      <a:lnTo>
                        <a:pt x="37" y="13"/>
                      </a:lnTo>
                      <a:lnTo>
                        <a:pt x="38" y="11"/>
                      </a:lnTo>
                      <a:lnTo>
                        <a:pt x="41" y="7"/>
                      </a:lnTo>
                      <a:lnTo>
                        <a:pt x="42" y="5"/>
                      </a:lnTo>
                      <a:lnTo>
                        <a:pt x="41"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5" name="Freeform 60"/>
                <p:cNvSpPr>
                  <a:spLocks/>
                </p:cNvSpPr>
                <p:nvPr/>
              </p:nvSpPr>
              <p:spPr bwMode="auto">
                <a:xfrm>
                  <a:off x="7687456" y="3356030"/>
                  <a:ext cx="260457" cy="254538"/>
                </a:xfrm>
                <a:custGeom>
                  <a:avLst/>
                  <a:gdLst>
                    <a:gd name="T0" fmla="*/ 2147483647 w 191"/>
                    <a:gd name="T1" fmla="*/ 2147483647 h 172"/>
                    <a:gd name="T2" fmla="*/ 2147483647 w 191"/>
                    <a:gd name="T3" fmla="*/ 2147483647 h 172"/>
                    <a:gd name="T4" fmla="*/ 2147483647 w 191"/>
                    <a:gd name="T5" fmla="*/ 2147483647 h 172"/>
                    <a:gd name="T6" fmla="*/ 2147483647 w 191"/>
                    <a:gd name="T7" fmla="*/ 2147483647 h 172"/>
                    <a:gd name="T8" fmla="*/ 2147483647 w 191"/>
                    <a:gd name="T9" fmla="*/ 2147483647 h 172"/>
                    <a:gd name="T10" fmla="*/ 2147483647 w 191"/>
                    <a:gd name="T11" fmla="*/ 2147483647 h 172"/>
                    <a:gd name="T12" fmla="*/ 2147483647 w 191"/>
                    <a:gd name="T13" fmla="*/ 2147483647 h 172"/>
                    <a:gd name="T14" fmla="*/ 2147483647 w 191"/>
                    <a:gd name="T15" fmla="*/ 2147483647 h 172"/>
                    <a:gd name="T16" fmla="*/ 2147483647 w 191"/>
                    <a:gd name="T17" fmla="*/ 2147483647 h 172"/>
                    <a:gd name="T18" fmla="*/ 2147483647 w 191"/>
                    <a:gd name="T19" fmla="*/ 2147483647 h 172"/>
                    <a:gd name="T20" fmla="*/ 2147483647 w 191"/>
                    <a:gd name="T21" fmla="*/ 2147483647 h 172"/>
                    <a:gd name="T22" fmla="*/ 2147483647 w 191"/>
                    <a:gd name="T23" fmla="*/ 2147483647 h 172"/>
                    <a:gd name="T24" fmla="*/ 2147483647 w 191"/>
                    <a:gd name="T25" fmla="*/ 2147483647 h 172"/>
                    <a:gd name="T26" fmla="*/ 2147483647 w 191"/>
                    <a:gd name="T27" fmla="*/ 2147483647 h 172"/>
                    <a:gd name="T28" fmla="*/ 2147483647 w 191"/>
                    <a:gd name="T29" fmla="*/ 2147483647 h 172"/>
                    <a:gd name="T30" fmla="*/ 2147483647 w 191"/>
                    <a:gd name="T31" fmla="*/ 2147483647 h 172"/>
                    <a:gd name="T32" fmla="*/ 2147483647 w 191"/>
                    <a:gd name="T33" fmla="*/ 2147483647 h 172"/>
                    <a:gd name="T34" fmla="*/ 2147483647 w 191"/>
                    <a:gd name="T35" fmla="*/ 2147483647 h 172"/>
                    <a:gd name="T36" fmla="*/ 2147483647 w 191"/>
                    <a:gd name="T37" fmla="*/ 2147483647 h 172"/>
                    <a:gd name="T38" fmla="*/ 2147483647 w 191"/>
                    <a:gd name="T39" fmla="*/ 2147483647 h 172"/>
                    <a:gd name="T40" fmla="*/ 2147483647 w 191"/>
                    <a:gd name="T41" fmla="*/ 2147483647 h 172"/>
                    <a:gd name="T42" fmla="*/ 2147483647 w 191"/>
                    <a:gd name="T43" fmla="*/ 2147483647 h 172"/>
                    <a:gd name="T44" fmla="*/ 2147483647 w 191"/>
                    <a:gd name="T45" fmla="*/ 2147483647 h 172"/>
                    <a:gd name="T46" fmla="*/ 0 w 191"/>
                    <a:gd name="T47" fmla="*/ 2147483647 h 172"/>
                    <a:gd name="T48" fmla="*/ 2147483647 w 191"/>
                    <a:gd name="T49" fmla="*/ 2147483647 h 172"/>
                    <a:gd name="T50" fmla="*/ 2147483647 w 191"/>
                    <a:gd name="T51" fmla="*/ 2147483647 h 172"/>
                    <a:gd name="T52" fmla="*/ 2147483647 w 191"/>
                    <a:gd name="T53" fmla="*/ 2147483647 h 172"/>
                    <a:gd name="T54" fmla="*/ 2147483647 w 191"/>
                    <a:gd name="T55" fmla="*/ 2147483647 h 172"/>
                    <a:gd name="T56" fmla="*/ 2147483647 w 191"/>
                    <a:gd name="T57" fmla="*/ 2147483647 h 172"/>
                    <a:gd name="T58" fmla="*/ 2147483647 w 191"/>
                    <a:gd name="T59" fmla="*/ 2147483647 h 172"/>
                    <a:gd name="T60" fmla="*/ 2147483647 w 191"/>
                    <a:gd name="T61" fmla="*/ 2147483647 h 172"/>
                    <a:gd name="T62" fmla="*/ 2147483647 w 191"/>
                    <a:gd name="T63" fmla="*/ 2147483647 h 172"/>
                    <a:gd name="T64" fmla="*/ 2147483647 w 191"/>
                    <a:gd name="T65" fmla="*/ 2147483647 h 172"/>
                    <a:gd name="T66" fmla="*/ 2147483647 w 191"/>
                    <a:gd name="T67" fmla="*/ 2147483647 h 172"/>
                    <a:gd name="T68" fmla="*/ 2147483647 w 191"/>
                    <a:gd name="T69" fmla="*/ 2147483647 h 172"/>
                    <a:gd name="T70" fmla="*/ 2147483647 w 191"/>
                    <a:gd name="T71" fmla="*/ 2147483647 h 172"/>
                    <a:gd name="T72" fmla="*/ 2147483647 w 191"/>
                    <a:gd name="T73" fmla="*/ 2147483647 h 172"/>
                    <a:gd name="T74" fmla="*/ 2147483647 w 191"/>
                    <a:gd name="T75" fmla="*/ 2147483647 h 172"/>
                    <a:gd name="T76" fmla="*/ 2147483647 w 191"/>
                    <a:gd name="T77" fmla="*/ 2147483647 h 172"/>
                    <a:gd name="T78" fmla="*/ 2147483647 w 191"/>
                    <a:gd name="T79" fmla="*/ 2147483647 h 172"/>
                    <a:gd name="T80" fmla="*/ 2147483647 w 191"/>
                    <a:gd name="T81" fmla="*/ 2147483647 h 172"/>
                    <a:gd name="T82" fmla="*/ 2147483647 w 191"/>
                    <a:gd name="T83" fmla="*/ 2147483647 h 172"/>
                    <a:gd name="T84" fmla="*/ 2147483647 w 191"/>
                    <a:gd name="T85" fmla="*/ 2147483647 h 172"/>
                    <a:gd name="T86" fmla="*/ 2147483647 w 191"/>
                    <a:gd name="T87" fmla="*/ 2147483647 h 172"/>
                    <a:gd name="T88" fmla="*/ 2147483647 w 191"/>
                    <a:gd name="T89" fmla="*/ 2147483647 h 172"/>
                    <a:gd name="T90" fmla="*/ 2147483647 w 191"/>
                    <a:gd name="T91" fmla="*/ 2147483647 h 172"/>
                    <a:gd name="T92" fmla="*/ 2147483647 w 191"/>
                    <a:gd name="T93" fmla="*/ 2147483647 h 172"/>
                    <a:gd name="T94" fmla="*/ 2147483647 w 191"/>
                    <a:gd name="T95" fmla="*/ 2147483647 h 172"/>
                    <a:gd name="T96" fmla="*/ 2147483647 w 191"/>
                    <a:gd name="T97" fmla="*/ 2147483647 h 172"/>
                    <a:gd name="T98" fmla="*/ 2147483647 w 191"/>
                    <a:gd name="T99" fmla="*/ 2147483647 h 172"/>
                    <a:gd name="T100" fmla="*/ 2147483647 w 191"/>
                    <a:gd name="T101" fmla="*/ 2147483647 h 172"/>
                    <a:gd name="T102" fmla="*/ 2147483647 w 191"/>
                    <a:gd name="T103" fmla="*/ 2147483647 h 172"/>
                    <a:gd name="T104" fmla="*/ 2147483647 w 191"/>
                    <a:gd name="T105" fmla="*/ 2147483647 h 172"/>
                    <a:gd name="T106" fmla="*/ 2147483647 w 191"/>
                    <a:gd name="T107" fmla="*/ 2147483647 h 172"/>
                    <a:gd name="T108" fmla="*/ 2147483647 w 191"/>
                    <a:gd name="T109" fmla="*/ 2147483647 h 172"/>
                    <a:gd name="T110" fmla="*/ 2147483647 w 191"/>
                    <a:gd name="T111" fmla="*/ 2147483647 h 172"/>
                    <a:gd name="T112" fmla="*/ 2147483647 w 191"/>
                    <a:gd name="T113" fmla="*/ 2147483647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1"/>
                    <a:gd name="T172" fmla="*/ 0 h 172"/>
                    <a:gd name="T173" fmla="*/ 191 w 191"/>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1" h="172">
                      <a:moveTo>
                        <a:pt x="186" y="5"/>
                      </a:moveTo>
                      <a:lnTo>
                        <a:pt x="185" y="3"/>
                      </a:lnTo>
                      <a:lnTo>
                        <a:pt x="183" y="1"/>
                      </a:lnTo>
                      <a:lnTo>
                        <a:pt x="179" y="0"/>
                      </a:lnTo>
                      <a:lnTo>
                        <a:pt x="176" y="0"/>
                      </a:lnTo>
                      <a:lnTo>
                        <a:pt x="174" y="3"/>
                      </a:lnTo>
                      <a:lnTo>
                        <a:pt x="174" y="5"/>
                      </a:lnTo>
                      <a:lnTo>
                        <a:pt x="175" y="7"/>
                      </a:lnTo>
                      <a:lnTo>
                        <a:pt x="175" y="11"/>
                      </a:lnTo>
                      <a:lnTo>
                        <a:pt x="174" y="12"/>
                      </a:lnTo>
                      <a:lnTo>
                        <a:pt x="172" y="12"/>
                      </a:lnTo>
                      <a:lnTo>
                        <a:pt x="171" y="11"/>
                      </a:lnTo>
                      <a:lnTo>
                        <a:pt x="170" y="10"/>
                      </a:lnTo>
                      <a:lnTo>
                        <a:pt x="169" y="6"/>
                      </a:lnTo>
                      <a:lnTo>
                        <a:pt x="166" y="5"/>
                      </a:lnTo>
                      <a:lnTo>
                        <a:pt x="165" y="5"/>
                      </a:lnTo>
                      <a:lnTo>
                        <a:pt x="161" y="7"/>
                      </a:lnTo>
                      <a:lnTo>
                        <a:pt x="158" y="11"/>
                      </a:lnTo>
                      <a:lnTo>
                        <a:pt x="157" y="14"/>
                      </a:lnTo>
                      <a:lnTo>
                        <a:pt x="155" y="23"/>
                      </a:lnTo>
                      <a:lnTo>
                        <a:pt x="155" y="31"/>
                      </a:lnTo>
                      <a:lnTo>
                        <a:pt x="152" y="49"/>
                      </a:lnTo>
                      <a:lnTo>
                        <a:pt x="151" y="57"/>
                      </a:lnTo>
                      <a:lnTo>
                        <a:pt x="148" y="64"/>
                      </a:lnTo>
                      <a:lnTo>
                        <a:pt x="143" y="71"/>
                      </a:lnTo>
                      <a:lnTo>
                        <a:pt x="136" y="78"/>
                      </a:lnTo>
                      <a:lnTo>
                        <a:pt x="132" y="81"/>
                      </a:lnTo>
                      <a:lnTo>
                        <a:pt x="129" y="84"/>
                      </a:lnTo>
                      <a:lnTo>
                        <a:pt x="122" y="93"/>
                      </a:lnTo>
                      <a:lnTo>
                        <a:pt x="119" y="96"/>
                      </a:lnTo>
                      <a:lnTo>
                        <a:pt x="115" y="99"/>
                      </a:lnTo>
                      <a:lnTo>
                        <a:pt x="110" y="100"/>
                      </a:lnTo>
                      <a:lnTo>
                        <a:pt x="106" y="100"/>
                      </a:lnTo>
                      <a:lnTo>
                        <a:pt x="105" y="99"/>
                      </a:lnTo>
                      <a:lnTo>
                        <a:pt x="105" y="97"/>
                      </a:lnTo>
                      <a:lnTo>
                        <a:pt x="106" y="94"/>
                      </a:lnTo>
                      <a:lnTo>
                        <a:pt x="109" y="88"/>
                      </a:lnTo>
                      <a:lnTo>
                        <a:pt x="109" y="87"/>
                      </a:lnTo>
                      <a:lnTo>
                        <a:pt x="108" y="84"/>
                      </a:lnTo>
                      <a:lnTo>
                        <a:pt x="105" y="83"/>
                      </a:lnTo>
                      <a:lnTo>
                        <a:pt x="103" y="84"/>
                      </a:lnTo>
                      <a:lnTo>
                        <a:pt x="99" y="87"/>
                      </a:lnTo>
                      <a:lnTo>
                        <a:pt x="96" y="89"/>
                      </a:lnTo>
                      <a:lnTo>
                        <a:pt x="95" y="93"/>
                      </a:lnTo>
                      <a:lnTo>
                        <a:pt x="95" y="96"/>
                      </a:lnTo>
                      <a:lnTo>
                        <a:pt x="96" y="100"/>
                      </a:lnTo>
                      <a:lnTo>
                        <a:pt x="95" y="103"/>
                      </a:lnTo>
                      <a:lnTo>
                        <a:pt x="95" y="106"/>
                      </a:lnTo>
                      <a:lnTo>
                        <a:pt x="94" y="108"/>
                      </a:lnTo>
                      <a:lnTo>
                        <a:pt x="91" y="110"/>
                      </a:lnTo>
                      <a:lnTo>
                        <a:pt x="89" y="114"/>
                      </a:lnTo>
                      <a:lnTo>
                        <a:pt x="86" y="120"/>
                      </a:lnTo>
                      <a:lnTo>
                        <a:pt x="84" y="122"/>
                      </a:lnTo>
                      <a:lnTo>
                        <a:pt x="80" y="123"/>
                      </a:lnTo>
                      <a:lnTo>
                        <a:pt x="76" y="123"/>
                      </a:lnTo>
                      <a:lnTo>
                        <a:pt x="72" y="122"/>
                      </a:lnTo>
                      <a:lnTo>
                        <a:pt x="73" y="120"/>
                      </a:lnTo>
                      <a:lnTo>
                        <a:pt x="71" y="119"/>
                      </a:lnTo>
                      <a:lnTo>
                        <a:pt x="68" y="120"/>
                      </a:lnTo>
                      <a:lnTo>
                        <a:pt x="63" y="122"/>
                      </a:lnTo>
                      <a:lnTo>
                        <a:pt x="57" y="125"/>
                      </a:lnTo>
                      <a:lnTo>
                        <a:pt x="50" y="126"/>
                      </a:lnTo>
                      <a:lnTo>
                        <a:pt x="44" y="125"/>
                      </a:lnTo>
                      <a:lnTo>
                        <a:pt x="40" y="125"/>
                      </a:lnTo>
                      <a:lnTo>
                        <a:pt x="35" y="125"/>
                      </a:lnTo>
                      <a:lnTo>
                        <a:pt x="31" y="127"/>
                      </a:lnTo>
                      <a:lnTo>
                        <a:pt x="28" y="128"/>
                      </a:lnTo>
                      <a:lnTo>
                        <a:pt x="21" y="134"/>
                      </a:lnTo>
                      <a:lnTo>
                        <a:pt x="16" y="140"/>
                      </a:lnTo>
                      <a:lnTo>
                        <a:pt x="9" y="146"/>
                      </a:lnTo>
                      <a:lnTo>
                        <a:pt x="0" y="152"/>
                      </a:lnTo>
                      <a:lnTo>
                        <a:pt x="0" y="154"/>
                      </a:lnTo>
                      <a:lnTo>
                        <a:pt x="0" y="157"/>
                      </a:lnTo>
                      <a:lnTo>
                        <a:pt x="11" y="159"/>
                      </a:lnTo>
                      <a:lnTo>
                        <a:pt x="21" y="163"/>
                      </a:lnTo>
                      <a:lnTo>
                        <a:pt x="23" y="161"/>
                      </a:lnTo>
                      <a:lnTo>
                        <a:pt x="25" y="153"/>
                      </a:lnTo>
                      <a:lnTo>
                        <a:pt x="28" y="151"/>
                      </a:lnTo>
                      <a:lnTo>
                        <a:pt x="29" y="150"/>
                      </a:lnTo>
                      <a:lnTo>
                        <a:pt x="31" y="150"/>
                      </a:lnTo>
                      <a:lnTo>
                        <a:pt x="35" y="150"/>
                      </a:lnTo>
                      <a:lnTo>
                        <a:pt x="37" y="151"/>
                      </a:lnTo>
                      <a:lnTo>
                        <a:pt x="38" y="150"/>
                      </a:lnTo>
                      <a:lnTo>
                        <a:pt x="43" y="147"/>
                      </a:lnTo>
                      <a:lnTo>
                        <a:pt x="48" y="145"/>
                      </a:lnTo>
                      <a:lnTo>
                        <a:pt x="57" y="144"/>
                      </a:lnTo>
                      <a:lnTo>
                        <a:pt x="67" y="144"/>
                      </a:lnTo>
                      <a:lnTo>
                        <a:pt x="77" y="145"/>
                      </a:lnTo>
                      <a:lnTo>
                        <a:pt x="80" y="146"/>
                      </a:lnTo>
                      <a:lnTo>
                        <a:pt x="80" y="147"/>
                      </a:lnTo>
                      <a:lnTo>
                        <a:pt x="80" y="148"/>
                      </a:lnTo>
                      <a:lnTo>
                        <a:pt x="75" y="153"/>
                      </a:lnTo>
                      <a:lnTo>
                        <a:pt x="73" y="158"/>
                      </a:lnTo>
                      <a:lnTo>
                        <a:pt x="73" y="164"/>
                      </a:lnTo>
                      <a:lnTo>
                        <a:pt x="76" y="169"/>
                      </a:lnTo>
                      <a:lnTo>
                        <a:pt x="77" y="170"/>
                      </a:lnTo>
                      <a:lnTo>
                        <a:pt x="78" y="171"/>
                      </a:lnTo>
                      <a:lnTo>
                        <a:pt x="81" y="172"/>
                      </a:lnTo>
                      <a:lnTo>
                        <a:pt x="84" y="171"/>
                      </a:lnTo>
                      <a:lnTo>
                        <a:pt x="87" y="169"/>
                      </a:lnTo>
                      <a:lnTo>
                        <a:pt x="92" y="165"/>
                      </a:lnTo>
                      <a:lnTo>
                        <a:pt x="96" y="163"/>
                      </a:lnTo>
                      <a:lnTo>
                        <a:pt x="103" y="160"/>
                      </a:lnTo>
                      <a:lnTo>
                        <a:pt x="104" y="160"/>
                      </a:lnTo>
                      <a:lnTo>
                        <a:pt x="104" y="158"/>
                      </a:lnTo>
                      <a:lnTo>
                        <a:pt x="104" y="155"/>
                      </a:lnTo>
                      <a:lnTo>
                        <a:pt x="103" y="153"/>
                      </a:lnTo>
                      <a:lnTo>
                        <a:pt x="99" y="150"/>
                      </a:lnTo>
                      <a:lnTo>
                        <a:pt x="96" y="147"/>
                      </a:lnTo>
                      <a:lnTo>
                        <a:pt x="96" y="145"/>
                      </a:lnTo>
                      <a:lnTo>
                        <a:pt x="96" y="139"/>
                      </a:lnTo>
                      <a:lnTo>
                        <a:pt x="99" y="136"/>
                      </a:lnTo>
                      <a:lnTo>
                        <a:pt x="100" y="135"/>
                      </a:lnTo>
                      <a:lnTo>
                        <a:pt x="101" y="136"/>
                      </a:lnTo>
                      <a:lnTo>
                        <a:pt x="104" y="144"/>
                      </a:lnTo>
                      <a:lnTo>
                        <a:pt x="105" y="145"/>
                      </a:lnTo>
                      <a:lnTo>
                        <a:pt x="106" y="145"/>
                      </a:lnTo>
                      <a:lnTo>
                        <a:pt x="110" y="144"/>
                      </a:lnTo>
                      <a:lnTo>
                        <a:pt x="113" y="147"/>
                      </a:lnTo>
                      <a:lnTo>
                        <a:pt x="114" y="150"/>
                      </a:lnTo>
                      <a:lnTo>
                        <a:pt x="117" y="148"/>
                      </a:lnTo>
                      <a:lnTo>
                        <a:pt x="125" y="146"/>
                      </a:lnTo>
                      <a:lnTo>
                        <a:pt x="134" y="144"/>
                      </a:lnTo>
                      <a:lnTo>
                        <a:pt x="137" y="142"/>
                      </a:lnTo>
                      <a:lnTo>
                        <a:pt x="137" y="139"/>
                      </a:lnTo>
                      <a:lnTo>
                        <a:pt x="138" y="139"/>
                      </a:lnTo>
                      <a:lnTo>
                        <a:pt x="139" y="139"/>
                      </a:lnTo>
                      <a:lnTo>
                        <a:pt x="141" y="140"/>
                      </a:lnTo>
                      <a:lnTo>
                        <a:pt x="141" y="142"/>
                      </a:lnTo>
                      <a:lnTo>
                        <a:pt x="141" y="144"/>
                      </a:lnTo>
                      <a:lnTo>
                        <a:pt x="143" y="145"/>
                      </a:lnTo>
                      <a:lnTo>
                        <a:pt x="144" y="142"/>
                      </a:lnTo>
                      <a:lnTo>
                        <a:pt x="146" y="139"/>
                      </a:lnTo>
                      <a:lnTo>
                        <a:pt x="146" y="140"/>
                      </a:lnTo>
                      <a:lnTo>
                        <a:pt x="146" y="136"/>
                      </a:lnTo>
                      <a:lnTo>
                        <a:pt x="147" y="134"/>
                      </a:lnTo>
                      <a:lnTo>
                        <a:pt x="151" y="128"/>
                      </a:lnTo>
                      <a:lnTo>
                        <a:pt x="152" y="126"/>
                      </a:lnTo>
                      <a:lnTo>
                        <a:pt x="155" y="125"/>
                      </a:lnTo>
                      <a:lnTo>
                        <a:pt x="157" y="126"/>
                      </a:lnTo>
                      <a:lnTo>
                        <a:pt x="158" y="128"/>
                      </a:lnTo>
                      <a:lnTo>
                        <a:pt x="158" y="135"/>
                      </a:lnTo>
                      <a:lnTo>
                        <a:pt x="160" y="139"/>
                      </a:lnTo>
                      <a:lnTo>
                        <a:pt x="161" y="140"/>
                      </a:lnTo>
                      <a:lnTo>
                        <a:pt x="164" y="141"/>
                      </a:lnTo>
                      <a:lnTo>
                        <a:pt x="166" y="140"/>
                      </a:lnTo>
                      <a:lnTo>
                        <a:pt x="169" y="138"/>
                      </a:lnTo>
                      <a:lnTo>
                        <a:pt x="174" y="131"/>
                      </a:lnTo>
                      <a:lnTo>
                        <a:pt x="175" y="128"/>
                      </a:lnTo>
                      <a:lnTo>
                        <a:pt x="175" y="126"/>
                      </a:lnTo>
                      <a:lnTo>
                        <a:pt x="174" y="121"/>
                      </a:lnTo>
                      <a:lnTo>
                        <a:pt x="171" y="116"/>
                      </a:lnTo>
                      <a:lnTo>
                        <a:pt x="170" y="112"/>
                      </a:lnTo>
                      <a:lnTo>
                        <a:pt x="171" y="107"/>
                      </a:lnTo>
                      <a:lnTo>
                        <a:pt x="174" y="103"/>
                      </a:lnTo>
                      <a:lnTo>
                        <a:pt x="175" y="100"/>
                      </a:lnTo>
                      <a:lnTo>
                        <a:pt x="176" y="96"/>
                      </a:lnTo>
                      <a:lnTo>
                        <a:pt x="177" y="91"/>
                      </a:lnTo>
                      <a:lnTo>
                        <a:pt x="176" y="87"/>
                      </a:lnTo>
                      <a:lnTo>
                        <a:pt x="176" y="81"/>
                      </a:lnTo>
                      <a:lnTo>
                        <a:pt x="177" y="76"/>
                      </a:lnTo>
                      <a:lnTo>
                        <a:pt x="177" y="72"/>
                      </a:lnTo>
                      <a:lnTo>
                        <a:pt x="179" y="71"/>
                      </a:lnTo>
                      <a:lnTo>
                        <a:pt x="186" y="64"/>
                      </a:lnTo>
                      <a:lnTo>
                        <a:pt x="190" y="57"/>
                      </a:lnTo>
                      <a:lnTo>
                        <a:pt x="191" y="49"/>
                      </a:lnTo>
                      <a:lnTo>
                        <a:pt x="191" y="40"/>
                      </a:lnTo>
                      <a:lnTo>
                        <a:pt x="190" y="40"/>
                      </a:lnTo>
                      <a:lnTo>
                        <a:pt x="190" y="32"/>
                      </a:lnTo>
                      <a:lnTo>
                        <a:pt x="189" y="23"/>
                      </a:lnTo>
                      <a:lnTo>
                        <a:pt x="188" y="14"/>
                      </a:lnTo>
                      <a:lnTo>
                        <a:pt x="18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6" name="Freeform 61"/>
                <p:cNvSpPr>
                  <a:spLocks/>
                </p:cNvSpPr>
                <p:nvPr/>
              </p:nvSpPr>
              <p:spPr bwMode="auto">
                <a:xfrm>
                  <a:off x="7856160" y="3450742"/>
                  <a:ext cx="11839" cy="11839"/>
                </a:xfrm>
                <a:custGeom>
                  <a:avLst/>
                  <a:gdLst>
                    <a:gd name="T0" fmla="*/ 2147483647 w 9"/>
                    <a:gd name="T1" fmla="*/ 2147483647 h 8"/>
                    <a:gd name="T2" fmla="*/ 2147483647 w 9"/>
                    <a:gd name="T3" fmla="*/ 2147483647 h 8"/>
                    <a:gd name="T4" fmla="*/ 2147483647 w 9"/>
                    <a:gd name="T5" fmla="*/ 0 h 8"/>
                    <a:gd name="T6" fmla="*/ 2147483647 w 9"/>
                    <a:gd name="T7" fmla="*/ 0 h 8"/>
                    <a:gd name="T8" fmla="*/ 2147483647 w 9"/>
                    <a:gd name="T9" fmla="*/ 2147483647 h 8"/>
                    <a:gd name="T10" fmla="*/ 0 w 9"/>
                    <a:gd name="T11" fmla="*/ 2147483647 h 8"/>
                    <a:gd name="T12" fmla="*/ 2147483647 w 9"/>
                    <a:gd name="T13" fmla="*/ 2147483647 h 8"/>
                    <a:gd name="T14" fmla="*/ 2147483647 w 9"/>
                    <a:gd name="T15" fmla="*/ 2147483647 h 8"/>
                    <a:gd name="T16" fmla="*/ 2147483647 w 9"/>
                    <a:gd name="T17" fmla="*/ 2147483647 h 8"/>
                    <a:gd name="T18" fmla="*/ 2147483647 w 9"/>
                    <a:gd name="T19" fmla="*/ 2147483647 h 8"/>
                    <a:gd name="T20" fmla="*/ 2147483647 w 9"/>
                    <a:gd name="T21" fmla="*/ 2147483647 h 8"/>
                    <a:gd name="T22" fmla="*/ 2147483647 w 9"/>
                    <a:gd name="T23" fmla="*/ 2147483647 h 8"/>
                    <a:gd name="T24" fmla="*/ 2147483647 w 9"/>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8"/>
                    <a:gd name="T41" fmla="*/ 9 w 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8">
                      <a:moveTo>
                        <a:pt x="9" y="5"/>
                      </a:moveTo>
                      <a:lnTo>
                        <a:pt x="9" y="3"/>
                      </a:lnTo>
                      <a:lnTo>
                        <a:pt x="6" y="0"/>
                      </a:lnTo>
                      <a:lnTo>
                        <a:pt x="4" y="0"/>
                      </a:lnTo>
                      <a:lnTo>
                        <a:pt x="1" y="1"/>
                      </a:lnTo>
                      <a:lnTo>
                        <a:pt x="0" y="3"/>
                      </a:lnTo>
                      <a:lnTo>
                        <a:pt x="1" y="5"/>
                      </a:lnTo>
                      <a:lnTo>
                        <a:pt x="1" y="6"/>
                      </a:lnTo>
                      <a:lnTo>
                        <a:pt x="2" y="8"/>
                      </a:lnTo>
                      <a:lnTo>
                        <a:pt x="5" y="8"/>
                      </a:lnTo>
                      <a:lnTo>
                        <a:pt x="7" y="8"/>
                      </a:lnTo>
                      <a:lnTo>
                        <a:pt x="9" y="7"/>
                      </a:lnTo>
                      <a:lnTo>
                        <a:pt x="9"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7" name="Freeform 62"/>
                <p:cNvSpPr>
                  <a:spLocks/>
                </p:cNvSpPr>
                <p:nvPr/>
              </p:nvSpPr>
              <p:spPr bwMode="auto">
                <a:xfrm>
                  <a:off x="7684495" y="3354554"/>
                  <a:ext cx="261938" cy="254538"/>
                </a:xfrm>
                <a:custGeom>
                  <a:avLst/>
                  <a:gdLst>
                    <a:gd name="T0" fmla="*/ 2147483647 w 192"/>
                    <a:gd name="T1" fmla="*/ 2147483647 h 172"/>
                    <a:gd name="T2" fmla="*/ 2147483647 w 192"/>
                    <a:gd name="T3" fmla="*/ 2147483647 h 172"/>
                    <a:gd name="T4" fmla="*/ 2147483647 w 192"/>
                    <a:gd name="T5" fmla="*/ 2147483647 h 172"/>
                    <a:gd name="T6" fmla="*/ 2147483647 w 192"/>
                    <a:gd name="T7" fmla="*/ 2147483647 h 172"/>
                    <a:gd name="T8" fmla="*/ 2147483647 w 192"/>
                    <a:gd name="T9" fmla="*/ 2147483647 h 172"/>
                    <a:gd name="T10" fmla="*/ 2147483647 w 192"/>
                    <a:gd name="T11" fmla="*/ 2147483647 h 172"/>
                    <a:gd name="T12" fmla="*/ 2147483647 w 192"/>
                    <a:gd name="T13" fmla="*/ 2147483647 h 172"/>
                    <a:gd name="T14" fmla="*/ 2147483647 w 192"/>
                    <a:gd name="T15" fmla="*/ 2147483647 h 172"/>
                    <a:gd name="T16" fmla="*/ 2147483647 w 192"/>
                    <a:gd name="T17" fmla="*/ 2147483647 h 172"/>
                    <a:gd name="T18" fmla="*/ 2147483647 w 192"/>
                    <a:gd name="T19" fmla="*/ 2147483647 h 172"/>
                    <a:gd name="T20" fmla="*/ 2147483647 w 192"/>
                    <a:gd name="T21" fmla="*/ 2147483647 h 172"/>
                    <a:gd name="T22" fmla="*/ 2147483647 w 192"/>
                    <a:gd name="T23" fmla="*/ 2147483647 h 172"/>
                    <a:gd name="T24" fmla="*/ 2147483647 w 192"/>
                    <a:gd name="T25" fmla="*/ 2147483647 h 172"/>
                    <a:gd name="T26" fmla="*/ 2147483647 w 192"/>
                    <a:gd name="T27" fmla="*/ 2147483647 h 172"/>
                    <a:gd name="T28" fmla="*/ 2147483647 w 192"/>
                    <a:gd name="T29" fmla="*/ 2147483647 h 172"/>
                    <a:gd name="T30" fmla="*/ 2147483647 w 192"/>
                    <a:gd name="T31" fmla="*/ 2147483647 h 172"/>
                    <a:gd name="T32" fmla="*/ 2147483647 w 192"/>
                    <a:gd name="T33" fmla="*/ 2147483647 h 172"/>
                    <a:gd name="T34" fmla="*/ 2147483647 w 192"/>
                    <a:gd name="T35" fmla="*/ 2147483647 h 172"/>
                    <a:gd name="T36" fmla="*/ 2147483647 w 192"/>
                    <a:gd name="T37" fmla="*/ 2147483647 h 172"/>
                    <a:gd name="T38" fmla="*/ 2147483647 w 192"/>
                    <a:gd name="T39" fmla="*/ 2147483647 h 172"/>
                    <a:gd name="T40" fmla="*/ 2147483647 w 192"/>
                    <a:gd name="T41" fmla="*/ 2147483647 h 172"/>
                    <a:gd name="T42" fmla="*/ 2147483647 w 192"/>
                    <a:gd name="T43" fmla="*/ 2147483647 h 172"/>
                    <a:gd name="T44" fmla="*/ 0 w 192"/>
                    <a:gd name="T45" fmla="*/ 2147483647 h 172"/>
                    <a:gd name="T46" fmla="*/ 2147483647 w 192"/>
                    <a:gd name="T47" fmla="*/ 2147483647 h 172"/>
                    <a:gd name="T48" fmla="*/ 2147483647 w 192"/>
                    <a:gd name="T49" fmla="*/ 2147483647 h 172"/>
                    <a:gd name="T50" fmla="*/ 2147483647 w 192"/>
                    <a:gd name="T51" fmla="*/ 2147483647 h 172"/>
                    <a:gd name="T52" fmla="*/ 2147483647 w 192"/>
                    <a:gd name="T53" fmla="*/ 2147483647 h 172"/>
                    <a:gd name="T54" fmla="*/ 2147483647 w 192"/>
                    <a:gd name="T55" fmla="*/ 2147483647 h 172"/>
                    <a:gd name="T56" fmla="*/ 2147483647 w 192"/>
                    <a:gd name="T57" fmla="*/ 2147483647 h 172"/>
                    <a:gd name="T58" fmla="*/ 2147483647 w 192"/>
                    <a:gd name="T59" fmla="*/ 2147483647 h 172"/>
                    <a:gd name="T60" fmla="*/ 2147483647 w 192"/>
                    <a:gd name="T61" fmla="*/ 2147483647 h 172"/>
                    <a:gd name="T62" fmla="*/ 2147483647 w 192"/>
                    <a:gd name="T63" fmla="*/ 2147483647 h 172"/>
                    <a:gd name="T64" fmla="*/ 2147483647 w 192"/>
                    <a:gd name="T65" fmla="*/ 2147483647 h 172"/>
                    <a:gd name="T66" fmla="*/ 2147483647 w 192"/>
                    <a:gd name="T67" fmla="*/ 2147483647 h 172"/>
                    <a:gd name="T68" fmla="*/ 2147483647 w 192"/>
                    <a:gd name="T69" fmla="*/ 2147483647 h 172"/>
                    <a:gd name="T70" fmla="*/ 2147483647 w 192"/>
                    <a:gd name="T71" fmla="*/ 2147483647 h 172"/>
                    <a:gd name="T72" fmla="*/ 2147483647 w 192"/>
                    <a:gd name="T73" fmla="*/ 2147483647 h 172"/>
                    <a:gd name="T74" fmla="*/ 2147483647 w 192"/>
                    <a:gd name="T75" fmla="*/ 2147483647 h 172"/>
                    <a:gd name="T76" fmla="*/ 2147483647 w 192"/>
                    <a:gd name="T77" fmla="*/ 2147483647 h 172"/>
                    <a:gd name="T78" fmla="*/ 2147483647 w 192"/>
                    <a:gd name="T79" fmla="*/ 2147483647 h 172"/>
                    <a:gd name="T80" fmla="*/ 2147483647 w 192"/>
                    <a:gd name="T81" fmla="*/ 2147483647 h 172"/>
                    <a:gd name="T82" fmla="*/ 2147483647 w 192"/>
                    <a:gd name="T83" fmla="*/ 2147483647 h 172"/>
                    <a:gd name="T84" fmla="*/ 2147483647 w 192"/>
                    <a:gd name="T85" fmla="*/ 2147483647 h 172"/>
                    <a:gd name="T86" fmla="*/ 2147483647 w 192"/>
                    <a:gd name="T87" fmla="*/ 2147483647 h 172"/>
                    <a:gd name="T88" fmla="*/ 2147483647 w 192"/>
                    <a:gd name="T89" fmla="*/ 2147483647 h 172"/>
                    <a:gd name="T90" fmla="*/ 2147483647 w 192"/>
                    <a:gd name="T91" fmla="*/ 2147483647 h 172"/>
                    <a:gd name="T92" fmla="*/ 2147483647 w 192"/>
                    <a:gd name="T93" fmla="*/ 2147483647 h 172"/>
                    <a:gd name="T94" fmla="*/ 2147483647 w 192"/>
                    <a:gd name="T95" fmla="*/ 2147483647 h 172"/>
                    <a:gd name="T96" fmla="*/ 2147483647 w 192"/>
                    <a:gd name="T97" fmla="*/ 2147483647 h 172"/>
                    <a:gd name="T98" fmla="*/ 2147483647 w 192"/>
                    <a:gd name="T99" fmla="*/ 2147483647 h 172"/>
                    <a:gd name="T100" fmla="*/ 2147483647 w 192"/>
                    <a:gd name="T101" fmla="*/ 2147483647 h 172"/>
                    <a:gd name="T102" fmla="*/ 2147483647 w 192"/>
                    <a:gd name="T103" fmla="*/ 2147483647 h 172"/>
                    <a:gd name="T104" fmla="*/ 2147483647 w 192"/>
                    <a:gd name="T105" fmla="*/ 2147483647 h 172"/>
                    <a:gd name="T106" fmla="*/ 2147483647 w 192"/>
                    <a:gd name="T107" fmla="*/ 2147483647 h 172"/>
                    <a:gd name="T108" fmla="*/ 2147483647 w 192"/>
                    <a:gd name="T109" fmla="*/ 2147483647 h 172"/>
                    <a:gd name="T110" fmla="*/ 2147483647 w 192"/>
                    <a:gd name="T111" fmla="*/ 2147483647 h 17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2"/>
                    <a:gd name="T169" fmla="*/ 0 h 172"/>
                    <a:gd name="T170" fmla="*/ 192 w 192"/>
                    <a:gd name="T171" fmla="*/ 172 h 17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2" h="172">
                      <a:moveTo>
                        <a:pt x="187" y="5"/>
                      </a:moveTo>
                      <a:lnTo>
                        <a:pt x="187" y="5"/>
                      </a:lnTo>
                      <a:lnTo>
                        <a:pt x="186" y="2"/>
                      </a:lnTo>
                      <a:lnTo>
                        <a:pt x="183" y="1"/>
                      </a:lnTo>
                      <a:lnTo>
                        <a:pt x="179" y="0"/>
                      </a:lnTo>
                      <a:lnTo>
                        <a:pt x="177" y="0"/>
                      </a:lnTo>
                      <a:lnTo>
                        <a:pt x="174" y="2"/>
                      </a:lnTo>
                      <a:lnTo>
                        <a:pt x="174" y="5"/>
                      </a:lnTo>
                      <a:lnTo>
                        <a:pt x="176" y="7"/>
                      </a:lnTo>
                      <a:lnTo>
                        <a:pt x="176" y="11"/>
                      </a:lnTo>
                      <a:lnTo>
                        <a:pt x="174" y="12"/>
                      </a:lnTo>
                      <a:lnTo>
                        <a:pt x="173" y="12"/>
                      </a:lnTo>
                      <a:lnTo>
                        <a:pt x="172" y="11"/>
                      </a:lnTo>
                      <a:lnTo>
                        <a:pt x="171" y="9"/>
                      </a:lnTo>
                      <a:lnTo>
                        <a:pt x="169" y="6"/>
                      </a:lnTo>
                      <a:lnTo>
                        <a:pt x="167" y="5"/>
                      </a:lnTo>
                      <a:lnTo>
                        <a:pt x="166" y="5"/>
                      </a:lnTo>
                      <a:lnTo>
                        <a:pt x="162" y="7"/>
                      </a:lnTo>
                      <a:lnTo>
                        <a:pt x="159" y="11"/>
                      </a:lnTo>
                      <a:lnTo>
                        <a:pt x="158" y="14"/>
                      </a:lnTo>
                      <a:lnTo>
                        <a:pt x="155" y="22"/>
                      </a:lnTo>
                      <a:lnTo>
                        <a:pt x="155" y="31"/>
                      </a:lnTo>
                      <a:lnTo>
                        <a:pt x="153" y="49"/>
                      </a:lnTo>
                      <a:lnTo>
                        <a:pt x="152" y="57"/>
                      </a:lnTo>
                      <a:lnTo>
                        <a:pt x="149" y="64"/>
                      </a:lnTo>
                      <a:lnTo>
                        <a:pt x="144" y="71"/>
                      </a:lnTo>
                      <a:lnTo>
                        <a:pt x="136" y="78"/>
                      </a:lnTo>
                      <a:lnTo>
                        <a:pt x="132" y="81"/>
                      </a:lnTo>
                      <a:lnTo>
                        <a:pt x="130" y="84"/>
                      </a:lnTo>
                      <a:lnTo>
                        <a:pt x="122" y="92"/>
                      </a:lnTo>
                      <a:lnTo>
                        <a:pt x="120" y="96"/>
                      </a:lnTo>
                      <a:lnTo>
                        <a:pt x="116" y="98"/>
                      </a:lnTo>
                      <a:lnTo>
                        <a:pt x="111" y="100"/>
                      </a:lnTo>
                      <a:lnTo>
                        <a:pt x="107" y="100"/>
                      </a:lnTo>
                      <a:lnTo>
                        <a:pt x="106" y="98"/>
                      </a:lnTo>
                      <a:lnTo>
                        <a:pt x="106" y="97"/>
                      </a:lnTo>
                      <a:lnTo>
                        <a:pt x="107" y="94"/>
                      </a:lnTo>
                      <a:lnTo>
                        <a:pt x="110" y="88"/>
                      </a:lnTo>
                      <a:lnTo>
                        <a:pt x="110" y="87"/>
                      </a:lnTo>
                      <a:lnTo>
                        <a:pt x="108" y="84"/>
                      </a:lnTo>
                      <a:lnTo>
                        <a:pt x="106" y="83"/>
                      </a:lnTo>
                      <a:lnTo>
                        <a:pt x="103" y="84"/>
                      </a:lnTo>
                      <a:lnTo>
                        <a:pt x="99" y="87"/>
                      </a:lnTo>
                      <a:lnTo>
                        <a:pt x="97" y="89"/>
                      </a:lnTo>
                      <a:lnTo>
                        <a:pt x="96" y="92"/>
                      </a:lnTo>
                      <a:lnTo>
                        <a:pt x="96" y="96"/>
                      </a:lnTo>
                      <a:lnTo>
                        <a:pt x="97" y="100"/>
                      </a:lnTo>
                      <a:lnTo>
                        <a:pt x="96" y="103"/>
                      </a:lnTo>
                      <a:lnTo>
                        <a:pt x="96" y="105"/>
                      </a:lnTo>
                      <a:lnTo>
                        <a:pt x="94" y="108"/>
                      </a:lnTo>
                      <a:lnTo>
                        <a:pt x="92" y="110"/>
                      </a:lnTo>
                      <a:lnTo>
                        <a:pt x="89" y="114"/>
                      </a:lnTo>
                      <a:lnTo>
                        <a:pt x="87" y="120"/>
                      </a:lnTo>
                      <a:lnTo>
                        <a:pt x="84" y="122"/>
                      </a:lnTo>
                      <a:lnTo>
                        <a:pt x="80" y="123"/>
                      </a:lnTo>
                      <a:lnTo>
                        <a:pt x="77" y="123"/>
                      </a:lnTo>
                      <a:lnTo>
                        <a:pt x="73" y="122"/>
                      </a:lnTo>
                      <a:lnTo>
                        <a:pt x="74" y="120"/>
                      </a:lnTo>
                      <a:lnTo>
                        <a:pt x="72" y="119"/>
                      </a:lnTo>
                      <a:lnTo>
                        <a:pt x="69" y="120"/>
                      </a:lnTo>
                      <a:lnTo>
                        <a:pt x="64" y="122"/>
                      </a:lnTo>
                      <a:lnTo>
                        <a:pt x="58" y="124"/>
                      </a:lnTo>
                      <a:lnTo>
                        <a:pt x="51" y="126"/>
                      </a:lnTo>
                      <a:lnTo>
                        <a:pt x="45" y="124"/>
                      </a:lnTo>
                      <a:lnTo>
                        <a:pt x="41" y="124"/>
                      </a:lnTo>
                      <a:lnTo>
                        <a:pt x="36" y="124"/>
                      </a:lnTo>
                      <a:lnTo>
                        <a:pt x="32" y="127"/>
                      </a:lnTo>
                      <a:lnTo>
                        <a:pt x="28" y="128"/>
                      </a:lnTo>
                      <a:lnTo>
                        <a:pt x="22" y="134"/>
                      </a:lnTo>
                      <a:lnTo>
                        <a:pt x="17" y="140"/>
                      </a:lnTo>
                      <a:lnTo>
                        <a:pt x="9" y="146"/>
                      </a:lnTo>
                      <a:lnTo>
                        <a:pt x="0" y="152"/>
                      </a:lnTo>
                      <a:lnTo>
                        <a:pt x="0" y="154"/>
                      </a:lnTo>
                      <a:lnTo>
                        <a:pt x="0" y="156"/>
                      </a:lnTo>
                      <a:lnTo>
                        <a:pt x="12" y="159"/>
                      </a:lnTo>
                      <a:lnTo>
                        <a:pt x="22" y="162"/>
                      </a:lnTo>
                      <a:lnTo>
                        <a:pt x="23" y="161"/>
                      </a:lnTo>
                      <a:lnTo>
                        <a:pt x="26" y="153"/>
                      </a:lnTo>
                      <a:lnTo>
                        <a:pt x="28" y="151"/>
                      </a:lnTo>
                      <a:lnTo>
                        <a:pt x="30" y="149"/>
                      </a:lnTo>
                      <a:lnTo>
                        <a:pt x="32" y="149"/>
                      </a:lnTo>
                      <a:lnTo>
                        <a:pt x="36" y="149"/>
                      </a:lnTo>
                      <a:lnTo>
                        <a:pt x="37" y="151"/>
                      </a:lnTo>
                      <a:lnTo>
                        <a:pt x="39" y="149"/>
                      </a:lnTo>
                      <a:lnTo>
                        <a:pt x="44" y="147"/>
                      </a:lnTo>
                      <a:lnTo>
                        <a:pt x="49" y="145"/>
                      </a:lnTo>
                      <a:lnTo>
                        <a:pt x="58" y="143"/>
                      </a:lnTo>
                      <a:lnTo>
                        <a:pt x="68" y="143"/>
                      </a:lnTo>
                      <a:lnTo>
                        <a:pt x="78" y="145"/>
                      </a:lnTo>
                      <a:lnTo>
                        <a:pt x="80" y="146"/>
                      </a:lnTo>
                      <a:lnTo>
                        <a:pt x="80" y="147"/>
                      </a:lnTo>
                      <a:lnTo>
                        <a:pt x="80" y="148"/>
                      </a:lnTo>
                      <a:lnTo>
                        <a:pt x="75" y="153"/>
                      </a:lnTo>
                      <a:lnTo>
                        <a:pt x="74" y="158"/>
                      </a:lnTo>
                      <a:lnTo>
                        <a:pt x="74" y="164"/>
                      </a:lnTo>
                      <a:lnTo>
                        <a:pt x="77" y="168"/>
                      </a:lnTo>
                      <a:lnTo>
                        <a:pt x="78" y="170"/>
                      </a:lnTo>
                      <a:lnTo>
                        <a:pt x="79" y="171"/>
                      </a:lnTo>
                      <a:lnTo>
                        <a:pt x="82" y="172"/>
                      </a:lnTo>
                      <a:lnTo>
                        <a:pt x="84" y="171"/>
                      </a:lnTo>
                      <a:lnTo>
                        <a:pt x="88" y="168"/>
                      </a:lnTo>
                      <a:lnTo>
                        <a:pt x="93" y="165"/>
                      </a:lnTo>
                      <a:lnTo>
                        <a:pt x="97" y="162"/>
                      </a:lnTo>
                      <a:lnTo>
                        <a:pt x="103" y="160"/>
                      </a:lnTo>
                      <a:lnTo>
                        <a:pt x="105" y="160"/>
                      </a:lnTo>
                      <a:lnTo>
                        <a:pt x="105" y="158"/>
                      </a:lnTo>
                      <a:lnTo>
                        <a:pt x="105" y="155"/>
                      </a:lnTo>
                      <a:lnTo>
                        <a:pt x="103" y="153"/>
                      </a:lnTo>
                      <a:lnTo>
                        <a:pt x="99" y="149"/>
                      </a:lnTo>
                      <a:lnTo>
                        <a:pt x="97" y="147"/>
                      </a:lnTo>
                      <a:lnTo>
                        <a:pt x="97" y="145"/>
                      </a:lnTo>
                      <a:lnTo>
                        <a:pt x="97" y="139"/>
                      </a:lnTo>
                      <a:lnTo>
                        <a:pt x="99" y="136"/>
                      </a:lnTo>
                      <a:lnTo>
                        <a:pt x="101" y="135"/>
                      </a:lnTo>
                      <a:lnTo>
                        <a:pt x="102" y="136"/>
                      </a:lnTo>
                      <a:lnTo>
                        <a:pt x="105" y="143"/>
                      </a:lnTo>
                      <a:lnTo>
                        <a:pt x="106" y="145"/>
                      </a:lnTo>
                      <a:lnTo>
                        <a:pt x="107" y="145"/>
                      </a:lnTo>
                      <a:lnTo>
                        <a:pt x="111" y="143"/>
                      </a:lnTo>
                      <a:lnTo>
                        <a:pt x="113" y="147"/>
                      </a:lnTo>
                      <a:lnTo>
                        <a:pt x="115" y="149"/>
                      </a:lnTo>
                      <a:lnTo>
                        <a:pt x="117" y="148"/>
                      </a:lnTo>
                      <a:lnTo>
                        <a:pt x="126" y="146"/>
                      </a:lnTo>
                      <a:lnTo>
                        <a:pt x="135" y="143"/>
                      </a:lnTo>
                      <a:lnTo>
                        <a:pt x="138" y="142"/>
                      </a:lnTo>
                      <a:lnTo>
                        <a:pt x="138" y="139"/>
                      </a:lnTo>
                      <a:lnTo>
                        <a:pt x="139" y="139"/>
                      </a:lnTo>
                      <a:lnTo>
                        <a:pt x="140" y="139"/>
                      </a:lnTo>
                      <a:lnTo>
                        <a:pt x="141" y="140"/>
                      </a:lnTo>
                      <a:lnTo>
                        <a:pt x="141" y="142"/>
                      </a:lnTo>
                      <a:lnTo>
                        <a:pt x="141" y="143"/>
                      </a:lnTo>
                      <a:lnTo>
                        <a:pt x="144" y="145"/>
                      </a:lnTo>
                      <a:lnTo>
                        <a:pt x="145" y="142"/>
                      </a:lnTo>
                      <a:lnTo>
                        <a:pt x="146" y="139"/>
                      </a:lnTo>
                      <a:lnTo>
                        <a:pt x="146" y="140"/>
                      </a:lnTo>
                      <a:lnTo>
                        <a:pt x="146" y="136"/>
                      </a:lnTo>
                      <a:lnTo>
                        <a:pt x="148" y="134"/>
                      </a:lnTo>
                      <a:lnTo>
                        <a:pt x="152" y="128"/>
                      </a:lnTo>
                      <a:lnTo>
                        <a:pt x="153" y="126"/>
                      </a:lnTo>
                      <a:lnTo>
                        <a:pt x="155" y="124"/>
                      </a:lnTo>
                      <a:lnTo>
                        <a:pt x="158" y="126"/>
                      </a:lnTo>
                      <a:lnTo>
                        <a:pt x="159" y="128"/>
                      </a:lnTo>
                      <a:lnTo>
                        <a:pt x="159" y="135"/>
                      </a:lnTo>
                      <a:lnTo>
                        <a:pt x="160" y="139"/>
                      </a:lnTo>
                      <a:lnTo>
                        <a:pt x="162" y="140"/>
                      </a:lnTo>
                      <a:lnTo>
                        <a:pt x="164" y="141"/>
                      </a:lnTo>
                      <a:lnTo>
                        <a:pt x="167" y="140"/>
                      </a:lnTo>
                      <a:lnTo>
                        <a:pt x="169" y="137"/>
                      </a:lnTo>
                      <a:lnTo>
                        <a:pt x="174" y="130"/>
                      </a:lnTo>
                      <a:lnTo>
                        <a:pt x="176" y="128"/>
                      </a:lnTo>
                      <a:lnTo>
                        <a:pt x="176" y="126"/>
                      </a:lnTo>
                      <a:lnTo>
                        <a:pt x="174" y="121"/>
                      </a:lnTo>
                      <a:lnTo>
                        <a:pt x="172" y="116"/>
                      </a:lnTo>
                      <a:lnTo>
                        <a:pt x="171" y="111"/>
                      </a:lnTo>
                      <a:lnTo>
                        <a:pt x="172" y="107"/>
                      </a:lnTo>
                      <a:lnTo>
                        <a:pt x="174" y="103"/>
                      </a:lnTo>
                      <a:lnTo>
                        <a:pt x="176" y="100"/>
                      </a:lnTo>
                      <a:lnTo>
                        <a:pt x="177" y="96"/>
                      </a:lnTo>
                      <a:lnTo>
                        <a:pt x="178" y="91"/>
                      </a:lnTo>
                      <a:lnTo>
                        <a:pt x="177" y="87"/>
                      </a:lnTo>
                      <a:lnTo>
                        <a:pt x="177" y="81"/>
                      </a:lnTo>
                      <a:lnTo>
                        <a:pt x="178" y="76"/>
                      </a:lnTo>
                      <a:lnTo>
                        <a:pt x="178" y="72"/>
                      </a:lnTo>
                      <a:lnTo>
                        <a:pt x="179" y="71"/>
                      </a:lnTo>
                      <a:lnTo>
                        <a:pt x="187" y="64"/>
                      </a:lnTo>
                      <a:lnTo>
                        <a:pt x="191" y="57"/>
                      </a:lnTo>
                      <a:lnTo>
                        <a:pt x="192" y="49"/>
                      </a:lnTo>
                      <a:lnTo>
                        <a:pt x="192" y="40"/>
                      </a:lnTo>
                      <a:lnTo>
                        <a:pt x="191" y="40"/>
                      </a:lnTo>
                      <a:lnTo>
                        <a:pt x="191" y="32"/>
                      </a:lnTo>
                      <a:lnTo>
                        <a:pt x="190" y="22"/>
                      </a:lnTo>
                      <a:lnTo>
                        <a:pt x="188" y="14"/>
                      </a:lnTo>
                      <a:lnTo>
                        <a:pt x="18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8" name="Freeform 63"/>
                <p:cNvSpPr>
                  <a:spLocks/>
                </p:cNvSpPr>
                <p:nvPr/>
              </p:nvSpPr>
              <p:spPr bwMode="auto">
                <a:xfrm>
                  <a:off x="7854681" y="3449264"/>
                  <a:ext cx="10359" cy="11839"/>
                </a:xfrm>
                <a:custGeom>
                  <a:avLst/>
                  <a:gdLst>
                    <a:gd name="T0" fmla="*/ 2147483647 w 8"/>
                    <a:gd name="T1" fmla="*/ 2147483647 h 8"/>
                    <a:gd name="T2" fmla="*/ 2147483647 w 8"/>
                    <a:gd name="T3" fmla="*/ 2147483647 h 8"/>
                    <a:gd name="T4" fmla="*/ 2147483647 w 8"/>
                    <a:gd name="T5" fmla="*/ 2147483647 h 8"/>
                    <a:gd name="T6" fmla="*/ 2147483647 w 8"/>
                    <a:gd name="T7" fmla="*/ 0 h 8"/>
                    <a:gd name="T8" fmla="*/ 2147483647 w 8"/>
                    <a:gd name="T9" fmla="*/ 0 h 8"/>
                    <a:gd name="T10" fmla="*/ 2147483647 w 8"/>
                    <a:gd name="T11" fmla="*/ 0 h 8"/>
                    <a:gd name="T12" fmla="*/ 2147483647 w 8"/>
                    <a:gd name="T13" fmla="*/ 2147483647 h 8"/>
                    <a:gd name="T14" fmla="*/ 2147483647 w 8"/>
                    <a:gd name="T15" fmla="*/ 2147483647 h 8"/>
                    <a:gd name="T16" fmla="*/ 0 w 8"/>
                    <a:gd name="T17" fmla="*/ 2147483647 h 8"/>
                    <a:gd name="T18" fmla="*/ 2147483647 w 8"/>
                    <a:gd name="T19" fmla="*/ 2147483647 h 8"/>
                    <a:gd name="T20" fmla="*/ 2147483647 w 8"/>
                    <a:gd name="T21" fmla="*/ 2147483647 h 8"/>
                    <a:gd name="T22" fmla="*/ 2147483647 w 8"/>
                    <a:gd name="T23" fmla="*/ 2147483647 h 8"/>
                    <a:gd name="T24" fmla="*/ 2147483647 w 8"/>
                    <a:gd name="T25" fmla="*/ 2147483647 h 8"/>
                    <a:gd name="T26" fmla="*/ 2147483647 w 8"/>
                    <a:gd name="T27" fmla="*/ 2147483647 h 8"/>
                    <a:gd name="T28" fmla="*/ 2147483647 w 8"/>
                    <a:gd name="T29" fmla="*/ 2147483647 h 8"/>
                    <a:gd name="T30" fmla="*/ 2147483647 w 8"/>
                    <a:gd name="T31" fmla="*/ 2147483647 h 8"/>
                    <a:gd name="T32" fmla="*/ 2147483647 w 8"/>
                    <a:gd name="T33" fmla="*/ 2147483647 h 8"/>
                    <a:gd name="T34" fmla="*/ 2147483647 w 8"/>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8"/>
                    <a:gd name="T56" fmla="*/ 8 w 8"/>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8">
                      <a:moveTo>
                        <a:pt x="8" y="5"/>
                      </a:moveTo>
                      <a:lnTo>
                        <a:pt x="8" y="5"/>
                      </a:lnTo>
                      <a:lnTo>
                        <a:pt x="8" y="2"/>
                      </a:lnTo>
                      <a:lnTo>
                        <a:pt x="6" y="0"/>
                      </a:lnTo>
                      <a:lnTo>
                        <a:pt x="3" y="0"/>
                      </a:lnTo>
                      <a:lnTo>
                        <a:pt x="1" y="1"/>
                      </a:lnTo>
                      <a:lnTo>
                        <a:pt x="0" y="2"/>
                      </a:lnTo>
                      <a:lnTo>
                        <a:pt x="1" y="5"/>
                      </a:lnTo>
                      <a:lnTo>
                        <a:pt x="1" y="6"/>
                      </a:lnTo>
                      <a:lnTo>
                        <a:pt x="2" y="8"/>
                      </a:lnTo>
                      <a:lnTo>
                        <a:pt x="5" y="8"/>
                      </a:lnTo>
                      <a:lnTo>
                        <a:pt x="7" y="8"/>
                      </a:lnTo>
                      <a:lnTo>
                        <a:pt x="8" y="7"/>
                      </a:lnTo>
                      <a:lnTo>
                        <a:pt x="8"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69" name="Freeform 64"/>
                <p:cNvSpPr>
                  <a:spLocks/>
                </p:cNvSpPr>
                <p:nvPr/>
              </p:nvSpPr>
              <p:spPr bwMode="auto">
                <a:xfrm>
                  <a:off x="7681536" y="3697885"/>
                  <a:ext cx="8879" cy="13319"/>
                </a:xfrm>
                <a:custGeom>
                  <a:avLst/>
                  <a:gdLst>
                    <a:gd name="T0" fmla="*/ 2147483647 w 6"/>
                    <a:gd name="T1" fmla="*/ 2147483647 h 9"/>
                    <a:gd name="T2" fmla="*/ 2147483647 w 6"/>
                    <a:gd name="T3" fmla="*/ 0 h 9"/>
                    <a:gd name="T4" fmla="*/ 2147483647 w 6"/>
                    <a:gd name="T5" fmla="*/ 0 h 9"/>
                    <a:gd name="T6" fmla="*/ 2147483647 w 6"/>
                    <a:gd name="T7" fmla="*/ 2147483647 h 9"/>
                    <a:gd name="T8" fmla="*/ 0 w 6"/>
                    <a:gd name="T9" fmla="*/ 2147483647 h 9"/>
                    <a:gd name="T10" fmla="*/ 0 w 6"/>
                    <a:gd name="T11" fmla="*/ 2147483647 h 9"/>
                    <a:gd name="T12" fmla="*/ 2147483647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9"/>
                    <a:gd name="T35" fmla="*/ 6 w 6"/>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9">
                      <a:moveTo>
                        <a:pt x="6" y="3"/>
                      </a:moveTo>
                      <a:lnTo>
                        <a:pt x="6" y="0"/>
                      </a:lnTo>
                      <a:lnTo>
                        <a:pt x="4" y="0"/>
                      </a:lnTo>
                      <a:lnTo>
                        <a:pt x="1" y="2"/>
                      </a:lnTo>
                      <a:lnTo>
                        <a:pt x="0" y="4"/>
                      </a:lnTo>
                      <a:lnTo>
                        <a:pt x="0" y="6"/>
                      </a:lnTo>
                      <a:lnTo>
                        <a:pt x="1" y="9"/>
                      </a:lnTo>
                      <a:lnTo>
                        <a:pt x="2" y="9"/>
                      </a:lnTo>
                      <a:lnTo>
                        <a:pt x="2" y="7"/>
                      </a:lnTo>
                      <a:lnTo>
                        <a:pt x="5" y="4"/>
                      </a:lnTo>
                      <a:lnTo>
                        <a:pt x="6"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0" name="Freeform 65"/>
                <p:cNvSpPr>
                  <a:spLocks/>
                </p:cNvSpPr>
                <p:nvPr/>
              </p:nvSpPr>
              <p:spPr bwMode="auto">
                <a:xfrm>
                  <a:off x="7896118" y="3216927"/>
                  <a:ext cx="140587" cy="134669"/>
                </a:xfrm>
                <a:custGeom>
                  <a:avLst/>
                  <a:gdLst>
                    <a:gd name="T0" fmla="*/ 2147483647 w 103"/>
                    <a:gd name="T1" fmla="*/ 0 h 91"/>
                    <a:gd name="T2" fmla="*/ 2147483647 w 103"/>
                    <a:gd name="T3" fmla="*/ 2147483647 h 91"/>
                    <a:gd name="T4" fmla="*/ 2147483647 w 103"/>
                    <a:gd name="T5" fmla="*/ 2147483647 h 91"/>
                    <a:gd name="T6" fmla="*/ 2147483647 w 103"/>
                    <a:gd name="T7" fmla="*/ 2147483647 h 91"/>
                    <a:gd name="T8" fmla="*/ 2147483647 w 103"/>
                    <a:gd name="T9" fmla="*/ 2147483647 h 91"/>
                    <a:gd name="T10" fmla="*/ 2147483647 w 103"/>
                    <a:gd name="T11" fmla="*/ 2147483647 h 91"/>
                    <a:gd name="T12" fmla="*/ 2147483647 w 103"/>
                    <a:gd name="T13" fmla="*/ 2147483647 h 91"/>
                    <a:gd name="T14" fmla="*/ 2147483647 w 103"/>
                    <a:gd name="T15" fmla="*/ 2147483647 h 91"/>
                    <a:gd name="T16" fmla="*/ 2147483647 w 103"/>
                    <a:gd name="T17" fmla="*/ 2147483647 h 91"/>
                    <a:gd name="T18" fmla="*/ 2147483647 w 103"/>
                    <a:gd name="T19" fmla="*/ 2147483647 h 91"/>
                    <a:gd name="T20" fmla="*/ 2147483647 w 103"/>
                    <a:gd name="T21" fmla="*/ 2147483647 h 91"/>
                    <a:gd name="T22" fmla="*/ 2147483647 w 103"/>
                    <a:gd name="T23" fmla="*/ 2147483647 h 91"/>
                    <a:gd name="T24" fmla="*/ 0 w 103"/>
                    <a:gd name="T25" fmla="*/ 2147483647 h 91"/>
                    <a:gd name="T26" fmla="*/ 2147483647 w 103"/>
                    <a:gd name="T27" fmla="*/ 2147483647 h 91"/>
                    <a:gd name="T28" fmla="*/ 2147483647 w 103"/>
                    <a:gd name="T29" fmla="*/ 2147483647 h 91"/>
                    <a:gd name="T30" fmla="*/ 2147483647 w 103"/>
                    <a:gd name="T31" fmla="*/ 2147483647 h 91"/>
                    <a:gd name="T32" fmla="*/ 2147483647 w 103"/>
                    <a:gd name="T33" fmla="*/ 2147483647 h 91"/>
                    <a:gd name="T34" fmla="*/ 2147483647 w 103"/>
                    <a:gd name="T35" fmla="*/ 2147483647 h 91"/>
                    <a:gd name="T36" fmla="*/ 2147483647 w 103"/>
                    <a:gd name="T37" fmla="*/ 2147483647 h 91"/>
                    <a:gd name="T38" fmla="*/ 2147483647 w 103"/>
                    <a:gd name="T39" fmla="*/ 2147483647 h 91"/>
                    <a:gd name="T40" fmla="*/ 2147483647 w 103"/>
                    <a:gd name="T41" fmla="*/ 2147483647 h 91"/>
                    <a:gd name="T42" fmla="*/ 2147483647 w 103"/>
                    <a:gd name="T43" fmla="*/ 2147483647 h 91"/>
                    <a:gd name="T44" fmla="*/ 2147483647 w 103"/>
                    <a:gd name="T45" fmla="*/ 2147483647 h 91"/>
                    <a:gd name="T46" fmla="*/ 2147483647 w 103"/>
                    <a:gd name="T47" fmla="*/ 2147483647 h 91"/>
                    <a:gd name="T48" fmla="*/ 2147483647 w 103"/>
                    <a:gd name="T49" fmla="*/ 2147483647 h 91"/>
                    <a:gd name="T50" fmla="*/ 2147483647 w 103"/>
                    <a:gd name="T51" fmla="*/ 2147483647 h 91"/>
                    <a:gd name="T52" fmla="*/ 2147483647 w 103"/>
                    <a:gd name="T53" fmla="*/ 2147483647 h 91"/>
                    <a:gd name="T54" fmla="*/ 2147483647 w 103"/>
                    <a:gd name="T55" fmla="*/ 2147483647 h 91"/>
                    <a:gd name="T56" fmla="*/ 2147483647 w 103"/>
                    <a:gd name="T57" fmla="*/ 2147483647 h 91"/>
                    <a:gd name="T58" fmla="*/ 2147483647 w 103"/>
                    <a:gd name="T59" fmla="*/ 2147483647 h 91"/>
                    <a:gd name="T60" fmla="*/ 2147483647 w 103"/>
                    <a:gd name="T61" fmla="*/ 2147483647 h 91"/>
                    <a:gd name="T62" fmla="*/ 2147483647 w 103"/>
                    <a:gd name="T63" fmla="*/ 2147483647 h 91"/>
                    <a:gd name="T64" fmla="*/ 2147483647 w 103"/>
                    <a:gd name="T65" fmla="*/ 2147483647 h 91"/>
                    <a:gd name="T66" fmla="*/ 2147483647 w 103"/>
                    <a:gd name="T67" fmla="*/ 2147483647 h 91"/>
                    <a:gd name="T68" fmla="*/ 2147483647 w 103"/>
                    <a:gd name="T69" fmla="*/ 2147483647 h 91"/>
                    <a:gd name="T70" fmla="*/ 2147483647 w 103"/>
                    <a:gd name="T71" fmla="*/ 2147483647 h 91"/>
                    <a:gd name="T72" fmla="*/ 2147483647 w 103"/>
                    <a:gd name="T73" fmla="*/ 2147483647 h 91"/>
                    <a:gd name="T74" fmla="*/ 2147483647 w 103"/>
                    <a:gd name="T75" fmla="*/ 2147483647 h 91"/>
                    <a:gd name="T76" fmla="*/ 2147483647 w 103"/>
                    <a:gd name="T77" fmla="*/ 2147483647 h 91"/>
                    <a:gd name="T78" fmla="*/ 2147483647 w 103"/>
                    <a:gd name="T79" fmla="*/ 2147483647 h 91"/>
                    <a:gd name="T80" fmla="*/ 2147483647 w 103"/>
                    <a:gd name="T81" fmla="*/ 2147483647 h 91"/>
                    <a:gd name="T82" fmla="*/ 2147483647 w 103"/>
                    <a:gd name="T83" fmla="*/ 2147483647 h 91"/>
                    <a:gd name="T84" fmla="*/ 2147483647 w 103"/>
                    <a:gd name="T85" fmla="*/ 2147483647 h 91"/>
                    <a:gd name="T86" fmla="*/ 2147483647 w 103"/>
                    <a:gd name="T87" fmla="*/ 2147483647 h 91"/>
                    <a:gd name="T88" fmla="*/ 2147483647 w 103"/>
                    <a:gd name="T89" fmla="*/ 2147483647 h 91"/>
                    <a:gd name="T90" fmla="*/ 2147483647 w 103"/>
                    <a:gd name="T91" fmla="*/ 2147483647 h 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
                    <a:gd name="T139" fmla="*/ 0 h 91"/>
                    <a:gd name="T140" fmla="*/ 103 w 103"/>
                    <a:gd name="T141" fmla="*/ 91 h 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 h="91">
                      <a:moveTo>
                        <a:pt x="41" y="2"/>
                      </a:moveTo>
                      <a:lnTo>
                        <a:pt x="37" y="0"/>
                      </a:lnTo>
                      <a:lnTo>
                        <a:pt x="35" y="0"/>
                      </a:lnTo>
                      <a:lnTo>
                        <a:pt x="33" y="2"/>
                      </a:lnTo>
                      <a:lnTo>
                        <a:pt x="32" y="4"/>
                      </a:lnTo>
                      <a:lnTo>
                        <a:pt x="31" y="17"/>
                      </a:lnTo>
                      <a:lnTo>
                        <a:pt x="31" y="23"/>
                      </a:lnTo>
                      <a:lnTo>
                        <a:pt x="30" y="29"/>
                      </a:lnTo>
                      <a:lnTo>
                        <a:pt x="28" y="35"/>
                      </a:lnTo>
                      <a:lnTo>
                        <a:pt x="30" y="40"/>
                      </a:lnTo>
                      <a:lnTo>
                        <a:pt x="30" y="44"/>
                      </a:lnTo>
                      <a:lnTo>
                        <a:pt x="30" y="47"/>
                      </a:lnTo>
                      <a:lnTo>
                        <a:pt x="28" y="49"/>
                      </a:lnTo>
                      <a:lnTo>
                        <a:pt x="27" y="50"/>
                      </a:lnTo>
                      <a:lnTo>
                        <a:pt x="24" y="51"/>
                      </a:lnTo>
                      <a:lnTo>
                        <a:pt x="21" y="50"/>
                      </a:lnTo>
                      <a:lnTo>
                        <a:pt x="17" y="49"/>
                      </a:lnTo>
                      <a:lnTo>
                        <a:pt x="12" y="48"/>
                      </a:lnTo>
                      <a:lnTo>
                        <a:pt x="9" y="49"/>
                      </a:lnTo>
                      <a:lnTo>
                        <a:pt x="11" y="54"/>
                      </a:lnTo>
                      <a:lnTo>
                        <a:pt x="11" y="56"/>
                      </a:lnTo>
                      <a:lnTo>
                        <a:pt x="9" y="59"/>
                      </a:lnTo>
                      <a:lnTo>
                        <a:pt x="8" y="61"/>
                      </a:lnTo>
                      <a:lnTo>
                        <a:pt x="4" y="62"/>
                      </a:lnTo>
                      <a:lnTo>
                        <a:pt x="0" y="65"/>
                      </a:lnTo>
                      <a:lnTo>
                        <a:pt x="0" y="67"/>
                      </a:lnTo>
                      <a:lnTo>
                        <a:pt x="0" y="70"/>
                      </a:lnTo>
                      <a:lnTo>
                        <a:pt x="2" y="79"/>
                      </a:lnTo>
                      <a:lnTo>
                        <a:pt x="4" y="87"/>
                      </a:lnTo>
                      <a:lnTo>
                        <a:pt x="7" y="89"/>
                      </a:lnTo>
                      <a:lnTo>
                        <a:pt x="9" y="91"/>
                      </a:lnTo>
                      <a:lnTo>
                        <a:pt x="11" y="91"/>
                      </a:lnTo>
                      <a:lnTo>
                        <a:pt x="12" y="91"/>
                      </a:lnTo>
                      <a:lnTo>
                        <a:pt x="16" y="88"/>
                      </a:lnTo>
                      <a:lnTo>
                        <a:pt x="23" y="87"/>
                      </a:lnTo>
                      <a:lnTo>
                        <a:pt x="27" y="86"/>
                      </a:lnTo>
                      <a:lnTo>
                        <a:pt x="30" y="82"/>
                      </a:lnTo>
                      <a:lnTo>
                        <a:pt x="30" y="81"/>
                      </a:lnTo>
                      <a:lnTo>
                        <a:pt x="30" y="79"/>
                      </a:lnTo>
                      <a:lnTo>
                        <a:pt x="26" y="75"/>
                      </a:lnTo>
                      <a:lnTo>
                        <a:pt x="21" y="73"/>
                      </a:lnTo>
                      <a:lnTo>
                        <a:pt x="17" y="69"/>
                      </a:lnTo>
                      <a:lnTo>
                        <a:pt x="17" y="67"/>
                      </a:lnTo>
                      <a:lnTo>
                        <a:pt x="18" y="66"/>
                      </a:lnTo>
                      <a:lnTo>
                        <a:pt x="21" y="65"/>
                      </a:lnTo>
                      <a:lnTo>
                        <a:pt x="23" y="66"/>
                      </a:lnTo>
                      <a:lnTo>
                        <a:pt x="27" y="66"/>
                      </a:lnTo>
                      <a:lnTo>
                        <a:pt x="31" y="66"/>
                      </a:lnTo>
                      <a:lnTo>
                        <a:pt x="35" y="66"/>
                      </a:lnTo>
                      <a:lnTo>
                        <a:pt x="38" y="66"/>
                      </a:lnTo>
                      <a:lnTo>
                        <a:pt x="44" y="67"/>
                      </a:lnTo>
                      <a:lnTo>
                        <a:pt x="47" y="69"/>
                      </a:lnTo>
                      <a:lnTo>
                        <a:pt x="57" y="78"/>
                      </a:lnTo>
                      <a:lnTo>
                        <a:pt x="64" y="80"/>
                      </a:lnTo>
                      <a:lnTo>
                        <a:pt x="69" y="80"/>
                      </a:lnTo>
                      <a:lnTo>
                        <a:pt x="70" y="79"/>
                      </a:lnTo>
                      <a:lnTo>
                        <a:pt x="70" y="78"/>
                      </a:lnTo>
                      <a:lnTo>
                        <a:pt x="69" y="73"/>
                      </a:lnTo>
                      <a:lnTo>
                        <a:pt x="68" y="69"/>
                      </a:lnTo>
                      <a:lnTo>
                        <a:pt x="66" y="67"/>
                      </a:lnTo>
                      <a:lnTo>
                        <a:pt x="66" y="66"/>
                      </a:lnTo>
                      <a:lnTo>
                        <a:pt x="70" y="63"/>
                      </a:lnTo>
                      <a:lnTo>
                        <a:pt x="75" y="61"/>
                      </a:lnTo>
                      <a:lnTo>
                        <a:pt x="84" y="59"/>
                      </a:lnTo>
                      <a:lnTo>
                        <a:pt x="93" y="57"/>
                      </a:lnTo>
                      <a:lnTo>
                        <a:pt x="99" y="56"/>
                      </a:lnTo>
                      <a:lnTo>
                        <a:pt x="103" y="53"/>
                      </a:lnTo>
                      <a:lnTo>
                        <a:pt x="103" y="50"/>
                      </a:lnTo>
                      <a:lnTo>
                        <a:pt x="103" y="48"/>
                      </a:lnTo>
                      <a:lnTo>
                        <a:pt x="102" y="46"/>
                      </a:lnTo>
                      <a:lnTo>
                        <a:pt x="98" y="46"/>
                      </a:lnTo>
                      <a:lnTo>
                        <a:pt x="96" y="44"/>
                      </a:lnTo>
                      <a:lnTo>
                        <a:pt x="92" y="43"/>
                      </a:lnTo>
                      <a:lnTo>
                        <a:pt x="92" y="41"/>
                      </a:lnTo>
                      <a:lnTo>
                        <a:pt x="92" y="37"/>
                      </a:lnTo>
                      <a:lnTo>
                        <a:pt x="91" y="35"/>
                      </a:lnTo>
                      <a:lnTo>
                        <a:pt x="92" y="33"/>
                      </a:lnTo>
                      <a:lnTo>
                        <a:pt x="96" y="29"/>
                      </a:lnTo>
                      <a:lnTo>
                        <a:pt x="97" y="28"/>
                      </a:lnTo>
                      <a:lnTo>
                        <a:pt x="97" y="25"/>
                      </a:lnTo>
                      <a:lnTo>
                        <a:pt x="96" y="24"/>
                      </a:lnTo>
                      <a:lnTo>
                        <a:pt x="94" y="24"/>
                      </a:lnTo>
                      <a:lnTo>
                        <a:pt x="93" y="25"/>
                      </a:lnTo>
                      <a:lnTo>
                        <a:pt x="88" y="28"/>
                      </a:lnTo>
                      <a:lnTo>
                        <a:pt x="84" y="29"/>
                      </a:lnTo>
                      <a:lnTo>
                        <a:pt x="80" y="30"/>
                      </a:lnTo>
                      <a:lnTo>
                        <a:pt x="75" y="30"/>
                      </a:lnTo>
                      <a:lnTo>
                        <a:pt x="68" y="28"/>
                      </a:lnTo>
                      <a:lnTo>
                        <a:pt x="60" y="24"/>
                      </a:lnTo>
                      <a:lnTo>
                        <a:pt x="54" y="19"/>
                      </a:lnTo>
                      <a:lnTo>
                        <a:pt x="50" y="14"/>
                      </a:lnTo>
                      <a:lnTo>
                        <a:pt x="41"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1" name="Freeform 66"/>
                <p:cNvSpPr>
                  <a:spLocks/>
                </p:cNvSpPr>
                <p:nvPr/>
              </p:nvSpPr>
              <p:spPr bwMode="auto">
                <a:xfrm>
                  <a:off x="7680057" y="3696401"/>
                  <a:ext cx="8879" cy="11839"/>
                </a:xfrm>
                <a:custGeom>
                  <a:avLst/>
                  <a:gdLst>
                    <a:gd name="T0" fmla="*/ 2147483647 w 6"/>
                    <a:gd name="T1" fmla="*/ 2147483647 h 8"/>
                    <a:gd name="T2" fmla="*/ 2147483647 w 6"/>
                    <a:gd name="T3" fmla="*/ 2147483647 h 8"/>
                    <a:gd name="T4" fmla="*/ 2147483647 w 6"/>
                    <a:gd name="T5" fmla="*/ 0 h 8"/>
                    <a:gd name="T6" fmla="*/ 2147483647 w 6"/>
                    <a:gd name="T7" fmla="*/ 0 h 8"/>
                    <a:gd name="T8" fmla="*/ 2147483647 w 6"/>
                    <a:gd name="T9" fmla="*/ 0 h 8"/>
                    <a:gd name="T10" fmla="*/ 2147483647 w 6"/>
                    <a:gd name="T11" fmla="*/ 2147483647 h 8"/>
                    <a:gd name="T12" fmla="*/ 0 w 6"/>
                    <a:gd name="T13" fmla="*/ 2147483647 h 8"/>
                    <a:gd name="T14" fmla="*/ 0 w 6"/>
                    <a:gd name="T15" fmla="*/ 2147483647 h 8"/>
                    <a:gd name="T16" fmla="*/ 2147483647 w 6"/>
                    <a:gd name="T17" fmla="*/ 2147483647 h 8"/>
                    <a:gd name="T18" fmla="*/ 2147483647 w 6"/>
                    <a:gd name="T19" fmla="*/ 2147483647 h 8"/>
                    <a:gd name="T20" fmla="*/ 2147483647 w 6"/>
                    <a:gd name="T21" fmla="*/ 2147483647 h 8"/>
                    <a:gd name="T22" fmla="*/ 2147483647 w 6"/>
                    <a:gd name="T23" fmla="*/ 2147483647 h 8"/>
                    <a:gd name="T24" fmla="*/ 2147483647 w 6"/>
                    <a:gd name="T25" fmla="*/ 2147483647 h 8"/>
                    <a:gd name="T26" fmla="*/ 2147483647 w 6"/>
                    <a:gd name="T27" fmla="*/ 2147483647 h 8"/>
                    <a:gd name="T28" fmla="*/ 2147483647 w 6"/>
                    <a:gd name="T29" fmla="*/ 2147483647 h 8"/>
                    <a:gd name="T30" fmla="*/ 2147483647 w 6"/>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8"/>
                    <a:gd name="T50" fmla="*/ 6 w 6"/>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8">
                      <a:moveTo>
                        <a:pt x="6" y="3"/>
                      </a:moveTo>
                      <a:lnTo>
                        <a:pt x="6" y="3"/>
                      </a:lnTo>
                      <a:lnTo>
                        <a:pt x="6" y="0"/>
                      </a:lnTo>
                      <a:lnTo>
                        <a:pt x="3" y="0"/>
                      </a:lnTo>
                      <a:lnTo>
                        <a:pt x="1" y="1"/>
                      </a:lnTo>
                      <a:lnTo>
                        <a:pt x="0" y="4"/>
                      </a:lnTo>
                      <a:lnTo>
                        <a:pt x="0" y="6"/>
                      </a:lnTo>
                      <a:lnTo>
                        <a:pt x="1" y="8"/>
                      </a:lnTo>
                      <a:lnTo>
                        <a:pt x="2" y="8"/>
                      </a:lnTo>
                      <a:lnTo>
                        <a:pt x="2" y="7"/>
                      </a:lnTo>
                      <a:lnTo>
                        <a:pt x="5" y="4"/>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2" name="Freeform 67"/>
                <p:cNvSpPr>
                  <a:spLocks/>
                </p:cNvSpPr>
                <p:nvPr/>
              </p:nvSpPr>
              <p:spPr bwMode="auto">
                <a:xfrm>
                  <a:off x="7894640" y="3215444"/>
                  <a:ext cx="140588" cy="133188"/>
                </a:xfrm>
                <a:custGeom>
                  <a:avLst/>
                  <a:gdLst>
                    <a:gd name="T0" fmla="*/ 2147483647 w 103"/>
                    <a:gd name="T1" fmla="*/ 2147483647 h 90"/>
                    <a:gd name="T2" fmla="*/ 2147483647 w 103"/>
                    <a:gd name="T3" fmla="*/ 0 h 90"/>
                    <a:gd name="T4" fmla="*/ 2147483647 w 103"/>
                    <a:gd name="T5" fmla="*/ 2147483647 h 90"/>
                    <a:gd name="T6" fmla="*/ 2147483647 w 103"/>
                    <a:gd name="T7" fmla="*/ 2147483647 h 90"/>
                    <a:gd name="T8" fmla="*/ 2147483647 w 103"/>
                    <a:gd name="T9" fmla="*/ 2147483647 h 90"/>
                    <a:gd name="T10" fmla="*/ 2147483647 w 103"/>
                    <a:gd name="T11" fmla="*/ 2147483647 h 90"/>
                    <a:gd name="T12" fmla="*/ 2147483647 w 103"/>
                    <a:gd name="T13" fmla="*/ 2147483647 h 90"/>
                    <a:gd name="T14" fmla="*/ 2147483647 w 103"/>
                    <a:gd name="T15" fmla="*/ 2147483647 h 90"/>
                    <a:gd name="T16" fmla="*/ 2147483647 w 103"/>
                    <a:gd name="T17" fmla="*/ 2147483647 h 90"/>
                    <a:gd name="T18" fmla="*/ 2147483647 w 103"/>
                    <a:gd name="T19" fmla="*/ 2147483647 h 90"/>
                    <a:gd name="T20" fmla="*/ 2147483647 w 103"/>
                    <a:gd name="T21" fmla="*/ 2147483647 h 90"/>
                    <a:gd name="T22" fmla="*/ 2147483647 w 103"/>
                    <a:gd name="T23" fmla="*/ 2147483647 h 90"/>
                    <a:gd name="T24" fmla="*/ 2147483647 w 103"/>
                    <a:gd name="T25" fmla="*/ 2147483647 h 90"/>
                    <a:gd name="T26" fmla="*/ 2147483647 w 103"/>
                    <a:gd name="T27" fmla="*/ 2147483647 h 90"/>
                    <a:gd name="T28" fmla="*/ 2147483647 w 103"/>
                    <a:gd name="T29" fmla="*/ 2147483647 h 90"/>
                    <a:gd name="T30" fmla="*/ 0 w 103"/>
                    <a:gd name="T31" fmla="*/ 2147483647 h 90"/>
                    <a:gd name="T32" fmla="*/ 0 w 103"/>
                    <a:gd name="T33" fmla="*/ 2147483647 h 90"/>
                    <a:gd name="T34" fmla="*/ 2147483647 w 103"/>
                    <a:gd name="T35" fmla="*/ 2147483647 h 90"/>
                    <a:gd name="T36" fmla="*/ 2147483647 w 103"/>
                    <a:gd name="T37" fmla="*/ 2147483647 h 90"/>
                    <a:gd name="T38" fmla="*/ 2147483647 w 103"/>
                    <a:gd name="T39" fmla="*/ 2147483647 h 90"/>
                    <a:gd name="T40" fmla="*/ 2147483647 w 103"/>
                    <a:gd name="T41" fmla="*/ 2147483647 h 90"/>
                    <a:gd name="T42" fmla="*/ 2147483647 w 103"/>
                    <a:gd name="T43" fmla="*/ 2147483647 h 90"/>
                    <a:gd name="T44" fmla="*/ 2147483647 w 103"/>
                    <a:gd name="T45" fmla="*/ 2147483647 h 90"/>
                    <a:gd name="T46" fmla="*/ 2147483647 w 103"/>
                    <a:gd name="T47" fmla="*/ 2147483647 h 90"/>
                    <a:gd name="T48" fmla="*/ 2147483647 w 103"/>
                    <a:gd name="T49" fmla="*/ 2147483647 h 90"/>
                    <a:gd name="T50" fmla="*/ 2147483647 w 103"/>
                    <a:gd name="T51" fmla="*/ 2147483647 h 90"/>
                    <a:gd name="T52" fmla="*/ 2147483647 w 103"/>
                    <a:gd name="T53" fmla="*/ 2147483647 h 90"/>
                    <a:gd name="T54" fmla="*/ 2147483647 w 103"/>
                    <a:gd name="T55" fmla="*/ 2147483647 h 90"/>
                    <a:gd name="T56" fmla="*/ 2147483647 w 103"/>
                    <a:gd name="T57" fmla="*/ 2147483647 h 90"/>
                    <a:gd name="T58" fmla="*/ 2147483647 w 103"/>
                    <a:gd name="T59" fmla="*/ 2147483647 h 90"/>
                    <a:gd name="T60" fmla="*/ 2147483647 w 103"/>
                    <a:gd name="T61" fmla="*/ 2147483647 h 90"/>
                    <a:gd name="T62" fmla="*/ 2147483647 w 103"/>
                    <a:gd name="T63" fmla="*/ 2147483647 h 90"/>
                    <a:gd name="T64" fmla="*/ 2147483647 w 103"/>
                    <a:gd name="T65" fmla="*/ 2147483647 h 90"/>
                    <a:gd name="T66" fmla="*/ 2147483647 w 103"/>
                    <a:gd name="T67" fmla="*/ 2147483647 h 90"/>
                    <a:gd name="T68" fmla="*/ 2147483647 w 103"/>
                    <a:gd name="T69" fmla="*/ 2147483647 h 90"/>
                    <a:gd name="T70" fmla="*/ 2147483647 w 103"/>
                    <a:gd name="T71" fmla="*/ 2147483647 h 90"/>
                    <a:gd name="T72" fmla="*/ 2147483647 w 103"/>
                    <a:gd name="T73" fmla="*/ 2147483647 h 90"/>
                    <a:gd name="T74" fmla="*/ 2147483647 w 103"/>
                    <a:gd name="T75" fmla="*/ 2147483647 h 90"/>
                    <a:gd name="T76" fmla="*/ 2147483647 w 103"/>
                    <a:gd name="T77" fmla="*/ 2147483647 h 90"/>
                    <a:gd name="T78" fmla="*/ 2147483647 w 103"/>
                    <a:gd name="T79" fmla="*/ 2147483647 h 90"/>
                    <a:gd name="T80" fmla="*/ 2147483647 w 103"/>
                    <a:gd name="T81" fmla="*/ 2147483647 h 90"/>
                    <a:gd name="T82" fmla="*/ 2147483647 w 103"/>
                    <a:gd name="T83" fmla="*/ 2147483647 h 90"/>
                    <a:gd name="T84" fmla="*/ 2147483647 w 103"/>
                    <a:gd name="T85" fmla="*/ 2147483647 h 90"/>
                    <a:gd name="T86" fmla="*/ 2147483647 w 103"/>
                    <a:gd name="T87" fmla="*/ 2147483647 h 90"/>
                    <a:gd name="T88" fmla="*/ 2147483647 w 103"/>
                    <a:gd name="T89" fmla="*/ 2147483647 h 90"/>
                    <a:gd name="T90" fmla="*/ 2147483647 w 103"/>
                    <a:gd name="T91" fmla="*/ 2147483647 h 90"/>
                    <a:gd name="T92" fmla="*/ 2147483647 w 103"/>
                    <a:gd name="T93" fmla="*/ 2147483647 h 90"/>
                    <a:gd name="T94" fmla="*/ 2147483647 w 103"/>
                    <a:gd name="T95" fmla="*/ 2147483647 h 90"/>
                    <a:gd name="T96" fmla="*/ 2147483647 w 103"/>
                    <a:gd name="T97" fmla="*/ 2147483647 h 90"/>
                    <a:gd name="T98" fmla="*/ 2147483647 w 103"/>
                    <a:gd name="T99" fmla="*/ 2147483647 h 90"/>
                    <a:gd name="T100" fmla="*/ 2147483647 w 103"/>
                    <a:gd name="T101" fmla="*/ 2147483647 h 90"/>
                    <a:gd name="T102" fmla="*/ 2147483647 w 103"/>
                    <a:gd name="T103" fmla="*/ 2147483647 h 90"/>
                    <a:gd name="T104" fmla="*/ 2147483647 w 103"/>
                    <a:gd name="T105" fmla="*/ 2147483647 h 90"/>
                    <a:gd name="T106" fmla="*/ 2147483647 w 103"/>
                    <a:gd name="T107" fmla="*/ 2147483647 h 90"/>
                    <a:gd name="T108" fmla="*/ 2147483647 w 103"/>
                    <a:gd name="T109" fmla="*/ 2147483647 h 90"/>
                    <a:gd name="T110" fmla="*/ 2147483647 w 103"/>
                    <a:gd name="T111" fmla="*/ 2147483647 h 90"/>
                    <a:gd name="T112" fmla="*/ 2147483647 w 103"/>
                    <a:gd name="T113" fmla="*/ 2147483647 h 90"/>
                    <a:gd name="T114" fmla="*/ 2147483647 w 103"/>
                    <a:gd name="T115" fmla="*/ 2147483647 h 90"/>
                    <a:gd name="T116" fmla="*/ 2147483647 w 103"/>
                    <a:gd name="T117" fmla="*/ 2147483647 h 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3"/>
                    <a:gd name="T178" fmla="*/ 0 h 90"/>
                    <a:gd name="T179" fmla="*/ 103 w 103"/>
                    <a:gd name="T180" fmla="*/ 90 h 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3" h="90">
                      <a:moveTo>
                        <a:pt x="41" y="1"/>
                      </a:moveTo>
                      <a:lnTo>
                        <a:pt x="41" y="1"/>
                      </a:lnTo>
                      <a:lnTo>
                        <a:pt x="37" y="0"/>
                      </a:lnTo>
                      <a:lnTo>
                        <a:pt x="34" y="0"/>
                      </a:lnTo>
                      <a:lnTo>
                        <a:pt x="33" y="1"/>
                      </a:lnTo>
                      <a:lnTo>
                        <a:pt x="32" y="4"/>
                      </a:lnTo>
                      <a:lnTo>
                        <a:pt x="31" y="17"/>
                      </a:lnTo>
                      <a:lnTo>
                        <a:pt x="31" y="23"/>
                      </a:lnTo>
                      <a:lnTo>
                        <a:pt x="29" y="29"/>
                      </a:lnTo>
                      <a:lnTo>
                        <a:pt x="28" y="35"/>
                      </a:lnTo>
                      <a:lnTo>
                        <a:pt x="29" y="39"/>
                      </a:lnTo>
                      <a:lnTo>
                        <a:pt x="29" y="44"/>
                      </a:lnTo>
                      <a:lnTo>
                        <a:pt x="29" y="47"/>
                      </a:lnTo>
                      <a:lnTo>
                        <a:pt x="28" y="49"/>
                      </a:lnTo>
                      <a:lnTo>
                        <a:pt x="27" y="50"/>
                      </a:lnTo>
                      <a:lnTo>
                        <a:pt x="24" y="51"/>
                      </a:lnTo>
                      <a:lnTo>
                        <a:pt x="20" y="50"/>
                      </a:lnTo>
                      <a:lnTo>
                        <a:pt x="17" y="49"/>
                      </a:lnTo>
                      <a:lnTo>
                        <a:pt x="12" y="48"/>
                      </a:lnTo>
                      <a:lnTo>
                        <a:pt x="9" y="49"/>
                      </a:lnTo>
                      <a:lnTo>
                        <a:pt x="10" y="54"/>
                      </a:lnTo>
                      <a:lnTo>
                        <a:pt x="10" y="56"/>
                      </a:lnTo>
                      <a:lnTo>
                        <a:pt x="9" y="58"/>
                      </a:lnTo>
                      <a:lnTo>
                        <a:pt x="8" y="61"/>
                      </a:lnTo>
                      <a:lnTo>
                        <a:pt x="4" y="62"/>
                      </a:lnTo>
                      <a:lnTo>
                        <a:pt x="0" y="64"/>
                      </a:lnTo>
                      <a:lnTo>
                        <a:pt x="0" y="67"/>
                      </a:lnTo>
                      <a:lnTo>
                        <a:pt x="0" y="70"/>
                      </a:lnTo>
                      <a:lnTo>
                        <a:pt x="1" y="79"/>
                      </a:lnTo>
                      <a:lnTo>
                        <a:pt x="4" y="87"/>
                      </a:lnTo>
                      <a:lnTo>
                        <a:pt x="6" y="89"/>
                      </a:lnTo>
                      <a:lnTo>
                        <a:pt x="9" y="90"/>
                      </a:lnTo>
                      <a:lnTo>
                        <a:pt x="10" y="90"/>
                      </a:lnTo>
                      <a:lnTo>
                        <a:pt x="12" y="90"/>
                      </a:lnTo>
                      <a:lnTo>
                        <a:pt x="15" y="88"/>
                      </a:lnTo>
                      <a:lnTo>
                        <a:pt x="23" y="87"/>
                      </a:lnTo>
                      <a:lnTo>
                        <a:pt x="27" y="86"/>
                      </a:lnTo>
                      <a:lnTo>
                        <a:pt x="29" y="82"/>
                      </a:lnTo>
                      <a:lnTo>
                        <a:pt x="29" y="81"/>
                      </a:lnTo>
                      <a:lnTo>
                        <a:pt x="29" y="79"/>
                      </a:lnTo>
                      <a:lnTo>
                        <a:pt x="25" y="75"/>
                      </a:lnTo>
                      <a:lnTo>
                        <a:pt x="20" y="73"/>
                      </a:lnTo>
                      <a:lnTo>
                        <a:pt x="17" y="69"/>
                      </a:lnTo>
                      <a:lnTo>
                        <a:pt x="17" y="67"/>
                      </a:lnTo>
                      <a:lnTo>
                        <a:pt x="18" y="66"/>
                      </a:lnTo>
                      <a:lnTo>
                        <a:pt x="20" y="64"/>
                      </a:lnTo>
                      <a:lnTo>
                        <a:pt x="23" y="66"/>
                      </a:lnTo>
                      <a:lnTo>
                        <a:pt x="27" y="66"/>
                      </a:lnTo>
                      <a:lnTo>
                        <a:pt x="31" y="66"/>
                      </a:lnTo>
                      <a:lnTo>
                        <a:pt x="34" y="66"/>
                      </a:lnTo>
                      <a:lnTo>
                        <a:pt x="38" y="66"/>
                      </a:lnTo>
                      <a:lnTo>
                        <a:pt x="43" y="67"/>
                      </a:lnTo>
                      <a:lnTo>
                        <a:pt x="47" y="69"/>
                      </a:lnTo>
                      <a:lnTo>
                        <a:pt x="57" y="77"/>
                      </a:lnTo>
                      <a:lnTo>
                        <a:pt x="64" y="80"/>
                      </a:lnTo>
                      <a:lnTo>
                        <a:pt x="69" y="80"/>
                      </a:lnTo>
                      <a:lnTo>
                        <a:pt x="70" y="79"/>
                      </a:lnTo>
                      <a:lnTo>
                        <a:pt x="70" y="77"/>
                      </a:lnTo>
                      <a:lnTo>
                        <a:pt x="69" y="73"/>
                      </a:lnTo>
                      <a:lnTo>
                        <a:pt x="67" y="69"/>
                      </a:lnTo>
                      <a:lnTo>
                        <a:pt x="66" y="67"/>
                      </a:lnTo>
                      <a:lnTo>
                        <a:pt x="66" y="66"/>
                      </a:lnTo>
                      <a:lnTo>
                        <a:pt x="70" y="63"/>
                      </a:lnTo>
                      <a:lnTo>
                        <a:pt x="75" y="61"/>
                      </a:lnTo>
                      <a:lnTo>
                        <a:pt x="84" y="58"/>
                      </a:lnTo>
                      <a:lnTo>
                        <a:pt x="93" y="57"/>
                      </a:lnTo>
                      <a:lnTo>
                        <a:pt x="99" y="56"/>
                      </a:lnTo>
                      <a:lnTo>
                        <a:pt x="103" y="52"/>
                      </a:lnTo>
                      <a:lnTo>
                        <a:pt x="103" y="50"/>
                      </a:lnTo>
                      <a:lnTo>
                        <a:pt x="103" y="48"/>
                      </a:lnTo>
                      <a:lnTo>
                        <a:pt x="102" y="45"/>
                      </a:lnTo>
                      <a:lnTo>
                        <a:pt x="98" y="45"/>
                      </a:lnTo>
                      <a:lnTo>
                        <a:pt x="95" y="44"/>
                      </a:lnTo>
                      <a:lnTo>
                        <a:pt x="92" y="43"/>
                      </a:lnTo>
                      <a:lnTo>
                        <a:pt x="92" y="41"/>
                      </a:lnTo>
                      <a:lnTo>
                        <a:pt x="92" y="37"/>
                      </a:lnTo>
                      <a:lnTo>
                        <a:pt x="90" y="35"/>
                      </a:lnTo>
                      <a:lnTo>
                        <a:pt x="92" y="32"/>
                      </a:lnTo>
                      <a:lnTo>
                        <a:pt x="95" y="29"/>
                      </a:lnTo>
                      <a:lnTo>
                        <a:pt x="97" y="28"/>
                      </a:lnTo>
                      <a:lnTo>
                        <a:pt x="97" y="25"/>
                      </a:lnTo>
                      <a:lnTo>
                        <a:pt x="95" y="24"/>
                      </a:lnTo>
                      <a:lnTo>
                        <a:pt x="94" y="24"/>
                      </a:lnTo>
                      <a:lnTo>
                        <a:pt x="93" y="25"/>
                      </a:lnTo>
                      <a:lnTo>
                        <a:pt x="88" y="28"/>
                      </a:lnTo>
                      <a:lnTo>
                        <a:pt x="84" y="29"/>
                      </a:lnTo>
                      <a:lnTo>
                        <a:pt x="80" y="30"/>
                      </a:lnTo>
                      <a:lnTo>
                        <a:pt x="75" y="30"/>
                      </a:lnTo>
                      <a:lnTo>
                        <a:pt x="67" y="28"/>
                      </a:lnTo>
                      <a:lnTo>
                        <a:pt x="60" y="24"/>
                      </a:lnTo>
                      <a:lnTo>
                        <a:pt x="53" y="19"/>
                      </a:lnTo>
                      <a:lnTo>
                        <a:pt x="50" y="13"/>
                      </a:lnTo>
                      <a:lnTo>
                        <a:pt x="41"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3" name="Freeform 68"/>
                <p:cNvSpPr>
                  <a:spLocks/>
                </p:cNvSpPr>
                <p:nvPr/>
              </p:nvSpPr>
              <p:spPr bwMode="auto">
                <a:xfrm>
                  <a:off x="8032266" y="3248003"/>
                  <a:ext cx="22198" cy="22198"/>
                </a:xfrm>
                <a:custGeom>
                  <a:avLst/>
                  <a:gdLst>
                    <a:gd name="T0" fmla="*/ 2147483647 w 17"/>
                    <a:gd name="T1" fmla="*/ 2147483647 h 15"/>
                    <a:gd name="T2" fmla="*/ 2147483647 w 17"/>
                    <a:gd name="T3" fmla="*/ 2147483647 h 15"/>
                    <a:gd name="T4" fmla="*/ 2147483647 w 17"/>
                    <a:gd name="T5" fmla="*/ 2147483647 h 15"/>
                    <a:gd name="T6" fmla="*/ 2147483647 w 17"/>
                    <a:gd name="T7" fmla="*/ 0 h 15"/>
                    <a:gd name="T8" fmla="*/ 2147483647 w 17"/>
                    <a:gd name="T9" fmla="*/ 0 h 15"/>
                    <a:gd name="T10" fmla="*/ 2147483647 w 17"/>
                    <a:gd name="T11" fmla="*/ 0 h 15"/>
                    <a:gd name="T12" fmla="*/ 2147483647 w 17"/>
                    <a:gd name="T13" fmla="*/ 2147483647 h 15"/>
                    <a:gd name="T14" fmla="*/ 2147483647 w 17"/>
                    <a:gd name="T15" fmla="*/ 2147483647 h 15"/>
                    <a:gd name="T16" fmla="*/ 2147483647 w 17"/>
                    <a:gd name="T17" fmla="*/ 2147483647 h 15"/>
                    <a:gd name="T18" fmla="*/ 0 w 17"/>
                    <a:gd name="T19" fmla="*/ 2147483647 h 15"/>
                    <a:gd name="T20" fmla="*/ 0 w 17"/>
                    <a:gd name="T21" fmla="*/ 2147483647 h 15"/>
                    <a:gd name="T22" fmla="*/ 2147483647 w 17"/>
                    <a:gd name="T23" fmla="*/ 2147483647 h 15"/>
                    <a:gd name="T24" fmla="*/ 2147483647 w 17"/>
                    <a:gd name="T25" fmla="*/ 2147483647 h 15"/>
                    <a:gd name="T26" fmla="*/ 2147483647 w 17"/>
                    <a:gd name="T27" fmla="*/ 2147483647 h 15"/>
                    <a:gd name="T28" fmla="*/ 2147483647 w 17"/>
                    <a:gd name="T29" fmla="*/ 2147483647 h 15"/>
                    <a:gd name="T30" fmla="*/ 2147483647 w 17"/>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5"/>
                    <a:gd name="T50" fmla="*/ 17 w 17"/>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5">
                      <a:moveTo>
                        <a:pt x="17" y="3"/>
                      </a:moveTo>
                      <a:lnTo>
                        <a:pt x="17" y="2"/>
                      </a:lnTo>
                      <a:lnTo>
                        <a:pt x="17" y="1"/>
                      </a:lnTo>
                      <a:lnTo>
                        <a:pt x="16" y="0"/>
                      </a:lnTo>
                      <a:lnTo>
                        <a:pt x="13" y="0"/>
                      </a:lnTo>
                      <a:lnTo>
                        <a:pt x="12" y="0"/>
                      </a:lnTo>
                      <a:lnTo>
                        <a:pt x="11" y="1"/>
                      </a:lnTo>
                      <a:lnTo>
                        <a:pt x="9" y="2"/>
                      </a:lnTo>
                      <a:lnTo>
                        <a:pt x="3" y="9"/>
                      </a:lnTo>
                      <a:lnTo>
                        <a:pt x="0" y="13"/>
                      </a:lnTo>
                      <a:lnTo>
                        <a:pt x="0" y="14"/>
                      </a:lnTo>
                      <a:lnTo>
                        <a:pt x="2" y="14"/>
                      </a:lnTo>
                      <a:lnTo>
                        <a:pt x="3" y="15"/>
                      </a:lnTo>
                      <a:lnTo>
                        <a:pt x="5" y="14"/>
                      </a:lnTo>
                      <a:lnTo>
                        <a:pt x="9" y="12"/>
                      </a:lnTo>
                      <a:lnTo>
                        <a:pt x="17"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4" name="Freeform 69"/>
                <p:cNvSpPr>
                  <a:spLocks/>
                </p:cNvSpPr>
                <p:nvPr/>
              </p:nvSpPr>
              <p:spPr bwMode="auto">
                <a:xfrm>
                  <a:off x="8069265" y="3206567"/>
                  <a:ext cx="44396" cy="38477"/>
                </a:xfrm>
                <a:custGeom>
                  <a:avLst/>
                  <a:gdLst>
                    <a:gd name="T0" fmla="*/ 2147483647 w 33"/>
                    <a:gd name="T1" fmla="*/ 2147483647 h 26"/>
                    <a:gd name="T2" fmla="*/ 2147483647 w 33"/>
                    <a:gd name="T3" fmla="*/ 0 h 26"/>
                    <a:gd name="T4" fmla="*/ 2147483647 w 33"/>
                    <a:gd name="T5" fmla="*/ 0 h 26"/>
                    <a:gd name="T6" fmla="*/ 2147483647 w 33"/>
                    <a:gd name="T7" fmla="*/ 2147483647 h 26"/>
                    <a:gd name="T8" fmla="*/ 2147483647 w 33"/>
                    <a:gd name="T9" fmla="*/ 2147483647 h 26"/>
                    <a:gd name="T10" fmla="*/ 2147483647 w 33"/>
                    <a:gd name="T11" fmla="*/ 2147483647 h 26"/>
                    <a:gd name="T12" fmla="*/ 2147483647 w 33"/>
                    <a:gd name="T13" fmla="*/ 2147483647 h 26"/>
                    <a:gd name="T14" fmla="*/ 2147483647 w 33"/>
                    <a:gd name="T15" fmla="*/ 2147483647 h 26"/>
                    <a:gd name="T16" fmla="*/ 2147483647 w 33"/>
                    <a:gd name="T17" fmla="*/ 2147483647 h 26"/>
                    <a:gd name="T18" fmla="*/ 2147483647 w 33"/>
                    <a:gd name="T19" fmla="*/ 2147483647 h 26"/>
                    <a:gd name="T20" fmla="*/ 2147483647 w 33"/>
                    <a:gd name="T21" fmla="*/ 2147483647 h 26"/>
                    <a:gd name="T22" fmla="*/ 0 w 33"/>
                    <a:gd name="T23" fmla="*/ 2147483647 h 26"/>
                    <a:gd name="T24" fmla="*/ 0 w 33"/>
                    <a:gd name="T25" fmla="*/ 2147483647 h 26"/>
                    <a:gd name="T26" fmla="*/ 2147483647 w 33"/>
                    <a:gd name="T27" fmla="*/ 2147483647 h 26"/>
                    <a:gd name="T28" fmla="*/ 2147483647 w 33"/>
                    <a:gd name="T29" fmla="*/ 2147483647 h 26"/>
                    <a:gd name="T30" fmla="*/ 2147483647 w 33"/>
                    <a:gd name="T31" fmla="*/ 2147483647 h 26"/>
                    <a:gd name="T32" fmla="*/ 2147483647 w 33"/>
                    <a:gd name="T33" fmla="*/ 2147483647 h 26"/>
                    <a:gd name="T34" fmla="*/ 2147483647 w 33"/>
                    <a:gd name="T35" fmla="*/ 2147483647 h 26"/>
                    <a:gd name="T36" fmla="*/ 2147483647 w 33"/>
                    <a:gd name="T37" fmla="*/ 2147483647 h 26"/>
                    <a:gd name="T38" fmla="*/ 2147483647 w 33"/>
                    <a:gd name="T39" fmla="*/ 2147483647 h 26"/>
                    <a:gd name="T40" fmla="*/ 2147483647 w 33"/>
                    <a:gd name="T41" fmla="*/ 2147483647 h 26"/>
                    <a:gd name="T42" fmla="*/ 2147483647 w 33"/>
                    <a:gd name="T43" fmla="*/ 2147483647 h 26"/>
                    <a:gd name="T44" fmla="*/ 2147483647 w 33"/>
                    <a:gd name="T45" fmla="*/ 2147483647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26"/>
                    <a:gd name="T71" fmla="*/ 33 w 33"/>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26">
                      <a:moveTo>
                        <a:pt x="32" y="2"/>
                      </a:moveTo>
                      <a:lnTo>
                        <a:pt x="31" y="0"/>
                      </a:lnTo>
                      <a:lnTo>
                        <a:pt x="28" y="0"/>
                      </a:lnTo>
                      <a:lnTo>
                        <a:pt x="25" y="3"/>
                      </a:lnTo>
                      <a:lnTo>
                        <a:pt x="24" y="4"/>
                      </a:lnTo>
                      <a:lnTo>
                        <a:pt x="20" y="5"/>
                      </a:lnTo>
                      <a:lnTo>
                        <a:pt x="17" y="5"/>
                      </a:lnTo>
                      <a:lnTo>
                        <a:pt x="14" y="5"/>
                      </a:lnTo>
                      <a:lnTo>
                        <a:pt x="10" y="7"/>
                      </a:lnTo>
                      <a:lnTo>
                        <a:pt x="6" y="12"/>
                      </a:lnTo>
                      <a:lnTo>
                        <a:pt x="3" y="17"/>
                      </a:lnTo>
                      <a:lnTo>
                        <a:pt x="0" y="22"/>
                      </a:lnTo>
                      <a:lnTo>
                        <a:pt x="0" y="24"/>
                      </a:lnTo>
                      <a:lnTo>
                        <a:pt x="1" y="26"/>
                      </a:lnTo>
                      <a:lnTo>
                        <a:pt x="3" y="26"/>
                      </a:lnTo>
                      <a:lnTo>
                        <a:pt x="5" y="24"/>
                      </a:lnTo>
                      <a:lnTo>
                        <a:pt x="10" y="19"/>
                      </a:lnTo>
                      <a:lnTo>
                        <a:pt x="17" y="16"/>
                      </a:lnTo>
                      <a:lnTo>
                        <a:pt x="22" y="13"/>
                      </a:lnTo>
                      <a:lnTo>
                        <a:pt x="28" y="10"/>
                      </a:lnTo>
                      <a:lnTo>
                        <a:pt x="33" y="5"/>
                      </a:lnTo>
                      <a:lnTo>
                        <a:pt x="33" y="3"/>
                      </a:lnTo>
                      <a:lnTo>
                        <a:pt x="32"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5" name="Freeform 70"/>
                <p:cNvSpPr>
                  <a:spLocks/>
                </p:cNvSpPr>
                <p:nvPr/>
              </p:nvSpPr>
              <p:spPr bwMode="auto">
                <a:xfrm>
                  <a:off x="8030787" y="3245041"/>
                  <a:ext cx="22199" cy="23678"/>
                </a:xfrm>
                <a:custGeom>
                  <a:avLst/>
                  <a:gdLst>
                    <a:gd name="T0" fmla="*/ 2147483647 w 17"/>
                    <a:gd name="T1" fmla="*/ 2147483647 h 16"/>
                    <a:gd name="T2" fmla="*/ 2147483647 w 17"/>
                    <a:gd name="T3" fmla="*/ 2147483647 h 16"/>
                    <a:gd name="T4" fmla="*/ 2147483647 w 17"/>
                    <a:gd name="T5" fmla="*/ 2147483647 h 16"/>
                    <a:gd name="T6" fmla="*/ 2147483647 w 17"/>
                    <a:gd name="T7" fmla="*/ 2147483647 h 16"/>
                    <a:gd name="T8" fmla="*/ 2147483647 w 17"/>
                    <a:gd name="T9" fmla="*/ 0 h 16"/>
                    <a:gd name="T10" fmla="*/ 2147483647 w 17"/>
                    <a:gd name="T11" fmla="*/ 0 h 16"/>
                    <a:gd name="T12" fmla="*/ 2147483647 w 17"/>
                    <a:gd name="T13" fmla="*/ 0 h 16"/>
                    <a:gd name="T14" fmla="*/ 2147483647 w 17"/>
                    <a:gd name="T15" fmla="*/ 0 h 16"/>
                    <a:gd name="T16" fmla="*/ 2147483647 w 17"/>
                    <a:gd name="T17" fmla="*/ 2147483647 h 16"/>
                    <a:gd name="T18" fmla="*/ 2147483647 w 17"/>
                    <a:gd name="T19" fmla="*/ 2147483647 h 16"/>
                    <a:gd name="T20" fmla="*/ 2147483647 w 17"/>
                    <a:gd name="T21" fmla="*/ 2147483647 h 16"/>
                    <a:gd name="T22" fmla="*/ 2147483647 w 17"/>
                    <a:gd name="T23" fmla="*/ 2147483647 h 16"/>
                    <a:gd name="T24" fmla="*/ 2147483647 w 17"/>
                    <a:gd name="T25" fmla="*/ 2147483647 h 16"/>
                    <a:gd name="T26" fmla="*/ 0 w 17"/>
                    <a:gd name="T27" fmla="*/ 2147483647 h 16"/>
                    <a:gd name="T28" fmla="*/ 0 w 17"/>
                    <a:gd name="T29" fmla="*/ 2147483647 h 16"/>
                    <a:gd name="T30" fmla="*/ 2147483647 w 17"/>
                    <a:gd name="T31" fmla="*/ 2147483647 h 16"/>
                    <a:gd name="T32" fmla="*/ 2147483647 w 17"/>
                    <a:gd name="T33" fmla="*/ 2147483647 h 16"/>
                    <a:gd name="T34" fmla="*/ 2147483647 w 17"/>
                    <a:gd name="T35" fmla="*/ 2147483647 h 16"/>
                    <a:gd name="T36" fmla="*/ 2147483647 w 17"/>
                    <a:gd name="T37" fmla="*/ 2147483647 h 16"/>
                    <a:gd name="T38" fmla="*/ 2147483647 w 17"/>
                    <a:gd name="T39" fmla="*/ 2147483647 h 16"/>
                    <a:gd name="T40" fmla="*/ 2147483647 w 17"/>
                    <a:gd name="T41" fmla="*/ 2147483647 h 16"/>
                    <a:gd name="T42" fmla="*/ 2147483647 w 17"/>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16"/>
                    <a:gd name="T68" fmla="*/ 17 w 17"/>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16">
                      <a:moveTo>
                        <a:pt x="17" y="4"/>
                      </a:moveTo>
                      <a:lnTo>
                        <a:pt x="17" y="4"/>
                      </a:lnTo>
                      <a:lnTo>
                        <a:pt x="17" y="3"/>
                      </a:lnTo>
                      <a:lnTo>
                        <a:pt x="17" y="2"/>
                      </a:lnTo>
                      <a:lnTo>
                        <a:pt x="15" y="0"/>
                      </a:lnTo>
                      <a:lnTo>
                        <a:pt x="13" y="0"/>
                      </a:lnTo>
                      <a:lnTo>
                        <a:pt x="12" y="0"/>
                      </a:lnTo>
                      <a:lnTo>
                        <a:pt x="10" y="2"/>
                      </a:lnTo>
                      <a:lnTo>
                        <a:pt x="9" y="3"/>
                      </a:lnTo>
                      <a:lnTo>
                        <a:pt x="3" y="10"/>
                      </a:lnTo>
                      <a:lnTo>
                        <a:pt x="0" y="14"/>
                      </a:lnTo>
                      <a:lnTo>
                        <a:pt x="0" y="15"/>
                      </a:lnTo>
                      <a:lnTo>
                        <a:pt x="1" y="15"/>
                      </a:lnTo>
                      <a:lnTo>
                        <a:pt x="3" y="16"/>
                      </a:lnTo>
                      <a:lnTo>
                        <a:pt x="5" y="15"/>
                      </a:lnTo>
                      <a:lnTo>
                        <a:pt x="9" y="12"/>
                      </a:lnTo>
                      <a:lnTo>
                        <a:pt x="17"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6" name="Freeform 71"/>
                <p:cNvSpPr>
                  <a:spLocks/>
                </p:cNvSpPr>
                <p:nvPr/>
              </p:nvSpPr>
              <p:spPr bwMode="auto">
                <a:xfrm>
                  <a:off x="8067786" y="3205084"/>
                  <a:ext cx="44396" cy="38477"/>
                </a:xfrm>
                <a:custGeom>
                  <a:avLst/>
                  <a:gdLst>
                    <a:gd name="T0" fmla="*/ 2147483647 w 33"/>
                    <a:gd name="T1" fmla="*/ 2147483647 h 26"/>
                    <a:gd name="T2" fmla="*/ 2147483647 w 33"/>
                    <a:gd name="T3" fmla="*/ 2147483647 h 26"/>
                    <a:gd name="T4" fmla="*/ 2147483647 w 33"/>
                    <a:gd name="T5" fmla="*/ 0 h 26"/>
                    <a:gd name="T6" fmla="*/ 2147483647 w 33"/>
                    <a:gd name="T7" fmla="*/ 0 h 26"/>
                    <a:gd name="T8" fmla="*/ 2147483647 w 33"/>
                    <a:gd name="T9" fmla="*/ 0 h 26"/>
                    <a:gd name="T10" fmla="*/ 2147483647 w 33"/>
                    <a:gd name="T11" fmla="*/ 2147483647 h 26"/>
                    <a:gd name="T12" fmla="*/ 2147483647 w 33"/>
                    <a:gd name="T13" fmla="*/ 2147483647 h 26"/>
                    <a:gd name="T14" fmla="*/ 2147483647 w 33"/>
                    <a:gd name="T15" fmla="*/ 2147483647 h 26"/>
                    <a:gd name="T16" fmla="*/ 2147483647 w 33"/>
                    <a:gd name="T17" fmla="*/ 2147483647 h 26"/>
                    <a:gd name="T18" fmla="*/ 2147483647 w 33"/>
                    <a:gd name="T19" fmla="*/ 2147483647 h 26"/>
                    <a:gd name="T20" fmla="*/ 2147483647 w 33"/>
                    <a:gd name="T21" fmla="*/ 2147483647 h 26"/>
                    <a:gd name="T22" fmla="*/ 2147483647 w 33"/>
                    <a:gd name="T23" fmla="*/ 2147483647 h 26"/>
                    <a:gd name="T24" fmla="*/ 2147483647 w 33"/>
                    <a:gd name="T25" fmla="*/ 2147483647 h 26"/>
                    <a:gd name="T26" fmla="*/ 2147483647 w 33"/>
                    <a:gd name="T27" fmla="*/ 2147483647 h 26"/>
                    <a:gd name="T28" fmla="*/ 2147483647 w 33"/>
                    <a:gd name="T29" fmla="*/ 2147483647 h 26"/>
                    <a:gd name="T30" fmla="*/ 0 w 33"/>
                    <a:gd name="T31" fmla="*/ 2147483647 h 26"/>
                    <a:gd name="T32" fmla="*/ 0 w 33"/>
                    <a:gd name="T33" fmla="*/ 2147483647 h 26"/>
                    <a:gd name="T34" fmla="*/ 2147483647 w 33"/>
                    <a:gd name="T35" fmla="*/ 2147483647 h 26"/>
                    <a:gd name="T36" fmla="*/ 2147483647 w 33"/>
                    <a:gd name="T37" fmla="*/ 2147483647 h 26"/>
                    <a:gd name="T38" fmla="*/ 2147483647 w 33"/>
                    <a:gd name="T39" fmla="*/ 2147483647 h 26"/>
                    <a:gd name="T40" fmla="*/ 2147483647 w 33"/>
                    <a:gd name="T41" fmla="*/ 2147483647 h 26"/>
                    <a:gd name="T42" fmla="*/ 2147483647 w 33"/>
                    <a:gd name="T43" fmla="*/ 2147483647 h 26"/>
                    <a:gd name="T44" fmla="*/ 2147483647 w 33"/>
                    <a:gd name="T45" fmla="*/ 2147483647 h 26"/>
                    <a:gd name="T46" fmla="*/ 2147483647 w 33"/>
                    <a:gd name="T47" fmla="*/ 2147483647 h 26"/>
                    <a:gd name="T48" fmla="*/ 2147483647 w 33"/>
                    <a:gd name="T49" fmla="*/ 2147483647 h 26"/>
                    <a:gd name="T50" fmla="*/ 2147483647 w 33"/>
                    <a:gd name="T51" fmla="*/ 2147483647 h 26"/>
                    <a:gd name="T52" fmla="*/ 2147483647 w 33"/>
                    <a:gd name="T53" fmla="*/ 2147483647 h 26"/>
                    <a:gd name="T54" fmla="*/ 2147483647 w 33"/>
                    <a:gd name="T55" fmla="*/ 2147483647 h 26"/>
                    <a:gd name="T56" fmla="*/ 2147483647 w 33"/>
                    <a:gd name="T57" fmla="*/ 2147483647 h 26"/>
                    <a:gd name="T58" fmla="*/ 2147483647 w 33"/>
                    <a:gd name="T59" fmla="*/ 2147483647 h 26"/>
                    <a:gd name="T60" fmla="*/ 2147483647 w 33"/>
                    <a:gd name="T61" fmla="*/ 2147483647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26"/>
                    <a:gd name="T95" fmla="*/ 33 w 33"/>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26">
                      <a:moveTo>
                        <a:pt x="32" y="1"/>
                      </a:moveTo>
                      <a:lnTo>
                        <a:pt x="32" y="1"/>
                      </a:lnTo>
                      <a:lnTo>
                        <a:pt x="30" y="0"/>
                      </a:lnTo>
                      <a:lnTo>
                        <a:pt x="28" y="0"/>
                      </a:lnTo>
                      <a:lnTo>
                        <a:pt x="25" y="3"/>
                      </a:lnTo>
                      <a:lnTo>
                        <a:pt x="24" y="4"/>
                      </a:lnTo>
                      <a:lnTo>
                        <a:pt x="20" y="5"/>
                      </a:lnTo>
                      <a:lnTo>
                        <a:pt x="16" y="5"/>
                      </a:lnTo>
                      <a:lnTo>
                        <a:pt x="14" y="5"/>
                      </a:lnTo>
                      <a:lnTo>
                        <a:pt x="10" y="7"/>
                      </a:lnTo>
                      <a:lnTo>
                        <a:pt x="6" y="12"/>
                      </a:lnTo>
                      <a:lnTo>
                        <a:pt x="2" y="17"/>
                      </a:lnTo>
                      <a:lnTo>
                        <a:pt x="0" y="22"/>
                      </a:lnTo>
                      <a:lnTo>
                        <a:pt x="0" y="24"/>
                      </a:lnTo>
                      <a:lnTo>
                        <a:pt x="1" y="26"/>
                      </a:lnTo>
                      <a:lnTo>
                        <a:pt x="2" y="26"/>
                      </a:lnTo>
                      <a:lnTo>
                        <a:pt x="5" y="24"/>
                      </a:lnTo>
                      <a:lnTo>
                        <a:pt x="10" y="19"/>
                      </a:lnTo>
                      <a:lnTo>
                        <a:pt x="16" y="16"/>
                      </a:lnTo>
                      <a:lnTo>
                        <a:pt x="21" y="13"/>
                      </a:lnTo>
                      <a:lnTo>
                        <a:pt x="28" y="10"/>
                      </a:lnTo>
                      <a:lnTo>
                        <a:pt x="33" y="5"/>
                      </a:lnTo>
                      <a:lnTo>
                        <a:pt x="33" y="3"/>
                      </a:lnTo>
                      <a:lnTo>
                        <a:pt x="32"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7" name="Freeform 72"/>
                <p:cNvSpPr>
                  <a:spLocks/>
                </p:cNvSpPr>
                <p:nvPr/>
              </p:nvSpPr>
              <p:spPr bwMode="auto">
                <a:xfrm>
                  <a:off x="8129941" y="3184369"/>
                  <a:ext cx="20718" cy="19239"/>
                </a:xfrm>
                <a:custGeom>
                  <a:avLst/>
                  <a:gdLst>
                    <a:gd name="T0" fmla="*/ 2147483647 w 15"/>
                    <a:gd name="T1" fmla="*/ 2147483647 h 13"/>
                    <a:gd name="T2" fmla="*/ 2147483647 w 15"/>
                    <a:gd name="T3" fmla="*/ 2147483647 h 13"/>
                    <a:gd name="T4" fmla="*/ 2147483647 w 15"/>
                    <a:gd name="T5" fmla="*/ 0 h 13"/>
                    <a:gd name="T6" fmla="*/ 2147483647 w 15"/>
                    <a:gd name="T7" fmla="*/ 0 h 13"/>
                    <a:gd name="T8" fmla="*/ 2147483647 w 15"/>
                    <a:gd name="T9" fmla="*/ 0 h 13"/>
                    <a:gd name="T10" fmla="*/ 2147483647 w 15"/>
                    <a:gd name="T11" fmla="*/ 2147483647 h 13"/>
                    <a:gd name="T12" fmla="*/ 2147483647 w 15"/>
                    <a:gd name="T13" fmla="*/ 2147483647 h 13"/>
                    <a:gd name="T14" fmla="*/ 0 w 15"/>
                    <a:gd name="T15" fmla="*/ 2147483647 h 13"/>
                    <a:gd name="T16" fmla="*/ 0 w 15"/>
                    <a:gd name="T17" fmla="*/ 2147483647 h 13"/>
                    <a:gd name="T18" fmla="*/ 2147483647 w 15"/>
                    <a:gd name="T19" fmla="*/ 2147483647 h 13"/>
                    <a:gd name="T20" fmla="*/ 2147483647 w 15"/>
                    <a:gd name="T21" fmla="*/ 2147483647 h 13"/>
                    <a:gd name="T22" fmla="*/ 2147483647 w 15"/>
                    <a:gd name="T23" fmla="*/ 2147483647 h 13"/>
                    <a:gd name="T24" fmla="*/ 2147483647 w 15"/>
                    <a:gd name="T25" fmla="*/ 2147483647 h 13"/>
                    <a:gd name="T26" fmla="*/ 2147483647 w 15"/>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13" y="4"/>
                      </a:moveTo>
                      <a:lnTo>
                        <a:pt x="15" y="1"/>
                      </a:lnTo>
                      <a:lnTo>
                        <a:pt x="12" y="0"/>
                      </a:lnTo>
                      <a:lnTo>
                        <a:pt x="11" y="0"/>
                      </a:lnTo>
                      <a:lnTo>
                        <a:pt x="8" y="0"/>
                      </a:lnTo>
                      <a:lnTo>
                        <a:pt x="3" y="5"/>
                      </a:lnTo>
                      <a:lnTo>
                        <a:pt x="1" y="7"/>
                      </a:lnTo>
                      <a:lnTo>
                        <a:pt x="0" y="9"/>
                      </a:lnTo>
                      <a:lnTo>
                        <a:pt x="0" y="12"/>
                      </a:lnTo>
                      <a:lnTo>
                        <a:pt x="1" y="13"/>
                      </a:lnTo>
                      <a:lnTo>
                        <a:pt x="3" y="13"/>
                      </a:lnTo>
                      <a:lnTo>
                        <a:pt x="6" y="12"/>
                      </a:lnTo>
                      <a:lnTo>
                        <a:pt x="10" y="8"/>
                      </a:lnTo>
                      <a:lnTo>
                        <a:pt x="13"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8" name="Freeform 73"/>
                <p:cNvSpPr>
                  <a:spLocks/>
                </p:cNvSpPr>
                <p:nvPr/>
              </p:nvSpPr>
              <p:spPr bwMode="auto">
                <a:xfrm>
                  <a:off x="7944953" y="2903193"/>
                  <a:ext cx="65114" cy="298934"/>
                </a:xfrm>
                <a:custGeom>
                  <a:avLst/>
                  <a:gdLst>
                    <a:gd name="T0" fmla="*/ 2147483647 w 48"/>
                    <a:gd name="T1" fmla="*/ 2147483647 h 202"/>
                    <a:gd name="T2" fmla="*/ 2147483647 w 48"/>
                    <a:gd name="T3" fmla="*/ 2147483647 h 202"/>
                    <a:gd name="T4" fmla="*/ 2147483647 w 48"/>
                    <a:gd name="T5" fmla="*/ 2147483647 h 202"/>
                    <a:gd name="T6" fmla="*/ 2147483647 w 48"/>
                    <a:gd name="T7" fmla="*/ 2147483647 h 202"/>
                    <a:gd name="T8" fmla="*/ 2147483647 w 48"/>
                    <a:gd name="T9" fmla="*/ 2147483647 h 202"/>
                    <a:gd name="T10" fmla="*/ 2147483647 w 48"/>
                    <a:gd name="T11" fmla="*/ 2147483647 h 202"/>
                    <a:gd name="T12" fmla="*/ 2147483647 w 48"/>
                    <a:gd name="T13" fmla="*/ 2147483647 h 202"/>
                    <a:gd name="T14" fmla="*/ 2147483647 w 48"/>
                    <a:gd name="T15" fmla="*/ 2147483647 h 202"/>
                    <a:gd name="T16" fmla="*/ 2147483647 w 48"/>
                    <a:gd name="T17" fmla="*/ 2147483647 h 202"/>
                    <a:gd name="T18" fmla="*/ 2147483647 w 48"/>
                    <a:gd name="T19" fmla="*/ 2147483647 h 202"/>
                    <a:gd name="T20" fmla="*/ 0 w 48"/>
                    <a:gd name="T21" fmla="*/ 2147483647 h 202"/>
                    <a:gd name="T22" fmla="*/ 2147483647 w 48"/>
                    <a:gd name="T23" fmla="*/ 2147483647 h 202"/>
                    <a:gd name="T24" fmla="*/ 2147483647 w 48"/>
                    <a:gd name="T25" fmla="*/ 2147483647 h 202"/>
                    <a:gd name="T26" fmla="*/ 2147483647 w 48"/>
                    <a:gd name="T27" fmla="*/ 2147483647 h 202"/>
                    <a:gd name="T28" fmla="*/ 2147483647 w 48"/>
                    <a:gd name="T29" fmla="*/ 2147483647 h 202"/>
                    <a:gd name="T30" fmla="*/ 2147483647 w 48"/>
                    <a:gd name="T31" fmla="*/ 2147483647 h 202"/>
                    <a:gd name="T32" fmla="*/ 2147483647 w 48"/>
                    <a:gd name="T33" fmla="*/ 2147483647 h 202"/>
                    <a:gd name="T34" fmla="*/ 2147483647 w 48"/>
                    <a:gd name="T35" fmla="*/ 2147483647 h 202"/>
                    <a:gd name="T36" fmla="*/ 2147483647 w 48"/>
                    <a:gd name="T37" fmla="*/ 2147483647 h 202"/>
                    <a:gd name="T38" fmla="*/ 2147483647 w 48"/>
                    <a:gd name="T39" fmla="*/ 2147483647 h 202"/>
                    <a:gd name="T40" fmla="*/ 2147483647 w 48"/>
                    <a:gd name="T41" fmla="*/ 2147483647 h 202"/>
                    <a:gd name="T42" fmla="*/ 2147483647 w 48"/>
                    <a:gd name="T43" fmla="*/ 2147483647 h 202"/>
                    <a:gd name="T44" fmla="*/ 2147483647 w 48"/>
                    <a:gd name="T45" fmla="*/ 2147483647 h 202"/>
                    <a:gd name="T46" fmla="*/ 2147483647 w 48"/>
                    <a:gd name="T47" fmla="*/ 2147483647 h 202"/>
                    <a:gd name="T48" fmla="*/ 2147483647 w 48"/>
                    <a:gd name="T49" fmla="*/ 2147483647 h 202"/>
                    <a:gd name="T50" fmla="*/ 2147483647 w 48"/>
                    <a:gd name="T51" fmla="*/ 2147483647 h 202"/>
                    <a:gd name="T52" fmla="*/ 2147483647 w 48"/>
                    <a:gd name="T53" fmla="*/ 2147483647 h 202"/>
                    <a:gd name="T54" fmla="*/ 2147483647 w 48"/>
                    <a:gd name="T55" fmla="*/ 2147483647 h 202"/>
                    <a:gd name="T56" fmla="*/ 2147483647 w 48"/>
                    <a:gd name="T57" fmla="*/ 2147483647 h 202"/>
                    <a:gd name="T58" fmla="*/ 2147483647 w 48"/>
                    <a:gd name="T59" fmla="*/ 2147483647 h 202"/>
                    <a:gd name="T60" fmla="*/ 2147483647 w 48"/>
                    <a:gd name="T61" fmla="*/ 2147483647 h 202"/>
                    <a:gd name="T62" fmla="*/ 2147483647 w 48"/>
                    <a:gd name="T63" fmla="*/ 2147483647 h 202"/>
                    <a:gd name="T64" fmla="*/ 2147483647 w 48"/>
                    <a:gd name="T65" fmla="*/ 2147483647 h 202"/>
                    <a:gd name="T66" fmla="*/ 2147483647 w 48"/>
                    <a:gd name="T67" fmla="*/ 2147483647 h 202"/>
                    <a:gd name="T68" fmla="*/ 2147483647 w 48"/>
                    <a:gd name="T69" fmla="*/ 2147483647 h 202"/>
                    <a:gd name="T70" fmla="*/ 2147483647 w 48"/>
                    <a:gd name="T71" fmla="*/ 2147483647 h 202"/>
                    <a:gd name="T72" fmla="*/ 2147483647 w 48"/>
                    <a:gd name="T73" fmla="*/ 2147483647 h 202"/>
                    <a:gd name="T74" fmla="*/ 2147483647 w 48"/>
                    <a:gd name="T75" fmla="*/ 2147483647 h 202"/>
                    <a:gd name="T76" fmla="*/ 2147483647 w 48"/>
                    <a:gd name="T77" fmla="*/ 2147483647 h 202"/>
                    <a:gd name="T78" fmla="*/ 2147483647 w 48"/>
                    <a:gd name="T79" fmla="*/ 2147483647 h 202"/>
                    <a:gd name="T80" fmla="*/ 2147483647 w 48"/>
                    <a:gd name="T81" fmla="*/ 2147483647 h 202"/>
                    <a:gd name="T82" fmla="*/ 2147483647 w 48"/>
                    <a:gd name="T83" fmla="*/ 2147483647 h 202"/>
                    <a:gd name="T84" fmla="*/ 2147483647 w 48"/>
                    <a:gd name="T85" fmla="*/ 2147483647 h 202"/>
                    <a:gd name="T86" fmla="*/ 2147483647 w 48"/>
                    <a:gd name="T87" fmla="*/ 2147483647 h 202"/>
                    <a:gd name="T88" fmla="*/ 2147483647 w 48"/>
                    <a:gd name="T89" fmla="*/ 2147483647 h 202"/>
                    <a:gd name="T90" fmla="*/ 2147483647 w 48"/>
                    <a:gd name="T91" fmla="*/ 2147483647 h 202"/>
                    <a:gd name="T92" fmla="*/ 2147483647 w 48"/>
                    <a:gd name="T93" fmla="*/ 2147483647 h 202"/>
                    <a:gd name="T94" fmla="*/ 2147483647 w 48"/>
                    <a:gd name="T95" fmla="*/ 2147483647 h 202"/>
                    <a:gd name="T96" fmla="*/ 2147483647 w 48"/>
                    <a:gd name="T97" fmla="*/ 2147483647 h 202"/>
                    <a:gd name="T98" fmla="*/ 2147483647 w 48"/>
                    <a:gd name="T99" fmla="*/ 2147483647 h 202"/>
                    <a:gd name="T100" fmla="*/ 2147483647 w 48"/>
                    <a:gd name="T101" fmla="*/ 2147483647 h 202"/>
                    <a:gd name="T102" fmla="*/ 2147483647 w 48"/>
                    <a:gd name="T103" fmla="*/ 2147483647 h 202"/>
                    <a:gd name="T104" fmla="*/ 2147483647 w 48"/>
                    <a:gd name="T105" fmla="*/ 2147483647 h 202"/>
                    <a:gd name="T106" fmla="*/ 2147483647 w 48"/>
                    <a:gd name="T107" fmla="*/ 2147483647 h 202"/>
                    <a:gd name="T108" fmla="*/ 2147483647 w 48"/>
                    <a:gd name="T109" fmla="*/ 2147483647 h 202"/>
                    <a:gd name="T110" fmla="*/ 2147483647 w 48"/>
                    <a:gd name="T111" fmla="*/ 2147483647 h 2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8"/>
                    <a:gd name="T169" fmla="*/ 0 h 202"/>
                    <a:gd name="T170" fmla="*/ 48 w 48"/>
                    <a:gd name="T171" fmla="*/ 202 h 2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8" h="202">
                      <a:moveTo>
                        <a:pt x="30" y="184"/>
                      </a:moveTo>
                      <a:lnTo>
                        <a:pt x="29" y="188"/>
                      </a:lnTo>
                      <a:lnTo>
                        <a:pt x="28" y="194"/>
                      </a:lnTo>
                      <a:lnTo>
                        <a:pt x="28" y="198"/>
                      </a:lnTo>
                      <a:lnTo>
                        <a:pt x="26" y="199"/>
                      </a:lnTo>
                      <a:lnTo>
                        <a:pt x="24" y="199"/>
                      </a:lnTo>
                      <a:lnTo>
                        <a:pt x="22" y="199"/>
                      </a:lnTo>
                      <a:lnTo>
                        <a:pt x="21" y="198"/>
                      </a:lnTo>
                      <a:lnTo>
                        <a:pt x="21" y="195"/>
                      </a:lnTo>
                      <a:lnTo>
                        <a:pt x="21" y="190"/>
                      </a:lnTo>
                      <a:lnTo>
                        <a:pt x="20" y="188"/>
                      </a:lnTo>
                      <a:lnTo>
                        <a:pt x="19" y="186"/>
                      </a:lnTo>
                      <a:lnTo>
                        <a:pt x="16" y="185"/>
                      </a:lnTo>
                      <a:lnTo>
                        <a:pt x="15" y="185"/>
                      </a:lnTo>
                      <a:lnTo>
                        <a:pt x="12" y="190"/>
                      </a:lnTo>
                      <a:lnTo>
                        <a:pt x="10" y="194"/>
                      </a:lnTo>
                      <a:lnTo>
                        <a:pt x="9" y="197"/>
                      </a:lnTo>
                      <a:lnTo>
                        <a:pt x="6" y="201"/>
                      </a:lnTo>
                      <a:lnTo>
                        <a:pt x="5" y="202"/>
                      </a:lnTo>
                      <a:lnTo>
                        <a:pt x="3" y="202"/>
                      </a:lnTo>
                      <a:lnTo>
                        <a:pt x="1" y="199"/>
                      </a:lnTo>
                      <a:lnTo>
                        <a:pt x="0" y="195"/>
                      </a:lnTo>
                      <a:lnTo>
                        <a:pt x="0" y="191"/>
                      </a:lnTo>
                      <a:lnTo>
                        <a:pt x="1" y="183"/>
                      </a:lnTo>
                      <a:lnTo>
                        <a:pt x="1" y="171"/>
                      </a:lnTo>
                      <a:lnTo>
                        <a:pt x="2" y="160"/>
                      </a:lnTo>
                      <a:lnTo>
                        <a:pt x="3" y="137"/>
                      </a:lnTo>
                      <a:lnTo>
                        <a:pt x="3" y="135"/>
                      </a:lnTo>
                      <a:lnTo>
                        <a:pt x="2" y="133"/>
                      </a:lnTo>
                      <a:lnTo>
                        <a:pt x="1" y="131"/>
                      </a:lnTo>
                      <a:lnTo>
                        <a:pt x="1" y="128"/>
                      </a:lnTo>
                      <a:lnTo>
                        <a:pt x="2" y="126"/>
                      </a:lnTo>
                      <a:lnTo>
                        <a:pt x="3" y="124"/>
                      </a:lnTo>
                      <a:lnTo>
                        <a:pt x="5" y="122"/>
                      </a:lnTo>
                      <a:lnTo>
                        <a:pt x="6" y="120"/>
                      </a:lnTo>
                      <a:lnTo>
                        <a:pt x="6" y="111"/>
                      </a:lnTo>
                      <a:lnTo>
                        <a:pt x="7" y="101"/>
                      </a:lnTo>
                      <a:lnTo>
                        <a:pt x="6" y="86"/>
                      </a:lnTo>
                      <a:lnTo>
                        <a:pt x="3" y="70"/>
                      </a:lnTo>
                      <a:lnTo>
                        <a:pt x="1" y="57"/>
                      </a:lnTo>
                      <a:lnTo>
                        <a:pt x="1" y="45"/>
                      </a:lnTo>
                      <a:lnTo>
                        <a:pt x="3" y="32"/>
                      </a:lnTo>
                      <a:lnTo>
                        <a:pt x="7" y="19"/>
                      </a:lnTo>
                      <a:lnTo>
                        <a:pt x="9" y="18"/>
                      </a:lnTo>
                      <a:lnTo>
                        <a:pt x="10" y="16"/>
                      </a:lnTo>
                      <a:lnTo>
                        <a:pt x="14" y="15"/>
                      </a:lnTo>
                      <a:lnTo>
                        <a:pt x="16" y="13"/>
                      </a:lnTo>
                      <a:lnTo>
                        <a:pt x="16" y="12"/>
                      </a:lnTo>
                      <a:lnTo>
                        <a:pt x="16" y="9"/>
                      </a:lnTo>
                      <a:lnTo>
                        <a:pt x="15" y="4"/>
                      </a:lnTo>
                      <a:lnTo>
                        <a:pt x="15" y="0"/>
                      </a:lnTo>
                      <a:lnTo>
                        <a:pt x="17" y="1"/>
                      </a:lnTo>
                      <a:lnTo>
                        <a:pt x="20" y="4"/>
                      </a:lnTo>
                      <a:lnTo>
                        <a:pt x="22" y="10"/>
                      </a:lnTo>
                      <a:lnTo>
                        <a:pt x="25" y="16"/>
                      </a:lnTo>
                      <a:lnTo>
                        <a:pt x="25" y="20"/>
                      </a:lnTo>
                      <a:lnTo>
                        <a:pt x="22" y="26"/>
                      </a:lnTo>
                      <a:lnTo>
                        <a:pt x="21" y="29"/>
                      </a:lnTo>
                      <a:lnTo>
                        <a:pt x="21" y="32"/>
                      </a:lnTo>
                      <a:lnTo>
                        <a:pt x="24" y="36"/>
                      </a:lnTo>
                      <a:lnTo>
                        <a:pt x="28" y="39"/>
                      </a:lnTo>
                      <a:lnTo>
                        <a:pt x="29" y="41"/>
                      </a:lnTo>
                      <a:lnTo>
                        <a:pt x="29" y="42"/>
                      </a:lnTo>
                      <a:lnTo>
                        <a:pt x="29" y="43"/>
                      </a:lnTo>
                      <a:lnTo>
                        <a:pt x="25" y="48"/>
                      </a:lnTo>
                      <a:lnTo>
                        <a:pt x="21" y="54"/>
                      </a:lnTo>
                      <a:lnTo>
                        <a:pt x="21" y="60"/>
                      </a:lnTo>
                      <a:lnTo>
                        <a:pt x="21" y="65"/>
                      </a:lnTo>
                      <a:lnTo>
                        <a:pt x="24" y="67"/>
                      </a:lnTo>
                      <a:lnTo>
                        <a:pt x="26" y="68"/>
                      </a:lnTo>
                      <a:lnTo>
                        <a:pt x="26" y="71"/>
                      </a:lnTo>
                      <a:lnTo>
                        <a:pt x="28" y="75"/>
                      </a:lnTo>
                      <a:lnTo>
                        <a:pt x="33" y="82"/>
                      </a:lnTo>
                      <a:lnTo>
                        <a:pt x="33" y="86"/>
                      </a:lnTo>
                      <a:lnTo>
                        <a:pt x="33" y="89"/>
                      </a:lnTo>
                      <a:lnTo>
                        <a:pt x="31" y="93"/>
                      </a:lnTo>
                      <a:lnTo>
                        <a:pt x="33" y="96"/>
                      </a:lnTo>
                      <a:lnTo>
                        <a:pt x="38" y="106"/>
                      </a:lnTo>
                      <a:lnTo>
                        <a:pt x="44" y="114"/>
                      </a:lnTo>
                      <a:lnTo>
                        <a:pt x="47" y="119"/>
                      </a:lnTo>
                      <a:lnTo>
                        <a:pt x="48" y="122"/>
                      </a:lnTo>
                      <a:lnTo>
                        <a:pt x="48" y="127"/>
                      </a:lnTo>
                      <a:lnTo>
                        <a:pt x="47" y="132"/>
                      </a:lnTo>
                      <a:lnTo>
                        <a:pt x="38" y="124"/>
                      </a:lnTo>
                      <a:lnTo>
                        <a:pt x="33" y="120"/>
                      </a:lnTo>
                      <a:lnTo>
                        <a:pt x="29" y="120"/>
                      </a:lnTo>
                      <a:lnTo>
                        <a:pt x="26" y="120"/>
                      </a:lnTo>
                      <a:lnTo>
                        <a:pt x="22" y="121"/>
                      </a:lnTo>
                      <a:lnTo>
                        <a:pt x="20" y="124"/>
                      </a:lnTo>
                      <a:lnTo>
                        <a:pt x="19" y="126"/>
                      </a:lnTo>
                      <a:lnTo>
                        <a:pt x="17" y="128"/>
                      </a:lnTo>
                      <a:lnTo>
                        <a:pt x="17" y="135"/>
                      </a:lnTo>
                      <a:lnTo>
                        <a:pt x="19" y="141"/>
                      </a:lnTo>
                      <a:lnTo>
                        <a:pt x="19" y="145"/>
                      </a:lnTo>
                      <a:lnTo>
                        <a:pt x="17" y="147"/>
                      </a:lnTo>
                      <a:lnTo>
                        <a:pt x="16" y="151"/>
                      </a:lnTo>
                      <a:lnTo>
                        <a:pt x="17" y="154"/>
                      </a:lnTo>
                      <a:lnTo>
                        <a:pt x="16" y="157"/>
                      </a:lnTo>
                      <a:lnTo>
                        <a:pt x="15" y="160"/>
                      </a:lnTo>
                      <a:lnTo>
                        <a:pt x="14" y="163"/>
                      </a:lnTo>
                      <a:lnTo>
                        <a:pt x="12" y="166"/>
                      </a:lnTo>
                      <a:lnTo>
                        <a:pt x="15" y="169"/>
                      </a:lnTo>
                      <a:lnTo>
                        <a:pt x="16" y="169"/>
                      </a:lnTo>
                      <a:lnTo>
                        <a:pt x="19" y="169"/>
                      </a:lnTo>
                      <a:lnTo>
                        <a:pt x="20" y="170"/>
                      </a:lnTo>
                      <a:lnTo>
                        <a:pt x="20" y="171"/>
                      </a:lnTo>
                      <a:lnTo>
                        <a:pt x="20" y="175"/>
                      </a:lnTo>
                      <a:lnTo>
                        <a:pt x="21" y="176"/>
                      </a:lnTo>
                      <a:lnTo>
                        <a:pt x="29" y="177"/>
                      </a:lnTo>
                      <a:lnTo>
                        <a:pt x="30" y="178"/>
                      </a:lnTo>
                      <a:lnTo>
                        <a:pt x="31" y="179"/>
                      </a:lnTo>
                      <a:lnTo>
                        <a:pt x="31" y="182"/>
                      </a:lnTo>
                      <a:lnTo>
                        <a:pt x="30" y="18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79" name="Freeform 74"/>
                <p:cNvSpPr>
                  <a:spLocks/>
                </p:cNvSpPr>
                <p:nvPr/>
              </p:nvSpPr>
              <p:spPr bwMode="auto">
                <a:xfrm>
                  <a:off x="8126981" y="3182890"/>
                  <a:ext cx="20718" cy="19238"/>
                </a:xfrm>
                <a:custGeom>
                  <a:avLst/>
                  <a:gdLst>
                    <a:gd name="T0" fmla="*/ 2147483647 w 15"/>
                    <a:gd name="T1" fmla="*/ 2147483647 h 13"/>
                    <a:gd name="T2" fmla="*/ 2147483647 w 15"/>
                    <a:gd name="T3" fmla="*/ 2147483647 h 13"/>
                    <a:gd name="T4" fmla="*/ 2147483647 w 15"/>
                    <a:gd name="T5" fmla="*/ 2147483647 h 13"/>
                    <a:gd name="T6" fmla="*/ 2147483647 w 15"/>
                    <a:gd name="T7" fmla="*/ 0 h 13"/>
                    <a:gd name="T8" fmla="*/ 2147483647 w 15"/>
                    <a:gd name="T9" fmla="*/ 0 h 13"/>
                    <a:gd name="T10" fmla="*/ 2147483647 w 15"/>
                    <a:gd name="T11" fmla="*/ 0 h 13"/>
                    <a:gd name="T12" fmla="*/ 2147483647 w 15"/>
                    <a:gd name="T13" fmla="*/ 0 h 13"/>
                    <a:gd name="T14" fmla="*/ 2147483647 w 15"/>
                    <a:gd name="T15" fmla="*/ 2147483647 h 13"/>
                    <a:gd name="T16" fmla="*/ 2147483647 w 15"/>
                    <a:gd name="T17" fmla="*/ 2147483647 h 13"/>
                    <a:gd name="T18" fmla="*/ 0 w 15"/>
                    <a:gd name="T19" fmla="*/ 2147483647 h 13"/>
                    <a:gd name="T20" fmla="*/ 0 w 15"/>
                    <a:gd name="T21" fmla="*/ 2147483647 h 13"/>
                    <a:gd name="T22" fmla="*/ 0 w 15"/>
                    <a:gd name="T23" fmla="*/ 2147483647 h 13"/>
                    <a:gd name="T24" fmla="*/ 2147483647 w 15"/>
                    <a:gd name="T25" fmla="*/ 2147483647 h 13"/>
                    <a:gd name="T26" fmla="*/ 2147483647 w 15"/>
                    <a:gd name="T27" fmla="*/ 2147483647 h 13"/>
                    <a:gd name="T28" fmla="*/ 2147483647 w 15"/>
                    <a:gd name="T29" fmla="*/ 2147483647 h 13"/>
                    <a:gd name="T30" fmla="*/ 2147483647 w 15"/>
                    <a:gd name="T31" fmla="*/ 2147483647 h 13"/>
                    <a:gd name="T32" fmla="*/ 2147483647 w 15"/>
                    <a:gd name="T33" fmla="*/ 2147483647 h 13"/>
                    <a:gd name="T34" fmla="*/ 2147483647 w 15"/>
                    <a:gd name="T35" fmla="*/ 2147483647 h 13"/>
                    <a:gd name="T36" fmla="*/ 2147483647 w 15"/>
                    <a:gd name="T37" fmla="*/ 2147483647 h 13"/>
                    <a:gd name="T38" fmla="*/ 2147483647 w 15"/>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3"/>
                    <a:gd name="T62" fmla="*/ 15 w 15"/>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3">
                      <a:moveTo>
                        <a:pt x="14" y="3"/>
                      </a:moveTo>
                      <a:lnTo>
                        <a:pt x="14" y="3"/>
                      </a:lnTo>
                      <a:lnTo>
                        <a:pt x="15" y="1"/>
                      </a:lnTo>
                      <a:lnTo>
                        <a:pt x="13" y="0"/>
                      </a:lnTo>
                      <a:lnTo>
                        <a:pt x="12" y="0"/>
                      </a:lnTo>
                      <a:lnTo>
                        <a:pt x="9" y="0"/>
                      </a:lnTo>
                      <a:lnTo>
                        <a:pt x="4" y="5"/>
                      </a:lnTo>
                      <a:lnTo>
                        <a:pt x="2" y="7"/>
                      </a:lnTo>
                      <a:lnTo>
                        <a:pt x="0" y="9"/>
                      </a:lnTo>
                      <a:lnTo>
                        <a:pt x="0" y="12"/>
                      </a:lnTo>
                      <a:lnTo>
                        <a:pt x="2" y="13"/>
                      </a:lnTo>
                      <a:lnTo>
                        <a:pt x="4" y="13"/>
                      </a:lnTo>
                      <a:lnTo>
                        <a:pt x="7" y="12"/>
                      </a:lnTo>
                      <a:lnTo>
                        <a:pt x="10" y="8"/>
                      </a:lnTo>
                      <a:lnTo>
                        <a:pt x="14"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0" name="Freeform 75"/>
                <p:cNvSpPr>
                  <a:spLocks/>
                </p:cNvSpPr>
                <p:nvPr/>
              </p:nvSpPr>
              <p:spPr bwMode="auto">
                <a:xfrm>
                  <a:off x="7941993" y="2901716"/>
                  <a:ext cx="66595" cy="298934"/>
                </a:xfrm>
                <a:custGeom>
                  <a:avLst/>
                  <a:gdLst>
                    <a:gd name="T0" fmla="*/ 2147483647 w 49"/>
                    <a:gd name="T1" fmla="*/ 2147483647 h 202"/>
                    <a:gd name="T2" fmla="*/ 2147483647 w 49"/>
                    <a:gd name="T3" fmla="*/ 2147483647 h 202"/>
                    <a:gd name="T4" fmla="*/ 2147483647 w 49"/>
                    <a:gd name="T5" fmla="*/ 2147483647 h 202"/>
                    <a:gd name="T6" fmla="*/ 2147483647 w 49"/>
                    <a:gd name="T7" fmla="*/ 2147483647 h 202"/>
                    <a:gd name="T8" fmla="*/ 2147483647 w 49"/>
                    <a:gd name="T9" fmla="*/ 2147483647 h 202"/>
                    <a:gd name="T10" fmla="*/ 2147483647 w 49"/>
                    <a:gd name="T11" fmla="*/ 2147483647 h 202"/>
                    <a:gd name="T12" fmla="*/ 2147483647 w 49"/>
                    <a:gd name="T13" fmla="*/ 2147483647 h 202"/>
                    <a:gd name="T14" fmla="*/ 2147483647 w 49"/>
                    <a:gd name="T15" fmla="*/ 2147483647 h 202"/>
                    <a:gd name="T16" fmla="*/ 2147483647 w 49"/>
                    <a:gd name="T17" fmla="*/ 2147483647 h 202"/>
                    <a:gd name="T18" fmla="*/ 0 w 49"/>
                    <a:gd name="T19" fmla="*/ 2147483647 h 202"/>
                    <a:gd name="T20" fmla="*/ 2147483647 w 49"/>
                    <a:gd name="T21" fmla="*/ 2147483647 h 202"/>
                    <a:gd name="T22" fmla="*/ 2147483647 w 49"/>
                    <a:gd name="T23" fmla="*/ 2147483647 h 202"/>
                    <a:gd name="T24" fmla="*/ 2147483647 w 49"/>
                    <a:gd name="T25" fmla="*/ 2147483647 h 202"/>
                    <a:gd name="T26" fmla="*/ 2147483647 w 49"/>
                    <a:gd name="T27" fmla="*/ 2147483647 h 202"/>
                    <a:gd name="T28" fmla="*/ 2147483647 w 49"/>
                    <a:gd name="T29" fmla="*/ 2147483647 h 202"/>
                    <a:gd name="T30" fmla="*/ 2147483647 w 49"/>
                    <a:gd name="T31" fmla="*/ 2147483647 h 202"/>
                    <a:gd name="T32" fmla="*/ 2147483647 w 49"/>
                    <a:gd name="T33" fmla="*/ 2147483647 h 202"/>
                    <a:gd name="T34" fmla="*/ 2147483647 w 49"/>
                    <a:gd name="T35" fmla="*/ 2147483647 h 202"/>
                    <a:gd name="T36" fmla="*/ 2147483647 w 49"/>
                    <a:gd name="T37" fmla="*/ 2147483647 h 202"/>
                    <a:gd name="T38" fmla="*/ 2147483647 w 49"/>
                    <a:gd name="T39" fmla="*/ 2147483647 h 202"/>
                    <a:gd name="T40" fmla="*/ 2147483647 w 49"/>
                    <a:gd name="T41" fmla="*/ 2147483647 h 202"/>
                    <a:gd name="T42" fmla="*/ 2147483647 w 49"/>
                    <a:gd name="T43" fmla="*/ 0 h 202"/>
                    <a:gd name="T44" fmla="*/ 2147483647 w 49"/>
                    <a:gd name="T45" fmla="*/ 2147483647 h 202"/>
                    <a:gd name="T46" fmla="*/ 2147483647 w 49"/>
                    <a:gd name="T47" fmla="*/ 2147483647 h 202"/>
                    <a:gd name="T48" fmla="*/ 2147483647 w 49"/>
                    <a:gd name="T49" fmla="*/ 2147483647 h 202"/>
                    <a:gd name="T50" fmla="*/ 2147483647 w 49"/>
                    <a:gd name="T51" fmla="*/ 2147483647 h 202"/>
                    <a:gd name="T52" fmla="*/ 2147483647 w 49"/>
                    <a:gd name="T53" fmla="*/ 2147483647 h 202"/>
                    <a:gd name="T54" fmla="*/ 2147483647 w 49"/>
                    <a:gd name="T55" fmla="*/ 2147483647 h 202"/>
                    <a:gd name="T56" fmla="*/ 2147483647 w 49"/>
                    <a:gd name="T57" fmla="*/ 2147483647 h 202"/>
                    <a:gd name="T58" fmla="*/ 2147483647 w 49"/>
                    <a:gd name="T59" fmla="*/ 2147483647 h 202"/>
                    <a:gd name="T60" fmla="*/ 2147483647 w 49"/>
                    <a:gd name="T61" fmla="*/ 2147483647 h 202"/>
                    <a:gd name="T62" fmla="*/ 2147483647 w 49"/>
                    <a:gd name="T63" fmla="*/ 2147483647 h 202"/>
                    <a:gd name="T64" fmla="*/ 2147483647 w 49"/>
                    <a:gd name="T65" fmla="*/ 2147483647 h 202"/>
                    <a:gd name="T66" fmla="*/ 2147483647 w 49"/>
                    <a:gd name="T67" fmla="*/ 2147483647 h 202"/>
                    <a:gd name="T68" fmla="*/ 2147483647 w 49"/>
                    <a:gd name="T69" fmla="*/ 2147483647 h 202"/>
                    <a:gd name="T70" fmla="*/ 2147483647 w 49"/>
                    <a:gd name="T71" fmla="*/ 2147483647 h 202"/>
                    <a:gd name="T72" fmla="*/ 2147483647 w 49"/>
                    <a:gd name="T73" fmla="*/ 2147483647 h 202"/>
                    <a:gd name="T74" fmla="*/ 2147483647 w 49"/>
                    <a:gd name="T75" fmla="*/ 2147483647 h 202"/>
                    <a:gd name="T76" fmla="*/ 2147483647 w 49"/>
                    <a:gd name="T77" fmla="*/ 2147483647 h 202"/>
                    <a:gd name="T78" fmla="*/ 2147483647 w 49"/>
                    <a:gd name="T79" fmla="*/ 2147483647 h 202"/>
                    <a:gd name="T80" fmla="*/ 2147483647 w 49"/>
                    <a:gd name="T81" fmla="*/ 2147483647 h 202"/>
                    <a:gd name="T82" fmla="*/ 2147483647 w 49"/>
                    <a:gd name="T83" fmla="*/ 2147483647 h 202"/>
                    <a:gd name="T84" fmla="*/ 2147483647 w 49"/>
                    <a:gd name="T85" fmla="*/ 2147483647 h 202"/>
                    <a:gd name="T86" fmla="*/ 2147483647 w 49"/>
                    <a:gd name="T87" fmla="*/ 2147483647 h 202"/>
                    <a:gd name="T88" fmla="*/ 2147483647 w 49"/>
                    <a:gd name="T89" fmla="*/ 2147483647 h 202"/>
                    <a:gd name="T90" fmla="*/ 2147483647 w 49"/>
                    <a:gd name="T91" fmla="*/ 2147483647 h 202"/>
                    <a:gd name="T92" fmla="*/ 2147483647 w 49"/>
                    <a:gd name="T93" fmla="*/ 2147483647 h 202"/>
                    <a:gd name="T94" fmla="*/ 2147483647 w 49"/>
                    <a:gd name="T95" fmla="*/ 2147483647 h 202"/>
                    <a:gd name="T96" fmla="*/ 2147483647 w 49"/>
                    <a:gd name="T97" fmla="*/ 2147483647 h 2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9"/>
                    <a:gd name="T148" fmla="*/ 0 h 202"/>
                    <a:gd name="T149" fmla="*/ 49 w 49"/>
                    <a:gd name="T150" fmla="*/ 202 h 20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9" h="202">
                      <a:moveTo>
                        <a:pt x="31" y="184"/>
                      </a:moveTo>
                      <a:lnTo>
                        <a:pt x="31" y="184"/>
                      </a:lnTo>
                      <a:lnTo>
                        <a:pt x="30" y="187"/>
                      </a:lnTo>
                      <a:lnTo>
                        <a:pt x="28" y="193"/>
                      </a:lnTo>
                      <a:lnTo>
                        <a:pt x="28" y="198"/>
                      </a:lnTo>
                      <a:lnTo>
                        <a:pt x="27" y="199"/>
                      </a:lnTo>
                      <a:lnTo>
                        <a:pt x="24" y="199"/>
                      </a:lnTo>
                      <a:lnTo>
                        <a:pt x="23" y="199"/>
                      </a:lnTo>
                      <a:lnTo>
                        <a:pt x="22" y="198"/>
                      </a:lnTo>
                      <a:lnTo>
                        <a:pt x="22" y="195"/>
                      </a:lnTo>
                      <a:lnTo>
                        <a:pt x="22" y="190"/>
                      </a:lnTo>
                      <a:lnTo>
                        <a:pt x="21" y="187"/>
                      </a:lnTo>
                      <a:lnTo>
                        <a:pt x="19" y="186"/>
                      </a:lnTo>
                      <a:lnTo>
                        <a:pt x="17" y="185"/>
                      </a:lnTo>
                      <a:lnTo>
                        <a:pt x="16" y="185"/>
                      </a:lnTo>
                      <a:lnTo>
                        <a:pt x="13" y="190"/>
                      </a:lnTo>
                      <a:lnTo>
                        <a:pt x="11" y="193"/>
                      </a:lnTo>
                      <a:lnTo>
                        <a:pt x="9" y="197"/>
                      </a:lnTo>
                      <a:lnTo>
                        <a:pt x="7" y="200"/>
                      </a:lnTo>
                      <a:lnTo>
                        <a:pt x="5" y="202"/>
                      </a:lnTo>
                      <a:lnTo>
                        <a:pt x="4" y="202"/>
                      </a:lnTo>
                      <a:lnTo>
                        <a:pt x="2" y="199"/>
                      </a:lnTo>
                      <a:lnTo>
                        <a:pt x="0" y="195"/>
                      </a:lnTo>
                      <a:lnTo>
                        <a:pt x="0" y="191"/>
                      </a:lnTo>
                      <a:lnTo>
                        <a:pt x="2" y="183"/>
                      </a:lnTo>
                      <a:lnTo>
                        <a:pt x="2" y="171"/>
                      </a:lnTo>
                      <a:lnTo>
                        <a:pt x="3" y="160"/>
                      </a:lnTo>
                      <a:lnTo>
                        <a:pt x="4" y="136"/>
                      </a:lnTo>
                      <a:lnTo>
                        <a:pt x="4" y="135"/>
                      </a:lnTo>
                      <a:lnTo>
                        <a:pt x="3" y="133"/>
                      </a:lnTo>
                      <a:lnTo>
                        <a:pt x="2" y="131"/>
                      </a:lnTo>
                      <a:lnTo>
                        <a:pt x="2" y="128"/>
                      </a:lnTo>
                      <a:lnTo>
                        <a:pt x="3" y="126"/>
                      </a:lnTo>
                      <a:lnTo>
                        <a:pt x="4" y="123"/>
                      </a:lnTo>
                      <a:lnTo>
                        <a:pt x="5" y="122"/>
                      </a:lnTo>
                      <a:lnTo>
                        <a:pt x="7" y="120"/>
                      </a:lnTo>
                      <a:lnTo>
                        <a:pt x="7" y="110"/>
                      </a:lnTo>
                      <a:lnTo>
                        <a:pt x="8" y="101"/>
                      </a:lnTo>
                      <a:lnTo>
                        <a:pt x="7" y="85"/>
                      </a:lnTo>
                      <a:lnTo>
                        <a:pt x="4" y="70"/>
                      </a:lnTo>
                      <a:lnTo>
                        <a:pt x="2" y="57"/>
                      </a:lnTo>
                      <a:lnTo>
                        <a:pt x="2" y="45"/>
                      </a:lnTo>
                      <a:lnTo>
                        <a:pt x="4" y="32"/>
                      </a:lnTo>
                      <a:lnTo>
                        <a:pt x="8" y="19"/>
                      </a:lnTo>
                      <a:lnTo>
                        <a:pt x="9" y="18"/>
                      </a:lnTo>
                      <a:lnTo>
                        <a:pt x="11" y="16"/>
                      </a:lnTo>
                      <a:lnTo>
                        <a:pt x="14" y="14"/>
                      </a:lnTo>
                      <a:lnTo>
                        <a:pt x="17" y="13"/>
                      </a:lnTo>
                      <a:lnTo>
                        <a:pt x="17" y="12"/>
                      </a:lnTo>
                      <a:lnTo>
                        <a:pt x="17" y="8"/>
                      </a:lnTo>
                      <a:lnTo>
                        <a:pt x="16" y="4"/>
                      </a:lnTo>
                      <a:lnTo>
                        <a:pt x="16" y="0"/>
                      </a:lnTo>
                      <a:lnTo>
                        <a:pt x="18" y="1"/>
                      </a:lnTo>
                      <a:lnTo>
                        <a:pt x="21" y="4"/>
                      </a:lnTo>
                      <a:lnTo>
                        <a:pt x="23" y="10"/>
                      </a:lnTo>
                      <a:lnTo>
                        <a:pt x="26" y="16"/>
                      </a:lnTo>
                      <a:lnTo>
                        <a:pt x="26" y="20"/>
                      </a:lnTo>
                      <a:lnTo>
                        <a:pt x="23" y="26"/>
                      </a:lnTo>
                      <a:lnTo>
                        <a:pt x="22" y="29"/>
                      </a:lnTo>
                      <a:lnTo>
                        <a:pt x="22" y="32"/>
                      </a:lnTo>
                      <a:lnTo>
                        <a:pt x="24" y="36"/>
                      </a:lnTo>
                      <a:lnTo>
                        <a:pt x="28" y="39"/>
                      </a:lnTo>
                      <a:lnTo>
                        <a:pt x="30" y="40"/>
                      </a:lnTo>
                      <a:lnTo>
                        <a:pt x="30" y="42"/>
                      </a:lnTo>
                      <a:lnTo>
                        <a:pt x="30" y="43"/>
                      </a:lnTo>
                      <a:lnTo>
                        <a:pt x="26" y="48"/>
                      </a:lnTo>
                      <a:lnTo>
                        <a:pt x="22" y="53"/>
                      </a:lnTo>
                      <a:lnTo>
                        <a:pt x="22" y="59"/>
                      </a:lnTo>
                      <a:lnTo>
                        <a:pt x="22" y="65"/>
                      </a:lnTo>
                      <a:lnTo>
                        <a:pt x="24" y="66"/>
                      </a:lnTo>
                      <a:lnTo>
                        <a:pt x="27" y="68"/>
                      </a:lnTo>
                      <a:lnTo>
                        <a:pt x="27" y="71"/>
                      </a:lnTo>
                      <a:lnTo>
                        <a:pt x="28" y="75"/>
                      </a:lnTo>
                      <a:lnTo>
                        <a:pt x="33" y="82"/>
                      </a:lnTo>
                      <a:lnTo>
                        <a:pt x="33" y="85"/>
                      </a:lnTo>
                      <a:lnTo>
                        <a:pt x="33" y="89"/>
                      </a:lnTo>
                      <a:lnTo>
                        <a:pt x="32" y="93"/>
                      </a:lnTo>
                      <a:lnTo>
                        <a:pt x="33" y="96"/>
                      </a:lnTo>
                      <a:lnTo>
                        <a:pt x="38" y="106"/>
                      </a:lnTo>
                      <a:lnTo>
                        <a:pt x="45" y="114"/>
                      </a:lnTo>
                      <a:lnTo>
                        <a:pt x="47" y="119"/>
                      </a:lnTo>
                      <a:lnTo>
                        <a:pt x="49" y="122"/>
                      </a:lnTo>
                      <a:lnTo>
                        <a:pt x="49" y="127"/>
                      </a:lnTo>
                      <a:lnTo>
                        <a:pt x="47" y="132"/>
                      </a:lnTo>
                      <a:lnTo>
                        <a:pt x="38" y="123"/>
                      </a:lnTo>
                      <a:lnTo>
                        <a:pt x="33" y="120"/>
                      </a:lnTo>
                      <a:lnTo>
                        <a:pt x="30" y="120"/>
                      </a:lnTo>
                      <a:lnTo>
                        <a:pt x="27" y="120"/>
                      </a:lnTo>
                      <a:lnTo>
                        <a:pt x="23" y="121"/>
                      </a:lnTo>
                      <a:lnTo>
                        <a:pt x="21" y="123"/>
                      </a:lnTo>
                      <a:lnTo>
                        <a:pt x="19" y="126"/>
                      </a:lnTo>
                      <a:lnTo>
                        <a:pt x="18" y="128"/>
                      </a:lnTo>
                      <a:lnTo>
                        <a:pt x="18" y="135"/>
                      </a:lnTo>
                      <a:lnTo>
                        <a:pt x="19" y="141"/>
                      </a:lnTo>
                      <a:lnTo>
                        <a:pt x="19" y="145"/>
                      </a:lnTo>
                      <a:lnTo>
                        <a:pt x="18" y="147"/>
                      </a:lnTo>
                      <a:lnTo>
                        <a:pt x="17" y="151"/>
                      </a:lnTo>
                      <a:lnTo>
                        <a:pt x="18" y="154"/>
                      </a:lnTo>
                      <a:lnTo>
                        <a:pt x="17" y="157"/>
                      </a:lnTo>
                      <a:lnTo>
                        <a:pt x="16" y="160"/>
                      </a:lnTo>
                      <a:lnTo>
                        <a:pt x="14" y="163"/>
                      </a:lnTo>
                      <a:lnTo>
                        <a:pt x="13" y="166"/>
                      </a:lnTo>
                      <a:lnTo>
                        <a:pt x="16" y="168"/>
                      </a:lnTo>
                      <a:lnTo>
                        <a:pt x="17" y="168"/>
                      </a:lnTo>
                      <a:lnTo>
                        <a:pt x="19" y="168"/>
                      </a:lnTo>
                      <a:lnTo>
                        <a:pt x="21" y="170"/>
                      </a:lnTo>
                      <a:lnTo>
                        <a:pt x="21" y="171"/>
                      </a:lnTo>
                      <a:lnTo>
                        <a:pt x="21" y="174"/>
                      </a:lnTo>
                      <a:lnTo>
                        <a:pt x="22" y="176"/>
                      </a:lnTo>
                      <a:lnTo>
                        <a:pt x="30" y="177"/>
                      </a:lnTo>
                      <a:lnTo>
                        <a:pt x="31" y="178"/>
                      </a:lnTo>
                      <a:lnTo>
                        <a:pt x="32" y="179"/>
                      </a:lnTo>
                      <a:lnTo>
                        <a:pt x="32" y="181"/>
                      </a:lnTo>
                      <a:lnTo>
                        <a:pt x="31" y="18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1" name="Freeform 76"/>
                <p:cNvSpPr>
                  <a:spLocks/>
                </p:cNvSpPr>
                <p:nvPr/>
              </p:nvSpPr>
              <p:spPr bwMode="auto">
                <a:xfrm>
                  <a:off x="8606459" y="4279474"/>
                  <a:ext cx="7399" cy="8879"/>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5"/>
                      </a:moveTo>
                      <a:lnTo>
                        <a:pt x="5" y="2"/>
                      </a:lnTo>
                      <a:lnTo>
                        <a:pt x="4" y="1"/>
                      </a:lnTo>
                      <a:lnTo>
                        <a:pt x="2" y="0"/>
                      </a:lnTo>
                      <a:lnTo>
                        <a:pt x="1" y="0"/>
                      </a:lnTo>
                      <a:lnTo>
                        <a:pt x="0" y="2"/>
                      </a:lnTo>
                      <a:lnTo>
                        <a:pt x="0" y="3"/>
                      </a:lnTo>
                      <a:lnTo>
                        <a:pt x="1" y="6"/>
                      </a:lnTo>
                      <a:lnTo>
                        <a:pt x="2" y="6"/>
                      </a:lnTo>
                      <a:lnTo>
                        <a:pt x="4" y="6"/>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2" name="Freeform 77"/>
                <p:cNvSpPr>
                  <a:spLocks/>
                </p:cNvSpPr>
                <p:nvPr/>
              </p:nvSpPr>
              <p:spPr bwMode="auto">
                <a:xfrm>
                  <a:off x="8593136" y="4312031"/>
                  <a:ext cx="7400" cy="8879"/>
                </a:xfrm>
                <a:custGeom>
                  <a:avLst/>
                  <a:gdLst>
                    <a:gd name="T0" fmla="*/ 2147483647 w 5"/>
                    <a:gd name="T1" fmla="*/ 2147483647 h 6"/>
                    <a:gd name="T2" fmla="*/ 2147483647 w 5"/>
                    <a:gd name="T3" fmla="*/ 0 h 6"/>
                    <a:gd name="T4" fmla="*/ 2147483647 w 5"/>
                    <a:gd name="T5" fmla="*/ 0 h 6"/>
                    <a:gd name="T6" fmla="*/ 2147483647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3"/>
                      </a:moveTo>
                      <a:lnTo>
                        <a:pt x="5" y="0"/>
                      </a:lnTo>
                      <a:lnTo>
                        <a:pt x="2" y="0"/>
                      </a:lnTo>
                      <a:lnTo>
                        <a:pt x="1" y="1"/>
                      </a:lnTo>
                      <a:lnTo>
                        <a:pt x="0" y="4"/>
                      </a:lnTo>
                      <a:lnTo>
                        <a:pt x="1" y="5"/>
                      </a:lnTo>
                      <a:lnTo>
                        <a:pt x="2" y="6"/>
                      </a:lnTo>
                      <a:lnTo>
                        <a:pt x="3" y="6"/>
                      </a:lnTo>
                      <a:lnTo>
                        <a:pt x="5" y="5"/>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3" name="Freeform 78"/>
                <p:cNvSpPr>
                  <a:spLocks/>
                </p:cNvSpPr>
                <p:nvPr/>
              </p:nvSpPr>
              <p:spPr bwMode="auto">
                <a:xfrm>
                  <a:off x="8603497" y="4277995"/>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0 h 6"/>
                    <a:gd name="T12" fmla="*/ 2147483647 w 6"/>
                    <a:gd name="T13" fmla="*/ 0 h 6"/>
                    <a:gd name="T14" fmla="*/ 0 w 6"/>
                    <a:gd name="T15" fmla="*/ 2147483647 h 6"/>
                    <a:gd name="T16" fmla="*/ 0 w 6"/>
                    <a:gd name="T17" fmla="*/ 2147483647 h 6"/>
                    <a:gd name="T18" fmla="*/ 0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2147483647 w 6"/>
                    <a:gd name="T31" fmla="*/ 2147483647 h 6"/>
                    <a:gd name="T32" fmla="*/ 2147483647 w 6"/>
                    <a:gd name="T33" fmla="*/ 2147483647 h 6"/>
                    <a:gd name="T34" fmla="*/ 2147483647 w 6"/>
                    <a:gd name="T35" fmla="*/ 2147483647 h 6"/>
                    <a:gd name="T36" fmla="*/ 2147483647 w 6"/>
                    <a:gd name="T37" fmla="*/ 2147483647 h 6"/>
                    <a:gd name="T38" fmla="*/ 2147483647 w 6"/>
                    <a:gd name="T39" fmla="*/ 2147483647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6"/>
                    <a:gd name="T62" fmla="*/ 6 w 6"/>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6">
                      <a:moveTo>
                        <a:pt x="6" y="4"/>
                      </a:moveTo>
                      <a:lnTo>
                        <a:pt x="6" y="4"/>
                      </a:lnTo>
                      <a:lnTo>
                        <a:pt x="6" y="2"/>
                      </a:lnTo>
                      <a:lnTo>
                        <a:pt x="4" y="1"/>
                      </a:lnTo>
                      <a:lnTo>
                        <a:pt x="3" y="0"/>
                      </a:lnTo>
                      <a:lnTo>
                        <a:pt x="2" y="0"/>
                      </a:lnTo>
                      <a:lnTo>
                        <a:pt x="0" y="2"/>
                      </a:lnTo>
                      <a:lnTo>
                        <a:pt x="0" y="3"/>
                      </a:lnTo>
                      <a:lnTo>
                        <a:pt x="2" y="6"/>
                      </a:lnTo>
                      <a:lnTo>
                        <a:pt x="3" y="6"/>
                      </a:lnTo>
                      <a:lnTo>
                        <a:pt x="4" y="6"/>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4" name="Freeform 79"/>
                <p:cNvSpPr>
                  <a:spLocks/>
                </p:cNvSpPr>
                <p:nvPr/>
              </p:nvSpPr>
              <p:spPr bwMode="auto">
                <a:xfrm>
                  <a:off x="8590177" y="4310552"/>
                  <a:ext cx="7400" cy="8879"/>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2147483647 w 5"/>
                    <a:gd name="T11" fmla="*/ 2147483647 h 6"/>
                    <a:gd name="T12" fmla="*/ 2147483647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2"/>
                      </a:moveTo>
                      <a:lnTo>
                        <a:pt x="5" y="2"/>
                      </a:lnTo>
                      <a:lnTo>
                        <a:pt x="5" y="0"/>
                      </a:lnTo>
                      <a:lnTo>
                        <a:pt x="3" y="0"/>
                      </a:lnTo>
                      <a:lnTo>
                        <a:pt x="2" y="1"/>
                      </a:lnTo>
                      <a:lnTo>
                        <a:pt x="0" y="4"/>
                      </a:lnTo>
                      <a:lnTo>
                        <a:pt x="2" y="5"/>
                      </a:lnTo>
                      <a:lnTo>
                        <a:pt x="3" y="6"/>
                      </a:lnTo>
                      <a:lnTo>
                        <a:pt x="4" y="6"/>
                      </a:lnTo>
                      <a:lnTo>
                        <a:pt x="5" y="5"/>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5" name="Freeform 80"/>
                <p:cNvSpPr>
                  <a:spLocks/>
                </p:cNvSpPr>
                <p:nvPr/>
              </p:nvSpPr>
              <p:spPr bwMode="auto">
                <a:xfrm>
                  <a:off x="8615335" y="4331270"/>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0 w 5"/>
                    <a:gd name="T9" fmla="*/ 2147483647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4"/>
                      </a:moveTo>
                      <a:lnTo>
                        <a:pt x="5" y="3"/>
                      </a:lnTo>
                      <a:lnTo>
                        <a:pt x="4" y="2"/>
                      </a:lnTo>
                      <a:lnTo>
                        <a:pt x="1" y="0"/>
                      </a:lnTo>
                      <a:lnTo>
                        <a:pt x="0" y="2"/>
                      </a:lnTo>
                      <a:lnTo>
                        <a:pt x="0" y="4"/>
                      </a:lnTo>
                      <a:lnTo>
                        <a:pt x="0" y="5"/>
                      </a:lnTo>
                      <a:lnTo>
                        <a:pt x="1" y="6"/>
                      </a:lnTo>
                      <a:lnTo>
                        <a:pt x="3" y="6"/>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6" name="Freeform 81"/>
                <p:cNvSpPr>
                  <a:spLocks/>
                </p:cNvSpPr>
                <p:nvPr/>
              </p:nvSpPr>
              <p:spPr bwMode="auto">
                <a:xfrm>
                  <a:off x="8640492" y="4354947"/>
                  <a:ext cx="7400" cy="5919"/>
                </a:xfrm>
                <a:custGeom>
                  <a:avLst/>
                  <a:gdLst>
                    <a:gd name="T0" fmla="*/ 2147483647 w 5"/>
                    <a:gd name="T1" fmla="*/ 2147483647 h 4"/>
                    <a:gd name="T2" fmla="*/ 2147483647 w 5"/>
                    <a:gd name="T3" fmla="*/ 2147483647 h 4"/>
                    <a:gd name="T4" fmla="*/ 2147483647 w 5"/>
                    <a:gd name="T5" fmla="*/ 0 h 4"/>
                    <a:gd name="T6" fmla="*/ 2147483647 w 5"/>
                    <a:gd name="T7" fmla="*/ 0 h 4"/>
                    <a:gd name="T8" fmla="*/ 0 w 5"/>
                    <a:gd name="T9" fmla="*/ 2147483647 h 4"/>
                    <a:gd name="T10" fmla="*/ 0 w 5"/>
                    <a:gd name="T11" fmla="*/ 2147483647 h 4"/>
                    <a:gd name="T12" fmla="*/ 2147483647 w 5"/>
                    <a:gd name="T13" fmla="*/ 2147483647 h 4"/>
                    <a:gd name="T14" fmla="*/ 2147483647 w 5"/>
                    <a:gd name="T15" fmla="*/ 2147483647 h 4"/>
                    <a:gd name="T16" fmla="*/ 2147483647 w 5"/>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5" y="2"/>
                      </a:moveTo>
                      <a:lnTo>
                        <a:pt x="5" y="1"/>
                      </a:lnTo>
                      <a:lnTo>
                        <a:pt x="4" y="0"/>
                      </a:lnTo>
                      <a:lnTo>
                        <a:pt x="1" y="0"/>
                      </a:lnTo>
                      <a:lnTo>
                        <a:pt x="0" y="1"/>
                      </a:lnTo>
                      <a:lnTo>
                        <a:pt x="0" y="2"/>
                      </a:lnTo>
                      <a:lnTo>
                        <a:pt x="1" y="3"/>
                      </a:lnTo>
                      <a:lnTo>
                        <a:pt x="4" y="4"/>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7" name="Freeform 82"/>
                <p:cNvSpPr>
                  <a:spLocks/>
                </p:cNvSpPr>
                <p:nvPr/>
              </p:nvSpPr>
              <p:spPr bwMode="auto">
                <a:xfrm>
                  <a:off x="8613855" y="4329790"/>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0 h 6"/>
                    <a:gd name="T12" fmla="*/ 0 w 5"/>
                    <a:gd name="T13" fmla="*/ 2147483647 h 6"/>
                    <a:gd name="T14" fmla="*/ 0 w 5"/>
                    <a:gd name="T15" fmla="*/ 2147483647 h 6"/>
                    <a:gd name="T16" fmla="*/ 0 w 5"/>
                    <a:gd name="T17" fmla="*/ 2147483647 h 6"/>
                    <a:gd name="T18" fmla="*/ 0 w 5"/>
                    <a:gd name="T19" fmla="*/ 2147483647 h 6"/>
                    <a:gd name="T20" fmla="*/ 0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4"/>
                      </a:moveTo>
                      <a:lnTo>
                        <a:pt x="5" y="4"/>
                      </a:lnTo>
                      <a:lnTo>
                        <a:pt x="5" y="3"/>
                      </a:lnTo>
                      <a:lnTo>
                        <a:pt x="4" y="1"/>
                      </a:lnTo>
                      <a:lnTo>
                        <a:pt x="1" y="0"/>
                      </a:lnTo>
                      <a:lnTo>
                        <a:pt x="0" y="1"/>
                      </a:lnTo>
                      <a:lnTo>
                        <a:pt x="0" y="4"/>
                      </a:lnTo>
                      <a:lnTo>
                        <a:pt x="0" y="5"/>
                      </a:lnTo>
                      <a:lnTo>
                        <a:pt x="1" y="6"/>
                      </a:lnTo>
                      <a:lnTo>
                        <a:pt x="2" y="6"/>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8" name="Freeform 83"/>
                <p:cNvSpPr>
                  <a:spLocks/>
                </p:cNvSpPr>
                <p:nvPr/>
              </p:nvSpPr>
              <p:spPr bwMode="auto">
                <a:xfrm>
                  <a:off x="8639017" y="4353467"/>
                  <a:ext cx="7399" cy="5919"/>
                </a:xfrm>
                <a:custGeom>
                  <a:avLst/>
                  <a:gdLst>
                    <a:gd name="T0" fmla="*/ 2147483647 w 5"/>
                    <a:gd name="T1" fmla="*/ 2147483647 h 4"/>
                    <a:gd name="T2" fmla="*/ 2147483647 w 5"/>
                    <a:gd name="T3" fmla="*/ 2147483647 h 4"/>
                    <a:gd name="T4" fmla="*/ 2147483647 w 5"/>
                    <a:gd name="T5" fmla="*/ 2147483647 h 4"/>
                    <a:gd name="T6" fmla="*/ 2147483647 w 5"/>
                    <a:gd name="T7" fmla="*/ 0 h 4"/>
                    <a:gd name="T8" fmla="*/ 2147483647 w 5"/>
                    <a:gd name="T9" fmla="*/ 0 h 4"/>
                    <a:gd name="T10" fmla="*/ 2147483647 w 5"/>
                    <a:gd name="T11" fmla="*/ 0 h 4"/>
                    <a:gd name="T12" fmla="*/ 0 w 5"/>
                    <a:gd name="T13" fmla="*/ 2147483647 h 4"/>
                    <a:gd name="T14" fmla="*/ 0 w 5"/>
                    <a:gd name="T15" fmla="*/ 2147483647 h 4"/>
                    <a:gd name="T16" fmla="*/ 0 w 5"/>
                    <a:gd name="T17" fmla="*/ 2147483647 h 4"/>
                    <a:gd name="T18" fmla="*/ 2147483647 w 5"/>
                    <a:gd name="T19" fmla="*/ 2147483647 h 4"/>
                    <a:gd name="T20" fmla="*/ 2147483647 w 5"/>
                    <a:gd name="T21" fmla="*/ 2147483647 h 4"/>
                    <a:gd name="T22" fmla="*/ 2147483647 w 5"/>
                    <a:gd name="T23" fmla="*/ 2147483647 h 4"/>
                    <a:gd name="T24" fmla="*/ 2147483647 w 5"/>
                    <a:gd name="T25" fmla="*/ 2147483647 h 4"/>
                    <a:gd name="T26" fmla="*/ 2147483647 w 5"/>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4"/>
                    <a:gd name="T44" fmla="*/ 5 w 5"/>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4">
                      <a:moveTo>
                        <a:pt x="5" y="2"/>
                      </a:moveTo>
                      <a:lnTo>
                        <a:pt x="5" y="2"/>
                      </a:lnTo>
                      <a:lnTo>
                        <a:pt x="5" y="1"/>
                      </a:lnTo>
                      <a:lnTo>
                        <a:pt x="4" y="0"/>
                      </a:lnTo>
                      <a:lnTo>
                        <a:pt x="1" y="0"/>
                      </a:lnTo>
                      <a:lnTo>
                        <a:pt x="0" y="1"/>
                      </a:lnTo>
                      <a:lnTo>
                        <a:pt x="0" y="2"/>
                      </a:lnTo>
                      <a:lnTo>
                        <a:pt x="1" y="3"/>
                      </a:lnTo>
                      <a:lnTo>
                        <a:pt x="4" y="4"/>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89" name="Freeform 84"/>
                <p:cNvSpPr>
                  <a:spLocks/>
                </p:cNvSpPr>
                <p:nvPr/>
              </p:nvSpPr>
              <p:spPr bwMode="auto">
                <a:xfrm>
                  <a:off x="8569458" y="4374182"/>
                  <a:ext cx="7400" cy="11839"/>
                </a:xfrm>
                <a:custGeom>
                  <a:avLst/>
                  <a:gdLst>
                    <a:gd name="T0" fmla="*/ 2147483647 w 5"/>
                    <a:gd name="T1" fmla="*/ 2147483647 h 8"/>
                    <a:gd name="T2" fmla="*/ 2147483647 w 5"/>
                    <a:gd name="T3" fmla="*/ 2147483647 h 8"/>
                    <a:gd name="T4" fmla="*/ 2147483647 w 5"/>
                    <a:gd name="T5" fmla="*/ 0 h 8"/>
                    <a:gd name="T6" fmla="*/ 2147483647 w 5"/>
                    <a:gd name="T7" fmla="*/ 0 h 8"/>
                    <a:gd name="T8" fmla="*/ 2147483647 w 5"/>
                    <a:gd name="T9" fmla="*/ 2147483647 h 8"/>
                    <a:gd name="T10" fmla="*/ 0 w 5"/>
                    <a:gd name="T11" fmla="*/ 2147483647 h 8"/>
                    <a:gd name="T12" fmla="*/ 2147483647 w 5"/>
                    <a:gd name="T13" fmla="*/ 2147483647 h 8"/>
                    <a:gd name="T14" fmla="*/ 2147483647 w 5"/>
                    <a:gd name="T15" fmla="*/ 2147483647 h 8"/>
                    <a:gd name="T16" fmla="*/ 2147483647 w 5"/>
                    <a:gd name="T17" fmla="*/ 2147483647 h 8"/>
                    <a:gd name="T18" fmla="*/ 2147483647 w 5"/>
                    <a:gd name="T19" fmla="*/ 2147483647 h 8"/>
                    <a:gd name="T20" fmla="*/ 2147483647 w 5"/>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8"/>
                    <a:gd name="T35" fmla="*/ 5 w 5"/>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8">
                      <a:moveTo>
                        <a:pt x="5" y="5"/>
                      </a:moveTo>
                      <a:lnTo>
                        <a:pt x="5" y="1"/>
                      </a:lnTo>
                      <a:lnTo>
                        <a:pt x="4" y="0"/>
                      </a:lnTo>
                      <a:lnTo>
                        <a:pt x="3" y="0"/>
                      </a:lnTo>
                      <a:lnTo>
                        <a:pt x="1" y="1"/>
                      </a:lnTo>
                      <a:lnTo>
                        <a:pt x="0" y="3"/>
                      </a:lnTo>
                      <a:lnTo>
                        <a:pt x="1" y="6"/>
                      </a:lnTo>
                      <a:lnTo>
                        <a:pt x="3" y="8"/>
                      </a:lnTo>
                      <a:lnTo>
                        <a:pt x="4" y="8"/>
                      </a:lnTo>
                      <a:lnTo>
                        <a:pt x="4" y="7"/>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0" name="Freeform 85"/>
                <p:cNvSpPr>
                  <a:spLocks/>
                </p:cNvSpPr>
                <p:nvPr/>
              </p:nvSpPr>
              <p:spPr bwMode="auto">
                <a:xfrm>
                  <a:off x="8639016" y="4397861"/>
                  <a:ext cx="8879" cy="10360"/>
                </a:xfrm>
                <a:custGeom>
                  <a:avLst/>
                  <a:gdLst>
                    <a:gd name="T0" fmla="*/ 2147483647 w 6"/>
                    <a:gd name="T1" fmla="*/ 2147483647 h 7"/>
                    <a:gd name="T2" fmla="*/ 2147483647 w 6"/>
                    <a:gd name="T3" fmla="*/ 2147483647 h 7"/>
                    <a:gd name="T4" fmla="*/ 2147483647 w 6"/>
                    <a:gd name="T5" fmla="*/ 0 h 7"/>
                    <a:gd name="T6" fmla="*/ 0 w 6"/>
                    <a:gd name="T7" fmla="*/ 0 h 7"/>
                    <a:gd name="T8" fmla="*/ 0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6"/>
                      </a:moveTo>
                      <a:lnTo>
                        <a:pt x="4" y="3"/>
                      </a:lnTo>
                      <a:lnTo>
                        <a:pt x="1" y="0"/>
                      </a:lnTo>
                      <a:lnTo>
                        <a:pt x="0" y="0"/>
                      </a:lnTo>
                      <a:lnTo>
                        <a:pt x="0" y="3"/>
                      </a:lnTo>
                      <a:lnTo>
                        <a:pt x="1" y="6"/>
                      </a:lnTo>
                      <a:lnTo>
                        <a:pt x="2" y="7"/>
                      </a:lnTo>
                      <a:lnTo>
                        <a:pt x="5" y="7"/>
                      </a:lnTo>
                      <a:lnTo>
                        <a:pt x="6" y="6"/>
                      </a:lnTo>
                      <a:lnTo>
                        <a:pt x="6" y="5"/>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1" name="Freeform 86"/>
                <p:cNvSpPr>
                  <a:spLocks/>
                </p:cNvSpPr>
                <p:nvPr/>
              </p:nvSpPr>
              <p:spPr bwMode="auto">
                <a:xfrm>
                  <a:off x="8567984" y="4372704"/>
                  <a:ext cx="7399" cy="11839"/>
                </a:xfrm>
                <a:custGeom>
                  <a:avLst/>
                  <a:gdLst>
                    <a:gd name="T0" fmla="*/ 2147483647 w 5"/>
                    <a:gd name="T1" fmla="*/ 2147483647 h 8"/>
                    <a:gd name="T2" fmla="*/ 2147483647 w 5"/>
                    <a:gd name="T3" fmla="*/ 2147483647 h 8"/>
                    <a:gd name="T4" fmla="*/ 2147483647 w 5"/>
                    <a:gd name="T5" fmla="*/ 2147483647 h 8"/>
                    <a:gd name="T6" fmla="*/ 2147483647 w 5"/>
                    <a:gd name="T7" fmla="*/ 0 h 8"/>
                    <a:gd name="T8" fmla="*/ 2147483647 w 5"/>
                    <a:gd name="T9" fmla="*/ 0 h 8"/>
                    <a:gd name="T10" fmla="*/ 2147483647 w 5"/>
                    <a:gd name="T11" fmla="*/ 0 h 8"/>
                    <a:gd name="T12" fmla="*/ 2147483647 w 5"/>
                    <a:gd name="T13" fmla="*/ 2147483647 h 8"/>
                    <a:gd name="T14" fmla="*/ 0 w 5"/>
                    <a:gd name="T15" fmla="*/ 2147483647 h 8"/>
                    <a:gd name="T16" fmla="*/ 2147483647 w 5"/>
                    <a:gd name="T17" fmla="*/ 2147483647 h 8"/>
                    <a:gd name="T18" fmla="*/ 2147483647 w 5"/>
                    <a:gd name="T19" fmla="*/ 2147483647 h 8"/>
                    <a:gd name="T20" fmla="*/ 2147483647 w 5"/>
                    <a:gd name="T21" fmla="*/ 2147483647 h 8"/>
                    <a:gd name="T22" fmla="*/ 2147483647 w 5"/>
                    <a:gd name="T23" fmla="*/ 2147483647 h 8"/>
                    <a:gd name="T24" fmla="*/ 2147483647 w 5"/>
                    <a:gd name="T25" fmla="*/ 2147483647 h 8"/>
                    <a:gd name="T26" fmla="*/ 2147483647 w 5"/>
                    <a:gd name="T27" fmla="*/ 2147483647 h 8"/>
                    <a:gd name="T28" fmla="*/ 2147483647 w 5"/>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8"/>
                    <a:gd name="T47" fmla="*/ 5 w 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8">
                      <a:moveTo>
                        <a:pt x="5" y="4"/>
                      </a:moveTo>
                      <a:lnTo>
                        <a:pt x="5" y="4"/>
                      </a:lnTo>
                      <a:lnTo>
                        <a:pt x="5" y="1"/>
                      </a:lnTo>
                      <a:lnTo>
                        <a:pt x="4" y="0"/>
                      </a:lnTo>
                      <a:lnTo>
                        <a:pt x="2" y="0"/>
                      </a:lnTo>
                      <a:lnTo>
                        <a:pt x="1" y="1"/>
                      </a:lnTo>
                      <a:lnTo>
                        <a:pt x="0" y="3"/>
                      </a:lnTo>
                      <a:lnTo>
                        <a:pt x="1" y="6"/>
                      </a:lnTo>
                      <a:lnTo>
                        <a:pt x="2" y="8"/>
                      </a:lnTo>
                      <a:lnTo>
                        <a:pt x="4" y="8"/>
                      </a:lnTo>
                      <a:lnTo>
                        <a:pt x="4" y="7"/>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2" name="Freeform 87"/>
                <p:cNvSpPr>
                  <a:spLocks/>
                </p:cNvSpPr>
                <p:nvPr/>
              </p:nvSpPr>
              <p:spPr bwMode="auto">
                <a:xfrm>
                  <a:off x="8637535" y="4396383"/>
                  <a:ext cx="8879" cy="10359"/>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2147483647 w 6"/>
                    <a:gd name="T9" fmla="*/ 0 h 7"/>
                    <a:gd name="T10" fmla="*/ 0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2147483647 w 6"/>
                    <a:gd name="T31" fmla="*/ 2147483647 h 7"/>
                    <a:gd name="T32" fmla="*/ 2147483647 w 6"/>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7"/>
                    <a:gd name="T53" fmla="*/ 6 w 6"/>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7">
                      <a:moveTo>
                        <a:pt x="6" y="6"/>
                      </a:moveTo>
                      <a:lnTo>
                        <a:pt x="6" y="6"/>
                      </a:lnTo>
                      <a:lnTo>
                        <a:pt x="3" y="3"/>
                      </a:lnTo>
                      <a:lnTo>
                        <a:pt x="1" y="0"/>
                      </a:lnTo>
                      <a:lnTo>
                        <a:pt x="0" y="0"/>
                      </a:lnTo>
                      <a:lnTo>
                        <a:pt x="0" y="3"/>
                      </a:lnTo>
                      <a:lnTo>
                        <a:pt x="1" y="6"/>
                      </a:lnTo>
                      <a:lnTo>
                        <a:pt x="2" y="7"/>
                      </a:lnTo>
                      <a:lnTo>
                        <a:pt x="5" y="7"/>
                      </a:lnTo>
                      <a:lnTo>
                        <a:pt x="6" y="6"/>
                      </a:lnTo>
                      <a:lnTo>
                        <a:pt x="6" y="5"/>
                      </a:lnTo>
                      <a:lnTo>
                        <a:pt x="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3" name="Freeform 88"/>
                <p:cNvSpPr>
                  <a:spLocks/>
                </p:cNvSpPr>
                <p:nvPr/>
              </p:nvSpPr>
              <p:spPr bwMode="auto">
                <a:xfrm>
                  <a:off x="8603496" y="4423022"/>
                  <a:ext cx="10359" cy="8879"/>
                </a:xfrm>
                <a:custGeom>
                  <a:avLst/>
                  <a:gdLst>
                    <a:gd name="T0" fmla="*/ 2147483647 w 7"/>
                    <a:gd name="T1" fmla="*/ 2147483647 h 6"/>
                    <a:gd name="T2" fmla="*/ 2147483647 w 7"/>
                    <a:gd name="T3" fmla="*/ 2147483647 h 6"/>
                    <a:gd name="T4" fmla="*/ 2147483647 w 7"/>
                    <a:gd name="T5" fmla="*/ 0 h 6"/>
                    <a:gd name="T6" fmla="*/ 2147483647 w 7"/>
                    <a:gd name="T7" fmla="*/ 0 h 6"/>
                    <a:gd name="T8" fmla="*/ 0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6"/>
                    <a:gd name="T32" fmla="*/ 7 w 7"/>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6">
                      <a:moveTo>
                        <a:pt x="7" y="5"/>
                      </a:moveTo>
                      <a:lnTo>
                        <a:pt x="4" y="1"/>
                      </a:lnTo>
                      <a:lnTo>
                        <a:pt x="3" y="0"/>
                      </a:lnTo>
                      <a:lnTo>
                        <a:pt x="2" y="0"/>
                      </a:lnTo>
                      <a:lnTo>
                        <a:pt x="0" y="2"/>
                      </a:lnTo>
                      <a:lnTo>
                        <a:pt x="0" y="4"/>
                      </a:lnTo>
                      <a:lnTo>
                        <a:pt x="2" y="5"/>
                      </a:lnTo>
                      <a:lnTo>
                        <a:pt x="3" y="6"/>
                      </a:lnTo>
                      <a:lnTo>
                        <a:pt x="6" y="6"/>
                      </a:lnTo>
                      <a:lnTo>
                        <a:pt x="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4" name="Freeform 89"/>
                <p:cNvSpPr>
                  <a:spLocks/>
                </p:cNvSpPr>
                <p:nvPr/>
              </p:nvSpPr>
              <p:spPr bwMode="auto">
                <a:xfrm>
                  <a:off x="8656772" y="4421543"/>
                  <a:ext cx="8879" cy="8879"/>
                </a:xfrm>
                <a:custGeom>
                  <a:avLst/>
                  <a:gdLst>
                    <a:gd name="T0" fmla="*/ 2147483647 w 6"/>
                    <a:gd name="T1" fmla="*/ 2147483647 h 6"/>
                    <a:gd name="T2" fmla="*/ 2147483647 w 6"/>
                    <a:gd name="T3" fmla="*/ 2147483647 h 6"/>
                    <a:gd name="T4" fmla="*/ 2147483647 w 6"/>
                    <a:gd name="T5" fmla="*/ 0 h 6"/>
                    <a:gd name="T6" fmla="*/ 2147483647 w 6"/>
                    <a:gd name="T7" fmla="*/ 0 h 6"/>
                    <a:gd name="T8" fmla="*/ 0 w 6"/>
                    <a:gd name="T9" fmla="*/ 2147483647 h 6"/>
                    <a:gd name="T10" fmla="*/ 0 w 6"/>
                    <a:gd name="T11" fmla="*/ 2147483647 h 6"/>
                    <a:gd name="T12" fmla="*/ 0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3"/>
                      </a:moveTo>
                      <a:lnTo>
                        <a:pt x="6" y="1"/>
                      </a:lnTo>
                      <a:lnTo>
                        <a:pt x="5" y="0"/>
                      </a:lnTo>
                      <a:lnTo>
                        <a:pt x="2" y="0"/>
                      </a:lnTo>
                      <a:lnTo>
                        <a:pt x="0" y="1"/>
                      </a:lnTo>
                      <a:lnTo>
                        <a:pt x="0" y="2"/>
                      </a:lnTo>
                      <a:lnTo>
                        <a:pt x="0" y="3"/>
                      </a:lnTo>
                      <a:lnTo>
                        <a:pt x="3" y="6"/>
                      </a:lnTo>
                      <a:lnTo>
                        <a:pt x="5" y="6"/>
                      </a:lnTo>
                      <a:lnTo>
                        <a:pt x="6" y="6"/>
                      </a:lnTo>
                      <a:lnTo>
                        <a:pt x="6"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5" name="Freeform 90"/>
                <p:cNvSpPr>
                  <a:spLocks/>
                </p:cNvSpPr>
                <p:nvPr/>
              </p:nvSpPr>
              <p:spPr bwMode="auto">
                <a:xfrm>
                  <a:off x="8602019" y="4421543"/>
                  <a:ext cx="10360" cy="8879"/>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0 h 6"/>
                    <a:gd name="T10" fmla="*/ 2147483647 w 7"/>
                    <a:gd name="T11" fmla="*/ 0 h 6"/>
                    <a:gd name="T12" fmla="*/ 0 w 7"/>
                    <a:gd name="T13" fmla="*/ 2147483647 h 6"/>
                    <a:gd name="T14" fmla="*/ 0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7" y="5"/>
                      </a:moveTo>
                      <a:lnTo>
                        <a:pt x="7" y="5"/>
                      </a:lnTo>
                      <a:lnTo>
                        <a:pt x="4" y="1"/>
                      </a:lnTo>
                      <a:lnTo>
                        <a:pt x="3" y="0"/>
                      </a:lnTo>
                      <a:lnTo>
                        <a:pt x="1" y="0"/>
                      </a:lnTo>
                      <a:lnTo>
                        <a:pt x="0" y="2"/>
                      </a:lnTo>
                      <a:lnTo>
                        <a:pt x="0" y="3"/>
                      </a:lnTo>
                      <a:lnTo>
                        <a:pt x="1" y="5"/>
                      </a:lnTo>
                      <a:lnTo>
                        <a:pt x="3" y="6"/>
                      </a:lnTo>
                      <a:lnTo>
                        <a:pt x="5" y="6"/>
                      </a:lnTo>
                      <a:lnTo>
                        <a:pt x="7"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6" name="Freeform 91"/>
                <p:cNvSpPr>
                  <a:spLocks/>
                </p:cNvSpPr>
                <p:nvPr/>
              </p:nvSpPr>
              <p:spPr bwMode="auto">
                <a:xfrm>
                  <a:off x="8655292" y="4420062"/>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0 h 6"/>
                    <a:gd name="T10" fmla="*/ 2147483647 w 7"/>
                    <a:gd name="T11" fmla="*/ 0 h 6"/>
                    <a:gd name="T12" fmla="*/ 0 w 7"/>
                    <a:gd name="T13" fmla="*/ 2147483647 h 6"/>
                    <a:gd name="T14" fmla="*/ 0 w 7"/>
                    <a:gd name="T15" fmla="*/ 2147483647 h 6"/>
                    <a:gd name="T16" fmla="*/ 0 w 7"/>
                    <a:gd name="T17" fmla="*/ 2147483647 h 6"/>
                    <a:gd name="T18" fmla="*/ 0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2147483647 w 7"/>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6"/>
                    <a:gd name="T50" fmla="*/ 7 w 7"/>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6">
                      <a:moveTo>
                        <a:pt x="7" y="3"/>
                      </a:moveTo>
                      <a:lnTo>
                        <a:pt x="7" y="3"/>
                      </a:lnTo>
                      <a:lnTo>
                        <a:pt x="7" y="1"/>
                      </a:lnTo>
                      <a:lnTo>
                        <a:pt x="5" y="0"/>
                      </a:lnTo>
                      <a:lnTo>
                        <a:pt x="3" y="0"/>
                      </a:lnTo>
                      <a:lnTo>
                        <a:pt x="0" y="1"/>
                      </a:lnTo>
                      <a:lnTo>
                        <a:pt x="0" y="2"/>
                      </a:lnTo>
                      <a:lnTo>
                        <a:pt x="0" y="3"/>
                      </a:lnTo>
                      <a:lnTo>
                        <a:pt x="4" y="6"/>
                      </a:lnTo>
                      <a:lnTo>
                        <a:pt x="5" y="6"/>
                      </a:lnTo>
                      <a:lnTo>
                        <a:pt x="7" y="6"/>
                      </a:lnTo>
                      <a:lnTo>
                        <a:pt x="7"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7" name="Freeform 92"/>
                <p:cNvSpPr>
                  <a:spLocks/>
                </p:cNvSpPr>
                <p:nvPr/>
              </p:nvSpPr>
              <p:spPr bwMode="auto">
                <a:xfrm>
                  <a:off x="8517667" y="4310549"/>
                  <a:ext cx="7399"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2147483647 w 5"/>
                    <a:gd name="T11" fmla="*/ 0 h 8"/>
                    <a:gd name="T12" fmla="*/ 0 w 5"/>
                    <a:gd name="T13" fmla="*/ 2147483647 h 8"/>
                    <a:gd name="T14" fmla="*/ 0 w 5"/>
                    <a:gd name="T15" fmla="*/ 2147483647 h 8"/>
                    <a:gd name="T16" fmla="*/ 0 w 5"/>
                    <a:gd name="T17" fmla="*/ 2147483647 h 8"/>
                    <a:gd name="T18" fmla="*/ 2147483647 w 5"/>
                    <a:gd name="T19" fmla="*/ 2147483647 h 8"/>
                    <a:gd name="T20" fmla="*/ 2147483647 w 5"/>
                    <a:gd name="T21" fmla="*/ 2147483647 h 8"/>
                    <a:gd name="T22" fmla="*/ 2147483647 w 5"/>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8"/>
                    <a:gd name="T38" fmla="*/ 5 w 5"/>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8">
                      <a:moveTo>
                        <a:pt x="5" y="5"/>
                      </a:moveTo>
                      <a:lnTo>
                        <a:pt x="4" y="2"/>
                      </a:lnTo>
                      <a:lnTo>
                        <a:pt x="4" y="1"/>
                      </a:lnTo>
                      <a:lnTo>
                        <a:pt x="2" y="1"/>
                      </a:lnTo>
                      <a:lnTo>
                        <a:pt x="2" y="0"/>
                      </a:lnTo>
                      <a:lnTo>
                        <a:pt x="1" y="0"/>
                      </a:lnTo>
                      <a:lnTo>
                        <a:pt x="0" y="1"/>
                      </a:lnTo>
                      <a:lnTo>
                        <a:pt x="0" y="2"/>
                      </a:lnTo>
                      <a:lnTo>
                        <a:pt x="0" y="5"/>
                      </a:lnTo>
                      <a:lnTo>
                        <a:pt x="4" y="8"/>
                      </a:lnTo>
                      <a:lnTo>
                        <a:pt x="5" y="7"/>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8" name="Freeform 93"/>
                <p:cNvSpPr>
                  <a:spLocks/>
                </p:cNvSpPr>
                <p:nvPr/>
              </p:nvSpPr>
              <p:spPr bwMode="auto">
                <a:xfrm>
                  <a:off x="8008587" y="4208439"/>
                  <a:ext cx="11839" cy="17758"/>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0 w 9"/>
                    <a:gd name="T9" fmla="*/ 2147483647 h 12"/>
                    <a:gd name="T10" fmla="*/ 0 w 9"/>
                    <a:gd name="T11" fmla="*/ 2147483647 h 12"/>
                    <a:gd name="T12" fmla="*/ 2147483647 w 9"/>
                    <a:gd name="T13" fmla="*/ 2147483647 h 12"/>
                    <a:gd name="T14" fmla="*/ 2147483647 w 9"/>
                    <a:gd name="T15" fmla="*/ 0 h 12"/>
                    <a:gd name="T16" fmla="*/ 2147483647 w 9"/>
                    <a:gd name="T17" fmla="*/ 0 h 12"/>
                    <a:gd name="T18" fmla="*/ 2147483647 w 9"/>
                    <a:gd name="T19" fmla="*/ 0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2"/>
                    <a:gd name="T44" fmla="*/ 9 w 9"/>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2">
                      <a:moveTo>
                        <a:pt x="6" y="7"/>
                      </a:moveTo>
                      <a:lnTo>
                        <a:pt x="3" y="11"/>
                      </a:lnTo>
                      <a:lnTo>
                        <a:pt x="2" y="12"/>
                      </a:lnTo>
                      <a:lnTo>
                        <a:pt x="1" y="12"/>
                      </a:lnTo>
                      <a:lnTo>
                        <a:pt x="0" y="10"/>
                      </a:lnTo>
                      <a:lnTo>
                        <a:pt x="0" y="6"/>
                      </a:lnTo>
                      <a:lnTo>
                        <a:pt x="1" y="4"/>
                      </a:lnTo>
                      <a:lnTo>
                        <a:pt x="3" y="0"/>
                      </a:lnTo>
                      <a:lnTo>
                        <a:pt x="6" y="0"/>
                      </a:lnTo>
                      <a:lnTo>
                        <a:pt x="7" y="0"/>
                      </a:lnTo>
                      <a:lnTo>
                        <a:pt x="9" y="2"/>
                      </a:lnTo>
                      <a:lnTo>
                        <a:pt x="9" y="4"/>
                      </a:lnTo>
                      <a:lnTo>
                        <a:pt x="7" y="5"/>
                      </a:lnTo>
                      <a:lnTo>
                        <a:pt x="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99" name="Freeform 94"/>
                <p:cNvSpPr>
                  <a:spLocks/>
                </p:cNvSpPr>
                <p:nvPr/>
              </p:nvSpPr>
              <p:spPr bwMode="auto">
                <a:xfrm>
                  <a:off x="8516183" y="4309069"/>
                  <a:ext cx="7400"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2147483647 w 5"/>
                    <a:gd name="T11" fmla="*/ 2147483647 h 8"/>
                    <a:gd name="T12" fmla="*/ 2147483647 w 5"/>
                    <a:gd name="T13" fmla="*/ 0 h 8"/>
                    <a:gd name="T14" fmla="*/ 2147483647 w 5"/>
                    <a:gd name="T15" fmla="*/ 0 h 8"/>
                    <a:gd name="T16" fmla="*/ 2147483647 w 5"/>
                    <a:gd name="T17" fmla="*/ 0 h 8"/>
                    <a:gd name="T18" fmla="*/ 0 w 5"/>
                    <a:gd name="T19" fmla="*/ 2147483647 h 8"/>
                    <a:gd name="T20" fmla="*/ 0 w 5"/>
                    <a:gd name="T21" fmla="*/ 2147483647 h 8"/>
                    <a:gd name="T22" fmla="*/ 0 w 5"/>
                    <a:gd name="T23" fmla="*/ 2147483647 h 8"/>
                    <a:gd name="T24" fmla="*/ 0 w 5"/>
                    <a:gd name="T25" fmla="*/ 2147483647 h 8"/>
                    <a:gd name="T26" fmla="*/ 2147483647 w 5"/>
                    <a:gd name="T27" fmla="*/ 2147483647 h 8"/>
                    <a:gd name="T28" fmla="*/ 2147483647 w 5"/>
                    <a:gd name="T29" fmla="*/ 2147483647 h 8"/>
                    <a:gd name="T30" fmla="*/ 2147483647 w 5"/>
                    <a:gd name="T31" fmla="*/ 2147483647 h 8"/>
                    <a:gd name="T32" fmla="*/ 2147483647 w 5"/>
                    <a:gd name="T33" fmla="*/ 2147483647 h 8"/>
                    <a:gd name="T34" fmla="*/ 2147483647 w 5"/>
                    <a:gd name="T35" fmla="*/ 2147483647 h 8"/>
                    <a:gd name="T36" fmla="*/ 2147483647 w 5"/>
                    <a:gd name="T37" fmla="*/ 2147483647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
                    <a:gd name="T58" fmla="*/ 0 h 8"/>
                    <a:gd name="T59" fmla="*/ 5 w 5"/>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 h="8">
                      <a:moveTo>
                        <a:pt x="5" y="5"/>
                      </a:moveTo>
                      <a:lnTo>
                        <a:pt x="5" y="5"/>
                      </a:lnTo>
                      <a:lnTo>
                        <a:pt x="3" y="2"/>
                      </a:lnTo>
                      <a:lnTo>
                        <a:pt x="3" y="1"/>
                      </a:lnTo>
                      <a:lnTo>
                        <a:pt x="2" y="1"/>
                      </a:lnTo>
                      <a:lnTo>
                        <a:pt x="2" y="0"/>
                      </a:lnTo>
                      <a:lnTo>
                        <a:pt x="1" y="0"/>
                      </a:lnTo>
                      <a:lnTo>
                        <a:pt x="0" y="1"/>
                      </a:lnTo>
                      <a:lnTo>
                        <a:pt x="0" y="2"/>
                      </a:lnTo>
                      <a:lnTo>
                        <a:pt x="0" y="5"/>
                      </a:lnTo>
                      <a:lnTo>
                        <a:pt x="3" y="8"/>
                      </a:lnTo>
                      <a:lnTo>
                        <a:pt x="5" y="7"/>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0" name="Freeform 95"/>
                <p:cNvSpPr>
                  <a:spLocks/>
                </p:cNvSpPr>
                <p:nvPr/>
              </p:nvSpPr>
              <p:spPr bwMode="auto">
                <a:xfrm>
                  <a:off x="8005627" y="4206958"/>
                  <a:ext cx="11839" cy="17758"/>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2147483647 h 12"/>
                    <a:gd name="T12" fmla="*/ 0 w 9"/>
                    <a:gd name="T13" fmla="*/ 2147483647 h 12"/>
                    <a:gd name="T14" fmla="*/ 0 w 9"/>
                    <a:gd name="T15" fmla="*/ 2147483647 h 12"/>
                    <a:gd name="T16" fmla="*/ 2147483647 w 9"/>
                    <a:gd name="T17" fmla="*/ 2147483647 h 12"/>
                    <a:gd name="T18" fmla="*/ 2147483647 w 9"/>
                    <a:gd name="T19" fmla="*/ 0 h 12"/>
                    <a:gd name="T20" fmla="*/ 2147483647 w 9"/>
                    <a:gd name="T21" fmla="*/ 0 h 12"/>
                    <a:gd name="T22" fmla="*/ 2147483647 w 9"/>
                    <a:gd name="T23" fmla="*/ 0 h 12"/>
                    <a:gd name="T24" fmla="*/ 2147483647 w 9"/>
                    <a:gd name="T25" fmla="*/ 0 h 12"/>
                    <a:gd name="T26" fmla="*/ 2147483647 w 9"/>
                    <a:gd name="T27" fmla="*/ 2147483647 h 12"/>
                    <a:gd name="T28" fmla="*/ 2147483647 w 9"/>
                    <a:gd name="T29" fmla="*/ 2147483647 h 12"/>
                    <a:gd name="T30" fmla="*/ 2147483647 w 9"/>
                    <a:gd name="T31" fmla="*/ 2147483647 h 12"/>
                    <a:gd name="T32" fmla="*/ 2147483647 w 9"/>
                    <a:gd name="T33" fmla="*/ 2147483647 h 12"/>
                    <a:gd name="T34" fmla="*/ 2147483647 w 9"/>
                    <a:gd name="T35" fmla="*/ 2147483647 h 12"/>
                    <a:gd name="T36" fmla="*/ 2147483647 w 9"/>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2"/>
                    <a:gd name="T59" fmla="*/ 9 w 9"/>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2">
                      <a:moveTo>
                        <a:pt x="7" y="7"/>
                      </a:moveTo>
                      <a:lnTo>
                        <a:pt x="7" y="7"/>
                      </a:lnTo>
                      <a:lnTo>
                        <a:pt x="4" y="11"/>
                      </a:lnTo>
                      <a:lnTo>
                        <a:pt x="3" y="12"/>
                      </a:lnTo>
                      <a:lnTo>
                        <a:pt x="2" y="12"/>
                      </a:lnTo>
                      <a:lnTo>
                        <a:pt x="0" y="10"/>
                      </a:lnTo>
                      <a:lnTo>
                        <a:pt x="0" y="6"/>
                      </a:lnTo>
                      <a:lnTo>
                        <a:pt x="2" y="4"/>
                      </a:lnTo>
                      <a:lnTo>
                        <a:pt x="4" y="0"/>
                      </a:lnTo>
                      <a:lnTo>
                        <a:pt x="7" y="0"/>
                      </a:lnTo>
                      <a:lnTo>
                        <a:pt x="8" y="0"/>
                      </a:lnTo>
                      <a:lnTo>
                        <a:pt x="9" y="1"/>
                      </a:lnTo>
                      <a:lnTo>
                        <a:pt x="9" y="4"/>
                      </a:lnTo>
                      <a:lnTo>
                        <a:pt x="8" y="5"/>
                      </a:lnTo>
                      <a:lnTo>
                        <a:pt x="7"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1" name="Freeform 96"/>
                <p:cNvSpPr>
                  <a:spLocks/>
                </p:cNvSpPr>
                <p:nvPr/>
              </p:nvSpPr>
              <p:spPr bwMode="auto">
                <a:xfrm>
                  <a:off x="8032268" y="4169960"/>
                  <a:ext cx="5919" cy="7400"/>
                </a:xfrm>
                <a:custGeom>
                  <a:avLst/>
                  <a:gdLst>
                    <a:gd name="T0" fmla="*/ 2147483647 w 5"/>
                    <a:gd name="T1" fmla="*/ 2147483647 h 5"/>
                    <a:gd name="T2" fmla="*/ 2147483647 w 5"/>
                    <a:gd name="T3" fmla="*/ 0 h 5"/>
                    <a:gd name="T4" fmla="*/ 2147483647 w 5"/>
                    <a:gd name="T5" fmla="*/ 0 h 5"/>
                    <a:gd name="T6" fmla="*/ 2147483647 w 5"/>
                    <a:gd name="T7" fmla="*/ 0 h 5"/>
                    <a:gd name="T8" fmla="*/ 0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5"/>
                    <a:gd name="T32" fmla="*/ 5 w 5"/>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5">
                      <a:moveTo>
                        <a:pt x="5" y="3"/>
                      </a:moveTo>
                      <a:lnTo>
                        <a:pt x="4" y="0"/>
                      </a:lnTo>
                      <a:lnTo>
                        <a:pt x="3" y="0"/>
                      </a:lnTo>
                      <a:lnTo>
                        <a:pt x="2" y="0"/>
                      </a:lnTo>
                      <a:lnTo>
                        <a:pt x="0" y="1"/>
                      </a:lnTo>
                      <a:lnTo>
                        <a:pt x="0" y="3"/>
                      </a:lnTo>
                      <a:lnTo>
                        <a:pt x="3" y="5"/>
                      </a:lnTo>
                      <a:lnTo>
                        <a:pt x="4" y="5"/>
                      </a:lnTo>
                      <a:lnTo>
                        <a:pt x="5" y="4"/>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2" name="Freeform 97"/>
                <p:cNvSpPr>
                  <a:spLocks/>
                </p:cNvSpPr>
                <p:nvPr/>
              </p:nvSpPr>
              <p:spPr bwMode="auto">
                <a:xfrm>
                  <a:off x="8029306" y="4122608"/>
                  <a:ext cx="4439" cy="8879"/>
                </a:xfrm>
                <a:custGeom>
                  <a:avLst/>
                  <a:gdLst>
                    <a:gd name="T0" fmla="*/ 2147483647 w 4"/>
                    <a:gd name="T1" fmla="*/ 2147483647 h 6"/>
                    <a:gd name="T2" fmla="*/ 2147483647 w 4"/>
                    <a:gd name="T3" fmla="*/ 2147483647 h 6"/>
                    <a:gd name="T4" fmla="*/ 2147483647 w 4"/>
                    <a:gd name="T5" fmla="*/ 0 h 6"/>
                    <a:gd name="T6" fmla="*/ 0 w 4"/>
                    <a:gd name="T7" fmla="*/ 0 h 6"/>
                    <a:gd name="T8" fmla="*/ 0 w 4"/>
                    <a:gd name="T9" fmla="*/ 2147483647 h 6"/>
                    <a:gd name="T10" fmla="*/ 0 w 4"/>
                    <a:gd name="T11" fmla="*/ 2147483647 h 6"/>
                    <a:gd name="T12" fmla="*/ 2147483647 w 4"/>
                    <a:gd name="T13" fmla="*/ 2147483647 h 6"/>
                    <a:gd name="T14" fmla="*/ 2147483647 w 4"/>
                    <a:gd name="T15" fmla="*/ 2147483647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5"/>
                      </a:moveTo>
                      <a:lnTo>
                        <a:pt x="4" y="1"/>
                      </a:lnTo>
                      <a:lnTo>
                        <a:pt x="2" y="0"/>
                      </a:lnTo>
                      <a:lnTo>
                        <a:pt x="0" y="0"/>
                      </a:lnTo>
                      <a:lnTo>
                        <a:pt x="0" y="3"/>
                      </a:lnTo>
                      <a:lnTo>
                        <a:pt x="0" y="5"/>
                      </a:lnTo>
                      <a:lnTo>
                        <a:pt x="1" y="6"/>
                      </a:lnTo>
                      <a:lnTo>
                        <a:pt x="2" y="6"/>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3" name="Freeform 98"/>
                <p:cNvSpPr>
                  <a:spLocks/>
                </p:cNvSpPr>
                <p:nvPr/>
              </p:nvSpPr>
              <p:spPr bwMode="auto">
                <a:xfrm>
                  <a:off x="8030788" y="4168484"/>
                  <a:ext cx="5919" cy="7399"/>
                </a:xfrm>
                <a:custGeom>
                  <a:avLst/>
                  <a:gdLst>
                    <a:gd name="T0" fmla="*/ 2147483647 w 5"/>
                    <a:gd name="T1" fmla="*/ 2147483647 h 5"/>
                    <a:gd name="T2" fmla="*/ 2147483647 w 5"/>
                    <a:gd name="T3" fmla="*/ 2147483647 h 5"/>
                    <a:gd name="T4" fmla="*/ 2147483647 w 5"/>
                    <a:gd name="T5" fmla="*/ 0 h 5"/>
                    <a:gd name="T6" fmla="*/ 2147483647 w 5"/>
                    <a:gd name="T7" fmla="*/ 0 h 5"/>
                    <a:gd name="T8" fmla="*/ 2147483647 w 5"/>
                    <a:gd name="T9" fmla="*/ 0 h 5"/>
                    <a:gd name="T10" fmla="*/ 2147483647 w 5"/>
                    <a:gd name="T11" fmla="*/ 0 h 5"/>
                    <a:gd name="T12" fmla="*/ 0 w 5"/>
                    <a:gd name="T13" fmla="*/ 2147483647 h 5"/>
                    <a:gd name="T14" fmla="*/ 0 w 5"/>
                    <a:gd name="T15" fmla="*/ 2147483647 h 5"/>
                    <a:gd name="T16" fmla="*/ 2147483647 w 5"/>
                    <a:gd name="T17" fmla="*/ 2147483647 h 5"/>
                    <a:gd name="T18" fmla="*/ 2147483647 w 5"/>
                    <a:gd name="T19" fmla="*/ 2147483647 h 5"/>
                    <a:gd name="T20" fmla="*/ 2147483647 w 5"/>
                    <a:gd name="T21" fmla="*/ 2147483647 h 5"/>
                    <a:gd name="T22" fmla="*/ 2147483647 w 5"/>
                    <a:gd name="T23" fmla="*/ 2147483647 h 5"/>
                    <a:gd name="T24" fmla="*/ 2147483647 w 5"/>
                    <a:gd name="T25" fmla="*/ 2147483647 h 5"/>
                    <a:gd name="T26" fmla="*/ 2147483647 w 5"/>
                    <a:gd name="T27" fmla="*/ 2147483647 h 5"/>
                    <a:gd name="T28" fmla="*/ 2147483647 w 5"/>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5"/>
                    <a:gd name="T47" fmla="*/ 5 w 5"/>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5">
                      <a:moveTo>
                        <a:pt x="5" y="2"/>
                      </a:moveTo>
                      <a:lnTo>
                        <a:pt x="5" y="2"/>
                      </a:lnTo>
                      <a:lnTo>
                        <a:pt x="4" y="0"/>
                      </a:lnTo>
                      <a:lnTo>
                        <a:pt x="3" y="0"/>
                      </a:lnTo>
                      <a:lnTo>
                        <a:pt x="1" y="0"/>
                      </a:lnTo>
                      <a:lnTo>
                        <a:pt x="0" y="1"/>
                      </a:lnTo>
                      <a:lnTo>
                        <a:pt x="0" y="2"/>
                      </a:lnTo>
                      <a:lnTo>
                        <a:pt x="3" y="5"/>
                      </a:lnTo>
                      <a:lnTo>
                        <a:pt x="4" y="5"/>
                      </a:lnTo>
                      <a:lnTo>
                        <a:pt x="5" y="4"/>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4" name="Freeform 99"/>
                <p:cNvSpPr>
                  <a:spLocks/>
                </p:cNvSpPr>
                <p:nvPr/>
              </p:nvSpPr>
              <p:spPr bwMode="auto">
                <a:xfrm>
                  <a:off x="8027826" y="4121129"/>
                  <a:ext cx="4440" cy="8879"/>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2147483647 w 3"/>
                    <a:gd name="T9" fmla="*/ 0 h 6"/>
                    <a:gd name="T10" fmla="*/ 0 w 3"/>
                    <a:gd name="T11" fmla="*/ 0 h 6"/>
                    <a:gd name="T12" fmla="*/ 0 w 3"/>
                    <a:gd name="T13" fmla="*/ 0 h 6"/>
                    <a:gd name="T14" fmla="*/ 0 w 3"/>
                    <a:gd name="T15" fmla="*/ 2147483647 h 6"/>
                    <a:gd name="T16" fmla="*/ 0 w 3"/>
                    <a:gd name="T17" fmla="*/ 2147483647 h 6"/>
                    <a:gd name="T18" fmla="*/ 0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6"/>
                    <a:gd name="T47" fmla="*/ 3 w 3"/>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6">
                      <a:moveTo>
                        <a:pt x="3" y="5"/>
                      </a:moveTo>
                      <a:lnTo>
                        <a:pt x="3" y="5"/>
                      </a:lnTo>
                      <a:lnTo>
                        <a:pt x="3" y="1"/>
                      </a:lnTo>
                      <a:lnTo>
                        <a:pt x="2" y="0"/>
                      </a:lnTo>
                      <a:lnTo>
                        <a:pt x="0" y="0"/>
                      </a:lnTo>
                      <a:lnTo>
                        <a:pt x="0" y="2"/>
                      </a:lnTo>
                      <a:lnTo>
                        <a:pt x="0" y="5"/>
                      </a:lnTo>
                      <a:lnTo>
                        <a:pt x="1" y="6"/>
                      </a:lnTo>
                      <a:lnTo>
                        <a:pt x="2" y="6"/>
                      </a:lnTo>
                      <a:lnTo>
                        <a:pt x="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5" name="Freeform 100"/>
                <p:cNvSpPr>
                  <a:spLocks/>
                </p:cNvSpPr>
                <p:nvPr/>
              </p:nvSpPr>
              <p:spPr bwMode="auto">
                <a:xfrm>
                  <a:off x="8029309" y="4061930"/>
                  <a:ext cx="7399" cy="10359"/>
                </a:xfrm>
                <a:custGeom>
                  <a:avLst/>
                  <a:gdLst>
                    <a:gd name="T0" fmla="*/ 2147483647 w 6"/>
                    <a:gd name="T1" fmla="*/ 2147483647 h 7"/>
                    <a:gd name="T2" fmla="*/ 2147483647 w 6"/>
                    <a:gd name="T3" fmla="*/ 2147483647 h 7"/>
                    <a:gd name="T4" fmla="*/ 2147483647 w 6"/>
                    <a:gd name="T5" fmla="*/ 0 h 7"/>
                    <a:gd name="T6" fmla="*/ 2147483647 w 6"/>
                    <a:gd name="T7" fmla="*/ 0 h 7"/>
                    <a:gd name="T8" fmla="*/ 0 w 6"/>
                    <a:gd name="T9" fmla="*/ 2147483647 h 7"/>
                    <a:gd name="T10" fmla="*/ 0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7"/>
                    <a:gd name="T38" fmla="*/ 6 w 6"/>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7">
                      <a:moveTo>
                        <a:pt x="6" y="4"/>
                      </a:moveTo>
                      <a:lnTo>
                        <a:pt x="5" y="1"/>
                      </a:lnTo>
                      <a:lnTo>
                        <a:pt x="4" y="0"/>
                      </a:lnTo>
                      <a:lnTo>
                        <a:pt x="1" y="0"/>
                      </a:lnTo>
                      <a:lnTo>
                        <a:pt x="0" y="1"/>
                      </a:lnTo>
                      <a:lnTo>
                        <a:pt x="0" y="2"/>
                      </a:lnTo>
                      <a:lnTo>
                        <a:pt x="1" y="6"/>
                      </a:lnTo>
                      <a:lnTo>
                        <a:pt x="2" y="7"/>
                      </a:lnTo>
                      <a:lnTo>
                        <a:pt x="4" y="7"/>
                      </a:lnTo>
                      <a:lnTo>
                        <a:pt x="5" y="6"/>
                      </a:lnTo>
                      <a:lnTo>
                        <a:pt x="6" y="3"/>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6" name="Freeform 101"/>
                <p:cNvSpPr>
                  <a:spLocks/>
                </p:cNvSpPr>
                <p:nvPr/>
              </p:nvSpPr>
              <p:spPr bwMode="auto">
                <a:xfrm>
                  <a:off x="8015986" y="4005698"/>
                  <a:ext cx="7400" cy="8879"/>
                </a:xfrm>
                <a:custGeom>
                  <a:avLst/>
                  <a:gdLst>
                    <a:gd name="T0" fmla="*/ 2147483647 w 6"/>
                    <a:gd name="T1" fmla="*/ 2147483647 h 6"/>
                    <a:gd name="T2" fmla="*/ 2147483647 w 6"/>
                    <a:gd name="T3" fmla="*/ 0 h 6"/>
                    <a:gd name="T4" fmla="*/ 2147483647 w 6"/>
                    <a:gd name="T5" fmla="*/ 0 h 6"/>
                    <a:gd name="T6" fmla="*/ 2147483647 w 6"/>
                    <a:gd name="T7" fmla="*/ 0 h 6"/>
                    <a:gd name="T8" fmla="*/ 2147483647 w 6"/>
                    <a:gd name="T9" fmla="*/ 0 h 6"/>
                    <a:gd name="T10" fmla="*/ 0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3"/>
                      </a:moveTo>
                      <a:lnTo>
                        <a:pt x="5" y="0"/>
                      </a:lnTo>
                      <a:lnTo>
                        <a:pt x="4" y="0"/>
                      </a:lnTo>
                      <a:lnTo>
                        <a:pt x="2" y="0"/>
                      </a:lnTo>
                      <a:lnTo>
                        <a:pt x="1" y="0"/>
                      </a:lnTo>
                      <a:lnTo>
                        <a:pt x="0" y="1"/>
                      </a:lnTo>
                      <a:lnTo>
                        <a:pt x="1" y="5"/>
                      </a:lnTo>
                      <a:lnTo>
                        <a:pt x="2" y="6"/>
                      </a:lnTo>
                      <a:lnTo>
                        <a:pt x="5" y="6"/>
                      </a:lnTo>
                      <a:lnTo>
                        <a:pt x="5" y="5"/>
                      </a:lnTo>
                      <a:lnTo>
                        <a:pt x="6"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7" name="Freeform 102"/>
                <p:cNvSpPr>
                  <a:spLocks/>
                </p:cNvSpPr>
                <p:nvPr/>
              </p:nvSpPr>
              <p:spPr bwMode="auto">
                <a:xfrm>
                  <a:off x="8027825" y="4060450"/>
                  <a:ext cx="7400" cy="10360"/>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2147483647 w 6"/>
                    <a:gd name="T9" fmla="*/ 0 h 7"/>
                    <a:gd name="T10" fmla="*/ 2147483647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2147483647 w 6"/>
                    <a:gd name="T31" fmla="*/ 2147483647 h 7"/>
                    <a:gd name="T32" fmla="*/ 2147483647 w 6"/>
                    <a:gd name="T33" fmla="*/ 2147483647 h 7"/>
                    <a:gd name="T34" fmla="*/ 2147483647 w 6"/>
                    <a:gd name="T35" fmla="*/ 2147483647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7"/>
                    <a:gd name="T56" fmla="*/ 6 w 6"/>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7">
                      <a:moveTo>
                        <a:pt x="6" y="4"/>
                      </a:moveTo>
                      <a:lnTo>
                        <a:pt x="6" y="4"/>
                      </a:lnTo>
                      <a:lnTo>
                        <a:pt x="5" y="1"/>
                      </a:lnTo>
                      <a:lnTo>
                        <a:pt x="3" y="0"/>
                      </a:lnTo>
                      <a:lnTo>
                        <a:pt x="1" y="0"/>
                      </a:lnTo>
                      <a:lnTo>
                        <a:pt x="0" y="1"/>
                      </a:lnTo>
                      <a:lnTo>
                        <a:pt x="0" y="2"/>
                      </a:lnTo>
                      <a:lnTo>
                        <a:pt x="1" y="5"/>
                      </a:lnTo>
                      <a:lnTo>
                        <a:pt x="2" y="7"/>
                      </a:lnTo>
                      <a:lnTo>
                        <a:pt x="3" y="7"/>
                      </a:lnTo>
                      <a:lnTo>
                        <a:pt x="5" y="5"/>
                      </a:lnTo>
                      <a:lnTo>
                        <a:pt x="6" y="3"/>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8" name="Freeform 103"/>
                <p:cNvSpPr>
                  <a:spLocks/>
                </p:cNvSpPr>
                <p:nvPr/>
              </p:nvSpPr>
              <p:spPr bwMode="auto">
                <a:xfrm>
                  <a:off x="8013029" y="4004218"/>
                  <a:ext cx="8879" cy="8879"/>
                </a:xfrm>
                <a:custGeom>
                  <a:avLst/>
                  <a:gdLst>
                    <a:gd name="T0" fmla="*/ 2147483647 w 7"/>
                    <a:gd name="T1" fmla="*/ 2147483647 h 6"/>
                    <a:gd name="T2" fmla="*/ 2147483647 w 7"/>
                    <a:gd name="T3" fmla="*/ 2147483647 h 6"/>
                    <a:gd name="T4" fmla="*/ 2147483647 w 7"/>
                    <a:gd name="T5" fmla="*/ 0 h 6"/>
                    <a:gd name="T6" fmla="*/ 2147483647 w 7"/>
                    <a:gd name="T7" fmla="*/ 0 h 6"/>
                    <a:gd name="T8" fmla="*/ 2147483647 w 7"/>
                    <a:gd name="T9" fmla="*/ 0 h 6"/>
                    <a:gd name="T10" fmla="*/ 2147483647 w 7"/>
                    <a:gd name="T11" fmla="*/ 0 h 6"/>
                    <a:gd name="T12" fmla="*/ 2147483647 w 7"/>
                    <a:gd name="T13" fmla="*/ 0 h 6"/>
                    <a:gd name="T14" fmla="*/ 0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2147483647 w 7"/>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6"/>
                    <a:gd name="T50" fmla="*/ 7 w 7"/>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6">
                      <a:moveTo>
                        <a:pt x="7" y="3"/>
                      </a:moveTo>
                      <a:lnTo>
                        <a:pt x="7" y="3"/>
                      </a:lnTo>
                      <a:lnTo>
                        <a:pt x="6" y="0"/>
                      </a:lnTo>
                      <a:lnTo>
                        <a:pt x="4" y="0"/>
                      </a:lnTo>
                      <a:lnTo>
                        <a:pt x="3" y="0"/>
                      </a:lnTo>
                      <a:lnTo>
                        <a:pt x="2" y="0"/>
                      </a:lnTo>
                      <a:lnTo>
                        <a:pt x="0" y="1"/>
                      </a:lnTo>
                      <a:lnTo>
                        <a:pt x="2" y="4"/>
                      </a:lnTo>
                      <a:lnTo>
                        <a:pt x="3" y="6"/>
                      </a:lnTo>
                      <a:lnTo>
                        <a:pt x="6" y="6"/>
                      </a:lnTo>
                      <a:lnTo>
                        <a:pt x="6" y="4"/>
                      </a:lnTo>
                      <a:lnTo>
                        <a:pt x="7"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09" name="Freeform 104"/>
                <p:cNvSpPr>
                  <a:spLocks/>
                </p:cNvSpPr>
                <p:nvPr/>
              </p:nvSpPr>
              <p:spPr bwMode="auto">
                <a:xfrm>
                  <a:off x="8229090" y="3893228"/>
                  <a:ext cx="5919" cy="8879"/>
                </a:xfrm>
                <a:custGeom>
                  <a:avLst/>
                  <a:gdLst>
                    <a:gd name="T0" fmla="*/ 2147483647 w 5"/>
                    <a:gd name="T1" fmla="*/ 2147483647 h 6"/>
                    <a:gd name="T2" fmla="*/ 2147483647 w 5"/>
                    <a:gd name="T3" fmla="*/ 0 h 6"/>
                    <a:gd name="T4" fmla="*/ 2147483647 w 5"/>
                    <a:gd name="T5" fmla="*/ 0 h 6"/>
                    <a:gd name="T6" fmla="*/ 2147483647 w 5"/>
                    <a:gd name="T7" fmla="*/ 0 h 6"/>
                    <a:gd name="T8" fmla="*/ 2147483647 w 5"/>
                    <a:gd name="T9" fmla="*/ 2147483647 h 6"/>
                    <a:gd name="T10" fmla="*/ 0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5" y="3"/>
                      </a:moveTo>
                      <a:lnTo>
                        <a:pt x="5" y="0"/>
                      </a:lnTo>
                      <a:lnTo>
                        <a:pt x="4" y="0"/>
                      </a:lnTo>
                      <a:lnTo>
                        <a:pt x="2" y="0"/>
                      </a:lnTo>
                      <a:lnTo>
                        <a:pt x="1" y="1"/>
                      </a:lnTo>
                      <a:lnTo>
                        <a:pt x="0" y="2"/>
                      </a:lnTo>
                      <a:lnTo>
                        <a:pt x="1" y="5"/>
                      </a:lnTo>
                      <a:lnTo>
                        <a:pt x="2" y="6"/>
                      </a:lnTo>
                      <a:lnTo>
                        <a:pt x="4" y="6"/>
                      </a:lnTo>
                      <a:lnTo>
                        <a:pt x="5" y="5"/>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0" name="Freeform 105"/>
                <p:cNvSpPr>
                  <a:spLocks/>
                </p:cNvSpPr>
                <p:nvPr/>
              </p:nvSpPr>
              <p:spPr bwMode="auto">
                <a:xfrm>
                  <a:off x="7856163" y="4329789"/>
                  <a:ext cx="887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0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5" y="6"/>
                      </a:moveTo>
                      <a:lnTo>
                        <a:pt x="6" y="4"/>
                      </a:lnTo>
                      <a:lnTo>
                        <a:pt x="6" y="3"/>
                      </a:lnTo>
                      <a:lnTo>
                        <a:pt x="5" y="1"/>
                      </a:lnTo>
                      <a:lnTo>
                        <a:pt x="4" y="0"/>
                      </a:lnTo>
                      <a:lnTo>
                        <a:pt x="3" y="1"/>
                      </a:lnTo>
                      <a:lnTo>
                        <a:pt x="0" y="4"/>
                      </a:lnTo>
                      <a:lnTo>
                        <a:pt x="0" y="5"/>
                      </a:lnTo>
                      <a:lnTo>
                        <a:pt x="1" y="6"/>
                      </a:lnTo>
                      <a:lnTo>
                        <a:pt x="4" y="7"/>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1" name="Freeform 106"/>
                <p:cNvSpPr>
                  <a:spLocks/>
                </p:cNvSpPr>
                <p:nvPr/>
              </p:nvSpPr>
              <p:spPr bwMode="auto">
                <a:xfrm>
                  <a:off x="8227609" y="3891748"/>
                  <a:ext cx="5919" cy="8879"/>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2147483647 w 5"/>
                    <a:gd name="T11" fmla="*/ 0 h 6"/>
                    <a:gd name="T12" fmla="*/ 2147483647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3"/>
                      </a:moveTo>
                      <a:lnTo>
                        <a:pt x="5" y="3"/>
                      </a:lnTo>
                      <a:lnTo>
                        <a:pt x="5" y="0"/>
                      </a:lnTo>
                      <a:lnTo>
                        <a:pt x="3" y="0"/>
                      </a:lnTo>
                      <a:lnTo>
                        <a:pt x="2" y="0"/>
                      </a:lnTo>
                      <a:lnTo>
                        <a:pt x="1" y="1"/>
                      </a:lnTo>
                      <a:lnTo>
                        <a:pt x="0" y="2"/>
                      </a:lnTo>
                      <a:lnTo>
                        <a:pt x="1" y="4"/>
                      </a:lnTo>
                      <a:lnTo>
                        <a:pt x="2" y="6"/>
                      </a:lnTo>
                      <a:lnTo>
                        <a:pt x="3" y="6"/>
                      </a:lnTo>
                      <a:lnTo>
                        <a:pt x="5" y="4"/>
                      </a:lnTo>
                      <a:lnTo>
                        <a:pt x="5"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2" name="Freeform 107"/>
                <p:cNvSpPr>
                  <a:spLocks/>
                </p:cNvSpPr>
                <p:nvPr/>
              </p:nvSpPr>
              <p:spPr bwMode="auto">
                <a:xfrm>
                  <a:off x="7856160" y="4328310"/>
                  <a:ext cx="7400"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0 h 7"/>
                    <a:gd name="T14" fmla="*/ 2147483647 w 6"/>
                    <a:gd name="T15" fmla="*/ 2147483647 h 7"/>
                    <a:gd name="T16" fmla="*/ 0 w 6"/>
                    <a:gd name="T17" fmla="*/ 2147483647 h 7"/>
                    <a:gd name="T18" fmla="*/ 0 w 6"/>
                    <a:gd name="T19" fmla="*/ 2147483647 h 7"/>
                    <a:gd name="T20" fmla="*/ 0 w 6"/>
                    <a:gd name="T21" fmla="*/ 2147483647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5" y="6"/>
                      </a:moveTo>
                      <a:lnTo>
                        <a:pt x="5" y="6"/>
                      </a:lnTo>
                      <a:lnTo>
                        <a:pt x="6" y="4"/>
                      </a:lnTo>
                      <a:lnTo>
                        <a:pt x="6" y="2"/>
                      </a:lnTo>
                      <a:lnTo>
                        <a:pt x="5" y="1"/>
                      </a:lnTo>
                      <a:lnTo>
                        <a:pt x="4" y="0"/>
                      </a:lnTo>
                      <a:lnTo>
                        <a:pt x="2" y="1"/>
                      </a:lnTo>
                      <a:lnTo>
                        <a:pt x="0" y="4"/>
                      </a:lnTo>
                      <a:lnTo>
                        <a:pt x="0" y="5"/>
                      </a:lnTo>
                      <a:lnTo>
                        <a:pt x="1" y="6"/>
                      </a:lnTo>
                      <a:lnTo>
                        <a:pt x="4" y="7"/>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3" name="Freeform 108"/>
                <p:cNvSpPr>
                  <a:spLocks/>
                </p:cNvSpPr>
                <p:nvPr/>
              </p:nvSpPr>
              <p:spPr bwMode="auto">
                <a:xfrm>
                  <a:off x="7773291" y="4383062"/>
                  <a:ext cx="10360" cy="14799"/>
                </a:xfrm>
                <a:custGeom>
                  <a:avLst/>
                  <a:gdLst>
                    <a:gd name="T0" fmla="*/ 2147483647 w 7"/>
                    <a:gd name="T1" fmla="*/ 2147483647 h 10"/>
                    <a:gd name="T2" fmla="*/ 2147483647 w 7"/>
                    <a:gd name="T3" fmla="*/ 2147483647 h 10"/>
                    <a:gd name="T4" fmla="*/ 2147483647 w 7"/>
                    <a:gd name="T5" fmla="*/ 0 h 10"/>
                    <a:gd name="T6" fmla="*/ 2147483647 w 7"/>
                    <a:gd name="T7" fmla="*/ 0 h 10"/>
                    <a:gd name="T8" fmla="*/ 2147483647 w 7"/>
                    <a:gd name="T9" fmla="*/ 2147483647 h 10"/>
                    <a:gd name="T10" fmla="*/ 0 w 7"/>
                    <a:gd name="T11" fmla="*/ 2147483647 h 10"/>
                    <a:gd name="T12" fmla="*/ 0 w 7"/>
                    <a:gd name="T13" fmla="*/ 2147483647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0"/>
                    <a:gd name="T41" fmla="*/ 7 w 7"/>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0">
                      <a:moveTo>
                        <a:pt x="7" y="7"/>
                      </a:moveTo>
                      <a:lnTo>
                        <a:pt x="7" y="1"/>
                      </a:lnTo>
                      <a:lnTo>
                        <a:pt x="5" y="0"/>
                      </a:lnTo>
                      <a:lnTo>
                        <a:pt x="3" y="0"/>
                      </a:lnTo>
                      <a:lnTo>
                        <a:pt x="1" y="1"/>
                      </a:lnTo>
                      <a:lnTo>
                        <a:pt x="0" y="4"/>
                      </a:lnTo>
                      <a:lnTo>
                        <a:pt x="0" y="7"/>
                      </a:lnTo>
                      <a:lnTo>
                        <a:pt x="1" y="10"/>
                      </a:lnTo>
                      <a:lnTo>
                        <a:pt x="3" y="10"/>
                      </a:lnTo>
                      <a:lnTo>
                        <a:pt x="5" y="9"/>
                      </a:lnTo>
                      <a:lnTo>
                        <a:pt x="7" y="8"/>
                      </a:lnTo>
                      <a:lnTo>
                        <a:pt x="7" y="6"/>
                      </a:lnTo>
                      <a:lnTo>
                        <a:pt x="7"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4" name="Freeform 109"/>
                <p:cNvSpPr>
                  <a:spLocks/>
                </p:cNvSpPr>
                <p:nvPr/>
              </p:nvSpPr>
              <p:spPr bwMode="auto">
                <a:xfrm>
                  <a:off x="8057423" y="4667197"/>
                  <a:ext cx="25158" cy="13319"/>
                </a:xfrm>
                <a:custGeom>
                  <a:avLst/>
                  <a:gdLst>
                    <a:gd name="T0" fmla="*/ 2147483647 w 18"/>
                    <a:gd name="T1" fmla="*/ 2147483647 h 9"/>
                    <a:gd name="T2" fmla="*/ 0 w 18"/>
                    <a:gd name="T3" fmla="*/ 2147483647 h 9"/>
                    <a:gd name="T4" fmla="*/ 0 w 18"/>
                    <a:gd name="T5" fmla="*/ 2147483647 h 9"/>
                    <a:gd name="T6" fmla="*/ 2147483647 w 18"/>
                    <a:gd name="T7" fmla="*/ 0 h 9"/>
                    <a:gd name="T8" fmla="*/ 2147483647 w 18"/>
                    <a:gd name="T9" fmla="*/ 0 h 9"/>
                    <a:gd name="T10" fmla="*/ 2147483647 w 18"/>
                    <a:gd name="T11" fmla="*/ 2147483647 h 9"/>
                    <a:gd name="T12" fmla="*/ 2147483647 w 18"/>
                    <a:gd name="T13" fmla="*/ 2147483647 h 9"/>
                    <a:gd name="T14" fmla="*/ 2147483647 w 18"/>
                    <a:gd name="T15" fmla="*/ 2147483647 h 9"/>
                    <a:gd name="T16" fmla="*/ 2147483647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9"/>
                    <a:gd name="T50" fmla="*/ 18 w 18"/>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9">
                      <a:moveTo>
                        <a:pt x="2" y="7"/>
                      </a:moveTo>
                      <a:lnTo>
                        <a:pt x="0" y="6"/>
                      </a:lnTo>
                      <a:lnTo>
                        <a:pt x="0" y="3"/>
                      </a:lnTo>
                      <a:lnTo>
                        <a:pt x="3" y="0"/>
                      </a:lnTo>
                      <a:lnTo>
                        <a:pt x="4" y="0"/>
                      </a:lnTo>
                      <a:lnTo>
                        <a:pt x="7" y="1"/>
                      </a:lnTo>
                      <a:lnTo>
                        <a:pt x="8" y="1"/>
                      </a:lnTo>
                      <a:lnTo>
                        <a:pt x="16" y="3"/>
                      </a:lnTo>
                      <a:lnTo>
                        <a:pt x="18" y="6"/>
                      </a:lnTo>
                      <a:lnTo>
                        <a:pt x="18" y="7"/>
                      </a:lnTo>
                      <a:lnTo>
                        <a:pt x="18" y="8"/>
                      </a:lnTo>
                      <a:lnTo>
                        <a:pt x="17" y="9"/>
                      </a:lnTo>
                      <a:lnTo>
                        <a:pt x="16" y="9"/>
                      </a:lnTo>
                      <a:lnTo>
                        <a:pt x="13" y="8"/>
                      </a:lnTo>
                      <a:lnTo>
                        <a:pt x="8" y="8"/>
                      </a:lnTo>
                      <a:lnTo>
                        <a:pt x="2"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5" name="Freeform 110"/>
                <p:cNvSpPr>
                  <a:spLocks/>
                </p:cNvSpPr>
                <p:nvPr/>
              </p:nvSpPr>
              <p:spPr bwMode="auto">
                <a:xfrm>
                  <a:off x="7771811" y="4381583"/>
                  <a:ext cx="8879" cy="14799"/>
                </a:xfrm>
                <a:custGeom>
                  <a:avLst/>
                  <a:gdLst>
                    <a:gd name="T0" fmla="*/ 2147483647 w 6"/>
                    <a:gd name="T1" fmla="*/ 2147483647 h 10"/>
                    <a:gd name="T2" fmla="*/ 2147483647 w 6"/>
                    <a:gd name="T3" fmla="*/ 2147483647 h 10"/>
                    <a:gd name="T4" fmla="*/ 2147483647 w 6"/>
                    <a:gd name="T5" fmla="*/ 2147483647 h 10"/>
                    <a:gd name="T6" fmla="*/ 2147483647 w 6"/>
                    <a:gd name="T7" fmla="*/ 0 h 10"/>
                    <a:gd name="T8" fmla="*/ 2147483647 w 6"/>
                    <a:gd name="T9" fmla="*/ 0 h 10"/>
                    <a:gd name="T10" fmla="*/ 2147483647 w 6"/>
                    <a:gd name="T11" fmla="*/ 0 h 10"/>
                    <a:gd name="T12" fmla="*/ 2147483647 w 6"/>
                    <a:gd name="T13" fmla="*/ 2147483647 h 10"/>
                    <a:gd name="T14" fmla="*/ 0 w 6"/>
                    <a:gd name="T15" fmla="*/ 2147483647 h 10"/>
                    <a:gd name="T16" fmla="*/ 0 w 6"/>
                    <a:gd name="T17" fmla="*/ 2147483647 h 10"/>
                    <a:gd name="T18" fmla="*/ 2147483647 w 6"/>
                    <a:gd name="T19" fmla="*/ 2147483647 h 10"/>
                    <a:gd name="T20" fmla="*/ 2147483647 w 6"/>
                    <a:gd name="T21" fmla="*/ 2147483647 h 10"/>
                    <a:gd name="T22" fmla="*/ 2147483647 w 6"/>
                    <a:gd name="T23" fmla="*/ 2147483647 h 10"/>
                    <a:gd name="T24" fmla="*/ 2147483647 w 6"/>
                    <a:gd name="T25" fmla="*/ 2147483647 h 10"/>
                    <a:gd name="T26" fmla="*/ 2147483647 w 6"/>
                    <a:gd name="T27" fmla="*/ 2147483647 h 10"/>
                    <a:gd name="T28" fmla="*/ 2147483647 w 6"/>
                    <a:gd name="T29" fmla="*/ 2147483647 h 10"/>
                    <a:gd name="T30" fmla="*/ 2147483647 w 6"/>
                    <a:gd name="T31" fmla="*/ 2147483647 h 10"/>
                    <a:gd name="T32" fmla="*/ 2147483647 w 6"/>
                    <a:gd name="T33" fmla="*/ 2147483647 h 10"/>
                    <a:gd name="T34" fmla="*/ 2147483647 w 6"/>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10"/>
                    <a:gd name="T56" fmla="*/ 6 w 6"/>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10">
                      <a:moveTo>
                        <a:pt x="6" y="7"/>
                      </a:moveTo>
                      <a:lnTo>
                        <a:pt x="6" y="7"/>
                      </a:lnTo>
                      <a:lnTo>
                        <a:pt x="6" y="1"/>
                      </a:lnTo>
                      <a:lnTo>
                        <a:pt x="5" y="0"/>
                      </a:lnTo>
                      <a:lnTo>
                        <a:pt x="2" y="0"/>
                      </a:lnTo>
                      <a:lnTo>
                        <a:pt x="1" y="1"/>
                      </a:lnTo>
                      <a:lnTo>
                        <a:pt x="0" y="4"/>
                      </a:lnTo>
                      <a:lnTo>
                        <a:pt x="0" y="7"/>
                      </a:lnTo>
                      <a:lnTo>
                        <a:pt x="1" y="10"/>
                      </a:lnTo>
                      <a:lnTo>
                        <a:pt x="2" y="10"/>
                      </a:lnTo>
                      <a:lnTo>
                        <a:pt x="5" y="9"/>
                      </a:lnTo>
                      <a:lnTo>
                        <a:pt x="6" y="8"/>
                      </a:lnTo>
                      <a:lnTo>
                        <a:pt x="6" y="5"/>
                      </a:lnTo>
                      <a:lnTo>
                        <a:pt x="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6" name="Freeform 111"/>
                <p:cNvSpPr>
                  <a:spLocks/>
                </p:cNvSpPr>
                <p:nvPr/>
              </p:nvSpPr>
              <p:spPr bwMode="auto">
                <a:xfrm>
                  <a:off x="8055946" y="4665721"/>
                  <a:ext cx="25157" cy="13319"/>
                </a:xfrm>
                <a:custGeom>
                  <a:avLst/>
                  <a:gdLst>
                    <a:gd name="T0" fmla="*/ 2147483647 w 18"/>
                    <a:gd name="T1" fmla="*/ 2147483647 h 9"/>
                    <a:gd name="T2" fmla="*/ 2147483647 w 18"/>
                    <a:gd name="T3" fmla="*/ 2147483647 h 9"/>
                    <a:gd name="T4" fmla="*/ 0 w 18"/>
                    <a:gd name="T5" fmla="*/ 2147483647 h 9"/>
                    <a:gd name="T6" fmla="*/ 0 w 18"/>
                    <a:gd name="T7" fmla="*/ 2147483647 h 9"/>
                    <a:gd name="T8" fmla="*/ 2147483647 w 18"/>
                    <a:gd name="T9" fmla="*/ 0 h 9"/>
                    <a:gd name="T10" fmla="*/ 2147483647 w 18"/>
                    <a:gd name="T11" fmla="*/ 0 h 9"/>
                    <a:gd name="T12" fmla="*/ 2147483647 w 18"/>
                    <a:gd name="T13" fmla="*/ 0 h 9"/>
                    <a:gd name="T14" fmla="*/ 2147483647 w 18"/>
                    <a:gd name="T15" fmla="*/ 0 h 9"/>
                    <a:gd name="T16" fmla="*/ 2147483647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2147483647 w 18"/>
                    <a:gd name="T33" fmla="*/ 2147483647 h 9"/>
                    <a:gd name="T34" fmla="*/ 2147483647 w 18"/>
                    <a:gd name="T35" fmla="*/ 2147483647 h 9"/>
                    <a:gd name="T36" fmla="*/ 2147483647 w 18"/>
                    <a:gd name="T37" fmla="*/ 2147483647 h 9"/>
                    <a:gd name="T38" fmla="*/ 2147483647 w 18"/>
                    <a:gd name="T39" fmla="*/ 2147483647 h 9"/>
                    <a:gd name="T40" fmla="*/ 2147483647 w 18"/>
                    <a:gd name="T41" fmla="*/ 2147483647 h 9"/>
                    <a:gd name="T42" fmla="*/ 2147483647 w 18"/>
                    <a:gd name="T43" fmla="*/ 2147483647 h 9"/>
                    <a:gd name="T44" fmla="*/ 2147483647 w 18"/>
                    <a:gd name="T45" fmla="*/ 2147483647 h 9"/>
                    <a:gd name="T46" fmla="*/ 2147483647 w 18"/>
                    <a:gd name="T47" fmla="*/ 2147483647 h 9"/>
                    <a:gd name="T48" fmla="*/ 2147483647 w 18"/>
                    <a:gd name="T49" fmla="*/ 2147483647 h 9"/>
                    <a:gd name="T50" fmla="*/ 2147483647 w 18"/>
                    <a:gd name="T51" fmla="*/ 2147483647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
                    <a:gd name="T79" fmla="*/ 0 h 9"/>
                    <a:gd name="T80" fmla="*/ 18 w 18"/>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 h="9">
                      <a:moveTo>
                        <a:pt x="1" y="7"/>
                      </a:moveTo>
                      <a:lnTo>
                        <a:pt x="1" y="7"/>
                      </a:lnTo>
                      <a:lnTo>
                        <a:pt x="0" y="6"/>
                      </a:lnTo>
                      <a:lnTo>
                        <a:pt x="0" y="3"/>
                      </a:lnTo>
                      <a:lnTo>
                        <a:pt x="3" y="0"/>
                      </a:lnTo>
                      <a:lnTo>
                        <a:pt x="4" y="0"/>
                      </a:lnTo>
                      <a:lnTo>
                        <a:pt x="7" y="1"/>
                      </a:lnTo>
                      <a:lnTo>
                        <a:pt x="8" y="1"/>
                      </a:lnTo>
                      <a:lnTo>
                        <a:pt x="15" y="3"/>
                      </a:lnTo>
                      <a:lnTo>
                        <a:pt x="18" y="6"/>
                      </a:lnTo>
                      <a:lnTo>
                        <a:pt x="18" y="7"/>
                      </a:lnTo>
                      <a:lnTo>
                        <a:pt x="18" y="8"/>
                      </a:lnTo>
                      <a:lnTo>
                        <a:pt x="17" y="9"/>
                      </a:lnTo>
                      <a:lnTo>
                        <a:pt x="15" y="9"/>
                      </a:lnTo>
                      <a:lnTo>
                        <a:pt x="13" y="8"/>
                      </a:lnTo>
                      <a:lnTo>
                        <a:pt x="8" y="8"/>
                      </a:lnTo>
                      <a:lnTo>
                        <a:pt x="1"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7" name="Freeform 112"/>
                <p:cNvSpPr>
                  <a:spLocks/>
                </p:cNvSpPr>
                <p:nvPr/>
              </p:nvSpPr>
              <p:spPr bwMode="auto">
                <a:xfrm>
                  <a:off x="8134378" y="4658321"/>
                  <a:ext cx="5919" cy="4440"/>
                </a:xfrm>
                <a:custGeom>
                  <a:avLst/>
                  <a:gdLst>
                    <a:gd name="T0" fmla="*/ 2147483647 w 4"/>
                    <a:gd name="T1" fmla="*/ 2147483647 h 3"/>
                    <a:gd name="T2" fmla="*/ 2147483647 w 4"/>
                    <a:gd name="T3" fmla="*/ 0 h 3"/>
                    <a:gd name="T4" fmla="*/ 2147483647 w 4"/>
                    <a:gd name="T5" fmla="*/ 0 h 3"/>
                    <a:gd name="T6" fmla="*/ 2147483647 w 4"/>
                    <a:gd name="T7" fmla="*/ 0 h 3"/>
                    <a:gd name="T8" fmla="*/ 0 w 4"/>
                    <a:gd name="T9" fmla="*/ 2147483647 h 3"/>
                    <a:gd name="T10" fmla="*/ 0 w 4"/>
                    <a:gd name="T11" fmla="*/ 2147483647 h 3"/>
                    <a:gd name="T12" fmla="*/ 0 w 4"/>
                    <a:gd name="T13" fmla="*/ 2147483647 h 3"/>
                    <a:gd name="T14" fmla="*/ 2147483647 w 4"/>
                    <a:gd name="T15" fmla="*/ 2147483647 h 3"/>
                    <a:gd name="T16" fmla="*/ 2147483647 w 4"/>
                    <a:gd name="T17" fmla="*/ 2147483647 h 3"/>
                    <a:gd name="T18" fmla="*/ 2147483647 w 4"/>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3"/>
                    <a:gd name="T32" fmla="*/ 4 w 4"/>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3">
                      <a:moveTo>
                        <a:pt x="4" y="2"/>
                      </a:moveTo>
                      <a:lnTo>
                        <a:pt x="4" y="0"/>
                      </a:lnTo>
                      <a:lnTo>
                        <a:pt x="3" y="0"/>
                      </a:lnTo>
                      <a:lnTo>
                        <a:pt x="2" y="0"/>
                      </a:lnTo>
                      <a:lnTo>
                        <a:pt x="0" y="1"/>
                      </a:lnTo>
                      <a:lnTo>
                        <a:pt x="0" y="2"/>
                      </a:lnTo>
                      <a:lnTo>
                        <a:pt x="0" y="3"/>
                      </a:lnTo>
                      <a:lnTo>
                        <a:pt x="2" y="3"/>
                      </a:lnTo>
                      <a:lnTo>
                        <a:pt x="3" y="3"/>
                      </a:lnTo>
                      <a:lnTo>
                        <a:pt x="4"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8" name="Freeform 113"/>
                <p:cNvSpPr>
                  <a:spLocks/>
                </p:cNvSpPr>
                <p:nvPr/>
              </p:nvSpPr>
              <p:spPr bwMode="auto">
                <a:xfrm>
                  <a:off x="8143256" y="4680520"/>
                  <a:ext cx="13319" cy="14799"/>
                </a:xfrm>
                <a:custGeom>
                  <a:avLst/>
                  <a:gdLst>
                    <a:gd name="T0" fmla="*/ 2147483647 w 9"/>
                    <a:gd name="T1" fmla="*/ 2147483647 h 10"/>
                    <a:gd name="T2" fmla="*/ 2147483647 w 9"/>
                    <a:gd name="T3" fmla="*/ 2147483647 h 10"/>
                    <a:gd name="T4" fmla="*/ 2147483647 w 9"/>
                    <a:gd name="T5" fmla="*/ 2147483647 h 10"/>
                    <a:gd name="T6" fmla="*/ 2147483647 w 9"/>
                    <a:gd name="T7" fmla="*/ 0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0"/>
                    <a:gd name="T35" fmla="*/ 9 w 9"/>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0">
                      <a:moveTo>
                        <a:pt x="9" y="6"/>
                      </a:moveTo>
                      <a:lnTo>
                        <a:pt x="9" y="4"/>
                      </a:lnTo>
                      <a:lnTo>
                        <a:pt x="7" y="1"/>
                      </a:lnTo>
                      <a:lnTo>
                        <a:pt x="5" y="0"/>
                      </a:lnTo>
                      <a:lnTo>
                        <a:pt x="1" y="1"/>
                      </a:lnTo>
                      <a:lnTo>
                        <a:pt x="0" y="3"/>
                      </a:lnTo>
                      <a:lnTo>
                        <a:pt x="0" y="5"/>
                      </a:lnTo>
                      <a:lnTo>
                        <a:pt x="2" y="7"/>
                      </a:lnTo>
                      <a:lnTo>
                        <a:pt x="3" y="10"/>
                      </a:lnTo>
                      <a:lnTo>
                        <a:pt x="6" y="9"/>
                      </a:lnTo>
                      <a:lnTo>
                        <a:pt x="9"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19" name="Freeform 114"/>
                <p:cNvSpPr>
                  <a:spLocks/>
                </p:cNvSpPr>
                <p:nvPr/>
              </p:nvSpPr>
              <p:spPr bwMode="auto">
                <a:xfrm>
                  <a:off x="8132898" y="4656839"/>
                  <a:ext cx="5919" cy="4439"/>
                </a:xfrm>
                <a:custGeom>
                  <a:avLst/>
                  <a:gdLst>
                    <a:gd name="T0" fmla="*/ 2147483647 w 4"/>
                    <a:gd name="T1" fmla="*/ 2147483647 h 3"/>
                    <a:gd name="T2" fmla="*/ 2147483647 w 4"/>
                    <a:gd name="T3" fmla="*/ 2147483647 h 3"/>
                    <a:gd name="T4" fmla="*/ 2147483647 w 4"/>
                    <a:gd name="T5" fmla="*/ 0 h 3"/>
                    <a:gd name="T6" fmla="*/ 2147483647 w 4"/>
                    <a:gd name="T7" fmla="*/ 0 h 3"/>
                    <a:gd name="T8" fmla="*/ 2147483647 w 4"/>
                    <a:gd name="T9" fmla="*/ 0 h 3"/>
                    <a:gd name="T10" fmla="*/ 2147483647 w 4"/>
                    <a:gd name="T11" fmla="*/ 0 h 3"/>
                    <a:gd name="T12" fmla="*/ 0 w 4"/>
                    <a:gd name="T13" fmla="*/ 2147483647 h 3"/>
                    <a:gd name="T14" fmla="*/ 0 w 4"/>
                    <a:gd name="T15" fmla="*/ 2147483647 h 3"/>
                    <a:gd name="T16" fmla="*/ 0 w 4"/>
                    <a:gd name="T17" fmla="*/ 2147483647 h 3"/>
                    <a:gd name="T18" fmla="*/ 0 w 4"/>
                    <a:gd name="T19" fmla="*/ 2147483647 h 3"/>
                    <a:gd name="T20" fmla="*/ 2147483647 w 4"/>
                    <a:gd name="T21" fmla="*/ 2147483647 h 3"/>
                    <a:gd name="T22" fmla="*/ 2147483647 w 4"/>
                    <a:gd name="T23" fmla="*/ 2147483647 h 3"/>
                    <a:gd name="T24" fmla="*/ 2147483647 w 4"/>
                    <a:gd name="T25" fmla="*/ 2147483647 h 3"/>
                    <a:gd name="T26" fmla="*/ 2147483647 w 4"/>
                    <a:gd name="T27" fmla="*/ 2147483647 h 3"/>
                    <a:gd name="T28" fmla="*/ 2147483647 w 4"/>
                    <a:gd name="T29" fmla="*/ 2147483647 h 3"/>
                    <a:gd name="T30" fmla="*/ 2147483647 w 4"/>
                    <a:gd name="T31" fmla="*/ 2147483647 h 3"/>
                    <a:gd name="T32" fmla="*/ 2147483647 w 4"/>
                    <a:gd name="T33" fmla="*/ 2147483647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3"/>
                    <a:gd name="T53" fmla="*/ 4 w 4"/>
                    <a:gd name="T54" fmla="*/ 3 h 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3">
                      <a:moveTo>
                        <a:pt x="4" y="2"/>
                      </a:moveTo>
                      <a:lnTo>
                        <a:pt x="4" y="2"/>
                      </a:lnTo>
                      <a:lnTo>
                        <a:pt x="4" y="0"/>
                      </a:lnTo>
                      <a:lnTo>
                        <a:pt x="3" y="0"/>
                      </a:lnTo>
                      <a:lnTo>
                        <a:pt x="1" y="0"/>
                      </a:lnTo>
                      <a:lnTo>
                        <a:pt x="0" y="1"/>
                      </a:lnTo>
                      <a:lnTo>
                        <a:pt x="0" y="2"/>
                      </a:lnTo>
                      <a:lnTo>
                        <a:pt x="0" y="3"/>
                      </a:lnTo>
                      <a:lnTo>
                        <a:pt x="1" y="3"/>
                      </a:lnTo>
                      <a:lnTo>
                        <a:pt x="3" y="3"/>
                      </a:lnTo>
                      <a:lnTo>
                        <a:pt x="4"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0" name="Freeform 115"/>
                <p:cNvSpPr>
                  <a:spLocks/>
                </p:cNvSpPr>
                <p:nvPr/>
              </p:nvSpPr>
              <p:spPr bwMode="auto">
                <a:xfrm>
                  <a:off x="8140296" y="4679038"/>
                  <a:ext cx="13319" cy="14799"/>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0 h 10"/>
                    <a:gd name="T10" fmla="*/ 2147483647 w 9"/>
                    <a:gd name="T11" fmla="*/ 2147483647 h 10"/>
                    <a:gd name="T12" fmla="*/ 2147483647 w 9"/>
                    <a:gd name="T13" fmla="*/ 2147483647 h 10"/>
                    <a:gd name="T14" fmla="*/ 0 w 9"/>
                    <a:gd name="T15" fmla="*/ 2147483647 h 10"/>
                    <a:gd name="T16" fmla="*/ 0 w 9"/>
                    <a:gd name="T17" fmla="*/ 2147483647 h 10"/>
                    <a:gd name="T18" fmla="*/ 0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2147483647 w 9"/>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0"/>
                    <a:gd name="T47" fmla="*/ 9 w 9"/>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0">
                      <a:moveTo>
                        <a:pt x="9" y="6"/>
                      </a:moveTo>
                      <a:lnTo>
                        <a:pt x="9" y="6"/>
                      </a:lnTo>
                      <a:lnTo>
                        <a:pt x="9" y="4"/>
                      </a:lnTo>
                      <a:lnTo>
                        <a:pt x="8" y="1"/>
                      </a:lnTo>
                      <a:lnTo>
                        <a:pt x="5" y="0"/>
                      </a:lnTo>
                      <a:lnTo>
                        <a:pt x="2" y="1"/>
                      </a:lnTo>
                      <a:lnTo>
                        <a:pt x="0" y="2"/>
                      </a:lnTo>
                      <a:lnTo>
                        <a:pt x="0" y="5"/>
                      </a:lnTo>
                      <a:lnTo>
                        <a:pt x="3" y="7"/>
                      </a:lnTo>
                      <a:lnTo>
                        <a:pt x="4" y="10"/>
                      </a:lnTo>
                      <a:lnTo>
                        <a:pt x="7" y="8"/>
                      </a:lnTo>
                      <a:lnTo>
                        <a:pt x="9"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1" name="Freeform 116"/>
                <p:cNvSpPr>
                  <a:spLocks/>
                </p:cNvSpPr>
                <p:nvPr/>
              </p:nvSpPr>
              <p:spPr bwMode="auto">
                <a:xfrm>
                  <a:off x="8529503" y="4630204"/>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0 h 6"/>
                    <a:gd name="T8" fmla="*/ 2147483647 w 7"/>
                    <a:gd name="T9" fmla="*/ 2147483647 h 6"/>
                    <a:gd name="T10" fmla="*/ 0 w 7"/>
                    <a:gd name="T11" fmla="*/ 2147483647 h 6"/>
                    <a:gd name="T12" fmla="*/ 0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5"/>
                      </a:moveTo>
                      <a:lnTo>
                        <a:pt x="7" y="2"/>
                      </a:lnTo>
                      <a:lnTo>
                        <a:pt x="5" y="1"/>
                      </a:lnTo>
                      <a:lnTo>
                        <a:pt x="3" y="0"/>
                      </a:lnTo>
                      <a:lnTo>
                        <a:pt x="1" y="1"/>
                      </a:lnTo>
                      <a:lnTo>
                        <a:pt x="0" y="1"/>
                      </a:lnTo>
                      <a:lnTo>
                        <a:pt x="0" y="2"/>
                      </a:lnTo>
                      <a:lnTo>
                        <a:pt x="2" y="5"/>
                      </a:lnTo>
                      <a:lnTo>
                        <a:pt x="5" y="6"/>
                      </a:lnTo>
                      <a:lnTo>
                        <a:pt x="6" y="6"/>
                      </a:lnTo>
                      <a:lnTo>
                        <a:pt x="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2" name="Freeform 117"/>
                <p:cNvSpPr>
                  <a:spLocks/>
                </p:cNvSpPr>
                <p:nvPr/>
              </p:nvSpPr>
              <p:spPr bwMode="auto">
                <a:xfrm>
                  <a:off x="8692291" y="4599122"/>
                  <a:ext cx="13318" cy="11839"/>
                </a:xfrm>
                <a:custGeom>
                  <a:avLst/>
                  <a:gdLst>
                    <a:gd name="T0" fmla="*/ 2147483647 w 9"/>
                    <a:gd name="T1" fmla="*/ 2147483647 h 8"/>
                    <a:gd name="T2" fmla="*/ 2147483647 w 9"/>
                    <a:gd name="T3" fmla="*/ 2147483647 h 8"/>
                    <a:gd name="T4" fmla="*/ 2147483647 w 9"/>
                    <a:gd name="T5" fmla="*/ 2147483647 h 8"/>
                    <a:gd name="T6" fmla="*/ 2147483647 w 9"/>
                    <a:gd name="T7" fmla="*/ 0 h 8"/>
                    <a:gd name="T8" fmla="*/ 2147483647 w 9"/>
                    <a:gd name="T9" fmla="*/ 0 h 8"/>
                    <a:gd name="T10" fmla="*/ 2147483647 w 9"/>
                    <a:gd name="T11" fmla="*/ 0 h 8"/>
                    <a:gd name="T12" fmla="*/ 0 w 9"/>
                    <a:gd name="T13" fmla="*/ 2147483647 h 8"/>
                    <a:gd name="T14" fmla="*/ 2147483647 w 9"/>
                    <a:gd name="T15" fmla="*/ 2147483647 h 8"/>
                    <a:gd name="T16" fmla="*/ 2147483647 w 9"/>
                    <a:gd name="T17" fmla="*/ 2147483647 h 8"/>
                    <a:gd name="T18" fmla="*/ 2147483647 w 9"/>
                    <a:gd name="T19" fmla="*/ 2147483647 h 8"/>
                    <a:gd name="T20" fmla="*/ 2147483647 w 9"/>
                    <a:gd name="T21" fmla="*/ 2147483647 h 8"/>
                    <a:gd name="T22" fmla="*/ 2147483647 w 9"/>
                    <a:gd name="T23" fmla="*/ 2147483647 h 8"/>
                    <a:gd name="T24" fmla="*/ 2147483647 w 9"/>
                    <a:gd name="T25" fmla="*/ 2147483647 h 8"/>
                    <a:gd name="T26" fmla="*/ 2147483647 w 9"/>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8"/>
                    <a:gd name="T44" fmla="*/ 9 w 9"/>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8">
                      <a:moveTo>
                        <a:pt x="8" y="4"/>
                      </a:moveTo>
                      <a:lnTo>
                        <a:pt x="7" y="3"/>
                      </a:lnTo>
                      <a:lnTo>
                        <a:pt x="5" y="2"/>
                      </a:lnTo>
                      <a:lnTo>
                        <a:pt x="4" y="0"/>
                      </a:lnTo>
                      <a:lnTo>
                        <a:pt x="3" y="0"/>
                      </a:lnTo>
                      <a:lnTo>
                        <a:pt x="1" y="0"/>
                      </a:lnTo>
                      <a:lnTo>
                        <a:pt x="0" y="2"/>
                      </a:lnTo>
                      <a:lnTo>
                        <a:pt x="1" y="4"/>
                      </a:lnTo>
                      <a:lnTo>
                        <a:pt x="1" y="5"/>
                      </a:lnTo>
                      <a:lnTo>
                        <a:pt x="5" y="8"/>
                      </a:lnTo>
                      <a:lnTo>
                        <a:pt x="7" y="8"/>
                      </a:lnTo>
                      <a:lnTo>
                        <a:pt x="9" y="7"/>
                      </a:lnTo>
                      <a:lnTo>
                        <a:pt x="8" y="5"/>
                      </a:lnTo>
                      <a:lnTo>
                        <a:pt x="8"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3" name="Freeform 118"/>
                <p:cNvSpPr>
                  <a:spLocks/>
                </p:cNvSpPr>
                <p:nvPr/>
              </p:nvSpPr>
              <p:spPr bwMode="auto">
                <a:xfrm>
                  <a:off x="8526543" y="4628724"/>
                  <a:ext cx="10359" cy="8879"/>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0 h 6"/>
                    <a:gd name="T10" fmla="*/ 2147483647 w 8"/>
                    <a:gd name="T11" fmla="*/ 2147483647 h 6"/>
                    <a:gd name="T12" fmla="*/ 2147483647 w 8"/>
                    <a:gd name="T13" fmla="*/ 2147483647 h 6"/>
                    <a:gd name="T14" fmla="*/ 0 w 8"/>
                    <a:gd name="T15" fmla="*/ 2147483647 h 6"/>
                    <a:gd name="T16" fmla="*/ 0 w 8"/>
                    <a:gd name="T17" fmla="*/ 2147483647 h 6"/>
                    <a:gd name="T18" fmla="*/ 0 w 8"/>
                    <a:gd name="T19" fmla="*/ 2147483647 h 6"/>
                    <a:gd name="T20" fmla="*/ 2147483647 w 8"/>
                    <a:gd name="T21" fmla="*/ 2147483647 h 6"/>
                    <a:gd name="T22" fmla="*/ 2147483647 w 8"/>
                    <a:gd name="T23" fmla="*/ 2147483647 h 6"/>
                    <a:gd name="T24" fmla="*/ 2147483647 w 8"/>
                    <a:gd name="T25" fmla="*/ 2147483647 h 6"/>
                    <a:gd name="T26" fmla="*/ 2147483647 w 8"/>
                    <a:gd name="T27" fmla="*/ 2147483647 h 6"/>
                    <a:gd name="T28" fmla="*/ 2147483647 w 8"/>
                    <a:gd name="T29" fmla="*/ 2147483647 h 6"/>
                    <a:gd name="T30" fmla="*/ 2147483647 w 8"/>
                    <a:gd name="T31" fmla="*/ 2147483647 h 6"/>
                    <a:gd name="T32" fmla="*/ 2147483647 w 8"/>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6"/>
                    <a:gd name="T53" fmla="*/ 8 w 8"/>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6">
                      <a:moveTo>
                        <a:pt x="8" y="4"/>
                      </a:moveTo>
                      <a:lnTo>
                        <a:pt x="8" y="4"/>
                      </a:lnTo>
                      <a:lnTo>
                        <a:pt x="8" y="2"/>
                      </a:lnTo>
                      <a:lnTo>
                        <a:pt x="5" y="1"/>
                      </a:lnTo>
                      <a:lnTo>
                        <a:pt x="4" y="0"/>
                      </a:lnTo>
                      <a:lnTo>
                        <a:pt x="2" y="1"/>
                      </a:lnTo>
                      <a:lnTo>
                        <a:pt x="0" y="1"/>
                      </a:lnTo>
                      <a:lnTo>
                        <a:pt x="0" y="2"/>
                      </a:lnTo>
                      <a:lnTo>
                        <a:pt x="3" y="4"/>
                      </a:lnTo>
                      <a:lnTo>
                        <a:pt x="5" y="6"/>
                      </a:lnTo>
                      <a:lnTo>
                        <a:pt x="7" y="6"/>
                      </a:lnTo>
                      <a:lnTo>
                        <a:pt x="8"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4" name="Freeform 119"/>
                <p:cNvSpPr>
                  <a:spLocks/>
                </p:cNvSpPr>
                <p:nvPr/>
              </p:nvSpPr>
              <p:spPr bwMode="auto">
                <a:xfrm>
                  <a:off x="8690808" y="4596163"/>
                  <a:ext cx="13319" cy="13319"/>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0 h 9"/>
                    <a:gd name="T10" fmla="*/ 2147483647 w 9"/>
                    <a:gd name="T11" fmla="*/ 0 h 9"/>
                    <a:gd name="T12" fmla="*/ 2147483647 w 9"/>
                    <a:gd name="T13" fmla="*/ 0 h 9"/>
                    <a:gd name="T14" fmla="*/ 2147483647 w 9"/>
                    <a:gd name="T15" fmla="*/ 0 h 9"/>
                    <a:gd name="T16" fmla="*/ 0 w 9"/>
                    <a:gd name="T17" fmla="*/ 2147483647 h 9"/>
                    <a:gd name="T18" fmla="*/ 2147483647 w 9"/>
                    <a:gd name="T19" fmla="*/ 2147483647 h 9"/>
                    <a:gd name="T20" fmla="*/ 2147483647 w 9"/>
                    <a:gd name="T21" fmla="*/ 2147483647 h 9"/>
                    <a:gd name="T22" fmla="*/ 2147483647 w 9"/>
                    <a:gd name="T23" fmla="*/ 2147483647 h 9"/>
                    <a:gd name="T24" fmla="*/ 2147483647 w 9"/>
                    <a:gd name="T25" fmla="*/ 2147483647 h 9"/>
                    <a:gd name="T26" fmla="*/ 2147483647 w 9"/>
                    <a:gd name="T27" fmla="*/ 2147483647 h 9"/>
                    <a:gd name="T28" fmla="*/ 2147483647 w 9"/>
                    <a:gd name="T29" fmla="*/ 2147483647 h 9"/>
                    <a:gd name="T30" fmla="*/ 2147483647 w 9"/>
                    <a:gd name="T31" fmla="*/ 2147483647 h 9"/>
                    <a:gd name="T32" fmla="*/ 2147483647 w 9"/>
                    <a:gd name="T33" fmla="*/ 2147483647 h 9"/>
                    <a:gd name="T34" fmla="*/ 2147483647 w 9"/>
                    <a:gd name="T35" fmla="*/ 2147483647 h 9"/>
                    <a:gd name="T36" fmla="*/ 2147483647 w 9"/>
                    <a:gd name="T37" fmla="*/ 2147483647 h 9"/>
                    <a:gd name="T38" fmla="*/ 2147483647 w 9"/>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9"/>
                    <a:gd name="T62" fmla="*/ 9 w 9"/>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9">
                      <a:moveTo>
                        <a:pt x="8" y="5"/>
                      </a:moveTo>
                      <a:lnTo>
                        <a:pt x="8" y="5"/>
                      </a:lnTo>
                      <a:lnTo>
                        <a:pt x="6" y="4"/>
                      </a:lnTo>
                      <a:lnTo>
                        <a:pt x="5" y="3"/>
                      </a:lnTo>
                      <a:lnTo>
                        <a:pt x="4" y="0"/>
                      </a:lnTo>
                      <a:lnTo>
                        <a:pt x="2" y="0"/>
                      </a:lnTo>
                      <a:lnTo>
                        <a:pt x="1" y="0"/>
                      </a:lnTo>
                      <a:lnTo>
                        <a:pt x="0" y="3"/>
                      </a:lnTo>
                      <a:lnTo>
                        <a:pt x="1" y="5"/>
                      </a:lnTo>
                      <a:lnTo>
                        <a:pt x="1" y="6"/>
                      </a:lnTo>
                      <a:lnTo>
                        <a:pt x="5" y="9"/>
                      </a:lnTo>
                      <a:lnTo>
                        <a:pt x="6" y="9"/>
                      </a:lnTo>
                      <a:lnTo>
                        <a:pt x="9" y="7"/>
                      </a:lnTo>
                      <a:lnTo>
                        <a:pt x="8" y="6"/>
                      </a:lnTo>
                      <a:lnTo>
                        <a:pt x="8"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5" name="Freeform 120"/>
                <p:cNvSpPr>
                  <a:spLocks/>
                </p:cNvSpPr>
                <p:nvPr/>
              </p:nvSpPr>
              <p:spPr bwMode="auto">
                <a:xfrm>
                  <a:off x="8730769" y="4650922"/>
                  <a:ext cx="7399" cy="8879"/>
                </a:xfrm>
                <a:custGeom>
                  <a:avLst/>
                  <a:gdLst>
                    <a:gd name="T0" fmla="*/ 2147483647 w 5"/>
                    <a:gd name="T1" fmla="*/ 2147483647 h 6"/>
                    <a:gd name="T2" fmla="*/ 2147483647 w 5"/>
                    <a:gd name="T3" fmla="*/ 2147483647 h 6"/>
                    <a:gd name="T4" fmla="*/ 2147483647 w 5"/>
                    <a:gd name="T5" fmla="*/ 0 h 6"/>
                    <a:gd name="T6" fmla="*/ 0 w 5"/>
                    <a:gd name="T7" fmla="*/ 2147483647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4"/>
                      </a:moveTo>
                      <a:lnTo>
                        <a:pt x="3" y="1"/>
                      </a:lnTo>
                      <a:lnTo>
                        <a:pt x="1" y="0"/>
                      </a:lnTo>
                      <a:lnTo>
                        <a:pt x="0" y="1"/>
                      </a:lnTo>
                      <a:lnTo>
                        <a:pt x="1" y="5"/>
                      </a:lnTo>
                      <a:lnTo>
                        <a:pt x="1" y="6"/>
                      </a:lnTo>
                      <a:lnTo>
                        <a:pt x="3" y="6"/>
                      </a:lnTo>
                      <a:lnTo>
                        <a:pt x="5" y="6"/>
                      </a:lnTo>
                      <a:lnTo>
                        <a:pt x="5" y="5"/>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6" name="Freeform 121"/>
                <p:cNvSpPr>
                  <a:spLocks/>
                </p:cNvSpPr>
                <p:nvPr/>
              </p:nvSpPr>
              <p:spPr bwMode="auto">
                <a:xfrm>
                  <a:off x="8770721" y="4646479"/>
                  <a:ext cx="5919" cy="7400"/>
                </a:xfrm>
                <a:custGeom>
                  <a:avLst/>
                  <a:gdLst>
                    <a:gd name="T0" fmla="*/ 2147483647 w 4"/>
                    <a:gd name="T1" fmla="*/ 2147483647 h 5"/>
                    <a:gd name="T2" fmla="*/ 2147483647 w 4"/>
                    <a:gd name="T3" fmla="*/ 2147483647 h 5"/>
                    <a:gd name="T4" fmla="*/ 2147483647 w 4"/>
                    <a:gd name="T5" fmla="*/ 0 h 5"/>
                    <a:gd name="T6" fmla="*/ 2147483647 w 4"/>
                    <a:gd name="T7" fmla="*/ 2147483647 h 5"/>
                    <a:gd name="T8" fmla="*/ 0 w 4"/>
                    <a:gd name="T9" fmla="*/ 2147483647 h 5"/>
                    <a:gd name="T10" fmla="*/ 2147483647 w 4"/>
                    <a:gd name="T11" fmla="*/ 2147483647 h 5"/>
                    <a:gd name="T12" fmla="*/ 2147483647 w 4"/>
                    <a:gd name="T13" fmla="*/ 2147483647 h 5"/>
                    <a:gd name="T14" fmla="*/ 2147483647 w 4"/>
                    <a:gd name="T15" fmla="*/ 2147483647 h 5"/>
                    <a:gd name="T16" fmla="*/ 2147483647 w 4"/>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4" y="3"/>
                      </a:moveTo>
                      <a:lnTo>
                        <a:pt x="4" y="1"/>
                      </a:lnTo>
                      <a:lnTo>
                        <a:pt x="3" y="0"/>
                      </a:lnTo>
                      <a:lnTo>
                        <a:pt x="2" y="1"/>
                      </a:lnTo>
                      <a:lnTo>
                        <a:pt x="0" y="2"/>
                      </a:lnTo>
                      <a:lnTo>
                        <a:pt x="2" y="5"/>
                      </a:lnTo>
                      <a:lnTo>
                        <a:pt x="3" y="5"/>
                      </a:lnTo>
                      <a:lnTo>
                        <a:pt x="4" y="4"/>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7" name="Freeform 122"/>
                <p:cNvSpPr>
                  <a:spLocks/>
                </p:cNvSpPr>
                <p:nvPr/>
              </p:nvSpPr>
              <p:spPr bwMode="auto">
                <a:xfrm>
                  <a:off x="8729285" y="4649442"/>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3"/>
                      </a:moveTo>
                      <a:lnTo>
                        <a:pt x="5" y="3"/>
                      </a:lnTo>
                      <a:lnTo>
                        <a:pt x="2" y="1"/>
                      </a:lnTo>
                      <a:lnTo>
                        <a:pt x="1" y="0"/>
                      </a:lnTo>
                      <a:lnTo>
                        <a:pt x="0" y="1"/>
                      </a:lnTo>
                      <a:lnTo>
                        <a:pt x="1" y="5"/>
                      </a:lnTo>
                      <a:lnTo>
                        <a:pt x="1" y="6"/>
                      </a:lnTo>
                      <a:lnTo>
                        <a:pt x="2" y="6"/>
                      </a:lnTo>
                      <a:lnTo>
                        <a:pt x="5" y="6"/>
                      </a:lnTo>
                      <a:lnTo>
                        <a:pt x="5" y="5"/>
                      </a:lnTo>
                      <a:lnTo>
                        <a:pt x="5"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8" name="Freeform 123"/>
                <p:cNvSpPr>
                  <a:spLocks/>
                </p:cNvSpPr>
                <p:nvPr/>
              </p:nvSpPr>
              <p:spPr bwMode="auto">
                <a:xfrm>
                  <a:off x="8769243" y="4643523"/>
                  <a:ext cx="5919" cy="8879"/>
                </a:xfrm>
                <a:custGeom>
                  <a:avLst/>
                  <a:gdLst>
                    <a:gd name="T0" fmla="*/ 2147483647 w 4"/>
                    <a:gd name="T1" fmla="*/ 2147483647 h 6"/>
                    <a:gd name="T2" fmla="*/ 2147483647 w 4"/>
                    <a:gd name="T3" fmla="*/ 2147483647 h 6"/>
                    <a:gd name="T4" fmla="*/ 2147483647 w 4"/>
                    <a:gd name="T5" fmla="*/ 2147483647 h 6"/>
                    <a:gd name="T6" fmla="*/ 2147483647 w 4"/>
                    <a:gd name="T7" fmla="*/ 0 h 6"/>
                    <a:gd name="T8" fmla="*/ 2147483647 w 4"/>
                    <a:gd name="T9" fmla="*/ 0 h 6"/>
                    <a:gd name="T10" fmla="*/ 2147483647 w 4"/>
                    <a:gd name="T11" fmla="*/ 0 h 6"/>
                    <a:gd name="T12" fmla="*/ 2147483647 w 4"/>
                    <a:gd name="T13" fmla="*/ 2147483647 h 6"/>
                    <a:gd name="T14" fmla="*/ 0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2147483647 w 4"/>
                    <a:gd name="T27" fmla="*/ 2147483647 h 6"/>
                    <a:gd name="T28" fmla="*/ 2147483647 w 4"/>
                    <a:gd name="T29" fmla="*/ 2147483647 h 6"/>
                    <a:gd name="T30" fmla="*/ 2147483647 w 4"/>
                    <a:gd name="T31" fmla="*/ 2147483647 h 6"/>
                    <a:gd name="T32" fmla="*/ 2147483647 w 4"/>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6"/>
                    <a:gd name="T53" fmla="*/ 4 w 4"/>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6">
                      <a:moveTo>
                        <a:pt x="4" y="4"/>
                      </a:moveTo>
                      <a:lnTo>
                        <a:pt x="4" y="4"/>
                      </a:lnTo>
                      <a:lnTo>
                        <a:pt x="4" y="2"/>
                      </a:lnTo>
                      <a:lnTo>
                        <a:pt x="3" y="0"/>
                      </a:lnTo>
                      <a:lnTo>
                        <a:pt x="1" y="2"/>
                      </a:lnTo>
                      <a:lnTo>
                        <a:pt x="0" y="3"/>
                      </a:lnTo>
                      <a:lnTo>
                        <a:pt x="1" y="6"/>
                      </a:lnTo>
                      <a:lnTo>
                        <a:pt x="3" y="6"/>
                      </a:lnTo>
                      <a:lnTo>
                        <a:pt x="4" y="5"/>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29" name="Freeform 124"/>
                <p:cNvSpPr>
                  <a:spLocks/>
                </p:cNvSpPr>
                <p:nvPr/>
              </p:nvSpPr>
              <p:spPr bwMode="auto">
                <a:xfrm>
                  <a:off x="8767761" y="4662761"/>
                  <a:ext cx="7400" cy="8879"/>
                </a:xfrm>
                <a:custGeom>
                  <a:avLst/>
                  <a:gdLst>
                    <a:gd name="T0" fmla="*/ 2147483647 w 5"/>
                    <a:gd name="T1" fmla="*/ 2147483647 h 6"/>
                    <a:gd name="T2" fmla="*/ 0 w 5"/>
                    <a:gd name="T3" fmla="*/ 2147483647 h 6"/>
                    <a:gd name="T4" fmla="*/ 0 w 5"/>
                    <a:gd name="T5" fmla="*/ 2147483647 h 6"/>
                    <a:gd name="T6" fmla="*/ 0 w 5"/>
                    <a:gd name="T7" fmla="*/ 2147483647 h 6"/>
                    <a:gd name="T8" fmla="*/ 2147483647 w 5"/>
                    <a:gd name="T9" fmla="*/ 2147483647 h 6"/>
                    <a:gd name="T10" fmla="*/ 2147483647 w 5"/>
                    <a:gd name="T11" fmla="*/ 0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1" y="6"/>
                      </a:moveTo>
                      <a:lnTo>
                        <a:pt x="0" y="5"/>
                      </a:lnTo>
                      <a:lnTo>
                        <a:pt x="0" y="3"/>
                      </a:lnTo>
                      <a:lnTo>
                        <a:pt x="0" y="2"/>
                      </a:lnTo>
                      <a:lnTo>
                        <a:pt x="1" y="2"/>
                      </a:lnTo>
                      <a:lnTo>
                        <a:pt x="2" y="0"/>
                      </a:lnTo>
                      <a:lnTo>
                        <a:pt x="4" y="2"/>
                      </a:lnTo>
                      <a:lnTo>
                        <a:pt x="5" y="3"/>
                      </a:lnTo>
                      <a:lnTo>
                        <a:pt x="5" y="5"/>
                      </a:lnTo>
                      <a:lnTo>
                        <a:pt x="4" y="6"/>
                      </a:lnTo>
                      <a:lnTo>
                        <a:pt x="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0" name="Freeform 125"/>
                <p:cNvSpPr>
                  <a:spLocks/>
                </p:cNvSpPr>
                <p:nvPr/>
              </p:nvSpPr>
              <p:spPr bwMode="auto">
                <a:xfrm>
                  <a:off x="8773681" y="4684955"/>
                  <a:ext cx="4440" cy="5919"/>
                </a:xfrm>
                <a:custGeom>
                  <a:avLst/>
                  <a:gdLst>
                    <a:gd name="T0" fmla="*/ 2147483647 w 3"/>
                    <a:gd name="T1" fmla="*/ 2147483647 h 4"/>
                    <a:gd name="T2" fmla="*/ 2147483647 w 3"/>
                    <a:gd name="T3" fmla="*/ 2147483647 h 4"/>
                    <a:gd name="T4" fmla="*/ 2147483647 w 3"/>
                    <a:gd name="T5" fmla="*/ 0 h 4"/>
                    <a:gd name="T6" fmla="*/ 0 w 3"/>
                    <a:gd name="T7" fmla="*/ 2147483647 h 4"/>
                    <a:gd name="T8" fmla="*/ 0 w 3"/>
                    <a:gd name="T9" fmla="*/ 2147483647 h 4"/>
                    <a:gd name="T10" fmla="*/ 2147483647 w 3"/>
                    <a:gd name="T11" fmla="*/ 2147483647 h 4"/>
                    <a:gd name="T12" fmla="*/ 2147483647 w 3"/>
                    <a:gd name="T13" fmla="*/ 2147483647 h 4"/>
                    <a:gd name="T14" fmla="*/ 2147483647 w 3"/>
                    <a:gd name="T15" fmla="*/ 2147483647 h 4"/>
                    <a:gd name="T16" fmla="*/ 2147483647 w 3"/>
                    <a:gd name="T17" fmla="*/ 2147483647 h 4"/>
                    <a:gd name="T18" fmla="*/ 2147483647 w 3"/>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3" y="3"/>
                      </a:moveTo>
                      <a:lnTo>
                        <a:pt x="2" y="1"/>
                      </a:lnTo>
                      <a:lnTo>
                        <a:pt x="1" y="0"/>
                      </a:lnTo>
                      <a:lnTo>
                        <a:pt x="0" y="1"/>
                      </a:lnTo>
                      <a:lnTo>
                        <a:pt x="0" y="3"/>
                      </a:lnTo>
                      <a:lnTo>
                        <a:pt x="1" y="4"/>
                      </a:lnTo>
                      <a:lnTo>
                        <a:pt x="2" y="4"/>
                      </a:lnTo>
                      <a:lnTo>
                        <a:pt x="3" y="4"/>
                      </a:lnTo>
                      <a:lnTo>
                        <a:pt x="3" y="2"/>
                      </a:lnTo>
                      <a:lnTo>
                        <a:pt x="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1" name="Freeform 126"/>
                <p:cNvSpPr>
                  <a:spLocks/>
                </p:cNvSpPr>
                <p:nvPr/>
              </p:nvSpPr>
              <p:spPr bwMode="auto">
                <a:xfrm>
                  <a:off x="8766286" y="4661281"/>
                  <a:ext cx="7399" cy="8879"/>
                </a:xfrm>
                <a:custGeom>
                  <a:avLst/>
                  <a:gdLst>
                    <a:gd name="T0" fmla="*/ 2147483647 w 5"/>
                    <a:gd name="T1" fmla="*/ 2147483647 h 6"/>
                    <a:gd name="T2" fmla="*/ 2147483647 w 5"/>
                    <a:gd name="T3" fmla="*/ 2147483647 h 6"/>
                    <a:gd name="T4" fmla="*/ 0 w 5"/>
                    <a:gd name="T5" fmla="*/ 2147483647 h 6"/>
                    <a:gd name="T6" fmla="*/ 0 w 5"/>
                    <a:gd name="T7" fmla="*/ 2147483647 h 6"/>
                    <a:gd name="T8" fmla="*/ 0 w 5"/>
                    <a:gd name="T9" fmla="*/ 2147483647 h 6"/>
                    <a:gd name="T10" fmla="*/ 0 w 5"/>
                    <a:gd name="T11" fmla="*/ 2147483647 h 6"/>
                    <a:gd name="T12" fmla="*/ 2147483647 w 5"/>
                    <a:gd name="T13" fmla="*/ 2147483647 h 6"/>
                    <a:gd name="T14" fmla="*/ 2147483647 w 5"/>
                    <a:gd name="T15" fmla="*/ 0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2147483647 w 5"/>
                    <a:gd name="T31" fmla="*/ 2147483647 h 6"/>
                    <a:gd name="T32" fmla="*/ 2147483647 w 5"/>
                    <a:gd name="T33" fmla="*/ 2147483647 h 6"/>
                    <a:gd name="T34" fmla="*/ 2147483647 w 5"/>
                    <a:gd name="T35" fmla="*/ 2147483647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
                    <a:gd name="T55" fmla="*/ 0 h 6"/>
                    <a:gd name="T56" fmla="*/ 5 w 5"/>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 h="6">
                      <a:moveTo>
                        <a:pt x="1" y="6"/>
                      </a:moveTo>
                      <a:lnTo>
                        <a:pt x="1" y="6"/>
                      </a:lnTo>
                      <a:lnTo>
                        <a:pt x="0" y="5"/>
                      </a:lnTo>
                      <a:lnTo>
                        <a:pt x="0" y="3"/>
                      </a:lnTo>
                      <a:lnTo>
                        <a:pt x="0" y="1"/>
                      </a:lnTo>
                      <a:lnTo>
                        <a:pt x="1" y="1"/>
                      </a:lnTo>
                      <a:lnTo>
                        <a:pt x="2" y="0"/>
                      </a:lnTo>
                      <a:lnTo>
                        <a:pt x="3" y="1"/>
                      </a:lnTo>
                      <a:lnTo>
                        <a:pt x="5" y="3"/>
                      </a:lnTo>
                      <a:lnTo>
                        <a:pt x="5" y="5"/>
                      </a:lnTo>
                      <a:lnTo>
                        <a:pt x="3" y="6"/>
                      </a:lnTo>
                      <a:lnTo>
                        <a:pt x="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2" name="Freeform 127"/>
                <p:cNvSpPr>
                  <a:spLocks/>
                </p:cNvSpPr>
                <p:nvPr/>
              </p:nvSpPr>
              <p:spPr bwMode="auto">
                <a:xfrm>
                  <a:off x="8770721" y="4681997"/>
                  <a:ext cx="5919" cy="7400"/>
                </a:xfrm>
                <a:custGeom>
                  <a:avLst/>
                  <a:gdLst>
                    <a:gd name="T0" fmla="*/ 2147483647 w 4"/>
                    <a:gd name="T1" fmla="*/ 2147483647 h 5"/>
                    <a:gd name="T2" fmla="*/ 2147483647 w 4"/>
                    <a:gd name="T3" fmla="*/ 2147483647 h 5"/>
                    <a:gd name="T4" fmla="*/ 2147483647 w 4"/>
                    <a:gd name="T5" fmla="*/ 2147483647 h 5"/>
                    <a:gd name="T6" fmla="*/ 2147483647 w 4"/>
                    <a:gd name="T7" fmla="*/ 0 h 5"/>
                    <a:gd name="T8" fmla="*/ 0 w 4"/>
                    <a:gd name="T9" fmla="*/ 2147483647 h 5"/>
                    <a:gd name="T10" fmla="*/ 0 w 4"/>
                    <a:gd name="T11" fmla="*/ 2147483647 h 5"/>
                    <a:gd name="T12" fmla="*/ 0 w 4"/>
                    <a:gd name="T13" fmla="*/ 2147483647 h 5"/>
                    <a:gd name="T14" fmla="*/ 0 w 4"/>
                    <a:gd name="T15" fmla="*/ 2147483647 h 5"/>
                    <a:gd name="T16" fmla="*/ 2147483647 w 4"/>
                    <a:gd name="T17" fmla="*/ 2147483647 h 5"/>
                    <a:gd name="T18" fmla="*/ 2147483647 w 4"/>
                    <a:gd name="T19" fmla="*/ 2147483647 h 5"/>
                    <a:gd name="T20" fmla="*/ 2147483647 w 4"/>
                    <a:gd name="T21" fmla="*/ 2147483647 h 5"/>
                    <a:gd name="T22" fmla="*/ 2147483647 w 4"/>
                    <a:gd name="T23" fmla="*/ 2147483647 h 5"/>
                    <a:gd name="T24" fmla="*/ 2147483647 w 4"/>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5"/>
                    <a:gd name="T41" fmla="*/ 4 w 4"/>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5">
                      <a:moveTo>
                        <a:pt x="4" y="4"/>
                      </a:moveTo>
                      <a:lnTo>
                        <a:pt x="4" y="4"/>
                      </a:lnTo>
                      <a:lnTo>
                        <a:pt x="3" y="2"/>
                      </a:lnTo>
                      <a:lnTo>
                        <a:pt x="2" y="0"/>
                      </a:lnTo>
                      <a:lnTo>
                        <a:pt x="0" y="2"/>
                      </a:lnTo>
                      <a:lnTo>
                        <a:pt x="0" y="4"/>
                      </a:lnTo>
                      <a:lnTo>
                        <a:pt x="2" y="5"/>
                      </a:lnTo>
                      <a:lnTo>
                        <a:pt x="3" y="5"/>
                      </a:lnTo>
                      <a:lnTo>
                        <a:pt x="4" y="5"/>
                      </a:lnTo>
                      <a:lnTo>
                        <a:pt x="4" y="3"/>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3" name="Freeform 128"/>
                <p:cNvSpPr>
                  <a:spLocks/>
                </p:cNvSpPr>
                <p:nvPr/>
              </p:nvSpPr>
              <p:spPr bwMode="auto">
                <a:xfrm>
                  <a:off x="8755922" y="4775228"/>
                  <a:ext cx="7400" cy="10359"/>
                </a:xfrm>
                <a:custGeom>
                  <a:avLst/>
                  <a:gdLst>
                    <a:gd name="T0" fmla="*/ 2147483647 w 6"/>
                    <a:gd name="T1" fmla="*/ 2147483647 h 7"/>
                    <a:gd name="T2" fmla="*/ 2147483647 w 6"/>
                    <a:gd name="T3" fmla="*/ 2147483647 h 7"/>
                    <a:gd name="T4" fmla="*/ 2147483647 w 6"/>
                    <a:gd name="T5" fmla="*/ 0 h 7"/>
                    <a:gd name="T6" fmla="*/ 0 w 6"/>
                    <a:gd name="T7" fmla="*/ 0 h 7"/>
                    <a:gd name="T8" fmla="*/ 0 w 6"/>
                    <a:gd name="T9" fmla="*/ 2147483647 h 7"/>
                    <a:gd name="T10" fmla="*/ 0 w 6"/>
                    <a:gd name="T11" fmla="*/ 2147483647 h 7"/>
                    <a:gd name="T12" fmla="*/ 2147483647 w 6"/>
                    <a:gd name="T13" fmla="*/ 2147483647 h 7"/>
                    <a:gd name="T14" fmla="*/ 2147483647 w 6"/>
                    <a:gd name="T15" fmla="*/ 2147483647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5" y="4"/>
                      </a:moveTo>
                      <a:lnTo>
                        <a:pt x="2" y="1"/>
                      </a:lnTo>
                      <a:lnTo>
                        <a:pt x="1" y="0"/>
                      </a:lnTo>
                      <a:lnTo>
                        <a:pt x="0" y="0"/>
                      </a:lnTo>
                      <a:lnTo>
                        <a:pt x="0" y="3"/>
                      </a:lnTo>
                      <a:lnTo>
                        <a:pt x="0" y="5"/>
                      </a:lnTo>
                      <a:lnTo>
                        <a:pt x="2" y="7"/>
                      </a:lnTo>
                      <a:lnTo>
                        <a:pt x="5" y="7"/>
                      </a:lnTo>
                      <a:lnTo>
                        <a:pt x="6" y="6"/>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4" name="Freeform 129"/>
                <p:cNvSpPr>
                  <a:spLocks/>
                </p:cNvSpPr>
                <p:nvPr/>
              </p:nvSpPr>
              <p:spPr bwMode="auto">
                <a:xfrm>
                  <a:off x="8982343" y="4716037"/>
                  <a:ext cx="10359" cy="7399"/>
                </a:xfrm>
                <a:custGeom>
                  <a:avLst/>
                  <a:gdLst>
                    <a:gd name="T0" fmla="*/ 2147483647 w 7"/>
                    <a:gd name="T1" fmla="*/ 2147483647 h 5"/>
                    <a:gd name="T2" fmla="*/ 2147483647 w 7"/>
                    <a:gd name="T3" fmla="*/ 0 h 5"/>
                    <a:gd name="T4" fmla="*/ 2147483647 w 7"/>
                    <a:gd name="T5" fmla="*/ 0 h 5"/>
                    <a:gd name="T6" fmla="*/ 0 w 7"/>
                    <a:gd name="T7" fmla="*/ 2147483647 h 5"/>
                    <a:gd name="T8" fmla="*/ 0 w 7"/>
                    <a:gd name="T9" fmla="*/ 2147483647 h 5"/>
                    <a:gd name="T10" fmla="*/ 2147483647 w 7"/>
                    <a:gd name="T11" fmla="*/ 2147483647 h 5"/>
                    <a:gd name="T12" fmla="*/ 2147483647 w 7"/>
                    <a:gd name="T13" fmla="*/ 2147483647 h 5"/>
                    <a:gd name="T14" fmla="*/ 2147483647 w 7"/>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5"/>
                    <a:gd name="T26" fmla="*/ 7 w 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5">
                      <a:moveTo>
                        <a:pt x="7" y="4"/>
                      </a:moveTo>
                      <a:lnTo>
                        <a:pt x="3" y="0"/>
                      </a:lnTo>
                      <a:lnTo>
                        <a:pt x="2" y="0"/>
                      </a:lnTo>
                      <a:lnTo>
                        <a:pt x="0" y="1"/>
                      </a:lnTo>
                      <a:lnTo>
                        <a:pt x="0" y="4"/>
                      </a:lnTo>
                      <a:lnTo>
                        <a:pt x="2" y="5"/>
                      </a:lnTo>
                      <a:lnTo>
                        <a:pt x="5" y="5"/>
                      </a:lnTo>
                      <a:lnTo>
                        <a:pt x="7"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5" name="Freeform 130"/>
                <p:cNvSpPr>
                  <a:spLocks/>
                </p:cNvSpPr>
                <p:nvPr/>
              </p:nvSpPr>
              <p:spPr bwMode="auto">
                <a:xfrm>
                  <a:off x="8754447" y="4773749"/>
                  <a:ext cx="7399" cy="10360"/>
                </a:xfrm>
                <a:custGeom>
                  <a:avLst/>
                  <a:gdLst>
                    <a:gd name="T0" fmla="*/ 2147483647 w 6"/>
                    <a:gd name="T1" fmla="*/ 2147483647 h 7"/>
                    <a:gd name="T2" fmla="*/ 2147483647 w 6"/>
                    <a:gd name="T3" fmla="*/ 2147483647 h 7"/>
                    <a:gd name="T4" fmla="*/ 2147483647 w 6"/>
                    <a:gd name="T5" fmla="*/ 2147483647 h 7"/>
                    <a:gd name="T6" fmla="*/ 2147483647 w 6"/>
                    <a:gd name="T7" fmla="*/ 0 h 7"/>
                    <a:gd name="T8" fmla="*/ 0 w 6"/>
                    <a:gd name="T9" fmla="*/ 0 h 7"/>
                    <a:gd name="T10" fmla="*/ 0 w 6"/>
                    <a:gd name="T11" fmla="*/ 0 h 7"/>
                    <a:gd name="T12" fmla="*/ 0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5" y="4"/>
                      </a:moveTo>
                      <a:lnTo>
                        <a:pt x="5" y="4"/>
                      </a:lnTo>
                      <a:lnTo>
                        <a:pt x="2" y="1"/>
                      </a:lnTo>
                      <a:lnTo>
                        <a:pt x="1" y="0"/>
                      </a:lnTo>
                      <a:lnTo>
                        <a:pt x="0" y="0"/>
                      </a:lnTo>
                      <a:lnTo>
                        <a:pt x="0" y="2"/>
                      </a:lnTo>
                      <a:lnTo>
                        <a:pt x="0" y="5"/>
                      </a:lnTo>
                      <a:lnTo>
                        <a:pt x="2" y="7"/>
                      </a:lnTo>
                      <a:lnTo>
                        <a:pt x="5" y="7"/>
                      </a:lnTo>
                      <a:lnTo>
                        <a:pt x="6" y="6"/>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6" name="Freeform 131"/>
                <p:cNvSpPr>
                  <a:spLocks/>
                </p:cNvSpPr>
                <p:nvPr/>
              </p:nvSpPr>
              <p:spPr bwMode="auto">
                <a:xfrm>
                  <a:off x="8980864" y="4714553"/>
                  <a:ext cx="8879" cy="7400"/>
                </a:xfrm>
                <a:custGeom>
                  <a:avLst/>
                  <a:gdLst>
                    <a:gd name="T0" fmla="*/ 2147483647 w 6"/>
                    <a:gd name="T1" fmla="*/ 2147483647 h 5"/>
                    <a:gd name="T2" fmla="*/ 2147483647 w 6"/>
                    <a:gd name="T3" fmla="*/ 2147483647 h 5"/>
                    <a:gd name="T4" fmla="*/ 2147483647 w 6"/>
                    <a:gd name="T5" fmla="*/ 0 h 5"/>
                    <a:gd name="T6" fmla="*/ 2147483647 w 6"/>
                    <a:gd name="T7" fmla="*/ 0 h 5"/>
                    <a:gd name="T8" fmla="*/ 0 w 6"/>
                    <a:gd name="T9" fmla="*/ 2147483647 h 5"/>
                    <a:gd name="T10" fmla="*/ 0 w 6"/>
                    <a:gd name="T11" fmla="*/ 2147483647 h 5"/>
                    <a:gd name="T12" fmla="*/ 0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6" y="3"/>
                      </a:moveTo>
                      <a:lnTo>
                        <a:pt x="6" y="3"/>
                      </a:lnTo>
                      <a:lnTo>
                        <a:pt x="3" y="0"/>
                      </a:lnTo>
                      <a:lnTo>
                        <a:pt x="1" y="0"/>
                      </a:lnTo>
                      <a:lnTo>
                        <a:pt x="0" y="1"/>
                      </a:lnTo>
                      <a:lnTo>
                        <a:pt x="0" y="3"/>
                      </a:lnTo>
                      <a:lnTo>
                        <a:pt x="1" y="5"/>
                      </a:lnTo>
                      <a:lnTo>
                        <a:pt x="5" y="5"/>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7" name="Freeform 132"/>
                <p:cNvSpPr>
                  <a:spLocks/>
                </p:cNvSpPr>
                <p:nvPr/>
              </p:nvSpPr>
              <p:spPr bwMode="auto">
                <a:xfrm>
                  <a:off x="9026743" y="4738235"/>
                  <a:ext cx="7399" cy="8879"/>
                </a:xfrm>
                <a:custGeom>
                  <a:avLst/>
                  <a:gdLst>
                    <a:gd name="T0" fmla="*/ 2147483647 w 6"/>
                    <a:gd name="T1" fmla="*/ 2147483647 h 6"/>
                    <a:gd name="T2" fmla="*/ 2147483647 w 6"/>
                    <a:gd name="T3" fmla="*/ 2147483647 h 6"/>
                    <a:gd name="T4" fmla="*/ 2147483647 w 6"/>
                    <a:gd name="T5" fmla="*/ 0 h 6"/>
                    <a:gd name="T6" fmla="*/ 2147483647 w 6"/>
                    <a:gd name="T7" fmla="*/ 0 h 6"/>
                    <a:gd name="T8" fmla="*/ 0 w 6"/>
                    <a:gd name="T9" fmla="*/ 0 h 6"/>
                    <a:gd name="T10" fmla="*/ 0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5"/>
                      </a:moveTo>
                      <a:lnTo>
                        <a:pt x="6" y="3"/>
                      </a:lnTo>
                      <a:lnTo>
                        <a:pt x="4" y="0"/>
                      </a:lnTo>
                      <a:lnTo>
                        <a:pt x="3" y="0"/>
                      </a:lnTo>
                      <a:lnTo>
                        <a:pt x="0" y="0"/>
                      </a:lnTo>
                      <a:lnTo>
                        <a:pt x="0" y="3"/>
                      </a:lnTo>
                      <a:lnTo>
                        <a:pt x="1" y="4"/>
                      </a:lnTo>
                      <a:lnTo>
                        <a:pt x="4" y="6"/>
                      </a:lnTo>
                      <a:lnTo>
                        <a:pt x="5" y="6"/>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8" name="Freeform 133"/>
                <p:cNvSpPr>
                  <a:spLocks/>
                </p:cNvSpPr>
                <p:nvPr/>
              </p:nvSpPr>
              <p:spPr bwMode="auto">
                <a:xfrm>
                  <a:off x="9053381" y="4733796"/>
                  <a:ext cx="7399" cy="8879"/>
                </a:xfrm>
                <a:custGeom>
                  <a:avLst/>
                  <a:gdLst>
                    <a:gd name="T0" fmla="*/ 2147483647 w 5"/>
                    <a:gd name="T1" fmla="*/ 2147483647 h 6"/>
                    <a:gd name="T2" fmla="*/ 2147483647 w 5"/>
                    <a:gd name="T3" fmla="*/ 2147483647 h 6"/>
                    <a:gd name="T4" fmla="*/ 2147483647 w 5"/>
                    <a:gd name="T5" fmla="*/ 0 h 6"/>
                    <a:gd name="T6" fmla="*/ 2147483647 w 5"/>
                    <a:gd name="T7" fmla="*/ 0 h 6"/>
                    <a:gd name="T8" fmla="*/ 0 w 5"/>
                    <a:gd name="T9" fmla="*/ 2147483647 h 6"/>
                    <a:gd name="T10" fmla="*/ 0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5"/>
                      </a:moveTo>
                      <a:lnTo>
                        <a:pt x="5" y="1"/>
                      </a:lnTo>
                      <a:lnTo>
                        <a:pt x="4" y="0"/>
                      </a:lnTo>
                      <a:lnTo>
                        <a:pt x="2" y="0"/>
                      </a:lnTo>
                      <a:lnTo>
                        <a:pt x="0" y="1"/>
                      </a:lnTo>
                      <a:lnTo>
                        <a:pt x="0" y="2"/>
                      </a:lnTo>
                      <a:lnTo>
                        <a:pt x="2" y="6"/>
                      </a:lnTo>
                      <a:lnTo>
                        <a:pt x="4" y="6"/>
                      </a:lnTo>
                      <a:lnTo>
                        <a:pt x="5" y="6"/>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39" name="Freeform 134"/>
                <p:cNvSpPr>
                  <a:spLocks/>
                </p:cNvSpPr>
                <p:nvPr/>
              </p:nvSpPr>
              <p:spPr bwMode="auto">
                <a:xfrm>
                  <a:off x="9025259" y="4736755"/>
                  <a:ext cx="7400" cy="8879"/>
                </a:xfrm>
                <a:custGeom>
                  <a:avLst/>
                  <a:gdLst>
                    <a:gd name="T0" fmla="*/ 2147483647 w 6"/>
                    <a:gd name="T1" fmla="*/ 2147483647 h 6"/>
                    <a:gd name="T2" fmla="*/ 2147483647 w 6"/>
                    <a:gd name="T3" fmla="*/ 2147483647 h 6"/>
                    <a:gd name="T4" fmla="*/ 2147483647 w 6"/>
                    <a:gd name="T5" fmla="*/ 2147483647 h 6"/>
                    <a:gd name="T6" fmla="*/ 2147483647 w 6"/>
                    <a:gd name="T7" fmla="*/ 0 h 6"/>
                    <a:gd name="T8" fmla="*/ 2147483647 w 6"/>
                    <a:gd name="T9" fmla="*/ 0 h 6"/>
                    <a:gd name="T10" fmla="*/ 0 w 6"/>
                    <a:gd name="T11" fmla="*/ 0 h 6"/>
                    <a:gd name="T12" fmla="*/ 0 w 6"/>
                    <a:gd name="T13" fmla="*/ 0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6" y="5"/>
                      </a:moveTo>
                      <a:lnTo>
                        <a:pt x="6" y="5"/>
                      </a:lnTo>
                      <a:lnTo>
                        <a:pt x="6" y="3"/>
                      </a:lnTo>
                      <a:lnTo>
                        <a:pt x="4" y="0"/>
                      </a:lnTo>
                      <a:lnTo>
                        <a:pt x="2" y="0"/>
                      </a:lnTo>
                      <a:lnTo>
                        <a:pt x="0" y="0"/>
                      </a:lnTo>
                      <a:lnTo>
                        <a:pt x="0" y="3"/>
                      </a:lnTo>
                      <a:lnTo>
                        <a:pt x="1" y="4"/>
                      </a:lnTo>
                      <a:lnTo>
                        <a:pt x="4" y="6"/>
                      </a:lnTo>
                      <a:lnTo>
                        <a:pt x="5" y="6"/>
                      </a:lnTo>
                      <a:lnTo>
                        <a:pt x="6"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0" name="Freeform 135"/>
                <p:cNvSpPr>
                  <a:spLocks/>
                </p:cNvSpPr>
                <p:nvPr/>
              </p:nvSpPr>
              <p:spPr bwMode="auto">
                <a:xfrm>
                  <a:off x="9051897" y="4732315"/>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2147483647 w 5"/>
                    <a:gd name="T11" fmla="*/ 0 h 6"/>
                    <a:gd name="T12" fmla="*/ 0 w 5"/>
                    <a:gd name="T13" fmla="*/ 2147483647 h 6"/>
                    <a:gd name="T14" fmla="*/ 0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4"/>
                      </a:moveTo>
                      <a:lnTo>
                        <a:pt x="5" y="4"/>
                      </a:lnTo>
                      <a:lnTo>
                        <a:pt x="5" y="1"/>
                      </a:lnTo>
                      <a:lnTo>
                        <a:pt x="4" y="0"/>
                      </a:lnTo>
                      <a:lnTo>
                        <a:pt x="1" y="0"/>
                      </a:lnTo>
                      <a:lnTo>
                        <a:pt x="0" y="1"/>
                      </a:lnTo>
                      <a:lnTo>
                        <a:pt x="0" y="2"/>
                      </a:lnTo>
                      <a:lnTo>
                        <a:pt x="1" y="6"/>
                      </a:lnTo>
                      <a:lnTo>
                        <a:pt x="4" y="6"/>
                      </a:lnTo>
                      <a:lnTo>
                        <a:pt x="5" y="6"/>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1" name="Freeform 136"/>
                <p:cNvSpPr>
                  <a:spLocks/>
                </p:cNvSpPr>
                <p:nvPr/>
              </p:nvSpPr>
              <p:spPr bwMode="auto">
                <a:xfrm>
                  <a:off x="9050421" y="4686439"/>
                  <a:ext cx="7399" cy="8879"/>
                </a:xfrm>
                <a:custGeom>
                  <a:avLst/>
                  <a:gdLst>
                    <a:gd name="T0" fmla="*/ 2147483647 w 5"/>
                    <a:gd name="T1" fmla="*/ 2147483647 h 6"/>
                    <a:gd name="T2" fmla="*/ 2147483647 w 5"/>
                    <a:gd name="T3" fmla="*/ 0 h 6"/>
                    <a:gd name="T4" fmla="*/ 2147483647 w 5"/>
                    <a:gd name="T5" fmla="*/ 0 h 6"/>
                    <a:gd name="T6" fmla="*/ 0 w 5"/>
                    <a:gd name="T7" fmla="*/ 2147483647 h 6"/>
                    <a:gd name="T8" fmla="*/ 0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4" y="2"/>
                      </a:moveTo>
                      <a:lnTo>
                        <a:pt x="2" y="0"/>
                      </a:lnTo>
                      <a:lnTo>
                        <a:pt x="1" y="0"/>
                      </a:lnTo>
                      <a:lnTo>
                        <a:pt x="0" y="1"/>
                      </a:lnTo>
                      <a:lnTo>
                        <a:pt x="0" y="3"/>
                      </a:lnTo>
                      <a:lnTo>
                        <a:pt x="2" y="6"/>
                      </a:lnTo>
                      <a:lnTo>
                        <a:pt x="4" y="6"/>
                      </a:lnTo>
                      <a:lnTo>
                        <a:pt x="5" y="5"/>
                      </a:lnTo>
                      <a:lnTo>
                        <a:pt x="4"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2" name="Freeform 137"/>
                <p:cNvSpPr>
                  <a:spLocks/>
                </p:cNvSpPr>
                <p:nvPr/>
              </p:nvSpPr>
              <p:spPr bwMode="auto">
                <a:xfrm>
                  <a:off x="8902430" y="3760037"/>
                  <a:ext cx="10359" cy="13319"/>
                </a:xfrm>
                <a:custGeom>
                  <a:avLst/>
                  <a:gdLst>
                    <a:gd name="T0" fmla="*/ 2147483647 w 8"/>
                    <a:gd name="T1" fmla="*/ 2147483647 h 9"/>
                    <a:gd name="T2" fmla="*/ 2147483647 w 8"/>
                    <a:gd name="T3" fmla="*/ 2147483647 h 9"/>
                    <a:gd name="T4" fmla="*/ 2147483647 w 8"/>
                    <a:gd name="T5" fmla="*/ 0 h 9"/>
                    <a:gd name="T6" fmla="*/ 2147483647 w 8"/>
                    <a:gd name="T7" fmla="*/ 0 h 9"/>
                    <a:gd name="T8" fmla="*/ 2147483647 w 8"/>
                    <a:gd name="T9" fmla="*/ 0 h 9"/>
                    <a:gd name="T10" fmla="*/ 2147483647 w 8"/>
                    <a:gd name="T11" fmla="*/ 2147483647 h 9"/>
                    <a:gd name="T12" fmla="*/ 0 w 8"/>
                    <a:gd name="T13" fmla="*/ 2147483647 h 9"/>
                    <a:gd name="T14" fmla="*/ 2147483647 w 8"/>
                    <a:gd name="T15" fmla="*/ 2147483647 h 9"/>
                    <a:gd name="T16" fmla="*/ 2147483647 w 8"/>
                    <a:gd name="T17" fmla="*/ 2147483647 h 9"/>
                    <a:gd name="T18" fmla="*/ 2147483647 w 8"/>
                    <a:gd name="T19" fmla="*/ 2147483647 h 9"/>
                    <a:gd name="T20" fmla="*/ 2147483647 w 8"/>
                    <a:gd name="T21" fmla="*/ 2147483647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9"/>
                    <a:gd name="T35" fmla="*/ 8 w 8"/>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9">
                      <a:moveTo>
                        <a:pt x="6" y="7"/>
                      </a:moveTo>
                      <a:lnTo>
                        <a:pt x="8" y="3"/>
                      </a:lnTo>
                      <a:lnTo>
                        <a:pt x="8" y="0"/>
                      </a:lnTo>
                      <a:lnTo>
                        <a:pt x="6" y="0"/>
                      </a:lnTo>
                      <a:lnTo>
                        <a:pt x="5" y="0"/>
                      </a:lnTo>
                      <a:lnTo>
                        <a:pt x="1" y="5"/>
                      </a:lnTo>
                      <a:lnTo>
                        <a:pt x="0" y="7"/>
                      </a:lnTo>
                      <a:lnTo>
                        <a:pt x="1" y="9"/>
                      </a:lnTo>
                      <a:lnTo>
                        <a:pt x="2" y="9"/>
                      </a:lnTo>
                      <a:lnTo>
                        <a:pt x="3" y="9"/>
                      </a:lnTo>
                      <a:lnTo>
                        <a:pt x="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3" name="Freeform 138"/>
                <p:cNvSpPr>
                  <a:spLocks/>
                </p:cNvSpPr>
                <p:nvPr/>
              </p:nvSpPr>
              <p:spPr bwMode="auto">
                <a:xfrm>
                  <a:off x="9048937" y="4684960"/>
                  <a:ext cx="7400" cy="8879"/>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6"/>
                    <a:gd name="T41" fmla="*/ 5 w 5"/>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6">
                      <a:moveTo>
                        <a:pt x="3" y="2"/>
                      </a:moveTo>
                      <a:lnTo>
                        <a:pt x="3" y="2"/>
                      </a:lnTo>
                      <a:lnTo>
                        <a:pt x="2" y="0"/>
                      </a:lnTo>
                      <a:lnTo>
                        <a:pt x="1" y="0"/>
                      </a:lnTo>
                      <a:lnTo>
                        <a:pt x="0" y="1"/>
                      </a:lnTo>
                      <a:lnTo>
                        <a:pt x="0" y="3"/>
                      </a:lnTo>
                      <a:lnTo>
                        <a:pt x="2" y="6"/>
                      </a:lnTo>
                      <a:lnTo>
                        <a:pt x="3" y="6"/>
                      </a:lnTo>
                      <a:lnTo>
                        <a:pt x="5" y="4"/>
                      </a:lnTo>
                      <a:lnTo>
                        <a:pt x="3"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4" name="Freeform 139"/>
                <p:cNvSpPr>
                  <a:spLocks/>
                </p:cNvSpPr>
                <p:nvPr/>
              </p:nvSpPr>
              <p:spPr bwMode="auto">
                <a:xfrm>
                  <a:off x="8899470" y="3758555"/>
                  <a:ext cx="11839" cy="13319"/>
                </a:xfrm>
                <a:custGeom>
                  <a:avLst/>
                  <a:gdLst>
                    <a:gd name="T0" fmla="*/ 2147483647 w 9"/>
                    <a:gd name="T1" fmla="*/ 2147483647 h 9"/>
                    <a:gd name="T2" fmla="*/ 2147483647 w 9"/>
                    <a:gd name="T3" fmla="*/ 2147483647 h 9"/>
                    <a:gd name="T4" fmla="*/ 2147483647 w 9"/>
                    <a:gd name="T5" fmla="*/ 2147483647 h 9"/>
                    <a:gd name="T6" fmla="*/ 2147483647 w 9"/>
                    <a:gd name="T7" fmla="*/ 0 h 9"/>
                    <a:gd name="T8" fmla="*/ 2147483647 w 9"/>
                    <a:gd name="T9" fmla="*/ 0 h 9"/>
                    <a:gd name="T10" fmla="*/ 2147483647 w 9"/>
                    <a:gd name="T11" fmla="*/ 0 h 9"/>
                    <a:gd name="T12" fmla="*/ 2147483647 w 9"/>
                    <a:gd name="T13" fmla="*/ 0 h 9"/>
                    <a:gd name="T14" fmla="*/ 2147483647 w 9"/>
                    <a:gd name="T15" fmla="*/ 0 h 9"/>
                    <a:gd name="T16" fmla="*/ 2147483647 w 9"/>
                    <a:gd name="T17" fmla="*/ 2147483647 h 9"/>
                    <a:gd name="T18" fmla="*/ 0 w 9"/>
                    <a:gd name="T19" fmla="*/ 2147483647 h 9"/>
                    <a:gd name="T20" fmla="*/ 2147483647 w 9"/>
                    <a:gd name="T21" fmla="*/ 2147483647 h 9"/>
                    <a:gd name="T22" fmla="*/ 2147483647 w 9"/>
                    <a:gd name="T23" fmla="*/ 2147483647 h 9"/>
                    <a:gd name="T24" fmla="*/ 2147483647 w 9"/>
                    <a:gd name="T25" fmla="*/ 2147483647 h 9"/>
                    <a:gd name="T26" fmla="*/ 2147483647 w 9"/>
                    <a:gd name="T27" fmla="*/ 2147483647 h 9"/>
                    <a:gd name="T28" fmla="*/ 2147483647 w 9"/>
                    <a:gd name="T29" fmla="*/ 2147483647 h 9"/>
                    <a:gd name="T30" fmla="*/ 2147483647 w 9"/>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7" y="7"/>
                      </a:moveTo>
                      <a:lnTo>
                        <a:pt x="7" y="7"/>
                      </a:lnTo>
                      <a:lnTo>
                        <a:pt x="9" y="3"/>
                      </a:lnTo>
                      <a:lnTo>
                        <a:pt x="9" y="0"/>
                      </a:lnTo>
                      <a:lnTo>
                        <a:pt x="7" y="0"/>
                      </a:lnTo>
                      <a:lnTo>
                        <a:pt x="5" y="0"/>
                      </a:lnTo>
                      <a:lnTo>
                        <a:pt x="2" y="4"/>
                      </a:lnTo>
                      <a:lnTo>
                        <a:pt x="0" y="7"/>
                      </a:lnTo>
                      <a:lnTo>
                        <a:pt x="2" y="9"/>
                      </a:lnTo>
                      <a:lnTo>
                        <a:pt x="3" y="9"/>
                      </a:lnTo>
                      <a:lnTo>
                        <a:pt x="4" y="9"/>
                      </a:lnTo>
                      <a:lnTo>
                        <a:pt x="7"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5" name="Freeform 140"/>
                <p:cNvSpPr>
                  <a:spLocks/>
                </p:cNvSpPr>
                <p:nvPr/>
              </p:nvSpPr>
              <p:spPr bwMode="auto">
                <a:xfrm>
                  <a:off x="8751483" y="3751160"/>
                  <a:ext cx="10359" cy="13319"/>
                </a:xfrm>
                <a:custGeom>
                  <a:avLst/>
                  <a:gdLst>
                    <a:gd name="T0" fmla="*/ 2147483647 w 7"/>
                    <a:gd name="T1" fmla="*/ 2147483647 h 9"/>
                    <a:gd name="T2" fmla="*/ 2147483647 w 7"/>
                    <a:gd name="T3" fmla="*/ 2147483647 h 9"/>
                    <a:gd name="T4" fmla="*/ 2147483647 w 7"/>
                    <a:gd name="T5" fmla="*/ 2147483647 h 9"/>
                    <a:gd name="T6" fmla="*/ 2147483647 w 7"/>
                    <a:gd name="T7" fmla="*/ 0 h 9"/>
                    <a:gd name="T8" fmla="*/ 2147483647 w 7"/>
                    <a:gd name="T9" fmla="*/ 2147483647 h 9"/>
                    <a:gd name="T10" fmla="*/ 2147483647 w 7"/>
                    <a:gd name="T11" fmla="*/ 2147483647 h 9"/>
                    <a:gd name="T12" fmla="*/ 0 w 7"/>
                    <a:gd name="T13" fmla="*/ 2147483647 h 9"/>
                    <a:gd name="T14" fmla="*/ 2147483647 w 7"/>
                    <a:gd name="T15" fmla="*/ 2147483647 h 9"/>
                    <a:gd name="T16" fmla="*/ 2147483647 w 7"/>
                    <a:gd name="T17" fmla="*/ 2147483647 h 9"/>
                    <a:gd name="T18" fmla="*/ 2147483647 w 7"/>
                    <a:gd name="T19" fmla="*/ 2147483647 h 9"/>
                    <a:gd name="T20" fmla="*/ 2147483647 w 7"/>
                    <a:gd name="T21" fmla="*/ 2147483647 h 9"/>
                    <a:gd name="T22" fmla="*/ 2147483647 w 7"/>
                    <a:gd name="T23" fmla="*/ 2147483647 h 9"/>
                    <a:gd name="T24" fmla="*/ 2147483647 w 7"/>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9"/>
                    <a:gd name="T41" fmla="*/ 7 w 7"/>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9">
                      <a:moveTo>
                        <a:pt x="7" y="6"/>
                      </a:moveTo>
                      <a:lnTo>
                        <a:pt x="7" y="3"/>
                      </a:lnTo>
                      <a:lnTo>
                        <a:pt x="7" y="2"/>
                      </a:lnTo>
                      <a:lnTo>
                        <a:pt x="4" y="0"/>
                      </a:lnTo>
                      <a:lnTo>
                        <a:pt x="3" y="1"/>
                      </a:lnTo>
                      <a:lnTo>
                        <a:pt x="2" y="2"/>
                      </a:lnTo>
                      <a:lnTo>
                        <a:pt x="0" y="5"/>
                      </a:lnTo>
                      <a:lnTo>
                        <a:pt x="2" y="7"/>
                      </a:lnTo>
                      <a:lnTo>
                        <a:pt x="3" y="9"/>
                      </a:lnTo>
                      <a:lnTo>
                        <a:pt x="4" y="9"/>
                      </a:lnTo>
                      <a:lnTo>
                        <a:pt x="5" y="9"/>
                      </a:lnTo>
                      <a:lnTo>
                        <a:pt x="7" y="7"/>
                      </a:lnTo>
                      <a:lnTo>
                        <a:pt x="7"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6" name="Freeform 141"/>
                <p:cNvSpPr>
                  <a:spLocks/>
                </p:cNvSpPr>
                <p:nvPr/>
              </p:nvSpPr>
              <p:spPr bwMode="auto">
                <a:xfrm>
                  <a:off x="8713006" y="3714160"/>
                  <a:ext cx="10359" cy="11839"/>
                </a:xfrm>
                <a:custGeom>
                  <a:avLst/>
                  <a:gdLst>
                    <a:gd name="T0" fmla="*/ 2147483647 w 7"/>
                    <a:gd name="T1" fmla="*/ 2147483647 h 8"/>
                    <a:gd name="T2" fmla="*/ 2147483647 w 7"/>
                    <a:gd name="T3" fmla="*/ 2147483647 h 8"/>
                    <a:gd name="T4" fmla="*/ 2147483647 w 7"/>
                    <a:gd name="T5" fmla="*/ 0 h 8"/>
                    <a:gd name="T6" fmla="*/ 2147483647 w 7"/>
                    <a:gd name="T7" fmla="*/ 0 h 8"/>
                    <a:gd name="T8" fmla="*/ 2147483647 w 7"/>
                    <a:gd name="T9" fmla="*/ 0 h 8"/>
                    <a:gd name="T10" fmla="*/ 0 w 7"/>
                    <a:gd name="T11" fmla="*/ 2147483647 h 8"/>
                    <a:gd name="T12" fmla="*/ 0 w 7"/>
                    <a:gd name="T13" fmla="*/ 2147483647 h 8"/>
                    <a:gd name="T14" fmla="*/ 2147483647 w 7"/>
                    <a:gd name="T15" fmla="*/ 2147483647 h 8"/>
                    <a:gd name="T16" fmla="*/ 2147483647 w 7"/>
                    <a:gd name="T17" fmla="*/ 2147483647 h 8"/>
                    <a:gd name="T18" fmla="*/ 2147483647 w 7"/>
                    <a:gd name="T19" fmla="*/ 2147483647 h 8"/>
                    <a:gd name="T20" fmla="*/ 2147483647 w 7"/>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8"/>
                    <a:gd name="T35" fmla="*/ 7 w 7"/>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8">
                      <a:moveTo>
                        <a:pt x="7" y="5"/>
                      </a:moveTo>
                      <a:lnTo>
                        <a:pt x="6" y="1"/>
                      </a:lnTo>
                      <a:lnTo>
                        <a:pt x="4" y="0"/>
                      </a:lnTo>
                      <a:lnTo>
                        <a:pt x="3" y="0"/>
                      </a:lnTo>
                      <a:lnTo>
                        <a:pt x="2" y="0"/>
                      </a:lnTo>
                      <a:lnTo>
                        <a:pt x="0" y="1"/>
                      </a:lnTo>
                      <a:lnTo>
                        <a:pt x="0" y="5"/>
                      </a:lnTo>
                      <a:lnTo>
                        <a:pt x="3" y="7"/>
                      </a:lnTo>
                      <a:lnTo>
                        <a:pt x="4" y="8"/>
                      </a:lnTo>
                      <a:lnTo>
                        <a:pt x="7" y="7"/>
                      </a:lnTo>
                      <a:lnTo>
                        <a:pt x="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7" name="Freeform 142"/>
                <p:cNvSpPr>
                  <a:spLocks/>
                </p:cNvSpPr>
                <p:nvPr/>
              </p:nvSpPr>
              <p:spPr bwMode="auto">
                <a:xfrm>
                  <a:off x="8750004" y="3749676"/>
                  <a:ext cx="8879" cy="13319"/>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0 h 9"/>
                    <a:gd name="T12" fmla="*/ 2147483647 w 6"/>
                    <a:gd name="T13" fmla="*/ 2147483647 h 9"/>
                    <a:gd name="T14" fmla="*/ 2147483647 w 6"/>
                    <a:gd name="T15" fmla="*/ 2147483647 h 9"/>
                    <a:gd name="T16" fmla="*/ 2147483647 w 6"/>
                    <a:gd name="T17" fmla="*/ 2147483647 h 9"/>
                    <a:gd name="T18" fmla="*/ 0 w 6"/>
                    <a:gd name="T19" fmla="*/ 2147483647 h 9"/>
                    <a:gd name="T20" fmla="*/ 2147483647 w 6"/>
                    <a:gd name="T21" fmla="*/ 2147483647 h 9"/>
                    <a:gd name="T22" fmla="*/ 2147483647 w 6"/>
                    <a:gd name="T23" fmla="*/ 2147483647 h 9"/>
                    <a:gd name="T24" fmla="*/ 2147483647 w 6"/>
                    <a:gd name="T25" fmla="*/ 2147483647 h 9"/>
                    <a:gd name="T26" fmla="*/ 2147483647 w 6"/>
                    <a:gd name="T27" fmla="*/ 2147483647 h 9"/>
                    <a:gd name="T28" fmla="*/ 2147483647 w 6"/>
                    <a:gd name="T29" fmla="*/ 2147483647 h 9"/>
                    <a:gd name="T30" fmla="*/ 2147483647 w 6"/>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9"/>
                    <a:gd name="T50" fmla="*/ 6 w 6"/>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9">
                      <a:moveTo>
                        <a:pt x="6" y="6"/>
                      </a:moveTo>
                      <a:lnTo>
                        <a:pt x="6" y="6"/>
                      </a:lnTo>
                      <a:lnTo>
                        <a:pt x="6" y="3"/>
                      </a:lnTo>
                      <a:lnTo>
                        <a:pt x="6" y="2"/>
                      </a:lnTo>
                      <a:lnTo>
                        <a:pt x="4" y="0"/>
                      </a:lnTo>
                      <a:lnTo>
                        <a:pt x="3" y="1"/>
                      </a:lnTo>
                      <a:lnTo>
                        <a:pt x="1" y="2"/>
                      </a:lnTo>
                      <a:lnTo>
                        <a:pt x="0" y="4"/>
                      </a:lnTo>
                      <a:lnTo>
                        <a:pt x="1" y="7"/>
                      </a:lnTo>
                      <a:lnTo>
                        <a:pt x="3" y="9"/>
                      </a:lnTo>
                      <a:lnTo>
                        <a:pt x="4" y="9"/>
                      </a:lnTo>
                      <a:lnTo>
                        <a:pt x="5" y="9"/>
                      </a:lnTo>
                      <a:lnTo>
                        <a:pt x="6" y="7"/>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8" name="Freeform 143"/>
                <p:cNvSpPr>
                  <a:spLocks/>
                </p:cNvSpPr>
                <p:nvPr/>
              </p:nvSpPr>
              <p:spPr bwMode="auto">
                <a:xfrm>
                  <a:off x="8711530" y="3712681"/>
                  <a:ext cx="10360" cy="11839"/>
                </a:xfrm>
                <a:custGeom>
                  <a:avLst/>
                  <a:gdLst>
                    <a:gd name="T0" fmla="*/ 2147483647 w 7"/>
                    <a:gd name="T1" fmla="*/ 2147483647 h 8"/>
                    <a:gd name="T2" fmla="*/ 2147483647 w 7"/>
                    <a:gd name="T3" fmla="*/ 2147483647 h 8"/>
                    <a:gd name="T4" fmla="*/ 2147483647 w 7"/>
                    <a:gd name="T5" fmla="*/ 2147483647 h 8"/>
                    <a:gd name="T6" fmla="*/ 2147483647 w 7"/>
                    <a:gd name="T7" fmla="*/ 0 h 8"/>
                    <a:gd name="T8" fmla="*/ 2147483647 w 7"/>
                    <a:gd name="T9" fmla="*/ 0 h 8"/>
                    <a:gd name="T10" fmla="*/ 2147483647 w 7"/>
                    <a:gd name="T11" fmla="*/ 0 h 8"/>
                    <a:gd name="T12" fmla="*/ 2147483647 w 7"/>
                    <a:gd name="T13" fmla="*/ 0 h 8"/>
                    <a:gd name="T14" fmla="*/ 0 w 7"/>
                    <a:gd name="T15" fmla="*/ 2147483647 h 8"/>
                    <a:gd name="T16" fmla="*/ 0 w 7"/>
                    <a:gd name="T17" fmla="*/ 2147483647 h 8"/>
                    <a:gd name="T18" fmla="*/ 2147483647 w 7"/>
                    <a:gd name="T19" fmla="*/ 2147483647 h 8"/>
                    <a:gd name="T20" fmla="*/ 2147483647 w 7"/>
                    <a:gd name="T21" fmla="*/ 2147483647 h 8"/>
                    <a:gd name="T22" fmla="*/ 2147483647 w 7"/>
                    <a:gd name="T23" fmla="*/ 2147483647 h 8"/>
                    <a:gd name="T24" fmla="*/ 2147483647 w 7"/>
                    <a:gd name="T25" fmla="*/ 2147483647 h 8"/>
                    <a:gd name="T26" fmla="*/ 2147483647 w 7"/>
                    <a:gd name="T27" fmla="*/ 2147483647 h 8"/>
                    <a:gd name="T28" fmla="*/ 2147483647 w 7"/>
                    <a:gd name="T29" fmla="*/ 2147483647 h 8"/>
                    <a:gd name="T30" fmla="*/ 2147483647 w 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8"/>
                    <a:gd name="T50" fmla="*/ 7 w 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8">
                      <a:moveTo>
                        <a:pt x="7" y="5"/>
                      </a:moveTo>
                      <a:lnTo>
                        <a:pt x="7" y="5"/>
                      </a:lnTo>
                      <a:lnTo>
                        <a:pt x="5" y="1"/>
                      </a:lnTo>
                      <a:lnTo>
                        <a:pt x="4" y="0"/>
                      </a:lnTo>
                      <a:lnTo>
                        <a:pt x="3" y="0"/>
                      </a:lnTo>
                      <a:lnTo>
                        <a:pt x="1" y="0"/>
                      </a:lnTo>
                      <a:lnTo>
                        <a:pt x="0" y="1"/>
                      </a:lnTo>
                      <a:lnTo>
                        <a:pt x="0" y="5"/>
                      </a:lnTo>
                      <a:lnTo>
                        <a:pt x="3" y="7"/>
                      </a:lnTo>
                      <a:lnTo>
                        <a:pt x="4" y="8"/>
                      </a:lnTo>
                      <a:lnTo>
                        <a:pt x="7" y="7"/>
                      </a:lnTo>
                      <a:lnTo>
                        <a:pt x="7"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49" name="Freeform 144"/>
                <p:cNvSpPr>
                  <a:spLocks/>
                </p:cNvSpPr>
                <p:nvPr/>
              </p:nvSpPr>
              <p:spPr bwMode="auto">
                <a:xfrm>
                  <a:off x="8088500" y="4375665"/>
                  <a:ext cx="10359" cy="10359"/>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0 w 7"/>
                    <a:gd name="T9" fmla="*/ 2147483647 h 7"/>
                    <a:gd name="T10" fmla="*/ 0 w 7"/>
                    <a:gd name="T11" fmla="*/ 2147483647 h 7"/>
                    <a:gd name="T12" fmla="*/ 2147483647 w 7"/>
                    <a:gd name="T13" fmla="*/ 0 h 7"/>
                    <a:gd name="T14" fmla="*/ 2147483647 w 7"/>
                    <a:gd name="T15" fmla="*/ 0 h 7"/>
                    <a:gd name="T16" fmla="*/ 2147483647 w 7"/>
                    <a:gd name="T17" fmla="*/ 0 h 7"/>
                    <a:gd name="T18" fmla="*/ 2147483647 w 7"/>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7"/>
                    <a:gd name="T32" fmla="*/ 7 w 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7">
                      <a:moveTo>
                        <a:pt x="7" y="4"/>
                      </a:moveTo>
                      <a:lnTo>
                        <a:pt x="7" y="6"/>
                      </a:lnTo>
                      <a:lnTo>
                        <a:pt x="5" y="7"/>
                      </a:lnTo>
                      <a:lnTo>
                        <a:pt x="3" y="6"/>
                      </a:lnTo>
                      <a:lnTo>
                        <a:pt x="0" y="5"/>
                      </a:lnTo>
                      <a:lnTo>
                        <a:pt x="0" y="2"/>
                      </a:lnTo>
                      <a:lnTo>
                        <a:pt x="2" y="0"/>
                      </a:lnTo>
                      <a:lnTo>
                        <a:pt x="3" y="0"/>
                      </a:lnTo>
                      <a:lnTo>
                        <a:pt x="4" y="0"/>
                      </a:lnTo>
                      <a:lnTo>
                        <a:pt x="7"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0" name="Freeform 145"/>
                <p:cNvSpPr>
                  <a:spLocks/>
                </p:cNvSpPr>
                <p:nvPr/>
              </p:nvSpPr>
              <p:spPr bwMode="auto">
                <a:xfrm>
                  <a:off x="8124018" y="4387506"/>
                  <a:ext cx="8879" cy="7399"/>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0 w 6"/>
                    <a:gd name="T9" fmla="*/ 2147483647 h 5"/>
                    <a:gd name="T10" fmla="*/ 2147483647 w 6"/>
                    <a:gd name="T11" fmla="*/ 0 h 5"/>
                    <a:gd name="T12" fmla="*/ 2147483647 w 6"/>
                    <a:gd name="T13" fmla="*/ 0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5"/>
                      </a:moveTo>
                      <a:lnTo>
                        <a:pt x="4" y="5"/>
                      </a:lnTo>
                      <a:lnTo>
                        <a:pt x="1" y="5"/>
                      </a:lnTo>
                      <a:lnTo>
                        <a:pt x="0" y="3"/>
                      </a:lnTo>
                      <a:lnTo>
                        <a:pt x="0" y="1"/>
                      </a:lnTo>
                      <a:lnTo>
                        <a:pt x="2" y="0"/>
                      </a:lnTo>
                      <a:lnTo>
                        <a:pt x="4" y="0"/>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1" name="Freeform 146"/>
                <p:cNvSpPr>
                  <a:spLocks/>
                </p:cNvSpPr>
                <p:nvPr/>
              </p:nvSpPr>
              <p:spPr bwMode="auto">
                <a:xfrm>
                  <a:off x="8087023" y="4374185"/>
                  <a:ext cx="887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0 w 6"/>
                    <a:gd name="T17" fmla="*/ 2147483647 h 7"/>
                    <a:gd name="T18" fmla="*/ 2147483647 w 6"/>
                    <a:gd name="T19" fmla="*/ 0 h 7"/>
                    <a:gd name="T20" fmla="*/ 2147483647 w 6"/>
                    <a:gd name="T21" fmla="*/ 0 h 7"/>
                    <a:gd name="T22" fmla="*/ 2147483647 w 6"/>
                    <a:gd name="T23" fmla="*/ 0 h 7"/>
                    <a:gd name="T24" fmla="*/ 2147483647 w 6"/>
                    <a:gd name="T25" fmla="*/ 0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3"/>
                      </a:moveTo>
                      <a:lnTo>
                        <a:pt x="6" y="3"/>
                      </a:lnTo>
                      <a:lnTo>
                        <a:pt x="6" y="6"/>
                      </a:lnTo>
                      <a:lnTo>
                        <a:pt x="5" y="7"/>
                      </a:lnTo>
                      <a:lnTo>
                        <a:pt x="3" y="6"/>
                      </a:lnTo>
                      <a:lnTo>
                        <a:pt x="0" y="5"/>
                      </a:lnTo>
                      <a:lnTo>
                        <a:pt x="0" y="2"/>
                      </a:lnTo>
                      <a:lnTo>
                        <a:pt x="1" y="0"/>
                      </a:lnTo>
                      <a:lnTo>
                        <a:pt x="3" y="0"/>
                      </a:lnTo>
                      <a:lnTo>
                        <a:pt x="4" y="0"/>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2" name="Freeform 147"/>
                <p:cNvSpPr>
                  <a:spLocks/>
                </p:cNvSpPr>
                <p:nvPr/>
              </p:nvSpPr>
              <p:spPr bwMode="auto">
                <a:xfrm>
                  <a:off x="8122538" y="4386021"/>
                  <a:ext cx="8879" cy="7400"/>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0 w 7"/>
                    <a:gd name="T9" fmla="*/ 2147483647 h 5"/>
                    <a:gd name="T10" fmla="*/ 0 w 7"/>
                    <a:gd name="T11" fmla="*/ 2147483647 h 5"/>
                    <a:gd name="T12" fmla="*/ 0 w 7"/>
                    <a:gd name="T13" fmla="*/ 2147483647 h 5"/>
                    <a:gd name="T14" fmla="*/ 2147483647 w 7"/>
                    <a:gd name="T15" fmla="*/ 0 h 5"/>
                    <a:gd name="T16" fmla="*/ 2147483647 w 7"/>
                    <a:gd name="T17" fmla="*/ 0 h 5"/>
                    <a:gd name="T18" fmla="*/ 2147483647 w 7"/>
                    <a:gd name="T19" fmla="*/ 2147483647 h 5"/>
                    <a:gd name="T20" fmla="*/ 2147483647 w 7"/>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5"/>
                    <a:gd name="T35" fmla="*/ 7 w 7"/>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5">
                      <a:moveTo>
                        <a:pt x="7" y="5"/>
                      </a:moveTo>
                      <a:lnTo>
                        <a:pt x="7" y="5"/>
                      </a:lnTo>
                      <a:lnTo>
                        <a:pt x="4" y="5"/>
                      </a:lnTo>
                      <a:lnTo>
                        <a:pt x="2" y="5"/>
                      </a:lnTo>
                      <a:lnTo>
                        <a:pt x="0" y="2"/>
                      </a:lnTo>
                      <a:lnTo>
                        <a:pt x="0" y="1"/>
                      </a:lnTo>
                      <a:lnTo>
                        <a:pt x="3" y="0"/>
                      </a:lnTo>
                      <a:lnTo>
                        <a:pt x="4" y="0"/>
                      </a:lnTo>
                      <a:lnTo>
                        <a:pt x="7"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3" name="Freeform 148"/>
                <p:cNvSpPr>
                  <a:spLocks/>
                </p:cNvSpPr>
                <p:nvPr/>
              </p:nvSpPr>
              <p:spPr bwMode="auto">
                <a:xfrm>
                  <a:off x="8137336" y="4357908"/>
                  <a:ext cx="7400" cy="7399"/>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0 w 6"/>
                    <a:gd name="T9" fmla="*/ 2147483647 h 5"/>
                    <a:gd name="T10" fmla="*/ 2147483647 w 6"/>
                    <a:gd name="T11" fmla="*/ 0 h 5"/>
                    <a:gd name="T12" fmla="*/ 2147483647 w 6"/>
                    <a:gd name="T13" fmla="*/ 0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4"/>
                      </a:moveTo>
                      <a:lnTo>
                        <a:pt x="5" y="5"/>
                      </a:lnTo>
                      <a:lnTo>
                        <a:pt x="2" y="5"/>
                      </a:lnTo>
                      <a:lnTo>
                        <a:pt x="1" y="5"/>
                      </a:lnTo>
                      <a:lnTo>
                        <a:pt x="0" y="1"/>
                      </a:lnTo>
                      <a:lnTo>
                        <a:pt x="1" y="0"/>
                      </a:lnTo>
                      <a:lnTo>
                        <a:pt x="2" y="0"/>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4" name="Freeform 149"/>
                <p:cNvSpPr>
                  <a:spLocks/>
                </p:cNvSpPr>
                <p:nvPr/>
              </p:nvSpPr>
              <p:spPr bwMode="auto">
                <a:xfrm>
                  <a:off x="8175812" y="4386025"/>
                  <a:ext cx="7400" cy="8879"/>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2147483647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4" y="6"/>
                      </a:lnTo>
                      <a:lnTo>
                        <a:pt x="1" y="6"/>
                      </a:lnTo>
                      <a:lnTo>
                        <a:pt x="0" y="4"/>
                      </a:lnTo>
                      <a:lnTo>
                        <a:pt x="1" y="1"/>
                      </a:lnTo>
                      <a:lnTo>
                        <a:pt x="2" y="0"/>
                      </a:lnTo>
                      <a:lnTo>
                        <a:pt x="4" y="0"/>
                      </a:lnTo>
                      <a:lnTo>
                        <a:pt x="5" y="2"/>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5" name="Freeform 150"/>
                <p:cNvSpPr>
                  <a:spLocks/>
                </p:cNvSpPr>
                <p:nvPr/>
              </p:nvSpPr>
              <p:spPr bwMode="auto">
                <a:xfrm>
                  <a:off x="8134377" y="4356424"/>
                  <a:ext cx="8879" cy="7400"/>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0 w 7"/>
                    <a:gd name="T17" fmla="*/ 2147483647 h 5"/>
                    <a:gd name="T18" fmla="*/ 2147483647 w 7"/>
                    <a:gd name="T19" fmla="*/ 0 h 5"/>
                    <a:gd name="T20" fmla="*/ 2147483647 w 7"/>
                    <a:gd name="T21" fmla="*/ 0 h 5"/>
                    <a:gd name="T22" fmla="*/ 2147483647 w 7"/>
                    <a:gd name="T23" fmla="*/ 2147483647 h 5"/>
                    <a:gd name="T24" fmla="*/ 2147483647 w 7"/>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5"/>
                    <a:gd name="T41" fmla="*/ 7 w 7"/>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5">
                      <a:moveTo>
                        <a:pt x="7" y="3"/>
                      </a:moveTo>
                      <a:lnTo>
                        <a:pt x="7" y="3"/>
                      </a:lnTo>
                      <a:lnTo>
                        <a:pt x="5" y="5"/>
                      </a:lnTo>
                      <a:lnTo>
                        <a:pt x="3" y="5"/>
                      </a:lnTo>
                      <a:lnTo>
                        <a:pt x="2" y="5"/>
                      </a:lnTo>
                      <a:lnTo>
                        <a:pt x="0" y="1"/>
                      </a:lnTo>
                      <a:lnTo>
                        <a:pt x="2" y="0"/>
                      </a:lnTo>
                      <a:lnTo>
                        <a:pt x="3" y="0"/>
                      </a:lnTo>
                      <a:lnTo>
                        <a:pt x="7"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6" name="Freeform 151"/>
                <p:cNvSpPr>
                  <a:spLocks/>
                </p:cNvSpPr>
                <p:nvPr/>
              </p:nvSpPr>
              <p:spPr bwMode="auto">
                <a:xfrm>
                  <a:off x="8175814" y="4384546"/>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2147483647 w 5"/>
                    <a:gd name="T13" fmla="*/ 2147483647 h 6"/>
                    <a:gd name="T14" fmla="*/ 2147483647 w 5"/>
                    <a:gd name="T15" fmla="*/ 2147483647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3" y="6"/>
                      </a:lnTo>
                      <a:lnTo>
                        <a:pt x="1" y="6"/>
                      </a:lnTo>
                      <a:lnTo>
                        <a:pt x="0" y="3"/>
                      </a:lnTo>
                      <a:lnTo>
                        <a:pt x="1" y="1"/>
                      </a:lnTo>
                      <a:lnTo>
                        <a:pt x="2" y="0"/>
                      </a:lnTo>
                      <a:lnTo>
                        <a:pt x="3" y="0"/>
                      </a:lnTo>
                      <a:lnTo>
                        <a:pt x="5" y="2"/>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7" name="Freeform 152"/>
                <p:cNvSpPr>
                  <a:spLocks/>
                </p:cNvSpPr>
                <p:nvPr/>
              </p:nvSpPr>
              <p:spPr bwMode="auto">
                <a:xfrm>
                  <a:off x="8196532" y="4357908"/>
                  <a:ext cx="5919" cy="7399"/>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0 w 4"/>
                    <a:gd name="T13" fmla="*/ 0 h 5"/>
                    <a:gd name="T14" fmla="*/ 2147483647 w 4"/>
                    <a:gd name="T15" fmla="*/ 0 h 5"/>
                    <a:gd name="T16" fmla="*/ 2147483647 w 4"/>
                    <a:gd name="T17" fmla="*/ 0 h 5"/>
                    <a:gd name="T18" fmla="*/ 2147483647 w 4"/>
                    <a:gd name="T19" fmla="*/ 2147483647 h 5"/>
                    <a:gd name="T20" fmla="*/ 2147483647 w 4"/>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5"/>
                    <a:gd name="T35" fmla="*/ 4 w 4"/>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5">
                      <a:moveTo>
                        <a:pt x="4" y="2"/>
                      </a:moveTo>
                      <a:lnTo>
                        <a:pt x="4" y="4"/>
                      </a:lnTo>
                      <a:lnTo>
                        <a:pt x="3" y="5"/>
                      </a:lnTo>
                      <a:lnTo>
                        <a:pt x="1" y="5"/>
                      </a:lnTo>
                      <a:lnTo>
                        <a:pt x="0" y="4"/>
                      </a:lnTo>
                      <a:lnTo>
                        <a:pt x="0" y="1"/>
                      </a:lnTo>
                      <a:lnTo>
                        <a:pt x="0" y="0"/>
                      </a:lnTo>
                      <a:lnTo>
                        <a:pt x="1" y="0"/>
                      </a:lnTo>
                      <a:lnTo>
                        <a:pt x="3" y="0"/>
                      </a:lnTo>
                      <a:lnTo>
                        <a:pt x="4" y="1"/>
                      </a:lnTo>
                      <a:lnTo>
                        <a:pt x="4"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8" name="Freeform 153"/>
                <p:cNvSpPr>
                  <a:spLocks/>
                </p:cNvSpPr>
                <p:nvPr/>
              </p:nvSpPr>
              <p:spPr bwMode="auto">
                <a:xfrm>
                  <a:off x="8229088" y="4443739"/>
                  <a:ext cx="7400" cy="13319"/>
                </a:xfrm>
                <a:custGeom>
                  <a:avLst/>
                  <a:gdLst>
                    <a:gd name="T0" fmla="*/ 2147483647 w 5"/>
                    <a:gd name="T1" fmla="*/ 2147483647 h 9"/>
                    <a:gd name="T2" fmla="*/ 2147483647 w 5"/>
                    <a:gd name="T3" fmla="*/ 2147483647 h 9"/>
                    <a:gd name="T4" fmla="*/ 2147483647 w 5"/>
                    <a:gd name="T5" fmla="*/ 2147483647 h 9"/>
                    <a:gd name="T6" fmla="*/ 0 w 5"/>
                    <a:gd name="T7" fmla="*/ 2147483647 h 9"/>
                    <a:gd name="T8" fmla="*/ 0 w 5"/>
                    <a:gd name="T9" fmla="*/ 2147483647 h 9"/>
                    <a:gd name="T10" fmla="*/ 0 w 5"/>
                    <a:gd name="T11" fmla="*/ 0 h 9"/>
                    <a:gd name="T12" fmla="*/ 2147483647 w 5"/>
                    <a:gd name="T13" fmla="*/ 0 h 9"/>
                    <a:gd name="T14" fmla="*/ 2147483647 w 5"/>
                    <a:gd name="T15" fmla="*/ 2147483647 h 9"/>
                    <a:gd name="T16" fmla="*/ 2147483647 w 5"/>
                    <a:gd name="T17" fmla="*/ 2147483647 h 9"/>
                    <a:gd name="T18" fmla="*/ 2147483647 w 5"/>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9"/>
                    <a:gd name="T32" fmla="*/ 5 w 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9">
                      <a:moveTo>
                        <a:pt x="5" y="9"/>
                      </a:moveTo>
                      <a:lnTo>
                        <a:pt x="4" y="9"/>
                      </a:lnTo>
                      <a:lnTo>
                        <a:pt x="3" y="9"/>
                      </a:lnTo>
                      <a:lnTo>
                        <a:pt x="0" y="4"/>
                      </a:lnTo>
                      <a:lnTo>
                        <a:pt x="0" y="1"/>
                      </a:lnTo>
                      <a:lnTo>
                        <a:pt x="0" y="0"/>
                      </a:lnTo>
                      <a:lnTo>
                        <a:pt x="1" y="0"/>
                      </a:lnTo>
                      <a:lnTo>
                        <a:pt x="4" y="1"/>
                      </a:lnTo>
                      <a:lnTo>
                        <a:pt x="5" y="3"/>
                      </a:lnTo>
                      <a:lnTo>
                        <a:pt x="5"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59" name="Freeform 154"/>
                <p:cNvSpPr>
                  <a:spLocks/>
                </p:cNvSpPr>
                <p:nvPr/>
              </p:nvSpPr>
              <p:spPr bwMode="auto">
                <a:xfrm>
                  <a:off x="8195051" y="4356424"/>
                  <a:ext cx="5919" cy="7400"/>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2147483647 w 4"/>
                    <a:gd name="T9" fmla="*/ 2147483647 h 5"/>
                    <a:gd name="T10" fmla="*/ 0 w 4"/>
                    <a:gd name="T11" fmla="*/ 2147483647 h 5"/>
                    <a:gd name="T12" fmla="*/ 0 w 4"/>
                    <a:gd name="T13" fmla="*/ 2147483647 h 5"/>
                    <a:gd name="T14" fmla="*/ 0 w 4"/>
                    <a:gd name="T15" fmla="*/ 2147483647 h 5"/>
                    <a:gd name="T16" fmla="*/ 0 w 4"/>
                    <a:gd name="T17" fmla="*/ 0 h 5"/>
                    <a:gd name="T18" fmla="*/ 0 w 4"/>
                    <a:gd name="T19" fmla="*/ 0 h 5"/>
                    <a:gd name="T20" fmla="*/ 2147483647 w 4"/>
                    <a:gd name="T21" fmla="*/ 0 h 5"/>
                    <a:gd name="T22" fmla="*/ 2147483647 w 4"/>
                    <a:gd name="T23" fmla="*/ 0 h 5"/>
                    <a:gd name="T24" fmla="*/ 2147483647 w 4"/>
                    <a:gd name="T25" fmla="*/ 2147483647 h 5"/>
                    <a:gd name="T26" fmla="*/ 2147483647 w 4"/>
                    <a:gd name="T27" fmla="*/ 2147483647 h 5"/>
                    <a:gd name="T28" fmla="*/ 2147483647 w 4"/>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5"/>
                    <a:gd name="T47" fmla="*/ 4 w 4"/>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5">
                      <a:moveTo>
                        <a:pt x="4" y="2"/>
                      </a:moveTo>
                      <a:lnTo>
                        <a:pt x="4" y="2"/>
                      </a:lnTo>
                      <a:lnTo>
                        <a:pt x="4" y="3"/>
                      </a:lnTo>
                      <a:lnTo>
                        <a:pt x="2" y="5"/>
                      </a:lnTo>
                      <a:lnTo>
                        <a:pt x="1" y="5"/>
                      </a:lnTo>
                      <a:lnTo>
                        <a:pt x="0" y="3"/>
                      </a:lnTo>
                      <a:lnTo>
                        <a:pt x="0" y="1"/>
                      </a:lnTo>
                      <a:lnTo>
                        <a:pt x="0" y="0"/>
                      </a:lnTo>
                      <a:lnTo>
                        <a:pt x="1" y="0"/>
                      </a:lnTo>
                      <a:lnTo>
                        <a:pt x="2" y="0"/>
                      </a:lnTo>
                      <a:lnTo>
                        <a:pt x="4" y="1"/>
                      </a:lnTo>
                      <a:lnTo>
                        <a:pt x="4"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0" name="Freeform 155"/>
                <p:cNvSpPr>
                  <a:spLocks/>
                </p:cNvSpPr>
                <p:nvPr/>
              </p:nvSpPr>
              <p:spPr bwMode="auto">
                <a:xfrm>
                  <a:off x="8229090" y="4442256"/>
                  <a:ext cx="5919"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0 w 5"/>
                    <a:gd name="T11" fmla="*/ 2147483647 h 8"/>
                    <a:gd name="T12" fmla="*/ 0 w 5"/>
                    <a:gd name="T13" fmla="*/ 2147483647 h 8"/>
                    <a:gd name="T14" fmla="*/ 0 w 5"/>
                    <a:gd name="T15" fmla="*/ 0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2147483647 w 5"/>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8"/>
                    <a:gd name="T44" fmla="*/ 5 w 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8">
                      <a:moveTo>
                        <a:pt x="5" y="8"/>
                      </a:moveTo>
                      <a:lnTo>
                        <a:pt x="5" y="8"/>
                      </a:lnTo>
                      <a:lnTo>
                        <a:pt x="4" y="8"/>
                      </a:lnTo>
                      <a:lnTo>
                        <a:pt x="2" y="8"/>
                      </a:lnTo>
                      <a:lnTo>
                        <a:pt x="0" y="4"/>
                      </a:lnTo>
                      <a:lnTo>
                        <a:pt x="0" y="1"/>
                      </a:lnTo>
                      <a:lnTo>
                        <a:pt x="0" y="0"/>
                      </a:lnTo>
                      <a:lnTo>
                        <a:pt x="1" y="0"/>
                      </a:lnTo>
                      <a:lnTo>
                        <a:pt x="4" y="1"/>
                      </a:lnTo>
                      <a:lnTo>
                        <a:pt x="5" y="2"/>
                      </a:lnTo>
                      <a:lnTo>
                        <a:pt x="5"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1" name="Freeform 156"/>
                <p:cNvSpPr>
                  <a:spLocks/>
                </p:cNvSpPr>
                <p:nvPr/>
              </p:nvSpPr>
              <p:spPr bwMode="auto">
                <a:xfrm>
                  <a:off x="8266087" y="4386025"/>
                  <a:ext cx="8879" cy="8879"/>
                </a:xfrm>
                <a:custGeom>
                  <a:avLst/>
                  <a:gdLst>
                    <a:gd name="T0" fmla="*/ 2147483647 w 6"/>
                    <a:gd name="T1" fmla="*/ 2147483647 h 6"/>
                    <a:gd name="T2" fmla="*/ 2147483647 w 6"/>
                    <a:gd name="T3" fmla="*/ 2147483647 h 6"/>
                    <a:gd name="T4" fmla="*/ 2147483647 w 6"/>
                    <a:gd name="T5" fmla="*/ 2147483647 h 6"/>
                    <a:gd name="T6" fmla="*/ 0 w 6"/>
                    <a:gd name="T7" fmla="*/ 2147483647 h 6"/>
                    <a:gd name="T8" fmla="*/ 0 w 6"/>
                    <a:gd name="T9" fmla="*/ 2147483647 h 6"/>
                    <a:gd name="T10" fmla="*/ 2147483647 w 6"/>
                    <a:gd name="T11" fmla="*/ 0 h 6"/>
                    <a:gd name="T12" fmla="*/ 2147483647 w 6"/>
                    <a:gd name="T13" fmla="*/ 0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5" y="5"/>
                      </a:moveTo>
                      <a:lnTo>
                        <a:pt x="2" y="6"/>
                      </a:lnTo>
                      <a:lnTo>
                        <a:pt x="1" y="5"/>
                      </a:lnTo>
                      <a:lnTo>
                        <a:pt x="0" y="4"/>
                      </a:lnTo>
                      <a:lnTo>
                        <a:pt x="0" y="2"/>
                      </a:lnTo>
                      <a:lnTo>
                        <a:pt x="2" y="0"/>
                      </a:lnTo>
                      <a:lnTo>
                        <a:pt x="5" y="0"/>
                      </a:lnTo>
                      <a:lnTo>
                        <a:pt x="6" y="1"/>
                      </a:lnTo>
                      <a:lnTo>
                        <a:pt x="6" y="2"/>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2" name="Freeform 157"/>
                <p:cNvSpPr>
                  <a:spLocks/>
                </p:cNvSpPr>
                <p:nvPr/>
              </p:nvSpPr>
              <p:spPr bwMode="auto">
                <a:xfrm>
                  <a:off x="8340081" y="4406743"/>
                  <a:ext cx="8879" cy="8879"/>
                </a:xfrm>
                <a:custGeom>
                  <a:avLst/>
                  <a:gdLst>
                    <a:gd name="T0" fmla="*/ 2147483647 w 6"/>
                    <a:gd name="T1" fmla="*/ 2147483647 h 6"/>
                    <a:gd name="T2" fmla="*/ 2147483647 w 6"/>
                    <a:gd name="T3" fmla="*/ 2147483647 h 6"/>
                    <a:gd name="T4" fmla="*/ 2147483647 w 6"/>
                    <a:gd name="T5" fmla="*/ 2147483647 h 6"/>
                    <a:gd name="T6" fmla="*/ 0 w 6"/>
                    <a:gd name="T7" fmla="*/ 2147483647 h 6"/>
                    <a:gd name="T8" fmla="*/ 0 w 6"/>
                    <a:gd name="T9" fmla="*/ 2147483647 h 6"/>
                    <a:gd name="T10" fmla="*/ 0 w 6"/>
                    <a:gd name="T11" fmla="*/ 0 h 6"/>
                    <a:gd name="T12" fmla="*/ 2147483647 w 6"/>
                    <a:gd name="T13" fmla="*/ 0 h 6"/>
                    <a:gd name="T14" fmla="*/ 2147483647 w 6"/>
                    <a:gd name="T15" fmla="*/ 0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6" y="5"/>
                      </a:moveTo>
                      <a:lnTo>
                        <a:pt x="6" y="6"/>
                      </a:lnTo>
                      <a:lnTo>
                        <a:pt x="3" y="6"/>
                      </a:lnTo>
                      <a:lnTo>
                        <a:pt x="0" y="4"/>
                      </a:lnTo>
                      <a:lnTo>
                        <a:pt x="0" y="1"/>
                      </a:lnTo>
                      <a:lnTo>
                        <a:pt x="0" y="0"/>
                      </a:lnTo>
                      <a:lnTo>
                        <a:pt x="2" y="0"/>
                      </a:lnTo>
                      <a:lnTo>
                        <a:pt x="3" y="0"/>
                      </a:lnTo>
                      <a:lnTo>
                        <a:pt x="4" y="1"/>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3" name="Freeform 158"/>
                <p:cNvSpPr>
                  <a:spLocks/>
                </p:cNvSpPr>
                <p:nvPr/>
              </p:nvSpPr>
              <p:spPr bwMode="auto">
                <a:xfrm>
                  <a:off x="8264607" y="4384546"/>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2147483647 w 6"/>
                    <a:gd name="T15" fmla="*/ 0 h 6"/>
                    <a:gd name="T16" fmla="*/ 2147483647 w 6"/>
                    <a:gd name="T17" fmla="*/ 0 h 6"/>
                    <a:gd name="T18" fmla="*/ 2147483647 w 6"/>
                    <a:gd name="T19" fmla="*/ 0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6"/>
                    <a:gd name="T47" fmla="*/ 6 w 6"/>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6">
                      <a:moveTo>
                        <a:pt x="5" y="5"/>
                      </a:moveTo>
                      <a:lnTo>
                        <a:pt x="5" y="5"/>
                      </a:lnTo>
                      <a:lnTo>
                        <a:pt x="2" y="6"/>
                      </a:lnTo>
                      <a:lnTo>
                        <a:pt x="1" y="5"/>
                      </a:lnTo>
                      <a:lnTo>
                        <a:pt x="0" y="3"/>
                      </a:lnTo>
                      <a:lnTo>
                        <a:pt x="0" y="2"/>
                      </a:lnTo>
                      <a:lnTo>
                        <a:pt x="2" y="0"/>
                      </a:lnTo>
                      <a:lnTo>
                        <a:pt x="5" y="0"/>
                      </a:lnTo>
                      <a:lnTo>
                        <a:pt x="6" y="1"/>
                      </a:lnTo>
                      <a:lnTo>
                        <a:pt x="6" y="2"/>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4" name="Freeform 159"/>
                <p:cNvSpPr>
                  <a:spLocks/>
                </p:cNvSpPr>
                <p:nvPr/>
              </p:nvSpPr>
              <p:spPr bwMode="auto">
                <a:xfrm>
                  <a:off x="8338598" y="4405265"/>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0 w 5"/>
                    <a:gd name="T17" fmla="*/ 0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5"/>
                      </a:moveTo>
                      <a:lnTo>
                        <a:pt x="5" y="5"/>
                      </a:lnTo>
                      <a:lnTo>
                        <a:pt x="5" y="6"/>
                      </a:lnTo>
                      <a:lnTo>
                        <a:pt x="3" y="6"/>
                      </a:lnTo>
                      <a:lnTo>
                        <a:pt x="0" y="4"/>
                      </a:lnTo>
                      <a:lnTo>
                        <a:pt x="0" y="1"/>
                      </a:lnTo>
                      <a:lnTo>
                        <a:pt x="0" y="0"/>
                      </a:lnTo>
                      <a:lnTo>
                        <a:pt x="1" y="0"/>
                      </a:lnTo>
                      <a:lnTo>
                        <a:pt x="3" y="0"/>
                      </a:lnTo>
                      <a:lnTo>
                        <a:pt x="4" y="1"/>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5" name="Freeform 160"/>
                <p:cNvSpPr>
                  <a:spLocks/>
                </p:cNvSpPr>
                <p:nvPr/>
              </p:nvSpPr>
              <p:spPr bwMode="auto">
                <a:xfrm>
                  <a:off x="8255729" y="4773748"/>
                  <a:ext cx="28118" cy="42918"/>
                </a:xfrm>
                <a:custGeom>
                  <a:avLst/>
                  <a:gdLst>
                    <a:gd name="T0" fmla="*/ 2147483647 w 21"/>
                    <a:gd name="T1" fmla="*/ 2147483647 h 29"/>
                    <a:gd name="T2" fmla="*/ 2147483647 w 21"/>
                    <a:gd name="T3" fmla="*/ 2147483647 h 29"/>
                    <a:gd name="T4" fmla="*/ 2147483647 w 21"/>
                    <a:gd name="T5" fmla="*/ 2147483647 h 29"/>
                    <a:gd name="T6" fmla="*/ 2147483647 w 21"/>
                    <a:gd name="T7" fmla="*/ 2147483647 h 29"/>
                    <a:gd name="T8" fmla="*/ 2147483647 w 21"/>
                    <a:gd name="T9" fmla="*/ 2147483647 h 29"/>
                    <a:gd name="T10" fmla="*/ 2147483647 w 21"/>
                    <a:gd name="T11" fmla="*/ 2147483647 h 29"/>
                    <a:gd name="T12" fmla="*/ 2147483647 w 21"/>
                    <a:gd name="T13" fmla="*/ 2147483647 h 29"/>
                    <a:gd name="T14" fmla="*/ 2147483647 w 21"/>
                    <a:gd name="T15" fmla="*/ 2147483647 h 29"/>
                    <a:gd name="T16" fmla="*/ 2147483647 w 21"/>
                    <a:gd name="T17" fmla="*/ 2147483647 h 29"/>
                    <a:gd name="T18" fmla="*/ 2147483647 w 21"/>
                    <a:gd name="T19" fmla="*/ 2147483647 h 29"/>
                    <a:gd name="T20" fmla="*/ 2147483647 w 21"/>
                    <a:gd name="T21" fmla="*/ 2147483647 h 29"/>
                    <a:gd name="T22" fmla="*/ 2147483647 w 21"/>
                    <a:gd name="T23" fmla="*/ 2147483647 h 29"/>
                    <a:gd name="T24" fmla="*/ 2147483647 w 21"/>
                    <a:gd name="T25" fmla="*/ 2147483647 h 29"/>
                    <a:gd name="T26" fmla="*/ 2147483647 w 21"/>
                    <a:gd name="T27" fmla="*/ 2147483647 h 29"/>
                    <a:gd name="T28" fmla="*/ 0 w 21"/>
                    <a:gd name="T29" fmla="*/ 2147483647 h 29"/>
                    <a:gd name="T30" fmla="*/ 0 w 21"/>
                    <a:gd name="T31" fmla="*/ 2147483647 h 29"/>
                    <a:gd name="T32" fmla="*/ 2147483647 w 21"/>
                    <a:gd name="T33" fmla="*/ 2147483647 h 29"/>
                    <a:gd name="T34" fmla="*/ 2147483647 w 21"/>
                    <a:gd name="T35" fmla="*/ 0 h 29"/>
                    <a:gd name="T36" fmla="*/ 2147483647 w 21"/>
                    <a:gd name="T37" fmla="*/ 0 h 29"/>
                    <a:gd name="T38" fmla="*/ 2147483647 w 21"/>
                    <a:gd name="T39" fmla="*/ 2147483647 h 29"/>
                    <a:gd name="T40" fmla="*/ 2147483647 w 21"/>
                    <a:gd name="T41" fmla="*/ 2147483647 h 29"/>
                    <a:gd name="T42" fmla="*/ 2147483647 w 21"/>
                    <a:gd name="T43" fmla="*/ 2147483647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29"/>
                    <a:gd name="T68" fmla="*/ 21 w 21"/>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29">
                      <a:moveTo>
                        <a:pt x="15" y="16"/>
                      </a:moveTo>
                      <a:lnTo>
                        <a:pt x="17" y="18"/>
                      </a:lnTo>
                      <a:lnTo>
                        <a:pt x="19" y="20"/>
                      </a:lnTo>
                      <a:lnTo>
                        <a:pt x="21" y="23"/>
                      </a:lnTo>
                      <a:lnTo>
                        <a:pt x="21" y="25"/>
                      </a:lnTo>
                      <a:lnTo>
                        <a:pt x="19" y="27"/>
                      </a:lnTo>
                      <a:lnTo>
                        <a:pt x="17" y="29"/>
                      </a:lnTo>
                      <a:lnTo>
                        <a:pt x="14" y="29"/>
                      </a:lnTo>
                      <a:lnTo>
                        <a:pt x="10" y="27"/>
                      </a:lnTo>
                      <a:lnTo>
                        <a:pt x="8" y="25"/>
                      </a:lnTo>
                      <a:lnTo>
                        <a:pt x="7" y="21"/>
                      </a:lnTo>
                      <a:lnTo>
                        <a:pt x="4" y="18"/>
                      </a:lnTo>
                      <a:lnTo>
                        <a:pt x="1" y="16"/>
                      </a:lnTo>
                      <a:lnTo>
                        <a:pt x="1" y="11"/>
                      </a:lnTo>
                      <a:lnTo>
                        <a:pt x="0" y="7"/>
                      </a:lnTo>
                      <a:lnTo>
                        <a:pt x="0" y="4"/>
                      </a:lnTo>
                      <a:lnTo>
                        <a:pt x="3" y="1"/>
                      </a:lnTo>
                      <a:lnTo>
                        <a:pt x="5" y="0"/>
                      </a:lnTo>
                      <a:lnTo>
                        <a:pt x="7" y="0"/>
                      </a:lnTo>
                      <a:lnTo>
                        <a:pt x="7" y="1"/>
                      </a:lnTo>
                      <a:lnTo>
                        <a:pt x="10" y="8"/>
                      </a:lnTo>
                      <a:lnTo>
                        <a:pt x="15"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6" name="Freeform 161"/>
                <p:cNvSpPr>
                  <a:spLocks/>
                </p:cNvSpPr>
                <p:nvPr/>
              </p:nvSpPr>
              <p:spPr bwMode="auto">
                <a:xfrm>
                  <a:off x="8300122" y="4807787"/>
                  <a:ext cx="31078" cy="29598"/>
                </a:xfrm>
                <a:custGeom>
                  <a:avLst/>
                  <a:gdLst>
                    <a:gd name="T0" fmla="*/ 2147483647 w 23"/>
                    <a:gd name="T1" fmla="*/ 2147483647 h 20"/>
                    <a:gd name="T2" fmla="*/ 2147483647 w 23"/>
                    <a:gd name="T3" fmla="*/ 2147483647 h 20"/>
                    <a:gd name="T4" fmla="*/ 2147483647 w 23"/>
                    <a:gd name="T5" fmla="*/ 2147483647 h 20"/>
                    <a:gd name="T6" fmla="*/ 2147483647 w 23"/>
                    <a:gd name="T7" fmla="*/ 2147483647 h 20"/>
                    <a:gd name="T8" fmla="*/ 2147483647 w 23"/>
                    <a:gd name="T9" fmla="*/ 2147483647 h 20"/>
                    <a:gd name="T10" fmla="*/ 2147483647 w 23"/>
                    <a:gd name="T11" fmla="*/ 2147483647 h 20"/>
                    <a:gd name="T12" fmla="*/ 2147483647 w 23"/>
                    <a:gd name="T13" fmla="*/ 2147483647 h 20"/>
                    <a:gd name="T14" fmla="*/ 2147483647 w 23"/>
                    <a:gd name="T15" fmla="*/ 2147483647 h 20"/>
                    <a:gd name="T16" fmla="*/ 0 w 23"/>
                    <a:gd name="T17" fmla="*/ 2147483647 h 20"/>
                    <a:gd name="T18" fmla="*/ 0 w 23"/>
                    <a:gd name="T19" fmla="*/ 2147483647 h 20"/>
                    <a:gd name="T20" fmla="*/ 2147483647 w 23"/>
                    <a:gd name="T21" fmla="*/ 2147483647 h 20"/>
                    <a:gd name="T22" fmla="*/ 2147483647 w 23"/>
                    <a:gd name="T23" fmla="*/ 0 h 20"/>
                    <a:gd name="T24" fmla="*/ 2147483647 w 23"/>
                    <a:gd name="T25" fmla="*/ 0 h 20"/>
                    <a:gd name="T26" fmla="*/ 2147483647 w 23"/>
                    <a:gd name="T27" fmla="*/ 2147483647 h 20"/>
                    <a:gd name="T28" fmla="*/ 2147483647 w 23"/>
                    <a:gd name="T29" fmla="*/ 2147483647 h 20"/>
                    <a:gd name="T30" fmla="*/ 2147483647 w 23"/>
                    <a:gd name="T31" fmla="*/ 2147483647 h 20"/>
                    <a:gd name="T32" fmla="*/ 2147483647 w 23"/>
                    <a:gd name="T33" fmla="*/ 2147483647 h 20"/>
                    <a:gd name="T34" fmla="*/ 2147483647 w 23"/>
                    <a:gd name="T35" fmla="*/ 2147483647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20"/>
                    <a:gd name="T56" fmla="*/ 23 w 2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20">
                      <a:moveTo>
                        <a:pt x="19" y="11"/>
                      </a:moveTo>
                      <a:lnTo>
                        <a:pt x="23" y="16"/>
                      </a:lnTo>
                      <a:lnTo>
                        <a:pt x="23" y="19"/>
                      </a:lnTo>
                      <a:lnTo>
                        <a:pt x="22" y="20"/>
                      </a:lnTo>
                      <a:lnTo>
                        <a:pt x="15" y="20"/>
                      </a:lnTo>
                      <a:lnTo>
                        <a:pt x="10" y="19"/>
                      </a:lnTo>
                      <a:lnTo>
                        <a:pt x="5" y="16"/>
                      </a:lnTo>
                      <a:lnTo>
                        <a:pt x="1" y="11"/>
                      </a:lnTo>
                      <a:lnTo>
                        <a:pt x="0" y="6"/>
                      </a:lnTo>
                      <a:lnTo>
                        <a:pt x="0" y="2"/>
                      </a:lnTo>
                      <a:lnTo>
                        <a:pt x="1" y="1"/>
                      </a:lnTo>
                      <a:lnTo>
                        <a:pt x="4" y="0"/>
                      </a:lnTo>
                      <a:lnTo>
                        <a:pt x="6" y="0"/>
                      </a:lnTo>
                      <a:lnTo>
                        <a:pt x="9" y="3"/>
                      </a:lnTo>
                      <a:lnTo>
                        <a:pt x="11" y="8"/>
                      </a:lnTo>
                      <a:lnTo>
                        <a:pt x="15" y="11"/>
                      </a:lnTo>
                      <a:lnTo>
                        <a:pt x="16" y="11"/>
                      </a:lnTo>
                      <a:lnTo>
                        <a:pt x="19"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7" name="Freeform 162"/>
                <p:cNvSpPr>
                  <a:spLocks/>
                </p:cNvSpPr>
                <p:nvPr/>
              </p:nvSpPr>
              <p:spPr bwMode="auto">
                <a:xfrm>
                  <a:off x="8254246" y="4772269"/>
                  <a:ext cx="28117" cy="41436"/>
                </a:xfrm>
                <a:custGeom>
                  <a:avLst/>
                  <a:gdLst>
                    <a:gd name="T0" fmla="*/ 2147483647 w 20"/>
                    <a:gd name="T1" fmla="*/ 2147483647 h 28"/>
                    <a:gd name="T2" fmla="*/ 2147483647 w 20"/>
                    <a:gd name="T3" fmla="*/ 2147483647 h 28"/>
                    <a:gd name="T4" fmla="*/ 2147483647 w 20"/>
                    <a:gd name="T5" fmla="*/ 2147483647 h 28"/>
                    <a:gd name="T6" fmla="*/ 2147483647 w 20"/>
                    <a:gd name="T7" fmla="*/ 2147483647 h 28"/>
                    <a:gd name="T8" fmla="*/ 2147483647 w 20"/>
                    <a:gd name="T9" fmla="*/ 2147483647 h 28"/>
                    <a:gd name="T10" fmla="*/ 2147483647 w 20"/>
                    <a:gd name="T11" fmla="*/ 2147483647 h 28"/>
                    <a:gd name="T12" fmla="*/ 2147483647 w 20"/>
                    <a:gd name="T13" fmla="*/ 2147483647 h 28"/>
                    <a:gd name="T14" fmla="*/ 2147483647 w 20"/>
                    <a:gd name="T15" fmla="*/ 2147483647 h 28"/>
                    <a:gd name="T16" fmla="*/ 2147483647 w 20"/>
                    <a:gd name="T17" fmla="*/ 2147483647 h 28"/>
                    <a:gd name="T18" fmla="*/ 2147483647 w 20"/>
                    <a:gd name="T19" fmla="*/ 2147483647 h 28"/>
                    <a:gd name="T20" fmla="*/ 2147483647 w 20"/>
                    <a:gd name="T21" fmla="*/ 2147483647 h 28"/>
                    <a:gd name="T22" fmla="*/ 2147483647 w 20"/>
                    <a:gd name="T23" fmla="*/ 2147483647 h 28"/>
                    <a:gd name="T24" fmla="*/ 2147483647 w 20"/>
                    <a:gd name="T25" fmla="*/ 2147483647 h 28"/>
                    <a:gd name="T26" fmla="*/ 2147483647 w 20"/>
                    <a:gd name="T27" fmla="*/ 2147483647 h 28"/>
                    <a:gd name="T28" fmla="*/ 2147483647 w 20"/>
                    <a:gd name="T29" fmla="*/ 2147483647 h 28"/>
                    <a:gd name="T30" fmla="*/ 2147483647 w 20"/>
                    <a:gd name="T31" fmla="*/ 2147483647 h 28"/>
                    <a:gd name="T32" fmla="*/ 2147483647 w 20"/>
                    <a:gd name="T33" fmla="*/ 2147483647 h 28"/>
                    <a:gd name="T34" fmla="*/ 2147483647 w 20"/>
                    <a:gd name="T35" fmla="*/ 2147483647 h 28"/>
                    <a:gd name="T36" fmla="*/ 0 w 20"/>
                    <a:gd name="T37" fmla="*/ 2147483647 h 28"/>
                    <a:gd name="T38" fmla="*/ 0 w 20"/>
                    <a:gd name="T39" fmla="*/ 2147483647 h 28"/>
                    <a:gd name="T40" fmla="*/ 0 w 20"/>
                    <a:gd name="T41" fmla="*/ 2147483647 h 28"/>
                    <a:gd name="T42" fmla="*/ 2147483647 w 20"/>
                    <a:gd name="T43" fmla="*/ 2147483647 h 28"/>
                    <a:gd name="T44" fmla="*/ 2147483647 w 20"/>
                    <a:gd name="T45" fmla="*/ 0 h 28"/>
                    <a:gd name="T46" fmla="*/ 2147483647 w 20"/>
                    <a:gd name="T47" fmla="*/ 0 h 28"/>
                    <a:gd name="T48" fmla="*/ 2147483647 w 20"/>
                    <a:gd name="T49" fmla="*/ 2147483647 h 28"/>
                    <a:gd name="T50" fmla="*/ 2147483647 w 20"/>
                    <a:gd name="T51" fmla="*/ 2147483647 h 28"/>
                    <a:gd name="T52" fmla="*/ 2147483647 w 20"/>
                    <a:gd name="T53" fmla="*/ 2147483647 h 28"/>
                    <a:gd name="T54" fmla="*/ 2147483647 w 20"/>
                    <a:gd name="T55" fmla="*/ 2147483647 h 28"/>
                    <a:gd name="T56" fmla="*/ 2147483647 w 20"/>
                    <a:gd name="T57" fmla="*/ 2147483647 h 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8"/>
                    <a:gd name="T89" fmla="*/ 20 w 20"/>
                    <a:gd name="T90" fmla="*/ 28 h 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8">
                      <a:moveTo>
                        <a:pt x="15" y="15"/>
                      </a:moveTo>
                      <a:lnTo>
                        <a:pt x="15" y="15"/>
                      </a:lnTo>
                      <a:lnTo>
                        <a:pt x="16" y="18"/>
                      </a:lnTo>
                      <a:lnTo>
                        <a:pt x="19" y="20"/>
                      </a:lnTo>
                      <a:lnTo>
                        <a:pt x="20" y="22"/>
                      </a:lnTo>
                      <a:lnTo>
                        <a:pt x="20" y="25"/>
                      </a:lnTo>
                      <a:lnTo>
                        <a:pt x="19" y="27"/>
                      </a:lnTo>
                      <a:lnTo>
                        <a:pt x="16" y="28"/>
                      </a:lnTo>
                      <a:lnTo>
                        <a:pt x="14" y="28"/>
                      </a:lnTo>
                      <a:lnTo>
                        <a:pt x="10" y="27"/>
                      </a:lnTo>
                      <a:lnTo>
                        <a:pt x="8" y="25"/>
                      </a:lnTo>
                      <a:lnTo>
                        <a:pt x="6" y="21"/>
                      </a:lnTo>
                      <a:lnTo>
                        <a:pt x="4" y="18"/>
                      </a:lnTo>
                      <a:lnTo>
                        <a:pt x="1" y="15"/>
                      </a:lnTo>
                      <a:lnTo>
                        <a:pt x="1" y="11"/>
                      </a:lnTo>
                      <a:lnTo>
                        <a:pt x="0" y="7"/>
                      </a:lnTo>
                      <a:lnTo>
                        <a:pt x="0" y="3"/>
                      </a:lnTo>
                      <a:lnTo>
                        <a:pt x="2" y="1"/>
                      </a:lnTo>
                      <a:lnTo>
                        <a:pt x="5" y="0"/>
                      </a:lnTo>
                      <a:lnTo>
                        <a:pt x="6" y="0"/>
                      </a:lnTo>
                      <a:lnTo>
                        <a:pt x="6" y="1"/>
                      </a:lnTo>
                      <a:lnTo>
                        <a:pt x="10" y="8"/>
                      </a:lnTo>
                      <a:lnTo>
                        <a:pt x="15"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8" name="Freeform 163"/>
                <p:cNvSpPr>
                  <a:spLocks/>
                </p:cNvSpPr>
                <p:nvPr/>
              </p:nvSpPr>
              <p:spPr bwMode="auto">
                <a:xfrm>
                  <a:off x="8298646" y="4804829"/>
                  <a:ext cx="31077" cy="31077"/>
                </a:xfrm>
                <a:custGeom>
                  <a:avLst/>
                  <a:gdLst>
                    <a:gd name="T0" fmla="*/ 2147483647 w 23"/>
                    <a:gd name="T1" fmla="*/ 2147483647 h 21"/>
                    <a:gd name="T2" fmla="*/ 2147483647 w 23"/>
                    <a:gd name="T3" fmla="*/ 2147483647 h 21"/>
                    <a:gd name="T4" fmla="*/ 2147483647 w 23"/>
                    <a:gd name="T5" fmla="*/ 2147483647 h 21"/>
                    <a:gd name="T6" fmla="*/ 2147483647 w 23"/>
                    <a:gd name="T7" fmla="*/ 2147483647 h 21"/>
                    <a:gd name="T8" fmla="*/ 2147483647 w 23"/>
                    <a:gd name="T9" fmla="*/ 2147483647 h 21"/>
                    <a:gd name="T10" fmla="*/ 2147483647 w 23"/>
                    <a:gd name="T11" fmla="*/ 2147483647 h 21"/>
                    <a:gd name="T12" fmla="*/ 2147483647 w 23"/>
                    <a:gd name="T13" fmla="*/ 2147483647 h 21"/>
                    <a:gd name="T14" fmla="*/ 2147483647 w 23"/>
                    <a:gd name="T15" fmla="*/ 2147483647 h 21"/>
                    <a:gd name="T16" fmla="*/ 2147483647 w 23"/>
                    <a:gd name="T17" fmla="*/ 2147483647 h 21"/>
                    <a:gd name="T18" fmla="*/ 2147483647 w 23"/>
                    <a:gd name="T19" fmla="*/ 2147483647 h 21"/>
                    <a:gd name="T20" fmla="*/ 2147483647 w 23"/>
                    <a:gd name="T21" fmla="*/ 2147483647 h 21"/>
                    <a:gd name="T22" fmla="*/ 0 w 23"/>
                    <a:gd name="T23" fmla="*/ 2147483647 h 21"/>
                    <a:gd name="T24" fmla="*/ 0 w 23"/>
                    <a:gd name="T25" fmla="*/ 2147483647 h 21"/>
                    <a:gd name="T26" fmla="*/ 2147483647 w 23"/>
                    <a:gd name="T27" fmla="*/ 2147483647 h 21"/>
                    <a:gd name="T28" fmla="*/ 2147483647 w 23"/>
                    <a:gd name="T29" fmla="*/ 2147483647 h 21"/>
                    <a:gd name="T30" fmla="*/ 2147483647 w 23"/>
                    <a:gd name="T31" fmla="*/ 0 h 21"/>
                    <a:gd name="T32" fmla="*/ 2147483647 w 23"/>
                    <a:gd name="T33" fmla="*/ 0 h 21"/>
                    <a:gd name="T34" fmla="*/ 2147483647 w 23"/>
                    <a:gd name="T35" fmla="*/ 2147483647 h 21"/>
                    <a:gd name="T36" fmla="*/ 2147483647 w 23"/>
                    <a:gd name="T37" fmla="*/ 2147483647 h 21"/>
                    <a:gd name="T38" fmla="*/ 2147483647 w 23"/>
                    <a:gd name="T39" fmla="*/ 2147483647 h 21"/>
                    <a:gd name="T40" fmla="*/ 2147483647 w 23"/>
                    <a:gd name="T41" fmla="*/ 2147483647 h 21"/>
                    <a:gd name="T42" fmla="*/ 2147483647 w 23"/>
                    <a:gd name="T43" fmla="*/ 2147483647 h 21"/>
                    <a:gd name="T44" fmla="*/ 2147483647 w 23"/>
                    <a:gd name="T45" fmla="*/ 2147483647 h 21"/>
                    <a:gd name="T46" fmla="*/ 2147483647 w 23"/>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21"/>
                    <a:gd name="T74" fmla="*/ 23 w 23"/>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21">
                      <a:moveTo>
                        <a:pt x="19" y="12"/>
                      </a:moveTo>
                      <a:lnTo>
                        <a:pt x="19" y="12"/>
                      </a:lnTo>
                      <a:lnTo>
                        <a:pt x="23" y="17"/>
                      </a:lnTo>
                      <a:lnTo>
                        <a:pt x="23" y="19"/>
                      </a:lnTo>
                      <a:lnTo>
                        <a:pt x="21" y="21"/>
                      </a:lnTo>
                      <a:lnTo>
                        <a:pt x="15" y="21"/>
                      </a:lnTo>
                      <a:lnTo>
                        <a:pt x="10" y="19"/>
                      </a:lnTo>
                      <a:lnTo>
                        <a:pt x="5" y="17"/>
                      </a:lnTo>
                      <a:lnTo>
                        <a:pt x="1" y="12"/>
                      </a:lnTo>
                      <a:lnTo>
                        <a:pt x="0" y="6"/>
                      </a:lnTo>
                      <a:lnTo>
                        <a:pt x="0" y="3"/>
                      </a:lnTo>
                      <a:lnTo>
                        <a:pt x="1" y="2"/>
                      </a:lnTo>
                      <a:lnTo>
                        <a:pt x="3" y="0"/>
                      </a:lnTo>
                      <a:lnTo>
                        <a:pt x="6" y="0"/>
                      </a:lnTo>
                      <a:lnTo>
                        <a:pt x="9" y="4"/>
                      </a:lnTo>
                      <a:lnTo>
                        <a:pt x="11" y="9"/>
                      </a:lnTo>
                      <a:lnTo>
                        <a:pt x="15" y="12"/>
                      </a:lnTo>
                      <a:lnTo>
                        <a:pt x="16" y="12"/>
                      </a:lnTo>
                      <a:lnTo>
                        <a:pt x="19"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69" name="Freeform 164"/>
                <p:cNvSpPr>
                  <a:spLocks/>
                </p:cNvSpPr>
                <p:nvPr/>
              </p:nvSpPr>
              <p:spPr bwMode="auto">
                <a:xfrm>
                  <a:off x="8291246" y="4831463"/>
                  <a:ext cx="10360" cy="16278"/>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0 w 8"/>
                    <a:gd name="T9" fmla="*/ 2147483647 h 11"/>
                    <a:gd name="T10" fmla="*/ 0 w 8"/>
                    <a:gd name="T11" fmla="*/ 2147483647 h 11"/>
                    <a:gd name="T12" fmla="*/ 0 w 8"/>
                    <a:gd name="T13" fmla="*/ 2147483647 h 11"/>
                    <a:gd name="T14" fmla="*/ 2147483647 w 8"/>
                    <a:gd name="T15" fmla="*/ 2147483647 h 11"/>
                    <a:gd name="T16" fmla="*/ 2147483647 w 8"/>
                    <a:gd name="T17" fmla="*/ 0 h 11"/>
                    <a:gd name="T18" fmla="*/ 2147483647 w 8"/>
                    <a:gd name="T19" fmla="*/ 0 h 11"/>
                    <a:gd name="T20" fmla="*/ 2147483647 w 8"/>
                    <a:gd name="T21" fmla="*/ 2147483647 h 11"/>
                    <a:gd name="T22" fmla="*/ 2147483647 w 8"/>
                    <a:gd name="T23" fmla="*/ 2147483647 h 11"/>
                    <a:gd name="T24" fmla="*/ 2147483647 w 8"/>
                    <a:gd name="T25" fmla="*/ 2147483647 h 11"/>
                    <a:gd name="T26" fmla="*/ 2147483647 w 8"/>
                    <a:gd name="T27" fmla="*/ 2147483647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1"/>
                    <a:gd name="T44" fmla="*/ 8 w 8"/>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1">
                      <a:moveTo>
                        <a:pt x="7" y="10"/>
                      </a:moveTo>
                      <a:lnTo>
                        <a:pt x="5" y="11"/>
                      </a:lnTo>
                      <a:lnTo>
                        <a:pt x="3" y="11"/>
                      </a:lnTo>
                      <a:lnTo>
                        <a:pt x="1" y="10"/>
                      </a:lnTo>
                      <a:lnTo>
                        <a:pt x="0" y="9"/>
                      </a:lnTo>
                      <a:lnTo>
                        <a:pt x="0" y="4"/>
                      </a:lnTo>
                      <a:lnTo>
                        <a:pt x="0" y="3"/>
                      </a:lnTo>
                      <a:lnTo>
                        <a:pt x="1" y="1"/>
                      </a:lnTo>
                      <a:lnTo>
                        <a:pt x="2" y="0"/>
                      </a:lnTo>
                      <a:lnTo>
                        <a:pt x="5" y="0"/>
                      </a:lnTo>
                      <a:lnTo>
                        <a:pt x="7" y="3"/>
                      </a:lnTo>
                      <a:lnTo>
                        <a:pt x="8" y="6"/>
                      </a:lnTo>
                      <a:lnTo>
                        <a:pt x="8" y="7"/>
                      </a:lnTo>
                      <a:lnTo>
                        <a:pt x="7"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0" name="Freeform 165"/>
                <p:cNvSpPr>
                  <a:spLocks/>
                </p:cNvSpPr>
                <p:nvPr/>
              </p:nvSpPr>
              <p:spPr bwMode="auto">
                <a:xfrm>
                  <a:off x="8310482" y="4847742"/>
                  <a:ext cx="22198" cy="22199"/>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0 w 16"/>
                    <a:gd name="T15" fmla="*/ 2147483647 h 15"/>
                    <a:gd name="T16" fmla="*/ 0 w 16"/>
                    <a:gd name="T17" fmla="*/ 2147483647 h 15"/>
                    <a:gd name="T18" fmla="*/ 0 w 16"/>
                    <a:gd name="T19" fmla="*/ 2147483647 h 15"/>
                    <a:gd name="T20" fmla="*/ 2147483647 w 16"/>
                    <a:gd name="T21" fmla="*/ 2147483647 h 15"/>
                    <a:gd name="T22" fmla="*/ 2147483647 w 16"/>
                    <a:gd name="T23" fmla="*/ 0 h 15"/>
                    <a:gd name="T24" fmla="*/ 2147483647 w 16"/>
                    <a:gd name="T25" fmla="*/ 0 h 15"/>
                    <a:gd name="T26" fmla="*/ 2147483647 w 16"/>
                    <a:gd name="T27" fmla="*/ 0 h 15"/>
                    <a:gd name="T28" fmla="*/ 2147483647 w 16"/>
                    <a:gd name="T29" fmla="*/ 2147483647 h 15"/>
                    <a:gd name="T30" fmla="*/ 2147483647 w 16"/>
                    <a:gd name="T31" fmla="*/ 2147483647 h 15"/>
                    <a:gd name="T32" fmla="*/ 2147483647 w 16"/>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5"/>
                    <a:gd name="T53" fmla="*/ 16 w 16"/>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5">
                      <a:moveTo>
                        <a:pt x="15" y="8"/>
                      </a:moveTo>
                      <a:lnTo>
                        <a:pt x="16" y="13"/>
                      </a:lnTo>
                      <a:lnTo>
                        <a:pt x="16" y="14"/>
                      </a:lnTo>
                      <a:lnTo>
                        <a:pt x="15" y="15"/>
                      </a:lnTo>
                      <a:lnTo>
                        <a:pt x="10" y="15"/>
                      </a:lnTo>
                      <a:lnTo>
                        <a:pt x="5" y="14"/>
                      </a:lnTo>
                      <a:lnTo>
                        <a:pt x="1" y="12"/>
                      </a:lnTo>
                      <a:lnTo>
                        <a:pt x="0" y="11"/>
                      </a:lnTo>
                      <a:lnTo>
                        <a:pt x="0" y="8"/>
                      </a:lnTo>
                      <a:lnTo>
                        <a:pt x="0" y="6"/>
                      </a:lnTo>
                      <a:lnTo>
                        <a:pt x="2" y="3"/>
                      </a:lnTo>
                      <a:lnTo>
                        <a:pt x="8" y="0"/>
                      </a:lnTo>
                      <a:lnTo>
                        <a:pt x="10" y="0"/>
                      </a:lnTo>
                      <a:lnTo>
                        <a:pt x="11" y="0"/>
                      </a:lnTo>
                      <a:lnTo>
                        <a:pt x="14" y="2"/>
                      </a:lnTo>
                      <a:lnTo>
                        <a:pt x="15" y="5"/>
                      </a:lnTo>
                      <a:lnTo>
                        <a:pt x="15"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1" name="Freeform 166"/>
                <p:cNvSpPr>
                  <a:spLocks/>
                </p:cNvSpPr>
                <p:nvPr/>
              </p:nvSpPr>
              <p:spPr bwMode="auto">
                <a:xfrm>
                  <a:off x="8288284" y="4829986"/>
                  <a:ext cx="11839" cy="16279"/>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0 w 9"/>
                    <a:gd name="T11" fmla="*/ 2147483647 h 11"/>
                    <a:gd name="T12" fmla="*/ 0 w 9"/>
                    <a:gd name="T13" fmla="*/ 2147483647 h 11"/>
                    <a:gd name="T14" fmla="*/ 0 w 9"/>
                    <a:gd name="T15" fmla="*/ 2147483647 h 11"/>
                    <a:gd name="T16" fmla="*/ 2147483647 w 9"/>
                    <a:gd name="T17" fmla="*/ 2147483647 h 11"/>
                    <a:gd name="T18" fmla="*/ 2147483647 w 9"/>
                    <a:gd name="T19" fmla="*/ 2147483647 h 11"/>
                    <a:gd name="T20" fmla="*/ 2147483647 w 9"/>
                    <a:gd name="T21" fmla="*/ 0 h 11"/>
                    <a:gd name="T22" fmla="*/ 2147483647 w 9"/>
                    <a:gd name="T23" fmla="*/ 0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11"/>
                    <a:gd name="T53" fmla="*/ 9 w 9"/>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11">
                      <a:moveTo>
                        <a:pt x="8" y="10"/>
                      </a:moveTo>
                      <a:lnTo>
                        <a:pt x="8" y="10"/>
                      </a:lnTo>
                      <a:lnTo>
                        <a:pt x="5" y="11"/>
                      </a:lnTo>
                      <a:lnTo>
                        <a:pt x="4" y="11"/>
                      </a:lnTo>
                      <a:lnTo>
                        <a:pt x="2" y="10"/>
                      </a:lnTo>
                      <a:lnTo>
                        <a:pt x="0" y="8"/>
                      </a:lnTo>
                      <a:lnTo>
                        <a:pt x="0" y="4"/>
                      </a:lnTo>
                      <a:lnTo>
                        <a:pt x="0" y="2"/>
                      </a:lnTo>
                      <a:lnTo>
                        <a:pt x="2" y="1"/>
                      </a:lnTo>
                      <a:lnTo>
                        <a:pt x="3" y="0"/>
                      </a:lnTo>
                      <a:lnTo>
                        <a:pt x="5" y="0"/>
                      </a:lnTo>
                      <a:lnTo>
                        <a:pt x="8" y="2"/>
                      </a:lnTo>
                      <a:lnTo>
                        <a:pt x="9" y="6"/>
                      </a:lnTo>
                      <a:lnTo>
                        <a:pt x="9" y="7"/>
                      </a:lnTo>
                      <a:lnTo>
                        <a:pt x="8"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2" name="Freeform 167"/>
                <p:cNvSpPr>
                  <a:spLocks/>
                </p:cNvSpPr>
                <p:nvPr/>
              </p:nvSpPr>
              <p:spPr bwMode="auto">
                <a:xfrm>
                  <a:off x="8307521" y="4846262"/>
                  <a:ext cx="23678" cy="22198"/>
                </a:xfrm>
                <a:custGeom>
                  <a:avLst/>
                  <a:gdLst>
                    <a:gd name="T0" fmla="*/ 2147483647 w 17"/>
                    <a:gd name="T1" fmla="*/ 2147483647 h 15"/>
                    <a:gd name="T2" fmla="*/ 2147483647 w 17"/>
                    <a:gd name="T3" fmla="*/ 2147483647 h 15"/>
                    <a:gd name="T4" fmla="*/ 2147483647 w 17"/>
                    <a:gd name="T5" fmla="*/ 2147483647 h 15"/>
                    <a:gd name="T6" fmla="*/ 2147483647 w 17"/>
                    <a:gd name="T7" fmla="*/ 2147483647 h 15"/>
                    <a:gd name="T8" fmla="*/ 2147483647 w 17"/>
                    <a:gd name="T9" fmla="*/ 2147483647 h 15"/>
                    <a:gd name="T10" fmla="*/ 2147483647 w 17"/>
                    <a:gd name="T11" fmla="*/ 2147483647 h 15"/>
                    <a:gd name="T12" fmla="*/ 2147483647 w 17"/>
                    <a:gd name="T13" fmla="*/ 2147483647 h 15"/>
                    <a:gd name="T14" fmla="*/ 2147483647 w 17"/>
                    <a:gd name="T15" fmla="*/ 2147483647 h 15"/>
                    <a:gd name="T16" fmla="*/ 2147483647 w 17"/>
                    <a:gd name="T17" fmla="*/ 2147483647 h 15"/>
                    <a:gd name="T18" fmla="*/ 0 w 17"/>
                    <a:gd name="T19" fmla="*/ 2147483647 h 15"/>
                    <a:gd name="T20" fmla="*/ 0 w 17"/>
                    <a:gd name="T21" fmla="*/ 2147483647 h 15"/>
                    <a:gd name="T22" fmla="*/ 0 w 17"/>
                    <a:gd name="T23" fmla="*/ 2147483647 h 15"/>
                    <a:gd name="T24" fmla="*/ 0 w 17"/>
                    <a:gd name="T25" fmla="*/ 2147483647 h 15"/>
                    <a:gd name="T26" fmla="*/ 2147483647 w 17"/>
                    <a:gd name="T27" fmla="*/ 2147483647 h 15"/>
                    <a:gd name="T28" fmla="*/ 2147483647 w 17"/>
                    <a:gd name="T29" fmla="*/ 0 h 15"/>
                    <a:gd name="T30" fmla="*/ 2147483647 w 17"/>
                    <a:gd name="T31" fmla="*/ 0 h 15"/>
                    <a:gd name="T32" fmla="*/ 2147483647 w 17"/>
                    <a:gd name="T33" fmla="*/ 0 h 15"/>
                    <a:gd name="T34" fmla="*/ 2147483647 w 17"/>
                    <a:gd name="T35" fmla="*/ 0 h 15"/>
                    <a:gd name="T36" fmla="*/ 2147483647 w 17"/>
                    <a:gd name="T37" fmla="*/ 2147483647 h 15"/>
                    <a:gd name="T38" fmla="*/ 2147483647 w 17"/>
                    <a:gd name="T39" fmla="*/ 2147483647 h 15"/>
                    <a:gd name="T40" fmla="*/ 2147483647 w 17"/>
                    <a:gd name="T41" fmla="*/ 2147483647 h 15"/>
                    <a:gd name="T42" fmla="*/ 2147483647 w 17"/>
                    <a:gd name="T43" fmla="*/ 2147483647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15"/>
                    <a:gd name="T68" fmla="*/ 17 w 17"/>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15">
                      <a:moveTo>
                        <a:pt x="16" y="8"/>
                      </a:moveTo>
                      <a:lnTo>
                        <a:pt x="16" y="8"/>
                      </a:lnTo>
                      <a:lnTo>
                        <a:pt x="17" y="13"/>
                      </a:lnTo>
                      <a:lnTo>
                        <a:pt x="17" y="14"/>
                      </a:lnTo>
                      <a:lnTo>
                        <a:pt x="16" y="15"/>
                      </a:lnTo>
                      <a:lnTo>
                        <a:pt x="10" y="15"/>
                      </a:lnTo>
                      <a:lnTo>
                        <a:pt x="5" y="14"/>
                      </a:lnTo>
                      <a:lnTo>
                        <a:pt x="2" y="12"/>
                      </a:lnTo>
                      <a:lnTo>
                        <a:pt x="0" y="10"/>
                      </a:lnTo>
                      <a:lnTo>
                        <a:pt x="0" y="8"/>
                      </a:lnTo>
                      <a:lnTo>
                        <a:pt x="0" y="6"/>
                      </a:lnTo>
                      <a:lnTo>
                        <a:pt x="3" y="3"/>
                      </a:lnTo>
                      <a:lnTo>
                        <a:pt x="9" y="0"/>
                      </a:lnTo>
                      <a:lnTo>
                        <a:pt x="10" y="0"/>
                      </a:lnTo>
                      <a:lnTo>
                        <a:pt x="12" y="0"/>
                      </a:lnTo>
                      <a:lnTo>
                        <a:pt x="14" y="2"/>
                      </a:lnTo>
                      <a:lnTo>
                        <a:pt x="16" y="4"/>
                      </a:lnTo>
                      <a:lnTo>
                        <a:pt x="1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3" name="Freeform 168"/>
                <p:cNvSpPr>
                  <a:spLocks/>
                </p:cNvSpPr>
                <p:nvPr/>
              </p:nvSpPr>
              <p:spPr bwMode="auto">
                <a:xfrm>
                  <a:off x="8343039" y="4837384"/>
                  <a:ext cx="26637" cy="31077"/>
                </a:xfrm>
                <a:custGeom>
                  <a:avLst/>
                  <a:gdLst>
                    <a:gd name="T0" fmla="*/ 2147483647 w 19"/>
                    <a:gd name="T1" fmla="*/ 2147483647 h 21"/>
                    <a:gd name="T2" fmla="*/ 2147483647 w 19"/>
                    <a:gd name="T3" fmla="*/ 2147483647 h 21"/>
                    <a:gd name="T4" fmla="*/ 2147483647 w 19"/>
                    <a:gd name="T5" fmla="*/ 2147483647 h 21"/>
                    <a:gd name="T6" fmla="*/ 2147483647 w 19"/>
                    <a:gd name="T7" fmla="*/ 2147483647 h 21"/>
                    <a:gd name="T8" fmla="*/ 2147483647 w 19"/>
                    <a:gd name="T9" fmla="*/ 2147483647 h 21"/>
                    <a:gd name="T10" fmla="*/ 2147483647 w 19"/>
                    <a:gd name="T11" fmla="*/ 2147483647 h 21"/>
                    <a:gd name="T12" fmla="*/ 2147483647 w 19"/>
                    <a:gd name="T13" fmla="*/ 2147483647 h 21"/>
                    <a:gd name="T14" fmla="*/ 0 w 19"/>
                    <a:gd name="T15" fmla="*/ 2147483647 h 21"/>
                    <a:gd name="T16" fmla="*/ 0 w 19"/>
                    <a:gd name="T17" fmla="*/ 0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1"/>
                    <a:gd name="T41" fmla="*/ 19 w 19"/>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1">
                      <a:moveTo>
                        <a:pt x="19" y="19"/>
                      </a:moveTo>
                      <a:lnTo>
                        <a:pt x="19" y="21"/>
                      </a:lnTo>
                      <a:lnTo>
                        <a:pt x="17" y="21"/>
                      </a:lnTo>
                      <a:lnTo>
                        <a:pt x="16" y="21"/>
                      </a:lnTo>
                      <a:lnTo>
                        <a:pt x="10" y="16"/>
                      </a:lnTo>
                      <a:lnTo>
                        <a:pt x="5" y="12"/>
                      </a:lnTo>
                      <a:lnTo>
                        <a:pt x="1" y="6"/>
                      </a:lnTo>
                      <a:lnTo>
                        <a:pt x="0" y="3"/>
                      </a:lnTo>
                      <a:lnTo>
                        <a:pt x="0" y="0"/>
                      </a:lnTo>
                      <a:lnTo>
                        <a:pt x="6" y="3"/>
                      </a:lnTo>
                      <a:lnTo>
                        <a:pt x="11" y="8"/>
                      </a:lnTo>
                      <a:lnTo>
                        <a:pt x="16" y="13"/>
                      </a:lnTo>
                      <a:lnTo>
                        <a:pt x="19" y="1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4" name="Freeform 169"/>
                <p:cNvSpPr>
                  <a:spLocks/>
                </p:cNvSpPr>
                <p:nvPr/>
              </p:nvSpPr>
              <p:spPr bwMode="auto">
                <a:xfrm>
                  <a:off x="8393354" y="4856624"/>
                  <a:ext cx="28117" cy="39957"/>
                </a:xfrm>
                <a:custGeom>
                  <a:avLst/>
                  <a:gdLst>
                    <a:gd name="T0" fmla="*/ 2147483647 w 20"/>
                    <a:gd name="T1" fmla="*/ 2147483647 h 27"/>
                    <a:gd name="T2" fmla="*/ 2147483647 w 20"/>
                    <a:gd name="T3" fmla="*/ 2147483647 h 27"/>
                    <a:gd name="T4" fmla="*/ 2147483647 w 20"/>
                    <a:gd name="T5" fmla="*/ 2147483647 h 27"/>
                    <a:gd name="T6" fmla="*/ 2147483647 w 20"/>
                    <a:gd name="T7" fmla="*/ 2147483647 h 27"/>
                    <a:gd name="T8" fmla="*/ 2147483647 w 20"/>
                    <a:gd name="T9" fmla="*/ 2147483647 h 27"/>
                    <a:gd name="T10" fmla="*/ 2147483647 w 20"/>
                    <a:gd name="T11" fmla="*/ 2147483647 h 27"/>
                    <a:gd name="T12" fmla="*/ 2147483647 w 20"/>
                    <a:gd name="T13" fmla="*/ 2147483647 h 27"/>
                    <a:gd name="T14" fmla="*/ 2147483647 w 20"/>
                    <a:gd name="T15" fmla="*/ 2147483647 h 27"/>
                    <a:gd name="T16" fmla="*/ 2147483647 w 20"/>
                    <a:gd name="T17" fmla="*/ 2147483647 h 27"/>
                    <a:gd name="T18" fmla="*/ 2147483647 w 20"/>
                    <a:gd name="T19" fmla="*/ 2147483647 h 27"/>
                    <a:gd name="T20" fmla="*/ 2147483647 w 20"/>
                    <a:gd name="T21" fmla="*/ 2147483647 h 27"/>
                    <a:gd name="T22" fmla="*/ 2147483647 w 20"/>
                    <a:gd name="T23" fmla="*/ 2147483647 h 27"/>
                    <a:gd name="T24" fmla="*/ 0 w 20"/>
                    <a:gd name="T25" fmla="*/ 2147483647 h 27"/>
                    <a:gd name="T26" fmla="*/ 2147483647 w 20"/>
                    <a:gd name="T27" fmla="*/ 2147483647 h 27"/>
                    <a:gd name="T28" fmla="*/ 2147483647 w 20"/>
                    <a:gd name="T29" fmla="*/ 0 h 27"/>
                    <a:gd name="T30" fmla="*/ 2147483647 w 20"/>
                    <a:gd name="T31" fmla="*/ 0 h 27"/>
                    <a:gd name="T32" fmla="*/ 2147483647 w 20"/>
                    <a:gd name="T33" fmla="*/ 0 h 27"/>
                    <a:gd name="T34" fmla="*/ 2147483647 w 20"/>
                    <a:gd name="T35" fmla="*/ 2147483647 h 27"/>
                    <a:gd name="T36" fmla="*/ 2147483647 w 20"/>
                    <a:gd name="T37" fmla="*/ 2147483647 h 27"/>
                    <a:gd name="T38" fmla="*/ 2147483647 w 20"/>
                    <a:gd name="T39" fmla="*/ 2147483647 h 27"/>
                    <a:gd name="T40" fmla="*/ 2147483647 w 20"/>
                    <a:gd name="T41" fmla="*/ 2147483647 h 27"/>
                    <a:gd name="T42" fmla="*/ 2147483647 w 20"/>
                    <a:gd name="T43" fmla="*/ 2147483647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27"/>
                    <a:gd name="T68" fmla="*/ 20 w 20"/>
                    <a:gd name="T69" fmla="*/ 27 h 2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27">
                      <a:moveTo>
                        <a:pt x="17" y="18"/>
                      </a:moveTo>
                      <a:lnTo>
                        <a:pt x="20" y="21"/>
                      </a:lnTo>
                      <a:lnTo>
                        <a:pt x="20" y="22"/>
                      </a:lnTo>
                      <a:lnTo>
                        <a:pt x="20" y="24"/>
                      </a:lnTo>
                      <a:lnTo>
                        <a:pt x="17" y="26"/>
                      </a:lnTo>
                      <a:lnTo>
                        <a:pt x="15" y="27"/>
                      </a:lnTo>
                      <a:lnTo>
                        <a:pt x="12" y="27"/>
                      </a:lnTo>
                      <a:lnTo>
                        <a:pt x="10" y="25"/>
                      </a:lnTo>
                      <a:lnTo>
                        <a:pt x="5" y="20"/>
                      </a:lnTo>
                      <a:lnTo>
                        <a:pt x="3" y="15"/>
                      </a:lnTo>
                      <a:lnTo>
                        <a:pt x="1" y="9"/>
                      </a:lnTo>
                      <a:lnTo>
                        <a:pt x="1" y="6"/>
                      </a:lnTo>
                      <a:lnTo>
                        <a:pt x="0" y="2"/>
                      </a:lnTo>
                      <a:lnTo>
                        <a:pt x="1" y="1"/>
                      </a:lnTo>
                      <a:lnTo>
                        <a:pt x="2" y="0"/>
                      </a:lnTo>
                      <a:lnTo>
                        <a:pt x="3" y="0"/>
                      </a:lnTo>
                      <a:lnTo>
                        <a:pt x="5" y="0"/>
                      </a:lnTo>
                      <a:lnTo>
                        <a:pt x="8" y="3"/>
                      </a:lnTo>
                      <a:lnTo>
                        <a:pt x="11" y="7"/>
                      </a:lnTo>
                      <a:lnTo>
                        <a:pt x="13" y="14"/>
                      </a:lnTo>
                      <a:lnTo>
                        <a:pt x="15" y="15"/>
                      </a:lnTo>
                      <a:lnTo>
                        <a:pt x="17" y="1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5" name="Freeform 170"/>
                <p:cNvSpPr>
                  <a:spLocks/>
                </p:cNvSpPr>
                <p:nvPr/>
              </p:nvSpPr>
              <p:spPr bwMode="auto">
                <a:xfrm>
                  <a:off x="8340080" y="4835902"/>
                  <a:ext cx="26637" cy="31078"/>
                </a:xfrm>
                <a:custGeom>
                  <a:avLst/>
                  <a:gdLst>
                    <a:gd name="T0" fmla="*/ 2147483647 w 19"/>
                    <a:gd name="T1" fmla="*/ 2147483647 h 21"/>
                    <a:gd name="T2" fmla="*/ 2147483647 w 19"/>
                    <a:gd name="T3" fmla="*/ 2147483647 h 21"/>
                    <a:gd name="T4" fmla="*/ 2147483647 w 19"/>
                    <a:gd name="T5" fmla="*/ 2147483647 h 21"/>
                    <a:gd name="T6" fmla="*/ 2147483647 w 19"/>
                    <a:gd name="T7" fmla="*/ 2147483647 h 21"/>
                    <a:gd name="T8" fmla="*/ 2147483647 w 19"/>
                    <a:gd name="T9" fmla="*/ 2147483647 h 21"/>
                    <a:gd name="T10" fmla="*/ 2147483647 w 19"/>
                    <a:gd name="T11" fmla="*/ 2147483647 h 21"/>
                    <a:gd name="T12" fmla="*/ 2147483647 w 19"/>
                    <a:gd name="T13" fmla="*/ 2147483647 h 21"/>
                    <a:gd name="T14" fmla="*/ 2147483647 w 19"/>
                    <a:gd name="T15" fmla="*/ 2147483647 h 21"/>
                    <a:gd name="T16" fmla="*/ 2147483647 w 19"/>
                    <a:gd name="T17" fmla="*/ 2147483647 h 21"/>
                    <a:gd name="T18" fmla="*/ 0 w 19"/>
                    <a:gd name="T19" fmla="*/ 2147483647 h 21"/>
                    <a:gd name="T20" fmla="*/ 0 w 19"/>
                    <a:gd name="T21" fmla="*/ 0 h 21"/>
                    <a:gd name="T22" fmla="*/ 0 w 19"/>
                    <a:gd name="T23" fmla="*/ 0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2147483647 w 19"/>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
                    <a:gd name="T52" fmla="*/ 0 h 21"/>
                    <a:gd name="T53" fmla="*/ 19 w 19"/>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 h="21">
                      <a:moveTo>
                        <a:pt x="19" y="19"/>
                      </a:moveTo>
                      <a:lnTo>
                        <a:pt x="19" y="19"/>
                      </a:lnTo>
                      <a:lnTo>
                        <a:pt x="19" y="21"/>
                      </a:lnTo>
                      <a:lnTo>
                        <a:pt x="18" y="21"/>
                      </a:lnTo>
                      <a:lnTo>
                        <a:pt x="17" y="21"/>
                      </a:lnTo>
                      <a:lnTo>
                        <a:pt x="11" y="16"/>
                      </a:lnTo>
                      <a:lnTo>
                        <a:pt x="6" y="11"/>
                      </a:lnTo>
                      <a:lnTo>
                        <a:pt x="2" y="6"/>
                      </a:lnTo>
                      <a:lnTo>
                        <a:pt x="0" y="3"/>
                      </a:lnTo>
                      <a:lnTo>
                        <a:pt x="0" y="0"/>
                      </a:lnTo>
                      <a:lnTo>
                        <a:pt x="7" y="3"/>
                      </a:lnTo>
                      <a:lnTo>
                        <a:pt x="12" y="8"/>
                      </a:lnTo>
                      <a:lnTo>
                        <a:pt x="17" y="13"/>
                      </a:lnTo>
                      <a:lnTo>
                        <a:pt x="19" y="1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6" name="Freeform 171"/>
                <p:cNvSpPr>
                  <a:spLocks/>
                </p:cNvSpPr>
                <p:nvPr/>
              </p:nvSpPr>
              <p:spPr bwMode="auto">
                <a:xfrm>
                  <a:off x="8390394" y="4855142"/>
                  <a:ext cx="29597" cy="39956"/>
                </a:xfrm>
                <a:custGeom>
                  <a:avLst/>
                  <a:gdLst>
                    <a:gd name="T0" fmla="*/ 2147483647 w 21"/>
                    <a:gd name="T1" fmla="*/ 2147483647 h 27"/>
                    <a:gd name="T2" fmla="*/ 2147483647 w 21"/>
                    <a:gd name="T3" fmla="*/ 2147483647 h 27"/>
                    <a:gd name="T4" fmla="*/ 2147483647 w 21"/>
                    <a:gd name="T5" fmla="*/ 2147483647 h 27"/>
                    <a:gd name="T6" fmla="*/ 2147483647 w 21"/>
                    <a:gd name="T7" fmla="*/ 2147483647 h 27"/>
                    <a:gd name="T8" fmla="*/ 2147483647 w 21"/>
                    <a:gd name="T9" fmla="*/ 2147483647 h 27"/>
                    <a:gd name="T10" fmla="*/ 2147483647 w 21"/>
                    <a:gd name="T11" fmla="*/ 2147483647 h 27"/>
                    <a:gd name="T12" fmla="*/ 2147483647 w 21"/>
                    <a:gd name="T13" fmla="*/ 2147483647 h 27"/>
                    <a:gd name="T14" fmla="*/ 2147483647 w 21"/>
                    <a:gd name="T15" fmla="*/ 2147483647 h 27"/>
                    <a:gd name="T16" fmla="*/ 2147483647 w 21"/>
                    <a:gd name="T17" fmla="*/ 2147483647 h 27"/>
                    <a:gd name="T18" fmla="*/ 2147483647 w 21"/>
                    <a:gd name="T19" fmla="*/ 2147483647 h 27"/>
                    <a:gd name="T20" fmla="*/ 2147483647 w 21"/>
                    <a:gd name="T21" fmla="*/ 2147483647 h 27"/>
                    <a:gd name="T22" fmla="*/ 2147483647 w 21"/>
                    <a:gd name="T23" fmla="*/ 2147483647 h 27"/>
                    <a:gd name="T24" fmla="*/ 2147483647 w 21"/>
                    <a:gd name="T25" fmla="*/ 2147483647 h 27"/>
                    <a:gd name="T26" fmla="*/ 2147483647 w 21"/>
                    <a:gd name="T27" fmla="*/ 2147483647 h 27"/>
                    <a:gd name="T28" fmla="*/ 2147483647 w 21"/>
                    <a:gd name="T29" fmla="*/ 2147483647 h 27"/>
                    <a:gd name="T30" fmla="*/ 0 w 21"/>
                    <a:gd name="T31" fmla="*/ 2147483647 h 27"/>
                    <a:gd name="T32" fmla="*/ 0 w 21"/>
                    <a:gd name="T33" fmla="*/ 2147483647 h 27"/>
                    <a:gd name="T34" fmla="*/ 2147483647 w 21"/>
                    <a:gd name="T35" fmla="*/ 2147483647 h 27"/>
                    <a:gd name="T36" fmla="*/ 2147483647 w 21"/>
                    <a:gd name="T37" fmla="*/ 0 h 27"/>
                    <a:gd name="T38" fmla="*/ 2147483647 w 21"/>
                    <a:gd name="T39" fmla="*/ 0 h 27"/>
                    <a:gd name="T40" fmla="*/ 2147483647 w 21"/>
                    <a:gd name="T41" fmla="*/ 0 h 27"/>
                    <a:gd name="T42" fmla="*/ 2147483647 w 21"/>
                    <a:gd name="T43" fmla="*/ 0 h 27"/>
                    <a:gd name="T44" fmla="*/ 2147483647 w 21"/>
                    <a:gd name="T45" fmla="*/ 2147483647 h 27"/>
                    <a:gd name="T46" fmla="*/ 2147483647 w 21"/>
                    <a:gd name="T47" fmla="*/ 2147483647 h 27"/>
                    <a:gd name="T48" fmla="*/ 2147483647 w 21"/>
                    <a:gd name="T49" fmla="*/ 2147483647 h 27"/>
                    <a:gd name="T50" fmla="*/ 2147483647 w 21"/>
                    <a:gd name="T51" fmla="*/ 2147483647 h 27"/>
                    <a:gd name="T52" fmla="*/ 2147483647 w 21"/>
                    <a:gd name="T53" fmla="*/ 2147483647 h 27"/>
                    <a:gd name="T54" fmla="*/ 2147483647 w 21"/>
                    <a:gd name="T55" fmla="*/ 2147483647 h 27"/>
                    <a:gd name="T56" fmla="*/ 2147483647 w 21"/>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
                    <a:gd name="T88" fmla="*/ 0 h 27"/>
                    <a:gd name="T89" fmla="*/ 21 w 21"/>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 h="27">
                      <a:moveTo>
                        <a:pt x="18" y="17"/>
                      </a:moveTo>
                      <a:lnTo>
                        <a:pt x="18" y="17"/>
                      </a:lnTo>
                      <a:lnTo>
                        <a:pt x="21" y="21"/>
                      </a:lnTo>
                      <a:lnTo>
                        <a:pt x="21" y="22"/>
                      </a:lnTo>
                      <a:lnTo>
                        <a:pt x="21" y="23"/>
                      </a:lnTo>
                      <a:lnTo>
                        <a:pt x="18" y="26"/>
                      </a:lnTo>
                      <a:lnTo>
                        <a:pt x="15" y="27"/>
                      </a:lnTo>
                      <a:lnTo>
                        <a:pt x="13" y="27"/>
                      </a:lnTo>
                      <a:lnTo>
                        <a:pt x="10" y="25"/>
                      </a:lnTo>
                      <a:lnTo>
                        <a:pt x="5" y="20"/>
                      </a:lnTo>
                      <a:lnTo>
                        <a:pt x="4" y="15"/>
                      </a:lnTo>
                      <a:lnTo>
                        <a:pt x="2" y="9"/>
                      </a:lnTo>
                      <a:lnTo>
                        <a:pt x="2" y="6"/>
                      </a:lnTo>
                      <a:lnTo>
                        <a:pt x="0" y="2"/>
                      </a:lnTo>
                      <a:lnTo>
                        <a:pt x="2" y="1"/>
                      </a:lnTo>
                      <a:lnTo>
                        <a:pt x="3" y="0"/>
                      </a:lnTo>
                      <a:lnTo>
                        <a:pt x="4" y="0"/>
                      </a:lnTo>
                      <a:lnTo>
                        <a:pt x="5" y="0"/>
                      </a:lnTo>
                      <a:lnTo>
                        <a:pt x="9" y="3"/>
                      </a:lnTo>
                      <a:lnTo>
                        <a:pt x="12" y="7"/>
                      </a:lnTo>
                      <a:lnTo>
                        <a:pt x="14" y="14"/>
                      </a:lnTo>
                      <a:lnTo>
                        <a:pt x="15" y="15"/>
                      </a:lnTo>
                      <a:lnTo>
                        <a:pt x="18"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7" name="Freeform 172"/>
                <p:cNvSpPr>
                  <a:spLocks/>
                </p:cNvSpPr>
                <p:nvPr/>
              </p:nvSpPr>
              <p:spPr bwMode="auto">
                <a:xfrm>
                  <a:off x="8365237" y="4883262"/>
                  <a:ext cx="32557" cy="22199"/>
                </a:xfrm>
                <a:custGeom>
                  <a:avLst/>
                  <a:gdLst>
                    <a:gd name="T0" fmla="*/ 2147483647 w 24"/>
                    <a:gd name="T1" fmla="*/ 2147483647 h 15"/>
                    <a:gd name="T2" fmla="*/ 2147483647 w 24"/>
                    <a:gd name="T3" fmla="*/ 2147483647 h 15"/>
                    <a:gd name="T4" fmla="*/ 2147483647 w 24"/>
                    <a:gd name="T5" fmla="*/ 2147483647 h 15"/>
                    <a:gd name="T6" fmla="*/ 2147483647 w 24"/>
                    <a:gd name="T7" fmla="*/ 2147483647 h 15"/>
                    <a:gd name="T8" fmla="*/ 2147483647 w 24"/>
                    <a:gd name="T9" fmla="*/ 2147483647 h 15"/>
                    <a:gd name="T10" fmla="*/ 2147483647 w 24"/>
                    <a:gd name="T11" fmla="*/ 2147483647 h 15"/>
                    <a:gd name="T12" fmla="*/ 2147483647 w 24"/>
                    <a:gd name="T13" fmla="*/ 2147483647 h 15"/>
                    <a:gd name="T14" fmla="*/ 2147483647 w 24"/>
                    <a:gd name="T15" fmla="*/ 2147483647 h 15"/>
                    <a:gd name="T16" fmla="*/ 0 w 24"/>
                    <a:gd name="T17" fmla="*/ 2147483647 h 15"/>
                    <a:gd name="T18" fmla="*/ 0 w 24"/>
                    <a:gd name="T19" fmla="*/ 2147483647 h 15"/>
                    <a:gd name="T20" fmla="*/ 2147483647 w 24"/>
                    <a:gd name="T21" fmla="*/ 0 h 15"/>
                    <a:gd name="T22" fmla="*/ 2147483647 w 24"/>
                    <a:gd name="T23" fmla="*/ 0 h 15"/>
                    <a:gd name="T24" fmla="*/ 2147483647 w 24"/>
                    <a:gd name="T25" fmla="*/ 2147483647 h 15"/>
                    <a:gd name="T26" fmla="*/ 2147483647 w 24"/>
                    <a:gd name="T27" fmla="*/ 2147483647 h 15"/>
                    <a:gd name="T28" fmla="*/ 2147483647 w 24"/>
                    <a:gd name="T29" fmla="*/ 2147483647 h 15"/>
                    <a:gd name="T30" fmla="*/ 2147483647 w 24"/>
                    <a:gd name="T31" fmla="*/ 2147483647 h 15"/>
                    <a:gd name="T32" fmla="*/ 2147483647 w 2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5"/>
                    <a:gd name="T53" fmla="*/ 24 w 2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5">
                      <a:moveTo>
                        <a:pt x="24" y="11"/>
                      </a:moveTo>
                      <a:lnTo>
                        <a:pt x="24" y="14"/>
                      </a:lnTo>
                      <a:lnTo>
                        <a:pt x="23" y="15"/>
                      </a:lnTo>
                      <a:lnTo>
                        <a:pt x="18" y="13"/>
                      </a:lnTo>
                      <a:lnTo>
                        <a:pt x="14" y="10"/>
                      </a:lnTo>
                      <a:lnTo>
                        <a:pt x="9" y="8"/>
                      </a:lnTo>
                      <a:lnTo>
                        <a:pt x="4" y="8"/>
                      </a:lnTo>
                      <a:lnTo>
                        <a:pt x="1" y="7"/>
                      </a:lnTo>
                      <a:lnTo>
                        <a:pt x="0" y="4"/>
                      </a:lnTo>
                      <a:lnTo>
                        <a:pt x="0" y="1"/>
                      </a:lnTo>
                      <a:lnTo>
                        <a:pt x="1" y="0"/>
                      </a:lnTo>
                      <a:lnTo>
                        <a:pt x="9" y="0"/>
                      </a:lnTo>
                      <a:lnTo>
                        <a:pt x="15" y="1"/>
                      </a:lnTo>
                      <a:lnTo>
                        <a:pt x="19" y="3"/>
                      </a:lnTo>
                      <a:lnTo>
                        <a:pt x="22" y="4"/>
                      </a:lnTo>
                      <a:lnTo>
                        <a:pt x="23" y="8"/>
                      </a:lnTo>
                      <a:lnTo>
                        <a:pt x="24"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8" name="Freeform 173"/>
                <p:cNvSpPr>
                  <a:spLocks/>
                </p:cNvSpPr>
                <p:nvPr/>
              </p:nvSpPr>
              <p:spPr bwMode="auto">
                <a:xfrm>
                  <a:off x="8406672" y="4906936"/>
                  <a:ext cx="35517" cy="26638"/>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2147483647 w 26"/>
                    <a:gd name="T15" fmla="*/ 2147483647 h 18"/>
                    <a:gd name="T16" fmla="*/ 2147483647 w 26"/>
                    <a:gd name="T17" fmla="*/ 2147483647 h 18"/>
                    <a:gd name="T18" fmla="*/ 2147483647 w 26"/>
                    <a:gd name="T19" fmla="*/ 2147483647 h 18"/>
                    <a:gd name="T20" fmla="*/ 0 w 26"/>
                    <a:gd name="T21" fmla="*/ 2147483647 h 18"/>
                    <a:gd name="T22" fmla="*/ 0 w 26"/>
                    <a:gd name="T23" fmla="*/ 2147483647 h 18"/>
                    <a:gd name="T24" fmla="*/ 2147483647 w 26"/>
                    <a:gd name="T25" fmla="*/ 2147483647 h 18"/>
                    <a:gd name="T26" fmla="*/ 2147483647 w 26"/>
                    <a:gd name="T27" fmla="*/ 0 h 18"/>
                    <a:gd name="T28" fmla="*/ 2147483647 w 26"/>
                    <a:gd name="T29" fmla="*/ 0 h 18"/>
                    <a:gd name="T30" fmla="*/ 2147483647 w 26"/>
                    <a:gd name="T31" fmla="*/ 0 h 18"/>
                    <a:gd name="T32" fmla="*/ 2147483647 w 26"/>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18"/>
                    <a:gd name="T53" fmla="*/ 26 w 26"/>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18">
                      <a:moveTo>
                        <a:pt x="20" y="6"/>
                      </a:moveTo>
                      <a:lnTo>
                        <a:pt x="24" y="8"/>
                      </a:lnTo>
                      <a:lnTo>
                        <a:pt x="25" y="13"/>
                      </a:lnTo>
                      <a:lnTo>
                        <a:pt x="26" y="14"/>
                      </a:lnTo>
                      <a:lnTo>
                        <a:pt x="25" y="17"/>
                      </a:lnTo>
                      <a:lnTo>
                        <a:pt x="24" y="18"/>
                      </a:lnTo>
                      <a:lnTo>
                        <a:pt x="21" y="18"/>
                      </a:lnTo>
                      <a:lnTo>
                        <a:pt x="15" y="16"/>
                      </a:lnTo>
                      <a:lnTo>
                        <a:pt x="7" y="12"/>
                      </a:lnTo>
                      <a:lnTo>
                        <a:pt x="1" y="7"/>
                      </a:lnTo>
                      <a:lnTo>
                        <a:pt x="0" y="5"/>
                      </a:lnTo>
                      <a:lnTo>
                        <a:pt x="0" y="4"/>
                      </a:lnTo>
                      <a:lnTo>
                        <a:pt x="1" y="1"/>
                      </a:lnTo>
                      <a:lnTo>
                        <a:pt x="2" y="0"/>
                      </a:lnTo>
                      <a:lnTo>
                        <a:pt x="5" y="0"/>
                      </a:lnTo>
                      <a:lnTo>
                        <a:pt x="9" y="0"/>
                      </a:lnTo>
                      <a:lnTo>
                        <a:pt x="2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79" name="Freeform 174"/>
                <p:cNvSpPr>
                  <a:spLocks/>
                </p:cNvSpPr>
                <p:nvPr/>
              </p:nvSpPr>
              <p:spPr bwMode="auto">
                <a:xfrm>
                  <a:off x="8363757" y="4880298"/>
                  <a:ext cx="32557" cy="23678"/>
                </a:xfrm>
                <a:custGeom>
                  <a:avLst/>
                  <a:gdLst>
                    <a:gd name="T0" fmla="*/ 2147483647 w 24"/>
                    <a:gd name="T1" fmla="*/ 2147483647 h 16"/>
                    <a:gd name="T2" fmla="*/ 2147483647 w 24"/>
                    <a:gd name="T3" fmla="*/ 2147483647 h 16"/>
                    <a:gd name="T4" fmla="*/ 2147483647 w 24"/>
                    <a:gd name="T5" fmla="*/ 2147483647 h 16"/>
                    <a:gd name="T6" fmla="*/ 2147483647 w 24"/>
                    <a:gd name="T7" fmla="*/ 2147483647 h 16"/>
                    <a:gd name="T8" fmla="*/ 2147483647 w 24"/>
                    <a:gd name="T9" fmla="*/ 2147483647 h 16"/>
                    <a:gd name="T10" fmla="*/ 2147483647 w 24"/>
                    <a:gd name="T11" fmla="*/ 2147483647 h 16"/>
                    <a:gd name="T12" fmla="*/ 2147483647 w 24"/>
                    <a:gd name="T13" fmla="*/ 2147483647 h 16"/>
                    <a:gd name="T14" fmla="*/ 2147483647 w 24"/>
                    <a:gd name="T15" fmla="*/ 2147483647 h 16"/>
                    <a:gd name="T16" fmla="*/ 2147483647 w 24"/>
                    <a:gd name="T17" fmla="*/ 2147483647 h 16"/>
                    <a:gd name="T18" fmla="*/ 2147483647 w 24"/>
                    <a:gd name="T19" fmla="*/ 2147483647 h 16"/>
                    <a:gd name="T20" fmla="*/ 2147483647 w 24"/>
                    <a:gd name="T21" fmla="*/ 2147483647 h 16"/>
                    <a:gd name="T22" fmla="*/ 0 w 24"/>
                    <a:gd name="T23" fmla="*/ 2147483647 h 16"/>
                    <a:gd name="T24" fmla="*/ 0 w 24"/>
                    <a:gd name="T25" fmla="*/ 2147483647 h 16"/>
                    <a:gd name="T26" fmla="*/ 0 w 24"/>
                    <a:gd name="T27" fmla="*/ 2147483647 h 16"/>
                    <a:gd name="T28" fmla="*/ 2147483647 w 24"/>
                    <a:gd name="T29" fmla="*/ 0 h 16"/>
                    <a:gd name="T30" fmla="*/ 2147483647 w 24"/>
                    <a:gd name="T31" fmla="*/ 0 h 16"/>
                    <a:gd name="T32" fmla="*/ 2147483647 w 24"/>
                    <a:gd name="T33" fmla="*/ 0 h 16"/>
                    <a:gd name="T34" fmla="*/ 2147483647 w 24"/>
                    <a:gd name="T35" fmla="*/ 2147483647 h 16"/>
                    <a:gd name="T36" fmla="*/ 2147483647 w 24"/>
                    <a:gd name="T37" fmla="*/ 2147483647 h 16"/>
                    <a:gd name="T38" fmla="*/ 2147483647 w 24"/>
                    <a:gd name="T39" fmla="*/ 2147483647 h 16"/>
                    <a:gd name="T40" fmla="*/ 2147483647 w 24"/>
                    <a:gd name="T41" fmla="*/ 2147483647 h 16"/>
                    <a:gd name="T42" fmla="*/ 2147483647 w 24"/>
                    <a:gd name="T43" fmla="*/ 2147483647 h 16"/>
                    <a:gd name="T44" fmla="*/ 2147483647 w 24"/>
                    <a:gd name="T45" fmla="*/ 2147483647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
                    <a:gd name="T70" fmla="*/ 0 h 16"/>
                    <a:gd name="T71" fmla="*/ 24 w 24"/>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 h="16">
                      <a:moveTo>
                        <a:pt x="24" y="12"/>
                      </a:moveTo>
                      <a:lnTo>
                        <a:pt x="24" y="12"/>
                      </a:lnTo>
                      <a:lnTo>
                        <a:pt x="24" y="15"/>
                      </a:lnTo>
                      <a:lnTo>
                        <a:pt x="23" y="16"/>
                      </a:lnTo>
                      <a:lnTo>
                        <a:pt x="18" y="13"/>
                      </a:lnTo>
                      <a:lnTo>
                        <a:pt x="14" y="11"/>
                      </a:lnTo>
                      <a:lnTo>
                        <a:pt x="9" y="9"/>
                      </a:lnTo>
                      <a:lnTo>
                        <a:pt x="4" y="9"/>
                      </a:lnTo>
                      <a:lnTo>
                        <a:pt x="1" y="8"/>
                      </a:lnTo>
                      <a:lnTo>
                        <a:pt x="0" y="5"/>
                      </a:lnTo>
                      <a:lnTo>
                        <a:pt x="0" y="2"/>
                      </a:lnTo>
                      <a:lnTo>
                        <a:pt x="1" y="0"/>
                      </a:lnTo>
                      <a:lnTo>
                        <a:pt x="9" y="0"/>
                      </a:lnTo>
                      <a:lnTo>
                        <a:pt x="15" y="2"/>
                      </a:lnTo>
                      <a:lnTo>
                        <a:pt x="19" y="4"/>
                      </a:lnTo>
                      <a:lnTo>
                        <a:pt x="22" y="5"/>
                      </a:lnTo>
                      <a:lnTo>
                        <a:pt x="23" y="9"/>
                      </a:lnTo>
                      <a:lnTo>
                        <a:pt x="2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0" name="Freeform 175"/>
                <p:cNvSpPr>
                  <a:spLocks/>
                </p:cNvSpPr>
                <p:nvPr/>
              </p:nvSpPr>
              <p:spPr bwMode="auto">
                <a:xfrm>
                  <a:off x="8405195" y="4905459"/>
                  <a:ext cx="36996" cy="26638"/>
                </a:xfrm>
                <a:custGeom>
                  <a:avLst/>
                  <a:gdLst>
                    <a:gd name="T0" fmla="*/ 2147483647 w 27"/>
                    <a:gd name="T1" fmla="*/ 2147483647 h 18"/>
                    <a:gd name="T2" fmla="*/ 2147483647 w 27"/>
                    <a:gd name="T3" fmla="*/ 2147483647 h 18"/>
                    <a:gd name="T4" fmla="*/ 2147483647 w 27"/>
                    <a:gd name="T5" fmla="*/ 2147483647 h 18"/>
                    <a:gd name="T6" fmla="*/ 2147483647 w 27"/>
                    <a:gd name="T7" fmla="*/ 2147483647 h 18"/>
                    <a:gd name="T8" fmla="*/ 2147483647 w 27"/>
                    <a:gd name="T9" fmla="*/ 2147483647 h 18"/>
                    <a:gd name="T10" fmla="*/ 2147483647 w 27"/>
                    <a:gd name="T11" fmla="*/ 2147483647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2147483647 w 27"/>
                    <a:gd name="T23" fmla="*/ 2147483647 h 18"/>
                    <a:gd name="T24" fmla="*/ 0 w 27"/>
                    <a:gd name="T25" fmla="*/ 2147483647 h 18"/>
                    <a:gd name="T26" fmla="*/ 0 w 27"/>
                    <a:gd name="T27" fmla="*/ 2147483647 h 18"/>
                    <a:gd name="T28" fmla="*/ 0 w 27"/>
                    <a:gd name="T29" fmla="*/ 2147483647 h 18"/>
                    <a:gd name="T30" fmla="*/ 2147483647 w 27"/>
                    <a:gd name="T31" fmla="*/ 2147483647 h 18"/>
                    <a:gd name="T32" fmla="*/ 2147483647 w 27"/>
                    <a:gd name="T33" fmla="*/ 0 h 18"/>
                    <a:gd name="T34" fmla="*/ 2147483647 w 27"/>
                    <a:gd name="T35" fmla="*/ 0 h 18"/>
                    <a:gd name="T36" fmla="*/ 2147483647 w 27"/>
                    <a:gd name="T37" fmla="*/ 0 h 18"/>
                    <a:gd name="T38" fmla="*/ 2147483647 w 27"/>
                    <a:gd name="T39" fmla="*/ 2147483647 h 18"/>
                    <a:gd name="T40" fmla="*/ 2147483647 w 27"/>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8"/>
                    <a:gd name="T65" fmla="*/ 27 w 27"/>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8">
                      <a:moveTo>
                        <a:pt x="21" y="6"/>
                      </a:moveTo>
                      <a:lnTo>
                        <a:pt x="21" y="6"/>
                      </a:lnTo>
                      <a:lnTo>
                        <a:pt x="25" y="8"/>
                      </a:lnTo>
                      <a:lnTo>
                        <a:pt x="26" y="13"/>
                      </a:lnTo>
                      <a:lnTo>
                        <a:pt x="27" y="14"/>
                      </a:lnTo>
                      <a:lnTo>
                        <a:pt x="26" y="17"/>
                      </a:lnTo>
                      <a:lnTo>
                        <a:pt x="25" y="18"/>
                      </a:lnTo>
                      <a:lnTo>
                        <a:pt x="22" y="18"/>
                      </a:lnTo>
                      <a:lnTo>
                        <a:pt x="16" y="15"/>
                      </a:lnTo>
                      <a:lnTo>
                        <a:pt x="8" y="12"/>
                      </a:lnTo>
                      <a:lnTo>
                        <a:pt x="2" y="7"/>
                      </a:lnTo>
                      <a:lnTo>
                        <a:pt x="0" y="5"/>
                      </a:lnTo>
                      <a:lnTo>
                        <a:pt x="0" y="4"/>
                      </a:lnTo>
                      <a:lnTo>
                        <a:pt x="2" y="1"/>
                      </a:lnTo>
                      <a:lnTo>
                        <a:pt x="3" y="0"/>
                      </a:lnTo>
                      <a:lnTo>
                        <a:pt x="5" y="0"/>
                      </a:lnTo>
                      <a:lnTo>
                        <a:pt x="9" y="0"/>
                      </a:lnTo>
                      <a:lnTo>
                        <a:pt x="2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1" name="Freeform 176"/>
                <p:cNvSpPr>
                  <a:spLocks/>
                </p:cNvSpPr>
                <p:nvPr/>
              </p:nvSpPr>
              <p:spPr bwMode="auto">
                <a:xfrm>
                  <a:off x="8539865" y="4899541"/>
                  <a:ext cx="10360" cy="7399"/>
                </a:xfrm>
                <a:custGeom>
                  <a:avLst/>
                  <a:gdLst>
                    <a:gd name="T0" fmla="*/ 2147483647 w 8"/>
                    <a:gd name="T1" fmla="*/ 0 h 5"/>
                    <a:gd name="T2" fmla="*/ 2147483647 w 8"/>
                    <a:gd name="T3" fmla="*/ 2147483647 h 5"/>
                    <a:gd name="T4" fmla="*/ 2147483647 w 8"/>
                    <a:gd name="T5" fmla="*/ 2147483647 h 5"/>
                    <a:gd name="T6" fmla="*/ 2147483647 w 8"/>
                    <a:gd name="T7" fmla="*/ 2147483647 h 5"/>
                    <a:gd name="T8" fmla="*/ 2147483647 w 8"/>
                    <a:gd name="T9" fmla="*/ 2147483647 h 5"/>
                    <a:gd name="T10" fmla="*/ 0 w 8"/>
                    <a:gd name="T11" fmla="*/ 2147483647 h 5"/>
                    <a:gd name="T12" fmla="*/ 0 w 8"/>
                    <a:gd name="T13" fmla="*/ 2147483647 h 5"/>
                    <a:gd name="T14" fmla="*/ 2147483647 w 8"/>
                    <a:gd name="T15" fmla="*/ 0 h 5"/>
                    <a:gd name="T16" fmla="*/ 2147483647 w 8"/>
                    <a:gd name="T17" fmla="*/ 0 h 5"/>
                    <a:gd name="T18" fmla="*/ 2147483647 w 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7" y="0"/>
                      </a:moveTo>
                      <a:lnTo>
                        <a:pt x="8" y="2"/>
                      </a:lnTo>
                      <a:lnTo>
                        <a:pt x="8" y="3"/>
                      </a:lnTo>
                      <a:lnTo>
                        <a:pt x="6" y="5"/>
                      </a:lnTo>
                      <a:lnTo>
                        <a:pt x="3" y="5"/>
                      </a:lnTo>
                      <a:lnTo>
                        <a:pt x="0" y="3"/>
                      </a:lnTo>
                      <a:lnTo>
                        <a:pt x="0" y="2"/>
                      </a:lnTo>
                      <a:lnTo>
                        <a:pt x="2" y="0"/>
                      </a:lnTo>
                      <a:lnTo>
                        <a:pt x="4" y="0"/>
                      </a:lnTo>
                      <a:lnTo>
                        <a:pt x="7"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2" name="Freeform 177"/>
                <p:cNvSpPr>
                  <a:spLocks/>
                </p:cNvSpPr>
                <p:nvPr/>
              </p:nvSpPr>
              <p:spPr bwMode="auto">
                <a:xfrm>
                  <a:off x="8517666" y="4923219"/>
                  <a:ext cx="13318" cy="8879"/>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2147483647 h 6"/>
                    <a:gd name="T12" fmla="*/ 0 w 9"/>
                    <a:gd name="T13" fmla="*/ 2147483647 h 6"/>
                    <a:gd name="T14" fmla="*/ 2147483647 w 9"/>
                    <a:gd name="T15" fmla="*/ 0 h 6"/>
                    <a:gd name="T16" fmla="*/ 2147483647 w 9"/>
                    <a:gd name="T17" fmla="*/ 0 h 6"/>
                    <a:gd name="T18" fmla="*/ 2147483647 w 9"/>
                    <a:gd name="T19" fmla="*/ 2147483647 h 6"/>
                    <a:gd name="T20" fmla="*/ 2147483647 w 9"/>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9" y="2"/>
                      </a:moveTo>
                      <a:lnTo>
                        <a:pt x="9" y="3"/>
                      </a:lnTo>
                      <a:lnTo>
                        <a:pt x="8" y="5"/>
                      </a:lnTo>
                      <a:lnTo>
                        <a:pt x="5" y="6"/>
                      </a:lnTo>
                      <a:lnTo>
                        <a:pt x="2" y="5"/>
                      </a:lnTo>
                      <a:lnTo>
                        <a:pt x="0" y="2"/>
                      </a:lnTo>
                      <a:lnTo>
                        <a:pt x="0" y="1"/>
                      </a:lnTo>
                      <a:lnTo>
                        <a:pt x="1" y="0"/>
                      </a:lnTo>
                      <a:lnTo>
                        <a:pt x="6" y="0"/>
                      </a:lnTo>
                      <a:lnTo>
                        <a:pt x="8" y="1"/>
                      </a:lnTo>
                      <a:lnTo>
                        <a:pt x="9"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3" name="Freeform 178"/>
                <p:cNvSpPr>
                  <a:spLocks/>
                </p:cNvSpPr>
                <p:nvPr/>
              </p:nvSpPr>
              <p:spPr bwMode="auto">
                <a:xfrm>
                  <a:off x="8538382" y="4898057"/>
                  <a:ext cx="10359" cy="7400"/>
                </a:xfrm>
                <a:custGeom>
                  <a:avLst/>
                  <a:gdLst>
                    <a:gd name="T0" fmla="*/ 2147483647 w 8"/>
                    <a:gd name="T1" fmla="*/ 0 h 5"/>
                    <a:gd name="T2" fmla="*/ 2147483647 w 8"/>
                    <a:gd name="T3" fmla="*/ 0 h 5"/>
                    <a:gd name="T4" fmla="*/ 2147483647 w 8"/>
                    <a:gd name="T5" fmla="*/ 2147483647 h 5"/>
                    <a:gd name="T6" fmla="*/ 2147483647 w 8"/>
                    <a:gd name="T7" fmla="*/ 2147483647 h 5"/>
                    <a:gd name="T8" fmla="*/ 2147483647 w 8"/>
                    <a:gd name="T9" fmla="*/ 2147483647 h 5"/>
                    <a:gd name="T10" fmla="*/ 2147483647 w 8"/>
                    <a:gd name="T11" fmla="*/ 2147483647 h 5"/>
                    <a:gd name="T12" fmla="*/ 2147483647 w 8"/>
                    <a:gd name="T13" fmla="*/ 2147483647 h 5"/>
                    <a:gd name="T14" fmla="*/ 0 w 8"/>
                    <a:gd name="T15" fmla="*/ 2147483647 h 5"/>
                    <a:gd name="T16" fmla="*/ 0 w 8"/>
                    <a:gd name="T17" fmla="*/ 2147483647 h 5"/>
                    <a:gd name="T18" fmla="*/ 0 w 8"/>
                    <a:gd name="T19" fmla="*/ 2147483647 h 5"/>
                    <a:gd name="T20" fmla="*/ 2147483647 w 8"/>
                    <a:gd name="T21" fmla="*/ 0 h 5"/>
                    <a:gd name="T22" fmla="*/ 2147483647 w 8"/>
                    <a:gd name="T23" fmla="*/ 0 h 5"/>
                    <a:gd name="T24" fmla="*/ 2147483647 w 8"/>
                    <a:gd name="T25" fmla="*/ 0 h 5"/>
                    <a:gd name="T26" fmla="*/ 2147483647 w 8"/>
                    <a:gd name="T27" fmla="*/ 0 h 5"/>
                    <a:gd name="T28" fmla="*/ 2147483647 w 8"/>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5"/>
                    <a:gd name="T47" fmla="*/ 8 w 8"/>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5">
                      <a:moveTo>
                        <a:pt x="7" y="0"/>
                      </a:moveTo>
                      <a:lnTo>
                        <a:pt x="7" y="0"/>
                      </a:lnTo>
                      <a:lnTo>
                        <a:pt x="8" y="1"/>
                      </a:lnTo>
                      <a:lnTo>
                        <a:pt x="8" y="3"/>
                      </a:lnTo>
                      <a:lnTo>
                        <a:pt x="5" y="5"/>
                      </a:lnTo>
                      <a:lnTo>
                        <a:pt x="3" y="5"/>
                      </a:lnTo>
                      <a:lnTo>
                        <a:pt x="0" y="3"/>
                      </a:lnTo>
                      <a:lnTo>
                        <a:pt x="0" y="1"/>
                      </a:lnTo>
                      <a:lnTo>
                        <a:pt x="1" y="0"/>
                      </a:lnTo>
                      <a:lnTo>
                        <a:pt x="4" y="0"/>
                      </a:lnTo>
                      <a:lnTo>
                        <a:pt x="7"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4" name="Freeform 179"/>
                <p:cNvSpPr>
                  <a:spLocks/>
                </p:cNvSpPr>
                <p:nvPr/>
              </p:nvSpPr>
              <p:spPr bwMode="auto">
                <a:xfrm>
                  <a:off x="8516183" y="4921740"/>
                  <a:ext cx="13319" cy="8879"/>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0 w 9"/>
                    <a:gd name="T13" fmla="*/ 2147483647 h 6"/>
                    <a:gd name="T14" fmla="*/ 0 w 9"/>
                    <a:gd name="T15" fmla="*/ 2147483647 h 6"/>
                    <a:gd name="T16" fmla="*/ 0 w 9"/>
                    <a:gd name="T17" fmla="*/ 2147483647 h 6"/>
                    <a:gd name="T18" fmla="*/ 2147483647 w 9"/>
                    <a:gd name="T19" fmla="*/ 0 h 6"/>
                    <a:gd name="T20" fmla="*/ 2147483647 w 9"/>
                    <a:gd name="T21" fmla="*/ 0 h 6"/>
                    <a:gd name="T22" fmla="*/ 2147483647 w 9"/>
                    <a:gd name="T23" fmla="*/ 0 h 6"/>
                    <a:gd name="T24" fmla="*/ 2147483647 w 9"/>
                    <a:gd name="T25" fmla="*/ 2147483647 h 6"/>
                    <a:gd name="T26" fmla="*/ 2147483647 w 9"/>
                    <a:gd name="T27" fmla="*/ 2147483647 h 6"/>
                    <a:gd name="T28" fmla="*/ 2147483647 w 9"/>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6"/>
                    <a:gd name="T47" fmla="*/ 9 w 9"/>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6">
                      <a:moveTo>
                        <a:pt x="9" y="2"/>
                      </a:moveTo>
                      <a:lnTo>
                        <a:pt x="9" y="2"/>
                      </a:lnTo>
                      <a:lnTo>
                        <a:pt x="9" y="3"/>
                      </a:lnTo>
                      <a:lnTo>
                        <a:pt x="7" y="4"/>
                      </a:lnTo>
                      <a:lnTo>
                        <a:pt x="5" y="6"/>
                      </a:lnTo>
                      <a:lnTo>
                        <a:pt x="2" y="4"/>
                      </a:lnTo>
                      <a:lnTo>
                        <a:pt x="0" y="2"/>
                      </a:lnTo>
                      <a:lnTo>
                        <a:pt x="0" y="1"/>
                      </a:lnTo>
                      <a:lnTo>
                        <a:pt x="1" y="0"/>
                      </a:lnTo>
                      <a:lnTo>
                        <a:pt x="6" y="0"/>
                      </a:lnTo>
                      <a:lnTo>
                        <a:pt x="7" y="1"/>
                      </a:lnTo>
                      <a:lnTo>
                        <a:pt x="9"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5" name="Freeform 180"/>
                <p:cNvSpPr>
                  <a:spLocks/>
                </p:cNvSpPr>
                <p:nvPr/>
              </p:nvSpPr>
              <p:spPr bwMode="auto">
                <a:xfrm>
                  <a:off x="8529506" y="4942453"/>
                  <a:ext cx="7399" cy="7400"/>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0 w 6"/>
                    <a:gd name="T9" fmla="*/ 2147483647 h 5"/>
                    <a:gd name="T10" fmla="*/ 0 w 6"/>
                    <a:gd name="T11" fmla="*/ 2147483647 h 5"/>
                    <a:gd name="T12" fmla="*/ 0 w 6"/>
                    <a:gd name="T13" fmla="*/ 2147483647 h 5"/>
                    <a:gd name="T14" fmla="*/ 2147483647 w 6"/>
                    <a:gd name="T15" fmla="*/ 0 h 5"/>
                    <a:gd name="T16" fmla="*/ 2147483647 w 6"/>
                    <a:gd name="T17" fmla="*/ 0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6" y="2"/>
                      </a:moveTo>
                      <a:lnTo>
                        <a:pt x="6" y="3"/>
                      </a:lnTo>
                      <a:lnTo>
                        <a:pt x="5" y="5"/>
                      </a:lnTo>
                      <a:lnTo>
                        <a:pt x="1" y="3"/>
                      </a:lnTo>
                      <a:lnTo>
                        <a:pt x="0" y="3"/>
                      </a:lnTo>
                      <a:lnTo>
                        <a:pt x="0" y="2"/>
                      </a:lnTo>
                      <a:lnTo>
                        <a:pt x="0" y="1"/>
                      </a:lnTo>
                      <a:lnTo>
                        <a:pt x="1" y="0"/>
                      </a:lnTo>
                      <a:lnTo>
                        <a:pt x="3" y="0"/>
                      </a:lnTo>
                      <a:lnTo>
                        <a:pt x="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6" name="Freeform 181"/>
                <p:cNvSpPr>
                  <a:spLocks/>
                </p:cNvSpPr>
                <p:nvPr/>
              </p:nvSpPr>
              <p:spPr bwMode="auto">
                <a:xfrm>
                  <a:off x="8551701" y="5020890"/>
                  <a:ext cx="13319" cy="8879"/>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2147483647 h 6"/>
                    <a:gd name="T12" fmla="*/ 2147483647 w 9"/>
                    <a:gd name="T13" fmla="*/ 2147483647 h 6"/>
                    <a:gd name="T14" fmla="*/ 2147483647 w 9"/>
                    <a:gd name="T15" fmla="*/ 0 h 6"/>
                    <a:gd name="T16" fmla="*/ 2147483647 w 9"/>
                    <a:gd name="T17" fmla="*/ 0 h 6"/>
                    <a:gd name="T18" fmla="*/ 2147483647 w 9"/>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6"/>
                    <a:gd name="T32" fmla="*/ 9 w 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6">
                      <a:moveTo>
                        <a:pt x="9" y="3"/>
                      </a:moveTo>
                      <a:lnTo>
                        <a:pt x="9" y="4"/>
                      </a:lnTo>
                      <a:lnTo>
                        <a:pt x="9" y="5"/>
                      </a:lnTo>
                      <a:lnTo>
                        <a:pt x="7" y="6"/>
                      </a:lnTo>
                      <a:lnTo>
                        <a:pt x="2" y="5"/>
                      </a:lnTo>
                      <a:lnTo>
                        <a:pt x="0" y="3"/>
                      </a:lnTo>
                      <a:lnTo>
                        <a:pt x="2" y="1"/>
                      </a:lnTo>
                      <a:lnTo>
                        <a:pt x="3" y="0"/>
                      </a:lnTo>
                      <a:lnTo>
                        <a:pt x="4" y="0"/>
                      </a:lnTo>
                      <a:lnTo>
                        <a:pt x="9"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7" name="Freeform 182"/>
                <p:cNvSpPr>
                  <a:spLocks/>
                </p:cNvSpPr>
                <p:nvPr/>
              </p:nvSpPr>
              <p:spPr bwMode="auto">
                <a:xfrm>
                  <a:off x="8526543" y="4940974"/>
                  <a:ext cx="8879" cy="5919"/>
                </a:xfrm>
                <a:custGeom>
                  <a:avLst/>
                  <a:gdLst>
                    <a:gd name="T0" fmla="*/ 2147483647 w 7"/>
                    <a:gd name="T1" fmla="*/ 2147483647 h 4"/>
                    <a:gd name="T2" fmla="*/ 2147483647 w 7"/>
                    <a:gd name="T3" fmla="*/ 2147483647 h 4"/>
                    <a:gd name="T4" fmla="*/ 2147483647 w 7"/>
                    <a:gd name="T5" fmla="*/ 2147483647 h 4"/>
                    <a:gd name="T6" fmla="*/ 2147483647 w 7"/>
                    <a:gd name="T7" fmla="*/ 2147483647 h 4"/>
                    <a:gd name="T8" fmla="*/ 2147483647 w 7"/>
                    <a:gd name="T9" fmla="*/ 2147483647 h 4"/>
                    <a:gd name="T10" fmla="*/ 2147483647 w 7"/>
                    <a:gd name="T11" fmla="*/ 2147483647 h 4"/>
                    <a:gd name="T12" fmla="*/ 0 w 7"/>
                    <a:gd name="T13" fmla="*/ 2147483647 h 4"/>
                    <a:gd name="T14" fmla="*/ 0 w 7"/>
                    <a:gd name="T15" fmla="*/ 2147483647 h 4"/>
                    <a:gd name="T16" fmla="*/ 0 w 7"/>
                    <a:gd name="T17" fmla="*/ 2147483647 h 4"/>
                    <a:gd name="T18" fmla="*/ 2147483647 w 7"/>
                    <a:gd name="T19" fmla="*/ 0 h 4"/>
                    <a:gd name="T20" fmla="*/ 2147483647 w 7"/>
                    <a:gd name="T21" fmla="*/ 0 h 4"/>
                    <a:gd name="T22" fmla="*/ 2147483647 w 7"/>
                    <a:gd name="T23" fmla="*/ 0 h 4"/>
                    <a:gd name="T24" fmla="*/ 2147483647 w 7"/>
                    <a:gd name="T25" fmla="*/ 2147483647 h 4"/>
                    <a:gd name="T26" fmla="*/ 2147483647 w 7"/>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4"/>
                    <a:gd name="T44" fmla="*/ 7 w 7"/>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4">
                      <a:moveTo>
                        <a:pt x="7" y="2"/>
                      </a:moveTo>
                      <a:lnTo>
                        <a:pt x="7" y="2"/>
                      </a:lnTo>
                      <a:lnTo>
                        <a:pt x="7" y="3"/>
                      </a:lnTo>
                      <a:lnTo>
                        <a:pt x="5" y="4"/>
                      </a:lnTo>
                      <a:lnTo>
                        <a:pt x="2" y="3"/>
                      </a:lnTo>
                      <a:lnTo>
                        <a:pt x="0" y="3"/>
                      </a:lnTo>
                      <a:lnTo>
                        <a:pt x="0" y="2"/>
                      </a:lnTo>
                      <a:lnTo>
                        <a:pt x="0" y="1"/>
                      </a:lnTo>
                      <a:lnTo>
                        <a:pt x="2" y="0"/>
                      </a:lnTo>
                      <a:lnTo>
                        <a:pt x="4" y="0"/>
                      </a:lnTo>
                      <a:lnTo>
                        <a:pt x="7"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8" name="Freeform 183"/>
                <p:cNvSpPr>
                  <a:spLocks/>
                </p:cNvSpPr>
                <p:nvPr/>
              </p:nvSpPr>
              <p:spPr bwMode="auto">
                <a:xfrm>
                  <a:off x="8550224" y="5019410"/>
                  <a:ext cx="13318" cy="8879"/>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2147483647 w 9"/>
                    <a:gd name="T13" fmla="*/ 2147483647 h 6"/>
                    <a:gd name="T14" fmla="*/ 0 w 9"/>
                    <a:gd name="T15" fmla="*/ 2147483647 h 6"/>
                    <a:gd name="T16" fmla="*/ 2147483647 w 9"/>
                    <a:gd name="T17" fmla="*/ 2147483647 h 6"/>
                    <a:gd name="T18" fmla="*/ 2147483647 w 9"/>
                    <a:gd name="T19" fmla="*/ 2147483647 h 6"/>
                    <a:gd name="T20" fmla="*/ 2147483647 w 9"/>
                    <a:gd name="T21" fmla="*/ 0 h 6"/>
                    <a:gd name="T22" fmla="*/ 2147483647 w 9"/>
                    <a:gd name="T23" fmla="*/ 0 h 6"/>
                    <a:gd name="T24" fmla="*/ 2147483647 w 9"/>
                    <a:gd name="T25" fmla="*/ 2147483647 h 6"/>
                    <a:gd name="T26" fmla="*/ 2147483647 w 9"/>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6"/>
                    <a:gd name="T44" fmla="*/ 9 w 9"/>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6">
                      <a:moveTo>
                        <a:pt x="9" y="2"/>
                      </a:moveTo>
                      <a:lnTo>
                        <a:pt x="9" y="2"/>
                      </a:lnTo>
                      <a:lnTo>
                        <a:pt x="9" y="4"/>
                      </a:lnTo>
                      <a:lnTo>
                        <a:pt x="9" y="5"/>
                      </a:lnTo>
                      <a:lnTo>
                        <a:pt x="6" y="6"/>
                      </a:lnTo>
                      <a:lnTo>
                        <a:pt x="1" y="5"/>
                      </a:lnTo>
                      <a:lnTo>
                        <a:pt x="0" y="2"/>
                      </a:lnTo>
                      <a:lnTo>
                        <a:pt x="1" y="1"/>
                      </a:lnTo>
                      <a:lnTo>
                        <a:pt x="3" y="0"/>
                      </a:lnTo>
                      <a:lnTo>
                        <a:pt x="4" y="0"/>
                      </a:lnTo>
                      <a:lnTo>
                        <a:pt x="9"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89" name="Freeform 184"/>
                <p:cNvSpPr>
                  <a:spLocks/>
                </p:cNvSpPr>
                <p:nvPr/>
              </p:nvSpPr>
              <p:spPr bwMode="auto">
                <a:xfrm>
                  <a:off x="8535426" y="5038645"/>
                  <a:ext cx="20718" cy="34037"/>
                </a:xfrm>
                <a:custGeom>
                  <a:avLst/>
                  <a:gdLst>
                    <a:gd name="T0" fmla="*/ 2147483647 w 15"/>
                    <a:gd name="T1" fmla="*/ 2147483647 h 23"/>
                    <a:gd name="T2" fmla="*/ 2147483647 w 15"/>
                    <a:gd name="T3" fmla="*/ 2147483647 h 23"/>
                    <a:gd name="T4" fmla="*/ 2147483647 w 15"/>
                    <a:gd name="T5" fmla="*/ 2147483647 h 23"/>
                    <a:gd name="T6" fmla="*/ 2147483647 w 15"/>
                    <a:gd name="T7" fmla="*/ 2147483647 h 23"/>
                    <a:gd name="T8" fmla="*/ 2147483647 w 15"/>
                    <a:gd name="T9" fmla="*/ 2147483647 h 23"/>
                    <a:gd name="T10" fmla="*/ 2147483647 w 15"/>
                    <a:gd name="T11" fmla="*/ 2147483647 h 23"/>
                    <a:gd name="T12" fmla="*/ 2147483647 w 15"/>
                    <a:gd name="T13" fmla="*/ 2147483647 h 23"/>
                    <a:gd name="T14" fmla="*/ 2147483647 w 15"/>
                    <a:gd name="T15" fmla="*/ 2147483647 h 23"/>
                    <a:gd name="T16" fmla="*/ 2147483647 w 15"/>
                    <a:gd name="T17" fmla="*/ 2147483647 h 23"/>
                    <a:gd name="T18" fmla="*/ 2147483647 w 15"/>
                    <a:gd name="T19" fmla="*/ 2147483647 h 23"/>
                    <a:gd name="T20" fmla="*/ 0 w 15"/>
                    <a:gd name="T21" fmla="*/ 2147483647 h 23"/>
                    <a:gd name="T22" fmla="*/ 0 w 15"/>
                    <a:gd name="T23" fmla="*/ 2147483647 h 23"/>
                    <a:gd name="T24" fmla="*/ 2147483647 w 15"/>
                    <a:gd name="T25" fmla="*/ 2147483647 h 23"/>
                    <a:gd name="T26" fmla="*/ 2147483647 w 15"/>
                    <a:gd name="T27" fmla="*/ 2147483647 h 23"/>
                    <a:gd name="T28" fmla="*/ 2147483647 w 15"/>
                    <a:gd name="T29" fmla="*/ 0 h 23"/>
                    <a:gd name="T30" fmla="*/ 2147483647 w 15"/>
                    <a:gd name="T31" fmla="*/ 2147483647 h 23"/>
                    <a:gd name="T32" fmla="*/ 2147483647 w 15"/>
                    <a:gd name="T33" fmla="*/ 2147483647 h 23"/>
                    <a:gd name="T34" fmla="*/ 2147483647 w 15"/>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23"/>
                    <a:gd name="T56" fmla="*/ 15 w 15"/>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23">
                      <a:moveTo>
                        <a:pt x="11" y="6"/>
                      </a:moveTo>
                      <a:lnTo>
                        <a:pt x="12" y="10"/>
                      </a:lnTo>
                      <a:lnTo>
                        <a:pt x="14" y="12"/>
                      </a:lnTo>
                      <a:lnTo>
                        <a:pt x="15" y="16"/>
                      </a:lnTo>
                      <a:lnTo>
                        <a:pt x="14" y="19"/>
                      </a:lnTo>
                      <a:lnTo>
                        <a:pt x="11" y="21"/>
                      </a:lnTo>
                      <a:lnTo>
                        <a:pt x="10" y="23"/>
                      </a:lnTo>
                      <a:lnTo>
                        <a:pt x="7" y="21"/>
                      </a:lnTo>
                      <a:lnTo>
                        <a:pt x="5" y="20"/>
                      </a:lnTo>
                      <a:lnTo>
                        <a:pt x="3" y="18"/>
                      </a:lnTo>
                      <a:lnTo>
                        <a:pt x="0" y="12"/>
                      </a:lnTo>
                      <a:lnTo>
                        <a:pt x="0" y="6"/>
                      </a:lnTo>
                      <a:lnTo>
                        <a:pt x="1" y="4"/>
                      </a:lnTo>
                      <a:lnTo>
                        <a:pt x="2" y="1"/>
                      </a:lnTo>
                      <a:lnTo>
                        <a:pt x="5" y="0"/>
                      </a:lnTo>
                      <a:lnTo>
                        <a:pt x="7" y="1"/>
                      </a:lnTo>
                      <a:lnTo>
                        <a:pt x="10" y="4"/>
                      </a:lnTo>
                      <a:lnTo>
                        <a:pt x="1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0" name="Freeform 185"/>
                <p:cNvSpPr>
                  <a:spLocks/>
                </p:cNvSpPr>
                <p:nvPr/>
              </p:nvSpPr>
              <p:spPr bwMode="auto">
                <a:xfrm>
                  <a:off x="8565019" y="5049008"/>
                  <a:ext cx="17758" cy="34038"/>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2147483647 w 13"/>
                    <a:gd name="T17" fmla="*/ 2147483647 h 23"/>
                    <a:gd name="T18" fmla="*/ 0 w 13"/>
                    <a:gd name="T19" fmla="*/ 2147483647 h 23"/>
                    <a:gd name="T20" fmla="*/ 2147483647 w 13"/>
                    <a:gd name="T21" fmla="*/ 0 h 23"/>
                    <a:gd name="T22" fmla="*/ 2147483647 w 13"/>
                    <a:gd name="T23" fmla="*/ 0 h 23"/>
                    <a:gd name="T24" fmla="*/ 2147483647 w 13"/>
                    <a:gd name="T25" fmla="*/ 2147483647 h 23"/>
                    <a:gd name="T26" fmla="*/ 2147483647 w 13"/>
                    <a:gd name="T27" fmla="*/ 2147483647 h 23"/>
                    <a:gd name="T28" fmla="*/ 2147483647 w 13"/>
                    <a:gd name="T29" fmla="*/ 2147483647 h 23"/>
                    <a:gd name="T30" fmla="*/ 2147483647 w 13"/>
                    <a:gd name="T31" fmla="*/ 2147483647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23"/>
                    <a:gd name="T50" fmla="*/ 13 w 13"/>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23">
                      <a:moveTo>
                        <a:pt x="12" y="13"/>
                      </a:moveTo>
                      <a:lnTo>
                        <a:pt x="13" y="19"/>
                      </a:lnTo>
                      <a:lnTo>
                        <a:pt x="12" y="22"/>
                      </a:lnTo>
                      <a:lnTo>
                        <a:pt x="10" y="23"/>
                      </a:lnTo>
                      <a:lnTo>
                        <a:pt x="9" y="23"/>
                      </a:lnTo>
                      <a:lnTo>
                        <a:pt x="7" y="20"/>
                      </a:lnTo>
                      <a:lnTo>
                        <a:pt x="4" y="18"/>
                      </a:lnTo>
                      <a:lnTo>
                        <a:pt x="4" y="11"/>
                      </a:lnTo>
                      <a:lnTo>
                        <a:pt x="2" y="5"/>
                      </a:lnTo>
                      <a:lnTo>
                        <a:pt x="0" y="1"/>
                      </a:lnTo>
                      <a:lnTo>
                        <a:pt x="2" y="0"/>
                      </a:lnTo>
                      <a:lnTo>
                        <a:pt x="4" y="0"/>
                      </a:lnTo>
                      <a:lnTo>
                        <a:pt x="7" y="1"/>
                      </a:lnTo>
                      <a:lnTo>
                        <a:pt x="9" y="4"/>
                      </a:lnTo>
                      <a:lnTo>
                        <a:pt x="12" y="9"/>
                      </a:lnTo>
                      <a:lnTo>
                        <a:pt x="12"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1" name="Freeform 186"/>
                <p:cNvSpPr>
                  <a:spLocks/>
                </p:cNvSpPr>
                <p:nvPr/>
              </p:nvSpPr>
              <p:spPr bwMode="auto">
                <a:xfrm>
                  <a:off x="8532463" y="5037168"/>
                  <a:ext cx="22198" cy="32557"/>
                </a:xfrm>
                <a:custGeom>
                  <a:avLst/>
                  <a:gdLst>
                    <a:gd name="T0" fmla="*/ 2147483647 w 16"/>
                    <a:gd name="T1" fmla="*/ 2147483647 h 22"/>
                    <a:gd name="T2" fmla="*/ 2147483647 w 16"/>
                    <a:gd name="T3" fmla="*/ 2147483647 h 22"/>
                    <a:gd name="T4" fmla="*/ 2147483647 w 16"/>
                    <a:gd name="T5" fmla="*/ 2147483647 h 22"/>
                    <a:gd name="T6" fmla="*/ 2147483647 w 16"/>
                    <a:gd name="T7" fmla="*/ 2147483647 h 22"/>
                    <a:gd name="T8" fmla="*/ 2147483647 w 16"/>
                    <a:gd name="T9" fmla="*/ 2147483647 h 22"/>
                    <a:gd name="T10" fmla="*/ 2147483647 w 16"/>
                    <a:gd name="T11" fmla="*/ 2147483647 h 22"/>
                    <a:gd name="T12" fmla="*/ 2147483647 w 16"/>
                    <a:gd name="T13" fmla="*/ 2147483647 h 22"/>
                    <a:gd name="T14" fmla="*/ 2147483647 w 16"/>
                    <a:gd name="T15" fmla="*/ 2147483647 h 22"/>
                    <a:gd name="T16" fmla="*/ 2147483647 w 16"/>
                    <a:gd name="T17" fmla="*/ 2147483647 h 22"/>
                    <a:gd name="T18" fmla="*/ 2147483647 w 16"/>
                    <a:gd name="T19" fmla="*/ 2147483647 h 22"/>
                    <a:gd name="T20" fmla="*/ 2147483647 w 16"/>
                    <a:gd name="T21" fmla="*/ 2147483647 h 22"/>
                    <a:gd name="T22" fmla="*/ 2147483647 w 16"/>
                    <a:gd name="T23" fmla="*/ 2147483647 h 22"/>
                    <a:gd name="T24" fmla="*/ 2147483647 w 16"/>
                    <a:gd name="T25" fmla="*/ 2147483647 h 22"/>
                    <a:gd name="T26" fmla="*/ 0 w 16"/>
                    <a:gd name="T27" fmla="*/ 2147483647 h 22"/>
                    <a:gd name="T28" fmla="*/ 0 w 16"/>
                    <a:gd name="T29" fmla="*/ 2147483647 h 22"/>
                    <a:gd name="T30" fmla="*/ 2147483647 w 16"/>
                    <a:gd name="T31" fmla="*/ 2147483647 h 22"/>
                    <a:gd name="T32" fmla="*/ 2147483647 w 16"/>
                    <a:gd name="T33" fmla="*/ 2147483647 h 22"/>
                    <a:gd name="T34" fmla="*/ 2147483647 w 16"/>
                    <a:gd name="T35" fmla="*/ 2147483647 h 22"/>
                    <a:gd name="T36" fmla="*/ 2147483647 w 16"/>
                    <a:gd name="T37" fmla="*/ 0 h 22"/>
                    <a:gd name="T38" fmla="*/ 2147483647 w 16"/>
                    <a:gd name="T39" fmla="*/ 2147483647 h 22"/>
                    <a:gd name="T40" fmla="*/ 2147483647 w 16"/>
                    <a:gd name="T41" fmla="*/ 2147483647 h 22"/>
                    <a:gd name="T42" fmla="*/ 2147483647 w 16"/>
                    <a:gd name="T43" fmla="*/ 2147483647 h 22"/>
                    <a:gd name="T44" fmla="*/ 2147483647 w 16"/>
                    <a:gd name="T45" fmla="*/ 2147483647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
                    <a:gd name="T70" fmla="*/ 0 h 22"/>
                    <a:gd name="T71" fmla="*/ 16 w 16"/>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 h="22">
                      <a:moveTo>
                        <a:pt x="12" y="6"/>
                      </a:moveTo>
                      <a:lnTo>
                        <a:pt x="12" y="6"/>
                      </a:lnTo>
                      <a:lnTo>
                        <a:pt x="13" y="9"/>
                      </a:lnTo>
                      <a:lnTo>
                        <a:pt x="14" y="12"/>
                      </a:lnTo>
                      <a:lnTo>
                        <a:pt x="16" y="15"/>
                      </a:lnTo>
                      <a:lnTo>
                        <a:pt x="14" y="19"/>
                      </a:lnTo>
                      <a:lnTo>
                        <a:pt x="12" y="21"/>
                      </a:lnTo>
                      <a:lnTo>
                        <a:pt x="11" y="22"/>
                      </a:lnTo>
                      <a:lnTo>
                        <a:pt x="8" y="21"/>
                      </a:lnTo>
                      <a:lnTo>
                        <a:pt x="5" y="20"/>
                      </a:lnTo>
                      <a:lnTo>
                        <a:pt x="4" y="18"/>
                      </a:lnTo>
                      <a:lnTo>
                        <a:pt x="0" y="12"/>
                      </a:lnTo>
                      <a:lnTo>
                        <a:pt x="0" y="6"/>
                      </a:lnTo>
                      <a:lnTo>
                        <a:pt x="2" y="3"/>
                      </a:lnTo>
                      <a:lnTo>
                        <a:pt x="3" y="1"/>
                      </a:lnTo>
                      <a:lnTo>
                        <a:pt x="5" y="0"/>
                      </a:lnTo>
                      <a:lnTo>
                        <a:pt x="8" y="1"/>
                      </a:lnTo>
                      <a:lnTo>
                        <a:pt x="11" y="3"/>
                      </a:lnTo>
                      <a:lnTo>
                        <a:pt x="12"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2" name="Freeform 187"/>
                <p:cNvSpPr>
                  <a:spLocks/>
                </p:cNvSpPr>
                <p:nvPr/>
              </p:nvSpPr>
              <p:spPr bwMode="auto">
                <a:xfrm>
                  <a:off x="8563539" y="5047528"/>
                  <a:ext cx="17758" cy="34037"/>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2147483647 w 13"/>
                    <a:gd name="T17" fmla="*/ 2147483647 h 23"/>
                    <a:gd name="T18" fmla="*/ 2147483647 w 13"/>
                    <a:gd name="T19" fmla="*/ 2147483647 h 23"/>
                    <a:gd name="T20" fmla="*/ 2147483647 w 13"/>
                    <a:gd name="T21" fmla="*/ 2147483647 h 23"/>
                    <a:gd name="T22" fmla="*/ 2147483647 w 13"/>
                    <a:gd name="T23" fmla="*/ 2147483647 h 23"/>
                    <a:gd name="T24" fmla="*/ 2147483647 w 13"/>
                    <a:gd name="T25" fmla="*/ 2147483647 h 23"/>
                    <a:gd name="T26" fmla="*/ 0 w 13"/>
                    <a:gd name="T27" fmla="*/ 2147483647 h 23"/>
                    <a:gd name="T28" fmla="*/ 2147483647 w 13"/>
                    <a:gd name="T29" fmla="*/ 0 h 23"/>
                    <a:gd name="T30" fmla="*/ 2147483647 w 13"/>
                    <a:gd name="T31" fmla="*/ 0 h 23"/>
                    <a:gd name="T32" fmla="*/ 2147483647 w 13"/>
                    <a:gd name="T33" fmla="*/ 0 h 23"/>
                    <a:gd name="T34" fmla="*/ 2147483647 w 13"/>
                    <a:gd name="T35" fmla="*/ 0 h 23"/>
                    <a:gd name="T36" fmla="*/ 2147483647 w 13"/>
                    <a:gd name="T37" fmla="*/ 2147483647 h 23"/>
                    <a:gd name="T38" fmla="*/ 2147483647 w 13"/>
                    <a:gd name="T39" fmla="*/ 2147483647 h 23"/>
                    <a:gd name="T40" fmla="*/ 2147483647 w 13"/>
                    <a:gd name="T41" fmla="*/ 2147483647 h 23"/>
                    <a:gd name="T42" fmla="*/ 2147483647 w 13"/>
                    <a:gd name="T43" fmla="*/ 2147483647 h 23"/>
                    <a:gd name="T44" fmla="*/ 2147483647 w 13"/>
                    <a:gd name="T45" fmla="*/ 2147483647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
                    <a:gd name="T70" fmla="*/ 0 h 23"/>
                    <a:gd name="T71" fmla="*/ 13 w 13"/>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 h="23">
                      <a:moveTo>
                        <a:pt x="11" y="13"/>
                      </a:moveTo>
                      <a:lnTo>
                        <a:pt x="11" y="13"/>
                      </a:lnTo>
                      <a:lnTo>
                        <a:pt x="13" y="19"/>
                      </a:lnTo>
                      <a:lnTo>
                        <a:pt x="11" y="21"/>
                      </a:lnTo>
                      <a:lnTo>
                        <a:pt x="10" y="23"/>
                      </a:lnTo>
                      <a:lnTo>
                        <a:pt x="9" y="23"/>
                      </a:lnTo>
                      <a:lnTo>
                        <a:pt x="6" y="20"/>
                      </a:lnTo>
                      <a:lnTo>
                        <a:pt x="4" y="18"/>
                      </a:lnTo>
                      <a:lnTo>
                        <a:pt x="4" y="11"/>
                      </a:lnTo>
                      <a:lnTo>
                        <a:pt x="1" y="5"/>
                      </a:lnTo>
                      <a:lnTo>
                        <a:pt x="0" y="1"/>
                      </a:lnTo>
                      <a:lnTo>
                        <a:pt x="1" y="0"/>
                      </a:lnTo>
                      <a:lnTo>
                        <a:pt x="4" y="0"/>
                      </a:lnTo>
                      <a:lnTo>
                        <a:pt x="6" y="1"/>
                      </a:lnTo>
                      <a:lnTo>
                        <a:pt x="9" y="4"/>
                      </a:lnTo>
                      <a:lnTo>
                        <a:pt x="11" y="8"/>
                      </a:lnTo>
                      <a:lnTo>
                        <a:pt x="11"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3" name="Freeform 188"/>
                <p:cNvSpPr>
                  <a:spLocks/>
                </p:cNvSpPr>
                <p:nvPr/>
              </p:nvSpPr>
              <p:spPr bwMode="auto">
                <a:xfrm>
                  <a:off x="8570939" y="5087481"/>
                  <a:ext cx="11839" cy="13319"/>
                </a:xfrm>
                <a:custGeom>
                  <a:avLst/>
                  <a:gdLst>
                    <a:gd name="T0" fmla="*/ 2147483647 w 8"/>
                    <a:gd name="T1" fmla="*/ 2147483647 h 9"/>
                    <a:gd name="T2" fmla="*/ 2147483647 w 8"/>
                    <a:gd name="T3" fmla="*/ 2147483647 h 9"/>
                    <a:gd name="T4" fmla="*/ 2147483647 w 8"/>
                    <a:gd name="T5" fmla="*/ 2147483647 h 9"/>
                    <a:gd name="T6" fmla="*/ 2147483647 w 8"/>
                    <a:gd name="T7" fmla="*/ 2147483647 h 9"/>
                    <a:gd name="T8" fmla="*/ 0 w 8"/>
                    <a:gd name="T9" fmla="*/ 2147483647 h 9"/>
                    <a:gd name="T10" fmla="*/ 2147483647 w 8"/>
                    <a:gd name="T11" fmla="*/ 2147483647 h 9"/>
                    <a:gd name="T12" fmla="*/ 2147483647 w 8"/>
                    <a:gd name="T13" fmla="*/ 0 h 9"/>
                    <a:gd name="T14" fmla="*/ 2147483647 w 8"/>
                    <a:gd name="T15" fmla="*/ 2147483647 h 9"/>
                    <a:gd name="T16" fmla="*/ 2147483647 w 8"/>
                    <a:gd name="T17" fmla="*/ 2147483647 h 9"/>
                    <a:gd name="T18" fmla="*/ 2147483647 w 8"/>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9"/>
                    <a:gd name="T32" fmla="*/ 8 w 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9">
                      <a:moveTo>
                        <a:pt x="8" y="7"/>
                      </a:moveTo>
                      <a:lnTo>
                        <a:pt x="7" y="9"/>
                      </a:lnTo>
                      <a:lnTo>
                        <a:pt x="4" y="9"/>
                      </a:lnTo>
                      <a:lnTo>
                        <a:pt x="2" y="6"/>
                      </a:lnTo>
                      <a:lnTo>
                        <a:pt x="0" y="3"/>
                      </a:lnTo>
                      <a:lnTo>
                        <a:pt x="2" y="1"/>
                      </a:lnTo>
                      <a:lnTo>
                        <a:pt x="3" y="0"/>
                      </a:lnTo>
                      <a:lnTo>
                        <a:pt x="5" y="1"/>
                      </a:lnTo>
                      <a:lnTo>
                        <a:pt x="7" y="4"/>
                      </a:lnTo>
                      <a:lnTo>
                        <a:pt x="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4" name="Freeform 189"/>
                <p:cNvSpPr>
                  <a:spLocks/>
                </p:cNvSpPr>
                <p:nvPr/>
              </p:nvSpPr>
              <p:spPr bwMode="auto">
                <a:xfrm>
                  <a:off x="8578341" y="5120038"/>
                  <a:ext cx="10360" cy="5919"/>
                </a:xfrm>
                <a:custGeom>
                  <a:avLst/>
                  <a:gdLst>
                    <a:gd name="T0" fmla="*/ 2147483647 w 8"/>
                    <a:gd name="T1" fmla="*/ 2147483647 h 4"/>
                    <a:gd name="T2" fmla="*/ 2147483647 w 8"/>
                    <a:gd name="T3" fmla="*/ 2147483647 h 4"/>
                    <a:gd name="T4" fmla="*/ 2147483647 w 8"/>
                    <a:gd name="T5" fmla="*/ 2147483647 h 4"/>
                    <a:gd name="T6" fmla="*/ 2147483647 w 8"/>
                    <a:gd name="T7" fmla="*/ 2147483647 h 4"/>
                    <a:gd name="T8" fmla="*/ 0 w 8"/>
                    <a:gd name="T9" fmla="*/ 2147483647 h 4"/>
                    <a:gd name="T10" fmla="*/ 0 w 8"/>
                    <a:gd name="T11" fmla="*/ 2147483647 h 4"/>
                    <a:gd name="T12" fmla="*/ 2147483647 w 8"/>
                    <a:gd name="T13" fmla="*/ 0 h 4"/>
                    <a:gd name="T14" fmla="*/ 2147483647 w 8"/>
                    <a:gd name="T15" fmla="*/ 2147483647 h 4"/>
                    <a:gd name="T16" fmla="*/ 2147483647 w 8"/>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7" y="2"/>
                      </a:moveTo>
                      <a:lnTo>
                        <a:pt x="8" y="3"/>
                      </a:lnTo>
                      <a:lnTo>
                        <a:pt x="4" y="4"/>
                      </a:lnTo>
                      <a:lnTo>
                        <a:pt x="2" y="4"/>
                      </a:lnTo>
                      <a:lnTo>
                        <a:pt x="0" y="2"/>
                      </a:lnTo>
                      <a:lnTo>
                        <a:pt x="0" y="1"/>
                      </a:lnTo>
                      <a:lnTo>
                        <a:pt x="2" y="0"/>
                      </a:lnTo>
                      <a:lnTo>
                        <a:pt x="3" y="1"/>
                      </a:lnTo>
                      <a:lnTo>
                        <a:pt x="7"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5" name="Freeform 190"/>
                <p:cNvSpPr>
                  <a:spLocks/>
                </p:cNvSpPr>
                <p:nvPr/>
              </p:nvSpPr>
              <p:spPr bwMode="auto">
                <a:xfrm>
                  <a:off x="8569458" y="5086002"/>
                  <a:ext cx="11839" cy="11839"/>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2147483647 w 8"/>
                    <a:gd name="T9" fmla="*/ 2147483647 h 8"/>
                    <a:gd name="T10" fmla="*/ 2147483647 w 8"/>
                    <a:gd name="T11" fmla="*/ 2147483647 h 8"/>
                    <a:gd name="T12" fmla="*/ 2147483647 w 8"/>
                    <a:gd name="T13" fmla="*/ 2147483647 h 8"/>
                    <a:gd name="T14" fmla="*/ 0 w 8"/>
                    <a:gd name="T15" fmla="*/ 2147483647 h 8"/>
                    <a:gd name="T16" fmla="*/ 0 w 8"/>
                    <a:gd name="T17" fmla="*/ 2147483647 h 8"/>
                    <a:gd name="T18" fmla="*/ 2147483647 w 8"/>
                    <a:gd name="T19" fmla="*/ 2147483647 h 8"/>
                    <a:gd name="T20" fmla="*/ 2147483647 w 8"/>
                    <a:gd name="T21" fmla="*/ 0 h 8"/>
                    <a:gd name="T22" fmla="*/ 2147483647 w 8"/>
                    <a:gd name="T23" fmla="*/ 2147483647 h 8"/>
                    <a:gd name="T24" fmla="*/ 2147483647 w 8"/>
                    <a:gd name="T25" fmla="*/ 2147483647 h 8"/>
                    <a:gd name="T26" fmla="*/ 2147483647 w 8"/>
                    <a:gd name="T27" fmla="*/ 2147483647 h 8"/>
                    <a:gd name="T28" fmla="*/ 2147483647 w 8"/>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8"/>
                    <a:gd name="T47" fmla="*/ 8 w 8"/>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8">
                      <a:moveTo>
                        <a:pt x="8" y="7"/>
                      </a:moveTo>
                      <a:lnTo>
                        <a:pt x="8" y="7"/>
                      </a:lnTo>
                      <a:lnTo>
                        <a:pt x="6" y="8"/>
                      </a:lnTo>
                      <a:lnTo>
                        <a:pt x="4" y="8"/>
                      </a:lnTo>
                      <a:lnTo>
                        <a:pt x="1" y="6"/>
                      </a:lnTo>
                      <a:lnTo>
                        <a:pt x="0" y="2"/>
                      </a:lnTo>
                      <a:lnTo>
                        <a:pt x="1" y="1"/>
                      </a:lnTo>
                      <a:lnTo>
                        <a:pt x="3" y="0"/>
                      </a:lnTo>
                      <a:lnTo>
                        <a:pt x="5" y="1"/>
                      </a:lnTo>
                      <a:lnTo>
                        <a:pt x="6" y="4"/>
                      </a:lnTo>
                      <a:lnTo>
                        <a:pt x="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6" name="Freeform 191"/>
                <p:cNvSpPr>
                  <a:spLocks/>
                </p:cNvSpPr>
                <p:nvPr/>
              </p:nvSpPr>
              <p:spPr bwMode="auto">
                <a:xfrm>
                  <a:off x="8576858" y="5117078"/>
                  <a:ext cx="10359" cy="7400"/>
                </a:xfrm>
                <a:custGeom>
                  <a:avLst/>
                  <a:gdLst>
                    <a:gd name="T0" fmla="*/ 2147483647 w 8"/>
                    <a:gd name="T1" fmla="*/ 2147483647 h 5"/>
                    <a:gd name="T2" fmla="*/ 2147483647 w 8"/>
                    <a:gd name="T3" fmla="*/ 2147483647 h 5"/>
                    <a:gd name="T4" fmla="*/ 2147483647 w 8"/>
                    <a:gd name="T5" fmla="*/ 2147483647 h 5"/>
                    <a:gd name="T6" fmla="*/ 2147483647 w 8"/>
                    <a:gd name="T7" fmla="*/ 2147483647 h 5"/>
                    <a:gd name="T8" fmla="*/ 2147483647 w 8"/>
                    <a:gd name="T9" fmla="*/ 2147483647 h 5"/>
                    <a:gd name="T10" fmla="*/ 2147483647 w 8"/>
                    <a:gd name="T11" fmla="*/ 2147483647 h 5"/>
                    <a:gd name="T12" fmla="*/ 0 w 8"/>
                    <a:gd name="T13" fmla="*/ 2147483647 h 5"/>
                    <a:gd name="T14" fmla="*/ 0 w 8"/>
                    <a:gd name="T15" fmla="*/ 2147483647 h 5"/>
                    <a:gd name="T16" fmla="*/ 0 w 8"/>
                    <a:gd name="T17" fmla="*/ 2147483647 h 5"/>
                    <a:gd name="T18" fmla="*/ 2147483647 w 8"/>
                    <a:gd name="T19" fmla="*/ 0 h 5"/>
                    <a:gd name="T20" fmla="*/ 2147483647 w 8"/>
                    <a:gd name="T21" fmla="*/ 2147483647 h 5"/>
                    <a:gd name="T22" fmla="*/ 2147483647 w 8"/>
                    <a:gd name="T23" fmla="*/ 2147483647 h 5"/>
                    <a:gd name="T24" fmla="*/ 2147483647 w 8"/>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5"/>
                    <a:gd name="T41" fmla="*/ 8 w 8"/>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5">
                      <a:moveTo>
                        <a:pt x="6" y="3"/>
                      </a:moveTo>
                      <a:lnTo>
                        <a:pt x="6" y="3"/>
                      </a:lnTo>
                      <a:lnTo>
                        <a:pt x="8" y="4"/>
                      </a:lnTo>
                      <a:lnTo>
                        <a:pt x="4" y="5"/>
                      </a:lnTo>
                      <a:lnTo>
                        <a:pt x="1" y="5"/>
                      </a:lnTo>
                      <a:lnTo>
                        <a:pt x="0" y="3"/>
                      </a:lnTo>
                      <a:lnTo>
                        <a:pt x="0" y="2"/>
                      </a:lnTo>
                      <a:lnTo>
                        <a:pt x="1" y="0"/>
                      </a:lnTo>
                      <a:lnTo>
                        <a:pt x="3" y="2"/>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7" name="Freeform 192"/>
                <p:cNvSpPr>
                  <a:spLocks/>
                </p:cNvSpPr>
                <p:nvPr/>
              </p:nvSpPr>
              <p:spPr bwMode="auto">
                <a:xfrm>
                  <a:off x="8596096" y="5148159"/>
                  <a:ext cx="7400"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0 w 6"/>
                    <a:gd name="T15" fmla="*/ 2147483647 h 6"/>
                    <a:gd name="T16" fmla="*/ 2147483647 w 6"/>
                    <a:gd name="T17" fmla="*/ 0 h 6"/>
                    <a:gd name="T18" fmla="*/ 2147483647 w 6"/>
                    <a:gd name="T19" fmla="*/ 0 h 6"/>
                    <a:gd name="T20" fmla="*/ 2147483647 w 6"/>
                    <a:gd name="T21" fmla="*/ 2147483647 h 6"/>
                    <a:gd name="T22" fmla="*/ 2147483647 w 6"/>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6"/>
                    <a:gd name="T38" fmla="*/ 6 w 6"/>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6">
                      <a:moveTo>
                        <a:pt x="6" y="3"/>
                      </a:moveTo>
                      <a:lnTo>
                        <a:pt x="6" y="4"/>
                      </a:lnTo>
                      <a:lnTo>
                        <a:pt x="6" y="6"/>
                      </a:lnTo>
                      <a:lnTo>
                        <a:pt x="4" y="6"/>
                      </a:lnTo>
                      <a:lnTo>
                        <a:pt x="1" y="4"/>
                      </a:lnTo>
                      <a:lnTo>
                        <a:pt x="0" y="3"/>
                      </a:lnTo>
                      <a:lnTo>
                        <a:pt x="0" y="2"/>
                      </a:lnTo>
                      <a:lnTo>
                        <a:pt x="0" y="1"/>
                      </a:lnTo>
                      <a:lnTo>
                        <a:pt x="1" y="0"/>
                      </a:lnTo>
                      <a:lnTo>
                        <a:pt x="4" y="0"/>
                      </a:lnTo>
                      <a:lnTo>
                        <a:pt x="5" y="2"/>
                      </a:lnTo>
                      <a:lnTo>
                        <a:pt x="6"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8" name="Freeform 193"/>
                <p:cNvSpPr>
                  <a:spLocks/>
                </p:cNvSpPr>
                <p:nvPr/>
              </p:nvSpPr>
              <p:spPr bwMode="auto">
                <a:xfrm>
                  <a:off x="8600537" y="5168875"/>
                  <a:ext cx="5919" cy="10359"/>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0 w 5"/>
                    <a:gd name="T9" fmla="*/ 2147483647 h 7"/>
                    <a:gd name="T10" fmla="*/ 2147483647 w 5"/>
                    <a:gd name="T11" fmla="*/ 2147483647 h 7"/>
                    <a:gd name="T12" fmla="*/ 2147483647 w 5"/>
                    <a:gd name="T13" fmla="*/ 0 h 7"/>
                    <a:gd name="T14" fmla="*/ 2147483647 w 5"/>
                    <a:gd name="T15" fmla="*/ 0 h 7"/>
                    <a:gd name="T16" fmla="*/ 2147483647 w 5"/>
                    <a:gd name="T17" fmla="*/ 2147483647 h 7"/>
                    <a:gd name="T18" fmla="*/ 2147483647 w 5"/>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7"/>
                    <a:gd name="T32" fmla="*/ 5 w 5"/>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7">
                      <a:moveTo>
                        <a:pt x="5" y="6"/>
                      </a:moveTo>
                      <a:lnTo>
                        <a:pt x="5" y="7"/>
                      </a:lnTo>
                      <a:lnTo>
                        <a:pt x="3" y="7"/>
                      </a:lnTo>
                      <a:lnTo>
                        <a:pt x="1" y="7"/>
                      </a:lnTo>
                      <a:lnTo>
                        <a:pt x="0" y="3"/>
                      </a:lnTo>
                      <a:lnTo>
                        <a:pt x="1" y="1"/>
                      </a:lnTo>
                      <a:lnTo>
                        <a:pt x="2" y="0"/>
                      </a:lnTo>
                      <a:lnTo>
                        <a:pt x="3" y="0"/>
                      </a:lnTo>
                      <a:lnTo>
                        <a:pt x="5" y="1"/>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499" name="Freeform 194"/>
                <p:cNvSpPr>
                  <a:spLocks/>
                </p:cNvSpPr>
                <p:nvPr/>
              </p:nvSpPr>
              <p:spPr bwMode="auto">
                <a:xfrm>
                  <a:off x="8594620" y="5145200"/>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0 w 6"/>
                    <a:gd name="T21" fmla="*/ 2147483647 h 6"/>
                    <a:gd name="T22" fmla="*/ 2147483647 w 6"/>
                    <a:gd name="T23" fmla="*/ 0 h 6"/>
                    <a:gd name="T24" fmla="*/ 2147483647 w 6"/>
                    <a:gd name="T25" fmla="*/ 0 h 6"/>
                    <a:gd name="T26" fmla="*/ 2147483647 w 6"/>
                    <a:gd name="T27" fmla="*/ 2147483647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4"/>
                      </a:moveTo>
                      <a:lnTo>
                        <a:pt x="6" y="4"/>
                      </a:lnTo>
                      <a:lnTo>
                        <a:pt x="6" y="5"/>
                      </a:lnTo>
                      <a:lnTo>
                        <a:pt x="6" y="6"/>
                      </a:lnTo>
                      <a:lnTo>
                        <a:pt x="4" y="6"/>
                      </a:lnTo>
                      <a:lnTo>
                        <a:pt x="1" y="5"/>
                      </a:lnTo>
                      <a:lnTo>
                        <a:pt x="0" y="4"/>
                      </a:lnTo>
                      <a:lnTo>
                        <a:pt x="0" y="3"/>
                      </a:lnTo>
                      <a:lnTo>
                        <a:pt x="0" y="2"/>
                      </a:lnTo>
                      <a:lnTo>
                        <a:pt x="1" y="0"/>
                      </a:lnTo>
                      <a:lnTo>
                        <a:pt x="4" y="0"/>
                      </a:lnTo>
                      <a:lnTo>
                        <a:pt x="5" y="3"/>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0" name="Freeform 195"/>
                <p:cNvSpPr>
                  <a:spLocks/>
                </p:cNvSpPr>
                <p:nvPr/>
              </p:nvSpPr>
              <p:spPr bwMode="auto">
                <a:xfrm>
                  <a:off x="8597576" y="5167395"/>
                  <a:ext cx="5919" cy="10360"/>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2147483647 w 5"/>
                    <a:gd name="T15" fmla="*/ 2147483647 h 7"/>
                    <a:gd name="T16" fmla="*/ 2147483647 w 5"/>
                    <a:gd name="T17" fmla="*/ 2147483647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2147483647 w 5"/>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7"/>
                    <a:gd name="T47" fmla="*/ 5 w 5"/>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7">
                      <a:moveTo>
                        <a:pt x="5" y="6"/>
                      </a:moveTo>
                      <a:lnTo>
                        <a:pt x="5" y="6"/>
                      </a:lnTo>
                      <a:lnTo>
                        <a:pt x="5" y="7"/>
                      </a:lnTo>
                      <a:lnTo>
                        <a:pt x="4" y="7"/>
                      </a:lnTo>
                      <a:lnTo>
                        <a:pt x="2" y="7"/>
                      </a:lnTo>
                      <a:lnTo>
                        <a:pt x="0" y="3"/>
                      </a:lnTo>
                      <a:lnTo>
                        <a:pt x="2" y="1"/>
                      </a:lnTo>
                      <a:lnTo>
                        <a:pt x="3" y="0"/>
                      </a:lnTo>
                      <a:lnTo>
                        <a:pt x="4" y="0"/>
                      </a:lnTo>
                      <a:lnTo>
                        <a:pt x="5" y="1"/>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1" name="Freeform 196"/>
                <p:cNvSpPr>
                  <a:spLocks/>
                </p:cNvSpPr>
                <p:nvPr/>
              </p:nvSpPr>
              <p:spPr bwMode="auto">
                <a:xfrm>
                  <a:off x="8612379" y="5191072"/>
                  <a:ext cx="7399" cy="7400"/>
                </a:xfrm>
                <a:custGeom>
                  <a:avLst/>
                  <a:gdLst>
                    <a:gd name="T0" fmla="*/ 2147483647 w 6"/>
                    <a:gd name="T1" fmla="*/ 2147483647 h 5"/>
                    <a:gd name="T2" fmla="*/ 2147483647 w 6"/>
                    <a:gd name="T3" fmla="*/ 2147483647 h 5"/>
                    <a:gd name="T4" fmla="*/ 2147483647 w 6"/>
                    <a:gd name="T5" fmla="*/ 2147483647 h 5"/>
                    <a:gd name="T6" fmla="*/ 0 w 6"/>
                    <a:gd name="T7" fmla="*/ 2147483647 h 5"/>
                    <a:gd name="T8" fmla="*/ 2147483647 w 6"/>
                    <a:gd name="T9" fmla="*/ 2147483647 h 5"/>
                    <a:gd name="T10" fmla="*/ 2147483647 w 6"/>
                    <a:gd name="T11" fmla="*/ 0 h 5"/>
                    <a:gd name="T12" fmla="*/ 2147483647 w 6"/>
                    <a:gd name="T13" fmla="*/ 2147483647 h 5"/>
                    <a:gd name="T14" fmla="*/ 2147483647 w 6"/>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6" y="4"/>
                      </a:moveTo>
                      <a:lnTo>
                        <a:pt x="5" y="5"/>
                      </a:lnTo>
                      <a:lnTo>
                        <a:pt x="2" y="4"/>
                      </a:lnTo>
                      <a:lnTo>
                        <a:pt x="0" y="3"/>
                      </a:lnTo>
                      <a:lnTo>
                        <a:pt x="1" y="1"/>
                      </a:lnTo>
                      <a:lnTo>
                        <a:pt x="5" y="0"/>
                      </a:lnTo>
                      <a:lnTo>
                        <a:pt x="6"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2" name="Freeform 197"/>
                <p:cNvSpPr>
                  <a:spLocks/>
                </p:cNvSpPr>
                <p:nvPr/>
              </p:nvSpPr>
              <p:spPr bwMode="auto">
                <a:xfrm>
                  <a:off x="8812158" y="5158518"/>
                  <a:ext cx="8879" cy="8879"/>
                </a:xfrm>
                <a:custGeom>
                  <a:avLst/>
                  <a:gdLst>
                    <a:gd name="T0" fmla="*/ 2147483647 w 7"/>
                    <a:gd name="T1" fmla="*/ 0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0 w 7"/>
                    <a:gd name="T15" fmla="*/ 2147483647 h 6"/>
                    <a:gd name="T16" fmla="*/ 0 w 7"/>
                    <a:gd name="T17" fmla="*/ 2147483647 h 6"/>
                    <a:gd name="T18" fmla="*/ 2147483647 w 7"/>
                    <a:gd name="T19" fmla="*/ 2147483647 h 6"/>
                    <a:gd name="T20" fmla="*/ 2147483647 w 7"/>
                    <a:gd name="T21" fmla="*/ 0 h 6"/>
                    <a:gd name="T22" fmla="*/ 2147483647 w 7"/>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6"/>
                    <a:gd name="T38" fmla="*/ 7 w 7"/>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6">
                      <a:moveTo>
                        <a:pt x="6" y="0"/>
                      </a:moveTo>
                      <a:lnTo>
                        <a:pt x="7" y="1"/>
                      </a:lnTo>
                      <a:lnTo>
                        <a:pt x="7" y="2"/>
                      </a:lnTo>
                      <a:lnTo>
                        <a:pt x="7" y="3"/>
                      </a:lnTo>
                      <a:lnTo>
                        <a:pt x="6" y="4"/>
                      </a:lnTo>
                      <a:lnTo>
                        <a:pt x="3" y="6"/>
                      </a:lnTo>
                      <a:lnTo>
                        <a:pt x="2" y="6"/>
                      </a:lnTo>
                      <a:lnTo>
                        <a:pt x="0" y="4"/>
                      </a:lnTo>
                      <a:lnTo>
                        <a:pt x="0" y="2"/>
                      </a:lnTo>
                      <a:lnTo>
                        <a:pt x="1" y="1"/>
                      </a:lnTo>
                      <a:lnTo>
                        <a:pt x="3" y="0"/>
                      </a:lnTo>
                      <a:lnTo>
                        <a:pt x="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3" name="Freeform 198"/>
                <p:cNvSpPr>
                  <a:spLocks/>
                </p:cNvSpPr>
                <p:nvPr/>
              </p:nvSpPr>
              <p:spPr bwMode="auto">
                <a:xfrm>
                  <a:off x="8609415" y="5189596"/>
                  <a:ext cx="10359" cy="7399"/>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0 w 7"/>
                    <a:gd name="T9" fmla="*/ 2147483647 h 5"/>
                    <a:gd name="T10" fmla="*/ 0 w 7"/>
                    <a:gd name="T11" fmla="*/ 2147483647 h 5"/>
                    <a:gd name="T12" fmla="*/ 2147483647 w 7"/>
                    <a:gd name="T13" fmla="*/ 2147483647 h 5"/>
                    <a:gd name="T14" fmla="*/ 2147483647 w 7"/>
                    <a:gd name="T15" fmla="*/ 2147483647 h 5"/>
                    <a:gd name="T16" fmla="*/ 2147483647 w 7"/>
                    <a:gd name="T17" fmla="*/ 0 h 5"/>
                    <a:gd name="T18" fmla="*/ 2147483647 w 7"/>
                    <a:gd name="T19" fmla="*/ 2147483647 h 5"/>
                    <a:gd name="T20" fmla="*/ 2147483647 w 7"/>
                    <a:gd name="T21" fmla="*/ 2147483647 h 5"/>
                    <a:gd name="T22" fmla="*/ 2147483647 w 7"/>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5"/>
                    <a:gd name="T38" fmla="*/ 7 w 7"/>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5">
                      <a:moveTo>
                        <a:pt x="7" y="4"/>
                      </a:moveTo>
                      <a:lnTo>
                        <a:pt x="7" y="4"/>
                      </a:lnTo>
                      <a:lnTo>
                        <a:pt x="5" y="5"/>
                      </a:lnTo>
                      <a:lnTo>
                        <a:pt x="3" y="4"/>
                      </a:lnTo>
                      <a:lnTo>
                        <a:pt x="0" y="2"/>
                      </a:lnTo>
                      <a:lnTo>
                        <a:pt x="2" y="1"/>
                      </a:lnTo>
                      <a:lnTo>
                        <a:pt x="5" y="0"/>
                      </a:lnTo>
                      <a:lnTo>
                        <a:pt x="7" y="1"/>
                      </a:lnTo>
                      <a:lnTo>
                        <a:pt x="7"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4" name="Freeform 199"/>
                <p:cNvSpPr>
                  <a:spLocks/>
                </p:cNvSpPr>
                <p:nvPr/>
              </p:nvSpPr>
              <p:spPr bwMode="auto">
                <a:xfrm>
                  <a:off x="8809201" y="5157039"/>
                  <a:ext cx="10360" cy="7399"/>
                </a:xfrm>
                <a:custGeom>
                  <a:avLst/>
                  <a:gdLst>
                    <a:gd name="T0" fmla="*/ 2147483647 w 8"/>
                    <a:gd name="T1" fmla="*/ 0 h 5"/>
                    <a:gd name="T2" fmla="*/ 2147483647 w 8"/>
                    <a:gd name="T3" fmla="*/ 0 h 5"/>
                    <a:gd name="T4" fmla="*/ 2147483647 w 8"/>
                    <a:gd name="T5" fmla="*/ 2147483647 h 5"/>
                    <a:gd name="T6" fmla="*/ 2147483647 w 8"/>
                    <a:gd name="T7" fmla="*/ 2147483647 h 5"/>
                    <a:gd name="T8" fmla="*/ 2147483647 w 8"/>
                    <a:gd name="T9" fmla="*/ 2147483647 h 5"/>
                    <a:gd name="T10" fmla="*/ 2147483647 w 8"/>
                    <a:gd name="T11" fmla="*/ 2147483647 h 5"/>
                    <a:gd name="T12" fmla="*/ 2147483647 w 8"/>
                    <a:gd name="T13" fmla="*/ 2147483647 h 5"/>
                    <a:gd name="T14" fmla="*/ 2147483647 w 8"/>
                    <a:gd name="T15" fmla="*/ 2147483647 h 5"/>
                    <a:gd name="T16" fmla="*/ 2147483647 w 8"/>
                    <a:gd name="T17" fmla="*/ 2147483647 h 5"/>
                    <a:gd name="T18" fmla="*/ 0 w 8"/>
                    <a:gd name="T19" fmla="*/ 2147483647 h 5"/>
                    <a:gd name="T20" fmla="*/ 0 w 8"/>
                    <a:gd name="T21" fmla="*/ 2147483647 h 5"/>
                    <a:gd name="T22" fmla="*/ 0 w 8"/>
                    <a:gd name="T23" fmla="*/ 2147483647 h 5"/>
                    <a:gd name="T24" fmla="*/ 2147483647 w 8"/>
                    <a:gd name="T25" fmla="*/ 2147483647 h 5"/>
                    <a:gd name="T26" fmla="*/ 2147483647 w 8"/>
                    <a:gd name="T27" fmla="*/ 0 h 5"/>
                    <a:gd name="T28" fmla="*/ 2147483647 w 8"/>
                    <a:gd name="T29" fmla="*/ 0 h 5"/>
                    <a:gd name="T30" fmla="*/ 2147483647 w 8"/>
                    <a:gd name="T31" fmla="*/ 0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7" y="0"/>
                      </a:moveTo>
                      <a:lnTo>
                        <a:pt x="7" y="0"/>
                      </a:lnTo>
                      <a:lnTo>
                        <a:pt x="8" y="1"/>
                      </a:lnTo>
                      <a:lnTo>
                        <a:pt x="8" y="2"/>
                      </a:lnTo>
                      <a:lnTo>
                        <a:pt x="8" y="3"/>
                      </a:lnTo>
                      <a:lnTo>
                        <a:pt x="7" y="4"/>
                      </a:lnTo>
                      <a:lnTo>
                        <a:pt x="4" y="5"/>
                      </a:lnTo>
                      <a:lnTo>
                        <a:pt x="3" y="5"/>
                      </a:lnTo>
                      <a:lnTo>
                        <a:pt x="0" y="4"/>
                      </a:lnTo>
                      <a:lnTo>
                        <a:pt x="0" y="2"/>
                      </a:lnTo>
                      <a:lnTo>
                        <a:pt x="2" y="1"/>
                      </a:lnTo>
                      <a:lnTo>
                        <a:pt x="4" y="0"/>
                      </a:lnTo>
                      <a:lnTo>
                        <a:pt x="7"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5" name="Freeform 200"/>
                <p:cNvSpPr>
                  <a:spLocks/>
                </p:cNvSpPr>
                <p:nvPr/>
              </p:nvSpPr>
              <p:spPr bwMode="auto">
                <a:xfrm>
                  <a:off x="8544301" y="5208834"/>
                  <a:ext cx="17758" cy="20718"/>
                </a:xfrm>
                <a:custGeom>
                  <a:avLst/>
                  <a:gdLst>
                    <a:gd name="T0" fmla="*/ 2147483647 w 13"/>
                    <a:gd name="T1" fmla="*/ 2147483647 h 14"/>
                    <a:gd name="T2" fmla="*/ 2147483647 w 13"/>
                    <a:gd name="T3" fmla="*/ 2147483647 h 14"/>
                    <a:gd name="T4" fmla="*/ 2147483647 w 13"/>
                    <a:gd name="T5" fmla="*/ 2147483647 h 14"/>
                    <a:gd name="T6" fmla="*/ 2147483647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0 w 13"/>
                    <a:gd name="T17" fmla="*/ 2147483647 h 14"/>
                    <a:gd name="T18" fmla="*/ 0 w 13"/>
                    <a:gd name="T19" fmla="*/ 2147483647 h 14"/>
                    <a:gd name="T20" fmla="*/ 0 w 13"/>
                    <a:gd name="T21" fmla="*/ 2147483647 h 14"/>
                    <a:gd name="T22" fmla="*/ 2147483647 w 13"/>
                    <a:gd name="T23" fmla="*/ 2147483647 h 14"/>
                    <a:gd name="T24" fmla="*/ 2147483647 w 13"/>
                    <a:gd name="T25" fmla="*/ 0 h 14"/>
                    <a:gd name="T26" fmla="*/ 2147483647 w 13"/>
                    <a:gd name="T27" fmla="*/ 0 h 14"/>
                    <a:gd name="T28" fmla="*/ 2147483647 w 13"/>
                    <a:gd name="T29" fmla="*/ 2147483647 h 14"/>
                    <a:gd name="T30" fmla="*/ 2147483647 w 13"/>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14"/>
                    <a:gd name="T50" fmla="*/ 13 w 13"/>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14">
                      <a:moveTo>
                        <a:pt x="10" y="7"/>
                      </a:moveTo>
                      <a:lnTo>
                        <a:pt x="11" y="8"/>
                      </a:lnTo>
                      <a:lnTo>
                        <a:pt x="13" y="10"/>
                      </a:lnTo>
                      <a:lnTo>
                        <a:pt x="11" y="11"/>
                      </a:lnTo>
                      <a:lnTo>
                        <a:pt x="9" y="13"/>
                      </a:lnTo>
                      <a:lnTo>
                        <a:pt x="5" y="14"/>
                      </a:lnTo>
                      <a:lnTo>
                        <a:pt x="3" y="14"/>
                      </a:lnTo>
                      <a:lnTo>
                        <a:pt x="1" y="13"/>
                      </a:lnTo>
                      <a:lnTo>
                        <a:pt x="0" y="11"/>
                      </a:lnTo>
                      <a:lnTo>
                        <a:pt x="0" y="7"/>
                      </a:lnTo>
                      <a:lnTo>
                        <a:pt x="0" y="4"/>
                      </a:lnTo>
                      <a:lnTo>
                        <a:pt x="1" y="1"/>
                      </a:lnTo>
                      <a:lnTo>
                        <a:pt x="5" y="0"/>
                      </a:lnTo>
                      <a:lnTo>
                        <a:pt x="6" y="0"/>
                      </a:lnTo>
                      <a:lnTo>
                        <a:pt x="8" y="2"/>
                      </a:lnTo>
                      <a:lnTo>
                        <a:pt x="10"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6" name="Freeform 201"/>
                <p:cNvSpPr>
                  <a:spLocks/>
                </p:cNvSpPr>
                <p:nvPr/>
              </p:nvSpPr>
              <p:spPr bwMode="auto">
                <a:xfrm>
                  <a:off x="8566500" y="5228073"/>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0 h 6"/>
                    <a:gd name="T14" fmla="*/ 2147483647 w 6"/>
                    <a:gd name="T15" fmla="*/ 0 h 6"/>
                    <a:gd name="T16" fmla="*/ 2147483647 w 6"/>
                    <a:gd name="T17" fmla="*/ 0 h 6"/>
                    <a:gd name="T18" fmla="*/ 2147483647 w 6"/>
                    <a:gd name="T19" fmla="*/ 2147483647 h 6"/>
                    <a:gd name="T20" fmla="*/ 2147483647 w 6"/>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6" y="4"/>
                      </a:moveTo>
                      <a:lnTo>
                        <a:pt x="6" y="6"/>
                      </a:lnTo>
                      <a:lnTo>
                        <a:pt x="3" y="6"/>
                      </a:lnTo>
                      <a:lnTo>
                        <a:pt x="1" y="5"/>
                      </a:lnTo>
                      <a:lnTo>
                        <a:pt x="0" y="3"/>
                      </a:lnTo>
                      <a:lnTo>
                        <a:pt x="0" y="1"/>
                      </a:lnTo>
                      <a:lnTo>
                        <a:pt x="0" y="0"/>
                      </a:lnTo>
                      <a:lnTo>
                        <a:pt x="2" y="0"/>
                      </a:lnTo>
                      <a:lnTo>
                        <a:pt x="3" y="0"/>
                      </a:lnTo>
                      <a:lnTo>
                        <a:pt x="5"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7" name="Freeform 202"/>
                <p:cNvSpPr>
                  <a:spLocks/>
                </p:cNvSpPr>
                <p:nvPr/>
              </p:nvSpPr>
              <p:spPr bwMode="auto">
                <a:xfrm>
                  <a:off x="8542824" y="5207354"/>
                  <a:ext cx="16279" cy="20718"/>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2147483647 w 12"/>
                    <a:gd name="T15" fmla="*/ 2147483647 h 14"/>
                    <a:gd name="T16" fmla="*/ 2147483647 w 12"/>
                    <a:gd name="T17" fmla="*/ 2147483647 h 14"/>
                    <a:gd name="T18" fmla="*/ 2147483647 w 12"/>
                    <a:gd name="T19" fmla="*/ 2147483647 h 14"/>
                    <a:gd name="T20" fmla="*/ 0 w 12"/>
                    <a:gd name="T21" fmla="*/ 2147483647 h 14"/>
                    <a:gd name="T22" fmla="*/ 0 w 12"/>
                    <a:gd name="T23" fmla="*/ 2147483647 h 14"/>
                    <a:gd name="T24" fmla="*/ 0 w 12"/>
                    <a:gd name="T25" fmla="*/ 2147483647 h 14"/>
                    <a:gd name="T26" fmla="*/ 0 w 12"/>
                    <a:gd name="T27" fmla="*/ 2147483647 h 14"/>
                    <a:gd name="T28" fmla="*/ 2147483647 w 12"/>
                    <a:gd name="T29" fmla="*/ 2147483647 h 14"/>
                    <a:gd name="T30" fmla="*/ 2147483647 w 12"/>
                    <a:gd name="T31" fmla="*/ 0 h 14"/>
                    <a:gd name="T32" fmla="*/ 2147483647 w 12"/>
                    <a:gd name="T33" fmla="*/ 0 h 14"/>
                    <a:gd name="T34" fmla="*/ 2147483647 w 12"/>
                    <a:gd name="T35" fmla="*/ 0 h 14"/>
                    <a:gd name="T36" fmla="*/ 2147483647 w 12"/>
                    <a:gd name="T37" fmla="*/ 2147483647 h 14"/>
                    <a:gd name="T38" fmla="*/ 2147483647 w 12"/>
                    <a:gd name="T39" fmla="*/ 2147483647 h 14"/>
                    <a:gd name="T40" fmla="*/ 2147483647 w 12"/>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14"/>
                    <a:gd name="T65" fmla="*/ 12 w 12"/>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14">
                      <a:moveTo>
                        <a:pt x="10" y="7"/>
                      </a:moveTo>
                      <a:lnTo>
                        <a:pt x="10" y="7"/>
                      </a:lnTo>
                      <a:lnTo>
                        <a:pt x="11" y="8"/>
                      </a:lnTo>
                      <a:lnTo>
                        <a:pt x="12" y="9"/>
                      </a:lnTo>
                      <a:lnTo>
                        <a:pt x="11" y="11"/>
                      </a:lnTo>
                      <a:lnTo>
                        <a:pt x="9" y="13"/>
                      </a:lnTo>
                      <a:lnTo>
                        <a:pt x="5" y="14"/>
                      </a:lnTo>
                      <a:lnTo>
                        <a:pt x="2" y="14"/>
                      </a:lnTo>
                      <a:lnTo>
                        <a:pt x="1" y="13"/>
                      </a:lnTo>
                      <a:lnTo>
                        <a:pt x="0" y="11"/>
                      </a:lnTo>
                      <a:lnTo>
                        <a:pt x="0" y="7"/>
                      </a:lnTo>
                      <a:lnTo>
                        <a:pt x="0" y="3"/>
                      </a:lnTo>
                      <a:lnTo>
                        <a:pt x="1" y="1"/>
                      </a:lnTo>
                      <a:lnTo>
                        <a:pt x="5" y="0"/>
                      </a:lnTo>
                      <a:lnTo>
                        <a:pt x="6" y="0"/>
                      </a:lnTo>
                      <a:lnTo>
                        <a:pt x="7" y="2"/>
                      </a:lnTo>
                      <a:lnTo>
                        <a:pt x="10"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8" name="Freeform 203"/>
                <p:cNvSpPr>
                  <a:spLocks/>
                </p:cNvSpPr>
                <p:nvPr/>
              </p:nvSpPr>
              <p:spPr bwMode="auto">
                <a:xfrm>
                  <a:off x="8565022" y="5226592"/>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0 w 7"/>
                    <a:gd name="T15" fmla="*/ 2147483647 h 6"/>
                    <a:gd name="T16" fmla="*/ 0 w 7"/>
                    <a:gd name="T17" fmla="*/ 2147483647 h 6"/>
                    <a:gd name="T18" fmla="*/ 0 w 7"/>
                    <a:gd name="T19" fmla="*/ 2147483647 h 6"/>
                    <a:gd name="T20" fmla="*/ 0 w 7"/>
                    <a:gd name="T21" fmla="*/ 0 h 6"/>
                    <a:gd name="T22" fmla="*/ 0 w 7"/>
                    <a:gd name="T23" fmla="*/ 0 h 6"/>
                    <a:gd name="T24" fmla="*/ 2147483647 w 7"/>
                    <a:gd name="T25" fmla="*/ 0 h 6"/>
                    <a:gd name="T26" fmla="*/ 2147483647 w 7"/>
                    <a:gd name="T27" fmla="*/ 0 h 6"/>
                    <a:gd name="T28" fmla="*/ 2147483647 w 7"/>
                    <a:gd name="T29" fmla="*/ 2147483647 h 6"/>
                    <a:gd name="T30" fmla="*/ 2147483647 w 7"/>
                    <a:gd name="T31" fmla="*/ 2147483647 h 6"/>
                    <a:gd name="T32" fmla="*/ 2147483647 w 7"/>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6"/>
                    <a:gd name="T53" fmla="*/ 7 w 7"/>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6">
                      <a:moveTo>
                        <a:pt x="7" y="4"/>
                      </a:moveTo>
                      <a:lnTo>
                        <a:pt x="7" y="4"/>
                      </a:lnTo>
                      <a:lnTo>
                        <a:pt x="7" y="6"/>
                      </a:lnTo>
                      <a:lnTo>
                        <a:pt x="4" y="6"/>
                      </a:lnTo>
                      <a:lnTo>
                        <a:pt x="2" y="5"/>
                      </a:lnTo>
                      <a:lnTo>
                        <a:pt x="0" y="2"/>
                      </a:lnTo>
                      <a:lnTo>
                        <a:pt x="0" y="1"/>
                      </a:lnTo>
                      <a:lnTo>
                        <a:pt x="0" y="0"/>
                      </a:lnTo>
                      <a:lnTo>
                        <a:pt x="3" y="0"/>
                      </a:lnTo>
                      <a:lnTo>
                        <a:pt x="4" y="0"/>
                      </a:lnTo>
                      <a:lnTo>
                        <a:pt x="5" y="1"/>
                      </a:lnTo>
                      <a:lnTo>
                        <a:pt x="7"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09" name="Freeform 204"/>
                <p:cNvSpPr>
                  <a:spLocks/>
                </p:cNvSpPr>
                <p:nvPr/>
              </p:nvSpPr>
              <p:spPr bwMode="auto">
                <a:xfrm>
                  <a:off x="8530983" y="5201435"/>
                  <a:ext cx="5919" cy="7399"/>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2147483647 w 4"/>
                    <a:gd name="T13" fmla="*/ 0 h 5"/>
                    <a:gd name="T14" fmla="*/ 2147483647 w 4"/>
                    <a:gd name="T15" fmla="*/ 0 h 5"/>
                    <a:gd name="T16" fmla="*/ 2147483647 w 4"/>
                    <a:gd name="T17" fmla="*/ 0 h 5"/>
                    <a:gd name="T18" fmla="*/ 2147483647 w 4"/>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4" y="4"/>
                      </a:moveTo>
                      <a:lnTo>
                        <a:pt x="4" y="5"/>
                      </a:lnTo>
                      <a:lnTo>
                        <a:pt x="3" y="5"/>
                      </a:lnTo>
                      <a:lnTo>
                        <a:pt x="1" y="5"/>
                      </a:lnTo>
                      <a:lnTo>
                        <a:pt x="0" y="3"/>
                      </a:lnTo>
                      <a:lnTo>
                        <a:pt x="0" y="2"/>
                      </a:lnTo>
                      <a:lnTo>
                        <a:pt x="1" y="0"/>
                      </a:lnTo>
                      <a:lnTo>
                        <a:pt x="3" y="0"/>
                      </a:lnTo>
                      <a:lnTo>
                        <a:pt x="4" y="0"/>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0" name="Freeform 205"/>
                <p:cNvSpPr>
                  <a:spLocks/>
                </p:cNvSpPr>
                <p:nvPr/>
              </p:nvSpPr>
              <p:spPr bwMode="auto">
                <a:xfrm>
                  <a:off x="8477706" y="5191074"/>
                  <a:ext cx="73994" cy="71034"/>
                </a:xfrm>
                <a:custGeom>
                  <a:avLst/>
                  <a:gdLst>
                    <a:gd name="T0" fmla="*/ 2147483647 w 54"/>
                    <a:gd name="T1" fmla="*/ 2147483647 h 48"/>
                    <a:gd name="T2" fmla="*/ 2147483647 w 54"/>
                    <a:gd name="T3" fmla="*/ 2147483647 h 48"/>
                    <a:gd name="T4" fmla="*/ 2147483647 w 54"/>
                    <a:gd name="T5" fmla="*/ 2147483647 h 48"/>
                    <a:gd name="T6" fmla="*/ 2147483647 w 54"/>
                    <a:gd name="T7" fmla="*/ 2147483647 h 48"/>
                    <a:gd name="T8" fmla="*/ 2147483647 w 54"/>
                    <a:gd name="T9" fmla="*/ 2147483647 h 48"/>
                    <a:gd name="T10" fmla="*/ 2147483647 w 54"/>
                    <a:gd name="T11" fmla="*/ 2147483647 h 48"/>
                    <a:gd name="T12" fmla="*/ 2147483647 w 54"/>
                    <a:gd name="T13" fmla="*/ 2147483647 h 48"/>
                    <a:gd name="T14" fmla="*/ 2147483647 w 54"/>
                    <a:gd name="T15" fmla="*/ 2147483647 h 48"/>
                    <a:gd name="T16" fmla="*/ 2147483647 w 54"/>
                    <a:gd name="T17" fmla="*/ 2147483647 h 48"/>
                    <a:gd name="T18" fmla="*/ 2147483647 w 54"/>
                    <a:gd name="T19" fmla="*/ 2147483647 h 48"/>
                    <a:gd name="T20" fmla="*/ 2147483647 w 54"/>
                    <a:gd name="T21" fmla="*/ 2147483647 h 48"/>
                    <a:gd name="T22" fmla="*/ 2147483647 w 54"/>
                    <a:gd name="T23" fmla="*/ 2147483647 h 48"/>
                    <a:gd name="T24" fmla="*/ 2147483647 w 54"/>
                    <a:gd name="T25" fmla="*/ 2147483647 h 48"/>
                    <a:gd name="T26" fmla="*/ 2147483647 w 54"/>
                    <a:gd name="T27" fmla="*/ 2147483647 h 48"/>
                    <a:gd name="T28" fmla="*/ 0 w 54"/>
                    <a:gd name="T29" fmla="*/ 2147483647 h 48"/>
                    <a:gd name="T30" fmla="*/ 0 w 54"/>
                    <a:gd name="T31" fmla="*/ 2147483647 h 48"/>
                    <a:gd name="T32" fmla="*/ 2147483647 w 54"/>
                    <a:gd name="T33" fmla="*/ 0 h 48"/>
                    <a:gd name="T34" fmla="*/ 2147483647 w 54"/>
                    <a:gd name="T35" fmla="*/ 0 h 48"/>
                    <a:gd name="T36" fmla="*/ 2147483647 w 54"/>
                    <a:gd name="T37" fmla="*/ 0 h 48"/>
                    <a:gd name="T38" fmla="*/ 2147483647 w 54"/>
                    <a:gd name="T39" fmla="*/ 2147483647 h 48"/>
                    <a:gd name="T40" fmla="*/ 2147483647 w 54"/>
                    <a:gd name="T41" fmla="*/ 2147483647 h 48"/>
                    <a:gd name="T42" fmla="*/ 2147483647 w 54"/>
                    <a:gd name="T43" fmla="*/ 2147483647 h 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48"/>
                    <a:gd name="T68" fmla="*/ 54 w 54"/>
                    <a:gd name="T69" fmla="*/ 48 h 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48">
                      <a:moveTo>
                        <a:pt x="37" y="28"/>
                      </a:moveTo>
                      <a:lnTo>
                        <a:pt x="51" y="39"/>
                      </a:lnTo>
                      <a:lnTo>
                        <a:pt x="54" y="45"/>
                      </a:lnTo>
                      <a:lnTo>
                        <a:pt x="54" y="46"/>
                      </a:lnTo>
                      <a:lnTo>
                        <a:pt x="53" y="48"/>
                      </a:lnTo>
                      <a:lnTo>
                        <a:pt x="49" y="48"/>
                      </a:lnTo>
                      <a:lnTo>
                        <a:pt x="45" y="46"/>
                      </a:lnTo>
                      <a:lnTo>
                        <a:pt x="38" y="42"/>
                      </a:lnTo>
                      <a:lnTo>
                        <a:pt x="28" y="37"/>
                      </a:lnTo>
                      <a:lnTo>
                        <a:pt x="19" y="32"/>
                      </a:lnTo>
                      <a:lnTo>
                        <a:pt x="14" y="26"/>
                      </a:lnTo>
                      <a:lnTo>
                        <a:pt x="9" y="17"/>
                      </a:lnTo>
                      <a:lnTo>
                        <a:pt x="6" y="13"/>
                      </a:lnTo>
                      <a:lnTo>
                        <a:pt x="2" y="10"/>
                      </a:lnTo>
                      <a:lnTo>
                        <a:pt x="0" y="6"/>
                      </a:lnTo>
                      <a:lnTo>
                        <a:pt x="0" y="3"/>
                      </a:lnTo>
                      <a:lnTo>
                        <a:pt x="2" y="0"/>
                      </a:lnTo>
                      <a:lnTo>
                        <a:pt x="4" y="0"/>
                      </a:lnTo>
                      <a:lnTo>
                        <a:pt x="6" y="0"/>
                      </a:lnTo>
                      <a:lnTo>
                        <a:pt x="14" y="5"/>
                      </a:lnTo>
                      <a:lnTo>
                        <a:pt x="23" y="13"/>
                      </a:lnTo>
                      <a:lnTo>
                        <a:pt x="37"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1" name="Freeform 206"/>
                <p:cNvSpPr>
                  <a:spLocks/>
                </p:cNvSpPr>
                <p:nvPr/>
              </p:nvSpPr>
              <p:spPr bwMode="auto">
                <a:xfrm>
                  <a:off x="8530982" y="5199951"/>
                  <a:ext cx="4440" cy="7400"/>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0 w 4"/>
                    <a:gd name="T13" fmla="*/ 2147483647 h 5"/>
                    <a:gd name="T14" fmla="*/ 0 w 4"/>
                    <a:gd name="T15" fmla="*/ 2147483647 h 5"/>
                    <a:gd name="T16" fmla="*/ 2147483647 w 4"/>
                    <a:gd name="T17" fmla="*/ 0 h 5"/>
                    <a:gd name="T18" fmla="*/ 2147483647 w 4"/>
                    <a:gd name="T19" fmla="*/ 0 h 5"/>
                    <a:gd name="T20" fmla="*/ 2147483647 w 4"/>
                    <a:gd name="T21" fmla="*/ 0 h 5"/>
                    <a:gd name="T22" fmla="*/ 2147483647 w 4"/>
                    <a:gd name="T23" fmla="*/ 0 h 5"/>
                    <a:gd name="T24" fmla="*/ 2147483647 w 4"/>
                    <a:gd name="T25" fmla="*/ 2147483647 h 5"/>
                    <a:gd name="T26" fmla="*/ 2147483647 w 4"/>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5"/>
                    <a:gd name="T44" fmla="*/ 4 w 4"/>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5">
                      <a:moveTo>
                        <a:pt x="4" y="4"/>
                      </a:moveTo>
                      <a:lnTo>
                        <a:pt x="4" y="4"/>
                      </a:lnTo>
                      <a:lnTo>
                        <a:pt x="4" y="5"/>
                      </a:lnTo>
                      <a:lnTo>
                        <a:pt x="2" y="5"/>
                      </a:lnTo>
                      <a:lnTo>
                        <a:pt x="1" y="5"/>
                      </a:lnTo>
                      <a:lnTo>
                        <a:pt x="0" y="3"/>
                      </a:lnTo>
                      <a:lnTo>
                        <a:pt x="0" y="1"/>
                      </a:lnTo>
                      <a:lnTo>
                        <a:pt x="1" y="0"/>
                      </a:lnTo>
                      <a:lnTo>
                        <a:pt x="2" y="0"/>
                      </a:lnTo>
                      <a:lnTo>
                        <a:pt x="4" y="0"/>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2" name="Freeform 207"/>
                <p:cNvSpPr>
                  <a:spLocks/>
                </p:cNvSpPr>
                <p:nvPr/>
              </p:nvSpPr>
              <p:spPr bwMode="auto">
                <a:xfrm>
                  <a:off x="8476228" y="5189593"/>
                  <a:ext cx="73994" cy="69554"/>
                </a:xfrm>
                <a:custGeom>
                  <a:avLst/>
                  <a:gdLst>
                    <a:gd name="T0" fmla="*/ 2147483647 w 55"/>
                    <a:gd name="T1" fmla="*/ 2147483647 h 47"/>
                    <a:gd name="T2" fmla="*/ 2147483647 w 55"/>
                    <a:gd name="T3" fmla="*/ 2147483647 h 47"/>
                    <a:gd name="T4" fmla="*/ 2147483647 w 55"/>
                    <a:gd name="T5" fmla="*/ 2147483647 h 47"/>
                    <a:gd name="T6" fmla="*/ 2147483647 w 55"/>
                    <a:gd name="T7" fmla="*/ 2147483647 h 47"/>
                    <a:gd name="T8" fmla="*/ 2147483647 w 55"/>
                    <a:gd name="T9" fmla="*/ 2147483647 h 47"/>
                    <a:gd name="T10" fmla="*/ 2147483647 w 55"/>
                    <a:gd name="T11" fmla="*/ 2147483647 h 47"/>
                    <a:gd name="T12" fmla="*/ 2147483647 w 55"/>
                    <a:gd name="T13" fmla="*/ 2147483647 h 47"/>
                    <a:gd name="T14" fmla="*/ 2147483647 w 55"/>
                    <a:gd name="T15" fmla="*/ 2147483647 h 47"/>
                    <a:gd name="T16" fmla="*/ 2147483647 w 55"/>
                    <a:gd name="T17" fmla="*/ 2147483647 h 47"/>
                    <a:gd name="T18" fmla="*/ 2147483647 w 55"/>
                    <a:gd name="T19" fmla="*/ 2147483647 h 47"/>
                    <a:gd name="T20" fmla="*/ 2147483647 w 55"/>
                    <a:gd name="T21" fmla="*/ 2147483647 h 47"/>
                    <a:gd name="T22" fmla="*/ 2147483647 w 55"/>
                    <a:gd name="T23" fmla="*/ 2147483647 h 47"/>
                    <a:gd name="T24" fmla="*/ 2147483647 w 55"/>
                    <a:gd name="T25" fmla="*/ 2147483647 h 47"/>
                    <a:gd name="T26" fmla="*/ 2147483647 w 55"/>
                    <a:gd name="T27" fmla="*/ 2147483647 h 47"/>
                    <a:gd name="T28" fmla="*/ 2147483647 w 55"/>
                    <a:gd name="T29" fmla="*/ 2147483647 h 47"/>
                    <a:gd name="T30" fmla="*/ 2147483647 w 55"/>
                    <a:gd name="T31" fmla="*/ 2147483647 h 47"/>
                    <a:gd name="T32" fmla="*/ 2147483647 w 55"/>
                    <a:gd name="T33" fmla="*/ 2147483647 h 47"/>
                    <a:gd name="T34" fmla="*/ 2147483647 w 55"/>
                    <a:gd name="T35" fmla="*/ 2147483647 h 47"/>
                    <a:gd name="T36" fmla="*/ 2147483647 w 55"/>
                    <a:gd name="T37" fmla="*/ 2147483647 h 47"/>
                    <a:gd name="T38" fmla="*/ 0 w 55"/>
                    <a:gd name="T39" fmla="*/ 2147483647 h 47"/>
                    <a:gd name="T40" fmla="*/ 0 w 55"/>
                    <a:gd name="T41" fmla="*/ 2147483647 h 47"/>
                    <a:gd name="T42" fmla="*/ 2147483647 w 55"/>
                    <a:gd name="T43" fmla="*/ 0 h 47"/>
                    <a:gd name="T44" fmla="*/ 2147483647 w 55"/>
                    <a:gd name="T45" fmla="*/ 0 h 47"/>
                    <a:gd name="T46" fmla="*/ 2147483647 w 55"/>
                    <a:gd name="T47" fmla="*/ 0 h 47"/>
                    <a:gd name="T48" fmla="*/ 2147483647 w 55"/>
                    <a:gd name="T49" fmla="*/ 0 h 47"/>
                    <a:gd name="T50" fmla="*/ 2147483647 w 55"/>
                    <a:gd name="T51" fmla="*/ 2147483647 h 47"/>
                    <a:gd name="T52" fmla="*/ 2147483647 w 55"/>
                    <a:gd name="T53" fmla="*/ 2147483647 h 47"/>
                    <a:gd name="T54" fmla="*/ 2147483647 w 55"/>
                    <a:gd name="T55" fmla="*/ 2147483647 h 47"/>
                    <a:gd name="T56" fmla="*/ 2147483647 w 55"/>
                    <a:gd name="T57" fmla="*/ 214748364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5"/>
                    <a:gd name="T88" fmla="*/ 0 h 47"/>
                    <a:gd name="T89" fmla="*/ 55 w 55"/>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5" h="47">
                      <a:moveTo>
                        <a:pt x="37" y="27"/>
                      </a:moveTo>
                      <a:lnTo>
                        <a:pt x="37" y="27"/>
                      </a:lnTo>
                      <a:lnTo>
                        <a:pt x="51" y="39"/>
                      </a:lnTo>
                      <a:lnTo>
                        <a:pt x="55" y="45"/>
                      </a:lnTo>
                      <a:lnTo>
                        <a:pt x="55" y="46"/>
                      </a:lnTo>
                      <a:lnTo>
                        <a:pt x="54" y="47"/>
                      </a:lnTo>
                      <a:lnTo>
                        <a:pt x="50" y="47"/>
                      </a:lnTo>
                      <a:lnTo>
                        <a:pt x="46" y="46"/>
                      </a:lnTo>
                      <a:lnTo>
                        <a:pt x="39" y="42"/>
                      </a:lnTo>
                      <a:lnTo>
                        <a:pt x="28" y="37"/>
                      </a:lnTo>
                      <a:lnTo>
                        <a:pt x="20" y="32"/>
                      </a:lnTo>
                      <a:lnTo>
                        <a:pt x="14" y="26"/>
                      </a:lnTo>
                      <a:lnTo>
                        <a:pt x="9" y="17"/>
                      </a:lnTo>
                      <a:lnTo>
                        <a:pt x="7" y="13"/>
                      </a:lnTo>
                      <a:lnTo>
                        <a:pt x="3" y="10"/>
                      </a:lnTo>
                      <a:lnTo>
                        <a:pt x="0" y="6"/>
                      </a:lnTo>
                      <a:lnTo>
                        <a:pt x="0" y="2"/>
                      </a:lnTo>
                      <a:lnTo>
                        <a:pt x="3" y="0"/>
                      </a:lnTo>
                      <a:lnTo>
                        <a:pt x="4" y="0"/>
                      </a:lnTo>
                      <a:lnTo>
                        <a:pt x="7" y="0"/>
                      </a:lnTo>
                      <a:lnTo>
                        <a:pt x="14" y="5"/>
                      </a:lnTo>
                      <a:lnTo>
                        <a:pt x="23" y="13"/>
                      </a:lnTo>
                      <a:lnTo>
                        <a:pt x="37" y="2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3" name="Freeform 208"/>
                <p:cNvSpPr>
                  <a:spLocks/>
                </p:cNvSpPr>
                <p:nvPr/>
              </p:nvSpPr>
              <p:spPr bwMode="auto">
                <a:xfrm>
                  <a:off x="8782562" y="5111158"/>
                  <a:ext cx="45877" cy="36997"/>
                </a:xfrm>
                <a:custGeom>
                  <a:avLst/>
                  <a:gdLst>
                    <a:gd name="T0" fmla="*/ 2147483647 w 33"/>
                    <a:gd name="T1" fmla="*/ 2147483647 h 25"/>
                    <a:gd name="T2" fmla="*/ 2147483647 w 33"/>
                    <a:gd name="T3" fmla="*/ 2147483647 h 25"/>
                    <a:gd name="T4" fmla="*/ 2147483647 w 33"/>
                    <a:gd name="T5" fmla="*/ 2147483647 h 25"/>
                    <a:gd name="T6" fmla="*/ 2147483647 w 33"/>
                    <a:gd name="T7" fmla="*/ 2147483647 h 25"/>
                    <a:gd name="T8" fmla="*/ 2147483647 w 33"/>
                    <a:gd name="T9" fmla="*/ 2147483647 h 25"/>
                    <a:gd name="T10" fmla="*/ 0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0 h 25"/>
                    <a:gd name="T20" fmla="*/ 2147483647 w 33"/>
                    <a:gd name="T21" fmla="*/ 0 h 25"/>
                    <a:gd name="T22" fmla="*/ 2147483647 w 33"/>
                    <a:gd name="T23" fmla="*/ 2147483647 h 25"/>
                    <a:gd name="T24" fmla="*/ 2147483647 w 33"/>
                    <a:gd name="T25" fmla="*/ 2147483647 h 25"/>
                    <a:gd name="T26" fmla="*/ 2147483647 w 33"/>
                    <a:gd name="T27" fmla="*/ 2147483647 h 25"/>
                    <a:gd name="T28" fmla="*/ 2147483647 w 33"/>
                    <a:gd name="T29" fmla="*/ 2147483647 h 25"/>
                    <a:gd name="T30" fmla="*/ 2147483647 w 33"/>
                    <a:gd name="T31" fmla="*/ 2147483647 h 25"/>
                    <a:gd name="T32" fmla="*/ 2147483647 w 33"/>
                    <a:gd name="T33" fmla="*/ 2147483647 h 25"/>
                    <a:gd name="T34" fmla="*/ 2147483647 w 33"/>
                    <a:gd name="T35" fmla="*/ 2147483647 h 25"/>
                    <a:gd name="T36" fmla="*/ 2147483647 w 33"/>
                    <a:gd name="T37" fmla="*/ 2147483647 h 25"/>
                    <a:gd name="T38" fmla="*/ 2147483647 w 33"/>
                    <a:gd name="T39" fmla="*/ 2147483647 h 25"/>
                    <a:gd name="T40" fmla="*/ 2147483647 w 33"/>
                    <a:gd name="T41" fmla="*/ 2147483647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25"/>
                    <a:gd name="T65" fmla="*/ 33 w 33"/>
                    <a:gd name="T66" fmla="*/ 25 h 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25">
                      <a:moveTo>
                        <a:pt x="14" y="22"/>
                      </a:moveTo>
                      <a:lnTo>
                        <a:pt x="8" y="22"/>
                      </a:lnTo>
                      <a:lnTo>
                        <a:pt x="5" y="21"/>
                      </a:lnTo>
                      <a:lnTo>
                        <a:pt x="4" y="20"/>
                      </a:lnTo>
                      <a:lnTo>
                        <a:pt x="2" y="16"/>
                      </a:lnTo>
                      <a:lnTo>
                        <a:pt x="0" y="13"/>
                      </a:lnTo>
                      <a:lnTo>
                        <a:pt x="2" y="8"/>
                      </a:lnTo>
                      <a:lnTo>
                        <a:pt x="4" y="4"/>
                      </a:lnTo>
                      <a:lnTo>
                        <a:pt x="8" y="2"/>
                      </a:lnTo>
                      <a:lnTo>
                        <a:pt x="13" y="0"/>
                      </a:lnTo>
                      <a:lnTo>
                        <a:pt x="17" y="0"/>
                      </a:lnTo>
                      <a:lnTo>
                        <a:pt x="22" y="1"/>
                      </a:lnTo>
                      <a:lnTo>
                        <a:pt x="26" y="2"/>
                      </a:lnTo>
                      <a:lnTo>
                        <a:pt x="29" y="6"/>
                      </a:lnTo>
                      <a:lnTo>
                        <a:pt x="32" y="9"/>
                      </a:lnTo>
                      <a:lnTo>
                        <a:pt x="33" y="14"/>
                      </a:lnTo>
                      <a:lnTo>
                        <a:pt x="33" y="19"/>
                      </a:lnTo>
                      <a:lnTo>
                        <a:pt x="29" y="22"/>
                      </a:lnTo>
                      <a:lnTo>
                        <a:pt x="26" y="25"/>
                      </a:lnTo>
                      <a:lnTo>
                        <a:pt x="19" y="25"/>
                      </a:lnTo>
                      <a:lnTo>
                        <a:pt x="14"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4" name="Freeform 209"/>
                <p:cNvSpPr>
                  <a:spLocks/>
                </p:cNvSpPr>
                <p:nvPr/>
              </p:nvSpPr>
              <p:spPr bwMode="auto">
                <a:xfrm>
                  <a:off x="8815118" y="5074165"/>
                  <a:ext cx="50316" cy="32557"/>
                </a:xfrm>
                <a:custGeom>
                  <a:avLst/>
                  <a:gdLst>
                    <a:gd name="T0" fmla="*/ 2147483647 w 37"/>
                    <a:gd name="T1" fmla="*/ 2147483647 h 22"/>
                    <a:gd name="T2" fmla="*/ 2147483647 w 37"/>
                    <a:gd name="T3" fmla="*/ 2147483647 h 22"/>
                    <a:gd name="T4" fmla="*/ 2147483647 w 37"/>
                    <a:gd name="T5" fmla="*/ 2147483647 h 22"/>
                    <a:gd name="T6" fmla="*/ 2147483647 w 37"/>
                    <a:gd name="T7" fmla="*/ 2147483647 h 22"/>
                    <a:gd name="T8" fmla="*/ 2147483647 w 37"/>
                    <a:gd name="T9" fmla="*/ 2147483647 h 22"/>
                    <a:gd name="T10" fmla="*/ 2147483647 w 37"/>
                    <a:gd name="T11" fmla="*/ 2147483647 h 22"/>
                    <a:gd name="T12" fmla="*/ 2147483647 w 37"/>
                    <a:gd name="T13" fmla="*/ 2147483647 h 22"/>
                    <a:gd name="T14" fmla="*/ 2147483647 w 37"/>
                    <a:gd name="T15" fmla="*/ 2147483647 h 22"/>
                    <a:gd name="T16" fmla="*/ 2147483647 w 37"/>
                    <a:gd name="T17" fmla="*/ 2147483647 h 22"/>
                    <a:gd name="T18" fmla="*/ 2147483647 w 37"/>
                    <a:gd name="T19" fmla="*/ 2147483647 h 22"/>
                    <a:gd name="T20" fmla="*/ 2147483647 w 37"/>
                    <a:gd name="T21" fmla="*/ 2147483647 h 22"/>
                    <a:gd name="T22" fmla="*/ 2147483647 w 37"/>
                    <a:gd name="T23" fmla="*/ 2147483647 h 22"/>
                    <a:gd name="T24" fmla="*/ 2147483647 w 37"/>
                    <a:gd name="T25" fmla="*/ 2147483647 h 22"/>
                    <a:gd name="T26" fmla="*/ 2147483647 w 37"/>
                    <a:gd name="T27" fmla="*/ 2147483647 h 22"/>
                    <a:gd name="T28" fmla="*/ 2147483647 w 37"/>
                    <a:gd name="T29" fmla="*/ 2147483647 h 22"/>
                    <a:gd name="T30" fmla="*/ 2147483647 w 37"/>
                    <a:gd name="T31" fmla="*/ 2147483647 h 22"/>
                    <a:gd name="T32" fmla="*/ 0 w 37"/>
                    <a:gd name="T33" fmla="*/ 2147483647 h 22"/>
                    <a:gd name="T34" fmla="*/ 0 w 37"/>
                    <a:gd name="T35" fmla="*/ 2147483647 h 22"/>
                    <a:gd name="T36" fmla="*/ 0 w 37"/>
                    <a:gd name="T37" fmla="*/ 2147483647 h 22"/>
                    <a:gd name="T38" fmla="*/ 2147483647 w 37"/>
                    <a:gd name="T39" fmla="*/ 2147483647 h 22"/>
                    <a:gd name="T40" fmla="*/ 2147483647 w 37"/>
                    <a:gd name="T41" fmla="*/ 2147483647 h 22"/>
                    <a:gd name="T42" fmla="*/ 2147483647 w 37"/>
                    <a:gd name="T43" fmla="*/ 2147483647 h 22"/>
                    <a:gd name="T44" fmla="*/ 2147483647 w 37"/>
                    <a:gd name="T45" fmla="*/ 2147483647 h 22"/>
                    <a:gd name="T46" fmla="*/ 2147483647 w 37"/>
                    <a:gd name="T47" fmla="*/ 0 h 22"/>
                    <a:gd name="T48" fmla="*/ 2147483647 w 37"/>
                    <a:gd name="T49" fmla="*/ 2147483647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7"/>
                    <a:gd name="T76" fmla="*/ 0 h 22"/>
                    <a:gd name="T77" fmla="*/ 37 w 37"/>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7" h="22">
                      <a:moveTo>
                        <a:pt x="31" y="1"/>
                      </a:moveTo>
                      <a:lnTo>
                        <a:pt x="36" y="3"/>
                      </a:lnTo>
                      <a:lnTo>
                        <a:pt x="36" y="5"/>
                      </a:lnTo>
                      <a:lnTo>
                        <a:pt x="37" y="6"/>
                      </a:lnTo>
                      <a:lnTo>
                        <a:pt x="34" y="12"/>
                      </a:lnTo>
                      <a:lnTo>
                        <a:pt x="34" y="15"/>
                      </a:lnTo>
                      <a:lnTo>
                        <a:pt x="33" y="18"/>
                      </a:lnTo>
                      <a:lnTo>
                        <a:pt x="32" y="18"/>
                      </a:lnTo>
                      <a:lnTo>
                        <a:pt x="24" y="18"/>
                      </a:lnTo>
                      <a:lnTo>
                        <a:pt x="20" y="16"/>
                      </a:lnTo>
                      <a:lnTo>
                        <a:pt x="17" y="16"/>
                      </a:lnTo>
                      <a:lnTo>
                        <a:pt x="14" y="18"/>
                      </a:lnTo>
                      <a:lnTo>
                        <a:pt x="12" y="20"/>
                      </a:lnTo>
                      <a:lnTo>
                        <a:pt x="9" y="21"/>
                      </a:lnTo>
                      <a:lnTo>
                        <a:pt x="5" y="22"/>
                      </a:lnTo>
                      <a:lnTo>
                        <a:pt x="3" y="20"/>
                      </a:lnTo>
                      <a:lnTo>
                        <a:pt x="0" y="16"/>
                      </a:lnTo>
                      <a:lnTo>
                        <a:pt x="0" y="13"/>
                      </a:lnTo>
                      <a:lnTo>
                        <a:pt x="0" y="12"/>
                      </a:lnTo>
                      <a:lnTo>
                        <a:pt x="3" y="10"/>
                      </a:lnTo>
                      <a:lnTo>
                        <a:pt x="9" y="7"/>
                      </a:lnTo>
                      <a:lnTo>
                        <a:pt x="17" y="3"/>
                      </a:lnTo>
                      <a:lnTo>
                        <a:pt x="23" y="1"/>
                      </a:lnTo>
                      <a:lnTo>
                        <a:pt x="27" y="0"/>
                      </a:lnTo>
                      <a:lnTo>
                        <a:pt x="31"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5" name="Freeform 210"/>
                <p:cNvSpPr>
                  <a:spLocks/>
                </p:cNvSpPr>
                <p:nvPr/>
              </p:nvSpPr>
              <p:spPr bwMode="auto">
                <a:xfrm>
                  <a:off x="8781081" y="5109679"/>
                  <a:ext cx="45876" cy="35517"/>
                </a:xfrm>
                <a:custGeom>
                  <a:avLst/>
                  <a:gdLst>
                    <a:gd name="T0" fmla="*/ 2147483647 w 33"/>
                    <a:gd name="T1" fmla="*/ 2147483647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0 w 33"/>
                    <a:gd name="T15" fmla="*/ 2147483647 h 24"/>
                    <a:gd name="T16" fmla="*/ 2147483647 w 33"/>
                    <a:gd name="T17" fmla="*/ 2147483647 h 24"/>
                    <a:gd name="T18" fmla="*/ 2147483647 w 33"/>
                    <a:gd name="T19" fmla="*/ 2147483647 h 24"/>
                    <a:gd name="T20" fmla="*/ 2147483647 w 33"/>
                    <a:gd name="T21" fmla="*/ 2147483647 h 24"/>
                    <a:gd name="T22" fmla="*/ 2147483647 w 33"/>
                    <a:gd name="T23" fmla="*/ 2147483647 h 24"/>
                    <a:gd name="T24" fmla="*/ 2147483647 w 33"/>
                    <a:gd name="T25" fmla="*/ 0 h 24"/>
                    <a:gd name="T26" fmla="*/ 2147483647 w 33"/>
                    <a:gd name="T27" fmla="*/ 0 h 24"/>
                    <a:gd name="T28" fmla="*/ 2147483647 w 33"/>
                    <a:gd name="T29" fmla="*/ 2147483647 h 24"/>
                    <a:gd name="T30" fmla="*/ 2147483647 w 33"/>
                    <a:gd name="T31" fmla="*/ 2147483647 h 24"/>
                    <a:gd name="T32" fmla="*/ 2147483647 w 33"/>
                    <a:gd name="T33" fmla="*/ 2147483647 h 24"/>
                    <a:gd name="T34" fmla="*/ 2147483647 w 33"/>
                    <a:gd name="T35" fmla="*/ 2147483647 h 24"/>
                    <a:gd name="T36" fmla="*/ 2147483647 w 33"/>
                    <a:gd name="T37" fmla="*/ 2147483647 h 24"/>
                    <a:gd name="T38" fmla="*/ 2147483647 w 33"/>
                    <a:gd name="T39" fmla="*/ 2147483647 h 24"/>
                    <a:gd name="T40" fmla="*/ 2147483647 w 33"/>
                    <a:gd name="T41" fmla="*/ 2147483647 h 24"/>
                    <a:gd name="T42" fmla="*/ 2147483647 w 33"/>
                    <a:gd name="T43" fmla="*/ 2147483647 h 24"/>
                    <a:gd name="T44" fmla="*/ 2147483647 w 33"/>
                    <a:gd name="T45" fmla="*/ 2147483647 h 24"/>
                    <a:gd name="T46" fmla="*/ 2147483647 w 33"/>
                    <a:gd name="T47" fmla="*/ 2147483647 h 24"/>
                    <a:gd name="T48" fmla="*/ 2147483647 w 33"/>
                    <a:gd name="T49" fmla="*/ 2147483647 h 24"/>
                    <a:gd name="T50" fmla="*/ 2147483647 w 33"/>
                    <a:gd name="T51" fmla="*/ 2147483647 h 24"/>
                    <a:gd name="T52" fmla="*/ 2147483647 w 33"/>
                    <a:gd name="T53" fmla="*/ 2147483647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24"/>
                    <a:gd name="T83" fmla="*/ 33 w 33"/>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24">
                      <a:moveTo>
                        <a:pt x="14" y="22"/>
                      </a:moveTo>
                      <a:lnTo>
                        <a:pt x="14" y="22"/>
                      </a:lnTo>
                      <a:lnTo>
                        <a:pt x="8" y="22"/>
                      </a:lnTo>
                      <a:lnTo>
                        <a:pt x="5" y="21"/>
                      </a:lnTo>
                      <a:lnTo>
                        <a:pt x="4" y="20"/>
                      </a:lnTo>
                      <a:lnTo>
                        <a:pt x="1" y="16"/>
                      </a:lnTo>
                      <a:lnTo>
                        <a:pt x="0" y="13"/>
                      </a:lnTo>
                      <a:lnTo>
                        <a:pt x="1" y="8"/>
                      </a:lnTo>
                      <a:lnTo>
                        <a:pt x="4" y="4"/>
                      </a:lnTo>
                      <a:lnTo>
                        <a:pt x="8" y="2"/>
                      </a:lnTo>
                      <a:lnTo>
                        <a:pt x="13" y="0"/>
                      </a:lnTo>
                      <a:lnTo>
                        <a:pt x="16" y="0"/>
                      </a:lnTo>
                      <a:lnTo>
                        <a:pt x="22" y="1"/>
                      </a:lnTo>
                      <a:lnTo>
                        <a:pt x="25" y="2"/>
                      </a:lnTo>
                      <a:lnTo>
                        <a:pt x="29" y="5"/>
                      </a:lnTo>
                      <a:lnTo>
                        <a:pt x="32" y="9"/>
                      </a:lnTo>
                      <a:lnTo>
                        <a:pt x="33" y="14"/>
                      </a:lnTo>
                      <a:lnTo>
                        <a:pt x="33" y="19"/>
                      </a:lnTo>
                      <a:lnTo>
                        <a:pt x="29" y="22"/>
                      </a:lnTo>
                      <a:lnTo>
                        <a:pt x="25" y="24"/>
                      </a:lnTo>
                      <a:lnTo>
                        <a:pt x="19" y="24"/>
                      </a:lnTo>
                      <a:lnTo>
                        <a:pt x="14" y="2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6" name="Freeform 211"/>
                <p:cNvSpPr>
                  <a:spLocks/>
                </p:cNvSpPr>
                <p:nvPr/>
              </p:nvSpPr>
              <p:spPr bwMode="auto">
                <a:xfrm>
                  <a:off x="8813639" y="5072685"/>
                  <a:ext cx="50316" cy="32557"/>
                </a:xfrm>
                <a:custGeom>
                  <a:avLst/>
                  <a:gdLst>
                    <a:gd name="T0" fmla="*/ 2147483647 w 37"/>
                    <a:gd name="T1" fmla="*/ 2147483647 h 22"/>
                    <a:gd name="T2" fmla="*/ 2147483647 w 37"/>
                    <a:gd name="T3" fmla="*/ 2147483647 h 22"/>
                    <a:gd name="T4" fmla="*/ 2147483647 w 37"/>
                    <a:gd name="T5" fmla="*/ 2147483647 h 22"/>
                    <a:gd name="T6" fmla="*/ 2147483647 w 37"/>
                    <a:gd name="T7" fmla="*/ 2147483647 h 22"/>
                    <a:gd name="T8" fmla="*/ 2147483647 w 37"/>
                    <a:gd name="T9" fmla="*/ 2147483647 h 22"/>
                    <a:gd name="T10" fmla="*/ 2147483647 w 37"/>
                    <a:gd name="T11" fmla="*/ 2147483647 h 22"/>
                    <a:gd name="T12" fmla="*/ 2147483647 w 37"/>
                    <a:gd name="T13" fmla="*/ 2147483647 h 22"/>
                    <a:gd name="T14" fmla="*/ 2147483647 w 37"/>
                    <a:gd name="T15" fmla="*/ 2147483647 h 22"/>
                    <a:gd name="T16" fmla="*/ 2147483647 w 37"/>
                    <a:gd name="T17" fmla="*/ 2147483647 h 22"/>
                    <a:gd name="T18" fmla="*/ 2147483647 w 37"/>
                    <a:gd name="T19" fmla="*/ 2147483647 h 22"/>
                    <a:gd name="T20" fmla="*/ 2147483647 w 37"/>
                    <a:gd name="T21" fmla="*/ 2147483647 h 22"/>
                    <a:gd name="T22" fmla="*/ 2147483647 w 37"/>
                    <a:gd name="T23" fmla="*/ 2147483647 h 22"/>
                    <a:gd name="T24" fmla="*/ 2147483647 w 37"/>
                    <a:gd name="T25" fmla="*/ 2147483647 h 22"/>
                    <a:gd name="T26" fmla="*/ 2147483647 w 37"/>
                    <a:gd name="T27" fmla="*/ 2147483647 h 22"/>
                    <a:gd name="T28" fmla="*/ 2147483647 w 37"/>
                    <a:gd name="T29" fmla="*/ 2147483647 h 22"/>
                    <a:gd name="T30" fmla="*/ 2147483647 w 37"/>
                    <a:gd name="T31" fmla="*/ 2147483647 h 22"/>
                    <a:gd name="T32" fmla="*/ 2147483647 w 37"/>
                    <a:gd name="T33" fmla="*/ 2147483647 h 22"/>
                    <a:gd name="T34" fmla="*/ 2147483647 w 37"/>
                    <a:gd name="T35" fmla="*/ 2147483647 h 22"/>
                    <a:gd name="T36" fmla="*/ 2147483647 w 37"/>
                    <a:gd name="T37" fmla="*/ 2147483647 h 22"/>
                    <a:gd name="T38" fmla="*/ 2147483647 w 37"/>
                    <a:gd name="T39" fmla="*/ 2147483647 h 22"/>
                    <a:gd name="T40" fmla="*/ 2147483647 w 37"/>
                    <a:gd name="T41" fmla="*/ 2147483647 h 22"/>
                    <a:gd name="T42" fmla="*/ 0 w 37"/>
                    <a:gd name="T43" fmla="*/ 2147483647 h 22"/>
                    <a:gd name="T44" fmla="*/ 0 w 37"/>
                    <a:gd name="T45" fmla="*/ 2147483647 h 22"/>
                    <a:gd name="T46" fmla="*/ 0 w 37"/>
                    <a:gd name="T47" fmla="*/ 2147483647 h 22"/>
                    <a:gd name="T48" fmla="*/ 2147483647 w 37"/>
                    <a:gd name="T49" fmla="*/ 2147483647 h 22"/>
                    <a:gd name="T50" fmla="*/ 2147483647 w 37"/>
                    <a:gd name="T51" fmla="*/ 2147483647 h 22"/>
                    <a:gd name="T52" fmla="*/ 2147483647 w 37"/>
                    <a:gd name="T53" fmla="*/ 2147483647 h 22"/>
                    <a:gd name="T54" fmla="*/ 2147483647 w 37"/>
                    <a:gd name="T55" fmla="*/ 2147483647 h 22"/>
                    <a:gd name="T56" fmla="*/ 2147483647 w 37"/>
                    <a:gd name="T57" fmla="*/ 2147483647 h 22"/>
                    <a:gd name="T58" fmla="*/ 2147483647 w 37"/>
                    <a:gd name="T59" fmla="*/ 0 h 22"/>
                    <a:gd name="T60" fmla="*/ 2147483647 w 37"/>
                    <a:gd name="T61" fmla="*/ 2147483647 h 22"/>
                    <a:gd name="T62" fmla="*/ 2147483647 w 37"/>
                    <a:gd name="T63" fmla="*/ 2147483647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22"/>
                    <a:gd name="T98" fmla="*/ 37 w 37"/>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22">
                      <a:moveTo>
                        <a:pt x="30" y="1"/>
                      </a:moveTo>
                      <a:lnTo>
                        <a:pt x="30" y="1"/>
                      </a:lnTo>
                      <a:lnTo>
                        <a:pt x="35" y="3"/>
                      </a:lnTo>
                      <a:lnTo>
                        <a:pt x="35" y="4"/>
                      </a:lnTo>
                      <a:lnTo>
                        <a:pt x="37" y="6"/>
                      </a:lnTo>
                      <a:lnTo>
                        <a:pt x="34" y="11"/>
                      </a:lnTo>
                      <a:lnTo>
                        <a:pt x="34" y="15"/>
                      </a:lnTo>
                      <a:lnTo>
                        <a:pt x="33" y="17"/>
                      </a:lnTo>
                      <a:lnTo>
                        <a:pt x="32" y="17"/>
                      </a:lnTo>
                      <a:lnTo>
                        <a:pt x="24" y="17"/>
                      </a:lnTo>
                      <a:lnTo>
                        <a:pt x="20" y="16"/>
                      </a:lnTo>
                      <a:lnTo>
                        <a:pt x="16" y="16"/>
                      </a:lnTo>
                      <a:lnTo>
                        <a:pt x="14" y="17"/>
                      </a:lnTo>
                      <a:lnTo>
                        <a:pt x="11" y="20"/>
                      </a:lnTo>
                      <a:lnTo>
                        <a:pt x="9" y="21"/>
                      </a:lnTo>
                      <a:lnTo>
                        <a:pt x="5" y="22"/>
                      </a:lnTo>
                      <a:lnTo>
                        <a:pt x="2" y="20"/>
                      </a:lnTo>
                      <a:lnTo>
                        <a:pt x="0" y="16"/>
                      </a:lnTo>
                      <a:lnTo>
                        <a:pt x="0" y="13"/>
                      </a:lnTo>
                      <a:lnTo>
                        <a:pt x="0" y="11"/>
                      </a:lnTo>
                      <a:lnTo>
                        <a:pt x="2" y="10"/>
                      </a:lnTo>
                      <a:lnTo>
                        <a:pt x="9" y="7"/>
                      </a:lnTo>
                      <a:lnTo>
                        <a:pt x="16" y="3"/>
                      </a:lnTo>
                      <a:lnTo>
                        <a:pt x="23" y="1"/>
                      </a:lnTo>
                      <a:lnTo>
                        <a:pt x="26" y="0"/>
                      </a:lnTo>
                      <a:lnTo>
                        <a:pt x="30"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7" name="Freeform 212"/>
                <p:cNvSpPr>
                  <a:spLocks/>
                </p:cNvSpPr>
                <p:nvPr/>
              </p:nvSpPr>
              <p:spPr bwMode="auto">
                <a:xfrm>
                  <a:off x="8884673" y="5123001"/>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0 w 5"/>
                    <a:gd name="T11" fmla="*/ 2147483647 h 6"/>
                    <a:gd name="T12" fmla="*/ 0 w 5"/>
                    <a:gd name="T13" fmla="*/ 2147483647 h 6"/>
                    <a:gd name="T14" fmla="*/ 2147483647 w 5"/>
                    <a:gd name="T15" fmla="*/ 0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2"/>
                      </a:moveTo>
                      <a:lnTo>
                        <a:pt x="5" y="4"/>
                      </a:lnTo>
                      <a:lnTo>
                        <a:pt x="5" y="6"/>
                      </a:lnTo>
                      <a:lnTo>
                        <a:pt x="4" y="5"/>
                      </a:lnTo>
                      <a:lnTo>
                        <a:pt x="1" y="5"/>
                      </a:lnTo>
                      <a:lnTo>
                        <a:pt x="0" y="4"/>
                      </a:lnTo>
                      <a:lnTo>
                        <a:pt x="0" y="2"/>
                      </a:lnTo>
                      <a:lnTo>
                        <a:pt x="1" y="0"/>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8" name="Freeform 213"/>
                <p:cNvSpPr>
                  <a:spLocks/>
                </p:cNvSpPr>
                <p:nvPr/>
              </p:nvSpPr>
              <p:spPr bwMode="auto">
                <a:xfrm>
                  <a:off x="8865435" y="5161474"/>
                  <a:ext cx="5919" cy="7400"/>
                </a:xfrm>
                <a:custGeom>
                  <a:avLst/>
                  <a:gdLst>
                    <a:gd name="T0" fmla="*/ 2147483647 w 5"/>
                    <a:gd name="T1" fmla="*/ 2147483647 h 5"/>
                    <a:gd name="T2" fmla="*/ 2147483647 w 5"/>
                    <a:gd name="T3" fmla="*/ 2147483647 h 5"/>
                    <a:gd name="T4" fmla="*/ 0 w 5"/>
                    <a:gd name="T5" fmla="*/ 2147483647 h 5"/>
                    <a:gd name="T6" fmla="*/ 0 w 5"/>
                    <a:gd name="T7" fmla="*/ 2147483647 h 5"/>
                    <a:gd name="T8" fmla="*/ 2147483647 w 5"/>
                    <a:gd name="T9" fmla="*/ 0 h 5"/>
                    <a:gd name="T10" fmla="*/ 2147483647 w 5"/>
                    <a:gd name="T11" fmla="*/ 0 h 5"/>
                    <a:gd name="T12" fmla="*/ 2147483647 w 5"/>
                    <a:gd name="T13" fmla="*/ 2147483647 h 5"/>
                    <a:gd name="T14" fmla="*/ 2147483647 w 5"/>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4" y="5"/>
                      </a:moveTo>
                      <a:lnTo>
                        <a:pt x="1" y="5"/>
                      </a:lnTo>
                      <a:lnTo>
                        <a:pt x="0" y="2"/>
                      </a:lnTo>
                      <a:lnTo>
                        <a:pt x="0" y="1"/>
                      </a:lnTo>
                      <a:lnTo>
                        <a:pt x="1" y="0"/>
                      </a:lnTo>
                      <a:lnTo>
                        <a:pt x="5" y="0"/>
                      </a:lnTo>
                      <a:lnTo>
                        <a:pt x="5" y="2"/>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19" name="Freeform 214"/>
                <p:cNvSpPr>
                  <a:spLocks/>
                </p:cNvSpPr>
                <p:nvPr/>
              </p:nvSpPr>
              <p:spPr bwMode="auto">
                <a:xfrm>
                  <a:off x="8883192" y="5121522"/>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0 w 5"/>
                    <a:gd name="T15" fmla="*/ 2147483647 h 6"/>
                    <a:gd name="T16" fmla="*/ 0 w 5"/>
                    <a:gd name="T17" fmla="*/ 2147483647 h 6"/>
                    <a:gd name="T18" fmla="*/ 0 w 5"/>
                    <a:gd name="T19" fmla="*/ 2147483647 h 6"/>
                    <a:gd name="T20" fmla="*/ 2147483647 w 5"/>
                    <a:gd name="T21" fmla="*/ 0 h 6"/>
                    <a:gd name="T22" fmla="*/ 2147483647 w 5"/>
                    <a:gd name="T23" fmla="*/ 0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2"/>
                      </a:moveTo>
                      <a:lnTo>
                        <a:pt x="5" y="2"/>
                      </a:lnTo>
                      <a:lnTo>
                        <a:pt x="5" y="3"/>
                      </a:lnTo>
                      <a:lnTo>
                        <a:pt x="5" y="6"/>
                      </a:lnTo>
                      <a:lnTo>
                        <a:pt x="3" y="5"/>
                      </a:lnTo>
                      <a:lnTo>
                        <a:pt x="1" y="5"/>
                      </a:lnTo>
                      <a:lnTo>
                        <a:pt x="0" y="3"/>
                      </a:lnTo>
                      <a:lnTo>
                        <a:pt x="0" y="2"/>
                      </a:lnTo>
                      <a:lnTo>
                        <a:pt x="1" y="0"/>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0" name="Freeform 215"/>
                <p:cNvSpPr>
                  <a:spLocks/>
                </p:cNvSpPr>
                <p:nvPr/>
              </p:nvSpPr>
              <p:spPr bwMode="auto">
                <a:xfrm>
                  <a:off x="8863954" y="5159998"/>
                  <a:ext cx="5919" cy="7399"/>
                </a:xfrm>
                <a:custGeom>
                  <a:avLst/>
                  <a:gdLst>
                    <a:gd name="T0" fmla="*/ 2147483647 w 5"/>
                    <a:gd name="T1" fmla="*/ 2147483647 h 5"/>
                    <a:gd name="T2" fmla="*/ 2147483647 w 5"/>
                    <a:gd name="T3" fmla="*/ 2147483647 h 5"/>
                    <a:gd name="T4" fmla="*/ 2147483647 w 5"/>
                    <a:gd name="T5" fmla="*/ 2147483647 h 5"/>
                    <a:gd name="T6" fmla="*/ 0 w 5"/>
                    <a:gd name="T7" fmla="*/ 2147483647 h 5"/>
                    <a:gd name="T8" fmla="*/ 0 w 5"/>
                    <a:gd name="T9" fmla="*/ 2147483647 h 5"/>
                    <a:gd name="T10" fmla="*/ 0 w 5"/>
                    <a:gd name="T11" fmla="*/ 2147483647 h 5"/>
                    <a:gd name="T12" fmla="*/ 2147483647 w 5"/>
                    <a:gd name="T13" fmla="*/ 0 h 5"/>
                    <a:gd name="T14" fmla="*/ 2147483647 w 5"/>
                    <a:gd name="T15" fmla="*/ 0 h 5"/>
                    <a:gd name="T16" fmla="*/ 2147483647 w 5"/>
                    <a:gd name="T17" fmla="*/ 0 h 5"/>
                    <a:gd name="T18" fmla="*/ 2147483647 w 5"/>
                    <a:gd name="T19" fmla="*/ 2147483647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3" y="5"/>
                      </a:moveTo>
                      <a:lnTo>
                        <a:pt x="3" y="5"/>
                      </a:lnTo>
                      <a:lnTo>
                        <a:pt x="1" y="5"/>
                      </a:lnTo>
                      <a:lnTo>
                        <a:pt x="0" y="2"/>
                      </a:lnTo>
                      <a:lnTo>
                        <a:pt x="0" y="1"/>
                      </a:lnTo>
                      <a:lnTo>
                        <a:pt x="1" y="0"/>
                      </a:lnTo>
                      <a:lnTo>
                        <a:pt x="5" y="0"/>
                      </a:lnTo>
                      <a:lnTo>
                        <a:pt x="5" y="2"/>
                      </a:lnTo>
                      <a:lnTo>
                        <a:pt x="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1" name="Freeform 216"/>
                <p:cNvSpPr>
                  <a:spLocks/>
                </p:cNvSpPr>
                <p:nvPr/>
              </p:nvSpPr>
              <p:spPr bwMode="auto">
                <a:xfrm>
                  <a:off x="8980863" y="5179237"/>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0 w 5"/>
                    <a:gd name="T11" fmla="*/ 2147483647 h 6"/>
                    <a:gd name="T12" fmla="*/ 2147483647 w 5"/>
                    <a:gd name="T13" fmla="*/ 0 h 6"/>
                    <a:gd name="T14" fmla="*/ 2147483647 w 5"/>
                    <a:gd name="T15" fmla="*/ 0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2"/>
                      </a:moveTo>
                      <a:lnTo>
                        <a:pt x="5" y="5"/>
                      </a:lnTo>
                      <a:lnTo>
                        <a:pt x="3" y="6"/>
                      </a:lnTo>
                      <a:lnTo>
                        <a:pt x="1" y="5"/>
                      </a:lnTo>
                      <a:lnTo>
                        <a:pt x="0" y="4"/>
                      </a:lnTo>
                      <a:lnTo>
                        <a:pt x="0" y="1"/>
                      </a:lnTo>
                      <a:lnTo>
                        <a:pt x="1" y="0"/>
                      </a:lnTo>
                      <a:lnTo>
                        <a:pt x="4" y="0"/>
                      </a:lnTo>
                      <a:lnTo>
                        <a:pt x="5" y="1"/>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2" name="Freeform 217"/>
                <p:cNvSpPr>
                  <a:spLocks/>
                </p:cNvSpPr>
                <p:nvPr/>
              </p:nvSpPr>
              <p:spPr bwMode="auto">
                <a:xfrm>
                  <a:off x="8967548" y="5225112"/>
                  <a:ext cx="7399"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2147483647 w 6"/>
                    <a:gd name="T11" fmla="*/ 2147483647 h 7"/>
                    <a:gd name="T12" fmla="*/ 2147483647 w 6"/>
                    <a:gd name="T13" fmla="*/ 0 h 7"/>
                    <a:gd name="T14" fmla="*/ 2147483647 w 6"/>
                    <a:gd name="T15" fmla="*/ 2147483647 h 7"/>
                    <a:gd name="T16" fmla="*/ 2147483647 w 6"/>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6" y="5"/>
                      </a:moveTo>
                      <a:lnTo>
                        <a:pt x="5" y="7"/>
                      </a:lnTo>
                      <a:lnTo>
                        <a:pt x="4" y="7"/>
                      </a:lnTo>
                      <a:lnTo>
                        <a:pt x="1" y="3"/>
                      </a:lnTo>
                      <a:lnTo>
                        <a:pt x="0" y="2"/>
                      </a:lnTo>
                      <a:lnTo>
                        <a:pt x="1" y="1"/>
                      </a:lnTo>
                      <a:lnTo>
                        <a:pt x="4" y="0"/>
                      </a:lnTo>
                      <a:lnTo>
                        <a:pt x="4" y="1"/>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3" name="Freeform 218"/>
                <p:cNvSpPr>
                  <a:spLocks/>
                </p:cNvSpPr>
                <p:nvPr/>
              </p:nvSpPr>
              <p:spPr bwMode="auto">
                <a:xfrm>
                  <a:off x="8979387" y="5177757"/>
                  <a:ext cx="739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0 w 5"/>
                    <a:gd name="T17" fmla="*/ 2147483647 h 6"/>
                    <a:gd name="T18" fmla="*/ 2147483647 w 5"/>
                    <a:gd name="T19" fmla="*/ 0 h 6"/>
                    <a:gd name="T20" fmla="*/ 2147483647 w 5"/>
                    <a:gd name="T21" fmla="*/ 0 h 6"/>
                    <a:gd name="T22" fmla="*/ 2147483647 w 5"/>
                    <a:gd name="T23" fmla="*/ 0 h 6"/>
                    <a:gd name="T24" fmla="*/ 2147483647 w 5"/>
                    <a:gd name="T25" fmla="*/ 2147483647 h 6"/>
                    <a:gd name="T26" fmla="*/ 2147483647 w 5"/>
                    <a:gd name="T27" fmla="*/ 2147483647 h 6"/>
                    <a:gd name="T28" fmla="*/ 2147483647 w 5"/>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6"/>
                    <a:gd name="T47" fmla="*/ 5 w 5"/>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6">
                      <a:moveTo>
                        <a:pt x="5" y="2"/>
                      </a:moveTo>
                      <a:lnTo>
                        <a:pt x="5" y="2"/>
                      </a:lnTo>
                      <a:lnTo>
                        <a:pt x="5" y="5"/>
                      </a:lnTo>
                      <a:lnTo>
                        <a:pt x="2" y="6"/>
                      </a:lnTo>
                      <a:lnTo>
                        <a:pt x="1" y="5"/>
                      </a:lnTo>
                      <a:lnTo>
                        <a:pt x="0" y="3"/>
                      </a:lnTo>
                      <a:lnTo>
                        <a:pt x="0" y="1"/>
                      </a:lnTo>
                      <a:lnTo>
                        <a:pt x="1" y="0"/>
                      </a:lnTo>
                      <a:lnTo>
                        <a:pt x="4" y="0"/>
                      </a:lnTo>
                      <a:lnTo>
                        <a:pt x="5" y="1"/>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4" name="Freeform 219"/>
                <p:cNvSpPr>
                  <a:spLocks/>
                </p:cNvSpPr>
                <p:nvPr/>
              </p:nvSpPr>
              <p:spPr bwMode="auto">
                <a:xfrm>
                  <a:off x="8966067" y="5223629"/>
                  <a:ext cx="887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2147483647 w 6"/>
                    <a:gd name="T17" fmla="*/ 2147483647 h 7"/>
                    <a:gd name="T18" fmla="*/ 2147483647 w 6"/>
                    <a:gd name="T19" fmla="*/ 2147483647 h 7"/>
                    <a:gd name="T20" fmla="*/ 2147483647 w 6"/>
                    <a:gd name="T21" fmla="*/ 0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6" y="4"/>
                      </a:moveTo>
                      <a:lnTo>
                        <a:pt x="6" y="4"/>
                      </a:lnTo>
                      <a:lnTo>
                        <a:pt x="5" y="7"/>
                      </a:lnTo>
                      <a:lnTo>
                        <a:pt x="3" y="7"/>
                      </a:lnTo>
                      <a:lnTo>
                        <a:pt x="1" y="3"/>
                      </a:lnTo>
                      <a:lnTo>
                        <a:pt x="0" y="2"/>
                      </a:lnTo>
                      <a:lnTo>
                        <a:pt x="1" y="1"/>
                      </a:lnTo>
                      <a:lnTo>
                        <a:pt x="3" y="0"/>
                      </a:lnTo>
                      <a:lnTo>
                        <a:pt x="3" y="1"/>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5" name="Freeform 220"/>
                <p:cNvSpPr>
                  <a:spLocks/>
                </p:cNvSpPr>
                <p:nvPr/>
              </p:nvSpPr>
              <p:spPr bwMode="auto">
                <a:xfrm>
                  <a:off x="9069656" y="5016447"/>
                  <a:ext cx="13319" cy="13319"/>
                </a:xfrm>
                <a:custGeom>
                  <a:avLst/>
                  <a:gdLst>
                    <a:gd name="T0" fmla="*/ 2147483647 w 10"/>
                    <a:gd name="T1" fmla="*/ 0 h 9"/>
                    <a:gd name="T2" fmla="*/ 2147483647 w 10"/>
                    <a:gd name="T3" fmla="*/ 0 h 9"/>
                    <a:gd name="T4" fmla="*/ 2147483647 w 10"/>
                    <a:gd name="T5" fmla="*/ 0 h 9"/>
                    <a:gd name="T6" fmla="*/ 2147483647 w 10"/>
                    <a:gd name="T7" fmla="*/ 2147483647 h 9"/>
                    <a:gd name="T8" fmla="*/ 2147483647 w 10"/>
                    <a:gd name="T9" fmla="*/ 2147483647 h 9"/>
                    <a:gd name="T10" fmla="*/ 2147483647 w 10"/>
                    <a:gd name="T11" fmla="*/ 2147483647 h 9"/>
                    <a:gd name="T12" fmla="*/ 2147483647 w 10"/>
                    <a:gd name="T13" fmla="*/ 2147483647 h 9"/>
                    <a:gd name="T14" fmla="*/ 0 w 10"/>
                    <a:gd name="T15" fmla="*/ 2147483647 h 9"/>
                    <a:gd name="T16" fmla="*/ 2147483647 w 10"/>
                    <a:gd name="T17" fmla="*/ 2147483647 h 9"/>
                    <a:gd name="T18" fmla="*/ 2147483647 w 10"/>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9"/>
                    <a:gd name="T32" fmla="*/ 10 w 10"/>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9">
                      <a:moveTo>
                        <a:pt x="6" y="0"/>
                      </a:moveTo>
                      <a:lnTo>
                        <a:pt x="9" y="0"/>
                      </a:lnTo>
                      <a:lnTo>
                        <a:pt x="10" y="0"/>
                      </a:lnTo>
                      <a:lnTo>
                        <a:pt x="10" y="1"/>
                      </a:lnTo>
                      <a:lnTo>
                        <a:pt x="10" y="4"/>
                      </a:lnTo>
                      <a:lnTo>
                        <a:pt x="7" y="7"/>
                      </a:lnTo>
                      <a:lnTo>
                        <a:pt x="4" y="9"/>
                      </a:lnTo>
                      <a:lnTo>
                        <a:pt x="0" y="9"/>
                      </a:lnTo>
                      <a:lnTo>
                        <a:pt x="2" y="4"/>
                      </a:lnTo>
                      <a:lnTo>
                        <a:pt x="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6" name="Freeform 221"/>
                <p:cNvSpPr>
                  <a:spLocks/>
                </p:cNvSpPr>
                <p:nvPr/>
              </p:nvSpPr>
              <p:spPr bwMode="auto">
                <a:xfrm>
                  <a:off x="9041539" y="5000168"/>
                  <a:ext cx="22198" cy="22198"/>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0 w 16"/>
                    <a:gd name="T15" fmla="*/ 2147483647 h 15"/>
                    <a:gd name="T16" fmla="*/ 0 w 16"/>
                    <a:gd name="T17" fmla="*/ 2147483647 h 15"/>
                    <a:gd name="T18" fmla="*/ 2147483647 w 16"/>
                    <a:gd name="T19" fmla="*/ 2147483647 h 15"/>
                    <a:gd name="T20" fmla="*/ 2147483647 w 16"/>
                    <a:gd name="T21" fmla="*/ 2147483647 h 15"/>
                    <a:gd name="T22" fmla="*/ 2147483647 w 16"/>
                    <a:gd name="T23" fmla="*/ 0 h 15"/>
                    <a:gd name="T24" fmla="*/ 2147483647 w 16"/>
                    <a:gd name="T25" fmla="*/ 2147483647 h 15"/>
                    <a:gd name="T26" fmla="*/ 2147483647 w 16"/>
                    <a:gd name="T27" fmla="*/ 2147483647 h 15"/>
                    <a:gd name="T28" fmla="*/ 2147483647 w 16"/>
                    <a:gd name="T29" fmla="*/ 2147483647 h 15"/>
                    <a:gd name="T30" fmla="*/ 2147483647 w 16"/>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5"/>
                    <a:gd name="T50" fmla="*/ 16 w 16"/>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5">
                      <a:moveTo>
                        <a:pt x="14" y="10"/>
                      </a:moveTo>
                      <a:lnTo>
                        <a:pt x="16" y="12"/>
                      </a:lnTo>
                      <a:lnTo>
                        <a:pt x="16" y="13"/>
                      </a:lnTo>
                      <a:lnTo>
                        <a:pt x="14" y="14"/>
                      </a:lnTo>
                      <a:lnTo>
                        <a:pt x="12" y="15"/>
                      </a:lnTo>
                      <a:lnTo>
                        <a:pt x="8" y="14"/>
                      </a:lnTo>
                      <a:lnTo>
                        <a:pt x="4" y="13"/>
                      </a:lnTo>
                      <a:lnTo>
                        <a:pt x="0" y="10"/>
                      </a:lnTo>
                      <a:lnTo>
                        <a:pt x="0" y="7"/>
                      </a:lnTo>
                      <a:lnTo>
                        <a:pt x="2" y="4"/>
                      </a:lnTo>
                      <a:lnTo>
                        <a:pt x="3" y="1"/>
                      </a:lnTo>
                      <a:lnTo>
                        <a:pt x="6" y="0"/>
                      </a:lnTo>
                      <a:lnTo>
                        <a:pt x="7" y="1"/>
                      </a:lnTo>
                      <a:lnTo>
                        <a:pt x="12" y="4"/>
                      </a:lnTo>
                      <a:lnTo>
                        <a:pt x="14" y="7"/>
                      </a:lnTo>
                      <a:lnTo>
                        <a:pt x="14"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7" name="Freeform 222"/>
                <p:cNvSpPr>
                  <a:spLocks/>
                </p:cNvSpPr>
                <p:nvPr/>
              </p:nvSpPr>
              <p:spPr bwMode="auto">
                <a:xfrm>
                  <a:off x="9066697" y="5014971"/>
                  <a:ext cx="14799" cy="13319"/>
                </a:xfrm>
                <a:custGeom>
                  <a:avLst/>
                  <a:gdLst>
                    <a:gd name="T0" fmla="*/ 2147483647 w 11"/>
                    <a:gd name="T1" fmla="*/ 0 h 9"/>
                    <a:gd name="T2" fmla="*/ 2147483647 w 11"/>
                    <a:gd name="T3" fmla="*/ 0 h 9"/>
                    <a:gd name="T4" fmla="*/ 2147483647 w 11"/>
                    <a:gd name="T5" fmla="*/ 0 h 9"/>
                    <a:gd name="T6" fmla="*/ 2147483647 w 11"/>
                    <a:gd name="T7" fmla="*/ 0 h 9"/>
                    <a:gd name="T8" fmla="*/ 2147483647 w 11"/>
                    <a:gd name="T9" fmla="*/ 2147483647 h 9"/>
                    <a:gd name="T10" fmla="*/ 2147483647 w 11"/>
                    <a:gd name="T11" fmla="*/ 2147483647 h 9"/>
                    <a:gd name="T12" fmla="*/ 2147483647 w 11"/>
                    <a:gd name="T13" fmla="*/ 2147483647 h 9"/>
                    <a:gd name="T14" fmla="*/ 2147483647 w 11"/>
                    <a:gd name="T15" fmla="*/ 2147483647 h 9"/>
                    <a:gd name="T16" fmla="*/ 2147483647 w 11"/>
                    <a:gd name="T17" fmla="*/ 2147483647 h 9"/>
                    <a:gd name="T18" fmla="*/ 0 w 11"/>
                    <a:gd name="T19" fmla="*/ 2147483647 h 9"/>
                    <a:gd name="T20" fmla="*/ 0 w 11"/>
                    <a:gd name="T21" fmla="*/ 2147483647 h 9"/>
                    <a:gd name="T22" fmla="*/ 2147483647 w 11"/>
                    <a:gd name="T23" fmla="*/ 2147483647 h 9"/>
                    <a:gd name="T24" fmla="*/ 2147483647 w 11"/>
                    <a:gd name="T25" fmla="*/ 0 h 9"/>
                    <a:gd name="T26" fmla="*/ 2147483647 w 11"/>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9"/>
                    <a:gd name="T44" fmla="*/ 11 w 11"/>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9">
                      <a:moveTo>
                        <a:pt x="7" y="0"/>
                      </a:moveTo>
                      <a:lnTo>
                        <a:pt x="7" y="0"/>
                      </a:lnTo>
                      <a:lnTo>
                        <a:pt x="9" y="0"/>
                      </a:lnTo>
                      <a:lnTo>
                        <a:pt x="11" y="0"/>
                      </a:lnTo>
                      <a:lnTo>
                        <a:pt x="11" y="1"/>
                      </a:lnTo>
                      <a:lnTo>
                        <a:pt x="11" y="4"/>
                      </a:lnTo>
                      <a:lnTo>
                        <a:pt x="8" y="7"/>
                      </a:lnTo>
                      <a:lnTo>
                        <a:pt x="4" y="9"/>
                      </a:lnTo>
                      <a:lnTo>
                        <a:pt x="0" y="9"/>
                      </a:lnTo>
                      <a:lnTo>
                        <a:pt x="3" y="4"/>
                      </a:lnTo>
                      <a:lnTo>
                        <a:pt x="7"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8" name="Freeform 223"/>
                <p:cNvSpPr>
                  <a:spLocks/>
                </p:cNvSpPr>
                <p:nvPr/>
              </p:nvSpPr>
              <p:spPr bwMode="auto">
                <a:xfrm>
                  <a:off x="9040061" y="4998689"/>
                  <a:ext cx="20718" cy="22199"/>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2147483647 w 15"/>
                    <a:gd name="T17" fmla="*/ 2147483647 h 15"/>
                    <a:gd name="T18" fmla="*/ 0 w 15"/>
                    <a:gd name="T19" fmla="*/ 2147483647 h 15"/>
                    <a:gd name="T20" fmla="*/ 0 w 15"/>
                    <a:gd name="T21" fmla="*/ 2147483647 h 15"/>
                    <a:gd name="T22" fmla="*/ 0 w 15"/>
                    <a:gd name="T23" fmla="*/ 2147483647 h 15"/>
                    <a:gd name="T24" fmla="*/ 2147483647 w 15"/>
                    <a:gd name="T25" fmla="*/ 2147483647 h 15"/>
                    <a:gd name="T26" fmla="*/ 2147483647 w 15"/>
                    <a:gd name="T27" fmla="*/ 2147483647 h 15"/>
                    <a:gd name="T28" fmla="*/ 2147483647 w 15"/>
                    <a:gd name="T29" fmla="*/ 0 h 15"/>
                    <a:gd name="T30" fmla="*/ 2147483647 w 15"/>
                    <a:gd name="T31" fmla="*/ 2147483647 h 15"/>
                    <a:gd name="T32" fmla="*/ 2147483647 w 15"/>
                    <a:gd name="T33" fmla="*/ 2147483647 h 15"/>
                    <a:gd name="T34" fmla="*/ 2147483647 w 15"/>
                    <a:gd name="T35" fmla="*/ 2147483647 h 15"/>
                    <a:gd name="T36" fmla="*/ 2147483647 w 15"/>
                    <a:gd name="T37" fmla="*/ 2147483647 h 15"/>
                    <a:gd name="T38" fmla="*/ 2147483647 w 15"/>
                    <a:gd name="T39" fmla="*/ 2147483647 h 15"/>
                    <a:gd name="T40" fmla="*/ 2147483647 w 15"/>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5"/>
                    <a:gd name="T65" fmla="*/ 15 w 1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5">
                      <a:moveTo>
                        <a:pt x="14" y="9"/>
                      </a:moveTo>
                      <a:lnTo>
                        <a:pt x="14" y="9"/>
                      </a:lnTo>
                      <a:lnTo>
                        <a:pt x="15" y="12"/>
                      </a:lnTo>
                      <a:lnTo>
                        <a:pt x="15" y="13"/>
                      </a:lnTo>
                      <a:lnTo>
                        <a:pt x="14" y="14"/>
                      </a:lnTo>
                      <a:lnTo>
                        <a:pt x="12" y="15"/>
                      </a:lnTo>
                      <a:lnTo>
                        <a:pt x="8" y="14"/>
                      </a:lnTo>
                      <a:lnTo>
                        <a:pt x="4" y="13"/>
                      </a:lnTo>
                      <a:lnTo>
                        <a:pt x="0" y="9"/>
                      </a:lnTo>
                      <a:lnTo>
                        <a:pt x="0" y="7"/>
                      </a:lnTo>
                      <a:lnTo>
                        <a:pt x="1" y="3"/>
                      </a:lnTo>
                      <a:lnTo>
                        <a:pt x="3" y="1"/>
                      </a:lnTo>
                      <a:lnTo>
                        <a:pt x="5" y="0"/>
                      </a:lnTo>
                      <a:lnTo>
                        <a:pt x="7" y="1"/>
                      </a:lnTo>
                      <a:lnTo>
                        <a:pt x="12" y="3"/>
                      </a:lnTo>
                      <a:lnTo>
                        <a:pt x="14" y="7"/>
                      </a:lnTo>
                      <a:lnTo>
                        <a:pt x="14"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29" name="Freeform 224"/>
                <p:cNvSpPr>
                  <a:spLocks/>
                </p:cNvSpPr>
                <p:nvPr/>
              </p:nvSpPr>
              <p:spPr bwMode="auto">
                <a:xfrm>
                  <a:off x="9019340" y="4989813"/>
                  <a:ext cx="19239" cy="20718"/>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2147483647 h 14"/>
                    <a:gd name="T12" fmla="*/ 2147483647 w 14"/>
                    <a:gd name="T13" fmla="*/ 2147483647 h 14"/>
                    <a:gd name="T14" fmla="*/ 2147483647 w 14"/>
                    <a:gd name="T15" fmla="*/ 2147483647 h 14"/>
                    <a:gd name="T16" fmla="*/ 0 w 14"/>
                    <a:gd name="T17" fmla="*/ 2147483647 h 14"/>
                    <a:gd name="T18" fmla="*/ 0 w 14"/>
                    <a:gd name="T19" fmla="*/ 2147483647 h 14"/>
                    <a:gd name="T20" fmla="*/ 0 w 14"/>
                    <a:gd name="T21" fmla="*/ 2147483647 h 14"/>
                    <a:gd name="T22" fmla="*/ 2147483647 w 14"/>
                    <a:gd name="T23" fmla="*/ 2147483647 h 14"/>
                    <a:gd name="T24" fmla="*/ 2147483647 w 14"/>
                    <a:gd name="T25" fmla="*/ 0 h 14"/>
                    <a:gd name="T26" fmla="*/ 2147483647 w 14"/>
                    <a:gd name="T27" fmla="*/ 0 h 14"/>
                    <a:gd name="T28" fmla="*/ 2147483647 w 14"/>
                    <a:gd name="T29" fmla="*/ 2147483647 h 14"/>
                    <a:gd name="T30" fmla="*/ 2147483647 w 14"/>
                    <a:gd name="T31" fmla="*/ 2147483647 h 14"/>
                    <a:gd name="T32" fmla="*/ 2147483647 w 14"/>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4"/>
                    <a:gd name="T53" fmla="*/ 14 w 1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4">
                      <a:moveTo>
                        <a:pt x="13" y="9"/>
                      </a:moveTo>
                      <a:lnTo>
                        <a:pt x="13" y="11"/>
                      </a:lnTo>
                      <a:lnTo>
                        <a:pt x="14" y="12"/>
                      </a:lnTo>
                      <a:lnTo>
                        <a:pt x="10" y="13"/>
                      </a:lnTo>
                      <a:lnTo>
                        <a:pt x="8" y="13"/>
                      </a:lnTo>
                      <a:lnTo>
                        <a:pt x="4" y="14"/>
                      </a:lnTo>
                      <a:lnTo>
                        <a:pt x="2" y="14"/>
                      </a:lnTo>
                      <a:lnTo>
                        <a:pt x="2" y="13"/>
                      </a:lnTo>
                      <a:lnTo>
                        <a:pt x="0" y="11"/>
                      </a:lnTo>
                      <a:lnTo>
                        <a:pt x="0" y="7"/>
                      </a:lnTo>
                      <a:lnTo>
                        <a:pt x="0" y="3"/>
                      </a:lnTo>
                      <a:lnTo>
                        <a:pt x="1" y="1"/>
                      </a:lnTo>
                      <a:lnTo>
                        <a:pt x="4" y="0"/>
                      </a:lnTo>
                      <a:lnTo>
                        <a:pt x="5" y="0"/>
                      </a:lnTo>
                      <a:lnTo>
                        <a:pt x="9" y="1"/>
                      </a:lnTo>
                      <a:lnTo>
                        <a:pt x="11" y="5"/>
                      </a:lnTo>
                      <a:lnTo>
                        <a:pt x="13"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0" name="Freeform 225"/>
                <p:cNvSpPr>
                  <a:spLocks/>
                </p:cNvSpPr>
                <p:nvPr/>
              </p:nvSpPr>
              <p:spPr bwMode="auto">
                <a:xfrm>
                  <a:off x="8837319" y="4924695"/>
                  <a:ext cx="7399" cy="7400"/>
                </a:xfrm>
                <a:custGeom>
                  <a:avLst/>
                  <a:gdLst>
                    <a:gd name="T0" fmla="*/ 2147483647 w 5"/>
                    <a:gd name="T1" fmla="*/ 2147483647 h 5"/>
                    <a:gd name="T2" fmla="*/ 2147483647 w 5"/>
                    <a:gd name="T3" fmla="*/ 2147483647 h 5"/>
                    <a:gd name="T4" fmla="*/ 2147483647 w 5"/>
                    <a:gd name="T5" fmla="*/ 2147483647 h 5"/>
                    <a:gd name="T6" fmla="*/ 0 w 5"/>
                    <a:gd name="T7" fmla="*/ 2147483647 h 5"/>
                    <a:gd name="T8" fmla="*/ 0 w 5"/>
                    <a:gd name="T9" fmla="*/ 2147483647 h 5"/>
                    <a:gd name="T10" fmla="*/ 2147483647 w 5"/>
                    <a:gd name="T11" fmla="*/ 0 h 5"/>
                    <a:gd name="T12" fmla="*/ 2147483647 w 5"/>
                    <a:gd name="T13" fmla="*/ 0 h 5"/>
                    <a:gd name="T14" fmla="*/ 2147483647 w 5"/>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5" y="1"/>
                      </a:moveTo>
                      <a:lnTo>
                        <a:pt x="5" y="4"/>
                      </a:lnTo>
                      <a:lnTo>
                        <a:pt x="3" y="5"/>
                      </a:lnTo>
                      <a:lnTo>
                        <a:pt x="0" y="2"/>
                      </a:lnTo>
                      <a:lnTo>
                        <a:pt x="0" y="1"/>
                      </a:lnTo>
                      <a:lnTo>
                        <a:pt x="1" y="0"/>
                      </a:lnTo>
                      <a:lnTo>
                        <a:pt x="3" y="0"/>
                      </a:lnTo>
                      <a:lnTo>
                        <a:pt x="5"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1" name="Freeform 226"/>
                <p:cNvSpPr>
                  <a:spLocks/>
                </p:cNvSpPr>
                <p:nvPr/>
              </p:nvSpPr>
              <p:spPr bwMode="auto">
                <a:xfrm>
                  <a:off x="9017862" y="4988333"/>
                  <a:ext cx="19238" cy="20718"/>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2147483647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2147483647 w 14"/>
                    <a:gd name="T21" fmla="*/ 2147483647 h 14"/>
                    <a:gd name="T22" fmla="*/ 2147483647 w 14"/>
                    <a:gd name="T23" fmla="*/ 2147483647 h 14"/>
                    <a:gd name="T24" fmla="*/ 0 w 14"/>
                    <a:gd name="T25" fmla="*/ 2147483647 h 14"/>
                    <a:gd name="T26" fmla="*/ 0 w 14"/>
                    <a:gd name="T27" fmla="*/ 2147483647 h 14"/>
                    <a:gd name="T28" fmla="*/ 0 w 14"/>
                    <a:gd name="T29" fmla="*/ 2147483647 h 14"/>
                    <a:gd name="T30" fmla="*/ 2147483647 w 14"/>
                    <a:gd name="T31" fmla="*/ 2147483647 h 14"/>
                    <a:gd name="T32" fmla="*/ 2147483647 w 14"/>
                    <a:gd name="T33" fmla="*/ 2147483647 h 14"/>
                    <a:gd name="T34" fmla="*/ 2147483647 w 14"/>
                    <a:gd name="T35" fmla="*/ 0 h 14"/>
                    <a:gd name="T36" fmla="*/ 2147483647 w 14"/>
                    <a:gd name="T37" fmla="*/ 0 h 14"/>
                    <a:gd name="T38" fmla="*/ 2147483647 w 14"/>
                    <a:gd name="T39" fmla="*/ 2147483647 h 14"/>
                    <a:gd name="T40" fmla="*/ 2147483647 w 14"/>
                    <a:gd name="T41" fmla="*/ 2147483647 h 14"/>
                    <a:gd name="T42" fmla="*/ 2147483647 w 14"/>
                    <a:gd name="T43" fmla="*/ 2147483647 h 14"/>
                    <a:gd name="T44" fmla="*/ 2147483647 w 14"/>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14"/>
                    <a:gd name="T71" fmla="*/ 14 w 14"/>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14">
                      <a:moveTo>
                        <a:pt x="12" y="9"/>
                      </a:moveTo>
                      <a:lnTo>
                        <a:pt x="12" y="9"/>
                      </a:lnTo>
                      <a:lnTo>
                        <a:pt x="12" y="10"/>
                      </a:lnTo>
                      <a:lnTo>
                        <a:pt x="14" y="12"/>
                      </a:lnTo>
                      <a:lnTo>
                        <a:pt x="10" y="13"/>
                      </a:lnTo>
                      <a:lnTo>
                        <a:pt x="7" y="13"/>
                      </a:lnTo>
                      <a:lnTo>
                        <a:pt x="3" y="14"/>
                      </a:lnTo>
                      <a:lnTo>
                        <a:pt x="2" y="14"/>
                      </a:lnTo>
                      <a:lnTo>
                        <a:pt x="2" y="13"/>
                      </a:lnTo>
                      <a:lnTo>
                        <a:pt x="0" y="10"/>
                      </a:lnTo>
                      <a:lnTo>
                        <a:pt x="0" y="7"/>
                      </a:lnTo>
                      <a:lnTo>
                        <a:pt x="0" y="3"/>
                      </a:lnTo>
                      <a:lnTo>
                        <a:pt x="1" y="1"/>
                      </a:lnTo>
                      <a:lnTo>
                        <a:pt x="3" y="0"/>
                      </a:lnTo>
                      <a:lnTo>
                        <a:pt x="5" y="0"/>
                      </a:lnTo>
                      <a:lnTo>
                        <a:pt x="9" y="1"/>
                      </a:lnTo>
                      <a:lnTo>
                        <a:pt x="11" y="4"/>
                      </a:lnTo>
                      <a:lnTo>
                        <a:pt x="12"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2" name="Freeform 227"/>
                <p:cNvSpPr>
                  <a:spLocks/>
                </p:cNvSpPr>
                <p:nvPr/>
              </p:nvSpPr>
              <p:spPr bwMode="auto">
                <a:xfrm>
                  <a:off x="8834360" y="4923219"/>
                  <a:ext cx="7399" cy="7399"/>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2147483647 w 5"/>
                    <a:gd name="T9" fmla="*/ 2147483647 h 5"/>
                    <a:gd name="T10" fmla="*/ 0 w 5"/>
                    <a:gd name="T11" fmla="*/ 2147483647 h 5"/>
                    <a:gd name="T12" fmla="*/ 0 w 5"/>
                    <a:gd name="T13" fmla="*/ 2147483647 h 5"/>
                    <a:gd name="T14" fmla="*/ 2147483647 w 5"/>
                    <a:gd name="T15" fmla="*/ 0 h 5"/>
                    <a:gd name="T16" fmla="*/ 2147483647 w 5"/>
                    <a:gd name="T17" fmla="*/ 0 h 5"/>
                    <a:gd name="T18" fmla="*/ 2147483647 w 5"/>
                    <a:gd name="T19" fmla="*/ 0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5" y="1"/>
                      </a:moveTo>
                      <a:lnTo>
                        <a:pt x="5" y="1"/>
                      </a:lnTo>
                      <a:lnTo>
                        <a:pt x="5" y="3"/>
                      </a:lnTo>
                      <a:lnTo>
                        <a:pt x="4" y="5"/>
                      </a:lnTo>
                      <a:lnTo>
                        <a:pt x="0" y="2"/>
                      </a:lnTo>
                      <a:lnTo>
                        <a:pt x="0" y="1"/>
                      </a:lnTo>
                      <a:lnTo>
                        <a:pt x="2" y="0"/>
                      </a:lnTo>
                      <a:lnTo>
                        <a:pt x="4" y="0"/>
                      </a:lnTo>
                      <a:lnTo>
                        <a:pt x="5"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3" name="Freeform 228"/>
                <p:cNvSpPr>
                  <a:spLocks/>
                </p:cNvSpPr>
                <p:nvPr/>
              </p:nvSpPr>
              <p:spPr bwMode="auto">
                <a:xfrm>
                  <a:off x="8869874" y="4992772"/>
                  <a:ext cx="5919" cy="8879"/>
                </a:xfrm>
                <a:custGeom>
                  <a:avLst/>
                  <a:gdLst>
                    <a:gd name="T0" fmla="*/ 2147483647 w 4"/>
                    <a:gd name="T1" fmla="*/ 2147483647 h 6"/>
                    <a:gd name="T2" fmla="*/ 2147483647 w 4"/>
                    <a:gd name="T3" fmla="*/ 2147483647 h 6"/>
                    <a:gd name="T4" fmla="*/ 2147483647 w 4"/>
                    <a:gd name="T5" fmla="*/ 2147483647 h 6"/>
                    <a:gd name="T6" fmla="*/ 0 w 4"/>
                    <a:gd name="T7" fmla="*/ 2147483647 h 6"/>
                    <a:gd name="T8" fmla="*/ 0 w 4"/>
                    <a:gd name="T9" fmla="*/ 2147483647 h 6"/>
                    <a:gd name="T10" fmla="*/ 0 w 4"/>
                    <a:gd name="T11" fmla="*/ 0 h 6"/>
                    <a:gd name="T12" fmla="*/ 2147483647 w 4"/>
                    <a:gd name="T13" fmla="*/ 0 h 6"/>
                    <a:gd name="T14" fmla="*/ 2147483647 w 4"/>
                    <a:gd name="T15" fmla="*/ 0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4"/>
                      </a:moveTo>
                      <a:lnTo>
                        <a:pt x="2" y="5"/>
                      </a:lnTo>
                      <a:lnTo>
                        <a:pt x="2" y="6"/>
                      </a:lnTo>
                      <a:lnTo>
                        <a:pt x="0" y="5"/>
                      </a:lnTo>
                      <a:lnTo>
                        <a:pt x="0" y="4"/>
                      </a:lnTo>
                      <a:lnTo>
                        <a:pt x="0" y="0"/>
                      </a:lnTo>
                      <a:lnTo>
                        <a:pt x="1" y="0"/>
                      </a:lnTo>
                      <a:lnTo>
                        <a:pt x="2" y="0"/>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4" name="Freeform 229"/>
                <p:cNvSpPr>
                  <a:spLocks/>
                </p:cNvSpPr>
                <p:nvPr/>
              </p:nvSpPr>
              <p:spPr bwMode="auto">
                <a:xfrm>
                  <a:off x="9056340" y="4878819"/>
                  <a:ext cx="7399"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2147483647 w 6"/>
                    <a:gd name="T15" fmla="*/ 2147483647 h 7"/>
                    <a:gd name="T16" fmla="*/ 2147483647 w 6"/>
                    <a:gd name="T17" fmla="*/ 0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5" y="4"/>
                      </a:moveTo>
                      <a:lnTo>
                        <a:pt x="6" y="5"/>
                      </a:lnTo>
                      <a:lnTo>
                        <a:pt x="5" y="6"/>
                      </a:lnTo>
                      <a:lnTo>
                        <a:pt x="5" y="7"/>
                      </a:lnTo>
                      <a:lnTo>
                        <a:pt x="2" y="6"/>
                      </a:lnTo>
                      <a:lnTo>
                        <a:pt x="1" y="5"/>
                      </a:lnTo>
                      <a:lnTo>
                        <a:pt x="0" y="3"/>
                      </a:lnTo>
                      <a:lnTo>
                        <a:pt x="1" y="1"/>
                      </a:lnTo>
                      <a:lnTo>
                        <a:pt x="2" y="0"/>
                      </a:lnTo>
                      <a:lnTo>
                        <a:pt x="3" y="1"/>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5" name="Freeform 230"/>
                <p:cNvSpPr>
                  <a:spLocks/>
                </p:cNvSpPr>
                <p:nvPr/>
              </p:nvSpPr>
              <p:spPr bwMode="auto">
                <a:xfrm>
                  <a:off x="8868395" y="4991294"/>
                  <a:ext cx="4440" cy="8879"/>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0 w 4"/>
                    <a:gd name="T11" fmla="*/ 2147483647 h 6"/>
                    <a:gd name="T12" fmla="*/ 0 w 4"/>
                    <a:gd name="T13" fmla="*/ 2147483647 h 6"/>
                    <a:gd name="T14" fmla="*/ 0 w 4"/>
                    <a:gd name="T15" fmla="*/ 0 h 6"/>
                    <a:gd name="T16" fmla="*/ 0 w 4"/>
                    <a:gd name="T17" fmla="*/ 0 h 6"/>
                    <a:gd name="T18" fmla="*/ 2147483647 w 4"/>
                    <a:gd name="T19" fmla="*/ 0 h 6"/>
                    <a:gd name="T20" fmla="*/ 2147483647 w 4"/>
                    <a:gd name="T21" fmla="*/ 0 h 6"/>
                    <a:gd name="T22" fmla="*/ 2147483647 w 4"/>
                    <a:gd name="T23" fmla="*/ 2147483647 h 6"/>
                    <a:gd name="T24" fmla="*/ 2147483647 w 4"/>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4" y="4"/>
                      </a:moveTo>
                      <a:lnTo>
                        <a:pt x="4" y="4"/>
                      </a:lnTo>
                      <a:lnTo>
                        <a:pt x="3" y="5"/>
                      </a:lnTo>
                      <a:lnTo>
                        <a:pt x="3" y="6"/>
                      </a:lnTo>
                      <a:lnTo>
                        <a:pt x="0" y="5"/>
                      </a:lnTo>
                      <a:lnTo>
                        <a:pt x="0" y="4"/>
                      </a:lnTo>
                      <a:lnTo>
                        <a:pt x="0" y="0"/>
                      </a:lnTo>
                      <a:lnTo>
                        <a:pt x="2" y="0"/>
                      </a:lnTo>
                      <a:lnTo>
                        <a:pt x="3" y="0"/>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6" name="Freeform 231"/>
                <p:cNvSpPr>
                  <a:spLocks/>
                </p:cNvSpPr>
                <p:nvPr/>
              </p:nvSpPr>
              <p:spPr bwMode="auto">
                <a:xfrm>
                  <a:off x="9053377" y="4877341"/>
                  <a:ext cx="10359" cy="10360"/>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2147483647 w 7"/>
                    <a:gd name="T9" fmla="*/ 2147483647 h 7"/>
                    <a:gd name="T10" fmla="*/ 2147483647 w 7"/>
                    <a:gd name="T11" fmla="*/ 2147483647 h 7"/>
                    <a:gd name="T12" fmla="*/ 2147483647 w 7"/>
                    <a:gd name="T13" fmla="*/ 2147483647 h 7"/>
                    <a:gd name="T14" fmla="*/ 2147483647 w 7"/>
                    <a:gd name="T15" fmla="*/ 2147483647 h 7"/>
                    <a:gd name="T16" fmla="*/ 2147483647 w 7"/>
                    <a:gd name="T17" fmla="*/ 2147483647 h 7"/>
                    <a:gd name="T18" fmla="*/ 0 w 7"/>
                    <a:gd name="T19" fmla="*/ 2147483647 h 7"/>
                    <a:gd name="T20" fmla="*/ 2147483647 w 7"/>
                    <a:gd name="T21" fmla="*/ 2147483647 h 7"/>
                    <a:gd name="T22" fmla="*/ 2147483647 w 7"/>
                    <a:gd name="T23" fmla="*/ 2147483647 h 7"/>
                    <a:gd name="T24" fmla="*/ 2147483647 w 7"/>
                    <a:gd name="T25" fmla="*/ 0 h 7"/>
                    <a:gd name="T26" fmla="*/ 2147483647 w 7"/>
                    <a:gd name="T27" fmla="*/ 2147483647 h 7"/>
                    <a:gd name="T28" fmla="*/ 2147483647 w 7"/>
                    <a:gd name="T29" fmla="*/ 2147483647 h 7"/>
                    <a:gd name="T30" fmla="*/ 2147483647 w 7"/>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7"/>
                    <a:gd name="T50" fmla="*/ 7 w 7"/>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7">
                      <a:moveTo>
                        <a:pt x="5" y="4"/>
                      </a:moveTo>
                      <a:lnTo>
                        <a:pt x="5" y="4"/>
                      </a:lnTo>
                      <a:lnTo>
                        <a:pt x="7" y="5"/>
                      </a:lnTo>
                      <a:lnTo>
                        <a:pt x="5" y="6"/>
                      </a:lnTo>
                      <a:lnTo>
                        <a:pt x="5" y="7"/>
                      </a:lnTo>
                      <a:lnTo>
                        <a:pt x="3" y="6"/>
                      </a:lnTo>
                      <a:lnTo>
                        <a:pt x="2" y="5"/>
                      </a:lnTo>
                      <a:lnTo>
                        <a:pt x="0" y="2"/>
                      </a:lnTo>
                      <a:lnTo>
                        <a:pt x="2" y="1"/>
                      </a:lnTo>
                      <a:lnTo>
                        <a:pt x="3" y="0"/>
                      </a:lnTo>
                      <a:lnTo>
                        <a:pt x="4" y="1"/>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7" name="Freeform 232"/>
                <p:cNvSpPr>
                  <a:spLocks/>
                </p:cNvSpPr>
                <p:nvPr/>
              </p:nvSpPr>
              <p:spPr bwMode="auto">
                <a:xfrm>
                  <a:off x="9031178" y="4858105"/>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5" y="6"/>
                      </a:lnTo>
                      <a:lnTo>
                        <a:pt x="4" y="6"/>
                      </a:lnTo>
                      <a:lnTo>
                        <a:pt x="2" y="6"/>
                      </a:lnTo>
                      <a:lnTo>
                        <a:pt x="0" y="2"/>
                      </a:lnTo>
                      <a:lnTo>
                        <a:pt x="1" y="0"/>
                      </a:lnTo>
                      <a:lnTo>
                        <a:pt x="4" y="0"/>
                      </a:lnTo>
                      <a:lnTo>
                        <a:pt x="5" y="1"/>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8" name="Freeform 233"/>
                <p:cNvSpPr>
                  <a:spLocks/>
                </p:cNvSpPr>
                <p:nvPr/>
              </p:nvSpPr>
              <p:spPr bwMode="auto">
                <a:xfrm>
                  <a:off x="8763326" y="4797426"/>
                  <a:ext cx="7399" cy="5919"/>
                </a:xfrm>
                <a:custGeom>
                  <a:avLst/>
                  <a:gdLst>
                    <a:gd name="T0" fmla="*/ 2147483647 w 5"/>
                    <a:gd name="T1" fmla="*/ 2147483647 h 4"/>
                    <a:gd name="T2" fmla="*/ 2147483647 w 5"/>
                    <a:gd name="T3" fmla="*/ 2147483647 h 4"/>
                    <a:gd name="T4" fmla="*/ 2147483647 w 5"/>
                    <a:gd name="T5" fmla="*/ 2147483647 h 4"/>
                    <a:gd name="T6" fmla="*/ 0 w 5"/>
                    <a:gd name="T7" fmla="*/ 2147483647 h 4"/>
                    <a:gd name="T8" fmla="*/ 0 w 5"/>
                    <a:gd name="T9" fmla="*/ 2147483647 h 4"/>
                    <a:gd name="T10" fmla="*/ 2147483647 w 5"/>
                    <a:gd name="T11" fmla="*/ 0 h 4"/>
                    <a:gd name="T12" fmla="*/ 2147483647 w 5"/>
                    <a:gd name="T13" fmla="*/ 0 h 4"/>
                    <a:gd name="T14" fmla="*/ 2147483647 w 5"/>
                    <a:gd name="T15" fmla="*/ 2147483647 h 4"/>
                    <a:gd name="T16" fmla="*/ 2147483647 w 5"/>
                    <a:gd name="T17" fmla="*/ 2147483647 h 4"/>
                    <a:gd name="T18" fmla="*/ 2147483647 w 5"/>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4"/>
                    <a:gd name="T32" fmla="*/ 5 w 5"/>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4">
                      <a:moveTo>
                        <a:pt x="4" y="3"/>
                      </a:moveTo>
                      <a:lnTo>
                        <a:pt x="3" y="4"/>
                      </a:lnTo>
                      <a:lnTo>
                        <a:pt x="2" y="4"/>
                      </a:lnTo>
                      <a:lnTo>
                        <a:pt x="0" y="2"/>
                      </a:lnTo>
                      <a:lnTo>
                        <a:pt x="0" y="1"/>
                      </a:lnTo>
                      <a:lnTo>
                        <a:pt x="2" y="0"/>
                      </a:lnTo>
                      <a:lnTo>
                        <a:pt x="3" y="0"/>
                      </a:lnTo>
                      <a:lnTo>
                        <a:pt x="5" y="2"/>
                      </a:lnTo>
                      <a:lnTo>
                        <a:pt x="5" y="3"/>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39" name="Freeform 234"/>
                <p:cNvSpPr>
                  <a:spLocks/>
                </p:cNvSpPr>
                <p:nvPr/>
              </p:nvSpPr>
              <p:spPr bwMode="auto">
                <a:xfrm>
                  <a:off x="9029703" y="4856625"/>
                  <a:ext cx="739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2147483647 w 5"/>
                    <a:gd name="T15" fmla="*/ 0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5" y="6"/>
                      </a:lnTo>
                      <a:lnTo>
                        <a:pt x="3" y="6"/>
                      </a:lnTo>
                      <a:lnTo>
                        <a:pt x="2" y="6"/>
                      </a:lnTo>
                      <a:lnTo>
                        <a:pt x="0" y="2"/>
                      </a:lnTo>
                      <a:lnTo>
                        <a:pt x="1" y="0"/>
                      </a:lnTo>
                      <a:lnTo>
                        <a:pt x="3" y="0"/>
                      </a:lnTo>
                      <a:lnTo>
                        <a:pt x="5" y="1"/>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0" name="Freeform 235"/>
                <p:cNvSpPr>
                  <a:spLocks/>
                </p:cNvSpPr>
                <p:nvPr/>
              </p:nvSpPr>
              <p:spPr bwMode="auto">
                <a:xfrm>
                  <a:off x="8761842" y="4794466"/>
                  <a:ext cx="7400" cy="7400"/>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0 w 5"/>
                    <a:gd name="T9" fmla="*/ 2147483647 h 5"/>
                    <a:gd name="T10" fmla="*/ 0 w 5"/>
                    <a:gd name="T11" fmla="*/ 2147483647 h 5"/>
                    <a:gd name="T12" fmla="*/ 0 w 5"/>
                    <a:gd name="T13" fmla="*/ 2147483647 h 5"/>
                    <a:gd name="T14" fmla="*/ 2147483647 w 5"/>
                    <a:gd name="T15" fmla="*/ 0 h 5"/>
                    <a:gd name="T16" fmla="*/ 2147483647 w 5"/>
                    <a:gd name="T17" fmla="*/ 0 h 5"/>
                    <a:gd name="T18" fmla="*/ 2147483647 w 5"/>
                    <a:gd name="T19" fmla="*/ 0 h 5"/>
                    <a:gd name="T20" fmla="*/ 2147483647 w 5"/>
                    <a:gd name="T21" fmla="*/ 2147483647 h 5"/>
                    <a:gd name="T22" fmla="*/ 2147483647 w 5"/>
                    <a:gd name="T23" fmla="*/ 2147483647 h 5"/>
                    <a:gd name="T24" fmla="*/ 2147483647 w 5"/>
                    <a:gd name="T25" fmla="*/ 2147483647 h 5"/>
                    <a:gd name="T26" fmla="*/ 2147483647 w 5"/>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5"/>
                    <a:gd name="T44" fmla="*/ 5 w 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5">
                      <a:moveTo>
                        <a:pt x="4" y="4"/>
                      </a:moveTo>
                      <a:lnTo>
                        <a:pt x="4" y="4"/>
                      </a:lnTo>
                      <a:lnTo>
                        <a:pt x="3" y="5"/>
                      </a:lnTo>
                      <a:lnTo>
                        <a:pt x="1" y="5"/>
                      </a:lnTo>
                      <a:lnTo>
                        <a:pt x="0" y="3"/>
                      </a:lnTo>
                      <a:lnTo>
                        <a:pt x="0" y="2"/>
                      </a:lnTo>
                      <a:lnTo>
                        <a:pt x="1" y="0"/>
                      </a:lnTo>
                      <a:lnTo>
                        <a:pt x="3" y="0"/>
                      </a:lnTo>
                      <a:lnTo>
                        <a:pt x="5" y="3"/>
                      </a:lnTo>
                      <a:lnTo>
                        <a:pt x="5" y="4"/>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1" name="Freeform 236"/>
                <p:cNvSpPr>
                  <a:spLocks/>
                </p:cNvSpPr>
                <p:nvPr/>
              </p:nvSpPr>
              <p:spPr bwMode="auto">
                <a:xfrm>
                  <a:off x="8778124" y="4818148"/>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0 w 7"/>
                    <a:gd name="T11" fmla="*/ 2147483647 h 6"/>
                    <a:gd name="T12" fmla="*/ 0 w 7"/>
                    <a:gd name="T13" fmla="*/ 2147483647 h 6"/>
                    <a:gd name="T14" fmla="*/ 2147483647 w 7"/>
                    <a:gd name="T15" fmla="*/ 0 h 6"/>
                    <a:gd name="T16" fmla="*/ 2147483647 w 7"/>
                    <a:gd name="T17" fmla="*/ 0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6" y="2"/>
                      </a:moveTo>
                      <a:lnTo>
                        <a:pt x="7" y="3"/>
                      </a:lnTo>
                      <a:lnTo>
                        <a:pt x="6" y="4"/>
                      </a:lnTo>
                      <a:lnTo>
                        <a:pt x="3" y="6"/>
                      </a:lnTo>
                      <a:lnTo>
                        <a:pt x="2" y="4"/>
                      </a:lnTo>
                      <a:lnTo>
                        <a:pt x="0" y="2"/>
                      </a:lnTo>
                      <a:lnTo>
                        <a:pt x="0" y="1"/>
                      </a:lnTo>
                      <a:lnTo>
                        <a:pt x="3" y="0"/>
                      </a:lnTo>
                      <a:lnTo>
                        <a:pt x="4" y="0"/>
                      </a:lnTo>
                      <a:lnTo>
                        <a:pt x="4" y="1"/>
                      </a:lnTo>
                      <a:lnTo>
                        <a:pt x="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2" name="Freeform 237"/>
                <p:cNvSpPr>
                  <a:spLocks/>
                </p:cNvSpPr>
                <p:nvPr/>
              </p:nvSpPr>
              <p:spPr bwMode="auto">
                <a:xfrm>
                  <a:off x="8815117" y="4821108"/>
                  <a:ext cx="5919" cy="8879"/>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5"/>
                      </a:moveTo>
                      <a:lnTo>
                        <a:pt x="4" y="6"/>
                      </a:lnTo>
                      <a:lnTo>
                        <a:pt x="1" y="6"/>
                      </a:lnTo>
                      <a:lnTo>
                        <a:pt x="0" y="4"/>
                      </a:lnTo>
                      <a:lnTo>
                        <a:pt x="0" y="2"/>
                      </a:lnTo>
                      <a:lnTo>
                        <a:pt x="1" y="0"/>
                      </a:lnTo>
                      <a:lnTo>
                        <a:pt x="3" y="0"/>
                      </a:lnTo>
                      <a:lnTo>
                        <a:pt x="5" y="1"/>
                      </a:lnTo>
                      <a:lnTo>
                        <a:pt x="5"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3" name="Freeform 238"/>
                <p:cNvSpPr>
                  <a:spLocks/>
                </p:cNvSpPr>
                <p:nvPr/>
              </p:nvSpPr>
              <p:spPr bwMode="auto">
                <a:xfrm>
                  <a:off x="8776643" y="4816668"/>
                  <a:ext cx="8879" cy="7399"/>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0 w 7"/>
                    <a:gd name="T15" fmla="*/ 2147483647 h 5"/>
                    <a:gd name="T16" fmla="*/ 0 w 7"/>
                    <a:gd name="T17" fmla="*/ 2147483647 h 5"/>
                    <a:gd name="T18" fmla="*/ 0 w 7"/>
                    <a:gd name="T19" fmla="*/ 2147483647 h 5"/>
                    <a:gd name="T20" fmla="*/ 0 w 7"/>
                    <a:gd name="T21" fmla="*/ 2147483647 h 5"/>
                    <a:gd name="T22" fmla="*/ 2147483647 w 7"/>
                    <a:gd name="T23" fmla="*/ 0 h 5"/>
                    <a:gd name="T24" fmla="*/ 2147483647 w 7"/>
                    <a:gd name="T25" fmla="*/ 0 h 5"/>
                    <a:gd name="T26" fmla="*/ 2147483647 w 7"/>
                    <a:gd name="T27" fmla="*/ 0 h 5"/>
                    <a:gd name="T28" fmla="*/ 2147483647 w 7"/>
                    <a:gd name="T29" fmla="*/ 2147483647 h 5"/>
                    <a:gd name="T30" fmla="*/ 2147483647 w 7"/>
                    <a:gd name="T31" fmla="*/ 2147483647 h 5"/>
                    <a:gd name="T32" fmla="*/ 2147483647 w 7"/>
                    <a:gd name="T33" fmla="*/ 2147483647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5"/>
                    <a:gd name="T53" fmla="*/ 7 w 7"/>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5">
                      <a:moveTo>
                        <a:pt x="5" y="2"/>
                      </a:moveTo>
                      <a:lnTo>
                        <a:pt x="5" y="2"/>
                      </a:lnTo>
                      <a:lnTo>
                        <a:pt x="7" y="3"/>
                      </a:lnTo>
                      <a:lnTo>
                        <a:pt x="5" y="4"/>
                      </a:lnTo>
                      <a:lnTo>
                        <a:pt x="3" y="5"/>
                      </a:lnTo>
                      <a:lnTo>
                        <a:pt x="1" y="4"/>
                      </a:lnTo>
                      <a:lnTo>
                        <a:pt x="0" y="2"/>
                      </a:lnTo>
                      <a:lnTo>
                        <a:pt x="0" y="1"/>
                      </a:lnTo>
                      <a:lnTo>
                        <a:pt x="3" y="0"/>
                      </a:lnTo>
                      <a:lnTo>
                        <a:pt x="4" y="0"/>
                      </a:lnTo>
                      <a:lnTo>
                        <a:pt x="4" y="1"/>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4" name="Freeform 239"/>
                <p:cNvSpPr>
                  <a:spLocks/>
                </p:cNvSpPr>
                <p:nvPr/>
              </p:nvSpPr>
              <p:spPr bwMode="auto">
                <a:xfrm>
                  <a:off x="8813638" y="4819629"/>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0 w 5"/>
                    <a:gd name="T15" fmla="*/ 2147483647 h 6"/>
                    <a:gd name="T16" fmla="*/ 2147483647 w 5"/>
                    <a:gd name="T17" fmla="*/ 0 h 6"/>
                    <a:gd name="T18" fmla="*/ 2147483647 w 5"/>
                    <a:gd name="T19" fmla="*/ 0 h 6"/>
                    <a:gd name="T20" fmla="*/ 2147483647 w 5"/>
                    <a:gd name="T21" fmla="*/ 0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5"/>
                      </a:moveTo>
                      <a:lnTo>
                        <a:pt x="5" y="5"/>
                      </a:lnTo>
                      <a:lnTo>
                        <a:pt x="4" y="6"/>
                      </a:lnTo>
                      <a:lnTo>
                        <a:pt x="1" y="6"/>
                      </a:lnTo>
                      <a:lnTo>
                        <a:pt x="0" y="3"/>
                      </a:lnTo>
                      <a:lnTo>
                        <a:pt x="0" y="2"/>
                      </a:lnTo>
                      <a:lnTo>
                        <a:pt x="1" y="0"/>
                      </a:lnTo>
                      <a:lnTo>
                        <a:pt x="2" y="0"/>
                      </a:lnTo>
                      <a:lnTo>
                        <a:pt x="5" y="1"/>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5" name="Freeform 240"/>
                <p:cNvSpPr>
                  <a:spLocks/>
                </p:cNvSpPr>
                <p:nvPr/>
              </p:nvSpPr>
              <p:spPr bwMode="auto">
                <a:xfrm>
                  <a:off x="8815117" y="4840346"/>
                  <a:ext cx="5919" cy="7399"/>
                </a:xfrm>
                <a:custGeom>
                  <a:avLst/>
                  <a:gdLst>
                    <a:gd name="T0" fmla="*/ 2147483647 w 4"/>
                    <a:gd name="T1" fmla="*/ 2147483647 h 5"/>
                    <a:gd name="T2" fmla="*/ 2147483647 w 4"/>
                    <a:gd name="T3" fmla="*/ 2147483647 h 5"/>
                    <a:gd name="T4" fmla="*/ 2147483647 w 4"/>
                    <a:gd name="T5" fmla="*/ 2147483647 h 5"/>
                    <a:gd name="T6" fmla="*/ 0 w 4"/>
                    <a:gd name="T7" fmla="*/ 2147483647 h 5"/>
                    <a:gd name="T8" fmla="*/ 0 w 4"/>
                    <a:gd name="T9" fmla="*/ 2147483647 h 5"/>
                    <a:gd name="T10" fmla="*/ 2147483647 w 4"/>
                    <a:gd name="T11" fmla="*/ 0 h 5"/>
                    <a:gd name="T12" fmla="*/ 2147483647 w 4"/>
                    <a:gd name="T13" fmla="*/ 2147483647 h 5"/>
                    <a:gd name="T14" fmla="*/ 2147483647 w 4"/>
                    <a:gd name="T15" fmla="*/ 2147483647 h 5"/>
                    <a:gd name="T16" fmla="*/ 2147483647 w 4"/>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5"/>
                    <a:gd name="T29" fmla="*/ 4 w 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5">
                      <a:moveTo>
                        <a:pt x="4" y="4"/>
                      </a:moveTo>
                      <a:lnTo>
                        <a:pt x="3" y="5"/>
                      </a:lnTo>
                      <a:lnTo>
                        <a:pt x="2" y="4"/>
                      </a:lnTo>
                      <a:lnTo>
                        <a:pt x="0" y="3"/>
                      </a:lnTo>
                      <a:lnTo>
                        <a:pt x="0" y="1"/>
                      </a:lnTo>
                      <a:lnTo>
                        <a:pt x="2" y="0"/>
                      </a:lnTo>
                      <a:lnTo>
                        <a:pt x="3" y="1"/>
                      </a:lnTo>
                      <a:lnTo>
                        <a:pt x="4" y="3"/>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6" name="Freeform 241"/>
                <p:cNvSpPr>
                  <a:spLocks/>
                </p:cNvSpPr>
                <p:nvPr/>
              </p:nvSpPr>
              <p:spPr bwMode="auto">
                <a:xfrm>
                  <a:off x="8831397" y="4856620"/>
                  <a:ext cx="5919" cy="11839"/>
                </a:xfrm>
                <a:custGeom>
                  <a:avLst/>
                  <a:gdLst>
                    <a:gd name="T0" fmla="*/ 2147483647 w 5"/>
                    <a:gd name="T1" fmla="*/ 2147483647 h 8"/>
                    <a:gd name="T2" fmla="*/ 2147483647 w 5"/>
                    <a:gd name="T3" fmla="*/ 2147483647 h 8"/>
                    <a:gd name="T4" fmla="*/ 2147483647 w 5"/>
                    <a:gd name="T5" fmla="*/ 2147483647 h 8"/>
                    <a:gd name="T6" fmla="*/ 0 w 5"/>
                    <a:gd name="T7" fmla="*/ 2147483647 h 8"/>
                    <a:gd name="T8" fmla="*/ 0 w 5"/>
                    <a:gd name="T9" fmla="*/ 2147483647 h 8"/>
                    <a:gd name="T10" fmla="*/ 2147483647 w 5"/>
                    <a:gd name="T11" fmla="*/ 0 h 8"/>
                    <a:gd name="T12" fmla="*/ 2147483647 w 5"/>
                    <a:gd name="T13" fmla="*/ 0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6"/>
                      </a:moveTo>
                      <a:lnTo>
                        <a:pt x="3" y="7"/>
                      </a:lnTo>
                      <a:lnTo>
                        <a:pt x="2" y="8"/>
                      </a:lnTo>
                      <a:lnTo>
                        <a:pt x="0" y="3"/>
                      </a:lnTo>
                      <a:lnTo>
                        <a:pt x="0" y="1"/>
                      </a:lnTo>
                      <a:lnTo>
                        <a:pt x="2" y="0"/>
                      </a:lnTo>
                      <a:lnTo>
                        <a:pt x="3" y="0"/>
                      </a:lnTo>
                      <a:lnTo>
                        <a:pt x="3" y="1"/>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7" name="Freeform 242"/>
                <p:cNvSpPr>
                  <a:spLocks/>
                </p:cNvSpPr>
                <p:nvPr/>
              </p:nvSpPr>
              <p:spPr bwMode="auto">
                <a:xfrm>
                  <a:off x="8815119" y="4838862"/>
                  <a:ext cx="4440" cy="7400"/>
                </a:xfrm>
                <a:custGeom>
                  <a:avLst/>
                  <a:gdLst>
                    <a:gd name="T0" fmla="*/ 2147483647 w 4"/>
                    <a:gd name="T1" fmla="*/ 2147483647 h 5"/>
                    <a:gd name="T2" fmla="*/ 2147483647 w 4"/>
                    <a:gd name="T3" fmla="*/ 2147483647 h 5"/>
                    <a:gd name="T4" fmla="*/ 2147483647 w 4"/>
                    <a:gd name="T5" fmla="*/ 2147483647 h 5"/>
                    <a:gd name="T6" fmla="*/ 2147483647 w 4"/>
                    <a:gd name="T7" fmla="*/ 2147483647 h 5"/>
                    <a:gd name="T8" fmla="*/ 0 w 4"/>
                    <a:gd name="T9" fmla="*/ 2147483647 h 5"/>
                    <a:gd name="T10" fmla="*/ 0 w 4"/>
                    <a:gd name="T11" fmla="*/ 2147483647 h 5"/>
                    <a:gd name="T12" fmla="*/ 0 w 4"/>
                    <a:gd name="T13" fmla="*/ 2147483647 h 5"/>
                    <a:gd name="T14" fmla="*/ 2147483647 w 4"/>
                    <a:gd name="T15" fmla="*/ 0 h 5"/>
                    <a:gd name="T16" fmla="*/ 2147483647 w 4"/>
                    <a:gd name="T17" fmla="*/ 2147483647 h 5"/>
                    <a:gd name="T18" fmla="*/ 2147483647 w 4"/>
                    <a:gd name="T19" fmla="*/ 2147483647 h 5"/>
                    <a:gd name="T20" fmla="*/ 2147483647 w 4"/>
                    <a:gd name="T21" fmla="*/ 2147483647 h 5"/>
                    <a:gd name="T22" fmla="*/ 2147483647 w 4"/>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5"/>
                    <a:gd name="T38" fmla="*/ 4 w 4"/>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5">
                      <a:moveTo>
                        <a:pt x="4" y="4"/>
                      </a:moveTo>
                      <a:lnTo>
                        <a:pt x="4" y="4"/>
                      </a:lnTo>
                      <a:lnTo>
                        <a:pt x="3" y="5"/>
                      </a:lnTo>
                      <a:lnTo>
                        <a:pt x="1" y="4"/>
                      </a:lnTo>
                      <a:lnTo>
                        <a:pt x="0" y="2"/>
                      </a:lnTo>
                      <a:lnTo>
                        <a:pt x="0" y="1"/>
                      </a:lnTo>
                      <a:lnTo>
                        <a:pt x="1" y="0"/>
                      </a:lnTo>
                      <a:lnTo>
                        <a:pt x="3" y="1"/>
                      </a:lnTo>
                      <a:lnTo>
                        <a:pt x="4" y="2"/>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8" name="Freeform 243"/>
                <p:cNvSpPr>
                  <a:spLocks/>
                </p:cNvSpPr>
                <p:nvPr/>
              </p:nvSpPr>
              <p:spPr bwMode="auto">
                <a:xfrm>
                  <a:off x="8828436" y="4855141"/>
                  <a:ext cx="5919"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0 w 5"/>
                    <a:gd name="T11" fmla="*/ 2147483647 h 8"/>
                    <a:gd name="T12" fmla="*/ 0 w 5"/>
                    <a:gd name="T13" fmla="*/ 2147483647 h 8"/>
                    <a:gd name="T14" fmla="*/ 2147483647 w 5"/>
                    <a:gd name="T15" fmla="*/ 0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8"/>
                    <a:gd name="T41" fmla="*/ 5 w 5"/>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8">
                      <a:moveTo>
                        <a:pt x="5" y="6"/>
                      </a:moveTo>
                      <a:lnTo>
                        <a:pt x="5" y="6"/>
                      </a:lnTo>
                      <a:lnTo>
                        <a:pt x="4" y="7"/>
                      </a:lnTo>
                      <a:lnTo>
                        <a:pt x="3" y="8"/>
                      </a:lnTo>
                      <a:lnTo>
                        <a:pt x="0" y="3"/>
                      </a:lnTo>
                      <a:lnTo>
                        <a:pt x="0" y="1"/>
                      </a:lnTo>
                      <a:lnTo>
                        <a:pt x="3" y="0"/>
                      </a:lnTo>
                      <a:lnTo>
                        <a:pt x="4" y="0"/>
                      </a:lnTo>
                      <a:lnTo>
                        <a:pt x="4" y="1"/>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49" name="Freeform 244"/>
                <p:cNvSpPr>
                  <a:spLocks/>
                </p:cNvSpPr>
                <p:nvPr/>
              </p:nvSpPr>
              <p:spPr bwMode="auto">
                <a:xfrm>
                  <a:off x="8172853" y="4695320"/>
                  <a:ext cx="47356" cy="57714"/>
                </a:xfrm>
                <a:custGeom>
                  <a:avLst/>
                  <a:gdLst>
                    <a:gd name="T0" fmla="*/ 2147483647 w 35"/>
                    <a:gd name="T1" fmla="*/ 2147483647 h 39"/>
                    <a:gd name="T2" fmla="*/ 2147483647 w 35"/>
                    <a:gd name="T3" fmla="*/ 2147483647 h 39"/>
                    <a:gd name="T4" fmla="*/ 2147483647 w 35"/>
                    <a:gd name="T5" fmla="*/ 2147483647 h 39"/>
                    <a:gd name="T6" fmla="*/ 2147483647 w 35"/>
                    <a:gd name="T7" fmla="*/ 2147483647 h 39"/>
                    <a:gd name="T8" fmla="*/ 2147483647 w 35"/>
                    <a:gd name="T9" fmla="*/ 2147483647 h 39"/>
                    <a:gd name="T10" fmla="*/ 2147483647 w 35"/>
                    <a:gd name="T11" fmla="*/ 2147483647 h 39"/>
                    <a:gd name="T12" fmla="*/ 2147483647 w 35"/>
                    <a:gd name="T13" fmla="*/ 2147483647 h 39"/>
                    <a:gd name="T14" fmla="*/ 2147483647 w 35"/>
                    <a:gd name="T15" fmla="*/ 2147483647 h 39"/>
                    <a:gd name="T16" fmla="*/ 2147483647 w 35"/>
                    <a:gd name="T17" fmla="*/ 2147483647 h 39"/>
                    <a:gd name="T18" fmla="*/ 2147483647 w 35"/>
                    <a:gd name="T19" fmla="*/ 2147483647 h 39"/>
                    <a:gd name="T20" fmla="*/ 2147483647 w 35"/>
                    <a:gd name="T21" fmla="*/ 2147483647 h 39"/>
                    <a:gd name="T22" fmla="*/ 2147483647 w 35"/>
                    <a:gd name="T23" fmla="*/ 0 h 39"/>
                    <a:gd name="T24" fmla="*/ 2147483647 w 35"/>
                    <a:gd name="T25" fmla="*/ 2147483647 h 39"/>
                    <a:gd name="T26" fmla="*/ 0 w 35"/>
                    <a:gd name="T27" fmla="*/ 2147483647 h 39"/>
                    <a:gd name="T28" fmla="*/ 2147483647 w 35"/>
                    <a:gd name="T29" fmla="*/ 2147483647 h 39"/>
                    <a:gd name="T30" fmla="*/ 2147483647 w 35"/>
                    <a:gd name="T31" fmla="*/ 2147483647 h 39"/>
                    <a:gd name="T32" fmla="*/ 2147483647 w 35"/>
                    <a:gd name="T33" fmla="*/ 2147483647 h 39"/>
                    <a:gd name="T34" fmla="*/ 2147483647 w 35"/>
                    <a:gd name="T35" fmla="*/ 2147483647 h 39"/>
                    <a:gd name="T36" fmla="*/ 2147483647 w 35"/>
                    <a:gd name="T37" fmla="*/ 2147483647 h 39"/>
                    <a:gd name="T38" fmla="*/ 2147483647 w 35"/>
                    <a:gd name="T39" fmla="*/ 2147483647 h 39"/>
                    <a:gd name="T40" fmla="*/ 2147483647 w 35"/>
                    <a:gd name="T41" fmla="*/ 2147483647 h 39"/>
                    <a:gd name="T42" fmla="*/ 2147483647 w 35"/>
                    <a:gd name="T43" fmla="*/ 2147483647 h 39"/>
                    <a:gd name="T44" fmla="*/ 2147483647 w 35"/>
                    <a:gd name="T45" fmla="*/ 2147483647 h 39"/>
                    <a:gd name="T46" fmla="*/ 2147483647 w 35"/>
                    <a:gd name="T47" fmla="*/ 2147483647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9"/>
                    <a:gd name="T74" fmla="*/ 35 w 35"/>
                    <a:gd name="T75" fmla="*/ 39 h 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9">
                      <a:moveTo>
                        <a:pt x="35" y="35"/>
                      </a:moveTo>
                      <a:lnTo>
                        <a:pt x="35" y="31"/>
                      </a:lnTo>
                      <a:lnTo>
                        <a:pt x="33" y="26"/>
                      </a:lnTo>
                      <a:lnTo>
                        <a:pt x="31" y="22"/>
                      </a:lnTo>
                      <a:lnTo>
                        <a:pt x="28" y="19"/>
                      </a:lnTo>
                      <a:lnTo>
                        <a:pt x="21" y="13"/>
                      </a:lnTo>
                      <a:lnTo>
                        <a:pt x="12" y="8"/>
                      </a:lnTo>
                      <a:lnTo>
                        <a:pt x="10" y="7"/>
                      </a:lnTo>
                      <a:lnTo>
                        <a:pt x="9" y="6"/>
                      </a:lnTo>
                      <a:lnTo>
                        <a:pt x="5" y="2"/>
                      </a:lnTo>
                      <a:lnTo>
                        <a:pt x="4" y="1"/>
                      </a:lnTo>
                      <a:lnTo>
                        <a:pt x="3" y="0"/>
                      </a:lnTo>
                      <a:lnTo>
                        <a:pt x="2" y="1"/>
                      </a:lnTo>
                      <a:lnTo>
                        <a:pt x="0" y="3"/>
                      </a:lnTo>
                      <a:lnTo>
                        <a:pt x="2" y="6"/>
                      </a:lnTo>
                      <a:lnTo>
                        <a:pt x="3" y="7"/>
                      </a:lnTo>
                      <a:lnTo>
                        <a:pt x="5" y="8"/>
                      </a:lnTo>
                      <a:lnTo>
                        <a:pt x="10" y="10"/>
                      </a:lnTo>
                      <a:lnTo>
                        <a:pt x="14" y="14"/>
                      </a:lnTo>
                      <a:lnTo>
                        <a:pt x="21" y="21"/>
                      </a:lnTo>
                      <a:lnTo>
                        <a:pt x="31" y="39"/>
                      </a:lnTo>
                      <a:lnTo>
                        <a:pt x="32" y="39"/>
                      </a:lnTo>
                      <a:lnTo>
                        <a:pt x="33" y="39"/>
                      </a:lnTo>
                      <a:lnTo>
                        <a:pt x="35" y="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0" name="Freeform 245"/>
                <p:cNvSpPr>
                  <a:spLocks/>
                </p:cNvSpPr>
                <p:nvPr/>
              </p:nvSpPr>
              <p:spPr bwMode="auto">
                <a:xfrm>
                  <a:off x="8152134" y="4886222"/>
                  <a:ext cx="7400"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4" y="1"/>
                      </a:moveTo>
                      <a:lnTo>
                        <a:pt x="6" y="4"/>
                      </a:lnTo>
                      <a:lnTo>
                        <a:pt x="5" y="5"/>
                      </a:lnTo>
                      <a:lnTo>
                        <a:pt x="1" y="6"/>
                      </a:lnTo>
                      <a:lnTo>
                        <a:pt x="0" y="5"/>
                      </a:lnTo>
                      <a:lnTo>
                        <a:pt x="0" y="4"/>
                      </a:lnTo>
                      <a:lnTo>
                        <a:pt x="0" y="1"/>
                      </a:lnTo>
                      <a:lnTo>
                        <a:pt x="1" y="0"/>
                      </a:lnTo>
                      <a:lnTo>
                        <a:pt x="4"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1" name="Freeform 246"/>
                <p:cNvSpPr>
                  <a:spLocks/>
                </p:cNvSpPr>
                <p:nvPr/>
              </p:nvSpPr>
              <p:spPr bwMode="auto">
                <a:xfrm>
                  <a:off x="8171374" y="4693837"/>
                  <a:ext cx="45876" cy="57715"/>
                </a:xfrm>
                <a:custGeom>
                  <a:avLst/>
                  <a:gdLst>
                    <a:gd name="T0" fmla="*/ 2147483647 w 34"/>
                    <a:gd name="T1" fmla="*/ 2147483647 h 39"/>
                    <a:gd name="T2" fmla="*/ 2147483647 w 34"/>
                    <a:gd name="T3" fmla="*/ 2147483647 h 39"/>
                    <a:gd name="T4" fmla="*/ 2147483647 w 34"/>
                    <a:gd name="T5" fmla="*/ 2147483647 h 39"/>
                    <a:gd name="T6" fmla="*/ 2147483647 w 34"/>
                    <a:gd name="T7" fmla="*/ 2147483647 h 39"/>
                    <a:gd name="T8" fmla="*/ 2147483647 w 34"/>
                    <a:gd name="T9" fmla="*/ 2147483647 h 39"/>
                    <a:gd name="T10" fmla="*/ 2147483647 w 34"/>
                    <a:gd name="T11" fmla="*/ 2147483647 h 39"/>
                    <a:gd name="T12" fmla="*/ 2147483647 w 34"/>
                    <a:gd name="T13" fmla="*/ 2147483647 h 39"/>
                    <a:gd name="T14" fmla="*/ 2147483647 w 34"/>
                    <a:gd name="T15" fmla="*/ 2147483647 h 39"/>
                    <a:gd name="T16" fmla="*/ 2147483647 w 34"/>
                    <a:gd name="T17" fmla="*/ 2147483647 h 39"/>
                    <a:gd name="T18" fmla="*/ 2147483647 w 34"/>
                    <a:gd name="T19" fmla="*/ 2147483647 h 39"/>
                    <a:gd name="T20" fmla="*/ 2147483647 w 34"/>
                    <a:gd name="T21" fmla="*/ 2147483647 h 39"/>
                    <a:gd name="T22" fmla="*/ 2147483647 w 34"/>
                    <a:gd name="T23" fmla="*/ 2147483647 h 39"/>
                    <a:gd name="T24" fmla="*/ 2147483647 w 34"/>
                    <a:gd name="T25" fmla="*/ 2147483647 h 39"/>
                    <a:gd name="T26" fmla="*/ 2147483647 w 34"/>
                    <a:gd name="T27" fmla="*/ 2147483647 h 39"/>
                    <a:gd name="T28" fmla="*/ 2147483647 w 34"/>
                    <a:gd name="T29" fmla="*/ 0 h 39"/>
                    <a:gd name="T30" fmla="*/ 2147483647 w 34"/>
                    <a:gd name="T31" fmla="*/ 2147483647 h 39"/>
                    <a:gd name="T32" fmla="*/ 2147483647 w 34"/>
                    <a:gd name="T33" fmla="*/ 2147483647 h 39"/>
                    <a:gd name="T34" fmla="*/ 0 w 34"/>
                    <a:gd name="T35" fmla="*/ 2147483647 h 39"/>
                    <a:gd name="T36" fmla="*/ 2147483647 w 34"/>
                    <a:gd name="T37" fmla="*/ 2147483647 h 39"/>
                    <a:gd name="T38" fmla="*/ 2147483647 w 34"/>
                    <a:gd name="T39" fmla="*/ 2147483647 h 39"/>
                    <a:gd name="T40" fmla="*/ 2147483647 w 34"/>
                    <a:gd name="T41" fmla="*/ 2147483647 h 39"/>
                    <a:gd name="T42" fmla="*/ 2147483647 w 34"/>
                    <a:gd name="T43" fmla="*/ 2147483647 h 39"/>
                    <a:gd name="T44" fmla="*/ 2147483647 w 34"/>
                    <a:gd name="T45" fmla="*/ 2147483647 h 39"/>
                    <a:gd name="T46" fmla="*/ 2147483647 w 34"/>
                    <a:gd name="T47" fmla="*/ 2147483647 h 39"/>
                    <a:gd name="T48" fmla="*/ 2147483647 w 34"/>
                    <a:gd name="T49" fmla="*/ 2147483647 h 39"/>
                    <a:gd name="T50" fmla="*/ 2147483647 w 34"/>
                    <a:gd name="T51" fmla="*/ 2147483647 h 39"/>
                    <a:gd name="T52" fmla="*/ 2147483647 w 34"/>
                    <a:gd name="T53" fmla="*/ 2147483647 h 39"/>
                    <a:gd name="T54" fmla="*/ 2147483647 w 34"/>
                    <a:gd name="T55" fmla="*/ 2147483647 h 39"/>
                    <a:gd name="T56" fmla="*/ 2147483647 w 34"/>
                    <a:gd name="T57" fmla="*/ 2147483647 h 39"/>
                    <a:gd name="T58" fmla="*/ 2147483647 w 34"/>
                    <a:gd name="T59" fmla="*/ 2147483647 h 39"/>
                    <a:gd name="T60" fmla="*/ 2147483647 w 34"/>
                    <a:gd name="T61" fmla="*/ 2147483647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9"/>
                    <a:gd name="T95" fmla="*/ 34 w 3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9">
                      <a:moveTo>
                        <a:pt x="34" y="35"/>
                      </a:moveTo>
                      <a:lnTo>
                        <a:pt x="34" y="35"/>
                      </a:lnTo>
                      <a:lnTo>
                        <a:pt x="34" y="30"/>
                      </a:lnTo>
                      <a:lnTo>
                        <a:pt x="33" y="26"/>
                      </a:lnTo>
                      <a:lnTo>
                        <a:pt x="30" y="22"/>
                      </a:lnTo>
                      <a:lnTo>
                        <a:pt x="28" y="19"/>
                      </a:lnTo>
                      <a:lnTo>
                        <a:pt x="20" y="13"/>
                      </a:lnTo>
                      <a:lnTo>
                        <a:pt x="11" y="8"/>
                      </a:lnTo>
                      <a:lnTo>
                        <a:pt x="10" y="7"/>
                      </a:lnTo>
                      <a:lnTo>
                        <a:pt x="9" y="5"/>
                      </a:lnTo>
                      <a:lnTo>
                        <a:pt x="5" y="2"/>
                      </a:lnTo>
                      <a:lnTo>
                        <a:pt x="4" y="1"/>
                      </a:lnTo>
                      <a:lnTo>
                        <a:pt x="3" y="0"/>
                      </a:lnTo>
                      <a:lnTo>
                        <a:pt x="1" y="1"/>
                      </a:lnTo>
                      <a:lnTo>
                        <a:pt x="0" y="3"/>
                      </a:lnTo>
                      <a:lnTo>
                        <a:pt x="1" y="5"/>
                      </a:lnTo>
                      <a:lnTo>
                        <a:pt x="3" y="7"/>
                      </a:lnTo>
                      <a:lnTo>
                        <a:pt x="5" y="8"/>
                      </a:lnTo>
                      <a:lnTo>
                        <a:pt x="10" y="10"/>
                      </a:lnTo>
                      <a:lnTo>
                        <a:pt x="14" y="14"/>
                      </a:lnTo>
                      <a:lnTo>
                        <a:pt x="20" y="21"/>
                      </a:lnTo>
                      <a:lnTo>
                        <a:pt x="30" y="39"/>
                      </a:lnTo>
                      <a:lnTo>
                        <a:pt x="32" y="39"/>
                      </a:lnTo>
                      <a:lnTo>
                        <a:pt x="33" y="39"/>
                      </a:lnTo>
                      <a:lnTo>
                        <a:pt x="34" y="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2" name="Freeform 247"/>
                <p:cNvSpPr>
                  <a:spLocks/>
                </p:cNvSpPr>
                <p:nvPr/>
              </p:nvSpPr>
              <p:spPr bwMode="auto">
                <a:xfrm>
                  <a:off x="8150659" y="4884742"/>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0 w 6"/>
                    <a:gd name="T21" fmla="*/ 2147483647 h 6"/>
                    <a:gd name="T22" fmla="*/ 2147483647 w 6"/>
                    <a:gd name="T23" fmla="*/ 0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4" y="1"/>
                      </a:moveTo>
                      <a:lnTo>
                        <a:pt x="4" y="1"/>
                      </a:lnTo>
                      <a:lnTo>
                        <a:pt x="6" y="3"/>
                      </a:lnTo>
                      <a:lnTo>
                        <a:pt x="5" y="5"/>
                      </a:lnTo>
                      <a:lnTo>
                        <a:pt x="1" y="6"/>
                      </a:lnTo>
                      <a:lnTo>
                        <a:pt x="0" y="5"/>
                      </a:lnTo>
                      <a:lnTo>
                        <a:pt x="0" y="3"/>
                      </a:lnTo>
                      <a:lnTo>
                        <a:pt x="0" y="1"/>
                      </a:lnTo>
                      <a:lnTo>
                        <a:pt x="1" y="0"/>
                      </a:lnTo>
                      <a:lnTo>
                        <a:pt x="4"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3" name="Freeform 248"/>
                <p:cNvSpPr>
                  <a:spLocks/>
                </p:cNvSpPr>
                <p:nvPr/>
              </p:nvSpPr>
              <p:spPr bwMode="auto">
                <a:xfrm>
                  <a:off x="8162495" y="4892138"/>
                  <a:ext cx="16278" cy="14799"/>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2147483647 w 12"/>
                    <a:gd name="T11" fmla="*/ 2147483647 h 10"/>
                    <a:gd name="T12" fmla="*/ 0 w 12"/>
                    <a:gd name="T13" fmla="*/ 2147483647 h 10"/>
                    <a:gd name="T14" fmla="*/ 0 w 12"/>
                    <a:gd name="T15" fmla="*/ 2147483647 h 10"/>
                    <a:gd name="T16" fmla="*/ 0 w 12"/>
                    <a:gd name="T17" fmla="*/ 2147483647 h 10"/>
                    <a:gd name="T18" fmla="*/ 2147483647 w 12"/>
                    <a:gd name="T19" fmla="*/ 2147483647 h 10"/>
                    <a:gd name="T20" fmla="*/ 2147483647 w 12"/>
                    <a:gd name="T21" fmla="*/ 0 h 10"/>
                    <a:gd name="T22" fmla="*/ 2147483647 w 12"/>
                    <a:gd name="T23" fmla="*/ 0 h 10"/>
                    <a:gd name="T24" fmla="*/ 2147483647 w 12"/>
                    <a:gd name="T25" fmla="*/ 2147483647 h 10"/>
                    <a:gd name="T26" fmla="*/ 2147483647 w 12"/>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0"/>
                    <a:gd name="T44" fmla="*/ 12 w 12"/>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0">
                      <a:moveTo>
                        <a:pt x="11" y="5"/>
                      </a:moveTo>
                      <a:lnTo>
                        <a:pt x="12" y="9"/>
                      </a:lnTo>
                      <a:lnTo>
                        <a:pt x="11" y="10"/>
                      </a:lnTo>
                      <a:lnTo>
                        <a:pt x="10" y="10"/>
                      </a:lnTo>
                      <a:lnTo>
                        <a:pt x="5" y="10"/>
                      </a:lnTo>
                      <a:lnTo>
                        <a:pt x="2" y="9"/>
                      </a:lnTo>
                      <a:lnTo>
                        <a:pt x="0" y="7"/>
                      </a:lnTo>
                      <a:lnTo>
                        <a:pt x="0" y="5"/>
                      </a:lnTo>
                      <a:lnTo>
                        <a:pt x="0" y="3"/>
                      </a:lnTo>
                      <a:lnTo>
                        <a:pt x="2" y="1"/>
                      </a:lnTo>
                      <a:lnTo>
                        <a:pt x="3" y="0"/>
                      </a:lnTo>
                      <a:lnTo>
                        <a:pt x="6" y="0"/>
                      </a:lnTo>
                      <a:lnTo>
                        <a:pt x="9" y="1"/>
                      </a:lnTo>
                      <a:lnTo>
                        <a:pt x="1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4" name="Freeform 249"/>
                <p:cNvSpPr>
                  <a:spLocks/>
                </p:cNvSpPr>
                <p:nvPr/>
              </p:nvSpPr>
              <p:spPr bwMode="auto">
                <a:xfrm>
                  <a:off x="8211331" y="4896581"/>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0 w 7"/>
                    <a:gd name="T9" fmla="*/ 2147483647 h 6"/>
                    <a:gd name="T10" fmla="*/ 0 w 7"/>
                    <a:gd name="T11" fmla="*/ 2147483647 h 6"/>
                    <a:gd name="T12" fmla="*/ 2147483647 w 7"/>
                    <a:gd name="T13" fmla="*/ 0 h 6"/>
                    <a:gd name="T14" fmla="*/ 2147483647 w 7"/>
                    <a:gd name="T15" fmla="*/ 0 h 6"/>
                    <a:gd name="T16" fmla="*/ 2147483647 w 7"/>
                    <a:gd name="T17" fmla="*/ 0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4"/>
                      </a:moveTo>
                      <a:lnTo>
                        <a:pt x="5" y="5"/>
                      </a:lnTo>
                      <a:lnTo>
                        <a:pt x="4" y="6"/>
                      </a:lnTo>
                      <a:lnTo>
                        <a:pt x="1" y="5"/>
                      </a:lnTo>
                      <a:lnTo>
                        <a:pt x="0" y="2"/>
                      </a:lnTo>
                      <a:lnTo>
                        <a:pt x="0" y="1"/>
                      </a:lnTo>
                      <a:lnTo>
                        <a:pt x="1" y="0"/>
                      </a:lnTo>
                      <a:lnTo>
                        <a:pt x="3" y="0"/>
                      </a:lnTo>
                      <a:lnTo>
                        <a:pt x="5" y="0"/>
                      </a:lnTo>
                      <a:lnTo>
                        <a:pt x="7" y="2"/>
                      </a:lnTo>
                      <a:lnTo>
                        <a:pt x="7"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5" name="Freeform 250"/>
                <p:cNvSpPr>
                  <a:spLocks/>
                </p:cNvSpPr>
                <p:nvPr/>
              </p:nvSpPr>
              <p:spPr bwMode="auto">
                <a:xfrm>
                  <a:off x="8159534" y="4889181"/>
                  <a:ext cx="17758" cy="16279"/>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2147483647 h 11"/>
                    <a:gd name="T14" fmla="*/ 2147483647 w 13"/>
                    <a:gd name="T15" fmla="*/ 2147483647 h 11"/>
                    <a:gd name="T16" fmla="*/ 0 w 13"/>
                    <a:gd name="T17" fmla="*/ 2147483647 h 11"/>
                    <a:gd name="T18" fmla="*/ 0 w 13"/>
                    <a:gd name="T19" fmla="*/ 2147483647 h 11"/>
                    <a:gd name="T20" fmla="*/ 0 w 13"/>
                    <a:gd name="T21" fmla="*/ 2147483647 h 11"/>
                    <a:gd name="T22" fmla="*/ 0 w 13"/>
                    <a:gd name="T23" fmla="*/ 2147483647 h 11"/>
                    <a:gd name="T24" fmla="*/ 2147483647 w 13"/>
                    <a:gd name="T25" fmla="*/ 2147483647 h 11"/>
                    <a:gd name="T26" fmla="*/ 2147483647 w 13"/>
                    <a:gd name="T27" fmla="*/ 0 h 11"/>
                    <a:gd name="T28" fmla="*/ 2147483647 w 13"/>
                    <a:gd name="T29" fmla="*/ 0 h 11"/>
                    <a:gd name="T30" fmla="*/ 2147483647 w 13"/>
                    <a:gd name="T31" fmla="*/ 0 h 11"/>
                    <a:gd name="T32" fmla="*/ 2147483647 w 13"/>
                    <a:gd name="T33" fmla="*/ 2147483647 h 11"/>
                    <a:gd name="T34" fmla="*/ 2147483647 w 13"/>
                    <a:gd name="T35" fmla="*/ 2147483647 h 11"/>
                    <a:gd name="T36" fmla="*/ 2147483647 w 13"/>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1"/>
                    <a:gd name="T59" fmla="*/ 13 w 13"/>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1">
                      <a:moveTo>
                        <a:pt x="12" y="6"/>
                      </a:moveTo>
                      <a:lnTo>
                        <a:pt x="12" y="6"/>
                      </a:lnTo>
                      <a:lnTo>
                        <a:pt x="13" y="10"/>
                      </a:lnTo>
                      <a:lnTo>
                        <a:pt x="12" y="11"/>
                      </a:lnTo>
                      <a:lnTo>
                        <a:pt x="11" y="11"/>
                      </a:lnTo>
                      <a:lnTo>
                        <a:pt x="5" y="11"/>
                      </a:lnTo>
                      <a:lnTo>
                        <a:pt x="3" y="10"/>
                      </a:lnTo>
                      <a:lnTo>
                        <a:pt x="0" y="7"/>
                      </a:lnTo>
                      <a:lnTo>
                        <a:pt x="0" y="6"/>
                      </a:lnTo>
                      <a:lnTo>
                        <a:pt x="0" y="4"/>
                      </a:lnTo>
                      <a:lnTo>
                        <a:pt x="3" y="2"/>
                      </a:lnTo>
                      <a:lnTo>
                        <a:pt x="4" y="0"/>
                      </a:lnTo>
                      <a:lnTo>
                        <a:pt x="7" y="0"/>
                      </a:lnTo>
                      <a:lnTo>
                        <a:pt x="9" y="2"/>
                      </a:lnTo>
                      <a:lnTo>
                        <a:pt x="12"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6" name="Freeform 251"/>
                <p:cNvSpPr>
                  <a:spLocks/>
                </p:cNvSpPr>
                <p:nvPr/>
              </p:nvSpPr>
              <p:spPr bwMode="auto">
                <a:xfrm>
                  <a:off x="8209854" y="4895101"/>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0 w 6"/>
                    <a:gd name="T11" fmla="*/ 2147483647 h 6"/>
                    <a:gd name="T12" fmla="*/ 0 w 6"/>
                    <a:gd name="T13" fmla="*/ 2147483647 h 6"/>
                    <a:gd name="T14" fmla="*/ 2147483647 w 6"/>
                    <a:gd name="T15" fmla="*/ 0 h 6"/>
                    <a:gd name="T16" fmla="*/ 2147483647 w 6"/>
                    <a:gd name="T17" fmla="*/ 0 h 6"/>
                    <a:gd name="T18" fmla="*/ 2147483647 w 6"/>
                    <a:gd name="T19" fmla="*/ 0 h 6"/>
                    <a:gd name="T20" fmla="*/ 2147483647 w 6"/>
                    <a:gd name="T21" fmla="*/ 0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6" y="3"/>
                      </a:moveTo>
                      <a:lnTo>
                        <a:pt x="6" y="3"/>
                      </a:lnTo>
                      <a:lnTo>
                        <a:pt x="5" y="5"/>
                      </a:lnTo>
                      <a:lnTo>
                        <a:pt x="4" y="6"/>
                      </a:lnTo>
                      <a:lnTo>
                        <a:pt x="1" y="5"/>
                      </a:lnTo>
                      <a:lnTo>
                        <a:pt x="0" y="2"/>
                      </a:lnTo>
                      <a:lnTo>
                        <a:pt x="0" y="1"/>
                      </a:lnTo>
                      <a:lnTo>
                        <a:pt x="1" y="0"/>
                      </a:lnTo>
                      <a:lnTo>
                        <a:pt x="2" y="0"/>
                      </a:lnTo>
                      <a:lnTo>
                        <a:pt x="5" y="0"/>
                      </a:lnTo>
                      <a:lnTo>
                        <a:pt x="6" y="2"/>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7" name="Freeform 252"/>
                <p:cNvSpPr>
                  <a:spLocks/>
                </p:cNvSpPr>
                <p:nvPr/>
              </p:nvSpPr>
              <p:spPr bwMode="auto">
                <a:xfrm>
                  <a:off x="8221689" y="4949857"/>
                  <a:ext cx="11839" cy="8879"/>
                </a:xfrm>
                <a:custGeom>
                  <a:avLst/>
                  <a:gdLst>
                    <a:gd name="T0" fmla="*/ 2147483647 w 9"/>
                    <a:gd name="T1" fmla="*/ 2147483647 h 6"/>
                    <a:gd name="T2" fmla="*/ 2147483647 w 9"/>
                    <a:gd name="T3" fmla="*/ 2147483647 h 6"/>
                    <a:gd name="T4" fmla="*/ 2147483647 w 9"/>
                    <a:gd name="T5" fmla="*/ 2147483647 h 6"/>
                    <a:gd name="T6" fmla="*/ 2147483647 w 9"/>
                    <a:gd name="T7" fmla="*/ 2147483647 h 6"/>
                    <a:gd name="T8" fmla="*/ 2147483647 w 9"/>
                    <a:gd name="T9" fmla="*/ 2147483647 h 6"/>
                    <a:gd name="T10" fmla="*/ 0 w 9"/>
                    <a:gd name="T11" fmla="*/ 0 h 6"/>
                    <a:gd name="T12" fmla="*/ 2147483647 w 9"/>
                    <a:gd name="T13" fmla="*/ 0 h 6"/>
                    <a:gd name="T14" fmla="*/ 2147483647 w 9"/>
                    <a:gd name="T15" fmla="*/ 0 h 6"/>
                    <a:gd name="T16" fmla="*/ 2147483647 w 9"/>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6"/>
                    <a:gd name="T29" fmla="*/ 9 w 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6">
                      <a:moveTo>
                        <a:pt x="9" y="3"/>
                      </a:moveTo>
                      <a:lnTo>
                        <a:pt x="9" y="4"/>
                      </a:lnTo>
                      <a:lnTo>
                        <a:pt x="7" y="6"/>
                      </a:lnTo>
                      <a:lnTo>
                        <a:pt x="5" y="4"/>
                      </a:lnTo>
                      <a:lnTo>
                        <a:pt x="4" y="3"/>
                      </a:lnTo>
                      <a:lnTo>
                        <a:pt x="0" y="0"/>
                      </a:lnTo>
                      <a:lnTo>
                        <a:pt x="4" y="0"/>
                      </a:lnTo>
                      <a:lnTo>
                        <a:pt x="5" y="0"/>
                      </a:lnTo>
                      <a:lnTo>
                        <a:pt x="9"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8" name="Freeform 253"/>
                <p:cNvSpPr>
                  <a:spLocks/>
                </p:cNvSpPr>
                <p:nvPr/>
              </p:nvSpPr>
              <p:spPr bwMode="auto">
                <a:xfrm>
                  <a:off x="8107737" y="4736754"/>
                  <a:ext cx="88792" cy="63634"/>
                </a:xfrm>
                <a:custGeom>
                  <a:avLst/>
                  <a:gdLst>
                    <a:gd name="T0" fmla="*/ 2147483647 w 65"/>
                    <a:gd name="T1" fmla="*/ 2147483647 h 43"/>
                    <a:gd name="T2" fmla="*/ 2147483647 w 65"/>
                    <a:gd name="T3" fmla="*/ 2147483647 h 43"/>
                    <a:gd name="T4" fmla="*/ 2147483647 w 65"/>
                    <a:gd name="T5" fmla="*/ 2147483647 h 43"/>
                    <a:gd name="T6" fmla="*/ 2147483647 w 65"/>
                    <a:gd name="T7" fmla="*/ 2147483647 h 43"/>
                    <a:gd name="T8" fmla="*/ 2147483647 w 65"/>
                    <a:gd name="T9" fmla="*/ 2147483647 h 43"/>
                    <a:gd name="T10" fmla="*/ 2147483647 w 65"/>
                    <a:gd name="T11" fmla="*/ 2147483647 h 43"/>
                    <a:gd name="T12" fmla="*/ 2147483647 w 65"/>
                    <a:gd name="T13" fmla="*/ 2147483647 h 43"/>
                    <a:gd name="T14" fmla="*/ 2147483647 w 65"/>
                    <a:gd name="T15" fmla="*/ 2147483647 h 43"/>
                    <a:gd name="T16" fmla="*/ 2147483647 w 65"/>
                    <a:gd name="T17" fmla="*/ 2147483647 h 43"/>
                    <a:gd name="T18" fmla="*/ 0 w 65"/>
                    <a:gd name="T19" fmla="*/ 2147483647 h 43"/>
                    <a:gd name="T20" fmla="*/ 2147483647 w 65"/>
                    <a:gd name="T21" fmla="*/ 2147483647 h 43"/>
                    <a:gd name="T22" fmla="*/ 2147483647 w 65"/>
                    <a:gd name="T23" fmla="*/ 2147483647 h 43"/>
                    <a:gd name="T24" fmla="*/ 2147483647 w 65"/>
                    <a:gd name="T25" fmla="*/ 2147483647 h 43"/>
                    <a:gd name="T26" fmla="*/ 2147483647 w 65"/>
                    <a:gd name="T27" fmla="*/ 2147483647 h 43"/>
                    <a:gd name="T28" fmla="*/ 2147483647 w 65"/>
                    <a:gd name="T29" fmla="*/ 2147483647 h 43"/>
                    <a:gd name="T30" fmla="*/ 2147483647 w 65"/>
                    <a:gd name="T31" fmla="*/ 2147483647 h 43"/>
                    <a:gd name="T32" fmla="*/ 2147483647 w 65"/>
                    <a:gd name="T33" fmla="*/ 2147483647 h 43"/>
                    <a:gd name="T34" fmla="*/ 2147483647 w 65"/>
                    <a:gd name="T35" fmla="*/ 2147483647 h 43"/>
                    <a:gd name="T36" fmla="*/ 2147483647 w 65"/>
                    <a:gd name="T37" fmla="*/ 2147483647 h 43"/>
                    <a:gd name="T38" fmla="*/ 2147483647 w 65"/>
                    <a:gd name="T39" fmla="*/ 2147483647 h 43"/>
                    <a:gd name="T40" fmla="*/ 2147483647 w 65"/>
                    <a:gd name="T41" fmla="*/ 2147483647 h 43"/>
                    <a:gd name="T42" fmla="*/ 2147483647 w 65"/>
                    <a:gd name="T43" fmla="*/ 2147483647 h 43"/>
                    <a:gd name="T44" fmla="*/ 2147483647 w 65"/>
                    <a:gd name="T45" fmla="*/ 2147483647 h 43"/>
                    <a:gd name="T46" fmla="*/ 2147483647 w 65"/>
                    <a:gd name="T47" fmla="*/ 2147483647 h 43"/>
                    <a:gd name="T48" fmla="*/ 2147483647 w 65"/>
                    <a:gd name="T49" fmla="*/ 2147483647 h 43"/>
                    <a:gd name="T50" fmla="*/ 2147483647 w 65"/>
                    <a:gd name="T51" fmla="*/ 2147483647 h 43"/>
                    <a:gd name="T52" fmla="*/ 2147483647 w 65"/>
                    <a:gd name="T53" fmla="*/ 2147483647 h 43"/>
                    <a:gd name="T54" fmla="*/ 2147483647 w 65"/>
                    <a:gd name="T55" fmla="*/ 2147483647 h 43"/>
                    <a:gd name="T56" fmla="*/ 2147483647 w 65"/>
                    <a:gd name="T57" fmla="*/ 2147483647 h 43"/>
                    <a:gd name="T58" fmla="*/ 2147483647 w 65"/>
                    <a:gd name="T59" fmla="*/ 2147483647 h 43"/>
                    <a:gd name="T60" fmla="*/ 2147483647 w 65"/>
                    <a:gd name="T61" fmla="*/ 2147483647 h 43"/>
                    <a:gd name="T62" fmla="*/ 2147483647 w 65"/>
                    <a:gd name="T63" fmla="*/ 2147483647 h 43"/>
                    <a:gd name="T64" fmla="*/ 2147483647 w 65"/>
                    <a:gd name="T65" fmla="*/ 2147483647 h 43"/>
                    <a:gd name="T66" fmla="*/ 2147483647 w 65"/>
                    <a:gd name="T67" fmla="*/ 0 h 43"/>
                    <a:gd name="T68" fmla="*/ 2147483647 w 65"/>
                    <a:gd name="T69" fmla="*/ 2147483647 h 43"/>
                    <a:gd name="T70" fmla="*/ 2147483647 w 65"/>
                    <a:gd name="T71" fmla="*/ 2147483647 h 43"/>
                    <a:gd name="T72" fmla="*/ 2147483647 w 65"/>
                    <a:gd name="T73" fmla="*/ 2147483647 h 43"/>
                    <a:gd name="T74" fmla="*/ 2147483647 w 65"/>
                    <a:gd name="T75" fmla="*/ 2147483647 h 43"/>
                    <a:gd name="T76" fmla="*/ 2147483647 w 65"/>
                    <a:gd name="T77" fmla="*/ 2147483647 h 43"/>
                    <a:gd name="T78" fmla="*/ 2147483647 w 65"/>
                    <a:gd name="T79" fmla="*/ 2147483647 h 43"/>
                    <a:gd name="T80" fmla="*/ 2147483647 w 65"/>
                    <a:gd name="T81" fmla="*/ 2147483647 h 43"/>
                    <a:gd name="T82" fmla="*/ 2147483647 w 65"/>
                    <a:gd name="T83" fmla="*/ 2147483647 h 43"/>
                    <a:gd name="T84" fmla="*/ 2147483647 w 65"/>
                    <a:gd name="T85" fmla="*/ 2147483647 h 43"/>
                    <a:gd name="T86" fmla="*/ 2147483647 w 65"/>
                    <a:gd name="T87" fmla="*/ 2147483647 h 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5"/>
                    <a:gd name="T133" fmla="*/ 0 h 43"/>
                    <a:gd name="T134" fmla="*/ 65 w 65"/>
                    <a:gd name="T135" fmla="*/ 43 h 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5" h="43">
                      <a:moveTo>
                        <a:pt x="37" y="43"/>
                      </a:moveTo>
                      <a:lnTo>
                        <a:pt x="29" y="42"/>
                      </a:lnTo>
                      <a:lnTo>
                        <a:pt x="23" y="41"/>
                      </a:lnTo>
                      <a:lnTo>
                        <a:pt x="16" y="42"/>
                      </a:lnTo>
                      <a:lnTo>
                        <a:pt x="9" y="43"/>
                      </a:lnTo>
                      <a:lnTo>
                        <a:pt x="8" y="43"/>
                      </a:lnTo>
                      <a:lnTo>
                        <a:pt x="7" y="41"/>
                      </a:lnTo>
                      <a:lnTo>
                        <a:pt x="7" y="38"/>
                      </a:lnTo>
                      <a:lnTo>
                        <a:pt x="2" y="35"/>
                      </a:lnTo>
                      <a:lnTo>
                        <a:pt x="0" y="32"/>
                      </a:lnTo>
                      <a:lnTo>
                        <a:pt x="2" y="30"/>
                      </a:lnTo>
                      <a:lnTo>
                        <a:pt x="3" y="30"/>
                      </a:lnTo>
                      <a:lnTo>
                        <a:pt x="4" y="30"/>
                      </a:lnTo>
                      <a:lnTo>
                        <a:pt x="9" y="32"/>
                      </a:lnTo>
                      <a:lnTo>
                        <a:pt x="14" y="32"/>
                      </a:lnTo>
                      <a:lnTo>
                        <a:pt x="21" y="30"/>
                      </a:lnTo>
                      <a:lnTo>
                        <a:pt x="24" y="27"/>
                      </a:lnTo>
                      <a:lnTo>
                        <a:pt x="28" y="23"/>
                      </a:lnTo>
                      <a:lnTo>
                        <a:pt x="29" y="22"/>
                      </a:lnTo>
                      <a:lnTo>
                        <a:pt x="31" y="22"/>
                      </a:lnTo>
                      <a:lnTo>
                        <a:pt x="37" y="27"/>
                      </a:lnTo>
                      <a:lnTo>
                        <a:pt x="40" y="29"/>
                      </a:lnTo>
                      <a:lnTo>
                        <a:pt x="41" y="29"/>
                      </a:lnTo>
                      <a:lnTo>
                        <a:pt x="42" y="29"/>
                      </a:lnTo>
                      <a:lnTo>
                        <a:pt x="45" y="26"/>
                      </a:lnTo>
                      <a:lnTo>
                        <a:pt x="45" y="24"/>
                      </a:lnTo>
                      <a:lnTo>
                        <a:pt x="46" y="22"/>
                      </a:lnTo>
                      <a:lnTo>
                        <a:pt x="50" y="17"/>
                      </a:lnTo>
                      <a:lnTo>
                        <a:pt x="54" y="13"/>
                      </a:lnTo>
                      <a:lnTo>
                        <a:pt x="55" y="8"/>
                      </a:lnTo>
                      <a:lnTo>
                        <a:pt x="55" y="5"/>
                      </a:lnTo>
                      <a:lnTo>
                        <a:pt x="54" y="3"/>
                      </a:lnTo>
                      <a:lnTo>
                        <a:pt x="55" y="1"/>
                      </a:lnTo>
                      <a:lnTo>
                        <a:pt x="57" y="0"/>
                      </a:lnTo>
                      <a:lnTo>
                        <a:pt x="59" y="1"/>
                      </a:lnTo>
                      <a:lnTo>
                        <a:pt x="61" y="4"/>
                      </a:lnTo>
                      <a:lnTo>
                        <a:pt x="64" y="10"/>
                      </a:lnTo>
                      <a:lnTo>
                        <a:pt x="65" y="14"/>
                      </a:lnTo>
                      <a:lnTo>
                        <a:pt x="65" y="19"/>
                      </a:lnTo>
                      <a:lnTo>
                        <a:pt x="62" y="24"/>
                      </a:lnTo>
                      <a:lnTo>
                        <a:pt x="51" y="35"/>
                      </a:lnTo>
                      <a:lnTo>
                        <a:pt x="49" y="37"/>
                      </a:lnTo>
                      <a:lnTo>
                        <a:pt x="45" y="38"/>
                      </a:lnTo>
                      <a:lnTo>
                        <a:pt x="37" y="4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59" name="Freeform 254"/>
                <p:cNvSpPr>
                  <a:spLocks/>
                </p:cNvSpPr>
                <p:nvPr/>
              </p:nvSpPr>
              <p:spPr bwMode="auto">
                <a:xfrm>
                  <a:off x="8220212" y="4946897"/>
                  <a:ext cx="10360" cy="8879"/>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0 w 8"/>
                    <a:gd name="T15" fmla="*/ 0 h 6"/>
                    <a:gd name="T16" fmla="*/ 0 w 8"/>
                    <a:gd name="T17" fmla="*/ 0 h 6"/>
                    <a:gd name="T18" fmla="*/ 2147483647 w 8"/>
                    <a:gd name="T19" fmla="*/ 0 h 6"/>
                    <a:gd name="T20" fmla="*/ 2147483647 w 8"/>
                    <a:gd name="T21" fmla="*/ 0 h 6"/>
                    <a:gd name="T22" fmla="*/ 2147483647 w 8"/>
                    <a:gd name="T23" fmla="*/ 2147483647 h 6"/>
                    <a:gd name="T24" fmla="*/ 2147483647 w 8"/>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6"/>
                    <a:gd name="T41" fmla="*/ 8 w 8"/>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6">
                      <a:moveTo>
                        <a:pt x="8" y="4"/>
                      </a:moveTo>
                      <a:lnTo>
                        <a:pt x="8" y="4"/>
                      </a:lnTo>
                      <a:lnTo>
                        <a:pt x="8" y="5"/>
                      </a:lnTo>
                      <a:lnTo>
                        <a:pt x="7" y="6"/>
                      </a:lnTo>
                      <a:lnTo>
                        <a:pt x="5" y="5"/>
                      </a:lnTo>
                      <a:lnTo>
                        <a:pt x="3" y="4"/>
                      </a:lnTo>
                      <a:lnTo>
                        <a:pt x="0" y="0"/>
                      </a:lnTo>
                      <a:lnTo>
                        <a:pt x="3" y="0"/>
                      </a:lnTo>
                      <a:lnTo>
                        <a:pt x="5" y="0"/>
                      </a:lnTo>
                      <a:lnTo>
                        <a:pt x="8"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0" name="Freeform 255"/>
                <p:cNvSpPr>
                  <a:spLocks/>
                </p:cNvSpPr>
                <p:nvPr/>
              </p:nvSpPr>
              <p:spPr bwMode="auto">
                <a:xfrm>
                  <a:off x="8106259" y="4735271"/>
                  <a:ext cx="88792" cy="63635"/>
                </a:xfrm>
                <a:custGeom>
                  <a:avLst/>
                  <a:gdLst>
                    <a:gd name="T0" fmla="*/ 2147483647 w 65"/>
                    <a:gd name="T1" fmla="*/ 2147483647 h 43"/>
                    <a:gd name="T2" fmla="*/ 2147483647 w 65"/>
                    <a:gd name="T3" fmla="*/ 2147483647 h 43"/>
                    <a:gd name="T4" fmla="*/ 2147483647 w 65"/>
                    <a:gd name="T5" fmla="*/ 2147483647 h 43"/>
                    <a:gd name="T6" fmla="*/ 2147483647 w 65"/>
                    <a:gd name="T7" fmla="*/ 2147483647 h 43"/>
                    <a:gd name="T8" fmla="*/ 2147483647 w 65"/>
                    <a:gd name="T9" fmla="*/ 2147483647 h 43"/>
                    <a:gd name="T10" fmla="*/ 2147483647 w 65"/>
                    <a:gd name="T11" fmla="*/ 2147483647 h 43"/>
                    <a:gd name="T12" fmla="*/ 2147483647 w 65"/>
                    <a:gd name="T13" fmla="*/ 2147483647 h 43"/>
                    <a:gd name="T14" fmla="*/ 2147483647 w 65"/>
                    <a:gd name="T15" fmla="*/ 2147483647 h 43"/>
                    <a:gd name="T16" fmla="*/ 2147483647 w 65"/>
                    <a:gd name="T17" fmla="*/ 2147483647 h 43"/>
                    <a:gd name="T18" fmla="*/ 2147483647 w 65"/>
                    <a:gd name="T19" fmla="*/ 2147483647 h 43"/>
                    <a:gd name="T20" fmla="*/ 2147483647 w 65"/>
                    <a:gd name="T21" fmla="*/ 2147483647 h 43"/>
                    <a:gd name="T22" fmla="*/ 2147483647 w 65"/>
                    <a:gd name="T23" fmla="*/ 2147483647 h 43"/>
                    <a:gd name="T24" fmla="*/ 2147483647 w 65"/>
                    <a:gd name="T25" fmla="*/ 2147483647 h 43"/>
                    <a:gd name="T26" fmla="*/ 0 w 65"/>
                    <a:gd name="T27" fmla="*/ 2147483647 h 43"/>
                    <a:gd name="T28" fmla="*/ 2147483647 w 65"/>
                    <a:gd name="T29" fmla="*/ 2147483647 h 43"/>
                    <a:gd name="T30" fmla="*/ 2147483647 w 65"/>
                    <a:gd name="T31" fmla="*/ 2147483647 h 43"/>
                    <a:gd name="T32" fmla="*/ 2147483647 w 65"/>
                    <a:gd name="T33" fmla="*/ 2147483647 h 43"/>
                    <a:gd name="T34" fmla="*/ 2147483647 w 65"/>
                    <a:gd name="T35" fmla="*/ 2147483647 h 43"/>
                    <a:gd name="T36" fmla="*/ 2147483647 w 65"/>
                    <a:gd name="T37" fmla="*/ 2147483647 h 43"/>
                    <a:gd name="T38" fmla="*/ 2147483647 w 65"/>
                    <a:gd name="T39" fmla="*/ 2147483647 h 43"/>
                    <a:gd name="T40" fmla="*/ 2147483647 w 65"/>
                    <a:gd name="T41" fmla="*/ 2147483647 h 43"/>
                    <a:gd name="T42" fmla="*/ 2147483647 w 65"/>
                    <a:gd name="T43" fmla="*/ 2147483647 h 43"/>
                    <a:gd name="T44" fmla="*/ 2147483647 w 65"/>
                    <a:gd name="T45" fmla="*/ 2147483647 h 43"/>
                    <a:gd name="T46" fmla="*/ 2147483647 w 65"/>
                    <a:gd name="T47" fmla="*/ 2147483647 h 43"/>
                    <a:gd name="T48" fmla="*/ 2147483647 w 65"/>
                    <a:gd name="T49" fmla="*/ 2147483647 h 43"/>
                    <a:gd name="T50" fmla="*/ 2147483647 w 65"/>
                    <a:gd name="T51" fmla="*/ 2147483647 h 43"/>
                    <a:gd name="T52" fmla="*/ 2147483647 w 65"/>
                    <a:gd name="T53" fmla="*/ 2147483647 h 43"/>
                    <a:gd name="T54" fmla="*/ 2147483647 w 65"/>
                    <a:gd name="T55" fmla="*/ 2147483647 h 43"/>
                    <a:gd name="T56" fmla="*/ 2147483647 w 65"/>
                    <a:gd name="T57" fmla="*/ 2147483647 h 43"/>
                    <a:gd name="T58" fmla="*/ 2147483647 w 65"/>
                    <a:gd name="T59" fmla="*/ 2147483647 h 43"/>
                    <a:gd name="T60" fmla="*/ 2147483647 w 65"/>
                    <a:gd name="T61" fmla="*/ 2147483647 h 43"/>
                    <a:gd name="T62" fmla="*/ 2147483647 w 65"/>
                    <a:gd name="T63" fmla="*/ 2147483647 h 43"/>
                    <a:gd name="T64" fmla="*/ 2147483647 w 65"/>
                    <a:gd name="T65" fmla="*/ 2147483647 h 43"/>
                    <a:gd name="T66" fmla="*/ 2147483647 w 65"/>
                    <a:gd name="T67" fmla="*/ 2147483647 h 43"/>
                    <a:gd name="T68" fmla="*/ 2147483647 w 65"/>
                    <a:gd name="T69" fmla="*/ 2147483647 h 43"/>
                    <a:gd name="T70" fmla="*/ 2147483647 w 65"/>
                    <a:gd name="T71" fmla="*/ 2147483647 h 43"/>
                    <a:gd name="T72" fmla="*/ 2147483647 w 65"/>
                    <a:gd name="T73" fmla="*/ 2147483647 h 43"/>
                    <a:gd name="T74" fmla="*/ 2147483647 w 65"/>
                    <a:gd name="T75" fmla="*/ 2147483647 h 43"/>
                    <a:gd name="T76" fmla="*/ 2147483647 w 65"/>
                    <a:gd name="T77" fmla="*/ 2147483647 h 43"/>
                    <a:gd name="T78" fmla="*/ 2147483647 w 65"/>
                    <a:gd name="T79" fmla="*/ 2147483647 h 43"/>
                    <a:gd name="T80" fmla="*/ 2147483647 w 65"/>
                    <a:gd name="T81" fmla="*/ 2147483647 h 43"/>
                    <a:gd name="T82" fmla="*/ 2147483647 w 65"/>
                    <a:gd name="T83" fmla="*/ 2147483647 h 43"/>
                    <a:gd name="T84" fmla="*/ 2147483647 w 65"/>
                    <a:gd name="T85" fmla="*/ 2147483647 h 43"/>
                    <a:gd name="T86" fmla="*/ 2147483647 w 65"/>
                    <a:gd name="T87" fmla="*/ 2147483647 h 43"/>
                    <a:gd name="T88" fmla="*/ 2147483647 w 65"/>
                    <a:gd name="T89" fmla="*/ 2147483647 h 43"/>
                    <a:gd name="T90" fmla="*/ 2147483647 w 65"/>
                    <a:gd name="T91" fmla="*/ 0 h 43"/>
                    <a:gd name="T92" fmla="*/ 2147483647 w 65"/>
                    <a:gd name="T93" fmla="*/ 2147483647 h 43"/>
                    <a:gd name="T94" fmla="*/ 2147483647 w 65"/>
                    <a:gd name="T95" fmla="*/ 2147483647 h 43"/>
                    <a:gd name="T96" fmla="*/ 2147483647 w 65"/>
                    <a:gd name="T97" fmla="*/ 2147483647 h 43"/>
                    <a:gd name="T98" fmla="*/ 2147483647 w 65"/>
                    <a:gd name="T99" fmla="*/ 2147483647 h 43"/>
                    <a:gd name="T100" fmla="*/ 2147483647 w 65"/>
                    <a:gd name="T101" fmla="*/ 2147483647 h 43"/>
                    <a:gd name="T102" fmla="*/ 2147483647 w 65"/>
                    <a:gd name="T103" fmla="*/ 2147483647 h 43"/>
                    <a:gd name="T104" fmla="*/ 2147483647 w 65"/>
                    <a:gd name="T105" fmla="*/ 2147483647 h 43"/>
                    <a:gd name="T106" fmla="*/ 2147483647 w 65"/>
                    <a:gd name="T107" fmla="*/ 2147483647 h 43"/>
                    <a:gd name="T108" fmla="*/ 2147483647 w 65"/>
                    <a:gd name="T109" fmla="*/ 2147483647 h 43"/>
                    <a:gd name="T110" fmla="*/ 2147483647 w 65"/>
                    <a:gd name="T111" fmla="*/ 2147483647 h 43"/>
                    <a:gd name="T112" fmla="*/ 2147483647 w 65"/>
                    <a:gd name="T113" fmla="*/ 2147483647 h 43"/>
                    <a:gd name="T114" fmla="*/ 2147483647 w 65"/>
                    <a:gd name="T115" fmla="*/ 2147483647 h 43"/>
                    <a:gd name="T116" fmla="*/ 2147483647 w 65"/>
                    <a:gd name="T117" fmla="*/ 2147483647 h 43"/>
                    <a:gd name="T118" fmla="*/ 2147483647 w 65"/>
                    <a:gd name="T119" fmla="*/ 2147483647 h 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5"/>
                    <a:gd name="T181" fmla="*/ 0 h 43"/>
                    <a:gd name="T182" fmla="*/ 65 w 65"/>
                    <a:gd name="T183" fmla="*/ 43 h 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5" h="43">
                      <a:moveTo>
                        <a:pt x="37" y="43"/>
                      </a:moveTo>
                      <a:lnTo>
                        <a:pt x="37" y="43"/>
                      </a:lnTo>
                      <a:lnTo>
                        <a:pt x="29" y="42"/>
                      </a:lnTo>
                      <a:lnTo>
                        <a:pt x="23" y="40"/>
                      </a:lnTo>
                      <a:lnTo>
                        <a:pt x="15" y="42"/>
                      </a:lnTo>
                      <a:lnTo>
                        <a:pt x="9" y="43"/>
                      </a:lnTo>
                      <a:lnTo>
                        <a:pt x="8" y="43"/>
                      </a:lnTo>
                      <a:lnTo>
                        <a:pt x="6" y="40"/>
                      </a:lnTo>
                      <a:lnTo>
                        <a:pt x="6" y="38"/>
                      </a:lnTo>
                      <a:lnTo>
                        <a:pt x="1" y="34"/>
                      </a:lnTo>
                      <a:lnTo>
                        <a:pt x="0" y="32"/>
                      </a:lnTo>
                      <a:lnTo>
                        <a:pt x="1" y="30"/>
                      </a:lnTo>
                      <a:lnTo>
                        <a:pt x="3" y="30"/>
                      </a:lnTo>
                      <a:lnTo>
                        <a:pt x="4" y="30"/>
                      </a:lnTo>
                      <a:lnTo>
                        <a:pt x="9" y="32"/>
                      </a:lnTo>
                      <a:lnTo>
                        <a:pt x="14" y="32"/>
                      </a:lnTo>
                      <a:lnTo>
                        <a:pt x="20" y="30"/>
                      </a:lnTo>
                      <a:lnTo>
                        <a:pt x="24" y="27"/>
                      </a:lnTo>
                      <a:lnTo>
                        <a:pt x="28" y="23"/>
                      </a:lnTo>
                      <a:lnTo>
                        <a:pt x="29" y="21"/>
                      </a:lnTo>
                      <a:lnTo>
                        <a:pt x="30" y="21"/>
                      </a:lnTo>
                      <a:lnTo>
                        <a:pt x="37" y="27"/>
                      </a:lnTo>
                      <a:lnTo>
                        <a:pt x="39" y="28"/>
                      </a:lnTo>
                      <a:lnTo>
                        <a:pt x="41" y="28"/>
                      </a:lnTo>
                      <a:lnTo>
                        <a:pt x="42" y="28"/>
                      </a:lnTo>
                      <a:lnTo>
                        <a:pt x="44" y="26"/>
                      </a:lnTo>
                      <a:lnTo>
                        <a:pt x="44" y="24"/>
                      </a:lnTo>
                      <a:lnTo>
                        <a:pt x="46" y="21"/>
                      </a:lnTo>
                      <a:lnTo>
                        <a:pt x="50" y="17"/>
                      </a:lnTo>
                      <a:lnTo>
                        <a:pt x="53" y="13"/>
                      </a:lnTo>
                      <a:lnTo>
                        <a:pt x="55" y="8"/>
                      </a:lnTo>
                      <a:lnTo>
                        <a:pt x="55" y="5"/>
                      </a:lnTo>
                      <a:lnTo>
                        <a:pt x="53" y="2"/>
                      </a:lnTo>
                      <a:lnTo>
                        <a:pt x="55" y="1"/>
                      </a:lnTo>
                      <a:lnTo>
                        <a:pt x="57" y="0"/>
                      </a:lnTo>
                      <a:lnTo>
                        <a:pt x="58" y="1"/>
                      </a:lnTo>
                      <a:lnTo>
                        <a:pt x="61" y="4"/>
                      </a:lnTo>
                      <a:lnTo>
                        <a:pt x="63" y="9"/>
                      </a:lnTo>
                      <a:lnTo>
                        <a:pt x="65" y="14"/>
                      </a:lnTo>
                      <a:lnTo>
                        <a:pt x="65" y="19"/>
                      </a:lnTo>
                      <a:lnTo>
                        <a:pt x="62" y="24"/>
                      </a:lnTo>
                      <a:lnTo>
                        <a:pt x="51" y="34"/>
                      </a:lnTo>
                      <a:lnTo>
                        <a:pt x="48" y="37"/>
                      </a:lnTo>
                      <a:lnTo>
                        <a:pt x="44" y="38"/>
                      </a:lnTo>
                      <a:lnTo>
                        <a:pt x="37" y="4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1" name="Freeform 256"/>
                <p:cNvSpPr>
                  <a:spLocks/>
                </p:cNvSpPr>
                <p:nvPr/>
              </p:nvSpPr>
              <p:spPr bwMode="auto">
                <a:xfrm>
                  <a:off x="7928675" y="4687915"/>
                  <a:ext cx="235299" cy="233821"/>
                </a:xfrm>
                <a:custGeom>
                  <a:avLst/>
                  <a:gdLst>
                    <a:gd name="T0" fmla="*/ 2147483647 w 172"/>
                    <a:gd name="T1" fmla="*/ 2147483647 h 158"/>
                    <a:gd name="T2" fmla="*/ 2147483647 w 172"/>
                    <a:gd name="T3" fmla="*/ 2147483647 h 158"/>
                    <a:gd name="T4" fmla="*/ 2147483647 w 172"/>
                    <a:gd name="T5" fmla="*/ 2147483647 h 158"/>
                    <a:gd name="T6" fmla="*/ 2147483647 w 172"/>
                    <a:gd name="T7" fmla="*/ 2147483647 h 158"/>
                    <a:gd name="T8" fmla="*/ 2147483647 w 172"/>
                    <a:gd name="T9" fmla="*/ 2147483647 h 158"/>
                    <a:gd name="T10" fmla="*/ 2147483647 w 172"/>
                    <a:gd name="T11" fmla="*/ 2147483647 h 158"/>
                    <a:gd name="T12" fmla="*/ 2147483647 w 172"/>
                    <a:gd name="T13" fmla="*/ 2147483647 h 158"/>
                    <a:gd name="T14" fmla="*/ 2147483647 w 172"/>
                    <a:gd name="T15" fmla="*/ 2147483647 h 158"/>
                    <a:gd name="T16" fmla="*/ 2147483647 w 172"/>
                    <a:gd name="T17" fmla="*/ 2147483647 h 158"/>
                    <a:gd name="T18" fmla="*/ 2147483647 w 172"/>
                    <a:gd name="T19" fmla="*/ 2147483647 h 158"/>
                    <a:gd name="T20" fmla="*/ 2147483647 w 172"/>
                    <a:gd name="T21" fmla="*/ 2147483647 h 158"/>
                    <a:gd name="T22" fmla="*/ 2147483647 w 172"/>
                    <a:gd name="T23" fmla="*/ 2147483647 h 158"/>
                    <a:gd name="T24" fmla="*/ 2147483647 w 172"/>
                    <a:gd name="T25" fmla="*/ 2147483647 h 158"/>
                    <a:gd name="T26" fmla="*/ 2147483647 w 172"/>
                    <a:gd name="T27" fmla="*/ 2147483647 h 158"/>
                    <a:gd name="T28" fmla="*/ 2147483647 w 172"/>
                    <a:gd name="T29" fmla="*/ 2147483647 h 158"/>
                    <a:gd name="T30" fmla="*/ 2147483647 w 172"/>
                    <a:gd name="T31" fmla="*/ 2147483647 h 158"/>
                    <a:gd name="T32" fmla="*/ 2147483647 w 172"/>
                    <a:gd name="T33" fmla="*/ 2147483647 h 158"/>
                    <a:gd name="T34" fmla="*/ 2147483647 w 172"/>
                    <a:gd name="T35" fmla="*/ 2147483647 h 158"/>
                    <a:gd name="T36" fmla="*/ 2147483647 w 172"/>
                    <a:gd name="T37" fmla="*/ 2147483647 h 158"/>
                    <a:gd name="T38" fmla="*/ 2147483647 w 172"/>
                    <a:gd name="T39" fmla="*/ 2147483647 h 158"/>
                    <a:gd name="T40" fmla="*/ 2147483647 w 172"/>
                    <a:gd name="T41" fmla="*/ 2147483647 h 158"/>
                    <a:gd name="T42" fmla="*/ 2147483647 w 172"/>
                    <a:gd name="T43" fmla="*/ 2147483647 h 158"/>
                    <a:gd name="T44" fmla="*/ 2147483647 w 172"/>
                    <a:gd name="T45" fmla="*/ 2147483647 h 158"/>
                    <a:gd name="T46" fmla="*/ 2147483647 w 172"/>
                    <a:gd name="T47" fmla="*/ 2147483647 h 158"/>
                    <a:gd name="T48" fmla="*/ 2147483647 w 172"/>
                    <a:gd name="T49" fmla="*/ 2147483647 h 158"/>
                    <a:gd name="T50" fmla="*/ 2147483647 w 172"/>
                    <a:gd name="T51" fmla="*/ 2147483647 h 158"/>
                    <a:gd name="T52" fmla="*/ 2147483647 w 172"/>
                    <a:gd name="T53" fmla="*/ 2147483647 h 158"/>
                    <a:gd name="T54" fmla="*/ 2147483647 w 172"/>
                    <a:gd name="T55" fmla="*/ 2147483647 h 158"/>
                    <a:gd name="T56" fmla="*/ 2147483647 w 172"/>
                    <a:gd name="T57" fmla="*/ 2147483647 h 158"/>
                    <a:gd name="T58" fmla="*/ 2147483647 w 172"/>
                    <a:gd name="T59" fmla="*/ 2147483647 h 158"/>
                    <a:gd name="T60" fmla="*/ 2147483647 w 172"/>
                    <a:gd name="T61" fmla="*/ 2147483647 h 158"/>
                    <a:gd name="T62" fmla="*/ 2147483647 w 172"/>
                    <a:gd name="T63" fmla="*/ 2147483647 h 158"/>
                    <a:gd name="T64" fmla="*/ 2147483647 w 172"/>
                    <a:gd name="T65" fmla="*/ 2147483647 h 158"/>
                    <a:gd name="T66" fmla="*/ 2147483647 w 172"/>
                    <a:gd name="T67" fmla="*/ 2147483647 h 158"/>
                    <a:gd name="T68" fmla="*/ 2147483647 w 172"/>
                    <a:gd name="T69" fmla="*/ 2147483647 h 158"/>
                    <a:gd name="T70" fmla="*/ 2147483647 w 172"/>
                    <a:gd name="T71" fmla="*/ 2147483647 h 158"/>
                    <a:gd name="T72" fmla="*/ 2147483647 w 172"/>
                    <a:gd name="T73" fmla="*/ 2147483647 h 158"/>
                    <a:gd name="T74" fmla="*/ 2147483647 w 172"/>
                    <a:gd name="T75" fmla="*/ 2147483647 h 158"/>
                    <a:gd name="T76" fmla="*/ 2147483647 w 172"/>
                    <a:gd name="T77" fmla="*/ 2147483647 h 158"/>
                    <a:gd name="T78" fmla="*/ 2147483647 w 172"/>
                    <a:gd name="T79" fmla="*/ 2147483647 h 158"/>
                    <a:gd name="T80" fmla="*/ 2147483647 w 172"/>
                    <a:gd name="T81" fmla="*/ 2147483647 h 158"/>
                    <a:gd name="T82" fmla="*/ 2147483647 w 172"/>
                    <a:gd name="T83" fmla="*/ 2147483647 h 158"/>
                    <a:gd name="T84" fmla="*/ 2147483647 w 172"/>
                    <a:gd name="T85" fmla="*/ 2147483647 h 158"/>
                    <a:gd name="T86" fmla="*/ 2147483647 w 172"/>
                    <a:gd name="T87" fmla="*/ 2147483647 h 158"/>
                    <a:gd name="T88" fmla="*/ 2147483647 w 172"/>
                    <a:gd name="T89" fmla="*/ 2147483647 h 158"/>
                    <a:gd name="T90" fmla="*/ 2147483647 w 172"/>
                    <a:gd name="T91" fmla="*/ 2147483647 h 158"/>
                    <a:gd name="T92" fmla="*/ 2147483647 w 172"/>
                    <a:gd name="T93" fmla="*/ 2147483647 h 158"/>
                    <a:gd name="T94" fmla="*/ 2147483647 w 172"/>
                    <a:gd name="T95" fmla="*/ 2147483647 h 158"/>
                    <a:gd name="T96" fmla="*/ 2147483647 w 172"/>
                    <a:gd name="T97" fmla="*/ 2147483647 h 158"/>
                    <a:gd name="T98" fmla="*/ 2147483647 w 172"/>
                    <a:gd name="T99" fmla="*/ 2147483647 h 158"/>
                    <a:gd name="T100" fmla="*/ 2147483647 w 172"/>
                    <a:gd name="T101" fmla="*/ 2147483647 h 158"/>
                    <a:gd name="T102" fmla="*/ 2147483647 w 172"/>
                    <a:gd name="T103" fmla="*/ 2147483647 h 158"/>
                    <a:gd name="T104" fmla="*/ 2147483647 w 172"/>
                    <a:gd name="T105" fmla="*/ 2147483647 h 158"/>
                    <a:gd name="T106" fmla="*/ 0 w 172"/>
                    <a:gd name="T107" fmla="*/ 0 h 158"/>
                    <a:gd name="T108" fmla="*/ 0 w 172"/>
                    <a:gd name="T109" fmla="*/ 2147483647 h 158"/>
                    <a:gd name="T110" fmla="*/ 2147483647 w 172"/>
                    <a:gd name="T111" fmla="*/ 2147483647 h 1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2"/>
                    <a:gd name="T169" fmla="*/ 0 h 158"/>
                    <a:gd name="T170" fmla="*/ 172 w 172"/>
                    <a:gd name="T171" fmla="*/ 158 h 1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2" h="158">
                      <a:moveTo>
                        <a:pt x="3" y="129"/>
                      </a:moveTo>
                      <a:lnTo>
                        <a:pt x="14" y="133"/>
                      </a:lnTo>
                      <a:lnTo>
                        <a:pt x="21" y="134"/>
                      </a:lnTo>
                      <a:lnTo>
                        <a:pt x="27" y="134"/>
                      </a:lnTo>
                      <a:lnTo>
                        <a:pt x="31" y="134"/>
                      </a:lnTo>
                      <a:lnTo>
                        <a:pt x="33" y="135"/>
                      </a:lnTo>
                      <a:lnTo>
                        <a:pt x="36" y="134"/>
                      </a:lnTo>
                      <a:lnTo>
                        <a:pt x="39" y="132"/>
                      </a:lnTo>
                      <a:lnTo>
                        <a:pt x="39" y="129"/>
                      </a:lnTo>
                      <a:lnTo>
                        <a:pt x="33" y="126"/>
                      </a:lnTo>
                      <a:lnTo>
                        <a:pt x="30" y="122"/>
                      </a:lnTo>
                      <a:lnTo>
                        <a:pt x="31" y="121"/>
                      </a:lnTo>
                      <a:lnTo>
                        <a:pt x="32" y="121"/>
                      </a:lnTo>
                      <a:lnTo>
                        <a:pt x="33" y="121"/>
                      </a:lnTo>
                      <a:lnTo>
                        <a:pt x="36" y="121"/>
                      </a:lnTo>
                      <a:lnTo>
                        <a:pt x="37" y="120"/>
                      </a:lnTo>
                      <a:lnTo>
                        <a:pt x="37" y="117"/>
                      </a:lnTo>
                      <a:lnTo>
                        <a:pt x="37" y="113"/>
                      </a:lnTo>
                      <a:lnTo>
                        <a:pt x="37" y="110"/>
                      </a:lnTo>
                      <a:lnTo>
                        <a:pt x="40" y="109"/>
                      </a:lnTo>
                      <a:lnTo>
                        <a:pt x="46" y="107"/>
                      </a:lnTo>
                      <a:lnTo>
                        <a:pt x="49" y="106"/>
                      </a:lnTo>
                      <a:lnTo>
                        <a:pt x="51" y="102"/>
                      </a:lnTo>
                      <a:lnTo>
                        <a:pt x="54" y="101"/>
                      </a:lnTo>
                      <a:lnTo>
                        <a:pt x="55" y="100"/>
                      </a:lnTo>
                      <a:lnTo>
                        <a:pt x="58" y="103"/>
                      </a:lnTo>
                      <a:lnTo>
                        <a:pt x="60" y="106"/>
                      </a:lnTo>
                      <a:lnTo>
                        <a:pt x="61" y="106"/>
                      </a:lnTo>
                      <a:lnTo>
                        <a:pt x="67" y="106"/>
                      </a:lnTo>
                      <a:lnTo>
                        <a:pt x="75" y="106"/>
                      </a:lnTo>
                      <a:lnTo>
                        <a:pt x="78" y="107"/>
                      </a:lnTo>
                      <a:lnTo>
                        <a:pt x="80" y="108"/>
                      </a:lnTo>
                      <a:lnTo>
                        <a:pt x="87" y="111"/>
                      </a:lnTo>
                      <a:lnTo>
                        <a:pt x="92" y="117"/>
                      </a:lnTo>
                      <a:lnTo>
                        <a:pt x="98" y="126"/>
                      </a:lnTo>
                      <a:lnTo>
                        <a:pt x="110" y="140"/>
                      </a:lnTo>
                      <a:lnTo>
                        <a:pt x="116" y="148"/>
                      </a:lnTo>
                      <a:lnTo>
                        <a:pt x="117" y="149"/>
                      </a:lnTo>
                      <a:lnTo>
                        <a:pt x="119" y="149"/>
                      </a:lnTo>
                      <a:lnTo>
                        <a:pt x="124" y="148"/>
                      </a:lnTo>
                      <a:lnTo>
                        <a:pt x="127" y="148"/>
                      </a:lnTo>
                      <a:lnTo>
                        <a:pt x="131" y="149"/>
                      </a:lnTo>
                      <a:lnTo>
                        <a:pt x="135" y="152"/>
                      </a:lnTo>
                      <a:lnTo>
                        <a:pt x="143" y="155"/>
                      </a:lnTo>
                      <a:lnTo>
                        <a:pt x="147" y="156"/>
                      </a:lnTo>
                      <a:lnTo>
                        <a:pt x="150" y="158"/>
                      </a:lnTo>
                      <a:lnTo>
                        <a:pt x="155" y="158"/>
                      </a:lnTo>
                      <a:lnTo>
                        <a:pt x="162" y="158"/>
                      </a:lnTo>
                      <a:lnTo>
                        <a:pt x="167" y="156"/>
                      </a:lnTo>
                      <a:lnTo>
                        <a:pt x="172" y="154"/>
                      </a:lnTo>
                      <a:lnTo>
                        <a:pt x="167" y="151"/>
                      </a:lnTo>
                      <a:lnTo>
                        <a:pt x="163" y="149"/>
                      </a:lnTo>
                      <a:lnTo>
                        <a:pt x="158" y="147"/>
                      </a:lnTo>
                      <a:lnTo>
                        <a:pt x="157" y="145"/>
                      </a:lnTo>
                      <a:lnTo>
                        <a:pt x="154" y="142"/>
                      </a:lnTo>
                      <a:lnTo>
                        <a:pt x="153" y="141"/>
                      </a:lnTo>
                      <a:lnTo>
                        <a:pt x="150" y="140"/>
                      </a:lnTo>
                      <a:lnTo>
                        <a:pt x="148" y="138"/>
                      </a:lnTo>
                      <a:lnTo>
                        <a:pt x="147" y="135"/>
                      </a:lnTo>
                      <a:lnTo>
                        <a:pt x="147" y="133"/>
                      </a:lnTo>
                      <a:lnTo>
                        <a:pt x="147" y="132"/>
                      </a:lnTo>
                      <a:lnTo>
                        <a:pt x="148" y="130"/>
                      </a:lnTo>
                      <a:lnTo>
                        <a:pt x="148" y="129"/>
                      </a:lnTo>
                      <a:lnTo>
                        <a:pt x="145" y="128"/>
                      </a:lnTo>
                      <a:lnTo>
                        <a:pt x="144" y="127"/>
                      </a:lnTo>
                      <a:lnTo>
                        <a:pt x="141" y="127"/>
                      </a:lnTo>
                      <a:lnTo>
                        <a:pt x="139" y="126"/>
                      </a:lnTo>
                      <a:lnTo>
                        <a:pt x="133" y="119"/>
                      </a:lnTo>
                      <a:lnTo>
                        <a:pt x="129" y="116"/>
                      </a:lnTo>
                      <a:lnTo>
                        <a:pt x="124" y="114"/>
                      </a:lnTo>
                      <a:lnTo>
                        <a:pt x="122" y="114"/>
                      </a:lnTo>
                      <a:lnTo>
                        <a:pt x="121" y="111"/>
                      </a:lnTo>
                      <a:lnTo>
                        <a:pt x="121" y="108"/>
                      </a:lnTo>
                      <a:lnTo>
                        <a:pt x="120" y="107"/>
                      </a:lnTo>
                      <a:lnTo>
                        <a:pt x="120" y="106"/>
                      </a:lnTo>
                      <a:lnTo>
                        <a:pt x="115" y="103"/>
                      </a:lnTo>
                      <a:lnTo>
                        <a:pt x="111" y="100"/>
                      </a:lnTo>
                      <a:lnTo>
                        <a:pt x="110" y="95"/>
                      </a:lnTo>
                      <a:lnTo>
                        <a:pt x="108" y="90"/>
                      </a:lnTo>
                      <a:lnTo>
                        <a:pt x="110" y="87"/>
                      </a:lnTo>
                      <a:lnTo>
                        <a:pt x="112" y="82"/>
                      </a:lnTo>
                      <a:lnTo>
                        <a:pt x="113" y="77"/>
                      </a:lnTo>
                      <a:lnTo>
                        <a:pt x="113" y="75"/>
                      </a:lnTo>
                      <a:lnTo>
                        <a:pt x="111" y="72"/>
                      </a:lnTo>
                      <a:lnTo>
                        <a:pt x="106" y="71"/>
                      </a:lnTo>
                      <a:lnTo>
                        <a:pt x="101" y="69"/>
                      </a:lnTo>
                      <a:lnTo>
                        <a:pt x="97" y="66"/>
                      </a:lnTo>
                      <a:lnTo>
                        <a:pt x="93" y="63"/>
                      </a:lnTo>
                      <a:lnTo>
                        <a:pt x="87" y="55"/>
                      </a:lnTo>
                      <a:lnTo>
                        <a:pt x="82" y="46"/>
                      </a:lnTo>
                      <a:lnTo>
                        <a:pt x="80" y="45"/>
                      </a:lnTo>
                      <a:lnTo>
                        <a:pt x="78" y="45"/>
                      </a:lnTo>
                      <a:lnTo>
                        <a:pt x="74" y="45"/>
                      </a:lnTo>
                      <a:lnTo>
                        <a:pt x="72" y="44"/>
                      </a:lnTo>
                      <a:lnTo>
                        <a:pt x="70" y="43"/>
                      </a:lnTo>
                      <a:lnTo>
                        <a:pt x="70" y="39"/>
                      </a:lnTo>
                      <a:lnTo>
                        <a:pt x="70" y="36"/>
                      </a:lnTo>
                      <a:lnTo>
                        <a:pt x="70" y="33"/>
                      </a:lnTo>
                      <a:lnTo>
                        <a:pt x="61" y="28"/>
                      </a:lnTo>
                      <a:lnTo>
                        <a:pt x="53" y="24"/>
                      </a:lnTo>
                      <a:lnTo>
                        <a:pt x="44" y="19"/>
                      </a:lnTo>
                      <a:lnTo>
                        <a:pt x="35" y="13"/>
                      </a:lnTo>
                      <a:lnTo>
                        <a:pt x="32" y="12"/>
                      </a:lnTo>
                      <a:lnTo>
                        <a:pt x="28" y="12"/>
                      </a:lnTo>
                      <a:lnTo>
                        <a:pt x="26" y="12"/>
                      </a:lnTo>
                      <a:lnTo>
                        <a:pt x="22" y="11"/>
                      </a:lnTo>
                      <a:lnTo>
                        <a:pt x="12" y="5"/>
                      </a:lnTo>
                      <a:lnTo>
                        <a:pt x="0" y="0"/>
                      </a:lnTo>
                      <a:lnTo>
                        <a:pt x="2" y="74"/>
                      </a:lnTo>
                      <a:lnTo>
                        <a:pt x="0" y="88"/>
                      </a:lnTo>
                      <a:lnTo>
                        <a:pt x="0" y="102"/>
                      </a:lnTo>
                      <a:lnTo>
                        <a:pt x="3" y="12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2" name="Freeform 257"/>
                <p:cNvSpPr>
                  <a:spLocks/>
                </p:cNvSpPr>
                <p:nvPr/>
              </p:nvSpPr>
              <p:spPr bwMode="auto">
                <a:xfrm>
                  <a:off x="8335642" y="6308379"/>
                  <a:ext cx="10360" cy="20718"/>
                </a:xfrm>
                <a:custGeom>
                  <a:avLst/>
                  <a:gdLst>
                    <a:gd name="T0" fmla="*/ 2147483647 w 7"/>
                    <a:gd name="T1" fmla="*/ 2147483647 h 14"/>
                    <a:gd name="T2" fmla="*/ 2147483647 w 7"/>
                    <a:gd name="T3" fmla="*/ 2147483647 h 14"/>
                    <a:gd name="T4" fmla="*/ 2147483647 w 7"/>
                    <a:gd name="T5" fmla="*/ 2147483647 h 14"/>
                    <a:gd name="T6" fmla="*/ 2147483647 w 7"/>
                    <a:gd name="T7" fmla="*/ 2147483647 h 14"/>
                    <a:gd name="T8" fmla="*/ 2147483647 w 7"/>
                    <a:gd name="T9" fmla="*/ 2147483647 h 14"/>
                    <a:gd name="T10" fmla="*/ 0 w 7"/>
                    <a:gd name="T11" fmla="*/ 2147483647 h 14"/>
                    <a:gd name="T12" fmla="*/ 2147483647 w 7"/>
                    <a:gd name="T13" fmla="*/ 2147483647 h 14"/>
                    <a:gd name="T14" fmla="*/ 2147483647 w 7"/>
                    <a:gd name="T15" fmla="*/ 0 h 14"/>
                    <a:gd name="T16" fmla="*/ 2147483647 w 7"/>
                    <a:gd name="T17" fmla="*/ 0 h 14"/>
                    <a:gd name="T18" fmla="*/ 2147483647 w 7"/>
                    <a:gd name="T19" fmla="*/ 2147483647 h 14"/>
                    <a:gd name="T20" fmla="*/ 2147483647 w 7"/>
                    <a:gd name="T21" fmla="*/ 2147483647 h 14"/>
                    <a:gd name="T22" fmla="*/ 2147483647 w 7"/>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14"/>
                    <a:gd name="T38" fmla="*/ 7 w 7"/>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14">
                      <a:moveTo>
                        <a:pt x="7" y="8"/>
                      </a:moveTo>
                      <a:lnTo>
                        <a:pt x="6" y="11"/>
                      </a:lnTo>
                      <a:lnTo>
                        <a:pt x="5" y="12"/>
                      </a:lnTo>
                      <a:lnTo>
                        <a:pt x="3" y="14"/>
                      </a:lnTo>
                      <a:lnTo>
                        <a:pt x="1" y="12"/>
                      </a:lnTo>
                      <a:lnTo>
                        <a:pt x="0" y="9"/>
                      </a:lnTo>
                      <a:lnTo>
                        <a:pt x="1" y="3"/>
                      </a:lnTo>
                      <a:lnTo>
                        <a:pt x="2" y="0"/>
                      </a:lnTo>
                      <a:lnTo>
                        <a:pt x="3" y="0"/>
                      </a:lnTo>
                      <a:lnTo>
                        <a:pt x="6" y="2"/>
                      </a:lnTo>
                      <a:lnTo>
                        <a:pt x="7" y="3"/>
                      </a:lnTo>
                      <a:lnTo>
                        <a:pt x="7"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3" name="Freeform 258"/>
                <p:cNvSpPr>
                  <a:spLocks/>
                </p:cNvSpPr>
                <p:nvPr/>
              </p:nvSpPr>
              <p:spPr bwMode="auto">
                <a:xfrm>
                  <a:off x="7927194" y="4686439"/>
                  <a:ext cx="235300" cy="232339"/>
                </a:xfrm>
                <a:custGeom>
                  <a:avLst/>
                  <a:gdLst>
                    <a:gd name="T0" fmla="*/ 2147483647 w 172"/>
                    <a:gd name="T1" fmla="*/ 2147483647 h 157"/>
                    <a:gd name="T2" fmla="*/ 2147483647 w 172"/>
                    <a:gd name="T3" fmla="*/ 2147483647 h 157"/>
                    <a:gd name="T4" fmla="*/ 2147483647 w 172"/>
                    <a:gd name="T5" fmla="*/ 2147483647 h 157"/>
                    <a:gd name="T6" fmla="*/ 2147483647 w 172"/>
                    <a:gd name="T7" fmla="*/ 2147483647 h 157"/>
                    <a:gd name="T8" fmla="*/ 2147483647 w 172"/>
                    <a:gd name="T9" fmla="*/ 2147483647 h 157"/>
                    <a:gd name="T10" fmla="*/ 2147483647 w 172"/>
                    <a:gd name="T11" fmla="*/ 2147483647 h 157"/>
                    <a:gd name="T12" fmla="*/ 2147483647 w 172"/>
                    <a:gd name="T13" fmla="*/ 2147483647 h 157"/>
                    <a:gd name="T14" fmla="*/ 2147483647 w 172"/>
                    <a:gd name="T15" fmla="*/ 2147483647 h 157"/>
                    <a:gd name="T16" fmla="*/ 2147483647 w 172"/>
                    <a:gd name="T17" fmla="*/ 2147483647 h 157"/>
                    <a:gd name="T18" fmla="*/ 2147483647 w 172"/>
                    <a:gd name="T19" fmla="*/ 2147483647 h 157"/>
                    <a:gd name="T20" fmla="*/ 2147483647 w 172"/>
                    <a:gd name="T21" fmla="*/ 2147483647 h 157"/>
                    <a:gd name="T22" fmla="*/ 2147483647 w 172"/>
                    <a:gd name="T23" fmla="*/ 2147483647 h 157"/>
                    <a:gd name="T24" fmla="*/ 2147483647 w 172"/>
                    <a:gd name="T25" fmla="*/ 2147483647 h 157"/>
                    <a:gd name="T26" fmla="*/ 2147483647 w 172"/>
                    <a:gd name="T27" fmla="*/ 2147483647 h 157"/>
                    <a:gd name="T28" fmla="*/ 2147483647 w 172"/>
                    <a:gd name="T29" fmla="*/ 2147483647 h 157"/>
                    <a:gd name="T30" fmla="*/ 2147483647 w 172"/>
                    <a:gd name="T31" fmla="*/ 2147483647 h 157"/>
                    <a:gd name="T32" fmla="*/ 2147483647 w 172"/>
                    <a:gd name="T33" fmla="*/ 2147483647 h 157"/>
                    <a:gd name="T34" fmla="*/ 2147483647 w 172"/>
                    <a:gd name="T35" fmla="*/ 2147483647 h 157"/>
                    <a:gd name="T36" fmla="*/ 2147483647 w 172"/>
                    <a:gd name="T37" fmla="*/ 2147483647 h 157"/>
                    <a:gd name="T38" fmla="*/ 2147483647 w 172"/>
                    <a:gd name="T39" fmla="*/ 2147483647 h 157"/>
                    <a:gd name="T40" fmla="*/ 2147483647 w 172"/>
                    <a:gd name="T41" fmla="*/ 2147483647 h 157"/>
                    <a:gd name="T42" fmla="*/ 2147483647 w 172"/>
                    <a:gd name="T43" fmla="*/ 2147483647 h 157"/>
                    <a:gd name="T44" fmla="*/ 2147483647 w 172"/>
                    <a:gd name="T45" fmla="*/ 2147483647 h 157"/>
                    <a:gd name="T46" fmla="*/ 2147483647 w 172"/>
                    <a:gd name="T47" fmla="*/ 2147483647 h 157"/>
                    <a:gd name="T48" fmla="*/ 2147483647 w 172"/>
                    <a:gd name="T49" fmla="*/ 2147483647 h 157"/>
                    <a:gd name="T50" fmla="*/ 2147483647 w 172"/>
                    <a:gd name="T51" fmla="*/ 2147483647 h 157"/>
                    <a:gd name="T52" fmla="*/ 2147483647 w 172"/>
                    <a:gd name="T53" fmla="*/ 2147483647 h 157"/>
                    <a:gd name="T54" fmla="*/ 2147483647 w 172"/>
                    <a:gd name="T55" fmla="*/ 2147483647 h 157"/>
                    <a:gd name="T56" fmla="*/ 2147483647 w 172"/>
                    <a:gd name="T57" fmla="*/ 2147483647 h 157"/>
                    <a:gd name="T58" fmla="*/ 2147483647 w 172"/>
                    <a:gd name="T59" fmla="*/ 2147483647 h 157"/>
                    <a:gd name="T60" fmla="*/ 2147483647 w 172"/>
                    <a:gd name="T61" fmla="*/ 2147483647 h 157"/>
                    <a:gd name="T62" fmla="*/ 2147483647 w 172"/>
                    <a:gd name="T63" fmla="*/ 2147483647 h 157"/>
                    <a:gd name="T64" fmla="*/ 2147483647 w 172"/>
                    <a:gd name="T65" fmla="*/ 2147483647 h 157"/>
                    <a:gd name="T66" fmla="*/ 2147483647 w 172"/>
                    <a:gd name="T67" fmla="*/ 2147483647 h 157"/>
                    <a:gd name="T68" fmla="*/ 2147483647 w 172"/>
                    <a:gd name="T69" fmla="*/ 2147483647 h 157"/>
                    <a:gd name="T70" fmla="*/ 2147483647 w 172"/>
                    <a:gd name="T71" fmla="*/ 2147483647 h 157"/>
                    <a:gd name="T72" fmla="*/ 2147483647 w 172"/>
                    <a:gd name="T73" fmla="*/ 2147483647 h 157"/>
                    <a:gd name="T74" fmla="*/ 2147483647 w 172"/>
                    <a:gd name="T75" fmla="*/ 2147483647 h 157"/>
                    <a:gd name="T76" fmla="*/ 2147483647 w 172"/>
                    <a:gd name="T77" fmla="*/ 2147483647 h 157"/>
                    <a:gd name="T78" fmla="*/ 2147483647 w 172"/>
                    <a:gd name="T79" fmla="*/ 2147483647 h 157"/>
                    <a:gd name="T80" fmla="*/ 2147483647 w 172"/>
                    <a:gd name="T81" fmla="*/ 2147483647 h 157"/>
                    <a:gd name="T82" fmla="*/ 2147483647 w 172"/>
                    <a:gd name="T83" fmla="*/ 2147483647 h 157"/>
                    <a:gd name="T84" fmla="*/ 2147483647 w 172"/>
                    <a:gd name="T85" fmla="*/ 2147483647 h 157"/>
                    <a:gd name="T86" fmla="*/ 2147483647 w 172"/>
                    <a:gd name="T87" fmla="*/ 2147483647 h 157"/>
                    <a:gd name="T88" fmla="*/ 2147483647 w 172"/>
                    <a:gd name="T89" fmla="*/ 2147483647 h 157"/>
                    <a:gd name="T90" fmla="*/ 2147483647 w 172"/>
                    <a:gd name="T91" fmla="*/ 2147483647 h 157"/>
                    <a:gd name="T92" fmla="*/ 2147483647 w 172"/>
                    <a:gd name="T93" fmla="*/ 2147483647 h 157"/>
                    <a:gd name="T94" fmla="*/ 2147483647 w 172"/>
                    <a:gd name="T95" fmla="*/ 2147483647 h 157"/>
                    <a:gd name="T96" fmla="*/ 0 w 172"/>
                    <a:gd name="T97" fmla="*/ 2147483647 h 1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2"/>
                    <a:gd name="T148" fmla="*/ 0 h 157"/>
                    <a:gd name="T149" fmla="*/ 172 w 172"/>
                    <a:gd name="T150" fmla="*/ 157 h 1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2" h="157">
                      <a:moveTo>
                        <a:pt x="3" y="129"/>
                      </a:moveTo>
                      <a:lnTo>
                        <a:pt x="3" y="129"/>
                      </a:lnTo>
                      <a:lnTo>
                        <a:pt x="14" y="133"/>
                      </a:lnTo>
                      <a:lnTo>
                        <a:pt x="21" y="134"/>
                      </a:lnTo>
                      <a:lnTo>
                        <a:pt x="27" y="134"/>
                      </a:lnTo>
                      <a:lnTo>
                        <a:pt x="31" y="134"/>
                      </a:lnTo>
                      <a:lnTo>
                        <a:pt x="33" y="135"/>
                      </a:lnTo>
                      <a:lnTo>
                        <a:pt x="36" y="134"/>
                      </a:lnTo>
                      <a:lnTo>
                        <a:pt x="38" y="131"/>
                      </a:lnTo>
                      <a:lnTo>
                        <a:pt x="38" y="129"/>
                      </a:lnTo>
                      <a:lnTo>
                        <a:pt x="33" y="125"/>
                      </a:lnTo>
                      <a:lnTo>
                        <a:pt x="29" y="122"/>
                      </a:lnTo>
                      <a:lnTo>
                        <a:pt x="31" y="121"/>
                      </a:lnTo>
                      <a:lnTo>
                        <a:pt x="32" y="121"/>
                      </a:lnTo>
                      <a:lnTo>
                        <a:pt x="33" y="121"/>
                      </a:lnTo>
                      <a:lnTo>
                        <a:pt x="36" y="121"/>
                      </a:lnTo>
                      <a:lnTo>
                        <a:pt x="37" y="120"/>
                      </a:lnTo>
                      <a:lnTo>
                        <a:pt x="37" y="117"/>
                      </a:lnTo>
                      <a:lnTo>
                        <a:pt x="37" y="112"/>
                      </a:lnTo>
                      <a:lnTo>
                        <a:pt x="37" y="110"/>
                      </a:lnTo>
                      <a:lnTo>
                        <a:pt x="40" y="109"/>
                      </a:lnTo>
                      <a:lnTo>
                        <a:pt x="46" y="107"/>
                      </a:lnTo>
                      <a:lnTo>
                        <a:pt x="48" y="105"/>
                      </a:lnTo>
                      <a:lnTo>
                        <a:pt x="51" y="102"/>
                      </a:lnTo>
                      <a:lnTo>
                        <a:pt x="54" y="101"/>
                      </a:lnTo>
                      <a:lnTo>
                        <a:pt x="55" y="99"/>
                      </a:lnTo>
                      <a:lnTo>
                        <a:pt x="57" y="103"/>
                      </a:lnTo>
                      <a:lnTo>
                        <a:pt x="60" y="105"/>
                      </a:lnTo>
                      <a:lnTo>
                        <a:pt x="61" y="105"/>
                      </a:lnTo>
                      <a:lnTo>
                        <a:pt x="66" y="105"/>
                      </a:lnTo>
                      <a:lnTo>
                        <a:pt x="75" y="105"/>
                      </a:lnTo>
                      <a:lnTo>
                        <a:pt x="78" y="107"/>
                      </a:lnTo>
                      <a:lnTo>
                        <a:pt x="80" y="108"/>
                      </a:lnTo>
                      <a:lnTo>
                        <a:pt x="87" y="111"/>
                      </a:lnTo>
                      <a:lnTo>
                        <a:pt x="92" y="117"/>
                      </a:lnTo>
                      <a:lnTo>
                        <a:pt x="98" y="125"/>
                      </a:lnTo>
                      <a:lnTo>
                        <a:pt x="109" y="140"/>
                      </a:lnTo>
                      <a:lnTo>
                        <a:pt x="116" y="148"/>
                      </a:lnTo>
                      <a:lnTo>
                        <a:pt x="117" y="149"/>
                      </a:lnTo>
                      <a:lnTo>
                        <a:pt x="118" y="149"/>
                      </a:lnTo>
                      <a:lnTo>
                        <a:pt x="123" y="148"/>
                      </a:lnTo>
                      <a:lnTo>
                        <a:pt x="127" y="148"/>
                      </a:lnTo>
                      <a:lnTo>
                        <a:pt x="131" y="149"/>
                      </a:lnTo>
                      <a:lnTo>
                        <a:pt x="135" y="152"/>
                      </a:lnTo>
                      <a:lnTo>
                        <a:pt x="142" y="155"/>
                      </a:lnTo>
                      <a:lnTo>
                        <a:pt x="146" y="156"/>
                      </a:lnTo>
                      <a:lnTo>
                        <a:pt x="150" y="157"/>
                      </a:lnTo>
                      <a:lnTo>
                        <a:pt x="155" y="157"/>
                      </a:lnTo>
                      <a:lnTo>
                        <a:pt x="161" y="157"/>
                      </a:lnTo>
                      <a:lnTo>
                        <a:pt x="167" y="156"/>
                      </a:lnTo>
                      <a:lnTo>
                        <a:pt x="172" y="154"/>
                      </a:lnTo>
                      <a:lnTo>
                        <a:pt x="167" y="150"/>
                      </a:lnTo>
                      <a:lnTo>
                        <a:pt x="163" y="149"/>
                      </a:lnTo>
                      <a:lnTo>
                        <a:pt x="158" y="147"/>
                      </a:lnTo>
                      <a:lnTo>
                        <a:pt x="156" y="144"/>
                      </a:lnTo>
                      <a:lnTo>
                        <a:pt x="154" y="142"/>
                      </a:lnTo>
                      <a:lnTo>
                        <a:pt x="153" y="141"/>
                      </a:lnTo>
                      <a:lnTo>
                        <a:pt x="150" y="140"/>
                      </a:lnTo>
                      <a:lnTo>
                        <a:pt x="148" y="137"/>
                      </a:lnTo>
                      <a:lnTo>
                        <a:pt x="146" y="135"/>
                      </a:lnTo>
                      <a:lnTo>
                        <a:pt x="146" y="133"/>
                      </a:lnTo>
                      <a:lnTo>
                        <a:pt x="146" y="131"/>
                      </a:lnTo>
                      <a:lnTo>
                        <a:pt x="148" y="130"/>
                      </a:lnTo>
                      <a:lnTo>
                        <a:pt x="148" y="129"/>
                      </a:lnTo>
                      <a:lnTo>
                        <a:pt x="145" y="128"/>
                      </a:lnTo>
                      <a:lnTo>
                        <a:pt x="144" y="127"/>
                      </a:lnTo>
                      <a:lnTo>
                        <a:pt x="141" y="127"/>
                      </a:lnTo>
                      <a:lnTo>
                        <a:pt x="139" y="125"/>
                      </a:lnTo>
                      <a:lnTo>
                        <a:pt x="132" y="118"/>
                      </a:lnTo>
                      <a:lnTo>
                        <a:pt x="128" y="116"/>
                      </a:lnTo>
                      <a:lnTo>
                        <a:pt x="123" y="114"/>
                      </a:lnTo>
                      <a:lnTo>
                        <a:pt x="122" y="114"/>
                      </a:lnTo>
                      <a:lnTo>
                        <a:pt x="121" y="111"/>
                      </a:lnTo>
                      <a:lnTo>
                        <a:pt x="121" y="108"/>
                      </a:lnTo>
                      <a:lnTo>
                        <a:pt x="120" y="107"/>
                      </a:lnTo>
                      <a:lnTo>
                        <a:pt x="120" y="105"/>
                      </a:lnTo>
                      <a:lnTo>
                        <a:pt x="114" y="103"/>
                      </a:lnTo>
                      <a:lnTo>
                        <a:pt x="111" y="99"/>
                      </a:lnTo>
                      <a:lnTo>
                        <a:pt x="109" y="95"/>
                      </a:lnTo>
                      <a:lnTo>
                        <a:pt x="108" y="90"/>
                      </a:lnTo>
                      <a:lnTo>
                        <a:pt x="109" y="86"/>
                      </a:lnTo>
                      <a:lnTo>
                        <a:pt x="112" y="82"/>
                      </a:lnTo>
                      <a:lnTo>
                        <a:pt x="113" y="77"/>
                      </a:lnTo>
                      <a:lnTo>
                        <a:pt x="113" y="75"/>
                      </a:lnTo>
                      <a:lnTo>
                        <a:pt x="111" y="72"/>
                      </a:lnTo>
                      <a:lnTo>
                        <a:pt x="106" y="71"/>
                      </a:lnTo>
                      <a:lnTo>
                        <a:pt x="101" y="69"/>
                      </a:lnTo>
                      <a:lnTo>
                        <a:pt x="97" y="66"/>
                      </a:lnTo>
                      <a:lnTo>
                        <a:pt x="93" y="63"/>
                      </a:lnTo>
                      <a:lnTo>
                        <a:pt x="87" y="54"/>
                      </a:lnTo>
                      <a:lnTo>
                        <a:pt x="81" y="46"/>
                      </a:lnTo>
                      <a:lnTo>
                        <a:pt x="80" y="45"/>
                      </a:lnTo>
                      <a:lnTo>
                        <a:pt x="78" y="45"/>
                      </a:lnTo>
                      <a:lnTo>
                        <a:pt x="74" y="45"/>
                      </a:lnTo>
                      <a:lnTo>
                        <a:pt x="71" y="44"/>
                      </a:lnTo>
                      <a:lnTo>
                        <a:pt x="70" y="42"/>
                      </a:lnTo>
                      <a:lnTo>
                        <a:pt x="70" y="39"/>
                      </a:lnTo>
                      <a:lnTo>
                        <a:pt x="70" y="35"/>
                      </a:lnTo>
                      <a:lnTo>
                        <a:pt x="70" y="33"/>
                      </a:lnTo>
                      <a:lnTo>
                        <a:pt x="61" y="28"/>
                      </a:lnTo>
                      <a:lnTo>
                        <a:pt x="52" y="24"/>
                      </a:lnTo>
                      <a:lnTo>
                        <a:pt x="43" y="19"/>
                      </a:lnTo>
                      <a:lnTo>
                        <a:pt x="34" y="13"/>
                      </a:lnTo>
                      <a:lnTo>
                        <a:pt x="32" y="12"/>
                      </a:lnTo>
                      <a:lnTo>
                        <a:pt x="28" y="12"/>
                      </a:lnTo>
                      <a:lnTo>
                        <a:pt x="26" y="12"/>
                      </a:lnTo>
                      <a:lnTo>
                        <a:pt x="22" y="10"/>
                      </a:lnTo>
                      <a:lnTo>
                        <a:pt x="12" y="5"/>
                      </a:lnTo>
                      <a:lnTo>
                        <a:pt x="0" y="0"/>
                      </a:lnTo>
                      <a:lnTo>
                        <a:pt x="1" y="73"/>
                      </a:lnTo>
                      <a:lnTo>
                        <a:pt x="0" y="88"/>
                      </a:lnTo>
                      <a:lnTo>
                        <a:pt x="0" y="102"/>
                      </a:lnTo>
                      <a:lnTo>
                        <a:pt x="3" y="12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4" name="Freeform 259"/>
                <p:cNvSpPr>
                  <a:spLocks/>
                </p:cNvSpPr>
                <p:nvPr/>
              </p:nvSpPr>
              <p:spPr bwMode="auto">
                <a:xfrm>
                  <a:off x="8334159" y="6306895"/>
                  <a:ext cx="10359" cy="19239"/>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2147483647 w 8"/>
                    <a:gd name="T9" fmla="*/ 2147483647 h 13"/>
                    <a:gd name="T10" fmla="*/ 2147483647 w 8"/>
                    <a:gd name="T11" fmla="*/ 2147483647 h 13"/>
                    <a:gd name="T12" fmla="*/ 2147483647 w 8"/>
                    <a:gd name="T13" fmla="*/ 2147483647 h 13"/>
                    <a:gd name="T14" fmla="*/ 0 w 8"/>
                    <a:gd name="T15" fmla="*/ 2147483647 h 13"/>
                    <a:gd name="T16" fmla="*/ 2147483647 w 8"/>
                    <a:gd name="T17" fmla="*/ 2147483647 h 13"/>
                    <a:gd name="T18" fmla="*/ 2147483647 w 8"/>
                    <a:gd name="T19" fmla="*/ 2147483647 h 13"/>
                    <a:gd name="T20" fmla="*/ 2147483647 w 8"/>
                    <a:gd name="T21" fmla="*/ 0 h 13"/>
                    <a:gd name="T22" fmla="*/ 2147483647 w 8"/>
                    <a:gd name="T23" fmla="*/ 0 h 13"/>
                    <a:gd name="T24" fmla="*/ 2147483647 w 8"/>
                    <a:gd name="T25" fmla="*/ 0 h 13"/>
                    <a:gd name="T26" fmla="*/ 2147483647 w 8"/>
                    <a:gd name="T27" fmla="*/ 2147483647 h 13"/>
                    <a:gd name="T28" fmla="*/ 2147483647 w 8"/>
                    <a:gd name="T29" fmla="*/ 2147483647 h 13"/>
                    <a:gd name="T30" fmla="*/ 2147483647 w 8"/>
                    <a:gd name="T31" fmla="*/ 2147483647 h 13"/>
                    <a:gd name="T32" fmla="*/ 2147483647 w 8"/>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3"/>
                    <a:gd name="T53" fmla="*/ 8 w 8"/>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3">
                      <a:moveTo>
                        <a:pt x="8" y="7"/>
                      </a:moveTo>
                      <a:lnTo>
                        <a:pt x="8" y="7"/>
                      </a:lnTo>
                      <a:lnTo>
                        <a:pt x="7" y="11"/>
                      </a:lnTo>
                      <a:lnTo>
                        <a:pt x="5" y="12"/>
                      </a:lnTo>
                      <a:lnTo>
                        <a:pt x="4" y="13"/>
                      </a:lnTo>
                      <a:lnTo>
                        <a:pt x="2" y="12"/>
                      </a:lnTo>
                      <a:lnTo>
                        <a:pt x="0" y="9"/>
                      </a:lnTo>
                      <a:lnTo>
                        <a:pt x="2" y="3"/>
                      </a:lnTo>
                      <a:lnTo>
                        <a:pt x="3" y="0"/>
                      </a:lnTo>
                      <a:lnTo>
                        <a:pt x="4" y="0"/>
                      </a:lnTo>
                      <a:lnTo>
                        <a:pt x="7" y="1"/>
                      </a:lnTo>
                      <a:lnTo>
                        <a:pt x="8" y="3"/>
                      </a:lnTo>
                      <a:lnTo>
                        <a:pt x="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5" name="Freeform 272"/>
                <p:cNvSpPr>
                  <a:spLocks/>
                </p:cNvSpPr>
                <p:nvPr/>
              </p:nvSpPr>
              <p:spPr bwMode="auto">
                <a:xfrm>
                  <a:off x="8884673" y="5535886"/>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5" y="3"/>
                      </a:moveTo>
                      <a:lnTo>
                        <a:pt x="4" y="6"/>
                      </a:lnTo>
                      <a:lnTo>
                        <a:pt x="2" y="6"/>
                      </a:lnTo>
                      <a:lnTo>
                        <a:pt x="1" y="3"/>
                      </a:lnTo>
                      <a:lnTo>
                        <a:pt x="0" y="1"/>
                      </a:lnTo>
                      <a:lnTo>
                        <a:pt x="1" y="0"/>
                      </a:lnTo>
                      <a:lnTo>
                        <a:pt x="2" y="0"/>
                      </a:lnTo>
                      <a:lnTo>
                        <a:pt x="2" y="1"/>
                      </a:lnTo>
                      <a:lnTo>
                        <a:pt x="4" y="1"/>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6" name="Freeform 273"/>
                <p:cNvSpPr>
                  <a:spLocks/>
                </p:cNvSpPr>
                <p:nvPr/>
              </p:nvSpPr>
              <p:spPr bwMode="auto">
                <a:xfrm>
                  <a:off x="8889113" y="5498886"/>
                  <a:ext cx="8879"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0 w 6"/>
                    <a:gd name="T9" fmla="*/ 2147483647 h 8"/>
                    <a:gd name="T10" fmla="*/ 0 w 6"/>
                    <a:gd name="T11" fmla="*/ 2147483647 h 8"/>
                    <a:gd name="T12" fmla="*/ 2147483647 w 6"/>
                    <a:gd name="T13" fmla="*/ 0 h 8"/>
                    <a:gd name="T14" fmla="*/ 2147483647 w 6"/>
                    <a:gd name="T15" fmla="*/ 2147483647 h 8"/>
                    <a:gd name="T16" fmla="*/ 2147483647 w 6"/>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6"/>
                      </a:moveTo>
                      <a:lnTo>
                        <a:pt x="6" y="8"/>
                      </a:lnTo>
                      <a:lnTo>
                        <a:pt x="5" y="8"/>
                      </a:lnTo>
                      <a:lnTo>
                        <a:pt x="2" y="7"/>
                      </a:lnTo>
                      <a:lnTo>
                        <a:pt x="0" y="4"/>
                      </a:lnTo>
                      <a:lnTo>
                        <a:pt x="0" y="2"/>
                      </a:lnTo>
                      <a:lnTo>
                        <a:pt x="1" y="0"/>
                      </a:lnTo>
                      <a:lnTo>
                        <a:pt x="4" y="2"/>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7" name="Freeform 274"/>
                <p:cNvSpPr>
                  <a:spLocks/>
                </p:cNvSpPr>
                <p:nvPr/>
              </p:nvSpPr>
              <p:spPr bwMode="auto">
                <a:xfrm>
                  <a:off x="8883192" y="5532926"/>
                  <a:ext cx="5919" cy="8879"/>
                </a:xfrm>
                <a:custGeom>
                  <a:avLst/>
                  <a:gdLst>
                    <a:gd name="T0" fmla="*/ 2147483647 w 5"/>
                    <a:gd name="T1" fmla="*/ 2147483647 h 6"/>
                    <a:gd name="T2" fmla="*/ 2147483647 w 5"/>
                    <a:gd name="T3" fmla="*/ 2147483647 h 6"/>
                    <a:gd name="T4" fmla="*/ 2147483647 w 5"/>
                    <a:gd name="T5" fmla="*/ 2147483647 h 6"/>
                    <a:gd name="T6" fmla="*/ 2147483647 w 5"/>
                    <a:gd name="T7" fmla="*/ 2147483647 h 6"/>
                    <a:gd name="T8" fmla="*/ 2147483647 w 5"/>
                    <a:gd name="T9" fmla="*/ 2147483647 h 6"/>
                    <a:gd name="T10" fmla="*/ 2147483647 w 5"/>
                    <a:gd name="T11" fmla="*/ 2147483647 h 6"/>
                    <a:gd name="T12" fmla="*/ 0 w 5"/>
                    <a:gd name="T13" fmla="*/ 2147483647 h 6"/>
                    <a:gd name="T14" fmla="*/ 2147483647 w 5"/>
                    <a:gd name="T15" fmla="*/ 0 h 6"/>
                    <a:gd name="T16" fmla="*/ 2147483647 w 5"/>
                    <a:gd name="T17" fmla="*/ 0 h 6"/>
                    <a:gd name="T18" fmla="*/ 2147483647 w 5"/>
                    <a:gd name="T19" fmla="*/ 0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4"/>
                      </a:moveTo>
                      <a:lnTo>
                        <a:pt x="5" y="4"/>
                      </a:lnTo>
                      <a:lnTo>
                        <a:pt x="3" y="6"/>
                      </a:lnTo>
                      <a:lnTo>
                        <a:pt x="2" y="6"/>
                      </a:lnTo>
                      <a:lnTo>
                        <a:pt x="1" y="4"/>
                      </a:lnTo>
                      <a:lnTo>
                        <a:pt x="0" y="2"/>
                      </a:lnTo>
                      <a:lnTo>
                        <a:pt x="1" y="0"/>
                      </a:lnTo>
                      <a:lnTo>
                        <a:pt x="2" y="0"/>
                      </a:lnTo>
                      <a:lnTo>
                        <a:pt x="2" y="2"/>
                      </a:lnTo>
                      <a:lnTo>
                        <a:pt x="3" y="2"/>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8" name="Freeform 275"/>
                <p:cNvSpPr>
                  <a:spLocks/>
                </p:cNvSpPr>
                <p:nvPr/>
              </p:nvSpPr>
              <p:spPr bwMode="auto">
                <a:xfrm>
                  <a:off x="8886155" y="5497405"/>
                  <a:ext cx="10360" cy="11839"/>
                </a:xfrm>
                <a:custGeom>
                  <a:avLst/>
                  <a:gdLst>
                    <a:gd name="T0" fmla="*/ 2147483647 w 7"/>
                    <a:gd name="T1" fmla="*/ 2147483647 h 8"/>
                    <a:gd name="T2" fmla="*/ 2147483647 w 7"/>
                    <a:gd name="T3" fmla="*/ 2147483647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0 w 7"/>
                    <a:gd name="T15" fmla="*/ 2147483647 h 8"/>
                    <a:gd name="T16" fmla="*/ 0 w 7"/>
                    <a:gd name="T17" fmla="*/ 2147483647 h 8"/>
                    <a:gd name="T18" fmla="*/ 2147483647 w 7"/>
                    <a:gd name="T19" fmla="*/ 0 h 8"/>
                    <a:gd name="T20" fmla="*/ 2147483647 w 7"/>
                    <a:gd name="T21" fmla="*/ 0 h 8"/>
                    <a:gd name="T22" fmla="*/ 2147483647 w 7"/>
                    <a:gd name="T23" fmla="*/ 2147483647 h 8"/>
                    <a:gd name="T24" fmla="*/ 2147483647 w 7"/>
                    <a:gd name="T25" fmla="*/ 2147483647 h 8"/>
                    <a:gd name="T26" fmla="*/ 2147483647 w 7"/>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8"/>
                    <a:gd name="T44" fmla="*/ 7 w 7"/>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8">
                      <a:moveTo>
                        <a:pt x="7" y="5"/>
                      </a:moveTo>
                      <a:lnTo>
                        <a:pt x="7" y="5"/>
                      </a:lnTo>
                      <a:lnTo>
                        <a:pt x="7" y="8"/>
                      </a:lnTo>
                      <a:lnTo>
                        <a:pt x="6" y="8"/>
                      </a:lnTo>
                      <a:lnTo>
                        <a:pt x="3" y="7"/>
                      </a:lnTo>
                      <a:lnTo>
                        <a:pt x="0" y="4"/>
                      </a:lnTo>
                      <a:lnTo>
                        <a:pt x="0" y="2"/>
                      </a:lnTo>
                      <a:lnTo>
                        <a:pt x="2" y="0"/>
                      </a:lnTo>
                      <a:lnTo>
                        <a:pt x="4" y="2"/>
                      </a:lnTo>
                      <a:lnTo>
                        <a:pt x="7"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69" name="Freeform 276"/>
                <p:cNvSpPr>
                  <a:spLocks/>
                </p:cNvSpPr>
                <p:nvPr/>
              </p:nvSpPr>
              <p:spPr bwMode="auto">
                <a:xfrm>
                  <a:off x="7290853" y="3949463"/>
                  <a:ext cx="10360" cy="8879"/>
                </a:xfrm>
                <a:custGeom>
                  <a:avLst/>
                  <a:gdLst>
                    <a:gd name="T0" fmla="*/ 2147483647 w 7"/>
                    <a:gd name="T1" fmla="*/ 2147483647 h 6"/>
                    <a:gd name="T2" fmla="*/ 2147483647 w 7"/>
                    <a:gd name="T3" fmla="*/ 0 h 6"/>
                    <a:gd name="T4" fmla="*/ 2147483647 w 7"/>
                    <a:gd name="T5" fmla="*/ 0 h 6"/>
                    <a:gd name="T6" fmla="*/ 2147483647 w 7"/>
                    <a:gd name="T7" fmla="*/ 0 h 6"/>
                    <a:gd name="T8" fmla="*/ 0 w 7"/>
                    <a:gd name="T9" fmla="*/ 2147483647 h 6"/>
                    <a:gd name="T10" fmla="*/ 0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2"/>
                      </a:moveTo>
                      <a:lnTo>
                        <a:pt x="4" y="0"/>
                      </a:lnTo>
                      <a:lnTo>
                        <a:pt x="3" y="0"/>
                      </a:lnTo>
                      <a:lnTo>
                        <a:pt x="1" y="0"/>
                      </a:lnTo>
                      <a:lnTo>
                        <a:pt x="0" y="2"/>
                      </a:lnTo>
                      <a:lnTo>
                        <a:pt x="0" y="5"/>
                      </a:lnTo>
                      <a:lnTo>
                        <a:pt x="1" y="6"/>
                      </a:lnTo>
                      <a:lnTo>
                        <a:pt x="5" y="6"/>
                      </a:lnTo>
                      <a:lnTo>
                        <a:pt x="5" y="5"/>
                      </a:lnTo>
                      <a:lnTo>
                        <a:pt x="7" y="3"/>
                      </a:lnTo>
                      <a:lnTo>
                        <a:pt x="7"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0" name="Freeform 277"/>
                <p:cNvSpPr>
                  <a:spLocks/>
                </p:cNvSpPr>
                <p:nvPr/>
              </p:nvSpPr>
              <p:spPr bwMode="auto">
                <a:xfrm>
                  <a:off x="6333373" y="4297233"/>
                  <a:ext cx="5919" cy="8879"/>
                </a:xfrm>
                <a:custGeom>
                  <a:avLst/>
                  <a:gdLst>
                    <a:gd name="T0" fmla="*/ 2147483647 w 4"/>
                    <a:gd name="T1" fmla="*/ 2147483647 h 6"/>
                    <a:gd name="T2" fmla="*/ 2147483647 w 4"/>
                    <a:gd name="T3" fmla="*/ 2147483647 h 6"/>
                    <a:gd name="T4" fmla="*/ 2147483647 w 4"/>
                    <a:gd name="T5" fmla="*/ 2147483647 h 6"/>
                    <a:gd name="T6" fmla="*/ 0 w 4"/>
                    <a:gd name="T7" fmla="*/ 2147483647 h 6"/>
                    <a:gd name="T8" fmla="*/ 0 w 4"/>
                    <a:gd name="T9" fmla="*/ 2147483647 h 6"/>
                    <a:gd name="T10" fmla="*/ 2147483647 w 4"/>
                    <a:gd name="T11" fmla="*/ 0 h 6"/>
                    <a:gd name="T12" fmla="*/ 2147483647 w 4"/>
                    <a:gd name="T13" fmla="*/ 2147483647 h 6"/>
                    <a:gd name="T14" fmla="*/ 2147483647 w 4"/>
                    <a:gd name="T15" fmla="*/ 2147483647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3"/>
                      </a:moveTo>
                      <a:lnTo>
                        <a:pt x="4" y="6"/>
                      </a:lnTo>
                      <a:lnTo>
                        <a:pt x="1" y="6"/>
                      </a:lnTo>
                      <a:lnTo>
                        <a:pt x="0" y="3"/>
                      </a:lnTo>
                      <a:lnTo>
                        <a:pt x="0" y="1"/>
                      </a:lnTo>
                      <a:lnTo>
                        <a:pt x="1" y="0"/>
                      </a:lnTo>
                      <a:lnTo>
                        <a:pt x="3" y="1"/>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1" name="Freeform 278"/>
                <p:cNvSpPr>
                  <a:spLocks/>
                </p:cNvSpPr>
                <p:nvPr/>
              </p:nvSpPr>
              <p:spPr bwMode="auto">
                <a:xfrm>
                  <a:off x="7289370" y="3947983"/>
                  <a:ext cx="8879" cy="8879"/>
                </a:xfrm>
                <a:custGeom>
                  <a:avLst/>
                  <a:gdLst>
                    <a:gd name="T0" fmla="*/ 2147483647 w 6"/>
                    <a:gd name="T1" fmla="*/ 2147483647 h 6"/>
                    <a:gd name="T2" fmla="*/ 2147483647 w 6"/>
                    <a:gd name="T3" fmla="*/ 2147483647 h 6"/>
                    <a:gd name="T4" fmla="*/ 2147483647 w 6"/>
                    <a:gd name="T5" fmla="*/ 0 h 6"/>
                    <a:gd name="T6" fmla="*/ 2147483647 w 6"/>
                    <a:gd name="T7" fmla="*/ 0 h 6"/>
                    <a:gd name="T8" fmla="*/ 2147483647 w 6"/>
                    <a:gd name="T9" fmla="*/ 0 h 6"/>
                    <a:gd name="T10" fmla="*/ 2147483647 w 6"/>
                    <a:gd name="T11" fmla="*/ 0 h 6"/>
                    <a:gd name="T12" fmla="*/ 0 w 6"/>
                    <a:gd name="T13" fmla="*/ 2147483647 h 6"/>
                    <a:gd name="T14" fmla="*/ 0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2147483647 h 6"/>
                    <a:gd name="T30" fmla="*/ 2147483647 w 6"/>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6"/>
                    <a:gd name="T50" fmla="*/ 6 w 6"/>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6">
                      <a:moveTo>
                        <a:pt x="6" y="2"/>
                      </a:moveTo>
                      <a:lnTo>
                        <a:pt x="6" y="2"/>
                      </a:lnTo>
                      <a:lnTo>
                        <a:pt x="4" y="0"/>
                      </a:lnTo>
                      <a:lnTo>
                        <a:pt x="2" y="0"/>
                      </a:lnTo>
                      <a:lnTo>
                        <a:pt x="1" y="0"/>
                      </a:lnTo>
                      <a:lnTo>
                        <a:pt x="0" y="2"/>
                      </a:lnTo>
                      <a:lnTo>
                        <a:pt x="0" y="4"/>
                      </a:lnTo>
                      <a:lnTo>
                        <a:pt x="1" y="6"/>
                      </a:lnTo>
                      <a:lnTo>
                        <a:pt x="5" y="6"/>
                      </a:lnTo>
                      <a:lnTo>
                        <a:pt x="5" y="4"/>
                      </a:lnTo>
                      <a:lnTo>
                        <a:pt x="6" y="3"/>
                      </a:lnTo>
                      <a:lnTo>
                        <a:pt x="6"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2" name="Freeform 279"/>
                <p:cNvSpPr>
                  <a:spLocks/>
                </p:cNvSpPr>
                <p:nvPr/>
              </p:nvSpPr>
              <p:spPr bwMode="auto">
                <a:xfrm>
                  <a:off x="6331893" y="4294273"/>
                  <a:ext cx="5919" cy="8879"/>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2147483647 w 4"/>
                    <a:gd name="T11" fmla="*/ 2147483647 h 6"/>
                    <a:gd name="T12" fmla="*/ 0 w 4"/>
                    <a:gd name="T13" fmla="*/ 2147483647 h 6"/>
                    <a:gd name="T14" fmla="*/ 0 w 4"/>
                    <a:gd name="T15" fmla="*/ 2147483647 h 6"/>
                    <a:gd name="T16" fmla="*/ 0 w 4"/>
                    <a:gd name="T17" fmla="*/ 2147483647 h 6"/>
                    <a:gd name="T18" fmla="*/ 2147483647 w 4"/>
                    <a:gd name="T19" fmla="*/ 0 h 6"/>
                    <a:gd name="T20" fmla="*/ 2147483647 w 4"/>
                    <a:gd name="T21" fmla="*/ 2147483647 h 6"/>
                    <a:gd name="T22" fmla="*/ 2147483647 w 4"/>
                    <a:gd name="T23" fmla="*/ 2147483647 h 6"/>
                    <a:gd name="T24" fmla="*/ 2147483647 w 4"/>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4" y="4"/>
                      </a:moveTo>
                      <a:lnTo>
                        <a:pt x="4" y="4"/>
                      </a:lnTo>
                      <a:lnTo>
                        <a:pt x="4" y="6"/>
                      </a:lnTo>
                      <a:lnTo>
                        <a:pt x="1" y="6"/>
                      </a:lnTo>
                      <a:lnTo>
                        <a:pt x="0" y="4"/>
                      </a:lnTo>
                      <a:lnTo>
                        <a:pt x="0" y="2"/>
                      </a:lnTo>
                      <a:lnTo>
                        <a:pt x="1" y="0"/>
                      </a:lnTo>
                      <a:lnTo>
                        <a:pt x="2" y="2"/>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3" name="Freeform 280"/>
                <p:cNvSpPr>
                  <a:spLocks/>
                </p:cNvSpPr>
                <p:nvPr/>
              </p:nvSpPr>
              <p:spPr bwMode="auto">
                <a:xfrm>
                  <a:off x="6493198" y="4341625"/>
                  <a:ext cx="59195" cy="112470"/>
                </a:xfrm>
                <a:custGeom>
                  <a:avLst/>
                  <a:gdLst>
                    <a:gd name="T0" fmla="*/ 2147483647 w 43"/>
                    <a:gd name="T1" fmla="*/ 2147483647 h 76"/>
                    <a:gd name="T2" fmla="*/ 2147483647 w 43"/>
                    <a:gd name="T3" fmla="*/ 2147483647 h 76"/>
                    <a:gd name="T4" fmla="*/ 2147483647 w 43"/>
                    <a:gd name="T5" fmla="*/ 2147483647 h 76"/>
                    <a:gd name="T6" fmla="*/ 2147483647 w 43"/>
                    <a:gd name="T7" fmla="*/ 2147483647 h 76"/>
                    <a:gd name="T8" fmla="*/ 2147483647 w 43"/>
                    <a:gd name="T9" fmla="*/ 2147483647 h 76"/>
                    <a:gd name="T10" fmla="*/ 2147483647 w 43"/>
                    <a:gd name="T11" fmla="*/ 2147483647 h 76"/>
                    <a:gd name="T12" fmla="*/ 2147483647 w 43"/>
                    <a:gd name="T13" fmla="*/ 2147483647 h 76"/>
                    <a:gd name="T14" fmla="*/ 2147483647 w 43"/>
                    <a:gd name="T15" fmla="*/ 2147483647 h 76"/>
                    <a:gd name="T16" fmla="*/ 2147483647 w 43"/>
                    <a:gd name="T17" fmla="*/ 2147483647 h 76"/>
                    <a:gd name="T18" fmla="*/ 2147483647 w 43"/>
                    <a:gd name="T19" fmla="*/ 2147483647 h 76"/>
                    <a:gd name="T20" fmla="*/ 2147483647 w 43"/>
                    <a:gd name="T21" fmla="*/ 2147483647 h 76"/>
                    <a:gd name="T22" fmla="*/ 2147483647 w 43"/>
                    <a:gd name="T23" fmla="*/ 0 h 76"/>
                    <a:gd name="T24" fmla="*/ 2147483647 w 43"/>
                    <a:gd name="T25" fmla="*/ 2147483647 h 76"/>
                    <a:gd name="T26" fmla="*/ 2147483647 w 43"/>
                    <a:gd name="T27" fmla="*/ 2147483647 h 76"/>
                    <a:gd name="T28" fmla="*/ 2147483647 w 43"/>
                    <a:gd name="T29" fmla="*/ 2147483647 h 76"/>
                    <a:gd name="T30" fmla="*/ 2147483647 w 43"/>
                    <a:gd name="T31" fmla="*/ 2147483647 h 76"/>
                    <a:gd name="T32" fmla="*/ 2147483647 w 43"/>
                    <a:gd name="T33" fmla="*/ 2147483647 h 76"/>
                    <a:gd name="T34" fmla="*/ 2147483647 w 43"/>
                    <a:gd name="T35" fmla="*/ 2147483647 h 76"/>
                    <a:gd name="T36" fmla="*/ 2147483647 w 43"/>
                    <a:gd name="T37" fmla="*/ 2147483647 h 76"/>
                    <a:gd name="T38" fmla="*/ 2147483647 w 43"/>
                    <a:gd name="T39" fmla="*/ 2147483647 h 76"/>
                    <a:gd name="T40" fmla="*/ 2147483647 w 43"/>
                    <a:gd name="T41" fmla="*/ 2147483647 h 76"/>
                    <a:gd name="T42" fmla="*/ 2147483647 w 43"/>
                    <a:gd name="T43" fmla="*/ 2147483647 h 76"/>
                    <a:gd name="T44" fmla="*/ 0 w 43"/>
                    <a:gd name="T45" fmla="*/ 2147483647 h 76"/>
                    <a:gd name="T46" fmla="*/ 0 w 43"/>
                    <a:gd name="T47" fmla="*/ 2147483647 h 76"/>
                    <a:gd name="T48" fmla="*/ 2147483647 w 43"/>
                    <a:gd name="T49" fmla="*/ 2147483647 h 76"/>
                    <a:gd name="T50" fmla="*/ 2147483647 w 43"/>
                    <a:gd name="T51" fmla="*/ 2147483647 h 76"/>
                    <a:gd name="T52" fmla="*/ 2147483647 w 43"/>
                    <a:gd name="T53" fmla="*/ 2147483647 h 76"/>
                    <a:gd name="T54" fmla="*/ 2147483647 w 43"/>
                    <a:gd name="T55" fmla="*/ 2147483647 h 76"/>
                    <a:gd name="T56" fmla="*/ 2147483647 w 43"/>
                    <a:gd name="T57" fmla="*/ 2147483647 h 76"/>
                    <a:gd name="T58" fmla="*/ 2147483647 w 43"/>
                    <a:gd name="T59" fmla="*/ 2147483647 h 76"/>
                    <a:gd name="T60" fmla="*/ 2147483647 w 43"/>
                    <a:gd name="T61" fmla="*/ 2147483647 h 76"/>
                    <a:gd name="T62" fmla="*/ 2147483647 w 43"/>
                    <a:gd name="T63" fmla="*/ 2147483647 h 76"/>
                    <a:gd name="T64" fmla="*/ 2147483647 w 43"/>
                    <a:gd name="T65" fmla="*/ 2147483647 h 76"/>
                    <a:gd name="T66" fmla="*/ 2147483647 w 43"/>
                    <a:gd name="T67" fmla="*/ 2147483647 h 76"/>
                    <a:gd name="T68" fmla="*/ 2147483647 w 43"/>
                    <a:gd name="T69" fmla="*/ 2147483647 h 76"/>
                    <a:gd name="T70" fmla="*/ 2147483647 w 43"/>
                    <a:gd name="T71" fmla="*/ 2147483647 h 76"/>
                    <a:gd name="T72" fmla="*/ 2147483647 w 43"/>
                    <a:gd name="T73" fmla="*/ 2147483647 h 76"/>
                    <a:gd name="T74" fmla="*/ 2147483647 w 43"/>
                    <a:gd name="T75" fmla="*/ 2147483647 h 76"/>
                    <a:gd name="T76" fmla="*/ 2147483647 w 43"/>
                    <a:gd name="T77" fmla="*/ 2147483647 h 76"/>
                    <a:gd name="T78" fmla="*/ 2147483647 w 43"/>
                    <a:gd name="T79" fmla="*/ 2147483647 h 76"/>
                    <a:gd name="T80" fmla="*/ 2147483647 w 43"/>
                    <a:gd name="T81" fmla="*/ 2147483647 h 76"/>
                    <a:gd name="T82" fmla="*/ 2147483647 w 43"/>
                    <a:gd name="T83" fmla="*/ 2147483647 h 76"/>
                    <a:gd name="T84" fmla="*/ 2147483647 w 43"/>
                    <a:gd name="T85" fmla="*/ 2147483647 h 76"/>
                    <a:gd name="T86" fmla="*/ 2147483647 w 43"/>
                    <a:gd name="T87" fmla="*/ 2147483647 h 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
                    <a:gd name="T133" fmla="*/ 0 h 76"/>
                    <a:gd name="T134" fmla="*/ 43 w 43"/>
                    <a:gd name="T135" fmla="*/ 76 h 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 h="76">
                      <a:moveTo>
                        <a:pt x="42" y="47"/>
                      </a:moveTo>
                      <a:lnTo>
                        <a:pt x="37" y="41"/>
                      </a:lnTo>
                      <a:lnTo>
                        <a:pt x="33" y="34"/>
                      </a:lnTo>
                      <a:lnTo>
                        <a:pt x="27" y="21"/>
                      </a:lnTo>
                      <a:lnTo>
                        <a:pt x="25" y="18"/>
                      </a:lnTo>
                      <a:lnTo>
                        <a:pt x="23" y="17"/>
                      </a:lnTo>
                      <a:lnTo>
                        <a:pt x="19" y="13"/>
                      </a:lnTo>
                      <a:lnTo>
                        <a:pt x="18" y="12"/>
                      </a:lnTo>
                      <a:lnTo>
                        <a:pt x="18" y="10"/>
                      </a:lnTo>
                      <a:lnTo>
                        <a:pt x="17" y="5"/>
                      </a:lnTo>
                      <a:lnTo>
                        <a:pt x="13" y="2"/>
                      </a:lnTo>
                      <a:lnTo>
                        <a:pt x="10" y="0"/>
                      </a:lnTo>
                      <a:lnTo>
                        <a:pt x="9" y="2"/>
                      </a:lnTo>
                      <a:lnTo>
                        <a:pt x="9" y="4"/>
                      </a:lnTo>
                      <a:lnTo>
                        <a:pt x="10" y="6"/>
                      </a:lnTo>
                      <a:lnTo>
                        <a:pt x="11" y="9"/>
                      </a:lnTo>
                      <a:lnTo>
                        <a:pt x="10" y="10"/>
                      </a:lnTo>
                      <a:lnTo>
                        <a:pt x="6" y="13"/>
                      </a:lnTo>
                      <a:lnTo>
                        <a:pt x="5" y="18"/>
                      </a:lnTo>
                      <a:lnTo>
                        <a:pt x="4" y="19"/>
                      </a:lnTo>
                      <a:lnTo>
                        <a:pt x="3" y="21"/>
                      </a:lnTo>
                      <a:lnTo>
                        <a:pt x="1" y="22"/>
                      </a:lnTo>
                      <a:lnTo>
                        <a:pt x="0" y="24"/>
                      </a:lnTo>
                      <a:lnTo>
                        <a:pt x="0" y="30"/>
                      </a:lnTo>
                      <a:lnTo>
                        <a:pt x="1" y="36"/>
                      </a:lnTo>
                      <a:lnTo>
                        <a:pt x="1" y="42"/>
                      </a:lnTo>
                      <a:lnTo>
                        <a:pt x="1" y="48"/>
                      </a:lnTo>
                      <a:lnTo>
                        <a:pt x="1" y="53"/>
                      </a:lnTo>
                      <a:lnTo>
                        <a:pt x="1" y="59"/>
                      </a:lnTo>
                      <a:lnTo>
                        <a:pt x="3" y="63"/>
                      </a:lnTo>
                      <a:lnTo>
                        <a:pt x="5" y="69"/>
                      </a:lnTo>
                      <a:lnTo>
                        <a:pt x="8" y="73"/>
                      </a:lnTo>
                      <a:lnTo>
                        <a:pt x="11" y="76"/>
                      </a:lnTo>
                      <a:lnTo>
                        <a:pt x="15" y="76"/>
                      </a:lnTo>
                      <a:lnTo>
                        <a:pt x="22" y="75"/>
                      </a:lnTo>
                      <a:lnTo>
                        <a:pt x="25" y="73"/>
                      </a:lnTo>
                      <a:lnTo>
                        <a:pt x="29" y="69"/>
                      </a:lnTo>
                      <a:lnTo>
                        <a:pt x="32" y="66"/>
                      </a:lnTo>
                      <a:lnTo>
                        <a:pt x="37" y="62"/>
                      </a:lnTo>
                      <a:lnTo>
                        <a:pt x="39" y="59"/>
                      </a:lnTo>
                      <a:lnTo>
                        <a:pt x="42" y="54"/>
                      </a:lnTo>
                      <a:lnTo>
                        <a:pt x="43" y="50"/>
                      </a:lnTo>
                      <a:lnTo>
                        <a:pt x="42" y="48"/>
                      </a:lnTo>
                      <a:lnTo>
                        <a:pt x="42" y="4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4" name="Freeform 282"/>
                <p:cNvSpPr>
                  <a:spLocks/>
                </p:cNvSpPr>
                <p:nvPr/>
              </p:nvSpPr>
              <p:spPr bwMode="auto">
                <a:xfrm>
                  <a:off x="6491718" y="4340146"/>
                  <a:ext cx="59195" cy="112470"/>
                </a:xfrm>
                <a:custGeom>
                  <a:avLst/>
                  <a:gdLst>
                    <a:gd name="T0" fmla="*/ 2147483647 w 43"/>
                    <a:gd name="T1" fmla="*/ 2147483647 h 76"/>
                    <a:gd name="T2" fmla="*/ 2147483647 w 43"/>
                    <a:gd name="T3" fmla="*/ 2147483647 h 76"/>
                    <a:gd name="T4" fmla="*/ 2147483647 w 43"/>
                    <a:gd name="T5" fmla="*/ 2147483647 h 76"/>
                    <a:gd name="T6" fmla="*/ 2147483647 w 43"/>
                    <a:gd name="T7" fmla="*/ 2147483647 h 76"/>
                    <a:gd name="T8" fmla="*/ 2147483647 w 43"/>
                    <a:gd name="T9" fmla="*/ 2147483647 h 76"/>
                    <a:gd name="T10" fmla="*/ 2147483647 w 43"/>
                    <a:gd name="T11" fmla="*/ 2147483647 h 76"/>
                    <a:gd name="T12" fmla="*/ 2147483647 w 43"/>
                    <a:gd name="T13" fmla="*/ 2147483647 h 76"/>
                    <a:gd name="T14" fmla="*/ 2147483647 w 43"/>
                    <a:gd name="T15" fmla="*/ 2147483647 h 76"/>
                    <a:gd name="T16" fmla="*/ 2147483647 w 43"/>
                    <a:gd name="T17" fmla="*/ 2147483647 h 76"/>
                    <a:gd name="T18" fmla="*/ 2147483647 w 43"/>
                    <a:gd name="T19" fmla="*/ 2147483647 h 76"/>
                    <a:gd name="T20" fmla="*/ 2147483647 w 43"/>
                    <a:gd name="T21" fmla="*/ 2147483647 h 76"/>
                    <a:gd name="T22" fmla="*/ 2147483647 w 43"/>
                    <a:gd name="T23" fmla="*/ 2147483647 h 76"/>
                    <a:gd name="T24" fmla="*/ 2147483647 w 43"/>
                    <a:gd name="T25" fmla="*/ 2147483647 h 76"/>
                    <a:gd name="T26" fmla="*/ 2147483647 w 43"/>
                    <a:gd name="T27" fmla="*/ 2147483647 h 76"/>
                    <a:gd name="T28" fmla="*/ 2147483647 w 43"/>
                    <a:gd name="T29" fmla="*/ 2147483647 h 76"/>
                    <a:gd name="T30" fmla="*/ 2147483647 w 43"/>
                    <a:gd name="T31" fmla="*/ 0 h 76"/>
                    <a:gd name="T32" fmla="*/ 2147483647 w 43"/>
                    <a:gd name="T33" fmla="*/ 2147483647 h 76"/>
                    <a:gd name="T34" fmla="*/ 2147483647 w 43"/>
                    <a:gd name="T35" fmla="*/ 2147483647 h 76"/>
                    <a:gd name="T36" fmla="*/ 2147483647 w 43"/>
                    <a:gd name="T37" fmla="*/ 2147483647 h 76"/>
                    <a:gd name="T38" fmla="*/ 2147483647 w 43"/>
                    <a:gd name="T39" fmla="*/ 2147483647 h 76"/>
                    <a:gd name="T40" fmla="*/ 2147483647 w 43"/>
                    <a:gd name="T41" fmla="*/ 2147483647 h 76"/>
                    <a:gd name="T42" fmla="*/ 2147483647 w 43"/>
                    <a:gd name="T43" fmla="*/ 2147483647 h 76"/>
                    <a:gd name="T44" fmla="*/ 2147483647 w 43"/>
                    <a:gd name="T45" fmla="*/ 2147483647 h 76"/>
                    <a:gd name="T46" fmla="*/ 2147483647 w 43"/>
                    <a:gd name="T47" fmla="*/ 2147483647 h 76"/>
                    <a:gd name="T48" fmla="*/ 2147483647 w 43"/>
                    <a:gd name="T49" fmla="*/ 2147483647 h 76"/>
                    <a:gd name="T50" fmla="*/ 2147483647 w 43"/>
                    <a:gd name="T51" fmla="*/ 2147483647 h 76"/>
                    <a:gd name="T52" fmla="*/ 2147483647 w 43"/>
                    <a:gd name="T53" fmla="*/ 2147483647 h 76"/>
                    <a:gd name="T54" fmla="*/ 2147483647 w 43"/>
                    <a:gd name="T55" fmla="*/ 2147483647 h 76"/>
                    <a:gd name="T56" fmla="*/ 2147483647 w 43"/>
                    <a:gd name="T57" fmla="*/ 2147483647 h 76"/>
                    <a:gd name="T58" fmla="*/ 0 w 43"/>
                    <a:gd name="T59" fmla="*/ 2147483647 h 76"/>
                    <a:gd name="T60" fmla="*/ 0 w 43"/>
                    <a:gd name="T61" fmla="*/ 2147483647 h 76"/>
                    <a:gd name="T62" fmla="*/ 0 w 43"/>
                    <a:gd name="T63" fmla="*/ 2147483647 h 76"/>
                    <a:gd name="T64" fmla="*/ 2147483647 w 43"/>
                    <a:gd name="T65" fmla="*/ 2147483647 h 76"/>
                    <a:gd name="T66" fmla="*/ 2147483647 w 43"/>
                    <a:gd name="T67" fmla="*/ 2147483647 h 76"/>
                    <a:gd name="T68" fmla="*/ 2147483647 w 43"/>
                    <a:gd name="T69" fmla="*/ 2147483647 h 76"/>
                    <a:gd name="T70" fmla="*/ 2147483647 w 43"/>
                    <a:gd name="T71" fmla="*/ 2147483647 h 76"/>
                    <a:gd name="T72" fmla="*/ 2147483647 w 43"/>
                    <a:gd name="T73" fmla="*/ 2147483647 h 76"/>
                    <a:gd name="T74" fmla="*/ 2147483647 w 43"/>
                    <a:gd name="T75" fmla="*/ 2147483647 h 76"/>
                    <a:gd name="T76" fmla="*/ 2147483647 w 43"/>
                    <a:gd name="T77" fmla="*/ 2147483647 h 76"/>
                    <a:gd name="T78" fmla="*/ 2147483647 w 43"/>
                    <a:gd name="T79" fmla="*/ 2147483647 h 76"/>
                    <a:gd name="T80" fmla="*/ 2147483647 w 43"/>
                    <a:gd name="T81" fmla="*/ 2147483647 h 76"/>
                    <a:gd name="T82" fmla="*/ 2147483647 w 43"/>
                    <a:gd name="T83" fmla="*/ 2147483647 h 76"/>
                    <a:gd name="T84" fmla="*/ 2147483647 w 43"/>
                    <a:gd name="T85" fmla="*/ 2147483647 h 76"/>
                    <a:gd name="T86" fmla="*/ 2147483647 w 43"/>
                    <a:gd name="T87" fmla="*/ 2147483647 h 76"/>
                    <a:gd name="T88" fmla="*/ 2147483647 w 43"/>
                    <a:gd name="T89" fmla="*/ 2147483647 h 76"/>
                    <a:gd name="T90" fmla="*/ 2147483647 w 43"/>
                    <a:gd name="T91" fmla="*/ 2147483647 h 76"/>
                    <a:gd name="T92" fmla="*/ 2147483647 w 43"/>
                    <a:gd name="T93" fmla="*/ 2147483647 h 76"/>
                    <a:gd name="T94" fmla="*/ 2147483647 w 43"/>
                    <a:gd name="T95" fmla="*/ 2147483647 h 76"/>
                    <a:gd name="T96" fmla="*/ 2147483647 w 43"/>
                    <a:gd name="T97" fmla="*/ 2147483647 h 76"/>
                    <a:gd name="T98" fmla="*/ 2147483647 w 43"/>
                    <a:gd name="T99" fmla="*/ 2147483647 h 76"/>
                    <a:gd name="T100" fmla="*/ 2147483647 w 43"/>
                    <a:gd name="T101" fmla="*/ 2147483647 h 76"/>
                    <a:gd name="T102" fmla="*/ 2147483647 w 43"/>
                    <a:gd name="T103" fmla="*/ 2147483647 h 76"/>
                    <a:gd name="T104" fmla="*/ 2147483647 w 43"/>
                    <a:gd name="T105" fmla="*/ 2147483647 h 76"/>
                    <a:gd name="T106" fmla="*/ 2147483647 w 43"/>
                    <a:gd name="T107" fmla="*/ 2147483647 h 76"/>
                    <a:gd name="T108" fmla="*/ 2147483647 w 43"/>
                    <a:gd name="T109" fmla="*/ 2147483647 h 76"/>
                    <a:gd name="T110" fmla="*/ 2147483647 w 43"/>
                    <a:gd name="T111" fmla="*/ 2147483647 h 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3"/>
                    <a:gd name="T169" fmla="*/ 0 h 76"/>
                    <a:gd name="T170" fmla="*/ 43 w 43"/>
                    <a:gd name="T171" fmla="*/ 76 h 7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3" h="76">
                      <a:moveTo>
                        <a:pt x="42" y="46"/>
                      </a:moveTo>
                      <a:lnTo>
                        <a:pt x="42" y="46"/>
                      </a:lnTo>
                      <a:lnTo>
                        <a:pt x="37" y="41"/>
                      </a:lnTo>
                      <a:lnTo>
                        <a:pt x="33" y="33"/>
                      </a:lnTo>
                      <a:lnTo>
                        <a:pt x="26" y="20"/>
                      </a:lnTo>
                      <a:lnTo>
                        <a:pt x="25" y="18"/>
                      </a:lnTo>
                      <a:lnTo>
                        <a:pt x="23" y="17"/>
                      </a:lnTo>
                      <a:lnTo>
                        <a:pt x="19" y="13"/>
                      </a:lnTo>
                      <a:lnTo>
                        <a:pt x="18" y="12"/>
                      </a:lnTo>
                      <a:lnTo>
                        <a:pt x="18" y="10"/>
                      </a:lnTo>
                      <a:lnTo>
                        <a:pt x="16" y="5"/>
                      </a:lnTo>
                      <a:lnTo>
                        <a:pt x="12" y="1"/>
                      </a:lnTo>
                      <a:lnTo>
                        <a:pt x="10" y="0"/>
                      </a:lnTo>
                      <a:lnTo>
                        <a:pt x="9" y="1"/>
                      </a:lnTo>
                      <a:lnTo>
                        <a:pt x="9" y="4"/>
                      </a:lnTo>
                      <a:lnTo>
                        <a:pt x="10" y="6"/>
                      </a:lnTo>
                      <a:lnTo>
                        <a:pt x="11" y="9"/>
                      </a:lnTo>
                      <a:lnTo>
                        <a:pt x="10" y="10"/>
                      </a:lnTo>
                      <a:lnTo>
                        <a:pt x="6" y="13"/>
                      </a:lnTo>
                      <a:lnTo>
                        <a:pt x="5" y="18"/>
                      </a:lnTo>
                      <a:lnTo>
                        <a:pt x="4" y="19"/>
                      </a:lnTo>
                      <a:lnTo>
                        <a:pt x="2" y="20"/>
                      </a:lnTo>
                      <a:lnTo>
                        <a:pt x="1" y="22"/>
                      </a:lnTo>
                      <a:lnTo>
                        <a:pt x="0" y="24"/>
                      </a:lnTo>
                      <a:lnTo>
                        <a:pt x="0" y="30"/>
                      </a:lnTo>
                      <a:lnTo>
                        <a:pt x="1" y="36"/>
                      </a:lnTo>
                      <a:lnTo>
                        <a:pt x="1" y="42"/>
                      </a:lnTo>
                      <a:lnTo>
                        <a:pt x="1" y="48"/>
                      </a:lnTo>
                      <a:lnTo>
                        <a:pt x="1" y="52"/>
                      </a:lnTo>
                      <a:lnTo>
                        <a:pt x="1" y="58"/>
                      </a:lnTo>
                      <a:lnTo>
                        <a:pt x="2" y="63"/>
                      </a:lnTo>
                      <a:lnTo>
                        <a:pt x="5" y="69"/>
                      </a:lnTo>
                      <a:lnTo>
                        <a:pt x="7" y="73"/>
                      </a:lnTo>
                      <a:lnTo>
                        <a:pt x="11" y="76"/>
                      </a:lnTo>
                      <a:lnTo>
                        <a:pt x="15" y="76"/>
                      </a:lnTo>
                      <a:lnTo>
                        <a:pt x="21" y="75"/>
                      </a:lnTo>
                      <a:lnTo>
                        <a:pt x="25" y="73"/>
                      </a:lnTo>
                      <a:lnTo>
                        <a:pt x="29" y="69"/>
                      </a:lnTo>
                      <a:lnTo>
                        <a:pt x="32" y="65"/>
                      </a:lnTo>
                      <a:lnTo>
                        <a:pt x="37" y="62"/>
                      </a:lnTo>
                      <a:lnTo>
                        <a:pt x="39" y="58"/>
                      </a:lnTo>
                      <a:lnTo>
                        <a:pt x="42" y="54"/>
                      </a:lnTo>
                      <a:lnTo>
                        <a:pt x="43" y="50"/>
                      </a:lnTo>
                      <a:lnTo>
                        <a:pt x="42" y="48"/>
                      </a:lnTo>
                      <a:lnTo>
                        <a:pt x="42" y="4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5" name="Freeform 293"/>
                <p:cNvSpPr>
                  <a:spLocks/>
                </p:cNvSpPr>
                <p:nvPr/>
              </p:nvSpPr>
              <p:spPr bwMode="auto">
                <a:xfrm>
                  <a:off x="7449197" y="4431898"/>
                  <a:ext cx="19238" cy="16278"/>
                </a:xfrm>
                <a:custGeom>
                  <a:avLst/>
                  <a:gdLst>
                    <a:gd name="T0" fmla="*/ 2147483647 w 14"/>
                    <a:gd name="T1" fmla="*/ 2147483647 h 11"/>
                    <a:gd name="T2" fmla="*/ 2147483647 w 14"/>
                    <a:gd name="T3" fmla="*/ 2147483647 h 11"/>
                    <a:gd name="T4" fmla="*/ 2147483647 w 14"/>
                    <a:gd name="T5" fmla="*/ 2147483647 h 11"/>
                    <a:gd name="T6" fmla="*/ 0 w 14"/>
                    <a:gd name="T7" fmla="*/ 2147483647 h 11"/>
                    <a:gd name="T8" fmla="*/ 2147483647 w 14"/>
                    <a:gd name="T9" fmla="*/ 2147483647 h 11"/>
                    <a:gd name="T10" fmla="*/ 2147483647 w 14"/>
                    <a:gd name="T11" fmla="*/ 2147483647 h 11"/>
                    <a:gd name="T12" fmla="*/ 2147483647 w 14"/>
                    <a:gd name="T13" fmla="*/ 0 h 11"/>
                    <a:gd name="T14" fmla="*/ 2147483647 w 14"/>
                    <a:gd name="T15" fmla="*/ 0 h 11"/>
                    <a:gd name="T16" fmla="*/ 2147483647 w 14"/>
                    <a:gd name="T17" fmla="*/ 2147483647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2147483647 w 14"/>
                    <a:gd name="T29" fmla="*/ 2147483647 h 11"/>
                    <a:gd name="T30" fmla="*/ 2147483647 w 14"/>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1"/>
                    <a:gd name="T50" fmla="*/ 14 w 14"/>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1">
                      <a:moveTo>
                        <a:pt x="5" y="8"/>
                      </a:moveTo>
                      <a:lnTo>
                        <a:pt x="2" y="8"/>
                      </a:lnTo>
                      <a:lnTo>
                        <a:pt x="1" y="7"/>
                      </a:lnTo>
                      <a:lnTo>
                        <a:pt x="0" y="5"/>
                      </a:lnTo>
                      <a:lnTo>
                        <a:pt x="1" y="3"/>
                      </a:lnTo>
                      <a:lnTo>
                        <a:pt x="4" y="1"/>
                      </a:lnTo>
                      <a:lnTo>
                        <a:pt x="5" y="0"/>
                      </a:lnTo>
                      <a:lnTo>
                        <a:pt x="7" y="0"/>
                      </a:lnTo>
                      <a:lnTo>
                        <a:pt x="10" y="1"/>
                      </a:lnTo>
                      <a:lnTo>
                        <a:pt x="12" y="2"/>
                      </a:lnTo>
                      <a:lnTo>
                        <a:pt x="14" y="5"/>
                      </a:lnTo>
                      <a:lnTo>
                        <a:pt x="14" y="6"/>
                      </a:lnTo>
                      <a:lnTo>
                        <a:pt x="14" y="9"/>
                      </a:lnTo>
                      <a:lnTo>
                        <a:pt x="12" y="11"/>
                      </a:lnTo>
                      <a:lnTo>
                        <a:pt x="10" y="11"/>
                      </a:lnTo>
                      <a:lnTo>
                        <a:pt x="5"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6" name="Freeform 295"/>
                <p:cNvSpPr>
                  <a:spLocks/>
                </p:cNvSpPr>
                <p:nvPr/>
              </p:nvSpPr>
              <p:spPr bwMode="auto">
                <a:xfrm>
                  <a:off x="7447715" y="4430419"/>
                  <a:ext cx="17758" cy="14799"/>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0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0 h 10"/>
                    <a:gd name="T18" fmla="*/ 2147483647 w 14"/>
                    <a:gd name="T19" fmla="*/ 0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2147483647 w 14"/>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
                    <a:gd name="T61" fmla="*/ 0 h 10"/>
                    <a:gd name="T62" fmla="*/ 14 w 14"/>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 h="10">
                      <a:moveTo>
                        <a:pt x="6" y="8"/>
                      </a:moveTo>
                      <a:lnTo>
                        <a:pt x="6" y="8"/>
                      </a:lnTo>
                      <a:lnTo>
                        <a:pt x="3" y="8"/>
                      </a:lnTo>
                      <a:lnTo>
                        <a:pt x="2" y="7"/>
                      </a:lnTo>
                      <a:lnTo>
                        <a:pt x="0" y="4"/>
                      </a:lnTo>
                      <a:lnTo>
                        <a:pt x="2" y="3"/>
                      </a:lnTo>
                      <a:lnTo>
                        <a:pt x="4" y="1"/>
                      </a:lnTo>
                      <a:lnTo>
                        <a:pt x="6" y="0"/>
                      </a:lnTo>
                      <a:lnTo>
                        <a:pt x="8" y="0"/>
                      </a:lnTo>
                      <a:lnTo>
                        <a:pt x="11" y="1"/>
                      </a:lnTo>
                      <a:lnTo>
                        <a:pt x="13" y="2"/>
                      </a:lnTo>
                      <a:lnTo>
                        <a:pt x="14" y="4"/>
                      </a:lnTo>
                      <a:lnTo>
                        <a:pt x="14" y="6"/>
                      </a:lnTo>
                      <a:lnTo>
                        <a:pt x="14" y="9"/>
                      </a:lnTo>
                      <a:lnTo>
                        <a:pt x="13" y="10"/>
                      </a:lnTo>
                      <a:lnTo>
                        <a:pt x="11" y="10"/>
                      </a:lnTo>
                      <a:lnTo>
                        <a:pt x="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7" name="Freeform 296"/>
                <p:cNvSpPr>
                  <a:spLocks/>
                </p:cNvSpPr>
                <p:nvPr/>
              </p:nvSpPr>
              <p:spPr bwMode="auto">
                <a:xfrm>
                  <a:off x="7481757" y="4417103"/>
                  <a:ext cx="739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0 w 6"/>
                    <a:gd name="T9" fmla="*/ 2147483647 h 6"/>
                    <a:gd name="T10" fmla="*/ 0 w 6"/>
                    <a:gd name="T11" fmla="*/ 2147483647 h 6"/>
                    <a:gd name="T12" fmla="*/ 0 w 6"/>
                    <a:gd name="T13" fmla="*/ 2147483647 h 6"/>
                    <a:gd name="T14" fmla="*/ 2147483647 w 6"/>
                    <a:gd name="T15" fmla="*/ 0 h 6"/>
                    <a:gd name="T16" fmla="*/ 2147483647 w 6"/>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5" y="3"/>
                      </a:moveTo>
                      <a:lnTo>
                        <a:pt x="6" y="4"/>
                      </a:lnTo>
                      <a:lnTo>
                        <a:pt x="5" y="5"/>
                      </a:lnTo>
                      <a:lnTo>
                        <a:pt x="1" y="6"/>
                      </a:lnTo>
                      <a:lnTo>
                        <a:pt x="0" y="5"/>
                      </a:lnTo>
                      <a:lnTo>
                        <a:pt x="0" y="4"/>
                      </a:lnTo>
                      <a:lnTo>
                        <a:pt x="0" y="2"/>
                      </a:lnTo>
                      <a:lnTo>
                        <a:pt x="1" y="0"/>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8" name="Freeform 297"/>
                <p:cNvSpPr>
                  <a:spLocks/>
                </p:cNvSpPr>
                <p:nvPr/>
              </p:nvSpPr>
              <p:spPr bwMode="auto">
                <a:xfrm>
                  <a:off x="7546867" y="4294269"/>
                  <a:ext cx="17758" cy="26638"/>
                </a:xfrm>
                <a:custGeom>
                  <a:avLst/>
                  <a:gdLst>
                    <a:gd name="T0" fmla="*/ 2147483647 w 13"/>
                    <a:gd name="T1" fmla="*/ 2147483647 h 18"/>
                    <a:gd name="T2" fmla="*/ 2147483647 w 13"/>
                    <a:gd name="T3" fmla="*/ 2147483647 h 18"/>
                    <a:gd name="T4" fmla="*/ 2147483647 w 13"/>
                    <a:gd name="T5" fmla="*/ 2147483647 h 18"/>
                    <a:gd name="T6" fmla="*/ 2147483647 w 13"/>
                    <a:gd name="T7" fmla="*/ 2147483647 h 18"/>
                    <a:gd name="T8" fmla="*/ 2147483647 w 13"/>
                    <a:gd name="T9" fmla="*/ 2147483647 h 18"/>
                    <a:gd name="T10" fmla="*/ 2147483647 w 13"/>
                    <a:gd name="T11" fmla="*/ 2147483647 h 18"/>
                    <a:gd name="T12" fmla="*/ 2147483647 w 13"/>
                    <a:gd name="T13" fmla="*/ 2147483647 h 18"/>
                    <a:gd name="T14" fmla="*/ 2147483647 w 13"/>
                    <a:gd name="T15" fmla="*/ 2147483647 h 18"/>
                    <a:gd name="T16" fmla="*/ 0 w 13"/>
                    <a:gd name="T17" fmla="*/ 2147483647 h 18"/>
                    <a:gd name="T18" fmla="*/ 2147483647 w 13"/>
                    <a:gd name="T19" fmla="*/ 2147483647 h 18"/>
                    <a:gd name="T20" fmla="*/ 2147483647 w 13"/>
                    <a:gd name="T21" fmla="*/ 2147483647 h 18"/>
                    <a:gd name="T22" fmla="*/ 2147483647 w 13"/>
                    <a:gd name="T23" fmla="*/ 0 h 18"/>
                    <a:gd name="T24" fmla="*/ 2147483647 w 13"/>
                    <a:gd name="T25" fmla="*/ 2147483647 h 18"/>
                    <a:gd name="T26" fmla="*/ 2147483647 w 13"/>
                    <a:gd name="T27" fmla="*/ 2147483647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8"/>
                    <a:gd name="T44" fmla="*/ 13 w 13"/>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8">
                      <a:moveTo>
                        <a:pt x="13" y="8"/>
                      </a:moveTo>
                      <a:lnTo>
                        <a:pt x="13" y="10"/>
                      </a:lnTo>
                      <a:lnTo>
                        <a:pt x="13" y="12"/>
                      </a:lnTo>
                      <a:lnTo>
                        <a:pt x="10" y="16"/>
                      </a:lnTo>
                      <a:lnTo>
                        <a:pt x="6" y="18"/>
                      </a:lnTo>
                      <a:lnTo>
                        <a:pt x="4" y="18"/>
                      </a:lnTo>
                      <a:lnTo>
                        <a:pt x="2" y="17"/>
                      </a:lnTo>
                      <a:lnTo>
                        <a:pt x="1" y="13"/>
                      </a:lnTo>
                      <a:lnTo>
                        <a:pt x="0" y="9"/>
                      </a:lnTo>
                      <a:lnTo>
                        <a:pt x="2" y="4"/>
                      </a:lnTo>
                      <a:lnTo>
                        <a:pt x="5" y="2"/>
                      </a:lnTo>
                      <a:lnTo>
                        <a:pt x="7" y="0"/>
                      </a:lnTo>
                      <a:lnTo>
                        <a:pt x="9" y="2"/>
                      </a:lnTo>
                      <a:lnTo>
                        <a:pt x="13"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79" name="Freeform 298"/>
                <p:cNvSpPr>
                  <a:spLocks/>
                </p:cNvSpPr>
                <p:nvPr/>
              </p:nvSpPr>
              <p:spPr bwMode="auto">
                <a:xfrm>
                  <a:off x="7478794" y="4415622"/>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0 w 7"/>
                    <a:gd name="T15" fmla="*/ 2147483647 h 6"/>
                    <a:gd name="T16" fmla="*/ 0 w 7"/>
                    <a:gd name="T17" fmla="*/ 2147483647 h 6"/>
                    <a:gd name="T18" fmla="*/ 0 w 7"/>
                    <a:gd name="T19" fmla="*/ 2147483647 h 6"/>
                    <a:gd name="T20" fmla="*/ 2147483647 w 7"/>
                    <a:gd name="T21" fmla="*/ 0 h 6"/>
                    <a:gd name="T22" fmla="*/ 2147483647 w 7"/>
                    <a:gd name="T23" fmla="*/ 2147483647 h 6"/>
                    <a:gd name="T24" fmla="*/ 2147483647 w 7"/>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5" y="3"/>
                      </a:moveTo>
                      <a:lnTo>
                        <a:pt x="5" y="3"/>
                      </a:lnTo>
                      <a:lnTo>
                        <a:pt x="7" y="4"/>
                      </a:lnTo>
                      <a:lnTo>
                        <a:pt x="5" y="5"/>
                      </a:lnTo>
                      <a:lnTo>
                        <a:pt x="2" y="6"/>
                      </a:lnTo>
                      <a:lnTo>
                        <a:pt x="0" y="5"/>
                      </a:lnTo>
                      <a:lnTo>
                        <a:pt x="0" y="4"/>
                      </a:lnTo>
                      <a:lnTo>
                        <a:pt x="0" y="1"/>
                      </a:lnTo>
                      <a:lnTo>
                        <a:pt x="2" y="0"/>
                      </a:lnTo>
                      <a:lnTo>
                        <a:pt x="5"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0" name="Freeform 299"/>
                <p:cNvSpPr>
                  <a:spLocks/>
                </p:cNvSpPr>
                <p:nvPr/>
              </p:nvSpPr>
              <p:spPr bwMode="auto">
                <a:xfrm>
                  <a:off x="7545390" y="4292793"/>
                  <a:ext cx="16279" cy="26638"/>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2147483647 w 12"/>
                    <a:gd name="T11" fmla="*/ 2147483647 h 18"/>
                    <a:gd name="T12" fmla="*/ 2147483647 w 12"/>
                    <a:gd name="T13" fmla="*/ 2147483647 h 18"/>
                    <a:gd name="T14" fmla="*/ 2147483647 w 12"/>
                    <a:gd name="T15" fmla="*/ 2147483647 h 18"/>
                    <a:gd name="T16" fmla="*/ 2147483647 w 12"/>
                    <a:gd name="T17" fmla="*/ 2147483647 h 18"/>
                    <a:gd name="T18" fmla="*/ 2147483647 w 12"/>
                    <a:gd name="T19" fmla="*/ 2147483647 h 18"/>
                    <a:gd name="T20" fmla="*/ 0 w 12"/>
                    <a:gd name="T21" fmla="*/ 2147483647 h 18"/>
                    <a:gd name="T22" fmla="*/ 2147483647 w 12"/>
                    <a:gd name="T23" fmla="*/ 2147483647 h 18"/>
                    <a:gd name="T24" fmla="*/ 2147483647 w 12"/>
                    <a:gd name="T25" fmla="*/ 2147483647 h 18"/>
                    <a:gd name="T26" fmla="*/ 2147483647 w 12"/>
                    <a:gd name="T27" fmla="*/ 2147483647 h 18"/>
                    <a:gd name="T28" fmla="*/ 2147483647 w 12"/>
                    <a:gd name="T29" fmla="*/ 0 h 18"/>
                    <a:gd name="T30" fmla="*/ 2147483647 w 12"/>
                    <a:gd name="T31" fmla="*/ 2147483647 h 18"/>
                    <a:gd name="T32" fmla="*/ 2147483647 w 12"/>
                    <a:gd name="T33" fmla="*/ 2147483647 h 18"/>
                    <a:gd name="T34" fmla="*/ 2147483647 w 12"/>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8"/>
                    <a:gd name="T56" fmla="*/ 12 w 12"/>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8">
                      <a:moveTo>
                        <a:pt x="12" y="7"/>
                      </a:moveTo>
                      <a:lnTo>
                        <a:pt x="12" y="7"/>
                      </a:lnTo>
                      <a:lnTo>
                        <a:pt x="12" y="10"/>
                      </a:lnTo>
                      <a:lnTo>
                        <a:pt x="12" y="12"/>
                      </a:lnTo>
                      <a:lnTo>
                        <a:pt x="10" y="16"/>
                      </a:lnTo>
                      <a:lnTo>
                        <a:pt x="6" y="18"/>
                      </a:lnTo>
                      <a:lnTo>
                        <a:pt x="3" y="18"/>
                      </a:lnTo>
                      <a:lnTo>
                        <a:pt x="2" y="17"/>
                      </a:lnTo>
                      <a:lnTo>
                        <a:pt x="1" y="13"/>
                      </a:lnTo>
                      <a:lnTo>
                        <a:pt x="0" y="9"/>
                      </a:lnTo>
                      <a:lnTo>
                        <a:pt x="2" y="4"/>
                      </a:lnTo>
                      <a:lnTo>
                        <a:pt x="5" y="1"/>
                      </a:lnTo>
                      <a:lnTo>
                        <a:pt x="7" y="0"/>
                      </a:lnTo>
                      <a:lnTo>
                        <a:pt x="8" y="1"/>
                      </a:lnTo>
                      <a:lnTo>
                        <a:pt x="12"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1" name="Freeform 300"/>
                <p:cNvSpPr>
                  <a:spLocks/>
                </p:cNvSpPr>
                <p:nvPr/>
              </p:nvSpPr>
              <p:spPr bwMode="auto">
                <a:xfrm>
                  <a:off x="7529109" y="4317951"/>
                  <a:ext cx="17758" cy="16279"/>
                </a:xfrm>
                <a:custGeom>
                  <a:avLst/>
                  <a:gdLst>
                    <a:gd name="T0" fmla="*/ 2147483647 w 13"/>
                    <a:gd name="T1" fmla="*/ 2147483647 h 11"/>
                    <a:gd name="T2" fmla="*/ 2147483647 w 13"/>
                    <a:gd name="T3" fmla="*/ 2147483647 h 11"/>
                    <a:gd name="T4" fmla="*/ 2147483647 w 13"/>
                    <a:gd name="T5" fmla="*/ 2147483647 h 11"/>
                    <a:gd name="T6" fmla="*/ 2147483647 w 13"/>
                    <a:gd name="T7" fmla="*/ 2147483647 h 11"/>
                    <a:gd name="T8" fmla="*/ 2147483647 w 13"/>
                    <a:gd name="T9" fmla="*/ 2147483647 h 11"/>
                    <a:gd name="T10" fmla="*/ 2147483647 w 13"/>
                    <a:gd name="T11" fmla="*/ 2147483647 h 11"/>
                    <a:gd name="T12" fmla="*/ 2147483647 w 13"/>
                    <a:gd name="T13" fmla="*/ 2147483647 h 11"/>
                    <a:gd name="T14" fmla="*/ 2147483647 w 13"/>
                    <a:gd name="T15" fmla="*/ 2147483647 h 11"/>
                    <a:gd name="T16" fmla="*/ 2147483647 w 13"/>
                    <a:gd name="T17" fmla="*/ 2147483647 h 11"/>
                    <a:gd name="T18" fmla="*/ 0 w 13"/>
                    <a:gd name="T19" fmla="*/ 2147483647 h 11"/>
                    <a:gd name="T20" fmla="*/ 2147483647 w 13"/>
                    <a:gd name="T21" fmla="*/ 2147483647 h 11"/>
                    <a:gd name="T22" fmla="*/ 2147483647 w 13"/>
                    <a:gd name="T23" fmla="*/ 0 h 11"/>
                    <a:gd name="T24" fmla="*/ 2147483647 w 13"/>
                    <a:gd name="T25" fmla="*/ 0 h 11"/>
                    <a:gd name="T26" fmla="*/ 2147483647 w 13"/>
                    <a:gd name="T27" fmla="*/ 2147483647 h 11"/>
                    <a:gd name="T28" fmla="*/ 2147483647 w 13"/>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1"/>
                    <a:gd name="T47" fmla="*/ 13 w 13"/>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1">
                      <a:moveTo>
                        <a:pt x="9" y="2"/>
                      </a:moveTo>
                      <a:lnTo>
                        <a:pt x="12" y="3"/>
                      </a:lnTo>
                      <a:lnTo>
                        <a:pt x="13" y="6"/>
                      </a:lnTo>
                      <a:lnTo>
                        <a:pt x="13" y="7"/>
                      </a:lnTo>
                      <a:lnTo>
                        <a:pt x="12" y="9"/>
                      </a:lnTo>
                      <a:lnTo>
                        <a:pt x="10" y="11"/>
                      </a:lnTo>
                      <a:lnTo>
                        <a:pt x="8" y="11"/>
                      </a:lnTo>
                      <a:lnTo>
                        <a:pt x="3" y="9"/>
                      </a:lnTo>
                      <a:lnTo>
                        <a:pt x="1" y="7"/>
                      </a:lnTo>
                      <a:lnTo>
                        <a:pt x="0" y="5"/>
                      </a:lnTo>
                      <a:lnTo>
                        <a:pt x="1" y="2"/>
                      </a:lnTo>
                      <a:lnTo>
                        <a:pt x="3" y="0"/>
                      </a:lnTo>
                      <a:lnTo>
                        <a:pt x="5" y="0"/>
                      </a:lnTo>
                      <a:lnTo>
                        <a:pt x="6" y="1"/>
                      </a:lnTo>
                      <a:lnTo>
                        <a:pt x="9"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2" name="Freeform 301"/>
                <p:cNvSpPr>
                  <a:spLocks/>
                </p:cNvSpPr>
                <p:nvPr/>
              </p:nvSpPr>
              <p:spPr bwMode="auto">
                <a:xfrm>
                  <a:off x="7536511" y="4275032"/>
                  <a:ext cx="10360" cy="19238"/>
                </a:xfrm>
                <a:custGeom>
                  <a:avLst/>
                  <a:gdLst>
                    <a:gd name="T0" fmla="*/ 0 w 7"/>
                    <a:gd name="T1" fmla="*/ 2147483647 h 13"/>
                    <a:gd name="T2" fmla="*/ 0 w 7"/>
                    <a:gd name="T3" fmla="*/ 2147483647 h 13"/>
                    <a:gd name="T4" fmla="*/ 2147483647 w 7"/>
                    <a:gd name="T5" fmla="*/ 0 h 13"/>
                    <a:gd name="T6" fmla="*/ 2147483647 w 7"/>
                    <a:gd name="T7" fmla="*/ 0 h 13"/>
                    <a:gd name="T8" fmla="*/ 2147483647 w 7"/>
                    <a:gd name="T9" fmla="*/ 2147483647 h 13"/>
                    <a:gd name="T10" fmla="*/ 2147483647 w 7"/>
                    <a:gd name="T11" fmla="*/ 2147483647 h 13"/>
                    <a:gd name="T12" fmla="*/ 2147483647 w 7"/>
                    <a:gd name="T13" fmla="*/ 2147483647 h 13"/>
                    <a:gd name="T14" fmla="*/ 2147483647 w 7"/>
                    <a:gd name="T15" fmla="*/ 2147483647 h 13"/>
                    <a:gd name="T16" fmla="*/ 2147483647 w 7"/>
                    <a:gd name="T17" fmla="*/ 2147483647 h 13"/>
                    <a:gd name="T18" fmla="*/ 2147483647 w 7"/>
                    <a:gd name="T19" fmla="*/ 2147483647 h 13"/>
                    <a:gd name="T20" fmla="*/ 0 w 7"/>
                    <a:gd name="T21" fmla="*/ 214748364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3"/>
                    <a:gd name="T35" fmla="*/ 7 w 7"/>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3">
                      <a:moveTo>
                        <a:pt x="0" y="9"/>
                      </a:moveTo>
                      <a:lnTo>
                        <a:pt x="0" y="3"/>
                      </a:lnTo>
                      <a:lnTo>
                        <a:pt x="2" y="0"/>
                      </a:lnTo>
                      <a:lnTo>
                        <a:pt x="3" y="0"/>
                      </a:lnTo>
                      <a:lnTo>
                        <a:pt x="6" y="4"/>
                      </a:lnTo>
                      <a:lnTo>
                        <a:pt x="7" y="8"/>
                      </a:lnTo>
                      <a:lnTo>
                        <a:pt x="7" y="11"/>
                      </a:lnTo>
                      <a:lnTo>
                        <a:pt x="6" y="13"/>
                      </a:lnTo>
                      <a:lnTo>
                        <a:pt x="4" y="13"/>
                      </a:lnTo>
                      <a:lnTo>
                        <a:pt x="2" y="12"/>
                      </a:lnTo>
                      <a:lnTo>
                        <a:pt x="0"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3" name="Freeform 302"/>
                <p:cNvSpPr>
                  <a:spLocks/>
                </p:cNvSpPr>
                <p:nvPr/>
              </p:nvSpPr>
              <p:spPr bwMode="auto">
                <a:xfrm>
                  <a:off x="7527628" y="4316469"/>
                  <a:ext cx="17758" cy="14799"/>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2147483647 w 13"/>
                    <a:gd name="T15" fmla="*/ 2147483647 h 10"/>
                    <a:gd name="T16" fmla="*/ 2147483647 w 13"/>
                    <a:gd name="T17" fmla="*/ 2147483647 h 10"/>
                    <a:gd name="T18" fmla="*/ 2147483647 w 13"/>
                    <a:gd name="T19" fmla="*/ 2147483647 h 10"/>
                    <a:gd name="T20" fmla="*/ 2147483647 w 13"/>
                    <a:gd name="T21" fmla="*/ 2147483647 h 10"/>
                    <a:gd name="T22" fmla="*/ 2147483647 w 13"/>
                    <a:gd name="T23" fmla="*/ 2147483647 h 10"/>
                    <a:gd name="T24" fmla="*/ 0 w 13"/>
                    <a:gd name="T25" fmla="*/ 2147483647 h 10"/>
                    <a:gd name="T26" fmla="*/ 2147483647 w 13"/>
                    <a:gd name="T27" fmla="*/ 2147483647 h 10"/>
                    <a:gd name="T28" fmla="*/ 2147483647 w 13"/>
                    <a:gd name="T29" fmla="*/ 0 h 10"/>
                    <a:gd name="T30" fmla="*/ 2147483647 w 13"/>
                    <a:gd name="T31" fmla="*/ 0 h 10"/>
                    <a:gd name="T32" fmla="*/ 2147483647 w 13"/>
                    <a:gd name="T33" fmla="*/ 0 h 10"/>
                    <a:gd name="T34" fmla="*/ 2147483647 w 13"/>
                    <a:gd name="T35" fmla="*/ 2147483647 h 10"/>
                    <a:gd name="T36" fmla="*/ 2147483647 w 13"/>
                    <a:gd name="T37" fmla="*/ 2147483647 h 10"/>
                    <a:gd name="T38" fmla="*/ 2147483647 w 13"/>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10"/>
                    <a:gd name="T62" fmla="*/ 13 w 13"/>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10">
                      <a:moveTo>
                        <a:pt x="9" y="2"/>
                      </a:moveTo>
                      <a:lnTo>
                        <a:pt x="9" y="2"/>
                      </a:lnTo>
                      <a:lnTo>
                        <a:pt x="11" y="3"/>
                      </a:lnTo>
                      <a:lnTo>
                        <a:pt x="13" y="6"/>
                      </a:lnTo>
                      <a:lnTo>
                        <a:pt x="13" y="7"/>
                      </a:lnTo>
                      <a:lnTo>
                        <a:pt x="11" y="9"/>
                      </a:lnTo>
                      <a:lnTo>
                        <a:pt x="10" y="10"/>
                      </a:lnTo>
                      <a:lnTo>
                        <a:pt x="7" y="10"/>
                      </a:lnTo>
                      <a:lnTo>
                        <a:pt x="2" y="9"/>
                      </a:lnTo>
                      <a:lnTo>
                        <a:pt x="1" y="7"/>
                      </a:lnTo>
                      <a:lnTo>
                        <a:pt x="0" y="4"/>
                      </a:lnTo>
                      <a:lnTo>
                        <a:pt x="1" y="2"/>
                      </a:lnTo>
                      <a:lnTo>
                        <a:pt x="2" y="0"/>
                      </a:lnTo>
                      <a:lnTo>
                        <a:pt x="5" y="0"/>
                      </a:lnTo>
                      <a:lnTo>
                        <a:pt x="6" y="1"/>
                      </a:lnTo>
                      <a:lnTo>
                        <a:pt x="9"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4" name="Freeform 303"/>
                <p:cNvSpPr>
                  <a:spLocks/>
                </p:cNvSpPr>
                <p:nvPr/>
              </p:nvSpPr>
              <p:spPr bwMode="auto">
                <a:xfrm>
                  <a:off x="7536510" y="4273553"/>
                  <a:ext cx="8879" cy="19239"/>
                </a:xfrm>
                <a:custGeom>
                  <a:avLst/>
                  <a:gdLst>
                    <a:gd name="T0" fmla="*/ 0 w 7"/>
                    <a:gd name="T1" fmla="*/ 2147483647 h 13"/>
                    <a:gd name="T2" fmla="*/ 0 w 7"/>
                    <a:gd name="T3" fmla="*/ 2147483647 h 13"/>
                    <a:gd name="T4" fmla="*/ 0 w 7"/>
                    <a:gd name="T5" fmla="*/ 2147483647 h 13"/>
                    <a:gd name="T6" fmla="*/ 2147483647 w 7"/>
                    <a:gd name="T7" fmla="*/ 0 h 13"/>
                    <a:gd name="T8" fmla="*/ 2147483647 w 7"/>
                    <a:gd name="T9" fmla="*/ 0 h 13"/>
                    <a:gd name="T10" fmla="*/ 2147483647 w 7"/>
                    <a:gd name="T11" fmla="*/ 0 h 13"/>
                    <a:gd name="T12" fmla="*/ 2147483647 w 7"/>
                    <a:gd name="T13" fmla="*/ 0 h 13"/>
                    <a:gd name="T14" fmla="*/ 2147483647 w 7"/>
                    <a:gd name="T15" fmla="*/ 2147483647 h 13"/>
                    <a:gd name="T16" fmla="*/ 2147483647 w 7"/>
                    <a:gd name="T17" fmla="*/ 2147483647 h 13"/>
                    <a:gd name="T18" fmla="*/ 2147483647 w 7"/>
                    <a:gd name="T19" fmla="*/ 2147483647 h 13"/>
                    <a:gd name="T20" fmla="*/ 2147483647 w 7"/>
                    <a:gd name="T21" fmla="*/ 2147483647 h 13"/>
                    <a:gd name="T22" fmla="*/ 2147483647 w 7"/>
                    <a:gd name="T23" fmla="*/ 2147483647 h 13"/>
                    <a:gd name="T24" fmla="*/ 2147483647 w 7"/>
                    <a:gd name="T25" fmla="*/ 2147483647 h 13"/>
                    <a:gd name="T26" fmla="*/ 2147483647 w 7"/>
                    <a:gd name="T27" fmla="*/ 2147483647 h 13"/>
                    <a:gd name="T28" fmla="*/ 0 w 7"/>
                    <a:gd name="T29" fmla="*/ 2147483647 h 13"/>
                    <a:gd name="T30" fmla="*/ 0 w 7"/>
                    <a:gd name="T31" fmla="*/ 2147483647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
                    <a:gd name="T49" fmla="*/ 0 h 13"/>
                    <a:gd name="T50" fmla="*/ 7 w 7"/>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 h="13">
                      <a:moveTo>
                        <a:pt x="0" y="9"/>
                      </a:moveTo>
                      <a:lnTo>
                        <a:pt x="0" y="9"/>
                      </a:lnTo>
                      <a:lnTo>
                        <a:pt x="0" y="3"/>
                      </a:lnTo>
                      <a:lnTo>
                        <a:pt x="1" y="0"/>
                      </a:lnTo>
                      <a:lnTo>
                        <a:pt x="3" y="0"/>
                      </a:lnTo>
                      <a:lnTo>
                        <a:pt x="5" y="4"/>
                      </a:lnTo>
                      <a:lnTo>
                        <a:pt x="7" y="7"/>
                      </a:lnTo>
                      <a:lnTo>
                        <a:pt x="7" y="11"/>
                      </a:lnTo>
                      <a:lnTo>
                        <a:pt x="5" y="13"/>
                      </a:lnTo>
                      <a:lnTo>
                        <a:pt x="4" y="13"/>
                      </a:lnTo>
                      <a:lnTo>
                        <a:pt x="1" y="12"/>
                      </a:lnTo>
                      <a:lnTo>
                        <a:pt x="0"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5" name="Freeform 304"/>
                <p:cNvSpPr>
                  <a:spLocks/>
                </p:cNvSpPr>
                <p:nvPr/>
              </p:nvSpPr>
              <p:spPr bwMode="auto">
                <a:xfrm>
                  <a:off x="7372243" y="4280951"/>
                  <a:ext cx="56235" cy="87312"/>
                </a:xfrm>
                <a:custGeom>
                  <a:avLst/>
                  <a:gdLst>
                    <a:gd name="T0" fmla="*/ 2147483647 w 41"/>
                    <a:gd name="T1" fmla="*/ 2147483647 h 59"/>
                    <a:gd name="T2" fmla="*/ 2147483647 w 41"/>
                    <a:gd name="T3" fmla="*/ 2147483647 h 59"/>
                    <a:gd name="T4" fmla="*/ 2147483647 w 41"/>
                    <a:gd name="T5" fmla="*/ 0 h 59"/>
                    <a:gd name="T6" fmla="*/ 2147483647 w 41"/>
                    <a:gd name="T7" fmla="*/ 2147483647 h 59"/>
                    <a:gd name="T8" fmla="*/ 2147483647 w 41"/>
                    <a:gd name="T9" fmla="*/ 2147483647 h 59"/>
                    <a:gd name="T10" fmla="*/ 2147483647 w 41"/>
                    <a:gd name="T11" fmla="*/ 2147483647 h 59"/>
                    <a:gd name="T12" fmla="*/ 2147483647 w 41"/>
                    <a:gd name="T13" fmla="*/ 2147483647 h 59"/>
                    <a:gd name="T14" fmla="*/ 2147483647 w 41"/>
                    <a:gd name="T15" fmla="*/ 2147483647 h 59"/>
                    <a:gd name="T16" fmla="*/ 2147483647 w 41"/>
                    <a:gd name="T17" fmla="*/ 2147483647 h 59"/>
                    <a:gd name="T18" fmla="*/ 2147483647 w 41"/>
                    <a:gd name="T19" fmla="*/ 2147483647 h 59"/>
                    <a:gd name="T20" fmla="*/ 2147483647 w 41"/>
                    <a:gd name="T21" fmla="*/ 2147483647 h 59"/>
                    <a:gd name="T22" fmla="*/ 2147483647 w 41"/>
                    <a:gd name="T23" fmla="*/ 2147483647 h 59"/>
                    <a:gd name="T24" fmla="*/ 2147483647 w 41"/>
                    <a:gd name="T25" fmla="*/ 2147483647 h 59"/>
                    <a:gd name="T26" fmla="*/ 0 w 41"/>
                    <a:gd name="T27" fmla="*/ 2147483647 h 59"/>
                    <a:gd name="T28" fmla="*/ 0 w 41"/>
                    <a:gd name="T29" fmla="*/ 2147483647 h 59"/>
                    <a:gd name="T30" fmla="*/ 2147483647 w 41"/>
                    <a:gd name="T31" fmla="*/ 2147483647 h 59"/>
                    <a:gd name="T32" fmla="*/ 2147483647 w 41"/>
                    <a:gd name="T33" fmla="*/ 2147483647 h 59"/>
                    <a:gd name="T34" fmla="*/ 2147483647 w 41"/>
                    <a:gd name="T35" fmla="*/ 2147483647 h 59"/>
                    <a:gd name="T36" fmla="*/ 2147483647 w 41"/>
                    <a:gd name="T37" fmla="*/ 2147483647 h 59"/>
                    <a:gd name="T38" fmla="*/ 2147483647 w 41"/>
                    <a:gd name="T39" fmla="*/ 2147483647 h 59"/>
                    <a:gd name="T40" fmla="*/ 2147483647 w 41"/>
                    <a:gd name="T41" fmla="*/ 2147483647 h 59"/>
                    <a:gd name="T42" fmla="*/ 2147483647 w 41"/>
                    <a:gd name="T43" fmla="*/ 2147483647 h 59"/>
                    <a:gd name="T44" fmla="*/ 2147483647 w 41"/>
                    <a:gd name="T45" fmla="*/ 2147483647 h 59"/>
                    <a:gd name="T46" fmla="*/ 2147483647 w 41"/>
                    <a:gd name="T47" fmla="*/ 2147483647 h 59"/>
                    <a:gd name="T48" fmla="*/ 2147483647 w 41"/>
                    <a:gd name="T49" fmla="*/ 2147483647 h 59"/>
                    <a:gd name="T50" fmla="*/ 2147483647 w 41"/>
                    <a:gd name="T51" fmla="*/ 2147483647 h 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
                    <a:gd name="T79" fmla="*/ 0 h 59"/>
                    <a:gd name="T80" fmla="*/ 41 w 41"/>
                    <a:gd name="T81" fmla="*/ 59 h 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 h="59">
                      <a:moveTo>
                        <a:pt x="40" y="5"/>
                      </a:moveTo>
                      <a:lnTo>
                        <a:pt x="39" y="2"/>
                      </a:lnTo>
                      <a:lnTo>
                        <a:pt x="38" y="0"/>
                      </a:lnTo>
                      <a:lnTo>
                        <a:pt x="34" y="5"/>
                      </a:lnTo>
                      <a:lnTo>
                        <a:pt x="31" y="8"/>
                      </a:lnTo>
                      <a:lnTo>
                        <a:pt x="30" y="11"/>
                      </a:lnTo>
                      <a:lnTo>
                        <a:pt x="29" y="18"/>
                      </a:lnTo>
                      <a:lnTo>
                        <a:pt x="28" y="20"/>
                      </a:lnTo>
                      <a:lnTo>
                        <a:pt x="25" y="22"/>
                      </a:lnTo>
                      <a:lnTo>
                        <a:pt x="24" y="27"/>
                      </a:lnTo>
                      <a:lnTo>
                        <a:pt x="17" y="34"/>
                      </a:lnTo>
                      <a:lnTo>
                        <a:pt x="11" y="41"/>
                      </a:lnTo>
                      <a:lnTo>
                        <a:pt x="1" y="53"/>
                      </a:lnTo>
                      <a:lnTo>
                        <a:pt x="0" y="57"/>
                      </a:lnTo>
                      <a:lnTo>
                        <a:pt x="0" y="58"/>
                      </a:lnTo>
                      <a:lnTo>
                        <a:pt x="1" y="59"/>
                      </a:lnTo>
                      <a:lnTo>
                        <a:pt x="6" y="58"/>
                      </a:lnTo>
                      <a:lnTo>
                        <a:pt x="11" y="57"/>
                      </a:lnTo>
                      <a:lnTo>
                        <a:pt x="15" y="53"/>
                      </a:lnTo>
                      <a:lnTo>
                        <a:pt x="17" y="50"/>
                      </a:lnTo>
                      <a:lnTo>
                        <a:pt x="29" y="32"/>
                      </a:lnTo>
                      <a:lnTo>
                        <a:pt x="34" y="25"/>
                      </a:lnTo>
                      <a:lnTo>
                        <a:pt x="38" y="18"/>
                      </a:lnTo>
                      <a:lnTo>
                        <a:pt x="40" y="12"/>
                      </a:lnTo>
                      <a:lnTo>
                        <a:pt x="41" y="8"/>
                      </a:lnTo>
                      <a:lnTo>
                        <a:pt x="40"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6" name="Freeform 305"/>
                <p:cNvSpPr>
                  <a:spLocks/>
                </p:cNvSpPr>
                <p:nvPr/>
              </p:nvSpPr>
              <p:spPr bwMode="auto">
                <a:xfrm>
                  <a:off x="7478794" y="4337186"/>
                  <a:ext cx="115430" cy="116909"/>
                </a:xfrm>
                <a:custGeom>
                  <a:avLst/>
                  <a:gdLst>
                    <a:gd name="T0" fmla="*/ 2147483647 w 85"/>
                    <a:gd name="T1" fmla="*/ 2147483647 h 79"/>
                    <a:gd name="T2" fmla="*/ 2147483647 w 85"/>
                    <a:gd name="T3" fmla="*/ 2147483647 h 79"/>
                    <a:gd name="T4" fmla="*/ 2147483647 w 85"/>
                    <a:gd name="T5" fmla="*/ 2147483647 h 79"/>
                    <a:gd name="T6" fmla="*/ 2147483647 w 85"/>
                    <a:gd name="T7" fmla="*/ 2147483647 h 79"/>
                    <a:gd name="T8" fmla="*/ 2147483647 w 85"/>
                    <a:gd name="T9" fmla="*/ 2147483647 h 79"/>
                    <a:gd name="T10" fmla="*/ 2147483647 w 85"/>
                    <a:gd name="T11" fmla="*/ 2147483647 h 79"/>
                    <a:gd name="T12" fmla="*/ 2147483647 w 85"/>
                    <a:gd name="T13" fmla="*/ 2147483647 h 79"/>
                    <a:gd name="T14" fmla="*/ 2147483647 w 85"/>
                    <a:gd name="T15" fmla="*/ 2147483647 h 79"/>
                    <a:gd name="T16" fmla="*/ 2147483647 w 85"/>
                    <a:gd name="T17" fmla="*/ 2147483647 h 79"/>
                    <a:gd name="T18" fmla="*/ 2147483647 w 85"/>
                    <a:gd name="T19" fmla="*/ 2147483647 h 79"/>
                    <a:gd name="T20" fmla="*/ 2147483647 w 85"/>
                    <a:gd name="T21" fmla="*/ 2147483647 h 79"/>
                    <a:gd name="T22" fmla="*/ 2147483647 w 85"/>
                    <a:gd name="T23" fmla="*/ 2147483647 h 79"/>
                    <a:gd name="T24" fmla="*/ 2147483647 w 85"/>
                    <a:gd name="T25" fmla="*/ 2147483647 h 79"/>
                    <a:gd name="T26" fmla="*/ 2147483647 w 85"/>
                    <a:gd name="T27" fmla="*/ 2147483647 h 79"/>
                    <a:gd name="T28" fmla="*/ 2147483647 w 85"/>
                    <a:gd name="T29" fmla="*/ 2147483647 h 79"/>
                    <a:gd name="T30" fmla="*/ 2147483647 w 85"/>
                    <a:gd name="T31" fmla="*/ 2147483647 h 79"/>
                    <a:gd name="T32" fmla="*/ 2147483647 w 85"/>
                    <a:gd name="T33" fmla="*/ 2147483647 h 79"/>
                    <a:gd name="T34" fmla="*/ 2147483647 w 85"/>
                    <a:gd name="T35" fmla="*/ 2147483647 h 79"/>
                    <a:gd name="T36" fmla="*/ 2147483647 w 85"/>
                    <a:gd name="T37" fmla="*/ 2147483647 h 79"/>
                    <a:gd name="T38" fmla="*/ 2147483647 w 85"/>
                    <a:gd name="T39" fmla="*/ 2147483647 h 79"/>
                    <a:gd name="T40" fmla="*/ 2147483647 w 85"/>
                    <a:gd name="T41" fmla="*/ 2147483647 h 79"/>
                    <a:gd name="T42" fmla="*/ 2147483647 w 85"/>
                    <a:gd name="T43" fmla="*/ 2147483647 h 79"/>
                    <a:gd name="T44" fmla="*/ 2147483647 w 85"/>
                    <a:gd name="T45" fmla="*/ 2147483647 h 79"/>
                    <a:gd name="T46" fmla="*/ 2147483647 w 85"/>
                    <a:gd name="T47" fmla="*/ 2147483647 h 79"/>
                    <a:gd name="T48" fmla="*/ 2147483647 w 85"/>
                    <a:gd name="T49" fmla="*/ 2147483647 h 79"/>
                    <a:gd name="T50" fmla="*/ 2147483647 w 85"/>
                    <a:gd name="T51" fmla="*/ 2147483647 h 79"/>
                    <a:gd name="T52" fmla="*/ 2147483647 w 85"/>
                    <a:gd name="T53" fmla="*/ 2147483647 h 79"/>
                    <a:gd name="T54" fmla="*/ 2147483647 w 85"/>
                    <a:gd name="T55" fmla="*/ 2147483647 h 79"/>
                    <a:gd name="T56" fmla="*/ 0 w 85"/>
                    <a:gd name="T57" fmla="*/ 2147483647 h 79"/>
                    <a:gd name="T58" fmla="*/ 2147483647 w 85"/>
                    <a:gd name="T59" fmla="*/ 2147483647 h 79"/>
                    <a:gd name="T60" fmla="*/ 2147483647 w 85"/>
                    <a:gd name="T61" fmla="*/ 2147483647 h 79"/>
                    <a:gd name="T62" fmla="*/ 2147483647 w 85"/>
                    <a:gd name="T63" fmla="*/ 2147483647 h 79"/>
                    <a:gd name="T64" fmla="*/ 2147483647 w 85"/>
                    <a:gd name="T65" fmla="*/ 2147483647 h 79"/>
                    <a:gd name="T66" fmla="*/ 2147483647 w 85"/>
                    <a:gd name="T67" fmla="*/ 2147483647 h 79"/>
                    <a:gd name="T68" fmla="*/ 2147483647 w 85"/>
                    <a:gd name="T69" fmla="*/ 2147483647 h 79"/>
                    <a:gd name="T70" fmla="*/ 2147483647 w 85"/>
                    <a:gd name="T71" fmla="*/ 2147483647 h 79"/>
                    <a:gd name="T72" fmla="*/ 2147483647 w 85"/>
                    <a:gd name="T73" fmla="*/ 2147483647 h 79"/>
                    <a:gd name="T74" fmla="*/ 2147483647 w 85"/>
                    <a:gd name="T75" fmla="*/ 2147483647 h 79"/>
                    <a:gd name="T76" fmla="*/ 2147483647 w 85"/>
                    <a:gd name="T77" fmla="*/ 2147483647 h 79"/>
                    <a:gd name="T78" fmla="*/ 2147483647 w 85"/>
                    <a:gd name="T79" fmla="*/ 2147483647 h 79"/>
                    <a:gd name="T80" fmla="*/ 2147483647 w 85"/>
                    <a:gd name="T81" fmla="*/ 2147483647 h 79"/>
                    <a:gd name="T82" fmla="*/ 2147483647 w 85"/>
                    <a:gd name="T83" fmla="*/ 2147483647 h 79"/>
                    <a:gd name="T84" fmla="*/ 2147483647 w 85"/>
                    <a:gd name="T85" fmla="*/ 2147483647 h 79"/>
                    <a:gd name="T86" fmla="*/ 2147483647 w 85"/>
                    <a:gd name="T87" fmla="*/ 0 h 79"/>
                    <a:gd name="T88" fmla="*/ 2147483647 w 85"/>
                    <a:gd name="T89" fmla="*/ 0 h 79"/>
                    <a:gd name="T90" fmla="*/ 2147483647 w 85"/>
                    <a:gd name="T91" fmla="*/ 2147483647 h 79"/>
                    <a:gd name="T92" fmla="*/ 2147483647 w 85"/>
                    <a:gd name="T93" fmla="*/ 2147483647 h 79"/>
                    <a:gd name="T94" fmla="*/ 2147483647 w 85"/>
                    <a:gd name="T95" fmla="*/ 2147483647 h 79"/>
                    <a:gd name="T96" fmla="*/ 2147483647 w 85"/>
                    <a:gd name="T97" fmla="*/ 2147483647 h 79"/>
                    <a:gd name="T98" fmla="*/ 2147483647 w 85"/>
                    <a:gd name="T99" fmla="*/ 2147483647 h 79"/>
                    <a:gd name="T100" fmla="*/ 2147483647 w 85"/>
                    <a:gd name="T101" fmla="*/ 2147483647 h 79"/>
                    <a:gd name="T102" fmla="*/ 2147483647 w 85"/>
                    <a:gd name="T103" fmla="*/ 2147483647 h 79"/>
                    <a:gd name="T104" fmla="*/ 2147483647 w 85"/>
                    <a:gd name="T105" fmla="*/ 2147483647 h 79"/>
                    <a:gd name="T106" fmla="*/ 2147483647 w 85"/>
                    <a:gd name="T107" fmla="*/ 2147483647 h 79"/>
                    <a:gd name="T108" fmla="*/ 2147483647 w 85"/>
                    <a:gd name="T109" fmla="*/ 2147483647 h 79"/>
                    <a:gd name="T110" fmla="*/ 2147483647 w 85"/>
                    <a:gd name="T111" fmla="*/ 2147483647 h 79"/>
                    <a:gd name="T112" fmla="*/ 2147483647 w 85"/>
                    <a:gd name="T113" fmla="*/ 2147483647 h 79"/>
                    <a:gd name="T114" fmla="*/ 2147483647 w 85"/>
                    <a:gd name="T115" fmla="*/ 2147483647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5"/>
                    <a:gd name="T175" fmla="*/ 0 h 79"/>
                    <a:gd name="T176" fmla="*/ 85 w 85"/>
                    <a:gd name="T177" fmla="*/ 79 h 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5" h="79">
                      <a:moveTo>
                        <a:pt x="70" y="54"/>
                      </a:moveTo>
                      <a:lnTo>
                        <a:pt x="69" y="53"/>
                      </a:lnTo>
                      <a:lnTo>
                        <a:pt x="69" y="50"/>
                      </a:lnTo>
                      <a:lnTo>
                        <a:pt x="68" y="48"/>
                      </a:lnTo>
                      <a:lnTo>
                        <a:pt x="66" y="47"/>
                      </a:lnTo>
                      <a:lnTo>
                        <a:pt x="64" y="50"/>
                      </a:lnTo>
                      <a:lnTo>
                        <a:pt x="63" y="53"/>
                      </a:lnTo>
                      <a:lnTo>
                        <a:pt x="61" y="56"/>
                      </a:lnTo>
                      <a:lnTo>
                        <a:pt x="63" y="59"/>
                      </a:lnTo>
                      <a:lnTo>
                        <a:pt x="65" y="66"/>
                      </a:lnTo>
                      <a:lnTo>
                        <a:pt x="68" y="72"/>
                      </a:lnTo>
                      <a:lnTo>
                        <a:pt x="68" y="75"/>
                      </a:lnTo>
                      <a:lnTo>
                        <a:pt x="68" y="76"/>
                      </a:lnTo>
                      <a:lnTo>
                        <a:pt x="64" y="79"/>
                      </a:lnTo>
                      <a:lnTo>
                        <a:pt x="61" y="79"/>
                      </a:lnTo>
                      <a:lnTo>
                        <a:pt x="60" y="78"/>
                      </a:lnTo>
                      <a:lnTo>
                        <a:pt x="59" y="77"/>
                      </a:lnTo>
                      <a:lnTo>
                        <a:pt x="60" y="75"/>
                      </a:lnTo>
                      <a:lnTo>
                        <a:pt x="61" y="71"/>
                      </a:lnTo>
                      <a:lnTo>
                        <a:pt x="61" y="70"/>
                      </a:lnTo>
                      <a:lnTo>
                        <a:pt x="60" y="67"/>
                      </a:lnTo>
                      <a:lnTo>
                        <a:pt x="59" y="66"/>
                      </a:lnTo>
                      <a:lnTo>
                        <a:pt x="57" y="66"/>
                      </a:lnTo>
                      <a:lnTo>
                        <a:pt x="51" y="67"/>
                      </a:lnTo>
                      <a:lnTo>
                        <a:pt x="47" y="67"/>
                      </a:lnTo>
                      <a:lnTo>
                        <a:pt x="45" y="66"/>
                      </a:lnTo>
                      <a:lnTo>
                        <a:pt x="40" y="62"/>
                      </a:lnTo>
                      <a:lnTo>
                        <a:pt x="36" y="54"/>
                      </a:lnTo>
                      <a:lnTo>
                        <a:pt x="36" y="51"/>
                      </a:lnTo>
                      <a:lnTo>
                        <a:pt x="36" y="46"/>
                      </a:lnTo>
                      <a:lnTo>
                        <a:pt x="37" y="43"/>
                      </a:lnTo>
                      <a:lnTo>
                        <a:pt x="40" y="39"/>
                      </a:lnTo>
                      <a:lnTo>
                        <a:pt x="40" y="37"/>
                      </a:lnTo>
                      <a:lnTo>
                        <a:pt x="38" y="34"/>
                      </a:lnTo>
                      <a:lnTo>
                        <a:pt x="37" y="33"/>
                      </a:lnTo>
                      <a:lnTo>
                        <a:pt x="35" y="33"/>
                      </a:lnTo>
                      <a:lnTo>
                        <a:pt x="32" y="34"/>
                      </a:lnTo>
                      <a:lnTo>
                        <a:pt x="32" y="37"/>
                      </a:lnTo>
                      <a:lnTo>
                        <a:pt x="32" y="39"/>
                      </a:lnTo>
                      <a:lnTo>
                        <a:pt x="31" y="40"/>
                      </a:lnTo>
                      <a:lnTo>
                        <a:pt x="27" y="43"/>
                      </a:lnTo>
                      <a:lnTo>
                        <a:pt x="26" y="43"/>
                      </a:lnTo>
                      <a:lnTo>
                        <a:pt x="24" y="43"/>
                      </a:lnTo>
                      <a:lnTo>
                        <a:pt x="22" y="39"/>
                      </a:lnTo>
                      <a:lnTo>
                        <a:pt x="21" y="35"/>
                      </a:lnTo>
                      <a:lnTo>
                        <a:pt x="19" y="32"/>
                      </a:lnTo>
                      <a:lnTo>
                        <a:pt x="18" y="32"/>
                      </a:lnTo>
                      <a:lnTo>
                        <a:pt x="16" y="32"/>
                      </a:lnTo>
                      <a:lnTo>
                        <a:pt x="13" y="33"/>
                      </a:lnTo>
                      <a:lnTo>
                        <a:pt x="12" y="34"/>
                      </a:lnTo>
                      <a:lnTo>
                        <a:pt x="10" y="38"/>
                      </a:lnTo>
                      <a:lnTo>
                        <a:pt x="9" y="43"/>
                      </a:lnTo>
                      <a:lnTo>
                        <a:pt x="8" y="46"/>
                      </a:lnTo>
                      <a:lnTo>
                        <a:pt x="7" y="47"/>
                      </a:lnTo>
                      <a:lnTo>
                        <a:pt x="4" y="50"/>
                      </a:lnTo>
                      <a:lnTo>
                        <a:pt x="2" y="50"/>
                      </a:lnTo>
                      <a:lnTo>
                        <a:pt x="0" y="48"/>
                      </a:lnTo>
                      <a:lnTo>
                        <a:pt x="0" y="44"/>
                      </a:lnTo>
                      <a:lnTo>
                        <a:pt x="0" y="39"/>
                      </a:lnTo>
                      <a:lnTo>
                        <a:pt x="5" y="30"/>
                      </a:lnTo>
                      <a:lnTo>
                        <a:pt x="7" y="27"/>
                      </a:lnTo>
                      <a:lnTo>
                        <a:pt x="8" y="26"/>
                      </a:lnTo>
                      <a:lnTo>
                        <a:pt x="13" y="26"/>
                      </a:lnTo>
                      <a:lnTo>
                        <a:pt x="18" y="26"/>
                      </a:lnTo>
                      <a:lnTo>
                        <a:pt x="21" y="25"/>
                      </a:lnTo>
                      <a:lnTo>
                        <a:pt x="23" y="24"/>
                      </a:lnTo>
                      <a:lnTo>
                        <a:pt x="23" y="21"/>
                      </a:lnTo>
                      <a:lnTo>
                        <a:pt x="23" y="20"/>
                      </a:lnTo>
                      <a:lnTo>
                        <a:pt x="24" y="19"/>
                      </a:lnTo>
                      <a:lnTo>
                        <a:pt x="32" y="18"/>
                      </a:lnTo>
                      <a:lnTo>
                        <a:pt x="35" y="16"/>
                      </a:lnTo>
                      <a:lnTo>
                        <a:pt x="36" y="19"/>
                      </a:lnTo>
                      <a:lnTo>
                        <a:pt x="38" y="24"/>
                      </a:lnTo>
                      <a:lnTo>
                        <a:pt x="40" y="26"/>
                      </a:lnTo>
                      <a:lnTo>
                        <a:pt x="41" y="26"/>
                      </a:lnTo>
                      <a:lnTo>
                        <a:pt x="43" y="25"/>
                      </a:lnTo>
                      <a:lnTo>
                        <a:pt x="45" y="22"/>
                      </a:lnTo>
                      <a:lnTo>
                        <a:pt x="46" y="19"/>
                      </a:lnTo>
                      <a:lnTo>
                        <a:pt x="49" y="15"/>
                      </a:lnTo>
                      <a:lnTo>
                        <a:pt x="50" y="15"/>
                      </a:lnTo>
                      <a:lnTo>
                        <a:pt x="52" y="16"/>
                      </a:lnTo>
                      <a:lnTo>
                        <a:pt x="55" y="16"/>
                      </a:lnTo>
                      <a:lnTo>
                        <a:pt x="57" y="12"/>
                      </a:lnTo>
                      <a:lnTo>
                        <a:pt x="60" y="11"/>
                      </a:lnTo>
                      <a:lnTo>
                        <a:pt x="63" y="11"/>
                      </a:lnTo>
                      <a:lnTo>
                        <a:pt x="64" y="5"/>
                      </a:lnTo>
                      <a:lnTo>
                        <a:pt x="65" y="2"/>
                      </a:lnTo>
                      <a:lnTo>
                        <a:pt x="66" y="0"/>
                      </a:lnTo>
                      <a:lnTo>
                        <a:pt x="68" y="0"/>
                      </a:lnTo>
                      <a:lnTo>
                        <a:pt x="69" y="0"/>
                      </a:lnTo>
                      <a:lnTo>
                        <a:pt x="70" y="3"/>
                      </a:lnTo>
                      <a:lnTo>
                        <a:pt x="71" y="5"/>
                      </a:lnTo>
                      <a:lnTo>
                        <a:pt x="73" y="6"/>
                      </a:lnTo>
                      <a:lnTo>
                        <a:pt x="78" y="8"/>
                      </a:lnTo>
                      <a:lnTo>
                        <a:pt x="77" y="12"/>
                      </a:lnTo>
                      <a:lnTo>
                        <a:pt x="77" y="14"/>
                      </a:lnTo>
                      <a:lnTo>
                        <a:pt x="79" y="19"/>
                      </a:lnTo>
                      <a:lnTo>
                        <a:pt x="79" y="21"/>
                      </a:lnTo>
                      <a:lnTo>
                        <a:pt x="78" y="22"/>
                      </a:lnTo>
                      <a:lnTo>
                        <a:pt x="74" y="25"/>
                      </a:lnTo>
                      <a:lnTo>
                        <a:pt x="73" y="27"/>
                      </a:lnTo>
                      <a:lnTo>
                        <a:pt x="75" y="27"/>
                      </a:lnTo>
                      <a:lnTo>
                        <a:pt x="79" y="28"/>
                      </a:lnTo>
                      <a:lnTo>
                        <a:pt x="80" y="28"/>
                      </a:lnTo>
                      <a:lnTo>
                        <a:pt x="82" y="30"/>
                      </a:lnTo>
                      <a:lnTo>
                        <a:pt x="80" y="33"/>
                      </a:lnTo>
                      <a:lnTo>
                        <a:pt x="82" y="37"/>
                      </a:lnTo>
                      <a:lnTo>
                        <a:pt x="85" y="43"/>
                      </a:lnTo>
                      <a:lnTo>
                        <a:pt x="85" y="47"/>
                      </a:lnTo>
                      <a:lnTo>
                        <a:pt x="85" y="52"/>
                      </a:lnTo>
                      <a:lnTo>
                        <a:pt x="83" y="57"/>
                      </a:lnTo>
                      <a:lnTo>
                        <a:pt x="79" y="60"/>
                      </a:lnTo>
                      <a:lnTo>
                        <a:pt x="78" y="62"/>
                      </a:lnTo>
                      <a:lnTo>
                        <a:pt x="77" y="62"/>
                      </a:lnTo>
                      <a:lnTo>
                        <a:pt x="74" y="59"/>
                      </a:lnTo>
                      <a:lnTo>
                        <a:pt x="73" y="57"/>
                      </a:lnTo>
                      <a:lnTo>
                        <a:pt x="70" y="5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7" name="Freeform 306"/>
                <p:cNvSpPr>
                  <a:spLocks/>
                </p:cNvSpPr>
                <p:nvPr/>
              </p:nvSpPr>
              <p:spPr bwMode="auto">
                <a:xfrm>
                  <a:off x="7369283" y="4279470"/>
                  <a:ext cx="57715" cy="87313"/>
                </a:xfrm>
                <a:custGeom>
                  <a:avLst/>
                  <a:gdLst>
                    <a:gd name="T0" fmla="*/ 2147483647 w 42"/>
                    <a:gd name="T1" fmla="*/ 2147483647 h 59"/>
                    <a:gd name="T2" fmla="*/ 2147483647 w 42"/>
                    <a:gd name="T3" fmla="*/ 2147483647 h 59"/>
                    <a:gd name="T4" fmla="*/ 2147483647 w 42"/>
                    <a:gd name="T5" fmla="*/ 2147483647 h 59"/>
                    <a:gd name="T6" fmla="*/ 2147483647 w 42"/>
                    <a:gd name="T7" fmla="*/ 0 h 59"/>
                    <a:gd name="T8" fmla="*/ 2147483647 w 42"/>
                    <a:gd name="T9" fmla="*/ 0 h 59"/>
                    <a:gd name="T10" fmla="*/ 2147483647 w 42"/>
                    <a:gd name="T11" fmla="*/ 2147483647 h 59"/>
                    <a:gd name="T12" fmla="*/ 2147483647 w 42"/>
                    <a:gd name="T13" fmla="*/ 2147483647 h 59"/>
                    <a:gd name="T14" fmla="*/ 2147483647 w 42"/>
                    <a:gd name="T15" fmla="*/ 2147483647 h 59"/>
                    <a:gd name="T16" fmla="*/ 2147483647 w 42"/>
                    <a:gd name="T17" fmla="*/ 2147483647 h 59"/>
                    <a:gd name="T18" fmla="*/ 2147483647 w 42"/>
                    <a:gd name="T19" fmla="*/ 2147483647 h 59"/>
                    <a:gd name="T20" fmla="*/ 2147483647 w 42"/>
                    <a:gd name="T21" fmla="*/ 2147483647 h 59"/>
                    <a:gd name="T22" fmla="*/ 2147483647 w 42"/>
                    <a:gd name="T23" fmla="*/ 2147483647 h 59"/>
                    <a:gd name="T24" fmla="*/ 2147483647 w 42"/>
                    <a:gd name="T25" fmla="*/ 2147483647 h 59"/>
                    <a:gd name="T26" fmla="*/ 2147483647 w 42"/>
                    <a:gd name="T27" fmla="*/ 2147483647 h 59"/>
                    <a:gd name="T28" fmla="*/ 2147483647 w 42"/>
                    <a:gd name="T29" fmla="*/ 2147483647 h 59"/>
                    <a:gd name="T30" fmla="*/ 2147483647 w 42"/>
                    <a:gd name="T31" fmla="*/ 2147483647 h 59"/>
                    <a:gd name="T32" fmla="*/ 2147483647 w 42"/>
                    <a:gd name="T33" fmla="*/ 2147483647 h 59"/>
                    <a:gd name="T34" fmla="*/ 2147483647 w 42"/>
                    <a:gd name="T35" fmla="*/ 2147483647 h 59"/>
                    <a:gd name="T36" fmla="*/ 2147483647 w 42"/>
                    <a:gd name="T37" fmla="*/ 2147483647 h 59"/>
                    <a:gd name="T38" fmla="*/ 2147483647 w 42"/>
                    <a:gd name="T39" fmla="*/ 2147483647 h 59"/>
                    <a:gd name="T40" fmla="*/ 2147483647 w 42"/>
                    <a:gd name="T41" fmla="*/ 2147483647 h 59"/>
                    <a:gd name="T42" fmla="*/ 0 w 42"/>
                    <a:gd name="T43" fmla="*/ 2147483647 h 59"/>
                    <a:gd name="T44" fmla="*/ 0 w 42"/>
                    <a:gd name="T45" fmla="*/ 2147483647 h 59"/>
                    <a:gd name="T46" fmla="*/ 2147483647 w 42"/>
                    <a:gd name="T47" fmla="*/ 2147483647 h 59"/>
                    <a:gd name="T48" fmla="*/ 2147483647 w 42"/>
                    <a:gd name="T49" fmla="*/ 2147483647 h 59"/>
                    <a:gd name="T50" fmla="*/ 2147483647 w 42"/>
                    <a:gd name="T51" fmla="*/ 2147483647 h 59"/>
                    <a:gd name="T52" fmla="*/ 2147483647 w 42"/>
                    <a:gd name="T53" fmla="*/ 2147483647 h 59"/>
                    <a:gd name="T54" fmla="*/ 2147483647 w 42"/>
                    <a:gd name="T55" fmla="*/ 2147483647 h 59"/>
                    <a:gd name="T56" fmla="*/ 2147483647 w 42"/>
                    <a:gd name="T57" fmla="*/ 2147483647 h 59"/>
                    <a:gd name="T58" fmla="*/ 2147483647 w 42"/>
                    <a:gd name="T59" fmla="*/ 2147483647 h 59"/>
                    <a:gd name="T60" fmla="*/ 2147483647 w 42"/>
                    <a:gd name="T61" fmla="*/ 2147483647 h 59"/>
                    <a:gd name="T62" fmla="*/ 2147483647 w 42"/>
                    <a:gd name="T63" fmla="*/ 2147483647 h 59"/>
                    <a:gd name="T64" fmla="*/ 2147483647 w 42"/>
                    <a:gd name="T65" fmla="*/ 2147483647 h 59"/>
                    <a:gd name="T66" fmla="*/ 2147483647 w 42"/>
                    <a:gd name="T67" fmla="*/ 2147483647 h 59"/>
                    <a:gd name="T68" fmla="*/ 2147483647 w 42"/>
                    <a:gd name="T69" fmla="*/ 2147483647 h 59"/>
                    <a:gd name="T70" fmla="*/ 2147483647 w 42"/>
                    <a:gd name="T71" fmla="*/ 2147483647 h 59"/>
                    <a:gd name="T72" fmla="*/ 2147483647 w 42"/>
                    <a:gd name="T73" fmla="*/ 2147483647 h 59"/>
                    <a:gd name="T74" fmla="*/ 2147483647 w 42"/>
                    <a:gd name="T75" fmla="*/ 2147483647 h 59"/>
                    <a:gd name="T76" fmla="*/ 2147483647 w 42"/>
                    <a:gd name="T77" fmla="*/ 2147483647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59"/>
                    <a:gd name="T119" fmla="*/ 42 w 4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59">
                      <a:moveTo>
                        <a:pt x="41" y="5"/>
                      </a:moveTo>
                      <a:lnTo>
                        <a:pt x="41" y="5"/>
                      </a:lnTo>
                      <a:lnTo>
                        <a:pt x="40" y="2"/>
                      </a:lnTo>
                      <a:lnTo>
                        <a:pt x="38" y="0"/>
                      </a:lnTo>
                      <a:lnTo>
                        <a:pt x="35" y="5"/>
                      </a:lnTo>
                      <a:lnTo>
                        <a:pt x="32" y="8"/>
                      </a:lnTo>
                      <a:lnTo>
                        <a:pt x="31" y="10"/>
                      </a:lnTo>
                      <a:lnTo>
                        <a:pt x="30" y="18"/>
                      </a:lnTo>
                      <a:lnTo>
                        <a:pt x="28" y="20"/>
                      </a:lnTo>
                      <a:lnTo>
                        <a:pt x="26" y="22"/>
                      </a:lnTo>
                      <a:lnTo>
                        <a:pt x="24" y="27"/>
                      </a:lnTo>
                      <a:lnTo>
                        <a:pt x="18" y="34"/>
                      </a:lnTo>
                      <a:lnTo>
                        <a:pt x="12" y="41"/>
                      </a:lnTo>
                      <a:lnTo>
                        <a:pt x="2" y="53"/>
                      </a:lnTo>
                      <a:lnTo>
                        <a:pt x="0" y="57"/>
                      </a:lnTo>
                      <a:lnTo>
                        <a:pt x="0" y="58"/>
                      </a:lnTo>
                      <a:lnTo>
                        <a:pt x="2" y="59"/>
                      </a:lnTo>
                      <a:lnTo>
                        <a:pt x="7" y="58"/>
                      </a:lnTo>
                      <a:lnTo>
                        <a:pt x="12" y="57"/>
                      </a:lnTo>
                      <a:lnTo>
                        <a:pt x="16" y="53"/>
                      </a:lnTo>
                      <a:lnTo>
                        <a:pt x="18" y="50"/>
                      </a:lnTo>
                      <a:lnTo>
                        <a:pt x="30" y="32"/>
                      </a:lnTo>
                      <a:lnTo>
                        <a:pt x="35" y="25"/>
                      </a:lnTo>
                      <a:lnTo>
                        <a:pt x="38" y="18"/>
                      </a:lnTo>
                      <a:lnTo>
                        <a:pt x="41" y="12"/>
                      </a:lnTo>
                      <a:lnTo>
                        <a:pt x="42" y="8"/>
                      </a:lnTo>
                      <a:lnTo>
                        <a:pt x="4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8" name="Freeform 307"/>
                <p:cNvSpPr>
                  <a:spLocks/>
                </p:cNvSpPr>
                <p:nvPr/>
              </p:nvSpPr>
              <p:spPr bwMode="auto">
                <a:xfrm>
                  <a:off x="7477314" y="4335708"/>
                  <a:ext cx="115430" cy="116910"/>
                </a:xfrm>
                <a:custGeom>
                  <a:avLst/>
                  <a:gdLst>
                    <a:gd name="T0" fmla="*/ 2147483647 w 85"/>
                    <a:gd name="T1" fmla="*/ 2147483647 h 79"/>
                    <a:gd name="T2" fmla="*/ 2147483647 w 85"/>
                    <a:gd name="T3" fmla="*/ 2147483647 h 79"/>
                    <a:gd name="T4" fmla="*/ 2147483647 w 85"/>
                    <a:gd name="T5" fmla="*/ 2147483647 h 79"/>
                    <a:gd name="T6" fmla="*/ 2147483647 w 85"/>
                    <a:gd name="T7" fmla="*/ 2147483647 h 79"/>
                    <a:gd name="T8" fmla="*/ 2147483647 w 85"/>
                    <a:gd name="T9" fmla="*/ 2147483647 h 79"/>
                    <a:gd name="T10" fmla="*/ 2147483647 w 85"/>
                    <a:gd name="T11" fmla="*/ 2147483647 h 79"/>
                    <a:gd name="T12" fmla="*/ 2147483647 w 85"/>
                    <a:gd name="T13" fmla="*/ 2147483647 h 79"/>
                    <a:gd name="T14" fmla="*/ 2147483647 w 85"/>
                    <a:gd name="T15" fmla="*/ 2147483647 h 79"/>
                    <a:gd name="T16" fmla="*/ 2147483647 w 85"/>
                    <a:gd name="T17" fmla="*/ 2147483647 h 79"/>
                    <a:gd name="T18" fmla="*/ 2147483647 w 85"/>
                    <a:gd name="T19" fmla="*/ 2147483647 h 79"/>
                    <a:gd name="T20" fmla="*/ 2147483647 w 85"/>
                    <a:gd name="T21" fmla="*/ 2147483647 h 79"/>
                    <a:gd name="T22" fmla="*/ 2147483647 w 85"/>
                    <a:gd name="T23" fmla="*/ 2147483647 h 79"/>
                    <a:gd name="T24" fmla="*/ 2147483647 w 85"/>
                    <a:gd name="T25" fmla="*/ 2147483647 h 79"/>
                    <a:gd name="T26" fmla="*/ 2147483647 w 85"/>
                    <a:gd name="T27" fmla="*/ 2147483647 h 79"/>
                    <a:gd name="T28" fmla="*/ 2147483647 w 85"/>
                    <a:gd name="T29" fmla="*/ 2147483647 h 79"/>
                    <a:gd name="T30" fmla="*/ 2147483647 w 85"/>
                    <a:gd name="T31" fmla="*/ 2147483647 h 79"/>
                    <a:gd name="T32" fmla="*/ 2147483647 w 85"/>
                    <a:gd name="T33" fmla="*/ 2147483647 h 79"/>
                    <a:gd name="T34" fmla="*/ 2147483647 w 85"/>
                    <a:gd name="T35" fmla="*/ 2147483647 h 79"/>
                    <a:gd name="T36" fmla="*/ 2147483647 w 85"/>
                    <a:gd name="T37" fmla="*/ 2147483647 h 79"/>
                    <a:gd name="T38" fmla="*/ 2147483647 w 85"/>
                    <a:gd name="T39" fmla="*/ 2147483647 h 79"/>
                    <a:gd name="T40" fmla="*/ 2147483647 w 85"/>
                    <a:gd name="T41" fmla="*/ 2147483647 h 79"/>
                    <a:gd name="T42" fmla="*/ 2147483647 w 85"/>
                    <a:gd name="T43" fmla="*/ 2147483647 h 79"/>
                    <a:gd name="T44" fmla="*/ 2147483647 w 85"/>
                    <a:gd name="T45" fmla="*/ 2147483647 h 79"/>
                    <a:gd name="T46" fmla="*/ 0 w 85"/>
                    <a:gd name="T47" fmla="*/ 2147483647 h 79"/>
                    <a:gd name="T48" fmla="*/ 2147483647 w 85"/>
                    <a:gd name="T49" fmla="*/ 2147483647 h 79"/>
                    <a:gd name="T50" fmla="*/ 2147483647 w 85"/>
                    <a:gd name="T51" fmla="*/ 2147483647 h 79"/>
                    <a:gd name="T52" fmla="*/ 2147483647 w 85"/>
                    <a:gd name="T53" fmla="*/ 2147483647 h 79"/>
                    <a:gd name="T54" fmla="*/ 2147483647 w 85"/>
                    <a:gd name="T55" fmla="*/ 2147483647 h 79"/>
                    <a:gd name="T56" fmla="*/ 2147483647 w 85"/>
                    <a:gd name="T57" fmla="*/ 2147483647 h 79"/>
                    <a:gd name="T58" fmla="*/ 2147483647 w 85"/>
                    <a:gd name="T59" fmla="*/ 2147483647 h 79"/>
                    <a:gd name="T60" fmla="*/ 2147483647 w 85"/>
                    <a:gd name="T61" fmla="*/ 2147483647 h 79"/>
                    <a:gd name="T62" fmla="*/ 2147483647 w 85"/>
                    <a:gd name="T63" fmla="*/ 2147483647 h 79"/>
                    <a:gd name="T64" fmla="*/ 2147483647 w 85"/>
                    <a:gd name="T65" fmla="*/ 2147483647 h 79"/>
                    <a:gd name="T66" fmla="*/ 2147483647 w 85"/>
                    <a:gd name="T67" fmla="*/ 2147483647 h 79"/>
                    <a:gd name="T68" fmla="*/ 2147483647 w 85"/>
                    <a:gd name="T69" fmla="*/ 2147483647 h 79"/>
                    <a:gd name="T70" fmla="*/ 2147483647 w 85"/>
                    <a:gd name="T71" fmla="*/ 2147483647 h 79"/>
                    <a:gd name="T72" fmla="*/ 2147483647 w 85"/>
                    <a:gd name="T73" fmla="*/ 2147483647 h 79"/>
                    <a:gd name="T74" fmla="*/ 2147483647 w 85"/>
                    <a:gd name="T75" fmla="*/ 0 h 79"/>
                    <a:gd name="T76" fmla="*/ 2147483647 w 85"/>
                    <a:gd name="T77" fmla="*/ 2147483647 h 79"/>
                    <a:gd name="T78" fmla="*/ 2147483647 w 85"/>
                    <a:gd name="T79" fmla="*/ 2147483647 h 79"/>
                    <a:gd name="T80" fmla="*/ 2147483647 w 85"/>
                    <a:gd name="T81" fmla="*/ 2147483647 h 79"/>
                    <a:gd name="T82" fmla="*/ 2147483647 w 85"/>
                    <a:gd name="T83" fmla="*/ 2147483647 h 79"/>
                    <a:gd name="T84" fmla="*/ 2147483647 w 85"/>
                    <a:gd name="T85" fmla="*/ 2147483647 h 79"/>
                    <a:gd name="T86" fmla="*/ 2147483647 w 85"/>
                    <a:gd name="T87" fmla="*/ 2147483647 h 79"/>
                    <a:gd name="T88" fmla="*/ 2147483647 w 85"/>
                    <a:gd name="T89" fmla="*/ 2147483647 h 79"/>
                    <a:gd name="T90" fmla="*/ 2147483647 w 85"/>
                    <a:gd name="T91" fmla="*/ 2147483647 h 79"/>
                    <a:gd name="T92" fmla="*/ 2147483647 w 85"/>
                    <a:gd name="T93" fmla="*/ 2147483647 h 79"/>
                    <a:gd name="T94" fmla="*/ 2147483647 w 85"/>
                    <a:gd name="T95" fmla="*/ 2147483647 h 79"/>
                    <a:gd name="T96" fmla="*/ 2147483647 w 85"/>
                    <a:gd name="T97" fmla="*/ 2147483647 h 79"/>
                    <a:gd name="T98" fmla="*/ 2147483647 w 85"/>
                    <a:gd name="T99" fmla="*/ 2147483647 h 79"/>
                    <a:gd name="T100" fmla="*/ 2147483647 w 85"/>
                    <a:gd name="T101" fmla="*/ 2147483647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5"/>
                    <a:gd name="T154" fmla="*/ 0 h 79"/>
                    <a:gd name="T155" fmla="*/ 85 w 85"/>
                    <a:gd name="T156" fmla="*/ 79 h 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5" h="79">
                      <a:moveTo>
                        <a:pt x="70" y="54"/>
                      </a:moveTo>
                      <a:lnTo>
                        <a:pt x="70" y="54"/>
                      </a:lnTo>
                      <a:lnTo>
                        <a:pt x="69" y="53"/>
                      </a:lnTo>
                      <a:lnTo>
                        <a:pt x="69" y="49"/>
                      </a:lnTo>
                      <a:lnTo>
                        <a:pt x="67" y="48"/>
                      </a:lnTo>
                      <a:lnTo>
                        <a:pt x="66" y="47"/>
                      </a:lnTo>
                      <a:lnTo>
                        <a:pt x="64" y="49"/>
                      </a:lnTo>
                      <a:lnTo>
                        <a:pt x="62" y="53"/>
                      </a:lnTo>
                      <a:lnTo>
                        <a:pt x="61" y="55"/>
                      </a:lnTo>
                      <a:lnTo>
                        <a:pt x="62" y="59"/>
                      </a:lnTo>
                      <a:lnTo>
                        <a:pt x="65" y="66"/>
                      </a:lnTo>
                      <a:lnTo>
                        <a:pt x="67" y="72"/>
                      </a:lnTo>
                      <a:lnTo>
                        <a:pt x="67" y="74"/>
                      </a:lnTo>
                      <a:lnTo>
                        <a:pt x="67" y="76"/>
                      </a:lnTo>
                      <a:lnTo>
                        <a:pt x="64" y="79"/>
                      </a:lnTo>
                      <a:lnTo>
                        <a:pt x="61" y="79"/>
                      </a:lnTo>
                      <a:lnTo>
                        <a:pt x="60" y="78"/>
                      </a:lnTo>
                      <a:lnTo>
                        <a:pt x="58" y="77"/>
                      </a:lnTo>
                      <a:lnTo>
                        <a:pt x="60" y="74"/>
                      </a:lnTo>
                      <a:lnTo>
                        <a:pt x="61" y="71"/>
                      </a:lnTo>
                      <a:lnTo>
                        <a:pt x="61" y="70"/>
                      </a:lnTo>
                      <a:lnTo>
                        <a:pt x="60" y="67"/>
                      </a:lnTo>
                      <a:lnTo>
                        <a:pt x="58" y="66"/>
                      </a:lnTo>
                      <a:lnTo>
                        <a:pt x="57" y="66"/>
                      </a:lnTo>
                      <a:lnTo>
                        <a:pt x="51" y="67"/>
                      </a:lnTo>
                      <a:lnTo>
                        <a:pt x="47" y="67"/>
                      </a:lnTo>
                      <a:lnTo>
                        <a:pt x="44" y="66"/>
                      </a:lnTo>
                      <a:lnTo>
                        <a:pt x="39" y="61"/>
                      </a:lnTo>
                      <a:lnTo>
                        <a:pt x="36" y="54"/>
                      </a:lnTo>
                      <a:lnTo>
                        <a:pt x="36" y="51"/>
                      </a:lnTo>
                      <a:lnTo>
                        <a:pt x="36" y="46"/>
                      </a:lnTo>
                      <a:lnTo>
                        <a:pt x="37" y="42"/>
                      </a:lnTo>
                      <a:lnTo>
                        <a:pt x="39" y="39"/>
                      </a:lnTo>
                      <a:lnTo>
                        <a:pt x="39" y="36"/>
                      </a:lnTo>
                      <a:lnTo>
                        <a:pt x="38" y="34"/>
                      </a:lnTo>
                      <a:lnTo>
                        <a:pt x="37" y="33"/>
                      </a:lnTo>
                      <a:lnTo>
                        <a:pt x="34" y="33"/>
                      </a:lnTo>
                      <a:lnTo>
                        <a:pt x="32" y="34"/>
                      </a:lnTo>
                      <a:lnTo>
                        <a:pt x="32" y="36"/>
                      </a:lnTo>
                      <a:lnTo>
                        <a:pt x="32" y="39"/>
                      </a:lnTo>
                      <a:lnTo>
                        <a:pt x="31" y="40"/>
                      </a:lnTo>
                      <a:lnTo>
                        <a:pt x="27" y="42"/>
                      </a:lnTo>
                      <a:lnTo>
                        <a:pt x="25" y="42"/>
                      </a:lnTo>
                      <a:lnTo>
                        <a:pt x="24" y="42"/>
                      </a:lnTo>
                      <a:lnTo>
                        <a:pt x="22" y="39"/>
                      </a:lnTo>
                      <a:lnTo>
                        <a:pt x="20" y="35"/>
                      </a:lnTo>
                      <a:lnTo>
                        <a:pt x="19" y="32"/>
                      </a:lnTo>
                      <a:lnTo>
                        <a:pt x="18" y="32"/>
                      </a:lnTo>
                      <a:lnTo>
                        <a:pt x="15" y="32"/>
                      </a:lnTo>
                      <a:lnTo>
                        <a:pt x="13" y="33"/>
                      </a:lnTo>
                      <a:lnTo>
                        <a:pt x="11" y="34"/>
                      </a:lnTo>
                      <a:lnTo>
                        <a:pt x="10" y="38"/>
                      </a:lnTo>
                      <a:lnTo>
                        <a:pt x="9" y="42"/>
                      </a:lnTo>
                      <a:lnTo>
                        <a:pt x="8" y="46"/>
                      </a:lnTo>
                      <a:lnTo>
                        <a:pt x="6" y="47"/>
                      </a:lnTo>
                      <a:lnTo>
                        <a:pt x="4" y="49"/>
                      </a:lnTo>
                      <a:lnTo>
                        <a:pt x="1" y="49"/>
                      </a:lnTo>
                      <a:lnTo>
                        <a:pt x="0" y="48"/>
                      </a:lnTo>
                      <a:lnTo>
                        <a:pt x="0" y="44"/>
                      </a:lnTo>
                      <a:lnTo>
                        <a:pt x="0" y="39"/>
                      </a:lnTo>
                      <a:lnTo>
                        <a:pt x="5" y="29"/>
                      </a:lnTo>
                      <a:lnTo>
                        <a:pt x="6" y="27"/>
                      </a:lnTo>
                      <a:lnTo>
                        <a:pt x="8" y="26"/>
                      </a:lnTo>
                      <a:lnTo>
                        <a:pt x="13" y="26"/>
                      </a:lnTo>
                      <a:lnTo>
                        <a:pt x="18" y="26"/>
                      </a:lnTo>
                      <a:lnTo>
                        <a:pt x="20" y="25"/>
                      </a:lnTo>
                      <a:lnTo>
                        <a:pt x="23" y="23"/>
                      </a:lnTo>
                      <a:lnTo>
                        <a:pt x="23" y="21"/>
                      </a:lnTo>
                      <a:lnTo>
                        <a:pt x="23" y="20"/>
                      </a:lnTo>
                      <a:lnTo>
                        <a:pt x="24" y="19"/>
                      </a:lnTo>
                      <a:lnTo>
                        <a:pt x="32" y="17"/>
                      </a:lnTo>
                      <a:lnTo>
                        <a:pt x="34" y="16"/>
                      </a:lnTo>
                      <a:lnTo>
                        <a:pt x="36" y="19"/>
                      </a:lnTo>
                      <a:lnTo>
                        <a:pt x="38" y="23"/>
                      </a:lnTo>
                      <a:lnTo>
                        <a:pt x="39" y="26"/>
                      </a:lnTo>
                      <a:lnTo>
                        <a:pt x="41" y="26"/>
                      </a:lnTo>
                      <a:lnTo>
                        <a:pt x="43" y="25"/>
                      </a:lnTo>
                      <a:lnTo>
                        <a:pt x="44" y="22"/>
                      </a:lnTo>
                      <a:lnTo>
                        <a:pt x="46" y="19"/>
                      </a:lnTo>
                      <a:lnTo>
                        <a:pt x="48" y="15"/>
                      </a:lnTo>
                      <a:lnTo>
                        <a:pt x="50" y="15"/>
                      </a:lnTo>
                      <a:lnTo>
                        <a:pt x="52" y="16"/>
                      </a:lnTo>
                      <a:lnTo>
                        <a:pt x="55" y="16"/>
                      </a:lnTo>
                      <a:lnTo>
                        <a:pt x="57" y="12"/>
                      </a:lnTo>
                      <a:lnTo>
                        <a:pt x="60" y="10"/>
                      </a:lnTo>
                      <a:lnTo>
                        <a:pt x="62" y="10"/>
                      </a:lnTo>
                      <a:lnTo>
                        <a:pt x="64" y="4"/>
                      </a:lnTo>
                      <a:lnTo>
                        <a:pt x="65" y="2"/>
                      </a:lnTo>
                      <a:lnTo>
                        <a:pt x="66" y="0"/>
                      </a:lnTo>
                      <a:lnTo>
                        <a:pt x="67" y="0"/>
                      </a:lnTo>
                      <a:lnTo>
                        <a:pt x="69" y="0"/>
                      </a:lnTo>
                      <a:lnTo>
                        <a:pt x="70" y="3"/>
                      </a:lnTo>
                      <a:lnTo>
                        <a:pt x="71" y="4"/>
                      </a:lnTo>
                      <a:lnTo>
                        <a:pt x="72" y="6"/>
                      </a:lnTo>
                      <a:lnTo>
                        <a:pt x="78" y="8"/>
                      </a:lnTo>
                      <a:lnTo>
                        <a:pt x="76" y="12"/>
                      </a:lnTo>
                      <a:lnTo>
                        <a:pt x="76" y="14"/>
                      </a:lnTo>
                      <a:lnTo>
                        <a:pt x="79" y="19"/>
                      </a:lnTo>
                      <a:lnTo>
                        <a:pt x="79" y="21"/>
                      </a:lnTo>
                      <a:lnTo>
                        <a:pt x="78" y="22"/>
                      </a:lnTo>
                      <a:lnTo>
                        <a:pt x="74" y="25"/>
                      </a:lnTo>
                      <a:lnTo>
                        <a:pt x="72" y="27"/>
                      </a:lnTo>
                      <a:lnTo>
                        <a:pt x="75" y="27"/>
                      </a:lnTo>
                      <a:lnTo>
                        <a:pt x="79" y="28"/>
                      </a:lnTo>
                      <a:lnTo>
                        <a:pt x="80" y="28"/>
                      </a:lnTo>
                      <a:lnTo>
                        <a:pt x="81" y="29"/>
                      </a:lnTo>
                      <a:lnTo>
                        <a:pt x="80" y="33"/>
                      </a:lnTo>
                      <a:lnTo>
                        <a:pt x="81" y="36"/>
                      </a:lnTo>
                      <a:lnTo>
                        <a:pt x="85" y="42"/>
                      </a:lnTo>
                      <a:lnTo>
                        <a:pt x="85" y="47"/>
                      </a:lnTo>
                      <a:lnTo>
                        <a:pt x="85" y="52"/>
                      </a:lnTo>
                      <a:lnTo>
                        <a:pt x="83" y="57"/>
                      </a:lnTo>
                      <a:lnTo>
                        <a:pt x="79" y="60"/>
                      </a:lnTo>
                      <a:lnTo>
                        <a:pt x="78" y="61"/>
                      </a:lnTo>
                      <a:lnTo>
                        <a:pt x="76" y="61"/>
                      </a:lnTo>
                      <a:lnTo>
                        <a:pt x="74" y="59"/>
                      </a:lnTo>
                      <a:lnTo>
                        <a:pt x="72" y="57"/>
                      </a:lnTo>
                      <a:lnTo>
                        <a:pt x="70" y="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89" name="Freeform 308"/>
                <p:cNvSpPr>
                  <a:spLocks/>
                </p:cNvSpPr>
                <p:nvPr/>
              </p:nvSpPr>
              <p:spPr bwMode="auto">
                <a:xfrm>
                  <a:off x="7545391" y="4249873"/>
                  <a:ext cx="34038" cy="47356"/>
                </a:xfrm>
                <a:custGeom>
                  <a:avLst/>
                  <a:gdLst>
                    <a:gd name="T0" fmla="*/ 2147483647 w 25"/>
                    <a:gd name="T1" fmla="*/ 2147483647 h 32"/>
                    <a:gd name="T2" fmla="*/ 2147483647 w 25"/>
                    <a:gd name="T3" fmla="*/ 2147483647 h 32"/>
                    <a:gd name="T4" fmla="*/ 2147483647 w 25"/>
                    <a:gd name="T5" fmla="*/ 2147483647 h 32"/>
                    <a:gd name="T6" fmla="*/ 2147483647 w 25"/>
                    <a:gd name="T7" fmla="*/ 2147483647 h 32"/>
                    <a:gd name="T8" fmla="*/ 2147483647 w 25"/>
                    <a:gd name="T9" fmla="*/ 2147483647 h 32"/>
                    <a:gd name="T10" fmla="*/ 2147483647 w 25"/>
                    <a:gd name="T11" fmla="*/ 2147483647 h 32"/>
                    <a:gd name="T12" fmla="*/ 0 w 25"/>
                    <a:gd name="T13" fmla="*/ 2147483647 h 32"/>
                    <a:gd name="T14" fmla="*/ 2147483647 w 25"/>
                    <a:gd name="T15" fmla="*/ 2147483647 h 32"/>
                    <a:gd name="T16" fmla="*/ 2147483647 w 25"/>
                    <a:gd name="T17" fmla="*/ 2147483647 h 32"/>
                    <a:gd name="T18" fmla="*/ 2147483647 w 25"/>
                    <a:gd name="T19" fmla="*/ 0 h 32"/>
                    <a:gd name="T20" fmla="*/ 2147483647 w 25"/>
                    <a:gd name="T21" fmla="*/ 0 h 32"/>
                    <a:gd name="T22" fmla="*/ 2147483647 w 25"/>
                    <a:gd name="T23" fmla="*/ 0 h 32"/>
                    <a:gd name="T24" fmla="*/ 2147483647 w 25"/>
                    <a:gd name="T25" fmla="*/ 2147483647 h 32"/>
                    <a:gd name="T26" fmla="*/ 2147483647 w 25"/>
                    <a:gd name="T27" fmla="*/ 2147483647 h 32"/>
                    <a:gd name="T28" fmla="*/ 2147483647 w 25"/>
                    <a:gd name="T29" fmla="*/ 2147483647 h 32"/>
                    <a:gd name="T30" fmla="*/ 2147483647 w 25"/>
                    <a:gd name="T31" fmla="*/ 2147483647 h 32"/>
                    <a:gd name="T32" fmla="*/ 2147483647 w 25"/>
                    <a:gd name="T33" fmla="*/ 2147483647 h 32"/>
                    <a:gd name="T34" fmla="*/ 2147483647 w 25"/>
                    <a:gd name="T35" fmla="*/ 2147483647 h 32"/>
                    <a:gd name="T36" fmla="*/ 2147483647 w 25"/>
                    <a:gd name="T37" fmla="*/ 2147483647 h 32"/>
                    <a:gd name="T38" fmla="*/ 2147483647 w 25"/>
                    <a:gd name="T39" fmla="*/ 2147483647 h 32"/>
                    <a:gd name="T40" fmla="*/ 2147483647 w 25"/>
                    <a:gd name="T41" fmla="*/ 2147483647 h 32"/>
                    <a:gd name="T42" fmla="*/ 2147483647 w 25"/>
                    <a:gd name="T43" fmla="*/ 2147483647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32"/>
                    <a:gd name="T68" fmla="*/ 25 w 25"/>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32">
                      <a:moveTo>
                        <a:pt x="22" y="30"/>
                      </a:moveTo>
                      <a:lnTo>
                        <a:pt x="19" y="30"/>
                      </a:lnTo>
                      <a:lnTo>
                        <a:pt x="16" y="29"/>
                      </a:lnTo>
                      <a:lnTo>
                        <a:pt x="11" y="26"/>
                      </a:lnTo>
                      <a:lnTo>
                        <a:pt x="5" y="17"/>
                      </a:lnTo>
                      <a:lnTo>
                        <a:pt x="1" y="9"/>
                      </a:lnTo>
                      <a:lnTo>
                        <a:pt x="0" y="4"/>
                      </a:lnTo>
                      <a:lnTo>
                        <a:pt x="1" y="2"/>
                      </a:lnTo>
                      <a:lnTo>
                        <a:pt x="2" y="1"/>
                      </a:lnTo>
                      <a:lnTo>
                        <a:pt x="3" y="0"/>
                      </a:lnTo>
                      <a:lnTo>
                        <a:pt x="5" y="0"/>
                      </a:lnTo>
                      <a:lnTo>
                        <a:pt x="8" y="0"/>
                      </a:lnTo>
                      <a:lnTo>
                        <a:pt x="12" y="1"/>
                      </a:lnTo>
                      <a:lnTo>
                        <a:pt x="16" y="1"/>
                      </a:lnTo>
                      <a:lnTo>
                        <a:pt x="19" y="11"/>
                      </a:lnTo>
                      <a:lnTo>
                        <a:pt x="20" y="17"/>
                      </a:lnTo>
                      <a:lnTo>
                        <a:pt x="22" y="22"/>
                      </a:lnTo>
                      <a:lnTo>
                        <a:pt x="25" y="27"/>
                      </a:lnTo>
                      <a:lnTo>
                        <a:pt x="25" y="29"/>
                      </a:lnTo>
                      <a:lnTo>
                        <a:pt x="25" y="30"/>
                      </a:lnTo>
                      <a:lnTo>
                        <a:pt x="24" y="32"/>
                      </a:lnTo>
                      <a:lnTo>
                        <a:pt x="22"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0" name="Freeform 309"/>
                <p:cNvSpPr>
                  <a:spLocks/>
                </p:cNvSpPr>
                <p:nvPr/>
              </p:nvSpPr>
              <p:spPr bwMode="auto">
                <a:xfrm>
                  <a:off x="7489152" y="4289834"/>
                  <a:ext cx="31078" cy="57714"/>
                </a:xfrm>
                <a:custGeom>
                  <a:avLst/>
                  <a:gdLst>
                    <a:gd name="T0" fmla="*/ 2147483647 w 23"/>
                    <a:gd name="T1" fmla="*/ 2147483647 h 39"/>
                    <a:gd name="T2" fmla="*/ 2147483647 w 23"/>
                    <a:gd name="T3" fmla="*/ 2147483647 h 39"/>
                    <a:gd name="T4" fmla="*/ 2147483647 w 23"/>
                    <a:gd name="T5" fmla="*/ 2147483647 h 39"/>
                    <a:gd name="T6" fmla="*/ 2147483647 w 23"/>
                    <a:gd name="T7" fmla="*/ 2147483647 h 39"/>
                    <a:gd name="T8" fmla="*/ 2147483647 w 23"/>
                    <a:gd name="T9" fmla="*/ 2147483647 h 39"/>
                    <a:gd name="T10" fmla="*/ 2147483647 w 23"/>
                    <a:gd name="T11" fmla="*/ 2147483647 h 39"/>
                    <a:gd name="T12" fmla="*/ 2147483647 w 23"/>
                    <a:gd name="T13" fmla="*/ 2147483647 h 39"/>
                    <a:gd name="T14" fmla="*/ 2147483647 w 23"/>
                    <a:gd name="T15" fmla="*/ 0 h 39"/>
                    <a:gd name="T16" fmla="*/ 2147483647 w 23"/>
                    <a:gd name="T17" fmla="*/ 2147483647 h 39"/>
                    <a:gd name="T18" fmla="*/ 2147483647 w 23"/>
                    <a:gd name="T19" fmla="*/ 2147483647 h 39"/>
                    <a:gd name="T20" fmla="*/ 2147483647 w 23"/>
                    <a:gd name="T21" fmla="*/ 2147483647 h 39"/>
                    <a:gd name="T22" fmla="*/ 2147483647 w 23"/>
                    <a:gd name="T23" fmla="*/ 2147483647 h 39"/>
                    <a:gd name="T24" fmla="*/ 2147483647 w 23"/>
                    <a:gd name="T25" fmla="*/ 2147483647 h 39"/>
                    <a:gd name="T26" fmla="*/ 2147483647 w 23"/>
                    <a:gd name="T27" fmla="*/ 2147483647 h 39"/>
                    <a:gd name="T28" fmla="*/ 0 w 23"/>
                    <a:gd name="T29" fmla="*/ 2147483647 h 39"/>
                    <a:gd name="T30" fmla="*/ 0 w 23"/>
                    <a:gd name="T31" fmla="*/ 2147483647 h 39"/>
                    <a:gd name="T32" fmla="*/ 2147483647 w 23"/>
                    <a:gd name="T33" fmla="*/ 2147483647 h 39"/>
                    <a:gd name="T34" fmla="*/ 2147483647 w 23"/>
                    <a:gd name="T35" fmla="*/ 2147483647 h 39"/>
                    <a:gd name="T36" fmla="*/ 2147483647 w 23"/>
                    <a:gd name="T37" fmla="*/ 2147483647 h 39"/>
                    <a:gd name="T38" fmla="*/ 2147483647 w 23"/>
                    <a:gd name="T39" fmla="*/ 2147483647 h 39"/>
                    <a:gd name="T40" fmla="*/ 2147483647 w 23"/>
                    <a:gd name="T41" fmla="*/ 2147483647 h 39"/>
                    <a:gd name="T42" fmla="*/ 2147483647 w 23"/>
                    <a:gd name="T43" fmla="*/ 2147483647 h 39"/>
                    <a:gd name="T44" fmla="*/ 2147483647 w 23"/>
                    <a:gd name="T45" fmla="*/ 2147483647 h 39"/>
                    <a:gd name="T46" fmla="*/ 2147483647 w 23"/>
                    <a:gd name="T47" fmla="*/ 2147483647 h 39"/>
                    <a:gd name="T48" fmla="*/ 2147483647 w 23"/>
                    <a:gd name="T49" fmla="*/ 2147483647 h 39"/>
                    <a:gd name="T50" fmla="*/ 2147483647 w 23"/>
                    <a:gd name="T51" fmla="*/ 2147483647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
                    <a:gd name="T79" fmla="*/ 0 h 39"/>
                    <a:gd name="T80" fmla="*/ 23 w 23"/>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 h="39">
                      <a:moveTo>
                        <a:pt x="20" y="32"/>
                      </a:moveTo>
                      <a:lnTo>
                        <a:pt x="18" y="28"/>
                      </a:lnTo>
                      <a:lnTo>
                        <a:pt x="18" y="25"/>
                      </a:lnTo>
                      <a:lnTo>
                        <a:pt x="18" y="18"/>
                      </a:lnTo>
                      <a:lnTo>
                        <a:pt x="23" y="5"/>
                      </a:lnTo>
                      <a:lnTo>
                        <a:pt x="23" y="2"/>
                      </a:lnTo>
                      <a:lnTo>
                        <a:pt x="22" y="1"/>
                      </a:lnTo>
                      <a:lnTo>
                        <a:pt x="20" y="0"/>
                      </a:lnTo>
                      <a:lnTo>
                        <a:pt x="19" y="1"/>
                      </a:lnTo>
                      <a:lnTo>
                        <a:pt x="15" y="7"/>
                      </a:lnTo>
                      <a:lnTo>
                        <a:pt x="13" y="14"/>
                      </a:lnTo>
                      <a:lnTo>
                        <a:pt x="10" y="18"/>
                      </a:lnTo>
                      <a:lnTo>
                        <a:pt x="8" y="20"/>
                      </a:lnTo>
                      <a:lnTo>
                        <a:pt x="5" y="21"/>
                      </a:lnTo>
                      <a:lnTo>
                        <a:pt x="0" y="21"/>
                      </a:lnTo>
                      <a:lnTo>
                        <a:pt x="0" y="25"/>
                      </a:lnTo>
                      <a:lnTo>
                        <a:pt x="1" y="27"/>
                      </a:lnTo>
                      <a:lnTo>
                        <a:pt x="2" y="31"/>
                      </a:lnTo>
                      <a:lnTo>
                        <a:pt x="5" y="33"/>
                      </a:lnTo>
                      <a:lnTo>
                        <a:pt x="11" y="38"/>
                      </a:lnTo>
                      <a:lnTo>
                        <a:pt x="15" y="39"/>
                      </a:lnTo>
                      <a:lnTo>
                        <a:pt x="19" y="39"/>
                      </a:lnTo>
                      <a:lnTo>
                        <a:pt x="20" y="39"/>
                      </a:lnTo>
                      <a:lnTo>
                        <a:pt x="20" y="37"/>
                      </a:lnTo>
                      <a:lnTo>
                        <a:pt x="20" y="34"/>
                      </a:lnTo>
                      <a:lnTo>
                        <a:pt x="20"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1" name="Freeform 310"/>
                <p:cNvSpPr>
                  <a:spLocks/>
                </p:cNvSpPr>
                <p:nvPr/>
              </p:nvSpPr>
              <p:spPr bwMode="auto">
                <a:xfrm>
                  <a:off x="7542428" y="4246917"/>
                  <a:ext cx="35517" cy="47356"/>
                </a:xfrm>
                <a:custGeom>
                  <a:avLst/>
                  <a:gdLst>
                    <a:gd name="T0" fmla="*/ 2147483647 w 26"/>
                    <a:gd name="T1" fmla="*/ 2147483647 h 32"/>
                    <a:gd name="T2" fmla="*/ 2147483647 w 26"/>
                    <a:gd name="T3" fmla="*/ 2147483647 h 32"/>
                    <a:gd name="T4" fmla="*/ 2147483647 w 26"/>
                    <a:gd name="T5" fmla="*/ 2147483647 h 32"/>
                    <a:gd name="T6" fmla="*/ 2147483647 w 26"/>
                    <a:gd name="T7" fmla="*/ 2147483647 h 32"/>
                    <a:gd name="T8" fmla="*/ 2147483647 w 26"/>
                    <a:gd name="T9" fmla="*/ 2147483647 h 32"/>
                    <a:gd name="T10" fmla="*/ 2147483647 w 26"/>
                    <a:gd name="T11" fmla="*/ 2147483647 h 32"/>
                    <a:gd name="T12" fmla="*/ 2147483647 w 26"/>
                    <a:gd name="T13" fmla="*/ 2147483647 h 32"/>
                    <a:gd name="T14" fmla="*/ 2147483647 w 26"/>
                    <a:gd name="T15" fmla="*/ 2147483647 h 32"/>
                    <a:gd name="T16" fmla="*/ 2147483647 w 26"/>
                    <a:gd name="T17" fmla="*/ 2147483647 h 32"/>
                    <a:gd name="T18" fmla="*/ 0 w 26"/>
                    <a:gd name="T19" fmla="*/ 2147483647 h 32"/>
                    <a:gd name="T20" fmla="*/ 2147483647 w 26"/>
                    <a:gd name="T21" fmla="*/ 2147483647 h 32"/>
                    <a:gd name="T22" fmla="*/ 2147483647 w 26"/>
                    <a:gd name="T23" fmla="*/ 2147483647 h 32"/>
                    <a:gd name="T24" fmla="*/ 2147483647 w 26"/>
                    <a:gd name="T25" fmla="*/ 2147483647 h 32"/>
                    <a:gd name="T26" fmla="*/ 2147483647 w 26"/>
                    <a:gd name="T27" fmla="*/ 0 h 32"/>
                    <a:gd name="T28" fmla="*/ 2147483647 w 26"/>
                    <a:gd name="T29" fmla="*/ 0 h 32"/>
                    <a:gd name="T30" fmla="*/ 2147483647 w 26"/>
                    <a:gd name="T31" fmla="*/ 0 h 32"/>
                    <a:gd name="T32" fmla="*/ 2147483647 w 26"/>
                    <a:gd name="T33" fmla="*/ 2147483647 h 32"/>
                    <a:gd name="T34" fmla="*/ 2147483647 w 26"/>
                    <a:gd name="T35" fmla="*/ 2147483647 h 32"/>
                    <a:gd name="T36" fmla="*/ 2147483647 w 26"/>
                    <a:gd name="T37" fmla="*/ 2147483647 h 32"/>
                    <a:gd name="T38" fmla="*/ 2147483647 w 26"/>
                    <a:gd name="T39" fmla="*/ 2147483647 h 32"/>
                    <a:gd name="T40" fmla="*/ 2147483647 w 26"/>
                    <a:gd name="T41" fmla="*/ 2147483647 h 32"/>
                    <a:gd name="T42" fmla="*/ 2147483647 w 26"/>
                    <a:gd name="T43" fmla="*/ 2147483647 h 32"/>
                    <a:gd name="T44" fmla="*/ 2147483647 w 26"/>
                    <a:gd name="T45" fmla="*/ 2147483647 h 32"/>
                    <a:gd name="T46" fmla="*/ 2147483647 w 26"/>
                    <a:gd name="T47" fmla="*/ 2147483647 h 32"/>
                    <a:gd name="T48" fmla="*/ 2147483647 w 26"/>
                    <a:gd name="T49" fmla="*/ 2147483647 h 32"/>
                    <a:gd name="T50" fmla="*/ 2147483647 w 26"/>
                    <a:gd name="T51" fmla="*/ 2147483647 h 32"/>
                    <a:gd name="T52" fmla="*/ 2147483647 w 26"/>
                    <a:gd name="T53" fmla="*/ 2147483647 h 32"/>
                    <a:gd name="T54" fmla="*/ 2147483647 w 26"/>
                    <a:gd name="T55" fmla="*/ 2147483647 h 32"/>
                    <a:gd name="T56" fmla="*/ 2147483647 w 26"/>
                    <a:gd name="T57" fmla="*/ 2147483647 h 32"/>
                    <a:gd name="T58" fmla="*/ 2147483647 w 26"/>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32"/>
                    <a:gd name="T92" fmla="*/ 26 w 26"/>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32">
                      <a:moveTo>
                        <a:pt x="23" y="31"/>
                      </a:moveTo>
                      <a:lnTo>
                        <a:pt x="23" y="31"/>
                      </a:lnTo>
                      <a:lnTo>
                        <a:pt x="19" y="31"/>
                      </a:lnTo>
                      <a:lnTo>
                        <a:pt x="17" y="30"/>
                      </a:lnTo>
                      <a:lnTo>
                        <a:pt x="12" y="27"/>
                      </a:lnTo>
                      <a:lnTo>
                        <a:pt x="5" y="18"/>
                      </a:lnTo>
                      <a:lnTo>
                        <a:pt x="2" y="10"/>
                      </a:lnTo>
                      <a:lnTo>
                        <a:pt x="0" y="5"/>
                      </a:lnTo>
                      <a:lnTo>
                        <a:pt x="2" y="3"/>
                      </a:lnTo>
                      <a:lnTo>
                        <a:pt x="3" y="2"/>
                      </a:lnTo>
                      <a:lnTo>
                        <a:pt x="4" y="0"/>
                      </a:lnTo>
                      <a:lnTo>
                        <a:pt x="5" y="0"/>
                      </a:lnTo>
                      <a:lnTo>
                        <a:pt x="9" y="0"/>
                      </a:lnTo>
                      <a:lnTo>
                        <a:pt x="13" y="2"/>
                      </a:lnTo>
                      <a:lnTo>
                        <a:pt x="17" y="2"/>
                      </a:lnTo>
                      <a:lnTo>
                        <a:pt x="19" y="12"/>
                      </a:lnTo>
                      <a:lnTo>
                        <a:pt x="21" y="18"/>
                      </a:lnTo>
                      <a:lnTo>
                        <a:pt x="23" y="23"/>
                      </a:lnTo>
                      <a:lnTo>
                        <a:pt x="26" y="28"/>
                      </a:lnTo>
                      <a:lnTo>
                        <a:pt x="26" y="30"/>
                      </a:lnTo>
                      <a:lnTo>
                        <a:pt x="26" y="31"/>
                      </a:lnTo>
                      <a:lnTo>
                        <a:pt x="24" y="32"/>
                      </a:lnTo>
                      <a:lnTo>
                        <a:pt x="23" y="3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2" name="Freeform 311"/>
                <p:cNvSpPr>
                  <a:spLocks/>
                </p:cNvSpPr>
                <p:nvPr/>
              </p:nvSpPr>
              <p:spPr bwMode="auto">
                <a:xfrm>
                  <a:off x="7487676" y="4288353"/>
                  <a:ext cx="31077" cy="57715"/>
                </a:xfrm>
                <a:custGeom>
                  <a:avLst/>
                  <a:gdLst>
                    <a:gd name="T0" fmla="*/ 2147483647 w 23"/>
                    <a:gd name="T1" fmla="*/ 2147483647 h 39"/>
                    <a:gd name="T2" fmla="*/ 2147483647 w 23"/>
                    <a:gd name="T3" fmla="*/ 2147483647 h 39"/>
                    <a:gd name="T4" fmla="*/ 2147483647 w 23"/>
                    <a:gd name="T5" fmla="*/ 2147483647 h 39"/>
                    <a:gd name="T6" fmla="*/ 2147483647 w 23"/>
                    <a:gd name="T7" fmla="*/ 2147483647 h 39"/>
                    <a:gd name="T8" fmla="*/ 2147483647 w 23"/>
                    <a:gd name="T9" fmla="*/ 2147483647 h 39"/>
                    <a:gd name="T10" fmla="*/ 2147483647 w 23"/>
                    <a:gd name="T11" fmla="*/ 2147483647 h 39"/>
                    <a:gd name="T12" fmla="*/ 2147483647 w 23"/>
                    <a:gd name="T13" fmla="*/ 2147483647 h 39"/>
                    <a:gd name="T14" fmla="*/ 2147483647 w 23"/>
                    <a:gd name="T15" fmla="*/ 2147483647 h 39"/>
                    <a:gd name="T16" fmla="*/ 2147483647 w 23"/>
                    <a:gd name="T17" fmla="*/ 2147483647 h 39"/>
                    <a:gd name="T18" fmla="*/ 2147483647 w 23"/>
                    <a:gd name="T19" fmla="*/ 0 h 39"/>
                    <a:gd name="T20" fmla="*/ 2147483647 w 23"/>
                    <a:gd name="T21" fmla="*/ 2147483647 h 39"/>
                    <a:gd name="T22" fmla="*/ 2147483647 w 23"/>
                    <a:gd name="T23" fmla="*/ 2147483647 h 39"/>
                    <a:gd name="T24" fmla="*/ 2147483647 w 23"/>
                    <a:gd name="T25" fmla="*/ 2147483647 h 39"/>
                    <a:gd name="T26" fmla="*/ 2147483647 w 23"/>
                    <a:gd name="T27" fmla="*/ 2147483647 h 39"/>
                    <a:gd name="T28" fmla="*/ 2147483647 w 23"/>
                    <a:gd name="T29" fmla="*/ 2147483647 h 39"/>
                    <a:gd name="T30" fmla="*/ 2147483647 w 23"/>
                    <a:gd name="T31" fmla="*/ 2147483647 h 39"/>
                    <a:gd name="T32" fmla="*/ 2147483647 w 23"/>
                    <a:gd name="T33" fmla="*/ 2147483647 h 39"/>
                    <a:gd name="T34" fmla="*/ 0 w 23"/>
                    <a:gd name="T35" fmla="*/ 2147483647 h 39"/>
                    <a:gd name="T36" fmla="*/ 0 w 23"/>
                    <a:gd name="T37" fmla="*/ 2147483647 h 39"/>
                    <a:gd name="T38" fmla="*/ 0 w 23"/>
                    <a:gd name="T39" fmla="*/ 2147483647 h 39"/>
                    <a:gd name="T40" fmla="*/ 2147483647 w 23"/>
                    <a:gd name="T41" fmla="*/ 2147483647 h 39"/>
                    <a:gd name="T42" fmla="*/ 2147483647 w 23"/>
                    <a:gd name="T43" fmla="*/ 2147483647 h 39"/>
                    <a:gd name="T44" fmla="*/ 2147483647 w 23"/>
                    <a:gd name="T45" fmla="*/ 2147483647 h 39"/>
                    <a:gd name="T46" fmla="*/ 2147483647 w 23"/>
                    <a:gd name="T47" fmla="*/ 2147483647 h 39"/>
                    <a:gd name="T48" fmla="*/ 2147483647 w 23"/>
                    <a:gd name="T49" fmla="*/ 2147483647 h 39"/>
                    <a:gd name="T50" fmla="*/ 2147483647 w 23"/>
                    <a:gd name="T51" fmla="*/ 2147483647 h 39"/>
                    <a:gd name="T52" fmla="*/ 2147483647 w 23"/>
                    <a:gd name="T53" fmla="*/ 2147483647 h 39"/>
                    <a:gd name="T54" fmla="*/ 2147483647 w 23"/>
                    <a:gd name="T55" fmla="*/ 2147483647 h 39"/>
                    <a:gd name="T56" fmla="*/ 2147483647 w 23"/>
                    <a:gd name="T57" fmla="*/ 2147483647 h 39"/>
                    <a:gd name="T58" fmla="*/ 2147483647 w 23"/>
                    <a:gd name="T59" fmla="*/ 2147483647 h 39"/>
                    <a:gd name="T60" fmla="*/ 2147483647 w 23"/>
                    <a:gd name="T61" fmla="*/ 2147483647 h 39"/>
                    <a:gd name="T62" fmla="*/ 2147483647 w 23"/>
                    <a:gd name="T63" fmla="*/ 2147483647 h 3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39"/>
                    <a:gd name="T98" fmla="*/ 23 w 23"/>
                    <a:gd name="T99" fmla="*/ 39 h 3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39">
                      <a:moveTo>
                        <a:pt x="20" y="32"/>
                      </a:moveTo>
                      <a:lnTo>
                        <a:pt x="20" y="32"/>
                      </a:lnTo>
                      <a:lnTo>
                        <a:pt x="17" y="28"/>
                      </a:lnTo>
                      <a:lnTo>
                        <a:pt x="17" y="25"/>
                      </a:lnTo>
                      <a:lnTo>
                        <a:pt x="17" y="17"/>
                      </a:lnTo>
                      <a:lnTo>
                        <a:pt x="23" y="4"/>
                      </a:lnTo>
                      <a:lnTo>
                        <a:pt x="23" y="2"/>
                      </a:lnTo>
                      <a:lnTo>
                        <a:pt x="21" y="1"/>
                      </a:lnTo>
                      <a:lnTo>
                        <a:pt x="20" y="0"/>
                      </a:lnTo>
                      <a:lnTo>
                        <a:pt x="19" y="1"/>
                      </a:lnTo>
                      <a:lnTo>
                        <a:pt x="15" y="7"/>
                      </a:lnTo>
                      <a:lnTo>
                        <a:pt x="12" y="14"/>
                      </a:lnTo>
                      <a:lnTo>
                        <a:pt x="10" y="17"/>
                      </a:lnTo>
                      <a:lnTo>
                        <a:pt x="7" y="20"/>
                      </a:lnTo>
                      <a:lnTo>
                        <a:pt x="5" y="21"/>
                      </a:lnTo>
                      <a:lnTo>
                        <a:pt x="0" y="21"/>
                      </a:lnTo>
                      <a:lnTo>
                        <a:pt x="0" y="25"/>
                      </a:lnTo>
                      <a:lnTo>
                        <a:pt x="1" y="27"/>
                      </a:lnTo>
                      <a:lnTo>
                        <a:pt x="2" y="31"/>
                      </a:lnTo>
                      <a:lnTo>
                        <a:pt x="5" y="33"/>
                      </a:lnTo>
                      <a:lnTo>
                        <a:pt x="11" y="38"/>
                      </a:lnTo>
                      <a:lnTo>
                        <a:pt x="15" y="39"/>
                      </a:lnTo>
                      <a:lnTo>
                        <a:pt x="19" y="39"/>
                      </a:lnTo>
                      <a:lnTo>
                        <a:pt x="20" y="39"/>
                      </a:lnTo>
                      <a:lnTo>
                        <a:pt x="20" y="36"/>
                      </a:lnTo>
                      <a:lnTo>
                        <a:pt x="20" y="34"/>
                      </a:lnTo>
                      <a:lnTo>
                        <a:pt x="20"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3" name="Freeform 312"/>
                <p:cNvSpPr>
                  <a:spLocks/>
                </p:cNvSpPr>
                <p:nvPr/>
              </p:nvSpPr>
              <p:spPr bwMode="auto">
                <a:xfrm>
                  <a:off x="7518749" y="4294269"/>
                  <a:ext cx="11839" cy="26638"/>
                </a:xfrm>
                <a:custGeom>
                  <a:avLst/>
                  <a:gdLst>
                    <a:gd name="T0" fmla="*/ 2147483647 w 8"/>
                    <a:gd name="T1" fmla="*/ 2147483647 h 18"/>
                    <a:gd name="T2" fmla="*/ 2147483647 w 8"/>
                    <a:gd name="T3" fmla="*/ 2147483647 h 18"/>
                    <a:gd name="T4" fmla="*/ 2147483647 w 8"/>
                    <a:gd name="T5" fmla="*/ 2147483647 h 18"/>
                    <a:gd name="T6" fmla="*/ 2147483647 w 8"/>
                    <a:gd name="T7" fmla="*/ 0 h 18"/>
                    <a:gd name="T8" fmla="*/ 2147483647 w 8"/>
                    <a:gd name="T9" fmla="*/ 2147483647 h 18"/>
                    <a:gd name="T10" fmla="*/ 2147483647 w 8"/>
                    <a:gd name="T11" fmla="*/ 2147483647 h 18"/>
                    <a:gd name="T12" fmla="*/ 2147483647 w 8"/>
                    <a:gd name="T13" fmla="*/ 2147483647 h 18"/>
                    <a:gd name="T14" fmla="*/ 2147483647 w 8"/>
                    <a:gd name="T15" fmla="*/ 2147483647 h 18"/>
                    <a:gd name="T16" fmla="*/ 0 w 8"/>
                    <a:gd name="T17" fmla="*/ 2147483647 h 18"/>
                    <a:gd name="T18" fmla="*/ 2147483647 w 8"/>
                    <a:gd name="T19" fmla="*/ 2147483647 h 18"/>
                    <a:gd name="T20" fmla="*/ 2147483647 w 8"/>
                    <a:gd name="T21" fmla="*/ 2147483647 h 18"/>
                    <a:gd name="T22" fmla="*/ 2147483647 w 8"/>
                    <a:gd name="T23" fmla="*/ 2147483647 h 18"/>
                    <a:gd name="T24" fmla="*/ 2147483647 w 8"/>
                    <a:gd name="T25" fmla="*/ 2147483647 h 18"/>
                    <a:gd name="T26" fmla="*/ 2147483647 w 8"/>
                    <a:gd name="T27" fmla="*/ 2147483647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8"/>
                    <a:gd name="T44" fmla="*/ 8 w 8"/>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8">
                      <a:moveTo>
                        <a:pt x="6" y="11"/>
                      </a:moveTo>
                      <a:lnTo>
                        <a:pt x="8" y="3"/>
                      </a:lnTo>
                      <a:lnTo>
                        <a:pt x="8" y="2"/>
                      </a:lnTo>
                      <a:lnTo>
                        <a:pt x="7" y="0"/>
                      </a:lnTo>
                      <a:lnTo>
                        <a:pt x="6" y="2"/>
                      </a:lnTo>
                      <a:lnTo>
                        <a:pt x="5" y="2"/>
                      </a:lnTo>
                      <a:lnTo>
                        <a:pt x="3" y="6"/>
                      </a:lnTo>
                      <a:lnTo>
                        <a:pt x="1" y="11"/>
                      </a:lnTo>
                      <a:lnTo>
                        <a:pt x="0" y="16"/>
                      </a:lnTo>
                      <a:lnTo>
                        <a:pt x="1" y="18"/>
                      </a:lnTo>
                      <a:lnTo>
                        <a:pt x="3" y="18"/>
                      </a:lnTo>
                      <a:lnTo>
                        <a:pt x="5" y="17"/>
                      </a:lnTo>
                      <a:lnTo>
                        <a:pt x="5" y="15"/>
                      </a:lnTo>
                      <a:lnTo>
                        <a:pt x="6"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4" name="Freeform 313"/>
                <p:cNvSpPr>
                  <a:spLocks/>
                </p:cNvSpPr>
                <p:nvPr/>
              </p:nvSpPr>
              <p:spPr bwMode="auto">
                <a:xfrm>
                  <a:off x="7440317" y="4223236"/>
                  <a:ext cx="34037" cy="41436"/>
                </a:xfrm>
                <a:custGeom>
                  <a:avLst/>
                  <a:gdLst>
                    <a:gd name="T0" fmla="*/ 2147483647 w 25"/>
                    <a:gd name="T1" fmla="*/ 2147483647 h 28"/>
                    <a:gd name="T2" fmla="*/ 2147483647 w 25"/>
                    <a:gd name="T3" fmla="*/ 2147483647 h 28"/>
                    <a:gd name="T4" fmla="*/ 2147483647 w 25"/>
                    <a:gd name="T5" fmla="*/ 2147483647 h 28"/>
                    <a:gd name="T6" fmla="*/ 2147483647 w 25"/>
                    <a:gd name="T7" fmla="*/ 2147483647 h 28"/>
                    <a:gd name="T8" fmla="*/ 0 w 25"/>
                    <a:gd name="T9" fmla="*/ 2147483647 h 28"/>
                    <a:gd name="T10" fmla="*/ 0 w 25"/>
                    <a:gd name="T11" fmla="*/ 2147483647 h 28"/>
                    <a:gd name="T12" fmla="*/ 2147483647 w 25"/>
                    <a:gd name="T13" fmla="*/ 0 h 28"/>
                    <a:gd name="T14" fmla="*/ 2147483647 w 25"/>
                    <a:gd name="T15" fmla="*/ 0 h 28"/>
                    <a:gd name="T16" fmla="*/ 2147483647 w 25"/>
                    <a:gd name="T17" fmla="*/ 2147483647 h 28"/>
                    <a:gd name="T18" fmla="*/ 2147483647 w 25"/>
                    <a:gd name="T19" fmla="*/ 2147483647 h 28"/>
                    <a:gd name="T20" fmla="*/ 2147483647 w 25"/>
                    <a:gd name="T21" fmla="*/ 2147483647 h 28"/>
                    <a:gd name="T22" fmla="*/ 2147483647 w 25"/>
                    <a:gd name="T23" fmla="*/ 2147483647 h 28"/>
                    <a:gd name="T24" fmla="*/ 2147483647 w 25"/>
                    <a:gd name="T25" fmla="*/ 2147483647 h 28"/>
                    <a:gd name="T26" fmla="*/ 2147483647 w 25"/>
                    <a:gd name="T27" fmla="*/ 2147483647 h 28"/>
                    <a:gd name="T28" fmla="*/ 2147483647 w 25"/>
                    <a:gd name="T29" fmla="*/ 2147483647 h 28"/>
                    <a:gd name="T30" fmla="*/ 2147483647 w 25"/>
                    <a:gd name="T31" fmla="*/ 2147483647 h 28"/>
                    <a:gd name="T32" fmla="*/ 2147483647 w 25"/>
                    <a:gd name="T33" fmla="*/ 2147483647 h 28"/>
                    <a:gd name="T34" fmla="*/ 2147483647 w 25"/>
                    <a:gd name="T35" fmla="*/ 2147483647 h 28"/>
                    <a:gd name="T36" fmla="*/ 2147483647 w 25"/>
                    <a:gd name="T37" fmla="*/ 2147483647 h 28"/>
                    <a:gd name="T38" fmla="*/ 2147483647 w 25"/>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8"/>
                    <a:gd name="T62" fmla="*/ 25 w 25"/>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8">
                      <a:moveTo>
                        <a:pt x="9" y="15"/>
                      </a:moveTo>
                      <a:lnTo>
                        <a:pt x="8" y="13"/>
                      </a:lnTo>
                      <a:lnTo>
                        <a:pt x="5" y="10"/>
                      </a:lnTo>
                      <a:lnTo>
                        <a:pt x="2" y="6"/>
                      </a:lnTo>
                      <a:lnTo>
                        <a:pt x="0" y="3"/>
                      </a:lnTo>
                      <a:lnTo>
                        <a:pt x="0" y="1"/>
                      </a:lnTo>
                      <a:lnTo>
                        <a:pt x="2" y="0"/>
                      </a:lnTo>
                      <a:lnTo>
                        <a:pt x="9" y="0"/>
                      </a:lnTo>
                      <a:lnTo>
                        <a:pt x="16" y="2"/>
                      </a:lnTo>
                      <a:lnTo>
                        <a:pt x="21" y="7"/>
                      </a:lnTo>
                      <a:lnTo>
                        <a:pt x="25" y="13"/>
                      </a:lnTo>
                      <a:lnTo>
                        <a:pt x="25" y="18"/>
                      </a:lnTo>
                      <a:lnTo>
                        <a:pt x="23" y="21"/>
                      </a:lnTo>
                      <a:lnTo>
                        <a:pt x="22" y="26"/>
                      </a:lnTo>
                      <a:lnTo>
                        <a:pt x="18" y="28"/>
                      </a:lnTo>
                      <a:lnTo>
                        <a:pt x="16" y="28"/>
                      </a:lnTo>
                      <a:lnTo>
                        <a:pt x="13" y="28"/>
                      </a:lnTo>
                      <a:lnTo>
                        <a:pt x="12" y="27"/>
                      </a:lnTo>
                      <a:lnTo>
                        <a:pt x="11" y="25"/>
                      </a:lnTo>
                      <a:lnTo>
                        <a:pt x="9"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5" name="Freeform 314"/>
                <p:cNvSpPr>
                  <a:spLocks/>
                </p:cNvSpPr>
                <p:nvPr/>
              </p:nvSpPr>
              <p:spPr bwMode="auto">
                <a:xfrm>
                  <a:off x="7517271" y="4292793"/>
                  <a:ext cx="11839" cy="26638"/>
                </a:xfrm>
                <a:custGeom>
                  <a:avLst/>
                  <a:gdLst>
                    <a:gd name="T0" fmla="*/ 2147483647 w 9"/>
                    <a:gd name="T1" fmla="*/ 2147483647 h 18"/>
                    <a:gd name="T2" fmla="*/ 2147483647 w 9"/>
                    <a:gd name="T3" fmla="*/ 2147483647 h 18"/>
                    <a:gd name="T4" fmla="*/ 2147483647 w 9"/>
                    <a:gd name="T5" fmla="*/ 2147483647 h 18"/>
                    <a:gd name="T6" fmla="*/ 2147483647 w 9"/>
                    <a:gd name="T7" fmla="*/ 2147483647 h 18"/>
                    <a:gd name="T8" fmla="*/ 2147483647 w 9"/>
                    <a:gd name="T9" fmla="*/ 2147483647 h 18"/>
                    <a:gd name="T10" fmla="*/ 2147483647 w 9"/>
                    <a:gd name="T11" fmla="*/ 0 h 18"/>
                    <a:gd name="T12" fmla="*/ 2147483647 w 9"/>
                    <a:gd name="T13" fmla="*/ 2147483647 h 18"/>
                    <a:gd name="T14" fmla="*/ 2147483647 w 9"/>
                    <a:gd name="T15" fmla="*/ 2147483647 h 18"/>
                    <a:gd name="T16" fmla="*/ 2147483647 w 9"/>
                    <a:gd name="T17" fmla="*/ 2147483647 h 18"/>
                    <a:gd name="T18" fmla="*/ 2147483647 w 9"/>
                    <a:gd name="T19" fmla="*/ 2147483647 h 18"/>
                    <a:gd name="T20" fmla="*/ 2147483647 w 9"/>
                    <a:gd name="T21" fmla="*/ 2147483647 h 18"/>
                    <a:gd name="T22" fmla="*/ 2147483647 w 9"/>
                    <a:gd name="T23" fmla="*/ 2147483647 h 18"/>
                    <a:gd name="T24" fmla="*/ 0 w 9"/>
                    <a:gd name="T25" fmla="*/ 2147483647 h 18"/>
                    <a:gd name="T26" fmla="*/ 2147483647 w 9"/>
                    <a:gd name="T27" fmla="*/ 2147483647 h 18"/>
                    <a:gd name="T28" fmla="*/ 2147483647 w 9"/>
                    <a:gd name="T29" fmla="*/ 2147483647 h 18"/>
                    <a:gd name="T30" fmla="*/ 2147483647 w 9"/>
                    <a:gd name="T31" fmla="*/ 2147483647 h 18"/>
                    <a:gd name="T32" fmla="*/ 2147483647 w 9"/>
                    <a:gd name="T33" fmla="*/ 2147483647 h 18"/>
                    <a:gd name="T34" fmla="*/ 2147483647 w 9"/>
                    <a:gd name="T35" fmla="*/ 2147483647 h 18"/>
                    <a:gd name="T36" fmla="*/ 2147483647 w 9"/>
                    <a:gd name="T37" fmla="*/ 2147483647 h 18"/>
                    <a:gd name="T38" fmla="*/ 2147483647 w 9"/>
                    <a:gd name="T39" fmla="*/ 2147483647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8"/>
                    <a:gd name="T62" fmla="*/ 9 w 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8">
                      <a:moveTo>
                        <a:pt x="7" y="11"/>
                      </a:moveTo>
                      <a:lnTo>
                        <a:pt x="7" y="11"/>
                      </a:lnTo>
                      <a:lnTo>
                        <a:pt x="9" y="3"/>
                      </a:lnTo>
                      <a:lnTo>
                        <a:pt x="9" y="1"/>
                      </a:lnTo>
                      <a:lnTo>
                        <a:pt x="8" y="0"/>
                      </a:lnTo>
                      <a:lnTo>
                        <a:pt x="7" y="1"/>
                      </a:lnTo>
                      <a:lnTo>
                        <a:pt x="5" y="1"/>
                      </a:lnTo>
                      <a:lnTo>
                        <a:pt x="4" y="6"/>
                      </a:lnTo>
                      <a:lnTo>
                        <a:pt x="2" y="11"/>
                      </a:lnTo>
                      <a:lnTo>
                        <a:pt x="0" y="16"/>
                      </a:lnTo>
                      <a:lnTo>
                        <a:pt x="2" y="18"/>
                      </a:lnTo>
                      <a:lnTo>
                        <a:pt x="4" y="18"/>
                      </a:lnTo>
                      <a:lnTo>
                        <a:pt x="5" y="17"/>
                      </a:lnTo>
                      <a:lnTo>
                        <a:pt x="5" y="14"/>
                      </a:lnTo>
                      <a:lnTo>
                        <a:pt x="7"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6" name="Freeform 315"/>
                <p:cNvSpPr>
                  <a:spLocks/>
                </p:cNvSpPr>
                <p:nvPr/>
              </p:nvSpPr>
              <p:spPr bwMode="auto">
                <a:xfrm>
                  <a:off x="7438838" y="4221756"/>
                  <a:ext cx="32557" cy="41436"/>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2147483647 h 28"/>
                    <a:gd name="T12" fmla="*/ 0 w 24"/>
                    <a:gd name="T13" fmla="*/ 2147483647 h 28"/>
                    <a:gd name="T14" fmla="*/ 0 w 24"/>
                    <a:gd name="T15" fmla="*/ 2147483647 h 28"/>
                    <a:gd name="T16" fmla="*/ 2147483647 w 24"/>
                    <a:gd name="T17" fmla="*/ 0 h 28"/>
                    <a:gd name="T18" fmla="*/ 2147483647 w 24"/>
                    <a:gd name="T19" fmla="*/ 0 h 28"/>
                    <a:gd name="T20" fmla="*/ 2147483647 w 24"/>
                    <a:gd name="T21" fmla="*/ 0 h 28"/>
                    <a:gd name="T22" fmla="*/ 2147483647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2147483647 w 24"/>
                    <a:gd name="T43" fmla="*/ 2147483647 h 28"/>
                    <a:gd name="T44" fmla="*/ 2147483647 w 24"/>
                    <a:gd name="T45" fmla="*/ 2147483647 h 28"/>
                    <a:gd name="T46" fmla="*/ 2147483647 w 24"/>
                    <a:gd name="T47" fmla="*/ 2147483647 h 28"/>
                    <a:gd name="T48" fmla="*/ 2147483647 w 24"/>
                    <a:gd name="T49" fmla="*/ 2147483647 h 28"/>
                    <a:gd name="T50" fmla="*/ 2147483647 w 24"/>
                    <a:gd name="T51" fmla="*/ 2147483647 h 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28"/>
                    <a:gd name="T80" fmla="*/ 24 w 24"/>
                    <a:gd name="T81" fmla="*/ 28 h 2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28">
                      <a:moveTo>
                        <a:pt x="9" y="15"/>
                      </a:moveTo>
                      <a:lnTo>
                        <a:pt x="9" y="15"/>
                      </a:lnTo>
                      <a:lnTo>
                        <a:pt x="8" y="13"/>
                      </a:lnTo>
                      <a:lnTo>
                        <a:pt x="5" y="10"/>
                      </a:lnTo>
                      <a:lnTo>
                        <a:pt x="1" y="6"/>
                      </a:lnTo>
                      <a:lnTo>
                        <a:pt x="0" y="3"/>
                      </a:lnTo>
                      <a:lnTo>
                        <a:pt x="0" y="1"/>
                      </a:lnTo>
                      <a:lnTo>
                        <a:pt x="1" y="0"/>
                      </a:lnTo>
                      <a:lnTo>
                        <a:pt x="9" y="0"/>
                      </a:lnTo>
                      <a:lnTo>
                        <a:pt x="15" y="2"/>
                      </a:lnTo>
                      <a:lnTo>
                        <a:pt x="20" y="7"/>
                      </a:lnTo>
                      <a:lnTo>
                        <a:pt x="24" y="13"/>
                      </a:lnTo>
                      <a:lnTo>
                        <a:pt x="24" y="17"/>
                      </a:lnTo>
                      <a:lnTo>
                        <a:pt x="23" y="21"/>
                      </a:lnTo>
                      <a:lnTo>
                        <a:pt x="22" y="26"/>
                      </a:lnTo>
                      <a:lnTo>
                        <a:pt x="18" y="28"/>
                      </a:lnTo>
                      <a:lnTo>
                        <a:pt x="15" y="28"/>
                      </a:lnTo>
                      <a:lnTo>
                        <a:pt x="13" y="28"/>
                      </a:lnTo>
                      <a:lnTo>
                        <a:pt x="12" y="27"/>
                      </a:lnTo>
                      <a:lnTo>
                        <a:pt x="10" y="25"/>
                      </a:lnTo>
                      <a:lnTo>
                        <a:pt x="9"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7" name="Freeform 316"/>
                <p:cNvSpPr>
                  <a:spLocks/>
                </p:cNvSpPr>
                <p:nvPr/>
              </p:nvSpPr>
              <p:spPr bwMode="auto">
                <a:xfrm>
                  <a:off x="7475837" y="4266153"/>
                  <a:ext cx="38477" cy="39956"/>
                </a:xfrm>
                <a:custGeom>
                  <a:avLst/>
                  <a:gdLst>
                    <a:gd name="T0" fmla="*/ 2147483647 w 28"/>
                    <a:gd name="T1" fmla="*/ 2147483647 h 27"/>
                    <a:gd name="T2" fmla="*/ 0 w 28"/>
                    <a:gd name="T3" fmla="*/ 2147483647 h 27"/>
                    <a:gd name="T4" fmla="*/ 0 w 28"/>
                    <a:gd name="T5" fmla="*/ 2147483647 h 27"/>
                    <a:gd name="T6" fmla="*/ 2147483647 w 28"/>
                    <a:gd name="T7" fmla="*/ 2147483647 h 27"/>
                    <a:gd name="T8" fmla="*/ 2147483647 w 28"/>
                    <a:gd name="T9" fmla="*/ 0 h 27"/>
                    <a:gd name="T10" fmla="*/ 2147483647 w 28"/>
                    <a:gd name="T11" fmla="*/ 0 h 27"/>
                    <a:gd name="T12" fmla="*/ 2147483647 w 28"/>
                    <a:gd name="T13" fmla="*/ 2147483647 h 27"/>
                    <a:gd name="T14" fmla="*/ 2147483647 w 28"/>
                    <a:gd name="T15" fmla="*/ 2147483647 h 27"/>
                    <a:gd name="T16" fmla="*/ 2147483647 w 28"/>
                    <a:gd name="T17" fmla="*/ 2147483647 h 27"/>
                    <a:gd name="T18" fmla="*/ 2147483647 w 28"/>
                    <a:gd name="T19" fmla="*/ 2147483647 h 27"/>
                    <a:gd name="T20" fmla="*/ 2147483647 w 28"/>
                    <a:gd name="T21" fmla="*/ 2147483647 h 27"/>
                    <a:gd name="T22" fmla="*/ 2147483647 w 28"/>
                    <a:gd name="T23" fmla="*/ 2147483647 h 27"/>
                    <a:gd name="T24" fmla="*/ 2147483647 w 28"/>
                    <a:gd name="T25" fmla="*/ 2147483647 h 27"/>
                    <a:gd name="T26" fmla="*/ 2147483647 w 28"/>
                    <a:gd name="T27" fmla="*/ 2147483647 h 27"/>
                    <a:gd name="T28" fmla="*/ 2147483647 w 28"/>
                    <a:gd name="T29" fmla="*/ 2147483647 h 27"/>
                    <a:gd name="T30" fmla="*/ 2147483647 w 28"/>
                    <a:gd name="T31" fmla="*/ 2147483647 h 27"/>
                    <a:gd name="T32" fmla="*/ 2147483647 w 28"/>
                    <a:gd name="T33" fmla="*/ 2147483647 h 27"/>
                    <a:gd name="T34" fmla="*/ 2147483647 w 28"/>
                    <a:gd name="T35" fmla="*/ 2147483647 h 27"/>
                    <a:gd name="T36" fmla="*/ 2147483647 w 28"/>
                    <a:gd name="T37" fmla="*/ 2147483647 h 27"/>
                    <a:gd name="T38" fmla="*/ 2147483647 w 28"/>
                    <a:gd name="T39" fmla="*/ 2147483647 h 27"/>
                    <a:gd name="T40" fmla="*/ 2147483647 w 28"/>
                    <a:gd name="T41" fmla="*/ 2147483647 h 27"/>
                    <a:gd name="T42" fmla="*/ 2147483647 w 28"/>
                    <a:gd name="T43" fmla="*/ 2147483647 h 27"/>
                    <a:gd name="T44" fmla="*/ 2147483647 w 28"/>
                    <a:gd name="T45" fmla="*/ 214748364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27"/>
                    <a:gd name="T71" fmla="*/ 28 w 28"/>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27">
                      <a:moveTo>
                        <a:pt x="4" y="12"/>
                      </a:moveTo>
                      <a:lnTo>
                        <a:pt x="0" y="6"/>
                      </a:lnTo>
                      <a:lnTo>
                        <a:pt x="0" y="4"/>
                      </a:lnTo>
                      <a:lnTo>
                        <a:pt x="2" y="2"/>
                      </a:lnTo>
                      <a:lnTo>
                        <a:pt x="6" y="0"/>
                      </a:lnTo>
                      <a:lnTo>
                        <a:pt x="10" y="0"/>
                      </a:lnTo>
                      <a:lnTo>
                        <a:pt x="19" y="2"/>
                      </a:lnTo>
                      <a:lnTo>
                        <a:pt x="23" y="3"/>
                      </a:lnTo>
                      <a:lnTo>
                        <a:pt x="25" y="4"/>
                      </a:lnTo>
                      <a:lnTo>
                        <a:pt x="28" y="6"/>
                      </a:lnTo>
                      <a:lnTo>
                        <a:pt x="26" y="9"/>
                      </a:lnTo>
                      <a:lnTo>
                        <a:pt x="25" y="11"/>
                      </a:lnTo>
                      <a:lnTo>
                        <a:pt x="23" y="12"/>
                      </a:lnTo>
                      <a:lnTo>
                        <a:pt x="16" y="15"/>
                      </a:lnTo>
                      <a:lnTo>
                        <a:pt x="12" y="19"/>
                      </a:lnTo>
                      <a:lnTo>
                        <a:pt x="9" y="24"/>
                      </a:lnTo>
                      <a:lnTo>
                        <a:pt x="6" y="25"/>
                      </a:lnTo>
                      <a:lnTo>
                        <a:pt x="5" y="27"/>
                      </a:lnTo>
                      <a:lnTo>
                        <a:pt x="4" y="24"/>
                      </a:lnTo>
                      <a:lnTo>
                        <a:pt x="2" y="22"/>
                      </a:lnTo>
                      <a:lnTo>
                        <a:pt x="2" y="18"/>
                      </a:lnTo>
                      <a:lnTo>
                        <a:pt x="4" y="16"/>
                      </a:lnTo>
                      <a:lnTo>
                        <a:pt x="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8" name="Freeform 317"/>
                <p:cNvSpPr>
                  <a:spLocks/>
                </p:cNvSpPr>
                <p:nvPr/>
              </p:nvSpPr>
              <p:spPr bwMode="auto">
                <a:xfrm>
                  <a:off x="7509871" y="4246913"/>
                  <a:ext cx="23678" cy="23678"/>
                </a:xfrm>
                <a:custGeom>
                  <a:avLst/>
                  <a:gdLst>
                    <a:gd name="T0" fmla="*/ 2147483647 w 17"/>
                    <a:gd name="T1" fmla="*/ 2147483647 h 16"/>
                    <a:gd name="T2" fmla="*/ 2147483647 w 17"/>
                    <a:gd name="T3" fmla="*/ 2147483647 h 16"/>
                    <a:gd name="T4" fmla="*/ 0 w 17"/>
                    <a:gd name="T5" fmla="*/ 2147483647 h 16"/>
                    <a:gd name="T6" fmla="*/ 0 w 17"/>
                    <a:gd name="T7" fmla="*/ 2147483647 h 16"/>
                    <a:gd name="T8" fmla="*/ 2147483647 w 17"/>
                    <a:gd name="T9" fmla="*/ 2147483647 h 16"/>
                    <a:gd name="T10" fmla="*/ 2147483647 w 17"/>
                    <a:gd name="T11" fmla="*/ 2147483647 h 16"/>
                    <a:gd name="T12" fmla="*/ 2147483647 w 17"/>
                    <a:gd name="T13" fmla="*/ 0 h 16"/>
                    <a:gd name="T14" fmla="*/ 2147483647 w 17"/>
                    <a:gd name="T15" fmla="*/ 0 h 16"/>
                    <a:gd name="T16" fmla="*/ 2147483647 w 17"/>
                    <a:gd name="T17" fmla="*/ 2147483647 h 16"/>
                    <a:gd name="T18" fmla="*/ 2147483647 w 17"/>
                    <a:gd name="T19" fmla="*/ 2147483647 h 16"/>
                    <a:gd name="T20" fmla="*/ 2147483647 w 17"/>
                    <a:gd name="T21" fmla="*/ 2147483647 h 16"/>
                    <a:gd name="T22" fmla="*/ 2147483647 w 17"/>
                    <a:gd name="T23" fmla="*/ 2147483647 h 16"/>
                    <a:gd name="T24" fmla="*/ 2147483647 w 17"/>
                    <a:gd name="T25" fmla="*/ 2147483647 h 16"/>
                    <a:gd name="T26" fmla="*/ 2147483647 w 17"/>
                    <a:gd name="T27" fmla="*/ 2147483647 h 16"/>
                    <a:gd name="T28" fmla="*/ 2147483647 w 17"/>
                    <a:gd name="T29" fmla="*/ 2147483647 h 16"/>
                    <a:gd name="T30" fmla="*/ 2147483647 w 17"/>
                    <a:gd name="T31" fmla="*/ 2147483647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6"/>
                    <a:gd name="T50" fmla="*/ 17 w 17"/>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6">
                      <a:moveTo>
                        <a:pt x="5" y="12"/>
                      </a:moveTo>
                      <a:lnTo>
                        <a:pt x="3" y="11"/>
                      </a:lnTo>
                      <a:lnTo>
                        <a:pt x="0" y="10"/>
                      </a:lnTo>
                      <a:lnTo>
                        <a:pt x="0" y="9"/>
                      </a:lnTo>
                      <a:lnTo>
                        <a:pt x="1" y="5"/>
                      </a:lnTo>
                      <a:lnTo>
                        <a:pt x="3" y="3"/>
                      </a:lnTo>
                      <a:lnTo>
                        <a:pt x="5" y="0"/>
                      </a:lnTo>
                      <a:lnTo>
                        <a:pt x="9" y="0"/>
                      </a:lnTo>
                      <a:lnTo>
                        <a:pt x="13" y="3"/>
                      </a:lnTo>
                      <a:lnTo>
                        <a:pt x="15" y="6"/>
                      </a:lnTo>
                      <a:lnTo>
                        <a:pt x="17" y="11"/>
                      </a:lnTo>
                      <a:lnTo>
                        <a:pt x="15" y="13"/>
                      </a:lnTo>
                      <a:lnTo>
                        <a:pt x="14" y="15"/>
                      </a:lnTo>
                      <a:lnTo>
                        <a:pt x="12" y="16"/>
                      </a:lnTo>
                      <a:lnTo>
                        <a:pt x="10" y="15"/>
                      </a:lnTo>
                      <a:lnTo>
                        <a:pt x="5"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599" name="Freeform 318"/>
                <p:cNvSpPr>
                  <a:spLocks/>
                </p:cNvSpPr>
                <p:nvPr/>
              </p:nvSpPr>
              <p:spPr bwMode="auto">
                <a:xfrm>
                  <a:off x="7474353" y="4264675"/>
                  <a:ext cx="36997" cy="38477"/>
                </a:xfrm>
                <a:custGeom>
                  <a:avLst/>
                  <a:gdLst>
                    <a:gd name="T0" fmla="*/ 2147483647 w 27"/>
                    <a:gd name="T1" fmla="*/ 2147483647 h 26"/>
                    <a:gd name="T2" fmla="*/ 2147483647 w 27"/>
                    <a:gd name="T3" fmla="*/ 2147483647 h 26"/>
                    <a:gd name="T4" fmla="*/ 0 w 27"/>
                    <a:gd name="T5" fmla="*/ 2147483647 h 26"/>
                    <a:gd name="T6" fmla="*/ 0 w 27"/>
                    <a:gd name="T7" fmla="*/ 2147483647 h 26"/>
                    <a:gd name="T8" fmla="*/ 2147483647 w 27"/>
                    <a:gd name="T9" fmla="*/ 2147483647 h 26"/>
                    <a:gd name="T10" fmla="*/ 2147483647 w 27"/>
                    <a:gd name="T11" fmla="*/ 2147483647 h 26"/>
                    <a:gd name="T12" fmla="*/ 2147483647 w 27"/>
                    <a:gd name="T13" fmla="*/ 0 h 26"/>
                    <a:gd name="T14" fmla="*/ 2147483647 w 27"/>
                    <a:gd name="T15" fmla="*/ 0 h 26"/>
                    <a:gd name="T16" fmla="*/ 2147483647 w 27"/>
                    <a:gd name="T17" fmla="*/ 2147483647 h 26"/>
                    <a:gd name="T18" fmla="*/ 2147483647 w 27"/>
                    <a:gd name="T19" fmla="*/ 2147483647 h 26"/>
                    <a:gd name="T20" fmla="*/ 2147483647 w 27"/>
                    <a:gd name="T21" fmla="*/ 2147483647 h 26"/>
                    <a:gd name="T22" fmla="*/ 2147483647 w 27"/>
                    <a:gd name="T23" fmla="*/ 2147483647 h 26"/>
                    <a:gd name="T24" fmla="*/ 2147483647 w 27"/>
                    <a:gd name="T25" fmla="*/ 2147483647 h 26"/>
                    <a:gd name="T26" fmla="*/ 2147483647 w 27"/>
                    <a:gd name="T27" fmla="*/ 2147483647 h 26"/>
                    <a:gd name="T28" fmla="*/ 2147483647 w 27"/>
                    <a:gd name="T29" fmla="*/ 2147483647 h 26"/>
                    <a:gd name="T30" fmla="*/ 2147483647 w 27"/>
                    <a:gd name="T31" fmla="*/ 2147483647 h 26"/>
                    <a:gd name="T32" fmla="*/ 2147483647 w 27"/>
                    <a:gd name="T33" fmla="*/ 2147483647 h 26"/>
                    <a:gd name="T34" fmla="*/ 2147483647 w 27"/>
                    <a:gd name="T35" fmla="*/ 2147483647 h 26"/>
                    <a:gd name="T36" fmla="*/ 2147483647 w 27"/>
                    <a:gd name="T37" fmla="*/ 2147483647 h 26"/>
                    <a:gd name="T38" fmla="*/ 2147483647 w 27"/>
                    <a:gd name="T39" fmla="*/ 2147483647 h 26"/>
                    <a:gd name="T40" fmla="*/ 2147483647 w 27"/>
                    <a:gd name="T41" fmla="*/ 2147483647 h 26"/>
                    <a:gd name="T42" fmla="*/ 2147483647 w 27"/>
                    <a:gd name="T43" fmla="*/ 2147483647 h 26"/>
                    <a:gd name="T44" fmla="*/ 2147483647 w 27"/>
                    <a:gd name="T45" fmla="*/ 2147483647 h 26"/>
                    <a:gd name="T46" fmla="*/ 2147483647 w 27"/>
                    <a:gd name="T47" fmla="*/ 2147483647 h 26"/>
                    <a:gd name="T48" fmla="*/ 2147483647 w 27"/>
                    <a:gd name="T49" fmla="*/ 2147483647 h 26"/>
                    <a:gd name="T50" fmla="*/ 2147483647 w 27"/>
                    <a:gd name="T51" fmla="*/ 2147483647 h 26"/>
                    <a:gd name="T52" fmla="*/ 2147483647 w 27"/>
                    <a:gd name="T53" fmla="*/ 2147483647 h 26"/>
                    <a:gd name="T54" fmla="*/ 2147483647 w 27"/>
                    <a:gd name="T55" fmla="*/ 2147483647 h 26"/>
                    <a:gd name="T56" fmla="*/ 2147483647 w 27"/>
                    <a:gd name="T57" fmla="*/ 2147483647 h 26"/>
                    <a:gd name="T58" fmla="*/ 2147483647 w 27"/>
                    <a:gd name="T59" fmla="*/ 2147483647 h 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
                    <a:gd name="T91" fmla="*/ 0 h 26"/>
                    <a:gd name="T92" fmla="*/ 27 w 27"/>
                    <a:gd name="T93" fmla="*/ 26 h 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 h="26">
                      <a:moveTo>
                        <a:pt x="3" y="12"/>
                      </a:moveTo>
                      <a:lnTo>
                        <a:pt x="3" y="12"/>
                      </a:lnTo>
                      <a:lnTo>
                        <a:pt x="0" y="6"/>
                      </a:lnTo>
                      <a:lnTo>
                        <a:pt x="0" y="4"/>
                      </a:lnTo>
                      <a:lnTo>
                        <a:pt x="2" y="1"/>
                      </a:lnTo>
                      <a:lnTo>
                        <a:pt x="6" y="0"/>
                      </a:lnTo>
                      <a:lnTo>
                        <a:pt x="10" y="0"/>
                      </a:lnTo>
                      <a:lnTo>
                        <a:pt x="19" y="1"/>
                      </a:lnTo>
                      <a:lnTo>
                        <a:pt x="22" y="3"/>
                      </a:lnTo>
                      <a:lnTo>
                        <a:pt x="25" y="4"/>
                      </a:lnTo>
                      <a:lnTo>
                        <a:pt x="27" y="6"/>
                      </a:lnTo>
                      <a:lnTo>
                        <a:pt x="26" y="9"/>
                      </a:lnTo>
                      <a:lnTo>
                        <a:pt x="25" y="11"/>
                      </a:lnTo>
                      <a:lnTo>
                        <a:pt x="22" y="12"/>
                      </a:lnTo>
                      <a:lnTo>
                        <a:pt x="16" y="15"/>
                      </a:lnTo>
                      <a:lnTo>
                        <a:pt x="12" y="19"/>
                      </a:lnTo>
                      <a:lnTo>
                        <a:pt x="8" y="24"/>
                      </a:lnTo>
                      <a:lnTo>
                        <a:pt x="6" y="25"/>
                      </a:lnTo>
                      <a:lnTo>
                        <a:pt x="5" y="26"/>
                      </a:lnTo>
                      <a:lnTo>
                        <a:pt x="3" y="24"/>
                      </a:lnTo>
                      <a:lnTo>
                        <a:pt x="2" y="22"/>
                      </a:lnTo>
                      <a:lnTo>
                        <a:pt x="2" y="18"/>
                      </a:lnTo>
                      <a:lnTo>
                        <a:pt x="3" y="16"/>
                      </a:lnTo>
                      <a:lnTo>
                        <a:pt x="3"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0" name="Freeform 319"/>
                <p:cNvSpPr>
                  <a:spLocks/>
                </p:cNvSpPr>
                <p:nvPr/>
              </p:nvSpPr>
              <p:spPr bwMode="auto">
                <a:xfrm>
                  <a:off x="7508392" y="4245434"/>
                  <a:ext cx="22198" cy="23678"/>
                </a:xfrm>
                <a:custGeom>
                  <a:avLst/>
                  <a:gdLst>
                    <a:gd name="T0" fmla="*/ 2147483647 w 16"/>
                    <a:gd name="T1" fmla="*/ 2147483647 h 16"/>
                    <a:gd name="T2" fmla="*/ 2147483647 w 16"/>
                    <a:gd name="T3" fmla="*/ 2147483647 h 16"/>
                    <a:gd name="T4" fmla="*/ 2147483647 w 16"/>
                    <a:gd name="T5" fmla="*/ 2147483647 h 16"/>
                    <a:gd name="T6" fmla="*/ 0 w 16"/>
                    <a:gd name="T7" fmla="*/ 2147483647 h 16"/>
                    <a:gd name="T8" fmla="*/ 0 w 16"/>
                    <a:gd name="T9" fmla="*/ 2147483647 h 16"/>
                    <a:gd name="T10" fmla="*/ 0 w 16"/>
                    <a:gd name="T11" fmla="*/ 2147483647 h 16"/>
                    <a:gd name="T12" fmla="*/ 2147483647 w 16"/>
                    <a:gd name="T13" fmla="*/ 2147483647 h 16"/>
                    <a:gd name="T14" fmla="*/ 2147483647 w 16"/>
                    <a:gd name="T15" fmla="*/ 2147483647 h 16"/>
                    <a:gd name="T16" fmla="*/ 2147483647 w 16"/>
                    <a:gd name="T17" fmla="*/ 0 h 16"/>
                    <a:gd name="T18" fmla="*/ 2147483647 w 16"/>
                    <a:gd name="T19" fmla="*/ 0 h 16"/>
                    <a:gd name="T20" fmla="*/ 2147483647 w 16"/>
                    <a:gd name="T21" fmla="*/ 0 h 16"/>
                    <a:gd name="T22" fmla="*/ 2147483647 w 16"/>
                    <a:gd name="T23" fmla="*/ 2147483647 h 16"/>
                    <a:gd name="T24" fmla="*/ 2147483647 w 16"/>
                    <a:gd name="T25" fmla="*/ 2147483647 h 16"/>
                    <a:gd name="T26" fmla="*/ 2147483647 w 16"/>
                    <a:gd name="T27" fmla="*/ 2147483647 h 16"/>
                    <a:gd name="T28" fmla="*/ 2147483647 w 16"/>
                    <a:gd name="T29" fmla="*/ 2147483647 h 16"/>
                    <a:gd name="T30" fmla="*/ 2147483647 w 16"/>
                    <a:gd name="T31" fmla="*/ 2147483647 h 16"/>
                    <a:gd name="T32" fmla="*/ 2147483647 w 16"/>
                    <a:gd name="T33" fmla="*/ 2147483647 h 16"/>
                    <a:gd name="T34" fmla="*/ 2147483647 w 16"/>
                    <a:gd name="T35" fmla="*/ 2147483647 h 16"/>
                    <a:gd name="T36" fmla="*/ 2147483647 w 16"/>
                    <a:gd name="T37" fmla="*/ 2147483647 h 16"/>
                    <a:gd name="T38" fmla="*/ 2147483647 w 16"/>
                    <a:gd name="T39" fmla="*/ 2147483647 h 16"/>
                    <a:gd name="T40" fmla="*/ 2147483647 w 16"/>
                    <a:gd name="T41" fmla="*/ 2147483647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16"/>
                    <a:gd name="T65" fmla="*/ 16 w 16"/>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16">
                      <a:moveTo>
                        <a:pt x="5" y="12"/>
                      </a:moveTo>
                      <a:lnTo>
                        <a:pt x="5" y="12"/>
                      </a:lnTo>
                      <a:lnTo>
                        <a:pt x="2" y="11"/>
                      </a:lnTo>
                      <a:lnTo>
                        <a:pt x="0" y="10"/>
                      </a:lnTo>
                      <a:lnTo>
                        <a:pt x="0" y="9"/>
                      </a:lnTo>
                      <a:lnTo>
                        <a:pt x="1" y="5"/>
                      </a:lnTo>
                      <a:lnTo>
                        <a:pt x="2" y="3"/>
                      </a:lnTo>
                      <a:lnTo>
                        <a:pt x="5" y="0"/>
                      </a:lnTo>
                      <a:lnTo>
                        <a:pt x="9" y="0"/>
                      </a:lnTo>
                      <a:lnTo>
                        <a:pt x="13" y="3"/>
                      </a:lnTo>
                      <a:lnTo>
                        <a:pt x="15" y="6"/>
                      </a:lnTo>
                      <a:lnTo>
                        <a:pt x="16" y="11"/>
                      </a:lnTo>
                      <a:lnTo>
                        <a:pt x="15" y="13"/>
                      </a:lnTo>
                      <a:lnTo>
                        <a:pt x="14" y="14"/>
                      </a:lnTo>
                      <a:lnTo>
                        <a:pt x="11" y="16"/>
                      </a:lnTo>
                      <a:lnTo>
                        <a:pt x="10" y="14"/>
                      </a:lnTo>
                      <a:lnTo>
                        <a:pt x="5"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1" name="Freeform 320"/>
                <p:cNvSpPr>
                  <a:spLocks/>
                </p:cNvSpPr>
                <p:nvPr/>
              </p:nvSpPr>
              <p:spPr bwMode="auto">
                <a:xfrm>
                  <a:off x="7554266" y="4187719"/>
                  <a:ext cx="17758" cy="29598"/>
                </a:xfrm>
                <a:custGeom>
                  <a:avLst/>
                  <a:gdLst>
                    <a:gd name="T0" fmla="*/ 2147483647 w 13"/>
                    <a:gd name="T1" fmla="*/ 2147483647 h 20"/>
                    <a:gd name="T2" fmla="*/ 0 w 13"/>
                    <a:gd name="T3" fmla="*/ 2147483647 h 20"/>
                    <a:gd name="T4" fmla="*/ 0 w 13"/>
                    <a:gd name="T5" fmla="*/ 2147483647 h 20"/>
                    <a:gd name="T6" fmla="*/ 2147483647 w 13"/>
                    <a:gd name="T7" fmla="*/ 0 h 20"/>
                    <a:gd name="T8" fmla="*/ 2147483647 w 13"/>
                    <a:gd name="T9" fmla="*/ 0 h 20"/>
                    <a:gd name="T10" fmla="*/ 2147483647 w 13"/>
                    <a:gd name="T11" fmla="*/ 2147483647 h 20"/>
                    <a:gd name="T12" fmla="*/ 2147483647 w 13"/>
                    <a:gd name="T13" fmla="*/ 2147483647 h 20"/>
                    <a:gd name="T14" fmla="*/ 2147483647 w 13"/>
                    <a:gd name="T15" fmla="*/ 2147483647 h 20"/>
                    <a:gd name="T16" fmla="*/ 2147483647 w 13"/>
                    <a:gd name="T17" fmla="*/ 2147483647 h 20"/>
                    <a:gd name="T18" fmla="*/ 2147483647 w 13"/>
                    <a:gd name="T19" fmla="*/ 2147483647 h 20"/>
                    <a:gd name="T20" fmla="*/ 2147483647 w 13"/>
                    <a:gd name="T21" fmla="*/ 2147483647 h 20"/>
                    <a:gd name="T22" fmla="*/ 2147483647 w 13"/>
                    <a:gd name="T23" fmla="*/ 2147483647 h 20"/>
                    <a:gd name="T24" fmla="*/ 2147483647 w 13"/>
                    <a:gd name="T25" fmla="*/ 2147483647 h 20"/>
                    <a:gd name="T26" fmla="*/ 0 w 13"/>
                    <a:gd name="T27" fmla="*/ 2147483647 h 20"/>
                    <a:gd name="T28" fmla="*/ 0 w 13"/>
                    <a:gd name="T29" fmla="*/ 2147483647 h 20"/>
                    <a:gd name="T30" fmla="*/ 2147483647 w 13"/>
                    <a:gd name="T31" fmla="*/ 2147483647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20"/>
                    <a:gd name="T50" fmla="*/ 13 w 13"/>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20">
                      <a:moveTo>
                        <a:pt x="1" y="11"/>
                      </a:moveTo>
                      <a:lnTo>
                        <a:pt x="0" y="5"/>
                      </a:lnTo>
                      <a:lnTo>
                        <a:pt x="0" y="2"/>
                      </a:lnTo>
                      <a:lnTo>
                        <a:pt x="1" y="0"/>
                      </a:lnTo>
                      <a:lnTo>
                        <a:pt x="4" y="0"/>
                      </a:lnTo>
                      <a:lnTo>
                        <a:pt x="6" y="1"/>
                      </a:lnTo>
                      <a:lnTo>
                        <a:pt x="11" y="5"/>
                      </a:lnTo>
                      <a:lnTo>
                        <a:pt x="13" y="10"/>
                      </a:lnTo>
                      <a:lnTo>
                        <a:pt x="11" y="13"/>
                      </a:lnTo>
                      <a:lnTo>
                        <a:pt x="10" y="17"/>
                      </a:lnTo>
                      <a:lnTo>
                        <a:pt x="6" y="20"/>
                      </a:lnTo>
                      <a:lnTo>
                        <a:pt x="4" y="20"/>
                      </a:lnTo>
                      <a:lnTo>
                        <a:pt x="1" y="20"/>
                      </a:lnTo>
                      <a:lnTo>
                        <a:pt x="0" y="18"/>
                      </a:lnTo>
                      <a:lnTo>
                        <a:pt x="0" y="16"/>
                      </a:lnTo>
                      <a:lnTo>
                        <a:pt x="1"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2" name="Freeform 321"/>
                <p:cNvSpPr>
                  <a:spLocks/>
                </p:cNvSpPr>
                <p:nvPr/>
              </p:nvSpPr>
              <p:spPr bwMode="auto">
                <a:xfrm>
                  <a:off x="7426998" y="4067849"/>
                  <a:ext cx="115430" cy="177585"/>
                </a:xfrm>
                <a:custGeom>
                  <a:avLst/>
                  <a:gdLst>
                    <a:gd name="T0" fmla="*/ 2147483647 w 85"/>
                    <a:gd name="T1" fmla="*/ 2147483647 h 120"/>
                    <a:gd name="T2" fmla="*/ 2147483647 w 85"/>
                    <a:gd name="T3" fmla="*/ 2147483647 h 120"/>
                    <a:gd name="T4" fmla="*/ 2147483647 w 85"/>
                    <a:gd name="T5" fmla="*/ 2147483647 h 120"/>
                    <a:gd name="T6" fmla="*/ 2147483647 w 85"/>
                    <a:gd name="T7" fmla="*/ 2147483647 h 120"/>
                    <a:gd name="T8" fmla="*/ 2147483647 w 85"/>
                    <a:gd name="T9" fmla="*/ 2147483647 h 120"/>
                    <a:gd name="T10" fmla="*/ 2147483647 w 85"/>
                    <a:gd name="T11" fmla="*/ 2147483647 h 120"/>
                    <a:gd name="T12" fmla="*/ 2147483647 w 85"/>
                    <a:gd name="T13" fmla="*/ 2147483647 h 120"/>
                    <a:gd name="T14" fmla="*/ 2147483647 w 85"/>
                    <a:gd name="T15" fmla="*/ 2147483647 h 120"/>
                    <a:gd name="T16" fmla="*/ 2147483647 w 85"/>
                    <a:gd name="T17" fmla="*/ 2147483647 h 120"/>
                    <a:gd name="T18" fmla="*/ 2147483647 w 85"/>
                    <a:gd name="T19" fmla="*/ 2147483647 h 120"/>
                    <a:gd name="T20" fmla="*/ 2147483647 w 85"/>
                    <a:gd name="T21" fmla="*/ 2147483647 h 120"/>
                    <a:gd name="T22" fmla="*/ 2147483647 w 85"/>
                    <a:gd name="T23" fmla="*/ 2147483647 h 120"/>
                    <a:gd name="T24" fmla="*/ 2147483647 w 85"/>
                    <a:gd name="T25" fmla="*/ 2147483647 h 120"/>
                    <a:gd name="T26" fmla="*/ 2147483647 w 85"/>
                    <a:gd name="T27" fmla="*/ 2147483647 h 120"/>
                    <a:gd name="T28" fmla="*/ 2147483647 w 85"/>
                    <a:gd name="T29" fmla="*/ 2147483647 h 120"/>
                    <a:gd name="T30" fmla="*/ 2147483647 w 85"/>
                    <a:gd name="T31" fmla="*/ 2147483647 h 120"/>
                    <a:gd name="T32" fmla="*/ 2147483647 w 85"/>
                    <a:gd name="T33" fmla="*/ 2147483647 h 120"/>
                    <a:gd name="T34" fmla="*/ 2147483647 w 85"/>
                    <a:gd name="T35" fmla="*/ 2147483647 h 120"/>
                    <a:gd name="T36" fmla="*/ 2147483647 w 85"/>
                    <a:gd name="T37" fmla="*/ 2147483647 h 120"/>
                    <a:gd name="T38" fmla="*/ 2147483647 w 85"/>
                    <a:gd name="T39" fmla="*/ 2147483647 h 120"/>
                    <a:gd name="T40" fmla="*/ 2147483647 w 85"/>
                    <a:gd name="T41" fmla="*/ 2147483647 h 120"/>
                    <a:gd name="T42" fmla="*/ 2147483647 w 85"/>
                    <a:gd name="T43" fmla="*/ 2147483647 h 120"/>
                    <a:gd name="T44" fmla="*/ 2147483647 w 85"/>
                    <a:gd name="T45" fmla="*/ 2147483647 h 120"/>
                    <a:gd name="T46" fmla="*/ 2147483647 w 85"/>
                    <a:gd name="T47" fmla="*/ 2147483647 h 120"/>
                    <a:gd name="T48" fmla="*/ 2147483647 w 85"/>
                    <a:gd name="T49" fmla="*/ 2147483647 h 120"/>
                    <a:gd name="T50" fmla="*/ 2147483647 w 85"/>
                    <a:gd name="T51" fmla="*/ 2147483647 h 120"/>
                    <a:gd name="T52" fmla="*/ 2147483647 w 85"/>
                    <a:gd name="T53" fmla="*/ 2147483647 h 120"/>
                    <a:gd name="T54" fmla="*/ 2147483647 w 85"/>
                    <a:gd name="T55" fmla="*/ 2147483647 h 120"/>
                    <a:gd name="T56" fmla="*/ 2147483647 w 85"/>
                    <a:gd name="T57" fmla="*/ 2147483647 h 120"/>
                    <a:gd name="T58" fmla="*/ 2147483647 w 85"/>
                    <a:gd name="T59" fmla="*/ 2147483647 h 120"/>
                    <a:gd name="T60" fmla="*/ 2147483647 w 85"/>
                    <a:gd name="T61" fmla="*/ 2147483647 h 120"/>
                    <a:gd name="T62" fmla="*/ 2147483647 w 85"/>
                    <a:gd name="T63" fmla="*/ 2147483647 h 120"/>
                    <a:gd name="T64" fmla="*/ 2147483647 w 85"/>
                    <a:gd name="T65" fmla="*/ 2147483647 h 120"/>
                    <a:gd name="T66" fmla="*/ 2147483647 w 85"/>
                    <a:gd name="T67" fmla="*/ 2147483647 h 120"/>
                    <a:gd name="T68" fmla="*/ 2147483647 w 85"/>
                    <a:gd name="T69" fmla="*/ 2147483647 h 120"/>
                    <a:gd name="T70" fmla="*/ 2147483647 w 85"/>
                    <a:gd name="T71" fmla="*/ 2147483647 h 120"/>
                    <a:gd name="T72" fmla="*/ 2147483647 w 85"/>
                    <a:gd name="T73" fmla="*/ 2147483647 h 120"/>
                    <a:gd name="T74" fmla="*/ 2147483647 w 85"/>
                    <a:gd name="T75" fmla="*/ 2147483647 h 120"/>
                    <a:gd name="T76" fmla="*/ 2147483647 w 85"/>
                    <a:gd name="T77" fmla="*/ 2147483647 h 120"/>
                    <a:gd name="T78" fmla="*/ 2147483647 w 85"/>
                    <a:gd name="T79" fmla="*/ 2147483647 h 120"/>
                    <a:gd name="T80" fmla="*/ 2147483647 w 85"/>
                    <a:gd name="T81" fmla="*/ 2147483647 h 120"/>
                    <a:gd name="T82" fmla="*/ 2147483647 w 85"/>
                    <a:gd name="T83" fmla="*/ 2147483647 h 120"/>
                    <a:gd name="T84" fmla="*/ 2147483647 w 85"/>
                    <a:gd name="T85" fmla="*/ 2147483647 h 120"/>
                    <a:gd name="T86" fmla="*/ 2147483647 w 85"/>
                    <a:gd name="T87" fmla="*/ 2147483647 h 120"/>
                    <a:gd name="T88" fmla="*/ 2147483647 w 85"/>
                    <a:gd name="T89" fmla="*/ 2147483647 h 1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
                    <a:gd name="T136" fmla="*/ 0 h 120"/>
                    <a:gd name="T137" fmla="*/ 85 w 85"/>
                    <a:gd name="T138" fmla="*/ 120 h 1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 h="120">
                      <a:moveTo>
                        <a:pt x="68" y="91"/>
                      </a:moveTo>
                      <a:lnTo>
                        <a:pt x="66" y="88"/>
                      </a:lnTo>
                      <a:lnTo>
                        <a:pt x="64" y="87"/>
                      </a:lnTo>
                      <a:lnTo>
                        <a:pt x="59" y="85"/>
                      </a:lnTo>
                      <a:lnTo>
                        <a:pt x="54" y="85"/>
                      </a:lnTo>
                      <a:lnTo>
                        <a:pt x="52" y="85"/>
                      </a:lnTo>
                      <a:lnTo>
                        <a:pt x="51" y="87"/>
                      </a:lnTo>
                      <a:lnTo>
                        <a:pt x="51" y="89"/>
                      </a:lnTo>
                      <a:lnTo>
                        <a:pt x="50" y="91"/>
                      </a:lnTo>
                      <a:lnTo>
                        <a:pt x="47" y="91"/>
                      </a:lnTo>
                      <a:lnTo>
                        <a:pt x="45" y="89"/>
                      </a:lnTo>
                      <a:lnTo>
                        <a:pt x="38" y="86"/>
                      </a:lnTo>
                      <a:lnTo>
                        <a:pt x="38" y="85"/>
                      </a:lnTo>
                      <a:lnTo>
                        <a:pt x="38" y="83"/>
                      </a:lnTo>
                      <a:lnTo>
                        <a:pt x="38" y="81"/>
                      </a:lnTo>
                      <a:lnTo>
                        <a:pt x="37" y="79"/>
                      </a:lnTo>
                      <a:lnTo>
                        <a:pt x="36" y="76"/>
                      </a:lnTo>
                      <a:lnTo>
                        <a:pt x="35" y="75"/>
                      </a:lnTo>
                      <a:lnTo>
                        <a:pt x="35" y="74"/>
                      </a:lnTo>
                      <a:lnTo>
                        <a:pt x="37" y="69"/>
                      </a:lnTo>
                      <a:lnTo>
                        <a:pt x="37" y="63"/>
                      </a:lnTo>
                      <a:lnTo>
                        <a:pt x="38" y="53"/>
                      </a:lnTo>
                      <a:lnTo>
                        <a:pt x="40" y="51"/>
                      </a:lnTo>
                      <a:lnTo>
                        <a:pt x="41" y="50"/>
                      </a:lnTo>
                      <a:lnTo>
                        <a:pt x="43" y="50"/>
                      </a:lnTo>
                      <a:lnTo>
                        <a:pt x="46" y="49"/>
                      </a:lnTo>
                      <a:lnTo>
                        <a:pt x="47" y="44"/>
                      </a:lnTo>
                      <a:lnTo>
                        <a:pt x="48" y="40"/>
                      </a:lnTo>
                      <a:lnTo>
                        <a:pt x="48" y="35"/>
                      </a:lnTo>
                      <a:lnTo>
                        <a:pt x="51" y="30"/>
                      </a:lnTo>
                      <a:lnTo>
                        <a:pt x="52" y="28"/>
                      </a:lnTo>
                      <a:lnTo>
                        <a:pt x="51" y="25"/>
                      </a:lnTo>
                      <a:lnTo>
                        <a:pt x="48" y="22"/>
                      </a:lnTo>
                      <a:lnTo>
                        <a:pt x="46" y="18"/>
                      </a:lnTo>
                      <a:lnTo>
                        <a:pt x="46" y="15"/>
                      </a:lnTo>
                      <a:lnTo>
                        <a:pt x="48" y="10"/>
                      </a:lnTo>
                      <a:lnTo>
                        <a:pt x="50" y="5"/>
                      </a:lnTo>
                      <a:lnTo>
                        <a:pt x="50" y="3"/>
                      </a:lnTo>
                      <a:lnTo>
                        <a:pt x="48" y="2"/>
                      </a:lnTo>
                      <a:lnTo>
                        <a:pt x="46" y="0"/>
                      </a:lnTo>
                      <a:lnTo>
                        <a:pt x="45" y="0"/>
                      </a:lnTo>
                      <a:lnTo>
                        <a:pt x="42" y="2"/>
                      </a:lnTo>
                      <a:lnTo>
                        <a:pt x="41" y="4"/>
                      </a:lnTo>
                      <a:lnTo>
                        <a:pt x="37" y="5"/>
                      </a:lnTo>
                      <a:lnTo>
                        <a:pt x="36" y="6"/>
                      </a:lnTo>
                      <a:lnTo>
                        <a:pt x="35" y="8"/>
                      </a:lnTo>
                      <a:lnTo>
                        <a:pt x="29" y="4"/>
                      </a:lnTo>
                      <a:lnTo>
                        <a:pt x="23" y="4"/>
                      </a:lnTo>
                      <a:lnTo>
                        <a:pt x="21" y="4"/>
                      </a:lnTo>
                      <a:lnTo>
                        <a:pt x="18" y="5"/>
                      </a:lnTo>
                      <a:lnTo>
                        <a:pt x="17" y="8"/>
                      </a:lnTo>
                      <a:lnTo>
                        <a:pt x="14" y="10"/>
                      </a:lnTo>
                      <a:lnTo>
                        <a:pt x="13" y="18"/>
                      </a:lnTo>
                      <a:lnTo>
                        <a:pt x="12" y="28"/>
                      </a:lnTo>
                      <a:lnTo>
                        <a:pt x="10" y="29"/>
                      </a:lnTo>
                      <a:lnTo>
                        <a:pt x="10" y="34"/>
                      </a:lnTo>
                      <a:lnTo>
                        <a:pt x="12" y="40"/>
                      </a:lnTo>
                      <a:lnTo>
                        <a:pt x="13" y="46"/>
                      </a:lnTo>
                      <a:lnTo>
                        <a:pt x="13" y="51"/>
                      </a:lnTo>
                      <a:lnTo>
                        <a:pt x="10" y="49"/>
                      </a:lnTo>
                      <a:lnTo>
                        <a:pt x="9" y="48"/>
                      </a:lnTo>
                      <a:lnTo>
                        <a:pt x="7" y="46"/>
                      </a:lnTo>
                      <a:lnTo>
                        <a:pt x="5" y="43"/>
                      </a:lnTo>
                      <a:lnTo>
                        <a:pt x="4" y="43"/>
                      </a:lnTo>
                      <a:lnTo>
                        <a:pt x="3" y="43"/>
                      </a:lnTo>
                      <a:lnTo>
                        <a:pt x="1" y="46"/>
                      </a:lnTo>
                      <a:lnTo>
                        <a:pt x="1" y="48"/>
                      </a:lnTo>
                      <a:lnTo>
                        <a:pt x="1" y="50"/>
                      </a:lnTo>
                      <a:lnTo>
                        <a:pt x="1" y="51"/>
                      </a:lnTo>
                      <a:lnTo>
                        <a:pt x="0" y="53"/>
                      </a:lnTo>
                      <a:lnTo>
                        <a:pt x="7" y="69"/>
                      </a:lnTo>
                      <a:lnTo>
                        <a:pt x="14" y="85"/>
                      </a:lnTo>
                      <a:lnTo>
                        <a:pt x="14" y="86"/>
                      </a:lnTo>
                      <a:lnTo>
                        <a:pt x="15" y="85"/>
                      </a:lnTo>
                      <a:lnTo>
                        <a:pt x="15" y="83"/>
                      </a:lnTo>
                      <a:lnTo>
                        <a:pt x="17" y="80"/>
                      </a:lnTo>
                      <a:lnTo>
                        <a:pt x="17" y="78"/>
                      </a:lnTo>
                      <a:lnTo>
                        <a:pt x="19" y="75"/>
                      </a:lnTo>
                      <a:lnTo>
                        <a:pt x="21" y="75"/>
                      </a:lnTo>
                      <a:lnTo>
                        <a:pt x="23" y="75"/>
                      </a:lnTo>
                      <a:lnTo>
                        <a:pt x="26" y="75"/>
                      </a:lnTo>
                      <a:lnTo>
                        <a:pt x="27" y="78"/>
                      </a:lnTo>
                      <a:lnTo>
                        <a:pt x="27" y="80"/>
                      </a:lnTo>
                      <a:lnTo>
                        <a:pt x="26" y="83"/>
                      </a:lnTo>
                      <a:lnTo>
                        <a:pt x="24" y="87"/>
                      </a:lnTo>
                      <a:lnTo>
                        <a:pt x="22" y="91"/>
                      </a:lnTo>
                      <a:lnTo>
                        <a:pt x="21" y="95"/>
                      </a:lnTo>
                      <a:lnTo>
                        <a:pt x="21" y="97"/>
                      </a:lnTo>
                      <a:lnTo>
                        <a:pt x="22" y="99"/>
                      </a:lnTo>
                      <a:lnTo>
                        <a:pt x="23" y="99"/>
                      </a:lnTo>
                      <a:lnTo>
                        <a:pt x="24" y="99"/>
                      </a:lnTo>
                      <a:lnTo>
                        <a:pt x="27" y="98"/>
                      </a:lnTo>
                      <a:lnTo>
                        <a:pt x="28" y="98"/>
                      </a:lnTo>
                      <a:lnTo>
                        <a:pt x="29" y="99"/>
                      </a:lnTo>
                      <a:lnTo>
                        <a:pt x="31" y="100"/>
                      </a:lnTo>
                      <a:lnTo>
                        <a:pt x="32" y="99"/>
                      </a:lnTo>
                      <a:lnTo>
                        <a:pt x="36" y="98"/>
                      </a:lnTo>
                      <a:lnTo>
                        <a:pt x="38" y="98"/>
                      </a:lnTo>
                      <a:lnTo>
                        <a:pt x="42" y="98"/>
                      </a:lnTo>
                      <a:lnTo>
                        <a:pt x="46" y="99"/>
                      </a:lnTo>
                      <a:lnTo>
                        <a:pt x="52" y="102"/>
                      </a:lnTo>
                      <a:lnTo>
                        <a:pt x="54" y="105"/>
                      </a:lnTo>
                      <a:lnTo>
                        <a:pt x="55" y="108"/>
                      </a:lnTo>
                      <a:lnTo>
                        <a:pt x="57" y="106"/>
                      </a:lnTo>
                      <a:lnTo>
                        <a:pt x="59" y="104"/>
                      </a:lnTo>
                      <a:lnTo>
                        <a:pt x="57" y="98"/>
                      </a:lnTo>
                      <a:lnTo>
                        <a:pt x="61" y="100"/>
                      </a:lnTo>
                      <a:lnTo>
                        <a:pt x="62" y="104"/>
                      </a:lnTo>
                      <a:lnTo>
                        <a:pt x="68" y="112"/>
                      </a:lnTo>
                      <a:lnTo>
                        <a:pt x="69" y="113"/>
                      </a:lnTo>
                      <a:lnTo>
                        <a:pt x="70" y="113"/>
                      </a:lnTo>
                      <a:lnTo>
                        <a:pt x="71" y="114"/>
                      </a:lnTo>
                      <a:lnTo>
                        <a:pt x="74" y="114"/>
                      </a:lnTo>
                      <a:lnTo>
                        <a:pt x="74" y="117"/>
                      </a:lnTo>
                      <a:lnTo>
                        <a:pt x="75" y="119"/>
                      </a:lnTo>
                      <a:lnTo>
                        <a:pt x="78" y="120"/>
                      </a:lnTo>
                      <a:lnTo>
                        <a:pt x="79" y="120"/>
                      </a:lnTo>
                      <a:lnTo>
                        <a:pt x="81" y="118"/>
                      </a:lnTo>
                      <a:lnTo>
                        <a:pt x="83" y="117"/>
                      </a:lnTo>
                      <a:lnTo>
                        <a:pt x="83" y="114"/>
                      </a:lnTo>
                      <a:lnTo>
                        <a:pt x="81" y="113"/>
                      </a:lnTo>
                      <a:lnTo>
                        <a:pt x="79" y="111"/>
                      </a:lnTo>
                      <a:lnTo>
                        <a:pt x="76" y="107"/>
                      </a:lnTo>
                      <a:lnTo>
                        <a:pt x="75" y="104"/>
                      </a:lnTo>
                      <a:lnTo>
                        <a:pt x="75" y="100"/>
                      </a:lnTo>
                      <a:lnTo>
                        <a:pt x="78" y="98"/>
                      </a:lnTo>
                      <a:lnTo>
                        <a:pt x="80" y="97"/>
                      </a:lnTo>
                      <a:lnTo>
                        <a:pt x="85" y="95"/>
                      </a:lnTo>
                      <a:lnTo>
                        <a:pt x="85" y="94"/>
                      </a:lnTo>
                      <a:lnTo>
                        <a:pt x="84" y="92"/>
                      </a:lnTo>
                      <a:lnTo>
                        <a:pt x="80" y="91"/>
                      </a:lnTo>
                      <a:lnTo>
                        <a:pt x="78" y="92"/>
                      </a:lnTo>
                      <a:lnTo>
                        <a:pt x="74" y="93"/>
                      </a:lnTo>
                      <a:lnTo>
                        <a:pt x="70" y="93"/>
                      </a:lnTo>
                      <a:lnTo>
                        <a:pt x="69" y="93"/>
                      </a:lnTo>
                      <a:lnTo>
                        <a:pt x="68" y="9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3" name="Freeform 322"/>
                <p:cNvSpPr>
                  <a:spLocks/>
                </p:cNvSpPr>
                <p:nvPr/>
              </p:nvSpPr>
              <p:spPr bwMode="auto">
                <a:xfrm>
                  <a:off x="7552789" y="4186238"/>
                  <a:ext cx="16278" cy="29598"/>
                </a:xfrm>
                <a:custGeom>
                  <a:avLst/>
                  <a:gdLst>
                    <a:gd name="T0" fmla="*/ 2147483647 w 12"/>
                    <a:gd name="T1" fmla="*/ 2147483647 h 20"/>
                    <a:gd name="T2" fmla="*/ 2147483647 w 12"/>
                    <a:gd name="T3" fmla="*/ 2147483647 h 20"/>
                    <a:gd name="T4" fmla="*/ 0 w 12"/>
                    <a:gd name="T5" fmla="*/ 2147483647 h 20"/>
                    <a:gd name="T6" fmla="*/ 0 w 12"/>
                    <a:gd name="T7" fmla="*/ 2147483647 h 20"/>
                    <a:gd name="T8" fmla="*/ 2147483647 w 12"/>
                    <a:gd name="T9" fmla="*/ 0 h 20"/>
                    <a:gd name="T10" fmla="*/ 2147483647 w 12"/>
                    <a:gd name="T11" fmla="*/ 0 h 20"/>
                    <a:gd name="T12" fmla="*/ 2147483647 w 12"/>
                    <a:gd name="T13" fmla="*/ 0 h 20"/>
                    <a:gd name="T14" fmla="*/ 2147483647 w 12"/>
                    <a:gd name="T15" fmla="*/ 2147483647 h 20"/>
                    <a:gd name="T16" fmla="*/ 2147483647 w 12"/>
                    <a:gd name="T17" fmla="*/ 2147483647 h 20"/>
                    <a:gd name="T18" fmla="*/ 2147483647 w 12"/>
                    <a:gd name="T19" fmla="*/ 2147483647 h 20"/>
                    <a:gd name="T20" fmla="*/ 2147483647 w 12"/>
                    <a:gd name="T21" fmla="*/ 2147483647 h 20"/>
                    <a:gd name="T22" fmla="*/ 2147483647 w 12"/>
                    <a:gd name="T23" fmla="*/ 2147483647 h 20"/>
                    <a:gd name="T24" fmla="*/ 2147483647 w 12"/>
                    <a:gd name="T25" fmla="*/ 2147483647 h 20"/>
                    <a:gd name="T26" fmla="*/ 2147483647 w 12"/>
                    <a:gd name="T27" fmla="*/ 2147483647 h 20"/>
                    <a:gd name="T28" fmla="*/ 2147483647 w 12"/>
                    <a:gd name="T29" fmla="*/ 2147483647 h 20"/>
                    <a:gd name="T30" fmla="*/ 2147483647 w 12"/>
                    <a:gd name="T31" fmla="*/ 2147483647 h 20"/>
                    <a:gd name="T32" fmla="*/ 2147483647 w 12"/>
                    <a:gd name="T33" fmla="*/ 2147483647 h 20"/>
                    <a:gd name="T34" fmla="*/ 2147483647 w 12"/>
                    <a:gd name="T35" fmla="*/ 2147483647 h 20"/>
                    <a:gd name="T36" fmla="*/ 0 w 12"/>
                    <a:gd name="T37" fmla="*/ 2147483647 h 20"/>
                    <a:gd name="T38" fmla="*/ 0 w 12"/>
                    <a:gd name="T39" fmla="*/ 2147483647 h 20"/>
                    <a:gd name="T40" fmla="*/ 2147483647 w 12"/>
                    <a:gd name="T41" fmla="*/ 2147483647 h 20"/>
                    <a:gd name="T42" fmla="*/ 2147483647 w 12"/>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20"/>
                    <a:gd name="T68" fmla="*/ 12 w 12"/>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20">
                      <a:moveTo>
                        <a:pt x="1" y="11"/>
                      </a:moveTo>
                      <a:lnTo>
                        <a:pt x="1" y="11"/>
                      </a:lnTo>
                      <a:lnTo>
                        <a:pt x="0" y="5"/>
                      </a:lnTo>
                      <a:lnTo>
                        <a:pt x="0" y="2"/>
                      </a:lnTo>
                      <a:lnTo>
                        <a:pt x="1" y="0"/>
                      </a:lnTo>
                      <a:lnTo>
                        <a:pt x="3" y="0"/>
                      </a:lnTo>
                      <a:lnTo>
                        <a:pt x="6" y="1"/>
                      </a:lnTo>
                      <a:lnTo>
                        <a:pt x="11" y="5"/>
                      </a:lnTo>
                      <a:lnTo>
                        <a:pt x="12" y="9"/>
                      </a:lnTo>
                      <a:lnTo>
                        <a:pt x="11" y="13"/>
                      </a:lnTo>
                      <a:lnTo>
                        <a:pt x="10" y="17"/>
                      </a:lnTo>
                      <a:lnTo>
                        <a:pt x="6" y="20"/>
                      </a:lnTo>
                      <a:lnTo>
                        <a:pt x="3" y="20"/>
                      </a:lnTo>
                      <a:lnTo>
                        <a:pt x="1" y="20"/>
                      </a:lnTo>
                      <a:lnTo>
                        <a:pt x="0" y="18"/>
                      </a:lnTo>
                      <a:lnTo>
                        <a:pt x="0" y="15"/>
                      </a:lnTo>
                      <a:lnTo>
                        <a:pt x="1"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4" name="Freeform 323"/>
                <p:cNvSpPr>
                  <a:spLocks/>
                </p:cNvSpPr>
                <p:nvPr/>
              </p:nvSpPr>
              <p:spPr bwMode="auto">
                <a:xfrm>
                  <a:off x="7425519" y="4066369"/>
                  <a:ext cx="115430" cy="177585"/>
                </a:xfrm>
                <a:custGeom>
                  <a:avLst/>
                  <a:gdLst>
                    <a:gd name="T0" fmla="*/ 2147483647 w 85"/>
                    <a:gd name="T1" fmla="*/ 2147483647 h 120"/>
                    <a:gd name="T2" fmla="*/ 2147483647 w 85"/>
                    <a:gd name="T3" fmla="*/ 2147483647 h 120"/>
                    <a:gd name="T4" fmla="*/ 2147483647 w 85"/>
                    <a:gd name="T5" fmla="*/ 2147483647 h 120"/>
                    <a:gd name="T6" fmla="*/ 2147483647 w 85"/>
                    <a:gd name="T7" fmla="*/ 2147483647 h 120"/>
                    <a:gd name="T8" fmla="*/ 2147483647 w 85"/>
                    <a:gd name="T9" fmla="*/ 2147483647 h 120"/>
                    <a:gd name="T10" fmla="*/ 2147483647 w 85"/>
                    <a:gd name="T11" fmla="*/ 2147483647 h 120"/>
                    <a:gd name="T12" fmla="*/ 2147483647 w 85"/>
                    <a:gd name="T13" fmla="*/ 2147483647 h 120"/>
                    <a:gd name="T14" fmla="*/ 2147483647 w 85"/>
                    <a:gd name="T15" fmla="*/ 2147483647 h 120"/>
                    <a:gd name="T16" fmla="*/ 2147483647 w 85"/>
                    <a:gd name="T17" fmla="*/ 2147483647 h 120"/>
                    <a:gd name="T18" fmla="*/ 2147483647 w 85"/>
                    <a:gd name="T19" fmla="*/ 2147483647 h 120"/>
                    <a:gd name="T20" fmla="*/ 2147483647 w 85"/>
                    <a:gd name="T21" fmla="*/ 2147483647 h 120"/>
                    <a:gd name="T22" fmla="*/ 2147483647 w 85"/>
                    <a:gd name="T23" fmla="*/ 2147483647 h 120"/>
                    <a:gd name="T24" fmla="*/ 2147483647 w 85"/>
                    <a:gd name="T25" fmla="*/ 2147483647 h 120"/>
                    <a:gd name="T26" fmla="*/ 2147483647 w 85"/>
                    <a:gd name="T27" fmla="*/ 2147483647 h 120"/>
                    <a:gd name="T28" fmla="*/ 2147483647 w 85"/>
                    <a:gd name="T29" fmla="*/ 2147483647 h 120"/>
                    <a:gd name="T30" fmla="*/ 2147483647 w 85"/>
                    <a:gd name="T31" fmla="*/ 2147483647 h 120"/>
                    <a:gd name="T32" fmla="*/ 2147483647 w 85"/>
                    <a:gd name="T33" fmla="*/ 2147483647 h 120"/>
                    <a:gd name="T34" fmla="*/ 2147483647 w 85"/>
                    <a:gd name="T35" fmla="*/ 0 h 120"/>
                    <a:gd name="T36" fmla="*/ 2147483647 w 85"/>
                    <a:gd name="T37" fmla="*/ 2147483647 h 120"/>
                    <a:gd name="T38" fmla="*/ 2147483647 w 85"/>
                    <a:gd name="T39" fmla="*/ 2147483647 h 120"/>
                    <a:gd name="T40" fmla="*/ 2147483647 w 85"/>
                    <a:gd name="T41" fmla="*/ 2147483647 h 120"/>
                    <a:gd name="T42" fmla="*/ 2147483647 w 85"/>
                    <a:gd name="T43" fmla="*/ 2147483647 h 120"/>
                    <a:gd name="T44" fmla="*/ 2147483647 w 85"/>
                    <a:gd name="T45" fmla="*/ 2147483647 h 120"/>
                    <a:gd name="T46" fmla="*/ 2147483647 w 85"/>
                    <a:gd name="T47" fmla="*/ 2147483647 h 120"/>
                    <a:gd name="T48" fmla="*/ 2147483647 w 85"/>
                    <a:gd name="T49" fmla="*/ 2147483647 h 120"/>
                    <a:gd name="T50" fmla="*/ 2147483647 w 85"/>
                    <a:gd name="T51" fmla="*/ 2147483647 h 120"/>
                    <a:gd name="T52" fmla="*/ 2147483647 w 85"/>
                    <a:gd name="T53" fmla="*/ 2147483647 h 120"/>
                    <a:gd name="T54" fmla="*/ 2147483647 w 85"/>
                    <a:gd name="T55" fmla="*/ 2147483647 h 120"/>
                    <a:gd name="T56" fmla="*/ 2147483647 w 85"/>
                    <a:gd name="T57" fmla="*/ 2147483647 h 120"/>
                    <a:gd name="T58" fmla="*/ 2147483647 w 85"/>
                    <a:gd name="T59" fmla="*/ 2147483647 h 120"/>
                    <a:gd name="T60" fmla="*/ 0 w 85"/>
                    <a:gd name="T61" fmla="*/ 2147483647 h 120"/>
                    <a:gd name="T62" fmla="*/ 2147483647 w 85"/>
                    <a:gd name="T63" fmla="*/ 2147483647 h 120"/>
                    <a:gd name="T64" fmla="*/ 2147483647 w 85"/>
                    <a:gd name="T65" fmla="*/ 2147483647 h 120"/>
                    <a:gd name="T66" fmla="*/ 2147483647 w 85"/>
                    <a:gd name="T67" fmla="*/ 2147483647 h 120"/>
                    <a:gd name="T68" fmla="*/ 2147483647 w 85"/>
                    <a:gd name="T69" fmla="*/ 2147483647 h 120"/>
                    <a:gd name="T70" fmla="*/ 2147483647 w 85"/>
                    <a:gd name="T71" fmla="*/ 2147483647 h 120"/>
                    <a:gd name="T72" fmla="*/ 2147483647 w 85"/>
                    <a:gd name="T73" fmla="*/ 2147483647 h 120"/>
                    <a:gd name="T74" fmla="*/ 2147483647 w 85"/>
                    <a:gd name="T75" fmla="*/ 2147483647 h 120"/>
                    <a:gd name="T76" fmla="*/ 2147483647 w 85"/>
                    <a:gd name="T77" fmla="*/ 2147483647 h 120"/>
                    <a:gd name="T78" fmla="*/ 2147483647 w 85"/>
                    <a:gd name="T79" fmla="*/ 2147483647 h 120"/>
                    <a:gd name="T80" fmla="*/ 2147483647 w 85"/>
                    <a:gd name="T81" fmla="*/ 2147483647 h 120"/>
                    <a:gd name="T82" fmla="*/ 2147483647 w 85"/>
                    <a:gd name="T83" fmla="*/ 2147483647 h 120"/>
                    <a:gd name="T84" fmla="*/ 2147483647 w 85"/>
                    <a:gd name="T85" fmla="*/ 2147483647 h 120"/>
                    <a:gd name="T86" fmla="*/ 2147483647 w 85"/>
                    <a:gd name="T87" fmla="*/ 2147483647 h 120"/>
                    <a:gd name="T88" fmla="*/ 2147483647 w 85"/>
                    <a:gd name="T89" fmla="*/ 2147483647 h 120"/>
                    <a:gd name="T90" fmla="*/ 2147483647 w 85"/>
                    <a:gd name="T91" fmla="*/ 2147483647 h 120"/>
                    <a:gd name="T92" fmla="*/ 2147483647 w 85"/>
                    <a:gd name="T93" fmla="*/ 2147483647 h 120"/>
                    <a:gd name="T94" fmla="*/ 2147483647 w 85"/>
                    <a:gd name="T95" fmla="*/ 2147483647 h 120"/>
                    <a:gd name="T96" fmla="*/ 2147483647 w 85"/>
                    <a:gd name="T97" fmla="*/ 2147483647 h 120"/>
                    <a:gd name="T98" fmla="*/ 2147483647 w 85"/>
                    <a:gd name="T99" fmla="*/ 2147483647 h 120"/>
                    <a:gd name="T100" fmla="*/ 2147483647 w 85"/>
                    <a:gd name="T101" fmla="*/ 2147483647 h 120"/>
                    <a:gd name="T102" fmla="*/ 2147483647 w 85"/>
                    <a:gd name="T103" fmla="*/ 2147483647 h 120"/>
                    <a:gd name="T104" fmla="*/ 2147483647 w 85"/>
                    <a:gd name="T105" fmla="*/ 2147483647 h 120"/>
                    <a:gd name="T106" fmla="*/ 2147483647 w 85"/>
                    <a:gd name="T107" fmla="*/ 2147483647 h 120"/>
                    <a:gd name="T108" fmla="*/ 2147483647 w 85"/>
                    <a:gd name="T109" fmla="*/ 2147483647 h 120"/>
                    <a:gd name="T110" fmla="*/ 2147483647 w 85"/>
                    <a:gd name="T111" fmla="*/ 2147483647 h 120"/>
                    <a:gd name="T112" fmla="*/ 2147483647 w 85"/>
                    <a:gd name="T113" fmla="*/ 2147483647 h 120"/>
                    <a:gd name="T114" fmla="*/ 2147483647 w 85"/>
                    <a:gd name="T115" fmla="*/ 2147483647 h 120"/>
                    <a:gd name="T116" fmla="*/ 2147483647 w 85"/>
                    <a:gd name="T117" fmla="*/ 2147483647 h 120"/>
                    <a:gd name="T118" fmla="*/ 2147483647 w 85"/>
                    <a:gd name="T119" fmla="*/ 2147483647 h 1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5"/>
                    <a:gd name="T181" fmla="*/ 0 h 120"/>
                    <a:gd name="T182" fmla="*/ 85 w 85"/>
                    <a:gd name="T183" fmla="*/ 120 h 1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5" h="120">
                      <a:moveTo>
                        <a:pt x="67" y="90"/>
                      </a:moveTo>
                      <a:lnTo>
                        <a:pt x="67" y="90"/>
                      </a:lnTo>
                      <a:lnTo>
                        <a:pt x="66" y="88"/>
                      </a:lnTo>
                      <a:lnTo>
                        <a:pt x="63" y="87"/>
                      </a:lnTo>
                      <a:lnTo>
                        <a:pt x="58" y="84"/>
                      </a:lnTo>
                      <a:lnTo>
                        <a:pt x="53" y="84"/>
                      </a:lnTo>
                      <a:lnTo>
                        <a:pt x="52" y="84"/>
                      </a:lnTo>
                      <a:lnTo>
                        <a:pt x="51" y="87"/>
                      </a:lnTo>
                      <a:lnTo>
                        <a:pt x="51" y="89"/>
                      </a:lnTo>
                      <a:lnTo>
                        <a:pt x="49" y="90"/>
                      </a:lnTo>
                      <a:lnTo>
                        <a:pt x="47" y="90"/>
                      </a:lnTo>
                      <a:lnTo>
                        <a:pt x="44" y="89"/>
                      </a:lnTo>
                      <a:lnTo>
                        <a:pt x="38" y="86"/>
                      </a:lnTo>
                      <a:lnTo>
                        <a:pt x="38" y="84"/>
                      </a:lnTo>
                      <a:lnTo>
                        <a:pt x="38" y="83"/>
                      </a:lnTo>
                      <a:lnTo>
                        <a:pt x="38" y="81"/>
                      </a:lnTo>
                      <a:lnTo>
                        <a:pt x="37" y="79"/>
                      </a:lnTo>
                      <a:lnTo>
                        <a:pt x="36" y="76"/>
                      </a:lnTo>
                      <a:lnTo>
                        <a:pt x="34" y="75"/>
                      </a:lnTo>
                      <a:lnTo>
                        <a:pt x="34" y="74"/>
                      </a:lnTo>
                      <a:lnTo>
                        <a:pt x="37" y="69"/>
                      </a:lnTo>
                      <a:lnTo>
                        <a:pt x="37" y="63"/>
                      </a:lnTo>
                      <a:lnTo>
                        <a:pt x="38" y="52"/>
                      </a:lnTo>
                      <a:lnTo>
                        <a:pt x="39" y="51"/>
                      </a:lnTo>
                      <a:lnTo>
                        <a:pt x="41" y="50"/>
                      </a:lnTo>
                      <a:lnTo>
                        <a:pt x="43" y="50"/>
                      </a:lnTo>
                      <a:lnTo>
                        <a:pt x="46" y="49"/>
                      </a:lnTo>
                      <a:lnTo>
                        <a:pt x="47" y="44"/>
                      </a:lnTo>
                      <a:lnTo>
                        <a:pt x="48" y="39"/>
                      </a:lnTo>
                      <a:lnTo>
                        <a:pt x="48" y="35"/>
                      </a:lnTo>
                      <a:lnTo>
                        <a:pt x="51" y="30"/>
                      </a:lnTo>
                      <a:lnTo>
                        <a:pt x="52" y="28"/>
                      </a:lnTo>
                      <a:lnTo>
                        <a:pt x="51" y="25"/>
                      </a:lnTo>
                      <a:lnTo>
                        <a:pt x="48" y="22"/>
                      </a:lnTo>
                      <a:lnTo>
                        <a:pt x="46" y="18"/>
                      </a:lnTo>
                      <a:lnTo>
                        <a:pt x="46" y="15"/>
                      </a:lnTo>
                      <a:lnTo>
                        <a:pt x="48" y="10"/>
                      </a:lnTo>
                      <a:lnTo>
                        <a:pt x="49" y="5"/>
                      </a:lnTo>
                      <a:lnTo>
                        <a:pt x="49" y="3"/>
                      </a:lnTo>
                      <a:lnTo>
                        <a:pt x="48" y="1"/>
                      </a:lnTo>
                      <a:lnTo>
                        <a:pt x="46" y="0"/>
                      </a:lnTo>
                      <a:lnTo>
                        <a:pt x="44" y="0"/>
                      </a:lnTo>
                      <a:lnTo>
                        <a:pt x="42" y="1"/>
                      </a:lnTo>
                      <a:lnTo>
                        <a:pt x="41" y="4"/>
                      </a:lnTo>
                      <a:lnTo>
                        <a:pt x="37" y="5"/>
                      </a:lnTo>
                      <a:lnTo>
                        <a:pt x="36" y="6"/>
                      </a:lnTo>
                      <a:lnTo>
                        <a:pt x="34" y="7"/>
                      </a:lnTo>
                      <a:lnTo>
                        <a:pt x="29" y="4"/>
                      </a:lnTo>
                      <a:lnTo>
                        <a:pt x="23" y="4"/>
                      </a:lnTo>
                      <a:lnTo>
                        <a:pt x="20" y="4"/>
                      </a:lnTo>
                      <a:lnTo>
                        <a:pt x="18" y="5"/>
                      </a:lnTo>
                      <a:lnTo>
                        <a:pt x="16" y="7"/>
                      </a:lnTo>
                      <a:lnTo>
                        <a:pt x="14" y="10"/>
                      </a:lnTo>
                      <a:lnTo>
                        <a:pt x="13" y="18"/>
                      </a:lnTo>
                      <a:lnTo>
                        <a:pt x="11" y="28"/>
                      </a:lnTo>
                      <a:lnTo>
                        <a:pt x="10" y="29"/>
                      </a:lnTo>
                      <a:lnTo>
                        <a:pt x="10" y="34"/>
                      </a:lnTo>
                      <a:lnTo>
                        <a:pt x="11" y="39"/>
                      </a:lnTo>
                      <a:lnTo>
                        <a:pt x="13" y="45"/>
                      </a:lnTo>
                      <a:lnTo>
                        <a:pt x="13" y="51"/>
                      </a:lnTo>
                      <a:lnTo>
                        <a:pt x="10" y="49"/>
                      </a:lnTo>
                      <a:lnTo>
                        <a:pt x="9" y="48"/>
                      </a:lnTo>
                      <a:lnTo>
                        <a:pt x="6" y="45"/>
                      </a:lnTo>
                      <a:lnTo>
                        <a:pt x="5" y="43"/>
                      </a:lnTo>
                      <a:lnTo>
                        <a:pt x="4" y="43"/>
                      </a:lnTo>
                      <a:lnTo>
                        <a:pt x="2" y="43"/>
                      </a:lnTo>
                      <a:lnTo>
                        <a:pt x="1" y="45"/>
                      </a:lnTo>
                      <a:lnTo>
                        <a:pt x="1" y="48"/>
                      </a:lnTo>
                      <a:lnTo>
                        <a:pt x="1" y="50"/>
                      </a:lnTo>
                      <a:lnTo>
                        <a:pt x="1" y="51"/>
                      </a:lnTo>
                      <a:lnTo>
                        <a:pt x="0" y="52"/>
                      </a:lnTo>
                      <a:lnTo>
                        <a:pt x="6" y="69"/>
                      </a:lnTo>
                      <a:lnTo>
                        <a:pt x="14" y="84"/>
                      </a:lnTo>
                      <a:lnTo>
                        <a:pt x="14" y="86"/>
                      </a:lnTo>
                      <a:lnTo>
                        <a:pt x="15" y="84"/>
                      </a:lnTo>
                      <a:lnTo>
                        <a:pt x="15" y="83"/>
                      </a:lnTo>
                      <a:lnTo>
                        <a:pt x="16" y="80"/>
                      </a:lnTo>
                      <a:lnTo>
                        <a:pt x="16" y="77"/>
                      </a:lnTo>
                      <a:lnTo>
                        <a:pt x="19" y="75"/>
                      </a:lnTo>
                      <a:lnTo>
                        <a:pt x="20" y="75"/>
                      </a:lnTo>
                      <a:lnTo>
                        <a:pt x="23" y="75"/>
                      </a:lnTo>
                      <a:lnTo>
                        <a:pt x="25" y="75"/>
                      </a:lnTo>
                      <a:lnTo>
                        <a:pt x="27" y="77"/>
                      </a:lnTo>
                      <a:lnTo>
                        <a:pt x="27" y="80"/>
                      </a:lnTo>
                      <a:lnTo>
                        <a:pt x="25" y="83"/>
                      </a:lnTo>
                      <a:lnTo>
                        <a:pt x="24" y="87"/>
                      </a:lnTo>
                      <a:lnTo>
                        <a:pt x="22" y="90"/>
                      </a:lnTo>
                      <a:lnTo>
                        <a:pt x="20" y="95"/>
                      </a:lnTo>
                      <a:lnTo>
                        <a:pt x="20" y="96"/>
                      </a:lnTo>
                      <a:lnTo>
                        <a:pt x="22" y="99"/>
                      </a:lnTo>
                      <a:lnTo>
                        <a:pt x="23" y="99"/>
                      </a:lnTo>
                      <a:lnTo>
                        <a:pt x="24" y="99"/>
                      </a:lnTo>
                      <a:lnTo>
                        <a:pt x="27" y="98"/>
                      </a:lnTo>
                      <a:lnTo>
                        <a:pt x="28" y="98"/>
                      </a:lnTo>
                      <a:lnTo>
                        <a:pt x="29" y="99"/>
                      </a:lnTo>
                      <a:lnTo>
                        <a:pt x="30" y="100"/>
                      </a:lnTo>
                      <a:lnTo>
                        <a:pt x="32" y="99"/>
                      </a:lnTo>
                      <a:lnTo>
                        <a:pt x="36" y="98"/>
                      </a:lnTo>
                      <a:lnTo>
                        <a:pt x="38" y="98"/>
                      </a:lnTo>
                      <a:lnTo>
                        <a:pt x="42" y="98"/>
                      </a:lnTo>
                      <a:lnTo>
                        <a:pt x="46" y="99"/>
                      </a:lnTo>
                      <a:lnTo>
                        <a:pt x="52" y="102"/>
                      </a:lnTo>
                      <a:lnTo>
                        <a:pt x="53" y="105"/>
                      </a:lnTo>
                      <a:lnTo>
                        <a:pt x="55" y="108"/>
                      </a:lnTo>
                      <a:lnTo>
                        <a:pt x="57" y="106"/>
                      </a:lnTo>
                      <a:lnTo>
                        <a:pt x="58" y="103"/>
                      </a:lnTo>
                      <a:lnTo>
                        <a:pt x="57" y="98"/>
                      </a:lnTo>
                      <a:lnTo>
                        <a:pt x="61" y="100"/>
                      </a:lnTo>
                      <a:lnTo>
                        <a:pt x="62" y="103"/>
                      </a:lnTo>
                      <a:lnTo>
                        <a:pt x="67" y="112"/>
                      </a:lnTo>
                      <a:lnTo>
                        <a:pt x="69" y="113"/>
                      </a:lnTo>
                      <a:lnTo>
                        <a:pt x="70" y="113"/>
                      </a:lnTo>
                      <a:lnTo>
                        <a:pt x="71" y="114"/>
                      </a:lnTo>
                      <a:lnTo>
                        <a:pt x="74" y="114"/>
                      </a:lnTo>
                      <a:lnTo>
                        <a:pt x="74" y="116"/>
                      </a:lnTo>
                      <a:lnTo>
                        <a:pt x="75" y="119"/>
                      </a:lnTo>
                      <a:lnTo>
                        <a:pt x="77" y="120"/>
                      </a:lnTo>
                      <a:lnTo>
                        <a:pt x="79" y="120"/>
                      </a:lnTo>
                      <a:lnTo>
                        <a:pt x="81" y="118"/>
                      </a:lnTo>
                      <a:lnTo>
                        <a:pt x="82" y="116"/>
                      </a:lnTo>
                      <a:lnTo>
                        <a:pt x="82" y="114"/>
                      </a:lnTo>
                      <a:lnTo>
                        <a:pt x="81" y="113"/>
                      </a:lnTo>
                      <a:lnTo>
                        <a:pt x="79" y="111"/>
                      </a:lnTo>
                      <a:lnTo>
                        <a:pt x="76" y="107"/>
                      </a:lnTo>
                      <a:lnTo>
                        <a:pt x="75" y="103"/>
                      </a:lnTo>
                      <a:lnTo>
                        <a:pt x="75" y="100"/>
                      </a:lnTo>
                      <a:lnTo>
                        <a:pt x="77" y="98"/>
                      </a:lnTo>
                      <a:lnTo>
                        <a:pt x="80" y="96"/>
                      </a:lnTo>
                      <a:lnTo>
                        <a:pt x="85" y="95"/>
                      </a:lnTo>
                      <a:lnTo>
                        <a:pt x="85" y="94"/>
                      </a:lnTo>
                      <a:lnTo>
                        <a:pt x="84" y="92"/>
                      </a:lnTo>
                      <a:lnTo>
                        <a:pt x="80" y="90"/>
                      </a:lnTo>
                      <a:lnTo>
                        <a:pt x="77" y="92"/>
                      </a:lnTo>
                      <a:lnTo>
                        <a:pt x="74" y="93"/>
                      </a:lnTo>
                      <a:lnTo>
                        <a:pt x="70" y="93"/>
                      </a:lnTo>
                      <a:lnTo>
                        <a:pt x="69" y="93"/>
                      </a:lnTo>
                      <a:lnTo>
                        <a:pt x="67" y="9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5" name="Freeform 324"/>
                <p:cNvSpPr>
                  <a:spLocks/>
                </p:cNvSpPr>
                <p:nvPr/>
              </p:nvSpPr>
              <p:spPr bwMode="auto">
                <a:xfrm>
                  <a:off x="7428481" y="3865108"/>
                  <a:ext cx="54755" cy="115429"/>
                </a:xfrm>
                <a:custGeom>
                  <a:avLst/>
                  <a:gdLst>
                    <a:gd name="T0" fmla="*/ 2147483647 w 40"/>
                    <a:gd name="T1" fmla="*/ 2147483647 h 78"/>
                    <a:gd name="T2" fmla="*/ 2147483647 w 40"/>
                    <a:gd name="T3" fmla="*/ 2147483647 h 78"/>
                    <a:gd name="T4" fmla="*/ 2147483647 w 40"/>
                    <a:gd name="T5" fmla="*/ 2147483647 h 78"/>
                    <a:gd name="T6" fmla="*/ 2147483647 w 40"/>
                    <a:gd name="T7" fmla="*/ 2147483647 h 78"/>
                    <a:gd name="T8" fmla="*/ 2147483647 w 40"/>
                    <a:gd name="T9" fmla="*/ 0 h 78"/>
                    <a:gd name="T10" fmla="*/ 2147483647 w 40"/>
                    <a:gd name="T11" fmla="*/ 0 h 78"/>
                    <a:gd name="T12" fmla="*/ 2147483647 w 40"/>
                    <a:gd name="T13" fmla="*/ 0 h 78"/>
                    <a:gd name="T14" fmla="*/ 2147483647 w 40"/>
                    <a:gd name="T15" fmla="*/ 2147483647 h 78"/>
                    <a:gd name="T16" fmla="*/ 2147483647 w 40"/>
                    <a:gd name="T17" fmla="*/ 2147483647 h 78"/>
                    <a:gd name="T18" fmla="*/ 2147483647 w 40"/>
                    <a:gd name="T19" fmla="*/ 2147483647 h 78"/>
                    <a:gd name="T20" fmla="*/ 2147483647 w 40"/>
                    <a:gd name="T21" fmla="*/ 2147483647 h 78"/>
                    <a:gd name="T22" fmla="*/ 2147483647 w 40"/>
                    <a:gd name="T23" fmla="*/ 2147483647 h 78"/>
                    <a:gd name="T24" fmla="*/ 2147483647 w 40"/>
                    <a:gd name="T25" fmla="*/ 2147483647 h 78"/>
                    <a:gd name="T26" fmla="*/ 0 w 40"/>
                    <a:gd name="T27" fmla="*/ 2147483647 h 78"/>
                    <a:gd name="T28" fmla="*/ 2147483647 w 40"/>
                    <a:gd name="T29" fmla="*/ 2147483647 h 78"/>
                    <a:gd name="T30" fmla="*/ 2147483647 w 40"/>
                    <a:gd name="T31" fmla="*/ 2147483647 h 78"/>
                    <a:gd name="T32" fmla="*/ 2147483647 w 40"/>
                    <a:gd name="T33" fmla="*/ 2147483647 h 78"/>
                    <a:gd name="T34" fmla="*/ 2147483647 w 40"/>
                    <a:gd name="T35" fmla="*/ 2147483647 h 78"/>
                    <a:gd name="T36" fmla="*/ 2147483647 w 40"/>
                    <a:gd name="T37" fmla="*/ 2147483647 h 78"/>
                    <a:gd name="T38" fmla="*/ 2147483647 w 40"/>
                    <a:gd name="T39" fmla="*/ 2147483647 h 78"/>
                    <a:gd name="T40" fmla="*/ 2147483647 w 40"/>
                    <a:gd name="T41" fmla="*/ 2147483647 h 78"/>
                    <a:gd name="T42" fmla="*/ 2147483647 w 40"/>
                    <a:gd name="T43" fmla="*/ 2147483647 h 78"/>
                    <a:gd name="T44" fmla="*/ 2147483647 w 40"/>
                    <a:gd name="T45" fmla="*/ 2147483647 h 78"/>
                    <a:gd name="T46" fmla="*/ 2147483647 w 40"/>
                    <a:gd name="T47" fmla="*/ 2147483647 h 78"/>
                    <a:gd name="T48" fmla="*/ 2147483647 w 40"/>
                    <a:gd name="T49" fmla="*/ 2147483647 h 78"/>
                    <a:gd name="T50" fmla="*/ 2147483647 w 40"/>
                    <a:gd name="T51" fmla="*/ 2147483647 h 78"/>
                    <a:gd name="T52" fmla="*/ 2147483647 w 40"/>
                    <a:gd name="T53" fmla="*/ 2147483647 h 78"/>
                    <a:gd name="T54" fmla="*/ 2147483647 w 40"/>
                    <a:gd name="T55" fmla="*/ 2147483647 h 78"/>
                    <a:gd name="T56" fmla="*/ 2147483647 w 40"/>
                    <a:gd name="T57" fmla="*/ 2147483647 h 78"/>
                    <a:gd name="T58" fmla="*/ 2147483647 w 40"/>
                    <a:gd name="T59" fmla="*/ 2147483647 h 78"/>
                    <a:gd name="T60" fmla="*/ 2147483647 w 40"/>
                    <a:gd name="T61" fmla="*/ 2147483647 h 78"/>
                    <a:gd name="T62" fmla="*/ 2147483647 w 40"/>
                    <a:gd name="T63" fmla="*/ 2147483647 h 78"/>
                    <a:gd name="T64" fmla="*/ 2147483647 w 40"/>
                    <a:gd name="T65" fmla="*/ 2147483647 h 78"/>
                    <a:gd name="T66" fmla="*/ 2147483647 w 40"/>
                    <a:gd name="T67" fmla="*/ 2147483647 h 78"/>
                    <a:gd name="T68" fmla="*/ 2147483647 w 40"/>
                    <a:gd name="T69" fmla="*/ 2147483647 h 78"/>
                    <a:gd name="T70" fmla="*/ 2147483647 w 40"/>
                    <a:gd name="T71" fmla="*/ 2147483647 h 78"/>
                    <a:gd name="T72" fmla="*/ 2147483647 w 40"/>
                    <a:gd name="T73" fmla="*/ 2147483647 h 78"/>
                    <a:gd name="T74" fmla="*/ 2147483647 w 40"/>
                    <a:gd name="T75" fmla="*/ 2147483647 h 78"/>
                    <a:gd name="T76" fmla="*/ 2147483647 w 40"/>
                    <a:gd name="T77" fmla="*/ 2147483647 h 78"/>
                    <a:gd name="T78" fmla="*/ 2147483647 w 40"/>
                    <a:gd name="T79" fmla="*/ 2147483647 h 78"/>
                    <a:gd name="T80" fmla="*/ 2147483647 w 40"/>
                    <a:gd name="T81" fmla="*/ 2147483647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78"/>
                    <a:gd name="T125" fmla="*/ 40 w 40"/>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78">
                      <a:moveTo>
                        <a:pt x="37" y="12"/>
                      </a:moveTo>
                      <a:lnTo>
                        <a:pt x="40" y="6"/>
                      </a:lnTo>
                      <a:lnTo>
                        <a:pt x="40" y="4"/>
                      </a:lnTo>
                      <a:lnTo>
                        <a:pt x="39" y="1"/>
                      </a:lnTo>
                      <a:lnTo>
                        <a:pt x="36" y="0"/>
                      </a:lnTo>
                      <a:lnTo>
                        <a:pt x="34" y="0"/>
                      </a:lnTo>
                      <a:lnTo>
                        <a:pt x="27" y="0"/>
                      </a:lnTo>
                      <a:lnTo>
                        <a:pt x="22" y="2"/>
                      </a:lnTo>
                      <a:lnTo>
                        <a:pt x="18" y="6"/>
                      </a:lnTo>
                      <a:lnTo>
                        <a:pt x="14" y="13"/>
                      </a:lnTo>
                      <a:lnTo>
                        <a:pt x="11" y="20"/>
                      </a:lnTo>
                      <a:lnTo>
                        <a:pt x="6" y="34"/>
                      </a:lnTo>
                      <a:lnTo>
                        <a:pt x="2" y="40"/>
                      </a:lnTo>
                      <a:lnTo>
                        <a:pt x="0" y="44"/>
                      </a:lnTo>
                      <a:lnTo>
                        <a:pt x="2" y="46"/>
                      </a:lnTo>
                      <a:lnTo>
                        <a:pt x="4" y="52"/>
                      </a:lnTo>
                      <a:lnTo>
                        <a:pt x="6" y="56"/>
                      </a:lnTo>
                      <a:lnTo>
                        <a:pt x="6" y="59"/>
                      </a:lnTo>
                      <a:lnTo>
                        <a:pt x="7" y="60"/>
                      </a:lnTo>
                      <a:lnTo>
                        <a:pt x="8" y="62"/>
                      </a:lnTo>
                      <a:lnTo>
                        <a:pt x="9" y="63"/>
                      </a:lnTo>
                      <a:lnTo>
                        <a:pt x="11" y="65"/>
                      </a:lnTo>
                      <a:lnTo>
                        <a:pt x="12" y="66"/>
                      </a:lnTo>
                      <a:lnTo>
                        <a:pt x="11" y="69"/>
                      </a:lnTo>
                      <a:lnTo>
                        <a:pt x="9" y="72"/>
                      </a:lnTo>
                      <a:lnTo>
                        <a:pt x="11" y="76"/>
                      </a:lnTo>
                      <a:lnTo>
                        <a:pt x="12" y="77"/>
                      </a:lnTo>
                      <a:lnTo>
                        <a:pt x="13" y="78"/>
                      </a:lnTo>
                      <a:lnTo>
                        <a:pt x="14" y="77"/>
                      </a:lnTo>
                      <a:lnTo>
                        <a:pt x="17" y="75"/>
                      </a:lnTo>
                      <a:lnTo>
                        <a:pt x="17" y="71"/>
                      </a:lnTo>
                      <a:lnTo>
                        <a:pt x="17" y="69"/>
                      </a:lnTo>
                      <a:lnTo>
                        <a:pt x="18" y="65"/>
                      </a:lnTo>
                      <a:lnTo>
                        <a:pt x="23" y="58"/>
                      </a:lnTo>
                      <a:lnTo>
                        <a:pt x="27" y="51"/>
                      </a:lnTo>
                      <a:lnTo>
                        <a:pt x="32" y="34"/>
                      </a:lnTo>
                      <a:lnTo>
                        <a:pt x="34" y="30"/>
                      </a:lnTo>
                      <a:lnTo>
                        <a:pt x="35" y="25"/>
                      </a:lnTo>
                      <a:lnTo>
                        <a:pt x="34" y="14"/>
                      </a:lnTo>
                      <a:lnTo>
                        <a:pt x="35" y="13"/>
                      </a:lnTo>
                      <a:lnTo>
                        <a:pt x="37"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6" name="Freeform 340"/>
                <p:cNvSpPr>
                  <a:spLocks/>
                </p:cNvSpPr>
                <p:nvPr/>
              </p:nvSpPr>
              <p:spPr bwMode="auto">
                <a:xfrm>
                  <a:off x="7267172" y="4927654"/>
                  <a:ext cx="961917" cy="864245"/>
                </a:xfrm>
                <a:custGeom>
                  <a:avLst/>
                  <a:gdLst>
                    <a:gd name="T0" fmla="*/ 2147483647 w 705"/>
                    <a:gd name="T1" fmla="*/ 2147483647 h 584"/>
                    <a:gd name="T2" fmla="*/ 2147483647 w 705"/>
                    <a:gd name="T3" fmla="*/ 2147483647 h 584"/>
                    <a:gd name="T4" fmla="*/ 2147483647 w 705"/>
                    <a:gd name="T5" fmla="*/ 2147483647 h 584"/>
                    <a:gd name="T6" fmla="*/ 2147483647 w 705"/>
                    <a:gd name="T7" fmla="*/ 2147483647 h 584"/>
                    <a:gd name="T8" fmla="*/ 2147483647 w 705"/>
                    <a:gd name="T9" fmla="*/ 2147483647 h 584"/>
                    <a:gd name="T10" fmla="*/ 2147483647 w 705"/>
                    <a:gd name="T11" fmla="*/ 2147483647 h 584"/>
                    <a:gd name="T12" fmla="*/ 2147483647 w 705"/>
                    <a:gd name="T13" fmla="*/ 2147483647 h 584"/>
                    <a:gd name="T14" fmla="*/ 2147483647 w 705"/>
                    <a:gd name="T15" fmla="*/ 2147483647 h 584"/>
                    <a:gd name="T16" fmla="*/ 2147483647 w 705"/>
                    <a:gd name="T17" fmla="*/ 2147483647 h 584"/>
                    <a:gd name="T18" fmla="*/ 2147483647 w 705"/>
                    <a:gd name="T19" fmla="*/ 2147483647 h 584"/>
                    <a:gd name="T20" fmla="*/ 2147483647 w 705"/>
                    <a:gd name="T21" fmla="*/ 2147483647 h 584"/>
                    <a:gd name="T22" fmla="*/ 2147483647 w 705"/>
                    <a:gd name="T23" fmla="*/ 2147483647 h 584"/>
                    <a:gd name="T24" fmla="*/ 2147483647 w 705"/>
                    <a:gd name="T25" fmla="*/ 2147483647 h 584"/>
                    <a:gd name="T26" fmla="*/ 2147483647 w 705"/>
                    <a:gd name="T27" fmla="*/ 2147483647 h 584"/>
                    <a:gd name="T28" fmla="*/ 2147483647 w 705"/>
                    <a:gd name="T29" fmla="*/ 2147483647 h 584"/>
                    <a:gd name="T30" fmla="*/ 2147483647 w 705"/>
                    <a:gd name="T31" fmla="*/ 2147483647 h 584"/>
                    <a:gd name="T32" fmla="*/ 2147483647 w 705"/>
                    <a:gd name="T33" fmla="*/ 2147483647 h 584"/>
                    <a:gd name="T34" fmla="*/ 2147483647 w 705"/>
                    <a:gd name="T35" fmla="*/ 2147483647 h 584"/>
                    <a:gd name="T36" fmla="*/ 2147483647 w 705"/>
                    <a:gd name="T37" fmla="*/ 2147483647 h 584"/>
                    <a:gd name="T38" fmla="*/ 2147483647 w 705"/>
                    <a:gd name="T39" fmla="*/ 2147483647 h 584"/>
                    <a:gd name="T40" fmla="*/ 2147483647 w 705"/>
                    <a:gd name="T41" fmla="*/ 2147483647 h 584"/>
                    <a:gd name="T42" fmla="*/ 2147483647 w 705"/>
                    <a:gd name="T43" fmla="*/ 2147483647 h 584"/>
                    <a:gd name="T44" fmla="*/ 2147483647 w 705"/>
                    <a:gd name="T45" fmla="*/ 2147483647 h 584"/>
                    <a:gd name="T46" fmla="*/ 2147483647 w 705"/>
                    <a:gd name="T47" fmla="*/ 2147483647 h 584"/>
                    <a:gd name="T48" fmla="*/ 2147483647 w 705"/>
                    <a:gd name="T49" fmla="*/ 2147483647 h 584"/>
                    <a:gd name="T50" fmla="*/ 2147483647 w 705"/>
                    <a:gd name="T51" fmla="*/ 2147483647 h 584"/>
                    <a:gd name="T52" fmla="*/ 2147483647 w 705"/>
                    <a:gd name="T53" fmla="*/ 2147483647 h 584"/>
                    <a:gd name="T54" fmla="*/ 2147483647 w 705"/>
                    <a:gd name="T55" fmla="*/ 2147483647 h 584"/>
                    <a:gd name="T56" fmla="*/ 2147483647 w 705"/>
                    <a:gd name="T57" fmla="*/ 2147483647 h 584"/>
                    <a:gd name="T58" fmla="*/ 2147483647 w 705"/>
                    <a:gd name="T59" fmla="*/ 2147483647 h 584"/>
                    <a:gd name="T60" fmla="*/ 2147483647 w 705"/>
                    <a:gd name="T61" fmla="*/ 2147483647 h 584"/>
                    <a:gd name="T62" fmla="*/ 2147483647 w 705"/>
                    <a:gd name="T63" fmla="*/ 2147483647 h 584"/>
                    <a:gd name="T64" fmla="*/ 2147483647 w 705"/>
                    <a:gd name="T65" fmla="*/ 2147483647 h 584"/>
                    <a:gd name="T66" fmla="*/ 2147483647 w 705"/>
                    <a:gd name="T67" fmla="*/ 2147483647 h 584"/>
                    <a:gd name="T68" fmla="*/ 2147483647 w 705"/>
                    <a:gd name="T69" fmla="*/ 2147483647 h 584"/>
                    <a:gd name="T70" fmla="*/ 2147483647 w 705"/>
                    <a:gd name="T71" fmla="*/ 2147483647 h 584"/>
                    <a:gd name="T72" fmla="*/ 2147483647 w 705"/>
                    <a:gd name="T73" fmla="*/ 2147483647 h 584"/>
                    <a:gd name="T74" fmla="*/ 2147483647 w 705"/>
                    <a:gd name="T75" fmla="*/ 2147483647 h 584"/>
                    <a:gd name="T76" fmla="*/ 2147483647 w 705"/>
                    <a:gd name="T77" fmla="*/ 2147483647 h 584"/>
                    <a:gd name="T78" fmla="*/ 2147483647 w 705"/>
                    <a:gd name="T79" fmla="*/ 2147483647 h 584"/>
                    <a:gd name="T80" fmla="*/ 2147483647 w 705"/>
                    <a:gd name="T81" fmla="*/ 2147483647 h 584"/>
                    <a:gd name="T82" fmla="*/ 2147483647 w 705"/>
                    <a:gd name="T83" fmla="*/ 2147483647 h 584"/>
                    <a:gd name="T84" fmla="*/ 2147483647 w 705"/>
                    <a:gd name="T85" fmla="*/ 2147483647 h 584"/>
                    <a:gd name="T86" fmla="*/ 2147483647 w 705"/>
                    <a:gd name="T87" fmla="*/ 2147483647 h 584"/>
                    <a:gd name="T88" fmla="*/ 2147483647 w 705"/>
                    <a:gd name="T89" fmla="*/ 2147483647 h 584"/>
                    <a:gd name="T90" fmla="*/ 2147483647 w 705"/>
                    <a:gd name="T91" fmla="*/ 2147483647 h 584"/>
                    <a:gd name="T92" fmla="*/ 2147483647 w 705"/>
                    <a:gd name="T93" fmla="*/ 2147483647 h 584"/>
                    <a:gd name="T94" fmla="*/ 2147483647 w 705"/>
                    <a:gd name="T95" fmla="*/ 2147483647 h 584"/>
                    <a:gd name="T96" fmla="*/ 2147483647 w 705"/>
                    <a:gd name="T97" fmla="*/ 2147483647 h 584"/>
                    <a:gd name="T98" fmla="*/ 2147483647 w 705"/>
                    <a:gd name="T99" fmla="*/ 2147483647 h 584"/>
                    <a:gd name="T100" fmla="*/ 2147483647 w 705"/>
                    <a:gd name="T101" fmla="*/ 2147483647 h 584"/>
                    <a:gd name="T102" fmla="*/ 2147483647 w 705"/>
                    <a:gd name="T103" fmla="*/ 2147483647 h 584"/>
                    <a:gd name="T104" fmla="*/ 2147483647 w 705"/>
                    <a:gd name="T105" fmla="*/ 2147483647 h 584"/>
                    <a:gd name="T106" fmla="*/ 2147483647 w 705"/>
                    <a:gd name="T107" fmla="*/ 2147483647 h 584"/>
                    <a:gd name="T108" fmla="*/ 2147483647 w 705"/>
                    <a:gd name="T109" fmla="*/ 2147483647 h 584"/>
                    <a:gd name="T110" fmla="*/ 2147483647 w 705"/>
                    <a:gd name="T111" fmla="*/ 2147483647 h 584"/>
                    <a:gd name="T112" fmla="*/ 2147483647 w 705"/>
                    <a:gd name="T113" fmla="*/ 2147483647 h 584"/>
                    <a:gd name="T114" fmla="*/ 2147483647 w 705"/>
                    <a:gd name="T115" fmla="*/ 2147483647 h 584"/>
                    <a:gd name="T116" fmla="*/ 2147483647 w 705"/>
                    <a:gd name="T117" fmla="*/ 2147483647 h 584"/>
                    <a:gd name="T118" fmla="*/ 2147483647 w 705"/>
                    <a:gd name="T119" fmla="*/ 2147483647 h 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5"/>
                    <a:gd name="T181" fmla="*/ 0 h 584"/>
                    <a:gd name="T182" fmla="*/ 705 w 705"/>
                    <a:gd name="T183" fmla="*/ 584 h 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5" h="584">
                      <a:moveTo>
                        <a:pt x="216" y="440"/>
                      </a:moveTo>
                      <a:lnTo>
                        <a:pt x="212" y="444"/>
                      </a:lnTo>
                      <a:lnTo>
                        <a:pt x="209" y="447"/>
                      </a:lnTo>
                      <a:lnTo>
                        <a:pt x="204" y="449"/>
                      </a:lnTo>
                      <a:lnTo>
                        <a:pt x="197" y="449"/>
                      </a:lnTo>
                      <a:lnTo>
                        <a:pt x="193" y="450"/>
                      </a:lnTo>
                      <a:lnTo>
                        <a:pt x="191" y="451"/>
                      </a:lnTo>
                      <a:lnTo>
                        <a:pt x="188" y="452"/>
                      </a:lnTo>
                      <a:lnTo>
                        <a:pt x="187" y="454"/>
                      </a:lnTo>
                      <a:lnTo>
                        <a:pt x="186" y="460"/>
                      </a:lnTo>
                      <a:lnTo>
                        <a:pt x="183" y="466"/>
                      </a:lnTo>
                      <a:lnTo>
                        <a:pt x="181" y="469"/>
                      </a:lnTo>
                      <a:lnTo>
                        <a:pt x="176" y="470"/>
                      </a:lnTo>
                      <a:lnTo>
                        <a:pt x="165" y="472"/>
                      </a:lnTo>
                      <a:lnTo>
                        <a:pt x="163" y="472"/>
                      </a:lnTo>
                      <a:lnTo>
                        <a:pt x="160" y="471"/>
                      </a:lnTo>
                      <a:lnTo>
                        <a:pt x="157" y="469"/>
                      </a:lnTo>
                      <a:lnTo>
                        <a:pt x="152" y="469"/>
                      </a:lnTo>
                      <a:lnTo>
                        <a:pt x="148" y="471"/>
                      </a:lnTo>
                      <a:lnTo>
                        <a:pt x="143" y="472"/>
                      </a:lnTo>
                      <a:lnTo>
                        <a:pt x="139" y="472"/>
                      </a:lnTo>
                      <a:lnTo>
                        <a:pt x="132" y="471"/>
                      </a:lnTo>
                      <a:lnTo>
                        <a:pt x="125" y="471"/>
                      </a:lnTo>
                      <a:lnTo>
                        <a:pt x="117" y="473"/>
                      </a:lnTo>
                      <a:lnTo>
                        <a:pt x="111" y="476"/>
                      </a:lnTo>
                      <a:lnTo>
                        <a:pt x="110" y="478"/>
                      </a:lnTo>
                      <a:lnTo>
                        <a:pt x="108" y="482"/>
                      </a:lnTo>
                      <a:lnTo>
                        <a:pt x="108" y="484"/>
                      </a:lnTo>
                      <a:lnTo>
                        <a:pt x="106" y="485"/>
                      </a:lnTo>
                      <a:lnTo>
                        <a:pt x="103" y="487"/>
                      </a:lnTo>
                      <a:lnTo>
                        <a:pt x="101" y="487"/>
                      </a:lnTo>
                      <a:lnTo>
                        <a:pt x="98" y="490"/>
                      </a:lnTo>
                      <a:lnTo>
                        <a:pt x="94" y="492"/>
                      </a:lnTo>
                      <a:lnTo>
                        <a:pt x="91" y="494"/>
                      </a:lnTo>
                      <a:lnTo>
                        <a:pt x="87" y="494"/>
                      </a:lnTo>
                      <a:lnTo>
                        <a:pt x="78" y="492"/>
                      </a:lnTo>
                      <a:lnTo>
                        <a:pt x="70" y="490"/>
                      </a:lnTo>
                      <a:lnTo>
                        <a:pt x="66" y="490"/>
                      </a:lnTo>
                      <a:lnTo>
                        <a:pt x="64" y="491"/>
                      </a:lnTo>
                      <a:lnTo>
                        <a:pt x="60" y="491"/>
                      </a:lnTo>
                      <a:lnTo>
                        <a:pt x="56" y="491"/>
                      </a:lnTo>
                      <a:lnTo>
                        <a:pt x="51" y="490"/>
                      </a:lnTo>
                      <a:lnTo>
                        <a:pt x="47" y="488"/>
                      </a:lnTo>
                      <a:lnTo>
                        <a:pt x="41" y="481"/>
                      </a:lnTo>
                      <a:lnTo>
                        <a:pt x="40" y="481"/>
                      </a:lnTo>
                      <a:lnTo>
                        <a:pt x="37" y="479"/>
                      </a:lnTo>
                      <a:lnTo>
                        <a:pt x="36" y="479"/>
                      </a:lnTo>
                      <a:lnTo>
                        <a:pt x="35" y="479"/>
                      </a:lnTo>
                      <a:lnTo>
                        <a:pt x="35" y="477"/>
                      </a:lnTo>
                      <a:lnTo>
                        <a:pt x="35" y="476"/>
                      </a:lnTo>
                      <a:lnTo>
                        <a:pt x="37" y="473"/>
                      </a:lnTo>
                      <a:lnTo>
                        <a:pt x="37" y="470"/>
                      </a:lnTo>
                      <a:lnTo>
                        <a:pt x="37" y="468"/>
                      </a:lnTo>
                      <a:lnTo>
                        <a:pt x="37" y="464"/>
                      </a:lnTo>
                      <a:lnTo>
                        <a:pt x="37" y="462"/>
                      </a:lnTo>
                      <a:lnTo>
                        <a:pt x="40" y="460"/>
                      </a:lnTo>
                      <a:lnTo>
                        <a:pt x="41" y="462"/>
                      </a:lnTo>
                      <a:lnTo>
                        <a:pt x="44" y="462"/>
                      </a:lnTo>
                      <a:lnTo>
                        <a:pt x="46" y="462"/>
                      </a:lnTo>
                      <a:lnTo>
                        <a:pt x="47" y="462"/>
                      </a:lnTo>
                      <a:lnTo>
                        <a:pt x="49" y="459"/>
                      </a:lnTo>
                      <a:lnTo>
                        <a:pt x="47" y="452"/>
                      </a:lnTo>
                      <a:lnTo>
                        <a:pt x="49" y="445"/>
                      </a:lnTo>
                      <a:lnTo>
                        <a:pt x="47" y="438"/>
                      </a:lnTo>
                      <a:lnTo>
                        <a:pt x="46" y="433"/>
                      </a:lnTo>
                      <a:lnTo>
                        <a:pt x="45" y="430"/>
                      </a:lnTo>
                      <a:lnTo>
                        <a:pt x="44" y="427"/>
                      </a:lnTo>
                      <a:lnTo>
                        <a:pt x="45" y="425"/>
                      </a:lnTo>
                      <a:lnTo>
                        <a:pt x="46" y="421"/>
                      </a:lnTo>
                      <a:lnTo>
                        <a:pt x="46" y="419"/>
                      </a:lnTo>
                      <a:lnTo>
                        <a:pt x="44" y="414"/>
                      </a:lnTo>
                      <a:lnTo>
                        <a:pt x="40" y="411"/>
                      </a:lnTo>
                      <a:lnTo>
                        <a:pt x="37" y="406"/>
                      </a:lnTo>
                      <a:lnTo>
                        <a:pt x="36" y="400"/>
                      </a:lnTo>
                      <a:lnTo>
                        <a:pt x="35" y="390"/>
                      </a:lnTo>
                      <a:lnTo>
                        <a:pt x="36" y="381"/>
                      </a:lnTo>
                      <a:lnTo>
                        <a:pt x="36" y="377"/>
                      </a:lnTo>
                      <a:lnTo>
                        <a:pt x="33" y="374"/>
                      </a:lnTo>
                      <a:lnTo>
                        <a:pt x="31" y="370"/>
                      </a:lnTo>
                      <a:lnTo>
                        <a:pt x="30" y="367"/>
                      </a:lnTo>
                      <a:lnTo>
                        <a:pt x="30" y="364"/>
                      </a:lnTo>
                      <a:lnTo>
                        <a:pt x="30" y="362"/>
                      </a:lnTo>
                      <a:lnTo>
                        <a:pt x="30" y="360"/>
                      </a:lnTo>
                      <a:lnTo>
                        <a:pt x="30" y="357"/>
                      </a:lnTo>
                      <a:lnTo>
                        <a:pt x="27" y="355"/>
                      </a:lnTo>
                      <a:lnTo>
                        <a:pt x="25" y="353"/>
                      </a:lnTo>
                      <a:lnTo>
                        <a:pt x="25" y="350"/>
                      </a:lnTo>
                      <a:lnTo>
                        <a:pt x="22" y="345"/>
                      </a:lnTo>
                      <a:lnTo>
                        <a:pt x="19" y="342"/>
                      </a:lnTo>
                      <a:lnTo>
                        <a:pt x="17" y="332"/>
                      </a:lnTo>
                      <a:lnTo>
                        <a:pt x="13" y="324"/>
                      </a:lnTo>
                      <a:lnTo>
                        <a:pt x="7" y="317"/>
                      </a:lnTo>
                      <a:lnTo>
                        <a:pt x="2" y="310"/>
                      </a:lnTo>
                      <a:lnTo>
                        <a:pt x="0" y="309"/>
                      </a:lnTo>
                      <a:lnTo>
                        <a:pt x="0" y="307"/>
                      </a:lnTo>
                      <a:lnTo>
                        <a:pt x="2" y="307"/>
                      </a:lnTo>
                      <a:lnTo>
                        <a:pt x="4" y="309"/>
                      </a:lnTo>
                      <a:lnTo>
                        <a:pt x="5" y="310"/>
                      </a:lnTo>
                      <a:lnTo>
                        <a:pt x="9" y="315"/>
                      </a:lnTo>
                      <a:lnTo>
                        <a:pt x="12" y="316"/>
                      </a:lnTo>
                      <a:lnTo>
                        <a:pt x="13" y="315"/>
                      </a:lnTo>
                      <a:lnTo>
                        <a:pt x="14" y="312"/>
                      </a:lnTo>
                      <a:lnTo>
                        <a:pt x="13" y="310"/>
                      </a:lnTo>
                      <a:lnTo>
                        <a:pt x="11" y="305"/>
                      </a:lnTo>
                      <a:lnTo>
                        <a:pt x="11" y="304"/>
                      </a:lnTo>
                      <a:lnTo>
                        <a:pt x="14" y="306"/>
                      </a:lnTo>
                      <a:lnTo>
                        <a:pt x="17" y="310"/>
                      </a:lnTo>
                      <a:lnTo>
                        <a:pt x="19" y="312"/>
                      </a:lnTo>
                      <a:lnTo>
                        <a:pt x="21" y="311"/>
                      </a:lnTo>
                      <a:lnTo>
                        <a:pt x="23" y="310"/>
                      </a:lnTo>
                      <a:lnTo>
                        <a:pt x="23" y="307"/>
                      </a:lnTo>
                      <a:lnTo>
                        <a:pt x="23" y="302"/>
                      </a:lnTo>
                      <a:lnTo>
                        <a:pt x="19" y="291"/>
                      </a:lnTo>
                      <a:lnTo>
                        <a:pt x="17" y="290"/>
                      </a:lnTo>
                      <a:lnTo>
                        <a:pt x="12" y="279"/>
                      </a:lnTo>
                      <a:lnTo>
                        <a:pt x="12" y="278"/>
                      </a:lnTo>
                      <a:lnTo>
                        <a:pt x="12" y="277"/>
                      </a:lnTo>
                      <a:lnTo>
                        <a:pt x="13" y="275"/>
                      </a:lnTo>
                      <a:lnTo>
                        <a:pt x="13" y="274"/>
                      </a:lnTo>
                      <a:lnTo>
                        <a:pt x="11" y="272"/>
                      </a:lnTo>
                      <a:lnTo>
                        <a:pt x="11" y="268"/>
                      </a:lnTo>
                      <a:lnTo>
                        <a:pt x="11" y="265"/>
                      </a:lnTo>
                      <a:lnTo>
                        <a:pt x="13" y="258"/>
                      </a:lnTo>
                      <a:lnTo>
                        <a:pt x="16" y="252"/>
                      </a:lnTo>
                      <a:lnTo>
                        <a:pt x="17" y="248"/>
                      </a:lnTo>
                      <a:lnTo>
                        <a:pt x="13" y="241"/>
                      </a:lnTo>
                      <a:lnTo>
                        <a:pt x="12" y="234"/>
                      </a:lnTo>
                      <a:lnTo>
                        <a:pt x="13" y="227"/>
                      </a:lnTo>
                      <a:lnTo>
                        <a:pt x="16" y="223"/>
                      </a:lnTo>
                      <a:lnTo>
                        <a:pt x="18" y="220"/>
                      </a:lnTo>
                      <a:lnTo>
                        <a:pt x="19" y="220"/>
                      </a:lnTo>
                      <a:lnTo>
                        <a:pt x="21" y="221"/>
                      </a:lnTo>
                      <a:lnTo>
                        <a:pt x="22" y="223"/>
                      </a:lnTo>
                      <a:lnTo>
                        <a:pt x="23" y="224"/>
                      </a:lnTo>
                      <a:lnTo>
                        <a:pt x="25" y="226"/>
                      </a:lnTo>
                      <a:lnTo>
                        <a:pt x="27" y="226"/>
                      </a:lnTo>
                      <a:lnTo>
                        <a:pt x="30" y="224"/>
                      </a:lnTo>
                      <a:lnTo>
                        <a:pt x="31" y="222"/>
                      </a:lnTo>
                      <a:lnTo>
                        <a:pt x="33" y="217"/>
                      </a:lnTo>
                      <a:lnTo>
                        <a:pt x="40" y="211"/>
                      </a:lnTo>
                      <a:lnTo>
                        <a:pt x="47" y="207"/>
                      </a:lnTo>
                      <a:lnTo>
                        <a:pt x="61" y="197"/>
                      </a:lnTo>
                      <a:lnTo>
                        <a:pt x="64" y="195"/>
                      </a:lnTo>
                      <a:lnTo>
                        <a:pt x="68" y="194"/>
                      </a:lnTo>
                      <a:lnTo>
                        <a:pt x="75" y="195"/>
                      </a:lnTo>
                      <a:lnTo>
                        <a:pt x="79" y="195"/>
                      </a:lnTo>
                      <a:lnTo>
                        <a:pt x="83" y="192"/>
                      </a:lnTo>
                      <a:lnTo>
                        <a:pt x="92" y="188"/>
                      </a:lnTo>
                      <a:lnTo>
                        <a:pt x="101" y="184"/>
                      </a:lnTo>
                      <a:lnTo>
                        <a:pt x="111" y="183"/>
                      </a:lnTo>
                      <a:lnTo>
                        <a:pt x="121" y="183"/>
                      </a:lnTo>
                      <a:lnTo>
                        <a:pt x="124" y="182"/>
                      </a:lnTo>
                      <a:lnTo>
                        <a:pt x="126" y="181"/>
                      </a:lnTo>
                      <a:lnTo>
                        <a:pt x="131" y="176"/>
                      </a:lnTo>
                      <a:lnTo>
                        <a:pt x="136" y="175"/>
                      </a:lnTo>
                      <a:lnTo>
                        <a:pt x="141" y="174"/>
                      </a:lnTo>
                      <a:lnTo>
                        <a:pt x="143" y="172"/>
                      </a:lnTo>
                      <a:lnTo>
                        <a:pt x="144" y="171"/>
                      </a:lnTo>
                      <a:lnTo>
                        <a:pt x="145" y="164"/>
                      </a:lnTo>
                      <a:lnTo>
                        <a:pt x="148" y="158"/>
                      </a:lnTo>
                      <a:lnTo>
                        <a:pt x="149" y="156"/>
                      </a:lnTo>
                      <a:lnTo>
                        <a:pt x="152" y="153"/>
                      </a:lnTo>
                      <a:lnTo>
                        <a:pt x="155" y="152"/>
                      </a:lnTo>
                      <a:lnTo>
                        <a:pt x="159" y="152"/>
                      </a:lnTo>
                      <a:lnTo>
                        <a:pt x="160" y="151"/>
                      </a:lnTo>
                      <a:lnTo>
                        <a:pt x="162" y="150"/>
                      </a:lnTo>
                      <a:lnTo>
                        <a:pt x="163" y="147"/>
                      </a:lnTo>
                      <a:lnTo>
                        <a:pt x="163" y="138"/>
                      </a:lnTo>
                      <a:lnTo>
                        <a:pt x="164" y="126"/>
                      </a:lnTo>
                      <a:lnTo>
                        <a:pt x="165" y="118"/>
                      </a:lnTo>
                      <a:lnTo>
                        <a:pt x="167" y="114"/>
                      </a:lnTo>
                      <a:lnTo>
                        <a:pt x="169" y="113"/>
                      </a:lnTo>
                      <a:lnTo>
                        <a:pt x="172" y="114"/>
                      </a:lnTo>
                      <a:lnTo>
                        <a:pt x="174" y="115"/>
                      </a:lnTo>
                      <a:lnTo>
                        <a:pt x="176" y="117"/>
                      </a:lnTo>
                      <a:lnTo>
                        <a:pt x="177" y="119"/>
                      </a:lnTo>
                      <a:lnTo>
                        <a:pt x="178" y="125"/>
                      </a:lnTo>
                      <a:lnTo>
                        <a:pt x="179" y="130"/>
                      </a:lnTo>
                      <a:lnTo>
                        <a:pt x="182" y="132"/>
                      </a:lnTo>
                      <a:lnTo>
                        <a:pt x="183" y="132"/>
                      </a:lnTo>
                      <a:lnTo>
                        <a:pt x="185" y="131"/>
                      </a:lnTo>
                      <a:lnTo>
                        <a:pt x="183" y="125"/>
                      </a:lnTo>
                      <a:lnTo>
                        <a:pt x="183" y="119"/>
                      </a:lnTo>
                      <a:lnTo>
                        <a:pt x="183" y="117"/>
                      </a:lnTo>
                      <a:lnTo>
                        <a:pt x="183" y="114"/>
                      </a:lnTo>
                      <a:lnTo>
                        <a:pt x="185" y="112"/>
                      </a:lnTo>
                      <a:lnTo>
                        <a:pt x="188" y="111"/>
                      </a:lnTo>
                      <a:lnTo>
                        <a:pt x="190" y="111"/>
                      </a:lnTo>
                      <a:lnTo>
                        <a:pt x="192" y="112"/>
                      </a:lnTo>
                      <a:lnTo>
                        <a:pt x="193" y="112"/>
                      </a:lnTo>
                      <a:lnTo>
                        <a:pt x="195" y="113"/>
                      </a:lnTo>
                      <a:lnTo>
                        <a:pt x="198" y="111"/>
                      </a:lnTo>
                      <a:lnTo>
                        <a:pt x="200" y="107"/>
                      </a:lnTo>
                      <a:lnTo>
                        <a:pt x="201" y="102"/>
                      </a:lnTo>
                      <a:lnTo>
                        <a:pt x="201" y="99"/>
                      </a:lnTo>
                      <a:lnTo>
                        <a:pt x="198" y="98"/>
                      </a:lnTo>
                      <a:lnTo>
                        <a:pt x="196" y="96"/>
                      </a:lnTo>
                      <a:lnTo>
                        <a:pt x="195" y="95"/>
                      </a:lnTo>
                      <a:lnTo>
                        <a:pt x="196" y="94"/>
                      </a:lnTo>
                      <a:lnTo>
                        <a:pt x="197" y="93"/>
                      </a:lnTo>
                      <a:lnTo>
                        <a:pt x="201" y="92"/>
                      </a:lnTo>
                      <a:lnTo>
                        <a:pt x="206" y="92"/>
                      </a:lnTo>
                      <a:lnTo>
                        <a:pt x="210" y="91"/>
                      </a:lnTo>
                      <a:lnTo>
                        <a:pt x="211" y="89"/>
                      </a:lnTo>
                      <a:lnTo>
                        <a:pt x="212" y="87"/>
                      </a:lnTo>
                      <a:lnTo>
                        <a:pt x="212" y="83"/>
                      </a:lnTo>
                      <a:lnTo>
                        <a:pt x="212" y="79"/>
                      </a:lnTo>
                      <a:lnTo>
                        <a:pt x="212" y="75"/>
                      </a:lnTo>
                      <a:lnTo>
                        <a:pt x="215" y="74"/>
                      </a:lnTo>
                      <a:lnTo>
                        <a:pt x="218" y="73"/>
                      </a:lnTo>
                      <a:lnTo>
                        <a:pt x="219" y="74"/>
                      </a:lnTo>
                      <a:lnTo>
                        <a:pt x="220" y="75"/>
                      </a:lnTo>
                      <a:lnTo>
                        <a:pt x="221" y="77"/>
                      </a:lnTo>
                      <a:lnTo>
                        <a:pt x="223" y="77"/>
                      </a:lnTo>
                      <a:lnTo>
                        <a:pt x="225" y="76"/>
                      </a:lnTo>
                      <a:lnTo>
                        <a:pt x="226" y="74"/>
                      </a:lnTo>
                      <a:lnTo>
                        <a:pt x="228" y="69"/>
                      </a:lnTo>
                      <a:lnTo>
                        <a:pt x="228" y="64"/>
                      </a:lnTo>
                      <a:lnTo>
                        <a:pt x="226" y="59"/>
                      </a:lnTo>
                      <a:lnTo>
                        <a:pt x="228" y="59"/>
                      </a:lnTo>
                      <a:lnTo>
                        <a:pt x="229" y="59"/>
                      </a:lnTo>
                      <a:lnTo>
                        <a:pt x="230" y="60"/>
                      </a:lnTo>
                      <a:lnTo>
                        <a:pt x="230" y="62"/>
                      </a:lnTo>
                      <a:lnTo>
                        <a:pt x="232" y="63"/>
                      </a:lnTo>
                      <a:lnTo>
                        <a:pt x="233" y="64"/>
                      </a:lnTo>
                      <a:lnTo>
                        <a:pt x="234" y="64"/>
                      </a:lnTo>
                      <a:lnTo>
                        <a:pt x="237" y="63"/>
                      </a:lnTo>
                      <a:lnTo>
                        <a:pt x="238" y="63"/>
                      </a:lnTo>
                      <a:lnTo>
                        <a:pt x="239" y="63"/>
                      </a:lnTo>
                      <a:lnTo>
                        <a:pt x="245" y="66"/>
                      </a:lnTo>
                      <a:lnTo>
                        <a:pt x="252" y="66"/>
                      </a:lnTo>
                      <a:lnTo>
                        <a:pt x="252" y="67"/>
                      </a:lnTo>
                      <a:lnTo>
                        <a:pt x="253" y="67"/>
                      </a:lnTo>
                      <a:lnTo>
                        <a:pt x="253" y="72"/>
                      </a:lnTo>
                      <a:lnTo>
                        <a:pt x="256" y="75"/>
                      </a:lnTo>
                      <a:lnTo>
                        <a:pt x="258" y="79"/>
                      </a:lnTo>
                      <a:lnTo>
                        <a:pt x="261" y="82"/>
                      </a:lnTo>
                      <a:lnTo>
                        <a:pt x="261" y="85"/>
                      </a:lnTo>
                      <a:lnTo>
                        <a:pt x="261" y="87"/>
                      </a:lnTo>
                      <a:lnTo>
                        <a:pt x="257" y="92"/>
                      </a:lnTo>
                      <a:lnTo>
                        <a:pt x="256" y="94"/>
                      </a:lnTo>
                      <a:lnTo>
                        <a:pt x="256" y="96"/>
                      </a:lnTo>
                      <a:lnTo>
                        <a:pt x="257" y="98"/>
                      </a:lnTo>
                      <a:lnTo>
                        <a:pt x="258" y="98"/>
                      </a:lnTo>
                      <a:lnTo>
                        <a:pt x="263" y="93"/>
                      </a:lnTo>
                      <a:lnTo>
                        <a:pt x="267" y="88"/>
                      </a:lnTo>
                      <a:lnTo>
                        <a:pt x="270" y="83"/>
                      </a:lnTo>
                      <a:lnTo>
                        <a:pt x="273" y="79"/>
                      </a:lnTo>
                      <a:lnTo>
                        <a:pt x="275" y="77"/>
                      </a:lnTo>
                      <a:lnTo>
                        <a:pt x="277" y="77"/>
                      </a:lnTo>
                      <a:lnTo>
                        <a:pt x="280" y="79"/>
                      </a:lnTo>
                      <a:lnTo>
                        <a:pt x="285" y="80"/>
                      </a:lnTo>
                      <a:lnTo>
                        <a:pt x="289" y="81"/>
                      </a:lnTo>
                      <a:lnTo>
                        <a:pt x="289" y="79"/>
                      </a:lnTo>
                      <a:lnTo>
                        <a:pt x="289" y="77"/>
                      </a:lnTo>
                      <a:lnTo>
                        <a:pt x="286" y="74"/>
                      </a:lnTo>
                      <a:lnTo>
                        <a:pt x="285" y="70"/>
                      </a:lnTo>
                      <a:lnTo>
                        <a:pt x="286" y="67"/>
                      </a:lnTo>
                      <a:lnTo>
                        <a:pt x="286" y="64"/>
                      </a:lnTo>
                      <a:lnTo>
                        <a:pt x="290" y="59"/>
                      </a:lnTo>
                      <a:lnTo>
                        <a:pt x="296" y="54"/>
                      </a:lnTo>
                      <a:lnTo>
                        <a:pt x="299" y="51"/>
                      </a:lnTo>
                      <a:lnTo>
                        <a:pt x="299" y="48"/>
                      </a:lnTo>
                      <a:lnTo>
                        <a:pt x="298" y="43"/>
                      </a:lnTo>
                      <a:lnTo>
                        <a:pt x="298" y="40"/>
                      </a:lnTo>
                      <a:lnTo>
                        <a:pt x="300" y="38"/>
                      </a:lnTo>
                      <a:lnTo>
                        <a:pt x="305" y="35"/>
                      </a:lnTo>
                      <a:lnTo>
                        <a:pt x="310" y="31"/>
                      </a:lnTo>
                      <a:lnTo>
                        <a:pt x="317" y="29"/>
                      </a:lnTo>
                      <a:lnTo>
                        <a:pt x="322" y="28"/>
                      </a:lnTo>
                      <a:lnTo>
                        <a:pt x="328" y="28"/>
                      </a:lnTo>
                      <a:lnTo>
                        <a:pt x="332" y="28"/>
                      </a:lnTo>
                      <a:lnTo>
                        <a:pt x="336" y="25"/>
                      </a:lnTo>
                      <a:lnTo>
                        <a:pt x="338" y="22"/>
                      </a:lnTo>
                      <a:lnTo>
                        <a:pt x="338" y="18"/>
                      </a:lnTo>
                      <a:lnTo>
                        <a:pt x="336" y="16"/>
                      </a:lnTo>
                      <a:lnTo>
                        <a:pt x="333" y="13"/>
                      </a:lnTo>
                      <a:lnTo>
                        <a:pt x="333" y="11"/>
                      </a:lnTo>
                      <a:lnTo>
                        <a:pt x="336" y="10"/>
                      </a:lnTo>
                      <a:lnTo>
                        <a:pt x="338" y="10"/>
                      </a:lnTo>
                      <a:lnTo>
                        <a:pt x="341" y="11"/>
                      </a:lnTo>
                      <a:lnTo>
                        <a:pt x="348" y="16"/>
                      </a:lnTo>
                      <a:lnTo>
                        <a:pt x="356" y="18"/>
                      </a:lnTo>
                      <a:lnTo>
                        <a:pt x="372" y="22"/>
                      </a:lnTo>
                      <a:lnTo>
                        <a:pt x="398" y="27"/>
                      </a:lnTo>
                      <a:lnTo>
                        <a:pt x="399" y="29"/>
                      </a:lnTo>
                      <a:lnTo>
                        <a:pt x="400" y="29"/>
                      </a:lnTo>
                      <a:lnTo>
                        <a:pt x="402" y="29"/>
                      </a:lnTo>
                      <a:lnTo>
                        <a:pt x="404" y="28"/>
                      </a:lnTo>
                      <a:lnTo>
                        <a:pt x="405" y="27"/>
                      </a:lnTo>
                      <a:lnTo>
                        <a:pt x="407" y="24"/>
                      </a:lnTo>
                      <a:lnTo>
                        <a:pt x="408" y="23"/>
                      </a:lnTo>
                      <a:lnTo>
                        <a:pt x="411" y="23"/>
                      </a:lnTo>
                      <a:lnTo>
                        <a:pt x="413" y="24"/>
                      </a:lnTo>
                      <a:lnTo>
                        <a:pt x="413" y="27"/>
                      </a:lnTo>
                      <a:lnTo>
                        <a:pt x="413" y="29"/>
                      </a:lnTo>
                      <a:lnTo>
                        <a:pt x="411" y="35"/>
                      </a:lnTo>
                      <a:lnTo>
                        <a:pt x="409" y="41"/>
                      </a:lnTo>
                      <a:lnTo>
                        <a:pt x="408" y="42"/>
                      </a:lnTo>
                      <a:lnTo>
                        <a:pt x="407" y="43"/>
                      </a:lnTo>
                      <a:lnTo>
                        <a:pt x="402" y="43"/>
                      </a:lnTo>
                      <a:lnTo>
                        <a:pt x="402" y="44"/>
                      </a:lnTo>
                      <a:lnTo>
                        <a:pt x="402" y="45"/>
                      </a:lnTo>
                      <a:lnTo>
                        <a:pt x="405" y="49"/>
                      </a:lnTo>
                      <a:lnTo>
                        <a:pt x="407" y="50"/>
                      </a:lnTo>
                      <a:lnTo>
                        <a:pt x="405" y="54"/>
                      </a:lnTo>
                      <a:lnTo>
                        <a:pt x="402" y="56"/>
                      </a:lnTo>
                      <a:lnTo>
                        <a:pt x="399" y="57"/>
                      </a:lnTo>
                      <a:lnTo>
                        <a:pt x="399" y="60"/>
                      </a:lnTo>
                      <a:lnTo>
                        <a:pt x="398" y="64"/>
                      </a:lnTo>
                      <a:lnTo>
                        <a:pt x="397" y="69"/>
                      </a:lnTo>
                      <a:lnTo>
                        <a:pt x="395" y="74"/>
                      </a:lnTo>
                      <a:lnTo>
                        <a:pt x="395" y="79"/>
                      </a:lnTo>
                      <a:lnTo>
                        <a:pt x="398" y="85"/>
                      </a:lnTo>
                      <a:lnTo>
                        <a:pt x="400" y="89"/>
                      </a:lnTo>
                      <a:lnTo>
                        <a:pt x="405" y="93"/>
                      </a:lnTo>
                      <a:lnTo>
                        <a:pt x="408" y="94"/>
                      </a:lnTo>
                      <a:lnTo>
                        <a:pt x="411" y="94"/>
                      </a:lnTo>
                      <a:lnTo>
                        <a:pt x="413" y="93"/>
                      </a:lnTo>
                      <a:lnTo>
                        <a:pt x="416" y="92"/>
                      </a:lnTo>
                      <a:lnTo>
                        <a:pt x="417" y="93"/>
                      </a:lnTo>
                      <a:lnTo>
                        <a:pt x="418" y="93"/>
                      </a:lnTo>
                      <a:lnTo>
                        <a:pt x="422" y="100"/>
                      </a:lnTo>
                      <a:lnTo>
                        <a:pt x="427" y="106"/>
                      </a:lnTo>
                      <a:lnTo>
                        <a:pt x="433" y="111"/>
                      </a:lnTo>
                      <a:lnTo>
                        <a:pt x="440" y="114"/>
                      </a:lnTo>
                      <a:lnTo>
                        <a:pt x="445" y="115"/>
                      </a:lnTo>
                      <a:lnTo>
                        <a:pt x="446" y="117"/>
                      </a:lnTo>
                      <a:lnTo>
                        <a:pt x="447" y="118"/>
                      </a:lnTo>
                      <a:lnTo>
                        <a:pt x="449" y="121"/>
                      </a:lnTo>
                      <a:lnTo>
                        <a:pt x="450" y="123"/>
                      </a:lnTo>
                      <a:lnTo>
                        <a:pt x="455" y="124"/>
                      </a:lnTo>
                      <a:lnTo>
                        <a:pt x="458" y="125"/>
                      </a:lnTo>
                      <a:lnTo>
                        <a:pt x="463" y="130"/>
                      </a:lnTo>
                      <a:lnTo>
                        <a:pt x="466" y="134"/>
                      </a:lnTo>
                      <a:lnTo>
                        <a:pt x="469" y="137"/>
                      </a:lnTo>
                      <a:lnTo>
                        <a:pt x="472" y="138"/>
                      </a:lnTo>
                      <a:lnTo>
                        <a:pt x="474" y="138"/>
                      </a:lnTo>
                      <a:lnTo>
                        <a:pt x="475" y="138"/>
                      </a:lnTo>
                      <a:lnTo>
                        <a:pt x="479" y="134"/>
                      </a:lnTo>
                      <a:lnTo>
                        <a:pt x="484" y="124"/>
                      </a:lnTo>
                      <a:lnTo>
                        <a:pt x="496" y="93"/>
                      </a:lnTo>
                      <a:lnTo>
                        <a:pt x="496" y="87"/>
                      </a:lnTo>
                      <a:lnTo>
                        <a:pt x="496" y="81"/>
                      </a:lnTo>
                      <a:lnTo>
                        <a:pt x="493" y="76"/>
                      </a:lnTo>
                      <a:lnTo>
                        <a:pt x="493" y="73"/>
                      </a:lnTo>
                      <a:lnTo>
                        <a:pt x="493" y="70"/>
                      </a:lnTo>
                      <a:lnTo>
                        <a:pt x="496" y="64"/>
                      </a:lnTo>
                      <a:lnTo>
                        <a:pt x="496" y="62"/>
                      </a:lnTo>
                      <a:lnTo>
                        <a:pt x="496" y="59"/>
                      </a:lnTo>
                      <a:lnTo>
                        <a:pt x="496" y="54"/>
                      </a:lnTo>
                      <a:lnTo>
                        <a:pt x="496" y="49"/>
                      </a:lnTo>
                      <a:lnTo>
                        <a:pt x="497" y="38"/>
                      </a:lnTo>
                      <a:lnTo>
                        <a:pt x="497" y="28"/>
                      </a:lnTo>
                      <a:lnTo>
                        <a:pt x="498" y="24"/>
                      </a:lnTo>
                      <a:lnTo>
                        <a:pt x="501" y="22"/>
                      </a:lnTo>
                      <a:lnTo>
                        <a:pt x="505" y="19"/>
                      </a:lnTo>
                      <a:lnTo>
                        <a:pt x="506" y="19"/>
                      </a:lnTo>
                      <a:lnTo>
                        <a:pt x="507" y="18"/>
                      </a:lnTo>
                      <a:lnTo>
                        <a:pt x="507" y="12"/>
                      </a:lnTo>
                      <a:lnTo>
                        <a:pt x="506" y="5"/>
                      </a:lnTo>
                      <a:lnTo>
                        <a:pt x="506" y="3"/>
                      </a:lnTo>
                      <a:lnTo>
                        <a:pt x="507" y="0"/>
                      </a:lnTo>
                      <a:lnTo>
                        <a:pt x="508" y="0"/>
                      </a:lnTo>
                      <a:lnTo>
                        <a:pt x="511" y="0"/>
                      </a:lnTo>
                      <a:lnTo>
                        <a:pt x="515" y="3"/>
                      </a:lnTo>
                      <a:lnTo>
                        <a:pt x="516" y="5"/>
                      </a:lnTo>
                      <a:lnTo>
                        <a:pt x="518" y="12"/>
                      </a:lnTo>
                      <a:lnTo>
                        <a:pt x="520" y="22"/>
                      </a:lnTo>
                      <a:lnTo>
                        <a:pt x="522" y="29"/>
                      </a:lnTo>
                      <a:lnTo>
                        <a:pt x="527" y="38"/>
                      </a:lnTo>
                      <a:lnTo>
                        <a:pt x="529" y="43"/>
                      </a:lnTo>
                      <a:lnTo>
                        <a:pt x="530" y="49"/>
                      </a:lnTo>
                      <a:lnTo>
                        <a:pt x="531" y="55"/>
                      </a:lnTo>
                      <a:lnTo>
                        <a:pt x="531" y="61"/>
                      </a:lnTo>
                      <a:lnTo>
                        <a:pt x="532" y="66"/>
                      </a:lnTo>
                      <a:lnTo>
                        <a:pt x="535" y="72"/>
                      </a:lnTo>
                      <a:lnTo>
                        <a:pt x="536" y="72"/>
                      </a:lnTo>
                      <a:lnTo>
                        <a:pt x="538" y="73"/>
                      </a:lnTo>
                      <a:lnTo>
                        <a:pt x="541" y="72"/>
                      </a:lnTo>
                      <a:lnTo>
                        <a:pt x="544" y="69"/>
                      </a:lnTo>
                      <a:lnTo>
                        <a:pt x="546" y="69"/>
                      </a:lnTo>
                      <a:lnTo>
                        <a:pt x="550" y="70"/>
                      </a:lnTo>
                      <a:lnTo>
                        <a:pt x="553" y="74"/>
                      </a:lnTo>
                      <a:lnTo>
                        <a:pt x="557" y="83"/>
                      </a:lnTo>
                      <a:lnTo>
                        <a:pt x="567" y="106"/>
                      </a:lnTo>
                      <a:lnTo>
                        <a:pt x="577" y="128"/>
                      </a:lnTo>
                      <a:lnTo>
                        <a:pt x="578" y="132"/>
                      </a:lnTo>
                      <a:lnTo>
                        <a:pt x="578" y="136"/>
                      </a:lnTo>
                      <a:lnTo>
                        <a:pt x="576" y="143"/>
                      </a:lnTo>
                      <a:lnTo>
                        <a:pt x="576" y="149"/>
                      </a:lnTo>
                      <a:lnTo>
                        <a:pt x="577" y="155"/>
                      </a:lnTo>
                      <a:lnTo>
                        <a:pt x="581" y="160"/>
                      </a:lnTo>
                      <a:lnTo>
                        <a:pt x="585" y="165"/>
                      </a:lnTo>
                      <a:lnTo>
                        <a:pt x="590" y="170"/>
                      </a:lnTo>
                      <a:lnTo>
                        <a:pt x="596" y="174"/>
                      </a:lnTo>
                      <a:lnTo>
                        <a:pt x="602" y="175"/>
                      </a:lnTo>
                      <a:lnTo>
                        <a:pt x="610" y="177"/>
                      </a:lnTo>
                      <a:lnTo>
                        <a:pt x="612" y="178"/>
                      </a:lnTo>
                      <a:lnTo>
                        <a:pt x="616" y="181"/>
                      </a:lnTo>
                      <a:lnTo>
                        <a:pt x="619" y="184"/>
                      </a:lnTo>
                      <a:lnTo>
                        <a:pt x="620" y="188"/>
                      </a:lnTo>
                      <a:lnTo>
                        <a:pt x="620" y="196"/>
                      </a:lnTo>
                      <a:lnTo>
                        <a:pt x="621" y="197"/>
                      </a:lnTo>
                      <a:lnTo>
                        <a:pt x="621" y="198"/>
                      </a:lnTo>
                      <a:lnTo>
                        <a:pt x="625" y="201"/>
                      </a:lnTo>
                      <a:lnTo>
                        <a:pt x="629" y="204"/>
                      </a:lnTo>
                      <a:lnTo>
                        <a:pt x="633" y="211"/>
                      </a:lnTo>
                      <a:lnTo>
                        <a:pt x="638" y="217"/>
                      </a:lnTo>
                      <a:lnTo>
                        <a:pt x="639" y="221"/>
                      </a:lnTo>
                      <a:lnTo>
                        <a:pt x="642" y="222"/>
                      </a:lnTo>
                      <a:lnTo>
                        <a:pt x="649" y="228"/>
                      </a:lnTo>
                      <a:lnTo>
                        <a:pt x="654" y="234"/>
                      </a:lnTo>
                      <a:lnTo>
                        <a:pt x="656" y="241"/>
                      </a:lnTo>
                      <a:lnTo>
                        <a:pt x="656" y="249"/>
                      </a:lnTo>
                      <a:lnTo>
                        <a:pt x="657" y="254"/>
                      </a:lnTo>
                      <a:lnTo>
                        <a:pt x="659" y="259"/>
                      </a:lnTo>
                      <a:lnTo>
                        <a:pt x="663" y="262"/>
                      </a:lnTo>
                      <a:lnTo>
                        <a:pt x="668" y="266"/>
                      </a:lnTo>
                      <a:lnTo>
                        <a:pt x="670" y="266"/>
                      </a:lnTo>
                      <a:lnTo>
                        <a:pt x="670" y="267"/>
                      </a:lnTo>
                      <a:lnTo>
                        <a:pt x="671" y="268"/>
                      </a:lnTo>
                      <a:lnTo>
                        <a:pt x="676" y="270"/>
                      </a:lnTo>
                      <a:lnTo>
                        <a:pt x="681" y="273"/>
                      </a:lnTo>
                      <a:lnTo>
                        <a:pt x="684" y="277"/>
                      </a:lnTo>
                      <a:lnTo>
                        <a:pt x="686" y="281"/>
                      </a:lnTo>
                      <a:lnTo>
                        <a:pt x="695" y="302"/>
                      </a:lnTo>
                      <a:lnTo>
                        <a:pt x="696" y="309"/>
                      </a:lnTo>
                      <a:lnTo>
                        <a:pt x="698" y="313"/>
                      </a:lnTo>
                      <a:lnTo>
                        <a:pt x="700" y="316"/>
                      </a:lnTo>
                      <a:lnTo>
                        <a:pt x="701" y="319"/>
                      </a:lnTo>
                      <a:lnTo>
                        <a:pt x="703" y="322"/>
                      </a:lnTo>
                      <a:lnTo>
                        <a:pt x="705" y="364"/>
                      </a:lnTo>
                      <a:lnTo>
                        <a:pt x="704" y="376"/>
                      </a:lnTo>
                      <a:lnTo>
                        <a:pt x="701" y="388"/>
                      </a:lnTo>
                      <a:lnTo>
                        <a:pt x="694" y="413"/>
                      </a:lnTo>
                      <a:lnTo>
                        <a:pt x="690" y="421"/>
                      </a:lnTo>
                      <a:lnTo>
                        <a:pt x="684" y="432"/>
                      </a:lnTo>
                      <a:lnTo>
                        <a:pt x="671" y="449"/>
                      </a:lnTo>
                      <a:lnTo>
                        <a:pt x="668" y="453"/>
                      </a:lnTo>
                      <a:lnTo>
                        <a:pt x="666" y="457"/>
                      </a:lnTo>
                      <a:lnTo>
                        <a:pt x="665" y="460"/>
                      </a:lnTo>
                      <a:lnTo>
                        <a:pt x="665" y="463"/>
                      </a:lnTo>
                      <a:lnTo>
                        <a:pt x="657" y="476"/>
                      </a:lnTo>
                      <a:lnTo>
                        <a:pt x="652" y="490"/>
                      </a:lnTo>
                      <a:lnTo>
                        <a:pt x="651" y="492"/>
                      </a:lnTo>
                      <a:lnTo>
                        <a:pt x="647" y="495"/>
                      </a:lnTo>
                      <a:lnTo>
                        <a:pt x="645" y="496"/>
                      </a:lnTo>
                      <a:lnTo>
                        <a:pt x="645" y="497"/>
                      </a:lnTo>
                      <a:lnTo>
                        <a:pt x="649" y="503"/>
                      </a:lnTo>
                      <a:lnTo>
                        <a:pt x="649" y="507"/>
                      </a:lnTo>
                      <a:lnTo>
                        <a:pt x="648" y="509"/>
                      </a:lnTo>
                      <a:lnTo>
                        <a:pt x="645" y="520"/>
                      </a:lnTo>
                      <a:lnTo>
                        <a:pt x="644" y="524"/>
                      </a:lnTo>
                      <a:lnTo>
                        <a:pt x="645" y="530"/>
                      </a:lnTo>
                      <a:lnTo>
                        <a:pt x="647" y="534"/>
                      </a:lnTo>
                      <a:lnTo>
                        <a:pt x="647" y="536"/>
                      </a:lnTo>
                      <a:lnTo>
                        <a:pt x="645" y="537"/>
                      </a:lnTo>
                      <a:lnTo>
                        <a:pt x="643" y="542"/>
                      </a:lnTo>
                      <a:lnTo>
                        <a:pt x="640" y="547"/>
                      </a:lnTo>
                      <a:lnTo>
                        <a:pt x="638" y="551"/>
                      </a:lnTo>
                      <a:lnTo>
                        <a:pt x="634" y="554"/>
                      </a:lnTo>
                      <a:lnTo>
                        <a:pt x="629" y="556"/>
                      </a:lnTo>
                      <a:lnTo>
                        <a:pt x="623" y="558"/>
                      </a:lnTo>
                      <a:lnTo>
                        <a:pt x="610" y="558"/>
                      </a:lnTo>
                      <a:lnTo>
                        <a:pt x="610" y="559"/>
                      </a:lnTo>
                      <a:lnTo>
                        <a:pt x="604" y="560"/>
                      </a:lnTo>
                      <a:lnTo>
                        <a:pt x="598" y="562"/>
                      </a:lnTo>
                      <a:lnTo>
                        <a:pt x="593" y="567"/>
                      </a:lnTo>
                      <a:lnTo>
                        <a:pt x="590" y="571"/>
                      </a:lnTo>
                      <a:lnTo>
                        <a:pt x="587" y="572"/>
                      </a:lnTo>
                      <a:lnTo>
                        <a:pt x="583" y="573"/>
                      </a:lnTo>
                      <a:lnTo>
                        <a:pt x="579" y="573"/>
                      </a:lnTo>
                      <a:lnTo>
                        <a:pt x="577" y="575"/>
                      </a:lnTo>
                      <a:lnTo>
                        <a:pt x="577" y="577"/>
                      </a:lnTo>
                      <a:lnTo>
                        <a:pt x="578" y="579"/>
                      </a:lnTo>
                      <a:lnTo>
                        <a:pt x="579" y="581"/>
                      </a:lnTo>
                      <a:lnTo>
                        <a:pt x="579" y="583"/>
                      </a:lnTo>
                      <a:lnTo>
                        <a:pt x="578" y="584"/>
                      </a:lnTo>
                      <a:lnTo>
                        <a:pt x="577" y="583"/>
                      </a:lnTo>
                      <a:lnTo>
                        <a:pt x="576" y="580"/>
                      </a:lnTo>
                      <a:lnTo>
                        <a:pt x="571" y="577"/>
                      </a:lnTo>
                      <a:lnTo>
                        <a:pt x="567" y="572"/>
                      </a:lnTo>
                      <a:lnTo>
                        <a:pt x="563" y="571"/>
                      </a:lnTo>
                      <a:lnTo>
                        <a:pt x="557" y="571"/>
                      </a:lnTo>
                      <a:lnTo>
                        <a:pt x="562" y="567"/>
                      </a:lnTo>
                      <a:lnTo>
                        <a:pt x="563" y="565"/>
                      </a:lnTo>
                      <a:lnTo>
                        <a:pt x="564" y="562"/>
                      </a:lnTo>
                      <a:lnTo>
                        <a:pt x="563" y="559"/>
                      </a:lnTo>
                      <a:lnTo>
                        <a:pt x="560" y="556"/>
                      </a:lnTo>
                      <a:lnTo>
                        <a:pt x="557" y="555"/>
                      </a:lnTo>
                      <a:lnTo>
                        <a:pt x="553" y="554"/>
                      </a:lnTo>
                      <a:lnTo>
                        <a:pt x="552" y="555"/>
                      </a:lnTo>
                      <a:lnTo>
                        <a:pt x="550" y="558"/>
                      </a:lnTo>
                      <a:lnTo>
                        <a:pt x="549" y="560"/>
                      </a:lnTo>
                      <a:lnTo>
                        <a:pt x="550" y="562"/>
                      </a:lnTo>
                      <a:lnTo>
                        <a:pt x="552" y="565"/>
                      </a:lnTo>
                      <a:lnTo>
                        <a:pt x="552" y="566"/>
                      </a:lnTo>
                      <a:lnTo>
                        <a:pt x="552" y="567"/>
                      </a:lnTo>
                      <a:lnTo>
                        <a:pt x="550" y="567"/>
                      </a:lnTo>
                      <a:lnTo>
                        <a:pt x="549" y="567"/>
                      </a:lnTo>
                      <a:lnTo>
                        <a:pt x="546" y="566"/>
                      </a:lnTo>
                      <a:lnTo>
                        <a:pt x="540" y="567"/>
                      </a:lnTo>
                      <a:lnTo>
                        <a:pt x="535" y="568"/>
                      </a:lnTo>
                      <a:lnTo>
                        <a:pt x="531" y="569"/>
                      </a:lnTo>
                      <a:lnTo>
                        <a:pt x="529" y="572"/>
                      </a:lnTo>
                      <a:lnTo>
                        <a:pt x="525" y="573"/>
                      </a:lnTo>
                      <a:lnTo>
                        <a:pt x="522" y="573"/>
                      </a:lnTo>
                      <a:lnTo>
                        <a:pt x="520" y="573"/>
                      </a:lnTo>
                      <a:lnTo>
                        <a:pt x="515" y="569"/>
                      </a:lnTo>
                      <a:lnTo>
                        <a:pt x="508" y="566"/>
                      </a:lnTo>
                      <a:lnTo>
                        <a:pt x="506" y="566"/>
                      </a:lnTo>
                      <a:lnTo>
                        <a:pt x="503" y="565"/>
                      </a:lnTo>
                      <a:lnTo>
                        <a:pt x="501" y="566"/>
                      </a:lnTo>
                      <a:lnTo>
                        <a:pt x="497" y="568"/>
                      </a:lnTo>
                      <a:lnTo>
                        <a:pt x="496" y="568"/>
                      </a:lnTo>
                      <a:lnTo>
                        <a:pt x="494" y="568"/>
                      </a:lnTo>
                      <a:lnTo>
                        <a:pt x="492" y="567"/>
                      </a:lnTo>
                      <a:lnTo>
                        <a:pt x="491" y="566"/>
                      </a:lnTo>
                      <a:lnTo>
                        <a:pt x="489" y="564"/>
                      </a:lnTo>
                      <a:lnTo>
                        <a:pt x="488" y="564"/>
                      </a:lnTo>
                      <a:lnTo>
                        <a:pt x="483" y="562"/>
                      </a:lnTo>
                      <a:lnTo>
                        <a:pt x="480" y="562"/>
                      </a:lnTo>
                      <a:lnTo>
                        <a:pt x="479" y="560"/>
                      </a:lnTo>
                      <a:lnTo>
                        <a:pt x="469" y="543"/>
                      </a:lnTo>
                      <a:lnTo>
                        <a:pt x="466" y="534"/>
                      </a:lnTo>
                      <a:lnTo>
                        <a:pt x="465" y="529"/>
                      </a:lnTo>
                      <a:lnTo>
                        <a:pt x="465" y="524"/>
                      </a:lnTo>
                      <a:lnTo>
                        <a:pt x="465" y="521"/>
                      </a:lnTo>
                      <a:lnTo>
                        <a:pt x="463" y="517"/>
                      </a:lnTo>
                      <a:lnTo>
                        <a:pt x="458" y="509"/>
                      </a:lnTo>
                      <a:lnTo>
                        <a:pt x="450" y="503"/>
                      </a:lnTo>
                      <a:lnTo>
                        <a:pt x="441" y="498"/>
                      </a:lnTo>
                      <a:lnTo>
                        <a:pt x="441" y="497"/>
                      </a:lnTo>
                      <a:lnTo>
                        <a:pt x="441" y="496"/>
                      </a:lnTo>
                      <a:lnTo>
                        <a:pt x="442" y="492"/>
                      </a:lnTo>
                      <a:lnTo>
                        <a:pt x="444" y="488"/>
                      </a:lnTo>
                      <a:lnTo>
                        <a:pt x="444" y="485"/>
                      </a:lnTo>
                      <a:lnTo>
                        <a:pt x="442" y="483"/>
                      </a:lnTo>
                      <a:lnTo>
                        <a:pt x="438" y="478"/>
                      </a:lnTo>
                      <a:lnTo>
                        <a:pt x="437" y="476"/>
                      </a:lnTo>
                      <a:lnTo>
                        <a:pt x="435" y="476"/>
                      </a:lnTo>
                      <a:lnTo>
                        <a:pt x="433" y="478"/>
                      </a:lnTo>
                      <a:lnTo>
                        <a:pt x="432" y="479"/>
                      </a:lnTo>
                      <a:lnTo>
                        <a:pt x="431" y="484"/>
                      </a:lnTo>
                      <a:lnTo>
                        <a:pt x="431" y="488"/>
                      </a:lnTo>
                      <a:lnTo>
                        <a:pt x="430" y="492"/>
                      </a:lnTo>
                      <a:lnTo>
                        <a:pt x="426" y="494"/>
                      </a:lnTo>
                      <a:lnTo>
                        <a:pt x="421" y="495"/>
                      </a:lnTo>
                      <a:lnTo>
                        <a:pt x="417" y="495"/>
                      </a:lnTo>
                      <a:lnTo>
                        <a:pt x="416" y="495"/>
                      </a:lnTo>
                      <a:lnTo>
                        <a:pt x="416" y="494"/>
                      </a:lnTo>
                      <a:lnTo>
                        <a:pt x="422" y="488"/>
                      </a:lnTo>
                      <a:lnTo>
                        <a:pt x="425" y="481"/>
                      </a:lnTo>
                      <a:lnTo>
                        <a:pt x="426" y="473"/>
                      </a:lnTo>
                      <a:lnTo>
                        <a:pt x="426" y="466"/>
                      </a:lnTo>
                      <a:lnTo>
                        <a:pt x="426" y="464"/>
                      </a:lnTo>
                      <a:lnTo>
                        <a:pt x="427" y="463"/>
                      </a:lnTo>
                      <a:lnTo>
                        <a:pt x="431" y="459"/>
                      </a:lnTo>
                      <a:lnTo>
                        <a:pt x="433" y="453"/>
                      </a:lnTo>
                      <a:lnTo>
                        <a:pt x="433" y="449"/>
                      </a:lnTo>
                      <a:lnTo>
                        <a:pt x="432" y="443"/>
                      </a:lnTo>
                      <a:lnTo>
                        <a:pt x="431" y="438"/>
                      </a:lnTo>
                      <a:lnTo>
                        <a:pt x="430" y="437"/>
                      </a:lnTo>
                      <a:lnTo>
                        <a:pt x="428" y="438"/>
                      </a:lnTo>
                      <a:lnTo>
                        <a:pt x="426" y="439"/>
                      </a:lnTo>
                      <a:lnTo>
                        <a:pt x="418" y="454"/>
                      </a:lnTo>
                      <a:lnTo>
                        <a:pt x="413" y="462"/>
                      </a:lnTo>
                      <a:lnTo>
                        <a:pt x="409" y="464"/>
                      </a:lnTo>
                      <a:lnTo>
                        <a:pt x="405" y="466"/>
                      </a:lnTo>
                      <a:lnTo>
                        <a:pt x="403" y="468"/>
                      </a:lnTo>
                      <a:lnTo>
                        <a:pt x="402" y="470"/>
                      </a:lnTo>
                      <a:lnTo>
                        <a:pt x="399" y="476"/>
                      </a:lnTo>
                      <a:lnTo>
                        <a:pt x="399" y="482"/>
                      </a:lnTo>
                      <a:lnTo>
                        <a:pt x="400" y="488"/>
                      </a:lnTo>
                      <a:lnTo>
                        <a:pt x="397" y="488"/>
                      </a:lnTo>
                      <a:lnTo>
                        <a:pt x="393" y="487"/>
                      </a:lnTo>
                      <a:lnTo>
                        <a:pt x="390" y="484"/>
                      </a:lnTo>
                      <a:lnTo>
                        <a:pt x="389" y="481"/>
                      </a:lnTo>
                      <a:lnTo>
                        <a:pt x="388" y="472"/>
                      </a:lnTo>
                      <a:lnTo>
                        <a:pt x="384" y="465"/>
                      </a:lnTo>
                      <a:lnTo>
                        <a:pt x="380" y="458"/>
                      </a:lnTo>
                      <a:lnTo>
                        <a:pt x="375" y="451"/>
                      </a:lnTo>
                      <a:lnTo>
                        <a:pt x="370" y="444"/>
                      </a:lnTo>
                      <a:lnTo>
                        <a:pt x="364" y="437"/>
                      </a:lnTo>
                      <a:lnTo>
                        <a:pt x="361" y="434"/>
                      </a:lnTo>
                      <a:lnTo>
                        <a:pt x="358" y="434"/>
                      </a:lnTo>
                      <a:lnTo>
                        <a:pt x="351" y="433"/>
                      </a:lnTo>
                      <a:lnTo>
                        <a:pt x="342" y="431"/>
                      </a:lnTo>
                      <a:lnTo>
                        <a:pt x="332" y="427"/>
                      </a:lnTo>
                      <a:lnTo>
                        <a:pt x="322" y="421"/>
                      </a:lnTo>
                      <a:lnTo>
                        <a:pt x="317" y="420"/>
                      </a:lnTo>
                      <a:lnTo>
                        <a:pt x="312" y="418"/>
                      </a:lnTo>
                      <a:lnTo>
                        <a:pt x="306" y="418"/>
                      </a:lnTo>
                      <a:lnTo>
                        <a:pt x="300" y="418"/>
                      </a:lnTo>
                      <a:lnTo>
                        <a:pt x="287" y="421"/>
                      </a:lnTo>
                      <a:lnTo>
                        <a:pt x="280" y="422"/>
                      </a:lnTo>
                      <a:lnTo>
                        <a:pt x="275" y="425"/>
                      </a:lnTo>
                      <a:lnTo>
                        <a:pt x="259" y="433"/>
                      </a:lnTo>
                      <a:lnTo>
                        <a:pt x="254" y="434"/>
                      </a:lnTo>
                      <a:lnTo>
                        <a:pt x="249" y="434"/>
                      </a:lnTo>
                      <a:lnTo>
                        <a:pt x="237" y="433"/>
                      </a:lnTo>
                      <a:lnTo>
                        <a:pt x="232" y="433"/>
                      </a:lnTo>
                      <a:lnTo>
                        <a:pt x="225" y="434"/>
                      </a:lnTo>
                      <a:lnTo>
                        <a:pt x="220" y="437"/>
                      </a:lnTo>
                      <a:lnTo>
                        <a:pt x="216" y="44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7" name="Freeform 341"/>
                <p:cNvSpPr>
                  <a:spLocks/>
                </p:cNvSpPr>
                <p:nvPr/>
              </p:nvSpPr>
              <p:spPr bwMode="auto">
                <a:xfrm>
                  <a:off x="6312657" y="6225502"/>
                  <a:ext cx="22198" cy="23678"/>
                </a:xfrm>
                <a:custGeom>
                  <a:avLst/>
                  <a:gdLst>
                    <a:gd name="T0" fmla="*/ 2147483647 w 16"/>
                    <a:gd name="T1" fmla="*/ 2147483647 h 16"/>
                    <a:gd name="T2" fmla="*/ 2147483647 w 16"/>
                    <a:gd name="T3" fmla="*/ 2147483647 h 16"/>
                    <a:gd name="T4" fmla="*/ 0 w 16"/>
                    <a:gd name="T5" fmla="*/ 2147483647 h 16"/>
                    <a:gd name="T6" fmla="*/ 2147483647 w 16"/>
                    <a:gd name="T7" fmla="*/ 2147483647 h 16"/>
                    <a:gd name="T8" fmla="*/ 2147483647 w 16"/>
                    <a:gd name="T9" fmla="*/ 0 h 16"/>
                    <a:gd name="T10" fmla="*/ 2147483647 w 16"/>
                    <a:gd name="T11" fmla="*/ 0 h 16"/>
                    <a:gd name="T12" fmla="*/ 2147483647 w 16"/>
                    <a:gd name="T13" fmla="*/ 2147483647 h 16"/>
                    <a:gd name="T14" fmla="*/ 2147483647 w 16"/>
                    <a:gd name="T15" fmla="*/ 2147483647 h 16"/>
                    <a:gd name="T16" fmla="*/ 2147483647 w 16"/>
                    <a:gd name="T17" fmla="*/ 2147483647 h 16"/>
                    <a:gd name="T18" fmla="*/ 2147483647 w 16"/>
                    <a:gd name="T19" fmla="*/ 2147483647 h 16"/>
                    <a:gd name="T20" fmla="*/ 2147483647 w 16"/>
                    <a:gd name="T21" fmla="*/ 2147483647 h 16"/>
                    <a:gd name="T22" fmla="*/ 2147483647 w 16"/>
                    <a:gd name="T23" fmla="*/ 2147483647 h 16"/>
                    <a:gd name="T24" fmla="*/ 2147483647 w 16"/>
                    <a:gd name="T25" fmla="*/ 2147483647 h 16"/>
                    <a:gd name="T26" fmla="*/ 2147483647 w 1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5" y="10"/>
                      </a:moveTo>
                      <a:lnTo>
                        <a:pt x="1" y="4"/>
                      </a:lnTo>
                      <a:lnTo>
                        <a:pt x="0" y="2"/>
                      </a:lnTo>
                      <a:lnTo>
                        <a:pt x="1" y="1"/>
                      </a:lnTo>
                      <a:lnTo>
                        <a:pt x="3" y="0"/>
                      </a:lnTo>
                      <a:lnTo>
                        <a:pt x="6" y="0"/>
                      </a:lnTo>
                      <a:lnTo>
                        <a:pt x="9" y="1"/>
                      </a:lnTo>
                      <a:lnTo>
                        <a:pt x="14" y="4"/>
                      </a:lnTo>
                      <a:lnTo>
                        <a:pt x="16" y="10"/>
                      </a:lnTo>
                      <a:lnTo>
                        <a:pt x="16" y="13"/>
                      </a:lnTo>
                      <a:lnTo>
                        <a:pt x="16" y="15"/>
                      </a:lnTo>
                      <a:lnTo>
                        <a:pt x="14" y="16"/>
                      </a:lnTo>
                      <a:lnTo>
                        <a:pt x="11" y="15"/>
                      </a:lnTo>
                      <a:lnTo>
                        <a:pt x="5"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8" name="Freeform 343"/>
                <p:cNvSpPr>
                  <a:spLocks/>
                </p:cNvSpPr>
                <p:nvPr/>
              </p:nvSpPr>
              <p:spPr bwMode="auto">
                <a:xfrm>
                  <a:off x="6311174" y="6222545"/>
                  <a:ext cx="22199" cy="25157"/>
                </a:xfrm>
                <a:custGeom>
                  <a:avLst/>
                  <a:gdLst>
                    <a:gd name="T0" fmla="*/ 2147483647 w 16"/>
                    <a:gd name="T1" fmla="*/ 2147483647 h 17"/>
                    <a:gd name="T2" fmla="*/ 2147483647 w 16"/>
                    <a:gd name="T3" fmla="*/ 2147483647 h 17"/>
                    <a:gd name="T4" fmla="*/ 2147483647 w 16"/>
                    <a:gd name="T5" fmla="*/ 2147483647 h 17"/>
                    <a:gd name="T6" fmla="*/ 0 w 16"/>
                    <a:gd name="T7" fmla="*/ 2147483647 h 17"/>
                    <a:gd name="T8" fmla="*/ 2147483647 w 16"/>
                    <a:gd name="T9" fmla="*/ 2147483647 h 17"/>
                    <a:gd name="T10" fmla="*/ 2147483647 w 16"/>
                    <a:gd name="T11" fmla="*/ 0 h 17"/>
                    <a:gd name="T12" fmla="*/ 2147483647 w 16"/>
                    <a:gd name="T13" fmla="*/ 0 h 17"/>
                    <a:gd name="T14" fmla="*/ 2147483647 w 16"/>
                    <a:gd name="T15" fmla="*/ 0 h 17"/>
                    <a:gd name="T16" fmla="*/ 2147483647 w 16"/>
                    <a:gd name="T17" fmla="*/ 2147483647 h 17"/>
                    <a:gd name="T18" fmla="*/ 2147483647 w 16"/>
                    <a:gd name="T19" fmla="*/ 2147483647 h 17"/>
                    <a:gd name="T20" fmla="*/ 2147483647 w 16"/>
                    <a:gd name="T21" fmla="*/ 2147483647 h 17"/>
                    <a:gd name="T22" fmla="*/ 2147483647 w 16"/>
                    <a:gd name="T23" fmla="*/ 2147483647 h 17"/>
                    <a:gd name="T24" fmla="*/ 2147483647 w 16"/>
                    <a:gd name="T25" fmla="*/ 2147483647 h 17"/>
                    <a:gd name="T26" fmla="*/ 2147483647 w 16"/>
                    <a:gd name="T27" fmla="*/ 2147483647 h 17"/>
                    <a:gd name="T28" fmla="*/ 2147483647 w 16"/>
                    <a:gd name="T29" fmla="*/ 2147483647 h 17"/>
                    <a:gd name="T30" fmla="*/ 2147483647 w 16"/>
                    <a:gd name="T31" fmla="*/ 2147483647 h 17"/>
                    <a:gd name="T32" fmla="*/ 2147483647 w 16"/>
                    <a:gd name="T33" fmla="*/ 2147483647 h 17"/>
                    <a:gd name="T34" fmla="*/ 2147483647 w 16"/>
                    <a:gd name="T35" fmla="*/ 214748364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17"/>
                    <a:gd name="T56" fmla="*/ 16 w 16"/>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17">
                      <a:moveTo>
                        <a:pt x="5" y="11"/>
                      </a:moveTo>
                      <a:lnTo>
                        <a:pt x="5" y="11"/>
                      </a:lnTo>
                      <a:lnTo>
                        <a:pt x="1" y="5"/>
                      </a:lnTo>
                      <a:lnTo>
                        <a:pt x="0" y="3"/>
                      </a:lnTo>
                      <a:lnTo>
                        <a:pt x="1" y="2"/>
                      </a:lnTo>
                      <a:lnTo>
                        <a:pt x="2" y="0"/>
                      </a:lnTo>
                      <a:lnTo>
                        <a:pt x="6" y="0"/>
                      </a:lnTo>
                      <a:lnTo>
                        <a:pt x="9" y="2"/>
                      </a:lnTo>
                      <a:lnTo>
                        <a:pt x="14" y="5"/>
                      </a:lnTo>
                      <a:lnTo>
                        <a:pt x="16" y="11"/>
                      </a:lnTo>
                      <a:lnTo>
                        <a:pt x="16" y="13"/>
                      </a:lnTo>
                      <a:lnTo>
                        <a:pt x="16" y="16"/>
                      </a:lnTo>
                      <a:lnTo>
                        <a:pt x="14" y="17"/>
                      </a:lnTo>
                      <a:lnTo>
                        <a:pt x="11" y="16"/>
                      </a:lnTo>
                      <a:lnTo>
                        <a:pt x="5"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09" name="Freeform 344"/>
                <p:cNvSpPr>
                  <a:spLocks/>
                </p:cNvSpPr>
                <p:nvPr/>
              </p:nvSpPr>
              <p:spPr bwMode="auto">
                <a:xfrm>
                  <a:off x="6223863" y="6118954"/>
                  <a:ext cx="45876" cy="32557"/>
                </a:xfrm>
                <a:custGeom>
                  <a:avLst/>
                  <a:gdLst>
                    <a:gd name="T0" fmla="*/ 2147483647 w 33"/>
                    <a:gd name="T1" fmla="*/ 2147483647 h 22"/>
                    <a:gd name="T2" fmla="*/ 2147483647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2147483647 w 33"/>
                    <a:gd name="T13" fmla="*/ 2147483647 h 22"/>
                    <a:gd name="T14" fmla="*/ 2147483647 w 33"/>
                    <a:gd name="T15" fmla="*/ 2147483647 h 22"/>
                    <a:gd name="T16" fmla="*/ 2147483647 w 33"/>
                    <a:gd name="T17" fmla="*/ 2147483647 h 22"/>
                    <a:gd name="T18" fmla="*/ 2147483647 w 33"/>
                    <a:gd name="T19" fmla="*/ 2147483647 h 22"/>
                    <a:gd name="T20" fmla="*/ 2147483647 w 33"/>
                    <a:gd name="T21" fmla="*/ 2147483647 h 22"/>
                    <a:gd name="T22" fmla="*/ 2147483647 w 33"/>
                    <a:gd name="T23" fmla="*/ 2147483647 h 22"/>
                    <a:gd name="T24" fmla="*/ 2147483647 w 33"/>
                    <a:gd name="T25" fmla="*/ 0 h 22"/>
                    <a:gd name="T26" fmla="*/ 2147483647 w 33"/>
                    <a:gd name="T27" fmla="*/ 2147483647 h 22"/>
                    <a:gd name="T28" fmla="*/ 2147483647 w 33"/>
                    <a:gd name="T29" fmla="*/ 2147483647 h 22"/>
                    <a:gd name="T30" fmla="*/ 2147483647 w 33"/>
                    <a:gd name="T31" fmla="*/ 2147483647 h 22"/>
                    <a:gd name="T32" fmla="*/ 2147483647 w 33"/>
                    <a:gd name="T33" fmla="*/ 2147483647 h 22"/>
                    <a:gd name="T34" fmla="*/ 2147483647 w 33"/>
                    <a:gd name="T35" fmla="*/ 2147483647 h 22"/>
                    <a:gd name="T36" fmla="*/ 2147483647 w 33"/>
                    <a:gd name="T37" fmla="*/ 2147483647 h 22"/>
                    <a:gd name="T38" fmla="*/ 2147483647 w 33"/>
                    <a:gd name="T39" fmla="*/ 2147483647 h 22"/>
                    <a:gd name="T40" fmla="*/ 2147483647 w 33"/>
                    <a:gd name="T41" fmla="*/ 2147483647 h 22"/>
                    <a:gd name="T42" fmla="*/ 0 w 33"/>
                    <a:gd name="T43" fmla="*/ 2147483647 h 22"/>
                    <a:gd name="T44" fmla="*/ 0 w 33"/>
                    <a:gd name="T45" fmla="*/ 2147483647 h 22"/>
                    <a:gd name="T46" fmla="*/ 2147483647 w 33"/>
                    <a:gd name="T47" fmla="*/ 2147483647 h 22"/>
                    <a:gd name="T48" fmla="*/ 2147483647 w 33"/>
                    <a:gd name="T49" fmla="*/ 2147483647 h 22"/>
                    <a:gd name="T50" fmla="*/ 2147483647 w 33"/>
                    <a:gd name="T51" fmla="*/ 2147483647 h 22"/>
                    <a:gd name="T52" fmla="*/ 2147483647 w 33"/>
                    <a:gd name="T53" fmla="*/ 2147483647 h 22"/>
                    <a:gd name="T54" fmla="*/ 2147483647 w 33"/>
                    <a:gd name="T55" fmla="*/ 2147483647 h 22"/>
                    <a:gd name="T56" fmla="*/ 2147483647 w 33"/>
                    <a:gd name="T57" fmla="*/ 2147483647 h 22"/>
                    <a:gd name="T58" fmla="*/ 2147483647 w 33"/>
                    <a:gd name="T59" fmla="*/ 2147483647 h 22"/>
                    <a:gd name="T60" fmla="*/ 2147483647 w 33"/>
                    <a:gd name="T61" fmla="*/ 2147483647 h 22"/>
                    <a:gd name="T62" fmla="*/ 2147483647 w 33"/>
                    <a:gd name="T63" fmla="*/ 2147483647 h 22"/>
                    <a:gd name="T64" fmla="*/ 2147483647 w 33"/>
                    <a:gd name="T65" fmla="*/ 2147483647 h 22"/>
                    <a:gd name="T66" fmla="*/ 2147483647 w 33"/>
                    <a:gd name="T67" fmla="*/ 2147483647 h 22"/>
                    <a:gd name="T68" fmla="*/ 2147483647 w 33"/>
                    <a:gd name="T69" fmla="*/ 2147483647 h 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
                    <a:gd name="T106" fmla="*/ 0 h 22"/>
                    <a:gd name="T107" fmla="*/ 33 w 33"/>
                    <a:gd name="T108" fmla="*/ 22 h 2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 h="22">
                      <a:moveTo>
                        <a:pt x="29" y="13"/>
                      </a:moveTo>
                      <a:lnTo>
                        <a:pt x="32" y="12"/>
                      </a:lnTo>
                      <a:lnTo>
                        <a:pt x="33" y="11"/>
                      </a:lnTo>
                      <a:lnTo>
                        <a:pt x="32" y="10"/>
                      </a:lnTo>
                      <a:lnTo>
                        <a:pt x="24" y="8"/>
                      </a:lnTo>
                      <a:lnTo>
                        <a:pt x="22" y="5"/>
                      </a:lnTo>
                      <a:lnTo>
                        <a:pt x="18" y="2"/>
                      </a:lnTo>
                      <a:lnTo>
                        <a:pt x="17" y="2"/>
                      </a:lnTo>
                      <a:lnTo>
                        <a:pt x="14" y="3"/>
                      </a:lnTo>
                      <a:lnTo>
                        <a:pt x="13" y="3"/>
                      </a:lnTo>
                      <a:lnTo>
                        <a:pt x="12" y="3"/>
                      </a:lnTo>
                      <a:lnTo>
                        <a:pt x="8" y="2"/>
                      </a:lnTo>
                      <a:lnTo>
                        <a:pt x="7" y="0"/>
                      </a:lnTo>
                      <a:lnTo>
                        <a:pt x="5" y="2"/>
                      </a:lnTo>
                      <a:lnTo>
                        <a:pt x="4" y="3"/>
                      </a:lnTo>
                      <a:lnTo>
                        <a:pt x="5" y="5"/>
                      </a:lnTo>
                      <a:lnTo>
                        <a:pt x="7" y="8"/>
                      </a:lnTo>
                      <a:lnTo>
                        <a:pt x="7" y="9"/>
                      </a:lnTo>
                      <a:lnTo>
                        <a:pt x="5" y="10"/>
                      </a:lnTo>
                      <a:lnTo>
                        <a:pt x="4" y="10"/>
                      </a:lnTo>
                      <a:lnTo>
                        <a:pt x="1" y="11"/>
                      </a:lnTo>
                      <a:lnTo>
                        <a:pt x="0" y="12"/>
                      </a:lnTo>
                      <a:lnTo>
                        <a:pt x="0" y="13"/>
                      </a:lnTo>
                      <a:lnTo>
                        <a:pt x="4" y="16"/>
                      </a:lnTo>
                      <a:lnTo>
                        <a:pt x="8" y="21"/>
                      </a:lnTo>
                      <a:lnTo>
                        <a:pt x="9" y="22"/>
                      </a:lnTo>
                      <a:lnTo>
                        <a:pt x="10" y="22"/>
                      </a:lnTo>
                      <a:lnTo>
                        <a:pt x="15" y="21"/>
                      </a:lnTo>
                      <a:lnTo>
                        <a:pt x="19" y="21"/>
                      </a:lnTo>
                      <a:lnTo>
                        <a:pt x="23" y="22"/>
                      </a:lnTo>
                      <a:lnTo>
                        <a:pt x="27" y="22"/>
                      </a:lnTo>
                      <a:lnTo>
                        <a:pt x="28" y="22"/>
                      </a:lnTo>
                      <a:lnTo>
                        <a:pt x="28" y="19"/>
                      </a:lnTo>
                      <a:lnTo>
                        <a:pt x="27" y="15"/>
                      </a:lnTo>
                      <a:lnTo>
                        <a:pt x="29"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0" name="Freeform 345"/>
                <p:cNvSpPr>
                  <a:spLocks/>
                </p:cNvSpPr>
                <p:nvPr/>
              </p:nvSpPr>
              <p:spPr bwMode="auto">
                <a:xfrm>
                  <a:off x="6324494" y="4508852"/>
                  <a:ext cx="4439" cy="10359"/>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0 w 3"/>
                    <a:gd name="T9" fmla="*/ 2147483647 h 7"/>
                    <a:gd name="T10" fmla="*/ 0 w 3"/>
                    <a:gd name="T11" fmla="*/ 2147483647 h 7"/>
                    <a:gd name="T12" fmla="*/ 2147483647 w 3"/>
                    <a:gd name="T13" fmla="*/ 0 h 7"/>
                    <a:gd name="T14" fmla="*/ 2147483647 w 3"/>
                    <a:gd name="T15" fmla="*/ 0 h 7"/>
                    <a:gd name="T16" fmla="*/ 2147483647 w 3"/>
                    <a:gd name="T17" fmla="*/ 2147483647 h 7"/>
                    <a:gd name="T18" fmla="*/ 2147483647 w 3"/>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7"/>
                    <a:gd name="T32" fmla="*/ 3 w 3"/>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7">
                      <a:moveTo>
                        <a:pt x="3" y="5"/>
                      </a:moveTo>
                      <a:lnTo>
                        <a:pt x="3" y="7"/>
                      </a:lnTo>
                      <a:lnTo>
                        <a:pt x="2" y="7"/>
                      </a:lnTo>
                      <a:lnTo>
                        <a:pt x="1" y="7"/>
                      </a:lnTo>
                      <a:lnTo>
                        <a:pt x="0" y="6"/>
                      </a:lnTo>
                      <a:lnTo>
                        <a:pt x="0" y="2"/>
                      </a:lnTo>
                      <a:lnTo>
                        <a:pt x="1" y="0"/>
                      </a:lnTo>
                      <a:lnTo>
                        <a:pt x="2" y="0"/>
                      </a:lnTo>
                      <a:lnTo>
                        <a:pt x="3" y="1"/>
                      </a:lnTo>
                      <a:lnTo>
                        <a:pt x="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1" name="Freeform 346"/>
                <p:cNvSpPr>
                  <a:spLocks/>
                </p:cNvSpPr>
                <p:nvPr/>
              </p:nvSpPr>
              <p:spPr bwMode="auto">
                <a:xfrm>
                  <a:off x="6222381" y="6117475"/>
                  <a:ext cx="45877" cy="32557"/>
                </a:xfrm>
                <a:custGeom>
                  <a:avLst/>
                  <a:gdLst>
                    <a:gd name="T0" fmla="*/ 2147483647 w 33"/>
                    <a:gd name="T1" fmla="*/ 2147483647 h 22"/>
                    <a:gd name="T2" fmla="*/ 2147483647 w 33"/>
                    <a:gd name="T3" fmla="*/ 2147483647 h 22"/>
                    <a:gd name="T4" fmla="*/ 2147483647 w 33"/>
                    <a:gd name="T5" fmla="*/ 2147483647 h 22"/>
                    <a:gd name="T6" fmla="*/ 2147483647 w 33"/>
                    <a:gd name="T7" fmla="*/ 2147483647 h 22"/>
                    <a:gd name="T8" fmla="*/ 2147483647 w 33"/>
                    <a:gd name="T9" fmla="*/ 2147483647 h 22"/>
                    <a:gd name="T10" fmla="*/ 2147483647 w 33"/>
                    <a:gd name="T11" fmla="*/ 2147483647 h 22"/>
                    <a:gd name="T12" fmla="*/ 2147483647 w 33"/>
                    <a:gd name="T13" fmla="*/ 2147483647 h 22"/>
                    <a:gd name="T14" fmla="*/ 2147483647 w 33"/>
                    <a:gd name="T15" fmla="*/ 2147483647 h 22"/>
                    <a:gd name="T16" fmla="*/ 2147483647 w 33"/>
                    <a:gd name="T17" fmla="*/ 2147483647 h 22"/>
                    <a:gd name="T18" fmla="*/ 2147483647 w 33"/>
                    <a:gd name="T19" fmla="*/ 2147483647 h 22"/>
                    <a:gd name="T20" fmla="*/ 2147483647 w 33"/>
                    <a:gd name="T21" fmla="*/ 2147483647 h 22"/>
                    <a:gd name="T22" fmla="*/ 2147483647 w 33"/>
                    <a:gd name="T23" fmla="*/ 2147483647 h 22"/>
                    <a:gd name="T24" fmla="*/ 2147483647 w 33"/>
                    <a:gd name="T25" fmla="*/ 2147483647 h 22"/>
                    <a:gd name="T26" fmla="*/ 2147483647 w 33"/>
                    <a:gd name="T27" fmla="*/ 2147483647 h 22"/>
                    <a:gd name="T28" fmla="*/ 2147483647 w 33"/>
                    <a:gd name="T29" fmla="*/ 2147483647 h 22"/>
                    <a:gd name="T30" fmla="*/ 2147483647 w 33"/>
                    <a:gd name="T31" fmla="*/ 2147483647 h 22"/>
                    <a:gd name="T32" fmla="*/ 2147483647 w 33"/>
                    <a:gd name="T33" fmla="*/ 2147483647 h 22"/>
                    <a:gd name="T34" fmla="*/ 2147483647 w 33"/>
                    <a:gd name="T35" fmla="*/ 0 h 22"/>
                    <a:gd name="T36" fmla="*/ 2147483647 w 33"/>
                    <a:gd name="T37" fmla="*/ 2147483647 h 22"/>
                    <a:gd name="T38" fmla="*/ 2147483647 w 33"/>
                    <a:gd name="T39" fmla="*/ 2147483647 h 22"/>
                    <a:gd name="T40" fmla="*/ 2147483647 w 33"/>
                    <a:gd name="T41" fmla="*/ 2147483647 h 22"/>
                    <a:gd name="T42" fmla="*/ 2147483647 w 33"/>
                    <a:gd name="T43" fmla="*/ 2147483647 h 22"/>
                    <a:gd name="T44" fmla="*/ 2147483647 w 33"/>
                    <a:gd name="T45" fmla="*/ 2147483647 h 22"/>
                    <a:gd name="T46" fmla="*/ 2147483647 w 33"/>
                    <a:gd name="T47" fmla="*/ 2147483647 h 22"/>
                    <a:gd name="T48" fmla="*/ 2147483647 w 33"/>
                    <a:gd name="T49" fmla="*/ 2147483647 h 22"/>
                    <a:gd name="T50" fmla="*/ 2147483647 w 33"/>
                    <a:gd name="T51" fmla="*/ 2147483647 h 22"/>
                    <a:gd name="T52" fmla="*/ 2147483647 w 33"/>
                    <a:gd name="T53" fmla="*/ 2147483647 h 22"/>
                    <a:gd name="T54" fmla="*/ 2147483647 w 33"/>
                    <a:gd name="T55" fmla="*/ 2147483647 h 22"/>
                    <a:gd name="T56" fmla="*/ 2147483647 w 33"/>
                    <a:gd name="T57" fmla="*/ 2147483647 h 22"/>
                    <a:gd name="T58" fmla="*/ 0 w 33"/>
                    <a:gd name="T59" fmla="*/ 2147483647 h 22"/>
                    <a:gd name="T60" fmla="*/ 0 w 33"/>
                    <a:gd name="T61" fmla="*/ 2147483647 h 22"/>
                    <a:gd name="T62" fmla="*/ 0 w 33"/>
                    <a:gd name="T63" fmla="*/ 2147483647 h 22"/>
                    <a:gd name="T64" fmla="*/ 2147483647 w 33"/>
                    <a:gd name="T65" fmla="*/ 2147483647 h 22"/>
                    <a:gd name="T66" fmla="*/ 2147483647 w 33"/>
                    <a:gd name="T67" fmla="*/ 2147483647 h 22"/>
                    <a:gd name="T68" fmla="*/ 2147483647 w 33"/>
                    <a:gd name="T69" fmla="*/ 2147483647 h 22"/>
                    <a:gd name="T70" fmla="*/ 2147483647 w 33"/>
                    <a:gd name="T71" fmla="*/ 2147483647 h 22"/>
                    <a:gd name="T72" fmla="*/ 2147483647 w 33"/>
                    <a:gd name="T73" fmla="*/ 2147483647 h 22"/>
                    <a:gd name="T74" fmla="*/ 2147483647 w 33"/>
                    <a:gd name="T75" fmla="*/ 2147483647 h 22"/>
                    <a:gd name="T76" fmla="*/ 2147483647 w 33"/>
                    <a:gd name="T77" fmla="*/ 2147483647 h 22"/>
                    <a:gd name="T78" fmla="*/ 2147483647 w 33"/>
                    <a:gd name="T79" fmla="*/ 2147483647 h 22"/>
                    <a:gd name="T80" fmla="*/ 2147483647 w 33"/>
                    <a:gd name="T81" fmla="*/ 2147483647 h 22"/>
                    <a:gd name="T82" fmla="*/ 2147483647 w 33"/>
                    <a:gd name="T83" fmla="*/ 2147483647 h 22"/>
                    <a:gd name="T84" fmla="*/ 2147483647 w 33"/>
                    <a:gd name="T85" fmla="*/ 2147483647 h 22"/>
                    <a:gd name="T86" fmla="*/ 2147483647 w 33"/>
                    <a:gd name="T87" fmla="*/ 2147483647 h 22"/>
                    <a:gd name="T88" fmla="*/ 2147483647 w 33"/>
                    <a:gd name="T89" fmla="*/ 2147483647 h 22"/>
                    <a:gd name="T90" fmla="*/ 2147483647 w 33"/>
                    <a:gd name="T91" fmla="*/ 2147483647 h 22"/>
                    <a:gd name="T92" fmla="*/ 2147483647 w 33"/>
                    <a:gd name="T93" fmla="*/ 2147483647 h 22"/>
                    <a:gd name="T94" fmla="*/ 2147483647 w 33"/>
                    <a:gd name="T95" fmla="*/ 2147483647 h 22"/>
                    <a:gd name="T96" fmla="*/ 2147483647 w 33"/>
                    <a:gd name="T97" fmla="*/ 2147483647 h 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
                    <a:gd name="T148" fmla="*/ 0 h 22"/>
                    <a:gd name="T149" fmla="*/ 33 w 33"/>
                    <a:gd name="T150" fmla="*/ 22 h 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 h="22">
                      <a:moveTo>
                        <a:pt x="29" y="13"/>
                      </a:moveTo>
                      <a:lnTo>
                        <a:pt x="29" y="13"/>
                      </a:lnTo>
                      <a:lnTo>
                        <a:pt x="32" y="12"/>
                      </a:lnTo>
                      <a:lnTo>
                        <a:pt x="33" y="11"/>
                      </a:lnTo>
                      <a:lnTo>
                        <a:pt x="32" y="10"/>
                      </a:lnTo>
                      <a:lnTo>
                        <a:pt x="24" y="7"/>
                      </a:lnTo>
                      <a:lnTo>
                        <a:pt x="22" y="5"/>
                      </a:lnTo>
                      <a:lnTo>
                        <a:pt x="18" y="1"/>
                      </a:lnTo>
                      <a:lnTo>
                        <a:pt x="16" y="1"/>
                      </a:lnTo>
                      <a:lnTo>
                        <a:pt x="14" y="3"/>
                      </a:lnTo>
                      <a:lnTo>
                        <a:pt x="13" y="3"/>
                      </a:lnTo>
                      <a:lnTo>
                        <a:pt x="11" y="3"/>
                      </a:lnTo>
                      <a:lnTo>
                        <a:pt x="8" y="1"/>
                      </a:lnTo>
                      <a:lnTo>
                        <a:pt x="6" y="0"/>
                      </a:lnTo>
                      <a:lnTo>
                        <a:pt x="5" y="1"/>
                      </a:lnTo>
                      <a:lnTo>
                        <a:pt x="4" y="3"/>
                      </a:lnTo>
                      <a:lnTo>
                        <a:pt x="5" y="5"/>
                      </a:lnTo>
                      <a:lnTo>
                        <a:pt x="6" y="7"/>
                      </a:lnTo>
                      <a:lnTo>
                        <a:pt x="6" y="9"/>
                      </a:lnTo>
                      <a:lnTo>
                        <a:pt x="5" y="10"/>
                      </a:lnTo>
                      <a:lnTo>
                        <a:pt x="4" y="10"/>
                      </a:lnTo>
                      <a:lnTo>
                        <a:pt x="1" y="11"/>
                      </a:lnTo>
                      <a:lnTo>
                        <a:pt x="0" y="12"/>
                      </a:lnTo>
                      <a:lnTo>
                        <a:pt x="0" y="13"/>
                      </a:lnTo>
                      <a:lnTo>
                        <a:pt x="4" y="16"/>
                      </a:lnTo>
                      <a:lnTo>
                        <a:pt x="8" y="20"/>
                      </a:lnTo>
                      <a:lnTo>
                        <a:pt x="9" y="22"/>
                      </a:lnTo>
                      <a:lnTo>
                        <a:pt x="10" y="22"/>
                      </a:lnTo>
                      <a:lnTo>
                        <a:pt x="15" y="20"/>
                      </a:lnTo>
                      <a:lnTo>
                        <a:pt x="19" y="20"/>
                      </a:lnTo>
                      <a:lnTo>
                        <a:pt x="23" y="22"/>
                      </a:lnTo>
                      <a:lnTo>
                        <a:pt x="27" y="22"/>
                      </a:lnTo>
                      <a:lnTo>
                        <a:pt x="28" y="22"/>
                      </a:lnTo>
                      <a:lnTo>
                        <a:pt x="28" y="19"/>
                      </a:lnTo>
                      <a:lnTo>
                        <a:pt x="27" y="14"/>
                      </a:lnTo>
                      <a:lnTo>
                        <a:pt x="29"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2" name="Freeform 347"/>
                <p:cNvSpPr>
                  <a:spLocks/>
                </p:cNvSpPr>
                <p:nvPr/>
              </p:nvSpPr>
              <p:spPr bwMode="auto">
                <a:xfrm>
                  <a:off x="6321534" y="4507373"/>
                  <a:ext cx="5919" cy="10360"/>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2147483647 w 4"/>
                    <a:gd name="T9" fmla="*/ 2147483647 h 7"/>
                    <a:gd name="T10" fmla="*/ 2147483647 w 4"/>
                    <a:gd name="T11" fmla="*/ 2147483647 h 7"/>
                    <a:gd name="T12" fmla="*/ 0 w 4"/>
                    <a:gd name="T13" fmla="*/ 2147483647 h 7"/>
                    <a:gd name="T14" fmla="*/ 0 w 4"/>
                    <a:gd name="T15" fmla="*/ 2147483647 h 7"/>
                    <a:gd name="T16" fmla="*/ 0 w 4"/>
                    <a:gd name="T17" fmla="*/ 2147483647 h 7"/>
                    <a:gd name="T18" fmla="*/ 2147483647 w 4"/>
                    <a:gd name="T19" fmla="*/ 0 h 7"/>
                    <a:gd name="T20" fmla="*/ 2147483647 w 4"/>
                    <a:gd name="T21" fmla="*/ 0 h 7"/>
                    <a:gd name="T22" fmla="*/ 2147483647 w 4"/>
                    <a:gd name="T23" fmla="*/ 2147483647 h 7"/>
                    <a:gd name="T24" fmla="*/ 2147483647 w 4"/>
                    <a:gd name="T25" fmla="*/ 2147483647 h 7"/>
                    <a:gd name="T26" fmla="*/ 2147483647 w 4"/>
                    <a:gd name="T27" fmla="*/ 2147483647 h 7"/>
                    <a:gd name="T28" fmla="*/ 2147483647 w 4"/>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7"/>
                    <a:gd name="T47" fmla="*/ 4 w 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7">
                      <a:moveTo>
                        <a:pt x="4" y="5"/>
                      </a:moveTo>
                      <a:lnTo>
                        <a:pt x="4" y="5"/>
                      </a:lnTo>
                      <a:lnTo>
                        <a:pt x="4" y="7"/>
                      </a:lnTo>
                      <a:lnTo>
                        <a:pt x="3" y="7"/>
                      </a:lnTo>
                      <a:lnTo>
                        <a:pt x="2" y="7"/>
                      </a:lnTo>
                      <a:lnTo>
                        <a:pt x="0" y="6"/>
                      </a:lnTo>
                      <a:lnTo>
                        <a:pt x="0" y="2"/>
                      </a:lnTo>
                      <a:lnTo>
                        <a:pt x="2" y="0"/>
                      </a:lnTo>
                      <a:lnTo>
                        <a:pt x="3" y="0"/>
                      </a:lnTo>
                      <a:lnTo>
                        <a:pt x="4" y="1"/>
                      </a:lnTo>
                      <a:lnTo>
                        <a:pt x="4"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3" name="Freeform 348"/>
                <p:cNvSpPr>
                  <a:spLocks/>
                </p:cNvSpPr>
                <p:nvPr/>
              </p:nvSpPr>
              <p:spPr bwMode="auto">
                <a:xfrm>
                  <a:off x="6343734" y="4587287"/>
                  <a:ext cx="2960" cy="8879"/>
                </a:xfrm>
                <a:custGeom>
                  <a:avLst/>
                  <a:gdLst>
                    <a:gd name="T0" fmla="*/ 2147483647 w 3"/>
                    <a:gd name="T1" fmla="*/ 2147483647 h 6"/>
                    <a:gd name="T2" fmla="*/ 2147483647 w 3"/>
                    <a:gd name="T3" fmla="*/ 2147483647 h 6"/>
                    <a:gd name="T4" fmla="*/ 2147483647 w 3"/>
                    <a:gd name="T5" fmla="*/ 2147483647 h 6"/>
                    <a:gd name="T6" fmla="*/ 2147483647 w 3"/>
                    <a:gd name="T7" fmla="*/ 2147483647 h 6"/>
                    <a:gd name="T8" fmla="*/ 0 w 3"/>
                    <a:gd name="T9" fmla="*/ 2147483647 h 6"/>
                    <a:gd name="T10" fmla="*/ 0 w 3"/>
                    <a:gd name="T11" fmla="*/ 2147483647 h 6"/>
                    <a:gd name="T12" fmla="*/ 0 w 3"/>
                    <a:gd name="T13" fmla="*/ 2147483647 h 6"/>
                    <a:gd name="T14" fmla="*/ 0 w 3"/>
                    <a:gd name="T15" fmla="*/ 0 h 6"/>
                    <a:gd name="T16" fmla="*/ 2147483647 w 3"/>
                    <a:gd name="T17" fmla="*/ 0 h 6"/>
                    <a:gd name="T18" fmla="*/ 2147483647 w 3"/>
                    <a:gd name="T19" fmla="*/ 2147483647 h 6"/>
                    <a:gd name="T20" fmla="*/ 2147483647 w 3"/>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6"/>
                    <a:gd name="T35" fmla="*/ 3 w 3"/>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6">
                      <a:moveTo>
                        <a:pt x="3" y="5"/>
                      </a:moveTo>
                      <a:lnTo>
                        <a:pt x="3" y="6"/>
                      </a:lnTo>
                      <a:lnTo>
                        <a:pt x="2" y="6"/>
                      </a:lnTo>
                      <a:lnTo>
                        <a:pt x="1" y="6"/>
                      </a:lnTo>
                      <a:lnTo>
                        <a:pt x="0" y="6"/>
                      </a:lnTo>
                      <a:lnTo>
                        <a:pt x="0" y="3"/>
                      </a:lnTo>
                      <a:lnTo>
                        <a:pt x="0" y="2"/>
                      </a:lnTo>
                      <a:lnTo>
                        <a:pt x="0" y="0"/>
                      </a:lnTo>
                      <a:lnTo>
                        <a:pt x="2" y="0"/>
                      </a:lnTo>
                      <a:lnTo>
                        <a:pt x="3" y="3"/>
                      </a:lnTo>
                      <a:lnTo>
                        <a:pt x="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4" name="Freeform 349"/>
                <p:cNvSpPr>
                  <a:spLocks/>
                </p:cNvSpPr>
                <p:nvPr/>
              </p:nvSpPr>
              <p:spPr bwMode="auto">
                <a:xfrm>
                  <a:off x="6320054" y="4766352"/>
                  <a:ext cx="5919" cy="7399"/>
                </a:xfrm>
                <a:custGeom>
                  <a:avLst/>
                  <a:gdLst>
                    <a:gd name="T0" fmla="*/ 2147483647 w 4"/>
                    <a:gd name="T1" fmla="*/ 2147483647 h 5"/>
                    <a:gd name="T2" fmla="*/ 2147483647 w 4"/>
                    <a:gd name="T3" fmla="*/ 2147483647 h 5"/>
                    <a:gd name="T4" fmla="*/ 0 w 4"/>
                    <a:gd name="T5" fmla="*/ 2147483647 h 5"/>
                    <a:gd name="T6" fmla="*/ 2147483647 w 4"/>
                    <a:gd name="T7" fmla="*/ 2147483647 h 5"/>
                    <a:gd name="T8" fmla="*/ 2147483647 w 4"/>
                    <a:gd name="T9" fmla="*/ 0 h 5"/>
                    <a:gd name="T10" fmla="*/ 2147483647 w 4"/>
                    <a:gd name="T11" fmla="*/ 0 h 5"/>
                    <a:gd name="T12" fmla="*/ 2147483647 w 4"/>
                    <a:gd name="T13" fmla="*/ 2147483647 h 5"/>
                    <a:gd name="T14" fmla="*/ 2147483647 w 4"/>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4" y="5"/>
                      </a:moveTo>
                      <a:lnTo>
                        <a:pt x="3" y="5"/>
                      </a:lnTo>
                      <a:lnTo>
                        <a:pt x="0" y="5"/>
                      </a:lnTo>
                      <a:lnTo>
                        <a:pt x="1" y="3"/>
                      </a:lnTo>
                      <a:lnTo>
                        <a:pt x="1" y="0"/>
                      </a:lnTo>
                      <a:lnTo>
                        <a:pt x="4" y="0"/>
                      </a:lnTo>
                      <a:lnTo>
                        <a:pt x="4" y="3"/>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5" name="Freeform 350"/>
                <p:cNvSpPr>
                  <a:spLocks/>
                </p:cNvSpPr>
                <p:nvPr/>
              </p:nvSpPr>
              <p:spPr bwMode="auto">
                <a:xfrm>
                  <a:off x="6340771" y="4585808"/>
                  <a:ext cx="5919" cy="8879"/>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2147483647 w 4"/>
                    <a:gd name="T9" fmla="*/ 2147483647 h 6"/>
                    <a:gd name="T10" fmla="*/ 2147483647 w 4"/>
                    <a:gd name="T11" fmla="*/ 2147483647 h 6"/>
                    <a:gd name="T12" fmla="*/ 0 w 4"/>
                    <a:gd name="T13" fmla="*/ 2147483647 h 6"/>
                    <a:gd name="T14" fmla="*/ 0 w 4"/>
                    <a:gd name="T15" fmla="*/ 2147483647 h 6"/>
                    <a:gd name="T16" fmla="*/ 0 w 4"/>
                    <a:gd name="T17" fmla="*/ 2147483647 h 6"/>
                    <a:gd name="T18" fmla="*/ 0 w 4"/>
                    <a:gd name="T19" fmla="*/ 2147483647 h 6"/>
                    <a:gd name="T20" fmla="*/ 0 w 4"/>
                    <a:gd name="T21" fmla="*/ 0 h 6"/>
                    <a:gd name="T22" fmla="*/ 2147483647 w 4"/>
                    <a:gd name="T23" fmla="*/ 0 h 6"/>
                    <a:gd name="T24" fmla="*/ 2147483647 w 4"/>
                    <a:gd name="T25" fmla="*/ 0 h 6"/>
                    <a:gd name="T26" fmla="*/ 2147483647 w 4"/>
                    <a:gd name="T27" fmla="*/ 2147483647 h 6"/>
                    <a:gd name="T28" fmla="*/ 2147483647 w 4"/>
                    <a:gd name="T29" fmla="*/ 2147483647 h 6"/>
                    <a:gd name="T30" fmla="*/ 2147483647 w 4"/>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6"/>
                    <a:gd name="T50" fmla="*/ 4 w 4"/>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6">
                      <a:moveTo>
                        <a:pt x="4" y="5"/>
                      </a:moveTo>
                      <a:lnTo>
                        <a:pt x="4" y="5"/>
                      </a:lnTo>
                      <a:lnTo>
                        <a:pt x="4" y="6"/>
                      </a:lnTo>
                      <a:lnTo>
                        <a:pt x="3" y="6"/>
                      </a:lnTo>
                      <a:lnTo>
                        <a:pt x="2" y="6"/>
                      </a:lnTo>
                      <a:lnTo>
                        <a:pt x="0" y="6"/>
                      </a:lnTo>
                      <a:lnTo>
                        <a:pt x="0" y="3"/>
                      </a:lnTo>
                      <a:lnTo>
                        <a:pt x="0" y="1"/>
                      </a:lnTo>
                      <a:lnTo>
                        <a:pt x="0" y="0"/>
                      </a:lnTo>
                      <a:lnTo>
                        <a:pt x="3" y="0"/>
                      </a:lnTo>
                      <a:lnTo>
                        <a:pt x="4" y="3"/>
                      </a:lnTo>
                      <a:lnTo>
                        <a:pt x="4"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6" name="Freeform 351"/>
                <p:cNvSpPr>
                  <a:spLocks/>
                </p:cNvSpPr>
                <p:nvPr/>
              </p:nvSpPr>
              <p:spPr bwMode="auto">
                <a:xfrm>
                  <a:off x="6318573" y="4764868"/>
                  <a:ext cx="5919" cy="7400"/>
                </a:xfrm>
                <a:custGeom>
                  <a:avLst/>
                  <a:gdLst>
                    <a:gd name="T0" fmla="*/ 2147483647 w 4"/>
                    <a:gd name="T1" fmla="*/ 2147483647 h 5"/>
                    <a:gd name="T2" fmla="*/ 2147483647 w 4"/>
                    <a:gd name="T3" fmla="*/ 2147483647 h 5"/>
                    <a:gd name="T4" fmla="*/ 2147483647 w 4"/>
                    <a:gd name="T5" fmla="*/ 2147483647 h 5"/>
                    <a:gd name="T6" fmla="*/ 0 w 4"/>
                    <a:gd name="T7" fmla="*/ 2147483647 h 5"/>
                    <a:gd name="T8" fmla="*/ 0 w 4"/>
                    <a:gd name="T9" fmla="*/ 2147483647 h 5"/>
                    <a:gd name="T10" fmla="*/ 2147483647 w 4"/>
                    <a:gd name="T11" fmla="*/ 2147483647 h 5"/>
                    <a:gd name="T12" fmla="*/ 2147483647 w 4"/>
                    <a:gd name="T13" fmla="*/ 0 h 5"/>
                    <a:gd name="T14" fmla="*/ 2147483647 w 4"/>
                    <a:gd name="T15" fmla="*/ 0 h 5"/>
                    <a:gd name="T16" fmla="*/ 2147483647 w 4"/>
                    <a:gd name="T17" fmla="*/ 0 h 5"/>
                    <a:gd name="T18" fmla="*/ 2147483647 w 4"/>
                    <a:gd name="T19" fmla="*/ 0 h 5"/>
                    <a:gd name="T20" fmla="*/ 2147483647 w 4"/>
                    <a:gd name="T21" fmla="*/ 2147483647 h 5"/>
                    <a:gd name="T22" fmla="*/ 2147483647 w 4"/>
                    <a:gd name="T23" fmla="*/ 2147483647 h 5"/>
                    <a:gd name="T24" fmla="*/ 2147483647 w 4"/>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5"/>
                    <a:gd name="T41" fmla="*/ 4 w 4"/>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5">
                      <a:moveTo>
                        <a:pt x="4" y="5"/>
                      </a:moveTo>
                      <a:lnTo>
                        <a:pt x="4" y="5"/>
                      </a:lnTo>
                      <a:lnTo>
                        <a:pt x="2" y="5"/>
                      </a:lnTo>
                      <a:lnTo>
                        <a:pt x="0" y="5"/>
                      </a:lnTo>
                      <a:lnTo>
                        <a:pt x="1" y="3"/>
                      </a:lnTo>
                      <a:lnTo>
                        <a:pt x="1" y="0"/>
                      </a:lnTo>
                      <a:lnTo>
                        <a:pt x="4" y="0"/>
                      </a:lnTo>
                      <a:lnTo>
                        <a:pt x="4" y="3"/>
                      </a:lnTo>
                      <a:lnTo>
                        <a:pt x="4"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7" name="Freeform 352"/>
                <p:cNvSpPr>
                  <a:spLocks/>
                </p:cNvSpPr>
                <p:nvPr/>
              </p:nvSpPr>
              <p:spPr bwMode="auto">
                <a:xfrm>
                  <a:off x="6325974" y="4832943"/>
                  <a:ext cx="4440" cy="11839"/>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0 w 4"/>
                    <a:gd name="T9" fmla="*/ 2147483647 h 8"/>
                    <a:gd name="T10" fmla="*/ 2147483647 w 4"/>
                    <a:gd name="T11" fmla="*/ 2147483647 h 8"/>
                    <a:gd name="T12" fmla="*/ 2147483647 w 4"/>
                    <a:gd name="T13" fmla="*/ 0 h 8"/>
                    <a:gd name="T14" fmla="*/ 2147483647 w 4"/>
                    <a:gd name="T15" fmla="*/ 2147483647 h 8"/>
                    <a:gd name="T16" fmla="*/ 2147483647 w 4"/>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4" y="5"/>
                      </a:moveTo>
                      <a:lnTo>
                        <a:pt x="4" y="6"/>
                      </a:lnTo>
                      <a:lnTo>
                        <a:pt x="2" y="8"/>
                      </a:lnTo>
                      <a:lnTo>
                        <a:pt x="1" y="6"/>
                      </a:lnTo>
                      <a:lnTo>
                        <a:pt x="0" y="3"/>
                      </a:lnTo>
                      <a:lnTo>
                        <a:pt x="1" y="2"/>
                      </a:lnTo>
                      <a:lnTo>
                        <a:pt x="2" y="0"/>
                      </a:lnTo>
                      <a:lnTo>
                        <a:pt x="4" y="2"/>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8" name="Freeform 353"/>
                <p:cNvSpPr>
                  <a:spLocks/>
                </p:cNvSpPr>
                <p:nvPr/>
              </p:nvSpPr>
              <p:spPr bwMode="auto">
                <a:xfrm>
                  <a:off x="6089193" y="1646782"/>
                  <a:ext cx="78434" cy="87312"/>
                </a:xfrm>
                <a:custGeom>
                  <a:avLst/>
                  <a:gdLst>
                    <a:gd name="T0" fmla="*/ 2147483647 w 57"/>
                    <a:gd name="T1" fmla="*/ 2147483647 h 59"/>
                    <a:gd name="T2" fmla="*/ 2147483647 w 57"/>
                    <a:gd name="T3" fmla="*/ 2147483647 h 59"/>
                    <a:gd name="T4" fmla="*/ 2147483647 w 57"/>
                    <a:gd name="T5" fmla="*/ 2147483647 h 59"/>
                    <a:gd name="T6" fmla="*/ 2147483647 w 57"/>
                    <a:gd name="T7" fmla="*/ 2147483647 h 59"/>
                    <a:gd name="T8" fmla="*/ 2147483647 w 57"/>
                    <a:gd name="T9" fmla="*/ 2147483647 h 59"/>
                    <a:gd name="T10" fmla="*/ 2147483647 w 57"/>
                    <a:gd name="T11" fmla="*/ 2147483647 h 59"/>
                    <a:gd name="T12" fmla="*/ 2147483647 w 57"/>
                    <a:gd name="T13" fmla="*/ 2147483647 h 59"/>
                    <a:gd name="T14" fmla="*/ 2147483647 w 57"/>
                    <a:gd name="T15" fmla="*/ 2147483647 h 59"/>
                    <a:gd name="T16" fmla="*/ 2147483647 w 57"/>
                    <a:gd name="T17" fmla="*/ 2147483647 h 59"/>
                    <a:gd name="T18" fmla="*/ 2147483647 w 57"/>
                    <a:gd name="T19" fmla="*/ 2147483647 h 59"/>
                    <a:gd name="T20" fmla="*/ 2147483647 w 57"/>
                    <a:gd name="T21" fmla="*/ 2147483647 h 59"/>
                    <a:gd name="T22" fmla="*/ 2147483647 w 57"/>
                    <a:gd name="T23" fmla="*/ 0 h 59"/>
                    <a:gd name="T24" fmla="*/ 2147483647 w 57"/>
                    <a:gd name="T25" fmla="*/ 2147483647 h 59"/>
                    <a:gd name="T26" fmla="*/ 2147483647 w 57"/>
                    <a:gd name="T27" fmla="*/ 2147483647 h 59"/>
                    <a:gd name="T28" fmla="*/ 2147483647 w 57"/>
                    <a:gd name="T29" fmla="*/ 2147483647 h 59"/>
                    <a:gd name="T30" fmla="*/ 2147483647 w 57"/>
                    <a:gd name="T31" fmla="*/ 2147483647 h 59"/>
                    <a:gd name="T32" fmla="*/ 2147483647 w 57"/>
                    <a:gd name="T33" fmla="*/ 2147483647 h 59"/>
                    <a:gd name="T34" fmla="*/ 2147483647 w 57"/>
                    <a:gd name="T35" fmla="*/ 2147483647 h 59"/>
                    <a:gd name="T36" fmla="*/ 2147483647 w 57"/>
                    <a:gd name="T37" fmla="*/ 2147483647 h 59"/>
                    <a:gd name="T38" fmla="*/ 2147483647 w 57"/>
                    <a:gd name="T39" fmla="*/ 2147483647 h 59"/>
                    <a:gd name="T40" fmla="*/ 2147483647 w 57"/>
                    <a:gd name="T41" fmla="*/ 2147483647 h 59"/>
                    <a:gd name="T42" fmla="*/ 2147483647 w 57"/>
                    <a:gd name="T43" fmla="*/ 2147483647 h 59"/>
                    <a:gd name="T44" fmla="*/ 2147483647 w 57"/>
                    <a:gd name="T45" fmla="*/ 2147483647 h 59"/>
                    <a:gd name="T46" fmla="*/ 0 w 57"/>
                    <a:gd name="T47" fmla="*/ 2147483647 h 59"/>
                    <a:gd name="T48" fmla="*/ 0 w 57"/>
                    <a:gd name="T49" fmla="*/ 2147483647 h 59"/>
                    <a:gd name="T50" fmla="*/ 2147483647 w 57"/>
                    <a:gd name="T51" fmla="*/ 2147483647 h 59"/>
                    <a:gd name="T52" fmla="*/ 2147483647 w 57"/>
                    <a:gd name="T53" fmla="*/ 2147483647 h 59"/>
                    <a:gd name="T54" fmla="*/ 2147483647 w 57"/>
                    <a:gd name="T55" fmla="*/ 2147483647 h 59"/>
                    <a:gd name="T56" fmla="*/ 2147483647 w 57"/>
                    <a:gd name="T57" fmla="*/ 2147483647 h 59"/>
                    <a:gd name="T58" fmla="*/ 2147483647 w 57"/>
                    <a:gd name="T59" fmla="*/ 2147483647 h 59"/>
                    <a:gd name="T60" fmla="*/ 2147483647 w 57"/>
                    <a:gd name="T61" fmla="*/ 2147483647 h 59"/>
                    <a:gd name="T62" fmla="*/ 2147483647 w 57"/>
                    <a:gd name="T63" fmla="*/ 2147483647 h 59"/>
                    <a:gd name="T64" fmla="*/ 2147483647 w 57"/>
                    <a:gd name="T65" fmla="*/ 2147483647 h 59"/>
                    <a:gd name="T66" fmla="*/ 2147483647 w 57"/>
                    <a:gd name="T67" fmla="*/ 2147483647 h 59"/>
                    <a:gd name="T68" fmla="*/ 2147483647 w 57"/>
                    <a:gd name="T69" fmla="*/ 2147483647 h 59"/>
                    <a:gd name="T70" fmla="*/ 2147483647 w 57"/>
                    <a:gd name="T71" fmla="*/ 2147483647 h 59"/>
                    <a:gd name="T72" fmla="*/ 2147483647 w 57"/>
                    <a:gd name="T73" fmla="*/ 2147483647 h 59"/>
                    <a:gd name="T74" fmla="*/ 2147483647 w 57"/>
                    <a:gd name="T75" fmla="*/ 2147483647 h 59"/>
                    <a:gd name="T76" fmla="*/ 2147483647 w 57"/>
                    <a:gd name="T77" fmla="*/ 2147483647 h 59"/>
                    <a:gd name="T78" fmla="*/ 2147483647 w 57"/>
                    <a:gd name="T79" fmla="*/ 2147483647 h 59"/>
                    <a:gd name="T80" fmla="*/ 2147483647 w 57"/>
                    <a:gd name="T81" fmla="*/ 2147483647 h 59"/>
                    <a:gd name="T82" fmla="*/ 2147483647 w 57"/>
                    <a:gd name="T83" fmla="*/ 2147483647 h 59"/>
                    <a:gd name="T84" fmla="*/ 2147483647 w 57"/>
                    <a:gd name="T85" fmla="*/ 2147483647 h 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
                    <a:gd name="T130" fmla="*/ 0 h 59"/>
                    <a:gd name="T131" fmla="*/ 57 w 57"/>
                    <a:gd name="T132" fmla="*/ 59 h 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 h="59">
                      <a:moveTo>
                        <a:pt x="56" y="38"/>
                      </a:moveTo>
                      <a:lnTo>
                        <a:pt x="51" y="37"/>
                      </a:lnTo>
                      <a:lnTo>
                        <a:pt x="48" y="34"/>
                      </a:lnTo>
                      <a:lnTo>
                        <a:pt x="41" y="29"/>
                      </a:lnTo>
                      <a:lnTo>
                        <a:pt x="41" y="28"/>
                      </a:lnTo>
                      <a:lnTo>
                        <a:pt x="43" y="26"/>
                      </a:lnTo>
                      <a:lnTo>
                        <a:pt x="48" y="24"/>
                      </a:lnTo>
                      <a:lnTo>
                        <a:pt x="46" y="16"/>
                      </a:lnTo>
                      <a:lnTo>
                        <a:pt x="42" y="8"/>
                      </a:lnTo>
                      <a:lnTo>
                        <a:pt x="40" y="4"/>
                      </a:lnTo>
                      <a:lnTo>
                        <a:pt x="37" y="2"/>
                      </a:lnTo>
                      <a:lnTo>
                        <a:pt x="34" y="0"/>
                      </a:lnTo>
                      <a:lnTo>
                        <a:pt x="32" y="2"/>
                      </a:lnTo>
                      <a:lnTo>
                        <a:pt x="22" y="10"/>
                      </a:lnTo>
                      <a:lnTo>
                        <a:pt x="9" y="16"/>
                      </a:lnTo>
                      <a:lnTo>
                        <a:pt x="8" y="17"/>
                      </a:lnTo>
                      <a:lnTo>
                        <a:pt x="8" y="18"/>
                      </a:lnTo>
                      <a:lnTo>
                        <a:pt x="8" y="22"/>
                      </a:lnTo>
                      <a:lnTo>
                        <a:pt x="8" y="26"/>
                      </a:lnTo>
                      <a:lnTo>
                        <a:pt x="8" y="30"/>
                      </a:lnTo>
                      <a:lnTo>
                        <a:pt x="4" y="32"/>
                      </a:lnTo>
                      <a:lnTo>
                        <a:pt x="3" y="34"/>
                      </a:lnTo>
                      <a:lnTo>
                        <a:pt x="1" y="36"/>
                      </a:lnTo>
                      <a:lnTo>
                        <a:pt x="0" y="38"/>
                      </a:lnTo>
                      <a:lnTo>
                        <a:pt x="0" y="42"/>
                      </a:lnTo>
                      <a:lnTo>
                        <a:pt x="1" y="44"/>
                      </a:lnTo>
                      <a:lnTo>
                        <a:pt x="3" y="45"/>
                      </a:lnTo>
                      <a:lnTo>
                        <a:pt x="9" y="48"/>
                      </a:lnTo>
                      <a:lnTo>
                        <a:pt x="14" y="51"/>
                      </a:lnTo>
                      <a:lnTo>
                        <a:pt x="18" y="55"/>
                      </a:lnTo>
                      <a:lnTo>
                        <a:pt x="23" y="59"/>
                      </a:lnTo>
                      <a:lnTo>
                        <a:pt x="24" y="59"/>
                      </a:lnTo>
                      <a:lnTo>
                        <a:pt x="26" y="59"/>
                      </a:lnTo>
                      <a:lnTo>
                        <a:pt x="28" y="56"/>
                      </a:lnTo>
                      <a:lnTo>
                        <a:pt x="32" y="50"/>
                      </a:lnTo>
                      <a:lnTo>
                        <a:pt x="34" y="48"/>
                      </a:lnTo>
                      <a:lnTo>
                        <a:pt x="36" y="47"/>
                      </a:lnTo>
                      <a:lnTo>
                        <a:pt x="42" y="44"/>
                      </a:lnTo>
                      <a:lnTo>
                        <a:pt x="55" y="43"/>
                      </a:lnTo>
                      <a:lnTo>
                        <a:pt x="56" y="43"/>
                      </a:lnTo>
                      <a:lnTo>
                        <a:pt x="57" y="42"/>
                      </a:lnTo>
                      <a:lnTo>
                        <a:pt x="57" y="40"/>
                      </a:lnTo>
                      <a:lnTo>
                        <a:pt x="56" y="3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19" name="Freeform 354"/>
                <p:cNvSpPr>
                  <a:spLocks/>
                </p:cNvSpPr>
                <p:nvPr/>
              </p:nvSpPr>
              <p:spPr bwMode="auto">
                <a:xfrm>
                  <a:off x="6324494" y="4831465"/>
                  <a:ext cx="4439" cy="10359"/>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2147483647 w 3"/>
                    <a:gd name="T13" fmla="*/ 2147483647 h 7"/>
                    <a:gd name="T14" fmla="*/ 0 w 3"/>
                    <a:gd name="T15" fmla="*/ 2147483647 h 7"/>
                    <a:gd name="T16" fmla="*/ 2147483647 w 3"/>
                    <a:gd name="T17" fmla="*/ 2147483647 h 7"/>
                    <a:gd name="T18" fmla="*/ 2147483647 w 3"/>
                    <a:gd name="T19" fmla="*/ 2147483647 h 7"/>
                    <a:gd name="T20" fmla="*/ 2147483647 w 3"/>
                    <a:gd name="T21" fmla="*/ 0 h 7"/>
                    <a:gd name="T22" fmla="*/ 2147483647 w 3"/>
                    <a:gd name="T23" fmla="*/ 2147483647 h 7"/>
                    <a:gd name="T24" fmla="*/ 2147483647 w 3"/>
                    <a:gd name="T25" fmla="*/ 2147483647 h 7"/>
                    <a:gd name="T26" fmla="*/ 2147483647 w 3"/>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7"/>
                    <a:gd name="T44" fmla="*/ 3 w 3"/>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7">
                      <a:moveTo>
                        <a:pt x="3" y="5"/>
                      </a:moveTo>
                      <a:lnTo>
                        <a:pt x="3" y="5"/>
                      </a:lnTo>
                      <a:lnTo>
                        <a:pt x="3" y="6"/>
                      </a:lnTo>
                      <a:lnTo>
                        <a:pt x="2" y="7"/>
                      </a:lnTo>
                      <a:lnTo>
                        <a:pt x="1" y="6"/>
                      </a:lnTo>
                      <a:lnTo>
                        <a:pt x="0" y="3"/>
                      </a:lnTo>
                      <a:lnTo>
                        <a:pt x="1" y="1"/>
                      </a:lnTo>
                      <a:lnTo>
                        <a:pt x="2" y="0"/>
                      </a:lnTo>
                      <a:lnTo>
                        <a:pt x="3" y="1"/>
                      </a:lnTo>
                      <a:lnTo>
                        <a:pt x="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0" name="Freeform 355"/>
                <p:cNvSpPr>
                  <a:spLocks/>
                </p:cNvSpPr>
                <p:nvPr/>
              </p:nvSpPr>
              <p:spPr bwMode="auto">
                <a:xfrm>
                  <a:off x="6087715" y="1645301"/>
                  <a:ext cx="78433" cy="85833"/>
                </a:xfrm>
                <a:custGeom>
                  <a:avLst/>
                  <a:gdLst>
                    <a:gd name="T0" fmla="*/ 2147483647 w 57"/>
                    <a:gd name="T1" fmla="*/ 2147483647 h 58"/>
                    <a:gd name="T2" fmla="*/ 2147483647 w 57"/>
                    <a:gd name="T3" fmla="*/ 2147483647 h 58"/>
                    <a:gd name="T4" fmla="*/ 2147483647 w 57"/>
                    <a:gd name="T5" fmla="*/ 2147483647 h 58"/>
                    <a:gd name="T6" fmla="*/ 2147483647 w 57"/>
                    <a:gd name="T7" fmla="*/ 2147483647 h 58"/>
                    <a:gd name="T8" fmla="*/ 2147483647 w 57"/>
                    <a:gd name="T9" fmla="*/ 2147483647 h 58"/>
                    <a:gd name="T10" fmla="*/ 2147483647 w 57"/>
                    <a:gd name="T11" fmla="*/ 2147483647 h 58"/>
                    <a:gd name="T12" fmla="*/ 2147483647 w 57"/>
                    <a:gd name="T13" fmla="*/ 2147483647 h 58"/>
                    <a:gd name="T14" fmla="*/ 2147483647 w 57"/>
                    <a:gd name="T15" fmla="*/ 2147483647 h 58"/>
                    <a:gd name="T16" fmla="*/ 2147483647 w 57"/>
                    <a:gd name="T17" fmla="*/ 2147483647 h 58"/>
                    <a:gd name="T18" fmla="*/ 2147483647 w 57"/>
                    <a:gd name="T19" fmla="*/ 2147483647 h 58"/>
                    <a:gd name="T20" fmla="*/ 2147483647 w 57"/>
                    <a:gd name="T21" fmla="*/ 2147483647 h 58"/>
                    <a:gd name="T22" fmla="*/ 2147483647 w 57"/>
                    <a:gd name="T23" fmla="*/ 2147483647 h 58"/>
                    <a:gd name="T24" fmla="*/ 2147483647 w 57"/>
                    <a:gd name="T25" fmla="*/ 2147483647 h 58"/>
                    <a:gd name="T26" fmla="*/ 2147483647 w 57"/>
                    <a:gd name="T27" fmla="*/ 2147483647 h 58"/>
                    <a:gd name="T28" fmla="*/ 2147483647 w 57"/>
                    <a:gd name="T29" fmla="*/ 0 h 58"/>
                    <a:gd name="T30" fmla="*/ 2147483647 w 57"/>
                    <a:gd name="T31" fmla="*/ 2147483647 h 58"/>
                    <a:gd name="T32" fmla="*/ 2147483647 w 57"/>
                    <a:gd name="T33" fmla="*/ 2147483647 h 58"/>
                    <a:gd name="T34" fmla="*/ 2147483647 w 57"/>
                    <a:gd name="T35" fmla="*/ 2147483647 h 58"/>
                    <a:gd name="T36" fmla="*/ 2147483647 w 57"/>
                    <a:gd name="T37" fmla="*/ 2147483647 h 58"/>
                    <a:gd name="T38" fmla="*/ 2147483647 w 57"/>
                    <a:gd name="T39" fmla="*/ 2147483647 h 58"/>
                    <a:gd name="T40" fmla="*/ 2147483647 w 57"/>
                    <a:gd name="T41" fmla="*/ 2147483647 h 58"/>
                    <a:gd name="T42" fmla="*/ 2147483647 w 57"/>
                    <a:gd name="T43" fmla="*/ 2147483647 h 58"/>
                    <a:gd name="T44" fmla="*/ 2147483647 w 57"/>
                    <a:gd name="T45" fmla="*/ 2147483647 h 58"/>
                    <a:gd name="T46" fmla="*/ 2147483647 w 57"/>
                    <a:gd name="T47" fmla="*/ 2147483647 h 58"/>
                    <a:gd name="T48" fmla="*/ 2147483647 w 57"/>
                    <a:gd name="T49" fmla="*/ 2147483647 h 58"/>
                    <a:gd name="T50" fmla="*/ 2147483647 w 57"/>
                    <a:gd name="T51" fmla="*/ 2147483647 h 58"/>
                    <a:gd name="T52" fmla="*/ 2147483647 w 57"/>
                    <a:gd name="T53" fmla="*/ 2147483647 h 58"/>
                    <a:gd name="T54" fmla="*/ 2147483647 w 57"/>
                    <a:gd name="T55" fmla="*/ 2147483647 h 58"/>
                    <a:gd name="T56" fmla="*/ 2147483647 w 57"/>
                    <a:gd name="T57" fmla="*/ 2147483647 h 58"/>
                    <a:gd name="T58" fmla="*/ 2147483647 w 57"/>
                    <a:gd name="T59" fmla="*/ 2147483647 h 58"/>
                    <a:gd name="T60" fmla="*/ 0 w 57"/>
                    <a:gd name="T61" fmla="*/ 2147483647 h 58"/>
                    <a:gd name="T62" fmla="*/ 0 w 57"/>
                    <a:gd name="T63" fmla="*/ 2147483647 h 58"/>
                    <a:gd name="T64" fmla="*/ 2147483647 w 57"/>
                    <a:gd name="T65" fmla="*/ 2147483647 h 58"/>
                    <a:gd name="T66" fmla="*/ 2147483647 w 57"/>
                    <a:gd name="T67" fmla="*/ 2147483647 h 58"/>
                    <a:gd name="T68" fmla="*/ 2147483647 w 57"/>
                    <a:gd name="T69" fmla="*/ 2147483647 h 58"/>
                    <a:gd name="T70" fmla="*/ 2147483647 w 57"/>
                    <a:gd name="T71" fmla="*/ 2147483647 h 58"/>
                    <a:gd name="T72" fmla="*/ 2147483647 w 57"/>
                    <a:gd name="T73" fmla="*/ 2147483647 h 58"/>
                    <a:gd name="T74" fmla="*/ 2147483647 w 57"/>
                    <a:gd name="T75" fmla="*/ 2147483647 h 58"/>
                    <a:gd name="T76" fmla="*/ 2147483647 w 57"/>
                    <a:gd name="T77" fmla="*/ 2147483647 h 58"/>
                    <a:gd name="T78" fmla="*/ 2147483647 w 57"/>
                    <a:gd name="T79" fmla="*/ 2147483647 h 58"/>
                    <a:gd name="T80" fmla="*/ 2147483647 w 57"/>
                    <a:gd name="T81" fmla="*/ 2147483647 h 58"/>
                    <a:gd name="T82" fmla="*/ 2147483647 w 57"/>
                    <a:gd name="T83" fmla="*/ 2147483647 h 58"/>
                    <a:gd name="T84" fmla="*/ 2147483647 w 57"/>
                    <a:gd name="T85" fmla="*/ 2147483647 h 58"/>
                    <a:gd name="T86" fmla="*/ 2147483647 w 57"/>
                    <a:gd name="T87" fmla="*/ 2147483647 h 58"/>
                    <a:gd name="T88" fmla="*/ 2147483647 w 57"/>
                    <a:gd name="T89" fmla="*/ 2147483647 h 58"/>
                    <a:gd name="T90" fmla="*/ 2147483647 w 57"/>
                    <a:gd name="T91" fmla="*/ 2147483647 h 58"/>
                    <a:gd name="T92" fmla="*/ 2147483647 w 57"/>
                    <a:gd name="T93" fmla="*/ 2147483647 h 58"/>
                    <a:gd name="T94" fmla="*/ 2147483647 w 57"/>
                    <a:gd name="T95" fmla="*/ 2147483647 h 58"/>
                    <a:gd name="T96" fmla="*/ 2147483647 w 57"/>
                    <a:gd name="T97" fmla="*/ 2147483647 h 58"/>
                    <a:gd name="T98" fmla="*/ 2147483647 w 57"/>
                    <a:gd name="T99" fmla="*/ 2147483647 h 58"/>
                    <a:gd name="T100" fmla="*/ 2147483647 w 57"/>
                    <a:gd name="T101" fmla="*/ 2147483647 h 58"/>
                    <a:gd name="T102" fmla="*/ 2147483647 w 57"/>
                    <a:gd name="T103" fmla="*/ 2147483647 h 58"/>
                    <a:gd name="T104" fmla="*/ 2147483647 w 57"/>
                    <a:gd name="T105" fmla="*/ 2147483647 h 58"/>
                    <a:gd name="T106" fmla="*/ 2147483647 w 57"/>
                    <a:gd name="T107" fmla="*/ 2147483647 h 58"/>
                    <a:gd name="T108" fmla="*/ 2147483647 w 57"/>
                    <a:gd name="T109" fmla="*/ 2147483647 h 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7"/>
                    <a:gd name="T166" fmla="*/ 0 h 58"/>
                    <a:gd name="T167" fmla="*/ 57 w 57"/>
                    <a:gd name="T168" fmla="*/ 58 h 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7" h="58">
                      <a:moveTo>
                        <a:pt x="56" y="38"/>
                      </a:moveTo>
                      <a:lnTo>
                        <a:pt x="56" y="38"/>
                      </a:lnTo>
                      <a:lnTo>
                        <a:pt x="51" y="37"/>
                      </a:lnTo>
                      <a:lnTo>
                        <a:pt x="48" y="33"/>
                      </a:lnTo>
                      <a:lnTo>
                        <a:pt x="41" y="29"/>
                      </a:lnTo>
                      <a:lnTo>
                        <a:pt x="41" y="27"/>
                      </a:lnTo>
                      <a:lnTo>
                        <a:pt x="43" y="26"/>
                      </a:lnTo>
                      <a:lnTo>
                        <a:pt x="48" y="24"/>
                      </a:lnTo>
                      <a:lnTo>
                        <a:pt x="46" y="16"/>
                      </a:lnTo>
                      <a:lnTo>
                        <a:pt x="42" y="7"/>
                      </a:lnTo>
                      <a:lnTo>
                        <a:pt x="39" y="4"/>
                      </a:lnTo>
                      <a:lnTo>
                        <a:pt x="37" y="1"/>
                      </a:lnTo>
                      <a:lnTo>
                        <a:pt x="34" y="0"/>
                      </a:lnTo>
                      <a:lnTo>
                        <a:pt x="32" y="1"/>
                      </a:lnTo>
                      <a:lnTo>
                        <a:pt x="21" y="10"/>
                      </a:lnTo>
                      <a:lnTo>
                        <a:pt x="9" y="16"/>
                      </a:lnTo>
                      <a:lnTo>
                        <a:pt x="8" y="17"/>
                      </a:lnTo>
                      <a:lnTo>
                        <a:pt x="8" y="18"/>
                      </a:lnTo>
                      <a:lnTo>
                        <a:pt x="8" y="22"/>
                      </a:lnTo>
                      <a:lnTo>
                        <a:pt x="8" y="26"/>
                      </a:lnTo>
                      <a:lnTo>
                        <a:pt x="8" y="30"/>
                      </a:lnTo>
                      <a:lnTo>
                        <a:pt x="4" y="32"/>
                      </a:lnTo>
                      <a:lnTo>
                        <a:pt x="2" y="33"/>
                      </a:lnTo>
                      <a:lnTo>
                        <a:pt x="1" y="36"/>
                      </a:lnTo>
                      <a:lnTo>
                        <a:pt x="0" y="38"/>
                      </a:lnTo>
                      <a:lnTo>
                        <a:pt x="0" y="42"/>
                      </a:lnTo>
                      <a:lnTo>
                        <a:pt x="1" y="44"/>
                      </a:lnTo>
                      <a:lnTo>
                        <a:pt x="2" y="45"/>
                      </a:lnTo>
                      <a:lnTo>
                        <a:pt x="9" y="48"/>
                      </a:lnTo>
                      <a:lnTo>
                        <a:pt x="14" y="51"/>
                      </a:lnTo>
                      <a:lnTo>
                        <a:pt x="18" y="55"/>
                      </a:lnTo>
                      <a:lnTo>
                        <a:pt x="23" y="58"/>
                      </a:lnTo>
                      <a:lnTo>
                        <a:pt x="24" y="58"/>
                      </a:lnTo>
                      <a:lnTo>
                        <a:pt x="25" y="58"/>
                      </a:lnTo>
                      <a:lnTo>
                        <a:pt x="28" y="56"/>
                      </a:lnTo>
                      <a:lnTo>
                        <a:pt x="32" y="50"/>
                      </a:lnTo>
                      <a:lnTo>
                        <a:pt x="34" y="48"/>
                      </a:lnTo>
                      <a:lnTo>
                        <a:pt x="35" y="46"/>
                      </a:lnTo>
                      <a:lnTo>
                        <a:pt x="42" y="44"/>
                      </a:lnTo>
                      <a:lnTo>
                        <a:pt x="55" y="43"/>
                      </a:lnTo>
                      <a:lnTo>
                        <a:pt x="56" y="43"/>
                      </a:lnTo>
                      <a:lnTo>
                        <a:pt x="57" y="42"/>
                      </a:lnTo>
                      <a:lnTo>
                        <a:pt x="57" y="39"/>
                      </a:lnTo>
                      <a:lnTo>
                        <a:pt x="56" y="3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1" name="Freeform 356"/>
                <p:cNvSpPr>
                  <a:spLocks/>
                </p:cNvSpPr>
                <p:nvPr/>
              </p:nvSpPr>
              <p:spPr bwMode="auto">
                <a:xfrm>
                  <a:off x="5991521" y="1626061"/>
                  <a:ext cx="36997" cy="17758"/>
                </a:xfrm>
                <a:custGeom>
                  <a:avLst/>
                  <a:gdLst>
                    <a:gd name="T0" fmla="*/ 2147483647 w 28"/>
                    <a:gd name="T1" fmla="*/ 0 h 12"/>
                    <a:gd name="T2" fmla="*/ 2147483647 w 28"/>
                    <a:gd name="T3" fmla="*/ 2147483647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2147483647 w 28"/>
                    <a:gd name="T17" fmla="*/ 2147483647 h 12"/>
                    <a:gd name="T18" fmla="*/ 2147483647 w 28"/>
                    <a:gd name="T19" fmla="*/ 2147483647 h 12"/>
                    <a:gd name="T20" fmla="*/ 2147483647 w 28"/>
                    <a:gd name="T21" fmla="*/ 2147483647 h 12"/>
                    <a:gd name="T22" fmla="*/ 0 w 28"/>
                    <a:gd name="T23" fmla="*/ 2147483647 h 12"/>
                    <a:gd name="T24" fmla="*/ 0 w 28"/>
                    <a:gd name="T25" fmla="*/ 2147483647 h 12"/>
                    <a:gd name="T26" fmla="*/ 2147483647 w 28"/>
                    <a:gd name="T27" fmla="*/ 2147483647 h 12"/>
                    <a:gd name="T28" fmla="*/ 2147483647 w 28"/>
                    <a:gd name="T29" fmla="*/ 2147483647 h 12"/>
                    <a:gd name="T30" fmla="*/ 2147483647 w 28"/>
                    <a:gd name="T31" fmla="*/ 2147483647 h 12"/>
                    <a:gd name="T32" fmla="*/ 2147483647 w 28"/>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12"/>
                    <a:gd name="T53" fmla="*/ 28 w 28"/>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12">
                      <a:moveTo>
                        <a:pt x="14" y="0"/>
                      </a:moveTo>
                      <a:lnTo>
                        <a:pt x="19" y="1"/>
                      </a:lnTo>
                      <a:lnTo>
                        <a:pt x="24" y="3"/>
                      </a:lnTo>
                      <a:lnTo>
                        <a:pt x="28" y="5"/>
                      </a:lnTo>
                      <a:lnTo>
                        <a:pt x="28" y="6"/>
                      </a:lnTo>
                      <a:lnTo>
                        <a:pt x="26" y="7"/>
                      </a:lnTo>
                      <a:lnTo>
                        <a:pt x="21" y="10"/>
                      </a:lnTo>
                      <a:lnTo>
                        <a:pt x="14" y="12"/>
                      </a:lnTo>
                      <a:lnTo>
                        <a:pt x="6" y="12"/>
                      </a:lnTo>
                      <a:lnTo>
                        <a:pt x="4" y="11"/>
                      </a:lnTo>
                      <a:lnTo>
                        <a:pt x="1" y="10"/>
                      </a:lnTo>
                      <a:lnTo>
                        <a:pt x="0" y="7"/>
                      </a:lnTo>
                      <a:lnTo>
                        <a:pt x="0" y="6"/>
                      </a:lnTo>
                      <a:lnTo>
                        <a:pt x="1" y="5"/>
                      </a:lnTo>
                      <a:lnTo>
                        <a:pt x="4" y="4"/>
                      </a:lnTo>
                      <a:lnTo>
                        <a:pt x="9" y="1"/>
                      </a:lnTo>
                      <a:lnTo>
                        <a:pt x="14"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2" name="Freeform 357"/>
                <p:cNvSpPr>
                  <a:spLocks/>
                </p:cNvSpPr>
                <p:nvPr/>
              </p:nvSpPr>
              <p:spPr bwMode="auto">
                <a:xfrm>
                  <a:off x="6043318" y="1679337"/>
                  <a:ext cx="34037" cy="26638"/>
                </a:xfrm>
                <a:custGeom>
                  <a:avLst/>
                  <a:gdLst>
                    <a:gd name="T0" fmla="*/ 2147483647 w 25"/>
                    <a:gd name="T1" fmla="*/ 2147483647 h 18"/>
                    <a:gd name="T2" fmla="*/ 2147483647 w 25"/>
                    <a:gd name="T3" fmla="*/ 0 h 18"/>
                    <a:gd name="T4" fmla="*/ 2147483647 w 25"/>
                    <a:gd name="T5" fmla="*/ 0 h 18"/>
                    <a:gd name="T6" fmla="*/ 2147483647 w 25"/>
                    <a:gd name="T7" fmla="*/ 2147483647 h 18"/>
                    <a:gd name="T8" fmla="*/ 2147483647 w 25"/>
                    <a:gd name="T9" fmla="*/ 2147483647 h 18"/>
                    <a:gd name="T10" fmla="*/ 2147483647 w 25"/>
                    <a:gd name="T11" fmla="*/ 2147483647 h 18"/>
                    <a:gd name="T12" fmla="*/ 2147483647 w 25"/>
                    <a:gd name="T13" fmla="*/ 2147483647 h 18"/>
                    <a:gd name="T14" fmla="*/ 2147483647 w 25"/>
                    <a:gd name="T15" fmla="*/ 2147483647 h 18"/>
                    <a:gd name="T16" fmla="*/ 2147483647 w 25"/>
                    <a:gd name="T17" fmla="*/ 2147483647 h 18"/>
                    <a:gd name="T18" fmla="*/ 2147483647 w 25"/>
                    <a:gd name="T19" fmla="*/ 2147483647 h 18"/>
                    <a:gd name="T20" fmla="*/ 2147483647 w 25"/>
                    <a:gd name="T21" fmla="*/ 2147483647 h 18"/>
                    <a:gd name="T22" fmla="*/ 2147483647 w 25"/>
                    <a:gd name="T23" fmla="*/ 2147483647 h 18"/>
                    <a:gd name="T24" fmla="*/ 2147483647 w 25"/>
                    <a:gd name="T25" fmla="*/ 2147483647 h 18"/>
                    <a:gd name="T26" fmla="*/ 0 w 25"/>
                    <a:gd name="T27" fmla="*/ 2147483647 h 18"/>
                    <a:gd name="T28" fmla="*/ 2147483647 w 25"/>
                    <a:gd name="T29" fmla="*/ 2147483647 h 18"/>
                    <a:gd name="T30" fmla="*/ 2147483647 w 25"/>
                    <a:gd name="T31" fmla="*/ 2147483647 h 18"/>
                    <a:gd name="T32" fmla="*/ 2147483647 w 25"/>
                    <a:gd name="T33" fmla="*/ 2147483647 h 18"/>
                    <a:gd name="T34" fmla="*/ 2147483647 w 25"/>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
                    <a:gd name="T55" fmla="*/ 0 h 18"/>
                    <a:gd name="T56" fmla="*/ 25 w 25"/>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 h="18">
                      <a:moveTo>
                        <a:pt x="13" y="1"/>
                      </a:moveTo>
                      <a:lnTo>
                        <a:pt x="18" y="0"/>
                      </a:lnTo>
                      <a:lnTo>
                        <a:pt x="20" y="0"/>
                      </a:lnTo>
                      <a:lnTo>
                        <a:pt x="23" y="1"/>
                      </a:lnTo>
                      <a:lnTo>
                        <a:pt x="25" y="3"/>
                      </a:lnTo>
                      <a:lnTo>
                        <a:pt x="24" y="6"/>
                      </a:lnTo>
                      <a:lnTo>
                        <a:pt x="21" y="9"/>
                      </a:lnTo>
                      <a:lnTo>
                        <a:pt x="19" y="12"/>
                      </a:lnTo>
                      <a:lnTo>
                        <a:pt x="13" y="15"/>
                      </a:lnTo>
                      <a:lnTo>
                        <a:pt x="6" y="18"/>
                      </a:lnTo>
                      <a:lnTo>
                        <a:pt x="4" y="18"/>
                      </a:lnTo>
                      <a:lnTo>
                        <a:pt x="2" y="16"/>
                      </a:lnTo>
                      <a:lnTo>
                        <a:pt x="1" y="14"/>
                      </a:lnTo>
                      <a:lnTo>
                        <a:pt x="0" y="12"/>
                      </a:lnTo>
                      <a:lnTo>
                        <a:pt x="1" y="4"/>
                      </a:lnTo>
                      <a:lnTo>
                        <a:pt x="2" y="2"/>
                      </a:lnTo>
                      <a:lnTo>
                        <a:pt x="6" y="2"/>
                      </a:lnTo>
                      <a:lnTo>
                        <a:pt x="13"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3" name="Freeform 358"/>
                <p:cNvSpPr>
                  <a:spLocks/>
                </p:cNvSpPr>
                <p:nvPr/>
              </p:nvSpPr>
              <p:spPr bwMode="auto">
                <a:xfrm>
                  <a:off x="5990044" y="1624583"/>
                  <a:ext cx="36996" cy="17758"/>
                </a:xfrm>
                <a:custGeom>
                  <a:avLst/>
                  <a:gdLst>
                    <a:gd name="T0" fmla="*/ 2147483647 w 27"/>
                    <a:gd name="T1" fmla="*/ 0 h 12"/>
                    <a:gd name="T2" fmla="*/ 2147483647 w 27"/>
                    <a:gd name="T3" fmla="*/ 0 h 12"/>
                    <a:gd name="T4" fmla="*/ 2147483647 w 27"/>
                    <a:gd name="T5" fmla="*/ 2147483647 h 12"/>
                    <a:gd name="T6" fmla="*/ 2147483647 w 27"/>
                    <a:gd name="T7" fmla="*/ 2147483647 h 12"/>
                    <a:gd name="T8" fmla="*/ 2147483647 w 27"/>
                    <a:gd name="T9" fmla="*/ 2147483647 h 12"/>
                    <a:gd name="T10" fmla="*/ 2147483647 w 27"/>
                    <a:gd name="T11" fmla="*/ 2147483647 h 12"/>
                    <a:gd name="T12" fmla="*/ 2147483647 w 27"/>
                    <a:gd name="T13" fmla="*/ 2147483647 h 12"/>
                    <a:gd name="T14" fmla="*/ 2147483647 w 27"/>
                    <a:gd name="T15" fmla="*/ 2147483647 h 12"/>
                    <a:gd name="T16" fmla="*/ 2147483647 w 27"/>
                    <a:gd name="T17" fmla="*/ 2147483647 h 12"/>
                    <a:gd name="T18" fmla="*/ 2147483647 w 27"/>
                    <a:gd name="T19" fmla="*/ 2147483647 h 12"/>
                    <a:gd name="T20" fmla="*/ 2147483647 w 27"/>
                    <a:gd name="T21" fmla="*/ 2147483647 h 12"/>
                    <a:gd name="T22" fmla="*/ 2147483647 w 27"/>
                    <a:gd name="T23" fmla="*/ 2147483647 h 12"/>
                    <a:gd name="T24" fmla="*/ 2147483647 w 27"/>
                    <a:gd name="T25" fmla="*/ 2147483647 h 12"/>
                    <a:gd name="T26" fmla="*/ 2147483647 w 27"/>
                    <a:gd name="T27" fmla="*/ 2147483647 h 12"/>
                    <a:gd name="T28" fmla="*/ 0 w 27"/>
                    <a:gd name="T29" fmla="*/ 2147483647 h 12"/>
                    <a:gd name="T30" fmla="*/ 0 w 27"/>
                    <a:gd name="T31" fmla="*/ 2147483647 h 12"/>
                    <a:gd name="T32" fmla="*/ 2147483647 w 27"/>
                    <a:gd name="T33" fmla="*/ 2147483647 h 12"/>
                    <a:gd name="T34" fmla="*/ 2147483647 w 27"/>
                    <a:gd name="T35" fmla="*/ 2147483647 h 12"/>
                    <a:gd name="T36" fmla="*/ 2147483647 w 27"/>
                    <a:gd name="T37" fmla="*/ 2147483647 h 12"/>
                    <a:gd name="T38" fmla="*/ 2147483647 w 27"/>
                    <a:gd name="T39" fmla="*/ 0 h 12"/>
                    <a:gd name="T40" fmla="*/ 2147483647 w 27"/>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12"/>
                    <a:gd name="T65" fmla="*/ 27 w 27"/>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12">
                      <a:moveTo>
                        <a:pt x="13" y="0"/>
                      </a:moveTo>
                      <a:lnTo>
                        <a:pt x="13" y="0"/>
                      </a:lnTo>
                      <a:lnTo>
                        <a:pt x="19" y="1"/>
                      </a:lnTo>
                      <a:lnTo>
                        <a:pt x="24" y="2"/>
                      </a:lnTo>
                      <a:lnTo>
                        <a:pt x="27" y="5"/>
                      </a:lnTo>
                      <a:lnTo>
                        <a:pt x="27" y="6"/>
                      </a:lnTo>
                      <a:lnTo>
                        <a:pt x="26" y="7"/>
                      </a:lnTo>
                      <a:lnTo>
                        <a:pt x="21" y="9"/>
                      </a:lnTo>
                      <a:lnTo>
                        <a:pt x="13" y="12"/>
                      </a:lnTo>
                      <a:lnTo>
                        <a:pt x="6" y="12"/>
                      </a:lnTo>
                      <a:lnTo>
                        <a:pt x="3" y="11"/>
                      </a:lnTo>
                      <a:lnTo>
                        <a:pt x="1" y="9"/>
                      </a:lnTo>
                      <a:lnTo>
                        <a:pt x="0" y="7"/>
                      </a:lnTo>
                      <a:lnTo>
                        <a:pt x="0" y="6"/>
                      </a:lnTo>
                      <a:lnTo>
                        <a:pt x="1" y="5"/>
                      </a:lnTo>
                      <a:lnTo>
                        <a:pt x="3" y="4"/>
                      </a:lnTo>
                      <a:lnTo>
                        <a:pt x="8" y="1"/>
                      </a:lnTo>
                      <a:lnTo>
                        <a:pt x="1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4" name="Freeform 359"/>
                <p:cNvSpPr>
                  <a:spLocks/>
                </p:cNvSpPr>
                <p:nvPr/>
              </p:nvSpPr>
              <p:spPr bwMode="auto">
                <a:xfrm>
                  <a:off x="6041841" y="1677856"/>
                  <a:ext cx="34038" cy="25158"/>
                </a:xfrm>
                <a:custGeom>
                  <a:avLst/>
                  <a:gdLst>
                    <a:gd name="T0" fmla="*/ 2147483647 w 25"/>
                    <a:gd name="T1" fmla="*/ 2147483647 h 17"/>
                    <a:gd name="T2" fmla="*/ 2147483647 w 25"/>
                    <a:gd name="T3" fmla="*/ 2147483647 h 17"/>
                    <a:gd name="T4" fmla="*/ 2147483647 w 25"/>
                    <a:gd name="T5" fmla="*/ 0 h 17"/>
                    <a:gd name="T6" fmla="*/ 2147483647 w 25"/>
                    <a:gd name="T7" fmla="*/ 0 h 17"/>
                    <a:gd name="T8" fmla="*/ 2147483647 w 25"/>
                    <a:gd name="T9" fmla="*/ 2147483647 h 17"/>
                    <a:gd name="T10" fmla="*/ 2147483647 w 25"/>
                    <a:gd name="T11" fmla="*/ 2147483647 h 17"/>
                    <a:gd name="T12" fmla="*/ 2147483647 w 25"/>
                    <a:gd name="T13" fmla="*/ 2147483647 h 17"/>
                    <a:gd name="T14" fmla="*/ 2147483647 w 25"/>
                    <a:gd name="T15" fmla="*/ 2147483647 h 17"/>
                    <a:gd name="T16" fmla="*/ 2147483647 w 25"/>
                    <a:gd name="T17" fmla="*/ 2147483647 h 17"/>
                    <a:gd name="T18" fmla="*/ 2147483647 w 25"/>
                    <a:gd name="T19" fmla="*/ 2147483647 h 17"/>
                    <a:gd name="T20" fmla="*/ 2147483647 w 25"/>
                    <a:gd name="T21" fmla="*/ 2147483647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0 w 25"/>
                    <a:gd name="T35" fmla="*/ 2147483647 h 17"/>
                    <a:gd name="T36" fmla="*/ 2147483647 w 25"/>
                    <a:gd name="T37" fmla="*/ 2147483647 h 17"/>
                    <a:gd name="T38" fmla="*/ 2147483647 w 25"/>
                    <a:gd name="T39" fmla="*/ 2147483647 h 17"/>
                    <a:gd name="T40" fmla="*/ 2147483647 w 25"/>
                    <a:gd name="T41" fmla="*/ 2147483647 h 17"/>
                    <a:gd name="T42" fmla="*/ 2147483647 w 25"/>
                    <a:gd name="T43" fmla="*/ 2147483647 h 17"/>
                    <a:gd name="T44" fmla="*/ 2147483647 w 25"/>
                    <a:gd name="T45" fmla="*/ 2147483647 h 17"/>
                    <a:gd name="T46" fmla="*/ 2147483647 w 25"/>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
                    <a:gd name="T73" fmla="*/ 0 h 17"/>
                    <a:gd name="T74" fmla="*/ 25 w 25"/>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 h="17">
                      <a:moveTo>
                        <a:pt x="12" y="1"/>
                      </a:moveTo>
                      <a:lnTo>
                        <a:pt x="12" y="1"/>
                      </a:lnTo>
                      <a:lnTo>
                        <a:pt x="17" y="0"/>
                      </a:lnTo>
                      <a:lnTo>
                        <a:pt x="20" y="0"/>
                      </a:lnTo>
                      <a:lnTo>
                        <a:pt x="22" y="1"/>
                      </a:lnTo>
                      <a:lnTo>
                        <a:pt x="25" y="3"/>
                      </a:lnTo>
                      <a:lnTo>
                        <a:pt x="24" y="5"/>
                      </a:lnTo>
                      <a:lnTo>
                        <a:pt x="21" y="9"/>
                      </a:lnTo>
                      <a:lnTo>
                        <a:pt x="19" y="11"/>
                      </a:lnTo>
                      <a:lnTo>
                        <a:pt x="12" y="15"/>
                      </a:lnTo>
                      <a:lnTo>
                        <a:pt x="6" y="17"/>
                      </a:lnTo>
                      <a:lnTo>
                        <a:pt x="3" y="17"/>
                      </a:lnTo>
                      <a:lnTo>
                        <a:pt x="2" y="16"/>
                      </a:lnTo>
                      <a:lnTo>
                        <a:pt x="1" y="14"/>
                      </a:lnTo>
                      <a:lnTo>
                        <a:pt x="0" y="11"/>
                      </a:lnTo>
                      <a:lnTo>
                        <a:pt x="1" y="4"/>
                      </a:lnTo>
                      <a:lnTo>
                        <a:pt x="2" y="2"/>
                      </a:lnTo>
                      <a:lnTo>
                        <a:pt x="6" y="2"/>
                      </a:lnTo>
                      <a:lnTo>
                        <a:pt x="12"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5" name="Freeform 360"/>
                <p:cNvSpPr>
                  <a:spLocks/>
                </p:cNvSpPr>
                <p:nvPr/>
              </p:nvSpPr>
              <p:spPr bwMode="auto">
                <a:xfrm>
                  <a:off x="5966364" y="1658621"/>
                  <a:ext cx="29597" cy="25157"/>
                </a:xfrm>
                <a:custGeom>
                  <a:avLst/>
                  <a:gdLst>
                    <a:gd name="T0" fmla="*/ 2147483647 w 22"/>
                    <a:gd name="T1" fmla="*/ 2147483647 h 17"/>
                    <a:gd name="T2" fmla="*/ 2147483647 w 22"/>
                    <a:gd name="T3" fmla="*/ 2147483647 h 17"/>
                    <a:gd name="T4" fmla="*/ 2147483647 w 22"/>
                    <a:gd name="T5" fmla="*/ 2147483647 h 17"/>
                    <a:gd name="T6" fmla="*/ 2147483647 w 22"/>
                    <a:gd name="T7" fmla="*/ 2147483647 h 17"/>
                    <a:gd name="T8" fmla="*/ 2147483647 w 22"/>
                    <a:gd name="T9" fmla="*/ 2147483647 h 17"/>
                    <a:gd name="T10" fmla="*/ 2147483647 w 22"/>
                    <a:gd name="T11" fmla="*/ 2147483647 h 17"/>
                    <a:gd name="T12" fmla="*/ 2147483647 w 22"/>
                    <a:gd name="T13" fmla="*/ 2147483647 h 17"/>
                    <a:gd name="T14" fmla="*/ 2147483647 w 22"/>
                    <a:gd name="T15" fmla="*/ 2147483647 h 17"/>
                    <a:gd name="T16" fmla="*/ 2147483647 w 22"/>
                    <a:gd name="T17" fmla="*/ 2147483647 h 17"/>
                    <a:gd name="T18" fmla="*/ 0 w 22"/>
                    <a:gd name="T19" fmla="*/ 2147483647 h 17"/>
                    <a:gd name="T20" fmla="*/ 2147483647 w 22"/>
                    <a:gd name="T21" fmla="*/ 2147483647 h 17"/>
                    <a:gd name="T22" fmla="*/ 2147483647 w 22"/>
                    <a:gd name="T23" fmla="*/ 2147483647 h 17"/>
                    <a:gd name="T24" fmla="*/ 2147483647 w 22"/>
                    <a:gd name="T25" fmla="*/ 0 h 17"/>
                    <a:gd name="T26" fmla="*/ 2147483647 w 22"/>
                    <a:gd name="T27" fmla="*/ 0 h 17"/>
                    <a:gd name="T28" fmla="*/ 2147483647 w 22"/>
                    <a:gd name="T29" fmla="*/ 2147483647 h 17"/>
                    <a:gd name="T30" fmla="*/ 2147483647 w 22"/>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17"/>
                    <a:gd name="T50" fmla="*/ 22 w 22"/>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17">
                      <a:moveTo>
                        <a:pt x="18" y="7"/>
                      </a:moveTo>
                      <a:lnTo>
                        <a:pt x="20" y="9"/>
                      </a:lnTo>
                      <a:lnTo>
                        <a:pt x="22" y="13"/>
                      </a:lnTo>
                      <a:lnTo>
                        <a:pt x="20" y="15"/>
                      </a:lnTo>
                      <a:lnTo>
                        <a:pt x="18" y="17"/>
                      </a:lnTo>
                      <a:lnTo>
                        <a:pt x="14" y="17"/>
                      </a:lnTo>
                      <a:lnTo>
                        <a:pt x="8" y="15"/>
                      </a:lnTo>
                      <a:lnTo>
                        <a:pt x="4" y="13"/>
                      </a:lnTo>
                      <a:lnTo>
                        <a:pt x="1" y="10"/>
                      </a:lnTo>
                      <a:lnTo>
                        <a:pt x="0" y="8"/>
                      </a:lnTo>
                      <a:lnTo>
                        <a:pt x="1" y="4"/>
                      </a:lnTo>
                      <a:lnTo>
                        <a:pt x="4" y="2"/>
                      </a:lnTo>
                      <a:lnTo>
                        <a:pt x="8" y="0"/>
                      </a:lnTo>
                      <a:lnTo>
                        <a:pt x="10" y="0"/>
                      </a:lnTo>
                      <a:lnTo>
                        <a:pt x="13" y="1"/>
                      </a:lnTo>
                      <a:lnTo>
                        <a:pt x="1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6" name="Freeform 361"/>
                <p:cNvSpPr>
                  <a:spLocks/>
                </p:cNvSpPr>
                <p:nvPr/>
              </p:nvSpPr>
              <p:spPr bwMode="auto">
                <a:xfrm>
                  <a:off x="6012240" y="1808084"/>
                  <a:ext cx="29597" cy="25158"/>
                </a:xfrm>
                <a:custGeom>
                  <a:avLst/>
                  <a:gdLst>
                    <a:gd name="T0" fmla="*/ 2147483647 w 21"/>
                    <a:gd name="T1" fmla="*/ 2147483647 h 17"/>
                    <a:gd name="T2" fmla="*/ 2147483647 w 21"/>
                    <a:gd name="T3" fmla="*/ 2147483647 h 17"/>
                    <a:gd name="T4" fmla="*/ 2147483647 w 21"/>
                    <a:gd name="T5" fmla="*/ 2147483647 h 17"/>
                    <a:gd name="T6" fmla="*/ 2147483647 w 21"/>
                    <a:gd name="T7" fmla="*/ 2147483647 h 17"/>
                    <a:gd name="T8" fmla="*/ 2147483647 w 21"/>
                    <a:gd name="T9" fmla="*/ 0 h 17"/>
                    <a:gd name="T10" fmla="*/ 2147483647 w 21"/>
                    <a:gd name="T11" fmla="*/ 0 h 17"/>
                    <a:gd name="T12" fmla="*/ 2147483647 w 21"/>
                    <a:gd name="T13" fmla="*/ 2147483647 h 17"/>
                    <a:gd name="T14" fmla="*/ 2147483647 w 21"/>
                    <a:gd name="T15" fmla="*/ 2147483647 h 17"/>
                    <a:gd name="T16" fmla="*/ 0 w 21"/>
                    <a:gd name="T17" fmla="*/ 2147483647 h 17"/>
                    <a:gd name="T18" fmla="*/ 0 w 21"/>
                    <a:gd name="T19" fmla="*/ 2147483647 h 17"/>
                    <a:gd name="T20" fmla="*/ 0 w 21"/>
                    <a:gd name="T21" fmla="*/ 2147483647 h 17"/>
                    <a:gd name="T22" fmla="*/ 2147483647 w 21"/>
                    <a:gd name="T23" fmla="*/ 2147483647 h 17"/>
                    <a:gd name="T24" fmla="*/ 2147483647 w 21"/>
                    <a:gd name="T25" fmla="*/ 2147483647 h 17"/>
                    <a:gd name="T26" fmla="*/ 2147483647 w 21"/>
                    <a:gd name="T27" fmla="*/ 2147483647 h 17"/>
                    <a:gd name="T28" fmla="*/ 2147483647 w 21"/>
                    <a:gd name="T29" fmla="*/ 2147483647 h 17"/>
                    <a:gd name="T30" fmla="*/ 2147483647 w 21"/>
                    <a:gd name="T31" fmla="*/ 2147483647 h 17"/>
                    <a:gd name="T32" fmla="*/ 2147483647 w 21"/>
                    <a:gd name="T33" fmla="*/ 2147483647 h 17"/>
                    <a:gd name="T34" fmla="*/ 2147483647 w 21"/>
                    <a:gd name="T35" fmla="*/ 2147483647 h 17"/>
                    <a:gd name="T36" fmla="*/ 2147483647 w 21"/>
                    <a:gd name="T37" fmla="*/ 2147483647 h 17"/>
                    <a:gd name="T38" fmla="*/ 2147483647 w 21"/>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7"/>
                    <a:gd name="T62" fmla="*/ 21 w 21"/>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7">
                      <a:moveTo>
                        <a:pt x="21" y="15"/>
                      </a:moveTo>
                      <a:lnTo>
                        <a:pt x="18" y="8"/>
                      </a:lnTo>
                      <a:lnTo>
                        <a:pt x="17" y="4"/>
                      </a:lnTo>
                      <a:lnTo>
                        <a:pt x="16" y="2"/>
                      </a:lnTo>
                      <a:lnTo>
                        <a:pt x="14" y="0"/>
                      </a:lnTo>
                      <a:lnTo>
                        <a:pt x="12" y="0"/>
                      </a:lnTo>
                      <a:lnTo>
                        <a:pt x="7" y="3"/>
                      </a:lnTo>
                      <a:lnTo>
                        <a:pt x="3" y="3"/>
                      </a:lnTo>
                      <a:lnTo>
                        <a:pt x="0" y="3"/>
                      </a:lnTo>
                      <a:lnTo>
                        <a:pt x="0" y="4"/>
                      </a:lnTo>
                      <a:lnTo>
                        <a:pt x="0" y="8"/>
                      </a:lnTo>
                      <a:lnTo>
                        <a:pt x="2" y="11"/>
                      </a:lnTo>
                      <a:lnTo>
                        <a:pt x="3" y="14"/>
                      </a:lnTo>
                      <a:lnTo>
                        <a:pt x="7" y="16"/>
                      </a:lnTo>
                      <a:lnTo>
                        <a:pt x="9" y="17"/>
                      </a:lnTo>
                      <a:lnTo>
                        <a:pt x="13" y="17"/>
                      </a:lnTo>
                      <a:lnTo>
                        <a:pt x="17" y="16"/>
                      </a:lnTo>
                      <a:lnTo>
                        <a:pt x="21" y="14"/>
                      </a:lnTo>
                      <a:lnTo>
                        <a:pt x="19" y="15"/>
                      </a:lnTo>
                      <a:lnTo>
                        <a:pt x="21"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7" name="Freeform 362"/>
                <p:cNvSpPr>
                  <a:spLocks/>
                </p:cNvSpPr>
                <p:nvPr/>
              </p:nvSpPr>
              <p:spPr bwMode="auto">
                <a:xfrm>
                  <a:off x="5964887" y="1655661"/>
                  <a:ext cx="28118" cy="26638"/>
                </a:xfrm>
                <a:custGeom>
                  <a:avLst/>
                  <a:gdLst>
                    <a:gd name="T0" fmla="*/ 2147483647 w 21"/>
                    <a:gd name="T1" fmla="*/ 2147483647 h 18"/>
                    <a:gd name="T2" fmla="*/ 2147483647 w 21"/>
                    <a:gd name="T3" fmla="*/ 2147483647 h 18"/>
                    <a:gd name="T4" fmla="*/ 2147483647 w 21"/>
                    <a:gd name="T5" fmla="*/ 2147483647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0 w 21"/>
                    <a:gd name="T25" fmla="*/ 2147483647 h 18"/>
                    <a:gd name="T26" fmla="*/ 2147483647 w 21"/>
                    <a:gd name="T27" fmla="*/ 2147483647 h 18"/>
                    <a:gd name="T28" fmla="*/ 2147483647 w 21"/>
                    <a:gd name="T29" fmla="*/ 2147483647 h 18"/>
                    <a:gd name="T30" fmla="*/ 2147483647 w 21"/>
                    <a:gd name="T31" fmla="*/ 0 h 18"/>
                    <a:gd name="T32" fmla="*/ 2147483647 w 21"/>
                    <a:gd name="T33" fmla="*/ 0 h 18"/>
                    <a:gd name="T34" fmla="*/ 2147483647 w 21"/>
                    <a:gd name="T35" fmla="*/ 0 h 18"/>
                    <a:gd name="T36" fmla="*/ 2147483647 w 21"/>
                    <a:gd name="T37" fmla="*/ 2147483647 h 18"/>
                    <a:gd name="T38" fmla="*/ 2147483647 w 21"/>
                    <a:gd name="T39" fmla="*/ 2147483647 h 18"/>
                    <a:gd name="T40" fmla="*/ 2147483647 w 21"/>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8"/>
                    <a:gd name="T65" fmla="*/ 21 w 21"/>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8">
                      <a:moveTo>
                        <a:pt x="18" y="7"/>
                      </a:moveTo>
                      <a:lnTo>
                        <a:pt x="18" y="7"/>
                      </a:lnTo>
                      <a:lnTo>
                        <a:pt x="20" y="10"/>
                      </a:lnTo>
                      <a:lnTo>
                        <a:pt x="21" y="13"/>
                      </a:lnTo>
                      <a:lnTo>
                        <a:pt x="20" y="16"/>
                      </a:lnTo>
                      <a:lnTo>
                        <a:pt x="18" y="18"/>
                      </a:lnTo>
                      <a:lnTo>
                        <a:pt x="14" y="18"/>
                      </a:lnTo>
                      <a:lnTo>
                        <a:pt x="7" y="16"/>
                      </a:lnTo>
                      <a:lnTo>
                        <a:pt x="4" y="13"/>
                      </a:lnTo>
                      <a:lnTo>
                        <a:pt x="1" y="11"/>
                      </a:lnTo>
                      <a:lnTo>
                        <a:pt x="0" y="9"/>
                      </a:lnTo>
                      <a:lnTo>
                        <a:pt x="1" y="5"/>
                      </a:lnTo>
                      <a:lnTo>
                        <a:pt x="4" y="3"/>
                      </a:lnTo>
                      <a:lnTo>
                        <a:pt x="7" y="0"/>
                      </a:lnTo>
                      <a:lnTo>
                        <a:pt x="10" y="0"/>
                      </a:lnTo>
                      <a:lnTo>
                        <a:pt x="12" y="2"/>
                      </a:lnTo>
                      <a:lnTo>
                        <a:pt x="1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8" name="Freeform 363"/>
                <p:cNvSpPr>
                  <a:spLocks/>
                </p:cNvSpPr>
                <p:nvPr/>
              </p:nvSpPr>
              <p:spPr bwMode="auto">
                <a:xfrm>
                  <a:off x="6010760" y="1806609"/>
                  <a:ext cx="28117" cy="25157"/>
                </a:xfrm>
                <a:custGeom>
                  <a:avLst/>
                  <a:gdLst>
                    <a:gd name="T0" fmla="*/ 2147483647 w 20"/>
                    <a:gd name="T1" fmla="*/ 2147483647 h 17"/>
                    <a:gd name="T2" fmla="*/ 2147483647 w 20"/>
                    <a:gd name="T3" fmla="*/ 2147483647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0 h 17"/>
                    <a:gd name="T14" fmla="*/ 2147483647 w 20"/>
                    <a:gd name="T15" fmla="*/ 0 h 17"/>
                    <a:gd name="T16" fmla="*/ 2147483647 w 20"/>
                    <a:gd name="T17" fmla="*/ 2147483647 h 17"/>
                    <a:gd name="T18" fmla="*/ 2147483647 w 20"/>
                    <a:gd name="T19" fmla="*/ 2147483647 h 17"/>
                    <a:gd name="T20" fmla="*/ 2147483647 w 20"/>
                    <a:gd name="T21" fmla="*/ 2147483647 h 17"/>
                    <a:gd name="T22" fmla="*/ 0 w 20"/>
                    <a:gd name="T23" fmla="*/ 2147483647 h 17"/>
                    <a:gd name="T24" fmla="*/ 0 w 20"/>
                    <a:gd name="T25" fmla="*/ 2147483647 h 17"/>
                    <a:gd name="T26" fmla="*/ 0 w 20"/>
                    <a:gd name="T27" fmla="*/ 2147483647 h 17"/>
                    <a:gd name="T28" fmla="*/ 0 w 20"/>
                    <a:gd name="T29" fmla="*/ 2147483647 h 17"/>
                    <a:gd name="T30" fmla="*/ 2147483647 w 20"/>
                    <a:gd name="T31" fmla="*/ 2147483647 h 17"/>
                    <a:gd name="T32" fmla="*/ 2147483647 w 20"/>
                    <a:gd name="T33" fmla="*/ 2147483647 h 17"/>
                    <a:gd name="T34" fmla="*/ 2147483647 w 20"/>
                    <a:gd name="T35" fmla="*/ 2147483647 h 17"/>
                    <a:gd name="T36" fmla="*/ 2147483647 w 20"/>
                    <a:gd name="T37" fmla="*/ 2147483647 h 17"/>
                    <a:gd name="T38" fmla="*/ 2147483647 w 20"/>
                    <a:gd name="T39" fmla="*/ 2147483647 h 17"/>
                    <a:gd name="T40" fmla="*/ 2147483647 w 20"/>
                    <a:gd name="T41" fmla="*/ 2147483647 h 17"/>
                    <a:gd name="T42" fmla="*/ 2147483647 w 20"/>
                    <a:gd name="T43" fmla="*/ 2147483647 h 17"/>
                    <a:gd name="T44" fmla="*/ 2147483647 w 20"/>
                    <a:gd name="T45" fmla="*/ 2147483647 h 17"/>
                    <a:gd name="T46" fmla="*/ 2147483647 w 20"/>
                    <a:gd name="T47" fmla="*/ 2147483647 h 17"/>
                    <a:gd name="T48" fmla="*/ 2147483647 w 20"/>
                    <a:gd name="T49" fmla="*/ 2147483647 h 17"/>
                    <a:gd name="T50" fmla="*/ 2147483647 w 20"/>
                    <a:gd name="T51" fmla="*/ 2147483647 h 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
                    <a:gd name="T79" fmla="*/ 0 h 17"/>
                    <a:gd name="T80" fmla="*/ 20 w 20"/>
                    <a:gd name="T81" fmla="*/ 17 h 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 h="17">
                      <a:moveTo>
                        <a:pt x="20" y="15"/>
                      </a:moveTo>
                      <a:lnTo>
                        <a:pt x="20" y="15"/>
                      </a:lnTo>
                      <a:lnTo>
                        <a:pt x="18" y="7"/>
                      </a:lnTo>
                      <a:lnTo>
                        <a:pt x="17" y="4"/>
                      </a:lnTo>
                      <a:lnTo>
                        <a:pt x="15" y="1"/>
                      </a:lnTo>
                      <a:lnTo>
                        <a:pt x="14" y="0"/>
                      </a:lnTo>
                      <a:lnTo>
                        <a:pt x="11" y="0"/>
                      </a:lnTo>
                      <a:lnTo>
                        <a:pt x="6" y="3"/>
                      </a:lnTo>
                      <a:lnTo>
                        <a:pt x="3" y="3"/>
                      </a:lnTo>
                      <a:lnTo>
                        <a:pt x="0" y="3"/>
                      </a:lnTo>
                      <a:lnTo>
                        <a:pt x="0" y="4"/>
                      </a:lnTo>
                      <a:lnTo>
                        <a:pt x="0" y="7"/>
                      </a:lnTo>
                      <a:lnTo>
                        <a:pt x="1" y="11"/>
                      </a:lnTo>
                      <a:lnTo>
                        <a:pt x="3" y="13"/>
                      </a:lnTo>
                      <a:lnTo>
                        <a:pt x="6" y="16"/>
                      </a:lnTo>
                      <a:lnTo>
                        <a:pt x="9" y="17"/>
                      </a:lnTo>
                      <a:lnTo>
                        <a:pt x="13" y="17"/>
                      </a:lnTo>
                      <a:lnTo>
                        <a:pt x="17" y="16"/>
                      </a:lnTo>
                      <a:lnTo>
                        <a:pt x="20" y="13"/>
                      </a:lnTo>
                      <a:lnTo>
                        <a:pt x="19" y="15"/>
                      </a:lnTo>
                      <a:lnTo>
                        <a:pt x="20"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29" name="Freeform 364"/>
                <p:cNvSpPr>
                  <a:spLocks/>
                </p:cNvSpPr>
                <p:nvPr/>
              </p:nvSpPr>
              <p:spPr bwMode="auto">
                <a:xfrm>
                  <a:off x="6022603" y="1707457"/>
                  <a:ext cx="68074" cy="73994"/>
                </a:xfrm>
                <a:custGeom>
                  <a:avLst/>
                  <a:gdLst>
                    <a:gd name="T0" fmla="*/ 2147483647 w 50"/>
                    <a:gd name="T1" fmla="*/ 2147483647 h 50"/>
                    <a:gd name="T2" fmla="*/ 2147483647 w 50"/>
                    <a:gd name="T3" fmla="*/ 2147483647 h 50"/>
                    <a:gd name="T4" fmla="*/ 2147483647 w 50"/>
                    <a:gd name="T5" fmla="*/ 2147483647 h 50"/>
                    <a:gd name="T6" fmla="*/ 2147483647 w 50"/>
                    <a:gd name="T7" fmla="*/ 2147483647 h 50"/>
                    <a:gd name="T8" fmla="*/ 2147483647 w 50"/>
                    <a:gd name="T9" fmla="*/ 2147483647 h 50"/>
                    <a:gd name="T10" fmla="*/ 2147483647 w 50"/>
                    <a:gd name="T11" fmla="*/ 2147483647 h 50"/>
                    <a:gd name="T12" fmla="*/ 2147483647 w 50"/>
                    <a:gd name="T13" fmla="*/ 2147483647 h 50"/>
                    <a:gd name="T14" fmla="*/ 2147483647 w 50"/>
                    <a:gd name="T15" fmla="*/ 2147483647 h 50"/>
                    <a:gd name="T16" fmla="*/ 2147483647 w 50"/>
                    <a:gd name="T17" fmla="*/ 2147483647 h 50"/>
                    <a:gd name="T18" fmla="*/ 2147483647 w 50"/>
                    <a:gd name="T19" fmla="*/ 2147483647 h 50"/>
                    <a:gd name="T20" fmla="*/ 2147483647 w 50"/>
                    <a:gd name="T21" fmla="*/ 2147483647 h 50"/>
                    <a:gd name="T22" fmla="*/ 2147483647 w 50"/>
                    <a:gd name="T23" fmla="*/ 2147483647 h 50"/>
                    <a:gd name="T24" fmla="*/ 2147483647 w 50"/>
                    <a:gd name="T25" fmla="*/ 2147483647 h 50"/>
                    <a:gd name="T26" fmla="*/ 2147483647 w 50"/>
                    <a:gd name="T27" fmla="*/ 2147483647 h 50"/>
                    <a:gd name="T28" fmla="*/ 2147483647 w 50"/>
                    <a:gd name="T29" fmla="*/ 2147483647 h 50"/>
                    <a:gd name="T30" fmla="*/ 2147483647 w 50"/>
                    <a:gd name="T31" fmla="*/ 2147483647 h 50"/>
                    <a:gd name="T32" fmla="*/ 2147483647 w 50"/>
                    <a:gd name="T33" fmla="*/ 2147483647 h 50"/>
                    <a:gd name="T34" fmla="*/ 2147483647 w 50"/>
                    <a:gd name="T35" fmla="*/ 2147483647 h 50"/>
                    <a:gd name="T36" fmla="*/ 2147483647 w 50"/>
                    <a:gd name="T37" fmla="*/ 2147483647 h 50"/>
                    <a:gd name="T38" fmla="*/ 2147483647 w 50"/>
                    <a:gd name="T39" fmla="*/ 2147483647 h 50"/>
                    <a:gd name="T40" fmla="*/ 2147483647 w 50"/>
                    <a:gd name="T41" fmla="*/ 2147483647 h 50"/>
                    <a:gd name="T42" fmla="*/ 2147483647 w 50"/>
                    <a:gd name="T43" fmla="*/ 2147483647 h 50"/>
                    <a:gd name="T44" fmla="*/ 2147483647 w 50"/>
                    <a:gd name="T45" fmla="*/ 0 h 50"/>
                    <a:gd name="T46" fmla="*/ 2147483647 w 50"/>
                    <a:gd name="T47" fmla="*/ 2147483647 h 50"/>
                    <a:gd name="T48" fmla="*/ 2147483647 w 50"/>
                    <a:gd name="T49" fmla="*/ 2147483647 h 50"/>
                    <a:gd name="T50" fmla="*/ 2147483647 w 50"/>
                    <a:gd name="T51" fmla="*/ 2147483647 h 50"/>
                    <a:gd name="T52" fmla="*/ 2147483647 w 50"/>
                    <a:gd name="T53" fmla="*/ 2147483647 h 50"/>
                    <a:gd name="T54" fmla="*/ 2147483647 w 50"/>
                    <a:gd name="T55" fmla="*/ 2147483647 h 50"/>
                    <a:gd name="T56" fmla="*/ 2147483647 w 50"/>
                    <a:gd name="T57" fmla="*/ 2147483647 h 50"/>
                    <a:gd name="T58" fmla="*/ 2147483647 w 50"/>
                    <a:gd name="T59" fmla="*/ 2147483647 h 50"/>
                    <a:gd name="T60" fmla="*/ 2147483647 w 50"/>
                    <a:gd name="T61" fmla="*/ 2147483647 h 50"/>
                    <a:gd name="T62" fmla="*/ 2147483647 w 50"/>
                    <a:gd name="T63" fmla="*/ 2147483647 h 50"/>
                    <a:gd name="T64" fmla="*/ 2147483647 w 50"/>
                    <a:gd name="T65" fmla="*/ 2147483647 h 50"/>
                    <a:gd name="T66" fmla="*/ 2147483647 w 50"/>
                    <a:gd name="T67" fmla="*/ 2147483647 h 50"/>
                    <a:gd name="T68" fmla="*/ 2147483647 w 50"/>
                    <a:gd name="T69" fmla="*/ 2147483647 h 50"/>
                    <a:gd name="T70" fmla="*/ 2147483647 w 50"/>
                    <a:gd name="T71" fmla="*/ 2147483647 h 50"/>
                    <a:gd name="T72" fmla="*/ 2147483647 w 50"/>
                    <a:gd name="T73" fmla="*/ 2147483647 h 50"/>
                    <a:gd name="T74" fmla="*/ 0 w 50"/>
                    <a:gd name="T75" fmla="*/ 2147483647 h 50"/>
                    <a:gd name="T76" fmla="*/ 0 w 50"/>
                    <a:gd name="T77" fmla="*/ 2147483647 h 50"/>
                    <a:gd name="T78" fmla="*/ 2147483647 w 50"/>
                    <a:gd name="T79" fmla="*/ 2147483647 h 50"/>
                    <a:gd name="T80" fmla="*/ 2147483647 w 50"/>
                    <a:gd name="T81" fmla="*/ 2147483647 h 50"/>
                    <a:gd name="T82" fmla="*/ 2147483647 w 50"/>
                    <a:gd name="T83" fmla="*/ 2147483647 h 50"/>
                    <a:gd name="T84" fmla="*/ 2147483647 w 50"/>
                    <a:gd name="T85" fmla="*/ 2147483647 h 50"/>
                    <a:gd name="T86" fmla="*/ 2147483647 w 50"/>
                    <a:gd name="T87" fmla="*/ 2147483647 h 50"/>
                    <a:gd name="T88" fmla="*/ 2147483647 w 50"/>
                    <a:gd name="T89" fmla="*/ 2147483647 h 50"/>
                    <a:gd name="T90" fmla="*/ 2147483647 w 50"/>
                    <a:gd name="T91" fmla="*/ 2147483647 h 50"/>
                    <a:gd name="T92" fmla="*/ 2147483647 w 50"/>
                    <a:gd name="T93" fmla="*/ 2147483647 h 50"/>
                    <a:gd name="T94" fmla="*/ 2147483647 w 50"/>
                    <a:gd name="T95" fmla="*/ 2147483647 h 50"/>
                    <a:gd name="T96" fmla="*/ 2147483647 w 50"/>
                    <a:gd name="T97" fmla="*/ 2147483647 h 50"/>
                    <a:gd name="T98" fmla="*/ 2147483647 w 50"/>
                    <a:gd name="T99" fmla="*/ 2147483647 h 50"/>
                    <a:gd name="T100" fmla="*/ 2147483647 w 50"/>
                    <a:gd name="T101" fmla="*/ 2147483647 h 50"/>
                    <a:gd name="T102" fmla="*/ 2147483647 w 50"/>
                    <a:gd name="T103" fmla="*/ 2147483647 h 50"/>
                    <a:gd name="T104" fmla="*/ 2147483647 w 50"/>
                    <a:gd name="T105" fmla="*/ 2147483647 h 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
                    <a:gd name="T160" fmla="*/ 0 h 50"/>
                    <a:gd name="T161" fmla="*/ 50 w 50"/>
                    <a:gd name="T162" fmla="*/ 50 h 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 h="50">
                      <a:moveTo>
                        <a:pt x="45" y="45"/>
                      </a:moveTo>
                      <a:lnTo>
                        <a:pt x="44" y="41"/>
                      </a:lnTo>
                      <a:lnTo>
                        <a:pt x="44" y="36"/>
                      </a:lnTo>
                      <a:lnTo>
                        <a:pt x="44" y="33"/>
                      </a:lnTo>
                      <a:lnTo>
                        <a:pt x="44" y="29"/>
                      </a:lnTo>
                      <a:lnTo>
                        <a:pt x="43" y="26"/>
                      </a:lnTo>
                      <a:lnTo>
                        <a:pt x="40" y="23"/>
                      </a:lnTo>
                      <a:lnTo>
                        <a:pt x="38" y="21"/>
                      </a:lnTo>
                      <a:lnTo>
                        <a:pt x="38" y="20"/>
                      </a:lnTo>
                      <a:lnTo>
                        <a:pt x="39" y="18"/>
                      </a:lnTo>
                      <a:lnTo>
                        <a:pt x="40" y="18"/>
                      </a:lnTo>
                      <a:lnTo>
                        <a:pt x="42" y="18"/>
                      </a:lnTo>
                      <a:lnTo>
                        <a:pt x="44" y="19"/>
                      </a:lnTo>
                      <a:lnTo>
                        <a:pt x="47" y="19"/>
                      </a:lnTo>
                      <a:lnTo>
                        <a:pt x="50" y="16"/>
                      </a:lnTo>
                      <a:lnTo>
                        <a:pt x="50" y="15"/>
                      </a:lnTo>
                      <a:lnTo>
                        <a:pt x="50" y="13"/>
                      </a:lnTo>
                      <a:lnTo>
                        <a:pt x="48" y="10"/>
                      </a:lnTo>
                      <a:lnTo>
                        <a:pt x="44" y="9"/>
                      </a:lnTo>
                      <a:lnTo>
                        <a:pt x="42" y="7"/>
                      </a:lnTo>
                      <a:lnTo>
                        <a:pt x="40" y="3"/>
                      </a:lnTo>
                      <a:lnTo>
                        <a:pt x="39" y="1"/>
                      </a:lnTo>
                      <a:lnTo>
                        <a:pt x="38" y="0"/>
                      </a:lnTo>
                      <a:lnTo>
                        <a:pt x="36" y="1"/>
                      </a:lnTo>
                      <a:lnTo>
                        <a:pt x="26" y="7"/>
                      </a:lnTo>
                      <a:lnTo>
                        <a:pt x="20" y="8"/>
                      </a:lnTo>
                      <a:lnTo>
                        <a:pt x="14" y="9"/>
                      </a:lnTo>
                      <a:lnTo>
                        <a:pt x="11" y="10"/>
                      </a:lnTo>
                      <a:lnTo>
                        <a:pt x="9" y="12"/>
                      </a:lnTo>
                      <a:lnTo>
                        <a:pt x="9" y="18"/>
                      </a:lnTo>
                      <a:lnTo>
                        <a:pt x="7" y="22"/>
                      </a:lnTo>
                      <a:lnTo>
                        <a:pt x="5" y="27"/>
                      </a:lnTo>
                      <a:lnTo>
                        <a:pt x="1" y="31"/>
                      </a:lnTo>
                      <a:lnTo>
                        <a:pt x="1" y="33"/>
                      </a:lnTo>
                      <a:lnTo>
                        <a:pt x="2" y="34"/>
                      </a:lnTo>
                      <a:lnTo>
                        <a:pt x="2" y="36"/>
                      </a:lnTo>
                      <a:lnTo>
                        <a:pt x="2" y="39"/>
                      </a:lnTo>
                      <a:lnTo>
                        <a:pt x="0" y="42"/>
                      </a:lnTo>
                      <a:lnTo>
                        <a:pt x="0" y="45"/>
                      </a:lnTo>
                      <a:lnTo>
                        <a:pt x="1" y="47"/>
                      </a:lnTo>
                      <a:lnTo>
                        <a:pt x="3" y="50"/>
                      </a:lnTo>
                      <a:lnTo>
                        <a:pt x="7" y="50"/>
                      </a:lnTo>
                      <a:lnTo>
                        <a:pt x="11" y="50"/>
                      </a:lnTo>
                      <a:lnTo>
                        <a:pt x="16" y="47"/>
                      </a:lnTo>
                      <a:lnTo>
                        <a:pt x="17" y="47"/>
                      </a:lnTo>
                      <a:lnTo>
                        <a:pt x="20" y="48"/>
                      </a:lnTo>
                      <a:lnTo>
                        <a:pt x="25" y="50"/>
                      </a:lnTo>
                      <a:lnTo>
                        <a:pt x="29" y="50"/>
                      </a:lnTo>
                      <a:lnTo>
                        <a:pt x="33" y="48"/>
                      </a:lnTo>
                      <a:lnTo>
                        <a:pt x="38" y="47"/>
                      </a:lnTo>
                      <a:lnTo>
                        <a:pt x="42" y="48"/>
                      </a:lnTo>
                      <a:lnTo>
                        <a:pt x="45" y="47"/>
                      </a:lnTo>
                      <a:lnTo>
                        <a:pt x="45" y="4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0" name="Freeform 365"/>
                <p:cNvSpPr>
                  <a:spLocks/>
                </p:cNvSpPr>
                <p:nvPr/>
              </p:nvSpPr>
              <p:spPr bwMode="auto">
                <a:xfrm>
                  <a:off x="5960444" y="1757770"/>
                  <a:ext cx="51795" cy="47356"/>
                </a:xfrm>
                <a:custGeom>
                  <a:avLst/>
                  <a:gdLst>
                    <a:gd name="T0" fmla="*/ 2147483647 w 38"/>
                    <a:gd name="T1" fmla="*/ 2147483647 h 32"/>
                    <a:gd name="T2" fmla="*/ 2147483647 w 38"/>
                    <a:gd name="T3" fmla="*/ 2147483647 h 32"/>
                    <a:gd name="T4" fmla="*/ 2147483647 w 38"/>
                    <a:gd name="T5" fmla="*/ 2147483647 h 32"/>
                    <a:gd name="T6" fmla="*/ 2147483647 w 38"/>
                    <a:gd name="T7" fmla="*/ 2147483647 h 32"/>
                    <a:gd name="T8" fmla="*/ 2147483647 w 38"/>
                    <a:gd name="T9" fmla="*/ 2147483647 h 32"/>
                    <a:gd name="T10" fmla="*/ 2147483647 w 38"/>
                    <a:gd name="T11" fmla="*/ 2147483647 h 32"/>
                    <a:gd name="T12" fmla="*/ 2147483647 w 38"/>
                    <a:gd name="T13" fmla="*/ 2147483647 h 32"/>
                    <a:gd name="T14" fmla="*/ 2147483647 w 38"/>
                    <a:gd name="T15" fmla="*/ 0 h 32"/>
                    <a:gd name="T16" fmla="*/ 2147483647 w 38"/>
                    <a:gd name="T17" fmla="*/ 2147483647 h 32"/>
                    <a:gd name="T18" fmla="*/ 2147483647 w 38"/>
                    <a:gd name="T19" fmla="*/ 2147483647 h 32"/>
                    <a:gd name="T20" fmla="*/ 0 w 38"/>
                    <a:gd name="T21" fmla="*/ 2147483647 h 32"/>
                    <a:gd name="T22" fmla="*/ 2147483647 w 38"/>
                    <a:gd name="T23" fmla="*/ 2147483647 h 32"/>
                    <a:gd name="T24" fmla="*/ 2147483647 w 38"/>
                    <a:gd name="T25" fmla="*/ 2147483647 h 32"/>
                    <a:gd name="T26" fmla="*/ 2147483647 w 38"/>
                    <a:gd name="T27" fmla="*/ 2147483647 h 32"/>
                    <a:gd name="T28" fmla="*/ 2147483647 w 38"/>
                    <a:gd name="T29" fmla="*/ 2147483647 h 32"/>
                    <a:gd name="T30" fmla="*/ 2147483647 w 38"/>
                    <a:gd name="T31" fmla="*/ 2147483647 h 32"/>
                    <a:gd name="T32" fmla="*/ 2147483647 w 38"/>
                    <a:gd name="T33" fmla="*/ 2147483647 h 32"/>
                    <a:gd name="T34" fmla="*/ 2147483647 w 38"/>
                    <a:gd name="T35" fmla="*/ 2147483647 h 32"/>
                    <a:gd name="T36" fmla="*/ 2147483647 w 38"/>
                    <a:gd name="T37" fmla="*/ 2147483647 h 32"/>
                    <a:gd name="T38" fmla="*/ 2147483647 w 38"/>
                    <a:gd name="T39" fmla="*/ 2147483647 h 32"/>
                    <a:gd name="T40" fmla="*/ 2147483647 w 38"/>
                    <a:gd name="T41" fmla="*/ 2147483647 h 32"/>
                    <a:gd name="T42" fmla="*/ 2147483647 w 38"/>
                    <a:gd name="T43" fmla="*/ 2147483647 h 32"/>
                    <a:gd name="T44" fmla="*/ 2147483647 w 38"/>
                    <a:gd name="T45" fmla="*/ 2147483647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32"/>
                    <a:gd name="T71" fmla="*/ 38 w 38"/>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32">
                      <a:moveTo>
                        <a:pt x="36" y="18"/>
                      </a:moveTo>
                      <a:lnTo>
                        <a:pt x="37" y="17"/>
                      </a:lnTo>
                      <a:lnTo>
                        <a:pt x="38" y="16"/>
                      </a:lnTo>
                      <a:lnTo>
                        <a:pt x="38" y="13"/>
                      </a:lnTo>
                      <a:lnTo>
                        <a:pt x="27" y="6"/>
                      </a:lnTo>
                      <a:lnTo>
                        <a:pt x="22" y="4"/>
                      </a:lnTo>
                      <a:lnTo>
                        <a:pt x="17" y="1"/>
                      </a:lnTo>
                      <a:lnTo>
                        <a:pt x="13" y="0"/>
                      </a:lnTo>
                      <a:lnTo>
                        <a:pt x="9" y="1"/>
                      </a:lnTo>
                      <a:lnTo>
                        <a:pt x="1" y="5"/>
                      </a:lnTo>
                      <a:lnTo>
                        <a:pt x="0" y="6"/>
                      </a:lnTo>
                      <a:lnTo>
                        <a:pt x="1" y="7"/>
                      </a:lnTo>
                      <a:lnTo>
                        <a:pt x="4" y="11"/>
                      </a:lnTo>
                      <a:lnTo>
                        <a:pt x="4" y="17"/>
                      </a:lnTo>
                      <a:lnTo>
                        <a:pt x="4" y="24"/>
                      </a:lnTo>
                      <a:lnTo>
                        <a:pt x="7" y="29"/>
                      </a:lnTo>
                      <a:lnTo>
                        <a:pt x="8" y="31"/>
                      </a:lnTo>
                      <a:lnTo>
                        <a:pt x="12" y="32"/>
                      </a:lnTo>
                      <a:lnTo>
                        <a:pt x="13" y="32"/>
                      </a:lnTo>
                      <a:lnTo>
                        <a:pt x="15" y="32"/>
                      </a:lnTo>
                      <a:lnTo>
                        <a:pt x="24" y="23"/>
                      </a:lnTo>
                      <a:lnTo>
                        <a:pt x="29" y="20"/>
                      </a:lnTo>
                      <a:lnTo>
                        <a:pt x="36" y="1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1" name="Freeform 366"/>
                <p:cNvSpPr>
                  <a:spLocks/>
                </p:cNvSpPr>
                <p:nvPr/>
              </p:nvSpPr>
              <p:spPr bwMode="auto">
                <a:xfrm>
                  <a:off x="6019639" y="1705975"/>
                  <a:ext cx="69554" cy="72514"/>
                </a:xfrm>
                <a:custGeom>
                  <a:avLst/>
                  <a:gdLst>
                    <a:gd name="T0" fmla="*/ 2147483647 w 51"/>
                    <a:gd name="T1" fmla="*/ 2147483647 h 49"/>
                    <a:gd name="T2" fmla="*/ 2147483647 w 51"/>
                    <a:gd name="T3" fmla="*/ 2147483647 h 49"/>
                    <a:gd name="T4" fmla="*/ 2147483647 w 51"/>
                    <a:gd name="T5" fmla="*/ 2147483647 h 49"/>
                    <a:gd name="T6" fmla="*/ 2147483647 w 51"/>
                    <a:gd name="T7" fmla="*/ 2147483647 h 49"/>
                    <a:gd name="T8" fmla="*/ 2147483647 w 51"/>
                    <a:gd name="T9" fmla="*/ 2147483647 h 49"/>
                    <a:gd name="T10" fmla="*/ 2147483647 w 51"/>
                    <a:gd name="T11" fmla="*/ 2147483647 h 49"/>
                    <a:gd name="T12" fmla="*/ 2147483647 w 51"/>
                    <a:gd name="T13" fmla="*/ 2147483647 h 49"/>
                    <a:gd name="T14" fmla="*/ 2147483647 w 51"/>
                    <a:gd name="T15" fmla="*/ 2147483647 h 49"/>
                    <a:gd name="T16" fmla="*/ 2147483647 w 51"/>
                    <a:gd name="T17" fmla="*/ 2147483647 h 49"/>
                    <a:gd name="T18" fmla="*/ 2147483647 w 51"/>
                    <a:gd name="T19" fmla="*/ 2147483647 h 49"/>
                    <a:gd name="T20" fmla="*/ 2147483647 w 51"/>
                    <a:gd name="T21" fmla="*/ 2147483647 h 49"/>
                    <a:gd name="T22" fmla="*/ 2147483647 w 51"/>
                    <a:gd name="T23" fmla="*/ 2147483647 h 49"/>
                    <a:gd name="T24" fmla="*/ 2147483647 w 51"/>
                    <a:gd name="T25" fmla="*/ 2147483647 h 49"/>
                    <a:gd name="T26" fmla="*/ 2147483647 w 51"/>
                    <a:gd name="T27" fmla="*/ 2147483647 h 49"/>
                    <a:gd name="T28" fmla="*/ 2147483647 w 51"/>
                    <a:gd name="T29" fmla="*/ 0 h 49"/>
                    <a:gd name="T30" fmla="*/ 2147483647 w 51"/>
                    <a:gd name="T31" fmla="*/ 2147483647 h 49"/>
                    <a:gd name="T32" fmla="*/ 2147483647 w 51"/>
                    <a:gd name="T33" fmla="*/ 2147483647 h 49"/>
                    <a:gd name="T34" fmla="*/ 2147483647 w 51"/>
                    <a:gd name="T35" fmla="*/ 2147483647 h 49"/>
                    <a:gd name="T36" fmla="*/ 2147483647 w 51"/>
                    <a:gd name="T37" fmla="*/ 2147483647 h 49"/>
                    <a:gd name="T38" fmla="*/ 2147483647 w 51"/>
                    <a:gd name="T39" fmla="*/ 2147483647 h 49"/>
                    <a:gd name="T40" fmla="*/ 2147483647 w 51"/>
                    <a:gd name="T41" fmla="*/ 2147483647 h 49"/>
                    <a:gd name="T42" fmla="*/ 2147483647 w 51"/>
                    <a:gd name="T43" fmla="*/ 2147483647 h 49"/>
                    <a:gd name="T44" fmla="*/ 2147483647 w 51"/>
                    <a:gd name="T45" fmla="*/ 2147483647 h 49"/>
                    <a:gd name="T46" fmla="*/ 2147483647 w 51"/>
                    <a:gd name="T47" fmla="*/ 2147483647 h 49"/>
                    <a:gd name="T48" fmla="*/ 0 w 51"/>
                    <a:gd name="T49" fmla="*/ 2147483647 h 49"/>
                    <a:gd name="T50" fmla="*/ 2147483647 w 51"/>
                    <a:gd name="T51" fmla="*/ 2147483647 h 49"/>
                    <a:gd name="T52" fmla="*/ 2147483647 w 51"/>
                    <a:gd name="T53" fmla="*/ 2147483647 h 49"/>
                    <a:gd name="T54" fmla="*/ 2147483647 w 51"/>
                    <a:gd name="T55" fmla="*/ 2147483647 h 49"/>
                    <a:gd name="T56" fmla="*/ 2147483647 w 51"/>
                    <a:gd name="T57" fmla="*/ 2147483647 h 49"/>
                    <a:gd name="T58" fmla="*/ 2147483647 w 51"/>
                    <a:gd name="T59" fmla="*/ 2147483647 h 49"/>
                    <a:gd name="T60" fmla="*/ 2147483647 w 51"/>
                    <a:gd name="T61" fmla="*/ 2147483647 h 49"/>
                    <a:gd name="T62" fmla="*/ 2147483647 w 51"/>
                    <a:gd name="T63" fmla="*/ 2147483647 h 49"/>
                    <a:gd name="T64" fmla="*/ 2147483647 w 51"/>
                    <a:gd name="T65" fmla="*/ 2147483647 h 49"/>
                    <a:gd name="T66" fmla="*/ 2147483647 w 51"/>
                    <a:gd name="T67" fmla="*/ 2147483647 h 49"/>
                    <a:gd name="T68" fmla="*/ 2147483647 w 51"/>
                    <a:gd name="T69" fmla="*/ 2147483647 h 49"/>
                    <a:gd name="T70" fmla="*/ 2147483647 w 51"/>
                    <a:gd name="T71" fmla="*/ 2147483647 h 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
                    <a:gd name="T109" fmla="*/ 0 h 49"/>
                    <a:gd name="T110" fmla="*/ 51 w 51"/>
                    <a:gd name="T111" fmla="*/ 49 h 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 h="49">
                      <a:moveTo>
                        <a:pt x="46" y="45"/>
                      </a:moveTo>
                      <a:lnTo>
                        <a:pt x="46" y="45"/>
                      </a:lnTo>
                      <a:lnTo>
                        <a:pt x="45" y="41"/>
                      </a:lnTo>
                      <a:lnTo>
                        <a:pt x="45" y="36"/>
                      </a:lnTo>
                      <a:lnTo>
                        <a:pt x="45" y="33"/>
                      </a:lnTo>
                      <a:lnTo>
                        <a:pt x="45" y="29"/>
                      </a:lnTo>
                      <a:lnTo>
                        <a:pt x="44" y="26"/>
                      </a:lnTo>
                      <a:lnTo>
                        <a:pt x="41" y="23"/>
                      </a:lnTo>
                      <a:lnTo>
                        <a:pt x="38" y="21"/>
                      </a:lnTo>
                      <a:lnTo>
                        <a:pt x="38" y="20"/>
                      </a:lnTo>
                      <a:lnTo>
                        <a:pt x="40" y="17"/>
                      </a:lnTo>
                      <a:lnTo>
                        <a:pt x="41" y="17"/>
                      </a:lnTo>
                      <a:lnTo>
                        <a:pt x="42" y="17"/>
                      </a:lnTo>
                      <a:lnTo>
                        <a:pt x="45" y="19"/>
                      </a:lnTo>
                      <a:lnTo>
                        <a:pt x="47" y="19"/>
                      </a:lnTo>
                      <a:lnTo>
                        <a:pt x="51" y="16"/>
                      </a:lnTo>
                      <a:lnTo>
                        <a:pt x="51" y="15"/>
                      </a:lnTo>
                      <a:lnTo>
                        <a:pt x="51" y="13"/>
                      </a:lnTo>
                      <a:lnTo>
                        <a:pt x="49" y="10"/>
                      </a:lnTo>
                      <a:lnTo>
                        <a:pt x="45" y="9"/>
                      </a:lnTo>
                      <a:lnTo>
                        <a:pt x="42" y="7"/>
                      </a:lnTo>
                      <a:lnTo>
                        <a:pt x="41" y="3"/>
                      </a:lnTo>
                      <a:lnTo>
                        <a:pt x="40" y="1"/>
                      </a:lnTo>
                      <a:lnTo>
                        <a:pt x="38" y="0"/>
                      </a:lnTo>
                      <a:lnTo>
                        <a:pt x="37" y="1"/>
                      </a:lnTo>
                      <a:lnTo>
                        <a:pt x="27" y="7"/>
                      </a:lnTo>
                      <a:lnTo>
                        <a:pt x="21" y="8"/>
                      </a:lnTo>
                      <a:lnTo>
                        <a:pt x="14" y="9"/>
                      </a:lnTo>
                      <a:lnTo>
                        <a:pt x="12" y="10"/>
                      </a:lnTo>
                      <a:lnTo>
                        <a:pt x="9" y="11"/>
                      </a:lnTo>
                      <a:lnTo>
                        <a:pt x="9" y="17"/>
                      </a:lnTo>
                      <a:lnTo>
                        <a:pt x="8" y="22"/>
                      </a:lnTo>
                      <a:lnTo>
                        <a:pt x="5" y="27"/>
                      </a:lnTo>
                      <a:lnTo>
                        <a:pt x="2" y="30"/>
                      </a:lnTo>
                      <a:lnTo>
                        <a:pt x="2" y="33"/>
                      </a:lnTo>
                      <a:lnTo>
                        <a:pt x="3" y="34"/>
                      </a:lnTo>
                      <a:lnTo>
                        <a:pt x="3" y="36"/>
                      </a:lnTo>
                      <a:lnTo>
                        <a:pt x="3" y="39"/>
                      </a:lnTo>
                      <a:lnTo>
                        <a:pt x="0" y="42"/>
                      </a:lnTo>
                      <a:lnTo>
                        <a:pt x="0" y="45"/>
                      </a:lnTo>
                      <a:lnTo>
                        <a:pt x="2" y="47"/>
                      </a:lnTo>
                      <a:lnTo>
                        <a:pt x="4" y="49"/>
                      </a:lnTo>
                      <a:lnTo>
                        <a:pt x="8" y="49"/>
                      </a:lnTo>
                      <a:lnTo>
                        <a:pt x="12" y="49"/>
                      </a:lnTo>
                      <a:lnTo>
                        <a:pt x="17" y="47"/>
                      </a:lnTo>
                      <a:lnTo>
                        <a:pt x="18" y="47"/>
                      </a:lnTo>
                      <a:lnTo>
                        <a:pt x="21" y="48"/>
                      </a:lnTo>
                      <a:lnTo>
                        <a:pt x="26" y="49"/>
                      </a:lnTo>
                      <a:lnTo>
                        <a:pt x="30" y="49"/>
                      </a:lnTo>
                      <a:lnTo>
                        <a:pt x="33" y="48"/>
                      </a:lnTo>
                      <a:lnTo>
                        <a:pt x="38" y="47"/>
                      </a:lnTo>
                      <a:lnTo>
                        <a:pt x="42" y="48"/>
                      </a:lnTo>
                      <a:lnTo>
                        <a:pt x="46" y="47"/>
                      </a:lnTo>
                      <a:lnTo>
                        <a:pt x="46" y="4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2" name="Freeform 367"/>
                <p:cNvSpPr>
                  <a:spLocks/>
                </p:cNvSpPr>
                <p:nvPr/>
              </p:nvSpPr>
              <p:spPr bwMode="auto">
                <a:xfrm>
                  <a:off x="5958968" y="1756290"/>
                  <a:ext cx="51796" cy="47356"/>
                </a:xfrm>
                <a:custGeom>
                  <a:avLst/>
                  <a:gdLst>
                    <a:gd name="T0" fmla="*/ 2147483647 w 38"/>
                    <a:gd name="T1" fmla="*/ 2147483647 h 32"/>
                    <a:gd name="T2" fmla="*/ 2147483647 w 38"/>
                    <a:gd name="T3" fmla="*/ 2147483647 h 32"/>
                    <a:gd name="T4" fmla="*/ 2147483647 w 38"/>
                    <a:gd name="T5" fmla="*/ 2147483647 h 32"/>
                    <a:gd name="T6" fmla="*/ 2147483647 w 38"/>
                    <a:gd name="T7" fmla="*/ 2147483647 h 32"/>
                    <a:gd name="T8" fmla="*/ 2147483647 w 38"/>
                    <a:gd name="T9" fmla="*/ 2147483647 h 32"/>
                    <a:gd name="T10" fmla="*/ 2147483647 w 38"/>
                    <a:gd name="T11" fmla="*/ 2147483647 h 32"/>
                    <a:gd name="T12" fmla="*/ 2147483647 w 38"/>
                    <a:gd name="T13" fmla="*/ 2147483647 h 32"/>
                    <a:gd name="T14" fmla="*/ 2147483647 w 38"/>
                    <a:gd name="T15" fmla="*/ 2147483647 h 32"/>
                    <a:gd name="T16" fmla="*/ 2147483647 w 38"/>
                    <a:gd name="T17" fmla="*/ 2147483647 h 32"/>
                    <a:gd name="T18" fmla="*/ 2147483647 w 38"/>
                    <a:gd name="T19" fmla="*/ 2147483647 h 32"/>
                    <a:gd name="T20" fmla="*/ 2147483647 w 38"/>
                    <a:gd name="T21" fmla="*/ 2147483647 h 32"/>
                    <a:gd name="T22" fmla="*/ 2147483647 w 38"/>
                    <a:gd name="T23" fmla="*/ 0 h 32"/>
                    <a:gd name="T24" fmla="*/ 2147483647 w 38"/>
                    <a:gd name="T25" fmla="*/ 2147483647 h 32"/>
                    <a:gd name="T26" fmla="*/ 2147483647 w 38"/>
                    <a:gd name="T27" fmla="*/ 2147483647 h 32"/>
                    <a:gd name="T28" fmla="*/ 2147483647 w 38"/>
                    <a:gd name="T29" fmla="*/ 2147483647 h 32"/>
                    <a:gd name="T30" fmla="*/ 0 w 38"/>
                    <a:gd name="T31" fmla="*/ 2147483647 h 32"/>
                    <a:gd name="T32" fmla="*/ 2147483647 w 38"/>
                    <a:gd name="T33" fmla="*/ 2147483647 h 32"/>
                    <a:gd name="T34" fmla="*/ 2147483647 w 38"/>
                    <a:gd name="T35" fmla="*/ 2147483647 h 32"/>
                    <a:gd name="T36" fmla="*/ 2147483647 w 38"/>
                    <a:gd name="T37" fmla="*/ 2147483647 h 32"/>
                    <a:gd name="T38" fmla="*/ 2147483647 w 38"/>
                    <a:gd name="T39" fmla="*/ 2147483647 h 32"/>
                    <a:gd name="T40" fmla="*/ 2147483647 w 38"/>
                    <a:gd name="T41" fmla="*/ 2147483647 h 32"/>
                    <a:gd name="T42" fmla="*/ 2147483647 w 38"/>
                    <a:gd name="T43" fmla="*/ 2147483647 h 32"/>
                    <a:gd name="T44" fmla="*/ 2147483647 w 38"/>
                    <a:gd name="T45" fmla="*/ 2147483647 h 32"/>
                    <a:gd name="T46" fmla="*/ 2147483647 w 38"/>
                    <a:gd name="T47" fmla="*/ 2147483647 h 32"/>
                    <a:gd name="T48" fmla="*/ 2147483647 w 38"/>
                    <a:gd name="T49" fmla="*/ 2147483647 h 32"/>
                    <a:gd name="T50" fmla="*/ 2147483647 w 38"/>
                    <a:gd name="T51" fmla="*/ 2147483647 h 32"/>
                    <a:gd name="T52" fmla="*/ 2147483647 w 38"/>
                    <a:gd name="T53" fmla="*/ 2147483647 h 32"/>
                    <a:gd name="T54" fmla="*/ 2147483647 w 38"/>
                    <a:gd name="T55" fmla="*/ 2147483647 h 32"/>
                    <a:gd name="T56" fmla="*/ 2147483647 w 38"/>
                    <a:gd name="T57" fmla="*/ 2147483647 h 32"/>
                    <a:gd name="T58" fmla="*/ 2147483647 w 38"/>
                    <a:gd name="T59" fmla="*/ 2147483647 h 32"/>
                    <a:gd name="T60" fmla="*/ 2147483647 w 38"/>
                    <a:gd name="T61" fmla="*/ 2147483647 h 32"/>
                    <a:gd name="T62" fmla="*/ 2147483647 w 38"/>
                    <a:gd name="T63" fmla="*/ 2147483647 h 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32"/>
                    <a:gd name="T98" fmla="*/ 38 w 38"/>
                    <a:gd name="T99" fmla="*/ 32 h 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32">
                      <a:moveTo>
                        <a:pt x="35" y="18"/>
                      </a:moveTo>
                      <a:lnTo>
                        <a:pt x="35" y="18"/>
                      </a:lnTo>
                      <a:lnTo>
                        <a:pt x="37" y="17"/>
                      </a:lnTo>
                      <a:lnTo>
                        <a:pt x="38" y="15"/>
                      </a:lnTo>
                      <a:lnTo>
                        <a:pt x="38" y="13"/>
                      </a:lnTo>
                      <a:lnTo>
                        <a:pt x="27" y="6"/>
                      </a:lnTo>
                      <a:lnTo>
                        <a:pt x="22" y="3"/>
                      </a:lnTo>
                      <a:lnTo>
                        <a:pt x="16" y="1"/>
                      </a:lnTo>
                      <a:lnTo>
                        <a:pt x="13" y="0"/>
                      </a:lnTo>
                      <a:lnTo>
                        <a:pt x="9" y="1"/>
                      </a:lnTo>
                      <a:lnTo>
                        <a:pt x="1" y="5"/>
                      </a:lnTo>
                      <a:lnTo>
                        <a:pt x="0" y="6"/>
                      </a:lnTo>
                      <a:lnTo>
                        <a:pt x="1" y="7"/>
                      </a:lnTo>
                      <a:lnTo>
                        <a:pt x="4" y="11"/>
                      </a:lnTo>
                      <a:lnTo>
                        <a:pt x="4" y="17"/>
                      </a:lnTo>
                      <a:lnTo>
                        <a:pt x="4" y="24"/>
                      </a:lnTo>
                      <a:lnTo>
                        <a:pt x="6" y="28"/>
                      </a:lnTo>
                      <a:lnTo>
                        <a:pt x="8" y="31"/>
                      </a:lnTo>
                      <a:lnTo>
                        <a:pt x="11" y="32"/>
                      </a:lnTo>
                      <a:lnTo>
                        <a:pt x="13" y="32"/>
                      </a:lnTo>
                      <a:lnTo>
                        <a:pt x="15" y="32"/>
                      </a:lnTo>
                      <a:lnTo>
                        <a:pt x="24" y="22"/>
                      </a:lnTo>
                      <a:lnTo>
                        <a:pt x="29" y="20"/>
                      </a:lnTo>
                      <a:lnTo>
                        <a:pt x="35" y="1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3" name="Freeform 368"/>
                <p:cNvSpPr>
                  <a:spLocks/>
                </p:cNvSpPr>
                <p:nvPr/>
              </p:nvSpPr>
              <p:spPr bwMode="auto">
                <a:xfrm>
                  <a:off x="5929370" y="1774051"/>
                  <a:ext cx="28118" cy="38477"/>
                </a:xfrm>
                <a:custGeom>
                  <a:avLst/>
                  <a:gdLst>
                    <a:gd name="T0" fmla="*/ 2147483647 w 21"/>
                    <a:gd name="T1" fmla="*/ 2147483647 h 26"/>
                    <a:gd name="T2" fmla="*/ 2147483647 w 21"/>
                    <a:gd name="T3" fmla="*/ 2147483647 h 26"/>
                    <a:gd name="T4" fmla="*/ 2147483647 w 21"/>
                    <a:gd name="T5" fmla="*/ 2147483647 h 26"/>
                    <a:gd name="T6" fmla="*/ 2147483647 w 21"/>
                    <a:gd name="T7" fmla="*/ 2147483647 h 26"/>
                    <a:gd name="T8" fmla="*/ 2147483647 w 21"/>
                    <a:gd name="T9" fmla="*/ 2147483647 h 26"/>
                    <a:gd name="T10" fmla="*/ 2147483647 w 21"/>
                    <a:gd name="T11" fmla="*/ 2147483647 h 26"/>
                    <a:gd name="T12" fmla="*/ 2147483647 w 21"/>
                    <a:gd name="T13" fmla="*/ 0 h 26"/>
                    <a:gd name="T14" fmla="*/ 2147483647 w 21"/>
                    <a:gd name="T15" fmla="*/ 0 h 26"/>
                    <a:gd name="T16" fmla="*/ 2147483647 w 21"/>
                    <a:gd name="T17" fmla="*/ 0 h 26"/>
                    <a:gd name="T18" fmla="*/ 2147483647 w 21"/>
                    <a:gd name="T19" fmla="*/ 0 h 26"/>
                    <a:gd name="T20" fmla="*/ 0 w 21"/>
                    <a:gd name="T21" fmla="*/ 2147483647 h 26"/>
                    <a:gd name="T22" fmla="*/ 0 w 21"/>
                    <a:gd name="T23" fmla="*/ 2147483647 h 26"/>
                    <a:gd name="T24" fmla="*/ 2147483647 w 21"/>
                    <a:gd name="T25" fmla="*/ 2147483647 h 26"/>
                    <a:gd name="T26" fmla="*/ 2147483647 w 21"/>
                    <a:gd name="T27" fmla="*/ 2147483647 h 26"/>
                    <a:gd name="T28" fmla="*/ 2147483647 w 21"/>
                    <a:gd name="T29" fmla="*/ 2147483647 h 26"/>
                    <a:gd name="T30" fmla="*/ 2147483647 w 21"/>
                    <a:gd name="T31" fmla="*/ 2147483647 h 26"/>
                    <a:gd name="T32" fmla="*/ 0 w 21"/>
                    <a:gd name="T33" fmla="*/ 2147483647 h 26"/>
                    <a:gd name="T34" fmla="*/ 2147483647 w 21"/>
                    <a:gd name="T35" fmla="*/ 2147483647 h 26"/>
                    <a:gd name="T36" fmla="*/ 2147483647 w 21"/>
                    <a:gd name="T37" fmla="*/ 2147483647 h 26"/>
                    <a:gd name="T38" fmla="*/ 2147483647 w 21"/>
                    <a:gd name="T39" fmla="*/ 2147483647 h 26"/>
                    <a:gd name="T40" fmla="*/ 2147483647 w 21"/>
                    <a:gd name="T41" fmla="*/ 2147483647 h 26"/>
                    <a:gd name="T42" fmla="*/ 2147483647 w 21"/>
                    <a:gd name="T43" fmla="*/ 2147483647 h 26"/>
                    <a:gd name="T44" fmla="*/ 2147483647 w 21"/>
                    <a:gd name="T45" fmla="*/ 2147483647 h 26"/>
                    <a:gd name="T46" fmla="*/ 2147483647 w 21"/>
                    <a:gd name="T47" fmla="*/ 2147483647 h 26"/>
                    <a:gd name="T48" fmla="*/ 2147483647 w 21"/>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
                    <a:gd name="T76" fmla="*/ 0 h 26"/>
                    <a:gd name="T77" fmla="*/ 21 w 21"/>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 h="26">
                      <a:moveTo>
                        <a:pt x="21" y="21"/>
                      </a:moveTo>
                      <a:lnTo>
                        <a:pt x="19" y="19"/>
                      </a:lnTo>
                      <a:lnTo>
                        <a:pt x="19" y="18"/>
                      </a:lnTo>
                      <a:lnTo>
                        <a:pt x="17" y="15"/>
                      </a:lnTo>
                      <a:lnTo>
                        <a:pt x="16" y="14"/>
                      </a:lnTo>
                      <a:lnTo>
                        <a:pt x="14" y="9"/>
                      </a:lnTo>
                      <a:lnTo>
                        <a:pt x="16" y="0"/>
                      </a:lnTo>
                      <a:lnTo>
                        <a:pt x="8" y="0"/>
                      </a:lnTo>
                      <a:lnTo>
                        <a:pt x="5" y="0"/>
                      </a:lnTo>
                      <a:lnTo>
                        <a:pt x="2" y="0"/>
                      </a:lnTo>
                      <a:lnTo>
                        <a:pt x="0" y="1"/>
                      </a:lnTo>
                      <a:lnTo>
                        <a:pt x="0" y="3"/>
                      </a:lnTo>
                      <a:lnTo>
                        <a:pt x="2" y="6"/>
                      </a:lnTo>
                      <a:lnTo>
                        <a:pt x="4" y="9"/>
                      </a:lnTo>
                      <a:lnTo>
                        <a:pt x="3" y="14"/>
                      </a:lnTo>
                      <a:lnTo>
                        <a:pt x="2" y="18"/>
                      </a:lnTo>
                      <a:lnTo>
                        <a:pt x="0" y="21"/>
                      </a:lnTo>
                      <a:lnTo>
                        <a:pt x="2" y="22"/>
                      </a:lnTo>
                      <a:lnTo>
                        <a:pt x="3" y="23"/>
                      </a:lnTo>
                      <a:lnTo>
                        <a:pt x="5" y="25"/>
                      </a:lnTo>
                      <a:lnTo>
                        <a:pt x="9" y="25"/>
                      </a:lnTo>
                      <a:lnTo>
                        <a:pt x="16" y="26"/>
                      </a:lnTo>
                      <a:lnTo>
                        <a:pt x="18" y="25"/>
                      </a:lnTo>
                      <a:lnTo>
                        <a:pt x="19" y="25"/>
                      </a:lnTo>
                      <a:lnTo>
                        <a:pt x="21" y="2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4" name="Freeform 369"/>
                <p:cNvSpPr>
                  <a:spLocks/>
                </p:cNvSpPr>
                <p:nvPr/>
              </p:nvSpPr>
              <p:spPr bwMode="auto">
                <a:xfrm>
                  <a:off x="5997441" y="1677857"/>
                  <a:ext cx="29597" cy="11839"/>
                </a:xfrm>
                <a:custGeom>
                  <a:avLst/>
                  <a:gdLst>
                    <a:gd name="T0" fmla="*/ 2147483647 w 21"/>
                    <a:gd name="T1" fmla="*/ 2147483647 h 8"/>
                    <a:gd name="T2" fmla="*/ 2147483647 w 21"/>
                    <a:gd name="T3" fmla="*/ 2147483647 h 8"/>
                    <a:gd name="T4" fmla="*/ 2147483647 w 21"/>
                    <a:gd name="T5" fmla="*/ 0 h 8"/>
                    <a:gd name="T6" fmla="*/ 2147483647 w 21"/>
                    <a:gd name="T7" fmla="*/ 2147483647 h 8"/>
                    <a:gd name="T8" fmla="*/ 2147483647 w 21"/>
                    <a:gd name="T9" fmla="*/ 2147483647 h 8"/>
                    <a:gd name="T10" fmla="*/ 2147483647 w 21"/>
                    <a:gd name="T11" fmla="*/ 2147483647 h 8"/>
                    <a:gd name="T12" fmla="*/ 0 w 21"/>
                    <a:gd name="T13" fmla="*/ 2147483647 h 8"/>
                    <a:gd name="T14" fmla="*/ 2147483647 w 21"/>
                    <a:gd name="T15" fmla="*/ 2147483647 h 8"/>
                    <a:gd name="T16" fmla="*/ 2147483647 w 21"/>
                    <a:gd name="T17" fmla="*/ 2147483647 h 8"/>
                    <a:gd name="T18" fmla="*/ 2147483647 w 21"/>
                    <a:gd name="T19" fmla="*/ 2147483647 h 8"/>
                    <a:gd name="T20" fmla="*/ 2147483647 w 21"/>
                    <a:gd name="T21" fmla="*/ 2147483647 h 8"/>
                    <a:gd name="T22" fmla="*/ 2147483647 w 21"/>
                    <a:gd name="T23" fmla="*/ 2147483647 h 8"/>
                    <a:gd name="T24" fmla="*/ 2147483647 w 21"/>
                    <a:gd name="T25" fmla="*/ 2147483647 h 8"/>
                    <a:gd name="T26" fmla="*/ 2147483647 w 21"/>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8"/>
                    <a:gd name="T44" fmla="*/ 21 w 21"/>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8">
                      <a:moveTo>
                        <a:pt x="21" y="2"/>
                      </a:moveTo>
                      <a:lnTo>
                        <a:pt x="21" y="1"/>
                      </a:lnTo>
                      <a:lnTo>
                        <a:pt x="20" y="0"/>
                      </a:lnTo>
                      <a:lnTo>
                        <a:pt x="9" y="1"/>
                      </a:lnTo>
                      <a:lnTo>
                        <a:pt x="4" y="3"/>
                      </a:lnTo>
                      <a:lnTo>
                        <a:pt x="1" y="5"/>
                      </a:lnTo>
                      <a:lnTo>
                        <a:pt x="0" y="8"/>
                      </a:lnTo>
                      <a:lnTo>
                        <a:pt x="5" y="7"/>
                      </a:lnTo>
                      <a:lnTo>
                        <a:pt x="7" y="5"/>
                      </a:lnTo>
                      <a:lnTo>
                        <a:pt x="11" y="5"/>
                      </a:lnTo>
                      <a:lnTo>
                        <a:pt x="15" y="5"/>
                      </a:lnTo>
                      <a:lnTo>
                        <a:pt x="19" y="5"/>
                      </a:lnTo>
                      <a:lnTo>
                        <a:pt x="20" y="4"/>
                      </a:lnTo>
                      <a:lnTo>
                        <a:pt x="21"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5" name="Freeform 370"/>
                <p:cNvSpPr>
                  <a:spLocks/>
                </p:cNvSpPr>
                <p:nvPr/>
              </p:nvSpPr>
              <p:spPr bwMode="auto">
                <a:xfrm>
                  <a:off x="5927887" y="1772571"/>
                  <a:ext cx="28117" cy="38477"/>
                </a:xfrm>
                <a:custGeom>
                  <a:avLst/>
                  <a:gdLst>
                    <a:gd name="T0" fmla="*/ 2147483647 w 20"/>
                    <a:gd name="T1" fmla="*/ 2147483647 h 26"/>
                    <a:gd name="T2" fmla="*/ 2147483647 w 20"/>
                    <a:gd name="T3" fmla="*/ 2147483647 h 26"/>
                    <a:gd name="T4" fmla="*/ 2147483647 w 20"/>
                    <a:gd name="T5" fmla="*/ 2147483647 h 26"/>
                    <a:gd name="T6" fmla="*/ 2147483647 w 20"/>
                    <a:gd name="T7" fmla="*/ 2147483647 h 26"/>
                    <a:gd name="T8" fmla="*/ 2147483647 w 20"/>
                    <a:gd name="T9" fmla="*/ 2147483647 h 26"/>
                    <a:gd name="T10" fmla="*/ 2147483647 w 20"/>
                    <a:gd name="T11" fmla="*/ 2147483647 h 26"/>
                    <a:gd name="T12" fmla="*/ 2147483647 w 20"/>
                    <a:gd name="T13" fmla="*/ 2147483647 h 26"/>
                    <a:gd name="T14" fmla="*/ 2147483647 w 20"/>
                    <a:gd name="T15" fmla="*/ 2147483647 h 26"/>
                    <a:gd name="T16" fmla="*/ 2147483647 w 20"/>
                    <a:gd name="T17" fmla="*/ 0 h 26"/>
                    <a:gd name="T18" fmla="*/ 2147483647 w 20"/>
                    <a:gd name="T19" fmla="*/ 0 h 26"/>
                    <a:gd name="T20" fmla="*/ 2147483647 w 20"/>
                    <a:gd name="T21" fmla="*/ 0 h 26"/>
                    <a:gd name="T22" fmla="*/ 2147483647 w 20"/>
                    <a:gd name="T23" fmla="*/ 0 h 26"/>
                    <a:gd name="T24" fmla="*/ 2147483647 w 20"/>
                    <a:gd name="T25" fmla="*/ 0 h 26"/>
                    <a:gd name="T26" fmla="*/ 2147483647 w 20"/>
                    <a:gd name="T27" fmla="*/ 0 h 26"/>
                    <a:gd name="T28" fmla="*/ 0 w 20"/>
                    <a:gd name="T29" fmla="*/ 2147483647 h 26"/>
                    <a:gd name="T30" fmla="*/ 0 w 20"/>
                    <a:gd name="T31" fmla="*/ 2147483647 h 26"/>
                    <a:gd name="T32" fmla="*/ 0 w 20"/>
                    <a:gd name="T33" fmla="*/ 2147483647 h 26"/>
                    <a:gd name="T34" fmla="*/ 2147483647 w 20"/>
                    <a:gd name="T35" fmla="*/ 2147483647 h 26"/>
                    <a:gd name="T36" fmla="*/ 2147483647 w 20"/>
                    <a:gd name="T37" fmla="*/ 2147483647 h 26"/>
                    <a:gd name="T38" fmla="*/ 2147483647 w 20"/>
                    <a:gd name="T39" fmla="*/ 2147483647 h 26"/>
                    <a:gd name="T40" fmla="*/ 2147483647 w 20"/>
                    <a:gd name="T41" fmla="*/ 2147483647 h 26"/>
                    <a:gd name="T42" fmla="*/ 2147483647 w 20"/>
                    <a:gd name="T43" fmla="*/ 2147483647 h 26"/>
                    <a:gd name="T44" fmla="*/ 0 w 20"/>
                    <a:gd name="T45" fmla="*/ 2147483647 h 26"/>
                    <a:gd name="T46" fmla="*/ 2147483647 w 20"/>
                    <a:gd name="T47" fmla="*/ 2147483647 h 26"/>
                    <a:gd name="T48" fmla="*/ 2147483647 w 20"/>
                    <a:gd name="T49" fmla="*/ 2147483647 h 26"/>
                    <a:gd name="T50" fmla="*/ 2147483647 w 20"/>
                    <a:gd name="T51" fmla="*/ 2147483647 h 26"/>
                    <a:gd name="T52" fmla="*/ 2147483647 w 20"/>
                    <a:gd name="T53" fmla="*/ 2147483647 h 26"/>
                    <a:gd name="T54" fmla="*/ 2147483647 w 20"/>
                    <a:gd name="T55" fmla="*/ 2147483647 h 26"/>
                    <a:gd name="T56" fmla="*/ 2147483647 w 20"/>
                    <a:gd name="T57" fmla="*/ 2147483647 h 26"/>
                    <a:gd name="T58" fmla="*/ 2147483647 w 20"/>
                    <a:gd name="T59" fmla="*/ 2147483647 h 26"/>
                    <a:gd name="T60" fmla="*/ 2147483647 w 20"/>
                    <a:gd name="T61" fmla="*/ 2147483647 h 26"/>
                    <a:gd name="T62" fmla="*/ 2147483647 w 20"/>
                    <a:gd name="T63" fmla="*/ 2147483647 h 26"/>
                    <a:gd name="T64" fmla="*/ 2147483647 w 20"/>
                    <a:gd name="T65" fmla="*/ 2147483647 h 26"/>
                    <a:gd name="T66" fmla="*/ 2147483647 w 20"/>
                    <a:gd name="T67" fmla="*/ 2147483647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26"/>
                    <a:gd name="T104" fmla="*/ 20 w 20"/>
                    <a:gd name="T105" fmla="*/ 26 h 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26">
                      <a:moveTo>
                        <a:pt x="20" y="21"/>
                      </a:moveTo>
                      <a:lnTo>
                        <a:pt x="20" y="21"/>
                      </a:lnTo>
                      <a:lnTo>
                        <a:pt x="19" y="19"/>
                      </a:lnTo>
                      <a:lnTo>
                        <a:pt x="19" y="17"/>
                      </a:lnTo>
                      <a:lnTo>
                        <a:pt x="17" y="15"/>
                      </a:lnTo>
                      <a:lnTo>
                        <a:pt x="15" y="14"/>
                      </a:lnTo>
                      <a:lnTo>
                        <a:pt x="14" y="9"/>
                      </a:lnTo>
                      <a:lnTo>
                        <a:pt x="15" y="0"/>
                      </a:lnTo>
                      <a:lnTo>
                        <a:pt x="8" y="0"/>
                      </a:lnTo>
                      <a:lnTo>
                        <a:pt x="5" y="0"/>
                      </a:lnTo>
                      <a:lnTo>
                        <a:pt x="1" y="0"/>
                      </a:lnTo>
                      <a:lnTo>
                        <a:pt x="0" y="1"/>
                      </a:lnTo>
                      <a:lnTo>
                        <a:pt x="0" y="3"/>
                      </a:lnTo>
                      <a:lnTo>
                        <a:pt x="1" y="6"/>
                      </a:lnTo>
                      <a:lnTo>
                        <a:pt x="4" y="9"/>
                      </a:lnTo>
                      <a:lnTo>
                        <a:pt x="3" y="14"/>
                      </a:lnTo>
                      <a:lnTo>
                        <a:pt x="1" y="17"/>
                      </a:lnTo>
                      <a:lnTo>
                        <a:pt x="0" y="21"/>
                      </a:lnTo>
                      <a:lnTo>
                        <a:pt x="1" y="22"/>
                      </a:lnTo>
                      <a:lnTo>
                        <a:pt x="3" y="23"/>
                      </a:lnTo>
                      <a:lnTo>
                        <a:pt x="5" y="24"/>
                      </a:lnTo>
                      <a:lnTo>
                        <a:pt x="9" y="24"/>
                      </a:lnTo>
                      <a:lnTo>
                        <a:pt x="15" y="26"/>
                      </a:lnTo>
                      <a:lnTo>
                        <a:pt x="18" y="24"/>
                      </a:lnTo>
                      <a:lnTo>
                        <a:pt x="19" y="24"/>
                      </a:lnTo>
                      <a:lnTo>
                        <a:pt x="20" y="2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6" name="Freeform 371"/>
                <p:cNvSpPr>
                  <a:spLocks/>
                </p:cNvSpPr>
                <p:nvPr/>
              </p:nvSpPr>
              <p:spPr bwMode="auto">
                <a:xfrm>
                  <a:off x="5995961" y="1674896"/>
                  <a:ext cx="29597" cy="13319"/>
                </a:xfrm>
                <a:custGeom>
                  <a:avLst/>
                  <a:gdLst>
                    <a:gd name="T0" fmla="*/ 2147483647 w 21"/>
                    <a:gd name="T1" fmla="*/ 2147483647 h 9"/>
                    <a:gd name="T2" fmla="*/ 2147483647 w 21"/>
                    <a:gd name="T3" fmla="*/ 2147483647 h 9"/>
                    <a:gd name="T4" fmla="*/ 2147483647 w 21"/>
                    <a:gd name="T5" fmla="*/ 2147483647 h 9"/>
                    <a:gd name="T6" fmla="*/ 2147483647 w 21"/>
                    <a:gd name="T7" fmla="*/ 0 h 9"/>
                    <a:gd name="T8" fmla="*/ 2147483647 w 21"/>
                    <a:gd name="T9" fmla="*/ 0 h 9"/>
                    <a:gd name="T10" fmla="*/ 2147483647 w 21"/>
                    <a:gd name="T11" fmla="*/ 2147483647 h 9"/>
                    <a:gd name="T12" fmla="*/ 2147483647 w 21"/>
                    <a:gd name="T13" fmla="*/ 2147483647 h 9"/>
                    <a:gd name="T14" fmla="*/ 2147483647 w 21"/>
                    <a:gd name="T15" fmla="*/ 2147483647 h 9"/>
                    <a:gd name="T16" fmla="*/ 0 w 21"/>
                    <a:gd name="T17" fmla="*/ 2147483647 h 9"/>
                    <a:gd name="T18" fmla="*/ 0 w 21"/>
                    <a:gd name="T19" fmla="*/ 2147483647 h 9"/>
                    <a:gd name="T20" fmla="*/ 2147483647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2147483647 h 9"/>
                    <a:gd name="T36" fmla="*/ 2147483647 w 21"/>
                    <a:gd name="T37" fmla="*/ 2147483647 h 9"/>
                    <a:gd name="T38" fmla="*/ 2147483647 w 21"/>
                    <a:gd name="T39" fmla="*/ 2147483647 h 9"/>
                    <a:gd name="T40" fmla="*/ 2147483647 w 21"/>
                    <a:gd name="T41" fmla="*/ 2147483647 h 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9"/>
                    <a:gd name="T65" fmla="*/ 21 w 21"/>
                    <a:gd name="T66" fmla="*/ 9 h 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9">
                      <a:moveTo>
                        <a:pt x="21" y="3"/>
                      </a:moveTo>
                      <a:lnTo>
                        <a:pt x="21" y="3"/>
                      </a:lnTo>
                      <a:lnTo>
                        <a:pt x="21" y="2"/>
                      </a:lnTo>
                      <a:lnTo>
                        <a:pt x="20" y="0"/>
                      </a:lnTo>
                      <a:lnTo>
                        <a:pt x="8" y="2"/>
                      </a:lnTo>
                      <a:lnTo>
                        <a:pt x="3" y="4"/>
                      </a:lnTo>
                      <a:lnTo>
                        <a:pt x="1" y="6"/>
                      </a:lnTo>
                      <a:lnTo>
                        <a:pt x="0" y="9"/>
                      </a:lnTo>
                      <a:lnTo>
                        <a:pt x="5" y="7"/>
                      </a:lnTo>
                      <a:lnTo>
                        <a:pt x="7" y="6"/>
                      </a:lnTo>
                      <a:lnTo>
                        <a:pt x="11" y="6"/>
                      </a:lnTo>
                      <a:lnTo>
                        <a:pt x="15" y="6"/>
                      </a:lnTo>
                      <a:lnTo>
                        <a:pt x="19" y="6"/>
                      </a:lnTo>
                      <a:lnTo>
                        <a:pt x="20" y="5"/>
                      </a:lnTo>
                      <a:lnTo>
                        <a:pt x="21"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7" name="Freeform 372"/>
                <p:cNvSpPr>
                  <a:spLocks/>
                </p:cNvSpPr>
                <p:nvPr/>
              </p:nvSpPr>
              <p:spPr bwMode="auto">
                <a:xfrm>
                  <a:off x="5987085" y="1705975"/>
                  <a:ext cx="13318" cy="14799"/>
                </a:xfrm>
                <a:custGeom>
                  <a:avLst/>
                  <a:gdLst>
                    <a:gd name="T0" fmla="*/ 2147483647 w 10"/>
                    <a:gd name="T1" fmla="*/ 2147483647 h 10"/>
                    <a:gd name="T2" fmla="*/ 2147483647 w 10"/>
                    <a:gd name="T3" fmla="*/ 2147483647 h 10"/>
                    <a:gd name="T4" fmla="*/ 2147483647 w 10"/>
                    <a:gd name="T5" fmla="*/ 2147483647 h 10"/>
                    <a:gd name="T6" fmla="*/ 2147483647 w 10"/>
                    <a:gd name="T7" fmla="*/ 0 h 10"/>
                    <a:gd name="T8" fmla="*/ 2147483647 w 10"/>
                    <a:gd name="T9" fmla="*/ 0 h 10"/>
                    <a:gd name="T10" fmla="*/ 0 w 10"/>
                    <a:gd name="T11" fmla="*/ 2147483647 h 10"/>
                    <a:gd name="T12" fmla="*/ 0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0"/>
                    <a:gd name="T41" fmla="*/ 10 w 10"/>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0">
                      <a:moveTo>
                        <a:pt x="10" y="5"/>
                      </a:moveTo>
                      <a:lnTo>
                        <a:pt x="9" y="3"/>
                      </a:lnTo>
                      <a:lnTo>
                        <a:pt x="7" y="1"/>
                      </a:lnTo>
                      <a:lnTo>
                        <a:pt x="5" y="0"/>
                      </a:lnTo>
                      <a:lnTo>
                        <a:pt x="3" y="0"/>
                      </a:lnTo>
                      <a:lnTo>
                        <a:pt x="0" y="2"/>
                      </a:lnTo>
                      <a:lnTo>
                        <a:pt x="0" y="3"/>
                      </a:lnTo>
                      <a:lnTo>
                        <a:pt x="2" y="5"/>
                      </a:lnTo>
                      <a:lnTo>
                        <a:pt x="5" y="8"/>
                      </a:lnTo>
                      <a:lnTo>
                        <a:pt x="8" y="10"/>
                      </a:lnTo>
                      <a:lnTo>
                        <a:pt x="9" y="10"/>
                      </a:lnTo>
                      <a:lnTo>
                        <a:pt x="10" y="9"/>
                      </a:lnTo>
                      <a:lnTo>
                        <a:pt x="10"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8" name="Freeform 373"/>
                <p:cNvSpPr>
                  <a:spLocks/>
                </p:cNvSpPr>
                <p:nvPr/>
              </p:nvSpPr>
              <p:spPr bwMode="auto">
                <a:xfrm>
                  <a:off x="5957488" y="1713373"/>
                  <a:ext cx="20718" cy="17758"/>
                </a:xfrm>
                <a:custGeom>
                  <a:avLst/>
                  <a:gdLst>
                    <a:gd name="T0" fmla="*/ 2147483647 w 15"/>
                    <a:gd name="T1" fmla="*/ 0 h 12"/>
                    <a:gd name="T2" fmla="*/ 2147483647 w 15"/>
                    <a:gd name="T3" fmla="*/ 0 h 12"/>
                    <a:gd name="T4" fmla="*/ 0 w 15"/>
                    <a:gd name="T5" fmla="*/ 0 h 12"/>
                    <a:gd name="T6" fmla="*/ 2147483647 w 15"/>
                    <a:gd name="T7" fmla="*/ 2147483647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2"/>
                    <a:gd name="T35" fmla="*/ 15 w 15"/>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2">
                      <a:moveTo>
                        <a:pt x="2" y="0"/>
                      </a:moveTo>
                      <a:lnTo>
                        <a:pt x="1" y="0"/>
                      </a:lnTo>
                      <a:lnTo>
                        <a:pt x="0" y="0"/>
                      </a:lnTo>
                      <a:lnTo>
                        <a:pt x="1" y="4"/>
                      </a:lnTo>
                      <a:lnTo>
                        <a:pt x="5" y="6"/>
                      </a:lnTo>
                      <a:lnTo>
                        <a:pt x="12" y="12"/>
                      </a:lnTo>
                      <a:lnTo>
                        <a:pt x="14" y="11"/>
                      </a:lnTo>
                      <a:lnTo>
                        <a:pt x="15" y="9"/>
                      </a:lnTo>
                      <a:lnTo>
                        <a:pt x="14" y="8"/>
                      </a:lnTo>
                      <a:lnTo>
                        <a:pt x="11" y="5"/>
                      </a:lnTo>
                      <a:lnTo>
                        <a:pt x="2"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39" name="Freeform 374"/>
                <p:cNvSpPr>
                  <a:spLocks/>
                </p:cNvSpPr>
                <p:nvPr/>
              </p:nvSpPr>
              <p:spPr bwMode="auto">
                <a:xfrm>
                  <a:off x="5985603" y="1703014"/>
                  <a:ext cx="13319" cy="16278"/>
                </a:xfrm>
                <a:custGeom>
                  <a:avLst/>
                  <a:gdLst>
                    <a:gd name="T0" fmla="*/ 2147483647 w 10"/>
                    <a:gd name="T1" fmla="*/ 2147483647 h 11"/>
                    <a:gd name="T2" fmla="*/ 2147483647 w 10"/>
                    <a:gd name="T3" fmla="*/ 2147483647 h 11"/>
                    <a:gd name="T4" fmla="*/ 2147483647 w 10"/>
                    <a:gd name="T5" fmla="*/ 2147483647 h 11"/>
                    <a:gd name="T6" fmla="*/ 2147483647 w 10"/>
                    <a:gd name="T7" fmla="*/ 2147483647 h 11"/>
                    <a:gd name="T8" fmla="*/ 2147483647 w 10"/>
                    <a:gd name="T9" fmla="*/ 0 h 11"/>
                    <a:gd name="T10" fmla="*/ 2147483647 w 10"/>
                    <a:gd name="T11" fmla="*/ 0 h 11"/>
                    <a:gd name="T12" fmla="*/ 2147483647 w 10"/>
                    <a:gd name="T13" fmla="*/ 0 h 11"/>
                    <a:gd name="T14" fmla="*/ 0 w 10"/>
                    <a:gd name="T15" fmla="*/ 2147483647 h 11"/>
                    <a:gd name="T16" fmla="*/ 0 w 10"/>
                    <a:gd name="T17" fmla="*/ 2147483647 h 11"/>
                    <a:gd name="T18" fmla="*/ 2147483647 w 10"/>
                    <a:gd name="T19" fmla="*/ 2147483647 h 11"/>
                    <a:gd name="T20" fmla="*/ 2147483647 w 10"/>
                    <a:gd name="T21" fmla="*/ 2147483647 h 11"/>
                    <a:gd name="T22" fmla="*/ 2147483647 w 10"/>
                    <a:gd name="T23" fmla="*/ 2147483647 h 11"/>
                    <a:gd name="T24" fmla="*/ 2147483647 w 10"/>
                    <a:gd name="T25" fmla="*/ 2147483647 h 11"/>
                    <a:gd name="T26" fmla="*/ 2147483647 w 10"/>
                    <a:gd name="T27" fmla="*/ 2147483647 h 11"/>
                    <a:gd name="T28" fmla="*/ 2147483647 w 10"/>
                    <a:gd name="T29" fmla="*/ 2147483647 h 11"/>
                    <a:gd name="T30" fmla="*/ 2147483647 w 10"/>
                    <a:gd name="T31" fmla="*/ 2147483647 h 11"/>
                    <a:gd name="T32" fmla="*/ 2147483647 w 10"/>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1"/>
                    <a:gd name="T53" fmla="*/ 10 w 10"/>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1">
                      <a:moveTo>
                        <a:pt x="10" y="6"/>
                      </a:moveTo>
                      <a:lnTo>
                        <a:pt x="10" y="6"/>
                      </a:lnTo>
                      <a:lnTo>
                        <a:pt x="9" y="4"/>
                      </a:lnTo>
                      <a:lnTo>
                        <a:pt x="6" y="2"/>
                      </a:lnTo>
                      <a:lnTo>
                        <a:pt x="5" y="0"/>
                      </a:lnTo>
                      <a:lnTo>
                        <a:pt x="3" y="0"/>
                      </a:lnTo>
                      <a:lnTo>
                        <a:pt x="0" y="3"/>
                      </a:lnTo>
                      <a:lnTo>
                        <a:pt x="0" y="4"/>
                      </a:lnTo>
                      <a:lnTo>
                        <a:pt x="1" y="6"/>
                      </a:lnTo>
                      <a:lnTo>
                        <a:pt x="5" y="9"/>
                      </a:lnTo>
                      <a:lnTo>
                        <a:pt x="8" y="11"/>
                      </a:lnTo>
                      <a:lnTo>
                        <a:pt x="9" y="11"/>
                      </a:lnTo>
                      <a:lnTo>
                        <a:pt x="10" y="10"/>
                      </a:lnTo>
                      <a:lnTo>
                        <a:pt x="10"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0" name="Freeform 375"/>
                <p:cNvSpPr>
                  <a:spLocks/>
                </p:cNvSpPr>
                <p:nvPr/>
              </p:nvSpPr>
              <p:spPr bwMode="auto">
                <a:xfrm>
                  <a:off x="5956008" y="1711897"/>
                  <a:ext cx="20718" cy="17758"/>
                </a:xfrm>
                <a:custGeom>
                  <a:avLst/>
                  <a:gdLst>
                    <a:gd name="T0" fmla="*/ 2147483647 w 16"/>
                    <a:gd name="T1" fmla="*/ 0 h 12"/>
                    <a:gd name="T2" fmla="*/ 2147483647 w 16"/>
                    <a:gd name="T3" fmla="*/ 0 h 12"/>
                    <a:gd name="T4" fmla="*/ 2147483647 w 16"/>
                    <a:gd name="T5" fmla="*/ 0 h 12"/>
                    <a:gd name="T6" fmla="*/ 0 w 16"/>
                    <a:gd name="T7" fmla="*/ 0 h 12"/>
                    <a:gd name="T8" fmla="*/ 0 w 16"/>
                    <a:gd name="T9" fmla="*/ 0 h 12"/>
                    <a:gd name="T10" fmla="*/ 2147483647 w 16"/>
                    <a:gd name="T11" fmla="*/ 2147483647 h 12"/>
                    <a:gd name="T12" fmla="*/ 2147483647 w 16"/>
                    <a:gd name="T13" fmla="*/ 2147483647 h 12"/>
                    <a:gd name="T14" fmla="*/ 2147483647 w 16"/>
                    <a:gd name="T15" fmla="*/ 2147483647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0 h 12"/>
                    <a:gd name="T32" fmla="*/ 2147483647 w 16"/>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2"/>
                    <a:gd name="T53" fmla="*/ 16 w 16"/>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2">
                      <a:moveTo>
                        <a:pt x="3" y="0"/>
                      </a:moveTo>
                      <a:lnTo>
                        <a:pt x="3" y="0"/>
                      </a:lnTo>
                      <a:lnTo>
                        <a:pt x="2" y="0"/>
                      </a:lnTo>
                      <a:lnTo>
                        <a:pt x="0" y="0"/>
                      </a:lnTo>
                      <a:lnTo>
                        <a:pt x="2" y="4"/>
                      </a:lnTo>
                      <a:lnTo>
                        <a:pt x="5" y="6"/>
                      </a:lnTo>
                      <a:lnTo>
                        <a:pt x="13" y="12"/>
                      </a:lnTo>
                      <a:lnTo>
                        <a:pt x="14" y="11"/>
                      </a:lnTo>
                      <a:lnTo>
                        <a:pt x="16" y="9"/>
                      </a:lnTo>
                      <a:lnTo>
                        <a:pt x="14" y="7"/>
                      </a:lnTo>
                      <a:lnTo>
                        <a:pt x="12" y="5"/>
                      </a:lnTo>
                      <a:lnTo>
                        <a:pt x="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1" name="Freeform 376"/>
                <p:cNvSpPr>
                  <a:spLocks/>
                </p:cNvSpPr>
                <p:nvPr/>
              </p:nvSpPr>
              <p:spPr bwMode="auto">
                <a:xfrm>
                  <a:off x="5981163" y="1731135"/>
                  <a:ext cx="16278" cy="14799"/>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0 w 12"/>
                    <a:gd name="T9" fmla="*/ 2147483647 h 10"/>
                    <a:gd name="T10" fmla="*/ 2147483647 w 12"/>
                    <a:gd name="T11" fmla="*/ 2147483647 h 10"/>
                    <a:gd name="T12" fmla="*/ 2147483647 w 12"/>
                    <a:gd name="T13" fmla="*/ 2147483647 h 10"/>
                    <a:gd name="T14" fmla="*/ 2147483647 w 12"/>
                    <a:gd name="T15" fmla="*/ 0 h 10"/>
                    <a:gd name="T16" fmla="*/ 2147483647 w 12"/>
                    <a:gd name="T17" fmla="*/ 0 h 10"/>
                    <a:gd name="T18" fmla="*/ 2147483647 w 12"/>
                    <a:gd name="T19" fmla="*/ 2147483647 h 10"/>
                    <a:gd name="T20" fmla="*/ 2147483647 w 12"/>
                    <a:gd name="T21" fmla="*/ 2147483647 h 10"/>
                    <a:gd name="T22" fmla="*/ 2147483647 w 12"/>
                    <a:gd name="T23" fmla="*/ 2147483647 h 10"/>
                    <a:gd name="T24" fmla="*/ 2147483647 w 12"/>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0"/>
                    <a:gd name="T41" fmla="*/ 12 w 12"/>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0">
                      <a:moveTo>
                        <a:pt x="8" y="9"/>
                      </a:moveTo>
                      <a:lnTo>
                        <a:pt x="6" y="10"/>
                      </a:lnTo>
                      <a:lnTo>
                        <a:pt x="3" y="10"/>
                      </a:lnTo>
                      <a:lnTo>
                        <a:pt x="2" y="10"/>
                      </a:lnTo>
                      <a:lnTo>
                        <a:pt x="0" y="7"/>
                      </a:lnTo>
                      <a:lnTo>
                        <a:pt x="2" y="5"/>
                      </a:lnTo>
                      <a:lnTo>
                        <a:pt x="4" y="2"/>
                      </a:lnTo>
                      <a:lnTo>
                        <a:pt x="7" y="0"/>
                      </a:lnTo>
                      <a:lnTo>
                        <a:pt x="8" y="0"/>
                      </a:lnTo>
                      <a:lnTo>
                        <a:pt x="11" y="2"/>
                      </a:lnTo>
                      <a:lnTo>
                        <a:pt x="12" y="5"/>
                      </a:lnTo>
                      <a:lnTo>
                        <a:pt x="11" y="7"/>
                      </a:lnTo>
                      <a:lnTo>
                        <a:pt x="8"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2" name="Freeform 377"/>
                <p:cNvSpPr>
                  <a:spLocks/>
                </p:cNvSpPr>
                <p:nvPr/>
              </p:nvSpPr>
              <p:spPr bwMode="auto">
                <a:xfrm>
                  <a:off x="5917528" y="1744454"/>
                  <a:ext cx="31078" cy="20718"/>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2147483647 w 23"/>
                    <a:gd name="T17" fmla="*/ 2147483647 h 14"/>
                    <a:gd name="T18" fmla="*/ 2147483647 w 23"/>
                    <a:gd name="T19" fmla="*/ 2147483647 h 14"/>
                    <a:gd name="T20" fmla="*/ 0 w 23"/>
                    <a:gd name="T21" fmla="*/ 2147483647 h 14"/>
                    <a:gd name="T22" fmla="*/ 0 w 23"/>
                    <a:gd name="T23" fmla="*/ 2147483647 h 14"/>
                    <a:gd name="T24" fmla="*/ 0 w 23"/>
                    <a:gd name="T25" fmla="*/ 2147483647 h 14"/>
                    <a:gd name="T26" fmla="*/ 2147483647 w 23"/>
                    <a:gd name="T27" fmla="*/ 2147483647 h 14"/>
                    <a:gd name="T28" fmla="*/ 2147483647 w 23"/>
                    <a:gd name="T29" fmla="*/ 0 h 14"/>
                    <a:gd name="T30" fmla="*/ 2147483647 w 23"/>
                    <a:gd name="T31" fmla="*/ 0 h 14"/>
                    <a:gd name="T32" fmla="*/ 2147483647 w 23"/>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4"/>
                    <a:gd name="T53" fmla="*/ 23 w 23"/>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4">
                      <a:moveTo>
                        <a:pt x="18" y="2"/>
                      </a:moveTo>
                      <a:lnTo>
                        <a:pt x="21" y="3"/>
                      </a:lnTo>
                      <a:lnTo>
                        <a:pt x="23" y="4"/>
                      </a:lnTo>
                      <a:lnTo>
                        <a:pt x="23" y="7"/>
                      </a:lnTo>
                      <a:lnTo>
                        <a:pt x="23" y="9"/>
                      </a:lnTo>
                      <a:lnTo>
                        <a:pt x="22" y="11"/>
                      </a:lnTo>
                      <a:lnTo>
                        <a:pt x="20" y="11"/>
                      </a:lnTo>
                      <a:lnTo>
                        <a:pt x="11" y="14"/>
                      </a:lnTo>
                      <a:lnTo>
                        <a:pt x="7" y="13"/>
                      </a:lnTo>
                      <a:lnTo>
                        <a:pt x="3" y="11"/>
                      </a:lnTo>
                      <a:lnTo>
                        <a:pt x="0" y="9"/>
                      </a:lnTo>
                      <a:lnTo>
                        <a:pt x="0" y="7"/>
                      </a:lnTo>
                      <a:lnTo>
                        <a:pt x="0" y="3"/>
                      </a:lnTo>
                      <a:lnTo>
                        <a:pt x="3" y="1"/>
                      </a:lnTo>
                      <a:lnTo>
                        <a:pt x="7" y="0"/>
                      </a:lnTo>
                      <a:lnTo>
                        <a:pt x="11" y="0"/>
                      </a:lnTo>
                      <a:lnTo>
                        <a:pt x="18"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3" name="Freeform 378"/>
                <p:cNvSpPr>
                  <a:spLocks/>
                </p:cNvSpPr>
                <p:nvPr/>
              </p:nvSpPr>
              <p:spPr bwMode="auto">
                <a:xfrm>
                  <a:off x="5979685" y="1729653"/>
                  <a:ext cx="16279" cy="14799"/>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0 w 12"/>
                    <a:gd name="T13" fmla="*/ 2147483647 h 10"/>
                    <a:gd name="T14" fmla="*/ 2147483647 w 12"/>
                    <a:gd name="T15" fmla="*/ 2147483647 h 10"/>
                    <a:gd name="T16" fmla="*/ 2147483647 w 12"/>
                    <a:gd name="T17" fmla="*/ 2147483647 h 10"/>
                    <a:gd name="T18" fmla="*/ 2147483647 w 12"/>
                    <a:gd name="T19" fmla="*/ 0 h 10"/>
                    <a:gd name="T20" fmla="*/ 2147483647 w 12"/>
                    <a:gd name="T21" fmla="*/ 0 h 10"/>
                    <a:gd name="T22" fmla="*/ 2147483647 w 12"/>
                    <a:gd name="T23" fmla="*/ 2147483647 h 10"/>
                    <a:gd name="T24" fmla="*/ 2147483647 w 12"/>
                    <a:gd name="T25" fmla="*/ 2147483647 h 10"/>
                    <a:gd name="T26" fmla="*/ 2147483647 w 12"/>
                    <a:gd name="T27" fmla="*/ 2147483647 h 10"/>
                    <a:gd name="T28" fmla="*/ 2147483647 w 12"/>
                    <a:gd name="T29" fmla="*/ 2147483647 h 10"/>
                    <a:gd name="T30" fmla="*/ 2147483647 w 12"/>
                    <a:gd name="T31" fmla="*/ 2147483647 h 10"/>
                    <a:gd name="T32" fmla="*/ 2147483647 w 12"/>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0"/>
                    <a:gd name="T53" fmla="*/ 12 w 12"/>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0">
                      <a:moveTo>
                        <a:pt x="8" y="8"/>
                      </a:moveTo>
                      <a:lnTo>
                        <a:pt x="8" y="8"/>
                      </a:lnTo>
                      <a:lnTo>
                        <a:pt x="5" y="10"/>
                      </a:lnTo>
                      <a:lnTo>
                        <a:pt x="3" y="10"/>
                      </a:lnTo>
                      <a:lnTo>
                        <a:pt x="1" y="10"/>
                      </a:lnTo>
                      <a:lnTo>
                        <a:pt x="0" y="7"/>
                      </a:lnTo>
                      <a:lnTo>
                        <a:pt x="1" y="5"/>
                      </a:lnTo>
                      <a:lnTo>
                        <a:pt x="4" y="1"/>
                      </a:lnTo>
                      <a:lnTo>
                        <a:pt x="7" y="0"/>
                      </a:lnTo>
                      <a:lnTo>
                        <a:pt x="8" y="0"/>
                      </a:lnTo>
                      <a:lnTo>
                        <a:pt x="10" y="1"/>
                      </a:lnTo>
                      <a:lnTo>
                        <a:pt x="12" y="5"/>
                      </a:lnTo>
                      <a:lnTo>
                        <a:pt x="10" y="7"/>
                      </a:lnTo>
                      <a:lnTo>
                        <a:pt x="8"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4" name="Freeform 379"/>
                <p:cNvSpPr>
                  <a:spLocks/>
                </p:cNvSpPr>
                <p:nvPr/>
              </p:nvSpPr>
              <p:spPr bwMode="auto">
                <a:xfrm>
                  <a:off x="5916052" y="1741491"/>
                  <a:ext cx="31077" cy="22198"/>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2147483647 h 15"/>
                    <a:gd name="T10" fmla="*/ 2147483647 w 23"/>
                    <a:gd name="T11" fmla="*/ 2147483647 h 15"/>
                    <a:gd name="T12" fmla="*/ 2147483647 w 23"/>
                    <a:gd name="T13" fmla="*/ 2147483647 h 15"/>
                    <a:gd name="T14" fmla="*/ 2147483647 w 23"/>
                    <a:gd name="T15" fmla="*/ 2147483647 h 15"/>
                    <a:gd name="T16" fmla="*/ 2147483647 w 23"/>
                    <a:gd name="T17" fmla="*/ 2147483647 h 15"/>
                    <a:gd name="T18" fmla="*/ 2147483647 w 23"/>
                    <a:gd name="T19" fmla="*/ 2147483647 h 15"/>
                    <a:gd name="T20" fmla="*/ 2147483647 w 23"/>
                    <a:gd name="T21" fmla="*/ 2147483647 h 15"/>
                    <a:gd name="T22" fmla="*/ 2147483647 w 23"/>
                    <a:gd name="T23" fmla="*/ 2147483647 h 15"/>
                    <a:gd name="T24" fmla="*/ 2147483647 w 23"/>
                    <a:gd name="T25" fmla="*/ 2147483647 h 15"/>
                    <a:gd name="T26" fmla="*/ 2147483647 w 23"/>
                    <a:gd name="T27" fmla="*/ 2147483647 h 15"/>
                    <a:gd name="T28" fmla="*/ 0 w 23"/>
                    <a:gd name="T29" fmla="*/ 2147483647 h 15"/>
                    <a:gd name="T30" fmla="*/ 0 w 23"/>
                    <a:gd name="T31" fmla="*/ 2147483647 h 15"/>
                    <a:gd name="T32" fmla="*/ 0 w 23"/>
                    <a:gd name="T33" fmla="*/ 2147483647 h 15"/>
                    <a:gd name="T34" fmla="*/ 2147483647 w 23"/>
                    <a:gd name="T35" fmla="*/ 2147483647 h 15"/>
                    <a:gd name="T36" fmla="*/ 2147483647 w 23"/>
                    <a:gd name="T37" fmla="*/ 2147483647 h 15"/>
                    <a:gd name="T38" fmla="*/ 2147483647 w 23"/>
                    <a:gd name="T39" fmla="*/ 0 h 15"/>
                    <a:gd name="T40" fmla="*/ 2147483647 w 23"/>
                    <a:gd name="T41" fmla="*/ 0 h 15"/>
                    <a:gd name="T42" fmla="*/ 2147483647 w 23"/>
                    <a:gd name="T43" fmla="*/ 2147483647 h 15"/>
                    <a:gd name="T44" fmla="*/ 2147483647 w 23"/>
                    <a:gd name="T45" fmla="*/ 2147483647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5"/>
                    <a:gd name="T71" fmla="*/ 23 w 23"/>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5">
                      <a:moveTo>
                        <a:pt x="18" y="3"/>
                      </a:moveTo>
                      <a:lnTo>
                        <a:pt x="18" y="3"/>
                      </a:lnTo>
                      <a:lnTo>
                        <a:pt x="21" y="4"/>
                      </a:lnTo>
                      <a:lnTo>
                        <a:pt x="23" y="5"/>
                      </a:lnTo>
                      <a:lnTo>
                        <a:pt x="23" y="8"/>
                      </a:lnTo>
                      <a:lnTo>
                        <a:pt x="23" y="10"/>
                      </a:lnTo>
                      <a:lnTo>
                        <a:pt x="22" y="12"/>
                      </a:lnTo>
                      <a:lnTo>
                        <a:pt x="19" y="12"/>
                      </a:lnTo>
                      <a:lnTo>
                        <a:pt x="10" y="15"/>
                      </a:lnTo>
                      <a:lnTo>
                        <a:pt x="7" y="13"/>
                      </a:lnTo>
                      <a:lnTo>
                        <a:pt x="3" y="12"/>
                      </a:lnTo>
                      <a:lnTo>
                        <a:pt x="0" y="10"/>
                      </a:lnTo>
                      <a:lnTo>
                        <a:pt x="0" y="8"/>
                      </a:lnTo>
                      <a:lnTo>
                        <a:pt x="0" y="4"/>
                      </a:lnTo>
                      <a:lnTo>
                        <a:pt x="3" y="2"/>
                      </a:lnTo>
                      <a:lnTo>
                        <a:pt x="7" y="0"/>
                      </a:lnTo>
                      <a:lnTo>
                        <a:pt x="10" y="0"/>
                      </a:lnTo>
                      <a:lnTo>
                        <a:pt x="18"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5" name="Freeform 380"/>
                <p:cNvSpPr>
                  <a:spLocks/>
                </p:cNvSpPr>
                <p:nvPr/>
              </p:nvSpPr>
              <p:spPr bwMode="auto">
                <a:xfrm>
                  <a:off x="5787303" y="1793286"/>
                  <a:ext cx="10360" cy="17758"/>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2147483647 w 8"/>
                    <a:gd name="T11" fmla="*/ 2147483647 h 12"/>
                    <a:gd name="T12" fmla="*/ 0 w 8"/>
                    <a:gd name="T13" fmla="*/ 2147483647 h 12"/>
                    <a:gd name="T14" fmla="*/ 2147483647 w 8"/>
                    <a:gd name="T15" fmla="*/ 2147483647 h 12"/>
                    <a:gd name="T16" fmla="*/ 2147483647 w 8"/>
                    <a:gd name="T17" fmla="*/ 0 h 12"/>
                    <a:gd name="T18" fmla="*/ 2147483647 w 8"/>
                    <a:gd name="T19" fmla="*/ 0 h 12"/>
                    <a:gd name="T20" fmla="*/ 2147483647 w 8"/>
                    <a:gd name="T21" fmla="*/ 2147483647 h 12"/>
                    <a:gd name="T22" fmla="*/ 2147483647 w 8"/>
                    <a:gd name="T23" fmla="*/ 2147483647 h 12"/>
                    <a:gd name="T24" fmla="*/ 2147483647 w 8"/>
                    <a:gd name="T25" fmla="*/ 2147483647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8" y="7"/>
                      </a:moveTo>
                      <a:lnTo>
                        <a:pt x="7" y="10"/>
                      </a:lnTo>
                      <a:lnTo>
                        <a:pt x="5" y="12"/>
                      </a:lnTo>
                      <a:lnTo>
                        <a:pt x="4" y="12"/>
                      </a:lnTo>
                      <a:lnTo>
                        <a:pt x="3" y="10"/>
                      </a:lnTo>
                      <a:lnTo>
                        <a:pt x="1" y="9"/>
                      </a:lnTo>
                      <a:lnTo>
                        <a:pt x="0" y="6"/>
                      </a:lnTo>
                      <a:lnTo>
                        <a:pt x="1" y="2"/>
                      </a:lnTo>
                      <a:lnTo>
                        <a:pt x="4" y="0"/>
                      </a:lnTo>
                      <a:lnTo>
                        <a:pt x="7" y="0"/>
                      </a:lnTo>
                      <a:lnTo>
                        <a:pt x="8" y="1"/>
                      </a:lnTo>
                      <a:lnTo>
                        <a:pt x="8" y="5"/>
                      </a:lnTo>
                      <a:lnTo>
                        <a:pt x="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6" name="Freeform 381"/>
                <p:cNvSpPr>
                  <a:spLocks/>
                </p:cNvSpPr>
                <p:nvPr/>
              </p:nvSpPr>
              <p:spPr bwMode="auto">
                <a:xfrm>
                  <a:off x="5893851" y="1701534"/>
                  <a:ext cx="65114" cy="42918"/>
                </a:xfrm>
                <a:custGeom>
                  <a:avLst/>
                  <a:gdLst>
                    <a:gd name="T0" fmla="*/ 2147483647 w 48"/>
                    <a:gd name="T1" fmla="*/ 2147483647 h 29"/>
                    <a:gd name="T2" fmla="*/ 2147483647 w 48"/>
                    <a:gd name="T3" fmla="*/ 2147483647 h 29"/>
                    <a:gd name="T4" fmla="*/ 2147483647 w 48"/>
                    <a:gd name="T5" fmla="*/ 2147483647 h 29"/>
                    <a:gd name="T6" fmla="*/ 2147483647 w 48"/>
                    <a:gd name="T7" fmla="*/ 2147483647 h 29"/>
                    <a:gd name="T8" fmla="*/ 2147483647 w 48"/>
                    <a:gd name="T9" fmla="*/ 2147483647 h 29"/>
                    <a:gd name="T10" fmla="*/ 2147483647 w 48"/>
                    <a:gd name="T11" fmla="*/ 2147483647 h 29"/>
                    <a:gd name="T12" fmla="*/ 2147483647 w 48"/>
                    <a:gd name="T13" fmla="*/ 2147483647 h 29"/>
                    <a:gd name="T14" fmla="*/ 2147483647 w 48"/>
                    <a:gd name="T15" fmla="*/ 0 h 29"/>
                    <a:gd name="T16" fmla="*/ 2147483647 w 48"/>
                    <a:gd name="T17" fmla="*/ 2147483647 h 29"/>
                    <a:gd name="T18" fmla="*/ 2147483647 w 48"/>
                    <a:gd name="T19" fmla="*/ 2147483647 h 29"/>
                    <a:gd name="T20" fmla="*/ 0 w 48"/>
                    <a:gd name="T21" fmla="*/ 2147483647 h 29"/>
                    <a:gd name="T22" fmla="*/ 0 w 48"/>
                    <a:gd name="T23" fmla="*/ 2147483647 h 29"/>
                    <a:gd name="T24" fmla="*/ 2147483647 w 48"/>
                    <a:gd name="T25" fmla="*/ 2147483647 h 29"/>
                    <a:gd name="T26" fmla="*/ 2147483647 w 48"/>
                    <a:gd name="T27" fmla="*/ 2147483647 h 29"/>
                    <a:gd name="T28" fmla="*/ 2147483647 w 48"/>
                    <a:gd name="T29" fmla="*/ 2147483647 h 29"/>
                    <a:gd name="T30" fmla="*/ 2147483647 w 48"/>
                    <a:gd name="T31" fmla="*/ 2147483647 h 29"/>
                    <a:gd name="T32" fmla="*/ 2147483647 w 48"/>
                    <a:gd name="T33" fmla="*/ 2147483647 h 29"/>
                    <a:gd name="T34" fmla="*/ 2147483647 w 48"/>
                    <a:gd name="T35" fmla="*/ 2147483647 h 29"/>
                    <a:gd name="T36" fmla="*/ 2147483647 w 48"/>
                    <a:gd name="T37" fmla="*/ 2147483647 h 29"/>
                    <a:gd name="T38" fmla="*/ 2147483647 w 48"/>
                    <a:gd name="T39" fmla="*/ 2147483647 h 29"/>
                    <a:gd name="T40" fmla="*/ 2147483647 w 48"/>
                    <a:gd name="T41" fmla="*/ 2147483647 h 29"/>
                    <a:gd name="T42" fmla="*/ 2147483647 w 48"/>
                    <a:gd name="T43" fmla="*/ 2147483647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29"/>
                    <a:gd name="T68" fmla="*/ 48 w 48"/>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29">
                      <a:moveTo>
                        <a:pt x="48" y="23"/>
                      </a:moveTo>
                      <a:lnTo>
                        <a:pt x="47" y="22"/>
                      </a:lnTo>
                      <a:lnTo>
                        <a:pt x="43" y="19"/>
                      </a:lnTo>
                      <a:lnTo>
                        <a:pt x="38" y="14"/>
                      </a:lnTo>
                      <a:lnTo>
                        <a:pt x="34" y="11"/>
                      </a:lnTo>
                      <a:lnTo>
                        <a:pt x="23" y="5"/>
                      </a:lnTo>
                      <a:lnTo>
                        <a:pt x="10" y="1"/>
                      </a:lnTo>
                      <a:lnTo>
                        <a:pt x="5" y="0"/>
                      </a:lnTo>
                      <a:lnTo>
                        <a:pt x="2" y="1"/>
                      </a:lnTo>
                      <a:lnTo>
                        <a:pt x="1" y="3"/>
                      </a:lnTo>
                      <a:lnTo>
                        <a:pt x="0" y="6"/>
                      </a:lnTo>
                      <a:lnTo>
                        <a:pt x="0" y="10"/>
                      </a:lnTo>
                      <a:lnTo>
                        <a:pt x="1" y="12"/>
                      </a:lnTo>
                      <a:lnTo>
                        <a:pt x="3" y="12"/>
                      </a:lnTo>
                      <a:lnTo>
                        <a:pt x="14" y="13"/>
                      </a:lnTo>
                      <a:lnTo>
                        <a:pt x="24" y="16"/>
                      </a:lnTo>
                      <a:lnTo>
                        <a:pt x="33" y="20"/>
                      </a:lnTo>
                      <a:lnTo>
                        <a:pt x="40" y="27"/>
                      </a:lnTo>
                      <a:lnTo>
                        <a:pt x="43" y="29"/>
                      </a:lnTo>
                      <a:lnTo>
                        <a:pt x="45" y="27"/>
                      </a:lnTo>
                      <a:lnTo>
                        <a:pt x="48" y="26"/>
                      </a:lnTo>
                      <a:lnTo>
                        <a:pt x="48" y="2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7" name="Freeform 382"/>
                <p:cNvSpPr>
                  <a:spLocks/>
                </p:cNvSpPr>
                <p:nvPr/>
              </p:nvSpPr>
              <p:spPr bwMode="auto">
                <a:xfrm>
                  <a:off x="5785819" y="1791806"/>
                  <a:ext cx="10359" cy="16278"/>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2147483647 w 8"/>
                    <a:gd name="T19" fmla="*/ 2147483647 h 11"/>
                    <a:gd name="T20" fmla="*/ 2147483647 w 8"/>
                    <a:gd name="T21" fmla="*/ 0 h 11"/>
                    <a:gd name="T22" fmla="*/ 2147483647 w 8"/>
                    <a:gd name="T23" fmla="*/ 0 h 11"/>
                    <a:gd name="T24" fmla="*/ 2147483647 w 8"/>
                    <a:gd name="T25" fmla="*/ 0 h 11"/>
                    <a:gd name="T26" fmla="*/ 2147483647 w 8"/>
                    <a:gd name="T27" fmla="*/ 2147483647 h 11"/>
                    <a:gd name="T28" fmla="*/ 2147483647 w 8"/>
                    <a:gd name="T29" fmla="*/ 2147483647 h 11"/>
                    <a:gd name="T30" fmla="*/ 2147483647 w 8"/>
                    <a:gd name="T31" fmla="*/ 2147483647 h 11"/>
                    <a:gd name="T32" fmla="*/ 2147483647 w 8"/>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1"/>
                    <a:gd name="T53" fmla="*/ 8 w 8"/>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1">
                      <a:moveTo>
                        <a:pt x="8" y="7"/>
                      </a:moveTo>
                      <a:lnTo>
                        <a:pt x="8" y="7"/>
                      </a:lnTo>
                      <a:lnTo>
                        <a:pt x="6" y="10"/>
                      </a:lnTo>
                      <a:lnTo>
                        <a:pt x="5" y="11"/>
                      </a:lnTo>
                      <a:lnTo>
                        <a:pt x="4" y="11"/>
                      </a:lnTo>
                      <a:lnTo>
                        <a:pt x="2" y="10"/>
                      </a:lnTo>
                      <a:lnTo>
                        <a:pt x="1" y="9"/>
                      </a:lnTo>
                      <a:lnTo>
                        <a:pt x="0" y="6"/>
                      </a:lnTo>
                      <a:lnTo>
                        <a:pt x="1" y="2"/>
                      </a:lnTo>
                      <a:lnTo>
                        <a:pt x="4" y="0"/>
                      </a:lnTo>
                      <a:lnTo>
                        <a:pt x="6" y="0"/>
                      </a:lnTo>
                      <a:lnTo>
                        <a:pt x="8" y="1"/>
                      </a:lnTo>
                      <a:lnTo>
                        <a:pt x="8" y="4"/>
                      </a:lnTo>
                      <a:lnTo>
                        <a:pt x="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8" name="Freeform 383"/>
                <p:cNvSpPr>
                  <a:spLocks/>
                </p:cNvSpPr>
                <p:nvPr/>
              </p:nvSpPr>
              <p:spPr bwMode="auto">
                <a:xfrm>
                  <a:off x="5890890" y="1700056"/>
                  <a:ext cx="66595" cy="41436"/>
                </a:xfrm>
                <a:custGeom>
                  <a:avLst/>
                  <a:gdLst>
                    <a:gd name="T0" fmla="*/ 2147483647 w 49"/>
                    <a:gd name="T1" fmla="*/ 2147483647 h 28"/>
                    <a:gd name="T2" fmla="*/ 2147483647 w 49"/>
                    <a:gd name="T3" fmla="*/ 2147483647 h 28"/>
                    <a:gd name="T4" fmla="*/ 2147483647 w 49"/>
                    <a:gd name="T5" fmla="*/ 2147483647 h 28"/>
                    <a:gd name="T6" fmla="*/ 2147483647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2147483647 w 49"/>
                    <a:gd name="T17" fmla="*/ 2147483647 h 28"/>
                    <a:gd name="T18" fmla="*/ 2147483647 w 49"/>
                    <a:gd name="T19" fmla="*/ 2147483647 h 28"/>
                    <a:gd name="T20" fmla="*/ 2147483647 w 49"/>
                    <a:gd name="T21" fmla="*/ 2147483647 h 28"/>
                    <a:gd name="T22" fmla="*/ 2147483647 w 49"/>
                    <a:gd name="T23" fmla="*/ 0 h 28"/>
                    <a:gd name="T24" fmla="*/ 2147483647 w 49"/>
                    <a:gd name="T25" fmla="*/ 2147483647 h 28"/>
                    <a:gd name="T26" fmla="*/ 2147483647 w 49"/>
                    <a:gd name="T27" fmla="*/ 2147483647 h 28"/>
                    <a:gd name="T28" fmla="*/ 2147483647 w 49"/>
                    <a:gd name="T29" fmla="*/ 2147483647 h 28"/>
                    <a:gd name="T30" fmla="*/ 0 w 49"/>
                    <a:gd name="T31" fmla="*/ 2147483647 h 28"/>
                    <a:gd name="T32" fmla="*/ 0 w 49"/>
                    <a:gd name="T33" fmla="*/ 2147483647 h 28"/>
                    <a:gd name="T34" fmla="*/ 2147483647 w 49"/>
                    <a:gd name="T35" fmla="*/ 2147483647 h 28"/>
                    <a:gd name="T36" fmla="*/ 2147483647 w 49"/>
                    <a:gd name="T37" fmla="*/ 2147483647 h 28"/>
                    <a:gd name="T38" fmla="*/ 2147483647 w 49"/>
                    <a:gd name="T39" fmla="*/ 2147483647 h 28"/>
                    <a:gd name="T40" fmla="*/ 2147483647 w 49"/>
                    <a:gd name="T41" fmla="*/ 2147483647 h 28"/>
                    <a:gd name="T42" fmla="*/ 2147483647 w 49"/>
                    <a:gd name="T43" fmla="*/ 2147483647 h 28"/>
                    <a:gd name="T44" fmla="*/ 2147483647 w 49"/>
                    <a:gd name="T45" fmla="*/ 2147483647 h 28"/>
                    <a:gd name="T46" fmla="*/ 2147483647 w 49"/>
                    <a:gd name="T47" fmla="*/ 2147483647 h 28"/>
                    <a:gd name="T48" fmla="*/ 2147483647 w 49"/>
                    <a:gd name="T49" fmla="*/ 2147483647 h 28"/>
                    <a:gd name="T50" fmla="*/ 2147483647 w 49"/>
                    <a:gd name="T51" fmla="*/ 2147483647 h 28"/>
                    <a:gd name="T52" fmla="*/ 2147483647 w 49"/>
                    <a:gd name="T53" fmla="*/ 2147483647 h 28"/>
                    <a:gd name="T54" fmla="*/ 2147483647 w 49"/>
                    <a:gd name="T55" fmla="*/ 2147483647 h 28"/>
                    <a:gd name="T56" fmla="*/ 2147483647 w 49"/>
                    <a:gd name="T57" fmla="*/ 2147483647 h 28"/>
                    <a:gd name="T58" fmla="*/ 2147483647 w 49"/>
                    <a:gd name="T59" fmla="*/ 2147483647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28"/>
                    <a:gd name="T92" fmla="*/ 49 w 49"/>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28">
                      <a:moveTo>
                        <a:pt x="49" y="23"/>
                      </a:moveTo>
                      <a:lnTo>
                        <a:pt x="49" y="23"/>
                      </a:lnTo>
                      <a:lnTo>
                        <a:pt x="47" y="21"/>
                      </a:lnTo>
                      <a:lnTo>
                        <a:pt x="44" y="19"/>
                      </a:lnTo>
                      <a:lnTo>
                        <a:pt x="39" y="14"/>
                      </a:lnTo>
                      <a:lnTo>
                        <a:pt x="35" y="11"/>
                      </a:lnTo>
                      <a:lnTo>
                        <a:pt x="23" y="5"/>
                      </a:lnTo>
                      <a:lnTo>
                        <a:pt x="11" y="1"/>
                      </a:lnTo>
                      <a:lnTo>
                        <a:pt x="5" y="0"/>
                      </a:lnTo>
                      <a:lnTo>
                        <a:pt x="3" y="1"/>
                      </a:lnTo>
                      <a:lnTo>
                        <a:pt x="2" y="2"/>
                      </a:lnTo>
                      <a:lnTo>
                        <a:pt x="0" y="6"/>
                      </a:lnTo>
                      <a:lnTo>
                        <a:pt x="0" y="9"/>
                      </a:lnTo>
                      <a:lnTo>
                        <a:pt x="2" y="12"/>
                      </a:lnTo>
                      <a:lnTo>
                        <a:pt x="4" y="12"/>
                      </a:lnTo>
                      <a:lnTo>
                        <a:pt x="14" y="13"/>
                      </a:lnTo>
                      <a:lnTo>
                        <a:pt x="25" y="15"/>
                      </a:lnTo>
                      <a:lnTo>
                        <a:pt x="33" y="20"/>
                      </a:lnTo>
                      <a:lnTo>
                        <a:pt x="41" y="27"/>
                      </a:lnTo>
                      <a:lnTo>
                        <a:pt x="44" y="28"/>
                      </a:lnTo>
                      <a:lnTo>
                        <a:pt x="46" y="27"/>
                      </a:lnTo>
                      <a:lnTo>
                        <a:pt x="49" y="26"/>
                      </a:lnTo>
                      <a:lnTo>
                        <a:pt x="49" y="2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49" name="Freeform 384"/>
                <p:cNvSpPr>
                  <a:spLocks/>
                </p:cNvSpPr>
                <p:nvPr/>
              </p:nvSpPr>
              <p:spPr bwMode="auto">
                <a:xfrm>
                  <a:off x="5887934" y="1728172"/>
                  <a:ext cx="28118" cy="17758"/>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0 h 12"/>
                    <a:gd name="T10" fmla="*/ 2147483647 w 20"/>
                    <a:gd name="T11" fmla="*/ 0 h 12"/>
                    <a:gd name="T12" fmla="*/ 2147483647 w 20"/>
                    <a:gd name="T13" fmla="*/ 2147483647 h 12"/>
                    <a:gd name="T14" fmla="*/ 2147483647 w 20"/>
                    <a:gd name="T15" fmla="*/ 2147483647 h 12"/>
                    <a:gd name="T16" fmla="*/ 0 w 20"/>
                    <a:gd name="T17" fmla="*/ 2147483647 h 12"/>
                    <a:gd name="T18" fmla="*/ 0 w 20"/>
                    <a:gd name="T19" fmla="*/ 2147483647 h 12"/>
                    <a:gd name="T20" fmla="*/ 2147483647 w 20"/>
                    <a:gd name="T21" fmla="*/ 2147483647 h 12"/>
                    <a:gd name="T22" fmla="*/ 2147483647 w 20"/>
                    <a:gd name="T23" fmla="*/ 2147483647 h 12"/>
                    <a:gd name="T24" fmla="*/ 2147483647 w 20"/>
                    <a:gd name="T25" fmla="*/ 2147483647 h 12"/>
                    <a:gd name="T26" fmla="*/ 2147483647 w 20"/>
                    <a:gd name="T27" fmla="*/ 2147483647 h 12"/>
                    <a:gd name="T28" fmla="*/ 2147483647 w 20"/>
                    <a:gd name="T29" fmla="*/ 2147483647 h 12"/>
                    <a:gd name="T30" fmla="*/ 2147483647 w 20"/>
                    <a:gd name="T31" fmla="*/ 2147483647 h 12"/>
                    <a:gd name="T32" fmla="*/ 2147483647 w 20"/>
                    <a:gd name="T33" fmla="*/ 2147483647 h 12"/>
                    <a:gd name="T34" fmla="*/ 2147483647 w 20"/>
                    <a:gd name="T35" fmla="*/ 2147483647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12"/>
                    <a:gd name="T56" fmla="*/ 20 w 20"/>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12">
                      <a:moveTo>
                        <a:pt x="20" y="7"/>
                      </a:moveTo>
                      <a:lnTo>
                        <a:pt x="20" y="4"/>
                      </a:lnTo>
                      <a:lnTo>
                        <a:pt x="19" y="2"/>
                      </a:lnTo>
                      <a:lnTo>
                        <a:pt x="18" y="1"/>
                      </a:lnTo>
                      <a:lnTo>
                        <a:pt x="13" y="0"/>
                      </a:lnTo>
                      <a:lnTo>
                        <a:pt x="7" y="0"/>
                      </a:lnTo>
                      <a:lnTo>
                        <a:pt x="2" y="1"/>
                      </a:lnTo>
                      <a:lnTo>
                        <a:pt x="1" y="2"/>
                      </a:lnTo>
                      <a:lnTo>
                        <a:pt x="0" y="4"/>
                      </a:lnTo>
                      <a:lnTo>
                        <a:pt x="0" y="6"/>
                      </a:lnTo>
                      <a:lnTo>
                        <a:pt x="2" y="7"/>
                      </a:lnTo>
                      <a:lnTo>
                        <a:pt x="5" y="8"/>
                      </a:lnTo>
                      <a:lnTo>
                        <a:pt x="7" y="8"/>
                      </a:lnTo>
                      <a:lnTo>
                        <a:pt x="13" y="12"/>
                      </a:lnTo>
                      <a:lnTo>
                        <a:pt x="15" y="12"/>
                      </a:lnTo>
                      <a:lnTo>
                        <a:pt x="18" y="12"/>
                      </a:lnTo>
                      <a:lnTo>
                        <a:pt x="19" y="9"/>
                      </a:lnTo>
                      <a:lnTo>
                        <a:pt x="20"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0" name="Freeform 385"/>
                <p:cNvSpPr>
                  <a:spLocks/>
                </p:cNvSpPr>
                <p:nvPr/>
              </p:nvSpPr>
              <p:spPr bwMode="auto">
                <a:xfrm>
                  <a:off x="5849454" y="1775527"/>
                  <a:ext cx="26637" cy="29598"/>
                </a:xfrm>
                <a:custGeom>
                  <a:avLst/>
                  <a:gdLst>
                    <a:gd name="T0" fmla="*/ 2147483647 w 19"/>
                    <a:gd name="T1" fmla="*/ 2147483647 h 20"/>
                    <a:gd name="T2" fmla="*/ 2147483647 w 19"/>
                    <a:gd name="T3" fmla="*/ 2147483647 h 20"/>
                    <a:gd name="T4" fmla="*/ 2147483647 w 19"/>
                    <a:gd name="T5" fmla="*/ 0 h 20"/>
                    <a:gd name="T6" fmla="*/ 2147483647 w 19"/>
                    <a:gd name="T7" fmla="*/ 0 h 20"/>
                    <a:gd name="T8" fmla="*/ 2147483647 w 19"/>
                    <a:gd name="T9" fmla="*/ 2147483647 h 20"/>
                    <a:gd name="T10" fmla="*/ 2147483647 w 19"/>
                    <a:gd name="T11" fmla="*/ 2147483647 h 20"/>
                    <a:gd name="T12" fmla="*/ 2147483647 w 19"/>
                    <a:gd name="T13" fmla="*/ 2147483647 h 20"/>
                    <a:gd name="T14" fmla="*/ 2147483647 w 19"/>
                    <a:gd name="T15" fmla="*/ 2147483647 h 20"/>
                    <a:gd name="T16" fmla="*/ 0 w 19"/>
                    <a:gd name="T17" fmla="*/ 2147483647 h 20"/>
                    <a:gd name="T18" fmla="*/ 2147483647 w 19"/>
                    <a:gd name="T19" fmla="*/ 2147483647 h 20"/>
                    <a:gd name="T20" fmla="*/ 2147483647 w 19"/>
                    <a:gd name="T21" fmla="*/ 2147483647 h 20"/>
                    <a:gd name="T22" fmla="*/ 2147483647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2147483647 w 19"/>
                    <a:gd name="T35" fmla="*/ 2147483647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20"/>
                    <a:gd name="T56" fmla="*/ 19 w 19"/>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20">
                      <a:moveTo>
                        <a:pt x="16" y="5"/>
                      </a:moveTo>
                      <a:lnTo>
                        <a:pt x="14" y="1"/>
                      </a:lnTo>
                      <a:lnTo>
                        <a:pt x="11" y="0"/>
                      </a:lnTo>
                      <a:lnTo>
                        <a:pt x="10" y="0"/>
                      </a:lnTo>
                      <a:lnTo>
                        <a:pt x="6" y="5"/>
                      </a:lnTo>
                      <a:lnTo>
                        <a:pt x="5" y="7"/>
                      </a:lnTo>
                      <a:lnTo>
                        <a:pt x="2" y="9"/>
                      </a:lnTo>
                      <a:lnTo>
                        <a:pt x="1" y="11"/>
                      </a:lnTo>
                      <a:lnTo>
                        <a:pt x="0" y="12"/>
                      </a:lnTo>
                      <a:lnTo>
                        <a:pt x="1" y="15"/>
                      </a:lnTo>
                      <a:lnTo>
                        <a:pt x="4" y="18"/>
                      </a:lnTo>
                      <a:lnTo>
                        <a:pt x="6" y="20"/>
                      </a:lnTo>
                      <a:lnTo>
                        <a:pt x="10" y="20"/>
                      </a:lnTo>
                      <a:lnTo>
                        <a:pt x="14" y="19"/>
                      </a:lnTo>
                      <a:lnTo>
                        <a:pt x="16" y="17"/>
                      </a:lnTo>
                      <a:lnTo>
                        <a:pt x="19" y="13"/>
                      </a:lnTo>
                      <a:lnTo>
                        <a:pt x="19" y="8"/>
                      </a:lnTo>
                      <a:lnTo>
                        <a:pt x="1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1" name="Freeform 386"/>
                <p:cNvSpPr>
                  <a:spLocks/>
                </p:cNvSpPr>
                <p:nvPr/>
              </p:nvSpPr>
              <p:spPr bwMode="auto">
                <a:xfrm>
                  <a:off x="5886451" y="1726696"/>
                  <a:ext cx="28117" cy="17758"/>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2147483647 h 12"/>
                    <a:gd name="T12" fmla="*/ 2147483647 w 20"/>
                    <a:gd name="T13" fmla="*/ 0 h 12"/>
                    <a:gd name="T14" fmla="*/ 2147483647 w 20"/>
                    <a:gd name="T15" fmla="*/ 0 h 12"/>
                    <a:gd name="T16" fmla="*/ 2147483647 w 20"/>
                    <a:gd name="T17" fmla="*/ 2147483647 h 12"/>
                    <a:gd name="T18" fmla="*/ 2147483647 w 20"/>
                    <a:gd name="T19" fmla="*/ 2147483647 h 12"/>
                    <a:gd name="T20" fmla="*/ 0 w 20"/>
                    <a:gd name="T21" fmla="*/ 2147483647 h 12"/>
                    <a:gd name="T22" fmla="*/ 0 w 20"/>
                    <a:gd name="T23" fmla="*/ 2147483647 h 12"/>
                    <a:gd name="T24" fmla="*/ 0 w 20"/>
                    <a:gd name="T25" fmla="*/ 2147483647 h 12"/>
                    <a:gd name="T26" fmla="*/ 2147483647 w 20"/>
                    <a:gd name="T27" fmla="*/ 2147483647 h 12"/>
                    <a:gd name="T28" fmla="*/ 2147483647 w 20"/>
                    <a:gd name="T29" fmla="*/ 2147483647 h 12"/>
                    <a:gd name="T30" fmla="*/ 2147483647 w 20"/>
                    <a:gd name="T31" fmla="*/ 2147483647 h 12"/>
                    <a:gd name="T32" fmla="*/ 2147483647 w 20"/>
                    <a:gd name="T33" fmla="*/ 2147483647 h 12"/>
                    <a:gd name="T34" fmla="*/ 2147483647 w 20"/>
                    <a:gd name="T35" fmla="*/ 2147483647 h 12"/>
                    <a:gd name="T36" fmla="*/ 2147483647 w 20"/>
                    <a:gd name="T37" fmla="*/ 2147483647 h 12"/>
                    <a:gd name="T38" fmla="*/ 2147483647 w 20"/>
                    <a:gd name="T39" fmla="*/ 2147483647 h 12"/>
                    <a:gd name="T40" fmla="*/ 2147483647 w 20"/>
                    <a:gd name="T41" fmla="*/ 2147483647 h 12"/>
                    <a:gd name="T42" fmla="*/ 2147483647 w 20"/>
                    <a:gd name="T43" fmla="*/ 2147483647 h 12"/>
                    <a:gd name="T44" fmla="*/ 2147483647 w 20"/>
                    <a:gd name="T45" fmla="*/ 2147483647 h 12"/>
                    <a:gd name="T46" fmla="*/ 2147483647 w 20"/>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12"/>
                    <a:gd name="T74" fmla="*/ 20 w 20"/>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12">
                      <a:moveTo>
                        <a:pt x="20" y="7"/>
                      </a:moveTo>
                      <a:lnTo>
                        <a:pt x="20" y="7"/>
                      </a:lnTo>
                      <a:lnTo>
                        <a:pt x="20" y="3"/>
                      </a:lnTo>
                      <a:lnTo>
                        <a:pt x="19" y="2"/>
                      </a:lnTo>
                      <a:lnTo>
                        <a:pt x="17" y="1"/>
                      </a:lnTo>
                      <a:lnTo>
                        <a:pt x="12" y="0"/>
                      </a:lnTo>
                      <a:lnTo>
                        <a:pt x="7" y="0"/>
                      </a:lnTo>
                      <a:lnTo>
                        <a:pt x="2" y="1"/>
                      </a:lnTo>
                      <a:lnTo>
                        <a:pt x="1" y="2"/>
                      </a:lnTo>
                      <a:lnTo>
                        <a:pt x="0" y="3"/>
                      </a:lnTo>
                      <a:lnTo>
                        <a:pt x="0" y="6"/>
                      </a:lnTo>
                      <a:lnTo>
                        <a:pt x="2" y="7"/>
                      </a:lnTo>
                      <a:lnTo>
                        <a:pt x="5" y="8"/>
                      </a:lnTo>
                      <a:lnTo>
                        <a:pt x="7" y="8"/>
                      </a:lnTo>
                      <a:lnTo>
                        <a:pt x="12" y="12"/>
                      </a:lnTo>
                      <a:lnTo>
                        <a:pt x="15" y="12"/>
                      </a:lnTo>
                      <a:lnTo>
                        <a:pt x="17" y="12"/>
                      </a:lnTo>
                      <a:lnTo>
                        <a:pt x="19" y="9"/>
                      </a:lnTo>
                      <a:lnTo>
                        <a:pt x="20"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2" name="Freeform 387"/>
                <p:cNvSpPr>
                  <a:spLocks/>
                </p:cNvSpPr>
                <p:nvPr/>
              </p:nvSpPr>
              <p:spPr bwMode="auto">
                <a:xfrm>
                  <a:off x="5849454" y="1774047"/>
                  <a:ext cx="25158" cy="29598"/>
                </a:xfrm>
                <a:custGeom>
                  <a:avLst/>
                  <a:gdLst>
                    <a:gd name="T0" fmla="*/ 2147483647 w 19"/>
                    <a:gd name="T1" fmla="*/ 2147483647 h 20"/>
                    <a:gd name="T2" fmla="*/ 2147483647 w 19"/>
                    <a:gd name="T3" fmla="*/ 2147483647 h 20"/>
                    <a:gd name="T4" fmla="*/ 2147483647 w 19"/>
                    <a:gd name="T5" fmla="*/ 2147483647 h 20"/>
                    <a:gd name="T6" fmla="*/ 2147483647 w 19"/>
                    <a:gd name="T7" fmla="*/ 0 h 20"/>
                    <a:gd name="T8" fmla="*/ 2147483647 w 19"/>
                    <a:gd name="T9" fmla="*/ 0 h 20"/>
                    <a:gd name="T10" fmla="*/ 2147483647 w 19"/>
                    <a:gd name="T11" fmla="*/ 0 h 20"/>
                    <a:gd name="T12" fmla="*/ 2147483647 w 19"/>
                    <a:gd name="T13" fmla="*/ 2147483647 h 20"/>
                    <a:gd name="T14" fmla="*/ 2147483647 w 19"/>
                    <a:gd name="T15" fmla="*/ 2147483647 h 20"/>
                    <a:gd name="T16" fmla="*/ 2147483647 w 19"/>
                    <a:gd name="T17" fmla="*/ 2147483647 h 20"/>
                    <a:gd name="T18" fmla="*/ 2147483647 w 19"/>
                    <a:gd name="T19" fmla="*/ 2147483647 h 20"/>
                    <a:gd name="T20" fmla="*/ 2147483647 w 19"/>
                    <a:gd name="T21" fmla="*/ 2147483647 h 20"/>
                    <a:gd name="T22" fmla="*/ 0 w 19"/>
                    <a:gd name="T23" fmla="*/ 2147483647 h 20"/>
                    <a:gd name="T24" fmla="*/ 2147483647 w 19"/>
                    <a:gd name="T25" fmla="*/ 2147483647 h 20"/>
                    <a:gd name="T26" fmla="*/ 2147483647 w 19"/>
                    <a:gd name="T27" fmla="*/ 2147483647 h 20"/>
                    <a:gd name="T28" fmla="*/ 2147483647 w 19"/>
                    <a:gd name="T29" fmla="*/ 2147483647 h 20"/>
                    <a:gd name="T30" fmla="*/ 2147483647 w 19"/>
                    <a:gd name="T31" fmla="*/ 2147483647 h 20"/>
                    <a:gd name="T32" fmla="*/ 2147483647 w 19"/>
                    <a:gd name="T33" fmla="*/ 2147483647 h 20"/>
                    <a:gd name="T34" fmla="*/ 2147483647 w 19"/>
                    <a:gd name="T35" fmla="*/ 2147483647 h 20"/>
                    <a:gd name="T36" fmla="*/ 2147483647 w 19"/>
                    <a:gd name="T37" fmla="*/ 2147483647 h 20"/>
                    <a:gd name="T38" fmla="*/ 2147483647 w 19"/>
                    <a:gd name="T39" fmla="*/ 2147483647 h 20"/>
                    <a:gd name="T40" fmla="*/ 2147483647 w 19"/>
                    <a:gd name="T41" fmla="*/ 2147483647 h 20"/>
                    <a:gd name="T42" fmla="*/ 2147483647 w 19"/>
                    <a:gd name="T43" fmla="*/ 2147483647 h 20"/>
                    <a:gd name="T44" fmla="*/ 2147483647 w 19"/>
                    <a:gd name="T45" fmla="*/ 2147483647 h 20"/>
                    <a:gd name="T46" fmla="*/ 2147483647 w 19"/>
                    <a:gd name="T47" fmla="*/ 2147483647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20"/>
                    <a:gd name="T74" fmla="*/ 19 w 19"/>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20">
                      <a:moveTo>
                        <a:pt x="16" y="5"/>
                      </a:moveTo>
                      <a:lnTo>
                        <a:pt x="16" y="5"/>
                      </a:lnTo>
                      <a:lnTo>
                        <a:pt x="14" y="1"/>
                      </a:lnTo>
                      <a:lnTo>
                        <a:pt x="11" y="0"/>
                      </a:lnTo>
                      <a:lnTo>
                        <a:pt x="10" y="0"/>
                      </a:lnTo>
                      <a:lnTo>
                        <a:pt x="6" y="5"/>
                      </a:lnTo>
                      <a:lnTo>
                        <a:pt x="5" y="7"/>
                      </a:lnTo>
                      <a:lnTo>
                        <a:pt x="2" y="9"/>
                      </a:lnTo>
                      <a:lnTo>
                        <a:pt x="1" y="10"/>
                      </a:lnTo>
                      <a:lnTo>
                        <a:pt x="0" y="12"/>
                      </a:lnTo>
                      <a:lnTo>
                        <a:pt x="1" y="15"/>
                      </a:lnTo>
                      <a:lnTo>
                        <a:pt x="3" y="18"/>
                      </a:lnTo>
                      <a:lnTo>
                        <a:pt x="6" y="20"/>
                      </a:lnTo>
                      <a:lnTo>
                        <a:pt x="10" y="20"/>
                      </a:lnTo>
                      <a:lnTo>
                        <a:pt x="14" y="19"/>
                      </a:lnTo>
                      <a:lnTo>
                        <a:pt x="16" y="16"/>
                      </a:lnTo>
                      <a:lnTo>
                        <a:pt x="19" y="13"/>
                      </a:lnTo>
                      <a:lnTo>
                        <a:pt x="19" y="8"/>
                      </a:lnTo>
                      <a:lnTo>
                        <a:pt x="16"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3" name="Freeform 388"/>
                <p:cNvSpPr>
                  <a:spLocks/>
                </p:cNvSpPr>
                <p:nvPr/>
              </p:nvSpPr>
              <p:spPr bwMode="auto">
                <a:xfrm>
                  <a:off x="5793219" y="1805127"/>
                  <a:ext cx="32557" cy="26638"/>
                </a:xfrm>
                <a:custGeom>
                  <a:avLst/>
                  <a:gdLst>
                    <a:gd name="T0" fmla="*/ 2147483647 w 24"/>
                    <a:gd name="T1" fmla="*/ 2147483647 h 18"/>
                    <a:gd name="T2" fmla="*/ 2147483647 w 24"/>
                    <a:gd name="T3" fmla="*/ 2147483647 h 18"/>
                    <a:gd name="T4" fmla="*/ 2147483647 w 24"/>
                    <a:gd name="T5" fmla="*/ 2147483647 h 18"/>
                    <a:gd name="T6" fmla="*/ 2147483647 w 24"/>
                    <a:gd name="T7" fmla="*/ 0 h 18"/>
                    <a:gd name="T8" fmla="*/ 2147483647 w 24"/>
                    <a:gd name="T9" fmla="*/ 0 h 18"/>
                    <a:gd name="T10" fmla="*/ 2147483647 w 24"/>
                    <a:gd name="T11" fmla="*/ 0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0 w 24"/>
                    <a:gd name="T25" fmla="*/ 2147483647 h 18"/>
                    <a:gd name="T26" fmla="*/ 0 w 24"/>
                    <a:gd name="T27" fmla="*/ 2147483647 h 18"/>
                    <a:gd name="T28" fmla="*/ 2147483647 w 24"/>
                    <a:gd name="T29" fmla="*/ 2147483647 h 18"/>
                    <a:gd name="T30" fmla="*/ 2147483647 w 24"/>
                    <a:gd name="T31" fmla="*/ 2147483647 h 18"/>
                    <a:gd name="T32" fmla="*/ 2147483647 w 24"/>
                    <a:gd name="T33" fmla="*/ 2147483647 h 18"/>
                    <a:gd name="T34" fmla="*/ 2147483647 w 24"/>
                    <a:gd name="T35" fmla="*/ 2147483647 h 18"/>
                    <a:gd name="T36" fmla="*/ 2147483647 w 24"/>
                    <a:gd name="T37" fmla="*/ 2147483647 h 18"/>
                    <a:gd name="T38" fmla="*/ 2147483647 w 24"/>
                    <a:gd name="T39" fmla="*/ 2147483647 h 18"/>
                    <a:gd name="T40" fmla="*/ 2147483647 w 24"/>
                    <a:gd name="T41" fmla="*/ 2147483647 h 18"/>
                    <a:gd name="T42" fmla="*/ 2147483647 w 24"/>
                    <a:gd name="T43" fmla="*/ 2147483647 h 18"/>
                    <a:gd name="T44" fmla="*/ 2147483647 w 24"/>
                    <a:gd name="T45" fmla="*/ 2147483647 h 18"/>
                    <a:gd name="T46" fmla="*/ 2147483647 w 24"/>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18"/>
                    <a:gd name="T74" fmla="*/ 24 w 24"/>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18">
                      <a:moveTo>
                        <a:pt x="23" y="11"/>
                      </a:moveTo>
                      <a:lnTo>
                        <a:pt x="20" y="8"/>
                      </a:lnTo>
                      <a:lnTo>
                        <a:pt x="20" y="5"/>
                      </a:lnTo>
                      <a:lnTo>
                        <a:pt x="20" y="0"/>
                      </a:lnTo>
                      <a:lnTo>
                        <a:pt x="19" y="0"/>
                      </a:lnTo>
                      <a:lnTo>
                        <a:pt x="18" y="0"/>
                      </a:lnTo>
                      <a:lnTo>
                        <a:pt x="18" y="4"/>
                      </a:lnTo>
                      <a:lnTo>
                        <a:pt x="17" y="5"/>
                      </a:lnTo>
                      <a:lnTo>
                        <a:pt x="14" y="7"/>
                      </a:lnTo>
                      <a:lnTo>
                        <a:pt x="4" y="8"/>
                      </a:lnTo>
                      <a:lnTo>
                        <a:pt x="3" y="10"/>
                      </a:lnTo>
                      <a:lnTo>
                        <a:pt x="1" y="11"/>
                      </a:lnTo>
                      <a:lnTo>
                        <a:pt x="0" y="13"/>
                      </a:lnTo>
                      <a:lnTo>
                        <a:pt x="0" y="16"/>
                      </a:lnTo>
                      <a:lnTo>
                        <a:pt x="3" y="18"/>
                      </a:lnTo>
                      <a:lnTo>
                        <a:pt x="5" y="18"/>
                      </a:lnTo>
                      <a:lnTo>
                        <a:pt x="8" y="17"/>
                      </a:lnTo>
                      <a:lnTo>
                        <a:pt x="10" y="16"/>
                      </a:lnTo>
                      <a:lnTo>
                        <a:pt x="13" y="14"/>
                      </a:lnTo>
                      <a:lnTo>
                        <a:pt x="17" y="14"/>
                      </a:lnTo>
                      <a:lnTo>
                        <a:pt x="20" y="14"/>
                      </a:lnTo>
                      <a:lnTo>
                        <a:pt x="23" y="13"/>
                      </a:lnTo>
                      <a:lnTo>
                        <a:pt x="24" y="12"/>
                      </a:lnTo>
                      <a:lnTo>
                        <a:pt x="23"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4" name="Freeform 389"/>
                <p:cNvSpPr>
                  <a:spLocks/>
                </p:cNvSpPr>
                <p:nvPr/>
              </p:nvSpPr>
              <p:spPr bwMode="auto">
                <a:xfrm>
                  <a:off x="5929370" y="1680815"/>
                  <a:ext cx="44396" cy="25158"/>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0 h 17"/>
                    <a:gd name="T12" fmla="*/ 2147483647 w 33"/>
                    <a:gd name="T13" fmla="*/ 0 h 17"/>
                    <a:gd name="T14" fmla="*/ 2147483647 w 33"/>
                    <a:gd name="T15" fmla="*/ 2147483647 h 17"/>
                    <a:gd name="T16" fmla="*/ 2147483647 w 33"/>
                    <a:gd name="T17" fmla="*/ 2147483647 h 17"/>
                    <a:gd name="T18" fmla="*/ 2147483647 w 33"/>
                    <a:gd name="T19" fmla="*/ 2147483647 h 17"/>
                    <a:gd name="T20" fmla="*/ 2147483647 w 33"/>
                    <a:gd name="T21" fmla="*/ 2147483647 h 17"/>
                    <a:gd name="T22" fmla="*/ 2147483647 w 33"/>
                    <a:gd name="T23" fmla="*/ 2147483647 h 17"/>
                    <a:gd name="T24" fmla="*/ 0 w 33"/>
                    <a:gd name="T25" fmla="*/ 2147483647 h 17"/>
                    <a:gd name="T26" fmla="*/ 0 w 33"/>
                    <a:gd name="T27" fmla="*/ 2147483647 h 17"/>
                    <a:gd name="T28" fmla="*/ 2147483647 w 33"/>
                    <a:gd name="T29" fmla="*/ 2147483647 h 17"/>
                    <a:gd name="T30" fmla="*/ 2147483647 w 33"/>
                    <a:gd name="T31" fmla="*/ 2147483647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17"/>
                    <a:gd name="T74" fmla="*/ 33 w 33"/>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17">
                      <a:moveTo>
                        <a:pt x="33" y="7"/>
                      </a:moveTo>
                      <a:lnTo>
                        <a:pt x="32" y="6"/>
                      </a:lnTo>
                      <a:lnTo>
                        <a:pt x="31" y="5"/>
                      </a:lnTo>
                      <a:lnTo>
                        <a:pt x="27" y="3"/>
                      </a:lnTo>
                      <a:lnTo>
                        <a:pt x="23" y="2"/>
                      </a:lnTo>
                      <a:lnTo>
                        <a:pt x="21" y="0"/>
                      </a:lnTo>
                      <a:lnTo>
                        <a:pt x="19" y="0"/>
                      </a:lnTo>
                      <a:lnTo>
                        <a:pt x="17" y="2"/>
                      </a:lnTo>
                      <a:lnTo>
                        <a:pt x="14" y="3"/>
                      </a:lnTo>
                      <a:lnTo>
                        <a:pt x="9" y="5"/>
                      </a:lnTo>
                      <a:lnTo>
                        <a:pt x="4" y="6"/>
                      </a:lnTo>
                      <a:lnTo>
                        <a:pt x="2" y="7"/>
                      </a:lnTo>
                      <a:lnTo>
                        <a:pt x="0" y="8"/>
                      </a:lnTo>
                      <a:lnTo>
                        <a:pt x="0" y="11"/>
                      </a:lnTo>
                      <a:lnTo>
                        <a:pt x="2" y="12"/>
                      </a:lnTo>
                      <a:lnTo>
                        <a:pt x="4" y="14"/>
                      </a:lnTo>
                      <a:lnTo>
                        <a:pt x="9" y="15"/>
                      </a:lnTo>
                      <a:lnTo>
                        <a:pt x="14" y="17"/>
                      </a:lnTo>
                      <a:lnTo>
                        <a:pt x="21" y="17"/>
                      </a:lnTo>
                      <a:lnTo>
                        <a:pt x="27" y="15"/>
                      </a:lnTo>
                      <a:lnTo>
                        <a:pt x="30" y="14"/>
                      </a:lnTo>
                      <a:lnTo>
                        <a:pt x="32" y="13"/>
                      </a:lnTo>
                      <a:lnTo>
                        <a:pt x="33" y="11"/>
                      </a:lnTo>
                      <a:lnTo>
                        <a:pt x="33"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5" name="Freeform 390"/>
                <p:cNvSpPr>
                  <a:spLocks/>
                </p:cNvSpPr>
                <p:nvPr/>
              </p:nvSpPr>
              <p:spPr bwMode="auto">
                <a:xfrm>
                  <a:off x="5791739" y="1803646"/>
                  <a:ext cx="32557" cy="26638"/>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0 h 18"/>
                    <a:gd name="T10" fmla="*/ 2147483647 w 24"/>
                    <a:gd name="T11" fmla="*/ 0 h 18"/>
                    <a:gd name="T12" fmla="*/ 2147483647 w 24"/>
                    <a:gd name="T13" fmla="*/ 0 h 18"/>
                    <a:gd name="T14" fmla="*/ 2147483647 w 24"/>
                    <a:gd name="T15" fmla="*/ 0 h 18"/>
                    <a:gd name="T16" fmla="*/ 2147483647 w 24"/>
                    <a:gd name="T17" fmla="*/ 0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0 w 24"/>
                    <a:gd name="T33" fmla="*/ 2147483647 h 18"/>
                    <a:gd name="T34" fmla="*/ 0 w 24"/>
                    <a:gd name="T35" fmla="*/ 2147483647 h 18"/>
                    <a:gd name="T36" fmla="*/ 0 w 24"/>
                    <a:gd name="T37" fmla="*/ 2147483647 h 18"/>
                    <a:gd name="T38" fmla="*/ 2147483647 w 24"/>
                    <a:gd name="T39" fmla="*/ 2147483647 h 18"/>
                    <a:gd name="T40" fmla="*/ 2147483647 w 24"/>
                    <a:gd name="T41" fmla="*/ 2147483647 h 18"/>
                    <a:gd name="T42" fmla="*/ 2147483647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2147483647 w 24"/>
                    <a:gd name="T53" fmla="*/ 2147483647 h 18"/>
                    <a:gd name="T54" fmla="*/ 2147483647 w 24"/>
                    <a:gd name="T55" fmla="*/ 2147483647 h 18"/>
                    <a:gd name="T56" fmla="*/ 2147483647 w 24"/>
                    <a:gd name="T57" fmla="*/ 2147483647 h 18"/>
                    <a:gd name="T58" fmla="*/ 2147483647 w 24"/>
                    <a:gd name="T59" fmla="*/ 2147483647 h 18"/>
                    <a:gd name="T60" fmla="*/ 2147483647 w 24"/>
                    <a:gd name="T61" fmla="*/ 2147483647 h 18"/>
                    <a:gd name="T62" fmla="*/ 2147483647 w 24"/>
                    <a:gd name="T63" fmla="*/ 2147483647 h 18"/>
                    <a:gd name="T64" fmla="*/ 2147483647 w 24"/>
                    <a:gd name="T65" fmla="*/ 2147483647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18"/>
                    <a:gd name="T101" fmla="*/ 24 w 24"/>
                    <a:gd name="T102" fmla="*/ 18 h 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18">
                      <a:moveTo>
                        <a:pt x="23" y="11"/>
                      </a:moveTo>
                      <a:lnTo>
                        <a:pt x="23" y="11"/>
                      </a:lnTo>
                      <a:lnTo>
                        <a:pt x="20" y="8"/>
                      </a:lnTo>
                      <a:lnTo>
                        <a:pt x="20" y="5"/>
                      </a:lnTo>
                      <a:lnTo>
                        <a:pt x="20" y="0"/>
                      </a:lnTo>
                      <a:lnTo>
                        <a:pt x="19" y="0"/>
                      </a:lnTo>
                      <a:lnTo>
                        <a:pt x="18" y="0"/>
                      </a:lnTo>
                      <a:lnTo>
                        <a:pt x="18" y="3"/>
                      </a:lnTo>
                      <a:lnTo>
                        <a:pt x="16" y="5"/>
                      </a:lnTo>
                      <a:lnTo>
                        <a:pt x="14" y="7"/>
                      </a:lnTo>
                      <a:lnTo>
                        <a:pt x="4" y="8"/>
                      </a:lnTo>
                      <a:lnTo>
                        <a:pt x="2" y="9"/>
                      </a:lnTo>
                      <a:lnTo>
                        <a:pt x="1" y="11"/>
                      </a:lnTo>
                      <a:lnTo>
                        <a:pt x="0" y="13"/>
                      </a:lnTo>
                      <a:lnTo>
                        <a:pt x="0" y="15"/>
                      </a:lnTo>
                      <a:lnTo>
                        <a:pt x="2" y="18"/>
                      </a:lnTo>
                      <a:lnTo>
                        <a:pt x="5" y="18"/>
                      </a:lnTo>
                      <a:lnTo>
                        <a:pt x="7" y="17"/>
                      </a:lnTo>
                      <a:lnTo>
                        <a:pt x="10" y="15"/>
                      </a:lnTo>
                      <a:lnTo>
                        <a:pt x="12" y="14"/>
                      </a:lnTo>
                      <a:lnTo>
                        <a:pt x="16" y="14"/>
                      </a:lnTo>
                      <a:lnTo>
                        <a:pt x="20" y="14"/>
                      </a:lnTo>
                      <a:lnTo>
                        <a:pt x="23" y="13"/>
                      </a:lnTo>
                      <a:lnTo>
                        <a:pt x="24" y="12"/>
                      </a:lnTo>
                      <a:lnTo>
                        <a:pt x="23"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6" name="Freeform 391"/>
                <p:cNvSpPr>
                  <a:spLocks/>
                </p:cNvSpPr>
                <p:nvPr/>
              </p:nvSpPr>
              <p:spPr bwMode="auto">
                <a:xfrm>
                  <a:off x="5927889" y="1679336"/>
                  <a:ext cx="45876" cy="23678"/>
                </a:xfrm>
                <a:custGeom>
                  <a:avLst/>
                  <a:gdLst>
                    <a:gd name="T0" fmla="*/ 2147483647 w 33"/>
                    <a:gd name="T1" fmla="*/ 2147483647 h 16"/>
                    <a:gd name="T2" fmla="*/ 2147483647 w 33"/>
                    <a:gd name="T3" fmla="*/ 2147483647 h 16"/>
                    <a:gd name="T4" fmla="*/ 2147483647 w 33"/>
                    <a:gd name="T5" fmla="*/ 2147483647 h 16"/>
                    <a:gd name="T6" fmla="*/ 2147483647 w 33"/>
                    <a:gd name="T7" fmla="*/ 2147483647 h 16"/>
                    <a:gd name="T8" fmla="*/ 2147483647 w 33"/>
                    <a:gd name="T9" fmla="*/ 2147483647 h 16"/>
                    <a:gd name="T10" fmla="*/ 2147483647 w 33"/>
                    <a:gd name="T11" fmla="*/ 2147483647 h 16"/>
                    <a:gd name="T12" fmla="*/ 2147483647 w 33"/>
                    <a:gd name="T13" fmla="*/ 2147483647 h 16"/>
                    <a:gd name="T14" fmla="*/ 2147483647 w 33"/>
                    <a:gd name="T15" fmla="*/ 0 h 16"/>
                    <a:gd name="T16" fmla="*/ 2147483647 w 33"/>
                    <a:gd name="T17" fmla="*/ 0 h 16"/>
                    <a:gd name="T18" fmla="*/ 2147483647 w 33"/>
                    <a:gd name="T19" fmla="*/ 0 h 16"/>
                    <a:gd name="T20" fmla="*/ 2147483647 w 33"/>
                    <a:gd name="T21" fmla="*/ 2147483647 h 16"/>
                    <a:gd name="T22" fmla="*/ 2147483647 w 33"/>
                    <a:gd name="T23" fmla="*/ 2147483647 h 16"/>
                    <a:gd name="T24" fmla="*/ 2147483647 w 33"/>
                    <a:gd name="T25" fmla="*/ 2147483647 h 16"/>
                    <a:gd name="T26" fmla="*/ 2147483647 w 33"/>
                    <a:gd name="T27" fmla="*/ 2147483647 h 16"/>
                    <a:gd name="T28" fmla="*/ 2147483647 w 33"/>
                    <a:gd name="T29" fmla="*/ 2147483647 h 16"/>
                    <a:gd name="T30" fmla="*/ 0 w 33"/>
                    <a:gd name="T31" fmla="*/ 2147483647 h 16"/>
                    <a:gd name="T32" fmla="*/ 0 w 33"/>
                    <a:gd name="T33" fmla="*/ 2147483647 h 16"/>
                    <a:gd name="T34" fmla="*/ 0 w 33"/>
                    <a:gd name="T35" fmla="*/ 2147483647 h 16"/>
                    <a:gd name="T36" fmla="*/ 2147483647 w 33"/>
                    <a:gd name="T37" fmla="*/ 2147483647 h 16"/>
                    <a:gd name="T38" fmla="*/ 2147483647 w 33"/>
                    <a:gd name="T39" fmla="*/ 2147483647 h 16"/>
                    <a:gd name="T40" fmla="*/ 2147483647 w 33"/>
                    <a:gd name="T41" fmla="*/ 2147483647 h 16"/>
                    <a:gd name="T42" fmla="*/ 2147483647 w 33"/>
                    <a:gd name="T43" fmla="*/ 2147483647 h 16"/>
                    <a:gd name="T44" fmla="*/ 2147483647 w 33"/>
                    <a:gd name="T45" fmla="*/ 2147483647 h 16"/>
                    <a:gd name="T46" fmla="*/ 2147483647 w 33"/>
                    <a:gd name="T47" fmla="*/ 2147483647 h 16"/>
                    <a:gd name="T48" fmla="*/ 2147483647 w 33"/>
                    <a:gd name="T49" fmla="*/ 2147483647 h 16"/>
                    <a:gd name="T50" fmla="*/ 2147483647 w 33"/>
                    <a:gd name="T51" fmla="*/ 2147483647 h 16"/>
                    <a:gd name="T52" fmla="*/ 2147483647 w 33"/>
                    <a:gd name="T53" fmla="*/ 2147483647 h 16"/>
                    <a:gd name="T54" fmla="*/ 2147483647 w 33"/>
                    <a:gd name="T55" fmla="*/ 2147483647 h 16"/>
                    <a:gd name="T56" fmla="*/ 2147483647 w 33"/>
                    <a:gd name="T57" fmla="*/ 2147483647 h 16"/>
                    <a:gd name="T58" fmla="*/ 2147483647 w 33"/>
                    <a:gd name="T59" fmla="*/ 2147483647 h 16"/>
                    <a:gd name="T60" fmla="*/ 2147483647 w 33"/>
                    <a:gd name="T61" fmla="*/ 2147483647 h 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6"/>
                    <a:gd name="T95" fmla="*/ 33 w 33"/>
                    <a:gd name="T96" fmla="*/ 16 h 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6">
                      <a:moveTo>
                        <a:pt x="33" y="7"/>
                      </a:moveTo>
                      <a:lnTo>
                        <a:pt x="33" y="7"/>
                      </a:lnTo>
                      <a:lnTo>
                        <a:pt x="32" y="6"/>
                      </a:lnTo>
                      <a:lnTo>
                        <a:pt x="31" y="4"/>
                      </a:lnTo>
                      <a:lnTo>
                        <a:pt x="27" y="3"/>
                      </a:lnTo>
                      <a:lnTo>
                        <a:pt x="23" y="2"/>
                      </a:lnTo>
                      <a:lnTo>
                        <a:pt x="20" y="0"/>
                      </a:lnTo>
                      <a:lnTo>
                        <a:pt x="19" y="0"/>
                      </a:lnTo>
                      <a:lnTo>
                        <a:pt x="17" y="2"/>
                      </a:lnTo>
                      <a:lnTo>
                        <a:pt x="14" y="3"/>
                      </a:lnTo>
                      <a:lnTo>
                        <a:pt x="9" y="4"/>
                      </a:lnTo>
                      <a:lnTo>
                        <a:pt x="4" y="6"/>
                      </a:lnTo>
                      <a:lnTo>
                        <a:pt x="1" y="7"/>
                      </a:lnTo>
                      <a:lnTo>
                        <a:pt x="0" y="8"/>
                      </a:lnTo>
                      <a:lnTo>
                        <a:pt x="0" y="10"/>
                      </a:lnTo>
                      <a:lnTo>
                        <a:pt x="1" y="12"/>
                      </a:lnTo>
                      <a:lnTo>
                        <a:pt x="4" y="14"/>
                      </a:lnTo>
                      <a:lnTo>
                        <a:pt x="9" y="15"/>
                      </a:lnTo>
                      <a:lnTo>
                        <a:pt x="14" y="16"/>
                      </a:lnTo>
                      <a:lnTo>
                        <a:pt x="20" y="16"/>
                      </a:lnTo>
                      <a:lnTo>
                        <a:pt x="27" y="15"/>
                      </a:lnTo>
                      <a:lnTo>
                        <a:pt x="29" y="14"/>
                      </a:lnTo>
                      <a:lnTo>
                        <a:pt x="32" y="13"/>
                      </a:lnTo>
                      <a:lnTo>
                        <a:pt x="33" y="10"/>
                      </a:lnTo>
                      <a:lnTo>
                        <a:pt x="33"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7" name="Freeform 392"/>
                <p:cNvSpPr>
                  <a:spLocks/>
                </p:cNvSpPr>
                <p:nvPr/>
              </p:nvSpPr>
              <p:spPr bwMode="auto">
                <a:xfrm>
                  <a:off x="5717746" y="1717816"/>
                  <a:ext cx="112470" cy="90272"/>
                </a:xfrm>
                <a:custGeom>
                  <a:avLst/>
                  <a:gdLst>
                    <a:gd name="T0" fmla="*/ 2147483647 w 82"/>
                    <a:gd name="T1" fmla="*/ 2147483647 h 61"/>
                    <a:gd name="T2" fmla="*/ 2147483647 w 82"/>
                    <a:gd name="T3" fmla="*/ 2147483647 h 61"/>
                    <a:gd name="T4" fmla="*/ 2147483647 w 82"/>
                    <a:gd name="T5" fmla="*/ 2147483647 h 61"/>
                    <a:gd name="T6" fmla="*/ 2147483647 w 82"/>
                    <a:gd name="T7" fmla="*/ 2147483647 h 61"/>
                    <a:gd name="T8" fmla="*/ 2147483647 w 82"/>
                    <a:gd name="T9" fmla="*/ 2147483647 h 61"/>
                    <a:gd name="T10" fmla="*/ 2147483647 w 82"/>
                    <a:gd name="T11" fmla="*/ 2147483647 h 61"/>
                    <a:gd name="T12" fmla="*/ 2147483647 w 82"/>
                    <a:gd name="T13" fmla="*/ 2147483647 h 61"/>
                    <a:gd name="T14" fmla="*/ 2147483647 w 82"/>
                    <a:gd name="T15" fmla="*/ 0 h 61"/>
                    <a:gd name="T16" fmla="*/ 2147483647 w 82"/>
                    <a:gd name="T17" fmla="*/ 2147483647 h 61"/>
                    <a:gd name="T18" fmla="*/ 2147483647 w 82"/>
                    <a:gd name="T19" fmla="*/ 2147483647 h 61"/>
                    <a:gd name="T20" fmla="*/ 2147483647 w 82"/>
                    <a:gd name="T21" fmla="*/ 2147483647 h 61"/>
                    <a:gd name="T22" fmla="*/ 2147483647 w 82"/>
                    <a:gd name="T23" fmla="*/ 2147483647 h 61"/>
                    <a:gd name="T24" fmla="*/ 2147483647 w 82"/>
                    <a:gd name="T25" fmla="*/ 2147483647 h 61"/>
                    <a:gd name="T26" fmla="*/ 2147483647 w 82"/>
                    <a:gd name="T27" fmla="*/ 2147483647 h 61"/>
                    <a:gd name="T28" fmla="*/ 2147483647 w 82"/>
                    <a:gd name="T29" fmla="*/ 2147483647 h 61"/>
                    <a:gd name="T30" fmla="*/ 2147483647 w 82"/>
                    <a:gd name="T31" fmla="*/ 2147483647 h 61"/>
                    <a:gd name="T32" fmla="*/ 2147483647 w 82"/>
                    <a:gd name="T33" fmla="*/ 2147483647 h 61"/>
                    <a:gd name="T34" fmla="*/ 2147483647 w 82"/>
                    <a:gd name="T35" fmla="*/ 2147483647 h 61"/>
                    <a:gd name="T36" fmla="*/ 2147483647 w 82"/>
                    <a:gd name="T37" fmla="*/ 2147483647 h 61"/>
                    <a:gd name="T38" fmla="*/ 2147483647 w 82"/>
                    <a:gd name="T39" fmla="*/ 2147483647 h 61"/>
                    <a:gd name="T40" fmla="*/ 2147483647 w 82"/>
                    <a:gd name="T41" fmla="*/ 2147483647 h 61"/>
                    <a:gd name="T42" fmla="*/ 2147483647 w 82"/>
                    <a:gd name="T43" fmla="*/ 2147483647 h 61"/>
                    <a:gd name="T44" fmla="*/ 2147483647 w 82"/>
                    <a:gd name="T45" fmla="*/ 2147483647 h 61"/>
                    <a:gd name="T46" fmla="*/ 2147483647 w 82"/>
                    <a:gd name="T47" fmla="*/ 2147483647 h 61"/>
                    <a:gd name="T48" fmla="*/ 2147483647 w 82"/>
                    <a:gd name="T49" fmla="*/ 2147483647 h 61"/>
                    <a:gd name="T50" fmla="*/ 2147483647 w 82"/>
                    <a:gd name="T51" fmla="*/ 2147483647 h 61"/>
                    <a:gd name="T52" fmla="*/ 2147483647 w 82"/>
                    <a:gd name="T53" fmla="*/ 2147483647 h 61"/>
                    <a:gd name="T54" fmla="*/ 2147483647 w 82"/>
                    <a:gd name="T55" fmla="*/ 2147483647 h 61"/>
                    <a:gd name="T56" fmla="*/ 2147483647 w 82"/>
                    <a:gd name="T57" fmla="*/ 2147483647 h 61"/>
                    <a:gd name="T58" fmla="*/ 2147483647 w 82"/>
                    <a:gd name="T59" fmla="*/ 2147483647 h 61"/>
                    <a:gd name="T60" fmla="*/ 2147483647 w 82"/>
                    <a:gd name="T61" fmla="*/ 2147483647 h 61"/>
                    <a:gd name="T62" fmla="*/ 2147483647 w 82"/>
                    <a:gd name="T63" fmla="*/ 2147483647 h 61"/>
                    <a:gd name="T64" fmla="*/ 2147483647 w 82"/>
                    <a:gd name="T65" fmla="*/ 2147483647 h 61"/>
                    <a:gd name="T66" fmla="*/ 2147483647 w 82"/>
                    <a:gd name="T67" fmla="*/ 2147483647 h 61"/>
                    <a:gd name="T68" fmla="*/ 2147483647 w 82"/>
                    <a:gd name="T69" fmla="*/ 2147483647 h 61"/>
                    <a:gd name="T70" fmla="*/ 2147483647 w 82"/>
                    <a:gd name="T71" fmla="*/ 2147483647 h 61"/>
                    <a:gd name="T72" fmla="*/ 2147483647 w 82"/>
                    <a:gd name="T73" fmla="*/ 2147483647 h 61"/>
                    <a:gd name="T74" fmla="*/ 2147483647 w 82"/>
                    <a:gd name="T75" fmla="*/ 2147483647 h 61"/>
                    <a:gd name="T76" fmla="*/ 2147483647 w 82"/>
                    <a:gd name="T77" fmla="*/ 2147483647 h 61"/>
                    <a:gd name="T78" fmla="*/ 2147483647 w 82"/>
                    <a:gd name="T79" fmla="*/ 2147483647 h 61"/>
                    <a:gd name="T80" fmla="*/ 2147483647 w 82"/>
                    <a:gd name="T81" fmla="*/ 2147483647 h 61"/>
                    <a:gd name="T82" fmla="*/ 2147483647 w 82"/>
                    <a:gd name="T83" fmla="*/ 2147483647 h 61"/>
                    <a:gd name="T84" fmla="*/ 2147483647 w 82"/>
                    <a:gd name="T85" fmla="*/ 2147483647 h 61"/>
                    <a:gd name="T86" fmla="*/ 2147483647 w 82"/>
                    <a:gd name="T87" fmla="*/ 2147483647 h 61"/>
                    <a:gd name="T88" fmla="*/ 2147483647 w 82"/>
                    <a:gd name="T89" fmla="*/ 2147483647 h 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2"/>
                    <a:gd name="T136" fmla="*/ 0 h 61"/>
                    <a:gd name="T137" fmla="*/ 82 w 82"/>
                    <a:gd name="T138" fmla="*/ 61 h 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2" h="61">
                      <a:moveTo>
                        <a:pt x="80" y="26"/>
                      </a:moveTo>
                      <a:lnTo>
                        <a:pt x="79" y="24"/>
                      </a:lnTo>
                      <a:lnTo>
                        <a:pt x="78" y="22"/>
                      </a:lnTo>
                      <a:lnTo>
                        <a:pt x="75" y="22"/>
                      </a:lnTo>
                      <a:lnTo>
                        <a:pt x="72" y="24"/>
                      </a:lnTo>
                      <a:lnTo>
                        <a:pt x="68" y="24"/>
                      </a:lnTo>
                      <a:lnTo>
                        <a:pt x="66" y="22"/>
                      </a:lnTo>
                      <a:lnTo>
                        <a:pt x="66" y="20"/>
                      </a:lnTo>
                      <a:lnTo>
                        <a:pt x="69" y="18"/>
                      </a:lnTo>
                      <a:lnTo>
                        <a:pt x="70" y="15"/>
                      </a:lnTo>
                      <a:lnTo>
                        <a:pt x="74" y="9"/>
                      </a:lnTo>
                      <a:lnTo>
                        <a:pt x="78" y="3"/>
                      </a:lnTo>
                      <a:lnTo>
                        <a:pt x="78" y="2"/>
                      </a:lnTo>
                      <a:lnTo>
                        <a:pt x="78" y="1"/>
                      </a:lnTo>
                      <a:lnTo>
                        <a:pt x="77" y="0"/>
                      </a:lnTo>
                      <a:lnTo>
                        <a:pt x="75" y="0"/>
                      </a:lnTo>
                      <a:lnTo>
                        <a:pt x="73" y="2"/>
                      </a:lnTo>
                      <a:lnTo>
                        <a:pt x="72" y="5"/>
                      </a:lnTo>
                      <a:lnTo>
                        <a:pt x="69" y="6"/>
                      </a:lnTo>
                      <a:lnTo>
                        <a:pt x="68" y="5"/>
                      </a:lnTo>
                      <a:lnTo>
                        <a:pt x="66" y="3"/>
                      </a:lnTo>
                      <a:lnTo>
                        <a:pt x="65" y="3"/>
                      </a:lnTo>
                      <a:lnTo>
                        <a:pt x="63" y="3"/>
                      </a:lnTo>
                      <a:lnTo>
                        <a:pt x="61" y="5"/>
                      </a:lnTo>
                      <a:lnTo>
                        <a:pt x="59" y="9"/>
                      </a:lnTo>
                      <a:lnTo>
                        <a:pt x="58" y="9"/>
                      </a:lnTo>
                      <a:lnTo>
                        <a:pt x="56" y="9"/>
                      </a:lnTo>
                      <a:lnTo>
                        <a:pt x="54" y="8"/>
                      </a:lnTo>
                      <a:lnTo>
                        <a:pt x="52" y="8"/>
                      </a:lnTo>
                      <a:lnTo>
                        <a:pt x="51" y="11"/>
                      </a:lnTo>
                      <a:lnTo>
                        <a:pt x="51" y="13"/>
                      </a:lnTo>
                      <a:lnTo>
                        <a:pt x="51" y="15"/>
                      </a:lnTo>
                      <a:lnTo>
                        <a:pt x="51" y="16"/>
                      </a:lnTo>
                      <a:lnTo>
                        <a:pt x="46" y="19"/>
                      </a:lnTo>
                      <a:lnTo>
                        <a:pt x="40" y="21"/>
                      </a:lnTo>
                      <a:lnTo>
                        <a:pt x="33" y="22"/>
                      </a:lnTo>
                      <a:lnTo>
                        <a:pt x="27" y="25"/>
                      </a:lnTo>
                      <a:lnTo>
                        <a:pt x="22" y="26"/>
                      </a:lnTo>
                      <a:lnTo>
                        <a:pt x="17" y="25"/>
                      </a:lnTo>
                      <a:lnTo>
                        <a:pt x="12" y="24"/>
                      </a:lnTo>
                      <a:lnTo>
                        <a:pt x="7" y="25"/>
                      </a:lnTo>
                      <a:lnTo>
                        <a:pt x="2" y="27"/>
                      </a:lnTo>
                      <a:lnTo>
                        <a:pt x="0" y="28"/>
                      </a:lnTo>
                      <a:lnTo>
                        <a:pt x="2" y="29"/>
                      </a:lnTo>
                      <a:lnTo>
                        <a:pt x="4" y="31"/>
                      </a:lnTo>
                      <a:lnTo>
                        <a:pt x="9" y="31"/>
                      </a:lnTo>
                      <a:lnTo>
                        <a:pt x="11" y="33"/>
                      </a:lnTo>
                      <a:lnTo>
                        <a:pt x="12" y="34"/>
                      </a:lnTo>
                      <a:lnTo>
                        <a:pt x="11" y="41"/>
                      </a:lnTo>
                      <a:lnTo>
                        <a:pt x="8" y="47"/>
                      </a:lnTo>
                      <a:lnTo>
                        <a:pt x="7" y="53"/>
                      </a:lnTo>
                      <a:lnTo>
                        <a:pt x="7" y="57"/>
                      </a:lnTo>
                      <a:lnTo>
                        <a:pt x="8" y="60"/>
                      </a:lnTo>
                      <a:lnTo>
                        <a:pt x="9" y="61"/>
                      </a:lnTo>
                      <a:lnTo>
                        <a:pt x="11" y="60"/>
                      </a:lnTo>
                      <a:lnTo>
                        <a:pt x="13" y="58"/>
                      </a:lnTo>
                      <a:lnTo>
                        <a:pt x="14" y="58"/>
                      </a:lnTo>
                      <a:lnTo>
                        <a:pt x="16" y="58"/>
                      </a:lnTo>
                      <a:lnTo>
                        <a:pt x="17" y="59"/>
                      </a:lnTo>
                      <a:lnTo>
                        <a:pt x="17" y="61"/>
                      </a:lnTo>
                      <a:lnTo>
                        <a:pt x="19" y="61"/>
                      </a:lnTo>
                      <a:lnTo>
                        <a:pt x="22" y="59"/>
                      </a:lnTo>
                      <a:lnTo>
                        <a:pt x="26" y="58"/>
                      </a:lnTo>
                      <a:lnTo>
                        <a:pt x="35" y="57"/>
                      </a:lnTo>
                      <a:lnTo>
                        <a:pt x="37" y="56"/>
                      </a:lnTo>
                      <a:lnTo>
                        <a:pt x="39" y="54"/>
                      </a:lnTo>
                      <a:lnTo>
                        <a:pt x="39" y="51"/>
                      </a:lnTo>
                      <a:lnTo>
                        <a:pt x="39" y="47"/>
                      </a:lnTo>
                      <a:lnTo>
                        <a:pt x="39" y="44"/>
                      </a:lnTo>
                      <a:lnTo>
                        <a:pt x="40" y="43"/>
                      </a:lnTo>
                      <a:lnTo>
                        <a:pt x="42" y="44"/>
                      </a:lnTo>
                      <a:lnTo>
                        <a:pt x="45" y="47"/>
                      </a:lnTo>
                      <a:lnTo>
                        <a:pt x="46" y="48"/>
                      </a:lnTo>
                      <a:lnTo>
                        <a:pt x="47" y="48"/>
                      </a:lnTo>
                      <a:lnTo>
                        <a:pt x="54" y="46"/>
                      </a:lnTo>
                      <a:lnTo>
                        <a:pt x="60" y="45"/>
                      </a:lnTo>
                      <a:lnTo>
                        <a:pt x="65" y="45"/>
                      </a:lnTo>
                      <a:lnTo>
                        <a:pt x="70" y="43"/>
                      </a:lnTo>
                      <a:lnTo>
                        <a:pt x="70" y="41"/>
                      </a:lnTo>
                      <a:lnTo>
                        <a:pt x="70" y="40"/>
                      </a:lnTo>
                      <a:lnTo>
                        <a:pt x="68" y="37"/>
                      </a:lnTo>
                      <a:lnTo>
                        <a:pt x="68" y="34"/>
                      </a:lnTo>
                      <a:lnTo>
                        <a:pt x="68" y="32"/>
                      </a:lnTo>
                      <a:lnTo>
                        <a:pt x="69" y="32"/>
                      </a:lnTo>
                      <a:lnTo>
                        <a:pt x="72" y="32"/>
                      </a:lnTo>
                      <a:lnTo>
                        <a:pt x="74" y="33"/>
                      </a:lnTo>
                      <a:lnTo>
                        <a:pt x="77" y="33"/>
                      </a:lnTo>
                      <a:lnTo>
                        <a:pt x="79" y="33"/>
                      </a:lnTo>
                      <a:lnTo>
                        <a:pt x="82" y="31"/>
                      </a:lnTo>
                      <a:lnTo>
                        <a:pt x="82" y="29"/>
                      </a:lnTo>
                      <a:lnTo>
                        <a:pt x="80"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8" name="Freeform 393"/>
                <p:cNvSpPr>
                  <a:spLocks/>
                </p:cNvSpPr>
                <p:nvPr/>
              </p:nvSpPr>
              <p:spPr bwMode="auto">
                <a:xfrm>
                  <a:off x="5617114" y="1726696"/>
                  <a:ext cx="128748" cy="60674"/>
                </a:xfrm>
                <a:custGeom>
                  <a:avLst/>
                  <a:gdLst>
                    <a:gd name="T0" fmla="*/ 2147483647 w 95"/>
                    <a:gd name="T1" fmla="*/ 2147483647 h 41"/>
                    <a:gd name="T2" fmla="*/ 2147483647 w 95"/>
                    <a:gd name="T3" fmla="*/ 2147483647 h 41"/>
                    <a:gd name="T4" fmla="*/ 2147483647 w 95"/>
                    <a:gd name="T5" fmla="*/ 2147483647 h 41"/>
                    <a:gd name="T6" fmla="*/ 2147483647 w 95"/>
                    <a:gd name="T7" fmla="*/ 2147483647 h 41"/>
                    <a:gd name="T8" fmla="*/ 2147483647 w 95"/>
                    <a:gd name="T9" fmla="*/ 2147483647 h 41"/>
                    <a:gd name="T10" fmla="*/ 2147483647 w 95"/>
                    <a:gd name="T11" fmla="*/ 0 h 41"/>
                    <a:gd name="T12" fmla="*/ 2147483647 w 95"/>
                    <a:gd name="T13" fmla="*/ 0 h 41"/>
                    <a:gd name="T14" fmla="*/ 2147483647 w 95"/>
                    <a:gd name="T15" fmla="*/ 2147483647 h 41"/>
                    <a:gd name="T16" fmla="*/ 2147483647 w 95"/>
                    <a:gd name="T17" fmla="*/ 2147483647 h 41"/>
                    <a:gd name="T18" fmla="*/ 2147483647 w 95"/>
                    <a:gd name="T19" fmla="*/ 2147483647 h 41"/>
                    <a:gd name="T20" fmla="*/ 2147483647 w 95"/>
                    <a:gd name="T21" fmla="*/ 2147483647 h 41"/>
                    <a:gd name="T22" fmla="*/ 2147483647 w 95"/>
                    <a:gd name="T23" fmla="*/ 2147483647 h 41"/>
                    <a:gd name="T24" fmla="*/ 0 w 95"/>
                    <a:gd name="T25" fmla="*/ 2147483647 h 41"/>
                    <a:gd name="T26" fmla="*/ 0 w 95"/>
                    <a:gd name="T27" fmla="*/ 2147483647 h 41"/>
                    <a:gd name="T28" fmla="*/ 2147483647 w 95"/>
                    <a:gd name="T29" fmla="*/ 2147483647 h 41"/>
                    <a:gd name="T30" fmla="*/ 2147483647 w 95"/>
                    <a:gd name="T31" fmla="*/ 2147483647 h 41"/>
                    <a:gd name="T32" fmla="*/ 2147483647 w 95"/>
                    <a:gd name="T33" fmla="*/ 2147483647 h 41"/>
                    <a:gd name="T34" fmla="*/ 2147483647 w 95"/>
                    <a:gd name="T35" fmla="*/ 2147483647 h 41"/>
                    <a:gd name="T36" fmla="*/ 2147483647 w 95"/>
                    <a:gd name="T37" fmla="*/ 2147483647 h 41"/>
                    <a:gd name="T38" fmla="*/ 2147483647 w 95"/>
                    <a:gd name="T39" fmla="*/ 2147483647 h 41"/>
                    <a:gd name="T40" fmla="*/ 2147483647 w 95"/>
                    <a:gd name="T41" fmla="*/ 2147483647 h 41"/>
                    <a:gd name="T42" fmla="*/ 2147483647 w 95"/>
                    <a:gd name="T43" fmla="*/ 2147483647 h 41"/>
                    <a:gd name="T44" fmla="*/ 2147483647 w 95"/>
                    <a:gd name="T45" fmla="*/ 2147483647 h 41"/>
                    <a:gd name="T46" fmla="*/ 2147483647 w 95"/>
                    <a:gd name="T47" fmla="*/ 2147483647 h 41"/>
                    <a:gd name="T48" fmla="*/ 2147483647 w 95"/>
                    <a:gd name="T49" fmla="*/ 2147483647 h 41"/>
                    <a:gd name="T50" fmla="*/ 2147483647 w 95"/>
                    <a:gd name="T51" fmla="*/ 2147483647 h 41"/>
                    <a:gd name="T52" fmla="*/ 2147483647 w 95"/>
                    <a:gd name="T53" fmla="*/ 2147483647 h 41"/>
                    <a:gd name="T54" fmla="*/ 2147483647 w 95"/>
                    <a:gd name="T55" fmla="*/ 2147483647 h 41"/>
                    <a:gd name="T56" fmla="*/ 2147483647 w 95"/>
                    <a:gd name="T57" fmla="*/ 2147483647 h 41"/>
                    <a:gd name="T58" fmla="*/ 2147483647 w 95"/>
                    <a:gd name="T59" fmla="*/ 2147483647 h 41"/>
                    <a:gd name="T60" fmla="*/ 2147483647 w 95"/>
                    <a:gd name="T61" fmla="*/ 2147483647 h 41"/>
                    <a:gd name="T62" fmla="*/ 2147483647 w 95"/>
                    <a:gd name="T63" fmla="*/ 2147483647 h 41"/>
                    <a:gd name="T64" fmla="*/ 2147483647 w 95"/>
                    <a:gd name="T65" fmla="*/ 2147483647 h 41"/>
                    <a:gd name="T66" fmla="*/ 2147483647 w 95"/>
                    <a:gd name="T67" fmla="*/ 2147483647 h 41"/>
                    <a:gd name="T68" fmla="*/ 2147483647 w 95"/>
                    <a:gd name="T69" fmla="*/ 2147483647 h 41"/>
                    <a:gd name="T70" fmla="*/ 2147483647 w 95"/>
                    <a:gd name="T71" fmla="*/ 2147483647 h 41"/>
                    <a:gd name="T72" fmla="*/ 2147483647 w 95"/>
                    <a:gd name="T73" fmla="*/ 2147483647 h 41"/>
                    <a:gd name="T74" fmla="*/ 2147483647 w 95"/>
                    <a:gd name="T75" fmla="*/ 2147483647 h 41"/>
                    <a:gd name="T76" fmla="*/ 2147483647 w 95"/>
                    <a:gd name="T77" fmla="*/ 2147483647 h 41"/>
                    <a:gd name="T78" fmla="*/ 2147483647 w 95"/>
                    <a:gd name="T79" fmla="*/ 2147483647 h 41"/>
                    <a:gd name="T80" fmla="*/ 2147483647 w 95"/>
                    <a:gd name="T81" fmla="*/ 2147483647 h 41"/>
                    <a:gd name="T82" fmla="*/ 2147483647 w 95"/>
                    <a:gd name="T83" fmla="*/ 2147483647 h 41"/>
                    <a:gd name="T84" fmla="*/ 2147483647 w 95"/>
                    <a:gd name="T85" fmla="*/ 2147483647 h 41"/>
                    <a:gd name="T86" fmla="*/ 2147483647 w 95"/>
                    <a:gd name="T87" fmla="*/ 2147483647 h 41"/>
                    <a:gd name="T88" fmla="*/ 2147483647 w 95"/>
                    <a:gd name="T89" fmla="*/ 2147483647 h 41"/>
                    <a:gd name="T90" fmla="*/ 2147483647 w 95"/>
                    <a:gd name="T91" fmla="*/ 2147483647 h 41"/>
                    <a:gd name="T92" fmla="*/ 2147483647 w 95"/>
                    <a:gd name="T93" fmla="*/ 2147483647 h 41"/>
                    <a:gd name="T94" fmla="*/ 2147483647 w 95"/>
                    <a:gd name="T95" fmla="*/ 2147483647 h 41"/>
                    <a:gd name="T96" fmla="*/ 2147483647 w 95"/>
                    <a:gd name="T97" fmla="*/ 2147483647 h 41"/>
                    <a:gd name="T98" fmla="*/ 2147483647 w 95"/>
                    <a:gd name="T99" fmla="*/ 2147483647 h 41"/>
                    <a:gd name="T100" fmla="*/ 2147483647 w 95"/>
                    <a:gd name="T101" fmla="*/ 2147483647 h 41"/>
                    <a:gd name="T102" fmla="*/ 2147483647 w 95"/>
                    <a:gd name="T103" fmla="*/ 2147483647 h 41"/>
                    <a:gd name="T104" fmla="*/ 2147483647 w 95"/>
                    <a:gd name="T105" fmla="*/ 2147483647 h 41"/>
                    <a:gd name="T106" fmla="*/ 2147483647 w 95"/>
                    <a:gd name="T107" fmla="*/ 2147483647 h 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5"/>
                    <a:gd name="T163" fmla="*/ 0 h 41"/>
                    <a:gd name="T164" fmla="*/ 95 w 95"/>
                    <a:gd name="T165" fmla="*/ 41 h 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5" h="41">
                      <a:moveTo>
                        <a:pt x="91" y="7"/>
                      </a:moveTo>
                      <a:lnTo>
                        <a:pt x="88" y="5"/>
                      </a:lnTo>
                      <a:lnTo>
                        <a:pt x="85" y="3"/>
                      </a:lnTo>
                      <a:lnTo>
                        <a:pt x="73" y="2"/>
                      </a:lnTo>
                      <a:lnTo>
                        <a:pt x="63" y="1"/>
                      </a:lnTo>
                      <a:lnTo>
                        <a:pt x="55" y="0"/>
                      </a:lnTo>
                      <a:lnTo>
                        <a:pt x="52" y="0"/>
                      </a:lnTo>
                      <a:lnTo>
                        <a:pt x="49" y="1"/>
                      </a:lnTo>
                      <a:lnTo>
                        <a:pt x="38" y="8"/>
                      </a:lnTo>
                      <a:lnTo>
                        <a:pt x="25" y="13"/>
                      </a:lnTo>
                      <a:lnTo>
                        <a:pt x="13" y="18"/>
                      </a:lnTo>
                      <a:lnTo>
                        <a:pt x="1" y="20"/>
                      </a:lnTo>
                      <a:lnTo>
                        <a:pt x="0" y="21"/>
                      </a:lnTo>
                      <a:lnTo>
                        <a:pt x="0" y="22"/>
                      </a:lnTo>
                      <a:lnTo>
                        <a:pt x="1" y="25"/>
                      </a:lnTo>
                      <a:lnTo>
                        <a:pt x="3" y="28"/>
                      </a:lnTo>
                      <a:lnTo>
                        <a:pt x="6" y="31"/>
                      </a:lnTo>
                      <a:lnTo>
                        <a:pt x="8" y="32"/>
                      </a:lnTo>
                      <a:lnTo>
                        <a:pt x="10" y="32"/>
                      </a:lnTo>
                      <a:lnTo>
                        <a:pt x="13" y="29"/>
                      </a:lnTo>
                      <a:lnTo>
                        <a:pt x="19" y="34"/>
                      </a:lnTo>
                      <a:lnTo>
                        <a:pt x="21" y="35"/>
                      </a:lnTo>
                      <a:lnTo>
                        <a:pt x="25" y="35"/>
                      </a:lnTo>
                      <a:lnTo>
                        <a:pt x="26" y="37"/>
                      </a:lnTo>
                      <a:lnTo>
                        <a:pt x="27" y="37"/>
                      </a:lnTo>
                      <a:lnTo>
                        <a:pt x="34" y="35"/>
                      </a:lnTo>
                      <a:lnTo>
                        <a:pt x="36" y="34"/>
                      </a:lnTo>
                      <a:lnTo>
                        <a:pt x="40" y="34"/>
                      </a:lnTo>
                      <a:lnTo>
                        <a:pt x="44" y="37"/>
                      </a:lnTo>
                      <a:lnTo>
                        <a:pt x="46" y="40"/>
                      </a:lnTo>
                      <a:lnTo>
                        <a:pt x="48" y="41"/>
                      </a:lnTo>
                      <a:lnTo>
                        <a:pt x="50" y="41"/>
                      </a:lnTo>
                      <a:lnTo>
                        <a:pt x="52" y="40"/>
                      </a:lnTo>
                      <a:lnTo>
                        <a:pt x="53" y="38"/>
                      </a:lnTo>
                      <a:lnTo>
                        <a:pt x="52" y="33"/>
                      </a:lnTo>
                      <a:lnTo>
                        <a:pt x="52" y="31"/>
                      </a:lnTo>
                      <a:lnTo>
                        <a:pt x="52" y="28"/>
                      </a:lnTo>
                      <a:lnTo>
                        <a:pt x="55" y="19"/>
                      </a:lnTo>
                      <a:lnTo>
                        <a:pt x="57" y="19"/>
                      </a:lnTo>
                      <a:lnTo>
                        <a:pt x="59" y="19"/>
                      </a:lnTo>
                      <a:lnTo>
                        <a:pt x="62" y="19"/>
                      </a:lnTo>
                      <a:lnTo>
                        <a:pt x="64" y="18"/>
                      </a:lnTo>
                      <a:lnTo>
                        <a:pt x="66" y="14"/>
                      </a:lnTo>
                      <a:lnTo>
                        <a:pt x="67" y="13"/>
                      </a:lnTo>
                      <a:lnTo>
                        <a:pt x="68" y="13"/>
                      </a:lnTo>
                      <a:lnTo>
                        <a:pt x="73" y="15"/>
                      </a:lnTo>
                      <a:lnTo>
                        <a:pt x="74" y="15"/>
                      </a:lnTo>
                      <a:lnTo>
                        <a:pt x="77" y="15"/>
                      </a:lnTo>
                      <a:lnTo>
                        <a:pt x="82" y="13"/>
                      </a:lnTo>
                      <a:lnTo>
                        <a:pt x="86" y="13"/>
                      </a:lnTo>
                      <a:lnTo>
                        <a:pt x="91" y="12"/>
                      </a:lnTo>
                      <a:lnTo>
                        <a:pt x="95" y="9"/>
                      </a:lnTo>
                      <a:lnTo>
                        <a:pt x="93" y="8"/>
                      </a:lnTo>
                      <a:lnTo>
                        <a:pt x="91"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59" name="Freeform 394"/>
                <p:cNvSpPr>
                  <a:spLocks/>
                </p:cNvSpPr>
                <p:nvPr/>
              </p:nvSpPr>
              <p:spPr bwMode="auto">
                <a:xfrm>
                  <a:off x="5716266" y="1716332"/>
                  <a:ext cx="110991" cy="90273"/>
                </a:xfrm>
                <a:custGeom>
                  <a:avLst/>
                  <a:gdLst>
                    <a:gd name="T0" fmla="*/ 2147483647 w 81"/>
                    <a:gd name="T1" fmla="*/ 2147483647 h 61"/>
                    <a:gd name="T2" fmla="*/ 2147483647 w 81"/>
                    <a:gd name="T3" fmla="*/ 2147483647 h 61"/>
                    <a:gd name="T4" fmla="*/ 2147483647 w 81"/>
                    <a:gd name="T5" fmla="*/ 2147483647 h 61"/>
                    <a:gd name="T6" fmla="*/ 2147483647 w 81"/>
                    <a:gd name="T7" fmla="*/ 2147483647 h 61"/>
                    <a:gd name="T8" fmla="*/ 2147483647 w 81"/>
                    <a:gd name="T9" fmla="*/ 2147483647 h 61"/>
                    <a:gd name="T10" fmla="*/ 2147483647 w 81"/>
                    <a:gd name="T11" fmla="*/ 2147483647 h 61"/>
                    <a:gd name="T12" fmla="*/ 2147483647 w 81"/>
                    <a:gd name="T13" fmla="*/ 2147483647 h 61"/>
                    <a:gd name="T14" fmla="*/ 2147483647 w 81"/>
                    <a:gd name="T15" fmla="*/ 2147483647 h 61"/>
                    <a:gd name="T16" fmla="*/ 2147483647 w 81"/>
                    <a:gd name="T17" fmla="*/ 2147483647 h 61"/>
                    <a:gd name="T18" fmla="*/ 2147483647 w 81"/>
                    <a:gd name="T19" fmla="*/ 2147483647 h 61"/>
                    <a:gd name="T20" fmla="*/ 2147483647 w 81"/>
                    <a:gd name="T21" fmla="*/ 0 h 61"/>
                    <a:gd name="T22" fmla="*/ 2147483647 w 81"/>
                    <a:gd name="T23" fmla="*/ 2147483647 h 61"/>
                    <a:gd name="T24" fmla="*/ 2147483647 w 81"/>
                    <a:gd name="T25" fmla="*/ 2147483647 h 61"/>
                    <a:gd name="T26" fmla="*/ 2147483647 w 81"/>
                    <a:gd name="T27" fmla="*/ 2147483647 h 61"/>
                    <a:gd name="T28" fmla="*/ 2147483647 w 81"/>
                    <a:gd name="T29" fmla="*/ 2147483647 h 61"/>
                    <a:gd name="T30" fmla="*/ 2147483647 w 81"/>
                    <a:gd name="T31" fmla="*/ 2147483647 h 61"/>
                    <a:gd name="T32" fmla="*/ 2147483647 w 81"/>
                    <a:gd name="T33" fmla="*/ 2147483647 h 61"/>
                    <a:gd name="T34" fmla="*/ 2147483647 w 81"/>
                    <a:gd name="T35" fmla="*/ 2147483647 h 61"/>
                    <a:gd name="T36" fmla="*/ 2147483647 w 81"/>
                    <a:gd name="T37" fmla="*/ 2147483647 h 61"/>
                    <a:gd name="T38" fmla="*/ 2147483647 w 81"/>
                    <a:gd name="T39" fmla="*/ 2147483647 h 61"/>
                    <a:gd name="T40" fmla="*/ 2147483647 w 81"/>
                    <a:gd name="T41" fmla="*/ 2147483647 h 61"/>
                    <a:gd name="T42" fmla="*/ 2147483647 w 81"/>
                    <a:gd name="T43" fmla="*/ 2147483647 h 61"/>
                    <a:gd name="T44" fmla="*/ 2147483647 w 81"/>
                    <a:gd name="T45" fmla="*/ 2147483647 h 61"/>
                    <a:gd name="T46" fmla="*/ 2147483647 w 81"/>
                    <a:gd name="T47" fmla="*/ 2147483647 h 61"/>
                    <a:gd name="T48" fmla="*/ 2147483647 w 81"/>
                    <a:gd name="T49" fmla="*/ 2147483647 h 61"/>
                    <a:gd name="T50" fmla="*/ 2147483647 w 81"/>
                    <a:gd name="T51" fmla="*/ 2147483647 h 61"/>
                    <a:gd name="T52" fmla="*/ 2147483647 w 81"/>
                    <a:gd name="T53" fmla="*/ 2147483647 h 61"/>
                    <a:gd name="T54" fmla="*/ 2147483647 w 81"/>
                    <a:gd name="T55" fmla="*/ 2147483647 h 61"/>
                    <a:gd name="T56" fmla="*/ 2147483647 w 81"/>
                    <a:gd name="T57" fmla="*/ 2147483647 h 61"/>
                    <a:gd name="T58" fmla="*/ 2147483647 w 81"/>
                    <a:gd name="T59" fmla="*/ 2147483647 h 61"/>
                    <a:gd name="T60" fmla="*/ 2147483647 w 81"/>
                    <a:gd name="T61" fmla="*/ 2147483647 h 61"/>
                    <a:gd name="T62" fmla="*/ 2147483647 w 81"/>
                    <a:gd name="T63" fmla="*/ 2147483647 h 61"/>
                    <a:gd name="T64" fmla="*/ 2147483647 w 81"/>
                    <a:gd name="T65" fmla="*/ 2147483647 h 61"/>
                    <a:gd name="T66" fmla="*/ 2147483647 w 81"/>
                    <a:gd name="T67" fmla="*/ 2147483647 h 61"/>
                    <a:gd name="T68" fmla="*/ 2147483647 w 81"/>
                    <a:gd name="T69" fmla="*/ 2147483647 h 61"/>
                    <a:gd name="T70" fmla="*/ 2147483647 w 81"/>
                    <a:gd name="T71" fmla="*/ 2147483647 h 61"/>
                    <a:gd name="T72" fmla="*/ 2147483647 w 81"/>
                    <a:gd name="T73" fmla="*/ 2147483647 h 61"/>
                    <a:gd name="T74" fmla="*/ 2147483647 w 81"/>
                    <a:gd name="T75" fmla="*/ 2147483647 h 61"/>
                    <a:gd name="T76" fmla="*/ 2147483647 w 81"/>
                    <a:gd name="T77" fmla="*/ 2147483647 h 61"/>
                    <a:gd name="T78" fmla="*/ 2147483647 w 81"/>
                    <a:gd name="T79" fmla="*/ 2147483647 h 61"/>
                    <a:gd name="T80" fmla="*/ 2147483647 w 81"/>
                    <a:gd name="T81" fmla="*/ 2147483647 h 61"/>
                    <a:gd name="T82" fmla="*/ 2147483647 w 81"/>
                    <a:gd name="T83" fmla="*/ 2147483647 h 61"/>
                    <a:gd name="T84" fmla="*/ 2147483647 w 81"/>
                    <a:gd name="T85" fmla="*/ 2147483647 h 61"/>
                    <a:gd name="T86" fmla="*/ 2147483647 w 81"/>
                    <a:gd name="T87" fmla="*/ 2147483647 h 61"/>
                    <a:gd name="T88" fmla="*/ 2147483647 w 81"/>
                    <a:gd name="T89" fmla="*/ 2147483647 h 61"/>
                    <a:gd name="T90" fmla="*/ 2147483647 w 81"/>
                    <a:gd name="T91" fmla="*/ 2147483647 h 61"/>
                    <a:gd name="T92" fmla="*/ 2147483647 w 81"/>
                    <a:gd name="T93" fmla="*/ 2147483647 h 61"/>
                    <a:gd name="T94" fmla="*/ 2147483647 w 81"/>
                    <a:gd name="T95" fmla="*/ 2147483647 h 61"/>
                    <a:gd name="T96" fmla="*/ 2147483647 w 81"/>
                    <a:gd name="T97" fmla="*/ 2147483647 h 61"/>
                    <a:gd name="T98" fmla="*/ 2147483647 w 81"/>
                    <a:gd name="T99" fmla="*/ 2147483647 h 61"/>
                    <a:gd name="T100" fmla="*/ 2147483647 w 81"/>
                    <a:gd name="T101" fmla="*/ 2147483647 h 61"/>
                    <a:gd name="T102" fmla="*/ 2147483647 w 81"/>
                    <a:gd name="T103" fmla="*/ 2147483647 h 61"/>
                    <a:gd name="T104" fmla="*/ 2147483647 w 81"/>
                    <a:gd name="T105" fmla="*/ 2147483647 h 61"/>
                    <a:gd name="T106" fmla="*/ 2147483647 w 81"/>
                    <a:gd name="T107" fmla="*/ 2147483647 h 61"/>
                    <a:gd name="T108" fmla="*/ 2147483647 w 81"/>
                    <a:gd name="T109" fmla="*/ 2147483647 h 61"/>
                    <a:gd name="T110" fmla="*/ 2147483647 w 81"/>
                    <a:gd name="T111" fmla="*/ 2147483647 h 61"/>
                    <a:gd name="T112" fmla="*/ 2147483647 w 81"/>
                    <a:gd name="T113" fmla="*/ 2147483647 h 61"/>
                    <a:gd name="T114" fmla="*/ 2147483647 w 81"/>
                    <a:gd name="T115" fmla="*/ 2147483647 h 61"/>
                    <a:gd name="T116" fmla="*/ 2147483647 w 81"/>
                    <a:gd name="T117" fmla="*/ 2147483647 h 61"/>
                    <a:gd name="T118" fmla="*/ 2147483647 w 81"/>
                    <a:gd name="T119" fmla="*/ 2147483647 h 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1"/>
                    <a:gd name="T181" fmla="*/ 0 h 61"/>
                    <a:gd name="T182" fmla="*/ 81 w 81"/>
                    <a:gd name="T183" fmla="*/ 61 h 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1" h="61">
                      <a:moveTo>
                        <a:pt x="80" y="26"/>
                      </a:moveTo>
                      <a:lnTo>
                        <a:pt x="80" y="26"/>
                      </a:lnTo>
                      <a:lnTo>
                        <a:pt x="79" y="23"/>
                      </a:lnTo>
                      <a:lnTo>
                        <a:pt x="78" y="22"/>
                      </a:lnTo>
                      <a:lnTo>
                        <a:pt x="75" y="22"/>
                      </a:lnTo>
                      <a:lnTo>
                        <a:pt x="71" y="23"/>
                      </a:lnTo>
                      <a:lnTo>
                        <a:pt x="67" y="23"/>
                      </a:lnTo>
                      <a:lnTo>
                        <a:pt x="66" y="22"/>
                      </a:lnTo>
                      <a:lnTo>
                        <a:pt x="66" y="20"/>
                      </a:lnTo>
                      <a:lnTo>
                        <a:pt x="69" y="17"/>
                      </a:lnTo>
                      <a:lnTo>
                        <a:pt x="70" y="15"/>
                      </a:lnTo>
                      <a:lnTo>
                        <a:pt x="74" y="9"/>
                      </a:lnTo>
                      <a:lnTo>
                        <a:pt x="78" y="3"/>
                      </a:lnTo>
                      <a:lnTo>
                        <a:pt x="78" y="2"/>
                      </a:lnTo>
                      <a:lnTo>
                        <a:pt x="78" y="1"/>
                      </a:lnTo>
                      <a:lnTo>
                        <a:pt x="76" y="0"/>
                      </a:lnTo>
                      <a:lnTo>
                        <a:pt x="75" y="0"/>
                      </a:lnTo>
                      <a:lnTo>
                        <a:pt x="73" y="2"/>
                      </a:lnTo>
                      <a:lnTo>
                        <a:pt x="71" y="4"/>
                      </a:lnTo>
                      <a:lnTo>
                        <a:pt x="69" y="6"/>
                      </a:lnTo>
                      <a:lnTo>
                        <a:pt x="67" y="4"/>
                      </a:lnTo>
                      <a:lnTo>
                        <a:pt x="66" y="3"/>
                      </a:lnTo>
                      <a:lnTo>
                        <a:pt x="65" y="3"/>
                      </a:lnTo>
                      <a:lnTo>
                        <a:pt x="62" y="3"/>
                      </a:lnTo>
                      <a:lnTo>
                        <a:pt x="61" y="4"/>
                      </a:lnTo>
                      <a:lnTo>
                        <a:pt x="59" y="9"/>
                      </a:lnTo>
                      <a:lnTo>
                        <a:pt x="57" y="9"/>
                      </a:lnTo>
                      <a:lnTo>
                        <a:pt x="56" y="9"/>
                      </a:lnTo>
                      <a:lnTo>
                        <a:pt x="53" y="8"/>
                      </a:lnTo>
                      <a:lnTo>
                        <a:pt x="52" y="8"/>
                      </a:lnTo>
                      <a:lnTo>
                        <a:pt x="51" y="10"/>
                      </a:lnTo>
                      <a:lnTo>
                        <a:pt x="51" y="13"/>
                      </a:lnTo>
                      <a:lnTo>
                        <a:pt x="51" y="15"/>
                      </a:lnTo>
                      <a:lnTo>
                        <a:pt x="51" y="16"/>
                      </a:lnTo>
                      <a:lnTo>
                        <a:pt x="46" y="19"/>
                      </a:lnTo>
                      <a:lnTo>
                        <a:pt x="40" y="21"/>
                      </a:lnTo>
                      <a:lnTo>
                        <a:pt x="33" y="22"/>
                      </a:lnTo>
                      <a:lnTo>
                        <a:pt x="27" y="25"/>
                      </a:lnTo>
                      <a:lnTo>
                        <a:pt x="22" y="26"/>
                      </a:lnTo>
                      <a:lnTo>
                        <a:pt x="17" y="25"/>
                      </a:lnTo>
                      <a:lnTo>
                        <a:pt x="12" y="23"/>
                      </a:lnTo>
                      <a:lnTo>
                        <a:pt x="7" y="25"/>
                      </a:lnTo>
                      <a:lnTo>
                        <a:pt x="1" y="27"/>
                      </a:lnTo>
                      <a:lnTo>
                        <a:pt x="0" y="28"/>
                      </a:lnTo>
                      <a:lnTo>
                        <a:pt x="1" y="29"/>
                      </a:lnTo>
                      <a:lnTo>
                        <a:pt x="4" y="30"/>
                      </a:lnTo>
                      <a:lnTo>
                        <a:pt x="9" y="30"/>
                      </a:lnTo>
                      <a:lnTo>
                        <a:pt x="10" y="33"/>
                      </a:lnTo>
                      <a:lnTo>
                        <a:pt x="12" y="34"/>
                      </a:lnTo>
                      <a:lnTo>
                        <a:pt x="10" y="41"/>
                      </a:lnTo>
                      <a:lnTo>
                        <a:pt x="8" y="47"/>
                      </a:lnTo>
                      <a:lnTo>
                        <a:pt x="7" y="53"/>
                      </a:lnTo>
                      <a:lnTo>
                        <a:pt x="7" y="57"/>
                      </a:lnTo>
                      <a:lnTo>
                        <a:pt x="8" y="60"/>
                      </a:lnTo>
                      <a:lnTo>
                        <a:pt x="9" y="61"/>
                      </a:lnTo>
                      <a:lnTo>
                        <a:pt x="10" y="60"/>
                      </a:lnTo>
                      <a:lnTo>
                        <a:pt x="13" y="58"/>
                      </a:lnTo>
                      <a:lnTo>
                        <a:pt x="14" y="58"/>
                      </a:lnTo>
                      <a:lnTo>
                        <a:pt x="15" y="58"/>
                      </a:lnTo>
                      <a:lnTo>
                        <a:pt x="17" y="59"/>
                      </a:lnTo>
                      <a:lnTo>
                        <a:pt x="17" y="61"/>
                      </a:lnTo>
                      <a:lnTo>
                        <a:pt x="19" y="61"/>
                      </a:lnTo>
                      <a:lnTo>
                        <a:pt x="22" y="59"/>
                      </a:lnTo>
                      <a:lnTo>
                        <a:pt x="26" y="58"/>
                      </a:lnTo>
                      <a:lnTo>
                        <a:pt x="34" y="57"/>
                      </a:lnTo>
                      <a:lnTo>
                        <a:pt x="37" y="55"/>
                      </a:lnTo>
                      <a:lnTo>
                        <a:pt x="38" y="54"/>
                      </a:lnTo>
                      <a:lnTo>
                        <a:pt x="38" y="51"/>
                      </a:lnTo>
                      <a:lnTo>
                        <a:pt x="38" y="47"/>
                      </a:lnTo>
                      <a:lnTo>
                        <a:pt x="38" y="44"/>
                      </a:lnTo>
                      <a:lnTo>
                        <a:pt x="40" y="42"/>
                      </a:lnTo>
                      <a:lnTo>
                        <a:pt x="42" y="44"/>
                      </a:lnTo>
                      <a:lnTo>
                        <a:pt x="45" y="47"/>
                      </a:lnTo>
                      <a:lnTo>
                        <a:pt x="46" y="48"/>
                      </a:lnTo>
                      <a:lnTo>
                        <a:pt x="47" y="48"/>
                      </a:lnTo>
                      <a:lnTo>
                        <a:pt x="53" y="46"/>
                      </a:lnTo>
                      <a:lnTo>
                        <a:pt x="60" y="45"/>
                      </a:lnTo>
                      <a:lnTo>
                        <a:pt x="65" y="45"/>
                      </a:lnTo>
                      <a:lnTo>
                        <a:pt x="70" y="42"/>
                      </a:lnTo>
                      <a:lnTo>
                        <a:pt x="70" y="41"/>
                      </a:lnTo>
                      <a:lnTo>
                        <a:pt x="70" y="40"/>
                      </a:lnTo>
                      <a:lnTo>
                        <a:pt x="67" y="36"/>
                      </a:lnTo>
                      <a:lnTo>
                        <a:pt x="67" y="34"/>
                      </a:lnTo>
                      <a:lnTo>
                        <a:pt x="67" y="32"/>
                      </a:lnTo>
                      <a:lnTo>
                        <a:pt x="69" y="32"/>
                      </a:lnTo>
                      <a:lnTo>
                        <a:pt x="71" y="32"/>
                      </a:lnTo>
                      <a:lnTo>
                        <a:pt x="74" y="33"/>
                      </a:lnTo>
                      <a:lnTo>
                        <a:pt x="76" y="33"/>
                      </a:lnTo>
                      <a:lnTo>
                        <a:pt x="79" y="33"/>
                      </a:lnTo>
                      <a:lnTo>
                        <a:pt x="81" y="30"/>
                      </a:lnTo>
                      <a:lnTo>
                        <a:pt x="81" y="29"/>
                      </a:lnTo>
                      <a:lnTo>
                        <a:pt x="80" y="2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0" name="Freeform 395"/>
                <p:cNvSpPr>
                  <a:spLocks/>
                </p:cNvSpPr>
                <p:nvPr/>
              </p:nvSpPr>
              <p:spPr bwMode="auto">
                <a:xfrm>
                  <a:off x="5614157" y="1725211"/>
                  <a:ext cx="128748" cy="60675"/>
                </a:xfrm>
                <a:custGeom>
                  <a:avLst/>
                  <a:gdLst>
                    <a:gd name="T0" fmla="*/ 2147483647 w 95"/>
                    <a:gd name="T1" fmla="*/ 2147483647 h 41"/>
                    <a:gd name="T2" fmla="*/ 2147483647 w 95"/>
                    <a:gd name="T3" fmla="*/ 2147483647 h 41"/>
                    <a:gd name="T4" fmla="*/ 2147483647 w 95"/>
                    <a:gd name="T5" fmla="*/ 2147483647 h 41"/>
                    <a:gd name="T6" fmla="*/ 2147483647 w 95"/>
                    <a:gd name="T7" fmla="*/ 2147483647 h 41"/>
                    <a:gd name="T8" fmla="*/ 2147483647 w 95"/>
                    <a:gd name="T9" fmla="*/ 0 h 41"/>
                    <a:gd name="T10" fmla="*/ 2147483647 w 95"/>
                    <a:gd name="T11" fmla="*/ 2147483647 h 41"/>
                    <a:gd name="T12" fmla="*/ 2147483647 w 95"/>
                    <a:gd name="T13" fmla="*/ 2147483647 h 41"/>
                    <a:gd name="T14" fmla="*/ 2147483647 w 95"/>
                    <a:gd name="T15" fmla="*/ 2147483647 h 41"/>
                    <a:gd name="T16" fmla="*/ 0 w 95"/>
                    <a:gd name="T17" fmla="*/ 2147483647 h 41"/>
                    <a:gd name="T18" fmla="*/ 2147483647 w 95"/>
                    <a:gd name="T19" fmla="*/ 2147483647 h 41"/>
                    <a:gd name="T20" fmla="*/ 2147483647 w 95"/>
                    <a:gd name="T21" fmla="*/ 2147483647 h 41"/>
                    <a:gd name="T22" fmla="*/ 2147483647 w 95"/>
                    <a:gd name="T23" fmla="*/ 2147483647 h 41"/>
                    <a:gd name="T24" fmla="*/ 2147483647 w 95"/>
                    <a:gd name="T25" fmla="*/ 2147483647 h 41"/>
                    <a:gd name="T26" fmla="*/ 2147483647 w 95"/>
                    <a:gd name="T27" fmla="*/ 2147483647 h 41"/>
                    <a:gd name="T28" fmla="*/ 2147483647 w 95"/>
                    <a:gd name="T29" fmla="*/ 2147483647 h 41"/>
                    <a:gd name="T30" fmla="*/ 2147483647 w 95"/>
                    <a:gd name="T31" fmla="*/ 2147483647 h 41"/>
                    <a:gd name="T32" fmla="*/ 2147483647 w 95"/>
                    <a:gd name="T33" fmla="*/ 2147483647 h 41"/>
                    <a:gd name="T34" fmla="*/ 2147483647 w 95"/>
                    <a:gd name="T35" fmla="*/ 2147483647 h 41"/>
                    <a:gd name="T36" fmla="*/ 2147483647 w 95"/>
                    <a:gd name="T37" fmla="*/ 2147483647 h 41"/>
                    <a:gd name="T38" fmla="*/ 2147483647 w 95"/>
                    <a:gd name="T39" fmla="*/ 2147483647 h 41"/>
                    <a:gd name="T40" fmla="*/ 2147483647 w 95"/>
                    <a:gd name="T41" fmla="*/ 2147483647 h 41"/>
                    <a:gd name="T42" fmla="*/ 2147483647 w 95"/>
                    <a:gd name="T43" fmla="*/ 2147483647 h 41"/>
                    <a:gd name="T44" fmla="*/ 2147483647 w 95"/>
                    <a:gd name="T45" fmla="*/ 2147483647 h 41"/>
                    <a:gd name="T46" fmla="*/ 2147483647 w 95"/>
                    <a:gd name="T47" fmla="*/ 2147483647 h 41"/>
                    <a:gd name="T48" fmla="*/ 2147483647 w 95"/>
                    <a:gd name="T49" fmla="*/ 2147483647 h 41"/>
                    <a:gd name="T50" fmla="*/ 2147483647 w 95"/>
                    <a:gd name="T51" fmla="*/ 2147483647 h 41"/>
                    <a:gd name="T52" fmla="*/ 2147483647 w 95"/>
                    <a:gd name="T53" fmla="*/ 2147483647 h 41"/>
                    <a:gd name="T54" fmla="*/ 2147483647 w 95"/>
                    <a:gd name="T55" fmla="*/ 2147483647 h 41"/>
                    <a:gd name="T56" fmla="*/ 2147483647 w 95"/>
                    <a:gd name="T57" fmla="*/ 2147483647 h 41"/>
                    <a:gd name="T58" fmla="*/ 2147483647 w 95"/>
                    <a:gd name="T59" fmla="*/ 2147483647 h 41"/>
                    <a:gd name="T60" fmla="*/ 2147483647 w 95"/>
                    <a:gd name="T61" fmla="*/ 2147483647 h 41"/>
                    <a:gd name="T62" fmla="*/ 2147483647 w 95"/>
                    <a:gd name="T63" fmla="*/ 2147483647 h 41"/>
                    <a:gd name="T64" fmla="*/ 2147483647 w 95"/>
                    <a:gd name="T65" fmla="*/ 2147483647 h 41"/>
                    <a:gd name="T66" fmla="*/ 2147483647 w 95"/>
                    <a:gd name="T67" fmla="*/ 2147483647 h 41"/>
                    <a:gd name="T68" fmla="*/ 2147483647 w 95"/>
                    <a:gd name="T69" fmla="*/ 2147483647 h 41"/>
                    <a:gd name="T70" fmla="*/ 2147483647 w 95"/>
                    <a:gd name="T71" fmla="*/ 2147483647 h 41"/>
                    <a:gd name="T72" fmla="*/ 2147483647 w 95"/>
                    <a:gd name="T73" fmla="*/ 2147483647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5"/>
                    <a:gd name="T112" fmla="*/ 0 h 41"/>
                    <a:gd name="T113" fmla="*/ 95 w 95"/>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5" h="41">
                      <a:moveTo>
                        <a:pt x="92" y="7"/>
                      </a:moveTo>
                      <a:lnTo>
                        <a:pt x="92" y="7"/>
                      </a:lnTo>
                      <a:lnTo>
                        <a:pt x="89" y="4"/>
                      </a:lnTo>
                      <a:lnTo>
                        <a:pt x="85" y="3"/>
                      </a:lnTo>
                      <a:lnTo>
                        <a:pt x="74" y="2"/>
                      </a:lnTo>
                      <a:lnTo>
                        <a:pt x="64" y="1"/>
                      </a:lnTo>
                      <a:lnTo>
                        <a:pt x="56" y="0"/>
                      </a:lnTo>
                      <a:lnTo>
                        <a:pt x="52" y="0"/>
                      </a:lnTo>
                      <a:lnTo>
                        <a:pt x="50" y="1"/>
                      </a:lnTo>
                      <a:lnTo>
                        <a:pt x="38" y="8"/>
                      </a:lnTo>
                      <a:lnTo>
                        <a:pt x="26" y="13"/>
                      </a:lnTo>
                      <a:lnTo>
                        <a:pt x="14" y="17"/>
                      </a:lnTo>
                      <a:lnTo>
                        <a:pt x="2" y="20"/>
                      </a:lnTo>
                      <a:lnTo>
                        <a:pt x="0" y="21"/>
                      </a:lnTo>
                      <a:lnTo>
                        <a:pt x="0" y="22"/>
                      </a:lnTo>
                      <a:lnTo>
                        <a:pt x="2" y="24"/>
                      </a:lnTo>
                      <a:lnTo>
                        <a:pt x="4" y="28"/>
                      </a:lnTo>
                      <a:lnTo>
                        <a:pt x="7" y="30"/>
                      </a:lnTo>
                      <a:lnTo>
                        <a:pt x="9" y="32"/>
                      </a:lnTo>
                      <a:lnTo>
                        <a:pt x="10" y="32"/>
                      </a:lnTo>
                      <a:lnTo>
                        <a:pt x="14" y="29"/>
                      </a:lnTo>
                      <a:lnTo>
                        <a:pt x="19" y="34"/>
                      </a:lnTo>
                      <a:lnTo>
                        <a:pt x="22" y="35"/>
                      </a:lnTo>
                      <a:lnTo>
                        <a:pt x="26" y="35"/>
                      </a:lnTo>
                      <a:lnTo>
                        <a:pt x="27" y="36"/>
                      </a:lnTo>
                      <a:lnTo>
                        <a:pt x="28" y="36"/>
                      </a:lnTo>
                      <a:lnTo>
                        <a:pt x="35" y="35"/>
                      </a:lnTo>
                      <a:lnTo>
                        <a:pt x="37" y="34"/>
                      </a:lnTo>
                      <a:lnTo>
                        <a:pt x="41" y="34"/>
                      </a:lnTo>
                      <a:lnTo>
                        <a:pt x="45" y="36"/>
                      </a:lnTo>
                      <a:lnTo>
                        <a:pt x="47" y="40"/>
                      </a:lnTo>
                      <a:lnTo>
                        <a:pt x="48" y="41"/>
                      </a:lnTo>
                      <a:lnTo>
                        <a:pt x="51" y="41"/>
                      </a:lnTo>
                      <a:lnTo>
                        <a:pt x="52" y="40"/>
                      </a:lnTo>
                      <a:lnTo>
                        <a:pt x="54" y="38"/>
                      </a:lnTo>
                      <a:lnTo>
                        <a:pt x="52" y="33"/>
                      </a:lnTo>
                      <a:lnTo>
                        <a:pt x="52" y="30"/>
                      </a:lnTo>
                      <a:lnTo>
                        <a:pt x="52" y="28"/>
                      </a:lnTo>
                      <a:lnTo>
                        <a:pt x="56" y="19"/>
                      </a:lnTo>
                      <a:lnTo>
                        <a:pt x="57" y="19"/>
                      </a:lnTo>
                      <a:lnTo>
                        <a:pt x="60" y="19"/>
                      </a:lnTo>
                      <a:lnTo>
                        <a:pt x="62" y="19"/>
                      </a:lnTo>
                      <a:lnTo>
                        <a:pt x="65" y="17"/>
                      </a:lnTo>
                      <a:lnTo>
                        <a:pt x="66" y="14"/>
                      </a:lnTo>
                      <a:lnTo>
                        <a:pt x="68" y="13"/>
                      </a:lnTo>
                      <a:lnTo>
                        <a:pt x="69" y="13"/>
                      </a:lnTo>
                      <a:lnTo>
                        <a:pt x="74" y="15"/>
                      </a:lnTo>
                      <a:lnTo>
                        <a:pt x="75" y="15"/>
                      </a:lnTo>
                      <a:lnTo>
                        <a:pt x="78" y="15"/>
                      </a:lnTo>
                      <a:lnTo>
                        <a:pt x="83" y="13"/>
                      </a:lnTo>
                      <a:lnTo>
                        <a:pt x="87" y="13"/>
                      </a:lnTo>
                      <a:lnTo>
                        <a:pt x="92" y="11"/>
                      </a:lnTo>
                      <a:lnTo>
                        <a:pt x="95" y="9"/>
                      </a:lnTo>
                      <a:lnTo>
                        <a:pt x="94" y="8"/>
                      </a:lnTo>
                      <a:lnTo>
                        <a:pt x="92"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1" name="Freeform 396"/>
                <p:cNvSpPr>
                  <a:spLocks/>
                </p:cNvSpPr>
                <p:nvPr/>
              </p:nvSpPr>
              <p:spPr bwMode="auto">
                <a:xfrm>
                  <a:off x="5380338" y="1787370"/>
                  <a:ext cx="38477" cy="20718"/>
                </a:xfrm>
                <a:custGeom>
                  <a:avLst/>
                  <a:gdLst>
                    <a:gd name="T0" fmla="*/ 2147483647 w 28"/>
                    <a:gd name="T1" fmla="*/ 0 h 14"/>
                    <a:gd name="T2" fmla="*/ 2147483647 w 28"/>
                    <a:gd name="T3" fmla="*/ 0 h 14"/>
                    <a:gd name="T4" fmla="*/ 2147483647 w 28"/>
                    <a:gd name="T5" fmla="*/ 2147483647 h 14"/>
                    <a:gd name="T6" fmla="*/ 2147483647 w 28"/>
                    <a:gd name="T7" fmla="*/ 2147483647 h 14"/>
                    <a:gd name="T8" fmla="*/ 2147483647 w 28"/>
                    <a:gd name="T9" fmla="*/ 2147483647 h 14"/>
                    <a:gd name="T10" fmla="*/ 0 w 28"/>
                    <a:gd name="T11" fmla="*/ 2147483647 h 14"/>
                    <a:gd name="T12" fmla="*/ 2147483647 w 28"/>
                    <a:gd name="T13" fmla="*/ 2147483647 h 14"/>
                    <a:gd name="T14" fmla="*/ 2147483647 w 28"/>
                    <a:gd name="T15" fmla="*/ 2147483647 h 14"/>
                    <a:gd name="T16" fmla="*/ 2147483647 w 28"/>
                    <a:gd name="T17" fmla="*/ 2147483647 h 14"/>
                    <a:gd name="T18" fmla="*/ 2147483647 w 28"/>
                    <a:gd name="T19" fmla="*/ 2147483647 h 14"/>
                    <a:gd name="T20" fmla="*/ 2147483647 w 28"/>
                    <a:gd name="T21" fmla="*/ 2147483647 h 14"/>
                    <a:gd name="T22" fmla="*/ 2147483647 w 28"/>
                    <a:gd name="T23" fmla="*/ 2147483647 h 14"/>
                    <a:gd name="T24" fmla="*/ 2147483647 w 28"/>
                    <a:gd name="T25" fmla="*/ 2147483647 h 14"/>
                    <a:gd name="T26" fmla="*/ 2147483647 w 28"/>
                    <a:gd name="T27" fmla="*/ 2147483647 h 14"/>
                    <a:gd name="T28" fmla="*/ 2147483647 w 28"/>
                    <a:gd name="T29" fmla="*/ 2147483647 h 14"/>
                    <a:gd name="T30" fmla="*/ 2147483647 w 28"/>
                    <a:gd name="T31" fmla="*/ 0 h 14"/>
                    <a:gd name="T32" fmla="*/ 2147483647 w 28"/>
                    <a:gd name="T33" fmla="*/ 0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14"/>
                    <a:gd name="T53" fmla="*/ 28 w 28"/>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14">
                      <a:moveTo>
                        <a:pt x="26" y="0"/>
                      </a:moveTo>
                      <a:lnTo>
                        <a:pt x="20" y="0"/>
                      </a:lnTo>
                      <a:lnTo>
                        <a:pt x="13" y="3"/>
                      </a:lnTo>
                      <a:lnTo>
                        <a:pt x="7" y="5"/>
                      </a:lnTo>
                      <a:lnTo>
                        <a:pt x="1" y="9"/>
                      </a:lnTo>
                      <a:lnTo>
                        <a:pt x="0" y="11"/>
                      </a:lnTo>
                      <a:lnTo>
                        <a:pt x="1" y="13"/>
                      </a:lnTo>
                      <a:lnTo>
                        <a:pt x="2" y="14"/>
                      </a:lnTo>
                      <a:lnTo>
                        <a:pt x="4" y="14"/>
                      </a:lnTo>
                      <a:lnTo>
                        <a:pt x="6" y="13"/>
                      </a:lnTo>
                      <a:lnTo>
                        <a:pt x="10" y="11"/>
                      </a:lnTo>
                      <a:lnTo>
                        <a:pt x="14" y="10"/>
                      </a:lnTo>
                      <a:lnTo>
                        <a:pt x="23" y="9"/>
                      </a:lnTo>
                      <a:lnTo>
                        <a:pt x="25" y="7"/>
                      </a:lnTo>
                      <a:lnTo>
                        <a:pt x="26" y="5"/>
                      </a:lnTo>
                      <a:lnTo>
                        <a:pt x="28" y="0"/>
                      </a:lnTo>
                      <a:lnTo>
                        <a:pt x="2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2" name="Freeform 397"/>
                <p:cNvSpPr>
                  <a:spLocks/>
                </p:cNvSpPr>
                <p:nvPr/>
              </p:nvSpPr>
              <p:spPr bwMode="auto">
                <a:xfrm>
                  <a:off x="5290063" y="1871720"/>
                  <a:ext cx="26637" cy="11839"/>
                </a:xfrm>
                <a:custGeom>
                  <a:avLst/>
                  <a:gdLst>
                    <a:gd name="T0" fmla="*/ 2147483647 w 19"/>
                    <a:gd name="T1" fmla="*/ 2147483647 h 8"/>
                    <a:gd name="T2" fmla="*/ 2147483647 w 19"/>
                    <a:gd name="T3" fmla="*/ 0 h 8"/>
                    <a:gd name="T4" fmla="*/ 2147483647 w 19"/>
                    <a:gd name="T5" fmla="*/ 0 h 8"/>
                    <a:gd name="T6" fmla="*/ 2147483647 w 19"/>
                    <a:gd name="T7" fmla="*/ 0 h 8"/>
                    <a:gd name="T8" fmla="*/ 2147483647 w 19"/>
                    <a:gd name="T9" fmla="*/ 2147483647 h 8"/>
                    <a:gd name="T10" fmla="*/ 0 w 19"/>
                    <a:gd name="T11" fmla="*/ 2147483647 h 8"/>
                    <a:gd name="T12" fmla="*/ 0 w 19"/>
                    <a:gd name="T13" fmla="*/ 2147483647 h 8"/>
                    <a:gd name="T14" fmla="*/ 0 w 19"/>
                    <a:gd name="T15" fmla="*/ 2147483647 h 8"/>
                    <a:gd name="T16" fmla="*/ 2147483647 w 19"/>
                    <a:gd name="T17" fmla="*/ 2147483647 h 8"/>
                    <a:gd name="T18" fmla="*/ 2147483647 w 19"/>
                    <a:gd name="T19" fmla="*/ 2147483647 h 8"/>
                    <a:gd name="T20" fmla="*/ 2147483647 w 19"/>
                    <a:gd name="T21" fmla="*/ 2147483647 h 8"/>
                    <a:gd name="T22" fmla="*/ 2147483647 w 19"/>
                    <a:gd name="T23" fmla="*/ 2147483647 h 8"/>
                    <a:gd name="T24" fmla="*/ 2147483647 w 19"/>
                    <a:gd name="T25" fmla="*/ 2147483647 h 8"/>
                    <a:gd name="T26" fmla="*/ 2147483647 w 19"/>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8"/>
                    <a:gd name="T44" fmla="*/ 19 w 19"/>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8">
                      <a:moveTo>
                        <a:pt x="16" y="1"/>
                      </a:moveTo>
                      <a:lnTo>
                        <a:pt x="12" y="0"/>
                      </a:lnTo>
                      <a:lnTo>
                        <a:pt x="9" y="0"/>
                      </a:lnTo>
                      <a:lnTo>
                        <a:pt x="5" y="0"/>
                      </a:lnTo>
                      <a:lnTo>
                        <a:pt x="1" y="1"/>
                      </a:lnTo>
                      <a:lnTo>
                        <a:pt x="0" y="4"/>
                      </a:lnTo>
                      <a:lnTo>
                        <a:pt x="0" y="6"/>
                      </a:lnTo>
                      <a:lnTo>
                        <a:pt x="0" y="7"/>
                      </a:lnTo>
                      <a:lnTo>
                        <a:pt x="1" y="8"/>
                      </a:lnTo>
                      <a:lnTo>
                        <a:pt x="11" y="7"/>
                      </a:lnTo>
                      <a:lnTo>
                        <a:pt x="16" y="6"/>
                      </a:lnTo>
                      <a:lnTo>
                        <a:pt x="18" y="5"/>
                      </a:lnTo>
                      <a:lnTo>
                        <a:pt x="19" y="4"/>
                      </a:lnTo>
                      <a:lnTo>
                        <a:pt x="16"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3" name="Freeform 398"/>
                <p:cNvSpPr>
                  <a:spLocks/>
                </p:cNvSpPr>
                <p:nvPr/>
              </p:nvSpPr>
              <p:spPr bwMode="auto">
                <a:xfrm>
                  <a:off x="5378854" y="1785890"/>
                  <a:ext cx="36997" cy="20718"/>
                </a:xfrm>
                <a:custGeom>
                  <a:avLst/>
                  <a:gdLst>
                    <a:gd name="T0" fmla="*/ 2147483647 w 27"/>
                    <a:gd name="T1" fmla="*/ 0 h 14"/>
                    <a:gd name="T2" fmla="*/ 2147483647 w 27"/>
                    <a:gd name="T3" fmla="*/ 0 h 14"/>
                    <a:gd name="T4" fmla="*/ 2147483647 w 27"/>
                    <a:gd name="T5" fmla="*/ 0 h 14"/>
                    <a:gd name="T6" fmla="*/ 2147483647 w 27"/>
                    <a:gd name="T7" fmla="*/ 2147483647 h 14"/>
                    <a:gd name="T8" fmla="*/ 2147483647 w 27"/>
                    <a:gd name="T9" fmla="*/ 2147483647 h 14"/>
                    <a:gd name="T10" fmla="*/ 2147483647 w 27"/>
                    <a:gd name="T11" fmla="*/ 2147483647 h 14"/>
                    <a:gd name="T12" fmla="*/ 2147483647 w 27"/>
                    <a:gd name="T13" fmla="*/ 2147483647 h 14"/>
                    <a:gd name="T14" fmla="*/ 0 w 27"/>
                    <a:gd name="T15" fmla="*/ 2147483647 h 14"/>
                    <a:gd name="T16" fmla="*/ 2147483647 w 27"/>
                    <a:gd name="T17" fmla="*/ 2147483647 h 14"/>
                    <a:gd name="T18" fmla="*/ 2147483647 w 27"/>
                    <a:gd name="T19" fmla="*/ 2147483647 h 14"/>
                    <a:gd name="T20" fmla="*/ 2147483647 w 27"/>
                    <a:gd name="T21" fmla="*/ 2147483647 h 14"/>
                    <a:gd name="T22" fmla="*/ 2147483647 w 27"/>
                    <a:gd name="T23" fmla="*/ 2147483647 h 14"/>
                    <a:gd name="T24" fmla="*/ 2147483647 w 27"/>
                    <a:gd name="T25" fmla="*/ 2147483647 h 14"/>
                    <a:gd name="T26" fmla="*/ 2147483647 w 27"/>
                    <a:gd name="T27" fmla="*/ 2147483647 h 14"/>
                    <a:gd name="T28" fmla="*/ 2147483647 w 27"/>
                    <a:gd name="T29" fmla="*/ 2147483647 h 14"/>
                    <a:gd name="T30" fmla="*/ 2147483647 w 27"/>
                    <a:gd name="T31" fmla="*/ 2147483647 h 14"/>
                    <a:gd name="T32" fmla="*/ 2147483647 w 27"/>
                    <a:gd name="T33" fmla="*/ 2147483647 h 14"/>
                    <a:gd name="T34" fmla="*/ 2147483647 w 27"/>
                    <a:gd name="T35" fmla="*/ 2147483647 h 14"/>
                    <a:gd name="T36" fmla="*/ 2147483647 w 27"/>
                    <a:gd name="T37" fmla="*/ 2147483647 h 14"/>
                    <a:gd name="T38" fmla="*/ 2147483647 w 27"/>
                    <a:gd name="T39" fmla="*/ 2147483647 h 14"/>
                    <a:gd name="T40" fmla="*/ 2147483647 w 27"/>
                    <a:gd name="T41" fmla="*/ 0 h 14"/>
                    <a:gd name="T42" fmla="*/ 2147483647 w 27"/>
                    <a:gd name="T43" fmla="*/ 0 h 14"/>
                    <a:gd name="T44" fmla="*/ 2147483647 w 27"/>
                    <a:gd name="T45" fmla="*/ 0 h 14"/>
                    <a:gd name="T46" fmla="*/ 2147483647 w 27"/>
                    <a:gd name="T47" fmla="*/ 0 h 14"/>
                    <a:gd name="T48" fmla="*/ 2147483647 w 27"/>
                    <a:gd name="T49" fmla="*/ 0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14"/>
                    <a:gd name="T77" fmla="*/ 27 w 27"/>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14">
                      <a:moveTo>
                        <a:pt x="26" y="0"/>
                      </a:moveTo>
                      <a:lnTo>
                        <a:pt x="26" y="0"/>
                      </a:lnTo>
                      <a:lnTo>
                        <a:pt x="20" y="0"/>
                      </a:lnTo>
                      <a:lnTo>
                        <a:pt x="12" y="2"/>
                      </a:lnTo>
                      <a:lnTo>
                        <a:pt x="7" y="5"/>
                      </a:lnTo>
                      <a:lnTo>
                        <a:pt x="1" y="8"/>
                      </a:lnTo>
                      <a:lnTo>
                        <a:pt x="0" y="11"/>
                      </a:lnTo>
                      <a:lnTo>
                        <a:pt x="1" y="13"/>
                      </a:lnTo>
                      <a:lnTo>
                        <a:pt x="2" y="14"/>
                      </a:lnTo>
                      <a:lnTo>
                        <a:pt x="3" y="14"/>
                      </a:lnTo>
                      <a:lnTo>
                        <a:pt x="6" y="13"/>
                      </a:lnTo>
                      <a:lnTo>
                        <a:pt x="10" y="11"/>
                      </a:lnTo>
                      <a:lnTo>
                        <a:pt x="14" y="10"/>
                      </a:lnTo>
                      <a:lnTo>
                        <a:pt x="22" y="8"/>
                      </a:lnTo>
                      <a:lnTo>
                        <a:pt x="25" y="7"/>
                      </a:lnTo>
                      <a:lnTo>
                        <a:pt x="26" y="5"/>
                      </a:lnTo>
                      <a:lnTo>
                        <a:pt x="27" y="0"/>
                      </a:lnTo>
                      <a:lnTo>
                        <a:pt x="26"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4" name="Freeform 399"/>
                <p:cNvSpPr>
                  <a:spLocks/>
                </p:cNvSpPr>
                <p:nvPr/>
              </p:nvSpPr>
              <p:spPr bwMode="auto">
                <a:xfrm>
                  <a:off x="5288585" y="1870239"/>
                  <a:ext cx="26637" cy="11839"/>
                </a:xfrm>
                <a:custGeom>
                  <a:avLst/>
                  <a:gdLst>
                    <a:gd name="T0" fmla="*/ 2147483647 w 19"/>
                    <a:gd name="T1" fmla="*/ 2147483647 h 8"/>
                    <a:gd name="T2" fmla="*/ 2147483647 w 19"/>
                    <a:gd name="T3" fmla="*/ 2147483647 h 8"/>
                    <a:gd name="T4" fmla="*/ 2147483647 w 19"/>
                    <a:gd name="T5" fmla="*/ 0 h 8"/>
                    <a:gd name="T6" fmla="*/ 2147483647 w 19"/>
                    <a:gd name="T7" fmla="*/ 0 h 8"/>
                    <a:gd name="T8" fmla="*/ 2147483647 w 19"/>
                    <a:gd name="T9" fmla="*/ 0 h 8"/>
                    <a:gd name="T10" fmla="*/ 2147483647 w 19"/>
                    <a:gd name="T11" fmla="*/ 2147483647 h 8"/>
                    <a:gd name="T12" fmla="*/ 2147483647 w 19"/>
                    <a:gd name="T13" fmla="*/ 2147483647 h 8"/>
                    <a:gd name="T14" fmla="*/ 0 w 19"/>
                    <a:gd name="T15" fmla="*/ 2147483647 h 8"/>
                    <a:gd name="T16" fmla="*/ 0 w 19"/>
                    <a:gd name="T17" fmla="*/ 2147483647 h 8"/>
                    <a:gd name="T18" fmla="*/ 0 w 19"/>
                    <a:gd name="T19" fmla="*/ 2147483647 h 8"/>
                    <a:gd name="T20" fmla="*/ 2147483647 w 19"/>
                    <a:gd name="T21" fmla="*/ 2147483647 h 8"/>
                    <a:gd name="T22" fmla="*/ 2147483647 w 19"/>
                    <a:gd name="T23" fmla="*/ 2147483647 h 8"/>
                    <a:gd name="T24" fmla="*/ 2147483647 w 19"/>
                    <a:gd name="T25" fmla="*/ 2147483647 h 8"/>
                    <a:gd name="T26" fmla="*/ 2147483647 w 19"/>
                    <a:gd name="T27" fmla="*/ 2147483647 h 8"/>
                    <a:gd name="T28" fmla="*/ 2147483647 w 19"/>
                    <a:gd name="T29" fmla="*/ 2147483647 h 8"/>
                    <a:gd name="T30" fmla="*/ 2147483647 w 19"/>
                    <a:gd name="T31" fmla="*/ 2147483647 h 8"/>
                    <a:gd name="T32" fmla="*/ 2147483647 w 19"/>
                    <a:gd name="T33" fmla="*/ 2147483647 h 8"/>
                    <a:gd name="T34" fmla="*/ 2147483647 w 19"/>
                    <a:gd name="T35" fmla="*/ 2147483647 h 8"/>
                    <a:gd name="T36" fmla="*/ 2147483647 w 19"/>
                    <a:gd name="T37" fmla="*/ 2147483647 h 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8"/>
                    <a:gd name="T59" fmla="*/ 19 w 19"/>
                    <a:gd name="T60" fmla="*/ 8 h 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8">
                      <a:moveTo>
                        <a:pt x="16" y="1"/>
                      </a:moveTo>
                      <a:lnTo>
                        <a:pt x="16" y="1"/>
                      </a:lnTo>
                      <a:lnTo>
                        <a:pt x="12" y="0"/>
                      </a:lnTo>
                      <a:lnTo>
                        <a:pt x="8" y="0"/>
                      </a:lnTo>
                      <a:lnTo>
                        <a:pt x="5" y="0"/>
                      </a:lnTo>
                      <a:lnTo>
                        <a:pt x="1" y="1"/>
                      </a:lnTo>
                      <a:lnTo>
                        <a:pt x="0" y="4"/>
                      </a:lnTo>
                      <a:lnTo>
                        <a:pt x="0" y="6"/>
                      </a:lnTo>
                      <a:lnTo>
                        <a:pt x="0" y="7"/>
                      </a:lnTo>
                      <a:lnTo>
                        <a:pt x="1" y="8"/>
                      </a:lnTo>
                      <a:lnTo>
                        <a:pt x="11" y="7"/>
                      </a:lnTo>
                      <a:lnTo>
                        <a:pt x="16" y="6"/>
                      </a:lnTo>
                      <a:lnTo>
                        <a:pt x="17" y="5"/>
                      </a:lnTo>
                      <a:lnTo>
                        <a:pt x="19" y="4"/>
                      </a:lnTo>
                      <a:lnTo>
                        <a:pt x="16"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5" name="Freeform 400"/>
                <p:cNvSpPr>
                  <a:spLocks/>
                </p:cNvSpPr>
                <p:nvPr/>
              </p:nvSpPr>
              <p:spPr bwMode="auto">
                <a:xfrm>
                  <a:off x="5216068" y="1973834"/>
                  <a:ext cx="17758" cy="28118"/>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0 w 13"/>
                    <a:gd name="T9" fmla="*/ 2147483647 h 19"/>
                    <a:gd name="T10" fmla="*/ 2147483647 w 13"/>
                    <a:gd name="T11" fmla="*/ 2147483647 h 19"/>
                    <a:gd name="T12" fmla="*/ 2147483647 w 13"/>
                    <a:gd name="T13" fmla="*/ 2147483647 h 19"/>
                    <a:gd name="T14" fmla="*/ 2147483647 w 13"/>
                    <a:gd name="T15" fmla="*/ 0 h 19"/>
                    <a:gd name="T16" fmla="*/ 2147483647 w 13"/>
                    <a:gd name="T17" fmla="*/ 0 h 19"/>
                    <a:gd name="T18" fmla="*/ 2147483647 w 13"/>
                    <a:gd name="T19" fmla="*/ 0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9"/>
                    <a:gd name="T44" fmla="*/ 13 w 13"/>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9">
                      <a:moveTo>
                        <a:pt x="8" y="13"/>
                      </a:moveTo>
                      <a:lnTo>
                        <a:pt x="4" y="18"/>
                      </a:lnTo>
                      <a:lnTo>
                        <a:pt x="3" y="19"/>
                      </a:lnTo>
                      <a:lnTo>
                        <a:pt x="2" y="18"/>
                      </a:lnTo>
                      <a:lnTo>
                        <a:pt x="0" y="13"/>
                      </a:lnTo>
                      <a:lnTo>
                        <a:pt x="2" y="9"/>
                      </a:lnTo>
                      <a:lnTo>
                        <a:pt x="6" y="5"/>
                      </a:lnTo>
                      <a:lnTo>
                        <a:pt x="9" y="0"/>
                      </a:lnTo>
                      <a:lnTo>
                        <a:pt x="11" y="0"/>
                      </a:lnTo>
                      <a:lnTo>
                        <a:pt x="12" y="0"/>
                      </a:lnTo>
                      <a:lnTo>
                        <a:pt x="13" y="1"/>
                      </a:lnTo>
                      <a:lnTo>
                        <a:pt x="13" y="5"/>
                      </a:lnTo>
                      <a:lnTo>
                        <a:pt x="12" y="7"/>
                      </a:lnTo>
                      <a:lnTo>
                        <a:pt x="8"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6" name="Freeform 401"/>
                <p:cNvSpPr>
                  <a:spLocks/>
                </p:cNvSpPr>
                <p:nvPr/>
              </p:nvSpPr>
              <p:spPr bwMode="auto">
                <a:xfrm>
                  <a:off x="5045884" y="1775528"/>
                  <a:ext cx="226420" cy="87313"/>
                </a:xfrm>
                <a:custGeom>
                  <a:avLst/>
                  <a:gdLst>
                    <a:gd name="T0" fmla="*/ 2147483647 w 166"/>
                    <a:gd name="T1" fmla="*/ 2147483647 h 59"/>
                    <a:gd name="T2" fmla="*/ 2147483647 w 166"/>
                    <a:gd name="T3" fmla="*/ 2147483647 h 59"/>
                    <a:gd name="T4" fmla="*/ 2147483647 w 166"/>
                    <a:gd name="T5" fmla="*/ 2147483647 h 59"/>
                    <a:gd name="T6" fmla="*/ 2147483647 w 166"/>
                    <a:gd name="T7" fmla="*/ 2147483647 h 59"/>
                    <a:gd name="T8" fmla="*/ 2147483647 w 166"/>
                    <a:gd name="T9" fmla="*/ 2147483647 h 59"/>
                    <a:gd name="T10" fmla="*/ 2147483647 w 166"/>
                    <a:gd name="T11" fmla="*/ 2147483647 h 59"/>
                    <a:gd name="T12" fmla="*/ 2147483647 w 166"/>
                    <a:gd name="T13" fmla="*/ 2147483647 h 59"/>
                    <a:gd name="T14" fmla="*/ 2147483647 w 166"/>
                    <a:gd name="T15" fmla="*/ 2147483647 h 59"/>
                    <a:gd name="T16" fmla="*/ 2147483647 w 166"/>
                    <a:gd name="T17" fmla="*/ 0 h 59"/>
                    <a:gd name="T18" fmla="*/ 2147483647 w 166"/>
                    <a:gd name="T19" fmla="*/ 2147483647 h 59"/>
                    <a:gd name="T20" fmla="*/ 2147483647 w 166"/>
                    <a:gd name="T21" fmla="*/ 2147483647 h 59"/>
                    <a:gd name="T22" fmla="*/ 2147483647 w 166"/>
                    <a:gd name="T23" fmla="*/ 2147483647 h 59"/>
                    <a:gd name="T24" fmla="*/ 2147483647 w 166"/>
                    <a:gd name="T25" fmla="*/ 2147483647 h 59"/>
                    <a:gd name="T26" fmla="*/ 2147483647 w 166"/>
                    <a:gd name="T27" fmla="*/ 2147483647 h 59"/>
                    <a:gd name="T28" fmla="*/ 2147483647 w 166"/>
                    <a:gd name="T29" fmla="*/ 2147483647 h 59"/>
                    <a:gd name="T30" fmla="*/ 2147483647 w 166"/>
                    <a:gd name="T31" fmla="*/ 2147483647 h 59"/>
                    <a:gd name="T32" fmla="*/ 2147483647 w 166"/>
                    <a:gd name="T33" fmla="*/ 2147483647 h 59"/>
                    <a:gd name="T34" fmla="*/ 2147483647 w 166"/>
                    <a:gd name="T35" fmla="*/ 2147483647 h 59"/>
                    <a:gd name="T36" fmla="*/ 0 w 166"/>
                    <a:gd name="T37" fmla="*/ 2147483647 h 59"/>
                    <a:gd name="T38" fmla="*/ 2147483647 w 166"/>
                    <a:gd name="T39" fmla="*/ 2147483647 h 59"/>
                    <a:gd name="T40" fmla="*/ 2147483647 w 166"/>
                    <a:gd name="T41" fmla="*/ 2147483647 h 59"/>
                    <a:gd name="T42" fmla="*/ 2147483647 w 166"/>
                    <a:gd name="T43" fmla="*/ 2147483647 h 59"/>
                    <a:gd name="T44" fmla="*/ 2147483647 w 166"/>
                    <a:gd name="T45" fmla="*/ 2147483647 h 59"/>
                    <a:gd name="T46" fmla="*/ 2147483647 w 166"/>
                    <a:gd name="T47" fmla="*/ 2147483647 h 59"/>
                    <a:gd name="T48" fmla="*/ 2147483647 w 166"/>
                    <a:gd name="T49" fmla="*/ 2147483647 h 59"/>
                    <a:gd name="T50" fmla="*/ 2147483647 w 166"/>
                    <a:gd name="T51" fmla="*/ 2147483647 h 59"/>
                    <a:gd name="T52" fmla="*/ 2147483647 w 166"/>
                    <a:gd name="T53" fmla="*/ 2147483647 h 59"/>
                    <a:gd name="T54" fmla="*/ 2147483647 w 166"/>
                    <a:gd name="T55" fmla="*/ 2147483647 h 59"/>
                    <a:gd name="T56" fmla="*/ 2147483647 w 166"/>
                    <a:gd name="T57" fmla="*/ 2147483647 h 59"/>
                    <a:gd name="T58" fmla="*/ 2147483647 w 166"/>
                    <a:gd name="T59" fmla="*/ 2147483647 h 59"/>
                    <a:gd name="T60" fmla="*/ 2147483647 w 166"/>
                    <a:gd name="T61" fmla="*/ 2147483647 h 59"/>
                    <a:gd name="T62" fmla="*/ 2147483647 w 166"/>
                    <a:gd name="T63" fmla="*/ 2147483647 h 59"/>
                    <a:gd name="T64" fmla="*/ 2147483647 w 166"/>
                    <a:gd name="T65" fmla="*/ 2147483647 h 59"/>
                    <a:gd name="T66" fmla="*/ 2147483647 w 166"/>
                    <a:gd name="T67" fmla="*/ 2147483647 h 59"/>
                    <a:gd name="T68" fmla="*/ 2147483647 w 166"/>
                    <a:gd name="T69" fmla="*/ 2147483647 h 59"/>
                    <a:gd name="T70" fmla="*/ 2147483647 w 166"/>
                    <a:gd name="T71" fmla="*/ 2147483647 h 59"/>
                    <a:gd name="T72" fmla="*/ 2147483647 w 166"/>
                    <a:gd name="T73" fmla="*/ 2147483647 h 59"/>
                    <a:gd name="T74" fmla="*/ 2147483647 w 166"/>
                    <a:gd name="T75" fmla="*/ 2147483647 h 59"/>
                    <a:gd name="T76" fmla="*/ 2147483647 w 166"/>
                    <a:gd name="T77" fmla="*/ 2147483647 h 59"/>
                    <a:gd name="T78" fmla="*/ 2147483647 w 166"/>
                    <a:gd name="T79" fmla="*/ 2147483647 h 59"/>
                    <a:gd name="T80" fmla="*/ 2147483647 w 166"/>
                    <a:gd name="T81" fmla="*/ 2147483647 h 59"/>
                    <a:gd name="T82" fmla="*/ 2147483647 w 166"/>
                    <a:gd name="T83" fmla="*/ 2147483647 h 59"/>
                    <a:gd name="T84" fmla="*/ 2147483647 w 166"/>
                    <a:gd name="T85" fmla="*/ 2147483647 h 59"/>
                    <a:gd name="T86" fmla="*/ 2147483647 w 166"/>
                    <a:gd name="T87" fmla="*/ 2147483647 h 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6"/>
                    <a:gd name="T133" fmla="*/ 0 h 59"/>
                    <a:gd name="T134" fmla="*/ 166 w 166"/>
                    <a:gd name="T135" fmla="*/ 59 h 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6" h="59">
                      <a:moveTo>
                        <a:pt x="162" y="13"/>
                      </a:moveTo>
                      <a:lnTo>
                        <a:pt x="160" y="12"/>
                      </a:lnTo>
                      <a:lnTo>
                        <a:pt x="157" y="11"/>
                      </a:lnTo>
                      <a:lnTo>
                        <a:pt x="152" y="12"/>
                      </a:lnTo>
                      <a:lnTo>
                        <a:pt x="147" y="12"/>
                      </a:lnTo>
                      <a:lnTo>
                        <a:pt x="132" y="7"/>
                      </a:lnTo>
                      <a:lnTo>
                        <a:pt x="124" y="5"/>
                      </a:lnTo>
                      <a:lnTo>
                        <a:pt x="117" y="5"/>
                      </a:lnTo>
                      <a:lnTo>
                        <a:pt x="111" y="6"/>
                      </a:lnTo>
                      <a:lnTo>
                        <a:pt x="108" y="8"/>
                      </a:lnTo>
                      <a:lnTo>
                        <a:pt x="104" y="9"/>
                      </a:lnTo>
                      <a:lnTo>
                        <a:pt x="99" y="9"/>
                      </a:lnTo>
                      <a:lnTo>
                        <a:pt x="94" y="7"/>
                      </a:lnTo>
                      <a:lnTo>
                        <a:pt x="90" y="5"/>
                      </a:lnTo>
                      <a:lnTo>
                        <a:pt x="89" y="4"/>
                      </a:lnTo>
                      <a:lnTo>
                        <a:pt x="87" y="2"/>
                      </a:lnTo>
                      <a:lnTo>
                        <a:pt x="86" y="1"/>
                      </a:lnTo>
                      <a:lnTo>
                        <a:pt x="85" y="0"/>
                      </a:lnTo>
                      <a:lnTo>
                        <a:pt x="82" y="0"/>
                      </a:lnTo>
                      <a:lnTo>
                        <a:pt x="80" y="1"/>
                      </a:lnTo>
                      <a:lnTo>
                        <a:pt x="76" y="4"/>
                      </a:lnTo>
                      <a:lnTo>
                        <a:pt x="73" y="11"/>
                      </a:lnTo>
                      <a:lnTo>
                        <a:pt x="71" y="14"/>
                      </a:lnTo>
                      <a:lnTo>
                        <a:pt x="67" y="15"/>
                      </a:lnTo>
                      <a:lnTo>
                        <a:pt x="62" y="15"/>
                      </a:lnTo>
                      <a:lnTo>
                        <a:pt x="57" y="14"/>
                      </a:lnTo>
                      <a:lnTo>
                        <a:pt x="49" y="12"/>
                      </a:lnTo>
                      <a:lnTo>
                        <a:pt x="33" y="2"/>
                      </a:lnTo>
                      <a:lnTo>
                        <a:pt x="31" y="2"/>
                      </a:lnTo>
                      <a:lnTo>
                        <a:pt x="30" y="4"/>
                      </a:lnTo>
                      <a:lnTo>
                        <a:pt x="25" y="7"/>
                      </a:lnTo>
                      <a:lnTo>
                        <a:pt x="20" y="11"/>
                      </a:lnTo>
                      <a:lnTo>
                        <a:pt x="16" y="13"/>
                      </a:lnTo>
                      <a:lnTo>
                        <a:pt x="12" y="15"/>
                      </a:lnTo>
                      <a:lnTo>
                        <a:pt x="2" y="20"/>
                      </a:lnTo>
                      <a:lnTo>
                        <a:pt x="1" y="21"/>
                      </a:lnTo>
                      <a:lnTo>
                        <a:pt x="0" y="22"/>
                      </a:lnTo>
                      <a:lnTo>
                        <a:pt x="0" y="26"/>
                      </a:lnTo>
                      <a:lnTo>
                        <a:pt x="1" y="28"/>
                      </a:lnTo>
                      <a:lnTo>
                        <a:pt x="5" y="28"/>
                      </a:lnTo>
                      <a:lnTo>
                        <a:pt x="7" y="30"/>
                      </a:lnTo>
                      <a:lnTo>
                        <a:pt x="10" y="30"/>
                      </a:lnTo>
                      <a:lnTo>
                        <a:pt x="11" y="31"/>
                      </a:lnTo>
                      <a:lnTo>
                        <a:pt x="10" y="32"/>
                      </a:lnTo>
                      <a:lnTo>
                        <a:pt x="9" y="34"/>
                      </a:lnTo>
                      <a:lnTo>
                        <a:pt x="6" y="36"/>
                      </a:lnTo>
                      <a:lnTo>
                        <a:pt x="5" y="37"/>
                      </a:lnTo>
                      <a:lnTo>
                        <a:pt x="4" y="38"/>
                      </a:lnTo>
                      <a:lnTo>
                        <a:pt x="2" y="39"/>
                      </a:lnTo>
                      <a:lnTo>
                        <a:pt x="4" y="40"/>
                      </a:lnTo>
                      <a:lnTo>
                        <a:pt x="6" y="41"/>
                      </a:lnTo>
                      <a:lnTo>
                        <a:pt x="10" y="41"/>
                      </a:lnTo>
                      <a:lnTo>
                        <a:pt x="12" y="41"/>
                      </a:lnTo>
                      <a:lnTo>
                        <a:pt x="16" y="44"/>
                      </a:lnTo>
                      <a:lnTo>
                        <a:pt x="20" y="45"/>
                      </a:lnTo>
                      <a:lnTo>
                        <a:pt x="26" y="44"/>
                      </a:lnTo>
                      <a:lnTo>
                        <a:pt x="34" y="41"/>
                      </a:lnTo>
                      <a:lnTo>
                        <a:pt x="42" y="40"/>
                      </a:lnTo>
                      <a:lnTo>
                        <a:pt x="43" y="41"/>
                      </a:lnTo>
                      <a:lnTo>
                        <a:pt x="42" y="44"/>
                      </a:lnTo>
                      <a:lnTo>
                        <a:pt x="38" y="45"/>
                      </a:lnTo>
                      <a:lnTo>
                        <a:pt x="35" y="46"/>
                      </a:lnTo>
                      <a:lnTo>
                        <a:pt x="33" y="49"/>
                      </a:lnTo>
                      <a:lnTo>
                        <a:pt x="33" y="51"/>
                      </a:lnTo>
                      <a:lnTo>
                        <a:pt x="35" y="52"/>
                      </a:lnTo>
                      <a:lnTo>
                        <a:pt x="42" y="54"/>
                      </a:lnTo>
                      <a:lnTo>
                        <a:pt x="45" y="54"/>
                      </a:lnTo>
                      <a:lnTo>
                        <a:pt x="49" y="54"/>
                      </a:lnTo>
                      <a:lnTo>
                        <a:pt x="58" y="54"/>
                      </a:lnTo>
                      <a:lnTo>
                        <a:pt x="67" y="56"/>
                      </a:lnTo>
                      <a:lnTo>
                        <a:pt x="75" y="57"/>
                      </a:lnTo>
                      <a:lnTo>
                        <a:pt x="84" y="57"/>
                      </a:lnTo>
                      <a:lnTo>
                        <a:pt x="96" y="57"/>
                      </a:lnTo>
                      <a:lnTo>
                        <a:pt x="108" y="58"/>
                      </a:lnTo>
                      <a:lnTo>
                        <a:pt x="120" y="59"/>
                      </a:lnTo>
                      <a:lnTo>
                        <a:pt x="132" y="59"/>
                      </a:lnTo>
                      <a:lnTo>
                        <a:pt x="138" y="58"/>
                      </a:lnTo>
                      <a:lnTo>
                        <a:pt x="142" y="56"/>
                      </a:lnTo>
                      <a:lnTo>
                        <a:pt x="146" y="52"/>
                      </a:lnTo>
                      <a:lnTo>
                        <a:pt x="150" y="47"/>
                      </a:lnTo>
                      <a:lnTo>
                        <a:pt x="156" y="38"/>
                      </a:lnTo>
                      <a:lnTo>
                        <a:pt x="162" y="27"/>
                      </a:lnTo>
                      <a:lnTo>
                        <a:pt x="165" y="24"/>
                      </a:lnTo>
                      <a:lnTo>
                        <a:pt x="166" y="22"/>
                      </a:lnTo>
                      <a:lnTo>
                        <a:pt x="166" y="20"/>
                      </a:lnTo>
                      <a:lnTo>
                        <a:pt x="165" y="17"/>
                      </a:lnTo>
                      <a:lnTo>
                        <a:pt x="164" y="14"/>
                      </a:lnTo>
                      <a:lnTo>
                        <a:pt x="162"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7" name="Freeform 402"/>
                <p:cNvSpPr>
                  <a:spLocks/>
                </p:cNvSpPr>
                <p:nvPr/>
              </p:nvSpPr>
              <p:spPr bwMode="auto">
                <a:xfrm>
                  <a:off x="5214589" y="1972351"/>
                  <a:ext cx="17758" cy="28117"/>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0 w 13"/>
                    <a:gd name="T13" fmla="*/ 2147483647 h 19"/>
                    <a:gd name="T14" fmla="*/ 2147483647 w 13"/>
                    <a:gd name="T15" fmla="*/ 2147483647 h 19"/>
                    <a:gd name="T16" fmla="*/ 2147483647 w 13"/>
                    <a:gd name="T17" fmla="*/ 2147483647 h 19"/>
                    <a:gd name="T18" fmla="*/ 2147483647 w 13"/>
                    <a:gd name="T19" fmla="*/ 0 h 19"/>
                    <a:gd name="T20" fmla="*/ 2147483647 w 13"/>
                    <a:gd name="T21" fmla="*/ 0 h 19"/>
                    <a:gd name="T22" fmla="*/ 2147483647 w 13"/>
                    <a:gd name="T23" fmla="*/ 0 h 19"/>
                    <a:gd name="T24" fmla="*/ 2147483647 w 13"/>
                    <a:gd name="T25" fmla="*/ 0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9"/>
                    <a:gd name="T59" fmla="*/ 13 w 13"/>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9">
                      <a:moveTo>
                        <a:pt x="8" y="13"/>
                      </a:moveTo>
                      <a:lnTo>
                        <a:pt x="8" y="13"/>
                      </a:lnTo>
                      <a:lnTo>
                        <a:pt x="4" y="18"/>
                      </a:lnTo>
                      <a:lnTo>
                        <a:pt x="3" y="19"/>
                      </a:lnTo>
                      <a:lnTo>
                        <a:pt x="1" y="18"/>
                      </a:lnTo>
                      <a:lnTo>
                        <a:pt x="0" y="13"/>
                      </a:lnTo>
                      <a:lnTo>
                        <a:pt x="1" y="9"/>
                      </a:lnTo>
                      <a:lnTo>
                        <a:pt x="5" y="4"/>
                      </a:lnTo>
                      <a:lnTo>
                        <a:pt x="9" y="0"/>
                      </a:lnTo>
                      <a:lnTo>
                        <a:pt x="10" y="0"/>
                      </a:lnTo>
                      <a:lnTo>
                        <a:pt x="12" y="0"/>
                      </a:lnTo>
                      <a:lnTo>
                        <a:pt x="13" y="1"/>
                      </a:lnTo>
                      <a:lnTo>
                        <a:pt x="13" y="4"/>
                      </a:lnTo>
                      <a:lnTo>
                        <a:pt x="12" y="7"/>
                      </a:lnTo>
                      <a:lnTo>
                        <a:pt x="8"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8" name="Freeform 403"/>
                <p:cNvSpPr>
                  <a:spLocks/>
                </p:cNvSpPr>
                <p:nvPr/>
              </p:nvSpPr>
              <p:spPr bwMode="auto">
                <a:xfrm>
                  <a:off x="5042927" y="1774051"/>
                  <a:ext cx="227900" cy="87312"/>
                </a:xfrm>
                <a:custGeom>
                  <a:avLst/>
                  <a:gdLst>
                    <a:gd name="T0" fmla="*/ 2147483647 w 167"/>
                    <a:gd name="T1" fmla="*/ 2147483647 h 59"/>
                    <a:gd name="T2" fmla="*/ 2147483647 w 167"/>
                    <a:gd name="T3" fmla="*/ 2147483647 h 59"/>
                    <a:gd name="T4" fmla="*/ 2147483647 w 167"/>
                    <a:gd name="T5" fmla="*/ 2147483647 h 59"/>
                    <a:gd name="T6" fmla="*/ 2147483647 w 167"/>
                    <a:gd name="T7" fmla="*/ 2147483647 h 59"/>
                    <a:gd name="T8" fmla="*/ 2147483647 w 167"/>
                    <a:gd name="T9" fmla="*/ 2147483647 h 59"/>
                    <a:gd name="T10" fmla="*/ 2147483647 w 167"/>
                    <a:gd name="T11" fmla="*/ 2147483647 h 59"/>
                    <a:gd name="T12" fmla="*/ 2147483647 w 167"/>
                    <a:gd name="T13" fmla="*/ 2147483647 h 59"/>
                    <a:gd name="T14" fmla="*/ 2147483647 w 167"/>
                    <a:gd name="T15" fmla="*/ 2147483647 h 59"/>
                    <a:gd name="T16" fmla="*/ 2147483647 w 167"/>
                    <a:gd name="T17" fmla="*/ 2147483647 h 59"/>
                    <a:gd name="T18" fmla="*/ 2147483647 w 167"/>
                    <a:gd name="T19" fmla="*/ 2147483647 h 59"/>
                    <a:gd name="T20" fmla="*/ 2147483647 w 167"/>
                    <a:gd name="T21" fmla="*/ 2147483647 h 59"/>
                    <a:gd name="T22" fmla="*/ 2147483647 w 167"/>
                    <a:gd name="T23" fmla="*/ 0 h 59"/>
                    <a:gd name="T24" fmla="*/ 2147483647 w 167"/>
                    <a:gd name="T25" fmla="*/ 0 h 59"/>
                    <a:gd name="T26" fmla="*/ 2147483647 w 167"/>
                    <a:gd name="T27" fmla="*/ 2147483647 h 59"/>
                    <a:gd name="T28" fmla="*/ 2147483647 w 167"/>
                    <a:gd name="T29" fmla="*/ 2147483647 h 59"/>
                    <a:gd name="T30" fmla="*/ 2147483647 w 167"/>
                    <a:gd name="T31" fmla="*/ 2147483647 h 59"/>
                    <a:gd name="T32" fmla="*/ 2147483647 w 167"/>
                    <a:gd name="T33" fmla="*/ 2147483647 h 59"/>
                    <a:gd name="T34" fmla="*/ 2147483647 w 167"/>
                    <a:gd name="T35" fmla="*/ 2147483647 h 59"/>
                    <a:gd name="T36" fmla="*/ 2147483647 w 167"/>
                    <a:gd name="T37" fmla="*/ 2147483647 h 59"/>
                    <a:gd name="T38" fmla="*/ 2147483647 w 167"/>
                    <a:gd name="T39" fmla="*/ 2147483647 h 59"/>
                    <a:gd name="T40" fmla="*/ 2147483647 w 167"/>
                    <a:gd name="T41" fmla="*/ 2147483647 h 59"/>
                    <a:gd name="T42" fmla="*/ 2147483647 w 167"/>
                    <a:gd name="T43" fmla="*/ 2147483647 h 59"/>
                    <a:gd name="T44" fmla="*/ 2147483647 w 167"/>
                    <a:gd name="T45" fmla="*/ 2147483647 h 59"/>
                    <a:gd name="T46" fmla="*/ 2147483647 w 167"/>
                    <a:gd name="T47" fmla="*/ 2147483647 h 59"/>
                    <a:gd name="T48" fmla="*/ 0 w 167"/>
                    <a:gd name="T49" fmla="*/ 2147483647 h 59"/>
                    <a:gd name="T50" fmla="*/ 0 w 167"/>
                    <a:gd name="T51" fmla="*/ 2147483647 h 59"/>
                    <a:gd name="T52" fmla="*/ 2147483647 w 167"/>
                    <a:gd name="T53" fmla="*/ 2147483647 h 59"/>
                    <a:gd name="T54" fmla="*/ 2147483647 w 167"/>
                    <a:gd name="T55" fmla="*/ 2147483647 h 59"/>
                    <a:gd name="T56" fmla="*/ 2147483647 w 167"/>
                    <a:gd name="T57" fmla="*/ 2147483647 h 59"/>
                    <a:gd name="T58" fmla="*/ 2147483647 w 167"/>
                    <a:gd name="T59" fmla="*/ 2147483647 h 59"/>
                    <a:gd name="T60" fmla="*/ 2147483647 w 167"/>
                    <a:gd name="T61" fmla="*/ 2147483647 h 59"/>
                    <a:gd name="T62" fmla="*/ 2147483647 w 167"/>
                    <a:gd name="T63" fmla="*/ 2147483647 h 59"/>
                    <a:gd name="T64" fmla="*/ 2147483647 w 167"/>
                    <a:gd name="T65" fmla="*/ 2147483647 h 59"/>
                    <a:gd name="T66" fmla="*/ 2147483647 w 167"/>
                    <a:gd name="T67" fmla="*/ 2147483647 h 59"/>
                    <a:gd name="T68" fmla="*/ 2147483647 w 167"/>
                    <a:gd name="T69" fmla="*/ 2147483647 h 59"/>
                    <a:gd name="T70" fmla="*/ 2147483647 w 167"/>
                    <a:gd name="T71" fmla="*/ 2147483647 h 59"/>
                    <a:gd name="T72" fmla="*/ 2147483647 w 167"/>
                    <a:gd name="T73" fmla="*/ 2147483647 h 59"/>
                    <a:gd name="T74" fmla="*/ 2147483647 w 167"/>
                    <a:gd name="T75" fmla="*/ 2147483647 h 59"/>
                    <a:gd name="T76" fmla="*/ 2147483647 w 167"/>
                    <a:gd name="T77" fmla="*/ 2147483647 h 59"/>
                    <a:gd name="T78" fmla="*/ 2147483647 w 167"/>
                    <a:gd name="T79" fmla="*/ 2147483647 h 59"/>
                    <a:gd name="T80" fmla="*/ 2147483647 w 167"/>
                    <a:gd name="T81" fmla="*/ 2147483647 h 59"/>
                    <a:gd name="T82" fmla="*/ 2147483647 w 167"/>
                    <a:gd name="T83" fmla="*/ 2147483647 h 59"/>
                    <a:gd name="T84" fmla="*/ 2147483647 w 167"/>
                    <a:gd name="T85" fmla="*/ 2147483647 h 59"/>
                    <a:gd name="T86" fmla="*/ 2147483647 w 167"/>
                    <a:gd name="T87" fmla="*/ 2147483647 h 59"/>
                    <a:gd name="T88" fmla="*/ 2147483647 w 167"/>
                    <a:gd name="T89" fmla="*/ 2147483647 h 59"/>
                    <a:gd name="T90" fmla="*/ 2147483647 w 167"/>
                    <a:gd name="T91" fmla="*/ 2147483647 h 59"/>
                    <a:gd name="T92" fmla="*/ 2147483647 w 167"/>
                    <a:gd name="T93" fmla="*/ 2147483647 h 59"/>
                    <a:gd name="T94" fmla="*/ 2147483647 w 167"/>
                    <a:gd name="T95" fmla="*/ 2147483647 h 59"/>
                    <a:gd name="T96" fmla="*/ 2147483647 w 167"/>
                    <a:gd name="T97" fmla="*/ 2147483647 h 59"/>
                    <a:gd name="T98" fmla="*/ 2147483647 w 167"/>
                    <a:gd name="T99" fmla="*/ 2147483647 h 59"/>
                    <a:gd name="T100" fmla="*/ 2147483647 w 167"/>
                    <a:gd name="T101" fmla="*/ 2147483647 h 59"/>
                    <a:gd name="T102" fmla="*/ 2147483647 w 167"/>
                    <a:gd name="T103" fmla="*/ 2147483647 h 59"/>
                    <a:gd name="T104" fmla="*/ 2147483647 w 167"/>
                    <a:gd name="T105" fmla="*/ 2147483647 h 59"/>
                    <a:gd name="T106" fmla="*/ 2147483647 w 167"/>
                    <a:gd name="T107" fmla="*/ 2147483647 h 59"/>
                    <a:gd name="T108" fmla="*/ 2147483647 w 167"/>
                    <a:gd name="T109" fmla="*/ 2147483647 h 59"/>
                    <a:gd name="T110" fmla="*/ 2147483647 w 167"/>
                    <a:gd name="T111" fmla="*/ 2147483647 h 59"/>
                    <a:gd name="T112" fmla="*/ 2147483647 w 167"/>
                    <a:gd name="T113" fmla="*/ 2147483647 h 59"/>
                    <a:gd name="T114" fmla="*/ 2147483647 w 167"/>
                    <a:gd name="T115" fmla="*/ 2147483647 h 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7"/>
                    <a:gd name="T175" fmla="*/ 0 h 59"/>
                    <a:gd name="T176" fmla="*/ 167 w 167"/>
                    <a:gd name="T177" fmla="*/ 59 h 5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7" h="59">
                      <a:moveTo>
                        <a:pt x="163" y="13"/>
                      </a:moveTo>
                      <a:lnTo>
                        <a:pt x="163" y="13"/>
                      </a:lnTo>
                      <a:lnTo>
                        <a:pt x="160" y="12"/>
                      </a:lnTo>
                      <a:lnTo>
                        <a:pt x="158" y="10"/>
                      </a:lnTo>
                      <a:lnTo>
                        <a:pt x="153" y="12"/>
                      </a:lnTo>
                      <a:lnTo>
                        <a:pt x="148" y="12"/>
                      </a:lnTo>
                      <a:lnTo>
                        <a:pt x="133" y="7"/>
                      </a:lnTo>
                      <a:lnTo>
                        <a:pt x="125" y="5"/>
                      </a:lnTo>
                      <a:lnTo>
                        <a:pt x="117" y="5"/>
                      </a:lnTo>
                      <a:lnTo>
                        <a:pt x="112" y="6"/>
                      </a:lnTo>
                      <a:lnTo>
                        <a:pt x="108" y="8"/>
                      </a:lnTo>
                      <a:lnTo>
                        <a:pt x="105" y="9"/>
                      </a:lnTo>
                      <a:lnTo>
                        <a:pt x="100" y="9"/>
                      </a:lnTo>
                      <a:lnTo>
                        <a:pt x="94" y="7"/>
                      </a:lnTo>
                      <a:lnTo>
                        <a:pt x="91" y="5"/>
                      </a:lnTo>
                      <a:lnTo>
                        <a:pt x="89" y="3"/>
                      </a:lnTo>
                      <a:lnTo>
                        <a:pt x="88" y="2"/>
                      </a:lnTo>
                      <a:lnTo>
                        <a:pt x="87" y="1"/>
                      </a:lnTo>
                      <a:lnTo>
                        <a:pt x="86" y="0"/>
                      </a:lnTo>
                      <a:lnTo>
                        <a:pt x="83" y="0"/>
                      </a:lnTo>
                      <a:lnTo>
                        <a:pt x="80" y="1"/>
                      </a:lnTo>
                      <a:lnTo>
                        <a:pt x="77" y="3"/>
                      </a:lnTo>
                      <a:lnTo>
                        <a:pt x="74" y="10"/>
                      </a:lnTo>
                      <a:lnTo>
                        <a:pt x="72" y="14"/>
                      </a:lnTo>
                      <a:lnTo>
                        <a:pt x="68" y="15"/>
                      </a:lnTo>
                      <a:lnTo>
                        <a:pt x="63" y="15"/>
                      </a:lnTo>
                      <a:lnTo>
                        <a:pt x="58" y="14"/>
                      </a:lnTo>
                      <a:lnTo>
                        <a:pt x="50" y="12"/>
                      </a:lnTo>
                      <a:lnTo>
                        <a:pt x="33" y="2"/>
                      </a:lnTo>
                      <a:lnTo>
                        <a:pt x="32" y="2"/>
                      </a:lnTo>
                      <a:lnTo>
                        <a:pt x="31" y="3"/>
                      </a:lnTo>
                      <a:lnTo>
                        <a:pt x="26" y="7"/>
                      </a:lnTo>
                      <a:lnTo>
                        <a:pt x="21" y="10"/>
                      </a:lnTo>
                      <a:lnTo>
                        <a:pt x="17" y="13"/>
                      </a:lnTo>
                      <a:lnTo>
                        <a:pt x="13" y="15"/>
                      </a:lnTo>
                      <a:lnTo>
                        <a:pt x="3" y="20"/>
                      </a:lnTo>
                      <a:lnTo>
                        <a:pt x="2" y="21"/>
                      </a:lnTo>
                      <a:lnTo>
                        <a:pt x="0" y="22"/>
                      </a:lnTo>
                      <a:lnTo>
                        <a:pt x="0" y="26"/>
                      </a:lnTo>
                      <a:lnTo>
                        <a:pt x="2" y="28"/>
                      </a:lnTo>
                      <a:lnTo>
                        <a:pt x="6" y="28"/>
                      </a:lnTo>
                      <a:lnTo>
                        <a:pt x="8" y="29"/>
                      </a:lnTo>
                      <a:lnTo>
                        <a:pt x="11" y="29"/>
                      </a:lnTo>
                      <a:lnTo>
                        <a:pt x="12" y="31"/>
                      </a:lnTo>
                      <a:lnTo>
                        <a:pt x="11" y="32"/>
                      </a:lnTo>
                      <a:lnTo>
                        <a:pt x="9" y="34"/>
                      </a:lnTo>
                      <a:lnTo>
                        <a:pt x="7" y="35"/>
                      </a:lnTo>
                      <a:lnTo>
                        <a:pt x="6" y="37"/>
                      </a:lnTo>
                      <a:lnTo>
                        <a:pt x="4" y="38"/>
                      </a:lnTo>
                      <a:lnTo>
                        <a:pt x="3" y="39"/>
                      </a:lnTo>
                      <a:lnTo>
                        <a:pt x="4" y="40"/>
                      </a:lnTo>
                      <a:lnTo>
                        <a:pt x="7" y="41"/>
                      </a:lnTo>
                      <a:lnTo>
                        <a:pt x="11" y="41"/>
                      </a:lnTo>
                      <a:lnTo>
                        <a:pt x="13" y="41"/>
                      </a:lnTo>
                      <a:lnTo>
                        <a:pt x="17" y="44"/>
                      </a:lnTo>
                      <a:lnTo>
                        <a:pt x="21" y="45"/>
                      </a:lnTo>
                      <a:lnTo>
                        <a:pt x="27" y="44"/>
                      </a:lnTo>
                      <a:lnTo>
                        <a:pt x="35" y="41"/>
                      </a:lnTo>
                      <a:lnTo>
                        <a:pt x="42" y="40"/>
                      </a:lnTo>
                      <a:lnTo>
                        <a:pt x="44" y="41"/>
                      </a:lnTo>
                      <a:lnTo>
                        <a:pt x="42" y="44"/>
                      </a:lnTo>
                      <a:lnTo>
                        <a:pt x="39" y="45"/>
                      </a:lnTo>
                      <a:lnTo>
                        <a:pt x="36" y="46"/>
                      </a:lnTo>
                      <a:lnTo>
                        <a:pt x="33" y="48"/>
                      </a:lnTo>
                      <a:lnTo>
                        <a:pt x="33" y="51"/>
                      </a:lnTo>
                      <a:lnTo>
                        <a:pt x="36" y="52"/>
                      </a:lnTo>
                      <a:lnTo>
                        <a:pt x="42" y="54"/>
                      </a:lnTo>
                      <a:lnTo>
                        <a:pt x="46" y="54"/>
                      </a:lnTo>
                      <a:lnTo>
                        <a:pt x="50" y="54"/>
                      </a:lnTo>
                      <a:lnTo>
                        <a:pt x="59" y="54"/>
                      </a:lnTo>
                      <a:lnTo>
                        <a:pt x="68" y="55"/>
                      </a:lnTo>
                      <a:lnTo>
                        <a:pt x="75" y="57"/>
                      </a:lnTo>
                      <a:lnTo>
                        <a:pt x="84" y="57"/>
                      </a:lnTo>
                      <a:lnTo>
                        <a:pt x="97" y="57"/>
                      </a:lnTo>
                      <a:lnTo>
                        <a:pt x="108" y="58"/>
                      </a:lnTo>
                      <a:lnTo>
                        <a:pt x="121" y="59"/>
                      </a:lnTo>
                      <a:lnTo>
                        <a:pt x="133" y="59"/>
                      </a:lnTo>
                      <a:lnTo>
                        <a:pt x="139" y="58"/>
                      </a:lnTo>
                      <a:lnTo>
                        <a:pt x="143" y="55"/>
                      </a:lnTo>
                      <a:lnTo>
                        <a:pt x="146" y="52"/>
                      </a:lnTo>
                      <a:lnTo>
                        <a:pt x="150" y="47"/>
                      </a:lnTo>
                      <a:lnTo>
                        <a:pt x="157" y="38"/>
                      </a:lnTo>
                      <a:lnTo>
                        <a:pt x="163" y="27"/>
                      </a:lnTo>
                      <a:lnTo>
                        <a:pt x="166" y="23"/>
                      </a:lnTo>
                      <a:lnTo>
                        <a:pt x="167" y="22"/>
                      </a:lnTo>
                      <a:lnTo>
                        <a:pt x="167" y="20"/>
                      </a:lnTo>
                      <a:lnTo>
                        <a:pt x="166" y="16"/>
                      </a:lnTo>
                      <a:lnTo>
                        <a:pt x="164" y="14"/>
                      </a:lnTo>
                      <a:lnTo>
                        <a:pt x="163"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69" name="Freeform 404"/>
                <p:cNvSpPr>
                  <a:spLocks/>
                </p:cNvSpPr>
                <p:nvPr/>
              </p:nvSpPr>
              <p:spPr bwMode="auto">
                <a:xfrm>
                  <a:off x="5111001" y="1908716"/>
                  <a:ext cx="90272" cy="47356"/>
                </a:xfrm>
                <a:custGeom>
                  <a:avLst/>
                  <a:gdLst>
                    <a:gd name="T0" fmla="*/ 2147483647 w 66"/>
                    <a:gd name="T1" fmla="*/ 2147483647 h 32"/>
                    <a:gd name="T2" fmla="*/ 2147483647 w 66"/>
                    <a:gd name="T3" fmla="*/ 2147483647 h 32"/>
                    <a:gd name="T4" fmla="*/ 2147483647 w 66"/>
                    <a:gd name="T5" fmla="*/ 2147483647 h 32"/>
                    <a:gd name="T6" fmla="*/ 2147483647 w 66"/>
                    <a:gd name="T7" fmla="*/ 2147483647 h 32"/>
                    <a:gd name="T8" fmla="*/ 2147483647 w 66"/>
                    <a:gd name="T9" fmla="*/ 2147483647 h 32"/>
                    <a:gd name="T10" fmla="*/ 2147483647 w 66"/>
                    <a:gd name="T11" fmla="*/ 2147483647 h 32"/>
                    <a:gd name="T12" fmla="*/ 2147483647 w 66"/>
                    <a:gd name="T13" fmla="*/ 2147483647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2147483647 w 66"/>
                    <a:gd name="T25" fmla="*/ 2147483647 h 32"/>
                    <a:gd name="T26" fmla="*/ 2147483647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0 h 32"/>
                    <a:gd name="T40" fmla="*/ 2147483647 w 66"/>
                    <a:gd name="T41" fmla="*/ 0 h 32"/>
                    <a:gd name="T42" fmla="*/ 2147483647 w 66"/>
                    <a:gd name="T43" fmla="*/ 0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0 w 66"/>
                    <a:gd name="T59" fmla="*/ 2147483647 h 32"/>
                    <a:gd name="T60" fmla="*/ 0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2147483647 w 66"/>
                    <a:gd name="T73" fmla="*/ 2147483647 h 32"/>
                    <a:gd name="T74" fmla="*/ 2147483647 w 66"/>
                    <a:gd name="T75" fmla="*/ 2147483647 h 32"/>
                    <a:gd name="T76" fmla="*/ 2147483647 w 66"/>
                    <a:gd name="T77" fmla="*/ 2147483647 h 32"/>
                    <a:gd name="T78" fmla="*/ 2147483647 w 66"/>
                    <a:gd name="T79" fmla="*/ 2147483647 h 32"/>
                    <a:gd name="T80" fmla="*/ 2147483647 w 66"/>
                    <a:gd name="T81" fmla="*/ 2147483647 h 32"/>
                    <a:gd name="T82" fmla="*/ 2147483647 w 66"/>
                    <a:gd name="T83" fmla="*/ 2147483647 h 32"/>
                    <a:gd name="T84" fmla="*/ 2147483647 w 66"/>
                    <a:gd name="T85" fmla="*/ 2147483647 h 32"/>
                    <a:gd name="T86" fmla="*/ 2147483647 w 66"/>
                    <a:gd name="T87" fmla="*/ 2147483647 h 32"/>
                    <a:gd name="T88" fmla="*/ 2147483647 w 66"/>
                    <a:gd name="T89" fmla="*/ 2147483647 h 32"/>
                    <a:gd name="T90" fmla="*/ 2147483647 w 66"/>
                    <a:gd name="T91" fmla="*/ 2147483647 h 32"/>
                    <a:gd name="T92" fmla="*/ 2147483647 w 66"/>
                    <a:gd name="T93" fmla="*/ 2147483647 h 32"/>
                    <a:gd name="T94" fmla="*/ 2147483647 w 66"/>
                    <a:gd name="T95" fmla="*/ 2147483647 h 32"/>
                    <a:gd name="T96" fmla="*/ 2147483647 w 66"/>
                    <a:gd name="T97" fmla="*/ 2147483647 h 32"/>
                    <a:gd name="T98" fmla="*/ 2147483647 w 66"/>
                    <a:gd name="T99" fmla="*/ 2147483647 h 32"/>
                    <a:gd name="T100" fmla="*/ 2147483647 w 66"/>
                    <a:gd name="T101" fmla="*/ 2147483647 h 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6"/>
                    <a:gd name="T154" fmla="*/ 0 h 32"/>
                    <a:gd name="T155" fmla="*/ 66 w 66"/>
                    <a:gd name="T156" fmla="*/ 32 h 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6" h="32">
                      <a:moveTo>
                        <a:pt x="65" y="19"/>
                      </a:moveTo>
                      <a:lnTo>
                        <a:pt x="66" y="18"/>
                      </a:lnTo>
                      <a:lnTo>
                        <a:pt x="66" y="17"/>
                      </a:lnTo>
                      <a:lnTo>
                        <a:pt x="66" y="14"/>
                      </a:lnTo>
                      <a:lnTo>
                        <a:pt x="65" y="13"/>
                      </a:lnTo>
                      <a:lnTo>
                        <a:pt x="63" y="13"/>
                      </a:lnTo>
                      <a:lnTo>
                        <a:pt x="62" y="12"/>
                      </a:lnTo>
                      <a:lnTo>
                        <a:pt x="58" y="11"/>
                      </a:lnTo>
                      <a:lnTo>
                        <a:pt x="55" y="11"/>
                      </a:lnTo>
                      <a:lnTo>
                        <a:pt x="52" y="12"/>
                      </a:lnTo>
                      <a:lnTo>
                        <a:pt x="50" y="14"/>
                      </a:lnTo>
                      <a:lnTo>
                        <a:pt x="48" y="12"/>
                      </a:lnTo>
                      <a:lnTo>
                        <a:pt x="47" y="10"/>
                      </a:lnTo>
                      <a:lnTo>
                        <a:pt x="46" y="8"/>
                      </a:lnTo>
                      <a:lnTo>
                        <a:pt x="44" y="10"/>
                      </a:lnTo>
                      <a:lnTo>
                        <a:pt x="42" y="10"/>
                      </a:lnTo>
                      <a:lnTo>
                        <a:pt x="39" y="10"/>
                      </a:lnTo>
                      <a:lnTo>
                        <a:pt x="38" y="10"/>
                      </a:lnTo>
                      <a:lnTo>
                        <a:pt x="36" y="2"/>
                      </a:lnTo>
                      <a:lnTo>
                        <a:pt x="33" y="0"/>
                      </a:lnTo>
                      <a:lnTo>
                        <a:pt x="32" y="0"/>
                      </a:lnTo>
                      <a:lnTo>
                        <a:pt x="30" y="0"/>
                      </a:lnTo>
                      <a:lnTo>
                        <a:pt x="27" y="2"/>
                      </a:lnTo>
                      <a:lnTo>
                        <a:pt x="23" y="2"/>
                      </a:lnTo>
                      <a:lnTo>
                        <a:pt x="16" y="2"/>
                      </a:lnTo>
                      <a:lnTo>
                        <a:pt x="9" y="5"/>
                      </a:lnTo>
                      <a:lnTo>
                        <a:pt x="5" y="7"/>
                      </a:lnTo>
                      <a:lnTo>
                        <a:pt x="4" y="10"/>
                      </a:lnTo>
                      <a:lnTo>
                        <a:pt x="1" y="14"/>
                      </a:lnTo>
                      <a:lnTo>
                        <a:pt x="0" y="20"/>
                      </a:lnTo>
                      <a:lnTo>
                        <a:pt x="0" y="26"/>
                      </a:lnTo>
                      <a:lnTo>
                        <a:pt x="1" y="31"/>
                      </a:lnTo>
                      <a:lnTo>
                        <a:pt x="3" y="32"/>
                      </a:lnTo>
                      <a:lnTo>
                        <a:pt x="5" y="31"/>
                      </a:lnTo>
                      <a:lnTo>
                        <a:pt x="8" y="26"/>
                      </a:lnTo>
                      <a:lnTo>
                        <a:pt x="11" y="24"/>
                      </a:lnTo>
                      <a:lnTo>
                        <a:pt x="16" y="24"/>
                      </a:lnTo>
                      <a:lnTo>
                        <a:pt x="23" y="25"/>
                      </a:lnTo>
                      <a:lnTo>
                        <a:pt x="27" y="24"/>
                      </a:lnTo>
                      <a:lnTo>
                        <a:pt x="28" y="23"/>
                      </a:lnTo>
                      <a:lnTo>
                        <a:pt x="29" y="23"/>
                      </a:lnTo>
                      <a:lnTo>
                        <a:pt x="30" y="24"/>
                      </a:lnTo>
                      <a:lnTo>
                        <a:pt x="29" y="26"/>
                      </a:lnTo>
                      <a:lnTo>
                        <a:pt x="28" y="30"/>
                      </a:lnTo>
                      <a:lnTo>
                        <a:pt x="29" y="30"/>
                      </a:lnTo>
                      <a:lnTo>
                        <a:pt x="30" y="31"/>
                      </a:lnTo>
                      <a:lnTo>
                        <a:pt x="33" y="30"/>
                      </a:lnTo>
                      <a:lnTo>
                        <a:pt x="41" y="26"/>
                      </a:lnTo>
                      <a:lnTo>
                        <a:pt x="48" y="24"/>
                      </a:lnTo>
                      <a:lnTo>
                        <a:pt x="57" y="23"/>
                      </a:lnTo>
                      <a:lnTo>
                        <a:pt x="65" y="1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0" name="Freeform 405"/>
                <p:cNvSpPr>
                  <a:spLocks/>
                </p:cNvSpPr>
                <p:nvPr/>
              </p:nvSpPr>
              <p:spPr bwMode="auto">
                <a:xfrm>
                  <a:off x="5091759" y="1882078"/>
                  <a:ext cx="48836" cy="35517"/>
                </a:xfrm>
                <a:custGeom>
                  <a:avLst/>
                  <a:gdLst>
                    <a:gd name="T0" fmla="*/ 2147483647 w 36"/>
                    <a:gd name="T1" fmla="*/ 2147483647 h 24"/>
                    <a:gd name="T2" fmla="*/ 2147483647 w 36"/>
                    <a:gd name="T3" fmla="*/ 2147483647 h 24"/>
                    <a:gd name="T4" fmla="*/ 2147483647 w 36"/>
                    <a:gd name="T5" fmla="*/ 2147483647 h 24"/>
                    <a:gd name="T6" fmla="*/ 2147483647 w 36"/>
                    <a:gd name="T7" fmla="*/ 0 h 24"/>
                    <a:gd name="T8" fmla="*/ 2147483647 w 36"/>
                    <a:gd name="T9" fmla="*/ 0 h 24"/>
                    <a:gd name="T10" fmla="*/ 2147483647 w 36"/>
                    <a:gd name="T11" fmla="*/ 2147483647 h 24"/>
                    <a:gd name="T12" fmla="*/ 2147483647 w 36"/>
                    <a:gd name="T13" fmla="*/ 2147483647 h 24"/>
                    <a:gd name="T14" fmla="*/ 2147483647 w 36"/>
                    <a:gd name="T15" fmla="*/ 2147483647 h 24"/>
                    <a:gd name="T16" fmla="*/ 2147483647 w 36"/>
                    <a:gd name="T17" fmla="*/ 2147483647 h 24"/>
                    <a:gd name="T18" fmla="*/ 2147483647 w 36"/>
                    <a:gd name="T19" fmla="*/ 2147483647 h 24"/>
                    <a:gd name="T20" fmla="*/ 2147483647 w 36"/>
                    <a:gd name="T21" fmla="*/ 2147483647 h 24"/>
                    <a:gd name="T22" fmla="*/ 2147483647 w 36"/>
                    <a:gd name="T23" fmla="*/ 2147483647 h 24"/>
                    <a:gd name="T24" fmla="*/ 2147483647 w 36"/>
                    <a:gd name="T25" fmla="*/ 2147483647 h 24"/>
                    <a:gd name="T26" fmla="*/ 2147483647 w 36"/>
                    <a:gd name="T27" fmla="*/ 2147483647 h 24"/>
                    <a:gd name="T28" fmla="*/ 0 w 36"/>
                    <a:gd name="T29" fmla="*/ 2147483647 h 24"/>
                    <a:gd name="T30" fmla="*/ 0 w 36"/>
                    <a:gd name="T31" fmla="*/ 2147483647 h 24"/>
                    <a:gd name="T32" fmla="*/ 0 w 36"/>
                    <a:gd name="T33" fmla="*/ 2147483647 h 24"/>
                    <a:gd name="T34" fmla="*/ 2147483647 w 36"/>
                    <a:gd name="T35" fmla="*/ 2147483647 h 24"/>
                    <a:gd name="T36" fmla="*/ 2147483647 w 36"/>
                    <a:gd name="T37" fmla="*/ 2147483647 h 24"/>
                    <a:gd name="T38" fmla="*/ 2147483647 w 36"/>
                    <a:gd name="T39" fmla="*/ 2147483647 h 24"/>
                    <a:gd name="T40" fmla="*/ 2147483647 w 36"/>
                    <a:gd name="T41" fmla="*/ 2147483647 h 24"/>
                    <a:gd name="T42" fmla="*/ 2147483647 w 36"/>
                    <a:gd name="T43" fmla="*/ 2147483647 h 24"/>
                    <a:gd name="T44" fmla="*/ 2147483647 w 36"/>
                    <a:gd name="T45" fmla="*/ 2147483647 h 24"/>
                    <a:gd name="T46" fmla="*/ 2147483647 w 36"/>
                    <a:gd name="T47" fmla="*/ 2147483647 h 24"/>
                    <a:gd name="T48" fmla="*/ 2147483647 w 36"/>
                    <a:gd name="T49" fmla="*/ 2147483647 h 24"/>
                    <a:gd name="T50" fmla="*/ 2147483647 w 36"/>
                    <a:gd name="T51" fmla="*/ 2147483647 h 24"/>
                    <a:gd name="T52" fmla="*/ 2147483647 w 36"/>
                    <a:gd name="T53" fmla="*/ 2147483647 h 24"/>
                    <a:gd name="T54" fmla="*/ 2147483647 w 36"/>
                    <a:gd name="T55" fmla="*/ 2147483647 h 24"/>
                    <a:gd name="T56" fmla="*/ 2147483647 w 36"/>
                    <a:gd name="T57" fmla="*/ 2147483647 h 24"/>
                    <a:gd name="T58" fmla="*/ 2147483647 w 36"/>
                    <a:gd name="T59" fmla="*/ 2147483647 h 24"/>
                    <a:gd name="T60" fmla="*/ 2147483647 w 36"/>
                    <a:gd name="T61" fmla="*/ 2147483647 h 2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
                    <a:gd name="T94" fmla="*/ 0 h 24"/>
                    <a:gd name="T95" fmla="*/ 36 w 36"/>
                    <a:gd name="T96" fmla="*/ 24 h 2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 h="24">
                      <a:moveTo>
                        <a:pt x="36" y="10"/>
                      </a:moveTo>
                      <a:lnTo>
                        <a:pt x="36" y="6"/>
                      </a:lnTo>
                      <a:lnTo>
                        <a:pt x="34" y="3"/>
                      </a:lnTo>
                      <a:lnTo>
                        <a:pt x="33" y="0"/>
                      </a:lnTo>
                      <a:lnTo>
                        <a:pt x="30" y="0"/>
                      </a:lnTo>
                      <a:lnTo>
                        <a:pt x="29" y="1"/>
                      </a:lnTo>
                      <a:lnTo>
                        <a:pt x="27" y="3"/>
                      </a:lnTo>
                      <a:lnTo>
                        <a:pt x="24" y="5"/>
                      </a:lnTo>
                      <a:lnTo>
                        <a:pt x="23" y="6"/>
                      </a:lnTo>
                      <a:lnTo>
                        <a:pt x="20" y="7"/>
                      </a:lnTo>
                      <a:lnTo>
                        <a:pt x="15" y="9"/>
                      </a:lnTo>
                      <a:lnTo>
                        <a:pt x="11" y="9"/>
                      </a:lnTo>
                      <a:lnTo>
                        <a:pt x="6" y="9"/>
                      </a:lnTo>
                      <a:lnTo>
                        <a:pt x="3" y="11"/>
                      </a:lnTo>
                      <a:lnTo>
                        <a:pt x="0" y="13"/>
                      </a:lnTo>
                      <a:lnTo>
                        <a:pt x="0" y="16"/>
                      </a:lnTo>
                      <a:lnTo>
                        <a:pt x="0" y="17"/>
                      </a:lnTo>
                      <a:lnTo>
                        <a:pt x="3" y="18"/>
                      </a:lnTo>
                      <a:lnTo>
                        <a:pt x="3" y="20"/>
                      </a:lnTo>
                      <a:lnTo>
                        <a:pt x="4" y="22"/>
                      </a:lnTo>
                      <a:lnTo>
                        <a:pt x="4" y="24"/>
                      </a:lnTo>
                      <a:lnTo>
                        <a:pt x="6" y="24"/>
                      </a:lnTo>
                      <a:lnTo>
                        <a:pt x="9" y="23"/>
                      </a:lnTo>
                      <a:lnTo>
                        <a:pt x="10" y="20"/>
                      </a:lnTo>
                      <a:lnTo>
                        <a:pt x="13" y="19"/>
                      </a:lnTo>
                      <a:lnTo>
                        <a:pt x="18" y="17"/>
                      </a:lnTo>
                      <a:lnTo>
                        <a:pt x="28" y="17"/>
                      </a:lnTo>
                      <a:lnTo>
                        <a:pt x="30" y="17"/>
                      </a:lnTo>
                      <a:lnTo>
                        <a:pt x="33" y="15"/>
                      </a:lnTo>
                      <a:lnTo>
                        <a:pt x="34" y="13"/>
                      </a:lnTo>
                      <a:lnTo>
                        <a:pt x="36"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1" name="Freeform 406"/>
                <p:cNvSpPr>
                  <a:spLocks/>
                </p:cNvSpPr>
                <p:nvPr/>
              </p:nvSpPr>
              <p:spPr bwMode="auto">
                <a:xfrm>
                  <a:off x="5109518" y="1907237"/>
                  <a:ext cx="90273" cy="47356"/>
                </a:xfrm>
                <a:custGeom>
                  <a:avLst/>
                  <a:gdLst>
                    <a:gd name="T0" fmla="*/ 2147483647 w 66"/>
                    <a:gd name="T1" fmla="*/ 2147483647 h 32"/>
                    <a:gd name="T2" fmla="*/ 2147483647 w 66"/>
                    <a:gd name="T3" fmla="*/ 2147483647 h 32"/>
                    <a:gd name="T4" fmla="*/ 2147483647 w 66"/>
                    <a:gd name="T5" fmla="*/ 2147483647 h 32"/>
                    <a:gd name="T6" fmla="*/ 2147483647 w 66"/>
                    <a:gd name="T7" fmla="*/ 2147483647 h 32"/>
                    <a:gd name="T8" fmla="*/ 2147483647 w 66"/>
                    <a:gd name="T9" fmla="*/ 2147483647 h 32"/>
                    <a:gd name="T10" fmla="*/ 2147483647 w 66"/>
                    <a:gd name="T11" fmla="*/ 2147483647 h 32"/>
                    <a:gd name="T12" fmla="*/ 2147483647 w 66"/>
                    <a:gd name="T13" fmla="*/ 2147483647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2147483647 w 66"/>
                    <a:gd name="T25" fmla="*/ 2147483647 h 32"/>
                    <a:gd name="T26" fmla="*/ 2147483647 w 66"/>
                    <a:gd name="T27" fmla="*/ 0 h 32"/>
                    <a:gd name="T28" fmla="*/ 2147483647 w 66"/>
                    <a:gd name="T29" fmla="*/ 0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0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6"/>
                    <a:gd name="T103" fmla="*/ 0 h 32"/>
                    <a:gd name="T104" fmla="*/ 66 w 66"/>
                    <a:gd name="T105" fmla="*/ 32 h 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6" h="32">
                      <a:moveTo>
                        <a:pt x="64" y="19"/>
                      </a:moveTo>
                      <a:lnTo>
                        <a:pt x="64" y="19"/>
                      </a:lnTo>
                      <a:lnTo>
                        <a:pt x="66" y="18"/>
                      </a:lnTo>
                      <a:lnTo>
                        <a:pt x="66" y="16"/>
                      </a:lnTo>
                      <a:lnTo>
                        <a:pt x="66" y="14"/>
                      </a:lnTo>
                      <a:lnTo>
                        <a:pt x="64" y="13"/>
                      </a:lnTo>
                      <a:lnTo>
                        <a:pt x="63" y="13"/>
                      </a:lnTo>
                      <a:lnTo>
                        <a:pt x="62" y="12"/>
                      </a:lnTo>
                      <a:lnTo>
                        <a:pt x="58" y="11"/>
                      </a:lnTo>
                      <a:lnTo>
                        <a:pt x="54" y="11"/>
                      </a:lnTo>
                      <a:lnTo>
                        <a:pt x="52" y="12"/>
                      </a:lnTo>
                      <a:lnTo>
                        <a:pt x="49" y="14"/>
                      </a:lnTo>
                      <a:lnTo>
                        <a:pt x="48" y="12"/>
                      </a:lnTo>
                      <a:lnTo>
                        <a:pt x="47" y="9"/>
                      </a:lnTo>
                      <a:lnTo>
                        <a:pt x="45" y="8"/>
                      </a:lnTo>
                      <a:lnTo>
                        <a:pt x="44" y="9"/>
                      </a:lnTo>
                      <a:lnTo>
                        <a:pt x="42" y="9"/>
                      </a:lnTo>
                      <a:lnTo>
                        <a:pt x="39" y="9"/>
                      </a:lnTo>
                      <a:lnTo>
                        <a:pt x="38" y="9"/>
                      </a:lnTo>
                      <a:lnTo>
                        <a:pt x="35" y="2"/>
                      </a:lnTo>
                      <a:lnTo>
                        <a:pt x="33" y="0"/>
                      </a:lnTo>
                      <a:lnTo>
                        <a:pt x="31" y="0"/>
                      </a:lnTo>
                      <a:lnTo>
                        <a:pt x="30" y="0"/>
                      </a:lnTo>
                      <a:lnTo>
                        <a:pt x="26" y="2"/>
                      </a:lnTo>
                      <a:lnTo>
                        <a:pt x="23" y="2"/>
                      </a:lnTo>
                      <a:lnTo>
                        <a:pt x="16" y="2"/>
                      </a:lnTo>
                      <a:lnTo>
                        <a:pt x="9" y="5"/>
                      </a:lnTo>
                      <a:lnTo>
                        <a:pt x="5" y="7"/>
                      </a:lnTo>
                      <a:lnTo>
                        <a:pt x="4" y="9"/>
                      </a:lnTo>
                      <a:lnTo>
                        <a:pt x="1" y="14"/>
                      </a:lnTo>
                      <a:lnTo>
                        <a:pt x="0" y="20"/>
                      </a:lnTo>
                      <a:lnTo>
                        <a:pt x="0" y="26"/>
                      </a:lnTo>
                      <a:lnTo>
                        <a:pt x="1" y="31"/>
                      </a:lnTo>
                      <a:lnTo>
                        <a:pt x="2" y="32"/>
                      </a:lnTo>
                      <a:lnTo>
                        <a:pt x="5" y="31"/>
                      </a:lnTo>
                      <a:lnTo>
                        <a:pt x="7" y="26"/>
                      </a:lnTo>
                      <a:lnTo>
                        <a:pt x="11" y="24"/>
                      </a:lnTo>
                      <a:lnTo>
                        <a:pt x="16" y="24"/>
                      </a:lnTo>
                      <a:lnTo>
                        <a:pt x="23" y="25"/>
                      </a:lnTo>
                      <a:lnTo>
                        <a:pt x="26" y="24"/>
                      </a:lnTo>
                      <a:lnTo>
                        <a:pt x="28" y="22"/>
                      </a:lnTo>
                      <a:lnTo>
                        <a:pt x="29" y="22"/>
                      </a:lnTo>
                      <a:lnTo>
                        <a:pt x="30" y="24"/>
                      </a:lnTo>
                      <a:lnTo>
                        <a:pt x="29" y="26"/>
                      </a:lnTo>
                      <a:lnTo>
                        <a:pt x="28" y="30"/>
                      </a:lnTo>
                      <a:lnTo>
                        <a:pt x="29" y="30"/>
                      </a:lnTo>
                      <a:lnTo>
                        <a:pt x="30" y="31"/>
                      </a:lnTo>
                      <a:lnTo>
                        <a:pt x="33" y="30"/>
                      </a:lnTo>
                      <a:lnTo>
                        <a:pt x="40" y="26"/>
                      </a:lnTo>
                      <a:lnTo>
                        <a:pt x="48" y="24"/>
                      </a:lnTo>
                      <a:lnTo>
                        <a:pt x="57" y="22"/>
                      </a:lnTo>
                      <a:lnTo>
                        <a:pt x="64" y="1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2" name="Freeform 407"/>
                <p:cNvSpPr>
                  <a:spLocks/>
                </p:cNvSpPr>
                <p:nvPr/>
              </p:nvSpPr>
              <p:spPr bwMode="auto">
                <a:xfrm>
                  <a:off x="5090283" y="1880599"/>
                  <a:ext cx="48835" cy="35517"/>
                </a:xfrm>
                <a:custGeom>
                  <a:avLst/>
                  <a:gdLst>
                    <a:gd name="T0" fmla="*/ 2147483647 w 35"/>
                    <a:gd name="T1" fmla="*/ 2147483647 h 24"/>
                    <a:gd name="T2" fmla="*/ 2147483647 w 35"/>
                    <a:gd name="T3" fmla="*/ 2147483647 h 24"/>
                    <a:gd name="T4" fmla="*/ 2147483647 w 35"/>
                    <a:gd name="T5" fmla="*/ 2147483647 h 24"/>
                    <a:gd name="T6" fmla="*/ 2147483647 w 35"/>
                    <a:gd name="T7" fmla="*/ 2147483647 h 24"/>
                    <a:gd name="T8" fmla="*/ 2147483647 w 35"/>
                    <a:gd name="T9" fmla="*/ 0 h 24"/>
                    <a:gd name="T10" fmla="*/ 2147483647 w 35"/>
                    <a:gd name="T11" fmla="*/ 0 h 24"/>
                    <a:gd name="T12" fmla="*/ 2147483647 w 35"/>
                    <a:gd name="T13" fmla="*/ 2147483647 h 24"/>
                    <a:gd name="T14" fmla="*/ 2147483647 w 35"/>
                    <a:gd name="T15" fmla="*/ 2147483647 h 24"/>
                    <a:gd name="T16" fmla="*/ 2147483647 w 35"/>
                    <a:gd name="T17" fmla="*/ 2147483647 h 24"/>
                    <a:gd name="T18" fmla="*/ 2147483647 w 35"/>
                    <a:gd name="T19" fmla="*/ 2147483647 h 24"/>
                    <a:gd name="T20" fmla="*/ 2147483647 w 35"/>
                    <a:gd name="T21" fmla="*/ 2147483647 h 24"/>
                    <a:gd name="T22" fmla="*/ 2147483647 w 35"/>
                    <a:gd name="T23" fmla="*/ 2147483647 h 24"/>
                    <a:gd name="T24" fmla="*/ 2147483647 w 35"/>
                    <a:gd name="T25" fmla="*/ 2147483647 h 24"/>
                    <a:gd name="T26" fmla="*/ 2147483647 w 35"/>
                    <a:gd name="T27" fmla="*/ 2147483647 h 24"/>
                    <a:gd name="T28" fmla="*/ 2147483647 w 35"/>
                    <a:gd name="T29" fmla="*/ 2147483647 h 24"/>
                    <a:gd name="T30" fmla="*/ 2147483647 w 35"/>
                    <a:gd name="T31" fmla="*/ 2147483647 h 24"/>
                    <a:gd name="T32" fmla="*/ 2147483647 w 35"/>
                    <a:gd name="T33" fmla="*/ 2147483647 h 24"/>
                    <a:gd name="T34" fmla="*/ 2147483647 w 35"/>
                    <a:gd name="T35" fmla="*/ 2147483647 h 24"/>
                    <a:gd name="T36" fmla="*/ 0 w 35"/>
                    <a:gd name="T37" fmla="*/ 2147483647 h 24"/>
                    <a:gd name="T38" fmla="*/ 0 w 35"/>
                    <a:gd name="T39" fmla="*/ 2147483647 h 24"/>
                    <a:gd name="T40" fmla="*/ 0 w 35"/>
                    <a:gd name="T41" fmla="*/ 2147483647 h 24"/>
                    <a:gd name="T42" fmla="*/ 0 w 35"/>
                    <a:gd name="T43" fmla="*/ 2147483647 h 24"/>
                    <a:gd name="T44" fmla="*/ 2147483647 w 35"/>
                    <a:gd name="T45" fmla="*/ 2147483647 h 24"/>
                    <a:gd name="T46" fmla="*/ 2147483647 w 35"/>
                    <a:gd name="T47" fmla="*/ 2147483647 h 24"/>
                    <a:gd name="T48" fmla="*/ 2147483647 w 35"/>
                    <a:gd name="T49" fmla="*/ 2147483647 h 24"/>
                    <a:gd name="T50" fmla="*/ 2147483647 w 35"/>
                    <a:gd name="T51" fmla="*/ 2147483647 h 24"/>
                    <a:gd name="T52" fmla="*/ 2147483647 w 35"/>
                    <a:gd name="T53" fmla="*/ 2147483647 h 24"/>
                    <a:gd name="T54" fmla="*/ 2147483647 w 35"/>
                    <a:gd name="T55" fmla="*/ 2147483647 h 24"/>
                    <a:gd name="T56" fmla="*/ 2147483647 w 35"/>
                    <a:gd name="T57" fmla="*/ 2147483647 h 24"/>
                    <a:gd name="T58" fmla="*/ 2147483647 w 35"/>
                    <a:gd name="T59" fmla="*/ 2147483647 h 24"/>
                    <a:gd name="T60" fmla="*/ 2147483647 w 35"/>
                    <a:gd name="T61" fmla="*/ 2147483647 h 24"/>
                    <a:gd name="T62" fmla="*/ 2147483647 w 35"/>
                    <a:gd name="T63" fmla="*/ 2147483647 h 24"/>
                    <a:gd name="T64" fmla="*/ 2147483647 w 35"/>
                    <a:gd name="T65" fmla="*/ 2147483647 h 24"/>
                    <a:gd name="T66" fmla="*/ 2147483647 w 35"/>
                    <a:gd name="T67" fmla="*/ 2147483647 h 24"/>
                    <a:gd name="T68" fmla="*/ 2147483647 w 35"/>
                    <a:gd name="T69" fmla="*/ 2147483647 h 24"/>
                    <a:gd name="T70" fmla="*/ 2147483647 w 35"/>
                    <a:gd name="T71" fmla="*/ 2147483647 h 24"/>
                    <a:gd name="T72" fmla="*/ 2147483647 w 35"/>
                    <a:gd name="T73" fmla="*/ 2147483647 h 24"/>
                    <a:gd name="T74" fmla="*/ 2147483647 w 35"/>
                    <a:gd name="T75" fmla="*/ 2147483647 h 24"/>
                    <a:gd name="T76" fmla="*/ 2147483647 w 35"/>
                    <a:gd name="T77" fmla="*/ 2147483647 h 24"/>
                    <a:gd name="T78" fmla="*/ 2147483647 w 35"/>
                    <a:gd name="T79" fmla="*/ 2147483647 h 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
                    <a:gd name="T121" fmla="*/ 0 h 24"/>
                    <a:gd name="T122" fmla="*/ 35 w 35"/>
                    <a:gd name="T123" fmla="*/ 24 h 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 h="24">
                      <a:moveTo>
                        <a:pt x="35" y="10"/>
                      </a:moveTo>
                      <a:lnTo>
                        <a:pt x="35" y="10"/>
                      </a:lnTo>
                      <a:lnTo>
                        <a:pt x="35" y="6"/>
                      </a:lnTo>
                      <a:lnTo>
                        <a:pt x="34" y="2"/>
                      </a:lnTo>
                      <a:lnTo>
                        <a:pt x="33" y="0"/>
                      </a:lnTo>
                      <a:lnTo>
                        <a:pt x="30" y="0"/>
                      </a:lnTo>
                      <a:lnTo>
                        <a:pt x="29" y="1"/>
                      </a:lnTo>
                      <a:lnTo>
                        <a:pt x="26" y="2"/>
                      </a:lnTo>
                      <a:lnTo>
                        <a:pt x="24" y="5"/>
                      </a:lnTo>
                      <a:lnTo>
                        <a:pt x="23" y="6"/>
                      </a:lnTo>
                      <a:lnTo>
                        <a:pt x="20" y="7"/>
                      </a:lnTo>
                      <a:lnTo>
                        <a:pt x="15" y="8"/>
                      </a:lnTo>
                      <a:lnTo>
                        <a:pt x="11" y="8"/>
                      </a:lnTo>
                      <a:lnTo>
                        <a:pt x="6" y="8"/>
                      </a:lnTo>
                      <a:lnTo>
                        <a:pt x="2" y="11"/>
                      </a:lnTo>
                      <a:lnTo>
                        <a:pt x="0" y="13"/>
                      </a:lnTo>
                      <a:lnTo>
                        <a:pt x="0" y="16"/>
                      </a:lnTo>
                      <a:lnTo>
                        <a:pt x="0" y="17"/>
                      </a:lnTo>
                      <a:lnTo>
                        <a:pt x="2" y="18"/>
                      </a:lnTo>
                      <a:lnTo>
                        <a:pt x="2" y="20"/>
                      </a:lnTo>
                      <a:lnTo>
                        <a:pt x="4" y="21"/>
                      </a:lnTo>
                      <a:lnTo>
                        <a:pt x="4" y="24"/>
                      </a:lnTo>
                      <a:lnTo>
                        <a:pt x="6" y="24"/>
                      </a:lnTo>
                      <a:lnTo>
                        <a:pt x="9" y="23"/>
                      </a:lnTo>
                      <a:lnTo>
                        <a:pt x="10" y="20"/>
                      </a:lnTo>
                      <a:lnTo>
                        <a:pt x="12" y="19"/>
                      </a:lnTo>
                      <a:lnTo>
                        <a:pt x="18" y="17"/>
                      </a:lnTo>
                      <a:lnTo>
                        <a:pt x="28" y="17"/>
                      </a:lnTo>
                      <a:lnTo>
                        <a:pt x="30" y="17"/>
                      </a:lnTo>
                      <a:lnTo>
                        <a:pt x="33" y="14"/>
                      </a:lnTo>
                      <a:lnTo>
                        <a:pt x="34" y="13"/>
                      </a:lnTo>
                      <a:lnTo>
                        <a:pt x="35"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3" name="Freeform 408"/>
                <p:cNvSpPr>
                  <a:spLocks/>
                </p:cNvSpPr>
                <p:nvPr/>
              </p:nvSpPr>
              <p:spPr bwMode="auto">
                <a:xfrm>
                  <a:off x="4872738" y="1821407"/>
                  <a:ext cx="244179" cy="179064"/>
                </a:xfrm>
                <a:custGeom>
                  <a:avLst/>
                  <a:gdLst>
                    <a:gd name="T0" fmla="*/ 2147483647 w 179"/>
                    <a:gd name="T1" fmla="*/ 2147483647 h 121"/>
                    <a:gd name="T2" fmla="*/ 2147483647 w 179"/>
                    <a:gd name="T3" fmla="*/ 2147483647 h 121"/>
                    <a:gd name="T4" fmla="*/ 2147483647 w 179"/>
                    <a:gd name="T5" fmla="*/ 2147483647 h 121"/>
                    <a:gd name="T6" fmla="*/ 2147483647 w 179"/>
                    <a:gd name="T7" fmla="*/ 2147483647 h 121"/>
                    <a:gd name="T8" fmla="*/ 2147483647 w 179"/>
                    <a:gd name="T9" fmla="*/ 2147483647 h 121"/>
                    <a:gd name="T10" fmla="*/ 2147483647 w 179"/>
                    <a:gd name="T11" fmla="*/ 2147483647 h 121"/>
                    <a:gd name="T12" fmla="*/ 2147483647 w 179"/>
                    <a:gd name="T13" fmla="*/ 2147483647 h 121"/>
                    <a:gd name="T14" fmla="*/ 2147483647 w 179"/>
                    <a:gd name="T15" fmla="*/ 2147483647 h 121"/>
                    <a:gd name="T16" fmla="*/ 2147483647 w 179"/>
                    <a:gd name="T17" fmla="*/ 2147483647 h 121"/>
                    <a:gd name="T18" fmla="*/ 2147483647 w 179"/>
                    <a:gd name="T19" fmla="*/ 2147483647 h 121"/>
                    <a:gd name="T20" fmla="*/ 2147483647 w 179"/>
                    <a:gd name="T21" fmla="*/ 2147483647 h 121"/>
                    <a:gd name="T22" fmla="*/ 2147483647 w 179"/>
                    <a:gd name="T23" fmla="*/ 2147483647 h 121"/>
                    <a:gd name="T24" fmla="*/ 2147483647 w 179"/>
                    <a:gd name="T25" fmla="*/ 2147483647 h 121"/>
                    <a:gd name="T26" fmla="*/ 2147483647 w 179"/>
                    <a:gd name="T27" fmla="*/ 2147483647 h 121"/>
                    <a:gd name="T28" fmla="*/ 2147483647 w 179"/>
                    <a:gd name="T29" fmla="*/ 2147483647 h 121"/>
                    <a:gd name="T30" fmla="*/ 2147483647 w 179"/>
                    <a:gd name="T31" fmla="*/ 2147483647 h 121"/>
                    <a:gd name="T32" fmla="*/ 2147483647 w 179"/>
                    <a:gd name="T33" fmla="*/ 2147483647 h 121"/>
                    <a:gd name="T34" fmla="*/ 2147483647 w 179"/>
                    <a:gd name="T35" fmla="*/ 2147483647 h 121"/>
                    <a:gd name="T36" fmla="*/ 2147483647 w 179"/>
                    <a:gd name="T37" fmla="*/ 2147483647 h 121"/>
                    <a:gd name="T38" fmla="*/ 2147483647 w 179"/>
                    <a:gd name="T39" fmla="*/ 2147483647 h 121"/>
                    <a:gd name="T40" fmla="*/ 2147483647 w 179"/>
                    <a:gd name="T41" fmla="*/ 2147483647 h 121"/>
                    <a:gd name="T42" fmla="*/ 0 w 179"/>
                    <a:gd name="T43" fmla="*/ 2147483647 h 121"/>
                    <a:gd name="T44" fmla="*/ 2147483647 w 179"/>
                    <a:gd name="T45" fmla="*/ 2147483647 h 121"/>
                    <a:gd name="T46" fmla="*/ 2147483647 w 179"/>
                    <a:gd name="T47" fmla="*/ 2147483647 h 121"/>
                    <a:gd name="T48" fmla="*/ 2147483647 w 179"/>
                    <a:gd name="T49" fmla="*/ 2147483647 h 121"/>
                    <a:gd name="T50" fmla="*/ 2147483647 w 179"/>
                    <a:gd name="T51" fmla="*/ 2147483647 h 121"/>
                    <a:gd name="T52" fmla="*/ 2147483647 w 179"/>
                    <a:gd name="T53" fmla="*/ 2147483647 h 121"/>
                    <a:gd name="T54" fmla="*/ 2147483647 w 179"/>
                    <a:gd name="T55" fmla="*/ 2147483647 h 121"/>
                    <a:gd name="T56" fmla="*/ 2147483647 w 179"/>
                    <a:gd name="T57" fmla="*/ 2147483647 h 121"/>
                    <a:gd name="T58" fmla="*/ 2147483647 w 179"/>
                    <a:gd name="T59" fmla="*/ 2147483647 h 121"/>
                    <a:gd name="T60" fmla="*/ 2147483647 w 179"/>
                    <a:gd name="T61" fmla="*/ 2147483647 h 121"/>
                    <a:gd name="T62" fmla="*/ 2147483647 w 179"/>
                    <a:gd name="T63" fmla="*/ 2147483647 h 121"/>
                    <a:gd name="T64" fmla="*/ 2147483647 w 179"/>
                    <a:gd name="T65" fmla="*/ 2147483647 h 121"/>
                    <a:gd name="T66" fmla="*/ 2147483647 w 179"/>
                    <a:gd name="T67" fmla="*/ 2147483647 h 121"/>
                    <a:gd name="T68" fmla="*/ 2147483647 w 179"/>
                    <a:gd name="T69" fmla="*/ 2147483647 h 121"/>
                    <a:gd name="T70" fmla="*/ 2147483647 w 179"/>
                    <a:gd name="T71" fmla="*/ 2147483647 h 121"/>
                    <a:gd name="T72" fmla="*/ 2147483647 w 179"/>
                    <a:gd name="T73" fmla="*/ 2147483647 h 121"/>
                    <a:gd name="T74" fmla="*/ 2147483647 w 179"/>
                    <a:gd name="T75" fmla="*/ 2147483647 h 121"/>
                    <a:gd name="T76" fmla="*/ 2147483647 w 179"/>
                    <a:gd name="T77" fmla="*/ 2147483647 h 121"/>
                    <a:gd name="T78" fmla="*/ 2147483647 w 179"/>
                    <a:gd name="T79" fmla="*/ 2147483647 h 121"/>
                    <a:gd name="T80" fmla="*/ 2147483647 w 179"/>
                    <a:gd name="T81" fmla="*/ 2147483647 h 121"/>
                    <a:gd name="T82" fmla="*/ 2147483647 w 179"/>
                    <a:gd name="T83" fmla="*/ 2147483647 h 121"/>
                    <a:gd name="T84" fmla="*/ 2147483647 w 179"/>
                    <a:gd name="T85" fmla="*/ 2147483647 h 121"/>
                    <a:gd name="T86" fmla="*/ 2147483647 w 179"/>
                    <a:gd name="T87" fmla="*/ 2147483647 h 121"/>
                    <a:gd name="T88" fmla="*/ 2147483647 w 179"/>
                    <a:gd name="T89" fmla="*/ 2147483647 h 121"/>
                    <a:gd name="T90" fmla="*/ 2147483647 w 179"/>
                    <a:gd name="T91" fmla="*/ 2147483647 h 121"/>
                    <a:gd name="T92" fmla="*/ 2147483647 w 179"/>
                    <a:gd name="T93" fmla="*/ 2147483647 h 121"/>
                    <a:gd name="T94" fmla="*/ 2147483647 w 179"/>
                    <a:gd name="T95" fmla="*/ 2147483647 h 121"/>
                    <a:gd name="T96" fmla="*/ 2147483647 w 179"/>
                    <a:gd name="T97" fmla="*/ 2147483647 h 121"/>
                    <a:gd name="T98" fmla="*/ 2147483647 w 179"/>
                    <a:gd name="T99" fmla="*/ 2147483647 h 121"/>
                    <a:gd name="T100" fmla="*/ 2147483647 w 179"/>
                    <a:gd name="T101" fmla="*/ 2147483647 h 121"/>
                    <a:gd name="T102" fmla="*/ 2147483647 w 179"/>
                    <a:gd name="T103" fmla="*/ 2147483647 h 121"/>
                    <a:gd name="T104" fmla="*/ 2147483647 w 179"/>
                    <a:gd name="T105" fmla="*/ 2147483647 h 121"/>
                    <a:gd name="T106" fmla="*/ 2147483647 w 179"/>
                    <a:gd name="T107" fmla="*/ 2147483647 h 121"/>
                    <a:gd name="T108" fmla="*/ 2147483647 w 179"/>
                    <a:gd name="T109" fmla="*/ 2147483647 h 121"/>
                    <a:gd name="T110" fmla="*/ 2147483647 w 179"/>
                    <a:gd name="T111" fmla="*/ 2147483647 h 121"/>
                    <a:gd name="T112" fmla="*/ 2147483647 w 179"/>
                    <a:gd name="T113" fmla="*/ 2147483647 h 121"/>
                    <a:gd name="T114" fmla="*/ 2147483647 w 179"/>
                    <a:gd name="T115" fmla="*/ 2147483647 h 121"/>
                    <a:gd name="T116" fmla="*/ 2147483647 w 179"/>
                    <a:gd name="T117" fmla="*/ 2147483647 h 121"/>
                    <a:gd name="T118" fmla="*/ 2147483647 w 179"/>
                    <a:gd name="T119" fmla="*/ 2147483647 h 1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9"/>
                    <a:gd name="T181" fmla="*/ 0 h 121"/>
                    <a:gd name="T182" fmla="*/ 179 w 179"/>
                    <a:gd name="T183" fmla="*/ 121 h 1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9" h="121">
                      <a:moveTo>
                        <a:pt x="158" y="31"/>
                      </a:moveTo>
                      <a:lnTo>
                        <a:pt x="152" y="31"/>
                      </a:lnTo>
                      <a:lnTo>
                        <a:pt x="147" y="31"/>
                      </a:lnTo>
                      <a:lnTo>
                        <a:pt x="142" y="29"/>
                      </a:lnTo>
                      <a:lnTo>
                        <a:pt x="137" y="27"/>
                      </a:lnTo>
                      <a:lnTo>
                        <a:pt x="133" y="23"/>
                      </a:lnTo>
                      <a:lnTo>
                        <a:pt x="129" y="21"/>
                      </a:lnTo>
                      <a:lnTo>
                        <a:pt x="127" y="21"/>
                      </a:lnTo>
                      <a:lnTo>
                        <a:pt x="124" y="21"/>
                      </a:lnTo>
                      <a:lnTo>
                        <a:pt x="123" y="21"/>
                      </a:lnTo>
                      <a:lnTo>
                        <a:pt x="119" y="20"/>
                      </a:lnTo>
                      <a:lnTo>
                        <a:pt x="117" y="19"/>
                      </a:lnTo>
                      <a:lnTo>
                        <a:pt x="115" y="18"/>
                      </a:lnTo>
                      <a:lnTo>
                        <a:pt x="114" y="13"/>
                      </a:lnTo>
                      <a:lnTo>
                        <a:pt x="113" y="8"/>
                      </a:lnTo>
                      <a:lnTo>
                        <a:pt x="113" y="7"/>
                      </a:lnTo>
                      <a:lnTo>
                        <a:pt x="110" y="6"/>
                      </a:lnTo>
                      <a:lnTo>
                        <a:pt x="103" y="2"/>
                      </a:lnTo>
                      <a:lnTo>
                        <a:pt x="99" y="1"/>
                      </a:lnTo>
                      <a:lnTo>
                        <a:pt x="95" y="0"/>
                      </a:lnTo>
                      <a:lnTo>
                        <a:pt x="92" y="1"/>
                      </a:lnTo>
                      <a:lnTo>
                        <a:pt x="91" y="1"/>
                      </a:lnTo>
                      <a:lnTo>
                        <a:pt x="87" y="5"/>
                      </a:lnTo>
                      <a:lnTo>
                        <a:pt x="85" y="9"/>
                      </a:lnTo>
                      <a:lnTo>
                        <a:pt x="85" y="14"/>
                      </a:lnTo>
                      <a:lnTo>
                        <a:pt x="87" y="19"/>
                      </a:lnTo>
                      <a:lnTo>
                        <a:pt x="91" y="22"/>
                      </a:lnTo>
                      <a:lnTo>
                        <a:pt x="95" y="27"/>
                      </a:lnTo>
                      <a:lnTo>
                        <a:pt x="95" y="28"/>
                      </a:lnTo>
                      <a:lnTo>
                        <a:pt x="94" y="31"/>
                      </a:lnTo>
                      <a:lnTo>
                        <a:pt x="91" y="32"/>
                      </a:lnTo>
                      <a:lnTo>
                        <a:pt x="87" y="32"/>
                      </a:lnTo>
                      <a:lnTo>
                        <a:pt x="84" y="31"/>
                      </a:lnTo>
                      <a:lnTo>
                        <a:pt x="82" y="29"/>
                      </a:lnTo>
                      <a:lnTo>
                        <a:pt x="78" y="18"/>
                      </a:lnTo>
                      <a:lnTo>
                        <a:pt x="76" y="13"/>
                      </a:lnTo>
                      <a:lnTo>
                        <a:pt x="72" y="8"/>
                      </a:lnTo>
                      <a:lnTo>
                        <a:pt x="70" y="8"/>
                      </a:lnTo>
                      <a:lnTo>
                        <a:pt x="68" y="9"/>
                      </a:lnTo>
                      <a:lnTo>
                        <a:pt x="65" y="14"/>
                      </a:lnTo>
                      <a:lnTo>
                        <a:pt x="63" y="14"/>
                      </a:lnTo>
                      <a:lnTo>
                        <a:pt x="62" y="14"/>
                      </a:lnTo>
                      <a:lnTo>
                        <a:pt x="58" y="14"/>
                      </a:lnTo>
                      <a:lnTo>
                        <a:pt x="57" y="15"/>
                      </a:lnTo>
                      <a:lnTo>
                        <a:pt x="56" y="18"/>
                      </a:lnTo>
                      <a:lnTo>
                        <a:pt x="56" y="20"/>
                      </a:lnTo>
                      <a:lnTo>
                        <a:pt x="54" y="21"/>
                      </a:lnTo>
                      <a:lnTo>
                        <a:pt x="51" y="21"/>
                      </a:lnTo>
                      <a:lnTo>
                        <a:pt x="48" y="21"/>
                      </a:lnTo>
                      <a:lnTo>
                        <a:pt x="44" y="19"/>
                      </a:lnTo>
                      <a:lnTo>
                        <a:pt x="42" y="16"/>
                      </a:lnTo>
                      <a:lnTo>
                        <a:pt x="40" y="15"/>
                      </a:lnTo>
                      <a:lnTo>
                        <a:pt x="40" y="14"/>
                      </a:lnTo>
                      <a:lnTo>
                        <a:pt x="43" y="12"/>
                      </a:lnTo>
                      <a:lnTo>
                        <a:pt x="49" y="10"/>
                      </a:lnTo>
                      <a:lnTo>
                        <a:pt x="49" y="9"/>
                      </a:lnTo>
                      <a:lnTo>
                        <a:pt x="49" y="8"/>
                      </a:lnTo>
                      <a:lnTo>
                        <a:pt x="48" y="7"/>
                      </a:lnTo>
                      <a:lnTo>
                        <a:pt x="35" y="8"/>
                      </a:lnTo>
                      <a:lnTo>
                        <a:pt x="23" y="8"/>
                      </a:lnTo>
                      <a:lnTo>
                        <a:pt x="12" y="6"/>
                      </a:lnTo>
                      <a:lnTo>
                        <a:pt x="7" y="6"/>
                      </a:lnTo>
                      <a:lnTo>
                        <a:pt x="4" y="7"/>
                      </a:lnTo>
                      <a:lnTo>
                        <a:pt x="1" y="8"/>
                      </a:lnTo>
                      <a:lnTo>
                        <a:pt x="0" y="12"/>
                      </a:lnTo>
                      <a:lnTo>
                        <a:pt x="0" y="19"/>
                      </a:lnTo>
                      <a:lnTo>
                        <a:pt x="2" y="27"/>
                      </a:lnTo>
                      <a:lnTo>
                        <a:pt x="5" y="34"/>
                      </a:lnTo>
                      <a:lnTo>
                        <a:pt x="6" y="34"/>
                      </a:lnTo>
                      <a:lnTo>
                        <a:pt x="7" y="33"/>
                      </a:lnTo>
                      <a:lnTo>
                        <a:pt x="9" y="31"/>
                      </a:lnTo>
                      <a:lnTo>
                        <a:pt x="11" y="29"/>
                      </a:lnTo>
                      <a:lnTo>
                        <a:pt x="12" y="29"/>
                      </a:lnTo>
                      <a:lnTo>
                        <a:pt x="14" y="31"/>
                      </a:lnTo>
                      <a:lnTo>
                        <a:pt x="15" y="34"/>
                      </a:lnTo>
                      <a:lnTo>
                        <a:pt x="15" y="45"/>
                      </a:lnTo>
                      <a:lnTo>
                        <a:pt x="15" y="47"/>
                      </a:lnTo>
                      <a:lnTo>
                        <a:pt x="16" y="50"/>
                      </a:lnTo>
                      <a:lnTo>
                        <a:pt x="21" y="51"/>
                      </a:lnTo>
                      <a:lnTo>
                        <a:pt x="26" y="52"/>
                      </a:lnTo>
                      <a:lnTo>
                        <a:pt x="30" y="53"/>
                      </a:lnTo>
                      <a:lnTo>
                        <a:pt x="31" y="56"/>
                      </a:lnTo>
                      <a:lnTo>
                        <a:pt x="34" y="57"/>
                      </a:lnTo>
                      <a:lnTo>
                        <a:pt x="44" y="60"/>
                      </a:lnTo>
                      <a:lnTo>
                        <a:pt x="49" y="61"/>
                      </a:lnTo>
                      <a:lnTo>
                        <a:pt x="54" y="60"/>
                      </a:lnTo>
                      <a:lnTo>
                        <a:pt x="56" y="59"/>
                      </a:lnTo>
                      <a:lnTo>
                        <a:pt x="57" y="56"/>
                      </a:lnTo>
                      <a:lnTo>
                        <a:pt x="59" y="48"/>
                      </a:lnTo>
                      <a:lnTo>
                        <a:pt x="59" y="46"/>
                      </a:lnTo>
                      <a:lnTo>
                        <a:pt x="61" y="46"/>
                      </a:lnTo>
                      <a:lnTo>
                        <a:pt x="65" y="45"/>
                      </a:lnTo>
                      <a:lnTo>
                        <a:pt x="67" y="44"/>
                      </a:lnTo>
                      <a:lnTo>
                        <a:pt x="70" y="42"/>
                      </a:lnTo>
                      <a:lnTo>
                        <a:pt x="71" y="39"/>
                      </a:lnTo>
                      <a:lnTo>
                        <a:pt x="75" y="38"/>
                      </a:lnTo>
                      <a:lnTo>
                        <a:pt x="76" y="38"/>
                      </a:lnTo>
                      <a:lnTo>
                        <a:pt x="78" y="38"/>
                      </a:lnTo>
                      <a:lnTo>
                        <a:pt x="80" y="40"/>
                      </a:lnTo>
                      <a:lnTo>
                        <a:pt x="80" y="42"/>
                      </a:lnTo>
                      <a:lnTo>
                        <a:pt x="78" y="44"/>
                      </a:lnTo>
                      <a:lnTo>
                        <a:pt x="77" y="46"/>
                      </a:lnTo>
                      <a:lnTo>
                        <a:pt x="76" y="47"/>
                      </a:lnTo>
                      <a:lnTo>
                        <a:pt x="76" y="48"/>
                      </a:lnTo>
                      <a:lnTo>
                        <a:pt x="77" y="51"/>
                      </a:lnTo>
                      <a:lnTo>
                        <a:pt x="80" y="52"/>
                      </a:lnTo>
                      <a:lnTo>
                        <a:pt x="85" y="52"/>
                      </a:lnTo>
                      <a:lnTo>
                        <a:pt x="90" y="52"/>
                      </a:lnTo>
                      <a:lnTo>
                        <a:pt x="92" y="52"/>
                      </a:lnTo>
                      <a:lnTo>
                        <a:pt x="92" y="53"/>
                      </a:lnTo>
                      <a:lnTo>
                        <a:pt x="91" y="57"/>
                      </a:lnTo>
                      <a:lnTo>
                        <a:pt x="89" y="59"/>
                      </a:lnTo>
                      <a:lnTo>
                        <a:pt x="86" y="61"/>
                      </a:lnTo>
                      <a:lnTo>
                        <a:pt x="81" y="63"/>
                      </a:lnTo>
                      <a:lnTo>
                        <a:pt x="70" y="65"/>
                      </a:lnTo>
                      <a:lnTo>
                        <a:pt x="57" y="66"/>
                      </a:lnTo>
                      <a:lnTo>
                        <a:pt x="53" y="69"/>
                      </a:lnTo>
                      <a:lnTo>
                        <a:pt x="53" y="70"/>
                      </a:lnTo>
                      <a:lnTo>
                        <a:pt x="53" y="71"/>
                      </a:lnTo>
                      <a:lnTo>
                        <a:pt x="57" y="73"/>
                      </a:lnTo>
                      <a:lnTo>
                        <a:pt x="61" y="73"/>
                      </a:lnTo>
                      <a:lnTo>
                        <a:pt x="68" y="73"/>
                      </a:lnTo>
                      <a:lnTo>
                        <a:pt x="84" y="71"/>
                      </a:lnTo>
                      <a:lnTo>
                        <a:pt x="89" y="71"/>
                      </a:lnTo>
                      <a:lnTo>
                        <a:pt x="92" y="72"/>
                      </a:lnTo>
                      <a:lnTo>
                        <a:pt x="92" y="73"/>
                      </a:lnTo>
                      <a:lnTo>
                        <a:pt x="90" y="74"/>
                      </a:lnTo>
                      <a:lnTo>
                        <a:pt x="85" y="74"/>
                      </a:lnTo>
                      <a:lnTo>
                        <a:pt x="82" y="74"/>
                      </a:lnTo>
                      <a:lnTo>
                        <a:pt x="81" y="76"/>
                      </a:lnTo>
                      <a:lnTo>
                        <a:pt x="81" y="77"/>
                      </a:lnTo>
                      <a:lnTo>
                        <a:pt x="82" y="79"/>
                      </a:lnTo>
                      <a:lnTo>
                        <a:pt x="85" y="79"/>
                      </a:lnTo>
                      <a:lnTo>
                        <a:pt x="86" y="80"/>
                      </a:lnTo>
                      <a:lnTo>
                        <a:pt x="86" y="82"/>
                      </a:lnTo>
                      <a:lnTo>
                        <a:pt x="81" y="85"/>
                      </a:lnTo>
                      <a:lnTo>
                        <a:pt x="76" y="86"/>
                      </a:lnTo>
                      <a:lnTo>
                        <a:pt x="70" y="86"/>
                      </a:lnTo>
                      <a:lnTo>
                        <a:pt x="63" y="85"/>
                      </a:lnTo>
                      <a:lnTo>
                        <a:pt x="61" y="86"/>
                      </a:lnTo>
                      <a:lnTo>
                        <a:pt x="59" y="89"/>
                      </a:lnTo>
                      <a:lnTo>
                        <a:pt x="59" y="91"/>
                      </a:lnTo>
                      <a:lnTo>
                        <a:pt x="61" y="93"/>
                      </a:lnTo>
                      <a:lnTo>
                        <a:pt x="70" y="98"/>
                      </a:lnTo>
                      <a:lnTo>
                        <a:pt x="77" y="102"/>
                      </a:lnTo>
                      <a:lnTo>
                        <a:pt x="85" y="108"/>
                      </a:lnTo>
                      <a:lnTo>
                        <a:pt x="92" y="115"/>
                      </a:lnTo>
                      <a:lnTo>
                        <a:pt x="98" y="120"/>
                      </a:lnTo>
                      <a:lnTo>
                        <a:pt x="100" y="121"/>
                      </a:lnTo>
                      <a:lnTo>
                        <a:pt x="104" y="121"/>
                      </a:lnTo>
                      <a:lnTo>
                        <a:pt x="105" y="120"/>
                      </a:lnTo>
                      <a:lnTo>
                        <a:pt x="106" y="116"/>
                      </a:lnTo>
                      <a:lnTo>
                        <a:pt x="106" y="112"/>
                      </a:lnTo>
                      <a:lnTo>
                        <a:pt x="108" y="110"/>
                      </a:lnTo>
                      <a:lnTo>
                        <a:pt x="115" y="99"/>
                      </a:lnTo>
                      <a:lnTo>
                        <a:pt x="122" y="91"/>
                      </a:lnTo>
                      <a:lnTo>
                        <a:pt x="127" y="82"/>
                      </a:lnTo>
                      <a:lnTo>
                        <a:pt x="132" y="69"/>
                      </a:lnTo>
                      <a:lnTo>
                        <a:pt x="134" y="67"/>
                      </a:lnTo>
                      <a:lnTo>
                        <a:pt x="137" y="67"/>
                      </a:lnTo>
                      <a:lnTo>
                        <a:pt x="138" y="66"/>
                      </a:lnTo>
                      <a:lnTo>
                        <a:pt x="141" y="65"/>
                      </a:lnTo>
                      <a:lnTo>
                        <a:pt x="142" y="59"/>
                      </a:lnTo>
                      <a:lnTo>
                        <a:pt x="142" y="57"/>
                      </a:lnTo>
                      <a:lnTo>
                        <a:pt x="143" y="54"/>
                      </a:lnTo>
                      <a:lnTo>
                        <a:pt x="147" y="52"/>
                      </a:lnTo>
                      <a:lnTo>
                        <a:pt x="152" y="52"/>
                      </a:lnTo>
                      <a:lnTo>
                        <a:pt x="157" y="51"/>
                      </a:lnTo>
                      <a:lnTo>
                        <a:pt x="161" y="50"/>
                      </a:lnTo>
                      <a:lnTo>
                        <a:pt x="169" y="45"/>
                      </a:lnTo>
                      <a:lnTo>
                        <a:pt x="176" y="42"/>
                      </a:lnTo>
                      <a:lnTo>
                        <a:pt x="178" y="41"/>
                      </a:lnTo>
                      <a:lnTo>
                        <a:pt x="179" y="40"/>
                      </a:lnTo>
                      <a:lnTo>
                        <a:pt x="172" y="39"/>
                      </a:lnTo>
                      <a:lnTo>
                        <a:pt x="167" y="38"/>
                      </a:lnTo>
                      <a:lnTo>
                        <a:pt x="166" y="37"/>
                      </a:lnTo>
                      <a:lnTo>
                        <a:pt x="167" y="35"/>
                      </a:lnTo>
                      <a:lnTo>
                        <a:pt x="169" y="33"/>
                      </a:lnTo>
                      <a:lnTo>
                        <a:pt x="167" y="32"/>
                      </a:lnTo>
                      <a:lnTo>
                        <a:pt x="164" y="32"/>
                      </a:lnTo>
                      <a:lnTo>
                        <a:pt x="158" y="3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4" name="Freeform 409"/>
                <p:cNvSpPr>
                  <a:spLocks/>
                </p:cNvSpPr>
                <p:nvPr/>
              </p:nvSpPr>
              <p:spPr bwMode="auto">
                <a:xfrm>
                  <a:off x="5984122" y="2086299"/>
                  <a:ext cx="28117" cy="29598"/>
                </a:xfrm>
                <a:custGeom>
                  <a:avLst/>
                  <a:gdLst>
                    <a:gd name="T0" fmla="*/ 2147483647 w 21"/>
                    <a:gd name="T1" fmla="*/ 2147483647 h 20"/>
                    <a:gd name="T2" fmla="*/ 2147483647 w 21"/>
                    <a:gd name="T3" fmla="*/ 2147483647 h 20"/>
                    <a:gd name="T4" fmla="*/ 2147483647 w 21"/>
                    <a:gd name="T5" fmla="*/ 2147483647 h 20"/>
                    <a:gd name="T6" fmla="*/ 2147483647 w 21"/>
                    <a:gd name="T7" fmla="*/ 2147483647 h 20"/>
                    <a:gd name="T8" fmla="*/ 2147483647 w 21"/>
                    <a:gd name="T9" fmla="*/ 2147483647 h 20"/>
                    <a:gd name="T10" fmla="*/ 2147483647 w 21"/>
                    <a:gd name="T11" fmla="*/ 2147483647 h 20"/>
                    <a:gd name="T12" fmla="*/ 2147483647 w 21"/>
                    <a:gd name="T13" fmla="*/ 2147483647 h 20"/>
                    <a:gd name="T14" fmla="*/ 2147483647 w 21"/>
                    <a:gd name="T15" fmla="*/ 2147483647 h 20"/>
                    <a:gd name="T16" fmla="*/ 2147483647 w 21"/>
                    <a:gd name="T17" fmla="*/ 2147483647 h 20"/>
                    <a:gd name="T18" fmla="*/ 2147483647 w 21"/>
                    <a:gd name="T19" fmla="*/ 2147483647 h 20"/>
                    <a:gd name="T20" fmla="*/ 2147483647 w 21"/>
                    <a:gd name="T21" fmla="*/ 2147483647 h 20"/>
                    <a:gd name="T22" fmla="*/ 0 w 21"/>
                    <a:gd name="T23" fmla="*/ 2147483647 h 20"/>
                    <a:gd name="T24" fmla="*/ 2147483647 w 21"/>
                    <a:gd name="T25" fmla="*/ 2147483647 h 20"/>
                    <a:gd name="T26" fmla="*/ 2147483647 w 21"/>
                    <a:gd name="T27" fmla="*/ 2147483647 h 20"/>
                    <a:gd name="T28" fmla="*/ 2147483647 w 21"/>
                    <a:gd name="T29" fmla="*/ 2147483647 h 20"/>
                    <a:gd name="T30" fmla="*/ 2147483647 w 21"/>
                    <a:gd name="T31" fmla="*/ 2147483647 h 20"/>
                    <a:gd name="T32" fmla="*/ 2147483647 w 21"/>
                    <a:gd name="T33" fmla="*/ 0 h 20"/>
                    <a:gd name="T34" fmla="*/ 2147483647 w 21"/>
                    <a:gd name="T35" fmla="*/ 2147483647 h 20"/>
                    <a:gd name="T36" fmla="*/ 2147483647 w 21"/>
                    <a:gd name="T37" fmla="*/ 2147483647 h 20"/>
                    <a:gd name="T38" fmla="*/ 2147483647 w 21"/>
                    <a:gd name="T39" fmla="*/ 2147483647 h 20"/>
                    <a:gd name="T40" fmla="*/ 2147483647 w 21"/>
                    <a:gd name="T41" fmla="*/ 2147483647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0"/>
                    <a:gd name="T65" fmla="*/ 21 w 21"/>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0">
                      <a:moveTo>
                        <a:pt x="17" y="8"/>
                      </a:moveTo>
                      <a:lnTo>
                        <a:pt x="16" y="9"/>
                      </a:lnTo>
                      <a:lnTo>
                        <a:pt x="16" y="12"/>
                      </a:lnTo>
                      <a:lnTo>
                        <a:pt x="16" y="14"/>
                      </a:lnTo>
                      <a:lnTo>
                        <a:pt x="15" y="16"/>
                      </a:lnTo>
                      <a:lnTo>
                        <a:pt x="12" y="16"/>
                      </a:lnTo>
                      <a:lnTo>
                        <a:pt x="10" y="16"/>
                      </a:lnTo>
                      <a:lnTo>
                        <a:pt x="6" y="19"/>
                      </a:lnTo>
                      <a:lnTo>
                        <a:pt x="4" y="20"/>
                      </a:lnTo>
                      <a:lnTo>
                        <a:pt x="2" y="19"/>
                      </a:lnTo>
                      <a:lnTo>
                        <a:pt x="1" y="18"/>
                      </a:lnTo>
                      <a:lnTo>
                        <a:pt x="0" y="15"/>
                      </a:lnTo>
                      <a:lnTo>
                        <a:pt x="1" y="10"/>
                      </a:lnTo>
                      <a:lnTo>
                        <a:pt x="5" y="7"/>
                      </a:lnTo>
                      <a:lnTo>
                        <a:pt x="9" y="3"/>
                      </a:lnTo>
                      <a:lnTo>
                        <a:pt x="14" y="1"/>
                      </a:lnTo>
                      <a:lnTo>
                        <a:pt x="17" y="0"/>
                      </a:lnTo>
                      <a:lnTo>
                        <a:pt x="20" y="1"/>
                      </a:lnTo>
                      <a:lnTo>
                        <a:pt x="21" y="2"/>
                      </a:lnTo>
                      <a:lnTo>
                        <a:pt x="20" y="5"/>
                      </a:lnTo>
                      <a:lnTo>
                        <a:pt x="17"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5" name="Freeform 410"/>
                <p:cNvSpPr>
                  <a:spLocks/>
                </p:cNvSpPr>
                <p:nvPr/>
              </p:nvSpPr>
              <p:spPr bwMode="auto">
                <a:xfrm>
                  <a:off x="4869779" y="1819923"/>
                  <a:ext cx="245659" cy="179065"/>
                </a:xfrm>
                <a:custGeom>
                  <a:avLst/>
                  <a:gdLst>
                    <a:gd name="T0" fmla="*/ 2147483647 w 180"/>
                    <a:gd name="T1" fmla="*/ 2147483647 h 121"/>
                    <a:gd name="T2" fmla="*/ 2147483647 w 180"/>
                    <a:gd name="T3" fmla="*/ 2147483647 h 121"/>
                    <a:gd name="T4" fmla="*/ 2147483647 w 180"/>
                    <a:gd name="T5" fmla="*/ 2147483647 h 121"/>
                    <a:gd name="T6" fmla="*/ 2147483647 w 180"/>
                    <a:gd name="T7" fmla="*/ 2147483647 h 121"/>
                    <a:gd name="T8" fmla="*/ 2147483647 w 180"/>
                    <a:gd name="T9" fmla="*/ 2147483647 h 121"/>
                    <a:gd name="T10" fmla="*/ 2147483647 w 180"/>
                    <a:gd name="T11" fmla="*/ 2147483647 h 121"/>
                    <a:gd name="T12" fmla="*/ 2147483647 w 180"/>
                    <a:gd name="T13" fmla="*/ 2147483647 h 121"/>
                    <a:gd name="T14" fmla="*/ 2147483647 w 180"/>
                    <a:gd name="T15" fmla="*/ 2147483647 h 121"/>
                    <a:gd name="T16" fmla="*/ 2147483647 w 180"/>
                    <a:gd name="T17" fmla="*/ 2147483647 h 121"/>
                    <a:gd name="T18" fmla="*/ 2147483647 w 180"/>
                    <a:gd name="T19" fmla="*/ 2147483647 h 121"/>
                    <a:gd name="T20" fmla="*/ 2147483647 w 180"/>
                    <a:gd name="T21" fmla="*/ 2147483647 h 121"/>
                    <a:gd name="T22" fmla="*/ 2147483647 w 180"/>
                    <a:gd name="T23" fmla="*/ 2147483647 h 121"/>
                    <a:gd name="T24" fmla="*/ 2147483647 w 180"/>
                    <a:gd name="T25" fmla="*/ 2147483647 h 121"/>
                    <a:gd name="T26" fmla="*/ 2147483647 w 180"/>
                    <a:gd name="T27" fmla="*/ 2147483647 h 121"/>
                    <a:gd name="T28" fmla="*/ 2147483647 w 180"/>
                    <a:gd name="T29" fmla="*/ 2147483647 h 121"/>
                    <a:gd name="T30" fmla="*/ 2147483647 w 180"/>
                    <a:gd name="T31" fmla="*/ 2147483647 h 121"/>
                    <a:gd name="T32" fmla="*/ 2147483647 w 180"/>
                    <a:gd name="T33" fmla="*/ 2147483647 h 121"/>
                    <a:gd name="T34" fmla="*/ 2147483647 w 180"/>
                    <a:gd name="T35" fmla="*/ 2147483647 h 121"/>
                    <a:gd name="T36" fmla="*/ 2147483647 w 180"/>
                    <a:gd name="T37" fmla="*/ 2147483647 h 121"/>
                    <a:gd name="T38" fmla="*/ 2147483647 w 180"/>
                    <a:gd name="T39" fmla="*/ 2147483647 h 121"/>
                    <a:gd name="T40" fmla="*/ 0 w 180"/>
                    <a:gd name="T41" fmla="*/ 2147483647 h 121"/>
                    <a:gd name="T42" fmla="*/ 2147483647 w 180"/>
                    <a:gd name="T43" fmla="*/ 2147483647 h 121"/>
                    <a:gd name="T44" fmla="*/ 2147483647 w 180"/>
                    <a:gd name="T45" fmla="*/ 2147483647 h 121"/>
                    <a:gd name="T46" fmla="*/ 2147483647 w 180"/>
                    <a:gd name="T47" fmla="*/ 2147483647 h 121"/>
                    <a:gd name="T48" fmla="*/ 2147483647 w 180"/>
                    <a:gd name="T49" fmla="*/ 2147483647 h 121"/>
                    <a:gd name="T50" fmla="*/ 2147483647 w 180"/>
                    <a:gd name="T51" fmla="*/ 2147483647 h 121"/>
                    <a:gd name="T52" fmla="*/ 2147483647 w 180"/>
                    <a:gd name="T53" fmla="*/ 2147483647 h 121"/>
                    <a:gd name="T54" fmla="*/ 2147483647 w 180"/>
                    <a:gd name="T55" fmla="*/ 2147483647 h 121"/>
                    <a:gd name="T56" fmla="*/ 2147483647 w 180"/>
                    <a:gd name="T57" fmla="*/ 2147483647 h 121"/>
                    <a:gd name="T58" fmla="*/ 2147483647 w 180"/>
                    <a:gd name="T59" fmla="*/ 2147483647 h 121"/>
                    <a:gd name="T60" fmla="*/ 2147483647 w 180"/>
                    <a:gd name="T61" fmla="*/ 2147483647 h 121"/>
                    <a:gd name="T62" fmla="*/ 2147483647 w 180"/>
                    <a:gd name="T63" fmla="*/ 2147483647 h 121"/>
                    <a:gd name="T64" fmla="*/ 2147483647 w 180"/>
                    <a:gd name="T65" fmla="*/ 2147483647 h 121"/>
                    <a:gd name="T66" fmla="*/ 2147483647 w 180"/>
                    <a:gd name="T67" fmla="*/ 2147483647 h 121"/>
                    <a:gd name="T68" fmla="*/ 2147483647 w 180"/>
                    <a:gd name="T69" fmla="*/ 2147483647 h 121"/>
                    <a:gd name="T70" fmla="*/ 2147483647 w 180"/>
                    <a:gd name="T71" fmla="*/ 2147483647 h 121"/>
                    <a:gd name="T72" fmla="*/ 2147483647 w 180"/>
                    <a:gd name="T73" fmla="*/ 2147483647 h 121"/>
                    <a:gd name="T74" fmla="*/ 2147483647 w 180"/>
                    <a:gd name="T75" fmla="*/ 2147483647 h 121"/>
                    <a:gd name="T76" fmla="*/ 2147483647 w 180"/>
                    <a:gd name="T77" fmla="*/ 2147483647 h 121"/>
                    <a:gd name="T78" fmla="*/ 2147483647 w 180"/>
                    <a:gd name="T79" fmla="*/ 2147483647 h 121"/>
                    <a:gd name="T80" fmla="*/ 2147483647 w 180"/>
                    <a:gd name="T81" fmla="*/ 2147483647 h 121"/>
                    <a:gd name="T82" fmla="*/ 2147483647 w 180"/>
                    <a:gd name="T83" fmla="*/ 2147483647 h 121"/>
                    <a:gd name="T84" fmla="*/ 2147483647 w 180"/>
                    <a:gd name="T85" fmla="*/ 2147483647 h 121"/>
                    <a:gd name="T86" fmla="*/ 2147483647 w 180"/>
                    <a:gd name="T87" fmla="*/ 2147483647 h 121"/>
                    <a:gd name="T88" fmla="*/ 2147483647 w 180"/>
                    <a:gd name="T89" fmla="*/ 2147483647 h 121"/>
                    <a:gd name="T90" fmla="*/ 2147483647 w 180"/>
                    <a:gd name="T91" fmla="*/ 2147483647 h 121"/>
                    <a:gd name="T92" fmla="*/ 2147483647 w 180"/>
                    <a:gd name="T93" fmla="*/ 2147483647 h 121"/>
                    <a:gd name="T94" fmla="*/ 2147483647 w 180"/>
                    <a:gd name="T95" fmla="*/ 2147483647 h 121"/>
                    <a:gd name="T96" fmla="*/ 2147483647 w 180"/>
                    <a:gd name="T97" fmla="*/ 2147483647 h 121"/>
                    <a:gd name="T98" fmla="*/ 2147483647 w 180"/>
                    <a:gd name="T99" fmla="*/ 2147483647 h 121"/>
                    <a:gd name="T100" fmla="*/ 2147483647 w 180"/>
                    <a:gd name="T101" fmla="*/ 2147483647 h 121"/>
                    <a:gd name="T102" fmla="*/ 2147483647 w 180"/>
                    <a:gd name="T103" fmla="*/ 2147483647 h 121"/>
                    <a:gd name="T104" fmla="*/ 2147483647 w 180"/>
                    <a:gd name="T105" fmla="*/ 2147483647 h 121"/>
                    <a:gd name="T106" fmla="*/ 2147483647 w 180"/>
                    <a:gd name="T107" fmla="*/ 2147483647 h 121"/>
                    <a:gd name="T108" fmla="*/ 2147483647 w 180"/>
                    <a:gd name="T109" fmla="*/ 2147483647 h 121"/>
                    <a:gd name="T110" fmla="*/ 2147483647 w 180"/>
                    <a:gd name="T111" fmla="*/ 2147483647 h 121"/>
                    <a:gd name="T112" fmla="*/ 2147483647 w 180"/>
                    <a:gd name="T113" fmla="*/ 2147483647 h 121"/>
                    <a:gd name="T114" fmla="*/ 2147483647 w 180"/>
                    <a:gd name="T115" fmla="*/ 2147483647 h 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0"/>
                    <a:gd name="T175" fmla="*/ 0 h 121"/>
                    <a:gd name="T176" fmla="*/ 180 w 180"/>
                    <a:gd name="T177" fmla="*/ 121 h 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0" h="121">
                      <a:moveTo>
                        <a:pt x="159" y="30"/>
                      </a:moveTo>
                      <a:lnTo>
                        <a:pt x="159" y="30"/>
                      </a:lnTo>
                      <a:lnTo>
                        <a:pt x="153" y="30"/>
                      </a:lnTo>
                      <a:lnTo>
                        <a:pt x="148" y="30"/>
                      </a:lnTo>
                      <a:lnTo>
                        <a:pt x="143" y="29"/>
                      </a:lnTo>
                      <a:lnTo>
                        <a:pt x="138" y="27"/>
                      </a:lnTo>
                      <a:lnTo>
                        <a:pt x="134" y="23"/>
                      </a:lnTo>
                      <a:lnTo>
                        <a:pt x="130" y="21"/>
                      </a:lnTo>
                      <a:lnTo>
                        <a:pt x="127" y="21"/>
                      </a:lnTo>
                      <a:lnTo>
                        <a:pt x="125" y="21"/>
                      </a:lnTo>
                      <a:lnTo>
                        <a:pt x="124" y="21"/>
                      </a:lnTo>
                      <a:lnTo>
                        <a:pt x="120" y="20"/>
                      </a:lnTo>
                      <a:lnTo>
                        <a:pt x="117" y="19"/>
                      </a:lnTo>
                      <a:lnTo>
                        <a:pt x="116" y="17"/>
                      </a:lnTo>
                      <a:lnTo>
                        <a:pt x="115" y="13"/>
                      </a:lnTo>
                      <a:lnTo>
                        <a:pt x="113" y="8"/>
                      </a:lnTo>
                      <a:lnTo>
                        <a:pt x="113" y="7"/>
                      </a:lnTo>
                      <a:lnTo>
                        <a:pt x="111" y="6"/>
                      </a:lnTo>
                      <a:lnTo>
                        <a:pt x="103" y="2"/>
                      </a:lnTo>
                      <a:lnTo>
                        <a:pt x="100" y="1"/>
                      </a:lnTo>
                      <a:lnTo>
                        <a:pt x="96" y="0"/>
                      </a:lnTo>
                      <a:lnTo>
                        <a:pt x="93" y="1"/>
                      </a:lnTo>
                      <a:lnTo>
                        <a:pt x="92" y="1"/>
                      </a:lnTo>
                      <a:lnTo>
                        <a:pt x="88" y="4"/>
                      </a:lnTo>
                      <a:lnTo>
                        <a:pt x="86" y="9"/>
                      </a:lnTo>
                      <a:lnTo>
                        <a:pt x="86" y="14"/>
                      </a:lnTo>
                      <a:lnTo>
                        <a:pt x="88" y="19"/>
                      </a:lnTo>
                      <a:lnTo>
                        <a:pt x="92" y="22"/>
                      </a:lnTo>
                      <a:lnTo>
                        <a:pt x="96" y="27"/>
                      </a:lnTo>
                      <a:lnTo>
                        <a:pt x="96" y="28"/>
                      </a:lnTo>
                      <a:lnTo>
                        <a:pt x="94" y="30"/>
                      </a:lnTo>
                      <a:lnTo>
                        <a:pt x="92" y="32"/>
                      </a:lnTo>
                      <a:lnTo>
                        <a:pt x="88" y="32"/>
                      </a:lnTo>
                      <a:lnTo>
                        <a:pt x="84" y="30"/>
                      </a:lnTo>
                      <a:lnTo>
                        <a:pt x="83" y="29"/>
                      </a:lnTo>
                      <a:lnTo>
                        <a:pt x="79" y="17"/>
                      </a:lnTo>
                      <a:lnTo>
                        <a:pt x="77" y="13"/>
                      </a:lnTo>
                      <a:lnTo>
                        <a:pt x="73" y="8"/>
                      </a:lnTo>
                      <a:lnTo>
                        <a:pt x="70" y="8"/>
                      </a:lnTo>
                      <a:lnTo>
                        <a:pt x="69" y="9"/>
                      </a:lnTo>
                      <a:lnTo>
                        <a:pt x="65" y="14"/>
                      </a:lnTo>
                      <a:lnTo>
                        <a:pt x="64" y="14"/>
                      </a:lnTo>
                      <a:lnTo>
                        <a:pt x="63" y="14"/>
                      </a:lnTo>
                      <a:lnTo>
                        <a:pt x="59" y="14"/>
                      </a:lnTo>
                      <a:lnTo>
                        <a:pt x="58" y="15"/>
                      </a:lnTo>
                      <a:lnTo>
                        <a:pt x="56" y="17"/>
                      </a:lnTo>
                      <a:lnTo>
                        <a:pt x="56" y="20"/>
                      </a:lnTo>
                      <a:lnTo>
                        <a:pt x="55" y="21"/>
                      </a:lnTo>
                      <a:lnTo>
                        <a:pt x="51" y="21"/>
                      </a:lnTo>
                      <a:lnTo>
                        <a:pt x="49" y="21"/>
                      </a:lnTo>
                      <a:lnTo>
                        <a:pt x="45" y="19"/>
                      </a:lnTo>
                      <a:lnTo>
                        <a:pt x="42" y="16"/>
                      </a:lnTo>
                      <a:lnTo>
                        <a:pt x="41" y="15"/>
                      </a:lnTo>
                      <a:lnTo>
                        <a:pt x="41" y="14"/>
                      </a:lnTo>
                      <a:lnTo>
                        <a:pt x="44" y="11"/>
                      </a:lnTo>
                      <a:lnTo>
                        <a:pt x="50" y="10"/>
                      </a:lnTo>
                      <a:lnTo>
                        <a:pt x="50" y="9"/>
                      </a:lnTo>
                      <a:lnTo>
                        <a:pt x="50" y="8"/>
                      </a:lnTo>
                      <a:lnTo>
                        <a:pt x="49" y="7"/>
                      </a:lnTo>
                      <a:lnTo>
                        <a:pt x="36" y="8"/>
                      </a:lnTo>
                      <a:lnTo>
                        <a:pt x="23" y="8"/>
                      </a:lnTo>
                      <a:lnTo>
                        <a:pt x="13" y="6"/>
                      </a:lnTo>
                      <a:lnTo>
                        <a:pt x="8" y="6"/>
                      </a:lnTo>
                      <a:lnTo>
                        <a:pt x="4" y="7"/>
                      </a:lnTo>
                      <a:lnTo>
                        <a:pt x="2" y="8"/>
                      </a:lnTo>
                      <a:lnTo>
                        <a:pt x="0" y="11"/>
                      </a:lnTo>
                      <a:lnTo>
                        <a:pt x="0" y="19"/>
                      </a:lnTo>
                      <a:lnTo>
                        <a:pt x="3" y="27"/>
                      </a:lnTo>
                      <a:lnTo>
                        <a:pt x="6" y="34"/>
                      </a:lnTo>
                      <a:lnTo>
                        <a:pt x="7" y="34"/>
                      </a:lnTo>
                      <a:lnTo>
                        <a:pt x="8" y="33"/>
                      </a:lnTo>
                      <a:lnTo>
                        <a:pt x="9" y="30"/>
                      </a:lnTo>
                      <a:lnTo>
                        <a:pt x="12" y="29"/>
                      </a:lnTo>
                      <a:lnTo>
                        <a:pt x="13" y="29"/>
                      </a:lnTo>
                      <a:lnTo>
                        <a:pt x="14" y="30"/>
                      </a:lnTo>
                      <a:lnTo>
                        <a:pt x="16" y="34"/>
                      </a:lnTo>
                      <a:lnTo>
                        <a:pt x="16" y="45"/>
                      </a:lnTo>
                      <a:lnTo>
                        <a:pt x="16" y="47"/>
                      </a:lnTo>
                      <a:lnTo>
                        <a:pt x="17" y="49"/>
                      </a:lnTo>
                      <a:lnTo>
                        <a:pt x="22" y="51"/>
                      </a:lnTo>
                      <a:lnTo>
                        <a:pt x="27" y="52"/>
                      </a:lnTo>
                      <a:lnTo>
                        <a:pt x="31" y="53"/>
                      </a:lnTo>
                      <a:lnTo>
                        <a:pt x="32" y="55"/>
                      </a:lnTo>
                      <a:lnTo>
                        <a:pt x="35" y="57"/>
                      </a:lnTo>
                      <a:lnTo>
                        <a:pt x="45" y="60"/>
                      </a:lnTo>
                      <a:lnTo>
                        <a:pt x="50" y="61"/>
                      </a:lnTo>
                      <a:lnTo>
                        <a:pt x="55" y="60"/>
                      </a:lnTo>
                      <a:lnTo>
                        <a:pt x="56" y="59"/>
                      </a:lnTo>
                      <a:lnTo>
                        <a:pt x="58" y="55"/>
                      </a:lnTo>
                      <a:lnTo>
                        <a:pt x="60" y="48"/>
                      </a:lnTo>
                      <a:lnTo>
                        <a:pt x="60" y="46"/>
                      </a:lnTo>
                      <a:lnTo>
                        <a:pt x="61" y="46"/>
                      </a:lnTo>
                      <a:lnTo>
                        <a:pt x="65" y="45"/>
                      </a:lnTo>
                      <a:lnTo>
                        <a:pt x="68" y="43"/>
                      </a:lnTo>
                      <a:lnTo>
                        <a:pt x="70" y="42"/>
                      </a:lnTo>
                      <a:lnTo>
                        <a:pt x="72" y="39"/>
                      </a:lnTo>
                      <a:lnTo>
                        <a:pt x="75" y="38"/>
                      </a:lnTo>
                      <a:lnTo>
                        <a:pt x="77" y="38"/>
                      </a:lnTo>
                      <a:lnTo>
                        <a:pt x="79" y="38"/>
                      </a:lnTo>
                      <a:lnTo>
                        <a:pt x="80" y="40"/>
                      </a:lnTo>
                      <a:lnTo>
                        <a:pt x="80" y="42"/>
                      </a:lnTo>
                      <a:lnTo>
                        <a:pt x="79" y="43"/>
                      </a:lnTo>
                      <a:lnTo>
                        <a:pt x="78" y="46"/>
                      </a:lnTo>
                      <a:lnTo>
                        <a:pt x="77" y="47"/>
                      </a:lnTo>
                      <a:lnTo>
                        <a:pt x="77" y="48"/>
                      </a:lnTo>
                      <a:lnTo>
                        <a:pt x="78" y="51"/>
                      </a:lnTo>
                      <a:lnTo>
                        <a:pt x="80" y="52"/>
                      </a:lnTo>
                      <a:lnTo>
                        <a:pt x="86" y="52"/>
                      </a:lnTo>
                      <a:lnTo>
                        <a:pt x="91" y="52"/>
                      </a:lnTo>
                      <a:lnTo>
                        <a:pt x="93" y="52"/>
                      </a:lnTo>
                      <a:lnTo>
                        <a:pt x="93" y="53"/>
                      </a:lnTo>
                      <a:lnTo>
                        <a:pt x="92" y="57"/>
                      </a:lnTo>
                      <a:lnTo>
                        <a:pt x="89" y="59"/>
                      </a:lnTo>
                      <a:lnTo>
                        <a:pt x="87" y="61"/>
                      </a:lnTo>
                      <a:lnTo>
                        <a:pt x="82" y="62"/>
                      </a:lnTo>
                      <a:lnTo>
                        <a:pt x="70" y="65"/>
                      </a:lnTo>
                      <a:lnTo>
                        <a:pt x="58" y="66"/>
                      </a:lnTo>
                      <a:lnTo>
                        <a:pt x="54" y="68"/>
                      </a:lnTo>
                      <a:lnTo>
                        <a:pt x="54" y="70"/>
                      </a:lnTo>
                      <a:lnTo>
                        <a:pt x="54" y="71"/>
                      </a:lnTo>
                      <a:lnTo>
                        <a:pt x="58" y="73"/>
                      </a:lnTo>
                      <a:lnTo>
                        <a:pt x="61" y="73"/>
                      </a:lnTo>
                      <a:lnTo>
                        <a:pt x="69" y="73"/>
                      </a:lnTo>
                      <a:lnTo>
                        <a:pt x="84" y="71"/>
                      </a:lnTo>
                      <a:lnTo>
                        <a:pt x="89" y="71"/>
                      </a:lnTo>
                      <a:lnTo>
                        <a:pt x="93" y="72"/>
                      </a:lnTo>
                      <a:lnTo>
                        <a:pt x="93" y="73"/>
                      </a:lnTo>
                      <a:lnTo>
                        <a:pt x="91" y="74"/>
                      </a:lnTo>
                      <a:lnTo>
                        <a:pt x="86" y="74"/>
                      </a:lnTo>
                      <a:lnTo>
                        <a:pt x="83" y="74"/>
                      </a:lnTo>
                      <a:lnTo>
                        <a:pt x="82" y="75"/>
                      </a:lnTo>
                      <a:lnTo>
                        <a:pt x="82" y="77"/>
                      </a:lnTo>
                      <a:lnTo>
                        <a:pt x="83" y="79"/>
                      </a:lnTo>
                      <a:lnTo>
                        <a:pt x="86" y="79"/>
                      </a:lnTo>
                      <a:lnTo>
                        <a:pt x="87" y="80"/>
                      </a:lnTo>
                      <a:lnTo>
                        <a:pt x="87" y="81"/>
                      </a:lnTo>
                      <a:lnTo>
                        <a:pt x="82" y="85"/>
                      </a:lnTo>
                      <a:lnTo>
                        <a:pt x="77" y="86"/>
                      </a:lnTo>
                      <a:lnTo>
                        <a:pt x="70" y="86"/>
                      </a:lnTo>
                      <a:lnTo>
                        <a:pt x="64" y="85"/>
                      </a:lnTo>
                      <a:lnTo>
                        <a:pt x="61" y="86"/>
                      </a:lnTo>
                      <a:lnTo>
                        <a:pt x="60" y="89"/>
                      </a:lnTo>
                      <a:lnTo>
                        <a:pt x="60" y="91"/>
                      </a:lnTo>
                      <a:lnTo>
                        <a:pt x="61" y="93"/>
                      </a:lnTo>
                      <a:lnTo>
                        <a:pt x="70" y="98"/>
                      </a:lnTo>
                      <a:lnTo>
                        <a:pt x="78" y="102"/>
                      </a:lnTo>
                      <a:lnTo>
                        <a:pt x="86" y="107"/>
                      </a:lnTo>
                      <a:lnTo>
                        <a:pt x="93" y="115"/>
                      </a:lnTo>
                      <a:lnTo>
                        <a:pt x="98" y="119"/>
                      </a:lnTo>
                      <a:lnTo>
                        <a:pt x="101" y="121"/>
                      </a:lnTo>
                      <a:lnTo>
                        <a:pt x="105" y="121"/>
                      </a:lnTo>
                      <a:lnTo>
                        <a:pt x="106" y="119"/>
                      </a:lnTo>
                      <a:lnTo>
                        <a:pt x="107" y="116"/>
                      </a:lnTo>
                      <a:lnTo>
                        <a:pt x="107" y="112"/>
                      </a:lnTo>
                      <a:lnTo>
                        <a:pt x="108" y="110"/>
                      </a:lnTo>
                      <a:lnTo>
                        <a:pt x="116" y="99"/>
                      </a:lnTo>
                      <a:lnTo>
                        <a:pt x="122" y="91"/>
                      </a:lnTo>
                      <a:lnTo>
                        <a:pt x="127" y="81"/>
                      </a:lnTo>
                      <a:lnTo>
                        <a:pt x="133" y="68"/>
                      </a:lnTo>
                      <a:lnTo>
                        <a:pt x="135" y="67"/>
                      </a:lnTo>
                      <a:lnTo>
                        <a:pt x="138" y="67"/>
                      </a:lnTo>
                      <a:lnTo>
                        <a:pt x="139" y="66"/>
                      </a:lnTo>
                      <a:lnTo>
                        <a:pt x="141" y="65"/>
                      </a:lnTo>
                      <a:lnTo>
                        <a:pt x="143" y="59"/>
                      </a:lnTo>
                      <a:lnTo>
                        <a:pt x="143" y="57"/>
                      </a:lnTo>
                      <a:lnTo>
                        <a:pt x="144" y="54"/>
                      </a:lnTo>
                      <a:lnTo>
                        <a:pt x="148" y="52"/>
                      </a:lnTo>
                      <a:lnTo>
                        <a:pt x="153" y="52"/>
                      </a:lnTo>
                      <a:lnTo>
                        <a:pt x="158" y="51"/>
                      </a:lnTo>
                      <a:lnTo>
                        <a:pt x="162" y="49"/>
                      </a:lnTo>
                      <a:lnTo>
                        <a:pt x="169" y="45"/>
                      </a:lnTo>
                      <a:lnTo>
                        <a:pt x="177" y="42"/>
                      </a:lnTo>
                      <a:lnTo>
                        <a:pt x="178" y="41"/>
                      </a:lnTo>
                      <a:lnTo>
                        <a:pt x="180" y="40"/>
                      </a:lnTo>
                      <a:lnTo>
                        <a:pt x="173" y="39"/>
                      </a:lnTo>
                      <a:lnTo>
                        <a:pt x="168" y="38"/>
                      </a:lnTo>
                      <a:lnTo>
                        <a:pt x="167" y="36"/>
                      </a:lnTo>
                      <a:lnTo>
                        <a:pt x="168" y="35"/>
                      </a:lnTo>
                      <a:lnTo>
                        <a:pt x="169" y="33"/>
                      </a:lnTo>
                      <a:lnTo>
                        <a:pt x="168" y="32"/>
                      </a:lnTo>
                      <a:lnTo>
                        <a:pt x="164" y="32"/>
                      </a:lnTo>
                      <a:lnTo>
                        <a:pt x="159" y="3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6" name="Freeform 411"/>
                <p:cNvSpPr>
                  <a:spLocks/>
                </p:cNvSpPr>
                <p:nvPr/>
              </p:nvSpPr>
              <p:spPr bwMode="auto">
                <a:xfrm>
                  <a:off x="5981163" y="2084820"/>
                  <a:ext cx="29597" cy="29598"/>
                </a:xfrm>
                <a:custGeom>
                  <a:avLst/>
                  <a:gdLst>
                    <a:gd name="T0" fmla="*/ 2147483647 w 22"/>
                    <a:gd name="T1" fmla="*/ 2147483647 h 20"/>
                    <a:gd name="T2" fmla="*/ 2147483647 w 22"/>
                    <a:gd name="T3" fmla="*/ 2147483647 h 20"/>
                    <a:gd name="T4" fmla="*/ 2147483647 w 22"/>
                    <a:gd name="T5" fmla="*/ 2147483647 h 20"/>
                    <a:gd name="T6" fmla="*/ 2147483647 w 22"/>
                    <a:gd name="T7" fmla="*/ 2147483647 h 20"/>
                    <a:gd name="T8" fmla="*/ 2147483647 w 22"/>
                    <a:gd name="T9" fmla="*/ 2147483647 h 20"/>
                    <a:gd name="T10" fmla="*/ 2147483647 w 22"/>
                    <a:gd name="T11" fmla="*/ 2147483647 h 20"/>
                    <a:gd name="T12" fmla="*/ 2147483647 w 22"/>
                    <a:gd name="T13" fmla="*/ 2147483647 h 20"/>
                    <a:gd name="T14" fmla="*/ 2147483647 w 22"/>
                    <a:gd name="T15" fmla="*/ 2147483647 h 20"/>
                    <a:gd name="T16" fmla="*/ 2147483647 w 22"/>
                    <a:gd name="T17" fmla="*/ 2147483647 h 20"/>
                    <a:gd name="T18" fmla="*/ 2147483647 w 22"/>
                    <a:gd name="T19" fmla="*/ 2147483647 h 20"/>
                    <a:gd name="T20" fmla="*/ 2147483647 w 22"/>
                    <a:gd name="T21" fmla="*/ 2147483647 h 20"/>
                    <a:gd name="T22" fmla="*/ 2147483647 w 22"/>
                    <a:gd name="T23" fmla="*/ 2147483647 h 20"/>
                    <a:gd name="T24" fmla="*/ 2147483647 w 22"/>
                    <a:gd name="T25" fmla="*/ 2147483647 h 20"/>
                    <a:gd name="T26" fmla="*/ 2147483647 w 22"/>
                    <a:gd name="T27" fmla="*/ 2147483647 h 20"/>
                    <a:gd name="T28" fmla="*/ 2147483647 w 22"/>
                    <a:gd name="T29" fmla="*/ 2147483647 h 20"/>
                    <a:gd name="T30" fmla="*/ 0 w 22"/>
                    <a:gd name="T31" fmla="*/ 2147483647 h 20"/>
                    <a:gd name="T32" fmla="*/ 2147483647 w 22"/>
                    <a:gd name="T33" fmla="*/ 2147483647 h 20"/>
                    <a:gd name="T34" fmla="*/ 2147483647 w 22"/>
                    <a:gd name="T35" fmla="*/ 2147483647 h 20"/>
                    <a:gd name="T36" fmla="*/ 2147483647 w 22"/>
                    <a:gd name="T37" fmla="*/ 2147483647 h 20"/>
                    <a:gd name="T38" fmla="*/ 2147483647 w 22"/>
                    <a:gd name="T39" fmla="*/ 2147483647 h 20"/>
                    <a:gd name="T40" fmla="*/ 2147483647 w 22"/>
                    <a:gd name="T41" fmla="*/ 2147483647 h 20"/>
                    <a:gd name="T42" fmla="*/ 2147483647 w 22"/>
                    <a:gd name="T43" fmla="*/ 0 h 20"/>
                    <a:gd name="T44" fmla="*/ 2147483647 w 22"/>
                    <a:gd name="T45" fmla="*/ 2147483647 h 20"/>
                    <a:gd name="T46" fmla="*/ 2147483647 w 22"/>
                    <a:gd name="T47" fmla="*/ 2147483647 h 20"/>
                    <a:gd name="T48" fmla="*/ 2147483647 w 22"/>
                    <a:gd name="T49" fmla="*/ 2147483647 h 20"/>
                    <a:gd name="T50" fmla="*/ 2147483647 w 22"/>
                    <a:gd name="T51" fmla="*/ 2147483647 h 20"/>
                    <a:gd name="T52" fmla="*/ 2147483647 w 22"/>
                    <a:gd name="T53" fmla="*/ 2147483647 h 20"/>
                    <a:gd name="T54" fmla="*/ 2147483647 w 22"/>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
                    <a:gd name="T85" fmla="*/ 0 h 20"/>
                    <a:gd name="T86" fmla="*/ 22 w 22"/>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 h="20">
                      <a:moveTo>
                        <a:pt x="18" y="8"/>
                      </a:moveTo>
                      <a:lnTo>
                        <a:pt x="18" y="8"/>
                      </a:lnTo>
                      <a:lnTo>
                        <a:pt x="17" y="9"/>
                      </a:lnTo>
                      <a:lnTo>
                        <a:pt x="17" y="11"/>
                      </a:lnTo>
                      <a:lnTo>
                        <a:pt x="17" y="14"/>
                      </a:lnTo>
                      <a:lnTo>
                        <a:pt x="16" y="16"/>
                      </a:lnTo>
                      <a:lnTo>
                        <a:pt x="13" y="16"/>
                      </a:lnTo>
                      <a:lnTo>
                        <a:pt x="11" y="16"/>
                      </a:lnTo>
                      <a:lnTo>
                        <a:pt x="7" y="19"/>
                      </a:lnTo>
                      <a:lnTo>
                        <a:pt x="4" y="20"/>
                      </a:lnTo>
                      <a:lnTo>
                        <a:pt x="3" y="19"/>
                      </a:lnTo>
                      <a:lnTo>
                        <a:pt x="2" y="17"/>
                      </a:lnTo>
                      <a:lnTo>
                        <a:pt x="0" y="15"/>
                      </a:lnTo>
                      <a:lnTo>
                        <a:pt x="2" y="10"/>
                      </a:lnTo>
                      <a:lnTo>
                        <a:pt x="6" y="7"/>
                      </a:lnTo>
                      <a:lnTo>
                        <a:pt x="9" y="3"/>
                      </a:lnTo>
                      <a:lnTo>
                        <a:pt x="14" y="1"/>
                      </a:lnTo>
                      <a:lnTo>
                        <a:pt x="18" y="0"/>
                      </a:lnTo>
                      <a:lnTo>
                        <a:pt x="21" y="1"/>
                      </a:lnTo>
                      <a:lnTo>
                        <a:pt x="22" y="2"/>
                      </a:lnTo>
                      <a:lnTo>
                        <a:pt x="21" y="4"/>
                      </a:lnTo>
                      <a:lnTo>
                        <a:pt x="18"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7" name="Freeform 412"/>
                <p:cNvSpPr>
                  <a:spLocks/>
                </p:cNvSpPr>
                <p:nvPr/>
              </p:nvSpPr>
              <p:spPr bwMode="auto">
                <a:xfrm>
                  <a:off x="6003363" y="2266845"/>
                  <a:ext cx="39957" cy="31078"/>
                </a:xfrm>
                <a:custGeom>
                  <a:avLst/>
                  <a:gdLst>
                    <a:gd name="T0" fmla="*/ 2147483647 w 29"/>
                    <a:gd name="T1" fmla="*/ 2147483647 h 21"/>
                    <a:gd name="T2" fmla="*/ 2147483647 w 29"/>
                    <a:gd name="T3" fmla="*/ 2147483647 h 21"/>
                    <a:gd name="T4" fmla="*/ 2147483647 w 29"/>
                    <a:gd name="T5" fmla="*/ 2147483647 h 21"/>
                    <a:gd name="T6" fmla="*/ 2147483647 w 29"/>
                    <a:gd name="T7" fmla="*/ 2147483647 h 21"/>
                    <a:gd name="T8" fmla="*/ 2147483647 w 29"/>
                    <a:gd name="T9" fmla="*/ 0 h 21"/>
                    <a:gd name="T10" fmla="*/ 2147483647 w 29"/>
                    <a:gd name="T11" fmla="*/ 0 h 21"/>
                    <a:gd name="T12" fmla="*/ 2147483647 w 29"/>
                    <a:gd name="T13" fmla="*/ 2147483647 h 21"/>
                    <a:gd name="T14" fmla="*/ 2147483647 w 29"/>
                    <a:gd name="T15" fmla="*/ 2147483647 h 21"/>
                    <a:gd name="T16" fmla="*/ 2147483647 w 29"/>
                    <a:gd name="T17" fmla="*/ 2147483647 h 21"/>
                    <a:gd name="T18" fmla="*/ 0 w 29"/>
                    <a:gd name="T19" fmla="*/ 2147483647 h 21"/>
                    <a:gd name="T20" fmla="*/ 2147483647 w 29"/>
                    <a:gd name="T21" fmla="*/ 2147483647 h 21"/>
                    <a:gd name="T22" fmla="*/ 2147483647 w 29"/>
                    <a:gd name="T23" fmla="*/ 2147483647 h 21"/>
                    <a:gd name="T24" fmla="*/ 2147483647 w 29"/>
                    <a:gd name="T25" fmla="*/ 2147483647 h 21"/>
                    <a:gd name="T26" fmla="*/ 2147483647 w 29"/>
                    <a:gd name="T27" fmla="*/ 2147483647 h 21"/>
                    <a:gd name="T28" fmla="*/ 2147483647 w 29"/>
                    <a:gd name="T29" fmla="*/ 2147483647 h 21"/>
                    <a:gd name="T30" fmla="*/ 2147483647 w 29"/>
                    <a:gd name="T31" fmla="*/ 2147483647 h 21"/>
                    <a:gd name="T32" fmla="*/ 2147483647 w 29"/>
                    <a:gd name="T33" fmla="*/ 2147483647 h 21"/>
                    <a:gd name="T34" fmla="*/ 2147483647 w 29"/>
                    <a:gd name="T35" fmla="*/ 2147483647 h 21"/>
                    <a:gd name="T36" fmla="*/ 2147483647 w 29"/>
                    <a:gd name="T37" fmla="*/ 2147483647 h 21"/>
                    <a:gd name="T38" fmla="*/ 2147483647 w 29"/>
                    <a:gd name="T39" fmla="*/ 2147483647 h 21"/>
                    <a:gd name="T40" fmla="*/ 2147483647 w 29"/>
                    <a:gd name="T41" fmla="*/ 2147483647 h 21"/>
                    <a:gd name="T42" fmla="*/ 2147483647 w 29"/>
                    <a:gd name="T43" fmla="*/ 2147483647 h 21"/>
                    <a:gd name="T44" fmla="*/ 2147483647 w 29"/>
                    <a:gd name="T45" fmla="*/ 2147483647 h 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
                    <a:gd name="T70" fmla="*/ 0 h 21"/>
                    <a:gd name="T71" fmla="*/ 29 w 29"/>
                    <a:gd name="T72" fmla="*/ 21 h 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 h="21">
                      <a:moveTo>
                        <a:pt x="28" y="11"/>
                      </a:moveTo>
                      <a:lnTo>
                        <a:pt x="24" y="9"/>
                      </a:lnTo>
                      <a:lnTo>
                        <a:pt x="21" y="8"/>
                      </a:lnTo>
                      <a:lnTo>
                        <a:pt x="12" y="2"/>
                      </a:lnTo>
                      <a:lnTo>
                        <a:pt x="7" y="0"/>
                      </a:lnTo>
                      <a:lnTo>
                        <a:pt x="6" y="0"/>
                      </a:lnTo>
                      <a:lnTo>
                        <a:pt x="3" y="1"/>
                      </a:lnTo>
                      <a:lnTo>
                        <a:pt x="2" y="3"/>
                      </a:lnTo>
                      <a:lnTo>
                        <a:pt x="1" y="7"/>
                      </a:lnTo>
                      <a:lnTo>
                        <a:pt x="0" y="11"/>
                      </a:lnTo>
                      <a:lnTo>
                        <a:pt x="1" y="12"/>
                      </a:lnTo>
                      <a:lnTo>
                        <a:pt x="2" y="12"/>
                      </a:lnTo>
                      <a:lnTo>
                        <a:pt x="7" y="13"/>
                      </a:lnTo>
                      <a:lnTo>
                        <a:pt x="11" y="15"/>
                      </a:lnTo>
                      <a:lnTo>
                        <a:pt x="14" y="18"/>
                      </a:lnTo>
                      <a:lnTo>
                        <a:pt x="17" y="21"/>
                      </a:lnTo>
                      <a:lnTo>
                        <a:pt x="19" y="21"/>
                      </a:lnTo>
                      <a:lnTo>
                        <a:pt x="20" y="20"/>
                      </a:lnTo>
                      <a:lnTo>
                        <a:pt x="24" y="17"/>
                      </a:lnTo>
                      <a:lnTo>
                        <a:pt x="29" y="13"/>
                      </a:lnTo>
                      <a:lnTo>
                        <a:pt x="29" y="12"/>
                      </a:lnTo>
                      <a:lnTo>
                        <a:pt x="29" y="11"/>
                      </a:lnTo>
                      <a:lnTo>
                        <a:pt x="28"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8" name="Freeform 413"/>
                <p:cNvSpPr>
                  <a:spLocks/>
                </p:cNvSpPr>
                <p:nvPr/>
              </p:nvSpPr>
              <p:spPr bwMode="auto">
                <a:xfrm>
                  <a:off x="6275657" y="2123299"/>
                  <a:ext cx="29597" cy="22198"/>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0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0 h 15"/>
                    <a:gd name="T18" fmla="*/ 2147483647 w 22"/>
                    <a:gd name="T19" fmla="*/ 2147483647 h 15"/>
                    <a:gd name="T20" fmla="*/ 2147483647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2147483647 w 22"/>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
                    <a:gd name="T49" fmla="*/ 0 h 15"/>
                    <a:gd name="T50" fmla="*/ 22 w 22"/>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 h="15">
                      <a:moveTo>
                        <a:pt x="14" y="15"/>
                      </a:moveTo>
                      <a:lnTo>
                        <a:pt x="9" y="14"/>
                      </a:lnTo>
                      <a:lnTo>
                        <a:pt x="5" y="14"/>
                      </a:lnTo>
                      <a:lnTo>
                        <a:pt x="1" y="14"/>
                      </a:lnTo>
                      <a:lnTo>
                        <a:pt x="0" y="14"/>
                      </a:lnTo>
                      <a:lnTo>
                        <a:pt x="1" y="13"/>
                      </a:lnTo>
                      <a:lnTo>
                        <a:pt x="5" y="4"/>
                      </a:lnTo>
                      <a:lnTo>
                        <a:pt x="9" y="1"/>
                      </a:lnTo>
                      <a:lnTo>
                        <a:pt x="14" y="0"/>
                      </a:lnTo>
                      <a:lnTo>
                        <a:pt x="17" y="1"/>
                      </a:lnTo>
                      <a:lnTo>
                        <a:pt x="20" y="4"/>
                      </a:lnTo>
                      <a:lnTo>
                        <a:pt x="22" y="9"/>
                      </a:lnTo>
                      <a:lnTo>
                        <a:pt x="20" y="14"/>
                      </a:lnTo>
                      <a:lnTo>
                        <a:pt x="19" y="15"/>
                      </a:lnTo>
                      <a:lnTo>
                        <a:pt x="18" y="15"/>
                      </a:lnTo>
                      <a:lnTo>
                        <a:pt x="14"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79" name="Freeform 414"/>
                <p:cNvSpPr>
                  <a:spLocks/>
                </p:cNvSpPr>
                <p:nvPr/>
              </p:nvSpPr>
              <p:spPr bwMode="auto">
                <a:xfrm>
                  <a:off x="6000400" y="2265366"/>
                  <a:ext cx="41436" cy="31077"/>
                </a:xfrm>
                <a:custGeom>
                  <a:avLst/>
                  <a:gdLst>
                    <a:gd name="T0" fmla="*/ 2147483647 w 30"/>
                    <a:gd name="T1" fmla="*/ 2147483647 h 21"/>
                    <a:gd name="T2" fmla="*/ 2147483647 w 30"/>
                    <a:gd name="T3" fmla="*/ 2147483647 h 21"/>
                    <a:gd name="T4" fmla="*/ 2147483647 w 30"/>
                    <a:gd name="T5" fmla="*/ 2147483647 h 21"/>
                    <a:gd name="T6" fmla="*/ 2147483647 w 30"/>
                    <a:gd name="T7" fmla="*/ 2147483647 h 21"/>
                    <a:gd name="T8" fmla="*/ 2147483647 w 30"/>
                    <a:gd name="T9" fmla="*/ 2147483647 h 21"/>
                    <a:gd name="T10" fmla="*/ 2147483647 w 30"/>
                    <a:gd name="T11" fmla="*/ 2147483647 h 21"/>
                    <a:gd name="T12" fmla="*/ 2147483647 w 30"/>
                    <a:gd name="T13" fmla="*/ 0 h 21"/>
                    <a:gd name="T14" fmla="*/ 2147483647 w 30"/>
                    <a:gd name="T15" fmla="*/ 0 h 21"/>
                    <a:gd name="T16" fmla="*/ 2147483647 w 30"/>
                    <a:gd name="T17" fmla="*/ 2147483647 h 21"/>
                    <a:gd name="T18" fmla="*/ 2147483647 w 30"/>
                    <a:gd name="T19" fmla="*/ 2147483647 h 21"/>
                    <a:gd name="T20" fmla="*/ 2147483647 w 30"/>
                    <a:gd name="T21" fmla="*/ 2147483647 h 21"/>
                    <a:gd name="T22" fmla="*/ 2147483647 w 30"/>
                    <a:gd name="T23" fmla="*/ 2147483647 h 21"/>
                    <a:gd name="T24" fmla="*/ 0 w 30"/>
                    <a:gd name="T25" fmla="*/ 2147483647 h 21"/>
                    <a:gd name="T26" fmla="*/ 2147483647 w 30"/>
                    <a:gd name="T27" fmla="*/ 2147483647 h 21"/>
                    <a:gd name="T28" fmla="*/ 2147483647 w 30"/>
                    <a:gd name="T29" fmla="*/ 2147483647 h 21"/>
                    <a:gd name="T30" fmla="*/ 2147483647 w 30"/>
                    <a:gd name="T31" fmla="*/ 2147483647 h 21"/>
                    <a:gd name="T32" fmla="*/ 2147483647 w 30"/>
                    <a:gd name="T33" fmla="*/ 2147483647 h 21"/>
                    <a:gd name="T34" fmla="*/ 2147483647 w 30"/>
                    <a:gd name="T35" fmla="*/ 2147483647 h 21"/>
                    <a:gd name="T36" fmla="*/ 2147483647 w 30"/>
                    <a:gd name="T37" fmla="*/ 2147483647 h 21"/>
                    <a:gd name="T38" fmla="*/ 2147483647 w 30"/>
                    <a:gd name="T39" fmla="*/ 2147483647 h 21"/>
                    <a:gd name="T40" fmla="*/ 2147483647 w 30"/>
                    <a:gd name="T41" fmla="*/ 2147483647 h 21"/>
                    <a:gd name="T42" fmla="*/ 2147483647 w 30"/>
                    <a:gd name="T43" fmla="*/ 2147483647 h 21"/>
                    <a:gd name="T44" fmla="*/ 2147483647 w 30"/>
                    <a:gd name="T45" fmla="*/ 2147483647 h 21"/>
                    <a:gd name="T46" fmla="*/ 2147483647 w 30"/>
                    <a:gd name="T47" fmla="*/ 2147483647 h 21"/>
                    <a:gd name="T48" fmla="*/ 2147483647 w 30"/>
                    <a:gd name="T49" fmla="*/ 2147483647 h 21"/>
                    <a:gd name="T50" fmla="*/ 2147483647 w 30"/>
                    <a:gd name="T51" fmla="*/ 2147483647 h 21"/>
                    <a:gd name="T52" fmla="*/ 2147483647 w 30"/>
                    <a:gd name="T53" fmla="*/ 2147483647 h 21"/>
                    <a:gd name="T54" fmla="*/ 2147483647 w 30"/>
                    <a:gd name="T55" fmla="*/ 2147483647 h 21"/>
                    <a:gd name="T56" fmla="*/ 2147483647 w 30"/>
                    <a:gd name="T57" fmla="*/ 2147483647 h 21"/>
                    <a:gd name="T58" fmla="*/ 2147483647 w 30"/>
                    <a:gd name="T59" fmla="*/ 2147483647 h 21"/>
                    <a:gd name="T60" fmla="*/ 2147483647 w 30"/>
                    <a:gd name="T61" fmla="*/ 2147483647 h 21"/>
                    <a:gd name="T62" fmla="*/ 2147483647 w 30"/>
                    <a:gd name="T63" fmla="*/ 2147483647 h 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
                    <a:gd name="T97" fmla="*/ 0 h 21"/>
                    <a:gd name="T98" fmla="*/ 30 w 30"/>
                    <a:gd name="T99" fmla="*/ 21 h 2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 h="21">
                      <a:moveTo>
                        <a:pt x="28" y="10"/>
                      </a:moveTo>
                      <a:lnTo>
                        <a:pt x="28" y="10"/>
                      </a:lnTo>
                      <a:lnTo>
                        <a:pt x="25" y="9"/>
                      </a:lnTo>
                      <a:lnTo>
                        <a:pt x="22" y="8"/>
                      </a:lnTo>
                      <a:lnTo>
                        <a:pt x="13" y="2"/>
                      </a:lnTo>
                      <a:lnTo>
                        <a:pt x="8" y="0"/>
                      </a:lnTo>
                      <a:lnTo>
                        <a:pt x="7" y="0"/>
                      </a:lnTo>
                      <a:lnTo>
                        <a:pt x="4" y="1"/>
                      </a:lnTo>
                      <a:lnTo>
                        <a:pt x="3" y="3"/>
                      </a:lnTo>
                      <a:lnTo>
                        <a:pt x="2" y="7"/>
                      </a:lnTo>
                      <a:lnTo>
                        <a:pt x="0" y="10"/>
                      </a:lnTo>
                      <a:lnTo>
                        <a:pt x="2" y="12"/>
                      </a:lnTo>
                      <a:lnTo>
                        <a:pt x="3" y="12"/>
                      </a:lnTo>
                      <a:lnTo>
                        <a:pt x="8" y="13"/>
                      </a:lnTo>
                      <a:lnTo>
                        <a:pt x="12" y="15"/>
                      </a:lnTo>
                      <a:lnTo>
                        <a:pt x="14" y="18"/>
                      </a:lnTo>
                      <a:lnTo>
                        <a:pt x="18" y="21"/>
                      </a:lnTo>
                      <a:lnTo>
                        <a:pt x="19" y="21"/>
                      </a:lnTo>
                      <a:lnTo>
                        <a:pt x="21" y="20"/>
                      </a:lnTo>
                      <a:lnTo>
                        <a:pt x="25" y="16"/>
                      </a:lnTo>
                      <a:lnTo>
                        <a:pt x="30" y="13"/>
                      </a:lnTo>
                      <a:lnTo>
                        <a:pt x="30" y="12"/>
                      </a:lnTo>
                      <a:lnTo>
                        <a:pt x="30" y="10"/>
                      </a:lnTo>
                      <a:lnTo>
                        <a:pt x="28"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0" name="Freeform 415"/>
                <p:cNvSpPr>
                  <a:spLocks/>
                </p:cNvSpPr>
                <p:nvPr/>
              </p:nvSpPr>
              <p:spPr bwMode="auto">
                <a:xfrm>
                  <a:off x="6274177" y="2121821"/>
                  <a:ext cx="28117" cy="22199"/>
                </a:xfrm>
                <a:custGeom>
                  <a:avLst/>
                  <a:gdLst>
                    <a:gd name="T0" fmla="*/ 2147483647 w 21"/>
                    <a:gd name="T1" fmla="*/ 2147483647 h 15"/>
                    <a:gd name="T2" fmla="*/ 2147483647 w 21"/>
                    <a:gd name="T3" fmla="*/ 2147483647 h 15"/>
                    <a:gd name="T4" fmla="*/ 2147483647 w 21"/>
                    <a:gd name="T5" fmla="*/ 2147483647 h 15"/>
                    <a:gd name="T6" fmla="*/ 2147483647 w 21"/>
                    <a:gd name="T7" fmla="*/ 2147483647 h 15"/>
                    <a:gd name="T8" fmla="*/ 2147483647 w 21"/>
                    <a:gd name="T9" fmla="*/ 2147483647 h 15"/>
                    <a:gd name="T10" fmla="*/ 0 w 21"/>
                    <a:gd name="T11" fmla="*/ 2147483647 h 15"/>
                    <a:gd name="T12" fmla="*/ 2147483647 w 21"/>
                    <a:gd name="T13" fmla="*/ 2147483647 h 15"/>
                    <a:gd name="T14" fmla="*/ 2147483647 w 21"/>
                    <a:gd name="T15" fmla="*/ 2147483647 h 15"/>
                    <a:gd name="T16" fmla="*/ 2147483647 w 21"/>
                    <a:gd name="T17" fmla="*/ 2147483647 h 15"/>
                    <a:gd name="T18" fmla="*/ 2147483647 w 21"/>
                    <a:gd name="T19" fmla="*/ 2147483647 h 15"/>
                    <a:gd name="T20" fmla="*/ 2147483647 w 21"/>
                    <a:gd name="T21" fmla="*/ 0 h 15"/>
                    <a:gd name="T22" fmla="*/ 2147483647 w 21"/>
                    <a:gd name="T23" fmla="*/ 0 h 15"/>
                    <a:gd name="T24" fmla="*/ 2147483647 w 21"/>
                    <a:gd name="T25" fmla="*/ 2147483647 h 15"/>
                    <a:gd name="T26" fmla="*/ 2147483647 w 21"/>
                    <a:gd name="T27" fmla="*/ 2147483647 h 15"/>
                    <a:gd name="T28" fmla="*/ 2147483647 w 21"/>
                    <a:gd name="T29" fmla="*/ 2147483647 h 15"/>
                    <a:gd name="T30" fmla="*/ 2147483647 w 21"/>
                    <a:gd name="T31" fmla="*/ 2147483647 h 15"/>
                    <a:gd name="T32" fmla="*/ 2147483647 w 21"/>
                    <a:gd name="T33" fmla="*/ 2147483647 h 15"/>
                    <a:gd name="T34" fmla="*/ 2147483647 w 21"/>
                    <a:gd name="T35" fmla="*/ 2147483647 h 15"/>
                    <a:gd name="T36" fmla="*/ 2147483647 w 21"/>
                    <a:gd name="T37" fmla="*/ 2147483647 h 15"/>
                    <a:gd name="T38" fmla="*/ 2147483647 w 21"/>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5"/>
                    <a:gd name="T62" fmla="*/ 21 w 21"/>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5">
                      <a:moveTo>
                        <a:pt x="14" y="15"/>
                      </a:moveTo>
                      <a:lnTo>
                        <a:pt x="14" y="15"/>
                      </a:lnTo>
                      <a:lnTo>
                        <a:pt x="9" y="14"/>
                      </a:lnTo>
                      <a:lnTo>
                        <a:pt x="5" y="14"/>
                      </a:lnTo>
                      <a:lnTo>
                        <a:pt x="1" y="14"/>
                      </a:lnTo>
                      <a:lnTo>
                        <a:pt x="0" y="14"/>
                      </a:lnTo>
                      <a:lnTo>
                        <a:pt x="1" y="13"/>
                      </a:lnTo>
                      <a:lnTo>
                        <a:pt x="5" y="4"/>
                      </a:lnTo>
                      <a:lnTo>
                        <a:pt x="9" y="1"/>
                      </a:lnTo>
                      <a:lnTo>
                        <a:pt x="14" y="0"/>
                      </a:lnTo>
                      <a:lnTo>
                        <a:pt x="16" y="1"/>
                      </a:lnTo>
                      <a:lnTo>
                        <a:pt x="20" y="4"/>
                      </a:lnTo>
                      <a:lnTo>
                        <a:pt x="21" y="9"/>
                      </a:lnTo>
                      <a:lnTo>
                        <a:pt x="20" y="14"/>
                      </a:lnTo>
                      <a:lnTo>
                        <a:pt x="19" y="15"/>
                      </a:lnTo>
                      <a:lnTo>
                        <a:pt x="18" y="15"/>
                      </a:lnTo>
                      <a:lnTo>
                        <a:pt x="14"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1" name="Freeform 416"/>
                <p:cNvSpPr>
                  <a:spLocks/>
                </p:cNvSpPr>
                <p:nvPr/>
              </p:nvSpPr>
              <p:spPr bwMode="auto">
                <a:xfrm>
                  <a:off x="5883491" y="4249874"/>
                  <a:ext cx="29597" cy="19239"/>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2147483647 h 13"/>
                    <a:gd name="T16" fmla="*/ 2147483647 w 22"/>
                    <a:gd name="T17" fmla="*/ 2147483647 h 13"/>
                    <a:gd name="T18" fmla="*/ 2147483647 w 22"/>
                    <a:gd name="T19" fmla="*/ 2147483647 h 13"/>
                    <a:gd name="T20" fmla="*/ 0 w 22"/>
                    <a:gd name="T21" fmla="*/ 2147483647 h 13"/>
                    <a:gd name="T22" fmla="*/ 0 w 22"/>
                    <a:gd name="T23" fmla="*/ 2147483647 h 13"/>
                    <a:gd name="T24" fmla="*/ 2147483647 w 22"/>
                    <a:gd name="T25" fmla="*/ 2147483647 h 13"/>
                    <a:gd name="T26" fmla="*/ 2147483647 w 22"/>
                    <a:gd name="T27" fmla="*/ 2147483647 h 13"/>
                    <a:gd name="T28" fmla="*/ 2147483647 w 22"/>
                    <a:gd name="T29" fmla="*/ 0 h 13"/>
                    <a:gd name="T30" fmla="*/ 2147483647 w 22"/>
                    <a:gd name="T31" fmla="*/ 2147483647 h 13"/>
                    <a:gd name="T32" fmla="*/ 2147483647 w 22"/>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3"/>
                    <a:gd name="T53" fmla="*/ 22 w 22"/>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3">
                      <a:moveTo>
                        <a:pt x="17" y="2"/>
                      </a:moveTo>
                      <a:lnTo>
                        <a:pt x="19" y="3"/>
                      </a:lnTo>
                      <a:lnTo>
                        <a:pt x="22" y="3"/>
                      </a:lnTo>
                      <a:lnTo>
                        <a:pt x="22" y="6"/>
                      </a:lnTo>
                      <a:lnTo>
                        <a:pt x="22" y="7"/>
                      </a:lnTo>
                      <a:lnTo>
                        <a:pt x="22" y="8"/>
                      </a:lnTo>
                      <a:lnTo>
                        <a:pt x="19" y="10"/>
                      </a:lnTo>
                      <a:lnTo>
                        <a:pt x="15" y="11"/>
                      </a:lnTo>
                      <a:lnTo>
                        <a:pt x="10" y="13"/>
                      </a:lnTo>
                      <a:lnTo>
                        <a:pt x="3" y="10"/>
                      </a:lnTo>
                      <a:lnTo>
                        <a:pt x="0" y="8"/>
                      </a:lnTo>
                      <a:lnTo>
                        <a:pt x="0" y="6"/>
                      </a:lnTo>
                      <a:lnTo>
                        <a:pt x="1" y="2"/>
                      </a:lnTo>
                      <a:lnTo>
                        <a:pt x="4" y="1"/>
                      </a:lnTo>
                      <a:lnTo>
                        <a:pt x="6" y="0"/>
                      </a:lnTo>
                      <a:lnTo>
                        <a:pt x="10" y="1"/>
                      </a:lnTo>
                      <a:lnTo>
                        <a:pt x="17"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2" name="Freeform 417"/>
                <p:cNvSpPr>
                  <a:spLocks/>
                </p:cNvSpPr>
                <p:nvPr/>
              </p:nvSpPr>
              <p:spPr bwMode="auto">
                <a:xfrm>
                  <a:off x="4958570" y="3561737"/>
                  <a:ext cx="11839" cy="7399"/>
                </a:xfrm>
                <a:custGeom>
                  <a:avLst/>
                  <a:gdLst>
                    <a:gd name="T0" fmla="*/ 2147483647 w 9"/>
                    <a:gd name="T1" fmla="*/ 0 h 5"/>
                    <a:gd name="T2" fmla="*/ 2147483647 w 9"/>
                    <a:gd name="T3" fmla="*/ 2147483647 h 5"/>
                    <a:gd name="T4" fmla="*/ 2147483647 w 9"/>
                    <a:gd name="T5" fmla="*/ 2147483647 h 5"/>
                    <a:gd name="T6" fmla="*/ 2147483647 w 9"/>
                    <a:gd name="T7" fmla="*/ 2147483647 h 5"/>
                    <a:gd name="T8" fmla="*/ 2147483647 w 9"/>
                    <a:gd name="T9" fmla="*/ 2147483647 h 5"/>
                    <a:gd name="T10" fmla="*/ 2147483647 w 9"/>
                    <a:gd name="T11" fmla="*/ 2147483647 h 5"/>
                    <a:gd name="T12" fmla="*/ 2147483647 w 9"/>
                    <a:gd name="T13" fmla="*/ 2147483647 h 5"/>
                    <a:gd name="T14" fmla="*/ 0 w 9"/>
                    <a:gd name="T15" fmla="*/ 2147483647 h 5"/>
                    <a:gd name="T16" fmla="*/ 2147483647 w 9"/>
                    <a:gd name="T17" fmla="*/ 0 h 5"/>
                    <a:gd name="T18" fmla="*/ 2147483647 w 9"/>
                    <a:gd name="T19" fmla="*/ 0 h 5"/>
                    <a:gd name="T20" fmla="*/ 2147483647 w 9"/>
                    <a:gd name="T21" fmla="*/ 0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5"/>
                    <a:gd name="T35" fmla="*/ 9 w 9"/>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5">
                      <a:moveTo>
                        <a:pt x="7" y="0"/>
                      </a:moveTo>
                      <a:lnTo>
                        <a:pt x="8" y="1"/>
                      </a:lnTo>
                      <a:lnTo>
                        <a:pt x="9" y="1"/>
                      </a:lnTo>
                      <a:lnTo>
                        <a:pt x="8" y="2"/>
                      </a:lnTo>
                      <a:lnTo>
                        <a:pt x="7" y="3"/>
                      </a:lnTo>
                      <a:lnTo>
                        <a:pt x="4" y="5"/>
                      </a:lnTo>
                      <a:lnTo>
                        <a:pt x="2" y="3"/>
                      </a:lnTo>
                      <a:lnTo>
                        <a:pt x="0" y="1"/>
                      </a:lnTo>
                      <a:lnTo>
                        <a:pt x="2" y="0"/>
                      </a:lnTo>
                      <a:lnTo>
                        <a:pt x="3" y="0"/>
                      </a:lnTo>
                      <a:lnTo>
                        <a:pt x="7"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3" name="Freeform 418"/>
                <p:cNvSpPr>
                  <a:spLocks/>
                </p:cNvSpPr>
                <p:nvPr/>
              </p:nvSpPr>
              <p:spPr bwMode="auto">
                <a:xfrm>
                  <a:off x="5882014" y="4246915"/>
                  <a:ext cx="28118" cy="19239"/>
                </a:xfrm>
                <a:custGeom>
                  <a:avLst/>
                  <a:gdLst>
                    <a:gd name="T0" fmla="*/ 2147483647 w 21"/>
                    <a:gd name="T1" fmla="*/ 2147483647 h 13"/>
                    <a:gd name="T2" fmla="*/ 2147483647 w 21"/>
                    <a:gd name="T3" fmla="*/ 2147483647 h 13"/>
                    <a:gd name="T4" fmla="*/ 2147483647 w 21"/>
                    <a:gd name="T5" fmla="*/ 2147483647 h 13"/>
                    <a:gd name="T6" fmla="*/ 2147483647 w 21"/>
                    <a:gd name="T7" fmla="*/ 2147483647 h 13"/>
                    <a:gd name="T8" fmla="*/ 2147483647 w 21"/>
                    <a:gd name="T9" fmla="*/ 2147483647 h 13"/>
                    <a:gd name="T10" fmla="*/ 2147483647 w 21"/>
                    <a:gd name="T11" fmla="*/ 2147483647 h 13"/>
                    <a:gd name="T12" fmla="*/ 2147483647 w 21"/>
                    <a:gd name="T13" fmla="*/ 2147483647 h 13"/>
                    <a:gd name="T14" fmla="*/ 2147483647 w 21"/>
                    <a:gd name="T15" fmla="*/ 2147483647 h 13"/>
                    <a:gd name="T16" fmla="*/ 2147483647 w 21"/>
                    <a:gd name="T17" fmla="*/ 2147483647 h 13"/>
                    <a:gd name="T18" fmla="*/ 2147483647 w 21"/>
                    <a:gd name="T19" fmla="*/ 2147483647 h 13"/>
                    <a:gd name="T20" fmla="*/ 2147483647 w 21"/>
                    <a:gd name="T21" fmla="*/ 2147483647 h 13"/>
                    <a:gd name="T22" fmla="*/ 2147483647 w 21"/>
                    <a:gd name="T23" fmla="*/ 2147483647 h 13"/>
                    <a:gd name="T24" fmla="*/ 2147483647 w 21"/>
                    <a:gd name="T25" fmla="*/ 2147483647 h 13"/>
                    <a:gd name="T26" fmla="*/ 2147483647 w 21"/>
                    <a:gd name="T27" fmla="*/ 2147483647 h 13"/>
                    <a:gd name="T28" fmla="*/ 0 w 21"/>
                    <a:gd name="T29" fmla="*/ 2147483647 h 13"/>
                    <a:gd name="T30" fmla="*/ 0 w 21"/>
                    <a:gd name="T31" fmla="*/ 2147483647 h 13"/>
                    <a:gd name="T32" fmla="*/ 2147483647 w 21"/>
                    <a:gd name="T33" fmla="*/ 2147483647 h 13"/>
                    <a:gd name="T34" fmla="*/ 2147483647 w 21"/>
                    <a:gd name="T35" fmla="*/ 2147483647 h 13"/>
                    <a:gd name="T36" fmla="*/ 2147483647 w 21"/>
                    <a:gd name="T37" fmla="*/ 2147483647 h 13"/>
                    <a:gd name="T38" fmla="*/ 2147483647 w 21"/>
                    <a:gd name="T39" fmla="*/ 0 h 13"/>
                    <a:gd name="T40" fmla="*/ 2147483647 w 21"/>
                    <a:gd name="T41" fmla="*/ 2147483647 h 13"/>
                    <a:gd name="T42" fmla="*/ 2147483647 w 21"/>
                    <a:gd name="T43" fmla="*/ 2147483647 h 13"/>
                    <a:gd name="T44" fmla="*/ 2147483647 w 21"/>
                    <a:gd name="T45" fmla="*/ 21474836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13"/>
                    <a:gd name="T71" fmla="*/ 21 w 21"/>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13">
                      <a:moveTo>
                        <a:pt x="16" y="3"/>
                      </a:moveTo>
                      <a:lnTo>
                        <a:pt x="16" y="3"/>
                      </a:lnTo>
                      <a:lnTo>
                        <a:pt x="19" y="4"/>
                      </a:lnTo>
                      <a:lnTo>
                        <a:pt x="21" y="4"/>
                      </a:lnTo>
                      <a:lnTo>
                        <a:pt x="21" y="6"/>
                      </a:lnTo>
                      <a:lnTo>
                        <a:pt x="21" y="8"/>
                      </a:lnTo>
                      <a:lnTo>
                        <a:pt x="21" y="9"/>
                      </a:lnTo>
                      <a:lnTo>
                        <a:pt x="19" y="11"/>
                      </a:lnTo>
                      <a:lnTo>
                        <a:pt x="15" y="12"/>
                      </a:lnTo>
                      <a:lnTo>
                        <a:pt x="10" y="13"/>
                      </a:lnTo>
                      <a:lnTo>
                        <a:pt x="2" y="11"/>
                      </a:lnTo>
                      <a:lnTo>
                        <a:pt x="0" y="9"/>
                      </a:lnTo>
                      <a:lnTo>
                        <a:pt x="0" y="6"/>
                      </a:lnTo>
                      <a:lnTo>
                        <a:pt x="1" y="3"/>
                      </a:lnTo>
                      <a:lnTo>
                        <a:pt x="4" y="2"/>
                      </a:lnTo>
                      <a:lnTo>
                        <a:pt x="6" y="0"/>
                      </a:lnTo>
                      <a:lnTo>
                        <a:pt x="10" y="2"/>
                      </a:lnTo>
                      <a:lnTo>
                        <a:pt x="1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4" name="Freeform 419"/>
                <p:cNvSpPr>
                  <a:spLocks/>
                </p:cNvSpPr>
                <p:nvPr/>
              </p:nvSpPr>
              <p:spPr bwMode="auto">
                <a:xfrm>
                  <a:off x="4957091" y="3560253"/>
                  <a:ext cx="11839" cy="5919"/>
                </a:xfrm>
                <a:custGeom>
                  <a:avLst/>
                  <a:gdLst>
                    <a:gd name="T0" fmla="*/ 2147483647 w 9"/>
                    <a:gd name="T1" fmla="*/ 0 h 4"/>
                    <a:gd name="T2" fmla="*/ 2147483647 w 9"/>
                    <a:gd name="T3" fmla="*/ 0 h 4"/>
                    <a:gd name="T4" fmla="*/ 2147483647 w 9"/>
                    <a:gd name="T5" fmla="*/ 2147483647 h 4"/>
                    <a:gd name="T6" fmla="*/ 2147483647 w 9"/>
                    <a:gd name="T7" fmla="*/ 2147483647 h 4"/>
                    <a:gd name="T8" fmla="*/ 2147483647 w 9"/>
                    <a:gd name="T9" fmla="*/ 2147483647 h 4"/>
                    <a:gd name="T10" fmla="*/ 2147483647 w 9"/>
                    <a:gd name="T11" fmla="*/ 2147483647 h 4"/>
                    <a:gd name="T12" fmla="*/ 2147483647 w 9"/>
                    <a:gd name="T13" fmla="*/ 2147483647 h 4"/>
                    <a:gd name="T14" fmla="*/ 2147483647 w 9"/>
                    <a:gd name="T15" fmla="*/ 2147483647 h 4"/>
                    <a:gd name="T16" fmla="*/ 2147483647 w 9"/>
                    <a:gd name="T17" fmla="*/ 2147483647 h 4"/>
                    <a:gd name="T18" fmla="*/ 0 w 9"/>
                    <a:gd name="T19" fmla="*/ 2147483647 h 4"/>
                    <a:gd name="T20" fmla="*/ 0 w 9"/>
                    <a:gd name="T21" fmla="*/ 2147483647 h 4"/>
                    <a:gd name="T22" fmla="*/ 2147483647 w 9"/>
                    <a:gd name="T23" fmla="*/ 0 h 4"/>
                    <a:gd name="T24" fmla="*/ 2147483647 w 9"/>
                    <a:gd name="T25" fmla="*/ 0 h 4"/>
                    <a:gd name="T26" fmla="*/ 2147483647 w 9"/>
                    <a:gd name="T27" fmla="*/ 0 h 4"/>
                    <a:gd name="T28" fmla="*/ 2147483647 w 9"/>
                    <a:gd name="T29" fmla="*/ 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4"/>
                    <a:gd name="T47" fmla="*/ 9 w 9"/>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4">
                      <a:moveTo>
                        <a:pt x="6" y="0"/>
                      </a:moveTo>
                      <a:lnTo>
                        <a:pt x="6" y="0"/>
                      </a:lnTo>
                      <a:lnTo>
                        <a:pt x="8" y="1"/>
                      </a:lnTo>
                      <a:lnTo>
                        <a:pt x="9" y="1"/>
                      </a:lnTo>
                      <a:lnTo>
                        <a:pt x="8" y="2"/>
                      </a:lnTo>
                      <a:lnTo>
                        <a:pt x="6" y="3"/>
                      </a:lnTo>
                      <a:lnTo>
                        <a:pt x="4" y="4"/>
                      </a:lnTo>
                      <a:lnTo>
                        <a:pt x="1" y="3"/>
                      </a:lnTo>
                      <a:lnTo>
                        <a:pt x="0" y="1"/>
                      </a:lnTo>
                      <a:lnTo>
                        <a:pt x="1" y="0"/>
                      </a:lnTo>
                      <a:lnTo>
                        <a:pt x="3" y="0"/>
                      </a:lnTo>
                      <a:lnTo>
                        <a:pt x="6"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5" name="Freeform 420"/>
                <p:cNvSpPr>
                  <a:spLocks/>
                </p:cNvSpPr>
                <p:nvPr/>
              </p:nvSpPr>
              <p:spPr bwMode="auto">
                <a:xfrm>
                  <a:off x="5374416" y="3555816"/>
                  <a:ext cx="65114" cy="42916"/>
                </a:xfrm>
                <a:custGeom>
                  <a:avLst/>
                  <a:gdLst>
                    <a:gd name="T0" fmla="*/ 2147483647 w 47"/>
                    <a:gd name="T1" fmla="*/ 2147483647 h 29"/>
                    <a:gd name="T2" fmla="*/ 2147483647 w 47"/>
                    <a:gd name="T3" fmla="*/ 2147483647 h 29"/>
                    <a:gd name="T4" fmla="*/ 2147483647 w 47"/>
                    <a:gd name="T5" fmla="*/ 2147483647 h 29"/>
                    <a:gd name="T6" fmla="*/ 2147483647 w 47"/>
                    <a:gd name="T7" fmla="*/ 2147483647 h 29"/>
                    <a:gd name="T8" fmla="*/ 2147483647 w 47"/>
                    <a:gd name="T9" fmla="*/ 2147483647 h 29"/>
                    <a:gd name="T10" fmla="*/ 2147483647 w 47"/>
                    <a:gd name="T11" fmla="*/ 2147483647 h 29"/>
                    <a:gd name="T12" fmla="*/ 2147483647 w 47"/>
                    <a:gd name="T13" fmla="*/ 2147483647 h 29"/>
                    <a:gd name="T14" fmla="*/ 2147483647 w 47"/>
                    <a:gd name="T15" fmla="*/ 2147483647 h 29"/>
                    <a:gd name="T16" fmla="*/ 2147483647 w 47"/>
                    <a:gd name="T17" fmla="*/ 2147483647 h 29"/>
                    <a:gd name="T18" fmla="*/ 2147483647 w 47"/>
                    <a:gd name="T19" fmla="*/ 2147483647 h 29"/>
                    <a:gd name="T20" fmla="*/ 2147483647 w 47"/>
                    <a:gd name="T21" fmla="*/ 2147483647 h 29"/>
                    <a:gd name="T22" fmla="*/ 2147483647 w 47"/>
                    <a:gd name="T23" fmla="*/ 2147483647 h 29"/>
                    <a:gd name="T24" fmla="*/ 2147483647 w 47"/>
                    <a:gd name="T25" fmla="*/ 2147483647 h 29"/>
                    <a:gd name="T26" fmla="*/ 2147483647 w 47"/>
                    <a:gd name="T27" fmla="*/ 2147483647 h 29"/>
                    <a:gd name="T28" fmla="*/ 0 w 47"/>
                    <a:gd name="T29" fmla="*/ 2147483647 h 29"/>
                    <a:gd name="T30" fmla="*/ 2147483647 w 47"/>
                    <a:gd name="T31" fmla="*/ 2147483647 h 29"/>
                    <a:gd name="T32" fmla="*/ 2147483647 w 47"/>
                    <a:gd name="T33" fmla="*/ 2147483647 h 29"/>
                    <a:gd name="T34" fmla="*/ 2147483647 w 47"/>
                    <a:gd name="T35" fmla="*/ 2147483647 h 29"/>
                    <a:gd name="T36" fmla="*/ 2147483647 w 47"/>
                    <a:gd name="T37" fmla="*/ 2147483647 h 29"/>
                    <a:gd name="T38" fmla="*/ 2147483647 w 47"/>
                    <a:gd name="T39" fmla="*/ 2147483647 h 29"/>
                    <a:gd name="T40" fmla="*/ 2147483647 w 47"/>
                    <a:gd name="T41" fmla="*/ 2147483647 h 29"/>
                    <a:gd name="T42" fmla="*/ 2147483647 w 47"/>
                    <a:gd name="T43" fmla="*/ 2147483647 h 29"/>
                    <a:gd name="T44" fmla="*/ 2147483647 w 47"/>
                    <a:gd name="T45" fmla="*/ 2147483647 h 29"/>
                    <a:gd name="T46" fmla="*/ 2147483647 w 47"/>
                    <a:gd name="T47" fmla="*/ 2147483647 h 29"/>
                    <a:gd name="T48" fmla="*/ 2147483647 w 47"/>
                    <a:gd name="T49" fmla="*/ 2147483647 h 29"/>
                    <a:gd name="T50" fmla="*/ 2147483647 w 47"/>
                    <a:gd name="T51" fmla="*/ 0 h 29"/>
                    <a:gd name="T52" fmla="*/ 2147483647 w 47"/>
                    <a:gd name="T53" fmla="*/ 0 h 29"/>
                    <a:gd name="T54" fmla="*/ 2147483647 w 47"/>
                    <a:gd name="T55" fmla="*/ 2147483647 h 29"/>
                    <a:gd name="T56" fmla="*/ 2147483647 w 47"/>
                    <a:gd name="T57" fmla="*/ 2147483647 h 29"/>
                    <a:gd name="T58" fmla="*/ 2147483647 w 47"/>
                    <a:gd name="T59" fmla="*/ 2147483647 h 29"/>
                    <a:gd name="T60" fmla="*/ 2147483647 w 47"/>
                    <a:gd name="T61" fmla="*/ 2147483647 h 29"/>
                    <a:gd name="T62" fmla="*/ 2147483647 w 47"/>
                    <a:gd name="T63" fmla="*/ 2147483647 h 29"/>
                    <a:gd name="T64" fmla="*/ 2147483647 w 47"/>
                    <a:gd name="T65" fmla="*/ 2147483647 h 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
                    <a:gd name="T100" fmla="*/ 0 h 29"/>
                    <a:gd name="T101" fmla="*/ 47 w 47"/>
                    <a:gd name="T102" fmla="*/ 29 h 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 h="29">
                      <a:moveTo>
                        <a:pt x="32" y="22"/>
                      </a:moveTo>
                      <a:lnTo>
                        <a:pt x="30" y="23"/>
                      </a:lnTo>
                      <a:lnTo>
                        <a:pt x="29" y="23"/>
                      </a:lnTo>
                      <a:lnTo>
                        <a:pt x="25" y="23"/>
                      </a:lnTo>
                      <a:lnTo>
                        <a:pt x="24" y="24"/>
                      </a:lnTo>
                      <a:lnTo>
                        <a:pt x="23" y="24"/>
                      </a:lnTo>
                      <a:lnTo>
                        <a:pt x="20" y="28"/>
                      </a:lnTo>
                      <a:lnTo>
                        <a:pt x="17" y="29"/>
                      </a:lnTo>
                      <a:lnTo>
                        <a:pt x="13" y="29"/>
                      </a:lnTo>
                      <a:lnTo>
                        <a:pt x="10" y="26"/>
                      </a:lnTo>
                      <a:lnTo>
                        <a:pt x="8" y="23"/>
                      </a:lnTo>
                      <a:lnTo>
                        <a:pt x="6" y="20"/>
                      </a:lnTo>
                      <a:lnTo>
                        <a:pt x="4" y="17"/>
                      </a:lnTo>
                      <a:lnTo>
                        <a:pt x="1" y="13"/>
                      </a:lnTo>
                      <a:lnTo>
                        <a:pt x="0" y="12"/>
                      </a:lnTo>
                      <a:lnTo>
                        <a:pt x="1" y="11"/>
                      </a:lnTo>
                      <a:lnTo>
                        <a:pt x="5" y="10"/>
                      </a:lnTo>
                      <a:lnTo>
                        <a:pt x="10" y="11"/>
                      </a:lnTo>
                      <a:lnTo>
                        <a:pt x="15" y="12"/>
                      </a:lnTo>
                      <a:lnTo>
                        <a:pt x="20" y="11"/>
                      </a:lnTo>
                      <a:lnTo>
                        <a:pt x="27" y="10"/>
                      </a:lnTo>
                      <a:lnTo>
                        <a:pt x="34" y="9"/>
                      </a:lnTo>
                      <a:lnTo>
                        <a:pt x="37" y="7"/>
                      </a:lnTo>
                      <a:lnTo>
                        <a:pt x="39" y="6"/>
                      </a:lnTo>
                      <a:lnTo>
                        <a:pt x="42" y="1"/>
                      </a:lnTo>
                      <a:lnTo>
                        <a:pt x="44" y="0"/>
                      </a:lnTo>
                      <a:lnTo>
                        <a:pt x="47" y="0"/>
                      </a:lnTo>
                      <a:lnTo>
                        <a:pt x="46" y="4"/>
                      </a:lnTo>
                      <a:lnTo>
                        <a:pt x="43" y="7"/>
                      </a:lnTo>
                      <a:lnTo>
                        <a:pt x="39" y="13"/>
                      </a:lnTo>
                      <a:lnTo>
                        <a:pt x="36" y="17"/>
                      </a:lnTo>
                      <a:lnTo>
                        <a:pt x="33" y="19"/>
                      </a:lnTo>
                      <a:lnTo>
                        <a:pt x="32"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6" name="Freeform 421"/>
                <p:cNvSpPr>
                  <a:spLocks/>
                </p:cNvSpPr>
                <p:nvPr/>
              </p:nvSpPr>
              <p:spPr bwMode="auto">
                <a:xfrm>
                  <a:off x="5926408" y="4754513"/>
                  <a:ext cx="11839" cy="14799"/>
                </a:xfrm>
                <a:custGeom>
                  <a:avLst/>
                  <a:gdLst>
                    <a:gd name="T0" fmla="*/ 2147483647 w 9"/>
                    <a:gd name="T1" fmla="*/ 2147483647 h 10"/>
                    <a:gd name="T2" fmla="*/ 2147483647 w 9"/>
                    <a:gd name="T3" fmla="*/ 2147483647 h 10"/>
                    <a:gd name="T4" fmla="*/ 0 w 9"/>
                    <a:gd name="T5" fmla="*/ 2147483647 h 10"/>
                    <a:gd name="T6" fmla="*/ 2147483647 w 9"/>
                    <a:gd name="T7" fmla="*/ 0 h 10"/>
                    <a:gd name="T8" fmla="*/ 2147483647 w 9"/>
                    <a:gd name="T9" fmla="*/ 0 h 10"/>
                    <a:gd name="T10" fmla="*/ 2147483647 w 9"/>
                    <a:gd name="T11" fmla="*/ 0 h 10"/>
                    <a:gd name="T12" fmla="*/ 2147483647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2147483647 w 9"/>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0"/>
                    <a:gd name="T41" fmla="*/ 9 w 9"/>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0">
                      <a:moveTo>
                        <a:pt x="2" y="5"/>
                      </a:moveTo>
                      <a:lnTo>
                        <a:pt x="1" y="2"/>
                      </a:lnTo>
                      <a:lnTo>
                        <a:pt x="0" y="1"/>
                      </a:lnTo>
                      <a:lnTo>
                        <a:pt x="1" y="0"/>
                      </a:lnTo>
                      <a:lnTo>
                        <a:pt x="2" y="0"/>
                      </a:lnTo>
                      <a:lnTo>
                        <a:pt x="5" y="0"/>
                      </a:lnTo>
                      <a:lnTo>
                        <a:pt x="7" y="2"/>
                      </a:lnTo>
                      <a:lnTo>
                        <a:pt x="9" y="5"/>
                      </a:lnTo>
                      <a:lnTo>
                        <a:pt x="9" y="8"/>
                      </a:lnTo>
                      <a:lnTo>
                        <a:pt x="6" y="10"/>
                      </a:lnTo>
                      <a:lnTo>
                        <a:pt x="2" y="8"/>
                      </a:lnTo>
                      <a:lnTo>
                        <a:pt x="2" y="7"/>
                      </a:lnTo>
                      <a:lnTo>
                        <a:pt x="2"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7" name="Freeform 422"/>
                <p:cNvSpPr>
                  <a:spLocks/>
                </p:cNvSpPr>
                <p:nvPr/>
              </p:nvSpPr>
              <p:spPr bwMode="auto">
                <a:xfrm>
                  <a:off x="5372936" y="3554333"/>
                  <a:ext cx="65114" cy="42918"/>
                </a:xfrm>
                <a:custGeom>
                  <a:avLst/>
                  <a:gdLst>
                    <a:gd name="T0" fmla="*/ 2147483647 w 47"/>
                    <a:gd name="T1" fmla="*/ 2147483647 h 29"/>
                    <a:gd name="T2" fmla="*/ 2147483647 w 47"/>
                    <a:gd name="T3" fmla="*/ 2147483647 h 29"/>
                    <a:gd name="T4" fmla="*/ 2147483647 w 47"/>
                    <a:gd name="T5" fmla="*/ 2147483647 h 29"/>
                    <a:gd name="T6" fmla="*/ 2147483647 w 47"/>
                    <a:gd name="T7" fmla="*/ 2147483647 h 29"/>
                    <a:gd name="T8" fmla="*/ 2147483647 w 47"/>
                    <a:gd name="T9" fmla="*/ 2147483647 h 29"/>
                    <a:gd name="T10" fmla="*/ 2147483647 w 47"/>
                    <a:gd name="T11" fmla="*/ 2147483647 h 29"/>
                    <a:gd name="T12" fmla="*/ 2147483647 w 47"/>
                    <a:gd name="T13" fmla="*/ 2147483647 h 29"/>
                    <a:gd name="T14" fmla="*/ 2147483647 w 47"/>
                    <a:gd name="T15" fmla="*/ 2147483647 h 29"/>
                    <a:gd name="T16" fmla="*/ 2147483647 w 47"/>
                    <a:gd name="T17" fmla="*/ 2147483647 h 29"/>
                    <a:gd name="T18" fmla="*/ 2147483647 w 47"/>
                    <a:gd name="T19" fmla="*/ 2147483647 h 29"/>
                    <a:gd name="T20" fmla="*/ 2147483647 w 47"/>
                    <a:gd name="T21" fmla="*/ 2147483647 h 29"/>
                    <a:gd name="T22" fmla="*/ 2147483647 w 47"/>
                    <a:gd name="T23" fmla="*/ 2147483647 h 29"/>
                    <a:gd name="T24" fmla="*/ 2147483647 w 47"/>
                    <a:gd name="T25" fmla="*/ 2147483647 h 29"/>
                    <a:gd name="T26" fmla="*/ 2147483647 w 47"/>
                    <a:gd name="T27" fmla="*/ 2147483647 h 29"/>
                    <a:gd name="T28" fmla="*/ 2147483647 w 47"/>
                    <a:gd name="T29" fmla="*/ 2147483647 h 29"/>
                    <a:gd name="T30" fmla="*/ 2147483647 w 47"/>
                    <a:gd name="T31" fmla="*/ 2147483647 h 29"/>
                    <a:gd name="T32" fmla="*/ 2147483647 w 47"/>
                    <a:gd name="T33" fmla="*/ 2147483647 h 29"/>
                    <a:gd name="T34" fmla="*/ 2147483647 w 47"/>
                    <a:gd name="T35" fmla="*/ 2147483647 h 29"/>
                    <a:gd name="T36" fmla="*/ 2147483647 w 47"/>
                    <a:gd name="T37" fmla="*/ 2147483647 h 29"/>
                    <a:gd name="T38" fmla="*/ 0 w 47"/>
                    <a:gd name="T39" fmla="*/ 2147483647 h 29"/>
                    <a:gd name="T40" fmla="*/ 2147483647 w 47"/>
                    <a:gd name="T41" fmla="*/ 2147483647 h 29"/>
                    <a:gd name="T42" fmla="*/ 2147483647 w 47"/>
                    <a:gd name="T43" fmla="*/ 2147483647 h 29"/>
                    <a:gd name="T44" fmla="*/ 2147483647 w 47"/>
                    <a:gd name="T45" fmla="*/ 2147483647 h 29"/>
                    <a:gd name="T46" fmla="*/ 2147483647 w 47"/>
                    <a:gd name="T47" fmla="*/ 2147483647 h 29"/>
                    <a:gd name="T48" fmla="*/ 2147483647 w 47"/>
                    <a:gd name="T49" fmla="*/ 2147483647 h 29"/>
                    <a:gd name="T50" fmla="*/ 2147483647 w 47"/>
                    <a:gd name="T51" fmla="*/ 2147483647 h 29"/>
                    <a:gd name="T52" fmla="*/ 2147483647 w 47"/>
                    <a:gd name="T53" fmla="*/ 2147483647 h 29"/>
                    <a:gd name="T54" fmla="*/ 2147483647 w 47"/>
                    <a:gd name="T55" fmla="*/ 2147483647 h 29"/>
                    <a:gd name="T56" fmla="*/ 2147483647 w 47"/>
                    <a:gd name="T57" fmla="*/ 2147483647 h 29"/>
                    <a:gd name="T58" fmla="*/ 2147483647 w 47"/>
                    <a:gd name="T59" fmla="*/ 2147483647 h 29"/>
                    <a:gd name="T60" fmla="*/ 2147483647 w 47"/>
                    <a:gd name="T61" fmla="*/ 2147483647 h 29"/>
                    <a:gd name="T62" fmla="*/ 2147483647 w 47"/>
                    <a:gd name="T63" fmla="*/ 2147483647 h 29"/>
                    <a:gd name="T64" fmla="*/ 2147483647 w 47"/>
                    <a:gd name="T65" fmla="*/ 2147483647 h 29"/>
                    <a:gd name="T66" fmla="*/ 2147483647 w 47"/>
                    <a:gd name="T67" fmla="*/ 2147483647 h 29"/>
                    <a:gd name="T68" fmla="*/ 2147483647 w 47"/>
                    <a:gd name="T69" fmla="*/ 0 h 29"/>
                    <a:gd name="T70" fmla="*/ 2147483647 w 47"/>
                    <a:gd name="T71" fmla="*/ 0 h 29"/>
                    <a:gd name="T72" fmla="*/ 2147483647 w 47"/>
                    <a:gd name="T73" fmla="*/ 0 h 29"/>
                    <a:gd name="T74" fmla="*/ 2147483647 w 47"/>
                    <a:gd name="T75" fmla="*/ 2147483647 h 29"/>
                    <a:gd name="T76" fmla="*/ 2147483647 w 47"/>
                    <a:gd name="T77" fmla="*/ 2147483647 h 29"/>
                    <a:gd name="T78" fmla="*/ 2147483647 w 47"/>
                    <a:gd name="T79" fmla="*/ 2147483647 h 29"/>
                    <a:gd name="T80" fmla="*/ 2147483647 w 47"/>
                    <a:gd name="T81" fmla="*/ 2147483647 h 29"/>
                    <a:gd name="T82" fmla="*/ 2147483647 w 47"/>
                    <a:gd name="T83" fmla="*/ 2147483647 h 29"/>
                    <a:gd name="T84" fmla="*/ 2147483647 w 47"/>
                    <a:gd name="T85" fmla="*/ 2147483647 h 29"/>
                    <a:gd name="T86" fmla="*/ 2147483647 w 47"/>
                    <a:gd name="T87" fmla="*/ 2147483647 h 29"/>
                    <a:gd name="T88" fmla="*/ 2147483647 w 47"/>
                    <a:gd name="T89" fmla="*/ 2147483647 h 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
                    <a:gd name="T136" fmla="*/ 0 h 29"/>
                    <a:gd name="T137" fmla="*/ 47 w 47"/>
                    <a:gd name="T138" fmla="*/ 29 h 2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 h="29">
                      <a:moveTo>
                        <a:pt x="31" y="21"/>
                      </a:moveTo>
                      <a:lnTo>
                        <a:pt x="31" y="21"/>
                      </a:lnTo>
                      <a:lnTo>
                        <a:pt x="30" y="23"/>
                      </a:lnTo>
                      <a:lnTo>
                        <a:pt x="29" y="23"/>
                      </a:lnTo>
                      <a:lnTo>
                        <a:pt x="25" y="23"/>
                      </a:lnTo>
                      <a:lnTo>
                        <a:pt x="24" y="24"/>
                      </a:lnTo>
                      <a:lnTo>
                        <a:pt x="23" y="24"/>
                      </a:lnTo>
                      <a:lnTo>
                        <a:pt x="20" y="27"/>
                      </a:lnTo>
                      <a:lnTo>
                        <a:pt x="16" y="29"/>
                      </a:lnTo>
                      <a:lnTo>
                        <a:pt x="12" y="29"/>
                      </a:lnTo>
                      <a:lnTo>
                        <a:pt x="10" y="26"/>
                      </a:lnTo>
                      <a:lnTo>
                        <a:pt x="7" y="23"/>
                      </a:lnTo>
                      <a:lnTo>
                        <a:pt x="6" y="20"/>
                      </a:lnTo>
                      <a:lnTo>
                        <a:pt x="4" y="17"/>
                      </a:lnTo>
                      <a:lnTo>
                        <a:pt x="1" y="13"/>
                      </a:lnTo>
                      <a:lnTo>
                        <a:pt x="0" y="12"/>
                      </a:lnTo>
                      <a:lnTo>
                        <a:pt x="1" y="11"/>
                      </a:lnTo>
                      <a:lnTo>
                        <a:pt x="5" y="10"/>
                      </a:lnTo>
                      <a:lnTo>
                        <a:pt x="10" y="11"/>
                      </a:lnTo>
                      <a:lnTo>
                        <a:pt x="15" y="12"/>
                      </a:lnTo>
                      <a:lnTo>
                        <a:pt x="20" y="11"/>
                      </a:lnTo>
                      <a:lnTo>
                        <a:pt x="26" y="10"/>
                      </a:lnTo>
                      <a:lnTo>
                        <a:pt x="34" y="8"/>
                      </a:lnTo>
                      <a:lnTo>
                        <a:pt x="37" y="7"/>
                      </a:lnTo>
                      <a:lnTo>
                        <a:pt x="39" y="6"/>
                      </a:lnTo>
                      <a:lnTo>
                        <a:pt x="42" y="1"/>
                      </a:lnTo>
                      <a:lnTo>
                        <a:pt x="44" y="0"/>
                      </a:lnTo>
                      <a:lnTo>
                        <a:pt x="47" y="0"/>
                      </a:lnTo>
                      <a:lnTo>
                        <a:pt x="45" y="4"/>
                      </a:lnTo>
                      <a:lnTo>
                        <a:pt x="43" y="7"/>
                      </a:lnTo>
                      <a:lnTo>
                        <a:pt x="39" y="13"/>
                      </a:lnTo>
                      <a:lnTo>
                        <a:pt x="35" y="17"/>
                      </a:lnTo>
                      <a:lnTo>
                        <a:pt x="33" y="19"/>
                      </a:lnTo>
                      <a:lnTo>
                        <a:pt x="31" y="2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8" name="Freeform 423"/>
                <p:cNvSpPr>
                  <a:spLocks/>
                </p:cNvSpPr>
                <p:nvPr/>
              </p:nvSpPr>
              <p:spPr bwMode="auto">
                <a:xfrm>
                  <a:off x="5924927" y="4753029"/>
                  <a:ext cx="11839" cy="13319"/>
                </a:xfrm>
                <a:custGeom>
                  <a:avLst/>
                  <a:gdLst>
                    <a:gd name="T0" fmla="*/ 2147483647 w 8"/>
                    <a:gd name="T1" fmla="*/ 2147483647 h 9"/>
                    <a:gd name="T2" fmla="*/ 2147483647 w 8"/>
                    <a:gd name="T3" fmla="*/ 2147483647 h 9"/>
                    <a:gd name="T4" fmla="*/ 2147483647 w 8"/>
                    <a:gd name="T5" fmla="*/ 2147483647 h 9"/>
                    <a:gd name="T6" fmla="*/ 0 w 8"/>
                    <a:gd name="T7" fmla="*/ 2147483647 h 9"/>
                    <a:gd name="T8" fmla="*/ 2147483647 w 8"/>
                    <a:gd name="T9" fmla="*/ 0 h 9"/>
                    <a:gd name="T10" fmla="*/ 2147483647 w 8"/>
                    <a:gd name="T11" fmla="*/ 0 h 9"/>
                    <a:gd name="T12" fmla="*/ 2147483647 w 8"/>
                    <a:gd name="T13" fmla="*/ 0 h 9"/>
                    <a:gd name="T14" fmla="*/ 2147483647 w 8"/>
                    <a:gd name="T15" fmla="*/ 0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2147483647 h 9"/>
                    <a:gd name="T34" fmla="*/ 2147483647 w 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9"/>
                    <a:gd name="T56" fmla="*/ 8 w 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9">
                      <a:moveTo>
                        <a:pt x="2" y="5"/>
                      </a:moveTo>
                      <a:lnTo>
                        <a:pt x="2" y="5"/>
                      </a:lnTo>
                      <a:lnTo>
                        <a:pt x="1" y="2"/>
                      </a:lnTo>
                      <a:lnTo>
                        <a:pt x="0" y="1"/>
                      </a:lnTo>
                      <a:lnTo>
                        <a:pt x="1" y="0"/>
                      </a:lnTo>
                      <a:lnTo>
                        <a:pt x="2" y="0"/>
                      </a:lnTo>
                      <a:lnTo>
                        <a:pt x="5" y="0"/>
                      </a:lnTo>
                      <a:lnTo>
                        <a:pt x="7" y="2"/>
                      </a:lnTo>
                      <a:lnTo>
                        <a:pt x="8" y="5"/>
                      </a:lnTo>
                      <a:lnTo>
                        <a:pt x="8" y="8"/>
                      </a:lnTo>
                      <a:lnTo>
                        <a:pt x="6" y="9"/>
                      </a:lnTo>
                      <a:lnTo>
                        <a:pt x="2" y="8"/>
                      </a:lnTo>
                      <a:lnTo>
                        <a:pt x="2" y="7"/>
                      </a:lnTo>
                      <a:lnTo>
                        <a:pt x="2"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89" name="Freeform 424"/>
                <p:cNvSpPr>
                  <a:spLocks/>
                </p:cNvSpPr>
                <p:nvPr/>
              </p:nvSpPr>
              <p:spPr bwMode="auto">
                <a:xfrm>
                  <a:off x="5939726" y="4753032"/>
                  <a:ext cx="5919" cy="4440"/>
                </a:xfrm>
                <a:custGeom>
                  <a:avLst/>
                  <a:gdLst>
                    <a:gd name="T0" fmla="*/ 2147483647 w 4"/>
                    <a:gd name="T1" fmla="*/ 2147483647 h 3"/>
                    <a:gd name="T2" fmla="*/ 2147483647 w 4"/>
                    <a:gd name="T3" fmla="*/ 2147483647 h 3"/>
                    <a:gd name="T4" fmla="*/ 2147483647 w 4"/>
                    <a:gd name="T5" fmla="*/ 2147483647 h 3"/>
                    <a:gd name="T6" fmla="*/ 0 w 4"/>
                    <a:gd name="T7" fmla="*/ 2147483647 h 3"/>
                    <a:gd name="T8" fmla="*/ 2147483647 w 4"/>
                    <a:gd name="T9" fmla="*/ 0 h 3"/>
                    <a:gd name="T10" fmla="*/ 2147483647 w 4"/>
                    <a:gd name="T11" fmla="*/ 0 h 3"/>
                    <a:gd name="T12" fmla="*/ 2147483647 w 4"/>
                    <a:gd name="T13" fmla="*/ 2147483647 h 3"/>
                    <a:gd name="T14" fmla="*/ 2147483647 w 4"/>
                    <a:gd name="T15" fmla="*/ 2147483647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3" y="3"/>
                      </a:moveTo>
                      <a:lnTo>
                        <a:pt x="1" y="3"/>
                      </a:lnTo>
                      <a:lnTo>
                        <a:pt x="1" y="2"/>
                      </a:lnTo>
                      <a:lnTo>
                        <a:pt x="0" y="1"/>
                      </a:lnTo>
                      <a:lnTo>
                        <a:pt x="1" y="0"/>
                      </a:lnTo>
                      <a:lnTo>
                        <a:pt x="3" y="0"/>
                      </a:lnTo>
                      <a:lnTo>
                        <a:pt x="4" y="1"/>
                      </a:lnTo>
                      <a:lnTo>
                        <a:pt x="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0" name="Freeform 425"/>
                <p:cNvSpPr>
                  <a:spLocks/>
                </p:cNvSpPr>
                <p:nvPr/>
              </p:nvSpPr>
              <p:spPr bwMode="auto">
                <a:xfrm>
                  <a:off x="4801704" y="4800389"/>
                  <a:ext cx="7400" cy="4440"/>
                </a:xfrm>
                <a:custGeom>
                  <a:avLst/>
                  <a:gdLst>
                    <a:gd name="T0" fmla="*/ 2147483647 w 5"/>
                    <a:gd name="T1" fmla="*/ 0 h 3"/>
                    <a:gd name="T2" fmla="*/ 2147483647 w 5"/>
                    <a:gd name="T3" fmla="*/ 2147483647 h 3"/>
                    <a:gd name="T4" fmla="*/ 2147483647 w 5"/>
                    <a:gd name="T5" fmla="*/ 2147483647 h 3"/>
                    <a:gd name="T6" fmla="*/ 2147483647 w 5"/>
                    <a:gd name="T7" fmla="*/ 2147483647 h 3"/>
                    <a:gd name="T8" fmla="*/ 0 w 5"/>
                    <a:gd name="T9" fmla="*/ 2147483647 h 3"/>
                    <a:gd name="T10" fmla="*/ 0 w 5"/>
                    <a:gd name="T11" fmla="*/ 2147483647 h 3"/>
                    <a:gd name="T12" fmla="*/ 0 w 5"/>
                    <a:gd name="T13" fmla="*/ 0 h 3"/>
                    <a:gd name="T14" fmla="*/ 2147483647 w 5"/>
                    <a:gd name="T15" fmla="*/ 0 h 3"/>
                    <a:gd name="T16" fmla="*/ 2147483647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4" y="0"/>
                      </a:moveTo>
                      <a:lnTo>
                        <a:pt x="5" y="1"/>
                      </a:lnTo>
                      <a:lnTo>
                        <a:pt x="5" y="3"/>
                      </a:lnTo>
                      <a:lnTo>
                        <a:pt x="2" y="3"/>
                      </a:lnTo>
                      <a:lnTo>
                        <a:pt x="0" y="3"/>
                      </a:lnTo>
                      <a:lnTo>
                        <a:pt x="0" y="2"/>
                      </a:lnTo>
                      <a:lnTo>
                        <a:pt x="0" y="0"/>
                      </a:lnTo>
                      <a:lnTo>
                        <a:pt x="1" y="0"/>
                      </a:lnTo>
                      <a:lnTo>
                        <a:pt x="4"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1" name="Freeform 426"/>
                <p:cNvSpPr>
                  <a:spLocks/>
                </p:cNvSpPr>
                <p:nvPr/>
              </p:nvSpPr>
              <p:spPr bwMode="auto">
                <a:xfrm>
                  <a:off x="5938246" y="4751550"/>
                  <a:ext cx="5919" cy="4439"/>
                </a:xfrm>
                <a:custGeom>
                  <a:avLst/>
                  <a:gdLst>
                    <a:gd name="T0" fmla="*/ 2147483647 w 4"/>
                    <a:gd name="T1" fmla="*/ 2147483647 h 3"/>
                    <a:gd name="T2" fmla="*/ 2147483647 w 4"/>
                    <a:gd name="T3" fmla="*/ 2147483647 h 3"/>
                    <a:gd name="T4" fmla="*/ 2147483647 w 4"/>
                    <a:gd name="T5" fmla="*/ 2147483647 h 3"/>
                    <a:gd name="T6" fmla="*/ 2147483647 w 4"/>
                    <a:gd name="T7" fmla="*/ 2147483647 h 3"/>
                    <a:gd name="T8" fmla="*/ 0 w 4"/>
                    <a:gd name="T9" fmla="*/ 2147483647 h 3"/>
                    <a:gd name="T10" fmla="*/ 0 w 4"/>
                    <a:gd name="T11" fmla="*/ 2147483647 h 3"/>
                    <a:gd name="T12" fmla="*/ 2147483647 w 4"/>
                    <a:gd name="T13" fmla="*/ 0 h 3"/>
                    <a:gd name="T14" fmla="*/ 2147483647 w 4"/>
                    <a:gd name="T15" fmla="*/ 0 h 3"/>
                    <a:gd name="T16" fmla="*/ 2147483647 w 4"/>
                    <a:gd name="T17" fmla="*/ 0 h 3"/>
                    <a:gd name="T18" fmla="*/ 2147483647 w 4"/>
                    <a:gd name="T19" fmla="*/ 2147483647 h 3"/>
                    <a:gd name="T20" fmla="*/ 2147483647 w 4"/>
                    <a:gd name="T21" fmla="*/ 2147483647 h 3"/>
                    <a:gd name="T22" fmla="*/ 2147483647 w 4"/>
                    <a:gd name="T23" fmla="*/ 2147483647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2" y="3"/>
                      </a:moveTo>
                      <a:lnTo>
                        <a:pt x="2" y="3"/>
                      </a:lnTo>
                      <a:lnTo>
                        <a:pt x="1" y="3"/>
                      </a:lnTo>
                      <a:lnTo>
                        <a:pt x="1" y="2"/>
                      </a:lnTo>
                      <a:lnTo>
                        <a:pt x="0" y="1"/>
                      </a:lnTo>
                      <a:lnTo>
                        <a:pt x="1" y="0"/>
                      </a:lnTo>
                      <a:lnTo>
                        <a:pt x="2" y="0"/>
                      </a:lnTo>
                      <a:lnTo>
                        <a:pt x="4" y="1"/>
                      </a:lnTo>
                      <a:lnTo>
                        <a:pt x="2"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2" name="Freeform 427"/>
                <p:cNvSpPr>
                  <a:spLocks/>
                </p:cNvSpPr>
                <p:nvPr/>
              </p:nvSpPr>
              <p:spPr bwMode="auto">
                <a:xfrm>
                  <a:off x="4801705" y="4798907"/>
                  <a:ext cx="5919" cy="4439"/>
                </a:xfrm>
                <a:custGeom>
                  <a:avLst/>
                  <a:gdLst>
                    <a:gd name="T0" fmla="*/ 2147483647 w 5"/>
                    <a:gd name="T1" fmla="*/ 0 h 3"/>
                    <a:gd name="T2" fmla="*/ 2147483647 w 5"/>
                    <a:gd name="T3" fmla="*/ 0 h 3"/>
                    <a:gd name="T4" fmla="*/ 2147483647 w 5"/>
                    <a:gd name="T5" fmla="*/ 2147483647 h 3"/>
                    <a:gd name="T6" fmla="*/ 2147483647 w 5"/>
                    <a:gd name="T7" fmla="*/ 2147483647 h 3"/>
                    <a:gd name="T8" fmla="*/ 2147483647 w 5"/>
                    <a:gd name="T9" fmla="*/ 2147483647 h 3"/>
                    <a:gd name="T10" fmla="*/ 2147483647 w 5"/>
                    <a:gd name="T11" fmla="*/ 2147483647 h 3"/>
                    <a:gd name="T12" fmla="*/ 2147483647 w 5"/>
                    <a:gd name="T13" fmla="*/ 2147483647 h 3"/>
                    <a:gd name="T14" fmla="*/ 0 w 5"/>
                    <a:gd name="T15" fmla="*/ 2147483647 h 3"/>
                    <a:gd name="T16" fmla="*/ 0 w 5"/>
                    <a:gd name="T17" fmla="*/ 2147483647 h 3"/>
                    <a:gd name="T18" fmla="*/ 0 w 5"/>
                    <a:gd name="T19" fmla="*/ 2147483647 h 3"/>
                    <a:gd name="T20" fmla="*/ 0 w 5"/>
                    <a:gd name="T21" fmla="*/ 0 h 3"/>
                    <a:gd name="T22" fmla="*/ 0 w 5"/>
                    <a:gd name="T23" fmla="*/ 0 h 3"/>
                    <a:gd name="T24" fmla="*/ 2147483647 w 5"/>
                    <a:gd name="T25" fmla="*/ 0 h 3"/>
                    <a:gd name="T26" fmla="*/ 2147483647 w 5"/>
                    <a:gd name="T27" fmla="*/ 0 h 3"/>
                    <a:gd name="T28" fmla="*/ 2147483647 w 5"/>
                    <a:gd name="T29" fmla="*/ 0 h 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3"/>
                    <a:gd name="T47" fmla="*/ 5 w 5"/>
                    <a:gd name="T48" fmla="*/ 3 h 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3">
                      <a:moveTo>
                        <a:pt x="3" y="0"/>
                      </a:moveTo>
                      <a:lnTo>
                        <a:pt x="3" y="0"/>
                      </a:lnTo>
                      <a:lnTo>
                        <a:pt x="5" y="1"/>
                      </a:lnTo>
                      <a:lnTo>
                        <a:pt x="5" y="3"/>
                      </a:lnTo>
                      <a:lnTo>
                        <a:pt x="2" y="3"/>
                      </a:lnTo>
                      <a:lnTo>
                        <a:pt x="0" y="3"/>
                      </a:lnTo>
                      <a:lnTo>
                        <a:pt x="0" y="2"/>
                      </a:lnTo>
                      <a:lnTo>
                        <a:pt x="0" y="0"/>
                      </a:lnTo>
                      <a:lnTo>
                        <a:pt x="1" y="0"/>
                      </a:lnTo>
                      <a:lnTo>
                        <a:pt x="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3" name="Freeform 428"/>
                <p:cNvSpPr>
                  <a:spLocks/>
                </p:cNvSpPr>
                <p:nvPr/>
              </p:nvSpPr>
              <p:spPr bwMode="auto">
                <a:xfrm>
                  <a:off x="4810586" y="4519213"/>
                  <a:ext cx="16279" cy="20718"/>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0 w 12"/>
                    <a:gd name="T15" fmla="*/ 2147483647 h 14"/>
                    <a:gd name="T16" fmla="*/ 2147483647 w 12"/>
                    <a:gd name="T17" fmla="*/ 2147483647 h 14"/>
                    <a:gd name="T18" fmla="*/ 2147483647 w 12"/>
                    <a:gd name="T19" fmla="*/ 2147483647 h 14"/>
                    <a:gd name="T20" fmla="*/ 2147483647 w 12"/>
                    <a:gd name="T21" fmla="*/ 0 h 14"/>
                    <a:gd name="T22" fmla="*/ 2147483647 w 12"/>
                    <a:gd name="T23" fmla="*/ 0 h 14"/>
                    <a:gd name="T24" fmla="*/ 2147483647 w 12"/>
                    <a:gd name="T25" fmla="*/ 0 h 14"/>
                    <a:gd name="T26" fmla="*/ 2147483647 w 12"/>
                    <a:gd name="T27" fmla="*/ 2147483647 h 14"/>
                    <a:gd name="T28" fmla="*/ 2147483647 w 12"/>
                    <a:gd name="T29" fmla="*/ 2147483647 h 14"/>
                    <a:gd name="T30" fmla="*/ 2147483647 w 12"/>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4"/>
                    <a:gd name="T50" fmla="*/ 12 w 12"/>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4">
                      <a:moveTo>
                        <a:pt x="12" y="7"/>
                      </a:moveTo>
                      <a:lnTo>
                        <a:pt x="12" y="10"/>
                      </a:lnTo>
                      <a:lnTo>
                        <a:pt x="12" y="11"/>
                      </a:lnTo>
                      <a:lnTo>
                        <a:pt x="9" y="13"/>
                      </a:lnTo>
                      <a:lnTo>
                        <a:pt x="5" y="14"/>
                      </a:lnTo>
                      <a:lnTo>
                        <a:pt x="3" y="13"/>
                      </a:lnTo>
                      <a:lnTo>
                        <a:pt x="2" y="11"/>
                      </a:lnTo>
                      <a:lnTo>
                        <a:pt x="0" y="8"/>
                      </a:lnTo>
                      <a:lnTo>
                        <a:pt x="2" y="4"/>
                      </a:lnTo>
                      <a:lnTo>
                        <a:pt x="3" y="1"/>
                      </a:lnTo>
                      <a:lnTo>
                        <a:pt x="4" y="0"/>
                      </a:lnTo>
                      <a:lnTo>
                        <a:pt x="7" y="0"/>
                      </a:lnTo>
                      <a:lnTo>
                        <a:pt x="9" y="0"/>
                      </a:lnTo>
                      <a:lnTo>
                        <a:pt x="10" y="1"/>
                      </a:lnTo>
                      <a:lnTo>
                        <a:pt x="10" y="4"/>
                      </a:lnTo>
                      <a:lnTo>
                        <a:pt x="12"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4" name="Freeform 429"/>
                <p:cNvSpPr>
                  <a:spLocks/>
                </p:cNvSpPr>
                <p:nvPr/>
              </p:nvSpPr>
              <p:spPr bwMode="auto">
                <a:xfrm>
                  <a:off x="4758791" y="4605043"/>
                  <a:ext cx="13318" cy="19239"/>
                </a:xfrm>
                <a:custGeom>
                  <a:avLst/>
                  <a:gdLst>
                    <a:gd name="T0" fmla="*/ 2147483647 w 10"/>
                    <a:gd name="T1" fmla="*/ 2147483647 h 13"/>
                    <a:gd name="T2" fmla="*/ 2147483647 w 10"/>
                    <a:gd name="T3" fmla="*/ 2147483647 h 13"/>
                    <a:gd name="T4" fmla="*/ 2147483647 w 10"/>
                    <a:gd name="T5" fmla="*/ 2147483647 h 13"/>
                    <a:gd name="T6" fmla="*/ 2147483647 w 10"/>
                    <a:gd name="T7" fmla="*/ 0 h 13"/>
                    <a:gd name="T8" fmla="*/ 2147483647 w 10"/>
                    <a:gd name="T9" fmla="*/ 0 h 13"/>
                    <a:gd name="T10" fmla="*/ 0 w 10"/>
                    <a:gd name="T11" fmla="*/ 2147483647 h 13"/>
                    <a:gd name="T12" fmla="*/ 0 w 10"/>
                    <a:gd name="T13" fmla="*/ 2147483647 h 13"/>
                    <a:gd name="T14" fmla="*/ 0 w 10"/>
                    <a:gd name="T15" fmla="*/ 2147483647 h 13"/>
                    <a:gd name="T16" fmla="*/ 2147483647 w 10"/>
                    <a:gd name="T17" fmla="*/ 2147483647 h 13"/>
                    <a:gd name="T18" fmla="*/ 2147483647 w 10"/>
                    <a:gd name="T19" fmla="*/ 2147483647 h 13"/>
                    <a:gd name="T20" fmla="*/ 2147483647 w 10"/>
                    <a:gd name="T21" fmla="*/ 2147483647 h 13"/>
                    <a:gd name="T22" fmla="*/ 2147483647 w 10"/>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9" y="7"/>
                      </a:moveTo>
                      <a:lnTo>
                        <a:pt x="10" y="5"/>
                      </a:lnTo>
                      <a:lnTo>
                        <a:pt x="9" y="1"/>
                      </a:lnTo>
                      <a:lnTo>
                        <a:pt x="7" y="0"/>
                      </a:lnTo>
                      <a:lnTo>
                        <a:pt x="3" y="0"/>
                      </a:lnTo>
                      <a:lnTo>
                        <a:pt x="0" y="3"/>
                      </a:lnTo>
                      <a:lnTo>
                        <a:pt x="0" y="6"/>
                      </a:lnTo>
                      <a:lnTo>
                        <a:pt x="0" y="10"/>
                      </a:lnTo>
                      <a:lnTo>
                        <a:pt x="1" y="12"/>
                      </a:lnTo>
                      <a:lnTo>
                        <a:pt x="3" y="13"/>
                      </a:lnTo>
                      <a:lnTo>
                        <a:pt x="5" y="12"/>
                      </a:lnTo>
                      <a:lnTo>
                        <a:pt x="9"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5" name="Freeform 430"/>
                <p:cNvSpPr>
                  <a:spLocks/>
                </p:cNvSpPr>
                <p:nvPr/>
              </p:nvSpPr>
              <p:spPr bwMode="auto">
                <a:xfrm>
                  <a:off x="4809105" y="4517735"/>
                  <a:ext cx="14799" cy="20718"/>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2147483647 w 11"/>
                    <a:gd name="T9" fmla="*/ 2147483647 h 14"/>
                    <a:gd name="T10" fmla="*/ 2147483647 w 11"/>
                    <a:gd name="T11" fmla="*/ 2147483647 h 14"/>
                    <a:gd name="T12" fmla="*/ 2147483647 w 11"/>
                    <a:gd name="T13" fmla="*/ 2147483647 h 14"/>
                    <a:gd name="T14" fmla="*/ 2147483647 w 11"/>
                    <a:gd name="T15" fmla="*/ 2147483647 h 14"/>
                    <a:gd name="T16" fmla="*/ 2147483647 w 11"/>
                    <a:gd name="T17" fmla="*/ 2147483647 h 14"/>
                    <a:gd name="T18" fmla="*/ 0 w 11"/>
                    <a:gd name="T19" fmla="*/ 2147483647 h 14"/>
                    <a:gd name="T20" fmla="*/ 2147483647 w 11"/>
                    <a:gd name="T21" fmla="*/ 2147483647 h 14"/>
                    <a:gd name="T22" fmla="*/ 2147483647 w 11"/>
                    <a:gd name="T23" fmla="*/ 2147483647 h 14"/>
                    <a:gd name="T24" fmla="*/ 2147483647 w 11"/>
                    <a:gd name="T25" fmla="*/ 0 h 14"/>
                    <a:gd name="T26" fmla="*/ 2147483647 w 11"/>
                    <a:gd name="T27" fmla="*/ 0 h 14"/>
                    <a:gd name="T28" fmla="*/ 2147483647 w 11"/>
                    <a:gd name="T29" fmla="*/ 0 h 14"/>
                    <a:gd name="T30" fmla="*/ 2147483647 w 11"/>
                    <a:gd name="T31" fmla="*/ 0 h 14"/>
                    <a:gd name="T32" fmla="*/ 2147483647 w 11"/>
                    <a:gd name="T33" fmla="*/ 2147483647 h 14"/>
                    <a:gd name="T34" fmla="*/ 2147483647 w 11"/>
                    <a:gd name="T35" fmla="*/ 2147483647 h 14"/>
                    <a:gd name="T36" fmla="*/ 2147483647 w 11"/>
                    <a:gd name="T37" fmla="*/ 2147483647 h 14"/>
                    <a:gd name="T38" fmla="*/ 2147483647 w 11"/>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
                    <a:gd name="T61" fmla="*/ 0 h 14"/>
                    <a:gd name="T62" fmla="*/ 11 w 11"/>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 h="14">
                      <a:moveTo>
                        <a:pt x="11" y="7"/>
                      </a:moveTo>
                      <a:lnTo>
                        <a:pt x="11" y="7"/>
                      </a:lnTo>
                      <a:lnTo>
                        <a:pt x="11" y="9"/>
                      </a:lnTo>
                      <a:lnTo>
                        <a:pt x="11" y="11"/>
                      </a:lnTo>
                      <a:lnTo>
                        <a:pt x="9" y="13"/>
                      </a:lnTo>
                      <a:lnTo>
                        <a:pt x="5" y="14"/>
                      </a:lnTo>
                      <a:lnTo>
                        <a:pt x="3" y="13"/>
                      </a:lnTo>
                      <a:lnTo>
                        <a:pt x="1" y="11"/>
                      </a:lnTo>
                      <a:lnTo>
                        <a:pt x="0" y="8"/>
                      </a:lnTo>
                      <a:lnTo>
                        <a:pt x="1" y="4"/>
                      </a:lnTo>
                      <a:lnTo>
                        <a:pt x="3" y="1"/>
                      </a:lnTo>
                      <a:lnTo>
                        <a:pt x="4" y="0"/>
                      </a:lnTo>
                      <a:lnTo>
                        <a:pt x="6" y="0"/>
                      </a:lnTo>
                      <a:lnTo>
                        <a:pt x="9" y="0"/>
                      </a:lnTo>
                      <a:lnTo>
                        <a:pt x="10" y="1"/>
                      </a:lnTo>
                      <a:lnTo>
                        <a:pt x="10" y="4"/>
                      </a:lnTo>
                      <a:lnTo>
                        <a:pt x="11"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6" name="Freeform 431"/>
                <p:cNvSpPr>
                  <a:spLocks/>
                </p:cNvSpPr>
                <p:nvPr/>
              </p:nvSpPr>
              <p:spPr bwMode="auto">
                <a:xfrm>
                  <a:off x="4757308" y="4603563"/>
                  <a:ext cx="13319" cy="19238"/>
                </a:xfrm>
                <a:custGeom>
                  <a:avLst/>
                  <a:gdLst>
                    <a:gd name="T0" fmla="*/ 2147483647 w 10"/>
                    <a:gd name="T1" fmla="*/ 2147483647 h 13"/>
                    <a:gd name="T2" fmla="*/ 2147483647 w 10"/>
                    <a:gd name="T3" fmla="*/ 2147483647 h 13"/>
                    <a:gd name="T4" fmla="*/ 2147483647 w 10"/>
                    <a:gd name="T5" fmla="*/ 2147483647 h 13"/>
                    <a:gd name="T6" fmla="*/ 2147483647 w 10"/>
                    <a:gd name="T7" fmla="*/ 2147483647 h 13"/>
                    <a:gd name="T8" fmla="*/ 2147483647 w 10"/>
                    <a:gd name="T9" fmla="*/ 0 h 13"/>
                    <a:gd name="T10" fmla="*/ 2147483647 w 10"/>
                    <a:gd name="T11" fmla="*/ 0 h 13"/>
                    <a:gd name="T12" fmla="*/ 2147483647 w 10"/>
                    <a:gd name="T13" fmla="*/ 0 h 13"/>
                    <a:gd name="T14" fmla="*/ 0 w 10"/>
                    <a:gd name="T15" fmla="*/ 2147483647 h 13"/>
                    <a:gd name="T16" fmla="*/ 0 w 10"/>
                    <a:gd name="T17" fmla="*/ 2147483647 h 13"/>
                    <a:gd name="T18" fmla="*/ 0 w 10"/>
                    <a:gd name="T19" fmla="*/ 2147483647 h 13"/>
                    <a:gd name="T20" fmla="*/ 2147483647 w 10"/>
                    <a:gd name="T21" fmla="*/ 2147483647 h 13"/>
                    <a:gd name="T22" fmla="*/ 2147483647 w 10"/>
                    <a:gd name="T23" fmla="*/ 2147483647 h 13"/>
                    <a:gd name="T24" fmla="*/ 2147483647 w 10"/>
                    <a:gd name="T25" fmla="*/ 2147483647 h 13"/>
                    <a:gd name="T26" fmla="*/ 2147483647 w 10"/>
                    <a:gd name="T27" fmla="*/ 2147483647 h 13"/>
                    <a:gd name="T28" fmla="*/ 2147483647 w 10"/>
                    <a:gd name="T29" fmla="*/ 2147483647 h 13"/>
                    <a:gd name="T30" fmla="*/ 2147483647 w 10"/>
                    <a:gd name="T31" fmla="*/ 2147483647 h 13"/>
                    <a:gd name="T32" fmla="*/ 2147483647 w 10"/>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3"/>
                    <a:gd name="T53" fmla="*/ 10 w 10"/>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3">
                      <a:moveTo>
                        <a:pt x="9" y="7"/>
                      </a:moveTo>
                      <a:lnTo>
                        <a:pt x="9" y="7"/>
                      </a:lnTo>
                      <a:lnTo>
                        <a:pt x="10" y="5"/>
                      </a:lnTo>
                      <a:lnTo>
                        <a:pt x="9" y="1"/>
                      </a:lnTo>
                      <a:lnTo>
                        <a:pt x="6" y="0"/>
                      </a:lnTo>
                      <a:lnTo>
                        <a:pt x="2" y="0"/>
                      </a:lnTo>
                      <a:lnTo>
                        <a:pt x="0" y="2"/>
                      </a:lnTo>
                      <a:lnTo>
                        <a:pt x="0" y="6"/>
                      </a:lnTo>
                      <a:lnTo>
                        <a:pt x="0" y="10"/>
                      </a:lnTo>
                      <a:lnTo>
                        <a:pt x="1" y="12"/>
                      </a:lnTo>
                      <a:lnTo>
                        <a:pt x="2" y="13"/>
                      </a:lnTo>
                      <a:lnTo>
                        <a:pt x="5" y="12"/>
                      </a:lnTo>
                      <a:lnTo>
                        <a:pt x="9"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7" name="Freeform 432"/>
                <p:cNvSpPr>
                  <a:spLocks/>
                </p:cNvSpPr>
                <p:nvPr/>
              </p:nvSpPr>
              <p:spPr bwMode="auto">
                <a:xfrm>
                  <a:off x="5714787" y="4892137"/>
                  <a:ext cx="8879" cy="7400"/>
                </a:xfrm>
                <a:custGeom>
                  <a:avLst/>
                  <a:gdLst>
                    <a:gd name="T0" fmla="*/ 2147483647 w 6"/>
                    <a:gd name="T1" fmla="*/ 2147483647 h 5"/>
                    <a:gd name="T2" fmla="*/ 2147483647 w 6"/>
                    <a:gd name="T3" fmla="*/ 2147483647 h 5"/>
                    <a:gd name="T4" fmla="*/ 2147483647 w 6"/>
                    <a:gd name="T5" fmla="*/ 2147483647 h 5"/>
                    <a:gd name="T6" fmla="*/ 2147483647 w 6"/>
                    <a:gd name="T7" fmla="*/ 2147483647 h 5"/>
                    <a:gd name="T8" fmla="*/ 2147483647 w 6"/>
                    <a:gd name="T9" fmla="*/ 2147483647 h 5"/>
                    <a:gd name="T10" fmla="*/ 0 w 6"/>
                    <a:gd name="T11" fmla="*/ 2147483647 h 5"/>
                    <a:gd name="T12" fmla="*/ 0 w 6"/>
                    <a:gd name="T13" fmla="*/ 2147483647 h 5"/>
                    <a:gd name="T14" fmla="*/ 2147483647 w 6"/>
                    <a:gd name="T15" fmla="*/ 0 h 5"/>
                    <a:gd name="T16" fmla="*/ 2147483647 w 6"/>
                    <a:gd name="T17" fmla="*/ 0 h 5"/>
                    <a:gd name="T18" fmla="*/ 2147483647 w 6"/>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5"/>
                    <a:gd name="T32" fmla="*/ 6 w 6"/>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5">
                      <a:moveTo>
                        <a:pt x="5" y="1"/>
                      </a:moveTo>
                      <a:lnTo>
                        <a:pt x="6" y="3"/>
                      </a:lnTo>
                      <a:lnTo>
                        <a:pt x="5" y="4"/>
                      </a:lnTo>
                      <a:lnTo>
                        <a:pt x="2" y="5"/>
                      </a:lnTo>
                      <a:lnTo>
                        <a:pt x="1" y="4"/>
                      </a:lnTo>
                      <a:lnTo>
                        <a:pt x="0" y="3"/>
                      </a:lnTo>
                      <a:lnTo>
                        <a:pt x="0" y="1"/>
                      </a:lnTo>
                      <a:lnTo>
                        <a:pt x="1" y="0"/>
                      </a:lnTo>
                      <a:lnTo>
                        <a:pt x="2" y="0"/>
                      </a:lnTo>
                      <a:lnTo>
                        <a:pt x="5"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8" name="Freeform 433"/>
                <p:cNvSpPr>
                  <a:spLocks/>
                </p:cNvSpPr>
                <p:nvPr/>
              </p:nvSpPr>
              <p:spPr bwMode="auto">
                <a:xfrm>
                  <a:off x="5665950" y="4975010"/>
                  <a:ext cx="5919"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0 w 5"/>
                    <a:gd name="T9" fmla="*/ 2147483647 h 8"/>
                    <a:gd name="T10" fmla="*/ 0 w 5"/>
                    <a:gd name="T11" fmla="*/ 2147483647 h 8"/>
                    <a:gd name="T12" fmla="*/ 2147483647 w 5"/>
                    <a:gd name="T13" fmla="*/ 0 h 8"/>
                    <a:gd name="T14" fmla="*/ 2147483647 w 5"/>
                    <a:gd name="T15" fmla="*/ 0 h 8"/>
                    <a:gd name="T16" fmla="*/ 2147483647 w 5"/>
                    <a:gd name="T17" fmla="*/ 2147483647 h 8"/>
                    <a:gd name="T18" fmla="*/ 2147483647 w 5"/>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8"/>
                    <a:gd name="T32" fmla="*/ 5 w 5"/>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8">
                      <a:moveTo>
                        <a:pt x="5" y="4"/>
                      </a:moveTo>
                      <a:lnTo>
                        <a:pt x="5" y="6"/>
                      </a:lnTo>
                      <a:lnTo>
                        <a:pt x="4" y="8"/>
                      </a:lnTo>
                      <a:lnTo>
                        <a:pt x="2" y="6"/>
                      </a:lnTo>
                      <a:lnTo>
                        <a:pt x="0" y="5"/>
                      </a:lnTo>
                      <a:lnTo>
                        <a:pt x="0" y="3"/>
                      </a:lnTo>
                      <a:lnTo>
                        <a:pt x="2" y="0"/>
                      </a:lnTo>
                      <a:lnTo>
                        <a:pt x="3" y="0"/>
                      </a:lnTo>
                      <a:lnTo>
                        <a:pt x="3" y="2"/>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699" name="Freeform 434"/>
                <p:cNvSpPr>
                  <a:spLocks/>
                </p:cNvSpPr>
                <p:nvPr/>
              </p:nvSpPr>
              <p:spPr bwMode="auto">
                <a:xfrm>
                  <a:off x="5713307" y="4889182"/>
                  <a:ext cx="8879" cy="8879"/>
                </a:xfrm>
                <a:custGeom>
                  <a:avLst/>
                  <a:gdLst>
                    <a:gd name="T0" fmla="*/ 2147483647 w 6"/>
                    <a:gd name="T1" fmla="*/ 2147483647 h 6"/>
                    <a:gd name="T2" fmla="*/ 2147483647 w 6"/>
                    <a:gd name="T3" fmla="*/ 2147483647 h 6"/>
                    <a:gd name="T4" fmla="*/ 2147483647 w 6"/>
                    <a:gd name="T5" fmla="*/ 2147483647 h 6"/>
                    <a:gd name="T6" fmla="*/ 2147483647 w 6"/>
                    <a:gd name="T7" fmla="*/ 2147483647 h 6"/>
                    <a:gd name="T8" fmla="*/ 2147483647 w 6"/>
                    <a:gd name="T9" fmla="*/ 2147483647 h 6"/>
                    <a:gd name="T10" fmla="*/ 2147483647 w 6"/>
                    <a:gd name="T11" fmla="*/ 2147483647 h 6"/>
                    <a:gd name="T12" fmla="*/ 2147483647 w 6"/>
                    <a:gd name="T13" fmla="*/ 2147483647 h 6"/>
                    <a:gd name="T14" fmla="*/ 0 w 6"/>
                    <a:gd name="T15" fmla="*/ 2147483647 h 6"/>
                    <a:gd name="T16" fmla="*/ 0 w 6"/>
                    <a:gd name="T17" fmla="*/ 2147483647 h 6"/>
                    <a:gd name="T18" fmla="*/ 0 w 6"/>
                    <a:gd name="T19" fmla="*/ 2147483647 h 6"/>
                    <a:gd name="T20" fmla="*/ 2147483647 w 6"/>
                    <a:gd name="T21" fmla="*/ 0 h 6"/>
                    <a:gd name="T22" fmla="*/ 2147483647 w 6"/>
                    <a:gd name="T23" fmla="*/ 0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5" y="2"/>
                      </a:moveTo>
                      <a:lnTo>
                        <a:pt x="5" y="2"/>
                      </a:lnTo>
                      <a:lnTo>
                        <a:pt x="6" y="4"/>
                      </a:lnTo>
                      <a:lnTo>
                        <a:pt x="5" y="5"/>
                      </a:lnTo>
                      <a:lnTo>
                        <a:pt x="2" y="6"/>
                      </a:lnTo>
                      <a:lnTo>
                        <a:pt x="1" y="5"/>
                      </a:lnTo>
                      <a:lnTo>
                        <a:pt x="0" y="4"/>
                      </a:lnTo>
                      <a:lnTo>
                        <a:pt x="0" y="2"/>
                      </a:lnTo>
                      <a:lnTo>
                        <a:pt x="1" y="0"/>
                      </a:lnTo>
                      <a:lnTo>
                        <a:pt x="2" y="0"/>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0" name="Freeform 435"/>
                <p:cNvSpPr>
                  <a:spLocks/>
                </p:cNvSpPr>
                <p:nvPr/>
              </p:nvSpPr>
              <p:spPr bwMode="auto">
                <a:xfrm>
                  <a:off x="5664474" y="4973535"/>
                  <a:ext cx="7399" cy="10359"/>
                </a:xfrm>
                <a:custGeom>
                  <a:avLst/>
                  <a:gdLst>
                    <a:gd name="T0" fmla="*/ 2147483647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0 w 5"/>
                    <a:gd name="T15" fmla="*/ 2147483647 h 7"/>
                    <a:gd name="T16" fmla="*/ 2147483647 w 5"/>
                    <a:gd name="T17" fmla="*/ 0 h 7"/>
                    <a:gd name="T18" fmla="*/ 2147483647 w 5"/>
                    <a:gd name="T19" fmla="*/ 0 h 7"/>
                    <a:gd name="T20" fmla="*/ 2147483647 w 5"/>
                    <a:gd name="T21" fmla="*/ 0 h 7"/>
                    <a:gd name="T22" fmla="*/ 2147483647 w 5"/>
                    <a:gd name="T23" fmla="*/ 2147483647 h 7"/>
                    <a:gd name="T24" fmla="*/ 2147483647 w 5"/>
                    <a:gd name="T25" fmla="*/ 2147483647 h 7"/>
                    <a:gd name="T26" fmla="*/ 2147483647 w 5"/>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7"/>
                    <a:gd name="T44" fmla="*/ 5 w 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7">
                      <a:moveTo>
                        <a:pt x="5" y="4"/>
                      </a:moveTo>
                      <a:lnTo>
                        <a:pt x="5" y="4"/>
                      </a:lnTo>
                      <a:lnTo>
                        <a:pt x="5" y="6"/>
                      </a:lnTo>
                      <a:lnTo>
                        <a:pt x="4" y="7"/>
                      </a:lnTo>
                      <a:lnTo>
                        <a:pt x="1" y="6"/>
                      </a:lnTo>
                      <a:lnTo>
                        <a:pt x="0" y="5"/>
                      </a:lnTo>
                      <a:lnTo>
                        <a:pt x="0" y="3"/>
                      </a:lnTo>
                      <a:lnTo>
                        <a:pt x="1" y="0"/>
                      </a:lnTo>
                      <a:lnTo>
                        <a:pt x="3" y="0"/>
                      </a:lnTo>
                      <a:lnTo>
                        <a:pt x="3" y="1"/>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1" name="Freeform 436"/>
                <p:cNvSpPr>
                  <a:spLocks/>
                </p:cNvSpPr>
                <p:nvPr/>
              </p:nvSpPr>
              <p:spPr bwMode="auto">
                <a:xfrm>
                  <a:off x="5645231" y="4951332"/>
                  <a:ext cx="7400" cy="13319"/>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0 h 9"/>
                    <a:gd name="T10" fmla="*/ 2147483647 w 5"/>
                    <a:gd name="T11" fmla="*/ 2147483647 h 9"/>
                    <a:gd name="T12" fmla="*/ 0 w 5"/>
                    <a:gd name="T13" fmla="*/ 2147483647 h 9"/>
                    <a:gd name="T14" fmla="*/ 0 w 5"/>
                    <a:gd name="T15" fmla="*/ 2147483647 h 9"/>
                    <a:gd name="T16" fmla="*/ 2147483647 w 5"/>
                    <a:gd name="T17" fmla="*/ 2147483647 h 9"/>
                    <a:gd name="T18" fmla="*/ 2147483647 w 5"/>
                    <a:gd name="T19" fmla="*/ 2147483647 h 9"/>
                    <a:gd name="T20" fmla="*/ 2147483647 w 5"/>
                    <a:gd name="T21" fmla="*/ 2147483647 h 9"/>
                    <a:gd name="T22" fmla="*/ 2147483647 w 5"/>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9"/>
                    <a:gd name="T38" fmla="*/ 5 w 5"/>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9">
                      <a:moveTo>
                        <a:pt x="4" y="6"/>
                      </a:moveTo>
                      <a:lnTo>
                        <a:pt x="3" y="3"/>
                      </a:lnTo>
                      <a:lnTo>
                        <a:pt x="3" y="2"/>
                      </a:lnTo>
                      <a:lnTo>
                        <a:pt x="4" y="1"/>
                      </a:lnTo>
                      <a:lnTo>
                        <a:pt x="4" y="0"/>
                      </a:lnTo>
                      <a:lnTo>
                        <a:pt x="1" y="1"/>
                      </a:lnTo>
                      <a:lnTo>
                        <a:pt x="0" y="3"/>
                      </a:lnTo>
                      <a:lnTo>
                        <a:pt x="0" y="8"/>
                      </a:lnTo>
                      <a:lnTo>
                        <a:pt x="3" y="9"/>
                      </a:lnTo>
                      <a:lnTo>
                        <a:pt x="4" y="9"/>
                      </a:lnTo>
                      <a:lnTo>
                        <a:pt x="5" y="7"/>
                      </a:lnTo>
                      <a:lnTo>
                        <a:pt x="4"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2" name="Freeform 437"/>
                <p:cNvSpPr>
                  <a:spLocks/>
                </p:cNvSpPr>
                <p:nvPr/>
              </p:nvSpPr>
              <p:spPr bwMode="auto">
                <a:xfrm>
                  <a:off x="5921969" y="5232509"/>
                  <a:ext cx="19238" cy="13319"/>
                </a:xfrm>
                <a:custGeom>
                  <a:avLst/>
                  <a:gdLst>
                    <a:gd name="T0" fmla="*/ 2147483647 w 14"/>
                    <a:gd name="T1" fmla="*/ 2147483647 h 9"/>
                    <a:gd name="T2" fmla="*/ 2147483647 w 14"/>
                    <a:gd name="T3" fmla="*/ 2147483647 h 9"/>
                    <a:gd name="T4" fmla="*/ 2147483647 w 14"/>
                    <a:gd name="T5" fmla="*/ 2147483647 h 9"/>
                    <a:gd name="T6" fmla="*/ 2147483647 w 14"/>
                    <a:gd name="T7" fmla="*/ 2147483647 h 9"/>
                    <a:gd name="T8" fmla="*/ 2147483647 w 14"/>
                    <a:gd name="T9" fmla="*/ 2147483647 h 9"/>
                    <a:gd name="T10" fmla="*/ 2147483647 w 14"/>
                    <a:gd name="T11" fmla="*/ 2147483647 h 9"/>
                    <a:gd name="T12" fmla="*/ 2147483647 w 14"/>
                    <a:gd name="T13" fmla="*/ 2147483647 h 9"/>
                    <a:gd name="T14" fmla="*/ 2147483647 w 14"/>
                    <a:gd name="T15" fmla="*/ 2147483647 h 9"/>
                    <a:gd name="T16" fmla="*/ 0 w 14"/>
                    <a:gd name="T17" fmla="*/ 2147483647 h 9"/>
                    <a:gd name="T18" fmla="*/ 0 w 14"/>
                    <a:gd name="T19" fmla="*/ 2147483647 h 9"/>
                    <a:gd name="T20" fmla="*/ 2147483647 w 14"/>
                    <a:gd name="T21" fmla="*/ 0 h 9"/>
                    <a:gd name="T22" fmla="*/ 2147483647 w 14"/>
                    <a:gd name="T23" fmla="*/ 0 h 9"/>
                    <a:gd name="T24" fmla="*/ 2147483647 w 14"/>
                    <a:gd name="T25" fmla="*/ 0 h 9"/>
                    <a:gd name="T26" fmla="*/ 2147483647 w 14"/>
                    <a:gd name="T27" fmla="*/ 2147483647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9"/>
                    <a:gd name="T44" fmla="*/ 14 w 14"/>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9">
                      <a:moveTo>
                        <a:pt x="12" y="3"/>
                      </a:moveTo>
                      <a:lnTo>
                        <a:pt x="14" y="5"/>
                      </a:lnTo>
                      <a:lnTo>
                        <a:pt x="14" y="7"/>
                      </a:lnTo>
                      <a:lnTo>
                        <a:pt x="14" y="8"/>
                      </a:lnTo>
                      <a:lnTo>
                        <a:pt x="12" y="9"/>
                      </a:lnTo>
                      <a:lnTo>
                        <a:pt x="9" y="9"/>
                      </a:lnTo>
                      <a:lnTo>
                        <a:pt x="5" y="9"/>
                      </a:lnTo>
                      <a:lnTo>
                        <a:pt x="3" y="8"/>
                      </a:lnTo>
                      <a:lnTo>
                        <a:pt x="0" y="5"/>
                      </a:lnTo>
                      <a:lnTo>
                        <a:pt x="0" y="2"/>
                      </a:lnTo>
                      <a:lnTo>
                        <a:pt x="2" y="0"/>
                      </a:lnTo>
                      <a:lnTo>
                        <a:pt x="4" y="0"/>
                      </a:lnTo>
                      <a:lnTo>
                        <a:pt x="7" y="0"/>
                      </a:lnTo>
                      <a:lnTo>
                        <a:pt x="12"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3" name="Freeform 438"/>
                <p:cNvSpPr>
                  <a:spLocks/>
                </p:cNvSpPr>
                <p:nvPr/>
              </p:nvSpPr>
              <p:spPr bwMode="auto">
                <a:xfrm>
                  <a:off x="5643755" y="4949857"/>
                  <a:ext cx="7399" cy="13319"/>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2147483647 h 9"/>
                    <a:gd name="T10" fmla="*/ 2147483647 w 5"/>
                    <a:gd name="T11" fmla="*/ 2147483647 h 9"/>
                    <a:gd name="T12" fmla="*/ 2147483647 w 5"/>
                    <a:gd name="T13" fmla="*/ 2147483647 h 9"/>
                    <a:gd name="T14" fmla="*/ 2147483647 w 5"/>
                    <a:gd name="T15" fmla="*/ 0 h 9"/>
                    <a:gd name="T16" fmla="*/ 2147483647 w 5"/>
                    <a:gd name="T17" fmla="*/ 0 h 9"/>
                    <a:gd name="T18" fmla="*/ 2147483647 w 5"/>
                    <a:gd name="T19" fmla="*/ 2147483647 h 9"/>
                    <a:gd name="T20" fmla="*/ 0 w 5"/>
                    <a:gd name="T21" fmla="*/ 2147483647 h 9"/>
                    <a:gd name="T22" fmla="*/ 0 w 5"/>
                    <a:gd name="T23" fmla="*/ 2147483647 h 9"/>
                    <a:gd name="T24" fmla="*/ 0 w 5"/>
                    <a:gd name="T25" fmla="*/ 2147483647 h 9"/>
                    <a:gd name="T26" fmla="*/ 2147483647 w 5"/>
                    <a:gd name="T27" fmla="*/ 2147483647 h 9"/>
                    <a:gd name="T28" fmla="*/ 2147483647 w 5"/>
                    <a:gd name="T29" fmla="*/ 2147483647 h 9"/>
                    <a:gd name="T30" fmla="*/ 2147483647 w 5"/>
                    <a:gd name="T31" fmla="*/ 2147483647 h 9"/>
                    <a:gd name="T32" fmla="*/ 2147483647 w 5"/>
                    <a:gd name="T33" fmla="*/ 2147483647 h 9"/>
                    <a:gd name="T34" fmla="*/ 2147483647 w 5"/>
                    <a:gd name="T35" fmla="*/ 2147483647 h 9"/>
                    <a:gd name="T36" fmla="*/ 2147483647 w 5"/>
                    <a:gd name="T37" fmla="*/ 2147483647 h 9"/>
                    <a:gd name="T38" fmla="*/ 2147483647 w 5"/>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
                    <a:gd name="T61" fmla="*/ 0 h 9"/>
                    <a:gd name="T62" fmla="*/ 5 w 5"/>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 h="9">
                      <a:moveTo>
                        <a:pt x="4" y="6"/>
                      </a:moveTo>
                      <a:lnTo>
                        <a:pt x="4" y="6"/>
                      </a:lnTo>
                      <a:lnTo>
                        <a:pt x="2" y="3"/>
                      </a:lnTo>
                      <a:lnTo>
                        <a:pt x="2" y="2"/>
                      </a:lnTo>
                      <a:lnTo>
                        <a:pt x="4" y="1"/>
                      </a:lnTo>
                      <a:lnTo>
                        <a:pt x="4" y="0"/>
                      </a:lnTo>
                      <a:lnTo>
                        <a:pt x="1" y="1"/>
                      </a:lnTo>
                      <a:lnTo>
                        <a:pt x="0" y="3"/>
                      </a:lnTo>
                      <a:lnTo>
                        <a:pt x="0" y="8"/>
                      </a:lnTo>
                      <a:lnTo>
                        <a:pt x="2" y="9"/>
                      </a:lnTo>
                      <a:lnTo>
                        <a:pt x="4" y="9"/>
                      </a:lnTo>
                      <a:lnTo>
                        <a:pt x="5" y="7"/>
                      </a:lnTo>
                      <a:lnTo>
                        <a:pt x="4"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4" name="Freeform 439"/>
                <p:cNvSpPr>
                  <a:spLocks/>
                </p:cNvSpPr>
                <p:nvPr/>
              </p:nvSpPr>
              <p:spPr bwMode="auto">
                <a:xfrm>
                  <a:off x="5920489" y="5229549"/>
                  <a:ext cx="19239" cy="14799"/>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2147483647 w 14"/>
                    <a:gd name="T21" fmla="*/ 2147483647 h 10"/>
                    <a:gd name="T22" fmla="*/ 0 w 14"/>
                    <a:gd name="T23" fmla="*/ 2147483647 h 10"/>
                    <a:gd name="T24" fmla="*/ 0 w 14"/>
                    <a:gd name="T25" fmla="*/ 2147483647 h 10"/>
                    <a:gd name="T26" fmla="*/ 2147483647 w 14"/>
                    <a:gd name="T27" fmla="*/ 0 h 10"/>
                    <a:gd name="T28" fmla="*/ 2147483647 w 14"/>
                    <a:gd name="T29" fmla="*/ 0 h 10"/>
                    <a:gd name="T30" fmla="*/ 2147483647 w 14"/>
                    <a:gd name="T31" fmla="*/ 0 h 10"/>
                    <a:gd name="T32" fmla="*/ 2147483647 w 14"/>
                    <a:gd name="T33" fmla="*/ 0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11" y="4"/>
                      </a:moveTo>
                      <a:lnTo>
                        <a:pt x="11" y="4"/>
                      </a:lnTo>
                      <a:lnTo>
                        <a:pt x="14" y="6"/>
                      </a:lnTo>
                      <a:lnTo>
                        <a:pt x="14" y="7"/>
                      </a:lnTo>
                      <a:lnTo>
                        <a:pt x="14" y="9"/>
                      </a:lnTo>
                      <a:lnTo>
                        <a:pt x="11" y="10"/>
                      </a:lnTo>
                      <a:lnTo>
                        <a:pt x="9" y="10"/>
                      </a:lnTo>
                      <a:lnTo>
                        <a:pt x="5" y="10"/>
                      </a:lnTo>
                      <a:lnTo>
                        <a:pt x="3" y="9"/>
                      </a:lnTo>
                      <a:lnTo>
                        <a:pt x="0" y="6"/>
                      </a:lnTo>
                      <a:lnTo>
                        <a:pt x="0" y="3"/>
                      </a:lnTo>
                      <a:lnTo>
                        <a:pt x="1" y="0"/>
                      </a:lnTo>
                      <a:lnTo>
                        <a:pt x="4" y="0"/>
                      </a:lnTo>
                      <a:lnTo>
                        <a:pt x="6" y="0"/>
                      </a:lnTo>
                      <a:lnTo>
                        <a:pt x="1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5" name="Freeform 440"/>
                <p:cNvSpPr>
                  <a:spLocks/>
                </p:cNvSpPr>
                <p:nvPr/>
              </p:nvSpPr>
              <p:spPr bwMode="auto">
                <a:xfrm>
                  <a:off x="5964886" y="5205874"/>
                  <a:ext cx="16279" cy="14799"/>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2147483647 h 10"/>
                    <a:gd name="T16" fmla="*/ 2147483647 w 12"/>
                    <a:gd name="T17" fmla="*/ 0 h 10"/>
                    <a:gd name="T18" fmla="*/ 2147483647 w 12"/>
                    <a:gd name="T19" fmla="*/ 0 h 10"/>
                    <a:gd name="T20" fmla="*/ 2147483647 w 12"/>
                    <a:gd name="T21" fmla="*/ 0 h 10"/>
                    <a:gd name="T22" fmla="*/ 2147483647 w 12"/>
                    <a:gd name="T23" fmla="*/ 2147483647 h 10"/>
                    <a:gd name="T24" fmla="*/ 2147483647 w 12"/>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0"/>
                    <a:gd name="T41" fmla="*/ 12 w 12"/>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0">
                      <a:moveTo>
                        <a:pt x="12" y="4"/>
                      </a:moveTo>
                      <a:lnTo>
                        <a:pt x="11" y="8"/>
                      </a:lnTo>
                      <a:lnTo>
                        <a:pt x="7" y="10"/>
                      </a:lnTo>
                      <a:lnTo>
                        <a:pt x="4" y="10"/>
                      </a:lnTo>
                      <a:lnTo>
                        <a:pt x="1" y="8"/>
                      </a:lnTo>
                      <a:lnTo>
                        <a:pt x="0" y="6"/>
                      </a:lnTo>
                      <a:lnTo>
                        <a:pt x="1" y="3"/>
                      </a:lnTo>
                      <a:lnTo>
                        <a:pt x="2" y="1"/>
                      </a:lnTo>
                      <a:lnTo>
                        <a:pt x="5" y="0"/>
                      </a:lnTo>
                      <a:lnTo>
                        <a:pt x="7" y="0"/>
                      </a:lnTo>
                      <a:lnTo>
                        <a:pt x="10" y="0"/>
                      </a:lnTo>
                      <a:lnTo>
                        <a:pt x="11" y="2"/>
                      </a:lnTo>
                      <a:lnTo>
                        <a:pt x="12"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6" name="Freeform 441"/>
                <p:cNvSpPr>
                  <a:spLocks/>
                </p:cNvSpPr>
                <p:nvPr/>
              </p:nvSpPr>
              <p:spPr bwMode="auto">
                <a:xfrm>
                  <a:off x="5643755" y="4973534"/>
                  <a:ext cx="174625" cy="402525"/>
                </a:xfrm>
                <a:custGeom>
                  <a:avLst/>
                  <a:gdLst>
                    <a:gd name="T0" fmla="*/ 2147483647 w 128"/>
                    <a:gd name="T1" fmla="*/ 2147483647 h 272"/>
                    <a:gd name="T2" fmla="*/ 2147483647 w 128"/>
                    <a:gd name="T3" fmla="*/ 2147483647 h 272"/>
                    <a:gd name="T4" fmla="*/ 2147483647 w 128"/>
                    <a:gd name="T5" fmla="*/ 2147483647 h 272"/>
                    <a:gd name="T6" fmla="*/ 2147483647 w 128"/>
                    <a:gd name="T7" fmla="*/ 2147483647 h 272"/>
                    <a:gd name="T8" fmla="*/ 2147483647 w 128"/>
                    <a:gd name="T9" fmla="*/ 2147483647 h 272"/>
                    <a:gd name="T10" fmla="*/ 2147483647 w 128"/>
                    <a:gd name="T11" fmla="*/ 2147483647 h 272"/>
                    <a:gd name="T12" fmla="*/ 2147483647 w 128"/>
                    <a:gd name="T13" fmla="*/ 2147483647 h 272"/>
                    <a:gd name="T14" fmla="*/ 2147483647 w 128"/>
                    <a:gd name="T15" fmla="*/ 2147483647 h 272"/>
                    <a:gd name="T16" fmla="*/ 2147483647 w 128"/>
                    <a:gd name="T17" fmla="*/ 0 h 272"/>
                    <a:gd name="T18" fmla="*/ 2147483647 w 128"/>
                    <a:gd name="T19" fmla="*/ 2147483647 h 272"/>
                    <a:gd name="T20" fmla="*/ 2147483647 w 128"/>
                    <a:gd name="T21" fmla="*/ 2147483647 h 272"/>
                    <a:gd name="T22" fmla="*/ 2147483647 w 128"/>
                    <a:gd name="T23" fmla="*/ 2147483647 h 272"/>
                    <a:gd name="T24" fmla="*/ 2147483647 w 128"/>
                    <a:gd name="T25" fmla="*/ 2147483647 h 272"/>
                    <a:gd name="T26" fmla="*/ 2147483647 w 128"/>
                    <a:gd name="T27" fmla="*/ 2147483647 h 272"/>
                    <a:gd name="T28" fmla="*/ 2147483647 w 128"/>
                    <a:gd name="T29" fmla="*/ 2147483647 h 272"/>
                    <a:gd name="T30" fmla="*/ 2147483647 w 128"/>
                    <a:gd name="T31" fmla="*/ 2147483647 h 272"/>
                    <a:gd name="T32" fmla="*/ 2147483647 w 128"/>
                    <a:gd name="T33" fmla="*/ 2147483647 h 272"/>
                    <a:gd name="T34" fmla="*/ 2147483647 w 128"/>
                    <a:gd name="T35" fmla="*/ 2147483647 h 272"/>
                    <a:gd name="T36" fmla="*/ 2147483647 w 128"/>
                    <a:gd name="T37" fmla="*/ 2147483647 h 272"/>
                    <a:gd name="T38" fmla="*/ 2147483647 w 128"/>
                    <a:gd name="T39" fmla="*/ 2147483647 h 272"/>
                    <a:gd name="T40" fmla="*/ 2147483647 w 128"/>
                    <a:gd name="T41" fmla="*/ 2147483647 h 272"/>
                    <a:gd name="T42" fmla="*/ 2147483647 w 128"/>
                    <a:gd name="T43" fmla="*/ 2147483647 h 272"/>
                    <a:gd name="T44" fmla="*/ 2147483647 w 128"/>
                    <a:gd name="T45" fmla="*/ 2147483647 h 272"/>
                    <a:gd name="T46" fmla="*/ 2147483647 w 128"/>
                    <a:gd name="T47" fmla="*/ 2147483647 h 272"/>
                    <a:gd name="T48" fmla="*/ 0 w 128"/>
                    <a:gd name="T49" fmla="*/ 2147483647 h 272"/>
                    <a:gd name="T50" fmla="*/ 2147483647 w 128"/>
                    <a:gd name="T51" fmla="*/ 2147483647 h 272"/>
                    <a:gd name="T52" fmla="*/ 2147483647 w 128"/>
                    <a:gd name="T53" fmla="*/ 2147483647 h 272"/>
                    <a:gd name="T54" fmla="*/ 2147483647 w 128"/>
                    <a:gd name="T55" fmla="*/ 2147483647 h 272"/>
                    <a:gd name="T56" fmla="*/ 2147483647 w 128"/>
                    <a:gd name="T57" fmla="*/ 2147483647 h 272"/>
                    <a:gd name="T58" fmla="*/ 2147483647 w 128"/>
                    <a:gd name="T59" fmla="*/ 2147483647 h 272"/>
                    <a:gd name="T60" fmla="*/ 2147483647 w 128"/>
                    <a:gd name="T61" fmla="*/ 2147483647 h 272"/>
                    <a:gd name="T62" fmla="*/ 2147483647 w 128"/>
                    <a:gd name="T63" fmla="*/ 2147483647 h 272"/>
                    <a:gd name="T64" fmla="*/ 2147483647 w 128"/>
                    <a:gd name="T65" fmla="*/ 2147483647 h 272"/>
                    <a:gd name="T66" fmla="*/ 2147483647 w 128"/>
                    <a:gd name="T67" fmla="*/ 2147483647 h 272"/>
                    <a:gd name="T68" fmla="*/ 2147483647 w 128"/>
                    <a:gd name="T69" fmla="*/ 2147483647 h 272"/>
                    <a:gd name="T70" fmla="*/ 2147483647 w 128"/>
                    <a:gd name="T71" fmla="*/ 2147483647 h 272"/>
                    <a:gd name="T72" fmla="*/ 2147483647 w 128"/>
                    <a:gd name="T73" fmla="*/ 2147483647 h 272"/>
                    <a:gd name="T74" fmla="*/ 2147483647 w 128"/>
                    <a:gd name="T75" fmla="*/ 2147483647 h 272"/>
                    <a:gd name="T76" fmla="*/ 2147483647 w 128"/>
                    <a:gd name="T77" fmla="*/ 2147483647 h 272"/>
                    <a:gd name="T78" fmla="*/ 2147483647 w 128"/>
                    <a:gd name="T79" fmla="*/ 2147483647 h 272"/>
                    <a:gd name="T80" fmla="*/ 2147483647 w 128"/>
                    <a:gd name="T81" fmla="*/ 2147483647 h 272"/>
                    <a:gd name="T82" fmla="*/ 2147483647 w 128"/>
                    <a:gd name="T83" fmla="*/ 2147483647 h 272"/>
                    <a:gd name="T84" fmla="*/ 2147483647 w 128"/>
                    <a:gd name="T85" fmla="*/ 2147483647 h 2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272"/>
                    <a:gd name="T131" fmla="*/ 128 w 128"/>
                    <a:gd name="T132" fmla="*/ 272 h 2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272">
                      <a:moveTo>
                        <a:pt x="110" y="95"/>
                      </a:moveTo>
                      <a:lnTo>
                        <a:pt x="113" y="92"/>
                      </a:lnTo>
                      <a:lnTo>
                        <a:pt x="113" y="88"/>
                      </a:lnTo>
                      <a:lnTo>
                        <a:pt x="113" y="82"/>
                      </a:lnTo>
                      <a:lnTo>
                        <a:pt x="109" y="69"/>
                      </a:lnTo>
                      <a:lnTo>
                        <a:pt x="109" y="64"/>
                      </a:lnTo>
                      <a:lnTo>
                        <a:pt x="109" y="62"/>
                      </a:lnTo>
                      <a:lnTo>
                        <a:pt x="112" y="63"/>
                      </a:lnTo>
                      <a:lnTo>
                        <a:pt x="113" y="65"/>
                      </a:lnTo>
                      <a:lnTo>
                        <a:pt x="114" y="69"/>
                      </a:lnTo>
                      <a:lnTo>
                        <a:pt x="115" y="76"/>
                      </a:lnTo>
                      <a:lnTo>
                        <a:pt x="117" y="78"/>
                      </a:lnTo>
                      <a:lnTo>
                        <a:pt x="119" y="80"/>
                      </a:lnTo>
                      <a:lnTo>
                        <a:pt x="122" y="78"/>
                      </a:lnTo>
                      <a:lnTo>
                        <a:pt x="123" y="77"/>
                      </a:lnTo>
                      <a:lnTo>
                        <a:pt x="127" y="68"/>
                      </a:lnTo>
                      <a:lnTo>
                        <a:pt x="128" y="58"/>
                      </a:lnTo>
                      <a:lnTo>
                        <a:pt x="127" y="49"/>
                      </a:lnTo>
                      <a:lnTo>
                        <a:pt x="123" y="39"/>
                      </a:lnTo>
                      <a:lnTo>
                        <a:pt x="117" y="28"/>
                      </a:lnTo>
                      <a:lnTo>
                        <a:pt x="112" y="16"/>
                      </a:lnTo>
                      <a:lnTo>
                        <a:pt x="109" y="13"/>
                      </a:lnTo>
                      <a:lnTo>
                        <a:pt x="109" y="10"/>
                      </a:lnTo>
                      <a:lnTo>
                        <a:pt x="109" y="7"/>
                      </a:lnTo>
                      <a:lnTo>
                        <a:pt x="110" y="4"/>
                      </a:lnTo>
                      <a:lnTo>
                        <a:pt x="109" y="1"/>
                      </a:lnTo>
                      <a:lnTo>
                        <a:pt x="106" y="0"/>
                      </a:lnTo>
                      <a:lnTo>
                        <a:pt x="104" y="3"/>
                      </a:lnTo>
                      <a:lnTo>
                        <a:pt x="103" y="5"/>
                      </a:lnTo>
                      <a:lnTo>
                        <a:pt x="101" y="7"/>
                      </a:lnTo>
                      <a:lnTo>
                        <a:pt x="99" y="16"/>
                      </a:lnTo>
                      <a:lnTo>
                        <a:pt x="96" y="24"/>
                      </a:lnTo>
                      <a:lnTo>
                        <a:pt x="93" y="30"/>
                      </a:lnTo>
                      <a:lnTo>
                        <a:pt x="90" y="33"/>
                      </a:lnTo>
                      <a:lnTo>
                        <a:pt x="86" y="35"/>
                      </a:lnTo>
                      <a:lnTo>
                        <a:pt x="85" y="36"/>
                      </a:lnTo>
                      <a:lnTo>
                        <a:pt x="85" y="38"/>
                      </a:lnTo>
                      <a:lnTo>
                        <a:pt x="85" y="42"/>
                      </a:lnTo>
                      <a:lnTo>
                        <a:pt x="85" y="43"/>
                      </a:lnTo>
                      <a:lnTo>
                        <a:pt x="79" y="52"/>
                      </a:lnTo>
                      <a:lnTo>
                        <a:pt x="72" y="60"/>
                      </a:lnTo>
                      <a:lnTo>
                        <a:pt x="57" y="74"/>
                      </a:lnTo>
                      <a:lnTo>
                        <a:pt x="54" y="75"/>
                      </a:lnTo>
                      <a:lnTo>
                        <a:pt x="51" y="75"/>
                      </a:lnTo>
                      <a:lnTo>
                        <a:pt x="47" y="75"/>
                      </a:lnTo>
                      <a:lnTo>
                        <a:pt x="42" y="75"/>
                      </a:lnTo>
                      <a:lnTo>
                        <a:pt x="37" y="78"/>
                      </a:lnTo>
                      <a:lnTo>
                        <a:pt x="26" y="81"/>
                      </a:lnTo>
                      <a:lnTo>
                        <a:pt x="23" y="83"/>
                      </a:lnTo>
                      <a:lnTo>
                        <a:pt x="20" y="87"/>
                      </a:lnTo>
                      <a:lnTo>
                        <a:pt x="16" y="95"/>
                      </a:lnTo>
                      <a:lnTo>
                        <a:pt x="11" y="102"/>
                      </a:lnTo>
                      <a:lnTo>
                        <a:pt x="10" y="105"/>
                      </a:lnTo>
                      <a:lnTo>
                        <a:pt x="10" y="106"/>
                      </a:lnTo>
                      <a:lnTo>
                        <a:pt x="13" y="111"/>
                      </a:lnTo>
                      <a:lnTo>
                        <a:pt x="14" y="114"/>
                      </a:lnTo>
                      <a:lnTo>
                        <a:pt x="15" y="116"/>
                      </a:lnTo>
                      <a:lnTo>
                        <a:pt x="14" y="118"/>
                      </a:lnTo>
                      <a:lnTo>
                        <a:pt x="14" y="122"/>
                      </a:lnTo>
                      <a:lnTo>
                        <a:pt x="14" y="126"/>
                      </a:lnTo>
                      <a:lnTo>
                        <a:pt x="15" y="133"/>
                      </a:lnTo>
                      <a:lnTo>
                        <a:pt x="19" y="140"/>
                      </a:lnTo>
                      <a:lnTo>
                        <a:pt x="23" y="147"/>
                      </a:lnTo>
                      <a:lnTo>
                        <a:pt x="24" y="151"/>
                      </a:lnTo>
                      <a:lnTo>
                        <a:pt x="24" y="154"/>
                      </a:lnTo>
                      <a:lnTo>
                        <a:pt x="24" y="158"/>
                      </a:lnTo>
                      <a:lnTo>
                        <a:pt x="21" y="161"/>
                      </a:lnTo>
                      <a:lnTo>
                        <a:pt x="15" y="169"/>
                      </a:lnTo>
                      <a:lnTo>
                        <a:pt x="10" y="176"/>
                      </a:lnTo>
                      <a:lnTo>
                        <a:pt x="10" y="178"/>
                      </a:lnTo>
                      <a:lnTo>
                        <a:pt x="9" y="182"/>
                      </a:lnTo>
                      <a:lnTo>
                        <a:pt x="4" y="189"/>
                      </a:lnTo>
                      <a:lnTo>
                        <a:pt x="1" y="192"/>
                      </a:lnTo>
                      <a:lnTo>
                        <a:pt x="0" y="198"/>
                      </a:lnTo>
                      <a:lnTo>
                        <a:pt x="0" y="201"/>
                      </a:lnTo>
                      <a:lnTo>
                        <a:pt x="0" y="203"/>
                      </a:lnTo>
                      <a:lnTo>
                        <a:pt x="6" y="216"/>
                      </a:lnTo>
                      <a:lnTo>
                        <a:pt x="7" y="218"/>
                      </a:lnTo>
                      <a:lnTo>
                        <a:pt x="6" y="221"/>
                      </a:lnTo>
                      <a:lnTo>
                        <a:pt x="5" y="223"/>
                      </a:lnTo>
                      <a:lnTo>
                        <a:pt x="5" y="226"/>
                      </a:lnTo>
                      <a:lnTo>
                        <a:pt x="4" y="231"/>
                      </a:lnTo>
                      <a:lnTo>
                        <a:pt x="5" y="241"/>
                      </a:lnTo>
                      <a:lnTo>
                        <a:pt x="6" y="247"/>
                      </a:lnTo>
                      <a:lnTo>
                        <a:pt x="10" y="252"/>
                      </a:lnTo>
                      <a:lnTo>
                        <a:pt x="14" y="256"/>
                      </a:lnTo>
                      <a:lnTo>
                        <a:pt x="19" y="260"/>
                      </a:lnTo>
                      <a:lnTo>
                        <a:pt x="24" y="263"/>
                      </a:lnTo>
                      <a:lnTo>
                        <a:pt x="28" y="268"/>
                      </a:lnTo>
                      <a:lnTo>
                        <a:pt x="30" y="271"/>
                      </a:lnTo>
                      <a:lnTo>
                        <a:pt x="34" y="272"/>
                      </a:lnTo>
                      <a:lnTo>
                        <a:pt x="37" y="272"/>
                      </a:lnTo>
                      <a:lnTo>
                        <a:pt x="40" y="271"/>
                      </a:lnTo>
                      <a:lnTo>
                        <a:pt x="47" y="267"/>
                      </a:lnTo>
                      <a:lnTo>
                        <a:pt x="52" y="262"/>
                      </a:lnTo>
                      <a:lnTo>
                        <a:pt x="54" y="261"/>
                      </a:lnTo>
                      <a:lnTo>
                        <a:pt x="56" y="261"/>
                      </a:lnTo>
                      <a:lnTo>
                        <a:pt x="58" y="262"/>
                      </a:lnTo>
                      <a:lnTo>
                        <a:pt x="61" y="261"/>
                      </a:lnTo>
                      <a:lnTo>
                        <a:pt x="68" y="256"/>
                      </a:lnTo>
                      <a:lnTo>
                        <a:pt x="72" y="254"/>
                      </a:lnTo>
                      <a:lnTo>
                        <a:pt x="75" y="250"/>
                      </a:lnTo>
                      <a:lnTo>
                        <a:pt x="75" y="247"/>
                      </a:lnTo>
                      <a:lnTo>
                        <a:pt x="73" y="243"/>
                      </a:lnTo>
                      <a:lnTo>
                        <a:pt x="73" y="241"/>
                      </a:lnTo>
                      <a:lnTo>
                        <a:pt x="73" y="239"/>
                      </a:lnTo>
                      <a:lnTo>
                        <a:pt x="77" y="235"/>
                      </a:lnTo>
                      <a:lnTo>
                        <a:pt x="80" y="231"/>
                      </a:lnTo>
                      <a:lnTo>
                        <a:pt x="82" y="223"/>
                      </a:lnTo>
                      <a:lnTo>
                        <a:pt x="85" y="207"/>
                      </a:lnTo>
                      <a:lnTo>
                        <a:pt x="87" y="202"/>
                      </a:lnTo>
                      <a:lnTo>
                        <a:pt x="86" y="198"/>
                      </a:lnTo>
                      <a:lnTo>
                        <a:pt x="86" y="197"/>
                      </a:lnTo>
                      <a:lnTo>
                        <a:pt x="90" y="192"/>
                      </a:lnTo>
                      <a:lnTo>
                        <a:pt x="93" y="189"/>
                      </a:lnTo>
                      <a:lnTo>
                        <a:pt x="93" y="184"/>
                      </a:lnTo>
                      <a:lnTo>
                        <a:pt x="93" y="178"/>
                      </a:lnTo>
                      <a:lnTo>
                        <a:pt x="93" y="169"/>
                      </a:lnTo>
                      <a:lnTo>
                        <a:pt x="93" y="163"/>
                      </a:lnTo>
                      <a:lnTo>
                        <a:pt x="94" y="159"/>
                      </a:lnTo>
                      <a:lnTo>
                        <a:pt x="99" y="151"/>
                      </a:lnTo>
                      <a:lnTo>
                        <a:pt x="101" y="143"/>
                      </a:lnTo>
                      <a:lnTo>
                        <a:pt x="105" y="132"/>
                      </a:lnTo>
                      <a:lnTo>
                        <a:pt x="106" y="121"/>
                      </a:lnTo>
                      <a:lnTo>
                        <a:pt x="106" y="113"/>
                      </a:lnTo>
                      <a:lnTo>
                        <a:pt x="106" y="108"/>
                      </a:lnTo>
                      <a:lnTo>
                        <a:pt x="108" y="105"/>
                      </a:lnTo>
                      <a:lnTo>
                        <a:pt x="109" y="100"/>
                      </a:lnTo>
                      <a:lnTo>
                        <a:pt x="110" y="97"/>
                      </a:lnTo>
                      <a:lnTo>
                        <a:pt x="112" y="96"/>
                      </a:lnTo>
                      <a:lnTo>
                        <a:pt x="110" y="9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7" name="Freeform 442"/>
                <p:cNvSpPr>
                  <a:spLocks/>
                </p:cNvSpPr>
                <p:nvPr/>
              </p:nvSpPr>
              <p:spPr bwMode="auto">
                <a:xfrm>
                  <a:off x="5961924" y="5204392"/>
                  <a:ext cx="17758" cy="14799"/>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0 w 13"/>
                    <a:gd name="T15" fmla="*/ 2147483647 h 10"/>
                    <a:gd name="T16" fmla="*/ 2147483647 w 13"/>
                    <a:gd name="T17" fmla="*/ 2147483647 h 10"/>
                    <a:gd name="T18" fmla="*/ 2147483647 w 13"/>
                    <a:gd name="T19" fmla="*/ 2147483647 h 10"/>
                    <a:gd name="T20" fmla="*/ 2147483647 w 13"/>
                    <a:gd name="T21" fmla="*/ 2147483647 h 10"/>
                    <a:gd name="T22" fmla="*/ 2147483647 w 13"/>
                    <a:gd name="T23" fmla="*/ 0 h 10"/>
                    <a:gd name="T24" fmla="*/ 2147483647 w 13"/>
                    <a:gd name="T25" fmla="*/ 0 h 10"/>
                    <a:gd name="T26" fmla="*/ 2147483647 w 13"/>
                    <a:gd name="T27" fmla="*/ 0 h 10"/>
                    <a:gd name="T28" fmla="*/ 2147483647 w 13"/>
                    <a:gd name="T29" fmla="*/ 0 h 10"/>
                    <a:gd name="T30" fmla="*/ 2147483647 w 13"/>
                    <a:gd name="T31" fmla="*/ 2147483647 h 10"/>
                    <a:gd name="T32" fmla="*/ 2147483647 w 13"/>
                    <a:gd name="T33" fmla="*/ 2147483647 h 10"/>
                    <a:gd name="T34" fmla="*/ 2147483647 w 13"/>
                    <a:gd name="T35" fmla="*/ 2147483647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0"/>
                    <a:gd name="T56" fmla="*/ 13 w 13"/>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0">
                      <a:moveTo>
                        <a:pt x="13" y="4"/>
                      </a:moveTo>
                      <a:lnTo>
                        <a:pt x="13" y="4"/>
                      </a:lnTo>
                      <a:lnTo>
                        <a:pt x="12" y="8"/>
                      </a:lnTo>
                      <a:lnTo>
                        <a:pt x="8" y="10"/>
                      </a:lnTo>
                      <a:lnTo>
                        <a:pt x="4" y="10"/>
                      </a:lnTo>
                      <a:lnTo>
                        <a:pt x="2" y="8"/>
                      </a:lnTo>
                      <a:lnTo>
                        <a:pt x="0" y="5"/>
                      </a:lnTo>
                      <a:lnTo>
                        <a:pt x="2" y="3"/>
                      </a:lnTo>
                      <a:lnTo>
                        <a:pt x="3" y="1"/>
                      </a:lnTo>
                      <a:lnTo>
                        <a:pt x="6" y="0"/>
                      </a:lnTo>
                      <a:lnTo>
                        <a:pt x="8" y="0"/>
                      </a:lnTo>
                      <a:lnTo>
                        <a:pt x="11" y="0"/>
                      </a:lnTo>
                      <a:lnTo>
                        <a:pt x="12" y="2"/>
                      </a:lnTo>
                      <a:lnTo>
                        <a:pt x="13"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8" name="Freeform 444"/>
                <p:cNvSpPr>
                  <a:spLocks/>
                </p:cNvSpPr>
                <p:nvPr/>
              </p:nvSpPr>
              <p:spPr bwMode="auto">
                <a:xfrm>
                  <a:off x="5264905" y="5472248"/>
                  <a:ext cx="50316" cy="50315"/>
                </a:xfrm>
                <a:custGeom>
                  <a:avLst/>
                  <a:gdLst>
                    <a:gd name="T0" fmla="*/ 2147483647 w 36"/>
                    <a:gd name="T1" fmla="*/ 2147483647 h 34"/>
                    <a:gd name="T2" fmla="*/ 2147483647 w 36"/>
                    <a:gd name="T3" fmla="*/ 2147483647 h 34"/>
                    <a:gd name="T4" fmla="*/ 2147483647 w 36"/>
                    <a:gd name="T5" fmla="*/ 2147483647 h 34"/>
                    <a:gd name="T6" fmla="*/ 2147483647 w 36"/>
                    <a:gd name="T7" fmla="*/ 2147483647 h 34"/>
                    <a:gd name="T8" fmla="*/ 2147483647 w 36"/>
                    <a:gd name="T9" fmla="*/ 2147483647 h 34"/>
                    <a:gd name="T10" fmla="*/ 2147483647 w 36"/>
                    <a:gd name="T11" fmla="*/ 2147483647 h 34"/>
                    <a:gd name="T12" fmla="*/ 2147483647 w 36"/>
                    <a:gd name="T13" fmla="*/ 2147483647 h 34"/>
                    <a:gd name="T14" fmla="*/ 2147483647 w 36"/>
                    <a:gd name="T15" fmla="*/ 0 h 34"/>
                    <a:gd name="T16" fmla="*/ 2147483647 w 36"/>
                    <a:gd name="T17" fmla="*/ 2147483647 h 34"/>
                    <a:gd name="T18" fmla="*/ 2147483647 w 36"/>
                    <a:gd name="T19" fmla="*/ 2147483647 h 34"/>
                    <a:gd name="T20" fmla="*/ 2147483647 w 36"/>
                    <a:gd name="T21" fmla="*/ 2147483647 h 34"/>
                    <a:gd name="T22" fmla="*/ 2147483647 w 36"/>
                    <a:gd name="T23" fmla="*/ 2147483647 h 34"/>
                    <a:gd name="T24" fmla="*/ 0 w 36"/>
                    <a:gd name="T25" fmla="*/ 2147483647 h 34"/>
                    <a:gd name="T26" fmla="*/ 0 w 36"/>
                    <a:gd name="T27" fmla="*/ 2147483647 h 34"/>
                    <a:gd name="T28" fmla="*/ 0 w 36"/>
                    <a:gd name="T29" fmla="*/ 2147483647 h 34"/>
                    <a:gd name="T30" fmla="*/ 2147483647 w 36"/>
                    <a:gd name="T31" fmla="*/ 2147483647 h 34"/>
                    <a:gd name="T32" fmla="*/ 2147483647 w 36"/>
                    <a:gd name="T33" fmla="*/ 2147483647 h 34"/>
                    <a:gd name="T34" fmla="*/ 2147483647 w 36"/>
                    <a:gd name="T35" fmla="*/ 2147483647 h 34"/>
                    <a:gd name="T36" fmla="*/ 2147483647 w 36"/>
                    <a:gd name="T37" fmla="*/ 2147483647 h 34"/>
                    <a:gd name="T38" fmla="*/ 2147483647 w 36"/>
                    <a:gd name="T39" fmla="*/ 2147483647 h 34"/>
                    <a:gd name="T40" fmla="*/ 2147483647 w 36"/>
                    <a:gd name="T41" fmla="*/ 2147483647 h 34"/>
                    <a:gd name="T42" fmla="*/ 2147483647 w 36"/>
                    <a:gd name="T43" fmla="*/ 2147483647 h 34"/>
                    <a:gd name="T44" fmla="*/ 2147483647 w 36"/>
                    <a:gd name="T45" fmla="*/ 2147483647 h 34"/>
                    <a:gd name="T46" fmla="*/ 2147483647 w 36"/>
                    <a:gd name="T47" fmla="*/ 2147483647 h 34"/>
                    <a:gd name="T48" fmla="*/ 2147483647 w 36"/>
                    <a:gd name="T49" fmla="*/ 2147483647 h 34"/>
                    <a:gd name="T50" fmla="*/ 2147483647 w 36"/>
                    <a:gd name="T51" fmla="*/ 2147483647 h 34"/>
                    <a:gd name="T52" fmla="*/ 2147483647 w 36"/>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
                    <a:gd name="T82" fmla="*/ 0 h 34"/>
                    <a:gd name="T83" fmla="*/ 36 w 36"/>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 h="34">
                      <a:moveTo>
                        <a:pt x="30" y="14"/>
                      </a:moveTo>
                      <a:lnTo>
                        <a:pt x="33" y="13"/>
                      </a:lnTo>
                      <a:lnTo>
                        <a:pt x="36" y="11"/>
                      </a:lnTo>
                      <a:lnTo>
                        <a:pt x="36" y="9"/>
                      </a:lnTo>
                      <a:lnTo>
                        <a:pt x="36" y="8"/>
                      </a:lnTo>
                      <a:lnTo>
                        <a:pt x="33" y="6"/>
                      </a:lnTo>
                      <a:lnTo>
                        <a:pt x="27" y="1"/>
                      </a:lnTo>
                      <a:lnTo>
                        <a:pt x="24" y="0"/>
                      </a:lnTo>
                      <a:lnTo>
                        <a:pt x="20" y="1"/>
                      </a:lnTo>
                      <a:lnTo>
                        <a:pt x="15" y="6"/>
                      </a:lnTo>
                      <a:lnTo>
                        <a:pt x="9" y="8"/>
                      </a:lnTo>
                      <a:lnTo>
                        <a:pt x="4" y="12"/>
                      </a:lnTo>
                      <a:lnTo>
                        <a:pt x="0" y="17"/>
                      </a:lnTo>
                      <a:lnTo>
                        <a:pt x="0" y="19"/>
                      </a:lnTo>
                      <a:lnTo>
                        <a:pt x="0" y="22"/>
                      </a:lnTo>
                      <a:lnTo>
                        <a:pt x="1" y="28"/>
                      </a:lnTo>
                      <a:lnTo>
                        <a:pt x="4" y="31"/>
                      </a:lnTo>
                      <a:lnTo>
                        <a:pt x="5" y="33"/>
                      </a:lnTo>
                      <a:lnTo>
                        <a:pt x="8" y="34"/>
                      </a:lnTo>
                      <a:lnTo>
                        <a:pt x="11" y="34"/>
                      </a:lnTo>
                      <a:lnTo>
                        <a:pt x="15" y="32"/>
                      </a:lnTo>
                      <a:lnTo>
                        <a:pt x="18" y="30"/>
                      </a:lnTo>
                      <a:lnTo>
                        <a:pt x="24" y="25"/>
                      </a:lnTo>
                      <a:lnTo>
                        <a:pt x="25" y="22"/>
                      </a:lnTo>
                      <a:lnTo>
                        <a:pt x="27" y="20"/>
                      </a:lnTo>
                      <a:lnTo>
                        <a:pt x="28" y="17"/>
                      </a:lnTo>
                      <a:lnTo>
                        <a:pt x="30"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09" name="Freeform 445"/>
                <p:cNvSpPr>
                  <a:spLocks/>
                </p:cNvSpPr>
                <p:nvPr/>
              </p:nvSpPr>
              <p:spPr bwMode="auto">
                <a:xfrm>
                  <a:off x="5415851" y="4902501"/>
                  <a:ext cx="47356" cy="143547"/>
                </a:xfrm>
                <a:custGeom>
                  <a:avLst/>
                  <a:gdLst>
                    <a:gd name="T0" fmla="*/ 2147483647 w 35"/>
                    <a:gd name="T1" fmla="*/ 0 h 97"/>
                    <a:gd name="T2" fmla="*/ 0 w 35"/>
                    <a:gd name="T3" fmla="*/ 2147483647 h 97"/>
                    <a:gd name="T4" fmla="*/ 0 w 35"/>
                    <a:gd name="T5" fmla="*/ 2147483647 h 97"/>
                    <a:gd name="T6" fmla="*/ 0 w 35"/>
                    <a:gd name="T7" fmla="*/ 2147483647 h 97"/>
                    <a:gd name="T8" fmla="*/ 2147483647 w 35"/>
                    <a:gd name="T9" fmla="*/ 2147483647 h 97"/>
                    <a:gd name="T10" fmla="*/ 2147483647 w 35"/>
                    <a:gd name="T11" fmla="*/ 2147483647 h 97"/>
                    <a:gd name="T12" fmla="*/ 2147483647 w 35"/>
                    <a:gd name="T13" fmla="*/ 2147483647 h 97"/>
                    <a:gd name="T14" fmla="*/ 2147483647 w 35"/>
                    <a:gd name="T15" fmla="*/ 2147483647 h 97"/>
                    <a:gd name="T16" fmla="*/ 2147483647 w 35"/>
                    <a:gd name="T17" fmla="*/ 2147483647 h 97"/>
                    <a:gd name="T18" fmla="*/ 2147483647 w 35"/>
                    <a:gd name="T19" fmla="*/ 2147483647 h 97"/>
                    <a:gd name="T20" fmla="*/ 2147483647 w 35"/>
                    <a:gd name="T21" fmla="*/ 2147483647 h 97"/>
                    <a:gd name="T22" fmla="*/ 2147483647 w 35"/>
                    <a:gd name="T23" fmla="*/ 2147483647 h 97"/>
                    <a:gd name="T24" fmla="*/ 2147483647 w 35"/>
                    <a:gd name="T25" fmla="*/ 2147483647 h 97"/>
                    <a:gd name="T26" fmla="*/ 2147483647 w 35"/>
                    <a:gd name="T27" fmla="*/ 2147483647 h 97"/>
                    <a:gd name="T28" fmla="*/ 2147483647 w 35"/>
                    <a:gd name="T29" fmla="*/ 2147483647 h 97"/>
                    <a:gd name="T30" fmla="*/ 2147483647 w 35"/>
                    <a:gd name="T31" fmla="*/ 2147483647 h 97"/>
                    <a:gd name="T32" fmla="*/ 2147483647 w 35"/>
                    <a:gd name="T33" fmla="*/ 2147483647 h 97"/>
                    <a:gd name="T34" fmla="*/ 2147483647 w 35"/>
                    <a:gd name="T35" fmla="*/ 2147483647 h 97"/>
                    <a:gd name="T36" fmla="*/ 2147483647 w 35"/>
                    <a:gd name="T37" fmla="*/ 2147483647 h 97"/>
                    <a:gd name="T38" fmla="*/ 2147483647 w 35"/>
                    <a:gd name="T39" fmla="*/ 2147483647 h 97"/>
                    <a:gd name="T40" fmla="*/ 2147483647 w 35"/>
                    <a:gd name="T41" fmla="*/ 2147483647 h 97"/>
                    <a:gd name="T42" fmla="*/ 2147483647 w 35"/>
                    <a:gd name="T43" fmla="*/ 2147483647 h 97"/>
                    <a:gd name="T44" fmla="*/ 2147483647 w 35"/>
                    <a:gd name="T45" fmla="*/ 2147483647 h 97"/>
                    <a:gd name="T46" fmla="*/ 2147483647 w 35"/>
                    <a:gd name="T47" fmla="*/ 2147483647 h 97"/>
                    <a:gd name="T48" fmla="*/ 2147483647 w 35"/>
                    <a:gd name="T49" fmla="*/ 2147483647 h 97"/>
                    <a:gd name="T50" fmla="*/ 2147483647 w 35"/>
                    <a:gd name="T51" fmla="*/ 2147483647 h 97"/>
                    <a:gd name="T52" fmla="*/ 2147483647 w 35"/>
                    <a:gd name="T53" fmla="*/ 2147483647 h 97"/>
                    <a:gd name="T54" fmla="*/ 2147483647 w 35"/>
                    <a:gd name="T55" fmla="*/ 2147483647 h 97"/>
                    <a:gd name="T56" fmla="*/ 2147483647 w 35"/>
                    <a:gd name="T57" fmla="*/ 2147483647 h 97"/>
                    <a:gd name="T58" fmla="*/ 2147483647 w 35"/>
                    <a:gd name="T59" fmla="*/ 2147483647 h 97"/>
                    <a:gd name="T60" fmla="*/ 2147483647 w 35"/>
                    <a:gd name="T61" fmla="*/ 2147483647 h 97"/>
                    <a:gd name="T62" fmla="*/ 2147483647 w 35"/>
                    <a:gd name="T63" fmla="*/ 2147483647 h 97"/>
                    <a:gd name="T64" fmla="*/ 2147483647 w 35"/>
                    <a:gd name="T65" fmla="*/ 0 h 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
                    <a:gd name="T100" fmla="*/ 0 h 97"/>
                    <a:gd name="T101" fmla="*/ 35 w 35"/>
                    <a:gd name="T102" fmla="*/ 97 h 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 h="97">
                      <a:moveTo>
                        <a:pt x="3" y="0"/>
                      </a:moveTo>
                      <a:lnTo>
                        <a:pt x="0" y="6"/>
                      </a:lnTo>
                      <a:lnTo>
                        <a:pt x="0" y="7"/>
                      </a:lnTo>
                      <a:lnTo>
                        <a:pt x="0" y="8"/>
                      </a:lnTo>
                      <a:lnTo>
                        <a:pt x="4" y="13"/>
                      </a:lnTo>
                      <a:lnTo>
                        <a:pt x="7" y="17"/>
                      </a:lnTo>
                      <a:lnTo>
                        <a:pt x="9" y="22"/>
                      </a:lnTo>
                      <a:lnTo>
                        <a:pt x="11" y="27"/>
                      </a:lnTo>
                      <a:lnTo>
                        <a:pt x="11" y="33"/>
                      </a:lnTo>
                      <a:lnTo>
                        <a:pt x="9" y="38"/>
                      </a:lnTo>
                      <a:lnTo>
                        <a:pt x="8" y="42"/>
                      </a:lnTo>
                      <a:lnTo>
                        <a:pt x="6" y="47"/>
                      </a:lnTo>
                      <a:lnTo>
                        <a:pt x="4" y="49"/>
                      </a:lnTo>
                      <a:lnTo>
                        <a:pt x="4" y="52"/>
                      </a:lnTo>
                      <a:lnTo>
                        <a:pt x="7" y="57"/>
                      </a:lnTo>
                      <a:lnTo>
                        <a:pt x="11" y="65"/>
                      </a:lnTo>
                      <a:lnTo>
                        <a:pt x="13" y="73"/>
                      </a:lnTo>
                      <a:lnTo>
                        <a:pt x="16" y="83"/>
                      </a:lnTo>
                      <a:lnTo>
                        <a:pt x="18" y="91"/>
                      </a:lnTo>
                      <a:lnTo>
                        <a:pt x="20" y="93"/>
                      </a:lnTo>
                      <a:lnTo>
                        <a:pt x="22" y="96"/>
                      </a:lnTo>
                      <a:lnTo>
                        <a:pt x="25" y="97"/>
                      </a:lnTo>
                      <a:lnTo>
                        <a:pt x="28" y="97"/>
                      </a:lnTo>
                      <a:lnTo>
                        <a:pt x="31" y="94"/>
                      </a:lnTo>
                      <a:lnTo>
                        <a:pt x="33" y="92"/>
                      </a:lnTo>
                      <a:lnTo>
                        <a:pt x="35" y="89"/>
                      </a:lnTo>
                      <a:lnTo>
                        <a:pt x="35" y="86"/>
                      </a:lnTo>
                      <a:lnTo>
                        <a:pt x="33" y="83"/>
                      </a:lnTo>
                      <a:lnTo>
                        <a:pt x="30" y="81"/>
                      </a:lnTo>
                      <a:lnTo>
                        <a:pt x="27" y="79"/>
                      </a:lnTo>
                      <a:lnTo>
                        <a:pt x="26" y="76"/>
                      </a:lnTo>
                      <a:lnTo>
                        <a:pt x="25" y="73"/>
                      </a:lnTo>
                      <a:lnTo>
                        <a:pt x="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0" name="Freeform 446"/>
                <p:cNvSpPr>
                  <a:spLocks/>
                </p:cNvSpPr>
                <p:nvPr/>
              </p:nvSpPr>
              <p:spPr bwMode="auto">
                <a:xfrm>
                  <a:off x="5438050" y="4960215"/>
                  <a:ext cx="11839" cy="50315"/>
                </a:xfrm>
                <a:custGeom>
                  <a:avLst/>
                  <a:gdLst>
                    <a:gd name="T0" fmla="*/ 2147483647 w 9"/>
                    <a:gd name="T1" fmla="*/ 2147483647 h 34"/>
                    <a:gd name="T2" fmla="*/ 2147483647 w 9"/>
                    <a:gd name="T3" fmla="*/ 2147483647 h 34"/>
                    <a:gd name="T4" fmla="*/ 2147483647 w 9"/>
                    <a:gd name="T5" fmla="*/ 2147483647 h 34"/>
                    <a:gd name="T6" fmla="*/ 0 w 9"/>
                    <a:gd name="T7" fmla="*/ 2147483647 h 34"/>
                    <a:gd name="T8" fmla="*/ 2147483647 w 9"/>
                    <a:gd name="T9" fmla="*/ 2147483647 h 34"/>
                    <a:gd name="T10" fmla="*/ 2147483647 w 9"/>
                    <a:gd name="T11" fmla="*/ 2147483647 h 34"/>
                    <a:gd name="T12" fmla="*/ 2147483647 w 9"/>
                    <a:gd name="T13" fmla="*/ 2147483647 h 34"/>
                    <a:gd name="T14" fmla="*/ 2147483647 w 9"/>
                    <a:gd name="T15" fmla="*/ 2147483647 h 34"/>
                    <a:gd name="T16" fmla="*/ 2147483647 w 9"/>
                    <a:gd name="T17" fmla="*/ 0 h 34"/>
                    <a:gd name="T18" fmla="*/ 2147483647 w 9"/>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34"/>
                    <a:gd name="T32" fmla="*/ 9 w 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34">
                      <a:moveTo>
                        <a:pt x="9" y="34"/>
                      </a:moveTo>
                      <a:lnTo>
                        <a:pt x="6" y="27"/>
                      </a:lnTo>
                      <a:lnTo>
                        <a:pt x="1" y="20"/>
                      </a:lnTo>
                      <a:lnTo>
                        <a:pt x="0" y="18"/>
                      </a:lnTo>
                      <a:lnTo>
                        <a:pt x="1" y="15"/>
                      </a:lnTo>
                      <a:lnTo>
                        <a:pt x="4" y="10"/>
                      </a:lnTo>
                      <a:lnTo>
                        <a:pt x="5" y="7"/>
                      </a:lnTo>
                      <a:lnTo>
                        <a:pt x="4" y="3"/>
                      </a:lnTo>
                      <a:lnTo>
                        <a:pt x="4" y="0"/>
                      </a:lnTo>
                      <a:lnTo>
                        <a:pt x="9" y="3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1" name="Freeform 447"/>
                <p:cNvSpPr>
                  <a:spLocks/>
                </p:cNvSpPr>
                <p:nvPr/>
              </p:nvSpPr>
              <p:spPr bwMode="auto">
                <a:xfrm>
                  <a:off x="5263424" y="5470771"/>
                  <a:ext cx="48836" cy="50315"/>
                </a:xfrm>
                <a:custGeom>
                  <a:avLst/>
                  <a:gdLst>
                    <a:gd name="T0" fmla="*/ 2147483647 w 35"/>
                    <a:gd name="T1" fmla="*/ 2147483647 h 34"/>
                    <a:gd name="T2" fmla="*/ 2147483647 w 35"/>
                    <a:gd name="T3" fmla="*/ 2147483647 h 34"/>
                    <a:gd name="T4" fmla="*/ 2147483647 w 35"/>
                    <a:gd name="T5" fmla="*/ 2147483647 h 34"/>
                    <a:gd name="T6" fmla="*/ 2147483647 w 35"/>
                    <a:gd name="T7" fmla="*/ 2147483647 h 34"/>
                    <a:gd name="T8" fmla="*/ 2147483647 w 35"/>
                    <a:gd name="T9" fmla="*/ 2147483647 h 34"/>
                    <a:gd name="T10" fmla="*/ 2147483647 w 35"/>
                    <a:gd name="T11" fmla="*/ 2147483647 h 34"/>
                    <a:gd name="T12" fmla="*/ 2147483647 w 35"/>
                    <a:gd name="T13" fmla="*/ 2147483647 h 34"/>
                    <a:gd name="T14" fmla="*/ 2147483647 w 35"/>
                    <a:gd name="T15" fmla="*/ 2147483647 h 34"/>
                    <a:gd name="T16" fmla="*/ 2147483647 w 35"/>
                    <a:gd name="T17" fmla="*/ 2147483647 h 34"/>
                    <a:gd name="T18" fmla="*/ 2147483647 w 35"/>
                    <a:gd name="T19" fmla="*/ 2147483647 h 34"/>
                    <a:gd name="T20" fmla="*/ 2147483647 w 35"/>
                    <a:gd name="T21" fmla="*/ 0 h 34"/>
                    <a:gd name="T22" fmla="*/ 2147483647 w 35"/>
                    <a:gd name="T23" fmla="*/ 2147483647 h 34"/>
                    <a:gd name="T24" fmla="*/ 2147483647 w 35"/>
                    <a:gd name="T25" fmla="*/ 2147483647 h 34"/>
                    <a:gd name="T26" fmla="*/ 2147483647 w 35"/>
                    <a:gd name="T27" fmla="*/ 2147483647 h 34"/>
                    <a:gd name="T28" fmla="*/ 2147483647 w 35"/>
                    <a:gd name="T29" fmla="*/ 2147483647 h 34"/>
                    <a:gd name="T30" fmla="*/ 2147483647 w 35"/>
                    <a:gd name="T31" fmla="*/ 2147483647 h 34"/>
                    <a:gd name="T32" fmla="*/ 0 w 35"/>
                    <a:gd name="T33" fmla="*/ 2147483647 h 34"/>
                    <a:gd name="T34" fmla="*/ 0 w 35"/>
                    <a:gd name="T35" fmla="*/ 2147483647 h 34"/>
                    <a:gd name="T36" fmla="*/ 0 w 35"/>
                    <a:gd name="T37" fmla="*/ 2147483647 h 34"/>
                    <a:gd name="T38" fmla="*/ 0 w 35"/>
                    <a:gd name="T39" fmla="*/ 2147483647 h 34"/>
                    <a:gd name="T40" fmla="*/ 2147483647 w 35"/>
                    <a:gd name="T41" fmla="*/ 2147483647 h 34"/>
                    <a:gd name="T42" fmla="*/ 2147483647 w 35"/>
                    <a:gd name="T43" fmla="*/ 2147483647 h 34"/>
                    <a:gd name="T44" fmla="*/ 2147483647 w 35"/>
                    <a:gd name="T45" fmla="*/ 2147483647 h 34"/>
                    <a:gd name="T46" fmla="*/ 2147483647 w 35"/>
                    <a:gd name="T47" fmla="*/ 2147483647 h 34"/>
                    <a:gd name="T48" fmla="*/ 2147483647 w 35"/>
                    <a:gd name="T49" fmla="*/ 2147483647 h 34"/>
                    <a:gd name="T50" fmla="*/ 2147483647 w 35"/>
                    <a:gd name="T51" fmla="*/ 2147483647 h 34"/>
                    <a:gd name="T52" fmla="*/ 2147483647 w 35"/>
                    <a:gd name="T53" fmla="*/ 2147483647 h 34"/>
                    <a:gd name="T54" fmla="*/ 2147483647 w 35"/>
                    <a:gd name="T55" fmla="*/ 2147483647 h 34"/>
                    <a:gd name="T56" fmla="*/ 2147483647 w 35"/>
                    <a:gd name="T57" fmla="*/ 2147483647 h 34"/>
                    <a:gd name="T58" fmla="*/ 2147483647 w 35"/>
                    <a:gd name="T59" fmla="*/ 2147483647 h 34"/>
                    <a:gd name="T60" fmla="*/ 2147483647 w 35"/>
                    <a:gd name="T61" fmla="*/ 2147483647 h 34"/>
                    <a:gd name="T62" fmla="*/ 2147483647 w 35"/>
                    <a:gd name="T63" fmla="*/ 2147483647 h 34"/>
                    <a:gd name="T64" fmla="*/ 2147483647 w 35"/>
                    <a:gd name="T65" fmla="*/ 2147483647 h 34"/>
                    <a:gd name="T66" fmla="*/ 2147483647 w 35"/>
                    <a:gd name="T67" fmla="*/ 2147483647 h 34"/>
                    <a:gd name="T68" fmla="*/ 2147483647 w 35"/>
                    <a:gd name="T69" fmla="*/ 2147483647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34"/>
                    <a:gd name="T107" fmla="*/ 35 w 35"/>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34">
                      <a:moveTo>
                        <a:pt x="30" y="14"/>
                      </a:moveTo>
                      <a:lnTo>
                        <a:pt x="30" y="14"/>
                      </a:lnTo>
                      <a:lnTo>
                        <a:pt x="33" y="13"/>
                      </a:lnTo>
                      <a:lnTo>
                        <a:pt x="35" y="10"/>
                      </a:lnTo>
                      <a:lnTo>
                        <a:pt x="35" y="9"/>
                      </a:lnTo>
                      <a:lnTo>
                        <a:pt x="35" y="8"/>
                      </a:lnTo>
                      <a:lnTo>
                        <a:pt x="33" y="6"/>
                      </a:lnTo>
                      <a:lnTo>
                        <a:pt x="26" y="1"/>
                      </a:lnTo>
                      <a:lnTo>
                        <a:pt x="24" y="0"/>
                      </a:lnTo>
                      <a:lnTo>
                        <a:pt x="20" y="1"/>
                      </a:lnTo>
                      <a:lnTo>
                        <a:pt x="15" y="6"/>
                      </a:lnTo>
                      <a:lnTo>
                        <a:pt x="9" y="8"/>
                      </a:lnTo>
                      <a:lnTo>
                        <a:pt x="4" y="12"/>
                      </a:lnTo>
                      <a:lnTo>
                        <a:pt x="0" y="16"/>
                      </a:lnTo>
                      <a:lnTo>
                        <a:pt x="0" y="19"/>
                      </a:lnTo>
                      <a:lnTo>
                        <a:pt x="0" y="22"/>
                      </a:lnTo>
                      <a:lnTo>
                        <a:pt x="1" y="28"/>
                      </a:lnTo>
                      <a:lnTo>
                        <a:pt x="4" y="31"/>
                      </a:lnTo>
                      <a:lnTo>
                        <a:pt x="5" y="33"/>
                      </a:lnTo>
                      <a:lnTo>
                        <a:pt x="7" y="34"/>
                      </a:lnTo>
                      <a:lnTo>
                        <a:pt x="11" y="34"/>
                      </a:lnTo>
                      <a:lnTo>
                        <a:pt x="15" y="32"/>
                      </a:lnTo>
                      <a:lnTo>
                        <a:pt x="18" y="29"/>
                      </a:lnTo>
                      <a:lnTo>
                        <a:pt x="24" y="25"/>
                      </a:lnTo>
                      <a:lnTo>
                        <a:pt x="25" y="22"/>
                      </a:lnTo>
                      <a:lnTo>
                        <a:pt x="26" y="20"/>
                      </a:lnTo>
                      <a:lnTo>
                        <a:pt x="28" y="16"/>
                      </a:lnTo>
                      <a:lnTo>
                        <a:pt x="30"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2" name="Freeform 448"/>
                <p:cNvSpPr>
                  <a:spLocks/>
                </p:cNvSpPr>
                <p:nvPr/>
              </p:nvSpPr>
              <p:spPr bwMode="auto">
                <a:xfrm>
                  <a:off x="5435089" y="4958733"/>
                  <a:ext cx="11839" cy="50315"/>
                </a:xfrm>
                <a:custGeom>
                  <a:avLst/>
                  <a:gdLst>
                    <a:gd name="T0" fmla="*/ 2147483647 w 9"/>
                    <a:gd name="T1" fmla="*/ 2147483647 h 34"/>
                    <a:gd name="T2" fmla="*/ 2147483647 w 9"/>
                    <a:gd name="T3" fmla="*/ 2147483647 h 34"/>
                    <a:gd name="T4" fmla="*/ 2147483647 w 9"/>
                    <a:gd name="T5" fmla="*/ 2147483647 h 34"/>
                    <a:gd name="T6" fmla="*/ 2147483647 w 9"/>
                    <a:gd name="T7" fmla="*/ 2147483647 h 34"/>
                    <a:gd name="T8" fmla="*/ 2147483647 w 9"/>
                    <a:gd name="T9" fmla="*/ 2147483647 h 34"/>
                    <a:gd name="T10" fmla="*/ 0 w 9"/>
                    <a:gd name="T11" fmla="*/ 2147483647 h 34"/>
                    <a:gd name="T12" fmla="*/ 2147483647 w 9"/>
                    <a:gd name="T13" fmla="*/ 2147483647 h 34"/>
                    <a:gd name="T14" fmla="*/ 2147483647 w 9"/>
                    <a:gd name="T15" fmla="*/ 2147483647 h 34"/>
                    <a:gd name="T16" fmla="*/ 2147483647 w 9"/>
                    <a:gd name="T17" fmla="*/ 2147483647 h 34"/>
                    <a:gd name="T18" fmla="*/ 2147483647 w 9"/>
                    <a:gd name="T19" fmla="*/ 2147483647 h 34"/>
                    <a:gd name="T20" fmla="*/ 2147483647 w 9"/>
                    <a:gd name="T21" fmla="*/ 2147483647 h 34"/>
                    <a:gd name="T22" fmla="*/ 2147483647 w 9"/>
                    <a:gd name="T23" fmla="*/ 2147483647 h 34"/>
                    <a:gd name="T24" fmla="*/ 2147483647 w 9"/>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34"/>
                    <a:gd name="T41" fmla="*/ 9 w 9"/>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34">
                      <a:moveTo>
                        <a:pt x="9" y="34"/>
                      </a:moveTo>
                      <a:lnTo>
                        <a:pt x="9" y="34"/>
                      </a:lnTo>
                      <a:lnTo>
                        <a:pt x="7" y="27"/>
                      </a:lnTo>
                      <a:lnTo>
                        <a:pt x="2" y="20"/>
                      </a:lnTo>
                      <a:lnTo>
                        <a:pt x="0" y="17"/>
                      </a:lnTo>
                      <a:lnTo>
                        <a:pt x="2" y="15"/>
                      </a:lnTo>
                      <a:lnTo>
                        <a:pt x="4" y="10"/>
                      </a:lnTo>
                      <a:lnTo>
                        <a:pt x="6" y="7"/>
                      </a:lnTo>
                      <a:lnTo>
                        <a:pt x="4" y="3"/>
                      </a:lnTo>
                      <a:lnTo>
                        <a:pt x="4"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3" name="Freeform 449"/>
                <p:cNvSpPr>
                  <a:spLocks/>
                </p:cNvSpPr>
                <p:nvPr/>
              </p:nvSpPr>
              <p:spPr bwMode="auto">
                <a:xfrm>
                  <a:off x="6124711" y="5186633"/>
                  <a:ext cx="26637" cy="14799"/>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0 w 20"/>
                    <a:gd name="T9" fmla="*/ 2147483647 h 10"/>
                    <a:gd name="T10" fmla="*/ 2147483647 w 20"/>
                    <a:gd name="T11" fmla="*/ 2147483647 h 10"/>
                    <a:gd name="T12" fmla="*/ 2147483647 w 20"/>
                    <a:gd name="T13" fmla="*/ 2147483647 h 10"/>
                    <a:gd name="T14" fmla="*/ 2147483647 w 20"/>
                    <a:gd name="T15" fmla="*/ 2147483647 h 10"/>
                    <a:gd name="T16" fmla="*/ 2147483647 w 20"/>
                    <a:gd name="T17" fmla="*/ 0 h 10"/>
                    <a:gd name="T18" fmla="*/ 2147483647 w 20"/>
                    <a:gd name="T19" fmla="*/ 2147483647 h 10"/>
                    <a:gd name="T20" fmla="*/ 2147483647 w 20"/>
                    <a:gd name="T21" fmla="*/ 2147483647 h 10"/>
                    <a:gd name="T22" fmla="*/ 2147483647 w 20"/>
                    <a:gd name="T23" fmla="*/ 2147483647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0"/>
                    <a:gd name="T50" fmla="*/ 20 w 20"/>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0">
                      <a:moveTo>
                        <a:pt x="11" y="9"/>
                      </a:moveTo>
                      <a:lnTo>
                        <a:pt x="7" y="10"/>
                      </a:lnTo>
                      <a:lnTo>
                        <a:pt x="3" y="9"/>
                      </a:lnTo>
                      <a:lnTo>
                        <a:pt x="1" y="8"/>
                      </a:lnTo>
                      <a:lnTo>
                        <a:pt x="0" y="7"/>
                      </a:lnTo>
                      <a:lnTo>
                        <a:pt x="1" y="4"/>
                      </a:lnTo>
                      <a:lnTo>
                        <a:pt x="2" y="3"/>
                      </a:lnTo>
                      <a:lnTo>
                        <a:pt x="3" y="1"/>
                      </a:lnTo>
                      <a:lnTo>
                        <a:pt x="10" y="0"/>
                      </a:lnTo>
                      <a:lnTo>
                        <a:pt x="15" y="1"/>
                      </a:lnTo>
                      <a:lnTo>
                        <a:pt x="17" y="2"/>
                      </a:lnTo>
                      <a:lnTo>
                        <a:pt x="19" y="4"/>
                      </a:lnTo>
                      <a:lnTo>
                        <a:pt x="20" y="6"/>
                      </a:lnTo>
                      <a:lnTo>
                        <a:pt x="20" y="7"/>
                      </a:lnTo>
                      <a:lnTo>
                        <a:pt x="17" y="8"/>
                      </a:lnTo>
                      <a:lnTo>
                        <a:pt x="11"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4" name="Freeform 450"/>
                <p:cNvSpPr>
                  <a:spLocks/>
                </p:cNvSpPr>
                <p:nvPr/>
              </p:nvSpPr>
              <p:spPr bwMode="auto">
                <a:xfrm>
                  <a:off x="4193478" y="3640168"/>
                  <a:ext cx="23678" cy="14799"/>
                </a:xfrm>
                <a:custGeom>
                  <a:avLst/>
                  <a:gdLst>
                    <a:gd name="T0" fmla="*/ 2147483647 w 18"/>
                    <a:gd name="T1" fmla="*/ 2147483647 h 10"/>
                    <a:gd name="T2" fmla="*/ 2147483647 w 18"/>
                    <a:gd name="T3" fmla="*/ 2147483647 h 10"/>
                    <a:gd name="T4" fmla="*/ 2147483647 w 18"/>
                    <a:gd name="T5" fmla="*/ 2147483647 h 10"/>
                    <a:gd name="T6" fmla="*/ 2147483647 w 18"/>
                    <a:gd name="T7" fmla="*/ 2147483647 h 10"/>
                    <a:gd name="T8" fmla="*/ 2147483647 w 18"/>
                    <a:gd name="T9" fmla="*/ 2147483647 h 10"/>
                    <a:gd name="T10" fmla="*/ 2147483647 w 18"/>
                    <a:gd name="T11" fmla="*/ 2147483647 h 10"/>
                    <a:gd name="T12" fmla="*/ 2147483647 w 18"/>
                    <a:gd name="T13" fmla="*/ 2147483647 h 10"/>
                    <a:gd name="T14" fmla="*/ 2147483647 w 18"/>
                    <a:gd name="T15" fmla="*/ 2147483647 h 10"/>
                    <a:gd name="T16" fmla="*/ 2147483647 w 18"/>
                    <a:gd name="T17" fmla="*/ 2147483647 h 10"/>
                    <a:gd name="T18" fmla="*/ 0 w 18"/>
                    <a:gd name="T19" fmla="*/ 2147483647 h 10"/>
                    <a:gd name="T20" fmla="*/ 0 w 18"/>
                    <a:gd name="T21" fmla="*/ 2147483647 h 10"/>
                    <a:gd name="T22" fmla="*/ 0 w 18"/>
                    <a:gd name="T23" fmla="*/ 2147483647 h 10"/>
                    <a:gd name="T24" fmla="*/ 2147483647 w 18"/>
                    <a:gd name="T25" fmla="*/ 0 h 10"/>
                    <a:gd name="T26" fmla="*/ 2147483647 w 18"/>
                    <a:gd name="T27" fmla="*/ 0 h 10"/>
                    <a:gd name="T28" fmla="*/ 2147483647 w 18"/>
                    <a:gd name="T29" fmla="*/ 2147483647 h 10"/>
                    <a:gd name="T30" fmla="*/ 2147483647 w 18"/>
                    <a:gd name="T31" fmla="*/ 2147483647 h 10"/>
                    <a:gd name="T32" fmla="*/ 2147483647 w 18"/>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0"/>
                    <a:gd name="T53" fmla="*/ 18 w 18"/>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0">
                      <a:moveTo>
                        <a:pt x="12" y="4"/>
                      </a:moveTo>
                      <a:lnTo>
                        <a:pt x="17" y="4"/>
                      </a:lnTo>
                      <a:lnTo>
                        <a:pt x="18" y="4"/>
                      </a:lnTo>
                      <a:lnTo>
                        <a:pt x="18" y="6"/>
                      </a:lnTo>
                      <a:lnTo>
                        <a:pt x="17" y="7"/>
                      </a:lnTo>
                      <a:lnTo>
                        <a:pt x="15" y="10"/>
                      </a:lnTo>
                      <a:lnTo>
                        <a:pt x="10" y="10"/>
                      </a:lnTo>
                      <a:lnTo>
                        <a:pt x="5" y="10"/>
                      </a:lnTo>
                      <a:lnTo>
                        <a:pt x="2" y="9"/>
                      </a:lnTo>
                      <a:lnTo>
                        <a:pt x="0" y="7"/>
                      </a:lnTo>
                      <a:lnTo>
                        <a:pt x="0" y="5"/>
                      </a:lnTo>
                      <a:lnTo>
                        <a:pt x="0" y="1"/>
                      </a:lnTo>
                      <a:lnTo>
                        <a:pt x="2" y="0"/>
                      </a:lnTo>
                      <a:lnTo>
                        <a:pt x="3" y="0"/>
                      </a:lnTo>
                      <a:lnTo>
                        <a:pt x="5" y="1"/>
                      </a:lnTo>
                      <a:lnTo>
                        <a:pt x="9" y="3"/>
                      </a:lnTo>
                      <a:lnTo>
                        <a:pt x="12"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5" name="Freeform 451"/>
                <p:cNvSpPr>
                  <a:spLocks/>
                </p:cNvSpPr>
                <p:nvPr/>
              </p:nvSpPr>
              <p:spPr bwMode="auto">
                <a:xfrm>
                  <a:off x="6121750" y="5185156"/>
                  <a:ext cx="29597" cy="14799"/>
                </a:xfrm>
                <a:custGeom>
                  <a:avLst/>
                  <a:gdLst>
                    <a:gd name="T0" fmla="*/ 2147483647 w 21"/>
                    <a:gd name="T1" fmla="*/ 2147483647 h 10"/>
                    <a:gd name="T2" fmla="*/ 2147483647 w 21"/>
                    <a:gd name="T3" fmla="*/ 2147483647 h 10"/>
                    <a:gd name="T4" fmla="*/ 2147483647 w 21"/>
                    <a:gd name="T5" fmla="*/ 2147483647 h 10"/>
                    <a:gd name="T6" fmla="*/ 2147483647 w 21"/>
                    <a:gd name="T7" fmla="*/ 2147483647 h 10"/>
                    <a:gd name="T8" fmla="*/ 2147483647 w 21"/>
                    <a:gd name="T9" fmla="*/ 2147483647 h 10"/>
                    <a:gd name="T10" fmla="*/ 0 w 21"/>
                    <a:gd name="T11" fmla="*/ 2147483647 h 10"/>
                    <a:gd name="T12" fmla="*/ 2147483647 w 21"/>
                    <a:gd name="T13" fmla="*/ 2147483647 h 10"/>
                    <a:gd name="T14" fmla="*/ 2147483647 w 21"/>
                    <a:gd name="T15" fmla="*/ 2147483647 h 10"/>
                    <a:gd name="T16" fmla="*/ 2147483647 w 21"/>
                    <a:gd name="T17" fmla="*/ 2147483647 h 10"/>
                    <a:gd name="T18" fmla="*/ 2147483647 w 21"/>
                    <a:gd name="T19" fmla="*/ 2147483647 h 10"/>
                    <a:gd name="T20" fmla="*/ 2147483647 w 21"/>
                    <a:gd name="T21" fmla="*/ 0 h 10"/>
                    <a:gd name="T22" fmla="*/ 2147483647 w 21"/>
                    <a:gd name="T23" fmla="*/ 2147483647 h 10"/>
                    <a:gd name="T24" fmla="*/ 2147483647 w 21"/>
                    <a:gd name="T25" fmla="*/ 2147483647 h 10"/>
                    <a:gd name="T26" fmla="*/ 2147483647 w 21"/>
                    <a:gd name="T27" fmla="*/ 2147483647 h 10"/>
                    <a:gd name="T28" fmla="*/ 2147483647 w 21"/>
                    <a:gd name="T29" fmla="*/ 2147483647 h 10"/>
                    <a:gd name="T30" fmla="*/ 2147483647 w 21"/>
                    <a:gd name="T31" fmla="*/ 2147483647 h 10"/>
                    <a:gd name="T32" fmla="*/ 2147483647 w 21"/>
                    <a:gd name="T33" fmla="*/ 2147483647 h 10"/>
                    <a:gd name="T34" fmla="*/ 2147483647 w 21"/>
                    <a:gd name="T35" fmla="*/ 2147483647 h 10"/>
                    <a:gd name="T36" fmla="*/ 2147483647 w 21"/>
                    <a:gd name="T37" fmla="*/ 2147483647 h 10"/>
                    <a:gd name="T38" fmla="*/ 2147483647 w 21"/>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10"/>
                    <a:gd name="T62" fmla="*/ 21 w 21"/>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10">
                      <a:moveTo>
                        <a:pt x="12" y="9"/>
                      </a:moveTo>
                      <a:lnTo>
                        <a:pt x="12" y="9"/>
                      </a:lnTo>
                      <a:lnTo>
                        <a:pt x="8" y="10"/>
                      </a:lnTo>
                      <a:lnTo>
                        <a:pt x="4" y="9"/>
                      </a:lnTo>
                      <a:lnTo>
                        <a:pt x="2" y="8"/>
                      </a:lnTo>
                      <a:lnTo>
                        <a:pt x="0" y="7"/>
                      </a:lnTo>
                      <a:lnTo>
                        <a:pt x="2" y="4"/>
                      </a:lnTo>
                      <a:lnTo>
                        <a:pt x="3" y="3"/>
                      </a:lnTo>
                      <a:lnTo>
                        <a:pt x="4" y="1"/>
                      </a:lnTo>
                      <a:lnTo>
                        <a:pt x="10" y="0"/>
                      </a:lnTo>
                      <a:lnTo>
                        <a:pt x="16" y="1"/>
                      </a:lnTo>
                      <a:lnTo>
                        <a:pt x="18" y="2"/>
                      </a:lnTo>
                      <a:lnTo>
                        <a:pt x="19" y="4"/>
                      </a:lnTo>
                      <a:lnTo>
                        <a:pt x="21" y="5"/>
                      </a:lnTo>
                      <a:lnTo>
                        <a:pt x="21" y="7"/>
                      </a:lnTo>
                      <a:lnTo>
                        <a:pt x="18" y="8"/>
                      </a:lnTo>
                      <a:lnTo>
                        <a:pt x="12"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6" name="Freeform 452"/>
                <p:cNvSpPr>
                  <a:spLocks/>
                </p:cNvSpPr>
                <p:nvPr/>
              </p:nvSpPr>
              <p:spPr bwMode="auto">
                <a:xfrm>
                  <a:off x="4191998" y="3638690"/>
                  <a:ext cx="23678" cy="14799"/>
                </a:xfrm>
                <a:custGeom>
                  <a:avLst/>
                  <a:gdLst>
                    <a:gd name="T0" fmla="*/ 2147483647 w 18"/>
                    <a:gd name="T1" fmla="*/ 2147483647 h 10"/>
                    <a:gd name="T2" fmla="*/ 2147483647 w 18"/>
                    <a:gd name="T3" fmla="*/ 2147483647 h 10"/>
                    <a:gd name="T4" fmla="*/ 2147483647 w 18"/>
                    <a:gd name="T5" fmla="*/ 2147483647 h 10"/>
                    <a:gd name="T6" fmla="*/ 2147483647 w 18"/>
                    <a:gd name="T7" fmla="*/ 2147483647 h 10"/>
                    <a:gd name="T8" fmla="*/ 2147483647 w 18"/>
                    <a:gd name="T9" fmla="*/ 2147483647 h 10"/>
                    <a:gd name="T10" fmla="*/ 2147483647 w 18"/>
                    <a:gd name="T11" fmla="*/ 2147483647 h 10"/>
                    <a:gd name="T12" fmla="*/ 2147483647 w 18"/>
                    <a:gd name="T13" fmla="*/ 2147483647 h 10"/>
                    <a:gd name="T14" fmla="*/ 2147483647 w 18"/>
                    <a:gd name="T15" fmla="*/ 2147483647 h 10"/>
                    <a:gd name="T16" fmla="*/ 2147483647 w 18"/>
                    <a:gd name="T17" fmla="*/ 2147483647 h 10"/>
                    <a:gd name="T18" fmla="*/ 2147483647 w 18"/>
                    <a:gd name="T19" fmla="*/ 2147483647 h 10"/>
                    <a:gd name="T20" fmla="*/ 2147483647 w 18"/>
                    <a:gd name="T21" fmla="*/ 2147483647 h 10"/>
                    <a:gd name="T22" fmla="*/ 2147483647 w 18"/>
                    <a:gd name="T23" fmla="*/ 2147483647 h 10"/>
                    <a:gd name="T24" fmla="*/ 0 w 18"/>
                    <a:gd name="T25" fmla="*/ 2147483647 h 10"/>
                    <a:gd name="T26" fmla="*/ 0 w 18"/>
                    <a:gd name="T27" fmla="*/ 2147483647 h 10"/>
                    <a:gd name="T28" fmla="*/ 0 w 18"/>
                    <a:gd name="T29" fmla="*/ 2147483647 h 10"/>
                    <a:gd name="T30" fmla="*/ 0 w 18"/>
                    <a:gd name="T31" fmla="*/ 2147483647 h 10"/>
                    <a:gd name="T32" fmla="*/ 2147483647 w 18"/>
                    <a:gd name="T33" fmla="*/ 0 h 10"/>
                    <a:gd name="T34" fmla="*/ 2147483647 w 18"/>
                    <a:gd name="T35" fmla="*/ 0 h 10"/>
                    <a:gd name="T36" fmla="*/ 2147483647 w 18"/>
                    <a:gd name="T37" fmla="*/ 2147483647 h 10"/>
                    <a:gd name="T38" fmla="*/ 2147483647 w 18"/>
                    <a:gd name="T39" fmla="*/ 2147483647 h 10"/>
                    <a:gd name="T40" fmla="*/ 2147483647 w 18"/>
                    <a:gd name="T41" fmla="*/ 2147483647 h 10"/>
                    <a:gd name="T42" fmla="*/ 2147483647 w 18"/>
                    <a:gd name="T43" fmla="*/ 2147483647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10"/>
                    <a:gd name="T68" fmla="*/ 18 w 18"/>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10">
                      <a:moveTo>
                        <a:pt x="11" y="4"/>
                      </a:moveTo>
                      <a:lnTo>
                        <a:pt x="11" y="4"/>
                      </a:lnTo>
                      <a:lnTo>
                        <a:pt x="16" y="4"/>
                      </a:lnTo>
                      <a:lnTo>
                        <a:pt x="18" y="4"/>
                      </a:lnTo>
                      <a:lnTo>
                        <a:pt x="18" y="6"/>
                      </a:lnTo>
                      <a:lnTo>
                        <a:pt x="16" y="7"/>
                      </a:lnTo>
                      <a:lnTo>
                        <a:pt x="15" y="10"/>
                      </a:lnTo>
                      <a:lnTo>
                        <a:pt x="10" y="10"/>
                      </a:lnTo>
                      <a:lnTo>
                        <a:pt x="5" y="10"/>
                      </a:lnTo>
                      <a:lnTo>
                        <a:pt x="1" y="8"/>
                      </a:lnTo>
                      <a:lnTo>
                        <a:pt x="0" y="7"/>
                      </a:lnTo>
                      <a:lnTo>
                        <a:pt x="0" y="5"/>
                      </a:lnTo>
                      <a:lnTo>
                        <a:pt x="0" y="1"/>
                      </a:lnTo>
                      <a:lnTo>
                        <a:pt x="1" y="0"/>
                      </a:lnTo>
                      <a:lnTo>
                        <a:pt x="3" y="0"/>
                      </a:lnTo>
                      <a:lnTo>
                        <a:pt x="5" y="1"/>
                      </a:lnTo>
                      <a:lnTo>
                        <a:pt x="9" y="2"/>
                      </a:lnTo>
                      <a:lnTo>
                        <a:pt x="1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7" name="Freeform 453"/>
                <p:cNvSpPr>
                  <a:spLocks/>
                </p:cNvSpPr>
                <p:nvPr/>
              </p:nvSpPr>
              <p:spPr bwMode="auto">
                <a:xfrm>
                  <a:off x="4286709" y="3755598"/>
                  <a:ext cx="14799" cy="13319"/>
                </a:xfrm>
                <a:custGeom>
                  <a:avLst/>
                  <a:gdLst>
                    <a:gd name="T0" fmla="*/ 2147483647 w 10"/>
                    <a:gd name="T1" fmla="*/ 2147483647 h 9"/>
                    <a:gd name="T2" fmla="*/ 2147483647 w 10"/>
                    <a:gd name="T3" fmla="*/ 0 h 9"/>
                    <a:gd name="T4" fmla="*/ 2147483647 w 10"/>
                    <a:gd name="T5" fmla="*/ 0 h 9"/>
                    <a:gd name="T6" fmla="*/ 2147483647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0 w 10"/>
                    <a:gd name="T17" fmla="*/ 2147483647 h 9"/>
                    <a:gd name="T18" fmla="*/ 0 w 10"/>
                    <a:gd name="T19" fmla="*/ 2147483647 h 9"/>
                    <a:gd name="T20" fmla="*/ 2147483647 w 10"/>
                    <a:gd name="T21" fmla="*/ 2147483647 h 9"/>
                    <a:gd name="T22" fmla="*/ 2147483647 w 10"/>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9"/>
                    <a:gd name="T38" fmla="*/ 10 w 10"/>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9">
                      <a:moveTo>
                        <a:pt x="5" y="2"/>
                      </a:moveTo>
                      <a:lnTo>
                        <a:pt x="6" y="0"/>
                      </a:lnTo>
                      <a:lnTo>
                        <a:pt x="7" y="0"/>
                      </a:lnTo>
                      <a:lnTo>
                        <a:pt x="9" y="2"/>
                      </a:lnTo>
                      <a:lnTo>
                        <a:pt x="10" y="3"/>
                      </a:lnTo>
                      <a:lnTo>
                        <a:pt x="9" y="4"/>
                      </a:lnTo>
                      <a:lnTo>
                        <a:pt x="5" y="8"/>
                      </a:lnTo>
                      <a:lnTo>
                        <a:pt x="2" y="9"/>
                      </a:lnTo>
                      <a:lnTo>
                        <a:pt x="0" y="8"/>
                      </a:lnTo>
                      <a:lnTo>
                        <a:pt x="0" y="6"/>
                      </a:lnTo>
                      <a:lnTo>
                        <a:pt x="1" y="4"/>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8" name="Freeform 454"/>
                <p:cNvSpPr>
                  <a:spLocks/>
                </p:cNvSpPr>
                <p:nvPr/>
              </p:nvSpPr>
              <p:spPr bwMode="auto">
                <a:xfrm>
                  <a:off x="4261552" y="3777795"/>
                  <a:ext cx="19238" cy="22198"/>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0 w 14"/>
                    <a:gd name="T9" fmla="*/ 2147483647 h 15"/>
                    <a:gd name="T10" fmla="*/ 0 w 14"/>
                    <a:gd name="T11" fmla="*/ 2147483647 h 15"/>
                    <a:gd name="T12" fmla="*/ 0 w 14"/>
                    <a:gd name="T13" fmla="*/ 2147483647 h 15"/>
                    <a:gd name="T14" fmla="*/ 2147483647 w 14"/>
                    <a:gd name="T15" fmla="*/ 2147483647 h 15"/>
                    <a:gd name="T16" fmla="*/ 2147483647 w 14"/>
                    <a:gd name="T17" fmla="*/ 2147483647 h 15"/>
                    <a:gd name="T18" fmla="*/ 2147483647 w 14"/>
                    <a:gd name="T19" fmla="*/ 0 h 15"/>
                    <a:gd name="T20" fmla="*/ 2147483647 w 14"/>
                    <a:gd name="T21" fmla="*/ 0 h 15"/>
                    <a:gd name="T22" fmla="*/ 2147483647 w 14"/>
                    <a:gd name="T23" fmla="*/ 2147483647 h 15"/>
                    <a:gd name="T24" fmla="*/ 2147483647 w 14"/>
                    <a:gd name="T25" fmla="*/ 2147483647 h 15"/>
                    <a:gd name="T26" fmla="*/ 2147483647 w 14"/>
                    <a:gd name="T27" fmla="*/ 2147483647 h 15"/>
                    <a:gd name="T28" fmla="*/ 2147483647 w 14"/>
                    <a:gd name="T29" fmla="*/ 2147483647 h 15"/>
                    <a:gd name="T30" fmla="*/ 2147483647 w 14"/>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5"/>
                    <a:gd name="T50" fmla="*/ 14 w 14"/>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5">
                      <a:moveTo>
                        <a:pt x="10" y="10"/>
                      </a:moveTo>
                      <a:lnTo>
                        <a:pt x="7" y="14"/>
                      </a:lnTo>
                      <a:lnTo>
                        <a:pt x="5" y="15"/>
                      </a:lnTo>
                      <a:lnTo>
                        <a:pt x="2" y="15"/>
                      </a:lnTo>
                      <a:lnTo>
                        <a:pt x="0" y="13"/>
                      </a:lnTo>
                      <a:lnTo>
                        <a:pt x="0" y="12"/>
                      </a:lnTo>
                      <a:lnTo>
                        <a:pt x="0" y="10"/>
                      </a:lnTo>
                      <a:lnTo>
                        <a:pt x="4" y="7"/>
                      </a:lnTo>
                      <a:lnTo>
                        <a:pt x="6" y="2"/>
                      </a:lnTo>
                      <a:lnTo>
                        <a:pt x="9" y="0"/>
                      </a:lnTo>
                      <a:lnTo>
                        <a:pt x="11" y="0"/>
                      </a:lnTo>
                      <a:lnTo>
                        <a:pt x="14" y="1"/>
                      </a:lnTo>
                      <a:lnTo>
                        <a:pt x="14" y="2"/>
                      </a:lnTo>
                      <a:lnTo>
                        <a:pt x="12" y="4"/>
                      </a:lnTo>
                      <a:lnTo>
                        <a:pt x="10" y="8"/>
                      </a:lnTo>
                      <a:lnTo>
                        <a:pt x="10"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19" name="Freeform 455"/>
                <p:cNvSpPr>
                  <a:spLocks/>
                </p:cNvSpPr>
                <p:nvPr/>
              </p:nvSpPr>
              <p:spPr bwMode="auto">
                <a:xfrm>
                  <a:off x="4286709" y="3754117"/>
                  <a:ext cx="13319" cy="13319"/>
                </a:xfrm>
                <a:custGeom>
                  <a:avLst/>
                  <a:gdLst>
                    <a:gd name="T0" fmla="*/ 2147483647 w 10"/>
                    <a:gd name="T1" fmla="*/ 2147483647 h 9"/>
                    <a:gd name="T2" fmla="*/ 2147483647 w 10"/>
                    <a:gd name="T3" fmla="*/ 2147483647 h 9"/>
                    <a:gd name="T4" fmla="*/ 2147483647 w 10"/>
                    <a:gd name="T5" fmla="*/ 0 h 9"/>
                    <a:gd name="T6" fmla="*/ 2147483647 w 10"/>
                    <a:gd name="T7" fmla="*/ 0 h 9"/>
                    <a:gd name="T8" fmla="*/ 2147483647 w 10"/>
                    <a:gd name="T9" fmla="*/ 0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2147483647 w 10"/>
                    <a:gd name="T19" fmla="*/ 2147483647 h 9"/>
                    <a:gd name="T20" fmla="*/ 2147483647 w 10"/>
                    <a:gd name="T21" fmla="*/ 2147483647 h 9"/>
                    <a:gd name="T22" fmla="*/ 0 w 10"/>
                    <a:gd name="T23" fmla="*/ 2147483647 h 9"/>
                    <a:gd name="T24" fmla="*/ 0 w 10"/>
                    <a:gd name="T25" fmla="*/ 2147483647 h 9"/>
                    <a:gd name="T26" fmla="*/ 0 w 10"/>
                    <a:gd name="T27" fmla="*/ 2147483647 h 9"/>
                    <a:gd name="T28" fmla="*/ 2147483647 w 10"/>
                    <a:gd name="T29" fmla="*/ 2147483647 h 9"/>
                    <a:gd name="T30" fmla="*/ 2147483647 w 10"/>
                    <a:gd name="T31" fmla="*/ 2147483647 h 9"/>
                    <a:gd name="T32" fmla="*/ 2147483647 w 10"/>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9"/>
                    <a:gd name="T53" fmla="*/ 10 w 10"/>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9">
                      <a:moveTo>
                        <a:pt x="5" y="1"/>
                      </a:moveTo>
                      <a:lnTo>
                        <a:pt x="5" y="1"/>
                      </a:lnTo>
                      <a:lnTo>
                        <a:pt x="6" y="0"/>
                      </a:lnTo>
                      <a:lnTo>
                        <a:pt x="7" y="0"/>
                      </a:lnTo>
                      <a:lnTo>
                        <a:pt x="8" y="1"/>
                      </a:lnTo>
                      <a:lnTo>
                        <a:pt x="10" y="3"/>
                      </a:lnTo>
                      <a:lnTo>
                        <a:pt x="8" y="4"/>
                      </a:lnTo>
                      <a:lnTo>
                        <a:pt x="5" y="7"/>
                      </a:lnTo>
                      <a:lnTo>
                        <a:pt x="2" y="9"/>
                      </a:lnTo>
                      <a:lnTo>
                        <a:pt x="0" y="7"/>
                      </a:lnTo>
                      <a:lnTo>
                        <a:pt x="0" y="6"/>
                      </a:lnTo>
                      <a:lnTo>
                        <a:pt x="1" y="4"/>
                      </a:lnTo>
                      <a:lnTo>
                        <a:pt x="5"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0" name="Freeform 456"/>
                <p:cNvSpPr>
                  <a:spLocks/>
                </p:cNvSpPr>
                <p:nvPr/>
              </p:nvSpPr>
              <p:spPr bwMode="auto">
                <a:xfrm>
                  <a:off x="4258592" y="3776318"/>
                  <a:ext cx="19238" cy="22199"/>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0 w 14"/>
                    <a:gd name="T11" fmla="*/ 2147483647 h 15"/>
                    <a:gd name="T12" fmla="*/ 0 w 14"/>
                    <a:gd name="T13" fmla="*/ 2147483647 h 15"/>
                    <a:gd name="T14" fmla="*/ 0 w 14"/>
                    <a:gd name="T15" fmla="*/ 2147483647 h 15"/>
                    <a:gd name="T16" fmla="*/ 0 w 14"/>
                    <a:gd name="T17" fmla="*/ 2147483647 h 15"/>
                    <a:gd name="T18" fmla="*/ 0 w 14"/>
                    <a:gd name="T19" fmla="*/ 2147483647 h 15"/>
                    <a:gd name="T20" fmla="*/ 2147483647 w 14"/>
                    <a:gd name="T21" fmla="*/ 2147483647 h 15"/>
                    <a:gd name="T22" fmla="*/ 2147483647 w 14"/>
                    <a:gd name="T23" fmla="*/ 2147483647 h 15"/>
                    <a:gd name="T24" fmla="*/ 2147483647 w 14"/>
                    <a:gd name="T25" fmla="*/ 0 h 15"/>
                    <a:gd name="T26" fmla="*/ 2147483647 w 14"/>
                    <a:gd name="T27" fmla="*/ 0 h 15"/>
                    <a:gd name="T28" fmla="*/ 2147483647 w 14"/>
                    <a:gd name="T29" fmla="*/ 2147483647 h 15"/>
                    <a:gd name="T30" fmla="*/ 2147483647 w 14"/>
                    <a:gd name="T31" fmla="*/ 2147483647 h 15"/>
                    <a:gd name="T32" fmla="*/ 2147483647 w 14"/>
                    <a:gd name="T33" fmla="*/ 2147483647 h 15"/>
                    <a:gd name="T34" fmla="*/ 2147483647 w 14"/>
                    <a:gd name="T35" fmla="*/ 2147483647 h 15"/>
                    <a:gd name="T36" fmla="*/ 2147483647 w 14"/>
                    <a:gd name="T37" fmla="*/ 2147483647 h 15"/>
                    <a:gd name="T38" fmla="*/ 2147483647 w 14"/>
                    <a:gd name="T39" fmla="*/ 2147483647 h 15"/>
                    <a:gd name="T40" fmla="*/ 2147483647 w 14"/>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
                    <a:gd name="T64" fmla="*/ 0 h 15"/>
                    <a:gd name="T65" fmla="*/ 14 w 14"/>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 h="15">
                      <a:moveTo>
                        <a:pt x="11" y="10"/>
                      </a:moveTo>
                      <a:lnTo>
                        <a:pt x="11" y="10"/>
                      </a:lnTo>
                      <a:lnTo>
                        <a:pt x="8" y="14"/>
                      </a:lnTo>
                      <a:lnTo>
                        <a:pt x="6" y="15"/>
                      </a:lnTo>
                      <a:lnTo>
                        <a:pt x="3" y="15"/>
                      </a:lnTo>
                      <a:lnTo>
                        <a:pt x="0" y="13"/>
                      </a:lnTo>
                      <a:lnTo>
                        <a:pt x="0" y="11"/>
                      </a:lnTo>
                      <a:lnTo>
                        <a:pt x="0" y="10"/>
                      </a:lnTo>
                      <a:lnTo>
                        <a:pt x="4" y="7"/>
                      </a:lnTo>
                      <a:lnTo>
                        <a:pt x="7" y="2"/>
                      </a:lnTo>
                      <a:lnTo>
                        <a:pt x="9" y="0"/>
                      </a:lnTo>
                      <a:lnTo>
                        <a:pt x="12" y="0"/>
                      </a:lnTo>
                      <a:lnTo>
                        <a:pt x="14" y="1"/>
                      </a:lnTo>
                      <a:lnTo>
                        <a:pt x="14" y="2"/>
                      </a:lnTo>
                      <a:lnTo>
                        <a:pt x="13" y="4"/>
                      </a:lnTo>
                      <a:lnTo>
                        <a:pt x="11" y="8"/>
                      </a:lnTo>
                      <a:lnTo>
                        <a:pt x="11"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1" name="Freeform 457"/>
                <p:cNvSpPr>
                  <a:spLocks/>
                </p:cNvSpPr>
                <p:nvPr/>
              </p:nvSpPr>
              <p:spPr bwMode="auto">
                <a:xfrm>
                  <a:off x="4178682" y="3770395"/>
                  <a:ext cx="739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0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5"/>
                      </a:moveTo>
                      <a:lnTo>
                        <a:pt x="6" y="6"/>
                      </a:lnTo>
                      <a:lnTo>
                        <a:pt x="5" y="7"/>
                      </a:lnTo>
                      <a:lnTo>
                        <a:pt x="2" y="7"/>
                      </a:lnTo>
                      <a:lnTo>
                        <a:pt x="1" y="5"/>
                      </a:lnTo>
                      <a:lnTo>
                        <a:pt x="0" y="2"/>
                      </a:lnTo>
                      <a:lnTo>
                        <a:pt x="1" y="0"/>
                      </a:lnTo>
                      <a:lnTo>
                        <a:pt x="4" y="0"/>
                      </a:lnTo>
                      <a:lnTo>
                        <a:pt x="5" y="1"/>
                      </a:lnTo>
                      <a:lnTo>
                        <a:pt x="6" y="2"/>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2" name="Freeform 458"/>
                <p:cNvSpPr>
                  <a:spLocks/>
                </p:cNvSpPr>
                <p:nvPr/>
              </p:nvSpPr>
              <p:spPr bwMode="auto">
                <a:xfrm>
                  <a:off x="4231954" y="3791116"/>
                  <a:ext cx="17758" cy="19239"/>
                </a:xfrm>
                <a:custGeom>
                  <a:avLst/>
                  <a:gdLst>
                    <a:gd name="T0" fmla="*/ 2147483647 w 13"/>
                    <a:gd name="T1" fmla="*/ 2147483647 h 13"/>
                    <a:gd name="T2" fmla="*/ 2147483647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2147483647 h 13"/>
                    <a:gd name="T12" fmla="*/ 0 w 13"/>
                    <a:gd name="T13" fmla="*/ 2147483647 h 13"/>
                    <a:gd name="T14" fmla="*/ 0 w 13"/>
                    <a:gd name="T15" fmla="*/ 2147483647 h 13"/>
                    <a:gd name="T16" fmla="*/ 2147483647 w 13"/>
                    <a:gd name="T17" fmla="*/ 2147483647 h 13"/>
                    <a:gd name="T18" fmla="*/ 2147483647 w 13"/>
                    <a:gd name="T19" fmla="*/ 2147483647 h 13"/>
                    <a:gd name="T20" fmla="*/ 2147483647 w 13"/>
                    <a:gd name="T21" fmla="*/ 0 h 13"/>
                    <a:gd name="T22" fmla="*/ 2147483647 w 13"/>
                    <a:gd name="T23" fmla="*/ 0 h 13"/>
                    <a:gd name="T24" fmla="*/ 2147483647 w 13"/>
                    <a:gd name="T25" fmla="*/ 2147483647 h 13"/>
                    <a:gd name="T26" fmla="*/ 2147483647 w 13"/>
                    <a:gd name="T27" fmla="*/ 2147483647 h 13"/>
                    <a:gd name="T28" fmla="*/ 2147483647 w 13"/>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3"/>
                    <a:gd name="T47" fmla="*/ 13 w 13"/>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3">
                      <a:moveTo>
                        <a:pt x="12" y="10"/>
                      </a:moveTo>
                      <a:lnTo>
                        <a:pt x="10" y="12"/>
                      </a:lnTo>
                      <a:lnTo>
                        <a:pt x="8" y="13"/>
                      </a:lnTo>
                      <a:lnTo>
                        <a:pt x="5" y="13"/>
                      </a:lnTo>
                      <a:lnTo>
                        <a:pt x="3" y="12"/>
                      </a:lnTo>
                      <a:lnTo>
                        <a:pt x="1" y="11"/>
                      </a:lnTo>
                      <a:lnTo>
                        <a:pt x="0" y="8"/>
                      </a:lnTo>
                      <a:lnTo>
                        <a:pt x="0" y="6"/>
                      </a:lnTo>
                      <a:lnTo>
                        <a:pt x="1" y="4"/>
                      </a:lnTo>
                      <a:lnTo>
                        <a:pt x="5" y="1"/>
                      </a:lnTo>
                      <a:lnTo>
                        <a:pt x="8" y="0"/>
                      </a:lnTo>
                      <a:lnTo>
                        <a:pt x="10" y="0"/>
                      </a:lnTo>
                      <a:lnTo>
                        <a:pt x="13" y="1"/>
                      </a:lnTo>
                      <a:lnTo>
                        <a:pt x="13" y="4"/>
                      </a:lnTo>
                      <a:lnTo>
                        <a:pt x="12"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3" name="Freeform 459"/>
                <p:cNvSpPr>
                  <a:spLocks/>
                </p:cNvSpPr>
                <p:nvPr/>
              </p:nvSpPr>
              <p:spPr bwMode="auto">
                <a:xfrm>
                  <a:off x="4177198" y="3768918"/>
                  <a:ext cx="7400"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5"/>
                      </a:moveTo>
                      <a:lnTo>
                        <a:pt x="6" y="5"/>
                      </a:lnTo>
                      <a:lnTo>
                        <a:pt x="6" y="6"/>
                      </a:lnTo>
                      <a:lnTo>
                        <a:pt x="5" y="7"/>
                      </a:lnTo>
                      <a:lnTo>
                        <a:pt x="2" y="7"/>
                      </a:lnTo>
                      <a:lnTo>
                        <a:pt x="1" y="5"/>
                      </a:lnTo>
                      <a:lnTo>
                        <a:pt x="0" y="2"/>
                      </a:lnTo>
                      <a:lnTo>
                        <a:pt x="1" y="0"/>
                      </a:lnTo>
                      <a:lnTo>
                        <a:pt x="3" y="0"/>
                      </a:lnTo>
                      <a:lnTo>
                        <a:pt x="5" y="1"/>
                      </a:lnTo>
                      <a:lnTo>
                        <a:pt x="6" y="2"/>
                      </a:lnTo>
                      <a:lnTo>
                        <a:pt x="6"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4" name="Freeform 460"/>
                <p:cNvSpPr>
                  <a:spLocks/>
                </p:cNvSpPr>
                <p:nvPr/>
              </p:nvSpPr>
              <p:spPr bwMode="auto">
                <a:xfrm>
                  <a:off x="4230473" y="3789637"/>
                  <a:ext cx="17758" cy="19238"/>
                </a:xfrm>
                <a:custGeom>
                  <a:avLst/>
                  <a:gdLst>
                    <a:gd name="T0" fmla="*/ 2147483647 w 13"/>
                    <a:gd name="T1" fmla="*/ 2147483647 h 13"/>
                    <a:gd name="T2" fmla="*/ 2147483647 w 13"/>
                    <a:gd name="T3" fmla="*/ 2147483647 h 13"/>
                    <a:gd name="T4" fmla="*/ 2147483647 w 13"/>
                    <a:gd name="T5" fmla="*/ 2147483647 h 13"/>
                    <a:gd name="T6" fmla="*/ 2147483647 w 13"/>
                    <a:gd name="T7" fmla="*/ 2147483647 h 13"/>
                    <a:gd name="T8" fmla="*/ 2147483647 w 13"/>
                    <a:gd name="T9" fmla="*/ 2147483647 h 13"/>
                    <a:gd name="T10" fmla="*/ 2147483647 w 13"/>
                    <a:gd name="T11" fmla="*/ 2147483647 h 13"/>
                    <a:gd name="T12" fmla="*/ 2147483647 w 13"/>
                    <a:gd name="T13" fmla="*/ 2147483647 h 13"/>
                    <a:gd name="T14" fmla="*/ 2147483647 w 13"/>
                    <a:gd name="T15" fmla="*/ 2147483647 h 13"/>
                    <a:gd name="T16" fmla="*/ 0 w 13"/>
                    <a:gd name="T17" fmla="*/ 2147483647 h 13"/>
                    <a:gd name="T18" fmla="*/ 0 w 13"/>
                    <a:gd name="T19" fmla="*/ 2147483647 h 13"/>
                    <a:gd name="T20" fmla="*/ 2147483647 w 13"/>
                    <a:gd name="T21" fmla="*/ 2147483647 h 13"/>
                    <a:gd name="T22" fmla="*/ 2147483647 w 13"/>
                    <a:gd name="T23" fmla="*/ 2147483647 h 13"/>
                    <a:gd name="T24" fmla="*/ 2147483647 w 13"/>
                    <a:gd name="T25" fmla="*/ 0 h 13"/>
                    <a:gd name="T26" fmla="*/ 2147483647 w 13"/>
                    <a:gd name="T27" fmla="*/ 0 h 13"/>
                    <a:gd name="T28" fmla="*/ 2147483647 w 13"/>
                    <a:gd name="T29" fmla="*/ 0 h 13"/>
                    <a:gd name="T30" fmla="*/ 2147483647 w 13"/>
                    <a:gd name="T31" fmla="*/ 2147483647 h 13"/>
                    <a:gd name="T32" fmla="*/ 2147483647 w 13"/>
                    <a:gd name="T33" fmla="*/ 2147483647 h 13"/>
                    <a:gd name="T34" fmla="*/ 2147483647 w 13"/>
                    <a:gd name="T35" fmla="*/ 2147483647 h 13"/>
                    <a:gd name="T36" fmla="*/ 2147483647 w 13"/>
                    <a:gd name="T37" fmla="*/ 2147483647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3"/>
                    <a:gd name="T59" fmla="*/ 13 w 13"/>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3">
                      <a:moveTo>
                        <a:pt x="11" y="9"/>
                      </a:moveTo>
                      <a:lnTo>
                        <a:pt x="11" y="9"/>
                      </a:lnTo>
                      <a:lnTo>
                        <a:pt x="10" y="12"/>
                      </a:lnTo>
                      <a:lnTo>
                        <a:pt x="8" y="13"/>
                      </a:lnTo>
                      <a:lnTo>
                        <a:pt x="5" y="13"/>
                      </a:lnTo>
                      <a:lnTo>
                        <a:pt x="2" y="12"/>
                      </a:lnTo>
                      <a:lnTo>
                        <a:pt x="1" y="11"/>
                      </a:lnTo>
                      <a:lnTo>
                        <a:pt x="0" y="8"/>
                      </a:lnTo>
                      <a:lnTo>
                        <a:pt x="0" y="6"/>
                      </a:lnTo>
                      <a:lnTo>
                        <a:pt x="1" y="4"/>
                      </a:lnTo>
                      <a:lnTo>
                        <a:pt x="5" y="1"/>
                      </a:lnTo>
                      <a:lnTo>
                        <a:pt x="8" y="0"/>
                      </a:lnTo>
                      <a:lnTo>
                        <a:pt x="10" y="0"/>
                      </a:lnTo>
                      <a:lnTo>
                        <a:pt x="13" y="1"/>
                      </a:lnTo>
                      <a:lnTo>
                        <a:pt x="13" y="4"/>
                      </a:lnTo>
                      <a:lnTo>
                        <a:pt x="11"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5" name="Freeform 461"/>
                <p:cNvSpPr>
                  <a:spLocks/>
                </p:cNvSpPr>
                <p:nvPr/>
              </p:nvSpPr>
              <p:spPr bwMode="auto">
                <a:xfrm>
                  <a:off x="4202356" y="3776314"/>
                  <a:ext cx="28117" cy="25158"/>
                </a:xfrm>
                <a:custGeom>
                  <a:avLst/>
                  <a:gdLst>
                    <a:gd name="T0" fmla="*/ 2147483647 w 20"/>
                    <a:gd name="T1" fmla="*/ 2147483647 h 17"/>
                    <a:gd name="T2" fmla="*/ 2147483647 w 20"/>
                    <a:gd name="T3" fmla="*/ 0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2147483647 h 17"/>
                    <a:gd name="T14" fmla="*/ 2147483647 w 20"/>
                    <a:gd name="T15" fmla="*/ 2147483647 h 17"/>
                    <a:gd name="T16" fmla="*/ 2147483647 w 20"/>
                    <a:gd name="T17" fmla="*/ 2147483647 h 17"/>
                    <a:gd name="T18" fmla="*/ 2147483647 w 20"/>
                    <a:gd name="T19" fmla="*/ 2147483647 h 17"/>
                    <a:gd name="T20" fmla="*/ 2147483647 w 20"/>
                    <a:gd name="T21" fmla="*/ 2147483647 h 17"/>
                    <a:gd name="T22" fmla="*/ 2147483647 w 20"/>
                    <a:gd name="T23" fmla="*/ 2147483647 h 17"/>
                    <a:gd name="T24" fmla="*/ 0 w 20"/>
                    <a:gd name="T25" fmla="*/ 2147483647 h 17"/>
                    <a:gd name="T26" fmla="*/ 0 w 20"/>
                    <a:gd name="T27" fmla="*/ 2147483647 h 17"/>
                    <a:gd name="T28" fmla="*/ 2147483647 w 20"/>
                    <a:gd name="T29" fmla="*/ 2147483647 h 17"/>
                    <a:gd name="T30" fmla="*/ 2147483647 w 20"/>
                    <a:gd name="T31" fmla="*/ 2147483647 h 17"/>
                    <a:gd name="T32" fmla="*/ 2147483647 w 20"/>
                    <a:gd name="T33" fmla="*/ 2147483647 h 17"/>
                    <a:gd name="T34" fmla="*/ 2147483647 w 20"/>
                    <a:gd name="T35" fmla="*/ 2147483647 h 17"/>
                    <a:gd name="T36" fmla="*/ 2147483647 w 20"/>
                    <a:gd name="T37" fmla="*/ 2147483647 h 17"/>
                    <a:gd name="T38" fmla="*/ 2147483647 w 20"/>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7"/>
                    <a:gd name="T62" fmla="*/ 20 w 20"/>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7">
                      <a:moveTo>
                        <a:pt x="11" y="1"/>
                      </a:moveTo>
                      <a:lnTo>
                        <a:pt x="17" y="0"/>
                      </a:lnTo>
                      <a:lnTo>
                        <a:pt x="20" y="1"/>
                      </a:lnTo>
                      <a:lnTo>
                        <a:pt x="20" y="2"/>
                      </a:lnTo>
                      <a:lnTo>
                        <a:pt x="20" y="3"/>
                      </a:lnTo>
                      <a:lnTo>
                        <a:pt x="19" y="5"/>
                      </a:lnTo>
                      <a:lnTo>
                        <a:pt x="16" y="8"/>
                      </a:lnTo>
                      <a:lnTo>
                        <a:pt x="14" y="9"/>
                      </a:lnTo>
                      <a:lnTo>
                        <a:pt x="11" y="10"/>
                      </a:lnTo>
                      <a:lnTo>
                        <a:pt x="7" y="15"/>
                      </a:lnTo>
                      <a:lnTo>
                        <a:pt x="5" y="16"/>
                      </a:lnTo>
                      <a:lnTo>
                        <a:pt x="3" y="17"/>
                      </a:lnTo>
                      <a:lnTo>
                        <a:pt x="0" y="16"/>
                      </a:lnTo>
                      <a:lnTo>
                        <a:pt x="0" y="13"/>
                      </a:lnTo>
                      <a:lnTo>
                        <a:pt x="1" y="5"/>
                      </a:lnTo>
                      <a:lnTo>
                        <a:pt x="1" y="3"/>
                      </a:lnTo>
                      <a:lnTo>
                        <a:pt x="2" y="1"/>
                      </a:lnTo>
                      <a:lnTo>
                        <a:pt x="5" y="1"/>
                      </a:lnTo>
                      <a:lnTo>
                        <a:pt x="8" y="1"/>
                      </a:lnTo>
                      <a:lnTo>
                        <a:pt x="11"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6" name="Freeform 462"/>
                <p:cNvSpPr>
                  <a:spLocks/>
                </p:cNvSpPr>
                <p:nvPr/>
              </p:nvSpPr>
              <p:spPr bwMode="auto">
                <a:xfrm>
                  <a:off x="4005537" y="3490699"/>
                  <a:ext cx="20718" cy="11839"/>
                </a:xfrm>
                <a:custGeom>
                  <a:avLst/>
                  <a:gdLst>
                    <a:gd name="T0" fmla="*/ 2147483647 w 15"/>
                    <a:gd name="T1" fmla="*/ 0 h 8"/>
                    <a:gd name="T2" fmla="*/ 2147483647 w 15"/>
                    <a:gd name="T3" fmla="*/ 0 h 8"/>
                    <a:gd name="T4" fmla="*/ 2147483647 w 15"/>
                    <a:gd name="T5" fmla="*/ 2147483647 h 8"/>
                    <a:gd name="T6" fmla="*/ 2147483647 w 15"/>
                    <a:gd name="T7" fmla="*/ 2147483647 h 8"/>
                    <a:gd name="T8" fmla="*/ 2147483647 w 15"/>
                    <a:gd name="T9" fmla="*/ 2147483647 h 8"/>
                    <a:gd name="T10" fmla="*/ 2147483647 w 15"/>
                    <a:gd name="T11" fmla="*/ 2147483647 h 8"/>
                    <a:gd name="T12" fmla="*/ 2147483647 w 15"/>
                    <a:gd name="T13" fmla="*/ 2147483647 h 8"/>
                    <a:gd name="T14" fmla="*/ 2147483647 w 15"/>
                    <a:gd name="T15" fmla="*/ 2147483647 h 8"/>
                    <a:gd name="T16" fmla="*/ 0 w 15"/>
                    <a:gd name="T17" fmla="*/ 2147483647 h 8"/>
                    <a:gd name="T18" fmla="*/ 0 w 15"/>
                    <a:gd name="T19" fmla="*/ 2147483647 h 8"/>
                    <a:gd name="T20" fmla="*/ 0 w 15"/>
                    <a:gd name="T21" fmla="*/ 2147483647 h 8"/>
                    <a:gd name="T22" fmla="*/ 2147483647 w 15"/>
                    <a:gd name="T23" fmla="*/ 0 h 8"/>
                    <a:gd name="T24" fmla="*/ 2147483647 w 15"/>
                    <a:gd name="T25" fmla="*/ 0 h 8"/>
                    <a:gd name="T26" fmla="*/ 2147483647 w 15"/>
                    <a:gd name="T27" fmla="*/ 2147483647 h 8"/>
                    <a:gd name="T28" fmla="*/ 2147483647 w 15"/>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8"/>
                    <a:gd name="T47" fmla="*/ 15 w 15"/>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8">
                      <a:moveTo>
                        <a:pt x="10" y="0"/>
                      </a:moveTo>
                      <a:lnTo>
                        <a:pt x="13" y="0"/>
                      </a:lnTo>
                      <a:lnTo>
                        <a:pt x="15" y="3"/>
                      </a:lnTo>
                      <a:lnTo>
                        <a:pt x="15" y="5"/>
                      </a:lnTo>
                      <a:lnTo>
                        <a:pt x="14" y="6"/>
                      </a:lnTo>
                      <a:lnTo>
                        <a:pt x="9" y="8"/>
                      </a:lnTo>
                      <a:lnTo>
                        <a:pt x="4" y="8"/>
                      </a:lnTo>
                      <a:lnTo>
                        <a:pt x="1" y="6"/>
                      </a:lnTo>
                      <a:lnTo>
                        <a:pt x="0" y="5"/>
                      </a:lnTo>
                      <a:lnTo>
                        <a:pt x="0" y="4"/>
                      </a:lnTo>
                      <a:lnTo>
                        <a:pt x="0" y="2"/>
                      </a:lnTo>
                      <a:lnTo>
                        <a:pt x="1" y="0"/>
                      </a:lnTo>
                      <a:lnTo>
                        <a:pt x="4" y="0"/>
                      </a:lnTo>
                      <a:lnTo>
                        <a:pt x="8" y="2"/>
                      </a:lnTo>
                      <a:lnTo>
                        <a:pt x="10"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7" name="Freeform 463"/>
                <p:cNvSpPr>
                  <a:spLocks/>
                </p:cNvSpPr>
                <p:nvPr/>
              </p:nvSpPr>
              <p:spPr bwMode="auto">
                <a:xfrm>
                  <a:off x="4199397" y="3773354"/>
                  <a:ext cx="29597" cy="26638"/>
                </a:xfrm>
                <a:custGeom>
                  <a:avLst/>
                  <a:gdLst>
                    <a:gd name="T0" fmla="*/ 2147483647 w 21"/>
                    <a:gd name="T1" fmla="*/ 2147483647 h 18"/>
                    <a:gd name="T2" fmla="*/ 2147483647 w 21"/>
                    <a:gd name="T3" fmla="*/ 2147483647 h 18"/>
                    <a:gd name="T4" fmla="*/ 2147483647 w 21"/>
                    <a:gd name="T5" fmla="*/ 0 h 18"/>
                    <a:gd name="T6" fmla="*/ 2147483647 w 21"/>
                    <a:gd name="T7" fmla="*/ 2147483647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0 w 21"/>
                    <a:gd name="T35" fmla="*/ 2147483647 h 18"/>
                    <a:gd name="T36" fmla="*/ 0 w 21"/>
                    <a:gd name="T37" fmla="*/ 2147483647 h 18"/>
                    <a:gd name="T38" fmla="*/ 2147483647 w 21"/>
                    <a:gd name="T39" fmla="*/ 2147483647 h 18"/>
                    <a:gd name="T40" fmla="*/ 2147483647 w 21"/>
                    <a:gd name="T41" fmla="*/ 2147483647 h 18"/>
                    <a:gd name="T42" fmla="*/ 2147483647 w 21"/>
                    <a:gd name="T43" fmla="*/ 2147483647 h 18"/>
                    <a:gd name="T44" fmla="*/ 2147483647 w 21"/>
                    <a:gd name="T45" fmla="*/ 2147483647 h 18"/>
                    <a:gd name="T46" fmla="*/ 2147483647 w 21"/>
                    <a:gd name="T47" fmla="*/ 2147483647 h 18"/>
                    <a:gd name="T48" fmla="*/ 2147483647 w 21"/>
                    <a:gd name="T49" fmla="*/ 2147483647 h 18"/>
                    <a:gd name="T50" fmla="*/ 2147483647 w 21"/>
                    <a:gd name="T51" fmla="*/ 2147483647 h 18"/>
                    <a:gd name="T52" fmla="*/ 2147483647 w 21"/>
                    <a:gd name="T53" fmla="*/ 2147483647 h 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18"/>
                    <a:gd name="T83" fmla="*/ 21 w 21"/>
                    <a:gd name="T84" fmla="*/ 18 h 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18">
                      <a:moveTo>
                        <a:pt x="12" y="2"/>
                      </a:moveTo>
                      <a:lnTo>
                        <a:pt x="12" y="2"/>
                      </a:lnTo>
                      <a:lnTo>
                        <a:pt x="18" y="0"/>
                      </a:lnTo>
                      <a:lnTo>
                        <a:pt x="21" y="2"/>
                      </a:lnTo>
                      <a:lnTo>
                        <a:pt x="21" y="3"/>
                      </a:lnTo>
                      <a:lnTo>
                        <a:pt x="21" y="4"/>
                      </a:lnTo>
                      <a:lnTo>
                        <a:pt x="19" y="6"/>
                      </a:lnTo>
                      <a:lnTo>
                        <a:pt x="17" y="9"/>
                      </a:lnTo>
                      <a:lnTo>
                        <a:pt x="14" y="10"/>
                      </a:lnTo>
                      <a:lnTo>
                        <a:pt x="12" y="11"/>
                      </a:lnTo>
                      <a:lnTo>
                        <a:pt x="8" y="16"/>
                      </a:lnTo>
                      <a:lnTo>
                        <a:pt x="5" y="17"/>
                      </a:lnTo>
                      <a:lnTo>
                        <a:pt x="4" y="18"/>
                      </a:lnTo>
                      <a:lnTo>
                        <a:pt x="0" y="17"/>
                      </a:lnTo>
                      <a:lnTo>
                        <a:pt x="0" y="13"/>
                      </a:lnTo>
                      <a:lnTo>
                        <a:pt x="2" y="6"/>
                      </a:lnTo>
                      <a:lnTo>
                        <a:pt x="2" y="4"/>
                      </a:lnTo>
                      <a:lnTo>
                        <a:pt x="3" y="2"/>
                      </a:lnTo>
                      <a:lnTo>
                        <a:pt x="5" y="2"/>
                      </a:lnTo>
                      <a:lnTo>
                        <a:pt x="9" y="2"/>
                      </a:lnTo>
                      <a:lnTo>
                        <a:pt x="12"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8" name="Freeform 464"/>
                <p:cNvSpPr>
                  <a:spLocks/>
                </p:cNvSpPr>
                <p:nvPr/>
              </p:nvSpPr>
              <p:spPr bwMode="auto">
                <a:xfrm>
                  <a:off x="4004057" y="3489220"/>
                  <a:ext cx="20718" cy="10360"/>
                </a:xfrm>
                <a:custGeom>
                  <a:avLst/>
                  <a:gdLst>
                    <a:gd name="T0" fmla="*/ 2147483647 w 15"/>
                    <a:gd name="T1" fmla="*/ 0 h 7"/>
                    <a:gd name="T2" fmla="*/ 2147483647 w 15"/>
                    <a:gd name="T3" fmla="*/ 0 h 7"/>
                    <a:gd name="T4" fmla="*/ 2147483647 w 15"/>
                    <a:gd name="T5" fmla="*/ 0 h 7"/>
                    <a:gd name="T6" fmla="*/ 2147483647 w 15"/>
                    <a:gd name="T7" fmla="*/ 2147483647 h 7"/>
                    <a:gd name="T8" fmla="*/ 2147483647 w 15"/>
                    <a:gd name="T9" fmla="*/ 2147483647 h 7"/>
                    <a:gd name="T10" fmla="*/ 2147483647 w 15"/>
                    <a:gd name="T11" fmla="*/ 2147483647 h 7"/>
                    <a:gd name="T12" fmla="*/ 2147483647 w 15"/>
                    <a:gd name="T13" fmla="*/ 2147483647 h 7"/>
                    <a:gd name="T14" fmla="*/ 2147483647 w 15"/>
                    <a:gd name="T15" fmla="*/ 2147483647 h 7"/>
                    <a:gd name="T16" fmla="*/ 2147483647 w 15"/>
                    <a:gd name="T17" fmla="*/ 2147483647 h 7"/>
                    <a:gd name="T18" fmla="*/ 2147483647 w 15"/>
                    <a:gd name="T19" fmla="*/ 2147483647 h 7"/>
                    <a:gd name="T20" fmla="*/ 0 w 15"/>
                    <a:gd name="T21" fmla="*/ 2147483647 h 7"/>
                    <a:gd name="T22" fmla="*/ 0 w 15"/>
                    <a:gd name="T23" fmla="*/ 2147483647 h 7"/>
                    <a:gd name="T24" fmla="*/ 0 w 15"/>
                    <a:gd name="T25" fmla="*/ 2147483647 h 7"/>
                    <a:gd name="T26" fmla="*/ 0 w 15"/>
                    <a:gd name="T27" fmla="*/ 2147483647 h 7"/>
                    <a:gd name="T28" fmla="*/ 2147483647 w 15"/>
                    <a:gd name="T29" fmla="*/ 0 h 7"/>
                    <a:gd name="T30" fmla="*/ 2147483647 w 15"/>
                    <a:gd name="T31" fmla="*/ 0 h 7"/>
                    <a:gd name="T32" fmla="*/ 2147483647 w 15"/>
                    <a:gd name="T33" fmla="*/ 2147483647 h 7"/>
                    <a:gd name="T34" fmla="*/ 2147483647 w 15"/>
                    <a:gd name="T35" fmla="*/ 0 h 7"/>
                    <a:gd name="T36" fmla="*/ 2147483647 w 15"/>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7"/>
                    <a:gd name="T59" fmla="*/ 15 w 15"/>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7">
                      <a:moveTo>
                        <a:pt x="10" y="0"/>
                      </a:moveTo>
                      <a:lnTo>
                        <a:pt x="10" y="0"/>
                      </a:lnTo>
                      <a:lnTo>
                        <a:pt x="13" y="0"/>
                      </a:lnTo>
                      <a:lnTo>
                        <a:pt x="15" y="3"/>
                      </a:lnTo>
                      <a:lnTo>
                        <a:pt x="15" y="5"/>
                      </a:lnTo>
                      <a:lnTo>
                        <a:pt x="14" y="6"/>
                      </a:lnTo>
                      <a:lnTo>
                        <a:pt x="9" y="7"/>
                      </a:lnTo>
                      <a:lnTo>
                        <a:pt x="4" y="7"/>
                      </a:lnTo>
                      <a:lnTo>
                        <a:pt x="1" y="6"/>
                      </a:lnTo>
                      <a:lnTo>
                        <a:pt x="0" y="5"/>
                      </a:lnTo>
                      <a:lnTo>
                        <a:pt x="0" y="4"/>
                      </a:lnTo>
                      <a:lnTo>
                        <a:pt x="0" y="1"/>
                      </a:lnTo>
                      <a:lnTo>
                        <a:pt x="1" y="0"/>
                      </a:lnTo>
                      <a:lnTo>
                        <a:pt x="4" y="0"/>
                      </a:lnTo>
                      <a:lnTo>
                        <a:pt x="7" y="1"/>
                      </a:lnTo>
                      <a:lnTo>
                        <a:pt x="10"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29" name="Freeform 465"/>
                <p:cNvSpPr>
                  <a:spLocks/>
                </p:cNvSpPr>
                <p:nvPr/>
              </p:nvSpPr>
              <p:spPr bwMode="auto">
                <a:xfrm>
                  <a:off x="3967056" y="3458146"/>
                  <a:ext cx="7400" cy="8879"/>
                </a:xfrm>
                <a:custGeom>
                  <a:avLst/>
                  <a:gdLst>
                    <a:gd name="T0" fmla="*/ 2147483647 w 6"/>
                    <a:gd name="T1" fmla="*/ 2147483647 h 6"/>
                    <a:gd name="T2" fmla="*/ 0 w 6"/>
                    <a:gd name="T3" fmla="*/ 2147483647 h 6"/>
                    <a:gd name="T4" fmla="*/ 0 w 6"/>
                    <a:gd name="T5" fmla="*/ 0 h 6"/>
                    <a:gd name="T6" fmla="*/ 2147483647 w 6"/>
                    <a:gd name="T7" fmla="*/ 0 h 6"/>
                    <a:gd name="T8" fmla="*/ 2147483647 w 6"/>
                    <a:gd name="T9" fmla="*/ 2147483647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1" y="3"/>
                      </a:moveTo>
                      <a:lnTo>
                        <a:pt x="0" y="2"/>
                      </a:lnTo>
                      <a:lnTo>
                        <a:pt x="0" y="0"/>
                      </a:lnTo>
                      <a:lnTo>
                        <a:pt x="2" y="0"/>
                      </a:lnTo>
                      <a:lnTo>
                        <a:pt x="5" y="1"/>
                      </a:lnTo>
                      <a:lnTo>
                        <a:pt x="6" y="3"/>
                      </a:lnTo>
                      <a:lnTo>
                        <a:pt x="5" y="6"/>
                      </a:lnTo>
                      <a:lnTo>
                        <a:pt x="4" y="6"/>
                      </a:lnTo>
                      <a:lnTo>
                        <a:pt x="2" y="5"/>
                      </a:lnTo>
                      <a:lnTo>
                        <a:pt x="1"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0" name="Freeform 466"/>
                <p:cNvSpPr>
                  <a:spLocks/>
                </p:cNvSpPr>
                <p:nvPr/>
              </p:nvSpPr>
              <p:spPr bwMode="auto">
                <a:xfrm>
                  <a:off x="3947822" y="3461103"/>
                  <a:ext cx="7399" cy="10359"/>
                </a:xfrm>
                <a:custGeom>
                  <a:avLst/>
                  <a:gdLst>
                    <a:gd name="T0" fmla="*/ 0 w 6"/>
                    <a:gd name="T1" fmla="*/ 2147483647 h 7"/>
                    <a:gd name="T2" fmla="*/ 0 w 6"/>
                    <a:gd name="T3" fmla="*/ 2147483647 h 7"/>
                    <a:gd name="T4" fmla="*/ 0 w 6"/>
                    <a:gd name="T5" fmla="*/ 0 h 7"/>
                    <a:gd name="T6" fmla="*/ 2147483647 w 6"/>
                    <a:gd name="T7" fmla="*/ 0 h 7"/>
                    <a:gd name="T8" fmla="*/ 2147483647 w 6"/>
                    <a:gd name="T9" fmla="*/ 2147483647 h 7"/>
                    <a:gd name="T10" fmla="*/ 2147483647 w 6"/>
                    <a:gd name="T11" fmla="*/ 2147483647 h 7"/>
                    <a:gd name="T12" fmla="*/ 2147483647 w 6"/>
                    <a:gd name="T13" fmla="*/ 2147483647 h 7"/>
                    <a:gd name="T14" fmla="*/ 2147483647 w 6"/>
                    <a:gd name="T15" fmla="*/ 2147483647 h 7"/>
                    <a:gd name="T16" fmla="*/ 2147483647 w 6"/>
                    <a:gd name="T17" fmla="*/ 2147483647 h 7"/>
                    <a:gd name="T18" fmla="*/ 0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0" y="5"/>
                      </a:moveTo>
                      <a:lnTo>
                        <a:pt x="0" y="3"/>
                      </a:lnTo>
                      <a:lnTo>
                        <a:pt x="0" y="0"/>
                      </a:lnTo>
                      <a:lnTo>
                        <a:pt x="2" y="0"/>
                      </a:lnTo>
                      <a:lnTo>
                        <a:pt x="5" y="3"/>
                      </a:lnTo>
                      <a:lnTo>
                        <a:pt x="6" y="5"/>
                      </a:lnTo>
                      <a:lnTo>
                        <a:pt x="5" y="7"/>
                      </a:lnTo>
                      <a:lnTo>
                        <a:pt x="4" y="7"/>
                      </a:lnTo>
                      <a:lnTo>
                        <a:pt x="2" y="7"/>
                      </a:lnTo>
                      <a:lnTo>
                        <a:pt x="0"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1" name="Freeform 467"/>
                <p:cNvSpPr>
                  <a:spLocks/>
                </p:cNvSpPr>
                <p:nvPr/>
              </p:nvSpPr>
              <p:spPr bwMode="auto">
                <a:xfrm>
                  <a:off x="3965580" y="3456665"/>
                  <a:ext cx="7399" cy="8879"/>
                </a:xfrm>
                <a:custGeom>
                  <a:avLst/>
                  <a:gdLst>
                    <a:gd name="T0" fmla="*/ 2147483647 w 6"/>
                    <a:gd name="T1" fmla="*/ 2147483647 h 6"/>
                    <a:gd name="T2" fmla="*/ 2147483647 w 6"/>
                    <a:gd name="T3" fmla="*/ 2147483647 h 6"/>
                    <a:gd name="T4" fmla="*/ 0 w 6"/>
                    <a:gd name="T5" fmla="*/ 2147483647 h 6"/>
                    <a:gd name="T6" fmla="*/ 0 w 6"/>
                    <a:gd name="T7" fmla="*/ 0 h 6"/>
                    <a:gd name="T8" fmla="*/ 0 w 6"/>
                    <a:gd name="T9" fmla="*/ 0 h 6"/>
                    <a:gd name="T10" fmla="*/ 2147483647 w 6"/>
                    <a:gd name="T11" fmla="*/ 0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6"/>
                    <a:gd name="T44" fmla="*/ 6 w 6"/>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6">
                      <a:moveTo>
                        <a:pt x="1" y="3"/>
                      </a:moveTo>
                      <a:lnTo>
                        <a:pt x="1" y="3"/>
                      </a:lnTo>
                      <a:lnTo>
                        <a:pt x="0" y="2"/>
                      </a:lnTo>
                      <a:lnTo>
                        <a:pt x="0" y="0"/>
                      </a:lnTo>
                      <a:lnTo>
                        <a:pt x="2" y="0"/>
                      </a:lnTo>
                      <a:lnTo>
                        <a:pt x="5" y="1"/>
                      </a:lnTo>
                      <a:lnTo>
                        <a:pt x="6" y="3"/>
                      </a:lnTo>
                      <a:lnTo>
                        <a:pt x="5" y="6"/>
                      </a:lnTo>
                      <a:lnTo>
                        <a:pt x="3" y="6"/>
                      </a:lnTo>
                      <a:lnTo>
                        <a:pt x="2" y="4"/>
                      </a:lnTo>
                      <a:lnTo>
                        <a:pt x="1"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2" name="Freeform 468"/>
                <p:cNvSpPr>
                  <a:spLocks/>
                </p:cNvSpPr>
                <p:nvPr/>
              </p:nvSpPr>
              <p:spPr bwMode="auto">
                <a:xfrm>
                  <a:off x="3946338" y="3459625"/>
                  <a:ext cx="7400" cy="10360"/>
                </a:xfrm>
                <a:custGeom>
                  <a:avLst/>
                  <a:gdLst>
                    <a:gd name="T0" fmla="*/ 0 w 6"/>
                    <a:gd name="T1" fmla="*/ 2147483647 h 7"/>
                    <a:gd name="T2" fmla="*/ 0 w 6"/>
                    <a:gd name="T3" fmla="*/ 2147483647 h 7"/>
                    <a:gd name="T4" fmla="*/ 0 w 6"/>
                    <a:gd name="T5" fmla="*/ 2147483647 h 7"/>
                    <a:gd name="T6" fmla="*/ 0 w 6"/>
                    <a:gd name="T7" fmla="*/ 0 h 7"/>
                    <a:gd name="T8" fmla="*/ 0 w 6"/>
                    <a:gd name="T9" fmla="*/ 0 h 7"/>
                    <a:gd name="T10" fmla="*/ 2147483647 w 6"/>
                    <a:gd name="T11" fmla="*/ 0 h 7"/>
                    <a:gd name="T12" fmla="*/ 2147483647 w 6"/>
                    <a:gd name="T13" fmla="*/ 2147483647 h 7"/>
                    <a:gd name="T14" fmla="*/ 2147483647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0 w 6"/>
                    <a:gd name="T25" fmla="*/ 2147483647 h 7"/>
                    <a:gd name="T26" fmla="*/ 0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0" y="5"/>
                      </a:moveTo>
                      <a:lnTo>
                        <a:pt x="0" y="5"/>
                      </a:lnTo>
                      <a:lnTo>
                        <a:pt x="0" y="2"/>
                      </a:lnTo>
                      <a:lnTo>
                        <a:pt x="0" y="0"/>
                      </a:lnTo>
                      <a:lnTo>
                        <a:pt x="2" y="0"/>
                      </a:lnTo>
                      <a:lnTo>
                        <a:pt x="5" y="2"/>
                      </a:lnTo>
                      <a:lnTo>
                        <a:pt x="6" y="5"/>
                      </a:lnTo>
                      <a:lnTo>
                        <a:pt x="5" y="7"/>
                      </a:lnTo>
                      <a:lnTo>
                        <a:pt x="3" y="7"/>
                      </a:lnTo>
                      <a:lnTo>
                        <a:pt x="2" y="7"/>
                      </a:lnTo>
                      <a:lnTo>
                        <a:pt x="0"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3" name="Freeform 469"/>
                <p:cNvSpPr>
                  <a:spLocks/>
                </p:cNvSpPr>
                <p:nvPr/>
              </p:nvSpPr>
              <p:spPr bwMode="auto">
                <a:xfrm>
                  <a:off x="3928580" y="3467022"/>
                  <a:ext cx="19239" cy="11839"/>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0 w 14"/>
                    <a:gd name="T17" fmla="*/ 2147483647 h 8"/>
                    <a:gd name="T18" fmla="*/ 0 w 14"/>
                    <a:gd name="T19" fmla="*/ 2147483647 h 8"/>
                    <a:gd name="T20" fmla="*/ 2147483647 w 14"/>
                    <a:gd name="T21" fmla="*/ 0 h 8"/>
                    <a:gd name="T22" fmla="*/ 2147483647 w 14"/>
                    <a:gd name="T23" fmla="*/ 0 h 8"/>
                    <a:gd name="T24" fmla="*/ 2147483647 w 14"/>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8"/>
                    <a:gd name="T41" fmla="*/ 14 w 1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8">
                      <a:moveTo>
                        <a:pt x="9" y="1"/>
                      </a:moveTo>
                      <a:lnTo>
                        <a:pt x="11" y="2"/>
                      </a:lnTo>
                      <a:lnTo>
                        <a:pt x="14" y="5"/>
                      </a:lnTo>
                      <a:lnTo>
                        <a:pt x="14" y="6"/>
                      </a:lnTo>
                      <a:lnTo>
                        <a:pt x="13" y="8"/>
                      </a:lnTo>
                      <a:lnTo>
                        <a:pt x="9" y="8"/>
                      </a:lnTo>
                      <a:lnTo>
                        <a:pt x="4" y="7"/>
                      </a:lnTo>
                      <a:lnTo>
                        <a:pt x="1" y="5"/>
                      </a:lnTo>
                      <a:lnTo>
                        <a:pt x="0" y="2"/>
                      </a:lnTo>
                      <a:lnTo>
                        <a:pt x="0" y="1"/>
                      </a:lnTo>
                      <a:lnTo>
                        <a:pt x="1" y="0"/>
                      </a:lnTo>
                      <a:lnTo>
                        <a:pt x="4" y="0"/>
                      </a:lnTo>
                      <a:lnTo>
                        <a:pt x="9"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4" name="Freeform 470"/>
                <p:cNvSpPr>
                  <a:spLocks/>
                </p:cNvSpPr>
                <p:nvPr/>
              </p:nvSpPr>
              <p:spPr bwMode="auto">
                <a:xfrm>
                  <a:off x="4007013" y="4119645"/>
                  <a:ext cx="10359" cy="10360"/>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0 w 7"/>
                    <a:gd name="T9" fmla="*/ 2147483647 h 7"/>
                    <a:gd name="T10" fmla="*/ 0 w 7"/>
                    <a:gd name="T11" fmla="*/ 2147483647 h 7"/>
                    <a:gd name="T12" fmla="*/ 2147483647 w 7"/>
                    <a:gd name="T13" fmla="*/ 2147483647 h 7"/>
                    <a:gd name="T14" fmla="*/ 2147483647 w 7"/>
                    <a:gd name="T15" fmla="*/ 0 h 7"/>
                    <a:gd name="T16" fmla="*/ 2147483647 w 7"/>
                    <a:gd name="T17" fmla="*/ 2147483647 h 7"/>
                    <a:gd name="T18" fmla="*/ 2147483647 w 7"/>
                    <a:gd name="T19" fmla="*/ 2147483647 h 7"/>
                    <a:gd name="T20" fmla="*/ 2147483647 w 7"/>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7"/>
                    <a:gd name="T35" fmla="*/ 7 w 7"/>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7">
                      <a:moveTo>
                        <a:pt x="7" y="5"/>
                      </a:moveTo>
                      <a:lnTo>
                        <a:pt x="5" y="7"/>
                      </a:lnTo>
                      <a:lnTo>
                        <a:pt x="4" y="7"/>
                      </a:lnTo>
                      <a:lnTo>
                        <a:pt x="2" y="7"/>
                      </a:lnTo>
                      <a:lnTo>
                        <a:pt x="0" y="6"/>
                      </a:lnTo>
                      <a:lnTo>
                        <a:pt x="0" y="3"/>
                      </a:lnTo>
                      <a:lnTo>
                        <a:pt x="2" y="1"/>
                      </a:lnTo>
                      <a:lnTo>
                        <a:pt x="4" y="0"/>
                      </a:lnTo>
                      <a:lnTo>
                        <a:pt x="5" y="1"/>
                      </a:lnTo>
                      <a:lnTo>
                        <a:pt x="7" y="1"/>
                      </a:lnTo>
                      <a:lnTo>
                        <a:pt x="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5" name="Freeform 471"/>
                <p:cNvSpPr>
                  <a:spLocks/>
                </p:cNvSpPr>
                <p:nvPr/>
              </p:nvSpPr>
              <p:spPr bwMode="auto">
                <a:xfrm>
                  <a:off x="3927103" y="3465540"/>
                  <a:ext cx="19238" cy="11839"/>
                </a:xfrm>
                <a:custGeom>
                  <a:avLst/>
                  <a:gdLst>
                    <a:gd name="T0" fmla="*/ 2147483647 w 14"/>
                    <a:gd name="T1" fmla="*/ 2147483647 h 8"/>
                    <a:gd name="T2" fmla="*/ 2147483647 w 14"/>
                    <a:gd name="T3" fmla="*/ 2147483647 h 8"/>
                    <a:gd name="T4" fmla="*/ 2147483647 w 14"/>
                    <a:gd name="T5" fmla="*/ 2147483647 h 8"/>
                    <a:gd name="T6" fmla="*/ 2147483647 w 14"/>
                    <a:gd name="T7" fmla="*/ 2147483647 h 8"/>
                    <a:gd name="T8" fmla="*/ 2147483647 w 14"/>
                    <a:gd name="T9" fmla="*/ 2147483647 h 8"/>
                    <a:gd name="T10" fmla="*/ 2147483647 w 14"/>
                    <a:gd name="T11" fmla="*/ 2147483647 h 8"/>
                    <a:gd name="T12" fmla="*/ 2147483647 w 14"/>
                    <a:gd name="T13" fmla="*/ 2147483647 h 8"/>
                    <a:gd name="T14" fmla="*/ 2147483647 w 14"/>
                    <a:gd name="T15" fmla="*/ 2147483647 h 8"/>
                    <a:gd name="T16" fmla="*/ 2147483647 w 14"/>
                    <a:gd name="T17" fmla="*/ 2147483647 h 8"/>
                    <a:gd name="T18" fmla="*/ 2147483647 w 14"/>
                    <a:gd name="T19" fmla="*/ 2147483647 h 8"/>
                    <a:gd name="T20" fmla="*/ 0 w 14"/>
                    <a:gd name="T21" fmla="*/ 2147483647 h 8"/>
                    <a:gd name="T22" fmla="*/ 0 w 14"/>
                    <a:gd name="T23" fmla="*/ 2147483647 h 8"/>
                    <a:gd name="T24" fmla="*/ 0 w 14"/>
                    <a:gd name="T25" fmla="*/ 2147483647 h 8"/>
                    <a:gd name="T26" fmla="*/ 2147483647 w 14"/>
                    <a:gd name="T27" fmla="*/ 0 h 8"/>
                    <a:gd name="T28" fmla="*/ 2147483647 w 14"/>
                    <a:gd name="T29" fmla="*/ 0 h 8"/>
                    <a:gd name="T30" fmla="*/ 2147483647 w 14"/>
                    <a:gd name="T31" fmla="*/ 2147483647 h 8"/>
                    <a:gd name="T32" fmla="*/ 2147483647 w 14"/>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8"/>
                    <a:gd name="T53" fmla="*/ 14 w 1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8">
                      <a:moveTo>
                        <a:pt x="9" y="1"/>
                      </a:moveTo>
                      <a:lnTo>
                        <a:pt x="9" y="1"/>
                      </a:lnTo>
                      <a:lnTo>
                        <a:pt x="11" y="2"/>
                      </a:lnTo>
                      <a:lnTo>
                        <a:pt x="14" y="4"/>
                      </a:lnTo>
                      <a:lnTo>
                        <a:pt x="14" y="6"/>
                      </a:lnTo>
                      <a:lnTo>
                        <a:pt x="12" y="8"/>
                      </a:lnTo>
                      <a:lnTo>
                        <a:pt x="9" y="8"/>
                      </a:lnTo>
                      <a:lnTo>
                        <a:pt x="3" y="7"/>
                      </a:lnTo>
                      <a:lnTo>
                        <a:pt x="1" y="4"/>
                      </a:lnTo>
                      <a:lnTo>
                        <a:pt x="0" y="2"/>
                      </a:lnTo>
                      <a:lnTo>
                        <a:pt x="0" y="1"/>
                      </a:lnTo>
                      <a:lnTo>
                        <a:pt x="1" y="0"/>
                      </a:lnTo>
                      <a:lnTo>
                        <a:pt x="3" y="0"/>
                      </a:lnTo>
                      <a:lnTo>
                        <a:pt x="9"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6" name="Freeform 472"/>
                <p:cNvSpPr>
                  <a:spLocks/>
                </p:cNvSpPr>
                <p:nvPr/>
              </p:nvSpPr>
              <p:spPr bwMode="auto">
                <a:xfrm>
                  <a:off x="4005534" y="4118168"/>
                  <a:ext cx="8879"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4"/>
                      </a:moveTo>
                      <a:lnTo>
                        <a:pt x="6" y="4"/>
                      </a:lnTo>
                      <a:lnTo>
                        <a:pt x="5" y="7"/>
                      </a:lnTo>
                      <a:lnTo>
                        <a:pt x="4" y="7"/>
                      </a:lnTo>
                      <a:lnTo>
                        <a:pt x="1" y="7"/>
                      </a:lnTo>
                      <a:lnTo>
                        <a:pt x="0" y="6"/>
                      </a:lnTo>
                      <a:lnTo>
                        <a:pt x="0" y="3"/>
                      </a:lnTo>
                      <a:lnTo>
                        <a:pt x="1" y="1"/>
                      </a:lnTo>
                      <a:lnTo>
                        <a:pt x="4" y="0"/>
                      </a:lnTo>
                      <a:lnTo>
                        <a:pt x="5" y="1"/>
                      </a:lnTo>
                      <a:lnTo>
                        <a:pt x="6" y="1"/>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7" name="Freeform 473"/>
                <p:cNvSpPr>
                  <a:spLocks/>
                </p:cNvSpPr>
                <p:nvPr/>
              </p:nvSpPr>
              <p:spPr bwMode="auto">
                <a:xfrm>
                  <a:off x="4030693" y="4138887"/>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2147483647 w 7"/>
                    <a:gd name="T15" fmla="*/ 0 h 6"/>
                    <a:gd name="T16" fmla="*/ 2147483647 w 7"/>
                    <a:gd name="T17" fmla="*/ 0 h 6"/>
                    <a:gd name="T18" fmla="*/ 2147483647 w 7"/>
                    <a:gd name="T19" fmla="*/ 0 h 6"/>
                    <a:gd name="T20" fmla="*/ 2147483647 w 7"/>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6"/>
                    <a:gd name="T35" fmla="*/ 7 w 7"/>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6">
                      <a:moveTo>
                        <a:pt x="7" y="1"/>
                      </a:moveTo>
                      <a:lnTo>
                        <a:pt x="7" y="3"/>
                      </a:lnTo>
                      <a:lnTo>
                        <a:pt x="6" y="5"/>
                      </a:lnTo>
                      <a:lnTo>
                        <a:pt x="5" y="6"/>
                      </a:lnTo>
                      <a:lnTo>
                        <a:pt x="2" y="6"/>
                      </a:lnTo>
                      <a:lnTo>
                        <a:pt x="1" y="5"/>
                      </a:lnTo>
                      <a:lnTo>
                        <a:pt x="0" y="2"/>
                      </a:lnTo>
                      <a:lnTo>
                        <a:pt x="1" y="0"/>
                      </a:lnTo>
                      <a:lnTo>
                        <a:pt x="4" y="0"/>
                      </a:lnTo>
                      <a:lnTo>
                        <a:pt x="6" y="0"/>
                      </a:lnTo>
                      <a:lnTo>
                        <a:pt x="7"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8" name="Freeform 474"/>
                <p:cNvSpPr>
                  <a:spLocks/>
                </p:cNvSpPr>
                <p:nvPr/>
              </p:nvSpPr>
              <p:spPr bwMode="auto">
                <a:xfrm>
                  <a:off x="4063252" y="4131489"/>
                  <a:ext cx="7399" cy="8879"/>
                </a:xfrm>
                <a:custGeom>
                  <a:avLst/>
                  <a:gdLst>
                    <a:gd name="T0" fmla="*/ 2147483647 w 5"/>
                    <a:gd name="T1" fmla="*/ 2147483647 h 6"/>
                    <a:gd name="T2" fmla="*/ 0 w 5"/>
                    <a:gd name="T3" fmla="*/ 2147483647 h 6"/>
                    <a:gd name="T4" fmla="*/ 2147483647 w 5"/>
                    <a:gd name="T5" fmla="*/ 2147483647 h 6"/>
                    <a:gd name="T6" fmla="*/ 2147483647 w 5"/>
                    <a:gd name="T7" fmla="*/ 0 h 6"/>
                    <a:gd name="T8" fmla="*/ 2147483647 w 5"/>
                    <a:gd name="T9" fmla="*/ 0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1" y="4"/>
                      </a:moveTo>
                      <a:lnTo>
                        <a:pt x="0" y="1"/>
                      </a:lnTo>
                      <a:lnTo>
                        <a:pt x="1" y="1"/>
                      </a:lnTo>
                      <a:lnTo>
                        <a:pt x="1" y="0"/>
                      </a:lnTo>
                      <a:lnTo>
                        <a:pt x="4" y="0"/>
                      </a:lnTo>
                      <a:lnTo>
                        <a:pt x="5" y="3"/>
                      </a:lnTo>
                      <a:lnTo>
                        <a:pt x="5" y="4"/>
                      </a:lnTo>
                      <a:lnTo>
                        <a:pt x="4" y="5"/>
                      </a:lnTo>
                      <a:lnTo>
                        <a:pt x="3" y="6"/>
                      </a:lnTo>
                      <a:lnTo>
                        <a:pt x="1"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39" name="Freeform 475"/>
                <p:cNvSpPr>
                  <a:spLocks/>
                </p:cNvSpPr>
                <p:nvPr/>
              </p:nvSpPr>
              <p:spPr bwMode="auto">
                <a:xfrm>
                  <a:off x="4029213" y="4137406"/>
                  <a:ext cx="8879" cy="8879"/>
                </a:xfrm>
                <a:custGeom>
                  <a:avLst/>
                  <a:gdLst>
                    <a:gd name="T0" fmla="*/ 2147483647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2147483647 w 7"/>
                    <a:gd name="T15" fmla="*/ 2147483647 h 6"/>
                    <a:gd name="T16" fmla="*/ 0 w 7"/>
                    <a:gd name="T17" fmla="*/ 2147483647 h 6"/>
                    <a:gd name="T18" fmla="*/ 2147483647 w 7"/>
                    <a:gd name="T19" fmla="*/ 0 h 6"/>
                    <a:gd name="T20" fmla="*/ 2147483647 w 7"/>
                    <a:gd name="T21" fmla="*/ 0 h 6"/>
                    <a:gd name="T22" fmla="*/ 2147483647 w 7"/>
                    <a:gd name="T23" fmla="*/ 0 h 6"/>
                    <a:gd name="T24" fmla="*/ 2147483647 w 7"/>
                    <a:gd name="T25" fmla="*/ 0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7" y="1"/>
                      </a:moveTo>
                      <a:lnTo>
                        <a:pt x="7" y="1"/>
                      </a:lnTo>
                      <a:lnTo>
                        <a:pt x="7" y="3"/>
                      </a:lnTo>
                      <a:lnTo>
                        <a:pt x="6" y="4"/>
                      </a:lnTo>
                      <a:lnTo>
                        <a:pt x="5" y="6"/>
                      </a:lnTo>
                      <a:lnTo>
                        <a:pt x="2" y="6"/>
                      </a:lnTo>
                      <a:lnTo>
                        <a:pt x="1" y="4"/>
                      </a:lnTo>
                      <a:lnTo>
                        <a:pt x="0" y="2"/>
                      </a:lnTo>
                      <a:lnTo>
                        <a:pt x="1" y="0"/>
                      </a:lnTo>
                      <a:lnTo>
                        <a:pt x="3" y="0"/>
                      </a:lnTo>
                      <a:lnTo>
                        <a:pt x="6" y="0"/>
                      </a:lnTo>
                      <a:lnTo>
                        <a:pt x="7"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0" name="Freeform 476"/>
                <p:cNvSpPr>
                  <a:spLocks/>
                </p:cNvSpPr>
                <p:nvPr/>
              </p:nvSpPr>
              <p:spPr bwMode="auto">
                <a:xfrm>
                  <a:off x="4061768" y="4130008"/>
                  <a:ext cx="7400" cy="8879"/>
                </a:xfrm>
                <a:custGeom>
                  <a:avLst/>
                  <a:gdLst>
                    <a:gd name="T0" fmla="*/ 2147483647 w 5"/>
                    <a:gd name="T1" fmla="*/ 2147483647 h 6"/>
                    <a:gd name="T2" fmla="*/ 2147483647 w 5"/>
                    <a:gd name="T3" fmla="*/ 2147483647 h 6"/>
                    <a:gd name="T4" fmla="*/ 0 w 5"/>
                    <a:gd name="T5" fmla="*/ 2147483647 h 6"/>
                    <a:gd name="T6" fmla="*/ 2147483647 w 5"/>
                    <a:gd name="T7" fmla="*/ 2147483647 h 6"/>
                    <a:gd name="T8" fmla="*/ 2147483647 w 5"/>
                    <a:gd name="T9" fmla="*/ 0 h 6"/>
                    <a:gd name="T10" fmla="*/ 2147483647 w 5"/>
                    <a:gd name="T11" fmla="*/ 0 h 6"/>
                    <a:gd name="T12" fmla="*/ 2147483647 w 5"/>
                    <a:gd name="T13" fmla="*/ 0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1" y="4"/>
                      </a:moveTo>
                      <a:lnTo>
                        <a:pt x="1" y="4"/>
                      </a:lnTo>
                      <a:lnTo>
                        <a:pt x="0" y="1"/>
                      </a:lnTo>
                      <a:lnTo>
                        <a:pt x="1" y="1"/>
                      </a:lnTo>
                      <a:lnTo>
                        <a:pt x="1" y="0"/>
                      </a:lnTo>
                      <a:lnTo>
                        <a:pt x="4" y="0"/>
                      </a:lnTo>
                      <a:lnTo>
                        <a:pt x="5" y="2"/>
                      </a:lnTo>
                      <a:lnTo>
                        <a:pt x="5" y="4"/>
                      </a:lnTo>
                      <a:lnTo>
                        <a:pt x="4" y="5"/>
                      </a:lnTo>
                      <a:lnTo>
                        <a:pt x="2" y="6"/>
                      </a:lnTo>
                      <a:lnTo>
                        <a:pt x="1"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1" name="Freeform 477"/>
                <p:cNvSpPr>
                  <a:spLocks/>
                </p:cNvSpPr>
                <p:nvPr/>
              </p:nvSpPr>
              <p:spPr bwMode="auto">
                <a:xfrm>
                  <a:off x="4064731" y="4152205"/>
                  <a:ext cx="8879" cy="8879"/>
                </a:xfrm>
                <a:custGeom>
                  <a:avLst/>
                  <a:gdLst>
                    <a:gd name="T0" fmla="*/ 0 w 7"/>
                    <a:gd name="T1" fmla="*/ 2147483647 h 6"/>
                    <a:gd name="T2" fmla="*/ 2147483647 w 7"/>
                    <a:gd name="T3" fmla="*/ 0 h 6"/>
                    <a:gd name="T4" fmla="*/ 2147483647 w 7"/>
                    <a:gd name="T5" fmla="*/ 0 h 6"/>
                    <a:gd name="T6" fmla="*/ 2147483647 w 7"/>
                    <a:gd name="T7" fmla="*/ 2147483647 h 6"/>
                    <a:gd name="T8" fmla="*/ 2147483647 w 7"/>
                    <a:gd name="T9" fmla="*/ 2147483647 h 6"/>
                    <a:gd name="T10" fmla="*/ 2147483647 w 7"/>
                    <a:gd name="T11" fmla="*/ 2147483647 h 6"/>
                    <a:gd name="T12" fmla="*/ 2147483647 w 7"/>
                    <a:gd name="T13" fmla="*/ 2147483647 h 6"/>
                    <a:gd name="T14" fmla="*/ 0 w 7"/>
                    <a:gd name="T15" fmla="*/ 2147483647 h 6"/>
                    <a:gd name="T16" fmla="*/ 0 w 7"/>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0" y="2"/>
                      </a:moveTo>
                      <a:lnTo>
                        <a:pt x="3" y="0"/>
                      </a:lnTo>
                      <a:lnTo>
                        <a:pt x="5" y="0"/>
                      </a:lnTo>
                      <a:lnTo>
                        <a:pt x="7" y="2"/>
                      </a:lnTo>
                      <a:lnTo>
                        <a:pt x="7" y="4"/>
                      </a:lnTo>
                      <a:lnTo>
                        <a:pt x="4" y="6"/>
                      </a:lnTo>
                      <a:lnTo>
                        <a:pt x="2" y="6"/>
                      </a:lnTo>
                      <a:lnTo>
                        <a:pt x="0" y="4"/>
                      </a:lnTo>
                      <a:lnTo>
                        <a:pt x="0"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2" name="Freeform 478"/>
                <p:cNvSpPr>
                  <a:spLocks/>
                </p:cNvSpPr>
                <p:nvPr/>
              </p:nvSpPr>
              <p:spPr bwMode="auto">
                <a:xfrm>
                  <a:off x="4048451" y="4183280"/>
                  <a:ext cx="8879" cy="13319"/>
                </a:xfrm>
                <a:custGeom>
                  <a:avLst/>
                  <a:gdLst>
                    <a:gd name="T0" fmla="*/ 0 w 7"/>
                    <a:gd name="T1" fmla="*/ 2147483647 h 9"/>
                    <a:gd name="T2" fmla="*/ 0 w 7"/>
                    <a:gd name="T3" fmla="*/ 0 h 9"/>
                    <a:gd name="T4" fmla="*/ 2147483647 w 7"/>
                    <a:gd name="T5" fmla="*/ 0 h 9"/>
                    <a:gd name="T6" fmla="*/ 2147483647 w 7"/>
                    <a:gd name="T7" fmla="*/ 0 h 9"/>
                    <a:gd name="T8" fmla="*/ 2147483647 w 7"/>
                    <a:gd name="T9" fmla="*/ 2147483647 h 9"/>
                    <a:gd name="T10" fmla="*/ 2147483647 w 7"/>
                    <a:gd name="T11" fmla="*/ 2147483647 h 9"/>
                    <a:gd name="T12" fmla="*/ 2147483647 w 7"/>
                    <a:gd name="T13" fmla="*/ 2147483647 h 9"/>
                    <a:gd name="T14" fmla="*/ 2147483647 w 7"/>
                    <a:gd name="T15" fmla="*/ 2147483647 h 9"/>
                    <a:gd name="T16" fmla="*/ 2147483647 w 7"/>
                    <a:gd name="T17" fmla="*/ 2147483647 h 9"/>
                    <a:gd name="T18" fmla="*/ 0 w 7"/>
                    <a:gd name="T19" fmla="*/ 2147483647 h 9"/>
                    <a:gd name="T20" fmla="*/ 0 w 7"/>
                    <a:gd name="T21" fmla="*/ 2147483647 h 9"/>
                    <a:gd name="T22" fmla="*/ 0 w 7"/>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9"/>
                    <a:gd name="T38" fmla="*/ 7 w 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9">
                      <a:moveTo>
                        <a:pt x="0" y="2"/>
                      </a:moveTo>
                      <a:lnTo>
                        <a:pt x="0" y="0"/>
                      </a:lnTo>
                      <a:lnTo>
                        <a:pt x="1" y="0"/>
                      </a:lnTo>
                      <a:lnTo>
                        <a:pt x="3" y="0"/>
                      </a:lnTo>
                      <a:lnTo>
                        <a:pt x="6" y="2"/>
                      </a:lnTo>
                      <a:lnTo>
                        <a:pt x="7" y="5"/>
                      </a:lnTo>
                      <a:lnTo>
                        <a:pt x="6" y="7"/>
                      </a:lnTo>
                      <a:lnTo>
                        <a:pt x="5" y="8"/>
                      </a:lnTo>
                      <a:lnTo>
                        <a:pt x="2" y="9"/>
                      </a:lnTo>
                      <a:lnTo>
                        <a:pt x="0" y="8"/>
                      </a:lnTo>
                      <a:lnTo>
                        <a:pt x="0" y="5"/>
                      </a:lnTo>
                      <a:lnTo>
                        <a:pt x="0"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3" name="Freeform 479"/>
                <p:cNvSpPr>
                  <a:spLocks/>
                </p:cNvSpPr>
                <p:nvPr/>
              </p:nvSpPr>
              <p:spPr bwMode="auto">
                <a:xfrm>
                  <a:off x="4063250" y="4150726"/>
                  <a:ext cx="8879" cy="8879"/>
                </a:xfrm>
                <a:custGeom>
                  <a:avLst/>
                  <a:gdLst>
                    <a:gd name="T0" fmla="*/ 0 w 6"/>
                    <a:gd name="T1" fmla="*/ 2147483647 h 6"/>
                    <a:gd name="T2" fmla="*/ 0 w 6"/>
                    <a:gd name="T3" fmla="*/ 2147483647 h 6"/>
                    <a:gd name="T4" fmla="*/ 2147483647 w 6"/>
                    <a:gd name="T5" fmla="*/ 0 h 6"/>
                    <a:gd name="T6" fmla="*/ 2147483647 w 6"/>
                    <a:gd name="T7" fmla="*/ 0 h 6"/>
                    <a:gd name="T8" fmla="*/ 2147483647 w 6"/>
                    <a:gd name="T9" fmla="*/ 0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0 w 6"/>
                    <a:gd name="T21" fmla="*/ 2147483647 h 6"/>
                    <a:gd name="T22" fmla="*/ 0 w 6"/>
                    <a:gd name="T23" fmla="*/ 2147483647 h 6"/>
                    <a:gd name="T24" fmla="*/ 0 w 6"/>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6"/>
                    <a:gd name="T41" fmla="*/ 6 w 6"/>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6">
                      <a:moveTo>
                        <a:pt x="0" y="1"/>
                      </a:moveTo>
                      <a:lnTo>
                        <a:pt x="0" y="1"/>
                      </a:lnTo>
                      <a:lnTo>
                        <a:pt x="3" y="0"/>
                      </a:lnTo>
                      <a:lnTo>
                        <a:pt x="5" y="0"/>
                      </a:lnTo>
                      <a:lnTo>
                        <a:pt x="6" y="1"/>
                      </a:lnTo>
                      <a:lnTo>
                        <a:pt x="6" y="4"/>
                      </a:lnTo>
                      <a:lnTo>
                        <a:pt x="4" y="6"/>
                      </a:lnTo>
                      <a:lnTo>
                        <a:pt x="1" y="6"/>
                      </a:lnTo>
                      <a:lnTo>
                        <a:pt x="0" y="4"/>
                      </a:lnTo>
                      <a:lnTo>
                        <a:pt x="0"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4" name="Freeform 480"/>
                <p:cNvSpPr>
                  <a:spLocks/>
                </p:cNvSpPr>
                <p:nvPr/>
              </p:nvSpPr>
              <p:spPr bwMode="auto">
                <a:xfrm>
                  <a:off x="4045490" y="4180323"/>
                  <a:ext cx="10359" cy="14799"/>
                </a:xfrm>
                <a:custGeom>
                  <a:avLst/>
                  <a:gdLst>
                    <a:gd name="T0" fmla="*/ 0 w 8"/>
                    <a:gd name="T1" fmla="*/ 2147483647 h 10"/>
                    <a:gd name="T2" fmla="*/ 0 w 8"/>
                    <a:gd name="T3" fmla="*/ 2147483647 h 10"/>
                    <a:gd name="T4" fmla="*/ 0 w 8"/>
                    <a:gd name="T5" fmla="*/ 0 h 10"/>
                    <a:gd name="T6" fmla="*/ 0 w 8"/>
                    <a:gd name="T7" fmla="*/ 0 h 10"/>
                    <a:gd name="T8" fmla="*/ 2147483647 w 8"/>
                    <a:gd name="T9" fmla="*/ 0 h 10"/>
                    <a:gd name="T10" fmla="*/ 2147483647 w 8"/>
                    <a:gd name="T11" fmla="*/ 0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0 w 8"/>
                    <a:gd name="T25" fmla="*/ 2147483647 h 10"/>
                    <a:gd name="T26" fmla="*/ 0 w 8"/>
                    <a:gd name="T27" fmla="*/ 2147483647 h 10"/>
                    <a:gd name="T28" fmla="*/ 0 w 8"/>
                    <a:gd name="T29" fmla="*/ 2147483647 h 10"/>
                    <a:gd name="T30" fmla="*/ 0 w 8"/>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10"/>
                    <a:gd name="T50" fmla="*/ 8 w 8"/>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10">
                      <a:moveTo>
                        <a:pt x="0" y="3"/>
                      </a:moveTo>
                      <a:lnTo>
                        <a:pt x="0" y="3"/>
                      </a:lnTo>
                      <a:lnTo>
                        <a:pt x="0" y="0"/>
                      </a:lnTo>
                      <a:lnTo>
                        <a:pt x="2" y="0"/>
                      </a:lnTo>
                      <a:lnTo>
                        <a:pt x="4" y="0"/>
                      </a:lnTo>
                      <a:lnTo>
                        <a:pt x="7" y="3"/>
                      </a:lnTo>
                      <a:lnTo>
                        <a:pt x="8" y="6"/>
                      </a:lnTo>
                      <a:lnTo>
                        <a:pt x="7" y="7"/>
                      </a:lnTo>
                      <a:lnTo>
                        <a:pt x="5" y="9"/>
                      </a:lnTo>
                      <a:lnTo>
                        <a:pt x="3" y="10"/>
                      </a:lnTo>
                      <a:lnTo>
                        <a:pt x="0" y="9"/>
                      </a:lnTo>
                      <a:lnTo>
                        <a:pt x="0" y="6"/>
                      </a:lnTo>
                      <a:lnTo>
                        <a:pt x="0"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5" name="Freeform 481"/>
                <p:cNvSpPr>
                  <a:spLocks/>
                </p:cNvSpPr>
                <p:nvPr/>
              </p:nvSpPr>
              <p:spPr bwMode="auto">
                <a:xfrm>
                  <a:off x="4029211" y="4193639"/>
                  <a:ext cx="7400"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0 w 5"/>
                    <a:gd name="T9" fmla="*/ 2147483647 h 8"/>
                    <a:gd name="T10" fmla="*/ 2147483647 w 5"/>
                    <a:gd name="T11" fmla="*/ 2147483647 h 8"/>
                    <a:gd name="T12" fmla="*/ 2147483647 w 5"/>
                    <a:gd name="T13" fmla="*/ 0 h 8"/>
                    <a:gd name="T14" fmla="*/ 2147483647 w 5"/>
                    <a:gd name="T15" fmla="*/ 0 h 8"/>
                    <a:gd name="T16" fmla="*/ 2147483647 w 5"/>
                    <a:gd name="T17" fmla="*/ 2147483647 h 8"/>
                    <a:gd name="T18" fmla="*/ 2147483647 w 5"/>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8"/>
                    <a:gd name="T32" fmla="*/ 5 w 5"/>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8">
                      <a:moveTo>
                        <a:pt x="5" y="6"/>
                      </a:moveTo>
                      <a:lnTo>
                        <a:pt x="3" y="8"/>
                      </a:lnTo>
                      <a:lnTo>
                        <a:pt x="2" y="8"/>
                      </a:lnTo>
                      <a:lnTo>
                        <a:pt x="1" y="7"/>
                      </a:lnTo>
                      <a:lnTo>
                        <a:pt x="0" y="3"/>
                      </a:lnTo>
                      <a:lnTo>
                        <a:pt x="1" y="1"/>
                      </a:lnTo>
                      <a:lnTo>
                        <a:pt x="2" y="0"/>
                      </a:lnTo>
                      <a:lnTo>
                        <a:pt x="5" y="0"/>
                      </a:lnTo>
                      <a:lnTo>
                        <a:pt x="5" y="1"/>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6" name="Freeform 483"/>
                <p:cNvSpPr>
                  <a:spLocks/>
                </p:cNvSpPr>
                <p:nvPr/>
              </p:nvSpPr>
              <p:spPr bwMode="auto">
                <a:xfrm>
                  <a:off x="4026251" y="4190680"/>
                  <a:ext cx="7400" cy="13319"/>
                </a:xfrm>
                <a:custGeom>
                  <a:avLst/>
                  <a:gdLst>
                    <a:gd name="T0" fmla="*/ 2147483647 w 5"/>
                    <a:gd name="T1" fmla="*/ 2147483647 h 9"/>
                    <a:gd name="T2" fmla="*/ 2147483647 w 5"/>
                    <a:gd name="T3" fmla="*/ 2147483647 h 9"/>
                    <a:gd name="T4" fmla="*/ 2147483647 w 5"/>
                    <a:gd name="T5" fmla="*/ 2147483647 h 9"/>
                    <a:gd name="T6" fmla="*/ 2147483647 w 5"/>
                    <a:gd name="T7" fmla="*/ 2147483647 h 9"/>
                    <a:gd name="T8" fmla="*/ 2147483647 w 5"/>
                    <a:gd name="T9" fmla="*/ 2147483647 h 9"/>
                    <a:gd name="T10" fmla="*/ 2147483647 w 5"/>
                    <a:gd name="T11" fmla="*/ 2147483647 h 9"/>
                    <a:gd name="T12" fmla="*/ 0 w 5"/>
                    <a:gd name="T13" fmla="*/ 2147483647 h 9"/>
                    <a:gd name="T14" fmla="*/ 2147483647 w 5"/>
                    <a:gd name="T15" fmla="*/ 2147483647 h 9"/>
                    <a:gd name="T16" fmla="*/ 2147483647 w 5"/>
                    <a:gd name="T17" fmla="*/ 0 h 9"/>
                    <a:gd name="T18" fmla="*/ 2147483647 w 5"/>
                    <a:gd name="T19" fmla="*/ 0 h 9"/>
                    <a:gd name="T20" fmla="*/ 2147483647 w 5"/>
                    <a:gd name="T21" fmla="*/ 0 h 9"/>
                    <a:gd name="T22" fmla="*/ 2147483647 w 5"/>
                    <a:gd name="T23" fmla="*/ 2147483647 h 9"/>
                    <a:gd name="T24" fmla="*/ 2147483647 w 5"/>
                    <a:gd name="T25" fmla="*/ 2147483647 h 9"/>
                    <a:gd name="T26" fmla="*/ 2147483647 w 5"/>
                    <a:gd name="T27" fmla="*/ 2147483647 h 9"/>
                    <a:gd name="T28" fmla="*/ 2147483647 w 5"/>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
                    <a:gd name="T46" fmla="*/ 0 h 9"/>
                    <a:gd name="T47" fmla="*/ 5 w 5"/>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 h="9">
                      <a:moveTo>
                        <a:pt x="5" y="6"/>
                      </a:moveTo>
                      <a:lnTo>
                        <a:pt x="5" y="6"/>
                      </a:lnTo>
                      <a:lnTo>
                        <a:pt x="4" y="9"/>
                      </a:lnTo>
                      <a:lnTo>
                        <a:pt x="3" y="9"/>
                      </a:lnTo>
                      <a:lnTo>
                        <a:pt x="2" y="8"/>
                      </a:lnTo>
                      <a:lnTo>
                        <a:pt x="0" y="4"/>
                      </a:lnTo>
                      <a:lnTo>
                        <a:pt x="2" y="2"/>
                      </a:lnTo>
                      <a:lnTo>
                        <a:pt x="3" y="0"/>
                      </a:lnTo>
                      <a:lnTo>
                        <a:pt x="5" y="0"/>
                      </a:lnTo>
                      <a:lnTo>
                        <a:pt x="5" y="2"/>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7" name="Freeform 501"/>
                <p:cNvSpPr>
                  <a:spLocks/>
                </p:cNvSpPr>
                <p:nvPr/>
              </p:nvSpPr>
              <p:spPr bwMode="auto">
                <a:xfrm>
                  <a:off x="4267471" y="4864020"/>
                  <a:ext cx="10359" cy="11839"/>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0 w 8"/>
                    <a:gd name="T9" fmla="*/ 2147483647 h 8"/>
                    <a:gd name="T10" fmla="*/ 2147483647 w 8"/>
                    <a:gd name="T11" fmla="*/ 2147483647 h 8"/>
                    <a:gd name="T12" fmla="*/ 2147483647 w 8"/>
                    <a:gd name="T13" fmla="*/ 0 h 8"/>
                    <a:gd name="T14" fmla="*/ 2147483647 w 8"/>
                    <a:gd name="T15" fmla="*/ 0 h 8"/>
                    <a:gd name="T16" fmla="*/ 2147483647 w 8"/>
                    <a:gd name="T17" fmla="*/ 0 h 8"/>
                    <a:gd name="T18" fmla="*/ 2147483647 w 8"/>
                    <a:gd name="T19" fmla="*/ 2147483647 h 8"/>
                    <a:gd name="T20" fmla="*/ 2147483647 w 8"/>
                    <a:gd name="T21" fmla="*/ 2147483647 h 8"/>
                    <a:gd name="T22" fmla="*/ 2147483647 w 8"/>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7"/>
                      </a:moveTo>
                      <a:lnTo>
                        <a:pt x="3" y="8"/>
                      </a:lnTo>
                      <a:lnTo>
                        <a:pt x="2" y="8"/>
                      </a:lnTo>
                      <a:lnTo>
                        <a:pt x="1" y="7"/>
                      </a:lnTo>
                      <a:lnTo>
                        <a:pt x="0" y="5"/>
                      </a:lnTo>
                      <a:lnTo>
                        <a:pt x="1" y="3"/>
                      </a:lnTo>
                      <a:lnTo>
                        <a:pt x="5" y="0"/>
                      </a:lnTo>
                      <a:lnTo>
                        <a:pt x="6" y="0"/>
                      </a:lnTo>
                      <a:lnTo>
                        <a:pt x="7" y="0"/>
                      </a:lnTo>
                      <a:lnTo>
                        <a:pt x="8" y="3"/>
                      </a:lnTo>
                      <a:lnTo>
                        <a:pt x="8" y="5"/>
                      </a:lnTo>
                      <a:lnTo>
                        <a:pt x="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8" name="Freeform 502"/>
                <p:cNvSpPr>
                  <a:spLocks/>
                </p:cNvSpPr>
                <p:nvPr/>
              </p:nvSpPr>
              <p:spPr bwMode="auto">
                <a:xfrm>
                  <a:off x="4476133" y="5091921"/>
                  <a:ext cx="11839" cy="11839"/>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0 w 9"/>
                    <a:gd name="T13" fmla="*/ 2147483647 h 8"/>
                    <a:gd name="T14" fmla="*/ 2147483647 w 9"/>
                    <a:gd name="T15" fmla="*/ 2147483647 h 8"/>
                    <a:gd name="T16" fmla="*/ 2147483647 w 9"/>
                    <a:gd name="T17" fmla="*/ 0 h 8"/>
                    <a:gd name="T18" fmla="*/ 2147483647 w 9"/>
                    <a:gd name="T19" fmla="*/ 0 h 8"/>
                    <a:gd name="T20" fmla="*/ 2147483647 w 9"/>
                    <a:gd name="T21" fmla="*/ 2147483647 h 8"/>
                    <a:gd name="T22" fmla="*/ 2147483647 w 9"/>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9" y="3"/>
                      </a:moveTo>
                      <a:lnTo>
                        <a:pt x="9" y="6"/>
                      </a:lnTo>
                      <a:lnTo>
                        <a:pt x="9" y="7"/>
                      </a:lnTo>
                      <a:lnTo>
                        <a:pt x="7" y="8"/>
                      </a:lnTo>
                      <a:lnTo>
                        <a:pt x="4" y="8"/>
                      </a:lnTo>
                      <a:lnTo>
                        <a:pt x="1" y="7"/>
                      </a:lnTo>
                      <a:lnTo>
                        <a:pt x="0" y="4"/>
                      </a:lnTo>
                      <a:lnTo>
                        <a:pt x="1" y="1"/>
                      </a:lnTo>
                      <a:lnTo>
                        <a:pt x="3" y="0"/>
                      </a:lnTo>
                      <a:lnTo>
                        <a:pt x="4" y="0"/>
                      </a:lnTo>
                      <a:lnTo>
                        <a:pt x="7" y="1"/>
                      </a:lnTo>
                      <a:lnTo>
                        <a:pt x="9"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49" name="Freeform 503"/>
                <p:cNvSpPr>
                  <a:spLocks/>
                </p:cNvSpPr>
                <p:nvPr/>
              </p:nvSpPr>
              <p:spPr bwMode="auto">
                <a:xfrm>
                  <a:off x="4264512" y="4861061"/>
                  <a:ext cx="11839" cy="13319"/>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0 w 9"/>
                    <a:gd name="T13" fmla="*/ 2147483647 h 9"/>
                    <a:gd name="T14" fmla="*/ 2147483647 w 9"/>
                    <a:gd name="T15" fmla="*/ 2147483647 h 9"/>
                    <a:gd name="T16" fmla="*/ 2147483647 w 9"/>
                    <a:gd name="T17" fmla="*/ 0 h 9"/>
                    <a:gd name="T18" fmla="*/ 2147483647 w 9"/>
                    <a:gd name="T19" fmla="*/ 0 h 9"/>
                    <a:gd name="T20" fmla="*/ 2147483647 w 9"/>
                    <a:gd name="T21" fmla="*/ 0 h 9"/>
                    <a:gd name="T22" fmla="*/ 2147483647 w 9"/>
                    <a:gd name="T23" fmla="*/ 0 h 9"/>
                    <a:gd name="T24" fmla="*/ 2147483647 w 9"/>
                    <a:gd name="T25" fmla="*/ 2147483647 h 9"/>
                    <a:gd name="T26" fmla="*/ 2147483647 w 9"/>
                    <a:gd name="T27" fmla="*/ 2147483647 h 9"/>
                    <a:gd name="T28" fmla="*/ 2147483647 w 9"/>
                    <a:gd name="T29" fmla="*/ 2147483647 h 9"/>
                    <a:gd name="T30" fmla="*/ 2147483647 w 9"/>
                    <a:gd name="T31" fmla="*/ 2147483647 h 9"/>
                    <a:gd name="T32" fmla="*/ 2147483647 w 9"/>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9"/>
                    <a:gd name="T53" fmla="*/ 9 w 9"/>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9">
                      <a:moveTo>
                        <a:pt x="7" y="7"/>
                      </a:moveTo>
                      <a:lnTo>
                        <a:pt x="7" y="7"/>
                      </a:lnTo>
                      <a:lnTo>
                        <a:pt x="4" y="9"/>
                      </a:lnTo>
                      <a:lnTo>
                        <a:pt x="3" y="9"/>
                      </a:lnTo>
                      <a:lnTo>
                        <a:pt x="2" y="7"/>
                      </a:lnTo>
                      <a:lnTo>
                        <a:pt x="0" y="6"/>
                      </a:lnTo>
                      <a:lnTo>
                        <a:pt x="2" y="4"/>
                      </a:lnTo>
                      <a:lnTo>
                        <a:pt x="5" y="0"/>
                      </a:lnTo>
                      <a:lnTo>
                        <a:pt x="7" y="0"/>
                      </a:lnTo>
                      <a:lnTo>
                        <a:pt x="8" y="0"/>
                      </a:lnTo>
                      <a:lnTo>
                        <a:pt x="9" y="4"/>
                      </a:lnTo>
                      <a:lnTo>
                        <a:pt x="9" y="6"/>
                      </a:lnTo>
                      <a:lnTo>
                        <a:pt x="7"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0" name="Freeform 504"/>
                <p:cNvSpPr>
                  <a:spLocks/>
                </p:cNvSpPr>
                <p:nvPr/>
              </p:nvSpPr>
              <p:spPr bwMode="auto">
                <a:xfrm>
                  <a:off x="4474653" y="5088965"/>
                  <a:ext cx="11839" cy="13319"/>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0 w 9"/>
                    <a:gd name="T17" fmla="*/ 2147483647 h 9"/>
                    <a:gd name="T18" fmla="*/ 0 w 9"/>
                    <a:gd name="T19" fmla="*/ 2147483647 h 9"/>
                    <a:gd name="T20" fmla="*/ 2147483647 w 9"/>
                    <a:gd name="T21" fmla="*/ 2147483647 h 9"/>
                    <a:gd name="T22" fmla="*/ 2147483647 w 9"/>
                    <a:gd name="T23" fmla="*/ 0 h 9"/>
                    <a:gd name="T24" fmla="*/ 2147483647 w 9"/>
                    <a:gd name="T25" fmla="*/ 0 h 9"/>
                    <a:gd name="T26" fmla="*/ 2147483647 w 9"/>
                    <a:gd name="T27" fmla="*/ 0 h 9"/>
                    <a:gd name="T28" fmla="*/ 2147483647 w 9"/>
                    <a:gd name="T29" fmla="*/ 2147483647 h 9"/>
                    <a:gd name="T30" fmla="*/ 2147483647 w 9"/>
                    <a:gd name="T31" fmla="*/ 2147483647 h 9"/>
                    <a:gd name="T32" fmla="*/ 2147483647 w 9"/>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9"/>
                    <a:gd name="T53" fmla="*/ 9 w 9"/>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9">
                      <a:moveTo>
                        <a:pt x="9" y="4"/>
                      </a:moveTo>
                      <a:lnTo>
                        <a:pt x="9" y="4"/>
                      </a:lnTo>
                      <a:lnTo>
                        <a:pt x="9" y="6"/>
                      </a:lnTo>
                      <a:lnTo>
                        <a:pt x="9" y="8"/>
                      </a:lnTo>
                      <a:lnTo>
                        <a:pt x="6" y="9"/>
                      </a:lnTo>
                      <a:lnTo>
                        <a:pt x="4" y="9"/>
                      </a:lnTo>
                      <a:lnTo>
                        <a:pt x="1" y="8"/>
                      </a:lnTo>
                      <a:lnTo>
                        <a:pt x="0" y="5"/>
                      </a:lnTo>
                      <a:lnTo>
                        <a:pt x="1" y="2"/>
                      </a:lnTo>
                      <a:lnTo>
                        <a:pt x="2" y="0"/>
                      </a:lnTo>
                      <a:lnTo>
                        <a:pt x="4" y="0"/>
                      </a:lnTo>
                      <a:lnTo>
                        <a:pt x="6" y="2"/>
                      </a:lnTo>
                      <a:lnTo>
                        <a:pt x="9"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1" name="Freeform 505"/>
                <p:cNvSpPr>
                  <a:spLocks/>
                </p:cNvSpPr>
                <p:nvPr/>
              </p:nvSpPr>
              <p:spPr bwMode="auto">
                <a:xfrm>
                  <a:off x="4311871" y="5768222"/>
                  <a:ext cx="7399" cy="10360"/>
                </a:xfrm>
                <a:custGeom>
                  <a:avLst/>
                  <a:gdLst>
                    <a:gd name="T0" fmla="*/ 0 w 5"/>
                    <a:gd name="T1" fmla="*/ 2147483647 h 7"/>
                    <a:gd name="T2" fmla="*/ 0 w 5"/>
                    <a:gd name="T3" fmla="*/ 2147483647 h 7"/>
                    <a:gd name="T4" fmla="*/ 2147483647 w 5"/>
                    <a:gd name="T5" fmla="*/ 0 h 7"/>
                    <a:gd name="T6" fmla="*/ 2147483647 w 5"/>
                    <a:gd name="T7" fmla="*/ 0 h 7"/>
                    <a:gd name="T8" fmla="*/ 2147483647 w 5"/>
                    <a:gd name="T9" fmla="*/ 2147483647 h 7"/>
                    <a:gd name="T10" fmla="*/ 2147483647 w 5"/>
                    <a:gd name="T11" fmla="*/ 2147483647 h 7"/>
                    <a:gd name="T12" fmla="*/ 2147483647 w 5"/>
                    <a:gd name="T13" fmla="*/ 2147483647 h 7"/>
                    <a:gd name="T14" fmla="*/ 2147483647 w 5"/>
                    <a:gd name="T15" fmla="*/ 2147483647 h 7"/>
                    <a:gd name="T16" fmla="*/ 0 w 5"/>
                    <a:gd name="T17" fmla="*/ 2147483647 h 7"/>
                    <a:gd name="T18" fmla="*/ 0 w 5"/>
                    <a:gd name="T19" fmla="*/ 2147483647 h 7"/>
                    <a:gd name="T20" fmla="*/ 0 w 5"/>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0" y="3"/>
                      </a:moveTo>
                      <a:lnTo>
                        <a:pt x="0" y="1"/>
                      </a:lnTo>
                      <a:lnTo>
                        <a:pt x="2" y="0"/>
                      </a:lnTo>
                      <a:lnTo>
                        <a:pt x="3" y="0"/>
                      </a:lnTo>
                      <a:lnTo>
                        <a:pt x="5" y="1"/>
                      </a:lnTo>
                      <a:lnTo>
                        <a:pt x="5" y="5"/>
                      </a:lnTo>
                      <a:lnTo>
                        <a:pt x="5" y="6"/>
                      </a:lnTo>
                      <a:lnTo>
                        <a:pt x="3" y="7"/>
                      </a:lnTo>
                      <a:lnTo>
                        <a:pt x="0" y="7"/>
                      </a:lnTo>
                      <a:lnTo>
                        <a:pt x="0" y="5"/>
                      </a:lnTo>
                      <a:lnTo>
                        <a:pt x="0"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2" name="Freeform 507"/>
                <p:cNvSpPr>
                  <a:spLocks/>
                </p:cNvSpPr>
                <p:nvPr/>
              </p:nvSpPr>
              <p:spPr bwMode="auto">
                <a:xfrm>
                  <a:off x="4308911" y="5766745"/>
                  <a:ext cx="7399" cy="10359"/>
                </a:xfrm>
                <a:custGeom>
                  <a:avLst/>
                  <a:gdLst>
                    <a:gd name="T0" fmla="*/ 0 w 5"/>
                    <a:gd name="T1" fmla="*/ 2147483647 h 7"/>
                    <a:gd name="T2" fmla="*/ 0 w 5"/>
                    <a:gd name="T3" fmla="*/ 2147483647 h 7"/>
                    <a:gd name="T4" fmla="*/ 0 w 5"/>
                    <a:gd name="T5" fmla="*/ 2147483647 h 7"/>
                    <a:gd name="T6" fmla="*/ 2147483647 w 5"/>
                    <a:gd name="T7" fmla="*/ 0 h 7"/>
                    <a:gd name="T8" fmla="*/ 2147483647 w 5"/>
                    <a:gd name="T9" fmla="*/ 0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0 w 5"/>
                    <a:gd name="T23" fmla="*/ 2147483647 h 7"/>
                    <a:gd name="T24" fmla="*/ 0 w 5"/>
                    <a:gd name="T25" fmla="*/ 2147483647 h 7"/>
                    <a:gd name="T26" fmla="*/ 0 w 5"/>
                    <a:gd name="T27" fmla="*/ 2147483647 h 7"/>
                    <a:gd name="T28" fmla="*/ 0 w 5"/>
                    <a:gd name="T29" fmla="*/ 2147483647 h 7"/>
                    <a:gd name="T30" fmla="*/ 0 w 5"/>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7"/>
                    <a:gd name="T50" fmla="*/ 5 w 5"/>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7">
                      <a:moveTo>
                        <a:pt x="0" y="2"/>
                      </a:moveTo>
                      <a:lnTo>
                        <a:pt x="0" y="2"/>
                      </a:lnTo>
                      <a:lnTo>
                        <a:pt x="0" y="1"/>
                      </a:lnTo>
                      <a:lnTo>
                        <a:pt x="3" y="0"/>
                      </a:lnTo>
                      <a:lnTo>
                        <a:pt x="4" y="0"/>
                      </a:lnTo>
                      <a:lnTo>
                        <a:pt x="5" y="1"/>
                      </a:lnTo>
                      <a:lnTo>
                        <a:pt x="5" y="5"/>
                      </a:lnTo>
                      <a:lnTo>
                        <a:pt x="5" y="6"/>
                      </a:lnTo>
                      <a:lnTo>
                        <a:pt x="4" y="7"/>
                      </a:lnTo>
                      <a:lnTo>
                        <a:pt x="0" y="7"/>
                      </a:lnTo>
                      <a:lnTo>
                        <a:pt x="0" y="5"/>
                      </a:lnTo>
                      <a:lnTo>
                        <a:pt x="0"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3" name="Freeform 602"/>
                <p:cNvSpPr>
                  <a:spLocks/>
                </p:cNvSpPr>
                <p:nvPr/>
              </p:nvSpPr>
              <p:spPr bwMode="auto">
                <a:xfrm>
                  <a:off x="7572026" y="3450746"/>
                  <a:ext cx="90273" cy="133188"/>
                </a:xfrm>
                <a:custGeom>
                  <a:avLst/>
                  <a:gdLst>
                    <a:gd name="T0" fmla="*/ 2147483647 w 67"/>
                    <a:gd name="T1" fmla="*/ 2147483647 h 90"/>
                    <a:gd name="T2" fmla="*/ 2147483647 w 67"/>
                    <a:gd name="T3" fmla="*/ 2147483647 h 90"/>
                    <a:gd name="T4" fmla="*/ 2147483647 w 67"/>
                    <a:gd name="T5" fmla="*/ 2147483647 h 90"/>
                    <a:gd name="T6" fmla="*/ 2147483647 w 67"/>
                    <a:gd name="T7" fmla="*/ 2147483647 h 90"/>
                    <a:gd name="T8" fmla="*/ 2147483647 w 67"/>
                    <a:gd name="T9" fmla="*/ 2147483647 h 90"/>
                    <a:gd name="T10" fmla="*/ 2147483647 w 67"/>
                    <a:gd name="T11" fmla="*/ 2147483647 h 90"/>
                    <a:gd name="T12" fmla="*/ 2147483647 w 67"/>
                    <a:gd name="T13" fmla="*/ 2147483647 h 90"/>
                    <a:gd name="T14" fmla="*/ 2147483647 w 67"/>
                    <a:gd name="T15" fmla="*/ 2147483647 h 90"/>
                    <a:gd name="T16" fmla="*/ 2147483647 w 67"/>
                    <a:gd name="T17" fmla="*/ 2147483647 h 90"/>
                    <a:gd name="T18" fmla="*/ 2147483647 w 67"/>
                    <a:gd name="T19" fmla="*/ 2147483647 h 90"/>
                    <a:gd name="T20" fmla="*/ 2147483647 w 67"/>
                    <a:gd name="T21" fmla="*/ 2147483647 h 90"/>
                    <a:gd name="T22" fmla="*/ 2147483647 w 67"/>
                    <a:gd name="T23" fmla="*/ 2147483647 h 90"/>
                    <a:gd name="T24" fmla="*/ 2147483647 w 67"/>
                    <a:gd name="T25" fmla="*/ 2147483647 h 90"/>
                    <a:gd name="T26" fmla="*/ 2147483647 w 67"/>
                    <a:gd name="T27" fmla="*/ 2147483647 h 90"/>
                    <a:gd name="T28" fmla="*/ 2147483647 w 67"/>
                    <a:gd name="T29" fmla="*/ 2147483647 h 90"/>
                    <a:gd name="T30" fmla="*/ 2147483647 w 67"/>
                    <a:gd name="T31" fmla="*/ 2147483647 h 90"/>
                    <a:gd name="T32" fmla="*/ 2147483647 w 67"/>
                    <a:gd name="T33" fmla="*/ 2147483647 h 90"/>
                    <a:gd name="T34" fmla="*/ 2147483647 w 67"/>
                    <a:gd name="T35" fmla="*/ 2147483647 h 90"/>
                    <a:gd name="T36" fmla="*/ 2147483647 w 67"/>
                    <a:gd name="T37" fmla="*/ 2147483647 h 90"/>
                    <a:gd name="T38" fmla="*/ 2147483647 w 67"/>
                    <a:gd name="T39" fmla="*/ 2147483647 h 90"/>
                    <a:gd name="T40" fmla="*/ 2147483647 w 67"/>
                    <a:gd name="T41" fmla="*/ 2147483647 h 90"/>
                    <a:gd name="T42" fmla="*/ 2147483647 w 67"/>
                    <a:gd name="T43" fmla="*/ 2147483647 h 90"/>
                    <a:gd name="T44" fmla="*/ 2147483647 w 67"/>
                    <a:gd name="T45" fmla="*/ 2147483647 h 90"/>
                    <a:gd name="T46" fmla="*/ 2147483647 w 67"/>
                    <a:gd name="T47" fmla="*/ 2147483647 h 90"/>
                    <a:gd name="T48" fmla="*/ 2147483647 w 67"/>
                    <a:gd name="T49" fmla="*/ 2147483647 h 90"/>
                    <a:gd name="T50" fmla="*/ 2147483647 w 67"/>
                    <a:gd name="T51" fmla="*/ 2147483647 h 90"/>
                    <a:gd name="T52" fmla="*/ 0 w 67"/>
                    <a:gd name="T53" fmla="*/ 2147483647 h 90"/>
                    <a:gd name="T54" fmla="*/ 0 w 67"/>
                    <a:gd name="T55" fmla="*/ 2147483647 h 90"/>
                    <a:gd name="T56" fmla="*/ 2147483647 w 67"/>
                    <a:gd name="T57" fmla="*/ 2147483647 h 90"/>
                    <a:gd name="T58" fmla="*/ 2147483647 w 67"/>
                    <a:gd name="T59" fmla="*/ 2147483647 h 90"/>
                    <a:gd name="T60" fmla="*/ 2147483647 w 67"/>
                    <a:gd name="T61" fmla="*/ 2147483647 h 90"/>
                    <a:gd name="T62" fmla="*/ 2147483647 w 67"/>
                    <a:gd name="T63" fmla="*/ 2147483647 h 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90"/>
                    <a:gd name="T98" fmla="*/ 67 w 67"/>
                    <a:gd name="T99" fmla="*/ 90 h 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90">
                      <a:moveTo>
                        <a:pt x="11" y="14"/>
                      </a:moveTo>
                      <a:lnTo>
                        <a:pt x="16" y="14"/>
                      </a:lnTo>
                      <a:lnTo>
                        <a:pt x="20" y="13"/>
                      </a:lnTo>
                      <a:lnTo>
                        <a:pt x="25" y="10"/>
                      </a:lnTo>
                      <a:lnTo>
                        <a:pt x="30" y="5"/>
                      </a:lnTo>
                      <a:lnTo>
                        <a:pt x="34" y="3"/>
                      </a:lnTo>
                      <a:lnTo>
                        <a:pt x="36" y="0"/>
                      </a:lnTo>
                      <a:lnTo>
                        <a:pt x="50" y="13"/>
                      </a:lnTo>
                      <a:lnTo>
                        <a:pt x="57" y="19"/>
                      </a:lnTo>
                      <a:lnTo>
                        <a:pt x="63" y="26"/>
                      </a:lnTo>
                      <a:lnTo>
                        <a:pt x="66" y="32"/>
                      </a:lnTo>
                      <a:lnTo>
                        <a:pt x="67" y="38"/>
                      </a:lnTo>
                      <a:lnTo>
                        <a:pt x="66" y="45"/>
                      </a:lnTo>
                      <a:lnTo>
                        <a:pt x="63" y="51"/>
                      </a:lnTo>
                      <a:lnTo>
                        <a:pt x="62" y="55"/>
                      </a:lnTo>
                      <a:lnTo>
                        <a:pt x="62" y="57"/>
                      </a:lnTo>
                      <a:lnTo>
                        <a:pt x="62" y="63"/>
                      </a:lnTo>
                      <a:lnTo>
                        <a:pt x="62" y="65"/>
                      </a:lnTo>
                      <a:lnTo>
                        <a:pt x="59" y="68"/>
                      </a:lnTo>
                      <a:lnTo>
                        <a:pt x="58" y="68"/>
                      </a:lnTo>
                      <a:lnTo>
                        <a:pt x="55" y="68"/>
                      </a:lnTo>
                      <a:lnTo>
                        <a:pt x="53" y="68"/>
                      </a:lnTo>
                      <a:lnTo>
                        <a:pt x="52" y="69"/>
                      </a:lnTo>
                      <a:lnTo>
                        <a:pt x="47" y="74"/>
                      </a:lnTo>
                      <a:lnTo>
                        <a:pt x="43" y="76"/>
                      </a:lnTo>
                      <a:lnTo>
                        <a:pt x="36" y="77"/>
                      </a:lnTo>
                      <a:lnTo>
                        <a:pt x="30" y="77"/>
                      </a:lnTo>
                      <a:lnTo>
                        <a:pt x="29" y="78"/>
                      </a:lnTo>
                      <a:lnTo>
                        <a:pt x="28" y="82"/>
                      </a:lnTo>
                      <a:lnTo>
                        <a:pt x="28" y="84"/>
                      </a:lnTo>
                      <a:lnTo>
                        <a:pt x="25" y="87"/>
                      </a:lnTo>
                      <a:lnTo>
                        <a:pt x="22" y="87"/>
                      </a:lnTo>
                      <a:lnTo>
                        <a:pt x="20" y="86"/>
                      </a:lnTo>
                      <a:lnTo>
                        <a:pt x="17" y="87"/>
                      </a:lnTo>
                      <a:lnTo>
                        <a:pt x="15" y="88"/>
                      </a:lnTo>
                      <a:lnTo>
                        <a:pt x="11" y="90"/>
                      </a:lnTo>
                      <a:lnTo>
                        <a:pt x="7" y="90"/>
                      </a:lnTo>
                      <a:lnTo>
                        <a:pt x="6" y="90"/>
                      </a:lnTo>
                      <a:lnTo>
                        <a:pt x="5" y="89"/>
                      </a:lnTo>
                      <a:lnTo>
                        <a:pt x="3" y="84"/>
                      </a:lnTo>
                      <a:lnTo>
                        <a:pt x="3" y="80"/>
                      </a:lnTo>
                      <a:lnTo>
                        <a:pt x="3" y="70"/>
                      </a:lnTo>
                      <a:lnTo>
                        <a:pt x="3" y="68"/>
                      </a:lnTo>
                      <a:lnTo>
                        <a:pt x="6" y="67"/>
                      </a:lnTo>
                      <a:lnTo>
                        <a:pt x="7" y="64"/>
                      </a:lnTo>
                      <a:lnTo>
                        <a:pt x="9" y="63"/>
                      </a:lnTo>
                      <a:lnTo>
                        <a:pt x="9" y="57"/>
                      </a:lnTo>
                      <a:lnTo>
                        <a:pt x="9" y="50"/>
                      </a:lnTo>
                      <a:lnTo>
                        <a:pt x="9" y="48"/>
                      </a:lnTo>
                      <a:lnTo>
                        <a:pt x="7" y="45"/>
                      </a:lnTo>
                      <a:lnTo>
                        <a:pt x="5" y="44"/>
                      </a:lnTo>
                      <a:lnTo>
                        <a:pt x="2" y="44"/>
                      </a:lnTo>
                      <a:lnTo>
                        <a:pt x="1" y="44"/>
                      </a:lnTo>
                      <a:lnTo>
                        <a:pt x="0" y="43"/>
                      </a:lnTo>
                      <a:lnTo>
                        <a:pt x="0" y="40"/>
                      </a:lnTo>
                      <a:lnTo>
                        <a:pt x="0" y="39"/>
                      </a:lnTo>
                      <a:lnTo>
                        <a:pt x="2" y="37"/>
                      </a:lnTo>
                      <a:lnTo>
                        <a:pt x="3" y="36"/>
                      </a:lnTo>
                      <a:lnTo>
                        <a:pt x="6" y="35"/>
                      </a:lnTo>
                      <a:lnTo>
                        <a:pt x="9" y="32"/>
                      </a:lnTo>
                      <a:lnTo>
                        <a:pt x="10" y="24"/>
                      </a:lnTo>
                      <a:lnTo>
                        <a:pt x="11" y="20"/>
                      </a:lnTo>
                      <a:lnTo>
                        <a:pt x="15" y="18"/>
                      </a:lnTo>
                      <a:lnTo>
                        <a:pt x="11"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4" name="Freeform 603"/>
                <p:cNvSpPr>
                  <a:spLocks/>
                </p:cNvSpPr>
                <p:nvPr/>
              </p:nvSpPr>
              <p:spPr bwMode="auto">
                <a:xfrm>
                  <a:off x="7533551" y="3296835"/>
                  <a:ext cx="150947" cy="179065"/>
                </a:xfrm>
                <a:custGeom>
                  <a:avLst/>
                  <a:gdLst>
                    <a:gd name="T0" fmla="*/ 2147483647 w 111"/>
                    <a:gd name="T1" fmla="*/ 2147483647 h 121"/>
                    <a:gd name="T2" fmla="*/ 2147483647 w 111"/>
                    <a:gd name="T3" fmla="*/ 2147483647 h 121"/>
                    <a:gd name="T4" fmla="*/ 2147483647 w 111"/>
                    <a:gd name="T5" fmla="*/ 2147483647 h 121"/>
                    <a:gd name="T6" fmla="*/ 2147483647 w 111"/>
                    <a:gd name="T7" fmla="*/ 2147483647 h 121"/>
                    <a:gd name="T8" fmla="*/ 2147483647 w 111"/>
                    <a:gd name="T9" fmla="*/ 2147483647 h 121"/>
                    <a:gd name="T10" fmla="*/ 2147483647 w 111"/>
                    <a:gd name="T11" fmla="*/ 2147483647 h 121"/>
                    <a:gd name="T12" fmla="*/ 2147483647 w 111"/>
                    <a:gd name="T13" fmla="*/ 2147483647 h 121"/>
                    <a:gd name="T14" fmla="*/ 2147483647 w 111"/>
                    <a:gd name="T15" fmla="*/ 2147483647 h 121"/>
                    <a:gd name="T16" fmla="*/ 2147483647 w 111"/>
                    <a:gd name="T17" fmla="*/ 2147483647 h 121"/>
                    <a:gd name="T18" fmla="*/ 2147483647 w 111"/>
                    <a:gd name="T19" fmla="*/ 2147483647 h 121"/>
                    <a:gd name="T20" fmla="*/ 2147483647 w 111"/>
                    <a:gd name="T21" fmla="*/ 2147483647 h 121"/>
                    <a:gd name="T22" fmla="*/ 2147483647 w 111"/>
                    <a:gd name="T23" fmla="*/ 2147483647 h 121"/>
                    <a:gd name="T24" fmla="*/ 2147483647 w 111"/>
                    <a:gd name="T25" fmla="*/ 2147483647 h 121"/>
                    <a:gd name="T26" fmla="*/ 2147483647 w 111"/>
                    <a:gd name="T27" fmla="*/ 2147483647 h 121"/>
                    <a:gd name="T28" fmla="*/ 2147483647 w 111"/>
                    <a:gd name="T29" fmla="*/ 2147483647 h 121"/>
                    <a:gd name="T30" fmla="*/ 2147483647 w 111"/>
                    <a:gd name="T31" fmla="*/ 2147483647 h 121"/>
                    <a:gd name="T32" fmla="*/ 2147483647 w 111"/>
                    <a:gd name="T33" fmla="*/ 2147483647 h 121"/>
                    <a:gd name="T34" fmla="*/ 2147483647 w 111"/>
                    <a:gd name="T35" fmla="*/ 2147483647 h 121"/>
                    <a:gd name="T36" fmla="*/ 2147483647 w 111"/>
                    <a:gd name="T37" fmla="*/ 2147483647 h 121"/>
                    <a:gd name="T38" fmla="*/ 2147483647 w 111"/>
                    <a:gd name="T39" fmla="*/ 2147483647 h 121"/>
                    <a:gd name="T40" fmla="*/ 2147483647 w 111"/>
                    <a:gd name="T41" fmla="*/ 2147483647 h 121"/>
                    <a:gd name="T42" fmla="*/ 2147483647 w 111"/>
                    <a:gd name="T43" fmla="*/ 2147483647 h 121"/>
                    <a:gd name="T44" fmla="*/ 2147483647 w 111"/>
                    <a:gd name="T45" fmla="*/ 2147483647 h 121"/>
                    <a:gd name="T46" fmla="*/ 2147483647 w 111"/>
                    <a:gd name="T47" fmla="*/ 2147483647 h 121"/>
                    <a:gd name="T48" fmla="*/ 2147483647 w 111"/>
                    <a:gd name="T49" fmla="*/ 2147483647 h 121"/>
                    <a:gd name="T50" fmla="*/ 2147483647 w 111"/>
                    <a:gd name="T51" fmla="*/ 2147483647 h 121"/>
                    <a:gd name="T52" fmla="*/ 2147483647 w 111"/>
                    <a:gd name="T53" fmla="*/ 2147483647 h 121"/>
                    <a:gd name="T54" fmla="*/ 2147483647 w 111"/>
                    <a:gd name="T55" fmla="*/ 2147483647 h 121"/>
                    <a:gd name="T56" fmla="*/ 2147483647 w 111"/>
                    <a:gd name="T57" fmla="*/ 2147483647 h 121"/>
                    <a:gd name="T58" fmla="*/ 2147483647 w 111"/>
                    <a:gd name="T59" fmla="*/ 2147483647 h 121"/>
                    <a:gd name="T60" fmla="*/ 2147483647 w 111"/>
                    <a:gd name="T61" fmla="*/ 2147483647 h 121"/>
                    <a:gd name="T62" fmla="*/ 2147483647 w 111"/>
                    <a:gd name="T63" fmla="*/ 2147483647 h 121"/>
                    <a:gd name="T64" fmla="*/ 2147483647 w 111"/>
                    <a:gd name="T65" fmla="*/ 2147483647 h 121"/>
                    <a:gd name="T66" fmla="*/ 2147483647 w 111"/>
                    <a:gd name="T67" fmla="*/ 2147483647 h 121"/>
                    <a:gd name="T68" fmla="*/ 2147483647 w 111"/>
                    <a:gd name="T69" fmla="*/ 2147483647 h 121"/>
                    <a:gd name="T70" fmla="*/ 2147483647 w 111"/>
                    <a:gd name="T71" fmla="*/ 0 h 121"/>
                    <a:gd name="T72" fmla="*/ 2147483647 w 111"/>
                    <a:gd name="T73" fmla="*/ 2147483647 h 121"/>
                    <a:gd name="T74" fmla="*/ 2147483647 w 111"/>
                    <a:gd name="T75" fmla="*/ 2147483647 h 121"/>
                    <a:gd name="T76" fmla="*/ 2147483647 w 111"/>
                    <a:gd name="T77" fmla="*/ 2147483647 h 121"/>
                    <a:gd name="T78" fmla="*/ 2147483647 w 111"/>
                    <a:gd name="T79" fmla="*/ 2147483647 h 121"/>
                    <a:gd name="T80" fmla="*/ 2147483647 w 111"/>
                    <a:gd name="T81" fmla="*/ 2147483647 h 121"/>
                    <a:gd name="T82" fmla="*/ 2147483647 w 111"/>
                    <a:gd name="T83" fmla="*/ 2147483647 h 121"/>
                    <a:gd name="T84" fmla="*/ 2147483647 w 111"/>
                    <a:gd name="T85" fmla="*/ 2147483647 h 121"/>
                    <a:gd name="T86" fmla="*/ 2147483647 w 111"/>
                    <a:gd name="T87" fmla="*/ 2147483647 h 121"/>
                    <a:gd name="T88" fmla="*/ 2147483647 w 111"/>
                    <a:gd name="T89" fmla="*/ 2147483647 h 121"/>
                    <a:gd name="T90" fmla="*/ 2147483647 w 111"/>
                    <a:gd name="T91" fmla="*/ 2147483647 h 121"/>
                    <a:gd name="T92" fmla="*/ 2147483647 w 111"/>
                    <a:gd name="T93" fmla="*/ 2147483647 h 121"/>
                    <a:gd name="T94" fmla="*/ 2147483647 w 111"/>
                    <a:gd name="T95" fmla="*/ 2147483647 h 121"/>
                    <a:gd name="T96" fmla="*/ 2147483647 w 111"/>
                    <a:gd name="T97" fmla="*/ 2147483647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1"/>
                    <a:gd name="T148" fmla="*/ 0 h 121"/>
                    <a:gd name="T149" fmla="*/ 111 w 111"/>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1" h="121">
                      <a:moveTo>
                        <a:pt x="0" y="71"/>
                      </a:moveTo>
                      <a:lnTo>
                        <a:pt x="1" y="72"/>
                      </a:lnTo>
                      <a:lnTo>
                        <a:pt x="2" y="73"/>
                      </a:lnTo>
                      <a:lnTo>
                        <a:pt x="2" y="80"/>
                      </a:lnTo>
                      <a:lnTo>
                        <a:pt x="3" y="84"/>
                      </a:lnTo>
                      <a:lnTo>
                        <a:pt x="6" y="88"/>
                      </a:lnTo>
                      <a:lnTo>
                        <a:pt x="7" y="88"/>
                      </a:lnTo>
                      <a:lnTo>
                        <a:pt x="9" y="88"/>
                      </a:lnTo>
                      <a:lnTo>
                        <a:pt x="10" y="86"/>
                      </a:lnTo>
                      <a:lnTo>
                        <a:pt x="11" y="85"/>
                      </a:lnTo>
                      <a:lnTo>
                        <a:pt x="12" y="80"/>
                      </a:lnTo>
                      <a:lnTo>
                        <a:pt x="14" y="79"/>
                      </a:lnTo>
                      <a:lnTo>
                        <a:pt x="15" y="78"/>
                      </a:lnTo>
                      <a:lnTo>
                        <a:pt x="17" y="77"/>
                      </a:lnTo>
                      <a:lnTo>
                        <a:pt x="20" y="77"/>
                      </a:lnTo>
                      <a:lnTo>
                        <a:pt x="23" y="77"/>
                      </a:lnTo>
                      <a:lnTo>
                        <a:pt x="24" y="79"/>
                      </a:lnTo>
                      <a:lnTo>
                        <a:pt x="25" y="82"/>
                      </a:lnTo>
                      <a:lnTo>
                        <a:pt x="24" y="83"/>
                      </a:lnTo>
                      <a:lnTo>
                        <a:pt x="21" y="86"/>
                      </a:lnTo>
                      <a:lnTo>
                        <a:pt x="19" y="90"/>
                      </a:lnTo>
                      <a:lnTo>
                        <a:pt x="17" y="98"/>
                      </a:lnTo>
                      <a:lnTo>
                        <a:pt x="15" y="101"/>
                      </a:lnTo>
                      <a:lnTo>
                        <a:pt x="12" y="102"/>
                      </a:lnTo>
                      <a:lnTo>
                        <a:pt x="9" y="103"/>
                      </a:lnTo>
                      <a:lnTo>
                        <a:pt x="7" y="104"/>
                      </a:lnTo>
                      <a:lnTo>
                        <a:pt x="7" y="105"/>
                      </a:lnTo>
                      <a:lnTo>
                        <a:pt x="10" y="111"/>
                      </a:lnTo>
                      <a:lnTo>
                        <a:pt x="14" y="117"/>
                      </a:lnTo>
                      <a:lnTo>
                        <a:pt x="17" y="120"/>
                      </a:lnTo>
                      <a:lnTo>
                        <a:pt x="20" y="121"/>
                      </a:lnTo>
                      <a:lnTo>
                        <a:pt x="24" y="121"/>
                      </a:lnTo>
                      <a:lnTo>
                        <a:pt x="26" y="120"/>
                      </a:lnTo>
                      <a:lnTo>
                        <a:pt x="28" y="118"/>
                      </a:lnTo>
                      <a:lnTo>
                        <a:pt x="28" y="117"/>
                      </a:lnTo>
                      <a:lnTo>
                        <a:pt x="29" y="115"/>
                      </a:lnTo>
                      <a:lnTo>
                        <a:pt x="30" y="112"/>
                      </a:lnTo>
                      <a:lnTo>
                        <a:pt x="34" y="112"/>
                      </a:lnTo>
                      <a:lnTo>
                        <a:pt x="35" y="112"/>
                      </a:lnTo>
                      <a:lnTo>
                        <a:pt x="39" y="118"/>
                      </a:lnTo>
                      <a:lnTo>
                        <a:pt x="44" y="118"/>
                      </a:lnTo>
                      <a:lnTo>
                        <a:pt x="48" y="117"/>
                      </a:lnTo>
                      <a:lnTo>
                        <a:pt x="53" y="114"/>
                      </a:lnTo>
                      <a:lnTo>
                        <a:pt x="58" y="109"/>
                      </a:lnTo>
                      <a:lnTo>
                        <a:pt x="62" y="107"/>
                      </a:lnTo>
                      <a:lnTo>
                        <a:pt x="64" y="104"/>
                      </a:lnTo>
                      <a:lnTo>
                        <a:pt x="59" y="97"/>
                      </a:lnTo>
                      <a:lnTo>
                        <a:pt x="56" y="86"/>
                      </a:lnTo>
                      <a:lnTo>
                        <a:pt x="54" y="80"/>
                      </a:lnTo>
                      <a:lnTo>
                        <a:pt x="57" y="75"/>
                      </a:lnTo>
                      <a:lnTo>
                        <a:pt x="59" y="70"/>
                      </a:lnTo>
                      <a:lnTo>
                        <a:pt x="64" y="66"/>
                      </a:lnTo>
                      <a:lnTo>
                        <a:pt x="75" y="60"/>
                      </a:lnTo>
                      <a:lnTo>
                        <a:pt x="80" y="57"/>
                      </a:lnTo>
                      <a:lnTo>
                        <a:pt x="83" y="52"/>
                      </a:lnTo>
                      <a:lnTo>
                        <a:pt x="87" y="46"/>
                      </a:lnTo>
                      <a:lnTo>
                        <a:pt x="91" y="41"/>
                      </a:lnTo>
                      <a:lnTo>
                        <a:pt x="95" y="37"/>
                      </a:lnTo>
                      <a:lnTo>
                        <a:pt x="97" y="29"/>
                      </a:lnTo>
                      <a:lnTo>
                        <a:pt x="100" y="26"/>
                      </a:lnTo>
                      <a:lnTo>
                        <a:pt x="103" y="25"/>
                      </a:lnTo>
                      <a:lnTo>
                        <a:pt x="108" y="24"/>
                      </a:lnTo>
                      <a:lnTo>
                        <a:pt x="110" y="24"/>
                      </a:lnTo>
                      <a:lnTo>
                        <a:pt x="111" y="21"/>
                      </a:lnTo>
                      <a:lnTo>
                        <a:pt x="111" y="18"/>
                      </a:lnTo>
                      <a:lnTo>
                        <a:pt x="110" y="15"/>
                      </a:lnTo>
                      <a:lnTo>
                        <a:pt x="109" y="12"/>
                      </a:lnTo>
                      <a:lnTo>
                        <a:pt x="110" y="9"/>
                      </a:lnTo>
                      <a:lnTo>
                        <a:pt x="109" y="5"/>
                      </a:lnTo>
                      <a:lnTo>
                        <a:pt x="105" y="1"/>
                      </a:lnTo>
                      <a:lnTo>
                        <a:pt x="101" y="0"/>
                      </a:lnTo>
                      <a:lnTo>
                        <a:pt x="100" y="0"/>
                      </a:lnTo>
                      <a:lnTo>
                        <a:pt x="97" y="1"/>
                      </a:lnTo>
                      <a:lnTo>
                        <a:pt x="91" y="7"/>
                      </a:lnTo>
                      <a:lnTo>
                        <a:pt x="89" y="11"/>
                      </a:lnTo>
                      <a:lnTo>
                        <a:pt x="83" y="13"/>
                      </a:lnTo>
                      <a:lnTo>
                        <a:pt x="82" y="15"/>
                      </a:lnTo>
                      <a:lnTo>
                        <a:pt x="80" y="18"/>
                      </a:lnTo>
                      <a:lnTo>
                        <a:pt x="78" y="20"/>
                      </a:lnTo>
                      <a:lnTo>
                        <a:pt x="77" y="22"/>
                      </a:lnTo>
                      <a:lnTo>
                        <a:pt x="67" y="28"/>
                      </a:lnTo>
                      <a:lnTo>
                        <a:pt x="57" y="34"/>
                      </a:lnTo>
                      <a:lnTo>
                        <a:pt x="56" y="35"/>
                      </a:lnTo>
                      <a:lnTo>
                        <a:pt x="53" y="34"/>
                      </a:lnTo>
                      <a:lnTo>
                        <a:pt x="50" y="31"/>
                      </a:lnTo>
                      <a:lnTo>
                        <a:pt x="45" y="29"/>
                      </a:lnTo>
                      <a:lnTo>
                        <a:pt x="40" y="29"/>
                      </a:lnTo>
                      <a:lnTo>
                        <a:pt x="37" y="31"/>
                      </a:lnTo>
                      <a:lnTo>
                        <a:pt x="34" y="32"/>
                      </a:lnTo>
                      <a:lnTo>
                        <a:pt x="33" y="33"/>
                      </a:lnTo>
                      <a:lnTo>
                        <a:pt x="31" y="38"/>
                      </a:lnTo>
                      <a:lnTo>
                        <a:pt x="31" y="44"/>
                      </a:lnTo>
                      <a:lnTo>
                        <a:pt x="30" y="48"/>
                      </a:lnTo>
                      <a:lnTo>
                        <a:pt x="21" y="52"/>
                      </a:lnTo>
                      <a:lnTo>
                        <a:pt x="19" y="54"/>
                      </a:lnTo>
                      <a:lnTo>
                        <a:pt x="15" y="57"/>
                      </a:lnTo>
                      <a:lnTo>
                        <a:pt x="9" y="65"/>
                      </a:lnTo>
                      <a:lnTo>
                        <a:pt x="5" y="69"/>
                      </a:lnTo>
                      <a:lnTo>
                        <a:pt x="0" y="7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5" name="Freeform 604"/>
                <p:cNvSpPr>
                  <a:spLocks/>
                </p:cNvSpPr>
                <p:nvPr/>
              </p:nvSpPr>
              <p:spPr bwMode="auto">
                <a:xfrm>
                  <a:off x="7569068" y="3449266"/>
                  <a:ext cx="91752" cy="133188"/>
                </a:xfrm>
                <a:custGeom>
                  <a:avLst/>
                  <a:gdLst>
                    <a:gd name="T0" fmla="*/ 2147483647 w 68"/>
                    <a:gd name="T1" fmla="*/ 2147483647 h 90"/>
                    <a:gd name="T2" fmla="*/ 2147483647 w 68"/>
                    <a:gd name="T3" fmla="*/ 2147483647 h 90"/>
                    <a:gd name="T4" fmla="*/ 2147483647 w 68"/>
                    <a:gd name="T5" fmla="*/ 2147483647 h 90"/>
                    <a:gd name="T6" fmla="*/ 2147483647 w 68"/>
                    <a:gd name="T7" fmla="*/ 0 h 90"/>
                    <a:gd name="T8" fmla="*/ 2147483647 w 68"/>
                    <a:gd name="T9" fmla="*/ 2147483647 h 90"/>
                    <a:gd name="T10" fmla="*/ 2147483647 w 68"/>
                    <a:gd name="T11" fmla="*/ 2147483647 h 90"/>
                    <a:gd name="T12" fmla="*/ 2147483647 w 68"/>
                    <a:gd name="T13" fmla="*/ 2147483647 h 90"/>
                    <a:gd name="T14" fmla="*/ 2147483647 w 68"/>
                    <a:gd name="T15" fmla="*/ 2147483647 h 90"/>
                    <a:gd name="T16" fmla="*/ 2147483647 w 68"/>
                    <a:gd name="T17" fmla="*/ 2147483647 h 90"/>
                    <a:gd name="T18" fmla="*/ 2147483647 w 68"/>
                    <a:gd name="T19" fmla="*/ 2147483647 h 90"/>
                    <a:gd name="T20" fmla="*/ 2147483647 w 68"/>
                    <a:gd name="T21" fmla="*/ 2147483647 h 90"/>
                    <a:gd name="T22" fmla="*/ 2147483647 w 68"/>
                    <a:gd name="T23" fmla="*/ 2147483647 h 90"/>
                    <a:gd name="T24" fmla="*/ 2147483647 w 68"/>
                    <a:gd name="T25" fmla="*/ 2147483647 h 90"/>
                    <a:gd name="T26" fmla="*/ 2147483647 w 68"/>
                    <a:gd name="T27" fmla="*/ 2147483647 h 90"/>
                    <a:gd name="T28" fmla="*/ 2147483647 w 68"/>
                    <a:gd name="T29" fmla="*/ 2147483647 h 90"/>
                    <a:gd name="T30" fmla="*/ 2147483647 w 68"/>
                    <a:gd name="T31" fmla="*/ 2147483647 h 90"/>
                    <a:gd name="T32" fmla="*/ 2147483647 w 68"/>
                    <a:gd name="T33" fmla="*/ 2147483647 h 90"/>
                    <a:gd name="T34" fmla="*/ 2147483647 w 68"/>
                    <a:gd name="T35" fmla="*/ 2147483647 h 90"/>
                    <a:gd name="T36" fmla="*/ 2147483647 w 68"/>
                    <a:gd name="T37" fmla="*/ 2147483647 h 90"/>
                    <a:gd name="T38" fmla="*/ 2147483647 w 68"/>
                    <a:gd name="T39" fmla="*/ 2147483647 h 90"/>
                    <a:gd name="T40" fmla="*/ 2147483647 w 68"/>
                    <a:gd name="T41" fmla="*/ 2147483647 h 90"/>
                    <a:gd name="T42" fmla="*/ 2147483647 w 68"/>
                    <a:gd name="T43" fmla="*/ 2147483647 h 90"/>
                    <a:gd name="T44" fmla="*/ 2147483647 w 68"/>
                    <a:gd name="T45" fmla="*/ 2147483647 h 90"/>
                    <a:gd name="T46" fmla="*/ 2147483647 w 68"/>
                    <a:gd name="T47" fmla="*/ 2147483647 h 90"/>
                    <a:gd name="T48" fmla="*/ 2147483647 w 68"/>
                    <a:gd name="T49" fmla="*/ 2147483647 h 90"/>
                    <a:gd name="T50" fmla="*/ 2147483647 w 68"/>
                    <a:gd name="T51" fmla="*/ 2147483647 h 90"/>
                    <a:gd name="T52" fmla="*/ 2147483647 w 68"/>
                    <a:gd name="T53" fmla="*/ 2147483647 h 90"/>
                    <a:gd name="T54" fmla="*/ 2147483647 w 68"/>
                    <a:gd name="T55" fmla="*/ 2147483647 h 90"/>
                    <a:gd name="T56" fmla="*/ 2147483647 w 68"/>
                    <a:gd name="T57" fmla="*/ 2147483647 h 90"/>
                    <a:gd name="T58" fmla="*/ 2147483647 w 68"/>
                    <a:gd name="T59" fmla="*/ 2147483647 h 90"/>
                    <a:gd name="T60" fmla="*/ 2147483647 w 68"/>
                    <a:gd name="T61" fmla="*/ 2147483647 h 90"/>
                    <a:gd name="T62" fmla="*/ 2147483647 w 68"/>
                    <a:gd name="T63" fmla="*/ 2147483647 h 90"/>
                    <a:gd name="T64" fmla="*/ 2147483647 w 68"/>
                    <a:gd name="T65" fmla="*/ 2147483647 h 90"/>
                    <a:gd name="T66" fmla="*/ 2147483647 w 68"/>
                    <a:gd name="T67" fmla="*/ 2147483647 h 90"/>
                    <a:gd name="T68" fmla="*/ 0 w 68"/>
                    <a:gd name="T69" fmla="*/ 2147483647 h 90"/>
                    <a:gd name="T70" fmla="*/ 0 w 68"/>
                    <a:gd name="T71" fmla="*/ 2147483647 h 90"/>
                    <a:gd name="T72" fmla="*/ 2147483647 w 68"/>
                    <a:gd name="T73" fmla="*/ 2147483647 h 90"/>
                    <a:gd name="T74" fmla="*/ 2147483647 w 68"/>
                    <a:gd name="T75" fmla="*/ 2147483647 h 90"/>
                    <a:gd name="T76" fmla="*/ 2147483647 w 68"/>
                    <a:gd name="T77" fmla="*/ 2147483647 h 90"/>
                    <a:gd name="T78" fmla="*/ 2147483647 w 68"/>
                    <a:gd name="T79" fmla="*/ 2147483647 h 90"/>
                    <a:gd name="T80" fmla="*/ 2147483647 w 68"/>
                    <a:gd name="T81" fmla="*/ 2147483647 h 90"/>
                    <a:gd name="T82" fmla="*/ 2147483647 w 68"/>
                    <a:gd name="T83" fmla="*/ 2147483647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
                    <a:gd name="T127" fmla="*/ 0 h 90"/>
                    <a:gd name="T128" fmla="*/ 68 w 68"/>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 h="90">
                      <a:moveTo>
                        <a:pt x="12" y="14"/>
                      </a:moveTo>
                      <a:lnTo>
                        <a:pt x="12" y="14"/>
                      </a:lnTo>
                      <a:lnTo>
                        <a:pt x="17" y="14"/>
                      </a:lnTo>
                      <a:lnTo>
                        <a:pt x="21" y="13"/>
                      </a:lnTo>
                      <a:lnTo>
                        <a:pt x="26" y="9"/>
                      </a:lnTo>
                      <a:lnTo>
                        <a:pt x="31" y="5"/>
                      </a:lnTo>
                      <a:lnTo>
                        <a:pt x="35" y="2"/>
                      </a:lnTo>
                      <a:lnTo>
                        <a:pt x="37" y="0"/>
                      </a:lnTo>
                      <a:lnTo>
                        <a:pt x="51" y="13"/>
                      </a:lnTo>
                      <a:lnTo>
                        <a:pt x="57" y="19"/>
                      </a:lnTo>
                      <a:lnTo>
                        <a:pt x="64" y="26"/>
                      </a:lnTo>
                      <a:lnTo>
                        <a:pt x="66" y="32"/>
                      </a:lnTo>
                      <a:lnTo>
                        <a:pt x="68" y="38"/>
                      </a:lnTo>
                      <a:lnTo>
                        <a:pt x="66" y="45"/>
                      </a:lnTo>
                      <a:lnTo>
                        <a:pt x="64" y="51"/>
                      </a:lnTo>
                      <a:lnTo>
                        <a:pt x="63" y="55"/>
                      </a:lnTo>
                      <a:lnTo>
                        <a:pt x="63" y="57"/>
                      </a:lnTo>
                      <a:lnTo>
                        <a:pt x="63" y="63"/>
                      </a:lnTo>
                      <a:lnTo>
                        <a:pt x="63" y="65"/>
                      </a:lnTo>
                      <a:lnTo>
                        <a:pt x="60" y="68"/>
                      </a:lnTo>
                      <a:lnTo>
                        <a:pt x="59" y="68"/>
                      </a:lnTo>
                      <a:lnTo>
                        <a:pt x="56" y="68"/>
                      </a:lnTo>
                      <a:lnTo>
                        <a:pt x="54" y="68"/>
                      </a:lnTo>
                      <a:lnTo>
                        <a:pt x="52" y="69"/>
                      </a:lnTo>
                      <a:lnTo>
                        <a:pt x="47" y="73"/>
                      </a:lnTo>
                      <a:lnTo>
                        <a:pt x="44" y="76"/>
                      </a:lnTo>
                      <a:lnTo>
                        <a:pt x="37" y="77"/>
                      </a:lnTo>
                      <a:lnTo>
                        <a:pt x="31" y="77"/>
                      </a:lnTo>
                      <a:lnTo>
                        <a:pt x="30" y="78"/>
                      </a:lnTo>
                      <a:lnTo>
                        <a:pt x="28" y="82"/>
                      </a:lnTo>
                      <a:lnTo>
                        <a:pt x="28" y="84"/>
                      </a:lnTo>
                      <a:lnTo>
                        <a:pt x="26" y="87"/>
                      </a:lnTo>
                      <a:lnTo>
                        <a:pt x="23" y="87"/>
                      </a:lnTo>
                      <a:lnTo>
                        <a:pt x="21" y="85"/>
                      </a:lnTo>
                      <a:lnTo>
                        <a:pt x="18" y="87"/>
                      </a:lnTo>
                      <a:lnTo>
                        <a:pt x="16" y="88"/>
                      </a:lnTo>
                      <a:lnTo>
                        <a:pt x="12" y="90"/>
                      </a:lnTo>
                      <a:lnTo>
                        <a:pt x="8" y="90"/>
                      </a:lnTo>
                      <a:lnTo>
                        <a:pt x="7" y="90"/>
                      </a:lnTo>
                      <a:lnTo>
                        <a:pt x="5" y="89"/>
                      </a:lnTo>
                      <a:lnTo>
                        <a:pt x="4" y="84"/>
                      </a:lnTo>
                      <a:lnTo>
                        <a:pt x="4" y="79"/>
                      </a:lnTo>
                      <a:lnTo>
                        <a:pt x="4" y="70"/>
                      </a:lnTo>
                      <a:lnTo>
                        <a:pt x="4" y="68"/>
                      </a:lnTo>
                      <a:lnTo>
                        <a:pt x="7" y="66"/>
                      </a:lnTo>
                      <a:lnTo>
                        <a:pt x="8" y="64"/>
                      </a:lnTo>
                      <a:lnTo>
                        <a:pt x="9" y="63"/>
                      </a:lnTo>
                      <a:lnTo>
                        <a:pt x="9" y="57"/>
                      </a:lnTo>
                      <a:lnTo>
                        <a:pt x="9" y="50"/>
                      </a:lnTo>
                      <a:lnTo>
                        <a:pt x="9" y="47"/>
                      </a:lnTo>
                      <a:lnTo>
                        <a:pt x="8" y="45"/>
                      </a:lnTo>
                      <a:lnTo>
                        <a:pt x="5" y="44"/>
                      </a:lnTo>
                      <a:lnTo>
                        <a:pt x="3" y="44"/>
                      </a:lnTo>
                      <a:lnTo>
                        <a:pt x="2" y="44"/>
                      </a:lnTo>
                      <a:lnTo>
                        <a:pt x="0" y="43"/>
                      </a:lnTo>
                      <a:lnTo>
                        <a:pt x="0" y="40"/>
                      </a:lnTo>
                      <a:lnTo>
                        <a:pt x="0" y="39"/>
                      </a:lnTo>
                      <a:lnTo>
                        <a:pt x="3" y="37"/>
                      </a:lnTo>
                      <a:lnTo>
                        <a:pt x="4" y="36"/>
                      </a:lnTo>
                      <a:lnTo>
                        <a:pt x="7" y="34"/>
                      </a:lnTo>
                      <a:lnTo>
                        <a:pt x="9" y="32"/>
                      </a:lnTo>
                      <a:lnTo>
                        <a:pt x="11" y="24"/>
                      </a:lnTo>
                      <a:lnTo>
                        <a:pt x="12" y="20"/>
                      </a:lnTo>
                      <a:lnTo>
                        <a:pt x="16" y="18"/>
                      </a:lnTo>
                      <a:lnTo>
                        <a:pt x="12"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6" name="Freeform 605"/>
                <p:cNvSpPr>
                  <a:spLocks/>
                </p:cNvSpPr>
                <p:nvPr/>
              </p:nvSpPr>
              <p:spPr bwMode="auto">
                <a:xfrm>
                  <a:off x="7530589" y="3295360"/>
                  <a:ext cx="152427" cy="179064"/>
                </a:xfrm>
                <a:custGeom>
                  <a:avLst/>
                  <a:gdLst>
                    <a:gd name="T0" fmla="*/ 2147483647 w 112"/>
                    <a:gd name="T1" fmla="*/ 2147483647 h 121"/>
                    <a:gd name="T2" fmla="*/ 2147483647 w 112"/>
                    <a:gd name="T3" fmla="*/ 2147483647 h 121"/>
                    <a:gd name="T4" fmla="*/ 2147483647 w 112"/>
                    <a:gd name="T5" fmla="*/ 2147483647 h 121"/>
                    <a:gd name="T6" fmla="*/ 2147483647 w 112"/>
                    <a:gd name="T7" fmla="*/ 2147483647 h 121"/>
                    <a:gd name="T8" fmla="*/ 2147483647 w 112"/>
                    <a:gd name="T9" fmla="*/ 2147483647 h 121"/>
                    <a:gd name="T10" fmla="*/ 2147483647 w 112"/>
                    <a:gd name="T11" fmla="*/ 2147483647 h 121"/>
                    <a:gd name="T12" fmla="*/ 2147483647 w 112"/>
                    <a:gd name="T13" fmla="*/ 2147483647 h 121"/>
                    <a:gd name="T14" fmla="*/ 2147483647 w 112"/>
                    <a:gd name="T15" fmla="*/ 2147483647 h 121"/>
                    <a:gd name="T16" fmla="*/ 2147483647 w 112"/>
                    <a:gd name="T17" fmla="*/ 2147483647 h 121"/>
                    <a:gd name="T18" fmla="*/ 2147483647 w 112"/>
                    <a:gd name="T19" fmla="*/ 2147483647 h 121"/>
                    <a:gd name="T20" fmla="*/ 2147483647 w 112"/>
                    <a:gd name="T21" fmla="*/ 2147483647 h 121"/>
                    <a:gd name="T22" fmla="*/ 2147483647 w 112"/>
                    <a:gd name="T23" fmla="*/ 2147483647 h 121"/>
                    <a:gd name="T24" fmla="*/ 2147483647 w 112"/>
                    <a:gd name="T25" fmla="*/ 2147483647 h 121"/>
                    <a:gd name="T26" fmla="*/ 2147483647 w 112"/>
                    <a:gd name="T27" fmla="*/ 2147483647 h 121"/>
                    <a:gd name="T28" fmla="*/ 2147483647 w 112"/>
                    <a:gd name="T29" fmla="*/ 2147483647 h 121"/>
                    <a:gd name="T30" fmla="*/ 2147483647 w 112"/>
                    <a:gd name="T31" fmla="*/ 2147483647 h 121"/>
                    <a:gd name="T32" fmla="*/ 2147483647 w 112"/>
                    <a:gd name="T33" fmla="*/ 2147483647 h 121"/>
                    <a:gd name="T34" fmla="*/ 2147483647 w 112"/>
                    <a:gd name="T35" fmla="*/ 2147483647 h 121"/>
                    <a:gd name="T36" fmla="*/ 2147483647 w 112"/>
                    <a:gd name="T37" fmla="*/ 2147483647 h 121"/>
                    <a:gd name="T38" fmla="*/ 2147483647 w 112"/>
                    <a:gd name="T39" fmla="*/ 2147483647 h 121"/>
                    <a:gd name="T40" fmla="*/ 2147483647 w 112"/>
                    <a:gd name="T41" fmla="*/ 2147483647 h 121"/>
                    <a:gd name="T42" fmla="*/ 2147483647 w 112"/>
                    <a:gd name="T43" fmla="*/ 2147483647 h 121"/>
                    <a:gd name="T44" fmla="*/ 2147483647 w 112"/>
                    <a:gd name="T45" fmla="*/ 2147483647 h 121"/>
                    <a:gd name="T46" fmla="*/ 2147483647 w 112"/>
                    <a:gd name="T47" fmla="*/ 2147483647 h 121"/>
                    <a:gd name="T48" fmla="*/ 2147483647 w 112"/>
                    <a:gd name="T49" fmla="*/ 2147483647 h 121"/>
                    <a:gd name="T50" fmla="*/ 2147483647 w 112"/>
                    <a:gd name="T51" fmla="*/ 2147483647 h 121"/>
                    <a:gd name="T52" fmla="*/ 2147483647 w 112"/>
                    <a:gd name="T53" fmla="*/ 2147483647 h 121"/>
                    <a:gd name="T54" fmla="*/ 2147483647 w 112"/>
                    <a:gd name="T55" fmla="*/ 2147483647 h 121"/>
                    <a:gd name="T56" fmla="*/ 2147483647 w 112"/>
                    <a:gd name="T57" fmla="*/ 2147483647 h 121"/>
                    <a:gd name="T58" fmla="*/ 2147483647 w 112"/>
                    <a:gd name="T59" fmla="*/ 2147483647 h 121"/>
                    <a:gd name="T60" fmla="*/ 2147483647 w 112"/>
                    <a:gd name="T61" fmla="*/ 0 h 121"/>
                    <a:gd name="T62" fmla="*/ 2147483647 w 112"/>
                    <a:gd name="T63" fmla="*/ 2147483647 h 121"/>
                    <a:gd name="T64" fmla="*/ 2147483647 w 112"/>
                    <a:gd name="T65" fmla="*/ 2147483647 h 121"/>
                    <a:gd name="T66" fmla="*/ 2147483647 w 112"/>
                    <a:gd name="T67" fmla="*/ 2147483647 h 121"/>
                    <a:gd name="T68" fmla="*/ 2147483647 w 112"/>
                    <a:gd name="T69" fmla="*/ 2147483647 h 121"/>
                    <a:gd name="T70" fmla="*/ 2147483647 w 112"/>
                    <a:gd name="T71" fmla="*/ 2147483647 h 121"/>
                    <a:gd name="T72" fmla="*/ 2147483647 w 112"/>
                    <a:gd name="T73" fmla="*/ 2147483647 h 121"/>
                    <a:gd name="T74" fmla="*/ 2147483647 w 112"/>
                    <a:gd name="T75" fmla="*/ 2147483647 h 121"/>
                    <a:gd name="T76" fmla="*/ 2147483647 w 112"/>
                    <a:gd name="T77" fmla="*/ 2147483647 h 121"/>
                    <a:gd name="T78" fmla="*/ 2147483647 w 112"/>
                    <a:gd name="T79" fmla="*/ 2147483647 h 121"/>
                    <a:gd name="T80" fmla="*/ 2147483647 w 112"/>
                    <a:gd name="T81" fmla="*/ 2147483647 h 121"/>
                    <a:gd name="T82" fmla="*/ 2147483647 w 112"/>
                    <a:gd name="T83" fmla="*/ 2147483647 h 121"/>
                    <a:gd name="T84" fmla="*/ 0 w 112"/>
                    <a:gd name="T85" fmla="*/ 2147483647 h 1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2"/>
                    <a:gd name="T130" fmla="*/ 0 h 121"/>
                    <a:gd name="T131" fmla="*/ 112 w 112"/>
                    <a:gd name="T132" fmla="*/ 121 h 1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2" h="121">
                      <a:moveTo>
                        <a:pt x="0" y="71"/>
                      </a:moveTo>
                      <a:lnTo>
                        <a:pt x="0" y="71"/>
                      </a:lnTo>
                      <a:lnTo>
                        <a:pt x="2" y="72"/>
                      </a:lnTo>
                      <a:lnTo>
                        <a:pt x="3" y="73"/>
                      </a:lnTo>
                      <a:lnTo>
                        <a:pt x="3" y="80"/>
                      </a:lnTo>
                      <a:lnTo>
                        <a:pt x="4" y="84"/>
                      </a:lnTo>
                      <a:lnTo>
                        <a:pt x="7" y="87"/>
                      </a:lnTo>
                      <a:lnTo>
                        <a:pt x="8" y="87"/>
                      </a:lnTo>
                      <a:lnTo>
                        <a:pt x="9" y="87"/>
                      </a:lnTo>
                      <a:lnTo>
                        <a:pt x="11" y="86"/>
                      </a:lnTo>
                      <a:lnTo>
                        <a:pt x="12" y="85"/>
                      </a:lnTo>
                      <a:lnTo>
                        <a:pt x="13" y="80"/>
                      </a:lnTo>
                      <a:lnTo>
                        <a:pt x="14" y="79"/>
                      </a:lnTo>
                      <a:lnTo>
                        <a:pt x="16" y="78"/>
                      </a:lnTo>
                      <a:lnTo>
                        <a:pt x="18" y="77"/>
                      </a:lnTo>
                      <a:lnTo>
                        <a:pt x="21" y="77"/>
                      </a:lnTo>
                      <a:lnTo>
                        <a:pt x="23" y="77"/>
                      </a:lnTo>
                      <a:lnTo>
                        <a:pt x="25" y="79"/>
                      </a:lnTo>
                      <a:lnTo>
                        <a:pt x="26" y="81"/>
                      </a:lnTo>
                      <a:lnTo>
                        <a:pt x="25" y="83"/>
                      </a:lnTo>
                      <a:lnTo>
                        <a:pt x="22" y="86"/>
                      </a:lnTo>
                      <a:lnTo>
                        <a:pt x="19" y="90"/>
                      </a:lnTo>
                      <a:lnTo>
                        <a:pt x="18" y="98"/>
                      </a:lnTo>
                      <a:lnTo>
                        <a:pt x="16" y="100"/>
                      </a:lnTo>
                      <a:lnTo>
                        <a:pt x="13" y="102"/>
                      </a:lnTo>
                      <a:lnTo>
                        <a:pt x="9" y="103"/>
                      </a:lnTo>
                      <a:lnTo>
                        <a:pt x="8" y="104"/>
                      </a:lnTo>
                      <a:lnTo>
                        <a:pt x="8" y="105"/>
                      </a:lnTo>
                      <a:lnTo>
                        <a:pt x="11" y="111"/>
                      </a:lnTo>
                      <a:lnTo>
                        <a:pt x="14" y="117"/>
                      </a:lnTo>
                      <a:lnTo>
                        <a:pt x="18" y="119"/>
                      </a:lnTo>
                      <a:lnTo>
                        <a:pt x="21" y="121"/>
                      </a:lnTo>
                      <a:lnTo>
                        <a:pt x="25" y="121"/>
                      </a:lnTo>
                      <a:lnTo>
                        <a:pt x="27" y="119"/>
                      </a:lnTo>
                      <a:lnTo>
                        <a:pt x="28" y="118"/>
                      </a:lnTo>
                      <a:lnTo>
                        <a:pt x="28" y="117"/>
                      </a:lnTo>
                      <a:lnTo>
                        <a:pt x="30" y="115"/>
                      </a:lnTo>
                      <a:lnTo>
                        <a:pt x="31" y="112"/>
                      </a:lnTo>
                      <a:lnTo>
                        <a:pt x="35" y="112"/>
                      </a:lnTo>
                      <a:lnTo>
                        <a:pt x="36" y="112"/>
                      </a:lnTo>
                      <a:lnTo>
                        <a:pt x="40" y="118"/>
                      </a:lnTo>
                      <a:lnTo>
                        <a:pt x="45" y="118"/>
                      </a:lnTo>
                      <a:lnTo>
                        <a:pt x="49" y="117"/>
                      </a:lnTo>
                      <a:lnTo>
                        <a:pt x="54" y="113"/>
                      </a:lnTo>
                      <a:lnTo>
                        <a:pt x="59" y="109"/>
                      </a:lnTo>
                      <a:lnTo>
                        <a:pt x="63" y="106"/>
                      </a:lnTo>
                      <a:lnTo>
                        <a:pt x="65" y="104"/>
                      </a:lnTo>
                      <a:lnTo>
                        <a:pt x="60" y="97"/>
                      </a:lnTo>
                      <a:lnTo>
                        <a:pt x="56" y="86"/>
                      </a:lnTo>
                      <a:lnTo>
                        <a:pt x="55" y="80"/>
                      </a:lnTo>
                      <a:lnTo>
                        <a:pt x="58" y="74"/>
                      </a:lnTo>
                      <a:lnTo>
                        <a:pt x="60" y="70"/>
                      </a:lnTo>
                      <a:lnTo>
                        <a:pt x="65" y="66"/>
                      </a:lnTo>
                      <a:lnTo>
                        <a:pt x="75" y="60"/>
                      </a:lnTo>
                      <a:lnTo>
                        <a:pt x="80" y="57"/>
                      </a:lnTo>
                      <a:lnTo>
                        <a:pt x="84" y="52"/>
                      </a:lnTo>
                      <a:lnTo>
                        <a:pt x="88" y="46"/>
                      </a:lnTo>
                      <a:lnTo>
                        <a:pt x="92" y="41"/>
                      </a:lnTo>
                      <a:lnTo>
                        <a:pt x="96" y="36"/>
                      </a:lnTo>
                      <a:lnTo>
                        <a:pt x="98" y="29"/>
                      </a:lnTo>
                      <a:lnTo>
                        <a:pt x="101" y="26"/>
                      </a:lnTo>
                      <a:lnTo>
                        <a:pt x="103" y="25"/>
                      </a:lnTo>
                      <a:lnTo>
                        <a:pt x="108" y="23"/>
                      </a:lnTo>
                      <a:lnTo>
                        <a:pt x="111" y="23"/>
                      </a:lnTo>
                      <a:lnTo>
                        <a:pt x="112" y="21"/>
                      </a:lnTo>
                      <a:lnTo>
                        <a:pt x="112" y="17"/>
                      </a:lnTo>
                      <a:lnTo>
                        <a:pt x="111" y="15"/>
                      </a:lnTo>
                      <a:lnTo>
                        <a:pt x="110" y="12"/>
                      </a:lnTo>
                      <a:lnTo>
                        <a:pt x="111" y="9"/>
                      </a:lnTo>
                      <a:lnTo>
                        <a:pt x="110" y="4"/>
                      </a:lnTo>
                      <a:lnTo>
                        <a:pt x="106" y="1"/>
                      </a:lnTo>
                      <a:lnTo>
                        <a:pt x="102" y="0"/>
                      </a:lnTo>
                      <a:lnTo>
                        <a:pt x="101" y="0"/>
                      </a:lnTo>
                      <a:lnTo>
                        <a:pt x="98" y="1"/>
                      </a:lnTo>
                      <a:lnTo>
                        <a:pt x="92" y="7"/>
                      </a:lnTo>
                      <a:lnTo>
                        <a:pt x="89" y="10"/>
                      </a:lnTo>
                      <a:lnTo>
                        <a:pt x="84" y="13"/>
                      </a:lnTo>
                      <a:lnTo>
                        <a:pt x="83" y="15"/>
                      </a:lnTo>
                      <a:lnTo>
                        <a:pt x="80" y="17"/>
                      </a:lnTo>
                      <a:lnTo>
                        <a:pt x="79" y="20"/>
                      </a:lnTo>
                      <a:lnTo>
                        <a:pt x="78" y="22"/>
                      </a:lnTo>
                      <a:lnTo>
                        <a:pt x="68" y="28"/>
                      </a:lnTo>
                      <a:lnTo>
                        <a:pt x="58" y="34"/>
                      </a:lnTo>
                      <a:lnTo>
                        <a:pt x="56" y="35"/>
                      </a:lnTo>
                      <a:lnTo>
                        <a:pt x="54" y="34"/>
                      </a:lnTo>
                      <a:lnTo>
                        <a:pt x="51" y="30"/>
                      </a:lnTo>
                      <a:lnTo>
                        <a:pt x="46" y="29"/>
                      </a:lnTo>
                      <a:lnTo>
                        <a:pt x="41" y="29"/>
                      </a:lnTo>
                      <a:lnTo>
                        <a:pt x="37" y="30"/>
                      </a:lnTo>
                      <a:lnTo>
                        <a:pt x="35" y="32"/>
                      </a:lnTo>
                      <a:lnTo>
                        <a:pt x="33" y="33"/>
                      </a:lnTo>
                      <a:lnTo>
                        <a:pt x="32" y="38"/>
                      </a:lnTo>
                      <a:lnTo>
                        <a:pt x="32" y="44"/>
                      </a:lnTo>
                      <a:lnTo>
                        <a:pt x="31" y="48"/>
                      </a:lnTo>
                      <a:lnTo>
                        <a:pt x="22" y="52"/>
                      </a:lnTo>
                      <a:lnTo>
                        <a:pt x="19" y="54"/>
                      </a:lnTo>
                      <a:lnTo>
                        <a:pt x="16" y="57"/>
                      </a:lnTo>
                      <a:lnTo>
                        <a:pt x="9" y="65"/>
                      </a:lnTo>
                      <a:lnTo>
                        <a:pt x="5" y="68"/>
                      </a:lnTo>
                      <a:lnTo>
                        <a:pt x="0" y="7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7" name="Freeform 606"/>
                <p:cNvSpPr>
                  <a:spLocks/>
                </p:cNvSpPr>
                <p:nvPr/>
              </p:nvSpPr>
              <p:spPr bwMode="auto">
                <a:xfrm>
                  <a:off x="5939730" y="3845868"/>
                  <a:ext cx="13318" cy="17758"/>
                </a:xfrm>
                <a:custGeom>
                  <a:avLst/>
                  <a:gdLst>
                    <a:gd name="T0" fmla="*/ 2147483647 w 9"/>
                    <a:gd name="T1" fmla="*/ 2147483647 h 12"/>
                    <a:gd name="T2" fmla="*/ 2147483647 w 9"/>
                    <a:gd name="T3" fmla="*/ 2147483647 h 12"/>
                    <a:gd name="T4" fmla="*/ 2147483647 w 9"/>
                    <a:gd name="T5" fmla="*/ 2147483647 h 12"/>
                    <a:gd name="T6" fmla="*/ 2147483647 w 9"/>
                    <a:gd name="T7" fmla="*/ 0 h 12"/>
                    <a:gd name="T8" fmla="*/ 0 w 9"/>
                    <a:gd name="T9" fmla="*/ 2147483647 h 12"/>
                    <a:gd name="T10" fmla="*/ 2147483647 w 9"/>
                    <a:gd name="T11" fmla="*/ 2147483647 h 12"/>
                    <a:gd name="T12" fmla="*/ 0 60000 65536"/>
                    <a:gd name="T13" fmla="*/ 0 60000 65536"/>
                    <a:gd name="T14" fmla="*/ 0 60000 65536"/>
                    <a:gd name="T15" fmla="*/ 0 60000 65536"/>
                    <a:gd name="T16" fmla="*/ 0 60000 65536"/>
                    <a:gd name="T17" fmla="*/ 0 60000 65536"/>
                    <a:gd name="T18" fmla="*/ 0 w 9"/>
                    <a:gd name="T19" fmla="*/ 0 h 12"/>
                    <a:gd name="T20" fmla="*/ 9 w 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9" h="12">
                      <a:moveTo>
                        <a:pt x="8" y="12"/>
                      </a:moveTo>
                      <a:lnTo>
                        <a:pt x="9" y="7"/>
                      </a:lnTo>
                      <a:lnTo>
                        <a:pt x="9" y="3"/>
                      </a:lnTo>
                      <a:lnTo>
                        <a:pt x="8" y="0"/>
                      </a:lnTo>
                      <a:lnTo>
                        <a:pt x="0" y="7"/>
                      </a:lnTo>
                      <a:lnTo>
                        <a:pt x="8"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8" name="Freeform 608"/>
                <p:cNvSpPr>
                  <a:spLocks/>
                </p:cNvSpPr>
                <p:nvPr/>
              </p:nvSpPr>
              <p:spPr bwMode="auto">
                <a:xfrm>
                  <a:off x="5938247" y="3844392"/>
                  <a:ext cx="13319" cy="17758"/>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0 h 12"/>
                    <a:gd name="T12" fmla="*/ 2147483647 w 9"/>
                    <a:gd name="T13" fmla="*/ 0 h 12"/>
                    <a:gd name="T14" fmla="*/ 0 w 9"/>
                    <a:gd name="T15" fmla="*/ 2147483647 h 12"/>
                    <a:gd name="T16" fmla="*/ 0 w 9"/>
                    <a:gd name="T17" fmla="*/ 2147483647 h 12"/>
                    <a:gd name="T18" fmla="*/ 2147483647 w 9"/>
                    <a:gd name="T19" fmla="*/ 2147483647 h 12"/>
                    <a:gd name="T20" fmla="*/ 2147483647 w 9"/>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7" y="12"/>
                      </a:moveTo>
                      <a:lnTo>
                        <a:pt x="7" y="12"/>
                      </a:lnTo>
                      <a:lnTo>
                        <a:pt x="9" y="7"/>
                      </a:lnTo>
                      <a:lnTo>
                        <a:pt x="9" y="3"/>
                      </a:lnTo>
                      <a:lnTo>
                        <a:pt x="7" y="0"/>
                      </a:lnTo>
                      <a:lnTo>
                        <a:pt x="0" y="7"/>
                      </a:lnTo>
                      <a:lnTo>
                        <a:pt x="7"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59" name="Freeform 610"/>
                <p:cNvSpPr>
                  <a:spLocks/>
                </p:cNvSpPr>
                <p:nvPr/>
              </p:nvSpPr>
              <p:spPr bwMode="auto">
                <a:xfrm>
                  <a:off x="6690021" y="2987546"/>
                  <a:ext cx="729577" cy="358129"/>
                </a:xfrm>
                <a:custGeom>
                  <a:avLst/>
                  <a:gdLst>
                    <a:gd name="T0" fmla="*/ 2147483647 w 534"/>
                    <a:gd name="T1" fmla="*/ 2147483647 h 242"/>
                    <a:gd name="T2" fmla="*/ 2147483647 w 534"/>
                    <a:gd name="T3" fmla="*/ 2147483647 h 242"/>
                    <a:gd name="T4" fmla="*/ 2147483647 w 534"/>
                    <a:gd name="T5" fmla="*/ 2147483647 h 242"/>
                    <a:gd name="T6" fmla="*/ 2147483647 w 534"/>
                    <a:gd name="T7" fmla="*/ 2147483647 h 242"/>
                    <a:gd name="T8" fmla="*/ 2147483647 w 534"/>
                    <a:gd name="T9" fmla="*/ 2147483647 h 242"/>
                    <a:gd name="T10" fmla="*/ 2147483647 w 534"/>
                    <a:gd name="T11" fmla="*/ 2147483647 h 242"/>
                    <a:gd name="T12" fmla="*/ 2147483647 w 534"/>
                    <a:gd name="T13" fmla="*/ 2147483647 h 242"/>
                    <a:gd name="T14" fmla="*/ 2147483647 w 534"/>
                    <a:gd name="T15" fmla="*/ 2147483647 h 242"/>
                    <a:gd name="T16" fmla="*/ 2147483647 w 534"/>
                    <a:gd name="T17" fmla="*/ 2147483647 h 242"/>
                    <a:gd name="T18" fmla="*/ 2147483647 w 534"/>
                    <a:gd name="T19" fmla="*/ 2147483647 h 242"/>
                    <a:gd name="T20" fmla="*/ 2147483647 w 534"/>
                    <a:gd name="T21" fmla="*/ 2147483647 h 242"/>
                    <a:gd name="T22" fmla="*/ 2147483647 w 534"/>
                    <a:gd name="T23" fmla="*/ 2147483647 h 242"/>
                    <a:gd name="T24" fmla="*/ 2147483647 w 534"/>
                    <a:gd name="T25" fmla="*/ 2147483647 h 242"/>
                    <a:gd name="T26" fmla="*/ 2147483647 w 534"/>
                    <a:gd name="T27" fmla="*/ 2147483647 h 242"/>
                    <a:gd name="T28" fmla="*/ 2147483647 w 534"/>
                    <a:gd name="T29" fmla="*/ 2147483647 h 242"/>
                    <a:gd name="T30" fmla="*/ 2147483647 w 534"/>
                    <a:gd name="T31" fmla="*/ 2147483647 h 242"/>
                    <a:gd name="T32" fmla="*/ 2147483647 w 534"/>
                    <a:gd name="T33" fmla="*/ 2147483647 h 242"/>
                    <a:gd name="T34" fmla="*/ 2147483647 w 534"/>
                    <a:gd name="T35" fmla="*/ 2147483647 h 242"/>
                    <a:gd name="T36" fmla="*/ 2147483647 w 534"/>
                    <a:gd name="T37" fmla="*/ 2147483647 h 242"/>
                    <a:gd name="T38" fmla="*/ 2147483647 w 534"/>
                    <a:gd name="T39" fmla="*/ 2147483647 h 242"/>
                    <a:gd name="T40" fmla="*/ 2147483647 w 534"/>
                    <a:gd name="T41" fmla="*/ 2147483647 h 242"/>
                    <a:gd name="T42" fmla="*/ 2147483647 w 534"/>
                    <a:gd name="T43" fmla="*/ 2147483647 h 242"/>
                    <a:gd name="T44" fmla="*/ 2147483647 w 534"/>
                    <a:gd name="T45" fmla="*/ 2147483647 h 242"/>
                    <a:gd name="T46" fmla="*/ 2147483647 w 534"/>
                    <a:gd name="T47" fmla="*/ 2147483647 h 242"/>
                    <a:gd name="T48" fmla="*/ 2147483647 w 534"/>
                    <a:gd name="T49" fmla="*/ 2147483647 h 242"/>
                    <a:gd name="T50" fmla="*/ 2147483647 w 534"/>
                    <a:gd name="T51" fmla="*/ 2147483647 h 242"/>
                    <a:gd name="T52" fmla="*/ 2147483647 w 534"/>
                    <a:gd name="T53" fmla="*/ 2147483647 h 242"/>
                    <a:gd name="T54" fmla="*/ 2147483647 w 534"/>
                    <a:gd name="T55" fmla="*/ 2147483647 h 242"/>
                    <a:gd name="T56" fmla="*/ 2147483647 w 534"/>
                    <a:gd name="T57" fmla="*/ 2147483647 h 242"/>
                    <a:gd name="T58" fmla="*/ 2147483647 w 534"/>
                    <a:gd name="T59" fmla="*/ 2147483647 h 242"/>
                    <a:gd name="T60" fmla="*/ 2147483647 w 534"/>
                    <a:gd name="T61" fmla="*/ 2147483647 h 242"/>
                    <a:gd name="T62" fmla="*/ 2147483647 w 534"/>
                    <a:gd name="T63" fmla="*/ 2147483647 h 242"/>
                    <a:gd name="T64" fmla="*/ 2147483647 w 534"/>
                    <a:gd name="T65" fmla="*/ 2147483647 h 242"/>
                    <a:gd name="T66" fmla="*/ 2147483647 w 534"/>
                    <a:gd name="T67" fmla="*/ 2147483647 h 242"/>
                    <a:gd name="T68" fmla="*/ 0 w 534"/>
                    <a:gd name="T69" fmla="*/ 2147483647 h 242"/>
                    <a:gd name="T70" fmla="*/ 2147483647 w 534"/>
                    <a:gd name="T71" fmla="*/ 2147483647 h 242"/>
                    <a:gd name="T72" fmla="*/ 2147483647 w 534"/>
                    <a:gd name="T73" fmla="*/ 2147483647 h 242"/>
                    <a:gd name="T74" fmla="*/ 2147483647 w 534"/>
                    <a:gd name="T75" fmla="*/ 2147483647 h 242"/>
                    <a:gd name="T76" fmla="*/ 2147483647 w 534"/>
                    <a:gd name="T77" fmla="*/ 2147483647 h 242"/>
                    <a:gd name="T78" fmla="*/ 2147483647 w 534"/>
                    <a:gd name="T79" fmla="*/ 2147483647 h 242"/>
                    <a:gd name="T80" fmla="*/ 2147483647 w 534"/>
                    <a:gd name="T81" fmla="*/ 2147483647 h 242"/>
                    <a:gd name="T82" fmla="*/ 2147483647 w 534"/>
                    <a:gd name="T83" fmla="*/ 2147483647 h 242"/>
                    <a:gd name="T84" fmla="*/ 2147483647 w 534"/>
                    <a:gd name="T85" fmla="*/ 2147483647 h 242"/>
                    <a:gd name="T86" fmla="*/ 2147483647 w 534"/>
                    <a:gd name="T87" fmla="*/ 2147483647 h 242"/>
                    <a:gd name="T88" fmla="*/ 2147483647 w 534"/>
                    <a:gd name="T89" fmla="*/ 2147483647 h 242"/>
                    <a:gd name="T90" fmla="*/ 2147483647 w 534"/>
                    <a:gd name="T91" fmla="*/ 2147483647 h 242"/>
                    <a:gd name="T92" fmla="*/ 2147483647 w 534"/>
                    <a:gd name="T93" fmla="*/ 2147483647 h 242"/>
                    <a:gd name="T94" fmla="*/ 2147483647 w 534"/>
                    <a:gd name="T95" fmla="*/ 2147483647 h 242"/>
                    <a:gd name="T96" fmla="*/ 2147483647 w 534"/>
                    <a:gd name="T97" fmla="*/ 0 h 242"/>
                    <a:gd name="T98" fmla="*/ 2147483647 w 534"/>
                    <a:gd name="T99" fmla="*/ 2147483647 h 242"/>
                    <a:gd name="T100" fmla="*/ 2147483647 w 534"/>
                    <a:gd name="T101" fmla="*/ 2147483647 h 242"/>
                    <a:gd name="T102" fmla="*/ 2147483647 w 534"/>
                    <a:gd name="T103" fmla="*/ 2147483647 h 242"/>
                    <a:gd name="T104" fmla="*/ 2147483647 w 534"/>
                    <a:gd name="T105" fmla="*/ 2147483647 h 242"/>
                    <a:gd name="T106" fmla="*/ 2147483647 w 534"/>
                    <a:gd name="T107" fmla="*/ 2147483647 h 242"/>
                    <a:gd name="T108" fmla="*/ 2147483647 w 534"/>
                    <a:gd name="T109" fmla="*/ 2147483647 h 242"/>
                    <a:gd name="T110" fmla="*/ 2147483647 w 534"/>
                    <a:gd name="T111" fmla="*/ 2147483647 h 242"/>
                    <a:gd name="T112" fmla="*/ 2147483647 w 534"/>
                    <a:gd name="T113" fmla="*/ 2147483647 h 242"/>
                    <a:gd name="T114" fmla="*/ 2147483647 w 534"/>
                    <a:gd name="T115" fmla="*/ 2147483647 h 242"/>
                    <a:gd name="T116" fmla="*/ 2147483647 w 534"/>
                    <a:gd name="T117" fmla="*/ 2147483647 h 242"/>
                    <a:gd name="T118" fmla="*/ 2147483647 w 534"/>
                    <a:gd name="T119" fmla="*/ 2147483647 h 242"/>
                    <a:gd name="T120" fmla="*/ 2147483647 w 534"/>
                    <a:gd name="T121" fmla="*/ 2147483647 h 242"/>
                    <a:gd name="T122" fmla="*/ 2147483647 w 534"/>
                    <a:gd name="T123" fmla="*/ 2147483647 h 242"/>
                    <a:gd name="T124" fmla="*/ 2147483647 w 534"/>
                    <a:gd name="T125" fmla="*/ 2147483647 h 2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4"/>
                    <a:gd name="T190" fmla="*/ 0 h 242"/>
                    <a:gd name="T191" fmla="*/ 534 w 534"/>
                    <a:gd name="T192" fmla="*/ 242 h 2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4" h="242">
                      <a:moveTo>
                        <a:pt x="481" y="49"/>
                      </a:moveTo>
                      <a:lnTo>
                        <a:pt x="474" y="55"/>
                      </a:lnTo>
                      <a:lnTo>
                        <a:pt x="473" y="58"/>
                      </a:lnTo>
                      <a:lnTo>
                        <a:pt x="473" y="62"/>
                      </a:lnTo>
                      <a:lnTo>
                        <a:pt x="476" y="64"/>
                      </a:lnTo>
                      <a:lnTo>
                        <a:pt x="477" y="65"/>
                      </a:lnTo>
                      <a:lnTo>
                        <a:pt x="477" y="67"/>
                      </a:lnTo>
                      <a:lnTo>
                        <a:pt x="474" y="73"/>
                      </a:lnTo>
                      <a:lnTo>
                        <a:pt x="471" y="76"/>
                      </a:lnTo>
                      <a:lnTo>
                        <a:pt x="468" y="82"/>
                      </a:lnTo>
                      <a:lnTo>
                        <a:pt x="468" y="84"/>
                      </a:lnTo>
                      <a:lnTo>
                        <a:pt x="469" y="88"/>
                      </a:lnTo>
                      <a:lnTo>
                        <a:pt x="472" y="93"/>
                      </a:lnTo>
                      <a:lnTo>
                        <a:pt x="474" y="94"/>
                      </a:lnTo>
                      <a:lnTo>
                        <a:pt x="478" y="95"/>
                      </a:lnTo>
                      <a:lnTo>
                        <a:pt x="482" y="96"/>
                      </a:lnTo>
                      <a:lnTo>
                        <a:pt x="487" y="96"/>
                      </a:lnTo>
                      <a:lnTo>
                        <a:pt x="497" y="95"/>
                      </a:lnTo>
                      <a:lnTo>
                        <a:pt x="507" y="95"/>
                      </a:lnTo>
                      <a:lnTo>
                        <a:pt x="513" y="95"/>
                      </a:lnTo>
                      <a:lnTo>
                        <a:pt x="516" y="96"/>
                      </a:lnTo>
                      <a:lnTo>
                        <a:pt x="524" y="100"/>
                      </a:lnTo>
                      <a:lnTo>
                        <a:pt x="530" y="106"/>
                      </a:lnTo>
                      <a:lnTo>
                        <a:pt x="533" y="109"/>
                      </a:lnTo>
                      <a:lnTo>
                        <a:pt x="534" y="113"/>
                      </a:lnTo>
                      <a:lnTo>
                        <a:pt x="534" y="116"/>
                      </a:lnTo>
                      <a:lnTo>
                        <a:pt x="534" y="120"/>
                      </a:lnTo>
                      <a:lnTo>
                        <a:pt x="532" y="122"/>
                      </a:lnTo>
                      <a:lnTo>
                        <a:pt x="527" y="125"/>
                      </a:lnTo>
                      <a:lnTo>
                        <a:pt x="516" y="127"/>
                      </a:lnTo>
                      <a:lnTo>
                        <a:pt x="509" y="127"/>
                      </a:lnTo>
                      <a:lnTo>
                        <a:pt x="500" y="128"/>
                      </a:lnTo>
                      <a:lnTo>
                        <a:pt x="496" y="128"/>
                      </a:lnTo>
                      <a:lnTo>
                        <a:pt x="494" y="131"/>
                      </a:lnTo>
                      <a:lnTo>
                        <a:pt x="490" y="133"/>
                      </a:lnTo>
                      <a:lnTo>
                        <a:pt x="486" y="137"/>
                      </a:lnTo>
                      <a:lnTo>
                        <a:pt x="485" y="138"/>
                      </a:lnTo>
                      <a:lnTo>
                        <a:pt x="483" y="138"/>
                      </a:lnTo>
                      <a:lnTo>
                        <a:pt x="480" y="138"/>
                      </a:lnTo>
                      <a:lnTo>
                        <a:pt x="472" y="134"/>
                      </a:lnTo>
                      <a:lnTo>
                        <a:pt x="471" y="134"/>
                      </a:lnTo>
                      <a:lnTo>
                        <a:pt x="469" y="137"/>
                      </a:lnTo>
                      <a:lnTo>
                        <a:pt x="467" y="140"/>
                      </a:lnTo>
                      <a:lnTo>
                        <a:pt x="464" y="145"/>
                      </a:lnTo>
                      <a:lnTo>
                        <a:pt x="463" y="150"/>
                      </a:lnTo>
                      <a:lnTo>
                        <a:pt x="462" y="152"/>
                      </a:lnTo>
                      <a:lnTo>
                        <a:pt x="460" y="152"/>
                      </a:lnTo>
                      <a:lnTo>
                        <a:pt x="447" y="155"/>
                      </a:lnTo>
                      <a:lnTo>
                        <a:pt x="443" y="155"/>
                      </a:lnTo>
                      <a:lnTo>
                        <a:pt x="427" y="167"/>
                      </a:lnTo>
                      <a:lnTo>
                        <a:pt x="424" y="170"/>
                      </a:lnTo>
                      <a:lnTo>
                        <a:pt x="420" y="171"/>
                      </a:lnTo>
                      <a:lnTo>
                        <a:pt x="416" y="171"/>
                      </a:lnTo>
                      <a:lnTo>
                        <a:pt x="411" y="170"/>
                      </a:lnTo>
                      <a:lnTo>
                        <a:pt x="403" y="166"/>
                      </a:lnTo>
                      <a:lnTo>
                        <a:pt x="394" y="164"/>
                      </a:lnTo>
                      <a:lnTo>
                        <a:pt x="391" y="163"/>
                      </a:lnTo>
                      <a:lnTo>
                        <a:pt x="388" y="164"/>
                      </a:lnTo>
                      <a:lnTo>
                        <a:pt x="384" y="166"/>
                      </a:lnTo>
                      <a:lnTo>
                        <a:pt x="382" y="170"/>
                      </a:lnTo>
                      <a:lnTo>
                        <a:pt x="379" y="177"/>
                      </a:lnTo>
                      <a:lnTo>
                        <a:pt x="378" y="180"/>
                      </a:lnTo>
                      <a:lnTo>
                        <a:pt x="378" y="184"/>
                      </a:lnTo>
                      <a:lnTo>
                        <a:pt x="379" y="188"/>
                      </a:lnTo>
                      <a:lnTo>
                        <a:pt x="383" y="190"/>
                      </a:lnTo>
                      <a:lnTo>
                        <a:pt x="386" y="191"/>
                      </a:lnTo>
                      <a:lnTo>
                        <a:pt x="388" y="193"/>
                      </a:lnTo>
                      <a:lnTo>
                        <a:pt x="389" y="197"/>
                      </a:lnTo>
                      <a:lnTo>
                        <a:pt x="389" y="199"/>
                      </a:lnTo>
                      <a:lnTo>
                        <a:pt x="389" y="203"/>
                      </a:lnTo>
                      <a:lnTo>
                        <a:pt x="388" y="206"/>
                      </a:lnTo>
                      <a:lnTo>
                        <a:pt x="384" y="211"/>
                      </a:lnTo>
                      <a:lnTo>
                        <a:pt x="378" y="216"/>
                      </a:lnTo>
                      <a:lnTo>
                        <a:pt x="368" y="220"/>
                      </a:lnTo>
                      <a:lnTo>
                        <a:pt x="356" y="222"/>
                      </a:lnTo>
                      <a:lnTo>
                        <a:pt x="345" y="223"/>
                      </a:lnTo>
                      <a:lnTo>
                        <a:pt x="340" y="222"/>
                      </a:lnTo>
                      <a:lnTo>
                        <a:pt x="334" y="221"/>
                      </a:lnTo>
                      <a:lnTo>
                        <a:pt x="330" y="221"/>
                      </a:lnTo>
                      <a:lnTo>
                        <a:pt x="325" y="221"/>
                      </a:lnTo>
                      <a:lnTo>
                        <a:pt x="320" y="223"/>
                      </a:lnTo>
                      <a:lnTo>
                        <a:pt x="316" y="225"/>
                      </a:lnTo>
                      <a:lnTo>
                        <a:pt x="307" y="233"/>
                      </a:lnTo>
                      <a:lnTo>
                        <a:pt x="298" y="238"/>
                      </a:lnTo>
                      <a:lnTo>
                        <a:pt x="290" y="242"/>
                      </a:lnTo>
                      <a:lnTo>
                        <a:pt x="284" y="242"/>
                      </a:lnTo>
                      <a:lnTo>
                        <a:pt x="269" y="242"/>
                      </a:lnTo>
                      <a:lnTo>
                        <a:pt x="261" y="241"/>
                      </a:lnTo>
                      <a:lnTo>
                        <a:pt x="252" y="238"/>
                      </a:lnTo>
                      <a:lnTo>
                        <a:pt x="248" y="236"/>
                      </a:lnTo>
                      <a:lnTo>
                        <a:pt x="243" y="231"/>
                      </a:lnTo>
                      <a:lnTo>
                        <a:pt x="240" y="227"/>
                      </a:lnTo>
                      <a:lnTo>
                        <a:pt x="236" y="224"/>
                      </a:lnTo>
                      <a:lnTo>
                        <a:pt x="233" y="223"/>
                      </a:lnTo>
                      <a:lnTo>
                        <a:pt x="229" y="223"/>
                      </a:lnTo>
                      <a:lnTo>
                        <a:pt x="226" y="224"/>
                      </a:lnTo>
                      <a:lnTo>
                        <a:pt x="219" y="225"/>
                      </a:lnTo>
                      <a:lnTo>
                        <a:pt x="213" y="228"/>
                      </a:lnTo>
                      <a:lnTo>
                        <a:pt x="209" y="229"/>
                      </a:lnTo>
                      <a:lnTo>
                        <a:pt x="207" y="228"/>
                      </a:lnTo>
                      <a:lnTo>
                        <a:pt x="182" y="224"/>
                      </a:lnTo>
                      <a:lnTo>
                        <a:pt x="171" y="222"/>
                      </a:lnTo>
                      <a:lnTo>
                        <a:pt x="158" y="220"/>
                      </a:lnTo>
                      <a:lnTo>
                        <a:pt x="153" y="218"/>
                      </a:lnTo>
                      <a:lnTo>
                        <a:pt x="149" y="217"/>
                      </a:lnTo>
                      <a:lnTo>
                        <a:pt x="146" y="214"/>
                      </a:lnTo>
                      <a:lnTo>
                        <a:pt x="142" y="210"/>
                      </a:lnTo>
                      <a:lnTo>
                        <a:pt x="138" y="205"/>
                      </a:lnTo>
                      <a:lnTo>
                        <a:pt x="134" y="199"/>
                      </a:lnTo>
                      <a:lnTo>
                        <a:pt x="129" y="193"/>
                      </a:lnTo>
                      <a:lnTo>
                        <a:pt x="125" y="188"/>
                      </a:lnTo>
                      <a:lnTo>
                        <a:pt x="121" y="183"/>
                      </a:lnTo>
                      <a:lnTo>
                        <a:pt x="118" y="182"/>
                      </a:lnTo>
                      <a:lnTo>
                        <a:pt x="107" y="179"/>
                      </a:lnTo>
                      <a:lnTo>
                        <a:pt x="100" y="176"/>
                      </a:lnTo>
                      <a:lnTo>
                        <a:pt x="85" y="167"/>
                      </a:lnTo>
                      <a:lnTo>
                        <a:pt x="80" y="165"/>
                      </a:lnTo>
                      <a:lnTo>
                        <a:pt x="77" y="165"/>
                      </a:lnTo>
                      <a:lnTo>
                        <a:pt x="74" y="163"/>
                      </a:lnTo>
                      <a:lnTo>
                        <a:pt x="72" y="159"/>
                      </a:lnTo>
                      <a:lnTo>
                        <a:pt x="69" y="154"/>
                      </a:lnTo>
                      <a:lnTo>
                        <a:pt x="67" y="145"/>
                      </a:lnTo>
                      <a:lnTo>
                        <a:pt x="64" y="134"/>
                      </a:lnTo>
                      <a:lnTo>
                        <a:pt x="62" y="125"/>
                      </a:lnTo>
                      <a:lnTo>
                        <a:pt x="53" y="118"/>
                      </a:lnTo>
                      <a:lnTo>
                        <a:pt x="45" y="110"/>
                      </a:lnTo>
                      <a:lnTo>
                        <a:pt x="40" y="108"/>
                      </a:lnTo>
                      <a:lnTo>
                        <a:pt x="35" y="107"/>
                      </a:lnTo>
                      <a:lnTo>
                        <a:pt x="30" y="106"/>
                      </a:lnTo>
                      <a:lnTo>
                        <a:pt x="24" y="107"/>
                      </a:lnTo>
                      <a:lnTo>
                        <a:pt x="20" y="107"/>
                      </a:lnTo>
                      <a:lnTo>
                        <a:pt x="17" y="105"/>
                      </a:lnTo>
                      <a:lnTo>
                        <a:pt x="14" y="101"/>
                      </a:lnTo>
                      <a:lnTo>
                        <a:pt x="10" y="99"/>
                      </a:lnTo>
                      <a:lnTo>
                        <a:pt x="6" y="96"/>
                      </a:lnTo>
                      <a:lnTo>
                        <a:pt x="3" y="94"/>
                      </a:lnTo>
                      <a:lnTo>
                        <a:pt x="2" y="90"/>
                      </a:lnTo>
                      <a:lnTo>
                        <a:pt x="1" y="86"/>
                      </a:lnTo>
                      <a:lnTo>
                        <a:pt x="0" y="77"/>
                      </a:lnTo>
                      <a:lnTo>
                        <a:pt x="0" y="69"/>
                      </a:lnTo>
                      <a:lnTo>
                        <a:pt x="6" y="65"/>
                      </a:lnTo>
                      <a:lnTo>
                        <a:pt x="12" y="64"/>
                      </a:lnTo>
                      <a:lnTo>
                        <a:pt x="20" y="63"/>
                      </a:lnTo>
                      <a:lnTo>
                        <a:pt x="29" y="62"/>
                      </a:lnTo>
                      <a:lnTo>
                        <a:pt x="30" y="62"/>
                      </a:lnTo>
                      <a:lnTo>
                        <a:pt x="31" y="61"/>
                      </a:lnTo>
                      <a:lnTo>
                        <a:pt x="31" y="57"/>
                      </a:lnTo>
                      <a:lnTo>
                        <a:pt x="27" y="51"/>
                      </a:lnTo>
                      <a:lnTo>
                        <a:pt x="26" y="49"/>
                      </a:lnTo>
                      <a:lnTo>
                        <a:pt x="26" y="48"/>
                      </a:lnTo>
                      <a:lnTo>
                        <a:pt x="33" y="44"/>
                      </a:lnTo>
                      <a:lnTo>
                        <a:pt x="38" y="42"/>
                      </a:lnTo>
                      <a:lnTo>
                        <a:pt x="44" y="39"/>
                      </a:lnTo>
                      <a:lnTo>
                        <a:pt x="49" y="36"/>
                      </a:lnTo>
                      <a:lnTo>
                        <a:pt x="53" y="33"/>
                      </a:lnTo>
                      <a:lnTo>
                        <a:pt x="58" y="31"/>
                      </a:lnTo>
                      <a:lnTo>
                        <a:pt x="63" y="31"/>
                      </a:lnTo>
                      <a:lnTo>
                        <a:pt x="68" y="31"/>
                      </a:lnTo>
                      <a:lnTo>
                        <a:pt x="78" y="31"/>
                      </a:lnTo>
                      <a:lnTo>
                        <a:pt x="90" y="33"/>
                      </a:lnTo>
                      <a:lnTo>
                        <a:pt x="91" y="32"/>
                      </a:lnTo>
                      <a:lnTo>
                        <a:pt x="92" y="30"/>
                      </a:lnTo>
                      <a:lnTo>
                        <a:pt x="94" y="29"/>
                      </a:lnTo>
                      <a:lnTo>
                        <a:pt x="96" y="27"/>
                      </a:lnTo>
                      <a:lnTo>
                        <a:pt x="99" y="29"/>
                      </a:lnTo>
                      <a:lnTo>
                        <a:pt x="101" y="30"/>
                      </a:lnTo>
                      <a:lnTo>
                        <a:pt x="102" y="32"/>
                      </a:lnTo>
                      <a:lnTo>
                        <a:pt x="104" y="33"/>
                      </a:lnTo>
                      <a:lnTo>
                        <a:pt x="110" y="36"/>
                      </a:lnTo>
                      <a:lnTo>
                        <a:pt x="114" y="39"/>
                      </a:lnTo>
                      <a:lnTo>
                        <a:pt x="119" y="43"/>
                      </a:lnTo>
                      <a:lnTo>
                        <a:pt x="123" y="46"/>
                      </a:lnTo>
                      <a:lnTo>
                        <a:pt x="127" y="46"/>
                      </a:lnTo>
                      <a:lnTo>
                        <a:pt x="129" y="46"/>
                      </a:lnTo>
                      <a:lnTo>
                        <a:pt x="135" y="45"/>
                      </a:lnTo>
                      <a:lnTo>
                        <a:pt x="139" y="45"/>
                      </a:lnTo>
                      <a:lnTo>
                        <a:pt x="143" y="46"/>
                      </a:lnTo>
                      <a:lnTo>
                        <a:pt x="147" y="48"/>
                      </a:lnTo>
                      <a:lnTo>
                        <a:pt x="149" y="49"/>
                      </a:lnTo>
                      <a:lnTo>
                        <a:pt x="165" y="48"/>
                      </a:lnTo>
                      <a:lnTo>
                        <a:pt x="172" y="46"/>
                      </a:lnTo>
                      <a:lnTo>
                        <a:pt x="180" y="48"/>
                      </a:lnTo>
                      <a:lnTo>
                        <a:pt x="182" y="46"/>
                      </a:lnTo>
                      <a:lnTo>
                        <a:pt x="185" y="45"/>
                      </a:lnTo>
                      <a:lnTo>
                        <a:pt x="186" y="42"/>
                      </a:lnTo>
                      <a:lnTo>
                        <a:pt x="186" y="38"/>
                      </a:lnTo>
                      <a:lnTo>
                        <a:pt x="181" y="32"/>
                      </a:lnTo>
                      <a:lnTo>
                        <a:pt x="177" y="25"/>
                      </a:lnTo>
                      <a:lnTo>
                        <a:pt x="176" y="19"/>
                      </a:lnTo>
                      <a:lnTo>
                        <a:pt x="176" y="16"/>
                      </a:lnTo>
                      <a:lnTo>
                        <a:pt x="177" y="13"/>
                      </a:lnTo>
                      <a:lnTo>
                        <a:pt x="181" y="10"/>
                      </a:lnTo>
                      <a:lnTo>
                        <a:pt x="186" y="7"/>
                      </a:lnTo>
                      <a:lnTo>
                        <a:pt x="198" y="1"/>
                      </a:lnTo>
                      <a:lnTo>
                        <a:pt x="200" y="0"/>
                      </a:lnTo>
                      <a:lnTo>
                        <a:pt x="204" y="0"/>
                      </a:lnTo>
                      <a:lnTo>
                        <a:pt x="212" y="1"/>
                      </a:lnTo>
                      <a:lnTo>
                        <a:pt x="219" y="4"/>
                      </a:lnTo>
                      <a:lnTo>
                        <a:pt x="227" y="5"/>
                      </a:lnTo>
                      <a:lnTo>
                        <a:pt x="228" y="6"/>
                      </a:lnTo>
                      <a:lnTo>
                        <a:pt x="231" y="8"/>
                      </a:lnTo>
                      <a:lnTo>
                        <a:pt x="232" y="11"/>
                      </a:lnTo>
                      <a:lnTo>
                        <a:pt x="236" y="12"/>
                      </a:lnTo>
                      <a:lnTo>
                        <a:pt x="236" y="14"/>
                      </a:lnTo>
                      <a:lnTo>
                        <a:pt x="242" y="16"/>
                      </a:lnTo>
                      <a:lnTo>
                        <a:pt x="243" y="18"/>
                      </a:lnTo>
                      <a:lnTo>
                        <a:pt x="245" y="20"/>
                      </a:lnTo>
                      <a:lnTo>
                        <a:pt x="247" y="26"/>
                      </a:lnTo>
                      <a:lnTo>
                        <a:pt x="250" y="32"/>
                      </a:lnTo>
                      <a:lnTo>
                        <a:pt x="254" y="37"/>
                      </a:lnTo>
                      <a:lnTo>
                        <a:pt x="257" y="42"/>
                      </a:lnTo>
                      <a:lnTo>
                        <a:pt x="265" y="46"/>
                      </a:lnTo>
                      <a:lnTo>
                        <a:pt x="271" y="49"/>
                      </a:lnTo>
                      <a:lnTo>
                        <a:pt x="279" y="50"/>
                      </a:lnTo>
                      <a:lnTo>
                        <a:pt x="285" y="49"/>
                      </a:lnTo>
                      <a:lnTo>
                        <a:pt x="289" y="46"/>
                      </a:lnTo>
                      <a:lnTo>
                        <a:pt x="292" y="44"/>
                      </a:lnTo>
                      <a:lnTo>
                        <a:pt x="297" y="42"/>
                      </a:lnTo>
                      <a:lnTo>
                        <a:pt x="299" y="40"/>
                      </a:lnTo>
                      <a:lnTo>
                        <a:pt x="303" y="42"/>
                      </a:lnTo>
                      <a:lnTo>
                        <a:pt x="317" y="48"/>
                      </a:lnTo>
                      <a:lnTo>
                        <a:pt x="321" y="49"/>
                      </a:lnTo>
                      <a:lnTo>
                        <a:pt x="325" y="49"/>
                      </a:lnTo>
                      <a:lnTo>
                        <a:pt x="328" y="49"/>
                      </a:lnTo>
                      <a:lnTo>
                        <a:pt x="332" y="49"/>
                      </a:lnTo>
                      <a:lnTo>
                        <a:pt x="335" y="49"/>
                      </a:lnTo>
                      <a:lnTo>
                        <a:pt x="336" y="51"/>
                      </a:lnTo>
                      <a:lnTo>
                        <a:pt x="337" y="55"/>
                      </a:lnTo>
                      <a:lnTo>
                        <a:pt x="341" y="59"/>
                      </a:lnTo>
                      <a:lnTo>
                        <a:pt x="342" y="63"/>
                      </a:lnTo>
                      <a:lnTo>
                        <a:pt x="345" y="64"/>
                      </a:lnTo>
                      <a:lnTo>
                        <a:pt x="349" y="64"/>
                      </a:lnTo>
                      <a:lnTo>
                        <a:pt x="351" y="64"/>
                      </a:lnTo>
                      <a:lnTo>
                        <a:pt x="355" y="63"/>
                      </a:lnTo>
                      <a:lnTo>
                        <a:pt x="358" y="63"/>
                      </a:lnTo>
                      <a:lnTo>
                        <a:pt x="372" y="65"/>
                      </a:lnTo>
                      <a:lnTo>
                        <a:pt x="384" y="65"/>
                      </a:lnTo>
                      <a:lnTo>
                        <a:pt x="391" y="64"/>
                      </a:lnTo>
                      <a:lnTo>
                        <a:pt x="397" y="63"/>
                      </a:lnTo>
                      <a:lnTo>
                        <a:pt x="403" y="61"/>
                      </a:lnTo>
                      <a:lnTo>
                        <a:pt x="410" y="56"/>
                      </a:lnTo>
                      <a:lnTo>
                        <a:pt x="416" y="52"/>
                      </a:lnTo>
                      <a:lnTo>
                        <a:pt x="422" y="50"/>
                      </a:lnTo>
                      <a:lnTo>
                        <a:pt x="438" y="46"/>
                      </a:lnTo>
                      <a:lnTo>
                        <a:pt x="441" y="45"/>
                      </a:lnTo>
                      <a:lnTo>
                        <a:pt x="447" y="45"/>
                      </a:lnTo>
                      <a:lnTo>
                        <a:pt x="455" y="46"/>
                      </a:lnTo>
                      <a:lnTo>
                        <a:pt x="463" y="49"/>
                      </a:lnTo>
                      <a:lnTo>
                        <a:pt x="467" y="49"/>
                      </a:lnTo>
                      <a:lnTo>
                        <a:pt x="471" y="48"/>
                      </a:lnTo>
                      <a:lnTo>
                        <a:pt x="476" y="48"/>
                      </a:lnTo>
                      <a:lnTo>
                        <a:pt x="481" y="4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0" name="Freeform 611"/>
                <p:cNvSpPr>
                  <a:spLocks/>
                </p:cNvSpPr>
                <p:nvPr/>
              </p:nvSpPr>
              <p:spPr bwMode="auto">
                <a:xfrm>
                  <a:off x="7020034" y="3931701"/>
                  <a:ext cx="162786" cy="445442"/>
                </a:xfrm>
                <a:custGeom>
                  <a:avLst/>
                  <a:gdLst>
                    <a:gd name="T0" fmla="*/ 2147483647 w 120"/>
                    <a:gd name="T1" fmla="*/ 2147483647 h 301"/>
                    <a:gd name="T2" fmla="*/ 2147483647 w 120"/>
                    <a:gd name="T3" fmla="*/ 2147483647 h 301"/>
                    <a:gd name="T4" fmla="*/ 2147483647 w 120"/>
                    <a:gd name="T5" fmla="*/ 2147483647 h 301"/>
                    <a:gd name="T6" fmla="*/ 2147483647 w 120"/>
                    <a:gd name="T7" fmla="*/ 2147483647 h 301"/>
                    <a:gd name="T8" fmla="*/ 2147483647 w 120"/>
                    <a:gd name="T9" fmla="*/ 2147483647 h 301"/>
                    <a:gd name="T10" fmla="*/ 2147483647 w 120"/>
                    <a:gd name="T11" fmla="*/ 2147483647 h 301"/>
                    <a:gd name="T12" fmla="*/ 2147483647 w 120"/>
                    <a:gd name="T13" fmla="*/ 2147483647 h 301"/>
                    <a:gd name="T14" fmla="*/ 2147483647 w 120"/>
                    <a:gd name="T15" fmla="*/ 2147483647 h 301"/>
                    <a:gd name="T16" fmla="*/ 2147483647 w 120"/>
                    <a:gd name="T17" fmla="*/ 2147483647 h 301"/>
                    <a:gd name="T18" fmla="*/ 2147483647 w 120"/>
                    <a:gd name="T19" fmla="*/ 2147483647 h 301"/>
                    <a:gd name="T20" fmla="*/ 2147483647 w 120"/>
                    <a:gd name="T21" fmla="*/ 2147483647 h 301"/>
                    <a:gd name="T22" fmla="*/ 2147483647 w 120"/>
                    <a:gd name="T23" fmla="*/ 2147483647 h 301"/>
                    <a:gd name="T24" fmla="*/ 2147483647 w 120"/>
                    <a:gd name="T25" fmla="*/ 2147483647 h 301"/>
                    <a:gd name="T26" fmla="*/ 2147483647 w 120"/>
                    <a:gd name="T27" fmla="*/ 2147483647 h 301"/>
                    <a:gd name="T28" fmla="*/ 2147483647 w 120"/>
                    <a:gd name="T29" fmla="*/ 2147483647 h 301"/>
                    <a:gd name="T30" fmla="*/ 2147483647 w 120"/>
                    <a:gd name="T31" fmla="*/ 2147483647 h 301"/>
                    <a:gd name="T32" fmla="*/ 2147483647 w 120"/>
                    <a:gd name="T33" fmla="*/ 2147483647 h 301"/>
                    <a:gd name="T34" fmla="*/ 2147483647 w 120"/>
                    <a:gd name="T35" fmla="*/ 2147483647 h 301"/>
                    <a:gd name="T36" fmla="*/ 2147483647 w 120"/>
                    <a:gd name="T37" fmla="*/ 2147483647 h 301"/>
                    <a:gd name="T38" fmla="*/ 2147483647 w 120"/>
                    <a:gd name="T39" fmla="*/ 2147483647 h 301"/>
                    <a:gd name="T40" fmla="*/ 2147483647 w 120"/>
                    <a:gd name="T41" fmla="*/ 2147483647 h 301"/>
                    <a:gd name="T42" fmla="*/ 2147483647 w 120"/>
                    <a:gd name="T43" fmla="*/ 2147483647 h 301"/>
                    <a:gd name="T44" fmla="*/ 2147483647 w 120"/>
                    <a:gd name="T45" fmla="*/ 2147483647 h 301"/>
                    <a:gd name="T46" fmla="*/ 2147483647 w 120"/>
                    <a:gd name="T47" fmla="*/ 2147483647 h 301"/>
                    <a:gd name="T48" fmla="*/ 2147483647 w 120"/>
                    <a:gd name="T49" fmla="*/ 2147483647 h 301"/>
                    <a:gd name="T50" fmla="*/ 2147483647 w 120"/>
                    <a:gd name="T51" fmla="*/ 2147483647 h 301"/>
                    <a:gd name="T52" fmla="*/ 2147483647 w 120"/>
                    <a:gd name="T53" fmla="*/ 2147483647 h 301"/>
                    <a:gd name="T54" fmla="*/ 2147483647 w 120"/>
                    <a:gd name="T55" fmla="*/ 2147483647 h 301"/>
                    <a:gd name="T56" fmla="*/ 2147483647 w 120"/>
                    <a:gd name="T57" fmla="*/ 2147483647 h 301"/>
                    <a:gd name="T58" fmla="*/ 2147483647 w 120"/>
                    <a:gd name="T59" fmla="*/ 2147483647 h 301"/>
                    <a:gd name="T60" fmla="*/ 2147483647 w 120"/>
                    <a:gd name="T61" fmla="*/ 2147483647 h 301"/>
                    <a:gd name="T62" fmla="*/ 2147483647 w 120"/>
                    <a:gd name="T63" fmla="*/ 2147483647 h 301"/>
                    <a:gd name="T64" fmla="*/ 2147483647 w 120"/>
                    <a:gd name="T65" fmla="*/ 2147483647 h 301"/>
                    <a:gd name="T66" fmla="*/ 2147483647 w 120"/>
                    <a:gd name="T67" fmla="*/ 2147483647 h 301"/>
                    <a:gd name="T68" fmla="*/ 2147483647 w 120"/>
                    <a:gd name="T69" fmla="*/ 2147483647 h 301"/>
                    <a:gd name="T70" fmla="*/ 2147483647 w 120"/>
                    <a:gd name="T71" fmla="*/ 2147483647 h 301"/>
                    <a:gd name="T72" fmla="*/ 2147483647 w 120"/>
                    <a:gd name="T73" fmla="*/ 2147483647 h 301"/>
                    <a:gd name="T74" fmla="*/ 2147483647 w 120"/>
                    <a:gd name="T75" fmla="*/ 2147483647 h 301"/>
                    <a:gd name="T76" fmla="*/ 2147483647 w 120"/>
                    <a:gd name="T77" fmla="*/ 2147483647 h 301"/>
                    <a:gd name="T78" fmla="*/ 2147483647 w 120"/>
                    <a:gd name="T79" fmla="*/ 2147483647 h 301"/>
                    <a:gd name="T80" fmla="*/ 2147483647 w 120"/>
                    <a:gd name="T81" fmla="*/ 2147483647 h 301"/>
                    <a:gd name="T82" fmla="*/ 2147483647 w 120"/>
                    <a:gd name="T83" fmla="*/ 2147483647 h 301"/>
                    <a:gd name="T84" fmla="*/ 2147483647 w 120"/>
                    <a:gd name="T85" fmla="*/ 2147483647 h 301"/>
                    <a:gd name="T86" fmla="*/ 2147483647 w 120"/>
                    <a:gd name="T87" fmla="*/ 2147483647 h 301"/>
                    <a:gd name="T88" fmla="*/ 2147483647 w 120"/>
                    <a:gd name="T89" fmla="*/ 2147483647 h 301"/>
                    <a:gd name="T90" fmla="*/ 2147483647 w 120"/>
                    <a:gd name="T91" fmla="*/ 2147483647 h 301"/>
                    <a:gd name="T92" fmla="*/ 2147483647 w 120"/>
                    <a:gd name="T93" fmla="*/ 2147483647 h 301"/>
                    <a:gd name="T94" fmla="*/ 2147483647 w 120"/>
                    <a:gd name="T95" fmla="*/ 2147483647 h 301"/>
                    <a:gd name="T96" fmla="*/ 2147483647 w 120"/>
                    <a:gd name="T97" fmla="*/ 2147483647 h 301"/>
                    <a:gd name="T98" fmla="*/ 2147483647 w 120"/>
                    <a:gd name="T99" fmla="*/ 2147483647 h 301"/>
                    <a:gd name="T100" fmla="*/ 2147483647 w 120"/>
                    <a:gd name="T101" fmla="*/ 2147483647 h 301"/>
                    <a:gd name="T102" fmla="*/ 2147483647 w 120"/>
                    <a:gd name="T103" fmla="*/ 2147483647 h 301"/>
                    <a:gd name="T104" fmla="*/ 2147483647 w 120"/>
                    <a:gd name="T105" fmla="*/ 2147483647 h 301"/>
                    <a:gd name="T106" fmla="*/ 2147483647 w 120"/>
                    <a:gd name="T107" fmla="*/ 2147483647 h 301"/>
                    <a:gd name="T108" fmla="*/ 2147483647 w 120"/>
                    <a:gd name="T109" fmla="*/ 2147483647 h 301"/>
                    <a:gd name="T110" fmla="*/ 2147483647 w 120"/>
                    <a:gd name="T111" fmla="*/ 2147483647 h 301"/>
                    <a:gd name="T112" fmla="*/ 2147483647 w 120"/>
                    <a:gd name="T113" fmla="*/ 2147483647 h 301"/>
                    <a:gd name="T114" fmla="*/ 2147483647 w 120"/>
                    <a:gd name="T115" fmla="*/ 2147483647 h 301"/>
                    <a:gd name="T116" fmla="*/ 2147483647 w 120"/>
                    <a:gd name="T117" fmla="*/ 2147483647 h 301"/>
                    <a:gd name="T118" fmla="*/ 2147483647 w 120"/>
                    <a:gd name="T119" fmla="*/ 2147483647 h 301"/>
                    <a:gd name="T120" fmla="*/ 2147483647 w 120"/>
                    <a:gd name="T121" fmla="*/ 2147483647 h 301"/>
                    <a:gd name="T122" fmla="*/ 2147483647 w 120"/>
                    <a:gd name="T123" fmla="*/ 2147483647 h 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0"/>
                    <a:gd name="T187" fmla="*/ 0 h 301"/>
                    <a:gd name="T188" fmla="*/ 120 w 120"/>
                    <a:gd name="T189" fmla="*/ 301 h 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0" h="301">
                      <a:moveTo>
                        <a:pt x="82" y="180"/>
                      </a:moveTo>
                      <a:lnTo>
                        <a:pt x="84" y="189"/>
                      </a:lnTo>
                      <a:lnTo>
                        <a:pt x="86" y="197"/>
                      </a:lnTo>
                      <a:lnTo>
                        <a:pt x="87" y="200"/>
                      </a:lnTo>
                      <a:lnTo>
                        <a:pt x="87" y="204"/>
                      </a:lnTo>
                      <a:lnTo>
                        <a:pt x="84" y="211"/>
                      </a:lnTo>
                      <a:lnTo>
                        <a:pt x="80" y="219"/>
                      </a:lnTo>
                      <a:lnTo>
                        <a:pt x="76" y="235"/>
                      </a:lnTo>
                      <a:lnTo>
                        <a:pt x="76" y="237"/>
                      </a:lnTo>
                      <a:lnTo>
                        <a:pt x="73" y="238"/>
                      </a:lnTo>
                      <a:lnTo>
                        <a:pt x="67" y="240"/>
                      </a:lnTo>
                      <a:lnTo>
                        <a:pt x="67" y="241"/>
                      </a:lnTo>
                      <a:lnTo>
                        <a:pt x="66" y="242"/>
                      </a:lnTo>
                      <a:lnTo>
                        <a:pt x="65" y="245"/>
                      </a:lnTo>
                      <a:lnTo>
                        <a:pt x="66" y="248"/>
                      </a:lnTo>
                      <a:lnTo>
                        <a:pt x="65" y="251"/>
                      </a:lnTo>
                      <a:lnTo>
                        <a:pt x="63" y="254"/>
                      </a:lnTo>
                      <a:lnTo>
                        <a:pt x="59" y="255"/>
                      </a:lnTo>
                      <a:lnTo>
                        <a:pt x="56" y="254"/>
                      </a:lnTo>
                      <a:lnTo>
                        <a:pt x="52" y="254"/>
                      </a:lnTo>
                      <a:lnTo>
                        <a:pt x="47" y="254"/>
                      </a:lnTo>
                      <a:lnTo>
                        <a:pt x="46" y="255"/>
                      </a:lnTo>
                      <a:lnTo>
                        <a:pt x="43" y="256"/>
                      </a:lnTo>
                      <a:lnTo>
                        <a:pt x="40" y="260"/>
                      </a:lnTo>
                      <a:lnTo>
                        <a:pt x="39" y="264"/>
                      </a:lnTo>
                      <a:lnTo>
                        <a:pt x="39" y="269"/>
                      </a:lnTo>
                      <a:lnTo>
                        <a:pt x="42" y="269"/>
                      </a:lnTo>
                      <a:lnTo>
                        <a:pt x="43" y="269"/>
                      </a:lnTo>
                      <a:lnTo>
                        <a:pt x="46" y="270"/>
                      </a:lnTo>
                      <a:lnTo>
                        <a:pt x="46" y="272"/>
                      </a:lnTo>
                      <a:lnTo>
                        <a:pt x="46" y="274"/>
                      </a:lnTo>
                      <a:lnTo>
                        <a:pt x="42" y="277"/>
                      </a:lnTo>
                      <a:lnTo>
                        <a:pt x="40" y="282"/>
                      </a:lnTo>
                      <a:lnTo>
                        <a:pt x="39" y="292"/>
                      </a:lnTo>
                      <a:lnTo>
                        <a:pt x="38" y="294"/>
                      </a:lnTo>
                      <a:lnTo>
                        <a:pt x="35" y="295"/>
                      </a:lnTo>
                      <a:lnTo>
                        <a:pt x="35" y="298"/>
                      </a:lnTo>
                      <a:lnTo>
                        <a:pt x="37" y="300"/>
                      </a:lnTo>
                      <a:lnTo>
                        <a:pt x="39" y="301"/>
                      </a:lnTo>
                      <a:lnTo>
                        <a:pt x="42" y="300"/>
                      </a:lnTo>
                      <a:lnTo>
                        <a:pt x="47" y="296"/>
                      </a:lnTo>
                      <a:lnTo>
                        <a:pt x="52" y="290"/>
                      </a:lnTo>
                      <a:lnTo>
                        <a:pt x="54" y="288"/>
                      </a:lnTo>
                      <a:lnTo>
                        <a:pt x="58" y="286"/>
                      </a:lnTo>
                      <a:lnTo>
                        <a:pt x="61" y="287"/>
                      </a:lnTo>
                      <a:lnTo>
                        <a:pt x="62" y="287"/>
                      </a:lnTo>
                      <a:lnTo>
                        <a:pt x="63" y="286"/>
                      </a:lnTo>
                      <a:lnTo>
                        <a:pt x="63" y="285"/>
                      </a:lnTo>
                      <a:lnTo>
                        <a:pt x="66" y="283"/>
                      </a:lnTo>
                      <a:lnTo>
                        <a:pt x="68" y="283"/>
                      </a:lnTo>
                      <a:lnTo>
                        <a:pt x="71" y="282"/>
                      </a:lnTo>
                      <a:lnTo>
                        <a:pt x="72" y="280"/>
                      </a:lnTo>
                      <a:lnTo>
                        <a:pt x="71" y="270"/>
                      </a:lnTo>
                      <a:lnTo>
                        <a:pt x="72" y="267"/>
                      </a:lnTo>
                      <a:lnTo>
                        <a:pt x="75" y="263"/>
                      </a:lnTo>
                      <a:lnTo>
                        <a:pt x="79" y="262"/>
                      </a:lnTo>
                      <a:lnTo>
                        <a:pt x="82" y="262"/>
                      </a:lnTo>
                      <a:lnTo>
                        <a:pt x="86" y="263"/>
                      </a:lnTo>
                      <a:lnTo>
                        <a:pt x="91" y="263"/>
                      </a:lnTo>
                      <a:lnTo>
                        <a:pt x="95" y="262"/>
                      </a:lnTo>
                      <a:lnTo>
                        <a:pt x="96" y="260"/>
                      </a:lnTo>
                      <a:lnTo>
                        <a:pt x="104" y="251"/>
                      </a:lnTo>
                      <a:lnTo>
                        <a:pt x="108" y="248"/>
                      </a:lnTo>
                      <a:lnTo>
                        <a:pt x="112" y="245"/>
                      </a:lnTo>
                      <a:lnTo>
                        <a:pt x="115" y="244"/>
                      </a:lnTo>
                      <a:lnTo>
                        <a:pt x="118" y="243"/>
                      </a:lnTo>
                      <a:lnTo>
                        <a:pt x="119" y="242"/>
                      </a:lnTo>
                      <a:lnTo>
                        <a:pt x="120" y="237"/>
                      </a:lnTo>
                      <a:lnTo>
                        <a:pt x="119" y="234"/>
                      </a:lnTo>
                      <a:lnTo>
                        <a:pt x="117" y="231"/>
                      </a:lnTo>
                      <a:lnTo>
                        <a:pt x="117" y="228"/>
                      </a:lnTo>
                      <a:lnTo>
                        <a:pt x="118" y="222"/>
                      </a:lnTo>
                      <a:lnTo>
                        <a:pt x="118" y="218"/>
                      </a:lnTo>
                      <a:lnTo>
                        <a:pt x="117" y="215"/>
                      </a:lnTo>
                      <a:lnTo>
                        <a:pt x="114" y="212"/>
                      </a:lnTo>
                      <a:lnTo>
                        <a:pt x="113" y="209"/>
                      </a:lnTo>
                      <a:lnTo>
                        <a:pt x="110" y="197"/>
                      </a:lnTo>
                      <a:lnTo>
                        <a:pt x="109" y="191"/>
                      </a:lnTo>
                      <a:lnTo>
                        <a:pt x="110" y="185"/>
                      </a:lnTo>
                      <a:lnTo>
                        <a:pt x="110" y="183"/>
                      </a:lnTo>
                      <a:lnTo>
                        <a:pt x="109" y="183"/>
                      </a:lnTo>
                      <a:lnTo>
                        <a:pt x="106" y="179"/>
                      </a:lnTo>
                      <a:lnTo>
                        <a:pt x="104" y="177"/>
                      </a:lnTo>
                      <a:lnTo>
                        <a:pt x="103" y="171"/>
                      </a:lnTo>
                      <a:lnTo>
                        <a:pt x="101" y="164"/>
                      </a:lnTo>
                      <a:lnTo>
                        <a:pt x="99" y="158"/>
                      </a:lnTo>
                      <a:lnTo>
                        <a:pt x="93" y="148"/>
                      </a:lnTo>
                      <a:lnTo>
                        <a:pt x="85" y="141"/>
                      </a:lnTo>
                      <a:lnTo>
                        <a:pt x="77" y="133"/>
                      </a:lnTo>
                      <a:lnTo>
                        <a:pt x="70" y="125"/>
                      </a:lnTo>
                      <a:lnTo>
                        <a:pt x="70" y="122"/>
                      </a:lnTo>
                      <a:lnTo>
                        <a:pt x="71" y="120"/>
                      </a:lnTo>
                      <a:lnTo>
                        <a:pt x="71" y="117"/>
                      </a:lnTo>
                      <a:lnTo>
                        <a:pt x="71" y="115"/>
                      </a:lnTo>
                      <a:lnTo>
                        <a:pt x="68" y="114"/>
                      </a:lnTo>
                      <a:lnTo>
                        <a:pt x="67" y="113"/>
                      </a:lnTo>
                      <a:lnTo>
                        <a:pt x="65" y="111"/>
                      </a:lnTo>
                      <a:lnTo>
                        <a:pt x="63" y="110"/>
                      </a:lnTo>
                      <a:lnTo>
                        <a:pt x="62" y="107"/>
                      </a:lnTo>
                      <a:lnTo>
                        <a:pt x="62" y="103"/>
                      </a:lnTo>
                      <a:lnTo>
                        <a:pt x="61" y="100"/>
                      </a:lnTo>
                      <a:lnTo>
                        <a:pt x="59" y="96"/>
                      </a:lnTo>
                      <a:lnTo>
                        <a:pt x="54" y="90"/>
                      </a:lnTo>
                      <a:lnTo>
                        <a:pt x="54" y="88"/>
                      </a:lnTo>
                      <a:lnTo>
                        <a:pt x="54" y="87"/>
                      </a:lnTo>
                      <a:lnTo>
                        <a:pt x="58" y="83"/>
                      </a:lnTo>
                      <a:lnTo>
                        <a:pt x="58" y="81"/>
                      </a:lnTo>
                      <a:lnTo>
                        <a:pt x="62" y="75"/>
                      </a:lnTo>
                      <a:lnTo>
                        <a:pt x="65" y="70"/>
                      </a:lnTo>
                      <a:lnTo>
                        <a:pt x="71" y="59"/>
                      </a:lnTo>
                      <a:lnTo>
                        <a:pt x="75" y="56"/>
                      </a:lnTo>
                      <a:lnTo>
                        <a:pt x="81" y="52"/>
                      </a:lnTo>
                      <a:lnTo>
                        <a:pt x="86" y="50"/>
                      </a:lnTo>
                      <a:lnTo>
                        <a:pt x="91" y="46"/>
                      </a:lnTo>
                      <a:lnTo>
                        <a:pt x="95" y="43"/>
                      </a:lnTo>
                      <a:lnTo>
                        <a:pt x="101" y="42"/>
                      </a:lnTo>
                      <a:lnTo>
                        <a:pt x="99" y="38"/>
                      </a:lnTo>
                      <a:lnTo>
                        <a:pt x="95" y="36"/>
                      </a:lnTo>
                      <a:lnTo>
                        <a:pt x="89" y="32"/>
                      </a:lnTo>
                      <a:lnTo>
                        <a:pt x="81" y="28"/>
                      </a:lnTo>
                      <a:lnTo>
                        <a:pt x="73" y="25"/>
                      </a:lnTo>
                      <a:lnTo>
                        <a:pt x="71" y="24"/>
                      </a:lnTo>
                      <a:lnTo>
                        <a:pt x="71" y="23"/>
                      </a:lnTo>
                      <a:lnTo>
                        <a:pt x="71" y="19"/>
                      </a:lnTo>
                      <a:lnTo>
                        <a:pt x="72" y="14"/>
                      </a:lnTo>
                      <a:lnTo>
                        <a:pt x="72" y="12"/>
                      </a:lnTo>
                      <a:lnTo>
                        <a:pt x="72" y="11"/>
                      </a:lnTo>
                      <a:lnTo>
                        <a:pt x="67" y="5"/>
                      </a:lnTo>
                      <a:lnTo>
                        <a:pt x="62" y="2"/>
                      </a:lnTo>
                      <a:lnTo>
                        <a:pt x="57" y="0"/>
                      </a:lnTo>
                      <a:lnTo>
                        <a:pt x="49" y="1"/>
                      </a:lnTo>
                      <a:lnTo>
                        <a:pt x="38" y="5"/>
                      </a:lnTo>
                      <a:lnTo>
                        <a:pt x="29" y="7"/>
                      </a:lnTo>
                      <a:lnTo>
                        <a:pt x="21" y="12"/>
                      </a:lnTo>
                      <a:lnTo>
                        <a:pt x="18" y="13"/>
                      </a:lnTo>
                      <a:lnTo>
                        <a:pt x="13" y="14"/>
                      </a:lnTo>
                      <a:lnTo>
                        <a:pt x="5" y="13"/>
                      </a:lnTo>
                      <a:lnTo>
                        <a:pt x="2" y="14"/>
                      </a:lnTo>
                      <a:lnTo>
                        <a:pt x="0" y="17"/>
                      </a:lnTo>
                      <a:lnTo>
                        <a:pt x="2" y="18"/>
                      </a:lnTo>
                      <a:lnTo>
                        <a:pt x="9" y="24"/>
                      </a:lnTo>
                      <a:lnTo>
                        <a:pt x="14" y="30"/>
                      </a:lnTo>
                      <a:lnTo>
                        <a:pt x="18" y="38"/>
                      </a:lnTo>
                      <a:lnTo>
                        <a:pt x="21" y="45"/>
                      </a:lnTo>
                      <a:lnTo>
                        <a:pt x="21" y="46"/>
                      </a:lnTo>
                      <a:lnTo>
                        <a:pt x="23" y="47"/>
                      </a:lnTo>
                      <a:lnTo>
                        <a:pt x="33" y="47"/>
                      </a:lnTo>
                      <a:lnTo>
                        <a:pt x="38" y="47"/>
                      </a:lnTo>
                      <a:lnTo>
                        <a:pt x="42" y="49"/>
                      </a:lnTo>
                      <a:lnTo>
                        <a:pt x="43" y="50"/>
                      </a:lnTo>
                      <a:lnTo>
                        <a:pt x="44" y="51"/>
                      </a:lnTo>
                      <a:lnTo>
                        <a:pt x="43" y="53"/>
                      </a:lnTo>
                      <a:lnTo>
                        <a:pt x="42" y="57"/>
                      </a:lnTo>
                      <a:lnTo>
                        <a:pt x="42" y="60"/>
                      </a:lnTo>
                      <a:lnTo>
                        <a:pt x="43" y="62"/>
                      </a:lnTo>
                      <a:lnTo>
                        <a:pt x="46" y="62"/>
                      </a:lnTo>
                      <a:lnTo>
                        <a:pt x="47" y="63"/>
                      </a:lnTo>
                      <a:lnTo>
                        <a:pt x="46" y="64"/>
                      </a:lnTo>
                      <a:lnTo>
                        <a:pt x="44" y="66"/>
                      </a:lnTo>
                      <a:lnTo>
                        <a:pt x="42" y="75"/>
                      </a:lnTo>
                      <a:lnTo>
                        <a:pt x="40" y="78"/>
                      </a:lnTo>
                      <a:lnTo>
                        <a:pt x="38" y="79"/>
                      </a:lnTo>
                      <a:lnTo>
                        <a:pt x="35" y="79"/>
                      </a:lnTo>
                      <a:lnTo>
                        <a:pt x="33" y="82"/>
                      </a:lnTo>
                      <a:lnTo>
                        <a:pt x="33" y="84"/>
                      </a:lnTo>
                      <a:lnTo>
                        <a:pt x="33" y="87"/>
                      </a:lnTo>
                      <a:lnTo>
                        <a:pt x="32" y="89"/>
                      </a:lnTo>
                      <a:lnTo>
                        <a:pt x="30" y="92"/>
                      </a:lnTo>
                      <a:lnTo>
                        <a:pt x="30" y="95"/>
                      </a:lnTo>
                      <a:lnTo>
                        <a:pt x="30" y="97"/>
                      </a:lnTo>
                      <a:lnTo>
                        <a:pt x="33" y="98"/>
                      </a:lnTo>
                      <a:lnTo>
                        <a:pt x="38" y="98"/>
                      </a:lnTo>
                      <a:lnTo>
                        <a:pt x="42" y="101"/>
                      </a:lnTo>
                      <a:lnTo>
                        <a:pt x="44" y="103"/>
                      </a:lnTo>
                      <a:lnTo>
                        <a:pt x="47" y="107"/>
                      </a:lnTo>
                      <a:lnTo>
                        <a:pt x="51" y="115"/>
                      </a:lnTo>
                      <a:lnTo>
                        <a:pt x="54" y="122"/>
                      </a:lnTo>
                      <a:lnTo>
                        <a:pt x="58" y="126"/>
                      </a:lnTo>
                      <a:lnTo>
                        <a:pt x="62" y="130"/>
                      </a:lnTo>
                      <a:lnTo>
                        <a:pt x="65" y="135"/>
                      </a:lnTo>
                      <a:lnTo>
                        <a:pt x="67" y="140"/>
                      </a:lnTo>
                      <a:lnTo>
                        <a:pt x="76" y="149"/>
                      </a:lnTo>
                      <a:lnTo>
                        <a:pt x="77" y="152"/>
                      </a:lnTo>
                      <a:lnTo>
                        <a:pt x="79" y="155"/>
                      </a:lnTo>
                      <a:lnTo>
                        <a:pt x="81" y="161"/>
                      </a:lnTo>
                      <a:lnTo>
                        <a:pt x="81" y="167"/>
                      </a:lnTo>
                      <a:lnTo>
                        <a:pt x="82" y="18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1" name="Freeform 613"/>
                <p:cNvSpPr>
                  <a:spLocks/>
                </p:cNvSpPr>
                <p:nvPr/>
              </p:nvSpPr>
              <p:spPr bwMode="auto">
                <a:xfrm>
                  <a:off x="7018553" y="3930221"/>
                  <a:ext cx="162786" cy="445442"/>
                </a:xfrm>
                <a:custGeom>
                  <a:avLst/>
                  <a:gdLst>
                    <a:gd name="T0" fmla="*/ 2147483647 w 120"/>
                    <a:gd name="T1" fmla="*/ 2147483647 h 301"/>
                    <a:gd name="T2" fmla="*/ 2147483647 w 120"/>
                    <a:gd name="T3" fmla="*/ 2147483647 h 301"/>
                    <a:gd name="T4" fmla="*/ 2147483647 w 120"/>
                    <a:gd name="T5" fmla="*/ 2147483647 h 301"/>
                    <a:gd name="T6" fmla="*/ 2147483647 w 120"/>
                    <a:gd name="T7" fmla="*/ 2147483647 h 301"/>
                    <a:gd name="T8" fmla="*/ 2147483647 w 120"/>
                    <a:gd name="T9" fmla="*/ 2147483647 h 301"/>
                    <a:gd name="T10" fmla="*/ 2147483647 w 120"/>
                    <a:gd name="T11" fmla="*/ 2147483647 h 301"/>
                    <a:gd name="T12" fmla="*/ 2147483647 w 120"/>
                    <a:gd name="T13" fmla="*/ 2147483647 h 301"/>
                    <a:gd name="T14" fmla="*/ 2147483647 w 120"/>
                    <a:gd name="T15" fmla="*/ 2147483647 h 301"/>
                    <a:gd name="T16" fmla="*/ 2147483647 w 120"/>
                    <a:gd name="T17" fmla="*/ 2147483647 h 301"/>
                    <a:gd name="T18" fmla="*/ 2147483647 w 120"/>
                    <a:gd name="T19" fmla="*/ 2147483647 h 301"/>
                    <a:gd name="T20" fmla="*/ 2147483647 w 120"/>
                    <a:gd name="T21" fmla="*/ 2147483647 h 301"/>
                    <a:gd name="T22" fmla="*/ 2147483647 w 120"/>
                    <a:gd name="T23" fmla="*/ 2147483647 h 301"/>
                    <a:gd name="T24" fmla="*/ 2147483647 w 120"/>
                    <a:gd name="T25" fmla="*/ 2147483647 h 301"/>
                    <a:gd name="T26" fmla="*/ 2147483647 w 120"/>
                    <a:gd name="T27" fmla="*/ 2147483647 h 301"/>
                    <a:gd name="T28" fmla="*/ 2147483647 w 120"/>
                    <a:gd name="T29" fmla="*/ 2147483647 h 301"/>
                    <a:gd name="T30" fmla="*/ 2147483647 w 120"/>
                    <a:gd name="T31" fmla="*/ 2147483647 h 301"/>
                    <a:gd name="T32" fmla="*/ 2147483647 w 120"/>
                    <a:gd name="T33" fmla="*/ 2147483647 h 301"/>
                    <a:gd name="T34" fmla="*/ 2147483647 w 120"/>
                    <a:gd name="T35" fmla="*/ 2147483647 h 301"/>
                    <a:gd name="T36" fmla="*/ 2147483647 w 120"/>
                    <a:gd name="T37" fmla="*/ 2147483647 h 301"/>
                    <a:gd name="T38" fmla="*/ 2147483647 w 120"/>
                    <a:gd name="T39" fmla="*/ 2147483647 h 301"/>
                    <a:gd name="T40" fmla="*/ 2147483647 w 120"/>
                    <a:gd name="T41" fmla="*/ 2147483647 h 301"/>
                    <a:gd name="T42" fmla="*/ 2147483647 w 120"/>
                    <a:gd name="T43" fmla="*/ 2147483647 h 301"/>
                    <a:gd name="T44" fmla="*/ 2147483647 w 120"/>
                    <a:gd name="T45" fmla="*/ 2147483647 h 301"/>
                    <a:gd name="T46" fmla="*/ 2147483647 w 120"/>
                    <a:gd name="T47" fmla="*/ 2147483647 h 301"/>
                    <a:gd name="T48" fmla="*/ 2147483647 w 120"/>
                    <a:gd name="T49" fmla="*/ 2147483647 h 301"/>
                    <a:gd name="T50" fmla="*/ 2147483647 w 120"/>
                    <a:gd name="T51" fmla="*/ 2147483647 h 301"/>
                    <a:gd name="T52" fmla="*/ 2147483647 w 120"/>
                    <a:gd name="T53" fmla="*/ 2147483647 h 301"/>
                    <a:gd name="T54" fmla="*/ 2147483647 w 120"/>
                    <a:gd name="T55" fmla="*/ 2147483647 h 301"/>
                    <a:gd name="T56" fmla="*/ 2147483647 w 120"/>
                    <a:gd name="T57" fmla="*/ 2147483647 h 301"/>
                    <a:gd name="T58" fmla="*/ 2147483647 w 120"/>
                    <a:gd name="T59" fmla="*/ 2147483647 h 301"/>
                    <a:gd name="T60" fmla="*/ 2147483647 w 120"/>
                    <a:gd name="T61" fmla="*/ 2147483647 h 301"/>
                    <a:gd name="T62" fmla="*/ 2147483647 w 120"/>
                    <a:gd name="T63" fmla="*/ 2147483647 h 301"/>
                    <a:gd name="T64" fmla="*/ 2147483647 w 120"/>
                    <a:gd name="T65" fmla="*/ 2147483647 h 301"/>
                    <a:gd name="T66" fmla="*/ 2147483647 w 120"/>
                    <a:gd name="T67" fmla="*/ 2147483647 h 301"/>
                    <a:gd name="T68" fmla="*/ 2147483647 w 120"/>
                    <a:gd name="T69" fmla="*/ 2147483647 h 301"/>
                    <a:gd name="T70" fmla="*/ 2147483647 w 120"/>
                    <a:gd name="T71" fmla="*/ 2147483647 h 301"/>
                    <a:gd name="T72" fmla="*/ 2147483647 w 120"/>
                    <a:gd name="T73" fmla="*/ 2147483647 h 301"/>
                    <a:gd name="T74" fmla="*/ 2147483647 w 120"/>
                    <a:gd name="T75" fmla="*/ 2147483647 h 301"/>
                    <a:gd name="T76" fmla="*/ 2147483647 w 120"/>
                    <a:gd name="T77" fmla="*/ 2147483647 h 301"/>
                    <a:gd name="T78" fmla="*/ 2147483647 w 120"/>
                    <a:gd name="T79" fmla="*/ 2147483647 h 301"/>
                    <a:gd name="T80" fmla="*/ 2147483647 w 120"/>
                    <a:gd name="T81" fmla="*/ 2147483647 h 301"/>
                    <a:gd name="T82" fmla="*/ 2147483647 w 120"/>
                    <a:gd name="T83" fmla="*/ 2147483647 h 301"/>
                    <a:gd name="T84" fmla="*/ 2147483647 w 120"/>
                    <a:gd name="T85" fmla="*/ 0 h 301"/>
                    <a:gd name="T86" fmla="*/ 2147483647 w 120"/>
                    <a:gd name="T87" fmla="*/ 2147483647 h 301"/>
                    <a:gd name="T88" fmla="*/ 2147483647 w 120"/>
                    <a:gd name="T89" fmla="*/ 2147483647 h 301"/>
                    <a:gd name="T90" fmla="*/ 2147483647 w 120"/>
                    <a:gd name="T91" fmla="*/ 2147483647 h 301"/>
                    <a:gd name="T92" fmla="*/ 2147483647 w 120"/>
                    <a:gd name="T93" fmla="*/ 2147483647 h 301"/>
                    <a:gd name="T94" fmla="*/ 2147483647 w 120"/>
                    <a:gd name="T95" fmla="*/ 2147483647 h 301"/>
                    <a:gd name="T96" fmla="*/ 2147483647 w 120"/>
                    <a:gd name="T97" fmla="*/ 2147483647 h 301"/>
                    <a:gd name="T98" fmla="*/ 2147483647 w 120"/>
                    <a:gd name="T99" fmla="*/ 2147483647 h 301"/>
                    <a:gd name="T100" fmla="*/ 2147483647 w 120"/>
                    <a:gd name="T101" fmla="*/ 2147483647 h 301"/>
                    <a:gd name="T102" fmla="*/ 2147483647 w 120"/>
                    <a:gd name="T103" fmla="*/ 2147483647 h 301"/>
                    <a:gd name="T104" fmla="*/ 2147483647 w 120"/>
                    <a:gd name="T105" fmla="*/ 2147483647 h 301"/>
                    <a:gd name="T106" fmla="*/ 2147483647 w 120"/>
                    <a:gd name="T107" fmla="*/ 2147483647 h 301"/>
                    <a:gd name="T108" fmla="*/ 2147483647 w 120"/>
                    <a:gd name="T109" fmla="*/ 2147483647 h 301"/>
                    <a:gd name="T110" fmla="*/ 2147483647 w 120"/>
                    <a:gd name="T111" fmla="*/ 2147483647 h 301"/>
                    <a:gd name="T112" fmla="*/ 2147483647 w 120"/>
                    <a:gd name="T113" fmla="*/ 2147483647 h 301"/>
                    <a:gd name="T114" fmla="*/ 2147483647 w 120"/>
                    <a:gd name="T115" fmla="*/ 2147483647 h 301"/>
                    <a:gd name="T116" fmla="*/ 2147483647 w 120"/>
                    <a:gd name="T117" fmla="*/ 2147483647 h 301"/>
                    <a:gd name="T118" fmla="*/ 2147483647 w 120"/>
                    <a:gd name="T119" fmla="*/ 2147483647 h 301"/>
                    <a:gd name="T120" fmla="*/ 2147483647 w 120"/>
                    <a:gd name="T121" fmla="*/ 2147483647 h 301"/>
                    <a:gd name="T122" fmla="*/ 2147483647 w 120"/>
                    <a:gd name="T123" fmla="*/ 2147483647 h 301"/>
                    <a:gd name="T124" fmla="*/ 2147483647 w 120"/>
                    <a:gd name="T125" fmla="*/ 2147483647 h 3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0"/>
                    <a:gd name="T190" fmla="*/ 0 h 301"/>
                    <a:gd name="T191" fmla="*/ 120 w 120"/>
                    <a:gd name="T192" fmla="*/ 301 h 3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0" h="301">
                      <a:moveTo>
                        <a:pt x="82" y="180"/>
                      </a:moveTo>
                      <a:lnTo>
                        <a:pt x="82" y="180"/>
                      </a:lnTo>
                      <a:lnTo>
                        <a:pt x="83" y="188"/>
                      </a:lnTo>
                      <a:lnTo>
                        <a:pt x="86" y="197"/>
                      </a:lnTo>
                      <a:lnTo>
                        <a:pt x="87" y="200"/>
                      </a:lnTo>
                      <a:lnTo>
                        <a:pt x="87" y="204"/>
                      </a:lnTo>
                      <a:lnTo>
                        <a:pt x="83" y="211"/>
                      </a:lnTo>
                      <a:lnTo>
                        <a:pt x="80" y="219"/>
                      </a:lnTo>
                      <a:lnTo>
                        <a:pt x="76" y="235"/>
                      </a:lnTo>
                      <a:lnTo>
                        <a:pt x="76" y="237"/>
                      </a:lnTo>
                      <a:lnTo>
                        <a:pt x="73" y="238"/>
                      </a:lnTo>
                      <a:lnTo>
                        <a:pt x="67" y="239"/>
                      </a:lnTo>
                      <a:lnTo>
                        <a:pt x="67" y="241"/>
                      </a:lnTo>
                      <a:lnTo>
                        <a:pt x="66" y="242"/>
                      </a:lnTo>
                      <a:lnTo>
                        <a:pt x="64" y="245"/>
                      </a:lnTo>
                      <a:lnTo>
                        <a:pt x="66" y="248"/>
                      </a:lnTo>
                      <a:lnTo>
                        <a:pt x="64" y="251"/>
                      </a:lnTo>
                      <a:lnTo>
                        <a:pt x="63" y="254"/>
                      </a:lnTo>
                      <a:lnTo>
                        <a:pt x="59" y="255"/>
                      </a:lnTo>
                      <a:lnTo>
                        <a:pt x="55" y="254"/>
                      </a:lnTo>
                      <a:lnTo>
                        <a:pt x="52" y="254"/>
                      </a:lnTo>
                      <a:lnTo>
                        <a:pt x="47" y="254"/>
                      </a:lnTo>
                      <a:lnTo>
                        <a:pt x="45" y="255"/>
                      </a:lnTo>
                      <a:lnTo>
                        <a:pt x="43" y="256"/>
                      </a:lnTo>
                      <a:lnTo>
                        <a:pt x="40" y="259"/>
                      </a:lnTo>
                      <a:lnTo>
                        <a:pt x="39" y="264"/>
                      </a:lnTo>
                      <a:lnTo>
                        <a:pt x="39" y="269"/>
                      </a:lnTo>
                      <a:lnTo>
                        <a:pt x="41" y="269"/>
                      </a:lnTo>
                      <a:lnTo>
                        <a:pt x="43" y="269"/>
                      </a:lnTo>
                      <a:lnTo>
                        <a:pt x="45" y="270"/>
                      </a:lnTo>
                      <a:lnTo>
                        <a:pt x="45" y="271"/>
                      </a:lnTo>
                      <a:lnTo>
                        <a:pt x="45" y="274"/>
                      </a:lnTo>
                      <a:lnTo>
                        <a:pt x="41" y="277"/>
                      </a:lnTo>
                      <a:lnTo>
                        <a:pt x="40" y="282"/>
                      </a:lnTo>
                      <a:lnTo>
                        <a:pt x="39" y="291"/>
                      </a:lnTo>
                      <a:lnTo>
                        <a:pt x="38" y="294"/>
                      </a:lnTo>
                      <a:lnTo>
                        <a:pt x="35" y="295"/>
                      </a:lnTo>
                      <a:lnTo>
                        <a:pt x="35" y="297"/>
                      </a:lnTo>
                      <a:lnTo>
                        <a:pt x="36" y="300"/>
                      </a:lnTo>
                      <a:lnTo>
                        <a:pt x="39" y="301"/>
                      </a:lnTo>
                      <a:lnTo>
                        <a:pt x="41" y="300"/>
                      </a:lnTo>
                      <a:lnTo>
                        <a:pt x="47" y="296"/>
                      </a:lnTo>
                      <a:lnTo>
                        <a:pt x="52" y="290"/>
                      </a:lnTo>
                      <a:lnTo>
                        <a:pt x="54" y="288"/>
                      </a:lnTo>
                      <a:lnTo>
                        <a:pt x="58" y="286"/>
                      </a:lnTo>
                      <a:lnTo>
                        <a:pt x="60" y="287"/>
                      </a:lnTo>
                      <a:lnTo>
                        <a:pt x="62" y="287"/>
                      </a:lnTo>
                      <a:lnTo>
                        <a:pt x="63" y="286"/>
                      </a:lnTo>
                      <a:lnTo>
                        <a:pt x="63" y="284"/>
                      </a:lnTo>
                      <a:lnTo>
                        <a:pt x="66" y="283"/>
                      </a:lnTo>
                      <a:lnTo>
                        <a:pt x="68" y="283"/>
                      </a:lnTo>
                      <a:lnTo>
                        <a:pt x="71" y="282"/>
                      </a:lnTo>
                      <a:lnTo>
                        <a:pt x="72" y="280"/>
                      </a:lnTo>
                      <a:lnTo>
                        <a:pt x="71" y="270"/>
                      </a:lnTo>
                      <a:lnTo>
                        <a:pt x="72" y="267"/>
                      </a:lnTo>
                      <a:lnTo>
                        <a:pt x="74" y="263"/>
                      </a:lnTo>
                      <a:lnTo>
                        <a:pt x="78" y="262"/>
                      </a:lnTo>
                      <a:lnTo>
                        <a:pt x="82" y="262"/>
                      </a:lnTo>
                      <a:lnTo>
                        <a:pt x="86" y="263"/>
                      </a:lnTo>
                      <a:lnTo>
                        <a:pt x="91" y="263"/>
                      </a:lnTo>
                      <a:lnTo>
                        <a:pt x="95" y="262"/>
                      </a:lnTo>
                      <a:lnTo>
                        <a:pt x="96" y="259"/>
                      </a:lnTo>
                      <a:lnTo>
                        <a:pt x="104" y="251"/>
                      </a:lnTo>
                      <a:lnTo>
                        <a:pt x="107" y="248"/>
                      </a:lnTo>
                      <a:lnTo>
                        <a:pt x="111" y="245"/>
                      </a:lnTo>
                      <a:lnTo>
                        <a:pt x="115" y="244"/>
                      </a:lnTo>
                      <a:lnTo>
                        <a:pt x="118" y="243"/>
                      </a:lnTo>
                      <a:lnTo>
                        <a:pt x="119" y="242"/>
                      </a:lnTo>
                      <a:lnTo>
                        <a:pt x="120" y="237"/>
                      </a:lnTo>
                      <a:lnTo>
                        <a:pt x="119" y="233"/>
                      </a:lnTo>
                      <a:lnTo>
                        <a:pt x="116" y="231"/>
                      </a:lnTo>
                      <a:lnTo>
                        <a:pt x="116" y="227"/>
                      </a:lnTo>
                      <a:lnTo>
                        <a:pt x="118" y="222"/>
                      </a:lnTo>
                      <a:lnTo>
                        <a:pt x="118" y="218"/>
                      </a:lnTo>
                      <a:lnTo>
                        <a:pt x="116" y="214"/>
                      </a:lnTo>
                      <a:lnTo>
                        <a:pt x="114" y="212"/>
                      </a:lnTo>
                      <a:lnTo>
                        <a:pt x="113" y="208"/>
                      </a:lnTo>
                      <a:lnTo>
                        <a:pt x="110" y="197"/>
                      </a:lnTo>
                      <a:lnTo>
                        <a:pt x="109" y="191"/>
                      </a:lnTo>
                      <a:lnTo>
                        <a:pt x="110" y="185"/>
                      </a:lnTo>
                      <a:lnTo>
                        <a:pt x="110" y="182"/>
                      </a:lnTo>
                      <a:lnTo>
                        <a:pt x="109" y="182"/>
                      </a:lnTo>
                      <a:lnTo>
                        <a:pt x="106" y="179"/>
                      </a:lnTo>
                      <a:lnTo>
                        <a:pt x="104" y="176"/>
                      </a:lnTo>
                      <a:lnTo>
                        <a:pt x="102" y="171"/>
                      </a:lnTo>
                      <a:lnTo>
                        <a:pt x="101" y="163"/>
                      </a:lnTo>
                      <a:lnTo>
                        <a:pt x="99" y="158"/>
                      </a:lnTo>
                      <a:lnTo>
                        <a:pt x="92" y="148"/>
                      </a:lnTo>
                      <a:lnTo>
                        <a:pt x="85" y="141"/>
                      </a:lnTo>
                      <a:lnTo>
                        <a:pt x="77" y="133"/>
                      </a:lnTo>
                      <a:lnTo>
                        <a:pt x="69" y="124"/>
                      </a:lnTo>
                      <a:lnTo>
                        <a:pt x="69" y="122"/>
                      </a:lnTo>
                      <a:lnTo>
                        <a:pt x="71" y="120"/>
                      </a:lnTo>
                      <a:lnTo>
                        <a:pt x="71" y="117"/>
                      </a:lnTo>
                      <a:lnTo>
                        <a:pt x="71" y="115"/>
                      </a:lnTo>
                      <a:lnTo>
                        <a:pt x="68" y="114"/>
                      </a:lnTo>
                      <a:lnTo>
                        <a:pt x="67" y="112"/>
                      </a:lnTo>
                      <a:lnTo>
                        <a:pt x="64" y="111"/>
                      </a:lnTo>
                      <a:lnTo>
                        <a:pt x="63" y="110"/>
                      </a:lnTo>
                      <a:lnTo>
                        <a:pt x="62" y="107"/>
                      </a:lnTo>
                      <a:lnTo>
                        <a:pt x="62" y="103"/>
                      </a:lnTo>
                      <a:lnTo>
                        <a:pt x="60" y="99"/>
                      </a:lnTo>
                      <a:lnTo>
                        <a:pt x="59" y="96"/>
                      </a:lnTo>
                      <a:lnTo>
                        <a:pt x="54" y="90"/>
                      </a:lnTo>
                      <a:lnTo>
                        <a:pt x="54" y="88"/>
                      </a:lnTo>
                      <a:lnTo>
                        <a:pt x="54" y="86"/>
                      </a:lnTo>
                      <a:lnTo>
                        <a:pt x="58" y="83"/>
                      </a:lnTo>
                      <a:lnTo>
                        <a:pt x="58" y="80"/>
                      </a:lnTo>
                      <a:lnTo>
                        <a:pt x="62" y="75"/>
                      </a:lnTo>
                      <a:lnTo>
                        <a:pt x="64" y="70"/>
                      </a:lnTo>
                      <a:lnTo>
                        <a:pt x="71" y="59"/>
                      </a:lnTo>
                      <a:lnTo>
                        <a:pt x="74" y="56"/>
                      </a:lnTo>
                      <a:lnTo>
                        <a:pt x="81" y="52"/>
                      </a:lnTo>
                      <a:lnTo>
                        <a:pt x="86" y="50"/>
                      </a:lnTo>
                      <a:lnTo>
                        <a:pt x="91" y="46"/>
                      </a:lnTo>
                      <a:lnTo>
                        <a:pt x="95" y="43"/>
                      </a:lnTo>
                      <a:lnTo>
                        <a:pt x="101" y="41"/>
                      </a:lnTo>
                      <a:lnTo>
                        <a:pt x="99" y="38"/>
                      </a:lnTo>
                      <a:lnTo>
                        <a:pt x="95" y="35"/>
                      </a:lnTo>
                      <a:lnTo>
                        <a:pt x="88" y="32"/>
                      </a:lnTo>
                      <a:lnTo>
                        <a:pt x="81" y="28"/>
                      </a:lnTo>
                      <a:lnTo>
                        <a:pt x="73" y="25"/>
                      </a:lnTo>
                      <a:lnTo>
                        <a:pt x="71" y="24"/>
                      </a:lnTo>
                      <a:lnTo>
                        <a:pt x="71" y="22"/>
                      </a:lnTo>
                      <a:lnTo>
                        <a:pt x="71" y="19"/>
                      </a:lnTo>
                      <a:lnTo>
                        <a:pt x="72" y="14"/>
                      </a:lnTo>
                      <a:lnTo>
                        <a:pt x="72" y="12"/>
                      </a:lnTo>
                      <a:lnTo>
                        <a:pt x="72" y="11"/>
                      </a:lnTo>
                      <a:lnTo>
                        <a:pt x="67" y="5"/>
                      </a:lnTo>
                      <a:lnTo>
                        <a:pt x="62" y="2"/>
                      </a:lnTo>
                      <a:lnTo>
                        <a:pt x="57" y="0"/>
                      </a:lnTo>
                      <a:lnTo>
                        <a:pt x="49" y="1"/>
                      </a:lnTo>
                      <a:lnTo>
                        <a:pt x="38" y="5"/>
                      </a:lnTo>
                      <a:lnTo>
                        <a:pt x="29" y="7"/>
                      </a:lnTo>
                      <a:lnTo>
                        <a:pt x="21" y="12"/>
                      </a:lnTo>
                      <a:lnTo>
                        <a:pt x="17" y="13"/>
                      </a:lnTo>
                      <a:lnTo>
                        <a:pt x="12" y="14"/>
                      </a:lnTo>
                      <a:lnTo>
                        <a:pt x="5" y="13"/>
                      </a:lnTo>
                      <a:lnTo>
                        <a:pt x="2" y="14"/>
                      </a:lnTo>
                      <a:lnTo>
                        <a:pt x="0" y="16"/>
                      </a:lnTo>
                      <a:lnTo>
                        <a:pt x="2" y="18"/>
                      </a:lnTo>
                      <a:lnTo>
                        <a:pt x="8" y="24"/>
                      </a:lnTo>
                      <a:lnTo>
                        <a:pt x="14" y="29"/>
                      </a:lnTo>
                      <a:lnTo>
                        <a:pt x="17" y="38"/>
                      </a:lnTo>
                      <a:lnTo>
                        <a:pt x="21" y="45"/>
                      </a:lnTo>
                      <a:lnTo>
                        <a:pt x="21" y="46"/>
                      </a:lnTo>
                      <a:lnTo>
                        <a:pt x="22" y="47"/>
                      </a:lnTo>
                      <a:lnTo>
                        <a:pt x="33" y="47"/>
                      </a:lnTo>
                      <a:lnTo>
                        <a:pt x="38" y="47"/>
                      </a:lnTo>
                      <a:lnTo>
                        <a:pt x="41" y="48"/>
                      </a:lnTo>
                      <a:lnTo>
                        <a:pt x="43" y="50"/>
                      </a:lnTo>
                      <a:lnTo>
                        <a:pt x="44" y="51"/>
                      </a:lnTo>
                      <a:lnTo>
                        <a:pt x="43" y="53"/>
                      </a:lnTo>
                      <a:lnTo>
                        <a:pt x="41" y="57"/>
                      </a:lnTo>
                      <a:lnTo>
                        <a:pt x="41" y="60"/>
                      </a:lnTo>
                      <a:lnTo>
                        <a:pt x="43" y="61"/>
                      </a:lnTo>
                      <a:lnTo>
                        <a:pt x="45" y="61"/>
                      </a:lnTo>
                      <a:lnTo>
                        <a:pt x="47" y="63"/>
                      </a:lnTo>
                      <a:lnTo>
                        <a:pt x="45" y="64"/>
                      </a:lnTo>
                      <a:lnTo>
                        <a:pt x="44" y="66"/>
                      </a:lnTo>
                      <a:lnTo>
                        <a:pt x="41" y="75"/>
                      </a:lnTo>
                      <a:lnTo>
                        <a:pt x="40" y="78"/>
                      </a:lnTo>
                      <a:lnTo>
                        <a:pt x="38" y="79"/>
                      </a:lnTo>
                      <a:lnTo>
                        <a:pt x="35" y="79"/>
                      </a:lnTo>
                      <a:lnTo>
                        <a:pt x="33" y="82"/>
                      </a:lnTo>
                      <a:lnTo>
                        <a:pt x="33" y="84"/>
                      </a:lnTo>
                      <a:lnTo>
                        <a:pt x="33" y="86"/>
                      </a:lnTo>
                      <a:lnTo>
                        <a:pt x="31" y="89"/>
                      </a:lnTo>
                      <a:lnTo>
                        <a:pt x="30" y="92"/>
                      </a:lnTo>
                      <a:lnTo>
                        <a:pt x="30" y="95"/>
                      </a:lnTo>
                      <a:lnTo>
                        <a:pt x="30" y="97"/>
                      </a:lnTo>
                      <a:lnTo>
                        <a:pt x="33" y="98"/>
                      </a:lnTo>
                      <a:lnTo>
                        <a:pt x="38" y="98"/>
                      </a:lnTo>
                      <a:lnTo>
                        <a:pt x="41" y="101"/>
                      </a:lnTo>
                      <a:lnTo>
                        <a:pt x="44" y="103"/>
                      </a:lnTo>
                      <a:lnTo>
                        <a:pt x="47" y="107"/>
                      </a:lnTo>
                      <a:lnTo>
                        <a:pt x="50" y="115"/>
                      </a:lnTo>
                      <a:lnTo>
                        <a:pt x="54" y="122"/>
                      </a:lnTo>
                      <a:lnTo>
                        <a:pt x="58" y="126"/>
                      </a:lnTo>
                      <a:lnTo>
                        <a:pt x="62" y="130"/>
                      </a:lnTo>
                      <a:lnTo>
                        <a:pt x="64" y="135"/>
                      </a:lnTo>
                      <a:lnTo>
                        <a:pt x="67" y="140"/>
                      </a:lnTo>
                      <a:lnTo>
                        <a:pt x="76" y="149"/>
                      </a:lnTo>
                      <a:lnTo>
                        <a:pt x="77" y="152"/>
                      </a:lnTo>
                      <a:lnTo>
                        <a:pt x="78" y="155"/>
                      </a:lnTo>
                      <a:lnTo>
                        <a:pt x="81" y="161"/>
                      </a:lnTo>
                      <a:lnTo>
                        <a:pt x="81" y="167"/>
                      </a:lnTo>
                      <a:lnTo>
                        <a:pt x="82" y="18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2" name="Freeform 615"/>
                <p:cNvSpPr>
                  <a:spLocks/>
                </p:cNvSpPr>
                <p:nvPr/>
              </p:nvSpPr>
              <p:spPr bwMode="auto">
                <a:xfrm>
                  <a:off x="6974158" y="3953902"/>
                  <a:ext cx="156866" cy="253059"/>
                </a:xfrm>
                <a:custGeom>
                  <a:avLst/>
                  <a:gdLst>
                    <a:gd name="T0" fmla="*/ 2147483647 w 115"/>
                    <a:gd name="T1" fmla="*/ 0 h 171"/>
                    <a:gd name="T2" fmla="*/ 2147483647 w 115"/>
                    <a:gd name="T3" fmla="*/ 2147483647 h 171"/>
                    <a:gd name="T4" fmla="*/ 2147483647 w 115"/>
                    <a:gd name="T5" fmla="*/ 2147483647 h 171"/>
                    <a:gd name="T6" fmla="*/ 2147483647 w 115"/>
                    <a:gd name="T7" fmla="*/ 2147483647 h 171"/>
                    <a:gd name="T8" fmla="*/ 2147483647 w 115"/>
                    <a:gd name="T9" fmla="*/ 2147483647 h 171"/>
                    <a:gd name="T10" fmla="*/ 2147483647 w 115"/>
                    <a:gd name="T11" fmla="*/ 2147483647 h 171"/>
                    <a:gd name="T12" fmla="*/ 2147483647 w 115"/>
                    <a:gd name="T13" fmla="*/ 2147483647 h 171"/>
                    <a:gd name="T14" fmla="*/ 2147483647 w 115"/>
                    <a:gd name="T15" fmla="*/ 2147483647 h 171"/>
                    <a:gd name="T16" fmla="*/ 2147483647 w 115"/>
                    <a:gd name="T17" fmla="*/ 2147483647 h 171"/>
                    <a:gd name="T18" fmla="*/ 2147483647 w 115"/>
                    <a:gd name="T19" fmla="*/ 2147483647 h 171"/>
                    <a:gd name="T20" fmla="*/ 2147483647 w 115"/>
                    <a:gd name="T21" fmla="*/ 2147483647 h 171"/>
                    <a:gd name="T22" fmla="*/ 2147483647 w 115"/>
                    <a:gd name="T23" fmla="*/ 2147483647 h 171"/>
                    <a:gd name="T24" fmla="*/ 2147483647 w 115"/>
                    <a:gd name="T25" fmla="*/ 2147483647 h 171"/>
                    <a:gd name="T26" fmla="*/ 2147483647 w 115"/>
                    <a:gd name="T27" fmla="*/ 2147483647 h 171"/>
                    <a:gd name="T28" fmla="*/ 2147483647 w 115"/>
                    <a:gd name="T29" fmla="*/ 2147483647 h 171"/>
                    <a:gd name="T30" fmla="*/ 2147483647 w 115"/>
                    <a:gd name="T31" fmla="*/ 2147483647 h 171"/>
                    <a:gd name="T32" fmla="*/ 2147483647 w 115"/>
                    <a:gd name="T33" fmla="*/ 2147483647 h 171"/>
                    <a:gd name="T34" fmla="*/ 2147483647 w 115"/>
                    <a:gd name="T35" fmla="*/ 2147483647 h 171"/>
                    <a:gd name="T36" fmla="*/ 2147483647 w 115"/>
                    <a:gd name="T37" fmla="*/ 2147483647 h 171"/>
                    <a:gd name="T38" fmla="*/ 2147483647 w 115"/>
                    <a:gd name="T39" fmla="*/ 2147483647 h 171"/>
                    <a:gd name="T40" fmla="*/ 2147483647 w 115"/>
                    <a:gd name="T41" fmla="*/ 2147483647 h 171"/>
                    <a:gd name="T42" fmla="*/ 2147483647 w 115"/>
                    <a:gd name="T43" fmla="*/ 2147483647 h 171"/>
                    <a:gd name="T44" fmla="*/ 2147483647 w 115"/>
                    <a:gd name="T45" fmla="*/ 2147483647 h 171"/>
                    <a:gd name="T46" fmla="*/ 2147483647 w 115"/>
                    <a:gd name="T47" fmla="*/ 2147483647 h 171"/>
                    <a:gd name="T48" fmla="*/ 2147483647 w 115"/>
                    <a:gd name="T49" fmla="*/ 2147483647 h 171"/>
                    <a:gd name="T50" fmla="*/ 2147483647 w 115"/>
                    <a:gd name="T51" fmla="*/ 2147483647 h 171"/>
                    <a:gd name="T52" fmla="*/ 2147483647 w 115"/>
                    <a:gd name="T53" fmla="*/ 2147483647 h 171"/>
                    <a:gd name="T54" fmla="*/ 2147483647 w 115"/>
                    <a:gd name="T55" fmla="*/ 2147483647 h 171"/>
                    <a:gd name="T56" fmla="*/ 2147483647 w 115"/>
                    <a:gd name="T57" fmla="*/ 2147483647 h 171"/>
                    <a:gd name="T58" fmla="*/ 2147483647 w 115"/>
                    <a:gd name="T59" fmla="*/ 2147483647 h 171"/>
                    <a:gd name="T60" fmla="*/ 2147483647 w 115"/>
                    <a:gd name="T61" fmla="*/ 2147483647 h 171"/>
                    <a:gd name="T62" fmla="*/ 2147483647 w 115"/>
                    <a:gd name="T63" fmla="*/ 2147483647 h 171"/>
                    <a:gd name="T64" fmla="*/ 2147483647 w 115"/>
                    <a:gd name="T65" fmla="*/ 2147483647 h 171"/>
                    <a:gd name="T66" fmla="*/ 2147483647 w 115"/>
                    <a:gd name="T67" fmla="*/ 2147483647 h 171"/>
                    <a:gd name="T68" fmla="*/ 2147483647 w 115"/>
                    <a:gd name="T69" fmla="*/ 2147483647 h 171"/>
                    <a:gd name="T70" fmla="*/ 2147483647 w 115"/>
                    <a:gd name="T71" fmla="*/ 2147483647 h 171"/>
                    <a:gd name="T72" fmla="*/ 2147483647 w 115"/>
                    <a:gd name="T73" fmla="*/ 2147483647 h 171"/>
                    <a:gd name="T74" fmla="*/ 2147483647 w 115"/>
                    <a:gd name="T75" fmla="*/ 2147483647 h 171"/>
                    <a:gd name="T76" fmla="*/ 2147483647 w 115"/>
                    <a:gd name="T77" fmla="*/ 2147483647 h 171"/>
                    <a:gd name="T78" fmla="*/ 2147483647 w 115"/>
                    <a:gd name="T79" fmla="*/ 2147483647 h 171"/>
                    <a:gd name="T80" fmla="*/ 2147483647 w 115"/>
                    <a:gd name="T81" fmla="*/ 2147483647 h 171"/>
                    <a:gd name="T82" fmla="*/ 2147483647 w 115"/>
                    <a:gd name="T83" fmla="*/ 2147483647 h 171"/>
                    <a:gd name="T84" fmla="*/ 2147483647 w 115"/>
                    <a:gd name="T85" fmla="*/ 2147483647 h 171"/>
                    <a:gd name="T86" fmla="*/ 2147483647 w 115"/>
                    <a:gd name="T87" fmla="*/ 2147483647 h 171"/>
                    <a:gd name="T88" fmla="*/ 2147483647 w 115"/>
                    <a:gd name="T89" fmla="*/ 2147483647 h 171"/>
                    <a:gd name="T90" fmla="*/ 2147483647 w 115"/>
                    <a:gd name="T91" fmla="*/ 2147483647 h 171"/>
                    <a:gd name="T92" fmla="*/ 2147483647 w 115"/>
                    <a:gd name="T93" fmla="*/ 2147483647 h 171"/>
                    <a:gd name="T94" fmla="*/ 2147483647 w 115"/>
                    <a:gd name="T95" fmla="*/ 2147483647 h 171"/>
                    <a:gd name="T96" fmla="*/ 2147483647 w 115"/>
                    <a:gd name="T97" fmla="*/ 2147483647 h 171"/>
                    <a:gd name="T98" fmla="*/ 2147483647 w 115"/>
                    <a:gd name="T99" fmla="*/ 2147483647 h 171"/>
                    <a:gd name="T100" fmla="*/ 2147483647 w 115"/>
                    <a:gd name="T101" fmla="*/ 2147483647 h 171"/>
                    <a:gd name="T102" fmla="*/ 2147483647 w 115"/>
                    <a:gd name="T103" fmla="*/ 2147483647 h 171"/>
                    <a:gd name="T104" fmla="*/ 2147483647 w 115"/>
                    <a:gd name="T105" fmla="*/ 2147483647 h 171"/>
                    <a:gd name="T106" fmla="*/ 2147483647 w 115"/>
                    <a:gd name="T107" fmla="*/ 2147483647 h 171"/>
                    <a:gd name="T108" fmla="*/ 2147483647 w 115"/>
                    <a:gd name="T109" fmla="*/ 2147483647 h 171"/>
                    <a:gd name="T110" fmla="*/ 2147483647 w 115"/>
                    <a:gd name="T111" fmla="*/ 2147483647 h 171"/>
                    <a:gd name="T112" fmla="*/ 2147483647 w 115"/>
                    <a:gd name="T113" fmla="*/ 2147483647 h 171"/>
                    <a:gd name="T114" fmla="*/ 2147483647 w 115"/>
                    <a:gd name="T115" fmla="*/ 2147483647 h 171"/>
                    <a:gd name="T116" fmla="*/ 2147483647 w 115"/>
                    <a:gd name="T117" fmla="*/ 2147483647 h 171"/>
                    <a:gd name="T118" fmla="*/ 2147483647 w 115"/>
                    <a:gd name="T119" fmla="*/ 2147483647 h 171"/>
                    <a:gd name="T120" fmla="*/ 2147483647 w 115"/>
                    <a:gd name="T121" fmla="*/ 2147483647 h 171"/>
                    <a:gd name="T122" fmla="*/ 2147483647 w 115"/>
                    <a:gd name="T123" fmla="*/ 2147483647 h 171"/>
                    <a:gd name="T124" fmla="*/ 2147483647 w 115"/>
                    <a:gd name="T125" fmla="*/ 2147483647 h 1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5"/>
                    <a:gd name="T190" fmla="*/ 0 h 171"/>
                    <a:gd name="T191" fmla="*/ 115 w 115"/>
                    <a:gd name="T192" fmla="*/ 171 h 1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5" h="171">
                      <a:moveTo>
                        <a:pt x="33" y="2"/>
                      </a:moveTo>
                      <a:lnTo>
                        <a:pt x="28" y="0"/>
                      </a:lnTo>
                      <a:lnTo>
                        <a:pt x="25" y="0"/>
                      </a:lnTo>
                      <a:lnTo>
                        <a:pt x="23" y="2"/>
                      </a:lnTo>
                      <a:lnTo>
                        <a:pt x="23" y="4"/>
                      </a:lnTo>
                      <a:lnTo>
                        <a:pt x="21" y="5"/>
                      </a:lnTo>
                      <a:lnTo>
                        <a:pt x="23" y="9"/>
                      </a:lnTo>
                      <a:lnTo>
                        <a:pt x="28" y="16"/>
                      </a:lnTo>
                      <a:lnTo>
                        <a:pt x="28" y="21"/>
                      </a:lnTo>
                      <a:lnTo>
                        <a:pt x="28" y="22"/>
                      </a:lnTo>
                      <a:lnTo>
                        <a:pt x="26" y="23"/>
                      </a:lnTo>
                      <a:lnTo>
                        <a:pt x="23" y="25"/>
                      </a:lnTo>
                      <a:lnTo>
                        <a:pt x="19" y="27"/>
                      </a:lnTo>
                      <a:lnTo>
                        <a:pt x="15" y="25"/>
                      </a:lnTo>
                      <a:lnTo>
                        <a:pt x="10" y="24"/>
                      </a:lnTo>
                      <a:lnTo>
                        <a:pt x="6" y="35"/>
                      </a:lnTo>
                      <a:lnTo>
                        <a:pt x="0" y="44"/>
                      </a:lnTo>
                      <a:lnTo>
                        <a:pt x="4" y="45"/>
                      </a:lnTo>
                      <a:lnTo>
                        <a:pt x="5" y="47"/>
                      </a:lnTo>
                      <a:lnTo>
                        <a:pt x="5" y="50"/>
                      </a:lnTo>
                      <a:lnTo>
                        <a:pt x="5" y="55"/>
                      </a:lnTo>
                      <a:lnTo>
                        <a:pt x="5" y="59"/>
                      </a:lnTo>
                      <a:lnTo>
                        <a:pt x="6" y="62"/>
                      </a:lnTo>
                      <a:lnTo>
                        <a:pt x="7" y="66"/>
                      </a:lnTo>
                      <a:lnTo>
                        <a:pt x="9" y="68"/>
                      </a:lnTo>
                      <a:lnTo>
                        <a:pt x="7" y="74"/>
                      </a:lnTo>
                      <a:lnTo>
                        <a:pt x="7" y="79"/>
                      </a:lnTo>
                      <a:lnTo>
                        <a:pt x="7" y="85"/>
                      </a:lnTo>
                      <a:lnTo>
                        <a:pt x="9" y="88"/>
                      </a:lnTo>
                      <a:lnTo>
                        <a:pt x="12" y="92"/>
                      </a:lnTo>
                      <a:lnTo>
                        <a:pt x="12" y="94"/>
                      </a:lnTo>
                      <a:lnTo>
                        <a:pt x="14" y="96"/>
                      </a:lnTo>
                      <a:lnTo>
                        <a:pt x="16" y="98"/>
                      </a:lnTo>
                      <a:lnTo>
                        <a:pt x="19" y="98"/>
                      </a:lnTo>
                      <a:lnTo>
                        <a:pt x="21" y="98"/>
                      </a:lnTo>
                      <a:lnTo>
                        <a:pt x="23" y="95"/>
                      </a:lnTo>
                      <a:lnTo>
                        <a:pt x="24" y="93"/>
                      </a:lnTo>
                      <a:lnTo>
                        <a:pt x="25" y="91"/>
                      </a:lnTo>
                      <a:lnTo>
                        <a:pt x="28" y="91"/>
                      </a:lnTo>
                      <a:lnTo>
                        <a:pt x="32" y="92"/>
                      </a:lnTo>
                      <a:lnTo>
                        <a:pt x="34" y="93"/>
                      </a:lnTo>
                      <a:lnTo>
                        <a:pt x="37" y="94"/>
                      </a:lnTo>
                      <a:lnTo>
                        <a:pt x="40" y="94"/>
                      </a:lnTo>
                      <a:lnTo>
                        <a:pt x="44" y="93"/>
                      </a:lnTo>
                      <a:lnTo>
                        <a:pt x="48" y="92"/>
                      </a:lnTo>
                      <a:lnTo>
                        <a:pt x="51" y="91"/>
                      </a:lnTo>
                      <a:lnTo>
                        <a:pt x="52" y="89"/>
                      </a:lnTo>
                      <a:lnTo>
                        <a:pt x="53" y="89"/>
                      </a:lnTo>
                      <a:lnTo>
                        <a:pt x="56" y="92"/>
                      </a:lnTo>
                      <a:lnTo>
                        <a:pt x="59" y="92"/>
                      </a:lnTo>
                      <a:lnTo>
                        <a:pt x="61" y="92"/>
                      </a:lnTo>
                      <a:lnTo>
                        <a:pt x="63" y="94"/>
                      </a:lnTo>
                      <a:lnTo>
                        <a:pt x="63" y="98"/>
                      </a:lnTo>
                      <a:lnTo>
                        <a:pt x="62" y="100"/>
                      </a:lnTo>
                      <a:lnTo>
                        <a:pt x="62" y="102"/>
                      </a:lnTo>
                      <a:lnTo>
                        <a:pt x="65" y="105"/>
                      </a:lnTo>
                      <a:lnTo>
                        <a:pt x="67" y="106"/>
                      </a:lnTo>
                      <a:lnTo>
                        <a:pt x="70" y="108"/>
                      </a:lnTo>
                      <a:lnTo>
                        <a:pt x="71" y="111"/>
                      </a:lnTo>
                      <a:lnTo>
                        <a:pt x="75" y="124"/>
                      </a:lnTo>
                      <a:lnTo>
                        <a:pt x="77" y="131"/>
                      </a:lnTo>
                      <a:lnTo>
                        <a:pt x="80" y="137"/>
                      </a:lnTo>
                      <a:lnTo>
                        <a:pt x="81" y="142"/>
                      </a:lnTo>
                      <a:lnTo>
                        <a:pt x="82" y="146"/>
                      </a:lnTo>
                      <a:lnTo>
                        <a:pt x="82" y="156"/>
                      </a:lnTo>
                      <a:lnTo>
                        <a:pt x="86" y="157"/>
                      </a:lnTo>
                      <a:lnTo>
                        <a:pt x="90" y="159"/>
                      </a:lnTo>
                      <a:lnTo>
                        <a:pt x="94" y="163"/>
                      </a:lnTo>
                      <a:lnTo>
                        <a:pt x="98" y="165"/>
                      </a:lnTo>
                      <a:lnTo>
                        <a:pt x="99" y="166"/>
                      </a:lnTo>
                      <a:lnTo>
                        <a:pt x="99" y="169"/>
                      </a:lnTo>
                      <a:lnTo>
                        <a:pt x="100" y="170"/>
                      </a:lnTo>
                      <a:lnTo>
                        <a:pt x="101" y="171"/>
                      </a:lnTo>
                      <a:lnTo>
                        <a:pt x="103" y="171"/>
                      </a:lnTo>
                      <a:lnTo>
                        <a:pt x="104" y="171"/>
                      </a:lnTo>
                      <a:lnTo>
                        <a:pt x="109" y="166"/>
                      </a:lnTo>
                      <a:lnTo>
                        <a:pt x="112" y="165"/>
                      </a:lnTo>
                      <a:lnTo>
                        <a:pt x="115" y="165"/>
                      </a:lnTo>
                      <a:lnTo>
                        <a:pt x="114" y="152"/>
                      </a:lnTo>
                      <a:lnTo>
                        <a:pt x="114" y="146"/>
                      </a:lnTo>
                      <a:lnTo>
                        <a:pt x="112" y="140"/>
                      </a:lnTo>
                      <a:lnTo>
                        <a:pt x="110" y="137"/>
                      </a:lnTo>
                      <a:lnTo>
                        <a:pt x="109" y="134"/>
                      </a:lnTo>
                      <a:lnTo>
                        <a:pt x="100" y="125"/>
                      </a:lnTo>
                      <a:lnTo>
                        <a:pt x="98" y="120"/>
                      </a:lnTo>
                      <a:lnTo>
                        <a:pt x="95" y="115"/>
                      </a:lnTo>
                      <a:lnTo>
                        <a:pt x="91" y="111"/>
                      </a:lnTo>
                      <a:lnTo>
                        <a:pt x="87" y="107"/>
                      </a:lnTo>
                      <a:lnTo>
                        <a:pt x="84" y="100"/>
                      </a:lnTo>
                      <a:lnTo>
                        <a:pt x="80" y="92"/>
                      </a:lnTo>
                      <a:lnTo>
                        <a:pt x="77" y="88"/>
                      </a:lnTo>
                      <a:lnTo>
                        <a:pt x="75" y="86"/>
                      </a:lnTo>
                      <a:lnTo>
                        <a:pt x="71" y="83"/>
                      </a:lnTo>
                      <a:lnTo>
                        <a:pt x="66" y="83"/>
                      </a:lnTo>
                      <a:lnTo>
                        <a:pt x="63" y="82"/>
                      </a:lnTo>
                      <a:lnTo>
                        <a:pt x="63" y="80"/>
                      </a:lnTo>
                      <a:lnTo>
                        <a:pt x="63" y="77"/>
                      </a:lnTo>
                      <a:lnTo>
                        <a:pt x="65" y="74"/>
                      </a:lnTo>
                      <a:lnTo>
                        <a:pt x="66" y="72"/>
                      </a:lnTo>
                      <a:lnTo>
                        <a:pt x="66" y="69"/>
                      </a:lnTo>
                      <a:lnTo>
                        <a:pt x="66" y="67"/>
                      </a:lnTo>
                      <a:lnTo>
                        <a:pt x="68" y="64"/>
                      </a:lnTo>
                      <a:lnTo>
                        <a:pt x="71" y="64"/>
                      </a:lnTo>
                      <a:lnTo>
                        <a:pt x="73" y="63"/>
                      </a:lnTo>
                      <a:lnTo>
                        <a:pt x="75" y="60"/>
                      </a:lnTo>
                      <a:lnTo>
                        <a:pt x="77" y="51"/>
                      </a:lnTo>
                      <a:lnTo>
                        <a:pt x="79" y="49"/>
                      </a:lnTo>
                      <a:lnTo>
                        <a:pt x="80" y="48"/>
                      </a:lnTo>
                      <a:lnTo>
                        <a:pt x="79" y="47"/>
                      </a:lnTo>
                      <a:lnTo>
                        <a:pt x="76" y="47"/>
                      </a:lnTo>
                      <a:lnTo>
                        <a:pt x="75" y="45"/>
                      </a:lnTo>
                      <a:lnTo>
                        <a:pt x="75" y="42"/>
                      </a:lnTo>
                      <a:lnTo>
                        <a:pt x="76" y="38"/>
                      </a:lnTo>
                      <a:lnTo>
                        <a:pt x="77" y="36"/>
                      </a:lnTo>
                      <a:lnTo>
                        <a:pt x="76" y="35"/>
                      </a:lnTo>
                      <a:lnTo>
                        <a:pt x="75" y="34"/>
                      </a:lnTo>
                      <a:lnTo>
                        <a:pt x="71" y="32"/>
                      </a:lnTo>
                      <a:lnTo>
                        <a:pt x="66" y="32"/>
                      </a:lnTo>
                      <a:lnTo>
                        <a:pt x="56" y="32"/>
                      </a:lnTo>
                      <a:lnTo>
                        <a:pt x="54" y="31"/>
                      </a:lnTo>
                      <a:lnTo>
                        <a:pt x="54" y="30"/>
                      </a:lnTo>
                      <a:lnTo>
                        <a:pt x="51" y="23"/>
                      </a:lnTo>
                      <a:lnTo>
                        <a:pt x="47" y="15"/>
                      </a:lnTo>
                      <a:lnTo>
                        <a:pt x="42" y="9"/>
                      </a:lnTo>
                      <a:lnTo>
                        <a:pt x="35" y="3"/>
                      </a:lnTo>
                      <a:lnTo>
                        <a:pt x="33"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3" name="Freeform 617"/>
                <p:cNvSpPr>
                  <a:spLocks/>
                </p:cNvSpPr>
                <p:nvPr/>
              </p:nvSpPr>
              <p:spPr bwMode="auto">
                <a:xfrm>
                  <a:off x="6972678" y="3952419"/>
                  <a:ext cx="156866" cy="253058"/>
                </a:xfrm>
                <a:custGeom>
                  <a:avLst/>
                  <a:gdLst>
                    <a:gd name="T0" fmla="*/ 2147483647 w 115"/>
                    <a:gd name="T1" fmla="*/ 0 h 171"/>
                    <a:gd name="T2" fmla="*/ 2147483647 w 115"/>
                    <a:gd name="T3" fmla="*/ 2147483647 h 171"/>
                    <a:gd name="T4" fmla="*/ 2147483647 w 115"/>
                    <a:gd name="T5" fmla="*/ 2147483647 h 171"/>
                    <a:gd name="T6" fmla="*/ 2147483647 w 115"/>
                    <a:gd name="T7" fmla="*/ 2147483647 h 171"/>
                    <a:gd name="T8" fmla="*/ 2147483647 w 115"/>
                    <a:gd name="T9" fmla="*/ 2147483647 h 171"/>
                    <a:gd name="T10" fmla="*/ 2147483647 w 115"/>
                    <a:gd name="T11" fmla="*/ 2147483647 h 171"/>
                    <a:gd name="T12" fmla="*/ 2147483647 w 115"/>
                    <a:gd name="T13" fmla="*/ 2147483647 h 171"/>
                    <a:gd name="T14" fmla="*/ 2147483647 w 115"/>
                    <a:gd name="T15" fmla="*/ 2147483647 h 171"/>
                    <a:gd name="T16" fmla="*/ 2147483647 w 115"/>
                    <a:gd name="T17" fmla="*/ 2147483647 h 171"/>
                    <a:gd name="T18" fmla="*/ 2147483647 w 115"/>
                    <a:gd name="T19" fmla="*/ 2147483647 h 171"/>
                    <a:gd name="T20" fmla="*/ 2147483647 w 115"/>
                    <a:gd name="T21" fmla="*/ 2147483647 h 171"/>
                    <a:gd name="T22" fmla="*/ 2147483647 w 115"/>
                    <a:gd name="T23" fmla="*/ 2147483647 h 171"/>
                    <a:gd name="T24" fmla="*/ 2147483647 w 115"/>
                    <a:gd name="T25" fmla="*/ 2147483647 h 171"/>
                    <a:gd name="T26" fmla="*/ 2147483647 w 115"/>
                    <a:gd name="T27" fmla="*/ 2147483647 h 171"/>
                    <a:gd name="T28" fmla="*/ 2147483647 w 115"/>
                    <a:gd name="T29" fmla="*/ 2147483647 h 171"/>
                    <a:gd name="T30" fmla="*/ 2147483647 w 115"/>
                    <a:gd name="T31" fmla="*/ 2147483647 h 171"/>
                    <a:gd name="T32" fmla="*/ 2147483647 w 115"/>
                    <a:gd name="T33" fmla="*/ 2147483647 h 171"/>
                    <a:gd name="T34" fmla="*/ 2147483647 w 115"/>
                    <a:gd name="T35" fmla="*/ 2147483647 h 171"/>
                    <a:gd name="T36" fmla="*/ 2147483647 w 115"/>
                    <a:gd name="T37" fmla="*/ 2147483647 h 171"/>
                    <a:gd name="T38" fmla="*/ 2147483647 w 115"/>
                    <a:gd name="T39" fmla="*/ 2147483647 h 171"/>
                    <a:gd name="T40" fmla="*/ 2147483647 w 115"/>
                    <a:gd name="T41" fmla="*/ 2147483647 h 171"/>
                    <a:gd name="T42" fmla="*/ 2147483647 w 115"/>
                    <a:gd name="T43" fmla="*/ 2147483647 h 171"/>
                    <a:gd name="T44" fmla="*/ 2147483647 w 115"/>
                    <a:gd name="T45" fmla="*/ 2147483647 h 171"/>
                    <a:gd name="T46" fmla="*/ 2147483647 w 115"/>
                    <a:gd name="T47" fmla="*/ 2147483647 h 171"/>
                    <a:gd name="T48" fmla="*/ 2147483647 w 115"/>
                    <a:gd name="T49" fmla="*/ 2147483647 h 171"/>
                    <a:gd name="T50" fmla="*/ 2147483647 w 115"/>
                    <a:gd name="T51" fmla="*/ 2147483647 h 171"/>
                    <a:gd name="T52" fmla="*/ 2147483647 w 115"/>
                    <a:gd name="T53" fmla="*/ 2147483647 h 171"/>
                    <a:gd name="T54" fmla="*/ 2147483647 w 115"/>
                    <a:gd name="T55" fmla="*/ 2147483647 h 171"/>
                    <a:gd name="T56" fmla="*/ 2147483647 w 115"/>
                    <a:gd name="T57" fmla="*/ 2147483647 h 171"/>
                    <a:gd name="T58" fmla="*/ 2147483647 w 115"/>
                    <a:gd name="T59" fmla="*/ 2147483647 h 171"/>
                    <a:gd name="T60" fmla="*/ 2147483647 w 115"/>
                    <a:gd name="T61" fmla="*/ 2147483647 h 171"/>
                    <a:gd name="T62" fmla="*/ 2147483647 w 115"/>
                    <a:gd name="T63" fmla="*/ 2147483647 h 171"/>
                    <a:gd name="T64" fmla="*/ 2147483647 w 115"/>
                    <a:gd name="T65" fmla="*/ 2147483647 h 171"/>
                    <a:gd name="T66" fmla="*/ 2147483647 w 115"/>
                    <a:gd name="T67" fmla="*/ 2147483647 h 171"/>
                    <a:gd name="T68" fmla="*/ 2147483647 w 115"/>
                    <a:gd name="T69" fmla="*/ 2147483647 h 171"/>
                    <a:gd name="T70" fmla="*/ 2147483647 w 115"/>
                    <a:gd name="T71" fmla="*/ 2147483647 h 171"/>
                    <a:gd name="T72" fmla="*/ 2147483647 w 115"/>
                    <a:gd name="T73" fmla="*/ 2147483647 h 171"/>
                    <a:gd name="T74" fmla="*/ 2147483647 w 115"/>
                    <a:gd name="T75" fmla="*/ 2147483647 h 171"/>
                    <a:gd name="T76" fmla="*/ 2147483647 w 115"/>
                    <a:gd name="T77" fmla="*/ 2147483647 h 171"/>
                    <a:gd name="T78" fmla="*/ 2147483647 w 115"/>
                    <a:gd name="T79" fmla="*/ 2147483647 h 171"/>
                    <a:gd name="T80" fmla="*/ 2147483647 w 115"/>
                    <a:gd name="T81" fmla="*/ 2147483647 h 171"/>
                    <a:gd name="T82" fmla="*/ 2147483647 w 115"/>
                    <a:gd name="T83" fmla="*/ 2147483647 h 171"/>
                    <a:gd name="T84" fmla="*/ 2147483647 w 115"/>
                    <a:gd name="T85" fmla="*/ 2147483647 h 171"/>
                    <a:gd name="T86" fmla="*/ 2147483647 w 115"/>
                    <a:gd name="T87" fmla="*/ 2147483647 h 171"/>
                    <a:gd name="T88" fmla="*/ 2147483647 w 115"/>
                    <a:gd name="T89" fmla="*/ 2147483647 h 171"/>
                    <a:gd name="T90" fmla="*/ 2147483647 w 115"/>
                    <a:gd name="T91" fmla="*/ 2147483647 h 171"/>
                    <a:gd name="T92" fmla="*/ 2147483647 w 115"/>
                    <a:gd name="T93" fmla="*/ 2147483647 h 171"/>
                    <a:gd name="T94" fmla="*/ 2147483647 w 115"/>
                    <a:gd name="T95" fmla="*/ 2147483647 h 171"/>
                    <a:gd name="T96" fmla="*/ 2147483647 w 115"/>
                    <a:gd name="T97" fmla="*/ 2147483647 h 171"/>
                    <a:gd name="T98" fmla="*/ 2147483647 w 115"/>
                    <a:gd name="T99" fmla="*/ 2147483647 h 171"/>
                    <a:gd name="T100" fmla="*/ 2147483647 w 115"/>
                    <a:gd name="T101" fmla="*/ 2147483647 h 171"/>
                    <a:gd name="T102" fmla="*/ 2147483647 w 115"/>
                    <a:gd name="T103" fmla="*/ 2147483647 h 171"/>
                    <a:gd name="T104" fmla="*/ 2147483647 w 115"/>
                    <a:gd name="T105" fmla="*/ 2147483647 h 171"/>
                    <a:gd name="T106" fmla="*/ 2147483647 w 115"/>
                    <a:gd name="T107" fmla="*/ 2147483647 h 171"/>
                    <a:gd name="T108" fmla="*/ 2147483647 w 115"/>
                    <a:gd name="T109" fmla="*/ 2147483647 h 171"/>
                    <a:gd name="T110" fmla="*/ 2147483647 w 115"/>
                    <a:gd name="T111" fmla="*/ 2147483647 h 171"/>
                    <a:gd name="T112" fmla="*/ 2147483647 w 115"/>
                    <a:gd name="T113" fmla="*/ 2147483647 h 1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71"/>
                    <a:gd name="T173" fmla="*/ 115 w 115"/>
                    <a:gd name="T174" fmla="*/ 171 h 1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71">
                      <a:moveTo>
                        <a:pt x="33" y="1"/>
                      </a:moveTo>
                      <a:lnTo>
                        <a:pt x="33" y="1"/>
                      </a:lnTo>
                      <a:lnTo>
                        <a:pt x="27" y="0"/>
                      </a:lnTo>
                      <a:lnTo>
                        <a:pt x="25" y="0"/>
                      </a:lnTo>
                      <a:lnTo>
                        <a:pt x="22" y="1"/>
                      </a:lnTo>
                      <a:lnTo>
                        <a:pt x="22" y="4"/>
                      </a:lnTo>
                      <a:lnTo>
                        <a:pt x="21" y="5"/>
                      </a:lnTo>
                      <a:lnTo>
                        <a:pt x="22" y="9"/>
                      </a:lnTo>
                      <a:lnTo>
                        <a:pt x="27" y="16"/>
                      </a:lnTo>
                      <a:lnTo>
                        <a:pt x="27" y="20"/>
                      </a:lnTo>
                      <a:lnTo>
                        <a:pt x="27" y="22"/>
                      </a:lnTo>
                      <a:lnTo>
                        <a:pt x="26" y="23"/>
                      </a:lnTo>
                      <a:lnTo>
                        <a:pt x="22" y="25"/>
                      </a:lnTo>
                      <a:lnTo>
                        <a:pt x="19" y="26"/>
                      </a:lnTo>
                      <a:lnTo>
                        <a:pt x="15" y="25"/>
                      </a:lnTo>
                      <a:lnTo>
                        <a:pt x="10" y="24"/>
                      </a:lnTo>
                      <a:lnTo>
                        <a:pt x="6" y="35"/>
                      </a:lnTo>
                      <a:lnTo>
                        <a:pt x="0" y="44"/>
                      </a:lnTo>
                      <a:lnTo>
                        <a:pt x="3" y="45"/>
                      </a:lnTo>
                      <a:lnTo>
                        <a:pt x="5" y="46"/>
                      </a:lnTo>
                      <a:lnTo>
                        <a:pt x="5" y="50"/>
                      </a:lnTo>
                      <a:lnTo>
                        <a:pt x="5" y="55"/>
                      </a:lnTo>
                      <a:lnTo>
                        <a:pt x="5" y="58"/>
                      </a:lnTo>
                      <a:lnTo>
                        <a:pt x="6" y="62"/>
                      </a:lnTo>
                      <a:lnTo>
                        <a:pt x="7" y="65"/>
                      </a:lnTo>
                      <a:lnTo>
                        <a:pt x="8" y="68"/>
                      </a:lnTo>
                      <a:lnTo>
                        <a:pt x="7" y="74"/>
                      </a:lnTo>
                      <a:lnTo>
                        <a:pt x="7" y="78"/>
                      </a:lnTo>
                      <a:lnTo>
                        <a:pt x="7" y="84"/>
                      </a:lnTo>
                      <a:lnTo>
                        <a:pt x="8" y="88"/>
                      </a:lnTo>
                      <a:lnTo>
                        <a:pt x="12" y="92"/>
                      </a:lnTo>
                      <a:lnTo>
                        <a:pt x="12" y="94"/>
                      </a:lnTo>
                      <a:lnTo>
                        <a:pt x="13" y="96"/>
                      </a:lnTo>
                      <a:lnTo>
                        <a:pt x="16" y="97"/>
                      </a:lnTo>
                      <a:lnTo>
                        <a:pt x="19" y="97"/>
                      </a:lnTo>
                      <a:lnTo>
                        <a:pt x="21" y="97"/>
                      </a:lnTo>
                      <a:lnTo>
                        <a:pt x="22" y="95"/>
                      </a:lnTo>
                      <a:lnTo>
                        <a:pt x="24" y="93"/>
                      </a:lnTo>
                      <a:lnTo>
                        <a:pt x="25" y="90"/>
                      </a:lnTo>
                      <a:lnTo>
                        <a:pt x="27" y="90"/>
                      </a:lnTo>
                      <a:lnTo>
                        <a:pt x="31" y="92"/>
                      </a:lnTo>
                      <a:lnTo>
                        <a:pt x="34" y="93"/>
                      </a:lnTo>
                      <a:lnTo>
                        <a:pt x="36" y="94"/>
                      </a:lnTo>
                      <a:lnTo>
                        <a:pt x="40" y="94"/>
                      </a:lnTo>
                      <a:lnTo>
                        <a:pt x="44" y="93"/>
                      </a:lnTo>
                      <a:lnTo>
                        <a:pt x="48" y="92"/>
                      </a:lnTo>
                      <a:lnTo>
                        <a:pt x="50" y="90"/>
                      </a:lnTo>
                      <a:lnTo>
                        <a:pt x="52" y="89"/>
                      </a:lnTo>
                      <a:lnTo>
                        <a:pt x="53" y="89"/>
                      </a:lnTo>
                      <a:lnTo>
                        <a:pt x="55" y="92"/>
                      </a:lnTo>
                      <a:lnTo>
                        <a:pt x="59" y="92"/>
                      </a:lnTo>
                      <a:lnTo>
                        <a:pt x="60" y="92"/>
                      </a:lnTo>
                      <a:lnTo>
                        <a:pt x="63" y="94"/>
                      </a:lnTo>
                      <a:lnTo>
                        <a:pt x="63" y="97"/>
                      </a:lnTo>
                      <a:lnTo>
                        <a:pt x="62" y="100"/>
                      </a:lnTo>
                      <a:lnTo>
                        <a:pt x="62" y="102"/>
                      </a:lnTo>
                      <a:lnTo>
                        <a:pt x="64" y="105"/>
                      </a:lnTo>
                      <a:lnTo>
                        <a:pt x="67" y="106"/>
                      </a:lnTo>
                      <a:lnTo>
                        <a:pt x="69" y="108"/>
                      </a:lnTo>
                      <a:lnTo>
                        <a:pt x="71" y="111"/>
                      </a:lnTo>
                      <a:lnTo>
                        <a:pt x="74" y="124"/>
                      </a:lnTo>
                      <a:lnTo>
                        <a:pt x="77" y="131"/>
                      </a:lnTo>
                      <a:lnTo>
                        <a:pt x="80" y="137"/>
                      </a:lnTo>
                      <a:lnTo>
                        <a:pt x="81" y="141"/>
                      </a:lnTo>
                      <a:lnTo>
                        <a:pt x="82" y="146"/>
                      </a:lnTo>
                      <a:lnTo>
                        <a:pt x="82" y="156"/>
                      </a:lnTo>
                      <a:lnTo>
                        <a:pt x="86" y="157"/>
                      </a:lnTo>
                      <a:lnTo>
                        <a:pt x="90" y="159"/>
                      </a:lnTo>
                      <a:lnTo>
                        <a:pt x="93" y="163"/>
                      </a:lnTo>
                      <a:lnTo>
                        <a:pt x="97" y="165"/>
                      </a:lnTo>
                      <a:lnTo>
                        <a:pt x="99" y="166"/>
                      </a:lnTo>
                      <a:lnTo>
                        <a:pt x="99" y="169"/>
                      </a:lnTo>
                      <a:lnTo>
                        <a:pt x="100" y="170"/>
                      </a:lnTo>
                      <a:lnTo>
                        <a:pt x="101" y="171"/>
                      </a:lnTo>
                      <a:lnTo>
                        <a:pt x="102" y="171"/>
                      </a:lnTo>
                      <a:lnTo>
                        <a:pt x="104" y="171"/>
                      </a:lnTo>
                      <a:lnTo>
                        <a:pt x="109" y="166"/>
                      </a:lnTo>
                      <a:lnTo>
                        <a:pt x="111" y="165"/>
                      </a:lnTo>
                      <a:lnTo>
                        <a:pt x="115" y="165"/>
                      </a:lnTo>
                      <a:lnTo>
                        <a:pt x="114" y="152"/>
                      </a:lnTo>
                      <a:lnTo>
                        <a:pt x="114" y="146"/>
                      </a:lnTo>
                      <a:lnTo>
                        <a:pt x="111" y="140"/>
                      </a:lnTo>
                      <a:lnTo>
                        <a:pt x="110" y="137"/>
                      </a:lnTo>
                      <a:lnTo>
                        <a:pt x="109" y="134"/>
                      </a:lnTo>
                      <a:lnTo>
                        <a:pt x="100" y="125"/>
                      </a:lnTo>
                      <a:lnTo>
                        <a:pt x="97" y="120"/>
                      </a:lnTo>
                      <a:lnTo>
                        <a:pt x="95" y="115"/>
                      </a:lnTo>
                      <a:lnTo>
                        <a:pt x="91" y="111"/>
                      </a:lnTo>
                      <a:lnTo>
                        <a:pt x="87" y="107"/>
                      </a:lnTo>
                      <a:lnTo>
                        <a:pt x="83" y="100"/>
                      </a:lnTo>
                      <a:lnTo>
                        <a:pt x="80" y="92"/>
                      </a:lnTo>
                      <a:lnTo>
                        <a:pt x="77" y="88"/>
                      </a:lnTo>
                      <a:lnTo>
                        <a:pt x="74" y="86"/>
                      </a:lnTo>
                      <a:lnTo>
                        <a:pt x="71" y="83"/>
                      </a:lnTo>
                      <a:lnTo>
                        <a:pt x="66" y="83"/>
                      </a:lnTo>
                      <a:lnTo>
                        <a:pt x="63" y="82"/>
                      </a:lnTo>
                      <a:lnTo>
                        <a:pt x="63" y="80"/>
                      </a:lnTo>
                      <a:lnTo>
                        <a:pt x="63" y="77"/>
                      </a:lnTo>
                      <a:lnTo>
                        <a:pt x="64" y="74"/>
                      </a:lnTo>
                      <a:lnTo>
                        <a:pt x="66" y="71"/>
                      </a:lnTo>
                      <a:lnTo>
                        <a:pt x="66" y="69"/>
                      </a:lnTo>
                      <a:lnTo>
                        <a:pt x="66" y="67"/>
                      </a:lnTo>
                      <a:lnTo>
                        <a:pt x="68" y="64"/>
                      </a:lnTo>
                      <a:lnTo>
                        <a:pt x="71" y="64"/>
                      </a:lnTo>
                      <a:lnTo>
                        <a:pt x="73" y="63"/>
                      </a:lnTo>
                      <a:lnTo>
                        <a:pt x="74" y="60"/>
                      </a:lnTo>
                      <a:lnTo>
                        <a:pt x="77" y="51"/>
                      </a:lnTo>
                      <a:lnTo>
                        <a:pt x="78" y="49"/>
                      </a:lnTo>
                      <a:lnTo>
                        <a:pt x="80" y="48"/>
                      </a:lnTo>
                      <a:lnTo>
                        <a:pt x="78" y="46"/>
                      </a:lnTo>
                      <a:lnTo>
                        <a:pt x="76" y="46"/>
                      </a:lnTo>
                      <a:lnTo>
                        <a:pt x="74" y="45"/>
                      </a:lnTo>
                      <a:lnTo>
                        <a:pt x="74" y="42"/>
                      </a:lnTo>
                      <a:lnTo>
                        <a:pt x="76" y="38"/>
                      </a:lnTo>
                      <a:lnTo>
                        <a:pt x="77" y="36"/>
                      </a:lnTo>
                      <a:lnTo>
                        <a:pt x="76" y="35"/>
                      </a:lnTo>
                      <a:lnTo>
                        <a:pt x="74" y="33"/>
                      </a:lnTo>
                      <a:lnTo>
                        <a:pt x="71" y="32"/>
                      </a:lnTo>
                      <a:lnTo>
                        <a:pt x="66" y="32"/>
                      </a:lnTo>
                      <a:lnTo>
                        <a:pt x="55" y="32"/>
                      </a:lnTo>
                      <a:lnTo>
                        <a:pt x="54" y="31"/>
                      </a:lnTo>
                      <a:lnTo>
                        <a:pt x="54" y="30"/>
                      </a:lnTo>
                      <a:lnTo>
                        <a:pt x="50" y="23"/>
                      </a:lnTo>
                      <a:lnTo>
                        <a:pt x="47" y="14"/>
                      </a:lnTo>
                      <a:lnTo>
                        <a:pt x="41" y="9"/>
                      </a:lnTo>
                      <a:lnTo>
                        <a:pt x="35" y="3"/>
                      </a:lnTo>
                      <a:lnTo>
                        <a:pt x="33"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4" name="Freeform 618"/>
                <p:cNvSpPr>
                  <a:spLocks/>
                </p:cNvSpPr>
                <p:nvPr/>
              </p:nvSpPr>
              <p:spPr bwMode="auto">
                <a:xfrm>
                  <a:off x="6906083" y="4019018"/>
                  <a:ext cx="180544" cy="421763"/>
                </a:xfrm>
                <a:custGeom>
                  <a:avLst/>
                  <a:gdLst>
                    <a:gd name="T0" fmla="*/ 2147483647 w 132"/>
                    <a:gd name="T1" fmla="*/ 2147483647 h 285"/>
                    <a:gd name="T2" fmla="*/ 2147483647 w 132"/>
                    <a:gd name="T3" fmla="*/ 2147483647 h 285"/>
                    <a:gd name="T4" fmla="*/ 2147483647 w 132"/>
                    <a:gd name="T5" fmla="*/ 2147483647 h 285"/>
                    <a:gd name="T6" fmla="*/ 2147483647 w 132"/>
                    <a:gd name="T7" fmla="*/ 2147483647 h 285"/>
                    <a:gd name="T8" fmla="*/ 2147483647 w 132"/>
                    <a:gd name="T9" fmla="*/ 2147483647 h 285"/>
                    <a:gd name="T10" fmla="*/ 2147483647 w 132"/>
                    <a:gd name="T11" fmla="*/ 2147483647 h 285"/>
                    <a:gd name="T12" fmla="*/ 2147483647 w 132"/>
                    <a:gd name="T13" fmla="*/ 2147483647 h 285"/>
                    <a:gd name="T14" fmla="*/ 2147483647 w 132"/>
                    <a:gd name="T15" fmla="*/ 2147483647 h 285"/>
                    <a:gd name="T16" fmla="*/ 2147483647 w 132"/>
                    <a:gd name="T17" fmla="*/ 2147483647 h 285"/>
                    <a:gd name="T18" fmla="*/ 2147483647 w 132"/>
                    <a:gd name="T19" fmla="*/ 2147483647 h 285"/>
                    <a:gd name="T20" fmla="*/ 2147483647 w 132"/>
                    <a:gd name="T21" fmla="*/ 2147483647 h 285"/>
                    <a:gd name="T22" fmla="*/ 2147483647 w 132"/>
                    <a:gd name="T23" fmla="*/ 2147483647 h 285"/>
                    <a:gd name="T24" fmla="*/ 2147483647 w 132"/>
                    <a:gd name="T25" fmla="*/ 2147483647 h 285"/>
                    <a:gd name="T26" fmla="*/ 2147483647 w 132"/>
                    <a:gd name="T27" fmla="*/ 2147483647 h 285"/>
                    <a:gd name="T28" fmla="*/ 2147483647 w 132"/>
                    <a:gd name="T29" fmla="*/ 2147483647 h 285"/>
                    <a:gd name="T30" fmla="*/ 2147483647 w 132"/>
                    <a:gd name="T31" fmla="*/ 2147483647 h 285"/>
                    <a:gd name="T32" fmla="*/ 2147483647 w 132"/>
                    <a:gd name="T33" fmla="*/ 2147483647 h 285"/>
                    <a:gd name="T34" fmla="*/ 0 w 132"/>
                    <a:gd name="T35" fmla="*/ 2147483647 h 285"/>
                    <a:gd name="T36" fmla="*/ 2147483647 w 132"/>
                    <a:gd name="T37" fmla="*/ 2147483647 h 285"/>
                    <a:gd name="T38" fmla="*/ 2147483647 w 132"/>
                    <a:gd name="T39" fmla="*/ 2147483647 h 285"/>
                    <a:gd name="T40" fmla="*/ 2147483647 w 132"/>
                    <a:gd name="T41" fmla="*/ 2147483647 h 285"/>
                    <a:gd name="T42" fmla="*/ 2147483647 w 132"/>
                    <a:gd name="T43" fmla="*/ 2147483647 h 285"/>
                    <a:gd name="T44" fmla="*/ 2147483647 w 132"/>
                    <a:gd name="T45" fmla="*/ 2147483647 h 285"/>
                    <a:gd name="T46" fmla="*/ 2147483647 w 132"/>
                    <a:gd name="T47" fmla="*/ 2147483647 h 285"/>
                    <a:gd name="T48" fmla="*/ 2147483647 w 132"/>
                    <a:gd name="T49" fmla="*/ 2147483647 h 285"/>
                    <a:gd name="T50" fmla="*/ 2147483647 w 132"/>
                    <a:gd name="T51" fmla="*/ 2147483647 h 285"/>
                    <a:gd name="T52" fmla="*/ 2147483647 w 132"/>
                    <a:gd name="T53" fmla="*/ 2147483647 h 285"/>
                    <a:gd name="T54" fmla="*/ 2147483647 w 132"/>
                    <a:gd name="T55" fmla="*/ 2147483647 h 285"/>
                    <a:gd name="T56" fmla="*/ 2147483647 w 132"/>
                    <a:gd name="T57" fmla="*/ 2147483647 h 285"/>
                    <a:gd name="T58" fmla="*/ 2147483647 w 132"/>
                    <a:gd name="T59" fmla="*/ 2147483647 h 285"/>
                    <a:gd name="T60" fmla="*/ 2147483647 w 132"/>
                    <a:gd name="T61" fmla="*/ 2147483647 h 285"/>
                    <a:gd name="T62" fmla="*/ 2147483647 w 132"/>
                    <a:gd name="T63" fmla="*/ 2147483647 h 285"/>
                    <a:gd name="T64" fmla="*/ 2147483647 w 132"/>
                    <a:gd name="T65" fmla="*/ 2147483647 h 285"/>
                    <a:gd name="T66" fmla="*/ 2147483647 w 132"/>
                    <a:gd name="T67" fmla="*/ 2147483647 h 285"/>
                    <a:gd name="T68" fmla="*/ 2147483647 w 132"/>
                    <a:gd name="T69" fmla="*/ 2147483647 h 285"/>
                    <a:gd name="T70" fmla="*/ 2147483647 w 132"/>
                    <a:gd name="T71" fmla="*/ 2147483647 h 285"/>
                    <a:gd name="T72" fmla="*/ 2147483647 w 132"/>
                    <a:gd name="T73" fmla="*/ 2147483647 h 285"/>
                    <a:gd name="T74" fmla="*/ 2147483647 w 132"/>
                    <a:gd name="T75" fmla="*/ 2147483647 h 285"/>
                    <a:gd name="T76" fmla="*/ 2147483647 w 132"/>
                    <a:gd name="T77" fmla="*/ 2147483647 h 285"/>
                    <a:gd name="T78" fmla="*/ 2147483647 w 132"/>
                    <a:gd name="T79" fmla="*/ 2147483647 h 285"/>
                    <a:gd name="T80" fmla="*/ 2147483647 w 132"/>
                    <a:gd name="T81" fmla="*/ 2147483647 h 285"/>
                    <a:gd name="T82" fmla="*/ 2147483647 w 132"/>
                    <a:gd name="T83" fmla="*/ 2147483647 h 285"/>
                    <a:gd name="T84" fmla="*/ 2147483647 w 132"/>
                    <a:gd name="T85" fmla="*/ 2147483647 h 285"/>
                    <a:gd name="T86" fmla="*/ 2147483647 w 132"/>
                    <a:gd name="T87" fmla="*/ 2147483647 h 285"/>
                    <a:gd name="T88" fmla="*/ 2147483647 w 132"/>
                    <a:gd name="T89" fmla="*/ 2147483647 h 285"/>
                    <a:gd name="T90" fmla="*/ 2147483647 w 132"/>
                    <a:gd name="T91" fmla="*/ 2147483647 h 285"/>
                    <a:gd name="T92" fmla="*/ 2147483647 w 132"/>
                    <a:gd name="T93" fmla="*/ 2147483647 h 285"/>
                    <a:gd name="T94" fmla="*/ 2147483647 w 132"/>
                    <a:gd name="T95" fmla="*/ 2147483647 h 285"/>
                    <a:gd name="T96" fmla="*/ 2147483647 w 132"/>
                    <a:gd name="T97" fmla="*/ 2147483647 h 285"/>
                    <a:gd name="T98" fmla="*/ 2147483647 w 132"/>
                    <a:gd name="T99" fmla="*/ 2147483647 h 2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2"/>
                    <a:gd name="T151" fmla="*/ 0 h 285"/>
                    <a:gd name="T152" fmla="*/ 132 w 132"/>
                    <a:gd name="T153" fmla="*/ 285 h 2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2" h="285">
                      <a:moveTo>
                        <a:pt x="132" y="112"/>
                      </a:moveTo>
                      <a:lnTo>
                        <a:pt x="132" y="102"/>
                      </a:lnTo>
                      <a:lnTo>
                        <a:pt x="131" y="98"/>
                      </a:lnTo>
                      <a:lnTo>
                        <a:pt x="130" y="93"/>
                      </a:lnTo>
                      <a:lnTo>
                        <a:pt x="127" y="87"/>
                      </a:lnTo>
                      <a:lnTo>
                        <a:pt x="125" y="80"/>
                      </a:lnTo>
                      <a:lnTo>
                        <a:pt x="121" y="67"/>
                      </a:lnTo>
                      <a:lnTo>
                        <a:pt x="120" y="64"/>
                      </a:lnTo>
                      <a:lnTo>
                        <a:pt x="117" y="62"/>
                      </a:lnTo>
                      <a:lnTo>
                        <a:pt x="115" y="61"/>
                      </a:lnTo>
                      <a:lnTo>
                        <a:pt x="112" y="58"/>
                      </a:lnTo>
                      <a:lnTo>
                        <a:pt x="112" y="56"/>
                      </a:lnTo>
                      <a:lnTo>
                        <a:pt x="113" y="54"/>
                      </a:lnTo>
                      <a:lnTo>
                        <a:pt x="113" y="50"/>
                      </a:lnTo>
                      <a:lnTo>
                        <a:pt x="111" y="48"/>
                      </a:lnTo>
                      <a:lnTo>
                        <a:pt x="109" y="48"/>
                      </a:lnTo>
                      <a:lnTo>
                        <a:pt x="106" y="48"/>
                      </a:lnTo>
                      <a:lnTo>
                        <a:pt x="103" y="45"/>
                      </a:lnTo>
                      <a:lnTo>
                        <a:pt x="102" y="45"/>
                      </a:lnTo>
                      <a:lnTo>
                        <a:pt x="101" y="47"/>
                      </a:lnTo>
                      <a:lnTo>
                        <a:pt x="98" y="48"/>
                      </a:lnTo>
                      <a:lnTo>
                        <a:pt x="94" y="49"/>
                      </a:lnTo>
                      <a:lnTo>
                        <a:pt x="90" y="50"/>
                      </a:lnTo>
                      <a:lnTo>
                        <a:pt x="87" y="50"/>
                      </a:lnTo>
                      <a:lnTo>
                        <a:pt x="84" y="49"/>
                      </a:lnTo>
                      <a:lnTo>
                        <a:pt x="82" y="48"/>
                      </a:lnTo>
                      <a:lnTo>
                        <a:pt x="78" y="47"/>
                      </a:lnTo>
                      <a:lnTo>
                        <a:pt x="75" y="47"/>
                      </a:lnTo>
                      <a:lnTo>
                        <a:pt x="74" y="49"/>
                      </a:lnTo>
                      <a:lnTo>
                        <a:pt x="73" y="51"/>
                      </a:lnTo>
                      <a:lnTo>
                        <a:pt x="71" y="54"/>
                      </a:lnTo>
                      <a:lnTo>
                        <a:pt x="69" y="54"/>
                      </a:lnTo>
                      <a:lnTo>
                        <a:pt x="66" y="54"/>
                      </a:lnTo>
                      <a:lnTo>
                        <a:pt x="64" y="52"/>
                      </a:lnTo>
                      <a:lnTo>
                        <a:pt x="62" y="50"/>
                      </a:lnTo>
                      <a:lnTo>
                        <a:pt x="62" y="48"/>
                      </a:lnTo>
                      <a:lnTo>
                        <a:pt x="59" y="44"/>
                      </a:lnTo>
                      <a:lnTo>
                        <a:pt x="57" y="41"/>
                      </a:lnTo>
                      <a:lnTo>
                        <a:pt x="57" y="35"/>
                      </a:lnTo>
                      <a:lnTo>
                        <a:pt x="57" y="30"/>
                      </a:lnTo>
                      <a:lnTo>
                        <a:pt x="59" y="24"/>
                      </a:lnTo>
                      <a:lnTo>
                        <a:pt x="57" y="22"/>
                      </a:lnTo>
                      <a:lnTo>
                        <a:pt x="56" y="18"/>
                      </a:lnTo>
                      <a:lnTo>
                        <a:pt x="55" y="15"/>
                      </a:lnTo>
                      <a:lnTo>
                        <a:pt x="55" y="11"/>
                      </a:lnTo>
                      <a:lnTo>
                        <a:pt x="55" y="6"/>
                      </a:lnTo>
                      <a:lnTo>
                        <a:pt x="55" y="3"/>
                      </a:lnTo>
                      <a:lnTo>
                        <a:pt x="54" y="1"/>
                      </a:lnTo>
                      <a:lnTo>
                        <a:pt x="50" y="0"/>
                      </a:lnTo>
                      <a:lnTo>
                        <a:pt x="49" y="1"/>
                      </a:lnTo>
                      <a:lnTo>
                        <a:pt x="47" y="1"/>
                      </a:lnTo>
                      <a:lnTo>
                        <a:pt x="43" y="1"/>
                      </a:lnTo>
                      <a:lnTo>
                        <a:pt x="38" y="0"/>
                      </a:lnTo>
                      <a:lnTo>
                        <a:pt x="35" y="0"/>
                      </a:lnTo>
                      <a:lnTo>
                        <a:pt x="32" y="1"/>
                      </a:lnTo>
                      <a:lnTo>
                        <a:pt x="31" y="5"/>
                      </a:lnTo>
                      <a:lnTo>
                        <a:pt x="29" y="9"/>
                      </a:lnTo>
                      <a:lnTo>
                        <a:pt x="28" y="11"/>
                      </a:lnTo>
                      <a:lnTo>
                        <a:pt x="26" y="12"/>
                      </a:lnTo>
                      <a:lnTo>
                        <a:pt x="23" y="13"/>
                      </a:lnTo>
                      <a:lnTo>
                        <a:pt x="18" y="15"/>
                      </a:lnTo>
                      <a:lnTo>
                        <a:pt x="16" y="16"/>
                      </a:lnTo>
                      <a:lnTo>
                        <a:pt x="13" y="18"/>
                      </a:lnTo>
                      <a:lnTo>
                        <a:pt x="12" y="22"/>
                      </a:lnTo>
                      <a:lnTo>
                        <a:pt x="10" y="28"/>
                      </a:lnTo>
                      <a:lnTo>
                        <a:pt x="9" y="29"/>
                      </a:lnTo>
                      <a:lnTo>
                        <a:pt x="7" y="30"/>
                      </a:lnTo>
                      <a:lnTo>
                        <a:pt x="3" y="31"/>
                      </a:lnTo>
                      <a:lnTo>
                        <a:pt x="2" y="33"/>
                      </a:lnTo>
                      <a:lnTo>
                        <a:pt x="0" y="37"/>
                      </a:lnTo>
                      <a:lnTo>
                        <a:pt x="0" y="42"/>
                      </a:lnTo>
                      <a:lnTo>
                        <a:pt x="0" y="45"/>
                      </a:lnTo>
                      <a:lnTo>
                        <a:pt x="3" y="48"/>
                      </a:lnTo>
                      <a:lnTo>
                        <a:pt x="4" y="48"/>
                      </a:lnTo>
                      <a:lnTo>
                        <a:pt x="5" y="48"/>
                      </a:lnTo>
                      <a:lnTo>
                        <a:pt x="8" y="47"/>
                      </a:lnTo>
                      <a:lnTo>
                        <a:pt x="9" y="47"/>
                      </a:lnTo>
                      <a:lnTo>
                        <a:pt x="10" y="50"/>
                      </a:lnTo>
                      <a:lnTo>
                        <a:pt x="10" y="52"/>
                      </a:lnTo>
                      <a:lnTo>
                        <a:pt x="10" y="58"/>
                      </a:lnTo>
                      <a:lnTo>
                        <a:pt x="10" y="64"/>
                      </a:lnTo>
                      <a:lnTo>
                        <a:pt x="14" y="74"/>
                      </a:lnTo>
                      <a:lnTo>
                        <a:pt x="17" y="80"/>
                      </a:lnTo>
                      <a:lnTo>
                        <a:pt x="21" y="83"/>
                      </a:lnTo>
                      <a:lnTo>
                        <a:pt x="23" y="88"/>
                      </a:lnTo>
                      <a:lnTo>
                        <a:pt x="24" y="90"/>
                      </a:lnTo>
                      <a:lnTo>
                        <a:pt x="24" y="93"/>
                      </a:lnTo>
                      <a:lnTo>
                        <a:pt x="24" y="99"/>
                      </a:lnTo>
                      <a:lnTo>
                        <a:pt x="22" y="105"/>
                      </a:lnTo>
                      <a:lnTo>
                        <a:pt x="21" y="111"/>
                      </a:lnTo>
                      <a:lnTo>
                        <a:pt x="21" y="113"/>
                      </a:lnTo>
                      <a:lnTo>
                        <a:pt x="22" y="116"/>
                      </a:lnTo>
                      <a:lnTo>
                        <a:pt x="28" y="134"/>
                      </a:lnTo>
                      <a:lnTo>
                        <a:pt x="35" y="152"/>
                      </a:lnTo>
                      <a:lnTo>
                        <a:pt x="36" y="162"/>
                      </a:lnTo>
                      <a:lnTo>
                        <a:pt x="37" y="171"/>
                      </a:lnTo>
                      <a:lnTo>
                        <a:pt x="37" y="181"/>
                      </a:lnTo>
                      <a:lnTo>
                        <a:pt x="36" y="190"/>
                      </a:lnTo>
                      <a:lnTo>
                        <a:pt x="35" y="195"/>
                      </a:lnTo>
                      <a:lnTo>
                        <a:pt x="31" y="198"/>
                      </a:lnTo>
                      <a:lnTo>
                        <a:pt x="28" y="202"/>
                      </a:lnTo>
                      <a:lnTo>
                        <a:pt x="23" y="205"/>
                      </a:lnTo>
                      <a:lnTo>
                        <a:pt x="24" y="208"/>
                      </a:lnTo>
                      <a:lnTo>
                        <a:pt x="26" y="209"/>
                      </a:lnTo>
                      <a:lnTo>
                        <a:pt x="24" y="211"/>
                      </a:lnTo>
                      <a:lnTo>
                        <a:pt x="22" y="214"/>
                      </a:lnTo>
                      <a:lnTo>
                        <a:pt x="21" y="217"/>
                      </a:lnTo>
                      <a:lnTo>
                        <a:pt x="18" y="224"/>
                      </a:lnTo>
                      <a:lnTo>
                        <a:pt x="17" y="239"/>
                      </a:lnTo>
                      <a:lnTo>
                        <a:pt x="16" y="245"/>
                      </a:lnTo>
                      <a:lnTo>
                        <a:pt x="16" y="247"/>
                      </a:lnTo>
                      <a:lnTo>
                        <a:pt x="16" y="248"/>
                      </a:lnTo>
                      <a:lnTo>
                        <a:pt x="18" y="248"/>
                      </a:lnTo>
                      <a:lnTo>
                        <a:pt x="21" y="248"/>
                      </a:lnTo>
                      <a:lnTo>
                        <a:pt x="22" y="247"/>
                      </a:lnTo>
                      <a:lnTo>
                        <a:pt x="24" y="246"/>
                      </a:lnTo>
                      <a:lnTo>
                        <a:pt x="26" y="245"/>
                      </a:lnTo>
                      <a:lnTo>
                        <a:pt x="29" y="247"/>
                      </a:lnTo>
                      <a:lnTo>
                        <a:pt x="32" y="249"/>
                      </a:lnTo>
                      <a:lnTo>
                        <a:pt x="36" y="255"/>
                      </a:lnTo>
                      <a:lnTo>
                        <a:pt x="40" y="261"/>
                      </a:lnTo>
                      <a:lnTo>
                        <a:pt x="43" y="268"/>
                      </a:lnTo>
                      <a:lnTo>
                        <a:pt x="46" y="273"/>
                      </a:lnTo>
                      <a:lnTo>
                        <a:pt x="50" y="272"/>
                      </a:lnTo>
                      <a:lnTo>
                        <a:pt x="54" y="273"/>
                      </a:lnTo>
                      <a:lnTo>
                        <a:pt x="56" y="273"/>
                      </a:lnTo>
                      <a:lnTo>
                        <a:pt x="59" y="275"/>
                      </a:lnTo>
                      <a:lnTo>
                        <a:pt x="60" y="279"/>
                      </a:lnTo>
                      <a:lnTo>
                        <a:pt x="62" y="281"/>
                      </a:lnTo>
                      <a:lnTo>
                        <a:pt x="65" y="284"/>
                      </a:lnTo>
                      <a:lnTo>
                        <a:pt x="69" y="285"/>
                      </a:lnTo>
                      <a:lnTo>
                        <a:pt x="76" y="285"/>
                      </a:lnTo>
                      <a:lnTo>
                        <a:pt x="83" y="285"/>
                      </a:lnTo>
                      <a:lnTo>
                        <a:pt x="83" y="282"/>
                      </a:lnTo>
                      <a:lnTo>
                        <a:pt x="78" y="277"/>
                      </a:lnTo>
                      <a:lnTo>
                        <a:pt x="73" y="269"/>
                      </a:lnTo>
                      <a:lnTo>
                        <a:pt x="70" y="268"/>
                      </a:lnTo>
                      <a:lnTo>
                        <a:pt x="68" y="268"/>
                      </a:lnTo>
                      <a:lnTo>
                        <a:pt x="65" y="268"/>
                      </a:lnTo>
                      <a:lnTo>
                        <a:pt x="61" y="267"/>
                      </a:lnTo>
                      <a:lnTo>
                        <a:pt x="59" y="265"/>
                      </a:lnTo>
                      <a:lnTo>
                        <a:pt x="57" y="260"/>
                      </a:lnTo>
                      <a:lnTo>
                        <a:pt x="56" y="256"/>
                      </a:lnTo>
                      <a:lnTo>
                        <a:pt x="55" y="252"/>
                      </a:lnTo>
                      <a:lnTo>
                        <a:pt x="50" y="242"/>
                      </a:lnTo>
                      <a:lnTo>
                        <a:pt x="49" y="236"/>
                      </a:lnTo>
                      <a:lnTo>
                        <a:pt x="49" y="230"/>
                      </a:lnTo>
                      <a:lnTo>
                        <a:pt x="49" y="229"/>
                      </a:lnTo>
                      <a:lnTo>
                        <a:pt x="47" y="228"/>
                      </a:lnTo>
                      <a:lnTo>
                        <a:pt x="45" y="228"/>
                      </a:lnTo>
                      <a:lnTo>
                        <a:pt x="42" y="228"/>
                      </a:lnTo>
                      <a:lnTo>
                        <a:pt x="40" y="227"/>
                      </a:lnTo>
                      <a:lnTo>
                        <a:pt x="37" y="222"/>
                      </a:lnTo>
                      <a:lnTo>
                        <a:pt x="36" y="217"/>
                      </a:lnTo>
                      <a:lnTo>
                        <a:pt x="36" y="213"/>
                      </a:lnTo>
                      <a:lnTo>
                        <a:pt x="36" y="208"/>
                      </a:lnTo>
                      <a:lnTo>
                        <a:pt x="43" y="182"/>
                      </a:lnTo>
                      <a:lnTo>
                        <a:pt x="46" y="169"/>
                      </a:lnTo>
                      <a:lnTo>
                        <a:pt x="46" y="156"/>
                      </a:lnTo>
                      <a:lnTo>
                        <a:pt x="47" y="151"/>
                      </a:lnTo>
                      <a:lnTo>
                        <a:pt x="50" y="144"/>
                      </a:lnTo>
                      <a:lnTo>
                        <a:pt x="51" y="143"/>
                      </a:lnTo>
                      <a:lnTo>
                        <a:pt x="52" y="143"/>
                      </a:lnTo>
                      <a:lnTo>
                        <a:pt x="57" y="143"/>
                      </a:lnTo>
                      <a:lnTo>
                        <a:pt x="59" y="141"/>
                      </a:lnTo>
                      <a:lnTo>
                        <a:pt x="61" y="140"/>
                      </a:lnTo>
                      <a:lnTo>
                        <a:pt x="62" y="139"/>
                      </a:lnTo>
                      <a:lnTo>
                        <a:pt x="64" y="140"/>
                      </a:lnTo>
                      <a:lnTo>
                        <a:pt x="65" y="143"/>
                      </a:lnTo>
                      <a:lnTo>
                        <a:pt x="65" y="145"/>
                      </a:lnTo>
                      <a:lnTo>
                        <a:pt x="64" y="151"/>
                      </a:lnTo>
                      <a:lnTo>
                        <a:pt x="62" y="157"/>
                      </a:lnTo>
                      <a:lnTo>
                        <a:pt x="61" y="159"/>
                      </a:lnTo>
                      <a:lnTo>
                        <a:pt x="64" y="160"/>
                      </a:lnTo>
                      <a:lnTo>
                        <a:pt x="68" y="160"/>
                      </a:lnTo>
                      <a:lnTo>
                        <a:pt x="71" y="159"/>
                      </a:lnTo>
                      <a:lnTo>
                        <a:pt x="76" y="159"/>
                      </a:lnTo>
                      <a:lnTo>
                        <a:pt x="78" y="159"/>
                      </a:lnTo>
                      <a:lnTo>
                        <a:pt x="79" y="160"/>
                      </a:lnTo>
                      <a:lnTo>
                        <a:pt x="80" y="163"/>
                      </a:lnTo>
                      <a:lnTo>
                        <a:pt x="82" y="166"/>
                      </a:lnTo>
                      <a:lnTo>
                        <a:pt x="83" y="172"/>
                      </a:lnTo>
                      <a:lnTo>
                        <a:pt x="85" y="171"/>
                      </a:lnTo>
                      <a:lnTo>
                        <a:pt x="87" y="169"/>
                      </a:lnTo>
                      <a:lnTo>
                        <a:pt x="87" y="163"/>
                      </a:lnTo>
                      <a:lnTo>
                        <a:pt x="85" y="157"/>
                      </a:lnTo>
                      <a:lnTo>
                        <a:pt x="84" y="152"/>
                      </a:lnTo>
                      <a:lnTo>
                        <a:pt x="80" y="148"/>
                      </a:lnTo>
                      <a:lnTo>
                        <a:pt x="79" y="146"/>
                      </a:lnTo>
                      <a:lnTo>
                        <a:pt x="80" y="144"/>
                      </a:lnTo>
                      <a:lnTo>
                        <a:pt x="88" y="134"/>
                      </a:lnTo>
                      <a:lnTo>
                        <a:pt x="97" y="126"/>
                      </a:lnTo>
                      <a:lnTo>
                        <a:pt x="99" y="124"/>
                      </a:lnTo>
                      <a:lnTo>
                        <a:pt x="102" y="122"/>
                      </a:lnTo>
                      <a:lnTo>
                        <a:pt x="108" y="122"/>
                      </a:lnTo>
                      <a:lnTo>
                        <a:pt x="113" y="122"/>
                      </a:lnTo>
                      <a:lnTo>
                        <a:pt x="120" y="122"/>
                      </a:lnTo>
                      <a:lnTo>
                        <a:pt x="122" y="121"/>
                      </a:lnTo>
                      <a:lnTo>
                        <a:pt x="123" y="120"/>
                      </a:lnTo>
                      <a:lnTo>
                        <a:pt x="127" y="114"/>
                      </a:lnTo>
                      <a:lnTo>
                        <a:pt x="129" y="112"/>
                      </a:lnTo>
                      <a:lnTo>
                        <a:pt x="132" y="1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5" name="Freeform 619"/>
                <p:cNvSpPr>
                  <a:spLocks/>
                </p:cNvSpPr>
                <p:nvPr/>
              </p:nvSpPr>
              <p:spPr bwMode="auto">
                <a:xfrm>
                  <a:off x="6781774" y="3771875"/>
                  <a:ext cx="207182" cy="550512"/>
                </a:xfrm>
                <a:custGeom>
                  <a:avLst/>
                  <a:gdLst>
                    <a:gd name="T0" fmla="*/ 2147483647 w 152"/>
                    <a:gd name="T1" fmla="*/ 2147483647 h 372"/>
                    <a:gd name="T2" fmla="*/ 2147483647 w 152"/>
                    <a:gd name="T3" fmla="*/ 2147483647 h 372"/>
                    <a:gd name="T4" fmla="*/ 2147483647 w 152"/>
                    <a:gd name="T5" fmla="*/ 2147483647 h 372"/>
                    <a:gd name="T6" fmla="*/ 2147483647 w 152"/>
                    <a:gd name="T7" fmla="*/ 2147483647 h 372"/>
                    <a:gd name="T8" fmla="*/ 2147483647 w 152"/>
                    <a:gd name="T9" fmla="*/ 2147483647 h 372"/>
                    <a:gd name="T10" fmla="*/ 2147483647 w 152"/>
                    <a:gd name="T11" fmla="*/ 2147483647 h 372"/>
                    <a:gd name="T12" fmla="*/ 2147483647 w 152"/>
                    <a:gd name="T13" fmla="*/ 2147483647 h 372"/>
                    <a:gd name="T14" fmla="*/ 2147483647 w 152"/>
                    <a:gd name="T15" fmla="*/ 2147483647 h 372"/>
                    <a:gd name="T16" fmla="*/ 2147483647 w 152"/>
                    <a:gd name="T17" fmla="*/ 2147483647 h 372"/>
                    <a:gd name="T18" fmla="*/ 2147483647 w 152"/>
                    <a:gd name="T19" fmla="*/ 2147483647 h 372"/>
                    <a:gd name="T20" fmla="*/ 2147483647 w 152"/>
                    <a:gd name="T21" fmla="*/ 2147483647 h 372"/>
                    <a:gd name="T22" fmla="*/ 2147483647 w 152"/>
                    <a:gd name="T23" fmla="*/ 2147483647 h 372"/>
                    <a:gd name="T24" fmla="*/ 2147483647 w 152"/>
                    <a:gd name="T25" fmla="*/ 2147483647 h 372"/>
                    <a:gd name="T26" fmla="*/ 2147483647 w 152"/>
                    <a:gd name="T27" fmla="*/ 2147483647 h 372"/>
                    <a:gd name="T28" fmla="*/ 2147483647 w 152"/>
                    <a:gd name="T29" fmla="*/ 2147483647 h 372"/>
                    <a:gd name="T30" fmla="*/ 2147483647 w 152"/>
                    <a:gd name="T31" fmla="*/ 2147483647 h 372"/>
                    <a:gd name="T32" fmla="*/ 2147483647 w 152"/>
                    <a:gd name="T33" fmla="*/ 2147483647 h 372"/>
                    <a:gd name="T34" fmla="*/ 2147483647 w 152"/>
                    <a:gd name="T35" fmla="*/ 2147483647 h 372"/>
                    <a:gd name="T36" fmla="*/ 2147483647 w 152"/>
                    <a:gd name="T37" fmla="*/ 2147483647 h 372"/>
                    <a:gd name="T38" fmla="*/ 2147483647 w 152"/>
                    <a:gd name="T39" fmla="*/ 2147483647 h 372"/>
                    <a:gd name="T40" fmla="*/ 2147483647 w 152"/>
                    <a:gd name="T41" fmla="*/ 2147483647 h 372"/>
                    <a:gd name="T42" fmla="*/ 2147483647 w 152"/>
                    <a:gd name="T43" fmla="*/ 2147483647 h 372"/>
                    <a:gd name="T44" fmla="*/ 2147483647 w 152"/>
                    <a:gd name="T45" fmla="*/ 2147483647 h 372"/>
                    <a:gd name="T46" fmla="*/ 2147483647 w 152"/>
                    <a:gd name="T47" fmla="*/ 2147483647 h 372"/>
                    <a:gd name="T48" fmla="*/ 2147483647 w 152"/>
                    <a:gd name="T49" fmla="*/ 2147483647 h 372"/>
                    <a:gd name="T50" fmla="*/ 2147483647 w 152"/>
                    <a:gd name="T51" fmla="*/ 2147483647 h 372"/>
                    <a:gd name="T52" fmla="*/ 2147483647 w 152"/>
                    <a:gd name="T53" fmla="*/ 2147483647 h 372"/>
                    <a:gd name="T54" fmla="*/ 2147483647 w 152"/>
                    <a:gd name="T55" fmla="*/ 2147483647 h 372"/>
                    <a:gd name="T56" fmla="*/ 2147483647 w 152"/>
                    <a:gd name="T57" fmla="*/ 2147483647 h 372"/>
                    <a:gd name="T58" fmla="*/ 2147483647 w 152"/>
                    <a:gd name="T59" fmla="*/ 2147483647 h 372"/>
                    <a:gd name="T60" fmla="*/ 2147483647 w 152"/>
                    <a:gd name="T61" fmla="*/ 2147483647 h 372"/>
                    <a:gd name="T62" fmla="*/ 2147483647 w 152"/>
                    <a:gd name="T63" fmla="*/ 2147483647 h 372"/>
                    <a:gd name="T64" fmla="*/ 2147483647 w 152"/>
                    <a:gd name="T65" fmla="*/ 2147483647 h 372"/>
                    <a:gd name="T66" fmla="*/ 2147483647 w 152"/>
                    <a:gd name="T67" fmla="*/ 2147483647 h 372"/>
                    <a:gd name="T68" fmla="*/ 2147483647 w 152"/>
                    <a:gd name="T69" fmla="*/ 2147483647 h 372"/>
                    <a:gd name="T70" fmla="*/ 2147483647 w 152"/>
                    <a:gd name="T71" fmla="*/ 2147483647 h 372"/>
                    <a:gd name="T72" fmla="*/ 2147483647 w 152"/>
                    <a:gd name="T73" fmla="*/ 2147483647 h 372"/>
                    <a:gd name="T74" fmla="*/ 2147483647 w 152"/>
                    <a:gd name="T75" fmla="*/ 2147483647 h 372"/>
                    <a:gd name="T76" fmla="*/ 2147483647 w 152"/>
                    <a:gd name="T77" fmla="*/ 2147483647 h 372"/>
                    <a:gd name="T78" fmla="*/ 2147483647 w 152"/>
                    <a:gd name="T79" fmla="*/ 2147483647 h 372"/>
                    <a:gd name="T80" fmla="*/ 2147483647 w 152"/>
                    <a:gd name="T81" fmla="*/ 2147483647 h 372"/>
                    <a:gd name="T82" fmla="*/ 2147483647 w 152"/>
                    <a:gd name="T83" fmla="*/ 2147483647 h 372"/>
                    <a:gd name="T84" fmla="*/ 2147483647 w 152"/>
                    <a:gd name="T85" fmla="*/ 2147483647 h 372"/>
                    <a:gd name="T86" fmla="*/ 2147483647 w 152"/>
                    <a:gd name="T87" fmla="*/ 2147483647 h 372"/>
                    <a:gd name="T88" fmla="*/ 2147483647 w 152"/>
                    <a:gd name="T89" fmla="*/ 2147483647 h 372"/>
                    <a:gd name="T90" fmla="*/ 2147483647 w 152"/>
                    <a:gd name="T91" fmla="*/ 2147483647 h 372"/>
                    <a:gd name="T92" fmla="*/ 2147483647 w 152"/>
                    <a:gd name="T93" fmla="*/ 2147483647 h 372"/>
                    <a:gd name="T94" fmla="*/ 2147483647 w 152"/>
                    <a:gd name="T95" fmla="*/ 2147483647 h 372"/>
                    <a:gd name="T96" fmla="*/ 2147483647 w 152"/>
                    <a:gd name="T97" fmla="*/ 2147483647 h 372"/>
                    <a:gd name="T98" fmla="*/ 2147483647 w 152"/>
                    <a:gd name="T99" fmla="*/ 2147483647 h 372"/>
                    <a:gd name="T100" fmla="*/ 2147483647 w 152"/>
                    <a:gd name="T101" fmla="*/ 2147483647 h 372"/>
                    <a:gd name="T102" fmla="*/ 2147483647 w 152"/>
                    <a:gd name="T103" fmla="*/ 2147483647 h 372"/>
                    <a:gd name="T104" fmla="*/ 2147483647 w 152"/>
                    <a:gd name="T105" fmla="*/ 2147483647 h 3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2"/>
                    <a:gd name="T160" fmla="*/ 0 h 372"/>
                    <a:gd name="T161" fmla="*/ 152 w 152"/>
                    <a:gd name="T162" fmla="*/ 372 h 3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2" h="372">
                      <a:moveTo>
                        <a:pt x="151" y="147"/>
                      </a:moveTo>
                      <a:lnTo>
                        <a:pt x="152" y="145"/>
                      </a:lnTo>
                      <a:lnTo>
                        <a:pt x="151" y="142"/>
                      </a:lnTo>
                      <a:lnTo>
                        <a:pt x="151" y="141"/>
                      </a:lnTo>
                      <a:lnTo>
                        <a:pt x="147" y="140"/>
                      </a:lnTo>
                      <a:lnTo>
                        <a:pt x="141" y="140"/>
                      </a:lnTo>
                      <a:lnTo>
                        <a:pt x="140" y="139"/>
                      </a:lnTo>
                      <a:lnTo>
                        <a:pt x="138" y="138"/>
                      </a:lnTo>
                      <a:lnTo>
                        <a:pt x="138" y="134"/>
                      </a:lnTo>
                      <a:lnTo>
                        <a:pt x="138" y="131"/>
                      </a:lnTo>
                      <a:lnTo>
                        <a:pt x="137" y="129"/>
                      </a:lnTo>
                      <a:lnTo>
                        <a:pt x="136" y="129"/>
                      </a:lnTo>
                      <a:lnTo>
                        <a:pt x="131" y="131"/>
                      </a:lnTo>
                      <a:lnTo>
                        <a:pt x="128" y="131"/>
                      </a:lnTo>
                      <a:lnTo>
                        <a:pt x="126" y="131"/>
                      </a:lnTo>
                      <a:lnTo>
                        <a:pt x="124" y="129"/>
                      </a:lnTo>
                      <a:lnTo>
                        <a:pt x="124" y="127"/>
                      </a:lnTo>
                      <a:lnTo>
                        <a:pt x="127" y="122"/>
                      </a:lnTo>
                      <a:lnTo>
                        <a:pt x="131" y="119"/>
                      </a:lnTo>
                      <a:lnTo>
                        <a:pt x="134" y="114"/>
                      </a:lnTo>
                      <a:lnTo>
                        <a:pt x="136" y="109"/>
                      </a:lnTo>
                      <a:lnTo>
                        <a:pt x="136" y="107"/>
                      </a:lnTo>
                      <a:lnTo>
                        <a:pt x="133" y="107"/>
                      </a:lnTo>
                      <a:lnTo>
                        <a:pt x="128" y="107"/>
                      </a:lnTo>
                      <a:lnTo>
                        <a:pt x="126" y="106"/>
                      </a:lnTo>
                      <a:lnTo>
                        <a:pt x="124" y="103"/>
                      </a:lnTo>
                      <a:lnTo>
                        <a:pt x="124" y="99"/>
                      </a:lnTo>
                      <a:lnTo>
                        <a:pt x="124" y="93"/>
                      </a:lnTo>
                      <a:lnTo>
                        <a:pt x="124" y="90"/>
                      </a:lnTo>
                      <a:lnTo>
                        <a:pt x="123" y="89"/>
                      </a:lnTo>
                      <a:lnTo>
                        <a:pt x="120" y="89"/>
                      </a:lnTo>
                      <a:lnTo>
                        <a:pt x="117" y="89"/>
                      </a:lnTo>
                      <a:lnTo>
                        <a:pt x="110" y="90"/>
                      </a:lnTo>
                      <a:lnTo>
                        <a:pt x="104" y="91"/>
                      </a:lnTo>
                      <a:lnTo>
                        <a:pt x="101" y="90"/>
                      </a:lnTo>
                      <a:lnTo>
                        <a:pt x="100" y="89"/>
                      </a:lnTo>
                      <a:lnTo>
                        <a:pt x="98" y="84"/>
                      </a:lnTo>
                      <a:lnTo>
                        <a:pt x="98" y="81"/>
                      </a:lnTo>
                      <a:lnTo>
                        <a:pt x="98" y="77"/>
                      </a:lnTo>
                      <a:lnTo>
                        <a:pt x="99" y="72"/>
                      </a:lnTo>
                      <a:lnTo>
                        <a:pt x="103" y="64"/>
                      </a:lnTo>
                      <a:lnTo>
                        <a:pt x="107" y="56"/>
                      </a:lnTo>
                      <a:lnTo>
                        <a:pt x="109" y="51"/>
                      </a:lnTo>
                      <a:lnTo>
                        <a:pt x="110" y="46"/>
                      </a:lnTo>
                      <a:lnTo>
                        <a:pt x="112" y="36"/>
                      </a:lnTo>
                      <a:lnTo>
                        <a:pt x="110" y="13"/>
                      </a:lnTo>
                      <a:lnTo>
                        <a:pt x="109" y="8"/>
                      </a:lnTo>
                      <a:lnTo>
                        <a:pt x="107" y="4"/>
                      </a:lnTo>
                      <a:lnTo>
                        <a:pt x="101" y="1"/>
                      </a:lnTo>
                      <a:lnTo>
                        <a:pt x="99" y="0"/>
                      </a:lnTo>
                      <a:lnTo>
                        <a:pt x="98" y="1"/>
                      </a:lnTo>
                      <a:lnTo>
                        <a:pt x="93" y="3"/>
                      </a:lnTo>
                      <a:lnTo>
                        <a:pt x="93" y="5"/>
                      </a:lnTo>
                      <a:lnTo>
                        <a:pt x="91" y="6"/>
                      </a:lnTo>
                      <a:lnTo>
                        <a:pt x="90" y="8"/>
                      </a:lnTo>
                      <a:lnTo>
                        <a:pt x="89" y="10"/>
                      </a:lnTo>
                      <a:lnTo>
                        <a:pt x="87" y="16"/>
                      </a:lnTo>
                      <a:lnTo>
                        <a:pt x="84" y="20"/>
                      </a:lnTo>
                      <a:lnTo>
                        <a:pt x="80" y="24"/>
                      </a:lnTo>
                      <a:lnTo>
                        <a:pt x="73" y="26"/>
                      </a:lnTo>
                      <a:lnTo>
                        <a:pt x="71" y="27"/>
                      </a:lnTo>
                      <a:lnTo>
                        <a:pt x="70" y="31"/>
                      </a:lnTo>
                      <a:lnTo>
                        <a:pt x="68" y="37"/>
                      </a:lnTo>
                      <a:lnTo>
                        <a:pt x="66" y="43"/>
                      </a:lnTo>
                      <a:lnTo>
                        <a:pt x="63" y="49"/>
                      </a:lnTo>
                      <a:lnTo>
                        <a:pt x="61" y="55"/>
                      </a:lnTo>
                      <a:lnTo>
                        <a:pt x="52" y="65"/>
                      </a:lnTo>
                      <a:lnTo>
                        <a:pt x="43" y="74"/>
                      </a:lnTo>
                      <a:lnTo>
                        <a:pt x="40" y="77"/>
                      </a:lnTo>
                      <a:lnTo>
                        <a:pt x="39" y="80"/>
                      </a:lnTo>
                      <a:lnTo>
                        <a:pt x="39" y="88"/>
                      </a:lnTo>
                      <a:lnTo>
                        <a:pt x="38" y="94"/>
                      </a:lnTo>
                      <a:lnTo>
                        <a:pt x="37" y="96"/>
                      </a:lnTo>
                      <a:lnTo>
                        <a:pt x="34" y="97"/>
                      </a:lnTo>
                      <a:lnTo>
                        <a:pt x="30" y="100"/>
                      </a:lnTo>
                      <a:lnTo>
                        <a:pt x="25" y="101"/>
                      </a:lnTo>
                      <a:lnTo>
                        <a:pt x="23" y="101"/>
                      </a:lnTo>
                      <a:lnTo>
                        <a:pt x="21" y="102"/>
                      </a:lnTo>
                      <a:lnTo>
                        <a:pt x="18" y="107"/>
                      </a:lnTo>
                      <a:lnTo>
                        <a:pt x="16" y="113"/>
                      </a:lnTo>
                      <a:lnTo>
                        <a:pt x="15" y="118"/>
                      </a:lnTo>
                      <a:lnTo>
                        <a:pt x="15" y="123"/>
                      </a:lnTo>
                      <a:lnTo>
                        <a:pt x="14" y="129"/>
                      </a:lnTo>
                      <a:lnTo>
                        <a:pt x="13" y="132"/>
                      </a:lnTo>
                      <a:lnTo>
                        <a:pt x="10" y="133"/>
                      </a:lnTo>
                      <a:lnTo>
                        <a:pt x="7" y="135"/>
                      </a:lnTo>
                      <a:lnTo>
                        <a:pt x="4" y="135"/>
                      </a:lnTo>
                      <a:lnTo>
                        <a:pt x="5" y="139"/>
                      </a:lnTo>
                      <a:lnTo>
                        <a:pt x="4" y="141"/>
                      </a:lnTo>
                      <a:lnTo>
                        <a:pt x="2" y="144"/>
                      </a:lnTo>
                      <a:lnTo>
                        <a:pt x="2" y="146"/>
                      </a:lnTo>
                      <a:lnTo>
                        <a:pt x="1" y="151"/>
                      </a:lnTo>
                      <a:lnTo>
                        <a:pt x="0" y="152"/>
                      </a:lnTo>
                      <a:lnTo>
                        <a:pt x="0" y="154"/>
                      </a:lnTo>
                      <a:lnTo>
                        <a:pt x="4" y="159"/>
                      </a:lnTo>
                      <a:lnTo>
                        <a:pt x="9" y="167"/>
                      </a:lnTo>
                      <a:lnTo>
                        <a:pt x="14" y="174"/>
                      </a:lnTo>
                      <a:lnTo>
                        <a:pt x="16" y="178"/>
                      </a:lnTo>
                      <a:lnTo>
                        <a:pt x="20" y="180"/>
                      </a:lnTo>
                      <a:lnTo>
                        <a:pt x="24" y="183"/>
                      </a:lnTo>
                      <a:lnTo>
                        <a:pt x="29" y="184"/>
                      </a:lnTo>
                      <a:lnTo>
                        <a:pt x="29" y="186"/>
                      </a:lnTo>
                      <a:lnTo>
                        <a:pt x="29" y="189"/>
                      </a:lnTo>
                      <a:lnTo>
                        <a:pt x="30" y="191"/>
                      </a:lnTo>
                      <a:lnTo>
                        <a:pt x="33" y="192"/>
                      </a:lnTo>
                      <a:lnTo>
                        <a:pt x="35" y="193"/>
                      </a:lnTo>
                      <a:lnTo>
                        <a:pt x="37" y="195"/>
                      </a:lnTo>
                      <a:lnTo>
                        <a:pt x="38" y="196"/>
                      </a:lnTo>
                      <a:lnTo>
                        <a:pt x="39" y="200"/>
                      </a:lnTo>
                      <a:lnTo>
                        <a:pt x="39" y="205"/>
                      </a:lnTo>
                      <a:lnTo>
                        <a:pt x="39" y="214"/>
                      </a:lnTo>
                      <a:lnTo>
                        <a:pt x="39" y="216"/>
                      </a:lnTo>
                      <a:lnTo>
                        <a:pt x="38" y="218"/>
                      </a:lnTo>
                      <a:lnTo>
                        <a:pt x="37" y="221"/>
                      </a:lnTo>
                      <a:lnTo>
                        <a:pt x="38" y="223"/>
                      </a:lnTo>
                      <a:lnTo>
                        <a:pt x="40" y="231"/>
                      </a:lnTo>
                      <a:lnTo>
                        <a:pt x="42" y="240"/>
                      </a:lnTo>
                      <a:lnTo>
                        <a:pt x="42" y="248"/>
                      </a:lnTo>
                      <a:lnTo>
                        <a:pt x="39" y="256"/>
                      </a:lnTo>
                      <a:lnTo>
                        <a:pt x="39" y="259"/>
                      </a:lnTo>
                      <a:lnTo>
                        <a:pt x="39" y="261"/>
                      </a:lnTo>
                      <a:lnTo>
                        <a:pt x="40" y="262"/>
                      </a:lnTo>
                      <a:lnTo>
                        <a:pt x="42" y="263"/>
                      </a:lnTo>
                      <a:lnTo>
                        <a:pt x="48" y="263"/>
                      </a:lnTo>
                      <a:lnTo>
                        <a:pt x="54" y="263"/>
                      </a:lnTo>
                      <a:lnTo>
                        <a:pt x="60" y="261"/>
                      </a:lnTo>
                      <a:lnTo>
                        <a:pt x="65" y="259"/>
                      </a:lnTo>
                      <a:lnTo>
                        <a:pt x="70" y="255"/>
                      </a:lnTo>
                      <a:lnTo>
                        <a:pt x="73" y="250"/>
                      </a:lnTo>
                      <a:lnTo>
                        <a:pt x="77" y="246"/>
                      </a:lnTo>
                      <a:lnTo>
                        <a:pt x="80" y="240"/>
                      </a:lnTo>
                      <a:lnTo>
                        <a:pt x="81" y="238"/>
                      </a:lnTo>
                      <a:lnTo>
                        <a:pt x="82" y="240"/>
                      </a:lnTo>
                      <a:lnTo>
                        <a:pt x="84" y="242"/>
                      </a:lnTo>
                      <a:lnTo>
                        <a:pt x="85" y="247"/>
                      </a:lnTo>
                      <a:lnTo>
                        <a:pt x="87" y="250"/>
                      </a:lnTo>
                      <a:lnTo>
                        <a:pt x="90" y="253"/>
                      </a:lnTo>
                      <a:lnTo>
                        <a:pt x="95" y="255"/>
                      </a:lnTo>
                      <a:lnTo>
                        <a:pt x="95" y="256"/>
                      </a:lnTo>
                      <a:lnTo>
                        <a:pt x="96" y="259"/>
                      </a:lnTo>
                      <a:lnTo>
                        <a:pt x="96" y="263"/>
                      </a:lnTo>
                      <a:lnTo>
                        <a:pt x="95" y="268"/>
                      </a:lnTo>
                      <a:lnTo>
                        <a:pt x="95" y="272"/>
                      </a:lnTo>
                      <a:lnTo>
                        <a:pt x="96" y="276"/>
                      </a:lnTo>
                      <a:lnTo>
                        <a:pt x="99" y="280"/>
                      </a:lnTo>
                      <a:lnTo>
                        <a:pt x="99" y="285"/>
                      </a:lnTo>
                      <a:lnTo>
                        <a:pt x="101" y="292"/>
                      </a:lnTo>
                      <a:lnTo>
                        <a:pt x="105" y="305"/>
                      </a:lnTo>
                      <a:lnTo>
                        <a:pt x="108" y="318"/>
                      </a:lnTo>
                      <a:lnTo>
                        <a:pt x="112" y="345"/>
                      </a:lnTo>
                      <a:lnTo>
                        <a:pt x="114" y="348"/>
                      </a:lnTo>
                      <a:lnTo>
                        <a:pt x="114" y="351"/>
                      </a:lnTo>
                      <a:lnTo>
                        <a:pt x="114" y="353"/>
                      </a:lnTo>
                      <a:lnTo>
                        <a:pt x="114" y="361"/>
                      </a:lnTo>
                      <a:lnTo>
                        <a:pt x="113" y="366"/>
                      </a:lnTo>
                      <a:lnTo>
                        <a:pt x="113" y="369"/>
                      </a:lnTo>
                      <a:lnTo>
                        <a:pt x="114" y="372"/>
                      </a:lnTo>
                      <a:lnTo>
                        <a:pt x="119" y="369"/>
                      </a:lnTo>
                      <a:lnTo>
                        <a:pt x="122" y="365"/>
                      </a:lnTo>
                      <a:lnTo>
                        <a:pt x="126" y="362"/>
                      </a:lnTo>
                      <a:lnTo>
                        <a:pt x="127" y="357"/>
                      </a:lnTo>
                      <a:lnTo>
                        <a:pt x="128" y="348"/>
                      </a:lnTo>
                      <a:lnTo>
                        <a:pt x="128" y="338"/>
                      </a:lnTo>
                      <a:lnTo>
                        <a:pt x="127" y="329"/>
                      </a:lnTo>
                      <a:lnTo>
                        <a:pt x="126" y="319"/>
                      </a:lnTo>
                      <a:lnTo>
                        <a:pt x="119" y="301"/>
                      </a:lnTo>
                      <a:lnTo>
                        <a:pt x="113" y="283"/>
                      </a:lnTo>
                      <a:lnTo>
                        <a:pt x="112" y="280"/>
                      </a:lnTo>
                      <a:lnTo>
                        <a:pt x="112" y="278"/>
                      </a:lnTo>
                      <a:lnTo>
                        <a:pt x="113" y="272"/>
                      </a:lnTo>
                      <a:lnTo>
                        <a:pt x="115" y="266"/>
                      </a:lnTo>
                      <a:lnTo>
                        <a:pt x="115" y="260"/>
                      </a:lnTo>
                      <a:lnTo>
                        <a:pt x="115" y="257"/>
                      </a:lnTo>
                      <a:lnTo>
                        <a:pt x="114" y="255"/>
                      </a:lnTo>
                      <a:lnTo>
                        <a:pt x="112" y="250"/>
                      </a:lnTo>
                      <a:lnTo>
                        <a:pt x="108" y="247"/>
                      </a:lnTo>
                      <a:lnTo>
                        <a:pt x="105" y="241"/>
                      </a:lnTo>
                      <a:lnTo>
                        <a:pt x="101" y="231"/>
                      </a:lnTo>
                      <a:lnTo>
                        <a:pt x="101" y="225"/>
                      </a:lnTo>
                      <a:lnTo>
                        <a:pt x="101" y="219"/>
                      </a:lnTo>
                      <a:lnTo>
                        <a:pt x="101" y="217"/>
                      </a:lnTo>
                      <a:lnTo>
                        <a:pt x="100" y="214"/>
                      </a:lnTo>
                      <a:lnTo>
                        <a:pt x="99" y="214"/>
                      </a:lnTo>
                      <a:lnTo>
                        <a:pt x="96" y="215"/>
                      </a:lnTo>
                      <a:lnTo>
                        <a:pt x="95" y="215"/>
                      </a:lnTo>
                      <a:lnTo>
                        <a:pt x="94" y="215"/>
                      </a:lnTo>
                      <a:lnTo>
                        <a:pt x="91" y="212"/>
                      </a:lnTo>
                      <a:lnTo>
                        <a:pt x="91" y="209"/>
                      </a:lnTo>
                      <a:lnTo>
                        <a:pt x="91" y="204"/>
                      </a:lnTo>
                      <a:lnTo>
                        <a:pt x="93" y="200"/>
                      </a:lnTo>
                      <a:lnTo>
                        <a:pt x="94" y="198"/>
                      </a:lnTo>
                      <a:lnTo>
                        <a:pt x="98" y="197"/>
                      </a:lnTo>
                      <a:lnTo>
                        <a:pt x="100" y="196"/>
                      </a:lnTo>
                      <a:lnTo>
                        <a:pt x="101" y="195"/>
                      </a:lnTo>
                      <a:lnTo>
                        <a:pt x="103" y="189"/>
                      </a:lnTo>
                      <a:lnTo>
                        <a:pt x="104" y="185"/>
                      </a:lnTo>
                      <a:lnTo>
                        <a:pt x="107" y="183"/>
                      </a:lnTo>
                      <a:lnTo>
                        <a:pt x="109" y="182"/>
                      </a:lnTo>
                      <a:lnTo>
                        <a:pt x="114" y="180"/>
                      </a:lnTo>
                      <a:lnTo>
                        <a:pt x="117" y="179"/>
                      </a:lnTo>
                      <a:lnTo>
                        <a:pt x="119" y="178"/>
                      </a:lnTo>
                      <a:lnTo>
                        <a:pt x="120" y="176"/>
                      </a:lnTo>
                      <a:lnTo>
                        <a:pt x="122" y="172"/>
                      </a:lnTo>
                      <a:lnTo>
                        <a:pt x="123" y="168"/>
                      </a:lnTo>
                      <a:lnTo>
                        <a:pt x="126" y="167"/>
                      </a:lnTo>
                      <a:lnTo>
                        <a:pt x="129" y="167"/>
                      </a:lnTo>
                      <a:lnTo>
                        <a:pt x="134" y="168"/>
                      </a:lnTo>
                      <a:lnTo>
                        <a:pt x="138" y="168"/>
                      </a:lnTo>
                      <a:lnTo>
                        <a:pt x="140" y="168"/>
                      </a:lnTo>
                      <a:lnTo>
                        <a:pt x="141" y="167"/>
                      </a:lnTo>
                      <a:lnTo>
                        <a:pt x="147" y="158"/>
                      </a:lnTo>
                      <a:lnTo>
                        <a:pt x="151" y="14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6" name="Freeform 620"/>
                <p:cNvSpPr>
                  <a:spLocks/>
                </p:cNvSpPr>
                <p:nvPr/>
              </p:nvSpPr>
              <p:spPr bwMode="auto">
                <a:xfrm>
                  <a:off x="6904604" y="4017537"/>
                  <a:ext cx="180544" cy="421763"/>
                </a:xfrm>
                <a:custGeom>
                  <a:avLst/>
                  <a:gdLst>
                    <a:gd name="T0" fmla="*/ 2147483647 w 132"/>
                    <a:gd name="T1" fmla="*/ 2147483647 h 285"/>
                    <a:gd name="T2" fmla="*/ 2147483647 w 132"/>
                    <a:gd name="T3" fmla="*/ 2147483647 h 285"/>
                    <a:gd name="T4" fmla="*/ 2147483647 w 132"/>
                    <a:gd name="T5" fmla="*/ 2147483647 h 285"/>
                    <a:gd name="T6" fmla="*/ 2147483647 w 132"/>
                    <a:gd name="T7" fmla="*/ 2147483647 h 285"/>
                    <a:gd name="T8" fmla="*/ 2147483647 w 132"/>
                    <a:gd name="T9" fmla="*/ 2147483647 h 285"/>
                    <a:gd name="T10" fmla="*/ 2147483647 w 132"/>
                    <a:gd name="T11" fmla="*/ 2147483647 h 285"/>
                    <a:gd name="T12" fmla="*/ 2147483647 w 132"/>
                    <a:gd name="T13" fmla="*/ 2147483647 h 285"/>
                    <a:gd name="T14" fmla="*/ 2147483647 w 132"/>
                    <a:gd name="T15" fmla="*/ 2147483647 h 285"/>
                    <a:gd name="T16" fmla="*/ 2147483647 w 132"/>
                    <a:gd name="T17" fmla="*/ 2147483647 h 285"/>
                    <a:gd name="T18" fmla="*/ 2147483647 w 132"/>
                    <a:gd name="T19" fmla="*/ 2147483647 h 285"/>
                    <a:gd name="T20" fmla="*/ 2147483647 w 132"/>
                    <a:gd name="T21" fmla="*/ 2147483647 h 285"/>
                    <a:gd name="T22" fmla="*/ 2147483647 w 132"/>
                    <a:gd name="T23" fmla="*/ 2147483647 h 285"/>
                    <a:gd name="T24" fmla="*/ 2147483647 w 132"/>
                    <a:gd name="T25" fmla="*/ 2147483647 h 285"/>
                    <a:gd name="T26" fmla="*/ 2147483647 w 132"/>
                    <a:gd name="T27" fmla="*/ 2147483647 h 285"/>
                    <a:gd name="T28" fmla="*/ 2147483647 w 132"/>
                    <a:gd name="T29" fmla="*/ 2147483647 h 285"/>
                    <a:gd name="T30" fmla="*/ 2147483647 w 132"/>
                    <a:gd name="T31" fmla="*/ 2147483647 h 285"/>
                    <a:gd name="T32" fmla="*/ 2147483647 w 132"/>
                    <a:gd name="T33" fmla="*/ 2147483647 h 285"/>
                    <a:gd name="T34" fmla="*/ 2147483647 w 132"/>
                    <a:gd name="T35" fmla="*/ 2147483647 h 285"/>
                    <a:gd name="T36" fmla="*/ 0 w 132"/>
                    <a:gd name="T37" fmla="*/ 2147483647 h 285"/>
                    <a:gd name="T38" fmla="*/ 2147483647 w 132"/>
                    <a:gd name="T39" fmla="*/ 2147483647 h 285"/>
                    <a:gd name="T40" fmla="*/ 2147483647 w 132"/>
                    <a:gd name="T41" fmla="*/ 2147483647 h 285"/>
                    <a:gd name="T42" fmla="*/ 2147483647 w 132"/>
                    <a:gd name="T43" fmla="*/ 2147483647 h 285"/>
                    <a:gd name="T44" fmla="*/ 2147483647 w 132"/>
                    <a:gd name="T45" fmla="*/ 2147483647 h 285"/>
                    <a:gd name="T46" fmla="*/ 2147483647 w 132"/>
                    <a:gd name="T47" fmla="*/ 2147483647 h 285"/>
                    <a:gd name="T48" fmla="*/ 2147483647 w 132"/>
                    <a:gd name="T49" fmla="*/ 2147483647 h 285"/>
                    <a:gd name="T50" fmla="*/ 2147483647 w 132"/>
                    <a:gd name="T51" fmla="*/ 2147483647 h 285"/>
                    <a:gd name="T52" fmla="*/ 2147483647 w 132"/>
                    <a:gd name="T53" fmla="*/ 2147483647 h 285"/>
                    <a:gd name="T54" fmla="*/ 2147483647 w 132"/>
                    <a:gd name="T55" fmla="*/ 2147483647 h 285"/>
                    <a:gd name="T56" fmla="*/ 2147483647 w 132"/>
                    <a:gd name="T57" fmla="*/ 2147483647 h 285"/>
                    <a:gd name="T58" fmla="*/ 2147483647 w 132"/>
                    <a:gd name="T59" fmla="*/ 2147483647 h 285"/>
                    <a:gd name="T60" fmla="*/ 2147483647 w 132"/>
                    <a:gd name="T61" fmla="*/ 2147483647 h 285"/>
                    <a:gd name="T62" fmla="*/ 2147483647 w 132"/>
                    <a:gd name="T63" fmla="*/ 2147483647 h 285"/>
                    <a:gd name="T64" fmla="*/ 2147483647 w 132"/>
                    <a:gd name="T65" fmla="*/ 2147483647 h 285"/>
                    <a:gd name="T66" fmla="*/ 2147483647 w 132"/>
                    <a:gd name="T67" fmla="*/ 2147483647 h 285"/>
                    <a:gd name="T68" fmla="*/ 2147483647 w 132"/>
                    <a:gd name="T69" fmla="*/ 2147483647 h 285"/>
                    <a:gd name="T70" fmla="*/ 2147483647 w 132"/>
                    <a:gd name="T71" fmla="*/ 2147483647 h 285"/>
                    <a:gd name="T72" fmla="*/ 2147483647 w 132"/>
                    <a:gd name="T73" fmla="*/ 2147483647 h 285"/>
                    <a:gd name="T74" fmla="*/ 2147483647 w 132"/>
                    <a:gd name="T75" fmla="*/ 2147483647 h 285"/>
                    <a:gd name="T76" fmla="*/ 2147483647 w 132"/>
                    <a:gd name="T77" fmla="*/ 2147483647 h 285"/>
                    <a:gd name="T78" fmla="*/ 2147483647 w 132"/>
                    <a:gd name="T79" fmla="*/ 2147483647 h 285"/>
                    <a:gd name="T80" fmla="*/ 2147483647 w 132"/>
                    <a:gd name="T81" fmla="*/ 2147483647 h 285"/>
                    <a:gd name="T82" fmla="*/ 2147483647 w 132"/>
                    <a:gd name="T83" fmla="*/ 2147483647 h 285"/>
                    <a:gd name="T84" fmla="*/ 2147483647 w 132"/>
                    <a:gd name="T85" fmla="*/ 2147483647 h 285"/>
                    <a:gd name="T86" fmla="*/ 2147483647 w 132"/>
                    <a:gd name="T87" fmla="*/ 2147483647 h 285"/>
                    <a:gd name="T88" fmla="*/ 2147483647 w 132"/>
                    <a:gd name="T89" fmla="*/ 2147483647 h 285"/>
                    <a:gd name="T90" fmla="*/ 2147483647 w 132"/>
                    <a:gd name="T91" fmla="*/ 2147483647 h 285"/>
                    <a:gd name="T92" fmla="*/ 2147483647 w 132"/>
                    <a:gd name="T93" fmla="*/ 2147483647 h 285"/>
                    <a:gd name="T94" fmla="*/ 2147483647 w 132"/>
                    <a:gd name="T95" fmla="*/ 2147483647 h 285"/>
                    <a:gd name="T96" fmla="*/ 2147483647 w 132"/>
                    <a:gd name="T97" fmla="*/ 2147483647 h 285"/>
                    <a:gd name="T98" fmla="*/ 2147483647 w 132"/>
                    <a:gd name="T99" fmla="*/ 2147483647 h 285"/>
                    <a:gd name="T100" fmla="*/ 2147483647 w 132"/>
                    <a:gd name="T101" fmla="*/ 2147483647 h 285"/>
                    <a:gd name="T102" fmla="*/ 2147483647 w 132"/>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2"/>
                    <a:gd name="T157" fmla="*/ 0 h 285"/>
                    <a:gd name="T158" fmla="*/ 132 w 132"/>
                    <a:gd name="T159" fmla="*/ 285 h 28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2" h="285">
                      <a:moveTo>
                        <a:pt x="132" y="112"/>
                      </a:moveTo>
                      <a:lnTo>
                        <a:pt x="132" y="112"/>
                      </a:lnTo>
                      <a:lnTo>
                        <a:pt x="132" y="102"/>
                      </a:lnTo>
                      <a:lnTo>
                        <a:pt x="131" y="97"/>
                      </a:lnTo>
                      <a:lnTo>
                        <a:pt x="130" y="93"/>
                      </a:lnTo>
                      <a:lnTo>
                        <a:pt x="127" y="87"/>
                      </a:lnTo>
                      <a:lnTo>
                        <a:pt x="124" y="80"/>
                      </a:lnTo>
                      <a:lnTo>
                        <a:pt x="121" y="67"/>
                      </a:lnTo>
                      <a:lnTo>
                        <a:pt x="119" y="64"/>
                      </a:lnTo>
                      <a:lnTo>
                        <a:pt x="117" y="62"/>
                      </a:lnTo>
                      <a:lnTo>
                        <a:pt x="114" y="61"/>
                      </a:lnTo>
                      <a:lnTo>
                        <a:pt x="112" y="58"/>
                      </a:lnTo>
                      <a:lnTo>
                        <a:pt x="112" y="56"/>
                      </a:lnTo>
                      <a:lnTo>
                        <a:pt x="113" y="53"/>
                      </a:lnTo>
                      <a:lnTo>
                        <a:pt x="113" y="50"/>
                      </a:lnTo>
                      <a:lnTo>
                        <a:pt x="110" y="48"/>
                      </a:lnTo>
                      <a:lnTo>
                        <a:pt x="109" y="48"/>
                      </a:lnTo>
                      <a:lnTo>
                        <a:pt x="105" y="48"/>
                      </a:lnTo>
                      <a:lnTo>
                        <a:pt x="103" y="45"/>
                      </a:lnTo>
                      <a:lnTo>
                        <a:pt x="102" y="45"/>
                      </a:lnTo>
                      <a:lnTo>
                        <a:pt x="100" y="46"/>
                      </a:lnTo>
                      <a:lnTo>
                        <a:pt x="98" y="48"/>
                      </a:lnTo>
                      <a:lnTo>
                        <a:pt x="94" y="49"/>
                      </a:lnTo>
                      <a:lnTo>
                        <a:pt x="90" y="50"/>
                      </a:lnTo>
                      <a:lnTo>
                        <a:pt x="86" y="50"/>
                      </a:lnTo>
                      <a:lnTo>
                        <a:pt x="84" y="49"/>
                      </a:lnTo>
                      <a:lnTo>
                        <a:pt x="81" y="48"/>
                      </a:lnTo>
                      <a:lnTo>
                        <a:pt x="77" y="46"/>
                      </a:lnTo>
                      <a:lnTo>
                        <a:pt x="75" y="46"/>
                      </a:lnTo>
                      <a:lnTo>
                        <a:pt x="74" y="49"/>
                      </a:lnTo>
                      <a:lnTo>
                        <a:pt x="72" y="51"/>
                      </a:lnTo>
                      <a:lnTo>
                        <a:pt x="71" y="53"/>
                      </a:lnTo>
                      <a:lnTo>
                        <a:pt x="69" y="53"/>
                      </a:lnTo>
                      <a:lnTo>
                        <a:pt x="66" y="53"/>
                      </a:lnTo>
                      <a:lnTo>
                        <a:pt x="63" y="52"/>
                      </a:lnTo>
                      <a:lnTo>
                        <a:pt x="62" y="50"/>
                      </a:lnTo>
                      <a:lnTo>
                        <a:pt x="62" y="48"/>
                      </a:lnTo>
                      <a:lnTo>
                        <a:pt x="58" y="44"/>
                      </a:lnTo>
                      <a:lnTo>
                        <a:pt x="57" y="40"/>
                      </a:lnTo>
                      <a:lnTo>
                        <a:pt x="57" y="34"/>
                      </a:lnTo>
                      <a:lnTo>
                        <a:pt x="57" y="30"/>
                      </a:lnTo>
                      <a:lnTo>
                        <a:pt x="58" y="24"/>
                      </a:lnTo>
                      <a:lnTo>
                        <a:pt x="57" y="21"/>
                      </a:lnTo>
                      <a:lnTo>
                        <a:pt x="56" y="18"/>
                      </a:lnTo>
                      <a:lnTo>
                        <a:pt x="55" y="14"/>
                      </a:lnTo>
                      <a:lnTo>
                        <a:pt x="55" y="11"/>
                      </a:lnTo>
                      <a:lnTo>
                        <a:pt x="55" y="6"/>
                      </a:lnTo>
                      <a:lnTo>
                        <a:pt x="55" y="2"/>
                      </a:lnTo>
                      <a:lnTo>
                        <a:pt x="53" y="1"/>
                      </a:lnTo>
                      <a:lnTo>
                        <a:pt x="50" y="0"/>
                      </a:lnTo>
                      <a:lnTo>
                        <a:pt x="48" y="1"/>
                      </a:lnTo>
                      <a:lnTo>
                        <a:pt x="47" y="1"/>
                      </a:lnTo>
                      <a:lnTo>
                        <a:pt x="43" y="1"/>
                      </a:lnTo>
                      <a:lnTo>
                        <a:pt x="38" y="0"/>
                      </a:lnTo>
                      <a:lnTo>
                        <a:pt x="34" y="0"/>
                      </a:lnTo>
                      <a:lnTo>
                        <a:pt x="32" y="1"/>
                      </a:lnTo>
                      <a:lnTo>
                        <a:pt x="30" y="5"/>
                      </a:lnTo>
                      <a:lnTo>
                        <a:pt x="29" y="8"/>
                      </a:lnTo>
                      <a:lnTo>
                        <a:pt x="28" y="11"/>
                      </a:lnTo>
                      <a:lnTo>
                        <a:pt x="25" y="12"/>
                      </a:lnTo>
                      <a:lnTo>
                        <a:pt x="23" y="13"/>
                      </a:lnTo>
                      <a:lnTo>
                        <a:pt x="18" y="14"/>
                      </a:lnTo>
                      <a:lnTo>
                        <a:pt x="15" y="16"/>
                      </a:lnTo>
                      <a:lnTo>
                        <a:pt x="13" y="18"/>
                      </a:lnTo>
                      <a:lnTo>
                        <a:pt x="11" y="21"/>
                      </a:lnTo>
                      <a:lnTo>
                        <a:pt x="10" y="27"/>
                      </a:lnTo>
                      <a:lnTo>
                        <a:pt x="9" y="29"/>
                      </a:lnTo>
                      <a:lnTo>
                        <a:pt x="6" y="30"/>
                      </a:lnTo>
                      <a:lnTo>
                        <a:pt x="3" y="31"/>
                      </a:lnTo>
                      <a:lnTo>
                        <a:pt x="1" y="33"/>
                      </a:lnTo>
                      <a:lnTo>
                        <a:pt x="0" y="37"/>
                      </a:lnTo>
                      <a:lnTo>
                        <a:pt x="0" y="42"/>
                      </a:lnTo>
                      <a:lnTo>
                        <a:pt x="0" y="45"/>
                      </a:lnTo>
                      <a:lnTo>
                        <a:pt x="3" y="48"/>
                      </a:lnTo>
                      <a:lnTo>
                        <a:pt x="4" y="48"/>
                      </a:lnTo>
                      <a:lnTo>
                        <a:pt x="5" y="48"/>
                      </a:lnTo>
                      <a:lnTo>
                        <a:pt x="8" y="46"/>
                      </a:lnTo>
                      <a:lnTo>
                        <a:pt x="9" y="46"/>
                      </a:lnTo>
                      <a:lnTo>
                        <a:pt x="10" y="50"/>
                      </a:lnTo>
                      <a:lnTo>
                        <a:pt x="10" y="52"/>
                      </a:lnTo>
                      <a:lnTo>
                        <a:pt x="10" y="58"/>
                      </a:lnTo>
                      <a:lnTo>
                        <a:pt x="10" y="64"/>
                      </a:lnTo>
                      <a:lnTo>
                        <a:pt x="14" y="74"/>
                      </a:lnTo>
                      <a:lnTo>
                        <a:pt x="17" y="80"/>
                      </a:lnTo>
                      <a:lnTo>
                        <a:pt x="20" y="83"/>
                      </a:lnTo>
                      <a:lnTo>
                        <a:pt x="23" y="88"/>
                      </a:lnTo>
                      <a:lnTo>
                        <a:pt x="24" y="90"/>
                      </a:lnTo>
                      <a:lnTo>
                        <a:pt x="24" y="93"/>
                      </a:lnTo>
                      <a:lnTo>
                        <a:pt x="24" y="99"/>
                      </a:lnTo>
                      <a:lnTo>
                        <a:pt x="22" y="104"/>
                      </a:lnTo>
                      <a:lnTo>
                        <a:pt x="20" y="110"/>
                      </a:lnTo>
                      <a:lnTo>
                        <a:pt x="20" y="113"/>
                      </a:lnTo>
                      <a:lnTo>
                        <a:pt x="22" y="116"/>
                      </a:lnTo>
                      <a:lnTo>
                        <a:pt x="28" y="134"/>
                      </a:lnTo>
                      <a:lnTo>
                        <a:pt x="34" y="152"/>
                      </a:lnTo>
                      <a:lnTo>
                        <a:pt x="36" y="161"/>
                      </a:lnTo>
                      <a:lnTo>
                        <a:pt x="37" y="171"/>
                      </a:lnTo>
                      <a:lnTo>
                        <a:pt x="37" y="180"/>
                      </a:lnTo>
                      <a:lnTo>
                        <a:pt x="36" y="190"/>
                      </a:lnTo>
                      <a:lnTo>
                        <a:pt x="34" y="195"/>
                      </a:lnTo>
                      <a:lnTo>
                        <a:pt x="30" y="198"/>
                      </a:lnTo>
                      <a:lnTo>
                        <a:pt x="28" y="202"/>
                      </a:lnTo>
                      <a:lnTo>
                        <a:pt x="23" y="205"/>
                      </a:lnTo>
                      <a:lnTo>
                        <a:pt x="24" y="208"/>
                      </a:lnTo>
                      <a:lnTo>
                        <a:pt x="25" y="209"/>
                      </a:lnTo>
                      <a:lnTo>
                        <a:pt x="24" y="211"/>
                      </a:lnTo>
                      <a:lnTo>
                        <a:pt x="22" y="214"/>
                      </a:lnTo>
                      <a:lnTo>
                        <a:pt x="20" y="217"/>
                      </a:lnTo>
                      <a:lnTo>
                        <a:pt x="18" y="224"/>
                      </a:lnTo>
                      <a:lnTo>
                        <a:pt x="17" y="238"/>
                      </a:lnTo>
                      <a:lnTo>
                        <a:pt x="15" y="244"/>
                      </a:lnTo>
                      <a:lnTo>
                        <a:pt x="15" y="247"/>
                      </a:lnTo>
                      <a:lnTo>
                        <a:pt x="15" y="248"/>
                      </a:lnTo>
                      <a:lnTo>
                        <a:pt x="18" y="248"/>
                      </a:lnTo>
                      <a:lnTo>
                        <a:pt x="20" y="248"/>
                      </a:lnTo>
                      <a:lnTo>
                        <a:pt x="22" y="247"/>
                      </a:lnTo>
                      <a:lnTo>
                        <a:pt x="24" y="246"/>
                      </a:lnTo>
                      <a:lnTo>
                        <a:pt x="25" y="244"/>
                      </a:lnTo>
                      <a:lnTo>
                        <a:pt x="29" y="247"/>
                      </a:lnTo>
                      <a:lnTo>
                        <a:pt x="32" y="249"/>
                      </a:lnTo>
                      <a:lnTo>
                        <a:pt x="36" y="255"/>
                      </a:lnTo>
                      <a:lnTo>
                        <a:pt x="39" y="261"/>
                      </a:lnTo>
                      <a:lnTo>
                        <a:pt x="43" y="268"/>
                      </a:lnTo>
                      <a:lnTo>
                        <a:pt x="46" y="273"/>
                      </a:lnTo>
                      <a:lnTo>
                        <a:pt x="50" y="272"/>
                      </a:lnTo>
                      <a:lnTo>
                        <a:pt x="53" y="273"/>
                      </a:lnTo>
                      <a:lnTo>
                        <a:pt x="56" y="273"/>
                      </a:lnTo>
                      <a:lnTo>
                        <a:pt x="58" y="275"/>
                      </a:lnTo>
                      <a:lnTo>
                        <a:pt x="60" y="279"/>
                      </a:lnTo>
                      <a:lnTo>
                        <a:pt x="62" y="281"/>
                      </a:lnTo>
                      <a:lnTo>
                        <a:pt x="65" y="283"/>
                      </a:lnTo>
                      <a:lnTo>
                        <a:pt x="69" y="285"/>
                      </a:lnTo>
                      <a:lnTo>
                        <a:pt x="76" y="285"/>
                      </a:lnTo>
                      <a:lnTo>
                        <a:pt x="83" y="285"/>
                      </a:lnTo>
                      <a:lnTo>
                        <a:pt x="83" y="282"/>
                      </a:lnTo>
                      <a:lnTo>
                        <a:pt x="77" y="276"/>
                      </a:lnTo>
                      <a:lnTo>
                        <a:pt x="72" y="269"/>
                      </a:lnTo>
                      <a:lnTo>
                        <a:pt x="70" y="268"/>
                      </a:lnTo>
                      <a:lnTo>
                        <a:pt x="67" y="268"/>
                      </a:lnTo>
                      <a:lnTo>
                        <a:pt x="65" y="268"/>
                      </a:lnTo>
                      <a:lnTo>
                        <a:pt x="61" y="267"/>
                      </a:lnTo>
                      <a:lnTo>
                        <a:pt x="58" y="264"/>
                      </a:lnTo>
                      <a:lnTo>
                        <a:pt x="57" y="260"/>
                      </a:lnTo>
                      <a:lnTo>
                        <a:pt x="56" y="256"/>
                      </a:lnTo>
                      <a:lnTo>
                        <a:pt x="55" y="251"/>
                      </a:lnTo>
                      <a:lnTo>
                        <a:pt x="50" y="242"/>
                      </a:lnTo>
                      <a:lnTo>
                        <a:pt x="48" y="236"/>
                      </a:lnTo>
                      <a:lnTo>
                        <a:pt x="48" y="230"/>
                      </a:lnTo>
                      <a:lnTo>
                        <a:pt x="48" y="229"/>
                      </a:lnTo>
                      <a:lnTo>
                        <a:pt x="47" y="228"/>
                      </a:lnTo>
                      <a:lnTo>
                        <a:pt x="44" y="228"/>
                      </a:lnTo>
                      <a:lnTo>
                        <a:pt x="42" y="228"/>
                      </a:lnTo>
                      <a:lnTo>
                        <a:pt x="39" y="227"/>
                      </a:lnTo>
                      <a:lnTo>
                        <a:pt x="37" y="222"/>
                      </a:lnTo>
                      <a:lnTo>
                        <a:pt x="36" y="217"/>
                      </a:lnTo>
                      <a:lnTo>
                        <a:pt x="36" y="212"/>
                      </a:lnTo>
                      <a:lnTo>
                        <a:pt x="36" y="208"/>
                      </a:lnTo>
                      <a:lnTo>
                        <a:pt x="43" y="182"/>
                      </a:lnTo>
                      <a:lnTo>
                        <a:pt x="46" y="168"/>
                      </a:lnTo>
                      <a:lnTo>
                        <a:pt x="46" y="155"/>
                      </a:lnTo>
                      <a:lnTo>
                        <a:pt x="47" y="151"/>
                      </a:lnTo>
                      <a:lnTo>
                        <a:pt x="50" y="144"/>
                      </a:lnTo>
                      <a:lnTo>
                        <a:pt x="51" y="142"/>
                      </a:lnTo>
                      <a:lnTo>
                        <a:pt x="52" y="142"/>
                      </a:lnTo>
                      <a:lnTo>
                        <a:pt x="57" y="142"/>
                      </a:lnTo>
                      <a:lnTo>
                        <a:pt x="58" y="141"/>
                      </a:lnTo>
                      <a:lnTo>
                        <a:pt x="61" y="140"/>
                      </a:lnTo>
                      <a:lnTo>
                        <a:pt x="62" y="139"/>
                      </a:lnTo>
                      <a:lnTo>
                        <a:pt x="63" y="140"/>
                      </a:lnTo>
                      <a:lnTo>
                        <a:pt x="65" y="142"/>
                      </a:lnTo>
                      <a:lnTo>
                        <a:pt x="65" y="145"/>
                      </a:lnTo>
                      <a:lnTo>
                        <a:pt x="63" y="151"/>
                      </a:lnTo>
                      <a:lnTo>
                        <a:pt x="62" y="157"/>
                      </a:lnTo>
                      <a:lnTo>
                        <a:pt x="61" y="159"/>
                      </a:lnTo>
                      <a:lnTo>
                        <a:pt x="63" y="160"/>
                      </a:lnTo>
                      <a:lnTo>
                        <a:pt x="67" y="160"/>
                      </a:lnTo>
                      <a:lnTo>
                        <a:pt x="71" y="159"/>
                      </a:lnTo>
                      <a:lnTo>
                        <a:pt x="76" y="159"/>
                      </a:lnTo>
                      <a:lnTo>
                        <a:pt x="77" y="159"/>
                      </a:lnTo>
                      <a:lnTo>
                        <a:pt x="79" y="160"/>
                      </a:lnTo>
                      <a:lnTo>
                        <a:pt x="80" y="163"/>
                      </a:lnTo>
                      <a:lnTo>
                        <a:pt x="81" y="166"/>
                      </a:lnTo>
                      <a:lnTo>
                        <a:pt x="83" y="172"/>
                      </a:lnTo>
                      <a:lnTo>
                        <a:pt x="85" y="171"/>
                      </a:lnTo>
                      <a:lnTo>
                        <a:pt x="86" y="168"/>
                      </a:lnTo>
                      <a:lnTo>
                        <a:pt x="86" y="163"/>
                      </a:lnTo>
                      <a:lnTo>
                        <a:pt x="85" y="157"/>
                      </a:lnTo>
                      <a:lnTo>
                        <a:pt x="84" y="152"/>
                      </a:lnTo>
                      <a:lnTo>
                        <a:pt x="80" y="148"/>
                      </a:lnTo>
                      <a:lnTo>
                        <a:pt x="79" y="146"/>
                      </a:lnTo>
                      <a:lnTo>
                        <a:pt x="80" y="144"/>
                      </a:lnTo>
                      <a:lnTo>
                        <a:pt x="88" y="134"/>
                      </a:lnTo>
                      <a:lnTo>
                        <a:pt x="97" y="126"/>
                      </a:lnTo>
                      <a:lnTo>
                        <a:pt x="99" y="123"/>
                      </a:lnTo>
                      <a:lnTo>
                        <a:pt x="102" y="122"/>
                      </a:lnTo>
                      <a:lnTo>
                        <a:pt x="108" y="122"/>
                      </a:lnTo>
                      <a:lnTo>
                        <a:pt x="113" y="122"/>
                      </a:lnTo>
                      <a:lnTo>
                        <a:pt x="119" y="122"/>
                      </a:lnTo>
                      <a:lnTo>
                        <a:pt x="122" y="121"/>
                      </a:lnTo>
                      <a:lnTo>
                        <a:pt x="123" y="120"/>
                      </a:lnTo>
                      <a:lnTo>
                        <a:pt x="127" y="114"/>
                      </a:lnTo>
                      <a:lnTo>
                        <a:pt x="128" y="112"/>
                      </a:lnTo>
                      <a:lnTo>
                        <a:pt x="132" y="1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7" name="Freeform 621"/>
                <p:cNvSpPr>
                  <a:spLocks/>
                </p:cNvSpPr>
                <p:nvPr/>
              </p:nvSpPr>
              <p:spPr bwMode="auto">
                <a:xfrm>
                  <a:off x="6780293" y="3770394"/>
                  <a:ext cx="207182" cy="550512"/>
                </a:xfrm>
                <a:custGeom>
                  <a:avLst/>
                  <a:gdLst>
                    <a:gd name="T0" fmla="*/ 2147483647 w 152"/>
                    <a:gd name="T1" fmla="*/ 2147483647 h 372"/>
                    <a:gd name="T2" fmla="*/ 2147483647 w 152"/>
                    <a:gd name="T3" fmla="*/ 2147483647 h 372"/>
                    <a:gd name="T4" fmla="*/ 2147483647 w 152"/>
                    <a:gd name="T5" fmla="*/ 2147483647 h 372"/>
                    <a:gd name="T6" fmla="*/ 2147483647 w 152"/>
                    <a:gd name="T7" fmla="*/ 2147483647 h 372"/>
                    <a:gd name="T8" fmla="*/ 2147483647 w 152"/>
                    <a:gd name="T9" fmla="*/ 2147483647 h 372"/>
                    <a:gd name="T10" fmla="*/ 2147483647 w 152"/>
                    <a:gd name="T11" fmla="*/ 2147483647 h 372"/>
                    <a:gd name="T12" fmla="*/ 2147483647 w 152"/>
                    <a:gd name="T13" fmla="*/ 2147483647 h 372"/>
                    <a:gd name="T14" fmla="*/ 2147483647 w 152"/>
                    <a:gd name="T15" fmla="*/ 2147483647 h 372"/>
                    <a:gd name="T16" fmla="*/ 2147483647 w 152"/>
                    <a:gd name="T17" fmla="*/ 2147483647 h 372"/>
                    <a:gd name="T18" fmla="*/ 2147483647 w 152"/>
                    <a:gd name="T19" fmla="*/ 2147483647 h 372"/>
                    <a:gd name="T20" fmla="*/ 2147483647 w 152"/>
                    <a:gd name="T21" fmla="*/ 2147483647 h 372"/>
                    <a:gd name="T22" fmla="*/ 2147483647 w 152"/>
                    <a:gd name="T23" fmla="*/ 2147483647 h 372"/>
                    <a:gd name="T24" fmla="*/ 2147483647 w 152"/>
                    <a:gd name="T25" fmla="*/ 2147483647 h 372"/>
                    <a:gd name="T26" fmla="*/ 2147483647 w 152"/>
                    <a:gd name="T27" fmla="*/ 2147483647 h 372"/>
                    <a:gd name="T28" fmla="*/ 2147483647 w 152"/>
                    <a:gd name="T29" fmla="*/ 2147483647 h 372"/>
                    <a:gd name="T30" fmla="*/ 2147483647 w 152"/>
                    <a:gd name="T31" fmla="*/ 2147483647 h 372"/>
                    <a:gd name="T32" fmla="*/ 2147483647 w 152"/>
                    <a:gd name="T33" fmla="*/ 2147483647 h 372"/>
                    <a:gd name="T34" fmla="*/ 2147483647 w 152"/>
                    <a:gd name="T35" fmla="*/ 2147483647 h 372"/>
                    <a:gd name="T36" fmla="*/ 2147483647 w 152"/>
                    <a:gd name="T37" fmla="*/ 2147483647 h 372"/>
                    <a:gd name="T38" fmla="*/ 2147483647 w 152"/>
                    <a:gd name="T39" fmla="*/ 2147483647 h 372"/>
                    <a:gd name="T40" fmla="*/ 2147483647 w 152"/>
                    <a:gd name="T41" fmla="*/ 2147483647 h 372"/>
                    <a:gd name="T42" fmla="*/ 2147483647 w 152"/>
                    <a:gd name="T43" fmla="*/ 2147483647 h 372"/>
                    <a:gd name="T44" fmla="*/ 2147483647 w 152"/>
                    <a:gd name="T45" fmla="*/ 2147483647 h 372"/>
                    <a:gd name="T46" fmla="*/ 2147483647 w 152"/>
                    <a:gd name="T47" fmla="*/ 2147483647 h 372"/>
                    <a:gd name="T48" fmla="*/ 2147483647 w 152"/>
                    <a:gd name="T49" fmla="*/ 2147483647 h 372"/>
                    <a:gd name="T50" fmla="*/ 2147483647 w 152"/>
                    <a:gd name="T51" fmla="*/ 2147483647 h 372"/>
                    <a:gd name="T52" fmla="*/ 2147483647 w 152"/>
                    <a:gd name="T53" fmla="*/ 2147483647 h 372"/>
                    <a:gd name="T54" fmla="*/ 2147483647 w 152"/>
                    <a:gd name="T55" fmla="*/ 2147483647 h 372"/>
                    <a:gd name="T56" fmla="*/ 2147483647 w 152"/>
                    <a:gd name="T57" fmla="*/ 2147483647 h 372"/>
                    <a:gd name="T58" fmla="*/ 2147483647 w 152"/>
                    <a:gd name="T59" fmla="*/ 2147483647 h 372"/>
                    <a:gd name="T60" fmla="*/ 2147483647 w 152"/>
                    <a:gd name="T61" fmla="*/ 2147483647 h 372"/>
                    <a:gd name="T62" fmla="*/ 2147483647 w 152"/>
                    <a:gd name="T63" fmla="*/ 2147483647 h 372"/>
                    <a:gd name="T64" fmla="*/ 2147483647 w 152"/>
                    <a:gd name="T65" fmla="*/ 2147483647 h 372"/>
                    <a:gd name="T66" fmla="*/ 2147483647 w 152"/>
                    <a:gd name="T67" fmla="*/ 2147483647 h 372"/>
                    <a:gd name="T68" fmla="*/ 2147483647 w 152"/>
                    <a:gd name="T69" fmla="*/ 2147483647 h 372"/>
                    <a:gd name="T70" fmla="*/ 2147483647 w 152"/>
                    <a:gd name="T71" fmla="*/ 2147483647 h 372"/>
                    <a:gd name="T72" fmla="*/ 2147483647 w 152"/>
                    <a:gd name="T73" fmla="*/ 2147483647 h 372"/>
                    <a:gd name="T74" fmla="*/ 2147483647 w 152"/>
                    <a:gd name="T75" fmla="*/ 2147483647 h 372"/>
                    <a:gd name="T76" fmla="*/ 2147483647 w 152"/>
                    <a:gd name="T77" fmla="*/ 2147483647 h 372"/>
                    <a:gd name="T78" fmla="*/ 2147483647 w 152"/>
                    <a:gd name="T79" fmla="*/ 2147483647 h 372"/>
                    <a:gd name="T80" fmla="*/ 2147483647 w 152"/>
                    <a:gd name="T81" fmla="*/ 2147483647 h 372"/>
                    <a:gd name="T82" fmla="*/ 2147483647 w 152"/>
                    <a:gd name="T83" fmla="*/ 2147483647 h 372"/>
                    <a:gd name="T84" fmla="*/ 2147483647 w 152"/>
                    <a:gd name="T85" fmla="*/ 2147483647 h 372"/>
                    <a:gd name="T86" fmla="*/ 2147483647 w 152"/>
                    <a:gd name="T87" fmla="*/ 2147483647 h 372"/>
                    <a:gd name="T88" fmla="*/ 2147483647 w 152"/>
                    <a:gd name="T89" fmla="*/ 2147483647 h 372"/>
                    <a:gd name="T90" fmla="*/ 2147483647 w 152"/>
                    <a:gd name="T91" fmla="*/ 2147483647 h 372"/>
                    <a:gd name="T92" fmla="*/ 2147483647 w 152"/>
                    <a:gd name="T93" fmla="*/ 2147483647 h 372"/>
                    <a:gd name="T94" fmla="*/ 2147483647 w 152"/>
                    <a:gd name="T95" fmla="*/ 2147483647 h 372"/>
                    <a:gd name="T96" fmla="*/ 2147483647 w 152"/>
                    <a:gd name="T97" fmla="*/ 2147483647 h 372"/>
                    <a:gd name="T98" fmla="*/ 2147483647 w 152"/>
                    <a:gd name="T99" fmla="*/ 2147483647 h 372"/>
                    <a:gd name="T100" fmla="*/ 2147483647 w 152"/>
                    <a:gd name="T101" fmla="*/ 2147483647 h 372"/>
                    <a:gd name="T102" fmla="*/ 2147483647 w 152"/>
                    <a:gd name="T103" fmla="*/ 2147483647 h 372"/>
                    <a:gd name="T104" fmla="*/ 2147483647 w 152"/>
                    <a:gd name="T105" fmla="*/ 2147483647 h 3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2"/>
                    <a:gd name="T160" fmla="*/ 0 h 372"/>
                    <a:gd name="T161" fmla="*/ 152 w 152"/>
                    <a:gd name="T162" fmla="*/ 372 h 3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2" h="372">
                      <a:moveTo>
                        <a:pt x="151" y="147"/>
                      </a:moveTo>
                      <a:lnTo>
                        <a:pt x="151" y="147"/>
                      </a:lnTo>
                      <a:lnTo>
                        <a:pt x="152" y="145"/>
                      </a:lnTo>
                      <a:lnTo>
                        <a:pt x="151" y="142"/>
                      </a:lnTo>
                      <a:lnTo>
                        <a:pt x="151" y="141"/>
                      </a:lnTo>
                      <a:lnTo>
                        <a:pt x="147" y="140"/>
                      </a:lnTo>
                      <a:lnTo>
                        <a:pt x="141" y="140"/>
                      </a:lnTo>
                      <a:lnTo>
                        <a:pt x="139" y="139"/>
                      </a:lnTo>
                      <a:lnTo>
                        <a:pt x="138" y="137"/>
                      </a:lnTo>
                      <a:lnTo>
                        <a:pt x="138" y="134"/>
                      </a:lnTo>
                      <a:lnTo>
                        <a:pt x="138" y="130"/>
                      </a:lnTo>
                      <a:lnTo>
                        <a:pt x="137" y="129"/>
                      </a:lnTo>
                      <a:lnTo>
                        <a:pt x="135" y="129"/>
                      </a:lnTo>
                      <a:lnTo>
                        <a:pt x="130" y="130"/>
                      </a:lnTo>
                      <a:lnTo>
                        <a:pt x="128" y="130"/>
                      </a:lnTo>
                      <a:lnTo>
                        <a:pt x="125" y="130"/>
                      </a:lnTo>
                      <a:lnTo>
                        <a:pt x="124" y="129"/>
                      </a:lnTo>
                      <a:lnTo>
                        <a:pt x="124" y="127"/>
                      </a:lnTo>
                      <a:lnTo>
                        <a:pt x="127" y="122"/>
                      </a:lnTo>
                      <a:lnTo>
                        <a:pt x="130" y="119"/>
                      </a:lnTo>
                      <a:lnTo>
                        <a:pt x="134" y="114"/>
                      </a:lnTo>
                      <a:lnTo>
                        <a:pt x="135" y="109"/>
                      </a:lnTo>
                      <a:lnTo>
                        <a:pt x="135" y="107"/>
                      </a:lnTo>
                      <a:lnTo>
                        <a:pt x="133" y="107"/>
                      </a:lnTo>
                      <a:lnTo>
                        <a:pt x="128" y="107"/>
                      </a:lnTo>
                      <a:lnTo>
                        <a:pt x="125" y="105"/>
                      </a:lnTo>
                      <a:lnTo>
                        <a:pt x="124" y="103"/>
                      </a:lnTo>
                      <a:lnTo>
                        <a:pt x="124" y="98"/>
                      </a:lnTo>
                      <a:lnTo>
                        <a:pt x="124" y="92"/>
                      </a:lnTo>
                      <a:lnTo>
                        <a:pt x="124" y="90"/>
                      </a:lnTo>
                      <a:lnTo>
                        <a:pt x="123" y="89"/>
                      </a:lnTo>
                      <a:lnTo>
                        <a:pt x="120" y="89"/>
                      </a:lnTo>
                      <a:lnTo>
                        <a:pt x="116" y="89"/>
                      </a:lnTo>
                      <a:lnTo>
                        <a:pt x="110" y="90"/>
                      </a:lnTo>
                      <a:lnTo>
                        <a:pt x="104" y="91"/>
                      </a:lnTo>
                      <a:lnTo>
                        <a:pt x="101" y="90"/>
                      </a:lnTo>
                      <a:lnTo>
                        <a:pt x="100" y="89"/>
                      </a:lnTo>
                      <a:lnTo>
                        <a:pt x="97" y="84"/>
                      </a:lnTo>
                      <a:lnTo>
                        <a:pt x="97" y="81"/>
                      </a:lnTo>
                      <a:lnTo>
                        <a:pt x="97" y="77"/>
                      </a:lnTo>
                      <a:lnTo>
                        <a:pt x="99" y="72"/>
                      </a:lnTo>
                      <a:lnTo>
                        <a:pt x="102" y="64"/>
                      </a:lnTo>
                      <a:lnTo>
                        <a:pt x="106" y="56"/>
                      </a:lnTo>
                      <a:lnTo>
                        <a:pt x="109" y="51"/>
                      </a:lnTo>
                      <a:lnTo>
                        <a:pt x="110" y="46"/>
                      </a:lnTo>
                      <a:lnTo>
                        <a:pt x="111" y="36"/>
                      </a:lnTo>
                      <a:lnTo>
                        <a:pt x="110" y="13"/>
                      </a:lnTo>
                      <a:lnTo>
                        <a:pt x="109" y="8"/>
                      </a:lnTo>
                      <a:lnTo>
                        <a:pt x="106" y="4"/>
                      </a:lnTo>
                      <a:lnTo>
                        <a:pt x="101" y="1"/>
                      </a:lnTo>
                      <a:lnTo>
                        <a:pt x="99" y="0"/>
                      </a:lnTo>
                      <a:lnTo>
                        <a:pt x="97" y="1"/>
                      </a:lnTo>
                      <a:lnTo>
                        <a:pt x="92" y="2"/>
                      </a:lnTo>
                      <a:lnTo>
                        <a:pt x="92" y="5"/>
                      </a:lnTo>
                      <a:lnTo>
                        <a:pt x="91" y="6"/>
                      </a:lnTo>
                      <a:lnTo>
                        <a:pt x="90" y="8"/>
                      </a:lnTo>
                      <a:lnTo>
                        <a:pt x="88" y="9"/>
                      </a:lnTo>
                      <a:lnTo>
                        <a:pt x="87" y="15"/>
                      </a:lnTo>
                      <a:lnTo>
                        <a:pt x="83" y="20"/>
                      </a:lnTo>
                      <a:lnTo>
                        <a:pt x="80" y="24"/>
                      </a:lnTo>
                      <a:lnTo>
                        <a:pt x="73" y="26"/>
                      </a:lnTo>
                      <a:lnTo>
                        <a:pt x="71" y="27"/>
                      </a:lnTo>
                      <a:lnTo>
                        <a:pt x="69" y="31"/>
                      </a:lnTo>
                      <a:lnTo>
                        <a:pt x="68" y="37"/>
                      </a:lnTo>
                      <a:lnTo>
                        <a:pt x="66" y="43"/>
                      </a:lnTo>
                      <a:lnTo>
                        <a:pt x="63" y="49"/>
                      </a:lnTo>
                      <a:lnTo>
                        <a:pt x="61" y="54"/>
                      </a:lnTo>
                      <a:lnTo>
                        <a:pt x="52" y="65"/>
                      </a:lnTo>
                      <a:lnTo>
                        <a:pt x="43" y="73"/>
                      </a:lnTo>
                      <a:lnTo>
                        <a:pt x="40" y="77"/>
                      </a:lnTo>
                      <a:lnTo>
                        <a:pt x="39" y="79"/>
                      </a:lnTo>
                      <a:lnTo>
                        <a:pt x="39" y="88"/>
                      </a:lnTo>
                      <a:lnTo>
                        <a:pt x="38" y="94"/>
                      </a:lnTo>
                      <a:lnTo>
                        <a:pt x="36" y="96"/>
                      </a:lnTo>
                      <a:lnTo>
                        <a:pt x="34" y="97"/>
                      </a:lnTo>
                      <a:lnTo>
                        <a:pt x="30" y="100"/>
                      </a:lnTo>
                      <a:lnTo>
                        <a:pt x="25" y="101"/>
                      </a:lnTo>
                      <a:lnTo>
                        <a:pt x="22" y="101"/>
                      </a:lnTo>
                      <a:lnTo>
                        <a:pt x="21" y="102"/>
                      </a:lnTo>
                      <a:lnTo>
                        <a:pt x="17" y="107"/>
                      </a:lnTo>
                      <a:lnTo>
                        <a:pt x="16" y="113"/>
                      </a:lnTo>
                      <a:lnTo>
                        <a:pt x="15" y="117"/>
                      </a:lnTo>
                      <a:lnTo>
                        <a:pt x="15" y="123"/>
                      </a:lnTo>
                      <a:lnTo>
                        <a:pt x="14" y="129"/>
                      </a:lnTo>
                      <a:lnTo>
                        <a:pt x="12" y="132"/>
                      </a:lnTo>
                      <a:lnTo>
                        <a:pt x="10" y="133"/>
                      </a:lnTo>
                      <a:lnTo>
                        <a:pt x="7" y="135"/>
                      </a:lnTo>
                      <a:lnTo>
                        <a:pt x="3" y="135"/>
                      </a:lnTo>
                      <a:lnTo>
                        <a:pt x="5" y="139"/>
                      </a:lnTo>
                      <a:lnTo>
                        <a:pt x="3" y="141"/>
                      </a:lnTo>
                      <a:lnTo>
                        <a:pt x="2" y="143"/>
                      </a:lnTo>
                      <a:lnTo>
                        <a:pt x="2" y="146"/>
                      </a:lnTo>
                      <a:lnTo>
                        <a:pt x="1" y="151"/>
                      </a:lnTo>
                      <a:lnTo>
                        <a:pt x="0" y="152"/>
                      </a:lnTo>
                      <a:lnTo>
                        <a:pt x="0" y="154"/>
                      </a:lnTo>
                      <a:lnTo>
                        <a:pt x="3" y="159"/>
                      </a:lnTo>
                      <a:lnTo>
                        <a:pt x="8" y="167"/>
                      </a:lnTo>
                      <a:lnTo>
                        <a:pt x="14" y="174"/>
                      </a:lnTo>
                      <a:lnTo>
                        <a:pt x="16" y="178"/>
                      </a:lnTo>
                      <a:lnTo>
                        <a:pt x="20" y="180"/>
                      </a:lnTo>
                      <a:lnTo>
                        <a:pt x="24" y="183"/>
                      </a:lnTo>
                      <a:lnTo>
                        <a:pt x="29" y="184"/>
                      </a:lnTo>
                      <a:lnTo>
                        <a:pt x="29" y="186"/>
                      </a:lnTo>
                      <a:lnTo>
                        <a:pt x="29" y="188"/>
                      </a:lnTo>
                      <a:lnTo>
                        <a:pt x="30" y="191"/>
                      </a:lnTo>
                      <a:lnTo>
                        <a:pt x="33" y="192"/>
                      </a:lnTo>
                      <a:lnTo>
                        <a:pt x="35" y="193"/>
                      </a:lnTo>
                      <a:lnTo>
                        <a:pt x="36" y="194"/>
                      </a:lnTo>
                      <a:lnTo>
                        <a:pt x="38" y="196"/>
                      </a:lnTo>
                      <a:lnTo>
                        <a:pt x="39" y="200"/>
                      </a:lnTo>
                      <a:lnTo>
                        <a:pt x="39" y="205"/>
                      </a:lnTo>
                      <a:lnTo>
                        <a:pt x="39" y="213"/>
                      </a:lnTo>
                      <a:lnTo>
                        <a:pt x="39" y="216"/>
                      </a:lnTo>
                      <a:lnTo>
                        <a:pt x="38" y="218"/>
                      </a:lnTo>
                      <a:lnTo>
                        <a:pt x="36" y="220"/>
                      </a:lnTo>
                      <a:lnTo>
                        <a:pt x="38" y="223"/>
                      </a:lnTo>
                      <a:lnTo>
                        <a:pt x="40" y="231"/>
                      </a:lnTo>
                      <a:lnTo>
                        <a:pt x="41" y="239"/>
                      </a:lnTo>
                      <a:lnTo>
                        <a:pt x="41" y="248"/>
                      </a:lnTo>
                      <a:lnTo>
                        <a:pt x="39" y="256"/>
                      </a:lnTo>
                      <a:lnTo>
                        <a:pt x="39" y="258"/>
                      </a:lnTo>
                      <a:lnTo>
                        <a:pt x="39" y="261"/>
                      </a:lnTo>
                      <a:lnTo>
                        <a:pt x="40" y="262"/>
                      </a:lnTo>
                      <a:lnTo>
                        <a:pt x="41" y="263"/>
                      </a:lnTo>
                      <a:lnTo>
                        <a:pt x="48" y="263"/>
                      </a:lnTo>
                      <a:lnTo>
                        <a:pt x="54" y="263"/>
                      </a:lnTo>
                      <a:lnTo>
                        <a:pt x="59" y="261"/>
                      </a:lnTo>
                      <a:lnTo>
                        <a:pt x="64" y="258"/>
                      </a:lnTo>
                      <a:lnTo>
                        <a:pt x="69" y="255"/>
                      </a:lnTo>
                      <a:lnTo>
                        <a:pt x="73" y="250"/>
                      </a:lnTo>
                      <a:lnTo>
                        <a:pt x="77" y="245"/>
                      </a:lnTo>
                      <a:lnTo>
                        <a:pt x="80" y="239"/>
                      </a:lnTo>
                      <a:lnTo>
                        <a:pt x="81" y="238"/>
                      </a:lnTo>
                      <a:lnTo>
                        <a:pt x="82" y="239"/>
                      </a:lnTo>
                      <a:lnTo>
                        <a:pt x="83" y="242"/>
                      </a:lnTo>
                      <a:lnTo>
                        <a:pt x="85" y="247"/>
                      </a:lnTo>
                      <a:lnTo>
                        <a:pt x="87" y="250"/>
                      </a:lnTo>
                      <a:lnTo>
                        <a:pt x="90" y="252"/>
                      </a:lnTo>
                      <a:lnTo>
                        <a:pt x="95" y="255"/>
                      </a:lnTo>
                      <a:lnTo>
                        <a:pt x="95" y="256"/>
                      </a:lnTo>
                      <a:lnTo>
                        <a:pt x="96" y="258"/>
                      </a:lnTo>
                      <a:lnTo>
                        <a:pt x="96" y="263"/>
                      </a:lnTo>
                      <a:lnTo>
                        <a:pt x="95" y="268"/>
                      </a:lnTo>
                      <a:lnTo>
                        <a:pt x="95" y="271"/>
                      </a:lnTo>
                      <a:lnTo>
                        <a:pt x="96" y="276"/>
                      </a:lnTo>
                      <a:lnTo>
                        <a:pt x="99" y="280"/>
                      </a:lnTo>
                      <a:lnTo>
                        <a:pt x="99" y="284"/>
                      </a:lnTo>
                      <a:lnTo>
                        <a:pt x="101" y="292"/>
                      </a:lnTo>
                      <a:lnTo>
                        <a:pt x="105" y="305"/>
                      </a:lnTo>
                      <a:lnTo>
                        <a:pt x="108" y="318"/>
                      </a:lnTo>
                      <a:lnTo>
                        <a:pt x="111" y="345"/>
                      </a:lnTo>
                      <a:lnTo>
                        <a:pt x="114" y="347"/>
                      </a:lnTo>
                      <a:lnTo>
                        <a:pt x="114" y="351"/>
                      </a:lnTo>
                      <a:lnTo>
                        <a:pt x="114" y="353"/>
                      </a:lnTo>
                      <a:lnTo>
                        <a:pt x="114" y="360"/>
                      </a:lnTo>
                      <a:lnTo>
                        <a:pt x="113" y="366"/>
                      </a:lnTo>
                      <a:lnTo>
                        <a:pt x="113" y="369"/>
                      </a:lnTo>
                      <a:lnTo>
                        <a:pt x="114" y="372"/>
                      </a:lnTo>
                      <a:lnTo>
                        <a:pt x="119" y="369"/>
                      </a:lnTo>
                      <a:lnTo>
                        <a:pt x="121" y="365"/>
                      </a:lnTo>
                      <a:lnTo>
                        <a:pt x="125" y="362"/>
                      </a:lnTo>
                      <a:lnTo>
                        <a:pt x="127" y="357"/>
                      </a:lnTo>
                      <a:lnTo>
                        <a:pt x="128" y="347"/>
                      </a:lnTo>
                      <a:lnTo>
                        <a:pt x="128" y="338"/>
                      </a:lnTo>
                      <a:lnTo>
                        <a:pt x="127" y="328"/>
                      </a:lnTo>
                      <a:lnTo>
                        <a:pt x="125" y="319"/>
                      </a:lnTo>
                      <a:lnTo>
                        <a:pt x="119" y="301"/>
                      </a:lnTo>
                      <a:lnTo>
                        <a:pt x="113" y="283"/>
                      </a:lnTo>
                      <a:lnTo>
                        <a:pt x="111" y="280"/>
                      </a:lnTo>
                      <a:lnTo>
                        <a:pt x="111" y="277"/>
                      </a:lnTo>
                      <a:lnTo>
                        <a:pt x="113" y="271"/>
                      </a:lnTo>
                      <a:lnTo>
                        <a:pt x="115" y="266"/>
                      </a:lnTo>
                      <a:lnTo>
                        <a:pt x="115" y="260"/>
                      </a:lnTo>
                      <a:lnTo>
                        <a:pt x="115" y="257"/>
                      </a:lnTo>
                      <a:lnTo>
                        <a:pt x="114" y="255"/>
                      </a:lnTo>
                      <a:lnTo>
                        <a:pt x="111" y="250"/>
                      </a:lnTo>
                      <a:lnTo>
                        <a:pt x="108" y="247"/>
                      </a:lnTo>
                      <a:lnTo>
                        <a:pt x="105" y="241"/>
                      </a:lnTo>
                      <a:lnTo>
                        <a:pt x="101" y="231"/>
                      </a:lnTo>
                      <a:lnTo>
                        <a:pt x="101" y="225"/>
                      </a:lnTo>
                      <a:lnTo>
                        <a:pt x="101" y="219"/>
                      </a:lnTo>
                      <a:lnTo>
                        <a:pt x="101" y="217"/>
                      </a:lnTo>
                      <a:lnTo>
                        <a:pt x="100" y="213"/>
                      </a:lnTo>
                      <a:lnTo>
                        <a:pt x="99" y="213"/>
                      </a:lnTo>
                      <a:lnTo>
                        <a:pt x="96" y="215"/>
                      </a:lnTo>
                      <a:lnTo>
                        <a:pt x="95" y="215"/>
                      </a:lnTo>
                      <a:lnTo>
                        <a:pt x="94" y="215"/>
                      </a:lnTo>
                      <a:lnTo>
                        <a:pt x="91" y="212"/>
                      </a:lnTo>
                      <a:lnTo>
                        <a:pt x="91" y="209"/>
                      </a:lnTo>
                      <a:lnTo>
                        <a:pt x="91" y="204"/>
                      </a:lnTo>
                      <a:lnTo>
                        <a:pt x="92" y="200"/>
                      </a:lnTo>
                      <a:lnTo>
                        <a:pt x="94" y="198"/>
                      </a:lnTo>
                      <a:lnTo>
                        <a:pt x="97" y="197"/>
                      </a:lnTo>
                      <a:lnTo>
                        <a:pt x="100" y="196"/>
                      </a:lnTo>
                      <a:lnTo>
                        <a:pt x="101" y="194"/>
                      </a:lnTo>
                      <a:lnTo>
                        <a:pt x="102" y="188"/>
                      </a:lnTo>
                      <a:lnTo>
                        <a:pt x="104" y="185"/>
                      </a:lnTo>
                      <a:lnTo>
                        <a:pt x="106" y="183"/>
                      </a:lnTo>
                      <a:lnTo>
                        <a:pt x="109" y="181"/>
                      </a:lnTo>
                      <a:lnTo>
                        <a:pt x="114" y="180"/>
                      </a:lnTo>
                      <a:lnTo>
                        <a:pt x="116" y="179"/>
                      </a:lnTo>
                      <a:lnTo>
                        <a:pt x="119" y="178"/>
                      </a:lnTo>
                      <a:lnTo>
                        <a:pt x="120" y="175"/>
                      </a:lnTo>
                      <a:lnTo>
                        <a:pt x="121" y="172"/>
                      </a:lnTo>
                      <a:lnTo>
                        <a:pt x="123" y="168"/>
                      </a:lnTo>
                      <a:lnTo>
                        <a:pt x="125" y="167"/>
                      </a:lnTo>
                      <a:lnTo>
                        <a:pt x="129" y="167"/>
                      </a:lnTo>
                      <a:lnTo>
                        <a:pt x="134" y="168"/>
                      </a:lnTo>
                      <a:lnTo>
                        <a:pt x="138" y="168"/>
                      </a:lnTo>
                      <a:lnTo>
                        <a:pt x="139" y="168"/>
                      </a:lnTo>
                      <a:lnTo>
                        <a:pt x="141" y="167"/>
                      </a:lnTo>
                      <a:lnTo>
                        <a:pt x="147" y="158"/>
                      </a:lnTo>
                      <a:lnTo>
                        <a:pt x="151" y="14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8" name="Freeform 622"/>
                <p:cNvSpPr>
                  <a:spLocks/>
                </p:cNvSpPr>
                <p:nvPr/>
              </p:nvSpPr>
              <p:spPr bwMode="auto">
                <a:xfrm>
                  <a:off x="6684102" y="3831071"/>
                  <a:ext cx="119870" cy="168705"/>
                </a:xfrm>
                <a:custGeom>
                  <a:avLst/>
                  <a:gdLst>
                    <a:gd name="T0" fmla="*/ 2147483647 w 87"/>
                    <a:gd name="T1" fmla="*/ 2147483647 h 114"/>
                    <a:gd name="T2" fmla="*/ 2147483647 w 87"/>
                    <a:gd name="T3" fmla="*/ 2147483647 h 114"/>
                    <a:gd name="T4" fmla="*/ 2147483647 w 87"/>
                    <a:gd name="T5" fmla="*/ 2147483647 h 114"/>
                    <a:gd name="T6" fmla="*/ 2147483647 w 87"/>
                    <a:gd name="T7" fmla="*/ 2147483647 h 114"/>
                    <a:gd name="T8" fmla="*/ 2147483647 w 87"/>
                    <a:gd name="T9" fmla="*/ 2147483647 h 114"/>
                    <a:gd name="T10" fmla="*/ 2147483647 w 87"/>
                    <a:gd name="T11" fmla="*/ 2147483647 h 114"/>
                    <a:gd name="T12" fmla="*/ 2147483647 w 87"/>
                    <a:gd name="T13" fmla="*/ 2147483647 h 114"/>
                    <a:gd name="T14" fmla="*/ 2147483647 w 87"/>
                    <a:gd name="T15" fmla="*/ 2147483647 h 114"/>
                    <a:gd name="T16" fmla="*/ 2147483647 w 87"/>
                    <a:gd name="T17" fmla="*/ 2147483647 h 114"/>
                    <a:gd name="T18" fmla="*/ 2147483647 w 87"/>
                    <a:gd name="T19" fmla="*/ 2147483647 h 114"/>
                    <a:gd name="T20" fmla="*/ 2147483647 w 87"/>
                    <a:gd name="T21" fmla="*/ 2147483647 h 114"/>
                    <a:gd name="T22" fmla="*/ 2147483647 w 87"/>
                    <a:gd name="T23" fmla="*/ 2147483647 h 114"/>
                    <a:gd name="T24" fmla="*/ 2147483647 w 87"/>
                    <a:gd name="T25" fmla="*/ 2147483647 h 114"/>
                    <a:gd name="T26" fmla="*/ 2147483647 w 87"/>
                    <a:gd name="T27" fmla="*/ 2147483647 h 114"/>
                    <a:gd name="T28" fmla="*/ 2147483647 w 87"/>
                    <a:gd name="T29" fmla="*/ 2147483647 h 114"/>
                    <a:gd name="T30" fmla="*/ 0 w 87"/>
                    <a:gd name="T31" fmla="*/ 2147483647 h 114"/>
                    <a:gd name="T32" fmla="*/ 2147483647 w 87"/>
                    <a:gd name="T33" fmla="*/ 2147483647 h 114"/>
                    <a:gd name="T34" fmla="*/ 2147483647 w 87"/>
                    <a:gd name="T35" fmla="*/ 2147483647 h 114"/>
                    <a:gd name="T36" fmla="*/ 2147483647 w 87"/>
                    <a:gd name="T37" fmla="*/ 2147483647 h 114"/>
                    <a:gd name="T38" fmla="*/ 2147483647 w 87"/>
                    <a:gd name="T39" fmla="*/ 2147483647 h 114"/>
                    <a:gd name="T40" fmla="*/ 2147483647 w 87"/>
                    <a:gd name="T41" fmla="*/ 2147483647 h 114"/>
                    <a:gd name="T42" fmla="*/ 2147483647 w 87"/>
                    <a:gd name="T43" fmla="*/ 2147483647 h 114"/>
                    <a:gd name="T44" fmla="*/ 2147483647 w 87"/>
                    <a:gd name="T45" fmla="*/ 2147483647 h 114"/>
                    <a:gd name="T46" fmla="*/ 2147483647 w 87"/>
                    <a:gd name="T47" fmla="*/ 2147483647 h 114"/>
                    <a:gd name="T48" fmla="*/ 2147483647 w 87"/>
                    <a:gd name="T49" fmla="*/ 2147483647 h 114"/>
                    <a:gd name="T50" fmla="*/ 2147483647 w 87"/>
                    <a:gd name="T51" fmla="*/ 2147483647 h 114"/>
                    <a:gd name="T52" fmla="*/ 2147483647 w 87"/>
                    <a:gd name="T53" fmla="*/ 2147483647 h 114"/>
                    <a:gd name="T54" fmla="*/ 2147483647 w 87"/>
                    <a:gd name="T55" fmla="*/ 2147483647 h 114"/>
                    <a:gd name="T56" fmla="*/ 2147483647 w 87"/>
                    <a:gd name="T57" fmla="*/ 0 h 114"/>
                    <a:gd name="T58" fmla="*/ 2147483647 w 87"/>
                    <a:gd name="T59" fmla="*/ 2147483647 h 114"/>
                    <a:gd name="T60" fmla="*/ 2147483647 w 87"/>
                    <a:gd name="T61" fmla="*/ 2147483647 h 114"/>
                    <a:gd name="T62" fmla="*/ 2147483647 w 87"/>
                    <a:gd name="T63" fmla="*/ 2147483647 h 114"/>
                    <a:gd name="T64" fmla="*/ 2147483647 w 87"/>
                    <a:gd name="T65" fmla="*/ 2147483647 h 114"/>
                    <a:gd name="T66" fmla="*/ 2147483647 w 87"/>
                    <a:gd name="T67" fmla="*/ 2147483647 h 114"/>
                    <a:gd name="T68" fmla="*/ 2147483647 w 87"/>
                    <a:gd name="T69" fmla="*/ 2147483647 h 114"/>
                    <a:gd name="T70" fmla="*/ 2147483647 w 87"/>
                    <a:gd name="T71" fmla="*/ 2147483647 h 114"/>
                    <a:gd name="T72" fmla="*/ 2147483647 w 87"/>
                    <a:gd name="T73" fmla="*/ 2147483647 h 114"/>
                    <a:gd name="T74" fmla="*/ 2147483647 w 87"/>
                    <a:gd name="T75" fmla="*/ 2147483647 h 114"/>
                    <a:gd name="T76" fmla="*/ 2147483647 w 87"/>
                    <a:gd name="T77" fmla="*/ 2147483647 h 114"/>
                    <a:gd name="T78" fmla="*/ 2147483647 w 87"/>
                    <a:gd name="T79" fmla="*/ 2147483647 h 114"/>
                    <a:gd name="T80" fmla="*/ 2147483647 w 87"/>
                    <a:gd name="T81" fmla="*/ 2147483647 h 114"/>
                    <a:gd name="T82" fmla="*/ 2147483647 w 87"/>
                    <a:gd name="T83" fmla="*/ 2147483647 h 114"/>
                    <a:gd name="T84" fmla="*/ 2147483647 w 87"/>
                    <a:gd name="T85" fmla="*/ 2147483647 h 114"/>
                    <a:gd name="T86" fmla="*/ 2147483647 w 87"/>
                    <a:gd name="T87" fmla="*/ 2147483647 h 114"/>
                    <a:gd name="T88" fmla="*/ 2147483647 w 87"/>
                    <a:gd name="T89" fmla="*/ 2147483647 h 1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
                    <a:gd name="T136" fmla="*/ 0 h 114"/>
                    <a:gd name="T137" fmla="*/ 87 w 87"/>
                    <a:gd name="T138" fmla="*/ 114 h 1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 h="114">
                      <a:moveTo>
                        <a:pt x="75" y="95"/>
                      </a:moveTo>
                      <a:lnTo>
                        <a:pt x="76" y="99"/>
                      </a:lnTo>
                      <a:lnTo>
                        <a:pt x="75" y="101"/>
                      </a:lnTo>
                      <a:lnTo>
                        <a:pt x="73" y="104"/>
                      </a:lnTo>
                      <a:lnTo>
                        <a:pt x="73" y="106"/>
                      </a:lnTo>
                      <a:lnTo>
                        <a:pt x="72" y="111"/>
                      </a:lnTo>
                      <a:lnTo>
                        <a:pt x="71" y="112"/>
                      </a:lnTo>
                      <a:lnTo>
                        <a:pt x="71" y="114"/>
                      </a:lnTo>
                      <a:lnTo>
                        <a:pt x="67" y="110"/>
                      </a:lnTo>
                      <a:lnTo>
                        <a:pt x="64" y="107"/>
                      </a:lnTo>
                      <a:lnTo>
                        <a:pt x="63" y="105"/>
                      </a:lnTo>
                      <a:lnTo>
                        <a:pt x="61" y="93"/>
                      </a:lnTo>
                      <a:lnTo>
                        <a:pt x="59" y="87"/>
                      </a:lnTo>
                      <a:lnTo>
                        <a:pt x="57" y="81"/>
                      </a:lnTo>
                      <a:lnTo>
                        <a:pt x="54" y="80"/>
                      </a:lnTo>
                      <a:lnTo>
                        <a:pt x="52" y="80"/>
                      </a:lnTo>
                      <a:lnTo>
                        <a:pt x="49" y="79"/>
                      </a:lnTo>
                      <a:lnTo>
                        <a:pt x="47" y="76"/>
                      </a:lnTo>
                      <a:lnTo>
                        <a:pt x="43" y="81"/>
                      </a:lnTo>
                      <a:lnTo>
                        <a:pt x="40" y="87"/>
                      </a:lnTo>
                      <a:lnTo>
                        <a:pt x="39" y="93"/>
                      </a:lnTo>
                      <a:lnTo>
                        <a:pt x="39" y="99"/>
                      </a:lnTo>
                      <a:lnTo>
                        <a:pt x="38" y="101"/>
                      </a:lnTo>
                      <a:lnTo>
                        <a:pt x="35" y="102"/>
                      </a:lnTo>
                      <a:lnTo>
                        <a:pt x="24" y="107"/>
                      </a:lnTo>
                      <a:lnTo>
                        <a:pt x="14" y="112"/>
                      </a:lnTo>
                      <a:lnTo>
                        <a:pt x="9" y="113"/>
                      </a:lnTo>
                      <a:lnTo>
                        <a:pt x="6" y="112"/>
                      </a:lnTo>
                      <a:lnTo>
                        <a:pt x="4" y="108"/>
                      </a:lnTo>
                      <a:lnTo>
                        <a:pt x="2" y="104"/>
                      </a:lnTo>
                      <a:lnTo>
                        <a:pt x="1" y="102"/>
                      </a:lnTo>
                      <a:lnTo>
                        <a:pt x="0" y="104"/>
                      </a:lnTo>
                      <a:lnTo>
                        <a:pt x="1" y="96"/>
                      </a:lnTo>
                      <a:lnTo>
                        <a:pt x="2" y="89"/>
                      </a:lnTo>
                      <a:lnTo>
                        <a:pt x="4" y="86"/>
                      </a:lnTo>
                      <a:lnTo>
                        <a:pt x="5" y="82"/>
                      </a:lnTo>
                      <a:lnTo>
                        <a:pt x="5" y="73"/>
                      </a:lnTo>
                      <a:lnTo>
                        <a:pt x="6" y="64"/>
                      </a:lnTo>
                      <a:lnTo>
                        <a:pt x="6" y="55"/>
                      </a:lnTo>
                      <a:lnTo>
                        <a:pt x="6" y="50"/>
                      </a:lnTo>
                      <a:lnTo>
                        <a:pt x="5" y="47"/>
                      </a:lnTo>
                      <a:lnTo>
                        <a:pt x="4" y="42"/>
                      </a:lnTo>
                      <a:lnTo>
                        <a:pt x="2" y="38"/>
                      </a:lnTo>
                      <a:lnTo>
                        <a:pt x="4" y="35"/>
                      </a:lnTo>
                      <a:lnTo>
                        <a:pt x="5" y="31"/>
                      </a:lnTo>
                      <a:lnTo>
                        <a:pt x="9" y="25"/>
                      </a:lnTo>
                      <a:lnTo>
                        <a:pt x="14" y="19"/>
                      </a:lnTo>
                      <a:lnTo>
                        <a:pt x="14" y="18"/>
                      </a:lnTo>
                      <a:lnTo>
                        <a:pt x="14" y="17"/>
                      </a:lnTo>
                      <a:lnTo>
                        <a:pt x="11" y="16"/>
                      </a:lnTo>
                      <a:lnTo>
                        <a:pt x="7" y="16"/>
                      </a:lnTo>
                      <a:lnTo>
                        <a:pt x="4" y="15"/>
                      </a:lnTo>
                      <a:lnTo>
                        <a:pt x="2" y="13"/>
                      </a:lnTo>
                      <a:lnTo>
                        <a:pt x="6" y="11"/>
                      </a:lnTo>
                      <a:lnTo>
                        <a:pt x="7" y="8"/>
                      </a:lnTo>
                      <a:lnTo>
                        <a:pt x="11" y="2"/>
                      </a:lnTo>
                      <a:lnTo>
                        <a:pt x="12" y="0"/>
                      </a:lnTo>
                      <a:lnTo>
                        <a:pt x="14" y="0"/>
                      </a:lnTo>
                      <a:lnTo>
                        <a:pt x="18" y="2"/>
                      </a:lnTo>
                      <a:lnTo>
                        <a:pt x="20" y="3"/>
                      </a:lnTo>
                      <a:lnTo>
                        <a:pt x="28" y="2"/>
                      </a:lnTo>
                      <a:lnTo>
                        <a:pt x="30" y="3"/>
                      </a:lnTo>
                      <a:lnTo>
                        <a:pt x="33" y="11"/>
                      </a:lnTo>
                      <a:lnTo>
                        <a:pt x="38" y="16"/>
                      </a:lnTo>
                      <a:lnTo>
                        <a:pt x="44" y="21"/>
                      </a:lnTo>
                      <a:lnTo>
                        <a:pt x="51" y="23"/>
                      </a:lnTo>
                      <a:lnTo>
                        <a:pt x="58" y="24"/>
                      </a:lnTo>
                      <a:lnTo>
                        <a:pt x="67" y="24"/>
                      </a:lnTo>
                      <a:lnTo>
                        <a:pt x="82" y="24"/>
                      </a:lnTo>
                      <a:lnTo>
                        <a:pt x="85" y="24"/>
                      </a:lnTo>
                      <a:lnTo>
                        <a:pt x="86" y="25"/>
                      </a:lnTo>
                      <a:lnTo>
                        <a:pt x="87" y="30"/>
                      </a:lnTo>
                      <a:lnTo>
                        <a:pt x="86" y="35"/>
                      </a:lnTo>
                      <a:lnTo>
                        <a:pt x="85" y="40"/>
                      </a:lnTo>
                      <a:lnTo>
                        <a:pt x="84" y="42"/>
                      </a:lnTo>
                      <a:lnTo>
                        <a:pt x="81" y="45"/>
                      </a:lnTo>
                      <a:lnTo>
                        <a:pt x="75" y="50"/>
                      </a:lnTo>
                      <a:lnTo>
                        <a:pt x="68" y="54"/>
                      </a:lnTo>
                      <a:lnTo>
                        <a:pt x="66" y="57"/>
                      </a:lnTo>
                      <a:lnTo>
                        <a:pt x="64" y="60"/>
                      </a:lnTo>
                      <a:lnTo>
                        <a:pt x="63" y="62"/>
                      </a:lnTo>
                      <a:lnTo>
                        <a:pt x="64" y="64"/>
                      </a:lnTo>
                      <a:lnTo>
                        <a:pt x="67" y="66"/>
                      </a:lnTo>
                      <a:lnTo>
                        <a:pt x="71" y="67"/>
                      </a:lnTo>
                      <a:lnTo>
                        <a:pt x="75" y="69"/>
                      </a:lnTo>
                      <a:lnTo>
                        <a:pt x="76" y="75"/>
                      </a:lnTo>
                      <a:lnTo>
                        <a:pt x="77" y="81"/>
                      </a:lnTo>
                      <a:lnTo>
                        <a:pt x="77" y="88"/>
                      </a:lnTo>
                      <a:lnTo>
                        <a:pt x="75" y="94"/>
                      </a:lnTo>
                      <a:lnTo>
                        <a:pt x="75" y="9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69" name="Freeform 623"/>
                <p:cNvSpPr>
                  <a:spLocks/>
                </p:cNvSpPr>
                <p:nvPr/>
              </p:nvSpPr>
              <p:spPr bwMode="auto">
                <a:xfrm>
                  <a:off x="6217942" y="3524740"/>
                  <a:ext cx="691100" cy="862766"/>
                </a:xfrm>
                <a:custGeom>
                  <a:avLst/>
                  <a:gdLst>
                    <a:gd name="T0" fmla="*/ 2147483647 w 506"/>
                    <a:gd name="T1" fmla="*/ 2147483647 h 583"/>
                    <a:gd name="T2" fmla="*/ 2147483647 w 506"/>
                    <a:gd name="T3" fmla="*/ 2147483647 h 583"/>
                    <a:gd name="T4" fmla="*/ 2147483647 w 506"/>
                    <a:gd name="T5" fmla="*/ 2147483647 h 583"/>
                    <a:gd name="T6" fmla="*/ 2147483647 w 506"/>
                    <a:gd name="T7" fmla="*/ 2147483647 h 583"/>
                    <a:gd name="T8" fmla="*/ 2147483647 w 506"/>
                    <a:gd name="T9" fmla="*/ 2147483647 h 583"/>
                    <a:gd name="T10" fmla="*/ 2147483647 w 506"/>
                    <a:gd name="T11" fmla="*/ 2147483647 h 583"/>
                    <a:gd name="T12" fmla="*/ 2147483647 w 506"/>
                    <a:gd name="T13" fmla="*/ 2147483647 h 583"/>
                    <a:gd name="T14" fmla="*/ 2147483647 w 506"/>
                    <a:gd name="T15" fmla="*/ 2147483647 h 583"/>
                    <a:gd name="T16" fmla="*/ 2147483647 w 506"/>
                    <a:gd name="T17" fmla="*/ 2147483647 h 583"/>
                    <a:gd name="T18" fmla="*/ 2147483647 w 506"/>
                    <a:gd name="T19" fmla="*/ 2147483647 h 583"/>
                    <a:gd name="T20" fmla="*/ 2147483647 w 506"/>
                    <a:gd name="T21" fmla="*/ 2147483647 h 583"/>
                    <a:gd name="T22" fmla="*/ 2147483647 w 506"/>
                    <a:gd name="T23" fmla="*/ 2147483647 h 583"/>
                    <a:gd name="T24" fmla="*/ 2147483647 w 506"/>
                    <a:gd name="T25" fmla="*/ 2147483647 h 583"/>
                    <a:gd name="T26" fmla="*/ 2147483647 w 506"/>
                    <a:gd name="T27" fmla="*/ 2147483647 h 583"/>
                    <a:gd name="T28" fmla="*/ 2147483647 w 506"/>
                    <a:gd name="T29" fmla="*/ 2147483647 h 583"/>
                    <a:gd name="T30" fmla="*/ 2147483647 w 506"/>
                    <a:gd name="T31" fmla="*/ 2147483647 h 583"/>
                    <a:gd name="T32" fmla="*/ 2147483647 w 506"/>
                    <a:gd name="T33" fmla="*/ 2147483647 h 583"/>
                    <a:gd name="T34" fmla="*/ 2147483647 w 506"/>
                    <a:gd name="T35" fmla="*/ 2147483647 h 583"/>
                    <a:gd name="T36" fmla="*/ 2147483647 w 506"/>
                    <a:gd name="T37" fmla="*/ 2147483647 h 583"/>
                    <a:gd name="T38" fmla="*/ 2147483647 w 506"/>
                    <a:gd name="T39" fmla="*/ 2147483647 h 583"/>
                    <a:gd name="T40" fmla="*/ 2147483647 w 506"/>
                    <a:gd name="T41" fmla="*/ 2147483647 h 583"/>
                    <a:gd name="T42" fmla="*/ 2147483647 w 506"/>
                    <a:gd name="T43" fmla="*/ 2147483647 h 583"/>
                    <a:gd name="T44" fmla="*/ 2147483647 w 506"/>
                    <a:gd name="T45" fmla="*/ 2147483647 h 583"/>
                    <a:gd name="T46" fmla="*/ 2147483647 w 506"/>
                    <a:gd name="T47" fmla="*/ 2147483647 h 583"/>
                    <a:gd name="T48" fmla="*/ 2147483647 w 506"/>
                    <a:gd name="T49" fmla="*/ 2147483647 h 583"/>
                    <a:gd name="T50" fmla="*/ 2147483647 w 506"/>
                    <a:gd name="T51" fmla="*/ 2147483647 h 583"/>
                    <a:gd name="T52" fmla="*/ 2147483647 w 506"/>
                    <a:gd name="T53" fmla="*/ 2147483647 h 583"/>
                    <a:gd name="T54" fmla="*/ 2147483647 w 506"/>
                    <a:gd name="T55" fmla="*/ 2147483647 h 583"/>
                    <a:gd name="T56" fmla="*/ 2147483647 w 506"/>
                    <a:gd name="T57" fmla="*/ 2147483647 h 583"/>
                    <a:gd name="T58" fmla="*/ 2147483647 w 506"/>
                    <a:gd name="T59" fmla="*/ 2147483647 h 583"/>
                    <a:gd name="T60" fmla="*/ 2147483647 w 506"/>
                    <a:gd name="T61" fmla="*/ 2147483647 h 583"/>
                    <a:gd name="T62" fmla="*/ 2147483647 w 506"/>
                    <a:gd name="T63" fmla="*/ 2147483647 h 583"/>
                    <a:gd name="T64" fmla="*/ 2147483647 w 506"/>
                    <a:gd name="T65" fmla="*/ 2147483647 h 583"/>
                    <a:gd name="T66" fmla="*/ 2147483647 w 506"/>
                    <a:gd name="T67" fmla="*/ 2147483647 h 583"/>
                    <a:gd name="T68" fmla="*/ 2147483647 w 506"/>
                    <a:gd name="T69" fmla="*/ 2147483647 h 583"/>
                    <a:gd name="T70" fmla="*/ 2147483647 w 506"/>
                    <a:gd name="T71" fmla="*/ 2147483647 h 583"/>
                    <a:gd name="T72" fmla="*/ 2147483647 w 506"/>
                    <a:gd name="T73" fmla="*/ 2147483647 h 583"/>
                    <a:gd name="T74" fmla="*/ 2147483647 w 506"/>
                    <a:gd name="T75" fmla="*/ 2147483647 h 583"/>
                    <a:gd name="T76" fmla="*/ 2147483647 w 506"/>
                    <a:gd name="T77" fmla="*/ 2147483647 h 583"/>
                    <a:gd name="T78" fmla="*/ 2147483647 w 506"/>
                    <a:gd name="T79" fmla="*/ 2147483647 h 583"/>
                    <a:gd name="T80" fmla="*/ 2147483647 w 506"/>
                    <a:gd name="T81" fmla="*/ 2147483647 h 583"/>
                    <a:gd name="T82" fmla="*/ 2147483647 w 506"/>
                    <a:gd name="T83" fmla="*/ 2147483647 h 583"/>
                    <a:gd name="T84" fmla="*/ 2147483647 w 506"/>
                    <a:gd name="T85" fmla="*/ 2147483647 h 583"/>
                    <a:gd name="T86" fmla="*/ 2147483647 w 506"/>
                    <a:gd name="T87" fmla="*/ 2147483647 h 583"/>
                    <a:gd name="T88" fmla="*/ 2147483647 w 506"/>
                    <a:gd name="T89" fmla="*/ 2147483647 h 583"/>
                    <a:gd name="T90" fmla="*/ 2147483647 w 506"/>
                    <a:gd name="T91" fmla="*/ 2147483647 h 583"/>
                    <a:gd name="T92" fmla="*/ 2147483647 w 506"/>
                    <a:gd name="T93" fmla="*/ 2147483647 h 583"/>
                    <a:gd name="T94" fmla="*/ 2147483647 w 506"/>
                    <a:gd name="T95" fmla="*/ 2147483647 h 583"/>
                    <a:gd name="T96" fmla="*/ 2147483647 w 506"/>
                    <a:gd name="T97" fmla="*/ 2147483647 h 583"/>
                    <a:gd name="T98" fmla="*/ 2147483647 w 506"/>
                    <a:gd name="T99" fmla="*/ 2147483647 h 583"/>
                    <a:gd name="T100" fmla="*/ 2147483647 w 506"/>
                    <a:gd name="T101" fmla="*/ 2147483647 h 583"/>
                    <a:gd name="T102" fmla="*/ 2147483647 w 506"/>
                    <a:gd name="T103" fmla="*/ 2147483647 h 583"/>
                    <a:gd name="T104" fmla="*/ 2147483647 w 506"/>
                    <a:gd name="T105" fmla="*/ 2147483647 h 583"/>
                    <a:gd name="T106" fmla="*/ 2147483647 w 506"/>
                    <a:gd name="T107" fmla="*/ 2147483647 h 583"/>
                    <a:gd name="T108" fmla="*/ 2147483647 w 506"/>
                    <a:gd name="T109" fmla="*/ 2147483647 h 583"/>
                    <a:gd name="T110" fmla="*/ 2147483647 w 506"/>
                    <a:gd name="T111" fmla="*/ 2147483647 h 583"/>
                    <a:gd name="T112" fmla="*/ 2147483647 w 506"/>
                    <a:gd name="T113" fmla="*/ 0 h 583"/>
                    <a:gd name="T114" fmla="*/ 2147483647 w 506"/>
                    <a:gd name="T115" fmla="*/ 2147483647 h 583"/>
                    <a:gd name="T116" fmla="*/ 2147483647 w 506"/>
                    <a:gd name="T117" fmla="*/ 2147483647 h 583"/>
                    <a:gd name="T118" fmla="*/ 2147483647 w 506"/>
                    <a:gd name="T119" fmla="*/ 2147483647 h 583"/>
                    <a:gd name="T120" fmla="*/ 2147483647 w 506"/>
                    <a:gd name="T121" fmla="*/ 2147483647 h 583"/>
                    <a:gd name="T122" fmla="*/ 2147483647 w 506"/>
                    <a:gd name="T123" fmla="*/ 2147483647 h 5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6"/>
                    <a:gd name="T187" fmla="*/ 0 h 583"/>
                    <a:gd name="T188" fmla="*/ 506 w 506"/>
                    <a:gd name="T189" fmla="*/ 583 h 5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6" h="583">
                      <a:moveTo>
                        <a:pt x="227" y="134"/>
                      </a:moveTo>
                      <a:lnTo>
                        <a:pt x="230" y="135"/>
                      </a:lnTo>
                      <a:lnTo>
                        <a:pt x="234" y="135"/>
                      </a:lnTo>
                      <a:lnTo>
                        <a:pt x="240" y="133"/>
                      </a:lnTo>
                      <a:lnTo>
                        <a:pt x="243" y="132"/>
                      </a:lnTo>
                      <a:lnTo>
                        <a:pt x="245" y="132"/>
                      </a:lnTo>
                      <a:lnTo>
                        <a:pt x="252" y="135"/>
                      </a:lnTo>
                      <a:lnTo>
                        <a:pt x="258" y="140"/>
                      </a:lnTo>
                      <a:lnTo>
                        <a:pt x="263" y="145"/>
                      </a:lnTo>
                      <a:lnTo>
                        <a:pt x="264" y="147"/>
                      </a:lnTo>
                      <a:lnTo>
                        <a:pt x="267" y="149"/>
                      </a:lnTo>
                      <a:lnTo>
                        <a:pt x="271" y="151"/>
                      </a:lnTo>
                      <a:lnTo>
                        <a:pt x="274" y="151"/>
                      </a:lnTo>
                      <a:lnTo>
                        <a:pt x="280" y="152"/>
                      </a:lnTo>
                      <a:lnTo>
                        <a:pt x="281" y="153"/>
                      </a:lnTo>
                      <a:lnTo>
                        <a:pt x="282" y="154"/>
                      </a:lnTo>
                      <a:lnTo>
                        <a:pt x="281" y="158"/>
                      </a:lnTo>
                      <a:lnTo>
                        <a:pt x="281" y="159"/>
                      </a:lnTo>
                      <a:lnTo>
                        <a:pt x="283" y="159"/>
                      </a:lnTo>
                      <a:lnTo>
                        <a:pt x="286" y="159"/>
                      </a:lnTo>
                      <a:lnTo>
                        <a:pt x="290" y="159"/>
                      </a:lnTo>
                      <a:lnTo>
                        <a:pt x="293" y="160"/>
                      </a:lnTo>
                      <a:lnTo>
                        <a:pt x="299" y="165"/>
                      </a:lnTo>
                      <a:lnTo>
                        <a:pt x="302" y="171"/>
                      </a:lnTo>
                      <a:lnTo>
                        <a:pt x="307" y="174"/>
                      </a:lnTo>
                      <a:lnTo>
                        <a:pt x="314" y="178"/>
                      </a:lnTo>
                      <a:lnTo>
                        <a:pt x="316" y="178"/>
                      </a:lnTo>
                      <a:lnTo>
                        <a:pt x="319" y="178"/>
                      </a:lnTo>
                      <a:lnTo>
                        <a:pt x="323" y="175"/>
                      </a:lnTo>
                      <a:lnTo>
                        <a:pt x="326" y="173"/>
                      </a:lnTo>
                      <a:lnTo>
                        <a:pt x="328" y="173"/>
                      </a:lnTo>
                      <a:lnTo>
                        <a:pt x="330" y="173"/>
                      </a:lnTo>
                      <a:lnTo>
                        <a:pt x="339" y="178"/>
                      </a:lnTo>
                      <a:lnTo>
                        <a:pt x="343" y="179"/>
                      </a:lnTo>
                      <a:lnTo>
                        <a:pt x="348" y="180"/>
                      </a:lnTo>
                      <a:lnTo>
                        <a:pt x="351" y="179"/>
                      </a:lnTo>
                      <a:lnTo>
                        <a:pt x="353" y="178"/>
                      </a:lnTo>
                      <a:lnTo>
                        <a:pt x="354" y="177"/>
                      </a:lnTo>
                      <a:lnTo>
                        <a:pt x="357" y="178"/>
                      </a:lnTo>
                      <a:lnTo>
                        <a:pt x="362" y="181"/>
                      </a:lnTo>
                      <a:lnTo>
                        <a:pt x="366" y="186"/>
                      </a:lnTo>
                      <a:lnTo>
                        <a:pt x="368" y="183"/>
                      </a:lnTo>
                      <a:lnTo>
                        <a:pt x="370" y="180"/>
                      </a:lnTo>
                      <a:lnTo>
                        <a:pt x="371" y="178"/>
                      </a:lnTo>
                      <a:lnTo>
                        <a:pt x="373" y="178"/>
                      </a:lnTo>
                      <a:lnTo>
                        <a:pt x="385" y="177"/>
                      </a:lnTo>
                      <a:lnTo>
                        <a:pt x="395" y="174"/>
                      </a:lnTo>
                      <a:lnTo>
                        <a:pt x="399" y="174"/>
                      </a:lnTo>
                      <a:lnTo>
                        <a:pt x="403" y="175"/>
                      </a:lnTo>
                      <a:lnTo>
                        <a:pt x="405" y="177"/>
                      </a:lnTo>
                      <a:lnTo>
                        <a:pt x="408" y="178"/>
                      </a:lnTo>
                      <a:lnTo>
                        <a:pt x="413" y="178"/>
                      </a:lnTo>
                      <a:lnTo>
                        <a:pt x="419" y="175"/>
                      </a:lnTo>
                      <a:lnTo>
                        <a:pt x="434" y="167"/>
                      </a:lnTo>
                      <a:lnTo>
                        <a:pt x="451" y="159"/>
                      </a:lnTo>
                      <a:lnTo>
                        <a:pt x="464" y="154"/>
                      </a:lnTo>
                      <a:lnTo>
                        <a:pt x="473" y="152"/>
                      </a:lnTo>
                      <a:lnTo>
                        <a:pt x="481" y="152"/>
                      </a:lnTo>
                      <a:lnTo>
                        <a:pt x="489" y="153"/>
                      </a:lnTo>
                      <a:lnTo>
                        <a:pt x="493" y="154"/>
                      </a:lnTo>
                      <a:lnTo>
                        <a:pt x="497" y="156"/>
                      </a:lnTo>
                      <a:lnTo>
                        <a:pt x="498" y="159"/>
                      </a:lnTo>
                      <a:lnTo>
                        <a:pt x="497" y="162"/>
                      </a:lnTo>
                      <a:lnTo>
                        <a:pt x="495" y="165"/>
                      </a:lnTo>
                      <a:lnTo>
                        <a:pt x="495" y="167"/>
                      </a:lnTo>
                      <a:lnTo>
                        <a:pt x="497" y="170"/>
                      </a:lnTo>
                      <a:lnTo>
                        <a:pt x="499" y="171"/>
                      </a:lnTo>
                      <a:lnTo>
                        <a:pt x="506" y="170"/>
                      </a:lnTo>
                      <a:lnTo>
                        <a:pt x="506" y="172"/>
                      </a:lnTo>
                      <a:lnTo>
                        <a:pt x="504" y="173"/>
                      </a:lnTo>
                      <a:lnTo>
                        <a:pt x="503" y="175"/>
                      </a:lnTo>
                      <a:lnTo>
                        <a:pt x="502" y="177"/>
                      </a:lnTo>
                      <a:lnTo>
                        <a:pt x="500" y="183"/>
                      </a:lnTo>
                      <a:lnTo>
                        <a:pt x="497" y="187"/>
                      </a:lnTo>
                      <a:lnTo>
                        <a:pt x="493" y="191"/>
                      </a:lnTo>
                      <a:lnTo>
                        <a:pt x="486" y="193"/>
                      </a:lnTo>
                      <a:lnTo>
                        <a:pt x="484" y="194"/>
                      </a:lnTo>
                      <a:lnTo>
                        <a:pt x="483" y="198"/>
                      </a:lnTo>
                      <a:lnTo>
                        <a:pt x="481" y="204"/>
                      </a:lnTo>
                      <a:lnTo>
                        <a:pt x="479" y="210"/>
                      </a:lnTo>
                      <a:lnTo>
                        <a:pt x="476" y="216"/>
                      </a:lnTo>
                      <a:lnTo>
                        <a:pt x="474" y="222"/>
                      </a:lnTo>
                      <a:lnTo>
                        <a:pt x="465" y="232"/>
                      </a:lnTo>
                      <a:lnTo>
                        <a:pt x="456" y="241"/>
                      </a:lnTo>
                      <a:lnTo>
                        <a:pt x="453" y="244"/>
                      </a:lnTo>
                      <a:lnTo>
                        <a:pt x="452" y="247"/>
                      </a:lnTo>
                      <a:lnTo>
                        <a:pt x="452" y="255"/>
                      </a:lnTo>
                      <a:lnTo>
                        <a:pt x="451" y="261"/>
                      </a:lnTo>
                      <a:lnTo>
                        <a:pt x="450" y="263"/>
                      </a:lnTo>
                      <a:lnTo>
                        <a:pt x="447" y="264"/>
                      </a:lnTo>
                      <a:lnTo>
                        <a:pt x="443" y="267"/>
                      </a:lnTo>
                      <a:lnTo>
                        <a:pt x="438" y="268"/>
                      </a:lnTo>
                      <a:lnTo>
                        <a:pt x="436" y="268"/>
                      </a:lnTo>
                      <a:lnTo>
                        <a:pt x="434" y="269"/>
                      </a:lnTo>
                      <a:lnTo>
                        <a:pt x="431" y="274"/>
                      </a:lnTo>
                      <a:lnTo>
                        <a:pt x="429" y="280"/>
                      </a:lnTo>
                      <a:lnTo>
                        <a:pt x="428" y="285"/>
                      </a:lnTo>
                      <a:lnTo>
                        <a:pt x="428" y="290"/>
                      </a:lnTo>
                      <a:lnTo>
                        <a:pt x="427" y="296"/>
                      </a:lnTo>
                      <a:lnTo>
                        <a:pt x="426" y="299"/>
                      </a:lnTo>
                      <a:lnTo>
                        <a:pt x="423" y="300"/>
                      </a:lnTo>
                      <a:lnTo>
                        <a:pt x="420" y="302"/>
                      </a:lnTo>
                      <a:lnTo>
                        <a:pt x="417" y="302"/>
                      </a:lnTo>
                      <a:lnTo>
                        <a:pt x="417" y="301"/>
                      </a:lnTo>
                      <a:lnTo>
                        <a:pt x="419" y="295"/>
                      </a:lnTo>
                      <a:lnTo>
                        <a:pt x="419" y="288"/>
                      </a:lnTo>
                      <a:lnTo>
                        <a:pt x="418" y="282"/>
                      </a:lnTo>
                      <a:lnTo>
                        <a:pt x="417" y="276"/>
                      </a:lnTo>
                      <a:lnTo>
                        <a:pt x="413" y="274"/>
                      </a:lnTo>
                      <a:lnTo>
                        <a:pt x="409" y="273"/>
                      </a:lnTo>
                      <a:lnTo>
                        <a:pt x="406" y="271"/>
                      </a:lnTo>
                      <a:lnTo>
                        <a:pt x="405" y="269"/>
                      </a:lnTo>
                      <a:lnTo>
                        <a:pt x="406" y="267"/>
                      </a:lnTo>
                      <a:lnTo>
                        <a:pt x="408" y="264"/>
                      </a:lnTo>
                      <a:lnTo>
                        <a:pt x="410" y="261"/>
                      </a:lnTo>
                      <a:lnTo>
                        <a:pt x="417" y="257"/>
                      </a:lnTo>
                      <a:lnTo>
                        <a:pt x="423" y="252"/>
                      </a:lnTo>
                      <a:lnTo>
                        <a:pt x="426" y="249"/>
                      </a:lnTo>
                      <a:lnTo>
                        <a:pt x="427" y="247"/>
                      </a:lnTo>
                      <a:lnTo>
                        <a:pt x="428" y="242"/>
                      </a:lnTo>
                      <a:lnTo>
                        <a:pt x="429" y="237"/>
                      </a:lnTo>
                      <a:lnTo>
                        <a:pt x="428" y="232"/>
                      </a:lnTo>
                      <a:lnTo>
                        <a:pt x="427" y="231"/>
                      </a:lnTo>
                      <a:lnTo>
                        <a:pt x="424" y="231"/>
                      </a:lnTo>
                      <a:lnTo>
                        <a:pt x="409" y="231"/>
                      </a:lnTo>
                      <a:lnTo>
                        <a:pt x="400" y="231"/>
                      </a:lnTo>
                      <a:lnTo>
                        <a:pt x="393" y="230"/>
                      </a:lnTo>
                      <a:lnTo>
                        <a:pt x="386" y="228"/>
                      </a:lnTo>
                      <a:lnTo>
                        <a:pt x="380" y="223"/>
                      </a:lnTo>
                      <a:lnTo>
                        <a:pt x="375" y="218"/>
                      </a:lnTo>
                      <a:lnTo>
                        <a:pt x="372" y="210"/>
                      </a:lnTo>
                      <a:lnTo>
                        <a:pt x="370" y="209"/>
                      </a:lnTo>
                      <a:lnTo>
                        <a:pt x="362" y="210"/>
                      </a:lnTo>
                      <a:lnTo>
                        <a:pt x="360" y="209"/>
                      </a:lnTo>
                      <a:lnTo>
                        <a:pt x="356" y="207"/>
                      </a:lnTo>
                      <a:lnTo>
                        <a:pt x="354" y="207"/>
                      </a:lnTo>
                      <a:lnTo>
                        <a:pt x="353" y="209"/>
                      </a:lnTo>
                      <a:lnTo>
                        <a:pt x="349" y="215"/>
                      </a:lnTo>
                      <a:lnTo>
                        <a:pt x="348" y="218"/>
                      </a:lnTo>
                      <a:lnTo>
                        <a:pt x="344" y="220"/>
                      </a:lnTo>
                      <a:lnTo>
                        <a:pt x="346" y="222"/>
                      </a:lnTo>
                      <a:lnTo>
                        <a:pt x="349" y="223"/>
                      </a:lnTo>
                      <a:lnTo>
                        <a:pt x="353" y="223"/>
                      </a:lnTo>
                      <a:lnTo>
                        <a:pt x="356" y="224"/>
                      </a:lnTo>
                      <a:lnTo>
                        <a:pt x="356" y="225"/>
                      </a:lnTo>
                      <a:lnTo>
                        <a:pt x="356" y="226"/>
                      </a:lnTo>
                      <a:lnTo>
                        <a:pt x="351" y="232"/>
                      </a:lnTo>
                      <a:lnTo>
                        <a:pt x="347" y="238"/>
                      </a:lnTo>
                      <a:lnTo>
                        <a:pt x="346" y="242"/>
                      </a:lnTo>
                      <a:lnTo>
                        <a:pt x="344" y="245"/>
                      </a:lnTo>
                      <a:lnTo>
                        <a:pt x="346" y="249"/>
                      </a:lnTo>
                      <a:lnTo>
                        <a:pt x="347" y="254"/>
                      </a:lnTo>
                      <a:lnTo>
                        <a:pt x="348" y="257"/>
                      </a:lnTo>
                      <a:lnTo>
                        <a:pt x="348" y="262"/>
                      </a:lnTo>
                      <a:lnTo>
                        <a:pt x="348" y="271"/>
                      </a:lnTo>
                      <a:lnTo>
                        <a:pt x="347" y="280"/>
                      </a:lnTo>
                      <a:lnTo>
                        <a:pt x="347" y="289"/>
                      </a:lnTo>
                      <a:lnTo>
                        <a:pt x="346" y="293"/>
                      </a:lnTo>
                      <a:lnTo>
                        <a:pt x="344" y="296"/>
                      </a:lnTo>
                      <a:lnTo>
                        <a:pt x="343" y="303"/>
                      </a:lnTo>
                      <a:lnTo>
                        <a:pt x="342" y="311"/>
                      </a:lnTo>
                      <a:lnTo>
                        <a:pt x="335" y="315"/>
                      </a:lnTo>
                      <a:lnTo>
                        <a:pt x="332" y="318"/>
                      </a:lnTo>
                      <a:lnTo>
                        <a:pt x="328" y="319"/>
                      </a:lnTo>
                      <a:lnTo>
                        <a:pt x="326" y="320"/>
                      </a:lnTo>
                      <a:lnTo>
                        <a:pt x="325" y="321"/>
                      </a:lnTo>
                      <a:lnTo>
                        <a:pt x="324" y="324"/>
                      </a:lnTo>
                      <a:lnTo>
                        <a:pt x="324" y="326"/>
                      </a:lnTo>
                      <a:lnTo>
                        <a:pt x="323" y="332"/>
                      </a:lnTo>
                      <a:lnTo>
                        <a:pt x="320" y="339"/>
                      </a:lnTo>
                      <a:lnTo>
                        <a:pt x="318" y="345"/>
                      </a:lnTo>
                      <a:lnTo>
                        <a:pt x="313" y="349"/>
                      </a:lnTo>
                      <a:lnTo>
                        <a:pt x="309" y="352"/>
                      </a:lnTo>
                      <a:lnTo>
                        <a:pt x="304" y="354"/>
                      </a:lnTo>
                      <a:lnTo>
                        <a:pt x="300" y="357"/>
                      </a:lnTo>
                      <a:lnTo>
                        <a:pt x="291" y="369"/>
                      </a:lnTo>
                      <a:lnTo>
                        <a:pt x="281" y="379"/>
                      </a:lnTo>
                      <a:lnTo>
                        <a:pt x="271" y="390"/>
                      </a:lnTo>
                      <a:lnTo>
                        <a:pt x="264" y="394"/>
                      </a:lnTo>
                      <a:lnTo>
                        <a:pt x="258" y="397"/>
                      </a:lnTo>
                      <a:lnTo>
                        <a:pt x="254" y="401"/>
                      </a:lnTo>
                      <a:lnTo>
                        <a:pt x="253" y="404"/>
                      </a:lnTo>
                      <a:lnTo>
                        <a:pt x="253" y="409"/>
                      </a:lnTo>
                      <a:lnTo>
                        <a:pt x="255" y="413"/>
                      </a:lnTo>
                      <a:lnTo>
                        <a:pt x="257" y="415"/>
                      </a:lnTo>
                      <a:lnTo>
                        <a:pt x="257" y="417"/>
                      </a:lnTo>
                      <a:lnTo>
                        <a:pt x="255" y="418"/>
                      </a:lnTo>
                      <a:lnTo>
                        <a:pt x="254" y="420"/>
                      </a:lnTo>
                      <a:lnTo>
                        <a:pt x="241" y="427"/>
                      </a:lnTo>
                      <a:lnTo>
                        <a:pt x="229" y="434"/>
                      </a:lnTo>
                      <a:lnTo>
                        <a:pt x="226" y="435"/>
                      </a:lnTo>
                      <a:lnTo>
                        <a:pt x="222" y="436"/>
                      </a:lnTo>
                      <a:lnTo>
                        <a:pt x="219" y="437"/>
                      </a:lnTo>
                      <a:lnTo>
                        <a:pt x="216" y="440"/>
                      </a:lnTo>
                      <a:lnTo>
                        <a:pt x="215" y="442"/>
                      </a:lnTo>
                      <a:lnTo>
                        <a:pt x="215" y="443"/>
                      </a:lnTo>
                      <a:lnTo>
                        <a:pt x="216" y="447"/>
                      </a:lnTo>
                      <a:lnTo>
                        <a:pt x="215" y="453"/>
                      </a:lnTo>
                      <a:lnTo>
                        <a:pt x="213" y="459"/>
                      </a:lnTo>
                      <a:lnTo>
                        <a:pt x="212" y="465"/>
                      </a:lnTo>
                      <a:lnTo>
                        <a:pt x="213" y="471"/>
                      </a:lnTo>
                      <a:lnTo>
                        <a:pt x="212" y="472"/>
                      </a:lnTo>
                      <a:lnTo>
                        <a:pt x="211" y="473"/>
                      </a:lnTo>
                      <a:lnTo>
                        <a:pt x="212" y="477"/>
                      </a:lnTo>
                      <a:lnTo>
                        <a:pt x="213" y="480"/>
                      </a:lnTo>
                      <a:lnTo>
                        <a:pt x="215" y="484"/>
                      </a:lnTo>
                      <a:lnTo>
                        <a:pt x="215" y="487"/>
                      </a:lnTo>
                      <a:lnTo>
                        <a:pt x="213" y="493"/>
                      </a:lnTo>
                      <a:lnTo>
                        <a:pt x="210" y="499"/>
                      </a:lnTo>
                      <a:lnTo>
                        <a:pt x="205" y="512"/>
                      </a:lnTo>
                      <a:lnTo>
                        <a:pt x="203" y="518"/>
                      </a:lnTo>
                      <a:lnTo>
                        <a:pt x="202" y="524"/>
                      </a:lnTo>
                      <a:lnTo>
                        <a:pt x="203" y="530"/>
                      </a:lnTo>
                      <a:lnTo>
                        <a:pt x="206" y="537"/>
                      </a:lnTo>
                      <a:lnTo>
                        <a:pt x="206" y="538"/>
                      </a:lnTo>
                      <a:lnTo>
                        <a:pt x="206" y="539"/>
                      </a:lnTo>
                      <a:lnTo>
                        <a:pt x="202" y="541"/>
                      </a:lnTo>
                      <a:lnTo>
                        <a:pt x="198" y="542"/>
                      </a:lnTo>
                      <a:lnTo>
                        <a:pt x="194" y="543"/>
                      </a:lnTo>
                      <a:lnTo>
                        <a:pt x="193" y="545"/>
                      </a:lnTo>
                      <a:lnTo>
                        <a:pt x="192" y="549"/>
                      </a:lnTo>
                      <a:lnTo>
                        <a:pt x="191" y="555"/>
                      </a:lnTo>
                      <a:lnTo>
                        <a:pt x="188" y="562"/>
                      </a:lnTo>
                      <a:lnTo>
                        <a:pt x="187" y="563"/>
                      </a:lnTo>
                      <a:lnTo>
                        <a:pt x="184" y="563"/>
                      </a:lnTo>
                      <a:lnTo>
                        <a:pt x="182" y="563"/>
                      </a:lnTo>
                      <a:lnTo>
                        <a:pt x="179" y="565"/>
                      </a:lnTo>
                      <a:lnTo>
                        <a:pt x="177" y="569"/>
                      </a:lnTo>
                      <a:lnTo>
                        <a:pt x="174" y="574"/>
                      </a:lnTo>
                      <a:lnTo>
                        <a:pt x="172" y="579"/>
                      </a:lnTo>
                      <a:lnTo>
                        <a:pt x="166" y="582"/>
                      </a:lnTo>
                      <a:lnTo>
                        <a:pt x="163" y="583"/>
                      </a:lnTo>
                      <a:lnTo>
                        <a:pt x="160" y="582"/>
                      </a:lnTo>
                      <a:lnTo>
                        <a:pt x="156" y="580"/>
                      </a:lnTo>
                      <a:lnTo>
                        <a:pt x="154" y="577"/>
                      </a:lnTo>
                      <a:lnTo>
                        <a:pt x="151" y="573"/>
                      </a:lnTo>
                      <a:lnTo>
                        <a:pt x="149" y="567"/>
                      </a:lnTo>
                      <a:lnTo>
                        <a:pt x="146" y="562"/>
                      </a:lnTo>
                      <a:lnTo>
                        <a:pt x="144" y="557"/>
                      </a:lnTo>
                      <a:lnTo>
                        <a:pt x="144" y="552"/>
                      </a:lnTo>
                      <a:lnTo>
                        <a:pt x="144" y="548"/>
                      </a:lnTo>
                      <a:lnTo>
                        <a:pt x="142" y="542"/>
                      </a:lnTo>
                      <a:lnTo>
                        <a:pt x="141" y="537"/>
                      </a:lnTo>
                      <a:lnTo>
                        <a:pt x="127" y="505"/>
                      </a:lnTo>
                      <a:lnTo>
                        <a:pt x="121" y="488"/>
                      </a:lnTo>
                      <a:lnTo>
                        <a:pt x="114" y="471"/>
                      </a:lnTo>
                      <a:lnTo>
                        <a:pt x="112" y="462"/>
                      </a:lnTo>
                      <a:lnTo>
                        <a:pt x="107" y="455"/>
                      </a:lnTo>
                      <a:lnTo>
                        <a:pt x="104" y="450"/>
                      </a:lnTo>
                      <a:lnTo>
                        <a:pt x="102" y="446"/>
                      </a:lnTo>
                      <a:lnTo>
                        <a:pt x="99" y="434"/>
                      </a:lnTo>
                      <a:lnTo>
                        <a:pt x="98" y="423"/>
                      </a:lnTo>
                      <a:lnTo>
                        <a:pt x="97" y="411"/>
                      </a:lnTo>
                      <a:lnTo>
                        <a:pt x="94" y="405"/>
                      </a:lnTo>
                      <a:lnTo>
                        <a:pt x="92" y="400"/>
                      </a:lnTo>
                      <a:lnTo>
                        <a:pt x="92" y="397"/>
                      </a:lnTo>
                      <a:lnTo>
                        <a:pt x="92" y="392"/>
                      </a:lnTo>
                      <a:lnTo>
                        <a:pt x="85" y="376"/>
                      </a:lnTo>
                      <a:lnTo>
                        <a:pt x="83" y="359"/>
                      </a:lnTo>
                      <a:lnTo>
                        <a:pt x="83" y="351"/>
                      </a:lnTo>
                      <a:lnTo>
                        <a:pt x="83" y="343"/>
                      </a:lnTo>
                      <a:lnTo>
                        <a:pt x="84" y="334"/>
                      </a:lnTo>
                      <a:lnTo>
                        <a:pt x="86" y="326"/>
                      </a:lnTo>
                      <a:lnTo>
                        <a:pt x="86" y="322"/>
                      </a:lnTo>
                      <a:lnTo>
                        <a:pt x="85" y="320"/>
                      </a:lnTo>
                      <a:lnTo>
                        <a:pt x="80" y="315"/>
                      </a:lnTo>
                      <a:lnTo>
                        <a:pt x="80" y="313"/>
                      </a:lnTo>
                      <a:lnTo>
                        <a:pt x="80" y="311"/>
                      </a:lnTo>
                      <a:lnTo>
                        <a:pt x="83" y="303"/>
                      </a:lnTo>
                      <a:lnTo>
                        <a:pt x="84" y="300"/>
                      </a:lnTo>
                      <a:lnTo>
                        <a:pt x="84" y="296"/>
                      </a:lnTo>
                      <a:lnTo>
                        <a:pt x="81" y="298"/>
                      </a:lnTo>
                      <a:lnTo>
                        <a:pt x="80" y="299"/>
                      </a:lnTo>
                      <a:lnTo>
                        <a:pt x="78" y="308"/>
                      </a:lnTo>
                      <a:lnTo>
                        <a:pt x="73" y="318"/>
                      </a:lnTo>
                      <a:lnTo>
                        <a:pt x="69" y="321"/>
                      </a:lnTo>
                      <a:lnTo>
                        <a:pt x="66" y="324"/>
                      </a:lnTo>
                      <a:lnTo>
                        <a:pt x="61" y="326"/>
                      </a:lnTo>
                      <a:lnTo>
                        <a:pt x="56" y="327"/>
                      </a:lnTo>
                      <a:lnTo>
                        <a:pt x="47" y="327"/>
                      </a:lnTo>
                      <a:lnTo>
                        <a:pt x="41" y="326"/>
                      </a:lnTo>
                      <a:lnTo>
                        <a:pt x="37" y="325"/>
                      </a:lnTo>
                      <a:lnTo>
                        <a:pt x="34" y="321"/>
                      </a:lnTo>
                      <a:lnTo>
                        <a:pt x="32" y="319"/>
                      </a:lnTo>
                      <a:lnTo>
                        <a:pt x="31" y="314"/>
                      </a:lnTo>
                      <a:lnTo>
                        <a:pt x="29" y="313"/>
                      </a:lnTo>
                      <a:lnTo>
                        <a:pt x="27" y="313"/>
                      </a:lnTo>
                      <a:lnTo>
                        <a:pt x="26" y="311"/>
                      </a:lnTo>
                      <a:lnTo>
                        <a:pt x="23" y="308"/>
                      </a:lnTo>
                      <a:lnTo>
                        <a:pt x="22" y="306"/>
                      </a:lnTo>
                      <a:lnTo>
                        <a:pt x="22" y="303"/>
                      </a:lnTo>
                      <a:lnTo>
                        <a:pt x="23" y="300"/>
                      </a:lnTo>
                      <a:lnTo>
                        <a:pt x="26" y="299"/>
                      </a:lnTo>
                      <a:lnTo>
                        <a:pt x="29" y="298"/>
                      </a:lnTo>
                      <a:lnTo>
                        <a:pt x="34" y="298"/>
                      </a:lnTo>
                      <a:lnTo>
                        <a:pt x="38" y="295"/>
                      </a:lnTo>
                      <a:lnTo>
                        <a:pt x="46" y="293"/>
                      </a:lnTo>
                      <a:lnTo>
                        <a:pt x="48" y="290"/>
                      </a:lnTo>
                      <a:lnTo>
                        <a:pt x="51" y="287"/>
                      </a:lnTo>
                      <a:lnTo>
                        <a:pt x="48" y="287"/>
                      </a:lnTo>
                      <a:lnTo>
                        <a:pt x="46" y="286"/>
                      </a:lnTo>
                      <a:lnTo>
                        <a:pt x="41" y="287"/>
                      </a:lnTo>
                      <a:lnTo>
                        <a:pt x="34" y="288"/>
                      </a:lnTo>
                      <a:lnTo>
                        <a:pt x="28" y="289"/>
                      </a:lnTo>
                      <a:lnTo>
                        <a:pt x="26" y="288"/>
                      </a:lnTo>
                      <a:lnTo>
                        <a:pt x="22" y="286"/>
                      </a:lnTo>
                      <a:lnTo>
                        <a:pt x="18" y="283"/>
                      </a:lnTo>
                      <a:lnTo>
                        <a:pt x="15" y="282"/>
                      </a:lnTo>
                      <a:lnTo>
                        <a:pt x="9" y="282"/>
                      </a:lnTo>
                      <a:lnTo>
                        <a:pt x="4" y="282"/>
                      </a:lnTo>
                      <a:lnTo>
                        <a:pt x="1" y="281"/>
                      </a:lnTo>
                      <a:lnTo>
                        <a:pt x="0" y="279"/>
                      </a:lnTo>
                      <a:lnTo>
                        <a:pt x="5" y="276"/>
                      </a:lnTo>
                      <a:lnTo>
                        <a:pt x="10" y="274"/>
                      </a:lnTo>
                      <a:lnTo>
                        <a:pt x="15" y="270"/>
                      </a:lnTo>
                      <a:lnTo>
                        <a:pt x="18" y="266"/>
                      </a:lnTo>
                      <a:lnTo>
                        <a:pt x="19" y="262"/>
                      </a:lnTo>
                      <a:lnTo>
                        <a:pt x="20" y="260"/>
                      </a:lnTo>
                      <a:lnTo>
                        <a:pt x="23" y="257"/>
                      </a:lnTo>
                      <a:lnTo>
                        <a:pt x="26" y="256"/>
                      </a:lnTo>
                      <a:lnTo>
                        <a:pt x="32" y="256"/>
                      </a:lnTo>
                      <a:lnTo>
                        <a:pt x="40" y="257"/>
                      </a:lnTo>
                      <a:lnTo>
                        <a:pt x="53" y="258"/>
                      </a:lnTo>
                      <a:lnTo>
                        <a:pt x="55" y="251"/>
                      </a:lnTo>
                      <a:lnTo>
                        <a:pt x="57" y="245"/>
                      </a:lnTo>
                      <a:lnTo>
                        <a:pt x="57" y="238"/>
                      </a:lnTo>
                      <a:lnTo>
                        <a:pt x="56" y="236"/>
                      </a:lnTo>
                      <a:lnTo>
                        <a:pt x="53" y="234"/>
                      </a:lnTo>
                      <a:lnTo>
                        <a:pt x="48" y="229"/>
                      </a:lnTo>
                      <a:lnTo>
                        <a:pt x="47" y="226"/>
                      </a:lnTo>
                      <a:lnTo>
                        <a:pt x="45" y="224"/>
                      </a:lnTo>
                      <a:lnTo>
                        <a:pt x="45" y="218"/>
                      </a:lnTo>
                      <a:lnTo>
                        <a:pt x="43" y="215"/>
                      </a:lnTo>
                      <a:lnTo>
                        <a:pt x="42" y="212"/>
                      </a:lnTo>
                      <a:lnTo>
                        <a:pt x="41" y="210"/>
                      </a:lnTo>
                      <a:lnTo>
                        <a:pt x="38" y="209"/>
                      </a:lnTo>
                      <a:lnTo>
                        <a:pt x="36" y="207"/>
                      </a:lnTo>
                      <a:lnTo>
                        <a:pt x="33" y="206"/>
                      </a:lnTo>
                      <a:lnTo>
                        <a:pt x="33" y="204"/>
                      </a:lnTo>
                      <a:lnTo>
                        <a:pt x="33" y="203"/>
                      </a:lnTo>
                      <a:lnTo>
                        <a:pt x="36" y="200"/>
                      </a:lnTo>
                      <a:lnTo>
                        <a:pt x="38" y="198"/>
                      </a:lnTo>
                      <a:lnTo>
                        <a:pt x="41" y="196"/>
                      </a:lnTo>
                      <a:lnTo>
                        <a:pt x="45" y="192"/>
                      </a:lnTo>
                      <a:lnTo>
                        <a:pt x="47" y="188"/>
                      </a:lnTo>
                      <a:lnTo>
                        <a:pt x="51" y="187"/>
                      </a:lnTo>
                      <a:lnTo>
                        <a:pt x="55" y="187"/>
                      </a:lnTo>
                      <a:lnTo>
                        <a:pt x="60" y="188"/>
                      </a:lnTo>
                      <a:lnTo>
                        <a:pt x="65" y="187"/>
                      </a:lnTo>
                      <a:lnTo>
                        <a:pt x="67" y="186"/>
                      </a:lnTo>
                      <a:lnTo>
                        <a:pt x="70" y="183"/>
                      </a:lnTo>
                      <a:lnTo>
                        <a:pt x="76" y="173"/>
                      </a:lnTo>
                      <a:lnTo>
                        <a:pt x="83" y="166"/>
                      </a:lnTo>
                      <a:lnTo>
                        <a:pt x="90" y="158"/>
                      </a:lnTo>
                      <a:lnTo>
                        <a:pt x="95" y="149"/>
                      </a:lnTo>
                      <a:lnTo>
                        <a:pt x="102" y="139"/>
                      </a:lnTo>
                      <a:lnTo>
                        <a:pt x="109" y="128"/>
                      </a:lnTo>
                      <a:lnTo>
                        <a:pt x="113" y="124"/>
                      </a:lnTo>
                      <a:lnTo>
                        <a:pt x="116" y="121"/>
                      </a:lnTo>
                      <a:lnTo>
                        <a:pt x="118" y="117"/>
                      </a:lnTo>
                      <a:lnTo>
                        <a:pt x="117" y="113"/>
                      </a:lnTo>
                      <a:lnTo>
                        <a:pt x="116" y="109"/>
                      </a:lnTo>
                      <a:lnTo>
                        <a:pt x="116" y="105"/>
                      </a:lnTo>
                      <a:lnTo>
                        <a:pt x="117" y="102"/>
                      </a:lnTo>
                      <a:lnTo>
                        <a:pt x="120" y="98"/>
                      </a:lnTo>
                      <a:lnTo>
                        <a:pt x="120" y="96"/>
                      </a:lnTo>
                      <a:lnTo>
                        <a:pt x="120" y="94"/>
                      </a:lnTo>
                      <a:lnTo>
                        <a:pt x="114" y="89"/>
                      </a:lnTo>
                      <a:lnTo>
                        <a:pt x="114" y="87"/>
                      </a:lnTo>
                      <a:lnTo>
                        <a:pt x="114" y="83"/>
                      </a:lnTo>
                      <a:lnTo>
                        <a:pt x="117" y="77"/>
                      </a:lnTo>
                      <a:lnTo>
                        <a:pt x="117" y="71"/>
                      </a:lnTo>
                      <a:lnTo>
                        <a:pt x="117" y="65"/>
                      </a:lnTo>
                      <a:lnTo>
                        <a:pt x="114" y="58"/>
                      </a:lnTo>
                      <a:lnTo>
                        <a:pt x="113" y="57"/>
                      </a:lnTo>
                      <a:lnTo>
                        <a:pt x="113" y="55"/>
                      </a:lnTo>
                      <a:lnTo>
                        <a:pt x="114" y="50"/>
                      </a:lnTo>
                      <a:lnTo>
                        <a:pt x="118" y="45"/>
                      </a:lnTo>
                      <a:lnTo>
                        <a:pt x="122" y="41"/>
                      </a:lnTo>
                      <a:lnTo>
                        <a:pt x="125" y="40"/>
                      </a:lnTo>
                      <a:lnTo>
                        <a:pt x="127" y="40"/>
                      </a:lnTo>
                      <a:lnTo>
                        <a:pt x="133" y="41"/>
                      </a:lnTo>
                      <a:lnTo>
                        <a:pt x="139" y="45"/>
                      </a:lnTo>
                      <a:lnTo>
                        <a:pt x="142" y="49"/>
                      </a:lnTo>
                      <a:lnTo>
                        <a:pt x="147" y="51"/>
                      </a:lnTo>
                      <a:lnTo>
                        <a:pt x="153" y="52"/>
                      </a:lnTo>
                      <a:lnTo>
                        <a:pt x="158" y="51"/>
                      </a:lnTo>
                      <a:lnTo>
                        <a:pt x="161" y="49"/>
                      </a:lnTo>
                      <a:lnTo>
                        <a:pt x="168" y="40"/>
                      </a:lnTo>
                      <a:lnTo>
                        <a:pt x="170" y="36"/>
                      </a:lnTo>
                      <a:lnTo>
                        <a:pt x="172" y="31"/>
                      </a:lnTo>
                      <a:lnTo>
                        <a:pt x="173" y="26"/>
                      </a:lnTo>
                      <a:lnTo>
                        <a:pt x="173" y="21"/>
                      </a:lnTo>
                      <a:lnTo>
                        <a:pt x="170" y="18"/>
                      </a:lnTo>
                      <a:lnTo>
                        <a:pt x="166" y="14"/>
                      </a:lnTo>
                      <a:lnTo>
                        <a:pt x="160" y="11"/>
                      </a:lnTo>
                      <a:lnTo>
                        <a:pt x="156" y="7"/>
                      </a:lnTo>
                      <a:lnTo>
                        <a:pt x="154" y="4"/>
                      </a:lnTo>
                      <a:lnTo>
                        <a:pt x="151" y="0"/>
                      </a:lnTo>
                      <a:lnTo>
                        <a:pt x="163" y="5"/>
                      </a:lnTo>
                      <a:lnTo>
                        <a:pt x="174" y="7"/>
                      </a:lnTo>
                      <a:lnTo>
                        <a:pt x="198" y="9"/>
                      </a:lnTo>
                      <a:lnTo>
                        <a:pt x="207" y="9"/>
                      </a:lnTo>
                      <a:lnTo>
                        <a:pt x="210" y="12"/>
                      </a:lnTo>
                      <a:lnTo>
                        <a:pt x="212" y="14"/>
                      </a:lnTo>
                      <a:lnTo>
                        <a:pt x="213" y="19"/>
                      </a:lnTo>
                      <a:lnTo>
                        <a:pt x="213" y="24"/>
                      </a:lnTo>
                      <a:lnTo>
                        <a:pt x="211" y="27"/>
                      </a:lnTo>
                      <a:lnTo>
                        <a:pt x="208" y="32"/>
                      </a:lnTo>
                      <a:lnTo>
                        <a:pt x="202" y="39"/>
                      </a:lnTo>
                      <a:lnTo>
                        <a:pt x="196" y="47"/>
                      </a:lnTo>
                      <a:lnTo>
                        <a:pt x="194" y="52"/>
                      </a:lnTo>
                      <a:lnTo>
                        <a:pt x="194" y="55"/>
                      </a:lnTo>
                      <a:lnTo>
                        <a:pt x="196" y="57"/>
                      </a:lnTo>
                      <a:lnTo>
                        <a:pt x="201" y="64"/>
                      </a:lnTo>
                      <a:lnTo>
                        <a:pt x="203" y="70"/>
                      </a:lnTo>
                      <a:lnTo>
                        <a:pt x="203" y="77"/>
                      </a:lnTo>
                      <a:lnTo>
                        <a:pt x="202" y="84"/>
                      </a:lnTo>
                      <a:lnTo>
                        <a:pt x="201" y="88"/>
                      </a:lnTo>
                      <a:lnTo>
                        <a:pt x="198" y="90"/>
                      </a:lnTo>
                      <a:lnTo>
                        <a:pt x="194" y="92"/>
                      </a:lnTo>
                      <a:lnTo>
                        <a:pt x="192" y="96"/>
                      </a:lnTo>
                      <a:lnTo>
                        <a:pt x="191" y="100"/>
                      </a:lnTo>
                      <a:lnTo>
                        <a:pt x="189" y="103"/>
                      </a:lnTo>
                      <a:lnTo>
                        <a:pt x="191" y="109"/>
                      </a:lnTo>
                      <a:lnTo>
                        <a:pt x="192" y="113"/>
                      </a:lnTo>
                      <a:lnTo>
                        <a:pt x="193" y="115"/>
                      </a:lnTo>
                      <a:lnTo>
                        <a:pt x="196" y="116"/>
                      </a:lnTo>
                      <a:lnTo>
                        <a:pt x="200" y="117"/>
                      </a:lnTo>
                      <a:lnTo>
                        <a:pt x="208" y="120"/>
                      </a:lnTo>
                      <a:lnTo>
                        <a:pt x="216" y="122"/>
                      </a:lnTo>
                      <a:lnTo>
                        <a:pt x="219" y="124"/>
                      </a:lnTo>
                      <a:lnTo>
                        <a:pt x="221" y="128"/>
                      </a:lnTo>
                      <a:lnTo>
                        <a:pt x="224" y="132"/>
                      </a:lnTo>
                      <a:lnTo>
                        <a:pt x="227" y="13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0" name="Freeform 624"/>
                <p:cNvSpPr>
                  <a:spLocks/>
                </p:cNvSpPr>
                <p:nvPr/>
              </p:nvSpPr>
              <p:spPr bwMode="auto">
                <a:xfrm>
                  <a:off x="6682626" y="3829592"/>
                  <a:ext cx="119869" cy="168705"/>
                </a:xfrm>
                <a:custGeom>
                  <a:avLst/>
                  <a:gdLst>
                    <a:gd name="T0" fmla="*/ 2147483647 w 88"/>
                    <a:gd name="T1" fmla="*/ 2147483647 h 114"/>
                    <a:gd name="T2" fmla="*/ 2147483647 w 88"/>
                    <a:gd name="T3" fmla="*/ 2147483647 h 114"/>
                    <a:gd name="T4" fmla="*/ 2147483647 w 88"/>
                    <a:gd name="T5" fmla="*/ 2147483647 h 114"/>
                    <a:gd name="T6" fmla="*/ 2147483647 w 88"/>
                    <a:gd name="T7" fmla="*/ 2147483647 h 114"/>
                    <a:gd name="T8" fmla="*/ 2147483647 w 88"/>
                    <a:gd name="T9" fmla="*/ 2147483647 h 114"/>
                    <a:gd name="T10" fmla="*/ 2147483647 w 88"/>
                    <a:gd name="T11" fmla="*/ 2147483647 h 114"/>
                    <a:gd name="T12" fmla="*/ 2147483647 w 88"/>
                    <a:gd name="T13" fmla="*/ 2147483647 h 114"/>
                    <a:gd name="T14" fmla="*/ 2147483647 w 88"/>
                    <a:gd name="T15" fmla="*/ 2147483647 h 114"/>
                    <a:gd name="T16" fmla="*/ 2147483647 w 88"/>
                    <a:gd name="T17" fmla="*/ 2147483647 h 114"/>
                    <a:gd name="T18" fmla="*/ 2147483647 w 88"/>
                    <a:gd name="T19" fmla="*/ 2147483647 h 114"/>
                    <a:gd name="T20" fmla="*/ 2147483647 w 88"/>
                    <a:gd name="T21" fmla="*/ 2147483647 h 114"/>
                    <a:gd name="T22" fmla="*/ 2147483647 w 88"/>
                    <a:gd name="T23" fmla="*/ 2147483647 h 114"/>
                    <a:gd name="T24" fmla="*/ 2147483647 w 88"/>
                    <a:gd name="T25" fmla="*/ 2147483647 h 114"/>
                    <a:gd name="T26" fmla="*/ 2147483647 w 88"/>
                    <a:gd name="T27" fmla="*/ 2147483647 h 114"/>
                    <a:gd name="T28" fmla="*/ 2147483647 w 88"/>
                    <a:gd name="T29" fmla="*/ 2147483647 h 114"/>
                    <a:gd name="T30" fmla="*/ 2147483647 w 88"/>
                    <a:gd name="T31" fmla="*/ 2147483647 h 114"/>
                    <a:gd name="T32" fmla="*/ 2147483647 w 88"/>
                    <a:gd name="T33" fmla="*/ 2147483647 h 114"/>
                    <a:gd name="T34" fmla="*/ 2147483647 w 88"/>
                    <a:gd name="T35" fmla="*/ 2147483647 h 114"/>
                    <a:gd name="T36" fmla="*/ 2147483647 w 88"/>
                    <a:gd name="T37" fmla="*/ 2147483647 h 114"/>
                    <a:gd name="T38" fmla="*/ 2147483647 w 88"/>
                    <a:gd name="T39" fmla="*/ 2147483647 h 114"/>
                    <a:gd name="T40" fmla="*/ 2147483647 w 88"/>
                    <a:gd name="T41" fmla="*/ 2147483647 h 114"/>
                    <a:gd name="T42" fmla="*/ 0 w 88"/>
                    <a:gd name="T43" fmla="*/ 2147483647 h 114"/>
                    <a:gd name="T44" fmla="*/ 2147483647 w 88"/>
                    <a:gd name="T45" fmla="*/ 2147483647 h 114"/>
                    <a:gd name="T46" fmla="*/ 2147483647 w 88"/>
                    <a:gd name="T47" fmla="*/ 2147483647 h 114"/>
                    <a:gd name="T48" fmla="*/ 2147483647 w 88"/>
                    <a:gd name="T49" fmla="*/ 2147483647 h 114"/>
                    <a:gd name="T50" fmla="*/ 2147483647 w 88"/>
                    <a:gd name="T51" fmla="*/ 2147483647 h 114"/>
                    <a:gd name="T52" fmla="*/ 2147483647 w 88"/>
                    <a:gd name="T53" fmla="*/ 2147483647 h 114"/>
                    <a:gd name="T54" fmla="*/ 2147483647 w 88"/>
                    <a:gd name="T55" fmla="*/ 2147483647 h 114"/>
                    <a:gd name="T56" fmla="*/ 2147483647 w 88"/>
                    <a:gd name="T57" fmla="*/ 2147483647 h 114"/>
                    <a:gd name="T58" fmla="*/ 2147483647 w 88"/>
                    <a:gd name="T59" fmla="*/ 2147483647 h 114"/>
                    <a:gd name="T60" fmla="*/ 2147483647 w 88"/>
                    <a:gd name="T61" fmla="*/ 2147483647 h 114"/>
                    <a:gd name="T62" fmla="*/ 2147483647 w 88"/>
                    <a:gd name="T63" fmla="*/ 2147483647 h 114"/>
                    <a:gd name="T64" fmla="*/ 2147483647 w 88"/>
                    <a:gd name="T65" fmla="*/ 2147483647 h 114"/>
                    <a:gd name="T66" fmla="*/ 2147483647 w 88"/>
                    <a:gd name="T67" fmla="*/ 2147483647 h 114"/>
                    <a:gd name="T68" fmla="*/ 2147483647 w 88"/>
                    <a:gd name="T69" fmla="*/ 2147483647 h 114"/>
                    <a:gd name="T70" fmla="*/ 2147483647 w 88"/>
                    <a:gd name="T71" fmla="*/ 2147483647 h 114"/>
                    <a:gd name="T72" fmla="*/ 2147483647 w 88"/>
                    <a:gd name="T73" fmla="*/ 2147483647 h 114"/>
                    <a:gd name="T74" fmla="*/ 2147483647 w 88"/>
                    <a:gd name="T75" fmla="*/ 2147483647 h 114"/>
                    <a:gd name="T76" fmla="*/ 2147483647 w 88"/>
                    <a:gd name="T77" fmla="*/ 0 h 114"/>
                    <a:gd name="T78" fmla="*/ 2147483647 w 88"/>
                    <a:gd name="T79" fmla="*/ 2147483647 h 114"/>
                    <a:gd name="T80" fmla="*/ 2147483647 w 88"/>
                    <a:gd name="T81" fmla="*/ 2147483647 h 114"/>
                    <a:gd name="T82" fmla="*/ 2147483647 w 88"/>
                    <a:gd name="T83" fmla="*/ 2147483647 h 114"/>
                    <a:gd name="T84" fmla="*/ 2147483647 w 88"/>
                    <a:gd name="T85" fmla="*/ 2147483647 h 114"/>
                    <a:gd name="T86" fmla="*/ 2147483647 w 88"/>
                    <a:gd name="T87" fmla="*/ 2147483647 h 114"/>
                    <a:gd name="T88" fmla="*/ 2147483647 w 88"/>
                    <a:gd name="T89" fmla="*/ 2147483647 h 114"/>
                    <a:gd name="T90" fmla="*/ 2147483647 w 88"/>
                    <a:gd name="T91" fmla="*/ 2147483647 h 114"/>
                    <a:gd name="T92" fmla="*/ 2147483647 w 88"/>
                    <a:gd name="T93" fmla="*/ 2147483647 h 114"/>
                    <a:gd name="T94" fmla="*/ 2147483647 w 88"/>
                    <a:gd name="T95" fmla="*/ 2147483647 h 114"/>
                    <a:gd name="T96" fmla="*/ 2147483647 w 88"/>
                    <a:gd name="T97" fmla="*/ 2147483647 h 114"/>
                    <a:gd name="T98" fmla="*/ 2147483647 w 88"/>
                    <a:gd name="T99" fmla="*/ 2147483647 h 114"/>
                    <a:gd name="T100" fmla="*/ 2147483647 w 88"/>
                    <a:gd name="T101" fmla="*/ 2147483647 h 114"/>
                    <a:gd name="T102" fmla="*/ 2147483647 w 88"/>
                    <a:gd name="T103" fmla="*/ 2147483647 h 114"/>
                    <a:gd name="T104" fmla="*/ 2147483647 w 88"/>
                    <a:gd name="T105" fmla="*/ 2147483647 h 114"/>
                    <a:gd name="T106" fmla="*/ 2147483647 w 88"/>
                    <a:gd name="T107" fmla="*/ 2147483647 h 114"/>
                    <a:gd name="T108" fmla="*/ 2147483647 w 88"/>
                    <a:gd name="T109" fmla="*/ 2147483647 h 114"/>
                    <a:gd name="T110" fmla="*/ 2147483647 w 88"/>
                    <a:gd name="T111" fmla="*/ 2147483647 h 114"/>
                    <a:gd name="T112" fmla="*/ 2147483647 w 88"/>
                    <a:gd name="T113" fmla="*/ 2147483647 h 114"/>
                    <a:gd name="T114" fmla="*/ 2147483647 w 88"/>
                    <a:gd name="T115" fmla="*/ 2147483647 h 114"/>
                    <a:gd name="T116" fmla="*/ 2147483647 w 88"/>
                    <a:gd name="T117" fmla="*/ 2147483647 h 1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114"/>
                    <a:gd name="T179" fmla="*/ 88 w 88"/>
                    <a:gd name="T180" fmla="*/ 114 h 1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114">
                      <a:moveTo>
                        <a:pt x="75" y="95"/>
                      </a:moveTo>
                      <a:lnTo>
                        <a:pt x="75" y="95"/>
                      </a:lnTo>
                      <a:lnTo>
                        <a:pt x="77" y="99"/>
                      </a:lnTo>
                      <a:lnTo>
                        <a:pt x="75" y="101"/>
                      </a:lnTo>
                      <a:lnTo>
                        <a:pt x="74" y="103"/>
                      </a:lnTo>
                      <a:lnTo>
                        <a:pt x="74" y="106"/>
                      </a:lnTo>
                      <a:lnTo>
                        <a:pt x="73" y="111"/>
                      </a:lnTo>
                      <a:lnTo>
                        <a:pt x="72" y="112"/>
                      </a:lnTo>
                      <a:lnTo>
                        <a:pt x="72" y="114"/>
                      </a:lnTo>
                      <a:lnTo>
                        <a:pt x="68" y="109"/>
                      </a:lnTo>
                      <a:lnTo>
                        <a:pt x="65" y="107"/>
                      </a:lnTo>
                      <a:lnTo>
                        <a:pt x="64" y="105"/>
                      </a:lnTo>
                      <a:lnTo>
                        <a:pt x="61" y="93"/>
                      </a:lnTo>
                      <a:lnTo>
                        <a:pt x="60" y="87"/>
                      </a:lnTo>
                      <a:lnTo>
                        <a:pt x="58" y="81"/>
                      </a:lnTo>
                      <a:lnTo>
                        <a:pt x="55" y="80"/>
                      </a:lnTo>
                      <a:lnTo>
                        <a:pt x="53" y="80"/>
                      </a:lnTo>
                      <a:lnTo>
                        <a:pt x="50" y="79"/>
                      </a:lnTo>
                      <a:lnTo>
                        <a:pt x="47" y="76"/>
                      </a:lnTo>
                      <a:lnTo>
                        <a:pt x="44" y="81"/>
                      </a:lnTo>
                      <a:lnTo>
                        <a:pt x="41" y="87"/>
                      </a:lnTo>
                      <a:lnTo>
                        <a:pt x="40" y="93"/>
                      </a:lnTo>
                      <a:lnTo>
                        <a:pt x="40" y="99"/>
                      </a:lnTo>
                      <a:lnTo>
                        <a:pt x="39" y="101"/>
                      </a:lnTo>
                      <a:lnTo>
                        <a:pt x="36" y="102"/>
                      </a:lnTo>
                      <a:lnTo>
                        <a:pt x="25" y="107"/>
                      </a:lnTo>
                      <a:lnTo>
                        <a:pt x="14" y="112"/>
                      </a:lnTo>
                      <a:lnTo>
                        <a:pt x="9" y="113"/>
                      </a:lnTo>
                      <a:lnTo>
                        <a:pt x="7" y="112"/>
                      </a:lnTo>
                      <a:lnTo>
                        <a:pt x="4" y="108"/>
                      </a:lnTo>
                      <a:lnTo>
                        <a:pt x="3" y="103"/>
                      </a:lnTo>
                      <a:lnTo>
                        <a:pt x="2" y="102"/>
                      </a:lnTo>
                      <a:lnTo>
                        <a:pt x="0" y="103"/>
                      </a:lnTo>
                      <a:lnTo>
                        <a:pt x="2" y="96"/>
                      </a:lnTo>
                      <a:lnTo>
                        <a:pt x="3" y="89"/>
                      </a:lnTo>
                      <a:lnTo>
                        <a:pt x="4" y="86"/>
                      </a:lnTo>
                      <a:lnTo>
                        <a:pt x="6" y="82"/>
                      </a:lnTo>
                      <a:lnTo>
                        <a:pt x="6" y="73"/>
                      </a:lnTo>
                      <a:lnTo>
                        <a:pt x="7" y="64"/>
                      </a:lnTo>
                      <a:lnTo>
                        <a:pt x="7" y="55"/>
                      </a:lnTo>
                      <a:lnTo>
                        <a:pt x="7" y="50"/>
                      </a:lnTo>
                      <a:lnTo>
                        <a:pt x="6" y="46"/>
                      </a:lnTo>
                      <a:lnTo>
                        <a:pt x="4" y="42"/>
                      </a:lnTo>
                      <a:lnTo>
                        <a:pt x="3" y="38"/>
                      </a:lnTo>
                      <a:lnTo>
                        <a:pt x="4" y="35"/>
                      </a:lnTo>
                      <a:lnTo>
                        <a:pt x="6" y="31"/>
                      </a:lnTo>
                      <a:lnTo>
                        <a:pt x="9" y="25"/>
                      </a:lnTo>
                      <a:lnTo>
                        <a:pt x="14" y="19"/>
                      </a:lnTo>
                      <a:lnTo>
                        <a:pt x="14" y="18"/>
                      </a:lnTo>
                      <a:lnTo>
                        <a:pt x="14" y="17"/>
                      </a:lnTo>
                      <a:lnTo>
                        <a:pt x="12" y="16"/>
                      </a:lnTo>
                      <a:lnTo>
                        <a:pt x="8" y="16"/>
                      </a:lnTo>
                      <a:lnTo>
                        <a:pt x="4" y="14"/>
                      </a:lnTo>
                      <a:lnTo>
                        <a:pt x="3" y="13"/>
                      </a:lnTo>
                      <a:lnTo>
                        <a:pt x="7" y="11"/>
                      </a:lnTo>
                      <a:lnTo>
                        <a:pt x="8" y="7"/>
                      </a:lnTo>
                      <a:lnTo>
                        <a:pt x="12" y="1"/>
                      </a:lnTo>
                      <a:lnTo>
                        <a:pt x="13" y="0"/>
                      </a:lnTo>
                      <a:lnTo>
                        <a:pt x="14" y="0"/>
                      </a:lnTo>
                      <a:lnTo>
                        <a:pt x="18" y="1"/>
                      </a:lnTo>
                      <a:lnTo>
                        <a:pt x="21" y="3"/>
                      </a:lnTo>
                      <a:lnTo>
                        <a:pt x="28" y="1"/>
                      </a:lnTo>
                      <a:lnTo>
                        <a:pt x="31" y="3"/>
                      </a:lnTo>
                      <a:lnTo>
                        <a:pt x="33" y="11"/>
                      </a:lnTo>
                      <a:lnTo>
                        <a:pt x="39" y="16"/>
                      </a:lnTo>
                      <a:lnTo>
                        <a:pt x="45" y="20"/>
                      </a:lnTo>
                      <a:lnTo>
                        <a:pt x="51" y="23"/>
                      </a:lnTo>
                      <a:lnTo>
                        <a:pt x="59" y="24"/>
                      </a:lnTo>
                      <a:lnTo>
                        <a:pt x="68" y="24"/>
                      </a:lnTo>
                      <a:lnTo>
                        <a:pt x="83" y="24"/>
                      </a:lnTo>
                      <a:lnTo>
                        <a:pt x="86" y="24"/>
                      </a:lnTo>
                      <a:lnTo>
                        <a:pt x="87" y="25"/>
                      </a:lnTo>
                      <a:lnTo>
                        <a:pt x="88" y="30"/>
                      </a:lnTo>
                      <a:lnTo>
                        <a:pt x="87" y="35"/>
                      </a:lnTo>
                      <a:lnTo>
                        <a:pt x="86" y="39"/>
                      </a:lnTo>
                      <a:lnTo>
                        <a:pt x="84" y="42"/>
                      </a:lnTo>
                      <a:lnTo>
                        <a:pt x="82" y="45"/>
                      </a:lnTo>
                      <a:lnTo>
                        <a:pt x="75" y="50"/>
                      </a:lnTo>
                      <a:lnTo>
                        <a:pt x="69" y="54"/>
                      </a:lnTo>
                      <a:lnTo>
                        <a:pt x="66" y="57"/>
                      </a:lnTo>
                      <a:lnTo>
                        <a:pt x="65" y="60"/>
                      </a:lnTo>
                      <a:lnTo>
                        <a:pt x="64" y="62"/>
                      </a:lnTo>
                      <a:lnTo>
                        <a:pt x="65" y="64"/>
                      </a:lnTo>
                      <a:lnTo>
                        <a:pt x="68" y="65"/>
                      </a:lnTo>
                      <a:lnTo>
                        <a:pt x="72" y="67"/>
                      </a:lnTo>
                      <a:lnTo>
                        <a:pt x="75" y="69"/>
                      </a:lnTo>
                      <a:lnTo>
                        <a:pt x="77" y="75"/>
                      </a:lnTo>
                      <a:lnTo>
                        <a:pt x="78" y="81"/>
                      </a:lnTo>
                      <a:lnTo>
                        <a:pt x="78" y="88"/>
                      </a:lnTo>
                      <a:lnTo>
                        <a:pt x="75" y="94"/>
                      </a:lnTo>
                      <a:lnTo>
                        <a:pt x="75" y="9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1" name="Freeform 626"/>
                <p:cNvSpPr>
                  <a:spLocks/>
                </p:cNvSpPr>
                <p:nvPr/>
              </p:nvSpPr>
              <p:spPr bwMode="auto">
                <a:xfrm>
                  <a:off x="6712219" y="3782233"/>
                  <a:ext cx="84352" cy="41436"/>
                </a:xfrm>
                <a:custGeom>
                  <a:avLst/>
                  <a:gdLst>
                    <a:gd name="T0" fmla="*/ 2147483647 w 62"/>
                    <a:gd name="T1" fmla="*/ 2147483647 h 28"/>
                    <a:gd name="T2" fmla="*/ 2147483647 w 62"/>
                    <a:gd name="T3" fmla="*/ 2147483647 h 28"/>
                    <a:gd name="T4" fmla="*/ 2147483647 w 62"/>
                    <a:gd name="T5" fmla="*/ 2147483647 h 28"/>
                    <a:gd name="T6" fmla="*/ 2147483647 w 62"/>
                    <a:gd name="T7" fmla="*/ 2147483647 h 28"/>
                    <a:gd name="T8" fmla="*/ 2147483647 w 62"/>
                    <a:gd name="T9" fmla="*/ 2147483647 h 28"/>
                    <a:gd name="T10" fmla="*/ 2147483647 w 62"/>
                    <a:gd name="T11" fmla="*/ 2147483647 h 28"/>
                    <a:gd name="T12" fmla="*/ 2147483647 w 62"/>
                    <a:gd name="T13" fmla="*/ 0 h 28"/>
                    <a:gd name="T14" fmla="*/ 2147483647 w 62"/>
                    <a:gd name="T15" fmla="*/ 0 h 28"/>
                    <a:gd name="T16" fmla="*/ 2147483647 w 62"/>
                    <a:gd name="T17" fmla="*/ 2147483647 h 28"/>
                    <a:gd name="T18" fmla="*/ 2147483647 w 62"/>
                    <a:gd name="T19" fmla="*/ 2147483647 h 28"/>
                    <a:gd name="T20" fmla="*/ 2147483647 w 62"/>
                    <a:gd name="T21" fmla="*/ 2147483647 h 28"/>
                    <a:gd name="T22" fmla="*/ 2147483647 w 62"/>
                    <a:gd name="T23" fmla="*/ 2147483647 h 28"/>
                    <a:gd name="T24" fmla="*/ 2147483647 w 62"/>
                    <a:gd name="T25" fmla="*/ 2147483647 h 28"/>
                    <a:gd name="T26" fmla="*/ 2147483647 w 62"/>
                    <a:gd name="T27" fmla="*/ 2147483647 h 28"/>
                    <a:gd name="T28" fmla="*/ 2147483647 w 62"/>
                    <a:gd name="T29" fmla="*/ 2147483647 h 28"/>
                    <a:gd name="T30" fmla="*/ 2147483647 w 62"/>
                    <a:gd name="T31" fmla="*/ 2147483647 h 28"/>
                    <a:gd name="T32" fmla="*/ 2147483647 w 62"/>
                    <a:gd name="T33" fmla="*/ 2147483647 h 28"/>
                    <a:gd name="T34" fmla="*/ 2147483647 w 62"/>
                    <a:gd name="T35" fmla="*/ 2147483647 h 28"/>
                    <a:gd name="T36" fmla="*/ 2147483647 w 62"/>
                    <a:gd name="T37" fmla="*/ 2147483647 h 28"/>
                    <a:gd name="T38" fmla="*/ 2147483647 w 62"/>
                    <a:gd name="T39" fmla="*/ 2147483647 h 28"/>
                    <a:gd name="T40" fmla="*/ 2147483647 w 62"/>
                    <a:gd name="T41" fmla="*/ 2147483647 h 28"/>
                    <a:gd name="T42" fmla="*/ 2147483647 w 62"/>
                    <a:gd name="T43" fmla="*/ 2147483647 h 28"/>
                    <a:gd name="T44" fmla="*/ 2147483647 w 62"/>
                    <a:gd name="T45" fmla="*/ 2147483647 h 28"/>
                    <a:gd name="T46" fmla="*/ 2147483647 w 62"/>
                    <a:gd name="T47" fmla="*/ 2147483647 h 28"/>
                    <a:gd name="T48" fmla="*/ 2147483647 w 62"/>
                    <a:gd name="T49" fmla="*/ 2147483647 h 28"/>
                    <a:gd name="T50" fmla="*/ 2147483647 w 62"/>
                    <a:gd name="T51" fmla="*/ 2147483647 h 28"/>
                    <a:gd name="T52" fmla="*/ 2147483647 w 62"/>
                    <a:gd name="T53" fmla="*/ 2147483647 h 28"/>
                    <a:gd name="T54" fmla="*/ 0 w 62"/>
                    <a:gd name="T55" fmla="*/ 2147483647 h 28"/>
                    <a:gd name="T56" fmla="*/ 0 w 62"/>
                    <a:gd name="T57" fmla="*/ 2147483647 h 28"/>
                    <a:gd name="T58" fmla="*/ 2147483647 w 62"/>
                    <a:gd name="T59" fmla="*/ 2147483647 h 28"/>
                    <a:gd name="T60" fmla="*/ 2147483647 w 62"/>
                    <a:gd name="T61" fmla="*/ 2147483647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2"/>
                    <a:gd name="T94" fmla="*/ 0 h 28"/>
                    <a:gd name="T95" fmla="*/ 62 w 62"/>
                    <a:gd name="T96" fmla="*/ 28 h 2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2" h="28">
                      <a:moveTo>
                        <a:pt x="4" y="12"/>
                      </a:moveTo>
                      <a:lnTo>
                        <a:pt x="6" y="9"/>
                      </a:lnTo>
                      <a:lnTo>
                        <a:pt x="8" y="6"/>
                      </a:lnTo>
                      <a:lnTo>
                        <a:pt x="9" y="4"/>
                      </a:lnTo>
                      <a:lnTo>
                        <a:pt x="11" y="4"/>
                      </a:lnTo>
                      <a:lnTo>
                        <a:pt x="23" y="3"/>
                      </a:lnTo>
                      <a:lnTo>
                        <a:pt x="33" y="0"/>
                      </a:lnTo>
                      <a:lnTo>
                        <a:pt x="37" y="0"/>
                      </a:lnTo>
                      <a:lnTo>
                        <a:pt x="41" y="1"/>
                      </a:lnTo>
                      <a:lnTo>
                        <a:pt x="43" y="3"/>
                      </a:lnTo>
                      <a:lnTo>
                        <a:pt x="46" y="4"/>
                      </a:lnTo>
                      <a:lnTo>
                        <a:pt x="47" y="4"/>
                      </a:lnTo>
                      <a:lnTo>
                        <a:pt x="51" y="7"/>
                      </a:lnTo>
                      <a:lnTo>
                        <a:pt x="56" y="9"/>
                      </a:lnTo>
                      <a:lnTo>
                        <a:pt x="60" y="12"/>
                      </a:lnTo>
                      <a:lnTo>
                        <a:pt x="61" y="13"/>
                      </a:lnTo>
                      <a:lnTo>
                        <a:pt x="62" y="16"/>
                      </a:lnTo>
                      <a:lnTo>
                        <a:pt x="62" y="20"/>
                      </a:lnTo>
                      <a:lnTo>
                        <a:pt x="61" y="22"/>
                      </a:lnTo>
                      <a:lnTo>
                        <a:pt x="58" y="23"/>
                      </a:lnTo>
                      <a:lnTo>
                        <a:pt x="52" y="25"/>
                      </a:lnTo>
                      <a:lnTo>
                        <a:pt x="46" y="26"/>
                      </a:lnTo>
                      <a:lnTo>
                        <a:pt x="32" y="28"/>
                      </a:lnTo>
                      <a:lnTo>
                        <a:pt x="18" y="26"/>
                      </a:lnTo>
                      <a:lnTo>
                        <a:pt x="5" y="23"/>
                      </a:lnTo>
                      <a:lnTo>
                        <a:pt x="3" y="22"/>
                      </a:lnTo>
                      <a:lnTo>
                        <a:pt x="1" y="20"/>
                      </a:lnTo>
                      <a:lnTo>
                        <a:pt x="0" y="18"/>
                      </a:lnTo>
                      <a:lnTo>
                        <a:pt x="0" y="14"/>
                      </a:lnTo>
                      <a:lnTo>
                        <a:pt x="4" y="11"/>
                      </a:lnTo>
                      <a:lnTo>
                        <a:pt x="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2" name="Freeform 627"/>
                <p:cNvSpPr>
                  <a:spLocks/>
                </p:cNvSpPr>
                <p:nvPr/>
              </p:nvSpPr>
              <p:spPr bwMode="auto">
                <a:xfrm>
                  <a:off x="6507998" y="3720082"/>
                  <a:ext cx="184984" cy="119870"/>
                </a:xfrm>
                <a:custGeom>
                  <a:avLst/>
                  <a:gdLst>
                    <a:gd name="T0" fmla="*/ 2147483647 w 135"/>
                    <a:gd name="T1" fmla="*/ 2147483647 h 81"/>
                    <a:gd name="T2" fmla="*/ 2147483647 w 135"/>
                    <a:gd name="T3" fmla="*/ 2147483647 h 81"/>
                    <a:gd name="T4" fmla="*/ 2147483647 w 135"/>
                    <a:gd name="T5" fmla="*/ 2147483647 h 81"/>
                    <a:gd name="T6" fmla="*/ 2147483647 w 135"/>
                    <a:gd name="T7" fmla="*/ 2147483647 h 81"/>
                    <a:gd name="T8" fmla="*/ 2147483647 w 135"/>
                    <a:gd name="T9" fmla="*/ 2147483647 h 81"/>
                    <a:gd name="T10" fmla="*/ 2147483647 w 135"/>
                    <a:gd name="T11" fmla="*/ 2147483647 h 81"/>
                    <a:gd name="T12" fmla="*/ 2147483647 w 135"/>
                    <a:gd name="T13" fmla="*/ 2147483647 h 81"/>
                    <a:gd name="T14" fmla="*/ 2147483647 w 135"/>
                    <a:gd name="T15" fmla="*/ 2147483647 h 81"/>
                    <a:gd name="T16" fmla="*/ 2147483647 w 135"/>
                    <a:gd name="T17" fmla="*/ 2147483647 h 81"/>
                    <a:gd name="T18" fmla="*/ 2147483647 w 135"/>
                    <a:gd name="T19" fmla="*/ 2147483647 h 81"/>
                    <a:gd name="T20" fmla="*/ 2147483647 w 135"/>
                    <a:gd name="T21" fmla="*/ 2147483647 h 81"/>
                    <a:gd name="T22" fmla="*/ 2147483647 w 135"/>
                    <a:gd name="T23" fmla="*/ 2147483647 h 81"/>
                    <a:gd name="T24" fmla="*/ 2147483647 w 135"/>
                    <a:gd name="T25" fmla="*/ 2147483647 h 81"/>
                    <a:gd name="T26" fmla="*/ 2147483647 w 135"/>
                    <a:gd name="T27" fmla="*/ 2147483647 h 81"/>
                    <a:gd name="T28" fmla="*/ 2147483647 w 135"/>
                    <a:gd name="T29" fmla="*/ 0 h 81"/>
                    <a:gd name="T30" fmla="*/ 2147483647 w 135"/>
                    <a:gd name="T31" fmla="*/ 2147483647 h 81"/>
                    <a:gd name="T32" fmla="*/ 2147483647 w 135"/>
                    <a:gd name="T33" fmla="*/ 2147483647 h 81"/>
                    <a:gd name="T34" fmla="*/ 2147483647 w 135"/>
                    <a:gd name="T35" fmla="*/ 2147483647 h 81"/>
                    <a:gd name="T36" fmla="*/ 2147483647 w 135"/>
                    <a:gd name="T37" fmla="*/ 2147483647 h 81"/>
                    <a:gd name="T38" fmla="*/ 2147483647 w 135"/>
                    <a:gd name="T39" fmla="*/ 2147483647 h 81"/>
                    <a:gd name="T40" fmla="*/ 2147483647 w 135"/>
                    <a:gd name="T41" fmla="*/ 2147483647 h 81"/>
                    <a:gd name="T42" fmla="*/ 2147483647 w 135"/>
                    <a:gd name="T43" fmla="*/ 2147483647 h 81"/>
                    <a:gd name="T44" fmla="*/ 2147483647 w 135"/>
                    <a:gd name="T45" fmla="*/ 2147483647 h 81"/>
                    <a:gd name="T46" fmla="*/ 2147483647 w 135"/>
                    <a:gd name="T47" fmla="*/ 2147483647 h 81"/>
                    <a:gd name="T48" fmla="*/ 2147483647 w 135"/>
                    <a:gd name="T49" fmla="*/ 2147483647 h 81"/>
                    <a:gd name="T50" fmla="*/ 2147483647 w 135"/>
                    <a:gd name="T51" fmla="*/ 2147483647 h 81"/>
                    <a:gd name="T52" fmla="*/ 2147483647 w 135"/>
                    <a:gd name="T53" fmla="*/ 2147483647 h 81"/>
                    <a:gd name="T54" fmla="*/ 2147483647 w 135"/>
                    <a:gd name="T55" fmla="*/ 2147483647 h 81"/>
                    <a:gd name="T56" fmla="*/ 2147483647 w 135"/>
                    <a:gd name="T57" fmla="*/ 2147483647 h 81"/>
                    <a:gd name="T58" fmla="*/ 2147483647 w 135"/>
                    <a:gd name="T59" fmla="*/ 2147483647 h 81"/>
                    <a:gd name="T60" fmla="*/ 2147483647 w 135"/>
                    <a:gd name="T61" fmla="*/ 2147483647 h 81"/>
                    <a:gd name="T62" fmla="*/ 2147483647 w 135"/>
                    <a:gd name="T63" fmla="*/ 2147483647 h 81"/>
                    <a:gd name="T64" fmla="*/ 2147483647 w 135"/>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5"/>
                    <a:gd name="T100" fmla="*/ 0 h 81"/>
                    <a:gd name="T101" fmla="*/ 135 w 135"/>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5" h="81">
                      <a:moveTo>
                        <a:pt x="135" y="48"/>
                      </a:moveTo>
                      <a:lnTo>
                        <a:pt x="130" y="47"/>
                      </a:lnTo>
                      <a:lnTo>
                        <a:pt x="126" y="46"/>
                      </a:lnTo>
                      <a:lnTo>
                        <a:pt x="117" y="41"/>
                      </a:lnTo>
                      <a:lnTo>
                        <a:pt x="115" y="41"/>
                      </a:lnTo>
                      <a:lnTo>
                        <a:pt x="113" y="41"/>
                      </a:lnTo>
                      <a:lnTo>
                        <a:pt x="110" y="43"/>
                      </a:lnTo>
                      <a:lnTo>
                        <a:pt x="106" y="46"/>
                      </a:lnTo>
                      <a:lnTo>
                        <a:pt x="103" y="46"/>
                      </a:lnTo>
                      <a:lnTo>
                        <a:pt x="101" y="46"/>
                      </a:lnTo>
                      <a:lnTo>
                        <a:pt x="94" y="42"/>
                      </a:lnTo>
                      <a:lnTo>
                        <a:pt x="89" y="39"/>
                      </a:lnTo>
                      <a:lnTo>
                        <a:pt x="86" y="33"/>
                      </a:lnTo>
                      <a:lnTo>
                        <a:pt x="80" y="28"/>
                      </a:lnTo>
                      <a:lnTo>
                        <a:pt x="77" y="27"/>
                      </a:lnTo>
                      <a:lnTo>
                        <a:pt x="73" y="27"/>
                      </a:lnTo>
                      <a:lnTo>
                        <a:pt x="70" y="27"/>
                      </a:lnTo>
                      <a:lnTo>
                        <a:pt x="68" y="27"/>
                      </a:lnTo>
                      <a:lnTo>
                        <a:pt x="68" y="26"/>
                      </a:lnTo>
                      <a:lnTo>
                        <a:pt x="69" y="22"/>
                      </a:lnTo>
                      <a:lnTo>
                        <a:pt x="68" y="21"/>
                      </a:lnTo>
                      <a:lnTo>
                        <a:pt x="67" y="20"/>
                      </a:lnTo>
                      <a:lnTo>
                        <a:pt x="61" y="19"/>
                      </a:lnTo>
                      <a:lnTo>
                        <a:pt x="58" y="19"/>
                      </a:lnTo>
                      <a:lnTo>
                        <a:pt x="54" y="17"/>
                      </a:lnTo>
                      <a:lnTo>
                        <a:pt x="51" y="15"/>
                      </a:lnTo>
                      <a:lnTo>
                        <a:pt x="50" y="13"/>
                      </a:lnTo>
                      <a:lnTo>
                        <a:pt x="45" y="8"/>
                      </a:lnTo>
                      <a:lnTo>
                        <a:pt x="39" y="3"/>
                      </a:lnTo>
                      <a:lnTo>
                        <a:pt x="32" y="0"/>
                      </a:lnTo>
                      <a:lnTo>
                        <a:pt x="30" y="0"/>
                      </a:lnTo>
                      <a:lnTo>
                        <a:pt x="27" y="1"/>
                      </a:lnTo>
                      <a:lnTo>
                        <a:pt x="21" y="3"/>
                      </a:lnTo>
                      <a:lnTo>
                        <a:pt x="17" y="3"/>
                      </a:lnTo>
                      <a:lnTo>
                        <a:pt x="14" y="2"/>
                      </a:lnTo>
                      <a:lnTo>
                        <a:pt x="13" y="7"/>
                      </a:lnTo>
                      <a:lnTo>
                        <a:pt x="13" y="10"/>
                      </a:lnTo>
                      <a:lnTo>
                        <a:pt x="13" y="15"/>
                      </a:lnTo>
                      <a:lnTo>
                        <a:pt x="12" y="19"/>
                      </a:lnTo>
                      <a:lnTo>
                        <a:pt x="8" y="21"/>
                      </a:lnTo>
                      <a:lnTo>
                        <a:pt x="4" y="23"/>
                      </a:lnTo>
                      <a:lnTo>
                        <a:pt x="2" y="26"/>
                      </a:lnTo>
                      <a:lnTo>
                        <a:pt x="0" y="30"/>
                      </a:lnTo>
                      <a:lnTo>
                        <a:pt x="2" y="32"/>
                      </a:lnTo>
                      <a:lnTo>
                        <a:pt x="4" y="33"/>
                      </a:lnTo>
                      <a:lnTo>
                        <a:pt x="9" y="35"/>
                      </a:lnTo>
                      <a:lnTo>
                        <a:pt x="14" y="38"/>
                      </a:lnTo>
                      <a:lnTo>
                        <a:pt x="23" y="46"/>
                      </a:lnTo>
                      <a:lnTo>
                        <a:pt x="26" y="47"/>
                      </a:lnTo>
                      <a:lnTo>
                        <a:pt x="30" y="47"/>
                      </a:lnTo>
                      <a:lnTo>
                        <a:pt x="33" y="47"/>
                      </a:lnTo>
                      <a:lnTo>
                        <a:pt x="37" y="48"/>
                      </a:lnTo>
                      <a:lnTo>
                        <a:pt x="42" y="54"/>
                      </a:lnTo>
                      <a:lnTo>
                        <a:pt x="45" y="56"/>
                      </a:lnTo>
                      <a:lnTo>
                        <a:pt x="49" y="59"/>
                      </a:lnTo>
                      <a:lnTo>
                        <a:pt x="77" y="71"/>
                      </a:lnTo>
                      <a:lnTo>
                        <a:pt x="91" y="77"/>
                      </a:lnTo>
                      <a:lnTo>
                        <a:pt x="105" y="80"/>
                      </a:lnTo>
                      <a:lnTo>
                        <a:pt x="112" y="81"/>
                      </a:lnTo>
                      <a:lnTo>
                        <a:pt x="119" y="80"/>
                      </a:lnTo>
                      <a:lnTo>
                        <a:pt x="125" y="79"/>
                      </a:lnTo>
                      <a:lnTo>
                        <a:pt x="131" y="75"/>
                      </a:lnTo>
                      <a:lnTo>
                        <a:pt x="133" y="73"/>
                      </a:lnTo>
                      <a:lnTo>
                        <a:pt x="134" y="70"/>
                      </a:lnTo>
                      <a:lnTo>
                        <a:pt x="135" y="62"/>
                      </a:lnTo>
                      <a:lnTo>
                        <a:pt x="135" y="55"/>
                      </a:lnTo>
                      <a:lnTo>
                        <a:pt x="135" y="4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3" name="Freeform 628"/>
                <p:cNvSpPr>
                  <a:spLocks/>
                </p:cNvSpPr>
                <p:nvPr/>
              </p:nvSpPr>
              <p:spPr bwMode="auto">
                <a:xfrm>
                  <a:off x="6710740" y="3780755"/>
                  <a:ext cx="84353" cy="39956"/>
                </a:xfrm>
                <a:custGeom>
                  <a:avLst/>
                  <a:gdLst>
                    <a:gd name="T0" fmla="*/ 2147483647 w 62"/>
                    <a:gd name="T1" fmla="*/ 2147483647 h 27"/>
                    <a:gd name="T2" fmla="*/ 2147483647 w 62"/>
                    <a:gd name="T3" fmla="*/ 2147483647 h 27"/>
                    <a:gd name="T4" fmla="*/ 2147483647 w 62"/>
                    <a:gd name="T5" fmla="*/ 2147483647 h 27"/>
                    <a:gd name="T6" fmla="*/ 2147483647 w 62"/>
                    <a:gd name="T7" fmla="*/ 2147483647 h 27"/>
                    <a:gd name="T8" fmla="*/ 2147483647 w 62"/>
                    <a:gd name="T9" fmla="*/ 2147483647 h 27"/>
                    <a:gd name="T10" fmla="*/ 2147483647 w 62"/>
                    <a:gd name="T11" fmla="*/ 2147483647 h 27"/>
                    <a:gd name="T12" fmla="*/ 2147483647 w 62"/>
                    <a:gd name="T13" fmla="*/ 2147483647 h 27"/>
                    <a:gd name="T14" fmla="*/ 2147483647 w 62"/>
                    <a:gd name="T15" fmla="*/ 2147483647 h 27"/>
                    <a:gd name="T16" fmla="*/ 2147483647 w 62"/>
                    <a:gd name="T17" fmla="*/ 0 h 27"/>
                    <a:gd name="T18" fmla="*/ 2147483647 w 62"/>
                    <a:gd name="T19" fmla="*/ 0 h 27"/>
                    <a:gd name="T20" fmla="*/ 2147483647 w 62"/>
                    <a:gd name="T21" fmla="*/ 0 h 27"/>
                    <a:gd name="T22" fmla="*/ 2147483647 w 62"/>
                    <a:gd name="T23" fmla="*/ 2147483647 h 27"/>
                    <a:gd name="T24" fmla="*/ 2147483647 w 62"/>
                    <a:gd name="T25" fmla="*/ 2147483647 h 27"/>
                    <a:gd name="T26" fmla="*/ 2147483647 w 62"/>
                    <a:gd name="T27" fmla="*/ 2147483647 h 27"/>
                    <a:gd name="T28" fmla="*/ 2147483647 w 62"/>
                    <a:gd name="T29" fmla="*/ 2147483647 h 27"/>
                    <a:gd name="T30" fmla="*/ 2147483647 w 62"/>
                    <a:gd name="T31" fmla="*/ 2147483647 h 27"/>
                    <a:gd name="T32" fmla="*/ 2147483647 w 62"/>
                    <a:gd name="T33" fmla="*/ 2147483647 h 27"/>
                    <a:gd name="T34" fmla="*/ 2147483647 w 62"/>
                    <a:gd name="T35" fmla="*/ 2147483647 h 27"/>
                    <a:gd name="T36" fmla="*/ 2147483647 w 62"/>
                    <a:gd name="T37" fmla="*/ 2147483647 h 27"/>
                    <a:gd name="T38" fmla="*/ 2147483647 w 62"/>
                    <a:gd name="T39" fmla="*/ 2147483647 h 27"/>
                    <a:gd name="T40" fmla="*/ 2147483647 w 62"/>
                    <a:gd name="T41" fmla="*/ 2147483647 h 27"/>
                    <a:gd name="T42" fmla="*/ 2147483647 w 62"/>
                    <a:gd name="T43" fmla="*/ 2147483647 h 27"/>
                    <a:gd name="T44" fmla="*/ 2147483647 w 62"/>
                    <a:gd name="T45" fmla="*/ 2147483647 h 27"/>
                    <a:gd name="T46" fmla="*/ 2147483647 w 62"/>
                    <a:gd name="T47" fmla="*/ 2147483647 h 27"/>
                    <a:gd name="T48" fmla="*/ 2147483647 w 62"/>
                    <a:gd name="T49" fmla="*/ 2147483647 h 27"/>
                    <a:gd name="T50" fmla="*/ 2147483647 w 62"/>
                    <a:gd name="T51" fmla="*/ 2147483647 h 27"/>
                    <a:gd name="T52" fmla="*/ 2147483647 w 62"/>
                    <a:gd name="T53" fmla="*/ 2147483647 h 27"/>
                    <a:gd name="T54" fmla="*/ 2147483647 w 62"/>
                    <a:gd name="T55" fmla="*/ 2147483647 h 27"/>
                    <a:gd name="T56" fmla="*/ 2147483647 w 62"/>
                    <a:gd name="T57" fmla="*/ 2147483647 h 27"/>
                    <a:gd name="T58" fmla="*/ 2147483647 w 62"/>
                    <a:gd name="T59" fmla="*/ 2147483647 h 27"/>
                    <a:gd name="T60" fmla="*/ 2147483647 w 62"/>
                    <a:gd name="T61" fmla="*/ 2147483647 h 27"/>
                    <a:gd name="T62" fmla="*/ 2147483647 w 62"/>
                    <a:gd name="T63" fmla="*/ 2147483647 h 27"/>
                    <a:gd name="T64" fmla="*/ 2147483647 w 62"/>
                    <a:gd name="T65" fmla="*/ 2147483647 h 27"/>
                    <a:gd name="T66" fmla="*/ 2147483647 w 62"/>
                    <a:gd name="T67" fmla="*/ 2147483647 h 27"/>
                    <a:gd name="T68" fmla="*/ 2147483647 w 62"/>
                    <a:gd name="T69" fmla="*/ 2147483647 h 27"/>
                    <a:gd name="T70" fmla="*/ 0 w 62"/>
                    <a:gd name="T71" fmla="*/ 2147483647 h 27"/>
                    <a:gd name="T72" fmla="*/ 0 w 62"/>
                    <a:gd name="T73" fmla="*/ 2147483647 h 27"/>
                    <a:gd name="T74" fmla="*/ 2147483647 w 62"/>
                    <a:gd name="T75" fmla="*/ 2147483647 h 27"/>
                    <a:gd name="T76" fmla="*/ 2147483647 w 62"/>
                    <a:gd name="T77" fmla="*/ 2147483647 h 27"/>
                    <a:gd name="T78" fmla="*/ 2147483647 w 62"/>
                    <a:gd name="T79" fmla="*/ 2147483647 h 27"/>
                    <a:gd name="T80" fmla="*/ 2147483647 w 62"/>
                    <a:gd name="T81" fmla="*/ 2147483647 h 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
                    <a:gd name="T124" fmla="*/ 0 h 27"/>
                    <a:gd name="T125" fmla="*/ 62 w 62"/>
                    <a:gd name="T126" fmla="*/ 27 h 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 h="27">
                      <a:moveTo>
                        <a:pt x="4" y="12"/>
                      </a:moveTo>
                      <a:lnTo>
                        <a:pt x="4" y="12"/>
                      </a:lnTo>
                      <a:lnTo>
                        <a:pt x="6" y="8"/>
                      </a:lnTo>
                      <a:lnTo>
                        <a:pt x="7" y="6"/>
                      </a:lnTo>
                      <a:lnTo>
                        <a:pt x="9" y="4"/>
                      </a:lnTo>
                      <a:lnTo>
                        <a:pt x="11" y="4"/>
                      </a:lnTo>
                      <a:lnTo>
                        <a:pt x="23" y="2"/>
                      </a:lnTo>
                      <a:lnTo>
                        <a:pt x="33" y="0"/>
                      </a:lnTo>
                      <a:lnTo>
                        <a:pt x="37" y="0"/>
                      </a:lnTo>
                      <a:lnTo>
                        <a:pt x="40" y="1"/>
                      </a:lnTo>
                      <a:lnTo>
                        <a:pt x="43" y="2"/>
                      </a:lnTo>
                      <a:lnTo>
                        <a:pt x="45" y="4"/>
                      </a:lnTo>
                      <a:lnTo>
                        <a:pt x="47" y="4"/>
                      </a:lnTo>
                      <a:lnTo>
                        <a:pt x="51" y="7"/>
                      </a:lnTo>
                      <a:lnTo>
                        <a:pt x="56" y="8"/>
                      </a:lnTo>
                      <a:lnTo>
                        <a:pt x="59" y="12"/>
                      </a:lnTo>
                      <a:lnTo>
                        <a:pt x="61" y="13"/>
                      </a:lnTo>
                      <a:lnTo>
                        <a:pt x="62" y="15"/>
                      </a:lnTo>
                      <a:lnTo>
                        <a:pt x="62" y="20"/>
                      </a:lnTo>
                      <a:lnTo>
                        <a:pt x="61" y="21"/>
                      </a:lnTo>
                      <a:lnTo>
                        <a:pt x="58" y="23"/>
                      </a:lnTo>
                      <a:lnTo>
                        <a:pt x="52" y="25"/>
                      </a:lnTo>
                      <a:lnTo>
                        <a:pt x="45" y="26"/>
                      </a:lnTo>
                      <a:lnTo>
                        <a:pt x="32" y="27"/>
                      </a:lnTo>
                      <a:lnTo>
                        <a:pt x="18" y="26"/>
                      </a:lnTo>
                      <a:lnTo>
                        <a:pt x="5" y="23"/>
                      </a:lnTo>
                      <a:lnTo>
                        <a:pt x="2" y="21"/>
                      </a:lnTo>
                      <a:lnTo>
                        <a:pt x="1" y="20"/>
                      </a:lnTo>
                      <a:lnTo>
                        <a:pt x="0" y="18"/>
                      </a:lnTo>
                      <a:lnTo>
                        <a:pt x="0" y="14"/>
                      </a:lnTo>
                      <a:lnTo>
                        <a:pt x="4" y="11"/>
                      </a:lnTo>
                      <a:lnTo>
                        <a:pt x="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4" name="Freeform 629"/>
                <p:cNvSpPr>
                  <a:spLocks/>
                </p:cNvSpPr>
                <p:nvPr/>
              </p:nvSpPr>
              <p:spPr bwMode="auto">
                <a:xfrm>
                  <a:off x="6506517" y="3717120"/>
                  <a:ext cx="184984" cy="121349"/>
                </a:xfrm>
                <a:custGeom>
                  <a:avLst/>
                  <a:gdLst>
                    <a:gd name="T0" fmla="*/ 2147483647 w 135"/>
                    <a:gd name="T1" fmla="*/ 2147483647 h 82"/>
                    <a:gd name="T2" fmla="*/ 2147483647 w 135"/>
                    <a:gd name="T3" fmla="*/ 2147483647 h 82"/>
                    <a:gd name="T4" fmla="*/ 2147483647 w 135"/>
                    <a:gd name="T5" fmla="*/ 2147483647 h 82"/>
                    <a:gd name="T6" fmla="*/ 2147483647 w 135"/>
                    <a:gd name="T7" fmla="*/ 2147483647 h 82"/>
                    <a:gd name="T8" fmla="*/ 2147483647 w 135"/>
                    <a:gd name="T9" fmla="*/ 2147483647 h 82"/>
                    <a:gd name="T10" fmla="*/ 2147483647 w 135"/>
                    <a:gd name="T11" fmla="*/ 2147483647 h 82"/>
                    <a:gd name="T12" fmla="*/ 2147483647 w 135"/>
                    <a:gd name="T13" fmla="*/ 2147483647 h 82"/>
                    <a:gd name="T14" fmla="*/ 2147483647 w 135"/>
                    <a:gd name="T15" fmla="*/ 2147483647 h 82"/>
                    <a:gd name="T16" fmla="*/ 2147483647 w 135"/>
                    <a:gd name="T17" fmla="*/ 2147483647 h 82"/>
                    <a:gd name="T18" fmla="*/ 2147483647 w 135"/>
                    <a:gd name="T19" fmla="*/ 2147483647 h 82"/>
                    <a:gd name="T20" fmla="*/ 2147483647 w 135"/>
                    <a:gd name="T21" fmla="*/ 2147483647 h 82"/>
                    <a:gd name="T22" fmla="*/ 2147483647 w 135"/>
                    <a:gd name="T23" fmla="*/ 2147483647 h 82"/>
                    <a:gd name="T24" fmla="*/ 2147483647 w 135"/>
                    <a:gd name="T25" fmla="*/ 2147483647 h 82"/>
                    <a:gd name="T26" fmla="*/ 2147483647 w 135"/>
                    <a:gd name="T27" fmla="*/ 2147483647 h 82"/>
                    <a:gd name="T28" fmla="*/ 2147483647 w 135"/>
                    <a:gd name="T29" fmla="*/ 2147483647 h 82"/>
                    <a:gd name="T30" fmla="*/ 2147483647 w 135"/>
                    <a:gd name="T31" fmla="*/ 2147483647 h 82"/>
                    <a:gd name="T32" fmla="*/ 2147483647 w 135"/>
                    <a:gd name="T33" fmla="*/ 2147483647 h 82"/>
                    <a:gd name="T34" fmla="*/ 2147483647 w 135"/>
                    <a:gd name="T35" fmla="*/ 2147483647 h 82"/>
                    <a:gd name="T36" fmla="*/ 2147483647 w 135"/>
                    <a:gd name="T37" fmla="*/ 2147483647 h 82"/>
                    <a:gd name="T38" fmla="*/ 2147483647 w 135"/>
                    <a:gd name="T39" fmla="*/ 0 h 82"/>
                    <a:gd name="T40" fmla="*/ 2147483647 w 135"/>
                    <a:gd name="T41" fmla="*/ 2147483647 h 82"/>
                    <a:gd name="T42" fmla="*/ 2147483647 w 135"/>
                    <a:gd name="T43" fmla="*/ 2147483647 h 82"/>
                    <a:gd name="T44" fmla="*/ 2147483647 w 135"/>
                    <a:gd name="T45" fmla="*/ 2147483647 h 82"/>
                    <a:gd name="T46" fmla="*/ 2147483647 w 135"/>
                    <a:gd name="T47" fmla="*/ 2147483647 h 82"/>
                    <a:gd name="T48" fmla="*/ 2147483647 w 135"/>
                    <a:gd name="T49" fmla="*/ 2147483647 h 82"/>
                    <a:gd name="T50" fmla="*/ 2147483647 w 135"/>
                    <a:gd name="T51" fmla="*/ 2147483647 h 82"/>
                    <a:gd name="T52" fmla="*/ 2147483647 w 135"/>
                    <a:gd name="T53" fmla="*/ 2147483647 h 82"/>
                    <a:gd name="T54" fmla="*/ 0 w 135"/>
                    <a:gd name="T55" fmla="*/ 2147483647 h 82"/>
                    <a:gd name="T56" fmla="*/ 2147483647 w 135"/>
                    <a:gd name="T57" fmla="*/ 2147483647 h 82"/>
                    <a:gd name="T58" fmla="*/ 2147483647 w 135"/>
                    <a:gd name="T59" fmla="*/ 2147483647 h 82"/>
                    <a:gd name="T60" fmla="*/ 2147483647 w 135"/>
                    <a:gd name="T61" fmla="*/ 2147483647 h 82"/>
                    <a:gd name="T62" fmla="*/ 2147483647 w 135"/>
                    <a:gd name="T63" fmla="*/ 2147483647 h 82"/>
                    <a:gd name="T64" fmla="*/ 2147483647 w 135"/>
                    <a:gd name="T65" fmla="*/ 2147483647 h 82"/>
                    <a:gd name="T66" fmla="*/ 2147483647 w 135"/>
                    <a:gd name="T67" fmla="*/ 2147483647 h 82"/>
                    <a:gd name="T68" fmla="*/ 2147483647 w 135"/>
                    <a:gd name="T69" fmla="*/ 2147483647 h 82"/>
                    <a:gd name="T70" fmla="*/ 2147483647 w 135"/>
                    <a:gd name="T71" fmla="*/ 2147483647 h 82"/>
                    <a:gd name="T72" fmla="*/ 2147483647 w 135"/>
                    <a:gd name="T73" fmla="*/ 2147483647 h 82"/>
                    <a:gd name="T74" fmla="*/ 2147483647 w 135"/>
                    <a:gd name="T75" fmla="*/ 2147483647 h 82"/>
                    <a:gd name="T76" fmla="*/ 2147483647 w 135"/>
                    <a:gd name="T77" fmla="*/ 2147483647 h 82"/>
                    <a:gd name="T78" fmla="*/ 2147483647 w 135"/>
                    <a:gd name="T79" fmla="*/ 2147483647 h 82"/>
                    <a:gd name="T80" fmla="*/ 2147483647 w 135"/>
                    <a:gd name="T81" fmla="*/ 2147483647 h 82"/>
                    <a:gd name="T82" fmla="*/ 2147483647 w 135"/>
                    <a:gd name="T83" fmla="*/ 2147483647 h 82"/>
                    <a:gd name="T84" fmla="*/ 2147483647 w 135"/>
                    <a:gd name="T85" fmla="*/ 2147483647 h 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5"/>
                    <a:gd name="T130" fmla="*/ 0 h 82"/>
                    <a:gd name="T131" fmla="*/ 135 w 135"/>
                    <a:gd name="T132" fmla="*/ 82 h 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5" h="82">
                      <a:moveTo>
                        <a:pt x="135" y="49"/>
                      </a:moveTo>
                      <a:lnTo>
                        <a:pt x="135" y="49"/>
                      </a:lnTo>
                      <a:lnTo>
                        <a:pt x="130" y="48"/>
                      </a:lnTo>
                      <a:lnTo>
                        <a:pt x="126" y="47"/>
                      </a:lnTo>
                      <a:lnTo>
                        <a:pt x="117" y="42"/>
                      </a:lnTo>
                      <a:lnTo>
                        <a:pt x="114" y="42"/>
                      </a:lnTo>
                      <a:lnTo>
                        <a:pt x="113" y="42"/>
                      </a:lnTo>
                      <a:lnTo>
                        <a:pt x="109" y="44"/>
                      </a:lnTo>
                      <a:lnTo>
                        <a:pt x="106" y="47"/>
                      </a:lnTo>
                      <a:lnTo>
                        <a:pt x="103" y="47"/>
                      </a:lnTo>
                      <a:lnTo>
                        <a:pt x="101" y="47"/>
                      </a:lnTo>
                      <a:lnTo>
                        <a:pt x="94" y="43"/>
                      </a:lnTo>
                      <a:lnTo>
                        <a:pt x="89" y="40"/>
                      </a:lnTo>
                      <a:lnTo>
                        <a:pt x="85" y="34"/>
                      </a:lnTo>
                      <a:lnTo>
                        <a:pt x="80" y="29"/>
                      </a:lnTo>
                      <a:lnTo>
                        <a:pt x="76" y="28"/>
                      </a:lnTo>
                      <a:lnTo>
                        <a:pt x="73" y="28"/>
                      </a:lnTo>
                      <a:lnTo>
                        <a:pt x="70" y="28"/>
                      </a:lnTo>
                      <a:lnTo>
                        <a:pt x="68" y="28"/>
                      </a:lnTo>
                      <a:lnTo>
                        <a:pt x="68" y="26"/>
                      </a:lnTo>
                      <a:lnTo>
                        <a:pt x="69" y="23"/>
                      </a:lnTo>
                      <a:lnTo>
                        <a:pt x="68" y="22"/>
                      </a:lnTo>
                      <a:lnTo>
                        <a:pt x="66" y="21"/>
                      </a:lnTo>
                      <a:lnTo>
                        <a:pt x="61" y="19"/>
                      </a:lnTo>
                      <a:lnTo>
                        <a:pt x="57" y="19"/>
                      </a:lnTo>
                      <a:lnTo>
                        <a:pt x="54" y="18"/>
                      </a:lnTo>
                      <a:lnTo>
                        <a:pt x="51" y="16"/>
                      </a:lnTo>
                      <a:lnTo>
                        <a:pt x="50" y="13"/>
                      </a:lnTo>
                      <a:lnTo>
                        <a:pt x="45" y="9"/>
                      </a:lnTo>
                      <a:lnTo>
                        <a:pt x="38" y="4"/>
                      </a:lnTo>
                      <a:lnTo>
                        <a:pt x="32" y="0"/>
                      </a:lnTo>
                      <a:lnTo>
                        <a:pt x="29" y="0"/>
                      </a:lnTo>
                      <a:lnTo>
                        <a:pt x="27" y="2"/>
                      </a:lnTo>
                      <a:lnTo>
                        <a:pt x="21" y="4"/>
                      </a:lnTo>
                      <a:lnTo>
                        <a:pt x="17" y="4"/>
                      </a:lnTo>
                      <a:lnTo>
                        <a:pt x="14" y="3"/>
                      </a:lnTo>
                      <a:lnTo>
                        <a:pt x="13" y="7"/>
                      </a:lnTo>
                      <a:lnTo>
                        <a:pt x="13" y="11"/>
                      </a:lnTo>
                      <a:lnTo>
                        <a:pt x="13" y="16"/>
                      </a:lnTo>
                      <a:lnTo>
                        <a:pt x="12" y="19"/>
                      </a:lnTo>
                      <a:lnTo>
                        <a:pt x="8" y="22"/>
                      </a:lnTo>
                      <a:lnTo>
                        <a:pt x="4" y="24"/>
                      </a:lnTo>
                      <a:lnTo>
                        <a:pt x="1" y="26"/>
                      </a:lnTo>
                      <a:lnTo>
                        <a:pt x="0" y="31"/>
                      </a:lnTo>
                      <a:lnTo>
                        <a:pt x="1" y="32"/>
                      </a:lnTo>
                      <a:lnTo>
                        <a:pt x="4" y="34"/>
                      </a:lnTo>
                      <a:lnTo>
                        <a:pt x="9" y="36"/>
                      </a:lnTo>
                      <a:lnTo>
                        <a:pt x="14" y="38"/>
                      </a:lnTo>
                      <a:lnTo>
                        <a:pt x="23" y="47"/>
                      </a:lnTo>
                      <a:lnTo>
                        <a:pt x="26" y="48"/>
                      </a:lnTo>
                      <a:lnTo>
                        <a:pt x="29" y="48"/>
                      </a:lnTo>
                      <a:lnTo>
                        <a:pt x="33" y="48"/>
                      </a:lnTo>
                      <a:lnTo>
                        <a:pt x="37" y="49"/>
                      </a:lnTo>
                      <a:lnTo>
                        <a:pt x="42" y="55"/>
                      </a:lnTo>
                      <a:lnTo>
                        <a:pt x="45" y="57"/>
                      </a:lnTo>
                      <a:lnTo>
                        <a:pt x="48" y="60"/>
                      </a:lnTo>
                      <a:lnTo>
                        <a:pt x="76" y="72"/>
                      </a:lnTo>
                      <a:lnTo>
                        <a:pt x="90" y="77"/>
                      </a:lnTo>
                      <a:lnTo>
                        <a:pt x="104" y="81"/>
                      </a:lnTo>
                      <a:lnTo>
                        <a:pt x="112" y="82"/>
                      </a:lnTo>
                      <a:lnTo>
                        <a:pt x="118" y="81"/>
                      </a:lnTo>
                      <a:lnTo>
                        <a:pt x="125" y="80"/>
                      </a:lnTo>
                      <a:lnTo>
                        <a:pt x="131" y="76"/>
                      </a:lnTo>
                      <a:lnTo>
                        <a:pt x="132" y="74"/>
                      </a:lnTo>
                      <a:lnTo>
                        <a:pt x="134" y="70"/>
                      </a:lnTo>
                      <a:lnTo>
                        <a:pt x="135" y="63"/>
                      </a:lnTo>
                      <a:lnTo>
                        <a:pt x="135" y="56"/>
                      </a:lnTo>
                      <a:lnTo>
                        <a:pt x="135" y="4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5" name="Freeform 630"/>
                <p:cNvSpPr>
                  <a:spLocks/>
                </p:cNvSpPr>
                <p:nvPr/>
              </p:nvSpPr>
              <p:spPr bwMode="auto">
                <a:xfrm>
                  <a:off x="7156181" y="4032335"/>
                  <a:ext cx="69554" cy="59195"/>
                </a:xfrm>
                <a:custGeom>
                  <a:avLst/>
                  <a:gdLst>
                    <a:gd name="T0" fmla="*/ 2147483647 w 51"/>
                    <a:gd name="T1" fmla="*/ 2147483647 h 40"/>
                    <a:gd name="T2" fmla="*/ 2147483647 w 51"/>
                    <a:gd name="T3" fmla="*/ 2147483647 h 40"/>
                    <a:gd name="T4" fmla="*/ 2147483647 w 51"/>
                    <a:gd name="T5" fmla="*/ 2147483647 h 40"/>
                    <a:gd name="T6" fmla="*/ 2147483647 w 51"/>
                    <a:gd name="T7" fmla="*/ 2147483647 h 40"/>
                    <a:gd name="T8" fmla="*/ 2147483647 w 51"/>
                    <a:gd name="T9" fmla="*/ 0 h 40"/>
                    <a:gd name="T10" fmla="*/ 2147483647 w 51"/>
                    <a:gd name="T11" fmla="*/ 2147483647 h 40"/>
                    <a:gd name="T12" fmla="*/ 2147483647 w 51"/>
                    <a:gd name="T13" fmla="*/ 2147483647 h 40"/>
                    <a:gd name="T14" fmla="*/ 2147483647 w 51"/>
                    <a:gd name="T15" fmla="*/ 2147483647 h 40"/>
                    <a:gd name="T16" fmla="*/ 2147483647 w 51"/>
                    <a:gd name="T17" fmla="*/ 2147483647 h 40"/>
                    <a:gd name="T18" fmla="*/ 2147483647 w 51"/>
                    <a:gd name="T19" fmla="*/ 2147483647 h 40"/>
                    <a:gd name="T20" fmla="*/ 2147483647 w 51"/>
                    <a:gd name="T21" fmla="*/ 2147483647 h 40"/>
                    <a:gd name="T22" fmla="*/ 2147483647 w 51"/>
                    <a:gd name="T23" fmla="*/ 2147483647 h 40"/>
                    <a:gd name="T24" fmla="*/ 2147483647 w 51"/>
                    <a:gd name="T25" fmla="*/ 2147483647 h 40"/>
                    <a:gd name="T26" fmla="*/ 2147483647 w 51"/>
                    <a:gd name="T27" fmla="*/ 2147483647 h 40"/>
                    <a:gd name="T28" fmla="*/ 0 w 51"/>
                    <a:gd name="T29" fmla="*/ 2147483647 h 40"/>
                    <a:gd name="T30" fmla="*/ 0 w 51"/>
                    <a:gd name="T31" fmla="*/ 2147483647 h 40"/>
                    <a:gd name="T32" fmla="*/ 2147483647 w 51"/>
                    <a:gd name="T33" fmla="*/ 2147483647 h 40"/>
                    <a:gd name="T34" fmla="*/ 2147483647 w 51"/>
                    <a:gd name="T35" fmla="*/ 2147483647 h 40"/>
                    <a:gd name="T36" fmla="*/ 2147483647 w 51"/>
                    <a:gd name="T37" fmla="*/ 2147483647 h 40"/>
                    <a:gd name="T38" fmla="*/ 2147483647 w 51"/>
                    <a:gd name="T39" fmla="*/ 2147483647 h 40"/>
                    <a:gd name="T40" fmla="*/ 2147483647 w 51"/>
                    <a:gd name="T41" fmla="*/ 2147483647 h 40"/>
                    <a:gd name="T42" fmla="*/ 2147483647 w 51"/>
                    <a:gd name="T43" fmla="*/ 2147483647 h 40"/>
                    <a:gd name="T44" fmla="*/ 2147483647 w 51"/>
                    <a:gd name="T45" fmla="*/ 2147483647 h 40"/>
                    <a:gd name="T46" fmla="*/ 2147483647 w 51"/>
                    <a:gd name="T47" fmla="*/ 2147483647 h 40"/>
                    <a:gd name="T48" fmla="*/ 2147483647 w 51"/>
                    <a:gd name="T49" fmla="*/ 2147483647 h 40"/>
                    <a:gd name="T50" fmla="*/ 2147483647 w 51"/>
                    <a:gd name="T51" fmla="*/ 2147483647 h 40"/>
                    <a:gd name="T52" fmla="*/ 2147483647 w 51"/>
                    <a:gd name="T53" fmla="*/ 2147483647 h 40"/>
                    <a:gd name="T54" fmla="*/ 2147483647 w 51"/>
                    <a:gd name="T55" fmla="*/ 2147483647 h 40"/>
                    <a:gd name="T56" fmla="*/ 2147483647 w 51"/>
                    <a:gd name="T57" fmla="*/ 2147483647 h 40"/>
                    <a:gd name="T58" fmla="*/ 2147483647 w 51"/>
                    <a:gd name="T59" fmla="*/ 2147483647 h 40"/>
                    <a:gd name="T60" fmla="*/ 2147483647 w 51"/>
                    <a:gd name="T61" fmla="*/ 2147483647 h 40"/>
                    <a:gd name="T62" fmla="*/ 2147483647 w 51"/>
                    <a:gd name="T63" fmla="*/ 2147483647 h 40"/>
                    <a:gd name="T64" fmla="*/ 2147483647 w 51"/>
                    <a:gd name="T65" fmla="*/ 2147483647 h 40"/>
                    <a:gd name="T66" fmla="*/ 2147483647 w 51"/>
                    <a:gd name="T67" fmla="*/ 2147483647 h 40"/>
                    <a:gd name="T68" fmla="*/ 2147483647 w 51"/>
                    <a:gd name="T69" fmla="*/ 2147483647 h 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1"/>
                    <a:gd name="T106" fmla="*/ 0 h 40"/>
                    <a:gd name="T107" fmla="*/ 51 w 51"/>
                    <a:gd name="T108" fmla="*/ 40 h 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1" h="40">
                      <a:moveTo>
                        <a:pt x="47" y="13"/>
                      </a:moveTo>
                      <a:lnTo>
                        <a:pt x="51" y="7"/>
                      </a:lnTo>
                      <a:lnTo>
                        <a:pt x="51" y="4"/>
                      </a:lnTo>
                      <a:lnTo>
                        <a:pt x="51" y="2"/>
                      </a:lnTo>
                      <a:lnTo>
                        <a:pt x="48" y="0"/>
                      </a:lnTo>
                      <a:lnTo>
                        <a:pt x="46" y="1"/>
                      </a:lnTo>
                      <a:lnTo>
                        <a:pt x="41" y="2"/>
                      </a:lnTo>
                      <a:lnTo>
                        <a:pt x="34" y="3"/>
                      </a:lnTo>
                      <a:lnTo>
                        <a:pt x="23" y="4"/>
                      </a:lnTo>
                      <a:lnTo>
                        <a:pt x="18" y="6"/>
                      </a:lnTo>
                      <a:lnTo>
                        <a:pt x="13" y="8"/>
                      </a:lnTo>
                      <a:lnTo>
                        <a:pt x="12" y="9"/>
                      </a:lnTo>
                      <a:lnTo>
                        <a:pt x="8" y="15"/>
                      </a:lnTo>
                      <a:lnTo>
                        <a:pt x="1" y="20"/>
                      </a:lnTo>
                      <a:lnTo>
                        <a:pt x="0" y="21"/>
                      </a:lnTo>
                      <a:lnTo>
                        <a:pt x="0" y="23"/>
                      </a:lnTo>
                      <a:lnTo>
                        <a:pt x="1" y="27"/>
                      </a:lnTo>
                      <a:lnTo>
                        <a:pt x="5" y="33"/>
                      </a:lnTo>
                      <a:lnTo>
                        <a:pt x="5" y="35"/>
                      </a:lnTo>
                      <a:lnTo>
                        <a:pt x="5" y="38"/>
                      </a:lnTo>
                      <a:lnTo>
                        <a:pt x="5" y="39"/>
                      </a:lnTo>
                      <a:lnTo>
                        <a:pt x="8" y="39"/>
                      </a:lnTo>
                      <a:lnTo>
                        <a:pt x="10" y="38"/>
                      </a:lnTo>
                      <a:lnTo>
                        <a:pt x="14" y="38"/>
                      </a:lnTo>
                      <a:lnTo>
                        <a:pt x="17" y="39"/>
                      </a:lnTo>
                      <a:lnTo>
                        <a:pt x="22" y="40"/>
                      </a:lnTo>
                      <a:lnTo>
                        <a:pt x="26" y="39"/>
                      </a:lnTo>
                      <a:lnTo>
                        <a:pt x="27" y="36"/>
                      </a:lnTo>
                      <a:lnTo>
                        <a:pt x="28" y="30"/>
                      </a:lnTo>
                      <a:lnTo>
                        <a:pt x="29" y="28"/>
                      </a:lnTo>
                      <a:lnTo>
                        <a:pt x="32" y="27"/>
                      </a:lnTo>
                      <a:lnTo>
                        <a:pt x="38" y="26"/>
                      </a:lnTo>
                      <a:lnTo>
                        <a:pt x="41" y="24"/>
                      </a:lnTo>
                      <a:lnTo>
                        <a:pt x="43" y="19"/>
                      </a:lnTo>
                      <a:lnTo>
                        <a:pt x="47"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6" name="Freeform 631"/>
                <p:cNvSpPr>
                  <a:spLocks/>
                </p:cNvSpPr>
                <p:nvPr/>
              </p:nvSpPr>
              <p:spPr bwMode="auto">
                <a:xfrm>
                  <a:off x="6351134" y="2931310"/>
                  <a:ext cx="1423637" cy="1093625"/>
                </a:xfrm>
                <a:custGeom>
                  <a:avLst/>
                  <a:gdLst>
                    <a:gd name="T0" fmla="*/ 2147483647 w 1042"/>
                    <a:gd name="T1" fmla="*/ 2147483647 h 739"/>
                    <a:gd name="T2" fmla="*/ 2147483647 w 1042"/>
                    <a:gd name="T3" fmla="*/ 2147483647 h 739"/>
                    <a:gd name="T4" fmla="*/ 2147483647 w 1042"/>
                    <a:gd name="T5" fmla="*/ 2147483647 h 739"/>
                    <a:gd name="T6" fmla="*/ 2147483647 w 1042"/>
                    <a:gd name="T7" fmla="*/ 2147483647 h 739"/>
                    <a:gd name="T8" fmla="*/ 2147483647 w 1042"/>
                    <a:gd name="T9" fmla="*/ 2147483647 h 739"/>
                    <a:gd name="T10" fmla="*/ 2147483647 w 1042"/>
                    <a:gd name="T11" fmla="*/ 2147483647 h 739"/>
                    <a:gd name="T12" fmla="*/ 2147483647 w 1042"/>
                    <a:gd name="T13" fmla="*/ 2147483647 h 739"/>
                    <a:gd name="T14" fmla="*/ 2147483647 w 1042"/>
                    <a:gd name="T15" fmla="*/ 2147483647 h 739"/>
                    <a:gd name="T16" fmla="*/ 2147483647 w 1042"/>
                    <a:gd name="T17" fmla="*/ 2147483647 h 739"/>
                    <a:gd name="T18" fmla="*/ 2147483647 w 1042"/>
                    <a:gd name="T19" fmla="*/ 2147483647 h 739"/>
                    <a:gd name="T20" fmla="*/ 2147483647 w 1042"/>
                    <a:gd name="T21" fmla="*/ 2147483647 h 739"/>
                    <a:gd name="T22" fmla="*/ 2147483647 w 1042"/>
                    <a:gd name="T23" fmla="*/ 2147483647 h 739"/>
                    <a:gd name="T24" fmla="*/ 2147483647 w 1042"/>
                    <a:gd name="T25" fmla="*/ 2147483647 h 739"/>
                    <a:gd name="T26" fmla="*/ 2147483647 w 1042"/>
                    <a:gd name="T27" fmla="*/ 2147483647 h 739"/>
                    <a:gd name="T28" fmla="*/ 2147483647 w 1042"/>
                    <a:gd name="T29" fmla="*/ 2147483647 h 739"/>
                    <a:gd name="T30" fmla="*/ 2147483647 w 1042"/>
                    <a:gd name="T31" fmla="*/ 2147483647 h 739"/>
                    <a:gd name="T32" fmla="*/ 2147483647 w 1042"/>
                    <a:gd name="T33" fmla="*/ 2147483647 h 739"/>
                    <a:gd name="T34" fmla="*/ 2147483647 w 1042"/>
                    <a:gd name="T35" fmla="*/ 2147483647 h 739"/>
                    <a:gd name="T36" fmla="*/ 2147483647 w 1042"/>
                    <a:gd name="T37" fmla="*/ 2147483647 h 739"/>
                    <a:gd name="T38" fmla="*/ 2147483647 w 1042"/>
                    <a:gd name="T39" fmla="*/ 2147483647 h 739"/>
                    <a:gd name="T40" fmla="*/ 2147483647 w 1042"/>
                    <a:gd name="T41" fmla="*/ 2147483647 h 739"/>
                    <a:gd name="T42" fmla="*/ 2147483647 w 1042"/>
                    <a:gd name="T43" fmla="*/ 2147483647 h 739"/>
                    <a:gd name="T44" fmla="*/ 2147483647 w 1042"/>
                    <a:gd name="T45" fmla="*/ 2147483647 h 739"/>
                    <a:gd name="T46" fmla="*/ 2147483647 w 1042"/>
                    <a:gd name="T47" fmla="*/ 2147483647 h 739"/>
                    <a:gd name="T48" fmla="*/ 2147483647 w 1042"/>
                    <a:gd name="T49" fmla="*/ 2147483647 h 739"/>
                    <a:gd name="T50" fmla="*/ 2147483647 w 1042"/>
                    <a:gd name="T51" fmla="*/ 2147483647 h 739"/>
                    <a:gd name="T52" fmla="*/ 2147483647 w 1042"/>
                    <a:gd name="T53" fmla="*/ 2147483647 h 739"/>
                    <a:gd name="T54" fmla="*/ 2147483647 w 1042"/>
                    <a:gd name="T55" fmla="*/ 2147483647 h 739"/>
                    <a:gd name="T56" fmla="*/ 2147483647 w 1042"/>
                    <a:gd name="T57" fmla="*/ 2147483647 h 739"/>
                    <a:gd name="T58" fmla="*/ 2147483647 w 1042"/>
                    <a:gd name="T59" fmla="*/ 2147483647 h 739"/>
                    <a:gd name="T60" fmla="*/ 2147483647 w 1042"/>
                    <a:gd name="T61" fmla="*/ 2147483647 h 739"/>
                    <a:gd name="T62" fmla="*/ 2147483647 w 1042"/>
                    <a:gd name="T63" fmla="*/ 2147483647 h 739"/>
                    <a:gd name="T64" fmla="*/ 2147483647 w 1042"/>
                    <a:gd name="T65" fmla="*/ 2147483647 h 739"/>
                    <a:gd name="T66" fmla="*/ 2147483647 w 1042"/>
                    <a:gd name="T67" fmla="*/ 2147483647 h 739"/>
                    <a:gd name="T68" fmla="*/ 2147483647 w 1042"/>
                    <a:gd name="T69" fmla="*/ 2147483647 h 739"/>
                    <a:gd name="T70" fmla="*/ 2147483647 w 1042"/>
                    <a:gd name="T71" fmla="*/ 2147483647 h 739"/>
                    <a:gd name="T72" fmla="*/ 2147483647 w 1042"/>
                    <a:gd name="T73" fmla="*/ 2147483647 h 739"/>
                    <a:gd name="T74" fmla="*/ 2147483647 w 1042"/>
                    <a:gd name="T75" fmla="*/ 2147483647 h 739"/>
                    <a:gd name="T76" fmla="*/ 2147483647 w 1042"/>
                    <a:gd name="T77" fmla="*/ 2147483647 h 739"/>
                    <a:gd name="T78" fmla="*/ 2147483647 w 1042"/>
                    <a:gd name="T79" fmla="*/ 2147483647 h 739"/>
                    <a:gd name="T80" fmla="*/ 2147483647 w 1042"/>
                    <a:gd name="T81" fmla="*/ 2147483647 h 739"/>
                    <a:gd name="T82" fmla="*/ 2147483647 w 1042"/>
                    <a:gd name="T83" fmla="*/ 2147483647 h 739"/>
                    <a:gd name="T84" fmla="*/ 2147483647 w 1042"/>
                    <a:gd name="T85" fmla="*/ 2147483647 h 739"/>
                    <a:gd name="T86" fmla="*/ 2147483647 w 1042"/>
                    <a:gd name="T87" fmla="*/ 2147483647 h 739"/>
                    <a:gd name="T88" fmla="*/ 2147483647 w 1042"/>
                    <a:gd name="T89" fmla="*/ 2147483647 h 739"/>
                    <a:gd name="T90" fmla="*/ 2147483647 w 1042"/>
                    <a:gd name="T91" fmla="*/ 2147483647 h 739"/>
                    <a:gd name="T92" fmla="*/ 2147483647 w 1042"/>
                    <a:gd name="T93" fmla="*/ 2147483647 h 739"/>
                    <a:gd name="T94" fmla="*/ 2147483647 w 1042"/>
                    <a:gd name="T95" fmla="*/ 2147483647 h 739"/>
                    <a:gd name="T96" fmla="*/ 2147483647 w 1042"/>
                    <a:gd name="T97" fmla="*/ 2147483647 h 739"/>
                    <a:gd name="T98" fmla="*/ 2147483647 w 1042"/>
                    <a:gd name="T99" fmla="*/ 2147483647 h 739"/>
                    <a:gd name="T100" fmla="*/ 2147483647 w 1042"/>
                    <a:gd name="T101" fmla="*/ 2147483647 h 739"/>
                    <a:gd name="T102" fmla="*/ 2147483647 w 1042"/>
                    <a:gd name="T103" fmla="*/ 2147483647 h 739"/>
                    <a:gd name="T104" fmla="*/ 2147483647 w 1042"/>
                    <a:gd name="T105" fmla="*/ 2147483647 h 739"/>
                    <a:gd name="T106" fmla="*/ 2147483647 w 1042"/>
                    <a:gd name="T107" fmla="*/ 2147483647 h 739"/>
                    <a:gd name="T108" fmla="*/ 2147483647 w 1042"/>
                    <a:gd name="T109" fmla="*/ 2147483647 h 739"/>
                    <a:gd name="T110" fmla="*/ 2147483647 w 1042"/>
                    <a:gd name="T111" fmla="*/ 2147483647 h 739"/>
                    <a:gd name="T112" fmla="*/ 2147483647 w 1042"/>
                    <a:gd name="T113" fmla="*/ 2147483647 h 739"/>
                    <a:gd name="T114" fmla="*/ 2147483647 w 1042"/>
                    <a:gd name="T115" fmla="*/ 2147483647 h 739"/>
                    <a:gd name="T116" fmla="*/ 2147483647 w 1042"/>
                    <a:gd name="T117" fmla="*/ 2147483647 h 739"/>
                    <a:gd name="T118" fmla="*/ 2147483647 w 1042"/>
                    <a:gd name="T119" fmla="*/ 2147483647 h 7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42"/>
                    <a:gd name="T181" fmla="*/ 0 h 739"/>
                    <a:gd name="T182" fmla="*/ 1042 w 1042"/>
                    <a:gd name="T183" fmla="*/ 739 h 7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42" h="739">
                      <a:moveTo>
                        <a:pt x="129" y="535"/>
                      </a:moveTo>
                      <a:lnTo>
                        <a:pt x="126" y="533"/>
                      </a:lnTo>
                      <a:lnTo>
                        <a:pt x="123" y="529"/>
                      </a:lnTo>
                      <a:lnTo>
                        <a:pt x="121" y="525"/>
                      </a:lnTo>
                      <a:lnTo>
                        <a:pt x="118" y="523"/>
                      </a:lnTo>
                      <a:lnTo>
                        <a:pt x="110" y="521"/>
                      </a:lnTo>
                      <a:lnTo>
                        <a:pt x="102" y="518"/>
                      </a:lnTo>
                      <a:lnTo>
                        <a:pt x="98" y="517"/>
                      </a:lnTo>
                      <a:lnTo>
                        <a:pt x="95" y="516"/>
                      </a:lnTo>
                      <a:lnTo>
                        <a:pt x="94" y="514"/>
                      </a:lnTo>
                      <a:lnTo>
                        <a:pt x="93" y="510"/>
                      </a:lnTo>
                      <a:lnTo>
                        <a:pt x="91" y="504"/>
                      </a:lnTo>
                      <a:lnTo>
                        <a:pt x="93" y="501"/>
                      </a:lnTo>
                      <a:lnTo>
                        <a:pt x="94" y="497"/>
                      </a:lnTo>
                      <a:lnTo>
                        <a:pt x="96" y="493"/>
                      </a:lnTo>
                      <a:lnTo>
                        <a:pt x="100" y="491"/>
                      </a:lnTo>
                      <a:lnTo>
                        <a:pt x="103" y="489"/>
                      </a:lnTo>
                      <a:lnTo>
                        <a:pt x="104" y="485"/>
                      </a:lnTo>
                      <a:lnTo>
                        <a:pt x="105" y="478"/>
                      </a:lnTo>
                      <a:lnTo>
                        <a:pt x="105" y="471"/>
                      </a:lnTo>
                      <a:lnTo>
                        <a:pt x="103" y="465"/>
                      </a:lnTo>
                      <a:lnTo>
                        <a:pt x="98" y="458"/>
                      </a:lnTo>
                      <a:lnTo>
                        <a:pt x="96" y="456"/>
                      </a:lnTo>
                      <a:lnTo>
                        <a:pt x="96" y="453"/>
                      </a:lnTo>
                      <a:lnTo>
                        <a:pt x="98" y="448"/>
                      </a:lnTo>
                      <a:lnTo>
                        <a:pt x="104" y="440"/>
                      </a:lnTo>
                      <a:lnTo>
                        <a:pt x="110" y="433"/>
                      </a:lnTo>
                      <a:lnTo>
                        <a:pt x="113" y="428"/>
                      </a:lnTo>
                      <a:lnTo>
                        <a:pt x="115" y="425"/>
                      </a:lnTo>
                      <a:lnTo>
                        <a:pt x="115" y="420"/>
                      </a:lnTo>
                      <a:lnTo>
                        <a:pt x="114" y="415"/>
                      </a:lnTo>
                      <a:lnTo>
                        <a:pt x="112" y="413"/>
                      </a:lnTo>
                      <a:lnTo>
                        <a:pt x="109" y="410"/>
                      </a:lnTo>
                      <a:lnTo>
                        <a:pt x="100" y="410"/>
                      </a:lnTo>
                      <a:lnTo>
                        <a:pt x="76" y="408"/>
                      </a:lnTo>
                      <a:lnTo>
                        <a:pt x="65" y="406"/>
                      </a:lnTo>
                      <a:lnTo>
                        <a:pt x="53" y="401"/>
                      </a:lnTo>
                      <a:lnTo>
                        <a:pt x="51" y="395"/>
                      </a:lnTo>
                      <a:lnTo>
                        <a:pt x="49" y="393"/>
                      </a:lnTo>
                      <a:lnTo>
                        <a:pt x="47" y="390"/>
                      </a:lnTo>
                      <a:lnTo>
                        <a:pt x="44" y="388"/>
                      </a:lnTo>
                      <a:lnTo>
                        <a:pt x="41" y="388"/>
                      </a:lnTo>
                      <a:lnTo>
                        <a:pt x="33" y="389"/>
                      </a:lnTo>
                      <a:lnTo>
                        <a:pt x="25" y="391"/>
                      </a:lnTo>
                      <a:lnTo>
                        <a:pt x="18" y="393"/>
                      </a:lnTo>
                      <a:lnTo>
                        <a:pt x="19" y="390"/>
                      </a:lnTo>
                      <a:lnTo>
                        <a:pt x="20" y="387"/>
                      </a:lnTo>
                      <a:lnTo>
                        <a:pt x="20" y="383"/>
                      </a:lnTo>
                      <a:lnTo>
                        <a:pt x="20" y="380"/>
                      </a:lnTo>
                      <a:lnTo>
                        <a:pt x="23" y="378"/>
                      </a:lnTo>
                      <a:lnTo>
                        <a:pt x="23" y="377"/>
                      </a:lnTo>
                      <a:lnTo>
                        <a:pt x="23" y="376"/>
                      </a:lnTo>
                      <a:lnTo>
                        <a:pt x="19" y="370"/>
                      </a:lnTo>
                      <a:lnTo>
                        <a:pt x="18" y="367"/>
                      </a:lnTo>
                      <a:lnTo>
                        <a:pt x="18" y="364"/>
                      </a:lnTo>
                      <a:lnTo>
                        <a:pt x="22" y="359"/>
                      </a:lnTo>
                      <a:lnTo>
                        <a:pt x="22" y="358"/>
                      </a:lnTo>
                      <a:lnTo>
                        <a:pt x="22" y="356"/>
                      </a:lnTo>
                      <a:lnTo>
                        <a:pt x="19" y="354"/>
                      </a:lnTo>
                      <a:lnTo>
                        <a:pt x="16" y="351"/>
                      </a:lnTo>
                      <a:lnTo>
                        <a:pt x="13" y="351"/>
                      </a:lnTo>
                      <a:lnTo>
                        <a:pt x="10" y="352"/>
                      </a:lnTo>
                      <a:lnTo>
                        <a:pt x="8" y="354"/>
                      </a:lnTo>
                      <a:lnTo>
                        <a:pt x="5" y="354"/>
                      </a:lnTo>
                      <a:lnTo>
                        <a:pt x="2" y="350"/>
                      </a:lnTo>
                      <a:lnTo>
                        <a:pt x="0" y="346"/>
                      </a:lnTo>
                      <a:lnTo>
                        <a:pt x="0" y="343"/>
                      </a:lnTo>
                      <a:lnTo>
                        <a:pt x="0" y="338"/>
                      </a:lnTo>
                      <a:lnTo>
                        <a:pt x="2" y="329"/>
                      </a:lnTo>
                      <a:lnTo>
                        <a:pt x="8" y="320"/>
                      </a:lnTo>
                      <a:lnTo>
                        <a:pt x="9" y="319"/>
                      </a:lnTo>
                      <a:lnTo>
                        <a:pt x="11" y="318"/>
                      </a:lnTo>
                      <a:lnTo>
                        <a:pt x="16" y="317"/>
                      </a:lnTo>
                      <a:lnTo>
                        <a:pt x="23" y="313"/>
                      </a:lnTo>
                      <a:lnTo>
                        <a:pt x="25" y="312"/>
                      </a:lnTo>
                      <a:lnTo>
                        <a:pt x="29" y="311"/>
                      </a:lnTo>
                      <a:lnTo>
                        <a:pt x="30" y="312"/>
                      </a:lnTo>
                      <a:lnTo>
                        <a:pt x="32" y="313"/>
                      </a:lnTo>
                      <a:lnTo>
                        <a:pt x="32" y="316"/>
                      </a:lnTo>
                      <a:lnTo>
                        <a:pt x="33" y="317"/>
                      </a:lnTo>
                      <a:lnTo>
                        <a:pt x="35" y="318"/>
                      </a:lnTo>
                      <a:lnTo>
                        <a:pt x="38" y="318"/>
                      </a:lnTo>
                      <a:lnTo>
                        <a:pt x="42" y="317"/>
                      </a:lnTo>
                      <a:lnTo>
                        <a:pt x="47" y="316"/>
                      </a:lnTo>
                      <a:lnTo>
                        <a:pt x="52" y="313"/>
                      </a:lnTo>
                      <a:lnTo>
                        <a:pt x="52" y="311"/>
                      </a:lnTo>
                      <a:lnTo>
                        <a:pt x="52" y="308"/>
                      </a:lnTo>
                      <a:lnTo>
                        <a:pt x="52" y="306"/>
                      </a:lnTo>
                      <a:lnTo>
                        <a:pt x="52" y="304"/>
                      </a:lnTo>
                      <a:lnTo>
                        <a:pt x="52" y="303"/>
                      </a:lnTo>
                      <a:lnTo>
                        <a:pt x="53" y="301"/>
                      </a:lnTo>
                      <a:lnTo>
                        <a:pt x="65" y="303"/>
                      </a:lnTo>
                      <a:lnTo>
                        <a:pt x="70" y="301"/>
                      </a:lnTo>
                      <a:lnTo>
                        <a:pt x="74" y="299"/>
                      </a:lnTo>
                      <a:lnTo>
                        <a:pt x="80" y="293"/>
                      </a:lnTo>
                      <a:lnTo>
                        <a:pt x="88" y="290"/>
                      </a:lnTo>
                      <a:lnTo>
                        <a:pt x="95" y="286"/>
                      </a:lnTo>
                      <a:lnTo>
                        <a:pt x="103" y="284"/>
                      </a:lnTo>
                      <a:lnTo>
                        <a:pt x="107" y="282"/>
                      </a:lnTo>
                      <a:lnTo>
                        <a:pt x="110" y="280"/>
                      </a:lnTo>
                      <a:lnTo>
                        <a:pt x="112" y="276"/>
                      </a:lnTo>
                      <a:lnTo>
                        <a:pt x="113" y="272"/>
                      </a:lnTo>
                      <a:lnTo>
                        <a:pt x="113" y="269"/>
                      </a:lnTo>
                      <a:lnTo>
                        <a:pt x="110" y="267"/>
                      </a:lnTo>
                      <a:lnTo>
                        <a:pt x="109" y="266"/>
                      </a:lnTo>
                      <a:lnTo>
                        <a:pt x="109" y="263"/>
                      </a:lnTo>
                      <a:lnTo>
                        <a:pt x="119" y="249"/>
                      </a:lnTo>
                      <a:lnTo>
                        <a:pt x="122" y="246"/>
                      </a:lnTo>
                      <a:lnTo>
                        <a:pt x="123" y="241"/>
                      </a:lnTo>
                      <a:lnTo>
                        <a:pt x="123" y="237"/>
                      </a:lnTo>
                      <a:lnTo>
                        <a:pt x="122" y="233"/>
                      </a:lnTo>
                      <a:lnTo>
                        <a:pt x="121" y="230"/>
                      </a:lnTo>
                      <a:lnTo>
                        <a:pt x="118" y="229"/>
                      </a:lnTo>
                      <a:lnTo>
                        <a:pt x="117" y="227"/>
                      </a:lnTo>
                      <a:lnTo>
                        <a:pt x="115" y="224"/>
                      </a:lnTo>
                      <a:lnTo>
                        <a:pt x="114" y="221"/>
                      </a:lnTo>
                      <a:lnTo>
                        <a:pt x="112" y="217"/>
                      </a:lnTo>
                      <a:lnTo>
                        <a:pt x="110" y="214"/>
                      </a:lnTo>
                      <a:lnTo>
                        <a:pt x="109" y="210"/>
                      </a:lnTo>
                      <a:lnTo>
                        <a:pt x="110" y="208"/>
                      </a:lnTo>
                      <a:lnTo>
                        <a:pt x="113" y="207"/>
                      </a:lnTo>
                      <a:lnTo>
                        <a:pt x="124" y="204"/>
                      </a:lnTo>
                      <a:lnTo>
                        <a:pt x="137" y="203"/>
                      </a:lnTo>
                      <a:lnTo>
                        <a:pt x="152" y="202"/>
                      </a:lnTo>
                      <a:lnTo>
                        <a:pt x="156" y="199"/>
                      </a:lnTo>
                      <a:lnTo>
                        <a:pt x="157" y="198"/>
                      </a:lnTo>
                      <a:lnTo>
                        <a:pt x="157" y="197"/>
                      </a:lnTo>
                      <a:lnTo>
                        <a:pt x="156" y="195"/>
                      </a:lnTo>
                      <a:lnTo>
                        <a:pt x="154" y="192"/>
                      </a:lnTo>
                      <a:lnTo>
                        <a:pt x="152" y="190"/>
                      </a:lnTo>
                      <a:lnTo>
                        <a:pt x="152" y="182"/>
                      </a:lnTo>
                      <a:lnTo>
                        <a:pt x="155" y="172"/>
                      </a:lnTo>
                      <a:lnTo>
                        <a:pt x="156" y="169"/>
                      </a:lnTo>
                      <a:lnTo>
                        <a:pt x="159" y="165"/>
                      </a:lnTo>
                      <a:lnTo>
                        <a:pt x="162" y="163"/>
                      </a:lnTo>
                      <a:lnTo>
                        <a:pt x="168" y="161"/>
                      </a:lnTo>
                      <a:lnTo>
                        <a:pt x="180" y="161"/>
                      </a:lnTo>
                      <a:lnTo>
                        <a:pt x="190" y="163"/>
                      </a:lnTo>
                      <a:lnTo>
                        <a:pt x="193" y="161"/>
                      </a:lnTo>
                      <a:lnTo>
                        <a:pt x="195" y="159"/>
                      </a:lnTo>
                      <a:lnTo>
                        <a:pt x="198" y="152"/>
                      </a:lnTo>
                      <a:lnTo>
                        <a:pt x="199" y="144"/>
                      </a:lnTo>
                      <a:lnTo>
                        <a:pt x="202" y="134"/>
                      </a:lnTo>
                      <a:lnTo>
                        <a:pt x="203" y="133"/>
                      </a:lnTo>
                      <a:lnTo>
                        <a:pt x="204" y="131"/>
                      </a:lnTo>
                      <a:lnTo>
                        <a:pt x="217" y="125"/>
                      </a:lnTo>
                      <a:lnTo>
                        <a:pt x="223" y="120"/>
                      </a:lnTo>
                      <a:lnTo>
                        <a:pt x="228" y="115"/>
                      </a:lnTo>
                      <a:lnTo>
                        <a:pt x="232" y="113"/>
                      </a:lnTo>
                      <a:lnTo>
                        <a:pt x="235" y="113"/>
                      </a:lnTo>
                      <a:lnTo>
                        <a:pt x="240" y="112"/>
                      </a:lnTo>
                      <a:lnTo>
                        <a:pt x="242" y="111"/>
                      </a:lnTo>
                      <a:lnTo>
                        <a:pt x="248" y="107"/>
                      </a:lnTo>
                      <a:lnTo>
                        <a:pt x="248" y="115"/>
                      </a:lnTo>
                      <a:lnTo>
                        <a:pt x="249" y="124"/>
                      </a:lnTo>
                      <a:lnTo>
                        <a:pt x="250" y="128"/>
                      </a:lnTo>
                      <a:lnTo>
                        <a:pt x="251" y="132"/>
                      </a:lnTo>
                      <a:lnTo>
                        <a:pt x="254" y="134"/>
                      </a:lnTo>
                      <a:lnTo>
                        <a:pt x="258" y="137"/>
                      </a:lnTo>
                      <a:lnTo>
                        <a:pt x="262" y="139"/>
                      </a:lnTo>
                      <a:lnTo>
                        <a:pt x="265" y="143"/>
                      </a:lnTo>
                      <a:lnTo>
                        <a:pt x="268" y="145"/>
                      </a:lnTo>
                      <a:lnTo>
                        <a:pt x="272" y="145"/>
                      </a:lnTo>
                      <a:lnTo>
                        <a:pt x="278" y="144"/>
                      </a:lnTo>
                      <a:lnTo>
                        <a:pt x="283" y="145"/>
                      </a:lnTo>
                      <a:lnTo>
                        <a:pt x="288" y="146"/>
                      </a:lnTo>
                      <a:lnTo>
                        <a:pt x="293" y="148"/>
                      </a:lnTo>
                      <a:lnTo>
                        <a:pt x="301" y="156"/>
                      </a:lnTo>
                      <a:lnTo>
                        <a:pt x="310" y="163"/>
                      </a:lnTo>
                      <a:lnTo>
                        <a:pt x="312" y="172"/>
                      </a:lnTo>
                      <a:lnTo>
                        <a:pt x="315" y="183"/>
                      </a:lnTo>
                      <a:lnTo>
                        <a:pt x="317" y="192"/>
                      </a:lnTo>
                      <a:lnTo>
                        <a:pt x="320" y="197"/>
                      </a:lnTo>
                      <a:lnTo>
                        <a:pt x="322" y="201"/>
                      </a:lnTo>
                      <a:lnTo>
                        <a:pt x="325" y="203"/>
                      </a:lnTo>
                      <a:lnTo>
                        <a:pt x="328" y="203"/>
                      </a:lnTo>
                      <a:lnTo>
                        <a:pt x="333" y="205"/>
                      </a:lnTo>
                      <a:lnTo>
                        <a:pt x="348" y="214"/>
                      </a:lnTo>
                      <a:lnTo>
                        <a:pt x="355" y="217"/>
                      </a:lnTo>
                      <a:lnTo>
                        <a:pt x="366" y="220"/>
                      </a:lnTo>
                      <a:lnTo>
                        <a:pt x="369" y="221"/>
                      </a:lnTo>
                      <a:lnTo>
                        <a:pt x="373" y="226"/>
                      </a:lnTo>
                      <a:lnTo>
                        <a:pt x="377" y="231"/>
                      </a:lnTo>
                      <a:lnTo>
                        <a:pt x="382" y="237"/>
                      </a:lnTo>
                      <a:lnTo>
                        <a:pt x="386" y="243"/>
                      </a:lnTo>
                      <a:lnTo>
                        <a:pt x="390" y="248"/>
                      </a:lnTo>
                      <a:lnTo>
                        <a:pt x="394" y="252"/>
                      </a:lnTo>
                      <a:lnTo>
                        <a:pt x="397" y="255"/>
                      </a:lnTo>
                      <a:lnTo>
                        <a:pt x="401" y="256"/>
                      </a:lnTo>
                      <a:lnTo>
                        <a:pt x="406" y="258"/>
                      </a:lnTo>
                      <a:lnTo>
                        <a:pt x="419" y="260"/>
                      </a:lnTo>
                      <a:lnTo>
                        <a:pt x="430" y="262"/>
                      </a:lnTo>
                      <a:lnTo>
                        <a:pt x="455" y="266"/>
                      </a:lnTo>
                      <a:lnTo>
                        <a:pt x="457" y="267"/>
                      </a:lnTo>
                      <a:lnTo>
                        <a:pt x="461" y="266"/>
                      </a:lnTo>
                      <a:lnTo>
                        <a:pt x="467" y="263"/>
                      </a:lnTo>
                      <a:lnTo>
                        <a:pt x="474" y="262"/>
                      </a:lnTo>
                      <a:lnTo>
                        <a:pt x="477" y="261"/>
                      </a:lnTo>
                      <a:lnTo>
                        <a:pt x="481" y="261"/>
                      </a:lnTo>
                      <a:lnTo>
                        <a:pt x="484" y="262"/>
                      </a:lnTo>
                      <a:lnTo>
                        <a:pt x="488" y="265"/>
                      </a:lnTo>
                      <a:lnTo>
                        <a:pt x="491" y="269"/>
                      </a:lnTo>
                      <a:lnTo>
                        <a:pt x="496" y="274"/>
                      </a:lnTo>
                      <a:lnTo>
                        <a:pt x="500" y="276"/>
                      </a:lnTo>
                      <a:lnTo>
                        <a:pt x="509" y="279"/>
                      </a:lnTo>
                      <a:lnTo>
                        <a:pt x="517" y="280"/>
                      </a:lnTo>
                      <a:lnTo>
                        <a:pt x="532" y="280"/>
                      </a:lnTo>
                      <a:lnTo>
                        <a:pt x="538" y="280"/>
                      </a:lnTo>
                      <a:lnTo>
                        <a:pt x="546" y="276"/>
                      </a:lnTo>
                      <a:lnTo>
                        <a:pt x="555" y="271"/>
                      </a:lnTo>
                      <a:lnTo>
                        <a:pt x="564" y="263"/>
                      </a:lnTo>
                      <a:lnTo>
                        <a:pt x="568" y="261"/>
                      </a:lnTo>
                      <a:lnTo>
                        <a:pt x="573" y="259"/>
                      </a:lnTo>
                      <a:lnTo>
                        <a:pt x="578" y="259"/>
                      </a:lnTo>
                      <a:lnTo>
                        <a:pt x="582" y="259"/>
                      </a:lnTo>
                      <a:lnTo>
                        <a:pt x="588" y="260"/>
                      </a:lnTo>
                      <a:lnTo>
                        <a:pt x="593" y="261"/>
                      </a:lnTo>
                      <a:lnTo>
                        <a:pt x="604" y="260"/>
                      </a:lnTo>
                      <a:lnTo>
                        <a:pt x="616" y="258"/>
                      </a:lnTo>
                      <a:lnTo>
                        <a:pt x="626" y="254"/>
                      </a:lnTo>
                      <a:lnTo>
                        <a:pt x="632" y="249"/>
                      </a:lnTo>
                      <a:lnTo>
                        <a:pt x="636" y="244"/>
                      </a:lnTo>
                      <a:lnTo>
                        <a:pt x="637" y="241"/>
                      </a:lnTo>
                      <a:lnTo>
                        <a:pt x="637" y="237"/>
                      </a:lnTo>
                      <a:lnTo>
                        <a:pt x="637" y="235"/>
                      </a:lnTo>
                      <a:lnTo>
                        <a:pt x="636" y="231"/>
                      </a:lnTo>
                      <a:lnTo>
                        <a:pt x="634" y="229"/>
                      </a:lnTo>
                      <a:lnTo>
                        <a:pt x="631" y="228"/>
                      </a:lnTo>
                      <a:lnTo>
                        <a:pt x="627" y="226"/>
                      </a:lnTo>
                      <a:lnTo>
                        <a:pt x="626" y="222"/>
                      </a:lnTo>
                      <a:lnTo>
                        <a:pt x="626" y="218"/>
                      </a:lnTo>
                      <a:lnTo>
                        <a:pt x="627" y="215"/>
                      </a:lnTo>
                      <a:lnTo>
                        <a:pt x="630" y="208"/>
                      </a:lnTo>
                      <a:lnTo>
                        <a:pt x="632" y="204"/>
                      </a:lnTo>
                      <a:lnTo>
                        <a:pt x="636" y="202"/>
                      </a:lnTo>
                      <a:lnTo>
                        <a:pt x="639" y="201"/>
                      </a:lnTo>
                      <a:lnTo>
                        <a:pt x="642" y="202"/>
                      </a:lnTo>
                      <a:lnTo>
                        <a:pt x="651" y="204"/>
                      </a:lnTo>
                      <a:lnTo>
                        <a:pt x="659" y="208"/>
                      </a:lnTo>
                      <a:lnTo>
                        <a:pt x="664" y="209"/>
                      </a:lnTo>
                      <a:lnTo>
                        <a:pt x="668" y="209"/>
                      </a:lnTo>
                      <a:lnTo>
                        <a:pt x="672" y="208"/>
                      </a:lnTo>
                      <a:lnTo>
                        <a:pt x="675" y="205"/>
                      </a:lnTo>
                      <a:lnTo>
                        <a:pt x="691" y="193"/>
                      </a:lnTo>
                      <a:lnTo>
                        <a:pt x="695" y="193"/>
                      </a:lnTo>
                      <a:lnTo>
                        <a:pt x="708" y="190"/>
                      </a:lnTo>
                      <a:lnTo>
                        <a:pt x="710" y="190"/>
                      </a:lnTo>
                      <a:lnTo>
                        <a:pt x="711" y="188"/>
                      </a:lnTo>
                      <a:lnTo>
                        <a:pt x="712" y="183"/>
                      </a:lnTo>
                      <a:lnTo>
                        <a:pt x="715" y="178"/>
                      </a:lnTo>
                      <a:lnTo>
                        <a:pt x="717" y="175"/>
                      </a:lnTo>
                      <a:lnTo>
                        <a:pt x="719" y="172"/>
                      </a:lnTo>
                      <a:lnTo>
                        <a:pt x="720" y="172"/>
                      </a:lnTo>
                      <a:lnTo>
                        <a:pt x="728" y="176"/>
                      </a:lnTo>
                      <a:lnTo>
                        <a:pt x="731" y="176"/>
                      </a:lnTo>
                      <a:lnTo>
                        <a:pt x="733" y="176"/>
                      </a:lnTo>
                      <a:lnTo>
                        <a:pt x="734" y="175"/>
                      </a:lnTo>
                      <a:lnTo>
                        <a:pt x="738" y="171"/>
                      </a:lnTo>
                      <a:lnTo>
                        <a:pt x="742" y="169"/>
                      </a:lnTo>
                      <a:lnTo>
                        <a:pt x="744" y="166"/>
                      </a:lnTo>
                      <a:lnTo>
                        <a:pt x="748" y="166"/>
                      </a:lnTo>
                      <a:lnTo>
                        <a:pt x="757" y="165"/>
                      </a:lnTo>
                      <a:lnTo>
                        <a:pt x="764" y="165"/>
                      </a:lnTo>
                      <a:lnTo>
                        <a:pt x="775" y="163"/>
                      </a:lnTo>
                      <a:lnTo>
                        <a:pt x="780" y="160"/>
                      </a:lnTo>
                      <a:lnTo>
                        <a:pt x="782" y="158"/>
                      </a:lnTo>
                      <a:lnTo>
                        <a:pt x="782" y="154"/>
                      </a:lnTo>
                      <a:lnTo>
                        <a:pt x="782" y="151"/>
                      </a:lnTo>
                      <a:lnTo>
                        <a:pt x="781" y="147"/>
                      </a:lnTo>
                      <a:lnTo>
                        <a:pt x="778" y="144"/>
                      </a:lnTo>
                      <a:lnTo>
                        <a:pt x="772" y="138"/>
                      </a:lnTo>
                      <a:lnTo>
                        <a:pt x="764" y="134"/>
                      </a:lnTo>
                      <a:lnTo>
                        <a:pt x="761" y="133"/>
                      </a:lnTo>
                      <a:lnTo>
                        <a:pt x="755" y="133"/>
                      </a:lnTo>
                      <a:lnTo>
                        <a:pt x="745" y="133"/>
                      </a:lnTo>
                      <a:lnTo>
                        <a:pt x="735" y="134"/>
                      </a:lnTo>
                      <a:lnTo>
                        <a:pt x="730" y="134"/>
                      </a:lnTo>
                      <a:lnTo>
                        <a:pt x="726" y="133"/>
                      </a:lnTo>
                      <a:lnTo>
                        <a:pt x="722" y="132"/>
                      </a:lnTo>
                      <a:lnTo>
                        <a:pt x="720" y="131"/>
                      </a:lnTo>
                      <a:lnTo>
                        <a:pt x="717" y="126"/>
                      </a:lnTo>
                      <a:lnTo>
                        <a:pt x="716" y="122"/>
                      </a:lnTo>
                      <a:lnTo>
                        <a:pt x="716" y="120"/>
                      </a:lnTo>
                      <a:lnTo>
                        <a:pt x="719" y="114"/>
                      </a:lnTo>
                      <a:lnTo>
                        <a:pt x="722" y="111"/>
                      </a:lnTo>
                      <a:lnTo>
                        <a:pt x="725" y="105"/>
                      </a:lnTo>
                      <a:lnTo>
                        <a:pt x="725" y="103"/>
                      </a:lnTo>
                      <a:lnTo>
                        <a:pt x="724" y="102"/>
                      </a:lnTo>
                      <a:lnTo>
                        <a:pt x="721" y="100"/>
                      </a:lnTo>
                      <a:lnTo>
                        <a:pt x="721" y="96"/>
                      </a:lnTo>
                      <a:lnTo>
                        <a:pt x="722" y="93"/>
                      </a:lnTo>
                      <a:lnTo>
                        <a:pt x="729" y="87"/>
                      </a:lnTo>
                      <a:lnTo>
                        <a:pt x="734" y="89"/>
                      </a:lnTo>
                      <a:lnTo>
                        <a:pt x="739" y="93"/>
                      </a:lnTo>
                      <a:lnTo>
                        <a:pt x="744" y="95"/>
                      </a:lnTo>
                      <a:lnTo>
                        <a:pt x="749" y="96"/>
                      </a:lnTo>
                      <a:lnTo>
                        <a:pt x="753" y="95"/>
                      </a:lnTo>
                      <a:lnTo>
                        <a:pt x="757" y="94"/>
                      </a:lnTo>
                      <a:lnTo>
                        <a:pt x="761" y="92"/>
                      </a:lnTo>
                      <a:lnTo>
                        <a:pt x="768" y="86"/>
                      </a:lnTo>
                      <a:lnTo>
                        <a:pt x="775" y="77"/>
                      </a:lnTo>
                      <a:lnTo>
                        <a:pt x="780" y="68"/>
                      </a:lnTo>
                      <a:lnTo>
                        <a:pt x="790" y="51"/>
                      </a:lnTo>
                      <a:lnTo>
                        <a:pt x="799" y="37"/>
                      </a:lnTo>
                      <a:lnTo>
                        <a:pt x="804" y="30"/>
                      </a:lnTo>
                      <a:lnTo>
                        <a:pt x="805" y="23"/>
                      </a:lnTo>
                      <a:lnTo>
                        <a:pt x="805" y="20"/>
                      </a:lnTo>
                      <a:lnTo>
                        <a:pt x="804" y="20"/>
                      </a:lnTo>
                      <a:lnTo>
                        <a:pt x="800" y="20"/>
                      </a:lnTo>
                      <a:lnTo>
                        <a:pt x="796" y="20"/>
                      </a:lnTo>
                      <a:lnTo>
                        <a:pt x="791" y="20"/>
                      </a:lnTo>
                      <a:lnTo>
                        <a:pt x="797" y="10"/>
                      </a:lnTo>
                      <a:lnTo>
                        <a:pt x="802" y="5"/>
                      </a:lnTo>
                      <a:lnTo>
                        <a:pt x="809" y="3"/>
                      </a:lnTo>
                      <a:lnTo>
                        <a:pt x="818" y="0"/>
                      </a:lnTo>
                      <a:lnTo>
                        <a:pt x="828" y="0"/>
                      </a:lnTo>
                      <a:lnTo>
                        <a:pt x="839" y="0"/>
                      </a:lnTo>
                      <a:lnTo>
                        <a:pt x="851" y="1"/>
                      </a:lnTo>
                      <a:lnTo>
                        <a:pt x="871" y="5"/>
                      </a:lnTo>
                      <a:lnTo>
                        <a:pt x="880" y="7"/>
                      </a:lnTo>
                      <a:lnTo>
                        <a:pt x="888" y="11"/>
                      </a:lnTo>
                      <a:lnTo>
                        <a:pt x="891" y="11"/>
                      </a:lnTo>
                      <a:lnTo>
                        <a:pt x="893" y="13"/>
                      </a:lnTo>
                      <a:lnTo>
                        <a:pt x="895" y="19"/>
                      </a:lnTo>
                      <a:lnTo>
                        <a:pt x="896" y="26"/>
                      </a:lnTo>
                      <a:lnTo>
                        <a:pt x="899" y="33"/>
                      </a:lnTo>
                      <a:lnTo>
                        <a:pt x="903" y="42"/>
                      </a:lnTo>
                      <a:lnTo>
                        <a:pt x="907" y="50"/>
                      </a:lnTo>
                      <a:lnTo>
                        <a:pt x="912" y="58"/>
                      </a:lnTo>
                      <a:lnTo>
                        <a:pt x="914" y="68"/>
                      </a:lnTo>
                      <a:lnTo>
                        <a:pt x="917" y="73"/>
                      </a:lnTo>
                      <a:lnTo>
                        <a:pt x="922" y="77"/>
                      </a:lnTo>
                      <a:lnTo>
                        <a:pt x="924" y="78"/>
                      </a:lnTo>
                      <a:lnTo>
                        <a:pt x="928" y="80"/>
                      </a:lnTo>
                      <a:lnTo>
                        <a:pt x="932" y="80"/>
                      </a:lnTo>
                      <a:lnTo>
                        <a:pt x="935" y="78"/>
                      </a:lnTo>
                      <a:lnTo>
                        <a:pt x="937" y="77"/>
                      </a:lnTo>
                      <a:lnTo>
                        <a:pt x="938" y="78"/>
                      </a:lnTo>
                      <a:lnTo>
                        <a:pt x="940" y="81"/>
                      </a:lnTo>
                      <a:lnTo>
                        <a:pt x="945" y="82"/>
                      </a:lnTo>
                      <a:lnTo>
                        <a:pt x="950" y="83"/>
                      </a:lnTo>
                      <a:lnTo>
                        <a:pt x="959" y="83"/>
                      </a:lnTo>
                      <a:lnTo>
                        <a:pt x="962" y="84"/>
                      </a:lnTo>
                      <a:lnTo>
                        <a:pt x="965" y="87"/>
                      </a:lnTo>
                      <a:lnTo>
                        <a:pt x="965" y="89"/>
                      </a:lnTo>
                      <a:lnTo>
                        <a:pt x="965" y="92"/>
                      </a:lnTo>
                      <a:lnTo>
                        <a:pt x="965" y="94"/>
                      </a:lnTo>
                      <a:lnTo>
                        <a:pt x="966" y="96"/>
                      </a:lnTo>
                      <a:lnTo>
                        <a:pt x="971" y="101"/>
                      </a:lnTo>
                      <a:lnTo>
                        <a:pt x="974" y="107"/>
                      </a:lnTo>
                      <a:lnTo>
                        <a:pt x="975" y="114"/>
                      </a:lnTo>
                      <a:lnTo>
                        <a:pt x="975" y="121"/>
                      </a:lnTo>
                      <a:lnTo>
                        <a:pt x="976" y="128"/>
                      </a:lnTo>
                      <a:lnTo>
                        <a:pt x="978" y="132"/>
                      </a:lnTo>
                      <a:lnTo>
                        <a:pt x="980" y="134"/>
                      </a:lnTo>
                      <a:lnTo>
                        <a:pt x="983" y="137"/>
                      </a:lnTo>
                      <a:lnTo>
                        <a:pt x="988" y="139"/>
                      </a:lnTo>
                      <a:lnTo>
                        <a:pt x="993" y="140"/>
                      </a:lnTo>
                      <a:lnTo>
                        <a:pt x="998" y="140"/>
                      </a:lnTo>
                      <a:lnTo>
                        <a:pt x="1001" y="139"/>
                      </a:lnTo>
                      <a:lnTo>
                        <a:pt x="1003" y="138"/>
                      </a:lnTo>
                      <a:lnTo>
                        <a:pt x="1007" y="134"/>
                      </a:lnTo>
                      <a:lnTo>
                        <a:pt x="1013" y="125"/>
                      </a:lnTo>
                      <a:lnTo>
                        <a:pt x="1015" y="124"/>
                      </a:lnTo>
                      <a:lnTo>
                        <a:pt x="1017" y="121"/>
                      </a:lnTo>
                      <a:lnTo>
                        <a:pt x="1025" y="120"/>
                      </a:lnTo>
                      <a:lnTo>
                        <a:pt x="1032" y="121"/>
                      </a:lnTo>
                      <a:lnTo>
                        <a:pt x="1040" y="122"/>
                      </a:lnTo>
                      <a:lnTo>
                        <a:pt x="1041" y="122"/>
                      </a:lnTo>
                      <a:lnTo>
                        <a:pt x="1041" y="124"/>
                      </a:lnTo>
                      <a:lnTo>
                        <a:pt x="1041" y="127"/>
                      </a:lnTo>
                      <a:lnTo>
                        <a:pt x="1039" y="134"/>
                      </a:lnTo>
                      <a:lnTo>
                        <a:pt x="1039" y="137"/>
                      </a:lnTo>
                      <a:lnTo>
                        <a:pt x="1039" y="139"/>
                      </a:lnTo>
                      <a:lnTo>
                        <a:pt x="1042" y="143"/>
                      </a:lnTo>
                      <a:lnTo>
                        <a:pt x="1042" y="144"/>
                      </a:lnTo>
                      <a:lnTo>
                        <a:pt x="1037" y="148"/>
                      </a:lnTo>
                      <a:lnTo>
                        <a:pt x="1032" y="153"/>
                      </a:lnTo>
                      <a:lnTo>
                        <a:pt x="1031" y="156"/>
                      </a:lnTo>
                      <a:lnTo>
                        <a:pt x="1030" y="159"/>
                      </a:lnTo>
                      <a:lnTo>
                        <a:pt x="1030" y="161"/>
                      </a:lnTo>
                      <a:lnTo>
                        <a:pt x="1031" y="165"/>
                      </a:lnTo>
                      <a:lnTo>
                        <a:pt x="1031" y="166"/>
                      </a:lnTo>
                      <a:lnTo>
                        <a:pt x="1031" y="169"/>
                      </a:lnTo>
                      <a:lnTo>
                        <a:pt x="1027" y="172"/>
                      </a:lnTo>
                      <a:lnTo>
                        <a:pt x="1025" y="178"/>
                      </a:lnTo>
                      <a:lnTo>
                        <a:pt x="1022" y="185"/>
                      </a:lnTo>
                      <a:lnTo>
                        <a:pt x="1017" y="191"/>
                      </a:lnTo>
                      <a:lnTo>
                        <a:pt x="1015" y="192"/>
                      </a:lnTo>
                      <a:lnTo>
                        <a:pt x="1011" y="195"/>
                      </a:lnTo>
                      <a:lnTo>
                        <a:pt x="1006" y="196"/>
                      </a:lnTo>
                      <a:lnTo>
                        <a:pt x="1001" y="195"/>
                      </a:lnTo>
                      <a:lnTo>
                        <a:pt x="990" y="191"/>
                      </a:lnTo>
                      <a:lnTo>
                        <a:pt x="988" y="191"/>
                      </a:lnTo>
                      <a:lnTo>
                        <a:pt x="985" y="191"/>
                      </a:lnTo>
                      <a:lnTo>
                        <a:pt x="983" y="193"/>
                      </a:lnTo>
                      <a:lnTo>
                        <a:pt x="982" y="195"/>
                      </a:lnTo>
                      <a:lnTo>
                        <a:pt x="980" y="199"/>
                      </a:lnTo>
                      <a:lnTo>
                        <a:pt x="979" y="203"/>
                      </a:lnTo>
                      <a:lnTo>
                        <a:pt x="980" y="211"/>
                      </a:lnTo>
                      <a:lnTo>
                        <a:pt x="982" y="218"/>
                      </a:lnTo>
                      <a:lnTo>
                        <a:pt x="985" y="227"/>
                      </a:lnTo>
                      <a:lnTo>
                        <a:pt x="987" y="230"/>
                      </a:lnTo>
                      <a:lnTo>
                        <a:pt x="987" y="234"/>
                      </a:lnTo>
                      <a:lnTo>
                        <a:pt x="987" y="239"/>
                      </a:lnTo>
                      <a:lnTo>
                        <a:pt x="984" y="242"/>
                      </a:lnTo>
                      <a:lnTo>
                        <a:pt x="980" y="249"/>
                      </a:lnTo>
                      <a:lnTo>
                        <a:pt x="975" y="256"/>
                      </a:lnTo>
                      <a:lnTo>
                        <a:pt x="974" y="252"/>
                      </a:lnTo>
                      <a:lnTo>
                        <a:pt x="970" y="248"/>
                      </a:lnTo>
                      <a:lnTo>
                        <a:pt x="966" y="247"/>
                      </a:lnTo>
                      <a:lnTo>
                        <a:pt x="965" y="247"/>
                      </a:lnTo>
                      <a:lnTo>
                        <a:pt x="962" y="248"/>
                      </a:lnTo>
                      <a:lnTo>
                        <a:pt x="956" y="254"/>
                      </a:lnTo>
                      <a:lnTo>
                        <a:pt x="954" y="258"/>
                      </a:lnTo>
                      <a:lnTo>
                        <a:pt x="948" y="260"/>
                      </a:lnTo>
                      <a:lnTo>
                        <a:pt x="947" y="262"/>
                      </a:lnTo>
                      <a:lnTo>
                        <a:pt x="945" y="265"/>
                      </a:lnTo>
                      <a:lnTo>
                        <a:pt x="943" y="267"/>
                      </a:lnTo>
                      <a:lnTo>
                        <a:pt x="942" y="269"/>
                      </a:lnTo>
                      <a:lnTo>
                        <a:pt x="932" y="275"/>
                      </a:lnTo>
                      <a:lnTo>
                        <a:pt x="922" y="281"/>
                      </a:lnTo>
                      <a:lnTo>
                        <a:pt x="921" y="282"/>
                      </a:lnTo>
                      <a:lnTo>
                        <a:pt x="918" y="281"/>
                      </a:lnTo>
                      <a:lnTo>
                        <a:pt x="915" y="278"/>
                      </a:lnTo>
                      <a:lnTo>
                        <a:pt x="910" y="276"/>
                      </a:lnTo>
                      <a:lnTo>
                        <a:pt x="905" y="276"/>
                      </a:lnTo>
                      <a:lnTo>
                        <a:pt x="902" y="278"/>
                      </a:lnTo>
                      <a:lnTo>
                        <a:pt x="899" y="279"/>
                      </a:lnTo>
                      <a:lnTo>
                        <a:pt x="898" y="280"/>
                      </a:lnTo>
                      <a:lnTo>
                        <a:pt x="896" y="285"/>
                      </a:lnTo>
                      <a:lnTo>
                        <a:pt x="896" y="291"/>
                      </a:lnTo>
                      <a:lnTo>
                        <a:pt x="895" y="295"/>
                      </a:lnTo>
                      <a:lnTo>
                        <a:pt x="886" y="299"/>
                      </a:lnTo>
                      <a:lnTo>
                        <a:pt x="884" y="301"/>
                      </a:lnTo>
                      <a:lnTo>
                        <a:pt x="880" y="304"/>
                      </a:lnTo>
                      <a:lnTo>
                        <a:pt x="874" y="312"/>
                      </a:lnTo>
                      <a:lnTo>
                        <a:pt x="870" y="316"/>
                      </a:lnTo>
                      <a:lnTo>
                        <a:pt x="865" y="318"/>
                      </a:lnTo>
                      <a:lnTo>
                        <a:pt x="861" y="318"/>
                      </a:lnTo>
                      <a:lnTo>
                        <a:pt x="858" y="319"/>
                      </a:lnTo>
                      <a:lnTo>
                        <a:pt x="849" y="325"/>
                      </a:lnTo>
                      <a:lnTo>
                        <a:pt x="844" y="327"/>
                      </a:lnTo>
                      <a:lnTo>
                        <a:pt x="838" y="327"/>
                      </a:lnTo>
                      <a:lnTo>
                        <a:pt x="835" y="327"/>
                      </a:lnTo>
                      <a:lnTo>
                        <a:pt x="833" y="329"/>
                      </a:lnTo>
                      <a:lnTo>
                        <a:pt x="830" y="332"/>
                      </a:lnTo>
                      <a:lnTo>
                        <a:pt x="829" y="336"/>
                      </a:lnTo>
                      <a:lnTo>
                        <a:pt x="827" y="338"/>
                      </a:lnTo>
                      <a:lnTo>
                        <a:pt x="824" y="341"/>
                      </a:lnTo>
                      <a:lnTo>
                        <a:pt x="820" y="343"/>
                      </a:lnTo>
                      <a:lnTo>
                        <a:pt x="813" y="344"/>
                      </a:lnTo>
                      <a:lnTo>
                        <a:pt x="806" y="343"/>
                      </a:lnTo>
                      <a:lnTo>
                        <a:pt x="805" y="343"/>
                      </a:lnTo>
                      <a:lnTo>
                        <a:pt x="804" y="342"/>
                      </a:lnTo>
                      <a:lnTo>
                        <a:pt x="805" y="339"/>
                      </a:lnTo>
                      <a:lnTo>
                        <a:pt x="806" y="338"/>
                      </a:lnTo>
                      <a:lnTo>
                        <a:pt x="809" y="337"/>
                      </a:lnTo>
                      <a:lnTo>
                        <a:pt x="811" y="336"/>
                      </a:lnTo>
                      <a:lnTo>
                        <a:pt x="814" y="335"/>
                      </a:lnTo>
                      <a:lnTo>
                        <a:pt x="814" y="332"/>
                      </a:lnTo>
                      <a:lnTo>
                        <a:pt x="813" y="330"/>
                      </a:lnTo>
                      <a:lnTo>
                        <a:pt x="813" y="327"/>
                      </a:lnTo>
                      <a:lnTo>
                        <a:pt x="813" y="326"/>
                      </a:lnTo>
                      <a:lnTo>
                        <a:pt x="816" y="319"/>
                      </a:lnTo>
                      <a:lnTo>
                        <a:pt x="820" y="312"/>
                      </a:lnTo>
                      <a:lnTo>
                        <a:pt x="822" y="304"/>
                      </a:lnTo>
                      <a:lnTo>
                        <a:pt x="822" y="297"/>
                      </a:lnTo>
                      <a:lnTo>
                        <a:pt x="822" y="294"/>
                      </a:lnTo>
                      <a:lnTo>
                        <a:pt x="819" y="292"/>
                      </a:lnTo>
                      <a:lnTo>
                        <a:pt x="816" y="291"/>
                      </a:lnTo>
                      <a:lnTo>
                        <a:pt x="814" y="291"/>
                      </a:lnTo>
                      <a:lnTo>
                        <a:pt x="808" y="298"/>
                      </a:lnTo>
                      <a:lnTo>
                        <a:pt x="800" y="306"/>
                      </a:lnTo>
                      <a:lnTo>
                        <a:pt x="786" y="322"/>
                      </a:lnTo>
                      <a:lnTo>
                        <a:pt x="785" y="324"/>
                      </a:lnTo>
                      <a:lnTo>
                        <a:pt x="785" y="327"/>
                      </a:lnTo>
                      <a:lnTo>
                        <a:pt x="783" y="330"/>
                      </a:lnTo>
                      <a:lnTo>
                        <a:pt x="781" y="332"/>
                      </a:lnTo>
                      <a:lnTo>
                        <a:pt x="780" y="333"/>
                      </a:lnTo>
                      <a:lnTo>
                        <a:pt x="777" y="333"/>
                      </a:lnTo>
                      <a:lnTo>
                        <a:pt x="771" y="335"/>
                      </a:lnTo>
                      <a:lnTo>
                        <a:pt x="767" y="335"/>
                      </a:lnTo>
                      <a:lnTo>
                        <a:pt x="764" y="333"/>
                      </a:lnTo>
                      <a:lnTo>
                        <a:pt x="761" y="331"/>
                      </a:lnTo>
                      <a:lnTo>
                        <a:pt x="758" y="331"/>
                      </a:lnTo>
                      <a:lnTo>
                        <a:pt x="754" y="333"/>
                      </a:lnTo>
                      <a:lnTo>
                        <a:pt x="752" y="337"/>
                      </a:lnTo>
                      <a:lnTo>
                        <a:pt x="749" y="342"/>
                      </a:lnTo>
                      <a:lnTo>
                        <a:pt x="749" y="346"/>
                      </a:lnTo>
                      <a:lnTo>
                        <a:pt x="750" y="348"/>
                      </a:lnTo>
                      <a:lnTo>
                        <a:pt x="752" y="349"/>
                      </a:lnTo>
                      <a:lnTo>
                        <a:pt x="754" y="350"/>
                      </a:lnTo>
                      <a:lnTo>
                        <a:pt x="757" y="355"/>
                      </a:lnTo>
                      <a:lnTo>
                        <a:pt x="758" y="358"/>
                      </a:lnTo>
                      <a:lnTo>
                        <a:pt x="761" y="362"/>
                      </a:lnTo>
                      <a:lnTo>
                        <a:pt x="764" y="365"/>
                      </a:lnTo>
                      <a:lnTo>
                        <a:pt x="766" y="367"/>
                      </a:lnTo>
                      <a:lnTo>
                        <a:pt x="766" y="370"/>
                      </a:lnTo>
                      <a:lnTo>
                        <a:pt x="766" y="373"/>
                      </a:lnTo>
                      <a:lnTo>
                        <a:pt x="766" y="375"/>
                      </a:lnTo>
                      <a:lnTo>
                        <a:pt x="771" y="378"/>
                      </a:lnTo>
                      <a:lnTo>
                        <a:pt x="775" y="380"/>
                      </a:lnTo>
                      <a:lnTo>
                        <a:pt x="780" y="380"/>
                      </a:lnTo>
                      <a:lnTo>
                        <a:pt x="786" y="378"/>
                      </a:lnTo>
                      <a:lnTo>
                        <a:pt x="796" y="375"/>
                      </a:lnTo>
                      <a:lnTo>
                        <a:pt x="805" y="369"/>
                      </a:lnTo>
                      <a:lnTo>
                        <a:pt x="808" y="369"/>
                      </a:lnTo>
                      <a:lnTo>
                        <a:pt x="809" y="369"/>
                      </a:lnTo>
                      <a:lnTo>
                        <a:pt x="813" y="370"/>
                      </a:lnTo>
                      <a:lnTo>
                        <a:pt x="815" y="371"/>
                      </a:lnTo>
                      <a:lnTo>
                        <a:pt x="819" y="373"/>
                      </a:lnTo>
                      <a:lnTo>
                        <a:pt x="825" y="373"/>
                      </a:lnTo>
                      <a:lnTo>
                        <a:pt x="832" y="374"/>
                      </a:lnTo>
                      <a:lnTo>
                        <a:pt x="834" y="374"/>
                      </a:lnTo>
                      <a:lnTo>
                        <a:pt x="835" y="376"/>
                      </a:lnTo>
                      <a:lnTo>
                        <a:pt x="837" y="378"/>
                      </a:lnTo>
                      <a:lnTo>
                        <a:pt x="834" y="383"/>
                      </a:lnTo>
                      <a:lnTo>
                        <a:pt x="832" y="387"/>
                      </a:lnTo>
                      <a:lnTo>
                        <a:pt x="829" y="389"/>
                      </a:lnTo>
                      <a:lnTo>
                        <a:pt x="820" y="390"/>
                      </a:lnTo>
                      <a:lnTo>
                        <a:pt x="813" y="391"/>
                      </a:lnTo>
                      <a:lnTo>
                        <a:pt x="806" y="395"/>
                      </a:lnTo>
                      <a:lnTo>
                        <a:pt x="800" y="400"/>
                      </a:lnTo>
                      <a:lnTo>
                        <a:pt x="795" y="405"/>
                      </a:lnTo>
                      <a:lnTo>
                        <a:pt x="790" y="410"/>
                      </a:lnTo>
                      <a:lnTo>
                        <a:pt x="786" y="416"/>
                      </a:lnTo>
                      <a:lnTo>
                        <a:pt x="783" y="423"/>
                      </a:lnTo>
                      <a:lnTo>
                        <a:pt x="780" y="428"/>
                      </a:lnTo>
                      <a:lnTo>
                        <a:pt x="780" y="429"/>
                      </a:lnTo>
                      <a:lnTo>
                        <a:pt x="781" y="431"/>
                      </a:lnTo>
                      <a:lnTo>
                        <a:pt x="785" y="433"/>
                      </a:lnTo>
                      <a:lnTo>
                        <a:pt x="797" y="450"/>
                      </a:lnTo>
                      <a:lnTo>
                        <a:pt x="797" y="453"/>
                      </a:lnTo>
                      <a:lnTo>
                        <a:pt x="796" y="456"/>
                      </a:lnTo>
                      <a:lnTo>
                        <a:pt x="795" y="459"/>
                      </a:lnTo>
                      <a:lnTo>
                        <a:pt x="795" y="463"/>
                      </a:lnTo>
                      <a:lnTo>
                        <a:pt x="796" y="466"/>
                      </a:lnTo>
                      <a:lnTo>
                        <a:pt x="799" y="470"/>
                      </a:lnTo>
                      <a:lnTo>
                        <a:pt x="799" y="471"/>
                      </a:lnTo>
                      <a:lnTo>
                        <a:pt x="799" y="473"/>
                      </a:lnTo>
                      <a:lnTo>
                        <a:pt x="804" y="474"/>
                      </a:lnTo>
                      <a:lnTo>
                        <a:pt x="808" y="476"/>
                      </a:lnTo>
                      <a:lnTo>
                        <a:pt x="810" y="478"/>
                      </a:lnTo>
                      <a:lnTo>
                        <a:pt x="811" y="480"/>
                      </a:lnTo>
                      <a:lnTo>
                        <a:pt x="815" y="496"/>
                      </a:lnTo>
                      <a:lnTo>
                        <a:pt x="818" y="501"/>
                      </a:lnTo>
                      <a:lnTo>
                        <a:pt x="822" y="504"/>
                      </a:lnTo>
                      <a:lnTo>
                        <a:pt x="823" y="506"/>
                      </a:lnTo>
                      <a:lnTo>
                        <a:pt x="823" y="510"/>
                      </a:lnTo>
                      <a:lnTo>
                        <a:pt x="822" y="512"/>
                      </a:lnTo>
                      <a:lnTo>
                        <a:pt x="819" y="516"/>
                      </a:lnTo>
                      <a:lnTo>
                        <a:pt x="811" y="521"/>
                      </a:lnTo>
                      <a:lnTo>
                        <a:pt x="808" y="525"/>
                      </a:lnTo>
                      <a:lnTo>
                        <a:pt x="804" y="528"/>
                      </a:lnTo>
                      <a:lnTo>
                        <a:pt x="802" y="530"/>
                      </a:lnTo>
                      <a:lnTo>
                        <a:pt x="802" y="531"/>
                      </a:lnTo>
                      <a:lnTo>
                        <a:pt x="804" y="533"/>
                      </a:lnTo>
                      <a:lnTo>
                        <a:pt x="806" y="535"/>
                      </a:lnTo>
                      <a:lnTo>
                        <a:pt x="809" y="535"/>
                      </a:lnTo>
                      <a:lnTo>
                        <a:pt x="814" y="535"/>
                      </a:lnTo>
                      <a:lnTo>
                        <a:pt x="819" y="534"/>
                      </a:lnTo>
                      <a:lnTo>
                        <a:pt x="824" y="534"/>
                      </a:lnTo>
                      <a:lnTo>
                        <a:pt x="825" y="534"/>
                      </a:lnTo>
                      <a:lnTo>
                        <a:pt x="827" y="536"/>
                      </a:lnTo>
                      <a:lnTo>
                        <a:pt x="828" y="541"/>
                      </a:lnTo>
                      <a:lnTo>
                        <a:pt x="825" y="546"/>
                      </a:lnTo>
                      <a:lnTo>
                        <a:pt x="823" y="549"/>
                      </a:lnTo>
                      <a:lnTo>
                        <a:pt x="820" y="550"/>
                      </a:lnTo>
                      <a:lnTo>
                        <a:pt x="816" y="550"/>
                      </a:lnTo>
                      <a:lnTo>
                        <a:pt x="814" y="550"/>
                      </a:lnTo>
                      <a:lnTo>
                        <a:pt x="811" y="553"/>
                      </a:lnTo>
                      <a:lnTo>
                        <a:pt x="810" y="554"/>
                      </a:lnTo>
                      <a:lnTo>
                        <a:pt x="811" y="556"/>
                      </a:lnTo>
                      <a:lnTo>
                        <a:pt x="815" y="559"/>
                      </a:lnTo>
                      <a:lnTo>
                        <a:pt x="816" y="562"/>
                      </a:lnTo>
                      <a:lnTo>
                        <a:pt x="816" y="566"/>
                      </a:lnTo>
                      <a:lnTo>
                        <a:pt x="815" y="574"/>
                      </a:lnTo>
                      <a:lnTo>
                        <a:pt x="815" y="576"/>
                      </a:lnTo>
                      <a:lnTo>
                        <a:pt x="816" y="580"/>
                      </a:lnTo>
                      <a:lnTo>
                        <a:pt x="816" y="581"/>
                      </a:lnTo>
                      <a:lnTo>
                        <a:pt x="815" y="582"/>
                      </a:lnTo>
                      <a:lnTo>
                        <a:pt x="811" y="582"/>
                      </a:lnTo>
                      <a:lnTo>
                        <a:pt x="809" y="582"/>
                      </a:lnTo>
                      <a:lnTo>
                        <a:pt x="806" y="584"/>
                      </a:lnTo>
                      <a:lnTo>
                        <a:pt x="804" y="586"/>
                      </a:lnTo>
                      <a:lnTo>
                        <a:pt x="800" y="591"/>
                      </a:lnTo>
                      <a:lnTo>
                        <a:pt x="797" y="595"/>
                      </a:lnTo>
                      <a:lnTo>
                        <a:pt x="794" y="601"/>
                      </a:lnTo>
                      <a:lnTo>
                        <a:pt x="790" y="605"/>
                      </a:lnTo>
                      <a:lnTo>
                        <a:pt x="785" y="608"/>
                      </a:lnTo>
                      <a:lnTo>
                        <a:pt x="783" y="612"/>
                      </a:lnTo>
                      <a:lnTo>
                        <a:pt x="782" y="614"/>
                      </a:lnTo>
                      <a:lnTo>
                        <a:pt x="780" y="623"/>
                      </a:lnTo>
                      <a:lnTo>
                        <a:pt x="778" y="626"/>
                      </a:lnTo>
                      <a:lnTo>
                        <a:pt x="778" y="631"/>
                      </a:lnTo>
                      <a:lnTo>
                        <a:pt x="777" y="632"/>
                      </a:lnTo>
                      <a:lnTo>
                        <a:pt x="776" y="633"/>
                      </a:lnTo>
                      <a:lnTo>
                        <a:pt x="771" y="635"/>
                      </a:lnTo>
                      <a:lnTo>
                        <a:pt x="767" y="637"/>
                      </a:lnTo>
                      <a:lnTo>
                        <a:pt x="764" y="639"/>
                      </a:lnTo>
                      <a:lnTo>
                        <a:pt x="763" y="642"/>
                      </a:lnTo>
                      <a:lnTo>
                        <a:pt x="764" y="644"/>
                      </a:lnTo>
                      <a:lnTo>
                        <a:pt x="766" y="646"/>
                      </a:lnTo>
                      <a:lnTo>
                        <a:pt x="767" y="648"/>
                      </a:lnTo>
                      <a:lnTo>
                        <a:pt x="767" y="650"/>
                      </a:lnTo>
                      <a:lnTo>
                        <a:pt x="767" y="651"/>
                      </a:lnTo>
                      <a:lnTo>
                        <a:pt x="755" y="658"/>
                      </a:lnTo>
                      <a:lnTo>
                        <a:pt x="750" y="663"/>
                      </a:lnTo>
                      <a:lnTo>
                        <a:pt x="749" y="665"/>
                      </a:lnTo>
                      <a:lnTo>
                        <a:pt x="748" y="668"/>
                      </a:lnTo>
                      <a:lnTo>
                        <a:pt x="748" y="669"/>
                      </a:lnTo>
                      <a:lnTo>
                        <a:pt x="749" y="669"/>
                      </a:lnTo>
                      <a:lnTo>
                        <a:pt x="750" y="670"/>
                      </a:lnTo>
                      <a:lnTo>
                        <a:pt x="750" y="671"/>
                      </a:lnTo>
                      <a:lnTo>
                        <a:pt x="749" y="672"/>
                      </a:lnTo>
                      <a:lnTo>
                        <a:pt x="743" y="672"/>
                      </a:lnTo>
                      <a:lnTo>
                        <a:pt x="738" y="674"/>
                      </a:lnTo>
                      <a:lnTo>
                        <a:pt x="734" y="677"/>
                      </a:lnTo>
                      <a:lnTo>
                        <a:pt x="731" y="682"/>
                      </a:lnTo>
                      <a:lnTo>
                        <a:pt x="729" y="684"/>
                      </a:lnTo>
                      <a:lnTo>
                        <a:pt x="724" y="687"/>
                      </a:lnTo>
                      <a:lnTo>
                        <a:pt x="719" y="688"/>
                      </a:lnTo>
                      <a:lnTo>
                        <a:pt x="716" y="687"/>
                      </a:lnTo>
                      <a:lnTo>
                        <a:pt x="715" y="686"/>
                      </a:lnTo>
                      <a:lnTo>
                        <a:pt x="715" y="683"/>
                      </a:lnTo>
                      <a:lnTo>
                        <a:pt x="715" y="680"/>
                      </a:lnTo>
                      <a:lnTo>
                        <a:pt x="712" y="678"/>
                      </a:lnTo>
                      <a:lnTo>
                        <a:pt x="711" y="678"/>
                      </a:lnTo>
                      <a:lnTo>
                        <a:pt x="707" y="682"/>
                      </a:lnTo>
                      <a:lnTo>
                        <a:pt x="705" y="684"/>
                      </a:lnTo>
                      <a:lnTo>
                        <a:pt x="701" y="686"/>
                      </a:lnTo>
                      <a:lnTo>
                        <a:pt x="697" y="687"/>
                      </a:lnTo>
                      <a:lnTo>
                        <a:pt x="689" y="686"/>
                      </a:lnTo>
                      <a:lnTo>
                        <a:pt x="682" y="684"/>
                      </a:lnTo>
                      <a:lnTo>
                        <a:pt x="679" y="684"/>
                      </a:lnTo>
                      <a:lnTo>
                        <a:pt x="678" y="686"/>
                      </a:lnTo>
                      <a:lnTo>
                        <a:pt x="677" y="691"/>
                      </a:lnTo>
                      <a:lnTo>
                        <a:pt x="675" y="693"/>
                      </a:lnTo>
                      <a:lnTo>
                        <a:pt x="674" y="694"/>
                      </a:lnTo>
                      <a:lnTo>
                        <a:pt x="674" y="700"/>
                      </a:lnTo>
                      <a:lnTo>
                        <a:pt x="672" y="703"/>
                      </a:lnTo>
                      <a:lnTo>
                        <a:pt x="668" y="707"/>
                      </a:lnTo>
                      <a:lnTo>
                        <a:pt x="664" y="708"/>
                      </a:lnTo>
                      <a:lnTo>
                        <a:pt x="663" y="707"/>
                      </a:lnTo>
                      <a:lnTo>
                        <a:pt x="663" y="704"/>
                      </a:lnTo>
                      <a:lnTo>
                        <a:pt x="663" y="702"/>
                      </a:lnTo>
                      <a:lnTo>
                        <a:pt x="663" y="700"/>
                      </a:lnTo>
                      <a:lnTo>
                        <a:pt x="660" y="700"/>
                      </a:lnTo>
                      <a:lnTo>
                        <a:pt x="659" y="700"/>
                      </a:lnTo>
                      <a:lnTo>
                        <a:pt x="656" y="702"/>
                      </a:lnTo>
                      <a:lnTo>
                        <a:pt x="653" y="708"/>
                      </a:lnTo>
                      <a:lnTo>
                        <a:pt x="648" y="710"/>
                      </a:lnTo>
                      <a:lnTo>
                        <a:pt x="642" y="713"/>
                      </a:lnTo>
                      <a:lnTo>
                        <a:pt x="636" y="715"/>
                      </a:lnTo>
                      <a:lnTo>
                        <a:pt x="630" y="719"/>
                      </a:lnTo>
                      <a:lnTo>
                        <a:pt x="625" y="723"/>
                      </a:lnTo>
                      <a:lnTo>
                        <a:pt x="623" y="726"/>
                      </a:lnTo>
                      <a:lnTo>
                        <a:pt x="622" y="728"/>
                      </a:lnTo>
                      <a:lnTo>
                        <a:pt x="623" y="731"/>
                      </a:lnTo>
                      <a:lnTo>
                        <a:pt x="625" y="733"/>
                      </a:lnTo>
                      <a:lnTo>
                        <a:pt x="626" y="735"/>
                      </a:lnTo>
                      <a:lnTo>
                        <a:pt x="627" y="738"/>
                      </a:lnTo>
                      <a:lnTo>
                        <a:pt x="625" y="739"/>
                      </a:lnTo>
                      <a:lnTo>
                        <a:pt x="622" y="739"/>
                      </a:lnTo>
                      <a:lnTo>
                        <a:pt x="613" y="735"/>
                      </a:lnTo>
                      <a:lnTo>
                        <a:pt x="612" y="733"/>
                      </a:lnTo>
                      <a:lnTo>
                        <a:pt x="612" y="732"/>
                      </a:lnTo>
                      <a:lnTo>
                        <a:pt x="613" y="729"/>
                      </a:lnTo>
                      <a:lnTo>
                        <a:pt x="613" y="727"/>
                      </a:lnTo>
                      <a:lnTo>
                        <a:pt x="612" y="725"/>
                      </a:lnTo>
                      <a:lnTo>
                        <a:pt x="611" y="721"/>
                      </a:lnTo>
                      <a:lnTo>
                        <a:pt x="611" y="720"/>
                      </a:lnTo>
                      <a:lnTo>
                        <a:pt x="612" y="719"/>
                      </a:lnTo>
                      <a:lnTo>
                        <a:pt x="615" y="716"/>
                      </a:lnTo>
                      <a:lnTo>
                        <a:pt x="616" y="715"/>
                      </a:lnTo>
                      <a:lnTo>
                        <a:pt x="617" y="714"/>
                      </a:lnTo>
                      <a:lnTo>
                        <a:pt x="617" y="713"/>
                      </a:lnTo>
                      <a:lnTo>
                        <a:pt x="616" y="712"/>
                      </a:lnTo>
                      <a:lnTo>
                        <a:pt x="615" y="712"/>
                      </a:lnTo>
                      <a:lnTo>
                        <a:pt x="611" y="712"/>
                      </a:lnTo>
                      <a:lnTo>
                        <a:pt x="608" y="713"/>
                      </a:lnTo>
                      <a:lnTo>
                        <a:pt x="607" y="714"/>
                      </a:lnTo>
                      <a:lnTo>
                        <a:pt x="606" y="715"/>
                      </a:lnTo>
                      <a:lnTo>
                        <a:pt x="604" y="716"/>
                      </a:lnTo>
                      <a:lnTo>
                        <a:pt x="590" y="718"/>
                      </a:lnTo>
                      <a:lnTo>
                        <a:pt x="588" y="714"/>
                      </a:lnTo>
                      <a:lnTo>
                        <a:pt x="584" y="712"/>
                      </a:lnTo>
                      <a:lnTo>
                        <a:pt x="578" y="708"/>
                      </a:lnTo>
                      <a:lnTo>
                        <a:pt x="570" y="704"/>
                      </a:lnTo>
                      <a:lnTo>
                        <a:pt x="562" y="701"/>
                      </a:lnTo>
                      <a:lnTo>
                        <a:pt x="560" y="700"/>
                      </a:lnTo>
                      <a:lnTo>
                        <a:pt x="560" y="699"/>
                      </a:lnTo>
                      <a:lnTo>
                        <a:pt x="560" y="695"/>
                      </a:lnTo>
                      <a:lnTo>
                        <a:pt x="561" y="690"/>
                      </a:lnTo>
                      <a:lnTo>
                        <a:pt x="561" y="688"/>
                      </a:lnTo>
                      <a:lnTo>
                        <a:pt x="561" y="687"/>
                      </a:lnTo>
                      <a:lnTo>
                        <a:pt x="556" y="681"/>
                      </a:lnTo>
                      <a:lnTo>
                        <a:pt x="551" y="678"/>
                      </a:lnTo>
                      <a:lnTo>
                        <a:pt x="546" y="676"/>
                      </a:lnTo>
                      <a:lnTo>
                        <a:pt x="538" y="677"/>
                      </a:lnTo>
                      <a:lnTo>
                        <a:pt x="527" y="681"/>
                      </a:lnTo>
                      <a:lnTo>
                        <a:pt x="518" y="683"/>
                      </a:lnTo>
                      <a:lnTo>
                        <a:pt x="510" y="688"/>
                      </a:lnTo>
                      <a:lnTo>
                        <a:pt x="507" y="689"/>
                      </a:lnTo>
                      <a:lnTo>
                        <a:pt x="502" y="690"/>
                      </a:lnTo>
                      <a:lnTo>
                        <a:pt x="494" y="689"/>
                      </a:lnTo>
                      <a:lnTo>
                        <a:pt x="491" y="690"/>
                      </a:lnTo>
                      <a:lnTo>
                        <a:pt x="489" y="693"/>
                      </a:lnTo>
                      <a:lnTo>
                        <a:pt x="484" y="691"/>
                      </a:lnTo>
                      <a:lnTo>
                        <a:pt x="481" y="691"/>
                      </a:lnTo>
                      <a:lnTo>
                        <a:pt x="479" y="693"/>
                      </a:lnTo>
                      <a:lnTo>
                        <a:pt x="479" y="695"/>
                      </a:lnTo>
                      <a:lnTo>
                        <a:pt x="477" y="696"/>
                      </a:lnTo>
                      <a:lnTo>
                        <a:pt x="479" y="700"/>
                      </a:lnTo>
                      <a:lnTo>
                        <a:pt x="484" y="707"/>
                      </a:lnTo>
                      <a:lnTo>
                        <a:pt x="484" y="712"/>
                      </a:lnTo>
                      <a:lnTo>
                        <a:pt x="484" y="713"/>
                      </a:lnTo>
                      <a:lnTo>
                        <a:pt x="482" y="714"/>
                      </a:lnTo>
                      <a:lnTo>
                        <a:pt x="479" y="716"/>
                      </a:lnTo>
                      <a:lnTo>
                        <a:pt x="475" y="718"/>
                      </a:lnTo>
                      <a:lnTo>
                        <a:pt x="471" y="716"/>
                      </a:lnTo>
                      <a:lnTo>
                        <a:pt x="466" y="715"/>
                      </a:lnTo>
                      <a:lnTo>
                        <a:pt x="467" y="713"/>
                      </a:lnTo>
                      <a:lnTo>
                        <a:pt x="466" y="710"/>
                      </a:lnTo>
                      <a:lnTo>
                        <a:pt x="466" y="709"/>
                      </a:lnTo>
                      <a:lnTo>
                        <a:pt x="462" y="708"/>
                      </a:lnTo>
                      <a:lnTo>
                        <a:pt x="456" y="708"/>
                      </a:lnTo>
                      <a:lnTo>
                        <a:pt x="455" y="707"/>
                      </a:lnTo>
                      <a:lnTo>
                        <a:pt x="453" y="706"/>
                      </a:lnTo>
                      <a:lnTo>
                        <a:pt x="453" y="702"/>
                      </a:lnTo>
                      <a:lnTo>
                        <a:pt x="453" y="699"/>
                      </a:lnTo>
                      <a:lnTo>
                        <a:pt x="452" y="697"/>
                      </a:lnTo>
                      <a:lnTo>
                        <a:pt x="451" y="697"/>
                      </a:lnTo>
                      <a:lnTo>
                        <a:pt x="446" y="699"/>
                      </a:lnTo>
                      <a:lnTo>
                        <a:pt x="443" y="699"/>
                      </a:lnTo>
                      <a:lnTo>
                        <a:pt x="441" y="699"/>
                      </a:lnTo>
                      <a:lnTo>
                        <a:pt x="439" y="697"/>
                      </a:lnTo>
                      <a:lnTo>
                        <a:pt x="439" y="695"/>
                      </a:lnTo>
                      <a:lnTo>
                        <a:pt x="442" y="690"/>
                      </a:lnTo>
                      <a:lnTo>
                        <a:pt x="446" y="687"/>
                      </a:lnTo>
                      <a:lnTo>
                        <a:pt x="449" y="682"/>
                      </a:lnTo>
                      <a:lnTo>
                        <a:pt x="451" y="677"/>
                      </a:lnTo>
                      <a:lnTo>
                        <a:pt x="451" y="675"/>
                      </a:lnTo>
                      <a:lnTo>
                        <a:pt x="448" y="675"/>
                      </a:lnTo>
                      <a:lnTo>
                        <a:pt x="443" y="675"/>
                      </a:lnTo>
                      <a:lnTo>
                        <a:pt x="441" y="674"/>
                      </a:lnTo>
                      <a:lnTo>
                        <a:pt x="439" y="671"/>
                      </a:lnTo>
                      <a:lnTo>
                        <a:pt x="439" y="667"/>
                      </a:lnTo>
                      <a:lnTo>
                        <a:pt x="439" y="661"/>
                      </a:lnTo>
                      <a:lnTo>
                        <a:pt x="439" y="658"/>
                      </a:lnTo>
                      <a:lnTo>
                        <a:pt x="438" y="657"/>
                      </a:lnTo>
                      <a:lnTo>
                        <a:pt x="435" y="657"/>
                      </a:lnTo>
                      <a:lnTo>
                        <a:pt x="432" y="657"/>
                      </a:lnTo>
                      <a:lnTo>
                        <a:pt x="425" y="658"/>
                      </a:lnTo>
                      <a:lnTo>
                        <a:pt x="419" y="659"/>
                      </a:lnTo>
                      <a:lnTo>
                        <a:pt x="416" y="658"/>
                      </a:lnTo>
                      <a:lnTo>
                        <a:pt x="415" y="657"/>
                      </a:lnTo>
                      <a:lnTo>
                        <a:pt x="413" y="652"/>
                      </a:lnTo>
                      <a:lnTo>
                        <a:pt x="413" y="649"/>
                      </a:lnTo>
                      <a:lnTo>
                        <a:pt x="413" y="645"/>
                      </a:lnTo>
                      <a:lnTo>
                        <a:pt x="414" y="640"/>
                      </a:lnTo>
                      <a:lnTo>
                        <a:pt x="418" y="632"/>
                      </a:lnTo>
                      <a:lnTo>
                        <a:pt x="422" y="624"/>
                      </a:lnTo>
                      <a:lnTo>
                        <a:pt x="424" y="619"/>
                      </a:lnTo>
                      <a:lnTo>
                        <a:pt x="425" y="614"/>
                      </a:lnTo>
                      <a:lnTo>
                        <a:pt x="427" y="604"/>
                      </a:lnTo>
                      <a:lnTo>
                        <a:pt x="425" y="581"/>
                      </a:lnTo>
                      <a:lnTo>
                        <a:pt x="424" y="576"/>
                      </a:lnTo>
                      <a:lnTo>
                        <a:pt x="422" y="572"/>
                      </a:lnTo>
                      <a:lnTo>
                        <a:pt x="416" y="569"/>
                      </a:lnTo>
                      <a:lnTo>
                        <a:pt x="414" y="568"/>
                      </a:lnTo>
                      <a:lnTo>
                        <a:pt x="413" y="569"/>
                      </a:lnTo>
                      <a:lnTo>
                        <a:pt x="408" y="571"/>
                      </a:lnTo>
                      <a:lnTo>
                        <a:pt x="401" y="572"/>
                      </a:lnTo>
                      <a:lnTo>
                        <a:pt x="399" y="571"/>
                      </a:lnTo>
                      <a:lnTo>
                        <a:pt x="397" y="568"/>
                      </a:lnTo>
                      <a:lnTo>
                        <a:pt x="397" y="566"/>
                      </a:lnTo>
                      <a:lnTo>
                        <a:pt x="399" y="563"/>
                      </a:lnTo>
                      <a:lnTo>
                        <a:pt x="400" y="560"/>
                      </a:lnTo>
                      <a:lnTo>
                        <a:pt x="399" y="557"/>
                      </a:lnTo>
                      <a:lnTo>
                        <a:pt x="395" y="555"/>
                      </a:lnTo>
                      <a:lnTo>
                        <a:pt x="391" y="554"/>
                      </a:lnTo>
                      <a:lnTo>
                        <a:pt x="383" y="553"/>
                      </a:lnTo>
                      <a:lnTo>
                        <a:pt x="375" y="553"/>
                      </a:lnTo>
                      <a:lnTo>
                        <a:pt x="366" y="555"/>
                      </a:lnTo>
                      <a:lnTo>
                        <a:pt x="353" y="560"/>
                      </a:lnTo>
                      <a:lnTo>
                        <a:pt x="336" y="568"/>
                      </a:lnTo>
                      <a:lnTo>
                        <a:pt x="321" y="576"/>
                      </a:lnTo>
                      <a:lnTo>
                        <a:pt x="315" y="579"/>
                      </a:lnTo>
                      <a:lnTo>
                        <a:pt x="310" y="579"/>
                      </a:lnTo>
                      <a:lnTo>
                        <a:pt x="307" y="578"/>
                      </a:lnTo>
                      <a:lnTo>
                        <a:pt x="305" y="576"/>
                      </a:lnTo>
                      <a:lnTo>
                        <a:pt x="301" y="575"/>
                      </a:lnTo>
                      <a:lnTo>
                        <a:pt x="297" y="575"/>
                      </a:lnTo>
                      <a:lnTo>
                        <a:pt x="287" y="578"/>
                      </a:lnTo>
                      <a:lnTo>
                        <a:pt x="275" y="579"/>
                      </a:lnTo>
                      <a:lnTo>
                        <a:pt x="273" y="579"/>
                      </a:lnTo>
                      <a:lnTo>
                        <a:pt x="272" y="581"/>
                      </a:lnTo>
                      <a:lnTo>
                        <a:pt x="270" y="584"/>
                      </a:lnTo>
                      <a:lnTo>
                        <a:pt x="268" y="587"/>
                      </a:lnTo>
                      <a:lnTo>
                        <a:pt x="264" y="582"/>
                      </a:lnTo>
                      <a:lnTo>
                        <a:pt x="259" y="579"/>
                      </a:lnTo>
                      <a:lnTo>
                        <a:pt x="256" y="578"/>
                      </a:lnTo>
                      <a:lnTo>
                        <a:pt x="255" y="579"/>
                      </a:lnTo>
                      <a:lnTo>
                        <a:pt x="253" y="580"/>
                      </a:lnTo>
                      <a:lnTo>
                        <a:pt x="250" y="581"/>
                      </a:lnTo>
                      <a:lnTo>
                        <a:pt x="245" y="580"/>
                      </a:lnTo>
                      <a:lnTo>
                        <a:pt x="241" y="579"/>
                      </a:lnTo>
                      <a:lnTo>
                        <a:pt x="232" y="574"/>
                      </a:lnTo>
                      <a:lnTo>
                        <a:pt x="230" y="574"/>
                      </a:lnTo>
                      <a:lnTo>
                        <a:pt x="228" y="574"/>
                      </a:lnTo>
                      <a:lnTo>
                        <a:pt x="225" y="576"/>
                      </a:lnTo>
                      <a:lnTo>
                        <a:pt x="221" y="579"/>
                      </a:lnTo>
                      <a:lnTo>
                        <a:pt x="218" y="579"/>
                      </a:lnTo>
                      <a:lnTo>
                        <a:pt x="216" y="579"/>
                      </a:lnTo>
                      <a:lnTo>
                        <a:pt x="209" y="575"/>
                      </a:lnTo>
                      <a:lnTo>
                        <a:pt x="204" y="572"/>
                      </a:lnTo>
                      <a:lnTo>
                        <a:pt x="201" y="566"/>
                      </a:lnTo>
                      <a:lnTo>
                        <a:pt x="195" y="561"/>
                      </a:lnTo>
                      <a:lnTo>
                        <a:pt x="192" y="560"/>
                      </a:lnTo>
                      <a:lnTo>
                        <a:pt x="188" y="560"/>
                      </a:lnTo>
                      <a:lnTo>
                        <a:pt x="185" y="560"/>
                      </a:lnTo>
                      <a:lnTo>
                        <a:pt x="183" y="560"/>
                      </a:lnTo>
                      <a:lnTo>
                        <a:pt x="183" y="559"/>
                      </a:lnTo>
                      <a:lnTo>
                        <a:pt x="184" y="555"/>
                      </a:lnTo>
                      <a:lnTo>
                        <a:pt x="183" y="554"/>
                      </a:lnTo>
                      <a:lnTo>
                        <a:pt x="182" y="553"/>
                      </a:lnTo>
                      <a:lnTo>
                        <a:pt x="176" y="552"/>
                      </a:lnTo>
                      <a:lnTo>
                        <a:pt x="173" y="552"/>
                      </a:lnTo>
                      <a:lnTo>
                        <a:pt x="169" y="550"/>
                      </a:lnTo>
                      <a:lnTo>
                        <a:pt x="166" y="548"/>
                      </a:lnTo>
                      <a:lnTo>
                        <a:pt x="165" y="546"/>
                      </a:lnTo>
                      <a:lnTo>
                        <a:pt x="160" y="541"/>
                      </a:lnTo>
                      <a:lnTo>
                        <a:pt x="154" y="536"/>
                      </a:lnTo>
                      <a:lnTo>
                        <a:pt x="147" y="533"/>
                      </a:lnTo>
                      <a:lnTo>
                        <a:pt x="145" y="533"/>
                      </a:lnTo>
                      <a:lnTo>
                        <a:pt x="142" y="534"/>
                      </a:lnTo>
                      <a:lnTo>
                        <a:pt x="136" y="536"/>
                      </a:lnTo>
                      <a:lnTo>
                        <a:pt x="132" y="536"/>
                      </a:lnTo>
                      <a:lnTo>
                        <a:pt x="129" y="5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7" name="Freeform 634"/>
                <p:cNvSpPr>
                  <a:spLocks/>
                </p:cNvSpPr>
                <p:nvPr/>
              </p:nvSpPr>
              <p:spPr bwMode="auto">
                <a:xfrm>
                  <a:off x="6064035" y="3505498"/>
                  <a:ext cx="389206" cy="432123"/>
                </a:xfrm>
                <a:custGeom>
                  <a:avLst/>
                  <a:gdLst>
                    <a:gd name="T0" fmla="*/ 2147483647 w 285"/>
                    <a:gd name="T1" fmla="*/ 0 h 292"/>
                    <a:gd name="T2" fmla="*/ 2147483647 w 285"/>
                    <a:gd name="T3" fmla="*/ 2147483647 h 292"/>
                    <a:gd name="T4" fmla="*/ 2147483647 w 285"/>
                    <a:gd name="T5" fmla="*/ 2147483647 h 292"/>
                    <a:gd name="T6" fmla="*/ 2147483647 w 285"/>
                    <a:gd name="T7" fmla="*/ 2147483647 h 292"/>
                    <a:gd name="T8" fmla="*/ 2147483647 w 285"/>
                    <a:gd name="T9" fmla="*/ 2147483647 h 292"/>
                    <a:gd name="T10" fmla="*/ 2147483647 w 285"/>
                    <a:gd name="T11" fmla="*/ 2147483647 h 292"/>
                    <a:gd name="T12" fmla="*/ 2147483647 w 285"/>
                    <a:gd name="T13" fmla="*/ 2147483647 h 292"/>
                    <a:gd name="T14" fmla="*/ 2147483647 w 285"/>
                    <a:gd name="T15" fmla="*/ 2147483647 h 292"/>
                    <a:gd name="T16" fmla="*/ 2147483647 w 285"/>
                    <a:gd name="T17" fmla="*/ 2147483647 h 292"/>
                    <a:gd name="T18" fmla="*/ 2147483647 w 285"/>
                    <a:gd name="T19" fmla="*/ 2147483647 h 292"/>
                    <a:gd name="T20" fmla="*/ 2147483647 w 285"/>
                    <a:gd name="T21" fmla="*/ 2147483647 h 292"/>
                    <a:gd name="T22" fmla="*/ 2147483647 w 285"/>
                    <a:gd name="T23" fmla="*/ 2147483647 h 292"/>
                    <a:gd name="T24" fmla="*/ 2147483647 w 285"/>
                    <a:gd name="T25" fmla="*/ 2147483647 h 292"/>
                    <a:gd name="T26" fmla="*/ 2147483647 w 285"/>
                    <a:gd name="T27" fmla="*/ 2147483647 h 292"/>
                    <a:gd name="T28" fmla="*/ 2147483647 w 285"/>
                    <a:gd name="T29" fmla="*/ 2147483647 h 292"/>
                    <a:gd name="T30" fmla="*/ 2147483647 w 285"/>
                    <a:gd name="T31" fmla="*/ 2147483647 h 292"/>
                    <a:gd name="T32" fmla="*/ 2147483647 w 285"/>
                    <a:gd name="T33" fmla="*/ 2147483647 h 292"/>
                    <a:gd name="T34" fmla="*/ 2147483647 w 285"/>
                    <a:gd name="T35" fmla="*/ 2147483647 h 292"/>
                    <a:gd name="T36" fmla="*/ 2147483647 w 285"/>
                    <a:gd name="T37" fmla="*/ 2147483647 h 292"/>
                    <a:gd name="T38" fmla="*/ 2147483647 w 285"/>
                    <a:gd name="T39" fmla="*/ 2147483647 h 292"/>
                    <a:gd name="T40" fmla="*/ 2147483647 w 285"/>
                    <a:gd name="T41" fmla="*/ 2147483647 h 292"/>
                    <a:gd name="T42" fmla="*/ 2147483647 w 285"/>
                    <a:gd name="T43" fmla="*/ 2147483647 h 292"/>
                    <a:gd name="T44" fmla="*/ 2147483647 w 285"/>
                    <a:gd name="T45" fmla="*/ 2147483647 h 292"/>
                    <a:gd name="T46" fmla="*/ 2147483647 w 285"/>
                    <a:gd name="T47" fmla="*/ 2147483647 h 292"/>
                    <a:gd name="T48" fmla="*/ 2147483647 w 285"/>
                    <a:gd name="T49" fmla="*/ 2147483647 h 292"/>
                    <a:gd name="T50" fmla="*/ 2147483647 w 285"/>
                    <a:gd name="T51" fmla="*/ 2147483647 h 292"/>
                    <a:gd name="T52" fmla="*/ 2147483647 w 285"/>
                    <a:gd name="T53" fmla="*/ 2147483647 h 292"/>
                    <a:gd name="T54" fmla="*/ 2147483647 w 285"/>
                    <a:gd name="T55" fmla="*/ 2147483647 h 292"/>
                    <a:gd name="T56" fmla="*/ 2147483647 w 285"/>
                    <a:gd name="T57" fmla="*/ 2147483647 h 292"/>
                    <a:gd name="T58" fmla="*/ 2147483647 w 285"/>
                    <a:gd name="T59" fmla="*/ 2147483647 h 292"/>
                    <a:gd name="T60" fmla="*/ 2147483647 w 285"/>
                    <a:gd name="T61" fmla="*/ 2147483647 h 292"/>
                    <a:gd name="T62" fmla="*/ 2147483647 w 285"/>
                    <a:gd name="T63" fmla="*/ 2147483647 h 292"/>
                    <a:gd name="T64" fmla="*/ 2147483647 w 285"/>
                    <a:gd name="T65" fmla="*/ 2147483647 h 292"/>
                    <a:gd name="T66" fmla="*/ 2147483647 w 285"/>
                    <a:gd name="T67" fmla="*/ 2147483647 h 292"/>
                    <a:gd name="T68" fmla="*/ 2147483647 w 285"/>
                    <a:gd name="T69" fmla="*/ 2147483647 h 292"/>
                    <a:gd name="T70" fmla="*/ 2147483647 w 285"/>
                    <a:gd name="T71" fmla="*/ 2147483647 h 292"/>
                    <a:gd name="T72" fmla="*/ 2147483647 w 285"/>
                    <a:gd name="T73" fmla="*/ 2147483647 h 292"/>
                    <a:gd name="T74" fmla="*/ 2147483647 w 285"/>
                    <a:gd name="T75" fmla="*/ 2147483647 h 292"/>
                    <a:gd name="T76" fmla="*/ 2147483647 w 285"/>
                    <a:gd name="T77" fmla="*/ 2147483647 h 292"/>
                    <a:gd name="T78" fmla="*/ 2147483647 w 285"/>
                    <a:gd name="T79" fmla="*/ 2147483647 h 292"/>
                    <a:gd name="T80" fmla="*/ 2147483647 w 285"/>
                    <a:gd name="T81" fmla="*/ 2147483647 h 292"/>
                    <a:gd name="T82" fmla="*/ 2147483647 w 285"/>
                    <a:gd name="T83" fmla="*/ 2147483647 h 292"/>
                    <a:gd name="T84" fmla="*/ 2147483647 w 285"/>
                    <a:gd name="T85" fmla="*/ 2147483647 h 292"/>
                    <a:gd name="T86" fmla="*/ 2147483647 w 285"/>
                    <a:gd name="T87" fmla="*/ 2147483647 h 292"/>
                    <a:gd name="T88" fmla="*/ 2147483647 w 285"/>
                    <a:gd name="T89" fmla="*/ 2147483647 h 292"/>
                    <a:gd name="T90" fmla="*/ 2147483647 w 285"/>
                    <a:gd name="T91" fmla="*/ 2147483647 h 292"/>
                    <a:gd name="T92" fmla="*/ 2147483647 w 285"/>
                    <a:gd name="T93" fmla="*/ 2147483647 h 292"/>
                    <a:gd name="T94" fmla="*/ 2147483647 w 285"/>
                    <a:gd name="T95" fmla="*/ 2147483647 h 292"/>
                    <a:gd name="T96" fmla="*/ 2147483647 w 285"/>
                    <a:gd name="T97" fmla="*/ 2147483647 h 292"/>
                    <a:gd name="T98" fmla="*/ 2147483647 w 285"/>
                    <a:gd name="T99" fmla="*/ 2147483647 h 292"/>
                    <a:gd name="T100" fmla="*/ 2147483647 w 285"/>
                    <a:gd name="T101" fmla="*/ 2147483647 h 292"/>
                    <a:gd name="T102" fmla="*/ 2147483647 w 285"/>
                    <a:gd name="T103" fmla="*/ 2147483647 h 2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5"/>
                    <a:gd name="T157" fmla="*/ 0 h 292"/>
                    <a:gd name="T158" fmla="*/ 285 w 285"/>
                    <a:gd name="T159" fmla="*/ 292 h 2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5" h="292">
                      <a:moveTo>
                        <a:pt x="228" y="5"/>
                      </a:moveTo>
                      <a:lnTo>
                        <a:pt x="235" y="3"/>
                      </a:lnTo>
                      <a:lnTo>
                        <a:pt x="243" y="1"/>
                      </a:lnTo>
                      <a:lnTo>
                        <a:pt x="251" y="0"/>
                      </a:lnTo>
                      <a:lnTo>
                        <a:pt x="254" y="0"/>
                      </a:lnTo>
                      <a:lnTo>
                        <a:pt x="257" y="2"/>
                      </a:lnTo>
                      <a:lnTo>
                        <a:pt x="259" y="5"/>
                      </a:lnTo>
                      <a:lnTo>
                        <a:pt x="261" y="7"/>
                      </a:lnTo>
                      <a:lnTo>
                        <a:pt x="263" y="13"/>
                      </a:lnTo>
                      <a:lnTo>
                        <a:pt x="266" y="17"/>
                      </a:lnTo>
                      <a:lnTo>
                        <a:pt x="268" y="20"/>
                      </a:lnTo>
                      <a:lnTo>
                        <a:pt x="272" y="24"/>
                      </a:lnTo>
                      <a:lnTo>
                        <a:pt x="278" y="27"/>
                      </a:lnTo>
                      <a:lnTo>
                        <a:pt x="282" y="31"/>
                      </a:lnTo>
                      <a:lnTo>
                        <a:pt x="285" y="34"/>
                      </a:lnTo>
                      <a:lnTo>
                        <a:pt x="285" y="39"/>
                      </a:lnTo>
                      <a:lnTo>
                        <a:pt x="284" y="44"/>
                      </a:lnTo>
                      <a:lnTo>
                        <a:pt x="282" y="49"/>
                      </a:lnTo>
                      <a:lnTo>
                        <a:pt x="280" y="53"/>
                      </a:lnTo>
                      <a:lnTo>
                        <a:pt x="273" y="62"/>
                      </a:lnTo>
                      <a:lnTo>
                        <a:pt x="270" y="64"/>
                      </a:lnTo>
                      <a:lnTo>
                        <a:pt x="265" y="65"/>
                      </a:lnTo>
                      <a:lnTo>
                        <a:pt x="259" y="64"/>
                      </a:lnTo>
                      <a:lnTo>
                        <a:pt x="254" y="62"/>
                      </a:lnTo>
                      <a:lnTo>
                        <a:pt x="251" y="58"/>
                      </a:lnTo>
                      <a:lnTo>
                        <a:pt x="245" y="54"/>
                      </a:lnTo>
                      <a:lnTo>
                        <a:pt x="239" y="53"/>
                      </a:lnTo>
                      <a:lnTo>
                        <a:pt x="237" y="53"/>
                      </a:lnTo>
                      <a:lnTo>
                        <a:pt x="234" y="54"/>
                      </a:lnTo>
                      <a:lnTo>
                        <a:pt x="230" y="58"/>
                      </a:lnTo>
                      <a:lnTo>
                        <a:pt x="226" y="63"/>
                      </a:lnTo>
                      <a:lnTo>
                        <a:pt x="225" y="68"/>
                      </a:lnTo>
                      <a:lnTo>
                        <a:pt x="225" y="70"/>
                      </a:lnTo>
                      <a:lnTo>
                        <a:pt x="226" y="71"/>
                      </a:lnTo>
                      <a:lnTo>
                        <a:pt x="229" y="78"/>
                      </a:lnTo>
                      <a:lnTo>
                        <a:pt x="229" y="84"/>
                      </a:lnTo>
                      <a:lnTo>
                        <a:pt x="229" y="90"/>
                      </a:lnTo>
                      <a:lnTo>
                        <a:pt x="226" y="96"/>
                      </a:lnTo>
                      <a:lnTo>
                        <a:pt x="226" y="100"/>
                      </a:lnTo>
                      <a:lnTo>
                        <a:pt x="226" y="102"/>
                      </a:lnTo>
                      <a:lnTo>
                        <a:pt x="232" y="107"/>
                      </a:lnTo>
                      <a:lnTo>
                        <a:pt x="232" y="109"/>
                      </a:lnTo>
                      <a:lnTo>
                        <a:pt x="232" y="111"/>
                      </a:lnTo>
                      <a:lnTo>
                        <a:pt x="229" y="115"/>
                      </a:lnTo>
                      <a:lnTo>
                        <a:pt x="228" y="118"/>
                      </a:lnTo>
                      <a:lnTo>
                        <a:pt x="228" y="122"/>
                      </a:lnTo>
                      <a:lnTo>
                        <a:pt x="229" y="126"/>
                      </a:lnTo>
                      <a:lnTo>
                        <a:pt x="230" y="130"/>
                      </a:lnTo>
                      <a:lnTo>
                        <a:pt x="228" y="134"/>
                      </a:lnTo>
                      <a:lnTo>
                        <a:pt x="225" y="137"/>
                      </a:lnTo>
                      <a:lnTo>
                        <a:pt x="221" y="141"/>
                      </a:lnTo>
                      <a:lnTo>
                        <a:pt x="214" y="152"/>
                      </a:lnTo>
                      <a:lnTo>
                        <a:pt x="207" y="162"/>
                      </a:lnTo>
                      <a:lnTo>
                        <a:pt x="202" y="171"/>
                      </a:lnTo>
                      <a:lnTo>
                        <a:pt x="195" y="179"/>
                      </a:lnTo>
                      <a:lnTo>
                        <a:pt x="188" y="186"/>
                      </a:lnTo>
                      <a:lnTo>
                        <a:pt x="182" y="196"/>
                      </a:lnTo>
                      <a:lnTo>
                        <a:pt x="179" y="199"/>
                      </a:lnTo>
                      <a:lnTo>
                        <a:pt x="177" y="200"/>
                      </a:lnTo>
                      <a:lnTo>
                        <a:pt x="172" y="201"/>
                      </a:lnTo>
                      <a:lnTo>
                        <a:pt x="167" y="200"/>
                      </a:lnTo>
                      <a:lnTo>
                        <a:pt x="163" y="200"/>
                      </a:lnTo>
                      <a:lnTo>
                        <a:pt x="159" y="201"/>
                      </a:lnTo>
                      <a:lnTo>
                        <a:pt x="157" y="205"/>
                      </a:lnTo>
                      <a:lnTo>
                        <a:pt x="153" y="209"/>
                      </a:lnTo>
                      <a:lnTo>
                        <a:pt x="150" y="211"/>
                      </a:lnTo>
                      <a:lnTo>
                        <a:pt x="148" y="213"/>
                      </a:lnTo>
                      <a:lnTo>
                        <a:pt x="145" y="216"/>
                      </a:lnTo>
                      <a:lnTo>
                        <a:pt x="145" y="217"/>
                      </a:lnTo>
                      <a:lnTo>
                        <a:pt x="145" y="219"/>
                      </a:lnTo>
                      <a:lnTo>
                        <a:pt x="148" y="220"/>
                      </a:lnTo>
                      <a:lnTo>
                        <a:pt x="150" y="222"/>
                      </a:lnTo>
                      <a:lnTo>
                        <a:pt x="153" y="223"/>
                      </a:lnTo>
                      <a:lnTo>
                        <a:pt x="154" y="225"/>
                      </a:lnTo>
                      <a:lnTo>
                        <a:pt x="155" y="228"/>
                      </a:lnTo>
                      <a:lnTo>
                        <a:pt x="157" y="231"/>
                      </a:lnTo>
                      <a:lnTo>
                        <a:pt x="157" y="237"/>
                      </a:lnTo>
                      <a:lnTo>
                        <a:pt x="159" y="239"/>
                      </a:lnTo>
                      <a:lnTo>
                        <a:pt x="160" y="242"/>
                      </a:lnTo>
                      <a:lnTo>
                        <a:pt x="165" y="247"/>
                      </a:lnTo>
                      <a:lnTo>
                        <a:pt x="168" y="249"/>
                      </a:lnTo>
                      <a:lnTo>
                        <a:pt x="169" y="251"/>
                      </a:lnTo>
                      <a:lnTo>
                        <a:pt x="169" y="258"/>
                      </a:lnTo>
                      <a:lnTo>
                        <a:pt x="167" y="264"/>
                      </a:lnTo>
                      <a:lnTo>
                        <a:pt x="165" y="271"/>
                      </a:lnTo>
                      <a:lnTo>
                        <a:pt x="152" y="270"/>
                      </a:lnTo>
                      <a:lnTo>
                        <a:pt x="144" y="269"/>
                      </a:lnTo>
                      <a:lnTo>
                        <a:pt x="138" y="269"/>
                      </a:lnTo>
                      <a:lnTo>
                        <a:pt x="135" y="270"/>
                      </a:lnTo>
                      <a:lnTo>
                        <a:pt x="132" y="273"/>
                      </a:lnTo>
                      <a:lnTo>
                        <a:pt x="131" y="275"/>
                      </a:lnTo>
                      <a:lnTo>
                        <a:pt x="130" y="279"/>
                      </a:lnTo>
                      <a:lnTo>
                        <a:pt x="127" y="283"/>
                      </a:lnTo>
                      <a:lnTo>
                        <a:pt x="122" y="287"/>
                      </a:lnTo>
                      <a:lnTo>
                        <a:pt x="117" y="289"/>
                      </a:lnTo>
                      <a:lnTo>
                        <a:pt x="112" y="292"/>
                      </a:lnTo>
                      <a:lnTo>
                        <a:pt x="111" y="287"/>
                      </a:lnTo>
                      <a:lnTo>
                        <a:pt x="111" y="282"/>
                      </a:lnTo>
                      <a:lnTo>
                        <a:pt x="110" y="273"/>
                      </a:lnTo>
                      <a:lnTo>
                        <a:pt x="110" y="271"/>
                      </a:lnTo>
                      <a:lnTo>
                        <a:pt x="106" y="270"/>
                      </a:lnTo>
                      <a:lnTo>
                        <a:pt x="99" y="269"/>
                      </a:lnTo>
                      <a:lnTo>
                        <a:pt x="98" y="267"/>
                      </a:lnTo>
                      <a:lnTo>
                        <a:pt x="98" y="264"/>
                      </a:lnTo>
                      <a:lnTo>
                        <a:pt x="99" y="260"/>
                      </a:lnTo>
                      <a:lnTo>
                        <a:pt x="99" y="257"/>
                      </a:lnTo>
                      <a:lnTo>
                        <a:pt x="97" y="255"/>
                      </a:lnTo>
                      <a:lnTo>
                        <a:pt x="94" y="254"/>
                      </a:lnTo>
                      <a:lnTo>
                        <a:pt x="89" y="254"/>
                      </a:lnTo>
                      <a:lnTo>
                        <a:pt x="77" y="257"/>
                      </a:lnTo>
                      <a:lnTo>
                        <a:pt x="65" y="260"/>
                      </a:lnTo>
                      <a:lnTo>
                        <a:pt x="58" y="258"/>
                      </a:lnTo>
                      <a:lnTo>
                        <a:pt x="51" y="258"/>
                      </a:lnTo>
                      <a:lnTo>
                        <a:pt x="45" y="256"/>
                      </a:lnTo>
                      <a:lnTo>
                        <a:pt x="37" y="256"/>
                      </a:lnTo>
                      <a:lnTo>
                        <a:pt x="27" y="256"/>
                      </a:lnTo>
                      <a:lnTo>
                        <a:pt x="17" y="257"/>
                      </a:lnTo>
                      <a:lnTo>
                        <a:pt x="11" y="254"/>
                      </a:lnTo>
                      <a:lnTo>
                        <a:pt x="7" y="252"/>
                      </a:lnTo>
                      <a:lnTo>
                        <a:pt x="3" y="251"/>
                      </a:lnTo>
                      <a:lnTo>
                        <a:pt x="9" y="236"/>
                      </a:lnTo>
                      <a:lnTo>
                        <a:pt x="13" y="228"/>
                      </a:lnTo>
                      <a:lnTo>
                        <a:pt x="18" y="222"/>
                      </a:lnTo>
                      <a:lnTo>
                        <a:pt x="22" y="220"/>
                      </a:lnTo>
                      <a:lnTo>
                        <a:pt x="27" y="219"/>
                      </a:lnTo>
                      <a:lnTo>
                        <a:pt x="31" y="217"/>
                      </a:lnTo>
                      <a:lnTo>
                        <a:pt x="32" y="216"/>
                      </a:lnTo>
                      <a:lnTo>
                        <a:pt x="32" y="213"/>
                      </a:lnTo>
                      <a:lnTo>
                        <a:pt x="30" y="210"/>
                      </a:lnTo>
                      <a:lnTo>
                        <a:pt x="28" y="207"/>
                      </a:lnTo>
                      <a:lnTo>
                        <a:pt x="26" y="204"/>
                      </a:lnTo>
                      <a:lnTo>
                        <a:pt x="25" y="200"/>
                      </a:lnTo>
                      <a:lnTo>
                        <a:pt x="23" y="193"/>
                      </a:lnTo>
                      <a:lnTo>
                        <a:pt x="22" y="190"/>
                      </a:lnTo>
                      <a:lnTo>
                        <a:pt x="19" y="186"/>
                      </a:lnTo>
                      <a:lnTo>
                        <a:pt x="7" y="172"/>
                      </a:lnTo>
                      <a:lnTo>
                        <a:pt x="2" y="165"/>
                      </a:lnTo>
                      <a:lnTo>
                        <a:pt x="0" y="160"/>
                      </a:lnTo>
                      <a:lnTo>
                        <a:pt x="0" y="156"/>
                      </a:lnTo>
                      <a:lnTo>
                        <a:pt x="7" y="160"/>
                      </a:lnTo>
                      <a:lnTo>
                        <a:pt x="12" y="161"/>
                      </a:lnTo>
                      <a:lnTo>
                        <a:pt x="17" y="162"/>
                      </a:lnTo>
                      <a:lnTo>
                        <a:pt x="22" y="162"/>
                      </a:lnTo>
                      <a:lnTo>
                        <a:pt x="32" y="162"/>
                      </a:lnTo>
                      <a:lnTo>
                        <a:pt x="36" y="162"/>
                      </a:lnTo>
                      <a:lnTo>
                        <a:pt x="40" y="162"/>
                      </a:lnTo>
                      <a:lnTo>
                        <a:pt x="50" y="166"/>
                      </a:lnTo>
                      <a:lnTo>
                        <a:pt x="55" y="166"/>
                      </a:lnTo>
                      <a:lnTo>
                        <a:pt x="58" y="166"/>
                      </a:lnTo>
                      <a:lnTo>
                        <a:pt x="59" y="165"/>
                      </a:lnTo>
                      <a:lnTo>
                        <a:pt x="65" y="160"/>
                      </a:lnTo>
                      <a:lnTo>
                        <a:pt x="72" y="159"/>
                      </a:lnTo>
                      <a:lnTo>
                        <a:pt x="78" y="158"/>
                      </a:lnTo>
                      <a:lnTo>
                        <a:pt x="84" y="158"/>
                      </a:lnTo>
                      <a:lnTo>
                        <a:pt x="82" y="154"/>
                      </a:lnTo>
                      <a:lnTo>
                        <a:pt x="82" y="149"/>
                      </a:lnTo>
                      <a:lnTo>
                        <a:pt x="82" y="143"/>
                      </a:lnTo>
                      <a:lnTo>
                        <a:pt x="84" y="137"/>
                      </a:lnTo>
                      <a:lnTo>
                        <a:pt x="89" y="133"/>
                      </a:lnTo>
                      <a:lnTo>
                        <a:pt x="94" y="128"/>
                      </a:lnTo>
                      <a:lnTo>
                        <a:pt x="101" y="126"/>
                      </a:lnTo>
                      <a:lnTo>
                        <a:pt x="111" y="121"/>
                      </a:lnTo>
                      <a:lnTo>
                        <a:pt x="112" y="118"/>
                      </a:lnTo>
                      <a:lnTo>
                        <a:pt x="113" y="117"/>
                      </a:lnTo>
                      <a:lnTo>
                        <a:pt x="116" y="115"/>
                      </a:lnTo>
                      <a:lnTo>
                        <a:pt x="117" y="114"/>
                      </a:lnTo>
                      <a:lnTo>
                        <a:pt x="127" y="110"/>
                      </a:lnTo>
                      <a:lnTo>
                        <a:pt x="131" y="109"/>
                      </a:lnTo>
                      <a:lnTo>
                        <a:pt x="134" y="107"/>
                      </a:lnTo>
                      <a:lnTo>
                        <a:pt x="138" y="101"/>
                      </a:lnTo>
                      <a:lnTo>
                        <a:pt x="143" y="90"/>
                      </a:lnTo>
                      <a:lnTo>
                        <a:pt x="144" y="86"/>
                      </a:lnTo>
                      <a:lnTo>
                        <a:pt x="145" y="85"/>
                      </a:lnTo>
                      <a:lnTo>
                        <a:pt x="148" y="84"/>
                      </a:lnTo>
                      <a:lnTo>
                        <a:pt x="150" y="83"/>
                      </a:lnTo>
                      <a:lnTo>
                        <a:pt x="153" y="81"/>
                      </a:lnTo>
                      <a:lnTo>
                        <a:pt x="153" y="76"/>
                      </a:lnTo>
                      <a:lnTo>
                        <a:pt x="152" y="71"/>
                      </a:lnTo>
                      <a:lnTo>
                        <a:pt x="150" y="62"/>
                      </a:lnTo>
                      <a:lnTo>
                        <a:pt x="152" y="62"/>
                      </a:lnTo>
                      <a:lnTo>
                        <a:pt x="154" y="62"/>
                      </a:lnTo>
                      <a:lnTo>
                        <a:pt x="158" y="63"/>
                      </a:lnTo>
                      <a:lnTo>
                        <a:pt x="162" y="63"/>
                      </a:lnTo>
                      <a:lnTo>
                        <a:pt x="165" y="63"/>
                      </a:lnTo>
                      <a:lnTo>
                        <a:pt x="169" y="60"/>
                      </a:lnTo>
                      <a:lnTo>
                        <a:pt x="171" y="59"/>
                      </a:lnTo>
                      <a:lnTo>
                        <a:pt x="171" y="58"/>
                      </a:lnTo>
                      <a:lnTo>
                        <a:pt x="168" y="54"/>
                      </a:lnTo>
                      <a:lnTo>
                        <a:pt x="167" y="52"/>
                      </a:lnTo>
                      <a:lnTo>
                        <a:pt x="167" y="50"/>
                      </a:lnTo>
                      <a:lnTo>
                        <a:pt x="168" y="50"/>
                      </a:lnTo>
                      <a:lnTo>
                        <a:pt x="173" y="46"/>
                      </a:lnTo>
                      <a:lnTo>
                        <a:pt x="178" y="43"/>
                      </a:lnTo>
                      <a:lnTo>
                        <a:pt x="182" y="38"/>
                      </a:lnTo>
                      <a:lnTo>
                        <a:pt x="182" y="35"/>
                      </a:lnTo>
                      <a:lnTo>
                        <a:pt x="182" y="32"/>
                      </a:lnTo>
                      <a:lnTo>
                        <a:pt x="181" y="30"/>
                      </a:lnTo>
                      <a:lnTo>
                        <a:pt x="178" y="27"/>
                      </a:lnTo>
                      <a:lnTo>
                        <a:pt x="177" y="25"/>
                      </a:lnTo>
                      <a:lnTo>
                        <a:pt x="174" y="22"/>
                      </a:lnTo>
                      <a:lnTo>
                        <a:pt x="174" y="20"/>
                      </a:lnTo>
                      <a:lnTo>
                        <a:pt x="176" y="18"/>
                      </a:lnTo>
                      <a:lnTo>
                        <a:pt x="177" y="15"/>
                      </a:lnTo>
                      <a:lnTo>
                        <a:pt x="179" y="14"/>
                      </a:lnTo>
                      <a:lnTo>
                        <a:pt x="200" y="7"/>
                      </a:lnTo>
                      <a:lnTo>
                        <a:pt x="205" y="6"/>
                      </a:lnTo>
                      <a:lnTo>
                        <a:pt x="210" y="5"/>
                      </a:lnTo>
                      <a:lnTo>
                        <a:pt x="216" y="5"/>
                      </a:lnTo>
                      <a:lnTo>
                        <a:pt x="221" y="6"/>
                      </a:lnTo>
                      <a:lnTo>
                        <a:pt x="225" y="6"/>
                      </a:lnTo>
                      <a:lnTo>
                        <a:pt x="228"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8" name="Freeform 635"/>
                <p:cNvSpPr>
                  <a:spLocks/>
                </p:cNvSpPr>
                <p:nvPr/>
              </p:nvSpPr>
              <p:spPr bwMode="auto">
                <a:xfrm>
                  <a:off x="6044799" y="3452226"/>
                  <a:ext cx="334451" cy="298934"/>
                </a:xfrm>
                <a:custGeom>
                  <a:avLst/>
                  <a:gdLst>
                    <a:gd name="T0" fmla="*/ 2147483647 w 244"/>
                    <a:gd name="T1" fmla="*/ 2147483647 h 202"/>
                    <a:gd name="T2" fmla="*/ 2147483647 w 244"/>
                    <a:gd name="T3" fmla="*/ 2147483647 h 202"/>
                    <a:gd name="T4" fmla="*/ 2147483647 w 244"/>
                    <a:gd name="T5" fmla="*/ 2147483647 h 202"/>
                    <a:gd name="T6" fmla="*/ 2147483647 w 244"/>
                    <a:gd name="T7" fmla="*/ 2147483647 h 202"/>
                    <a:gd name="T8" fmla="*/ 2147483647 w 244"/>
                    <a:gd name="T9" fmla="*/ 2147483647 h 202"/>
                    <a:gd name="T10" fmla="*/ 2147483647 w 244"/>
                    <a:gd name="T11" fmla="*/ 2147483647 h 202"/>
                    <a:gd name="T12" fmla="*/ 2147483647 w 244"/>
                    <a:gd name="T13" fmla="*/ 2147483647 h 202"/>
                    <a:gd name="T14" fmla="*/ 2147483647 w 244"/>
                    <a:gd name="T15" fmla="*/ 2147483647 h 202"/>
                    <a:gd name="T16" fmla="*/ 2147483647 w 244"/>
                    <a:gd name="T17" fmla="*/ 2147483647 h 202"/>
                    <a:gd name="T18" fmla="*/ 2147483647 w 244"/>
                    <a:gd name="T19" fmla="*/ 2147483647 h 202"/>
                    <a:gd name="T20" fmla="*/ 2147483647 w 244"/>
                    <a:gd name="T21" fmla="*/ 2147483647 h 202"/>
                    <a:gd name="T22" fmla="*/ 2147483647 w 244"/>
                    <a:gd name="T23" fmla="*/ 2147483647 h 202"/>
                    <a:gd name="T24" fmla="*/ 2147483647 w 244"/>
                    <a:gd name="T25" fmla="*/ 2147483647 h 202"/>
                    <a:gd name="T26" fmla="*/ 2147483647 w 244"/>
                    <a:gd name="T27" fmla="*/ 2147483647 h 202"/>
                    <a:gd name="T28" fmla="*/ 2147483647 w 244"/>
                    <a:gd name="T29" fmla="*/ 0 h 202"/>
                    <a:gd name="T30" fmla="*/ 2147483647 w 244"/>
                    <a:gd name="T31" fmla="*/ 2147483647 h 202"/>
                    <a:gd name="T32" fmla="*/ 2147483647 w 244"/>
                    <a:gd name="T33" fmla="*/ 2147483647 h 202"/>
                    <a:gd name="T34" fmla="*/ 2147483647 w 244"/>
                    <a:gd name="T35" fmla="*/ 2147483647 h 202"/>
                    <a:gd name="T36" fmla="*/ 2147483647 w 244"/>
                    <a:gd name="T37" fmla="*/ 2147483647 h 202"/>
                    <a:gd name="T38" fmla="*/ 2147483647 w 244"/>
                    <a:gd name="T39" fmla="*/ 2147483647 h 202"/>
                    <a:gd name="T40" fmla="*/ 2147483647 w 244"/>
                    <a:gd name="T41" fmla="*/ 2147483647 h 202"/>
                    <a:gd name="T42" fmla="*/ 2147483647 w 244"/>
                    <a:gd name="T43" fmla="*/ 2147483647 h 202"/>
                    <a:gd name="T44" fmla="*/ 2147483647 w 244"/>
                    <a:gd name="T45" fmla="*/ 2147483647 h 202"/>
                    <a:gd name="T46" fmla="*/ 2147483647 w 244"/>
                    <a:gd name="T47" fmla="*/ 2147483647 h 202"/>
                    <a:gd name="T48" fmla="*/ 2147483647 w 244"/>
                    <a:gd name="T49" fmla="*/ 2147483647 h 202"/>
                    <a:gd name="T50" fmla="*/ 2147483647 w 244"/>
                    <a:gd name="T51" fmla="*/ 2147483647 h 202"/>
                    <a:gd name="T52" fmla="*/ 2147483647 w 244"/>
                    <a:gd name="T53" fmla="*/ 2147483647 h 202"/>
                    <a:gd name="T54" fmla="*/ 2147483647 w 244"/>
                    <a:gd name="T55" fmla="*/ 2147483647 h 202"/>
                    <a:gd name="T56" fmla="*/ 2147483647 w 244"/>
                    <a:gd name="T57" fmla="*/ 2147483647 h 202"/>
                    <a:gd name="T58" fmla="*/ 2147483647 w 244"/>
                    <a:gd name="T59" fmla="*/ 2147483647 h 202"/>
                    <a:gd name="T60" fmla="*/ 2147483647 w 244"/>
                    <a:gd name="T61" fmla="*/ 2147483647 h 202"/>
                    <a:gd name="T62" fmla="*/ 2147483647 w 244"/>
                    <a:gd name="T63" fmla="*/ 2147483647 h 202"/>
                    <a:gd name="T64" fmla="*/ 2147483647 w 244"/>
                    <a:gd name="T65" fmla="*/ 2147483647 h 202"/>
                    <a:gd name="T66" fmla="*/ 2147483647 w 244"/>
                    <a:gd name="T67" fmla="*/ 2147483647 h 202"/>
                    <a:gd name="T68" fmla="*/ 2147483647 w 244"/>
                    <a:gd name="T69" fmla="*/ 2147483647 h 202"/>
                    <a:gd name="T70" fmla="*/ 2147483647 w 244"/>
                    <a:gd name="T71" fmla="*/ 2147483647 h 202"/>
                    <a:gd name="T72" fmla="*/ 2147483647 w 244"/>
                    <a:gd name="T73" fmla="*/ 2147483647 h 202"/>
                    <a:gd name="T74" fmla="*/ 2147483647 w 244"/>
                    <a:gd name="T75" fmla="*/ 2147483647 h 202"/>
                    <a:gd name="T76" fmla="*/ 2147483647 w 244"/>
                    <a:gd name="T77" fmla="*/ 2147483647 h 202"/>
                    <a:gd name="T78" fmla="*/ 2147483647 w 244"/>
                    <a:gd name="T79" fmla="*/ 2147483647 h 202"/>
                    <a:gd name="T80" fmla="*/ 2147483647 w 244"/>
                    <a:gd name="T81" fmla="*/ 2147483647 h 202"/>
                    <a:gd name="T82" fmla="*/ 2147483647 w 244"/>
                    <a:gd name="T83" fmla="*/ 2147483647 h 202"/>
                    <a:gd name="T84" fmla="*/ 2147483647 w 244"/>
                    <a:gd name="T85" fmla="*/ 2147483647 h 202"/>
                    <a:gd name="T86" fmla="*/ 2147483647 w 244"/>
                    <a:gd name="T87" fmla="*/ 2147483647 h 202"/>
                    <a:gd name="T88" fmla="*/ 2147483647 w 244"/>
                    <a:gd name="T89" fmla="*/ 2147483647 h 202"/>
                    <a:gd name="T90" fmla="*/ 2147483647 w 244"/>
                    <a:gd name="T91" fmla="*/ 2147483647 h 202"/>
                    <a:gd name="T92" fmla="*/ 2147483647 w 244"/>
                    <a:gd name="T93" fmla="*/ 2147483647 h 202"/>
                    <a:gd name="T94" fmla="*/ 2147483647 w 244"/>
                    <a:gd name="T95" fmla="*/ 2147483647 h 202"/>
                    <a:gd name="T96" fmla="*/ 2147483647 w 244"/>
                    <a:gd name="T97" fmla="*/ 2147483647 h 202"/>
                    <a:gd name="T98" fmla="*/ 2147483647 w 244"/>
                    <a:gd name="T99" fmla="*/ 2147483647 h 202"/>
                    <a:gd name="T100" fmla="*/ 2147483647 w 244"/>
                    <a:gd name="T101" fmla="*/ 2147483647 h 202"/>
                    <a:gd name="T102" fmla="*/ 2147483647 w 244"/>
                    <a:gd name="T103" fmla="*/ 2147483647 h 202"/>
                    <a:gd name="T104" fmla="*/ 2147483647 w 244"/>
                    <a:gd name="T105" fmla="*/ 2147483647 h 202"/>
                    <a:gd name="T106" fmla="*/ 2147483647 w 244"/>
                    <a:gd name="T107" fmla="*/ 2147483647 h 202"/>
                    <a:gd name="T108" fmla="*/ 0 w 244"/>
                    <a:gd name="T109" fmla="*/ 2147483647 h 202"/>
                    <a:gd name="T110" fmla="*/ 2147483647 w 244"/>
                    <a:gd name="T111" fmla="*/ 2147483647 h 202"/>
                    <a:gd name="T112" fmla="*/ 0 w 244"/>
                    <a:gd name="T113" fmla="*/ 2147483647 h 202"/>
                    <a:gd name="T114" fmla="*/ 2147483647 w 244"/>
                    <a:gd name="T115" fmla="*/ 2147483647 h 202"/>
                    <a:gd name="T116" fmla="*/ 2147483647 w 244"/>
                    <a:gd name="T117" fmla="*/ 2147483647 h 2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4"/>
                    <a:gd name="T178" fmla="*/ 0 h 202"/>
                    <a:gd name="T179" fmla="*/ 244 w 244"/>
                    <a:gd name="T180" fmla="*/ 202 h 2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4" h="202">
                      <a:moveTo>
                        <a:pt x="17" y="63"/>
                      </a:moveTo>
                      <a:lnTo>
                        <a:pt x="30" y="66"/>
                      </a:lnTo>
                      <a:lnTo>
                        <a:pt x="36" y="67"/>
                      </a:lnTo>
                      <a:lnTo>
                        <a:pt x="44" y="67"/>
                      </a:lnTo>
                      <a:lnTo>
                        <a:pt x="45" y="67"/>
                      </a:lnTo>
                      <a:lnTo>
                        <a:pt x="46" y="66"/>
                      </a:lnTo>
                      <a:lnTo>
                        <a:pt x="49" y="62"/>
                      </a:lnTo>
                      <a:lnTo>
                        <a:pt x="50" y="58"/>
                      </a:lnTo>
                      <a:lnTo>
                        <a:pt x="52" y="55"/>
                      </a:lnTo>
                      <a:lnTo>
                        <a:pt x="55" y="54"/>
                      </a:lnTo>
                      <a:lnTo>
                        <a:pt x="56" y="54"/>
                      </a:lnTo>
                      <a:lnTo>
                        <a:pt x="59" y="54"/>
                      </a:lnTo>
                      <a:lnTo>
                        <a:pt x="61" y="54"/>
                      </a:lnTo>
                      <a:lnTo>
                        <a:pt x="64" y="49"/>
                      </a:lnTo>
                      <a:lnTo>
                        <a:pt x="66" y="45"/>
                      </a:lnTo>
                      <a:lnTo>
                        <a:pt x="70" y="36"/>
                      </a:lnTo>
                      <a:lnTo>
                        <a:pt x="72" y="34"/>
                      </a:lnTo>
                      <a:lnTo>
                        <a:pt x="75" y="32"/>
                      </a:lnTo>
                      <a:lnTo>
                        <a:pt x="80" y="31"/>
                      </a:lnTo>
                      <a:lnTo>
                        <a:pt x="84" y="30"/>
                      </a:lnTo>
                      <a:lnTo>
                        <a:pt x="88" y="28"/>
                      </a:lnTo>
                      <a:lnTo>
                        <a:pt x="92" y="25"/>
                      </a:lnTo>
                      <a:lnTo>
                        <a:pt x="94" y="24"/>
                      </a:lnTo>
                      <a:lnTo>
                        <a:pt x="97" y="25"/>
                      </a:lnTo>
                      <a:lnTo>
                        <a:pt x="98" y="26"/>
                      </a:lnTo>
                      <a:lnTo>
                        <a:pt x="101" y="28"/>
                      </a:lnTo>
                      <a:lnTo>
                        <a:pt x="107" y="28"/>
                      </a:lnTo>
                      <a:lnTo>
                        <a:pt x="112" y="28"/>
                      </a:lnTo>
                      <a:lnTo>
                        <a:pt x="117" y="30"/>
                      </a:lnTo>
                      <a:lnTo>
                        <a:pt x="122" y="34"/>
                      </a:lnTo>
                      <a:lnTo>
                        <a:pt x="125" y="35"/>
                      </a:lnTo>
                      <a:lnTo>
                        <a:pt x="126" y="35"/>
                      </a:lnTo>
                      <a:lnTo>
                        <a:pt x="130" y="32"/>
                      </a:lnTo>
                      <a:lnTo>
                        <a:pt x="134" y="32"/>
                      </a:lnTo>
                      <a:lnTo>
                        <a:pt x="140" y="32"/>
                      </a:lnTo>
                      <a:lnTo>
                        <a:pt x="148" y="31"/>
                      </a:lnTo>
                      <a:lnTo>
                        <a:pt x="153" y="31"/>
                      </a:lnTo>
                      <a:lnTo>
                        <a:pt x="158" y="30"/>
                      </a:lnTo>
                      <a:lnTo>
                        <a:pt x="163" y="28"/>
                      </a:lnTo>
                      <a:lnTo>
                        <a:pt x="168" y="24"/>
                      </a:lnTo>
                      <a:lnTo>
                        <a:pt x="174" y="17"/>
                      </a:lnTo>
                      <a:lnTo>
                        <a:pt x="179" y="7"/>
                      </a:lnTo>
                      <a:lnTo>
                        <a:pt x="187" y="3"/>
                      </a:lnTo>
                      <a:lnTo>
                        <a:pt x="191" y="0"/>
                      </a:lnTo>
                      <a:lnTo>
                        <a:pt x="192" y="0"/>
                      </a:lnTo>
                      <a:lnTo>
                        <a:pt x="193" y="2"/>
                      </a:lnTo>
                      <a:lnTo>
                        <a:pt x="193" y="5"/>
                      </a:lnTo>
                      <a:lnTo>
                        <a:pt x="191" y="9"/>
                      </a:lnTo>
                      <a:lnTo>
                        <a:pt x="190" y="12"/>
                      </a:lnTo>
                      <a:lnTo>
                        <a:pt x="190" y="13"/>
                      </a:lnTo>
                      <a:lnTo>
                        <a:pt x="191" y="15"/>
                      </a:lnTo>
                      <a:lnTo>
                        <a:pt x="195" y="16"/>
                      </a:lnTo>
                      <a:lnTo>
                        <a:pt x="197" y="17"/>
                      </a:lnTo>
                      <a:lnTo>
                        <a:pt x="199" y="19"/>
                      </a:lnTo>
                      <a:lnTo>
                        <a:pt x="199" y="23"/>
                      </a:lnTo>
                      <a:lnTo>
                        <a:pt x="200" y="29"/>
                      </a:lnTo>
                      <a:lnTo>
                        <a:pt x="200" y="34"/>
                      </a:lnTo>
                      <a:lnTo>
                        <a:pt x="200" y="36"/>
                      </a:lnTo>
                      <a:lnTo>
                        <a:pt x="202" y="36"/>
                      </a:lnTo>
                      <a:lnTo>
                        <a:pt x="206" y="35"/>
                      </a:lnTo>
                      <a:lnTo>
                        <a:pt x="211" y="32"/>
                      </a:lnTo>
                      <a:lnTo>
                        <a:pt x="214" y="32"/>
                      </a:lnTo>
                      <a:lnTo>
                        <a:pt x="216" y="32"/>
                      </a:lnTo>
                      <a:lnTo>
                        <a:pt x="230" y="29"/>
                      </a:lnTo>
                      <a:lnTo>
                        <a:pt x="238" y="28"/>
                      </a:lnTo>
                      <a:lnTo>
                        <a:pt x="244" y="28"/>
                      </a:lnTo>
                      <a:lnTo>
                        <a:pt x="244" y="29"/>
                      </a:lnTo>
                      <a:lnTo>
                        <a:pt x="243" y="29"/>
                      </a:lnTo>
                      <a:lnTo>
                        <a:pt x="244" y="29"/>
                      </a:lnTo>
                      <a:lnTo>
                        <a:pt x="244" y="36"/>
                      </a:lnTo>
                      <a:lnTo>
                        <a:pt x="243" y="38"/>
                      </a:lnTo>
                      <a:lnTo>
                        <a:pt x="242" y="41"/>
                      </a:lnTo>
                      <a:lnTo>
                        <a:pt x="239" y="42"/>
                      </a:lnTo>
                      <a:lnTo>
                        <a:pt x="235" y="42"/>
                      </a:lnTo>
                      <a:lnTo>
                        <a:pt x="230" y="41"/>
                      </a:lnTo>
                      <a:lnTo>
                        <a:pt x="224" y="41"/>
                      </a:lnTo>
                      <a:lnTo>
                        <a:pt x="219" y="42"/>
                      </a:lnTo>
                      <a:lnTo>
                        <a:pt x="214" y="43"/>
                      </a:lnTo>
                      <a:lnTo>
                        <a:pt x="193" y="50"/>
                      </a:lnTo>
                      <a:lnTo>
                        <a:pt x="191" y="51"/>
                      </a:lnTo>
                      <a:lnTo>
                        <a:pt x="190" y="54"/>
                      </a:lnTo>
                      <a:lnTo>
                        <a:pt x="188" y="56"/>
                      </a:lnTo>
                      <a:lnTo>
                        <a:pt x="188" y="58"/>
                      </a:lnTo>
                      <a:lnTo>
                        <a:pt x="191" y="61"/>
                      </a:lnTo>
                      <a:lnTo>
                        <a:pt x="192" y="63"/>
                      </a:lnTo>
                      <a:lnTo>
                        <a:pt x="195" y="66"/>
                      </a:lnTo>
                      <a:lnTo>
                        <a:pt x="196" y="68"/>
                      </a:lnTo>
                      <a:lnTo>
                        <a:pt x="196" y="71"/>
                      </a:lnTo>
                      <a:lnTo>
                        <a:pt x="196" y="74"/>
                      </a:lnTo>
                      <a:lnTo>
                        <a:pt x="192" y="79"/>
                      </a:lnTo>
                      <a:lnTo>
                        <a:pt x="187" y="82"/>
                      </a:lnTo>
                      <a:lnTo>
                        <a:pt x="182" y="86"/>
                      </a:lnTo>
                      <a:lnTo>
                        <a:pt x="181" y="86"/>
                      </a:lnTo>
                      <a:lnTo>
                        <a:pt x="181" y="88"/>
                      </a:lnTo>
                      <a:lnTo>
                        <a:pt x="182" y="90"/>
                      </a:lnTo>
                      <a:lnTo>
                        <a:pt x="185" y="94"/>
                      </a:lnTo>
                      <a:lnTo>
                        <a:pt x="185" y="95"/>
                      </a:lnTo>
                      <a:lnTo>
                        <a:pt x="183" y="96"/>
                      </a:lnTo>
                      <a:lnTo>
                        <a:pt x="179" y="99"/>
                      </a:lnTo>
                      <a:lnTo>
                        <a:pt x="176" y="99"/>
                      </a:lnTo>
                      <a:lnTo>
                        <a:pt x="172" y="99"/>
                      </a:lnTo>
                      <a:lnTo>
                        <a:pt x="168" y="98"/>
                      </a:lnTo>
                      <a:lnTo>
                        <a:pt x="166" y="98"/>
                      </a:lnTo>
                      <a:lnTo>
                        <a:pt x="164" y="98"/>
                      </a:lnTo>
                      <a:lnTo>
                        <a:pt x="166" y="107"/>
                      </a:lnTo>
                      <a:lnTo>
                        <a:pt x="167" y="112"/>
                      </a:lnTo>
                      <a:lnTo>
                        <a:pt x="167" y="117"/>
                      </a:lnTo>
                      <a:lnTo>
                        <a:pt x="164" y="119"/>
                      </a:lnTo>
                      <a:lnTo>
                        <a:pt x="162" y="120"/>
                      </a:lnTo>
                      <a:lnTo>
                        <a:pt x="159" y="121"/>
                      </a:lnTo>
                      <a:lnTo>
                        <a:pt x="158" y="122"/>
                      </a:lnTo>
                      <a:lnTo>
                        <a:pt x="157" y="126"/>
                      </a:lnTo>
                      <a:lnTo>
                        <a:pt x="152" y="137"/>
                      </a:lnTo>
                      <a:lnTo>
                        <a:pt x="148" y="143"/>
                      </a:lnTo>
                      <a:lnTo>
                        <a:pt x="145" y="145"/>
                      </a:lnTo>
                      <a:lnTo>
                        <a:pt x="141" y="146"/>
                      </a:lnTo>
                      <a:lnTo>
                        <a:pt x="131" y="150"/>
                      </a:lnTo>
                      <a:lnTo>
                        <a:pt x="130" y="151"/>
                      </a:lnTo>
                      <a:lnTo>
                        <a:pt x="127" y="153"/>
                      </a:lnTo>
                      <a:lnTo>
                        <a:pt x="126" y="154"/>
                      </a:lnTo>
                      <a:lnTo>
                        <a:pt x="125" y="157"/>
                      </a:lnTo>
                      <a:lnTo>
                        <a:pt x="115" y="162"/>
                      </a:lnTo>
                      <a:lnTo>
                        <a:pt x="108" y="164"/>
                      </a:lnTo>
                      <a:lnTo>
                        <a:pt x="103" y="169"/>
                      </a:lnTo>
                      <a:lnTo>
                        <a:pt x="98" y="173"/>
                      </a:lnTo>
                      <a:lnTo>
                        <a:pt x="96" y="179"/>
                      </a:lnTo>
                      <a:lnTo>
                        <a:pt x="96" y="185"/>
                      </a:lnTo>
                      <a:lnTo>
                        <a:pt x="96" y="190"/>
                      </a:lnTo>
                      <a:lnTo>
                        <a:pt x="98" y="194"/>
                      </a:lnTo>
                      <a:lnTo>
                        <a:pt x="92" y="194"/>
                      </a:lnTo>
                      <a:lnTo>
                        <a:pt x="86" y="195"/>
                      </a:lnTo>
                      <a:lnTo>
                        <a:pt x="79" y="196"/>
                      </a:lnTo>
                      <a:lnTo>
                        <a:pt x="73" y="201"/>
                      </a:lnTo>
                      <a:lnTo>
                        <a:pt x="72" y="202"/>
                      </a:lnTo>
                      <a:lnTo>
                        <a:pt x="69" y="202"/>
                      </a:lnTo>
                      <a:lnTo>
                        <a:pt x="64" y="202"/>
                      </a:lnTo>
                      <a:lnTo>
                        <a:pt x="54" y="198"/>
                      </a:lnTo>
                      <a:lnTo>
                        <a:pt x="50" y="198"/>
                      </a:lnTo>
                      <a:lnTo>
                        <a:pt x="46" y="198"/>
                      </a:lnTo>
                      <a:lnTo>
                        <a:pt x="36" y="198"/>
                      </a:lnTo>
                      <a:lnTo>
                        <a:pt x="31" y="198"/>
                      </a:lnTo>
                      <a:lnTo>
                        <a:pt x="26" y="197"/>
                      </a:lnTo>
                      <a:lnTo>
                        <a:pt x="21" y="196"/>
                      </a:lnTo>
                      <a:lnTo>
                        <a:pt x="14" y="192"/>
                      </a:lnTo>
                      <a:lnTo>
                        <a:pt x="16" y="189"/>
                      </a:lnTo>
                      <a:lnTo>
                        <a:pt x="21" y="182"/>
                      </a:lnTo>
                      <a:lnTo>
                        <a:pt x="27" y="175"/>
                      </a:lnTo>
                      <a:lnTo>
                        <a:pt x="32" y="169"/>
                      </a:lnTo>
                      <a:lnTo>
                        <a:pt x="35" y="165"/>
                      </a:lnTo>
                      <a:lnTo>
                        <a:pt x="36" y="160"/>
                      </a:lnTo>
                      <a:lnTo>
                        <a:pt x="35" y="158"/>
                      </a:lnTo>
                      <a:lnTo>
                        <a:pt x="33" y="157"/>
                      </a:lnTo>
                      <a:lnTo>
                        <a:pt x="30" y="154"/>
                      </a:lnTo>
                      <a:lnTo>
                        <a:pt x="23" y="152"/>
                      </a:lnTo>
                      <a:lnTo>
                        <a:pt x="17" y="149"/>
                      </a:lnTo>
                      <a:lnTo>
                        <a:pt x="13" y="147"/>
                      </a:lnTo>
                      <a:lnTo>
                        <a:pt x="11" y="146"/>
                      </a:lnTo>
                      <a:lnTo>
                        <a:pt x="9" y="145"/>
                      </a:lnTo>
                      <a:lnTo>
                        <a:pt x="9" y="141"/>
                      </a:lnTo>
                      <a:lnTo>
                        <a:pt x="9" y="138"/>
                      </a:lnTo>
                      <a:lnTo>
                        <a:pt x="8" y="134"/>
                      </a:lnTo>
                      <a:lnTo>
                        <a:pt x="8" y="131"/>
                      </a:lnTo>
                      <a:lnTo>
                        <a:pt x="2" y="118"/>
                      </a:lnTo>
                      <a:lnTo>
                        <a:pt x="0" y="114"/>
                      </a:lnTo>
                      <a:lnTo>
                        <a:pt x="0" y="111"/>
                      </a:lnTo>
                      <a:lnTo>
                        <a:pt x="2" y="107"/>
                      </a:lnTo>
                      <a:lnTo>
                        <a:pt x="4" y="105"/>
                      </a:lnTo>
                      <a:lnTo>
                        <a:pt x="4" y="102"/>
                      </a:lnTo>
                      <a:lnTo>
                        <a:pt x="3" y="100"/>
                      </a:lnTo>
                      <a:lnTo>
                        <a:pt x="2" y="98"/>
                      </a:lnTo>
                      <a:lnTo>
                        <a:pt x="0" y="95"/>
                      </a:lnTo>
                      <a:lnTo>
                        <a:pt x="2" y="93"/>
                      </a:lnTo>
                      <a:lnTo>
                        <a:pt x="2" y="92"/>
                      </a:lnTo>
                      <a:lnTo>
                        <a:pt x="6" y="88"/>
                      </a:lnTo>
                      <a:lnTo>
                        <a:pt x="9" y="85"/>
                      </a:lnTo>
                      <a:lnTo>
                        <a:pt x="13" y="79"/>
                      </a:lnTo>
                      <a:lnTo>
                        <a:pt x="16" y="70"/>
                      </a:lnTo>
                      <a:lnTo>
                        <a:pt x="17" y="6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79" name="Freeform 636"/>
                <p:cNvSpPr>
                  <a:spLocks/>
                </p:cNvSpPr>
                <p:nvPr/>
              </p:nvSpPr>
              <p:spPr bwMode="auto">
                <a:xfrm>
                  <a:off x="6062555" y="3504018"/>
                  <a:ext cx="390686" cy="430643"/>
                </a:xfrm>
                <a:custGeom>
                  <a:avLst/>
                  <a:gdLst>
                    <a:gd name="T0" fmla="*/ 2147483647 w 285"/>
                    <a:gd name="T1" fmla="*/ 0 h 291"/>
                    <a:gd name="T2" fmla="*/ 2147483647 w 285"/>
                    <a:gd name="T3" fmla="*/ 2147483647 h 291"/>
                    <a:gd name="T4" fmla="*/ 2147483647 w 285"/>
                    <a:gd name="T5" fmla="*/ 2147483647 h 291"/>
                    <a:gd name="T6" fmla="*/ 2147483647 w 285"/>
                    <a:gd name="T7" fmla="*/ 2147483647 h 291"/>
                    <a:gd name="T8" fmla="*/ 2147483647 w 285"/>
                    <a:gd name="T9" fmla="*/ 2147483647 h 291"/>
                    <a:gd name="T10" fmla="*/ 2147483647 w 285"/>
                    <a:gd name="T11" fmla="*/ 2147483647 h 291"/>
                    <a:gd name="T12" fmla="*/ 2147483647 w 285"/>
                    <a:gd name="T13" fmla="*/ 2147483647 h 291"/>
                    <a:gd name="T14" fmla="*/ 2147483647 w 285"/>
                    <a:gd name="T15" fmla="*/ 2147483647 h 291"/>
                    <a:gd name="T16" fmla="*/ 2147483647 w 285"/>
                    <a:gd name="T17" fmla="*/ 2147483647 h 291"/>
                    <a:gd name="T18" fmla="*/ 2147483647 w 285"/>
                    <a:gd name="T19" fmla="*/ 2147483647 h 291"/>
                    <a:gd name="T20" fmla="*/ 2147483647 w 285"/>
                    <a:gd name="T21" fmla="*/ 2147483647 h 291"/>
                    <a:gd name="T22" fmla="*/ 2147483647 w 285"/>
                    <a:gd name="T23" fmla="*/ 2147483647 h 291"/>
                    <a:gd name="T24" fmla="*/ 2147483647 w 285"/>
                    <a:gd name="T25" fmla="*/ 2147483647 h 291"/>
                    <a:gd name="T26" fmla="*/ 2147483647 w 285"/>
                    <a:gd name="T27" fmla="*/ 2147483647 h 291"/>
                    <a:gd name="T28" fmla="*/ 2147483647 w 285"/>
                    <a:gd name="T29" fmla="*/ 2147483647 h 291"/>
                    <a:gd name="T30" fmla="*/ 2147483647 w 285"/>
                    <a:gd name="T31" fmla="*/ 2147483647 h 291"/>
                    <a:gd name="T32" fmla="*/ 2147483647 w 285"/>
                    <a:gd name="T33" fmla="*/ 2147483647 h 291"/>
                    <a:gd name="T34" fmla="*/ 2147483647 w 285"/>
                    <a:gd name="T35" fmla="*/ 2147483647 h 291"/>
                    <a:gd name="T36" fmla="*/ 2147483647 w 285"/>
                    <a:gd name="T37" fmla="*/ 2147483647 h 291"/>
                    <a:gd name="T38" fmla="*/ 2147483647 w 285"/>
                    <a:gd name="T39" fmla="*/ 2147483647 h 291"/>
                    <a:gd name="T40" fmla="*/ 2147483647 w 285"/>
                    <a:gd name="T41" fmla="*/ 2147483647 h 291"/>
                    <a:gd name="T42" fmla="*/ 2147483647 w 285"/>
                    <a:gd name="T43" fmla="*/ 2147483647 h 291"/>
                    <a:gd name="T44" fmla="*/ 2147483647 w 285"/>
                    <a:gd name="T45" fmla="*/ 2147483647 h 291"/>
                    <a:gd name="T46" fmla="*/ 2147483647 w 285"/>
                    <a:gd name="T47" fmla="*/ 2147483647 h 291"/>
                    <a:gd name="T48" fmla="*/ 2147483647 w 285"/>
                    <a:gd name="T49" fmla="*/ 2147483647 h 291"/>
                    <a:gd name="T50" fmla="*/ 2147483647 w 285"/>
                    <a:gd name="T51" fmla="*/ 2147483647 h 291"/>
                    <a:gd name="T52" fmla="*/ 2147483647 w 285"/>
                    <a:gd name="T53" fmla="*/ 2147483647 h 291"/>
                    <a:gd name="T54" fmla="*/ 2147483647 w 285"/>
                    <a:gd name="T55" fmla="*/ 2147483647 h 291"/>
                    <a:gd name="T56" fmla="*/ 2147483647 w 285"/>
                    <a:gd name="T57" fmla="*/ 2147483647 h 291"/>
                    <a:gd name="T58" fmla="*/ 2147483647 w 285"/>
                    <a:gd name="T59" fmla="*/ 2147483647 h 291"/>
                    <a:gd name="T60" fmla="*/ 2147483647 w 285"/>
                    <a:gd name="T61" fmla="*/ 2147483647 h 291"/>
                    <a:gd name="T62" fmla="*/ 2147483647 w 285"/>
                    <a:gd name="T63" fmla="*/ 2147483647 h 291"/>
                    <a:gd name="T64" fmla="*/ 2147483647 w 285"/>
                    <a:gd name="T65" fmla="*/ 2147483647 h 291"/>
                    <a:gd name="T66" fmla="*/ 2147483647 w 285"/>
                    <a:gd name="T67" fmla="*/ 2147483647 h 291"/>
                    <a:gd name="T68" fmla="*/ 0 w 285"/>
                    <a:gd name="T69" fmla="*/ 2147483647 h 291"/>
                    <a:gd name="T70" fmla="*/ 2147483647 w 285"/>
                    <a:gd name="T71" fmla="*/ 2147483647 h 291"/>
                    <a:gd name="T72" fmla="*/ 2147483647 w 285"/>
                    <a:gd name="T73" fmla="*/ 2147483647 h 291"/>
                    <a:gd name="T74" fmla="*/ 2147483647 w 285"/>
                    <a:gd name="T75" fmla="*/ 2147483647 h 291"/>
                    <a:gd name="T76" fmla="*/ 2147483647 w 285"/>
                    <a:gd name="T77" fmla="*/ 2147483647 h 291"/>
                    <a:gd name="T78" fmla="*/ 2147483647 w 285"/>
                    <a:gd name="T79" fmla="*/ 2147483647 h 291"/>
                    <a:gd name="T80" fmla="*/ 2147483647 w 285"/>
                    <a:gd name="T81" fmla="*/ 2147483647 h 291"/>
                    <a:gd name="T82" fmla="*/ 2147483647 w 285"/>
                    <a:gd name="T83" fmla="*/ 2147483647 h 291"/>
                    <a:gd name="T84" fmla="*/ 2147483647 w 285"/>
                    <a:gd name="T85" fmla="*/ 2147483647 h 291"/>
                    <a:gd name="T86" fmla="*/ 2147483647 w 285"/>
                    <a:gd name="T87" fmla="*/ 2147483647 h 291"/>
                    <a:gd name="T88" fmla="*/ 2147483647 w 285"/>
                    <a:gd name="T89" fmla="*/ 2147483647 h 291"/>
                    <a:gd name="T90" fmla="*/ 2147483647 w 285"/>
                    <a:gd name="T91" fmla="*/ 2147483647 h 291"/>
                    <a:gd name="T92" fmla="*/ 2147483647 w 285"/>
                    <a:gd name="T93" fmla="*/ 2147483647 h 291"/>
                    <a:gd name="T94" fmla="*/ 2147483647 w 285"/>
                    <a:gd name="T95" fmla="*/ 2147483647 h 291"/>
                    <a:gd name="T96" fmla="*/ 2147483647 w 285"/>
                    <a:gd name="T97" fmla="*/ 2147483647 h 291"/>
                    <a:gd name="T98" fmla="*/ 2147483647 w 285"/>
                    <a:gd name="T99" fmla="*/ 2147483647 h 291"/>
                    <a:gd name="T100" fmla="*/ 2147483647 w 285"/>
                    <a:gd name="T101" fmla="*/ 2147483647 h 291"/>
                    <a:gd name="T102" fmla="*/ 2147483647 w 285"/>
                    <a:gd name="T103" fmla="*/ 2147483647 h 291"/>
                    <a:gd name="T104" fmla="*/ 2147483647 w 285"/>
                    <a:gd name="T105" fmla="*/ 2147483647 h 29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91"/>
                    <a:gd name="T161" fmla="*/ 285 w 285"/>
                    <a:gd name="T162" fmla="*/ 291 h 29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91">
                      <a:moveTo>
                        <a:pt x="227" y="4"/>
                      </a:moveTo>
                      <a:lnTo>
                        <a:pt x="227" y="4"/>
                      </a:lnTo>
                      <a:lnTo>
                        <a:pt x="235" y="3"/>
                      </a:lnTo>
                      <a:lnTo>
                        <a:pt x="243" y="1"/>
                      </a:lnTo>
                      <a:lnTo>
                        <a:pt x="250" y="0"/>
                      </a:lnTo>
                      <a:lnTo>
                        <a:pt x="254" y="0"/>
                      </a:lnTo>
                      <a:lnTo>
                        <a:pt x="257" y="2"/>
                      </a:lnTo>
                      <a:lnTo>
                        <a:pt x="259" y="4"/>
                      </a:lnTo>
                      <a:lnTo>
                        <a:pt x="260" y="7"/>
                      </a:lnTo>
                      <a:lnTo>
                        <a:pt x="263" y="13"/>
                      </a:lnTo>
                      <a:lnTo>
                        <a:pt x="266" y="16"/>
                      </a:lnTo>
                      <a:lnTo>
                        <a:pt x="268" y="20"/>
                      </a:lnTo>
                      <a:lnTo>
                        <a:pt x="272" y="23"/>
                      </a:lnTo>
                      <a:lnTo>
                        <a:pt x="278" y="27"/>
                      </a:lnTo>
                      <a:lnTo>
                        <a:pt x="282" y="31"/>
                      </a:lnTo>
                      <a:lnTo>
                        <a:pt x="285" y="34"/>
                      </a:lnTo>
                      <a:lnTo>
                        <a:pt x="285" y="39"/>
                      </a:lnTo>
                      <a:lnTo>
                        <a:pt x="283" y="44"/>
                      </a:lnTo>
                      <a:lnTo>
                        <a:pt x="282" y="48"/>
                      </a:lnTo>
                      <a:lnTo>
                        <a:pt x="279" y="53"/>
                      </a:lnTo>
                      <a:lnTo>
                        <a:pt x="273" y="61"/>
                      </a:lnTo>
                      <a:lnTo>
                        <a:pt x="269" y="64"/>
                      </a:lnTo>
                      <a:lnTo>
                        <a:pt x="264" y="65"/>
                      </a:lnTo>
                      <a:lnTo>
                        <a:pt x="259" y="64"/>
                      </a:lnTo>
                      <a:lnTo>
                        <a:pt x="254" y="61"/>
                      </a:lnTo>
                      <a:lnTo>
                        <a:pt x="250" y="58"/>
                      </a:lnTo>
                      <a:lnTo>
                        <a:pt x="245" y="54"/>
                      </a:lnTo>
                      <a:lnTo>
                        <a:pt x="239" y="53"/>
                      </a:lnTo>
                      <a:lnTo>
                        <a:pt x="236" y="53"/>
                      </a:lnTo>
                      <a:lnTo>
                        <a:pt x="234" y="54"/>
                      </a:lnTo>
                      <a:lnTo>
                        <a:pt x="230" y="58"/>
                      </a:lnTo>
                      <a:lnTo>
                        <a:pt x="226" y="63"/>
                      </a:lnTo>
                      <a:lnTo>
                        <a:pt x="225" y="67"/>
                      </a:lnTo>
                      <a:lnTo>
                        <a:pt x="225" y="70"/>
                      </a:lnTo>
                      <a:lnTo>
                        <a:pt x="226" y="71"/>
                      </a:lnTo>
                      <a:lnTo>
                        <a:pt x="229" y="78"/>
                      </a:lnTo>
                      <a:lnTo>
                        <a:pt x="229" y="84"/>
                      </a:lnTo>
                      <a:lnTo>
                        <a:pt x="229" y="90"/>
                      </a:lnTo>
                      <a:lnTo>
                        <a:pt x="226" y="96"/>
                      </a:lnTo>
                      <a:lnTo>
                        <a:pt x="226" y="99"/>
                      </a:lnTo>
                      <a:lnTo>
                        <a:pt x="226" y="102"/>
                      </a:lnTo>
                      <a:lnTo>
                        <a:pt x="231" y="106"/>
                      </a:lnTo>
                      <a:lnTo>
                        <a:pt x="231" y="109"/>
                      </a:lnTo>
                      <a:lnTo>
                        <a:pt x="231" y="111"/>
                      </a:lnTo>
                      <a:lnTo>
                        <a:pt x="229" y="115"/>
                      </a:lnTo>
                      <a:lnTo>
                        <a:pt x="227" y="118"/>
                      </a:lnTo>
                      <a:lnTo>
                        <a:pt x="227" y="122"/>
                      </a:lnTo>
                      <a:lnTo>
                        <a:pt x="229" y="125"/>
                      </a:lnTo>
                      <a:lnTo>
                        <a:pt x="230" y="130"/>
                      </a:lnTo>
                      <a:lnTo>
                        <a:pt x="227" y="134"/>
                      </a:lnTo>
                      <a:lnTo>
                        <a:pt x="225" y="137"/>
                      </a:lnTo>
                      <a:lnTo>
                        <a:pt x="221" y="141"/>
                      </a:lnTo>
                      <a:lnTo>
                        <a:pt x="213" y="151"/>
                      </a:lnTo>
                      <a:lnTo>
                        <a:pt x="207" y="162"/>
                      </a:lnTo>
                      <a:lnTo>
                        <a:pt x="202" y="170"/>
                      </a:lnTo>
                      <a:lnTo>
                        <a:pt x="194" y="179"/>
                      </a:lnTo>
                      <a:lnTo>
                        <a:pt x="188" y="186"/>
                      </a:lnTo>
                      <a:lnTo>
                        <a:pt x="182" y="195"/>
                      </a:lnTo>
                      <a:lnTo>
                        <a:pt x="179" y="199"/>
                      </a:lnTo>
                      <a:lnTo>
                        <a:pt x="177" y="200"/>
                      </a:lnTo>
                      <a:lnTo>
                        <a:pt x="172" y="201"/>
                      </a:lnTo>
                      <a:lnTo>
                        <a:pt x="166" y="200"/>
                      </a:lnTo>
                      <a:lnTo>
                        <a:pt x="163" y="200"/>
                      </a:lnTo>
                      <a:lnTo>
                        <a:pt x="159" y="201"/>
                      </a:lnTo>
                      <a:lnTo>
                        <a:pt x="156" y="205"/>
                      </a:lnTo>
                      <a:lnTo>
                        <a:pt x="153" y="208"/>
                      </a:lnTo>
                      <a:lnTo>
                        <a:pt x="150" y="211"/>
                      </a:lnTo>
                      <a:lnTo>
                        <a:pt x="147" y="213"/>
                      </a:lnTo>
                      <a:lnTo>
                        <a:pt x="145" y="216"/>
                      </a:lnTo>
                      <a:lnTo>
                        <a:pt x="145" y="217"/>
                      </a:lnTo>
                      <a:lnTo>
                        <a:pt x="145" y="219"/>
                      </a:lnTo>
                      <a:lnTo>
                        <a:pt x="147" y="220"/>
                      </a:lnTo>
                      <a:lnTo>
                        <a:pt x="150" y="221"/>
                      </a:lnTo>
                      <a:lnTo>
                        <a:pt x="153" y="223"/>
                      </a:lnTo>
                      <a:lnTo>
                        <a:pt x="154" y="225"/>
                      </a:lnTo>
                      <a:lnTo>
                        <a:pt x="155" y="227"/>
                      </a:lnTo>
                      <a:lnTo>
                        <a:pt x="156" y="231"/>
                      </a:lnTo>
                      <a:lnTo>
                        <a:pt x="156" y="237"/>
                      </a:lnTo>
                      <a:lnTo>
                        <a:pt x="159" y="239"/>
                      </a:lnTo>
                      <a:lnTo>
                        <a:pt x="160" y="242"/>
                      </a:lnTo>
                      <a:lnTo>
                        <a:pt x="165" y="246"/>
                      </a:lnTo>
                      <a:lnTo>
                        <a:pt x="168" y="249"/>
                      </a:lnTo>
                      <a:lnTo>
                        <a:pt x="169" y="251"/>
                      </a:lnTo>
                      <a:lnTo>
                        <a:pt x="169" y="258"/>
                      </a:lnTo>
                      <a:lnTo>
                        <a:pt x="166" y="264"/>
                      </a:lnTo>
                      <a:lnTo>
                        <a:pt x="165" y="271"/>
                      </a:lnTo>
                      <a:lnTo>
                        <a:pt x="151" y="270"/>
                      </a:lnTo>
                      <a:lnTo>
                        <a:pt x="144" y="269"/>
                      </a:lnTo>
                      <a:lnTo>
                        <a:pt x="137" y="269"/>
                      </a:lnTo>
                      <a:lnTo>
                        <a:pt x="135" y="270"/>
                      </a:lnTo>
                      <a:lnTo>
                        <a:pt x="132" y="272"/>
                      </a:lnTo>
                      <a:lnTo>
                        <a:pt x="131" y="275"/>
                      </a:lnTo>
                      <a:lnTo>
                        <a:pt x="130" y="278"/>
                      </a:lnTo>
                      <a:lnTo>
                        <a:pt x="127" y="283"/>
                      </a:lnTo>
                      <a:lnTo>
                        <a:pt x="122" y="287"/>
                      </a:lnTo>
                      <a:lnTo>
                        <a:pt x="117" y="289"/>
                      </a:lnTo>
                      <a:lnTo>
                        <a:pt x="112" y="291"/>
                      </a:lnTo>
                      <a:lnTo>
                        <a:pt x="111" y="287"/>
                      </a:lnTo>
                      <a:lnTo>
                        <a:pt x="111" y="282"/>
                      </a:lnTo>
                      <a:lnTo>
                        <a:pt x="109" y="272"/>
                      </a:lnTo>
                      <a:lnTo>
                        <a:pt x="109" y="271"/>
                      </a:lnTo>
                      <a:lnTo>
                        <a:pt x="106" y="270"/>
                      </a:lnTo>
                      <a:lnTo>
                        <a:pt x="99" y="269"/>
                      </a:lnTo>
                      <a:lnTo>
                        <a:pt x="98" y="266"/>
                      </a:lnTo>
                      <a:lnTo>
                        <a:pt x="98" y="264"/>
                      </a:lnTo>
                      <a:lnTo>
                        <a:pt x="99" y="259"/>
                      </a:lnTo>
                      <a:lnTo>
                        <a:pt x="99" y="257"/>
                      </a:lnTo>
                      <a:lnTo>
                        <a:pt x="97" y="255"/>
                      </a:lnTo>
                      <a:lnTo>
                        <a:pt x="94" y="253"/>
                      </a:lnTo>
                      <a:lnTo>
                        <a:pt x="89" y="253"/>
                      </a:lnTo>
                      <a:lnTo>
                        <a:pt x="76" y="257"/>
                      </a:lnTo>
                      <a:lnTo>
                        <a:pt x="65" y="259"/>
                      </a:lnTo>
                      <a:lnTo>
                        <a:pt x="57" y="258"/>
                      </a:lnTo>
                      <a:lnTo>
                        <a:pt x="51" y="258"/>
                      </a:lnTo>
                      <a:lnTo>
                        <a:pt x="45" y="256"/>
                      </a:lnTo>
                      <a:lnTo>
                        <a:pt x="37" y="256"/>
                      </a:lnTo>
                      <a:lnTo>
                        <a:pt x="27" y="256"/>
                      </a:lnTo>
                      <a:lnTo>
                        <a:pt x="17" y="257"/>
                      </a:lnTo>
                      <a:lnTo>
                        <a:pt x="10" y="253"/>
                      </a:lnTo>
                      <a:lnTo>
                        <a:pt x="6" y="252"/>
                      </a:lnTo>
                      <a:lnTo>
                        <a:pt x="3" y="251"/>
                      </a:lnTo>
                      <a:lnTo>
                        <a:pt x="9" y="236"/>
                      </a:lnTo>
                      <a:lnTo>
                        <a:pt x="13" y="227"/>
                      </a:lnTo>
                      <a:lnTo>
                        <a:pt x="18" y="221"/>
                      </a:lnTo>
                      <a:lnTo>
                        <a:pt x="22" y="220"/>
                      </a:lnTo>
                      <a:lnTo>
                        <a:pt x="27" y="219"/>
                      </a:lnTo>
                      <a:lnTo>
                        <a:pt x="31" y="217"/>
                      </a:lnTo>
                      <a:lnTo>
                        <a:pt x="32" y="216"/>
                      </a:lnTo>
                      <a:lnTo>
                        <a:pt x="32" y="213"/>
                      </a:lnTo>
                      <a:lnTo>
                        <a:pt x="29" y="210"/>
                      </a:lnTo>
                      <a:lnTo>
                        <a:pt x="28" y="207"/>
                      </a:lnTo>
                      <a:lnTo>
                        <a:pt x="26" y="204"/>
                      </a:lnTo>
                      <a:lnTo>
                        <a:pt x="24" y="200"/>
                      </a:lnTo>
                      <a:lnTo>
                        <a:pt x="23" y="193"/>
                      </a:lnTo>
                      <a:lnTo>
                        <a:pt x="22" y="189"/>
                      </a:lnTo>
                      <a:lnTo>
                        <a:pt x="19" y="186"/>
                      </a:lnTo>
                      <a:lnTo>
                        <a:pt x="6" y="172"/>
                      </a:lnTo>
                      <a:lnTo>
                        <a:pt x="1" y="165"/>
                      </a:lnTo>
                      <a:lnTo>
                        <a:pt x="0" y="160"/>
                      </a:lnTo>
                      <a:lnTo>
                        <a:pt x="0" y="156"/>
                      </a:lnTo>
                      <a:lnTo>
                        <a:pt x="6" y="160"/>
                      </a:lnTo>
                      <a:lnTo>
                        <a:pt x="12" y="161"/>
                      </a:lnTo>
                      <a:lnTo>
                        <a:pt x="17" y="162"/>
                      </a:lnTo>
                      <a:lnTo>
                        <a:pt x="22" y="162"/>
                      </a:lnTo>
                      <a:lnTo>
                        <a:pt x="32" y="162"/>
                      </a:lnTo>
                      <a:lnTo>
                        <a:pt x="36" y="162"/>
                      </a:lnTo>
                      <a:lnTo>
                        <a:pt x="39" y="162"/>
                      </a:lnTo>
                      <a:lnTo>
                        <a:pt x="50" y="166"/>
                      </a:lnTo>
                      <a:lnTo>
                        <a:pt x="55" y="166"/>
                      </a:lnTo>
                      <a:lnTo>
                        <a:pt x="57" y="166"/>
                      </a:lnTo>
                      <a:lnTo>
                        <a:pt x="59" y="165"/>
                      </a:lnTo>
                      <a:lnTo>
                        <a:pt x="65" y="160"/>
                      </a:lnTo>
                      <a:lnTo>
                        <a:pt x="71" y="159"/>
                      </a:lnTo>
                      <a:lnTo>
                        <a:pt x="78" y="157"/>
                      </a:lnTo>
                      <a:lnTo>
                        <a:pt x="84" y="157"/>
                      </a:lnTo>
                      <a:lnTo>
                        <a:pt x="81" y="154"/>
                      </a:lnTo>
                      <a:lnTo>
                        <a:pt x="81" y="149"/>
                      </a:lnTo>
                      <a:lnTo>
                        <a:pt x="81" y="143"/>
                      </a:lnTo>
                      <a:lnTo>
                        <a:pt x="84" y="137"/>
                      </a:lnTo>
                      <a:lnTo>
                        <a:pt x="89" y="133"/>
                      </a:lnTo>
                      <a:lnTo>
                        <a:pt x="94" y="128"/>
                      </a:lnTo>
                      <a:lnTo>
                        <a:pt x="100" y="125"/>
                      </a:lnTo>
                      <a:lnTo>
                        <a:pt x="111" y="121"/>
                      </a:lnTo>
                      <a:lnTo>
                        <a:pt x="112" y="118"/>
                      </a:lnTo>
                      <a:lnTo>
                        <a:pt x="113" y="117"/>
                      </a:lnTo>
                      <a:lnTo>
                        <a:pt x="116" y="115"/>
                      </a:lnTo>
                      <a:lnTo>
                        <a:pt x="117" y="114"/>
                      </a:lnTo>
                      <a:lnTo>
                        <a:pt x="127" y="110"/>
                      </a:lnTo>
                      <a:lnTo>
                        <a:pt x="131" y="109"/>
                      </a:lnTo>
                      <a:lnTo>
                        <a:pt x="133" y="106"/>
                      </a:lnTo>
                      <a:lnTo>
                        <a:pt x="137" y="101"/>
                      </a:lnTo>
                      <a:lnTo>
                        <a:pt x="142" y="90"/>
                      </a:lnTo>
                      <a:lnTo>
                        <a:pt x="144" y="86"/>
                      </a:lnTo>
                      <a:lnTo>
                        <a:pt x="145" y="85"/>
                      </a:lnTo>
                      <a:lnTo>
                        <a:pt x="147" y="84"/>
                      </a:lnTo>
                      <a:lnTo>
                        <a:pt x="150" y="83"/>
                      </a:lnTo>
                      <a:lnTo>
                        <a:pt x="153" y="80"/>
                      </a:lnTo>
                      <a:lnTo>
                        <a:pt x="153" y="76"/>
                      </a:lnTo>
                      <a:lnTo>
                        <a:pt x="151" y="71"/>
                      </a:lnTo>
                      <a:lnTo>
                        <a:pt x="150" y="61"/>
                      </a:lnTo>
                      <a:lnTo>
                        <a:pt x="151" y="61"/>
                      </a:lnTo>
                      <a:lnTo>
                        <a:pt x="154" y="61"/>
                      </a:lnTo>
                      <a:lnTo>
                        <a:pt x="158" y="63"/>
                      </a:lnTo>
                      <a:lnTo>
                        <a:pt x="161" y="63"/>
                      </a:lnTo>
                      <a:lnTo>
                        <a:pt x="165" y="63"/>
                      </a:lnTo>
                      <a:lnTo>
                        <a:pt x="169" y="60"/>
                      </a:lnTo>
                      <a:lnTo>
                        <a:pt x="170" y="59"/>
                      </a:lnTo>
                      <a:lnTo>
                        <a:pt x="170" y="58"/>
                      </a:lnTo>
                      <a:lnTo>
                        <a:pt x="168" y="54"/>
                      </a:lnTo>
                      <a:lnTo>
                        <a:pt x="166" y="52"/>
                      </a:lnTo>
                      <a:lnTo>
                        <a:pt x="166" y="50"/>
                      </a:lnTo>
                      <a:lnTo>
                        <a:pt x="168" y="50"/>
                      </a:lnTo>
                      <a:lnTo>
                        <a:pt x="173" y="46"/>
                      </a:lnTo>
                      <a:lnTo>
                        <a:pt x="178" y="42"/>
                      </a:lnTo>
                      <a:lnTo>
                        <a:pt x="182" y="38"/>
                      </a:lnTo>
                      <a:lnTo>
                        <a:pt x="182" y="35"/>
                      </a:lnTo>
                      <a:lnTo>
                        <a:pt x="182" y="32"/>
                      </a:lnTo>
                      <a:lnTo>
                        <a:pt x="180" y="29"/>
                      </a:lnTo>
                      <a:lnTo>
                        <a:pt x="178" y="27"/>
                      </a:lnTo>
                      <a:lnTo>
                        <a:pt x="177" y="25"/>
                      </a:lnTo>
                      <a:lnTo>
                        <a:pt x="174" y="22"/>
                      </a:lnTo>
                      <a:lnTo>
                        <a:pt x="174" y="20"/>
                      </a:lnTo>
                      <a:lnTo>
                        <a:pt x="175" y="18"/>
                      </a:lnTo>
                      <a:lnTo>
                        <a:pt x="177" y="15"/>
                      </a:lnTo>
                      <a:lnTo>
                        <a:pt x="179" y="14"/>
                      </a:lnTo>
                      <a:lnTo>
                        <a:pt x="199" y="7"/>
                      </a:lnTo>
                      <a:lnTo>
                        <a:pt x="205" y="6"/>
                      </a:lnTo>
                      <a:lnTo>
                        <a:pt x="210" y="4"/>
                      </a:lnTo>
                      <a:lnTo>
                        <a:pt x="216" y="4"/>
                      </a:lnTo>
                      <a:lnTo>
                        <a:pt x="221" y="6"/>
                      </a:lnTo>
                      <a:lnTo>
                        <a:pt x="225" y="6"/>
                      </a:lnTo>
                      <a:lnTo>
                        <a:pt x="227"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0" name="Freeform 637"/>
                <p:cNvSpPr>
                  <a:spLocks/>
                </p:cNvSpPr>
                <p:nvPr/>
              </p:nvSpPr>
              <p:spPr bwMode="auto">
                <a:xfrm>
                  <a:off x="6044798" y="3450746"/>
                  <a:ext cx="332972" cy="298934"/>
                </a:xfrm>
                <a:custGeom>
                  <a:avLst/>
                  <a:gdLst>
                    <a:gd name="T0" fmla="*/ 2147483647 w 244"/>
                    <a:gd name="T1" fmla="*/ 2147483647 h 202"/>
                    <a:gd name="T2" fmla="*/ 2147483647 w 244"/>
                    <a:gd name="T3" fmla="*/ 2147483647 h 202"/>
                    <a:gd name="T4" fmla="*/ 2147483647 w 244"/>
                    <a:gd name="T5" fmla="*/ 2147483647 h 202"/>
                    <a:gd name="T6" fmla="*/ 2147483647 w 244"/>
                    <a:gd name="T7" fmla="*/ 2147483647 h 202"/>
                    <a:gd name="T8" fmla="*/ 2147483647 w 244"/>
                    <a:gd name="T9" fmla="*/ 2147483647 h 202"/>
                    <a:gd name="T10" fmla="*/ 2147483647 w 244"/>
                    <a:gd name="T11" fmla="*/ 2147483647 h 202"/>
                    <a:gd name="T12" fmla="*/ 2147483647 w 244"/>
                    <a:gd name="T13" fmla="*/ 2147483647 h 202"/>
                    <a:gd name="T14" fmla="*/ 2147483647 w 244"/>
                    <a:gd name="T15" fmla="*/ 2147483647 h 202"/>
                    <a:gd name="T16" fmla="*/ 2147483647 w 244"/>
                    <a:gd name="T17" fmla="*/ 2147483647 h 202"/>
                    <a:gd name="T18" fmla="*/ 2147483647 w 244"/>
                    <a:gd name="T19" fmla="*/ 2147483647 h 202"/>
                    <a:gd name="T20" fmla="*/ 2147483647 w 244"/>
                    <a:gd name="T21" fmla="*/ 2147483647 h 202"/>
                    <a:gd name="T22" fmla="*/ 2147483647 w 244"/>
                    <a:gd name="T23" fmla="*/ 2147483647 h 202"/>
                    <a:gd name="T24" fmla="*/ 2147483647 w 244"/>
                    <a:gd name="T25" fmla="*/ 2147483647 h 202"/>
                    <a:gd name="T26" fmla="*/ 2147483647 w 244"/>
                    <a:gd name="T27" fmla="*/ 2147483647 h 202"/>
                    <a:gd name="T28" fmla="*/ 2147483647 w 244"/>
                    <a:gd name="T29" fmla="*/ 2147483647 h 202"/>
                    <a:gd name="T30" fmla="*/ 2147483647 w 244"/>
                    <a:gd name="T31" fmla="*/ 2147483647 h 202"/>
                    <a:gd name="T32" fmla="*/ 2147483647 w 244"/>
                    <a:gd name="T33" fmla="*/ 2147483647 h 202"/>
                    <a:gd name="T34" fmla="*/ 2147483647 w 244"/>
                    <a:gd name="T35" fmla="*/ 2147483647 h 202"/>
                    <a:gd name="T36" fmla="*/ 2147483647 w 244"/>
                    <a:gd name="T37" fmla="*/ 2147483647 h 202"/>
                    <a:gd name="T38" fmla="*/ 2147483647 w 244"/>
                    <a:gd name="T39" fmla="*/ 2147483647 h 202"/>
                    <a:gd name="T40" fmla="*/ 2147483647 w 244"/>
                    <a:gd name="T41" fmla="*/ 2147483647 h 202"/>
                    <a:gd name="T42" fmla="*/ 2147483647 w 244"/>
                    <a:gd name="T43" fmla="*/ 2147483647 h 202"/>
                    <a:gd name="T44" fmla="*/ 2147483647 w 244"/>
                    <a:gd name="T45" fmla="*/ 2147483647 h 202"/>
                    <a:gd name="T46" fmla="*/ 2147483647 w 244"/>
                    <a:gd name="T47" fmla="*/ 2147483647 h 202"/>
                    <a:gd name="T48" fmla="*/ 2147483647 w 244"/>
                    <a:gd name="T49" fmla="*/ 2147483647 h 202"/>
                    <a:gd name="T50" fmla="*/ 2147483647 w 244"/>
                    <a:gd name="T51" fmla="*/ 2147483647 h 202"/>
                    <a:gd name="T52" fmla="*/ 2147483647 w 244"/>
                    <a:gd name="T53" fmla="*/ 2147483647 h 202"/>
                    <a:gd name="T54" fmla="*/ 2147483647 w 244"/>
                    <a:gd name="T55" fmla="*/ 2147483647 h 202"/>
                    <a:gd name="T56" fmla="*/ 2147483647 w 244"/>
                    <a:gd name="T57" fmla="*/ 2147483647 h 202"/>
                    <a:gd name="T58" fmla="*/ 2147483647 w 244"/>
                    <a:gd name="T59" fmla="*/ 2147483647 h 202"/>
                    <a:gd name="T60" fmla="*/ 2147483647 w 244"/>
                    <a:gd name="T61" fmla="*/ 2147483647 h 202"/>
                    <a:gd name="T62" fmla="*/ 2147483647 w 244"/>
                    <a:gd name="T63" fmla="*/ 2147483647 h 202"/>
                    <a:gd name="T64" fmla="*/ 2147483647 w 244"/>
                    <a:gd name="T65" fmla="*/ 2147483647 h 202"/>
                    <a:gd name="T66" fmla="*/ 2147483647 w 244"/>
                    <a:gd name="T67" fmla="*/ 2147483647 h 202"/>
                    <a:gd name="T68" fmla="*/ 2147483647 w 244"/>
                    <a:gd name="T69" fmla="*/ 2147483647 h 202"/>
                    <a:gd name="T70" fmla="*/ 2147483647 w 244"/>
                    <a:gd name="T71" fmla="*/ 2147483647 h 202"/>
                    <a:gd name="T72" fmla="*/ 2147483647 w 244"/>
                    <a:gd name="T73" fmla="*/ 2147483647 h 202"/>
                    <a:gd name="T74" fmla="*/ 2147483647 w 244"/>
                    <a:gd name="T75" fmla="*/ 2147483647 h 202"/>
                    <a:gd name="T76" fmla="*/ 2147483647 w 244"/>
                    <a:gd name="T77" fmla="*/ 2147483647 h 202"/>
                    <a:gd name="T78" fmla="*/ 2147483647 w 244"/>
                    <a:gd name="T79" fmla="*/ 2147483647 h 202"/>
                    <a:gd name="T80" fmla="*/ 2147483647 w 244"/>
                    <a:gd name="T81" fmla="*/ 2147483647 h 202"/>
                    <a:gd name="T82" fmla="*/ 2147483647 w 244"/>
                    <a:gd name="T83" fmla="*/ 2147483647 h 202"/>
                    <a:gd name="T84" fmla="*/ 2147483647 w 244"/>
                    <a:gd name="T85" fmla="*/ 2147483647 h 202"/>
                    <a:gd name="T86" fmla="*/ 2147483647 w 244"/>
                    <a:gd name="T87" fmla="*/ 2147483647 h 202"/>
                    <a:gd name="T88" fmla="*/ 2147483647 w 244"/>
                    <a:gd name="T89" fmla="*/ 2147483647 h 202"/>
                    <a:gd name="T90" fmla="*/ 2147483647 w 244"/>
                    <a:gd name="T91" fmla="*/ 2147483647 h 202"/>
                    <a:gd name="T92" fmla="*/ 2147483647 w 244"/>
                    <a:gd name="T93" fmla="*/ 2147483647 h 202"/>
                    <a:gd name="T94" fmla="*/ 2147483647 w 244"/>
                    <a:gd name="T95" fmla="*/ 2147483647 h 202"/>
                    <a:gd name="T96" fmla="*/ 2147483647 w 244"/>
                    <a:gd name="T97" fmla="*/ 2147483647 h 202"/>
                    <a:gd name="T98" fmla="*/ 2147483647 w 244"/>
                    <a:gd name="T99" fmla="*/ 2147483647 h 202"/>
                    <a:gd name="T100" fmla="*/ 2147483647 w 244"/>
                    <a:gd name="T101" fmla="*/ 2147483647 h 202"/>
                    <a:gd name="T102" fmla="*/ 2147483647 w 244"/>
                    <a:gd name="T103" fmla="*/ 2147483647 h 202"/>
                    <a:gd name="T104" fmla="*/ 2147483647 w 244"/>
                    <a:gd name="T105" fmla="*/ 2147483647 h 202"/>
                    <a:gd name="T106" fmla="*/ 2147483647 w 244"/>
                    <a:gd name="T107" fmla="*/ 2147483647 h 202"/>
                    <a:gd name="T108" fmla="*/ 2147483647 w 244"/>
                    <a:gd name="T109" fmla="*/ 2147483647 h 202"/>
                    <a:gd name="T110" fmla="*/ 2147483647 w 244"/>
                    <a:gd name="T111" fmla="*/ 2147483647 h 2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4"/>
                    <a:gd name="T169" fmla="*/ 0 h 202"/>
                    <a:gd name="T170" fmla="*/ 244 w 244"/>
                    <a:gd name="T171" fmla="*/ 202 h 2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4" h="202">
                      <a:moveTo>
                        <a:pt x="17" y="63"/>
                      </a:moveTo>
                      <a:lnTo>
                        <a:pt x="17" y="63"/>
                      </a:lnTo>
                      <a:lnTo>
                        <a:pt x="29" y="65"/>
                      </a:lnTo>
                      <a:lnTo>
                        <a:pt x="36" y="67"/>
                      </a:lnTo>
                      <a:lnTo>
                        <a:pt x="43" y="67"/>
                      </a:lnTo>
                      <a:lnTo>
                        <a:pt x="45" y="67"/>
                      </a:lnTo>
                      <a:lnTo>
                        <a:pt x="46" y="65"/>
                      </a:lnTo>
                      <a:lnTo>
                        <a:pt x="48" y="62"/>
                      </a:lnTo>
                      <a:lnTo>
                        <a:pt x="50" y="58"/>
                      </a:lnTo>
                      <a:lnTo>
                        <a:pt x="52" y="55"/>
                      </a:lnTo>
                      <a:lnTo>
                        <a:pt x="55" y="54"/>
                      </a:lnTo>
                      <a:lnTo>
                        <a:pt x="56" y="54"/>
                      </a:lnTo>
                      <a:lnTo>
                        <a:pt x="59" y="54"/>
                      </a:lnTo>
                      <a:lnTo>
                        <a:pt x="61" y="54"/>
                      </a:lnTo>
                      <a:lnTo>
                        <a:pt x="64" y="49"/>
                      </a:lnTo>
                      <a:lnTo>
                        <a:pt x="66" y="45"/>
                      </a:lnTo>
                      <a:lnTo>
                        <a:pt x="70" y="36"/>
                      </a:lnTo>
                      <a:lnTo>
                        <a:pt x="71" y="33"/>
                      </a:lnTo>
                      <a:lnTo>
                        <a:pt x="75" y="32"/>
                      </a:lnTo>
                      <a:lnTo>
                        <a:pt x="80" y="31"/>
                      </a:lnTo>
                      <a:lnTo>
                        <a:pt x="84" y="30"/>
                      </a:lnTo>
                      <a:lnTo>
                        <a:pt x="88" y="27"/>
                      </a:lnTo>
                      <a:lnTo>
                        <a:pt x="92" y="25"/>
                      </a:lnTo>
                      <a:lnTo>
                        <a:pt x="94" y="24"/>
                      </a:lnTo>
                      <a:lnTo>
                        <a:pt x="97" y="25"/>
                      </a:lnTo>
                      <a:lnTo>
                        <a:pt x="98" y="26"/>
                      </a:lnTo>
                      <a:lnTo>
                        <a:pt x="100" y="27"/>
                      </a:lnTo>
                      <a:lnTo>
                        <a:pt x="107" y="27"/>
                      </a:lnTo>
                      <a:lnTo>
                        <a:pt x="112" y="27"/>
                      </a:lnTo>
                      <a:lnTo>
                        <a:pt x="117" y="30"/>
                      </a:lnTo>
                      <a:lnTo>
                        <a:pt x="122" y="33"/>
                      </a:lnTo>
                      <a:lnTo>
                        <a:pt x="125" y="35"/>
                      </a:lnTo>
                      <a:lnTo>
                        <a:pt x="126" y="35"/>
                      </a:lnTo>
                      <a:lnTo>
                        <a:pt x="130" y="32"/>
                      </a:lnTo>
                      <a:lnTo>
                        <a:pt x="133" y="32"/>
                      </a:lnTo>
                      <a:lnTo>
                        <a:pt x="140" y="32"/>
                      </a:lnTo>
                      <a:lnTo>
                        <a:pt x="147" y="31"/>
                      </a:lnTo>
                      <a:lnTo>
                        <a:pt x="153" y="31"/>
                      </a:lnTo>
                      <a:lnTo>
                        <a:pt x="158" y="30"/>
                      </a:lnTo>
                      <a:lnTo>
                        <a:pt x="163" y="27"/>
                      </a:lnTo>
                      <a:lnTo>
                        <a:pt x="168" y="24"/>
                      </a:lnTo>
                      <a:lnTo>
                        <a:pt x="174" y="17"/>
                      </a:lnTo>
                      <a:lnTo>
                        <a:pt x="179" y="7"/>
                      </a:lnTo>
                      <a:lnTo>
                        <a:pt x="187" y="3"/>
                      </a:lnTo>
                      <a:lnTo>
                        <a:pt x="191" y="0"/>
                      </a:lnTo>
                      <a:lnTo>
                        <a:pt x="192" y="0"/>
                      </a:lnTo>
                      <a:lnTo>
                        <a:pt x="193" y="1"/>
                      </a:lnTo>
                      <a:lnTo>
                        <a:pt x="193" y="5"/>
                      </a:lnTo>
                      <a:lnTo>
                        <a:pt x="191" y="8"/>
                      </a:lnTo>
                      <a:lnTo>
                        <a:pt x="189" y="12"/>
                      </a:lnTo>
                      <a:lnTo>
                        <a:pt x="189" y="13"/>
                      </a:lnTo>
                      <a:lnTo>
                        <a:pt x="191" y="14"/>
                      </a:lnTo>
                      <a:lnTo>
                        <a:pt x="194" y="16"/>
                      </a:lnTo>
                      <a:lnTo>
                        <a:pt x="197" y="17"/>
                      </a:lnTo>
                      <a:lnTo>
                        <a:pt x="198" y="19"/>
                      </a:lnTo>
                      <a:lnTo>
                        <a:pt x="198" y="23"/>
                      </a:lnTo>
                      <a:lnTo>
                        <a:pt x="200" y="29"/>
                      </a:lnTo>
                      <a:lnTo>
                        <a:pt x="200" y="33"/>
                      </a:lnTo>
                      <a:lnTo>
                        <a:pt x="200" y="36"/>
                      </a:lnTo>
                      <a:lnTo>
                        <a:pt x="202" y="36"/>
                      </a:lnTo>
                      <a:lnTo>
                        <a:pt x="206" y="35"/>
                      </a:lnTo>
                      <a:lnTo>
                        <a:pt x="211" y="32"/>
                      </a:lnTo>
                      <a:lnTo>
                        <a:pt x="213" y="32"/>
                      </a:lnTo>
                      <a:lnTo>
                        <a:pt x="216" y="32"/>
                      </a:lnTo>
                      <a:lnTo>
                        <a:pt x="230" y="29"/>
                      </a:lnTo>
                      <a:lnTo>
                        <a:pt x="238" y="27"/>
                      </a:lnTo>
                      <a:lnTo>
                        <a:pt x="244" y="27"/>
                      </a:lnTo>
                      <a:lnTo>
                        <a:pt x="244" y="29"/>
                      </a:lnTo>
                      <a:lnTo>
                        <a:pt x="243" y="29"/>
                      </a:lnTo>
                      <a:lnTo>
                        <a:pt x="244" y="29"/>
                      </a:lnTo>
                      <a:lnTo>
                        <a:pt x="244" y="36"/>
                      </a:lnTo>
                      <a:lnTo>
                        <a:pt x="243" y="38"/>
                      </a:lnTo>
                      <a:lnTo>
                        <a:pt x="241" y="40"/>
                      </a:lnTo>
                      <a:lnTo>
                        <a:pt x="239" y="42"/>
                      </a:lnTo>
                      <a:lnTo>
                        <a:pt x="235" y="42"/>
                      </a:lnTo>
                      <a:lnTo>
                        <a:pt x="230" y="40"/>
                      </a:lnTo>
                      <a:lnTo>
                        <a:pt x="224" y="40"/>
                      </a:lnTo>
                      <a:lnTo>
                        <a:pt x="219" y="42"/>
                      </a:lnTo>
                      <a:lnTo>
                        <a:pt x="213" y="43"/>
                      </a:lnTo>
                      <a:lnTo>
                        <a:pt x="193" y="50"/>
                      </a:lnTo>
                      <a:lnTo>
                        <a:pt x="191" y="51"/>
                      </a:lnTo>
                      <a:lnTo>
                        <a:pt x="189" y="54"/>
                      </a:lnTo>
                      <a:lnTo>
                        <a:pt x="188" y="56"/>
                      </a:lnTo>
                      <a:lnTo>
                        <a:pt x="188" y="58"/>
                      </a:lnTo>
                      <a:lnTo>
                        <a:pt x="191" y="61"/>
                      </a:lnTo>
                      <a:lnTo>
                        <a:pt x="192" y="63"/>
                      </a:lnTo>
                      <a:lnTo>
                        <a:pt x="194" y="65"/>
                      </a:lnTo>
                      <a:lnTo>
                        <a:pt x="196" y="68"/>
                      </a:lnTo>
                      <a:lnTo>
                        <a:pt x="196" y="71"/>
                      </a:lnTo>
                      <a:lnTo>
                        <a:pt x="196" y="74"/>
                      </a:lnTo>
                      <a:lnTo>
                        <a:pt x="192" y="78"/>
                      </a:lnTo>
                      <a:lnTo>
                        <a:pt x="187" y="82"/>
                      </a:lnTo>
                      <a:lnTo>
                        <a:pt x="182" y="86"/>
                      </a:lnTo>
                      <a:lnTo>
                        <a:pt x="180" y="86"/>
                      </a:lnTo>
                      <a:lnTo>
                        <a:pt x="180" y="88"/>
                      </a:lnTo>
                      <a:lnTo>
                        <a:pt x="182" y="90"/>
                      </a:lnTo>
                      <a:lnTo>
                        <a:pt x="184" y="94"/>
                      </a:lnTo>
                      <a:lnTo>
                        <a:pt x="184" y="95"/>
                      </a:lnTo>
                      <a:lnTo>
                        <a:pt x="183" y="96"/>
                      </a:lnTo>
                      <a:lnTo>
                        <a:pt x="179" y="99"/>
                      </a:lnTo>
                      <a:lnTo>
                        <a:pt x="175" y="99"/>
                      </a:lnTo>
                      <a:lnTo>
                        <a:pt x="172" y="99"/>
                      </a:lnTo>
                      <a:lnTo>
                        <a:pt x="168" y="97"/>
                      </a:lnTo>
                      <a:lnTo>
                        <a:pt x="165" y="97"/>
                      </a:lnTo>
                      <a:lnTo>
                        <a:pt x="164" y="97"/>
                      </a:lnTo>
                      <a:lnTo>
                        <a:pt x="165" y="107"/>
                      </a:lnTo>
                      <a:lnTo>
                        <a:pt x="167" y="112"/>
                      </a:lnTo>
                      <a:lnTo>
                        <a:pt x="167" y="116"/>
                      </a:lnTo>
                      <a:lnTo>
                        <a:pt x="164" y="119"/>
                      </a:lnTo>
                      <a:lnTo>
                        <a:pt x="161" y="120"/>
                      </a:lnTo>
                      <a:lnTo>
                        <a:pt x="159" y="121"/>
                      </a:lnTo>
                      <a:lnTo>
                        <a:pt x="158" y="122"/>
                      </a:lnTo>
                      <a:lnTo>
                        <a:pt x="156" y="126"/>
                      </a:lnTo>
                      <a:lnTo>
                        <a:pt x="151" y="137"/>
                      </a:lnTo>
                      <a:lnTo>
                        <a:pt x="147" y="142"/>
                      </a:lnTo>
                      <a:lnTo>
                        <a:pt x="145" y="145"/>
                      </a:lnTo>
                      <a:lnTo>
                        <a:pt x="141" y="146"/>
                      </a:lnTo>
                      <a:lnTo>
                        <a:pt x="131" y="150"/>
                      </a:lnTo>
                      <a:lnTo>
                        <a:pt x="130" y="151"/>
                      </a:lnTo>
                      <a:lnTo>
                        <a:pt x="127" y="153"/>
                      </a:lnTo>
                      <a:lnTo>
                        <a:pt x="126" y="154"/>
                      </a:lnTo>
                      <a:lnTo>
                        <a:pt x="125" y="157"/>
                      </a:lnTo>
                      <a:lnTo>
                        <a:pt x="114" y="161"/>
                      </a:lnTo>
                      <a:lnTo>
                        <a:pt x="108" y="164"/>
                      </a:lnTo>
                      <a:lnTo>
                        <a:pt x="103" y="169"/>
                      </a:lnTo>
                      <a:lnTo>
                        <a:pt x="98" y="173"/>
                      </a:lnTo>
                      <a:lnTo>
                        <a:pt x="95" y="179"/>
                      </a:lnTo>
                      <a:lnTo>
                        <a:pt x="95" y="185"/>
                      </a:lnTo>
                      <a:lnTo>
                        <a:pt x="95" y="190"/>
                      </a:lnTo>
                      <a:lnTo>
                        <a:pt x="98" y="193"/>
                      </a:lnTo>
                      <a:lnTo>
                        <a:pt x="92" y="193"/>
                      </a:lnTo>
                      <a:lnTo>
                        <a:pt x="85" y="195"/>
                      </a:lnTo>
                      <a:lnTo>
                        <a:pt x="79" y="196"/>
                      </a:lnTo>
                      <a:lnTo>
                        <a:pt x="73" y="201"/>
                      </a:lnTo>
                      <a:lnTo>
                        <a:pt x="71" y="202"/>
                      </a:lnTo>
                      <a:lnTo>
                        <a:pt x="69" y="202"/>
                      </a:lnTo>
                      <a:lnTo>
                        <a:pt x="64" y="202"/>
                      </a:lnTo>
                      <a:lnTo>
                        <a:pt x="53" y="198"/>
                      </a:lnTo>
                      <a:lnTo>
                        <a:pt x="50" y="198"/>
                      </a:lnTo>
                      <a:lnTo>
                        <a:pt x="46" y="198"/>
                      </a:lnTo>
                      <a:lnTo>
                        <a:pt x="36" y="198"/>
                      </a:lnTo>
                      <a:lnTo>
                        <a:pt x="31" y="198"/>
                      </a:lnTo>
                      <a:lnTo>
                        <a:pt x="26" y="197"/>
                      </a:lnTo>
                      <a:lnTo>
                        <a:pt x="20" y="196"/>
                      </a:lnTo>
                      <a:lnTo>
                        <a:pt x="14" y="192"/>
                      </a:lnTo>
                      <a:lnTo>
                        <a:pt x="15" y="189"/>
                      </a:lnTo>
                      <a:lnTo>
                        <a:pt x="20" y="182"/>
                      </a:lnTo>
                      <a:lnTo>
                        <a:pt x="27" y="174"/>
                      </a:lnTo>
                      <a:lnTo>
                        <a:pt x="32" y="169"/>
                      </a:lnTo>
                      <a:lnTo>
                        <a:pt x="34" y="165"/>
                      </a:lnTo>
                      <a:lnTo>
                        <a:pt x="36" y="160"/>
                      </a:lnTo>
                      <a:lnTo>
                        <a:pt x="34" y="158"/>
                      </a:lnTo>
                      <a:lnTo>
                        <a:pt x="33" y="157"/>
                      </a:lnTo>
                      <a:lnTo>
                        <a:pt x="29" y="154"/>
                      </a:lnTo>
                      <a:lnTo>
                        <a:pt x="23" y="152"/>
                      </a:lnTo>
                      <a:lnTo>
                        <a:pt x="17" y="148"/>
                      </a:lnTo>
                      <a:lnTo>
                        <a:pt x="13" y="147"/>
                      </a:lnTo>
                      <a:lnTo>
                        <a:pt x="10" y="146"/>
                      </a:lnTo>
                      <a:lnTo>
                        <a:pt x="9" y="145"/>
                      </a:lnTo>
                      <a:lnTo>
                        <a:pt x="9" y="141"/>
                      </a:lnTo>
                      <a:lnTo>
                        <a:pt x="9" y="138"/>
                      </a:lnTo>
                      <a:lnTo>
                        <a:pt x="8" y="134"/>
                      </a:lnTo>
                      <a:lnTo>
                        <a:pt x="8" y="131"/>
                      </a:lnTo>
                      <a:lnTo>
                        <a:pt x="1" y="118"/>
                      </a:lnTo>
                      <a:lnTo>
                        <a:pt x="0" y="114"/>
                      </a:lnTo>
                      <a:lnTo>
                        <a:pt x="0" y="110"/>
                      </a:lnTo>
                      <a:lnTo>
                        <a:pt x="1" y="107"/>
                      </a:lnTo>
                      <a:lnTo>
                        <a:pt x="4" y="105"/>
                      </a:lnTo>
                      <a:lnTo>
                        <a:pt x="4" y="102"/>
                      </a:lnTo>
                      <a:lnTo>
                        <a:pt x="3" y="100"/>
                      </a:lnTo>
                      <a:lnTo>
                        <a:pt x="1" y="97"/>
                      </a:lnTo>
                      <a:lnTo>
                        <a:pt x="0" y="95"/>
                      </a:lnTo>
                      <a:lnTo>
                        <a:pt x="1" y="93"/>
                      </a:lnTo>
                      <a:lnTo>
                        <a:pt x="1" y="91"/>
                      </a:lnTo>
                      <a:lnTo>
                        <a:pt x="5" y="88"/>
                      </a:lnTo>
                      <a:lnTo>
                        <a:pt x="9" y="84"/>
                      </a:lnTo>
                      <a:lnTo>
                        <a:pt x="13" y="78"/>
                      </a:lnTo>
                      <a:lnTo>
                        <a:pt x="15" y="70"/>
                      </a:lnTo>
                      <a:lnTo>
                        <a:pt x="17" y="6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1" name="Freeform 638"/>
                <p:cNvSpPr>
                  <a:spLocks/>
                </p:cNvSpPr>
                <p:nvPr/>
              </p:nvSpPr>
              <p:spPr bwMode="auto">
                <a:xfrm>
                  <a:off x="5929367" y="3834031"/>
                  <a:ext cx="19239" cy="14799"/>
                </a:xfrm>
                <a:custGeom>
                  <a:avLst/>
                  <a:gdLst>
                    <a:gd name="T0" fmla="*/ 2147483647 w 14"/>
                    <a:gd name="T1" fmla="*/ 2147483647 h 10"/>
                    <a:gd name="T2" fmla="*/ 2147483647 w 14"/>
                    <a:gd name="T3" fmla="*/ 2147483647 h 10"/>
                    <a:gd name="T4" fmla="*/ 2147483647 w 14"/>
                    <a:gd name="T5" fmla="*/ 2147483647 h 10"/>
                    <a:gd name="T6" fmla="*/ 2147483647 w 14"/>
                    <a:gd name="T7" fmla="*/ 2147483647 h 10"/>
                    <a:gd name="T8" fmla="*/ 2147483647 w 14"/>
                    <a:gd name="T9" fmla="*/ 2147483647 h 10"/>
                    <a:gd name="T10" fmla="*/ 2147483647 w 14"/>
                    <a:gd name="T11" fmla="*/ 0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0 w 14"/>
                    <a:gd name="T21" fmla="*/ 2147483647 h 10"/>
                    <a:gd name="T22" fmla="*/ 0 w 14"/>
                    <a:gd name="T23" fmla="*/ 2147483647 h 10"/>
                    <a:gd name="T24" fmla="*/ 2147483647 w 14"/>
                    <a:gd name="T25" fmla="*/ 2147483647 h 10"/>
                    <a:gd name="T26" fmla="*/ 2147483647 w 14"/>
                    <a:gd name="T27" fmla="*/ 2147483647 h 10"/>
                    <a:gd name="T28" fmla="*/ 2147483647 w 14"/>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0"/>
                    <a:gd name="T47" fmla="*/ 14 w 14"/>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0">
                      <a:moveTo>
                        <a:pt x="8" y="7"/>
                      </a:moveTo>
                      <a:lnTo>
                        <a:pt x="11" y="4"/>
                      </a:lnTo>
                      <a:lnTo>
                        <a:pt x="13" y="3"/>
                      </a:lnTo>
                      <a:lnTo>
                        <a:pt x="14" y="2"/>
                      </a:lnTo>
                      <a:lnTo>
                        <a:pt x="14" y="1"/>
                      </a:lnTo>
                      <a:lnTo>
                        <a:pt x="14" y="0"/>
                      </a:lnTo>
                      <a:lnTo>
                        <a:pt x="12" y="1"/>
                      </a:lnTo>
                      <a:lnTo>
                        <a:pt x="9" y="2"/>
                      </a:lnTo>
                      <a:lnTo>
                        <a:pt x="4" y="7"/>
                      </a:lnTo>
                      <a:lnTo>
                        <a:pt x="3" y="7"/>
                      </a:lnTo>
                      <a:lnTo>
                        <a:pt x="0" y="8"/>
                      </a:lnTo>
                      <a:lnTo>
                        <a:pt x="0" y="10"/>
                      </a:lnTo>
                      <a:lnTo>
                        <a:pt x="3" y="10"/>
                      </a:lnTo>
                      <a:lnTo>
                        <a:pt x="4" y="9"/>
                      </a:lnTo>
                      <a:lnTo>
                        <a:pt x="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2" name="Freeform 639"/>
                <p:cNvSpPr>
                  <a:spLocks/>
                </p:cNvSpPr>
                <p:nvPr/>
              </p:nvSpPr>
              <p:spPr bwMode="auto">
                <a:xfrm>
                  <a:off x="5658550" y="3431505"/>
                  <a:ext cx="449881" cy="449881"/>
                </a:xfrm>
                <a:custGeom>
                  <a:avLst/>
                  <a:gdLst>
                    <a:gd name="T0" fmla="*/ 0 w 329"/>
                    <a:gd name="T1" fmla="*/ 2147483647 h 304"/>
                    <a:gd name="T2" fmla="*/ 2147483647 w 329"/>
                    <a:gd name="T3" fmla="*/ 0 h 304"/>
                    <a:gd name="T4" fmla="*/ 2147483647 w 329"/>
                    <a:gd name="T5" fmla="*/ 2147483647 h 304"/>
                    <a:gd name="T6" fmla="*/ 2147483647 w 329"/>
                    <a:gd name="T7" fmla="*/ 2147483647 h 304"/>
                    <a:gd name="T8" fmla="*/ 2147483647 w 329"/>
                    <a:gd name="T9" fmla="*/ 2147483647 h 304"/>
                    <a:gd name="T10" fmla="*/ 2147483647 w 329"/>
                    <a:gd name="T11" fmla="*/ 2147483647 h 304"/>
                    <a:gd name="T12" fmla="*/ 2147483647 w 329"/>
                    <a:gd name="T13" fmla="*/ 2147483647 h 304"/>
                    <a:gd name="T14" fmla="*/ 2147483647 w 329"/>
                    <a:gd name="T15" fmla="*/ 2147483647 h 304"/>
                    <a:gd name="T16" fmla="*/ 2147483647 w 329"/>
                    <a:gd name="T17" fmla="*/ 2147483647 h 304"/>
                    <a:gd name="T18" fmla="*/ 2147483647 w 329"/>
                    <a:gd name="T19" fmla="*/ 2147483647 h 304"/>
                    <a:gd name="T20" fmla="*/ 2147483647 w 329"/>
                    <a:gd name="T21" fmla="*/ 2147483647 h 304"/>
                    <a:gd name="T22" fmla="*/ 2147483647 w 329"/>
                    <a:gd name="T23" fmla="*/ 2147483647 h 304"/>
                    <a:gd name="T24" fmla="*/ 2147483647 w 329"/>
                    <a:gd name="T25" fmla="*/ 2147483647 h 304"/>
                    <a:gd name="T26" fmla="*/ 2147483647 w 329"/>
                    <a:gd name="T27" fmla="*/ 2147483647 h 304"/>
                    <a:gd name="T28" fmla="*/ 2147483647 w 329"/>
                    <a:gd name="T29" fmla="*/ 2147483647 h 304"/>
                    <a:gd name="T30" fmla="*/ 2147483647 w 329"/>
                    <a:gd name="T31" fmla="*/ 2147483647 h 304"/>
                    <a:gd name="T32" fmla="*/ 2147483647 w 329"/>
                    <a:gd name="T33" fmla="*/ 2147483647 h 304"/>
                    <a:gd name="T34" fmla="*/ 2147483647 w 329"/>
                    <a:gd name="T35" fmla="*/ 2147483647 h 304"/>
                    <a:gd name="T36" fmla="*/ 2147483647 w 329"/>
                    <a:gd name="T37" fmla="*/ 2147483647 h 304"/>
                    <a:gd name="T38" fmla="*/ 2147483647 w 329"/>
                    <a:gd name="T39" fmla="*/ 2147483647 h 304"/>
                    <a:gd name="T40" fmla="*/ 2147483647 w 329"/>
                    <a:gd name="T41" fmla="*/ 2147483647 h 304"/>
                    <a:gd name="T42" fmla="*/ 2147483647 w 329"/>
                    <a:gd name="T43" fmla="*/ 2147483647 h 304"/>
                    <a:gd name="T44" fmla="*/ 2147483647 w 329"/>
                    <a:gd name="T45" fmla="*/ 2147483647 h 304"/>
                    <a:gd name="T46" fmla="*/ 2147483647 w 329"/>
                    <a:gd name="T47" fmla="*/ 2147483647 h 304"/>
                    <a:gd name="T48" fmla="*/ 2147483647 w 329"/>
                    <a:gd name="T49" fmla="*/ 2147483647 h 304"/>
                    <a:gd name="T50" fmla="*/ 2147483647 w 329"/>
                    <a:gd name="T51" fmla="*/ 2147483647 h 304"/>
                    <a:gd name="T52" fmla="*/ 2147483647 w 329"/>
                    <a:gd name="T53" fmla="*/ 2147483647 h 304"/>
                    <a:gd name="T54" fmla="*/ 2147483647 w 329"/>
                    <a:gd name="T55" fmla="*/ 2147483647 h 304"/>
                    <a:gd name="T56" fmla="*/ 2147483647 w 329"/>
                    <a:gd name="T57" fmla="*/ 2147483647 h 304"/>
                    <a:gd name="T58" fmla="*/ 2147483647 w 329"/>
                    <a:gd name="T59" fmla="*/ 2147483647 h 304"/>
                    <a:gd name="T60" fmla="*/ 2147483647 w 329"/>
                    <a:gd name="T61" fmla="*/ 2147483647 h 304"/>
                    <a:gd name="T62" fmla="*/ 2147483647 w 329"/>
                    <a:gd name="T63" fmla="*/ 2147483647 h 304"/>
                    <a:gd name="T64" fmla="*/ 2147483647 w 329"/>
                    <a:gd name="T65" fmla="*/ 2147483647 h 304"/>
                    <a:gd name="T66" fmla="*/ 2147483647 w 329"/>
                    <a:gd name="T67" fmla="*/ 2147483647 h 304"/>
                    <a:gd name="T68" fmla="*/ 2147483647 w 329"/>
                    <a:gd name="T69" fmla="*/ 2147483647 h 304"/>
                    <a:gd name="T70" fmla="*/ 2147483647 w 329"/>
                    <a:gd name="T71" fmla="*/ 2147483647 h 304"/>
                    <a:gd name="T72" fmla="*/ 2147483647 w 329"/>
                    <a:gd name="T73" fmla="*/ 2147483647 h 304"/>
                    <a:gd name="T74" fmla="*/ 2147483647 w 329"/>
                    <a:gd name="T75" fmla="*/ 2147483647 h 304"/>
                    <a:gd name="T76" fmla="*/ 2147483647 w 329"/>
                    <a:gd name="T77" fmla="*/ 2147483647 h 304"/>
                    <a:gd name="T78" fmla="*/ 2147483647 w 329"/>
                    <a:gd name="T79" fmla="*/ 2147483647 h 304"/>
                    <a:gd name="T80" fmla="*/ 2147483647 w 329"/>
                    <a:gd name="T81" fmla="*/ 2147483647 h 304"/>
                    <a:gd name="T82" fmla="*/ 2147483647 w 329"/>
                    <a:gd name="T83" fmla="*/ 2147483647 h 304"/>
                    <a:gd name="T84" fmla="*/ 2147483647 w 329"/>
                    <a:gd name="T85" fmla="*/ 2147483647 h 304"/>
                    <a:gd name="T86" fmla="*/ 2147483647 w 329"/>
                    <a:gd name="T87" fmla="*/ 2147483647 h 304"/>
                    <a:gd name="T88" fmla="*/ 2147483647 w 329"/>
                    <a:gd name="T89" fmla="*/ 2147483647 h 304"/>
                    <a:gd name="T90" fmla="*/ 2147483647 w 329"/>
                    <a:gd name="T91" fmla="*/ 2147483647 h 304"/>
                    <a:gd name="T92" fmla="*/ 2147483647 w 329"/>
                    <a:gd name="T93" fmla="*/ 2147483647 h 304"/>
                    <a:gd name="T94" fmla="*/ 2147483647 w 329"/>
                    <a:gd name="T95" fmla="*/ 2147483647 h 304"/>
                    <a:gd name="T96" fmla="*/ 2147483647 w 329"/>
                    <a:gd name="T97" fmla="*/ 2147483647 h 304"/>
                    <a:gd name="T98" fmla="*/ 2147483647 w 329"/>
                    <a:gd name="T99" fmla="*/ 2147483647 h 304"/>
                    <a:gd name="T100" fmla="*/ 2147483647 w 329"/>
                    <a:gd name="T101" fmla="*/ 2147483647 h 304"/>
                    <a:gd name="T102" fmla="*/ 2147483647 w 329"/>
                    <a:gd name="T103" fmla="*/ 2147483647 h 304"/>
                    <a:gd name="T104" fmla="*/ 2147483647 w 329"/>
                    <a:gd name="T105" fmla="*/ 2147483647 h 304"/>
                    <a:gd name="T106" fmla="*/ 2147483647 w 329"/>
                    <a:gd name="T107" fmla="*/ 2147483647 h 304"/>
                    <a:gd name="T108" fmla="*/ 2147483647 w 329"/>
                    <a:gd name="T109" fmla="*/ 2147483647 h 304"/>
                    <a:gd name="T110" fmla="*/ 2147483647 w 329"/>
                    <a:gd name="T111" fmla="*/ 2147483647 h 3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9"/>
                    <a:gd name="T169" fmla="*/ 0 h 304"/>
                    <a:gd name="T170" fmla="*/ 329 w 329"/>
                    <a:gd name="T171" fmla="*/ 304 h 3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9" h="304">
                      <a:moveTo>
                        <a:pt x="7" y="44"/>
                      </a:moveTo>
                      <a:lnTo>
                        <a:pt x="3" y="36"/>
                      </a:lnTo>
                      <a:lnTo>
                        <a:pt x="2" y="26"/>
                      </a:lnTo>
                      <a:lnTo>
                        <a:pt x="0" y="17"/>
                      </a:lnTo>
                      <a:lnTo>
                        <a:pt x="0" y="7"/>
                      </a:lnTo>
                      <a:lnTo>
                        <a:pt x="2" y="4"/>
                      </a:lnTo>
                      <a:lnTo>
                        <a:pt x="3" y="3"/>
                      </a:lnTo>
                      <a:lnTo>
                        <a:pt x="5" y="0"/>
                      </a:lnTo>
                      <a:lnTo>
                        <a:pt x="8" y="0"/>
                      </a:lnTo>
                      <a:lnTo>
                        <a:pt x="12" y="0"/>
                      </a:lnTo>
                      <a:lnTo>
                        <a:pt x="14" y="3"/>
                      </a:lnTo>
                      <a:lnTo>
                        <a:pt x="18" y="8"/>
                      </a:lnTo>
                      <a:lnTo>
                        <a:pt x="23" y="13"/>
                      </a:lnTo>
                      <a:lnTo>
                        <a:pt x="27" y="16"/>
                      </a:lnTo>
                      <a:lnTo>
                        <a:pt x="29" y="17"/>
                      </a:lnTo>
                      <a:lnTo>
                        <a:pt x="33" y="17"/>
                      </a:lnTo>
                      <a:lnTo>
                        <a:pt x="37" y="17"/>
                      </a:lnTo>
                      <a:lnTo>
                        <a:pt x="43" y="14"/>
                      </a:lnTo>
                      <a:lnTo>
                        <a:pt x="49" y="11"/>
                      </a:lnTo>
                      <a:lnTo>
                        <a:pt x="55" y="7"/>
                      </a:lnTo>
                      <a:lnTo>
                        <a:pt x="61" y="4"/>
                      </a:lnTo>
                      <a:lnTo>
                        <a:pt x="62" y="4"/>
                      </a:lnTo>
                      <a:lnTo>
                        <a:pt x="64" y="4"/>
                      </a:lnTo>
                      <a:lnTo>
                        <a:pt x="66" y="7"/>
                      </a:lnTo>
                      <a:lnTo>
                        <a:pt x="68" y="11"/>
                      </a:lnTo>
                      <a:lnTo>
                        <a:pt x="66" y="13"/>
                      </a:lnTo>
                      <a:lnTo>
                        <a:pt x="66" y="18"/>
                      </a:lnTo>
                      <a:lnTo>
                        <a:pt x="68" y="23"/>
                      </a:lnTo>
                      <a:lnTo>
                        <a:pt x="69" y="25"/>
                      </a:lnTo>
                      <a:lnTo>
                        <a:pt x="71" y="29"/>
                      </a:lnTo>
                      <a:lnTo>
                        <a:pt x="74" y="30"/>
                      </a:lnTo>
                      <a:lnTo>
                        <a:pt x="78" y="32"/>
                      </a:lnTo>
                      <a:lnTo>
                        <a:pt x="85" y="33"/>
                      </a:lnTo>
                      <a:lnTo>
                        <a:pt x="87" y="42"/>
                      </a:lnTo>
                      <a:lnTo>
                        <a:pt x="88" y="44"/>
                      </a:lnTo>
                      <a:lnTo>
                        <a:pt x="89" y="45"/>
                      </a:lnTo>
                      <a:lnTo>
                        <a:pt x="94" y="46"/>
                      </a:lnTo>
                      <a:lnTo>
                        <a:pt x="104" y="48"/>
                      </a:lnTo>
                      <a:lnTo>
                        <a:pt x="108" y="49"/>
                      </a:lnTo>
                      <a:lnTo>
                        <a:pt x="111" y="51"/>
                      </a:lnTo>
                      <a:lnTo>
                        <a:pt x="113" y="53"/>
                      </a:lnTo>
                      <a:lnTo>
                        <a:pt x="117" y="56"/>
                      </a:lnTo>
                      <a:lnTo>
                        <a:pt x="125" y="61"/>
                      </a:lnTo>
                      <a:lnTo>
                        <a:pt x="127" y="64"/>
                      </a:lnTo>
                      <a:lnTo>
                        <a:pt x="130" y="65"/>
                      </a:lnTo>
                      <a:lnTo>
                        <a:pt x="134" y="65"/>
                      </a:lnTo>
                      <a:lnTo>
                        <a:pt x="137" y="65"/>
                      </a:lnTo>
                      <a:lnTo>
                        <a:pt x="140" y="65"/>
                      </a:lnTo>
                      <a:lnTo>
                        <a:pt x="144" y="63"/>
                      </a:lnTo>
                      <a:lnTo>
                        <a:pt x="149" y="61"/>
                      </a:lnTo>
                      <a:lnTo>
                        <a:pt x="153" y="61"/>
                      </a:lnTo>
                      <a:lnTo>
                        <a:pt x="156" y="61"/>
                      </a:lnTo>
                      <a:lnTo>
                        <a:pt x="162" y="61"/>
                      </a:lnTo>
                      <a:lnTo>
                        <a:pt x="165" y="61"/>
                      </a:lnTo>
                      <a:lnTo>
                        <a:pt x="168" y="59"/>
                      </a:lnTo>
                      <a:lnTo>
                        <a:pt x="170" y="58"/>
                      </a:lnTo>
                      <a:lnTo>
                        <a:pt x="173" y="53"/>
                      </a:lnTo>
                      <a:lnTo>
                        <a:pt x="174" y="49"/>
                      </a:lnTo>
                      <a:lnTo>
                        <a:pt x="174" y="43"/>
                      </a:lnTo>
                      <a:lnTo>
                        <a:pt x="183" y="42"/>
                      </a:lnTo>
                      <a:lnTo>
                        <a:pt x="191" y="38"/>
                      </a:lnTo>
                      <a:lnTo>
                        <a:pt x="205" y="30"/>
                      </a:lnTo>
                      <a:lnTo>
                        <a:pt x="210" y="27"/>
                      </a:lnTo>
                      <a:lnTo>
                        <a:pt x="215" y="26"/>
                      </a:lnTo>
                      <a:lnTo>
                        <a:pt x="221" y="21"/>
                      </a:lnTo>
                      <a:lnTo>
                        <a:pt x="224" y="26"/>
                      </a:lnTo>
                      <a:lnTo>
                        <a:pt x="228" y="29"/>
                      </a:lnTo>
                      <a:lnTo>
                        <a:pt x="231" y="29"/>
                      </a:lnTo>
                      <a:lnTo>
                        <a:pt x="234" y="30"/>
                      </a:lnTo>
                      <a:lnTo>
                        <a:pt x="239" y="32"/>
                      </a:lnTo>
                      <a:lnTo>
                        <a:pt x="245" y="35"/>
                      </a:lnTo>
                      <a:lnTo>
                        <a:pt x="257" y="36"/>
                      </a:lnTo>
                      <a:lnTo>
                        <a:pt x="263" y="38"/>
                      </a:lnTo>
                      <a:lnTo>
                        <a:pt x="266" y="40"/>
                      </a:lnTo>
                      <a:lnTo>
                        <a:pt x="268" y="43"/>
                      </a:lnTo>
                      <a:lnTo>
                        <a:pt x="273" y="48"/>
                      </a:lnTo>
                      <a:lnTo>
                        <a:pt x="280" y="51"/>
                      </a:lnTo>
                      <a:lnTo>
                        <a:pt x="292" y="55"/>
                      </a:lnTo>
                      <a:lnTo>
                        <a:pt x="296" y="57"/>
                      </a:lnTo>
                      <a:lnTo>
                        <a:pt x="299" y="61"/>
                      </a:lnTo>
                      <a:lnTo>
                        <a:pt x="300" y="64"/>
                      </a:lnTo>
                      <a:lnTo>
                        <a:pt x="300" y="69"/>
                      </a:lnTo>
                      <a:lnTo>
                        <a:pt x="300" y="77"/>
                      </a:lnTo>
                      <a:lnTo>
                        <a:pt x="299" y="84"/>
                      </a:lnTo>
                      <a:lnTo>
                        <a:pt x="296" y="93"/>
                      </a:lnTo>
                      <a:lnTo>
                        <a:pt x="292" y="99"/>
                      </a:lnTo>
                      <a:lnTo>
                        <a:pt x="289" y="102"/>
                      </a:lnTo>
                      <a:lnTo>
                        <a:pt x="285" y="106"/>
                      </a:lnTo>
                      <a:lnTo>
                        <a:pt x="285" y="107"/>
                      </a:lnTo>
                      <a:lnTo>
                        <a:pt x="283" y="109"/>
                      </a:lnTo>
                      <a:lnTo>
                        <a:pt x="285" y="112"/>
                      </a:lnTo>
                      <a:lnTo>
                        <a:pt x="286" y="114"/>
                      </a:lnTo>
                      <a:lnTo>
                        <a:pt x="287" y="116"/>
                      </a:lnTo>
                      <a:lnTo>
                        <a:pt x="287" y="119"/>
                      </a:lnTo>
                      <a:lnTo>
                        <a:pt x="285" y="121"/>
                      </a:lnTo>
                      <a:lnTo>
                        <a:pt x="283" y="125"/>
                      </a:lnTo>
                      <a:lnTo>
                        <a:pt x="283" y="128"/>
                      </a:lnTo>
                      <a:lnTo>
                        <a:pt x="285" y="132"/>
                      </a:lnTo>
                      <a:lnTo>
                        <a:pt x="291" y="145"/>
                      </a:lnTo>
                      <a:lnTo>
                        <a:pt x="291" y="148"/>
                      </a:lnTo>
                      <a:lnTo>
                        <a:pt x="292" y="152"/>
                      </a:lnTo>
                      <a:lnTo>
                        <a:pt x="292" y="155"/>
                      </a:lnTo>
                      <a:lnTo>
                        <a:pt x="292" y="159"/>
                      </a:lnTo>
                      <a:lnTo>
                        <a:pt x="294" y="160"/>
                      </a:lnTo>
                      <a:lnTo>
                        <a:pt x="296" y="161"/>
                      </a:lnTo>
                      <a:lnTo>
                        <a:pt x="300" y="163"/>
                      </a:lnTo>
                      <a:lnTo>
                        <a:pt x="306" y="166"/>
                      </a:lnTo>
                      <a:lnTo>
                        <a:pt x="313" y="168"/>
                      </a:lnTo>
                      <a:lnTo>
                        <a:pt x="316" y="171"/>
                      </a:lnTo>
                      <a:lnTo>
                        <a:pt x="318" y="172"/>
                      </a:lnTo>
                      <a:lnTo>
                        <a:pt x="319" y="174"/>
                      </a:lnTo>
                      <a:lnTo>
                        <a:pt x="318" y="179"/>
                      </a:lnTo>
                      <a:lnTo>
                        <a:pt x="315" y="183"/>
                      </a:lnTo>
                      <a:lnTo>
                        <a:pt x="310" y="189"/>
                      </a:lnTo>
                      <a:lnTo>
                        <a:pt x="304" y="196"/>
                      </a:lnTo>
                      <a:lnTo>
                        <a:pt x="299" y="203"/>
                      </a:lnTo>
                      <a:lnTo>
                        <a:pt x="297" y="206"/>
                      </a:lnTo>
                      <a:lnTo>
                        <a:pt x="297" y="210"/>
                      </a:lnTo>
                      <a:lnTo>
                        <a:pt x="299" y="215"/>
                      </a:lnTo>
                      <a:lnTo>
                        <a:pt x="304" y="222"/>
                      </a:lnTo>
                      <a:lnTo>
                        <a:pt x="316" y="236"/>
                      </a:lnTo>
                      <a:lnTo>
                        <a:pt x="319" y="240"/>
                      </a:lnTo>
                      <a:lnTo>
                        <a:pt x="320" y="243"/>
                      </a:lnTo>
                      <a:lnTo>
                        <a:pt x="322" y="250"/>
                      </a:lnTo>
                      <a:lnTo>
                        <a:pt x="323" y="254"/>
                      </a:lnTo>
                      <a:lnTo>
                        <a:pt x="325" y="257"/>
                      </a:lnTo>
                      <a:lnTo>
                        <a:pt x="327" y="260"/>
                      </a:lnTo>
                      <a:lnTo>
                        <a:pt x="329" y="263"/>
                      </a:lnTo>
                      <a:lnTo>
                        <a:pt x="329" y="266"/>
                      </a:lnTo>
                      <a:lnTo>
                        <a:pt x="328" y="267"/>
                      </a:lnTo>
                      <a:lnTo>
                        <a:pt x="324" y="269"/>
                      </a:lnTo>
                      <a:lnTo>
                        <a:pt x="319" y="270"/>
                      </a:lnTo>
                      <a:lnTo>
                        <a:pt x="315" y="272"/>
                      </a:lnTo>
                      <a:lnTo>
                        <a:pt x="310" y="278"/>
                      </a:lnTo>
                      <a:lnTo>
                        <a:pt x="306" y="286"/>
                      </a:lnTo>
                      <a:lnTo>
                        <a:pt x="300" y="301"/>
                      </a:lnTo>
                      <a:lnTo>
                        <a:pt x="297" y="302"/>
                      </a:lnTo>
                      <a:lnTo>
                        <a:pt x="296" y="302"/>
                      </a:lnTo>
                      <a:lnTo>
                        <a:pt x="295" y="302"/>
                      </a:lnTo>
                      <a:lnTo>
                        <a:pt x="289" y="301"/>
                      </a:lnTo>
                      <a:lnTo>
                        <a:pt x="283" y="300"/>
                      </a:lnTo>
                      <a:lnTo>
                        <a:pt x="277" y="301"/>
                      </a:lnTo>
                      <a:lnTo>
                        <a:pt x="271" y="302"/>
                      </a:lnTo>
                      <a:lnTo>
                        <a:pt x="262" y="304"/>
                      </a:lnTo>
                      <a:lnTo>
                        <a:pt x="253" y="304"/>
                      </a:lnTo>
                      <a:lnTo>
                        <a:pt x="245" y="300"/>
                      </a:lnTo>
                      <a:lnTo>
                        <a:pt x="239" y="295"/>
                      </a:lnTo>
                      <a:lnTo>
                        <a:pt x="233" y="289"/>
                      </a:lnTo>
                      <a:lnTo>
                        <a:pt x="229" y="283"/>
                      </a:lnTo>
                      <a:lnTo>
                        <a:pt x="225" y="275"/>
                      </a:lnTo>
                      <a:lnTo>
                        <a:pt x="224" y="267"/>
                      </a:lnTo>
                      <a:lnTo>
                        <a:pt x="221" y="265"/>
                      </a:lnTo>
                      <a:lnTo>
                        <a:pt x="219" y="263"/>
                      </a:lnTo>
                      <a:lnTo>
                        <a:pt x="215" y="263"/>
                      </a:lnTo>
                      <a:lnTo>
                        <a:pt x="212" y="265"/>
                      </a:lnTo>
                      <a:lnTo>
                        <a:pt x="207" y="270"/>
                      </a:lnTo>
                      <a:lnTo>
                        <a:pt x="201" y="274"/>
                      </a:lnTo>
                      <a:lnTo>
                        <a:pt x="193" y="278"/>
                      </a:lnTo>
                      <a:lnTo>
                        <a:pt x="186" y="280"/>
                      </a:lnTo>
                      <a:lnTo>
                        <a:pt x="177" y="280"/>
                      </a:lnTo>
                      <a:lnTo>
                        <a:pt x="169" y="278"/>
                      </a:lnTo>
                      <a:lnTo>
                        <a:pt x="160" y="273"/>
                      </a:lnTo>
                      <a:lnTo>
                        <a:pt x="153" y="265"/>
                      </a:lnTo>
                      <a:lnTo>
                        <a:pt x="150" y="263"/>
                      </a:lnTo>
                      <a:lnTo>
                        <a:pt x="149" y="263"/>
                      </a:lnTo>
                      <a:lnTo>
                        <a:pt x="148" y="262"/>
                      </a:lnTo>
                      <a:lnTo>
                        <a:pt x="145" y="257"/>
                      </a:lnTo>
                      <a:lnTo>
                        <a:pt x="140" y="253"/>
                      </a:lnTo>
                      <a:lnTo>
                        <a:pt x="135" y="250"/>
                      </a:lnTo>
                      <a:lnTo>
                        <a:pt x="132" y="250"/>
                      </a:lnTo>
                      <a:lnTo>
                        <a:pt x="131" y="248"/>
                      </a:lnTo>
                      <a:lnTo>
                        <a:pt x="130" y="247"/>
                      </a:lnTo>
                      <a:lnTo>
                        <a:pt x="130" y="244"/>
                      </a:lnTo>
                      <a:lnTo>
                        <a:pt x="129" y="240"/>
                      </a:lnTo>
                      <a:lnTo>
                        <a:pt x="126" y="236"/>
                      </a:lnTo>
                      <a:lnTo>
                        <a:pt x="122" y="233"/>
                      </a:lnTo>
                      <a:lnTo>
                        <a:pt x="122" y="228"/>
                      </a:lnTo>
                      <a:lnTo>
                        <a:pt x="120" y="223"/>
                      </a:lnTo>
                      <a:lnTo>
                        <a:pt x="118" y="221"/>
                      </a:lnTo>
                      <a:lnTo>
                        <a:pt x="116" y="217"/>
                      </a:lnTo>
                      <a:lnTo>
                        <a:pt x="112" y="211"/>
                      </a:lnTo>
                      <a:lnTo>
                        <a:pt x="108" y="204"/>
                      </a:lnTo>
                      <a:lnTo>
                        <a:pt x="104" y="203"/>
                      </a:lnTo>
                      <a:lnTo>
                        <a:pt x="99" y="200"/>
                      </a:lnTo>
                      <a:lnTo>
                        <a:pt x="98" y="197"/>
                      </a:lnTo>
                      <a:lnTo>
                        <a:pt x="97" y="196"/>
                      </a:lnTo>
                      <a:lnTo>
                        <a:pt x="94" y="193"/>
                      </a:lnTo>
                      <a:lnTo>
                        <a:pt x="92" y="193"/>
                      </a:lnTo>
                      <a:lnTo>
                        <a:pt x="90" y="195"/>
                      </a:lnTo>
                      <a:lnTo>
                        <a:pt x="87" y="199"/>
                      </a:lnTo>
                      <a:lnTo>
                        <a:pt x="75" y="190"/>
                      </a:lnTo>
                      <a:lnTo>
                        <a:pt x="71" y="186"/>
                      </a:lnTo>
                      <a:lnTo>
                        <a:pt x="69" y="183"/>
                      </a:lnTo>
                      <a:lnTo>
                        <a:pt x="66" y="179"/>
                      </a:lnTo>
                      <a:lnTo>
                        <a:pt x="65" y="174"/>
                      </a:lnTo>
                      <a:lnTo>
                        <a:pt x="65" y="159"/>
                      </a:lnTo>
                      <a:lnTo>
                        <a:pt x="64" y="154"/>
                      </a:lnTo>
                      <a:lnTo>
                        <a:pt x="61" y="151"/>
                      </a:lnTo>
                      <a:lnTo>
                        <a:pt x="52" y="145"/>
                      </a:lnTo>
                      <a:lnTo>
                        <a:pt x="45" y="140"/>
                      </a:lnTo>
                      <a:lnTo>
                        <a:pt x="40" y="135"/>
                      </a:lnTo>
                      <a:lnTo>
                        <a:pt x="35" y="131"/>
                      </a:lnTo>
                      <a:lnTo>
                        <a:pt x="33" y="127"/>
                      </a:lnTo>
                      <a:lnTo>
                        <a:pt x="33" y="122"/>
                      </a:lnTo>
                      <a:lnTo>
                        <a:pt x="32" y="121"/>
                      </a:lnTo>
                      <a:lnTo>
                        <a:pt x="31" y="120"/>
                      </a:lnTo>
                      <a:lnTo>
                        <a:pt x="27" y="118"/>
                      </a:lnTo>
                      <a:lnTo>
                        <a:pt x="23" y="114"/>
                      </a:lnTo>
                      <a:lnTo>
                        <a:pt x="22" y="110"/>
                      </a:lnTo>
                      <a:lnTo>
                        <a:pt x="22" y="108"/>
                      </a:lnTo>
                      <a:lnTo>
                        <a:pt x="23" y="107"/>
                      </a:lnTo>
                      <a:lnTo>
                        <a:pt x="28" y="100"/>
                      </a:lnTo>
                      <a:lnTo>
                        <a:pt x="33" y="94"/>
                      </a:lnTo>
                      <a:lnTo>
                        <a:pt x="36" y="90"/>
                      </a:lnTo>
                      <a:lnTo>
                        <a:pt x="37" y="87"/>
                      </a:lnTo>
                      <a:lnTo>
                        <a:pt x="37" y="83"/>
                      </a:lnTo>
                      <a:lnTo>
                        <a:pt x="36" y="80"/>
                      </a:lnTo>
                      <a:lnTo>
                        <a:pt x="32" y="76"/>
                      </a:lnTo>
                      <a:lnTo>
                        <a:pt x="28" y="74"/>
                      </a:lnTo>
                      <a:lnTo>
                        <a:pt x="23" y="71"/>
                      </a:lnTo>
                      <a:lnTo>
                        <a:pt x="22" y="69"/>
                      </a:lnTo>
                      <a:lnTo>
                        <a:pt x="21" y="67"/>
                      </a:lnTo>
                      <a:lnTo>
                        <a:pt x="19" y="59"/>
                      </a:lnTo>
                      <a:lnTo>
                        <a:pt x="19" y="57"/>
                      </a:lnTo>
                      <a:lnTo>
                        <a:pt x="17" y="55"/>
                      </a:lnTo>
                      <a:lnTo>
                        <a:pt x="12" y="50"/>
                      </a:lnTo>
                      <a:lnTo>
                        <a:pt x="7" y="4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3" name="Freeform 640"/>
                <p:cNvSpPr>
                  <a:spLocks/>
                </p:cNvSpPr>
                <p:nvPr/>
              </p:nvSpPr>
              <p:spPr bwMode="auto">
                <a:xfrm>
                  <a:off x="5927890" y="3831070"/>
                  <a:ext cx="19238" cy="16278"/>
                </a:xfrm>
                <a:custGeom>
                  <a:avLst/>
                  <a:gdLst>
                    <a:gd name="T0" fmla="*/ 2147483647 w 14"/>
                    <a:gd name="T1" fmla="*/ 2147483647 h 11"/>
                    <a:gd name="T2" fmla="*/ 2147483647 w 14"/>
                    <a:gd name="T3" fmla="*/ 2147483647 h 11"/>
                    <a:gd name="T4" fmla="*/ 2147483647 w 14"/>
                    <a:gd name="T5" fmla="*/ 2147483647 h 11"/>
                    <a:gd name="T6" fmla="*/ 2147483647 w 14"/>
                    <a:gd name="T7" fmla="*/ 2147483647 h 11"/>
                    <a:gd name="T8" fmla="*/ 2147483647 w 14"/>
                    <a:gd name="T9" fmla="*/ 2147483647 h 11"/>
                    <a:gd name="T10" fmla="*/ 2147483647 w 14"/>
                    <a:gd name="T11" fmla="*/ 2147483647 h 11"/>
                    <a:gd name="T12" fmla="*/ 2147483647 w 14"/>
                    <a:gd name="T13" fmla="*/ 2147483647 h 11"/>
                    <a:gd name="T14" fmla="*/ 2147483647 w 14"/>
                    <a:gd name="T15" fmla="*/ 0 h 11"/>
                    <a:gd name="T16" fmla="*/ 2147483647 w 14"/>
                    <a:gd name="T17" fmla="*/ 0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2147483647 w 14"/>
                    <a:gd name="T29" fmla="*/ 2147483647 h 11"/>
                    <a:gd name="T30" fmla="*/ 0 w 14"/>
                    <a:gd name="T31" fmla="*/ 2147483647 h 11"/>
                    <a:gd name="T32" fmla="*/ 0 w 14"/>
                    <a:gd name="T33" fmla="*/ 2147483647 h 11"/>
                    <a:gd name="T34" fmla="*/ 0 w 14"/>
                    <a:gd name="T35" fmla="*/ 2147483647 h 11"/>
                    <a:gd name="T36" fmla="*/ 2147483647 w 14"/>
                    <a:gd name="T37" fmla="*/ 2147483647 h 11"/>
                    <a:gd name="T38" fmla="*/ 2147483647 w 14"/>
                    <a:gd name="T39" fmla="*/ 2147483647 h 11"/>
                    <a:gd name="T40" fmla="*/ 2147483647 w 14"/>
                    <a:gd name="T41" fmla="*/ 2147483647 h 11"/>
                    <a:gd name="T42" fmla="*/ 2147483647 w 14"/>
                    <a:gd name="T43" fmla="*/ 2147483647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1"/>
                    <a:gd name="T68" fmla="*/ 14 w 14"/>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1">
                      <a:moveTo>
                        <a:pt x="8" y="8"/>
                      </a:moveTo>
                      <a:lnTo>
                        <a:pt x="8" y="8"/>
                      </a:lnTo>
                      <a:lnTo>
                        <a:pt x="10" y="5"/>
                      </a:lnTo>
                      <a:lnTo>
                        <a:pt x="13" y="4"/>
                      </a:lnTo>
                      <a:lnTo>
                        <a:pt x="14" y="3"/>
                      </a:lnTo>
                      <a:lnTo>
                        <a:pt x="14" y="2"/>
                      </a:lnTo>
                      <a:lnTo>
                        <a:pt x="14" y="0"/>
                      </a:lnTo>
                      <a:lnTo>
                        <a:pt x="12" y="2"/>
                      </a:lnTo>
                      <a:lnTo>
                        <a:pt x="9" y="3"/>
                      </a:lnTo>
                      <a:lnTo>
                        <a:pt x="4" y="8"/>
                      </a:lnTo>
                      <a:lnTo>
                        <a:pt x="3" y="8"/>
                      </a:lnTo>
                      <a:lnTo>
                        <a:pt x="0" y="9"/>
                      </a:lnTo>
                      <a:lnTo>
                        <a:pt x="0" y="11"/>
                      </a:lnTo>
                      <a:lnTo>
                        <a:pt x="3" y="11"/>
                      </a:lnTo>
                      <a:lnTo>
                        <a:pt x="4" y="10"/>
                      </a:lnTo>
                      <a:lnTo>
                        <a:pt x="8"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4" name="Freeform 641"/>
                <p:cNvSpPr>
                  <a:spLocks/>
                </p:cNvSpPr>
                <p:nvPr/>
              </p:nvSpPr>
              <p:spPr bwMode="auto">
                <a:xfrm>
                  <a:off x="5657071" y="3430028"/>
                  <a:ext cx="449881" cy="448402"/>
                </a:xfrm>
                <a:custGeom>
                  <a:avLst/>
                  <a:gdLst>
                    <a:gd name="T0" fmla="*/ 0 w 329"/>
                    <a:gd name="T1" fmla="*/ 2147483647 h 303"/>
                    <a:gd name="T2" fmla="*/ 2147483647 w 329"/>
                    <a:gd name="T3" fmla="*/ 0 h 303"/>
                    <a:gd name="T4" fmla="*/ 2147483647 w 329"/>
                    <a:gd name="T5" fmla="*/ 2147483647 h 303"/>
                    <a:gd name="T6" fmla="*/ 2147483647 w 329"/>
                    <a:gd name="T7" fmla="*/ 2147483647 h 303"/>
                    <a:gd name="T8" fmla="*/ 2147483647 w 329"/>
                    <a:gd name="T9" fmla="*/ 2147483647 h 303"/>
                    <a:gd name="T10" fmla="*/ 2147483647 w 329"/>
                    <a:gd name="T11" fmla="*/ 2147483647 h 303"/>
                    <a:gd name="T12" fmla="*/ 2147483647 w 329"/>
                    <a:gd name="T13" fmla="*/ 2147483647 h 303"/>
                    <a:gd name="T14" fmla="*/ 2147483647 w 329"/>
                    <a:gd name="T15" fmla="*/ 2147483647 h 303"/>
                    <a:gd name="T16" fmla="*/ 2147483647 w 329"/>
                    <a:gd name="T17" fmla="*/ 2147483647 h 303"/>
                    <a:gd name="T18" fmla="*/ 2147483647 w 329"/>
                    <a:gd name="T19" fmla="*/ 2147483647 h 303"/>
                    <a:gd name="T20" fmla="*/ 2147483647 w 329"/>
                    <a:gd name="T21" fmla="*/ 2147483647 h 303"/>
                    <a:gd name="T22" fmla="*/ 2147483647 w 329"/>
                    <a:gd name="T23" fmla="*/ 2147483647 h 303"/>
                    <a:gd name="T24" fmla="*/ 2147483647 w 329"/>
                    <a:gd name="T25" fmla="*/ 2147483647 h 303"/>
                    <a:gd name="T26" fmla="*/ 2147483647 w 329"/>
                    <a:gd name="T27" fmla="*/ 2147483647 h 303"/>
                    <a:gd name="T28" fmla="*/ 2147483647 w 329"/>
                    <a:gd name="T29" fmla="*/ 2147483647 h 303"/>
                    <a:gd name="T30" fmla="*/ 2147483647 w 329"/>
                    <a:gd name="T31" fmla="*/ 2147483647 h 303"/>
                    <a:gd name="T32" fmla="*/ 2147483647 w 329"/>
                    <a:gd name="T33" fmla="*/ 2147483647 h 303"/>
                    <a:gd name="T34" fmla="*/ 2147483647 w 329"/>
                    <a:gd name="T35" fmla="*/ 2147483647 h 303"/>
                    <a:gd name="T36" fmla="*/ 2147483647 w 329"/>
                    <a:gd name="T37" fmla="*/ 2147483647 h 303"/>
                    <a:gd name="T38" fmla="*/ 2147483647 w 329"/>
                    <a:gd name="T39" fmla="*/ 2147483647 h 303"/>
                    <a:gd name="T40" fmla="*/ 2147483647 w 329"/>
                    <a:gd name="T41" fmla="*/ 2147483647 h 303"/>
                    <a:gd name="T42" fmla="*/ 2147483647 w 329"/>
                    <a:gd name="T43" fmla="*/ 2147483647 h 303"/>
                    <a:gd name="T44" fmla="*/ 2147483647 w 329"/>
                    <a:gd name="T45" fmla="*/ 2147483647 h 303"/>
                    <a:gd name="T46" fmla="*/ 2147483647 w 329"/>
                    <a:gd name="T47" fmla="*/ 2147483647 h 303"/>
                    <a:gd name="T48" fmla="*/ 2147483647 w 329"/>
                    <a:gd name="T49" fmla="*/ 2147483647 h 303"/>
                    <a:gd name="T50" fmla="*/ 2147483647 w 329"/>
                    <a:gd name="T51" fmla="*/ 2147483647 h 303"/>
                    <a:gd name="T52" fmla="*/ 2147483647 w 329"/>
                    <a:gd name="T53" fmla="*/ 2147483647 h 303"/>
                    <a:gd name="T54" fmla="*/ 2147483647 w 329"/>
                    <a:gd name="T55" fmla="*/ 2147483647 h 303"/>
                    <a:gd name="T56" fmla="*/ 2147483647 w 329"/>
                    <a:gd name="T57" fmla="*/ 2147483647 h 303"/>
                    <a:gd name="T58" fmla="*/ 2147483647 w 329"/>
                    <a:gd name="T59" fmla="*/ 2147483647 h 303"/>
                    <a:gd name="T60" fmla="*/ 2147483647 w 329"/>
                    <a:gd name="T61" fmla="*/ 2147483647 h 303"/>
                    <a:gd name="T62" fmla="*/ 2147483647 w 329"/>
                    <a:gd name="T63" fmla="*/ 2147483647 h 303"/>
                    <a:gd name="T64" fmla="*/ 2147483647 w 329"/>
                    <a:gd name="T65" fmla="*/ 2147483647 h 303"/>
                    <a:gd name="T66" fmla="*/ 2147483647 w 329"/>
                    <a:gd name="T67" fmla="*/ 2147483647 h 303"/>
                    <a:gd name="T68" fmla="*/ 2147483647 w 329"/>
                    <a:gd name="T69" fmla="*/ 2147483647 h 303"/>
                    <a:gd name="T70" fmla="*/ 2147483647 w 329"/>
                    <a:gd name="T71" fmla="*/ 2147483647 h 303"/>
                    <a:gd name="T72" fmla="*/ 2147483647 w 329"/>
                    <a:gd name="T73" fmla="*/ 2147483647 h 303"/>
                    <a:gd name="T74" fmla="*/ 2147483647 w 329"/>
                    <a:gd name="T75" fmla="*/ 2147483647 h 303"/>
                    <a:gd name="T76" fmla="*/ 2147483647 w 329"/>
                    <a:gd name="T77" fmla="*/ 2147483647 h 303"/>
                    <a:gd name="T78" fmla="*/ 2147483647 w 329"/>
                    <a:gd name="T79" fmla="*/ 2147483647 h 303"/>
                    <a:gd name="T80" fmla="*/ 2147483647 w 329"/>
                    <a:gd name="T81" fmla="*/ 2147483647 h 303"/>
                    <a:gd name="T82" fmla="*/ 2147483647 w 329"/>
                    <a:gd name="T83" fmla="*/ 2147483647 h 303"/>
                    <a:gd name="T84" fmla="*/ 2147483647 w 329"/>
                    <a:gd name="T85" fmla="*/ 2147483647 h 303"/>
                    <a:gd name="T86" fmla="*/ 2147483647 w 329"/>
                    <a:gd name="T87" fmla="*/ 2147483647 h 303"/>
                    <a:gd name="T88" fmla="*/ 2147483647 w 329"/>
                    <a:gd name="T89" fmla="*/ 2147483647 h 303"/>
                    <a:gd name="T90" fmla="*/ 2147483647 w 329"/>
                    <a:gd name="T91" fmla="*/ 2147483647 h 303"/>
                    <a:gd name="T92" fmla="*/ 2147483647 w 329"/>
                    <a:gd name="T93" fmla="*/ 2147483647 h 303"/>
                    <a:gd name="T94" fmla="*/ 2147483647 w 329"/>
                    <a:gd name="T95" fmla="*/ 2147483647 h 303"/>
                    <a:gd name="T96" fmla="*/ 2147483647 w 329"/>
                    <a:gd name="T97" fmla="*/ 2147483647 h 303"/>
                    <a:gd name="T98" fmla="*/ 2147483647 w 329"/>
                    <a:gd name="T99" fmla="*/ 2147483647 h 303"/>
                    <a:gd name="T100" fmla="*/ 2147483647 w 329"/>
                    <a:gd name="T101" fmla="*/ 2147483647 h 303"/>
                    <a:gd name="T102" fmla="*/ 2147483647 w 329"/>
                    <a:gd name="T103" fmla="*/ 2147483647 h 303"/>
                    <a:gd name="T104" fmla="*/ 2147483647 w 329"/>
                    <a:gd name="T105" fmla="*/ 2147483647 h 303"/>
                    <a:gd name="T106" fmla="*/ 2147483647 w 329"/>
                    <a:gd name="T107" fmla="*/ 2147483647 h 303"/>
                    <a:gd name="T108" fmla="*/ 2147483647 w 329"/>
                    <a:gd name="T109" fmla="*/ 2147483647 h 303"/>
                    <a:gd name="T110" fmla="*/ 2147483647 w 329"/>
                    <a:gd name="T111" fmla="*/ 2147483647 h 303"/>
                    <a:gd name="T112" fmla="*/ 2147483647 w 329"/>
                    <a:gd name="T113" fmla="*/ 2147483647 h 303"/>
                    <a:gd name="T114" fmla="*/ 2147483647 w 329"/>
                    <a:gd name="T115" fmla="*/ 2147483647 h 3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9"/>
                    <a:gd name="T175" fmla="*/ 0 h 303"/>
                    <a:gd name="T176" fmla="*/ 329 w 329"/>
                    <a:gd name="T177" fmla="*/ 303 h 30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9" h="303">
                      <a:moveTo>
                        <a:pt x="6" y="44"/>
                      </a:moveTo>
                      <a:lnTo>
                        <a:pt x="6" y="44"/>
                      </a:lnTo>
                      <a:lnTo>
                        <a:pt x="3" y="36"/>
                      </a:lnTo>
                      <a:lnTo>
                        <a:pt x="1" y="26"/>
                      </a:lnTo>
                      <a:lnTo>
                        <a:pt x="0" y="17"/>
                      </a:lnTo>
                      <a:lnTo>
                        <a:pt x="0" y="7"/>
                      </a:lnTo>
                      <a:lnTo>
                        <a:pt x="1" y="4"/>
                      </a:lnTo>
                      <a:lnTo>
                        <a:pt x="3" y="2"/>
                      </a:lnTo>
                      <a:lnTo>
                        <a:pt x="5" y="0"/>
                      </a:lnTo>
                      <a:lnTo>
                        <a:pt x="8" y="0"/>
                      </a:lnTo>
                      <a:lnTo>
                        <a:pt x="11" y="0"/>
                      </a:lnTo>
                      <a:lnTo>
                        <a:pt x="14" y="2"/>
                      </a:lnTo>
                      <a:lnTo>
                        <a:pt x="18" y="8"/>
                      </a:lnTo>
                      <a:lnTo>
                        <a:pt x="23" y="13"/>
                      </a:lnTo>
                      <a:lnTo>
                        <a:pt x="27" y="15"/>
                      </a:lnTo>
                      <a:lnTo>
                        <a:pt x="29" y="17"/>
                      </a:lnTo>
                      <a:lnTo>
                        <a:pt x="33" y="17"/>
                      </a:lnTo>
                      <a:lnTo>
                        <a:pt x="37" y="17"/>
                      </a:lnTo>
                      <a:lnTo>
                        <a:pt x="43" y="14"/>
                      </a:lnTo>
                      <a:lnTo>
                        <a:pt x="48" y="11"/>
                      </a:lnTo>
                      <a:lnTo>
                        <a:pt x="55" y="7"/>
                      </a:lnTo>
                      <a:lnTo>
                        <a:pt x="61" y="4"/>
                      </a:lnTo>
                      <a:lnTo>
                        <a:pt x="62" y="4"/>
                      </a:lnTo>
                      <a:lnTo>
                        <a:pt x="63" y="4"/>
                      </a:lnTo>
                      <a:lnTo>
                        <a:pt x="66" y="7"/>
                      </a:lnTo>
                      <a:lnTo>
                        <a:pt x="67" y="11"/>
                      </a:lnTo>
                      <a:lnTo>
                        <a:pt x="66" y="13"/>
                      </a:lnTo>
                      <a:lnTo>
                        <a:pt x="66" y="18"/>
                      </a:lnTo>
                      <a:lnTo>
                        <a:pt x="67" y="22"/>
                      </a:lnTo>
                      <a:lnTo>
                        <a:pt x="69" y="25"/>
                      </a:lnTo>
                      <a:lnTo>
                        <a:pt x="71" y="28"/>
                      </a:lnTo>
                      <a:lnTo>
                        <a:pt x="74" y="30"/>
                      </a:lnTo>
                      <a:lnTo>
                        <a:pt x="77" y="32"/>
                      </a:lnTo>
                      <a:lnTo>
                        <a:pt x="85" y="33"/>
                      </a:lnTo>
                      <a:lnTo>
                        <a:pt x="86" y="41"/>
                      </a:lnTo>
                      <a:lnTo>
                        <a:pt x="88" y="44"/>
                      </a:lnTo>
                      <a:lnTo>
                        <a:pt x="89" y="45"/>
                      </a:lnTo>
                      <a:lnTo>
                        <a:pt x="94" y="46"/>
                      </a:lnTo>
                      <a:lnTo>
                        <a:pt x="104" y="47"/>
                      </a:lnTo>
                      <a:lnTo>
                        <a:pt x="108" y="49"/>
                      </a:lnTo>
                      <a:lnTo>
                        <a:pt x="110" y="51"/>
                      </a:lnTo>
                      <a:lnTo>
                        <a:pt x="113" y="53"/>
                      </a:lnTo>
                      <a:lnTo>
                        <a:pt x="117" y="56"/>
                      </a:lnTo>
                      <a:lnTo>
                        <a:pt x="124" y="60"/>
                      </a:lnTo>
                      <a:lnTo>
                        <a:pt x="127" y="64"/>
                      </a:lnTo>
                      <a:lnTo>
                        <a:pt x="130" y="65"/>
                      </a:lnTo>
                      <a:lnTo>
                        <a:pt x="133" y="65"/>
                      </a:lnTo>
                      <a:lnTo>
                        <a:pt x="137" y="65"/>
                      </a:lnTo>
                      <a:lnTo>
                        <a:pt x="140" y="65"/>
                      </a:lnTo>
                      <a:lnTo>
                        <a:pt x="143" y="63"/>
                      </a:lnTo>
                      <a:lnTo>
                        <a:pt x="149" y="60"/>
                      </a:lnTo>
                      <a:lnTo>
                        <a:pt x="152" y="60"/>
                      </a:lnTo>
                      <a:lnTo>
                        <a:pt x="156" y="60"/>
                      </a:lnTo>
                      <a:lnTo>
                        <a:pt x="161" y="60"/>
                      </a:lnTo>
                      <a:lnTo>
                        <a:pt x="165" y="60"/>
                      </a:lnTo>
                      <a:lnTo>
                        <a:pt x="168" y="59"/>
                      </a:lnTo>
                      <a:lnTo>
                        <a:pt x="170" y="58"/>
                      </a:lnTo>
                      <a:lnTo>
                        <a:pt x="173" y="53"/>
                      </a:lnTo>
                      <a:lnTo>
                        <a:pt x="174" y="49"/>
                      </a:lnTo>
                      <a:lnTo>
                        <a:pt x="174" y="43"/>
                      </a:lnTo>
                      <a:lnTo>
                        <a:pt x="183" y="41"/>
                      </a:lnTo>
                      <a:lnTo>
                        <a:pt x="190" y="38"/>
                      </a:lnTo>
                      <a:lnTo>
                        <a:pt x="204" y="30"/>
                      </a:lnTo>
                      <a:lnTo>
                        <a:pt x="210" y="27"/>
                      </a:lnTo>
                      <a:lnTo>
                        <a:pt x="215" y="26"/>
                      </a:lnTo>
                      <a:lnTo>
                        <a:pt x="221" y="21"/>
                      </a:lnTo>
                      <a:lnTo>
                        <a:pt x="223" y="26"/>
                      </a:lnTo>
                      <a:lnTo>
                        <a:pt x="227" y="28"/>
                      </a:lnTo>
                      <a:lnTo>
                        <a:pt x="231" y="28"/>
                      </a:lnTo>
                      <a:lnTo>
                        <a:pt x="234" y="30"/>
                      </a:lnTo>
                      <a:lnTo>
                        <a:pt x="239" y="32"/>
                      </a:lnTo>
                      <a:lnTo>
                        <a:pt x="245" y="34"/>
                      </a:lnTo>
                      <a:lnTo>
                        <a:pt x="256" y="36"/>
                      </a:lnTo>
                      <a:lnTo>
                        <a:pt x="263" y="38"/>
                      </a:lnTo>
                      <a:lnTo>
                        <a:pt x="265" y="40"/>
                      </a:lnTo>
                      <a:lnTo>
                        <a:pt x="268" y="43"/>
                      </a:lnTo>
                      <a:lnTo>
                        <a:pt x="273" y="47"/>
                      </a:lnTo>
                      <a:lnTo>
                        <a:pt x="279" y="51"/>
                      </a:lnTo>
                      <a:lnTo>
                        <a:pt x="292" y="54"/>
                      </a:lnTo>
                      <a:lnTo>
                        <a:pt x="296" y="57"/>
                      </a:lnTo>
                      <a:lnTo>
                        <a:pt x="298" y="60"/>
                      </a:lnTo>
                      <a:lnTo>
                        <a:pt x="300" y="64"/>
                      </a:lnTo>
                      <a:lnTo>
                        <a:pt x="300" y="69"/>
                      </a:lnTo>
                      <a:lnTo>
                        <a:pt x="300" y="77"/>
                      </a:lnTo>
                      <a:lnTo>
                        <a:pt x="298" y="84"/>
                      </a:lnTo>
                      <a:lnTo>
                        <a:pt x="296" y="92"/>
                      </a:lnTo>
                      <a:lnTo>
                        <a:pt x="292" y="98"/>
                      </a:lnTo>
                      <a:lnTo>
                        <a:pt x="288" y="102"/>
                      </a:lnTo>
                      <a:lnTo>
                        <a:pt x="284" y="105"/>
                      </a:lnTo>
                      <a:lnTo>
                        <a:pt x="284" y="107"/>
                      </a:lnTo>
                      <a:lnTo>
                        <a:pt x="283" y="109"/>
                      </a:lnTo>
                      <a:lnTo>
                        <a:pt x="284" y="111"/>
                      </a:lnTo>
                      <a:lnTo>
                        <a:pt x="286" y="114"/>
                      </a:lnTo>
                      <a:lnTo>
                        <a:pt x="287" y="116"/>
                      </a:lnTo>
                      <a:lnTo>
                        <a:pt x="287" y="119"/>
                      </a:lnTo>
                      <a:lnTo>
                        <a:pt x="284" y="121"/>
                      </a:lnTo>
                      <a:lnTo>
                        <a:pt x="283" y="124"/>
                      </a:lnTo>
                      <a:lnTo>
                        <a:pt x="283" y="128"/>
                      </a:lnTo>
                      <a:lnTo>
                        <a:pt x="284" y="132"/>
                      </a:lnTo>
                      <a:lnTo>
                        <a:pt x="291" y="145"/>
                      </a:lnTo>
                      <a:lnTo>
                        <a:pt x="291" y="148"/>
                      </a:lnTo>
                      <a:lnTo>
                        <a:pt x="292" y="152"/>
                      </a:lnTo>
                      <a:lnTo>
                        <a:pt x="292" y="155"/>
                      </a:lnTo>
                      <a:lnTo>
                        <a:pt x="292" y="159"/>
                      </a:lnTo>
                      <a:lnTo>
                        <a:pt x="293" y="160"/>
                      </a:lnTo>
                      <a:lnTo>
                        <a:pt x="296" y="161"/>
                      </a:lnTo>
                      <a:lnTo>
                        <a:pt x="300" y="162"/>
                      </a:lnTo>
                      <a:lnTo>
                        <a:pt x="306" y="166"/>
                      </a:lnTo>
                      <a:lnTo>
                        <a:pt x="312" y="168"/>
                      </a:lnTo>
                      <a:lnTo>
                        <a:pt x="316" y="171"/>
                      </a:lnTo>
                      <a:lnTo>
                        <a:pt x="317" y="172"/>
                      </a:lnTo>
                      <a:lnTo>
                        <a:pt x="319" y="174"/>
                      </a:lnTo>
                      <a:lnTo>
                        <a:pt x="317" y="179"/>
                      </a:lnTo>
                      <a:lnTo>
                        <a:pt x="315" y="183"/>
                      </a:lnTo>
                      <a:lnTo>
                        <a:pt x="310" y="188"/>
                      </a:lnTo>
                      <a:lnTo>
                        <a:pt x="303" y="196"/>
                      </a:lnTo>
                      <a:lnTo>
                        <a:pt x="298" y="203"/>
                      </a:lnTo>
                      <a:lnTo>
                        <a:pt x="297" y="206"/>
                      </a:lnTo>
                      <a:lnTo>
                        <a:pt x="297" y="210"/>
                      </a:lnTo>
                      <a:lnTo>
                        <a:pt x="298" y="215"/>
                      </a:lnTo>
                      <a:lnTo>
                        <a:pt x="303" y="222"/>
                      </a:lnTo>
                      <a:lnTo>
                        <a:pt x="316" y="236"/>
                      </a:lnTo>
                      <a:lnTo>
                        <a:pt x="319" y="239"/>
                      </a:lnTo>
                      <a:lnTo>
                        <a:pt x="320" y="243"/>
                      </a:lnTo>
                      <a:lnTo>
                        <a:pt x="321" y="250"/>
                      </a:lnTo>
                      <a:lnTo>
                        <a:pt x="323" y="254"/>
                      </a:lnTo>
                      <a:lnTo>
                        <a:pt x="325" y="257"/>
                      </a:lnTo>
                      <a:lnTo>
                        <a:pt x="326" y="260"/>
                      </a:lnTo>
                      <a:lnTo>
                        <a:pt x="329" y="263"/>
                      </a:lnTo>
                      <a:lnTo>
                        <a:pt x="329" y="266"/>
                      </a:lnTo>
                      <a:lnTo>
                        <a:pt x="328" y="267"/>
                      </a:lnTo>
                      <a:lnTo>
                        <a:pt x="324" y="269"/>
                      </a:lnTo>
                      <a:lnTo>
                        <a:pt x="319" y="270"/>
                      </a:lnTo>
                      <a:lnTo>
                        <a:pt x="315" y="271"/>
                      </a:lnTo>
                      <a:lnTo>
                        <a:pt x="310" y="277"/>
                      </a:lnTo>
                      <a:lnTo>
                        <a:pt x="306" y="286"/>
                      </a:lnTo>
                      <a:lnTo>
                        <a:pt x="300" y="301"/>
                      </a:lnTo>
                      <a:lnTo>
                        <a:pt x="297" y="302"/>
                      </a:lnTo>
                      <a:lnTo>
                        <a:pt x="296" y="302"/>
                      </a:lnTo>
                      <a:lnTo>
                        <a:pt x="295" y="302"/>
                      </a:lnTo>
                      <a:lnTo>
                        <a:pt x="288" y="301"/>
                      </a:lnTo>
                      <a:lnTo>
                        <a:pt x="283" y="300"/>
                      </a:lnTo>
                      <a:lnTo>
                        <a:pt x="277" y="301"/>
                      </a:lnTo>
                      <a:lnTo>
                        <a:pt x="270" y="302"/>
                      </a:lnTo>
                      <a:lnTo>
                        <a:pt x="262" y="303"/>
                      </a:lnTo>
                      <a:lnTo>
                        <a:pt x="253" y="303"/>
                      </a:lnTo>
                      <a:lnTo>
                        <a:pt x="245" y="300"/>
                      </a:lnTo>
                      <a:lnTo>
                        <a:pt x="239" y="295"/>
                      </a:lnTo>
                      <a:lnTo>
                        <a:pt x="232" y="289"/>
                      </a:lnTo>
                      <a:lnTo>
                        <a:pt x="229" y="283"/>
                      </a:lnTo>
                      <a:lnTo>
                        <a:pt x="225" y="275"/>
                      </a:lnTo>
                      <a:lnTo>
                        <a:pt x="223" y="267"/>
                      </a:lnTo>
                      <a:lnTo>
                        <a:pt x="221" y="264"/>
                      </a:lnTo>
                      <a:lnTo>
                        <a:pt x="218" y="263"/>
                      </a:lnTo>
                      <a:lnTo>
                        <a:pt x="215" y="263"/>
                      </a:lnTo>
                      <a:lnTo>
                        <a:pt x="212" y="264"/>
                      </a:lnTo>
                      <a:lnTo>
                        <a:pt x="207" y="270"/>
                      </a:lnTo>
                      <a:lnTo>
                        <a:pt x="201" y="274"/>
                      </a:lnTo>
                      <a:lnTo>
                        <a:pt x="193" y="277"/>
                      </a:lnTo>
                      <a:lnTo>
                        <a:pt x="185" y="280"/>
                      </a:lnTo>
                      <a:lnTo>
                        <a:pt x="176" y="280"/>
                      </a:lnTo>
                      <a:lnTo>
                        <a:pt x="169" y="277"/>
                      </a:lnTo>
                      <a:lnTo>
                        <a:pt x="160" y="273"/>
                      </a:lnTo>
                      <a:lnTo>
                        <a:pt x="152" y="264"/>
                      </a:lnTo>
                      <a:lnTo>
                        <a:pt x="150" y="263"/>
                      </a:lnTo>
                      <a:lnTo>
                        <a:pt x="149" y="263"/>
                      </a:lnTo>
                      <a:lnTo>
                        <a:pt x="147" y="262"/>
                      </a:lnTo>
                      <a:lnTo>
                        <a:pt x="145" y="257"/>
                      </a:lnTo>
                      <a:lnTo>
                        <a:pt x="140" y="252"/>
                      </a:lnTo>
                      <a:lnTo>
                        <a:pt x="135" y="250"/>
                      </a:lnTo>
                      <a:lnTo>
                        <a:pt x="132" y="250"/>
                      </a:lnTo>
                      <a:lnTo>
                        <a:pt x="131" y="248"/>
                      </a:lnTo>
                      <a:lnTo>
                        <a:pt x="130" y="247"/>
                      </a:lnTo>
                      <a:lnTo>
                        <a:pt x="130" y="244"/>
                      </a:lnTo>
                      <a:lnTo>
                        <a:pt x="128" y="239"/>
                      </a:lnTo>
                      <a:lnTo>
                        <a:pt x="126" y="236"/>
                      </a:lnTo>
                      <a:lnTo>
                        <a:pt x="122" y="232"/>
                      </a:lnTo>
                      <a:lnTo>
                        <a:pt x="122" y="228"/>
                      </a:lnTo>
                      <a:lnTo>
                        <a:pt x="119" y="223"/>
                      </a:lnTo>
                      <a:lnTo>
                        <a:pt x="118" y="220"/>
                      </a:lnTo>
                      <a:lnTo>
                        <a:pt x="116" y="217"/>
                      </a:lnTo>
                      <a:lnTo>
                        <a:pt x="112" y="211"/>
                      </a:lnTo>
                      <a:lnTo>
                        <a:pt x="108" y="204"/>
                      </a:lnTo>
                      <a:lnTo>
                        <a:pt x="104" y="203"/>
                      </a:lnTo>
                      <a:lnTo>
                        <a:pt x="99" y="200"/>
                      </a:lnTo>
                      <a:lnTo>
                        <a:pt x="98" y="197"/>
                      </a:lnTo>
                      <a:lnTo>
                        <a:pt x="96" y="196"/>
                      </a:lnTo>
                      <a:lnTo>
                        <a:pt x="94" y="193"/>
                      </a:lnTo>
                      <a:lnTo>
                        <a:pt x="91" y="193"/>
                      </a:lnTo>
                      <a:lnTo>
                        <a:pt x="90" y="194"/>
                      </a:lnTo>
                      <a:lnTo>
                        <a:pt x="86" y="199"/>
                      </a:lnTo>
                      <a:lnTo>
                        <a:pt x="75" y="190"/>
                      </a:lnTo>
                      <a:lnTo>
                        <a:pt x="71" y="186"/>
                      </a:lnTo>
                      <a:lnTo>
                        <a:pt x="69" y="183"/>
                      </a:lnTo>
                      <a:lnTo>
                        <a:pt x="66" y="179"/>
                      </a:lnTo>
                      <a:lnTo>
                        <a:pt x="65" y="174"/>
                      </a:lnTo>
                      <a:lnTo>
                        <a:pt x="65" y="159"/>
                      </a:lnTo>
                      <a:lnTo>
                        <a:pt x="63" y="154"/>
                      </a:lnTo>
                      <a:lnTo>
                        <a:pt x="61" y="151"/>
                      </a:lnTo>
                      <a:lnTo>
                        <a:pt x="52" y="145"/>
                      </a:lnTo>
                      <a:lnTo>
                        <a:pt x="44" y="140"/>
                      </a:lnTo>
                      <a:lnTo>
                        <a:pt x="39" y="135"/>
                      </a:lnTo>
                      <a:lnTo>
                        <a:pt x="34" y="130"/>
                      </a:lnTo>
                      <a:lnTo>
                        <a:pt x="33" y="127"/>
                      </a:lnTo>
                      <a:lnTo>
                        <a:pt x="33" y="122"/>
                      </a:lnTo>
                      <a:lnTo>
                        <a:pt x="32" y="121"/>
                      </a:lnTo>
                      <a:lnTo>
                        <a:pt x="30" y="120"/>
                      </a:lnTo>
                      <a:lnTo>
                        <a:pt x="27" y="117"/>
                      </a:lnTo>
                      <a:lnTo>
                        <a:pt x="23" y="114"/>
                      </a:lnTo>
                      <a:lnTo>
                        <a:pt x="22" y="110"/>
                      </a:lnTo>
                      <a:lnTo>
                        <a:pt x="22" y="108"/>
                      </a:lnTo>
                      <a:lnTo>
                        <a:pt x="23" y="107"/>
                      </a:lnTo>
                      <a:lnTo>
                        <a:pt x="28" y="100"/>
                      </a:lnTo>
                      <a:lnTo>
                        <a:pt x="33" y="94"/>
                      </a:lnTo>
                      <a:lnTo>
                        <a:pt x="36" y="90"/>
                      </a:lnTo>
                      <a:lnTo>
                        <a:pt x="37" y="86"/>
                      </a:lnTo>
                      <a:lnTo>
                        <a:pt x="37" y="83"/>
                      </a:lnTo>
                      <a:lnTo>
                        <a:pt x="36" y="79"/>
                      </a:lnTo>
                      <a:lnTo>
                        <a:pt x="32" y="76"/>
                      </a:lnTo>
                      <a:lnTo>
                        <a:pt x="28" y="73"/>
                      </a:lnTo>
                      <a:lnTo>
                        <a:pt x="23" y="71"/>
                      </a:lnTo>
                      <a:lnTo>
                        <a:pt x="22" y="69"/>
                      </a:lnTo>
                      <a:lnTo>
                        <a:pt x="20" y="66"/>
                      </a:lnTo>
                      <a:lnTo>
                        <a:pt x="19" y="59"/>
                      </a:lnTo>
                      <a:lnTo>
                        <a:pt x="19" y="57"/>
                      </a:lnTo>
                      <a:lnTo>
                        <a:pt x="16" y="54"/>
                      </a:lnTo>
                      <a:lnTo>
                        <a:pt x="11" y="50"/>
                      </a:lnTo>
                      <a:lnTo>
                        <a:pt x="6" y="4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5" name="Freeform 642"/>
                <p:cNvSpPr>
                  <a:spLocks/>
                </p:cNvSpPr>
                <p:nvPr/>
              </p:nvSpPr>
              <p:spPr bwMode="auto">
                <a:xfrm>
                  <a:off x="5501685" y="3493662"/>
                  <a:ext cx="276736" cy="257498"/>
                </a:xfrm>
                <a:custGeom>
                  <a:avLst/>
                  <a:gdLst>
                    <a:gd name="T0" fmla="*/ 2147483647 w 202"/>
                    <a:gd name="T1" fmla="*/ 2147483647 h 174"/>
                    <a:gd name="T2" fmla="*/ 2147483647 w 202"/>
                    <a:gd name="T3" fmla="*/ 2147483647 h 174"/>
                    <a:gd name="T4" fmla="*/ 2147483647 w 202"/>
                    <a:gd name="T5" fmla="*/ 2147483647 h 174"/>
                    <a:gd name="T6" fmla="*/ 2147483647 w 202"/>
                    <a:gd name="T7" fmla="*/ 2147483647 h 174"/>
                    <a:gd name="T8" fmla="*/ 2147483647 w 202"/>
                    <a:gd name="T9" fmla="*/ 2147483647 h 174"/>
                    <a:gd name="T10" fmla="*/ 2147483647 w 202"/>
                    <a:gd name="T11" fmla="*/ 2147483647 h 174"/>
                    <a:gd name="T12" fmla="*/ 2147483647 w 202"/>
                    <a:gd name="T13" fmla="*/ 2147483647 h 174"/>
                    <a:gd name="T14" fmla="*/ 2147483647 w 202"/>
                    <a:gd name="T15" fmla="*/ 2147483647 h 174"/>
                    <a:gd name="T16" fmla="*/ 2147483647 w 202"/>
                    <a:gd name="T17" fmla="*/ 2147483647 h 174"/>
                    <a:gd name="T18" fmla="*/ 2147483647 w 202"/>
                    <a:gd name="T19" fmla="*/ 2147483647 h 174"/>
                    <a:gd name="T20" fmla="*/ 2147483647 w 202"/>
                    <a:gd name="T21" fmla="*/ 2147483647 h 174"/>
                    <a:gd name="T22" fmla="*/ 2147483647 w 202"/>
                    <a:gd name="T23" fmla="*/ 2147483647 h 174"/>
                    <a:gd name="T24" fmla="*/ 2147483647 w 202"/>
                    <a:gd name="T25" fmla="*/ 2147483647 h 174"/>
                    <a:gd name="T26" fmla="*/ 2147483647 w 202"/>
                    <a:gd name="T27" fmla="*/ 2147483647 h 174"/>
                    <a:gd name="T28" fmla="*/ 2147483647 w 202"/>
                    <a:gd name="T29" fmla="*/ 2147483647 h 174"/>
                    <a:gd name="T30" fmla="*/ 2147483647 w 202"/>
                    <a:gd name="T31" fmla="*/ 2147483647 h 174"/>
                    <a:gd name="T32" fmla="*/ 2147483647 w 202"/>
                    <a:gd name="T33" fmla="*/ 2147483647 h 174"/>
                    <a:gd name="T34" fmla="*/ 2147483647 w 202"/>
                    <a:gd name="T35" fmla="*/ 2147483647 h 174"/>
                    <a:gd name="T36" fmla="*/ 2147483647 w 202"/>
                    <a:gd name="T37" fmla="*/ 2147483647 h 174"/>
                    <a:gd name="T38" fmla="*/ 2147483647 w 202"/>
                    <a:gd name="T39" fmla="*/ 0 h 174"/>
                    <a:gd name="T40" fmla="*/ 2147483647 w 202"/>
                    <a:gd name="T41" fmla="*/ 2147483647 h 174"/>
                    <a:gd name="T42" fmla="*/ 2147483647 w 202"/>
                    <a:gd name="T43" fmla="*/ 2147483647 h 174"/>
                    <a:gd name="T44" fmla="*/ 2147483647 w 202"/>
                    <a:gd name="T45" fmla="*/ 2147483647 h 174"/>
                    <a:gd name="T46" fmla="*/ 2147483647 w 202"/>
                    <a:gd name="T47" fmla="*/ 2147483647 h 174"/>
                    <a:gd name="T48" fmla="*/ 2147483647 w 202"/>
                    <a:gd name="T49" fmla="*/ 2147483647 h 174"/>
                    <a:gd name="T50" fmla="*/ 2147483647 w 202"/>
                    <a:gd name="T51" fmla="*/ 2147483647 h 174"/>
                    <a:gd name="T52" fmla="*/ 2147483647 w 202"/>
                    <a:gd name="T53" fmla="*/ 2147483647 h 174"/>
                    <a:gd name="T54" fmla="*/ 0 w 202"/>
                    <a:gd name="T55" fmla="*/ 2147483647 h 174"/>
                    <a:gd name="T56" fmla="*/ 2147483647 w 202"/>
                    <a:gd name="T57" fmla="*/ 2147483647 h 174"/>
                    <a:gd name="T58" fmla="*/ 2147483647 w 202"/>
                    <a:gd name="T59" fmla="*/ 2147483647 h 174"/>
                    <a:gd name="T60" fmla="*/ 2147483647 w 202"/>
                    <a:gd name="T61" fmla="*/ 2147483647 h 174"/>
                    <a:gd name="T62" fmla="*/ 2147483647 w 202"/>
                    <a:gd name="T63" fmla="*/ 2147483647 h 174"/>
                    <a:gd name="T64" fmla="*/ 2147483647 w 202"/>
                    <a:gd name="T65" fmla="*/ 2147483647 h 174"/>
                    <a:gd name="T66" fmla="*/ 2147483647 w 202"/>
                    <a:gd name="T67" fmla="*/ 2147483647 h 174"/>
                    <a:gd name="T68" fmla="*/ 2147483647 w 202"/>
                    <a:gd name="T69" fmla="*/ 2147483647 h 174"/>
                    <a:gd name="T70" fmla="*/ 2147483647 w 202"/>
                    <a:gd name="T71" fmla="*/ 2147483647 h 174"/>
                    <a:gd name="T72" fmla="*/ 2147483647 w 202"/>
                    <a:gd name="T73" fmla="*/ 2147483647 h 174"/>
                    <a:gd name="T74" fmla="*/ 2147483647 w 202"/>
                    <a:gd name="T75" fmla="*/ 2147483647 h 174"/>
                    <a:gd name="T76" fmla="*/ 2147483647 w 202"/>
                    <a:gd name="T77" fmla="*/ 2147483647 h 174"/>
                    <a:gd name="T78" fmla="*/ 2147483647 w 202"/>
                    <a:gd name="T79" fmla="*/ 2147483647 h 174"/>
                    <a:gd name="T80" fmla="*/ 2147483647 w 202"/>
                    <a:gd name="T81" fmla="*/ 2147483647 h 174"/>
                    <a:gd name="T82" fmla="*/ 2147483647 w 202"/>
                    <a:gd name="T83" fmla="*/ 2147483647 h 174"/>
                    <a:gd name="T84" fmla="*/ 2147483647 w 202"/>
                    <a:gd name="T85" fmla="*/ 2147483647 h 174"/>
                    <a:gd name="T86" fmla="*/ 2147483647 w 202"/>
                    <a:gd name="T87" fmla="*/ 2147483647 h 174"/>
                    <a:gd name="T88" fmla="*/ 2147483647 w 202"/>
                    <a:gd name="T89" fmla="*/ 2147483647 h 174"/>
                    <a:gd name="T90" fmla="*/ 2147483647 w 202"/>
                    <a:gd name="T91" fmla="*/ 2147483647 h 174"/>
                    <a:gd name="T92" fmla="*/ 2147483647 w 202"/>
                    <a:gd name="T93" fmla="*/ 2147483647 h 174"/>
                    <a:gd name="T94" fmla="*/ 2147483647 w 202"/>
                    <a:gd name="T95" fmla="*/ 2147483647 h 174"/>
                    <a:gd name="T96" fmla="*/ 2147483647 w 202"/>
                    <a:gd name="T97" fmla="*/ 2147483647 h 174"/>
                    <a:gd name="T98" fmla="*/ 2147483647 w 202"/>
                    <a:gd name="T99" fmla="*/ 2147483647 h 17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74"/>
                    <a:gd name="T152" fmla="*/ 202 w 202"/>
                    <a:gd name="T153" fmla="*/ 174 h 17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74">
                      <a:moveTo>
                        <a:pt x="202" y="157"/>
                      </a:moveTo>
                      <a:lnTo>
                        <a:pt x="190" y="148"/>
                      </a:lnTo>
                      <a:lnTo>
                        <a:pt x="186" y="144"/>
                      </a:lnTo>
                      <a:lnTo>
                        <a:pt x="184" y="141"/>
                      </a:lnTo>
                      <a:lnTo>
                        <a:pt x="181" y="137"/>
                      </a:lnTo>
                      <a:lnTo>
                        <a:pt x="180" y="132"/>
                      </a:lnTo>
                      <a:lnTo>
                        <a:pt x="180" y="117"/>
                      </a:lnTo>
                      <a:lnTo>
                        <a:pt x="179" y="112"/>
                      </a:lnTo>
                      <a:lnTo>
                        <a:pt x="176" y="109"/>
                      </a:lnTo>
                      <a:lnTo>
                        <a:pt x="167" y="103"/>
                      </a:lnTo>
                      <a:lnTo>
                        <a:pt x="160" y="98"/>
                      </a:lnTo>
                      <a:lnTo>
                        <a:pt x="155" y="93"/>
                      </a:lnTo>
                      <a:lnTo>
                        <a:pt x="150" y="89"/>
                      </a:lnTo>
                      <a:lnTo>
                        <a:pt x="148" y="85"/>
                      </a:lnTo>
                      <a:lnTo>
                        <a:pt x="148" y="80"/>
                      </a:lnTo>
                      <a:lnTo>
                        <a:pt x="147" y="79"/>
                      </a:lnTo>
                      <a:lnTo>
                        <a:pt x="146" y="78"/>
                      </a:lnTo>
                      <a:lnTo>
                        <a:pt x="142" y="76"/>
                      </a:lnTo>
                      <a:lnTo>
                        <a:pt x="138" y="72"/>
                      </a:lnTo>
                      <a:lnTo>
                        <a:pt x="137" y="68"/>
                      </a:lnTo>
                      <a:lnTo>
                        <a:pt x="137" y="66"/>
                      </a:lnTo>
                      <a:lnTo>
                        <a:pt x="138" y="65"/>
                      </a:lnTo>
                      <a:lnTo>
                        <a:pt x="143" y="58"/>
                      </a:lnTo>
                      <a:lnTo>
                        <a:pt x="148" y="52"/>
                      </a:lnTo>
                      <a:lnTo>
                        <a:pt x="151" y="48"/>
                      </a:lnTo>
                      <a:lnTo>
                        <a:pt x="152" y="45"/>
                      </a:lnTo>
                      <a:lnTo>
                        <a:pt x="152" y="41"/>
                      </a:lnTo>
                      <a:lnTo>
                        <a:pt x="151" y="38"/>
                      </a:lnTo>
                      <a:lnTo>
                        <a:pt x="147" y="34"/>
                      </a:lnTo>
                      <a:lnTo>
                        <a:pt x="143" y="32"/>
                      </a:lnTo>
                      <a:lnTo>
                        <a:pt x="138" y="29"/>
                      </a:lnTo>
                      <a:lnTo>
                        <a:pt x="137" y="27"/>
                      </a:lnTo>
                      <a:lnTo>
                        <a:pt x="136" y="25"/>
                      </a:lnTo>
                      <a:lnTo>
                        <a:pt x="134" y="17"/>
                      </a:lnTo>
                      <a:lnTo>
                        <a:pt x="134" y="15"/>
                      </a:lnTo>
                      <a:lnTo>
                        <a:pt x="132" y="13"/>
                      </a:lnTo>
                      <a:lnTo>
                        <a:pt x="127" y="8"/>
                      </a:lnTo>
                      <a:lnTo>
                        <a:pt x="122" y="2"/>
                      </a:lnTo>
                      <a:lnTo>
                        <a:pt x="111" y="2"/>
                      </a:lnTo>
                      <a:lnTo>
                        <a:pt x="100" y="0"/>
                      </a:lnTo>
                      <a:lnTo>
                        <a:pt x="94" y="1"/>
                      </a:lnTo>
                      <a:lnTo>
                        <a:pt x="87" y="3"/>
                      </a:lnTo>
                      <a:lnTo>
                        <a:pt x="84" y="4"/>
                      </a:lnTo>
                      <a:lnTo>
                        <a:pt x="78" y="8"/>
                      </a:lnTo>
                      <a:lnTo>
                        <a:pt x="75" y="13"/>
                      </a:lnTo>
                      <a:lnTo>
                        <a:pt x="72" y="19"/>
                      </a:lnTo>
                      <a:lnTo>
                        <a:pt x="71" y="22"/>
                      </a:lnTo>
                      <a:lnTo>
                        <a:pt x="68" y="34"/>
                      </a:lnTo>
                      <a:lnTo>
                        <a:pt x="64" y="45"/>
                      </a:lnTo>
                      <a:lnTo>
                        <a:pt x="59" y="55"/>
                      </a:lnTo>
                      <a:lnTo>
                        <a:pt x="54" y="64"/>
                      </a:lnTo>
                      <a:lnTo>
                        <a:pt x="45" y="71"/>
                      </a:lnTo>
                      <a:lnTo>
                        <a:pt x="35" y="79"/>
                      </a:lnTo>
                      <a:lnTo>
                        <a:pt x="11" y="93"/>
                      </a:lnTo>
                      <a:lnTo>
                        <a:pt x="5" y="98"/>
                      </a:lnTo>
                      <a:lnTo>
                        <a:pt x="0" y="104"/>
                      </a:lnTo>
                      <a:lnTo>
                        <a:pt x="5" y="110"/>
                      </a:lnTo>
                      <a:lnTo>
                        <a:pt x="9" y="116"/>
                      </a:lnTo>
                      <a:lnTo>
                        <a:pt x="16" y="129"/>
                      </a:lnTo>
                      <a:lnTo>
                        <a:pt x="21" y="129"/>
                      </a:lnTo>
                      <a:lnTo>
                        <a:pt x="25" y="130"/>
                      </a:lnTo>
                      <a:lnTo>
                        <a:pt x="35" y="132"/>
                      </a:lnTo>
                      <a:lnTo>
                        <a:pt x="45" y="134"/>
                      </a:lnTo>
                      <a:lnTo>
                        <a:pt x="53" y="136"/>
                      </a:lnTo>
                      <a:lnTo>
                        <a:pt x="61" y="140"/>
                      </a:lnTo>
                      <a:lnTo>
                        <a:pt x="67" y="143"/>
                      </a:lnTo>
                      <a:lnTo>
                        <a:pt x="75" y="145"/>
                      </a:lnTo>
                      <a:lnTo>
                        <a:pt x="81" y="147"/>
                      </a:lnTo>
                      <a:lnTo>
                        <a:pt x="89" y="150"/>
                      </a:lnTo>
                      <a:lnTo>
                        <a:pt x="91" y="154"/>
                      </a:lnTo>
                      <a:lnTo>
                        <a:pt x="92" y="155"/>
                      </a:lnTo>
                      <a:lnTo>
                        <a:pt x="94" y="156"/>
                      </a:lnTo>
                      <a:lnTo>
                        <a:pt x="99" y="155"/>
                      </a:lnTo>
                      <a:lnTo>
                        <a:pt x="101" y="155"/>
                      </a:lnTo>
                      <a:lnTo>
                        <a:pt x="103" y="155"/>
                      </a:lnTo>
                      <a:lnTo>
                        <a:pt x="104" y="158"/>
                      </a:lnTo>
                      <a:lnTo>
                        <a:pt x="105" y="162"/>
                      </a:lnTo>
                      <a:lnTo>
                        <a:pt x="105" y="164"/>
                      </a:lnTo>
                      <a:lnTo>
                        <a:pt x="106" y="167"/>
                      </a:lnTo>
                      <a:lnTo>
                        <a:pt x="110" y="168"/>
                      </a:lnTo>
                      <a:lnTo>
                        <a:pt x="115" y="167"/>
                      </a:lnTo>
                      <a:lnTo>
                        <a:pt x="119" y="167"/>
                      </a:lnTo>
                      <a:lnTo>
                        <a:pt x="124" y="167"/>
                      </a:lnTo>
                      <a:lnTo>
                        <a:pt x="130" y="167"/>
                      </a:lnTo>
                      <a:lnTo>
                        <a:pt x="137" y="169"/>
                      </a:lnTo>
                      <a:lnTo>
                        <a:pt x="150" y="174"/>
                      </a:lnTo>
                      <a:lnTo>
                        <a:pt x="153" y="168"/>
                      </a:lnTo>
                      <a:lnTo>
                        <a:pt x="157" y="163"/>
                      </a:lnTo>
                      <a:lnTo>
                        <a:pt x="164" y="161"/>
                      </a:lnTo>
                      <a:lnTo>
                        <a:pt x="170" y="158"/>
                      </a:lnTo>
                      <a:lnTo>
                        <a:pt x="176" y="158"/>
                      </a:lnTo>
                      <a:lnTo>
                        <a:pt x="181" y="160"/>
                      </a:lnTo>
                      <a:lnTo>
                        <a:pt x="186" y="161"/>
                      </a:lnTo>
                      <a:lnTo>
                        <a:pt x="191" y="163"/>
                      </a:lnTo>
                      <a:lnTo>
                        <a:pt x="193" y="161"/>
                      </a:lnTo>
                      <a:lnTo>
                        <a:pt x="194" y="161"/>
                      </a:lnTo>
                      <a:lnTo>
                        <a:pt x="197" y="161"/>
                      </a:lnTo>
                      <a:lnTo>
                        <a:pt x="198" y="161"/>
                      </a:lnTo>
                      <a:lnTo>
                        <a:pt x="199" y="161"/>
                      </a:lnTo>
                      <a:lnTo>
                        <a:pt x="202" y="15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6" name="Freeform 643"/>
                <p:cNvSpPr>
                  <a:spLocks/>
                </p:cNvSpPr>
                <p:nvPr/>
              </p:nvSpPr>
              <p:spPr bwMode="auto">
                <a:xfrm>
                  <a:off x="5707387" y="3727479"/>
                  <a:ext cx="63635" cy="69554"/>
                </a:xfrm>
                <a:custGeom>
                  <a:avLst/>
                  <a:gdLst>
                    <a:gd name="T0" fmla="*/ 2147483647 w 47"/>
                    <a:gd name="T1" fmla="*/ 2147483647 h 47"/>
                    <a:gd name="T2" fmla="*/ 2147483647 w 47"/>
                    <a:gd name="T3" fmla="*/ 2147483647 h 47"/>
                    <a:gd name="T4" fmla="*/ 2147483647 w 47"/>
                    <a:gd name="T5" fmla="*/ 2147483647 h 47"/>
                    <a:gd name="T6" fmla="*/ 2147483647 w 47"/>
                    <a:gd name="T7" fmla="*/ 0 h 47"/>
                    <a:gd name="T8" fmla="*/ 2147483647 w 47"/>
                    <a:gd name="T9" fmla="*/ 0 h 47"/>
                    <a:gd name="T10" fmla="*/ 2147483647 w 47"/>
                    <a:gd name="T11" fmla="*/ 2147483647 h 47"/>
                    <a:gd name="T12" fmla="*/ 2147483647 w 47"/>
                    <a:gd name="T13" fmla="*/ 2147483647 h 47"/>
                    <a:gd name="T14" fmla="*/ 2147483647 w 47"/>
                    <a:gd name="T15" fmla="*/ 2147483647 h 47"/>
                    <a:gd name="T16" fmla="*/ 0 w 47"/>
                    <a:gd name="T17" fmla="*/ 2147483647 h 47"/>
                    <a:gd name="T18" fmla="*/ 0 w 47"/>
                    <a:gd name="T19" fmla="*/ 2147483647 h 47"/>
                    <a:gd name="T20" fmla="*/ 2147483647 w 47"/>
                    <a:gd name="T21" fmla="*/ 2147483647 h 47"/>
                    <a:gd name="T22" fmla="*/ 2147483647 w 47"/>
                    <a:gd name="T23" fmla="*/ 2147483647 h 47"/>
                    <a:gd name="T24" fmla="*/ 2147483647 w 47"/>
                    <a:gd name="T25" fmla="*/ 2147483647 h 47"/>
                    <a:gd name="T26" fmla="*/ 2147483647 w 47"/>
                    <a:gd name="T27" fmla="*/ 2147483647 h 47"/>
                    <a:gd name="T28" fmla="*/ 2147483647 w 47"/>
                    <a:gd name="T29" fmla="*/ 2147483647 h 47"/>
                    <a:gd name="T30" fmla="*/ 2147483647 w 47"/>
                    <a:gd name="T31" fmla="*/ 2147483647 h 47"/>
                    <a:gd name="T32" fmla="*/ 2147483647 w 47"/>
                    <a:gd name="T33" fmla="*/ 2147483647 h 47"/>
                    <a:gd name="T34" fmla="*/ 2147483647 w 47"/>
                    <a:gd name="T35" fmla="*/ 2147483647 h 47"/>
                    <a:gd name="T36" fmla="*/ 2147483647 w 47"/>
                    <a:gd name="T37" fmla="*/ 2147483647 h 47"/>
                    <a:gd name="T38" fmla="*/ 2147483647 w 47"/>
                    <a:gd name="T39" fmla="*/ 2147483647 h 47"/>
                    <a:gd name="T40" fmla="*/ 2147483647 w 47"/>
                    <a:gd name="T41" fmla="*/ 2147483647 h 47"/>
                    <a:gd name="T42" fmla="*/ 2147483647 w 47"/>
                    <a:gd name="T43" fmla="*/ 2147483647 h 47"/>
                    <a:gd name="T44" fmla="*/ 2147483647 w 47"/>
                    <a:gd name="T45" fmla="*/ 2147483647 h 47"/>
                    <a:gd name="T46" fmla="*/ 2147483647 w 47"/>
                    <a:gd name="T47" fmla="*/ 2147483647 h 47"/>
                    <a:gd name="T48" fmla="*/ 2147483647 w 47"/>
                    <a:gd name="T49" fmla="*/ 2147483647 h 47"/>
                    <a:gd name="T50" fmla="*/ 2147483647 w 47"/>
                    <a:gd name="T51" fmla="*/ 2147483647 h 47"/>
                    <a:gd name="T52" fmla="*/ 2147483647 w 47"/>
                    <a:gd name="T53" fmla="*/ 2147483647 h 47"/>
                    <a:gd name="T54" fmla="*/ 2147483647 w 47"/>
                    <a:gd name="T55" fmla="*/ 2147483647 h 47"/>
                    <a:gd name="T56" fmla="*/ 2147483647 w 47"/>
                    <a:gd name="T57" fmla="*/ 214748364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7"/>
                    <a:gd name="T88" fmla="*/ 0 h 47"/>
                    <a:gd name="T89" fmla="*/ 47 w 47"/>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7" h="47">
                      <a:moveTo>
                        <a:pt x="41" y="5"/>
                      </a:moveTo>
                      <a:lnTo>
                        <a:pt x="36" y="3"/>
                      </a:lnTo>
                      <a:lnTo>
                        <a:pt x="31" y="2"/>
                      </a:lnTo>
                      <a:lnTo>
                        <a:pt x="26" y="0"/>
                      </a:lnTo>
                      <a:lnTo>
                        <a:pt x="20" y="0"/>
                      </a:lnTo>
                      <a:lnTo>
                        <a:pt x="14" y="3"/>
                      </a:lnTo>
                      <a:lnTo>
                        <a:pt x="7" y="5"/>
                      </a:lnTo>
                      <a:lnTo>
                        <a:pt x="3" y="10"/>
                      </a:lnTo>
                      <a:lnTo>
                        <a:pt x="0" y="16"/>
                      </a:lnTo>
                      <a:lnTo>
                        <a:pt x="0" y="17"/>
                      </a:lnTo>
                      <a:lnTo>
                        <a:pt x="1" y="19"/>
                      </a:lnTo>
                      <a:lnTo>
                        <a:pt x="5" y="22"/>
                      </a:lnTo>
                      <a:lnTo>
                        <a:pt x="11" y="28"/>
                      </a:lnTo>
                      <a:lnTo>
                        <a:pt x="19" y="31"/>
                      </a:lnTo>
                      <a:lnTo>
                        <a:pt x="25" y="37"/>
                      </a:lnTo>
                      <a:lnTo>
                        <a:pt x="31" y="43"/>
                      </a:lnTo>
                      <a:lnTo>
                        <a:pt x="34" y="46"/>
                      </a:lnTo>
                      <a:lnTo>
                        <a:pt x="38" y="47"/>
                      </a:lnTo>
                      <a:lnTo>
                        <a:pt x="41" y="47"/>
                      </a:lnTo>
                      <a:lnTo>
                        <a:pt x="47" y="46"/>
                      </a:lnTo>
                      <a:lnTo>
                        <a:pt x="43" y="38"/>
                      </a:lnTo>
                      <a:lnTo>
                        <a:pt x="41" y="31"/>
                      </a:lnTo>
                      <a:lnTo>
                        <a:pt x="39" y="24"/>
                      </a:lnTo>
                      <a:lnTo>
                        <a:pt x="35" y="17"/>
                      </a:lnTo>
                      <a:lnTo>
                        <a:pt x="34" y="14"/>
                      </a:lnTo>
                      <a:lnTo>
                        <a:pt x="34" y="11"/>
                      </a:lnTo>
                      <a:lnTo>
                        <a:pt x="35" y="10"/>
                      </a:lnTo>
                      <a:lnTo>
                        <a:pt x="39" y="8"/>
                      </a:lnTo>
                      <a:lnTo>
                        <a:pt x="4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7" name="Freeform 644"/>
                <p:cNvSpPr>
                  <a:spLocks/>
                </p:cNvSpPr>
                <p:nvPr/>
              </p:nvSpPr>
              <p:spPr bwMode="auto">
                <a:xfrm>
                  <a:off x="5498724" y="3490699"/>
                  <a:ext cx="276736" cy="258977"/>
                </a:xfrm>
                <a:custGeom>
                  <a:avLst/>
                  <a:gdLst>
                    <a:gd name="T0" fmla="*/ 2147483647 w 202"/>
                    <a:gd name="T1" fmla="*/ 2147483647 h 175"/>
                    <a:gd name="T2" fmla="*/ 2147483647 w 202"/>
                    <a:gd name="T3" fmla="*/ 2147483647 h 175"/>
                    <a:gd name="T4" fmla="*/ 2147483647 w 202"/>
                    <a:gd name="T5" fmla="*/ 2147483647 h 175"/>
                    <a:gd name="T6" fmla="*/ 2147483647 w 202"/>
                    <a:gd name="T7" fmla="*/ 2147483647 h 175"/>
                    <a:gd name="T8" fmla="*/ 2147483647 w 202"/>
                    <a:gd name="T9" fmla="*/ 2147483647 h 175"/>
                    <a:gd name="T10" fmla="*/ 2147483647 w 202"/>
                    <a:gd name="T11" fmla="*/ 2147483647 h 175"/>
                    <a:gd name="T12" fmla="*/ 2147483647 w 202"/>
                    <a:gd name="T13" fmla="*/ 2147483647 h 175"/>
                    <a:gd name="T14" fmla="*/ 2147483647 w 202"/>
                    <a:gd name="T15" fmla="*/ 2147483647 h 175"/>
                    <a:gd name="T16" fmla="*/ 2147483647 w 202"/>
                    <a:gd name="T17" fmla="*/ 2147483647 h 175"/>
                    <a:gd name="T18" fmla="*/ 2147483647 w 202"/>
                    <a:gd name="T19" fmla="*/ 2147483647 h 175"/>
                    <a:gd name="T20" fmla="*/ 2147483647 w 202"/>
                    <a:gd name="T21" fmla="*/ 2147483647 h 175"/>
                    <a:gd name="T22" fmla="*/ 2147483647 w 202"/>
                    <a:gd name="T23" fmla="*/ 2147483647 h 175"/>
                    <a:gd name="T24" fmla="*/ 2147483647 w 202"/>
                    <a:gd name="T25" fmla="*/ 2147483647 h 175"/>
                    <a:gd name="T26" fmla="*/ 2147483647 w 202"/>
                    <a:gd name="T27" fmla="*/ 2147483647 h 175"/>
                    <a:gd name="T28" fmla="*/ 2147483647 w 202"/>
                    <a:gd name="T29" fmla="*/ 2147483647 h 175"/>
                    <a:gd name="T30" fmla="*/ 2147483647 w 202"/>
                    <a:gd name="T31" fmla="*/ 2147483647 h 175"/>
                    <a:gd name="T32" fmla="*/ 2147483647 w 202"/>
                    <a:gd name="T33" fmla="*/ 0 h 175"/>
                    <a:gd name="T34" fmla="*/ 2147483647 w 202"/>
                    <a:gd name="T35" fmla="*/ 2147483647 h 175"/>
                    <a:gd name="T36" fmla="*/ 2147483647 w 202"/>
                    <a:gd name="T37" fmla="*/ 2147483647 h 175"/>
                    <a:gd name="T38" fmla="*/ 2147483647 w 202"/>
                    <a:gd name="T39" fmla="*/ 2147483647 h 175"/>
                    <a:gd name="T40" fmla="*/ 2147483647 w 202"/>
                    <a:gd name="T41" fmla="*/ 2147483647 h 175"/>
                    <a:gd name="T42" fmla="*/ 2147483647 w 202"/>
                    <a:gd name="T43" fmla="*/ 2147483647 h 175"/>
                    <a:gd name="T44" fmla="*/ 2147483647 w 202"/>
                    <a:gd name="T45" fmla="*/ 2147483647 h 175"/>
                    <a:gd name="T46" fmla="*/ 2147483647 w 202"/>
                    <a:gd name="T47" fmla="*/ 2147483647 h 175"/>
                    <a:gd name="T48" fmla="*/ 2147483647 w 202"/>
                    <a:gd name="T49" fmla="*/ 2147483647 h 175"/>
                    <a:gd name="T50" fmla="*/ 2147483647 w 202"/>
                    <a:gd name="T51" fmla="*/ 2147483647 h 175"/>
                    <a:gd name="T52" fmla="*/ 2147483647 w 202"/>
                    <a:gd name="T53" fmla="*/ 2147483647 h 175"/>
                    <a:gd name="T54" fmla="*/ 2147483647 w 202"/>
                    <a:gd name="T55" fmla="*/ 2147483647 h 175"/>
                    <a:gd name="T56" fmla="*/ 2147483647 w 202"/>
                    <a:gd name="T57" fmla="*/ 2147483647 h 175"/>
                    <a:gd name="T58" fmla="*/ 2147483647 w 202"/>
                    <a:gd name="T59" fmla="*/ 2147483647 h 175"/>
                    <a:gd name="T60" fmla="*/ 2147483647 w 202"/>
                    <a:gd name="T61" fmla="*/ 2147483647 h 175"/>
                    <a:gd name="T62" fmla="*/ 2147483647 w 202"/>
                    <a:gd name="T63" fmla="*/ 2147483647 h 175"/>
                    <a:gd name="T64" fmla="*/ 2147483647 w 202"/>
                    <a:gd name="T65" fmla="*/ 2147483647 h 175"/>
                    <a:gd name="T66" fmla="*/ 2147483647 w 202"/>
                    <a:gd name="T67" fmla="*/ 2147483647 h 175"/>
                    <a:gd name="T68" fmla="*/ 2147483647 w 202"/>
                    <a:gd name="T69" fmla="*/ 2147483647 h 175"/>
                    <a:gd name="T70" fmla="*/ 2147483647 w 202"/>
                    <a:gd name="T71" fmla="*/ 2147483647 h 175"/>
                    <a:gd name="T72" fmla="*/ 2147483647 w 202"/>
                    <a:gd name="T73" fmla="*/ 2147483647 h 175"/>
                    <a:gd name="T74" fmla="*/ 2147483647 w 202"/>
                    <a:gd name="T75" fmla="*/ 2147483647 h 175"/>
                    <a:gd name="T76" fmla="*/ 2147483647 w 202"/>
                    <a:gd name="T77" fmla="*/ 2147483647 h 175"/>
                    <a:gd name="T78" fmla="*/ 2147483647 w 202"/>
                    <a:gd name="T79" fmla="*/ 2147483647 h 175"/>
                    <a:gd name="T80" fmla="*/ 2147483647 w 202"/>
                    <a:gd name="T81" fmla="*/ 2147483647 h 175"/>
                    <a:gd name="T82" fmla="*/ 2147483647 w 202"/>
                    <a:gd name="T83" fmla="*/ 2147483647 h 175"/>
                    <a:gd name="T84" fmla="*/ 2147483647 w 202"/>
                    <a:gd name="T85" fmla="*/ 2147483647 h 175"/>
                    <a:gd name="T86" fmla="*/ 2147483647 w 202"/>
                    <a:gd name="T87" fmla="*/ 2147483647 h 1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2"/>
                    <a:gd name="T133" fmla="*/ 0 h 175"/>
                    <a:gd name="T134" fmla="*/ 202 w 202"/>
                    <a:gd name="T135" fmla="*/ 175 h 1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2" h="175">
                      <a:moveTo>
                        <a:pt x="202" y="158"/>
                      </a:moveTo>
                      <a:lnTo>
                        <a:pt x="202" y="158"/>
                      </a:lnTo>
                      <a:lnTo>
                        <a:pt x="191" y="149"/>
                      </a:lnTo>
                      <a:lnTo>
                        <a:pt x="187" y="145"/>
                      </a:lnTo>
                      <a:lnTo>
                        <a:pt x="185" y="142"/>
                      </a:lnTo>
                      <a:lnTo>
                        <a:pt x="182" y="138"/>
                      </a:lnTo>
                      <a:lnTo>
                        <a:pt x="181" y="133"/>
                      </a:lnTo>
                      <a:lnTo>
                        <a:pt x="181" y="118"/>
                      </a:lnTo>
                      <a:lnTo>
                        <a:pt x="179" y="113"/>
                      </a:lnTo>
                      <a:lnTo>
                        <a:pt x="177" y="110"/>
                      </a:lnTo>
                      <a:lnTo>
                        <a:pt x="168" y="104"/>
                      </a:lnTo>
                      <a:lnTo>
                        <a:pt x="160" y="99"/>
                      </a:lnTo>
                      <a:lnTo>
                        <a:pt x="155" y="94"/>
                      </a:lnTo>
                      <a:lnTo>
                        <a:pt x="150" y="89"/>
                      </a:lnTo>
                      <a:lnTo>
                        <a:pt x="149" y="86"/>
                      </a:lnTo>
                      <a:lnTo>
                        <a:pt x="149" y="81"/>
                      </a:lnTo>
                      <a:lnTo>
                        <a:pt x="148" y="80"/>
                      </a:lnTo>
                      <a:lnTo>
                        <a:pt x="146" y="79"/>
                      </a:lnTo>
                      <a:lnTo>
                        <a:pt x="143" y="76"/>
                      </a:lnTo>
                      <a:lnTo>
                        <a:pt x="139" y="73"/>
                      </a:lnTo>
                      <a:lnTo>
                        <a:pt x="138" y="69"/>
                      </a:lnTo>
                      <a:lnTo>
                        <a:pt x="138" y="67"/>
                      </a:lnTo>
                      <a:lnTo>
                        <a:pt x="139" y="66"/>
                      </a:lnTo>
                      <a:lnTo>
                        <a:pt x="144" y="59"/>
                      </a:lnTo>
                      <a:lnTo>
                        <a:pt x="149" y="53"/>
                      </a:lnTo>
                      <a:lnTo>
                        <a:pt x="152" y="49"/>
                      </a:lnTo>
                      <a:lnTo>
                        <a:pt x="153" y="45"/>
                      </a:lnTo>
                      <a:lnTo>
                        <a:pt x="153" y="42"/>
                      </a:lnTo>
                      <a:lnTo>
                        <a:pt x="152" y="38"/>
                      </a:lnTo>
                      <a:lnTo>
                        <a:pt x="148" y="35"/>
                      </a:lnTo>
                      <a:lnTo>
                        <a:pt x="144" y="32"/>
                      </a:lnTo>
                      <a:lnTo>
                        <a:pt x="139" y="30"/>
                      </a:lnTo>
                      <a:lnTo>
                        <a:pt x="138" y="28"/>
                      </a:lnTo>
                      <a:lnTo>
                        <a:pt x="136" y="25"/>
                      </a:lnTo>
                      <a:lnTo>
                        <a:pt x="135" y="18"/>
                      </a:lnTo>
                      <a:lnTo>
                        <a:pt x="135" y="16"/>
                      </a:lnTo>
                      <a:lnTo>
                        <a:pt x="132" y="13"/>
                      </a:lnTo>
                      <a:lnTo>
                        <a:pt x="127" y="9"/>
                      </a:lnTo>
                      <a:lnTo>
                        <a:pt x="122" y="3"/>
                      </a:lnTo>
                      <a:lnTo>
                        <a:pt x="112" y="3"/>
                      </a:lnTo>
                      <a:lnTo>
                        <a:pt x="101" y="0"/>
                      </a:lnTo>
                      <a:lnTo>
                        <a:pt x="94" y="2"/>
                      </a:lnTo>
                      <a:lnTo>
                        <a:pt x="88" y="4"/>
                      </a:lnTo>
                      <a:lnTo>
                        <a:pt x="84" y="5"/>
                      </a:lnTo>
                      <a:lnTo>
                        <a:pt x="79" y="9"/>
                      </a:lnTo>
                      <a:lnTo>
                        <a:pt x="75" y="13"/>
                      </a:lnTo>
                      <a:lnTo>
                        <a:pt x="73" y="19"/>
                      </a:lnTo>
                      <a:lnTo>
                        <a:pt x="72" y="23"/>
                      </a:lnTo>
                      <a:lnTo>
                        <a:pt x="69" y="35"/>
                      </a:lnTo>
                      <a:lnTo>
                        <a:pt x="65" y="45"/>
                      </a:lnTo>
                      <a:lnTo>
                        <a:pt x="60" y="56"/>
                      </a:lnTo>
                      <a:lnTo>
                        <a:pt x="55" y="64"/>
                      </a:lnTo>
                      <a:lnTo>
                        <a:pt x="46" y="72"/>
                      </a:lnTo>
                      <a:lnTo>
                        <a:pt x="36" y="80"/>
                      </a:lnTo>
                      <a:lnTo>
                        <a:pt x="12" y="94"/>
                      </a:lnTo>
                      <a:lnTo>
                        <a:pt x="6" y="99"/>
                      </a:lnTo>
                      <a:lnTo>
                        <a:pt x="0" y="105"/>
                      </a:lnTo>
                      <a:lnTo>
                        <a:pt x="6" y="111"/>
                      </a:lnTo>
                      <a:lnTo>
                        <a:pt x="9" y="117"/>
                      </a:lnTo>
                      <a:lnTo>
                        <a:pt x="17" y="130"/>
                      </a:lnTo>
                      <a:lnTo>
                        <a:pt x="22" y="130"/>
                      </a:lnTo>
                      <a:lnTo>
                        <a:pt x="26" y="131"/>
                      </a:lnTo>
                      <a:lnTo>
                        <a:pt x="36" y="133"/>
                      </a:lnTo>
                      <a:lnTo>
                        <a:pt x="46" y="134"/>
                      </a:lnTo>
                      <a:lnTo>
                        <a:pt x="54" y="137"/>
                      </a:lnTo>
                      <a:lnTo>
                        <a:pt x="61" y="140"/>
                      </a:lnTo>
                      <a:lnTo>
                        <a:pt x="68" y="144"/>
                      </a:lnTo>
                      <a:lnTo>
                        <a:pt x="75" y="146"/>
                      </a:lnTo>
                      <a:lnTo>
                        <a:pt x="82" y="147"/>
                      </a:lnTo>
                      <a:lnTo>
                        <a:pt x="89" y="151"/>
                      </a:lnTo>
                      <a:lnTo>
                        <a:pt x="92" y="155"/>
                      </a:lnTo>
                      <a:lnTo>
                        <a:pt x="93" y="156"/>
                      </a:lnTo>
                      <a:lnTo>
                        <a:pt x="94" y="157"/>
                      </a:lnTo>
                      <a:lnTo>
                        <a:pt x="99" y="156"/>
                      </a:lnTo>
                      <a:lnTo>
                        <a:pt x="102" y="156"/>
                      </a:lnTo>
                      <a:lnTo>
                        <a:pt x="103" y="156"/>
                      </a:lnTo>
                      <a:lnTo>
                        <a:pt x="105" y="159"/>
                      </a:lnTo>
                      <a:lnTo>
                        <a:pt x="106" y="163"/>
                      </a:lnTo>
                      <a:lnTo>
                        <a:pt x="106" y="165"/>
                      </a:lnTo>
                      <a:lnTo>
                        <a:pt x="107" y="168"/>
                      </a:lnTo>
                      <a:lnTo>
                        <a:pt x="111" y="169"/>
                      </a:lnTo>
                      <a:lnTo>
                        <a:pt x="116" y="168"/>
                      </a:lnTo>
                      <a:lnTo>
                        <a:pt x="120" y="168"/>
                      </a:lnTo>
                      <a:lnTo>
                        <a:pt x="125" y="168"/>
                      </a:lnTo>
                      <a:lnTo>
                        <a:pt x="131" y="168"/>
                      </a:lnTo>
                      <a:lnTo>
                        <a:pt x="138" y="170"/>
                      </a:lnTo>
                      <a:lnTo>
                        <a:pt x="150" y="175"/>
                      </a:lnTo>
                      <a:lnTo>
                        <a:pt x="154" y="169"/>
                      </a:lnTo>
                      <a:lnTo>
                        <a:pt x="158" y="164"/>
                      </a:lnTo>
                      <a:lnTo>
                        <a:pt x="164" y="162"/>
                      </a:lnTo>
                      <a:lnTo>
                        <a:pt x="171" y="159"/>
                      </a:lnTo>
                      <a:lnTo>
                        <a:pt x="177" y="159"/>
                      </a:lnTo>
                      <a:lnTo>
                        <a:pt x="182" y="160"/>
                      </a:lnTo>
                      <a:lnTo>
                        <a:pt x="187" y="162"/>
                      </a:lnTo>
                      <a:lnTo>
                        <a:pt x="192" y="164"/>
                      </a:lnTo>
                      <a:lnTo>
                        <a:pt x="193" y="162"/>
                      </a:lnTo>
                      <a:lnTo>
                        <a:pt x="195" y="162"/>
                      </a:lnTo>
                      <a:lnTo>
                        <a:pt x="197" y="162"/>
                      </a:lnTo>
                      <a:lnTo>
                        <a:pt x="199" y="162"/>
                      </a:lnTo>
                      <a:lnTo>
                        <a:pt x="200" y="162"/>
                      </a:lnTo>
                      <a:lnTo>
                        <a:pt x="202" y="15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8" name="Freeform 645"/>
                <p:cNvSpPr>
                  <a:spLocks/>
                </p:cNvSpPr>
                <p:nvPr/>
              </p:nvSpPr>
              <p:spPr bwMode="auto">
                <a:xfrm>
                  <a:off x="5704426" y="3726001"/>
                  <a:ext cx="63635" cy="69554"/>
                </a:xfrm>
                <a:custGeom>
                  <a:avLst/>
                  <a:gdLst>
                    <a:gd name="T0" fmla="*/ 2147483647 w 47"/>
                    <a:gd name="T1" fmla="*/ 2147483647 h 47"/>
                    <a:gd name="T2" fmla="*/ 2147483647 w 47"/>
                    <a:gd name="T3" fmla="*/ 2147483647 h 47"/>
                    <a:gd name="T4" fmla="*/ 2147483647 w 47"/>
                    <a:gd name="T5" fmla="*/ 2147483647 h 47"/>
                    <a:gd name="T6" fmla="*/ 2147483647 w 47"/>
                    <a:gd name="T7" fmla="*/ 2147483647 h 47"/>
                    <a:gd name="T8" fmla="*/ 2147483647 w 47"/>
                    <a:gd name="T9" fmla="*/ 0 h 47"/>
                    <a:gd name="T10" fmla="*/ 2147483647 w 47"/>
                    <a:gd name="T11" fmla="*/ 0 h 47"/>
                    <a:gd name="T12" fmla="*/ 2147483647 w 47"/>
                    <a:gd name="T13" fmla="*/ 0 h 47"/>
                    <a:gd name="T14" fmla="*/ 2147483647 w 47"/>
                    <a:gd name="T15" fmla="*/ 2147483647 h 47"/>
                    <a:gd name="T16" fmla="*/ 2147483647 w 47"/>
                    <a:gd name="T17" fmla="*/ 2147483647 h 47"/>
                    <a:gd name="T18" fmla="*/ 2147483647 w 47"/>
                    <a:gd name="T19" fmla="*/ 2147483647 h 47"/>
                    <a:gd name="T20" fmla="*/ 0 w 47"/>
                    <a:gd name="T21" fmla="*/ 2147483647 h 47"/>
                    <a:gd name="T22" fmla="*/ 0 w 47"/>
                    <a:gd name="T23" fmla="*/ 2147483647 h 47"/>
                    <a:gd name="T24" fmla="*/ 0 w 47"/>
                    <a:gd name="T25" fmla="*/ 2147483647 h 47"/>
                    <a:gd name="T26" fmla="*/ 2147483647 w 47"/>
                    <a:gd name="T27" fmla="*/ 2147483647 h 47"/>
                    <a:gd name="T28" fmla="*/ 2147483647 w 47"/>
                    <a:gd name="T29" fmla="*/ 2147483647 h 47"/>
                    <a:gd name="T30" fmla="*/ 2147483647 w 47"/>
                    <a:gd name="T31" fmla="*/ 2147483647 h 47"/>
                    <a:gd name="T32" fmla="*/ 2147483647 w 47"/>
                    <a:gd name="T33" fmla="*/ 2147483647 h 47"/>
                    <a:gd name="T34" fmla="*/ 2147483647 w 47"/>
                    <a:gd name="T35" fmla="*/ 2147483647 h 47"/>
                    <a:gd name="T36" fmla="*/ 2147483647 w 47"/>
                    <a:gd name="T37" fmla="*/ 2147483647 h 47"/>
                    <a:gd name="T38" fmla="*/ 2147483647 w 47"/>
                    <a:gd name="T39" fmla="*/ 2147483647 h 47"/>
                    <a:gd name="T40" fmla="*/ 2147483647 w 47"/>
                    <a:gd name="T41" fmla="*/ 2147483647 h 47"/>
                    <a:gd name="T42" fmla="*/ 2147483647 w 47"/>
                    <a:gd name="T43" fmla="*/ 2147483647 h 47"/>
                    <a:gd name="T44" fmla="*/ 2147483647 w 47"/>
                    <a:gd name="T45" fmla="*/ 2147483647 h 47"/>
                    <a:gd name="T46" fmla="*/ 2147483647 w 47"/>
                    <a:gd name="T47" fmla="*/ 2147483647 h 47"/>
                    <a:gd name="T48" fmla="*/ 2147483647 w 47"/>
                    <a:gd name="T49" fmla="*/ 2147483647 h 47"/>
                    <a:gd name="T50" fmla="*/ 2147483647 w 47"/>
                    <a:gd name="T51" fmla="*/ 2147483647 h 47"/>
                    <a:gd name="T52" fmla="*/ 2147483647 w 47"/>
                    <a:gd name="T53" fmla="*/ 2147483647 h 47"/>
                    <a:gd name="T54" fmla="*/ 2147483647 w 47"/>
                    <a:gd name="T55" fmla="*/ 2147483647 h 47"/>
                    <a:gd name="T56" fmla="*/ 2147483647 w 47"/>
                    <a:gd name="T57" fmla="*/ 2147483647 h 47"/>
                    <a:gd name="T58" fmla="*/ 2147483647 w 47"/>
                    <a:gd name="T59" fmla="*/ 2147483647 h 47"/>
                    <a:gd name="T60" fmla="*/ 2147483647 w 47"/>
                    <a:gd name="T61" fmla="*/ 2147483647 h 47"/>
                    <a:gd name="T62" fmla="*/ 2147483647 w 47"/>
                    <a:gd name="T63" fmla="*/ 2147483647 h 47"/>
                    <a:gd name="T64" fmla="*/ 2147483647 w 47"/>
                    <a:gd name="T65" fmla="*/ 2147483647 h 47"/>
                    <a:gd name="T66" fmla="*/ 2147483647 w 47"/>
                    <a:gd name="T67" fmla="*/ 2147483647 h 47"/>
                    <a:gd name="T68" fmla="*/ 2147483647 w 47"/>
                    <a:gd name="T69" fmla="*/ 2147483647 h 47"/>
                    <a:gd name="T70" fmla="*/ 2147483647 w 47"/>
                    <a:gd name="T71" fmla="*/ 2147483647 h 47"/>
                    <a:gd name="T72" fmla="*/ 2147483647 w 47"/>
                    <a:gd name="T73" fmla="*/ 2147483647 h 47"/>
                    <a:gd name="T74" fmla="*/ 2147483647 w 47"/>
                    <a:gd name="T75" fmla="*/ 2147483647 h 47"/>
                    <a:gd name="T76" fmla="*/ 2147483647 w 47"/>
                    <a:gd name="T77" fmla="*/ 2147483647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47"/>
                    <a:gd name="T119" fmla="*/ 47 w 47"/>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47">
                      <a:moveTo>
                        <a:pt x="42" y="5"/>
                      </a:moveTo>
                      <a:lnTo>
                        <a:pt x="42" y="5"/>
                      </a:lnTo>
                      <a:lnTo>
                        <a:pt x="37" y="3"/>
                      </a:lnTo>
                      <a:lnTo>
                        <a:pt x="32" y="1"/>
                      </a:lnTo>
                      <a:lnTo>
                        <a:pt x="27" y="0"/>
                      </a:lnTo>
                      <a:lnTo>
                        <a:pt x="21" y="0"/>
                      </a:lnTo>
                      <a:lnTo>
                        <a:pt x="14" y="3"/>
                      </a:lnTo>
                      <a:lnTo>
                        <a:pt x="8" y="5"/>
                      </a:lnTo>
                      <a:lnTo>
                        <a:pt x="4" y="10"/>
                      </a:lnTo>
                      <a:lnTo>
                        <a:pt x="0" y="16"/>
                      </a:lnTo>
                      <a:lnTo>
                        <a:pt x="0" y="17"/>
                      </a:lnTo>
                      <a:lnTo>
                        <a:pt x="2" y="19"/>
                      </a:lnTo>
                      <a:lnTo>
                        <a:pt x="5" y="22"/>
                      </a:lnTo>
                      <a:lnTo>
                        <a:pt x="12" y="28"/>
                      </a:lnTo>
                      <a:lnTo>
                        <a:pt x="19" y="31"/>
                      </a:lnTo>
                      <a:lnTo>
                        <a:pt x="26" y="37"/>
                      </a:lnTo>
                      <a:lnTo>
                        <a:pt x="32" y="43"/>
                      </a:lnTo>
                      <a:lnTo>
                        <a:pt x="35" y="45"/>
                      </a:lnTo>
                      <a:lnTo>
                        <a:pt x="38" y="47"/>
                      </a:lnTo>
                      <a:lnTo>
                        <a:pt x="42" y="47"/>
                      </a:lnTo>
                      <a:lnTo>
                        <a:pt x="47" y="45"/>
                      </a:lnTo>
                      <a:lnTo>
                        <a:pt x="43" y="38"/>
                      </a:lnTo>
                      <a:lnTo>
                        <a:pt x="42" y="31"/>
                      </a:lnTo>
                      <a:lnTo>
                        <a:pt x="40" y="24"/>
                      </a:lnTo>
                      <a:lnTo>
                        <a:pt x="36" y="17"/>
                      </a:lnTo>
                      <a:lnTo>
                        <a:pt x="35" y="13"/>
                      </a:lnTo>
                      <a:lnTo>
                        <a:pt x="35" y="11"/>
                      </a:lnTo>
                      <a:lnTo>
                        <a:pt x="36" y="10"/>
                      </a:lnTo>
                      <a:lnTo>
                        <a:pt x="40" y="7"/>
                      </a:lnTo>
                      <a:lnTo>
                        <a:pt x="42"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89" name="Freeform 646"/>
                <p:cNvSpPr>
                  <a:spLocks/>
                </p:cNvSpPr>
                <p:nvPr/>
              </p:nvSpPr>
              <p:spPr bwMode="auto">
                <a:xfrm>
                  <a:off x="5812461" y="3838471"/>
                  <a:ext cx="25157" cy="47356"/>
                </a:xfrm>
                <a:custGeom>
                  <a:avLst/>
                  <a:gdLst>
                    <a:gd name="T0" fmla="*/ 2147483647 w 19"/>
                    <a:gd name="T1" fmla="*/ 2147483647 h 32"/>
                    <a:gd name="T2" fmla="*/ 2147483647 w 19"/>
                    <a:gd name="T3" fmla="*/ 2147483647 h 32"/>
                    <a:gd name="T4" fmla="*/ 2147483647 w 19"/>
                    <a:gd name="T5" fmla="*/ 2147483647 h 32"/>
                    <a:gd name="T6" fmla="*/ 0 w 19"/>
                    <a:gd name="T7" fmla="*/ 2147483647 h 32"/>
                    <a:gd name="T8" fmla="*/ 2147483647 w 19"/>
                    <a:gd name="T9" fmla="*/ 2147483647 h 32"/>
                    <a:gd name="T10" fmla="*/ 2147483647 w 19"/>
                    <a:gd name="T11" fmla="*/ 2147483647 h 32"/>
                    <a:gd name="T12" fmla="*/ 2147483647 w 19"/>
                    <a:gd name="T13" fmla="*/ 2147483647 h 32"/>
                    <a:gd name="T14" fmla="*/ 2147483647 w 19"/>
                    <a:gd name="T15" fmla="*/ 2147483647 h 32"/>
                    <a:gd name="T16" fmla="*/ 2147483647 w 19"/>
                    <a:gd name="T17" fmla="*/ 2147483647 h 32"/>
                    <a:gd name="T18" fmla="*/ 2147483647 w 19"/>
                    <a:gd name="T19" fmla="*/ 2147483647 h 32"/>
                    <a:gd name="T20" fmla="*/ 2147483647 w 19"/>
                    <a:gd name="T21" fmla="*/ 2147483647 h 32"/>
                    <a:gd name="T22" fmla="*/ 2147483647 w 19"/>
                    <a:gd name="T23" fmla="*/ 2147483647 h 32"/>
                    <a:gd name="T24" fmla="*/ 2147483647 w 19"/>
                    <a:gd name="T25" fmla="*/ 2147483647 h 32"/>
                    <a:gd name="T26" fmla="*/ 2147483647 w 19"/>
                    <a:gd name="T27" fmla="*/ 0 h 32"/>
                    <a:gd name="T28" fmla="*/ 2147483647 w 19"/>
                    <a:gd name="T29" fmla="*/ 2147483647 h 32"/>
                    <a:gd name="T30" fmla="*/ 2147483647 w 19"/>
                    <a:gd name="T31" fmla="*/ 2147483647 h 32"/>
                    <a:gd name="T32" fmla="*/ 2147483647 w 19"/>
                    <a:gd name="T33" fmla="*/ 2147483647 h 32"/>
                    <a:gd name="T34" fmla="*/ 2147483647 w 19"/>
                    <a:gd name="T35" fmla="*/ 2147483647 h 32"/>
                    <a:gd name="T36" fmla="*/ 2147483647 w 19"/>
                    <a:gd name="T37" fmla="*/ 2147483647 h 32"/>
                    <a:gd name="T38" fmla="*/ 2147483647 w 19"/>
                    <a:gd name="T39" fmla="*/ 2147483647 h 32"/>
                    <a:gd name="T40" fmla="*/ 2147483647 w 19"/>
                    <a:gd name="T41" fmla="*/ 2147483647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32"/>
                    <a:gd name="T65" fmla="*/ 19 w 19"/>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32">
                      <a:moveTo>
                        <a:pt x="15" y="32"/>
                      </a:moveTo>
                      <a:lnTo>
                        <a:pt x="10" y="32"/>
                      </a:lnTo>
                      <a:lnTo>
                        <a:pt x="5" y="30"/>
                      </a:lnTo>
                      <a:lnTo>
                        <a:pt x="0" y="25"/>
                      </a:lnTo>
                      <a:lnTo>
                        <a:pt x="3" y="23"/>
                      </a:lnTo>
                      <a:lnTo>
                        <a:pt x="3" y="19"/>
                      </a:lnTo>
                      <a:lnTo>
                        <a:pt x="4" y="17"/>
                      </a:lnTo>
                      <a:lnTo>
                        <a:pt x="6" y="14"/>
                      </a:lnTo>
                      <a:lnTo>
                        <a:pt x="8" y="12"/>
                      </a:lnTo>
                      <a:lnTo>
                        <a:pt x="8" y="10"/>
                      </a:lnTo>
                      <a:lnTo>
                        <a:pt x="8" y="6"/>
                      </a:lnTo>
                      <a:lnTo>
                        <a:pt x="8" y="4"/>
                      </a:lnTo>
                      <a:lnTo>
                        <a:pt x="9" y="1"/>
                      </a:lnTo>
                      <a:lnTo>
                        <a:pt x="10" y="0"/>
                      </a:lnTo>
                      <a:lnTo>
                        <a:pt x="11" y="1"/>
                      </a:lnTo>
                      <a:lnTo>
                        <a:pt x="15" y="6"/>
                      </a:lnTo>
                      <a:lnTo>
                        <a:pt x="18" y="12"/>
                      </a:lnTo>
                      <a:lnTo>
                        <a:pt x="19" y="19"/>
                      </a:lnTo>
                      <a:lnTo>
                        <a:pt x="19" y="25"/>
                      </a:lnTo>
                      <a:lnTo>
                        <a:pt x="17" y="29"/>
                      </a:lnTo>
                      <a:lnTo>
                        <a:pt x="15"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0" name="Freeform 647"/>
                <p:cNvSpPr>
                  <a:spLocks/>
                </p:cNvSpPr>
                <p:nvPr/>
              </p:nvSpPr>
              <p:spPr bwMode="auto">
                <a:xfrm>
                  <a:off x="5808017" y="3839950"/>
                  <a:ext cx="7400" cy="13319"/>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0 w 6"/>
                    <a:gd name="T9" fmla="*/ 2147483647 h 9"/>
                    <a:gd name="T10" fmla="*/ 0 w 6"/>
                    <a:gd name="T11" fmla="*/ 2147483647 h 9"/>
                    <a:gd name="T12" fmla="*/ 2147483647 w 6"/>
                    <a:gd name="T13" fmla="*/ 0 h 9"/>
                    <a:gd name="T14" fmla="*/ 2147483647 w 6"/>
                    <a:gd name="T15" fmla="*/ 2147483647 h 9"/>
                    <a:gd name="T16" fmla="*/ 2147483647 w 6"/>
                    <a:gd name="T17" fmla="*/ 2147483647 h 9"/>
                    <a:gd name="T18" fmla="*/ 2147483647 w 6"/>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9"/>
                    <a:gd name="T32" fmla="*/ 6 w 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9">
                      <a:moveTo>
                        <a:pt x="6" y="6"/>
                      </a:moveTo>
                      <a:lnTo>
                        <a:pt x="6" y="9"/>
                      </a:lnTo>
                      <a:lnTo>
                        <a:pt x="4" y="9"/>
                      </a:lnTo>
                      <a:lnTo>
                        <a:pt x="3" y="9"/>
                      </a:lnTo>
                      <a:lnTo>
                        <a:pt x="0" y="7"/>
                      </a:lnTo>
                      <a:lnTo>
                        <a:pt x="0" y="5"/>
                      </a:lnTo>
                      <a:lnTo>
                        <a:pt x="4" y="0"/>
                      </a:lnTo>
                      <a:lnTo>
                        <a:pt x="6" y="2"/>
                      </a:lnTo>
                      <a:lnTo>
                        <a:pt x="6" y="3"/>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1" name="Freeform 648"/>
                <p:cNvSpPr>
                  <a:spLocks/>
                </p:cNvSpPr>
                <p:nvPr/>
              </p:nvSpPr>
              <p:spPr bwMode="auto">
                <a:xfrm>
                  <a:off x="5810979" y="3836990"/>
                  <a:ext cx="25158" cy="47356"/>
                </a:xfrm>
                <a:custGeom>
                  <a:avLst/>
                  <a:gdLst>
                    <a:gd name="T0" fmla="*/ 2147483647 w 19"/>
                    <a:gd name="T1" fmla="*/ 2147483647 h 32"/>
                    <a:gd name="T2" fmla="*/ 2147483647 w 19"/>
                    <a:gd name="T3" fmla="*/ 2147483647 h 32"/>
                    <a:gd name="T4" fmla="*/ 2147483647 w 19"/>
                    <a:gd name="T5" fmla="*/ 2147483647 h 32"/>
                    <a:gd name="T6" fmla="*/ 2147483647 w 19"/>
                    <a:gd name="T7" fmla="*/ 2147483647 h 32"/>
                    <a:gd name="T8" fmla="*/ 2147483647 w 19"/>
                    <a:gd name="T9" fmla="*/ 2147483647 h 32"/>
                    <a:gd name="T10" fmla="*/ 0 w 19"/>
                    <a:gd name="T11" fmla="*/ 2147483647 h 32"/>
                    <a:gd name="T12" fmla="*/ 0 w 19"/>
                    <a:gd name="T13" fmla="*/ 2147483647 h 32"/>
                    <a:gd name="T14" fmla="*/ 2147483647 w 19"/>
                    <a:gd name="T15" fmla="*/ 2147483647 h 32"/>
                    <a:gd name="T16" fmla="*/ 2147483647 w 19"/>
                    <a:gd name="T17" fmla="*/ 2147483647 h 32"/>
                    <a:gd name="T18" fmla="*/ 2147483647 w 19"/>
                    <a:gd name="T19" fmla="*/ 2147483647 h 32"/>
                    <a:gd name="T20" fmla="*/ 2147483647 w 19"/>
                    <a:gd name="T21" fmla="*/ 2147483647 h 32"/>
                    <a:gd name="T22" fmla="*/ 2147483647 w 19"/>
                    <a:gd name="T23" fmla="*/ 2147483647 h 32"/>
                    <a:gd name="T24" fmla="*/ 2147483647 w 19"/>
                    <a:gd name="T25" fmla="*/ 2147483647 h 32"/>
                    <a:gd name="T26" fmla="*/ 2147483647 w 19"/>
                    <a:gd name="T27" fmla="*/ 2147483647 h 32"/>
                    <a:gd name="T28" fmla="*/ 2147483647 w 19"/>
                    <a:gd name="T29" fmla="*/ 2147483647 h 32"/>
                    <a:gd name="T30" fmla="*/ 2147483647 w 19"/>
                    <a:gd name="T31" fmla="*/ 2147483647 h 32"/>
                    <a:gd name="T32" fmla="*/ 2147483647 w 19"/>
                    <a:gd name="T33" fmla="*/ 2147483647 h 32"/>
                    <a:gd name="T34" fmla="*/ 2147483647 w 19"/>
                    <a:gd name="T35" fmla="*/ 2147483647 h 32"/>
                    <a:gd name="T36" fmla="*/ 2147483647 w 19"/>
                    <a:gd name="T37" fmla="*/ 0 h 32"/>
                    <a:gd name="T38" fmla="*/ 2147483647 w 19"/>
                    <a:gd name="T39" fmla="*/ 2147483647 h 32"/>
                    <a:gd name="T40" fmla="*/ 2147483647 w 19"/>
                    <a:gd name="T41" fmla="*/ 2147483647 h 32"/>
                    <a:gd name="T42" fmla="*/ 2147483647 w 19"/>
                    <a:gd name="T43" fmla="*/ 2147483647 h 32"/>
                    <a:gd name="T44" fmla="*/ 2147483647 w 19"/>
                    <a:gd name="T45" fmla="*/ 2147483647 h 32"/>
                    <a:gd name="T46" fmla="*/ 2147483647 w 19"/>
                    <a:gd name="T47" fmla="*/ 2147483647 h 32"/>
                    <a:gd name="T48" fmla="*/ 2147483647 w 19"/>
                    <a:gd name="T49" fmla="*/ 2147483647 h 32"/>
                    <a:gd name="T50" fmla="*/ 2147483647 w 19"/>
                    <a:gd name="T51" fmla="*/ 2147483647 h 32"/>
                    <a:gd name="T52" fmla="*/ 2147483647 w 19"/>
                    <a:gd name="T53" fmla="*/ 2147483647 h 32"/>
                    <a:gd name="T54" fmla="*/ 2147483647 w 19"/>
                    <a:gd name="T55" fmla="*/ 2147483647 h 32"/>
                    <a:gd name="T56" fmla="*/ 2147483647 w 19"/>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
                    <a:gd name="T88" fmla="*/ 0 h 32"/>
                    <a:gd name="T89" fmla="*/ 19 w 19"/>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 h="32">
                      <a:moveTo>
                        <a:pt x="15" y="32"/>
                      </a:moveTo>
                      <a:lnTo>
                        <a:pt x="15" y="32"/>
                      </a:lnTo>
                      <a:lnTo>
                        <a:pt x="10" y="32"/>
                      </a:lnTo>
                      <a:lnTo>
                        <a:pt x="5" y="30"/>
                      </a:lnTo>
                      <a:lnTo>
                        <a:pt x="0" y="25"/>
                      </a:lnTo>
                      <a:lnTo>
                        <a:pt x="2" y="23"/>
                      </a:lnTo>
                      <a:lnTo>
                        <a:pt x="2" y="19"/>
                      </a:lnTo>
                      <a:lnTo>
                        <a:pt x="4" y="17"/>
                      </a:lnTo>
                      <a:lnTo>
                        <a:pt x="6" y="14"/>
                      </a:lnTo>
                      <a:lnTo>
                        <a:pt x="7" y="12"/>
                      </a:lnTo>
                      <a:lnTo>
                        <a:pt x="7" y="9"/>
                      </a:lnTo>
                      <a:lnTo>
                        <a:pt x="7" y="6"/>
                      </a:lnTo>
                      <a:lnTo>
                        <a:pt x="7" y="4"/>
                      </a:lnTo>
                      <a:lnTo>
                        <a:pt x="9" y="1"/>
                      </a:lnTo>
                      <a:lnTo>
                        <a:pt x="10" y="0"/>
                      </a:lnTo>
                      <a:lnTo>
                        <a:pt x="11" y="1"/>
                      </a:lnTo>
                      <a:lnTo>
                        <a:pt x="15" y="6"/>
                      </a:lnTo>
                      <a:lnTo>
                        <a:pt x="18" y="12"/>
                      </a:lnTo>
                      <a:lnTo>
                        <a:pt x="19" y="19"/>
                      </a:lnTo>
                      <a:lnTo>
                        <a:pt x="19" y="25"/>
                      </a:lnTo>
                      <a:lnTo>
                        <a:pt x="16" y="28"/>
                      </a:lnTo>
                      <a:lnTo>
                        <a:pt x="15"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2" name="Freeform 649"/>
                <p:cNvSpPr>
                  <a:spLocks/>
                </p:cNvSpPr>
                <p:nvPr/>
              </p:nvSpPr>
              <p:spPr bwMode="auto">
                <a:xfrm>
                  <a:off x="5806541" y="3838469"/>
                  <a:ext cx="7399" cy="11839"/>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2147483647 h 8"/>
                    <a:gd name="T10" fmla="*/ 2147483647 w 5"/>
                    <a:gd name="T11" fmla="*/ 2147483647 h 8"/>
                    <a:gd name="T12" fmla="*/ 0 w 5"/>
                    <a:gd name="T13" fmla="*/ 2147483647 h 8"/>
                    <a:gd name="T14" fmla="*/ 0 w 5"/>
                    <a:gd name="T15" fmla="*/ 2147483647 h 8"/>
                    <a:gd name="T16" fmla="*/ 2147483647 w 5"/>
                    <a:gd name="T17" fmla="*/ 0 h 8"/>
                    <a:gd name="T18" fmla="*/ 2147483647 w 5"/>
                    <a:gd name="T19" fmla="*/ 0 h 8"/>
                    <a:gd name="T20" fmla="*/ 2147483647 w 5"/>
                    <a:gd name="T21" fmla="*/ 2147483647 h 8"/>
                    <a:gd name="T22" fmla="*/ 2147483647 w 5"/>
                    <a:gd name="T23" fmla="*/ 2147483647 h 8"/>
                    <a:gd name="T24" fmla="*/ 2147483647 w 5"/>
                    <a:gd name="T25" fmla="*/ 2147483647 h 8"/>
                    <a:gd name="T26" fmla="*/ 2147483647 w 5"/>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8"/>
                    <a:gd name="T44" fmla="*/ 5 w 5"/>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8">
                      <a:moveTo>
                        <a:pt x="5" y="6"/>
                      </a:moveTo>
                      <a:lnTo>
                        <a:pt x="5" y="6"/>
                      </a:lnTo>
                      <a:lnTo>
                        <a:pt x="5" y="8"/>
                      </a:lnTo>
                      <a:lnTo>
                        <a:pt x="4" y="8"/>
                      </a:lnTo>
                      <a:lnTo>
                        <a:pt x="3" y="8"/>
                      </a:lnTo>
                      <a:lnTo>
                        <a:pt x="0" y="7"/>
                      </a:lnTo>
                      <a:lnTo>
                        <a:pt x="0" y="5"/>
                      </a:lnTo>
                      <a:lnTo>
                        <a:pt x="4" y="0"/>
                      </a:lnTo>
                      <a:lnTo>
                        <a:pt x="5" y="1"/>
                      </a:lnTo>
                      <a:lnTo>
                        <a:pt x="5" y="3"/>
                      </a:lnTo>
                      <a:lnTo>
                        <a:pt x="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3" name="Freeform 650"/>
                <p:cNvSpPr>
                  <a:spLocks/>
                </p:cNvSpPr>
                <p:nvPr/>
              </p:nvSpPr>
              <p:spPr bwMode="auto">
                <a:xfrm>
                  <a:off x="5441012" y="3684566"/>
                  <a:ext cx="494277" cy="454321"/>
                </a:xfrm>
                <a:custGeom>
                  <a:avLst/>
                  <a:gdLst>
                    <a:gd name="T0" fmla="*/ 2147483647 w 362"/>
                    <a:gd name="T1" fmla="*/ 2147483647 h 307"/>
                    <a:gd name="T2" fmla="*/ 2147483647 w 362"/>
                    <a:gd name="T3" fmla="*/ 2147483647 h 307"/>
                    <a:gd name="T4" fmla="*/ 2147483647 w 362"/>
                    <a:gd name="T5" fmla="*/ 2147483647 h 307"/>
                    <a:gd name="T6" fmla="*/ 2147483647 w 362"/>
                    <a:gd name="T7" fmla="*/ 2147483647 h 307"/>
                    <a:gd name="T8" fmla="*/ 2147483647 w 362"/>
                    <a:gd name="T9" fmla="*/ 2147483647 h 307"/>
                    <a:gd name="T10" fmla="*/ 2147483647 w 362"/>
                    <a:gd name="T11" fmla="*/ 2147483647 h 307"/>
                    <a:gd name="T12" fmla="*/ 2147483647 w 362"/>
                    <a:gd name="T13" fmla="*/ 2147483647 h 307"/>
                    <a:gd name="T14" fmla="*/ 2147483647 w 362"/>
                    <a:gd name="T15" fmla="*/ 2147483647 h 307"/>
                    <a:gd name="T16" fmla="*/ 2147483647 w 362"/>
                    <a:gd name="T17" fmla="*/ 2147483647 h 307"/>
                    <a:gd name="T18" fmla="*/ 2147483647 w 362"/>
                    <a:gd name="T19" fmla="*/ 2147483647 h 307"/>
                    <a:gd name="T20" fmla="*/ 2147483647 w 362"/>
                    <a:gd name="T21" fmla="*/ 2147483647 h 307"/>
                    <a:gd name="T22" fmla="*/ 2147483647 w 362"/>
                    <a:gd name="T23" fmla="*/ 2147483647 h 307"/>
                    <a:gd name="T24" fmla="*/ 2147483647 w 362"/>
                    <a:gd name="T25" fmla="*/ 0 h 307"/>
                    <a:gd name="T26" fmla="*/ 2147483647 w 362"/>
                    <a:gd name="T27" fmla="*/ 2147483647 h 307"/>
                    <a:gd name="T28" fmla="*/ 2147483647 w 362"/>
                    <a:gd name="T29" fmla="*/ 2147483647 h 307"/>
                    <a:gd name="T30" fmla="*/ 2147483647 w 362"/>
                    <a:gd name="T31" fmla="*/ 2147483647 h 307"/>
                    <a:gd name="T32" fmla="*/ 2147483647 w 362"/>
                    <a:gd name="T33" fmla="*/ 2147483647 h 307"/>
                    <a:gd name="T34" fmla="*/ 2147483647 w 362"/>
                    <a:gd name="T35" fmla="*/ 2147483647 h 307"/>
                    <a:gd name="T36" fmla="*/ 2147483647 w 362"/>
                    <a:gd name="T37" fmla="*/ 2147483647 h 307"/>
                    <a:gd name="T38" fmla="*/ 2147483647 w 362"/>
                    <a:gd name="T39" fmla="*/ 2147483647 h 307"/>
                    <a:gd name="T40" fmla="*/ 2147483647 w 362"/>
                    <a:gd name="T41" fmla="*/ 2147483647 h 307"/>
                    <a:gd name="T42" fmla="*/ 2147483647 w 362"/>
                    <a:gd name="T43" fmla="*/ 2147483647 h 307"/>
                    <a:gd name="T44" fmla="*/ 2147483647 w 362"/>
                    <a:gd name="T45" fmla="*/ 2147483647 h 307"/>
                    <a:gd name="T46" fmla="*/ 2147483647 w 362"/>
                    <a:gd name="T47" fmla="*/ 2147483647 h 307"/>
                    <a:gd name="T48" fmla="*/ 2147483647 w 362"/>
                    <a:gd name="T49" fmla="*/ 2147483647 h 307"/>
                    <a:gd name="T50" fmla="*/ 2147483647 w 362"/>
                    <a:gd name="T51" fmla="*/ 2147483647 h 307"/>
                    <a:gd name="T52" fmla="*/ 2147483647 w 362"/>
                    <a:gd name="T53" fmla="*/ 2147483647 h 307"/>
                    <a:gd name="T54" fmla="*/ 2147483647 w 362"/>
                    <a:gd name="T55" fmla="*/ 2147483647 h 307"/>
                    <a:gd name="T56" fmla="*/ 2147483647 w 362"/>
                    <a:gd name="T57" fmla="*/ 2147483647 h 307"/>
                    <a:gd name="T58" fmla="*/ 2147483647 w 362"/>
                    <a:gd name="T59" fmla="*/ 2147483647 h 307"/>
                    <a:gd name="T60" fmla="*/ 2147483647 w 362"/>
                    <a:gd name="T61" fmla="*/ 2147483647 h 307"/>
                    <a:gd name="T62" fmla="*/ 2147483647 w 362"/>
                    <a:gd name="T63" fmla="*/ 2147483647 h 307"/>
                    <a:gd name="T64" fmla="*/ 2147483647 w 362"/>
                    <a:gd name="T65" fmla="*/ 2147483647 h 307"/>
                    <a:gd name="T66" fmla="*/ 2147483647 w 362"/>
                    <a:gd name="T67" fmla="*/ 2147483647 h 307"/>
                    <a:gd name="T68" fmla="*/ 2147483647 w 362"/>
                    <a:gd name="T69" fmla="*/ 2147483647 h 307"/>
                    <a:gd name="T70" fmla="*/ 2147483647 w 362"/>
                    <a:gd name="T71" fmla="*/ 2147483647 h 307"/>
                    <a:gd name="T72" fmla="*/ 2147483647 w 362"/>
                    <a:gd name="T73" fmla="*/ 2147483647 h 307"/>
                    <a:gd name="T74" fmla="*/ 2147483647 w 362"/>
                    <a:gd name="T75" fmla="*/ 2147483647 h 307"/>
                    <a:gd name="T76" fmla="*/ 2147483647 w 362"/>
                    <a:gd name="T77" fmla="*/ 2147483647 h 307"/>
                    <a:gd name="T78" fmla="*/ 2147483647 w 362"/>
                    <a:gd name="T79" fmla="*/ 2147483647 h 307"/>
                    <a:gd name="T80" fmla="*/ 2147483647 w 362"/>
                    <a:gd name="T81" fmla="*/ 2147483647 h 307"/>
                    <a:gd name="T82" fmla="*/ 2147483647 w 362"/>
                    <a:gd name="T83" fmla="*/ 2147483647 h 307"/>
                    <a:gd name="T84" fmla="*/ 2147483647 w 362"/>
                    <a:gd name="T85" fmla="*/ 2147483647 h 307"/>
                    <a:gd name="T86" fmla="*/ 2147483647 w 362"/>
                    <a:gd name="T87" fmla="*/ 2147483647 h 307"/>
                    <a:gd name="T88" fmla="*/ 2147483647 w 362"/>
                    <a:gd name="T89" fmla="*/ 2147483647 h 307"/>
                    <a:gd name="T90" fmla="*/ 2147483647 w 362"/>
                    <a:gd name="T91" fmla="*/ 2147483647 h 307"/>
                    <a:gd name="T92" fmla="*/ 2147483647 w 362"/>
                    <a:gd name="T93" fmla="*/ 2147483647 h 307"/>
                    <a:gd name="T94" fmla="*/ 2147483647 w 362"/>
                    <a:gd name="T95" fmla="*/ 2147483647 h 307"/>
                    <a:gd name="T96" fmla="*/ 2147483647 w 362"/>
                    <a:gd name="T97" fmla="*/ 2147483647 h 307"/>
                    <a:gd name="T98" fmla="*/ 2147483647 w 362"/>
                    <a:gd name="T99" fmla="*/ 2147483647 h 307"/>
                    <a:gd name="T100" fmla="*/ 2147483647 w 362"/>
                    <a:gd name="T101" fmla="*/ 2147483647 h 307"/>
                    <a:gd name="T102" fmla="*/ 2147483647 w 362"/>
                    <a:gd name="T103" fmla="*/ 2147483647 h 307"/>
                    <a:gd name="T104" fmla="*/ 2147483647 w 362"/>
                    <a:gd name="T105" fmla="*/ 2147483647 h 307"/>
                    <a:gd name="T106" fmla="*/ 2147483647 w 362"/>
                    <a:gd name="T107" fmla="*/ 2147483647 h 307"/>
                    <a:gd name="T108" fmla="*/ 2147483647 w 362"/>
                    <a:gd name="T109" fmla="*/ 2147483647 h 307"/>
                    <a:gd name="T110" fmla="*/ 2147483647 w 362"/>
                    <a:gd name="T111" fmla="*/ 2147483647 h 307"/>
                    <a:gd name="T112" fmla="*/ 2147483647 w 362"/>
                    <a:gd name="T113" fmla="*/ 2147483647 h 307"/>
                    <a:gd name="T114" fmla="*/ 2147483647 w 362"/>
                    <a:gd name="T115" fmla="*/ 2147483647 h 307"/>
                    <a:gd name="T116" fmla="*/ 2147483647 w 362"/>
                    <a:gd name="T117" fmla="*/ 2147483647 h 3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2"/>
                    <a:gd name="T178" fmla="*/ 0 h 307"/>
                    <a:gd name="T179" fmla="*/ 362 w 362"/>
                    <a:gd name="T180" fmla="*/ 307 h 30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2" h="307">
                      <a:moveTo>
                        <a:pt x="242" y="75"/>
                      </a:moveTo>
                      <a:lnTo>
                        <a:pt x="236" y="76"/>
                      </a:lnTo>
                      <a:lnTo>
                        <a:pt x="233" y="76"/>
                      </a:lnTo>
                      <a:lnTo>
                        <a:pt x="229" y="75"/>
                      </a:lnTo>
                      <a:lnTo>
                        <a:pt x="226" y="72"/>
                      </a:lnTo>
                      <a:lnTo>
                        <a:pt x="220" y="66"/>
                      </a:lnTo>
                      <a:lnTo>
                        <a:pt x="214" y="60"/>
                      </a:lnTo>
                      <a:lnTo>
                        <a:pt x="206" y="57"/>
                      </a:lnTo>
                      <a:lnTo>
                        <a:pt x="200" y="51"/>
                      </a:lnTo>
                      <a:lnTo>
                        <a:pt x="196" y="48"/>
                      </a:lnTo>
                      <a:lnTo>
                        <a:pt x="195" y="46"/>
                      </a:lnTo>
                      <a:lnTo>
                        <a:pt x="195" y="45"/>
                      </a:lnTo>
                      <a:lnTo>
                        <a:pt x="182" y="40"/>
                      </a:lnTo>
                      <a:lnTo>
                        <a:pt x="175" y="38"/>
                      </a:lnTo>
                      <a:lnTo>
                        <a:pt x="169" y="38"/>
                      </a:lnTo>
                      <a:lnTo>
                        <a:pt x="164" y="38"/>
                      </a:lnTo>
                      <a:lnTo>
                        <a:pt x="160" y="38"/>
                      </a:lnTo>
                      <a:lnTo>
                        <a:pt x="155" y="39"/>
                      </a:lnTo>
                      <a:lnTo>
                        <a:pt x="151" y="38"/>
                      </a:lnTo>
                      <a:lnTo>
                        <a:pt x="150" y="35"/>
                      </a:lnTo>
                      <a:lnTo>
                        <a:pt x="150" y="33"/>
                      </a:lnTo>
                      <a:lnTo>
                        <a:pt x="149" y="29"/>
                      </a:lnTo>
                      <a:lnTo>
                        <a:pt x="148" y="26"/>
                      </a:lnTo>
                      <a:lnTo>
                        <a:pt x="146" y="26"/>
                      </a:lnTo>
                      <a:lnTo>
                        <a:pt x="144" y="26"/>
                      </a:lnTo>
                      <a:lnTo>
                        <a:pt x="139" y="27"/>
                      </a:lnTo>
                      <a:lnTo>
                        <a:pt x="137" y="26"/>
                      </a:lnTo>
                      <a:lnTo>
                        <a:pt x="136" y="25"/>
                      </a:lnTo>
                      <a:lnTo>
                        <a:pt x="134" y="21"/>
                      </a:lnTo>
                      <a:lnTo>
                        <a:pt x="126" y="18"/>
                      </a:lnTo>
                      <a:lnTo>
                        <a:pt x="120" y="16"/>
                      </a:lnTo>
                      <a:lnTo>
                        <a:pt x="112" y="14"/>
                      </a:lnTo>
                      <a:lnTo>
                        <a:pt x="106" y="11"/>
                      </a:lnTo>
                      <a:lnTo>
                        <a:pt x="98" y="7"/>
                      </a:lnTo>
                      <a:lnTo>
                        <a:pt x="90" y="5"/>
                      </a:lnTo>
                      <a:lnTo>
                        <a:pt x="80" y="3"/>
                      </a:lnTo>
                      <a:lnTo>
                        <a:pt x="70" y="1"/>
                      </a:lnTo>
                      <a:lnTo>
                        <a:pt x="66" y="0"/>
                      </a:lnTo>
                      <a:lnTo>
                        <a:pt x="61" y="0"/>
                      </a:lnTo>
                      <a:lnTo>
                        <a:pt x="50" y="1"/>
                      </a:lnTo>
                      <a:lnTo>
                        <a:pt x="40" y="3"/>
                      </a:lnTo>
                      <a:lnTo>
                        <a:pt x="31" y="7"/>
                      </a:lnTo>
                      <a:lnTo>
                        <a:pt x="28" y="8"/>
                      </a:lnTo>
                      <a:lnTo>
                        <a:pt x="27" y="11"/>
                      </a:lnTo>
                      <a:lnTo>
                        <a:pt x="27" y="12"/>
                      </a:lnTo>
                      <a:lnTo>
                        <a:pt x="28" y="14"/>
                      </a:lnTo>
                      <a:lnTo>
                        <a:pt x="35" y="19"/>
                      </a:lnTo>
                      <a:lnTo>
                        <a:pt x="45" y="28"/>
                      </a:lnTo>
                      <a:lnTo>
                        <a:pt x="35" y="37"/>
                      </a:lnTo>
                      <a:lnTo>
                        <a:pt x="24" y="46"/>
                      </a:lnTo>
                      <a:lnTo>
                        <a:pt x="22" y="47"/>
                      </a:lnTo>
                      <a:lnTo>
                        <a:pt x="18" y="46"/>
                      </a:lnTo>
                      <a:lnTo>
                        <a:pt x="9" y="44"/>
                      </a:lnTo>
                      <a:lnTo>
                        <a:pt x="5" y="44"/>
                      </a:lnTo>
                      <a:lnTo>
                        <a:pt x="0" y="45"/>
                      </a:lnTo>
                      <a:lnTo>
                        <a:pt x="2" y="52"/>
                      </a:lnTo>
                      <a:lnTo>
                        <a:pt x="3" y="59"/>
                      </a:lnTo>
                      <a:lnTo>
                        <a:pt x="2" y="73"/>
                      </a:lnTo>
                      <a:lnTo>
                        <a:pt x="2" y="75"/>
                      </a:lnTo>
                      <a:lnTo>
                        <a:pt x="4" y="75"/>
                      </a:lnTo>
                      <a:lnTo>
                        <a:pt x="7" y="75"/>
                      </a:lnTo>
                      <a:lnTo>
                        <a:pt x="9" y="76"/>
                      </a:lnTo>
                      <a:lnTo>
                        <a:pt x="9" y="77"/>
                      </a:lnTo>
                      <a:lnTo>
                        <a:pt x="9" y="79"/>
                      </a:lnTo>
                      <a:lnTo>
                        <a:pt x="9" y="82"/>
                      </a:lnTo>
                      <a:lnTo>
                        <a:pt x="12" y="84"/>
                      </a:lnTo>
                      <a:lnTo>
                        <a:pt x="14" y="84"/>
                      </a:lnTo>
                      <a:lnTo>
                        <a:pt x="17" y="85"/>
                      </a:lnTo>
                      <a:lnTo>
                        <a:pt x="18" y="86"/>
                      </a:lnTo>
                      <a:lnTo>
                        <a:pt x="22" y="102"/>
                      </a:lnTo>
                      <a:lnTo>
                        <a:pt x="24" y="109"/>
                      </a:lnTo>
                      <a:lnTo>
                        <a:pt x="28" y="115"/>
                      </a:lnTo>
                      <a:lnTo>
                        <a:pt x="32" y="121"/>
                      </a:lnTo>
                      <a:lnTo>
                        <a:pt x="36" y="126"/>
                      </a:lnTo>
                      <a:lnTo>
                        <a:pt x="37" y="131"/>
                      </a:lnTo>
                      <a:lnTo>
                        <a:pt x="37" y="137"/>
                      </a:lnTo>
                      <a:lnTo>
                        <a:pt x="37" y="141"/>
                      </a:lnTo>
                      <a:lnTo>
                        <a:pt x="38" y="146"/>
                      </a:lnTo>
                      <a:lnTo>
                        <a:pt x="41" y="148"/>
                      </a:lnTo>
                      <a:lnTo>
                        <a:pt x="43" y="152"/>
                      </a:lnTo>
                      <a:lnTo>
                        <a:pt x="46" y="153"/>
                      </a:lnTo>
                      <a:lnTo>
                        <a:pt x="50" y="155"/>
                      </a:lnTo>
                      <a:lnTo>
                        <a:pt x="57" y="156"/>
                      </a:lnTo>
                      <a:lnTo>
                        <a:pt x="59" y="158"/>
                      </a:lnTo>
                      <a:lnTo>
                        <a:pt x="59" y="159"/>
                      </a:lnTo>
                      <a:lnTo>
                        <a:pt x="59" y="162"/>
                      </a:lnTo>
                      <a:lnTo>
                        <a:pt x="65" y="169"/>
                      </a:lnTo>
                      <a:lnTo>
                        <a:pt x="70" y="179"/>
                      </a:lnTo>
                      <a:lnTo>
                        <a:pt x="73" y="187"/>
                      </a:lnTo>
                      <a:lnTo>
                        <a:pt x="73" y="197"/>
                      </a:lnTo>
                      <a:lnTo>
                        <a:pt x="73" y="201"/>
                      </a:lnTo>
                      <a:lnTo>
                        <a:pt x="73" y="206"/>
                      </a:lnTo>
                      <a:lnTo>
                        <a:pt x="74" y="210"/>
                      </a:lnTo>
                      <a:lnTo>
                        <a:pt x="76" y="213"/>
                      </a:lnTo>
                      <a:lnTo>
                        <a:pt x="76" y="214"/>
                      </a:lnTo>
                      <a:lnTo>
                        <a:pt x="76" y="216"/>
                      </a:lnTo>
                      <a:lnTo>
                        <a:pt x="76" y="223"/>
                      </a:lnTo>
                      <a:lnTo>
                        <a:pt x="78" y="229"/>
                      </a:lnTo>
                      <a:lnTo>
                        <a:pt x="82" y="233"/>
                      </a:lnTo>
                      <a:lnTo>
                        <a:pt x="85" y="237"/>
                      </a:lnTo>
                      <a:lnTo>
                        <a:pt x="92" y="241"/>
                      </a:lnTo>
                      <a:lnTo>
                        <a:pt x="97" y="244"/>
                      </a:lnTo>
                      <a:lnTo>
                        <a:pt x="111" y="248"/>
                      </a:lnTo>
                      <a:lnTo>
                        <a:pt x="112" y="249"/>
                      </a:lnTo>
                      <a:lnTo>
                        <a:pt x="112" y="250"/>
                      </a:lnTo>
                      <a:lnTo>
                        <a:pt x="116" y="262"/>
                      </a:lnTo>
                      <a:lnTo>
                        <a:pt x="117" y="268"/>
                      </a:lnTo>
                      <a:lnTo>
                        <a:pt x="121" y="273"/>
                      </a:lnTo>
                      <a:lnTo>
                        <a:pt x="123" y="276"/>
                      </a:lnTo>
                      <a:lnTo>
                        <a:pt x="127" y="280"/>
                      </a:lnTo>
                      <a:lnTo>
                        <a:pt x="130" y="283"/>
                      </a:lnTo>
                      <a:lnTo>
                        <a:pt x="132" y="288"/>
                      </a:lnTo>
                      <a:lnTo>
                        <a:pt x="134" y="297"/>
                      </a:lnTo>
                      <a:lnTo>
                        <a:pt x="139" y="307"/>
                      </a:lnTo>
                      <a:lnTo>
                        <a:pt x="141" y="305"/>
                      </a:lnTo>
                      <a:lnTo>
                        <a:pt x="144" y="303"/>
                      </a:lnTo>
                      <a:lnTo>
                        <a:pt x="151" y="303"/>
                      </a:lnTo>
                      <a:lnTo>
                        <a:pt x="159" y="303"/>
                      </a:lnTo>
                      <a:lnTo>
                        <a:pt x="165" y="303"/>
                      </a:lnTo>
                      <a:lnTo>
                        <a:pt x="182" y="302"/>
                      </a:lnTo>
                      <a:lnTo>
                        <a:pt x="197" y="302"/>
                      </a:lnTo>
                      <a:lnTo>
                        <a:pt x="211" y="303"/>
                      </a:lnTo>
                      <a:lnTo>
                        <a:pt x="226" y="302"/>
                      </a:lnTo>
                      <a:lnTo>
                        <a:pt x="230" y="299"/>
                      </a:lnTo>
                      <a:lnTo>
                        <a:pt x="233" y="295"/>
                      </a:lnTo>
                      <a:lnTo>
                        <a:pt x="234" y="292"/>
                      </a:lnTo>
                      <a:lnTo>
                        <a:pt x="235" y="288"/>
                      </a:lnTo>
                      <a:lnTo>
                        <a:pt x="236" y="286"/>
                      </a:lnTo>
                      <a:lnTo>
                        <a:pt x="258" y="280"/>
                      </a:lnTo>
                      <a:lnTo>
                        <a:pt x="281" y="273"/>
                      </a:lnTo>
                      <a:lnTo>
                        <a:pt x="300" y="265"/>
                      </a:lnTo>
                      <a:lnTo>
                        <a:pt x="318" y="258"/>
                      </a:lnTo>
                      <a:lnTo>
                        <a:pt x="334" y="250"/>
                      </a:lnTo>
                      <a:lnTo>
                        <a:pt x="347" y="243"/>
                      </a:lnTo>
                      <a:lnTo>
                        <a:pt x="348" y="241"/>
                      </a:lnTo>
                      <a:lnTo>
                        <a:pt x="349" y="237"/>
                      </a:lnTo>
                      <a:lnTo>
                        <a:pt x="352" y="231"/>
                      </a:lnTo>
                      <a:lnTo>
                        <a:pt x="358" y="219"/>
                      </a:lnTo>
                      <a:lnTo>
                        <a:pt x="362" y="206"/>
                      </a:lnTo>
                      <a:lnTo>
                        <a:pt x="362" y="200"/>
                      </a:lnTo>
                      <a:lnTo>
                        <a:pt x="362" y="193"/>
                      </a:lnTo>
                      <a:lnTo>
                        <a:pt x="361" y="187"/>
                      </a:lnTo>
                      <a:lnTo>
                        <a:pt x="358" y="181"/>
                      </a:lnTo>
                      <a:lnTo>
                        <a:pt x="357" y="182"/>
                      </a:lnTo>
                      <a:lnTo>
                        <a:pt x="355" y="184"/>
                      </a:lnTo>
                      <a:lnTo>
                        <a:pt x="351" y="184"/>
                      </a:lnTo>
                      <a:lnTo>
                        <a:pt x="338" y="180"/>
                      </a:lnTo>
                      <a:lnTo>
                        <a:pt x="325" y="178"/>
                      </a:lnTo>
                      <a:lnTo>
                        <a:pt x="300" y="173"/>
                      </a:lnTo>
                      <a:lnTo>
                        <a:pt x="295" y="171"/>
                      </a:lnTo>
                      <a:lnTo>
                        <a:pt x="292" y="169"/>
                      </a:lnTo>
                      <a:lnTo>
                        <a:pt x="290" y="167"/>
                      </a:lnTo>
                      <a:lnTo>
                        <a:pt x="290" y="163"/>
                      </a:lnTo>
                      <a:lnTo>
                        <a:pt x="289" y="156"/>
                      </a:lnTo>
                      <a:lnTo>
                        <a:pt x="287" y="152"/>
                      </a:lnTo>
                      <a:lnTo>
                        <a:pt x="286" y="147"/>
                      </a:lnTo>
                      <a:lnTo>
                        <a:pt x="285" y="146"/>
                      </a:lnTo>
                      <a:lnTo>
                        <a:pt x="282" y="144"/>
                      </a:lnTo>
                      <a:lnTo>
                        <a:pt x="281" y="142"/>
                      </a:lnTo>
                      <a:lnTo>
                        <a:pt x="282" y="136"/>
                      </a:lnTo>
                      <a:lnTo>
                        <a:pt x="277" y="134"/>
                      </a:lnTo>
                      <a:lnTo>
                        <a:pt x="272" y="129"/>
                      </a:lnTo>
                      <a:lnTo>
                        <a:pt x="271" y="128"/>
                      </a:lnTo>
                      <a:lnTo>
                        <a:pt x="269" y="124"/>
                      </a:lnTo>
                      <a:lnTo>
                        <a:pt x="267" y="120"/>
                      </a:lnTo>
                      <a:lnTo>
                        <a:pt x="266" y="115"/>
                      </a:lnTo>
                      <a:lnTo>
                        <a:pt x="264" y="110"/>
                      </a:lnTo>
                      <a:lnTo>
                        <a:pt x="264" y="104"/>
                      </a:lnTo>
                      <a:lnTo>
                        <a:pt x="264" y="101"/>
                      </a:lnTo>
                      <a:lnTo>
                        <a:pt x="263" y="97"/>
                      </a:lnTo>
                      <a:lnTo>
                        <a:pt x="259" y="94"/>
                      </a:lnTo>
                      <a:lnTo>
                        <a:pt x="254" y="92"/>
                      </a:lnTo>
                      <a:lnTo>
                        <a:pt x="252" y="91"/>
                      </a:lnTo>
                      <a:lnTo>
                        <a:pt x="250" y="88"/>
                      </a:lnTo>
                      <a:lnTo>
                        <a:pt x="249" y="82"/>
                      </a:lnTo>
                      <a:lnTo>
                        <a:pt x="248" y="79"/>
                      </a:lnTo>
                      <a:lnTo>
                        <a:pt x="245" y="78"/>
                      </a:lnTo>
                      <a:lnTo>
                        <a:pt x="242" y="7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4" name="Freeform 651"/>
                <p:cNvSpPr>
                  <a:spLocks/>
                </p:cNvSpPr>
                <p:nvPr/>
              </p:nvSpPr>
              <p:spPr bwMode="auto">
                <a:xfrm>
                  <a:off x="5824296" y="3856231"/>
                  <a:ext cx="130229" cy="100631"/>
                </a:xfrm>
                <a:custGeom>
                  <a:avLst/>
                  <a:gdLst>
                    <a:gd name="T0" fmla="*/ 2147483647 w 95"/>
                    <a:gd name="T1" fmla="*/ 2147483647 h 68"/>
                    <a:gd name="T2" fmla="*/ 2147483647 w 95"/>
                    <a:gd name="T3" fmla="*/ 2147483647 h 68"/>
                    <a:gd name="T4" fmla="*/ 0 w 95"/>
                    <a:gd name="T5" fmla="*/ 2147483647 h 68"/>
                    <a:gd name="T6" fmla="*/ 2147483647 w 95"/>
                    <a:gd name="T7" fmla="*/ 2147483647 h 68"/>
                    <a:gd name="T8" fmla="*/ 2147483647 w 95"/>
                    <a:gd name="T9" fmla="*/ 2147483647 h 68"/>
                    <a:gd name="T10" fmla="*/ 2147483647 w 95"/>
                    <a:gd name="T11" fmla="*/ 2147483647 h 68"/>
                    <a:gd name="T12" fmla="*/ 2147483647 w 95"/>
                    <a:gd name="T13" fmla="*/ 2147483647 h 68"/>
                    <a:gd name="T14" fmla="*/ 2147483647 w 95"/>
                    <a:gd name="T15" fmla="*/ 2147483647 h 68"/>
                    <a:gd name="T16" fmla="*/ 2147483647 w 95"/>
                    <a:gd name="T17" fmla="*/ 2147483647 h 68"/>
                    <a:gd name="T18" fmla="*/ 2147483647 w 95"/>
                    <a:gd name="T19" fmla="*/ 2147483647 h 68"/>
                    <a:gd name="T20" fmla="*/ 2147483647 w 95"/>
                    <a:gd name="T21" fmla="*/ 2147483647 h 68"/>
                    <a:gd name="T22" fmla="*/ 2147483647 w 95"/>
                    <a:gd name="T23" fmla="*/ 2147483647 h 68"/>
                    <a:gd name="T24" fmla="*/ 2147483647 w 95"/>
                    <a:gd name="T25" fmla="*/ 2147483647 h 68"/>
                    <a:gd name="T26" fmla="*/ 2147483647 w 95"/>
                    <a:gd name="T27" fmla="*/ 2147483647 h 68"/>
                    <a:gd name="T28" fmla="*/ 2147483647 w 95"/>
                    <a:gd name="T29" fmla="*/ 2147483647 h 68"/>
                    <a:gd name="T30" fmla="*/ 2147483647 w 95"/>
                    <a:gd name="T31" fmla="*/ 2147483647 h 68"/>
                    <a:gd name="T32" fmla="*/ 2147483647 w 95"/>
                    <a:gd name="T33" fmla="*/ 2147483647 h 68"/>
                    <a:gd name="T34" fmla="*/ 2147483647 w 95"/>
                    <a:gd name="T35" fmla="*/ 2147483647 h 68"/>
                    <a:gd name="T36" fmla="*/ 2147483647 w 95"/>
                    <a:gd name="T37" fmla="*/ 2147483647 h 68"/>
                    <a:gd name="T38" fmla="*/ 2147483647 w 95"/>
                    <a:gd name="T39" fmla="*/ 2147483647 h 68"/>
                    <a:gd name="T40" fmla="*/ 2147483647 w 95"/>
                    <a:gd name="T41" fmla="*/ 2147483647 h 68"/>
                    <a:gd name="T42" fmla="*/ 2147483647 w 95"/>
                    <a:gd name="T43" fmla="*/ 2147483647 h 68"/>
                    <a:gd name="T44" fmla="*/ 2147483647 w 95"/>
                    <a:gd name="T45" fmla="*/ 2147483647 h 68"/>
                    <a:gd name="T46" fmla="*/ 2147483647 w 95"/>
                    <a:gd name="T47" fmla="*/ 2147483647 h 68"/>
                    <a:gd name="T48" fmla="*/ 2147483647 w 95"/>
                    <a:gd name="T49" fmla="*/ 2147483647 h 68"/>
                    <a:gd name="T50" fmla="*/ 2147483647 w 95"/>
                    <a:gd name="T51" fmla="*/ 2147483647 h 68"/>
                    <a:gd name="T52" fmla="*/ 2147483647 w 95"/>
                    <a:gd name="T53" fmla="*/ 2147483647 h 68"/>
                    <a:gd name="T54" fmla="*/ 2147483647 w 95"/>
                    <a:gd name="T55" fmla="*/ 2147483647 h 68"/>
                    <a:gd name="T56" fmla="*/ 2147483647 w 95"/>
                    <a:gd name="T57" fmla="*/ 2147483647 h 68"/>
                    <a:gd name="T58" fmla="*/ 2147483647 w 95"/>
                    <a:gd name="T59" fmla="*/ 2147483647 h 68"/>
                    <a:gd name="T60" fmla="*/ 2147483647 w 95"/>
                    <a:gd name="T61" fmla="*/ 2147483647 h 68"/>
                    <a:gd name="T62" fmla="*/ 2147483647 w 95"/>
                    <a:gd name="T63" fmla="*/ 2147483647 h 68"/>
                    <a:gd name="T64" fmla="*/ 2147483647 w 95"/>
                    <a:gd name="T65" fmla="*/ 0 h 68"/>
                    <a:gd name="T66" fmla="*/ 2147483647 w 95"/>
                    <a:gd name="T67" fmla="*/ 2147483647 h 68"/>
                    <a:gd name="T68" fmla="*/ 2147483647 w 95"/>
                    <a:gd name="T69" fmla="*/ 2147483647 h 68"/>
                    <a:gd name="T70" fmla="*/ 2147483647 w 95"/>
                    <a:gd name="T71" fmla="*/ 2147483647 h 68"/>
                    <a:gd name="T72" fmla="*/ 2147483647 w 95"/>
                    <a:gd name="T73" fmla="*/ 2147483647 h 68"/>
                    <a:gd name="T74" fmla="*/ 2147483647 w 95"/>
                    <a:gd name="T75" fmla="*/ 2147483647 h 68"/>
                    <a:gd name="T76" fmla="*/ 2147483647 w 95"/>
                    <a:gd name="T77" fmla="*/ 2147483647 h 68"/>
                    <a:gd name="T78" fmla="*/ 2147483647 w 95"/>
                    <a:gd name="T79" fmla="*/ 2147483647 h 68"/>
                    <a:gd name="T80" fmla="*/ 2147483647 w 95"/>
                    <a:gd name="T81" fmla="*/ 2147483647 h 68"/>
                    <a:gd name="T82" fmla="*/ 2147483647 w 95"/>
                    <a:gd name="T83" fmla="*/ 2147483647 h 68"/>
                    <a:gd name="T84" fmla="*/ 2147483647 w 95"/>
                    <a:gd name="T85" fmla="*/ 2147483647 h 68"/>
                    <a:gd name="T86" fmla="*/ 2147483647 w 95"/>
                    <a:gd name="T87" fmla="*/ 2147483647 h 68"/>
                    <a:gd name="T88" fmla="*/ 2147483647 w 95"/>
                    <a:gd name="T89" fmla="*/ 2147483647 h 68"/>
                    <a:gd name="T90" fmla="*/ 2147483647 w 95"/>
                    <a:gd name="T91" fmla="*/ 2147483647 h 68"/>
                    <a:gd name="T92" fmla="*/ 2147483647 w 95"/>
                    <a:gd name="T93" fmla="*/ 2147483647 h 68"/>
                    <a:gd name="T94" fmla="*/ 2147483647 w 95"/>
                    <a:gd name="T95" fmla="*/ 2147483647 h 68"/>
                    <a:gd name="T96" fmla="*/ 2147483647 w 95"/>
                    <a:gd name="T97" fmla="*/ 2147483647 h 68"/>
                    <a:gd name="T98" fmla="*/ 2147483647 w 95"/>
                    <a:gd name="T99" fmla="*/ 2147483647 h 68"/>
                    <a:gd name="T100" fmla="*/ 2147483647 w 95"/>
                    <a:gd name="T101" fmla="*/ 2147483647 h 68"/>
                    <a:gd name="T102" fmla="*/ 2147483647 w 95"/>
                    <a:gd name="T103" fmla="*/ 2147483647 h 68"/>
                    <a:gd name="T104" fmla="*/ 2147483647 w 95"/>
                    <a:gd name="T105" fmla="*/ 2147483647 h 68"/>
                    <a:gd name="T106" fmla="*/ 2147483647 w 95"/>
                    <a:gd name="T107" fmla="*/ 2147483647 h 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5"/>
                    <a:gd name="T163" fmla="*/ 0 h 68"/>
                    <a:gd name="T164" fmla="*/ 95 w 95"/>
                    <a:gd name="T165" fmla="*/ 68 h 6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5" h="68">
                      <a:moveTo>
                        <a:pt x="6" y="20"/>
                      </a:moveTo>
                      <a:lnTo>
                        <a:pt x="1" y="20"/>
                      </a:lnTo>
                      <a:lnTo>
                        <a:pt x="0" y="26"/>
                      </a:lnTo>
                      <a:lnTo>
                        <a:pt x="1" y="28"/>
                      </a:lnTo>
                      <a:lnTo>
                        <a:pt x="4" y="30"/>
                      </a:lnTo>
                      <a:lnTo>
                        <a:pt x="5" y="31"/>
                      </a:lnTo>
                      <a:lnTo>
                        <a:pt x="6" y="36"/>
                      </a:lnTo>
                      <a:lnTo>
                        <a:pt x="8" y="40"/>
                      </a:lnTo>
                      <a:lnTo>
                        <a:pt x="9" y="47"/>
                      </a:lnTo>
                      <a:lnTo>
                        <a:pt x="9" y="51"/>
                      </a:lnTo>
                      <a:lnTo>
                        <a:pt x="11" y="53"/>
                      </a:lnTo>
                      <a:lnTo>
                        <a:pt x="14" y="55"/>
                      </a:lnTo>
                      <a:lnTo>
                        <a:pt x="19" y="57"/>
                      </a:lnTo>
                      <a:lnTo>
                        <a:pt x="44" y="62"/>
                      </a:lnTo>
                      <a:lnTo>
                        <a:pt x="57" y="64"/>
                      </a:lnTo>
                      <a:lnTo>
                        <a:pt x="70" y="68"/>
                      </a:lnTo>
                      <a:lnTo>
                        <a:pt x="74" y="68"/>
                      </a:lnTo>
                      <a:lnTo>
                        <a:pt x="76" y="66"/>
                      </a:lnTo>
                      <a:lnTo>
                        <a:pt x="77" y="65"/>
                      </a:lnTo>
                      <a:lnTo>
                        <a:pt x="85" y="55"/>
                      </a:lnTo>
                      <a:lnTo>
                        <a:pt x="86" y="49"/>
                      </a:lnTo>
                      <a:lnTo>
                        <a:pt x="86" y="43"/>
                      </a:lnTo>
                      <a:lnTo>
                        <a:pt x="84" y="38"/>
                      </a:lnTo>
                      <a:lnTo>
                        <a:pt x="82" y="32"/>
                      </a:lnTo>
                      <a:lnTo>
                        <a:pt x="84" y="28"/>
                      </a:lnTo>
                      <a:lnTo>
                        <a:pt x="85" y="26"/>
                      </a:lnTo>
                      <a:lnTo>
                        <a:pt x="89" y="23"/>
                      </a:lnTo>
                      <a:lnTo>
                        <a:pt x="91" y="21"/>
                      </a:lnTo>
                      <a:lnTo>
                        <a:pt x="95" y="20"/>
                      </a:lnTo>
                      <a:lnTo>
                        <a:pt x="93" y="13"/>
                      </a:lnTo>
                      <a:lnTo>
                        <a:pt x="93" y="10"/>
                      </a:lnTo>
                      <a:lnTo>
                        <a:pt x="93" y="5"/>
                      </a:lnTo>
                      <a:lnTo>
                        <a:pt x="85" y="0"/>
                      </a:lnTo>
                      <a:lnTo>
                        <a:pt x="79" y="7"/>
                      </a:lnTo>
                      <a:lnTo>
                        <a:pt x="71" y="14"/>
                      </a:lnTo>
                      <a:lnTo>
                        <a:pt x="63" y="20"/>
                      </a:lnTo>
                      <a:lnTo>
                        <a:pt x="58" y="27"/>
                      </a:lnTo>
                      <a:lnTo>
                        <a:pt x="52" y="34"/>
                      </a:lnTo>
                      <a:lnTo>
                        <a:pt x="46" y="40"/>
                      </a:lnTo>
                      <a:lnTo>
                        <a:pt x="44" y="40"/>
                      </a:lnTo>
                      <a:lnTo>
                        <a:pt x="42" y="40"/>
                      </a:lnTo>
                      <a:lnTo>
                        <a:pt x="41" y="39"/>
                      </a:lnTo>
                      <a:lnTo>
                        <a:pt x="39" y="38"/>
                      </a:lnTo>
                      <a:lnTo>
                        <a:pt x="33" y="39"/>
                      </a:lnTo>
                      <a:lnTo>
                        <a:pt x="27" y="42"/>
                      </a:lnTo>
                      <a:lnTo>
                        <a:pt x="21" y="42"/>
                      </a:lnTo>
                      <a:lnTo>
                        <a:pt x="19" y="40"/>
                      </a:lnTo>
                      <a:lnTo>
                        <a:pt x="16" y="39"/>
                      </a:lnTo>
                      <a:lnTo>
                        <a:pt x="14" y="33"/>
                      </a:lnTo>
                      <a:lnTo>
                        <a:pt x="11" y="28"/>
                      </a:lnTo>
                      <a:lnTo>
                        <a:pt x="8" y="25"/>
                      </a:lnTo>
                      <a:lnTo>
                        <a:pt x="6" y="23"/>
                      </a:lnTo>
                      <a:lnTo>
                        <a:pt x="5" y="21"/>
                      </a:lnTo>
                      <a:lnTo>
                        <a:pt x="6" y="2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5" name="Freeform 652"/>
                <p:cNvSpPr>
                  <a:spLocks/>
                </p:cNvSpPr>
                <p:nvPr/>
              </p:nvSpPr>
              <p:spPr bwMode="auto">
                <a:xfrm>
                  <a:off x="5439531" y="3683082"/>
                  <a:ext cx="494277" cy="454320"/>
                </a:xfrm>
                <a:custGeom>
                  <a:avLst/>
                  <a:gdLst>
                    <a:gd name="T0" fmla="*/ 2147483647 w 362"/>
                    <a:gd name="T1" fmla="*/ 2147483647 h 307"/>
                    <a:gd name="T2" fmla="*/ 2147483647 w 362"/>
                    <a:gd name="T3" fmla="*/ 2147483647 h 307"/>
                    <a:gd name="T4" fmla="*/ 2147483647 w 362"/>
                    <a:gd name="T5" fmla="*/ 2147483647 h 307"/>
                    <a:gd name="T6" fmla="*/ 2147483647 w 362"/>
                    <a:gd name="T7" fmla="*/ 2147483647 h 307"/>
                    <a:gd name="T8" fmla="*/ 2147483647 w 362"/>
                    <a:gd name="T9" fmla="*/ 2147483647 h 307"/>
                    <a:gd name="T10" fmla="*/ 2147483647 w 362"/>
                    <a:gd name="T11" fmla="*/ 2147483647 h 307"/>
                    <a:gd name="T12" fmla="*/ 2147483647 w 362"/>
                    <a:gd name="T13" fmla="*/ 2147483647 h 307"/>
                    <a:gd name="T14" fmla="*/ 2147483647 w 362"/>
                    <a:gd name="T15" fmla="*/ 2147483647 h 307"/>
                    <a:gd name="T16" fmla="*/ 2147483647 w 362"/>
                    <a:gd name="T17" fmla="*/ 2147483647 h 307"/>
                    <a:gd name="T18" fmla="*/ 2147483647 w 362"/>
                    <a:gd name="T19" fmla="*/ 2147483647 h 307"/>
                    <a:gd name="T20" fmla="*/ 2147483647 w 362"/>
                    <a:gd name="T21" fmla="*/ 2147483647 h 307"/>
                    <a:gd name="T22" fmla="*/ 2147483647 w 362"/>
                    <a:gd name="T23" fmla="*/ 2147483647 h 307"/>
                    <a:gd name="T24" fmla="*/ 2147483647 w 362"/>
                    <a:gd name="T25" fmla="*/ 0 h 307"/>
                    <a:gd name="T26" fmla="*/ 2147483647 w 362"/>
                    <a:gd name="T27" fmla="*/ 2147483647 h 307"/>
                    <a:gd name="T28" fmla="*/ 2147483647 w 362"/>
                    <a:gd name="T29" fmla="*/ 2147483647 h 307"/>
                    <a:gd name="T30" fmla="*/ 2147483647 w 362"/>
                    <a:gd name="T31" fmla="*/ 2147483647 h 307"/>
                    <a:gd name="T32" fmla="*/ 2147483647 w 362"/>
                    <a:gd name="T33" fmla="*/ 2147483647 h 307"/>
                    <a:gd name="T34" fmla="*/ 2147483647 w 362"/>
                    <a:gd name="T35" fmla="*/ 2147483647 h 307"/>
                    <a:gd name="T36" fmla="*/ 2147483647 w 362"/>
                    <a:gd name="T37" fmla="*/ 2147483647 h 307"/>
                    <a:gd name="T38" fmla="*/ 2147483647 w 362"/>
                    <a:gd name="T39" fmla="*/ 2147483647 h 307"/>
                    <a:gd name="T40" fmla="*/ 2147483647 w 362"/>
                    <a:gd name="T41" fmla="*/ 2147483647 h 307"/>
                    <a:gd name="T42" fmla="*/ 2147483647 w 362"/>
                    <a:gd name="T43" fmla="*/ 2147483647 h 307"/>
                    <a:gd name="T44" fmla="*/ 2147483647 w 362"/>
                    <a:gd name="T45" fmla="*/ 2147483647 h 307"/>
                    <a:gd name="T46" fmla="*/ 2147483647 w 362"/>
                    <a:gd name="T47" fmla="*/ 2147483647 h 307"/>
                    <a:gd name="T48" fmla="*/ 2147483647 w 362"/>
                    <a:gd name="T49" fmla="*/ 2147483647 h 307"/>
                    <a:gd name="T50" fmla="*/ 2147483647 w 362"/>
                    <a:gd name="T51" fmla="*/ 2147483647 h 307"/>
                    <a:gd name="T52" fmla="*/ 2147483647 w 362"/>
                    <a:gd name="T53" fmla="*/ 2147483647 h 307"/>
                    <a:gd name="T54" fmla="*/ 2147483647 w 362"/>
                    <a:gd name="T55" fmla="*/ 2147483647 h 307"/>
                    <a:gd name="T56" fmla="*/ 2147483647 w 362"/>
                    <a:gd name="T57" fmla="*/ 2147483647 h 307"/>
                    <a:gd name="T58" fmla="*/ 2147483647 w 362"/>
                    <a:gd name="T59" fmla="*/ 2147483647 h 307"/>
                    <a:gd name="T60" fmla="*/ 2147483647 w 362"/>
                    <a:gd name="T61" fmla="*/ 2147483647 h 307"/>
                    <a:gd name="T62" fmla="*/ 2147483647 w 362"/>
                    <a:gd name="T63" fmla="*/ 2147483647 h 307"/>
                    <a:gd name="T64" fmla="*/ 2147483647 w 362"/>
                    <a:gd name="T65" fmla="*/ 2147483647 h 307"/>
                    <a:gd name="T66" fmla="*/ 2147483647 w 362"/>
                    <a:gd name="T67" fmla="*/ 2147483647 h 307"/>
                    <a:gd name="T68" fmla="*/ 2147483647 w 362"/>
                    <a:gd name="T69" fmla="*/ 2147483647 h 307"/>
                    <a:gd name="T70" fmla="*/ 2147483647 w 362"/>
                    <a:gd name="T71" fmla="*/ 2147483647 h 307"/>
                    <a:gd name="T72" fmla="*/ 2147483647 w 362"/>
                    <a:gd name="T73" fmla="*/ 2147483647 h 307"/>
                    <a:gd name="T74" fmla="*/ 2147483647 w 362"/>
                    <a:gd name="T75" fmla="*/ 2147483647 h 307"/>
                    <a:gd name="T76" fmla="*/ 2147483647 w 362"/>
                    <a:gd name="T77" fmla="*/ 2147483647 h 307"/>
                    <a:gd name="T78" fmla="*/ 2147483647 w 362"/>
                    <a:gd name="T79" fmla="*/ 2147483647 h 307"/>
                    <a:gd name="T80" fmla="*/ 2147483647 w 362"/>
                    <a:gd name="T81" fmla="*/ 2147483647 h 307"/>
                    <a:gd name="T82" fmla="*/ 2147483647 w 362"/>
                    <a:gd name="T83" fmla="*/ 2147483647 h 307"/>
                    <a:gd name="T84" fmla="*/ 2147483647 w 362"/>
                    <a:gd name="T85" fmla="*/ 2147483647 h 307"/>
                    <a:gd name="T86" fmla="*/ 2147483647 w 362"/>
                    <a:gd name="T87" fmla="*/ 2147483647 h 307"/>
                    <a:gd name="T88" fmla="*/ 2147483647 w 362"/>
                    <a:gd name="T89" fmla="*/ 2147483647 h 307"/>
                    <a:gd name="T90" fmla="*/ 2147483647 w 362"/>
                    <a:gd name="T91" fmla="*/ 2147483647 h 307"/>
                    <a:gd name="T92" fmla="*/ 2147483647 w 362"/>
                    <a:gd name="T93" fmla="*/ 2147483647 h 307"/>
                    <a:gd name="T94" fmla="*/ 2147483647 w 362"/>
                    <a:gd name="T95" fmla="*/ 2147483647 h 307"/>
                    <a:gd name="T96" fmla="*/ 2147483647 w 362"/>
                    <a:gd name="T97" fmla="*/ 2147483647 h 307"/>
                    <a:gd name="T98" fmla="*/ 2147483647 w 362"/>
                    <a:gd name="T99" fmla="*/ 2147483647 h 307"/>
                    <a:gd name="T100" fmla="*/ 2147483647 w 362"/>
                    <a:gd name="T101" fmla="*/ 2147483647 h 307"/>
                    <a:gd name="T102" fmla="*/ 2147483647 w 362"/>
                    <a:gd name="T103" fmla="*/ 2147483647 h 307"/>
                    <a:gd name="T104" fmla="*/ 2147483647 w 362"/>
                    <a:gd name="T105" fmla="*/ 2147483647 h 307"/>
                    <a:gd name="T106" fmla="*/ 2147483647 w 362"/>
                    <a:gd name="T107" fmla="*/ 2147483647 h 307"/>
                    <a:gd name="T108" fmla="*/ 2147483647 w 362"/>
                    <a:gd name="T109" fmla="*/ 2147483647 h 307"/>
                    <a:gd name="T110" fmla="*/ 2147483647 w 362"/>
                    <a:gd name="T111" fmla="*/ 2147483647 h 307"/>
                    <a:gd name="T112" fmla="*/ 2147483647 w 362"/>
                    <a:gd name="T113" fmla="*/ 2147483647 h 307"/>
                    <a:gd name="T114" fmla="*/ 2147483647 w 362"/>
                    <a:gd name="T115" fmla="*/ 2147483647 h 3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2"/>
                    <a:gd name="T175" fmla="*/ 0 h 307"/>
                    <a:gd name="T176" fmla="*/ 362 w 362"/>
                    <a:gd name="T177" fmla="*/ 307 h 30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2" h="307">
                      <a:moveTo>
                        <a:pt x="241" y="74"/>
                      </a:moveTo>
                      <a:lnTo>
                        <a:pt x="241" y="74"/>
                      </a:lnTo>
                      <a:lnTo>
                        <a:pt x="236" y="76"/>
                      </a:lnTo>
                      <a:lnTo>
                        <a:pt x="232" y="76"/>
                      </a:lnTo>
                      <a:lnTo>
                        <a:pt x="229" y="74"/>
                      </a:lnTo>
                      <a:lnTo>
                        <a:pt x="226" y="72"/>
                      </a:lnTo>
                      <a:lnTo>
                        <a:pt x="220" y="66"/>
                      </a:lnTo>
                      <a:lnTo>
                        <a:pt x="213" y="60"/>
                      </a:lnTo>
                      <a:lnTo>
                        <a:pt x="206" y="57"/>
                      </a:lnTo>
                      <a:lnTo>
                        <a:pt x="199" y="51"/>
                      </a:lnTo>
                      <a:lnTo>
                        <a:pt x="196" y="48"/>
                      </a:lnTo>
                      <a:lnTo>
                        <a:pt x="194" y="46"/>
                      </a:lnTo>
                      <a:lnTo>
                        <a:pt x="194" y="45"/>
                      </a:lnTo>
                      <a:lnTo>
                        <a:pt x="182" y="40"/>
                      </a:lnTo>
                      <a:lnTo>
                        <a:pt x="175" y="38"/>
                      </a:lnTo>
                      <a:lnTo>
                        <a:pt x="169" y="38"/>
                      </a:lnTo>
                      <a:lnTo>
                        <a:pt x="164" y="38"/>
                      </a:lnTo>
                      <a:lnTo>
                        <a:pt x="160" y="38"/>
                      </a:lnTo>
                      <a:lnTo>
                        <a:pt x="155" y="39"/>
                      </a:lnTo>
                      <a:lnTo>
                        <a:pt x="151" y="38"/>
                      </a:lnTo>
                      <a:lnTo>
                        <a:pt x="150" y="35"/>
                      </a:lnTo>
                      <a:lnTo>
                        <a:pt x="150" y="33"/>
                      </a:lnTo>
                      <a:lnTo>
                        <a:pt x="149" y="29"/>
                      </a:lnTo>
                      <a:lnTo>
                        <a:pt x="147" y="26"/>
                      </a:lnTo>
                      <a:lnTo>
                        <a:pt x="146" y="26"/>
                      </a:lnTo>
                      <a:lnTo>
                        <a:pt x="143" y="26"/>
                      </a:lnTo>
                      <a:lnTo>
                        <a:pt x="138" y="27"/>
                      </a:lnTo>
                      <a:lnTo>
                        <a:pt x="137" y="26"/>
                      </a:lnTo>
                      <a:lnTo>
                        <a:pt x="136" y="25"/>
                      </a:lnTo>
                      <a:lnTo>
                        <a:pt x="133" y="21"/>
                      </a:lnTo>
                      <a:lnTo>
                        <a:pt x="126" y="17"/>
                      </a:lnTo>
                      <a:lnTo>
                        <a:pt x="119" y="16"/>
                      </a:lnTo>
                      <a:lnTo>
                        <a:pt x="112" y="14"/>
                      </a:lnTo>
                      <a:lnTo>
                        <a:pt x="105" y="10"/>
                      </a:lnTo>
                      <a:lnTo>
                        <a:pt x="98" y="7"/>
                      </a:lnTo>
                      <a:lnTo>
                        <a:pt x="90" y="4"/>
                      </a:lnTo>
                      <a:lnTo>
                        <a:pt x="80" y="3"/>
                      </a:lnTo>
                      <a:lnTo>
                        <a:pt x="70" y="1"/>
                      </a:lnTo>
                      <a:lnTo>
                        <a:pt x="66" y="0"/>
                      </a:lnTo>
                      <a:lnTo>
                        <a:pt x="61" y="0"/>
                      </a:lnTo>
                      <a:lnTo>
                        <a:pt x="50" y="1"/>
                      </a:lnTo>
                      <a:lnTo>
                        <a:pt x="39" y="3"/>
                      </a:lnTo>
                      <a:lnTo>
                        <a:pt x="30" y="7"/>
                      </a:lnTo>
                      <a:lnTo>
                        <a:pt x="28" y="8"/>
                      </a:lnTo>
                      <a:lnTo>
                        <a:pt x="27" y="10"/>
                      </a:lnTo>
                      <a:lnTo>
                        <a:pt x="27" y="12"/>
                      </a:lnTo>
                      <a:lnTo>
                        <a:pt x="28" y="14"/>
                      </a:lnTo>
                      <a:lnTo>
                        <a:pt x="34" y="19"/>
                      </a:lnTo>
                      <a:lnTo>
                        <a:pt x="44" y="28"/>
                      </a:lnTo>
                      <a:lnTo>
                        <a:pt x="34" y="36"/>
                      </a:lnTo>
                      <a:lnTo>
                        <a:pt x="24" y="46"/>
                      </a:lnTo>
                      <a:lnTo>
                        <a:pt x="22" y="47"/>
                      </a:lnTo>
                      <a:lnTo>
                        <a:pt x="18" y="46"/>
                      </a:lnTo>
                      <a:lnTo>
                        <a:pt x="9" y="44"/>
                      </a:lnTo>
                      <a:lnTo>
                        <a:pt x="5" y="44"/>
                      </a:lnTo>
                      <a:lnTo>
                        <a:pt x="0" y="45"/>
                      </a:lnTo>
                      <a:lnTo>
                        <a:pt x="1" y="52"/>
                      </a:lnTo>
                      <a:lnTo>
                        <a:pt x="3" y="59"/>
                      </a:lnTo>
                      <a:lnTo>
                        <a:pt x="1" y="73"/>
                      </a:lnTo>
                      <a:lnTo>
                        <a:pt x="1" y="74"/>
                      </a:lnTo>
                      <a:lnTo>
                        <a:pt x="4" y="74"/>
                      </a:lnTo>
                      <a:lnTo>
                        <a:pt x="6" y="74"/>
                      </a:lnTo>
                      <a:lnTo>
                        <a:pt x="9" y="76"/>
                      </a:lnTo>
                      <a:lnTo>
                        <a:pt x="9" y="77"/>
                      </a:lnTo>
                      <a:lnTo>
                        <a:pt x="9" y="79"/>
                      </a:lnTo>
                      <a:lnTo>
                        <a:pt x="9" y="81"/>
                      </a:lnTo>
                      <a:lnTo>
                        <a:pt x="11" y="84"/>
                      </a:lnTo>
                      <a:lnTo>
                        <a:pt x="14" y="84"/>
                      </a:lnTo>
                      <a:lnTo>
                        <a:pt x="16" y="85"/>
                      </a:lnTo>
                      <a:lnTo>
                        <a:pt x="18" y="86"/>
                      </a:lnTo>
                      <a:lnTo>
                        <a:pt x="22" y="102"/>
                      </a:lnTo>
                      <a:lnTo>
                        <a:pt x="24" y="109"/>
                      </a:lnTo>
                      <a:lnTo>
                        <a:pt x="28" y="115"/>
                      </a:lnTo>
                      <a:lnTo>
                        <a:pt x="32" y="121"/>
                      </a:lnTo>
                      <a:lnTo>
                        <a:pt x="36" y="125"/>
                      </a:lnTo>
                      <a:lnTo>
                        <a:pt x="37" y="131"/>
                      </a:lnTo>
                      <a:lnTo>
                        <a:pt x="37" y="137"/>
                      </a:lnTo>
                      <a:lnTo>
                        <a:pt x="37" y="141"/>
                      </a:lnTo>
                      <a:lnTo>
                        <a:pt x="38" y="145"/>
                      </a:lnTo>
                      <a:lnTo>
                        <a:pt x="41" y="148"/>
                      </a:lnTo>
                      <a:lnTo>
                        <a:pt x="43" y="151"/>
                      </a:lnTo>
                      <a:lnTo>
                        <a:pt x="46" y="153"/>
                      </a:lnTo>
                      <a:lnTo>
                        <a:pt x="50" y="155"/>
                      </a:lnTo>
                      <a:lnTo>
                        <a:pt x="57" y="156"/>
                      </a:lnTo>
                      <a:lnTo>
                        <a:pt x="58" y="157"/>
                      </a:lnTo>
                      <a:lnTo>
                        <a:pt x="58" y="159"/>
                      </a:lnTo>
                      <a:lnTo>
                        <a:pt x="58" y="162"/>
                      </a:lnTo>
                      <a:lnTo>
                        <a:pt x="65" y="169"/>
                      </a:lnTo>
                      <a:lnTo>
                        <a:pt x="70" y="179"/>
                      </a:lnTo>
                      <a:lnTo>
                        <a:pt x="72" y="187"/>
                      </a:lnTo>
                      <a:lnTo>
                        <a:pt x="72" y="196"/>
                      </a:lnTo>
                      <a:lnTo>
                        <a:pt x="72" y="201"/>
                      </a:lnTo>
                      <a:lnTo>
                        <a:pt x="72" y="206"/>
                      </a:lnTo>
                      <a:lnTo>
                        <a:pt x="74" y="210"/>
                      </a:lnTo>
                      <a:lnTo>
                        <a:pt x="76" y="213"/>
                      </a:lnTo>
                      <a:lnTo>
                        <a:pt x="76" y="214"/>
                      </a:lnTo>
                      <a:lnTo>
                        <a:pt x="76" y="215"/>
                      </a:lnTo>
                      <a:lnTo>
                        <a:pt x="76" y="223"/>
                      </a:lnTo>
                      <a:lnTo>
                        <a:pt x="77" y="228"/>
                      </a:lnTo>
                      <a:lnTo>
                        <a:pt x="81" y="233"/>
                      </a:lnTo>
                      <a:lnTo>
                        <a:pt x="85" y="237"/>
                      </a:lnTo>
                      <a:lnTo>
                        <a:pt x="91" y="240"/>
                      </a:lnTo>
                      <a:lnTo>
                        <a:pt x="96" y="244"/>
                      </a:lnTo>
                      <a:lnTo>
                        <a:pt x="110" y="247"/>
                      </a:lnTo>
                      <a:lnTo>
                        <a:pt x="112" y="249"/>
                      </a:lnTo>
                      <a:lnTo>
                        <a:pt x="112" y="250"/>
                      </a:lnTo>
                      <a:lnTo>
                        <a:pt x="116" y="262"/>
                      </a:lnTo>
                      <a:lnTo>
                        <a:pt x="117" y="268"/>
                      </a:lnTo>
                      <a:lnTo>
                        <a:pt x="121" y="272"/>
                      </a:lnTo>
                      <a:lnTo>
                        <a:pt x="123" y="276"/>
                      </a:lnTo>
                      <a:lnTo>
                        <a:pt x="127" y="279"/>
                      </a:lnTo>
                      <a:lnTo>
                        <a:pt x="130" y="283"/>
                      </a:lnTo>
                      <a:lnTo>
                        <a:pt x="132" y="288"/>
                      </a:lnTo>
                      <a:lnTo>
                        <a:pt x="133" y="297"/>
                      </a:lnTo>
                      <a:lnTo>
                        <a:pt x="138" y="307"/>
                      </a:lnTo>
                      <a:lnTo>
                        <a:pt x="141" y="304"/>
                      </a:lnTo>
                      <a:lnTo>
                        <a:pt x="143" y="303"/>
                      </a:lnTo>
                      <a:lnTo>
                        <a:pt x="151" y="303"/>
                      </a:lnTo>
                      <a:lnTo>
                        <a:pt x="159" y="303"/>
                      </a:lnTo>
                      <a:lnTo>
                        <a:pt x="165" y="303"/>
                      </a:lnTo>
                      <a:lnTo>
                        <a:pt x="182" y="302"/>
                      </a:lnTo>
                      <a:lnTo>
                        <a:pt x="197" y="302"/>
                      </a:lnTo>
                      <a:lnTo>
                        <a:pt x="211" y="303"/>
                      </a:lnTo>
                      <a:lnTo>
                        <a:pt x="226" y="302"/>
                      </a:lnTo>
                      <a:lnTo>
                        <a:pt x="230" y="298"/>
                      </a:lnTo>
                      <a:lnTo>
                        <a:pt x="232" y="295"/>
                      </a:lnTo>
                      <a:lnTo>
                        <a:pt x="234" y="291"/>
                      </a:lnTo>
                      <a:lnTo>
                        <a:pt x="235" y="288"/>
                      </a:lnTo>
                      <a:lnTo>
                        <a:pt x="236" y="285"/>
                      </a:lnTo>
                      <a:lnTo>
                        <a:pt x="258" y="279"/>
                      </a:lnTo>
                      <a:lnTo>
                        <a:pt x="281" y="272"/>
                      </a:lnTo>
                      <a:lnTo>
                        <a:pt x="300" y="265"/>
                      </a:lnTo>
                      <a:lnTo>
                        <a:pt x="317" y="258"/>
                      </a:lnTo>
                      <a:lnTo>
                        <a:pt x="334" y="250"/>
                      </a:lnTo>
                      <a:lnTo>
                        <a:pt x="347" y="243"/>
                      </a:lnTo>
                      <a:lnTo>
                        <a:pt x="348" y="240"/>
                      </a:lnTo>
                      <a:lnTo>
                        <a:pt x="349" y="237"/>
                      </a:lnTo>
                      <a:lnTo>
                        <a:pt x="352" y="231"/>
                      </a:lnTo>
                      <a:lnTo>
                        <a:pt x="358" y="219"/>
                      </a:lnTo>
                      <a:lnTo>
                        <a:pt x="362" y="206"/>
                      </a:lnTo>
                      <a:lnTo>
                        <a:pt x="362" y="200"/>
                      </a:lnTo>
                      <a:lnTo>
                        <a:pt x="362" y="193"/>
                      </a:lnTo>
                      <a:lnTo>
                        <a:pt x="361" y="187"/>
                      </a:lnTo>
                      <a:lnTo>
                        <a:pt x="358" y="181"/>
                      </a:lnTo>
                      <a:lnTo>
                        <a:pt x="357" y="182"/>
                      </a:lnTo>
                      <a:lnTo>
                        <a:pt x="354" y="183"/>
                      </a:lnTo>
                      <a:lnTo>
                        <a:pt x="350" y="183"/>
                      </a:lnTo>
                      <a:lnTo>
                        <a:pt x="338" y="180"/>
                      </a:lnTo>
                      <a:lnTo>
                        <a:pt x="325" y="178"/>
                      </a:lnTo>
                      <a:lnTo>
                        <a:pt x="300" y="173"/>
                      </a:lnTo>
                      <a:lnTo>
                        <a:pt x="295" y="170"/>
                      </a:lnTo>
                      <a:lnTo>
                        <a:pt x="292" y="169"/>
                      </a:lnTo>
                      <a:lnTo>
                        <a:pt x="290" y="167"/>
                      </a:lnTo>
                      <a:lnTo>
                        <a:pt x="290" y="163"/>
                      </a:lnTo>
                      <a:lnTo>
                        <a:pt x="288" y="156"/>
                      </a:lnTo>
                      <a:lnTo>
                        <a:pt x="287" y="151"/>
                      </a:lnTo>
                      <a:lnTo>
                        <a:pt x="286" y="147"/>
                      </a:lnTo>
                      <a:lnTo>
                        <a:pt x="284" y="145"/>
                      </a:lnTo>
                      <a:lnTo>
                        <a:pt x="282" y="144"/>
                      </a:lnTo>
                      <a:lnTo>
                        <a:pt x="281" y="142"/>
                      </a:lnTo>
                      <a:lnTo>
                        <a:pt x="282" y="136"/>
                      </a:lnTo>
                      <a:lnTo>
                        <a:pt x="277" y="134"/>
                      </a:lnTo>
                      <a:lnTo>
                        <a:pt x="272" y="129"/>
                      </a:lnTo>
                      <a:lnTo>
                        <a:pt x="270" y="128"/>
                      </a:lnTo>
                      <a:lnTo>
                        <a:pt x="269" y="124"/>
                      </a:lnTo>
                      <a:lnTo>
                        <a:pt x="267" y="119"/>
                      </a:lnTo>
                      <a:lnTo>
                        <a:pt x="265" y="115"/>
                      </a:lnTo>
                      <a:lnTo>
                        <a:pt x="264" y="110"/>
                      </a:lnTo>
                      <a:lnTo>
                        <a:pt x="264" y="104"/>
                      </a:lnTo>
                      <a:lnTo>
                        <a:pt x="264" y="100"/>
                      </a:lnTo>
                      <a:lnTo>
                        <a:pt x="263" y="97"/>
                      </a:lnTo>
                      <a:lnTo>
                        <a:pt x="259" y="93"/>
                      </a:lnTo>
                      <a:lnTo>
                        <a:pt x="254" y="92"/>
                      </a:lnTo>
                      <a:lnTo>
                        <a:pt x="251" y="91"/>
                      </a:lnTo>
                      <a:lnTo>
                        <a:pt x="250" y="87"/>
                      </a:lnTo>
                      <a:lnTo>
                        <a:pt x="249" y="81"/>
                      </a:lnTo>
                      <a:lnTo>
                        <a:pt x="248" y="79"/>
                      </a:lnTo>
                      <a:lnTo>
                        <a:pt x="245" y="78"/>
                      </a:lnTo>
                      <a:lnTo>
                        <a:pt x="241" y="7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6" name="Freeform 653"/>
                <p:cNvSpPr>
                  <a:spLocks/>
                </p:cNvSpPr>
                <p:nvPr/>
              </p:nvSpPr>
              <p:spPr bwMode="auto">
                <a:xfrm>
                  <a:off x="5822816" y="3854750"/>
                  <a:ext cx="130229" cy="99150"/>
                </a:xfrm>
                <a:custGeom>
                  <a:avLst/>
                  <a:gdLst>
                    <a:gd name="T0" fmla="*/ 2147483647 w 95"/>
                    <a:gd name="T1" fmla="*/ 2147483647 h 67"/>
                    <a:gd name="T2" fmla="*/ 2147483647 w 95"/>
                    <a:gd name="T3" fmla="*/ 2147483647 h 67"/>
                    <a:gd name="T4" fmla="*/ 2147483647 w 95"/>
                    <a:gd name="T5" fmla="*/ 2147483647 h 67"/>
                    <a:gd name="T6" fmla="*/ 2147483647 w 95"/>
                    <a:gd name="T7" fmla="*/ 2147483647 h 67"/>
                    <a:gd name="T8" fmla="*/ 2147483647 w 95"/>
                    <a:gd name="T9" fmla="*/ 2147483647 h 67"/>
                    <a:gd name="T10" fmla="*/ 2147483647 w 95"/>
                    <a:gd name="T11" fmla="*/ 2147483647 h 67"/>
                    <a:gd name="T12" fmla="*/ 2147483647 w 95"/>
                    <a:gd name="T13" fmla="*/ 2147483647 h 67"/>
                    <a:gd name="T14" fmla="*/ 2147483647 w 95"/>
                    <a:gd name="T15" fmla="*/ 2147483647 h 67"/>
                    <a:gd name="T16" fmla="*/ 2147483647 w 95"/>
                    <a:gd name="T17" fmla="*/ 2147483647 h 67"/>
                    <a:gd name="T18" fmla="*/ 2147483647 w 95"/>
                    <a:gd name="T19" fmla="*/ 2147483647 h 67"/>
                    <a:gd name="T20" fmla="*/ 2147483647 w 95"/>
                    <a:gd name="T21" fmla="*/ 2147483647 h 67"/>
                    <a:gd name="T22" fmla="*/ 2147483647 w 95"/>
                    <a:gd name="T23" fmla="*/ 2147483647 h 67"/>
                    <a:gd name="T24" fmla="*/ 2147483647 w 95"/>
                    <a:gd name="T25" fmla="*/ 2147483647 h 67"/>
                    <a:gd name="T26" fmla="*/ 2147483647 w 95"/>
                    <a:gd name="T27" fmla="*/ 2147483647 h 67"/>
                    <a:gd name="T28" fmla="*/ 2147483647 w 95"/>
                    <a:gd name="T29" fmla="*/ 2147483647 h 67"/>
                    <a:gd name="T30" fmla="*/ 2147483647 w 95"/>
                    <a:gd name="T31" fmla="*/ 2147483647 h 67"/>
                    <a:gd name="T32" fmla="*/ 2147483647 w 95"/>
                    <a:gd name="T33" fmla="*/ 2147483647 h 67"/>
                    <a:gd name="T34" fmla="*/ 2147483647 w 95"/>
                    <a:gd name="T35" fmla="*/ 2147483647 h 67"/>
                    <a:gd name="T36" fmla="*/ 2147483647 w 95"/>
                    <a:gd name="T37" fmla="*/ 2147483647 h 67"/>
                    <a:gd name="T38" fmla="*/ 2147483647 w 95"/>
                    <a:gd name="T39" fmla="*/ 2147483647 h 67"/>
                    <a:gd name="T40" fmla="*/ 2147483647 w 95"/>
                    <a:gd name="T41" fmla="*/ 2147483647 h 67"/>
                    <a:gd name="T42" fmla="*/ 2147483647 w 95"/>
                    <a:gd name="T43" fmla="*/ 0 h 67"/>
                    <a:gd name="T44" fmla="*/ 2147483647 w 95"/>
                    <a:gd name="T45" fmla="*/ 2147483647 h 67"/>
                    <a:gd name="T46" fmla="*/ 2147483647 w 95"/>
                    <a:gd name="T47" fmla="*/ 2147483647 h 67"/>
                    <a:gd name="T48" fmla="*/ 2147483647 w 95"/>
                    <a:gd name="T49" fmla="*/ 2147483647 h 67"/>
                    <a:gd name="T50" fmla="*/ 2147483647 w 95"/>
                    <a:gd name="T51" fmla="*/ 2147483647 h 67"/>
                    <a:gd name="T52" fmla="*/ 2147483647 w 95"/>
                    <a:gd name="T53" fmla="*/ 2147483647 h 67"/>
                    <a:gd name="T54" fmla="*/ 2147483647 w 95"/>
                    <a:gd name="T55" fmla="*/ 2147483647 h 67"/>
                    <a:gd name="T56" fmla="*/ 2147483647 w 95"/>
                    <a:gd name="T57" fmla="*/ 2147483647 h 67"/>
                    <a:gd name="T58" fmla="*/ 2147483647 w 95"/>
                    <a:gd name="T59" fmla="*/ 2147483647 h 67"/>
                    <a:gd name="T60" fmla="*/ 2147483647 w 95"/>
                    <a:gd name="T61" fmla="*/ 2147483647 h 67"/>
                    <a:gd name="T62" fmla="*/ 2147483647 w 95"/>
                    <a:gd name="T63" fmla="*/ 2147483647 h 67"/>
                    <a:gd name="T64" fmla="*/ 2147483647 w 95"/>
                    <a:gd name="T65" fmla="*/ 2147483647 h 67"/>
                    <a:gd name="T66" fmla="*/ 2147483647 w 95"/>
                    <a:gd name="T67" fmla="*/ 2147483647 h 67"/>
                    <a:gd name="T68" fmla="*/ 2147483647 w 95"/>
                    <a:gd name="T69" fmla="*/ 2147483647 h 67"/>
                    <a:gd name="T70" fmla="*/ 2147483647 w 95"/>
                    <a:gd name="T71" fmla="*/ 2147483647 h 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
                    <a:gd name="T109" fmla="*/ 0 h 67"/>
                    <a:gd name="T110" fmla="*/ 95 w 95"/>
                    <a:gd name="T111" fmla="*/ 67 h 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 h="67">
                      <a:moveTo>
                        <a:pt x="6" y="20"/>
                      </a:moveTo>
                      <a:lnTo>
                        <a:pt x="6" y="20"/>
                      </a:lnTo>
                      <a:lnTo>
                        <a:pt x="1" y="20"/>
                      </a:lnTo>
                      <a:lnTo>
                        <a:pt x="0" y="26"/>
                      </a:lnTo>
                      <a:lnTo>
                        <a:pt x="1" y="28"/>
                      </a:lnTo>
                      <a:lnTo>
                        <a:pt x="3" y="29"/>
                      </a:lnTo>
                      <a:lnTo>
                        <a:pt x="5" y="31"/>
                      </a:lnTo>
                      <a:lnTo>
                        <a:pt x="6" y="35"/>
                      </a:lnTo>
                      <a:lnTo>
                        <a:pt x="7" y="40"/>
                      </a:lnTo>
                      <a:lnTo>
                        <a:pt x="9" y="47"/>
                      </a:lnTo>
                      <a:lnTo>
                        <a:pt x="9" y="51"/>
                      </a:lnTo>
                      <a:lnTo>
                        <a:pt x="11" y="53"/>
                      </a:lnTo>
                      <a:lnTo>
                        <a:pt x="14" y="54"/>
                      </a:lnTo>
                      <a:lnTo>
                        <a:pt x="19" y="57"/>
                      </a:lnTo>
                      <a:lnTo>
                        <a:pt x="44" y="62"/>
                      </a:lnTo>
                      <a:lnTo>
                        <a:pt x="57" y="64"/>
                      </a:lnTo>
                      <a:lnTo>
                        <a:pt x="69" y="67"/>
                      </a:lnTo>
                      <a:lnTo>
                        <a:pt x="73" y="67"/>
                      </a:lnTo>
                      <a:lnTo>
                        <a:pt x="76" y="66"/>
                      </a:lnTo>
                      <a:lnTo>
                        <a:pt x="77" y="65"/>
                      </a:lnTo>
                      <a:lnTo>
                        <a:pt x="85" y="54"/>
                      </a:lnTo>
                      <a:lnTo>
                        <a:pt x="86" y="48"/>
                      </a:lnTo>
                      <a:lnTo>
                        <a:pt x="86" y="43"/>
                      </a:lnTo>
                      <a:lnTo>
                        <a:pt x="83" y="38"/>
                      </a:lnTo>
                      <a:lnTo>
                        <a:pt x="82" y="32"/>
                      </a:lnTo>
                      <a:lnTo>
                        <a:pt x="83" y="28"/>
                      </a:lnTo>
                      <a:lnTo>
                        <a:pt x="85" y="26"/>
                      </a:lnTo>
                      <a:lnTo>
                        <a:pt x="89" y="22"/>
                      </a:lnTo>
                      <a:lnTo>
                        <a:pt x="91" y="21"/>
                      </a:lnTo>
                      <a:lnTo>
                        <a:pt x="95" y="20"/>
                      </a:lnTo>
                      <a:lnTo>
                        <a:pt x="92" y="13"/>
                      </a:lnTo>
                      <a:lnTo>
                        <a:pt x="92" y="9"/>
                      </a:lnTo>
                      <a:lnTo>
                        <a:pt x="92" y="5"/>
                      </a:lnTo>
                      <a:lnTo>
                        <a:pt x="85" y="0"/>
                      </a:lnTo>
                      <a:lnTo>
                        <a:pt x="78" y="7"/>
                      </a:lnTo>
                      <a:lnTo>
                        <a:pt x="71" y="14"/>
                      </a:lnTo>
                      <a:lnTo>
                        <a:pt x="63" y="20"/>
                      </a:lnTo>
                      <a:lnTo>
                        <a:pt x="58" y="27"/>
                      </a:lnTo>
                      <a:lnTo>
                        <a:pt x="52" y="34"/>
                      </a:lnTo>
                      <a:lnTo>
                        <a:pt x="45" y="40"/>
                      </a:lnTo>
                      <a:lnTo>
                        <a:pt x="44" y="40"/>
                      </a:lnTo>
                      <a:lnTo>
                        <a:pt x="42" y="40"/>
                      </a:lnTo>
                      <a:lnTo>
                        <a:pt x="40" y="39"/>
                      </a:lnTo>
                      <a:lnTo>
                        <a:pt x="39" y="38"/>
                      </a:lnTo>
                      <a:lnTo>
                        <a:pt x="33" y="39"/>
                      </a:lnTo>
                      <a:lnTo>
                        <a:pt x="26" y="41"/>
                      </a:lnTo>
                      <a:lnTo>
                        <a:pt x="21" y="41"/>
                      </a:lnTo>
                      <a:lnTo>
                        <a:pt x="19" y="40"/>
                      </a:lnTo>
                      <a:lnTo>
                        <a:pt x="16" y="39"/>
                      </a:lnTo>
                      <a:lnTo>
                        <a:pt x="14" y="33"/>
                      </a:lnTo>
                      <a:lnTo>
                        <a:pt x="11" y="28"/>
                      </a:lnTo>
                      <a:lnTo>
                        <a:pt x="7" y="25"/>
                      </a:lnTo>
                      <a:lnTo>
                        <a:pt x="6" y="22"/>
                      </a:lnTo>
                      <a:lnTo>
                        <a:pt x="5" y="21"/>
                      </a:lnTo>
                      <a:lnTo>
                        <a:pt x="6" y="2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7" name="Freeform 654"/>
                <p:cNvSpPr>
                  <a:spLocks/>
                </p:cNvSpPr>
                <p:nvPr/>
              </p:nvSpPr>
              <p:spPr bwMode="auto">
                <a:xfrm>
                  <a:off x="5824296" y="3885827"/>
                  <a:ext cx="207182" cy="260457"/>
                </a:xfrm>
                <a:custGeom>
                  <a:avLst/>
                  <a:gdLst>
                    <a:gd name="T0" fmla="*/ 2147483647 w 152"/>
                    <a:gd name="T1" fmla="*/ 2147483647 h 176"/>
                    <a:gd name="T2" fmla="*/ 2147483647 w 152"/>
                    <a:gd name="T3" fmla="*/ 2147483647 h 176"/>
                    <a:gd name="T4" fmla="*/ 2147483647 w 152"/>
                    <a:gd name="T5" fmla="*/ 2147483647 h 176"/>
                    <a:gd name="T6" fmla="*/ 2147483647 w 152"/>
                    <a:gd name="T7" fmla="*/ 2147483647 h 176"/>
                    <a:gd name="T8" fmla="*/ 2147483647 w 152"/>
                    <a:gd name="T9" fmla="*/ 2147483647 h 176"/>
                    <a:gd name="T10" fmla="*/ 2147483647 w 152"/>
                    <a:gd name="T11" fmla="*/ 2147483647 h 176"/>
                    <a:gd name="T12" fmla="*/ 0 w 152"/>
                    <a:gd name="T13" fmla="*/ 2147483647 h 176"/>
                    <a:gd name="T14" fmla="*/ 2147483647 w 152"/>
                    <a:gd name="T15" fmla="*/ 2147483647 h 176"/>
                    <a:gd name="T16" fmla="*/ 2147483647 w 152"/>
                    <a:gd name="T17" fmla="*/ 2147483647 h 176"/>
                    <a:gd name="T18" fmla="*/ 2147483647 w 152"/>
                    <a:gd name="T19" fmla="*/ 2147483647 h 176"/>
                    <a:gd name="T20" fmla="*/ 2147483647 w 152"/>
                    <a:gd name="T21" fmla="*/ 2147483647 h 176"/>
                    <a:gd name="T22" fmla="*/ 2147483647 w 152"/>
                    <a:gd name="T23" fmla="*/ 2147483647 h 176"/>
                    <a:gd name="T24" fmla="*/ 2147483647 w 152"/>
                    <a:gd name="T25" fmla="*/ 2147483647 h 176"/>
                    <a:gd name="T26" fmla="*/ 2147483647 w 152"/>
                    <a:gd name="T27" fmla="*/ 2147483647 h 176"/>
                    <a:gd name="T28" fmla="*/ 2147483647 w 152"/>
                    <a:gd name="T29" fmla="*/ 2147483647 h 176"/>
                    <a:gd name="T30" fmla="*/ 2147483647 w 152"/>
                    <a:gd name="T31" fmla="*/ 2147483647 h 176"/>
                    <a:gd name="T32" fmla="*/ 2147483647 w 152"/>
                    <a:gd name="T33" fmla="*/ 2147483647 h 176"/>
                    <a:gd name="T34" fmla="*/ 2147483647 w 152"/>
                    <a:gd name="T35" fmla="*/ 2147483647 h 176"/>
                    <a:gd name="T36" fmla="*/ 2147483647 w 152"/>
                    <a:gd name="T37" fmla="*/ 2147483647 h 176"/>
                    <a:gd name="T38" fmla="*/ 2147483647 w 152"/>
                    <a:gd name="T39" fmla="*/ 2147483647 h 176"/>
                    <a:gd name="T40" fmla="*/ 2147483647 w 152"/>
                    <a:gd name="T41" fmla="*/ 2147483647 h 176"/>
                    <a:gd name="T42" fmla="*/ 2147483647 w 152"/>
                    <a:gd name="T43" fmla="*/ 2147483647 h 176"/>
                    <a:gd name="T44" fmla="*/ 2147483647 w 152"/>
                    <a:gd name="T45" fmla="*/ 2147483647 h 176"/>
                    <a:gd name="T46" fmla="*/ 2147483647 w 152"/>
                    <a:gd name="T47" fmla="*/ 2147483647 h 176"/>
                    <a:gd name="T48" fmla="*/ 2147483647 w 152"/>
                    <a:gd name="T49" fmla="*/ 2147483647 h 176"/>
                    <a:gd name="T50" fmla="*/ 2147483647 w 152"/>
                    <a:gd name="T51" fmla="*/ 2147483647 h 176"/>
                    <a:gd name="T52" fmla="*/ 2147483647 w 152"/>
                    <a:gd name="T53" fmla="*/ 2147483647 h 176"/>
                    <a:gd name="T54" fmla="*/ 2147483647 w 152"/>
                    <a:gd name="T55" fmla="*/ 2147483647 h 176"/>
                    <a:gd name="T56" fmla="*/ 2147483647 w 152"/>
                    <a:gd name="T57" fmla="*/ 2147483647 h 176"/>
                    <a:gd name="T58" fmla="*/ 2147483647 w 152"/>
                    <a:gd name="T59" fmla="*/ 2147483647 h 176"/>
                    <a:gd name="T60" fmla="*/ 2147483647 w 152"/>
                    <a:gd name="T61" fmla="*/ 2147483647 h 176"/>
                    <a:gd name="T62" fmla="*/ 2147483647 w 152"/>
                    <a:gd name="T63" fmla="*/ 2147483647 h 176"/>
                    <a:gd name="T64" fmla="*/ 2147483647 w 152"/>
                    <a:gd name="T65" fmla="*/ 2147483647 h 176"/>
                    <a:gd name="T66" fmla="*/ 2147483647 w 152"/>
                    <a:gd name="T67" fmla="*/ 2147483647 h 176"/>
                    <a:gd name="T68" fmla="*/ 2147483647 w 152"/>
                    <a:gd name="T69" fmla="*/ 2147483647 h 176"/>
                    <a:gd name="T70" fmla="*/ 2147483647 w 152"/>
                    <a:gd name="T71" fmla="*/ 2147483647 h 176"/>
                    <a:gd name="T72" fmla="*/ 2147483647 w 152"/>
                    <a:gd name="T73" fmla="*/ 2147483647 h 176"/>
                    <a:gd name="T74" fmla="*/ 2147483647 w 152"/>
                    <a:gd name="T75" fmla="*/ 2147483647 h 176"/>
                    <a:gd name="T76" fmla="*/ 2147483647 w 152"/>
                    <a:gd name="T77" fmla="*/ 2147483647 h 176"/>
                    <a:gd name="T78" fmla="*/ 2147483647 w 152"/>
                    <a:gd name="T79" fmla="*/ 2147483647 h 176"/>
                    <a:gd name="T80" fmla="*/ 2147483647 w 152"/>
                    <a:gd name="T81" fmla="*/ 2147483647 h 176"/>
                    <a:gd name="T82" fmla="*/ 2147483647 w 152"/>
                    <a:gd name="T83" fmla="*/ 2147483647 h 176"/>
                    <a:gd name="T84" fmla="*/ 2147483647 w 152"/>
                    <a:gd name="T85" fmla="*/ 0 h 176"/>
                    <a:gd name="T86" fmla="*/ 2147483647 w 152"/>
                    <a:gd name="T87" fmla="*/ 2147483647 h 176"/>
                    <a:gd name="T88" fmla="*/ 2147483647 w 152"/>
                    <a:gd name="T89" fmla="*/ 2147483647 h 176"/>
                    <a:gd name="T90" fmla="*/ 2147483647 w 152"/>
                    <a:gd name="T91" fmla="*/ 2147483647 h 176"/>
                    <a:gd name="T92" fmla="*/ 2147483647 w 152"/>
                    <a:gd name="T93" fmla="*/ 2147483647 h 176"/>
                    <a:gd name="T94" fmla="*/ 2147483647 w 152"/>
                    <a:gd name="T95" fmla="*/ 2147483647 h 1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2"/>
                    <a:gd name="T145" fmla="*/ 0 h 176"/>
                    <a:gd name="T146" fmla="*/ 152 w 152"/>
                    <a:gd name="T147" fmla="*/ 176 h 1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2" h="176">
                      <a:moveTo>
                        <a:pt x="77" y="45"/>
                      </a:moveTo>
                      <a:lnTo>
                        <a:pt x="80" y="51"/>
                      </a:lnTo>
                      <a:lnTo>
                        <a:pt x="81" y="57"/>
                      </a:lnTo>
                      <a:lnTo>
                        <a:pt x="81" y="64"/>
                      </a:lnTo>
                      <a:lnTo>
                        <a:pt x="81" y="70"/>
                      </a:lnTo>
                      <a:lnTo>
                        <a:pt x="77" y="83"/>
                      </a:lnTo>
                      <a:lnTo>
                        <a:pt x="71" y="95"/>
                      </a:lnTo>
                      <a:lnTo>
                        <a:pt x="68" y="101"/>
                      </a:lnTo>
                      <a:lnTo>
                        <a:pt x="67" y="105"/>
                      </a:lnTo>
                      <a:lnTo>
                        <a:pt x="66" y="107"/>
                      </a:lnTo>
                      <a:lnTo>
                        <a:pt x="53" y="114"/>
                      </a:lnTo>
                      <a:lnTo>
                        <a:pt x="37" y="122"/>
                      </a:lnTo>
                      <a:lnTo>
                        <a:pt x="19" y="129"/>
                      </a:lnTo>
                      <a:lnTo>
                        <a:pt x="0" y="137"/>
                      </a:lnTo>
                      <a:lnTo>
                        <a:pt x="14" y="157"/>
                      </a:lnTo>
                      <a:lnTo>
                        <a:pt x="20" y="167"/>
                      </a:lnTo>
                      <a:lnTo>
                        <a:pt x="29" y="176"/>
                      </a:lnTo>
                      <a:lnTo>
                        <a:pt x="33" y="174"/>
                      </a:lnTo>
                      <a:lnTo>
                        <a:pt x="37" y="173"/>
                      </a:lnTo>
                      <a:lnTo>
                        <a:pt x="46" y="171"/>
                      </a:lnTo>
                      <a:lnTo>
                        <a:pt x="51" y="170"/>
                      </a:lnTo>
                      <a:lnTo>
                        <a:pt x="52" y="169"/>
                      </a:lnTo>
                      <a:lnTo>
                        <a:pt x="54" y="165"/>
                      </a:lnTo>
                      <a:lnTo>
                        <a:pt x="58" y="164"/>
                      </a:lnTo>
                      <a:lnTo>
                        <a:pt x="63" y="164"/>
                      </a:lnTo>
                      <a:lnTo>
                        <a:pt x="67" y="164"/>
                      </a:lnTo>
                      <a:lnTo>
                        <a:pt x="71" y="163"/>
                      </a:lnTo>
                      <a:lnTo>
                        <a:pt x="76" y="159"/>
                      </a:lnTo>
                      <a:lnTo>
                        <a:pt x="79" y="156"/>
                      </a:lnTo>
                      <a:lnTo>
                        <a:pt x="79" y="151"/>
                      </a:lnTo>
                      <a:lnTo>
                        <a:pt x="81" y="150"/>
                      </a:lnTo>
                      <a:lnTo>
                        <a:pt x="84" y="148"/>
                      </a:lnTo>
                      <a:lnTo>
                        <a:pt x="89" y="147"/>
                      </a:lnTo>
                      <a:lnTo>
                        <a:pt x="95" y="147"/>
                      </a:lnTo>
                      <a:lnTo>
                        <a:pt x="98" y="147"/>
                      </a:lnTo>
                      <a:lnTo>
                        <a:pt x="99" y="146"/>
                      </a:lnTo>
                      <a:lnTo>
                        <a:pt x="100" y="140"/>
                      </a:lnTo>
                      <a:lnTo>
                        <a:pt x="100" y="137"/>
                      </a:lnTo>
                      <a:lnTo>
                        <a:pt x="101" y="133"/>
                      </a:lnTo>
                      <a:lnTo>
                        <a:pt x="107" y="129"/>
                      </a:lnTo>
                      <a:lnTo>
                        <a:pt x="110" y="128"/>
                      </a:lnTo>
                      <a:lnTo>
                        <a:pt x="113" y="128"/>
                      </a:lnTo>
                      <a:lnTo>
                        <a:pt x="115" y="127"/>
                      </a:lnTo>
                      <a:lnTo>
                        <a:pt x="117" y="126"/>
                      </a:lnTo>
                      <a:lnTo>
                        <a:pt x="117" y="123"/>
                      </a:lnTo>
                      <a:lnTo>
                        <a:pt x="117" y="115"/>
                      </a:lnTo>
                      <a:lnTo>
                        <a:pt x="115" y="108"/>
                      </a:lnTo>
                      <a:lnTo>
                        <a:pt x="115" y="105"/>
                      </a:lnTo>
                      <a:lnTo>
                        <a:pt x="115" y="101"/>
                      </a:lnTo>
                      <a:lnTo>
                        <a:pt x="118" y="97"/>
                      </a:lnTo>
                      <a:lnTo>
                        <a:pt x="121" y="95"/>
                      </a:lnTo>
                      <a:lnTo>
                        <a:pt x="122" y="94"/>
                      </a:lnTo>
                      <a:lnTo>
                        <a:pt x="123" y="94"/>
                      </a:lnTo>
                      <a:lnTo>
                        <a:pt x="126" y="96"/>
                      </a:lnTo>
                      <a:lnTo>
                        <a:pt x="128" y="99"/>
                      </a:lnTo>
                      <a:lnTo>
                        <a:pt x="132" y="101"/>
                      </a:lnTo>
                      <a:lnTo>
                        <a:pt x="134" y="101"/>
                      </a:lnTo>
                      <a:lnTo>
                        <a:pt x="137" y="100"/>
                      </a:lnTo>
                      <a:lnTo>
                        <a:pt x="137" y="97"/>
                      </a:lnTo>
                      <a:lnTo>
                        <a:pt x="137" y="95"/>
                      </a:lnTo>
                      <a:lnTo>
                        <a:pt x="137" y="87"/>
                      </a:lnTo>
                      <a:lnTo>
                        <a:pt x="138" y="83"/>
                      </a:lnTo>
                      <a:lnTo>
                        <a:pt x="142" y="78"/>
                      </a:lnTo>
                      <a:lnTo>
                        <a:pt x="148" y="70"/>
                      </a:lnTo>
                      <a:lnTo>
                        <a:pt x="150" y="68"/>
                      </a:lnTo>
                      <a:lnTo>
                        <a:pt x="150" y="65"/>
                      </a:lnTo>
                      <a:lnTo>
                        <a:pt x="150" y="63"/>
                      </a:lnTo>
                      <a:lnTo>
                        <a:pt x="151" y="61"/>
                      </a:lnTo>
                      <a:lnTo>
                        <a:pt x="152" y="57"/>
                      </a:lnTo>
                      <a:lnTo>
                        <a:pt x="151" y="55"/>
                      </a:lnTo>
                      <a:lnTo>
                        <a:pt x="146" y="50"/>
                      </a:lnTo>
                      <a:lnTo>
                        <a:pt x="140" y="45"/>
                      </a:lnTo>
                      <a:lnTo>
                        <a:pt x="136" y="39"/>
                      </a:lnTo>
                      <a:lnTo>
                        <a:pt x="132" y="35"/>
                      </a:lnTo>
                      <a:lnTo>
                        <a:pt x="129" y="27"/>
                      </a:lnTo>
                      <a:lnTo>
                        <a:pt x="128" y="26"/>
                      </a:lnTo>
                      <a:lnTo>
                        <a:pt x="127" y="26"/>
                      </a:lnTo>
                      <a:lnTo>
                        <a:pt x="124" y="25"/>
                      </a:lnTo>
                      <a:lnTo>
                        <a:pt x="115" y="24"/>
                      </a:lnTo>
                      <a:lnTo>
                        <a:pt x="107" y="20"/>
                      </a:lnTo>
                      <a:lnTo>
                        <a:pt x="103" y="18"/>
                      </a:lnTo>
                      <a:lnTo>
                        <a:pt x="99" y="16"/>
                      </a:lnTo>
                      <a:lnTo>
                        <a:pt x="96" y="12"/>
                      </a:lnTo>
                      <a:lnTo>
                        <a:pt x="95" y="7"/>
                      </a:lnTo>
                      <a:lnTo>
                        <a:pt x="95" y="4"/>
                      </a:lnTo>
                      <a:lnTo>
                        <a:pt x="95" y="0"/>
                      </a:lnTo>
                      <a:lnTo>
                        <a:pt x="91" y="1"/>
                      </a:lnTo>
                      <a:lnTo>
                        <a:pt x="89" y="3"/>
                      </a:lnTo>
                      <a:lnTo>
                        <a:pt x="85" y="6"/>
                      </a:lnTo>
                      <a:lnTo>
                        <a:pt x="84" y="8"/>
                      </a:lnTo>
                      <a:lnTo>
                        <a:pt x="82" y="12"/>
                      </a:lnTo>
                      <a:lnTo>
                        <a:pt x="84" y="18"/>
                      </a:lnTo>
                      <a:lnTo>
                        <a:pt x="86" y="23"/>
                      </a:lnTo>
                      <a:lnTo>
                        <a:pt x="86" y="29"/>
                      </a:lnTo>
                      <a:lnTo>
                        <a:pt x="85" y="35"/>
                      </a:lnTo>
                      <a:lnTo>
                        <a:pt x="77" y="4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8" name="Freeform 655"/>
                <p:cNvSpPr>
                  <a:spLocks/>
                </p:cNvSpPr>
                <p:nvPr/>
              </p:nvSpPr>
              <p:spPr bwMode="auto">
                <a:xfrm>
                  <a:off x="5454328" y="3487739"/>
                  <a:ext cx="165746" cy="170185"/>
                </a:xfrm>
                <a:custGeom>
                  <a:avLst/>
                  <a:gdLst>
                    <a:gd name="T0" fmla="*/ 2147483647 w 122"/>
                    <a:gd name="T1" fmla="*/ 2147483647 h 115"/>
                    <a:gd name="T2" fmla="*/ 2147483647 w 122"/>
                    <a:gd name="T3" fmla="*/ 2147483647 h 115"/>
                    <a:gd name="T4" fmla="*/ 2147483647 w 122"/>
                    <a:gd name="T5" fmla="*/ 2147483647 h 115"/>
                    <a:gd name="T6" fmla="*/ 2147483647 w 122"/>
                    <a:gd name="T7" fmla="*/ 2147483647 h 115"/>
                    <a:gd name="T8" fmla="*/ 2147483647 w 122"/>
                    <a:gd name="T9" fmla="*/ 2147483647 h 115"/>
                    <a:gd name="T10" fmla="*/ 2147483647 w 122"/>
                    <a:gd name="T11" fmla="*/ 2147483647 h 115"/>
                    <a:gd name="T12" fmla="*/ 2147483647 w 122"/>
                    <a:gd name="T13" fmla="*/ 2147483647 h 115"/>
                    <a:gd name="T14" fmla="*/ 2147483647 w 122"/>
                    <a:gd name="T15" fmla="*/ 2147483647 h 115"/>
                    <a:gd name="T16" fmla="*/ 2147483647 w 122"/>
                    <a:gd name="T17" fmla="*/ 2147483647 h 115"/>
                    <a:gd name="T18" fmla="*/ 2147483647 w 122"/>
                    <a:gd name="T19" fmla="*/ 2147483647 h 115"/>
                    <a:gd name="T20" fmla="*/ 2147483647 w 122"/>
                    <a:gd name="T21" fmla="*/ 2147483647 h 115"/>
                    <a:gd name="T22" fmla="*/ 2147483647 w 122"/>
                    <a:gd name="T23" fmla="*/ 2147483647 h 115"/>
                    <a:gd name="T24" fmla="*/ 2147483647 w 122"/>
                    <a:gd name="T25" fmla="*/ 2147483647 h 115"/>
                    <a:gd name="T26" fmla="*/ 2147483647 w 122"/>
                    <a:gd name="T27" fmla="*/ 2147483647 h 115"/>
                    <a:gd name="T28" fmla="*/ 2147483647 w 122"/>
                    <a:gd name="T29" fmla="*/ 2147483647 h 115"/>
                    <a:gd name="T30" fmla="*/ 2147483647 w 122"/>
                    <a:gd name="T31" fmla="*/ 2147483647 h 115"/>
                    <a:gd name="T32" fmla="*/ 0 w 122"/>
                    <a:gd name="T33" fmla="*/ 2147483647 h 115"/>
                    <a:gd name="T34" fmla="*/ 2147483647 w 122"/>
                    <a:gd name="T35" fmla="*/ 2147483647 h 115"/>
                    <a:gd name="T36" fmla="*/ 2147483647 w 122"/>
                    <a:gd name="T37" fmla="*/ 2147483647 h 115"/>
                    <a:gd name="T38" fmla="*/ 2147483647 w 122"/>
                    <a:gd name="T39" fmla="*/ 2147483647 h 115"/>
                    <a:gd name="T40" fmla="*/ 2147483647 w 122"/>
                    <a:gd name="T41" fmla="*/ 2147483647 h 115"/>
                    <a:gd name="T42" fmla="*/ 2147483647 w 122"/>
                    <a:gd name="T43" fmla="*/ 2147483647 h 115"/>
                    <a:gd name="T44" fmla="*/ 2147483647 w 122"/>
                    <a:gd name="T45" fmla="*/ 2147483647 h 115"/>
                    <a:gd name="T46" fmla="*/ 2147483647 w 122"/>
                    <a:gd name="T47" fmla="*/ 2147483647 h 115"/>
                    <a:gd name="T48" fmla="*/ 2147483647 w 122"/>
                    <a:gd name="T49" fmla="*/ 2147483647 h 115"/>
                    <a:gd name="T50" fmla="*/ 2147483647 w 122"/>
                    <a:gd name="T51" fmla="*/ 2147483647 h 115"/>
                    <a:gd name="T52" fmla="*/ 2147483647 w 122"/>
                    <a:gd name="T53" fmla="*/ 2147483647 h 115"/>
                    <a:gd name="T54" fmla="*/ 2147483647 w 122"/>
                    <a:gd name="T55" fmla="*/ 2147483647 h 115"/>
                    <a:gd name="T56" fmla="*/ 2147483647 w 122"/>
                    <a:gd name="T57" fmla="*/ 2147483647 h 115"/>
                    <a:gd name="T58" fmla="*/ 2147483647 w 122"/>
                    <a:gd name="T59" fmla="*/ 2147483647 h 115"/>
                    <a:gd name="T60" fmla="*/ 2147483647 w 122"/>
                    <a:gd name="T61" fmla="*/ 2147483647 h 115"/>
                    <a:gd name="T62" fmla="*/ 2147483647 w 122"/>
                    <a:gd name="T63" fmla="*/ 0 h 115"/>
                    <a:gd name="T64" fmla="*/ 2147483647 w 122"/>
                    <a:gd name="T65" fmla="*/ 2147483647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
                    <a:gd name="T100" fmla="*/ 0 h 115"/>
                    <a:gd name="T101" fmla="*/ 122 w 122"/>
                    <a:gd name="T102" fmla="*/ 115 h 1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 h="115">
                      <a:moveTo>
                        <a:pt x="122" y="7"/>
                      </a:moveTo>
                      <a:lnTo>
                        <a:pt x="119" y="8"/>
                      </a:lnTo>
                      <a:lnTo>
                        <a:pt x="113" y="12"/>
                      </a:lnTo>
                      <a:lnTo>
                        <a:pt x="110" y="17"/>
                      </a:lnTo>
                      <a:lnTo>
                        <a:pt x="107" y="23"/>
                      </a:lnTo>
                      <a:lnTo>
                        <a:pt x="106" y="26"/>
                      </a:lnTo>
                      <a:lnTo>
                        <a:pt x="103" y="38"/>
                      </a:lnTo>
                      <a:lnTo>
                        <a:pt x="99" y="49"/>
                      </a:lnTo>
                      <a:lnTo>
                        <a:pt x="94" y="59"/>
                      </a:lnTo>
                      <a:lnTo>
                        <a:pt x="89" y="68"/>
                      </a:lnTo>
                      <a:lnTo>
                        <a:pt x="80" y="75"/>
                      </a:lnTo>
                      <a:lnTo>
                        <a:pt x="70" y="83"/>
                      </a:lnTo>
                      <a:lnTo>
                        <a:pt x="46" y="97"/>
                      </a:lnTo>
                      <a:lnTo>
                        <a:pt x="40" y="102"/>
                      </a:lnTo>
                      <a:lnTo>
                        <a:pt x="35" y="108"/>
                      </a:lnTo>
                      <a:lnTo>
                        <a:pt x="28" y="112"/>
                      </a:lnTo>
                      <a:lnTo>
                        <a:pt x="22" y="115"/>
                      </a:lnTo>
                      <a:lnTo>
                        <a:pt x="19" y="115"/>
                      </a:lnTo>
                      <a:lnTo>
                        <a:pt x="16" y="114"/>
                      </a:lnTo>
                      <a:lnTo>
                        <a:pt x="4" y="107"/>
                      </a:lnTo>
                      <a:lnTo>
                        <a:pt x="5" y="102"/>
                      </a:lnTo>
                      <a:lnTo>
                        <a:pt x="8" y="96"/>
                      </a:lnTo>
                      <a:lnTo>
                        <a:pt x="12" y="89"/>
                      </a:lnTo>
                      <a:lnTo>
                        <a:pt x="21" y="77"/>
                      </a:lnTo>
                      <a:lnTo>
                        <a:pt x="21" y="76"/>
                      </a:lnTo>
                      <a:lnTo>
                        <a:pt x="22" y="74"/>
                      </a:lnTo>
                      <a:lnTo>
                        <a:pt x="21" y="69"/>
                      </a:lnTo>
                      <a:lnTo>
                        <a:pt x="17" y="65"/>
                      </a:lnTo>
                      <a:lnTo>
                        <a:pt x="12" y="63"/>
                      </a:lnTo>
                      <a:lnTo>
                        <a:pt x="11" y="63"/>
                      </a:lnTo>
                      <a:lnTo>
                        <a:pt x="8" y="63"/>
                      </a:lnTo>
                      <a:lnTo>
                        <a:pt x="3" y="65"/>
                      </a:lnTo>
                      <a:lnTo>
                        <a:pt x="0" y="62"/>
                      </a:lnTo>
                      <a:lnTo>
                        <a:pt x="0" y="57"/>
                      </a:lnTo>
                      <a:lnTo>
                        <a:pt x="2" y="52"/>
                      </a:lnTo>
                      <a:lnTo>
                        <a:pt x="7" y="44"/>
                      </a:lnTo>
                      <a:lnTo>
                        <a:pt x="8" y="39"/>
                      </a:lnTo>
                      <a:lnTo>
                        <a:pt x="12" y="39"/>
                      </a:lnTo>
                      <a:lnTo>
                        <a:pt x="16" y="38"/>
                      </a:lnTo>
                      <a:lnTo>
                        <a:pt x="18" y="36"/>
                      </a:lnTo>
                      <a:lnTo>
                        <a:pt x="21" y="33"/>
                      </a:lnTo>
                      <a:lnTo>
                        <a:pt x="23" y="26"/>
                      </a:lnTo>
                      <a:lnTo>
                        <a:pt x="23" y="18"/>
                      </a:lnTo>
                      <a:lnTo>
                        <a:pt x="25" y="17"/>
                      </a:lnTo>
                      <a:lnTo>
                        <a:pt x="26" y="14"/>
                      </a:lnTo>
                      <a:lnTo>
                        <a:pt x="27" y="14"/>
                      </a:lnTo>
                      <a:lnTo>
                        <a:pt x="30" y="14"/>
                      </a:lnTo>
                      <a:lnTo>
                        <a:pt x="37" y="18"/>
                      </a:lnTo>
                      <a:lnTo>
                        <a:pt x="42" y="19"/>
                      </a:lnTo>
                      <a:lnTo>
                        <a:pt x="46" y="19"/>
                      </a:lnTo>
                      <a:lnTo>
                        <a:pt x="50" y="18"/>
                      </a:lnTo>
                      <a:lnTo>
                        <a:pt x="54" y="15"/>
                      </a:lnTo>
                      <a:lnTo>
                        <a:pt x="59" y="12"/>
                      </a:lnTo>
                      <a:lnTo>
                        <a:pt x="63" y="12"/>
                      </a:lnTo>
                      <a:lnTo>
                        <a:pt x="66" y="12"/>
                      </a:lnTo>
                      <a:lnTo>
                        <a:pt x="73" y="13"/>
                      </a:lnTo>
                      <a:lnTo>
                        <a:pt x="82" y="13"/>
                      </a:lnTo>
                      <a:lnTo>
                        <a:pt x="88" y="11"/>
                      </a:lnTo>
                      <a:lnTo>
                        <a:pt x="91" y="8"/>
                      </a:lnTo>
                      <a:lnTo>
                        <a:pt x="92" y="7"/>
                      </a:lnTo>
                      <a:lnTo>
                        <a:pt x="97" y="6"/>
                      </a:lnTo>
                      <a:lnTo>
                        <a:pt x="102" y="5"/>
                      </a:lnTo>
                      <a:lnTo>
                        <a:pt x="108" y="0"/>
                      </a:lnTo>
                      <a:lnTo>
                        <a:pt x="112" y="0"/>
                      </a:lnTo>
                      <a:lnTo>
                        <a:pt x="116" y="1"/>
                      </a:lnTo>
                      <a:lnTo>
                        <a:pt x="122"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799" name="Freeform 657"/>
                <p:cNvSpPr>
                  <a:spLocks/>
                </p:cNvSpPr>
                <p:nvPr/>
              </p:nvSpPr>
              <p:spPr bwMode="auto">
                <a:xfrm>
                  <a:off x="5452848" y="3486260"/>
                  <a:ext cx="165746" cy="170186"/>
                </a:xfrm>
                <a:custGeom>
                  <a:avLst/>
                  <a:gdLst>
                    <a:gd name="T0" fmla="*/ 2147483647 w 122"/>
                    <a:gd name="T1" fmla="*/ 2147483647 h 115"/>
                    <a:gd name="T2" fmla="*/ 2147483647 w 122"/>
                    <a:gd name="T3" fmla="*/ 2147483647 h 115"/>
                    <a:gd name="T4" fmla="*/ 2147483647 w 122"/>
                    <a:gd name="T5" fmla="*/ 2147483647 h 115"/>
                    <a:gd name="T6" fmla="*/ 2147483647 w 122"/>
                    <a:gd name="T7" fmla="*/ 2147483647 h 115"/>
                    <a:gd name="T8" fmla="*/ 2147483647 w 122"/>
                    <a:gd name="T9" fmla="*/ 2147483647 h 115"/>
                    <a:gd name="T10" fmla="*/ 2147483647 w 122"/>
                    <a:gd name="T11" fmla="*/ 2147483647 h 115"/>
                    <a:gd name="T12" fmla="*/ 2147483647 w 122"/>
                    <a:gd name="T13" fmla="*/ 2147483647 h 115"/>
                    <a:gd name="T14" fmla="*/ 2147483647 w 122"/>
                    <a:gd name="T15" fmla="*/ 2147483647 h 115"/>
                    <a:gd name="T16" fmla="*/ 2147483647 w 122"/>
                    <a:gd name="T17" fmla="*/ 2147483647 h 115"/>
                    <a:gd name="T18" fmla="*/ 2147483647 w 122"/>
                    <a:gd name="T19" fmla="*/ 2147483647 h 115"/>
                    <a:gd name="T20" fmla="*/ 2147483647 w 122"/>
                    <a:gd name="T21" fmla="*/ 2147483647 h 115"/>
                    <a:gd name="T22" fmla="*/ 2147483647 w 122"/>
                    <a:gd name="T23" fmla="*/ 2147483647 h 115"/>
                    <a:gd name="T24" fmla="*/ 2147483647 w 122"/>
                    <a:gd name="T25" fmla="*/ 2147483647 h 115"/>
                    <a:gd name="T26" fmla="*/ 2147483647 w 122"/>
                    <a:gd name="T27" fmla="*/ 2147483647 h 115"/>
                    <a:gd name="T28" fmla="*/ 2147483647 w 122"/>
                    <a:gd name="T29" fmla="*/ 2147483647 h 115"/>
                    <a:gd name="T30" fmla="*/ 2147483647 w 122"/>
                    <a:gd name="T31" fmla="*/ 2147483647 h 115"/>
                    <a:gd name="T32" fmla="*/ 2147483647 w 122"/>
                    <a:gd name="T33" fmla="*/ 2147483647 h 115"/>
                    <a:gd name="T34" fmla="*/ 2147483647 w 122"/>
                    <a:gd name="T35" fmla="*/ 2147483647 h 115"/>
                    <a:gd name="T36" fmla="*/ 2147483647 w 122"/>
                    <a:gd name="T37" fmla="*/ 2147483647 h 115"/>
                    <a:gd name="T38" fmla="*/ 2147483647 w 122"/>
                    <a:gd name="T39" fmla="*/ 2147483647 h 115"/>
                    <a:gd name="T40" fmla="*/ 2147483647 w 122"/>
                    <a:gd name="T41" fmla="*/ 2147483647 h 115"/>
                    <a:gd name="T42" fmla="*/ 2147483647 w 122"/>
                    <a:gd name="T43" fmla="*/ 2147483647 h 115"/>
                    <a:gd name="T44" fmla="*/ 0 w 122"/>
                    <a:gd name="T45" fmla="*/ 2147483647 h 115"/>
                    <a:gd name="T46" fmla="*/ 0 w 122"/>
                    <a:gd name="T47" fmla="*/ 2147483647 h 115"/>
                    <a:gd name="T48" fmla="*/ 2147483647 w 122"/>
                    <a:gd name="T49" fmla="*/ 2147483647 h 115"/>
                    <a:gd name="T50" fmla="*/ 2147483647 w 122"/>
                    <a:gd name="T51" fmla="*/ 2147483647 h 115"/>
                    <a:gd name="T52" fmla="*/ 2147483647 w 122"/>
                    <a:gd name="T53" fmla="*/ 2147483647 h 115"/>
                    <a:gd name="T54" fmla="*/ 2147483647 w 122"/>
                    <a:gd name="T55" fmla="*/ 2147483647 h 115"/>
                    <a:gd name="T56" fmla="*/ 2147483647 w 122"/>
                    <a:gd name="T57" fmla="*/ 2147483647 h 115"/>
                    <a:gd name="T58" fmla="*/ 2147483647 w 122"/>
                    <a:gd name="T59" fmla="*/ 2147483647 h 115"/>
                    <a:gd name="T60" fmla="*/ 2147483647 w 122"/>
                    <a:gd name="T61" fmla="*/ 2147483647 h 115"/>
                    <a:gd name="T62" fmla="*/ 2147483647 w 122"/>
                    <a:gd name="T63" fmla="*/ 2147483647 h 115"/>
                    <a:gd name="T64" fmla="*/ 2147483647 w 122"/>
                    <a:gd name="T65" fmla="*/ 2147483647 h 115"/>
                    <a:gd name="T66" fmla="*/ 2147483647 w 122"/>
                    <a:gd name="T67" fmla="*/ 2147483647 h 115"/>
                    <a:gd name="T68" fmla="*/ 2147483647 w 122"/>
                    <a:gd name="T69" fmla="*/ 2147483647 h 115"/>
                    <a:gd name="T70" fmla="*/ 2147483647 w 122"/>
                    <a:gd name="T71" fmla="*/ 2147483647 h 115"/>
                    <a:gd name="T72" fmla="*/ 2147483647 w 122"/>
                    <a:gd name="T73" fmla="*/ 2147483647 h 115"/>
                    <a:gd name="T74" fmla="*/ 2147483647 w 122"/>
                    <a:gd name="T75" fmla="*/ 2147483647 h 115"/>
                    <a:gd name="T76" fmla="*/ 2147483647 w 122"/>
                    <a:gd name="T77" fmla="*/ 2147483647 h 115"/>
                    <a:gd name="T78" fmla="*/ 2147483647 w 122"/>
                    <a:gd name="T79" fmla="*/ 2147483647 h 115"/>
                    <a:gd name="T80" fmla="*/ 2147483647 w 122"/>
                    <a:gd name="T81" fmla="*/ 2147483647 h 115"/>
                    <a:gd name="T82" fmla="*/ 2147483647 w 122"/>
                    <a:gd name="T83" fmla="*/ 2147483647 h 115"/>
                    <a:gd name="T84" fmla="*/ 2147483647 w 122"/>
                    <a:gd name="T85" fmla="*/ 2147483647 h 115"/>
                    <a:gd name="T86" fmla="*/ 2147483647 w 122"/>
                    <a:gd name="T87" fmla="*/ 0 h 115"/>
                    <a:gd name="T88" fmla="*/ 2147483647 w 122"/>
                    <a:gd name="T89" fmla="*/ 2147483647 h 115"/>
                    <a:gd name="T90" fmla="*/ 2147483647 w 122"/>
                    <a:gd name="T91" fmla="*/ 2147483647 h 1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2"/>
                    <a:gd name="T139" fmla="*/ 0 h 115"/>
                    <a:gd name="T140" fmla="*/ 122 w 122"/>
                    <a:gd name="T141" fmla="*/ 115 h 1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2" h="115">
                      <a:moveTo>
                        <a:pt x="122" y="7"/>
                      </a:moveTo>
                      <a:lnTo>
                        <a:pt x="122" y="7"/>
                      </a:lnTo>
                      <a:lnTo>
                        <a:pt x="118" y="8"/>
                      </a:lnTo>
                      <a:lnTo>
                        <a:pt x="113" y="12"/>
                      </a:lnTo>
                      <a:lnTo>
                        <a:pt x="109" y="16"/>
                      </a:lnTo>
                      <a:lnTo>
                        <a:pt x="107" y="22"/>
                      </a:lnTo>
                      <a:lnTo>
                        <a:pt x="106" y="26"/>
                      </a:lnTo>
                      <a:lnTo>
                        <a:pt x="103" y="38"/>
                      </a:lnTo>
                      <a:lnTo>
                        <a:pt x="99" y="48"/>
                      </a:lnTo>
                      <a:lnTo>
                        <a:pt x="94" y="59"/>
                      </a:lnTo>
                      <a:lnTo>
                        <a:pt x="89" y="67"/>
                      </a:lnTo>
                      <a:lnTo>
                        <a:pt x="80" y="75"/>
                      </a:lnTo>
                      <a:lnTo>
                        <a:pt x="70" y="83"/>
                      </a:lnTo>
                      <a:lnTo>
                        <a:pt x="46" y="97"/>
                      </a:lnTo>
                      <a:lnTo>
                        <a:pt x="40" y="102"/>
                      </a:lnTo>
                      <a:lnTo>
                        <a:pt x="34" y="108"/>
                      </a:lnTo>
                      <a:lnTo>
                        <a:pt x="28" y="111"/>
                      </a:lnTo>
                      <a:lnTo>
                        <a:pt x="22" y="115"/>
                      </a:lnTo>
                      <a:lnTo>
                        <a:pt x="19" y="115"/>
                      </a:lnTo>
                      <a:lnTo>
                        <a:pt x="15" y="114"/>
                      </a:lnTo>
                      <a:lnTo>
                        <a:pt x="4" y="107"/>
                      </a:lnTo>
                      <a:lnTo>
                        <a:pt x="5" y="102"/>
                      </a:lnTo>
                      <a:lnTo>
                        <a:pt x="8" y="96"/>
                      </a:lnTo>
                      <a:lnTo>
                        <a:pt x="12" y="89"/>
                      </a:lnTo>
                      <a:lnTo>
                        <a:pt x="20" y="77"/>
                      </a:lnTo>
                      <a:lnTo>
                        <a:pt x="20" y="76"/>
                      </a:lnTo>
                      <a:lnTo>
                        <a:pt x="22" y="73"/>
                      </a:lnTo>
                      <a:lnTo>
                        <a:pt x="20" y="69"/>
                      </a:lnTo>
                      <a:lnTo>
                        <a:pt x="17" y="65"/>
                      </a:lnTo>
                      <a:lnTo>
                        <a:pt x="12" y="63"/>
                      </a:lnTo>
                      <a:lnTo>
                        <a:pt x="10" y="63"/>
                      </a:lnTo>
                      <a:lnTo>
                        <a:pt x="8" y="63"/>
                      </a:lnTo>
                      <a:lnTo>
                        <a:pt x="3" y="65"/>
                      </a:lnTo>
                      <a:lnTo>
                        <a:pt x="0" y="62"/>
                      </a:lnTo>
                      <a:lnTo>
                        <a:pt x="0" y="57"/>
                      </a:lnTo>
                      <a:lnTo>
                        <a:pt x="1" y="52"/>
                      </a:lnTo>
                      <a:lnTo>
                        <a:pt x="6" y="44"/>
                      </a:lnTo>
                      <a:lnTo>
                        <a:pt x="8" y="39"/>
                      </a:lnTo>
                      <a:lnTo>
                        <a:pt x="12" y="39"/>
                      </a:lnTo>
                      <a:lnTo>
                        <a:pt x="15" y="38"/>
                      </a:lnTo>
                      <a:lnTo>
                        <a:pt x="18" y="35"/>
                      </a:lnTo>
                      <a:lnTo>
                        <a:pt x="20" y="33"/>
                      </a:lnTo>
                      <a:lnTo>
                        <a:pt x="23" y="26"/>
                      </a:lnTo>
                      <a:lnTo>
                        <a:pt x="23" y="18"/>
                      </a:lnTo>
                      <a:lnTo>
                        <a:pt x="24" y="16"/>
                      </a:lnTo>
                      <a:lnTo>
                        <a:pt x="26" y="14"/>
                      </a:lnTo>
                      <a:lnTo>
                        <a:pt x="27" y="14"/>
                      </a:lnTo>
                      <a:lnTo>
                        <a:pt x="29" y="14"/>
                      </a:lnTo>
                      <a:lnTo>
                        <a:pt x="37" y="18"/>
                      </a:lnTo>
                      <a:lnTo>
                        <a:pt x="42" y="19"/>
                      </a:lnTo>
                      <a:lnTo>
                        <a:pt x="46" y="19"/>
                      </a:lnTo>
                      <a:lnTo>
                        <a:pt x="50" y="18"/>
                      </a:lnTo>
                      <a:lnTo>
                        <a:pt x="53" y="15"/>
                      </a:lnTo>
                      <a:lnTo>
                        <a:pt x="59" y="12"/>
                      </a:lnTo>
                      <a:lnTo>
                        <a:pt x="62" y="12"/>
                      </a:lnTo>
                      <a:lnTo>
                        <a:pt x="66" y="12"/>
                      </a:lnTo>
                      <a:lnTo>
                        <a:pt x="73" y="13"/>
                      </a:lnTo>
                      <a:lnTo>
                        <a:pt x="81" y="13"/>
                      </a:lnTo>
                      <a:lnTo>
                        <a:pt x="88" y="11"/>
                      </a:lnTo>
                      <a:lnTo>
                        <a:pt x="90" y="8"/>
                      </a:lnTo>
                      <a:lnTo>
                        <a:pt x="92" y="7"/>
                      </a:lnTo>
                      <a:lnTo>
                        <a:pt x="97" y="6"/>
                      </a:lnTo>
                      <a:lnTo>
                        <a:pt x="102" y="5"/>
                      </a:lnTo>
                      <a:lnTo>
                        <a:pt x="108" y="0"/>
                      </a:lnTo>
                      <a:lnTo>
                        <a:pt x="112" y="0"/>
                      </a:lnTo>
                      <a:lnTo>
                        <a:pt x="116" y="1"/>
                      </a:lnTo>
                      <a:lnTo>
                        <a:pt x="122"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0" name="Freeform 658"/>
                <p:cNvSpPr>
                  <a:spLocks/>
                </p:cNvSpPr>
                <p:nvPr/>
              </p:nvSpPr>
              <p:spPr bwMode="auto">
                <a:xfrm>
                  <a:off x="5446928" y="3580975"/>
                  <a:ext cx="36997" cy="57715"/>
                </a:xfrm>
                <a:custGeom>
                  <a:avLst/>
                  <a:gdLst>
                    <a:gd name="T0" fmla="*/ 2147483647 w 27"/>
                    <a:gd name="T1" fmla="*/ 2147483647 h 39"/>
                    <a:gd name="T2" fmla="*/ 2147483647 w 27"/>
                    <a:gd name="T3" fmla="*/ 0 h 39"/>
                    <a:gd name="T4" fmla="*/ 2147483647 w 27"/>
                    <a:gd name="T5" fmla="*/ 0 h 39"/>
                    <a:gd name="T6" fmla="*/ 2147483647 w 27"/>
                    <a:gd name="T7" fmla="*/ 0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0 w 27"/>
                    <a:gd name="T25" fmla="*/ 2147483647 h 39"/>
                    <a:gd name="T26" fmla="*/ 2147483647 w 27"/>
                    <a:gd name="T27" fmla="*/ 2147483647 h 39"/>
                    <a:gd name="T28" fmla="*/ 2147483647 w 27"/>
                    <a:gd name="T29" fmla="*/ 2147483647 h 39"/>
                    <a:gd name="T30" fmla="*/ 2147483647 w 27"/>
                    <a:gd name="T31" fmla="*/ 2147483647 h 39"/>
                    <a:gd name="T32" fmla="*/ 2147483647 w 27"/>
                    <a:gd name="T33" fmla="*/ 2147483647 h 39"/>
                    <a:gd name="T34" fmla="*/ 2147483647 w 27"/>
                    <a:gd name="T35" fmla="*/ 2147483647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
                    <a:gd name="T55" fmla="*/ 0 h 39"/>
                    <a:gd name="T56" fmla="*/ 27 w 27"/>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 h="39">
                      <a:moveTo>
                        <a:pt x="8" y="2"/>
                      </a:moveTo>
                      <a:lnTo>
                        <a:pt x="13" y="0"/>
                      </a:lnTo>
                      <a:lnTo>
                        <a:pt x="16" y="0"/>
                      </a:lnTo>
                      <a:lnTo>
                        <a:pt x="17" y="0"/>
                      </a:lnTo>
                      <a:lnTo>
                        <a:pt x="22" y="2"/>
                      </a:lnTo>
                      <a:lnTo>
                        <a:pt x="26" y="6"/>
                      </a:lnTo>
                      <a:lnTo>
                        <a:pt x="27" y="11"/>
                      </a:lnTo>
                      <a:lnTo>
                        <a:pt x="26" y="13"/>
                      </a:lnTo>
                      <a:lnTo>
                        <a:pt x="26" y="14"/>
                      </a:lnTo>
                      <a:lnTo>
                        <a:pt x="17" y="26"/>
                      </a:lnTo>
                      <a:lnTo>
                        <a:pt x="13" y="33"/>
                      </a:lnTo>
                      <a:lnTo>
                        <a:pt x="10" y="39"/>
                      </a:lnTo>
                      <a:lnTo>
                        <a:pt x="0" y="35"/>
                      </a:lnTo>
                      <a:lnTo>
                        <a:pt x="7" y="21"/>
                      </a:lnTo>
                      <a:lnTo>
                        <a:pt x="9" y="14"/>
                      </a:lnTo>
                      <a:lnTo>
                        <a:pt x="10" y="7"/>
                      </a:lnTo>
                      <a:lnTo>
                        <a:pt x="9" y="5"/>
                      </a:lnTo>
                      <a:lnTo>
                        <a:pt x="8"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1" name="Freeform 659"/>
                <p:cNvSpPr>
                  <a:spLocks/>
                </p:cNvSpPr>
                <p:nvPr/>
              </p:nvSpPr>
              <p:spPr bwMode="auto">
                <a:xfrm>
                  <a:off x="5418812" y="3632766"/>
                  <a:ext cx="41436" cy="118390"/>
                </a:xfrm>
                <a:custGeom>
                  <a:avLst/>
                  <a:gdLst>
                    <a:gd name="T0" fmla="*/ 2147483647 w 31"/>
                    <a:gd name="T1" fmla="*/ 2147483647 h 80"/>
                    <a:gd name="T2" fmla="*/ 2147483647 w 31"/>
                    <a:gd name="T3" fmla="*/ 2147483647 h 80"/>
                    <a:gd name="T4" fmla="*/ 2147483647 w 31"/>
                    <a:gd name="T5" fmla="*/ 2147483647 h 80"/>
                    <a:gd name="T6" fmla="*/ 2147483647 w 31"/>
                    <a:gd name="T7" fmla="*/ 2147483647 h 80"/>
                    <a:gd name="T8" fmla="*/ 0 w 31"/>
                    <a:gd name="T9" fmla="*/ 2147483647 h 80"/>
                    <a:gd name="T10" fmla="*/ 0 w 31"/>
                    <a:gd name="T11" fmla="*/ 2147483647 h 80"/>
                    <a:gd name="T12" fmla="*/ 2147483647 w 31"/>
                    <a:gd name="T13" fmla="*/ 2147483647 h 80"/>
                    <a:gd name="T14" fmla="*/ 2147483647 w 31"/>
                    <a:gd name="T15" fmla="*/ 2147483647 h 80"/>
                    <a:gd name="T16" fmla="*/ 2147483647 w 31"/>
                    <a:gd name="T17" fmla="*/ 2147483647 h 80"/>
                    <a:gd name="T18" fmla="*/ 2147483647 w 31"/>
                    <a:gd name="T19" fmla="*/ 2147483647 h 80"/>
                    <a:gd name="T20" fmla="*/ 2147483647 w 31"/>
                    <a:gd name="T21" fmla="*/ 2147483647 h 80"/>
                    <a:gd name="T22" fmla="*/ 2147483647 w 31"/>
                    <a:gd name="T23" fmla="*/ 2147483647 h 80"/>
                    <a:gd name="T24" fmla="*/ 2147483647 w 31"/>
                    <a:gd name="T25" fmla="*/ 0 h 80"/>
                    <a:gd name="T26" fmla="*/ 2147483647 w 31"/>
                    <a:gd name="T27" fmla="*/ 2147483647 h 80"/>
                    <a:gd name="T28" fmla="*/ 2147483647 w 31"/>
                    <a:gd name="T29" fmla="*/ 2147483647 h 80"/>
                    <a:gd name="T30" fmla="*/ 2147483647 w 31"/>
                    <a:gd name="T31" fmla="*/ 2147483647 h 80"/>
                    <a:gd name="T32" fmla="*/ 2147483647 w 31"/>
                    <a:gd name="T33" fmla="*/ 2147483647 h 80"/>
                    <a:gd name="T34" fmla="*/ 2147483647 w 31"/>
                    <a:gd name="T35" fmla="*/ 2147483647 h 80"/>
                    <a:gd name="T36" fmla="*/ 2147483647 w 31"/>
                    <a:gd name="T37" fmla="*/ 2147483647 h 80"/>
                    <a:gd name="T38" fmla="*/ 2147483647 w 31"/>
                    <a:gd name="T39" fmla="*/ 2147483647 h 80"/>
                    <a:gd name="T40" fmla="*/ 2147483647 w 31"/>
                    <a:gd name="T41" fmla="*/ 2147483647 h 80"/>
                    <a:gd name="T42" fmla="*/ 2147483647 w 31"/>
                    <a:gd name="T43" fmla="*/ 2147483647 h 80"/>
                    <a:gd name="T44" fmla="*/ 2147483647 w 31"/>
                    <a:gd name="T45" fmla="*/ 2147483647 h 80"/>
                    <a:gd name="T46" fmla="*/ 2147483647 w 31"/>
                    <a:gd name="T47" fmla="*/ 2147483647 h 80"/>
                    <a:gd name="T48" fmla="*/ 2147483647 w 31"/>
                    <a:gd name="T49" fmla="*/ 2147483647 h 80"/>
                    <a:gd name="T50" fmla="*/ 2147483647 w 31"/>
                    <a:gd name="T51" fmla="*/ 2147483647 h 80"/>
                    <a:gd name="T52" fmla="*/ 2147483647 w 31"/>
                    <a:gd name="T53" fmla="*/ 2147483647 h 80"/>
                    <a:gd name="T54" fmla="*/ 2147483647 w 31"/>
                    <a:gd name="T55" fmla="*/ 2147483647 h 80"/>
                    <a:gd name="T56" fmla="*/ 2147483647 w 31"/>
                    <a:gd name="T57" fmla="*/ 2147483647 h 80"/>
                    <a:gd name="T58" fmla="*/ 2147483647 w 31"/>
                    <a:gd name="T59" fmla="*/ 2147483647 h 80"/>
                    <a:gd name="T60" fmla="*/ 2147483647 w 31"/>
                    <a:gd name="T61" fmla="*/ 2147483647 h 80"/>
                    <a:gd name="T62" fmla="*/ 2147483647 w 31"/>
                    <a:gd name="T63" fmla="*/ 2147483647 h 80"/>
                    <a:gd name="T64" fmla="*/ 2147483647 w 31"/>
                    <a:gd name="T65" fmla="*/ 2147483647 h 80"/>
                    <a:gd name="T66" fmla="*/ 2147483647 w 31"/>
                    <a:gd name="T67" fmla="*/ 2147483647 h 80"/>
                    <a:gd name="T68" fmla="*/ 2147483647 w 31"/>
                    <a:gd name="T69" fmla="*/ 2147483647 h 80"/>
                    <a:gd name="T70" fmla="*/ 2147483647 w 31"/>
                    <a:gd name="T71" fmla="*/ 2147483647 h 80"/>
                    <a:gd name="T72" fmla="*/ 2147483647 w 31"/>
                    <a:gd name="T73" fmla="*/ 2147483647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
                    <a:gd name="T112" fmla="*/ 0 h 80"/>
                    <a:gd name="T113" fmla="*/ 31 w 31"/>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 h="80">
                      <a:moveTo>
                        <a:pt x="16" y="80"/>
                      </a:moveTo>
                      <a:lnTo>
                        <a:pt x="11" y="67"/>
                      </a:lnTo>
                      <a:lnTo>
                        <a:pt x="5" y="55"/>
                      </a:lnTo>
                      <a:lnTo>
                        <a:pt x="1" y="48"/>
                      </a:lnTo>
                      <a:lnTo>
                        <a:pt x="0" y="44"/>
                      </a:lnTo>
                      <a:lnTo>
                        <a:pt x="0" y="40"/>
                      </a:lnTo>
                      <a:lnTo>
                        <a:pt x="1" y="40"/>
                      </a:lnTo>
                      <a:lnTo>
                        <a:pt x="4" y="38"/>
                      </a:lnTo>
                      <a:lnTo>
                        <a:pt x="7" y="34"/>
                      </a:lnTo>
                      <a:lnTo>
                        <a:pt x="11" y="27"/>
                      </a:lnTo>
                      <a:lnTo>
                        <a:pt x="16" y="15"/>
                      </a:lnTo>
                      <a:lnTo>
                        <a:pt x="20" y="3"/>
                      </a:lnTo>
                      <a:lnTo>
                        <a:pt x="21" y="0"/>
                      </a:lnTo>
                      <a:lnTo>
                        <a:pt x="31" y="4"/>
                      </a:lnTo>
                      <a:lnTo>
                        <a:pt x="30" y="9"/>
                      </a:lnTo>
                      <a:lnTo>
                        <a:pt x="29" y="16"/>
                      </a:lnTo>
                      <a:lnTo>
                        <a:pt x="28" y="17"/>
                      </a:lnTo>
                      <a:lnTo>
                        <a:pt x="25" y="18"/>
                      </a:lnTo>
                      <a:lnTo>
                        <a:pt x="24" y="19"/>
                      </a:lnTo>
                      <a:lnTo>
                        <a:pt x="23" y="21"/>
                      </a:lnTo>
                      <a:lnTo>
                        <a:pt x="21" y="25"/>
                      </a:lnTo>
                      <a:lnTo>
                        <a:pt x="19" y="29"/>
                      </a:lnTo>
                      <a:lnTo>
                        <a:pt x="14" y="37"/>
                      </a:lnTo>
                      <a:lnTo>
                        <a:pt x="12" y="38"/>
                      </a:lnTo>
                      <a:lnTo>
                        <a:pt x="14" y="41"/>
                      </a:lnTo>
                      <a:lnTo>
                        <a:pt x="15" y="42"/>
                      </a:lnTo>
                      <a:lnTo>
                        <a:pt x="18" y="42"/>
                      </a:lnTo>
                      <a:lnTo>
                        <a:pt x="20" y="42"/>
                      </a:lnTo>
                      <a:lnTo>
                        <a:pt x="23" y="42"/>
                      </a:lnTo>
                      <a:lnTo>
                        <a:pt x="24" y="43"/>
                      </a:lnTo>
                      <a:lnTo>
                        <a:pt x="25" y="46"/>
                      </a:lnTo>
                      <a:lnTo>
                        <a:pt x="25" y="48"/>
                      </a:lnTo>
                      <a:lnTo>
                        <a:pt x="25" y="50"/>
                      </a:lnTo>
                      <a:lnTo>
                        <a:pt x="21" y="57"/>
                      </a:lnTo>
                      <a:lnTo>
                        <a:pt x="20" y="64"/>
                      </a:lnTo>
                      <a:lnTo>
                        <a:pt x="19" y="73"/>
                      </a:lnTo>
                      <a:lnTo>
                        <a:pt x="16" y="8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2" name="Freeform 660"/>
                <p:cNvSpPr>
                  <a:spLocks/>
                </p:cNvSpPr>
                <p:nvPr/>
              </p:nvSpPr>
              <p:spPr bwMode="auto">
                <a:xfrm>
                  <a:off x="5445450" y="3579495"/>
                  <a:ext cx="36996" cy="57714"/>
                </a:xfrm>
                <a:custGeom>
                  <a:avLst/>
                  <a:gdLst>
                    <a:gd name="T0" fmla="*/ 2147483647 w 27"/>
                    <a:gd name="T1" fmla="*/ 2147483647 h 39"/>
                    <a:gd name="T2" fmla="*/ 2147483647 w 27"/>
                    <a:gd name="T3" fmla="*/ 2147483647 h 39"/>
                    <a:gd name="T4" fmla="*/ 2147483647 w 27"/>
                    <a:gd name="T5" fmla="*/ 0 h 39"/>
                    <a:gd name="T6" fmla="*/ 2147483647 w 27"/>
                    <a:gd name="T7" fmla="*/ 0 h 39"/>
                    <a:gd name="T8" fmla="*/ 2147483647 w 27"/>
                    <a:gd name="T9" fmla="*/ 0 h 39"/>
                    <a:gd name="T10" fmla="*/ 2147483647 w 27"/>
                    <a:gd name="T11" fmla="*/ 0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2147483647 w 27"/>
                    <a:gd name="T27" fmla="*/ 2147483647 h 39"/>
                    <a:gd name="T28" fmla="*/ 2147483647 w 27"/>
                    <a:gd name="T29" fmla="*/ 2147483647 h 39"/>
                    <a:gd name="T30" fmla="*/ 2147483647 w 27"/>
                    <a:gd name="T31" fmla="*/ 2147483647 h 39"/>
                    <a:gd name="T32" fmla="*/ 0 w 27"/>
                    <a:gd name="T33" fmla="*/ 2147483647 h 39"/>
                    <a:gd name="T34" fmla="*/ 0 w 27"/>
                    <a:gd name="T35" fmla="*/ 2147483647 h 39"/>
                    <a:gd name="T36" fmla="*/ 2147483647 w 27"/>
                    <a:gd name="T37" fmla="*/ 2147483647 h 39"/>
                    <a:gd name="T38" fmla="*/ 2147483647 w 27"/>
                    <a:gd name="T39" fmla="*/ 2147483647 h 39"/>
                    <a:gd name="T40" fmla="*/ 2147483647 w 27"/>
                    <a:gd name="T41" fmla="*/ 2147483647 h 39"/>
                    <a:gd name="T42" fmla="*/ 2147483647 w 27"/>
                    <a:gd name="T43" fmla="*/ 2147483647 h 39"/>
                    <a:gd name="T44" fmla="*/ 2147483647 w 27"/>
                    <a:gd name="T45" fmla="*/ 2147483647 h 39"/>
                    <a:gd name="T46" fmla="*/ 2147483647 w 27"/>
                    <a:gd name="T47" fmla="*/ 2147483647 h 39"/>
                    <a:gd name="T48" fmla="*/ 2147483647 w 27"/>
                    <a:gd name="T49" fmla="*/ 2147483647 h 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39"/>
                    <a:gd name="T77" fmla="*/ 27 w 27"/>
                    <a:gd name="T78" fmla="*/ 39 h 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39">
                      <a:moveTo>
                        <a:pt x="8" y="2"/>
                      </a:moveTo>
                      <a:lnTo>
                        <a:pt x="8" y="2"/>
                      </a:lnTo>
                      <a:lnTo>
                        <a:pt x="13" y="0"/>
                      </a:lnTo>
                      <a:lnTo>
                        <a:pt x="15" y="0"/>
                      </a:lnTo>
                      <a:lnTo>
                        <a:pt x="17" y="0"/>
                      </a:lnTo>
                      <a:lnTo>
                        <a:pt x="22" y="2"/>
                      </a:lnTo>
                      <a:lnTo>
                        <a:pt x="25" y="6"/>
                      </a:lnTo>
                      <a:lnTo>
                        <a:pt x="27" y="10"/>
                      </a:lnTo>
                      <a:lnTo>
                        <a:pt x="25" y="13"/>
                      </a:lnTo>
                      <a:lnTo>
                        <a:pt x="25" y="14"/>
                      </a:lnTo>
                      <a:lnTo>
                        <a:pt x="17" y="26"/>
                      </a:lnTo>
                      <a:lnTo>
                        <a:pt x="13" y="33"/>
                      </a:lnTo>
                      <a:lnTo>
                        <a:pt x="10" y="39"/>
                      </a:lnTo>
                      <a:lnTo>
                        <a:pt x="0" y="35"/>
                      </a:lnTo>
                      <a:lnTo>
                        <a:pt x="6" y="21"/>
                      </a:lnTo>
                      <a:lnTo>
                        <a:pt x="9" y="14"/>
                      </a:lnTo>
                      <a:lnTo>
                        <a:pt x="10" y="7"/>
                      </a:lnTo>
                      <a:lnTo>
                        <a:pt x="9" y="4"/>
                      </a:lnTo>
                      <a:lnTo>
                        <a:pt x="8"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3" name="Freeform 661"/>
                <p:cNvSpPr>
                  <a:spLocks/>
                </p:cNvSpPr>
                <p:nvPr/>
              </p:nvSpPr>
              <p:spPr bwMode="auto">
                <a:xfrm>
                  <a:off x="5415853" y="3631287"/>
                  <a:ext cx="42916" cy="118390"/>
                </a:xfrm>
                <a:custGeom>
                  <a:avLst/>
                  <a:gdLst>
                    <a:gd name="T0" fmla="*/ 2147483647 w 32"/>
                    <a:gd name="T1" fmla="*/ 2147483647 h 80"/>
                    <a:gd name="T2" fmla="*/ 2147483647 w 32"/>
                    <a:gd name="T3" fmla="*/ 2147483647 h 80"/>
                    <a:gd name="T4" fmla="*/ 2147483647 w 32"/>
                    <a:gd name="T5" fmla="*/ 2147483647 h 80"/>
                    <a:gd name="T6" fmla="*/ 2147483647 w 32"/>
                    <a:gd name="T7" fmla="*/ 2147483647 h 80"/>
                    <a:gd name="T8" fmla="*/ 2147483647 w 32"/>
                    <a:gd name="T9" fmla="*/ 2147483647 h 80"/>
                    <a:gd name="T10" fmla="*/ 2147483647 w 32"/>
                    <a:gd name="T11" fmla="*/ 2147483647 h 80"/>
                    <a:gd name="T12" fmla="*/ 2147483647 w 32"/>
                    <a:gd name="T13" fmla="*/ 2147483647 h 80"/>
                    <a:gd name="T14" fmla="*/ 2147483647 w 32"/>
                    <a:gd name="T15" fmla="*/ 2147483647 h 80"/>
                    <a:gd name="T16" fmla="*/ 0 w 32"/>
                    <a:gd name="T17" fmla="*/ 2147483647 h 80"/>
                    <a:gd name="T18" fmla="*/ 0 w 32"/>
                    <a:gd name="T19" fmla="*/ 2147483647 h 80"/>
                    <a:gd name="T20" fmla="*/ 0 w 32"/>
                    <a:gd name="T21" fmla="*/ 2147483647 h 80"/>
                    <a:gd name="T22" fmla="*/ 2147483647 w 32"/>
                    <a:gd name="T23" fmla="*/ 2147483647 h 80"/>
                    <a:gd name="T24" fmla="*/ 2147483647 w 32"/>
                    <a:gd name="T25" fmla="*/ 2147483647 h 80"/>
                    <a:gd name="T26" fmla="*/ 2147483647 w 32"/>
                    <a:gd name="T27" fmla="*/ 2147483647 h 80"/>
                    <a:gd name="T28" fmla="*/ 2147483647 w 32"/>
                    <a:gd name="T29" fmla="*/ 2147483647 h 80"/>
                    <a:gd name="T30" fmla="*/ 2147483647 w 32"/>
                    <a:gd name="T31" fmla="*/ 2147483647 h 80"/>
                    <a:gd name="T32" fmla="*/ 2147483647 w 32"/>
                    <a:gd name="T33" fmla="*/ 2147483647 h 80"/>
                    <a:gd name="T34" fmla="*/ 2147483647 w 32"/>
                    <a:gd name="T35" fmla="*/ 2147483647 h 80"/>
                    <a:gd name="T36" fmla="*/ 2147483647 w 32"/>
                    <a:gd name="T37" fmla="*/ 2147483647 h 80"/>
                    <a:gd name="T38" fmla="*/ 2147483647 w 32"/>
                    <a:gd name="T39" fmla="*/ 0 h 80"/>
                    <a:gd name="T40" fmla="*/ 2147483647 w 32"/>
                    <a:gd name="T41" fmla="*/ 0 h 80"/>
                    <a:gd name="T42" fmla="*/ 2147483647 w 32"/>
                    <a:gd name="T43" fmla="*/ 2147483647 h 80"/>
                    <a:gd name="T44" fmla="*/ 2147483647 w 32"/>
                    <a:gd name="T45" fmla="*/ 2147483647 h 80"/>
                    <a:gd name="T46" fmla="*/ 2147483647 w 32"/>
                    <a:gd name="T47" fmla="*/ 2147483647 h 80"/>
                    <a:gd name="T48" fmla="*/ 2147483647 w 32"/>
                    <a:gd name="T49" fmla="*/ 2147483647 h 80"/>
                    <a:gd name="T50" fmla="*/ 2147483647 w 32"/>
                    <a:gd name="T51" fmla="*/ 2147483647 h 80"/>
                    <a:gd name="T52" fmla="*/ 2147483647 w 32"/>
                    <a:gd name="T53" fmla="*/ 2147483647 h 80"/>
                    <a:gd name="T54" fmla="*/ 2147483647 w 32"/>
                    <a:gd name="T55" fmla="*/ 2147483647 h 80"/>
                    <a:gd name="T56" fmla="*/ 2147483647 w 32"/>
                    <a:gd name="T57" fmla="*/ 2147483647 h 80"/>
                    <a:gd name="T58" fmla="*/ 2147483647 w 32"/>
                    <a:gd name="T59" fmla="*/ 2147483647 h 80"/>
                    <a:gd name="T60" fmla="*/ 2147483647 w 32"/>
                    <a:gd name="T61" fmla="*/ 2147483647 h 80"/>
                    <a:gd name="T62" fmla="*/ 2147483647 w 32"/>
                    <a:gd name="T63" fmla="*/ 2147483647 h 80"/>
                    <a:gd name="T64" fmla="*/ 2147483647 w 32"/>
                    <a:gd name="T65" fmla="*/ 2147483647 h 80"/>
                    <a:gd name="T66" fmla="*/ 2147483647 w 32"/>
                    <a:gd name="T67" fmla="*/ 2147483647 h 80"/>
                    <a:gd name="T68" fmla="*/ 2147483647 w 32"/>
                    <a:gd name="T69" fmla="*/ 2147483647 h 80"/>
                    <a:gd name="T70" fmla="*/ 2147483647 w 32"/>
                    <a:gd name="T71" fmla="*/ 2147483647 h 80"/>
                    <a:gd name="T72" fmla="*/ 2147483647 w 32"/>
                    <a:gd name="T73" fmla="*/ 2147483647 h 80"/>
                    <a:gd name="T74" fmla="*/ 2147483647 w 32"/>
                    <a:gd name="T75" fmla="*/ 2147483647 h 80"/>
                    <a:gd name="T76" fmla="*/ 2147483647 w 32"/>
                    <a:gd name="T77" fmla="*/ 2147483647 h 80"/>
                    <a:gd name="T78" fmla="*/ 2147483647 w 32"/>
                    <a:gd name="T79" fmla="*/ 2147483647 h 80"/>
                    <a:gd name="T80" fmla="*/ 2147483647 w 32"/>
                    <a:gd name="T81" fmla="*/ 2147483647 h 80"/>
                    <a:gd name="T82" fmla="*/ 2147483647 w 32"/>
                    <a:gd name="T83" fmla="*/ 2147483647 h 80"/>
                    <a:gd name="T84" fmla="*/ 2147483647 w 32"/>
                    <a:gd name="T85" fmla="*/ 2147483647 h 80"/>
                    <a:gd name="T86" fmla="*/ 2147483647 w 32"/>
                    <a:gd name="T87" fmla="*/ 2147483647 h 80"/>
                    <a:gd name="T88" fmla="*/ 2147483647 w 32"/>
                    <a:gd name="T89" fmla="*/ 2147483647 h 80"/>
                    <a:gd name="T90" fmla="*/ 2147483647 w 32"/>
                    <a:gd name="T91" fmla="*/ 2147483647 h 80"/>
                    <a:gd name="T92" fmla="*/ 2147483647 w 32"/>
                    <a:gd name="T93" fmla="*/ 2147483647 h 80"/>
                    <a:gd name="T94" fmla="*/ 2147483647 w 32"/>
                    <a:gd name="T95" fmla="*/ 2147483647 h 80"/>
                    <a:gd name="T96" fmla="*/ 2147483647 w 32"/>
                    <a:gd name="T97" fmla="*/ 2147483647 h 80"/>
                    <a:gd name="T98" fmla="*/ 2147483647 w 32"/>
                    <a:gd name="T99" fmla="*/ 2147483647 h 80"/>
                    <a:gd name="T100" fmla="*/ 2147483647 w 32"/>
                    <a:gd name="T101" fmla="*/ 2147483647 h 80"/>
                    <a:gd name="T102" fmla="*/ 2147483647 w 32"/>
                    <a:gd name="T103" fmla="*/ 2147483647 h 80"/>
                    <a:gd name="T104" fmla="*/ 2147483647 w 32"/>
                    <a:gd name="T105" fmla="*/ 2147483647 h 80"/>
                    <a:gd name="T106" fmla="*/ 2147483647 w 32"/>
                    <a:gd name="T107" fmla="*/ 2147483647 h 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
                    <a:gd name="T163" fmla="*/ 0 h 80"/>
                    <a:gd name="T164" fmla="*/ 32 w 32"/>
                    <a:gd name="T165" fmla="*/ 80 h 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 h="80">
                      <a:moveTo>
                        <a:pt x="17" y="80"/>
                      </a:moveTo>
                      <a:lnTo>
                        <a:pt x="17" y="80"/>
                      </a:lnTo>
                      <a:lnTo>
                        <a:pt x="12" y="67"/>
                      </a:lnTo>
                      <a:lnTo>
                        <a:pt x="6" y="55"/>
                      </a:lnTo>
                      <a:lnTo>
                        <a:pt x="2" y="48"/>
                      </a:lnTo>
                      <a:lnTo>
                        <a:pt x="0" y="44"/>
                      </a:lnTo>
                      <a:lnTo>
                        <a:pt x="0" y="39"/>
                      </a:lnTo>
                      <a:lnTo>
                        <a:pt x="2" y="39"/>
                      </a:lnTo>
                      <a:lnTo>
                        <a:pt x="4" y="38"/>
                      </a:lnTo>
                      <a:lnTo>
                        <a:pt x="8" y="33"/>
                      </a:lnTo>
                      <a:lnTo>
                        <a:pt x="12" y="26"/>
                      </a:lnTo>
                      <a:lnTo>
                        <a:pt x="17" y="15"/>
                      </a:lnTo>
                      <a:lnTo>
                        <a:pt x="21" y="3"/>
                      </a:lnTo>
                      <a:lnTo>
                        <a:pt x="22" y="0"/>
                      </a:lnTo>
                      <a:lnTo>
                        <a:pt x="32" y="4"/>
                      </a:lnTo>
                      <a:lnTo>
                        <a:pt x="31" y="9"/>
                      </a:lnTo>
                      <a:lnTo>
                        <a:pt x="30" y="16"/>
                      </a:lnTo>
                      <a:lnTo>
                        <a:pt x="28" y="17"/>
                      </a:lnTo>
                      <a:lnTo>
                        <a:pt x="26" y="18"/>
                      </a:lnTo>
                      <a:lnTo>
                        <a:pt x="25" y="19"/>
                      </a:lnTo>
                      <a:lnTo>
                        <a:pt x="23" y="20"/>
                      </a:lnTo>
                      <a:lnTo>
                        <a:pt x="22" y="25"/>
                      </a:lnTo>
                      <a:lnTo>
                        <a:pt x="20" y="29"/>
                      </a:lnTo>
                      <a:lnTo>
                        <a:pt x="14" y="37"/>
                      </a:lnTo>
                      <a:lnTo>
                        <a:pt x="13" y="38"/>
                      </a:lnTo>
                      <a:lnTo>
                        <a:pt x="14" y="41"/>
                      </a:lnTo>
                      <a:lnTo>
                        <a:pt x="16" y="42"/>
                      </a:lnTo>
                      <a:lnTo>
                        <a:pt x="18" y="42"/>
                      </a:lnTo>
                      <a:lnTo>
                        <a:pt x="21" y="42"/>
                      </a:lnTo>
                      <a:lnTo>
                        <a:pt x="23" y="42"/>
                      </a:lnTo>
                      <a:lnTo>
                        <a:pt x="25" y="43"/>
                      </a:lnTo>
                      <a:lnTo>
                        <a:pt x="26" y="45"/>
                      </a:lnTo>
                      <a:lnTo>
                        <a:pt x="26" y="48"/>
                      </a:lnTo>
                      <a:lnTo>
                        <a:pt x="26" y="50"/>
                      </a:lnTo>
                      <a:lnTo>
                        <a:pt x="22" y="57"/>
                      </a:lnTo>
                      <a:lnTo>
                        <a:pt x="21" y="64"/>
                      </a:lnTo>
                      <a:lnTo>
                        <a:pt x="20" y="73"/>
                      </a:lnTo>
                      <a:lnTo>
                        <a:pt x="17" y="8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4" name="Freeform 662"/>
                <p:cNvSpPr>
                  <a:spLocks/>
                </p:cNvSpPr>
                <p:nvPr/>
              </p:nvSpPr>
              <p:spPr bwMode="auto">
                <a:xfrm>
                  <a:off x="5435089" y="3646089"/>
                  <a:ext cx="88792" cy="108031"/>
                </a:xfrm>
                <a:custGeom>
                  <a:avLst/>
                  <a:gdLst>
                    <a:gd name="T0" fmla="*/ 2147483647 w 65"/>
                    <a:gd name="T1" fmla="*/ 0 h 73"/>
                    <a:gd name="T2" fmla="*/ 2147483647 w 65"/>
                    <a:gd name="T3" fmla="*/ 2147483647 h 73"/>
                    <a:gd name="T4" fmla="*/ 2147483647 w 65"/>
                    <a:gd name="T5" fmla="*/ 2147483647 h 73"/>
                    <a:gd name="T6" fmla="*/ 2147483647 w 65"/>
                    <a:gd name="T7" fmla="*/ 2147483647 h 73"/>
                    <a:gd name="T8" fmla="*/ 2147483647 w 65"/>
                    <a:gd name="T9" fmla="*/ 2147483647 h 73"/>
                    <a:gd name="T10" fmla="*/ 2147483647 w 65"/>
                    <a:gd name="T11" fmla="*/ 2147483647 h 73"/>
                    <a:gd name="T12" fmla="*/ 2147483647 w 65"/>
                    <a:gd name="T13" fmla="*/ 2147483647 h 73"/>
                    <a:gd name="T14" fmla="*/ 2147483647 w 65"/>
                    <a:gd name="T15" fmla="*/ 2147483647 h 73"/>
                    <a:gd name="T16" fmla="*/ 2147483647 w 65"/>
                    <a:gd name="T17" fmla="*/ 2147483647 h 73"/>
                    <a:gd name="T18" fmla="*/ 0 w 65"/>
                    <a:gd name="T19" fmla="*/ 2147483647 h 73"/>
                    <a:gd name="T20" fmla="*/ 2147483647 w 65"/>
                    <a:gd name="T21" fmla="*/ 2147483647 h 73"/>
                    <a:gd name="T22" fmla="*/ 2147483647 w 65"/>
                    <a:gd name="T23" fmla="*/ 2147483647 h 73"/>
                    <a:gd name="T24" fmla="*/ 2147483647 w 65"/>
                    <a:gd name="T25" fmla="*/ 2147483647 h 73"/>
                    <a:gd name="T26" fmla="*/ 2147483647 w 65"/>
                    <a:gd name="T27" fmla="*/ 2147483647 h 73"/>
                    <a:gd name="T28" fmla="*/ 2147483647 w 65"/>
                    <a:gd name="T29" fmla="*/ 2147483647 h 73"/>
                    <a:gd name="T30" fmla="*/ 2147483647 w 65"/>
                    <a:gd name="T31" fmla="*/ 2147483647 h 73"/>
                    <a:gd name="T32" fmla="*/ 2147483647 w 65"/>
                    <a:gd name="T33" fmla="*/ 2147483647 h 73"/>
                    <a:gd name="T34" fmla="*/ 2147483647 w 65"/>
                    <a:gd name="T35" fmla="*/ 2147483647 h 73"/>
                    <a:gd name="T36" fmla="*/ 2147483647 w 65"/>
                    <a:gd name="T37" fmla="*/ 2147483647 h 73"/>
                    <a:gd name="T38" fmla="*/ 2147483647 w 65"/>
                    <a:gd name="T39" fmla="*/ 2147483647 h 73"/>
                    <a:gd name="T40" fmla="*/ 2147483647 w 65"/>
                    <a:gd name="T41" fmla="*/ 2147483647 h 73"/>
                    <a:gd name="T42" fmla="*/ 2147483647 w 65"/>
                    <a:gd name="T43" fmla="*/ 2147483647 h 73"/>
                    <a:gd name="T44" fmla="*/ 2147483647 w 65"/>
                    <a:gd name="T45" fmla="*/ 2147483647 h 73"/>
                    <a:gd name="T46" fmla="*/ 2147483647 w 65"/>
                    <a:gd name="T47" fmla="*/ 2147483647 h 73"/>
                    <a:gd name="T48" fmla="*/ 2147483647 w 65"/>
                    <a:gd name="T49" fmla="*/ 2147483647 h 73"/>
                    <a:gd name="T50" fmla="*/ 2147483647 w 65"/>
                    <a:gd name="T51" fmla="*/ 2147483647 h 73"/>
                    <a:gd name="T52" fmla="*/ 2147483647 w 65"/>
                    <a:gd name="T53" fmla="*/ 2147483647 h 73"/>
                    <a:gd name="T54" fmla="*/ 2147483647 w 65"/>
                    <a:gd name="T55" fmla="*/ 2147483647 h 73"/>
                    <a:gd name="T56" fmla="*/ 2147483647 w 65"/>
                    <a:gd name="T57" fmla="*/ 2147483647 h 73"/>
                    <a:gd name="T58" fmla="*/ 2147483647 w 65"/>
                    <a:gd name="T59" fmla="*/ 2147483647 h 73"/>
                    <a:gd name="T60" fmla="*/ 2147483647 w 65"/>
                    <a:gd name="T61" fmla="*/ 2147483647 h 73"/>
                    <a:gd name="T62" fmla="*/ 2147483647 w 65"/>
                    <a:gd name="T63" fmla="*/ 2147483647 h 73"/>
                    <a:gd name="T64" fmla="*/ 2147483647 w 65"/>
                    <a:gd name="T65" fmla="*/ 2147483647 h 73"/>
                    <a:gd name="T66" fmla="*/ 2147483647 w 65"/>
                    <a:gd name="T67" fmla="*/ 2147483647 h 73"/>
                    <a:gd name="T68" fmla="*/ 2147483647 w 65"/>
                    <a:gd name="T69" fmla="*/ 2147483647 h 73"/>
                    <a:gd name="T70" fmla="*/ 2147483647 w 65"/>
                    <a:gd name="T71" fmla="*/ 2147483647 h 73"/>
                    <a:gd name="T72" fmla="*/ 2147483647 w 65"/>
                    <a:gd name="T73" fmla="*/ 2147483647 h 73"/>
                    <a:gd name="T74" fmla="*/ 2147483647 w 65"/>
                    <a:gd name="T75" fmla="*/ 2147483647 h 73"/>
                    <a:gd name="T76" fmla="*/ 2147483647 w 65"/>
                    <a:gd name="T77" fmla="*/ 2147483647 h 73"/>
                    <a:gd name="T78" fmla="*/ 2147483647 w 65"/>
                    <a:gd name="T79" fmla="*/ 2147483647 h 73"/>
                    <a:gd name="T80" fmla="*/ 2147483647 w 65"/>
                    <a:gd name="T81" fmla="*/ 2147483647 h 73"/>
                    <a:gd name="T82" fmla="*/ 2147483647 w 65"/>
                    <a:gd name="T83" fmla="*/ 2147483647 h 73"/>
                    <a:gd name="T84" fmla="*/ 2147483647 w 65"/>
                    <a:gd name="T85" fmla="*/ 2147483647 h 73"/>
                    <a:gd name="T86" fmla="*/ 2147483647 w 65"/>
                    <a:gd name="T87" fmla="*/ 2147483647 h 73"/>
                    <a:gd name="T88" fmla="*/ 2147483647 w 65"/>
                    <a:gd name="T89" fmla="*/ 2147483647 h 73"/>
                    <a:gd name="T90" fmla="*/ 2147483647 w 65"/>
                    <a:gd name="T91" fmla="*/ 2147483647 h 73"/>
                    <a:gd name="T92" fmla="*/ 2147483647 w 65"/>
                    <a:gd name="T93" fmla="*/ 0 h 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5"/>
                    <a:gd name="T142" fmla="*/ 0 h 73"/>
                    <a:gd name="T143" fmla="*/ 65 w 65"/>
                    <a:gd name="T144" fmla="*/ 73 h 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5" h="73">
                      <a:moveTo>
                        <a:pt x="18" y="0"/>
                      </a:moveTo>
                      <a:lnTo>
                        <a:pt x="17" y="7"/>
                      </a:lnTo>
                      <a:lnTo>
                        <a:pt x="16" y="8"/>
                      </a:lnTo>
                      <a:lnTo>
                        <a:pt x="13" y="9"/>
                      </a:lnTo>
                      <a:lnTo>
                        <a:pt x="12" y="10"/>
                      </a:lnTo>
                      <a:lnTo>
                        <a:pt x="11" y="12"/>
                      </a:lnTo>
                      <a:lnTo>
                        <a:pt x="9" y="16"/>
                      </a:lnTo>
                      <a:lnTo>
                        <a:pt x="7" y="20"/>
                      </a:lnTo>
                      <a:lnTo>
                        <a:pt x="2" y="28"/>
                      </a:lnTo>
                      <a:lnTo>
                        <a:pt x="0" y="29"/>
                      </a:lnTo>
                      <a:lnTo>
                        <a:pt x="2" y="32"/>
                      </a:lnTo>
                      <a:lnTo>
                        <a:pt x="3" y="33"/>
                      </a:lnTo>
                      <a:lnTo>
                        <a:pt x="6" y="33"/>
                      </a:lnTo>
                      <a:lnTo>
                        <a:pt x="8" y="33"/>
                      </a:lnTo>
                      <a:lnTo>
                        <a:pt x="11" y="33"/>
                      </a:lnTo>
                      <a:lnTo>
                        <a:pt x="12" y="34"/>
                      </a:lnTo>
                      <a:lnTo>
                        <a:pt x="13" y="37"/>
                      </a:lnTo>
                      <a:lnTo>
                        <a:pt x="13" y="39"/>
                      </a:lnTo>
                      <a:lnTo>
                        <a:pt x="13" y="41"/>
                      </a:lnTo>
                      <a:lnTo>
                        <a:pt x="9" y="48"/>
                      </a:lnTo>
                      <a:lnTo>
                        <a:pt x="8" y="55"/>
                      </a:lnTo>
                      <a:lnTo>
                        <a:pt x="7" y="64"/>
                      </a:lnTo>
                      <a:lnTo>
                        <a:pt x="4" y="71"/>
                      </a:lnTo>
                      <a:lnTo>
                        <a:pt x="9" y="70"/>
                      </a:lnTo>
                      <a:lnTo>
                        <a:pt x="13" y="70"/>
                      </a:lnTo>
                      <a:lnTo>
                        <a:pt x="22" y="72"/>
                      </a:lnTo>
                      <a:lnTo>
                        <a:pt x="26" y="73"/>
                      </a:lnTo>
                      <a:lnTo>
                        <a:pt x="28" y="72"/>
                      </a:lnTo>
                      <a:lnTo>
                        <a:pt x="39" y="63"/>
                      </a:lnTo>
                      <a:lnTo>
                        <a:pt x="49" y="54"/>
                      </a:lnTo>
                      <a:lnTo>
                        <a:pt x="39" y="45"/>
                      </a:lnTo>
                      <a:lnTo>
                        <a:pt x="32" y="40"/>
                      </a:lnTo>
                      <a:lnTo>
                        <a:pt x="31" y="38"/>
                      </a:lnTo>
                      <a:lnTo>
                        <a:pt x="31" y="37"/>
                      </a:lnTo>
                      <a:lnTo>
                        <a:pt x="32" y="34"/>
                      </a:lnTo>
                      <a:lnTo>
                        <a:pt x="35" y="33"/>
                      </a:lnTo>
                      <a:lnTo>
                        <a:pt x="44" y="29"/>
                      </a:lnTo>
                      <a:lnTo>
                        <a:pt x="54" y="27"/>
                      </a:lnTo>
                      <a:lnTo>
                        <a:pt x="65" y="26"/>
                      </a:lnTo>
                      <a:lnTo>
                        <a:pt x="58" y="13"/>
                      </a:lnTo>
                      <a:lnTo>
                        <a:pt x="54" y="7"/>
                      </a:lnTo>
                      <a:lnTo>
                        <a:pt x="49" y="1"/>
                      </a:lnTo>
                      <a:lnTo>
                        <a:pt x="42" y="5"/>
                      </a:lnTo>
                      <a:lnTo>
                        <a:pt x="36" y="8"/>
                      </a:lnTo>
                      <a:lnTo>
                        <a:pt x="33" y="8"/>
                      </a:lnTo>
                      <a:lnTo>
                        <a:pt x="30" y="7"/>
                      </a:lnTo>
                      <a:lnTo>
                        <a:pt x="18"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5" name="Freeform 663"/>
                <p:cNvSpPr>
                  <a:spLocks/>
                </p:cNvSpPr>
                <p:nvPr/>
              </p:nvSpPr>
              <p:spPr bwMode="auto">
                <a:xfrm>
                  <a:off x="5202750" y="3675686"/>
                  <a:ext cx="260457" cy="312253"/>
                </a:xfrm>
                <a:custGeom>
                  <a:avLst/>
                  <a:gdLst>
                    <a:gd name="T0" fmla="*/ 2147483647 w 191"/>
                    <a:gd name="T1" fmla="*/ 2147483647 h 211"/>
                    <a:gd name="T2" fmla="*/ 2147483647 w 191"/>
                    <a:gd name="T3" fmla="*/ 2147483647 h 211"/>
                    <a:gd name="T4" fmla="*/ 2147483647 w 191"/>
                    <a:gd name="T5" fmla="*/ 2147483647 h 211"/>
                    <a:gd name="T6" fmla="*/ 2147483647 w 191"/>
                    <a:gd name="T7" fmla="*/ 2147483647 h 211"/>
                    <a:gd name="T8" fmla="*/ 2147483647 w 191"/>
                    <a:gd name="T9" fmla="*/ 2147483647 h 211"/>
                    <a:gd name="T10" fmla="*/ 0 w 191"/>
                    <a:gd name="T11" fmla="*/ 2147483647 h 211"/>
                    <a:gd name="T12" fmla="*/ 2147483647 w 191"/>
                    <a:gd name="T13" fmla="*/ 0 h 211"/>
                    <a:gd name="T14" fmla="*/ 2147483647 w 191"/>
                    <a:gd name="T15" fmla="*/ 2147483647 h 211"/>
                    <a:gd name="T16" fmla="*/ 2147483647 w 191"/>
                    <a:gd name="T17" fmla="*/ 2147483647 h 211"/>
                    <a:gd name="T18" fmla="*/ 2147483647 w 191"/>
                    <a:gd name="T19" fmla="*/ 2147483647 h 211"/>
                    <a:gd name="T20" fmla="*/ 2147483647 w 191"/>
                    <a:gd name="T21" fmla="*/ 2147483647 h 211"/>
                    <a:gd name="T22" fmla="*/ 2147483647 w 191"/>
                    <a:gd name="T23" fmla="*/ 2147483647 h 211"/>
                    <a:gd name="T24" fmla="*/ 2147483647 w 191"/>
                    <a:gd name="T25" fmla="*/ 2147483647 h 211"/>
                    <a:gd name="T26" fmla="*/ 2147483647 w 191"/>
                    <a:gd name="T27" fmla="*/ 2147483647 h 211"/>
                    <a:gd name="T28" fmla="*/ 2147483647 w 191"/>
                    <a:gd name="T29" fmla="*/ 2147483647 h 211"/>
                    <a:gd name="T30" fmla="*/ 2147483647 w 191"/>
                    <a:gd name="T31" fmla="*/ 2147483647 h 211"/>
                    <a:gd name="T32" fmla="*/ 2147483647 w 191"/>
                    <a:gd name="T33" fmla="*/ 2147483647 h 211"/>
                    <a:gd name="T34" fmla="*/ 2147483647 w 191"/>
                    <a:gd name="T35" fmla="*/ 2147483647 h 211"/>
                    <a:gd name="T36" fmla="*/ 2147483647 w 191"/>
                    <a:gd name="T37" fmla="*/ 2147483647 h 211"/>
                    <a:gd name="T38" fmla="*/ 2147483647 w 191"/>
                    <a:gd name="T39" fmla="*/ 2147483647 h 211"/>
                    <a:gd name="T40" fmla="*/ 2147483647 w 191"/>
                    <a:gd name="T41" fmla="*/ 2147483647 h 211"/>
                    <a:gd name="T42" fmla="*/ 2147483647 w 191"/>
                    <a:gd name="T43" fmla="*/ 2147483647 h 211"/>
                    <a:gd name="T44" fmla="*/ 2147483647 w 191"/>
                    <a:gd name="T45" fmla="*/ 2147483647 h 211"/>
                    <a:gd name="T46" fmla="*/ 2147483647 w 191"/>
                    <a:gd name="T47" fmla="*/ 2147483647 h 211"/>
                    <a:gd name="T48" fmla="*/ 2147483647 w 191"/>
                    <a:gd name="T49" fmla="*/ 2147483647 h 211"/>
                    <a:gd name="T50" fmla="*/ 2147483647 w 191"/>
                    <a:gd name="T51" fmla="*/ 2147483647 h 211"/>
                    <a:gd name="T52" fmla="*/ 2147483647 w 191"/>
                    <a:gd name="T53" fmla="*/ 2147483647 h 211"/>
                    <a:gd name="T54" fmla="*/ 2147483647 w 191"/>
                    <a:gd name="T55" fmla="*/ 2147483647 h 211"/>
                    <a:gd name="T56" fmla="*/ 2147483647 w 191"/>
                    <a:gd name="T57" fmla="*/ 2147483647 h 211"/>
                    <a:gd name="T58" fmla="*/ 2147483647 w 191"/>
                    <a:gd name="T59" fmla="*/ 2147483647 h 211"/>
                    <a:gd name="T60" fmla="*/ 2147483647 w 191"/>
                    <a:gd name="T61" fmla="*/ 2147483647 h 211"/>
                    <a:gd name="T62" fmla="*/ 2147483647 w 191"/>
                    <a:gd name="T63" fmla="*/ 2147483647 h 211"/>
                    <a:gd name="T64" fmla="*/ 2147483647 w 191"/>
                    <a:gd name="T65" fmla="*/ 2147483647 h 211"/>
                    <a:gd name="T66" fmla="*/ 2147483647 w 191"/>
                    <a:gd name="T67" fmla="*/ 2147483647 h 211"/>
                    <a:gd name="T68" fmla="*/ 2147483647 w 191"/>
                    <a:gd name="T69" fmla="*/ 2147483647 h 211"/>
                    <a:gd name="T70" fmla="*/ 2147483647 w 191"/>
                    <a:gd name="T71" fmla="*/ 2147483647 h 211"/>
                    <a:gd name="T72" fmla="*/ 2147483647 w 191"/>
                    <a:gd name="T73" fmla="*/ 2147483647 h 211"/>
                    <a:gd name="T74" fmla="*/ 2147483647 w 191"/>
                    <a:gd name="T75" fmla="*/ 2147483647 h 211"/>
                    <a:gd name="T76" fmla="*/ 2147483647 w 191"/>
                    <a:gd name="T77" fmla="*/ 2147483647 h 211"/>
                    <a:gd name="T78" fmla="*/ 2147483647 w 191"/>
                    <a:gd name="T79" fmla="*/ 2147483647 h 211"/>
                    <a:gd name="T80" fmla="*/ 2147483647 w 191"/>
                    <a:gd name="T81" fmla="*/ 2147483647 h 211"/>
                    <a:gd name="T82" fmla="*/ 2147483647 w 191"/>
                    <a:gd name="T83" fmla="*/ 2147483647 h 211"/>
                    <a:gd name="T84" fmla="*/ 2147483647 w 191"/>
                    <a:gd name="T85" fmla="*/ 2147483647 h 211"/>
                    <a:gd name="T86" fmla="*/ 2147483647 w 191"/>
                    <a:gd name="T87" fmla="*/ 2147483647 h 211"/>
                    <a:gd name="T88" fmla="*/ 2147483647 w 191"/>
                    <a:gd name="T89" fmla="*/ 2147483647 h 211"/>
                    <a:gd name="T90" fmla="*/ 2147483647 w 191"/>
                    <a:gd name="T91" fmla="*/ 2147483647 h 211"/>
                    <a:gd name="T92" fmla="*/ 2147483647 w 191"/>
                    <a:gd name="T93" fmla="*/ 2147483647 h 211"/>
                    <a:gd name="T94" fmla="*/ 2147483647 w 191"/>
                    <a:gd name="T95" fmla="*/ 2147483647 h 211"/>
                    <a:gd name="T96" fmla="*/ 2147483647 w 191"/>
                    <a:gd name="T97" fmla="*/ 2147483647 h 211"/>
                    <a:gd name="T98" fmla="*/ 2147483647 w 191"/>
                    <a:gd name="T99" fmla="*/ 2147483647 h 211"/>
                    <a:gd name="T100" fmla="*/ 2147483647 w 191"/>
                    <a:gd name="T101" fmla="*/ 2147483647 h 211"/>
                    <a:gd name="T102" fmla="*/ 2147483647 w 191"/>
                    <a:gd name="T103" fmla="*/ 2147483647 h 211"/>
                    <a:gd name="T104" fmla="*/ 2147483647 w 191"/>
                    <a:gd name="T105" fmla="*/ 2147483647 h 211"/>
                    <a:gd name="T106" fmla="*/ 2147483647 w 191"/>
                    <a:gd name="T107" fmla="*/ 2147483647 h 211"/>
                    <a:gd name="T108" fmla="*/ 2147483647 w 191"/>
                    <a:gd name="T109" fmla="*/ 2147483647 h 211"/>
                    <a:gd name="T110" fmla="*/ 2147483647 w 191"/>
                    <a:gd name="T111" fmla="*/ 2147483647 h 2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1"/>
                    <a:gd name="T169" fmla="*/ 0 h 211"/>
                    <a:gd name="T170" fmla="*/ 191 w 191"/>
                    <a:gd name="T171" fmla="*/ 211 h 2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1" h="211">
                      <a:moveTo>
                        <a:pt x="7" y="206"/>
                      </a:moveTo>
                      <a:lnTo>
                        <a:pt x="8" y="56"/>
                      </a:lnTo>
                      <a:lnTo>
                        <a:pt x="4" y="52"/>
                      </a:lnTo>
                      <a:lnTo>
                        <a:pt x="3" y="49"/>
                      </a:lnTo>
                      <a:lnTo>
                        <a:pt x="2" y="44"/>
                      </a:lnTo>
                      <a:lnTo>
                        <a:pt x="2" y="40"/>
                      </a:lnTo>
                      <a:lnTo>
                        <a:pt x="4" y="31"/>
                      </a:lnTo>
                      <a:lnTo>
                        <a:pt x="7" y="22"/>
                      </a:lnTo>
                      <a:lnTo>
                        <a:pt x="7" y="20"/>
                      </a:lnTo>
                      <a:lnTo>
                        <a:pt x="5" y="19"/>
                      </a:lnTo>
                      <a:lnTo>
                        <a:pt x="2" y="14"/>
                      </a:lnTo>
                      <a:lnTo>
                        <a:pt x="0" y="9"/>
                      </a:lnTo>
                      <a:lnTo>
                        <a:pt x="0" y="5"/>
                      </a:lnTo>
                      <a:lnTo>
                        <a:pt x="4" y="0"/>
                      </a:lnTo>
                      <a:lnTo>
                        <a:pt x="10" y="5"/>
                      </a:lnTo>
                      <a:lnTo>
                        <a:pt x="13" y="6"/>
                      </a:lnTo>
                      <a:lnTo>
                        <a:pt x="17" y="6"/>
                      </a:lnTo>
                      <a:lnTo>
                        <a:pt x="23" y="6"/>
                      </a:lnTo>
                      <a:lnTo>
                        <a:pt x="26" y="7"/>
                      </a:lnTo>
                      <a:lnTo>
                        <a:pt x="29" y="8"/>
                      </a:lnTo>
                      <a:lnTo>
                        <a:pt x="37" y="13"/>
                      </a:lnTo>
                      <a:lnTo>
                        <a:pt x="45" y="15"/>
                      </a:lnTo>
                      <a:lnTo>
                        <a:pt x="51" y="17"/>
                      </a:lnTo>
                      <a:lnTo>
                        <a:pt x="66" y="18"/>
                      </a:lnTo>
                      <a:lnTo>
                        <a:pt x="74" y="20"/>
                      </a:lnTo>
                      <a:lnTo>
                        <a:pt x="83" y="24"/>
                      </a:lnTo>
                      <a:lnTo>
                        <a:pt x="85" y="22"/>
                      </a:lnTo>
                      <a:lnTo>
                        <a:pt x="87" y="20"/>
                      </a:lnTo>
                      <a:lnTo>
                        <a:pt x="90" y="15"/>
                      </a:lnTo>
                      <a:lnTo>
                        <a:pt x="96" y="13"/>
                      </a:lnTo>
                      <a:lnTo>
                        <a:pt x="99" y="12"/>
                      </a:lnTo>
                      <a:lnTo>
                        <a:pt x="103" y="8"/>
                      </a:lnTo>
                      <a:lnTo>
                        <a:pt x="104" y="7"/>
                      </a:lnTo>
                      <a:lnTo>
                        <a:pt x="106" y="6"/>
                      </a:lnTo>
                      <a:lnTo>
                        <a:pt x="111" y="6"/>
                      </a:lnTo>
                      <a:lnTo>
                        <a:pt x="115" y="7"/>
                      </a:lnTo>
                      <a:lnTo>
                        <a:pt x="118" y="8"/>
                      </a:lnTo>
                      <a:lnTo>
                        <a:pt x="121" y="12"/>
                      </a:lnTo>
                      <a:lnTo>
                        <a:pt x="122" y="13"/>
                      </a:lnTo>
                      <a:lnTo>
                        <a:pt x="123" y="13"/>
                      </a:lnTo>
                      <a:lnTo>
                        <a:pt x="126" y="12"/>
                      </a:lnTo>
                      <a:lnTo>
                        <a:pt x="131" y="11"/>
                      </a:lnTo>
                      <a:lnTo>
                        <a:pt x="134" y="12"/>
                      </a:lnTo>
                      <a:lnTo>
                        <a:pt x="137" y="13"/>
                      </a:lnTo>
                      <a:lnTo>
                        <a:pt x="143" y="11"/>
                      </a:lnTo>
                      <a:lnTo>
                        <a:pt x="149" y="9"/>
                      </a:lnTo>
                      <a:lnTo>
                        <a:pt x="151" y="9"/>
                      </a:lnTo>
                      <a:lnTo>
                        <a:pt x="154" y="9"/>
                      </a:lnTo>
                      <a:lnTo>
                        <a:pt x="158" y="11"/>
                      </a:lnTo>
                      <a:lnTo>
                        <a:pt x="158" y="15"/>
                      </a:lnTo>
                      <a:lnTo>
                        <a:pt x="159" y="19"/>
                      </a:lnTo>
                      <a:lnTo>
                        <a:pt x="163" y="26"/>
                      </a:lnTo>
                      <a:lnTo>
                        <a:pt x="169" y="38"/>
                      </a:lnTo>
                      <a:lnTo>
                        <a:pt x="174" y="51"/>
                      </a:lnTo>
                      <a:lnTo>
                        <a:pt x="172" y="53"/>
                      </a:lnTo>
                      <a:lnTo>
                        <a:pt x="170" y="57"/>
                      </a:lnTo>
                      <a:lnTo>
                        <a:pt x="168" y="66"/>
                      </a:lnTo>
                      <a:lnTo>
                        <a:pt x="167" y="76"/>
                      </a:lnTo>
                      <a:lnTo>
                        <a:pt x="167" y="79"/>
                      </a:lnTo>
                      <a:lnTo>
                        <a:pt x="164" y="83"/>
                      </a:lnTo>
                      <a:lnTo>
                        <a:pt x="163" y="84"/>
                      </a:lnTo>
                      <a:lnTo>
                        <a:pt x="160" y="81"/>
                      </a:lnTo>
                      <a:lnTo>
                        <a:pt x="158" y="77"/>
                      </a:lnTo>
                      <a:lnTo>
                        <a:pt x="155" y="73"/>
                      </a:lnTo>
                      <a:lnTo>
                        <a:pt x="146" y="65"/>
                      </a:lnTo>
                      <a:lnTo>
                        <a:pt x="143" y="60"/>
                      </a:lnTo>
                      <a:lnTo>
                        <a:pt x="141" y="53"/>
                      </a:lnTo>
                      <a:lnTo>
                        <a:pt x="140" y="53"/>
                      </a:lnTo>
                      <a:lnTo>
                        <a:pt x="139" y="53"/>
                      </a:lnTo>
                      <a:lnTo>
                        <a:pt x="137" y="57"/>
                      </a:lnTo>
                      <a:lnTo>
                        <a:pt x="136" y="62"/>
                      </a:lnTo>
                      <a:lnTo>
                        <a:pt x="136" y="64"/>
                      </a:lnTo>
                      <a:lnTo>
                        <a:pt x="136" y="66"/>
                      </a:lnTo>
                      <a:lnTo>
                        <a:pt x="140" y="72"/>
                      </a:lnTo>
                      <a:lnTo>
                        <a:pt x="145" y="78"/>
                      </a:lnTo>
                      <a:lnTo>
                        <a:pt x="149" y="83"/>
                      </a:lnTo>
                      <a:lnTo>
                        <a:pt x="151" y="90"/>
                      </a:lnTo>
                      <a:lnTo>
                        <a:pt x="158" y="108"/>
                      </a:lnTo>
                      <a:lnTo>
                        <a:pt x="162" y="116"/>
                      </a:lnTo>
                      <a:lnTo>
                        <a:pt x="168" y="123"/>
                      </a:lnTo>
                      <a:lnTo>
                        <a:pt x="170" y="127"/>
                      </a:lnTo>
                      <a:lnTo>
                        <a:pt x="172" y="132"/>
                      </a:lnTo>
                      <a:lnTo>
                        <a:pt x="173" y="132"/>
                      </a:lnTo>
                      <a:lnTo>
                        <a:pt x="176" y="140"/>
                      </a:lnTo>
                      <a:lnTo>
                        <a:pt x="178" y="148"/>
                      </a:lnTo>
                      <a:lnTo>
                        <a:pt x="179" y="152"/>
                      </a:lnTo>
                      <a:lnTo>
                        <a:pt x="181" y="155"/>
                      </a:lnTo>
                      <a:lnTo>
                        <a:pt x="184" y="159"/>
                      </a:lnTo>
                      <a:lnTo>
                        <a:pt x="188" y="161"/>
                      </a:lnTo>
                      <a:lnTo>
                        <a:pt x="189" y="162"/>
                      </a:lnTo>
                      <a:lnTo>
                        <a:pt x="188" y="165"/>
                      </a:lnTo>
                      <a:lnTo>
                        <a:pt x="188" y="168"/>
                      </a:lnTo>
                      <a:lnTo>
                        <a:pt x="188" y="172"/>
                      </a:lnTo>
                      <a:lnTo>
                        <a:pt x="191" y="177"/>
                      </a:lnTo>
                      <a:lnTo>
                        <a:pt x="188" y="184"/>
                      </a:lnTo>
                      <a:lnTo>
                        <a:pt x="177" y="184"/>
                      </a:lnTo>
                      <a:lnTo>
                        <a:pt x="170" y="185"/>
                      </a:lnTo>
                      <a:lnTo>
                        <a:pt x="169" y="185"/>
                      </a:lnTo>
                      <a:lnTo>
                        <a:pt x="168" y="186"/>
                      </a:lnTo>
                      <a:lnTo>
                        <a:pt x="164" y="196"/>
                      </a:lnTo>
                      <a:lnTo>
                        <a:pt x="162" y="199"/>
                      </a:lnTo>
                      <a:lnTo>
                        <a:pt x="160" y="201"/>
                      </a:lnTo>
                      <a:lnTo>
                        <a:pt x="158" y="203"/>
                      </a:lnTo>
                      <a:lnTo>
                        <a:pt x="156" y="203"/>
                      </a:lnTo>
                      <a:lnTo>
                        <a:pt x="156" y="205"/>
                      </a:lnTo>
                      <a:lnTo>
                        <a:pt x="156" y="209"/>
                      </a:lnTo>
                      <a:lnTo>
                        <a:pt x="154" y="210"/>
                      </a:lnTo>
                      <a:lnTo>
                        <a:pt x="150" y="211"/>
                      </a:lnTo>
                      <a:lnTo>
                        <a:pt x="146" y="210"/>
                      </a:lnTo>
                      <a:lnTo>
                        <a:pt x="144" y="207"/>
                      </a:lnTo>
                      <a:lnTo>
                        <a:pt x="141" y="204"/>
                      </a:lnTo>
                      <a:lnTo>
                        <a:pt x="7" y="20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6" name="Freeform 664"/>
                <p:cNvSpPr>
                  <a:spLocks/>
                </p:cNvSpPr>
                <p:nvPr/>
              </p:nvSpPr>
              <p:spPr bwMode="auto">
                <a:xfrm>
                  <a:off x="5433610" y="3644607"/>
                  <a:ext cx="88792" cy="108030"/>
                </a:xfrm>
                <a:custGeom>
                  <a:avLst/>
                  <a:gdLst>
                    <a:gd name="T0" fmla="*/ 2147483647 w 65"/>
                    <a:gd name="T1" fmla="*/ 0 h 73"/>
                    <a:gd name="T2" fmla="*/ 2147483647 w 65"/>
                    <a:gd name="T3" fmla="*/ 0 h 73"/>
                    <a:gd name="T4" fmla="*/ 2147483647 w 65"/>
                    <a:gd name="T5" fmla="*/ 2147483647 h 73"/>
                    <a:gd name="T6" fmla="*/ 2147483647 w 65"/>
                    <a:gd name="T7" fmla="*/ 2147483647 h 73"/>
                    <a:gd name="T8" fmla="*/ 2147483647 w 65"/>
                    <a:gd name="T9" fmla="*/ 2147483647 h 73"/>
                    <a:gd name="T10" fmla="*/ 2147483647 w 65"/>
                    <a:gd name="T11" fmla="*/ 2147483647 h 73"/>
                    <a:gd name="T12" fmla="*/ 2147483647 w 65"/>
                    <a:gd name="T13" fmla="*/ 2147483647 h 73"/>
                    <a:gd name="T14" fmla="*/ 2147483647 w 65"/>
                    <a:gd name="T15" fmla="*/ 2147483647 h 73"/>
                    <a:gd name="T16" fmla="*/ 2147483647 w 65"/>
                    <a:gd name="T17" fmla="*/ 2147483647 h 73"/>
                    <a:gd name="T18" fmla="*/ 2147483647 w 65"/>
                    <a:gd name="T19" fmla="*/ 2147483647 h 73"/>
                    <a:gd name="T20" fmla="*/ 2147483647 w 65"/>
                    <a:gd name="T21" fmla="*/ 2147483647 h 73"/>
                    <a:gd name="T22" fmla="*/ 2147483647 w 65"/>
                    <a:gd name="T23" fmla="*/ 2147483647 h 73"/>
                    <a:gd name="T24" fmla="*/ 2147483647 w 65"/>
                    <a:gd name="T25" fmla="*/ 2147483647 h 73"/>
                    <a:gd name="T26" fmla="*/ 0 w 65"/>
                    <a:gd name="T27" fmla="*/ 2147483647 h 73"/>
                    <a:gd name="T28" fmla="*/ 2147483647 w 65"/>
                    <a:gd name="T29" fmla="*/ 2147483647 h 73"/>
                    <a:gd name="T30" fmla="*/ 2147483647 w 65"/>
                    <a:gd name="T31" fmla="*/ 2147483647 h 73"/>
                    <a:gd name="T32" fmla="*/ 2147483647 w 65"/>
                    <a:gd name="T33" fmla="*/ 2147483647 h 73"/>
                    <a:gd name="T34" fmla="*/ 2147483647 w 65"/>
                    <a:gd name="T35" fmla="*/ 2147483647 h 73"/>
                    <a:gd name="T36" fmla="*/ 2147483647 w 65"/>
                    <a:gd name="T37" fmla="*/ 2147483647 h 73"/>
                    <a:gd name="T38" fmla="*/ 2147483647 w 65"/>
                    <a:gd name="T39" fmla="*/ 2147483647 h 73"/>
                    <a:gd name="T40" fmla="*/ 2147483647 w 65"/>
                    <a:gd name="T41" fmla="*/ 2147483647 h 73"/>
                    <a:gd name="T42" fmla="*/ 2147483647 w 65"/>
                    <a:gd name="T43" fmla="*/ 2147483647 h 73"/>
                    <a:gd name="T44" fmla="*/ 2147483647 w 65"/>
                    <a:gd name="T45" fmla="*/ 2147483647 h 73"/>
                    <a:gd name="T46" fmla="*/ 2147483647 w 65"/>
                    <a:gd name="T47" fmla="*/ 2147483647 h 73"/>
                    <a:gd name="T48" fmla="*/ 2147483647 w 65"/>
                    <a:gd name="T49" fmla="*/ 2147483647 h 73"/>
                    <a:gd name="T50" fmla="*/ 2147483647 w 65"/>
                    <a:gd name="T51" fmla="*/ 2147483647 h 73"/>
                    <a:gd name="T52" fmla="*/ 2147483647 w 65"/>
                    <a:gd name="T53" fmla="*/ 2147483647 h 73"/>
                    <a:gd name="T54" fmla="*/ 2147483647 w 65"/>
                    <a:gd name="T55" fmla="*/ 2147483647 h 73"/>
                    <a:gd name="T56" fmla="*/ 2147483647 w 65"/>
                    <a:gd name="T57" fmla="*/ 2147483647 h 73"/>
                    <a:gd name="T58" fmla="*/ 2147483647 w 65"/>
                    <a:gd name="T59" fmla="*/ 2147483647 h 73"/>
                    <a:gd name="T60" fmla="*/ 2147483647 w 65"/>
                    <a:gd name="T61" fmla="*/ 2147483647 h 73"/>
                    <a:gd name="T62" fmla="*/ 2147483647 w 65"/>
                    <a:gd name="T63" fmla="*/ 2147483647 h 73"/>
                    <a:gd name="T64" fmla="*/ 2147483647 w 65"/>
                    <a:gd name="T65" fmla="*/ 2147483647 h 73"/>
                    <a:gd name="T66" fmla="*/ 2147483647 w 65"/>
                    <a:gd name="T67" fmla="*/ 2147483647 h 73"/>
                    <a:gd name="T68" fmla="*/ 2147483647 w 65"/>
                    <a:gd name="T69" fmla="*/ 2147483647 h 73"/>
                    <a:gd name="T70" fmla="*/ 2147483647 w 65"/>
                    <a:gd name="T71" fmla="*/ 2147483647 h 73"/>
                    <a:gd name="T72" fmla="*/ 2147483647 w 65"/>
                    <a:gd name="T73" fmla="*/ 2147483647 h 73"/>
                    <a:gd name="T74" fmla="*/ 2147483647 w 65"/>
                    <a:gd name="T75" fmla="*/ 2147483647 h 73"/>
                    <a:gd name="T76" fmla="*/ 2147483647 w 65"/>
                    <a:gd name="T77" fmla="*/ 2147483647 h 73"/>
                    <a:gd name="T78" fmla="*/ 2147483647 w 65"/>
                    <a:gd name="T79" fmla="*/ 2147483647 h 73"/>
                    <a:gd name="T80" fmla="*/ 2147483647 w 65"/>
                    <a:gd name="T81" fmla="*/ 2147483647 h 73"/>
                    <a:gd name="T82" fmla="*/ 2147483647 w 65"/>
                    <a:gd name="T83" fmla="*/ 2147483647 h 73"/>
                    <a:gd name="T84" fmla="*/ 2147483647 w 65"/>
                    <a:gd name="T85" fmla="*/ 2147483647 h 73"/>
                    <a:gd name="T86" fmla="*/ 2147483647 w 65"/>
                    <a:gd name="T87" fmla="*/ 2147483647 h 73"/>
                    <a:gd name="T88" fmla="*/ 2147483647 w 65"/>
                    <a:gd name="T89" fmla="*/ 2147483647 h 73"/>
                    <a:gd name="T90" fmla="*/ 2147483647 w 65"/>
                    <a:gd name="T91" fmla="*/ 2147483647 h 73"/>
                    <a:gd name="T92" fmla="*/ 2147483647 w 65"/>
                    <a:gd name="T93" fmla="*/ 2147483647 h 73"/>
                    <a:gd name="T94" fmla="*/ 2147483647 w 65"/>
                    <a:gd name="T95" fmla="*/ 2147483647 h 73"/>
                    <a:gd name="T96" fmla="*/ 2147483647 w 65"/>
                    <a:gd name="T97" fmla="*/ 2147483647 h 73"/>
                    <a:gd name="T98" fmla="*/ 2147483647 w 65"/>
                    <a:gd name="T99" fmla="*/ 2147483647 h 73"/>
                    <a:gd name="T100" fmla="*/ 2147483647 w 65"/>
                    <a:gd name="T101" fmla="*/ 2147483647 h 73"/>
                    <a:gd name="T102" fmla="*/ 2147483647 w 65"/>
                    <a:gd name="T103" fmla="*/ 2147483647 h 73"/>
                    <a:gd name="T104" fmla="*/ 2147483647 w 65"/>
                    <a:gd name="T105" fmla="*/ 2147483647 h 73"/>
                    <a:gd name="T106" fmla="*/ 2147483647 w 65"/>
                    <a:gd name="T107" fmla="*/ 2147483647 h 73"/>
                    <a:gd name="T108" fmla="*/ 2147483647 w 65"/>
                    <a:gd name="T109" fmla="*/ 2147483647 h 73"/>
                    <a:gd name="T110" fmla="*/ 2147483647 w 65"/>
                    <a:gd name="T111" fmla="*/ 2147483647 h 73"/>
                    <a:gd name="T112" fmla="*/ 2147483647 w 65"/>
                    <a:gd name="T113" fmla="*/ 2147483647 h 73"/>
                    <a:gd name="T114" fmla="*/ 2147483647 w 65"/>
                    <a:gd name="T115" fmla="*/ 2147483647 h 73"/>
                    <a:gd name="T116" fmla="*/ 2147483647 w 65"/>
                    <a:gd name="T117" fmla="*/ 2147483647 h 73"/>
                    <a:gd name="T118" fmla="*/ 2147483647 w 65"/>
                    <a:gd name="T119" fmla="*/ 2147483647 h 73"/>
                    <a:gd name="T120" fmla="*/ 2147483647 w 65"/>
                    <a:gd name="T121" fmla="*/ 2147483647 h 73"/>
                    <a:gd name="T122" fmla="*/ 2147483647 w 65"/>
                    <a:gd name="T123" fmla="*/ 2147483647 h 73"/>
                    <a:gd name="T124" fmla="*/ 2147483647 w 65"/>
                    <a:gd name="T125" fmla="*/ 0 h 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5"/>
                    <a:gd name="T190" fmla="*/ 0 h 73"/>
                    <a:gd name="T191" fmla="*/ 65 w 65"/>
                    <a:gd name="T192" fmla="*/ 73 h 7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5" h="73">
                      <a:moveTo>
                        <a:pt x="18" y="0"/>
                      </a:moveTo>
                      <a:lnTo>
                        <a:pt x="18" y="0"/>
                      </a:lnTo>
                      <a:lnTo>
                        <a:pt x="17" y="7"/>
                      </a:lnTo>
                      <a:lnTo>
                        <a:pt x="15" y="8"/>
                      </a:lnTo>
                      <a:lnTo>
                        <a:pt x="13" y="9"/>
                      </a:lnTo>
                      <a:lnTo>
                        <a:pt x="12" y="10"/>
                      </a:lnTo>
                      <a:lnTo>
                        <a:pt x="10" y="11"/>
                      </a:lnTo>
                      <a:lnTo>
                        <a:pt x="9" y="16"/>
                      </a:lnTo>
                      <a:lnTo>
                        <a:pt x="7" y="20"/>
                      </a:lnTo>
                      <a:lnTo>
                        <a:pt x="1" y="28"/>
                      </a:lnTo>
                      <a:lnTo>
                        <a:pt x="0" y="29"/>
                      </a:lnTo>
                      <a:lnTo>
                        <a:pt x="1" y="32"/>
                      </a:lnTo>
                      <a:lnTo>
                        <a:pt x="3" y="33"/>
                      </a:lnTo>
                      <a:lnTo>
                        <a:pt x="5" y="33"/>
                      </a:lnTo>
                      <a:lnTo>
                        <a:pt x="8" y="33"/>
                      </a:lnTo>
                      <a:lnTo>
                        <a:pt x="10" y="33"/>
                      </a:lnTo>
                      <a:lnTo>
                        <a:pt x="12" y="34"/>
                      </a:lnTo>
                      <a:lnTo>
                        <a:pt x="13" y="36"/>
                      </a:lnTo>
                      <a:lnTo>
                        <a:pt x="13" y="39"/>
                      </a:lnTo>
                      <a:lnTo>
                        <a:pt x="13" y="41"/>
                      </a:lnTo>
                      <a:lnTo>
                        <a:pt x="9" y="48"/>
                      </a:lnTo>
                      <a:lnTo>
                        <a:pt x="8" y="55"/>
                      </a:lnTo>
                      <a:lnTo>
                        <a:pt x="7" y="64"/>
                      </a:lnTo>
                      <a:lnTo>
                        <a:pt x="4" y="71"/>
                      </a:lnTo>
                      <a:lnTo>
                        <a:pt x="9" y="70"/>
                      </a:lnTo>
                      <a:lnTo>
                        <a:pt x="13" y="70"/>
                      </a:lnTo>
                      <a:lnTo>
                        <a:pt x="22" y="72"/>
                      </a:lnTo>
                      <a:lnTo>
                        <a:pt x="26" y="73"/>
                      </a:lnTo>
                      <a:lnTo>
                        <a:pt x="28" y="72"/>
                      </a:lnTo>
                      <a:lnTo>
                        <a:pt x="38" y="62"/>
                      </a:lnTo>
                      <a:lnTo>
                        <a:pt x="48" y="54"/>
                      </a:lnTo>
                      <a:lnTo>
                        <a:pt x="38" y="45"/>
                      </a:lnTo>
                      <a:lnTo>
                        <a:pt x="32" y="40"/>
                      </a:lnTo>
                      <a:lnTo>
                        <a:pt x="31" y="38"/>
                      </a:lnTo>
                      <a:lnTo>
                        <a:pt x="31" y="36"/>
                      </a:lnTo>
                      <a:lnTo>
                        <a:pt x="32" y="34"/>
                      </a:lnTo>
                      <a:lnTo>
                        <a:pt x="34" y="33"/>
                      </a:lnTo>
                      <a:lnTo>
                        <a:pt x="43" y="29"/>
                      </a:lnTo>
                      <a:lnTo>
                        <a:pt x="54" y="27"/>
                      </a:lnTo>
                      <a:lnTo>
                        <a:pt x="65" y="26"/>
                      </a:lnTo>
                      <a:lnTo>
                        <a:pt x="57" y="13"/>
                      </a:lnTo>
                      <a:lnTo>
                        <a:pt x="54" y="7"/>
                      </a:lnTo>
                      <a:lnTo>
                        <a:pt x="48" y="1"/>
                      </a:lnTo>
                      <a:lnTo>
                        <a:pt x="42" y="4"/>
                      </a:lnTo>
                      <a:lnTo>
                        <a:pt x="36" y="8"/>
                      </a:lnTo>
                      <a:lnTo>
                        <a:pt x="33" y="8"/>
                      </a:lnTo>
                      <a:lnTo>
                        <a:pt x="29" y="7"/>
                      </a:lnTo>
                      <a:lnTo>
                        <a:pt x="18"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7" name="Freeform 665"/>
                <p:cNvSpPr>
                  <a:spLocks/>
                </p:cNvSpPr>
                <p:nvPr/>
              </p:nvSpPr>
              <p:spPr bwMode="auto">
                <a:xfrm>
                  <a:off x="5201270" y="3674203"/>
                  <a:ext cx="258978" cy="312253"/>
                </a:xfrm>
                <a:custGeom>
                  <a:avLst/>
                  <a:gdLst>
                    <a:gd name="T0" fmla="*/ 2147483647 w 190"/>
                    <a:gd name="T1" fmla="*/ 2147483647 h 211"/>
                    <a:gd name="T2" fmla="*/ 2147483647 w 190"/>
                    <a:gd name="T3" fmla="*/ 2147483647 h 211"/>
                    <a:gd name="T4" fmla="*/ 2147483647 w 190"/>
                    <a:gd name="T5" fmla="*/ 2147483647 h 211"/>
                    <a:gd name="T6" fmla="*/ 2147483647 w 190"/>
                    <a:gd name="T7" fmla="*/ 2147483647 h 211"/>
                    <a:gd name="T8" fmla="*/ 0 w 190"/>
                    <a:gd name="T9" fmla="*/ 2147483647 h 211"/>
                    <a:gd name="T10" fmla="*/ 2147483647 w 190"/>
                    <a:gd name="T11" fmla="*/ 0 h 211"/>
                    <a:gd name="T12" fmla="*/ 2147483647 w 190"/>
                    <a:gd name="T13" fmla="*/ 2147483647 h 211"/>
                    <a:gd name="T14" fmla="*/ 2147483647 w 190"/>
                    <a:gd name="T15" fmla="*/ 2147483647 h 211"/>
                    <a:gd name="T16" fmla="*/ 2147483647 w 190"/>
                    <a:gd name="T17" fmla="*/ 2147483647 h 211"/>
                    <a:gd name="T18" fmla="*/ 2147483647 w 190"/>
                    <a:gd name="T19" fmla="*/ 2147483647 h 211"/>
                    <a:gd name="T20" fmla="*/ 2147483647 w 190"/>
                    <a:gd name="T21" fmla="*/ 2147483647 h 211"/>
                    <a:gd name="T22" fmla="*/ 2147483647 w 190"/>
                    <a:gd name="T23" fmla="*/ 2147483647 h 211"/>
                    <a:gd name="T24" fmla="*/ 2147483647 w 190"/>
                    <a:gd name="T25" fmla="*/ 2147483647 h 211"/>
                    <a:gd name="T26" fmla="*/ 2147483647 w 190"/>
                    <a:gd name="T27" fmla="*/ 2147483647 h 211"/>
                    <a:gd name="T28" fmla="*/ 2147483647 w 190"/>
                    <a:gd name="T29" fmla="*/ 2147483647 h 211"/>
                    <a:gd name="T30" fmla="*/ 2147483647 w 190"/>
                    <a:gd name="T31" fmla="*/ 2147483647 h 211"/>
                    <a:gd name="T32" fmla="*/ 2147483647 w 190"/>
                    <a:gd name="T33" fmla="*/ 2147483647 h 211"/>
                    <a:gd name="T34" fmla="*/ 2147483647 w 190"/>
                    <a:gd name="T35" fmla="*/ 2147483647 h 211"/>
                    <a:gd name="T36" fmla="*/ 2147483647 w 190"/>
                    <a:gd name="T37" fmla="*/ 2147483647 h 211"/>
                    <a:gd name="T38" fmla="*/ 2147483647 w 190"/>
                    <a:gd name="T39" fmla="*/ 2147483647 h 211"/>
                    <a:gd name="T40" fmla="*/ 2147483647 w 190"/>
                    <a:gd name="T41" fmla="*/ 2147483647 h 211"/>
                    <a:gd name="T42" fmla="*/ 2147483647 w 190"/>
                    <a:gd name="T43" fmla="*/ 2147483647 h 211"/>
                    <a:gd name="T44" fmla="*/ 2147483647 w 190"/>
                    <a:gd name="T45" fmla="*/ 2147483647 h 211"/>
                    <a:gd name="T46" fmla="*/ 2147483647 w 190"/>
                    <a:gd name="T47" fmla="*/ 2147483647 h 211"/>
                    <a:gd name="T48" fmla="*/ 2147483647 w 190"/>
                    <a:gd name="T49" fmla="*/ 2147483647 h 211"/>
                    <a:gd name="T50" fmla="*/ 2147483647 w 190"/>
                    <a:gd name="T51" fmla="*/ 2147483647 h 211"/>
                    <a:gd name="T52" fmla="*/ 2147483647 w 190"/>
                    <a:gd name="T53" fmla="*/ 2147483647 h 211"/>
                    <a:gd name="T54" fmla="*/ 2147483647 w 190"/>
                    <a:gd name="T55" fmla="*/ 2147483647 h 211"/>
                    <a:gd name="T56" fmla="*/ 2147483647 w 190"/>
                    <a:gd name="T57" fmla="*/ 2147483647 h 211"/>
                    <a:gd name="T58" fmla="*/ 2147483647 w 190"/>
                    <a:gd name="T59" fmla="*/ 2147483647 h 211"/>
                    <a:gd name="T60" fmla="*/ 2147483647 w 190"/>
                    <a:gd name="T61" fmla="*/ 2147483647 h 211"/>
                    <a:gd name="T62" fmla="*/ 2147483647 w 190"/>
                    <a:gd name="T63" fmla="*/ 2147483647 h 211"/>
                    <a:gd name="T64" fmla="*/ 2147483647 w 190"/>
                    <a:gd name="T65" fmla="*/ 2147483647 h 211"/>
                    <a:gd name="T66" fmla="*/ 2147483647 w 190"/>
                    <a:gd name="T67" fmla="*/ 2147483647 h 211"/>
                    <a:gd name="T68" fmla="*/ 2147483647 w 190"/>
                    <a:gd name="T69" fmla="*/ 2147483647 h 211"/>
                    <a:gd name="T70" fmla="*/ 2147483647 w 190"/>
                    <a:gd name="T71" fmla="*/ 2147483647 h 211"/>
                    <a:gd name="T72" fmla="*/ 2147483647 w 190"/>
                    <a:gd name="T73" fmla="*/ 2147483647 h 211"/>
                    <a:gd name="T74" fmla="*/ 2147483647 w 190"/>
                    <a:gd name="T75" fmla="*/ 2147483647 h 211"/>
                    <a:gd name="T76" fmla="*/ 2147483647 w 190"/>
                    <a:gd name="T77" fmla="*/ 2147483647 h 211"/>
                    <a:gd name="T78" fmla="*/ 2147483647 w 190"/>
                    <a:gd name="T79" fmla="*/ 2147483647 h 211"/>
                    <a:gd name="T80" fmla="*/ 2147483647 w 190"/>
                    <a:gd name="T81" fmla="*/ 2147483647 h 211"/>
                    <a:gd name="T82" fmla="*/ 2147483647 w 190"/>
                    <a:gd name="T83" fmla="*/ 2147483647 h 211"/>
                    <a:gd name="T84" fmla="*/ 2147483647 w 190"/>
                    <a:gd name="T85" fmla="*/ 2147483647 h 211"/>
                    <a:gd name="T86" fmla="*/ 2147483647 w 190"/>
                    <a:gd name="T87" fmla="*/ 2147483647 h 211"/>
                    <a:gd name="T88" fmla="*/ 2147483647 w 190"/>
                    <a:gd name="T89" fmla="*/ 2147483647 h 211"/>
                    <a:gd name="T90" fmla="*/ 2147483647 w 190"/>
                    <a:gd name="T91" fmla="*/ 2147483647 h 211"/>
                    <a:gd name="T92" fmla="*/ 2147483647 w 190"/>
                    <a:gd name="T93" fmla="*/ 2147483647 h 211"/>
                    <a:gd name="T94" fmla="*/ 2147483647 w 190"/>
                    <a:gd name="T95" fmla="*/ 2147483647 h 211"/>
                    <a:gd name="T96" fmla="*/ 2147483647 w 190"/>
                    <a:gd name="T97" fmla="*/ 2147483647 h 211"/>
                    <a:gd name="T98" fmla="*/ 2147483647 w 190"/>
                    <a:gd name="T99" fmla="*/ 2147483647 h 2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0"/>
                    <a:gd name="T151" fmla="*/ 0 h 211"/>
                    <a:gd name="T152" fmla="*/ 190 w 190"/>
                    <a:gd name="T153" fmla="*/ 211 h 2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0" h="211">
                      <a:moveTo>
                        <a:pt x="6" y="206"/>
                      </a:moveTo>
                      <a:lnTo>
                        <a:pt x="8" y="55"/>
                      </a:lnTo>
                      <a:lnTo>
                        <a:pt x="4" y="52"/>
                      </a:lnTo>
                      <a:lnTo>
                        <a:pt x="3" y="48"/>
                      </a:lnTo>
                      <a:lnTo>
                        <a:pt x="1" y="44"/>
                      </a:lnTo>
                      <a:lnTo>
                        <a:pt x="1" y="40"/>
                      </a:lnTo>
                      <a:lnTo>
                        <a:pt x="4" y="31"/>
                      </a:lnTo>
                      <a:lnTo>
                        <a:pt x="6" y="22"/>
                      </a:lnTo>
                      <a:lnTo>
                        <a:pt x="6" y="20"/>
                      </a:lnTo>
                      <a:lnTo>
                        <a:pt x="5" y="19"/>
                      </a:lnTo>
                      <a:lnTo>
                        <a:pt x="1" y="14"/>
                      </a:lnTo>
                      <a:lnTo>
                        <a:pt x="0" y="9"/>
                      </a:lnTo>
                      <a:lnTo>
                        <a:pt x="0" y="4"/>
                      </a:lnTo>
                      <a:lnTo>
                        <a:pt x="4" y="0"/>
                      </a:lnTo>
                      <a:lnTo>
                        <a:pt x="10" y="4"/>
                      </a:lnTo>
                      <a:lnTo>
                        <a:pt x="13" y="6"/>
                      </a:lnTo>
                      <a:lnTo>
                        <a:pt x="17" y="6"/>
                      </a:lnTo>
                      <a:lnTo>
                        <a:pt x="23" y="6"/>
                      </a:lnTo>
                      <a:lnTo>
                        <a:pt x="25" y="7"/>
                      </a:lnTo>
                      <a:lnTo>
                        <a:pt x="29" y="8"/>
                      </a:lnTo>
                      <a:lnTo>
                        <a:pt x="37" y="13"/>
                      </a:lnTo>
                      <a:lnTo>
                        <a:pt x="44" y="15"/>
                      </a:lnTo>
                      <a:lnTo>
                        <a:pt x="51" y="16"/>
                      </a:lnTo>
                      <a:lnTo>
                        <a:pt x="66" y="18"/>
                      </a:lnTo>
                      <a:lnTo>
                        <a:pt x="74" y="20"/>
                      </a:lnTo>
                      <a:lnTo>
                        <a:pt x="83" y="23"/>
                      </a:lnTo>
                      <a:lnTo>
                        <a:pt x="85" y="22"/>
                      </a:lnTo>
                      <a:lnTo>
                        <a:pt x="86" y="20"/>
                      </a:lnTo>
                      <a:lnTo>
                        <a:pt x="90" y="15"/>
                      </a:lnTo>
                      <a:lnTo>
                        <a:pt x="95" y="13"/>
                      </a:lnTo>
                      <a:lnTo>
                        <a:pt x="99" y="12"/>
                      </a:lnTo>
                      <a:lnTo>
                        <a:pt x="103" y="8"/>
                      </a:lnTo>
                      <a:lnTo>
                        <a:pt x="104" y="7"/>
                      </a:lnTo>
                      <a:lnTo>
                        <a:pt x="105" y="6"/>
                      </a:lnTo>
                      <a:lnTo>
                        <a:pt x="110" y="6"/>
                      </a:lnTo>
                      <a:lnTo>
                        <a:pt x="114" y="7"/>
                      </a:lnTo>
                      <a:lnTo>
                        <a:pt x="118" y="8"/>
                      </a:lnTo>
                      <a:lnTo>
                        <a:pt x="121" y="12"/>
                      </a:lnTo>
                      <a:lnTo>
                        <a:pt x="122" y="13"/>
                      </a:lnTo>
                      <a:lnTo>
                        <a:pt x="123" y="13"/>
                      </a:lnTo>
                      <a:lnTo>
                        <a:pt x="126" y="12"/>
                      </a:lnTo>
                      <a:lnTo>
                        <a:pt x="131" y="10"/>
                      </a:lnTo>
                      <a:lnTo>
                        <a:pt x="133" y="12"/>
                      </a:lnTo>
                      <a:lnTo>
                        <a:pt x="137" y="13"/>
                      </a:lnTo>
                      <a:lnTo>
                        <a:pt x="142" y="10"/>
                      </a:lnTo>
                      <a:lnTo>
                        <a:pt x="149" y="9"/>
                      </a:lnTo>
                      <a:lnTo>
                        <a:pt x="151" y="9"/>
                      </a:lnTo>
                      <a:lnTo>
                        <a:pt x="154" y="9"/>
                      </a:lnTo>
                      <a:lnTo>
                        <a:pt x="157" y="10"/>
                      </a:lnTo>
                      <a:lnTo>
                        <a:pt x="157" y="15"/>
                      </a:lnTo>
                      <a:lnTo>
                        <a:pt x="159" y="19"/>
                      </a:lnTo>
                      <a:lnTo>
                        <a:pt x="163" y="26"/>
                      </a:lnTo>
                      <a:lnTo>
                        <a:pt x="169" y="38"/>
                      </a:lnTo>
                      <a:lnTo>
                        <a:pt x="174" y="51"/>
                      </a:lnTo>
                      <a:lnTo>
                        <a:pt x="171" y="53"/>
                      </a:lnTo>
                      <a:lnTo>
                        <a:pt x="170" y="57"/>
                      </a:lnTo>
                      <a:lnTo>
                        <a:pt x="168" y="66"/>
                      </a:lnTo>
                      <a:lnTo>
                        <a:pt x="166" y="76"/>
                      </a:lnTo>
                      <a:lnTo>
                        <a:pt x="166" y="79"/>
                      </a:lnTo>
                      <a:lnTo>
                        <a:pt x="164" y="83"/>
                      </a:lnTo>
                      <a:lnTo>
                        <a:pt x="163" y="84"/>
                      </a:lnTo>
                      <a:lnTo>
                        <a:pt x="160" y="80"/>
                      </a:lnTo>
                      <a:lnTo>
                        <a:pt x="157" y="77"/>
                      </a:lnTo>
                      <a:lnTo>
                        <a:pt x="155" y="73"/>
                      </a:lnTo>
                      <a:lnTo>
                        <a:pt x="146" y="65"/>
                      </a:lnTo>
                      <a:lnTo>
                        <a:pt x="142" y="60"/>
                      </a:lnTo>
                      <a:lnTo>
                        <a:pt x="141" y="53"/>
                      </a:lnTo>
                      <a:lnTo>
                        <a:pt x="140" y="53"/>
                      </a:lnTo>
                      <a:lnTo>
                        <a:pt x="138" y="53"/>
                      </a:lnTo>
                      <a:lnTo>
                        <a:pt x="137" y="57"/>
                      </a:lnTo>
                      <a:lnTo>
                        <a:pt x="136" y="61"/>
                      </a:lnTo>
                      <a:lnTo>
                        <a:pt x="136" y="64"/>
                      </a:lnTo>
                      <a:lnTo>
                        <a:pt x="136" y="66"/>
                      </a:lnTo>
                      <a:lnTo>
                        <a:pt x="140" y="72"/>
                      </a:lnTo>
                      <a:lnTo>
                        <a:pt x="145" y="78"/>
                      </a:lnTo>
                      <a:lnTo>
                        <a:pt x="149" y="83"/>
                      </a:lnTo>
                      <a:lnTo>
                        <a:pt x="151" y="90"/>
                      </a:lnTo>
                      <a:lnTo>
                        <a:pt x="157" y="108"/>
                      </a:lnTo>
                      <a:lnTo>
                        <a:pt x="161" y="116"/>
                      </a:lnTo>
                      <a:lnTo>
                        <a:pt x="168" y="123"/>
                      </a:lnTo>
                      <a:lnTo>
                        <a:pt x="170" y="127"/>
                      </a:lnTo>
                      <a:lnTo>
                        <a:pt x="171" y="131"/>
                      </a:lnTo>
                      <a:lnTo>
                        <a:pt x="173" y="131"/>
                      </a:lnTo>
                      <a:lnTo>
                        <a:pt x="175" y="140"/>
                      </a:lnTo>
                      <a:lnTo>
                        <a:pt x="178" y="148"/>
                      </a:lnTo>
                      <a:lnTo>
                        <a:pt x="179" y="151"/>
                      </a:lnTo>
                      <a:lnTo>
                        <a:pt x="180" y="155"/>
                      </a:lnTo>
                      <a:lnTo>
                        <a:pt x="184" y="159"/>
                      </a:lnTo>
                      <a:lnTo>
                        <a:pt x="188" y="161"/>
                      </a:lnTo>
                      <a:lnTo>
                        <a:pt x="189" y="162"/>
                      </a:lnTo>
                      <a:lnTo>
                        <a:pt x="188" y="165"/>
                      </a:lnTo>
                      <a:lnTo>
                        <a:pt x="188" y="168"/>
                      </a:lnTo>
                      <a:lnTo>
                        <a:pt x="188" y="172"/>
                      </a:lnTo>
                      <a:lnTo>
                        <a:pt x="190" y="176"/>
                      </a:lnTo>
                      <a:lnTo>
                        <a:pt x="188" y="184"/>
                      </a:lnTo>
                      <a:lnTo>
                        <a:pt x="177" y="184"/>
                      </a:lnTo>
                      <a:lnTo>
                        <a:pt x="170" y="185"/>
                      </a:lnTo>
                      <a:lnTo>
                        <a:pt x="169" y="185"/>
                      </a:lnTo>
                      <a:lnTo>
                        <a:pt x="168" y="186"/>
                      </a:lnTo>
                      <a:lnTo>
                        <a:pt x="164" y="195"/>
                      </a:lnTo>
                      <a:lnTo>
                        <a:pt x="161" y="199"/>
                      </a:lnTo>
                      <a:lnTo>
                        <a:pt x="160" y="201"/>
                      </a:lnTo>
                      <a:lnTo>
                        <a:pt x="157" y="202"/>
                      </a:lnTo>
                      <a:lnTo>
                        <a:pt x="156" y="202"/>
                      </a:lnTo>
                      <a:lnTo>
                        <a:pt x="156" y="205"/>
                      </a:lnTo>
                      <a:lnTo>
                        <a:pt x="156" y="208"/>
                      </a:lnTo>
                      <a:lnTo>
                        <a:pt x="154" y="210"/>
                      </a:lnTo>
                      <a:lnTo>
                        <a:pt x="150" y="211"/>
                      </a:lnTo>
                      <a:lnTo>
                        <a:pt x="146" y="210"/>
                      </a:lnTo>
                      <a:lnTo>
                        <a:pt x="144" y="207"/>
                      </a:lnTo>
                      <a:lnTo>
                        <a:pt x="141" y="204"/>
                      </a:lnTo>
                      <a:lnTo>
                        <a:pt x="6" y="20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8" name="Freeform 666"/>
                <p:cNvSpPr>
                  <a:spLocks/>
                </p:cNvSpPr>
                <p:nvPr/>
              </p:nvSpPr>
              <p:spPr bwMode="auto">
                <a:xfrm>
                  <a:off x="4816503" y="3635727"/>
                  <a:ext cx="396606" cy="424723"/>
                </a:xfrm>
                <a:custGeom>
                  <a:avLst/>
                  <a:gdLst>
                    <a:gd name="T0" fmla="*/ 2147483647 w 291"/>
                    <a:gd name="T1" fmla="*/ 2147483647 h 287"/>
                    <a:gd name="T2" fmla="*/ 2147483647 w 291"/>
                    <a:gd name="T3" fmla="*/ 2147483647 h 287"/>
                    <a:gd name="T4" fmla="*/ 2147483647 w 291"/>
                    <a:gd name="T5" fmla="*/ 2147483647 h 287"/>
                    <a:gd name="T6" fmla="*/ 2147483647 w 291"/>
                    <a:gd name="T7" fmla="*/ 2147483647 h 287"/>
                    <a:gd name="T8" fmla="*/ 2147483647 w 291"/>
                    <a:gd name="T9" fmla="*/ 2147483647 h 287"/>
                    <a:gd name="T10" fmla="*/ 2147483647 w 291"/>
                    <a:gd name="T11" fmla="*/ 2147483647 h 287"/>
                    <a:gd name="T12" fmla="*/ 2147483647 w 291"/>
                    <a:gd name="T13" fmla="*/ 2147483647 h 287"/>
                    <a:gd name="T14" fmla="*/ 2147483647 w 291"/>
                    <a:gd name="T15" fmla="*/ 2147483647 h 287"/>
                    <a:gd name="T16" fmla="*/ 2147483647 w 291"/>
                    <a:gd name="T17" fmla="*/ 2147483647 h 287"/>
                    <a:gd name="T18" fmla="*/ 2147483647 w 291"/>
                    <a:gd name="T19" fmla="*/ 2147483647 h 287"/>
                    <a:gd name="T20" fmla="*/ 2147483647 w 291"/>
                    <a:gd name="T21" fmla="*/ 2147483647 h 287"/>
                    <a:gd name="T22" fmla="*/ 2147483647 w 291"/>
                    <a:gd name="T23" fmla="*/ 2147483647 h 287"/>
                    <a:gd name="T24" fmla="*/ 2147483647 w 291"/>
                    <a:gd name="T25" fmla="*/ 2147483647 h 287"/>
                    <a:gd name="T26" fmla="*/ 2147483647 w 291"/>
                    <a:gd name="T27" fmla="*/ 2147483647 h 287"/>
                    <a:gd name="T28" fmla="*/ 2147483647 w 291"/>
                    <a:gd name="T29" fmla="*/ 2147483647 h 287"/>
                    <a:gd name="T30" fmla="*/ 2147483647 w 291"/>
                    <a:gd name="T31" fmla="*/ 2147483647 h 287"/>
                    <a:gd name="T32" fmla="*/ 0 w 291"/>
                    <a:gd name="T33" fmla="*/ 2147483647 h 287"/>
                    <a:gd name="T34" fmla="*/ 2147483647 w 291"/>
                    <a:gd name="T35" fmla="*/ 2147483647 h 287"/>
                    <a:gd name="T36" fmla="*/ 2147483647 w 291"/>
                    <a:gd name="T37" fmla="*/ 2147483647 h 287"/>
                    <a:gd name="T38" fmla="*/ 2147483647 w 291"/>
                    <a:gd name="T39" fmla="*/ 2147483647 h 287"/>
                    <a:gd name="T40" fmla="*/ 2147483647 w 291"/>
                    <a:gd name="T41" fmla="*/ 2147483647 h 287"/>
                    <a:gd name="T42" fmla="*/ 2147483647 w 291"/>
                    <a:gd name="T43" fmla="*/ 2147483647 h 287"/>
                    <a:gd name="T44" fmla="*/ 2147483647 w 291"/>
                    <a:gd name="T45" fmla="*/ 2147483647 h 287"/>
                    <a:gd name="T46" fmla="*/ 2147483647 w 291"/>
                    <a:gd name="T47" fmla="*/ 2147483647 h 287"/>
                    <a:gd name="T48" fmla="*/ 2147483647 w 291"/>
                    <a:gd name="T49" fmla="*/ 2147483647 h 287"/>
                    <a:gd name="T50" fmla="*/ 2147483647 w 291"/>
                    <a:gd name="T51" fmla="*/ 2147483647 h 287"/>
                    <a:gd name="T52" fmla="*/ 2147483647 w 291"/>
                    <a:gd name="T53" fmla="*/ 2147483647 h 287"/>
                    <a:gd name="T54" fmla="*/ 2147483647 w 291"/>
                    <a:gd name="T55" fmla="*/ 0 h 287"/>
                    <a:gd name="T56" fmla="*/ 2147483647 w 291"/>
                    <a:gd name="T57" fmla="*/ 2147483647 h 287"/>
                    <a:gd name="T58" fmla="*/ 2147483647 w 291"/>
                    <a:gd name="T59" fmla="*/ 2147483647 h 287"/>
                    <a:gd name="T60" fmla="*/ 2147483647 w 291"/>
                    <a:gd name="T61" fmla="*/ 2147483647 h 287"/>
                    <a:gd name="T62" fmla="*/ 2147483647 w 291"/>
                    <a:gd name="T63" fmla="*/ 2147483647 h 287"/>
                    <a:gd name="T64" fmla="*/ 2147483647 w 291"/>
                    <a:gd name="T65" fmla="*/ 2147483647 h 287"/>
                    <a:gd name="T66" fmla="*/ 2147483647 w 291"/>
                    <a:gd name="T67" fmla="*/ 2147483647 h 287"/>
                    <a:gd name="T68" fmla="*/ 2147483647 w 291"/>
                    <a:gd name="T69" fmla="*/ 2147483647 h 287"/>
                    <a:gd name="T70" fmla="*/ 2147483647 w 291"/>
                    <a:gd name="T71" fmla="*/ 2147483647 h 287"/>
                    <a:gd name="T72" fmla="*/ 2147483647 w 291"/>
                    <a:gd name="T73" fmla="*/ 2147483647 h 287"/>
                    <a:gd name="T74" fmla="*/ 2147483647 w 291"/>
                    <a:gd name="T75" fmla="*/ 2147483647 h 287"/>
                    <a:gd name="T76" fmla="*/ 2147483647 w 291"/>
                    <a:gd name="T77" fmla="*/ 2147483647 h 287"/>
                    <a:gd name="T78" fmla="*/ 2147483647 w 291"/>
                    <a:gd name="T79" fmla="*/ 2147483647 h 287"/>
                    <a:gd name="T80" fmla="*/ 2147483647 w 291"/>
                    <a:gd name="T81" fmla="*/ 2147483647 h 287"/>
                    <a:gd name="T82" fmla="*/ 2147483647 w 291"/>
                    <a:gd name="T83" fmla="*/ 2147483647 h 287"/>
                    <a:gd name="T84" fmla="*/ 2147483647 w 291"/>
                    <a:gd name="T85" fmla="*/ 2147483647 h 2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87"/>
                    <a:gd name="T131" fmla="*/ 291 w 291"/>
                    <a:gd name="T132" fmla="*/ 287 h 2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87">
                      <a:moveTo>
                        <a:pt x="287" y="27"/>
                      </a:moveTo>
                      <a:lnTo>
                        <a:pt x="283" y="32"/>
                      </a:lnTo>
                      <a:lnTo>
                        <a:pt x="283" y="36"/>
                      </a:lnTo>
                      <a:lnTo>
                        <a:pt x="285" y="41"/>
                      </a:lnTo>
                      <a:lnTo>
                        <a:pt x="288" y="46"/>
                      </a:lnTo>
                      <a:lnTo>
                        <a:pt x="290" y="47"/>
                      </a:lnTo>
                      <a:lnTo>
                        <a:pt x="290" y="49"/>
                      </a:lnTo>
                      <a:lnTo>
                        <a:pt x="287" y="58"/>
                      </a:lnTo>
                      <a:lnTo>
                        <a:pt x="285" y="67"/>
                      </a:lnTo>
                      <a:lnTo>
                        <a:pt x="285" y="71"/>
                      </a:lnTo>
                      <a:lnTo>
                        <a:pt x="286" y="76"/>
                      </a:lnTo>
                      <a:lnTo>
                        <a:pt x="287" y="79"/>
                      </a:lnTo>
                      <a:lnTo>
                        <a:pt x="291" y="83"/>
                      </a:lnTo>
                      <a:lnTo>
                        <a:pt x="290" y="233"/>
                      </a:lnTo>
                      <a:lnTo>
                        <a:pt x="288" y="270"/>
                      </a:lnTo>
                      <a:lnTo>
                        <a:pt x="279" y="272"/>
                      </a:lnTo>
                      <a:lnTo>
                        <a:pt x="278" y="287"/>
                      </a:lnTo>
                      <a:lnTo>
                        <a:pt x="123" y="204"/>
                      </a:lnTo>
                      <a:lnTo>
                        <a:pt x="117" y="211"/>
                      </a:lnTo>
                      <a:lnTo>
                        <a:pt x="109" y="217"/>
                      </a:lnTo>
                      <a:lnTo>
                        <a:pt x="92" y="227"/>
                      </a:lnTo>
                      <a:lnTo>
                        <a:pt x="88" y="227"/>
                      </a:lnTo>
                      <a:lnTo>
                        <a:pt x="85" y="226"/>
                      </a:lnTo>
                      <a:lnTo>
                        <a:pt x="84" y="225"/>
                      </a:lnTo>
                      <a:lnTo>
                        <a:pt x="84" y="220"/>
                      </a:lnTo>
                      <a:lnTo>
                        <a:pt x="81" y="217"/>
                      </a:lnTo>
                      <a:lnTo>
                        <a:pt x="80" y="214"/>
                      </a:lnTo>
                      <a:lnTo>
                        <a:pt x="78" y="213"/>
                      </a:lnTo>
                      <a:lnTo>
                        <a:pt x="71" y="211"/>
                      </a:lnTo>
                      <a:lnTo>
                        <a:pt x="65" y="211"/>
                      </a:lnTo>
                      <a:lnTo>
                        <a:pt x="61" y="211"/>
                      </a:lnTo>
                      <a:lnTo>
                        <a:pt x="57" y="210"/>
                      </a:lnTo>
                      <a:lnTo>
                        <a:pt x="55" y="207"/>
                      </a:lnTo>
                      <a:lnTo>
                        <a:pt x="53" y="204"/>
                      </a:lnTo>
                      <a:lnTo>
                        <a:pt x="51" y="200"/>
                      </a:lnTo>
                      <a:lnTo>
                        <a:pt x="48" y="196"/>
                      </a:lnTo>
                      <a:lnTo>
                        <a:pt x="43" y="195"/>
                      </a:lnTo>
                      <a:lnTo>
                        <a:pt x="38" y="194"/>
                      </a:lnTo>
                      <a:lnTo>
                        <a:pt x="28" y="193"/>
                      </a:lnTo>
                      <a:lnTo>
                        <a:pt x="23" y="193"/>
                      </a:lnTo>
                      <a:lnTo>
                        <a:pt x="19" y="191"/>
                      </a:lnTo>
                      <a:lnTo>
                        <a:pt x="17" y="187"/>
                      </a:lnTo>
                      <a:lnTo>
                        <a:pt x="15" y="182"/>
                      </a:lnTo>
                      <a:lnTo>
                        <a:pt x="15" y="173"/>
                      </a:lnTo>
                      <a:lnTo>
                        <a:pt x="13" y="169"/>
                      </a:lnTo>
                      <a:lnTo>
                        <a:pt x="10" y="167"/>
                      </a:lnTo>
                      <a:lnTo>
                        <a:pt x="6" y="164"/>
                      </a:lnTo>
                      <a:lnTo>
                        <a:pt x="4" y="161"/>
                      </a:lnTo>
                      <a:lnTo>
                        <a:pt x="1" y="157"/>
                      </a:lnTo>
                      <a:lnTo>
                        <a:pt x="0" y="154"/>
                      </a:lnTo>
                      <a:lnTo>
                        <a:pt x="0" y="151"/>
                      </a:lnTo>
                      <a:lnTo>
                        <a:pt x="0" y="149"/>
                      </a:lnTo>
                      <a:lnTo>
                        <a:pt x="4" y="143"/>
                      </a:lnTo>
                      <a:lnTo>
                        <a:pt x="8" y="138"/>
                      </a:lnTo>
                      <a:lnTo>
                        <a:pt x="10" y="134"/>
                      </a:lnTo>
                      <a:lnTo>
                        <a:pt x="10" y="125"/>
                      </a:lnTo>
                      <a:lnTo>
                        <a:pt x="9" y="116"/>
                      </a:lnTo>
                      <a:lnTo>
                        <a:pt x="10" y="110"/>
                      </a:lnTo>
                      <a:lnTo>
                        <a:pt x="10" y="104"/>
                      </a:lnTo>
                      <a:lnTo>
                        <a:pt x="8" y="100"/>
                      </a:lnTo>
                      <a:lnTo>
                        <a:pt x="6" y="97"/>
                      </a:lnTo>
                      <a:lnTo>
                        <a:pt x="4" y="90"/>
                      </a:lnTo>
                      <a:lnTo>
                        <a:pt x="4" y="79"/>
                      </a:lnTo>
                      <a:lnTo>
                        <a:pt x="5" y="68"/>
                      </a:lnTo>
                      <a:lnTo>
                        <a:pt x="6" y="61"/>
                      </a:lnTo>
                      <a:lnTo>
                        <a:pt x="9" y="58"/>
                      </a:lnTo>
                      <a:lnTo>
                        <a:pt x="12" y="55"/>
                      </a:lnTo>
                      <a:lnTo>
                        <a:pt x="14" y="54"/>
                      </a:lnTo>
                      <a:lnTo>
                        <a:pt x="20" y="49"/>
                      </a:lnTo>
                      <a:lnTo>
                        <a:pt x="23" y="45"/>
                      </a:lnTo>
                      <a:lnTo>
                        <a:pt x="23" y="39"/>
                      </a:lnTo>
                      <a:lnTo>
                        <a:pt x="23" y="30"/>
                      </a:lnTo>
                      <a:lnTo>
                        <a:pt x="23" y="28"/>
                      </a:lnTo>
                      <a:lnTo>
                        <a:pt x="26" y="27"/>
                      </a:lnTo>
                      <a:lnTo>
                        <a:pt x="31" y="25"/>
                      </a:lnTo>
                      <a:lnTo>
                        <a:pt x="36" y="23"/>
                      </a:lnTo>
                      <a:lnTo>
                        <a:pt x="41" y="22"/>
                      </a:lnTo>
                      <a:lnTo>
                        <a:pt x="43" y="20"/>
                      </a:lnTo>
                      <a:lnTo>
                        <a:pt x="45" y="15"/>
                      </a:lnTo>
                      <a:lnTo>
                        <a:pt x="46" y="10"/>
                      </a:lnTo>
                      <a:lnTo>
                        <a:pt x="46" y="4"/>
                      </a:lnTo>
                      <a:lnTo>
                        <a:pt x="48" y="0"/>
                      </a:lnTo>
                      <a:lnTo>
                        <a:pt x="51" y="0"/>
                      </a:lnTo>
                      <a:lnTo>
                        <a:pt x="55" y="0"/>
                      </a:lnTo>
                      <a:lnTo>
                        <a:pt x="67" y="3"/>
                      </a:lnTo>
                      <a:lnTo>
                        <a:pt x="75" y="4"/>
                      </a:lnTo>
                      <a:lnTo>
                        <a:pt x="81" y="3"/>
                      </a:lnTo>
                      <a:lnTo>
                        <a:pt x="89" y="2"/>
                      </a:lnTo>
                      <a:lnTo>
                        <a:pt x="97" y="3"/>
                      </a:lnTo>
                      <a:lnTo>
                        <a:pt x="102" y="4"/>
                      </a:lnTo>
                      <a:lnTo>
                        <a:pt x="108" y="8"/>
                      </a:lnTo>
                      <a:lnTo>
                        <a:pt x="112" y="13"/>
                      </a:lnTo>
                      <a:lnTo>
                        <a:pt x="122" y="26"/>
                      </a:lnTo>
                      <a:lnTo>
                        <a:pt x="132" y="39"/>
                      </a:lnTo>
                      <a:lnTo>
                        <a:pt x="135" y="41"/>
                      </a:lnTo>
                      <a:lnTo>
                        <a:pt x="140" y="44"/>
                      </a:lnTo>
                      <a:lnTo>
                        <a:pt x="149" y="44"/>
                      </a:lnTo>
                      <a:lnTo>
                        <a:pt x="156" y="46"/>
                      </a:lnTo>
                      <a:lnTo>
                        <a:pt x="164" y="49"/>
                      </a:lnTo>
                      <a:lnTo>
                        <a:pt x="170" y="54"/>
                      </a:lnTo>
                      <a:lnTo>
                        <a:pt x="174" y="61"/>
                      </a:lnTo>
                      <a:lnTo>
                        <a:pt x="178" y="65"/>
                      </a:lnTo>
                      <a:lnTo>
                        <a:pt x="179" y="66"/>
                      </a:lnTo>
                      <a:lnTo>
                        <a:pt x="182" y="65"/>
                      </a:lnTo>
                      <a:lnTo>
                        <a:pt x="186" y="62"/>
                      </a:lnTo>
                      <a:lnTo>
                        <a:pt x="192" y="59"/>
                      </a:lnTo>
                      <a:lnTo>
                        <a:pt x="196" y="54"/>
                      </a:lnTo>
                      <a:lnTo>
                        <a:pt x="198" y="49"/>
                      </a:lnTo>
                      <a:lnTo>
                        <a:pt x="198" y="42"/>
                      </a:lnTo>
                      <a:lnTo>
                        <a:pt x="197" y="25"/>
                      </a:lnTo>
                      <a:lnTo>
                        <a:pt x="199" y="17"/>
                      </a:lnTo>
                      <a:lnTo>
                        <a:pt x="202" y="14"/>
                      </a:lnTo>
                      <a:lnTo>
                        <a:pt x="213" y="6"/>
                      </a:lnTo>
                      <a:lnTo>
                        <a:pt x="217" y="4"/>
                      </a:lnTo>
                      <a:lnTo>
                        <a:pt x="221" y="6"/>
                      </a:lnTo>
                      <a:lnTo>
                        <a:pt x="231" y="8"/>
                      </a:lnTo>
                      <a:lnTo>
                        <a:pt x="235" y="8"/>
                      </a:lnTo>
                      <a:lnTo>
                        <a:pt x="239" y="8"/>
                      </a:lnTo>
                      <a:lnTo>
                        <a:pt x="248" y="7"/>
                      </a:lnTo>
                      <a:lnTo>
                        <a:pt x="249" y="7"/>
                      </a:lnTo>
                      <a:lnTo>
                        <a:pt x="249" y="8"/>
                      </a:lnTo>
                      <a:lnTo>
                        <a:pt x="250" y="10"/>
                      </a:lnTo>
                      <a:lnTo>
                        <a:pt x="252" y="14"/>
                      </a:lnTo>
                      <a:lnTo>
                        <a:pt x="253" y="16"/>
                      </a:lnTo>
                      <a:lnTo>
                        <a:pt x="258" y="17"/>
                      </a:lnTo>
                      <a:lnTo>
                        <a:pt x="263" y="19"/>
                      </a:lnTo>
                      <a:lnTo>
                        <a:pt x="268" y="22"/>
                      </a:lnTo>
                      <a:lnTo>
                        <a:pt x="274" y="25"/>
                      </a:lnTo>
                      <a:lnTo>
                        <a:pt x="279" y="26"/>
                      </a:lnTo>
                      <a:lnTo>
                        <a:pt x="285" y="26"/>
                      </a:lnTo>
                      <a:lnTo>
                        <a:pt x="287" y="2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09" name="Freeform 667"/>
                <p:cNvSpPr>
                  <a:spLocks/>
                </p:cNvSpPr>
                <p:nvPr/>
              </p:nvSpPr>
              <p:spPr bwMode="auto">
                <a:xfrm>
                  <a:off x="4783946" y="3505499"/>
                  <a:ext cx="97672" cy="210142"/>
                </a:xfrm>
                <a:custGeom>
                  <a:avLst/>
                  <a:gdLst>
                    <a:gd name="T0" fmla="*/ 2147483647 w 72"/>
                    <a:gd name="T1" fmla="*/ 2147483647 h 142"/>
                    <a:gd name="T2" fmla="*/ 2147483647 w 72"/>
                    <a:gd name="T3" fmla="*/ 2147483647 h 142"/>
                    <a:gd name="T4" fmla="*/ 2147483647 w 72"/>
                    <a:gd name="T5" fmla="*/ 2147483647 h 142"/>
                    <a:gd name="T6" fmla="*/ 2147483647 w 72"/>
                    <a:gd name="T7" fmla="*/ 2147483647 h 142"/>
                    <a:gd name="T8" fmla="*/ 2147483647 w 72"/>
                    <a:gd name="T9" fmla="*/ 2147483647 h 142"/>
                    <a:gd name="T10" fmla="*/ 2147483647 w 72"/>
                    <a:gd name="T11" fmla="*/ 2147483647 h 142"/>
                    <a:gd name="T12" fmla="*/ 2147483647 w 72"/>
                    <a:gd name="T13" fmla="*/ 2147483647 h 142"/>
                    <a:gd name="T14" fmla="*/ 2147483647 w 72"/>
                    <a:gd name="T15" fmla="*/ 2147483647 h 142"/>
                    <a:gd name="T16" fmla="*/ 2147483647 w 72"/>
                    <a:gd name="T17" fmla="*/ 2147483647 h 142"/>
                    <a:gd name="T18" fmla="*/ 2147483647 w 72"/>
                    <a:gd name="T19" fmla="*/ 2147483647 h 142"/>
                    <a:gd name="T20" fmla="*/ 2147483647 w 72"/>
                    <a:gd name="T21" fmla="*/ 2147483647 h 142"/>
                    <a:gd name="T22" fmla="*/ 2147483647 w 72"/>
                    <a:gd name="T23" fmla="*/ 2147483647 h 142"/>
                    <a:gd name="T24" fmla="*/ 2147483647 w 72"/>
                    <a:gd name="T25" fmla="*/ 2147483647 h 142"/>
                    <a:gd name="T26" fmla="*/ 0 w 72"/>
                    <a:gd name="T27" fmla="*/ 2147483647 h 142"/>
                    <a:gd name="T28" fmla="*/ 2147483647 w 72"/>
                    <a:gd name="T29" fmla="*/ 2147483647 h 142"/>
                    <a:gd name="T30" fmla="*/ 2147483647 w 72"/>
                    <a:gd name="T31" fmla="*/ 2147483647 h 142"/>
                    <a:gd name="T32" fmla="*/ 2147483647 w 72"/>
                    <a:gd name="T33" fmla="*/ 2147483647 h 142"/>
                    <a:gd name="T34" fmla="*/ 2147483647 w 72"/>
                    <a:gd name="T35" fmla="*/ 2147483647 h 142"/>
                    <a:gd name="T36" fmla="*/ 2147483647 w 72"/>
                    <a:gd name="T37" fmla="*/ 2147483647 h 142"/>
                    <a:gd name="T38" fmla="*/ 2147483647 w 72"/>
                    <a:gd name="T39" fmla="*/ 2147483647 h 142"/>
                    <a:gd name="T40" fmla="*/ 2147483647 w 72"/>
                    <a:gd name="T41" fmla="*/ 2147483647 h 142"/>
                    <a:gd name="T42" fmla="*/ 2147483647 w 72"/>
                    <a:gd name="T43" fmla="*/ 2147483647 h 142"/>
                    <a:gd name="T44" fmla="*/ 2147483647 w 72"/>
                    <a:gd name="T45" fmla="*/ 2147483647 h 142"/>
                    <a:gd name="T46" fmla="*/ 2147483647 w 72"/>
                    <a:gd name="T47" fmla="*/ 2147483647 h 142"/>
                    <a:gd name="T48" fmla="*/ 2147483647 w 72"/>
                    <a:gd name="T49" fmla="*/ 2147483647 h 142"/>
                    <a:gd name="T50" fmla="*/ 2147483647 w 72"/>
                    <a:gd name="T51" fmla="*/ 0 h 142"/>
                    <a:gd name="T52" fmla="*/ 2147483647 w 72"/>
                    <a:gd name="T53" fmla="*/ 2147483647 h 142"/>
                    <a:gd name="T54" fmla="*/ 2147483647 w 72"/>
                    <a:gd name="T55" fmla="*/ 2147483647 h 142"/>
                    <a:gd name="T56" fmla="*/ 2147483647 w 72"/>
                    <a:gd name="T57" fmla="*/ 2147483647 h 142"/>
                    <a:gd name="T58" fmla="*/ 2147483647 w 72"/>
                    <a:gd name="T59" fmla="*/ 2147483647 h 142"/>
                    <a:gd name="T60" fmla="*/ 2147483647 w 72"/>
                    <a:gd name="T61" fmla="*/ 2147483647 h 142"/>
                    <a:gd name="T62" fmla="*/ 2147483647 w 72"/>
                    <a:gd name="T63" fmla="*/ 2147483647 h 142"/>
                    <a:gd name="T64" fmla="*/ 2147483647 w 72"/>
                    <a:gd name="T65" fmla="*/ 2147483647 h 142"/>
                    <a:gd name="T66" fmla="*/ 2147483647 w 72"/>
                    <a:gd name="T67" fmla="*/ 2147483647 h 142"/>
                    <a:gd name="T68" fmla="*/ 2147483647 w 72"/>
                    <a:gd name="T69" fmla="*/ 2147483647 h 142"/>
                    <a:gd name="T70" fmla="*/ 2147483647 w 72"/>
                    <a:gd name="T71" fmla="*/ 2147483647 h 142"/>
                    <a:gd name="T72" fmla="*/ 2147483647 w 72"/>
                    <a:gd name="T73" fmla="*/ 2147483647 h 142"/>
                    <a:gd name="T74" fmla="*/ 2147483647 w 72"/>
                    <a:gd name="T75" fmla="*/ 2147483647 h 142"/>
                    <a:gd name="T76" fmla="*/ 2147483647 w 72"/>
                    <a:gd name="T77" fmla="*/ 2147483647 h 142"/>
                    <a:gd name="T78" fmla="*/ 2147483647 w 72"/>
                    <a:gd name="T79" fmla="*/ 2147483647 h 142"/>
                    <a:gd name="T80" fmla="*/ 2147483647 w 72"/>
                    <a:gd name="T81" fmla="*/ 2147483647 h 142"/>
                    <a:gd name="T82" fmla="*/ 2147483647 w 72"/>
                    <a:gd name="T83" fmla="*/ 2147483647 h 14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142"/>
                    <a:gd name="T128" fmla="*/ 72 w 72"/>
                    <a:gd name="T129" fmla="*/ 142 h 14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142">
                      <a:moveTo>
                        <a:pt x="72" y="88"/>
                      </a:moveTo>
                      <a:lnTo>
                        <a:pt x="70" y="92"/>
                      </a:lnTo>
                      <a:lnTo>
                        <a:pt x="70" y="98"/>
                      </a:lnTo>
                      <a:lnTo>
                        <a:pt x="69" y="103"/>
                      </a:lnTo>
                      <a:lnTo>
                        <a:pt x="67" y="108"/>
                      </a:lnTo>
                      <a:lnTo>
                        <a:pt x="65" y="110"/>
                      </a:lnTo>
                      <a:lnTo>
                        <a:pt x="60" y="111"/>
                      </a:lnTo>
                      <a:lnTo>
                        <a:pt x="55" y="113"/>
                      </a:lnTo>
                      <a:lnTo>
                        <a:pt x="50" y="115"/>
                      </a:lnTo>
                      <a:lnTo>
                        <a:pt x="47" y="116"/>
                      </a:lnTo>
                      <a:lnTo>
                        <a:pt x="47" y="118"/>
                      </a:lnTo>
                      <a:lnTo>
                        <a:pt x="47" y="127"/>
                      </a:lnTo>
                      <a:lnTo>
                        <a:pt x="47" y="133"/>
                      </a:lnTo>
                      <a:lnTo>
                        <a:pt x="44" y="137"/>
                      </a:lnTo>
                      <a:lnTo>
                        <a:pt x="38" y="142"/>
                      </a:lnTo>
                      <a:lnTo>
                        <a:pt x="30" y="126"/>
                      </a:lnTo>
                      <a:lnTo>
                        <a:pt x="27" y="118"/>
                      </a:lnTo>
                      <a:lnTo>
                        <a:pt x="23" y="115"/>
                      </a:lnTo>
                      <a:lnTo>
                        <a:pt x="19" y="113"/>
                      </a:lnTo>
                      <a:lnTo>
                        <a:pt x="18" y="110"/>
                      </a:lnTo>
                      <a:lnTo>
                        <a:pt x="15" y="108"/>
                      </a:lnTo>
                      <a:lnTo>
                        <a:pt x="14" y="102"/>
                      </a:lnTo>
                      <a:lnTo>
                        <a:pt x="11" y="96"/>
                      </a:lnTo>
                      <a:lnTo>
                        <a:pt x="9" y="89"/>
                      </a:lnTo>
                      <a:lnTo>
                        <a:pt x="8" y="86"/>
                      </a:lnTo>
                      <a:lnTo>
                        <a:pt x="4" y="84"/>
                      </a:lnTo>
                      <a:lnTo>
                        <a:pt x="1" y="82"/>
                      </a:lnTo>
                      <a:lnTo>
                        <a:pt x="0" y="79"/>
                      </a:lnTo>
                      <a:lnTo>
                        <a:pt x="0" y="77"/>
                      </a:lnTo>
                      <a:lnTo>
                        <a:pt x="1" y="75"/>
                      </a:lnTo>
                      <a:lnTo>
                        <a:pt x="6" y="70"/>
                      </a:lnTo>
                      <a:lnTo>
                        <a:pt x="10" y="66"/>
                      </a:lnTo>
                      <a:lnTo>
                        <a:pt x="15" y="59"/>
                      </a:lnTo>
                      <a:lnTo>
                        <a:pt x="20" y="52"/>
                      </a:lnTo>
                      <a:lnTo>
                        <a:pt x="22" y="47"/>
                      </a:lnTo>
                      <a:lnTo>
                        <a:pt x="22" y="44"/>
                      </a:lnTo>
                      <a:lnTo>
                        <a:pt x="20" y="39"/>
                      </a:lnTo>
                      <a:lnTo>
                        <a:pt x="19" y="35"/>
                      </a:lnTo>
                      <a:lnTo>
                        <a:pt x="18" y="32"/>
                      </a:lnTo>
                      <a:lnTo>
                        <a:pt x="19" y="28"/>
                      </a:lnTo>
                      <a:lnTo>
                        <a:pt x="18" y="27"/>
                      </a:lnTo>
                      <a:lnTo>
                        <a:pt x="16" y="26"/>
                      </a:lnTo>
                      <a:lnTo>
                        <a:pt x="15" y="24"/>
                      </a:lnTo>
                      <a:lnTo>
                        <a:pt x="15" y="21"/>
                      </a:lnTo>
                      <a:lnTo>
                        <a:pt x="18" y="18"/>
                      </a:lnTo>
                      <a:lnTo>
                        <a:pt x="19" y="15"/>
                      </a:lnTo>
                      <a:lnTo>
                        <a:pt x="20" y="12"/>
                      </a:lnTo>
                      <a:lnTo>
                        <a:pt x="27" y="11"/>
                      </a:lnTo>
                      <a:lnTo>
                        <a:pt x="34" y="7"/>
                      </a:lnTo>
                      <a:lnTo>
                        <a:pt x="42" y="2"/>
                      </a:lnTo>
                      <a:lnTo>
                        <a:pt x="50" y="0"/>
                      </a:lnTo>
                      <a:lnTo>
                        <a:pt x="52" y="0"/>
                      </a:lnTo>
                      <a:lnTo>
                        <a:pt x="55" y="1"/>
                      </a:lnTo>
                      <a:lnTo>
                        <a:pt x="58" y="7"/>
                      </a:lnTo>
                      <a:lnTo>
                        <a:pt x="61" y="9"/>
                      </a:lnTo>
                      <a:lnTo>
                        <a:pt x="63" y="11"/>
                      </a:lnTo>
                      <a:lnTo>
                        <a:pt x="67" y="7"/>
                      </a:lnTo>
                      <a:lnTo>
                        <a:pt x="70" y="7"/>
                      </a:lnTo>
                      <a:lnTo>
                        <a:pt x="71" y="7"/>
                      </a:lnTo>
                      <a:lnTo>
                        <a:pt x="71" y="11"/>
                      </a:lnTo>
                      <a:lnTo>
                        <a:pt x="70" y="13"/>
                      </a:lnTo>
                      <a:lnTo>
                        <a:pt x="67" y="15"/>
                      </a:lnTo>
                      <a:lnTo>
                        <a:pt x="63" y="20"/>
                      </a:lnTo>
                      <a:lnTo>
                        <a:pt x="60" y="25"/>
                      </a:lnTo>
                      <a:lnTo>
                        <a:pt x="60" y="27"/>
                      </a:lnTo>
                      <a:lnTo>
                        <a:pt x="60" y="30"/>
                      </a:lnTo>
                      <a:lnTo>
                        <a:pt x="61" y="34"/>
                      </a:lnTo>
                      <a:lnTo>
                        <a:pt x="63" y="38"/>
                      </a:lnTo>
                      <a:lnTo>
                        <a:pt x="67" y="43"/>
                      </a:lnTo>
                      <a:lnTo>
                        <a:pt x="70" y="47"/>
                      </a:lnTo>
                      <a:lnTo>
                        <a:pt x="69" y="51"/>
                      </a:lnTo>
                      <a:lnTo>
                        <a:pt x="65" y="54"/>
                      </a:lnTo>
                      <a:lnTo>
                        <a:pt x="57" y="62"/>
                      </a:lnTo>
                      <a:lnTo>
                        <a:pt x="53" y="66"/>
                      </a:lnTo>
                      <a:lnTo>
                        <a:pt x="51" y="71"/>
                      </a:lnTo>
                      <a:lnTo>
                        <a:pt x="51" y="75"/>
                      </a:lnTo>
                      <a:lnTo>
                        <a:pt x="51" y="78"/>
                      </a:lnTo>
                      <a:lnTo>
                        <a:pt x="52" y="81"/>
                      </a:lnTo>
                      <a:lnTo>
                        <a:pt x="56" y="83"/>
                      </a:lnTo>
                      <a:lnTo>
                        <a:pt x="57" y="83"/>
                      </a:lnTo>
                      <a:lnTo>
                        <a:pt x="60" y="83"/>
                      </a:lnTo>
                      <a:lnTo>
                        <a:pt x="63" y="83"/>
                      </a:lnTo>
                      <a:lnTo>
                        <a:pt x="65" y="83"/>
                      </a:lnTo>
                      <a:lnTo>
                        <a:pt x="70" y="88"/>
                      </a:lnTo>
                      <a:lnTo>
                        <a:pt x="72" y="8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0" name="Freeform 668"/>
                <p:cNvSpPr>
                  <a:spLocks/>
                </p:cNvSpPr>
                <p:nvPr/>
              </p:nvSpPr>
              <p:spPr bwMode="auto">
                <a:xfrm>
                  <a:off x="4815024" y="3632768"/>
                  <a:ext cx="396606" cy="424723"/>
                </a:xfrm>
                <a:custGeom>
                  <a:avLst/>
                  <a:gdLst>
                    <a:gd name="T0" fmla="*/ 2147483647 w 291"/>
                    <a:gd name="T1" fmla="*/ 2147483647 h 287"/>
                    <a:gd name="T2" fmla="*/ 2147483647 w 291"/>
                    <a:gd name="T3" fmla="*/ 2147483647 h 287"/>
                    <a:gd name="T4" fmla="*/ 2147483647 w 291"/>
                    <a:gd name="T5" fmla="*/ 2147483647 h 287"/>
                    <a:gd name="T6" fmla="*/ 2147483647 w 291"/>
                    <a:gd name="T7" fmla="*/ 2147483647 h 287"/>
                    <a:gd name="T8" fmla="*/ 2147483647 w 291"/>
                    <a:gd name="T9" fmla="*/ 2147483647 h 287"/>
                    <a:gd name="T10" fmla="*/ 2147483647 w 291"/>
                    <a:gd name="T11" fmla="*/ 2147483647 h 287"/>
                    <a:gd name="T12" fmla="*/ 2147483647 w 291"/>
                    <a:gd name="T13" fmla="*/ 2147483647 h 287"/>
                    <a:gd name="T14" fmla="*/ 2147483647 w 291"/>
                    <a:gd name="T15" fmla="*/ 2147483647 h 287"/>
                    <a:gd name="T16" fmla="*/ 2147483647 w 291"/>
                    <a:gd name="T17" fmla="*/ 2147483647 h 287"/>
                    <a:gd name="T18" fmla="*/ 2147483647 w 291"/>
                    <a:gd name="T19" fmla="*/ 2147483647 h 287"/>
                    <a:gd name="T20" fmla="*/ 2147483647 w 291"/>
                    <a:gd name="T21" fmla="*/ 2147483647 h 287"/>
                    <a:gd name="T22" fmla="*/ 2147483647 w 291"/>
                    <a:gd name="T23" fmla="*/ 2147483647 h 287"/>
                    <a:gd name="T24" fmla="*/ 2147483647 w 291"/>
                    <a:gd name="T25" fmla="*/ 2147483647 h 287"/>
                    <a:gd name="T26" fmla="*/ 2147483647 w 291"/>
                    <a:gd name="T27" fmla="*/ 2147483647 h 287"/>
                    <a:gd name="T28" fmla="*/ 2147483647 w 291"/>
                    <a:gd name="T29" fmla="*/ 2147483647 h 287"/>
                    <a:gd name="T30" fmla="*/ 2147483647 w 291"/>
                    <a:gd name="T31" fmla="*/ 2147483647 h 287"/>
                    <a:gd name="T32" fmla="*/ 2147483647 w 291"/>
                    <a:gd name="T33" fmla="*/ 2147483647 h 287"/>
                    <a:gd name="T34" fmla="*/ 2147483647 w 291"/>
                    <a:gd name="T35" fmla="*/ 2147483647 h 287"/>
                    <a:gd name="T36" fmla="*/ 2147483647 w 291"/>
                    <a:gd name="T37" fmla="*/ 2147483647 h 287"/>
                    <a:gd name="T38" fmla="*/ 2147483647 w 291"/>
                    <a:gd name="T39" fmla="*/ 2147483647 h 287"/>
                    <a:gd name="T40" fmla="*/ 0 w 291"/>
                    <a:gd name="T41" fmla="*/ 2147483647 h 287"/>
                    <a:gd name="T42" fmla="*/ 2147483647 w 291"/>
                    <a:gd name="T43" fmla="*/ 2147483647 h 287"/>
                    <a:gd name="T44" fmla="*/ 2147483647 w 291"/>
                    <a:gd name="T45" fmla="*/ 2147483647 h 287"/>
                    <a:gd name="T46" fmla="*/ 2147483647 w 291"/>
                    <a:gd name="T47" fmla="*/ 2147483647 h 287"/>
                    <a:gd name="T48" fmla="*/ 2147483647 w 291"/>
                    <a:gd name="T49" fmla="*/ 2147483647 h 287"/>
                    <a:gd name="T50" fmla="*/ 2147483647 w 291"/>
                    <a:gd name="T51" fmla="*/ 2147483647 h 287"/>
                    <a:gd name="T52" fmla="*/ 2147483647 w 291"/>
                    <a:gd name="T53" fmla="*/ 2147483647 h 287"/>
                    <a:gd name="T54" fmla="*/ 2147483647 w 291"/>
                    <a:gd name="T55" fmla="*/ 2147483647 h 287"/>
                    <a:gd name="T56" fmla="*/ 2147483647 w 291"/>
                    <a:gd name="T57" fmla="*/ 2147483647 h 287"/>
                    <a:gd name="T58" fmla="*/ 2147483647 w 291"/>
                    <a:gd name="T59" fmla="*/ 2147483647 h 287"/>
                    <a:gd name="T60" fmla="*/ 2147483647 w 291"/>
                    <a:gd name="T61" fmla="*/ 2147483647 h 287"/>
                    <a:gd name="T62" fmla="*/ 2147483647 w 291"/>
                    <a:gd name="T63" fmla="*/ 2147483647 h 287"/>
                    <a:gd name="T64" fmla="*/ 2147483647 w 291"/>
                    <a:gd name="T65" fmla="*/ 2147483647 h 287"/>
                    <a:gd name="T66" fmla="*/ 2147483647 w 291"/>
                    <a:gd name="T67" fmla="*/ 2147483647 h 287"/>
                    <a:gd name="T68" fmla="*/ 2147483647 w 291"/>
                    <a:gd name="T69" fmla="*/ 0 h 287"/>
                    <a:gd name="T70" fmla="*/ 2147483647 w 291"/>
                    <a:gd name="T71" fmla="*/ 0 h 287"/>
                    <a:gd name="T72" fmla="*/ 2147483647 w 291"/>
                    <a:gd name="T73" fmla="*/ 2147483647 h 287"/>
                    <a:gd name="T74" fmla="*/ 2147483647 w 291"/>
                    <a:gd name="T75" fmla="*/ 2147483647 h 287"/>
                    <a:gd name="T76" fmla="*/ 2147483647 w 291"/>
                    <a:gd name="T77" fmla="*/ 2147483647 h 287"/>
                    <a:gd name="T78" fmla="*/ 2147483647 w 291"/>
                    <a:gd name="T79" fmla="*/ 2147483647 h 287"/>
                    <a:gd name="T80" fmla="*/ 2147483647 w 291"/>
                    <a:gd name="T81" fmla="*/ 2147483647 h 287"/>
                    <a:gd name="T82" fmla="*/ 2147483647 w 291"/>
                    <a:gd name="T83" fmla="*/ 2147483647 h 287"/>
                    <a:gd name="T84" fmla="*/ 2147483647 w 291"/>
                    <a:gd name="T85" fmla="*/ 2147483647 h 287"/>
                    <a:gd name="T86" fmla="*/ 2147483647 w 291"/>
                    <a:gd name="T87" fmla="*/ 2147483647 h 287"/>
                    <a:gd name="T88" fmla="*/ 2147483647 w 291"/>
                    <a:gd name="T89" fmla="*/ 2147483647 h 287"/>
                    <a:gd name="T90" fmla="*/ 2147483647 w 291"/>
                    <a:gd name="T91" fmla="*/ 2147483647 h 287"/>
                    <a:gd name="T92" fmla="*/ 2147483647 w 291"/>
                    <a:gd name="T93" fmla="*/ 2147483647 h 287"/>
                    <a:gd name="T94" fmla="*/ 2147483647 w 291"/>
                    <a:gd name="T95" fmla="*/ 2147483647 h 287"/>
                    <a:gd name="T96" fmla="*/ 2147483647 w 291"/>
                    <a:gd name="T97" fmla="*/ 2147483647 h 287"/>
                    <a:gd name="T98" fmla="*/ 2147483647 w 291"/>
                    <a:gd name="T99" fmla="*/ 2147483647 h 287"/>
                    <a:gd name="T100" fmla="*/ 2147483647 w 291"/>
                    <a:gd name="T101" fmla="*/ 2147483647 h 287"/>
                    <a:gd name="T102" fmla="*/ 2147483647 w 291"/>
                    <a:gd name="T103" fmla="*/ 2147483647 h 287"/>
                    <a:gd name="T104" fmla="*/ 2147483647 w 291"/>
                    <a:gd name="T105" fmla="*/ 2147483647 h 287"/>
                    <a:gd name="T106" fmla="*/ 2147483647 w 291"/>
                    <a:gd name="T107" fmla="*/ 2147483647 h 287"/>
                    <a:gd name="T108" fmla="*/ 2147483647 w 291"/>
                    <a:gd name="T109" fmla="*/ 2147483647 h 287"/>
                    <a:gd name="T110" fmla="*/ 2147483647 w 291"/>
                    <a:gd name="T111" fmla="*/ 2147483647 h 287"/>
                    <a:gd name="T112" fmla="*/ 2147483647 w 291"/>
                    <a:gd name="T113" fmla="*/ 2147483647 h 28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1"/>
                    <a:gd name="T172" fmla="*/ 0 h 287"/>
                    <a:gd name="T173" fmla="*/ 291 w 291"/>
                    <a:gd name="T174" fmla="*/ 287 h 28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1" h="287">
                      <a:moveTo>
                        <a:pt x="287" y="28"/>
                      </a:moveTo>
                      <a:lnTo>
                        <a:pt x="287" y="28"/>
                      </a:lnTo>
                      <a:lnTo>
                        <a:pt x="283" y="32"/>
                      </a:lnTo>
                      <a:lnTo>
                        <a:pt x="283" y="37"/>
                      </a:lnTo>
                      <a:lnTo>
                        <a:pt x="284" y="42"/>
                      </a:lnTo>
                      <a:lnTo>
                        <a:pt x="288" y="47"/>
                      </a:lnTo>
                      <a:lnTo>
                        <a:pt x="289" y="48"/>
                      </a:lnTo>
                      <a:lnTo>
                        <a:pt x="289" y="50"/>
                      </a:lnTo>
                      <a:lnTo>
                        <a:pt x="287" y="59"/>
                      </a:lnTo>
                      <a:lnTo>
                        <a:pt x="284" y="68"/>
                      </a:lnTo>
                      <a:lnTo>
                        <a:pt x="284" y="72"/>
                      </a:lnTo>
                      <a:lnTo>
                        <a:pt x="286" y="76"/>
                      </a:lnTo>
                      <a:lnTo>
                        <a:pt x="287" y="80"/>
                      </a:lnTo>
                      <a:lnTo>
                        <a:pt x="291" y="83"/>
                      </a:lnTo>
                      <a:lnTo>
                        <a:pt x="289" y="234"/>
                      </a:lnTo>
                      <a:lnTo>
                        <a:pt x="288" y="271"/>
                      </a:lnTo>
                      <a:lnTo>
                        <a:pt x="279" y="273"/>
                      </a:lnTo>
                      <a:lnTo>
                        <a:pt x="278" y="287"/>
                      </a:lnTo>
                      <a:lnTo>
                        <a:pt x="123" y="204"/>
                      </a:lnTo>
                      <a:lnTo>
                        <a:pt x="117" y="212"/>
                      </a:lnTo>
                      <a:lnTo>
                        <a:pt x="109" y="217"/>
                      </a:lnTo>
                      <a:lnTo>
                        <a:pt x="91" y="228"/>
                      </a:lnTo>
                      <a:lnTo>
                        <a:pt x="87" y="228"/>
                      </a:lnTo>
                      <a:lnTo>
                        <a:pt x="85" y="227"/>
                      </a:lnTo>
                      <a:lnTo>
                        <a:pt x="84" y="226"/>
                      </a:lnTo>
                      <a:lnTo>
                        <a:pt x="84" y="221"/>
                      </a:lnTo>
                      <a:lnTo>
                        <a:pt x="81" y="217"/>
                      </a:lnTo>
                      <a:lnTo>
                        <a:pt x="80" y="215"/>
                      </a:lnTo>
                      <a:lnTo>
                        <a:pt x="77" y="214"/>
                      </a:lnTo>
                      <a:lnTo>
                        <a:pt x="71" y="212"/>
                      </a:lnTo>
                      <a:lnTo>
                        <a:pt x="65" y="212"/>
                      </a:lnTo>
                      <a:lnTo>
                        <a:pt x="61" y="212"/>
                      </a:lnTo>
                      <a:lnTo>
                        <a:pt x="57" y="210"/>
                      </a:lnTo>
                      <a:lnTo>
                        <a:pt x="54" y="208"/>
                      </a:lnTo>
                      <a:lnTo>
                        <a:pt x="53" y="204"/>
                      </a:lnTo>
                      <a:lnTo>
                        <a:pt x="51" y="201"/>
                      </a:lnTo>
                      <a:lnTo>
                        <a:pt x="48" y="197"/>
                      </a:lnTo>
                      <a:lnTo>
                        <a:pt x="43" y="196"/>
                      </a:lnTo>
                      <a:lnTo>
                        <a:pt x="38" y="195"/>
                      </a:lnTo>
                      <a:lnTo>
                        <a:pt x="28" y="194"/>
                      </a:lnTo>
                      <a:lnTo>
                        <a:pt x="23" y="194"/>
                      </a:lnTo>
                      <a:lnTo>
                        <a:pt x="19" y="191"/>
                      </a:lnTo>
                      <a:lnTo>
                        <a:pt x="16" y="188"/>
                      </a:lnTo>
                      <a:lnTo>
                        <a:pt x="15" y="183"/>
                      </a:lnTo>
                      <a:lnTo>
                        <a:pt x="15" y="174"/>
                      </a:lnTo>
                      <a:lnTo>
                        <a:pt x="13" y="170"/>
                      </a:lnTo>
                      <a:lnTo>
                        <a:pt x="10" y="168"/>
                      </a:lnTo>
                      <a:lnTo>
                        <a:pt x="6" y="165"/>
                      </a:lnTo>
                      <a:lnTo>
                        <a:pt x="4" y="162"/>
                      </a:lnTo>
                      <a:lnTo>
                        <a:pt x="1" y="158"/>
                      </a:lnTo>
                      <a:lnTo>
                        <a:pt x="0" y="155"/>
                      </a:lnTo>
                      <a:lnTo>
                        <a:pt x="0" y="152"/>
                      </a:lnTo>
                      <a:lnTo>
                        <a:pt x="0" y="150"/>
                      </a:lnTo>
                      <a:lnTo>
                        <a:pt x="4" y="144"/>
                      </a:lnTo>
                      <a:lnTo>
                        <a:pt x="7" y="139"/>
                      </a:lnTo>
                      <a:lnTo>
                        <a:pt x="10" y="134"/>
                      </a:lnTo>
                      <a:lnTo>
                        <a:pt x="10" y="126"/>
                      </a:lnTo>
                      <a:lnTo>
                        <a:pt x="9" y="117"/>
                      </a:lnTo>
                      <a:lnTo>
                        <a:pt x="10" y="111"/>
                      </a:lnTo>
                      <a:lnTo>
                        <a:pt x="10" y="105"/>
                      </a:lnTo>
                      <a:lnTo>
                        <a:pt x="7" y="101"/>
                      </a:lnTo>
                      <a:lnTo>
                        <a:pt x="6" y="98"/>
                      </a:lnTo>
                      <a:lnTo>
                        <a:pt x="4" y="91"/>
                      </a:lnTo>
                      <a:lnTo>
                        <a:pt x="4" y="80"/>
                      </a:lnTo>
                      <a:lnTo>
                        <a:pt x="5" y="69"/>
                      </a:lnTo>
                      <a:lnTo>
                        <a:pt x="6" y="62"/>
                      </a:lnTo>
                      <a:lnTo>
                        <a:pt x="9" y="59"/>
                      </a:lnTo>
                      <a:lnTo>
                        <a:pt x="11" y="56"/>
                      </a:lnTo>
                      <a:lnTo>
                        <a:pt x="14" y="55"/>
                      </a:lnTo>
                      <a:lnTo>
                        <a:pt x="20" y="50"/>
                      </a:lnTo>
                      <a:lnTo>
                        <a:pt x="23" y="46"/>
                      </a:lnTo>
                      <a:lnTo>
                        <a:pt x="23" y="40"/>
                      </a:lnTo>
                      <a:lnTo>
                        <a:pt x="23" y="31"/>
                      </a:lnTo>
                      <a:lnTo>
                        <a:pt x="23" y="29"/>
                      </a:lnTo>
                      <a:lnTo>
                        <a:pt x="25" y="28"/>
                      </a:lnTo>
                      <a:lnTo>
                        <a:pt x="30" y="25"/>
                      </a:lnTo>
                      <a:lnTo>
                        <a:pt x="35" y="24"/>
                      </a:lnTo>
                      <a:lnTo>
                        <a:pt x="40" y="23"/>
                      </a:lnTo>
                      <a:lnTo>
                        <a:pt x="43" y="21"/>
                      </a:lnTo>
                      <a:lnTo>
                        <a:pt x="44" y="16"/>
                      </a:lnTo>
                      <a:lnTo>
                        <a:pt x="46" y="11"/>
                      </a:lnTo>
                      <a:lnTo>
                        <a:pt x="46" y="5"/>
                      </a:lnTo>
                      <a:lnTo>
                        <a:pt x="48" y="0"/>
                      </a:lnTo>
                      <a:lnTo>
                        <a:pt x="51" y="0"/>
                      </a:lnTo>
                      <a:lnTo>
                        <a:pt x="54" y="0"/>
                      </a:lnTo>
                      <a:lnTo>
                        <a:pt x="67" y="4"/>
                      </a:lnTo>
                      <a:lnTo>
                        <a:pt x="75" y="5"/>
                      </a:lnTo>
                      <a:lnTo>
                        <a:pt x="81" y="4"/>
                      </a:lnTo>
                      <a:lnTo>
                        <a:pt x="89" y="3"/>
                      </a:lnTo>
                      <a:lnTo>
                        <a:pt x="96" y="4"/>
                      </a:lnTo>
                      <a:lnTo>
                        <a:pt x="101" y="5"/>
                      </a:lnTo>
                      <a:lnTo>
                        <a:pt x="108" y="9"/>
                      </a:lnTo>
                      <a:lnTo>
                        <a:pt x="112" y="14"/>
                      </a:lnTo>
                      <a:lnTo>
                        <a:pt x="122" y="27"/>
                      </a:lnTo>
                      <a:lnTo>
                        <a:pt x="132" y="40"/>
                      </a:lnTo>
                      <a:lnTo>
                        <a:pt x="134" y="42"/>
                      </a:lnTo>
                      <a:lnTo>
                        <a:pt x="140" y="44"/>
                      </a:lnTo>
                      <a:lnTo>
                        <a:pt x="148" y="44"/>
                      </a:lnTo>
                      <a:lnTo>
                        <a:pt x="156" y="47"/>
                      </a:lnTo>
                      <a:lnTo>
                        <a:pt x="164" y="50"/>
                      </a:lnTo>
                      <a:lnTo>
                        <a:pt x="170" y="55"/>
                      </a:lnTo>
                      <a:lnTo>
                        <a:pt x="174" y="62"/>
                      </a:lnTo>
                      <a:lnTo>
                        <a:pt x="178" y="66"/>
                      </a:lnTo>
                      <a:lnTo>
                        <a:pt x="179" y="67"/>
                      </a:lnTo>
                      <a:lnTo>
                        <a:pt x="181" y="66"/>
                      </a:lnTo>
                      <a:lnTo>
                        <a:pt x="185" y="63"/>
                      </a:lnTo>
                      <a:lnTo>
                        <a:pt x="192" y="60"/>
                      </a:lnTo>
                      <a:lnTo>
                        <a:pt x="195" y="55"/>
                      </a:lnTo>
                      <a:lnTo>
                        <a:pt x="198" y="50"/>
                      </a:lnTo>
                      <a:lnTo>
                        <a:pt x="198" y="43"/>
                      </a:lnTo>
                      <a:lnTo>
                        <a:pt x="197" y="25"/>
                      </a:lnTo>
                      <a:lnTo>
                        <a:pt x="199" y="18"/>
                      </a:lnTo>
                      <a:lnTo>
                        <a:pt x="202" y="15"/>
                      </a:lnTo>
                      <a:lnTo>
                        <a:pt x="213" y="6"/>
                      </a:lnTo>
                      <a:lnTo>
                        <a:pt x="217" y="5"/>
                      </a:lnTo>
                      <a:lnTo>
                        <a:pt x="221" y="6"/>
                      </a:lnTo>
                      <a:lnTo>
                        <a:pt x="231" y="9"/>
                      </a:lnTo>
                      <a:lnTo>
                        <a:pt x="235" y="9"/>
                      </a:lnTo>
                      <a:lnTo>
                        <a:pt x="239" y="9"/>
                      </a:lnTo>
                      <a:lnTo>
                        <a:pt x="247" y="8"/>
                      </a:lnTo>
                      <a:lnTo>
                        <a:pt x="249" y="8"/>
                      </a:lnTo>
                      <a:lnTo>
                        <a:pt x="249" y="9"/>
                      </a:lnTo>
                      <a:lnTo>
                        <a:pt x="250" y="11"/>
                      </a:lnTo>
                      <a:lnTo>
                        <a:pt x="251" y="15"/>
                      </a:lnTo>
                      <a:lnTo>
                        <a:pt x="253" y="17"/>
                      </a:lnTo>
                      <a:lnTo>
                        <a:pt x="258" y="18"/>
                      </a:lnTo>
                      <a:lnTo>
                        <a:pt x="263" y="19"/>
                      </a:lnTo>
                      <a:lnTo>
                        <a:pt x="268" y="23"/>
                      </a:lnTo>
                      <a:lnTo>
                        <a:pt x="274" y="25"/>
                      </a:lnTo>
                      <a:lnTo>
                        <a:pt x="279" y="27"/>
                      </a:lnTo>
                      <a:lnTo>
                        <a:pt x="284" y="27"/>
                      </a:lnTo>
                      <a:lnTo>
                        <a:pt x="287" y="2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1" name="Freeform 669"/>
                <p:cNvSpPr>
                  <a:spLocks/>
                </p:cNvSpPr>
                <p:nvPr/>
              </p:nvSpPr>
              <p:spPr bwMode="auto">
                <a:xfrm>
                  <a:off x="4782468" y="3504018"/>
                  <a:ext cx="97672" cy="210142"/>
                </a:xfrm>
                <a:custGeom>
                  <a:avLst/>
                  <a:gdLst>
                    <a:gd name="T0" fmla="*/ 2147483647 w 72"/>
                    <a:gd name="T1" fmla="*/ 2147483647 h 142"/>
                    <a:gd name="T2" fmla="*/ 2147483647 w 72"/>
                    <a:gd name="T3" fmla="*/ 2147483647 h 142"/>
                    <a:gd name="T4" fmla="*/ 2147483647 w 72"/>
                    <a:gd name="T5" fmla="*/ 2147483647 h 142"/>
                    <a:gd name="T6" fmla="*/ 2147483647 w 72"/>
                    <a:gd name="T7" fmla="*/ 2147483647 h 142"/>
                    <a:gd name="T8" fmla="*/ 2147483647 w 72"/>
                    <a:gd name="T9" fmla="*/ 2147483647 h 142"/>
                    <a:gd name="T10" fmla="*/ 2147483647 w 72"/>
                    <a:gd name="T11" fmla="*/ 2147483647 h 142"/>
                    <a:gd name="T12" fmla="*/ 2147483647 w 72"/>
                    <a:gd name="T13" fmla="*/ 2147483647 h 142"/>
                    <a:gd name="T14" fmla="*/ 2147483647 w 72"/>
                    <a:gd name="T15" fmla="*/ 2147483647 h 142"/>
                    <a:gd name="T16" fmla="*/ 2147483647 w 72"/>
                    <a:gd name="T17" fmla="*/ 2147483647 h 142"/>
                    <a:gd name="T18" fmla="*/ 2147483647 w 72"/>
                    <a:gd name="T19" fmla="*/ 2147483647 h 142"/>
                    <a:gd name="T20" fmla="*/ 2147483647 w 72"/>
                    <a:gd name="T21" fmla="*/ 2147483647 h 142"/>
                    <a:gd name="T22" fmla="*/ 2147483647 w 72"/>
                    <a:gd name="T23" fmla="*/ 2147483647 h 142"/>
                    <a:gd name="T24" fmla="*/ 2147483647 w 72"/>
                    <a:gd name="T25" fmla="*/ 2147483647 h 142"/>
                    <a:gd name="T26" fmla="*/ 2147483647 w 72"/>
                    <a:gd name="T27" fmla="*/ 2147483647 h 142"/>
                    <a:gd name="T28" fmla="*/ 2147483647 w 72"/>
                    <a:gd name="T29" fmla="*/ 2147483647 h 142"/>
                    <a:gd name="T30" fmla="*/ 2147483647 w 72"/>
                    <a:gd name="T31" fmla="*/ 2147483647 h 142"/>
                    <a:gd name="T32" fmla="*/ 2147483647 w 72"/>
                    <a:gd name="T33" fmla="*/ 2147483647 h 142"/>
                    <a:gd name="T34" fmla="*/ 0 w 72"/>
                    <a:gd name="T35" fmla="*/ 2147483647 h 142"/>
                    <a:gd name="T36" fmla="*/ 2147483647 w 72"/>
                    <a:gd name="T37" fmla="*/ 2147483647 h 142"/>
                    <a:gd name="T38" fmla="*/ 2147483647 w 72"/>
                    <a:gd name="T39" fmla="*/ 2147483647 h 142"/>
                    <a:gd name="T40" fmla="*/ 2147483647 w 72"/>
                    <a:gd name="T41" fmla="*/ 2147483647 h 142"/>
                    <a:gd name="T42" fmla="*/ 2147483647 w 72"/>
                    <a:gd name="T43" fmla="*/ 2147483647 h 142"/>
                    <a:gd name="T44" fmla="*/ 2147483647 w 72"/>
                    <a:gd name="T45" fmla="*/ 2147483647 h 142"/>
                    <a:gd name="T46" fmla="*/ 2147483647 w 72"/>
                    <a:gd name="T47" fmla="*/ 2147483647 h 142"/>
                    <a:gd name="T48" fmla="*/ 2147483647 w 72"/>
                    <a:gd name="T49" fmla="*/ 2147483647 h 142"/>
                    <a:gd name="T50" fmla="*/ 2147483647 w 72"/>
                    <a:gd name="T51" fmla="*/ 2147483647 h 142"/>
                    <a:gd name="T52" fmla="*/ 2147483647 w 72"/>
                    <a:gd name="T53" fmla="*/ 2147483647 h 142"/>
                    <a:gd name="T54" fmla="*/ 2147483647 w 72"/>
                    <a:gd name="T55" fmla="*/ 2147483647 h 142"/>
                    <a:gd name="T56" fmla="*/ 2147483647 w 72"/>
                    <a:gd name="T57" fmla="*/ 2147483647 h 142"/>
                    <a:gd name="T58" fmla="*/ 2147483647 w 72"/>
                    <a:gd name="T59" fmla="*/ 2147483647 h 142"/>
                    <a:gd name="T60" fmla="*/ 2147483647 w 72"/>
                    <a:gd name="T61" fmla="*/ 2147483647 h 142"/>
                    <a:gd name="T62" fmla="*/ 2147483647 w 72"/>
                    <a:gd name="T63" fmla="*/ 0 h 142"/>
                    <a:gd name="T64" fmla="*/ 2147483647 w 72"/>
                    <a:gd name="T65" fmla="*/ 0 h 142"/>
                    <a:gd name="T66" fmla="*/ 2147483647 w 72"/>
                    <a:gd name="T67" fmla="*/ 2147483647 h 142"/>
                    <a:gd name="T68" fmla="*/ 2147483647 w 72"/>
                    <a:gd name="T69" fmla="*/ 2147483647 h 142"/>
                    <a:gd name="T70" fmla="*/ 2147483647 w 72"/>
                    <a:gd name="T71" fmla="*/ 2147483647 h 142"/>
                    <a:gd name="T72" fmla="*/ 2147483647 w 72"/>
                    <a:gd name="T73" fmla="*/ 2147483647 h 142"/>
                    <a:gd name="T74" fmla="*/ 2147483647 w 72"/>
                    <a:gd name="T75" fmla="*/ 2147483647 h 142"/>
                    <a:gd name="T76" fmla="*/ 2147483647 w 72"/>
                    <a:gd name="T77" fmla="*/ 2147483647 h 142"/>
                    <a:gd name="T78" fmla="*/ 2147483647 w 72"/>
                    <a:gd name="T79" fmla="*/ 2147483647 h 142"/>
                    <a:gd name="T80" fmla="*/ 2147483647 w 72"/>
                    <a:gd name="T81" fmla="*/ 2147483647 h 142"/>
                    <a:gd name="T82" fmla="*/ 2147483647 w 72"/>
                    <a:gd name="T83" fmla="*/ 2147483647 h 142"/>
                    <a:gd name="T84" fmla="*/ 2147483647 w 72"/>
                    <a:gd name="T85" fmla="*/ 2147483647 h 142"/>
                    <a:gd name="T86" fmla="*/ 2147483647 w 72"/>
                    <a:gd name="T87" fmla="*/ 2147483647 h 142"/>
                    <a:gd name="T88" fmla="*/ 2147483647 w 72"/>
                    <a:gd name="T89" fmla="*/ 2147483647 h 142"/>
                    <a:gd name="T90" fmla="*/ 2147483647 w 72"/>
                    <a:gd name="T91" fmla="*/ 2147483647 h 142"/>
                    <a:gd name="T92" fmla="*/ 2147483647 w 72"/>
                    <a:gd name="T93" fmla="*/ 2147483647 h 142"/>
                    <a:gd name="T94" fmla="*/ 2147483647 w 72"/>
                    <a:gd name="T95" fmla="*/ 2147483647 h 142"/>
                    <a:gd name="T96" fmla="*/ 2147483647 w 72"/>
                    <a:gd name="T97" fmla="*/ 2147483647 h 142"/>
                    <a:gd name="T98" fmla="*/ 2147483647 w 72"/>
                    <a:gd name="T99" fmla="*/ 2147483647 h 142"/>
                    <a:gd name="T100" fmla="*/ 2147483647 w 72"/>
                    <a:gd name="T101" fmla="*/ 2147483647 h 142"/>
                    <a:gd name="T102" fmla="*/ 2147483647 w 72"/>
                    <a:gd name="T103" fmla="*/ 2147483647 h 142"/>
                    <a:gd name="T104" fmla="*/ 2147483647 w 72"/>
                    <a:gd name="T105" fmla="*/ 2147483647 h 142"/>
                    <a:gd name="T106" fmla="*/ 2147483647 w 72"/>
                    <a:gd name="T107" fmla="*/ 2147483647 h 1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2"/>
                    <a:gd name="T163" fmla="*/ 0 h 142"/>
                    <a:gd name="T164" fmla="*/ 72 w 72"/>
                    <a:gd name="T165" fmla="*/ 142 h 1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2" h="142">
                      <a:moveTo>
                        <a:pt x="72" y="87"/>
                      </a:moveTo>
                      <a:lnTo>
                        <a:pt x="72" y="87"/>
                      </a:lnTo>
                      <a:lnTo>
                        <a:pt x="70" y="92"/>
                      </a:lnTo>
                      <a:lnTo>
                        <a:pt x="70" y="98"/>
                      </a:lnTo>
                      <a:lnTo>
                        <a:pt x="68" y="103"/>
                      </a:lnTo>
                      <a:lnTo>
                        <a:pt x="67" y="108"/>
                      </a:lnTo>
                      <a:lnTo>
                        <a:pt x="64" y="110"/>
                      </a:lnTo>
                      <a:lnTo>
                        <a:pt x="59" y="111"/>
                      </a:lnTo>
                      <a:lnTo>
                        <a:pt x="54" y="112"/>
                      </a:lnTo>
                      <a:lnTo>
                        <a:pt x="49" y="115"/>
                      </a:lnTo>
                      <a:lnTo>
                        <a:pt x="47" y="116"/>
                      </a:lnTo>
                      <a:lnTo>
                        <a:pt x="47" y="118"/>
                      </a:lnTo>
                      <a:lnTo>
                        <a:pt x="47" y="127"/>
                      </a:lnTo>
                      <a:lnTo>
                        <a:pt x="47" y="133"/>
                      </a:lnTo>
                      <a:lnTo>
                        <a:pt x="44" y="137"/>
                      </a:lnTo>
                      <a:lnTo>
                        <a:pt x="38" y="142"/>
                      </a:lnTo>
                      <a:lnTo>
                        <a:pt x="30" y="125"/>
                      </a:lnTo>
                      <a:lnTo>
                        <a:pt x="26" y="118"/>
                      </a:lnTo>
                      <a:lnTo>
                        <a:pt x="23" y="115"/>
                      </a:lnTo>
                      <a:lnTo>
                        <a:pt x="19" y="112"/>
                      </a:lnTo>
                      <a:lnTo>
                        <a:pt x="17" y="110"/>
                      </a:lnTo>
                      <a:lnTo>
                        <a:pt x="15" y="108"/>
                      </a:lnTo>
                      <a:lnTo>
                        <a:pt x="14" y="102"/>
                      </a:lnTo>
                      <a:lnTo>
                        <a:pt x="11" y="96"/>
                      </a:lnTo>
                      <a:lnTo>
                        <a:pt x="9" y="89"/>
                      </a:lnTo>
                      <a:lnTo>
                        <a:pt x="7" y="86"/>
                      </a:lnTo>
                      <a:lnTo>
                        <a:pt x="4" y="84"/>
                      </a:lnTo>
                      <a:lnTo>
                        <a:pt x="1" y="82"/>
                      </a:lnTo>
                      <a:lnTo>
                        <a:pt x="0" y="79"/>
                      </a:lnTo>
                      <a:lnTo>
                        <a:pt x="0" y="77"/>
                      </a:lnTo>
                      <a:lnTo>
                        <a:pt x="1" y="74"/>
                      </a:lnTo>
                      <a:lnTo>
                        <a:pt x="6" y="70"/>
                      </a:lnTo>
                      <a:lnTo>
                        <a:pt x="10" y="66"/>
                      </a:lnTo>
                      <a:lnTo>
                        <a:pt x="15" y="59"/>
                      </a:lnTo>
                      <a:lnTo>
                        <a:pt x="20" y="52"/>
                      </a:lnTo>
                      <a:lnTo>
                        <a:pt x="21" y="47"/>
                      </a:lnTo>
                      <a:lnTo>
                        <a:pt x="21" y="44"/>
                      </a:lnTo>
                      <a:lnTo>
                        <a:pt x="20" y="39"/>
                      </a:lnTo>
                      <a:lnTo>
                        <a:pt x="19" y="35"/>
                      </a:lnTo>
                      <a:lnTo>
                        <a:pt x="17" y="32"/>
                      </a:lnTo>
                      <a:lnTo>
                        <a:pt x="19" y="28"/>
                      </a:lnTo>
                      <a:lnTo>
                        <a:pt x="17" y="27"/>
                      </a:lnTo>
                      <a:lnTo>
                        <a:pt x="16" y="26"/>
                      </a:lnTo>
                      <a:lnTo>
                        <a:pt x="15" y="23"/>
                      </a:lnTo>
                      <a:lnTo>
                        <a:pt x="15" y="21"/>
                      </a:lnTo>
                      <a:lnTo>
                        <a:pt x="17" y="18"/>
                      </a:lnTo>
                      <a:lnTo>
                        <a:pt x="19" y="15"/>
                      </a:lnTo>
                      <a:lnTo>
                        <a:pt x="20" y="12"/>
                      </a:lnTo>
                      <a:lnTo>
                        <a:pt x="26" y="10"/>
                      </a:lnTo>
                      <a:lnTo>
                        <a:pt x="34" y="7"/>
                      </a:lnTo>
                      <a:lnTo>
                        <a:pt x="42" y="2"/>
                      </a:lnTo>
                      <a:lnTo>
                        <a:pt x="49" y="0"/>
                      </a:lnTo>
                      <a:lnTo>
                        <a:pt x="52" y="0"/>
                      </a:lnTo>
                      <a:lnTo>
                        <a:pt x="54" y="1"/>
                      </a:lnTo>
                      <a:lnTo>
                        <a:pt x="58" y="7"/>
                      </a:lnTo>
                      <a:lnTo>
                        <a:pt x="61" y="9"/>
                      </a:lnTo>
                      <a:lnTo>
                        <a:pt x="63" y="10"/>
                      </a:lnTo>
                      <a:lnTo>
                        <a:pt x="67" y="7"/>
                      </a:lnTo>
                      <a:lnTo>
                        <a:pt x="70" y="7"/>
                      </a:lnTo>
                      <a:lnTo>
                        <a:pt x="71" y="7"/>
                      </a:lnTo>
                      <a:lnTo>
                        <a:pt x="71" y="10"/>
                      </a:lnTo>
                      <a:lnTo>
                        <a:pt x="70" y="13"/>
                      </a:lnTo>
                      <a:lnTo>
                        <a:pt x="67" y="15"/>
                      </a:lnTo>
                      <a:lnTo>
                        <a:pt x="63" y="20"/>
                      </a:lnTo>
                      <a:lnTo>
                        <a:pt x="59" y="25"/>
                      </a:lnTo>
                      <a:lnTo>
                        <a:pt x="59" y="27"/>
                      </a:lnTo>
                      <a:lnTo>
                        <a:pt x="59" y="29"/>
                      </a:lnTo>
                      <a:lnTo>
                        <a:pt x="61" y="34"/>
                      </a:lnTo>
                      <a:lnTo>
                        <a:pt x="63" y="38"/>
                      </a:lnTo>
                      <a:lnTo>
                        <a:pt x="67" y="42"/>
                      </a:lnTo>
                      <a:lnTo>
                        <a:pt x="70" y="47"/>
                      </a:lnTo>
                      <a:lnTo>
                        <a:pt x="68" y="51"/>
                      </a:lnTo>
                      <a:lnTo>
                        <a:pt x="64" y="54"/>
                      </a:lnTo>
                      <a:lnTo>
                        <a:pt x="57" y="61"/>
                      </a:lnTo>
                      <a:lnTo>
                        <a:pt x="53" y="66"/>
                      </a:lnTo>
                      <a:lnTo>
                        <a:pt x="51" y="71"/>
                      </a:lnTo>
                      <a:lnTo>
                        <a:pt x="51" y="74"/>
                      </a:lnTo>
                      <a:lnTo>
                        <a:pt x="51" y="78"/>
                      </a:lnTo>
                      <a:lnTo>
                        <a:pt x="52" y="80"/>
                      </a:lnTo>
                      <a:lnTo>
                        <a:pt x="56" y="83"/>
                      </a:lnTo>
                      <a:lnTo>
                        <a:pt x="57" y="83"/>
                      </a:lnTo>
                      <a:lnTo>
                        <a:pt x="59" y="83"/>
                      </a:lnTo>
                      <a:lnTo>
                        <a:pt x="63" y="83"/>
                      </a:lnTo>
                      <a:lnTo>
                        <a:pt x="64" y="83"/>
                      </a:lnTo>
                      <a:lnTo>
                        <a:pt x="70" y="87"/>
                      </a:lnTo>
                      <a:lnTo>
                        <a:pt x="72" y="8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2" name="Freeform 670"/>
                <p:cNvSpPr>
                  <a:spLocks/>
                </p:cNvSpPr>
                <p:nvPr/>
              </p:nvSpPr>
              <p:spPr bwMode="auto">
                <a:xfrm>
                  <a:off x="4421377" y="3512900"/>
                  <a:ext cx="467640" cy="554952"/>
                </a:xfrm>
                <a:custGeom>
                  <a:avLst/>
                  <a:gdLst>
                    <a:gd name="T0" fmla="*/ 2147483647 w 342"/>
                    <a:gd name="T1" fmla="*/ 2147483647 h 375"/>
                    <a:gd name="T2" fmla="*/ 2147483647 w 342"/>
                    <a:gd name="T3" fmla="*/ 2147483647 h 375"/>
                    <a:gd name="T4" fmla="*/ 2147483647 w 342"/>
                    <a:gd name="T5" fmla="*/ 2147483647 h 375"/>
                    <a:gd name="T6" fmla="*/ 2147483647 w 342"/>
                    <a:gd name="T7" fmla="*/ 2147483647 h 375"/>
                    <a:gd name="T8" fmla="*/ 2147483647 w 342"/>
                    <a:gd name="T9" fmla="*/ 2147483647 h 375"/>
                    <a:gd name="T10" fmla="*/ 2147483647 w 342"/>
                    <a:gd name="T11" fmla="*/ 2147483647 h 375"/>
                    <a:gd name="T12" fmla="*/ 2147483647 w 342"/>
                    <a:gd name="T13" fmla="*/ 2147483647 h 375"/>
                    <a:gd name="T14" fmla="*/ 2147483647 w 342"/>
                    <a:gd name="T15" fmla="*/ 2147483647 h 375"/>
                    <a:gd name="T16" fmla="*/ 2147483647 w 342"/>
                    <a:gd name="T17" fmla="*/ 2147483647 h 375"/>
                    <a:gd name="T18" fmla="*/ 2147483647 w 342"/>
                    <a:gd name="T19" fmla="*/ 2147483647 h 375"/>
                    <a:gd name="T20" fmla="*/ 2147483647 w 342"/>
                    <a:gd name="T21" fmla="*/ 2147483647 h 375"/>
                    <a:gd name="T22" fmla="*/ 2147483647 w 342"/>
                    <a:gd name="T23" fmla="*/ 2147483647 h 375"/>
                    <a:gd name="T24" fmla="*/ 2147483647 w 342"/>
                    <a:gd name="T25" fmla="*/ 2147483647 h 375"/>
                    <a:gd name="T26" fmla="*/ 2147483647 w 342"/>
                    <a:gd name="T27" fmla="*/ 2147483647 h 375"/>
                    <a:gd name="T28" fmla="*/ 2147483647 w 342"/>
                    <a:gd name="T29" fmla="*/ 2147483647 h 375"/>
                    <a:gd name="T30" fmla="*/ 2147483647 w 342"/>
                    <a:gd name="T31" fmla="*/ 2147483647 h 375"/>
                    <a:gd name="T32" fmla="*/ 2147483647 w 342"/>
                    <a:gd name="T33" fmla="*/ 2147483647 h 375"/>
                    <a:gd name="T34" fmla="*/ 2147483647 w 342"/>
                    <a:gd name="T35" fmla="*/ 2147483647 h 375"/>
                    <a:gd name="T36" fmla="*/ 2147483647 w 342"/>
                    <a:gd name="T37" fmla="*/ 2147483647 h 375"/>
                    <a:gd name="T38" fmla="*/ 2147483647 w 342"/>
                    <a:gd name="T39" fmla="*/ 2147483647 h 375"/>
                    <a:gd name="T40" fmla="*/ 2147483647 w 342"/>
                    <a:gd name="T41" fmla="*/ 2147483647 h 375"/>
                    <a:gd name="T42" fmla="*/ 2147483647 w 342"/>
                    <a:gd name="T43" fmla="*/ 2147483647 h 375"/>
                    <a:gd name="T44" fmla="*/ 2147483647 w 342"/>
                    <a:gd name="T45" fmla="*/ 2147483647 h 375"/>
                    <a:gd name="T46" fmla="*/ 2147483647 w 342"/>
                    <a:gd name="T47" fmla="*/ 2147483647 h 375"/>
                    <a:gd name="T48" fmla="*/ 2147483647 w 342"/>
                    <a:gd name="T49" fmla="*/ 2147483647 h 375"/>
                    <a:gd name="T50" fmla="*/ 2147483647 w 342"/>
                    <a:gd name="T51" fmla="*/ 2147483647 h 375"/>
                    <a:gd name="T52" fmla="*/ 2147483647 w 342"/>
                    <a:gd name="T53" fmla="*/ 2147483647 h 375"/>
                    <a:gd name="T54" fmla="*/ 2147483647 w 342"/>
                    <a:gd name="T55" fmla="*/ 2147483647 h 375"/>
                    <a:gd name="T56" fmla="*/ 2147483647 w 342"/>
                    <a:gd name="T57" fmla="*/ 2147483647 h 375"/>
                    <a:gd name="T58" fmla="*/ 2147483647 w 342"/>
                    <a:gd name="T59" fmla="*/ 2147483647 h 375"/>
                    <a:gd name="T60" fmla="*/ 2147483647 w 342"/>
                    <a:gd name="T61" fmla="*/ 2147483647 h 375"/>
                    <a:gd name="T62" fmla="*/ 2147483647 w 342"/>
                    <a:gd name="T63" fmla="*/ 2147483647 h 375"/>
                    <a:gd name="T64" fmla="*/ 2147483647 w 342"/>
                    <a:gd name="T65" fmla="*/ 2147483647 h 375"/>
                    <a:gd name="T66" fmla="*/ 2147483647 w 342"/>
                    <a:gd name="T67" fmla="*/ 2147483647 h 375"/>
                    <a:gd name="T68" fmla="*/ 2147483647 w 342"/>
                    <a:gd name="T69" fmla="*/ 2147483647 h 375"/>
                    <a:gd name="T70" fmla="*/ 2147483647 w 342"/>
                    <a:gd name="T71" fmla="*/ 2147483647 h 375"/>
                    <a:gd name="T72" fmla="*/ 2147483647 w 342"/>
                    <a:gd name="T73" fmla="*/ 2147483647 h 375"/>
                    <a:gd name="T74" fmla="*/ 2147483647 w 342"/>
                    <a:gd name="T75" fmla="*/ 2147483647 h 375"/>
                    <a:gd name="T76" fmla="*/ 2147483647 w 342"/>
                    <a:gd name="T77" fmla="*/ 2147483647 h 375"/>
                    <a:gd name="T78" fmla="*/ 2147483647 w 342"/>
                    <a:gd name="T79" fmla="*/ 2147483647 h 375"/>
                    <a:gd name="T80" fmla="*/ 2147483647 w 342"/>
                    <a:gd name="T81" fmla="*/ 2147483647 h 375"/>
                    <a:gd name="T82" fmla="*/ 2147483647 w 342"/>
                    <a:gd name="T83" fmla="*/ 2147483647 h 375"/>
                    <a:gd name="T84" fmla="*/ 2147483647 w 342"/>
                    <a:gd name="T85" fmla="*/ 2147483647 h 375"/>
                    <a:gd name="T86" fmla="*/ 2147483647 w 342"/>
                    <a:gd name="T87" fmla="*/ 2147483647 h 375"/>
                    <a:gd name="T88" fmla="*/ 2147483647 w 342"/>
                    <a:gd name="T89" fmla="*/ 2147483647 h 375"/>
                    <a:gd name="T90" fmla="*/ 2147483647 w 342"/>
                    <a:gd name="T91" fmla="*/ 2147483647 h 375"/>
                    <a:gd name="T92" fmla="*/ 0 w 342"/>
                    <a:gd name="T93" fmla="*/ 2147483647 h 375"/>
                    <a:gd name="T94" fmla="*/ 2147483647 w 342"/>
                    <a:gd name="T95" fmla="*/ 2147483647 h 375"/>
                    <a:gd name="T96" fmla="*/ 2147483647 w 342"/>
                    <a:gd name="T97" fmla="*/ 2147483647 h 375"/>
                    <a:gd name="T98" fmla="*/ 2147483647 w 342"/>
                    <a:gd name="T99" fmla="*/ 2147483647 h 375"/>
                    <a:gd name="T100" fmla="*/ 2147483647 w 342"/>
                    <a:gd name="T101" fmla="*/ 2147483647 h 375"/>
                    <a:gd name="T102" fmla="*/ 2147483647 w 342"/>
                    <a:gd name="T103" fmla="*/ 2147483647 h 375"/>
                    <a:gd name="T104" fmla="*/ 2147483647 w 342"/>
                    <a:gd name="T105" fmla="*/ 2147483647 h 375"/>
                    <a:gd name="T106" fmla="*/ 2147483647 w 342"/>
                    <a:gd name="T107" fmla="*/ 2147483647 h 375"/>
                    <a:gd name="T108" fmla="*/ 2147483647 w 342"/>
                    <a:gd name="T109" fmla="*/ 2147483647 h 375"/>
                    <a:gd name="T110" fmla="*/ 2147483647 w 342"/>
                    <a:gd name="T111" fmla="*/ 2147483647 h 375"/>
                    <a:gd name="T112" fmla="*/ 2147483647 w 342"/>
                    <a:gd name="T113" fmla="*/ 2147483647 h 375"/>
                    <a:gd name="T114" fmla="*/ 2147483647 w 342"/>
                    <a:gd name="T115" fmla="*/ 2147483647 h 375"/>
                    <a:gd name="T116" fmla="*/ 2147483647 w 342"/>
                    <a:gd name="T117" fmla="*/ 2147483647 h 375"/>
                    <a:gd name="T118" fmla="*/ 2147483647 w 342"/>
                    <a:gd name="T119" fmla="*/ 2147483647 h 375"/>
                    <a:gd name="T120" fmla="*/ 2147483647 w 342"/>
                    <a:gd name="T121" fmla="*/ 2147483647 h 3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42"/>
                    <a:gd name="T184" fmla="*/ 0 h 375"/>
                    <a:gd name="T185" fmla="*/ 342 w 342"/>
                    <a:gd name="T186" fmla="*/ 375 h 3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42" h="375">
                      <a:moveTo>
                        <a:pt x="342" y="287"/>
                      </a:moveTo>
                      <a:lnTo>
                        <a:pt x="340" y="283"/>
                      </a:lnTo>
                      <a:lnTo>
                        <a:pt x="337" y="279"/>
                      </a:lnTo>
                      <a:lnTo>
                        <a:pt x="332" y="278"/>
                      </a:lnTo>
                      <a:lnTo>
                        <a:pt x="327" y="277"/>
                      </a:lnTo>
                      <a:lnTo>
                        <a:pt x="317" y="276"/>
                      </a:lnTo>
                      <a:lnTo>
                        <a:pt x="312" y="276"/>
                      </a:lnTo>
                      <a:lnTo>
                        <a:pt x="308" y="274"/>
                      </a:lnTo>
                      <a:lnTo>
                        <a:pt x="306" y="270"/>
                      </a:lnTo>
                      <a:lnTo>
                        <a:pt x="304" y="265"/>
                      </a:lnTo>
                      <a:lnTo>
                        <a:pt x="304" y="256"/>
                      </a:lnTo>
                      <a:lnTo>
                        <a:pt x="302" y="252"/>
                      </a:lnTo>
                      <a:lnTo>
                        <a:pt x="299" y="250"/>
                      </a:lnTo>
                      <a:lnTo>
                        <a:pt x="295" y="247"/>
                      </a:lnTo>
                      <a:lnTo>
                        <a:pt x="293" y="244"/>
                      </a:lnTo>
                      <a:lnTo>
                        <a:pt x="290" y="240"/>
                      </a:lnTo>
                      <a:lnTo>
                        <a:pt x="289" y="237"/>
                      </a:lnTo>
                      <a:lnTo>
                        <a:pt x="289" y="234"/>
                      </a:lnTo>
                      <a:lnTo>
                        <a:pt x="289" y="232"/>
                      </a:lnTo>
                      <a:lnTo>
                        <a:pt x="293" y="226"/>
                      </a:lnTo>
                      <a:lnTo>
                        <a:pt x="297" y="221"/>
                      </a:lnTo>
                      <a:lnTo>
                        <a:pt x="299" y="217"/>
                      </a:lnTo>
                      <a:lnTo>
                        <a:pt x="299" y="208"/>
                      </a:lnTo>
                      <a:lnTo>
                        <a:pt x="298" y="199"/>
                      </a:lnTo>
                      <a:lnTo>
                        <a:pt x="299" y="193"/>
                      </a:lnTo>
                      <a:lnTo>
                        <a:pt x="299" y="187"/>
                      </a:lnTo>
                      <a:lnTo>
                        <a:pt x="297" y="183"/>
                      </a:lnTo>
                      <a:lnTo>
                        <a:pt x="295" y="180"/>
                      </a:lnTo>
                      <a:lnTo>
                        <a:pt x="293" y="173"/>
                      </a:lnTo>
                      <a:lnTo>
                        <a:pt x="293" y="162"/>
                      </a:lnTo>
                      <a:lnTo>
                        <a:pt x="294" y="151"/>
                      </a:lnTo>
                      <a:lnTo>
                        <a:pt x="295" y="144"/>
                      </a:lnTo>
                      <a:lnTo>
                        <a:pt x="298" y="141"/>
                      </a:lnTo>
                      <a:lnTo>
                        <a:pt x="301" y="138"/>
                      </a:lnTo>
                      <a:lnTo>
                        <a:pt x="303" y="137"/>
                      </a:lnTo>
                      <a:lnTo>
                        <a:pt x="295" y="121"/>
                      </a:lnTo>
                      <a:lnTo>
                        <a:pt x="292" y="113"/>
                      </a:lnTo>
                      <a:lnTo>
                        <a:pt x="288" y="110"/>
                      </a:lnTo>
                      <a:lnTo>
                        <a:pt x="284" y="108"/>
                      </a:lnTo>
                      <a:lnTo>
                        <a:pt x="283" y="105"/>
                      </a:lnTo>
                      <a:lnTo>
                        <a:pt x="280" y="103"/>
                      </a:lnTo>
                      <a:lnTo>
                        <a:pt x="279" y="97"/>
                      </a:lnTo>
                      <a:lnTo>
                        <a:pt x="276" y="91"/>
                      </a:lnTo>
                      <a:lnTo>
                        <a:pt x="274" y="84"/>
                      </a:lnTo>
                      <a:lnTo>
                        <a:pt x="273" y="81"/>
                      </a:lnTo>
                      <a:lnTo>
                        <a:pt x="269" y="79"/>
                      </a:lnTo>
                      <a:lnTo>
                        <a:pt x="266" y="77"/>
                      </a:lnTo>
                      <a:lnTo>
                        <a:pt x="265" y="74"/>
                      </a:lnTo>
                      <a:lnTo>
                        <a:pt x="265" y="72"/>
                      </a:lnTo>
                      <a:lnTo>
                        <a:pt x="266" y="70"/>
                      </a:lnTo>
                      <a:lnTo>
                        <a:pt x="271" y="65"/>
                      </a:lnTo>
                      <a:lnTo>
                        <a:pt x="275" y="61"/>
                      </a:lnTo>
                      <a:lnTo>
                        <a:pt x="280" y="54"/>
                      </a:lnTo>
                      <a:lnTo>
                        <a:pt x="285" y="47"/>
                      </a:lnTo>
                      <a:lnTo>
                        <a:pt x="287" y="42"/>
                      </a:lnTo>
                      <a:lnTo>
                        <a:pt x="287" y="39"/>
                      </a:lnTo>
                      <a:lnTo>
                        <a:pt x="285" y="34"/>
                      </a:lnTo>
                      <a:lnTo>
                        <a:pt x="284" y="30"/>
                      </a:lnTo>
                      <a:lnTo>
                        <a:pt x="283" y="27"/>
                      </a:lnTo>
                      <a:lnTo>
                        <a:pt x="284" y="23"/>
                      </a:lnTo>
                      <a:lnTo>
                        <a:pt x="283" y="22"/>
                      </a:lnTo>
                      <a:lnTo>
                        <a:pt x="281" y="21"/>
                      </a:lnTo>
                      <a:lnTo>
                        <a:pt x="280" y="19"/>
                      </a:lnTo>
                      <a:lnTo>
                        <a:pt x="280" y="16"/>
                      </a:lnTo>
                      <a:lnTo>
                        <a:pt x="283" y="13"/>
                      </a:lnTo>
                      <a:lnTo>
                        <a:pt x="284" y="10"/>
                      </a:lnTo>
                      <a:lnTo>
                        <a:pt x="285" y="7"/>
                      </a:lnTo>
                      <a:lnTo>
                        <a:pt x="280" y="7"/>
                      </a:lnTo>
                      <a:lnTo>
                        <a:pt x="276" y="6"/>
                      </a:lnTo>
                      <a:lnTo>
                        <a:pt x="271" y="4"/>
                      </a:lnTo>
                      <a:lnTo>
                        <a:pt x="266" y="1"/>
                      </a:lnTo>
                      <a:lnTo>
                        <a:pt x="265" y="1"/>
                      </a:lnTo>
                      <a:lnTo>
                        <a:pt x="262" y="1"/>
                      </a:lnTo>
                      <a:lnTo>
                        <a:pt x="260" y="1"/>
                      </a:lnTo>
                      <a:lnTo>
                        <a:pt x="259" y="1"/>
                      </a:lnTo>
                      <a:lnTo>
                        <a:pt x="256" y="0"/>
                      </a:lnTo>
                      <a:lnTo>
                        <a:pt x="255" y="0"/>
                      </a:lnTo>
                      <a:lnTo>
                        <a:pt x="252" y="1"/>
                      </a:lnTo>
                      <a:lnTo>
                        <a:pt x="251" y="3"/>
                      </a:lnTo>
                      <a:lnTo>
                        <a:pt x="248" y="4"/>
                      </a:lnTo>
                      <a:lnTo>
                        <a:pt x="246" y="6"/>
                      </a:lnTo>
                      <a:lnTo>
                        <a:pt x="241" y="7"/>
                      </a:lnTo>
                      <a:lnTo>
                        <a:pt x="238" y="8"/>
                      </a:lnTo>
                      <a:lnTo>
                        <a:pt x="236" y="10"/>
                      </a:lnTo>
                      <a:lnTo>
                        <a:pt x="233" y="12"/>
                      </a:lnTo>
                      <a:lnTo>
                        <a:pt x="231" y="8"/>
                      </a:lnTo>
                      <a:lnTo>
                        <a:pt x="229" y="4"/>
                      </a:lnTo>
                      <a:lnTo>
                        <a:pt x="227" y="3"/>
                      </a:lnTo>
                      <a:lnTo>
                        <a:pt x="224" y="3"/>
                      </a:lnTo>
                      <a:lnTo>
                        <a:pt x="219" y="3"/>
                      </a:lnTo>
                      <a:lnTo>
                        <a:pt x="215" y="4"/>
                      </a:lnTo>
                      <a:lnTo>
                        <a:pt x="212" y="7"/>
                      </a:lnTo>
                      <a:lnTo>
                        <a:pt x="207" y="8"/>
                      </a:lnTo>
                      <a:lnTo>
                        <a:pt x="204" y="8"/>
                      </a:lnTo>
                      <a:lnTo>
                        <a:pt x="201" y="7"/>
                      </a:lnTo>
                      <a:lnTo>
                        <a:pt x="198" y="6"/>
                      </a:lnTo>
                      <a:lnTo>
                        <a:pt x="195" y="6"/>
                      </a:lnTo>
                      <a:lnTo>
                        <a:pt x="185" y="7"/>
                      </a:lnTo>
                      <a:lnTo>
                        <a:pt x="174" y="8"/>
                      </a:lnTo>
                      <a:lnTo>
                        <a:pt x="171" y="8"/>
                      </a:lnTo>
                      <a:lnTo>
                        <a:pt x="168" y="9"/>
                      </a:lnTo>
                      <a:lnTo>
                        <a:pt x="163" y="13"/>
                      </a:lnTo>
                      <a:lnTo>
                        <a:pt x="157" y="15"/>
                      </a:lnTo>
                      <a:lnTo>
                        <a:pt x="151" y="16"/>
                      </a:lnTo>
                      <a:lnTo>
                        <a:pt x="146" y="19"/>
                      </a:lnTo>
                      <a:lnTo>
                        <a:pt x="143" y="21"/>
                      </a:lnTo>
                      <a:lnTo>
                        <a:pt x="141" y="23"/>
                      </a:lnTo>
                      <a:lnTo>
                        <a:pt x="137" y="28"/>
                      </a:lnTo>
                      <a:lnTo>
                        <a:pt x="132" y="30"/>
                      </a:lnTo>
                      <a:lnTo>
                        <a:pt x="118" y="36"/>
                      </a:lnTo>
                      <a:lnTo>
                        <a:pt x="104" y="41"/>
                      </a:lnTo>
                      <a:lnTo>
                        <a:pt x="106" y="47"/>
                      </a:lnTo>
                      <a:lnTo>
                        <a:pt x="108" y="51"/>
                      </a:lnTo>
                      <a:lnTo>
                        <a:pt x="109" y="53"/>
                      </a:lnTo>
                      <a:lnTo>
                        <a:pt x="108" y="64"/>
                      </a:lnTo>
                      <a:lnTo>
                        <a:pt x="108" y="68"/>
                      </a:lnTo>
                      <a:lnTo>
                        <a:pt x="110" y="74"/>
                      </a:lnTo>
                      <a:lnTo>
                        <a:pt x="113" y="79"/>
                      </a:lnTo>
                      <a:lnTo>
                        <a:pt x="114" y="85"/>
                      </a:lnTo>
                      <a:lnTo>
                        <a:pt x="116" y="91"/>
                      </a:lnTo>
                      <a:lnTo>
                        <a:pt x="120" y="96"/>
                      </a:lnTo>
                      <a:lnTo>
                        <a:pt x="120" y="98"/>
                      </a:lnTo>
                      <a:lnTo>
                        <a:pt x="120" y="99"/>
                      </a:lnTo>
                      <a:lnTo>
                        <a:pt x="116" y="103"/>
                      </a:lnTo>
                      <a:lnTo>
                        <a:pt x="113" y="104"/>
                      </a:lnTo>
                      <a:lnTo>
                        <a:pt x="109" y="106"/>
                      </a:lnTo>
                      <a:lnTo>
                        <a:pt x="106" y="109"/>
                      </a:lnTo>
                      <a:lnTo>
                        <a:pt x="99" y="118"/>
                      </a:lnTo>
                      <a:lnTo>
                        <a:pt x="91" y="128"/>
                      </a:lnTo>
                      <a:lnTo>
                        <a:pt x="83" y="135"/>
                      </a:lnTo>
                      <a:lnTo>
                        <a:pt x="75" y="142"/>
                      </a:lnTo>
                      <a:lnTo>
                        <a:pt x="66" y="149"/>
                      </a:lnTo>
                      <a:lnTo>
                        <a:pt x="55" y="155"/>
                      </a:lnTo>
                      <a:lnTo>
                        <a:pt x="35" y="166"/>
                      </a:lnTo>
                      <a:lnTo>
                        <a:pt x="22" y="168"/>
                      </a:lnTo>
                      <a:lnTo>
                        <a:pt x="14" y="172"/>
                      </a:lnTo>
                      <a:lnTo>
                        <a:pt x="7" y="176"/>
                      </a:lnTo>
                      <a:lnTo>
                        <a:pt x="3" y="181"/>
                      </a:lnTo>
                      <a:lnTo>
                        <a:pt x="1" y="186"/>
                      </a:lnTo>
                      <a:lnTo>
                        <a:pt x="1" y="191"/>
                      </a:lnTo>
                      <a:lnTo>
                        <a:pt x="0" y="194"/>
                      </a:lnTo>
                      <a:lnTo>
                        <a:pt x="1" y="204"/>
                      </a:lnTo>
                      <a:lnTo>
                        <a:pt x="2" y="218"/>
                      </a:lnTo>
                      <a:lnTo>
                        <a:pt x="34" y="240"/>
                      </a:lnTo>
                      <a:lnTo>
                        <a:pt x="61" y="259"/>
                      </a:lnTo>
                      <a:lnTo>
                        <a:pt x="158" y="327"/>
                      </a:lnTo>
                      <a:lnTo>
                        <a:pt x="162" y="333"/>
                      </a:lnTo>
                      <a:lnTo>
                        <a:pt x="165" y="339"/>
                      </a:lnTo>
                      <a:lnTo>
                        <a:pt x="165" y="340"/>
                      </a:lnTo>
                      <a:lnTo>
                        <a:pt x="167" y="341"/>
                      </a:lnTo>
                      <a:lnTo>
                        <a:pt x="170" y="341"/>
                      </a:lnTo>
                      <a:lnTo>
                        <a:pt x="179" y="343"/>
                      </a:lnTo>
                      <a:lnTo>
                        <a:pt x="182" y="345"/>
                      </a:lnTo>
                      <a:lnTo>
                        <a:pt x="186" y="347"/>
                      </a:lnTo>
                      <a:lnTo>
                        <a:pt x="186" y="349"/>
                      </a:lnTo>
                      <a:lnTo>
                        <a:pt x="188" y="352"/>
                      </a:lnTo>
                      <a:lnTo>
                        <a:pt x="189" y="352"/>
                      </a:lnTo>
                      <a:lnTo>
                        <a:pt x="194" y="354"/>
                      </a:lnTo>
                      <a:lnTo>
                        <a:pt x="196" y="355"/>
                      </a:lnTo>
                      <a:lnTo>
                        <a:pt x="198" y="358"/>
                      </a:lnTo>
                      <a:lnTo>
                        <a:pt x="198" y="360"/>
                      </a:lnTo>
                      <a:lnTo>
                        <a:pt x="195" y="364"/>
                      </a:lnTo>
                      <a:lnTo>
                        <a:pt x="195" y="367"/>
                      </a:lnTo>
                      <a:lnTo>
                        <a:pt x="195" y="370"/>
                      </a:lnTo>
                      <a:lnTo>
                        <a:pt x="198" y="373"/>
                      </a:lnTo>
                      <a:lnTo>
                        <a:pt x="200" y="375"/>
                      </a:lnTo>
                      <a:lnTo>
                        <a:pt x="205" y="375"/>
                      </a:lnTo>
                      <a:lnTo>
                        <a:pt x="209" y="375"/>
                      </a:lnTo>
                      <a:lnTo>
                        <a:pt x="214" y="374"/>
                      </a:lnTo>
                      <a:lnTo>
                        <a:pt x="221" y="373"/>
                      </a:lnTo>
                      <a:lnTo>
                        <a:pt x="224" y="373"/>
                      </a:lnTo>
                      <a:lnTo>
                        <a:pt x="226" y="372"/>
                      </a:lnTo>
                      <a:lnTo>
                        <a:pt x="231" y="372"/>
                      </a:lnTo>
                      <a:lnTo>
                        <a:pt x="233" y="371"/>
                      </a:lnTo>
                      <a:lnTo>
                        <a:pt x="240" y="368"/>
                      </a:lnTo>
                      <a:lnTo>
                        <a:pt x="251" y="357"/>
                      </a:lnTo>
                      <a:lnTo>
                        <a:pt x="266" y="343"/>
                      </a:lnTo>
                      <a:lnTo>
                        <a:pt x="283" y="332"/>
                      </a:lnTo>
                      <a:lnTo>
                        <a:pt x="299" y="320"/>
                      </a:lnTo>
                      <a:lnTo>
                        <a:pt x="316" y="307"/>
                      </a:lnTo>
                      <a:lnTo>
                        <a:pt x="328" y="296"/>
                      </a:lnTo>
                      <a:lnTo>
                        <a:pt x="335" y="291"/>
                      </a:lnTo>
                      <a:lnTo>
                        <a:pt x="342" y="28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3" name="Freeform 671"/>
                <p:cNvSpPr>
                  <a:spLocks/>
                </p:cNvSpPr>
                <p:nvPr/>
              </p:nvSpPr>
              <p:spPr bwMode="auto">
                <a:xfrm>
                  <a:off x="4295589" y="3555817"/>
                  <a:ext cx="290055" cy="261937"/>
                </a:xfrm>
                <a:custGeom>
                  <a:avLst/>
                  <a:gdLst>
                    <a:gd name="T0" fmla="*/ 2147483647 w 212"/>
                    <a:gd name="T1" fmla="*/ 2147483647 h 177"/>
                    <a:gd name="T2" fmla="*/ 2147483647 w 212"/>
                    <a:gd name="T3" fmla="*/ 2147483647 h 177"/>
                    <a:gd name="T4" fmla="*/ 2147483647 w 212"/>
                    <a:gd name="T5" fmla="*/ 2147483647 h 177"/>
                    <a:gd name="T6" fmla="*/ 2147483647 w 212"/>
                    <a:gd name="T7" fmla="*/ 2147483647 h 177"/>
                    <a:gd name="T8" fmla="*/ 2147483647 w 212"/>
                    <a:gd name="T9" fmla="*/ 2147483647 h 177"/>
                    <a:gd name="T10" fmla="*/ 2147483647 w 212"/>
                    <a:gd name="T11" fmla="*/ 2147483647 h 177"/>
                    <a:gd name="T12" fmla="*/ 2147483647 w 212"/>
                    <a:gd name="T13" fmla="*/ 2147483647 h 177"/>
                    <a:gd name="T14" fmla="*/ 2147483647 w 212"/>
                    <a:gd name="T15" fmla="*/ 2147483647 h 177"/>
                    <a:gd name="T16" fmla="*/ 2147483647 w 212"/>
                    <a:gd name="T17" fmla="*/ 2147483647 h 177"/>
                    <a:gd name="T18" fmla="*/ 2147483647 w 212"/>
                    <a:gd name="T19" fmla="*/ 2147483647 h 177"/>
                    <a:gd name="T20" fmla="*/ 2147483647 w 212"/>
                    <a:gd name="T21" fmla="*/ 2147483647 h 177"/>
                    <a:gd name="T22" fmla="*/ 2147483647 w 212"/>
                    <a:gd name="T23" fmla="*/ 2147483647 h 177"/>
                    <a:gd name="T24" fmla="*/ 2147483647 w 212"/>
                    <a:gd name="T25" fmla="*/ 2147483647 h 177"/>
                    <a:gd name="T26" fmla="*/ 2147483647 w 212"/>
                    <a:gd name="T27" fmla="*/ 2147483647 h 177"/>
                    <a:gd name="T28" fmla="*/ 2147483647 w 212"/>
                    <a:gd name="T29" fmla="*/ 2147483647 h 177"/>
                    <a:gd name="T30" fmla="*/ 2147483647 w 212"/>
                    <a:gd name="T31" fmla="*/ 2147483647 h 177"/>
                    <a:gd name="T32" fmla="*/ 2147483647 w 212"/>
                    <a:gd name="T33" fmla="*/ 2147483647 h 177"/>
                    <a:gd name="T34" fmla="*/ 2147483647 w 212"/>
                    <a:gd name="T35" fmla="*/ 2147483647 h 177"/>
                    <a:gd name="T36" fmla="*/ 2147483647 w 212"/>
                    <a:gd name="T37" fmla="*/ 2147483647 h 177"/>
                    <a:gd name="T38" fmla="*/ 2147483647 w 212"/>
                    <a:gd name="T39" fmla="*/ 2147483647 h 177"/>
                    <a:gd name="T40" fmla="*/ 2147483647 w 212"/>
                    <a:gd name="T41" fmla="*/ 2147483647 h 177"/>
                    <a:gd name="T42" fmla="*/ 2147483647 w 212"/>
                    <a:gd name="T43" fmla="*/ 2147483647 h 177"/>
                    <a:gd name="T44" fmla="*/ 2147483647 w 212"/>
                    <a:gd name="T45" fmla="*/ 2147483647 h 177"/>
                    <a:gd name="T46" fmla="*/ 2147483647 w 212"/>
                    <a:gd name="T47" fmla="*/ 2147483647 h 177"/>
                    <a:gd name="T48" fmla="*/ 2147483647 w 212"/>
                    <a:gd name="T49" fmla="*/ 2147483647 h 177"/>
                    <a:gd name="T50" fmla="*/ 2147483647 w 212"/>
                    <a:gd name="T51" fmla="*/ 2147483647 h 177"/>
                    <a:gd name="T52" fmla="*/ 2147483647 w 212"/>
                    <a:gd name="T53" fmla="*/ 2147483647 h 177"/>
                    <a:gd name="T54" fmla="*/ 2147483647 w 212"/>
                    <a:gd name="T55" fmla="*/ 2147483647 h 177"/>
                    <a:gd name="T56" fmla="*/ 2147483647 w 212"/>
                    <a:gd name="T57" fmla="*/ 2147483647 h 177"/>
                    <a:gd name="T58" fmla="*/ 2147483647 w 212"/>
                    <a:gd name="T59" fmla="*/ 2147483647 h 177"/>
                    <a:gd name="T60" fmla="*/ 2147483647 w 212"/>
                    <a:gd name="T61" fmla="*/ 2147483647 h 177"/>
                    <a:gd name="T62" fmla="*/ 2147483647 w 212"/>
                    <a:gd name="T63" fmla="*/ 2147483647 h 177"/>
                    <a:gd name="T64" fmla="*/ 2147483647 w 212"/>
                    <a:gd name="T65" fmla="*/ 2147483647 h 177"/>
                    <a:gd name="T66" fmla="*/ 2147483647 w 212"/>
                    <a:gd name="T67" fmla="*/ 2147483647 h 177"/>
                    <a:gd name="T68" fmla="*/ 2147483647 w 212"/>
                    <a:gd name="T69" fmla="*/ 2147483647 h 177"/>
                    <a:gd name="T70" fmla="*/ 2147483647 w 212"/>
                    <a:gd name="T71" fmla="*/ 2147483647 h 177"/>
                    <a:gd name="T72" fmla="*/ 2147483647 w 212"/>
                    <a:gd name="T73" fmla="*/ 2147483647 h 177"/>
                    <a:gd name="T74" fmla="*/ 2147483647 w 212"/>
                    <a:gd name="T75" fmla="*/ 0 h 177"/>
                    <a:gd name="T76" fmla="*/ 2147483647 w 212"/>
                    <a:gd name="T77" fmla="*/ 2147483647 h 177"/>
                    <a:gd name="T78" fmla="*/ 2147483647 w 212"/>
                    <a:gd name="T79" fmla="*/ 2147483647 h 177"/>
                    <a:gd name="T80" fmla="*/ 2147483647 w 212"/>
                    <a:gd name="T81" fmla="*/ 2147483647 h 177"/>
                    <a:gd name="T82" fmla="*/ 2147483647 w 212"/>
                    <a:gd name="T83" fmla="*/ 2147483647 h 177"/>
                    <a:gd name="T84" fmla="*/ 2147483647 w 212"/>
                    <a:gd name="T85" fmla="*/ 2147483647 h 177"/>
                    <a:gd name="T86" fmla="*/ 2147483647 w 212"/>
                    <a:gd name="T87" fmla="*/ 2147483647 h 177"/>
                    <a:gd name="T88" fmla="*/ 2147483647 w 212"/>
                    <a:gd name="T89" fmla="*/ 2147483647 h 177"/>
                    <a:gd name="T90" fmla="*/ 2147483647 w 212"/>
                    <a:gd name="T91" fmla="*/ 2147483647 h 177"/>
                    <a:gd name="T92" fmla="*/ 2147483647 w 212"/>
                    <a:gd name="T93" fmla="*/ 2147483647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177"/>
                    <a:gd name="T143" fmla="*/ 212 w 212"/>
                    <a:gd name="T144" fmla="*/ 177 h 1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177">
                      <a:moveTo>
                        <a:pt x="196" y="12"/>
                      </a:moveTo>
                      <a:lnTo>
                        <a:pt x="198" y="18"/>
                      </a:lnTo>
                      <a:lnTo>
                        <a:pt x="200" y="22"/>
                      </a:lnTo>
                      <a:lnTo>
                        <a:pt x="201" y="24"/>
                      </a:lnTo>
                      <a:lnTo>
                        <a:pt x="200" y="35"/>
                      </a:lnTo>
                      <a:lnTo>
                        <a:pt x="200" y="39"/>
                      </a:lnTo>
                      <a:lnTo>
                        <a:pt x="202" y="45"/>
                      </a:lnTo>
                      <a:lnTo>
                        <a:pt x="205" y="50"/>
                      </a:lnTo>
                      <a:lnTo>
                        <a:pt x="206" y="56"/>
                      </a:lnTo>
                      <a:lnTo>
                        <a:pt x="208" y="62"/>
                      </a:lnTo>
                      <a:lnTo>
                        <a:pt x="212" y="67"/>
                      </a:lnTo>
                      <a:lnTo>
                        <a:pt x="212" y="69"/>
                      </a:lnTo>
                      <a:lnTo>
                        <a:pt x="212" y="70"/>
                      </a:lnTo>
                      <a:lnTo>
                        <a:pt x="208" y="74"/>
                      </a:lnTo>
                      <a:lnTo>
                        <a:pt x="205" y="75"/>
                      </a:lnTo>
                      <a:lnTo>
                        <a:pt x="201" y="77"/>
                      </a:lnTo>
                      <a:lnTo>
                        <a:pt x="198" y="80"/>
                      </a:lnTo>
                      <a:lnTo>
                        <a:pt x="191" y="89"/>
                      </a:lnTo>
                      <a:lnTo>
                        <a:pt x="183" y="99"/>
                      </a:lnTo>
                      <a:lnTo>
                        <a:pt x="175" y="106"/>
                      </a:lnTo>
                      <a:lnTo>
                        <a:pt x="167" y="113"/>
                      </a:lnTo>
                      <a:lnTo>
                        <a:pt x="158" y="120"/>
                      </a:lnTo>
                      <a:lnTo>
                        <a:pt x="147" y="126"/>
                      </a:lnTo>
                      <a:lnTo>
                        <a:pt x="127" y="137"/>
                      </a:lnTo>
                      <a:lnTo>
                        <a:pt x="114" y="139"/>
                      </a:lnTo>
                      <a:lnTo>
                        <a:pt x="106" y="143"/>
                      </a:lnTo>
                      <a:lnTo>
                        <a:pt x="99" y="147"/>
                      </a:lnTo>
                      <a:lnTo>
                        <a:pt x="95" y="152"/>
                      </a:lnTo>
                      <a:lnTo>
                        <a:pt x="93" y="157"/>
                      </a:lnTo>
                      <a:lnTo>
                        <a:pt x="93" y="162"/>
                      </a:lnTo>
                      <a:lnTo>
                        <a:pt x="92" y="165"/>
                      </a:lnTo>
                      <a:lnTo>
                        <a:pt x="93" y="175"/>
                      </a:lnTo>
                      <a:lnTo>
                        <a:pt x="0" y="177"/>
                      </a:lnTo>
                      <a:lnTo>
                        <a:pt x="5" y="169"/>
                      </a:lnTo>
                      <a:lnTo>
                        <a:pt x="10" y="163"/>
                      </a:lnTo>
                      <a:lnTo>
                        <a:pt x="13" y="162"/>
                      </a:lnTo>
                      <a:lnTo>
                        <a:pt x="17" y="160"/>
                      </a:lnTo>
                      <a:lnTo>
                        <a:pt x="28" y="159"/>
                      </a:lnTo>
                      <a:lnTo>
                        <a:pt x="34" y="158"/>
                      </a:lnTo>
                      <a:lnTo>
                        <a:pt x="38" y="156"/>
                      </a:lnTo>
                      <a:lnTo>
                        <a:pt x="42" y="152"/>
                      </a:lnTo>
                      <a:lnTo>
                        <a:pt x="46" y="149"/>
                      </a:lnTo>
                      <a:lnTo>
                        <a:pt x="52" y="138"/>
                      </a:lnTo>
                      <a:lnTo>
                        <a:pt x="57" y="128"/>
                      </a:lnTo>
                      <a:lnTo>
                        <a:pt x="61" y="125"/>
                      </a:lnTo>
                      <a:lnTo>
                        <a:pt x="65" y="122"/>
                      </a:lnTo>
                      <a:lnTo>
                        <a:pt x="66" y="118"/>
                      </a:lnTo>
                      <a:lnTo>
                        <a:pt x="67" y="115"/>
                      </a:lnTo>
                      <a:lnTo>
                        <a:pt x="67" y="113"/>
                      </a:lnTo>
                      <a:lnTo>
                        <a:pt x="66" y="111"/>
                      </a:lnTo>
                      <a:lnTo>
                        <a:pt x="62" y="108"/>
                      </a:lnTo>
                      <a:lnTo>
                        <a:pt x="60" y="105"/>
                      </a:lnTo>
                      <a:lnTo>
                        <a:pt x="57" y="101"/>
                      </a:lnTo>
                      <a:lnTo>
                        <a:pt x="57" y="96"/>
                      </a:lnTo>
                      <a:lnTo>
                        <a:pt x="57" y="93"/>
                      </a:lnTo>
                      <a:lnTo>
                        <a:pt x="59" y="87"/>
                      </a:lnTo>
                      <a:lnTo>
                        <a:pt x="61" y="82"/>
                      </a:lnTo>
                      <a:lnTo>
                        <a:pt x="65" y="77"/>
                      </a:lnTo>
                      <a:lnTo>
                        <a:pt x="69" y="73"/>
                      </a:lnTo>
                      <a:lnTo>
                        <a:pt x="74" y="68"/>
                      </a:lnTo>
                      <a:lnTo>
                        <a:pt x="76" y="64"/>
                      </a:lnTo>
                      <a:lnTo>
                        <a:pt x="79" y="61"/>
                      </a:lnTo>
                      <a:lnTo>
                        <a:pt x="80" y="57"/>
                      </a:lnTo>
                      <a:lnTo>
                        <a:pt x="83" y="55"/>
                      </a:lnTo>
                      <a:lnTo>
                        <a:pt x="90" y="49"/>
                      </a:lnTo>
                      <a:lnTo>
                        <a:pt x="99" y="44"/>
                      </a:lnTo>
                      <a:lnTo>
                        <a:pt x="106" y="38"/>
                      </a:lnTo>
                      <a:lnTo>
                        <a:pt x="113" y="31"/>
                      </a:lnTo>
                      <a:lnTo>
                        <a:pt x="121" y="26"/>
                      </a:lnTo>
                      <a:lnTo>
                        <a:pt x="123" y="24"/>
                      </a:lnTo>
                      <a:lnTo>
                        <a:pt x="126" y="20"/>
                      </a:lnTo>
                      <a:lnTo>
                        <a:pt x="128" y="17"/>
                      </a:lnTo>
                      <a:lnTo>
                        <a:pt x="130" y="12"/>
                      </a:lnTo>
                      <a:lnTo>
                        <a:pt x="130" y="3"/>
                      </a:lnTo>
                      <a:lnTo>
                        <a:pt x="130" y="1"/>
                      </a:lnTo>
                      <a:lnTo>
                        <a:pt x="131" y="0"/>
                      </a:lnTo>
                      <a:lnTo>
                        <a:pt x="133" y="0"/>
                      </a:lnTo>
                      <a:lnTo>
                        <a:pt x="135" y="1"/>
                      </a:lnTo>
                      <a:lnTo>
                        <a:pt x="139" y="5"/>
                      </a:lnTo>
                      <a:lnTo>
                        <a:pt x="144" y="9"/>
                      </a:lnTo>
                      <a:lnTo>
                        <a:pt x="150" y="11"/>
                      </a:lnTo>
                      <a:lnTo>
                        <a:pt x="155" y="12"/>
                      </a:lnTo>
                      <a:lnTo>
                        <a:pt x="161" y="13"/>
                      </a:lnTo>
                      <a:lnTo>
                        <a:pt x="168" y="13"/>
                      </a:lnTo>
                      <a:lnTo>
                        <a:pt x="173" y="12"/>
                      </a:lnTo>
                      <a:lnTo>
                        <a:pt x="178" y="9"/>
                      </a:lnTo>
                      <a:lnTo>
                        <a:pt x="179" y="7"/>
                      </a:lnTo>
                      <a:lnTo>
                        <a:pt x="180" y="7"/>
                      </a:lnTo>
                      <a:lnTo>
                        <a:pt x="180" y="10"/>
                      </a:lnTo>
                      <a:lnTo>
                        <a:pt x="182" y="12"/>
                      </a:lnTo>
                      <a:lnTo>
                        <a:pt x="184" y="13"/>
                      </a:lnTo>
                      <a:lnTo>
                        <a:pt x="187" y="15"/>
                      </a:lnTo>
                      <a:lnTo>
                        <a:pt x="192" y="15"/>
                      </a:lnTo>
                      <a:lnTo>
                        <a:pt x="196"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4" name="Freeform 672"/>
                <p:cNvSpPr>
                  <a:spLocks/>
                </p:cNvSpPr>
                <p:nvPr/>
              </p:nvSpPr>
              <p:spPr bwMode="auto">
                <a:xfrm>
                  <a:off x="4418419" y="3509937"/>
                  <a:ext cx="469119" cy="556432"/>
                </a:xfrm>
                <a:custGeom>
                  <a:avLst/>
                  <a:gdLst>
                    <a:gd name="T0" fmla="*/ 2147483647 w 343"/>
                    <a:gd name="T1" fmla="*/ 2147483647 h 376"/>
                    <a:gd name="T2" fmla="*/ 2147483647 w 343"/>
                    <a:gd name="T3" fmla="*/ 2147483647 h 376"/>
                    <a:gd name="T4" fmla="*/ 2147483647 w 343"/>
                    <a:gd name="T5" fmla="*/ 2147483647 h 376"/>
                    <a:gd name="T6" fmla="*/ 2147483647 w 343"/>
                    <a:gd name="T7" fmla="*/ 2147483647 h 376"/>
                    <a:gd name="T8" fmla="*/ 2147483647 w 343"/>
                    <a:gd name="T9" fmla="*/ 2147483647 h 376"/>
                    <a:gd name="T10" fmla="*/ 2147483647 w 343"/>
                    <a:gd name="T11" fmla="*/ 2147483647 h 376"/>
                    <a:gd name="T12" fmla="*/ 2147483647 w 343"/>
                    <a:gd name="T13" fmla="*/ 2147483647 h 376"/>
                    <a:gd name="T14" fmla="*/ 2147483647 w 343"/>
                    <a:gd name="T15" fmla="*/ 2147483647 h 376"/>
                    <a:gd name="T16" fmla="*/ 2147483647 w 343"/>
                    <a:gd name="T17" fmla="*/ 2147483647 h 376"/>
                    <a:gd name="T18" fmla="*/ 2147483647 w 343"/>
                    <a:gd name="T19" fmla="*/ 2147483647 h 376"/>
                    <a:gd name="T20" fmla="*/ 2147483647 w 343"/>
                    <a:gd name="T21" fmla="*/ 2147483647 h 376"/>
                    <a:gd name="T22" fmla="*/ 2147483647 w 343"/>
                    <a:gd name="T23" fmla="*/ 2147483647 h 376"/>
                    <a:gd name="T24" fmla="*/ 2147483647 w 343"/>
                    <a:gd name="T25" fmla="*/ 2147483647 h 376"/>
                    <a:gd name="T26" fmla="*/ 2147483647 w 343"/>
                    <a:gd name="T27" fmla="*/ 2147483647 h 376"/>
                    <a:gd name="T28" fmla="*/ 2147483647 w 343"/>
                    <a:gd name="T29" fmla="*/ 2147483647 h 376"/>
                    <a:gd name="T30" fmla="*/ 2147483647 w 343"/>
                    <a:gd name="T31" fmla="*/ 2147483647 h 376"/>
                    <a:gd name="T32" fmla="*/ 2147483647 w 343"/>
                    <a:gd name="T33" fmla="*/ 2147483647 h 376"/>
                    <a:gd name="T34" fmla="*/ 2147483647 w 343"/>
                    <a:gd name="T35" fmla="*/ 2147483647 h 376"/>
                    <a:gd name="T36" fmla="*/ 2147483647 w 343"/>
                    <a:gd name="T37" fmla="*/ 2147483647 h 376"/>
                    <a:gd name="T38" fmla="*/ 2147483647 w 343"/>
                    <a:gd name="T39" fmla="*/ 2147483647 h 376"/>
                    <a:gd name="T40" fmla="*/ 2147483647 w 343"/>
                    <a:gd name="T41" fmla="*/ 2147483647 h 376"/>
                    <a:gd name="T42" fmla="*/ 2147483647 w 343"/>
                    <a:gd name="T43" fmla="*/ 2147483647 h 376"/>
                    <a:gd name="T44" fmla="*/ 2147483647 w 343"/>
                    <a:gd name="T45" fmla="*/ 2147483647 h 376"/>
                    <a:gd name="T46" fmla="*/ 2147483647 w 343"/>
                    <a:gd name="T47" fmla="*/ 2147483647 h 376"/>
                    <a:gd name="T48" fmla="*/ 2147483647 w 343"/>
                    <a:gd name="T49" fmla="*/ 2147483647 h 376"/>
                    <a:gd name="T50" fmla="*/ 2147483647 w 343"/>
                    <a:gd name="T51" fmla="*/ 2147483647 h 376"/>
                    <a:gd name="T52" fmla="*/ 2147483647 w 343"/>
                    <a:gd name="T53" fmla="*/ 2147483647 h 376"/>
                    <a:gd name="T54" fmla="*/ 2147483647 w 343"/>
                    <a:gd name="T55" fmla="*/ 2147483647 h 376"/>
                    <a:gd name="T56" fmla="*/ 2147483647 w 343"/>
                    <a:gd name="T57" fmla="*/ 2147483647 h 376"/>
                    <a:gd name="T58" fmla="*/ 2147483647 w 343"/>
                    <a:gd name="T59" fmla="*/ 2147483647 h 376"/>
                    <a:gd name="T60" fmla="*/ 2147483647 w 343"/>
                    <a:gd name="T61" fmla="*/ 2147483647 h 376"/>
                    <a:gd name="T62" fmla="*/ 2147483647 w 343"/>
                    <a:gd name="T63" fmla="*/ 2147483647 h 376"/>
                    <a:gd name="T64" fmla="*/ 2147483647 w 343"/>
                    <a:gd name="T65" fmla="*/ 2147483647 h 376"/>
                    <a:gd name="T66" fmla="*/ 2147483647 w 343"/>
                    <a:gd name="T67" fmla="*/ 2147483647 h 376"/>
                    <a:gd name="T68" fmla="*/ 2147483647 w 343"/>
                    <a:gd name="T69" fmla="*/ 2147483647 h 376"/>
                    <a:gd name="T70" fmla="*/ 2147483647 w 343"/>
                    <a:gd name="T71" fmla="*/ 2147483647 h 376"/>
                    <a:gd name="T72" fmla="*/ 2147483647 w 343"/>
                    <a:gd name="T73" fmla="*/ 2147483647 h 376"/>
                    <a:gd name="T74" fmla="*/ 2147483647 w 343"/>
                    <a:gd name="T75" fmla="*/ 2147483647 h 376"/>
                    <a:gd name="T76" fmla="*/ 2147483647 w 343"/>
                    <a:gd name="T77" fmla="*/ 2147483647 h 376"/>
                    <a:gd name="T78" fmla="*/ 2147483647 w 343"/>
                    <a:gd name="T79" fmla="*/ 2147483647 h 376"/>
                    <a:gd name="T80" fmla="*/ 2147483647 w 343"/>
                    <a:gd name="T81" fmla="*/ 2147483647 h 376"/>
                    <a:gd name="T82" fmla="*/ 2147483647 w 343"/>
                    <a:gd name="T83" fmla="*/ 2147483647 h 376"/>
                    <a:gd name="T84" fmla="*/ 2147483647 w 343"/>
                    <a:gd name="T85" fmla="*/ 2147483647 h 376"/>
                    <a:gd name="T86" fmla="*/ 2147483647 w 343"/>
                    <a:gd name="T87" fmla="*/ 2147483647 h 376"/>
                    <a:gd name="T88" fmla="*/ 0 w 343"/>
                    <a:gd name="T89" fmla="*/ 2147483647 h 376"/>
                    <a:gd name="T90" fmla="*/ 2147483647 w 343"/>
                    <a:gd name="T91" fmla="*/ 2147483647 h 376"/>
                    <a:gd name="T92" fmla="*/ 2147483647 w 343"/>
                    <a:gd name="T93" fmla="*/ 2147483647 h 376"/>
                    <a:gd name="T94" fmla="*/ 2147483647 w 343"/>
                    <a:gd name="T95" fmla="*/ 2147483647 h 376"/>
                    <a:gd name="T96" fmla="*/ 2147483647 w 343"/>
                    <a:gd name="T97" fmla="*/ 2147483647 h 376"/>
                    <a:gd name="T98" fmla="*/ 2147483647 w 343"/>
                    <a:gd name="T99" fmla="*/ 2147483647 h 376"/>
                    <a:gd name="T100" fmla="*/ 2147483647 w 343"/>
                    <a:gd name="T101" fmla="*/ 2147483647 h 376"/>
                    <a:gd name="T102" fmla="*/ 2147483647 w 343"/>
                    <a:gd name="T103" fmla="*/ 2147483647 h 376"/>
                    <a:gd name="T104" fmla="*/ 2147483647 w 343"/>
                    <a:gd name="T105" fmla="*/ 2147483647 h 376"/>
                    <a:gd name="T106" fmla="*/ 2147483647 w 343"/>
                    <a:gd name="T107" fmla="*/ 2147483647 h 376"/>
                    <a:gd name="T108" fmla="*/ 2147483647 w 343"/>
                    <a:gd name="T109" fmla="*/ 2147483647 h 376"/>
                    <a:gd name="T110" fmla="*/ 2147483647 w 343"/>
                    <a:gd name="T111" fmla="*/ 2147483647 h 376"/>
                    <a:gd name="T112" fmla="*/ 2147483647 w 343"/>
                    <a:gd name="T113" fmla="*/ 2147483647 h 376"/>
                    <a:gd name="T114" fmla="*/ 2147483647 w 343"/>
                    <a:gd name="T115" fmla="*/ 2147483647 h 376"/>
                    <a:gd name="T116" fmla="*/ 2147483647 w 343"/>
                    <a:gd name="T117" fmla="*/ 2147483647 h 3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3"/>
                    <a:gd name="T178" fmla="*/ 0 h 376"/>
                    <a:gd name="T179" fmla="*/ 343 w 343"/>
                    <a:gd name="T180" fmla="*/ 376 h 3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3" h="376">
                      <a:moveTo>
                        <a:pt x="343" y="287"/>
                      </a:moveTo>
                      <a:lnTo>
                        <a:pt x="343" y="287"/>
                      </a:lnTo>
                      <a:lnTo>
                        <a:pt x="341" y="284"/>
                      </a:lnTo>
                      <a:lnTo>
                        <a:pt x="338" y="280"/>
                      </a:lnTo>
                      <a:lnTo>
                        <a:pt x="333" y="279"/>
                      </a:lnTo>
                      <a:lnTo>
                        <a:pt x="328" y="278"/>
                      </a:lnTo>
                      <a:lnTo>
                        <a:pt x="318" y="277"/>
                      </a:lnTo>
                      <a:lnTo>
                        <a:pt x="313" y="277"/>
                      </a:lnTo>
                      <a:lnTo>
                        <a:pt x="309" y="274"/>
                      </a:lnTo>
                      <a:lnTo>
                        <a:pt x="306" y="271"/>
                      </a:lnTo>
                      <a:lnTo>
                        <a:pt x="305" y="266"/>
                      </a:lnTo>
                      <a:lnTo>
                        <a:pt x="305" y="257"/>
                      </a:lnTo>
                      <a:lnTo>
                        <a:pt x="303" y="253"/>
                      </a:lnTo>
                      <a:lnTo>
                        <a:pt x="300" y="251"/>
                      </a:lnTo>
                      <a:lnTo>
                        <a:pt x="296" y="248"/>
                      </a:lnTo>
                      <a:lnTo>
                        <a:pt x="294" y="245"/>
                      </a:lnTo>
                      <a:lnTo>
                        <a:pt x="291" y="241"/>
                      </a:lnTo>
                      <a:lnTo>
                        <a:pt x="290" y="238"/>
                      </a:lnTo>
                      <a:lnTo>
                        <a:pt x="290" y="235"/>
                      </a:lnTo>
                      <a:lnTo>
                        <a:pt x="290" y="233"/>
                      </a:lnTo>
                      <a:lnTo>
                        <a:pt x="294" y="227"/>
                      </a:lnTo>
                      <a:lnTo>
                        <a:pt x="297" y="222"/>
                      </a:lnTo>
                      <a:lnTo>
                        <a:pt x="300" y="217"/>
                      </a:lnTo>
                      <a:lnTo>
                        <a:pt x="300" y="209"/>
                      </a:lnTo>
                      <a:lnTo>
                        <a:pt x="299" y="200"/>
                      </a:lnTo>
                      <a:lnTo>
                        <a:pt x="300" y="194"/>
                      </a:lnTo>
                      <a:lnTo>
                        <a:pt x="300" y="188"/>
                      </a:lnTo>
                      <a:lnTo>
                        <a:pt x="297" y="184"/>
                      </a:lnTo>
                      <a:lnTo>
                        <a:pt x="296" y="181"/>
                      </a:lnTo>
                      <a:lnTo>
                        <a:pt x="294" y="174"/>
                      </a:lnTo>
                      <a:lnTo>
                        <a:pt x="294" y="163"/>
                      </a:lnTo>
                      <a:lnTo>
                        <a:pt x="295" y="152"/>
                      </a:lnTo>
                      <a:lnTo>
                        <a:pt x="296" y="145"/>
                      </a:lnTo>
                      <a:lnTo>
                        <a:pt x="299" y="142"/>
                      </a:lnTo>
                      <a:lnTo>
                        <a:pt x="301" y="139"/>
                      </a:lnTo>
                      <a:lnTo>
                        <a:pt x="304" y="138"/>
                      </a:lnTo>
                      <a:lnTo>
                        <a:pt x="296" y="121"/>
                      </a:lnTo>
                      <a:lnTo>
                        <a:pt x="292" y="114"/>
                      </a:lnTo>
                      <a:lnTo>
                        <a:pt x="289" y="111"/>
                      </a:lnTo>
                      <a:lnTo>
                        <a:pt x="285" y="108"/>
                      </a:lnTo>
                      <a:lnTo>
                        <a:pt x="283" y="106"/>
                      </a:lnTo>
                      <a:lnTo>
                        <a:pt x="281" y="104"/>
                      </a:lnTo>
                      <a:lnTo>
                        <a:pt x="280" y="98"/>
                      </a:lnTo>
                      <a:lnTo>
                        <a:pt x="277" y="92"/>
                      </a:lnTo>
                      <a:lnTo>
                        <a:pt x="275" y="85"/>
                      </a:lnTo>
                      <a:lnTo>
                        <a:pt x="273" y="82"/>
                      </a:lnTo>
                      <a:lnTo>
                        <a:pt x="270" y="80"/>
                      </a:lnTo>
                      <a:lnTo>
                        <a:pt x="267" y="78"/>
                      </a:lnTo>
                      <a:lnTo>
                        <a:pt x="266" y="75"/>
                      </a:lnTo>
                      <a:lnTo>
                        <a:pt x="266" y="73"/>
                      </a:lnTo>
                      <a:lnTo>
                        <a:pt x="267" y="70"/>
                      </a:lnTo>
                      <a:lnTo>
                        <a:pt x="272" y="66"/>
                      </a:lnTo>
                      <a:lnTo>
                        <a:pt x="276" y="62"/>
                      </a:lnTo>
                      <a:lnTo>
                        <a:pt x="281" y="55"/>
                      </a:lnTo>
                      <a:lnTo>
                        <a:pt x="286" y="48"/>
                      </a:lnTo>
                      <a:lnTo>
                        <a:pt x="287" y="43"/>
                      </a:lnTo>
                      <a:lnTo>
                        <a:pt x="287" y="40"/>
                      </a:lnTo>
                      <a:lnTo>
                        <a:pt x="286" y="35"/>
                      </a:lnTo>
                      <a:lnTo>
                        <a:pt x="285" y="31"/>
                      </a:lnTo>
                      <a:lnTo>
                        <a:pt x="283" y="28"/>
                      </a:lnTo>
                      <a:lnTo>
                        <a:pt x="285" y="24"/>
                      </a:lnTo>
                      <a:lnTo>
                        <a:pt x="283" y="23"/>
                      </a:lnTo>
                      <a:lnTo>
                        <a:pt x="282" y="22"/>
                      </a:lnTo>
                      <a:lnTo>
                        <a:pt x="281" y="19"/>
                      </a:lnTo>
                      <a:lnTo>
                        <a:pt x="281" y="17"/>
                      </a:lnTo>
                      <a:lnTo>
                        <a:pt x="283" y="14"/>
                      </a:lnTo>
                      <a:lnTo>
                        <a:pt x="285" y="11"/>
                      </a:lnTo>
                      <a:lnTo>
                        <a:pt x="286" y="8"/>
                      </a:lnTo>
                      <a:lnTo>
                        <a:pt x="281" y="8"/>
                      </a:lnTo>
                      <a:lnTo>
                        <a:pt x="277" y="6"/>
                      </a:lnTo>
                      <a:lnTo>
                        <a:pt x="272" y="5"/>
                      </a:lnTo>
                      <a:lnTo>
                        <a:pt x="267" y="2"/>
                      </a:lnTo>
                      <a:lnTo>
                        <a:pt x="266" y="2"/>
                      </a:lnTo>
                      <a:lnTo>
                        <a:pt x="263" y="2"/>
                      </a:lnTo>
                      <a:lnTo>
                        <a:pt x="261" y="2"/>
                      </a:lnTo>
                      <a:lnTo>
                        <a:pt x="259" y="2"/>
                      </a:lnTo>
                      <a:lnTo>
                        <a:pt x="257" y="0"/>
                      </a:lnTo>
                      <a:lnTo>
                        <a:pt x="256" y="0"/>
                      </a:lnTo>
                      <a:lnTo>
                        <a:pt x="253" y="2"/>
                      </a:lnTo>
                      <a:lnTo>
                        <a:pt x="252" y="4"/>
                      </a:lnTo>
                      <a:lnTo>
                        <a:pt x="249" y="5"/>
                      </a:lnTo>
                      <a:lnTo>
                        <a:pt x="247" y="6"/>
                      </a:lnTo>
                      <a:lnTo>
                        <a:pt x="242" y="8"/>
                      </a:lnTo>
                      <a:lnTo>
                        <a:pt x="239" y="9"/>
                      </a:lnTo>
                      <a:lnTo>
                        <a:pt x="237" y="11"/>
                      </a:lnTo>
                      <a:lnTo>
                        <a:pt x="234" y="12"/>
                      </a:lnTo>
                      <a:lnTo>
                        <a:pt x="231" y="9"/>
                      </a:lnTo>
                      <a:lnTo>
                        <a:pt x="230" y="5"/>
                      </a:lnTo>
                      <a:lnTo>
                        <a:pt x="228" y="4"/>
                      </a:lnTo>
                      <a:lnTo>
                        <a:pt x="225" y="4"/>
                      </a:lnTo>
                      <a:lnTo>
                        <a:pt x="220" y="4"/>
                      </a:lnTo>
                      <a:lnTo>
                        <a:pt x="216" y="5"/>
                      </a:lnTo>
                      <a:lnTo>
                        <a:pt x="212" y="8"/>
                      </a:lnTo>
                      <a:lnTo>
                        <a:pt x="207" y="9"/>
                      </a:lnTo>
                      <a:lnTo>
                        <a:pt x="205" y="9"/>
                      </a:lnTo>
                      <a:lnTo>
                        <a:pt x="202" y="8"/>
                      </a:lnTo>
                      <a:lnTo>
                        <a:pt x="198" y="6"/>
                      </a:lnTo>
                      <a:lnTo>
                        <a:pt x="196" y="6"/>
                      </a:lnTo>
                      <a:lnTo>
                        <a:pt x="186" y="8"/>
                      </a:lnTo>
                      <a:lnTo>
                        <a:pt x="174" y="9"/>
                      </a:lnTo>
                      <a:lnTo>
                        <a:pt x="172" y="9"/>
                      </a:lnTo>
                      <a:lnTo>
                        <a:pt x="169" y="10"/>
                      </a:lnTo>
                      <a:lnTo>
                        <a:pt x="164" y="14"/>
                      </a:lnTo>
                      <a:lnTo>
                        <a:pt x="158" y="16"/>
                      </a:lnTo>
                      <a:lnTo>
                        <a:pt x="151" y="17"/>
                      </a:lnTo>
                      <a:lnTo>
                        <a:pt x="146" y="19"/>
                      </a:lnTo>
                      <a:lnTo>
                        <a:pt x="144" y="22"/>
                      </a:lnTo>
                      <a:lnTo>
                        <a:pt x="141" y="24"/>
                      </a:lnTo>
                      <a:lnTo>
                        <a:pt x="137" y="29"/>
                      </a:lnTo>
                      <a:lnTo>
                        <a:pt x="132" y="31"/>
                      </a:lnTo>
                      <a:lnTo>
                        <a:pt x="118" y="37"/>
                      </a:lnTo>
                      <a:lnTo>
                        <a:pt x="104" y="42"/>
                      </a:lnTo>
                      <a:lnTo>
                        <a:pt x="107" y="48"/>
                      </a:lnTo>
                      <a:lnTo>
                        <a:pt x="108" y="51"/>
                      </a:lnTo>
                      <a:lnTo>
                        <a:pt x="110" y="54"/>
                      </a:lnTo>
                      <a:lnTo>
                        <a:pt x="108" y="65"/>
                      </a:lnTo>
                      <a:lnTo>
                        <a:pt x="108" y="69"/>
                      </a:lnTo>
                      <a:lnTo>
                        <a:pt x="111" y="75"/>
                      </a:lnTo>
                      <a:lnTo>
                        <a:pt x="113" y="80"/>
                      </a:lnTo>
                      <a:lnTo>
                        <a:pt x="115" y="86"/>
                      </a:lnTo>
                      <a:lnTo>
                        <a:pt x="117" y="92"/>
                      </a:lnTo>
                      <a:lnTo>
                        <a:pt x="121" y="97"/>
                      </a:lnTo>
                      <a:lnTo>
                        <a:pt x="121" y="99"/>
                      </a:lnTo>
                      <a:lnTo>
                        <a:pt x="121" y="100"/>
                      </a:lnTo>
                      <a:lnTo>
                        <a:pt x="117" y="104"/>
                      </a:lnTo>
                      <a:lnTo>
                        <a:pt x="113" y="105"/>
                      </a:lnTo>
                      <a:lnTo>
                        <a:pt x="110" y="107"/>
                      </a:lnTo>
                      <a:lnTo>
                        <a:pt x="107" y="110"/>
                      </a:lnTo>
                      <a:lnTo>
                        <a:pt x="99" y="119"/>
                      </a:lnTo>
                      <a:lnTo>
                        <a:pt x="92" y="129"/>
                      </a:lnTo>
                      <a:lnTo>
                        <a:pt x="84" y="136"/>
                      </a:lnTo>
                      <a:lnTo>
                        <a:pt x="75" y="143"/>
                      </a:lnTo>
                      <a:lnTo>
                        <a:pt x="66" y="150"/>
                      </a:lnTo>
                      <a:lnTo>
                        <a:pt x="56" y="156"/>
                      </a:lnTo>
                      <a:lnTo>
                        <a:pt x="36" y="166"/>
                      </a:lnTo>
                      <a:lnTo>
                        <a:pt x="23" y="169"/>
                      </a:lnTo>
                      <a:lnTo>
                        <a:pt x="14" y="172"/>
                      </a:lnTo>
                      <a:lnTo>
                        <a:pt x="8" y="177"/>
                      </a:lnTo>
                      <a:lnTo>
                        <a:pt x="4" y="182"/>
                      </a:lnTo>
                      <a:lnTo>
                        <a:pt x="2" y="187"/>
                      </a:lnTo>
                      <a:lnTo>
                        <a:pt x="2" y="191"/>
                      </a:lnTo>
                      <a:lnTo>
                        <a:pt x="0" y="195"/>
                      </a:lnTo>
                      <a:lnTo>
                        <a:pt x="2" y="204"/>
                      </a:lnTo>
                      <a:lnTo>
                        <a:pt x="3" y="219"/>
                      </a:lnTo>
                      <a:lnTo>
                        <a:pt x="35" y="241"/>
                      </a:lnTo>
                      <a:lnTo>
                        <a:pt x="61" y="260"/>
                      </a:lnTo>
                      <a:lnTo>
                        <a:pt x="159" y="328"/>
                      </a:lnTo>
                      <a:lnTo>
                        <a:pt x="163" y="334"/>
                      </a:lnTo>
                      <a:lnTo>
                        <a:pt x="165" y="340"/>
                      </a:lnTo>
                      <a:lnTo>
                        <a:pt x="165" y="341"/>
                      </a:lnTo>
                      <a:lnTo>
                        <a:pt x="168" y="342"/>
                      </a:lnTo>
                      <a:lnTo>
                        <a:pt x="170" y="342"/>
                      </a:lnTo>
                      <a:lnTo>
                        <a:pt x="179" y="344"/>
                      </a:lnTo>
                      <a:lnTo>
                        <a:pt x="183" y="345"/>
                      </a:lnTo>
                      <a:lnTo>
                        <a:pt x="187" y="348"/>
                      </a:lnTo>
                      <a:lnTo>
                        <a:pt x="187" y="350"/>
                      </a:lnTo>
                      <a:lnTo>
                        <a:pt x="188" y="353"/>
                      </a:lnTo>
                      <a:lnTo>
                        <a:pt x="190" y="353"/>
                      </a:lnTo>
                      <a:lnTo>
                        <a:pt x="195" y="355"/>
                      </a:lnTo>
                      <a:lnTo>
                        <a:pt x="197" y="356"/>
                      </a:lnTo>
                      <a:lnTo>
                        <a:pt x="198" y="359"/>
                      </a:lnTo>
                      <a:lnTo>
                        <a:pt x="198" y="361"/>
                      </a:lnTo>
                      <a:lnTo>
                        <a:pt x="196" y="364"/>
                      </a:lnTo>
                      <a:lnTo>
                        <a:pt x="196" y="368"/>
                      </a:lnTo>
                      <a:lnTo>
                        <a:pt x="196" y="370"/>
                      </a:lnTo>
                      <a:lnTo>
                        <a:pt x="198" y="374"/>
                      </a:lnTo>
                      <a:lnTo>
                        <a:pt x="201" y="376"/>
                      </a:lnTo>
                      <a:lnTo>
                        <a:pt x="206" y="376"/>
                      </a:lnTo>
                      <a:lnTo>
                        <a:pt x="210" y="376"/>
                      </a:lnTo>
                      <a:lnTo>
                        <a:pt x="215" y="375"/>
                      </a:lnTo>
                      <a:lnTo>
                        <a:pt x="221" y="374"/>
                      </a:lnTo>
                      <a:lnTo>
                        <a:pt x="225" y="374"/>
                      </a:lnTo>
                      <a:lnTo>
                        <a:pt x="226" y="373"/>
                      </a:lnTo>
                      <a:lnTo>
                        <a:pt x="231" y="373"/>
                      </a:lnTo>
                      <a:lnTo>
                        <a:pt x="234" y="372"/>
                      </a:lnTo>
                      <a:lnTo>
                        <a:pt x="240" y="369"/>
                      </a:lnTo>
                      <a:lnTo>
                        <a:pt x="252" y="357"/>
                      </a:lnTo>
                      <a:lnTo>
                        <a:pt x="267" y="344"/>
                      </a:lnTo>
                      <a:lnTo>
                        <a:pt x="283" y="332"/>
                      </a:lnTo>
                      <a:lnTo>
                        <a:pt x="300" y="321"/>
                      </a:lnTo>
                      <a:lnTo>
                        <a:pt x="317" y="308"/>
                      </a:lnTo>
                      <a:lnTo>
                        <a:pt x="329" y="297"/>
                      </a:lnTo>
                      <a:lnTo>
                        <a:pt x="336" y="292"/>
                      </a:lnTo>
                      <a:lnTo>
                        <a:pt x="343" y="28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5" name="Freeform 673"/>
                <p:cNvSpPr>
                  <a:spLocks/>
                </p:cNvSpPr>
                <p:nvPr/>
              </p:nvSpPr>
              <p:spPr bwMode="auto">
                <a:xfrm>
                  <a:off x="4294108" y="3554333"/>
                  <a:ext cx="290055" cy="261938"/>
                </a:xfrm>
                <a:custGeom>
                  <a:avLst/>
                  <a:gdLst>
                    <a:gd name="T0" fmla="*/ 2147483647 w 212"/>
                    <a:gd name="T1" fmla="*/ 2147483647 h 177"/>
                    <a:gd name="T2" fmla="*/ 2147483647 w 212"/>
                    <a:gd name="T3" fmla="*/ 2147483647 h 177"/>
                    <a:gd name="T4" fmla="*/ 2147483647 w 212"/>
                    <a:gd name="T5" fmla="*/ 2147483647 h 177"/>
                    <a:gd name="T6" fmla="*/ 2147483647 w 212"/>
                    <a:gd name="T7" fmla="*/ 2147483647 h 177"/>
                    <a:gd name="T8" fmla="*/ 2147483647 w 212"/>
                    <a:gd name="T9" fmla="*/ 2147483647 h 177"/>
                    <a:gd name="T10" fmla="*/ 2147483647 w 212"/>
                    <a:gd name="T11" fmla="*/ 2147483647 h 177"/>
                    <a:gd name="T12" fmla="*/ 2147483647 w 212"/>
                    <a:gd name="T13" fmla="*/ 2147483647 h 177"/>
                    <a:gd name="T14" fmla="*/ 2147483647 w 212"/>
                    <a:gd name="T15" fmla="*/ 2147483647 h 177"/>
                    <a:gd name="T16" fmla="*/ 2147483647 w 212"/>
                    <a:gd name="T17" fmla="*/ 2147483647 h 177"/>
                    <a:gd name="T18" fmla="*/ 2147483647 w 212"/>
                    <a:gd name="T19" fmla="*/ 2147483647 h 177"/>
                    <a:gd name="T20" fmla="*/ 2147483647 w 212"/>
                    <a:gd name="T21" fmla="*/ 2147483647 h 177"/>
                    <a:gd name="T22" fmla="*/ 2147483647 w 212"/>
                    <a:gd name="T23" fmla="*/ 2147483647 h 177"/>
                    <a:gd name="T24" fmla="*/ 2147483647 w 212"/>
                    <a:gd name="T25" fmla="*/ 2147483647 h 177"/>
                    <a:gd name="T26" fmla="*/ 2147483647 w 212"/>
                    <a:gd name="T27" fmla="*/ 2147483647 h 177"/>
                    <a:gd name="T28" fmla="*/ 2147483647 w 212"/>
                    <a:gd name="T29" fmla="*/ 2147483647 h 177"/>
                    <a:gd name="T30" fmla="*/ 2147483647 w 212"/>
                    <a:gd name="T31" fmla="*/ 2147483647 h 177"/>
                    <a:gd name="T32" fmla="*/ 2147483647 w 212"/>
                    <a:gd name="T33" fmla="*/ 2147483647 h 177"/>
                    <a:gd name="T34" fmla="*/ 2147483647 w 212"/>
                    <a:gd name="T35" fmla="*/ 2147483647 h 177"/>
                    <a:gd name="T36" fmla="*/ 2147483647 w 212"/>
                    <a:gd name="T37" fmla="*/ 2147483647 h 177"/>
                    <a:gd name="T38" fmla="*/ 0 w 212"/>
                    <a:gd name="T39" fmla="*/ 2147483647 h 177"/>
                    <a:gd name="T40" fmla="*/ 2147483647 w 212"/>
                    <a:gd name="T41" fmla="*/ 2147483647 h 177"/>
                    <a:gd name="T42" fmla="*/ 2147483647 w 212"/>
                    <a:gd name="T43" fmla="*/ 2147483647 h 177"/>
                    <a:gd name="T44" fmla="*/ 2147483647 w 212"/>
                    <a:gd name="T45" fmla="*/ 2147483647 h 177"/>
                    <a:gd name="T46" fmla="*/ 2147483647 w 212"/>
                    <a:gd name="T47" fmla="*/ 2147483647 h 177"/>
                    <a:gd name="T48" fmla="*/ 2147483647 w 212"/>
                    <a:gd name="T49" fmla="*/ 2147483647 h 177"/>
                    <a:gd name="T50" fmla="*/ 2147483647 w 212"/>
                    <a:gd name="T51" fmla="*/ 2147483647 h 177"/>
                    <a:gd name="T52" fmla="*/ 2147483647 w 212"/>
                    <a:gd name="T53" fmla="*/ 2147483647 h 177"/>
                    <a:gd name="T54" fmla="*/ 2147483647 w 212"/>
                    <a:gd name="T55" fmla="*/ 2147483647 h 177"/>
                    <a:gd name="T56" fmla="*/ 2147483647 w 212"/>
                    <a:gd name="T57" fmla="*/ 2147483647 h 177"/>
                    <a:gd name="T58" fmla="*/ 2147483647 w 212"/>
                    <a:gd name="T59" fmla="*/ 2147483647 h 177"/>
                    <a:gd name="T60" fmla="*/ 2147483647 w 212"/>
                    <a:gd name="T61" fmla="*/ 2147483647 h 177"/>
                    <a:gd name="T62" fmla="*/ 2147483647 w 212"/>
                    <a:gd name="T63" fmla="*/ 2147483647 h 177"/>
                    <a:gd name="T64" fmla="*/ 2147483647 w 212"/>
                    <a:gd name="T65" fmla="*/ 2147483647 h 177"/>
                    <a:gd name="T66" fmla="*/ 2147483647 w 212"/>
                    <a:gd name="T67" fmla="*/ 2147483647 h 177"/>
                    <a:gd name="T68" fmla="*/ 2147483647 w 212"/>
                    <a:gd name="T69" fmla="*/ 2147483647 h 177"/>
                    <a:gd name="T70" fmla="*/ 2147483647 w 212"/>
                    <a:gd name="T71" fmla="*/ 2147483647 h 177"/>
                    <a:gd name="T72" fmla="*/ 2147483647 w 212"/>
                    <a:gd name="T73" fmla="*/ 2147483647 h 177"/>
                    <a:gd name="T74" fmla="*/ 2147483647 w 212"/>
                    <a:gd name="T75" fmla="*/ 2147483647 h 177"/>
                    <a:gd name="T76" fmla="*/ 2147483647 w 212"/>
                    <a:gd name="T77" fmla="*/ 2147483647 h 177"/>
                    <a:gd name="T78" fmla="*/ 2147483647 w 212"/>
                    <a:gd name="T79" fmla="*/ 2147483647 h 177"/>
                    <a:gd name="T80" fmla="*/ 2147483647 w 212"/>
                    <a:gd name="T81" fmla="*/ 2147483647 h 177"/>
                    <a:gd name="T82" fmla="*/ 2147483647 w 212"/>
                    <a:gd name="T83" fmla="*/ 2147483647 h 177"/>
                    <a:gd name="T84" fmla="*/ 2147483647 w 212"/>
                    <a:gd name="T85" fmla="*/ 2147483647 h 177"/>
                    <a:gd name="T86" fmla="*/ 2147483647 w 212"/>
                    <a:gd name="T87" fmla="*/ 2147483647 h 177"/>
                    <a:gd name="T88" fmla="*/ 2147483647 w 212"/>
                    <a:gd name="T89" fmla="*/ 2147483647 h 177"/>
                    <a:gd name="T90" fmla="*/ 2147483647 w 212"/>
                    <a:gd name="T91" fmla="*/ 2147483647 h 177"/>
                    <a:gd name="T92" fmla="*/ 2147483647 w 212"/>
                    <a:gd name="T93" fmla="*/ 2147483647 h 177"/>
                    <a:gd name="T94" fmla="*/ 2147483647 w 212"/>
                    <a:gd name="T95" fmla="*/ 0 h 177"/>
                    <a:gd name="T96" fmla="*/ 2147483647 w 212"/>
                    <a:gd name="T97" fmla="*/ 2147483647 h 177"/>
                    <a:gd name="T98" fmla="*/ 2147483647 w 212"/>
                    <a:gd name="T99" fmla="*/ 2147483647 h 177"/>
                    <a:gd name="T100" fmla="*/ 2147483647 w 212"/>
                    <a:gd name="T101" fmla="*/ 2147483647 h 177"/>
                    <a:gd name="T102" fmla="*/ 2147483647 w 212"/>
                    <a:gd name="T103" fmla="*/ 2147483647 h 177"/>
                    <a:gd name="T104" fmla="*/ 2147483647 w 212"/>
                    <a:gd name="T105" fmla="*/ 2147483647 h 177"/>
                    <a:gd name="T106" fmla="*/ 2147483647 w 212"/>
                    <a:gd name="T107" fmla="*/ 2147483647 h 177"/>
                    <a:gd name="T108" fmla="*/ 2147483647 w 212"/>
                    <a:gd name="T109" fmla="*/ 2147483647 h 177"/>
                    <a:gd name="T110" fmla="*/ 2147483647 w 212"/>
                    <a:gd name="T111" fmla="*/ 2147483647 h 177"/>
                    <a:gd name="T112" fmla="*/ 2147483647 w 212"/>
                    <a:gd name="T113" fmla="*/ 2147483647 h 177"/>
                    <a:gd name="T114" fmla="*/ 2147483647 w 212"/>
                    <a:gd name="T115" fmla="*/ 2147483647 h 177"/>
                    <a:gd name="T116" fmla="*/ 2147483647 w 212"/>
                    <a:gd name="T117" fmla="*/ 2147483647 h 1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2"/>
                    <a:gd name="T178" fmla="*/ 0 h 177"/>
                    <a:gd name="T179" fmla="*/ 212 w 212"/>
                    <a:gd name="T180" fmla="*/ 177 h 1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2" h="177">
                      <a:moveTo>
                        <a:pt x="195" y="12"/>
                      </a:moveTo>
                      <a:lnTo>
                        <a:pt x="195" y="12"/>
                      </a:lnTo>
                      <a:lnTo>
                        <a:pt x="198" y="18"/>
                      </a:lnTo>
                      <a:lnTo>
                        <a:pt x="199" y="21"/>
                      </a:lnTo>
                      <a:lnTo>
                        <a:pt x="201" y="24"/>
                      </a:lnTo>
                      <a:lnTo>
                        <a:pt x="199" y="35"/>
                      </a:lnTo>
                      <a:lnTo>
                        <a:pt x="199" y="39"/>
                      </a:lnTo>
                      <a:lnTo>
                        <a:pt x="202" y="45"/>
                      </a:lnTo>
                      <a:lnTo>
                        <a:pt x="204" y="50"/>
                      </a:lnTo>
                      <a:lnTo>
                        <a:pt x="206" y="56"/>
                      </a:lnTo>
                      <a:lnTo>
                        <a:pt x="208" y="62"/>
                      </a:lnTo>
                      <a:lnTo>
                        <a:pt x="212" y="67"/>
                      </a:lnTo>
                      <a:lnTo>
                        <a:pt x="212" y="69"/>
                      </a:lnTo>
                      <a:lnTo>
                        <a:pt x="212" y="70"/>
                      </a:lnTo>
                      <a:lnTo>
                        <a:pt x="208" y="74"/>
                      </a:lnTo>
                      <a:lnTo>
                        <a:pt x="204" y="75"/>
                      </a:lnTo>
                      <a:lnTo>
                        <a:pt x="201" y="77"/>
                      </a:lnTo>
                      <a:lnTo>
                        <a:pt x="198" y="80"/>
                      </a:lnTo>
                      <a:lnTo>
                        <a:pt x="190" y="89"/>
                      </a:lnTo>
                      <a:lnTo>
                        <a:pt x="183" y="99"/>
                      </a:lnTo>
                      <a:lnTo>
                        <a:pt x="175" y="106"/>
                      </a:lnTo>
                      <a:lnTo>
                        <a:pt x="166" y="113"/>
                      </a:lnTo>
                      <a:lnTo>
                        <a:pt x="157" y="120"/>
                      </a:lnTo>
                      <a:lnTo>
                        <a:pt x="147" y="126"/>
                      </a:lnTo>
                      <a:lnTo>
                        <a:pt x="127" y="136"/>
                      </a:lnTo>
                      <a:lnTo>
                        <a:pt x="114" y="139"/>
                      </a:lnTo>
                      <a:lnTo>
                        <a:pt x="105" y="142"/>
                      </a:lnTo>
                      <a:lnTo>
                        <a:pt x="99" y="147"/>
                      </a:lnTo>
                      <a:lnTo>
                        <a:pt x="95" y="152"/>
                      </a:lnTo>
                      <a:lnTo>
                        <a:pt x="93" y="157"/>
                      </a:lnTo>
                      <a:lnTo>
                        <a:pt x="93" y="161"/>
                      </a:lnTo>
                      <a:lnTo>
                        <a:pt x="91" y="165"/>
                      </a:lnTo>
                      <a:lnTo>
                        <a:pt x="93" y="174"/>
                      </a:lnTo>
                      <a:lnTo>
                        <a:pt x="0" y="177"/>
                      </a:lnTo>
                      <a:lnTo>
                        <a:pt x="5" y="168"/>
                      </a:lnTo>
                      <a:lnTo>
                        <a:pt x="10" y="163"/>
                      </a:lnTo>
                      <a:lnTo>
                        <a:pt x="13" y="161"/>
                      </a:lnTo>
                      <a:lnTo>
                        <a:pt x="16" y="160"/>
                      </a:lnTo>
                      <a:lnTo>
                        <a:pt x="28" y="159"/>
                      </a:lnTo>
                      <a:lnTo>
                        <a:pt x="34" y="158"/>
                      </a:lnTo>
                      <a:lnTo>
                        <a:pt x="38" y="155"/>
                      </a:lnTo>
                      <a:lnTo>
                        <a:pt x="42" y="152"/>
                      </a:lnTo>
                      <a:lnTo>
                        <a:pt x="46" y="148"/>
                      </a:lnTo>
                      <a:lnTo>
                        <a:pt x="52" y="138"/>
                      </a:lnTo>
                      <a:lnTo>
                        <a:pt x="57" y="128"/>
                      </a:lnTo>
                      <a:lnTo>
                        <a:pt x="61" y="125"/>
                      </a:lnTo>
                      <a:lnTo>
                        <a:pt x="65" y="122"/>
                      </a:lnTo>
                      <a:lnTo>
                        <a:pt x="66" y="117"/>
                      </a:lnTo>
                      <a:lnTo>
                        <a:pt x="67" y="115"/>
                      </a:lnTo>
                      <a:lnTo>
                        <a:pt x="67" y="113"/>
                      </a:lnTo>
                      <a:lnTo>
                        <a:pt x="66" y="110"/>
                      </a:lnTo>
                      <a:lnTo>
                        <a:pt x="62" y="108"/>
                      </a:lnTo>
                      <a:lnTo>
                        <a:pt x="60" y="104"/>
                      </a:lnTo>
                      <a:lnTo>
                        <a:pt x="57" y="101"/>
                      </a:lnTo>
                      <a:lnTo>
                        <a:pt x="57" y="96"/>
                      </a:lnTo>
                      <a:lnTo>
                        <a:pt x="57" y="93"/>
                      </a:lnTo>
                      <a:lnTo>
                        <a:pt x="58" y="87"/>
                      </a:lnTo>
                      <a:lnTo>
                        <a:pt x="61" y="82"/>
                      </a:lnTo>
                      <a:lnTo>
                        <a:pt x="65" y="77"/>
                      </a:lnTo>
                      <a:lnTo>
                        <a:pt x="68" y="72"/>
                      </a:lnTo>
                      <a:lnTo>
                        <a:pt x="74" y="68"/>
                      </a:lnTo>
                      <a:lnTo>
                        <a:pt x="76" y="64"/>
                      </a:lnTo>
                      <a:lnTo>
                        <a:pt x="79" y="61"/>
                      </a:lnTo>
                      <a:lnTo>
                        <a:pt x="80" y="57"/>
                      </a:lnTo>
                      <a:lnTo>
                        <a:pt x="82" y="55"/>
                      </a:lnTo>
                      <a:lnTo>
                        <a:pt x="90" y="49"/>
                      </a:lnTo>
                      <a:lnTo>
                        <a:pt x="99" y="44"/>
                      </a:lnTo>
                      <a:lnTo>
                        <a:pt x="105" y="38"/>
                      </a:lnTo>
                      <a:lnTo>
                        <a:pt x="113" y="31"/>
                      </a:lnTo>
                      <a:lnTo>
                        <a:pt x="121" y="26"/>
                      </a:lnTo>
                      <a:lnTo>
                        <a:pt x="123" y="24"/>
                      </a:lnTo>
                      <a:lnTo>
                        <a:pt x="126" y="20"/>
                      </a:lnTo>
                      <a:lnTo>
                        <a:pt x="128" y="17"/>
                      </a:lnTo>
                      <a:lnTo>
                        <a:pt x="129" y="12"/>
                      </a:lnTo>
                      <a:lnTo>
                        <a:pt x="129" y="2"/>
                      </a:lnTo>
                      <a:lnTo>
                        <a:pt x="129" y="1"/>
                      </a:lnTo>
                      <a:lnTo>
                        <a:pt x="131" y="0"/>
                      </a:lnTo>
                      <a:lnTo>
                        <a:pt x="133" y="0"/>
                      </a:lnTo>
                      <a:lnTo>
                        <a:pt x="134" y="1"/>
                      </a:lnTo>
                      <a:lnTo>
                        <a:pt x="138" y="5"/>
                      </a:lnTo>
                      <a:lnTo>
                        <a:pt x="143" y="8"/>
                      </a:lnTo>
                      <a:lnTo>
                        <a:pt x="150" y="11"/>
                      </a:lnTo>
                      <a:lnTo>
                        <a:pt x="155" y="12"/>
                      </a:lnTo>
                      <a:lnTo>
                        <a:pt x="161" y="13"/>
                      </a:lnTo>
                      <a:lnTo>
                        <a:pt x="168" y="13"/>
                      </a:lnTo>
                      <a:lnTo>
                        <a:pt x="173" y="12"/>
                      </a:lnTo>
                      <a:lnTo>
                        <a:pt x="178" y="8"/>
                      </a:lnTo>
                      <a:lnTo>
                        <a:pt x="179" y="7"/>
                      </a:lnTo>
                      <a:lnTo>
                        <a:pt x="180" y="7"/>
                      </a:lnTo>
                      <a:lnTo>
                        <a:pt x="180" y="10"/>
                      </a:lnTo>
                      <a:lnTo>
                        <a:pt x="181" y="12"/>
                      </a:lnTo>
                      <a:lnTo>
                        <a:pt x="184" y="13"/>
                      </a:lnTo>
                      <a:lnTo>
                        <a:pt x="187" y="14"/>
                      </a:lnTo>
                      <a:lnTo>
                        <a:pt x="192" y="14"/>
                      </a:lnTo>
                      <a:lnTo>
                        <a:pt x="195"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6" name="Freeform 674"/>
                <p:cNvSpPr>
                  <a:spLocks/>
                </p:cNvSpPr>
                <p:nvPr/>
              </p:nvSpPr>
              <p:spPr bwMode="auto">
                <a:xfrm>
                  <a:off x="4205319" y="3814794"/>
                  <a:ext cx="220500" cy="192383"/>
                </a:xfrm>
                <a:custGeom>
                  <a:avLst/>
                  <a:gdLst>
                    <a:gd name="T0" fmla="*/ 2147483647 w 161"/>
                    <a:gd name="T1" fmla="*/ 2147483647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2147483647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0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2147483647 h 130"/>
                    <a:gd name="T52" fmla="*/ 2147483647 w 161"/>
                    <a:gd name="T53" fmla="*/ 2147483647 h 130"/>
                    <a:gd name="T54" fmla="*/ 2147483647 w 161"/>
                    <a:gd name="T55" fmla="*/ 2147483647 h 130"/>
                    <a:gd name="T56" fmla="*/ 2147483647 w 161"/>
                    <a:gd name="T57" fmla="*/ 2147483647 h 130"/>
                    <a:gd name="T58" fmla="*/ 2147483647 w 161"/>
                    <a:gd name="T59" fmla="*/ 2147483647 h 130"/>
                    <a:gd name="T60" fmla="*/ 2147483647 w 161"/>
                    <a:gd name="T61" fmla="*/ 2147483647 h 130"/>
                    <a:gd name="T62" fmla="*/ 2147483647 w 161"/>
                    <a:gd name="T63" fmla="*/ 2147483647 h 130"/>
                    <a:gd name="T64" fmla="*/ 2147483647 w 161"/>
                    <a:gd name="T65" fmla="*/ 0 h 130"/>
                    <a:gd name="T66" fmla="*/ 2147483647 w 161"/>
                    <a:gd name="T67" fmla="*/ 2147483647 h 130"/>
                    <a:gd name="T68" fmla="*/ 2147483647 w 161"/>
                    <a:gd name="T69" fmla="*/ 2147483647 h 130"/>
                    <a:gd name="T70" fmla="*/ 2147483647 w 161"/>
                    <a:gd name="T71" fmla="*/ 2147483647 h 130"/>
                    <a:gd name="T72" fmla="*/ 2147483647 w 161"/>
                    <a:gd name="T73" fmla="*/ 2147483647 h 1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1"/>
                    <a:gd name="T112" fmla="*/ 0 h 130"/>
                    <a:gd name="T113" fmla="*/ 161 w 161"/>
                    <a:gd name="T114" fmla="*/ 130 h 1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1" h="130">
                      <a:moveTo>
                        <a:pt x="55" y="23"/>
                      </a:moveTo>
                      <a:lnTo>
                        <a:pt x="52" y="26"/>
                      </a:lnTo>
                      <a:lnTo>
                        <a:pt x="50" y="28"/>
                      </a:lnTo>
                      <a:lnTo>
                        <a:pt x="48" y="30"/>
                      </a:lnTo>
                      <a:lnTo>
                        <a:pt x="46" y="34"/>
                      </a:lnTo>
                      <a:lnTo>
                        <a:pt x="42" y="43"/>
                      </a:lnTo>
                      <a:lnTo>
                        <a:pt x="36" y="54"/>
                      </a:lnTo>
                      <a:lnTo>
                        <a:pt x="34" y="59"/>
                      </a:lnTo>
                      <a:lnTo>
                        <a:pt x="33" y="65"/>
                      </a:lnTo>
                      <a:lnTo>
                        <a:pt x="31" y="70"/>
                      </a:lnTo>
                      <a:lnTo>
                        <a:pt x="28" y="74"/>
                      </a:lnTo>
                      <a:lnTo>
                        <a:pt x="20" y="84"/>
                      </a:lnTo>
                      <a:lnTo>
                        <a:pt x="18" y="91"/>
                      </a:lnTo>
                      <a:lnTo>
                        <a:pt x="9" y="107"/>
                      </a:lnTo>
                      <a:lnTo>
                        <a:pt x="3" y="125"/>
                      </a:lnTo>
                      <a:lnTo>
                        <a:pt x="0" y="130"/>
                      </a:lnTo>
                      <a:lnTo>
                        <a:pt x="67" y="128"/>
                      </a:lnTo>
                      <a:lnTo>
                        <a:pt x="70" y="128"/>
                      </a:lnTo>
                      <a:lnTo>
                        <a:pt x="73" y="126"/>
                      </a:lnTo>
                      <a:lnTo>
                        <a:pt x="73" y="124"/>
                      </a:lnTo>
                      <a:lnTo>
                        <a:pt x="73" y="118"/>
                      </a:lnTo>
                      <a:lnTo>
                        <a:pt x="74" y="109"/>
                      </a:lnTo>
                      <a:lnTo>
                        <a:pt x="75" y="103"/>
                      </a:lnTo>
                      <a:lnTo>
                        <a:pt x="79" y="96"/>
                      </a:lnTo>
                      <a:lnTo>
                        <a:pt x="84" y="87"/>
                      </a:lnTo>
                      <a:lnTo>
                        <a:pt x="90" y="79"/>
                      </a:lnTo>
                      <a:lnTo>
                        <a:pt x="89" y="61"/>
                      </a:lnTo>
                      <a:lnTo>
                        <a:pt x="88" y="52"/>
                      </a:lnTo>
                      <a:lnTo>
                        <a:pt x="88" y="48"/>
                      </a:lnTo>
                      <a:lnTo>
                        <a:pt x="89" y="46"/>
                      </a:lnTo>
                      <a:lnTo>
                        <a:pt x="161" y="41"/>
                      </a:lnTo>
                      <a:lnTo>
                        <a:pt x="160" y="14"/>
                      </a:lnTo>
                      <a:lnTo>
                        <a:pt x="159" y="0"/>
                      </a:lnTo>
                      <a:lnTo>
                        <a:pt x="66" y="2"/>
                      </a:lnTo>
                      <a:lnTo>
                        <a:pt x="62" y="9"/>
                      </a:lnTo>
                      <a:lnTo>
                        <a:pt x="59" y="16"/>
                      </a:lnTo>
                      <a:lnTo>
                        <a:pt x="55" y="2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7" name="Freeform 675"/>
                <p:cNvSpPr>
                  <a:spLocks/>
                </p:cNvSpPr>
                <p:nvPr/>
              </p:nvSpPr>
              <p:spPr bwMode="auto">
                <a:xfrm>
                  <a:off x="4202356" y="3835512"/>
                  <a:ext cx="301894" cy="369968"/>
                </a:xfrm>
                <a:custGeom>
                  <a:avLst/>
                  <a:gdLst>
                    <a:gd name="T0" fmla="*/ 2147483647 w 221"/>
                    <a:gd name="T1" fmla="*/ 2147483647 h 250"/>
                    <a:gd name="T2" fmla="*/ 2147483647 w 221"/>
                    <a:gd name="T3" fmla="*/ 2147483647 h 250"/>
                    <a:gd name="T4" fmla="*/ 2147483647 w 221"/>
                    <a:gd name="T5" fmla="*/ 2147483647 h 250"/>
                    <a:gd name="T6" fmla="*/ 2147483647 w 221"/>
                    <a:gd name="T7" fmla="*/ 2147483647 h 250"/>
                    <a:gd name="T8" fmla="*/ 2147483647 w 221"/>
                    <a:gd name="T9" fmla="*/ 2147483647 h 250"/>
                    <a:gd name="T10" fmla="*/ 2147483647 w 221"/>
                    <a:gd name="T11" fmla="*/ 2147483647 h 250"/>
                    <a:gd name="T12" fmla="*/ 2147483647 w 221"/>
                    <a:gd name="T13" fmla="*/ 2147483647 h 250"/>
                    <a:gd name="T14" fmla="*/ 2147483647 w 221"/>
                    <a:gd name="T15" fmla="*/ 2147483647 h 250"/>
                    <a:gd name="T16" fmla="*/ 2147483647 w 221"/>
                    <a:gd name="T17" fmla="*/ 2147483647 h 250"/>
                    <a:gd name="T18" fmla="*/ 2147483647 w 221"/>
                    <a:gd name="T19" fmla="*/ 2147483647 h 250"/>
                    <a:gd name="T20" fmla="*/ 2147483647 w 221"/>
                    <a:gd name="T21" fmla="*/ 2147483647 h 250"/>
                    <a:gd name="T22" fmla="*/ 2147483647 w 221"/>
                    <a:gd name="T23" fmla="*/ 2147483647 h 250"/>
                    <a:gd name="T24" fmla="*/ 2147483647 w 221"/>
                    <a:gd name="T25" fmla="*/ 2147483647 h 250"/>
                    <a:gd name="T26" fmla="*/ 2147483647 w 221"/>
                    <a:gd name="T27" fmla="*/ 2147483647 h 250"/>
                    <a:gd name="T28" fmla="*/ 2147483647 w 221"/>
                    <a:gd name="T29" fmla="*/ 2147483647 h 250"/>
                    <a:gd name="T30" fmla="*/ 2147483647 w 221"/>
                    <a:gd name="T31" fmla="*/ 2147483647 h 250"/>
                    <a:gd name="T32" fmla="*/ 2147483647 w 221"/>
                    <a:gd name="T33" fmla="*/ 2147483647 h 250"/>
                    <a:gd name="T34" fmla="*/ 2147483647 w 221"/>
                    <a:gd name="T35" fmla="*/ 2147483647 h 250"/>
                    <a:gd name="T36" fmla="*/ 2147483647 w 221"/>
                    <a:gd name="T37" fmla="*/ 2147483647 h 250"/>
                    <a:gd name="T38" fmla="*/ 2147483647 w 221"/>
                    <a:gd name="T39" fmla="*/ 2147483647 h 250"/>
                    <a:gd name="T40" fmla="*/ 2147483647 w 221"/>
                    <a:gd name="T41" fmla="*/ 2147483647 h 250"/>
                    <a:gd name="T42" fmla="*/ 2147483647 w 221"/>
                    <a:gd name="T43" fmla="*/ 2147483647 h 250"/>
                    <a:gd name="T44" fmla="*/ 2147483647 w 221"/>
                    <a:gd name="T45" fmla="*/ 2147483647 h 250"/>
                    <a:gd name="T46" fmla="*/ 2147483647 w 221"/>
                    <a:gd name="T47" fmla="*/ 2147483647 h 250"/>
                    <a:gd name="T48" fmla="*/ 2147483647 w 221"/>
                    <a:gd name="T49" fmla="*/ 2147483647 h 250"/>
                    <a:gd name="T50" fmla="*/ 2147483647 w 221"/>
                    <a:gd name="T51" fmla="*/ 2147483647 h 250"/>
                    <a:gd name="T52" fmla="*/ 2147483647 w 221"/>
                    <a:gd name="T53" fmla="*/ 2147483647 h 250"/>
                    <a:gd name="T54" fmla="*/ 2147483647 w 221"/>
                    <a:gd name="T55" fmla="*/ 2147483647 h 250"/>
                    <a:gd name="T56" fmla="*/ 2147483647 w 221"/>
                    <a:gd name="T57" fmla="*/ 2147483647 h 250"/>
                    <a:gd name="T58" fmla="*/ 2147483647 w 221"/>
                    <a:gd name="T59" fmla="*/ 2147483647 h 250"/>
                    <a:gd name="T60" fmla="*/ 2147483647 w 221"/>
                    <a:gd name="T61" fmla="*/ 2147483647 h 250"/>
                    <a:gd name="T62" fmla="*/ 2147483647 w 221"/>
                    <a:gd name="T63" fmla="*/ 2147483647 h 250"/>
                    <a:gd name="T64" fmla="*/ 2147483647 w 221"/>
                    <a:gd name="T65" fmla="*/ 2147483647 h 250"/>
                    <a:gd name="T66" fmla="*/ 2147483647 w 221"/>
                    <a:gd name="T67" fmla="*/ 2147483647 h 250"/>
                    <a:gd name="T68" fmla="*/ 2147483647 w 221"/>
                    <a:gd name="T69" fmla="*/ 2147483647 h 250"/>
                    <a:gd name="T70" fmla="*/ 2147483647 w 221"/>
                    <a:gd name="T71" fmla="*/ 2147483647 h 250"/>
                    <a:gd name="T72" fmla="*/ 2147483647 w 221"/>
                    <a:gd name="T73" fmla="*/ 2147483647 h 250"/>
                    <a:gd name="T74" fmla="*/ 2147483647 w 221"/>
                    <a:gd name="T75" fmla="*/ 2147483647 h 250"/>
                    <a:gd name="T76" fmla="*/ 0 w 221"/>
                    <a:gd name="T77" fmla="*/ 2147483647 h 250"/>
                    <a:gd name="T78" fmla="*/ 0 w 221"/>
                    <a:gd name="T79" fmla="*/ 2147483647 h 2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1"/>
                    <a:gd name="T121" fmla="*/ 0 h 250"/>
                    <a:gd name="T122" fmla="*/ 221 w 221"/>
                    <a:gd name="T123" fmla="*/ 250 h 25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1" h="250">
                      <a:moveTo>
                        <a:pt x="2" y="116"/>
                      </a:moveTo>
                      <a:lnTo>
                        <a:pt x="69" y="114"/>
                      </a:lnTo>
                      <a:lnTo>
                        <a:pt x="72" y="114"/>
                      </a:lnTo>
                      <a:lnTo>
                        <a:pt x="75" y="112"/>
                      </a:lnTo>
                      <a:lnTo>
                        <a:pt x="75" y="110"/>
                      </a:lnTo>
                      <a:lnTo>
                        <a:pt x="75" y="104"/>
                      </a:lnTo>
                      <a:lnTo>
                        <a:pt x="76" y="95"/>
                      </a:lnTo>
                      <a:lnTo>
                        <a:pt x="77" y="89"/>
                      </a:lnTo>
                      <a:lnTo>
                        <a:pt x="81" y="82"/>
                      </a:lnTo>
                      <a:lnTo>
                        <a:pt x="86" y="73"/>
                      </a:lnTo>
                      <a:lnTo>
                        <a:pt x="92" y="65"/>
                      </a:lnTo>
                      <a:lnTo>
                        <a:pt x="91" y="47"/>
                      </a:lnTo>
                      <a:lnTo>
                        <a:pt x="90" y="38"/>
                      </a:lnTo>
                      <a:lnTo>
                        <a:pt x="90" y="34"/>
                      </a:lnTo>
                      <a:lnTo>
                        <a:pt x="91" y="32"/>
                      </a:lnTo>
                      <a:lnTo>
                        <a:pt x="163" y="27"/>
                      </a:lnTo>
                      <a:lnTo>
                        <a:pt x="162" y="0"/>
                      </a:lnTo>
                      <a:lnTo>
                        <a:pt x="194" y="22"/>
                      </a:lnTo>
                      <a:lnTo>
                        <a:pt x="221" y="41"/>
                      </a:lnTo>
                      <a:lnTo>
                        <a:pt x="198" y="40"/>
                      </a:lnTo>
                      <a:lnTo>
                        <a:pt x="198" y="220"/>
                      </a:lnTo>
                      <a:lnTo>
                        <a:pt x="195" y="220"/>
                      </a:lnTo>
                      <a:lnTo>
                        <a:pt x="162" y="219"/>
                      </a:lnTo>
                      <a:lnTo>
                        <a:pt x="146" y="219"/>
                      </a:lnTo>
                      <a:lnTo>
                        <a:pt x="129" y="220"/>
                      </a:lnTo>
                      <a:lnTo>
                        <a:pt x="125" y="222"/>
                      </a:lnTo>
                      <a:lnTo>
                        <a:pt x="120" y="224"/>
                      </a:lnTo>
                      <a:lnTo>
                        <a:pt x="118" y="226"/>
                      </a:lnTo>
                      <a:lnTo>
                        <a:pt x="115" y="231"/>
                      </a:lnTo>
                      <a:lnTo>
                        <a:pt x="114" y="232"/>
                      </a:lnTo>
                      <a:lnTo>
                        <a:pt x="111" y="233"/>
                      </a:lnTo>
                      <a:lnTo>
                        <a:pt x="109" y="233"/>
                      </a:lnTo>
                      <a:lnTo>
                        <a:pt x="108" y="233"/>
                      </a:lnTo>
                      <a:lnTo>
                        <a:pt x="105" y="231"/>
                      </a:lnTo>
                      <a:lnTo>
                        <a:pt x="104" y="229"/>
                      </a:lnTo>
                      <a:lnTo>
                        <a:pt x="104" y="226"/>
                      </a:lnTo>
                      <a:lnTo>
                        <a:pt x="105" y="224"/>
                      </a:lnTo>
                      <a:lnTo>
                        <a:pt x="101" y="224"/>
                      </a:lnTo>
                      <a:lnTo>
                        <a:pt x="97" y="227"/>
                      </a:lnTo>
                      <a:lnTo>
                        <a:pt x="96" y="231"/>
                      </a:lnTo>
                      <a:lnTo>
                        <a:pt x="95" y="235"/>
                      </a:lnTo>
                      <a:lnTo>
                        <a:pt x="94" y="242"/>
                      </a:lnTo>
                      <a:lnTo>
                        <a:pt x="94" y="245"/>
                      </a:lnTo>
                      <a:lnTo>
                        <a:pt x="95" y="250"/>
                      </a:lnTo>
                      <a:lnTo>
                        <a:pt x="90" y="249"/>
                      </a:lnTo>
                      <a:lnTo>
                        <a:pt x="86" y="248"/>
                      </a:lnTo>
                      <a:lnTo>
                        <a:pt x="80" y="243"/>
                      </a:lnTo>
                      <a:lnTo>
                        <a:pt x="75" y="237"/>
                      </a:lnTo>
                      <a:lnTo>
                        <a:pt x="71" y="231"/>
                      </a:lnTo>
                      <a:lnTo>
                        <a:pt x="68" y="224"/>
                      </a:lnTo>
                      <a:lnTo>
                        <a:pt x="67" y="223"/>
                      </a:lnTo>
                      <a:lnTo>
                        <a:pt x="66" y="222"/>
                      </a:lnTo>
                      <a:lnTo>
                        <a:pt x="66" y="219"/>
                      </a:lnTo>
                      <a:lnTo>
                        <a:pt x="63" y="217"/>
                      </a:lnTo>
                      <a:lnTo>
                        <a:pt x="55" y="213"/>
                      </a:lnTo>
                      <a:lnTo>
                        <a:pt x="49" y="211"/>
                      </a:lnTo>
                      <a:lnTo>
                        <a:pt x="44" y="210"/>
                      </a:lnTo>
                      <a:lnTo>
                        <a:pt x="38" y="208"/>
                      </a:lnTo>
                      <a:lnTo>
                        <a:pt x="36" y="207"/>
                      </a:lnTo>
                      <a:lnTo>
                        <a:pt x="34" y="207"/>
                      </a:lnTo>
                      <a:lnTo>
                        <a:pt x="24" y="212"/>
                      </a:lnTo>
                      <a:lnTo>
                        <a:pt x="19" y="213"/>
                      </a:lnTo>
                      <a:lnTo>
                        <a:pt x="12" y="214"/>
                      </a:lnTo>
                      <a:lnTo>
                        <a:pt x="15" y="205"/>
                      </a:lnTo>
                      <a:lnTo>
                        <a:pt x="17" y="187"/>
                      </a:lnTo>
                      <a:lnTo>
                        <a:pt x="17" y="174"/>
                      </a:lnTo>
                      <a:lnTo>
                        <a:pt x="17" y="169"/>
                      </a:lnTo>
                      <a:lnTo>
                        <a:pt x="16" y="166"/>
                      </a:lnTo>
                      <a:lnTo>
                        <a:pt x="12" y="163"/>
                      </a:lnTo>
                      <a:lnTo>
                        <a:pt x="12" y="162"/>
                      </a:lnTo>
                      <a:lnTo>
                        <a:pt x="11" y="161"/>
                      </a:lnTo>
                      <a:lnTo>
                        <a:pt x="12" y="143"/>
                      </a:lnTo>
                      <a:lnTo>
                        <a:pt x="11" y="127"/>
                      </a:lnTo>
                      <a:lnTo>
                        <a:pt x="11" y="122"/>
                      </a:lnTo>
                      <a:lnTo>
                        <a:pt x="10" y="122"/>
                      </a:lnTo>
                      <a:lnTo>
                        <a:pt x="7" y="122"/>
                      </a:lnTo>
                      <a:lnTo>
                        <a:pt x="2" y="125"/>
                      </a:lnTo>
                      <a:lnTo>
                        <a:pt x="0" y="128"/>
                      </a:lnTo>
                      <a:lnTo>
                        <a:pt x="0" y="124"/>
                      </a:lnTo>
                      <a:lnTo>
                        <a:pt x="0" y="122"/>
                      </a:lnTo>
                      <a:lnTo>
                        <a:pt x="2" y="1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8" name="Freeform 676"/>
                <p:cNvSpPr>
                  <a:spLocks/>
                </p:cNvSpPr>
                <p:nvPr/>
              </p:nvSpPr>
              <p:spPr bwMode="auto">
                <a:xfrm>
                  <a:off x="4203836" y="3811832"/>
                  <a:ext cx="220501" cy="193864"/>
                </a:xfrm>
                <a:custGeom>
                  <a:avLst/>
                  <a:gdLst>
                    <a:gd name="T0" fmla="*/ 2147483647 w 161"/>
                    <a:gd name="T1" fmla="*/ 2147483647 h 131"/>
                    <a:gd name="T2" fmla="*/ 2147483647 w 161"/>
                    <a:gd name="T3" fmla="*/ 2147483647 h 131"/>
                    <a:gd name="T4" fmla="*/ 2147483647 w 161"/>
                    <a:gd name="T5" fmla="*/ 2147483647 h 131"/>
                    <a:gd name="T6" fmla="*/ 2147483647 w 161"/>
                    <a:gd name="T7" fmla="*/ 2147483647 h 131"/>
                    <a:gd name="T8" fmla="*/ 2147483647 w 161"/>
                    <a:gd name="T9" fmla="*/ 2147483647 h 131"/>
                    <a:gd name="T10" fmla="*/ 2147483647 w 161"/>
                    <a:gd name="T11" fmla="*/ 2147483647 h 131"/>
                    <a:gd name="T12" fmla="*/ 2147483647 w 161"/>
                    <a:gd name="T13" fmla="*/ 2147483647 h 131"/>
                    <a:gd name="T14" fmla="*/ 2147483647 w 161"/>
                    <a:gd name="T15" fmla="*/ 2147483647 h 131"/>
                    <a:gd name="T16" fmla="*/ 2147483647 w 161"/>
                    <a:gd name="T17" fmla="*/ 2147483647 h 131"/>
                    <a:gd name="T18" fmla="*/ 2147483647 w 161"/>
                    <a:gd name="T19" fmla="*/ 2147483647 h 131"/>
                    <a:gd name="T20" fmla="*/ 2147483647 w 161"/>
                    <a:gd name="T21" fmla="*/ 2147483647 h 131"/>
                    <a:gd name="T22" fmla="*/ 2147483647 w 161"/>
                    <a:gd name="T23" fmla="*/ 2147483647 h 131"/>
                    <a:gd name="T24" fmla="*/ 2147483647 w 161"/>
                    <a:gd name="T25" fmla="*/ 2147483647 h 131"/>
                    <a:gd name="T26" fmla="*/ 2147483647 w 161"/>
                    <a:gd name="T27" fmla="*/ 2147483647 h 131"/>
                    <a:gd name="T28" fmla="*/ 2147483647 w 161"/>
                    <a:gd name="T29" fmla="*/ 2147483647 h 131"/>
                    <a:gd name="T30" fmla="*/ 2147483647 w 161"/>
                    <a:gd name="T31" fmla="*/ 2147483647 h 131"/>
                    <a:gd name="T32" fmla="*/ 2147483647 w 161"/>
                    <a:gd name="T33" fmla="*/ 2147483647 h 131"/>
                    <a:gd name="T34" fmla="*/ 2147483647 w 161"/>
                    <a:gd name="T35" fmla="*/ 2147483647 h 131"/>
                    <a:gd name="T36" fmla="*/ 2147483647 w 161"/>
                    <a:gd name="T37" fmla="*/ 2147483647 h 131"/>
                    <a:gd name="T38" fmla="*/ 2147483647 w 161"/>
                    <a:gd name="T39" fmla="*/ 2147483647 h 131"/>
                    <a:gd name="T40" fmla="*/ 2147483647 w 161"/>
                    <a:gd name="T41" fmla="*/ 2147483647 h 131"/>
                    <a:gd name="T42" fmla="*/ 2147483647 w 161"/>
                    <a:gd name="T43" fmla="*/ 2147483647 h 131"/>
                    <a:gd name="T44" fmla="*/ 0 w 161"/>
                    <a:gd name="T45" fmla="*/ 2147483647 h 131"/>
                    <a:gd name="T46" fmla="*/ 2147483647 w 161"/>
                    <a:gd name="T47" fmla="*/ 2147483647 h 131"/>
                    <a:gd name="T48" fmla="*/ 2147483647 w 161"/>
                    <a:gd name="T49" fmla="*/ 2147483647 h 131"/>
                    <a:gd name="T50" fmla="*/ 2147483647 w 161"/>
                    <a:gd name="T51" fmla="*/ 2147483647 h 131"/>
                    <a:gd name="T52" fmla="*/ 2147483647 w 161"/>
                    <a:gd name="T53" fmla="*/ 2147483647 h 131"/>
                    <a:gd name="T54" fmla="*/ 2147483647 w 161"/>
                    <a:gd name="T55" fmla="*/ 2147483647 h 131"/>
                    <a:gd name="T56" fmla="*/ 2147483647 w 161"/>
                    <a:gd name="T57" fmla="*/ 2147483647 h 131"/>
                    <a:gd name="T58" fmla="*/ 2147483647 w 161"/>
                    <a:gd name="T59" fmla="*/ 2147483647 h 131"/>
                    <a:gd name="T60" fmla="*/ 2147483647 w 161"/>
                    <a:gd name="T61" fmla="*/ 2147483647 h 131"/>
                    <a:gd name="T62" fmla="*/ 2147483647 w 161"/>
                    <a:gd name="T63" fmla="*/ 2147483647 h 131"/>
                    <a:gd name="T64" fmla="*/ 2147483647 w 161"/>
                    <a:gd name="T65" fmla="*/ 2147483647 h 131"/>
                    <a:gd name="T66" fmla="*/ 2147483647 w 161"/>
                    <a:gd name="T67" fmla="*/ 2147483647 h 131"/>
                    <a:gd name="T68" fmla="*/ 2147483647 w 161"/>
                    <a:gd name="T69" fmla="*/ 2147483647 h 131"/>
                    <a:gd name="T70" fmla="*/ 2147483647 w 161"/>
                    <a:gd name="T71" fmla="*/ 2147483647 h 131"/>
                    <a:gd name="T72" fmla="*/ 2147483647 w 161"/>
                    <a:gd name="T73" fmla="*/ 2147483647 h 131"/>
                    <a:gd name="T74" fmla="*/ 2147483647 w 161"/>
                    <a:gd name="T75" fmla="*/ 2147483647 h 131"/>
                    <a:gd name="T76" fmla="*/ 2147483647 w 161"/>
                    <a:gd name="T77" fmla="*/ 2147483647 h 131"/>
                    <a:gd name="T78" fmla="*/ 2147483647 w 161"/>
                    <a:gd name="T79" fmla="*/ 2147483647 h 131"/>
                    <a:gd name="T80" fmla="*/ 2147483647 w 161"/>
                    <a:gd name="T81" fmla="*/ 2147483647 h 131"/>
                    <a:gd name="T82" fmla="*/ 2147483647 w 161"/>
                    <a:gd name="T83" fmla="*/ 2147483647 h 131"/>
                    <a:gd name="T84" fmla="*/ 2147483647 w 161"/>
                    <a:gd name="T85" fmla="*/ 2147483647 h 131"/>
                    <a:gd name="T86" fmla="*/ 2147483647 w 161"/>
                    <a:gd name="T87" fmla="*/ 0 h 131"/>
                    <a:gd name="T88" fmla="*/ 2147483647 w 161"/>
                    <a:gd name="T89" fmla="*/ 2147483647 h 131"/>
                    <a:gd name="T90" fmla="*/ 2147483647 w 161"/>
                    <a:gd name="T91" fmla="*/ 2147483647 h 131"/>
                    <a:gd name="T92" fmla="*/ 2147483647 w 161"/>
                    <a:gd name="T93" fmla="*/ 2147483647 h 131"/>
                    <a:gd name="T94" fmla="*/ 2147483647 w 161"/>
                    <a:gd name="T95" fmla="*/ 2147483647 h 131"/>
                    <a:gd name="T96" fmla="*/ 2147483647 w 161"/>
                    <a:gd name="T97" fmla="*/ 2147483647 h 131"/>
                    <a:gd name="T98" fmla="*/ 2147483647 w 161"/>
                    <a:gd name="T99" fmla="*/ 2147483647 h 131"/>
                    <a:gd name="T100" fmla="*/ 2147483647 w 161"/>
                    <a:gd name="T101" fmla="*/ 2147483647 h 1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1"/>
                    <a:gd name="T154" fmla="*/ 0 h 131"/>
                    <a:gd name="T155" fmla="*/ 161 w 161"/>
                    <a:gd name="T156" fmla="*/ 131 h 1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1" h="131">
                      <a:moveTo>
                        <a:pt x="54" y="24"/>
                      </a:moveTo>
                      <a:lnTo>
                        <a:pt x="54" y="24"/>
                      </a:lnTo>
                      <a:lnTo>
                        <a:pt x="52" y="26"/>
                      </a:lnTo>
                      <a:lnTo>
                        <a:pt x="49" y="29"/>
                      </a:lnTo>
                      <a:lnTo>
                        <a:pt x="48" y="31"/>
                      </a:lnTo>
                      <a:lnTo>
                        <a:pt x="46" y="35"/>
                      </a:lnTo>
                      <a:lnTo>
                        <a:pt x="42" y="44"/>
                      </a:lnTo>
                      <a:lnTo>
                        <a:pt x="35" y="55"/>
                      </a:lnTo>
                      <a:lnTo>
                        <a:pt x="34" y="60"/>
                      </a:lnTo>
                      <a:lnTo>
                        <a:pt x="33" y="66"/>
                      </a:lnTo>
                      <a:lnTo>
                        <a:pt x="30" y="70"/>
                      </a:lnTo>
                      <a:lnTo>
                        <a:pt x="28" y="75"/>
                      </a:lnTo>
                      <a:lnTo>
                        <a:pt x="20" y="85"/>
                      </a:lnTo>
                      <a:lnTo>
                        <a:pt x="18" y="92"/>
                      </a:lnTo>
                      <a:lnTo>
                        <a:pt x="9" y="108"/>
                      </a:lnTo>
                      <a:lnTo>
                        <a:pt x="2" y="126"/>
                      </a:lnTo>
                      <a:lnTo>
                        <a:pt x="0" y="131"/>
                      </a:lnTo>
                      <a:lnTo>
                        <a:pt x="67" y="128"/>
                      </a:lnTo>
                      <a:lnTo>
                        <a:pt x="70" y="128"/>
                      </a:lnTo>
                      <a:lnTo>
                        <a:pt x="72" y="127"/>
                      </a:lnTo>
                      <a:lnTo>
                        <a:pt x="72" y="125"/>
                      </a:lnTo>
                      <a:lnTo>
                        <a:pt x="72" y="119"/>
                      </a:lnTo>
                      <a:lnTo>
                        <a:pt x="74" y="109"/>
                      </a:lnTo>
                      <a:lnTo>
                        <a:pt x="75" y="104"/>
                      </a:lnTo>
                      <a:lnTo>
                        <a:pt x="79" y="96"/>
                      </a:lnTo>
                      <a:lnTo>
                        <a:pt x="84" y="88"/>
                      </a:lnTo>
                      <a:lnTo>
                        <a:pt x="90" y="80"/>
                      </a:lnTo>
                      <a:lnTo>
                        <a:pt x="89" y="62"/>
                      </a:lnTo>
                      <a:lnTo>
                        <a:pt x="87" y="53"/>
                      </a:lnTo>
                      <a:lnTo>
                        <a:pt x="87" y="49"/>
                      </a:lnTo>
                      <a:lnTo>
                        <a:pt x="89" y="47"/>
                      </a:lnTo>
                      <a:lnTo>
                        <a:pt x="161" y="42"/>
                      </a:lnTo>
                      <a:lnTo>
                        <a:pt x="160" y="15"/>
                      </a:lnTo>
                      <a:lnTo>
                        <a:pt x="159" y="0"/>
                      </a:lnTo>
                      <a:lnTo>
                        <a:pt x="66" y="3"/>
                      </a:lnTo>
                      <a:lnTo>
                        <a:pt x="62" y="10"/>
                      </a:lnTo>
                      <a:lnTo>
                        <a:pt x="58" y="17"/>
                      </a:lnTo>
                      <a:lnTo>
                        <a:pt x="54" y="2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19" name="Freeform 677"/>
                <p:cNvSpPr>
                  <a:spLocks/>
                </p:cNvSpPr>
                <p:nvPr/>
              </p:nvSpPr>
              <p:spPr bwMode="auto">
                <a:xfrm>
                  <a:off x="4199397" y="3834030"/>
                  <a:ext cx="301894" cy="369968"/>
                </a:xfrm>
                <a:custGeom>
                  <a:avLst/>
                  <a:gdLst>
                    <a:gd name="T0" fmla="*/ 2147483647 w 221"/>
                    <a:gd name="T1" fmla="*/ 2147483647 h 250"/>
                    <a:gd name="T2" fmla="*/ 2147483647 w 221"/>
                    <a:gd name="T3" fmla="*/ 2147483647 h 250"/>
                    <a:gd name="T4" fmla="*/ 2147483647 w 221"/>
                    <a:gd name="T5" fmla="*/ 2147483647 h 250"/>
                    <a:gd name="T6" fmla="*/ 2147483647 w 221"/>
                    <a:gd name="T7" fmla="*/ 2147483647 h 250"/>
                    <a:gd name="T8" fmla="*/ 2147483647 w 221"/>
                    <a:gd name="T9" fmla="*/ 2147483647 h 250"/>
                    <a:gd name="T10" fmla="*/ 2147483647 w 221"/>
                    <a:gd name="T11" fmla="*/ 2147483647 h 250"/>
                    <a:gd name="T12" fmla="*/ 2147483647 w 221"/>
                    <a:gd name="T13" fmla="*/ 2147483647 h 250"/>
                    <a:gd name="T14" fmla="*/ 2147483647 w 221"/>
                    <a:gd name="T15" fmla="*/ 2147483647 h 250"/>
                    <a:gd name="T16" fmla="*/ 2147483647 w 221"/>
                    <a:gd name="T17" fmla="*/ 2147483647 h 250"/>
                    <a:gd name="T18" fmla="*/ 2147483647 w 221"/>
                    <a:gd name="T19" fmla="*/ 2147483647 h 250"/>
                    <a:gd name="T20" fmla="*/ 2147483647 w 221"/>
                    <a:gd name="T21" fmla="*/ 2147483647 h 250"/>
                    <a:gd name="T22" fmla="*/ 2147483647 w 221"/>
                    <a:gd name="T23" fmla="*/ 2147483647 h 250"/>
                    <a:gd name="T24" fmla="*/ 2147483647 w 221"/>
                    <a:gd name="T25" fmla="*/ 2147483647 h 250"/>
                    <a:gd name="T26" fmla="*/ 2147483647 w 221"/>
                    <a:gd name="T27" fmla="*/ 2147483647 h 250"/>
                    <a:gd name="T28" fmla="*/ 2147483647 w 221"/>
                    <a:gd name="T29" fmla="*/ 2147483647 h 250"/>
                    <a:gd name="T30" fmla="*/ 2147483647 w 221"/>
                    <a:gd name="T31" fmla="*/ 2147483647 h 250"/>
                    <a:gd name="T32" fmla="*/ 2147483647 w 221"/>
                    <a:gd name="T33" fmla="*/ 2147483647 h 250"/>
                    <a:gd name="T34" fmla="*/ 2147483647 w 221"/>
                    <a:gd name="T35" fmla="*/ 2147483647 h 250"/>
                    <a:gd name="T36" fmla="*/ 2147483647 w 221"/>
                    <a:gd name="T37" fmla="*/ 2147483647 h 250"/>
                    <a:gd name="T38" fmla="*/ 2147483647 w 221"/>
                    <a:gd name="T39" fmla="*/ 2147483647 h 250"/>
                    <a:gd name="T40" fmla="*/ 2147483647 w 221"/>
                    <a:gd name="T41" fmla="*/ 2147483647 h 250"/>
                    <a:gd name="T42" fmla="*/ 2147483647 w 221"/>
                    <a:gd name="T43" fmla="*/ 2147483647 h 250"/>
                    <a:gd name="T44" fmla="*/ 2147483647 w 221"/>
                    <a:gd name="T45" fmla="*/ 2147483647 h 250"/>
                    <a:gd name="T46" fmla="*/ 2147483647 w 221"/>
                    <a:gd name="T47" fmla="*/ 2147483647 h 250"/>
                    <a:gd name="T48" fmla="*/ 2147483647 w 221"/>
                    <a:gd name="T49" fmla="*/ 2147483647 h 250"/>
                    <a:gd name="T50" fmla="*/ 2147483647 w 221"/>
                    <a:gd name="T51" fmla="*/ 2147483647 h 250"/>
                    <a:gd name="T52" fmla="*/ 2147483647 w 221"/>
                    <a:gd name="T53" fmla="*/ 2147483647 h 250"/>
                    <a:gd name="T54" fmla="*/ 2147483647 w 221"/>
                    <a:gd name="T55" fmla="*/ 2147483647 h 250"/>
                    <a:gd name="T56" fmla="*/ 2147483647 w 221"/>
                    <a:gd name="T57" fmla="*/ 2147483647 h 250"/>
                    <a:gd name="T58" fmla="*/ 2147483647 w 221"/>
                    <a:gd name="T59" fmla="*/ 2147483647 h 250"/>
                    <a:gd name="T60" fmla="*/ 2147483647 w 221"/>
                    <a:gd name="T61" fmla="*/ 2147483647 h 250"/>
                    <a:gd name="T62" fmla="*/ 2147483647 w 221"/>
                    <a:gd name="T63" fmla="*/ 2147483647 h 250"/>
                    <a:gd name="T64" fmla="*/ 2147483647 w 221"/>
                    <a:gd name="T65" fmla="*/ 2147483647 h 250"/>
                    <a:gd name="T66" fmla="*/ 2147483647 w 221"/>
                    <a:gd name="T67" fmla="*/ 2147483647 h 250"/>
                    <a:gd name="T68" fmla="*/ 2147483647 w 221"/>
                    <a:gd name="T69" fmla="*/ 2147483647 h 250"/>
                    <a:gd name="T70" fmla="*/ 2147483647 w 221"/>
                    <a:gd name="T71" fmla="*/ 2147483647 h 250"/>
                    <a:gd name="T72" fmla="*/ 2147483647 w 221"/>
                    <a:gd name="T73" fmla="*/ 2147483647 h 250"/>
                    <a:gd name="T74" fmla="*/ 2147483647 w 221"/>
                    <a:gd name="T75" fmla="*/ 2147483647 h 250"/>
                    <a:gd name="T76" fmla="*/ 2147483647 w 221"/>
                    <a:gd name="T77" fmla="*/ 2147483647 h 250"/>
                    <a:gd name="T78" fmla="*/ 2147483647 w 221"/>
                    <a:gd name="T79" fmla="*/ 2147483647 h 250"/>
                    <a:gd name="T80" fmla="*/ 2147483647 w 221"/>
                    <a:gd name="T81" fmla="*/ 2147483647 h 250"/>
                    <a:gd name="T82" fmla="*/ 2147483647 w 221"/>
                    <a:gd name="T83" fmla="*/ 2147483647 h 250"/>
                    <a:gd name="T84" fmla="*/ 2147483647 w 221"/>
                    <a:gd name="T85" fmla="*/ 2147483647 h 250"/>
                    <a:gd name="T86" fmla="*/ 2147483647 w 221"/>
                    <a:gd name="T87" fmla="*/ 2147483647 h 250"/>
                    <a:gd name="T88" fmla="*/ 2147483647 w 221"/>
                    <a:gd name="T89" fmla="*/ 2147483647 h 250"/>
                    <a:gd name="T90" fmla="*/ 2147483647 w 221"/>
                    <a:gd name="T91" fmla="*/ 2147483647 h 250"/>
                    <a:gd name="T92" fmla="*/ 2147483647 w 221"/>
                    <a:gd name="T93" fmla="*/ 2147483647 h 250"/>
                    <a:gd name="T94" fmla="*/ 2147483647 w 221"/>
                    <a:gd name="T95" fmla="*/ 2147483647 h 250"/>
                    <a:gd name="T96" fmla="*/ 2147483647 w 221"/>
                    <a:gd name="T97" fmla="*/ 2147483647 h 250"/>
                    <a:gd name="T98" fmla="*/ 2147483647 w 221"/>
                    <a:gd name="T99" fmla="*/ 2147483647 h 250"/>
                    <a:gd name="T100" fmla="*/ 0 w 221"/>
                    <a:gd name="T101" fmla="*/ 2147483647 h 250"/>
                    <a:gd name="T102" fmla="*/ 0 w 221"/>
                    <a:gd name="T103" fmla="*/ 2147483647 h 250"/>
                    <a:gd name="T104" fmla="*/ 2147483647 w 221"/>
                    <a:gd name="T105" fmla="*/ 2147483647 h 2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1"/>
                    <a:gd name="T160" fmla="*/ 0 h 250"/>
                    <a:gd name="T161" fmla="*/ 221 w 221"/>
                    <a:gd name="T162" fmla="*/ 250 h 2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1" h="250">
                      <a:moveTo>
                        <a:pt x="3" y="116"/>
                      </a:moveTo>
                      <a:lnTo>
                        <a:pt x="70" y="113"/>
                      </a:lnTo>
                      <a:lnTo>
                        <a:pt x="73" y="113"/>
                      </a:lnTo>
                      <a:lnTo>
                        <a:pt x="75" y="112"/>
                      </a:lnTo>
                      <a:lnTo>
                        <a:pt x="75" y="110"/>
                      </a:lnTo>
                      <a:lnTo>
                        <a:pt x="75" y="104"/>
                      </a:lnTo>
                      <a:lnTo>
                        <a:pt x="77" y="94"/>
                      </a:lnTo>
                      <a:lnTo>
                        <a:pt x="78" y="89"/>
                      </a:lnTo>
                      <a:lnTo>
                        <a:pt x="82" y="81"/>
                      </a:lnTo>
                      <a:lnTo>
                        <a:pt x="87" y="73"/>
                      </a:lnTo>
                      <a:lnTo>
                        <a:pt x="93" y="65"/>
                      </a:lnTo>
                      <a:lnTo>
                        <a:pt x="92" y="47"/>
                      </a:lnTo>
                      <a:lnTo>
                        <a:pt x="90" y="38"/>
                      </a:lnTo>
                      <a:lnTo>
                        <a:pt x="90" y="34"/>
                      </a:lnTo>
                      <a:lnTo>
                        <a:pt x="92" y="32"/>
                      </a:lnTo>
                      <a:lnTo>
                        <a:pt x="164" y="27"/>
                      </a:lnTo>
                      <a:lnTo>
                        <a:pt x="163" y="0"/>
                      </a:lnTo>
                      <a:lnTo>
                        <a:pt x="195" y="22"/>
                      </a:lnTo>
                      <a:lnTo>
                        <a:pt x="221" y="41"/>
                      </a:lnTo>
                      <a:lnTo>
                        <a:pt x="198" y="40"/>
                      </a:lnTo>
                      <a:lnTo>
                        <a:pt x="198" y="220"/>
                      </a:lnTo>
                      <a:lnTo>
                        <a:pt x="196" y="220"/>
                      </a:lnTo>
                      <a:lnTo>
                        <a:pt x="163" y="219"/>
                      </a:lnTo>
                      <a:lnTo>
                        <a:pt x="146" y="219"/>
                      </a:lnTo>
                      <a:lnTo>
                        <a:pt x="130" y="220"/>
                      </a:lnTo>
                      <a:lnTo>
                        <a:pt x="126" y="221"/>
                      </a:lnTo>
                      <a:lnTo>
                        <a:pt x="121" y="224"/>
                      </a:lnTo>
                      <a:lnTo>
                        <a:pt x="118" y="226"/>
                      </a:lnTo>
                      <a:lnTo>
                        <a:pt x="116" y="231"/>
                      </a:lnTo>
                      <a:lnTo>
                        <a:pt x="115" y="232"/>
                      </a:lnTo>
                      <a:lnTo>
                        <a:pt x="112" y="233"/>
                      </a:lnTo>
                      <a:lnTo>
                        <a:pt x="110" y="233"/>
                      </a:lnTo>
                      <a:lnTo>
                        <a:pt x="108" y="233"/>
                      </a:lnTo>
                      <a:lnTo>
                        <a:pt x="106" y="231"/>
                      </a:lnTo>
                      <a:lnTo>
                        <a:pt x="104" y="228"/>
                      </a:lnTo>
                      <a:lnTo>
                        <a:pt x="104" y="226"/>
                      </a:lnTo>
                      <a:lnTo>
                        <a:pt x="106" y="224"/>
                      </a:lnTo>
                      <a:lnTo>
                        <a:pt x="102" y="224"/>
                      </a:lnTo>
                      <a:lnTo>
                        <a:pt x="98" y="227"/>
                      </a:lnTo>
                      <a:lnTo>
                        <a:pt x="97" y="231"/>
                      </a:lnTo>
                      <a:lnTo>
                        <a:pt x="96" y="234"/>
                      </a:lnTo>
                      <a:lnTo>
                        <a:pt x="94" y="241"/>
                      </a:lnTo>
                      <a:lnTo>
                        <a:pt x="94" y="245"/>
                      </a:lnTo>
                      <a:lnTo>
                        <a:pt x="96" y="250"/>
                      </a:lnTo>
                      <a:lnTo>
                        <a:pt x="90" y="249"/>
                      </a:lnTo>
                      <a:lnTo>
                        <a:pt x="87" y="247"/>
                      </a:lnTo>
                      <a:lnTo>
                        <a:pt x="80" y="243"/>
                      </a:lnTo>
                      <a:lnTo>
                        <a:pt x="75" y="237"/>
                      </a:lnTo>
                      <a:lnTo>
                        <a:pt x="71" y="231"/>
                      </a:lnTo>
                      <a:lnTo>
                        <a:pt x="69" y="224"/>
                      </a:lnTo>
                      <a:lnTo>
                        <a:pt x="68" y="223"/>
                      </a:lnTo>
                      <a:lnTo>
                        <a:pt x="66" y="221"/>
                      </a:lnTo>
                      <a:lnTo>
                        <a:pt x="66" y="219"/>
                      </a:lnTo>
                      <a:lnTo>
                        <a:pt x="64" y="217"/>
                      </a:lnTo>
                      <a:lnTo>
                        <a:pt x="56" y="213"/>
                      </a:lnTo>
                      <a:lnTo>
                        <a:pt x="50" y="211"/>
                      </a:lnTo>
                      <a:lnTo>
                        <a:pt x="45" y="209"/>
                      </a:lnTo>
                      <a:lnTo>
                        <a:pt x="38" y="208"/>
                      </a:lnTo>
                      <a:lnTo>
                        <a:pt x="37" y="207"/>
                      </a:lnTo>
                      <a:lnTo>
                        <a:pt x="35" y="207"/>
                      </a:lnTo>
                      <a:lnTo>
                        <a:pt x="24" y="212"/>
                      </a:lnTo>
                      <a:lnTo>
                        <a:pt x="19" y="213"/>
                      </a:lnTo>
                      <a:lnTo>
                        <a:pt x="13" y="214"/>
                      </a:lnTo>
                      <a:lnTo>
                        <a:pt x="16" y="205"/>
                      </a:lnTo>
                      <a:lnTo>
                        <a:pt x="18" y="187"/>
                      </a:lnTo>
                      <a:lnTo>
                        <a:pt x="18" y="174"/>
                      </a:lnTo>
                      <a:lnTo>
                        <a:pt x="18" y="169"/>
                      </a:lnTo>
                      <a:lnTo>
                        <a:pt x="17" y="166"/>
                      </a:lnTo>
                      <a:lnTo>
                        <a:pt x="13" y="163"/>
                      </a:lnTo>
                      <a:lnTo>
                        <a:pt x="13" y="162"/>
                      </a:lnTo>
                      <a:lnTo>
                        <a:pt x="12" y="161"/>
                      </a:lnTo>
                      <a:lnTo>
                        <a:pt x="13" y="143"/>
                      </a:lnTo>
                      <a:lnTo>
                        <a:pt x="12" y="126"/>
                      </a:lnTo>
                      <a:lnTo>
                        <a:pt x="12" y="122"/>
                      </a:lnTo>
                      <a:lnTo>
                        <a:pt x="10" y="122"/>
                      </a:lnTo>
                      <a:lnTo>
                        <a:pt x="8" y="122"/>
                      </a:lnTo>
                      <a:lnTo>
                        <a:pt x="3" y="125"/>
                      </a:lnTo>
                      <a:lnTo>
                        <a:pt x="0" y="128"/>
                      </a:lnTo>
                      <a:lnTo>
                        <a:pt x="0" y="124"/>
                      </a:lnTo>
                      <a:lnTo>
                        <a:pt x="0" y="122"/>
                      </a:lnTo>
                      <a:lnTo>
                        <a:pt x="3" y="1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0" name="Freeform 678"/>
                <p:cNvSpPr>
                  <a:spLocks/>
                </p:cNvSpPr>
                <p:nvPr/>
              </p:nvSpPr>
              <p:spPr bwMode="auto">
                <a:xfrm>
                  <a:off x="4187558" y="4141843"/>
                  <a:ext cx="146507" cy="136148"/>
                </a:xfrm>
                <a:custGeom>
                  <a:avLst/>
                  <a:gdLst>
                    <a:gd name="T0" fmla="*/ 2147483647 w 107"/>
                    <a:gd name="T1" fmla="*/ 2147483647 h 92"/>
                    <a:gd name="T2" fmla="*/ 2147483647 w 107"/>
                    <a:gd name="T3" fmla="*/ 2147483647 h 92"/>
                    <a:gd name="T4" fmla="*/ 2147483647 w 107"/>
                    <a:gd name="T5" fmla="*/ 2147483647 h 92"/>
                    <a:gd name="T6" fmla="*/ 2147483647 w 107"/>
                    <a:gd name="T7" fmla="*/ 2147483647 h 92"/>
                    <a:gd name="T8" fmla="*/ 2147483647 w 107"/>
                    <a:gd name="T9" fmla="*/ 2147483647 h 92"/>
                    <a:gd name="T10" fmla="*/ 2147483647 w 107"/>
                    <a:gd name="T11" fmla="*/ 2147483647 h 92"/>
                    <a:gd name="T12" fmla="*/ 2147483647 w 107"/>
                    <a:gd name="T13" fmla="*/ 0 h 92"/>
                    <a:gd name="T14" fmla="*/ 2147483647 w 107"/>
                    <a:gd name="T15" fmla="*/ 2147483647 h 92"/>
                    <a:gd name="T16" fmla="*/ 2147483647 w 107"/>
                    <a:gd name="T17" fmla="*/ 2147483647 h 92"/>
                    <a:gd name="T18" fmla="*/ 2147483647 w 107"/>
                    <a:gd name="T19" fmla="*/ 2147483647 h 92"/>
                    <a:gd name="T20" fmla="*/ 2147483647 w 107"/>
                    <a:gd name="T21" fmla="*/ 2147483647 h 92"/>
                    <a:gd name="T22" fmla="*/ 0 w 107"/>
                    <a:gd name="T23" fmla="*/ 2147483647 h 92"/>
                    <a:gd name="T24" fmla="*/ 2147483647 w 107"/>
                    <a:gd name="T25" fmla="*/ 2147483647 h 92"/>
                    <a:gd name="T26" fmla="*/ 2147483647 w 107"/>
                    <a:gd name="T27" fmla="*/ 2147483647 h 92"/>
                    <a:gd name="T28" fmla="*/ 2147483647 w 107"/>
                    <a:gd name="T29" fmla="*/ 2147483647 h 92"/>
                    <a:gd name="T30" fmla="*/ 2147483647 w 107"/>
                    <a:gd name="T31" fmla="*/ 2147483647 h 92"/>
                    <a:gd name="T32" fmla="*/ 2147483647 w 107"/>
                    <a:gd name="T33" fmla="*/ 2147483647 h 92"/>
                    <a:gd name="T34" fmla="*/ 2147483647 w 107"/>
                    <a:gd name="T35" fmla="*/ 2147483647 h 92"/>
                    <a:gd name="T36" fmla="*/ 2147483647 w 107"/>
                    <a:gd name="T37" fmla="*/ 2147483647 h 92"/>
                    <a:gd name="T38" fmla="*/ 2147483647 w 107"/>
                    <a:gd name="T39" fmla="*/ 2147483647 h 92"/>
                    <a:gd name="T40" fmla="*/ 2147483647 w 107"/>
                    <a:gd name="T41" fmla="*/ 2147483647 h 92"/>
                    <a:gd name="T42" fmla="*/ 2147483647 w 107"/>
                    <a:gd name="T43" fmla="*/ 2147483647 h 92"/>
                    <a:gd name="T44" fmla="*/ 2147483647 w 107"/>
                    <a:gd name="T45" fmla="*/ 2147483647 h 92"/>
                    <a:gd name="T46" fmla="*/ 2147483647 w 107"/>
                    <a:gd name="T47" fmla="*/ 2147483647 h 92"/>
                    <a:gd name="T48" fmla="*/ 2147483647 w 107"/>
                    <a:gd name="T49" fmla="*/ 2147483647 h 92"/>
                    <a:gd name="T50" fmla="*/ 2147483647 w 107"/>
                    <a:gd name="T51" fmla="*/ 2147483647 h 92"/>
                    <a:gd name="T52" fmla="*/ 2147483647 w 107"/>
                    <a:gd name="T53" fmla="*/ 2147483647 h 92"/>
                    <a:gd name="T54" fmla="*/ 2147483647 w 107"/>
                    <a:gd name="T55" fmla="*/ 2147483647 h 92"/>
                    <a:gd name="T56" fmla="*/ 2147483647 w 107"/>
                    <a:gd name="T57" fmla="*/ 2147483647 h 92"/>
                    <a:gd name="T58" fmla="*/ 2147483647 w 107"/>
                    <a:gd name="T59" fmla="*/ 2147483647 h 92"/>
                    <a:gd name="T60" fmla="*/ 2147483647 w 107"/>
                    <a:gd name="T61" fmla="*/ 2147483647 h 92"/>
                    <a:gd name="T62" fmla="*/ 2147483647 w 107"/>
                    <a:gd name="T63" fmla="*/ 2147483647 h 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7"/>
                    <a:gd name="T97" fmla="*/ 0 h 92"/>
                    <a:gd name="T98" fmla="*/ 107 w 107"/>
                    <a:gd name="T99" fmla="*/ 92 h 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7" h="92">
                      <a:moveTo>
                        <a:pt x="97" y="41"/>
                      </a:moveTo>
                      <a:lnTo>
                        <a:pt x="91" y="36"/>
                      </a:lnTo>
                      <a:lnTo>
                        <a:pt x="86" y="30"/>
                      </a:lnTo>
                      <a:lnTo>
                        <a:pt x="82" y="24"/>
                      </a:lnTo>
                      <a:lnTo>
                        <a:pt x="79" y="17"/>
                      </a:lnTo>
                      <a:lnTo>
                        <a:pt x="78" y="16"/>
                      </a:lnTo>
                      <a:lnTo>
                        <a:pt x="77" y="15"/>
                      </a:lnTo>
                      <a:lnTo>
                        <a:pt x="77" y="12"/>
                      </a:lnTo>
                      <a:lnTo>
                        <a:pt x="74" y="10"/>
                      </a:lnTo>
                      <a:lnTo>
                        <a:pt x="66" y="6"/>
                      </a:lnTo>
                      <a:lnTo>
                        <a:pt x="60" y="4"/>
                      </a:lnTo>
                      <a:lnTo>
                        <a:pt x="55" y="3"/>
                      </a:lnTo>
                      <a:lnTo>
                        <a:pt x="49" y="1"/>
                      </a:lnTo>
                      <a:lnTo>
                        <a:pt x="47" y="0"/>
                      </a:lnTo>
                      <a:lnTo>
                        <a:pt x="45" y="0"/>
                      </a:lnTo>
                      <a:lnTo>
                        <a:pt x="35" y="5"/>
                      </a:lnTo>
                      <a:lnTo>
                        <a:pt x="30" y="6"/>
                      </a:lnTo>
                      <a:lnTo>
                        <a:pt x="23" y="7"/>
                      </a:lnTo>
                      <a:lnTo>
                        <a:pt x="23" y="10"/>
                      </a:lnTo>
                      <a:lnTo>
                        <a:pt x="22" y="13"/>
                      </a:lnTo>
                      <a:lnTo>
                        <a:pt x="19" y="17"/>
                      </a:lnTo>
                      <a:lnTo>
                        <a:pt x="13" y="26"/>
                      </a:lnTo>
                      <a:lnTo>
                        <a:pt x="0" y="42"/>
                      </a:lnTo>
                      <a:lnTo>
                        <a:pt x="0" y="43"/>
                      </a:lnTo>
                      <a:lnTo>
                        <a:pt x="2" y="43"/>
                      </a:lnTo>
                      <a:lnTo>
                        <a:pt x="3" y="44"/>
                      </a:lnTo>
                      <a:lnTo>
                        <a:pt x="8" y="44"/>
                      </a:lnTo>
                      <a:lnTo>
                        <a:pt x="9" y="45"/>
                      </a:lnTo>
                      <a:lnTo>
                        <a:pt x="11" y="47"/>
                      </a:lnTo>
                      <a:lnTo>
                        <a:pt x="18" y="61"/>
                      </a:lnTo>
                      <a:lnTo>
                        <a:pt x="35" y="58"/>
                      </a:lnTo>
                      <a:lnTo>
                        <a:pt x="42" y="58"/>
                      </a:lnTo>
                      <a:lnTo>
                        <a:pt x="49" y="58"/>
                      </a:lnTo>
                      <a:lnTo>
                        <a:pt x="63" y="61"/>
                      </a:lnTo>
                      <a:lnTo>
                        <a:pt x="77" y="63"/>
                      </a:lnTo>
                      <a:lnTo>
                        <a:pt x="74" y="71"/>
                      </a:lnTo>
                      <a:lnTo>
                        <a:pt x="73" y="74"/>
                      </a:lnTo>
                      <a:lnTo>
                        <a:pt x="69" y="76"/>
                      </a:lnTo>
                      <a:lnTo>
                        <a:pt x="64" y="77"/>
                      </a:lnTo>
                      <a:lnTo>
                        <a:pt x="59" y="76"/>
                      </a:lnTo>
                      <a:lnTo>
                        <a:pt x="49" y="75"/>
                      </a:lnTo>
                      <a:lnTo>
                        <a:pt x="42" y="74"/>
                      </a:lnTo>
                      <a:lnTo>
                        <a:pt x="36" y="74"/>
                      </a:lnTo>
                      <a:lnTo>
                        <a:pt x="25" y="75"/>
                      </a:lnTo>
                      <a:lnTo>
                        <a:pt x="26" y="83"/>
                      </a:lnTo>
                      <a:lnTo>
                        <a:pt x="27" y="92"/>
                      </a:lnTo>
                      <a:lnTo>
                        <a:pt x="39" y="88"/>
                      </a:lnTo>
                      <a:lnTo>
                        <a:pt x="49" y="87"/>
                      </a:lnTo>
                      <a:lnTo>
                        <a:pt x="60" y="86"/>
                      </a:lnTo>
                      <a:lnTo>
                        <a:pt x="72" y="87"/>
                      </a:lnTo>
                      <a:lnTo>
                        <a:pt x="78" y="88"/>
                      </a:lnTo>
                      <a:lnTo>
                        <a:pt x="84" y="89"/>
                      </a:lnTo>
                      <a:lnTo>
                        <a:pt x="91" y="89"/>
                      </a:lnTo>
                      <a:lnTo>
                        <a:pt x="105" y="86"/>
                      </a:lnTo>
                      <a:lnTo>
                        <a:pt x="107" y="86"/>
                      </a:lnTo>
                      <a:lnTo>
                        <a:pt x="107" y="82"/>
                      </a:lnTo>
                      <a:lnTo>
                        <a:pt x="107" y="79"/>
                      </a:lnTo>
                      <a:lnTo>
                        <a:pt x="103" y="74"/>
                      </a:lnTo>
                      <a:lnTo>
                        <a:pt x="99" y="69"/>
                      </a:lnTo>
                      <a:lnTo>
                        <a:pt x="94" y="64"/>
                      </a:lnTo>
                      <a:lnTo>
                        <a:pt x="93" y="61"/>
                      </a:lnTo>
                      <a:lnTo>
                        <a:pt x="93" y="58"/>
                      </a:lnTo>
                      <a:lnTo>
                        <a:pt x="93" y="52"/>
                      </a:lnTo>
                      <a:lnTo>
                        <a:pt x="97" y="4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1" name="Freeform 679"/>
                <p:cNvSpPr>
                  <a:spLocks/>
                </p:cNvSpPr>
                <p:nvPr/>
              </p:nvSpPr>
              <p:spPr bwMode="auto">
                <a:xfrm>
                  <a:off x="4212719" y="4227675"/>
                  <a:ext cx="79913" cy="28117"/>
                </a:xfrm>
                <a:custGeom>
                  <a:avLst/>
                  <a:gdLst>
                    <a:gd name="T0" fmla="*/ 2147483647 w 59"/>
                    <a:gd name="T1" fmla="*/ 2147483647 h 19"/>
                    <a:gd name="T2" fmla="*/ 2147483647 w 59"/>
                    <a:gd name="T3" fmla="*/ 2147483647 h 19"/>
                    <a:gd name="T4" fmla="*/ 2147483647 w 59"/>
                    <a:gd name="T5" fmla="*/ 2147483647 h 19"/>
                    <a:gd name="T6" fmla="*/ 2147483647 w 59"/>
                    <a:gd name="T7" fmla="*/ 2147483647 h 19"/>
                    <a:gd name="T8" fmla="*/ 2147483647 w 59"/>
                    <a:gd name="T9" fmla="*/ 2147483647 h 19"/>
                    <a:gd name="T10" fmla="*/ 2147483647 w 59"/>
                    <a:gd name="T11" fmla="*/ 2147483647 h 19"/>
                    <a:gd name="T12" fmla="*/ 2147483647 w 59"/>
                    <a:gd name="T13" fmla="*/ 2147483647 h 19"/>
                    <a:gd name="T14" fmla="*/ 2147483647 w 59"/>
                    <a:gd name="T15" fmla="*/ 2147483647 h 19"/>
                    <a:gd name="T16" fmla="*/ 2147483647 w 59"/>
                    <a:gd name="T17" fmla="*/ 2147483647 h 19"/>
                    <a:gd name="T18" fmla="*/ 2147483647 w 59"/>
                    <a:gd name="T19" fmla="*/ 2147483647 h 19"/>
                    <a:gd name="T20" fmla="*/ 2147483647 w 59"/>
                    <a:gd name="T21" fmla="*/ 2147483647 h 19"/>
                    <a:gd name="T22" fmla="*/ 2147483647 w 59"/>
                    <a:gd name="T23" fmla="*/ 0 h 19"/>
                    <a:gd name="T24" fmla="*/ 2147483647 w 59"/>
                    <a:gd name="T25" fmla="*/ 0 h 19"/>
                    <a:gd name="T26" fmla="*/ 2147483647 w 59"/>
                    <a:gd name="T27" fmla="*/ 0 h 19"/>
                    <a:gd name="T28" fmla="*/ 0 w 59"/>
                    <a:gd name="T29" fmla="*/ 2147483647 h 19"/>
                    <a:gd name="T30" fmla="*/ 2147483647 w 59"/>
                    <a:gd name="T31" fmla="*/ 2147483647 h 19"/>
                    <a:gd name="T32" fmla="*/ 2147483647 w 59"/>
                    <a:gd name="T33" fmla="*/ 2147483647 h 19"/>
                    <a:gd name="T34" fmla="*/ 2147483647 w 59"/>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19"/>
                    <a:gd name="T56" fmla="*/ 59 w 59"/>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19">
                      <a:moveTo>
                        <a:pt x="7" y="17"/>
                      </a:moveTo>
                      <a:lnTo>
                        <a:pt x="18" y="16"/>
                      </a:lnTo>
                      <a:lnTo>
                        <a:pt x="24" y="16"/>
                      </a:lnTo>
                      <a:lnTo>
                        <a:pt x="31" y="17"/>
                      </a:lnTo>
                      <a:lnTo>
                        <a:pt x="41" y="18"/>
                      </a:lnTo>
                      <a:lnTo>
                        <a:pt x="46" y="19"/>
                      </a:lnTo>
                      <a:lnTo>
                        <a:pt x="51" y="18"/>
                      </a:lnTo>
                      <a:lnTo>
                        <a:pt x="55" y="16"/>
                      </a:lnTo>
                      <a:lnTo>
                        <a:pt x="56" y="13"/>
                      </a:lnTo>
                      <a:lnTo>
                        <a:pt x="59" y="5"/>
                      </a:lnTo>
                      <a:lnTo>
                        <a:pt x="45" y="3"/>
                      </a:lnTo>
                      <a:lnTo>
                        <a:pt x="31" y="0"/>
                      </a:lnTo>
                      <a:lnTo>
                        <a:pt x="24" y="0"/>
                      </a:lnTo>
                      <a:lnTo>
                        <a:pt x="17" y="0"/>
                      </a:lnTo>
                      <a:lnTo>
                        <a:pt x="0" y="3"/>
                      </a:lnTo>
                      <a:lnTo>
                        <a:pt x="4" y="7"/>
                      </a:lnTo>
                      <a:lnTo>
                        <a:pt x="5" y="12"/>
                      </a:lnTo>
                      <a:lnTo>
                        <a:pt x="7" y="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2" name="Freeform 680"/>
                <p:cNvSpPr>
                  <a:spLocks/>
                </p:cNvSpPr>
                <p:nvPr/>
              </p:nvSpPr>
              <p:spPr bwMode="auto">
                <a:xfrm>
                  <a:off x="4186078" y="4140366"/>
                  <a:ext cx="146508" cy="134669"/>
                </a:xfrm>
                <a:custGeom>
                  <a:avLst/>
                  <a:gdLst>
                    <a:gd name="T0" fmla="*/ 2147483647 w 107"/>
                    <a:gd name="T1" fmla="*/ 2147483647 h 91"/>
                    <a:gd name="T2" fmla="*/ 2147483647 w 107"/>
                    <a:gd name="T3" fmla="*/ 2147483647 h 91"/>
                    <a:gd name="T4" fmla="*/ 2147483647 w 107"/>
                    <a:gd name="T5" fmla="*/ 2147483647 h 91"/>
                    <a:gd name="T6" fmla="*/ 2147483647 w 107"/>
                    <a:gd name="T7" fmla="*/ 2147483647 h 91"/>
                    <a:gd name="T8" fmla="*/ 2147483647 w 107"/>
                    <a:gd name="T9" fmla="*/ 2147483647 h 91"/>
                    <a:gd name="T10" fmla="*/ 2147483647 w 107"/>
                    <a:gd name="T11" fmla="*/ 2147483647 h 91"/>
                    <a:gd name="T12" fmla="*/ 2147483647 w 107"/>
                    <a:gd name="T13" fmla="*/ 2147483647 h 91"/>
                    <a:gd name="T14" fmla="*/ 2147483647 w 107"/>
                    <a:gd name="T15" fmla="*/ 2147483647 h 91"/>
                    <a:gd name="T16" fmla="*/ 2147483647 w 107"/>
                    <a:gd name="T17" fmla="*/ 2147483647 h 91"/>
                    <a:gd name="T18" fmla="*/ 2147483647 w 107"/>
                    <a:gd name="T19" fmla="*/ 0 h 91"/>
                    <a:gd name="T20" fmla="*/ 2147483647 w 107"/>
                    <a:gd name="T21" fmla="*/ 0 h 91"/>
                    <a:gd name="T22" fmla="*/ 2147483647 w 107"/>
                    <a:gd name="T23" fmla="*/ 2147483647 h 91"/>
                    <a:gd name="T24" fmla="*/ 2147483647 w 107"/>
                    <a:gd name="T25" fmla="*/ 2147483647 h 91"/>
                    <a:gd name="T26" fmla="*/ 2147483647 w 107"/>
                    <a:gd name="T27" fmla="*/ 2147483647 h 91"/>
                    <a:gd name="T28" fmla="*/ 2147483647 w 107"/>
                    <a:gd name="T29" fmla="*/ 2147483647 h 91"/>
                    <a:gd name="T30" fmla="*/ 0 w 107"/>
                    <a:gd name="T31" fmla="*/ 2147483647 h 91"/>
                    <a:gd name="T32" fmla="*/ 0 w 107"/>
                    <a:gd name="T33" fmla="*/ 2147483647 h 91"/>
                    <a:gd name="T34" fmla="*/ 2147483647 w 107"/>
                    <a:gd name="T35" fmla="*/ 2147483647 h 91"/>
                    <a:gd name="T36" fmla="*/ 2147483647 w 107"/>
                    <a:gd name="T37" fmla="*/ 2147483647 h 91"/>
                    <a:gd name="T38" fmla="*/ 2147483647 w 107"/>
                    <a:gd name="T39" fmla="*/ 2147483647 h 91"/>
                    <a:gd name="T40" fmla="*/ 2147483647 w 107"/>
                    <a:gd name="T41" fmla="*/ 2147483647 h 91"/>
                    <a:gd name="T42" fmla="*/ 2147483647 w 107"/>
                    <a:gd name="T43" fmla="*/ 2147483647 h 91"/>
                    <a:gd name="T44" fmla="*/ 2147483647 w 107"/>
                    <a:gd name="T45" fmla="*/ 2147483647 h 91"/>
                    <a:gd name="T46" fmla="*/ 2147483647 w 107"/>
                    <a:gd name="T47" fmla="*/ 2147483647 h 91"/>
                    <a:gd name="T48" fmla="*/ 2147483647 w 107"/>
                    <a:gd name="T49" fmla="*/ 2147483647 h 91"/>
                    <a:gd name="T50" fmla="*/ 2147483647 w 107"/>
                    <a:gd name="T51" fmla="*/ 2147483647 h 91"/>
                    <a:gd name="T52" fmla="*/ 2147483647 w 107"/>
                    <a:gd name="T53" fmla="*/ 2147483647 h 91"/>
                    <a:gd name="T54" fmla="*/ 2147483647 w 107"/>
                    <a:gd name="T55" fmla="*/ 2147483647 h 91"/>
                    <a:gd name="T56" fmla="*/ 2147483647 w 107"/>
                    <a:gd name="T57" fmla="*/ 2147483647 h 91"/>
                    <a:gd name="T58" fmla="*/ 2147483647 w 107"/>
                    <a:gd name="T59" fmla="*/ 2147483647 h 91"/>
                    <a:gd name="T60" fmla="*/ 2147483647 w 107"/>
                    <a:gd name="T61" fmla="*/ 2147483647 h 91"/>
                    <a:gd name="T62" fmla="*/ 2147483647 w 107"/>
                    <a:gd name="T63" fmla="*/ 2147483647 h 91"/>
                    <a:gd name="T64" fmla="*/ 2147483647 w 107"/>
                    <a:gd name="T65" fmla="*/ 2147483647 h 91"/>
                    <a:gd name="T66" fmla="*/ 2147483647 w 107"/>
                    <a:gd name="T67" fmla="*/ 2147483647 h 91"/>
                    <a:gd name="T68" fmla="*/ 2147483647 w 107"/>
                    <a:gd name="T69" fmla="*/ 2147483647 h 91"/>
                    <a:gd name="T70" fmla="*/ 2147483647 w 107"/>
                    <a:gd name="T71" fmla="*/ 2147483647 h 91"/>
                    <a:gd name="T72" fmla="*/ 2147483647 w 107"/>
                    <a:gd name="T73" fmla="*/ 2147483647 h 91"/>
                    <a:gd name="T74" fmla="*/ 2147483647 w 107"/>
                    <a:gd name="T75" fmla="*/ 2147483647 h 91"/>
                    <a:gd name="T76" fmla="*/ 2147483647 w 107"/>
                    <a:gd name="T77" fmla="*/ 2147483647 h 91"/>
                    <a:gd name="T78" fmla="*/ 2147483647 w 107"/>
                    <a:gd name="T79" fmla="*/ 2147483647 h 91"/>
                    <a:gd name="T80" fmla="*/ 2147483647 w 107"/>
                    <a:gd name="T81" fmla="*/ 2147483647 h 91"/>
                    <a:gd name="T82" fmla="*/ 2147483647 w 107"/>
                    <a:gd name="T83" fmla="*/ 2147483647 h 91"/>
                    <a:gd name="T84" fmla="*/ 2147483647 w 107"/>
                    <a:gd name="T85" fmla="*/ 2147483647 h 91"/>
                    <a:gd name="T86" fmla="*/ 2147483647 w 107"/>
                    <a:gd name="T87" fmla="*/ 2147483647 h 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7"/>
                    <a:gd name="T133" fmla="*/ 0 h 91"/>
                    <a:gd name="T134" fmla="*/ 107 w 107"/>
                    <a:gd name="T135" fmla="*/ 91 h 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7" h="91">
                      <a:moveTo>
                        <a:pt x="97" y="40"/>
                      </a:moveTo>
                      <a:lnTo>
                        <a:pt x="97" y="40"/>
                      </a:lnTo>
                      <a:lnTo>
                        <a:pt x="90" y="36"/>
                      </a:lnTo>
                      <a:lnTo>
                        <a:pt x="85" y="30"/>
                      </a:lnTo>
                      <a:lnTo>
                        <a:pt x="81" y="24"/>
                      </a:lnTo>
                      <a:lnTo>
                        <a:pt x="79" y="17"/>
                      </a:lnTo>
                      <a:lnTo>
                        <a:pt x="78" y="16"/>
                      </a:lnTo>
                      <a:lnTo>
                        <a:pt x="76" y="14"/>
                      </a:lnTo>
                      <a:lnTo>
                        <a:pt x="76" y="12"/>
                      </a:lnTo>
                      <a:lnTo>
                        <a:pt x="74" y="10"/>
                      </a:lnTo>
                      <a:lnTo>
                        <a:pt x="66" y="6"/>
                      </a:lnTo>
                      <a:lnTo>
                        <a:pt x="60" y="4"/>
                      </a:lnTo>
                      <a:lnTo>
                        <a:pt x="55" y="2"/>
                      </a:lnTo>
                      <a:lnTo>
                        <a:pt x="48" y="1"/>
                      </a:lnTo>
                      <a:lnTo>
                        <a:pt x="47" y="0"/>
                      </a:lnTo>
                      <a:lnTo>
                        <a:pt x="45" y="0"/>
                      </a:lnTo>
                      <a:lnTo>
                        <a:pt x="34" y="5"/>
                      </a:lnTo>
                      <a:lnTo>
                        <a:pt x="29" y="6"/>
                      </a:lnTo>
                      <a:lnTo>
                        <a:pt x="23" y="7"/>
                      </a:lnTo>
                      <a:lnTo>
                        <a:pt x="23" y="10"/>
                      </a:lnTo>
                      <a:lnTo>
                        <a:pt x="22" y="13"/>
                      </a:lnTo>
                      <a:lnTo>
                        <a:pt x="19" y="17"/>
                      </a:lnTo>
                      <a:lnTo>
                        <a:pt x="13" y="26"/>
                      </a:lnTo>
                      <a:lnTo>
                        <a:pt x="0" y="42"/>
                      </a:lnTo>
                      <a:lnTo>
                        <a:pt x="0" y="43"/>
                      </a:lnTo>
                      <a:lnTo>
                        <a:pt x="1" y="43"/>
                      </a:lnTo>
                      <a:lnTo>
                        <a:pt x="3" y="44"/>
                      </a:lnTo>
                      <a:lnTo>
                        <a:pt x="8" y="44"/>
                      </a:lnTo>
                      <a:lnTo>
                        <a:pt x="9" y="45"/>
                      </a:lnTo>
                      <a:lnTo>
                        <a:pt x="10" y="46"/>
                      </a:lnTo>
                      <a:lnTo>
                        <a:pt x="18" y="61"/>
                      </a:lnTo>
                      <a:lnTo>
                        <a:pt x="34" y="58"/>
                      </a:lnTo>
                      <a:lnTo>
                        <a:pt x="42" y="58"/>
                      </a:lnTo>
                      <a:lnTo>
                        <a:pt x="48" y="58"/>
                      </a:lnTo>
                      <a:lnTo>
                        <a:pt x="62" y="61"/>
                      </a:lnTo>
                      <a:lnTo>
                        <a:pt x="76" y="63"/>
                      </a:lnTo>
                      <a:lnTo>
                        <a:pt x="74" y="71"/>
                      </a:lnTo>
                      <a:lnTo>
                        <a:pt x="73" y="74"/>
                      </a:lnTo>
                      <a:lnTo>
                        <a:pt x="69" y="76"/>
                      </a:lnTo>
                      <a:lnTo>
                        <a:pt x="64" y="77"/>
                      </a:lnTo>
                      <a:lnTo>
                        <a:pt x="59" y="76"/>
                      </a:lnTo>
                      <a:lnTo>
                        <a:pt x="48" y="75"/>
                      </a:lnTo>
                      <a:lnTo>
                        <a:pt x="42" y="74"/>
                      </a:lnTo>
                      <a:lnTo>
                        <a:pt x="36" y="74"/>
                      </a:lnTo>
                      <a:lnTo>
                        <a:pt x="24" y="75"/>
                      </a:lnTo>
                      <a:lnTo>
                        <a:pt x="26" y="83"/>
                      </a:lnTo>
                      <a:lnTo>
                        <a:pt x="27" y="91"/>
                      </a:lnTo>
                      <a:lnTo>
                        <a:pt x="38" y="88"/>
                      </a:lnTo>
                      <a:lnTo>
                        <a:pt x="48" y="87"/>
                      </a:lnTo>
                      <a:lnTo>
                        <a:pt x="60" y="85"/>
                      </a:lnTo>
                      <a:lnTo>
                        <a:pt x="71" y="87"/>
                      </a:lnTo>
                      <a:lnTo>
                        <a:pt x="78" y="88"/>
                      </a:lnTo>
                      <a:lnTo>
                        <a:pt x="84" y="89"/>
                      </a:lnTo>
                      <a:lnTo>
                        <a:pt x="90" y="89"/>
                      </a:lnTo>
                      <a:lnTo>
                        <a:pt x="104" y="85"/>
                      </a:lnTo>
                      <a:lnTo>
                        <a:pt x="107" y="85"/>
                      </a:lnTo>
                      <a:lnTo>
                        <a:pt x="107" y="82"/>
                      </a:lnTo>
                      <a:lnTo>
                        <a:pt x="107" y="78"/>
                      </a:lnTo>
                      <a:lnTo>
                        <a:pt x="103" y="74"/>
                      </a:lnTo>
                      <a:lnTo>
                        <a:pt x="99" y="69"/>
                      </a:lnTo>
                      <a:lnTo>
                        <a:pt x="94" y="64"/>
                      </a:lnTo>
                      <a:lnTo>
                        <a:pt x="93" y="61"/>
                      </a:lnTo>
                      <a:lnTo>
                        <a:pt x="93" y="58"/>
                      </a:lnTo>
                      <a:lnTo>
                        <a:pt x="93" y="52"/>
                      </a:lnTo>
                      <a:lnTo>
                        <a:pt x="97" y="4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3" name="Freeform 681"/>
                <p:cNvSpPr>
                  <a:spLocks/>
                </p:cNvSpPr>
                <p:nvPr/>
              </p:nvSpPr>
              <p:spPr bwMode="auto">
                <a:xfrm>
                  <a:off x="4211236" y="4226199"/>
                  <a:ext cx="78433" cy="28118"/>
                </a:xfrm>
                <a:custGeom>
                  <a:avLst/>
                  <a:gdLst>
                    <a:gd name="T0" fmla="*/ 2147483647 w 58"/>
                    <a:gd name="T1" fmla="*/ 2147483647 h 19"/>
                    <a:gd name="T2" fmla="*/ 2147483647 w 58"/>
                    <a:gd name="T3" fmla="*/ 2147483647 h 19"/>
                    <a:gd name="T4" fmla="*/ 2147483647 w 58"/>
                    <a:gd name="T5" fmla="*/ 2147483647 h 19"/>
                    <a:gd name="T6" fmla="*/ 2147483647 w 58"/>
                    <a:gd name="T7" fmla="*/ 2147483647 h 19"/>
                    <a:gd name="T8" fmla="*/ 2147483647 w 58"/>
                    <a:gd name="T9" fmla="*/ 2147483647 h 19"/>
                    <a:gd name="T10" fmla="*/ 2147483647 w 58"/>
                    <a:gd name="T11" fmla="*/ 2147483647 h 19"/>
                    <a:gd name="T12" fmla="*/ 2147483647 w 58"/>
                    <a:gd name="T13" fmla="*/ 2147483647 h 19"/>
                    <a:gd name="T14" fmla="*/ 2147483647 w 58"/>
                    <a:gd name="T15" fmla="*/ 2147483647 h 19"/>
                    <a:gd name="T16" fmla="*/ 2147483647 w 58"/>
                    <a:gd name="T17" fmla="*/ 2147483647 h 19"/>
                    <a:gd name="T18" fmla="*/ 2147483647 w 58"/>
                    <a:gd name="T19" fmla="*/ 2147483647 h 19"/>
                    <a:gd name="T20" fmla="*/ 2147483647 w 58"/>
                    <a:gd name="T21" fmla="*/ 2147483647 h 19"/>
                    <a:gd name="T22" fmla="*/ 2147483647 w 58"/>
                    <a:gd name="T23" fmla="*/ 2147483647 h 19"/>
                    <a:gd name="T24" fmla="*/ 2147483647 w 58"/>
                    <a:gd name="T25" fmla="*/ 2147483647 h 19"/>
                    <a:gd name="T26" fmla="*/ 2147483647 w 58"/>
                    <a:gd name="T27" fmla="*/ 2147483647 h 19"/>
                    <a:gd name="T28" fmla="*/ 2147483647 w 58"/>
                    <a:gd name="T29" fmla="*/ 2147483647 h 19"/>
                    <a:gd name="T30" fmla="*/ 2147483647 w 58"/>
                    <a:gd name="T31" fmla="*/ 0 h 19"/>
                    <a:gd name="T32" fmla="*/ 2147483647 w 58"/>
                    <a:gd name="T33" fmla="*/ 0 h 19"/>
                    <a:gd name="T34" fmla="*/ 2147483647 w 58"/>
                    <a:gd name="T35" fmla="*/ 0 h 19"/>
                    <a:gd name="T36" fmla="*/ 2147483647 w 58"/>
                    <a:gd name="T37" fmla="*/ 0 h 19"/>
                    <a:gd name="T38" fmla="*/ 0 w 58"/>
                    <a:gd name="T39" fmla="*/ 2147483647 h 19"/>
                    <a:gd name="T40" fmla="*/ 0 w 58"/>
                    <a:gd name="T41" fmla="*/ 2147483647 h 19"/>
                    <a:gd name="T42" fmla="*/ 2147483647 w 58"/>
                    <a:gd name="T43" fmla="*/ 2147483647 h 19"/>
                    <a:gd name="T44" fmla="*/ 2147483647 w 58"/>
                    <a:gd name="T45" fmla="*/ 2147483647 h 19"/>
                    <a:gd name="T46" fmla="*/ 2147483647 w 58"/>
                    <a:gd name="T47" fmla="*/ 2147483647 h 19"/>
                    <a:gd name="T48" fmla="*/ 2147483647 w 58"/>
                    <a:gd name="T49" fmla="*/ 2147483647 h 19"/>
                    <a:gd name="T50" fmla="*/ 2147483647 w 58"/>
                    <a:gd name="T51" fmla="*/ 2147483647 h 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19"/>
                    <a:gd name="T80" fmla="*/ 58 w 58"/>
                    <a:gd name="T81" fmla="*/ 19 h 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19">
                      <a:moveTo>
                        <a:pt x="6" y="17"/>
                      </a:moveTo>
                      <a:lnTo>
                        <a:pt x="6" y="17"/>
                      </a:lnTo>
                      <a:lnTo>
                        <a:pt x="18" y="16"/>
                      </a:lnTo>
                      <a:lnTo>
                        <a:pt x="24" y="16"/>
                      </a:lnTo>
                      <a:lnTo>
                        <a:pt x="30" y="17"/>
                      </a:lnTo>
                      <a:lnTo>
                        <a:pt x="41" y="18"/>
                      </a:lnTo>
                      <a:lnTo>
                        <a:pt x="46" y="19"/>
                      </a:lnTo>
                      <a:lnTo>
                        <a:pt x="51" y="18"/>
                      </a:lnTo>
                      <a:lnTo>
                        <a:pt x="55" y="16"/>
                      </a:lnTo>
                      <a:lnTo>
                        <a:pt x="56" y="13"/>
                      </a:lnTo>
                      <a:lnTo>
                        <a:pt x="58" y="5"/>
                      </a:lnTo>
                      <a:lnTo>
                        <a:pt x="44" y="3"/>
                      </a:lnTo>
                      <a:lnTo>
                        <a:pt x="30" y="0"/>
                      </a:lnTo>
                      <a:lnTo>
                        <a:pt x="24" y="0"/>
                      </a:lnTo>
                      <a:lnTo>
                        <a:pt x="16" y="0"/>
                      </a:lnTo>
                      <a:lnTo>
                        <a:pt x="0" y="3"/>
                      </a:lnTo>
                      <a:lnTo>
                        <a:pt x="4" y="7"/>
                      </a:lnTo>
                      <a:lnTo>
                        <a:pt x="5" y="12"/>
                      </a:lnTo>
                      <a:lnTo>
                        <a:pt x="6"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4" name="Freeform 682"/>
                <p:cNvSpPr>
                  <a:spLocks/>
                </p:cNvSpPr>
                <p:nvPr/>
              </p:nvSpPr>
              <p:spPr bwMode="auto">
                <a:xfrm>
                  <a:off x="4224555" y="4269116"/>
                  <a:ext cx="65114" cy="47356"/>
                </a:xfrm>
                <a:custGeom>
                  <a:avLst/>
                  <a:gdLst>
                    <a:gd name="T0" fmla="*/ 0 w 48"/>
                    <a:gd name="T1" fmla="*/ 2147483647 h 32"/>
                    <a:gd name="T2" fmla="*/ 2147483647 w 48"/>
                    <a:gd name="T3" fmla="*/ 2147483647 h 32"/>
                    <a:gd name="T4" fmla="*/ 2147483647 w 48"/>
                    <a:gd name="T5" fmla="*/ 2147483647 h 32"/>
                    <a:gd name="T6" fmla="*/ 2147483647 w 48"/>
                    <a:gd name="T7" fmla="*/ 0 h 32"/>
                    <a:gd name="T8" fmla="*/ 2147483647 w 48"/>
                    <a:gd name="T9" fmla="*/ 2147483647 h 32"/>
                    <a:gd name="T10" fmla="*/ 2147483647 w 48"/>
                    <a:gd name="T11" fmla="*/ 2147483647 h 32"/>
                    <a:gd name="T12" fmla="*/ 2147483647 w 48"/>
                    <a:gd name="T13" fmla="*/ 2147483647 h 32"/>
                    <a:gd name="T14" fmla="*/ 2147483647 w 48"/>
                    <a:gd name="T15" fmla="*/ 2147483647 h 32"/>
                    <a:gd name="T16" fmla="*/ 2147483647 w 48"/>
                    <a:gd name="T17" fmla="*/ 2147483647 h 32"/>
                    <a:gd name="T18" fmla="*/ 2147483647 w 48"/>
                    <a:gd name="T19" fmla="*/ 2147483647 h 32"/>
                    <a:gd name="T20" fmla="*/ 2147483647 w 48"/>
                    <a:gd name="T21" fmla="*/ 2147483647 h 32"/>
                    <a:gd name="T22" fmla="*/ 2147483647 w 48"/>
                    <a:gd name="T23" fmla="*/ 2147483647 h 32"/>
                    <a:gd name="T24" fmla="*/ 2147483647 w 48"/>
                    <a:gd name="T25" fmla="*/ 2147483647 h 32"/>
                    <a:gd name="T26" fmla="*/ 2147483647 w 48"/>
                    <a:gd name="T27" fmla="*/ 2147483647 h 32"/>
                    <a:gd name="T28" fmla="*/ 2147483647 w 48"/>
                    <a:gd name="T29" fmla="*/ 2147483647 h 32"/>
                    <a:gd name="T30" fmla="*/ 2147483647 w 48"/>
                    <a:gd name="T31" fmla="*/ 2147483647 h 32"/>
                    <a:gd name="T32" fmla="*/ 2147483647 w 48"/>
                    <a:gd name="T33" fmla="*/ 2147483647 h 32"/>
                    <a:gd name="T34" fmla="*/ 2147483647 w 48"/>
                    <a:gd name="T35" fmla="*/ 2147483647 h 32"/>
                    <a:gd name="T36" fmla="*/ 2147483647 w 48"/>
                    <a:gd name="T37" fmla="*/ 2147483647 h 32"/>
                    <a:gd name="T38" fmla="*/ 2147483647 w 48"/>
                    <a:gd name="T39" fmla="*/ 2147483647 h 32"/>
                    <a:gd name="T40" fmla="*/ 2147483647 w 48"/>
                    <a:gd name="T41" fmla="*/ 2147483647 h 32"/>
                    <a:gd name="T42" fmla="*/ 2147483647 w 48"/>
                    <a:gd name="T43" fmla="*/ 2147483647 h 32"/>
                    <a:gd name="T44" fmla="*/ 2147483647 w 48"/>
                    <a:gd name="T45" fmla="*/ 2147483647 h 32"/>
                    <a:gd name="T46" fmla="*/ 2147483647 w 48"/>
                    <a:gd name="T47" fmla="*/ 2147483647 h 32"/>
                    <a:gd name="T48" fmla="*/ 0 w 48"/>
                    <a:gd name="T49" fmla="*/ 214748364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8"/>
                    <a:gd name="T76" fmla="*/ 0 h 32"/>
                    <a:gd name="T77" fmla="*/ 48 w 48"/>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8" h="32">
                      <a:moveTo>
                        <a:pt x="0" y="6"/>
                      </a:moveTo>
                      <a:lnTo>
                        <a:pt x="12" y="2"/>
                      </a:lnTo>
                      <a:lnTo>
                        <a:pt x="22" y="1"/>
                      </a:lnTo>
                      <a:lnTo>
                        <a:pt x="33" y="0"/>
                      </a:lnTo>
                      <a:lnTo>
                        <a:pt x="45" y="1"/>
                      </a:lnTo>
                      <a:lnTo>
                        <a:pt x="45" y="9"/>
                      </a:lnTo>
                      <a:lnTo>
                        <a:pt x="46" y="14"/>
                      </a:lnTo>
                      <a:lnTo>
                        <a:pt x="48" y="17"/>
                      </a:lnTo>
                      <a:lnTo>
                        <a:pt x="36" y="23"/>
                      </a:lnTo>
                      <a:lnTo>
                        <a:pt x="29" y="28"/>
                      </a:lnTo>
                      <a:lnTo>
                        <a:pt x="24" y="32"/>
                      </a:lnTo>
                      <a:lnTo>
                        <a:pt x="20" y="28"/>
                      </a:lnTo>
                      <a:lnTo>
                        <a:pt x="18" y="27"/>
                      </a:lnTo>
                      <a:lnTo>
                        <a:pt x="14" y="26"/>
                      </a:lnTo>
                      <a:lnTo>
                        <a:pt x="13" y="25"/>
                      </a:lnTo>
                      <a:lnTo>
                        <a:pt x="18" y="22"/>
                      </a:lnTo>
                      <a:lnTo>
                        <a:pt x="22" y="20"/>
                      </a:lnTo>
                      <a:lnTo>
                        <a:pt x="24" y="17"/>
                      </a:lnTo>
                      <a:lnTo>
                        <a:pt x="25" y="13"/>
                      </a:lnTo>
                      <a:lnTo>
                        <a:pt x="13" y="15"/>
                      </a:lnTo>
                      <a:lnTo>
                        <a:pt x="10" y="15"/>
                      </a:lnTo>
                      <a:lnTo>
                        <a:pt x="6" y="15"/>
                      </a:lnTo>
                      <a:lnTo>
                        <a:pt x="5" y="14"/>
                      </a:lnTo>
                      <a:lnTo>
                        <a:pt x="3" y="10"/>
                      </a:lnTo>
                      <a:lnTo>
                        <a:pt x="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5" name="Freeform 683"/>
                <p:cNvSpPr>
                  <a:spLocks/>
                </p:cNvSpPr>
                <p:nvPr/>
              </p:nvSpPr>
              <p:spPr bwMode="auto">
                <a:xfrm>
                  <a:off x="4257111" y="4269116"/>
                  <a:ext cx="171665" cy="143547"/>
                </a:xfrm>
                <a:custGeom>
                  <a:avLst/>
                  <a:gdLst>
                    <a:gd name="T0" fmla="*/ 2147483647 w 126"/>
                    <a:gd name="T1" fmla="*/ 2147483647 h 97"/>
                    <a:gd name="T2" fmla="*/ 2147483647 w 126"/>
                    <a:gd name="T3" fmla="*/ 2147483647 h 97"/>
                    <a:gd name="T4" fmla="*/ 2147483647 w 126"/>
                    <a:gd name="T5" fmla="*/ 2147483647 h 97"/>
                    <a:gd name="T6" fmla="*/ 2147483647 w 126"/>
                    <a:gd name="T7" fmla="*/ 2147483647 h 97"/>
                    <a:gd name="T8" fmla="*/ 2147483647 w 126"/>
                    <a:gd name="T9" fmla="*/ 2147483647 h 97"/>
                    <a:gd name="T10" fmla="*/ 2147483647 w 126"/>
                    <a:gd name="T11" fmla="*/ 0 h 97"/>
                    <a:gd name="T12" fmla="*/ 2147483647 w 126"/>
                    <a:gd name="T13" fmla="*/ 2147483647 h 97"/>
                    <a:gd name="T14" fmla="*/ 2147483647 w 126"/>
                    <a:gd name="T15" fmla="*/ 2147483647 h 97"/>
                    <a:gd name="T16" fmla="*/ 2147483647 w 126"/>
                    <a:gd name="T17" fmla="*/ 2147483647 h 97"/>
                    <a:gd name="T18" fmla="*/ 2147483647 w 126"/>
                    <a:gd name="T19" fmla="*/ 2147483647 h 97"/>
                    <a:gd name="T20" fmla="*/ 2147483647 w 126"/>
                    <a:gd name="T21" fmla="*/ 2147483647 h 97"/>
                    <a:gd name="T22" fmla="*/ 2147483647 w 126"/>
                    <a:gd name="T23" fmla="*/ 2147483647 h 97"/>
                    <a:gd name="T24" fmla="*/ 2147483647 w 126"/>
                    <a:gd name="T25" fmla="*/ 2147483647 h 97"/>
                    <a:gd name="T26" fmla="*/ 2147483647 w 126"/>
                    <a:gd name="T27" fmla="*/ 2147483647 h 97"/>
                    <a:gd name="T28" fmla="*/ 2147483647 w 126"/>
                    <a:gd name="T29" fmla="*/ 2147483647 h 97"/>
                    <a:gd name="T30" fmla="*/ 2147483647 w 126"/>
                    <a:gd name="T31" fmla="*/ 2147483647 h 97"/>
                    <a:gd name="T32" fmla="*/ 2147483647 w 126"/>
                    <a:gd name="T33" fmla="*/ 2147483647 h 97"/>
                    <a:gd name="T34" fmla="*/ 2147483647 w 126"/>
                    <a:gd name="T35" fmla="*/ 2147483647 h 97"/>
                    <a:gd name="T36" fmla="*/ 2147483647 w 126"/>
                    <a:gd name="T37" fmla="*/ 2147483647 h 97"/>
                    <a:gd name="T38" fmla="*/ 2147483647 w 126"/>
                    <a:gd name="T39" fmla="*/ 2147483647 h 97"/>
                    <a:gd name="T40" fmla="*/ 2147483647 w 126"/>
                    <a:gd name="T41" fmla="*/ 2147483647 h 97"/>
                    <a:gd name="T42" fmla="*/ 2147483647 w 126"/>
                    <a:gd name="T43" fmla="*/ 2147483647 h 97"/>
                    <a:gd name="T44" fmla="*/ 2147483647 w 126"/>
                    <a:gd name="T45" fmla="*/ 2147483647 h 97"/>
                    <a:gd name="T46" fmla="*/ 2147483647 w 126"/>
                    <a:gd name="T47" fmla="*/ 2147483647 h 97"/>
                    <a:gd name="T48" fmla="*/ 2147483647 w 126"/>
                    <a:gd name="T49" fmla="*/ 2147483647 h 97"/>
                    <a:gd name="T50" fmla="*/ 2147483647 w 126"/>
                    <a:gd name="T51" fmla="*/ 2147483647 h 97"/>
                    <a:gd name="T52" fmla="*/ 2147483647 w 126"/>
                    <a:gd name="T53" fmla="*/ 2147483647 h 97"/>
                    <a:gd name="T54" fmla="*/ 2147483647 w 126"/>
                    <a:gd name="T55" fmla="*/ 2147483647 h 97"/>
                    <a:gd name="T56" fmla="*/ 2147483647 w 126"/>
                    <a:gd name="T57" fmla="*/ 2147483647 h 97"/>
                    <a:gd name="T58" fmla="*/ 2147483647 w 126"/>
                    <a:gd name="T59" fmla="*/ 2147483647 h 97"/>
                    <a:gd name="T60" fmla="*/ 2147483647 w 126"/>
                    <a:gd name="T61" fmla="*/ 2147483647 h 97"/>
                    <a:gd name="T62" fmla="*/ 2147483647 w 126"/>
                    <a:gd name="T63" fmla="*/ 2147483647 h 97"/>
                    <a:gd name="T64" fmla="*/ 2147483647 w 126"/>
                    <a:gd name="T65" fmla="*/ 2147483647 h 97"/>
                    <a:gd name="T66" fmla="*/ 2147483647 w 126"/>
                    <a:gd name="T67" fmla="*/ 2147483647 h 97"/>
                    <a:gd name="T68" fmla="*/ 2147483647 w 126"/>
                    <a:gd name="T69" fmla="*/ 2147483647 h 97"/>
                    <a:gd name="T70" fmla="*/ 2147483647 w 126"/>
                    <a:gd name="T71" fmla="*/ 2147483647 h 97"/>
                    <a:gd name="T72" fmla="*/ 2147483647 w 126"/>
                    <a:gd name="T73" fmla="*/ 2147483647 h 97"/>
                    <a:gd name="T74" fmla="*/ 2147483647 w 126"/>
                    <a:gd name="T75" fmla="*/ 2147483647 h 97"/>
                    <a:gd name="T76" fmla="*/ 2147483647 w 126"/>
                    <a:gd name="T77" fmla="*/ 2147483647 h 97"/>
                    <a:gd name="T78" fmla="*/ 2147483647 w 126"/>
                    <a:gd name="T79" fmla="*/ 2147483647 h 97"/>
                    <a:gd name="T80" fmla="*/ 2147483647 w 126"/>
                    <a:gd name="T81" fmla="*/ 2147483647 h 97"/>
                    <a:gd name="T82" fmla="*/ 2147483647 w 126"/>
                    <a:gd name="T83" fmla="*/ 2147483647 h 97"/>
                    <a:gd name="T84" fmla="*/ 2147483647 w 126"/>
                    <a:gd name="T85" fmla="*/ 2147483647 h 97"/>
                    <a:gd name="T86" fmla="*/ 2147483647 w 126"/>
                    <a:gd name="T87" fmla="*/ 2147483647 h 97"/>
                    <a:gd name="T88" fmla="*/ 2147483647 w 126"/>
                    <a:gd name="T89" fmla="*/ 2147483647 h 97"/>
                    <a:gd name="T90" fmla="*/ 2147483647 w 126"/>
                    <a:gd name="T91" fmla="*/ 2147483647 h 97"/>
                    <a:gd name="T92" fmla="*/ 2147483647 w 126"/>
                    <a:gd name="T93" fmla="*/ 2147483647 h 97"/>
                    <a:gd name="T94" fmla="*/ 2147483647 w 126"/>
                    <a:gd name="T95" fmla="*/ 2147483647 h 97"/>
                    <a:gd name="T96" fmla="*/ 2147483647 w 126"/>
                    <a:gd name="T97" fmla="*/ 2147483647 h 97"/>
                    <a:gd name="T98" fmla="*/ 0 w 126"/>
                    <a:gd name="T99" fmla="*/ 2147483647 h 9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6"/>
                    <a:gd name="T151" fmla="*/ 0 h 97"/>
                    <a:gd name="T152" fmla="*/ 126 w 126"/>
                    <a:gd name="T153" fmla="*/ 97 h 9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6" h="97">
                      <a:moveTo>
                        <a:pt x="0" y="32"/>
                      </a:moveTo>
                      <a:lnTo>
                        <a:pt x="5" y="28"/>
                      </a:lnTo>
                      <a:lnTo>
                        <a:pt x="12" y="23"/>
                      </a:lnTo>
                      <a:lnTo>
                        <a:pt x="24" y="17"/>
                      </a:lnTo>
                      <a:lnTo>
                        <a:pt x="22" y="14"/>
                      </a:lnTo>
                      <a:lnTo>
                        <a:pt x="21" y="9"/>
                      </a:lnTo>
                      <a:lnTo>
                        <a:pt x="21" y="1"/>
                      </a:lnTo>
                      <a:lnTo>
                        <a:pt x="27" y="2"/>
                      </a:lnTo>
                      <a:lnTo>
                        <a:pt x="33" y="3"/>
                      </a:lnTo>
                      <a:lnTo>
                        <a:pt x="40" y="3"/>
                      </a:lnTo>
                      <a:lnTo>
                        <a:pt x="54" y="0"/>
                      </a:lnTo>
                      <a:lnTo>
                        <a:pt x="56" y="0"/>
                      </a:lnTo>
                      <a:lnTo>
                        <a:pt x="60" y="1"/>
                      </a:lnTo>
                      <a:lnTo>
                        <a:pt x="64" y="2"/>
                      </a:lnTo>
                      <a:lnTo>
                        <a:pt x="70" y="3"/>
                      </a:lnTo>
                      <a:lnTo>
                        <a:pt x="75" y="2"/>
                      </a:lnTo>
                      <a:lnTo>
                        <a:pt x="80" y="2"/>
                      </a:lnTo>
                      <a:lnTo>
                        <a:pt x="87" y="3"/>
                      </a:lnTo>
                      <a:lnTo>
                        <a:pt x="89" y="3"/>
                      </a:lnTo>
                      <a:lnTo>
                        <a:pt x="92" y="6"/>
                      </a:lnTo>
                      <a:lnTo>
                        <a:pt x="94" y="9"/>
                      </a:lnTo>
                      <a:lnTo>
                        <a:pt x="95" y="13"/>
                      </a:lnTo>
                      <a:lnTo>
                        <a:pt x="95" y="15"/>
                      </a:lnTo>
                      <a:lnTo>
                        <a:pt x="94" y="20"/>
                      </a:lnTo>
                      <a:lnTo>
                        <a:pt x="93" y="22"/>
                      </a:lnTo>
                      <a:lnTo>
                        <a:pt x="94" y="25"/>
                      </a:lnTo>
                      <a:lnTo>
                        <a:pt x="97" y="27"/>
                      </a:lnTo>
                      <a:lnTo>
                        <a:pt x="101" y="28"/>
                      </a:lnTo>
                      <a:lnTo>
                        <a:pt x="101" y="29"/>
                      </a:lnTo>
                      <a:lnTo>
                        <a:pt x="101" y="30"/>
                      </a:lnTo>
                      <a:lnTo>
                        <a:pt x="98" y="34"/>
                      </a:lnTo>
                      <a:lnTo>
                        <a:pt x="94" y="36"/>
                      </a:lnTo>
                      <a:lnTo>
                        <a:pt x="93" y="38"/>
                      </a:lnTo>
                      <a:lnTo>
                        <a:pt x="92" y="39"/>
                      </a:lnTo>
                      <a:lnTo>
                        <a:pt x="92" y="42"/>
                      </a:lnTo>
                      <a:lnTo>
                        <a:pt x="94" y="44"/>
                      </a:lnTo>
                      <a:lnTo>
                        <a:pt x="98" y="45"/>
                      </a:lnTo>
                      <a:lnTo>
                        <a:pt x="103" y="46"/>
                      </a:lnTo>
                      <a:lnTo>
                        <a:pt x="113" y="46"/>
                      </a:lnTo>
                      <a:lnTo>
                        <a:pt x="115" y="46"/>
                      </a:lnTo>
                      <a:lnTo>
                        <a:pt x="116" y="47"/>
                      </a:lnTo>
                      <a:lnTo>
                        <a:pt x="117" y="52"/>
                      </a:lnTo>
                      <a:lnTo>
                        <a:pt x="118" y="55"/>
                      </a:lnTo>
                      <a:lnTo>
                        <a:pt x="120" y="57"/>
                      </a:lnTo>
                      <a:lnTo>
                        <a:pt x="121" y="57"/>
                      </a:lnTo>
                      <a:lnTo>
                        <a:pt x="123" y="57"/>
                      </a:lnTo>
                      <a:lnTo>
                        <a:pt x="126" y="58"/>
                      </a:lnTo>
                      <a:lnTo>
                        <a:pt x="123" y="66"/>
                      </a:lnTo>
                      <a:lnTo>
                        <a:pt x="122" y="76"/>
                      </a:lnTo>
                      <a:lnTo>
                        <a:pt x="121" y="76"/>
                      </a:lnTo>
                      <a:lnTo>
                        <a:pt x="120" y="76"/>
                      </a:lnTo>
                      <a:lnTo>
                        <a:pt x="117" y="76"/>
                      </a:lnTo>
                      <a:lnTo>
                        <a:pt x="116" y="76"/>
                      </a:lnTo>
                      <a:lnTo>
                        <a:pt x="115" y="77"/>
                      </a:lnTo>
                      <a:lnTo>
                        <a:pt x="115" y="79"/>
                      </a:lnTo>
                      <a:lnTo>
                        <a:pt x="116" y="81"/>
                      </a:lnTo>
                      <a:lnTo>
                        <a:pt x="118" y="85"/>
                      </a:lnTo>
                      <a:lnTo>
                        <a:pt x="118" y="86"/>
                      </a:lnTo>
                      <a:lnTo>
                        <a:pt x="117" y="87"/>
                      </a:lnTo>
                      <a:lnTo>
                        <a:pt x="115" y="91"/>
                      </a:lnTo>
                      <a:lnTo>
                        <a:pt x="109" y="93"/>
                      </a:lnTo>
                      <a:lnTo>
                        <a:pt x="109" y="91"/>
                      </a:lnTo>
                      <a:lnTo>
                        <a:pt x="107" y="91"/>
                      </a:lnTo>
                      <a:lnTo>
                        <a:pt x="104" y="93"/>
                      </a:lnTo>
                      <a:lnTo>
                        <a:pt x="102" y="96"/>
                      </a:lnTo>
                      <a:lnTo>
                        <a:pt x="101" y="97"/>
                      </a:lnTo>
                      <a:lnTo>
                        <a:pt x="98" y="97"/>
                      </a:lnTo>
                      <a:lnTo>
                        <a:pt x="95" y="96"/>
                      </a:lnTo>
                      <a:lnTo>
                        <a:pt x="94" y="93"/>
                      </a:lnTo>
                      <a:lnTo>
                        <a:pt x="93" y="89"/>
                      </a:lnTo>
                      <a:lnTo>
                        <a:pt x="93" y="83"/>
                      </a:lnTo>
                      <a:lnTo>
                        <a:pt x="93" y="80"/>
                      </a:lnTo>
                      <a:lnTo>
                        <a:pt x="92" y="79"/>
                      </a:lnTo>
                      <a:lnTo>
                        <a:pt x="89" y="79"/>
                      </a:lnTo>
                      <a:lnTo>
                        <a:pt x="87" y="80"/>
                      </a:lnTo>
                      <a:lnTo>
                        <a:pt x="83" y="81"/>
                      </a:lnTo>
                      <a:lnTo>
                        <a:pt x="80" y="81"/>
                      </a:lnTo>
                      <a:lnTo>
                        <a:pt x="79" y="81"/>
                      </a:lnTo>
                      <a:lnTo>
                        <a:pt x="76" y="79"/>
                      </a:lnTo>
                      <a:lnTo>
                        <a:pt x="70" y="66"/>
                      </a:lnTo>
                      <a:lnTo>
                        <a:pt x="68" y="60"/>
                      </a:lnTo>
                      <a:lnTo>
                        <a:pt x="62" y="55"/>
                      </a:lnTo>
                      <a:lnTo>
                        <a:pt x="59" y="52"/>
                      </a:lnTo>
                      <a:lnTo>
                        <a:pt x="55" y="51"/>
                      </a:lnTo>
                      <a:lnTo>
                        <a:pt x="51" y="49"/>
                      </a:lnTo>
                      <a:lnTo>
                        <a:pt x="46" y="51"/>
                      </a:lnTo>
                      <a:lnTo>
                        <a:pt x="42" y="52"/>
                      </a:lnTo>
                      <a:lnTo>
                        <a:pt x="37" y="53"/>
                      </a:lnTo>
                      <a:lnTo>
                        <a:pt x="31" y="59"/>
                      </a:lnTo>
                      <a:lnTo>
                        <a:pt x="26" y="58"/>
                      </a:lnTo>
                      <a:lnTo>
                        <a:pt x="21" y="55"/>
                      </a:lnTo>
                      <a:lnTo>
                        <a:pt x="17" y="51"/>
                      </a:lnTo>
                      <a:lnTo>
                        <a:pt x="15" y="49"/>
                      </a:lnTo>
                      <a:lnTo>
                        <a:pt x="13" y="48"/>
                      </a:lnTo>
                      <a:lnTo>
                        <a:pt x="9" y="46"/>
                      </a:lnTo>
                      <a:lnTo>
                        <a:pt x="7" y="45"/>
                      </a:lnTo>
                      <a:lnTo>
                        <a:pt x="4" y="40"/>
                      </a:lnTo>
                      <a:lnTo>
                        <a:pt x="4" y="36"/>
                      </a:lnTo>
                      <a:lnTo>
                        <a:pt x="1" y="33"/>
                      </a:lnTo>
                      <a:lnTo>
                        <a:pt x="0"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6" name="Freeform 684"/>
                <p:cNvSpPr>
                  <a:spLocks/>
                </p:cNvSpPr>
                <p:nvPr/>
              </p:nvSpPr>
              <p:spPr bwMode="auto">
                <a:xfrm>
                  <a:off x="4223074" y="4266153"/>
                  <a:ext cx="65114" cy="47356"/>
                </a:xfrm>
                <a:custGeom>
                  <a:avLst/>
                  <a:gdLst>
                    <a:gd name="T0" fmla="*/ 0 w 48"/>
                    <a:gd name="T1" fmla="*/ 2147483647 h 32"/>
                    <a:gd name="T2" fmla="*/ 0 w 48"/>
                    <a:gd name="T3" fmla="*/ 2147483647 h 32"/>
                    <a:gd name="T4" fmla="*/ 2147483647 w 48"/>
                    <a:gd name="T5" fmla="*/ 2147483647 h 32"/>
                    <a:gd name="T6" fmla="*/ 2147483647 w 48"/>
                    <a:gd name="T7" fmla="*/ 2147483647 h 32"/>
                    <a:gd name="T8" fmla="*/ 2147483647 w 48"/>
                    <a:gd name="T9" fmla="*/ 0 h 32"/>
                    <a:gd name="T10" fmla="*/ 2147483647 w 48"/>
                    <a:gd name="T11" fmla="*/ 2147483647 h 32"/>
                    <a:gd name="T12" fmla="*/ 2147483647 w 48"/>
                    <a:gd name="T13" fmla="*/ 2147483647 h 32"/>
                    <a:gd name="T14" fmla="*/ 2147483647 w 48"/>
                    <a:gd name="T15" fmla="*/ 2147483647 h 32"/>
                    <a:gd name="T16" fmla="*/ 2147483647 w 48"/>
                    <a:gd name="T17" fmla="*/ 2147483647 h 32"/>
                    <a:gd name="T18" fmla="*/ 2147483647 w 48"/>
                    <a:gd name="T19" fmla="*/ 2147483647 h 32"/>
                    <a:gd name="T20" fmla="*/ 2147483647 w 48"/>
                    <a:gd name="T21" fmla="*/ 2147483647 h 32"/>
                    <a:gd name="T22" fmla="*/ 2147483647 w 48"/>
                    <a:gd name="T23" fmla="*/ 2147483647 h 32"/>
                    <a:gd name="T24" fmla="*/ 2147483647 w 48"/>
                    <a:gd name="T25" fmla="*/ 2147483647 h 32"/>
                    <a:gd name="T26" fmla="*/ 2147483647 w 48"/>
                    <a:gd name="T27" fmla="*/ 2147483647 h 32"/>
                    <a:gd name="T28" fmla="*/ 2147483647 w 48"/>
                    <a:gd name="T29" fmla="*/ 2147483647 h 32"/>
                    <a:gd name="T30" fmla="*/ 2147483647 w 48"/>
                    <a:gd name="T31" fmla="*/ 2147483647 h 32"/>
                    <a:gd name="T32" fmla="*/ 2147483647 w 48"/>
                    <a:gd name="T33" fmla="*/ 2147483647 h 32"/>
                    <a:gd name="T34" fmla="*/ 2147483647 w 48"/>
                    <a:gd name="T35" fmla="*/ 2147483647 h 32"/>
                    <a:gd name="T36" fmla="*/ 2147483647 w 48"/>
                    <a:gd name="T37" fmla="*/ 2147483647 h 32"/>
                    <a:gd name="T38" fmla="*/ 2147483647 w 48"/>
                    <a:gd name="T39" fmla="*/ 2147483647 h 32"/>
                    <a:gd name="T40" fmla="*/ 2147483647 w 48"/>
                    <a:gd name="T41" fmla="*/ 2147483647 h 32"/>
                    <a:gd name="T42" fmla="*/ 2147483647 w 48"/>
                    <a:gd name="T43" fmla="*/ 2147483647 h 32"/>
                    <a:gd name="T44" fmla="*/ 2147483647 w 48"/>
                    <a:gd name="T45" fmla="*/ 2147483647 h 32"/>
                    <a:gd name="T46" fmla="*/ 2147483647 w 48"/>
                    <a:gd name="T47" fmla="*/ 2147483647 h 32"/>
                    <a:gd name="T48" fmla="*/ 2147483647 w 48"/>
                    <a:gd name="T49" fmla="*/ 2147483647 h 32"/>
                    <a:gd name="T50" fmla="*/ 2147483647 w 48"/>
                    <a:gd name="T51" fmla="*/ 2147483647 h 32"/>
                    <a:gd name="T52" fmla="*/ 2147483647 w 48"/>
                    <a:gd name="T53" fmla="*/ 2147483647 h 32"/>
                    <a:gd name="T54" fmla="*/ 2147483647 w 48"/>
                    <a:gd name="T55" fmla="*/ 2147483647 h 32"/>
                    <a:gd name="T56" fmla="*/ 2147483647 w 48"/>
                    <a:gd name="T57" fmla="*/ 2147483647 h 32"/>
                    <a:gd name="T58" fmla="*/ 2147483647 w 48"/>
                    <a:gd name="T59" fmla="*/ 2147483647 h 32"/>
                    <a:gd name="T60" fmla="*/ 2147483647 w 48"/>
                    <a:gd name="T61" fmla="*/ 2147483647 h 32"/>
                    <a:gd name="T62" fmla="*/ 2147483647 w 48"/>
                    <a:gd name="T63" fmla="*/ 2147483647 h 32"/>
                    <a:gd name="T64" fmla="*/ 0 w 48"/>
                    <a:gd name="T65" fmla="*/ 2147483647 h 32"/>
                    <a:gd name="T66" fmla="*/ 0 w 48"/>
                    <a:gd name="T67" fmla="*/ 2147483647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
                    <a:gd name="T103" fmla="*/ 0 h 32"/>
                    <a:gd name="T104" fmla="*/ 48 w 48"/>
                    <a:gd name="T105" fmla="*/ 32 h 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 h="32">
                      <a:moveTo>
                        <a:pt x="0" y="6"/>
                      </a:moveTo>
                      <a:lnTo>
                        <a:pt x="0" y="6"/>
                      </a:lnTo>
                      <a:lnTo>
                        <a:pt x="11" y="3"/>
                      </a:lnTo>
                      <a:lnTo>
                        <a:pt x="21" y="2"/>
                      </a:lnTo>
                      <a:lnTo>
                        <a:pt x="33" y="0"/>
                      </a:lnTo>
                      <a:lnTo>
                        <a:pt x="44" y="2"/>
                      </a:lnTo>
                      <a:lnTo>
                        <a:pt x="44" y="10"/>
                      </a:lnTo>
                      <a:lnTo>
                        <a:pt x="46" y="15"/>
                      </a:lnTo>
                      <a:lnTo>
                        <a:pt x="48" y="18"/>
                      </a:lnTo>
                      <a:lnTo>
                        <a:pt x="35" y="24"/>
                      </a:lnTo>
                      <a:lnTo>
                        <a:pt x="29" y="29"/>
                      </a:lnTo>
                      <a:lnTo>
                        <a:pt x="24" y="32"/>
                      </a:lnTo>
                      <a:lnTo>
                        <a:pt x="20" y="29"/>
                      </a:lnTo>
                      <a:lnTo>
                        <a:pt x="18" y="28"/>
                      </a:lnTo>
                      <a:lnTo>
                        <a:pt x="14" y="27"/>
                      </a:lnTo>
                      <a:lnTo>
                        <a:pt x="13" y="25"/>
                      </a:lnTo>
                      <a:lnTo>
                        <a:pt x="18" y="23"/>
                      </a:lnTo>
                      <a:lnTo>
                        <a:pt x="21" y="21"/>
                      </a:lnTo>
                      <a:lnTo>
                        <a:pt x="24" y="18"/>
                      </a:lnTo>
                      <a:lnTo>
                        <a:pt x="25" y="14"/>
                      </a:lnTo>
                      <a:lnTo>
                        <a:pt x="13" y="16"/>
                      </a:lnTo>
                      <a:lnTo>
                        <a:pt x="10" y="16"/>
                      </a:lnTo>
                      <a:lnTo>
                        <a:pt x="6" y="16"/>
                      </a:lnTo>
                      <a:lnTo>
                        <a:pt x="5" y="15"/>
                      </a:lnTo>
                      <a:lnTo>
                        <a:pt x="2" y="11"/>
                      </a:lnTo>
                      <a:lnTo>
                        <a:pt x="0"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7" name="Freeform 686"/>
                <p:cNvSpPr>
                  <a:spLocks/>
                </p:cNvSpPr>
                <p:nvPr/>
              </p:nvSpPr>
              <p:spPr bwMode="auto">
                <a:xfrm>
                  <a:off x="4294111" y="4341625"/>
                  <a:ext cx="72513" cy="88792"/>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2147483647 h 60"/>
                    <a:gd name="T10" fmla="*/ 2147483647 w 53"/>
                    <a:gd name="T11" fmla="*/ 2147483647 h 60"/>
                    <a:gd name="T12" fmla="*/ 2147483647 w 53"/>
                    <a:gd name="T13" fmla="*/ 2147483647 h 60"/>
                    <a:gd name="T14" fmla="*/ 2147483647 w 53"/>
                    <a:gd name="T15" fmla="*/ 2147483647 h 60"/>
                    <a:gd name="T16" fmla="*/ 2147483647 w 53"/>
                    <a:gd name="T17" fmla="*/ 0 h 60"/>
                    <a:gd name="T18" fmla="*/ 2147483647 w 53"/>
                    <a:gd name="T19" fmla="*/ 2147483647 h 60"/>
                    <a:gd name="T20" fmla="*/ 2147483647 w 53"/>
                    <a:gd name="T21" fmla="*/ 2147483647 h 60"/>
                    <a:gd name="T22" fmla="*/ 2147483647 w 53"/>
                    <a:gd name="T23" fmla="*/ 2147483647 h 60"/>
                    <a:gd name="T24" fmla="*/ 2147483647 w 53"/>
                    <a:gd name="T25" fmla="*/ 2147483647 h 60"/>
                    <a:gd name="T26" fmla="*/ 2147483647 w 53"/>
                    <a:gd name="T27" fmla="*/ 2147483647 h 60"/>
                    <a:gd name="T28" fmla="*/ 2147483647 w 53"/>
                    <a:gd name="T29" fmla="*/ 2147483647 h 60"/>
                    <a:gd name="T30" fmla="*/ 2147483647 w 53"/>
                    <a:gd name="T31" fmla="*/ 2147483647 h 60"/>
                    <a:gd name="T32" fmla="*/ 2147483647 w 53"/>
                    <a:gd name="T33" fmla="*/ 2147483647 h 60"/>
                    <a:gd name="T34" fmla="*/ 2147483647 w 53"/>
                    <a:gd name="T35" fmla="*/ 2147483647 h 60"/>
                    <a:gd name="T36" fmla="*/ 0 w 53"/>
                    <a:gd name="T37" fmla="*/ 2147483647 h 60"/>
                    <a:gd name="T38" fmla="*/ 2147483647 w 53"/>
                    <a:gd name="T39" fmla="*/ 2147483647 h 60"/>
                    <a:gd name="T40" fmla="*/ 2147483647 w 53"/>
                    <a:gd name="T41" fmla="*/ 2147483647 h 60"/>
                    <a:gd name="T42" fmla="*/ 2147483647 w 53"/>
                    <a:gd name="T43" fmla="*/ 2147483647 h 60"/>
                    <a:gd name="T44" fmla="*/ 2147483647 w 53"/>
                    <a:gd name="T45" fmla="*/ 2147483647 h 60"/>
                    <a:gd name="T46" fmla="*/ 2147483647 w 53"/>
                    <a:gd name="T47" fmla="*/ 2147483647 h 60"/>
                    <a:gd name="T48" fmla="*/ 2147483647 w 53"/>
                    <a:gd name="T49" fmla="*/ 2147483647 h 60"/>
                    <a:gd name="T50" fmla="*/ 2147483647 w 53"/>
                    <a:gd name="T51" fmla="*/ 2147483647 h 60"/>
                    <a:gd name="T52" fmla="*/ 2147483647 w 53"/>
                    <a:gd name="T53" fmla="*/ 2147483647 h 60"/>
                    <a:gd name="T54" fmla="*/ 2147483647 w 53"/>
                    <a:gd name="T55" fmla="*/ 2147483647 h 60"/>
                    <a:gd name="T56" fmla="*/ 2147483647 w 53"/>
                    <a:gd name="T57" fmla="*/ 2147483647 h 60"/>
                    <a:gd name="T58" fmla="*/ 2147483647 w 53"/>
                    <a:gd name="T59" fmla="*/ 2147483647 h 60"/>
                    <a:gd name="T60" fmla="*/ 2147483647 w 53"/>
                    <a:gd name="T61" fmla="*/ 2147483647 h 60"/>
                    <a:gd name="T62" fmla="*/ 2147483647 w 53"/>
                    <a:gd name="T63" fmla="*/ 2147483647 h 60"/>
                    <a:gd name="T64" fmla="*/ 2147483647 w 53"/>
                    <a:gd name="T65" fmla="*/ 214748364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60"/>
                    <a:gd name="T101" fmla="*/ 53 w 53"/>
                    <a:gd name="T102" fmla="*/ 60 h 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60">
                      <a:moveTo>
                        <a:pt x="53" y="32"/>
                      </a:moveTo>
                      <a:lnTo>
                        <a:pt x="52" y="32"/>
                      </a:lnTo>
                      <a:lnTo>
                        <a:pt x="49" y="30"/>
                      </a:lnTo>
                      <a:lnTo>
                        <a:pt x="43" y="17"/>
                      </a:lnTo>
                      <a:lnTo>
                        <a:pt x="41" y="11"/>
                      </a:lnTo>
                      <a:lnTo>
                        <a:pt x="35" y="6"/>
                      </a:lnTo>
                      <a:lnTo>
                        <a:pt x="32" y="3"/>
                      </a:lnTo>
                      <a:lnTo>
                        <a:pt x="28" y="2"/>
                      </a:lnTo>
                      <a:lnTo>
                        <a:pt x="24" y="0"/>
                      </a:lnTo>
                      <a:lnTo>
                        <a:pt x="19" y="2"/>
                      </a:lnTo>
                      <a:lnTo>
                        <a:pt x="15" y="3"/>
                      </a:lnTo>
                      <a:lnTo>
                        <a:pt x="10" y="4"/>
                      </a:lnTo>
                      <a:lnTo>
                        <a:pt x="4" y="10"/>
                      </a:lnTo>
                      <a:lnTo>
                        <a:pt x="5" y="11"/>
                      </a:lnTo>
                      <a:lnTo>
                        <a:pt x="6" y="12"/>
                      </a:lnTo>
                      <a:lnTo>
                        <a:pt x="6" y="15"/>
                      </a:lnTo>
                      <a:lnTo>
                        <a:pt x="5" y="16"/>
                      </a:lnTo>
                      <a:lnTo>
                        <a:pt x="1" y="21"/>
                      </a:lnTo>
                      <a:lnTo>
                        <a:pt x="0" y="27"/>
                      </a:lnTo>
                      <a:lnTo>
                        <a:pt x="1" y="31"/>
                      </a:lnTo>
                      <a:lnTo>
                        <a:pt x="2" y="36"/>
                      </a:lnTo>
                      <a:lnTo>
                        <a:pt x="6" y="41"/>
                      </a:lnTo>
                      <a:lnTo>
                        <a:pt x="10" y="45"/>
                      </a:lnTo>
                      <a:lnTo>
                        <a:pt x="18" y="54"/>
                      </a:lnTo>
                      <a:lnTo>
                        <a:pt x="23" y="57"/>
                      </a:lnTo>
                      <a:lnTo>
                        <a:pt x="27" y="60"/>
                      </a:lnTo>
                      <a:lnTo>
                        <a:pt x="32" y="55"/>
                      </a:lnTo>
                      <a:lnTo>
                        <a:pt x="37" y="50"/>
                      </a:lnTo>
                      <a:lnTo>
                        <a:pt x="43" y="45"/>
                      </a:lnTo>
                      <a:lnTo>
                        <a:pt x="48" y="41"/>
                      </a:lnTo>
                      <a:lnTo>
                        <a:pt x="51" y="36"/>
                      </a:lnTo>
                      <a:lnTo>
                        <a:pt x="52" y="35"/>
                      </a:lnTo>
                      <a:lnTo>
                        <a:pt x="53"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8" name="Freeform 687"/>
                <p:cNvSpPr>
                  <a:spLocks/>
                </p:cNvSpPr>
                <p:nvPr/>
              </p:nvSpPr>
              <p:spPr bwMode="auto">
                <a:xfrm>
                  <a:off x="4331105" y="4386024"/>
                  <a:ext cx="100631" cy="112470"/>
                </a:xfrm>
                <a:custGeom>
                  <a:avLst/>
                  <a:gdLst>
                    <a:gd name="T0" fmla="*/ 0 w 74"/>
                    <a:gd name="T1" fmla="*/ 2147483647 h 76"/>
                    <a:gd name="T2" fmla="*/ 2147483647 w 74"/>
                    <a:gd name="T3" fmla="*/ 2147483647 h 76"/>
                    <a:gd name="T4" fmla="*/ 2147483647 w 74"/>
                    <a:gd name="T5" fmla="*/ 2147483647 h 76"/>
                    <a:gd name="T6" fmla="*/ 2147483647 w 74"/>
                    <a:gd name="T7" fmla="*/ 2147483647 h 76"/>
                    <a:gd name="T8" fmla="*/ 2147483647 w 74"/>
                    <a:gd name="T9" fmla="*/ 2147483647 h 76"/>
                    <a:gd name="T10" fmla="*/ 2147483647 w 74"/>
                    <a:gd name="T11" fmla="*/ 2147483647 h 76"/>
                    <a:gd name="T12" fmla="*/ 2147483647 w 74"/>
                    <a:gd name="T13" fmla="*/ 2147483647 h 76"/>
                    <a:gd name="T14" fmla="*/ 2147483647 w 74"/>
                    <a:gd name="T15" fmla="*/ 2147483647 h 76"/>
                    <a:gd name="T16" fmla="*/ 2147483647 w 74"/>
                    <a:gd name="T17" fmla="*/ 2147483647 h 76"/>
                    <a:gd name="T18" fmla="*/ 2147483647 w 74"/>
                    <a:gd name="T19" fmla="*/ 2147483647 h 76"/>
                    <a:gd name="T20" fmla="*/ 2147483647 w 74"/>
                    <a:gd name="T21" fmla="*/ 0 h 76"/>
                    <a:gd name="T22" fmla="*/ 2147483647 w 74"/>
                    <a:gd name="T23" fmla="*/ 0 h 76"/>
                    <a:gd name="T24" fmla="*/ 2147483647 w 74"/>
                    <a:gd name="T25" fmla="*/ 2147483647 h 76"/>
                    <a:gd name="T26" fmla="*/ 2147483647 w 74"/>
                    <a:gd name="T27" fmla="*/ 2147483647 h 76"/>
                    <a:gd name="T28" fmla="*/ 2147483647 w 74"/>
                    <a:gd name="T29" fmla="*/ 2147483647 h 76"/>
                    <a:gd name="T30" fmla="*/ 2147483647 w 74"/>
                    <a:gd name="T31" fmla="*/ 2147483647 h 76"/>
                    <a:gd name="T32" fmla="*/ 2147483647 w 74"/>
                    <a:gd name="T33" fmla="*/ 2147483647 h 76"/>
                    <a:gd name="T34" fmla="*/ 2147483647 w 74"/>
                    <a:gd name="T35" fmla="*/ 2147483647 h 76"/>
                    <a:gd name="T36" fmla="*/ 2147483647 w 74"/>
                    <a:gd name="T37" fmla="*/ 2147483647 h 76"/>
                    <a:gd name="T38" fmla="*/ 2147483647 w 74"/>
                    <a:gd name="T39" fmla="*/ 2147483647 h 76"/>
                    <a:gd name="T40" fmla="*/ 2147483647 w 74"/>
                    <a:gd name="T41" fmla="*/ 2147483647 h 76"/>
                    <a:gd name="T42" fmla="*/ 2147483647 w 74"/>
                    <a:gd name="T43" fmla="*/ 2147483647 h 76"/>
                    <a:gd name="T44" fmla="*/ 2147483647 w 74"/>
                    <a:gd name="T45" fmla="*/ 2147483647 h 76"/>
                    <a:gd name="T46" fmla="*/ 2147483647 w 74"/>
                    <a:gd name="T47" fmla="*/ 2147483647 h 76"/>
                    <a:gd name="T48" fmla="*/ 2147483647 w 74"/>
                    <a:gd name="T49" fmla="*/ 2147483647 h 76"/>
                    <a:gd name="T50" fmla="*/ 2147483647 w 74"/>
                    <a:gd name="T51" fmla="*/ 2147483647 h 76"/>
                    <a:gd name="T52" fmla="*/ 2147483647 w 74"/>
                    <a:gd name="T53" fmla="*/ 2147483647 h 76"/>
                    <a:gd name="T54" fmla="*/ 2147483647 w 74"/>
                    <a:gd name="T55" fmla="*/ 2147483647 h 76"/>
                    <a:gd name="T56" fmla="*/ 2147483647 w 74"/>
                    <a:gd name="T57" fmla="*/ 2147483647 h 76"/>
                    <a:gd name="T58" fmla="*/ 2147483647 w 74"/>
                    <a:gd name="T59" fmla="*/ 2147483647 h 76"/>
                    <a:gd name="T60" fmla="*/ 2147483647 w 74"/>
                    <a:gd name="T61" fmla="*/ 2147483647 h 76"/>
                    <a:gd name="T62" fmla="*/ 2147483647 w 74"/>
                    <a:gd name="T63" fmla="*/ 2147483647 h 76"/>
                    <a:gd name="T64" fmla="*/ 2147483647 w 74"/>
                    <a:gd name="T65" fmla="*/ 2147483647 h 76"/>
                    <a:gd name="T66" fmla="*/ 2147483647 w 74"/>
                    <a:gd name="T67" fmla="*/ 2147483647 h 76"/>
                    <a:gd name="T68" fmla="*/ 2147483647 w 74"/>
                    <a:gd name="T69" fmla="*/ 2147483647 h 76"/>
                    <a:gd name="T70" fmla="*/ 2147483647 w 74"/>
                    <a:gd name="T71" fmla="*/ 2147483647 h 76"/>
                    <a:gd name="T72" fmla="*/ 2147483647 w 74"/>
                    <a:gd name="T73" fmla="*/ 2147483647 h 76"/>
                    <a:gd name="T74" fmla="*/ 2147483647 w 74"/>
                    <a:gd name="T75" fmla="*/ 2147483647 h 76"/>
                    <a:gd name="T76" fmla="*/ 2147483647 w 74"/>
                    <a:gd name="T77" fmla="*/ 2147483647 h 76"/>
                    <a:gd name="T78" fmla="*/ 2147483647 w 74"/>
                    <a:gd name="T79" fmla="*/ 2147483647 h 76"/>
                    <a:gd name="T80" fmla="*/ 2147483647 w 74"/>
                    <a:gd name="T81" fmla="*/ 2147483647 h 76"/>
                    <a:gd name="T82" fmla="*/ 2147483647 w 74"/>
                    <a:gd name="T83" fmla="*/ 2147483647 h 76"/>
                    <a:gd name="T84" fmla="*/ 2147483647 w 74"/>
                    <a:gd name="T85" fmla="*/ 2147483647 h 76"/>
                    <a:gd name="T86" fmla="*/ 2147483647 w 74"/>
                    <a:gd name="T87" fmla="*/ 2147483647 h 76"/>
                    <a:gd name="T88" fmla="*/ 2147483647 w 74"/>
                    <a:gd name="T89" fmla="*/ 2147483647 h 76"/>
                    <a:gd name="T90" fmla="*/ 2147483647 w 74"/>
                    <a:gd name="T91" fmla="*/ 2147483647 h 76"/>
                    <a:gd name="T92" fmla="*/ 2147483647 w 74"/>
                    <a:gd name="T93" fmla="*/ 2147483647 h 76"/>
                    <a:gd name="T94" fmla="*/ 2147483647 w 74"/>
                    <a:gd name="T95" fmla="*/ 2147483647 h 76"/>
                    <a:gd name="T96" fmla="*/ 2147483647 w 74"/>
                    <a:gd name="T97" fmla="*/ 2147483647 h 76"/>
                    <a:gd name="T98" fmla="*/ 2147483647 w 74"/>
                    <a:gd name="T99" fmla="*/ 2147483647 h 76"/>
                    <a:gd name="T100" fmla="*/ 2147483647 w 74"/>
                    <a:gd name="T101" fmla="*/ 2147483647 h 76"/>
                    <a:gd name="T102" fmla="*/ 2147483647 w 74"/>
                    <a:gd name="T103" fmla="*/ 2147483647 h 76"/>
                    <a:gd name="T104" fmla="*/ 2147483647 w 74"/>
                    <a:gd name="T105" fmla="*/ 2147483647 h 76"/>
                    <a:gd name="T106" fmla="*/ 2147483647 w 74"/>
                    <a:gd name="T107" fmla="*/ 2147483647 h 76"/>
                    <a:gd name="T108" fmla="*/ 2147483647 w 74"/>
                    <a:gd name="T109" fmla="*/ 2147483647 h 76"/>
                    <a:gd name="T110" fmla="*/ 2147483647 w 74"/>
                    <a:gd name="T111" fmla="*/ 2147483647 h 76"/>
                    <a:gd name="T112" fmla="*/ 2147483647 w 74"/>
                    <a:gd name="T113" fmla="*/ 2147483647 h 76"/>
                    <a:gd name="T114" fmla="*/ 0 w 74"/>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4"/>
                    <a:gd name="T175" fmla="*/ 0 h 76"/>
                    <a:gd name="T176" fmla="*/ 74 w 74"/>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4" h="76">
                      <a:moveTo>
                        <a:pt x="0" y="30"/>
                      </a:moveTo>
                      <a:lnTo>
                        <a:pt x="5" y="25"/>
                      </a:lnTo>
                      <a:lnTo>
                        <a:pt x="10" y="20"/>
                      </a:lnTo>
                      <a:lnTo>
                        <a:pt x="16" y="15"/>
                      </a:lnTo>
                      <a:lnTo>
                        <a:pt x="21" y="11"/>
                      </a:lnTo>
                      <a:lnTo>
                        <a:pt x="24" y="6"/>
                      </a:lnTo>
                      <a:lnTo>
                        <a:pt x="25" y="5"/>
                      </a:lnTo>
                      <a:lnTo>
                        <a:pt x="26" y="2"/>
                      </a:lnTo>
                      <a:lnTo>
                        <a:pt x="29" y="2"/>
                      </a:lnTo>
                      <a:lnTo>
                        <a:pt x="33" y="1"/>
                      </a:lnTo>
                      <a:lnTo>
                        <a:pt x="35" y="0"/>
                      </a:lnTo>
                      <a:lnTo>
                        <a:pt x="38" y="0"/>
                      </a:lnTo>
                      <a:lnTo>
                        <a:pt x="39" y="1"/>
                      </a:lnTo>
                      <a:lnTo>
                        <a:pt x="39" y="4"/>
                      </a:lnTo>
                      <a:lnTo>
                        <a:pt x="39" y="10"/>
                      </a:lnTo>
                      <a:lnTo>
                        <a:pt x="40" y="14"/>
                      </a:lnTo>
                      <a:lnTo>
                        <a:pt x="41" y="17"/>
                      </a:lnTo>
                      <a:lnTo>
                        <a:pt x="44" y="18"/>
                      </a:lnTo>
                      <a:lnTo>
                        <a:pt x="47" y="18"/>
                      </a:lnTo>
                      <a:lnTo>
                        <a:pt x="48" y="17"/>
                      </a:lnTo>
                      <a:lnTo>
                        <a:pt x="50" y="14"/>
                      </a:lnTo>
                      <a:lnTo>
                        <a:pt x="53" y="12"/>
                      </a:lnTo>
                      <a:lnTo>
                        <a:pt x="55" y="12"/>
                      </a:lnTo>
                      <a:lnTo>
                        <a:pt x="55" y="14"/>
                      </a:lnTo>
                      <a:lnTo>
                        <a:pt x="57" y="19"/>
                      </a:lnTo>
                      <a:lnTo>
                        <a:pt x="55" y="25"/>
                      </a:lnTo>
                      <a:lnTo>
                        <a:pt x="53" y="30"/>
                      </a:lnTo>
                      <a:lnTo>
                        <a:pt x="49" y="33"/>
                      </a:lnTo>
                      <a:lnTo>
                        <a:pt x="48" y="36"/>
                      </a:lnTo>
                      <a:lnTo>
                        <a:pt x="48" y="38"/>
                      </a:lnTo>
                      <a:lnTo>
                        <a:pt x="48" y="40"/>
                      </a:lnTo>
                      <a:lnTo>
                        <a:pt x="49" y="40"/>
                      </a:lnTo>
                      <a:lnTo>
                        <a:pt x="53" y="39"/>
                      </a:lnTo>
                      <a:lnTo>
                        <a:pt x="55" y="40"/>
                      </a:lnTo>
                      <a:lnTo>
                        <a:pt x="57" y="40"/>
                      </a:lnTo>
                      <a:lnTo>
                        <a:pt x="59" y="43"/>
                      </a:lnTo>
                      <a:lnTo>
                        <a:pt x="61" y="46"/>
                      </a:lnTo>
                      <a:lnTo>
                        <a:pt x="64" y="50"/>
                      </a:lnTo>
                      <a:lnTo>
                        <a:pt x="66" y="51"/>
                      </a:lnTo>
                      <a:lnTo>
                        <a:pt x="67" y="51"/>
                      </a:lnTo>
                      <a:lnTo>
                        <a:pt x="71" y="50"/>
                      </a:lnTo>
                      <a:lnTo>
                        <a:pt x="73" y="51"/>
                      </a:lnTo>
                      <a:lnTo>
                        <a:pt x="74" y="51"/>
                      </a:lnTo>
                      <a:lnTo>
                        <a:pt x="74" y="57"/>
                      </a:lnTo>
                      <a:lnTo>
                        <a:pt x="74" y="63"/>
                      </a:lnTo>
                      <a:lnTo>
                        <a:pt x="73" y="68"/>
                      </a:lnTo>
                      <a:lnTo>
                        <a:pt x="74" y="74"/>
                      </a:lnTo>
                      <a:lnTo>
                        <a:pt x="69" y="75"/>
                      </a:lnTo>
                      <a:lnTo>
                        <a:pt x="58" y="76"/>
                      </a:lnTo>
                      <a:lnTo>
                        <a:pt x="54" y="75"/>
                      </a:lnTo>
                      <a:lnTo>
                        <a:pt x="52" y="72"/>
                      </a:lnTo>
                      <a:lnTo>
                        <a:pt x="44" y="64"/>
                      </a:lnTo>
                      <a:lnTo>
                        <a:pt x="30" y="46"/>
                      </a:lnTo>
                      <a:lnTo>
                        <a:pt x="26" y="44"/>
                      </a:lnTo>
                      <a:lnTo>
                        <a:pt x="22" y="43"/>
                      </a:lnTo>
                      <a:lnTo>
                        <a:pt x="16" y="40"/>
                      </a:lnTo>
                      <a:lnTo>
                        <a:pt x="11" y="38"/>
                      </a:lnTo>
                      <a:lnTo>
                        <a:pt x="0"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29" name="Freeform 688"/>
                <p:cNvSpPr>
                  <a:spLocks/>
                </p:cNvSpPr>
                <p:nvPr/>
              </p:nvSpPr>
              <p:spPr bwMode="auto">
                <a:xfrm>
                  <a:off x="4292628" y="4340148"/>
                  <a:ext cx="72514" cy="88792"/>
                </a:xfrm>
                <a:custGeom>
                  <a:avLst/>
                  <a:gdLst>
                    <a:gd name="T0" fmla="*/ 2147483647 w 53"/>
                    <a:gd name="T1" fmla="*/ 2147483647 h 60"/>
                    <a:gd name="T2" fmla="*/ 2147483647 w 53"/>
                    <a:gd name="T3" fmla="*/ 2147483647 h 60"/>
                    <a:gd name="T4" fmla="*/ 2147483647 w 53"/>
                    <a:gd name="T5" fmla="*/ 2147483647 h 60"/>
                    <a:gd name="T6" fmla="*/ 2147483647 w 53"/>
                    <a:gd name="T7" fmla="*/ 2147483647 h 60"/>
                    <a:gd name="T8" fmla="*/ 2147483647 w 53"/>
                    <a:gd name="T9" fmla="*/ 2147483647 h 60"/>
                    <a:gd name="T10" fmla="*/ 2147483647 w 53"/>
                    <a:gd name="T11" fmla="*/ 2147483647 h 60"/>
                    <a:gd name="T12" fmla="*/ 2147483647 w 53"/>
                    <a:gd name="T13" fmla="*/ 2147483647 h 60"/>
                    <a:gd name="T14" fmla="*/ 2147483647 w 53"/>
                    <a:gd name="T15" fmla="*/ 2147483647 h 60"/>
                    <a:gd name="T16" fmla="*/ 2147483647 w 53"/>
                    <a:gd name="T17" fmla="*/ 2147483647 h 60"/>
                    <a:gd name="T18" fmla="*/ 2147483647 w 53"/>
                    <a:gd name="T19" fmla="*/ 2147483647 h 60"/>
                    <a:gd name="T20" fmla="*/ 2147483647 w 53"/>
                    <a:gd name="T21" fmla="*/ 2147483647 h 60"/>
                    <a:gd name="T22" fmla="*/ 2147483647 w 53"/>
                    <a:gd name="T23" fmla="*/ 0 h 60"/>
                    <a:gd name="T24" fmla="*/ 2147483647 w 53"/>
                    <a:gd name="T25" fmla="*/ 2147483647 h 60"/>
                    <a:gd name="T26" fmla="*/ 2147483647 w 53"/>
                    <a:gd name="T27" fmla="*/ 2147483647 h 60"/>
                    <a:gd name="T28" fmla="*/ 2147483647 w 53"/>
                    <a:gd name="T29" fmla="*/ 2147483647 h 60"/>
                    <a:gd name="T30" fmla="*/ 2147483647 w 53"/>
                    <a:gd name="T31" fmla="*/ 2147483647 h 60"/>
                    <a:gd name="T32" fmla="*/ 2147483647 w 53"/>
                    <a:gd name="T33" fmla="*/ 2147483647 h 60"/>
                    <a:gd name="T34" fmla="*/ 2147483647 w 53"/>
                    <a:gd name="T35" fmla="*/ 2147483647 h 60"/>
                    <a:gd name="T36" fmla="*/ 2147483647 w 53"/>
                    <a:gd name="T37" fmla="*/ 2147483647 h 60"/>
                    <a:gd name="T38" fmla="*/ 2147483647 w 53"/>
                    <a:gd name="T39" fmla="*/ 2147483647 h 60"/>
                    <a:gd name="T40" fmla="*/ 2147483647 w 53"/>
                    <a:gd name="T41" fmla="*/ 2147483647 h 60"/>
                    <a:gd name="T42" fmla="*/ 2147483647 w 53"/>
                    <a:gd name="T43" fmla="*/ 2147483647 h 60"/>
                    <a:gd name="T44" fmla="*/ 2147483647 w 53"/>
                    <a:gd name="T45" fmla="*/ 2147483647 h 60"/>
                    <a:gd name="T46" fmla="*/ 0 w 53"/>
                    <a:gd name="T47" fmla="*/ 2147483647 h 60"/>
                    <a:gd name="T48" fmla="*/ 2147483647 w 53"/>
                    <a:gd name="T49" fmla="*/ 2147483647 h 60"/>
                    <a:gd name="T50" fmla="*/ 2147483647 w 53"/>
                    <a:gd name="T51" fmla="*/ 2147483647 h 60"/>
                    <a:gd name="T52" fmla="*/ 2147483647 w 53"/>
                    <a:gd name="T53" fmla="*/ 2147483647 h 60"/>
                    <a:gd name="T54" fmla="*/ 2147483647 w 53"/>
                    <a:gd name="T55" fmla="*/ 2147483647 h 60"/>
                    <a:gd name="T56" fmla="*/ 2147483647 w 53"/>
                    <a:gd name="T57" fmla="*/ 2147483647 h 60"/>
                    <a:gd name="T58" fmla="*/ 2147483647 w 53"/>
                    <a:gd name="T59" fmla="*/ 2147483647 h 60"/>
                    <a:gd name="T60" fmla="*/ 2147483647 w 53"/>
                    <a:gd name="T61" fmla="*/ 2147483647 h 60"/>
                    <a:gd name="T62" fmla="*/ 2147483647 w 53"/>
                    <a:gd name="T63" fmla="*/ 2147483647 h 60"/>
                    <a:gd name="T64" fmla="*/ 2147483647 w 53"/>
                    <a:gd name="T65" fmla="*/ 2147483647 h 60"/>
                    <a:gd name="T66" fmla="*/ 2147483647 w 53"/>
                    <a:gd name="T67" fmla="*/ 2147483647 h 60"/>
                    <a:gd name="T68" fmla="*/ 2147483647 w 53"/>
                    <a:gd name="T69" fmla="*/ 2147483647 h 60"/>
                    <a:gd name="T70" fmla="*/ 2147483647 w 53"/>
                    <a:gd name="T71" fmla="*/ 2147483647 h 60"/>
                    <a:gd name="T72" fmla="*/ 2147483647 w 53"/>
                    <a:gd name="T73" fmla="*/ 2147483647 h 60"/>
                    <a:gd name="T74" fmla="*/ 2147483647 w 53"/>
                    <a:gd name="T75" fmla="*/ 2147483647 h 60"/>
                    <a:gd name="T76" fmla="*/ 2147483647 w 53"/>
                    <a:gd name="T77" fmla="*/ 2147483647 h 60"/>
                    <a:gd name="T78" fmla="*/ 2147483647 w 53"/>
                    <a:gd name="T79" fmla="*/ 2147483647 h 60"/>
                    <a:gd name="T80" fmla="*/ 2147483647 w 53"/>
                    <a:gd name="T81" fmla="*/ 2147483647 h 60"/>
                    <a:gd name="T82" fmla="*/ 2147483647 w 53"/>
                    <a:gd name="T83" fmla="*/ 2147483647 h 60"/>
                    <a:gd name="T84" fmla="*/ 2147483647 w 53"/>
                    <a:gd name="T85" fmla="*/ 2147483647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3"/>
                    <a:gd name="T130" fmla="*/ 0 h 60"/>
                    <a:gd name="T131" fmla="*/ 53 w 53"/>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3" h="60">
                      <a:moveTo>
                        <a:pt x="53" y="32"/>
                      </a:moveTo>
                      <a:lnTo>
                        <a:pt x="53" y="32"/>
                      </a:lnTo>
                      <a:lnTo>
                        <a:pt x="52" y="32"/>
                      </a:lnTo>
                      <a:lnTo>
                        <a:pt x="49" y="30"/>
                      </a:lnTo>
                      <a:lnTo>
                        <a:pt x="43" y="17"/>
                      </a:lnTo>
                      <a:lnTo>
                        <a:pt x="40" y="11"/>
                      </a:lnTo>
                      <a:lnTo>
                        <a:pt x="35" y="6"/>
                      </a:lnTo>
                      <a:lnTo>
                        <a:pt x="31" y="3"/>
                      </a:lnTo>
                      <a:lnTo>
                        <a:pt x="28" y="1"/>
                      </a:lnTo>
                      <a:lnTo>
                        <a:pt x="24" y="0"/>
                      </a:lnTo>
                      <a:lnTo>
                        <a:pt x="19" y="1"/>
                      </a:lnTo>
                      <a:lnTo>
                        <a:pt x="15" y="3"/>
                      </a:lnTo>
                      <a:lnTo>
                        <a:pt x="10" y="4"/>
                      </a:lnTo>
                      <a:lnTo>
                        <a:pt x="3" y="10"/>
                      </a:lnTo>
                      <a:lnTo>
                        <a:pt x="5" y="11"/>
                      </a:lnTo>
                      <a:lnTo>
                        <a:pt x="6" y="12"/>
                      </a:lnTo>
                      <a:lnTo>
                        <a:pt x="6" y="14"/>
                      </a:lnTo>
                      <a:lnTo>
                        <a:pt x="5" y="16"/>
                      </a:lnTo>
                      <a:lnTo>
                        <a:pt x="1" y="20"/>
                      </a:lnTo>
                      <a:lnTo>
                        <a:pt x="0" y="26"/>
                      </a:lnTo>
                      <a:lnTo>
                        <a:pt x="1" y="31"/>
                      </a:lnTo>
                      <a:lnTo>
                        <a:pt x="2" y="36"/>
                      </a:lnTo>
                      <a:lnTo>
                        <a:pt x="6" y="41"/>
                      </a:lnTo>
                      <a:lnTo>
                        <a:pt x="10" y="45"/>
                      </a:lnTo>
                      <a:lnTo>
                        <a:pt x="17" y="54"/>
                      </a:lnTo>
                      <a:lnTo>
                        <a:pt x="22" y="57"/>
                      </a:lnTo>
                      <a:lnTo>
                        <a:pt x="26" y="60"/>
                      </a:lnTo>
                      <a:lnTo>
                        <a:pt x="31" y="55"/>
                      </a:lnTo>
                      <a:lnTo>
                        <a:pt x="36" y="50"/>
                      </a:lnTo>
                      <a:lnTo>
                        <a:pt x="43" y="45"/>
                      </a:lnTo>
                      <a:lnTo>
                        <a:pt x="48" y="41"/>
                      </a:lnTo>
                      <a:lnTo>
                        <a:pt x="50" y="36"/>
                      </a:lnTo>
                      <a:lnTo>
                        <a:pt x="52" y="35"/>
                      </a:lnTo>
                      <a:lnTo>
                        <a:pt x="53"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0" name="Freeform 689"/>
                <p:cNvSpPr>
                  <a:spLocks/>
                </p:cNvSpPr>
                <p:nvPr/>
              </p:nvSpPr>
              <p:spPr bwMode="auto">
                <a:xfrm>
                  <a:off x="4328146" y="4384542"/>
                  <a:ext cx="102112" cy="112470"/>
                </a:xfrm>
                <a:custGeom>
                  <a:avLst/>
                  <a:gdLst>
                    <a:gd name="T0" fmla="*/ 0 w 75"/>
                    <a:gd name="T1" fmla="*/ 2147483647 h 76"/>
                    <a:gd name="T2" fmla="*/ 2147483647 w 75"/>
                    <a:gd name="T3" fmla="*/ 2147483647 h 76"/>
                    <a:gd name="T4" fmla="*/ 2147483647 w 75"/>
                    <a:gd name="T5" fmla="*/ 2147483647 h 76"/>
                    <a:gd name="T6" fmla="*/ 2147483647 w 75"/>
                    <a:gd name="T7" fmla="*/ 2147483647 h 76"/>
                    <a:gd name="T8" fmla="*/ 2147483647 w 75"/>
                    <a:gd name="T9" fmla="*/ 2147483647 h 76"/>
                    <a:gd name="T10" fmla="*/ 2147483647 w 75"/>
                    <a:gd name="T11" fmla="*/ 2147483647 h 76"/>
                    <a:gd name="T12" fmla="*/ 2147483647 w 75"/>
                    <a:gd name="T13" fmla="*/ 0 h 76"/>
                    <a:gd name="T14" fmla="*/ 2147483647 w 75"/>
                    <a:gd name="T15" fmla="*/ 0 h 76"/>
                    <a:gd name="T16" fmla="*/ 2147483647 w 75"/>
                    <a:gd name="T17" fmla="*/ 2147483647 h 76"/>
                    <a:gd name="T18" fmla="*/ 2147483647 w 75"/>
                    <a:gd name="T19" fmla="*/ 2147483647 h 76"/>
                    <a:gd name="T20" fmla="*/ 2147483647 w 75"/>
                    <a:gd name="T21" fmla="*/ 2147483647 h 76"/>
                    <a:gd name="T22" fmla="*/ 2147483647 w 75"/>
                    <a:gd name="T23" fmla="*/ 2147483647 h 76"/>
                    <a:gd name="T24" fmla="*/ 2147483647 w 75"/>
                    <a:gd name="T25" fmla="*/ 2147483647 h 76"/>
                    <a:gd name="T26" fmla="*/ 2147483647 w 75"/>
                    <a:gd name="T27" fmla="*/ 2147483647 h 76"/>
                    <a:gd name="T28" fmla="*/ 2147483647 w 75"/>
                    <a:gd name="T29" fmla="*/ 2147483647 h 76"/>
                    <a:gd name="T30" fmla="*/ 2147483647 w 75"/>
                    <a:gd name="T31" fmla="*/ 2147483647 h 76"/>
                    <a:gd name="T32" fmla="*/ 2147483647 w 75"/>
                    <a:gd name="T33" fmla="*/ 2147483647 h 76"/>
                    <a:gd name="T34" fmla="*/ 2147483647 w 75"/>
                    <a:gd name="T35" fmla="*/ 2147483647 h 76"/>
                    <a:gd name="T36" fmla="*/ 2147483647 w 75"/>
                    <a:gd name="T37" fmla="*/ 2147483647 h 76"/>
                    <a:gd name="T38" fmla="*/ 2147483647 w 75"/>
                    <a:gd name="T39" fmla="*/ 2147483647 h 76"/>
                    <a:gd name="T40" fmla="*/ 2147483647 w 75"/>
                    <a:gd name="T41" fmla="*/ 2147483647 h 76"/>
                    <a:gd name="T42" fmla="*/ 2147483647 w 75"/>
                    <a:gd name="T43" fmla="*/ 2147483647 h 76"/>
                    <a:gd name="T44" fmla="*/ 2147483647 w 75"/>
                    <a:gd name="T45" fmla="*/ 2147483647 h 76"/>
                    <a:gd name="T46" fmla="*/ 2147483647 w 75"/>
                    <a:gd name="T47" fmla="*/ 2147483647 h 76"/>
                    <a:gd name="T48" fmla="*/ 2147483647 w 75"/>
                    <a:gd name="T49" fmla="*/ 2147483647 h 76"/>
                    <a:gd name="T50" fmla="*/ 2147483647 w 75"/>
                    <a:gd name="T51" fmla="*/ 2147483647 h 76"/>
                    <a:gd name="T52" fmla="*/ 2147483647 w 75"/>
                    <a:gd name="T53" fmla="*/ 2147483647 h 76"/>
                    <a:gd name="T54" fmla="*/ 2147483647 w 75"/>
                    <a:gd name="T55" fmla="*/ 2147483647 h 76"/>
                    <a:gd name="T56" fmla="*/ 2147483647 w 75"/>
                    <a:gd name="T57" fmla="*/ 2147483647 h 76"/>
                    <a:gd name="T58" fmla="*/ 2147483647 w 75"/>
                    <a:gd name="T59" fmla="*/ 2147483647 h 76"/>
                    <a:gd name="T60" fmla="*/ 2147483647 w 75"/>
                    <a:gd name="T61" fmla="*/ 2147483647 h 76"/>
                    <a:gd name="T62" fmla="*/ 2147483647 w 75"/>
                    <a:gd name="T63" fmla="*/ 2147483647 h 76"/>
                    <a:gd name="T64" fmla="*/ 2147483647 w 75"/>
                    <a:gd name="T65" fmla="*/ 2147483647 h 76"/>
                    <a:gd name="T66" fmla="*/ 2147483647 w 75"/>
                    <a:gd name="T67" fmla="*/ 2147483647 h 76"/>
                    <a:gd name="T68" fmla="*/ 2147483647 w 75"/>
                    <a:gd name="T69" fmla="*/ 2147483647 h 76"/>
                    <a:gd name="T70" fmla="*/ 2147483647 w 75"/>
                    <a:gd name="T71" fmla="*/ 2147483647 h 76"/>
                    <a:gd name="T72" fmla="*/ 2147483647 w 75"/>
                    <a:gd name="T73" fmla="*/ 2147483647 h 76"/>
                    <a:gd name="T74" fmla="*/ 0 w 75"/>
                    <a:gd name="T75" fmla="*/ 2147483647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5"/>
                    <a:gd name="T115" fmla="*/ 0 h 76"/>
                    <a:gd name="T116" fmla="*/ 75 w 75"/>
                    <a:gd name="T117" fmla="*/ 76 h 7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5" h="76">
                      <a:moveTo>
                        <a:pt x="0" y="30"/>
                      </a:moveTo>
                      <a:lnTo>
                        <a:pt x="0" y="30"/>
                      </a:lnTo>
                      <a:lnTo>
                        <a:pt x="5" y="25"/>
                      </a:lnTo>
                      <a:lnTo>
                        <a:pt x="10" y="20"/>
                      </a:lnTo>
                      <a:lnTo>
                        <a:pt x="17" y="15"/>
                      </a:lnTo>
                      <a:lnTo>
                        <a:pt x="22" y="11"/>
                      </a:lnTo>
                      <a:lnTo>
                        <a:pt x="24" y="6"/>
                      </a:lnTo>
                      <a:lnTo>
                        <a:pt x="26" y="5"/>
                      </a:lnTo>
                      <a:lnTo>
                        <a:pt x="27" y="2"/>
                      </a:lnTo>
                      <a:lnTo>
                        <a:pt x="29" y="2"/>
                      </a:lnTo>
                      <a:lnTo>
                        <a:pt x="33" y="1"/>
                      </a:lnTo>
                      <a:lnTo>
                        <a:pt x="36" y="0"/>
                      </a:lnTo>
                      <a:lnTo>
                        <a:pt x="38" y="0"/>
                      </a:lnTo>
                      <a:lnTo>
                        <a:pt x="40" y="1"/>
                      </a:lnTo>
                      <a:lnTo>
                        <a:pt x="40" y="3"/>
                      </a:lnTo>
                      <a:lnTo>
                        <a:pt x="40" y="9"/>
                      </a:lnTo>
                      <a:lnTo>
                        <a:pt x="41" y="14"/>
                      </a:lnTo>
                      <a:lnTo>
                        <a:pt x="42" y="16"/>
                      </a:lnTo>
                      <a:lnTo>
                        <a:pt x="45" y="18"/>
                      </a:lnTo>
                      <a:lnTo>
                        <a:pt x="47" y="18"/>
                      </a:lnTo>
                      <a:lnTo>
                        <a:pt x="49" y="16"/>
                      </a:lnTo>
                      <a:lnTo>
                        <a:pt x="51" y="14"/>
                      </a:lnTo>
                      <a:lnTo>
                        <a:pt x="54" y="12"/>
                      </a:lnTo>
                      <a:lnTo>
                        <a:pt x="56" y="12"/>
                      </a:lnTo>
                      <a:lnTo>
                        <a:pt x="56" y="14"/>
                      </a:lnTo>
                      <a:lnTo>
                        <a:pt x="57" y="19"/>
                      </a:lnTo>
                      <a:lnTo>
                        <a:pt x="56" y="25"/>
                      </a:lnTo>
                      <a:lnTo>
                        <a:pt x="54" y="30"/>
                      </a:lnTo>
                      <a:lnTo>
                        <a:pt x="50" y="33"/>
                      </a:lnTo>
                      <a:lnTo>
                        <a:pt x="49" y="35"/>
                      </a:lnTo>
                      <a:lnTo>
                        <a:pt x="49" y="38"/>
                      </a:lnTo>
                      <a:lnTo>
                        <a:pt x="49" y="40"/>
                      </a:lnTo>
                      <a:lnTo>
                        <a:pt x="50" y="40"/>
                      </a:lnTo>
                      <a:lnTo>
                        <a:pt x="54" y="39"/>
                      </a:lnTo>
                      <a:lnTo>
                        <a:pt x="56" y="40"/>
                      </a:lnTo>
                      <a:lnTo>
                        <a:pt x="57" y="40"/>
                      </a:lnTo>
                      <a:lnTo>
                        <a:pt x="60" y="43"/>
                      </a:lnTo>
                      <a:lnTo>
                        <a:pt x="61" y="46"/>
                      </a:lnTo>
                      <a:lnTo>
                        <a:pt x="65" y="50"/>
                      </a:lnTo>
                      <a:lnTo>
                        <a:pt x="66" y="51"/>
                      </a:lnTo>
                      <a:lnTo>
                        <a:pt x="68" y="51"/>
                      </a:lnTo>
                      <a:lnTo>
                        <a:pt x="71" y="50"/>
                      </a:lnTo>
                      <a:lnTo>
                        <a:pt x="74" y="51"/>
                      </a:lnTo>
                      <a:lnTo>
                        <a:pt x="75" y="51"/>
                      </a:lnTo>
                      <a:lnTo>
                        <a:pt x="75" y="57"/>
                      </a:lnTo>
                      <a:lnTo>
                        <a:pt x="75" y="63"/>
                      </a:lnTo>
                      <a:lnTo>
                        <a:pt x="74" y="67"/>
                      </a:lnTo>
                      <a:lnTo>
                        <a:pt x="75" y="73"/>
                      </a:lnTo>
                      <a:lnTo>
                        <a:pt x="70" y="75"/>
                      </a:lnTo>
                      <a:lnTo>
                        <a:pt x="59" y="76"/>
                      </a:lnTo>
                      <a:lnTo>
                        <a:pt x="55" y="75"/>
                      </a:lnTo>
                      <a:lnTo>
                        <a:pt x="52" y="72"/>
                      </a:lnTo>
                      <a:lnTo>
                        <a:pt x="45" y="64"/>
                      </a:lnTo>
                      <a:lnTo>
                        <a:pt x="31" y="46"/>
                      </a:lnTo>
                      <a:lnTo>
                        <a:pt x="27" y="44"/>
                      </a:lnTo>
                      <a:lnTo>
                        <a:pt x="23" y="43"/>
                      </a:lnTo>
                      <a:lnTo>
                        <a:pt x="17" y="40"/>
                      </a:lnTo>
                      <a:lnTo>
                        <a:pt x="12" y="38"/>
                      </a:lnTo>
                      <a:lnTo>
                        <a:pt x="0" y="3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1" name="Freeform 690"/>
                <p:cNvSpPr>
                  <a:spLocks/>
                </p:cNvSpPr>
                <p:nvPr/>
              </p:nvSpPr>
              <p:spPr bwMode="auto">
                <a:xfrm>
                  <a:off x="4396219" y="4322388"/>
                  <a:ext cx="155387" cy="173145"/>
                </a:xfrm>
                <a:custGeom>
                  <a:avLst/>
                  <a:gdLst>
                    <a:gd name="T0" fmla="*/ 2147483647 w 113"/>
                    <a:gd name="T1" fmla="*/ 2147483647 h 117"/>
                    <a:gd name="T2" fmla="*/ 2147483647 w 113"/>
                    <a:gd name="T3" fmla="*/ 2147483647 h 117"/>
                    <a:gd name="T4" fmla="*/ 2147483647 w 113"/>
                    <a:gd name="T5" fmla="*/ 2147483647 h 117"/>
                    <a:gd name="T6" fmla="*/ 2147483647 w 113"/>
                    <a:gd name="T7" fmla="*/ 2147483647 h 117"/>
                    <a:gd name="T8" fmla="*/ 2147483647 w 113"/>
                    <a:gd name="T9" fmla="*/ 2147483647 h 117"/>
                    <a:gd name="T10" fmla="*/ 2147483647 w 113"/>
                    <a:gd name="T11" fmla="*/ 2147483647 h 117"/>
                    <a:gd name="T12" fmla="*/ 2147483647 w 113"/>
                    <a:gd name="T13" fmla="*/ 2147483647 h 117"/>
                    <a:gd name="T14" fmla="*/ 2147483647 w 113"/>
                    <a:gd name="T15" fmla="*/ 2147483647 h 117"/>
                    <a:gd name="T16" fmla="*/ 2147483647 w 113"/>
                    <a:gd name="T17" fmla="*/ 2147483647 h 117"/>
                    <a:gd name="T18" fmla="*/ 0 w 113"/>
                    <a:gd name="T19" fmla="*/ 2147483647 h 117"/>
                    <a:gd name="T20" fmla="*/ 0 w 113"/>
                    <a:gd name="T21" fmla="*/ 2147483647 h 117"/>
                    <a:gd name="T22" fmla="*/ 2147483647 w 113"/>
                    <a:gd name="T23" fmla="*/ 2147483647 h 117"/>
                    <a:gd name="T24" fmla="*/ 2147483647 w 113"/>
                    <a:gd name="T25" fmla="*/ 2147483647 h 117"/>
                    <a:gd name="T26" fmla="*/ 2147483647 w 113"/>
                    <a:gd name="T27" fmla="*/ 2147483647 h 117"/>
                    <a:gd name="T28" fmla="*/ 2147483647 w 113"/>
                    <a:gd name="T29" fmla="*/ 2147483647 h 117"/>
                    <a:gd name="T30" fmla="*/ 2147483647 w 113"/>
                    <a:gd name="T31" fmla="*/ 2147483647 h 117"/>
                    <a:gd name="T32" fmla="*/ 2147483647 w 113"/>
                    <a:gd name="T33" fmla="*/ 2147483647 h 117"/>
                    <a:gd name="T34" fmla="*/ 2147483647 w 113"/>
                    <a:gd name="T35" fmla="*/ 2147483647 h 117"/>
                    <a:gd name="T36" fmla="*/ 2147483647 w 113"/>
                    <a:gd name="T37" fmla="*/ 2147483647 h 117"/>
                    <a:gd name="T38" fmla="*/ 2147483647 w 113"/>
                    <a:gd name="T39" fmla="*/ 2147483647 h 117"/>
                    <a:gd name="T40" fmla="*/ 2147483647 w 113"/>
                    <a:gd name="T41" fmla="*/ 2147483647 h 117"/>
                    <a:gd name="T42" fmla="*/ 2147483647 w 113"/>
                    <a:gd name="T43" fmla="*/ 2147483647 h 117"/>
                    <a:gd name="T44" fmla="*/ 2147483647 w 113"/>
                    <a:gd name="T45" fmla="*/ 2147483647 h 117"/>
                    <a:gd name="T46" fmla="*/ 2147483647 w 113"/>
                    <a:gd name="T47" fmla="*/ 2147483647 h 117"/>
                    <a:gd name="T48" fmla="*/ 2147483647 w 113"/>
                    <a:gd name="T49" fmla="*/ 2147483647 h 117"/>
                    <a:gd name="T50" fmla="*/ 2147483647 w 113"/>
                    <a:gd name="T51" fmla="*/ 2147483647 h 117"/>
                    <a:gd name="T52" fmla="*/ 2147483647 w 113"/>
                    <a:gd name="T53" fmla="*/ 2147483647 h 117"/>
                    <a:gd name="T54" fmla="*/ 2147483647 w 113"/>
                    <a:gd name="T55" fmla="*/ 2147483647 h 117"/>
                    <a:gd name="T56" fmla="*/ 2147483647 w 113"/>
                    <a:gd name="T57" fmla="*/ 2147483647 h 117"/>
                    <a:gd name="T58" fmla="*/ 2147483647 w 113"/>
                    <a:gd name="T59" fmla="*/ 2147483647 h 117"/>
                    <a:gd name="T60" fmla="*/ 2147483647 w 113"/>
                    <a:gd name="T61" fmla="*/ 2147483647 h 117"/>
                    <a:gd name="T62" fmla="*/ 2147483647 w 113"/>
                    <a:gd name="T63" fmla="*/ 2147483647 h 117"/>
                    <a:gd name="T64" fmla="*/ 2147483647 w 113"/>
                    <a:gd name="T65" fmla="*/ 2147483647 h 117"/>
                    <a:gd name="T66" fmla="*/ 2147483647 w 113"/>
                    <a:gd name="T67" fmla="*/ 2147483647 h 117"/>
                    <a:gd name="T68" fmla="*/ 2147483647 w 113"/>
                    <a:gd name="T69" fmla="*/ 2147483647 h 117"/>
                    <a:gd name="T70" fmla="*/ 2147483647 w 113"/>
                    <a:gd name="T71" fmla="*/ 2147483647 h 117"/>
                    <a:gd name="T72" fmla="*/ 2147483647 w 113"/>
                    <a:gd name="T73" fmla="*/ 0 h 117"/>
                    <a:gd name="T74" fmla="*/ 2147483647 w 113"/>
                    <a:gd name="T75" fmla="*/ 2147483647 h 117"/>
                    <a:gd name="T76" fmla="*/ 2147483647 w 113"/>
                    <a:gd name="T77" fmla="*/ 2147483647 h 117"/>
                    <a:gd name="T78" fmla="*/ 2147483647 w 113"/>
                    <a:gd name="T79" fmla="*/ 2147483647 h 117"/>
                    <a:gd name="T80" fmla="*/ 2147483647 w 113"/>
                    <a:gd name="T81" fmla="*/ 2147483647 h 117"/>
                    <a:gd name="T82" fmla="*/ 2147483647 w 113"/>
                    <a:gd name="T83" fmla="*/ 2147483647 h 117"/>
                    <a:gd name="T84" fmla="*/ 2147483647 w 113"/>
                    <a:gd name="T85" fmla="*/ 2147483647 h 1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3"/>
                    <a:gd name="T130" fmla="*/ 0 h 117"/>
                    <a:gd name="T131" fmla="*/ 113 w 113"/>
                    <a:gd name="T132" fmla="*/ 117 h 1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3" h="117">
                      <a:moveTo>
                        <a:pt x="24" y="22"/>
                      </a:moveTo>
                      <a:lnTo>
                        <a:pt x="21" y="30"/>
                      </a:lnTo>
                      <a:lnTo>
                        <a:pt x="20" y="40"/>
                      </a:lnTo>
                      <a:lnTo>
                        <a:pt x="19" y="40"/>
                      </a:lnTo>
                      <a:lnTo>
                        <a:pt x="18" y="40"/>
                      </a:lnTo>
                      <a:lnTo>
                        <a:pt x="15" y="40"/>
                      </a:lnTo>
                      <a:lnTo>
                        <a:pt x="14" y="40"/>
                      </a:lnTo>
                      <a:lnTo>
                        <a:pt x="13" y="41"/>
                      </a:lnTo>
                      <a:lnTo>
                        <a:pt x="13" y="43"/>
                      </a:lnTo>
                      <a:lnTo>
                        <a:pt x="14" y="45"/>
                      </a:lnTo>
                      <a:lnTo>
                        <a:pt x="16" y="49"/>
                      </a:lnTo>
                      <a:lnTo>
                        <a:pt x="16" y="50"/>
                      </a:lnTo>
                      <a:lnTo>
                        <a:pt x="15" y="51"/>
                      </a:lnTo>
                      <a:lnTo>
                        <a:pt x="13" y="55"/>
                      </a:lnTo>
                      <a:lnTo>
                        <a:pt x="7" y="57"/>
                      </a:lnTo>
                      <a:lnTo>
                        <a:pt x="9" y="62"/>
                      </a:lnTo>
                      <a:lnTo>
                        <a:pt x="7" y="68"/>
                      </a:lnTo>
                      <a:lnTo>
                        <a:pt x="5" y="73"/>
                      </a:lnTo>
                      <a:lnTo>
                        <a:pt x="1" y="76"/>
                      </a:lnTo>
                      <a:lnTo>
                        <a:pt x="0" y="79"/>
                      </a:lnTo>
                      <a:lnTo>
                        <a:pt x="0" y="81"/>
                      </a:lnTo>
                      <a:lnTo>
                        <a:pt x="0" y="83"/>
                      </a:lnTo>
                      <a:lnTo>
                        <a:pt x="1" y="83"/>
                      </a:lnTo>
                      <a:lnTo>
                        <a:pt x="5" y="82"/>
                      </a:lnTo>
                      <a:lnTo>
                        <a:pt x="7" y="83"/>
                      </a:lnTo>
                      <a:lnTo>
                        <a:pt x="9" y="83"/>
                      </a:lnTo>
                      <a:lnTo>
                        <a:pt x="11" y="86"/>
                      </a:lnTo>
                      <a:lnTo>
                        <a:pt x="13" y="89"/>
                      </a:lnTo>
                      <a:lnTo>
                        <a:pt x="16" y="93"/>
                      </a:lnTo>
                      <a:lnTo>
                        <a:pt x="18" y="94"/>
                      </a:lnTo>
                      <a:lnTo>
                        <a:pt x="19" y="94"/>
                      </a:lnTo>
                      <a:lnTo>
                        <a:pt x="23" y="93"/>
                      </a:lnTo>
                      <a:lnTo>
                        <a:pt x="25" y="94"/>
                      </a:lnTo>
                      <a:lnTo>
                        <a:pt x="26" y="94"/>
                      </a:lnTo>
                      <a:lnTo>
                        <a:pt x="26" y="100"/>
                      </a:lnTo>
                      <a:lnTo>
                        <a:pt x="26" y="106"/>
                      </a:lnTo>
                      <a:lnTo>
                        <a:pt x="25" y="111"/>
                      </a:lnTo>
                      <a:lnTo>
                        <a:pt x="26" y="117"/>
                      </a:lnTo>
                      <a:lnTo>
                        <a:pt x="39" y="117"/>
                      </a:lnTo>
                      <a:lnTo>
                        <a:pt x="46" y="115"/>
                      </a:lnTo>
                      <a:lnTo>
                        <a:pt x="52" y="115"/>
                      </a:lnTo>
                      <a:lnTo>
                        <a:pt x="61" y="112"/>
                      </a:lnTo>
                      <a:lnTo>
                        <a:pt x="70" y="108"/>
                      </a:lnTo>
                      <a:lnTo>
                        <a:pt x="79" y="107"/>
                      </a:lnTo>
                      <a:lnTo>
                        <a:pt x="82" y="107"/>
                      </a:lnTo>
                      <a:lnTo>
                        <a:pt x="87" y="108"/>
                      </a:lnTo>
                      <a:lnTo>
                        <a:pt x="91" y="109"/>
                      </a:lnTo>
                      <a:lnTo>
                        <a:pt x="96" y="109"/>
                      </a:lnTo>
                      <a:lnTo>
                        <a:pt x="105" y="108"/>
                      </a:lnTo>
                      <a:lnTo>
                        <a:pt x="105" y="105"/>
                      </a:lnTo>
                      <a:lnTo>
                        <a:pt x="105" y="101"/>
                      </a:lnTo>
                      <a:lnTo>
                        <a:pt x="105" y="96"/>
                      </a:lnTo>
                      <a:lnTo>
                        <a:pt x="104" y="93"/>
                      </a:lnTo>
                      <a:lnTo>
                        <a:pt x="100" y="88"/>
                      </a:lnTo>
                      <a:lnTo>
                        <a:pt x="99" y="82"/>
                      </a:lnTo>
                      <a:lnTo>
                        <a:pt x="99" y="76"/>
                      </a:lnTo>
                      <a:lnTo>
                        <a:pt x="100" y="70"/>
                      </a:lnTo>
                      <a:lnTo>
                        <a:pt x="106" y="57"/>
                      </a:lnTo>
                      <a:lnTo>
                        <a:pt x="112" y="44"/>
                      </a:lnTo>
                      <a:lnTo>
                        <a:pt x="113" y="37"/>
                      </a:lnTo>
                      <a:lnTo>
                        <a:pt x="113" y="30"/>
                      </a:lnTo>
                      <a:lnTo>
                        <a:pt x="113" y="23"/>
                      </a:lnTo>
                      <a:lnTo>
                        <a:pt x="110" y="16"/>
                      </a:lnTo>
                      <a:lnTo>
                        <a:pt x="109" y="13"/>
                      </a:lnTo>
                      <a:lnTo>
                        <a:pt x="106" y="11"/>
                      </a:lnTo>
                      <a:lnTo>
                        <a:pt x="101" y="9"/>
                      </a:lnTo>
                      <a:lnTo>
                        <a:pt x="98" y="10"/>
                      </a:lnTo>
                      <a:lnTo>
                        <a:pt x="90" y="15"/>
                      </a:lnTo>
                      <a:lnTo>
                        <a:pt x="87" y="15"/>
                      </a:lnTo>
                      <a:lnTo>
                        <a:pt x="85" y="15"/>
                      </a:lnTo>
                      <a:lnTo>
                        <a:pt x="81" y="12"/>
                      </a:lnTo>
                      <a:lnTo>
                        <a:pt x="72" y="3"/>
                      </a:lnTo>
                      <a:lnTo>
                        <a:pt x="70" y="2"/>
                      </a:lnTo>
                      <a:lnTo>
                        <a:pt x="67" y="0"/>
                      </a:lnTo>
                      <a:lnTo>
                        <a:pt x="63" y="2"/>
                      </a:lnTo>
                      <a:lnTo>
                        <a:pt x="61" y="3"/>
                      </a:lnTo>
                      <a:lnTo>
                        <a:pt x="53" y="6"/>
                      </a:lnTo>
                      <a:lnTo>
                        <a:pt x="48" y="10"/>
                      </a:lnTo>
                      <a:lnTo>
                        <a:pt x="46" y="11"/>
                      </a:lnTo>
                      <a:lnTo>
                        <a:pt x="43" y="11"/>
                      </a:lnTo>
                      <a:lnTo>
                        <a:pt x="39" y="11"/>
                      </a:lnTo>
                      <a:lnTo>
                        <a:pt x="37" y="10"/>
                      </a:lnTo>
                      <a:lnTo>
                        <a:pt x="37" y="9"/>
                      </a:lnTo>
                      <a:lnTo>
                        <a:pt x="33" y="11"/>
                      </a:lnTo>
                      <a:lnTo>
                        <a:pt x="29" y="13"/>
                      </a:lnTo>
                      <a:lnTo>
                        <a:pt x="24"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2" name="Freeform 691"/>
                <p:cNvSpPr>
                  <a:spLocks/>
                </p:cNvSpPr>
                <p:nvPr/>
              </p:nvSpPr>
              <p:spPr bwMode="auto">
                <a:xfrm>
                  <a:off x="4314828" y="3894705"/>
                  <a:ext cx="393646" cy="460241"/>
                </a:xfrm>
                <a:custGeom>
                  <a:avLst/>
                  <a:gdLst>
                    <a:gd name="T0" fmla="*/ 2147483647 w 288"/>
                    <a:gd name="T1" fmla="*/ 2147483647 h 311"/>
                    <a:gd name="T2" fmla="*/ 2147483647 w 288"/>
                    <a:gd name="T3" fmla="*/ 2147483647 h 311"/>
                    <a:gd name="T4" fmla="*/ 2147483647 w 288"/>
                    <a:gd name="T5" fmla="*/ 2147483647 h 311"/>
                    <a:gd name="T6" fmla="*/ 2147483647 w 288"/>
                    <a:gd name="T7" fmla="*/ 2147483647 h 311"/>
                    <a:gd name="T8" fmla="*/ 2147483647 w 288"/>
                    <a:gd name="T9" fmla="*/ 2147483647 h 311"/>
                    <a:gd name="T10" fmla="*/ 2147483647 w 288"/>
                    <a:gd name="T11" fmla="*/ 2147483647 h 311"/>
                    <a:gd name="T12" fmla="*/ 2147483647 w 288"/>
                    <a:gd name="T13" fmla="*/ 2147483647 h 311"/>
                    <a:gd name="T14" fmla="*/ 2147483647 w 288"/>
                    <a:gd name="T15" fmla="*/ 2147483647 h 311"/>
                    <a:gd name="T16" fmla="*/ 2147483647 w 288"/>
                    <a:gd name="T17" fmla="*/ 2147483647 h 311"/>
                    <a:gd name="T18" fmla="*/ 2147483647 w 288"/>
                    <a:gd name="T19" fmla="*/ 2147483647 h 311"/>
                    <a:gd name="T20" fmla="*/ 2147483647 w 288"/>
                    <a:gd name="T21" fmla="*/ 2147483647 h 311"/>
                    <a:gd name="T22" fmla="*/ 2147483647 w 288"/>
                    <a:gd name="T23" fmla="*/ 2147483647 h 311"/>
                    <a:gd name="T24" fmla="*/ 2147483647 w 288"/>
                    <a:gd name="T25" fmla="*/ 2147483647 h 311"/>
                    <a:gd name="T26" fmla="*/ 2147483647 w 288"/>
                    <a:gd name="T27" fmla="*/ 2147483647 h 311"/>
                    <a:gd name="T28" fmla="*/ 2147483647 w 288"/>
                    <a:gd name="T29" fmla="*/ 2147483647 h 311"/>
                    <a:gd name="T30" fmla="*/ 2147483647 w 288"/>
                    <a:gd name="T31" fmla="*/ 2147483647 h 311"/>
                    <a:gd name="T32" fmla="*/ 2147483647 w 288"/>
                    <a:gd name="T33" fmla="*/ 2147483647 h 311"/>
                    <a:gd name="T34" fmla="*/ 0 w 288"/>
                    <a:gd name="T35" fmla="*/ 2147483647 h 311"/>
                    <a:gd name="T36" fmla="*/ 2147483647 w 288"/>
                    <a:gd name="T37" fmla="*/ 2147483647 h 311"/>
                    <a:gd name="T38" fmla="*/ 2147483647 w 288"/>
                    <a:gd name="T39" fmla="*/ 2147483647 h 311"/>
                    <a:gd name="T40" fmla="*/ 2147483647 w 288"/>
                    <a:gd name="T41" fmla="*/ 2147483647 h 311"/>
                    <a:gd name="T42" fmla="*/ 2147483647 w 288"/>
                    <a:gd name="T43" fmla="*/ 2147483647 h 311"/>
                    <a:gd name="T44" fmla="*/ 2147483647 w 288"/>
                    <a:gd name="T45" fmla="*/ 2147483647 h 311"/>
                    <a:gd name="T46" fmla="*/ 2147483647 w 288"/>
                    <a:gd name="T47" fmla="*/ 2147483647 h 311"/>
                    <a:gd name="T48" fmla="*/ 2147483647 w 288"/>
                    <a:gd name="T49" fmla="*/ 2147483647 h 311"/>
                    <a:gd name="T50" fmla="*/ 2147483647 w 288"/>
                    <a:gd name="T51" fmla="*/ 2147483647 h 311"/>
                    <a:gd name="T52" fmla="*/ 2147483647 w 288"/>
                    <a:gd name="T53" fmla="*/ 2147483647 h 311"/>
                    <a:gd name="T54" fmla="*/ 2147483647 w 288"/>
                    <a:gd name="T55" fmla="*/ 2147483647 h 311"/>
                    <a:gd name="T56" fmla="*/ 2147483647 w 288"/>
                    <a:gd name="T57" fmla="*/ 2147483647 h 311"/>
                    <a:gd name="T58" fmla="*/ 2147483647 w 288"/>
                    <a:gd name="T59" fmla="*/ 2147483647 h 311"/>
                    <a:gd name="T60" fmla="*/ 2147483647 w 288"/>
                    <a:gd name="T61" fmla="*/ 2147483647 h 311"/>
                    <a:gd name="T62" fmla="*/ 2147483647 w 288"/>
                    <a:gd name="T63" fmla="*/ 2147483647 h 311"/>
                    <a:gd name="T64" fmla="*/ 2147483647 w 288"/>
                    <a:gd name="T65" fmla="*/ 2147483647 h 311"/>
                    <a:gd name="T66" fmla="*/ 2147483647 w 288"/>
                    <a:gd name="T67" fmla="*/ 2147483647 h 311"/>
                    <a:gd name="T68" fmla="*/ 2147483647 w 288"/>
                    <a:gd name="T69" fmla="*/ 2147483647 h 311"/>
                    <a:gd name="T70" fmla="*/ 2147483647 w 288"/>
                    <a:gd name="T71" fmla="*/ 2147483647 h 311"/>
                    <a:gd name="T72" fmla="*/ 2147483647 w 288"/>
                    <a:gd name="T73" fmla="*/ 2147483647 h 311"/>
                    <a:gd name="T74" fmla="*/ 2147483647 w 288"/>
                    <a:gd name="T75" fmla="*/ 2147483647 h 311"/>
                    <a:gd name="T76" fmla="*/ 2147483647 w 288"/>
                    <a:gd name="T77" fmla="*/ 2147483647 h 311"/>
                    <a:gd name="T78" fmla="*/ 2147483647 w 288"/>
                    <a:gd name="T79" fmla="*/ 2147483647 h 311"/>
                    <a:gd name="T80" fmla="*/ 2147483647 w 288"/>
                    <a:gd name="T81" fmla="*/ 2147483647 h 311"/>
                    <a:gd name="T82" fmla="*/ 2147483647 w 288"/>
                    <a:gd name="T83" fmla="*/ 2147483647 h 311"/>
                    <a:gd name="T84" fmla="*/ 2147483647 w 288"/>
                    <a:gd name="T85" fmla="*/ 2147483647 h 311"/>
                    <a:gd name="T86" fmla="*/ 2147483647 w 288"/>
                    <a:gd name="T87" fmla="*/ 2147483647 h 311"/>
                    <a:gd name="T88" fmla="*/ 2147483647 w 288"/>
                    <a:gd name="T89" fmla="*/ 2147483647 h 311"/>
                    <a:gd name="T90" fmla="*/ 2147483647 w 288"/>
                    <a:gd name="T91" fmla="*/ 2147483647 h 3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8"/>
                    <a:gd name="T139" fmla="*/ 0 h 311"/>
                    <a:gd name="T140" fmla="*/ 288 w 288"/>
                    <a:gd name="T141" fmla="*/ 311 h 3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8" h="311">
                      <a:moveTo>
                        <a:pt x="287" y="117"/>
                      </a:moveTo>
                      <a:lnTo>
                        <a:pt x="283" y="117"/>
                      </a:lnTo>
                      <a:lnTo>
                        <a:pt x="278" y="117"/>
                      </a:lnTo>
                      <a:lnTo>
                        <a:pt x="276" y="115"/>
                      </a:lnTo>
                      <a:lnTo>
                        <a:pt x="273" y="112"/>
                      </a:lnTo>
                      <a:lnTo>
                        <a:pt x="273" y="109"/>
                      </a:lnTo>
                      <a:lnTo>
                        <a:pt x="273" y="106"/>
                      </a:lnTo>
                      <a:lnTo>
                        <a:pt x="276" y="102"/>
                      </a:lnTo>
                      <a:lnTo>
                        <a:pt x="276" y="100"/>
                      </a:lnTo>
                      <a:lnTo>
                        <a:pt x="274" y="97"/>
                      </a:lnTo>
                      <a:lnTo>
                        <a:pt x="272" y="96"/>
                      </a:lnTo>
                      <a:lnTo>
                        <a:pt x="267" y="94"/>
                      </a:lnTo>
                      <a:lnTo>
                        <a:pt x="266" y="94"/>
                      </a:lnTo>
                      <a:lnTo>
                        <a:pt x="264" y="91"/>
                      </a:lnTo>
                      <a:lnTo>
                        <a:pt x="264" y="89"/>
                      </a:lnTo>
                      <a:lnTo>
                        <a:pt x="260" y="87"/>
                      </a:lnTo>
                      <a:lnTo>
                        <a:pt x="257" y="85"/>
                      </a:lnTo>
                      <a:lnTo>
                        <a:pt x="248" y="83"/>
                      </a:lnTo>
                      <a:lnTo>
                        <a:pt x="245" y="83"/>
                      </a:lnTo>
                      <a:lnTo>
                        <a:pt x="243" y="82"/>
                      </a:lnTo>
                      <a:lnTo>
                        <a:pt x="243" y="81"/>
                      </a:lnTo>
                      <a:lnTo>
                        <a:pt x="240" y="75"/>
                      </a:lnTo>
                      <a:lnTo>
                        <a:pt x="236" y="69"/>
                      </a:lnTo>
                      <a:lnTo>
                        <a:pt x="139" y="1"/>
                      </a:lnTo>
                      <a:lnTo>
                        <a:pt x="116" y="0"/>
                      </a:lnTo>
                      <a:lnTo>
                        <a:pt x="116" y="180"/>
                      </a:lnTo>
                      <a:lnTo>
                        <a:pt x="113" y="180"/>
                      </a:lnTo>
                      <a:lnTo>
                        <a:pt x="80" y="179"/>
                      </a:lnTo>
                      <a:lnTo>
                        <a:pt x="64" y="179"/>
                      </a:lnTo>
                      <a:lnTo>
                        <a:pt x="47" y="180"/>
                      </a:lnTo>
                      <a:lnTo>
                        <a:pt x="43" y="182"/>
                      </a:lnTo>
                      <a:lnTo>
                        <a:pt x="38" y="184"/>
                      </a:lnTo>
                      <a:lnTo>
                        <a:pt x="36" y="186"/>
                      </a:lnTo>
                      <a:lnTo>
                        <a:pt x="33" y="191"/>
                      </a:lnTo>
                      <a:lnTo>
                        <a:pt x="32" y="192"/>
                      </a:lnTo>
                      <a:lnTo>
                        <a:pt x="29" y="193"/>
                      </a:lnTo>
                      <a:lnTo>
                        <a:pt x="27" y="193"/>
                      </a:lnTo>
                      <a:lnTo>
                        <a:pt x="26" y="193"/>
                      </a:lnTo>
                      <a:lnTo>
                        <a:pt x="23" y="191"/>
                      </a:lnTo>
                      <a:lnTo>
                        <a:pt x="22" y="189"/>
                      </a:lnTo>
                      <a:lnTo>
                        <a:pt x="22" y="186"/>
                      </a:lnTo>
                      <a:lnTo>
                        <a:pt x="23" y="184"/>
                      </a:lnTo>
                      <a:lnTo>
                        <a:pt x="19" y="184"/>
                      </a:lnTo>
                      <a:lnTo>
                        <a:pt x="15" y="187"/>
                      </a:lnTo>
                      <a:lnTo>
                        <a:pt x="14" y="191"/>
                      </a:lnTo>
                      <a:lnTo>
                        <a:pt x="13" y="195"/>
                      </a:lnTo>
                      <a:lnTo>
                        <a:pt x="12" y="202"/>
                      </a:lnTo>
                      <a:lnTo>
                        <a:pt x="12" y="205"/>
                      </a:lnTo>
                      <a:lnTo>
                        <a:pt x="13" y="210"/>
                      </a:lnTo>
                      <a:lnTo>
                        <a:pt x="8" y="209"/>
                      </a:lnTo>
                      <a:lnTo>
                        <a:pt x="4" y="208"/>
                      </a:lnTo>
                      <a:lnTo>
                        <a:pt x="0" y="219"/>
                      </a:lnTo>
                      <a:lnTo>
                        <a:pt x="0" y="225"/>
                      </a:lnTo>
                      <a:lnTo>
                        <a:pt x="0" y="228"/>
                      </a:lnTo>
                      <a:lnTo>
                        <a:pt x="1" y="231"/>
                      </a:lnTo>
                      <a:lnTo>
                        <a:pt x="6" y="236"/>
                      </a:lnTo>
                      <a:lnTo>
                        <a:pt x="10" y="241"/>
                      </a:lnTo>
                      <a:lnTo>
                        <a:pt x="14" y="246"/>
                      </a:lnTo>
                      <a:lnTo>
                        <a:pt x="14" y="249"/>
                      </a:lnTo>
                      <a:lnTo>
                        <a:pt x="14" y="253"/>
                      </a:lnTo>
                      <a:lnTo>
                        <a:pt x="18" y="254"/>
                      </a:lnTo>
                      <a:lnTo>
                        <a:pt x="22" y="255"/>
                      </a:lnTo>
                      <a:lnTo>
                        <a:pt x="28" y="256"/>
                      </a:lnTo>
                      <a:lnTo>
                        <a:pt x="33" y="255"/>
                      </a:lnTo>
                      <a:lnTo>
                        <a:pt x="38" y="255"/>
                      </a:lnTo>
                      <a:lnTo>
                        <a:pt x="45" y="256"/>
                      </a:lnTo>
                      <a:lnTo>
                        <a:pt x="47" y="256"/>
                      </a:lnTo>
                      <a:lnTo>
                        <a:pt x="50" y="259"/>
                      </a:lnTo>
                      <a:lnTo>
                        <a:pt x="52" y="262"/>
                      </a:lnTo>
                      <a:lnTo>
                        <a:pt x="53" y="266"/>
                      </a:lnTo>
                      <a:lnTo>
                        <a:pt x="53" y="268"/>
                      </a:lnTo>
                      <a:lnTo>
                        <a:pt x="52" y="273"/>
                      </a:lnTo>
                      <a:lnTo>
                        <a:pt x="51" y="275"/>
                      </a:lnTo>
                      <a:lnTo>
                        <a:pt x="52" y="278"/>
                      </a:lnTo>
                      <a:lnTo>
                        <a:pt x="55" y="280"/>
                      </a:lnTo>
                      <a:lnTo>
                        <a:pt x="59" y="281"/>
                      </a:lnTo>
                      <a:lnTo>
                        <a:pt x="59" y="282"/>
                      </a:lnTo>
                      <a:lnTo>
                        <a:pt x="59" y="283"/>
                      </a:lnTo>
                      <a:lnTo>
                        <a:pt x="56" y="287"/>
                      </a:lnTo>
                      <a:lnTo>
                        <a:pt x="52" y="289"/>
                      </a:lnTo>
                      <a:lnTo>
                        <a:pt x="51" y="291"/>
                      </a:lnTo>
                      <a:lnTo>
                        <a:pt x="50" y="292"/>
                      </a:lnTo>
                      <a:lnTo>
                        <a:pt x="50" y="295"/>
                      </a:lnTo>
                      <a:lnTo>
                        <a:pt x="52" y="297"/>
                      </a:lnTo>
                      <a:lnTo>
                        <a:pt x="56" y="298"/>
                      </a:lnTo>
                      <a:lnTo>
                        <a:pt x="61" y="299"/>
                      </a:lnTo>
                      <a:lnTo>
                        <a:pt x="71" y="299"/>
                      </a:lnTo>
                      <a:lnTo>
                        <a:pt x="73" y="299"/>
                      </a:lnTo>
                      <a:lnTo>
                        <a:pt x="74" y="300"/>
                      </a:lnTo>
                      <a:lnTo>
                        <a:pt x="75" y="305"/>
                      </a:lnTo>
                      <a:lnTo>
                        <a:pt x="76" y="308"/>
                      </a:lnTo>
                      <a:lnTo>
                        <a:pt x="78" y="310"/>
                      </a:lnTo>
                      <a:lnTo>
                        <a:pt x="79" y="310"/>
                      </a:lnTo>
                      <a:lnTo>
                        <a:pt x="81" y="310"/>
                      </a:lnTo>
                      <a:lnTo>
                        <a:pt x="84" y="311"/>
                      </a:lnTo>
                      <a:lnTo>
                        <a:pt x="89" y="302"/>
                      </a:lnTo>
                      <a:lnTo>
                        <a:pt x="93" y="300"/>
                      </a:lnTo>
                      <a:lnTo>
                        <a:pt x="97" y="298"/>
                      </a:lnTo>
                      <a:lnTo>
                        <a:pt x="97" y="299"/>
                      </a:lnTo>
                      <a:lnTo>
                        <a:pt x="99" y="300"/>
                      </a:lnTo>
                      <a:lnTo>
                        <a:pt x="103" y="300"/>
                      </a:lnTo>
                      <a:lnTo>
                        <a:pt x="106" y="300"/>
                      </a:lnTo>
                      <a:lnTo>
                        <a:pt x="108" y="299"/>
                      </a:lnTo>
                      <a:lnTo>
                        <a:pt x="113" y="295"/>
                      </a:lnTo>
                      <a:lnTo>
                        <a:pt x="121" y="292"/>
                      </a:lnTo>
                      <a:lnTo>
                        <a:pt x="121" y="286"/>
                      </a:lnTo>
                      <a:lnTo>
                        <a:pt x="122" y="280"/>
                      </a:lnTo>
                      <a:lnTo>
                        <a:pt x="125" y="268"/>
                      </a:lnTo>
                      <a:lnTo>
                        <a:pt x="128" y="259"/>
                      </a:lnTo>
                      <a:lnTo>
                        <a:pt x="131" y="250"/>
                      </a:lnTo>
                      <a:lnTo>
                        <a:pt x="133" y="247"/>
                      </a:lnTo>
                      <a:lnTo>
                        <a:pt x="136" y="243"/>
                      </a:lnTo>
                      <a:lnTo>
                        <a:pt x="140" y="241"/>
                      </a:lnTo>
                      <a:lnTo>
                        <a:pt x="144" y="238"/>
                      </a:lnTo>
                      <a:lnTo>
                        <a:pt x="150" y="235"/>
                      </a:lnTo>
                      <a:lnTo>
                        <a:pt x="155" y="231"/>
                      </a:lnTo>
                      <a:lnTo>
                        <a:pt x="164" y="223"/>
                      </a:lnTo>
                      <a:lnTo>
                        <a:pt x="172" y="215"/>
                      </a:lnTo>
                      <a:lnTo>
                        <a:pt x="180" y="206"/>
                      </a:lnTo>
                      <a:lnTo>
                        <a:pt x="189" y="199"/>
                      </a:lnTo>
                      <a:lnTo>
                        <a:pt x="198" y="193"/>
                      </a:lnTo>
                      <a:lnTo>
                        <a:pt x="203" y="191"/>
                      </a:lnTo>
                      <a:lnTo>
                        <a:pt x="208" y="191"/>
                      </a:lnTo>
                      <a:lnTo>
                        <a:pt x="213" y="192"/>
                      </a:lnTo>
                      <a:lnTo>
                        <a:pt x="219" y="195"/>
                      </a:lnTo>
                      <a:lnTo>
                        <a:pt x="222" y="196"/>
                      </a:lnTo>
                      <a:lnTo>
                        <a:pt x="226" y="195"/>
                      </a:lnTo>
                      <a:lnTo>
                        <a:pt x="234" y="192"/>
                      </a:lnTo>
                      <a:lnTo>
                        <a:pt x="255" y="189"/>
                      </a:lnTo>
                      <a:lnTo>
                        <a:pt x="264" y="185"/>
                      </a:lnTo>
                      <a:lnTo>
                        <a:pt x="269" y="184"/>
                      </a:lnTo>
                      <a:lnTo>
                        <a:pt x="273" y="180"/>
                      </a:lnTo>
                      <a:lnTo>
                        <a:pt x="279" y="174"/>
                      </a:lnTo>
                      <a:lnTo>
                        <a:pt x="285" y="167"/>
                      </a:lnTo>
                      <a:lnTo>
                        <a:pt x="287" y="160"/>
                      </a:lnTo>
                      <a:lnTo>
                        <a:pt x="288" y="152"/>
                      </a:lnTo>
                      <a:lnTo>
                        <a:pt x="288" y="134"/>
                      </a:lnTo>
                      <a:lnTo>
                        <a:pt x="287" y="1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3" name="Freeform 692"/>
                <p:cNvSpPr>
                  <a:spLocks/>
                </p:cNvSpPr>
                <p:nvPr/>
              </p:nvSpPr>
              <p:spPr bwMode="auto">
                <a:xfrm>
                  <a:off x="4394743" y="4320907"/>
                  <a:ext cx="155386" cy="171665"/>
                </a:xfrm>
                <a:custGeom>
                  <a:avLst/>
                  <a:gdLst>
                    <a:gd name="T0" fmla="*/ 2147483647 w 113"/>
                    <a:gd name="T1" fmla="*/ 2147483647 h 116"/>
                    <a:gd name="T2" fmla="*/ 2147483647 w 113"/>
                    <a:gd name="T3" fmla="*/ 2147483647 h 116"/>
                    <a:gd name="T4" fmla="*/ 2147483647 w 113"/>
                    <a:gd name="T5" fmla="*/ 2147483647 h 116"/>
                    <a:gd name="T6" fmla="*/ 2147483647 w 113"/>
                    <a:gd name="T7" fmla="*/ 2147483647 h 116"/>
                    <a:gd name="T8" fmla="*/ 2147483647 w 113"/>
                    <a:gd name="T9" fmla="*/ 2147483647 h 116"/>
                    <a:gd name="T10" fmla="*/ 2147483647 w 113"/>
                    <a:gd name="T11" fmla="*/ 2147483647 h 116"/>
                    <a:gd name="T12" fmla="*/ 2147483647 w 113"/>
                    <a:gd name="T13" fmla="*/ 2147483647 h 116"/>
                    <a:gd name="T14" fmla="*/ 2147483647 w 113"/>
                    <a:gd name="T15" fmla="*/ 2147483647 h 116"/>
                    <a:gd name="T16" fmla="*/ 2147483647 w 113"/>
                    <a:gd name="T17" fmla="*/ 2147483647 h 116"/>
                    <a:gd name="T18" fmla="*/ 2147483647 w 113"/>
                    <a:gd name="T19" fmla="*/ 2147483647 h 116"/>
                    <a:gd name="T20" fmla="*/ 2147483647 w 113"/>
                    <a:gd name="T21" fmla="*/ 2147483647 h 116"/>
                    <a:gd name="T22" fmla="*/ 2147483647 w 113"/>
                    <a:gd name="T23" fmla="*/ 2147483647 h 116"/>
                    <a:gd name="T24" fmla="*/ 0 w 113"/>
                    <a:gd name="T25" fmla="*/ 2147483647 h 116"/>
                    <a:gd name="T26" fmla="*/ 0 w 113"/>
                    <a:gd name="T27" fmla="*/ 2147483647 h 116"/>
                    <a:gd name="T28" fmla="*/ 2147483647 w 113"/>
                    <a:gd name="T29" fmla="*/ 2147483647 h 116"/>
                    <a:gd name="T30" fmla="*/ 2147483647 w 113"/>
                    <a:gd name="T31" fmla="*/ 2147483647 h 116"/>
                    <a:gd name="T32" fmla="*/ 2147483647 w 113"/>
                    <a:gd name="T33" fmla="*/ 2147483647 h 116"/>
                    <a:gd name="T34" fmla="*/ 2147483647 w 113"/>
                    <a:gd name="T35" fmla="*/ 2147483647 h 116"/>
                    <a:gd name="T36" fmla="*/ 2147483647 w 113"/>
                    <a:gd name="T37" fmla="*/ 2147483647 h 116"/>
                    <a:gd name="T38" fmla="*/ 2147483647 w 113"/>
                    <a:gd name="T39" fmla="*/ 2147483647 h 116"/>
                    <a:gd name="T40" fmla="*/ 2147483647 w 113"/>
                    <a:gd name="T41" fmla="*/ 2147483647 h 116"/>
                    <a:gd name="T42" fmla="*/ 2147483647 w 113"/>
                    <a:gd name="T43" fmla="*/ 2147483647 h 116"/>
                    <a:gd name="T44" fmla="*/ 2147483647 w 113"/>
                    <a:gd name="T45" fmla="*/ 2147483647 h 116"/>
                    <a:gd name="T46" fmla="*/ 2147483647 w 113"/>
                    <a:gd name="T47" fmla="*/ 2147483647 h 116"/>
                    <a:gd name="T48" fmla="*/ 2147483647 w 113"/>
                    <a:gd name="T49" fmla="*/ 2147483647 h 116"/>
                    <a:gd name="T50" fmla="*/ 2147483647 w 113"/>
                    <a:gd name="T51" fmla="*/ 2147483647 h 116"/>
                    <a:gd name="T52" fmla="*/ 2147483647 w 113"/>
                    <a:gd name="T53" fmla="*/ 2147483647 h 116"/>
                    <a:gd name="T54" fmla="*/ 2147483647 w 113"/>
                    <a:gd name="T55" fmla="*/ 2147483647 h 116"/>
                    <a:gd name="T56" fmla="*/ 2147483647 w 113"/>
                    <a:gd name="T57" fmla="*/ 2147483647 h 116"/>
                    <a:gd name="T58" fmla="*/ 2147483647 w 113"/>
                    <a:gd name="T59" fmla="*/ 2147483647 h 116"/>
                    <a:gd name="T60" fmla="*/ 2147483647 w 113"/>
                    <a:gd name="T61" fmla="*/ 2147483647 h 116"/>
                    <a:gd name="T62" fmla="*/ 2147483647 w 113"/>
                    <a:gd name="T63" fmla="*/ 2147483647 h 116"/>
                    <a:gd name="T64" fmla="*/ 2147483647 w 113"/>
                    <a:gd name="T65" fmla="*/ 2147483647 h 116"/>
                    <a:gd name="T66" fmla="*/ 2147483647 w 113"/>
                    <a:gd name="T67" fmla="*/ 2147483647 h 116"/>
                    <a:gd name="T68" fmla="*/ 2147483647 w 113"/>
                    <a:gd name="T69" fmla="*/ 2147483647 h 116"/>
                    <a:gd name="T70" fmla="*/ 2147483647 w 113"/>
                    <a:gd name="T71" fmla="*/ 2147483647 h 116"/>
                    <a:gd name="T72" fmla="*/ 2147483647 w 113"/>
                    <a:gd name="T73" fmla="*/ 2147483647 h 116"/>
                    <a:gd name="T74" fmla="*/ 2147483647 w 113"/>
                    <a:gd name="T75" fmla="*/ 2147483647 h 116"/>
                    <a:gd name="T76" fmla="*/ 2147483647 w 113"/>
                    <a:gd name="T77" fmla="*/ 2147483647 h 116"/>
                    <a:gd name="T78" fmla="*/ 2147483647 w 113"/>
                    <a:gd name="T79" fmla="*/ 2147483647 h 116"/>
                    <a:gd name="T80" fmla="*/ 2147483647 w 113"/>
                    <a:gd name="T81" fmla="*/ 2147483647 h 116"/>
                    <a:gd name="T82" fmla="*/ 2147483647 w 113"/>
                    <a:gd name="T83" fmla="*/ 2147483647 h 116"/>
                    <a:gd name="T84" fmla="*/ 2147483647 w 113"/>
                    <a:gd name="T85" fmla="*/ 2147483647 h 116"/>
                    <a:gd name="T86" fmla="*/ 2147483647 w 113"/>
                    <a:gd name="T87" fmla="*/ 2147483647 h 116"/>
                    <a:gd name="T88" fmla="*/ 2147483647 w 113"/>
                    <a:gd name="T89" fmla="*/ 2147483647 h 116"/>
                    <a:gd name="T90" fmla="*/ 2147483647 w 113"/>
                    <a:gd name="T91" fmla="*/ 2147483647 h 116"/>
                    <a:gd name="T92" fmla="*/ 2147483647 w 113"/>
                    <a:gd name="T93" fmla="*/ 0 h 116"/>
                    <a:gd name="T94" fmla="*/ 2147483647 w 113"/>
                    <a:gd name="T95" fmla="*/ 2147483647 h 116"/>
                    <a:gd name="T96" fmla="*/ 2147483647 w 113"/>
                    <a:gd name="T97" fmla="*/ 2147483647 h 116"/>
                    <a:gd name="T98" fmla="*/ 2147483647 w 113"/>
                    <a:gd name="T99" fmla="*/ 2147483647 h 116"/>
                    <a:gd name="T100" fmla="*/ 2147483647 w 113"/>
                    <a:gd name="T101" fmla="*/ 2147483647 h 116"/>
                    <a:gd name="T102" fmla="*/ 2147483647 w 113"/>
                    <a:gd name="T103" fmla="*/ 2147483647 h 116"/>
                    <a:gd name="T104" fmla="*/ 2147483647 w 113"/>
                    <a:gd name="T105" fmla="*/ 2147483647 h 116"/>
                    <a:gd name="T106" fmla="*/ 2147483647 w 113"/>
                    <a:gd name="T107" fmla="*/ 2147483647 h 116"/>
                    <a:gd name="T108" fmla="*/ 2147483647 w 113"/>
                    <a:gd name="T109" fmla="*/ 2147483647 h 11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
                    <a:gd name="T166" fmla="*/ 0 h 116"/>
                    <a:gd name="T167" fmla="*/ 113 w 113"/>
                    <a:gd name="T168" fmla="*/ 116 h 11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 h="116">
                      <a:moveTo>
                        <a:pt x="24" y="22"/>
                      </a:moveTo>
                      <a:lnTo>
                        <a:pt x="24" y="22"/>
                      </a:lnTo>
                      <a:lnTo>
                        <a:pt x="21" y="30"/>
                      </a:lnTo>
                      <a:lnTo>
                        <a:pt x="20" y="39"/>
                      </a:lnTo>
                      <a:lnTo>
                        <a:pt x="19" y="39"/>
                      </a:lnTo>
                      <a:lnTo>
                        <a:pt x="17" y="39"/>
                      </a:lnTo>
                      <a:lnTo>
                        <a:pt x="15" y="39"/>
                      </a:lnTo>
                      <a:lnTo>
                        <a:pt x="14" y="39"/>
                      </a:lnTo>
                      <a:lnTo>
                        <a:pt x="12" y="41"/>
                      </a:lnTo>
                      <a:lnTo>
                        <a:pt x="12" y="43"/>
                      </a:lnTo>
                      <a:lnTo>
                        <a:pt x="14" y="45"/>
                      </a:lnTo>
                      <a:lnTo>
                        <a:pt x="16" y="49"/>
                      </a:lnTo>
                      <a:lnTo>
                        <a:pt x="16" y="50"/>
                      </a:lnTo>
                      <a:lnTo>
                        <a:pt x="15" y="51"/>
                      </a:lnTo>
                      <a:lnTo>
                        <a:pt x="12" y="55"/>
                      </a:lnTo>
                      <a:lnTo>
                        <a:pt x="7" y="57"/>
                      </a:lnTo>
                      <a:lnTo>
                        <a:pt x="8" y="62"/>
                      </a:lnTo>
                      <a:lnTo>
                        <a:pt x="7" y="68"/>
                      </a:lnTo>
                      <a:lnTo>
                        <a:pt x="5" y="73"/>
                      </a:lnTo>
                      <a:lnTo>
                        <a:pt x="1" y="76"/>
                      </a:lnTo>
                      <a:lnTo>
                        <a:pt x="0" y="78"/>
                      </a:lnTo>
                      <a:lnTo>
                        <a:pt x="0" y="81"/>
                      </a:lnTo>
                      <a:lnTo>
                        <a:pt x="0" y="83"/>
                      </a:lnTo>
                      <a:lnTo>
                        <a:pt x="1" y="83"/>
                      </a:lnTo>
                      <a:lnTo>
                        <a:pt x="5" y="82"/>
                      </a:lnTo>
                      <a:lnTo>
                        <a:pt x="7" y="83"/>
                      </a:lnTo>
                      <a:lnTo>
                        <a:pt x="8" y="83"/>
                      </a:lnTo>
                      <a:lnTo>
                        <a:pt x="11" y="86"/>
                      </a:lnTo>
                      <a:lnTo>
                        <a:pt x="12" y="89"/>
                      </a:lnTo>
                      <a:lnTo>
                        <a:pt x="16" y="93"/>
                      </a:lnTo>
                      <a:lnTo>
                        <a:pt x="17" y="94"/>
                      </a:lnTo>
                      <a:lnTo>
                        <a:pt x="19" y="94"/>
                      </a:lnTo>
                      <a:lnTo>
                        <a:pt x="22" y="93"/>
                      </a:lnTo>
                      <a:lnTo>
                        <a:pt x="25" y="94"/>
                      </a:lnTo>
                      <a:lnTo>
                        <a:pt x="26" y="94"/>
                      </a:lnTo>
                      <a:lnTo>
                        <a:pt x="26" y="100"/>
                      </a:lnTo>
                      <a:lnTo>
                        <a:pt x="26" y="106"/>
                      </a:lnTo>
                      <a:lnTo>
                        <a:pt x="25" y="110"/>
                      </a:lnTo>
                      <a:lnTo>
                        <a:pt x="26" y="116"/>
                      </a:lnTo>
                      <a:lnTo>
                        <a:pt x="39" y="116"/>
                      </a:lnTo>
                      <a:lnTo>
                        <a:pt x="45" y="115"/>
                      </a:lnTo>
                      <a:lnTo>
                        <a:pt x="52" y="115"/>
                      </a:lnTo>
                      <a:lnTo>
                        <a:pt x="60" y="112"/>
                      </a:lnTo>
                      <a:lnTo>
                        <a:pt x="69" y="108"/>
                      </a:lnTo>
                      <a:lnTo>
                        <a:pt x="78" y="107"/>
                      </a:lnTo>
                      <a:lnTo>
                        <a:pt x="82" y="107"/>
                      </a:lnTo>
                      <a:lnTo>
                        <a:pt x="87" y="108"/>
                      </a:lnTo>
                      <a:lnTo>
                        <a:pt x="91" y="109"/>
                      </a:lnTo>
                      <a:lnTo>
                        <a:pt x="96" y="109"/>
                      </a:lnTo>
                      <a:lnTo>
                        <a:pt x="105" y="108"/>
                      </a:lnTo>
                      <a:lnTo>
                        <a:pt x="105" y="105"/>
                      </a:lnTo>
                      <a:lnTo>
                        <a:pt x="105" y="101"/>
                      </a:lnTo>
                      <a:lnTo>
                        <a:pt x="105" y="96"/>
                      </a:lnTo>
                      <a:lnTo>
                        <a:pt x="104" y="93"/>
                      </a:lnTo>
                      <a:lnTo>
                        <a:pt x="100" y="88"/>
                      </a:lnTo>
                      <a:lnTo>
                        <a:pt x="99" y="82"/>
                      </a:lnTo>
                      <a:lnTo>
                        <a:pt x="99" y="76"/>
                      </a:lnTo>
                      <a:lnTo>
                        <a:pt x="100" y="70"/>
                      </a:lnTo>
                      <a:lnTo>
                        <a:pt x="106" y="57"/>
                      </a:lnTo>
                      <a:lnTo>
                        <a:pt x="111" y="44"/>
                      </a:lnTo>
                      <a:lnTo>
                        <a:pt x="113" y="37"/>
                      </a:lnTo>
                      <a:lnTo>
                        <a:pt x="113" y="30"/>
                      </a:lnTo>
                      <a:lnTo>
                        <a:pt x="113" y="23"/>
                      </a:lnTo>
                      <a:lnTo>
                        <a:pt x="110" y="16"/>
                      </a:lnTo>
                      <a:lnTo>
                        <a:pt x="109" y="13"/>
                      </a:lnTo>
                      <a:lnTo>
                        <a:pt x="106" y="11"/>
                      </a:lnTo>
                      <a:lnTo>
                        <a:pt x="101" y="9"/>
                      </a:lnTo>
                      <a:lnTo>
                        <a:pt x="97" y="10"/>
                      </a:lnTo>
                      <a:lnTo>
                        <a:pt x="90" y="14"/>
                      </a:lnTo>
                      <a:lnTo>
                        <a:pt x="87" y="14"/>
                      </a:lnTo>
                      <a:lnTo>
                        <a:pt x="85" y="14"/>
                      </a:lnTo>
                      <a:lnTo>
                        <a:pt x="81" y="12"/>
                      </a:lnTo>
                      <a:lnTo>
                        <a:pt x="72" y="3"/>
                      </a:lnTo>
                      <a:lnTo>
                        <a:pt x="69" y="1"/>
                      </a:lnTo>
                      <a:lnTo>
                        <a:pt x="67" y="0"/>
                      </a:lnTo>
                      <a:lnTo>
                        <a:pt x="63" y="1"/>
                      </a:lnTo>
                      <a:lnTo>
                        <a:pt x="60" y="3"/>
                      </a:lnTo>
                      <a:lnTo>
                        <a:pt x="53" y="6"/>
                      </a:lnTo>
                      <a:lnTo>
                        <a:pt x="48" y="10"/>
                      </a:lnTo>
                      <a:lnTo>
                        <a:pt x="45" y="11"/>
                      </a:lnTo>
                      <a:lnTo>
                        <a:pt x="43" y="11"/>
                      </a:lnTo>
                      <a:lnTo>
                        <a:pt x="39" y="11"/>
                      </a:lnTo>
                      <a:lnTo>
                        <a:pt x="36" y="10"/>
                      </a:lnTo>
                      <a:lnTo>
                        <a:pt x="36" y="9"/>
                      </a:lnTo>
                      <a:lnTo>
                        <a:pt x="33" y="11"/>
                      </a:lnTo>
                      <a:lnTo>
                        <a:pt x="29" y="13"/>
                      </a:lnTo>
                      <a:lnTo>
                        <a:pt x="24" y="2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4" name="Freeform 693"/>
                <p:cNvSpPr>
                  <a:spLocks/>
                </p:cNvSpPr>
                <p:nvPr/>
              </p:nvSpPr>
              <p:spPr bwMode="auto">
                <a:xfrm>
                  <a:off x="4313348" y="3893227"/>
                  <a:ext cx="393646" cy="460240"/>
                </a:xfrm>
                <a:custGeom>
                  <a:avLst/>
                  <a:gdLst>
                    <a:gd name="T0" fmla="*/ 2147483647 w 288"/>
                    <a:gd name="T1" fmla="*/ 2147483647 h 311"/>
                    <a:gd name="T2" fmla="*/ 2147483647 w 288"/>
                    <a:gd name="T3" fmla="*/ 2147483647 h 311"/>
                    <a:gd name="T4" fmla="*/ 2147483647 w 288"/>
                    <a:gd name="T5" fmla="*/ 2147483647 h 311"/>
                    <a:gd name="T6" fmla="*/ 2147483647 w 288"/>
                    <a:gd name="T7" fmla="*/ 2147483647 h 311"/>
                    <a:gd name="T8" fmla="*/ 2147483647 w 288"/>
                    <a:gd name="T9" fmla="*/ 2147483647 h 311"/>
                    <a:gd name="T10" fmla="*/ 2147483647 w 288"/>
                    <a:gd name="T11" fmla="*/ 2147483647 h 311"/>
                    <a:gd name="T12" fmla="*/ 2147483647 w 288"/>
                    <a:gd name="T13" fmla="*/ 2147483647 h 311"/>
                    <a:gd name="T14" fmla="*/ 2147483647 w 288"/>
                    <a:gd name="T15" fmla="*/ 2147483647 h 311"/>
                    <a:gd name="T16" fmla="*/ 2147483647 w 288"/>
                    <a:gd name="T17" fmla="*/ 2147483647 h 311"/>
                    <a:gd name="T18" fmla="*/ 2147483647 w 288"/>
                    <a:gd name="T19" fmla="*/ 2147483647 h 311"/>
                    <a:gd name="T20" fmla="*/ 2147483647 w 288"/>
                    <a:gd name="T21" fmla="*/ 0 h 311"/>
                    <a:gd name="T22" fmla="*/ 2147483647 w 288"/>
                    <a:gd name="T23" fmla="*/ 2147483647 h 311"/>
                    <a:gd name="T24" fmla="*/ 2147483647 w 288"/>
                    <a:gd name="T25" fmla="*/ 2147483647 h 311"/>
                    <a:gd name="T26" fmla="*/ 2147483647 w 288"/>
                    <a:gd name="T27" fmla="*/ 2147483647 h 311"/>
                    <a:gd name="T28" fmla="*/ 2147483647 w 288"/>
                    <a:gd name="T29" fmla="*/ 2147483647 h 311"/>
                    <a:gd name="T30" fmla="*/ 2147483647 w 288"/>
                    <a:gd name="T31" fmla="*/ 2147483647 h 311"/>
                    <a:gd name="T32" fmla="*/ 2147483647 w 288"/>
                    <a:gd name="T33" fmla="*/ 2147483647 h 311"/>
                    <a:gd name="T34" fmla="*/ 2147483647 w 288"/>
                    <a:gd name="T35" fmla="*/ 2147483647 h 311"/>
                    <a:gd name="T36" fmla="*/ 2147483647 w 288"/>
                    <a:gd name="T37" fmla="*/ 2147483647 h 311"/>
                    <a:gd name="T38" fmla="*/ 2147483647 w 288"/>
                    <a:gd name="T39" fmla="*/ 2147483647 h 311"/>
                    <a:gd name="T40" fmla="*/ 2147483647 w 288"/>
                    <a:gd name="T41" fmla="*/ 2147483647 h 311"/>
                    <a:gd name="T42" fmla="*/ 2147483647 w 288"/>
                    <a:gd name="T43" fmla="*/ 2147483647 h 311"/>
                    <a:gd name="T44" fmla="*/ 0 w 288"/>
                    <a:gd name="T45" fmla="*/ 2147483647 h 311"/>
                    <a:gd name="T46" fmla="*/ 2147483647 w 288"/>
                    <a:gd name="T47" fmla="*/ 2147483647 h 311"/>
                    <a:gd name="T48" fmla="*/ 2147483647 w 288"/>
                    <a:gd name="T49" fmla="*/ 2147483647 h 311"/>
                    <a:gd name="T50" fmla="*/ 2147483647 w 288"/>
                    <a:gd name="T51" fmla="*/ 2147483647 h 311"/>
                    <a:gd name="T52" fmla="*/ 2147483647 w 288"/>
                    <a:gd name="T53" fmla="*/ 2147483647 h 311"/>
                    <a:gd name="T54" fmla="*/ 2147483647 w 288"/>
                    <a:gd name="T55" fmla="*/ 2147483647 h 311"/>
                    <a:gd name="T56" fmla="*/ 2147483647 w 288"/>
                    <a:gd name="T57" fmla="*/ 2147483647 h 311"/>
                    <a:gd name="T58" fmla="*/ 2147483647 w 288"/>
                    <a:gd name="T59" fmla="*/ 2147483647 h 311"/>
                    <a:gd name="T60" fmla="*/ 2147483647 w 288"/>
                    <a:gd name="T61" fmla="*/ 2147483647 h 311"/>
                    <a:gd name="T62" fmla="*/ 2147483647 w 288"/>
                    <a:gd name="T63" fmla="*/ 2147483647 h 311"/>
                    <a:gd name="T64" fmla="*/ 2147483647 w 288"/>
                    <a:gd name="T65" fmla="*/ 2147483647 h 311"/>
                    <a:gd name="T66" fmla="*/ 2147483647 w 288"/>
                    <a:gd name="T67" fmla="*/ 2147483647 h 311"/>
                    <a:gd name="T68" fmla="*/ 2147483647 w 288"/>
                    <a:gd name="T69" fmla="*/ 2147483647 h 311"/>
                    <a:gd name="T70" fmla="*/ 2147483647 w 288"/>
                    <a:gd name="T71" fmla="*/ 2147483647 h 311"/>
                    <a:gd name="T72" fmla="*/ 2147483647 w 288"/>
                    <a:gd name="T73" fmla="*/ 2147483647 h 311"/>
                    <a:gd name="T74" fmla="*/ 2147483647 w 288"/>
                    <a:gd name="T75" fmla="*/ 2147483647 h 311"/>
                    <a:gd name="T76" fmla="*/ 2147483647 w 288"/>
                    <a:gd name="T77" fmla="*/ 2147483647 h 311"/>
                    <a:gd name="T78" fmla="*/ 2147483647 w 288"/>
                    <a:gd name="T79" fmla="*/ 2147483647 h 311"/>
                    <a:gd name="T80" fmla="*/ 2147483647 w 288"/>
                    <a:gd name="T81" fmla="*/ 2147483647 h 311"/>
                    <a:gd name="T82" fmla="*/ 2147483647 w 288"/>
                    <a:gd name="T83" fmla="*/ 2147483647 h 311"/>
                    <a:gd name="T84" fmla="*/ 2147483647 w 288"/>
                    <a:gd name="T85" fmla="*/ 2147483647 h 311"/>
                    <a:gd name="T86" fmla="*/ 2147483647 w 288"/>
                    <a:gd name="T87" fmla="*/ 2147483647 h 311"/>
                    <a:gd name="T88" fmla="*/ 2147483647 w 288"/>
                    <a:gd name="T89" fmla="*/ 2147483647 h 311"/>
                    <a:gd name="T90" fmla="*/ 2147483647 w 288"/>
                    <a:gd name="T91" fmla="*/ 2147483647 h 311"/>
                    <a:gd name="T92" fmla="*/ 2147483647 w 288"/>
                    <a:gd name="T93" fmla="*/ 2147483647 h 311"/>
                    <a:gd name="T94" fmla="*/ 2147483647 w 288"/>
                    <a:gd name="T95" fmla="*/ 2147483647 h 311"/>
                    <a:gd name="T96" fmla="*/ 2147483647 w 288"/>
                    <a:gd name="T97" fmla="*/ 2147483647 h 311"/>
                    <a:gd name="T98" fmla="*/ 2147483647 w 288"/>
                    <a:gd name="T99" fmla="*/ 2147483647 h 311"/>
                    <a:gd name="T100" fmla="*/ 2147483647 w 288"/>
                    <a:gd name="T101" fmla="*/ 2147483647 h 311"/>
                    <a:gd name="T102" fmla="*/ 2147483647 w 288"/>
                    <a:gd name="T103" fmla="*/ 2147483647 h 311"/>
                    <a:gd name="T104" fmla="*/ 2147483647 w 288"/>
                    <a:gd name="T105" fmla="*/ 2147483647 h 311"/>
                    <a:gd name="T106" fmla="*/ 2147483647 w 288"/>
                    <a:gd name="T107" fmla="*/ 2147483647 h 311"/>
                    <a:gd name="T108" fmla="*/ 2147483647 w 288"/>
                    <a:gd name="T109" fmla="*/ 2147483647 h 311"/>
                    <a:gd name="T110" fmla="*/ 2147483647 w 288"/>
                    <a:gd name="T111" fmla="*/ 2147483647 h 311"/>
                    <a:gd name="T112" fmla="*/ 2147483647 w 288"/>
                    <a:gd name="T113" fmla="*/ 2147483647 h 311"/>
                    <a:gd name="T114" fmla="*/ 2147483647 w 288"/>
                    <a:gd name="T115" fmla="*/ 2147483647 h 311"/>
                    <a:gd name="T116" fmla="*/ 2147483647 w 288"/>
                    <a:gd name="T117" fmla="*/ 2147483647 h 3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8"/>
                    <a:gd name="T178" fmla="*/ 0 h 311"/>
                    <a:gd name="T179" fmla="*/ 288 w 288"/>
                    <a:gd name="T180" fmla="*/ 311 h 3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8" h="311">
                      <a:moveTo>
                        <a:pt x="287" y="117"/>
                      </a:moveTo>
                      <a:lnTo>
                        <a:pt x="287" y="117"/>
                      </a:lnTo>
                      <a:lnTo>
                        <a:pt x="283" y="117"/>
                      </a:lnTo>
                      <a:lnTo>
                        <a:pt x="278" y="117"/>
                      </a:lnTo>
                      <a:lnTo>
                        <a:pt x="275" y="115"/>
                      </a:lnTo>
                      <a:lnTo>
                        <a:pt x="273" y="111"/>
                      </a:lnTo>
                      <a:lnTo>
                        <a:pt x="273" y="109"/>
                      </a:lnTo>
                      <a:lnTo>
                        <a:pt x="273" y="105"/>
                      </a:lnTo>
                      <a:lnTo>
                        <a:pt x="275" y="102"/>
                      </a:lnTo>
                      <a:lnTo>
                        <a:pt x="275" y="100"/>
                      </a:lnTo>
                      <a:lnTo>
                        <a:pt x="274" y="97"/>
                      </a:lnTo>
                      <a:lnTo>
                        <a:pt x="272" y="96"/>
                      </a:lnTo>
                      <a:lnTo>
                        <a:pt x="267" y="94"/>
                      </a:lnTo>
                      <a:lnTo>
                        <a:pt x="265" y="94"/>
                      </a:lnTo>
                      <a:lnTo>
                        <a:pt x="264" y="91"/>
                      </a:lnTo>
                      <a:lnTo>
                        <a:pt x="264" y="89"/>
                      </a:lnTo>
                      <a:lnTo>
                        <a:pt x="260" y="86"/>
                      </a:lnTo>
                      <a:lnTo>
                        <a:pt x="256" y="85"/>
                      </a:lnTo>
                      <a:lnTo>
                        <a:pt x="247" y="83"/>
                      </a:lnTo>
                      <a:lnTo>
                        <a:pt x="245" y="83"/>
                      </a:lnTo>
                      <a:lnTo>
                        <a:pt x="242" y="82"/>
                      </a:lnTo>
                      <a:lnTo>
                        <a:pt x="242" y="81"/>
                      </a:lnTo>
                      <a:lnTo>
                        <a:pt x="240" y="75"/>
                      </a:lnTo>
                      <a:lnTo>
                        <a:pt x="236" y="69"/>
                      </a:lnTo>
                      <a:lnTo>
                        <a:pt x="138" y="1"/>
                      </a:lnTo>
                      <a:lnTo>
                        <a:pt x="115" y="0"/>
                      </a:lnTo>
                      <a:lnTo>
                        <a:pt x="115" y="180"/>
                      </a:lnTo>
                      <a:lnTo>
                        <a:pt x="113" y="180"/>
                      </a:lnTo>
                      <a:lnTo>
                        <a:pt x="80" y="179"/>
                      </a:lnTo>
                      <a:lnTo>
                        <a:pt x="63" y="179"/>
                      </a:lnTo>
                      <a:lnTo>
                        <a:pt x="47" y="180"/>
                      </a:lnTo>
                      <a:lnTo>
                        <a:pt x="43" y="181"/>
                      </a:lnTo>
                      <a:lnTo>
                        <a:pt x="38" y="184"/>
                      </a:lnTo>
                      <a:lnTo>
                        <a:pt x="35" y="186"/>
                      </a:lnTo>
                      <a:lnTo>
                        <a:pt x="33" y="191"/>
                      </a:lnTo>
                      <a:lnTo>
                        <a:pt x="32" y="192"/>
                      </a:lnTo>
                      <a:lnTo>
                        <a:pt x="29" y="193"/>
                      </a:lnTo>
                      <a:lnTo>
                        <a:pt x="27" y="193"/>
                      </a:lnTo>
                      <a:lnTo>
                        <a:pt x="25" y="193"/>
                      </a:lnTo>
                      <a:lnTo>
                        <a:pt x="23" y="191"/>
                      </a:lnTo>
                      <a:lnTo>
                        <a:pt x="21" y="188"/>
                      </a:lnTo>
                      <a:lnTo>
                        <a:pt x="21" y="186"/>
                      </a:lnTo>
                      <a:lnTo>
                        <a:pt x="23" y="184"/>
                      </a:lnTo>
                      <a:lnTo>
                        <a:pt x="19" y="184"/>
                      </a:lnTo>
                      <a:lnTo>
                        <a:pt x="15" y="187"/>
                      </a:lnTo>
                      <a:lnTo>
                        <a:pt x="14" y="191"/>
                      </a:lnTo>
                      <a:lnTo>
                        <a:pt x="13" y="194"/>
                      </a:lnTo>
                      <a:lnTo>
                        <a:pt x="11" y="201"/>
                      </a:lnTo>
                      <a:lnTo>
                        <a:pt x="11" y="205"/>
                      </a:lnTo>
                      <a:lnTo>
                        <a:pt x="13" y="210"/>
                      </a:lnTo>
                      <a:lnTo>
                        <a:pt x="7" y="209"/>
                      </a:lnTo>
                      <a:lnTo>
                        <a:pt x="4" y="207"/>
                      </a:lnTo>
                      <a:lnTo>
                        <a:pt x="0" y="219"/>
                      </a:lnTo>
                      <a:lnTo>
                        <a:pt x="0" y="225"/>
                      </a:lnTo>
                      <a:lnTo>
                        <a:pt x="0" y="228"/>
                      </a:lnTo>
                      <a:lnTo>
                        <a:pt x="1" y="231"/>
                      </a:lnTo>
                      <a:lnTo>
                        <a:pt x="6" y="236"/>
                      </a:lnTo>
                      <a:lnTo>
                        <a:pt x="10" y="241"/>
                      </a:lnTo>
                      <a:lnTo>
                        <a:pt x="14" y="245"/>
                      </a:lnTo>
                      <a:lnTo>
                        <a:pt x="14" y="249"/>
                      </a:lnTo>
                      <a:lnTo>
                        <a:pt x="14" y="252"/>
                      </a:lnTo>
                      <a:lnTo>
                        <a:pt x="18" y="254"/>
                      </a:lnTo>
                      <a:lnTo>
                        <a:pt x="21" y="255"/>
                      </a:lnTo>
                      <a:lnTo>
                        <a:pt x="28" y="256"/>
                      </a:lnTo>
                      <a:lnTo>
                        <a:pt x="33" y="255"/>
                      </a:lnTo>
                      <a:lnTo>
                        <a:pt x="38" y="255"/>
                      </a:lnTo>
                      <a:lnTo>
                        <a:pt x="44" y="256"/>
                      </a:lnTo>
                      <a:lnTo>
                        <a:pt x="47" y="256"/>
                      </a:lnTo>
                      <a:lnTo>
                        <a:pt x="49" y="258"/>
                      </a:lnTo>
                      <a:lnTo>
                        <a:pt x="52" y="262"/>
                      </a:lnTo>
                      <a:lnTo>
                        <a:pt x="53" y="266"/>
                      </a:lnTo>
                      <a:lnTo>
                        <a:pt x="53" y="268"/>
                      </a:lnTo>
                      <a:lnTo>
                        <a:pt x="52" y="273"/>
                      </a:lnTo>
                      <a:lnTo>
                        <a:pt x="51" y="275"/>
                      </a:lnTo>
                      <a:lnTo>
                        <a:pt x="52" y="277"/>
                      </a:lnTo>
                      <a:lnTo>
                        <a:pt x="54" y="280"/>
                      </a:lnTo>
                      <a:lnTo>
                        <a:pt x="58" y="281"/>
                      </a:lnTo>
                      <a:lnTo>
                        <a:pt x="58" y="282"/>
                      </a:lnTo>
                      <a:lnTo>
                        <a:pt x="58" y="283"/>
                      </a:lnTo>
                      <a:lnTo>
                        <a:pt x="56" y="287"/>
                      </a:lnTo>
                      <a:lnTo>
                        <a:pt x="52" y="289"/>
                      </a:lnTo>
                      <a:lnTo>
                        <a:pt x="51" y="290"/>
                      </a:lnTo>
                      <a:lnTo>
                        <a:pt x="49" y="292"/>
                      </a:lnTo>
                      <a:lnTo>
                        <a:pt x="49" y="295"/>
                      </a:lnTo>
                      <a:lnTo>
                        <a:pt x="52" y="296"/>
                      </a:lnTo>
                      <a:lnTo>
                        <a:pt x="56" y="298"/>
                      </a:lnTo>
                      <a:lnTo>
                        <a:pt x="61" y="299"/>
                      </a:lnTo>
                      <a:lnTo>
                        <a:pt x="71" y="299"/>
                      </a:lnTo>
                      <a:lnTo>
                        <a:pt x="72" y="299"/>
                      </a:lnTo>
                      <a:lnTo>
                        <a:pt x="74" y="300"/>
                      </a:lnTo>
                      <a:lnTo>
                        <a:pt x="75" y="305"/>
                      </a:lnTo>
                      <a:lnTo>
                        <a:pt x="76" y="308"/>
                      </a:lnTo>
                      <a:lnTo>
                        <a:pt x="77" y="309"/>
                      </a:lnTo>
                      <a:lnTo>
                        <a:pt x="79" y="309"/>
                      </a:lnTo>
                      <a:lnTo>
                        <a:pt x="81" y="309"/>
                      </a:lnTo>
                      <a:lnTo>
                        <a:pt x="84" y="311"/>
                      </a:lnTo>
                      <a:lnTo>
                        <a:pt x="89" y="302"/>
                      </a:lnTo>
                      <a:lnTo>
                        <a:pt x="93" y="300"/>
                      </a:lnTo>
                      <a:lnTo>
                        <a:pt x="96" y="298"/>
                      </a:lnTo>
                      <a:lnTo>
                        <a:pt x="96" y="299"/>
                      </a:lnTo>
                      <a:lnTo>
                        <a:pt x="99" y="300"/>
                      </a:lnTo>
                      <a:lnTo>
                        <a:pt x="103" y="300"/>
                      </a:lnTo>
                      <a:lnTo>
                        <a:pt x="105" y="300"/>
                      </a:lnTo>
                      <a:lnTo>
                        <a:pt x="108" y="299"/>
                      </a:lnTo>
                      <a:lnTo>
                        <a:pt x="113" y="295"/>
                      </a:lnTo>
                      <a:lnTo>
                        <a:pt x="120" y="292"/>
                      </a:lnTo>
                      <a:lnTo>
                        <a:pt x="120" y="286"/>
                      </a:lnTo>
                      <a:lnTo>
                        <a:pt x="122" y="280"/>
                      </a:lnTo>
                      <a:lnTo>
                        <a:pt x="124" y="268"/>
                      </a:lnTo>
                      <a:lnTo>
                        <a:pt x="128" y="258"/>
                      </a:lnTo>
                      <a:lnTo>
                        <a:pt x="131" y="250"/>
                      </a:lnTo>
                      <a:lnTo>
                        <a:pt x="133" y="247"/>
                      </a:lnTo>
                      <a:lnTo>
                        <a:pt x="136" y="243"/>
                      </a:lnTo>
                      <a:lnTo>
                        <a:pt x="140" y="241"/>
                      </a:lnTo>
                      <a:lnTo>
                        <a:pt x="143" y="238"/>
                      </a:lnTo>
                      <a:lnTo>
                        <a:pt x="150" y="235"/>
                      </a:lnTo>
                      <a:lnTo>
                        <a:pt x="155" y="231"/>
                      </a:lnTo>
                      <a:lnTo>
                        <a:pt x="164" y="223"/>
                      </a:lnTo>
                      <a:lnTo>
                        <a:pt x="171" y="215"/>
                      </a:lnTo>
                      <a:lnTo>
                        <a:pt x="180" y="206"/>
                      </a:lnTo>
                      <a:lnTo>
                        <a:pt x="189" y="199"/>
                      </a:lnTo>
                      <a:lnTo>
                        <a:pt x="198" y="193"/>
                      </a:lnTo>
                      <a:lnTo>
                        <a:pt x="203" y="191"/>
                      </a:lnTo>
                      <a:lnTo>
                        <a:pt x="208" y="191"/>
                      </a:lnTo>
                      <a:lnTo>
                        <a:pt x="213" y="192"/>
                      </a:lnTo>
                      <a:lnTo>
                        <a:pt x="218" y="194"/>
                      </a:lnTo>
                      <a:lnTo>
                        <a:pt x="222" y="196"/>
                      </a:lnTo>
                      <a:lnTo>
                        <a:pt x="226" y="194"/>
                      </a:lnTo>
                      <a:lnTo>
                        <a:pt x="234" y="192"/>
                      </a:lnTo>
                      <a:lnTo>
                        <a:pt x="255" y="188"/>
                      </a:lnTo>
                      <a:lnTo>
                        <a:pt x="264" y="185"/>
                      </a:lnTo>
                      <a:lnTo>
                        <a:pt x="269" y="184"/>
                      </a:lnTo>
                      <a:lnTo>
                        <a:pt x="273" y="180"/>
                      </a:lnTo>
                      <a:lnTo>
                        <a:pt x="279" y="174"/>
                      </a:lnTo>
                      <a:lnTo>
                        <a:pt x="284" y="167"/>
                      </a:lnTo>
                      <a:lnTo>
                        <a:pt x="287" y="160"/>
                      </a:lnTo>
                      <a:lnTo>
                        <a:pt x="288" y="152"/>
                      </a:lnTo>
                      <a:lnTo>
                        <a:pt x="288" y="134"/>
                      </a:lnTo>
                      <a:lnTo>
                        <a:pt x="287" y="1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5" name="Freeform 694"/>
                <p:cNvSpPr>
                  <a:spLocks/>
                </p:cNvSpPr>
                <p:nvPr/>
              </p:nvSpPr>
              <p:spPr bwMode="auto">
                <a:xfrm>
                  <a:off x="4532370" y="4294273"/>
                  <a:ext cx="109511" cy="192383"/>
                </a:xfrm>
                <a:custGeom>
                  <a:avLst/>
                  <a:gdLst>
                    <a:gd name="T0" fmla="*/ 2147483647 w 81"/>
                    <a:gd name="T1" fmla="*/ 2147483647 h 130"/>
                    <a:gd name="T2" fmla="*/ 2147483647 w 81"/>
                    <a:gd name="T3" fmla="*/ 2147483647 h 130"/>
                    <a:gd name="T4" fmla="*/ 2147483647 w 81"/>
                    <a:gd name="T5" fmla="*/ 2147483647 h 130"/>
                    <a:gd name="T6" fmla="*/ 2147483647 w 81"/>
                    <a:gd name="T7" fmla="*/ 2147483647 h 130"/>
                    <a:gd name="T8" fmla="*/ 2147483647 w 81"/>
                    <a:gd name="T9" fmla="*/ 2147483647 h 130"/>
                    <a:gd name="T10" fmla="*/ 2147483647 w 81"/>
                    <a:gd name="T11" fmla="*/ 2147483647 h 130"/>
                    <a:gd name="T12" fmla="*/ 0 w 81"/>
                    <a:gd name="T13" fmla="*/ 2147483647 h 130"/>
                    <a:gd name="T14" fmla="*/ 0 w 81"/>
                    <a:gd name="T15" fmla="*/ 2147483647 h 130"/>
                    <a:gd name="T16" fmla="*/ 2147483647 w 81"/>
                    <a:gd name="T17" fmla="*/ 2147483647 h 130"/>
                    <a:gd name="T18" fmla="*/ 2147483647 w 81"/>
                    <a:gd name="T19" fmla="*/ 2147483647 h 130"/>
                    <a:gd name="T20" fmla="*/ 2147483647 w 81"/>
                    <a:gd name="T21" fmla="*/ 2147483647 h 130"/>
                    <a:gd name="T22" fmla="*/ 2147483647 w 81"/>
                    <a:gd name="T23" fmla="*/ 2147483647 h 130"/>
                    <a:gd name="T24" fmla="*/ 2147483647 w 81"/>
                    <a:gd name="T25" fmla="*/ 2147483647 h 130"/>
                    <a:gd name="T26" fmla="*/ 2147483647 w 81"/>
                    <a:gd name="T27" fmla="*/ 2147483647 h 130"/>
                    <a:gd name="T28" fmla="*/ 2147483647 w 81"/>
                    <a:gd name="T29" fmla="*/ 2147483647 h 130"/>
                    <a:gd name="T30" fmla="*/ 2147483647 w 81"/>
                    <a:gd name="T31" fmla="*/ 2147483647 h 130"/>
                    <a:gd name="T32" fmla="*/ 2147483647 w 81"/>
                    <a:gd name="T33" fmla="*/ 2147483647 h 130"/>
                    <a:gd name="T34" fmla="*/ 2147483647 w 81"/>
                    <a:gd name="T35" fmla="*/ 2147483647 h 130"/>
                    <a:gd name="T36" fmla="*/ 2147483647 w 81"/>
                    <a:gd name="T37" fmla="*/ 2147483647 h 130"/>
                    <a:gd name="T38" fmla="*/ 2147483647 w 81"/>
                    <a:gd name="T39" fmla="*/ 2147483647 h 130"/>
                    <a:gd name="T40" fmla="*/ 2147483647 w 81"/>
                    <a:gd name="T41" fmla="*/ 2147483647 h 130"/>
                    <a:gd name="T42" fmla="*/ 2147483647 w 81"/>
                    <a:gd name="T43" fmla="*/ 2147483647 h 130"/>
                    <a:gd name="T44" fmla="*/ 2147483647 w 81"/>
                    <a:gd name="T45" fmla="*/ 0 h 130"/>
                    <a:gd name="T46" fmla="*/ 2147483647 w 81"/>
                    <a:gd name="T47" fmla="*/ 0 h 130"/>
                    <a:gd name="T48" fmla="*/ 2147483647 w 81"/>
                    <a:gd name="T49" fmla="*/ 2147483647 h 130"/>
                    <a:gd name="T50" fmla="*/ 2147483647 w 81"/>
                    <a:gd name="T51" fmla="*/ 2147483647 h 130"/>
                    <a:gd name="T52" fmla="*/ 2147483647 w 81"/>
                    <a:gd name="T53" fmla="*/ 2147483647 h 130"/>
                    <a:gd name="T54" fmla="*/ 2147483647 w 81"/>
                    <a:gd name="T55" fmla="*/ 2147483647 h 130"/>
                    <a:gd name="T56" fmla="*/ 2147483647 w 81"/>
                    <a:gd name="T57" fmla="*/ 2147483647 h 130"/>
                    <a:gd name="T58" fmla="*/ 2147483647 w 81"/>
                    <a:gd name="T59" fmla="*/ 2147483647 h 130"/>
                    <a:gd name="T60" fmla="*/ 2147483647 w 81"/>
                    <a:gd name="T61" fmla="*/ 2147483647 h 130"/>
                    <a:gd name="T62" fmla="*/ 2147483647 w 81"/>
                    <a:gd name="T63" fmla="*/ 2147483647 h 130"/>
                    <a:gd name="T64" fmla="*/ 2147483647 w 81"/>
                    <a:gd name="T65" fmla="*/ 2147483647 h 130"/>
                    <a:gd name="T66" fmla="*/ 2147483647 w 81"/>
                    <a:gd name="T67" fmla="*/ 2147483647 h 130"/>
                    <a:gd name="T68" fmla="*/ 2147483647 w 81"/>
                    <a:gd name="T69" fmla="*/ 2147483647 h 130"/>
                    <a:gd name="T70" fmla="*/ 2147483647 w 81"/>
                    <a:gd name="T71" fmla="*/ 2147483647 h 130"/>
                    <a:gd name="T72" fmla="*/ 2147483647 w 81"/>
                    <a:gd name="T73" fmla="*/ 2147483647 h 130"/>
                    <a:gd name="T74" fmla="*/ 2147483647 w 81"/>
                    <a:gd name="T75" fmla="*/ 2147483647 h 130"/>
                    <a:gd name="T76" fmla="*/ 2147483647 w 81"/>
                    <a:gd name="T77" fmla="*/ 2147483647 h 130"/>
                    <a:gd name="T78" fmla="*/ 2147483647 w 81"/>
                    <a:gd name="T79" fmla="*/ 2147483647 h 130"/>
                    <a:gd name="T80" fmla="*/ 2147483647 w 81"/>
                    <a:gd name="T81" fmla="*/ 2147483647 h 130"/>
                    <a:gd name="T82" fmla="*/ 2147483647 w 81"/>
                    <a:gd name="T83" fmla="*/ 2147483647 h 130"/>
                    <a:gd name="T84" fmla="*/ 2147483647 w 81"/>
                    <a:gd name="T85" fmla="*/ 2147483647 h 130"/>
                    <a:gd name="T86" fmla="*/ 2147483647 w 81"/>
                    <a:gd name="T87" fmla="*/ 2147483647 h 130"/>
                    <a:gd name="T88" fmla="*/ 2147483647 w 81"/>
                    <a:gd name="T89" fmla="*/ 2147483647 h 130"/>
                    <a:gd name="T90" fmla="*/ 2147483647 w 81"/>
                    <a:gd name="T91" fmla="*/ 2147483647 h 130"/>
                    <a:gd name="T92" fmla="*/ 2147483647 w 81"/>
                    <a:gd name="T93" fmla="*/ 2147483647 h 130"/>
                    <a:gd name="T94" fmla="*/ 2147483647 w 81"/>
                    <a:gd name="T95" fmla="*/ 2147483647 h 130"/>
                    <a:gd name="T96" fmla="*/ 2147483647 w 81"/>
                    <a:gd name="T97" fmla="*/ 2147483647 h 130"/>
                    <a:gd name="T98" fmla="*/ 2147483647 w 81"/>
                    <a:gd name="T99" fmla="*/ 2147483647 h 130"/>
                    <a:gd name="T100" fmla="*/ 2147483647 w 81"/>
                    <a:gd name="T101" fmla="*/ 2147483647 h 130"/>
                    <a:gd name="T102" fmla="*/ 2147483647 w 81"/>
                    <a:gd name="T103" fmla="*/ 2147483647 h 130"/>
                    <a:gd name="T104" fmla="*/ 2147483647 w 81"/>
                    <a:gd name="T105" fmla="*/ 2147483647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6" y="127"/>
                      </a:moveTo>
                      <a:lnTo>
                        <a:pt x="6" y="124"/>
                      </a:lnTo>
                      <a:lnTo>
                        <a:pt x="6" y="120"/>
                      </a:lnTo>
                      <a:lnTo>
                        <a:pt x="6" y="115"/>
                      </a:lnTo>
                      <a:lnTo>
                        <a:pt x="5" y="112"/>
                      </a:lnTo>
                      <a:lnTo>
                        <a:pt x="1" y="107"/>
                      </a:lnTo>
                      <a:lnTo>
                        <a:pt x="0" y="101"/>
                      </a:lnTo>
                      <a:lnTo>
                        <a:pt x="0" y="95"/>
                      </a:lnTo>
                      <a:lnTo>
                        <a:pt x="1" y="89"/>
                      </a:lnTo>
                      <a:lnTo>
                        <a:pt x="7" y="76"/>
                      </a:lnTo>
                      <a:lnTo>
                        <a:pt x="13" y="63"/>
                      </a:lnTo>
                      <a:lnTo>
                        <a:pt x="14" y="56"/>
                      </a:lnTo>
                      <a:lnTo>
                        <a:pt x="14" y="49"/>
                      </a:lnTo>
                      <a:lnTo>
                        <a:pt x="14" y="42"/>
                      </a:lnTo>
                      <a:lnTo>
                        <a:pt x="11" y="35"/>
                      </a:lnTo>
                      <a:lnTo>
                        <a:pt x="11" y="31"/>
                      </a:lnTo>
                      <a:lnTo>
                        <a:pt x="13" y="27"/>
                      </a:lnTo>
                      <a:lnTo>
                        <a:pt x="11" y="17"/>
                      </a:lnTo>
                      <a:lnTo>
                        <a:pt x="13" y="8"/>
                      </a:lnTo>
                      <a:lnTo>
                        <a:pt x="14" y="5"/>
                      </a:lnTo>
                      <a:lnTo>
                        <a:pt x="16" y="3"/>
                      </a:lnTo>
                      <a:lnTo>
                        <a:pt x="27" y="2"/>
                      </a:lnTo>
                      <a:lnTo>
                        <a:pt x="38" y="0"/>
                      </a:lnTo>
                      <a:lnTo>
                        <a:pt x="60" y="0"/>
                      </a:lnTo>
                      <a:lnTo>
                        <a:pt x="62" y="11"/>
                      </a:lnTo>
                      <a:lnTo>
                        <a:pt x="62" y="23"/>
                      </a:lnTo>
                      <a:lnTo>
                        <a:pt x="63" y="34"/>
                      </a:lnTo>
                      <a:lnTo>
                        <a:pt x="66" y="44"/>
                      </a:lnTo>
                      <a:lnTo>
                        <a:pt x="66" y="48"/>
                      </a:lnTo>
                      <a:lnTo>
                        <a:pt x="66" y="51"/>
                      </a:lnTo>
                      <a:lnTo>
                        <a:pt x="65" y="55"/>
                      </a:lnTo>
                      <a:lnTo>
                        <a:pt x="66" y="57"/>
                      </a:lnTo>
                      <a:lnTo>
                        <a:pt x="67" y="62"/>
                      </a:lnTo>
                      <a:lnTo>
                        <a:pt x="68" y="66"/>
                      </a:lnTo>
                      <a:lnTo>
                        <a:pt x="68" y="76"/>
                      </a:lnTo>
                      <a:lnTo>
                        <a:pt x="70" y="87"/>
                      </a:lnTo>
                      <a:lnTo>
                        <a:pt x="71" y="92"/>
                      </a:lnTo>
                      <a:lnTo>
                        <a:pt x="74" y="96"/>
                      </a:lnTo>
                      <a:lnTo>
                        <a:pt x="77" y="100"/>
                      </a:lnTo>
                      <a:lnTo>
                        <a:pt x="81" y="104"/>
                      </a:lnTo>
                      <a:lnTo>
                        <a:pt x="79" y="105"/>
                      </a:lnTo>
                      <a:lnTo>
                        <a:pt x="77" y="108"/>
                      </a:lnTo>
                      <a:lnTo>
                        <a:pt x="74" y="112"/>
                      </a:lnTo>
                      <a:lnTo>
                        <a:pt x="70" y="115"/>
                      </a:lnTo>
                      <a:lnTo>
                        <a:pt x="65" y="117"/>
                      </a:lnTo>
                      <a:lnTo>
                        <a:pt x="57" y="119"/>
                      </a:lnTo>
                      <a:lnTo>
                        <a:pt x="49" y="121"/>
                      </a:lnTo>
                      <a:lnTo>
                        <a:pt x="39" y="127"/>
                      </a:lnTo>
                      <a:lnTo>
                        <a:pt x="35" y="128"/>
                      </a:lnTo>
                      <a:lnTo>
                        <a:pt x="32" y="130"/>
                      </a:lnTo>
                      <a:lnTo>
                        <a:pt x="23" y="128"/>
                      </a:lnTo>
                      <a:lnTo>
                        <a:pt x="15" y="127"/>
                      </a:lnTo>
                      <a:lnTo>
                        <a:pt x="6" y="12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6" name="Freeform 695"/>
                <p:cNvSpPr>
                  <a:spLocks/>
                </p:cNvSpPr>
                <p:nvPr/>
              </p:nvSpPr>
              <p:spPr bwMode="auto">
                <a:xfrm>
                  <a:off x="4480572" y="4177361"/>
                  <a:ext cx="165746" cy="168705"/>
                </a:xfrm>
                <a:custGeom>
                  <a:avLst/>
                  <a:gdLst>
                    <a:gd name="T0" fmla="*/ 0 w 122"/>
                    <a:gd name="T1" fmla="*/ 2147483647 h 114"/>
                    <a:gd name="T2" fmla="*/ 0 w 122"/>
                    <a:gd name="T3" fmla="*/ 2147483647 h 114"/>
                    <a:gd name="T4" fmla="*/ 2147483647 w 122"/>
                    <a:gd name="T5" fmla="*/ 2147483647 h 114"/>
                    <a:gd name="T6" fmla="*/ 2147483647 w 122"/>
                    <a:gd name="T7" fmla="*/ 2147483647 h 114"/>
                    <a:gd name="T8" fmla="*/ 2147483647 w 122"/>
                    <a:gd name="T9" fmla="*/ 2147483647 h 114"/>
                    <a:gd name="T10" fmla="*/ 2147483647 w 122"/>
                    <a:gd name="T11" fmla="*/ 2147483647 h 114"/>
                    <a:gd name="T12" fmla="*/ 2147483647 w 122"/>
                    <a:gd name="T13" fmla="*/ 2147483647 h 114"/>
                    <a:gd name="T14" fmla="*/ 2147483647 w 122"/>
                    <a:gd name="T15" fmla="*/ 2147483647 h 114"/>
                    <a:gd name="T16" fmla="*/ 2147483647 w 122"/>
                    <a:gd name="T17" fmla="*/ 2147483647 h 114"/>
                    <a:gd name="T18" fmla="*/ 2147483647 w 122"/>
                    <a:gd name="T19" fmla="*/ 2147483647 h 114"/>
                    <a:gd name="T20" fmla="*/ 2147483647 w 122"/>
                    <a:gd name="T21" fmla="*/ 2147483647 h 114"/>
                    <a:gd name="T22" fmla="*/ 2147483647 w 122"/>
                    <a:gd name="T23" fmla="*/ 2147483647 h 114"/>
                    <a:gd name="T24" fmla="*/ 2147483647 w 122"/>
                    <a:gd name="T25" fmla="*/ 2147483647 h 114"/>
                    <a:gd name="T26" fmla="*/ 2147483647 w 122"/>
                    <a:gd name="T27" fmla="*/ 2147483647 h 114"/>
                    <a:gd name="T28" fmla="*/ 2147483647 w 122"/>
                    <a:gd name="T29" fmla="*/ 2147483647 h 114"/>
                    <a:gd name="T30" fmla="*/ 2147483647 w 122"/>
                    <a:gd name="T31" fmla="*/ 2147483647 h 114"/>
                    <a:gd name="T32" fmla="*/ 2147483647 w 122"/>
                    <a:gd name="T33" fmla="*/ 2147483647 h 114"/>
                    <a:gd name="T34" fmla="*/ 2147483647 w 122"/>
                    <a:gd name="T35" fmla="*/ 0 h 114"/>
                    <a:gd name="T36" fmla="*/ 2147483647 w 122"/>
                    <a:gd name="T37" fmla="*/ 0 h 114"/>
                    <a:gd name="T38" fmla="*/ 2147483647 w 122"/>
                    <a:gd name="T39" fmla="*/ 2147483647 h 114"/>
                    <a:gd name="T40" fmla="*/ 2147483647 w 122"/>
                    <a:gd name="T41" fmla="*/ 2147483647 h 114"/>
                    <a:gd name="T42" fmla="*/ 2147483647 w 122"/>
                    <a:gd name="T43" fmla="*/ 2147483647 h 114"/>
                    <a:gd name="T44" fmla="*/ 2147483647 w 122"/>
                    <a:gd name="T45" fmla="*/ 2147483647 h 114"/>
                    <a:gd name="T46" fmla="*/ 2147483647 w 122"/>
                    <a:gd name="T47" fmla="*/ 2147483647 h 114"/>
                    <a:gd name="T48" fmla="*/ 2147483647 w 122"/>
                    <a:gd name="T49" fmla="*/ 2147483647 h 114"/>
                    <a:gd name="T50" fmla="*/ 2147483647 w 122"/>
                    <a:gd name="T51" fmla="*/ 2147483647 h 114"/>
                    <a:gd name="T52" fmla="*/ 2147483647 w 122"/>
                    <a:gd name="T53" fmla="*/ 2147483647 h 114"/>
                    <a:gd name="T54" fmla="*/ 2147483647 w 122"/>
                    <a:gd name="T55" fmla="*/ 2147483647 h 114"/>
                    <a:gd name="T56" fmla="*/ 2147483647 w 122"/>
                    <a:gd name="T57" fmla="*/ 2147483647 h 114"/>
                    <a:gd name="T58" fmla="*/ 2147483647 w 122"/>
                    <a:gd name="T59" fmla="*/ 2147483647 h 114"/>
                    <a:gd name="T60" fmla="*/ 2147483647 w 122"/>
                    <a:gd name="T61" fmla="*/ 2147483647 h 114"/>
                    <a:gd name="T62" fmla="*/ 2147483647 w 122"/>
                    <a:gd name="T63" fmla="*/ 2147483647 h 114"/>
                    <a:gd name="T64" fmla="*/ 2147483647 w 122"/>
                    <a:gd name="T65" fmla="*/ 2147483647 h 114"/>
                    <a:gd name="T66" fmla="*/ 2147483647 w 122"/>
                    <a:gd name="T67" fmla="*/ 2147483647 h 114"/>
                    <a:gd name="T68" fmla="*/ 2147483647 w 122"/>
                    <a:gd name="T69" fmla="*/ 2147483647 h 114"/>
                    <a:gd name="T70" fmla="*/ 2147483647 w 122"/>
                    <a:gd name="T71" fmla="*/ 2147483647 h 114"/>
                    <a:gd name="T72" fmla="*/ 2147483647 w 122"/>
                    <a:gd name="T73" fmla="*/ 2147483647 h 114"/>
                    <a:gd name="T74" fmla="*/ 2147483647 w 122"/>
                    <a:gd name="T75" fmla="*/ 2147483647 h 114"/>
                    <a:gd name="T76" fmla="*/ 2147483647 w 122"/>
                    <a:gd name="T77" fmla="*/ 2147483647 h 114"/>
                    <a:gd name="T78" fmla="*/ 2147483647 w 122"/>
                    <a:gd name="T79" fmla="*/ 2147483647 h 114"/>
                    <a:gd name="T80" fmla="*/ 2147483647 w 122"/>
                    <a:gd name="T81" fmla="*/ 2147483647 h 114"/>
                    <a:gd name="T82" fmla="*/ 2147483647 w 122"/>
                    <a:gd name="T83" fmla="*/ 2147483647 h 114"/>
                    <a:gd name="T84" fmla="*/ 2147483647 w 122"/>
                    <a:gd name="T85" fmla="*/ 2147483647 h 114"/>
                    <a:gd name="T86" fmla="*/ 2147483647 w 122"/>
                    <a:gd name="T87" fmla="*/ 2147483647 h 114"/>
                    <a:gd name="T88" fmla="*/ 2147483647 w 122"/>
                    <a:gd name="T89" fmla="*/ 2147483647 h 114"/>
                    <a:gd name="T90" fmla="*/ 2147483647 w 122"/>
                    <a:gd name="T91" fmla="*/ 2147483647 h 114"/>
                    <a:gd name="T92" fmla="*/ 2147483647 w 122"/>
                    <a:gd name="T93" fmla="*/ 2147483647 h 114"/>
                    <a:gd name="T94" fmla="*/ 2147483647 w 122"/>
                    <a:gd name="T95" fmla="*/ 2147483647 h 114"/>
                    <a:gd name="T96" fmla="*/ 2147483647 w 122"/>
                    <a:gd name="T97" fmla="*/ 2147483647 h 114"/>
                    <a:gd name="T98" fmla="*/ 2147483647 w 122"/>
                    <a:gd name="T99" fmla="*/ 2147483647 h 114"/>
                    <a:gd name="T100" fmla="*/ 2147483647 w 122"/>
                    <a:gd name="T101" fmla="*/ 2147483647 h 114"/>
                    <a:gd name="T102" fmla="*/ 2147483647 w 122"/>
                    <a:gd name="T103" fmla="*/ 2147483647 h 114"/>
                    <a:gd name="T104" fmla="*/ 2147483647 w 122"/>
                    <a:gd name="T105" fmla="*/ 2147483647 h 114"/>
                    <a:gd name="T106" fmla="*/ 2147483647 w 122"/>
                    <a:gd name="T107" fmla="*/ 2147483647 h 114"/>
                    <a:gd name="T108" fmla="*/ 2147483647 w 122"/>
                    <a:gd name="T109" fmla="*/ 2147483647 h 114"/>
                    <a:gd name="T110" fmla="*/ 2147483647 w 122"/>
                    <a:gd name="T111" fmla="*/ 2147483647 h 114"/>
                    <a:gd name="T112" fmla="*/ 2147483647 w 122"/>
                    <a:gd name="T113" fmla="*/ 2147483647 h 114"/>
                    <a:gd name="T114" fmla="*/ 2147483647 w 122"/>
                    <a:gd name="T115" fmla="*/ 2147483647 h 114"/>
                    <a:gd name="T116" fmla="*/ 2147483647 w 122"/>
                    <a:gd name="T117" fmla="*/ 2147483647 h 114"/>
                    <a:gd name="T118" fmla="*/ 2147483647 w 122"/>
                    <a:gd name="T119" fmla="*/ 2147483647 h 114"/>
                    <a:gd name="T120" fmla="*/ 2147483647 w 122"/>
                    <a:gd name="T121" fmla="*/ 2147483647 h 114"/>
                    <a:gd name="T122" fmla="*/ 2147483647 w 122"/>
                    <a:gd name="T123" fmla="*/ 2147483647 h 114"/>
                    <a:gd name="T124" fmla="*/ 0 w 122"/>
                    <a:gd name="T125" fmla="*/ 2147483647 h 1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
                    <a:gd name="T190" fmla="*/ 0 h 114"/>
                    <a:gd name="T191" fmla="*/ 122 w 122"/>
                    <a:gd name="T192" fmla="*/ 114 h 1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 h="114">
                      <a:moveTo>
                        <a:pt x="0" y="101"/>
                      </a:moveTo>
                      <a:lnTo>
                        <a:pt x="0" y="95"/>
                      </a:lnTo>
                      <a:lnTo>
                        <a:pt x="1" y="89"/>
                      </a:lnTo>
                      <a:lnTo>
                        <a:pt x="4" y="77"/>
                      </a:lnTo>
                      <a:lnTo>
                        <a:pt x="7" y="68"/>
                      </a:lnTo>
                      <a:lnTo>
                        <a:pt x="10" y="59"/>
                      </a:lnTo>
                      <a:lnTo>
                        <a:pt x="12" y="56"/>
                      </a:lnTo>
                      <a:lnTo>
                        <a:pt x="15" y="52"/>
                      </a:lnTo>
                      <a:lnTo>
                        <a:pt x="19" y="50"/>
                      </a:lnTo>
                      <a:lnTo>
                        <a:pt x="23" y="47"/>
                      </a:lnTo>
                      <a:lnTo>
                        <a:pt x="29" y="44"/>
                      </a:lnTo>
                      <a:lnTo>
                        <a:pt x="34" y="40"/>
                      </a:lnTo>
                      <a:lnTo>
                        <a:pt x="43" y="32"/>
                      </a:lnTo>
                      <a:lnTo>
                        <a:pt x="51" y="24"/>
                      </a:lnTo>
                      <a:lnTo>
                        <a:pt x="59" y="15"/>
                      </a:lnTo>
                      <a:lnTo>
                        <a:pt x="68" y="8"/>
                      </a:lnTo>
                      <a:lnTo>
                        <a:pt x="77" y="2"/>
                      </a:lnTo>
                      <a:lnTo>
                        <a:pt x="82" y="0"/>
                      </a:lnTo>
                      <a:lnTo>
                        <a:pt x="87" y="0"/>
                      </a:lnTo>
                      <a:lnTo>
                        <a:pt x="92" y="1"/>
                      </a:lnTo>
                      <a:lnTo>
                        <a:pt x="98" y="4"/>
                      </a:lnTo>
                      <a:lnTo>
                        <a:pt x="98" y="7"/>
                      </a:lnTo>
                      <a:lnTo>
                        <a:pt x="98" y="11"/>
                      </a:lnTo>
                      <a:lnTo>
                        <a:pt x="100" y="15"/>
                      </a:lnTo>
                      <a:lnTo>
                        <a:pt x="104" y="21"/>
                      </a:lnTo>
                      <a:lnTo>
                        <a:pt x="108" y="26"/>
                      </a:lnTo>
                      <a:lnTo>
                        <a:pt x="108" y="28"/>
                      </a:lnTo>
                      <a:lnTo>
                        <a:pt x="108" y="31"/>
                      </a:lnTo>
                      <a:lnTo>
                        <a:pt x="108" y="33"/>
                      </a:lnTo>
                      <a:lnTo>
                        <a:pt x="108" y="36"/>
                      </a:lnTo>
                      <a:lnTo>
                        <a:pt x="114" y="41"/>
                      </a:lnTo>
                      <a:lnTo>
                        <a:pt x="119" y="50"/>
                      </a:lnTo>
                      <a:lnTo>
                        <a:pt x="122" y="58"/>
                      </a:lnTo>
                      <a:lnTo>
                        <a:pt x="122" y="62"/>
                      </a:lnTo>
                      <a:lnTo>
                        <a:pt x="120" y="66"/>
                      </a:lnTo>
                      <a:lnTo>
                        <a:pt x="118" y="72"/>
                      </a:lnTo>
                      <a:lnTo>
                        <a:pt x="117" y="76"/>
                      </a:lnTo>
                      <a:lnTo>
                        <a:pt x="117" y="79"/>
                      </a:lnTo>
                      <a:lnTo>
                        <a:pt x="113" y="81"/>
                      </a:lnTo>
                      <a:lnTo>
                        <a:pt x="110" y="79"/>
                      </a:lnTo>
                      <a:lnTo>
                        <a:pt x="98" y="79"/>
                      </a:lnTo>
                      <a:lnTo>
                        <a:pt x="76" y="79"/>
                      </a:lnTo>
                      <a:lnTo>
                        <a:pt x="65" y="81"/>
                      </a:lnTo>
                      <a:lnTo>
                        <a:pt x="54" y="82"/>
                      </a:lnTo>
                      <a:lnTo>
                        <a:pt x="52" y="84"/>
                      </a:lnTo>
                      <a:lnTo>
                        <a:pt x="51" y="87"/>
                      </a:lnTo>
                      <a:lnTo>
                        <a:pt x="49" y="96"/>
                      </a:lnTo>
                      <a:lnTo>
                        <a:pt x="51" y="106"/>
                      </a:lnTo>
                      <a:lnTo>
                        <a:pt x="49" y="110"/>
                      </a:lnTo>
                      <a:lnTo>
                        <a:pt x="49" y="114"/>
                      </a:lnTo>
                      <a:lnTo>
                        <a:pt x="48" y="111"/>
                      </a:lnTo>
                      <a:lnTo>
                        <a:pt x="45" y="109"/>
                      </a:lnTo>
                      <a:lnTo>
                        <a:pt x="40" y="107"/>
                      </a:lnTo>
                      <a:lnTo>
                        <a:pt x="37" y="108"/>
                      </a:lnTo>
                      <a:lnTo>
                        <a:pt x="29" y="113"/>
                      </a:lnTo>
                      <a:lnTo>
                        <a:pt x="26" y="113"/>
                      </a:lnTo>
                      <a:lnTo>
                        <a:pt x="24" y="113"/>
                      </a:lnTo>
                      <a:lnTo>
                        <a:pt x="20" y="110"/>
                      </a:lnTo>
                      <a:lnTo>
                        <a:pt x="11" y="101"/>
                      </a:lnTo>
                      <a:lnTo>
                        <a:pt x="9" y="100"/>
                      </a:lnTo>
                      <a:lnTo>
                        <a:pt x="6" y="98"/>
                      </a:lnTo>
                      <a:lnTo>
                        <a:pt x="2" y="100"/>
                      </a:lnTo>
                      <a:lnTo>
                        <a:pt x="0" y="10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7" name="Freeform 696"/>
                <p:cNvSpPr>
                  <a:spLocks/>
                </p:cNvSpPr>
                <p:nvPr/>
              </p:nvSpPr>
              <p:spPr bwMode="auto">
                <a:xfrm>
                  <a:off x="4530889" y="4292792"/>
                  <a:ext cx="110990" cy="190903"/>
                </a:xfrm>
                <a:custGeom>
                  <a:avLst/>
                  <a:gdLst>
                    <a:gd name="T0" fmla="*/ 2147483647 w 81"/>
                    <a:gd name="T1" fmla="*/ 2147483647 h 129"/>
                    <a:gd name="T2" fmla="*/ 2147483647 w 81"/>
                    <a:gd name="T3" fmla="*/ 2147483647 h 129"/>
                    <a:gd name="T4" fmla="*/ 2147483647 w 81"/>
                    <a:gd name="T5" fmla="*/ 2147483647 h 129"/>
                    <a:gd name="T6" fmla="*/ 2147483647 w 81"/>
                    <a:gd name="T7" fmla="*/ 2147483647 h 129"/>
                    <a:gd name="T8" fmla="*/ 0 w 81"/>
                    <a:gd name="T9" fmla="*/ 2147483647 h 129"/>
                    <a:gd name="T10" fmla="*/ 2147483647 w 81"/>
                    <a:gd name="T11" fmla="*/ 2147483647 h 129"/>
                    <a:gd name="T12" fmla="*/ 2147483647 w 81"/>
                    <a:gd name="T13" fmla="*/ 2147483647 h 129"/>
                    <a:gd name="T14" fmla="*/ 2147483647 w 81"/>
                    <a:gd name="T15" fmla="*/ 2147483647 h 129"/>
                    <a:gd name="T16" fmla="*/ 2147483647 w 81"/>
                    <a:gd name="T17" fmla="*/ 2147483647 h 129"/>
                    <a:gd name="T18" fmla="*/ 2147483647 w 81"/>
                    <a:gd name="T19" fmla="*/ 2147483647 h 129"/>
                    <a:gd name="T20" fmla="*/ 2147483647 w 81"/>
                    <a:gd name="T21" fmla="*/ 2147483647 h 129"/>
                    <a:gd name="T22" fmla="*/ 2147483647 w 81"/>
                    <a:gd name="T23" fmla="*/ 2147483647 h 129"/>
                    <a:gd name="T24" fmla="*/ 2147483647 w 81"/>
                    <a:gd name="T25" fmla="*/ 2147483647 h 129"/>
                    <a:gd name="T26" fmla="*/ 2147483647 w 81"/>
                    <a:gd name="T27" fmla="*/ 0 h 129"/>
                    <a:gd name="T28" fmla="*/ 2147483647 w 81"/>
                    <a:gd name="T29" fmla="*/ 0 h 129"/>
                    <a:gd name="T30" fmla="*/ 2147483647 w 81"/>
                    <a:gd name="T31" fmla="*/ 2147483647 h 129"/>
                    <a:gd name="T32" fmla="*/ 2147483647 w 81"/>
                    <a:gd name="T33" fmla="*/ 2147483647 h 129"/>
                    <a:gd name="T34" fmla="*/ 2147483647 w 81"/>
                    <a:gd name="T35" fmla="*/ 2147483647 h 129"/>
                    <a:gd name="T36" fmla="*/ 2147483647 w 81"/>
                    <a:gd name="T37" fmla="*/ 2147483647 h 129"/>
                    <a:gd name="T38" fmla="*/ 2147483647 w 81"/>
                    <a:gd name="T39" fmla="*/ 2147483647 h 129"/>
                    <a:gd name="T40" fmla="*/ 2147483647 w 81"/>
                    <a:gd name="T41" fmla="*/ 2147483647 h 129"/>
                    <a:gd name="T42" fmla="*/ 2147483647 w 81"/>
                    <a:gd name="T43" fmla="*/ 2147483647 h 129"/>
                    <a:gd name="T44" fmla="*/ 2147483647 w 81"/>
                    <a:gd name="T45" fmla="*/ 2147483647 h 129"/>
                    <a:gd name="T46" fmla="*/ 2147483647 w 81"/>
                    <a:gd name="T47" fmla="*/ 2147483647 h 129"/>
                    <a:gd name="T48" fmla="*/ 2147483647 w 81"/>
                    <a:gd name="T49" fmla="*/ 2147483647 h 129"/>
                    <a:gd name="T50" fmla="*/ 2147483647 w 81"/>
                    <a:gd name="T51" fmla="*/ 2147483647 h 129"/>
                    <a:gd name="T52" fmla="*/ 2147483647 w 81"/>
                    <a:gd name="T53" fmla="*/ 2147483647 h 129"/>
                    <a:gd name="T54" fmla="*/ 2147483647 w 81"/>
                    <a:gd name="T55" fmla="*/ 2147483647 h 129"/>
                    <a:gd name="T56" fmla="*/ 2147483647 w 81"/>
                    <a:gd name="T57" fmla="*/ 2147483647 h 129"/>
                    <a:gd name="T58" fmla="*/ 2147483647 w 81"/>
                    <a:gd name="T59" fmla="*/ 2147483647 h 129"/>
                    <a:gd name="T60" fmla="*/ 2147483647 w 81"/>
                    <a:gd name="T61" fmla="*/ 2147483647 h 129"/>
                    <a:gd name="T62" fmla="*/ 2147483647 w 81"/>
                    <a:gd name="T63" fmla="*/ 2147483647 h 129"/>
                    <a:gd name="T64" fmla="*/ 2147483647 w 81"/>
                    <a:gd name="T65" fmla="*/ 2147483647 h 1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1"/>
                    <a:gd name="T100" fmla="*/ 0 h 129"/>
                    <a:gd name="T101" fmla="*/ 81 w 81"/>
                    <a:gd name="T102" fmla="*/ 129 h 1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1" h="129">
                      <a:moveTo>
                        <a:pt x="6" y="127"/>
                      </a:moveTo>
                      <a:lnTo>
                        <a:pt x="6" y="127"/>
                      </a:lnTo>
                      <a:lnTo>
                        <a:pt x="6" y="124"/>
                      </a:lnTo>
                      <a:lnTo>
                        <a:pt x="6" y="120"/>
                      </a:lnTo>
                      <a:lnTo>
                        <a:pt x="6" y="115"/>
                      </a:lnTo>
                      <a:lnTo>
                        <a:pt x="5" y="112"/>
                      </a:lnTo>
                      <a:lnTo>
                        <a:pt x="1" y="107"/>
                      </a:lnTo>
                      <a:lnTo>
                        <a:pt x="0" y="101"/>
                      </a:lnTo>
                      <a:lnTo>
                        <a:pt x="0" y="95"/>
                      </a:lnTo>
                      <a:lnTo>
                        <a:pt x="1" y="89"/>
                      </a:lnTo>
                      <a:lnTo>
                        <a:pt x="7" y="76"/>
                      </a:lnTo>
                      <a:lnTo>
                        <a:pt x="12" y="63"/>
                      </a:lnTo>
                      <a:lnTo>
                        <a:pt x="14" y="56"/>
                      </a:lnTo>
                      <a:lnTo>
                        <a:pt x="14" y="49"/>
                      </a:lnTo>
                      <a:lnTo>
                        <a:pt x="14" y="42"/>
                      </a:lnTo>
                      <a:lnTo>
                        <a:pt x="11" y="35"/>
                      </a:lnTo>
                      <a:lnTo>
                        <a:pt x="11" y="31"/>
                      </a:lnTo>
                      <a:lnTo>
                        <a:pt x="12" y="26"/>
                      </a:lnTo>
                      <a:lnTo>
                        <a:pt x="11" y="17"/>
                      </a:lnTo>
                      <a:lnTo>
                        <a:pt x="12" y="7"/>
                      </a:lnTo>
                      <a:lnTo>
                        <a:pt x="14" y="5"/>
                      </a:lnTo>
                      <a:lnTo>
                        <a:pt x="16" y="3"/>
                      </a:lnTo>
                      <a:lnTo>
                        <a:pt x="26" y="1"/>
                      </a:lnTo>
                      <a:lnTo>
                        <a:pt x="38" y="0"/>
                      </a:lnTo>
                      <a:lnTo>
                        <a:pt x="59" y="0"/>
                      </a:lnTo>
                      <a:lnTo>
                        <a:pt x="62" y="11"/>
                      </a:lnTo>
                      <a:lnTo>
                        <a:pt x="62" y="23"/>
                      </a:lnTo>
                      <a:lnTo>
                        <a:pt x="63" y="33"/>
                      </a:lnTo>
                      <a:lnTo>
                        <a:pt x="66" y="44"/>
                      </a:lnTo>
                      <a:lnTo>
                        <a:pt x="66" y="48"/>
                      </a:lnTo>
                      <a:lnTo>
                        <a:pt x="66" y="51"/>
                      </a:lnTo>
                      <a:lnTo>
                        <a:pt x="64" y="55"/>
                      </a:lnTo>
                      <a:lnTo>
                        <a:pt x="66" y="57"/>
                      </a:lnTo>
                      <a:lnTo>
                        <a:pt x="67" y="62"/>
                      </a:lnTo>
                      <a:lnTo>
                        <a:pt x="68" y="65"/>
                      </a:lnTo>
                      <a:lnTo>
                        <a:pt x="68" y="76"/>
                      </a:lnTo>
                      <a:lnTo>
                        <a:pt x="69" y="87"/>
                      </a:lnTo>
                      <a:lnTo>
                        <a:pt x="71" y="92"/>
                      </a:lnTo>
                      <a:lnTo>
                        <a:pt x="73" y="96"/>
                      </a:lnTo>
                      <a:lnTo>
                        <a:pt x="77" y="100"/>
                      </a:lnTo>
                      <a:lnTo>
                        <a:pt x="81" y="103"/>
                      </a:lnTo>
                      <a:lnTo>
                        <a:pt x="78" y="105"/>
                      </a:lnTo>
                      <a:lnTo>
                        <a:pt x="77" y="108"/>
                      </a:lnTo>
                      <a:lnTo>
                        <a:pt x="73" y="112"/>
                      </a:lnTo>
                      <a:lnTo>
                        <a:pt x="69" y="115"/>
                      </a:lnTo>
                      <a:lnTo>
                        <a:pt x="64" y="116"/>
                      </a:lnTo>
                      <a:lnTo>
                        <a:pt x="57" y="119"/>
                      </a:lnTo>
                      <a:lnTo>
                        <a:pt x="49" y="121"/>
                      </a:lnTo>
                      <a:lnTo>
                        <a:pt x="39" y="127"/>
                      </a:lnTo>
                      <a:lnTo>
                        <a:pt x="35" y="128"/>
                      </a:lnTo>
                      <a:lnTo>
                        <a:pt x="31" y="129"/>
                      </a:lnTo>
                      <a:lnTo>
                        <a:pt x="22" y="128"/>
                      </a:lnTo>
                      <a:lnTo>
                        <a:pt x="15" y="127"/>
                      </a:lnTo>
                      <a:lnTo>
                        <a:pt x="6" y="12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8" name="Freeform 697"/>
                <p:cNvSpPr>
                  <a:spLocks/>
                </p:cNvSpPr>
                <p:nvPr/>
              </p:nvSpPr>
              <p:spPr bwMode="auto">
                <a:xfrm>
                  <a:off x="4477612" y="4175879"/>
                  <a:ext cx="165746" cy="168705"/>
                </a:xfrm>
                <a:custGeom>
                  <a:avLst/>
                  <a:gdLst>
                    <a:gd name="T0" fmla="*/ 0 w 122"/>
                    <a:gd name="T1" fmla="*/ 2147483647 h 114"/>
                    <a:gd name="T2" fmla="*/ 2147483647 w 122"/>
                    <a:gd name="T3" fmla="*/ 2147483647 h 114"/>
                    <a:gd name="T4" fmla="*/ 2147483647 w 122"/>
                    <a:gd name="T5" fmla="*/ 2147483647 h 114"/>
                    <a:gd name="T6" fmla="*/ 2147483647 w 122"/>
                    <a:gd name="T7" fmla="*/ 2147483647 h 114"/>
                    <a:gd name="T8" fmla="*/ 2147483647 w 122"/>
                    <a:gd name="T9" fmla="*/ 2147483647 h 114"/>
                    <a:gd name="T10" fmla="*/ 2147483647 w 122"/>
                    <a:gd name="T11" fmla="*/ 2147483647 h 114"/>
                    <a:gd name="T12" fmla="*/ 2147483647 w 122"/>
                    <a:gd name="T13" fmla="*/ 2147483647 h 114"/>
                    <a:gd name="T14" fmla="*/ 2147483647 w 122"/>
                    <a:gd name="T15" fmla="*/ 2147483647 h 114"/>
                    <a:gd name="T16" fmla="*/ 2147483647 w 122"/>
                    <a:gd name="T17" fmla="*/ 2147483647 h 114"/>
                    <a:gd name="T18" fmla="*/ 2147483647 w 122"/>
                    <a:gd name="T19" fmla="*/ 2147483647 h 114"/>
                    <a:gd name="T20" fmla="*/ 2147483647 w 122"/>
                    <a:gd name="T21" fmla="*/ 2147483647 h 114"/>
                    <a:gd name="T22" fmla="*/ 2147483647 w 122"/>
                    <a:gd name="T23" fmla="*/ 0 h 114"/>
                    <a:gd name="T24" fmla="*/ 2147483647 w 122"/>
                    <a:gd name="T25" fmla="*/ 2147483647 h 114"/>
                    <a:gd name="T26" fmla="*/ 2147483647 w 122"/>
                    <a:gd name="T27" fmla="*/ 2147483647 h 114"/>
                    <a:gd name="T28" fmla="*/ 2147483647 w 122"/>
                    <a:gd name="T29" fmla="*/ 2147483647 h 114"/>
                    <a:gd name="T30" fmla="*/ 2147483647 w 122"/>
                    <a:gd name="T31" fmla="*/ 2147483647 h 114"/>
                    <a:gd name="T32" fmla="*/ 2147483647 w 122"/>
                    <a:gd name="T33" fmla="*/ 2147483647 h 114"/>
                    <a:gd name="T34" fmla="*/ 2147483647 w 122"/>
                    <a:gd name="T35" fmla="*/ 2147483647 h 114"/>
                    <a:gd name="T36" fmla="*/ 2147483647 w 122"/>
                    <a:gd name="T37" fmla="*/ 2147483647 h 114"/>
                    <a:gd name="T38" fmla="*/ 2147483647 w 122"/>
                    <a:gd name="T39" fmla="*/ 2147483647 h 114"/>
                    <a:gd name="T40" fmla="*/ 2147483647 w 122"/>
                    <a:gd name="T41" fmla="*/ 2147483647 h 114"/>
                    <a:gd name="T42" fmla="*/ 2147483647 w 122"/>
                    <a:gd name="T43" fmla="*/ 2147483647 h 114"/>
                    <a:gd name="T44" fmla="*/ 2147483647 w 122"/>
                    <a:gd name="T45" fmla="*/ 2147483647 h 114"/>
                    <a:gd name="T46" fmla="*/ 2147483647 w 122"/>
                    <a:gd name="T47" fmla="*/ 2147483647 h 114"/>
                    <a:gd name="T48" fmla="*/ 2147483647 w 122"/>
                    <a:gd name="T49" fmla="*/ 2147483647 h 114"/>
                    <a:gd name="T50" fmla="*/ 2147483647 w 122"/>
                    <a:gd name="T51" fmla="*/ 2147483647 h 114"/>
                    <a:gd name="T52" fmla="*/ 2147483647 w 122"/>
                    <a:gd name="T53" fmla="*/ 2147483647 h 114"/>
                    <a:gd name="T54" fmla="*/ 2147483647 w 122"/>
                    <a:gd name="T55" fmla="*/ 2147483647 h 114"/>
                    <a:gd name="T56" fmla="*/ 2147483647 w 122"/>
                    <a:gd name="T57" fmla="*/ 2147483647 h 114"/>
                    <a:gd name="T58" fmla="*/ 2147483647 w 122"/>
                    <a:gd name="T59" fmla="*/ 2147483647 h 114"/>
                    <a:gd name="T60" fmla="*/ 2147483647 w 122"/>
                    <a:gd name="T61" fmla="*/ 2147483647 h 114"/>
                    <a:gd name="T62" fmla="*/ 2147483647 w 122"/>
                    <a:gd name="T63" fmla="*/ 2147483647 h 114"/>
                    <a:gd name="T64" fmla="*/ 2147483647 w 122"/>
                    <a:gd name="T65" fmla="*/ 2147483647 h 114"/>
                    <a:gd name="T66" fmla="*/ 2147483647 w 122"/>
                    <a:gd name="T67" fmla="*/ 2147483647 h 114"/>
                    <a:gd name="T68" fmla="*/ 2147483647 w 122"/>
                    <a:gd name="T69" fmla="*/ 2147483647 h 114"/>
                    <a:gd name="T70" fmla="*/ 2147483647 w 122"/>
                    <a:gd name="T71" fmla="*/ 2147483647 h 114"/>
                    <a:gd name="T72" fmla="*/ 2147483647 w 122"/>
                    <a:gd name="T73" fmla="*/ 2147483647 h 114"/>
                    <a:gd name="T74" fmla="*/ 2147483647 w 122"/>
                    <a:gd name="T75" fmla="*/ 2147483647 h 114"/>
                    <a:gd name="T76" fmla="*/ 2147483647 w 122"/>
                    <a:gd name="T77" fmla="*/ 2147483647 h 114"/>
                    <a:gd name="T78" fmla="*/ 2147483647 w 122"/>
                    <a:gd name="T79" fmla="*/ 2147483647 h 114"/>
                    <a:gd name="T80" fmla="*/ 0 w 122"/>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114"/>
                    <a:gd name="T125" fmla="*/ 122 w 122"/>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114">
                      <a:moveTo>
                        <a:pt x="0" y="101"/>
                      </a:moveTo>
                      <a:lnTo>
                        <a:pt x="0" y="101"/>
                      </a:lnTo>
                      <a:lnTo>
                        <a:pt x="0" y="95"/>
                      </a:lnTo>
                      <a:lnTo>
                        <a:pt x="2" y="89"/>
                      </a:lnTo>
                      <a:lnTo>
                        <a:pt x="4" y="77"/>
                      </a:lnTo>
                      <a:lnTo>
                        <a:pt x="8" y="67"/>
                      </a:lnTo>
                      <a:lnTo>
                        <a:pt x="11" y="59"/>
                      </a:lnTo>
                      <a:lnTo>
                        <a:pt x="13" y="56"/>
                      </a:lnTo>
                      <a:lnTo>
                        <a:pt x="16" y="52"/>
                      </a:lnTo>
                      <a:lnTo>
                        <a:pt x="20" y="50"/>
                      </a:lnTo>
                      <a:lnTo>
                        <a:pt x="23" y="47"/>
                      </a:lnTo>
                      <a:lnTo>
                        <a:pt x="30" y="44"/>
                      </a:lnTo>
                      <a:lnTo>
                        <a:pt x="35" y="40"/>
                      </a:lnTo>
                      <a:lnTo>
                        <a:pt x="44" y="32"/>
                      </a:lnTo>
                      <a:lnTo>
                        <a:pt x="51" y="24"/>
                      </a:lnTo>
                      <a:lnTo>
                        <a:pt x="60" y="15"/>
                      </a:lnTo>
                      <a:lnTo>
                        <a:pt x="69" y="8"/>
                      </a:lnTo>
                      <a:lnTo>
                        <a:pt x="78" y="2"/>
                      </a:lnTo>
                      <a:lnTo>
                        <a:pt x="83" y="0"/>
                      </a:lnTo>
                      <a:lnTo>
                        <a:pt x="88" y="0"/>
                      </a:lnTo>
                      <a:lnTo>
                        <a:pt x="93" y="1"/>
                      </a:lnTo>
                      <a:lnTo>
                        <a:pt x="98" y="3"/>
                      </a:lnTo>
                      <a:lnTo>
                        <a:pt x="98" y="7"/>
                      </a:lnTo>
                      <a:lnTo>
                        <a:pt x="98" y="10"/>
                      </a:lnTo>
                      <a:lnTo>
                        <a:pt x="101" y="15"/>
                      </a:lnTo>
                      <a:lnTo>
                        <a:pt x="105" y="21"/>
                      </a:lnTo>
                      <a:lnTo>
                        <a:pt x="108" y="26"/>
                      </a:lnTo>
                      <a:lnTo>
                        <a:pt x="108" y="28"/>
                      </a:lnTo>
                      <a:lnTo>
                        <a:pt x="108" y="31"/>
                      </a:lnTo>
                      <a:lnTo>
                        <a:pt x="108" y="33"/>
                      </a:lnTo>
                      <a:lnTo>
                        <a:pt x="108" y="35"/>
                      </a:lnTo>
                      <a:lnTo>
                        <a:pt x="115" y="41"/>
                      </a:lnTo>
                      <a:lnTo>
                        <a:pt x="120" y="50"/>
                      </a:lnTo>
                      <a:lnTo>
                        <a:pt x="122" y="58"/>
                      </a:lnTo>
                      <a:lnTo>
                        <a:pt x="122" y="61"/>
                      </a:lnTo>
                      <a:lnTo>
                        <a:pt x="121" y="66"/>
                      </a:lnTo>
                      <a:lnTo>
                        <a:pt x="119" y="72"/>
                      </a:lnTo>
                      <a:lnTo>
                        <a:pt x="117" y="76"/>
                      </a:lnTo>
                      <a:lnTo>
                        <a:pt x="117" y="79"/>
                      </a:lnTo>
                      <a:lnTo>
                        <a:pt x="114" y="80"/>
                      </a:lnTo>
                      <a:lnTo>
                        <a:pt x="111" y="79"/>
                      </a:lnTo>
                      <a:lnTo>
                        <a:pt x="98" y="79"/>
                      </a:lnTo>
                      <a:lnTo>
                        <a:pt x="77" y="79"/>
                      </a:lnTo>
                      <a:lnTo>
                        <a:pt x="65" y="80"/>
                      </a:lnTo>
                      <a:lnTo>
                        <a:pt x="55" y="82"/>
                      </a:lnTo>
                      <a:lnTo>
                        <a:pt x="53" y="84"/>
                      </a:lnTo>
                      <a:lnTo>
                        <a:pt x="51" y="86"/>
                      </a:lnTo>
                      <a:lnTo>
                        <a:pt x="50" y="96"/>
                      </a:lnTo>
                      <a:lnTo>
                        <a:pt x="51" y="105"/>
                      </a:lnTo>
                      <a:lnTo>
                        <a:pt x="50" y="110"/>
                      </a:lnTo>
                      <a:lnTo>
                        <a:pt x="50" y="114"/>
                      </a:lnTo>
                      <a:lnTo>
                        <a:pt x="49" y="111"/>
                      </a:lnTo>
                      <a:lnTo>
                        <a:pt x="46" y="109"/>
                      </a:lnTo>
                      <a:lnTo>
                        <a:pt x="41" y="107"/>
                      </a:lnTo>
                      <a:lnTo>
                        <a:pt x="37" y="108"/>
                      </a:lnTo>
                      <a:lnTo>
                        <a:pt x="30" y="112"/>
                      </a:lnTo>
                      <a:lnTo>
                        <a:pt x="27" y="112"/>
                      </a:lnTo>
                      <a:lnTo>
                        <a:pt x="25" y="112"/>
                      </a:lnTo>
                      <a:lnTo>
                        <a:pt x="21" y="110"/>
                      </a:lnTo>
                      <a:lnTo>
                        <a:pt x="12" y="101"/>
                      </a:lnTo>
                      <a:lnTo>
                        <a:pt x="9" y="99"/>
                      </a:lnTo>
                      <a:lnTo>
                        <a:pt x="7" y="98"/>
                      </a:lnTo>
                      <a:lnTo>
                        <a:pt x="3" y="99"/>
                      </a:lnTo>
                      <a:lnTo>
                        <a:pt x="0" y="10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39" name="Freeform 698"/>
                <p:cNvSpPr>
                  <a:spLocks/>
                </p:cNvSpPr>
                <p:nvPr/>
              </p:nvSpPr>
              <p:spPr bwMode="auto">
                <a:xfrm>
                  <a:off x="4613762" y="4294270"/>
                  <a:ext cx="45876" cy="153907"/>
                </a:xfrm>
                <a:custGeom>
                  <a:avLst/>
                  <a:gdLst>
                    <a:gd name="T0" fmla="*/ 2147483647 w 33"/>
                    <a:gd name="T1" fmla="*/ 2147483647 h 104"/>
                    <a:gd name="T2" fmla="*/ 2147483647 w 33"/>
                    <a:gd name="T3" fmla="*/ 2147483647 h 104"/>
                    <a:gd name="T4" fmla="*/ 2147483647 w 33"/>
                    <a:gd name="T5" fmla="*/ 2147483647 h 104"/>
                    <a:gd name="T6" fmla="*/ 2147483647 w 33"/>
                    <a:gd name="T7" fmla="*/ 2147483647 h 104"/>
                    <a:gd name="T8" fmla="*/ 2147483647 w 33"/>
                    <a:gd name="T9" fmla="*/ 2147483647 h 104"/>
                    <a:gd name="T10" fmla="*/ 2147483647 w 33"/>
                    <a:gd name="T11" fmla="*/ 2147483647 h 104"/>
                    <a:gd name="T12" fmla="*/ 2147483647 w 33"/>
                    <a:gd name="T13" fmla="*/ 2147483647 h 104"/>
                    <a:gd name="T14" fmla="*/ 2147483647 w 33"/>
                    <a:gd name="T15" fmla="*/ 2147483647 h 104"/>
                    <a:gd name="T16" fmla="*/ 2147483647 w 33"/>
                    <a:gd name="T17" fmla="*/ 2147483647 h 104"/>
                    <a:gd name="T18" fmla="*/ 2147483647 w 33"/>
                    <a:gd name="T19" fmla="*/ 2147483647 h 104"/>
                    <a:gd name="T20" fmla="*/ 2147483647 w 33"/>
                    <a:gd name="T21" fmla="*/ 2147483647 h 104"/>
                    <a:gd name="T22" fmla="*/ 2147483647 w 33"/>
                    <a:gd name="T23" fmla="*/ 2147483647 h 104"/>
                    <a:gd name="T24" fmla="*/ 2147483647 w 33"/>
                    <a:gd name="T25" fmla="*/ 2147483647 h 104"/>
                    <a:gd name="T26" fmla="*/ 2147483647 w 33"/>
                    <a:gd name="T27" fmla="*/ 2147483647 h 104"/>
                    <a:gd name="T28" fmla="*/ 2147483647 w 33"/>
                    <a:gd name="T29" fmla="*/ 2147483647 h 104"/>
                    <a:gd name="T30" fmla="*/ 2147483647 w 33"/>
                    <a:gd name="T31" fmla="*/ 2147483647 h 104"/>
                    <a:gd name="T32" fmla="*/ 2147483647 w 33"/>
                    <a:gd name="T33" fmla="*/ 2147483647 h 104"/>
                    <a:gd name="T34" fmla="*/ 0 w 33"/>
                    <a:gd name="T35" fmla="*/ 0 h 104"/>
                    <a:gd name="T36" fmla="*/ 2147483647 w 33"/>
                    <a:gd name="T37" fmla="*/ 0 h 104"/>
                    <a:gd name="T38" fmla="*/ 2147483647 w 33"/>
                    <a:gd name="T39" fmla="*/ 2147483647 h 104"/>
                    <a:gd name="T40" fmla="*/ 2147483647 w 33"/>
                    <a:gd name="T41" fmla="*/ 2147483647 h 104"/>
                    <a:gd name="T42" fmla="*/ 2147483647 w 33"/>
                    <a:gd name="T43" fmla="*/ 2147483647 h 104"/>
                    <a:gd name="T44" fmla="*/ 2147483647 w 33"/>
                    <a:gd name="T45" fmla="*/ 2147483647 h 104"/>
                    <a:gd name="T46" fmla="*/ 2147483647 w 33"/>
                    <a:gd name="T47" fmla="*/ 2147483647 h 104"/>
                    <a:gd name="T48" fmla="*/ 2147483647 w 33"/>
                    <a:gd name="T49" fmla="*/ 2147483647 h 104"/>
                    <a:gd name="T50" fmla="*/ 2147483647 w 33"/>
                    <a:gd name="T51" fmla="*/ 2147483647 h 104"/>
                    <a:gd name="T52" fmla="*/ 2147483647 w 33"/>
                    <a:gd name="T53" fmla="*/ 2147483647 h 104"/>
                    <a:gd name="T54" fmla="*/ 2147483647 w 33"/>
                    <a:gd name="T55" fmla="*/ 2147483647 h 104"/>
                    <a:gd name="T56" fmla="*/ 2147483647 w 33"/>
                    <a:gd name="T57" fmla="*/ 2147483647 h 104"/>
                    <a:gd name="T58" fmla="*/ 2147483647 w 33"/>
                    <a:gd name="T59" fmla="*/ 2147483647 h 104"/>
                    <a:gd name="T60" fmla="*/ 2147483647 w 33"/>
                    <a:gd name="T61" fmla="*/ 2147483647 h 10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104"/>
                    <a:gd name="T95" fmla="*/ 33 w 33"/>
                    <a:gd name="T96" fmla="*/ 104 h 10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104">
                      <a:moveTo>
                        <a:pt x="21" y="104"/>
                      </a:moveTo>
                      <a:lnTo>
                        <a:pt x="17" y="100"/>
                      </a:lnTo>
                      <a:lnTo>
                        <a:pt x="14" y="96"/>
                      </a:lnTo>
                      <a:lnTo>
                        <a:pt x="11" y="92"/>
                      </a:lnTo>
                      <a:lnTo>
                        <a:pt x="10" y="87"/>
                      </a:lnTo>
                      <a:lnTo>
                        <a:pt x="8" y="76"/>
                      </a:lnTo>
                      <a:lnTo>
                        <a:pt x="8" y="66"/>
                      </a:lnTo>
                      <a:lnTo>
                        <a:pt x="8" y="63"/>
                      </a:lnTo>
                      <a:lnTo>
                        <a:pt x="7" y="62"/>
                      </a:lnTo>
                      <a:lnTo>
                        <a:pt x="6" y="59"/>
                      </a:lnTo>
                      <a:lnTo>
                        <a:pt x="5" y="55"/>
                      </a:lnTo>
                      <a:lnTo>
                        <a:pt x="5" y="51"/>
                      </a:lnTo>
                      <a:lnTo>
                        <a:pt x="6" y="48"/>
                      </a:lnTo>
                      <a:lnTo>
                        <a:pt x="6" y="44"/>
                      </a:lnTo>
                      <a:lnTo>
                        <a:pt x="3" y="34"/>
                      </a:lnTo>
                      <a:lnTo>
                        <a:pt x="2" y="23"/>
                      </a:lnTo>
                      <a:lnTo>
                        <a:pt x="2" y="11"/>
                      </a:lnTo>
                      <a:lnTo>
                        <a:pt x="0" y="0"/>
                      </a:lnTo>
                      <a:lnTo>
                        <a:pt x="12" y="0"/>
                      </a:lnTo>
                      <a:lnTo>
                        <a:pt x="15" y="12"/>
                      </a:lnTo>
                      <a:lnTo>
                        <a:pt x="16" y="18"/>
                      </a:lnTo>
                      <a:lnTo>
                        <a:pt x="17" y="23"/>
                      </a:lnTo>
                      <a:lnTo>
                        <a:pt x="22" y="32"/>
                      </a:lnTo>
                      <a:lnTo>
                        <a:pt x="25" y="42"/>
                      </a:lnTo>
                      <a:lnTo>
                        <a:pt x="26" y="53"/>
                      </a:lnTo>
                      <a:lnTo>
                        <a:pt x="27" y="62"/>
                      </a:lnTo>
                      <a:lnTo>
                        <a:pt x="29" y="83"/>
                      </a:lnTo>
                      <a:lnTo>
                        <a:pt x="30" y="93"/>
                      </a:lnTo>
                      <a:lnTo>
                        <a:pt x="33" y="104"/>
                      </a:lnTo>
                      <a:lnTo>
                        <a:pt x="26" y="104"/>
                      </a:lnTo>
                      <a:lnTo>
                        <a:pt x="21" y="10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0" name="Freeform 699"/>
                <p:cNvSpPr>
                  <a:spLocks/>
                </p:cNvSpPr>
                <p:nvPr/>
              </p:nvSpPr>
              <p:spPr bwMode="auto">
                <a:xfrm>
                  <a:off x="4630040" y="4275032"/>
                  <a:ext cx="63635" cy="174626"/>
                </a:xfrm>
                <a:custGeom>
                  <a:avLst/>
                  <a:gdLst>
                    <a:gd name="T0" fmla="*/ 2147483647 w 46"/>
                    <a:gd name="T1" fmla="*/ 2147483647 h 118"/>
                    <a:gd name="T2" fmla="*/ 2147483647 w 46"/>
                    <a:gd name="T3" fmla="*/ 2147483647 h 118"/>
                    <a:gd name="T4" fmla="*/ 2147483647 w 46"/>
                    <a:gd name="T5" fmla="*/ 2147483647 h 118"/>
                    <a:gd name="T6" fmla="*/ 2147483647 w 46"/>
                    <a:gd name="T7" fmla="*/ 2147483647 h 118"/>
                    <a:gd name="T8" fmla="*/ 2147483647 w 46"/>
                    <a:gd name="T9" fmla="*/ 2147483647 h 118"/>
                    <a:gd name="T10" fmla="*/ 2147483647 w 46"/>
                    <a:gd name="T11" fmla="*/ 2147483647 h 118"/>
                    <a:gd name="T12" fmla="*/ 2147483647 w 46"/>
                    <a:gd name="T13" fmla="*/ 2147483647 h 118"/>
                    <a:gd name="T14" fmla="*/ 2147483647 w 46"/>
                    <a:gd name="T15" fmla="*/ 2147483647 h 118"/>
                    <a:gd name="T16" fmla="*/ 2147483647 w 46"/>
                    <a:gd name="T17" fmla="*/ 2147483647 h 118"/>
                    <a:gd name="T18" fmla="*/ 2147483647 w 46"/>
                    <a:gd name="T19" fmla="*/ 2147483647 h 118"/>
                    <a:gd name="T20" fmla="*/ 0 w 46"/>
                    <a:gd name="T21" fmla="*/ 2147483647 h 118"/>
                    <a:gd name="T22" fmla="*/ 2147483647 w 46"/>
                    <a:gd name="T23" fmla="*/ 2147483647 h 118"/>
                    <a:gd name="T24" fmla="*/ 2147483647 w 46"/>
                    <a:gd name="T25" fmla="*/ 2147483647 h 118"/>
                    <a:gd name="T26" fmla="*/ 2147483647 w 46"/>
                    <a:gd name="T27" fmla="*/ 2147483647 h 118"/>
                    <a:gd name="T28" fmla="*/ 2147483647 w 46"/>
                    <a:gd name="T29" fmla="*/ 2147483647 h 118"/>
                    <a:gd name="T30" fmla="*/ 2147483647 w 46"/>
                    <a:gd name="T31" fmla="*/ 2147483647 h 118"/>
                    <a:gd name="T32" fmla="*/ 2147483647 w 46"/>
                    <a:gd name="T33" fmla="*/ 2147483647 h 118"/>
                    <a:gd name="T34" fmla="*/ 2147483647 w 46"/>
                    <a:gd name="T35" fmla="*/ 0 h 118"/>
                    <a:gd name="T36" fmla="*/ 2147483647 w 46"/>
                    <a:gd name="T37" fmla="*/ 0 h 118"/>
                    <a:gd name="T38" fmla="*/ 2147483647 w 46"/>
                    <a:gd name="T39" fmla="*/ 2147483647 h 118"/>
                    <a:gd name="T40" fmla="*/ 2147483647 w 46"/>
                    <a:gd name="T41" fmla="*/ 2147483647 h 118"/>
                    <a:gd name="T42" fmla="*/ 2147483647 w 46"/>
                    <a:gd name="T43" fmla="*/ 2147483647 h 118"/>
                    <a:gd name="T44" fmla="*/ 2147483647 w 46"/>
                    <a:gd name="T45" fmla="*/ 2147483647 h 118"/>
                    <a:gd name="T46" fmla="*/ 2147483647 w 46"/>
                    <a:gd name="T47" fmla="*/ 2147483647 h 118"/>
                    <a:gd name="T48" fmla="*/ 2147483647 w 46"/>
                    <a:gd name="T49" fmla="*/ 2147483647 h 118"/>
                    <a:gd name="T50" fmla="*/ 2147483647 w 46"/>
                    <a:gd name="T51" fmla="*/ 2147483647 h 118"/>
                    <a:gd name="T52" fmla="*/ 2147483647 w 46"/>
                    <a:gd name="T53" fmla="*/ 2147483647 h 118"/>
                    <a:gd name="T54" fmla="*/ 2147483647 w 46"/>
                    <a:gd name="T55" fmla="*/ 2147483647 h 118"/>
                    <a:gd name="T56" fmla="*/ 2147483647 w 46"/>
                    <a:gd name="T57" fmla="*/ 2147483647 h 118"/>
                    <a:gd name="T58" fmla="*/ 2147483647 w 46"/>
                    <a:gd name="T59" fmla="*/ 2147483647 h 118"/>
                    <a:gd name="T60" fmla="*/ 2147483647 w 46"/>
                    <a:gd name="T61" fmla="*/ 2147483647 h 118"/>
                    <a:gd name="T62" fmla="*/ 2147483647 w 46"/>
                    <a:gd name="T63" fmla="*/ 2147483647 h 118"/>
                    <a:gd name="T64" fmla="*/ 2147483647 w 46"/>
                    <a:gd name="T65" fmla="*/ 2147483647 h 118"/>
                    <a:gd name="T66" fmla="*/ 2147483647 w 46"/>
                    <a:gd name="T67" fmla="*/ 2147483647 h 118"/>
                    <a:gd name="T68" fmla="*/ 2147483647 w 46"/>
                    <a:gd name="T69" fmla="*/ 2147483647 h 1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
                    <a:gd name="T106" fmla="*/ 0 h 118"/>
                    <a:gd name="T107" fmla="*/ 46 w 46"/>
                    <a:gd name="T108" fmla="*/ 118 h 1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 h="118">
                      <a:moveTo>
                        <a:pt x="21" y="117"/>
                      </a:moveTo>
                      <a:lnTo>
                        <a:pt x="18" y="106"/>
                      </a:lnTo>
                      <a:lnTo>
                        <a:pt x="17" y="96"/>
                      </a:lnTo>
                      <a:lnTo>
                        <a:pt x="15" y="75"/>
                      </a:lnTo>
                      <a:lnTo>
                        <a:pt x="14" y="66"/>
                      </a:lnTo>
                      <a:lnTo>
                        <a:pt x="13" y="55"/>
                      </a:lnTo>
                      <a:lnTo>
                        <a:pt x="10" y="45"/>
                      </a:lnTo>
                      <a:lnTo>
                        <a:pt x="5" y="36"/>
                      </a:lnTo>
                      <a:lnTo>
                        <a:pt x="4" y="31"/>
                      </a:lnTo>
                      <a:lnTo>
                        <a:pt x="3" y="25"/>
                      </a:lnTo>
                      <a:lnTo>
                        <a:pt x="0" y="13"/>
                      </a:lnTo>
                      <a:lnTo>
                        <a:pt x="3" y="15"/>
                      </a:lnTo>
                      <a:lnTo>
                        <a:pt x="7" y="13"/>
                      </a:lnTo>
                      <a:lnTo>
                        <a:pt x="12" y="11"/>
                      </a:lnTo>
                      <a:lnTo>
                        <a:pt x="15" y="8"/>
                      </a:lnTo>
                      <a:lnTo>
                        <a:pt x="19" y="5"/>
                      </a:lnTo>
                      <a:lnTo>
                        <a:pt x="23" y="3"/>
                      </a:lnTo>
                      <a:lnTo>
                        <a:pt x="27" y="0"/>
                      </a:lnTo>
                      <a:lnTo>
                        <a:pt x="31" y="0"/>
                      </a:lnTo>
                      <a:lnTo>
                        <a:pt x="36" y="2"/>
                      </a:lnTo>
                      <a:lnTo>
                        <a:pt x="38" y="4"/>
                      </a:lnTo>
                      <a:lnTo>
                        <a:pt x="42" y="6"/>
                      </a:lnTo>
                      <a:lnTo>
                        <a:pt x="46" y="9"/>
                      </a:lnTo>
                      <a:lnTo>
                        <a:pt x="45" y="21"/>
                      </a:lnTo>
                      <a:lnTo>
                        <a:pt x="45" y="40"/>
                      </a:lnTo>
                      <a:lnTo>
                        <a:pt x="45" y="49"/>
                      </a:lnTo>
                      <a:lnTo>
                        <a:pt x="42" y="57"/>
                      </a:lnTo>
                      <a:lnTo>
                        <a:pt x="41" y="62"/>
                      </a:lnTo>
                      <a:lnTo>
                        <a:pt x="37" y="67"/>
                      </a:lnTo>
                      <a:lnTo>
                        <a:pt x="35" y="70"/>
                      </a:lnTo>
                      <a:lnTo>
                        <a:pt x="32" y="75"/>
                      </a:lnTo>
                      <a:lnTo>
                        <a:pt x="31" y="86"/>
                      </a:lnTo>
                      <a:lnTo>
                        <a:pt x="31" y="96"/>
                      </a:lnTo>
                      <a:lnTo>
                        <a:pt x="33" y="118"/>
                      </a:lnTo>
                      <a:lnTo>
                        <a:pt x="21" y="1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1" name="Freeform 700"/>
                <p:cNvSpPr>
                  <a:spLocks/>
                </p:cNvSpPr>
                <p:nvPr/>
              </p:nvSpPr>
              <p:spPr bwMode="auto">
                <a:xfrm>
                  <a:off x="4610801" y="4292791"/>
                  <a:ext cx="45876" cy="152426"/>
                </a:xfrm>
                <a:custGeom>
                  <a:avLst/>
                  <a:gdLst>
                    <a:gd name="T0" fmla="*/ 2147483647 w 33"/>
                    <a:gd name="T1" fmla="*/ 2147483647 h 103"/>
                    <a:gd name="T2" fmla="*/ 2147483647 w 33"/>
                    <a:gd name="T3" fmla="*/ 2147483647 h 103"/>
                    <a:gd name="T4" fmla="*/ 2147483647 w 33"/>
                    <a:gd name="T5" fmla="*/ 2147483647 h 103"/>
                    <a:gd name="T6" fmla="*/ 2147483647 w 33"/>
                    <a:gd name="T7" fmla="*/ 2147483647 h 103"/>
                    <a:gd name="T8" fmla="*/ 2147483647 w 33"/>
                    <a:gd name="T9" fmla="*/ 2147483647 h 103"/>
                    <a:gd name="T10" fmla="*/ 2147483647 w 33"/>
                    <a:gd name="T11" fmla="*/ 2147483647 h 103"/>
                    <a:gd name="T12" fmla="*/ 2147483647 w 33"/>
                    <a:gd name="T13" fmla="*/ 2147483647 h 103"/>
                    <a:gd name="T14" fmla="*/ 2147483647 w 33"/>
                    <a:gd name="T15" fmla="*/ 2147483647 h 103"/>
                    <a:gd name="T16" fmla="*/ 2147483647 w 33"/>
                    <a:gd name="T17" fmla="*/ 2147483647 h 103"/>
                    <a:gd name="T18" fmla="*/ 2147483647 w 33"/>
                    <a:gd name="T19" fmla="*/ 2147483647 h 103"/>
                    <a:gd name="T20" fmla="*/ 2147483647 w 33"/>
                    <a:gd name="T21" fmla="*/ 2147483647 h 103"/>
                    <a:gd name="T22" fmla="*/ 2147483647 w 33"/>
                    <a:gd name="T23" fmla="*/ 2147483647 h 103"/>
                    <a:gd name="T24" fmla="*/ 2147483647 w 33"/>
                    <a:gd name="T25" fmla="*/ 2147483647 h 103"/>
                    <a:gd name="T26" fmla="*/ 2147483647 w 33"/>
                    <a:gd name="T27" fmla="*/ 2147483647 h 103"/>
                    <a:gd name="T28" fmla="*/ 2147483647 w 33"/>
                    <a:gd name="T29" fmla="*/ 2147483647 h 103"/>
                    <a:gd name="T30" fmla="*/ 2147483647 w 33"/>
                    <a:gd name="T31" fmla="*/ 2147483647 h 103"/>
                    <a:gd name="T32" fmla="*/ 2147483647 w 33"/>
                    <a:gd name="T33" fmla="*/ 2147483647 h 103"/>
                    <a:gd name="T34" fmla="*/ 2147483647 w 33"/>
                    <a:gd name="T35" fmla="*/ 2147483647 h 103"/>
                    <a:gd name="T36" fmla="*/ 2147483647 w 33"/>
                    <a:gd name="T37" fmla="*/ 2147483647 h 103"/>
                    <a:gd name="T38" fmla="*/ 2147483647 w 33"/>
                    <a:gd name="T39" fmla="*/ 2147483647 h 103"/>
                    <a:gd name="T40" fmla="*/ 2147483647 w 33"/>
                    <a:gd name="T41" fmla="*/ 2147483647 h 103"/>
                    <a:gd name="T42" fmla="*/ 0 w 33"/>
                    <a:gd name="T43" fmla="*/ 0 h 103"/>
                    <a:gd name="T44" fmla="*/ 0 w 33"/>
                    <a:gd name="T45" fmla="*/ 0 h 103"/>
                    <a:gd name="T46" fmla="*/ 2147483647 w 33"/>
                    <a:gd name="T47" fmla="*/ 0 h 103"/>
                    <a:gd name="T48" fmla="*/ 2147483647 w 33"/>
                    <a:gd name="T49" fmla="*/ 0 h 103"/>
                    <a:gd name="T50" fmla="*/ 2147483647 w 33"/>
                    <a:gd name="T51" fmla="*/ 2147483647 h 103"/>
                    <a:gd name="T52" fmla="*/ 2147483647 w 33"/>
                    <a:gd name="T53" fmla="*/ 2147483647 h 103"/>
                    <a:gd name="T54" fmla="*/ 2147483647 w 33"/>
                    <a:gd name="T55" fmla="*/ 2147483647 h 103"/>
                    <a:gd name="T56" fmla="*/ 2147483647 w 33"/>
                    <a:gd name="T57" fmla="*/ 2147483647 h 103"/>
                    <a:gd name="T58" fmla="*/ 2147483647 w 33"/>
                    <a:gd name="T59" fmla="*/ 2147483647 h 103"/>
                    <a:gd name="T60" fmla="*/ 2147483647 w 33"/>
                    <a:gd name="T61" fmla="*/ 2147483647 h 103"/>
                    <a:gd name="T62" fmla="*/ 2147483647 w 33"/>
                    <a:gd name="T63" fmla="*/ 2147483647 h 103"/>
                    <a:gd name="T64" fmla="*/ 2147483647 w 33"/>
                    <a:gd name="T65" fmla="*/ 2147483647 h 103"/>
                    <a:gd name="T66" fmla="*/ 2147483647 w 33"/>
                    <a:gd name="T67" fmla="*/ 2147483647 h 103"/>
                    <a:gd name="T68" fmla="*/ 2147483647 w 33"/>
                    <a:gd name="T69" fmla="*/ 2147483647 h 103"/>
                    <a:gd name="T70" fmla="*/ 2147483647 w 33"/>
                    <a:gd name="T71" fmla="*/ 2147483647 h 103"/>
                    <a:gd name="T72" fmla="*/ 2147483647 w 33"/>
                    <a:gd name="T73" fmla="*/ 2147483647 h 103"/>
                    <a:gd name="T74" fmla="*/ 2147483647 w 33"/>
                    <a:gd name="T75" fmla="*/ 2147483647 h 103"/>
                    <a:gd name="T76" fmla="*/ 2147483647 w 33"/>
                    <a:gd name="T77" fmla="*/ 2147483647 h 103"/>
                    <a:gd name="T78" fmla="*/ 2147483647 w 33"/>
                    <a:gd name="T79" fmla="*/ 2147483647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
                    <a:gd name="T121" fmla="*/ 0 h 103"/>
                    <a:gd name="T122" fmla="*/ 33 w 33"/>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 h="103">
                      <a:moveTo>
                        <a:pt x="22" y="103"/>
                      </a:moveTo>
                      <a:lnTo>
                        <a:pt x="22" y="103"/>
                      </a:lnTo>
                      <a:lnTo>
                        <a:pt x="18" y="100"/>
                      </a:lnTo>
                      <a:lnTo>
                        <a:pt x="14" y="96"/>
                      </a:lnTo>
                      <a:lnTo>
                        <a:pt x="12" y="92"/>
                      </a:lnTo>
                      <a:lnTo>
                        <a:pt x="10" y="87"/>
                      </a:lnTo>
                      <a:lnTo>
                        <a:pt x="9" y="76"/>
                      </a:lnTo>
                      <a:lnTo>
                        <a:pt x="9" y="65"/>
                      </a:lnTo>
                      <a:lnTo>
                        <a:pt x="9" y="63"/>
                      </a:lnTo>
                      <a:lnTo>
                        <a:pt x="8" y="62"/>
                      </a:lnTo>
                      <a:lnTo>
                        <a:pt x="7" y="58"/>
                      </a:lnTo>
                      <a:lnTo>
                        <a:pt x="5" y="55"/>
                      </a:lnTo>
                      <a:lnTo>
                        <a:pt x="5" y="51"/>
                      </a:lnTo>
                      <a:lnTo>
                        <a:pt x="7" y="48"/>
                      </a:lnTo>
                      <a:lnTo>
                        <a:pt x="7" y="44"/>
                      </a:lnTo>
                      <a:lnTo>
                        <a:pt x="4" y="33"/>
                      </a:lnTo>
                      <a:lnTo>
                        <a:pt x="3" y="23"/>
                      </a:lnTo>
                      <a:lnTo>
                        <a:pt x="3" y="11"/>
                      </a:lnTo>
                      <a:lnTo>
                        <a:pt x="0" y="0"/>
                      </a:lnTo>
                      <a:lnTo>
                        <a:pt x="13" y="0"/>
                      </a:lnTo>
                      <a:lnTo>
                        <a:pt x="16" y="12"/>
                      </a:lnTo>
                      <a:lnTo>
                        <a:pt x="17" y="18"/>
                      </a:lnTo>
                      <a:lnTo>
                        <a:pt x="18" y="23"/>
                      </a:lnTo>
                      <a:lnTo>
                        <a:pt x="23" y="32"/>
                      </a:lnTo>
                      <a:lnTo>
                        <a:pt x="26" y="42"/>
                      </a:lnTo>
                      <a:lnTo>
                        <a:pt x="27" y="52"/>
                      </a:lnTo>
                      <a:lnTo>
                        <a:pt x="28" y="62"/>
                      </a:lnTo>
                      <a:lnTo>
                        <a:pt x="29" y="83"/>
                      </a:lnTo>
                      <a:lnTo>
                        <a:pt x="31" y="93"/>
                      </a:lnTo>
                      <a:lnTo>
                        <a:pt x="33" y="103"/>
                      </a:lnTo>
                      <a:lnTo>
                        <a:pt x="27" y="103"/>
                      </a:lnTo>
                      <a:lnTo>
                        <a:pt x="22" y="10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2" name="Freeform 701"/>
                <p:cNvSpPr>
                  <a:spLocks/>
                </p:cNvSpPr>
                <p:nvPr/>
              </p:nvSpPr>
              <p:spPr bwMode="auto">
                <a:xfrm>
                  <a:off x="4628561" y="4273551"/>
                  <a:ext cx="63634" cy="174626"/>
                </a:xfrm>
                <a:custGeom>
                  <a:avLst/>
                  <a:gdLst>
                    <a:gd name="T0" fmla="*/ 2147483647 w 46"/>
                    <a:gd name="T1" fmla="*/ 2147483647 h 118"/>
                    <a:gd name="T2" fmla="*/ 2147483647 w 46"/>
                    <a:gd name="T3" fmla="*/ 2147483647 h 118"/>
                    <a:gd name="T4" fmla="*/ 2147483647 w 46"/>
                    <a:gd name="T5" fmla="*/ 2147483647 h 118"/>
                    <a:gd name="T6" fmla="*/ 2147483647 w 46"/>
                    <a:gd name="T7" fmla="*/ 2147483647 h 118"/>
                    <a:gd name="T8" fmla="*/ 2147483647 w 46"/>
                    <a:gd name="T9" fmla="*/ 2147483647 h 118"/>
                    <a:gd name="T10" fmla="*/ 2147483647 w 46"/>
                    <a:gd name="T11" fmla="*/ 2147483647 h 118"/>
                    <a:gd name="T12" fmla="*/ 2147483647 w 46"/>
                    <a:gd name="T13" fmla="*/ 2147483647 h 118"/>
                    <a:gd name="T14" fmla="*/ 2147483647 w 46"/>
                    <a:gd name="T15" fmla="*/ 2147483647 h 118"/>
                    <a:gd name="T16" fmla="*/ 2147483647 w 46"/>
                    <a:gd name="T17" fmla="*/ 2147483647 h 118"/>
                    <a:gd name="T18" fmla="*/ 2147483647 w 46"/>
                    <a:gd name="T19" fmla="*/ 2147483647 h 118"/>
                    <a:gd name="T20" fmla="*/ 2147483647 w 46"/>
                    <a:gd name="T21" fmla="*/ 2147483647 h 118"/>
                    <a:gd name="T22" fmla="*/ 2147483647 w 46"/>
                    <a:gd name="T23" fmla="*/ 2147483647 h 118"/>
                    <a:gd name="T24" fmla="*/ 0 w 46"/>
                    <a:gd name="T25" fmla="*/ 2147483647 h 118"/>
                    <a:gd name="T26" fmla="*/ 0 w 46"/>
                    <a:gd name="T27" fmla="*/ 2147483647 h 118"/>
                    <a:gd name="T28" fmla="*/ 2147483647 w 46"/>
                    <a:gd name="T29" fmla="*/ 2147483647 h 118"/>
                    <a:gd name="T30" fmla="*/ 2147483647 w 46"/>
                    <a:gd name="T31" fmla="*/ 2147483647 h 118"/>
                    <a:gd name="T32" fmla="*/ 2147483647 w 46"/>
                    <a:gd name="T33" fmla="*/ 2147483647 h 118"/>
                    <a:gd name="T34" fmla="*/ 2147483647 w 46"/>
                    <a:gd name="T35" fmla="*/ 2147483647 h 118"/>
                    <a:gd name="T36" fmla="*/ 2147483647 w 46"/>
                    <a:gd name="T37" fmla="*/ 2147483647 h 118"/>
                    <a:gd name="T38" fmla="*/ 2147483647 w 46"/>
                    <a:gd name="T39" fmla="*/ 2147483647 h 118"/>
                    <a:gd name="T40" fmla="*/ 2147483647 w 46"/>
                    <a:gd name="T41" fmla="*/ 2147483647 h 118"/>
                    <a:gd name="T42" fmla="*/ 2147483647 w 46"/>
                    <a:gd name="T43" fmla="*/ 2147483647 h 118"/>
                    <a:gd name="T44" fmla="*/ 2147483647 w 46"/>
                    <a:gd name="T45" fmla="*/ 2147483647 h 118"/>
                    <a:gd name="T46" fmla="*/ 2147483647 w 46"/>
                    <a:gd name="T47" fmla="*/ 0 h 118"/>
                    <a:gd name="T48" fmla="*/ 2147483647 w 46"/>
                    <a:gd name="T49" fmla="*/ 0 h 118"/>
                    <a:gd name="T50" fmla="*/ 2147483647 w 46"/>
                    <a:gd name="T51" fmla="*/ 0 h 118"/>
                    <a:gd name="T52" fmla="*/ 2147483647 w 46"/>
                    <a:gd name="T53" fmla="*/ 2147483647 h 118"/>
                    <a:gd name="T54" fmla="*/ 2147483647 w 46"/>
                    <a:gd name="T55" fmla="*/ 2147483647 h 118"/>
                    <a:gd name="T56" fmla="*/ 2147483647 w 46"/>
                    <a:gd name="T57" fmla="*/ 2147483647 h 118"/>
                    <a:gd name="T58" fmla="*/ 2147483647 w 46"/>
                    <a:gd name="T59" fmla="*/ 2147483647 h 118"/>
                    <a:gd name="T60" fmla="*/ 2147483647 w 46"/>
                    <a:gd name="T61" fmla="*/ 2147483647 h 118"/>
                    <a:gd name="T62" fmla="*/ 2147483647 w 46"/>
                    <a:gd name="T63" fmla="*/ 2147483647 h 118"/>
                    <a:gd name="T64" fmla="*/ 2147483647 w 46"/>
                    <a:gd name="T65" fmla="*/ 2147483647 h 118"/>
                    <a:gd name="T66" fmla="*/ 2147483647 w 46"/>
                    <a:gd name="T67" fmla="*/ 2147483647 h 118"/>
                    <a:gd name="T68" fmla="*/ 2147483647 w 46"/>
                    <a:gd name="T69" fmla="*/ 2147483647 h 118"/>
                    <a:gd name="T70" fmla="*/ 2147483647 w 46"/>
                    <a:gd name="T71" fmla="*/ 2147483647 h 118"/>
                    <a:gd name="T72" fmla="*/ 2147483647 w 46"/>
                    <a:gd name="T73" fmla="*/ 2147483647 h 118"/>
                    <a:gd name="T74" fmla="*/ 2147483647 w 46"/>
                    <a:gd name="T75" fmla="*/ 2147483647 h 118"/>
                    <a:gd name="T76" fmla="*/ 2147483647 w 46"/>
                    <a:gd name="T77" fmla="*/ 2147483647 h 118"/>
                    <a:gd name="T78" fmla="*/ 2147483647 w 46"/>
                    <a:gd name="T79" fmla="*/ 2147483647 h 118"/>
                    <a:gd name="T80" fmla="*/ 2147483647 w 46"/>
                    <a:gd name="T81" fmla="*/ 2147483647 h 118"/>
                    <a:gd name="T82" fmla="*/ 2147483647 w 46"/>
                    <a:gd name="T83" fmla="*/ 2147483647 h 118"/>
                    <a:gd name="T84" fmla="*/ 2147483647 w 46"/>
                    <a:gd name="T85" fmla="*/ 2147483647 h 118"/>
                    <a:gd name="T86" fmla="*/ 2147483647 w 46"/>
                    <a:gd name="T87" fmla="*/ 2147483647 h 118"/>
                    <a:gd name="T88" fmla="*/ 2147483647 w 46"/>
                    <a:gd name="T89" fmla="*/ 2147483647 h 118"/>
                    <a:gd name="T90" fmla="*/ 2147483647 w 46"/>
                    <a:gd name="T91" fmla="*/ 2147483647 h 118"/>
                    <a:gd name="T92" fmla="*/ 2147483647 w 46"/>
                    <a:gd name="T93" fmla="*/ 2147483647 h 118"/>
                    <a:gd name="T94" fmla="*/ 2147483647 w 46"/>
                    <a:gd name="T95" fmla="*/ 2147483647 h 1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
                    <a:gd name="T145" fmla="*/ 0 h 118"/>
                    <a:gd name="T146" fmla="*/ 46 w 46"/>
                    <a:gd name="T147" fmla="*/ 118 h 1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 h="118">
                      <a:moveTo>
                        <a:pt x="20" y="116"/>
                      </a:moveTo>
                      <a:lnTo>
                        <a:pt x="20" y="116"/>
                      </a:lnTo>
                      <a:lnTo>
                        <a:pt x="18" y="106"/>
                      </a:lnTo>
                      <a:lnTo>
                        <a:pt x="16" y="96"/>
                      </a:lnTo>
                      <a:lnTo>
                        <a:pt x="15" y="75"/>
                      </a:lnTo>
                      <a:lnTo>
                        <a:pt x="14" y="65"/>
                      </a:lnTo>
                      <a:lnTo>
                        <a:pt x="13" y="55"/>
                      </a:lnTo>
                      <a:lnTo>
                        <a:pt x="10" y="45"/>
                      </a:lnTo>
                      <a:lnTo>
                        <a:pt x="5" y="36"/>
                      </a:lnTo>
                      <a:lnTo>
                        <a:pt x="4" y="31"/>
                      </a:lnTo>
                      <a:lnTo>
                        <a:pt x="3" y="25"/>
                      </a:lnTo>
                      <a:lnTo>
                        <a:pt x="0" y="13"/>
                      </a:lnTo>
                      <a:lnTo>
                        <a:pt x="3" y="14"/>
                      </a:lnTo>
                      <a:lnTo>
                        <a:pt x="6" y="13"/>
                      </a:lnTo>
                      <a:lnTo>
                        <a:pt x="11" y="11"/>
                      </a:lnTo>
                      <a:lnTo>
                        <a:pt x="15" y="7"/>
                      </a:lnTo>
                      <a:lnTo>
                        <a:pt x="19" y="5"/>
                      </a:lnTo>
                      <a:lnTo>
                        <a:pt x="23" y="3"/>
                      </a:lnTo>
                      <a:lnTo>
                        <a:pt x="27" y="0"/>
                      </a:lnTo>
                      <a:lnTo>
                        <a:pt x="30" y="0"/>
                      </a:lnTo>
                      <a:lnTo>
                        <a:pt x="36" y="1"/>
                      </a:lnTo>
                      <a:lnTo>
                        <a:pt x="38" y="4"/>
                      </a:lnTo>
                      <a:lnTo>
                        <a:pt x="42" y="6"/>
                      </a:lnTo>
                      <a:lnTo>
                        <a:pt x="46" y="9"/>
                      </a:lnTo>
                      <a:lnTo>
                        <a:pt x="44" y="20"/>
                      </a:lnTo>
                      <a:lnTo>
                        <a:pt x="44" y="39"/>
                      </a:lnTo>
                      <a:lnTo>
                        <a:pt x="44" y="49"/>
                      </a:lnTo>
                      <a:lnTo>
                        <a:pt x="42" y="57"/>
                      </a:lnTo>
                      <a:lnTo>
                        <a:pt x="41" y="62"/>
                      </a:lnTo>
                      <a:lnTo>
                        <a:pt x="37" y="67"/>
                      </a:lnTo>
                      <a:lnTo>
                        <a:pt x="34" y="70"/>
                      </a:lnTo>
                      <a:lnTo>
                        <a:pt x="32" y="75"/>
                      </a:lnTo>
                      <a:lnTo>
                        <a:pt x="30" y="86"/>
                      </a:lnTo>
                      <a:lnTo>
                        <a:pt x="30" y="96"/>
                      </a:lnTo>
                      <a:lnTo>
                        <a:pt x="33" y="118"/>
                      </a:lnTo>
                      <a:lnTo>
                        <a:pt x="20" y="1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3" name="Freeform 702"/>
                <p:cNvSpPr>
                  <a:spLocks/>
                </p:cNvSpPr>
                <p:nvPr/>
              </p:nvSpPr>
              <p:spPr bwMode="auto">
                <a:xfrm>
                  <a:off x="4672956" y="4227675"/>
                  <a:ext cx="282655" cy="278216"/>
                </a:xfrm>
                <a:custGeom>
                  <a:avLst/>
                  <a:gdLst>
                    <a:gd name="T0" fmla="*/ 2147483647 w 207"/>
                    <a:gd name="T1" fmla="*/ 2147483647 h 188"/>
                    <a:gd name="T2" fmla="*/ 2147483647 w 207"/>
                    <a:gd name="T3" fmla="*/ 2147483647 h 188"/>
                    <a:gd name="T4" fmla="*/ 2147483647 w 207"/>
                    <a:gd name="T5" fmla="*/ 2147483647 h 188"/>
                    <a:gd name="T6" fmla="*/ 2147483647 w 207"/>
                    <a:gd name="T7" fmla="*/ 2147483647 h 188"/>
                    <a:gd name="T8" fmla="*/ 2147483647 w 207"/>
                    <a:gd name="T9" fmla="*/ 2147483647 h 188"/>
                    <a:gd name="T10" fmla="*/ 2147483647 w 207"/>
                    <a:gd name="T11" fmla="*/ 2147483647 h 188"/>
                    <a:gd name="T12" fmla="*/ 2147483647 w 207"/>
                    <a:gd name="T13" fmla="*/ 2147483647 h 188"/>
                    <a:gd name="T14" fmla="*/ 2147483647 w 207"/>
                    <a:gd name="T15" fmla="*/ 2147483647 h 188"/>
                    <a:gd name="T16" fmla="*/ 2147483647 w 207"/>
                    <a:gd name="T17" fmla="*/ 2147483647 h 188"/>
                    <a:gd name="T18" fmla="*/ 2147483647 w 207"/>
                    <a:gd name="T19" fmla="*/ 2147483647 h 188"/>
                    <a:gd name="T20" fmla="*/ 2147483647 w 207"/>
                    <a:gd name="T21" fmla="*/ 2147483647 h 188"/>
                    <a:gd name="T22" fmla="*/ 2147483647 w 207"/>
                    <a:gd name="T23" fmla="*/ 2147483647 h 188"/>
                    <a:gd name="T24" fmla="*/ 2147483647 w 207"/>
                    <a:gd name="T25" fmla="*/ 2147483647 h 188"/>
                    <a:gd name="T26" fmla="*/ 2147483647 w 207"/>
                    <a:gd name="T27" fmla="*/ 2147483647 h 188"/>
                    <a:gd name="T28" fmla="*/ 2147483647 w 207"/>
                    <a:gd name="T29" fmla="*/ 2147483647 h 188"/>
                    <a:gd name="T30" fmla="*/ 2147483647 w 207"/>
                    <a:gd name="T31" fmla="*/ 2147483647 h 188"/>
                    <a:gd name="T32" fmla="*/ 2147483647 w 207"/>
                    <a:gd name="T33" fmla="*/ 2147483647 h 188"/>
                    <a:gd name="T34" fmla="*/ 2147483647 w 207"/>
                    <a:gd name="T35" fmla="*/ 2147483647 h 188"/>
                    <a:gd name="T36" fmla="*/ 2147483647 w 207"/>
                    <a:gd name="T37" fmla="*/ 2147483647 h 188"/>
                    <a:gd name="T38" fmla="*/ 2147483647 w 207"/>
                    <a:gd name="T39" fmla="*/ 2147483647 h 188"/>
                    <a:gd name="T40" fmla="*/ 2147483647 w 207"/>
                    <a:gd name="T41" fmla="*/ 2147483647 h 188"/>
                    <a:gd name="T42" fmla="*/ 2147483647 w 207"/>
                    <a:gd name="T43" fmla="*/ 2147483647 h 188"/>
                    <a:gd name="T44" fmla="*/ 2147483647 w 207"/>
                    <a:gd name="T45" fmla="*/ 2147483647 h 188"/>
                    <a:gd name="T46" fmla="*/ 2147483647 w 207"/>
                    <a:gd name="T47" fmla="*/ 2147483647 h 188"/>
                    <a:gd name="T48" fmla="*/ 2147483647 w 207"/>
                    <a:gd name="T49" fmla="*/ 2147483647 h 188"/>
                    <a:gd name="T50" fmla="*/ 2147483647 w 207"/>
                    <a:gd name="T51" fmla="*/ 2147483647 h 188"/>
                    <a:gd name="T52" fmla="*/ 2147483647 w 207"/>
                    <a:gd name="T53" fmla="*/ 2147483647 h 188"/>
                    <a:gd name="T54" fmla="*/ 2147483647 w 207"/>
                    <a:gd name="T55" fmla="*/ 0 h 188"/>
                    <a:gd name="T56" fmla="*/ 2147483647 w 207"/>
                    <a:gd name="T57" fmla="*/ 2147483647 h 188"/>
                    <a:gd name="T58" fmla="*/ 2147483647 w 207"/>
                    <a:gd name="T59" fmla="*/ 2147483647 h 188"/>
                    <a:gd name="T60" fmla="*/ 2147483647 w 207"/>
                    <a:gd name="T61" fmla="*/ 2147483647 h 188"/>
                    <a:gd name="T62" fmla="*/ 2147483647 w 207"/>
                    <a:gd name="T63" fmla="*/ 2147483647 h 188"/>
                    <a:gd name="T64" fmla="*/ 2147483647 w 207"/>
                    <a:gd name="T65" fmla="*/ 2147483647 h 188"/>
                    <a:gd name="T66" fmla="*/ 2147483647 w 207"/>
                    <a:gd name="T67" fmla="*/ 2147483647 h 188"/>
                    <a:gd name="T68" fmla="*/ 2147483647 w 207"/>
                    <a:gd name="T69" fmla="*/ 2147483647 h 188"/>
                    <a:gd name="T70" fmla="*/ 2147483647 w 207"/>
                    <a:gd name="T71" fmla="*/ 2147483647 h 188"/>
                    <a:gd name="T72" fmla="*/ 2147483647 w 207"/>
                    <a:gd name="T73" fmla="*/ 2147483647 h 188"/>
                    <a:gd name="T74" fmla="*/ 2147483647 w 207"/>
                    <a:gd name="T75" fmla="*/ 2147483647 h 188"/>
                    <a:gd name="T76" fmla="*/ 2147483647 w 207"/>
                    <a:gd name="T77" fmla="*/ 2147483647 h 188"/>
                    <a:gd name="T78" fmla="*/ 2147483647 w 207"/>
                    <a:gd name="T79" fmla="*/ 2147483647 h 188"/>
                    <a:gd name="T80" fmla="*/ 2147483647 w 207"/>
                    <a:gd name="T81" fmla="*/ 2147483647 h 188"/>
                    <a:gd name="T82" fmla="*/ 2147483647 w 207"/>
                    <a:gd name="T83" fmla="*/ 2147483647 h 188"/>
                    <a:gd name="T84" fmla="*/ 2147483647 w 207"/>
                    <a:gd name="T85" fmla="*/ 2147483647 h 188"/>
                    <a:gd name="T86" fmla="*/ 2147483647 w 207"/>
                    <a:gd name="T87" fmla="*/ 2147483647 h 1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7"/>
                    <a:gd name="T133" fmla="*/ 0 h 188"/>
                    <a:gd name="T134" fmla="*/ 207 w 207"/>
                    <a:gd name="T135" fmla="*/ 188 h 1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7" h="188">
                      <a:moveTo>
                        <a:pt x="104" y="181"/>
                      </a:moveTo>
                      <a:lnTo>
                        <a:pt x="97" y="173"/>
                      </a:lnTo>
                      <a:lnTo>
                        <a:pt x="95" y="170"/>
                      </a:lnTo>
                      <a:lnTo>
                        <a:pt x="95" y="169"/>
                      </a:lnTo>
                      <a:lnTo>
                        <a:pt x="96" y="166"/>
                      </a:lnTo>
                      <a:lnTo>
                        <a:pt x="101" y="159"/>
                      </a:lnTo>
                      <a:lnTo>
                        <a:pt x="105" y="152"/>
                      </a:lnTo>
                      <a:lnTo>
                        <a:pt x="108" y="150"/>
                      </a:lnTo>
                      <a:lnTo>
                        <a:pt x="110" y="147"/>
                      </a:lnTo>
                      <a:lnTo>
                        <a:pt x="114" y="145"/>
                      </a:lnTo>
                      <a:lnTo>
                        <a:pt x="118" y="145"/>
                      </a:lnTo>
                      <a:lnTo>
                        <a:pt x="123" y="145"/>
                      </a:lnTo>
                      <a:lnTo>
                        <a:pt x="128" y="145"/>
                      </a:lnTo>
                      <a:lnTo>
                        <a:pt x="137" y="141"/>
                      </a:lnTo>
                      <a:lnTo>
                        <a:pt x="144" y="136"/>
                      </a:lnTo>
                      <a:lnTo>
                        <a:pt x="152" y="130"/>
                      </a:lnTo>
                      <a:lnTo>
                        <a:pt x="157" y="121"/>
                      </a:lnTo>
                      <a:lnTo>
                        <a:pt x="162" y="112"/>
                      </a:lnTo>
                      <a:lnTo>
                        <a:pt x="170" y="95"/>
                      </a:lnTo>
                      <a:lnTo>
                        <a:pt x="171" y="93"/>
                      </a:lnTo>
                      <a:lnTo>
                        <a:pt x="174" y="92"/>
                      </a:lnTo>
                      <a:lnTo>
                        <a:pt x="176" y="90"/>
                      </a:lnTo>
                      <a:lnTo>
                        <a:pt x="179" y="88"/>
                      </a:lnTo>
                      <a:lnTo>
                        <a:pt x="183" y="81"/>
                      </a:lnTo>
                      <a:lnTo>
                        <a:pt x="188" y="75"/>
                      </a:lnTo>
                      <a:lnTo>
                        <a:pt x="188" y="74"/>
                      </a:lnTo>
                      <a:lnTo>
                        <a:pt x="188" y="73"/>
                      </a:lnTo>
                      <a:lnTo>
                        <a:pt x="188" y="70"/>
                      </a:lnTo>
                      <a:lnTo>
                        <a:pt x="188" y="68"/>
                      </a:lnTo>
                      <a:lnTo>
                        <a:pt x="189" y="66"/>
                      </a:lnTo>
                      <a:lnTo>
                        <a:pt x="190" y="63"/>
                      </a:lnTo>
                      <a:lnTo>
                        <a:pt x="190" y="60"/>
                      </a:lnTo>
                      <a:lnTo>
                        <a:pt x="190" y="56"/>
                      </a:lnTo>
                      <a:lnTo>
                        <a:pt x="194" y="50"/>
                      </a:lnTo>
                      <a:lnTo>
                        <a:pt x="205" y="41"/>
                      </a:lnTo>
                      <a:lnTo>
                        <a:pt x="207" y="40"/>
                      </a:lnTo>
                      <a:lnTo>
                        <a:pt x="207" y="37"/>
                      </a:lnTo>
                      <a:lnTo>
                        <a:pt x="205" y="31"/>
                      </a:lnTo>
                      <a:lnTo>
                        <a:pt x="203" y="25"/>
                      </a:lnTo>
                      <a:lnTo>
                        <a:pt x="200" y="19"/>
                      </a:lnTo>
                      <a:lnTo>
                        <a:pt x="197" y="18"/>
                      </a:lnTo>
                      <a:lnTo>
                        <a:pt x="197" y="17"/>
                      </a:lnTo>
                      <a:lnTo>
                        <a:pt x="197" y="16"/>
                      </a:lnTo>
                      <a:lnTo>
                        <a:pt x="198" y="12"/>
                      </a:lnTo>
                      <a:lnTo>
                        <a:pt x="198" y="9"/>
                      </a:lnTo>
                      <a:lnTo>
                        <a:pt x="195" y="6"/>
                      </a:lnTo>
                      <a:lnTo>
                        <a:pt x="193" y="4"/>
                      </a:lnTo>
                      <a:lnTo>
                        <a:pt x="189" y="4"/>
                      </a:lnTo>
                      <a:lnTo>
                        <a:pt x="185" y="4"/>
                      </a:lnTo>
                      <a:lnTo>
                        <a:pt x="179" y="5"/>
                      </a:lnTo>
                      <a:lnTo>
                        <a:pt x="174" y="10"/>
                      </a:lnTo>
                      <a:lnTo>
                        <a:pt x="172" y="11"/>
                      </a:lnTo>
                      <a:lnTo>
                        <a:pt x="171" y="11"/>
                      </a:lnTo>
                      <a:lnTo>
                        <a:pt x="170" y="11"/>
                      </a:lnTo>
                      <a:lnTo>
                        <a:pt x="167" y="10"/>
                      </a:lnTo>
                      <a:lnTo>
                        <a:pt x="161" y="5"/>
                      </a:lnTo>
                      <a:lnTo>
                        <a:pt x="156" y="5"/>
                      </a:lnTo>
                      <a:lnTo>
                        <a:pt x="152" y="5"/>
                      </a:lnTo>
                      <a:lnTo>
                        <a:pt x="147" y="6"/>
                      </a:lnTo>
                      <a:lnTo>
                        <a:pt x="139" y="6"/>
                      </a:lnTo>
                      <a:lnTo>
                        <a:pt x="132" y="6"/>
                      </a:lnTo>
                      <a:lnTo>
                        <a:pt x="131" y="7"/>
                      </a:lnTo>
                      <a:lnTo>
                        <a:pt x="129" y="9"/>
                      </a:lnTo>
                      <a:lnTo>
                        <a:pt x="128" y="12"/>
                      </a:lnTo>
                      <a:lnTo>
                        <a:pt x="125" y="16"/>
                      </a:lnTo>
                      <a:lnTo>
                        <a:pt x="125" y="17"/>
                      </a:lnTo>
                      <a:lnTo>
                        <a:pt x="123" y="17"/>
                      </a:lnTo>
                      <a:lnTo>
                        <a:pt x="114" y="17"/>
                      </a:lnTo>
                      <a:lnTo>
                        <a:pt x="113" y="17"/>
                      </a:lnTo>
                      <a:lnTo>
                        <a:pt x="111" y="15"/>
                      </a:lnTo>
                      <a:lnTo>
                        <a:pt x="110" y="12"/>
                      </a:lnTo>
                      <a:lnTo>
                        <a:pt x="108" y="10"/>
                      </a:lnTo>
                      <a:lnTo>
                        <a:pt x="104" y="7"/>
                      </a:lnTo>
                      <a:lnTo>
                        <a:pt x="100" y="6"/>
                      </a:lnTo>
                      <a:lnTo>
                        <a:pt x="96" y="6"/>
                      </a:lnTo>
                      <a:lnTo>
                        <a:pt x="86" y="11"/>
                      </a:lnTo>
                      <a:lnTo>
                        <a:pt x="84" y="12"/>
                      </a:lnTo>
                      <a:lnTo>
                        <a:pt x="80" y="12"/>
                      </a:lnTo>
                      <a:lnTo>
                        <a:pt x="77" y="11"/>
                      </a:lnTo>
                      <a:lnTo>
                        <a:pt x="75" y="9"/>
                      </a:lnTo>
                      <a:lnTo>
                        <a:pt x="68" y="2"/>
                      </a:lnTo>
                      <a:lnTo>
                        <a:pt x="66" y="0"/>
                      </a:lnTo>
                      <a:lnTo>
                        <a:pt x="63" y="0"/>
                      </a:lnTo>
                      <a:lnTo>
                        <a:pt x="57" y="0"/>
                      </a:lnTo>
                      <a:lnTo>
                        <a:pt x="48" y="0"/>
                      </a:lnTo>
                      <a:lnTo>
                        <a:pt x="39" y="2"/>
                      </a:lnTo>
                      <a:lnTo>
                        <a:pt x="35" y="3"/>
                      </a:lnTo>
                      <a:lnTo>
                        <a:pt x="31" y="4"/>
                      </a:lnTo>
                      <a:lnTo>
                        <a:pt x="30" y="7"/>
                      </a:lnTo>
                      <a:lnTo>
                        <a:pt x="30" y="13"/>
                      </a:lnTo>
                      <a:lnTo>
                        <a:pt x="25" y="15"/>
                      </a:lnTo>
                      <a:lnTo>
                        <a:pt x="24" y="15"/>
                      </a:lnTo>
                      <a:lnTo>
                        <a:pt x="23" y="16"/>
                      </a:lnTo>
                      <a:lnTo>
                        <a:pt x="20" y="19"/>
                      </a:lnTo>
                      <a:lnTo>
                        <a:pt x="19" y="23"/>
                      </a:lnTo>
                      <a:lnTo>
                        <a:pt x="17" y="30"/>
                      </a:lnTo>
                      <a:lnTo>
                        <a:pt x="15" y="41"/>
                      </a:lnTo>
                      <a:lnTo>
                        <a:pt x="14" y="53"/>
                      </a:lnTo>
                      <a:lnTo>
                        <a:pt x="14" y="72"/>
                      </a:lnTo>
                      <a:lnTo>
                        <a:pt x="14" y="81"/>
                      </a:lnTo>
                      <a:lnTo>
                        <a:pt x="11" y="89"/>
                      </a:lnTo>
                      <a:lnTo>
                        <a:pt x="10" y="94"/>
                      </a:lnTo>
                      <a:lnTo>
                        <a:pt x="6" y="99"/>
                      </a:lnTo>
                      <a:lnTo>
                        <a:pt x="4" y="102"/>
                      </a:lnTo>
                      <a:lnTo>
                        <a:pt x="1" y="107"/>
                      </a:lnTo>
                      <a:lnTo>
                        <a:pt x="0" y="118"/>
                      </a:lnTo>
                      <a:lnTo>
                        <a:pt x="0" y="128"/>
                      </a:lnTo>
                      <a:lnTo>
                        <a:pt x="2" y="150"/>
                      </a:lnTo>
                      <a:lnTo>
                        <a:pt x="7" y="149"/>
                      </a:lnTo>
                      <a:lnTo>
                        <a:pt x="21" y="146"/>
                      </a:lnTo>
                      <a:lnTo>
                        <a:pt x="28" y="146"/>
                      </a:lnTo>
                      <a:lnTo>
                        <a:pt x="34" y="149"/>
                      </a:lnTo>
                      <a:lnTo>
                        <a:pt x="37" y="150"/>
                      </a:lnTo>
                      <a:lnTo>
                        <a:pt x="40" y="153"/>
                      </a:lnTo>
                      <a:lnTo>
                        <a:pt x="44" y="160"/>
                      </a:lnTo>
                      <a:lnTo>
                        <a:pt x="49" y="177"/>
                      </a:lnTo>
                      <a:lnTo>
                        <a:pt x="52" y="182"/>
                      </a:lnTo>
                      <a:lnTo>
                        <a:pt x="53" y="184"/>
                      </a:lnTo>
                      <a:lnTo>
                        <a:pt x="56" y="185"/>
                      </a:lnTo>
                      <a:lnTo>
                        <a:pt x="62" y="185"/>
                      </a:lnTo>
                      <a:lnTo>
                        <a:pt x="67" y="185"/>
                      </a:lnTo>
                      <a:lnTo>
                        <a:pt x="73" y="185"/>
                      </a:lnTo>
                      <a:lnTo>
                        <a:pt x="77" y="185"/>
                      </a:lnTo>
                      <a:lnTo>
                        <a:pt x="80" y="187"/>
                      </a:lnTo>
                      <a:lnTo>
                        <a:pt x="84" y="188"/>
                      </a:lnTo>
                      <a:lnTo>
                        <a:pt x="86" y="187"/>
                      </a:lnTo>
                      <a:lnTo>
                        <a:pt x="89" y="185"/>
                      </a:lnTo>
                      <a:lnTo>
                        <a:pt x="92" y="185"/>
                      </a:lnTo>
                      <a:lnTo>
                        <a:pt x="96" y="187"/>
                      </a:lnTo>
                      <a:lnTo>
                        <a:pt x="97" y="187"/>
                      </a:lnTo>
                      <a:lnTo>
                        <a:pt x="99" y="185"/>
                      </a:lnTo>
                      <a:lnTo>
                        <a:pt x="101" y="183"/>
                      </a:lnTo>
                      <a:lnTo>
                        <a:pt x="104" y="18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4" name="Freeform 703"/>
                <p:cNvSpPr>
                  <a:spLocks/>
                </p:cNvSpPr>
                <p:nvPr/>
              </p:nvSpPr>
              <p:spPr bwMode="auto">
                <a:xfrm>
                  <a:off x="4801708" y="4255793"/>
                  <a:ext cx="182025" cy="315213"/>
                </a:xfrm>
                <a:custGeom>
                  <a:avLst/>
                  <a:gdLst>
                    <a:gd name="T0" fmla="*/ 2147483647 w 133"/>
                    <a:gd name="T1" fmla="*/ 2147483647 h 213"/>
                    <a:gd name="T2" fmla="*/ 0 w 133"/>
                    <a:gd name="T3" fmla="*/ 2147483647 h 213"/>
                    <a:gd name="T4" fmla="*/ 2147483647 w 133"/>
                    <a:gd name="T5" fmla="*/ 2147483647 h 213"/>
                    <a:gd name="T6" fmla="*/ 2147483647 w 133"/>
                    <a:gd name="T7" fmla="*/ 2147483647 h 213"/>
                    <a:gd name="T8" fmla="*/ 2147483647 w 133"/>
                    <a:gd name="T9" fmla="*/ 2147483647 h 213"/>
                    <a:gd name="T10" fmla="*/ 2147483647 w 133"/>
                    <a:gd name="T11" fmla="*/ 2147483647 h 213"/>
                    <a:gd name="T12" fmla="*/ 2147483647 w 133"/>
                    <a:gd name="T13" fmla="*/ 2147483647 h 213"/>
                    <a:gd name="T14" fmla="*/ 2147483647 w 133"/>
                    <a:gd name="T15" fmla="*/ 2147483647 h 213"/>
                    <a:gd name="T16" fmla="*/ 2147483647 w 133"/>
                    <a:gd name="T17" fmla="*/ 2147483647 h 213"/>
                    <a:gd name="T18" fmla="*/ 2147483647 w 133"/>
                    <a:gd name="T19" fmla="*/ 2147483647 h 213"/>
                    <a:gd name="T20" fmla="*/ 2147483647 w 133"/>
                    <a:gd name="T21" fmla="*/ 2147483647 h 213"/>
                    <a:gd name="T22" fmla="*/ 2147483647 w 133"/>
                    <a:gd name="T23" fmla="*/ 2147483647 h 213"/>
                    <a:gd name="T24" fmla="*/ 2147483647 w 133"/>
                    <a:gd name="T25" fmla="*/ 2147483647 h 213"/>
                    <a:gd name="T26" fmla="*/ 2147483647 w 133"/>
                    <a:gd name="T27" fmla="*/ 2147483647 h 213"/>
                    <a:gd name="T28" fmla="*/ 2147483647 w 133"/>
                    <a:gd name="T29" fmla="*/ 2147483647 h 213"/>
                    <a:gd name="T30" fmla="*/ 2147483647 w 133"/>
                    <a:gd name="T31" fmla="*/ 2147483647 h 213"/>
                    <a:gd name="T32" fmla="*/ 2147483647 w 133"/>
                    <a:gd name="T33" fmla="*/ 2147483647 h 213"/>
                    <a:gd name="T34" fmla="*/ 2147483647 w 133"/>
                    <a:gd name="T35" fmla="*/ 2147483647 h 213"/>
                    <a:gd name="T36" fmla="*/ 2147483647 w 133"/>
                    <a:gd name="T37" fmla="*/ 2147483647 h 213"/>
                    <a:gd name="T38" fmla="*/ 2147483647 w 133"/>
                    <a:gd name="T39" fmla="*/ 0 h 213"/>
                    <a:gd name="T40" fmla="*/ 2147483647 w 133"/>
                    <a:gd name="T41" fmla="*/ 2147483647 h 213"/>
                    <a:gd name="T42" fmla="*/ 2147483647 w 133"/>
                    <a:gd name="T43" fmla="*/ 2147483647 h 213"/>
                    <a:gd name="T44" fmla="*/ 2147483647 w 133"/>
                    <a:gd name="T45" fmla="*/ 2147483647 h 213"/>
                    <a:gd name="T46" fmla="*/ 2147483647 w 133"/>
                    <a:gd name="T47" fmla="*/ 2147483647 h 213"/>
                    <a:gd name="T48" fmla="*/ 2147483647 w 133"/>
                    <a:gd name="T49" fmla="*/ 2147483647 h 213"/>
                    <a:gd name="T50" fmla="*/ 2147483647 w 133"/>
                    <a:gd name="T51" fmla="*/ 2147483647 h 213"/>
                    <a:gd name="T52" fmla="*/ 2147483647 w 133"/>
                    <a:gd name="T53" fmla="*/ 2147483647 h 213"/>
                    <a:gd name="T54" fmla="*/ 2147483647 w 133"/>
                    <a:gd name="T55" fmla="*/ 2147483647 h 213"/>
                    <a:gd name="T56" fmla="*/ 2147483647 w 133"/>
                    <a:gd name="T57" fmla="*/ 2147483647 h 213"/>
                    <a:gd name="T58" fmla="*/ 2147483647 w 133"/>
                    <a:gd name="T59" fmla="*/ 2147483647 h 213"/>
                    <a:gd name="T60" fmla="*/ 2147483647 w 133"/>
                    <a:gd name="T61" fmla="*/ 2147483647 h 213"/>
                    <a:gd name="T62" fmla="*/ 2147483647 w 133"/>
                    <a:gd name="T63" fmla="*/ 2147483647 h 213"/>
                    <a:gd name="T64" fmla="*/ 2147483647 w 133"/>
                    <a:gd name="T65" fmla="*/ 2147483647 h 213"/>
                    <a:gd name="T66" fmla="*/ 2147483647 w 133"/>
                    <a:gd name="T67" fmla="*/ 2147483647 h 213"/>
                    <a:gd name="T68" fmla="*/ 2147483647 w 133"/>
                    <a:gd name="T69" fmla="*/ 2147483647 h 213"/>
                    <a:gd name="T70" fmla="*/ 2147483647 w 133"/>
                    <a:gd name="T71" fmla="*/ 2147483647 h 213"/>
                    <a:gd name="T72" fmla="*/ 2147483647 w 133"/>
                    <a:gd name="T73" fmla="*/ 2147483647 h 213"/>
                    <a:gd name="T74" fmla="*/ 2147483647 w 133"/>
                    <a:gd name="T75" fmla="*/ 2147483647 h 213"/>
                    <a:gd name="T76" fmla="*/ 2147483647 w 133"/>
                    <a:gd name="T77" fmla="*/ 2147483647 h 213"/>
                    <a:gd name="T78" fmla="*/ 2147483647 w 133"/>
                    <a:gd name="T79" fmla="*/ 2147483647 h 213"/>
                    <a:gd name="T80" fmla="*/ 2147483647 w 133"/>
                    <a:gd name="T81" fmla="*/ 2147483647 h 213"/>
                    <a:gd name="T82" fmla="*/ 2147483647 w 133"/>
                    <a:gd name="T83" fmla="*/ 2147483647 h 213"/>
                    <a:gd name="T84" fmla="*/ 2147483647 w 133"/>
                    <a:gd name="T85" fmla="*/ 2147483647 h 213"/>
                    <a:gd name="T86" fmla="*/ 2147483647 w 133"/>
                    <a:gd name="T87" fmla="*/ 2147483647 h 213"/>
                    <a:gd name="T88" fmla="*/ 2147483647 w 133"/>
                    <a:gd name="T89" fmla="*/ 2147483647 h 213"/>
                    <a:gd name="T90" fmla="*/ 2147483647 w 133"/>
                    <a:gd name="T91" fmla="*/ 2147483647 h 213"/>
                    <a:gd name="T92" fmla="*/ 2147483647 w 133"/>
                    <a:gd name="T93" fmla="*/ 2147483647 h 213"/>
                    <a:gd name="T94" fmla="*/ 2147483647 w 133"/>
                    <a:gd name="T95" fmla="*/ 2147483647 h 213"/>
                    <a:gd name="T96" fmla="*/ 2147483647 w 133"/>
                    <a:gd name="T97" fmla="*/ 2147483647 h 213"/>
                    <a:gd name="T98" fmla="*/ 2147483647 w 133"/>
                    <a:gd name="T99" fmla="*/ 2147483647 h 213"/>
                    <a:gd name="T100" fmla="*/ 2147483647 w 133"/>
                    <a:gd name="T101" fmla="*/ 2147483647 h 213"/>
                    <a:gd name="T102" fmla="*/ 2147483647 w 133"/>
                    <a:gd name="T103" fmla="*/ 2147483647 h 213"/>
                    <a:gd name="T104" fmla="*/ 2147483647 w 133"/>
                    <a:gd name="T105" fmla="*/ 2147483647 h 213"/>
                    <a:gd name="T106" fmla="*/ 2147483647 w 133"/>
                    <a:gd name="T107" fmla="*/ 2147483647 h 2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3"/>
                    <a:gd name="T163" fmla="*/ 0 h 213"/>
                    <a:gd name="T164" fmla="*/ 133 w 133"/>
                    <a:gd name="T165" fmla="*/ 213 h 2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3" h="213">
                      <a:moveTo>
                        <a:pt x="9" y="162"/>
                      </a:moveTo>
                      <a:lnTo>
                        <a:pt x="2" y="154"/>
                      </a:lnTo>
                      <a:lnTo>
                        <a:pt x="0" y="151"/>
                      </a:lnTo>
                      <a:lnTo>
                        <a:pt x="0" y="150"/>
                      </a:lnTo>
                      <a:lnTo>
                        <a:pt x="1" y="147"/>
                      </a:lnTo>
                      <a:lnTo>
                        <a:pt x="6" y="140"/>
                      </a:lnTo>
                      <a:lnTo>
                        <a:pt x="10" y="133"/>
                      </a:lnTo>
                      <a:lnTo>
                        <a:pt x="13" y="131"/>
                      </a:lnTo>
                      <a:lnTo>
                        <a:pt x="15" y="128"/>
                      </a:lnTo>
                      <a:lnTo>
                        <a:pt x="19" y="126"/>
                      </a:lnTo>
                      <a:lnTo>
                        <a:pt x="23" y="126"/>
                      </a:lnTo>
                      <a:lnTo>
                        <a:pt x="28" y="126"/>
                      </a:lnTo>
                      <a:lnTo>
                        <a:pt x="33" y="126"/>
                      </a:lnTo>
                      <a:lnTo>
                        <a:pt x="42" y="122"/>
                      </a:lnTo>
                      <a:lnTo>
                        <a:pt x="49" y="117"/>
                      </a:lnTo>
                      <a:lnTo>
                        <a:pt x="57" y="111"/>
                      </a:lnTo>
                      <a:lnTo>
                        <a:pt x="62" y="102"/>
                      </a:lnTo>
                      <a:lnTo>
                        <a:pt x="67" y="93"/>
                      </a:lnTo>
                      <a:lnTo>
                        <a:pt x="75" y="76"/>
                      </a:lnTo>
                      <a:lnTo>
                        <a:pt x="76" y="74"/>
                      </a:lnTo>
                      <a:lnTo>
                        <a:pt x="79" y="73"/>
                      </a:lnTo>
                      <a:lnTo>
                        <a:pt x="81" y="71"/>
                      </a:lnTo>
                      <a:lnTo>
                        <a:pt x="84" y="69"/>
                      </a:lnTo>
                      <a:lnTo>
                        <a:pt x="88" y="62"/>
                      </a:lnTo>
                      <a:lnTo>
                        <a:pt x="93" y="56"/>
                      </a:lnTo>
                      <a:lnTo>
                        <a:pt x="93" y="55"/>
                      </a:lnTo>
                      <a:lnTo>
                        <a:pt x="93" y="54"/>
                      </a:lnTo>
                      <a:lnTo>
                        <a:pt x="93" y="51"/>
                      </a:lnTo>
                      <a:lnTo>
                        <a:pt x="93" y="49"/>
                      </a:lnTo>
                      <a:lnTo>
                        <a:pt x="94" y="47"/>
                      </a:lnTo>
                      <a:lnTo>
                        <a:pt x="95" y="44"/>
                      </a:lnTo>
                      <a:lnTo>
                        <a:pt x="95" y="41"/>
                      </a:lnTo>
                      <a:lnTo>
                        <a:pt x="95" y="37"/>
                      </a:lnTo>
                      <a:lnTo>
                        <a:pt x="99" y="31"/>
                      </a:lnTo>
                      <a:lnTo>
                        <a:pt x="110" y="22"/>
                      </a:lnTo>
                      <a:lnTo>
                        <a:pt x="112" y="21"/>
                      </a:lnTo>
                      <a:lnTo>
                        <a:pt x="112" y="18"/>
                      </a:lnTo>
                      <a:lnTo>
                        <a:pt x="110" y="12"/>
                      </a:lnTo>
                      <a:lnTo>
                        <a:pt x="108" y="6"/>
                      </a:lnTo>
                      <a:lnTo>
                        <a:pt x="105" y="0"/>
                      </a:lnTo>
                      <a:lnTo>
                        <a:pt x="112" y="4"/>
                      </a:lnTo>
                      <a:lnTo>
                        <a:pt x="117" y="9"/>
                      </a:lnTo>
                      <a:lnTo>
                        <a:pt x="121" y="13"/>
                      </a:lnTo>
                      <a:lnTo>
                        <a:pt x="123" y="19"/>
                      </a:lnTo>
                      <a:lnTo>
                        <a:pt x="126" y="25"/>
                      </a:lnTo>
                      <a:lnTo>
                        <a:pt x="127" y="31"/>
                      </a:lnTo>
                      <a:lnTo>
                        <a:pt x="127" y="45"/>
                      </a:lnTo>
                      <a:lnTo>
                        <a:pt x="127" y="48"/>
                      </a:lnTo>
                      <a:lnTo>
                        <a:pt x="128" y="51"/>
                      </a:lnTo>
                      <a:lnTo>
                        <a:pt x="132" y="57"/>
                      </a:lnTo>
                      <a:lnTo>
                        <a:pt x="133" y="60"/>
                      </a:lnTo>
                      <a:lnTo>
                        <a:pt x="133" y="61"/>
                      </a:lnTo>
                      <a:lnTo>
                        <a:pt x="132" y="62"/>
                      </a:lnTo>
                      <a:lnTo>
                        <a:pt x="128" y="63"/>
                      </a:lnTo>
                      <a:lnTo>
                        <a:pt x="124" y="64"/>
                      </a:lnTo>
                      <a:lnTo>
                        <a:pt x="117" y="63"/>
                      </a:lnTo>
                      <a:lnTo>
                        <a:pt x="113" y="64"/>
                      </a:lnTo>
                      <a:lnTo>
                        <a:pt x="110" y="64"/>
                      </a:lnTo>
                      <a:lnTo>
                        <a:pt x="109" y="67"/>
                      </a:lnTo>
                      <a:lnTo>
                        <a:pt x="109" y="70"/>
                      </a:lnTo>
                      <a:lnTo>
                        <a:pt x="109" y="73"/>
                      </a:lnTo>
                      <a:lnTo>
                        <a:pt x="112" y="75"/>
                      </a:lnTo>
                      <a:lnTo>
                        <a:pt x="116" y="79"/>
                      </a:lnTo>
                      <a:lnTo>
                        <a:pt x="119" y="83"/>
                      </a:lnTo>
                      <a:lnTo>
                        <a:pt x="122" y="86"/>
                      </a:lnTo>
                      <a:lnTo>
                        <a:pt x="122" y="88"/>
                      </a:lnTo>
                      <a:lnTo>
                        <a:pt x="123" y="94"/>
                      </a:lnTo>
                      <a:lnTo>
                        <a:pt x="123" y="101"/>
                      </a:lnTo>
                      <a:lnTo>
                        <a:pt x="123" y="114"/>
                      </a:lnTo>
                      <a:lnTo>
                        <a:pt x="121" y="115"/>
                      </a:lnTo>
                      <a:lnTo>
                        <a:pt x="117" y="117"/>
                      </a:lnTo>
                      <a:lnTo>
                        <a:pt x="113" y="120"/>
                      </a:lnTo>
                      <a:lnTo>
                        <a:pt x="109" y="124"/>
                      </a:lnTo>
                      <a:lnTo>
                        <a:pt x="108" y="128"/>
                      </a:lnTo>
                      <a:lnTo>
                        <a:pt x="107" y="133"/>
                      </a:lnTo>
                      <a:lnTo>
                        <a:pt x="107" y="143"/>
                      </a:lnTo>
                      <a:lnTo>
                        <a:pt x="109" y="152"/>
                      </a:lnTo>
                      <a:lnTo>
                        <a:pt x="110" y="157"/>
                      </a:lnTo>
                      <a:lnTo>
                        <a:pt x="113" y="160"/>
                      </a:lnTo>
                      <a:lnTo>
                        <a:pt x="119" y="166"/>
                      </a:lnTo>
                      <a:lnTo>
                        <a:pt x="126" y="171"/>
                      </a:lnTo>
                      <a:lnTo>
                        <a:pt x="132" y="177"/>
                      </a:lnTo>
                      <a:lnTo>
                        <a:pt x="133" y="182"/>
                      </a:lnTo>
                      <a:lnTo>
                        <a:pt x="133" y="188"/>
                      </a:lnTo>
                      <a:lnTo>
                        <a:pt x="132" y="198"/>
                      </a:lnTo>
                      <a:lnTo>
                        <a:pt x="133" y="207"/>
                      </a:lnTo>
                      <a:lnTo>
                        <a:pt x="132" y="213"/>
                      </a:lnTo>
                      <a:lnTo>
                        <a:pt x="119" y="204"/>
                      </a:lnTo>
                      <a:lnTo>
                        <a:pt x="116" y="202"/>
                      </a:lnTo>
                      <a:lnTo>
                        <a:pt x="112" y="201"/>
                      </a:lnTo>
                      <a:lnTo>
                        <a:pt x="108" y="201"/>
                      </a:lnTo>
                      <a:lnTo>
                        <a:pt x="104" y="202"/>
                      </a:lnTo>
                      <a:lnTo>
                        <a:pt x="100" y="204"/>
                      </a:lnTo>
                      <a:lnTo>
                        <a:pt x="81" y="204"/>
                      </a:lnTo>
                      <a:lnTo>
                        <a:pt x="62" y="204"/>
                      </a:lnTo>
                      <a:lnTo>
                        <a:pt x="32" y="202"/>
                      </a:lnTo>
                      <a:lnTo>
                        <a:pt x="33" y="196"/>
                      </a:lnTo>
                      <a:lnTo>
                        <a:pt x="34" y="192"/>
                      </a:lnTo>
                      <a:lnTo>
                        <a:pt x="34" y="189"/>
                      </a:lnTo>
                      <a:lnTo>
                        <a:pt x="32" y="181"/>
                      </a:lnTo>
                      <a:lnTo>
                        <a:pt x="25" y="173"/>
                      </a:lnTo>
                      <a:lnTo>
                        <a:pt x="18" y="169"/>
                      </a:lnTo>
                      <a:lnTo>
                        <a:pt x="16" y="166"/>
                      </a:lnTo>
                      <a:lnTo>
                        <a:pt x="16" y="165"/>
                      </a:lnTo>
                      <a:lnTo>
                        <a:pt x="16" y="163"/>
                      </a:lnTo>
                      <a:lnTo>
                        <a:pt x="14" y="162"/>
                      </a:lnTo>
                      <a:lnTo>
                        <a:pt x="11" y="160"/>
                      </a:lnTo>
                      <a:lnTo>
                        <a:pt x="9" y="16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5" name="Freeform 704"/>
                <p:cNvSpPr>
                  <a:spLocks/>
                </p:cNvSpPr>
                <p:nvPr/>
              </p:nvSpPr>
              <p:spPr bwMode="auto">
                <a:xfrm>
                  <a:off x="4613764" y="3937624"/>
                  <a:ext cx="375888" cy="356649"/>
                </a:xfrm>
                <a:custGeom>
                  <a:avLst/>
                  <a:gdLst>
                    <a:gd name="T0" fmla="*/ 2147483647 w 275"/>
                    <a:gd name="T1" fmla="*/ 2147483647 h 241"/>
                    <a:gd name="T2" fmla="*/ 2147483647 w 275"/>
                    <a:gd name="T3" fmla="*/ 2147483647 h 241"/>
                    <a:gd name="T4" fmla="*/ 2147483647 w 275"/>
                    <a:gd name="T5" fmla="*/ 2147483647 h 241"/>
                    <a:gd name="T6" fmla="*/ 2147483647 w 275"/>
                    <a:gd name="T7" fmla="*/ 2147483647 h 241"/>
                    <a:gd name="T8" fmla="*/ 2147483647 w 275"/>
                    <a:gd name="T9" fmla="*/ 2147483647 h 241"/>
                    <a:gd name="T10" fmla="*/ 2147483647 w 275"/>
                    <a:gd name="T11" fmla="*/ 2147483647 h 241"/>
                    <a:gd name="T12" fmla="*/ 2147483647 w 275"/>
                    <a:gd name="T13" fmla="*/ 2147483647 h 241"/>
                    <a:gd name="T14" fmla="*/ 2147483647 w 275"/>
                    <a:gd name="T15" fmla="*/ 2147483647 h 241"/>
                    <a:gd name="T16" fmla="*/ 2147483647 w 275"/>
                    <a:gd name="T17" fmla="*/ 2147483647 h 241"/>
                    <a:gd name="T18" fmla="*/ 2147483647 w 275"/>
                    <a:gd name="T19" fmla="*/ 2147483647 h 241"/>
                    <a:gd name="T20" fmla="*/ 2147483647 w 275"/>
                    <a:gd name="T21" fmla="*/ 2147483647 h 241"/>
                    <a:gd name="T22" fmla="*/ 2147483647 w 275"/>
                    <a:gd name="T23" fmla="*/ 2147483647 h 241"/>
                    <a:gd name="T24" fmla="*/ 2147483647 w 275"/>
                    <a:gd name="T25" fmla="*/ 2147483647 h 241"/>
                    <a:gd name="T26" fmla="*/ 2147483647 w 275"/>
                    <a:gd name="T27" fmla="*/ 2147483647 h 241"/>
                    <a:gd name="T28" fmla="*/ 2147483647 w 275"/>
                    <a:gd name="T29" fmla="*/ 2147483647 h 241"/>
                    <a:gd name="T30" fmla="*/ 2147483647 w 275"/>
                    <a:gd name="T31" fmla="*/ 2147483647 h 241"/>
                    <a:gd name="T32" fmla="*/ 2147483647 w 275"/>
                    <a:gd name="T33" fmla="*/ 2147483647 h 241"/>
                    <a:gd name="T34" fmla="*/ 2147483647 w 275"/>
                    <a:gd name="T35" fmla="*/ 2147483647 h 241"/>
                    <a:gd name="T36" fmla="*/ 2147483647 w 275"/>
                    <a:gd name="T37" fmla="*/ 2147483647 h 241"/>
                    <a:gd name="T38" fmla="*/ 2147483647 w 275"/>
                    <a:gd name="T39" fmla="*/ 2147483647 h 241"/>
                    <a:gd name="T40" fmla="*/ 2147483647 w 275"/>
                    <a:gd name="T41" fmla="*/ 2147483647 h 241"/>
                    <a:gd name="T42" fmla="*/ 2147483647 w 275"/>
                    <a:gd name="T43" fmla="*/ 2147483647 h 241"/>
                    <a:gd name="T44" fmla="*/ 2147483647 w 275"/>
                    <a:gd name="T45" fmla="*/ 2147483647 h 241"/>
                    <a:gd name="T46" fmla="*/ 2147483647 w 275"/>
                    <a:gd name="T47" fmla="*/ 2147483647 h 241"/>
                    <a:gd name="T48" fmla="*/ 0 w 275"/>
                    <a:gd name="T49" fmla="*/ 2147483647 h 241"/>
                    <a:gd name="T50" fmla="*/ 2147483647 w 275"/>
                    <a:gd name="T51" fmla="*/ 2147483647 h 241"/>
                    <a:gd name="T52" fmla="*/ 2147483647 w 275"/>
                    <a:gd name="T53" fmla="*/ 2147483647 h 241"/>
                    <a:gd name="T54" fmla="*/ 2147483647 w 275"/>
                    <a:gd name="T55" fmla="*/ 2147483647 h 241"/>
                    <a:gd name="T56" fmla="*/ 2147483647 w 275"/>
                    <a:gd name="T57" fmla="*/ 2147483647 h 241"/>
                    <a:gd name="T58" fmla="*/ 2147483647 w 275"/>
                    <a:gd name="T59" fmla="*/ 2147483647 h 241"/>
                    <a:gd name="T60" fmla="*/ 2147483647 w 275"/>
                    <a:gd name="T61" fmla="*/ 2147483647 h 241"/>
                    <a:gd name="T62" fmla="*/ 2147483647 w 275"/>
                    <a:gd name="T63" fmla="*/ 2147483647 h 241"/>
                    <a:gd name="T64" fmla="*/ 2147483647 w 275"/>
                    <a:gd name="T65" fmla="*/ 2147483647 h 241"/>
                    <a:gd name="T66" fmla="*/ 2147483647 w 275"/>
                    <a:gd name="T67" fmla="*/ 2147483647 h 241"/>
                    <a:gd name="T68" fmla="*/ 2147483647 w 275"/>
                    <a:gd name="T69" fmla="*/ 2147483647 h 241"/>
                    <a:gd name="T70" fmla="*/ 2147483647 w 275"/>
                    <a:gd name="T71" fmla="*/ 2147483647 h 241"/>
                    <a:gd name="T72" fmla="*/ 2147483647 w 275"/>
                    <a:gd name="T73" fmla="*/ 2147483647 h 241"/>
                    <a:gd name="T74" fmla="*/ 2147483647 w 275"/>
                    <a:gd name="T75" fmla="*/ 2147483647 h 241"/>
                    <a:gd name="T76" fmla="*/ 2147483647 w 275"/>
                    <a:gd name="T77" fmla="*/ 2147483647 h 241"/>
                    <a:gd name="T78" fmla="*/ 2147483647 w 275"/>
                    <a:gd name="T79" fmla="*/ 2147483647 h 241"/>
                    <a:gd name="T80" fmla="*/ 2147483647 w 275"/>
                    <a:gd name="T81" fmla="*/ 2147483647 h 241"/>
                    <a:gd name="T82" fmla="*/ 2147483647 w 275"/>
                    <a:gd name="T83" fmla="*/ 2147483647 h 241"/>
                    <a:gd name="T84" fmla="*/ 2147483647 w 275"/>
                    <a:gd name="T85" fmla="*/ 2147483647 h 241"/>
                    <a:gd name="T86" fmla="*/ 2147483647 w 275"/>
                    <a:gd name="T87" fmla="*/ 2147483647 h 241"/>
                    <a:gd name="T88" fmla="*/ 2147483647 w 275"/>
                    <a:gd name="T89" fmla="*/ 2147483647 h 241"/>
                    <a:gd name="T90" fmla="*/ 2147483647 w 275"/>
                    <a:gd name="T91" fmla="*/ 2147483647 h 241"/>
                    <a:gd name="T92" fmla="*/ 2147483647 w 275"/>
                    <a:gd name="T93" fmla="*/ 2147483647 h 241"/>
                    <a:gd name="T94" fmla="*/ 2147483647 w 275"/>
                    <a:gd name="T95" fmla="*/ 2147483647 h 241"/>
                    <a:gd name="T96" fmla="*/ 2147483647 w 275"/>
                    <a:gd name="T97" fmla="*/ 2147483647 h 241"/>
                    <a:gd name="T98" fmla="*/ 2147483647 w 275"/>
                    <a:gd name="T99" fmla="*/ 2147483647 h 241"/>
                    <a:gd name="T100" fmla="*/ 2147483647 w 275"/>
                    <a:gd name="T101" fmla="*/ 2147483647 h 24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5"/>
                    <a:gd name="T154" fmla="*/ 0 h 241"/>
                    <a:gd name="T155" fmla="*/ 275 w 275"/>
                    <a:gd name="T156" fmla="*/ 241 h 24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5" h="241">
                      <a:moveTo>
                        <a:pt x="228" y="200"/>
                      </a:moveTo>
                      <a:lnTo>
                        <a:pt x="222" y="201"/>
                      </a:lnTo>
                      <a:lnTo>
                        <a:pt x="217" y="206"/>
                      </a:lnTo>
                      <a:lnTo>
                        <a:pt x="215" y="207"/>
                      </a:lnTo>
                      <a:lnTo>
                        <a:pt x="214" y="207"/>
                      </a:lnTo>
                      <a:lnTo>
                        <a:pt x="213" y="207"/>
                      </a:lnTo>
                      <a:lnTo>
                        <a:pt x="210" y="206"/>
                      </a:lnTo>
                      <a:lnTo>
                        <a:pt x="204" y="201"/>
                      </a:lnTo>
                      <a:lnTo>
                        <a:pt x="199" y="201"/>
                      </a:lnTo>
                      <a:lnTo>
                        <a:pt x="195" y="201"/>
                      </a:lnTo>
                      <a:lnTo>
                        <a:pt x="190" y="202"/>
                      </a:lnTo>
                      <a:lnTo>
                        <a:pt x="182" y="202"/>
                      </a:lnTo>
                      <a:lnTo>
                        <a:pt x="175" y="202"/>
                      </a:lnTo>
                      <a:lnTo>
                        <a:pt x="174" y="203"/>
                      </a:lnTo>
                      <a:lnTo>
                        <a:pt x="172" y="205"/>
                      </a:lnTo>
                      <a:lnTo>
                        <a:pt x="171" y="208"/>
                      </a:lnTo>
                      <a:lnTo>
                        <a:pt x="168" y="212"/>
                      </a:lnTo>
                      <a:lnTo>
                        <a:pt x="168" y="213"/>
                      </a:lnTo>
                      <a:lnTo>
                        <a:pt x="166" y="213"/>
                      </a:lnTo>
                      <a:lnTo>
                        <a:pt x="157" y="213"/>
                      </a:lnTo>
                      <a:lnTo>
                        <a:pt x="156" y="213"/>
                      </a:lnTo>
                      <a:lnTo>
                        <a:pt x="154" y="211"/>
                      </a:lnTo>
                      <a:lnTo>
                        <a:pt x="153" y="208"/>
                      </a:lnTo>
                      <a:lnTo>
                        <a:pt x="151" y="206"/>
                      </a:lnTo>
                      <a:lnTo>
                        <a:pt x="147" y="203"/>
                      </a:lnTo>
                      <a:lnTo>
                        <a:pt x="143" y="202"/>
                      </a:lnTo>
                      <a:lnTo>
                        <a:pt x="139" y="202"/>
                      </a:lnTo>
                      <a:lnTo>
                        <a:pt x="129" y="207"/>
                      </a:lnTo>
                      <a:lnTo>
                        <a:pt x="127" y="208"/>
                      </a:lnTo>
                      <a:lnTo>
                        <a:pt x="123" y="208"/>
                      </a:lnTo>
                      <a:lnTo>
                        <a:pt x="120" y="207"/>
                      </a:lnTo>
                      <a:lnTo>
                        <a:pt x="118" y="205"/>
                      </a:lnTo>
                      <a:lnTo>
                        <a:pt x="111" y="198"/>
                      </a:lnTo>
                      <a:lnTo>
                        <a:pt x="109" y="196"/>
                      </a:lnTo>
                      <a:lnTo>
                        <a:pt x="106" y="196"/>
                      </a:lnTo>
                      <a:lnTo>
                        <a:pt x="100" y="196"/>
                      </a:lnTo>
                      <a:lnTo>
                        <a:pt x="91" y="196"/>
                      </a:lnTo>
                      <a:lnTo>
                        <a:pt x="82" y="198"/>
                      </a:lnTo>
                      <a:lnTo>
                        <a:pt x="78" y="199"/>
                      </a:lnTo>
                      <a:lnTo>
                        <a:pt x="74" y="200"/>
                      </a:lnTo>
                      <a:lnTo>
                        <a:pt x="73" y="203"/>
                      </a:lnTo>
                      <a:lnTo>
                        <a:pt x="73" y="209"/>
                      </a:lnTo>
                      <a:lnTo>
                        <a:pt x="68" y="211"/>
                      </a:lnTo>
                      <a:lnTo>
                        <a:pt x="67" y="211"/>
                      </a:lnTo>
                      <a:lnTo>
                        <a:pt x="66" y="212"/>
                      </a:lnTo>
                      <a:lnTo>
                        <a:pt x="63" y="215"/>
                      </a:lnTo>
                      <a:lnTo>
                        <a:pt x="62" y="219"/>
                      </a:lnTo>
                      <a:lnTo>
                        <a:pt x="60" y="226"/>
                      </a:lnTo>
                      <a:lnTo>
                        <a:pt x="58" y="237"/>
                      </a:lnTo>
                      <a:lnTo>
                        <a:pt x="54" y="234"/>
                      </a:lnTo>
                      <a:lnTo>
                        <a:pt x="50" y="232"/>
                      </a:lnTo>
                      <a:lnTo>
                        <a:pt x="48" y="230"/>
                      </a:lnTo>
                      <a:lnTo>
                        <a:pt x="43" y="228"/>
                      </a:lnTo>
                      <a:lnTo>
                        <a:pt x="39" y="228"/>
                      </a:lnTo>
                      <a:lnTo>
                        <a:pt x="35" y="231"/>
                      </a:lnTo>
                      <a:lnTo>
                        <a:pt x="31" y="233"/>
                      </a:lnTo>
                      <a:lnTo>
                        <a:pt x="27" y="236"/>
                      </a:lnTo>
                      <a:lnTo>
                        <a:pt x="24" y="239"/>
                      </a:lnTo>
                      <a:lnTo>
                        <a:pt x="19" y="241"/>
                      </a:lnTo>
                      <a:lnTo>
                        <a:pt x="19" y="238"/>
                      </a:lnTo>
                      <a:lnTo>
                        <a:pt x="20" y="234"/>
                      </a:lnTo>
                      <a:lnTo>
                        <a:pt x="22" y="228"/>
                      </a:lnTo>
                      <a:lnTo>
                        <a:pt x="24" y="224"/>
                      </a:lnTo>
                      <a:lnTo>
                        <a:pt x="24" y="220"/>
                      </a:lnTo>
                      <a:lnTo>
                        <a:pt x="21" y="212"/>
                      </a:lnTo>
                      <a:lnTo>
                        <a:pt x="16" y="203"/>
                      </a:lnTo>
                      <a:lnTo>
                        <a:pt x="10" y="198"/>
                      </a:lnTo>
                      <a:lnTo>
                        <a:pt x="10" y="195"/>
                      </a:lnTo>
                      <a:lnTo>
                        <a:pt x="10" y="193"/>
                      </a:lnTo>
                      <a:lnTo>
                        <a:pt x="10" y="190"/>
                      </a:lnTo>
                      <a:lnTo>
                        <a:pt x="10" y="188"/>
                      </a:lnTo>
                      <a:lnTo>
                        <a:pt x="6" y="183"/>
                      </a:lnTo>
                      <a:lnTo>
                        <a:pt x="2" y="177"/>
                      </a:lnTo>
                      <a:lnTo>
                        <a:pt x="0" y="173"/>
                      </a:lnTo>
                      <a:lnTo>
                        <a:pt x="0" y="169"/>
                      </a:lnTo>
                      <a:lnTo>
                        <a:pt x="0" y="166"/>
                      </a:lnTo>
                      <a:lnTo>
                        <a:pt x="3" y="167"/>
                      </a:lnTo>
                      <a:lnTo>
                        <a:pt x="7" y="166"/>
                      </a:lnTo>
                      <a:lnTo>
                        <a:pt x="15" y="163"/>
                      </a:lnTo>
                      <a:lnTo>
                        <a:pt x="36" y="160"/>
                      </a:lnTo>
                      <a:lnTo>
                        <a:pt x="45" y="156"/>
                      </a:lnTo>
                      <a:lnTo>
                        <a:pt x="50" y="155"/>
                      </a:lnTo>
                      <a:lnTo>
                        <a:pt x="54" y="151"/>
                      </a:lnTo>
                      <a:lnTo>
                        <a:pt x="60" y="145"/>
                      </a:lnTo>
                      <a:lnTo>
                        <a:pt x="66" y="138"/>
                      </a:lnTo>
                      <a:lnTo>
                        <a:pt x="68" y="131"/>
                      </a:lnTo>
                      <a:lnTo>
                        <a:pt x="69" y="123"/>
                      </a:lnTo>
                      <a:lnTo>
                        <a:pt x="69" y="105"/>
                      </a:lnTo>
                      <a:lnTo>
                        <a:pt x="68" y="88"/>
                      </a:lnTo>
                      <a:lnTo>
                        <a:pt x="73" y="87"/>
                      </a:lnTo>
                      <a:lnTo>
                        <a:pt x="80" y="86"/>
                      </a:lnTo>
                      <a:lnTo>
                        <a:pt x="83" y="86"/>
                      </a:lnTo>
                      <a:lnTo>
                        <a:pt x="85" y="85"/>
                      </a:lnTo>
                      <a:lnTo>
                        <a:pt x="90" y="85"/>
                      </a:lnTo>
                      <a:lnTo>
                        <a:pt x="92" y="84"/>
                      </a:lnTo>
                      <a:lnTo>
                        <a:pt x="99" y="81"/>
                      </a:lnTo>
                      <a:lnTo>
                        <a:pt x="110" y="70"/>
                      </a:lnTo>
                      <a:lnTo>
                        <a:pt x="125" y="56"/>
                      </a:lnTo>
                      <a:lnTo>
                        <a:pt x="142" y="45"/>
                      </a:lnTo>
                      <a:lnTo>
                        <a:pt x="158" y="33"/>
                      </a:lnTo>
                      <a:lnTo>
                        <a:pt x="175" y="20"/>
                      </a:lnTo>
                      <a:lnTo>
                        <a:pt x="187" y="9"/>
                      </a:lnTo>
                      <a:lnTo>
                        <a:pt x="194" y="4"/>
                      </a:lnTo>
                      <a:lnTo>
                        <a:pt x="201" y="0"/>
                      </a:lnTo>
                      <a:lnTo>
                        <a:pt x="203" y="3"/>
                      </a:lnTo>
                      <a:lnTo>
                        <a:pt x="205" y="6"/>
                      </a:lnTo>
                      <a:lnTo>
                        <a:pt x="209" y="7"/>
                      </a:lnTo>
                      <a:lnTo>
                        <a:pt x="213" y="7"/>
                      </a:lnTo>
                      <a:lnTo>
                        <a:pt x="219" y="7"/>
                      </a:lnTo>
                      <a:lnTo>
                        <a:pt x="226" y="9"/>
                      </a:lnTo>
                      <a:lnTo>
                        <a:pt x="228" y="10"/>
                      </a:lnTo>
                      <a:lnTo>
                        <a:pt x="229" y="13"/>
                      </a:lnTo>
                      <a:lnTo>
                        <a:pt x="232" y="16"/>
                      </a:lnTo>
                      <a:lnTo>
                        <a:pt x="232" y="21"/>
                      </a:lnTo>
                      <a:lnTo>
                        <a:pt x="233" y="22"/>
                      </a:lnTo>
                      <a:lnTo>
                        <a:pt x="236" y="23"/>
                      </a:lnTo>
                      <a:lnTo>
                        <a:pt x="240" y="23"/>
                      </a:lnTo>
                      <a:lnTo>
                        <a:pt x="257" y="13"/>
                      </a:lnTo>
                      <a:lnTo>
                        <a:pt x="260" y="16"/>
                      </a:lnTo>
                      <a:lnTo>
                        <a:pt x="261" y="19"/>
                      </a:lnTo>
                      <a:lnTo>
                        <a:pt x="261" y="21"/>
                      </a:lnTo>
                      <a:lnTo>
                        <a:pt x="259" y="29"/>
                      </a:lnTo>
                      <a:lnTo>
                        <a:pt x="257" y="33"/>
                      </a:lnTo>
                      <a:lnTo>
                        <a:pt x="259" y="36"/>
                      </a:lnTo>
                      <a:lnTo>
                        <a:pt x="261" y="42"/>
                      </a:lnTo>
                      <a:lnTo>
                        <a:pt x="265" y="47"/>
                      </a:lnTo>
                      <a:lnTo>
                        <a:pt x="269" y="53"/>
                      </a:lnTo>
                      <a:lnTo>
                        <a:pt x="271" y="59"/>
                      </a:lnTo>
                      <a:lnTo>
                        <a:pt x="273" y="61"/>
                      </a:lnTo>
                      <a:lnTo>
                        <a:pt x="274" y="64"/>
                      </a:lnTo>
                      <a:lnTo>
                        <a:pt x="275" y="64"/>
                      </a:lnTo>
                      <a:lnTo>
                        <a:pt x="269" y="77"/>
                      </a:lnTo>
                      <a:lnTo>
                        <a:pt x="264" y="91"/>
                      </a:lnTo>
                      <a:lnTo>
                        <a:pt x="262" y="98"/>
                      </a:lnTo>
                      <a:lnTo>
                        <a:pt x="262" y="105"/>
                      </a:lnTo>
                      <a:lnTo>
                        <a:pt x="264" y="112"/>
                      </a:lnTo>
                      <a:lnTo>
                        <a:pt x="265" y="119"/>
                      </a:lnTo>
                      <a:lnTo>
                        <a:pt x="266" y="128"/>
                      </a:lnTo>
                      <a:lnTo>
                        <a:pt x="266" y="136"/>
                      </a:lnTo>
                      <a:lnTo>
                        <a:pt x="265" y="144"/>
                      </a:lnTo>
                      <a:lnTo>
                        <a:pt x="262" y="151"/>
                      </a:lnTo>
                      <a:lnTo>
                        <a:pt x="257" y="157"/>
                      </a:lnTo>
                      <a:lnTo>
                        <a:pt x="252" y="163"/>
                      </a:lnTo>
                      <a:lnTo>
                        <a:pt x="246" y="169"/>
                      </a:lnTo>
                      <a:lnTo>
                        <a:pt x="238" y="174"/>
                      </a:lnTo>
                      <a:lnTo>
                        <a:pt x="237" y="176"/>
                      </a:lnTo>
                      <a:lnTo>
                        <a:pt x="236" y="180"/>
                      </a:lnTo>
                      <a:lnTo>
                        <a:pt x="236" y="182"/>
                      </a:lnTo>
                      <a:lnTo>
                        <a:pt x="233" y="185"/>
                      </a:lnTo>
                      <a:lnTo>
                        <a:pt x="227" y="188"/>
                      </a:lnTo>
                      <a:lnTo>
                        <a:pt x="224" y="190"/>
                      </a:lnTo>
                      <a:lnTo>
                        <a:pt x="223" y="193"/>
                      </a:lnTo>
                      <a:lnTo>
                        <a:pt x="224" y="196"/>
                      </a:lnTo>
                      <a:lnTo>
                        <a:pt x="228" y="20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6" name="Freeform 705"/>
                <p:cNvSpPr>
                  <a:spLocks/>
                </p:cNvSpPr>
                <p:nvPr/>
              </p:nvSpPr>
              <p:spPr bwMode="auto">
                <a:xfrm>
                  <a:off x="4669997" y="4226196"/>
                  <a:ext cx="312253" cy="341851"/>
                </a:xfrm>
                <a:custGeom>
                  <a:avLst/>
                  <a:gdLst>
                    <a:gd name="T0" fmla="*/ 2147483647 w 229"/>
                    <a:gd name="T1" fmla="*/ 2147483647 h 231"/>
                    <a:gd name="T2" fmla="*/ 2147483647 w 229"/>
                    <a:gd name="T3" fmla="*/ 2147483647 h 231"/>
                    <a:gd name="T4" fmla="*/ 2147483647 w 229"/>
                    <a:gd name="T5" fmla="*/ 2147483647 h 231"/>
                    <a:gd name="T6" fmla="*/ 2147483647 w 229"/>
                    <a:gd name="T7" fmla="*/ 2147483647 h 231"/>
                    <a:gd name="T8" fmla="*/ 2147483647 w 229"/>
                    <a:gd name="T9" fmla="*/ 2147483647 h 231"/>
                    <a:gd name="T10" fmla="*/ 2147483647 w 229"/>
                    <a:gd name="T11" fmla="*/ 2147483647 h 231"/>
                    <a:gd name="T12" fmla="*/ 2147483647 w 229"/>
                    <a:gd name="T13" fmla="*/ 2147483647 h 231"/>
                    <a:gd name="T14" fmla="*/ 2147483647 w 229"/>
                    <a:gd name="T15" fmla="*/ 2147483647 h 231"/>
                    <a:gd name="T16" fmla="*/ 2147483647 w 229"/>
                    <a:gd name="T17" fmla="*/ 2147483647 h 231"/>
                    <a:gd name="T18" fmla="*/ 2147483647 w 229"/>
                    <a:gd name="T19" fmla="*/ 2147483647 h 231"/>
                    <a:gd name="T20" fmla="*/ 2147483647 w 229"/>
                    <a:gd name="T21" fmla="*/ 2147483647 h 231"/>
                    <a:gd name="T22" fmla="*/ 2147483647 w 229"/>
                    <a:gd name="T23" fmla="*/ 2147483647 h 231"/>
                    <a:gd name="T24" fmla="*/ 2147483647 w 229"/>
                    <a:gd name="T25" fmla="*/ 2147483647 h 231"/>
                    <a:gd name="T26" fmla="*/ 2147483647 w 229"/>
                    <a:gd name="T27" fmla="*/ 2147483647 h 231"/>
                    <a:gd name="T28" fmla="*/ 2147483647 w 229"/>
                    <a:gd name="T29" fmla="*/ 2147483647 h 231"/>
                    <a:gd name="T30" fmla="*/ 2147483647 w 229"/>
                    <a:gd name="T31" fmla="*/ 2147483647 h 231"/>
                    <a:gd name="T32" fmla="*/ 2147483647 w 229"/>
                    <a:gd name="T33" fmla="*/ 2147483647 h 231"/>
                    <a:gd name="T34" fmla="*/ 2147483647 w 229"/>
                    <a:gd name="T35" fmla="*/ 2147483647 h 231"/>
                    <a:gd name="T36" fmla="*/ 2147483647 w 229"/>
                    <a:gd name="T37" fmla="*/ 2147483647 h 231"/>
                    <a:gd name="T38" fmla="*/ 2147483647 w 229"/>
                    <a:gd name="T39" fmla="*/ 2147483647 h 231"/>
                    <a:gd name="T40" fmla="*/ 2147483647 w 229"/>
                    <a:gd name="T41" fmla="*/ 0 h 231"/>
                    <a:gd name="T42" fmla="*/ 2147483647 w 229"/>
                    <a:gd name="T43" fmla="*/ 2147483647 h 231"/>
                    <a:gd name="T44" fmla="*/ 2147483647 w 229"/>
                    <a:gd name="T45" fmla="*/ 2147483647 h 231"/>
                    <a:gd name="T46" fmla="*/ 2147483647 w 229"/>
                    <a:gd name="T47" fmla="*/ 2147483647 h 231"/>
                    <a:gd name="T48" fmla="*/ 2147483647 w 229"/>
                    <a:gd name="T49" fmla="*/ 2147483647 h 231"/>
                    <a:gd name="T50" fmla="*/ 2147483647 w 229"/>
                    <a:gd name="T51" fmla="*/ 2147483647 h 231"/>
                    <a:gd name="T52" fmla="*/ 2147483647 w 229"/>
                    <a:gd name="T53" fmla="*/ 2147483647 h 231"/>
                    <a:gd name="T54" fmla="*/ 2147483647 w 229"/>
                    <a:gd name="T55" fmla="*/ 2147483647 h 231"/>
                    <a:gd name="T56" fmla="*/ 2147483647 w 229"/>
                    <a:gd name="T57" fmla="*/ 2147483647 h 231"/>
                    <a:gd name="T58" fmla="*/ 2147483647 w 229"/>
                    <a:gd name="T59" fmla="*/ 2147483647 h 231"/>
                    <a:gd name="T60" fmla="*/ 2147483647 w 229"/>
                    <a:gd name="T61" fmla="*/ 2147483647 h 231"/>
                    <a:gd name="T62" fmla="*/ 2147483647 w 229"/>
                    <a:gd name="T63" fmla="*/ 2147483647 h 231"/>
                    <a:gd name="T64" fmla="*/ 2147483647 w 229"/>
                    <a:gd name="T65" fmla="*/ 2147483647 h 231"/>
                    <a:gd name="T66" fmla="*/ 2147483647 w 229"/>
                    <a:gd name="T67" fmla="*/ 2147483647 h 231"/>
                    <a:gd name="T68" fmla="*/ 2147483647 w 229"/>
                    <a:gd name="T69" fmla="*/ 2147483647 h 231"/>
                    <a:gd name="T70" fmla="*/ 2147483647 w 229"/>
                    <a:gd name="T71" fmla="*/ 2147483647 h 231"/>
                    <a:gd name="T72" fmla="*/ 2147483647 w 229"/>
                    <a:gd name="T73" fmla="*/ 2147483647 h 231"/>
                    <a:gd name="T74" fmla="*/ 2147483647 w 229"/>
                    <a:gd name="T75" fmla="*/ 2147483647 h 231"/>
                    <a:gd name="T76" fmla="*/ 2147483647 w 229"/>
                    <a:gd name="T77" fmla="*/ 2147483647 h 231"/>
                    <a:gd name="T78" fmla="*/ 2147483647 w 229"/>
                    <a:gd name="T79" fmla="*/ 2147483647 h 231"/>
                    <a:gd name="T80" fmla="*/ 2147483647 w 229"/>
                    <a:gd name="T81" fmla="*/ 2147483647 h 231"/>
                    <a:gd name="T82" fmla="*/ 2147483647 w 229"/>
                    <a:gd name="T83" fmla="*/ 2147483647 h 231"/>
                    <a:gd name="T84" fmla="*/ 2147483647 w 229"/>
                    <a:gd name="T85" fmla="*/ 2147483647 h 231"/>
                    <a:gd name="T86" fmla="*/ 2147483647 w 229"/>
                    <a:gd name="T87" fmla="*/ 2147483647 h 231"/>
                    <a:gd name="T88" fmla="*/ 2147483647 w 229"/>
                    <a:gd name="T89" fmla="*/ 2147483647 h 231"/>
                    <a:gd name="T90" fmla="*/ 2147483647 w 229"/>
                    <a:gd name="T91" fmla="*/ 2147483647 h 231"/>
                    <a:gd name="T92" fmla="*/ 2147483647 w 229"/>
                    <a:gd name="T93" fmla="*/ 2147483647 h 231"/>
                    <a:gd name="T94" fmla="*/ 2147483647 w 229"/>
                    <a:gd name="T95" fmla="*/ 2147483647 h 231"/>
                    <a:gd name="T96" fmla="*/ 2147483647 w 229"/>
                    <a:gd name="T97" fmla="*/ 2147483647 h 231"/>
                    <a:gd name="T98" fmla="*/ 2147483647 w 229"/>
                    <a:gd name="T99" fmla="*/ 2147483647 h 231"/>
                    <a:gd name="T100" fmla="*/ 2147483647 w 229"/>
                    <a:gd name="T101" fmla="*/ 2147483647 h 231"/>
                    <a:gd name="T102" fmla="*/ 2147483647 w 229"/>
                    <a:gd name="T103" fmla="*/ 2147483647 h 231"/>
                    <a:gd name="T104" fmla="*/ 2147483647 w 229"/>
                    <a:gd name="T105" fmla="*/ 2147483647 h 231"/>
                    <a:gd name="T106" fmla="*/ 2147483647 w 229"/>
                    <a:gd name="T107" fmla="*/ 2147483647 h 231"/>
                    <a:gd name="T108" fmla="*/ 2147483647 w 229"/>
                    <a:gd name="T109" fmla="*/ 2147483647 h 231"/>
                    <a:gd name="T110" fmla="*/ 2147483647 w 229"/>
                    <a:gd name="T111" fmla="*/ 2147483647 h 231"/>
                    <a:gd name="T112" fmla="*/ 2147483647 w 229"/>
                    <a:gd name="T113" fmla="*/ 2147483647 h 231"/>
                    <a:gd name="T114" fmla="*/ 2147483647 w 229"/>
                    <a:gd name="T115" fmla="*/ 2147483647 h 231"/>
                    <a:gd name="T116" fmla="*/ 2147483647 w 229"/>
                    <a:gd name="T117" fmla="*/ 2147483647 h 231"/>
                    <a:gd name="T118" fmla="*/ 2147483647 w 229"/>
                    <a:gd name="T119" fmla="*/ 2147483647 h 231"/>
                    <a:gd name="T120" fmla="*/ 2147483647 w 229"/>
                    <a:gd name="T121" fmla="*/ 2147483647 h 231"/>
                    <a:gd name="T122" fmla="*/ 2147483647 w 229"/>
                    <a:gd name="T123" fmla="*/ 2147483647 h 2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9"/>
                    <a:gd name="T187" fmla="*/ 0 h 231"/>
                    <a:gd name="T188" fmla="*/ 229 w 229"/>
                    <a:gd name="T189" fmla="*/ 231 h 2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9" h="231">
                      <a:moveTo>
                        <a:pt x="105" y="180"/>
                      </a:moveTo>
                      <a:lnTo>
                        <a:pt x="105" y="180"/>
                      </a:lnTo>
                      <a:lnTo>
                        <a:pt x="98" y="173"/>
                      </a:lnTo>
                      <a:lnTo>
                        <a:pt x="96" y="170"/>
                      </a:lnTo>
                      <a:lnTo>
                        <a:pt x="96" y="169"/>
                      </a:lnTo>
                      <a:lnTo>
                        <a:pt x="97" y="166"/>
                      </a:lnTo>
                      <a:lnTo>
                        <a:pt x="102" y="159"/>
                      </a:lnTo>
                      <a:lnTo>
                        <a:pt x="106" y="152"/>
                      </a:lnTo>
                      <a:lnTo>
                        <a:pt x="108" y="150"/>
                      </a:lnTo>
                      <a:lnTo>
                        <a:pt x="111" y="147"/>
                      </a:lnTo>
                      <a:lnTo>
                        <a:pt x="115" y="145"/>
                      </a:lnTo>
                      <a:lnTo>
                        <a:pt x="119" y="145"/>
                      </a:lnTo>
                      <a:lnTo>
                        <a:pt x="124" y="145"/>
                      </a:lnTo>
                      <a:lnTo>
                        <a:pt x="129" y="145"/>
                      </a:lnTo>
                      <a:lnTo>
                        <a:pt x="138" y="141"/>
                      </a:lnTo>
                      <a:lnTo>
                        <a:pt x="145" y="135"/>
                      </a:lnTo>
                      <a:lnTo>
                        <a:pt x="153" y="129"/>
                      </a:lnTo>
                      <a:lnTo>
                        <a:pt x="158" y="121"/>
                      </a:lnTo>
                      <a:lnTo>
                        <a:pt x="163" y="112"/>
                      </a:lnTo>
                      <a:lnTo>
                        <a:pt x="171" y="95"/>
                      </a:lnTo>
                      <a:lnTo>
                        <a:pt x="172" y="93"/>
                      </a:lnTo>
                      <a:lnTo>
                        <a:pt x="174" y="91"/>
                      </a:lnTo>
                      <a:lnTo>
                        <a:pt x="177" y="90"/>
                      </a:lnTo>
                      <a:lnTo>
                        <a:pt x="179" y="88"/>
                      </a:lnTo>
                      <a:lnTo>
                        <a:pt x="183" y="81"/>
                      </a:lnTo>
                      <a:lnTo>
                        <a:pt x="188" y="75"/>
                      </a:lnTo>
                      <a:lnTo>
                        <a:pt x="188" y="74"/>
                      </a:lnTo>
                      <a:lnTo>
                        <a:pt x="188" y="73"/>
                      </a:lnTo>
                      <a:lnTo>
                        <a:pt x="188" y="70"/>
                      </a:lnTo>
                      <a:lnTo>
                        <a:pt x="188" y="68"/>
                      </a:lnTo>
                      <a:lnTo>
                        <a:pt x="190" y="65"/>
                      </a:lnTo>
                      <a:lnTo>
                        <a:pt x="191" y="63"/>
                      </a:lnTo>
                      <a:lnTo>
                        <a:pt x="191" y="59"/>
                      </a:lnTo>
                      <a:lnTo>
                        <a:pt x="191" y="56"/>
                      </a:lnTo>
                      <a:lnTo>
                        <a:pt x="195" y="50"/>
                      </a:lnTo>
                      <a:lnTo>
                        <a:pt x="206" y="41"/>
                      </a:lnTo>
                      <a:lnTo>
                        <a:pt x="207" y="39"/>
                      </a:lnTo>
                      <a:lnTo>
                        <a:pt x="207" y="37"/>
                      </a:lnTo>
                      <a:lnTo>
                        <a:pt x="206" y="31"/>
                      </a:lnTo>
                      <a:lnTo>
                        <a:pt x="204" y="25"/>
                      </a:lnTo>
                      <a:lnTo>
                        <a:pt x="201" y="19"/>
                      </a:lnTo>
                      <a:lnTo>
                        <a:pt x="197" y="18"/>
                      </a:lnTo>
                      <a:lnTo>
                        <a:pt x="197" y="17"/>
                      </a:lnTo>
                      <a:lnTo>
                        <a:pt x="197" y="16"/>
                      </a:lnTo>
                      <a:lnTo>
                        <a:pt x="199" y="12"/>
                      </a:lnTo>
                      <a:lnTo>
                        <a:pt x="199" y="8"/>
                      </a:lnTo>
                      <a:lnTo>
                        <a:pt x="196" y="6"/>
                      </a:lnTo>
                      <a:lnTo>
                        <a:pt x="193" y="4"/>
                      </a:lnTo>
                      <a:lnTo>
                        <a:pt x="190" y="4"/>
                      </a:lnTo>
                      <a:lnTo>
                        <a:pt x="186" y="4"/>
                      </a:lnTo>
                      <a:lnTo>
                        <a:pt x="179" y="5"/>
                      </a:lnTo>
                      <a:lnTo>
                        <a:pt x="174" y="10"/>
                      </a:lnTo>
                      <a:lnTo>
                        <a:pt x="173" y="11"/>
                      </a:lnTo>
                      <a:lnTo>
                        <a:pt x="172" y="11"/>
                      </a:lnTo>
                      <a:lnTo>
                        <a:pt x="171" y="11"/>
                      </a:lnTo>
                      <a:lnTo>
                        <a:pt x="168" y="10"/>
                      </a:lnTo>
                      <a:lnTo>
                        <a:pt x="162" y="5"/>
                      </a:lnTo>
                      <a:lnTo>
                        <a:pt x="157" y="5"/>
                      </a:lnTo>
                      <a:lnTo>
                        <a:pt x="153" y="5"/>
                      </a:lnTo>
                      <a:lnTo>
                        <a:pt x="148" y="6"/>
                      </a:lnTo>
                      <a:lnTo>
                        <a:pt x="140" y="6"/>
                      </a:lnTo>
                      <a:lnTo>
                        <a:pt x="133" y="6"/>
                      </a:lnTo>
                      <a:lnTo>
                        <a:pt x="131" y="7"/>
                      </a:lnTo>
                      <a:lnTo>
                        <a:pt x="130" y="8"/>
                      </a:lnTo>
                      <a:lnTo>
                        <a:pt x="129" y="12"/>
                      </a:lnTo>
                      <a:lnTo>
                        <a:pt x="126" y="16"/>
                      </a:lnTo>
                      <a:lnTo>
                        <a:pt x="126" y="17"/>
                      </a:lnTo>
                      <a:lnTo>
                        <a:pt x="124" y="17"/>
                      </a:lnTo>
                      <a:lnTo>
                        <a:pt x="115" y="17"/>
                      </a:lnTo>
                      <a:lnTo>
                        <a:pt x="113" y="17"/>
                      </a:lnTo>
                      <a:lnTo>
                        <a:pt x="112" y="14"/>
                      </a:lnTo>
                      <a:lnTo>
                        <a:pt x="111" y="12"/>
                      </a:lnTo>
                      <a:lnTo>
                        <a:pt x="108" y="10"/>
                      </a:lnTo>
                      <a:lnTo>
                        <a:pt x="105" y="7"/>
                      </a:lnTo>
                      <a:lnTo>
                        <a:pt x="101" y="6"/>
                      </a:lnTo>
                      <a:lnTo>
                        <a:pt x="97" y="6"/>
                      </a:lnTo>
                      <a:lnTo>
                        <a:pt x="87" y="11"/>
                      </a:lnTo>
                      <a:lnTo>
                        <a:pt x="84" y="12"/>
                      </a:lnTo>
                      <a:lnTo>
                        <a:pt x="80" y="12"/>
                      </a:lnTo>
                      <a:lnTo>
                        <a:pt x="78" y="11"/>
                      </a:lnTo>
                      <a:lnTo>
                        <a:pt x="75" y="8"/>
                      </a:lnTo>
                      <a:lnTo>
                        <a:pt x="69" y="1"/>
                      </a:lnTo>
                      <a:lnTo>
                        <a:pt x="66" y="0"/>
                      </a:lnTo>
                      <a:lnTo>
                        <a:pt x="64" y="0"/>
                      </a:lnTo>
                      <a:lnTo>
                        <a:pt x="58" y="0"/>
                      </a:lnTo>
                      <a:lnTo>
                        <a:pt x="49" y="0"/>
                      </a:lnTo>
                      <a:lnTo>
                        <a:pt x="40" y="1"/>
                      </a:lnTo>
                      <a:lnTo>
                        <a:pt x="36" y="3"/>
                      </a:lnTo>
                      <a:lnTo>
                        <a:pt x="32" y="4"/>
                      </a:lnTo>
                      <a:lnTo>
                        <a:pt x="31" y="7"/>
                      </a:lnTo>
                      <a:lnTo>
                        <a:pt x="31" y="13"/>
                      </a:lnTo>
                      <a:lnTo>
                        <a:pt x="26" y="14"/>
                      </a:lnTo>
                      <a:lnTo>
                        <a:pt x="25" y="14"/>
                      </a:lnTo>
                      <a:lnTo>
                        <a:pt x="23" y="16"/>
                      </a:lnTo>
                      <a:lnTo>
                        <a:pt x="21" y="19"/>
                      </a:lnTo>
                      <a:lnTo>
                        <a:pt x="19" y="23"/>
                      </a:lnTo>
                      <a:lnTo>
                        <a:pt x="18" y="30"/>
                      </a:lnTo>
                      <a:lnTo>
                        <a:pt x="16" y="41"/>
                      </a:lnTo>
                      <a:lnTo>
                        <a:pt x="14" y="52"/>
                      </a:lnTo>
                      <a:lnTo>
                        <a:pt x="14" y="71"/>
                      </a:lnTo>
                      <a:lnTo>
                        <a:pt x="14" y="81"/>
                      </a:lnTo>
                      <a:lnTo>
                        <a:pt x="12" y="89"/>
                      </a:lnTo>
                      <a:lnTo>
                        <a:pt x="11" y="94"/>
                      </a:lnTo>
                      <a:lnTo>
                        <a:pt x="7" y="99"/>
                      </a:lnTo>
                      <a:lnTo>
                        <a:pt x="4" y="102"/>
                      </a:lnTo>
                      <a:lnTo>
                        <a:pt x="2" y="107"/>
                      </a:lnTo>
                      <a:lnTo>
                        <a:pt x="0" y="118"/>
                      </a:lnTo>
                      <a:lnTo>
                        <a:pt x="0" y="128"/>
                      </a:lnTo>
                      <a:lnTo>
                        <a:pt x="3" y="150"/>
                      </a:lnTo>
                      <a:lnTo>
                        <a:pt x="8" y="148"/>
                      </a:lnTo>
                      <a:lnTo>
                        <a:pt x="22" y="146"/>
                      </a:lnTo>
                      <a:lnTo>
                        <a:pt x="28" y="146"/>
                      </a:lnTo>
                      <a:lnTo>
                        <a:pt x="35" y="148"/>
                      </a:lnTo>
                      <a:lnTo>
                        <a:pt x="37" y="150"/>
                      </a:lnTo>
                      <a:lnTo>
                        <a:pt x="41" y="153"/>
                      </a:lnTo>
                      <a:lnTo>
                        <a:pt x="45" y="160"/>
                      </a:lnTo>
                      <a:lnTo>
                        <a:pt x="50" y="177"/>
                      </a:lnTo>
                      <a:lnTo>
                        <a:pt x="53" y="182"/>
                      </a:lnTo>
                      <a:lnTo>
                        <a:pt x="54" y="184"/>
                      </a:lnTo>
                      <a:lnTo>
                        <a:pt x="56" y="185"/>
                      </a:lnTo>
                      <a:lnTo>
                        <a:pt x="63" y="185"/>
                      </a:lnTo>
                      <a:lnTo>
                        <a:pt x="68" y="185"/>
                      </a:lnTo>
                      <a:lnTo>
                        <a:pt x="74" y="185"/>
                      </a:lnTo>
                      <a:lnTo>
                        <a:pt x="78" y="185"/>
                      </a:lnTo>
                      <a:lnTo>
                        <a:pt x="80" y="186"/>
                      </a:lnTo>
                      <a:lnTo>
                        <a:pt x="84" y="188"/>
                      </a:lnTo>
                      <a:lnTo>
                        <a:pt x="87" y="186"/>
                      </a:lnTo>
                      <a:lnTo>
                        <a:pt x="89" y="185"/>
                      </a:lnTo>
                      <a:lnTo>
                        <a:pt x="93" y="185"/>
                      </a:lnTo>
                      <a:lnTo>
                        <a:pt x="97" y="186"/>
                      </a:lnTo>
                      <a:lnTo>
                        <a:pt x="98" y="186"/>
                      </a:lnTo>
                      <a:lnTo>
                        <a:pt x="99" y="185"/>
                      </a:lnTo>
                      <a:lnTo>
                        <a:pt x="102" y="183"/>
                      </a:lnTo>
                      <a:lnTo>
                        <a:pt x="105" y="180"/>
                      </a:lnTo>
                      <a:lnTo>
                        <a:pt x="98" y="173"/>
                      </a:lnTo>
                      <a:lnTo>
                        <a:pt x="96" y="170"/>
                      </a:lnTo>
                      <a:lnTo>
                        <a:pt x="96" y="169"/>
                      </a:lnTo>
                      <a:lnTo>
                        <a:pt x="97" y="166"/>
                      </a:lnTo>
                      <a:lnTo>
                        <a:pt x="102" y="159"/>
                      </a:lnTo>
                      <a:lnTo>
                        <a:pt x="106" y="152"/>
                      </a:lnTo>
                      <a:lnTo>
                        <a:pt x="108" y="150"/>
                      </a:lnTo>
                      <a:lnTo>
                        <a:pt x="111" y="147"/>
                      </a:lnTo>
                      <a:lnTo>
                        <a:pt x="115" y="145"/>
                      </a:lnTo>
                      <a:lnTo>
                        <a:pt x="119" y="145"/>
                      </a:lnTo>
                      <a:lnTo>
                        <a:pt x="124" y="145"/>
                      </a:lnTo>
                      <a:lnTo>
                        <a:pt x="129" y="145"/>
                      </a:lnTo>
                      <a:lnTo>
                        <a:pt x="138" y="141"/>
                      </a:lnTo>
                      <a:lnTo>
                        <a:pt x="145" y="135"/>
                      </a:lnTo>
                      <a:lnTo>
                        <a:pt x="153" y="129"/>
                      </a:lnTo>
                      <a:lnTo>
                        <a:pt x="158" y="121"/>
                      </a:lnTo>
                      <a:lnTo>
                        <a:pt x="163" y="112"/>
                      </a:lnTo>
                      <a:lnTo>
                        <a:pt x="171" y="95"/>
                      </a:lnTo>
                      <a:lnTo>
                        <a:pt x="172" y="93"/>
                      </a:lnTo>
                      <a:lnTo>
                        <a:pt x="174" y="91"/>
                      </a:lnTo>
                      <a:lnTo>
                        <a:pt x="177" y="90"/>
                      </a:lnTo>
                      <a:lnTo>
                        <a:pt x="179" y="88"/>
                      </a:lnTo>
                      <a:lnTo>
                        <a:pt x="183" y="81"/>
                      </a:lnTo>
                      <a:lnTo>
                        <a:pt x="188" y="75"/>
                      </a:lnTo>
                      <a:lnTo>
                        <a:pt x="188" y="74"/>
                      </a:lnTo>
                      <a:lnTo>
                        <a:pt x="188" y="73"/>
                      </a:lnTo>
                      <a:lnTo>
                        <a:pt x="188" y="70"/>
                      </a:lnTo>
                      <a:lnTo>
                        <a:pt x="188" y="68"/>
                      </a:lnTo>
                      <a:lnTo>
                        <a:pt x="190" y="65"/>
                      </a:lnTo>
                      <a:lnTo>
                        <a:pt x="191" y="63"/>
                      </a:lnTo>
                      <a:lnTo>
                        <a:pt x="191" y="59"/>
                      </a:lnTo>
                      <a:lnTo>
                        <a:pt x="191" y="56"/>
                      </a:lnTo>
                      <a:lnTo>
                        <a:pt x="195" y="50"/>
                      </a:lnTo>
                      <a:lnTo>
                        <a:pt x="206" y="41"/>
                      </a:lnTo>
                      <a:lnTo>
                        <a:pt x="207" y="39"/>
                      </a:lnTo>
                      <a:lnTo>
                        <a:pt x="207" y="37"/>
                      </a:lnTo>
                      <a:lnTo>
                        <a:pt x="206" y="31"/>
                      </a:lnTo>
                      <a:lnTo>
                        <a:pt x="204" y="25"/>
                      </a:lnTo>
                      <a:lnTo>
                        <a:pt x="201" y="19"/>
                      </a:lnTo>
                      <a:lnTo>
                        <a:pt x="207" y="23"/>
                      </a:lnTo>
                      <a:lnTo>
                        <a:pt x="213" y="27"/>
                      </a:lnTo>
                      <a:lnTo>
                        <a:pt x="216" y="32"/>
                      </a:lnTo>
                      <a:lnTo>
                        <a:pt x="219" y="38"/>
                      </a:lnTo>
                      <a:lnTo>
                        <a:pt x="221" y="44"/>
                      </a:lnTo>
                      <a:lnTo>
                        <a:pt x="223" y="50"/>
                      </a:lnTo>
                      <a:lnTo>
                        <a:pt x="223" y="64"/>
                      </a:lnTo>
                      <a:lnTo>
                        <a:pt x="223" y="67"/>
                      </a:lnTo>
                      <a:lnTo>
                        <a:pt x="224" y="70"/>
                      </a:lnTo>
                      <a:lnTo>
                        <a:pt x="228" y="76"/>
                      </a:lnTo>
                      <a:lnTo>
                        <a:pt x="229" y="78"/>
                      </a:lnTo>
                      <a:lnTo>
                        <a:pt x="229" y="80"/>
                      </a:lnTo>
                      <a:lnTo>
                        <a:pt x="228" y="81"/>
                      </a:lnTo>
                      <a:lnTo>
                        <a:pt x="224" y="82"/>
                      </a:lnTo>
                      <a:lnTo>
                        <a:pt x="220" y="83"/>
                      </a:lnTo>
                      <a:lnTo>
                        <a:pt x="213" y="82"/>
                      </a:lnTo>
                      <a:lnTo>
                        <a:pt x="209" y="83"/>
                      </a:lnTo>
                      <a:lnTo>
                        <a:pt x="206" y="83"/>
                      </a:lnTo>
                      <a:lnTo>
                        <a:pt x="205" y="86"/>
                      </a:lnTo>
                      <a:lnTo>
                        <a:pt x="205" y="89"/>
                      </a:lnTo>
                      <a:lnTo>
                        <a:pt x="205" y="91"/>
                      </a:lnTo>
                      <a:lnTo>
                        <a:pt x="207" y="94"/>
                      </a:lnTo>
                      <a:lnTo>
                        <a:pt x="211" y="97"/>
                      </a:lnTo>
                      <a:lnTo>
                        <a:pt x="215" y="102"/>
                      </a:lnTo>
                      <a:lnTo>
                        <a:pt x="218" y="105"/>
                      </a:lnTo>
                      <a:lnTo>
                        <a:pt x="218" y="107"/>
                      </a:lnTo>
                      <a:lnTo>
                        <a:pt x="219" y="113"/>
                      </a:lnTo>
                      <a:lnTo>
                        <a:pt x="219" y="120"/>
                      </a:lnTo>
                      <a:lnTo>
                        <a:pt x="219" y="133"/>
                      </a:lnTo>
                      <a:lnTo>
                        <a:pt x="216" y="134"/>
                      </a:lnTo>
                      <a:lnTo>
                        <a:pt x="213" y="135"/>
                      </a:lnTo>
                      <a:lnTo>
                        <a:pt x="209" y="139"/>
                      </a:lnTo>
                      <a:lnTo>
                        <a:pt x="205" y="142"/>
                      </a:lnTo>
                      <a:lnTo>
                        <a:pt x="204" y="147"/>
                      </a:lnTo>
                      <a:lnTo>
                        <a:pt x="202" y="152"/>
                      </a:lnTo>
                      <a:lnTo>
                        <a:pt x="202" y="161"/>
                      </a:lnTo>
                      <a:lnTo>
                        <a:pt x="205" y="171"/>
                      </a:lnTo>
                      <a:lnTo>
                        <a:pt x="206" y="176"/>
                      </a:lnTo>
                      <a:lnTo>
                        <a:pt x="209" y="179"/>
                      </a:lnTo>
                      <a:lnTo>
                        <a:pt x="215" y="185"/>
                      </a:lnTo>
                      <a:lnTo>
                        <a:pt x="221" y="190"/>
                      </a:lnTo>
                      <a:lnTo>
                        <a:pt x="228" y="196"/>
                      </a:lnTo>
                      <a:lnTo>
                        <a:pt x="229" y="201"/>
                      </a:lnTo>
                      <a:lnTo>
                        <a:pt x="229" y="206"/>
                      </a:lnTo>
                      <a:lnTo>
                        <a:pt x="228" y="217"/>
                      </a:lnTo>
                      <a:lnTo>
                        <a:pt x="229" y="225"/>
                      </a:lnTo>
                      <a:lnTo>
                        <a:pt x="228" y="231"/>
                      </a:lnTo>
                      <a:lnTo>
                        <a:pt x="215" y="223"/>
                      </a:lnTo>
                      <a:lnTo>
                        <a:pt x="211" y="221"/>
                      </a:lnTo>
                      <a:lnTo>
                        <a:pt x="207" y="220"/>
                      </a:lnTo>
                      <a:lnTo>
                        <a:pt x="204" y="220"/>
                      </a:lnTo>
                      <a:lnTo>
                        <a:pt x="200" y="221"/>
                      </a:lnTo>
                      <a:lnTo>
                        <a:pt x="196" y="223"/>
                      </a:lnTo>
                      <a:lnTo>
                        <a:pt x="177" y="223"/>
                      </a:lnTo>
                      <a:lnTo>
                        <a:pt x="158" y="223"/>
                      </a:lnTo>
                      <a:lnTo>
                        <a:pt x="127" y="221"/>
                      </a:lnTo>
                      <a:lnTo>
                        <a:pt x="129" y="215"/>
                      </a:lnTo>
                      <a:lnTo>
                        <a:pt x="130" y="211"/>
                      </a:lnTo>
                      <a:lnTo>
                        <a:pt x="130" y="208"/>
                      </a:lnTo>
                      <a:lnTo>
                        <a:pt x="127" y="199"/>
                      </a:lnTo>
                      <a:lnTo>
                        <a:pt x="121" y="192"/>
                      </a:lnTo>
                      <a:lnTo>
                        <a:pt x="113" y="188"/>
                      </a:lnTo>
                      <a:lnTo>
                        <a:pt x="112" y="185"/>
                      </a:lnTo>
                      <a:lnTo>
                        <a:pt x="112" y="184"/>
                      </a:lnTo>
                      <a:lnTo>
                        <a:pt x="112" y="182"/>
                      </a:lnTo>
                      <a:lnTo>
                        <a:pt x="110" y="180"/>
                      </a:lnTo>
                      <a:lnTo>
                        <a:pt x="107" y="179"/>
                      </a:lnTo>
                      <a:lnTo>
                        <a:pt x="105" y="18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7" name="Freeform 706"/>
                <p:cNvSpPr>
                  <a:spLocks/>
                </p:cNvSpPr>
                <p:nvPr/>
              </p:nvSpPr>
              <p:spPr bwMode="auto">
                <a:xfrm>
                  <a:off x="4610801" y="3934664"/>
                  <a:ext cx="377367" cy="358129"/>
                </a:xfrm>
                <a:custGeom>
                  <a:avLst/>
                  <a:gdLst>
                    <a:gd name="T0" fmla="*/ 2147483647 w 276"/>
                    <a:gd name="T1" fmla="*/ 2147483647 h 242"/>
                    <a:gd name="T2" fmla="*/ 2147483647 w 276"/>
                    <a:gd name="T3" fmla="*/ 2147483647 h 242"/>
                    <a:gd name="T4" fmla="*/ 2147483647 w 276"/>
                    <a:gd name="T5" fmla="*/ 2147483647 h 242"/>
                    <a:gd name="T6" fmla="*/ 2147483647 w 276"/>
                    <a:gd name="T7" fmla="*/ 2147483647 h 242"/>
                    <a:gd name="T8" fmla="*/ 2147483647 w 276"/>
                    <a:gd name="T9" fmla="*/ 2147483647 h 242"/>
                    <a:gd name="T10" fmla="*/ 2147483647 w 276"/>
                    <a:gd name="T11" fmla="*/ 2147483647 h 242"/>
                    <a:gd name="T12" fmla="*/ 2147483647 w 276"/>
                    <a:gd name="T13" fmla="*/ 2147483647 h 242"/>
                    <a:gd name="T14" fmla="*/ 2147483647 w 276"/>
                    <a:gd name="T15" fmla="*/ 2147483647 h 242"/>
                    <a:gd name="T16" fmla="*/ 2147483647 w 276"/>
                    <a:gd name="T17" fmla="*/ 2147483647 h 242"/>
                    <a:gd name="T18" fmla="*/ 2147483647 w 276"/>
                    <a:gd name="T19" fmla="*/ 2147483647 h 242"/>
                    <a:gd name="T20" fmla="*/ 2147483647 w 276"/>
                    <a:gd name="T21" fmla="*/ 2147483647 h 242"/>
                    <a:gd name="T22" fmla="*/ 2147483647 w 276"/>
                    <a:gd name="T23" fmla="*/ 2147483647 h 242"/>
                    <a:gd name="T24" fmla="*/ 2147483647 w 276"/>
                    <a:gd name="T25" fmla="*/ 2147483647 h 242"/>
                    <a:gd name="T26" fmla="*/ 2147483647 w 276"/>
                    <a:gd name="T27" fmla="*/ 2147483647 h 242"/>
                    <a:gd name="T28" fmla="*/ 2147483647 w 276"/>
                    <a:gd name="T29" fmla="*/ 2147483647 h 242"/>
                    <a:gd name="T30" fmla="*/ 2147483647 w 276"/>
                    <a:gd name="T31" fmla="*/ 2147483647 h 242"/>
                    <a:gd name="T32" fmla="*/ 2147483647 w 276"/>
                    <a:gd name="T33" fmla="*/ 2147483647 h 242"/>
                    <a:gd name="T34" fmla="*/ 2147483647 w 276"/>
                    <a:gd name="T35" fmla="*/ 2147483647 h 242"/>
                    <a:gd name="T36" fmla="*/ 2147483647 w 276"/>
                    <a:gd name="T37" fmla="*/ 2147483647 h 242"/>
                    <a:gd name="T38" fmla="*/ 2147483647 w 276"/>
                    <a:gd name="T39" fmla="*/ 2147483647 h 242"/>
                    <a:gd name="T40" fmla="*/ 2147483647 w 276"/>
                    <a:gd name="T41" fmla="*/ 2147483647 h 242"/>
                    <a:gd name="T42" fmla="*/ 2147483647 w 276"/>
                    <a:gd name="T43" fmla="*/ 2147483647 h 242"/>
                    <a:gd name="T44" fmla="*/ 2147483647 w 276"/>
                    <a:gd name="T45" fmla="*/ 2147483647 h 242"/>
                    <a:gd name="T46" fmla="*/ 0 w 276"/>
                    <a:gd name="T47" fmla="*/ 2147483647 h 242"/>
                    <a:gd name="T48" fmla="*/ 2147483647 w 276"/>
                    <a:gd name="T49" fmla="*/ 2147483647 h 242"/>
                    <a:gd name="T50" fmla="*/ 2147483647 w 276"/>
                    <a:gd name="T51" fmla="*/ 2147483647 h 242"/>
                    <a:gd name="T52" fmla="*/ 2147483647 w 276"/>
                    <a:gd name="T53" fmla="*/ 2147483647 h 242"/>
                    <a:gd name="T54" fmla="*/ 2147483647 w 276"/>
                    <a:gd name="T55" fmla="*/ 2147483647 h 242"/>
                    <a:gd name="T56" fmla="*/ 2147483647 w 276"/>
                    <a:gd name="T57" fmla="*/ 2147483647 h 242"/>
                    <a:gd name="T58" fmla="*/ 2147483647 w 276"/>
                    <a:gd name="T59" fmla="*/ 2147483647 h 242"/>
                    <a:gd name="T60" fmla="*/ 2147483647 w 276"/>
                    <a:gd name="T61" fmla="*/ 2147483647 h 242"/>
                    <a:gd name="T62" fmla="*/ 2147483647 w 276"/>
                    <a:gd name="T63" fmla="*/ 2147483647 h 242"/>
                    <a:gd name="T64" fmla="*/ 2147483647 w 276"/>
                    <a:gd name="T65" fmla="*/ 2147483647 h 242"/>
                    <a:gd name="T66" fmla="*/ 2147483647 w 276"/>
                    <a:gd name="T67" fmla="*/ 2147483647 h 242"/>
                    <a:gd name="T68" fmla="*/ 2147483647 w 276"/>
                    <a:gd name="T69" fmla="*/ 2147483647 h 242"/>
                    <a:gd name="T70" fmla="*/ 2147483647 w 276"/>
                    <a:gd name="T71" fmla="*/ 2147483647 h 242"/>
                    <a:gd name="T72" fmla="*/ 2147483647 w 276"/>
                    <a:gd name="T73" fmla="*/ 2147483647 h 242"/>
                    <a:gd name="T74" fmla="*/ 2147483647 w 276"/>
                    <a:gd name="T75" fmla="*/ 2147483647 h 242"/>
                    <a:gd name="T76" fmla="*/ 2147483647 w 276"/>
                    <a:gd name="T77" fmla="*/ 2147483647 h 242"/>
                    <a:gd name="T78" fmla="*/ 2147483647 w 276"/>
                    <a:gd name="T79" fmla="*/ 2147483647 h 242"/>
                    <a:gd name="T80" fmla="*/ 2147483647 w 276"/>
                    <a:gd name="T81" fmla="*/ 2147483647 h 242"/>
                    <a:gd name="T82" fmla="*/ 2147483647 w 276"/>
                    <a:gd name="T83" fmla="*/ 2147483647 h 242"/>
                    <a:gd name="T84" fmla="*/ 2147483647 w 276"/>
                    <a:gd name="T85" fmla="*/ 2147483647 h 242"/>
                    <a:gd name="T86" fmla="*/ 2147483647 w 276"/>
                    <a:gd name="T87" fmla="*/ 2147483647 h 242"/>
                    <a:gd name="T88" fmla="*/ 2147483647 w 276"/>
                    <a:gd name="T89" fmla="*/ 2147483647 h 242"/>
                    <a:gd name="T90" fmla="*/ 2147483647 w 276"/>
                    <a:gd name="T91" fmla="*/ 2147483647 h 242"/>
                    <a:gd name="T92" fmla="*/ 2147483647 w 276"/>
                    <a:gd name="T93" fmla="*/ 2147483647 h 242"/>
                    <a:gd name="T94" fmla="*/ 2147483647 w 276"/>
                    <a:gd name="T95" fmla="*/ 2147483647 h 242"/>
                    <a:gd name="T96" fmla="*/ 2147483647 w 276"/>
                    <a:gd name="T97" fmla="*/ 2147483647 h 24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242"/>
                    <a:gd name="T149" fmla="*/ 276 w 276"/>
                    <a:gd name="T150" fmla="*/ 242 h 24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242">
                      <a:moveTo>
                        <a:pt x="229" y="201"/>
                      </a:moveTo>
                      <a:lnTo>
                        <a:pt x="229" y="201"/>
                      </a:lnTo>
                      <a:lnTo>
                        <a:pt x="222" y="202"/>
                      </a:lnTo>
                      <a:lnTo>
                        <a:pt x="217" y="207"/>
                      </a:lnTo>
                      <a:lnTo>
                        <a:pt x="216" y="208"/>
                      </a:lnTo>
                      <a:lnTo>
                        <a:pt x="215" y="208"/>
                      </a:lnTo>
                      <a:lnTo>
                        <a:pt x="214" y="208"/>
                      </a:lnTo>
                      <a:lnTo>
                        <a:pt x="211" y="207"/>
                      </a:lnTo>
                      <a:lnTo>
                        <a:pt x="205" y="202"/>
                      </a:lnTo>
                      <a:lnTo>
                        <a:pt x="200" y="202"/>
                      </a:lnTo>
                      <a:lnTo>
                        <a:pt x="196" y="202"/>
                      </a:lnTo>
                      <a:lnTo>
                        <a:pt x="191" y="203"/>
                      </a:lnTo>
                      <a:lnTo>
                        <a:pt x="183" y="203"/>
                      </a:lnTo>
                      <a:lnTo>
                        <a:pt x="176" y="203"/>
                      </a:lnTo>
                      <a:lnTo>
                        <a:pt x="174" y="204"/>
                      </a:lnTo>
                      <a:lnTo>
                        <a:pt x="173" y="205"/>
                      </a:lnTo>
                      <a:lnTo>
                        <a:pt x="172" y="209"/>
                      </a:lnTo>
                      <a:lnTo>
                        <a:pt x="169" y="213"/>
                      </a:lnTo>
                      <a:lnTo>
                        <a:pt x="169" y="214"/>
                      </a:lnTo>
                      <a:lnTo>
                        <a:pt x="167" y="214"/>
                      </a:lnTo>
                      <a:lnTo>
                        <a:pt x="158" y="214"/>
                      </a:lnTo>
                      <a:lnTo>
                        <a:pt x="156" y="214"/>
                      </a:lnTo>
                      <a:lnTo>
                        <a:pt x="155" y="211"/>
                      </a:lnTo>
                      <a:lnTo>
                        <a:pt x="154" y="209"/>
                      </a:lnTo>
                      <a:lnTo>
                        <a:pt x="151" y="207"/>
                      </a:lnTo>
                      <a:lnTo>
                        <a:pt x="148" y="204"/>
                      </a:lnTo>
                      <a:lnTo>
                        <a:pt x="144" y="203"/>
                      </a:lnTo>
                      <a:lnTo>
                        <a:pt x="140" y="203"/>
                      </a:lnTo>
                      <a:lnTo>
                        <a:pt x="130" y="208"/>
                      </a:lnTo>
                      <a:lnTo>
                        <a:pt x="127" y="209"/>
                      </a:lnTo>
                      <a:lnTo>
                        <a:pt x="123" y="209"/>
                      </a:lnTo>
                      <a:lnTo>
                        <a:pt x="121" y="208"/>
                      </a:lnTo>
                      <a:lnTo>
                        <a:pt x="118" y="205"/>
                      </a:lnTo>
                      <a:lnTo>
                        <a:pt x="112" y="198"/>
                      </a:lnTo>
                      <a:lnTo>
                        <a:pt x="109" y="197"/>
                      </a:lnTo>
                      <a:lnTo>
                        <a:pt x="107" y="197"/>
                      </a:lnTo>
                      <a:lnTo>
                        <a:pt x="101" y="197"/>
                      </a:lnTo>
                      <a:lnTo>
                        <a:pt x="92" y="197"/>
                      </a:lnTo>
                      <a:lnTo>
                        <a:pt x="83" y="198"/>
                      </a:lnTo>
                      <a:lnTo>
                        <a:pt x="79" y="200"/>
                      </a:lnTo>
                      <a:lnTo>
                        <a:pt x="75" y="201"/>
                      </a:lnTo>
                      <a:lnTo>
                        <a:pt x="74" y="204"/>
                      </a:lnTo>
                      <a:lnTo>
                        <a:pt x="74" y="210"/>
                      </a:lnTo>
                      <a:lnTo>
                        <a:pt x="69" y="211"/>
                      </a:lnTo>
                      <a:lnTo>
                        <a:pt x="68" y="211"/>
                      </a:lnTo>
                      <a:lnTo>
                        <a:pt x="66" y="213"/>
                      </a:lnTo>
                      <a:lnTo>
                        <a:pt x="64" y="216"/>
                      </a:lnTo>
                      <a:lnTo>
                        <a:pt x="62" y="220"/>
                      </a:lnTo>
                      <a:lnTo>
                        <a:pt x="61" y="227"/>
                      </a:lnTo>
                      <a:lnTo>
                        <a:pt x="59" y="238"/>
                      </a:lnTo>
                      <a:lnTo>
                        <a:pt x="55" y="235"/>
                      </a:lnTo>
                      <a:lnTo>
                        <a:pt x="51" y="233"/>
                      </a:lnTo>
                      <a:lnTo>
                        <a:pt x="49" y="230"/>
                      </a:lnTo>
                      <a:lnTo>
                        <a:pt x="43" y="229"/>
                      </a:lnTo>
                      <a:lnTo>
                        <a:pt x="40" y="229"/>
                      </a:lnTo>
                      <a:lnTo>
                        <a:pt x="36" y="232"/>
                      </a:lnTo>
                      <a:lnTo>
                        <a:pt x="32" y="234"/>
                      </a:lnTo>
                      <a:lnTo>
                        <a:pt x="28" y="236"/>
                      </a:lnTo>
                      <a:lnTo>
                        <a:pt x="24" y="240"/>
                      </a:lnTo>
                      <a:lnTo>
                        <a:pt x="19" y="242"/>
                      </a:lnTo>
                      <a:lnTo>
                        <a:pt x="19" y="239"/>
                      </a:lnTo>
                      <a:lnTo>
                        <a:pt x="21" y="235"/>
                      </a:lnTo>
                      <a:lnTo>
                        <a:pt x="23" y="229"/>
                      </a:lnTo>
                      <a:lnTo>
                        <a:pt x="24" y="224"/>
                      </a:lnTo>
                      <a:lnTo>
                        <a:pt x="24" y="221"/>
                      </a:lnTo>
                      <a:lnTo>
                        <a:pt x="22" y="213"/>
                      </a:lnTo>
                      <a:lnTo>
                        <a:pt x="17" y="204"/>
                      </a:lnTo>
                      <a:lnTo>
                        <a:pt x="10" y="198"/>
                      </a:lnTo>
                      <a:lnTo>
                        <a:pt x="10" y="196"/>
                      </a:lnTo>
                      <a:lnTo>
                        <a:pt x="10" y="194"/>
                      </a:lnTo>
                      <a:lnTo>
                        <a:pt x="10" y="191"/>
                      </a:lnTo>
                      <a:lnTo>
                        <a:pt x="10" y="189"/>
                      </a:lnTo>
                      <a:lnTo>
                        <a:pt x="7" y="184"/>
                      </a:lnTo>
                      <a:lnTo>
                        <a:pt x="3" y="178"/>
                      </a:lnTo>
                      <a:lnTo>
                        <a:pt x="0" y="173"/>
                      </a:lnTo>
                      <a:lnTo>
                        <a:pt x="0" y="170"/>
                      </a:lnTo>
                      <a:lnTo>
                        <a:pt x="0" y="166"/>
                      </a:lnTo>
                      <a:lnTo>
                        <a:pt x="4" y="168"/>
                      </a:lnTo>
                      <a:lnTo>
                        <a:pt x="8" y="166"/>
                      </a:lnTo>
                      <a:lnTo>
                        <a:pt x="16" y="164"/>
                      </a:lnTo>
                      <a:lnTo>
                        <a:pt x="37" y="160"/>
                      </a:lnTo>
                      <a:lnTo>
                        <a:pt x="46" y="157"/>
                      </a:lnTo>
                      <a:lnTo>
                        <a:pt x="51" y="156"/>
                      </a:lnTo>
                      <a:lnTo>
                        <a:pt x="55" y="152"/>
                      </a:lnTo>
                      <a:lnTo>
                        <a:pt x="61" y="146"/>
                      </a:lnTo>
                      <a:lnTo>
                        <a:pt x="66" y="139"/>
                      </a:lnTo>
                      <a:lnTo>
                        <a:pt x="69" y="132"/>
                      </a:lnTo>
                      <a:lnTo>
                        <a:pt x="70" y="124"/>
                      </a:lnTo>
                      <a:lnTo>
                        <a:pt x="70" y="106"/>
                      </a:lnTo>
                      <a:lnTo>
                        <a:pt x="69" y="89"/>
                      </a:lnTo>
                      <a:lnTo>
                        <a:pt x="74" y="88"/>
                      </a:lnTo>
                      <a:lnTo>
                        <a:pt x="80" y="87"/>
                      </a:lnTo>
                      <a:lnTo>
                        <a:pt x="84" y="87"/>
                      </a:lnTo>
                      <a:lnTo>
                        <a:pt x="85" y="86"/>
                      </a:lnTo>
                      <a:lnTo>
                        <a:pt x="90" y="86"/>
                      </a:lnTo>
                      <a:lnTo>
                        <a:pt x="93" y="85"/>
                      </a:lnTo>
                      <a:lnTo>
                        <a:pt x="99" y="82"/>
                      </a:lnTo>
                      <a:lnTo>
                        <a:pt x="111" y="70"/>
                      </a:lnTo>
                      <a:lnTo>
                        <a:pt x="126" y="57"/>
                      </a:lnTo>
                      <a:lnTo>
                        <a:pt x="142" y="45"/>
                      </a:lnTo>
                      <a:lnTo>
                        <a:pt x="159" y="34"/>
                      </a:lnTo>
                      <a:lnTo>
                        <a:pt x="176" y="21"/>
                      </a:lnTo>
                      <a:lnTo>
                        <a:pt x="188" y="10"/>
                      </a:lnTo>
                      <a:lnTo>
                        <a:pt x="195" y="5"/>
                      </a:lnTo>
                      <a:lnTo>
                        <a:pt x="202" y="0"/>
                      </a:lnTo>
                      <a:lnTo>
                        <a:pt x="203" y="4"/>
                      </a:lnTo>
                      <a:lnTo>
                        <a:pt x="206" y="6"/>
                      </a:lnTo>
                      <a:lnTo>
                        <a:pt x="210" y="8"/>
                      </a:lnTo>
                      <a:lnTo>
                        <a:pt x="214" y="8"/>
                      </a:lnTo>
                      <a:lnTo>
                        <a:pt x="220" y="8"/>
                      </a:lnTo>
                      <a:lnTo>
                        <a:pt x="226" y="10"/>
                      </a:lnTo>
                      <a:lnTo>
                        <a:pt x="229" y="11"/>
                      </a:lnTo>
                      <a:lnTo>
                        <a:pt x="230" y="13"/>
                      </a:lnTo>
                      <a:lnTo>
                        <a:pt x="233" y="17"/>
                      </a:lnTo>
                      <a:lnTo>
                        <a:pt x="233" y="22"/>
                      </a:lnTo>
                      <a:lnTo>
                        <a:pt x="234" y="23"/>
                      </a:lnTo>
                      <a:lnTo>
                        <a:pt x="236" y="24"/>
                      </a:lnTo>
                      <a:lnTo>
                        <a:pt x="240" y="24"/>
                      </a:lnTo>
                      <a:lnTo>
                        <a:pt x="258" y="13"/>
                      </a:lnTo>
                      <a:lnTo>
                        <a:pt x="261" y="17"/>
                      </a:lnTo>
                      <a:lnTo>
                        <a:pt x="262" y="19"/>
                      </a:lnTo>
                      <a:lnTo>
                        <a:pt x="262" y="22"/>
                      </a:lnTo>
                      <a:lnTo>
                        <a:pt x="259" y="30"/>
                      </a:lnTo>
                      <a:lnTo>
                        <a:pt x="258" y="34"/>
                      </a:lnTo>
                      <a:lnTo>
                        <a:pt x="259" y="37"/>
                      </a:lnTo>
                      <a:lnTo>
                        <a:pt x="262" y="43"/>
                      </a:lnTo>
                      <a:lnTo>
                        <a:pt x="266" y="48"/>
                      </a:lnTo>
                      <a:lnTo>
                        <a:pt x="269" y="54"/>
                      </a:lnTo>
                      <a:lnTo>
                        <a:pt x="272" y="60"/>
                      </a:lnTo>
                      <a:lnTo>
                        <a:pt x="273" y="62"/>
                      </a:lnTo>
                      <a:lnTo>
                        <a:pt x="275" y="64"/>
                      </a:lnTo>
                      <a:lnTo>
                        <a:pt x="276" y="64"/>
                      </a:lnTo>
                      <a:lnTo>
                        <a:pt x="269" y="77"/>
                      </a:lnTo>
                      <a:lnTo>
                        <a:pt x="264" y="92"/>
                      </a:lnTo>
                      <a:lnTo>
                        <a:pt x="263" y="99"/>
                      </a:lnTo>
                      <a:lnTo>
                        <a:pt x="263" y="106"/>
                      </a:lnTo>
                      <a:lnTo>
                        <a:pt x="264" y="113"/>
                      </a:lnTo>
                      <a:lnTo>
                        <a:pt x="266" y="120"/>
                      </a:lnTo>
                      <a:lnTo>
                        <a:pt x="267" y="128"/>
                      </a:lnTo>
                      <a:lnTo>
                        <a:pt x="267" y="137"/>
                      </a:lnTo>
                      <a:lnTo>
                        <a:pt x="266" y="145"/>
                      </a:lnTo>
                      <a:lnTo>
                        <a:pt x="263" y="152"/>
                      </a:lnTo>
                      <a:lnTo>
                        <a:pt x="258" y="158"/>
                      </a:lnTo>
                      <a:lnTo>
                        <a:pt x="253" y="164"/>
                      </a:lnTo>
                      <a:lnTo>
                        <a:pt x="247" y="170"/>
                      </a:lnTo>
                      <a:lnTo>
                        <a:pt x="239" y="175"/>
                      </a:lnTo>
                      <a:lnTo>
                        <a:pt x="238" y="177"/>
                      </a:lnTo>
                      <a:lnTo>
                        <a:pt x="236" y="181"/>
                      </a:lnTo>
                      <a:lnTo>
                        <a:pt x="236" y="183"/>
                      </a:lnTo>
                      <a:lnTo>
                        <a:pt x="234" y="185"/>
                      </a:lnTo>
                      <a:lnTo>
                        <a:pt x="228" y="189"/>
                      </a:lnTo>
                      <a:lnTo>
                        <a:pt x="225" y="191"/>
                      </a:lnTo>
                      <a:lnTo>
                        <a:pt x="224" y="194"/>
                      </a:lnTo>
                      <a:lnTo>
                        <a:pt x="225" y="197"/>
                      </a:lnTo>
                      <a:lnTo>
                        <a:pt x="229" y="20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8" name="Freeform 707"/>
                <p:cNvSpPr>
                  <a:spLocks/>
                </p:cNvSpPr>
                <p:nvPr/>
              </p:nvSpPr>
              <p:spPr bwMode="auto">
                <a:xfrm>
                  <a:off x="4918615" y="3937624"/>
                  <a:ext cx="276736" cy="486877"/>
                </a:xfrm>
                <a:custGeom>
                  <a:avLst/>
                  <a:gdLst>
                    <a:gd name="T0" fmla="*/ 2147483647 w 203"/>
                    <a:gd name="T1" fmla="*/ 2147483647 h 329"/>
                    <a:gd name="T2" fmla="*/ 2147483647 w 203"/>
                    <a:gd name="T3" fmla="*/ 2147483647 h 329"/>
                    <a:gd name="T4" fmla="*/ 2147483647 w 203"/>
                    <a:gd name="T5" fmla="*/ 2147483647 h 329"/>
                    <a:gd name="T6" fmla="*/ 2147483647 w 203"/>
                    <a:gd name="T7" fmla="*/ 2147483647 h 329"/>
                    <a:gd name="T8" fmla="*/ 2147483647 w 203"/>
                    <a:gd name="T9" fmla="*/ 2147483647 h 329"/>
                    <a:gd name="T10" fmla="*/ 2147483647 w 203"/>
                    <a:gd name="T11" fmla="*/ 2147483647 h 329"/>
                    <a:gd name="T12" fmla="*/ 2147483647 w 203"/>
                    <a:gd name="T13" fmla="*/ 2147483647 h 329"/>
                    <a:gd name="T14" fmla="*/ 2147483647 w 203"/>
                    <a:gd name="T15" fmla="*/ 2147483647 h 329"/>
                    <a:gd name="T16" fmla="*/ 2147483647 w 203"/>
                    <a:gd name="T17" fmla="*/ 2147483647 h 329"/>
                    <a:gd name="T18" fmla="*/ 2147483647 w 203"/>
                    <a:gd name="T19" fmla="*/ 2147483647 h 329"/>
                    <a:gd name="T20" fmla="*/ 2147483647 w 203"/>
                    <a:gd name="T21" fmla="*/ 2147483647 h 329"/>
                    <a:gd name="T22" fmla="*/ 2147483647 w 203"/>
                    <a:gd name="T23" fmla="*/ 2147483647 h 329"/>
                    <a:gd name="T24" fmla="*/ 2147483647 w 203"/>
                    <a:gd name="T25" fmla="*/ 2147483647 h 329"/>
                    <a:gd name="T26" fmla="*/ 2147483647 w 203"/>
                    <a:gd name="T27" fmla="*/ 2147483647 h 329"/>
                    <a:gd name="T28" fmla="*/ 2147483647 w 203"/>
                    <a:gd name="T29" fmla="*/ 2147483647 h 329"/>
                    <a:gd name="T30" fmla="*/ 2147483647 w 203"/>
                    <a:gd name="T31" fmla="*/ 2147483647 h 329"/>
                    <a:gd name="T32" fmla="*/ 2147483647 w 203"/>
                    <a:gd name="T33" fmla="*/ 2147483647 h 329"/>
                    <a:gd name="T34" fmla="*/ 2147483647 w 203"/>
                    <a:gd name="T35" fmla="*/ 2147483647 h 329"/>
                    <a:gd name="T36" fmla="*/ 2147483647 w 203"/>
                    <a:gd name="T37" fmla="*/ 2147483647 h 329"/>
                    <a:gd name="T38" fmla="*/ 2147483647 w 203"/>
                    <a:gd name="T39" fmla="*/ 2147483647 h 329"/>
                    <a:gd name="T40" fmla="*/ 2147483647 w 203"/>
                    <a:gd name="T41" fmla="*/ 2147483647 h 329"/>
                    <a:gd name="T42" fmla="*/ 2147483647 w 203"/>
                    <a:gd name="T43" fmla="*/ 2147483647 h 329"/>
                    <a:gd name="T44" fmla="*/ 2147483647 w 203"/>
                    <a:gd name="T45" fmla="*/ 2147483647 h 329"/>
                    <a:gd name="T46" fmla="*/ 2147483647 w 203"/>
                    <a:gd name="T47" fmla="*/ 2147483647 h 329"/>
                    <a:gd name="T48" fmla="*/ 2147483647 w 203"/>
                    <a:gd name="T49" fmla="*/ 2147483647 h 329"/>
                    <a:gd name="T50" fmla="*/ 2147483647 w 203"/>
                    <a:gd name="T51" fmla="*/ 2147483647 h 329"/>
                    <a:gd name="T52" fmla="*/ 2147483647 w 203"/>
                    <a:gd name="T53" fmla="*/ 2147483647 h 329"/>
                    <a:gd name="T54" fmla="*/ 2147483647 w 203"/>
                    <a:gd name="T55" fmla="*/ 2147483647 h 329"/>
                    <a:gd name="T56" fmla="*/ 2147483647 w 203"/>
                    <a:gd name="T57" fmla="*/ 2147483647 h 329"/>
                    <a:gd name="T58" fmla="*/ 2147483647 w 203"/>
                    <a:gd name="T59" fmla="*/ 2147483647 h 329"/>
                    <a:gd name="T60" fmla="*/ 2147483647 w 203"/>
                    <a:gd name="T61" fmla="*/ 2147483647 h 329"/>
                    <a:gd name="T62" fmla="*/ 2147483647 w 203"/>
                    <a:gd name="T63" fmla="*/ 2147483647 h 329"/>
                    <a:gd name="T64" fmla="*/ 2147483647 w 203"/>
                    <a:gd name="T65" fmla="*/ 2147483647 h 329"/>
                    <a:gd name="T66" fmla="*/ 2147483647 w 203"/>
                    <a:gd name="T67" fmla="*/ 2147483647 h 329"/>
                    <a:gd name="T68" fmla="*/ 2147483647 w 203"/>
                    <a:gd name="T69" fmla="*/ 2147483647 h 329"/>
                    <a:gd name="T70" fmla="*/ 2147483647 w 203"/>
                    <a:gd name="T71" fmla="*/ 2147483647 h 329"/>
                    <a:gd name="T72" fmla="*/ 2147483647 w 203"/>
                    <a:gd name="T73" fmla="*/ 2147483647 h 329"/>
                    <a:gd name="T74" fmla="*/ 2147483647 w 203"/>
                    <a:gd name="T75" fmla="*/ 2147483647 h 329"/>
                    <a:gd name="T76" fmla="*/ 2147483647 w 203"/>
                    <a:gd name="T77" fmla="*/ 2147483647 h 329"/>
                    <a:gd name="T78" fmla="*/ 2147483647 w 203"/>
                    <a:gd name="T79" fmla="*/ 2147483647 h 329"/>
                    <a:gd name="T80" fmla="*/ 2147483647 w 203"/>
                    <a:gd name="T81" fmla="*/ 2147483647 h 329"/>
                    <a:gd name="T82" fmla="*/ 2147483647 w 203"/>
                    <a:gd name="T83" fmla="*/ 2147483647 h 329"/>
                    <a:gd name="T84" fmla="*/ 2147483647 w 203"/>
                    <a:gd name="T85" fmla="*/ 2147483647 h 329"/>
                    <a:gd name="T86" fmla="*/ 2147483647 w 203"/>
                    <a:gd name="T87" fmla="*/ 2147483647 h 329"/>
                    <a:gd name="T88" fmla="*/ 2147483647 w 203"/>
                    <a:gd name="T89" fmla="*/ 2147483647 h 329"/>
                    <a:gd name="T90" fmla="*/ 2147483647 w 203"/>
                    <a:gd name="T91" fmla="*/ 2147483647 h 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3"/>
                    <a:gd name="T139" fmla="*/ 0 h 329"/>
                    <a:gd name="T140" fmla="*/ 203 w 203"/>
                    <a:gd name="T141" fmla="*/ 329 h 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3" h="329">
                      <a:moveTo>
                        <a:pt x="38" y="329"/>
                      </a:moveTo>
                      <a:lnTo>
                        <a:pt x="38" y="316"/>
                      </a:lnTo>
                      <a:lnTo>
                        <a:pt x="38" y="309"/>
                      </a:lnTo>
                      <a:lnTo>
                        <a:pt x="37" y="303"/>
                      </a:lnTo>
                      <a:lnTo>
                        <a:pt x="37" y="301"/>
                      </a:lnTo>
                      <a:lnTo>
                        <a:pt x="34" y="298"/>
                      </a:lnTo>
                      <a:lnTo>
                        <a:pt x="31" y="294"/>
                      </a:lnTo>
                      <a:lnTo>
                        <a:pt x="27" y="290"/>
                      </a:lnTo>
                      <a:lnTo>
                        <a:pt x="24" y="288"/>
                      </a:lnTo>
                      <a:lnTo>
                        <a:pt x="24" y="285"/>
                      </a:lnTo>
                      <a:lnTo>
                        <a:pt x="24" y="282"/>
                      </a:lnTo>
                      <a:lnTo>
                        <a:pt x="25" y="279"/>
                      </a:lnTo>
                      <a:lnTo>
                        <a:pt x="28" y="279"/>
                      </a:lnTo>
                      <a:lnTo>
                        <a:pt x="32" y="278"/>
                      </a:lnTo>
                      <a:lnTo>
                        <a:pt x="39" y="279"/>
                      </a:lnTo>
                      <a:lnTo>
                        <a:pt x="43" y="278"/>
                      </a:lnTo>
                      <a:lnTo>
                        <a:pt x="47" y="277"/>
                      </a:lnTo>
                      <a:lnTo>
                        <a:pt x="48" y="276"/>
                      </a:lnTo>
                      <a:lnTo>
                        <a:pt x="48" y="275"/>
                      </a:lnTo>
                      <a:lnTo>
                        <a:pt x="47" y="272"/>
                      </a:lnTo>
                      <a:lnTo>
                        <a:pt x="43" y="266"/>
                      </a:lnTo>
                      <a:lnTo>
                        <a:pt x="42" y="263"/>
                      </a:lnTo>
                      <a:lnTo>
                        <a:pt x="42" y="260"/>
                      </a:lnTo>
                      <a:lnTo>
                        <a:pt x="42" y="246"/>
                      </a:lnTo>
                      <a:lnTo>
                        <a:pt x="41" y="240"/>
                      </a:lnTo>
                      <a:lnTo>
                        <a:pt x="38" y="234"/>
                      </a:lnTo>
                      <a:lnTo>
                        <a:pt x="36" y="228"/>
                      </a:lnTo>
                      <a:lnTo>
                        <a:pt x="32" y="224"/>
                      </a:lnTo>
                      <a:lnTo>
                        <a:pt x="27" y="219"/>
                      </a:lnTo>
                      <a:lnTo>
                        <a:pt x="20" y="215"/>
                      </a:lnTo>
                      <a:lnTo>
                        <a:pt x="17" y="214"/>
                      </a:lnTo>
                      <a:lnTo>
                        <a:pt x="17" y="213"/>
                      </a:lnTo>
                      <a:lnTo>
                        <a:pt x="17" y="212"/>
                      </a:lnTo>
                      <a:lnTo>
                        <a:pt x="18" y="208"/>
                      </a:lnTo>
                      <a:lnTo>
                        <a:pt x="18" y="205"/>
                      </a:lnTo>
                      <a:lnTo>
                        <a:pt x="15" y="202"/>
                      </a:lnTo>
                      <a:lnTo>
                        <a:pt x="13" y="200"/>
                      </a:lnTo>
                      <a:lnTo>
                        <a:pt x="9" y="200"/>
                      </a:lnTo>
                      <a:lnTo>
                        <a:pt x="5" y="200"/>
                      </a:lnTo>
                      <a:lnTo>
                        <a:pt x="1" y="196"/>
                      </a:lnTo>
                      <a:lnTo>
                        <a:pt x="0" y="193"/>
                      </a:lnTo>
                      <a:lnTo>
                        <a:pt x="1" y="190"/>
                      </a:lnTo>
                      <a:lnTo>
                        <a:pt x="4" y="188"/>
                      </a:lnTo>
                      <a:lnTo>
                        <a:pt x="10" y="185"/>
                      </a:lnTo>
                      <a:lnTo>
                        <a:pt x="13" y="182"/>
                      </a:lnTo>
                      <a:lnTo>
                        <a:pt x="13" y="180"/>
                      </a:lnTo>
                      <a:lnTo>
                        <a:pt x="14" y="176"/>
                      </a:lnTo>
                      <a:lnTo>
                        <a:pt x="15" y="174"/>
                      </a:lnTo>
                      <a:lnTo>
                        <a:pt x="23" y="169"/>
                      </a:lnTo>
                      <a:lnTo>
                        <a:pt x="29" y="163"/>
                      </a:lnTo>
                      <a:lnTo>
                        <a:pt x="34" y="157"/>
                      </a:lnTo>
                      <a:lnTo>
                        <a:pt x="39" y="151"/>
                      </a:lnTo>
                      <a:lnTo>
                        <a:pt x="42" y="144"/>
                      </a:lnTo>
                      <a:lnTo>
                        <a:pt x="43" y="136"/>
                      </a:lnTo>
                      <a:lnTo>
                        <a:pt x="43" y="128"/>
                      </a:lnTo>
                      <a:lnTo>
                        <a:pt x="42" y="119"/>
                      </a:lnTo>
                      <a:lnTo>
                        <a:pt x="41" y="112"/>
                      </a:lnTo>
                      <a:lnTo>
                        <a:pt x="39" y="105"/>
                      </a:lnTo>
                      <a:lnTo>
                        <a:pt x="39" y="98"/>
                      </a:lnTo>
                      <a:lnTo>
                        <a:pt x="41" y="91"/>
                      </a:lnTo>
                      <a:lnTo>
                        <a:pt x="46" y="77"/>
                      </a:lnTo>
                      <a:lnTo>
                        <a:pt x="52" y="64"/>
                      </a:lnTo>
                      <a:lnTo>
                        <a:pt x="51" y="64"/>
                      </a:lnTo>
                      <a:lnTo>
                        <a:pt x="50" y="61"/>
                      </a:lnTo>
                      <a:lnTo>
                        <a:pt x="48" y="59"/>
                      </a:lnTo>
                      <a:lnTo>
                        <a:pt x="46" y="53"/>
                      </a:lnTo>
                      <a:lnTo>
                        <a:pt x="42" y="47"/>
                      </a:lnTo>
                      <a:lnTo>
                        <a:pt x="38" y="42"/>
                      </a:lnTo>
                      <a:lnTo>
                        <a:pt x="36" y="36"/>
                      </a:lnTo>
                      <a:lnTo>
                        <a:pt x="34" y="33"/>
                      </a:lnTo>
                      <a:lnTo>
                        <a:pt x="36" y="29"/>
                      </a:lnTo>
                      <a:lnTo>
                        <a:pt x="38" y="21"/>
                      </a:lnTo>
                      <a:lnTo>
                        <a:pt x="38" y="19"/>
                      </a:lnTo>
                      <a:lnTo>
                        <a:pt x="37" y="16"/>
                      </a:lnTo>
                      <a:lnTo>
                        <a:pt x="34" y="13"/>
                      </a:lnTo>
                      <a:lnTo>
                        <a:pt x="42" y="7"/>
                      </a:lnTo>
                      <a:lnTo>
                        <a:pt x="48" y="0"/>
                      </a:lnTo>
                      <a:lnTo>
                        <a:pt x="203" y="83"/>
                      </a:lnTo>
                      <a:lnTo>
                        <a:pt x="202" y="145"/>
                      </a:lnTo>
                      <a:lnTo>
                        <a:pt x="199" y="154"/>
                      </a:lnTo>
                      <a:lnTo>
                        <a:pt x="197" y="156"/>
                      </a:lnTo>
                      <a:lnTo>
                        <a:pt x="196" y="157"/>
                      </a:lnTo>
                      <a:lnTo>
                        <a:pt x="194" y="157"/>
                      </a:lnTo>
                      <a:lnTo>
                        <a:pt x="189" y="155"/>
                      </a:lnTo>
                      <a:lnTo>
                        <a:pt x="184" y="155"/>
                      </a:lnTo>
                      <a:lnTo>
                        <a:pt x="179" y="155"/>
                      </a:lnTo>
                      <a:lnTo>
                        <a:pt x="178" y="157"/>
                      </a:lnTo>
                      <a:lnTo>
                        <a:pt x="177" y="160"/>
                      </a:lnTo>
                      <a:lnTo>
                        <a:pt x="177" y="166"/>
                      </a:lnTo>
                      <a:lnTo>
                        <a:pt x="175" y="168"/>
                      </a:lnTo>
                      <a:lnTo>
                        <a:pt x="175" y="170"/>
                      </a:lnTo>
                      <a:lnTo>
                        <a:pt x="171" y="177"/>
                      </a:lnTo>
                      <a:lnTo>
                        <a:pt x="169" y="186"/>
                      </a:lnTo>
                      <a:lnTo>
                        <a:pt x="166" y="193"/>
                      </a:lnTo>
                      <a:lnTo>
                        <a:pt x="163" y="200"/>
                      </a:lnTo>
                      <a:lnTo>
                        <a:pt x="161" y="203"/>
                      </a:lnTo>
                      <a:lnTo>
                        <a:pt x="159" y="206"/>
                      </a:lnTo>
                      <a:lnTo>
                        <a:pt x="155" y="209"/>
                      </a:lnTo>
                      <a:lnTo>
                        <a:pt x="152" y="213"/>
                      </a:lnTo>
                      <a:lnTo>
                        <a:pt x="150" y="217"/>
                      </a:lnTo>
                      <a:lnTo>
                        <a:pt x="151" y="220"/>
                      </a:lnTo>
                      <a:lnTo>
                        <a:pt x="151" y="222"/>
                      </a:lnTo>
                      <a:lnTo>
                        <a:pt x="152" y="224"/>
                      </a:lnTo>
                      <a:lnTo>
                        <a:pt x="156" y="224"/>
                      </a:lnTo>
                      <a:lnTo>
                        <a:pt x="160" y="224"/>
                      </a:lnTo>
                      <a:lnTo>
                        <a:pt x="164" y="224"/>
                      </a:lnTo>
                      <a:lnTo>
                        <a:pt x="165" y="224"/>
                      </a:lnTo>
                      <a:lnTo>
                        <a:pt x="166" y="225"/>
                      </a:lnTo>
                      <a:lnTo>
                        <a:pt x="166" y="232"/>
                      </a:lnTo>
                      <a:lnTo>
                        <a:pt x="168" y="240"/>
                      </a:lnTo>
                      <a:lnTo>
                        <a:pt x="170" y="247"/>
                      </a:lnTo>
                      <a:lnTo>
                        <a:pt x="171" y="251"/>
                      </a:lnTo>
                      <a:lnTo>
                        <a:pt x="171" y="256"/>
                      </a:lnTo>
                      <a:lnTo>
                        <a:pt x="170" y="258"/>
                      </a:lnTo>
                      <a:lnTo>
                        <a:pt x="168" y="259"/>
                      </a:lnTo>
                      <a:lnTo>
                        <a:pt x="165" y="262"/>
                      </a:lnTo>
                      <a:lnTo>
                        <a:pt x="161" y="264"/>
                      </a:lnTo>
                      <a:lnTo>
                        <a:pt x="157" y="268"/>
                      </a:lnTo>
                      <a:lnTo>
                        <a:pt x="154" y="271"/>
                      </a:lnTo>
                      <a:lnTo>
                        <a:pt x="145" y="278"/>
                      </a:lnTo>
                      <a:lnTo>
                        <a:pt x="142" y="281"/>
                      </a:lnTo>
                      <a:lnTo>
                        <a:pt x="140" y="282"/>
                      </a:lnTo>
                      <a:lnTo>
                        <a:pt x="133" y="284"/>
                      </a:lnTo>
                      <a:lnTo>
                        <a:pt x="127" y="286"/>
                      </a:lnTo>
                      <a:lnTo>
                        <a:pt x="124" y="288"/>
                      </a:lnTo>
                      <a:lnTo>
                        <a:pt x="123" y="290"/>
                      </a:lnTo>
                      <a:lnTo>
                        <a:pt x="118" y="298"/>
                      </a:lnTo>
                      <a:lnTo>
                        <a:pt x="112" y="304"/>
                      </a:lnTo>
                      <a:lnTo>
                        <a:pt x="104" y="309"/>
                      </a:lnTo>
                      <a:lnTo>
                        <a:pt x="94" y="313"/>
                      </a:lnTo>
                      <a:lnTo>
                        <a:pt x="91" y="314"/>
                      </a:lnTo>
                      <a:lnTo>
                        <a:pt x="88" y="316"/>
                      </a:lnTo>
                      <a:lnTo>
                        <a:pt x="85" y="317"/>
                      </a:lnTo>
                      <a:lnTo>
                        <a:pt x="81" y="317"/>
                      </a:lnTo>
                      <a:lnTo>
                        <a:pt x="70" y="317"/>
                      </a:lnTo>
                      <a:lnTo>
                        <a:pt x="65" y="317"/>
                      </a:lnTo>
                      <a:lnTo>
                        <a:pt x="58" y="318"/>
                      </a:lnTo>
                      <a:lnTo>
                        <a:pt x="51" y="323"/>
                      </a:lnTo>
                      <a:lnTo>
                        <a:pt x="42" y="328"/>
                      </a:lnTo>
                      <a:lnTo>
                        <a:pt x="38" y="32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49" name="Freeform 708"/>
                <p:cNvSpPr>
                  <a:spLocks/>
                </p:cNvSpPr>
                <p:nvPr/>
              </p:nvSpPr>
              <p:spPr bwMode="auto">
                <a:xfrm>
                  <a:off x="4841662" y="4554727"/>
                  <a:ext cx="45876" cy="36997"/>
                </a:xfrm>
                <a:custGeom>
                  <a:avLst/>
                  <a:gdLst>
                    <a:gd name="T0" fmla="*/ 2147483647 w 33"/>
                    <a:gd name="T1" fmla="*/ 0 h 25"/>
                    <a:gd name="T2" fmla="*/ 2147483647 w 33"/>
                    <a:gd name="T3" fmla="*/ 2147483647 h 25"/>
                    <a:gd name="T4" fmla="*/ 2147483647 w 33"/>
                    <a:gd name="T5" fmla="*/ 2147483647 h 25"/>
                    <a:gd name="T6" fmla="*/ 2147483647 w 33"/>
                    <a:gd name="T7" fmla="*/ 2147483647 h 25"/>
                    <a:gd name="T8" fmla="*/ 2147483647 w 33"/>
                    <a:gd name="T9" fmla="*/ 2147483647 h 25"/>
                    <a:gd name="T10" fmla="*/ 0 w 33"/>
                    <a:gd name="T11" fmla="*/ 2147483647 h 25"/>
                    <a:gd name="T12" fmla="*/ 0 w 33"/>
                    <a:gd name="T13" fmla="*/ 2147483647 h 25"/>
                    <a:gd name="T14" fmla="*/ 0 w 33"/>
                    <a:gd name="T15" fmla="*/ 2147483647 h 25"/>
                    <a:gd name="T16" fmla="*/ 2147483647 w 33"/>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 y="0"/>
                      </a:moveTo>
                      <a:lnTo>
                        <a:pt x="33" y="2"/>
                      </a:lnTo>
                      <a:lnTo>
                        <a:pt x="32" y="14"/>
                      </a:lnTo>
                      <a:lnTo>
                        <a:pt x="31" y="25"/>
                      </a:lnTo>
                      <a:lnTo>
                        <a:pt x="1" y="24"/>
                      </a:lnTo>
                      <a:lnTo>
                        <a:pt x="0" y="22"/>
                      </a:lnTo>
                      <a:lnTo>
                        <a:pt x="0" y="16"/>
                      </a:lnTo>
                      <a:lnTo>
                        <a:pt x="0" y="11"/>
                      </a:lnTo>
                      <a:lnTo>
                        <a:pt x="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0" name="Freeform 709"/>
                <p:cNvSpPr>
                  <a:spLocks/>
                </p:cNvSpPr>
                <p:nvPr/>
              </p:nvSpPr>
              <p:spPr bwMode="auto">
                <a:xfrm>
                  <a:off x="4917135" y="3934662"/>
                  <a:ext cx="276737" cy="488358"/>
                </a:xfrm>
                <a:custGeom>
                  <a:avLst/>
                  <a:gdLst>
                    <a:gd name="T0" fmla="*/ 2147483647 w 203"/>
                    <a:gd name="T1" fmla="*/ 2147483647 h 330"/>
                    <a:gd name="T2" fmla="*/ 2147483647 w 203"/>
                    <a:gd name="T3" fmla="*/ 2147483647 h 330"/>
                    <a:gd name="T4" fmla="*/ 2147483647 w 203"/>
                    <a:gd name="T5" fmla="*/ 2147483647 h 330"/>
                    <a:gd name="T6" fmla="*/ 2147483647 w 203"/>
                    <a:gd name="T7" fmla="*/ 2147483647 h 330"/>
                    <a:gd name="T8" fmla="*/ 2147483647 w 203"/>
                    <a:gd name="T9" fmla="*/ 2147483647 h 330"/>
                    <a:gd name="T10" fmla="*/ 2147483647 w 203"/>
                    <a:gd name="T11" fmla="*/ 2147483647 h 330"/>
                    <a:gd name="T12" fmla="*/ 2147483647 w 203"/>
                    <a:gd name="T13" fmla="*/ 2147483647 h 330"/>
                    <a:gd name="T14" fmla="*/ 2147483647 w 203"/>
                    <a:gd name="T15" fmla="*/ 2147483647 h 330"/>
                    <a:gd name="T16" fmla="*/ 2147483647 w 203"/>
                    <a:gd name="T17" fmla="*/ 2147483647 h 330"/>
                    <a:gd name="T18" fmla="*/ 2147483647 w 203"/>
                    <a:gd name="T19" fmla="*/ 2147483647 h 330"/>
                    <a:gd name="T20" fmla="*/ 2147483647 w 203"/>
                    <a:gd name="T21" fmla="*/ 2147483647 h 330"/>
                    <a:gd name="T22" fmla="*/ 2147483647 w 203"/>
                    <a:gd name="T23" fmla="*/ 2147483647 h 330"/>
                    <a:gd name="T24" fmla="*/ 2147483647 w 203"/>
                    <a:gd name="T25" fmla="*/ 2147483647 h 330"/>
                    <a:gd name="T26" fmla="*/ 2147483647 w 203"/>
                    <a:gd name="T27" fmla="*/ 2147483647 h 330"/>
                    <a:gd name="T28" fmla="*/ 2147483647 w 203"/>
                    <a:gd name="T29" fmla="*/ 2147483647 h 330"/>
                    <a:gd name="T30" fmla="*/ 2147483647 w 203"/>
                    <a:gd name="T31" fmla="*/ 2147483647 h 330"/>
                    <a:gd name="T32" fmla="*/ 0 w 203"/>
                    <a:gd name="T33" fmla="*/ 2147483647 h 330"/>
                    <a:gd name="T34" fmla="*/ 2147483647 w 203"/>
                    <a:gd name="T35" fmla="*/ 2147483647 h 330"/>
                    <a:gd name="T36" fmla="*/ 2147483647 w 203"/>
                    <a:gd name="T37" fmla="*/ 2147483647 h 330"/>
                    <a:gd name="T38" fmla="*/ 2147483647 w 203"/>
                    <a:gd name="T39" fmla="*/ 2147483647 h 330"/>
                    <a:gd name="T40" fmla="*/ 2147483647 w 203"/>
                    <a:gd name="T41" fmla="*/ 2147483647 h 330"/>
                    <a:gd name="T42" fmla="*/ 2147483647 w 203"/>
                    <a:gd name="T43" fmla="*/ 2147483647 h 330"/>
                    <a:gd name="T44" fmla="*/ 2147483647 w 203"/>
                    <a:gd name="T45" fmla="*/ 2147483647 h 330"/>
                    <a:gd name="T46" fmla="*/ 2147483647 w 203"/>
                    <a:gd name="T47" fmla="*/ 2147483647 h 330"/>
                    <a:gd name="T48" fmla="*/ 2147483647 w 203"/>
                    <a:gd name="T49" fmla="*/ 2147483647 h 330"/>
                    <a:gd name="T50" fmla="*/ 2147483647 w 203"/>
                    <a:gd name="T51" fmla="*/ 2147483647 h 330"/>
                    <a:gd name="T52" fmla="*/ 2147483647 w 203"/>
                    <a:gd name="T53" fmla="*/ 2147483647 h 330"/>
                    <a:gd name="T54" fmla="*/ 2147483647 w 203"/>
                    <a:gd name="T55" fmla="*/ 2147483647 h 330"/>
                    <a:gd name="T56" fmla="*/ 2147483647 w 203"/>
                    <a:gd name="T57" fmla="*/ 2147483647 h 330"/>
                    <a:gd name="T58" fmla="*/ 2147483647 w 203"/>
                    <a:gd name="T59" fmla="*/ 2147483647 h 330"/>
                    <a:gd name="T60" fmla="*/ 2147483647 w 203"/>
                    <a:gd name="T61" fmla="*/ 2147483647 h 330"/>
                    <a:gd name="T62" fmla="*/ 2147483647 w 203"/>
                    <a:gd name="T63" fmla="*/ 0 h 330"/>
                    <a:gd name="T64" fmla="*/ 2147483647 w 203"/>
                    <a:gd name="T65" fmla="*/ 2147483647 h 330"/>
                    <a:gd name="T66" fmla="*/ 2147483647 w 203"/>
                    <a:gd name="T67" fmla="*/ 2147483647 h 330"/>
                    <a:gd name="T68" fmla="*/ 2147483647 w 203"/>
                    <a:gd name="T69" fmla="*/ 2147483647 h 330"/>
                    <a:gd name="T70" fmla="*/ 2147483647 w 203"/>
                    <a:gd name="T71" fmla="*/ 2147483647 h 330"/>
                    <a:gd name="T72" fmla="*/ 2147483647 w 203"/>
                    <a:gd name="T73" fmla="*/ 2147483647 h 330"/>
                    <a:gd name="T74" fmla="*/ 2147483647 w 203"/>
                    <a:gd name="T75" fmla="*/ 2147483647 h 330"/>
                    <a:gd name="T76" fmla="*/ 2147483647 w 203"/>
                    <a:gd name="T77" fmla="*/ 2147483647 h 330"/>
                    <a:gd name="T78" fmla="*/ 2147483647 w 203"/>
                    <a:gd name="T79" fmla="*/ 2147483647 h 330"/>
                    <a:gd name="T80" fmla="*/ 2147483647 w 203"/>
                    <a:gd name="T81" fmla="*/ 2147483647 h 330"/>
                    <a:gd name="T82" fmla="*/ 2147483647 w 203"/>
                    <a:gd name="T83" fmla="*/ 2147483647 h 330"/>
                    <a:gd name="T84" fmla="*/ 2147483647 w 203"/>
                    <a:gd name="T85" fmla="*/ 2147483647 h 330"/>
                    <a:gd name="T86" fmla="*/ 2147483647 w 203"/>
                    <a:gd name="T87" fmla="*/ 2147483647 h 330"/>
                    <a:gd name="T88" fmla="*/ 2147483647 w 203"/>
                    <a:gd name="T89" fmla="*/ 2147483647 h 330"/>
                    <a:gd name="T90" fmla="*/ 2147483647 w 203"/>
                    <a:gd name="T91" fmla="*/ 2147483647 h 330"/>
                    <a:gd name="T92" fmla="*/ 2147483647 w 203"/>
                    <a:gd name="T93" fmla="*/ 2147483647 h 330"/>
                    <a:gd name="T94" fmla="*/ 2147483647 w 203"/>
                    <a:gd name="T95" fmla="*/ 2147483647 h 330"/>
                    <a:gd name="T96" fmla="*/ 2147483647 w 203"/>
                    <a:gd name="T97" fmla="*/ 2147483647 h 330"/>
                    <a:gd name="T98" fmla="*/ 2147483647 w 203"/>
                    <a:gd name="T99" fmla="*/ 2147483647 h 330"/>
                    <a:gd name="T100" fmla="*/ 2147483647 w 203"/>
                    <a:gd name="T101" fmla="*/ 2147483647 h 330"/>
                    <a:gd name="T102" fmla="*/ 2147483647 w 203"/>
                    <a:gd name="T103" fmla="*/ 2147483647 h 330"/>
                    <a:gd name="T104" fmla="*/ 2147483647 w 203"/>
                    <a:gd name="T105" fmla="*/ 2147483647 h 330"/>
                    <a:gd name="T106" fmla="*/ 2147483647 w 203"/>
                    <a:gd name="T107" fmla="*/ 2147483647 h 330"/>
                    <a:gd name="T108" fmla="*/ 2147483647 w 203"/>
                    <a:gd name="T109" fmla="*/ 2147483647 h 330"/>
                    <a:gd name="T110" fmla="*/ 2147483647 w 203"/>
                    <a:gd name="T111" fmla="*/ 2147483647 h 330"/>
                    <a:gd name="T112" fmla="*/ 2147483647 w 203"/>
                    <a:gd name="T113" fmla="*/ 2147483647 h 330"/>
                    <a:gd name="T114" fmla="*/ 2147483647 w 203"/>
                    <a:gd name="T115" fmla="*/ 2147483647 h 330"/>
                    <a:gd name="T116" fmla="*/ 2147483647 w 203"/>
                    <a:gd name="T117" fmla="*/ 2147483647 h 3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3"/>
                    <a:gd name="T178" fmla="*/ 0 h 330"/>
                    <a:gd name="T179" fmla="*/ 203 w 203"/>
                    <a:gd name="T180" fmla="*/ 330 h 3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3" h="330">
                      <a:moveTo>
                        <a:pt x="38" y="330"/>
                      </a:moveTo>
                      <a:lnTo>
                        <a:pt x="38" y="330"/>
                      </a:lnTo>
                      <a:lnTo>
                        <a:pt x="38" y="317"/>
                      </a:lnTo>
                      <a:lnTo>
                        <a:pt x="38" y="310"/>
                      </a:lnTo>
                      <a:lnTo>
                        <a:pt x="37" y="304"/>
                      </a:lnTo>
                      <a:lnTo>
                        <a:pt x="37" y="302"/>
                      </a:lnTo>
                      <a:lnTo>
                        <a:pt x="34" y="299"/>
                      </a:lnTo>
                      <a:lnTo>
                        <a:pt x="30" y="294"/>
                      </a:lnTo>
                      <a:lnTo>
                        <a:pt x="26" y="291"/>
                      </a:lnTo>
                      <a:lnTo>
                        <a:pt x="24" y="288"/>
                      </a:lnTo>
                      <a:lnTo>
                        <a:pt x="24" y="286"/>
                      </a:lnTo>
                      <a:lnTo>
                        <a:pt x="24" y="283"/>
                      </a:lnTo>
                      <a:lnTo>
                        <a:pt x="25" y="280"/>
                      </a:lnTo>
                      <a:lnTo>
                        <a:pt x="28" y="280"/>
                      </a:lnTo>
                      <a:lnTo>
                        <a:pt x="32" y="279"/>
                      </a:lnTo>
                      <a:lnTo>
                        <a:pt x="39" y="280"/>
                      </a:lnTo>
                      <a:lnTo>
                        <a:pt x="43" y="279"/>
                      </a:lnTo>
                      <a:lnTo>
                        <a:pt x="47" y="278"/>
                      </a:lnTo>
                      <a:lnTo>
                        <a:pt x="48" y="277"/>
                      </a:lnTo>
                      <a:lnTo>
                        <a:pt x="48" y="275"/>
                      </a:lnTo>
                      <a:lnTo>
                        <a:pt x="47" y="273"/>
                      </a:lnTo>
                      <a:lnTo>
                        <a:pt x="43" y="267"/>
                      </a:lnTo>
                      <a:lnTo>
                        <a:pt x="42" y="264"/>
                      </a:lnTo>
                      <a:lnTo>
                        <a:pt x="42" y="261"/>
                      </a:lnTo>
                      <a:lnTo>
                        <a:pt x="42" y="247"/>
                      </a:lnTo>
                      <a:lnTo>
                        <a:pt x="40" y="241"/>
                      </a:lnTo>
                      <a:lnTo>
                        <a:pt x="38" y="235"/>
                      </a:lnTo>
                      <a:lnTo>
                        <a:pt x="35" y="229"/>
                      </a:lnTo>
                      <a:lnTo>
                        <a:pt x="32" y="224"/>
                      </a:lnTo>
                      <a:lnTo>
                        <a:pt x="26" y="220"/>
                      </a:lnTo>
                      <a:lnTo>
                        <a:pt x="20" y="216"/>
                      </a:lnTo>
                      <a:lnTo>
                        <a:pt x="16" y="215"/>
                      </a:lnTo>
                      <a:lnTo>
                        <a:pt x="16" y="214"/>
                      </a:lnTo>
                      <a:lnTo>
                        <a:pt x="16" y="213"/>
                      </a:lnTo>
                      <a:lnTo>
                        <a:pt x="18" y="209"/>
                      </a:lnTo>
                      <a:lnTo>
                        <a:pt x="18" y="205"/>
                      </a:lnTo>
                      <a:lnTo>
                        <a:pt x="15" y="203"/>
                      </a:lnTo>
                      <a:lnTo>
                        <a:pt x="12" y="201"/>
                      </a:lnTo>
                      <a:lnTo>
                        <a:pt x="9" y="201"/>
                      </a:lnTo>
                      <a:lnTo>
                        <a:pt x="5" y="201"/>
                      </a:lnTo>
                      <a:lnTo>
                        <a:pt x="1" y="197"/>
                      </a:lnTo>
                      <a:lnTo>
                        <a:pt x="0" y="194"/>
                      </a:lnTo>
                      <a:lnTo>
                        <a:pt x="1" y="191"/>
                      </a:lnTo>
                      <a:lnTo>
                        <a:pt x="4" y="189"/>
                      </a:lnTo>
                      <a:lnTo>
                        <a:pt x="10" y="185"/>
                      </a:lnTo>
                      <a:lnTo>
                        <a:pt x="12" y="183"/>
                      </a:lnTo>
                      <a:lnTo>
                        <a:pt x="12" y="181"/>
                      </a:lnTo>
                      <a:lnTo>
                        <a:pt x="14" y="177"/>
                      </a:lnTo>
                      <a:lnTo>
                        <a:pt x="15" y="175"/>
                      </a:lnTo>
                      <a:lnTo>
                        <a:pt x="23" y="170"/>
                      </a:lnTo>
                      <a:lnTo>
                        <a:pt x="29" y="164"/>
                      </a:lnTo>
                      <a:lnTo>
                        <a:pt x="34" y="158"/>
                      </a:lnTo>
                      <a:lnTo>
                        <a:pt x="39" y="152"/>
                      </a:lnTo>
                      <a:lnTo>
                        <a:pt x="42" y="145"/>
                      </a:lnTo>
                      <a:lnTo>
                        <a:pt x="43" y="137"/>
                      </a:lnTo>
                      <a:lnTo>
                        <a:pt x="43" y="128"/>
                      </a:lnTo>
                      <a:lnTo>
                        <a:pt x="42" y="120"/>
                      </a:lnTo>
                      <a:lnTo>
                        <a:pt x="40" y="113"/>
                      </a:lnTo>
                      <a:lnTo>
                        <a:pt x="39" y="106"/>
                      </a:lnTo>
                      <a:lnTo>
                        <a:pt x="39" y="99"/>
                      </a:lnTo>
                      <a:lnTo>
                        <a:pt x="40" y="92"/>
                      </a:lnTo>
                      <a:lnTo>
                        <a:pt x="45" y="77"/>
                      </a:lnTo>
                      <a:lnTo>
                        <a:pt x="52" y="64"/>
                      </a:lnTo>
                      <a:lnTo>
                        <a:pt x="51" y="64"/>
                      </a:lnTo>
                      <a:lnTo>
                        <a:pt x="49" y="62"/>
                      </a:lnTo>
                      <a:lnTo>
                        <a:pt x="48" y="60"/>
                      </a:lnTo>
                      <a:lnTo>
                        <a:pt x="45" y="54"/>
                      </a:lnTo>
                      <a:lnTo>
                        <a:pt x="42" y="48"/>
                      </a:lnTo>
                      <a:lnTo>
                        <a:pt x="38" y="43"/>
                      </a:lnTo>
                      <a:lnTo>
                        <a:pt x="35" y="37"/>
                      </a:lnTo>
                      <a:lnTo>
                        <a:pt x="34" y="34"/>
                      </a:lnTo>
                      <a:lnTo>
                        <a:pt x="35" y="30"/>
                      </a:lnTo>
                      <a:lnTo>
                        <a:pt x="38" y="22"/>
                      </a:lnTo>
                      <a:lnTo>
                        <a:pt x="38" y="19"/>
                      </a:lnTo>
                      <a:lnTo>
                        <a:pt x="37" y="17"/>
                      </a:lnTo>
                      <a:lnTo>
                        <a:pt x="34" y="13"/>
                      </a:lnTo>
                      <a:lnTo>
                        <a:pt x="42" y="8"/>
                      </a:lnTo>
                      <a:lnTo>
                        <a:pt x="48" y="0"/>
                      </a:lnTo>
                      <a:lnTo>
                        <a:pt x="203" y="83"/>
                      </a:lnTo>
                      <a:lnTo>
                        <a:pt x="202" y="146"/>
                      </a:lnTo>
                      <a:lnTo>
                        <a:pt x="199" y="155"/>
                      </a:lnTo>
                      <a:lnTo>
                        <a:pt x="197" y="157"/>
                      </a:lnTo>
                      <a:lnTo>
                        <a:pt x="195" y="158"/>
                      </a:lnTo>
                      <a:lnTo>
                        <a:pt x="194" y="158"/>
                      </a:lnTo>
                      <a:lnTo>
                        <a:pt x="189" y="156"/>
                      </a:lnTo>
                      <a:lnTo>
                        <a:pt x="184" y="156"/>
                      </a:lnTo>
                      <a:lnTo>
                        <a:pt x="179" y="156"/>
                      </a:lnTo>
                      <a:lnTo>
                        <a:pt x="178" y="158"/>
                      </a:lnTo>
                      <a:lnTo>
                        <a:pt x="176" y="160"/>
                      </a:lnTo>
                      <a:lnTo>
                        <a:pt x="176" y="166"/>
                      </a:lnTo>
                      <a:lnTo>
                        <a:pt x="175" y="169"/>
                      </a:lnTo>
                      <a:lnTo>
                        <a:pt x="175" y="171"/>
                      </a:lnTo>
                      <a:lnTo>
                        <a:pt x="171" y="178"/>
                      </a:lnTo>
                      <a:lnTo>
                        <a:pt x="169" y="187"/>
                      </a:lnTo>
                      <a:lnTo>
                        <a:pt x="166" y="194"/>
                      </a:lnTo>
                      <a:lnTo>
                        <a:pt x="162" y="201"/>
                      </a:lnTo>
                      <a:lnTo>
                        <a:pt x="161" y="204"/>
                      </a:lnTo>
                      <a:lnTo>
                        <a:pt x="158" y="207"/>
                      </a:lnTo>
                      <a:lnTo>
                        <a:pt x="155" y="210"/>
                      </a:lnTo>
                      <a:lnTo>
                        <a:pt x="152" y="214"/>
                      </a:lnTo>
                      <a:lnTo>
                        <a:pt x="150" y="217"/>
                      </a:lnTo>
                      <a:lnTo>
                        <a:pt x="151" y="221"/>
                      </a:lnTo>
                      <a:lnTo>
                        <a:pt x="151" y="223"/>
                      </a:lnTo>
                      <a:lnTo>
                        <a:pt x="152" y="224"/>
                      </a:lnTo>
                      <a:lnTo>
                        <a:pt x="156" y="224"/>
                      </a:lnTo>
                      <a:lnTo>
                        <a:pt x="160" y="224"/>
                      </a:lnTo>
                      <a:lnTo>
                        <a:pt x="164" y="224"/>
                      </a:lnTo>
                      <a:lnTo>
                        <a:pt x="165" y="224"/>
                      </a:lnTo>
                      <a:lnTo>
                        <a:pt x="166" y="226"/>
                      </a:lnTo>
                      <a:lnTo>
                        <a:pt x="166" y="233"/>
                      </a:lnTo>
                      <a:lnTo>
                        <a:pt x="167" y="241"/>
                      </a:lnTo>
                      <a:lnTo>
                        <a:pt x="170" y="248"/>
                      </a:lnTo>
                      <a:lnTo>
                        <a:pt x="171" y="252"/>
                      </a:lnTo>
                      <a:lnTo>
                        <a:pt x="171" y="256"/>
                      </a:lnTo>
                      <a:lnTo>
                        <a:pt x="170" y="259"/>
                      </a:lnTo>
                      <a:lnTo>
                        <a:pt x="167" y="260"/>
                      </a:lnTo>
                      <a:lnTo>
                        <a:pt x="165" y="262"/>
                      </a:lnTo>
                      <a:lnTo>
                        <a:pt x="161" y="265"/>
                      </a:lnTo>
                      <a:lnTo>
                        <a:pt x="157" y="268"/>
                      </a:lnTo>
                      <a:lnTo>
                        <a:pt x="153" y="272"/>
                      </a:lnTo>
                      <a:lnTo>
                        <a:pt x="145" y="279"/>
                      </a:lnTo>
                      <a:lnTo>
                        <a:pt x="142" y="281"/>
                      </a:lnTo>
                      <a:lnTo>
                        <a:pt x="139" y="283"/>
                      </a:lnTo>
                      <a:lnTo>
                        <a:pt x="133" y="285"/>
                      </a:lnTo>
                      <a:lnTo>
                        <a:pt x="127" y="287"/>
                      </a:lnTo>
                      <a:lnTo>
                        <a:pt x="124" y="288"/>
                      </a:lnTo>
                      <a:lnTo>
                        <a:pt x="123" y="291"/>
                      </a:lnTo>
                      <a:lnTo>
                        <a:pt x="118" y="299"/>
                      </a:lnTo>
                      <a:lnTo>
                        <a:pt x="112" y="305"/>
                      </a:lnTo>
                      <a:lnTo>
                        <a:pt x="104" y="310"/>
                      </a:lnTo>
                      <a:lnTo>
                        <a:pt x="94" y="313"/>
                      </a:lnTo>
                      <a:lnTo>
                        <a:pt x="91" y="315"/>
                      </a:lnTo>
                      <a:lnTo>
                        <a:pt x="87" y="317"/>
                      </a:lnTo>
                      <a:lnTo>
                        <a:pt x="85" y="318"/>
                      </a:lnTo>
                      <a:lnTo>
                        <a:pt x="81" y="318"/>
                      </a:lnTo>
                      <a:lnTo>
                        <a:pt x="70" y="318"/>
                      </a:lnTo>
                      <a:lnTo>
                        <a:pt x="65" y="318"/>
                      </a:lnTo>
                      <a:lnTo>
                        <a:pt x="58" y="319"/>
                      </a:lnTo>
                      <a:lnTo>
                        <a:pt x="51" y="324"/>
                      </a:lnTo>
                      <a:lnTo>
                        <a:pt x="42" y="329"/>
                      </a:lnTo>
                      <a:lnTo>
                        <a:pt x="38" y="33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1" name="Freeform 710"/>
                <p:cNvSpPr>
                  <a:spLocks/>
                </p:cNvSpPr>
                <p:nvPr/>
              </p:nvSpPr>
              <p:spPr bwMode="auto">
                <a:xfrm>
                  <a:off x="4840182" y="4553251"/>
                  <a:ext cx="45877" cy="36996"/>
                </a:xfrm>
                <a:custGeom>
                  <a:avLst/>
                  <a:gdLst>
                    <a:gd name="T0" fmla="*/ 2147483647 w 33"/>
                    <a:gd name="T1" fmla="*/ 0 h 25"/>
                    <a:gd name="T2" fmla="*/ 2147483647 w 33"/>
                    <a:gd name="T3" fmla="*/ 0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0 w 33"/>
                    <a:gd name="T19" fmla="*/ 2147483647 h 25"/>
                    <a:gd name="T20" fmla="*/ 0 w 33"/>
                    <a:gd name="T21" fmla="*/ 2147483647 h 25"/>
                    <a:gd name="T22" fmla="*/ 0 w 33"/>
                    <a:gd name="T23" fmla="*/ 2147483647 h 25"/>
                    <a:gd name="T24" fmla="*/ 0 w 33"/>
                    <a:gd name="T25" fmla="*/ 2147483647 h 25"/>
                    <a:gd name="T26" fmla="*/ 2147483647 w 33"/>
                    <a:gd name="T27" fmla="*/ 0 h 25"/>
                    <a:gd name="T28" fmla="*/ 2147483647 w 33"/>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25"/>
                    <a:gd name="T47" fmla="*/ 33 w 33"/>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25">
                      <a:moveTo>
                        <a:pt x="2" y="0"/>
                      </a:moveTo>
                      <a:lnTo>
                        <a:pt x="2" y="0"/>
                      </a:lnTo>
                      <a:lnTo>
                        <a:pt x="33" y="2"/>
                      </a:lnTo>
                      <a:lnTo>
                        <a:pt x="32" y="14"/>
                      </a:lnTo>
                      <a:lnTo>
                        <a:pt x="30" y="25"/>
                      </a:lnTo>
                      <a:lnTo>
                        <a:pt x="1" y="23"/>
                      </a:lnTo>
                      <a:lnTo>
                        <a:pt x="0" y="22"/>
                      </a:lnTo>
                      <a:lnTo>
                        <a:pt x="0" y="16"/>
                      </a:lnTo>
                      <a:lnTo>
                        <a:pt x="0" y="10"/>
                      </a:lnTo>
                      <a:lnTo>
                        <a:pt x="2"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2" name="Freeform 711"/>
                <p:cNvSpPr>
                  <a:spLocks/>
                </p:cNvSpPr>
                <p:nvPr/>
              </p:nvSpPr>
              <p:spPr bwMode="auto">
                <a:xfrm>
                  <a:off x="4823903" y="4557689"/>
                  <a:ext cx="143547" cy="177585"/>
                </a:xfrm>
                <a:custGeom>
                  <a:avLst/>
                  <a:gdLst>
                    <a:gd name="T0" fmla="*/ 2147483647 w 105"/>
                    <a:gd name="T1" fmla="*/ 2147483647 h 120"/>
                    <a:gd name="T2" fmla="*/ 2147483647 w 105"/>
                    <a:gd name="T3" fmla="*/ 0 h 120"/>
                    <a:gd name="T4" fmla="*/ 2147483647 w 105"/>
                    <a:gd name="T5" fmla="*/ 0 h 120"/>
                    <a:gd name="T6" fmla="*/ 2147483647 w 105"/>
                    <a:gd name="T7" fmla="*/ 2147483647 h 120"/>
                    <a:gd name="T8" fmla="*/ 2147483647 w 105"/>
                    <a:gd name="T9" fmla="*/ 2147483647 h 120"/>
                    <a:gd name="T10" fmla="*/ 2147483647 w 105"/>
                    <a:gd name="T11" fmla="*/ 2147483647 h 120"/>
                    <a:gd name="T12" fmla="*/ 2147483647 w 105"/>
                    <a:gd name="T13" fmla="*/ 2147483647 h 120"/>
                    <a:gd name="T14" fmla="*/ 2147483647 w 105"/>
                    <a:gd name="T15" fmla="*/ 2147483647 h 120"/>
                    <a:gd name="T16" fmla="*/ 2147483647 w 105"/>
                    <a:gd name="T17" fmla="*/ 2147483647 h 120"/>
                    <a:gd name="T18" fmla="*/ 2147483647 w 105"/>
                    <a:gd name="T19" fmla="*/ 2147483647 h 120"/>
                    <a:gd name="T20" fmla="*/ 2147483647 w 105"/>
                    <a:gd name="T21" fmla="*/ 2147483647 h 120"/>
                    <a:gd name="T22" fmla="*/ 2147483647 w 105"/>
                    <a:gd name="T23" fmla="*/ 2147483647 h 120"/>
                    <a:gd name="T24" fmla="*/ 2147483647 w 105"/>
                    <a:gd name="T25" fmla="*/ 2147483647 h 120"/>
                    <a:gd name="T26" fmla="*/ 2147483647 w 105"/>
                    <a:gd name="T27" fmla="*/ 2147483647 h 120"/>
                    <a:gd name="T28" fmla="*/ 2147483647 w 105"/>
                    <a:gd name="T29" fmla="*/ 2147483647 h 120"/>
                    <a:gd name="T30" fmla="*/ 2147483647 w 105"/>
                    <a:gd name="T31" fmla="*/ 2147483647 h 120"/>
                    <a:gd name="T32" fmla="*/ 2147483647 w 105"/>
                    <a:gd name="T33" fmla="*/ 2147483647 h 120"/>
                    <a:gd name="T34" fmla="*/ 2147483647 w 105"/>
                    <a:gd name="T35" fmla="*/ 2147483647 h 120"/>
                    <a:gd name="T36" fmla="*/ 2147483647 w 105"/>
                    <a:gd name="T37" fmla="*/ 2147483647 h 120"/>
                    <a:gd name="T38" fmla="*/ 2147483647 w 105"/>
                    <a:gd name="T39" fmla="*/ 2147483647 h 120"/>
                    <a:gd name="T40" fmla="*/ 2147483647 w 105"/>
                    <a:gd name="T41" fmla="*/ 2147483647 h 120"/>
                    <a:gd name="T42" fmla="*/ 2147483647 w 105"/>
                    <a:gd name="T43" fmla="*/ 2147483647 h 120"/>
                    <a:gd name="T44" fmla="*/ 2147483647 w 105"/>
                    <a:gd name="T45" fmla="*/ 2147483647 h 120"/>
                    <a:gd name="T46" fmla="*/ 2147483647 w 105"/>
                    <a:gd name="T47" fmla="*/ 2147483647 h 120"/>
                    <a:gd name="T48" fmla="*/ 2147483647 w 105"/>
                    <a:gd name="T49" fmla="*/ 2147483647 h 120"/>
                    <a:gd name="T50" fmla="*/ 2147483647 w 105"/>
                    <a:gd name="T51" fmla="*/ 2147483647 h 120"/>
                    <a:gd name="T52" fmla="*/ 2147483647 w 105"/>
                    <a:gd name="T53" fmla="*/ 2147483647 h 120"/>
                    <a:gd name="T54" fmla="*/ 2147483647 w 105"/>
                    <a:gd name="T55" fmla="*/ 2147483647 h 120"/>
                    <a:gd name="T56" fmla="*/ 2147483647 w 105"/>
                    <a:gd name="T57" fmla="*/ 2147483647 h 120"/>
                    <a:gd name="T58" fmla="*/ 2147483647 w 105"/>
                    <a:gd name="T59" fmla="*/ 2147483647 h 120"/>
                    <a:gd name="T60" fmla="*/ 2147483647 w 105"/>
                    <a:gd name="T61" fmla="*/ 2147483647 h 120"/>
                    <a:gd name="T62" fmla="*/ 2147483647 w 105"/>
                    <a:gd name="T63" fmla="*/ 2147483647 h 120"/>
                    <a:gd name="T64" fmla="*/ 2147483647 w 105"/>
                    <a:gd name="T65" fmla="*/ 2147483647 h 120"/>
                    <a:gd name="T66" fmla="*/ 2147483647 w 105"/>
                    <a:gd name="T67" fmla="*/ 2147483647 h 120"/>
                    <a:gd name="T68" fmla="*/ 2147483647 w 105"/>
                    <a:gd name="T69" fmla="*/ 2147483647 h 120"/>
                    <a:gd name="T70" fmla="*/ 0 w 105"/>
                    <a:gd name="T71" fmla="*/ 2147483647 h 120"/>
                    <a:gd name="T72" fmla="*/ 2147483647 w 105"/>
                    <a:gd name="T73" fmla="*/ 2147483647 h 120"/>
                    <a:gd name="T74" fmla="*/ 2147483647 w 105"/>
                    <a:gd name="T75" fmla="*/ 2147483647 h 120"/>
                    <a:gd name="T76" fmla="*/ 2147483647 w 105"/>
                    <a:gd name="T77" fmla="*/ 2147483647 h 120"/>
                    <a:gd name="T78" fmla="*/ 2147483647 w 105"/>
                    <a:gd name="T79" fmla="*/ 2147483647 h 120"/>
                    <a:gd name="T80" fmla="*/ 2147483647 w 105"/>
                    <a:gd name="T81" fmla="*/ 2147483647 h 120"/>
                    <a:gd name="T82" fmla="*/ 2147483647 w 105"/>
                    <a:gd name="T83" fmla="*/ 2147483647 h 120"/>
                    <a:gd name="T84" fmla="*/ 2147483647 w 105"/>
                    <a:gd name="T85" fmla="*/ 2147483647 h 120"/>
                    <a:gd name="T86" fmla="*/ 2147483647 w 105"/>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5"/>
                    <a:gd name="T133" fmla="*/ 0 h 120"/>
                    <a:gd name="T134" fmla="*/ 105 w 105"/>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5" h="120">
                      <a:moveTo>
                        <a:pt x="14" y="22"/>
                      </a:moveTo>
                      <a:lnTo>
                        <a:pt x="44" y="23"/>
                      </a:lnTo>
                      <a:lnTo>
                        <a:pt x="45" y="12"/>
                      </a:lnTo>
                      <a:lnTo>
                        <a:pt x="46" y="0"/>
                      </a:lnTo>
                      <a:lnTo>
                        <a:pt x="65" y="0"/>
                      </a:lnTo>
                      <a:lnTo>
                        <a:pt x="84" y="0"/>
                      </a:lnTo>
                      <a:lnTo>
                        <a:pt x="82" y="1"/>
                      </a:lnTo>
                      <a:lnTo>
                        <a:pt x="79" y="4"/>
                      </a:lnTo>
                      <a:lnTo>
                        <a:pt x="79" y="9"/>
                      </a:lnTo>
                      <a:lnTo>
                        <a:pt x="79" y="12"/>
                      </a:lnTo>
                      <a:lnTo>
                        <a:pt x="80" y="14"/>
                      </a:lnTo>
                      <a:lnTo>
                        <a:pt x="82" y="17"/>
                      </a:lnTo>
                      <a:lnTo>
                        <a:pt x="84" y="17"/>
                      </a:lnTo>
                      <a:lnTo>
                        <a:pt x="87" y="18"/>
                      </a:lnTo>
                      <a:lnTo>
                        <a:pt x="94" y="17"/>
                      </a:lnTo>
                      <a:lnTo>
                        <a:pt x="101" y="18"/>
                      </a:lnTo>
                      <a:lnTo>
                        <a:pt x="103" y="18"/>
                      </a:lnTo>
                      <a:lnTo>
                        <a:pt x="105" y="20"/>
                      </a:lnTo>
                      <a:lnTo>
                        <a:pt x="105" y="22"/>
                      </a:lnTo>
                      <a:lnTo>
                        <a:pt x="103" y="24"/>
                      </a:lnTo>
                      <a:lnTo>
                        <a:pt x="100" y="28"/>
                      </a:lnTo>
                      <a:lnTo>
                        <a:pt x="87" y="33"/>
                      </a:lnTo>
                      <a:lnTo>
                        <a:pt x="84" y="37"/>
                      </a:lnTo>
                      <a:lnTo>
                        <a:pt x="83" y="41"/>
                      </a:lnTo>
                      <a:lnTo>
                        <a:pt x="84" y="44"/>
                      </a:lnTo>
                      <a:lnTo>
                        <a:pt x="86" y="48"/>
                      </a:lnTo>
                      <a:lnTo>
                        <a:pt x="89" y="55"/>
                      </a:lnTo>
                      <a:lnTo>
                        <a:pt x="91" y="60"/>
                      </a:lnTo>
                      <a:lnTo>
                        <a:pt x="92" y="62"/>
                      </a:lnTo>
                      <a:lnTo>
                        <a:pt x="94" y="64"/>
                      </a:lnTo>
                      <a:lnTo>
                        <a:pt x="94" y="70"/>
                      </a:lnTo>
                      <a:lnTo>
                        <a:pt x="94" y="76"/>
                      </a:lnTo>
                      <a:lnTo>
                        <a:pt x="96" y="79"/>
                      </a:lnTo>
                      <a:lnTo>
                        <a:pt x="97" y="81"/>
                      </a:lnTo>
                      <a:lnTo>
                        <a:pt x="97" y="86"/>
                      </a:lnTo>
                      <a:lnTo>
                        <a:pt x="96" y="89"/>
                      </a:lnTo>
                      <a:lnTo>
                        <a:pt x="94" y="99"/>
                      </a:lnTo>
                      <a:lnTo>
                        <a:pt x="93" y="100"/>
                      </a:lnTo>
                      <a:lnTo>
                        <a:pt x="89" y="101"/>
                      </a:lnTo>
                      <a:lnTo>
                        <a:pt x="84" y="101"/>
                      </a:lnTo>
                      <a:lnTo>
                        <a:pt x="82" y="100"/>
                      </a:lnTo>
                      <a:lnTo>
                        <a:pt x="80" y="97"/>
                      </a:lnTo>
                      <a:lnTo>
                        <a:pt x="80" y="95"/>
                      </a:lnTo>
                      <a:lnTo>
                        <a:pt x="77" y="88"/>
                      </a:lnTo>
                      <a:lnTo>
                        <a:pt x="75" y="86"/>
                      </a:lnTo>
                      <a:lnTo>
                        <a:pt x="73" y="86"/>
                      </a:lnTo>
                      <a:lnTo>
                        <a:pt x="72" y="86"/>
                      </a:lnTo>
                      <a:lnTo>
                        <a:pt x="69" y="89"/>
                      </a:lnTo>
                      <a:lnTo>
                        <a:pt x="66" y="90"/>
                      </a:lnTo>
                      <a:lnTo>
                        <a:pt x="61" y="93"/>
                      </a:lnTo>
                      <a:lnTo>
                        <a:pt x="59" y="96"/>
                      </a:lnTo>
                      <a:lnTo>
                        <a:pt x="58" y="99"/>
                      </a:lnTo>
                      <a:lnTo>
                        <a:pt x="63" y="102"/>
                      </a:lnTo>
                      <a:lnTo>
                        <a:pt x="64" y="103"/>
                      </a:lnTo>
                      <a:lnTo>
                        <a:pt x="63" y="107"/>
                      </a:lnTo>
                      <a:lnTo>
                        <a:pt x="60" y="108"/>
                      </a:lnTo>
                      <a:lnTo>
                        <a:pt x="58" y="109"/>
                      </a:lnTo>
                      <a:lnTo>
                        <a:pt x="56" y="113"/>
                      </a:lnTo>
                      <a:lnTo>
                        <a:pt x="55" y="116"/>
                      </a:lnTo>
                      <a:lnTo>
                        <a:pt x="54" y="118"/>
                      </a:lnTo>
                      <a:lnTo>
                        <a:pt x="51" y="118"/>
                      </a:lnTo>
                      <a:lnTo>
                        <a:pt x="47" y="119"/>
                      </a:lnTo>
                      <a:lnTo>
                        <a:pt x="41" y="119"/>
                      </a:lnTo>
                      <a:lnTo>
                        <a:pt x="36" y="120"/>
                      </a:lnTo>
                      <a:lnTo>
                        <a:pt x="32" y="114"/>
                      </a:lnTo>
                      <a:lnTo>
                        <a:pt x="27" y="109"/>
                      </a:lnTo>
                      <a:lnTo>
                        <a:pt x="17" y="100"/>
                      </a:lnTo>
                      <a:lnTo>
                        <a:pt x="14" y="97"/>
                      </a:lnTo>
                      <a:lnTo>
                        <a:pt x="12" y="94"/>
                      </a:lnTo>
                      <a:lnTo>
                        <a:pt x="7" y="86"/>
                      </a:lnTo>
                      <a:lnTo>
                        <a:pt x="0" y="68"/>
                      </a:lnTo>
                      <a:lnTo>
                        <a:pt x="0" y="64"/>
                      </a:lnTo>
                      <a:lnTo>
                        <a:pt x="2" y="61"/>
                      </a:lnTo>
                      <a:lnTo>
                        <a:pt x="4" y="57"/>
                      </a:lnTo>
                      <a:lnTo>
                        <a:pt x="7" y="54"/>
                      </a:lnTo>
                      <a:lnTo>
                        <a:pt x="7" y="49"/>
                      </a:lnTo>
                      <a:lnTo>
                        <a:pt x="6" y="48"/>
                      </a:lnTo>
                      <a:lnTo>
                        <a:pt x="7" y="45"/>
                      </a:lnTo>
                      <a:lnTo>
                        <a:pt x="8" y="44"/>
                      </a:lnTo>
                      <a:lnTo>
                        <a:pt x="11" y="44"/>
                      </a:lnTo>
                      <a:lnTo>
                        <a:pt x="14" y="44"/>
                      </a:lnTo>
                      <a:lnTo>
                        <a:pt x="17" y="44"/>
                      </a:lnTo>
                      <a:lnTo>
                        <a:pt x="18" y="43"/>
                      </a:lnTo>
                      <a:lnTo>
                        <a:pt x="18" y="41"/>
                      </a:lnTo>
                      <a:lnTo>
                        <a:pt x="17" y="36"/>
                      </a:lnTo>
                      <a:lnTo>
                        <a:pt x="14" y="33"/>
                      </a:lnTo>
                      <a:lnTo>
                        <a:pt x="13" y="30"/>
                      </a:lnTo>
                      <a:lnTo>
                        <a:pt x="14"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3" name="Freeform 712"/>
                <p:cNvSpPr>
                  <a:spLocks/>
                </p:cNvSpPr>
                <p:nvPr/>
              </p:nvSpPr>
              <p:spPr bwMode="auto">
                <a:xfrm>
                  <a:off x="4872738" y="4519212"/>
                  <a:ext cx="179065" cy="244177"/>
                </a:xfrm>
                <a:custGeom>
                  <a:avLst/>
                  <a:gdLst>
                    <a:gd name="T0" fmla="*/ 2147483647 w 131"/>
                    <a:gd name="T1" fmla="*/ 2147483647 h 165"/>
                    <a:gd name="T2" fmla="*/ 2147483647 w 131"/>
                    <a:gd name="T3" fmla="*/ 2147483647 h 165"/>
                    <a:gd name="T4" fmla="*/ 2147483647 w 131"/>
                    <a:gd name="T5" fmla="*/ 2147483647 h 165"/>
                    <a:gd name="T6" fmla="*/ 2147483647 w 131"/>
                    <a:gd name="T7" fmla="*/ 2147483647 h 165"/>
                    <a:gd name="T8" fmla="*/ 2147483647 w 131"/>
                    <a:gd name="T9" fmla="*/ 2147483647 h 165"/>
                    <a:gd name="T10" fmla="*/ 2147483647 w 131"/>
                    <a:gd name="T11" fmla="*/ 2147483647 h 165"/>
                    <a:gd name="T12" fmla="*/ 2147483647 w 131"/>
                    <a:gd name="T13" fmla="*/ 2147483647 h 165"/>
                    <a:gd name="T14" fmla="*/ 2147483647 w 131"/>
                    <a:gd name="T15" fmla="*/ 2147483647 h 165"/>
                    <a:gd name="T16" fmla="*/ 2147483647 w 131"/>
                    <a:gd name="T17" fmla="*/ 2147483647 h 165"/>
                    <a:gd name="T18" fmla="*/ 2147483647 w 131"/>
                    <a:gd name="T19" fmla="*/ 2147483647 h 165"/>
                    <a:gd name="T20" fmla="*/ 2147483647 w 131"/>
                    <a:gd name="T21" fmla="*/ 2147483647 h 165"/>
                    <a:gd name="T22" fmla="*/ 2147483647 w 131"/>
                    <a:gd name="T23" fmla="*/ 2147483647 h 165"/>
                    <a:gd name="T24" fmla="*/ 2147483647 w 131"/>
                    <a:gd name="T25" fmla="*/ 2147483647 h 165"/>
                    <a:gd name="T26" fmla="*/ 2147483647 w 131"/>
                    <a:gd name="T27" fmla="*/ 2147483647 h 165"/>
                    <a:gd name="T28" fmla="*/ 2147483647 w 131"/>
                    <a:gd name="T29" fmla="*/ 2147483647 h 165"/>
                    <a:gd name="T30" fmla="*/ 2147483647 w 131"/>
                    <a:gd name="T31" fmla="*/ 2147483647 h 165"/>
                    <a:gd name="T32" fmla="*/ 2147483647 w 131"/>
                    <a:gd name="T33" fmla="*/ 2147483647 h 165"/>
                    <a:gd name="T34" fmla="*/ 2147483647 w 131"/>
                    <a:gd name="T35" fmla="*/ 2147483647 h 165"/>
                    <a:gd name="T36" fmla="*/ 2147483647 w 131"/>
                    <a:gd name="T37" fmla="*/ 2147483647 h 165"/>
                    <a:gd name="T38" fmla="*/ 2147483647 w 131"/>
                    <a:gd name="T39" fmla="*/ 2147483647 h 165"/>
                    <a:gd name="T40" fmla="*/ 2147483647 w 131"/>
                    <a:gd name="T41" fmla="*/ 2147483647 h 165"/>
                    <a:gd name="T42" fmla="*/ 2147483647 w 131"/>
                    <a:gd name="T43" fmla="*/ 2147483647 h 165"/>
                    <a:gd name="T44" fmla="*/ 2147483647 w 131"/>
                    <a:gd name="T45" fmla="*/ 2147483647 h 165"/>
                    <a:gd name="T46" fmla="*/ 2147483647 w 131"/>
                    <a:gd name="T47" fmla="*/ 2147483647 h 165"/>
                    <a:gd name="T48" fmla="*/ 2147483647 w 131"/>
                    <a:gd name="T49" fmla="*/ 2147483647 h 165"/>
                    <a:gd name="T50" fmla="*/ 2147483647 w 131"/>
                    <a:gd name="T51" fmla="*/ 2147483647 h 165"/>
                    <a:gd name="T52" fmla="*/ 2147483647 w 131"/>
                    <a:gd name="T53" fmla="*/ 2147483647 h 165"/>
                    <a:gd name="T54" fmla="*/ 2147483647 w 131"/>
                    <a:gd name="T55" fmla="*/ 2147483647 h 165"/>
                    <a:gd name="T56" fmla="*/ 2147483647 w 131"/>
                    <a:gd name="T57" fmla="*/ 2147483647 h 165"/>
                    <a:gd name="T58" fmla="*/ 2147483647 w 131"/>
                    <a:gd name="T59" fmla="*/ 2147483647 h 165"/>
                    <a:gd name="T60" fmla="*/ 2147483647 w 131"/>
                    <a:gd name="T61" fmla="*/ 2147483647 h 165"/>
                    <a:gd name="T62" fmla="*/ 2147483647 w 131"/>
                    <a:gd name="T63" fmla="*/ 2147483647 h 165"/>
                    <a:gd name="T64" fmla="*/ 2147483647 w 131"/>
                    <a:gd name="T65" fmla="*/ 2147483647 h 165"/>
                    <a:gd name="T66" fmla="*/ 2147483647 w 131"/>
                    <a:gd name="T67" fmla="*/ 2147483647 h 165"/>
                    <a:gd name="T68" fmla="*/ 2147483647 w 131"/>
                    <a:gd name="T69" fmla="*/ 2147483647 h 165"/>
                    <a:gd name="T70" fmla="*/ 2147483647 w 131"/>
                    <a:gd name="T71" fmla="*/ 2147483647 h 165"/>
                    <a:gd name="T72" fmla="*/ 2147483647 w 131"/>
                    <a:gd name="T73" fmla="*/ 2147483647 h 165"/>
                    <a:gd name="T74" fmla="*/ 2147483647 w 131"/>
                    <a:gd name="T75" fmla="*/ 2147483647 h 165"/>
                    <a:gd name="T76" fmla="*/ 2147483647 w 131"/>
                    <a:gd name="T77" fmla="*/ 2147483647 h 165"/>
                    <a:gd name="T78" fmla="*/ 2147483647 w 131"/>
                    <a:gd name="T79" fmla="*/ 2147483647 h 165"/>
                    <a:gd name="T80" fmla="*/ 2147483647 w 131"/>
                    <a:gd name="T81" fmla="*/ 2147483647 h 165"/>
                    <a:gd name="T82" fmla="*/ 2147483647 w 131"/>
                    <a:gd name="T83" fmla="*/ 2147483647 h 165"/>
                    <a:gd name="T84" fmla="*/ 2147483647 w 131"/>
                    <a:gd name="T85" fmla="*/ 2147483647 h 165"/>
                    <a:gd name="T86" fmla="*/ 2147483647 w 131"/>
                    <a:gd name="T87" fmla="*/ 2147483647 h 1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1"/>
                    <a:gd name="T133" fmla="*/ 0 h 165"/>
                    <a:gd name="T134" fmla="*/ 131 w 131"/>
                    <a:gd name="T135" fmla="*/ 165 h 16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1" h="165">
                      <a:moveTo>
                        <a:pt x="0" y="146"/>
                      </a:moveTo>
                      <a:lnTo>
                        <a:pt x="5" y="145"/>
                      </a:lnTo>
                      <a:lnTo>
                        <a:pt x="11" y="145"/>
                      </a:lnTo>
                      <a:lnTo>
                        <a:pt x="15" y="144"/>
                      </a:lnTo>
                      <a:lnTo>
                        <a:pt x="18" y="144"/>
                      </a:lnTo>
                      <a:lnTo>
                        <a:pt x="19" y="142"/>
                      </a:lnTo>
                      <a:lnTo>
                        <a:pt x="20" y="139"/>
                      </a:lnTo>
                      <a:lnTo>
                        <a:pt x="22" y="135"/>
                      </a:lnTo>
                      <a:lnTo>
                        <a:pt x="24" y="134"/>
                      </a:lnTo>
                      <a:lnTo>
                        <a:pt x="27" y="133"/>
                      </a:lnTo>
                      <a:lnTo>
                        <a:pt x="28" y="129"/>
                      </a:lnTo>
                      <a:lnTo>
                        <a:pt x="27" y="128"/>
                      </a:lnTo>
                      <a:lnTo>
                        <a:pt x="22" y="125"/>
                      </a:lnTo>
                      <a:lnTo>
                        <a:pt x="23" y="122"/>
                      </a:lnTo>
                      <a:lnTo>
                        <a:pt x="25" y="119"/>
                      </a:lnTo>
                      <a:lnTo>
                        <a:pt x="30" y="116"/>
                      </a:lnTo>
                      <a:lnTo>
                        <a:pt x="33" y="115"/>
                      </a:lnTo>
                      <a:lnTo>
                        <a:pt x="36" y="112"/>
                      </a:lnTo>
                      <a:lnTo>
                        <a:pt x="37" y="112"/>
                      </a:lnTo>
                      <a:lnTo>
                        <a:pt x="39" y="112"/>
                      </a:lnTo>
                      <a:lnTo>
                        <a:pt x="41" y="114"/>
                      </a:lnTo>
                      <a:lnTo>
                        <a:pt x="44" y="121"/>
                      </a:lnTo>
                      <a:lnTo>
                        <a:pt x="44" y="123"/>
                      </a:lnTo>
                      <a:lnTo>
                        <a:pt x="46" y="126"/>
                      </a:lnTo>
                      <a:lnTo>
                        <a:pt x="48" y="127"/>
                      </a:lnTo>
                      <a:lnTo>
                        <a:pt x="53" y="127"/>
                      </a:lnTo>
                      <a:lnTo>
                        <a:pt x="57" y="126"/>
                      </a:lnTo>
                      <a:lnTo>
                        <a:pt x="58" y="125"/>
                      </a:lnTo>
                      <a:lnTo>
                        <a:pt x="60" y="115"/>
                      </a:lnTo>
                      <a:lnTo>
                        <a:pt x="61" y="112"/>
                      </a:lnTo>
                      <a:lnTo>
                        <a:pt x="61" y="107"/>
                      </a:lnTo>
                      <a:lnTo>
                        <a:pt x="60" y="105"/>
                      </a:lnTo>
                      <a:lnTo>
                        <a:pt x="58" y="102"/>
                      </a:lnTo>
                      <a:lnTo>
                        <a:pt x="58" y="96"/>
                      </a:lnTo>
                      <a:lnTo>
                        <a:pt x="58" y="90"/>
                      </a:lnTo>
                      <a:lnTo>
                        <a:pt x="56" y="88"/>
                      </a:lnTo>
                      <a:lnTo>
                        <a:pt x="55" y="86"/>
                      </a:lnTo>
                      <a:lnTo>
                        <a:pt x="53" y="81"/>
                      </a:lnTo>
                      <a:lnTo>
                        <a:pt x="50" y="74"/>
                      </a:lnTo>
                      <a:lnTo>
                        <a:pt x="48" y="70"/>
                      </a:lnTo>
                      <a:lnTo>
                        <a:pt x="47" y="67"/>
                      </a:lnTo>
                      <a:lnTo>
                        <a:pt x="48" y="63"/>
                      </a:lnTo>
                      <a:lnTo>
                        <a:pt x="51" y="59"/>
                      </a:lnTo>
                      <a:lnTo>
                        <a:pt x="64" y="54"/>
                      </a:lnTo>
                      <a:lnTo>
                        <a:pt x="67" y="50"/>
                      </a:lnTo>
                      <a:lnTo>
                        <a:pt x="69" y="48"/>
                      </a:lnTo>
                      <a:lnTo>
                        <a:pt x="69" y="46"/>
                      </a:lnTo>
                      <a:lnTo>
                        <a:pt x="67" y="44"/>
                      </a:lnTo>
                      <a:lnTo>
                        <a:pt x="65" y="44"/>
                      </a:lnTo>
                      <a:lnTo>
                        <a:pt x="58" y="43"/>
                      </a:lnTo>
                      <a:lnTo>
                        <a:pt x="51" y="44"/>
                      </a:lnTo>
                      <a:lnTo>
                        <a:pt x="48" y="43"/>
                      </a:lnTo>
                      <a:lnTo>
                        <a:pt x="46" y="43"/>
                      </a:lnTo>
                      <a:lnTo>
                        <a:pt x="44" y="40"/>
                      </a:lnTo>
                      <a:lnTo>
                        <a:pt x="43" y="38"/>
                      </a:lnTo>
                      <a:lnTo>
                        <a:pt x="43" y="35"/>
                      </a:lnTo>
                      <a:lnTo>
                        <a:pt x="43" y="30"/>
                      </a:lnTo>
                      <a:lnTo>
                        <a:pt x="46" y="27"/>
                      </a:lnTo>
                      <a:lnTo>
                        <a:pt x="48" y="26"/>
                      </a:lnTo>
                      <a:lnTo>
                        <a:pt x="52" y="24"/>
                      </a:lnTo>
                      <a:lnTo>
                        <a:pt x="56" y="23"/>
                      </a:lnTo>
                      <a:lnTo>
                        <a:pt x="60" y="23"/>
                      </a:lnTo>
                      <a:lnTo>
                        <a:pt x="64" y="24"/>
                      </a:lnTo>
                      <a:lnTo>
                        <a:pt x="67" y="26"/>
                      </a:lnTo>
                      <a:lnTo>
                        <a:pt x="80" y="35"/>
                      </a:lnTo>
                      <a:lnTo>
                        <a:pt x="81" y="29"/>
                      </a:lnTo>
                      <a:lnTo>
                        <a:pt x="89" y="29"/>
                      </a:lnTo>
                      <a:lnTo>
                        <a:pt x="95" y="27"/>
                      </a:lnTo>
                      <a:lnTo>
                        <a:pt x="97" y="27"/>
                      </a:lnTo>
                      <a:lnTo>
                        <a:pt x="98" y="25"/>
                      </a:lnTo>
                      <a:lnTo>
                        <a:pt x="102" y="19"/>
                      </a:lnTo>
                      <a:lnTo>
                        <a:pt x="105" y="12"/>
                      </a:lnTo>
                      <a:lnTo>
                        <a:pt x="108" y="8"/>
                      </a:lnTo>
                      <a:lnTo>
                        <a:pt x="110" y="6"/>
                      </a:lnTo>
                      <a:lnTo>
                        <a:pt x="119" y="3"/>
                      </a:lnTo>
                      <a:lnTo>
                        <a:pt x="131" y="0"/>
                      </a:lnTo>
                      <a:lnTo>
                        <a:pt x="130" y="10"/>
                      </a:lnTo>
                      <a:lnTo>
                        <a:pt x="127" y="17"/>
                      </a:lnTo>
                      <a:lnTo>
                        <a:pt x="122" y="31"/>
                      </a:lnTo>
                      <a:lnTo>
                        <a:pt x="121" y="36"/>
                      </a:lnTo>
                      <a:lnTo>
                        <a:pt x="121" y="38"/>
                      </a:lnTo>
                      <a:lnTo>
                        <a:pt x="119" y="40"/>
                      </a:lnTo>
                      <a:lnTo>
                        <a:pt x="118" y="45"/>
                      </a:lnTo>
                      <a:lnTo>
                        <a:pt x="117" y="51"/>
                      </a:lnTo>
                      <a:lnTo>
                        <a:pt x="118" y="58"/>
                      </a:lnTo>
                      <a:lnTo>
                        <a:pt x="121" y="67"/>
                      </a:lnTo>
                      <a:lnTo>
                        <a:pt x="122" y="70"/>
                      </a:lnTo>
                      <a:lnTo>
                        <a:pt x="122" y="74"/>
                      </a:lnTo>
                      <a:lnTo>
                        <a:pt x="118" y="82"/>
                      </a:lnTo>
                      <a:lnTo>
                        <a:pt x="117" y="87"/>
                      </a:lnTo>
                      <a:lnTo>
                        <a:pt x="116" y="90"/>
                      </a:lnTo>
                      <a:lnTo>
                        <a:pt x="112" y="95"/>
                      </a:lnTo>
                      <a:lnTo>
                        <a:pt x="108" y="99"/>
                      </a:lnTo>
                      <a:lnTo>
                        <a:pt x="104" y="101"/>
                      </a:lnTo>
                      <a:lnTo>
                        <a:pt x="103" y="102"/>
                      </a:lnTo>
                      <a:lnTo>
                        <a:pt x="102" y="103"/>
                      </a:lnTo>
                      <a:lnTo>
                        <a:pt x="100" y="107"/>
                      </a:lnTo>
                      <a:lnTo>
                        <a:pt x="99" y="110"/>
                      </a:lnTo>
                      <a:lnTo>
                        <a:pt x="94" y="118"/>
                      </a:lnTo>
                      <a:lnTo>
                        <a:pt x="93" y="119"/>
                      </a:lnTo>
                      <a:lnTo>
                        <a:pt x="93" y="120"/>
                      </a:lnTo>
                      <a:lnTo>
                        <a:pt x="94" y="123"/>
                      </a:lnTo>
                      <a:lnTo>
                        <a:pt x="95" y="128"/>
                      </a:lnTo>
                      <a:lnTo>
                        <a:pt x="97" y="132"/>
                      </a:lnTo>
                      <a:lnTo>
                        <a:pt x="98" y="135"/>
                      </a:lnTo>
                      <a:lnTo>
                        <a:pt x="97" y="139"/>
                      </a:lnTo>
                      <a:lnTo>
                        <a:pt x="93" y="145"/>
                      </a:lnTo>
                      <a:lnTo>
                        <a:pt x="90" y="146"/>
                      </a:lnTo>
                      <a:lnTo>
                        <a:pt x="86" y="147"/>
                      </a:lnTo>
                      <a:lnTo>
                        <a:pt x="81" y="148"/>
                      </a:lnTo>
                      <a:lnTo>
                        <a:pt x="77" y="151"/>
                      </a:lnTo>
                      <a:lnTo>
                        <a:pt x="71" y="155"/>
                      </a:lnTo>
                      <a:lnTo>
                        <a:pt x="70" y="157"/>
                      </a:lnTo>
                      <a:lnTo>
                        <a:pt x="67" y="157"/>
                      </a:lnTo>
                      <a:lnTo>
                        <a:pt x="65" y="154"/>
                      </a:lnTo>
                      <a:lnTo>
                        <a:pt x="62" y="151"/>
                      </a:lnTo>
                      <a:lnTo>
                        <a:pt x="60" y="150"/>
                      </a:lnTo>
                      <a:lnTo>
                        <a:pt x="57" y="150"/>
                      </a:lnTo>
                      <a:lnTo>
                        <a:pt x="53" y="151"/>
                      </a:lnTo>
                      <a:lnTo>
                        <a:pt x="52" y="153"/>
                      </a:lnTo>
                      <a:lnTo>
                        <a:pt x="51" y="155"/>
                      </a:lnTo>
                      <a:lnTo>
                        <a:pt x="50" y="160"/>
                      </a:lnTo>
                      <a:lnTo>
                        <a:pt x="48" y="161"/>
                      </a:lnTo>
                      <a:lnTo>
                        <a:pt x="47" y="163"/>
                      </a:lnTo>
                      <a:lnTo>
                        <a:pt x="43" y="163"/>
                      </a:lnTo>
                      <a:lnTo>
                        <a:pt x="41" y="160"/>
                      </a:lnTo>
                      <a:lnTo>
                        <a:pt x="36" y="154"/>
                      </a:lnTo>
                      <a:lnTo>
                        <a:pt x="32" y="152"/>
                      </a:lnTo>
                      <a:lnTo>
                        <a:pt x="24" y="157"/>
                      </a:lnTo>
                      <a:lnTo>
                        <a:pt x="14" y="165"/>
                      </a:lnTo>
                      <a:lnTo>
                        <a:pt x="6" y="159"/>
                      </a:lnTo>
                      <a:lnTo>
                        <a:pt x="4" y="155"/>
                      </a:lnTo>
                      <a:lnTo>
                        <a:pt x="1" y="151"/>
                      </a:lnTo>
                      <a:lnTo>
                        <a:pt x="0" y="14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4" name="Freeform 713"/>
                <p:cNvSpPr>
                  <a:spLocks/>
                </p:cNvSpPr>
                <p:nvPr/>
              </p:nvSpPr>
              <p:spPr bwMode="auto">
                <a:xfrm>
                  <a:off x="4822423" y="4556207"/>
                  <a:ext cx="142068" cy="177585"/>
                </a:xfrm>
                <a:custGeom>
                  <a:avLst/>
                  <a:gdLst>
                    <a:gd name="T0" fmla="*/ 2147483647 w 104"/>
                    <a:gd name="T1" fmla="*/ 2147483647 h 120"/>
                    <a:gd name="T2" fmla="*/ 2147483647 w 104"/>
                    <a:gd name="T3" fmla="*/ 2147483647 h 120"/>
                    <a:gd name="T4" fmla="*/ 2147483647 w 104"/>
                    <a:gd name="T5" fmla="*/ 0 h 120"/>
                    <a:gd name="T6" fmla="*/ 2147483647 w 104"/>
                    <a:gd name="T7" fmla="*/ 0 h 120"/>
                    <a:gd name="T8" fmla="*/ 2147483647 w 104"/>
                    <a:gd name="T9" fmla="*/ 0 h 120"/>
                    <a:gd name="T10" fmla="*/ 2147483647 w 104"/>
                    <a:gd name="T11" fmla="*/ 2147483647 h 120"/>
                    <a:gd name="T12" fmla="*/ 2147483647 w 104"/>
                    <a:gd name="T13" fmla="*/ 2147483647 h 120"/>
                    <a:gd name="T14" fmla="*/ 2147483647 w 104"/>
                    <a:gd name="T15" fmla="*/ 2147483647 h 120"/>
                    <a:gd name="T16" fmla="*/ 2147483647 w 104"/>
                    <a:gd name="T17" fmla="*/ 2147483647 h 120"/>
                    <a:gd name="T18" fmla="*/ 2147483647 w 104"/>
                    <a:gd name="T19" fmla="*/ 2147483647 h 120"/>
                    <a:gd name="T20" fmla="*/ 2147483647 w 104"/>
                    <a:gd name="T21" fmla="*/ 2147483647 h 120"/>
                    <a:gd name="T22" fmla="*/ 2147483647 w 104"/>
                    <a:gd name="T23" fmla="*/ 2147483647 h 120"/>
                    <a:gd name="T24" fmla="*/ 2147483647 w 104"/>
                    <a:gd name="T25" fmla="*/ 2147483647 h 120"/>
                    <a:gd name="T26" fmla="*/ 2147483647 w 104"/>
                    <a:gd name="T27" fmla="*/ 2147483647 h 120"/>
                    <a:gd name="T28" fmla="*/ 2147483647 w 104"/>
                    <a:gd name="T29" fmla="*/ 2147483647 h 120"/>
                    <a:gd name="T30" fmla="*/ 2147483647 w 104"/>
                    <a:gd name="T31" fmla="*/ 2147483647 h 120"/>
                    <a:gd name="T32" fmla="*/ 2147483647 w 104"/>
                    <a:gd name="T33" fmla="*/ 2147483647 h 120"/>
                    <a:gd name="T34" fmla="*/ 2147483647 w 104"/>
                    <a:gd name="T35" fmla="*/ 2147483647 h 120"/>
                    <a:gd name="T36" fmla="*/ 2147483647 w 104"/>
                    <a:gd name="T37" fmla="*/ 2147483647 h 120"/>
                    <a:gd name="T38" fmla="*/ 2147483647 w 104"/>
                    <a:gd name="T39" fmla="*/ 2147483647 h 120"/>
                    <a:gd name="T40" fmla="*/ 2147483647 w 104"/>
                    <a:gd name="T41" fmla="*/ 2147483647 h 120"/>
                    <a:gd name="T42" fmla="*/ 2147483647 w 104"/>
                    <a:gd name="T43" fmla="*/ 2147483647 h 120"/>
                    <a:gd name="T44" fmla="*/ 2147483647 w 104"/>
                    <a:gd name="T45" fmla="*/ 2147483647 h 120"/>
                    <a:gd name="T46" fmla="*/ 2147483647 w 104"/>
                    <a:gd name="T47" fmla="*/ 2147483647 h 120"/>
                    <a:gd name="T48" fmla="*/ 2147483647 w 104"/>
                    <a:gd name="T49" fmla="*/ 2147483647 h 120"/>
                    <a:gd name="T50" fmla="*/ 2147483647 w 104"/>
                    <a:gd name="T51" fmla="*/ 2147483647 h 120"/>
                    <a:gd name="T52" fmla="*/ 2147483647 w 104"/>
                    <a:gd name="T53" fmla="*/ 2147483647 h 120"/>
                    <a:gd name="T54" fmla="*/ 2147483647 w 104"/>
                    <a:gd name="T55" fmla="*/ 2147483647 h 120"/>
                    <a:gd name="T56" fmla="*/ 2147483647 w 104"/>
                    <a:gd name="T57" fmla="*/ 2147483647 h 120"/>
                    <a:gd name="T58" fmla="*/ 2147483647 w 104"/>
                    <a:gd name="T59" fmla="*/ 2147483647 h 120"/>
                    <a:gd name="T60" fmla="*/ 2147483647 w 104"/>
                    <a:gd name="T61" fmla="*/ 2147483647 h 120"/>
                    <a:gd name="T62" fmla="*/ 2147483647 w 104"/>
                    <a:gd name="T63" fmla="*/ 2147483647 h 120"/>
                    <a:gd name="T64" fmla="*/ 2147483647 w 104"/>
                    <a:gd name="T65" fmla="*/ 2147483647 h 120"/>
                    <a:gd name="T66" fmla="*/ 2147483647 w 104"/>
                    <a:gd name="T67" fmla="*/ 2147483647 h 120"/>
                    <a:gd name="T68" fmla="*/ 2147483647 w 104"/>
                    <a:gd name="T69" fmla="*/ 2147483647 h 120"/>
                    <a:gd name="T70" fmla="*/ 2147483647 w 104"/>
                    <a:gd name="T71" fmla="*/ 2147483647 h 120"/>
                    <a:gd name="T72" fmla="*/ 2147483647 w 104"/>
                    <a:gd name="T73" fmla="*/ 2147483647 h 120"/>
                    <a:gd name="T74" fmla="*/ 2147483647 w 104"/>
                    <a:gd name="T75" fmla="*/ 2147483647 h 120"/>
                    <a:gd name="T76" fmla="*/ 2147483647 w 104"/>
                    <a:gd name="T77" fmla="*/ 2147483647 h 120"/>
                    <a:gd name="T78" fmla="*/ 2147483647 w 104"/>
                    <a:gd name="T79" fmla="*/ 2147483647 h 120"/>
                    <a:gd name="T80" fmla="*/ 2147483647 w 104"/>
                    <a:gd name="T81" fmla="*/ 2147483647 h 120"/>
                    <a:gd name="T82" fmla="*/ 2147483647 w 104"/>
                    <a:gd name="T83" fmla="*/ 2147483647 h 120"/>
                    <a:gd name="T84" fmla="*/ 2147483647 w 104"/>
                    <a:gd name="T85" fmla="*/ 2147483647 h 120"/>
                    <a:gd name="T86" fmla="*/ 2147483647 w 104"/>
                    <a:gd name="T87" fmla="*/ 2147483647 h 120"/>
                    <a:gd name="T88" fmla="*/ 2147483647 w 104"/>
                    <a:gd name="T89" fmla="*/ 2147483647 h 120"/>
                    <a:gd name="T90" fmla="*/ 2147483647 w 104"/>
                    <a:gd name="T91" fmla="*/ 2147483647 h 120"/>
                    <a:gd name="T92" fmla="*/ 2147483647 w 104"/>
                    <a:gd name="T93" fmla="*/ 2147483647 h 120"/>
                    <a:gd name="T94" fmla="*/ 2147483647 w 104"/>
                    <a:gd name="T95" fmla="*/ 2147483647 h 120"/>
                    <a:gd name="T96" fmla="*/ 0 w 104"/>
                    <a:gd name="T97" fmla="*/ 2147483647 h 120"/>
                    <a:gd name="T98" fmla="*/ 0 w 104"/>
                    <a:gd name="T99" fmla="*/ 2147483647 h 120"/>
                    <a:gd name="T100" fmla="*/ 2147483647 w 104"/>
                    <a:gd name="T101" fmla="*/ 2147483647 h 120"/>
                    <a:gd name="T102" fmla="*/ 2147483647 w 104"/>
                    <a:gd name="T103" fmla="*/ 2147483647 h 120"/>
                    <a:gd name="T104" fmla="*/ 2147483647 w 104"/>
                    <a:gd name="T105" fmla="*/ 2147483647 h 120"/>
                    <a:gd name="T106" fmla="*/ 2147483647 w 104"/>
                    <a:gd name="T107" fmla="*/ 2147483647 h 120"/>
                    <a:gd name="T108" fmla="*/ 2147483647 w 104"/>
                    <a:gd name="T109" fmla="*/ 2147483647 h 120"/>
                    <a:gd name="T110" fmla="*/ 2147483647 w 104"/>
                    <a:gd name="T111" fmla="*/ 2147483647 h 120"/>
                    <a:gd name="T112" fmla="*/ 2147483647 w 104"/>
                    <a:gd name="T113" fmla="*/ 2147483647 h 120"/>
                    <a:gd name="T114" fmla="*/ 2147483647 w 104"/>
                    <a:gd name="T115" fmla="*/ 2147483647 h 120"/>
                    <a:gd name="T116" fmla="*/ 2147483647 w 104"/>
                    <a:gd name="T117" fmla="*/ 2147483647 h 120"/>
                    <a:gd name="T118" fmla="*/ 2147483647 w 104"/>
                    <a:gd name="T119" fmla="*/ 2147483647 h 120"/>
                    <a:gd name="T120" fmla="*/ 2147483647 w 104"/>
                    <a:gd name="T121" fmla="*/ 2147483647 h 1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
                    <a:gd name="T184" fmla="*/ 0 h 120"/>
                    <a:gd name="T185" fmla="*/ 104 w 104"/>
                    <a:gd name="T186" fmla="*/ 120 h 1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 h="120">
                      <a:moveTo>
                        <a:pt x="14" y="21"/>
                      </a:moveTo>
                      <a:lnTo>
                        <a:pt x="14" y="21"/>
                      </a:lnTo>
                      <a:lnTo>
                        <a:pt x="43" y="23"/>
                      </a:lnTo>
                      <a:lnTo>
                        <a:pt x="45" y="12"/>
                      </a:lnTo>
                      <a:lnTo>
                        <a:pt x="46" y="0"/>
                      </a:lnTo>
                      <a:lnTo>
                        <a:pt x="65" y="0"/>
                      </a:lnTo>
                      <a:lnTo>
                        <a:pt x="84" y="0"/>
                      </a:lnTo>
                      <a:lnTo>
                        <a:pt x="81" y="1"/>
                      </a:lnTo>
                      <a:lnTo>
                        <a:pt x="79" y="4"/>
                      </a:lnTo>
                      <a:lnTo>
                        <a:pt x="79" y="8"/>
                      </a:lnTo>
                      <a:lnTo>
                        <a:pt x="79" y="12"/>
                      </a:lnTo>
                      <a:lnTo>
                        <a:pt x="80" y="14"/>
                      </a:lnTo>
                      <a:lnTo>
                        <a:pt x="81" y="17"/>
                      </a:lnTo>
                      <a:lnTo>
                        <a:pt x="84" y="17"/>
                      </a:lnTo>
                      <a:lnTo>
                        <a:pt x="87" y="18"/>
                      </a:lnTo>
                      <a:lnTo>
                        <a:pt x="94" y="17"/>
                      </a:lnTo>
                      <a:lnTo>
                        <a:pt x="101" y="18"/>
                      </a:lnTo>
                      <a:lnTo>
                        <a:pt x="103" y="18"/>
                      </a:lnTo>
                      <a:lnTo>
                        <a:pt x="104" y="20"/>
                      </a:lnTo>
                      <a:lnTo>
                        <a:pt x="104" y="21"/>
                      </a:lnTo>
                      <a:lnTo>
                        <a:pt x="103" y="24"/>
                      </a:lnTo>
                      <a:lnTo>
                        <a:pt x="99" y="27"/>
                      </a:lnTo>
                      <a:lnTo>
                        <a:pt x="87" y="33"/>
                      </a:lnTo>
                      <a:lnTo>
                        <a:pt x="84" y="37"/>
                      </a:lnTo>
                      <a:lnTo>
                        <a:pt x="83" y="40"/>
                      </a:lnTo>
                      <a:lnTo>
                        <a:pt x="84" y="44"/>
                      </a:lnTo>
                      <a:lnTo>
                        <a:pt x="85" y="48"/>
                      </a:lnTo>
                      <a:lnTo>
                        <a:pt x="89" y="55"/>
                      </a:lnTo>
                      <a:lnTo>
                        <a:pt x="90" y="59"/>
                      </a:lnTo>
                      <a:lnTo>
                        <a:pt x="92" y="62"/>
                      </a:lnTo>
                      <a:lnTo>
                        <a:pt x="94" y="64"/>
                      </a:lnTo>
                      <a:lnTo>
                        <a:pt x="94" y="70"/>
                      </a:lnTo>
                      <a:lnTo>
                        <a:pt x="94" y="76"/>
                      </a:lnTo>
                      <a:lnTo>
                        <a:pt x="95" y="78"/>
                      </a:lnTo>
                      <a:lnTo>
                        <a:pt x="97" y="81"/>
                      </a:lnTo>
                      <a:lnTo>
                        <a:pt x="97" y="85"/>
                      </a:lnTo>
                      <a:lnTo>
                        <a:pt x="95" y="89"/>
                      </a:lnTo>
                      <a:lnTo>
                        <a:pt x="94" y="98"/>
                      </a:lnTo>
                      <a:lnTo>
                        <a:pt x="93" y="100"/>
                      </a:lnTo>
                      <a:lnTo>
                        <a:pt x="89" y="101"/>
                      </a:lnTo>
                      <a:lnTo>
                        <a:pt x="84" y="101"/>
                      </a:lnTo>
                      <a:lnTo>
                        <a:pt x="81" y="100"/>
                      </a:lnTo>
                      <a:lnTo>
                        <a:pt x="80" y="97"/>
                      </a:lnTo>
                      <a:lnTo>
                        <a:pt x="80" y="95"/>
                      </a:lnTo>
                      <a:lnTo>
                        <a:pt x="76" y="88"/>
                      </a:lnTo>
                      <a:lnTo>
                        <a:pt x="75" y="85"/>
                      </a:lnTo>
                      <a:lnTo>
                        <a:pt x="73" y="85"/>
                      </a:lnTo>
                      <a:lnTo>
                        <a:pt x="71" y="85"/>
                      </a:lnTo>
                      <a:lnTo>
                        <a:pt x="69" y="89"/>
                      </a:lnTo>
                      <a:lnTo>
                        <a:pt x="66" y="90"/>
                      </a:lnTo>
                      <a:lnTo>
                        <a:pt x="61" y="93"/>
                      </a:lnTo>
                      <a:lnTo>
                        <a:pt x="59" y="96"/>
                      </a:lnTo>
                      <a:lnTo>
                        <a:pt x="57" y="98"/>
                      </a:lnTo>
                      <a:lnTo>
                        <a:pt x="62" y="102"/>
                      </a:lnTo>
                      <a:lnTo>
                        <a:pt x="64" y="103"/>
                      </a:lnTo>
                      <a:lnTo>
                        <a:pt x="62" y="107"/>
                      </a:lnTo>
                      <a:lnTo>
                        <a:pt x="60" y="108"/>
                      </a:lnTo>
                      <a:lnTo>
                        <a:pt x="57" y="109"/>
                      </a:lnTo>
                      <a:lnTo>
                        <a:pt x="56" y="113"/>
                      </a:lnTo>
                      <a:lnTo>
                        <a:pt x="55" y="116"/>
                      </a:lnTo>
                      <a:lnTo>
                        <a:pt x="54" y="117"/>
                      </a:lnTo>
                      <a:lnTo>
                        <a:pt x="51" y="117"/>
                      </a:lnTo>
                      <a:lnTo>
                        <a:pt x="47" y="119"/>
                      </a:lnTo>
                      <a:lnTo>
                        <a:pt x="41" y="119"/>
                      </a:lnTo>
                      <a:lnTo>
                        <a:pt x="36" y="120"/>
                      </a:lnTo>
                      <a:lnTo>
                        <a:pt x="32" y="114"/>
                      </a:lnTo>
                      <a:lnTo>
                        <a:pt x="27" y="109"/>
                      </a:lnTo>
                      <a:lnTo>
                        <a:pt x="17" y="100"/>
                      </a:lnTo>
                      <a:lnTo>
                        <a:pt x="14" y="97"/>
                      </a:lnTo>
                      <a:lnTo>
                        <a:pt x="12" y="94"/>
                      </a:lnTo>
                      <a:lnTo>
                        <a:pt x="7" y="85"/>
                      </a:lnTo>
                      <a:lnTo>
                        <a:pt x="0" y="68"/>
                      </a:lnTo>
                      <a:lnTo>
                        <a:pt x="0" y="64"/>
                      </a:lnTo>
                      <a:lnTo>
                        <a:pt x="1" y="61"/>
                      </a:lnTo>
                      <a:lnTo>
                        <a:pt x="4" y="57"/>
                      </a:lnTo>
                      <a:lnTo>
                        <a:pt x="7" y="53"/>
                      </a:lnTo>
                      <a:lnTo>
                        <a:pt x="7" y="49"/>
                      </a:lnTo>
                      <a:lnTo>
                        <a:pt x="5" y="48"/>
                      </a:lnTo>
                      <a:lnTo>
                        <a:pt x="7" y="45"/>
                      </a:lnTo>
                      <a:lnTo>
                        <a:pt x="8" y="44"/>
                      </a:lnTo>
                      <a:lnTo>
                        <a:pt x="10" y="44"/>
                      </a:lnTo>
                      <a:lnTo>
                        <a:pt x="14" y="44"/>
                      </a:lnTo>
                      <a:lnTo>
                        <a:pt x="17" y="44"/>
                      </a:lnTo>
                      <a:lnTo>
                        <a:pt x="18" y="43"/>
                      </a:lnTo>
                      <a:lnTo>
                        <a:pt x="18" y="40"/>
                      </a:lnTo>
                      <a:lnTo>
                        <a:pt x="17" y="36"/>
                      </a:lnTo>
                      <a:lnTo>
                        <a:pt x="14" y="33"/>
                      </a:lnTo>
                      <a:lnTo>
                        <a:pt x="13" y="30"/>
                      </a:lnTo>
                      <a:lnTo>
                        <a:pt x="14" y="2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5" name="Freeform 714"/>
                <p:cNvSpPr>
                  <a:spLocks/>
                </p:cNvSpPr>
                <p:nvPr/>
              </p:nvSpPr>
              <p:spPr bwMode="auto">
                <a:xfrm>
                  <a:off x="4872740" y="4517735"/>
                  <a:ext cx="177585" cy="244177"/>
                </a:xfrm>
                <a:custGeom>
                  <a:avLst/>
                  <a:gdLst>
                    <a:gd name="T0" fmla="*/ 2147483647 w 131"/>
                    <a:gd name="T1" fmla="*/ 2147483647 h 165"/>
                    <a:gd name="T2" fmla="*/ 2147483647 w 131"/>
                    <a:gd name="T3" fmla="*/ 2147483647 h 165"/>
                    <a:gd name="T4" fmla="*/ 2147483647 w 131"/>
                    <a:gd name="T5" fmla="*/ 2147483647 h 165"/>
                    <a:gd name="T6" fmla="*/ 2147483647 w 131"/>
                    <a:gd name="T7" fmla="*/ 2147483647 h 165"/>
                    <a:gd name="T8" fmla="*/ 2147483647 w 131"/>
                    <a:gd name="T9" fmla="*/ 2147483647 h 165"/>
                    <a:gd name="T10" fmla="*/ 2147483647 w 131"/>
                    <a:gd name="T11" fmla="*/ 2147483647 h 165"/>
                    <a:gd name="T12" fmla="*/ 2147483647 w 131"/>
                    <a:gd name="T13" fmla="*/ 2147483647 h 165"/>
                    <a:gd name="T14" fmla="*/ 2147483647 w 131"/>
                    <a:gd name="T15" fmla="*/ 2147483647 h 165"/>
                    <a:gd name="T16" fmla="*/ 2147483647 w 131"/>
                    <a:gd name="T17" fmla="*/ 2147483647 h 165"/>
                    <a:gd name="T18" fmla="*/ 2147483647 w 131"/>
                    <a:gd name="T19" fmla="*/ 2147483647 h 165"/>
                    <a:gd name="T20" fmla="*/ 2147483647 w 131"/>
                    <a:gd name="T21" fmla="*/ 2147483647 h 165"/>
                    <a:gd name="T22" fmla="*/ 2147483647 w 131"/>
                    <a:gd name="T23" fmla="*/ 2147483647 h 165"/>
                    <a:gd name="T24" fmla="*/ 2147483647 w 131"/>
                    <a:gd name="T25" fmla="*/ 2147483647 h 165"/>
                    <a:gd name="T26" fmla="*/ 2147483647 w 131"/>
                    <a:gd name="T27" fmla="*/ 2147483647 h 165"/>
                    <a:gd name="T28" fmla="*/ 2147483647 w 131"/>
                    <a:gd name="T29" fmla="*/ 2147483647 h 165"/>
                    <a:gd name="T30" fmla="*/ 2147483647 w 131"/>
                    <a:gd name="T31" fmla="*/ 2147483647 h 165"/>
                    <a:gd name="T32" fmla="*/ 2147483647 w 131"/>
                    <a:gd name="T33" fmla="*/ 2147483647 h 165"/>
                    <a:gd name="T34" fmla="*/ 2147483647 w 131"/>
                    <a:gd name="T35" fmla="*/ 2147483647 h 165"/>
                    <a:gd name="T36" fmla="*/ 2147483647 w 131"/>
                    <a:gd name="T37" fmla="*/ 2147483647 h 165"/>
                    <a:gd name="T38" fmla="*/ 2147483647 w 131"/>
                    <a:gd name="T39" fmla="*/ 2147483647 h 165"/>
                    <a:gd name="T40" fmla="*/ 2147483647 w 131"/>
                    <a:gd name="T41" fmla="*/ 2147483647 h 165"/>
                    <a:gd name="T42" fmla="*/ 2147483647 w 131"/>
                    <a:gd name="T43" fmla="*/ 2147483647 h 165"/>
                    <a:gd name="T44" fmla="*/ 2147483647 w 131"/>
                    <a:gd name="T45" fmla="*/ 2147483647 h 165"/>
                    <a:gd name="T46" fmla="*/ 2147483647 w 131"/>
                    <a:gd name="T47" fmla="*/ 2147483647 h 165"/>
                    <a:gd name="T48" fmla="*/ 2147483647 w 131"/>
                    <a:gd name="T49" fmla="*/ 2147483647 h 165"/>
                    <a:gd name="T50" fmla="*/ 2147483647 w 131"/>
                    <a:gd name="T51" fmla="*/ 2147483647 h 165"/>
                    <a:gd name="T52" fmla="*/ 2147483647 w 131"/>
                    <a:gd name="T53" fmla="*/ 2147483647 h 165"/>
                    <a:gd name="T54" fmla="*/ 2147483647 w 131"/>
                    <a:gd name="T55" fmla="*/ 2147483647 h 165"/>
                    <a:gd name="T56" fmla="*/ 2147483647 w 131"/>
                    <a:gd name="T57" fmla="*/ 2147483647 h 165"/>
                    <a:gd name="T58" fmla="*/ 2147483647 w 131"/>
                    <a:gd name="T59" fmla="*/ 2147483647 h 165"/>
                    <a:gd name="T60" fmla="*/ 2147483647 w 131"/>
                    <a:gd name="T61" fmla="*/ 2147483647 h 165"/>
                    <a:gd name="T62" fmla="*/ 2147483647 w 131"/>
                    <a:gd name="T63" fmla="*/ 2147483647 h 165"/>
                    <a:gd name="T64" fmla="*/ 2147483647 w 131"/>
                    <a:gd name="T65" fmla="*/ 2147483647 h 165"/>
                    <a:gd name="T66" fmla="*/ 2147483647 w 131"/>
                    <a:gd name="T67" fmla="*/ 2147483647 h 165"/>
                    <a:gd name="T68" fmla="*/ 2147483647 w 131"/>
                    <a:gd name="T69" fmla="*/ 0 h 165"/>
                    <a:gd name="T70" fmla="*/ 2147483647 w 131"/>
                    <a:gd name="T71" fmla="*/ 2147483647 h 165"/>
                    <a:gd name="T72" fmla="*/ 2147483647 w 131"/>
                    <a:gd name="T73" fmla="*/ 2147483647 h 165"/>
                    <a:gd name="T74" fmla="*/ 2147483647 w 131"/>
                    <a:gd name="T75" fmla="*/ 2147483647 h 165"/>
                    <a:gd name="T76" fmla="*/ 2147483647 w 131"/>
                    <a:gd name="T77" fmla="*/ 2147483647 h 165"/>
                    <a:gd name="T78" fmla="*/ 2147483647 w 131"/>
                    <a:gd name="T79" fmla="*/ 2147483647 h 165"/>
                    <a:gd name="T80" fmla="*/ 2147483647 w 131"/>
                    <a:gd name="T81" fmla="*/ 2147483647 h 165"/>
                    <a:gd name="T82" fmla="*/ 2147483647 w 131"/>
                    <a:gd name="T83" fmla="*/ 2147483647 h 165"/>
                    <a:gd name="T84" fmla="*/ 2147483647 w 131"/>
                    <a:gd name="T85" fmla="*/ 2147483647 h 165"/>
                    <a:gd name="T86" fmla="*/ 2147483647 w 131"/>
                    <a:gd name="T87" fmla="*/ 2147483647 h 165"/>
                    <a:gd name="T88" fmla="*/ 2147483647 w 131"/>
                    <a:gd name="T89" fmla="*/ 2147483647 h 165"/>
                    <a:gd name="T90" fmla="*/ 2147483647 w 131"/>
                    <a:gd name="T91" fmla="*/ 2147483647 h 165"/>
                    <a:gd name="T92" fmla="*/ 2147483647 w 131"/>
                    <a:gd name="T93" fmla="*/ 2147483647 h 165"/>
                    <a:gd name="T94" fmla="*/ 2147483647 w 131"/>
                    <a:gd name="T95" fmla="*/ 2147483647 h 165"/>
                    <a:gd name="T96" fmla="*/ 2147483647 w 131"/>
                    <a:gd name="T97" fmla="*/ 2147483647 h 165"/>
                    <a:gd name="T98" fmla="*/ 2147483647 w 131"/>
                    <a:gd name="T99" fmla="*/ 2147483647 h 165"/>
                    <a:gd name="T100" fmla="*/ 2147483647 w 131"/>
                    <a:gd name="T101" fmla="*/ 2147483647 h 165"/>
                    <a:gd name="T102" fmla="*/ 2147483647 w 131"/>
                    <a:gd name="T103" fmla="*/ 2147483647 h 165"/>
                    <a:gd name="T104" fmla="*/ 2147483647 w 131"/>
                    <a:gd name="T105" fmla="*/ 2147483647 h 165"/>
                    <a:gd name="T106" fmla="*/ 2147483647 w 131"/>
                    <a:gd name="T107" fmla="*/ 2147483647 h 165"/>
                    <a:gd name="T108" fmla="*/ 2147483647 w 131"/>
                    <a:gd name="T109" fmla="*/ 2147483647 h 165"/>
                    <a:gd name="T110" fmla="*/ 2147483647 w 131"/>
                    <a:gd name="T111" fmla="*/ 2147483647 h 165"/>
                    <a:gd name="T112" fmla="*/ 2147483647 w 131"/>
                    <a:gd name="T113" fmla="*/ 2147483647 h 165"/>
                    <a:gd name="T114" fmla="*/ 2147483647 w 131"/>
                    <a:gd name="T115" fmla="*/ 2147483647 h 165"/>
                    <a:gd name="T116" fmla="*/ 2147483647 w 131"/>
                    <a:gd name="T117" fmla="*/ 2147483647 h 165"/>
                    <a:gd name="T118" fmla="*/ 2147483647 w 131"/>
                    <a:gd name="T119" fmla="*/ 2147483647 h 165"/>
                    <a:gd name="T120" fmla="*/ 0 w 131"/>
                    <a:gd name="T121" fmla="*/ 2147483647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165"/>
                    <a:gd name="T185" fmla="*/ 131 w 131"/>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165">
                      <a:moveTo>
                        <a:pt x="0" y="146"/>
                      </a:moveTo>
                      <a:lnTo>
                        <a:pt x="0" y="146"/>
                      </a:lnTo>
                      <a:lnTo>
                        <a:pt x="5" y="145"/>
                      </a:lnTo>
                      <a:lnTo>
                        <a:pt x="11" y="145"/>
                      </a:lnTo>
                      <a:lnTo>
                        <a:pt x="15" y="143"/>
                      </a:lnTo>
                      <a:lnTo>
                        <a:pt x="18" y="143"/>
                      </a:lnTo>
                      <a:lnTo>
                        <a:pt x="19" y="142"/>
                      </a:lnTo>
                      <a:lnTo>
                        <a:pt x="20" y="139"/>
                      </a:lnTo>
                      <a:lnTo>
                        <a:pt x="21" y="135"/>
                      </a:lnTo>
                      <a:lnTo>
                        <a:pt x="24" y="134"/>
                      </a:lnTo>
                      <a:lnTo>
                        <a:pt x="26" y="133"/>
                      </a:lnTo>
                      <a:lnTo>
                        <a:pt x="28" y="129"/>
                      </a:lnTo>
                      <a:lnTo>
                        <a:pt x="26" y="128"/>
                      </a:lnTo>
                      <a:lnTo>
                        <a:pt x="21" y="124"/>
                      </a:lnTo>
                      <a:lnTo>
                        <a:pt x="23" y="122"/>
                      </a:lnTo>
                      <a:lnTo>
                        <a:pt x="25" y="119"/>
                      </a:lnTo>
                      <a:lnTo>
                        <a:pt x="30" y="116"/>
                      </a:lnTo>
                      <a:lnTo>
                        <a:pt x="33" y="115"/>
                      </a:lnTo>
                      <a:lnTo>
                        <a:pt x="35" y="111"/>
                      </a:lnTo>
                      <a:lnTo>
                        <a:pt x="37" y="111"/>
                      </a:lnTo>
                      <a:lnTo>
                        <a:pt x="39" y="111"/>
                      </a:lnTo>
                      <a:lnTo>
                        <a:pt x="40" y="114"/>
                      </a:lnTo>
                      <a:lnTo>
                        <a:pt x="44" y="121"/>
                      </a:lnTo>
                      <a:lnTo>
                        <a:pt x="44" y="123"/>
                      </a:lnTo>
                      <a:lnTo>
                        <a:pt x="45" y="126"/>
                      </a:lnTo>
                      <a:lnTo>
                        <a:pt x="48" y="127"/>
                      </a:lnTo>
                      <a:lnTo>
                        <a:pt x="53" y="127"/>
                      </a:lnTo>
                      <a:lnTo>
                        <a:pt x="57" y="126"/>
                      </a:lnTo>
                      <a:lnTo>
                        <a:pt x="58" y="124"/>
                      </a:lnTo>
                      <a:lnTo>
                        <a:pt x="59" y="115"/>
                      </a:lnTo>
                      <a:lnTo>
                        <a:pt x="61" y="111"/>
                      </a:lnTo>
                      <a:lnTo>
                        <a:pt x="61" y="107"/>
                      </a:lnTo>
                      <a:lnTo>
                        <a:pt x="59" y="104"/>
                      </a:lnTo>
                      <a:lnTo>
                        <a:pt x="58" y="102"/>
                      </a:lnTo>
                      <a:lnTo>
                        <a:pt x="58" y="96"/>
                      </a:lnTo>
                      <a:lnTo>
                        <a:pt x="58" y="90"/>
                      </a:lnTo>
                      <a:lnTo>
                        <a:pt x="56" y="88"/>
                      </a:lnTo>
                      <a:lnTo>
                        <a:pt x="54" y="85"/>
                      </a:lnTo>
                      <a:lnTo>
                        <a:pt x="53" y="81"/>
                      </a:lnTo>
                      <a:lnTo>
                        <a:pt x="49" y="74"/>
                      </a:lnTo>
                      <a:lnTo>
                        <a:pt x="48" y="70"/>
                      </a:lnTo>
                      <a:lnTo>
                        <a:pt x="47" y="66"/>
                      </a:lnTo>
                      <a:lnTo>
                        <a:pt x="48" y="63"/>
                      </a:lnTo>
                      <a:lnTo>
                        <a:pt x="51" y="59"/>
                      </a:lnTo>
                      <a:lnTo>
                        <a:pt x="63" y="53"/>
                      </a:lnTo>
                      <a:lnTo>
                        <a:pt x="67" y="50"/>
                      </a:lnTo>
                      <a:lnTo>
                        <a:pt x="68" y="47"/>
                      </a:lnTo>
                      <a:lnTo>
                        <a:pt x="68" y="46"/>
                      </a:lnTo>
                      <a:lnTo>
                        <a:pt x="67" y="44"/>
                      </a:lnTo>
                      <a:lnTo>
                        <a:pt x="65" y="44"/>
                      </a:lnTo>
                      <a:lnTo>
                        <a:pt x="58" y="43"/>
                      </a:lnTo>
                      <a:lnTo>
                        <a:pt x="51" y="44"/>
                      </a:lnTo>
                      <a:lnTo>
                        <a:pt x="48" y="43"/>
                      </a:lnTo>
                      <a:lnTo>
                        <a:pt x="45" y="43"/>
                      </a:lnTo>
                      <a:lnTo>
                        <a:pt x="44" y="40"/>
                      </a:lnTo>
                      <a:lnTo>
                        <a:pt x="43" y="38"/>
                      </a:lnTo>
                      <a:lnTo>
                        <a:pt x="43" y="34"/>
                      </a:lnTo>
                      <a:lnTo>
                        <a:pt x="43" y="30"/>
                      </a:lnTo>
                      <a:lnTo>
                        <a:pt x="45" y="27"/>
                      </a:lnTo>
                      <a:lnTo>
                        <a:pt x="48" y="26"/>
                      </a:lnTo>
                      <a:lnTo>
                        <a:pt x="52" y="24"/>
                      </a:lnTo>
                      <a:lnTo>
                        <a:pt x="56" y="23"/>
                      </a:lnTo>
                      <a:lnTo>
                        <a:pt x="59" y="23"/>
                      </a:lnTo>
                      <a:lnTo>
                        <a:pt x="63" y="24"/>
                      </a:lnTo>
                      <a:lnTo>
                        <a:pt x="67" y="26"/>
                      </a:lnTo>
                      <a:lnTo>
                        <a:pt x="80" y="34"/>
                      </a:lnTo>
                      <a:lnTo>
                        <a:pt x="81" y="28"/>
                      </a:lnTo>
                      <a:lnTo>
                        <a:pt x="89" y="28"/>
                      </a:lnTo>
                      <a:lnTo>
                        <a:pt x="95" y="27"/>
                      </a:lnTo>
                      <a:lnTo>
                        <a:pt x="96" y="27"/>
                      </a:lnTo>
                      <a:lnTo>
                        <a:pt x="98" y="25"/>
                      </a:lnTo>
                      <a:lnTo>
                        <a:pt x="101" y="19"/>
                      </a:lnTo>
                      <a:lnTo>
                        <a:pt x="105" y="12"/>
                      </a:lnTo>
                      <a:lnTo>
                        <a:pt x="108" y="8"/>
                      </a:lnTo>
                      <a:lnTo>
                        <a:pt x="110" y="6"/>
                      </a:lnTo>
                      <a:lnTo>
                        <a:pt x="119" y="2"/>
                      </a:lnTo>
                      <a:lnTo>
                        <a:pt x="131" y="0"/>
                      </a:lnTo>
                      <a:lnTo>
                        <a:pt x="129" y="9"/>
                      </a:lnTo>
                      <a:lnTo>
                        <a:pt x="127" y="17"/>
                      </a:lnTo>
                      <a:lnTo>
                        <a:pt x="122" y="31"/>
                      </a:lnTo>
                      <a:lnTo>
                        <a:pt x="120" y="36"/>
                      </a:lnTo>
                      <a:lnTo>
                        <a:pt x="120" y="38"/>
                      </a:lnTo>
                      <a:lnTo>
                        <a:pt x="119" y="40"/>
                      </a:lnTo>
                      <a:lnTo>
                        <a:pt x="118" y="45"/>
                      </a:lnTo>
                      <a:lnTo>
                        <a:pt x="117" y="51"/>
                      </a:lnTo>
                      <a:lnTo>
                        <a:pt x="118" y="58"/>
                      </a:lnTo>
                      <a:lnTo>
                        <a:pt x="120" y="66"/>
                      </a:lnTo>
                      <a:lnTo>
                        <a:pt x="122" y="70"/>
                      </a:lnTo>
                      <a:lnTo>
                        <a:pt x="122" y="74"/>
                      </a:lnTo>
                      <a:lnTo>
                        <a:pt x="118" y="82"/>
                      </a:lnTo>
                      <a:lnTo>
                        <a:pt x="117" y="87"/>
                      </a:lnTo>
                      <a:lnTo>
                        <a:pt x="115" y="90"/>
                      </a:lnTo>
                      <a:lnTo>
                        <a:pt x="111" y="95"/>
                      </a:lnTo>
                      <a:lnTo>
                        <a:pt x="108" y="98"/>
                      </a:lnTo>
                      <a:lnTo>
                        <a:pt x="104" y="101"/>
                      </a:lnTo>
                      <a:lnTo>
                        <a:pt x="103" y="102"/>
                      </a:lnTo>
                      <a:lnTo>
                        <a:pt x="101" y="103"/>
                      </a:lnTo>
                      <a:lnTo>
                        <a:pt x="100" y="107"/>
                      </a:lnTo>
                      <a:lnTo>
                        <a:pt x="99" y="110"/>
                      </a:lnTo>
                      <a:lnTo>
                        <a:pt x="94" y="117"/>
                      </a:lnTo>
                      <a:lnTo>
                        <a:pt x="92" y="119"/>
                      </a:lnTo>
                      <a:lnTo>
                        <a:pt x="92" y="120"/>
                      </a:lnTo>
                      <a:lnTo>
                        <a:pt x="94" y="123"/>
                      </a:lnTo>
                      <a:lnTo>
                        <a:pt x="95" y="128"/>
                      </a:lnTo>
                      <a:lnTo>
                        <a:pt x="96" y="132"/>
                      </a:lnTo>
                      <a:lnTo>
                        <a:pt x="98" y="135"/>
                      </a:lnTo>
                      <a:lnTo>
                        <a:pt x="96" y="139"/>
                      </a:lnTo>
                      <a:lnTo>
                        <a:pt x="92" y="145"/>
                      </a:lnTo>
                      <a:lnTo>
                        <a:pt x="90" y="146"/>
                      </a:lnTo>
                      <a:lnTo>
                        <a:pt x="86" y="147"/>
                      </a:lnTo>
                      <a:lnTo>
                        <a:pt x="81" y="148"/>
                      </a:lnTo>
                      <a:lnTo>
                        <a:pt x="77" y="151"/>
                      </a:lnTo>
                      <a:lnTo>
                        <a:pt x="71" y="155"/>
                      </a:lnTo>
                      <a:lnTo>
                        <a:pt x="70" y="156"/>
                      </a:lnTo>
                      <a:lnTo>
                        <a:pt x="67" y="156"/>
                      </a:lnTo>
                      <a:lnTo>
                        <a:pt x="65" y="154"/>
                      </a:lnTo>
                      <a:lnTo>
                        <a:pt x="62" y="151"/>
                      </a:lnTo>
                      <a:lnTo>
                        <a:pt x="59" y="149"/>
                      </a:lnTo>
                      <a:lnTo>
                        <a:pt x="57" y="149"/>
                      </a:lnTo>
                      <a:lnTo>
                        <a:pt x="53" y="151"/>
                      </a:lnTo>
                      <a:lnTo>
                        <a:pt x="52" y="153"/>
                      </a:lnTo>
                      <a:lnTo>
                        <a:pt x="51" y="155"/>
                      </a:lnTo>
                      <a:lnTo>
                        <a:pt x="49" y="160"/>
                      </a:lnTo>
                      <a:lnTo>
                        <a:pt x="48" y="161"/>
                      </a:lnTo>
                      <a:lnTo>
                        <a:pt x="47" y="162"/>
                      </a:lnTo>
                      <a:lnTo>
                        <a:pt x="43" y="162"/>
                      </a:lnTo>
                      <a:lnTo>
                        <a:pt x="40" y="160"/>
                      </a:lnTo>
                      <a:lnTo>
                        <a:pt x="35" y="154"/>
                      </a:lnTo>
                      <a:lnTo>
                        <a:pt x="31" y="152"/>
                      </a:lnTo>
                      <a:lnTo>
                        <a:pt x="24" y="156"/>
                      </a:lnTo>
                      <a:lnTo>
                        <a:pt x="14" y="165"/>
                      </a:lnTo>
                      <a:lnTo>
                        <a:pt x="6" y="159"/>
                      </a:lnTo>
                      <a:lnTo>
                        <a:pt x="4" y="155"/>
                      </a:lnTo>
                      <a:lnTo>
                        <a:pt x="1" y="151"/>
                      </a:lnTo>
                      <a:lnTo>
                        <a:pt x="0" y="14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6" name="Freeform 715"/>
                <p:cNvSpPr>
                  <a:spLocks/>
                </p:cNvSpPr>
                <p:nvPr/>
              </p:nvSpPr>
              <p:spPr bwMode="auto">
                <a:xfrm>
                  <a:off x="4891979" y="4744154"/>
                  <a:ext cx="36996" cy="38477"/>
                </a:xfrm>
                <a:custGeom>
                  <a:avLst/>
                  <a:gdLst>
                    <a:gd name="T0" fmla="*/ 0 w 27"/>
                    <a:gd name="T1" fmla="*/ 2147483647 h 26"/>
                    <a:gd name="T2" fmla="*/ 2147483647 w 27"/>
                    <a:gd name="T3" fmla="*/ 2147483647 h 26"/>
                    <a:gd name="T4" fmla="*/ 2147483647 w 27"/>
                    <a:gd name="T5" fmla="*/ 0 h 26"/>
                    <a:gd name="T6" fmla="*/ 2147483647 w 27"/>
                    <a:gd name="T7" fmla="*/ 2147483647 h 26"/>
                    <a:gd name="T8" fmla="*/ 2147483647 w 27"/>
                    <a:gd name="T9" fmla="*/ 2147483647 h 26"/>
                    <a:gd name="T10" fmla="*/ 2147483647 w 27"/>
                    <a:gd name="T11" fmla="*/ 2147483647 h 26"/>
                    <a:gd name="T12" fmla="*/ 2147483647 w 27"/>
                    <a:gd name="T13" fmla="*/ 2147483647 h 26"/>
                    <a:gd name="T14" fmla="*/ 2147483647 w 27"/>
                    <a:gd name="T15" fmla="*/ 2147483647 h 26"/>
                    <a:gd name="T16" fmla="*/ 2147483647 w 27"/>
                    <a:gd name="T17" fmla="*/ 2147483647 h 26"/>
                    <a:gd name="T18" fmla="*/ 2147483647 w 27"/>
                    <a:gd name="T19" fmla="*/ 2147483647 h 26"/>
                    <a:gd name="T20" fmla="*/ 2147483647 w 27"/>
                    <a:gd name="T21" fmla="*/ 2147483647 h 26"/>
                    <a:gd name="T22" fmla="*/ 2147483647 w 27"/>
                    <a:gd name="T23" fmla="*/ 2147483647 h 26"/>
                    <a:gd name="T24" fmla="*/ 2147483647 w 27"/>
                    <a:gd name="T25" fmla="*/ 2147483647 h 26"/>
                    <a:gd name="T26" fmla="*/ 2147483647 w 27"/>
                    <a:gd name="T27" fmla="*/ 2147483647 h 26"/>
                    <a:gd name="T28" fmla="*/ 0 w 27"/>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26"/>
                    <a:gd name="T47" fmla="*/ 27 w 27"/>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26">
                      <a:moveTo>
                        <a:pt x="0" y="13"/>
                      </a:moveTo>
                      <a:lnTo>
                        <a:pt x="10" y="5"/>
                      </a:lnTo>
                      <a:lnTo>
                        <a:pt x="18" y="0"/>
                      </a:lnTo>
                      <a:lnTo>
                        <a:pt x="22" y="2"/>
                      </a:lnTo>
                      <a:lnTo>
                        <a:pt x="27" y="8"/>
                      </a:lnTo>
                      <a:lnTo>
                        <a:pt x="23" y="13"/>
                      </a:lnTo>
                      <a:lnTo>
                        <a:pt x="19" y="17"/>
                      </a:lnTo>
                      <a:lnTo>
                        <a:pt x="18" y="20"/>
                      </a:lnTo>
                      <a:lnTo>
                        <a:pt x="18" y="24"/>
                      </a:lnTo>
                      <a:lnTo>
                        <a:pt x="16" y="24"/>
                      </a:lnTo>
                      <a:lnTo>
                        <a:pt x="15" y="25"/>
                      </a:lnTo>
                      <a:lnTo>
                        <a:pt x="9" y="26"/>
                      </a:lnTo>
                      <a:lnTo>
                        <a:pt x="9" y="22"/>
                      </a:lnTo>
                      <a:lnTo>
                        <a:pt x="6" y="20"/>
                      </a:lnTo>
                      <a:lnTo>
                        <a:pt x="0"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7" name="Freeform 716"/>
                <p:cNvSpPr>
                  <a:spLocks/>
                </p:cNvSpPr>
                <p:nvPr/>
              </p:nvSpPr>
              <p:spPr bwMode="auto">
                <a:xfrm>
                  <a:off x="4948216" y="4316471"/>
                  <a:ext cx="309293" cy="245659"/>
                </a:xfrm>
                <a:custGeom>
                  <a:avLst/>
                  <a:gdLst>
                    <a:gd name="T0" fmla="*/ 2147483647 w 226"/>
                    <a:gd name="T1" fmla="*/ 2147483647 h 166"/>
                    <a:gd name="T2" fmla="*/ 2147483647 w 226"/>
                    <a:gd name="T3" fmla="*/ 2147483647 h 166"/>
                    <a:gd name="T4" fmla="*/ 2147483647 w 226"/>
                    <a:gd name="T5" fmla="*/ 2147483647 h 166"/>
                    <a:gd name="T6" fmla="*/ 2147483647 w 226"/>
                    <a:gd name="T7" fmla="*/ 2147483647 h 166"/>
                    <a:gd name="T8" fmla="*/ 2147483647 w 226"/>
                    <a:gd name="T9" fmla="*/ 2147483647 h 166"/>
                    <a:gd name="T10" fmla="*/ 2147483647 w 226"/>
                    <a:gd name="T11" fmla="*/ 2147483647 h 166"/>
                    <a:gd name="T12" fmla="*/ 2147483647 w 226"/>
                    <a:gd name="T13" fmla="*/ 2147483647 h 166"/>
                    <a:gd name="T14" fmla="*/ 2147483647 w 226"/>
                    <a:gd name="T15" fmla="*/ 2147483647 h 166"/>
                    <a:gd name="T16" fmla="*/ 2147483647 w 226"/>
                    <a:gd name="T17" fmla="*/ 2147483647 h 166"/>
                    <a:gd name="T18" fmla="*/ 2147483647 w 226"/>
                    <a:gd name="T19" fmla="*/ 2147483647 h 166"/>
                    <a:gd name="T20" fmla="*/ 0 w 226"/>
                    <a:gd name="T21" fmla="*/ 2147483647 h 166"/>
                    <a:gd name="T22" fmla="*/ 2147483647 w 226"/>
                    <a:gd name="T23" fmla="*/ 2147483647 h 166"/>
                    <a:gd name="T24" fmla="*/ 2147483647 w 226"/>
                    <a:gd name="T25" fmla="*/ 2147483647 h 166"/>
                    <a:gd name="T26" fmla="*/ 2147483647 w 226"/>
                    <a:gd name="T27" fmla="*/ 2147483647 h 166"/>
                    <a:gd name="T28" fmla="*/ 2147483647 w 226"/>
                    <a:gd name="T29" fmla="*/ 2147483647 h 166"/>
                    <a:gd name="T30" fmla="*/ 2147483647 w 226"/>
                    <a:gd name="T31" fmla="*/ 2147483647 h 166"/>
                    <a:gd name="T32" fmla="*/ 2147483647 w 226"/>
                    <a:gd name="T33" fmla="*/ 2147483647 h 166"/>
                    <a:gd name="T34" fmla="*/ 2147483647 w 226"/>
                    <a:gd name="T35" fmla="*/ 2147483647 h 166"/>
                    <a:gd name="T36" fmla="*/ 2147483647 w 226"/>
                    <a:gd name="T37" fmla="*/ 2147483647 h 166"/>
                    <a:gd name="T38" fmla="*/ 2147483647 w 226"/>
                    <a:gd name="T39" fmla="*/ 2147483647 h 166"/>
                    <a:gd name="T40" fmla="*/ 2147483647 w 226"/>
                    <a:gd name="T41" fmla="*/ 2147483647 h 166"/>
                    <a:gd name="T42" fmla="*/ 2147483647 w 226"/>
                    <a:gd name="T43" fmla="*/ 2147483647 h 166"/>
                    <a:gd name="T44" fmla="*/ 2147483647 w 226"/>
                    <a:gd name="T45" fmla="*/ 2147483647 h 166"/>
                    <a:gd name="T46" fmla="*/ 2147483647 w 226"/>
                    <a:gd name="T47" fmla="*/ 2147483647 h 166"/>
                    <a:gd name="T48" fmla="*/ 2147483647 w 226"/>
                    <a:gd name="T49" fmla="*/ 2147483647 h 166"/>
                    <a:gd name="T50" fmla="*/ 2147483647 w 226"/>
                    <a:gd name="T51" fmla="*/ 2147483647 h 166"/>
                    <a:gd name="T52" fmla="*/ 2147483647 w 226"/>
                    <a:gd name="T53" fmla="*/ 2147483647 h 166"/>
                    <a:gd name="T54" fmla="*/ 2147483647 w 226"/>
                    <a:gd name="T55" fmla="*/ 2147483647 h 166"/>
                    <a:gd name="T56" fmla="*/ 2147483647 w 226"/>
                    <a:gd name="T57" fmla="*/ 2147483647 h 166"/>
                    <a:gd name="T58" fmla="*/ 2147483647 w 226"/>
                    <a:gd name="T59" fmla="*/ 2147483647 h 166"/>
                    <a:gd name="T60" fmla="*/ 2147483647 w 226"/>
                    <a:gd name="T61" fmla="*/ 2147483647 h 166"/>
                    <a:gd name="T62" fmla="*/ 2147483647 w 226"/>
                    <a:gd name="T63" fmla="*/ 2147483647 h 166"/>
                    <a:gd name="T64" fmla="*/ 2147483647 w 226"/>
                    <a:gd name="T65" fmla="*/ 2147483647 h 166"/>
                    <a:gd name="T66" fmla="*/ 2147483647 w 226"/>
                    <a:gd name="T67" fmla="*/ 2147483647 h 166"/>
                    <a:gd name="T68" fmla="*/ 2147483647 w 226"/>
                    <a:gd name="T69" fmla="*/ 2147483647 h 166"/>
                    <a:gd name="T70" fmla="*/ 2147483647 w 226"/>
                    <a:gd name="T71" fmla="*/ 2147483647 h 166"/>
                    <a:gd name="T72" fmla="*/ 2147483647 w 226"/>
                    <a:gd name="T73" fmla="*/ 2147483647 h 166"/>
                    <a:gd name="T74" fmla="*/ 2147483647 w 226"/>
                    <a:gd name="T75" fmla="*/ 2147483647 h 166"/>
                    <a:gd name="T76" fmla="*/ 2147483647 w 226"/>
                    <a:gd name="T77" fmla="*/ 2147483647 h 166"/>
                    <a:gd name="T78" fmla="*/ 2147483647 w 226"/>
                    <a:gd name="T79" fmla="*/ 2147483647 h 166"/>
                    <a:gd name="T80" fmla="*/ 2147483647 w 226"/>
                    <a:gd name="T81" fmla="*/ 2147483647 h 166"/>
                    <a:gd name="T82" fmla="*/ 2147483647 w 226"/>
                    <a:gd name="T83" fmla="*/ 2147483647 h 166"/>
                    <a:gd name="T84" fmla="*/ 2147483647 w 226"/>
                    <a:gd name="T85" fmla="*/ 2147483647 h 166"/>
                    <a:gd name="T86" fmla="*/ 2147483647 w 226"/>
                    <a:gd name="T87" fmla="*/ 2147483647 h 166"/>
                    <a:gd name="T88" fmla="*/ 2147483647 w 226"/>
                    <a:gd name="T89" fmla="*/ 2147483647 h 166"/>
                    <a:gd name="T90" fmla="*/ 2147483647 w 226"/>
                    <a:gd name="T91" fmla="*/ 2147483647 h 166"/>
                    <a:gd name="T92" fmla="*/ 2147483647 w 226"/>
                    <a:gd name="T93" fmla="*/ 2147483647 h 166"/>
                    <a:gd name="T94" fmla="*/ 2147483647 w 226"/>
                    <a:gd name="T95" fmla="*/ 2147483647 h 166"/>
                    <a:gd name="T96" fmla="*/ 2147483647 w 226"/>
                    <a:gd name="T97" fmla="*/ 2147483647 h 166"/>
                    <a:gd name="T98" fmla="*/ 2147483647 w 226"/>
                    <a:gd name="T99" fmla="*/ 2147483647 h 166"/>
                    <a:gd name="T100" fmla="*/ 2147483647 w 226"/>
                    <a:gd name="T101" fmla="*/ 2147483647 h 166"/>
                    <a:gd name="T102" fmla="*/ 2147483647 w 226"/>
                    <a:gd name="T103" fmla="*/ 2147483647 h 166"/>
                    <a:gd name="T104" fmla="*/ 2147483647 w 226"/>
                    <a:gd name="T105" fmla="*/ 2147483647 h 166"/>
                    <a:gd name="T106" fmla="*/ 2147483647 w 226"/>
                    <a:gd name="T107" fmla="*/ 2147483647 h 166"/>
                    <a:gd name="T108" fmla="*/ 2147483647 w 226"/>
                    <a:gd name="T109" fmla="*/ 2147483647 h 166"/>
                    <a:gd name="T110" fmla="*/ 2147483647 w 226"/>
                    <a:gd name="T111" fmla="*/ 2147483647 h 166"/>
                    <a:gd name="T112" fmla="*/ 2147483647 w 226"/>
                    <a:gd name="T113" fmla="*/ 2147483647 h 166"/>
                    <a:gd name="T114" fmla="*/ 2147483647 w 226"/>
                    <a:gd name="T115" fmla="*/ 2147483647 h 166"/>
                    <a:gd name="T116" fmla="*/ 2147483647 w 226"/>
                    <a:gd name="T117" fmla="*/ 2147483647 h 1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6"/>
                    <a:gd name="T178" fmla="*/ 0 h 166"/>
                    <a:gd name="T179" fmla="*/ 226 w 226"/>
                    <a:gd name="T180" fmla="*/ 166 h 1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6" h="166">
                      <a:moveTo>
                        <a:pt x="76" y="137"/>
                      </a:moveTo>
                      <a:lnTo>
                        <a:pt x="64" y="140"/>
                      </a:lnTo>
                      <a:lnTo>
                        <a:pt x="55" y="143"/>
                      </a:lnTo>
                      <a:lnTo>
                        <a:pt x="53" y="145"/>
                      </a:lnTo>
                      <a:lnTo>
                        <a:pt x="50" y="149"/>
                      </a:lnTo>
                      <a:lnTo>
                        <a:pt x="47" y="156"/>
                      </a:lnTo>
                      <a:lnTo>
                        <a:pt x="43" y="162"/>
                      </a:lnTo>
                      <a:lnTo>
                        <a:pt x="42" y="164"/>
                      </a:lnTo>
                      <a:lnTo>
                        <a:pt x="40" y="164"/>
                      </a:lnTo>
                      <a:lnTo>
                        <a:pt x="34" y="166"/>
                      </a:lnTo>
                      <a:lnTo>
                        <a:pt x="26" y="166"/>
                      </a:lnTo>
                      <a:lnTo>
                        <a:pt x="25" y="157"/>
                      </a:lnTo>
                      <a:lnTo>
                        <a:pt x="26" y="147"/>
                      </a:lnTo>
                      <a:lnTo>
                        <a:pt x="26" y="141"/>
                      </a:lnTo>
                      <a:lnTo>
                        <a:pt x="25" y="136"/>
                      </a:lnTo>
                      <a:lnTo>
                        <a:pt x="19" y="130"/>
                      </a:lnTo>
                      <a:lnTo>
                        <a:pt x="12" y="125"/>
                      </a:lnTo>
                      <a:lnTo>
                        <a:pt x="6" y="119"/>
                      </a:lnTo>
                      <a:lnTo>
                        <a:pt x="3" y="116"/>
                      </a:lnTo>
                      <a:lnTo>
                        <a:pt x="2" y="111"/>
                      </a:lnTo>
                      <a:lnTo>
                        <a:pt x="0" y="102"/>
                      </a:lnTo>
                      <a:lnTo>
                        <a:pt x="0" y="92"/>
                      </a:lnTo>
                      <a:lnTo>
                        <a:pt x="1" y="87"/>
                      </a:lnTo>
                      <a:lnTo>
                        <a:pt x="2" y="83"/>
                      </a:lnTo>
                      <a:lnTo>
                        <a:pt x="6" y="79"/>
                      </a:lnTo>
                      <a:lnTo>
                        <a:pt x="10" y="76"/>
                      </a:lnTo>
                      <a:lnTo>
                        <a:pt x="14" y="74"/>
                      </a:lnTo>
                      <a:lnTo>
                        <a:pt x="16" y="73"/>
                      </a:lnTo>
                      <a:lnTo>
                        <a:pt x="20" y="72"/>
                      </a:lnTo>
                      <a:lnTo>
                        <a:pt x="29" y="67"/>
                      </a:lnTo>
                      <a:lnTo>
                        <a:pt x="36" y="62"/>
                      </a:lnTo>
                      <a:lnTo>
                        <a:pt x="43" y="61"/>
                      </a:lnTo>
                      <a:lnTo>
                        <a:pt x="48" y="61"/>
                      </a:lnTo>
                      <a:lnTo>
                        <a:pt x="59" y="61"/>
                      </a:lnTo>
                      <a:lnTo>
                        <a:pt x="63" y="61"/>
                      </a:lnTo>
                      <a:lnTo>
                        <a:pt x="66" y="60"/>
                      </a:lnTo>
                      <a:lnTo>
                        <a:pt x="69" y="58"/>
                      </a:lnTo>
                      <a:lnTo>
                        <a:pt x="72" y="57"/>
                      </a:lnTo>
                      <a:lnTo>
                        <a:pt x="82" y="53"/>
                      </a:lnTo>
                      <a:lnTo>
                        <a:pt x="90" y="48"/>
                      </a:lnTo>
                      <a:lnTo>
                        <a:pt x="96" y="42"/>
                      </a:lnTo>
                      <a:lnTo>
                        <a:pt x="101" y="34"/>
                      </a:lnTo>
                      <a:lnTo>
                        <a:pt x="102" y="32"/>
                      </a:lnTo>
                      <a:lnTo>
                        <a:pt x="105" y="30"/>
                      </a:lnTo>
                      <a:lnTo>
                        <a:pt x="111" y="28"/>
                      </a:lnTo>
                      <a:lnTo>
                        <a:pt x="118" y="26"/>
                      </a:lnTo>
                      <a:lnTo>
                        <a:pt x="120" y="25"/>
                      </a:lnTo>
                      <a:lnTo>
                        <a:pt x="123" y="22"/>
                      </a:lnTo>
                      <a:lnTo>
                        <a:pt x="132" y="15"/>
                      </a:lnTo>
                      <a:lnTo>
                        <a:pt x="135" y="12"/>
                      </a:lnTo>
                      <a:lnTo>
                        <a:pt x="139" y="8"/>
                      </a:lnTo>
                      <a:lnTo>
                        <a:pt x="143" y="6"/>
                      </a:lnTo>
                      <a:lnTo>
                        <a:pt x="146" y="3"/>
                      </a:lnTo>
                      <a:lnTo>
                        <a:pt x="148" y="2"/>
                      </a:lnTo>
                      <a:lnTo>
                        <a:pt x="149" y="0"/>
                      </a:lnTo>
                      <a:lnTo>
                        <a:pt x="153" y="1"/>
                      </a:lnTo>
                      <a:lnTo>
                        <a:pt x="156" y="2"/>
                      </a:lnTo>
                      <a:lnTo>
                        <a:pt x="157" y="3"/>
                      </a:lnTo>
                      <a:lnTo>
                        <a:pt x="157" y="9"/>
                      </a:lnTo>
                      <a:lnTo>
                        <a:pt x="157" y="15"/>
                      </a:lnTo>
                      <a:lnTo>
                        <a:pt x="157" y="21"/>
                      </a:lnTo>
                      <a:lnTo>
                        <a:pt x="160" y="27"/>
                      </a:lnTo>
                      <a:lnTo>
                        <a:pt x="161" y="32"/>
                      </a:lnTo>
                      <a:lnTo>
                        <a:pt x="162" y="36"/>
                      </a:lnTo>
                      <a:lnTo>
                        <a:pt x="162" y="41"/>
                      </a:lnTo>
                      <a:lnTo>
                        <a:pt x="162" y="46"/>
                      </a:lnTo>
                      <a:lnTo>
                        <a:pt x="165" y="48"/>
                      </a:lnTo>
                      <a:lnTo>
                        <a:pt x="167" y="51"/>
                      </a:lnTo>
                      <a:lnTo>
                        <a:pt x="174" y="54"/>
                      </a:lnTo>
                      <a:lnTo>
                        <a:pt x="180" y="57"/>
                      </a:lnTo>
                      <a:lnTo>
                        <a:pt x="188" y="59"/>
                      </a:lnTo>
                      <a:lnTo>
                        <a:pt x="189" y="61"/>
                      </a:lnTo>
                      <a:lnTo>
                        <a:pt x="191" y="64"/>
                      </a:lnTo>
                      <a:lnTo>
                        <a:pt x="208" y="76"/>
                      </a:lnTo>
                      <a:lnTo>
                        <a:pt x="215" y="81"/>
                      </a:lnTo>
                      <a:lnTo>
                        <a:pt x="218" y="86"/>
                      </a:lnTo>
                      <a:lnTo>
                        <a:pt x="221" y="90"/>
                      </a:lnTo>
                      <a:lnTo>
                        <a:pt x="223" y="98"/>
                      </a:lnTo>
                      <a:lnTo>
                        <a:pt x="224" y="103"/>
                      </a:lnTo>
                      <a:lnTo>
                        <a:pt x="226" y="106"/>
                      </a:lnTo>
                      <a:lnTo>
                        <a:pt x="222" y="105"/>
                      </a:lnTo>
                      <a:lnTo>
                        <a:pt x="218" y="104"/>
                      </a:lnTo>
                      <a:lnTo>
                        <a:pt x="212" y="103"/>
                      </a:lnTo>
                      <a:lnTo>
                        <a:pt x="208" y="102"/>
                      </a:lnTo>
                      <a:lnTo>
                        <a:pt x="205" y="102"/>
                      </a:lnTo>
                      <a:lnTo>
                        <a:pt x="200" y="103"/>
                      </a:lnTo>
                      <a:lnTo>
                        <a:pt x="195" y="106"/>
                      </a:lnTo>
                      <a:lnTo>
                        <a:pt x="190" y="110"/>
                      </a:lnTo>
                      <a:lnTo>
                        <a:pt x="188" y="111"/>
                      </a:lnTo>
                      <a:lnTo>
                        <a:pt x="184" y="112"/>
                      </a:lnTo>
                      <a:lnTo>
                        <a:pt x="176" y="113"/>
                      </a:lnTo>
                      <a:lnTo>
                        <a:pt x="169" y="112"/>
                      </a:lnTo>
                      <a:lnTo>
                        <a:pt x="161" y="110"/>
                      </a:lnTo>
                      <a:lnTo>
                        <a:pt x="158" y="109"/>
                      </a:lnTo>
                      <a:lnTo>
                        <a:pt x="157" y="110"/>
                      </a:lnTo>
                      <a:lnTo>
                        <a:pt x="153" y="115"/>
                      </a:lnTo>
                      <a:lnTo>
                        <a:pt x="149" y="117"/>
                      </a:lnTo>
                      <a:lnTo>
                        <a:pt x="146" y="118"/>
                      </a:lnTo>
                      <a:lnTo>
                        <a:pt x="137" y="119"/>
                      </a:lnTo>
                      <a:lnTo>
                        <a:pt x="128" y="119"/>
                      </a:lnTo>
                      <a:lnTo>
                        <a:pt x="122" y="118"/>
                      </a:lnTo>
                      <a:lnTo>
                        <a:pt x="119" y="117"/>
                      </a:lnTo>
                      <a:lnTo>
                        <a:pt x="116" y="116"/>
                      </a:lnTo>
                      <a:lnTo>
                        <a:pt x="114" y="112"/>
                      </a:lnTo>
                      <a:lnTo>
                        <a:pt x="110" y="108"/>
                      </a:lnTo>
                      <a:lnTo>
                        <a:pt x="108" y="108"/>
                      </a:lnTo>
                      <a:lnTo>
                        <a:pt x="104" y="106"/>
                      </a:lnTo>
                      <a:lnTo>
                        <a:pt x="97" y="105"/>
                      </a:lnTo>
                      <a:lnTo>
                        <a:pt x="95" y="104"/>
                      </a:lnTo>
                      <a:lnTo>
                        <a:pt x="94" y="105"/>
                      </a:lnTo>
                      <a:lnTo>
                        <a:pt x="90" y="113"/>
                      </a:lnTo>
                      <a:lnTo>
                        <a:pt x="87" y="117"/>
                      </a:lnTo>
                      <a:lnTo>
                        <a:pt x="82" y="119"/>
                      </a:lnTo>
                      <a:lnTo>
                        <a:pt x="81" y="128"/>
                      </a:lnTo>
                      <a:lnTo>
                        <a:pt x="80" y="129"/>
                      </a:lnTo>
                      <a:lnTo>
                        <a:pt x="78" y="130"/>
                      </a:lnTo>
                      <a:lnTo>
                        <a:pt x="76" y="131"/>
                      </a:lnTo>
                      <a:lnTo>
                        <a:pt x="76" y="132"/>
                      </a:lnTo>
                      <a:lnTo>
                        <a:pt x="76" y="13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8" name="Freeform 717"/>
                <p:cNvSpPr>
                  <a:spLocks/>
                </p:cNvSpPr>
                <p:nvPr/>
              </p:nvSpPr>
              <p:spPr bwMode="auto">
                <a:xfrm>
                  <a:off x="4890498" y="4742674"/>
                  <a:ext cx="35517" cy="38477"/>
                </a:xfrm>
                <a:custGeom>
                  <a:avLst/>
                  <a:gdLst>
                    <a:gd name="T0" fmla="*/ 0 w 26"/>
                    <a:gd name="T1" fmla="*/ 2147483647 h 26"/>
                    <a:gd name="T2" fmla="*/ 0 w 26"/>
                    <a:gd name="T3" fmla="*/ 2147483647 h 26"/>
                    <a:gd name="T4" fmla="*/ 2147483647 w 26"/>
                    <a:gd name="T5" fmla="*/ 2147483647 h 26"/>
                    <a:gd name="T6" fmla="*/ 2147483647 w 26"/>
                    <a:gd name="T7" fmla="*/ 0 h 26"/>
                    <a:gd name="T8" fmla="*/ 2147483647 w 26"/>
                    <a:gd name="T9" fmla="*/ 0 h 26"/>
                    <a:gd name="T10" fmla="*/ 2147483647 w 26"/>
                    <a:gd name="T11" fmla="*/ 2147483647 h 26"/>
                    <a:gd name="T12" fmla="*/ 2147483647 w 26"/>
                    <a:gd name="T13" fmla="*/ 2147483647 h 26"/>
                    <a:gd name="T14" fmla="*/ 2147483647 w 26"/>
                    <a:gd name="T15" fmla="*/ 2147483647 h 26"/>
                    <a:gd name="T16" fmla="*/ 2147483647 w 26"/>
                    <a:gd name="T17" fmla="*/ 2147483647 h 26"/>
                    <a:gd name="T18" fmla="*/ 2147483647 w 26"/>
                    <a:gd name="T19" fmla="*/ 2147483647 h 26"/>
                    <a:gd name="T20" fmla="*/ 2147483647 w 26"/>
                    <a:gd name="T21" fmla="*/ 2147483647 h 26"/>
                    <a:gd name="T22" fmla="*/ 2147483647 w 26"/>
                    <a:gd name="T23" fmla="*/ 2147483647 h 26"/>
                    <a:gd name="T24" fmla="*/ 2147483647 w 26"/>
                    <a:gd name="T25" fmla="*/ 2147483647 h 26"/>
                    <a:gd name="T26" fmla="*/ 2147483647 w 26"/>
                    <a:gd name="T27" fmla="*/ 2147483647 h 26"/>
                    <a:gd name="T28" fmla="*/ 2147483647 w 26"/>
                    <a:gd name="T29" fmla="*/ 2147483647 h 26"/>
                    <a:gd name="T30" fmla="*/ 2147483647 w 26"/>
                    <a:gd name="T31" fmla="*/ 2147483647 h 26"/>
                    <a:gd name="T32" fmla="*/ 2147483647 w 26"/>
                    <a:gd name="T33" fmla="*/ 2147483647 h 26"/>
                    <a:gd name="T34" fmla="*/ 2147483647 w 26"/>
                    <a:gd name="T35" fmla="*/ 2147483647 h 26"/>
                    <a:gd name="T36" fmla="*/ 2147483647 w 26"/>
                    <a:gd name="T37" fmla="*/ 2147483647 h 26"/>
                    <a:gd name="T38" fmla="*/ 2147483647 w 26"/>
                    <a:gd name="T39" fmla="*/ 2147483647 h 26"/>
                    <a:gd name="T40" fmla="*/ 2147483647 w 26"/>
                    <a:gd name="T41" fmla="*/ 2147483647 h 26"/>
                    <a:gd name="T42" fmla="*/ 0 w 26"/>
                    <a:gd name="T43" fmla="*/ 2147483647 h 26"/>
                    <a:gd name="T44" fmla="*/ 0 w 26"/>
                    <a:gd name="T45" fmla="*/ 2147483647 h 2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26"/>
                    <a:gd name="T71" fmla="*/ 26 w 26"/>
                    <a:gd name="T72" fmla="*/ 26 h 2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26">
                      <a:moveTo>
                        <a:pt x="0" y="13"/>
                      </a:moveTo>
                      <a:lnTo>
                        <a:pt x="0" y="13"/>
                      </a:lnTo>
                      <a:lnTo>
                        <a:pt x="10" y="4"/>
                      </a:lnTo>
                      <a:lnTo>
                        <a:pt x="17" y="0"/>
                      </a:lnTo>
                      <a:lnTo>
                        <a:pt x="21" y="2"/>
                      </a:lnTo>
                      <a:lnTo>
                        <a:pt x="26" y="8"/>
                      </a:lnTo>
                      <a:lnTo>
                        <a:pt x="23" y="13"/>
                      </a:lnTo>
                      <a:lnTo>
                        <a:pt x="19" y="16"/>
                      </a:lnTo>
                      <a:lnTo>
                        <a:pt x="17" y="20"/>
                      </a:lnTo>
                      <a:lnTo>
                        <a:pt x="17" y="23"/>
                      </a:lnTo>
                      <a:lnTo>
                        <a:pt x="16" y="23"/>
                      </a:lnTo>
                      <a:lnTo>
                        <a:pt x="15" y="25"/>
                      </a:lnTo>
                      <a:lnTo>
                        <a:pt x="9" y="26"/>
                      </a:lnTo>
                      <a:lnTo>
                        <a:pt x="9" y="22"/>
                      </a:lnTo>
                      <a:lnTo>
                        <a:pt x="6" y="20"/>
                      </a:lnTo>
                      <a:lnTo>
                        <a:pt x="0"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59" name="Freeform 718"/>
                <p:cNvSpPr>
                  <a:spLocks/>
                </p:cNvSpPr>
                <p:nvPr/>
              </p:nvSpPr>
              <p:spPr bwMode="auto">
                <a:xfrm>
                  <a:off x="4945256" y="4313512"/>
                  <a:ext cx="309293" cy="245659"/>
                </a:xfrm>
                <a:custGeom>
                  <a:avLst/>
                  <a:gdLst>
                    <a:gd name="T0" fmla="*/ 2147483647 w 226"/>
                    <a:gd name="T1" fmla="*/ 2147483647 h 166"/>
                    <a:gd name="T2" fmla="*/ 2147483647 w 226"/>
                    <a:gd name="T3" fmla="*/ 2147483647 h 166"/>
                    <a:gd name="T4" fmla="*/ 2147483647 w 226"/>
                    <a:gd name="T5" fmla="*/ 2147483647 h 166"/>
                    <a:gd name="T6" fmla="*/ 2147483647 w 226"/>
                    <a:gd name="T7" fmla="*/ 2147483647 h 166"/>
                    <a:gd name="T8" fmla="*/ 2147483647 w 226"/>
                    <a:gd name="T9" fmla="*/ 2147483647 h 166"/>
                    <a:gd name="T10" fmla="*/ 2147483647 w 226"/>
                    <a:gd name="T11" fmla="*/ 2147483647 h 166"/>
                    <a:gd name="T12" fmla="*/ 2147483647 w 226"/>
                    <a:gd name="T13" fmla="*/ 2147483647 h 166"/>
                    <a:gd name="T14" fmla="*/ 2147483647 w 226"/>
                    <a:gd name="T15" fmla="*/ 2147483647 h 166"/>
                    <a:gd name="T16" fmla="*/ 2147483647 w 226"/>
                    <a:gd name="T17" fmla="*/ 2147483647 h 166"/>
                    <a:gd name="T18" fmla="*/ 2147483647 w 226"/>
                    <a:gd name="T19" fmla="*/ 2147483647 h 166"/>
                    <a:gd name="T20" fmla="*/ 2147483647 w 226"/>
                    <a:gd name="T21" fmla="*/ 2147483647 h 166"/>
                    <a:gd name="T22" fmla="*/ 2147483647 w 226"/>
                    <a:gd name="T23" fmla="*/ 2147483647 h 166"/>
                    <a:gd name="T24" fmla="*/ 2147483647 w 226"/>
                    <a:gd name="T25" fmla="*/ 2147483647 h 166"/>
                    <a:gd name="T26" fmla="*/ 2147483647 w 226"/>
                    <a:gd name="T27" fmla="*/ 2147483647 h 166"/>
                    <a:gd name="T28" fmla="*/ 2147483647 w 226"/>
                    <a:gd name="T29" fmla="*/ 2147483647 h 166"/>
                    <a:gd name="T30" fmla="*/ 2147483647 w 226"/>
                    <a:gd name="T31" fmla="*/ 2147483647 h 166"/>
                    <a:gd name="T32" fmla="*/ 2147483647 w 226"/>
                    <a:gd name="T33" fmla="*/ 2147483647 h 166"/>
                    <a:gd name="T34" fmla="*/ 2147483647 w 226"/>
                    <a:gd name="T35" fmla="*/ 2147483647 h 166"/>
                    <a:gd name="T36" fmla="*/ 2147483647 w 226"/>
                    <a:gd name="T37" fmla="*/ 2147483647 h 166"/>
                    <a:gd name="T38" fmla="*/ 2147483647 w 226"/>
                    <a:gd name="T39" fmla="*/ 2147483647 h 166"/>
                    <a:gd name="T40" fmla="*/ 2147483647 w 226"/>
                    <a:gd name="T41" fmla="*/ 2147483647 h 166"/>
                    <a:gd name="T42" fmla="*/ 2147483647 w 226"/>
                    <a:gd name="T43" fmla="*/ 2147483647 h 166"/>
                    <a:gd name="T44" fmla="*/ 2147483647 w 226"/>
                    <a:gd name="T45" fmla="*/ 2147483647 h 166"/>
                    <a:gd name="T46" fmla="*/ 2147483647 w 226"/>
                    <a:gd name="T47" fmla="*/ 0 h 166"/>
                    <a:gd name="T48" fmla="*/ 2147483647 w 226"/>
                    <a:gd name="T49" fmla="*/ 2147483647 h 166"/>
                    <a:gd name="T50" fmla="*/ 2147483647 w 226"/>
                    <a:gd name="T51" fmla="*/ 2147483647 h 166"/>
                    <a:gd name="T52" fmla="*/ 2147483647 w 226"/>
                    <a:gd name="T53" fmla="*/ 2147483647 h 166"/>
                    <a:gd name="T54" fmla="*/ 2147483647 w 226"/>
                    <a:gd name="T55" fmla="*/ 2147483647 h 166"/>
                    <a:gd name="T56" fmla="*/ 2147483647 w 226"/>
                    <a:gd name="T57" fmla="*/ 2147483647 h 166"/>
                    <a:gd name="T58" fmla="*/ 2147483647 w 226"/>
                    <a:gd name="T59" fmla="*/ 2147483647 h 166"/>
                    <a:gd name="T60" fmla="*/ 2147483647 w 226"/>
                    <a:gd name="T61" fmla="*/ 2147483647 h 166"/>
                    <a:gd name="T62" fmla="*/ 2147483647 w 226"/>
                    <a:gd name="T63" fmla="*/ 2147483647 h 166"/>
                    <a:gd name="T64" fmla="*/ 2147483647 w 226"/>
                    <a:gd name="T65" fmla="*/ 2147483647 h 166"/>
                    <a:gd name="T66" fmla="*/ 2147483647 w 226"/>
                    <a:gd name="T67" fmla="*/ 2147483647 h 166"/>
                    <a:gd name="T68" fmla="*/ 2147483647 w 226"/>
                    <a:gd name="T69" fmla="*/ 2147483647 h 166"/>
                    <a:gd name="T70" fmla="*/ 2147483647 w 226"/>
                    <a:gd name="T71" fmla="*/ 2147483647 h 166"/>
                    <a:gd name="T72" fmla="*/ 2147483647 w 226"/>
                    <a:gd name="T73" fmla="*/ 2147483647 h 166"/>
                    <a:gd name="T74" fmla="*/ 2147483647 w 226"/>
                    <a:gd name="T75" fmla="*/ 2147483647 h 166"/>
                    <a:gd name="T76" fmla="*/ 2147483647 w 226"/>
                    <a:gd name="T77" fmla="*/ 2147483647 h 166"/>
                    <a:gd name="T78" fmla="*/ 2147483647 w 226"/>
                    <a:gd name="T79" fmla="*/ 2147483647 h 166"/>
                    <a:gd name="T80" fmla="*/ 2147483647 w 226"/>
                    <a:gd name="T81" fmla="*/ 2147483647 h 166"/>
                    <a:gd name="T82" fmla="*/ 2147483647 w 226"/>
                    <a:gd name="T83" fmla="*/ 2147483647 h 166"/>
                    <a:gd name="T84" fmla="*/ 2147483647 w 226"/>
                    <a:gd name="T85" fmla="*/ 2147483647 h 166"/>
                    <a:gd name="T86" fmla="*/ 2147483647 w 226"/>
                    <a:gd name="T87" fmla="*/ 2147483647 h 166"/>
                    <a:gd name="T88" fmla="*/ 2147483647 w 226"/>
                    <a:gd name="T89" fmla="*/ 2147483647 h 166"/>
                    <a:gd name="T90" fmla="*/ 2147483647 w 226"/>
                    <a:gd name="T91" fmla="*/ 2147483647 h 166"/>
                    <a:gd name="T92" fmla="*/ 2147483647 w 226"/>
                    <a:gd name="T93" fmla="*/ 2147483647 h 166"/>
                    <a:gd name="T94" fmla="*/ 2147483647 w 226"/>
                    <a:gd name="T95" fmla="*/ 2147483647 h 166"/>
                    <a:gd name="T96" fmla="*/ 2147483647 w 226"/>
                    <a:gd name="T97" fmla="*/ 2147483647 h 166"/>
                    <a:gd name="T98" fmla="*/ 2147483647 w 226"/>
                    <a:gd name="T99" fmla="*/ 2147483647 h 166"/>
                    <a:gd name="T100" fmla="*/ 2147483647 w 226"/>
                    <a:gd name="T101" fmla="*/ 2147483647 h 1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6"/>
                    <a:gd name="T154" fmla="*/ 0 h 166"/>
                    <a:gd name="T155" fmla="*/ 226 w 226"/>
                    <a:gd name="T156" fmla="*/ 166 h 1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6" h="166">
                      <a:moveTo>
                        <a:pt x="77" y="138"/>
                      </a:moveTo>
                      <a:lnTo>
                        <a:pt x="77" y="138"/>
                      </a:lnTo>
                      <a:lnTo>
                        <a:pt x="65" y="140"/>
                      </a:lnTo>
                      <a:lnTo>
                        <a:pt x="56" y="144"/>
                      </a:lnTo>
                      <a:lnTo>
                        <a:pt x="54" y="146"/>
                      </a:lnTo>
                      <a:lnTo>
                        <a:pt x="51" y="150"/>
                      </a:lnTo>
                      <a:lnTo>
                        <a:pt x="47" y="157"/>
                      </a:lnTo>
                      <a:lnTo>
                        <a:pt x="44" y="163"/>
                      </a:lnTo>
                      <a:lnTo>
                        <a:pt x="42" y="165"/>
                      </a:lnTo>
                      <a:lnTo>
                        <a:pt x="41" y="165"/>
                      </a:lnTo>
                      <a:lnTo>
                        <a:pt x="35" y="166"/>
                      </a:lnTo>
                      <a:lnTo>
                        <a:pt x="27" y="166"/>
                      </a:lnTo>
                      <a:lnTo>
                        <a:pt x="26" y="158"/>
                      </a:lnTo>
                      <a:lnTo>
                        <a:pt x="27" y="147"/>
                      </a:lnTo>
                      <a:lnTo>
                        <a:pt x="27" y="142"/>
                      </a:lnTo>
                      <a:lnTo>
                        <a:pt x="26" y="137"/>
                      </a:lnTo>
                      <a:lnTo>
                        <a:pt x="19" y="131"/>
                      </a:lnTo>
                      <a:lnTo>
                        <a:pt x="13" y="126"/>
                      </a:lnTo>
                      <a:lnTo>
                        <a:pt x="7" y="120"/>
                      </a:lnTo>
                      <a:lnTo>
                        <a:pt x="4" y="117"/>
                      </a:lnTo>
                      <a:lnTo>
                        <a:pt x="3" y="112"/>
                      </a:lnTo>
                      <a:lnTo>
                        <a:pt x="0" y="102"/>
                      </a:lnTo>
                      <a:lnTo>
                        <a:pt x="0" y="93"/>
                      </a:lnTo>
                      <a:lnTo>
                        <a:pt x="2" y="88"/>
                      </a:lnTo>
                      <a:lnTo>
                        <a:pt x="3" y="83"/>
                      </a:lnTo>
                      <a:lnTo>
                        <a:pt x="7" y="80"/>
                      </a:lnTo>
                      <a:lnTo>
                        <a:pt x="11" y="76"/>
                      </a:lnTo>
                      <a:lnTo>
                        <a:pt x="14" y="75"/>
                      </a:lnTo>
                      <a:lnTo>
                        <a:pt x="17" y="74"/>
                      </a:lnTo>
                      <a:lnTo>
                        <a:pt x="21" y="73"/>
                      </a:lnTo>
                      <a:lnTo>
                        <a:pt x="30" y="68"/>
                      </a:lnTo>
                      <a:lnTo>
                        <a:pt x="37" y="63"/>
                      </a:lnTo>
                      <a:lnTo>
                        <a:pt x="44" y="62"/>
                      </a:lnTo>
                      <a:lnTo>
                        <a:pt x="49" y="62"/>
                      </a:lnTo>
                      <a:lnTo>
                        <a:pt x="60" y="62"/>
                      </a:lnTo>
                      <a:lnTo>
                        <a:pt x="64" y="62"/>
                      </a:lnTo>
                      <a:lnTo>
                        <a:pt x="66" y="61"/>
                      </a:lnTo>
                      <a:lnTo>
                        <a:pt x="70" y="59"/>
                      </a:lnTo>
                      <a:lnTo>
                        <a:pt x="73" y="57"/>
                      </a:lnTo>
                      <a:lnTo>
                        <a:pt x="83" y="54"/>
                      </a:lnTo>
                      <a:lnTo>
                        <a:pt x="91" y="49"/>
                      </a:lnTo>
                      <a:lnTo>
                        <a:pt x="97" y="43"/>
                      </a:lnTo>
                      <a:lnTo>
                        <a:pt x="102" y="35"/>
                      </a:lnTo>
                      <a:lnTo>
                        <a:pt x="103" y="32"/>
                      </a:lnTo>
                      <a:lnTo>
                        <a:pt x="106" y="31"/>
                      </a:lnTo>
                      <a:lnTo>
                        <a:pt x="112" y="29"/>
                      </a:lnTo>
                      <a:lnTo>
                        <a:pt x="118" y="27"/>
                      </a:lnTo>
                      <a:lnTo>
                        <a:pt x="121" y="25"/>
                      </a:lnTo>
                      <a:lnTo>
                        <a:pt x="124" y="23"/>
                      </a:lnTo>
                      <a:lnTo>
                        <a:pt x="132" y="16"/>
                      </a:lnTo>
                      <a:lnTo>
                        <a:pt x="136" y="12"/>
                      </a:lnTo>
                      <a:lnTo>
                        <a:pt x="140" y="9"/>
                      </a:lnTo>
                      <a:lnTo>
                        <a:pt x="144" y="6"/>
                      </a:lnTo>
                      <a:lnTo>
                        <a:pt x="146" y="4"/>
                      </a:lnTo>
                      <a:lnTo>
                        <a:pt x="149" y="3"/>
                      </a:lnTo>
                      <a:lnTo>
                        <a:pt x="150" y="0"/>
                      </a:lnTo>
                      <a:lnTo>
                        <a:pt x="154" y="2"/>
                      </a:lnTo>
                      <a:lnTo>
                        <a:pt x="157" y="3"/>
                      </a:lnTo>
                      <a:lnTo>
                        <a:pt x="158" y="4"/>
                      </a:lnTo>
                      <a:lnTo>
                        <a:pt x="158" y="10"/>
                      </a:lnTo>
                      <a:lnTo>
                        <a:pt x="158" y="16"/>
                      </a:lnTo>
                      <a:lnTo>
                        <a:pt x="158" y="22"/>
                      </a:lnTo>
                      <a:lnTo>
                        <a:pt x="160" y="28"/>
                      </a:lnTo>
                      <a:lnTo>
                        <a:pt x="162" y="32"/>
                      </a:lnTo>
                      <a:lnTo>
                        <a:pt x="163" y="37"/>
                      </a:lnTo>
                      <a:lnTo>
                        <a:pt x="163" y="42"/>
                      </a:lnTo>
                      <a:lnTo>
                        <a:pt x="163" y="47"/>
                      </a:lnTo>
                      <a:lnTo>
                        <a:pt x="165" y="49"/>
                      </a:lnTo>
                      <a:lnTo>
                        <a:pt x="168" y="51"/>
                      </a:lnTo>
                      <a:lnTo>
                        <a:pt x="174" y="55"/>
                      </a:lnTo>
                      <a:lnTo>
                        <a:pt x="181" y="57"/>
                      </a:lnTo>
                      <a:lnTo>
                        <a:pt x="188" y="60"/>
                      </a:lnTo>
                      <a:lnTo>
                        <a:pt x="190" y="62"/>
                      </a:lnTo>
                      <a:lnTo>
                        <a:pt x="192" y="64"/>
                      </a:lnTo>
                      <a:lnTo>
                        <a:pt x="209" y="76"/>
                      </a:lnTo>
                      <a:lnTo>
                        <a:pt x="216" y="82"/>
                      </a:lnTo>
                      <a:lnTo>
                        <a:pt x="219" y="87"/>
                      </a:lnTo>
                      <a:lnTo>
                        <a:pt x="221" y="91"/>
                      </a:lnTo>
                      <a:lnTo>
                        <a:pt x="224" y="99"/>
                      </a:lnTo>
                      <a:lnTo>
                        <a:pt x="225" y="104"/>
                      </a:lnTo>
                      <a:lnTo>
                        <a:pt x="226" y="107"/>
                      </a:lnTo>
                      <a:lnTo>
                        <a:pt x="223" y="106"/>
                      </a:lnTo>
                      <a:lnTo>
                        <a:pt x="219" y="105"/>
                      </a:lnTo>
                      <a:lnTo>
                        <a:pt x="212" y="104"/>
                      </a:lnTo>
                      <a:lnTo>
                        <a:pt x="209" y="102"/>
                      </a:lnTo>
                      <a:lnTo>
                        <a:pt x="206" y="102"/>
                      </a:lnTo>
                      <a:lnTo>
                        <a:pt x="201" y="104"/>
                      </a:lnTo>
                      <a:lnTo>
                        <a:pt x="196" y="107"/>
                      </a:lnTo>
                      <a:lnTo>
                        <a:pt x="191" y="111"/>
                      </a:lnTo>
                      <a:lnTo>
                        <a:pt x="188" y="112"/>
                      </a:lnTo>
                      <a:lnTo>
                        <a:pt x="184" y="113"/>
                      </a:lnTo>
                      <a:lnTo>
                        <a:pt x="177" y="114"/>
                      </a:lnTo>
                      <a:lnTo>
                        <a:pt x="169" y="113"/>
                      </a:lnTo>
                      <a:lnTo>
                        <a:pt x="162" y="111"/>
                      </a:lnTo>
                      <a:lnTo>
                        <a:pt x="159" y="110"/>
                      </a:lnTo>
                      <a:lnTo>
                        <a:pt x="158" y="111"/>
                      </a:lnTo>
                      <a:lnTo>
                        <a:pt x="154" y="115"/>
                      </a:lnTo>
                      <a:lnTo>
                        <a:pt x="150" y="118"/>
                      </a:lnTo>
                      <a:lnTo>
                        <a:pt x="146" y="119"/>
                      </a:lnTo>
                      <a:lnTo>
                        <a:pt x="137" y="120"/>
                      </a:lnTo>
                      <a:lnTo>
                        <a:pt x="129" y="120"/>
                      </a:lnTo>
                      <a:lnTo>
                        <a:pt x="122" y="119"/>
                      </a:lnTo>
                      <a:lnTo>
                        <a:pt x="120" y="118"/>
                      </a:lnTo>
                      <a:lnTo>
                        <a:pt x="117" y="117"/>
                      </a:lnTo>
                      <a:lnTo>
                        <a:pt x="115" y="113"/>
                      </a:lnTo>
                      <a:lnTo>
                        <a:pt x="111" y="108"/>
                      </a:lnTo>
                      <a:lnTo>
                        <a:pt x="108" y="108"/>
                      </a:lnTo>
                      <a:lnTo>
                        <a:pt x="104" y="107"/>
                      </a:lnTo>
                      <a:lnTo>
                        <a:pt x="98" y="106"/>
                      </a:lnTo>
                      <a:lnTo>
                        <a:pt x="96" y="105"/>
                      </a:lnTo>
                      <a:lnTo>
                        <a:pt x="94" y="106"/>
                      </a:lnTo>
                      <a:lnTo>
                        <a:pt x="91" y="114"/>
                      </a:lnTo>
                      <a:lnTo>
                        <a:pt x="88" y="118"/>
                      </a:lnTo>
                      <a:lnTo>
                        <a:pt x="83" y="120"/>
                      </a:lnTo>
                      <a:lnTo>
                        <a:pt x="82" y="129"/>
                      </a:lnTo>
                      <a:lnTo>
                        <a:pt x="80" y="130"/>
                      </a:lnTo>
                      <a:lnTo>
                        <a:pt x="79" y="131"/>
                      </a:lnTo>
                      <a:lnTo>
                        <a:pt x="77" y="132"/>
                      </a:lnTo>
                      <a:lnTo>
                        <a:pt x="77" y="133"/>
                      </a:lnTo>
                      <a:lnTo>
                        <a:pt x="77" y="13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0" name="Freeform 719"/>
                <p:cNvSpPr>
                  <a:spLocks/>
                </p:cNvSpPr>
                <p:nvPr/>
              </p:nvSpPr>
              <p:spPr bwMode="auto">
                <a:xfrm>
                  <a:off x="5122840" y="3947979"/>
                  <a:ext cx="409924" cy="575671"/>
                </a:xfrm>
                <a:custGeom>
                  <a:avLst/>
                  <a:gdLst>
                    <a:gd name="T0" fmla="*/ 2147483647 w 300"/>
                    <a:gd name="T1" fmla="*/ 2147483647 h 389"/>
                    <a:gd name="T2" fmla="*/ 2147483647 w 300"/>
                    <a:gd name="T3" fmla="*/ 2147483647 h 389"/>
                    <a:gd name="T4" fmla="*/ 2147483647 w 300"/>
                    <a:gd name="T5" fmla="*/ 2147483647 h 389"/>
                    <a:gd name="T6" fmla="*/ 2147483647 w 300"/>
                    <a:gd name="T7" fmla="*/ 2147483647 h 389"/>
                    <a:gd name="T8" fmla="*/ 2147483647 w 300"/>
                    <a:gd name="T9" fmla="*/ 2147483647 h 389"/>
                    <a:gd name="T10" fmla="*/ 2147483647 w 300"/>
                    <a:gd name="T11" fmla="*/ 2147483647 h 389"/>
                    <a:gd name="T12" fmla="*/ 2147483647 w 300"/>
                    <a:gd name="T13" fmla="*/ 2147483647 h 389"/>
                    <a:gd name="T14" fmla="*/ 2147483647 w 300"/>
                    <a:gd name="T15" fmla="*/ 2147483647 h 389"/>
                    <a:gd name="T16" fmla="*/ 2147483647 w 300"/>
                    <a:gd name="T17" fmla="*/ 2147483647 h 389"/>
                    <a:gd name="T18" fmla="*/ 2147483647 w 300"/>
                    <a:gd name="T19" fmla="*/ 2147483647 h 389"/>
                    <a:gd name="T20" fmla="*/ 2147483647 w 300"/>
                    <a:gd name="T21" fmla="*/ 2147483647 h 389"/>
                    <a:gd name="T22" fmla="*/ 2147483647 w 300"/>
                    <a:gd name="T23" fmla="*/ 2147483647 h 389"/>
                    <a:gd name="T24" fmla="*/ 2147483647 w 300"/>
                    <a:gd name="T25" fmla="*/ 2147483647 h 389"/>
                    <a:gd name="T26" fmla="*/ 2147483647 w 300"/>
                    <a:gd name="T27" fmla="*/ 2147483647 h 389"/>
                    <a:gd name="T28" fmla="*/ 2147483647 w 300"/>
                    <a:gd name="T29" fmla="*/ 2147483647 h 389"/>
                    <a:gd name="T30" fmla="*/ 2147483647 w 300"/>
                    <a:gd name="T31" fmla="*/ 2147483647 h 389"/>
                    <a:gd name="T32" fmla="*/ 2147483647 w 300"/>
                    <a:gd name="T33" fmla="*/ 2147483647 h 389"/>
                    <a:gd name="T34" fmla="*/ 2147483647 w 300"/>
                    <a:gd name="T35" fmla="*/ 2147483647 h 389"/>
                    <a:gd name="T36" fmla="*/ 2147483647 w 300"/>
                    <a:gd name="T37" fmla="*/ 2147483647 h 389"/>
                    <a:gd name="T38" fmla="*/ 2147483647 w 300"/>
                    <a:gd name="T39" fmla="*/ 0 h 389"/>
                    <a:gd name="T40" fmla="*/ 2147483647 w 300"/>
                    <a:gd name="T41" fmla="*/ 2147483647 h 389"/>
                    <a:gd name="T42" fmla="*/ 2147483647 w 300"/>
                    <a:gd name="T43" fmla="*/ 2147483647 h 389"/>
                    <a:gd name="T44" fmla="*/ 2147483647 w 300"/>
                    <a:gd name="T45" fmla="*/ 2147483647 h 389"/>
                    <a:gd name="T46" fmla="*/ 2147483647 w 300"/>
                    <a:gd name="T47" fmla="*/ 2147483647 h 389"/>
                    <a:gd name="T48" fmla="*/ 2147483647 w 300"/>
                    <a:gd name="T49" fmla="*/ 2147483647 h 389"/>
                    <a:gd name="T50" fmla="*/ 2147483647 w 300"/>
                    <a:gd name="T51" fmla="*/ 2147483647 h 389"/>
                    <a:gd name="T52" fmla="*/ 2147483647 w 300"/>
                    <a:gd name="T53" fmla="*/ 2147483647 h 389"/>
                    <a:gd name="T54" fmla="*/ 2147483647 w 300"/>
                    <a:gd name="T55" fmla="*/ 2147483647 h 389"/>
                    <a:gd name="T56" fmla="*/ 2147483647 w 300"/>
                    <a:gd name="T57" fmla="*/ 2147483647 h 389"/>
                    <a:gd name="T58" fmla="*/ 2147483647 w 300"/>
                    <a:gd name="T59" fmla="*/ 2147483647 h 389"/>
                    <a:gd name="T60" fmla="*/ 2147483647 w 300"/>
                    <a:gd name="T61" fmla="*/ 2147483647 h 389"/>
                    <a:gd name="T62" fmla="*/ 2147483647 w 300"/>
                    <a:gd name="T63" fmla="*/ 2147483647 h 389"/>
                    <a:gd name="T64" fmla="*/ 2147483647 w 300"/>
                    <a:gd name="T65" fmla="*/ 2147483647 h 389"/>
                    <a:gd name="T66" fmla="*/ 2147483647 w 300"/>
                    <a:gd name="T67" fmla="*/ 2147483647 h 389"/>
                    <a:gd name="T68" fmla="*/ 2147483647 w 300"/>
                    <a:gd name="T69" fmla="*/ 2147483647 h 389"/>
                    <a:gd name="T70" fmla="*/ 2147483647 w 300"/>
                    <a:gd name="T71" fmla="*/ 2147483647 h 389"/>
                    <a:gd name="T72" fmla="*/ 2147483647 w 300"/>
                    <a:gd name="T73" fmla="*/ 2147483647 h 389"/>
                    <a:gd name="T74" fmla="*/ 2147483647 w 300"/>
                    <a:gd name="T75" fmla="*/ 2147483647 h 389"/>
                    <a:gd name="T76" fmla="*/ 2147483647 w 300"/>
                    <a:gd name="T77" fmla="*/ 2147483647 h 389"/>
                    <a:gd name="T78" fmla="*/ 2147483647 w 300"/>
                    <a:gd name="T79" fmla="*/ 2147483647 h 389"/>
                    <a:gd name="T80" fmla="*/ 2147483647 w 300"/>
                    <a:gd name="T81" fmla="*/ 2147483647 h 389"/>
                    <a:gd name="T82" fmla="*/ 2147483647 w 300"/>
                    <a:gd name="T83" fmla="*/ 2147483647 h 389"/>
                    <a:gd name="T84" fmla="*/ 2147483647 w 300"/>
                    <a:gd name="T85" fmla="*/ 2147483647 h 389"/>
                    <a:gd name="T86" fmla="*/ 2147483647 w 300"/>
                    <a:gd name="T87" fmla="*/ 2147483647 h 389"/>
                    <a:gd name="T88" fmla="*/ 2147483647 w 300"/>
                    <a:gd name="T89" fmla="*/ 2147483647 h 389"/>
                    <a:gd name="T90" fmla="*/ 2147483647 w 300"/>
                    <a:gd name="T91" fmla="*/ 2147483647 h 389"/>
                    <a:gd name="T92" fmla="*/ 2147483647 w 300"/>
                    <a:gd name="T93" fmla="*/ 2147483647 h 389"/>
                    <a:gd name="T94" fmla="*/ 2147483647 w 300"/>
                    <a:gd name="T95" fmla="*/ 2147483647 h 3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0"/>
                    <a:gd name="T145" fmla="*/ 0 h 389"/>
                    <a:gd name="T146" fmla="*/ 300 w 300"/>
                    <a:gd name="T147" fmla="*/ 389 h 3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0" h="389">
                      <a:moveTo>
                        <a:pt x="251" y="358"/>
                      </a:moveTo>
                      <a:lnTo>
                        <a:pt x="251" y="353"/>
                      </a:lnTo>
                      <a:lnTo>
                        <a:pt x="249" y="351"/>
                      </a:lnTo>
                      <a:lnTo>
                        <a:pt x="245" y="348"/>
                      </a:lnTo>
                      <a:lnTo>
                        <a:pt x="239" y="347"/>
                      </a:lnTo>
                      <a:lnTo>
                        <a:pt x="239" y="345"/>
                      </a:lnTo>
                      <a:lnTo>
                        <a:pt x="237" y="342"/>
                      </a:lnTo>
                      <a:lnTo>
                        <a:pt x="237" y="338"/>
                      </a:lnTo>
                      <a:lnTo>
                        <a:pt x="236" y="332"/>
                      </a:lnTo>
                      <a:lnTo>
                        <a:pt x="232" y="325"/>
                      </a:lnTo>
                      <a:lnTo>
                        <a:pt x="227" y="317"/>
                      </a:lnTo>
                      <a:lnTo>
                        <a:pt x="218" y="311"/>
                      </a:lnTo>
                      <a:lnTo>
                        <a:pt x="204" y="304"/>
                      </a:lnTo>
                      <a:lnTo>
                        <a:pt x="203" y="303"/>
                      </a:lnTo>
                      <a:lnTo>
                        <a:pt x="201" y="302"/>
                      </a:lnTo>
                      <a:lnTo>
                        <a:pt x="201" y="297"/>
                      </a:lnTo>
                      <a:lnTo>
                        <a:pt x="201" y="293"/>
                      </a:lnTo>
                      <a:lnTo>
                        <a:pt x="204" y="289"/>
                      </a:lnTo>
                      <a:lnTo>
                        <a:pt x="206" y="289"/>
                      </a:lnTo>
                      <a:lnTo>
                        <a:pt x="209" y="289"/>
                      </a:lnTo>
                      <a:lnTo>
                        <a:pt x="212" y="289"/>
                      </a:lnTo>
                      <a:lnTo>
                        <a:pt x="214" y="288"/>
                      </a:lnTo>
                      <a:lnTo>
                        <a:pt x="217" y="287"/>
                      </a:lnTo>
                      <a:lnTo>
                        <a:pt x="220" y="284"/>
                      </a:lnTo>
                      <a:lnTo>
                        <a:pt x="221" y="278"/>
                      </a:lnTo>
                      <a:lnTo>
                        <a:pt x="222" y="265"/>
                      </a:lnTo>
                      <a:lnTo>
                        <a:pt x="222" y="258"/>
                      </a:lnTo>
                      <a:lnTo>
                        <a:pt x="222" y="251"/>
                      </a:lnTo>
                      <a:lnTo>
                        <a:pt x="222" y="249"/>
                      </a:lnTo>
                      <a:lnTo>
                        <a:pt x="223" y="246"/>
                      </a:lnTo>
                      <a:lnTo>
                        <a:pt x="227" y="245"/>
                      </a:lnTo>
                      <a:lnTo>
                        <a:pt x="231" y="244"/>
                      </a:lnTo>
                      <a:lnTo>
                        <a:pt x="234" y="244"/>
                      </a:lnTo>
                      <a:lnTo>
                        <a:pt x="234" y="243"/>
                      </a:lnTo>
                      <a:lnTo>
                        <a:pt x="236" y="232"/>
                      </a:lnTo>
                      <a:lnTo>
                        <a:pt x="237" y="225"/>
                      </a:lnTo>
                      <a:lnTo>
                        <a:pt x="239" y="215"/>
                      </a:lnTo>
                      <a:lnTo>
                        <a:pt x="241" y="212"/>
                      </a:lnTo>
                      <a:lnTo>
                        <a:pt x="245" y="208"/>
                      </a:lnTo>
                      <a:lnTo>
                        <a:pt x="259" y="196"/>
                      </a:lnTo>
                      <a:lnTo>
                        <a:pt x="263" y="193"/>
                      </a:lnTo>
                      <a:lnTo>
                        <a:pt x="264" y="191"/>
                      </a:lnTo>
                      <a:lnTo>
                        <a:pt x="264" y="189"/>
                      </a:lnTo>
                      <a:lnTo>
                        <a:pt x="261" y="182"/>
                      </a:lnTo>
                      <a:lnTo>
                        <a:pt x="260" y="174"/>
                      </a:lnTo>
                      <a:lnTo>
                        <a:pt x="260" y="166"/>
                      </a:lnTo>
                      <a:lnTo>
                        <a:pt x="260" y="157"/>
                      </a:lnTo>
                      <a:lnTo>
                        <a:pt x="261" y="148"/>
                      </a:lnTo>
                      <a:lnTo>
                        <a:pt x="264" y="140"/>
                      </a:lnTo>
                      <a:lnTo>
                        <a:pt x="268" y="131"/>
                      </a:lnTo>
                      <a:lnTo>
                        <a:pt x="273" y="125"/>
                      </a:lnTo>
                      <a:lnTo>
                        <a:pt x="275" y="123"/>
                      </a:lnTo>
                      <a:lnTo>
                        <a:pt x="278" y="122"/>
                      </a:lnTo>
                      <a:lnTo>
                        <a:pt x="286" y="118"/>
                      </a:lnTo>
                      <a:lnTo>
                        <a:pt x="289" y="117"/>
                      </a:lnTo>
                      <a:lnTo>
                        <a:pt x="292" y="115"/>
                      </a:lnTo>
                      <a:lnTo>
                        <a:pt x="296" y="111"/>
                      </a:lnTo>
                      <a:lnTo>
                        <a:pt x="300" y="105"/>
                      </a:lnTo>
                      <a:lnTo>
                        <a:pt x="293" y="99"/>
                      </a:lnTo>
                      <a:lnTo>
                        <a:pt x="287" y="93"/>
                      </a:lnTo>
                      <a:lnTo>
                        <a:pt x="281" y="87"/>
                      </a:lnTo>
                      <a:lnTo>
                        <a:pt x="278" y="85"/>
                      </a:lnTo>
                      <a:lnTo>
                        <a:pt x="277" y="81"/>
                      </a:lnTo>
                      <a:lnTo>
                        <a:pt x="277" y="76"/>
                      </a:lnTo>
                      <a:lnTo>
                        <a:pt x="277" y="70"/>
                      </a:lnTo>
                      <a:lnTo>
                        <a:pt x="277" y="64"/>
                      </a:lnTo>
                      <a:lnTo>
                        <a:pt x="277" y="58"/>
                      </a:lnTo>
                      <a:lnTo>
                        <a:pt x="275" y="55"/>
                      </a:lnTo>
                      <a:lnTo>
                        <a:pt x="273" y="52"/>
                      </a:lnTo>
                      <a:lnTo>
                        <a:pt x="272" y="49"/>
                      </a:lnTo>
                      <a:lnTo>
                        <a:pt x="270" y="47"/>
                      </a:lnTo>
                      <a:lnTo>
                        <a:pt x="272" y="39"/>
                      </a:lnTo>
                      <a:lnTo>
                        <a:pt x="270" y="32"/>
                      </a:lnTo>
                      <a:lnTo>
                        <a:pt x="268" y="25"/>
                      </a:lnTo>
                      <a:lnTo>
                        <a:pt x="267" y="21"/>
                      </a:lnTo>
                      <a:lnTo>
                        <a:pt x="263" y="20"/>
                      </a:lnTo>
                      <a:lnTo>
                        <a:pt x="254" y="13"/>
                      </a:lnTo>
                      <a:lnTo>
                        <a:pt x="247" y="8"/>
                      </a:lnTo>
                      <a:lnTo>
                        <a:pt x="246" y="4"/>
                      </a:lnTo>
                      <a:lnTo>
                        <a:pt x="246" y="0"/>
                      </a:lnTo>
                      <a:lnTo>
                        <a:pt x="235" y="0"/>
                      </a:lnTo>
                      <a:lnTo>
                        <a:pt x="228" y="1"/>
                      </a:lnTo>
                      <a:lnTo>
                        <a:pt x="227" y="1"/>
                      </a:lnTo>
                      <a:lnTo>
                        <a:pt x="226" y="2"/>
                      </a:lnTo>
                      <a:lnTo>
                        <a:pt x="222" y="12"/>
                      </a:lnTo>
                      <a:lnTo>
                        <a:pt x="220" y="15"/>
                      </a:lnTo>
                      <a:lnTo>
                        <a:pt x="218" y="17"/>
                      </a:lnTo>
                      <a:lnTo>
                        <a:pt x="216" y="19"/>
                      </a:lnTo>
                      <a:lnTo>
                        <a:pt x="214" y="19"/>
                      </a:lnTo>
                      <a:lnTo>
                        <a:pt x="214" y="21"/>
                      </a:lnTo>
                      <a:lnTo>
                        <a:pt x="214" y="25"/>
                      </a:lnTo>
                      <a:lnTo>
                        <a:pt x="212" y="26"/>
                      </a:lnTo>
                      <a:lnTo>
                        <a:pt x="208" y="27"/>
                      </a:lnTo>
                      <a:lnTo>
                        <a:pt x="204" y="26"/>
                      </a:lnTo>
                      <a:lnTo>
                        <a:pt x="202" y="23"/>
                      </a:lnTo>
                      <a:lnTo>
                        <a:pt x="199" y="20"/>
                      </a:lnTo>
                      <a:lnTo>
                        <a:pt x="65" y="22"/>
                      </a:lnTo>
                      <a:lnTo>
                        <a:pt x="63" y="59"/>
                      </a:lnTo>
                      <a:lnTo>
                        <a:pt x="54" y="61"/>
                      </a:lnTo>
                      <a:lnTo>
                        <a:pt x="53" y="76"/>
                      </a:lnTo>
                      <a:lnTo>
                        <a:pt x="52" y="138"/>
                      </a:lnTo>
                      <a:lnTo>
                        <a:pt x="49" y="147"/>
                      </a:lnTo>
                      <a:lnTo>
                        <a:pt x="47" y="149"/>
                      </a:lnTo>
                      <a:lnTo>
                        <a:pt x="46" y="150"/>
                      </a:lnTo>
                      <a:lnTo>
                        <a:pt x="44" y="150"/>
                      </a:lnTo>
                      <a:lnTo>
                        <a:pt x="39" y="148"/>
                      </a:lnTo>
                      <a:lnTo>
                        <a:pt x="34" y="148"/>
                      </a:lnTo>
                      <a:lnTo>
                        <a:pt x="29" y="148"/>
                      </a:lnTo>
                      <a:lnTo>
                        <a:pt x="28" y="150"/>
                      </a:lnTo>
                      <a:lnTo>
                        <a:pt x="27" y="153"/>
                      </a:lnTo>
                      <a:lnTo>
                        <a:pt x="27" y="159"/>
                      </a:lnTo>
                      <a:lnTo>
                        <a:pt x="25" y="161"/>
                      </a:lnTo>
                      <a:lnTo>
                        <a:pt x="25" y="163"/>
                      </a:lnTo>
                      <a:lnTo>
                        <a:pt x="21" y="170"/>
                      </a:lnTo>
                      <a:lnTo>
                        <a:pt x="19" y="179"/>
                      </a:lnTo>
                      <a:lnTo>
                        <a:pt x="16" y="186"/>
                      </a:lnTo>
                      <a:lnTo>
                        <a:pt x="13" y="193"/>
                      </a:lnTo>
                      <a:lnTo>
                        <a:pt x="11" y="196"/>
                      </a:lnTo>
                      <a:lnTo>
                        <a:pt x="9" y="199"/>
                      </a:lnTo>
                      <a:lnTo>
                        <a:pt x="5" y="202"/>
                      </a:lnTo>
                      <a:lnTo>
                        <a:pt x="2" y="206"/>
                      </a:lnTo>
                      <a:lnTo>
                        <a:pt x="0" y="210"/>
                      </a:lnTo>
                      <a:lnTo>
                        <a:pt x="1" y="213"/>
                      </a:lnTo>
                      <a:lnTo>
                        <a:pt x="1" y="215"/>
                      </a:lnTo>
                      <a:lnTo>
                        <a:pt x="2" y="217"/>
                      </a:lnTo>
                      <a:lnTo>
                        <a:pt x="6" y="217"/>
                      </a:lnTo>
                      <a:lnTo>
                        <a:pt x="10" y="217"/>
                      </a:lnTo>
                      <a:lnTo>
                        <a:pt x="14" y="217"/>
                      </a:lnTo>
                      <a:lnTo>
                        <a:pt x="15" y="217"/>
                      </a:lnTo>
                      <a:lnTo>
                        <a:pt x="16" y="218"/>
                      </a:lnTo>
                      <a:lnTo>
                        <a:pt x="16" y="225"/>
                      </a:lnTo>
                      <a:lnTo>
                        <a:pt x="18" y="233"/>
                      </a:lnTo>
                      <a:lnTo>
                        <a:pt x="20" y="240"/>
                      </a:lnTo>
                      <a:lnTo>
                        <a:pt x="21" y="244"/>
                      </a:lnTo>
                      <a:lnTo>
                        <a:pt x="21" y="249"/>
                      </a:lnTo>
                      <a:lnTo>
                        <a:pt x="25" y="250"/>
                      </a:lnTo>
                      <a:lnTo>
                        <a:pt x="28" y="251"/>
                      </a:lnTo>
                      <a:lnTo>
                        <a:pt x="29" y="252"/>
                      </a:lnTo>
                      <a:lnTo>
                        <a:pt x="29" y="258"/>
                      </a:lnTo>
                      <a:lnTo>
                        <a:pt x="29" y="264"/>
                      </a:lnTo>
                      <a:lnTo>
                        <a:pt x="29" y="270"/>
                      </a:lnTo>
                      <a:lnTo>
                        <a:pt x="32" y="276"/>
                      </a:lnTo>
                      <a:lnTo>
                        <a:pt x="33" y="281"/>
                      </a:lnTo>
                      <a:lnTo>
                        <a:pt x="34" y="285"/>
                      </a:lnTo>
                      <a:lnTo>
                        <a:pt x="34" y="290"/>
                      </a:lnTo>
                      <a:lnTo>
                        <a:pt x="34" y="295"/>
                      </a:lnTo>
                      <a:lnTo>
                        <a:pt x="37" y="297"/>
                      </a:lnTo>
                      <a:lnTo>
                        <a:pt x="39" y="300"/>
                      </a:lnTo>
                      <a:lnTo>
                        <a:pt x="46" y="303"/>
                      </a:lnTo>
                      <a:lnTo>
                        <a:pt x="52" y="306"/>
                      </a:lnTo>
                      <a:lnTo>
                        <a:pt x="60" y="308"/>
                      </a:lnTo>
                      <a:lnTo>
                        <a:pt x="61" y="310"/>
                      </a:lnTo>
                      <a:lnTo>
                        <a:pt x="63" y="313"/>
                      </a:lnTo>
                      <a:lnTo>
                        <a:pt x="80" y="325"/>
                      </a:lnTo>
                      <a:lnTo>
                        <a:pt x="87" y="330"/>
                      </a:lnTo>
                      <a:lnTo>
                        <a:pt x="90" y="335"/>
                      </a:lnTo>
                      <a:lnTo>
                        <a:pt x="93" y="339"/>
                      </a:lnTo>
                      <a:lnTo>
                        <a:pt x="95" y="347"/>
                      </a:lnTo>
                      <a:lnTo>
                        <a:pt x="96" y="352"/>
                      </a:lnTo>
                      <a:lnTo>
                        <a:pt x="98" y="355"/>
                      </a:lnTo>
                      <a:lnTo>
                        <a:pt x="103" y="359"/>
                      </a:lnTo>
                      <a:lnTo>
                        <a:pt x="105" y="362"/>
                      </a:lnTo>
                      <a:lnTo>
                        <a:pt x="108" y="366"/>
                      </a:lnTo>
                      <a:lnTo>
                        <a:pt x="112" y="367"/>
                      </a:lnTo>
                      <a:lnTo>
                        <a:pt x="117" y="368"/>
                      </a:lnTo>
                      <a:lnTo>
                        <a:pt x="121" y="368"/>
                      </a:lnTo>
                      <a:lnTo>
                        <a:pt x="126" y="367"/>
                      </a:lnTo>
                      <a:lnTo>
                        <a:pt x="136" y="364"/>
                      </a:lnTo>
                      <a:lnTo>
                        <a:pt x="138" y="364"/>
                      </a:lnTo>
                      <a:lnTo>
                        <a:pt x="140" y="365"/>
                      </a:lnTo>
                      <a:lnTo>
                        <a:pt x="143" y="370"/>
                      </a:lnTo>
                      <a:lnTo>
                        <a:pt x="147" y="376"/>
                      </a:lnTo>
                      <a:lnTo>
                        <a:pt x="151" y="381"/>
                      </a:lnTo>
                      <a:lnTo>
                        <a:pt x="155" y="385"/>
                      </a:lnTo>
                      <a:lnTo>
                        <a:pt x="160" y="389"/>
                      </a:lnTo>
                      <a:lnTo>
                        <a:pt x="165" y="386"/>
                      </a:lnTo>
                      <a:lnTo>
                        <a:pt x="171" y="386"/>
                      </a:lnTo>
                      <a:lnTo>
                        <a:pt x="178" y="386"/>
                      </a:lnTo>
                      <a:lnTo>
                        <a:pt x="184" y="385"/>
                      </a:lnTo>
                      <a:lnTo>
                        <a:pt x="188" y="383"/>
                      </a:lnTo>
                      <a:lnTo>
                        <a:pt x="192" y="380"/>
                      </a:lnTo>
                      <a:lnTo>
                        <a:pt x="199" y="374"/>
                      </a:lnTo>
                      <a:lnTo>
                        <a:pt x="203" y="373"/>
                      </a:lnTo>
                      <a:lnTo>
                        <a:pt x="206" y="373"/>
                      </a:lnTo>
                      <a:lnTo>
                        <a:pt x="213" y="374"/>
                      </a:lnTo>
                      <a:lnTo>
                        <a:pt x="217" y="373"/>
                      </a:lnTo>
                      <a:lnTo>
                        <a:pt x="221" y="372"/>
                      </a:lnTo>
                      <a:lnTo>
                        <a:pt x="227" y="364"/>
                      </a:lnTo>
                      <a:lnTo>
                        <a:pt x="231" y="359"/>
                      </a:lnTo>
                      <a:lnTo>
                        <a:pt x="236" y="355"/>
                      </a:lnTo>
                      <a:lnTo>
                        <a:pt x="239" y="354"/>
                      </a:lnTo>
                      <a:lnTo>
                        <a:pt x="241" y="355"/>
                      </a:lnTo>
                      <a:lnTo>
                        <a:pt x="246" y="359"/>
                      </a:lnTo>
                      <a:lnTo>
                        <a:pt x="249" y="359"/>
                      </a:lnTo>
                      <a:lnTo>
                        <a:pt x="251" y="35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1" name="Freeform 720"/>
                <p:cNvSpPr>
                  <a:spLocks/>
                </p:cNvSpPr>
                <p:nvPr/>
              </p:nvSpPr>
              <p:spPr bwMode="auto">
                <a:xfrm>
                  <a:off x="4905296" y="4467417"/>
                  <a:ext cx="448402" cy="547553"/>
                </a:xfrm>
                <a:custGeom>
                  <a:avLst/>
                  <a:gdLst>
                    <a:gd name="T0" fmla="*/ 2147483647 w 329"/>
                    <a:gd name="T1" fmla="*/ 2147483647 h 370"/>
                    <a:gd name="T2" fmla="*/ 2147483647 w 329"/>
                    <a:gd name="T3" fmla="*/ 2147483647 h 370"/>
                    <a:gd name="T4" fmla="*/ 2147483647 w 329"/>
                    <a:gd name="T5" fmla="*/ 2147483647 h 370"/>
                    <a:gd name="T6" fmla="*/ 2147483647 w 329"/>
                    <a:gd name="T7" fmla="*/ 2147483647 h 370"/>
                    <a:gd name="T8" fmla="*/ 2147483647 w 329"/>
                    <a:gd name="T9" fmla="*/ 2147483647 h 370"/>
                    <a:gd name="T10" fmla="*/ 2147483647 w 329"/>
                    <a:gd name="T11" fmla="*/ 2147483647 h 370"/>
                    <a:gd name="T12" fmla="*/ 2147483647 w 329"/>
                    <a:gd name="T13" fmla="*/ 2147483647 h 370"/>
                    <a:gd name="T14" fmla="*/ 2147483647 w 329"/>
                    <a:gd name="T15" fmla="*/ 2147483647 h 370"/>
                    <a:gd name="T16" fmla="*/ 2147483647 w 329"/>
                    <a:gd name="T17" fmla="*/ 2147483647 h 370"/>
                    <a:gd name="T18" fmla="*/ 2147483647 w 329"/>
                    <a:gd name="T19" fmla="*/ 2147483647 h 370"/>
                    <a:gd name="T20" fmla="*/ 2147483647 w 329"/>
                    <a:gd name="T21" fmla="*/ 2147483647 h 370"/>
                    <a:gd name="T22" fmla="*/ 2147483647 w 329"/>
                    <a:gd name="T23" fmla="*/ 2147483647 h 370"/>
                    <a:gd name="T24" fmla="*/ 2147483647 w 329"/>
                    <a:gd name="T25" fmla="*/ 2147483647 h 370"/>
                    <a:gd name="T26" fmla="*/ 2147483647 w 329"/>
                    <a:gd name="T27" fmla="*/ 2147483647 h 370"/>
                    <a:gd name="T28" fmla="*/ 2147483647 w 329"/>
                    <a:gd name="T29" fmla="*/ 2147483647 h 370"/>
                    <a:gd name="T30" fmla="*/ 2147483647 w 329"/>
                    <a:gd name="T31" fmla="*/ 2147483647 h 370"/>
                    <a:gd name="T32" fmla="*/ 2147483647 w 329"/>
                    <a:gd name="T33" fmla="*/ 2147483647 h 370"/>
                    <a:gd name="T34" fmla="*/ 2147483647 w 329"/>
                    <a:gd name="T35" fmla="*/ 2147483647 h 370"/>
                    <a:gd name="T36" fmla="*/ 2147483647 w 329"/>
                    <a:gd name="T37" fmla="*/ 2147483647 h 370"/>
                    <a:gd name="T38" fmla="*/ 2147483647 w 329"/>
                    <a:gd name="T39" fmla="*/ 2147483647 h 370"/>
                    <a:gd name="T40" fmla="*/ 2147483647 w 329"/>
                    <a:gd name="T41" fmla="*/ 2147483647 h 370"/>
                    <a:gd name="T42" fmla="*/ 2147483647 w 329"/>
                    <a:gd name="T43" fmla="*/ 2147483647 h 370"/>
                    <a:gd name="T44" fmla="*/ 2147483647 w 329"/>
                    <a:gd name="T45" fmla="*/ 2147483647 h 370"/>
                    <a:gd name="T46" fmla="*/ 2147483647 w 329"/>
                    <a:gd name="T47" fmla="*/ 2147483647 h 370"/>
                    <a:gd name="T48" fmla="*/ 2147483647 w 329"/>
                    <a:gd name="T49" fmla="*/ 2147483647 h 370"/>
                    <a:gd name="T50" fmla="*/ 2147483647 w 329"/>
                    <a:gd name="T51" fmla="*/ 2147483647 h 370"/>
                    <a:gd name="T52" fmla="*/ 2147483647 w 329"/>
                    <a:gd name="T53" fmla="*/ 2147483647 h 370"/>
                    <a:gd name="T54" fmla="*/ 2147483647 w 329"/>
                    <a:gd name="T55" fmla="*/ 2147483647 h 370"/>
                    <a:gd name="T56" fmla="*/ 2147483647 w 329"/>
                    <a:gd name="T57" fmla="*/ 2147483647 h 370"/>
                    <a:gd name="T58" fmla="*/ 2147483647 w 329"/>
                    <a:gd name="T59" fmla="*/ 2147483647 h 370"/>
                    <a:gd name="T60" fmla="*/ 2147483647 w 329"/>
                    <a:gd name="T61" fmla="*/ 2147483647 h 370"/>
                    <a:gd name="T62" fmla="*/ 2147483647 w 329"/>
                    <a:gd name="T63" fmla="*/ 2147483647 h 370"/>
                    <a:gd name="T64" fmla="*/ 2147483647 w 329"/>
                    <a:gd name="T65" fmla="*/ 2147483647 h 370"/>
                    <a:gd name="T66" fmla="*/ 2147483647 w 329"/>
                    <a:gd name="T67" fmla="*/ 2147483647 h 370"/>
                    <a:gd name="T68" fmla="*/ 2147483647 w 329"/>
                    <a:gd name="T69" fmla="*/ 2147483647 h 370"/>
                    <a:gd name="T70" fmla="*/ 2147483647 w 329"/>
                    <a:gd name="T71" fmla="*/ 2147483647 h 370"/>
                    <a:gd name="T72" fmla="*/ 2147483647 w 329"/>
                    <a:gd name="T73" fmla="*/ 2147483647 h 370"/>
                    <a:gd name="T74" fmla="*/ 2147483647 w 329"/>
                    <a:gd name="T75" fmla="*/ 2147483647 h 370"/>
                    <a:gd name="T76" fmla="*/ 2147483647 w 329"/>
                    <a:gd name="T77" fmla="*/ 2147483647 h 370"/>
                    <a:gd name="T78" fmla="*/ 2147483647 w 329"/>
                    <a:gd name="T79" fmla="*/ 2147483647 h 370"/>
                    <a:gd name="T80" fmla="*/ 2147483647 w 329"/>
                    <a:gd name="T81" fmla="*/ 2147483647 h 370"/>
                    <a:gd name="T82" fmla="*/ 2147483647 w 329"/>
                    <a:gd name="T83" fmla="*/ 2147483647 h 370"/>
                    <a:gd name="T84" fmla="*/ 2147483647 w 329"/>
                    <a:gd name="T85" fmla="*/ 2147483647 h 370"/>
                    <a:gd name="T86" fmla="*/ 2147483647 w 329"/>
                    <a:gd name="T87" fmla="*/ 2147483647 h 370"/>
                    <a:gd name="T88" fmla="*/ 2147483647 w 329"/>
                    <a:gd name="T89" fmla="*/ 2147483647 h 370"/>
                    <a:gd name="T90" fmla="*/ 2147483647 w 329"/>
                    <a:gd name="T91" fmla="*/ 2147483647 h 370"/>
                    <a:gd name="T92" fmla="*/ 2147483647 w 329"/>
                    <a:gd name="T93" fmla="*/ 2147483647 h 370"/>
                    <a:gd name="T94" fmla="*/ 2147483647 w 329"/>
                    <a:gd name="T95" fmla="*/ 2147483647 h 370"/>
                    <a:gd name="T96" fmla="*/ 2147483647 w 329"/>
                    <a:gd name="T97" fmla="*/ 2147483647 h 370"/>
                    <a:gd name="T98" fmla="*/ 2147483647 w 329"/>
                    <a:gd name="T99" fmla="*/ 2147483647 h 370"/>
                    <a:gd name="T100" fmla="*/ 2147483647 w 329"/>
                    <a:gd name="T101" fmla="*/ 2147483647 h 370"/>
                    <a:gd name="T102" fmla="*/ 2147483647 w 329"/>
                    <a:gd name="T103" fmla="*/ 2147483647 h 370"/>
                    <a:gd name="T104" fmla="*/ 0 w 329"/>
                    <a:gd name="T105" fmla="*/ 2147483647 h 3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9"/>
                    <a:gd name="T160" fmla="*/ 0 h 370"/>
                    <a:gd name="T161" fmla="*/ 329 w 329"/>
                    <a:gd name="T162" fmla="*/ 370 h 3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9" h="370">
                      <a:moveTo>
                        <a:pt x="0" y="213"/>
                      </a:moveTo>
                      <a:lnTo>
                        <a:pt x="6" y="212"/>
                      </a:lnTo>
                      <a:lnTo>
                        <a:pt x="7" y="211"/>
                      </a:lnTo>
                      <a:lnTo>
                        <a:pt x="9" y="211"/>
                      </a:lnTo>
                      <a:lnTo>
                        <a:pt x="9" y="207"/>
                      </a:lnTo>
                      <a:lnTo>
                        <a:pt x="10" y="204"/>
                      </a:lnTo>
                      <a:lnTo>
                        <a:pt x="14" y="200"/>
                      </a:lnTo>
                      <a:lnTo>
                        <a:pt x="18" y="195"/>
                      </a:lnTo>
                      <a:lnTo>
                        <a:pt x="20" y="198"/>
                      </a:lnTo>
                      <a:lnTo>
                        <a:pt x="24" y="198"/>
                      </a:lnTo>
                      <a:lnTo>
                        <a:pt x="25" y="196"/>
                      </a:lnTo>
                      <a:lnTo>
                        <a:pt x="27" y="195"/>
                      </a:lnTo>
                      <a:lnTo>
                        <a:pt x="28" y="190"/>
                      </a:lnTo>
                      <a:lnTo>
                        <a:pt x="29" y="188"/>
                      </a:lnTo>
                      <a:lnTo>
                        <a:pt x="30" y="186"/>
                      </a:lnTo>
                      <a:lnTo>
                        <a:pt x="34" y="185"/>
                      </a:lnTo>
                      <a:lnTo>
                        <a:pt x="37" y="185"/>
                      </a:lnTo>
                      <a:lnTo>
                        <a:pt x="39" y="186"/>
                      </a:lnTo>
                      <a:lnTo>
                        <a:pt x="42" y="189"/>
                      </a:lnTo>
                      <a:lnTo>
                        <a:pt x="44" y="192"/>
                      </a:lnTo>
                      <a:lnTo>
                        <a:pt x="47" y="192"/>
                      </a:lnTo>
                      <a:lnTo>
                        <a:pt x="48" y="190"/>
                      </a:lnTo>
                      <a:lnTo>
                        <a:pt x="54" y="186"/>
                      </a:lnTo>
                      <a:lnTo>
                        <a:pt x="58" y="183"/>
                      </a:lnTo>
                      <a:lnTo>
                        <a:pt x="63" y="182"/>
                      </a:lnTo>
                      <a:lnTo>
                        <a:pt x="67" y="181"/>
                      </a:lnTo>
                      <a:lnTo>
                        <a:pt x="70" y="180"/>
                      </a:lnTo>
                      <a:lnTo>
                        <a:pt x="74" y="174"/>
                      </a:lnTo>
                      <a:lnTo>
                        <a:pt x="75" y="170"/>
                      </a:lnTo>
                      <a:lnTo>
                        <a:pt x="74" y="167"/>
                      </a:lnTo>
                      <a:lnTo>
                        <a:pt x="72" y="163"/>
                      </a:lnTo>
                      <a:lnTo>
                        <a:pt x="71" y="158"/>
                      </a:lnTo>
                      <a:lnTo>
                        <a:pt x="70" y="155"/>
                      </a:lnTo>
                      <a:lnTo>
                        <a:pt x="70" y="154"/>
                      </a:lnTo>
                      <a:lnTo>
                        <a:pt x="71" y="153"/>
                      </a:lnTo>
                      <a:lnTo>
                        <a:pt x="76" y="145"/>
                      </a:lnTo>
                      <a:lnTo>
                        <a:pt x="77" y="142"/>
                      </a:lnTo>
                      <a:lnTo>
                        <a:pt x="79" y="138"/>
                      </a:lnTo>
                      <a:lnTo>
                        <a:pt x="80" y="137"/>
                      </a:lnTo>
                      <a:lnTo>
                        <a:pt x="81" y="136"/>
                      </a:lnTo>
                      <a:lnTo>
                        <a:pt x="85" y="134"/>
                      </a:lnTo>
                      <a:lnTo>
                        <a:pt x="89" y="130"/>
                      </a:lnTo>
                      <a:lnTo>
                        <a:pt x="93" y="125"/>
                      </a:lnTo>
                      <a:lnTo>
                        <a:pt x="94" y="122"/>
                      </a:lnTo>
                      <a:lnTo>
                        <a:pt x="95" y="117"/>
                      </a:lnTo>
                      <a:lnTo>
                        <a:pt x="99" y="109"/>
                      </a:lnTo>
                      <a:lnTo>
                        <a:pt x="99" y="105"/>
                      </a:lnTo>
                      <a:lnTo>
                        <a:pt x="98" y="102"/>
                      </a:lnTo>
                      <a:lnTo>
                        <a:pt x="95" y="93"/>
                      </a:lnTo>
                      <a:lnTo>
                        <a:pt x="94" y="86"/>
                      </a:lnTo>
                      <a:lnTo>
                        <a:pt x="95" y="80"/>
                      </a:lnTo>
                      <a:lnTo>
                        <a:pt x="96" y="75"/>
                      </a:lnTo>
                      <a:lnTo>
                        <a:pt x="98" y="73"/>
                      </a:lnTo>
                      <a:lnTo>
                        <a:pt x="98" y="71"/>
                      </a:lnTo>
                      <a:lnTo>
                        <a:pt x="99" y="66"/>
                      </a:lnTo>
                      <a:lnTo>
                        <a:pt x="104" y="52"/>
                      </a:lnTo>
                      <a:lnTo>
                        <a:pt x="107" y="45"/>
                      </a:lnTo>
                      <a:lnTo>
                        <a:pt x="108" y="35"/>
                      </a:lnTo>
                      <a:lnTo>
                        <a:pt x="108" y="30"/>
                      </a:lnTo>
                      <a:lnTo>
                        <a:pt x="108" y="29"/>
                      </a:lnTo>
                      <a:lnTo>
                        <a:pt x="110" y="28"/>
                      </a:lnTo>
                      <a:lnTo>
                        <a:pt x="112" y="27"/>
                      </a:lnTo>
                      <a:lnTo>
                        <a:pt x="113" y="26"/>
                      </a:lnTo>
                      <a:lnTo>
                        <a:pt x="114" y="17"/>
                      </a:lnTo>
                      <a:lnTo>
                        <a:pt x="119" y="15"/>
                      </a:lnTo>
                      <a:lnTo>
                        <a:pt x="122" y="11"/>
                      </a:lnTo>
                      <a:lnTo>
                        <a:pt x="126" y="3"/>
                      </a:lnTo>
                      <a:lnTo>
                        <a:pt x="127" y="2"/>
                      </a:lnTo>
                      <a:lnTo>
                        <a:pt x="129" y="3"/>
                      </a:lnTo>
                      <a:lnTo>
                        <a:pt x="136" y="4"/>
                      </a:lnTo>
                      <a:lnTo>
                        <a:pt x="140" y="6"/>
                      </a:lnTo>
                      <a:lnTo>
                        <a:pt x="142" y="6"/>
                      </a:lnTo>
                      <a:lnTo>
                        <a:pt x="146" y="10"/>
                      </a:lnTo>
                      <a:lnTo>
                        <a:pt x="148" y="14"/>
                      </a:lnTo>
                      <a:lnTo>
                        <a:pt x="151" y="15"/>
                      </a:lnTo>
                      <a:lnTo>
                        <a:pt x="154" y="16"/>
                      </a:lnTo>
                      <a:lnTo>
                        <a:pt x="160" y="17"/>
                      </a:lnTo>
                      <a:lnTo>
                        <a:pt x="169" y="17"/>
                      </a:lnTo>
                      <a:lnTo>
                        <a:pt x="178" y="16"/>
                      </a:lnTo>
                      <a:lnTo>
                        <a:pt x="181" y="15"/>
                      </a:lnTo>
                      <a:lnTo>
                        <a:pt x="185" y="13"/>
                      </a:lnTo>
                      <a:lnTo>
                        <a:pt x="189" y="8"/>
                      </a:lnTo>
                      <a:lnTo>
                        <a:pt x="190" y="7"/>
                      </a:lnTo>
                      <a:lnTo>
                        <a:pt x="193" y="8"/>
                      </a:lnTo>
                      <a:lnTo>
                        <a:pt x="201" y="10"/>
                      </a:lnTo>
                      <a:lnTo>
                        <a:pt x="208" y="11"/>
                      </a:lnTo>
                      <a:lnTo>
                        <a:pt x="216" y="10"/>
                      </a:lnTo>
                      <a:lnTo>
                        <a:pt x="220" y="9"/>
                      </a:lnTo>
                      <a:lnTo>
                        <a:pt x="222" y="8"/>
                      </a:lnTo>
                      <a:lnTo>
                        <a:pt x="227" y="4"/>
                      </a:lnTo>
                      <a:lnTo>
                        <a:pt x="232" y="1"/>
                      </a:lnTo>
                      <a:lnTo>
                        <a:pt x="237" y="0"/>
                      </a:lnTo>
                      <a:lnTo>
                        <a:pt x="240" y="0"/>
                      </a:lnTo>
                      <a:lnTo>
                        <a:pt x="244" y="1"/>
                      </a:lnTo>
                      <a:lnTo>
                        <a:pt x="250" y="2"/>
                      </a:lnTo>
                      <a:lnTo>
                        <a:pt x="254" y="3"/>
                      </a:lnTo>
                      <a:lnTo>
                        <a:pt x="258" y="4"/>
                      </a:lnTo>
                      <a:lnTo>
                        <a:pt x="263" y="8"/>
                      </a:lnTo>
                      <a:lnTo>
                        <a:pt x="265" y="11"/>
                      </a:lnTo>
                      <a:lnTo>
                        <a:pt x="268" y="15"/>
                      </a:lnTo>
                      <a:lnTo>
                        <a:pt x="272" y="16"/>
                      </a:lnTo>
                      <a:lnTo>
                        <a:pt x="277" y="17"/>
                      </a:lnTo>
                      <a:lnTo>
                        <a:pt x="281" y="17"/>
                      </a:lnTo>
                      <a:lnTo>
                        <a:pt x="286" y="16"/>
                      </a:lnTo>
                      <a:lnTo>
                        <a:pt x="296" y="13"/>
                      </a:lnTo>
                      <a:lnTo>
                        <a:pt x="298" y="13"/>
                      </a:lnTo>
                      <a:lnTo>
                        <a:pt x="300" y="14"/>
                      </a:lnTo>
                      <a:lnTo>
                        <a:pt x="303" y="19"/>
                      </a:lnTo>
                      <a:lnTo>
                        <a:pt x="307" y="25"/>
                      </a:lnTo>
                      <a:lnTo>
                        <a:pt x="311" y="30"/>
                      </a:lnTo>
                      <a:lnTo>
                        <a:pt x="315" y="34"/>
                      </a:lnTo>
                      <a:lnTo>
                        <a:pt x="320" y="38"/>
                      </a:lnTo>
                      <a:lnTo>
                        <a:pt x="322" y="39"/>
                      </a:lnTo>
                      <a:lnTo>
                        <a:pt x="325" y="41"/>
                      </a:lnTo>
                      <a:lnTo>
                        <a:pt x="325" y="45"/>
                      </a:lnTo>
                      <a:lnTo>
                        <a:pt x="325" y="47"/>
                      </a:lnTo>
                      <a:lnTo>
                        <a:pt x="326" y="54"/>
                      </a:lnTo>
                      <a:lnTo>
                        <a:pt x="329" y="61"/>
                      </a:lnTo>
                      <a:lnTo>
                        <a:pt x="329" y="64"/>
                      </a:lnTo>
                      <a:lnTo>
                        <a:pt x="329" y="66"/>
                      </a:lnTo>
                      <a:lnTo>
                        <a:pt x="321" y="74"/>
                      </a:lnTo>
                      <a:lnTo>
                        <a:pt x="317" y="81"/>
                      </a:lnTo>
                      <a:lnTo>
                        <a:pt x="314" y="90"/>
                      </a:lnTo>
                      <a:lnTo>
                        <a:pt x="314" y="94"/>
                      </a:lnTo>
                      <a:lnTo>
                        <a:pt x="314" y="99"/>
                      </a:lnTo>
                      <a:lnTo>
                        <a:pt x="312" y="103"/>
                      </a:lnTo>
                      <a:lnTo>
                        <a:pt x="310" y="105"/>
                      </a:lnTo>
                      <a:lnTo>
                        <a:pt x="306" y="108"/>
                      </a:lnTo>
                      <a:lnTo>
                        <a:pt x="305" y="110"/>
                      </a:lnTo>
                      <a:lnTo>
                        <a:pt x="305" y="113"/>
                      </a:lnTo>
                      <a:lnTo>
                        <a:pt x="305" y="118"/>
                      </a:lnTo>
                      <a:lnTo>
                        <a:pt x="306" y="122"/>
                      </a:lnTo>
                      <a:lnTo>
                        <a:pt x="306" y="124"/>
                      </a:lnTo>
                      <a:lnTo>
                        <a:pt x="300" y="131"/>
                      </a:lnTo>
                      <a:lnTo>
                        <a:pt x="293" y="138"/>
                      </a:lnTo>
                      <a:lnTo>
                        <a:pt x="291" y="143"/>
                      </a:lnTo>
                      <a:lnTo>
                        <a:pt x="289" y="148"/>
                      </a:lnTo>
                      <a:lnTo>
                        <a:pt x="288" y="154"/>
                      </a:lnTo>
                      <a:lnTo>
                        <a:pt x="289" y="156"/>
                      </a:lnTo>
                      <a:lnTo>
                        <a:pt x="291" y="156"/>
                      </a:lnTo>
                      <a:lnTo>
                        <a:pt x="293" y="163"/>
                      </a:lnTo>
                      <a:lnTo>
                        <a:pt x="297" y="170"/>
                      </a:lnTo>
                      <a:lnTo>
                        <a:pt x="301" y="176"/>
                      </a:lnTo>
                      <a:lnTo>
                        <a:pt x="302" y="182"/>
                      </a:lnTo>
                      <a:lnTo>
                        <a:pt x="301" y="194"/>
                      </a:lnTo>
                      <a:lnTo>
                        <a:pt x="302" y="207"/>
                      </a:lnTo>
                      <a:lnTo>
                        <a:pt x="305" y="220"/>
                      </a:lnTo>
                      <a:lnTo>
                        <a:pt x="307" y="232"/>
                      </a:lnTo>
                      <a:lnTo>
                        <a:pt x="312" y="243"/>
                      </a:lnTo>
                      <a:lnTo>
                        <a:pt x="319" y="252"/>
                      </a:lnTo>
                      <a:lnTo>
                        <a:pt x="324" y="262"/>
                      </a:lnTo>
                      <a:lnTo>
                        <a:pt x="326" y="268"/>
                      </a:lnTo>
                      <a:lnTo>
                        <a:pt x="327" y="272"/>
                      </a:lnTo>
                      <a:lnTo>
                        <a:pt x="324" y="271"/>
                      </a:lnTo>
                      <a:lnTo>
                        <a:pt x="316" y="268"/>
                      </a:lnTo>
                      <a:lnTo>
                        <a:pt x="308" y="268"/>
                      </a:lnTo>
                      <a:lnTo>
                        <a:pt x="292" y="268"/>
                      </a:lnTo>
                      <a:lnTo>
                        <a:pt x="292" y="269"/>
                      </a:lnTo>
                      <a:lnTo>
                        <a:pt x="291" y="271"/>
                      </a:lnTo>
                      <a:lnTo>
                        <a:pt x="291" y="273"/>
                      </a:lnTo>
                      <a:lnTo>
                        <a:pt x="291" y="276"/>
                      </a:lnTo>
                      <a:lnTo>
                        <a:pt x="286" y="283"/>
                      </a:lnTo>
                      <a:lnTo>
                        <a:pt x="283" y="291"/>
                      </a:lnTo>
                      <a:lnTo>
                        <a:pt x="282" y="304"/>
                      </a:lnTo>
                      <a:lnTo>
                        <a:pt x="281" y="322"/>
                      </a:lnTo>
                      <a:lnTo>
                        <a:pt x="281" y="327"/>
                      </a:lnTo>
                      <a:lnTo>
                        <a:pt x="282" y="332"/>
                      </a:lnTo>
                      <a:lnTo>
                        <a:pt x="284" y="336"/>
                      </a:lnTo>
                      <a:lnTo>
                        <a:pt x="288" y="341"/>
                      </a:lnTo>
                      <a:lnTo>
                        <a:pt x="291" y="345"/>
                      </a:lnTo>
                      <a:lnTo>
                        <a:pt x="296" y="347"/>
                      </a:lnTo>
                      <a:lnTo>
                        <a:pt x="300" y="349"/>
                      </a:lnTo>
                      <a:lnTo>
                        <a:pt x="303" y="349"/>
                      </a:lnTo>
                      <a:lnTo>
                        <a:pt x="305" y="349"/>
                      </a:lnTo>
                      <a:lnTo>
                        <a:pt x="305" y="352"/>
                      </a:lnTo>
                      <a:lnTo>
                        <a:pt x="305" y="356"/>
                      </a:lnTo>
                      <a:lnTo>
                        <a:pt x="305" y="368"/>
                      </a:lnTo>
                      <a:lnTo>
                        <a:pt x="303" y="370"/>
                      </a:lnTo>
                      <a:lnTo>
                        <a:pt x="300" y="370"/>
                      </a:lnTo>
                      <a:lnTo>
                        <a:pt x="294" y="368"/>
                      </a:lnTo>
                      <a:lnTo>
                        <a:pt x="292" y="367"/>
                      </a:lnTo>
                      <a:lnTo>
                        <a:pt x="289" y="364"/>
                      </a:lnTo>
                      <a:lnTo>
                        <a:pt x="288" y="361"/>
                      </a:lnTo>
                      <a:lnTo>
                        <a:pt x="287" y="358"/>
                      </a:lnTo>
                      <a:lnTo>
                        <a:pt x="284" y="355"/>
                      </a:lnTo>
                      <a:lnTo>
                        <a:pt x="279" y="353"/>
                      </a:lnTo>
                      <a:lnTo>
                        <a:pt x="275" y="348"/>
                      </a:lnTo>
                      <a:lnTo>
                        <a:pt x="268" y="339"/>
                      </a:lnTo>
                      <a:lnTo>
                        <a:pt x="265" y="334"/>
                      </a:lnTo>
                      <a:lnTo>
                        <a:pt x="263" y="332"/>
                      </a:lnTo>
                      <a:lnTo>
                        <a:pt x="261" y="332"/>
                      </a:lnTo>
                      <a:lnTo>
                        <a:pt x="260" y="332"/>
                      </a:lnTo>
                      <a:lnTo>
                        <a:pt x="249" y="339"/>
                      </a:lnTo>
                      <a:lnTo>
                        <a:pt x="244" y="340"/>
                      </a:lnTo>
                      <a:lnTo>
                        <a:pt x="237" y="340"/>
                      </a:lnTo>
                      <a:lnTo>
                        <a:pt x="232" y="339"/>
                      </a:lnTo>
                      <a:lnTo>
                        <a:pt x="230" y="338"/>
                      </a:lnTo>
                      <a:lnTo>
                        <a:pt x="230" y="335"/>
                      </a:lnTo>
                      <a:lnTo>
                        <a:pt x="230" y="332"/>
                      </a:lnTo>
                      <a:lnTo>
                        <a:pt x="231" y="327"/>
                      </a:lnTo>
                      <a:lnTo>
                        <a:pt x="223" y="329"/>
                      </a:lnTo>
                      <a:lnTo>
                        <a:pt x="220" y="330"/>
                      </a:lnTo>
                      <a:lnTo>
                        <a:pt x="217" y="329"/>
                      </a:lnTo>
                      <a:lnTo>
                        <a:pt x="212" y="324"/>
                      </a:lnTo>
                      <a:lnTo>
                        <a:pt x="206" y="322"/>
                      </a:lnTo>
                      <a:lnTo>
                        <a:pt x="201" y="323"/>
                      </a:lnTo>
                      <a:lnTo>
                        <a:pt x="194" y="324"/>
                      </a:lnTo>
                      <a:lnTo>
                        <a:pt x="183" y="327"/>
                      </a:lnTo>
                      <a:lnTo>
                        <a:pt x="180" y="326"/>
                      </a:lnTo>
                      <a:lnTo>
                        <a:pt x="178" y="324"/>
                      </a:lnTo>
                      <a:lnTo>
                        <a:pt x="178" y="323"/>
                      </a:lnTo>
                      <a:lnTo>
                        <a:pt x="178" y="311"/>
                      </a:lnTo>
                      <a:lnTo>
                        <a:pt x="176" y="300"/>
                      </a:lnTo>
                      <a:lnTo>
                        <a:pt x="173" y="288"/>
                      </a:lnTo>
                      <a:lnTo>
                        <a:pt x="167" y="276"/>
                      </a:lnTo>
                      <a:lnTo>
                        <a:pt x="167" y="273"/>
                      </a:lnTo>
                      <a:lnTo>
                        <a:pt x="169" y="270"/>
                      </a:lnTo>
                      <a:lnTo>
                        <a:pt x="169" y="266"/>
                      </a:lnTo>
                      <a:lnTo>
                        <a:pt x="167" y="263"/>
                      </a:lnTo>
                      <a:lnTo>
                        <a:pt x="166" y="262"/>
                      </a:lnTo>
                      <a:lnTo>
                        <a:pt x="165" y="256"/>
                      </a:lnTo>
                      <a:lnTo>
                        <a:pt x="165" y="253"/>
                      </a:lnTo>
                      <a:lnTo>
                        <a:pt x="162" y="252"/>
                      </a:lnTo>
                      <a:lnTo>
                        <a:pt x="159" y="251"/>
                      </a:lnTo>
                      <a:lnTo>
                        <a:pt x="156" y="252"/>
                      </a:lnTo>
                      <a:lnTo>
                        <a:pt x="154" y="251"/>
                      </a:lnTo>
                      <a:lnTo>
                        <a:pt x="151" y="251"/>
                      </a:lnTo>
                      <a:lnTo>
                        <a:pt x="146" y="251"/>
                      </a:lnTo>
                      <a:lnTo>
                        <a:pt x="143" y="250"/>
                      </a:lnTo>
                      <a:lnTo>
                        <a:pt x="142" y="249"/>
                      </a:lnTo>
                      <a:lnTo>
                        <a:pt x="141" y="246"/>
                      </a:lnTo>
                      <a:lnTo>
                        <a:pt x="138" y="244"/>
                      </a:lnTo>
                      <a:lnTo>
                        <a:pt x="134" y="243"/>
                      </a:lnTo>
                      <a:lnTo>
                        <a:pt x="129" y="244"/>
                      </a:lnTo>
                      <a:lnTo>
                        <a:pt x="127" y="246"/>
                      </a:lnTo>
                      <a:lnTo>
                        <a:pt x="124" y="250"/>
                      </a:lnTo>
                      <a:lnTo>
                        <a:pt x="124" y="255"/>
                      </a:lnTo>
                      <a:lnTo>
                        <a:pt x="124" y="260"/>
                      </a:lnTo>
                      <a:lnTo>
                        <a:pt x="124" y="262"/>
                      </a:lnTo>
                      <a:lnTo>
                        <a:pt x="123" y="264"/>
                      </a:lnTo>
                      <a:lnTo>
                        <a:pt x="117" y="266"/>
                      </a:lnTo>
                      <a:lnTo>
                        <a:pt x="110" y="268"/>
                      </a:lnTo>
                      <a:lnTo>
                        <a:pt x="104" y="266"/>
                      </a:lnTo>
                      <a:lnTo>
                        <a:pt x="103" y="265"/>
                      </a:lnTo>
                      <a:lnTo>
                        <a:pt x="100" y="264"/>
                      </a:lnTo>
                      <a:lnTo>
                        <a:pt x="98" y="256"/>
                      </a:lnTo>
                      <a:lnTo>
                        <a:pt x="96" y="245"/>
                      </a:lnTo>
                      <a:lnTo>
                        <a:pt x="94" y="236"/>
                      </a:lnTo>
                      <a:lnTo>
                        <a:pt x="91" y="232"/>
                      </a:lnTo>
                      <a:lnTo>
                        <a:pt x="87" y="228"/>
                      </a:lnTo>
                      <a:lnTo>
                        <a:pt x="79" y="225"/>
                      </a:lnTo>
                      <a:lnTo>
                        <a:pt x="70" y="224"/>
                      </a:lnTo>
                      <a:lnTo>
                        <a:pt x="60" y="224"/>
                      </a:lnTo>
                      <a:lnTo>
                        <a:pt x="51" y="224"/>
                      </a:lnTo>
                      <a:lnTo>
                        <a:pt x="42" y="223"/>
                      </a:lnTo>
                      <a:lnTo>
                        <a:pt x="33" y="220"/>
                      </a:lnTo>
                      <a:lnTo>
                        <a:pt x="27" y="220"/>
                      </a:lnTo>
                      <a:lnTo>
                        <a:pt x="23" y="223"/>
                      </a:lnTo>
                      <a:lnTo>
                        <a:pt x="19" y="226"/>
                      </a:lnTo>
                      <a:lnTo>
                        <a:pt x="16" y="227"/>
                      </a:lnTo>
                      <a:lnTo>
                        <a:pt x="11" y="228"/>
                      </a:lnTo>
                      <a:lnTo>
                        <a:pt x="6" y="228"/>
                      </a:lnTo>
                      <a:lnTo>
                        <a:pt x="4" y="228"/>
                      </a:lnTo>
                      <a:lnTo>
                        <a:pt x="2" y="227"/>
                      </a:lnTo>
                      <a:lnTo>
                        <a:pt x="0" y="225"/>
                      </a:lnTo>
                      <a:lnTo>
                        <a:pt x="0" y="221"/>
                      </a:lnTo>
                      <a:lnTo>
                        <a:pt x="0" y="217"/>
                      </a:lnTo>
                      <a:lnTo>
                        <a:pt x="0" y="2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2" name="Freeform 721"/>
                <p:cNvSpPr>
                  <a:spLocks/>
                </p:cNvSpPr>
                <p:nvPr/>
              </p:nvSpPr>
              <p:spPr bwMode="auto">
                <a:xfrm>
                  <a:off x="5121356" y="3946502"/>
                  <a:ext cx="408445" cy="574190"/>
                </a:xfrm>
                <a:custGeom>
                  <a:avLst/>
                  <a:gdLst>
                    <a:gd name="T0" fmla="*/ 2147483647 w 299"/>
                    <a:gd name="T1" fmla="*/ 2147483647 h 388"/>
                    <a:gd name="T2" fmla="*/ 2147483647 w 299"/>
                    <a:gd name="T3" fmla="*/ 2147483647 h 388"/>
                    <a:gd name="T4" fmla="*/ 2147483647 w 299"/>
                    <a:gd name="T5" fmla="*/ 2147483647 h 388"/>
                    <a:gd name="T6" fmla="*/ 2147483647 w 299"/>
                    <a:gd name="T7" fmla="*/ 2147483647 h 388"/>
                    <a:gd name="T8" fmla="*/ 2147483647 w 299"/>
                    <a:gd name="T9" fmla="*/ 2147483647 h 388"/>
                    <a:gd name="T10" fmla="*/ 2147483647 w 299"/>
                    <a:gd name="T11" fmla="*/ 2147483647 h 388"/>
                    <a:gd name="T12" fmla="*/ 2147483647 w 299"/>
                    <a:gd name="T13" fmla="*/ 2147483647 h 388"/>
                    <a:gd name="T14" fmla="*/ 2147483647 w 299"/>
                    <a:gd name="T15" fmla="*/ 2147483647 h 388"/>
                    <a:gd name="T16" fmla="*/ 2147483647 w 299"/>
                    <a:gd name="T17" fmla="*/ 2147483647 h 388"/>
                    <a:gd name="T18" fmla="*/ 2147483647 w 299"/>
                    <a:gd name="T19" fmla="*/ 2147483647 h 388"/>
                    <a:gd name="T20" fmla="*/ 2147483647 w 299"/>
                    <a:gd name="T21" fmla="*/ 2147483647 h 388"/>
                    <a:gd name="T22" fmla="*/ 2147483647 w 299"/>
                    <a:gd name="T23" fmla="*/ 2147483647 h 388"/>
                    <a:gd name="T24" fmla="*/ 2147483647 w 299"/>
                    <a:gd name="T25" fmla="*/ 2147483647 h 388"/>
                    <a:gd name="T26" fmla="*/ 2147483647 w 299"/>
                    <a:gd name="T27" fmla="*/ 2147483647 h 388"/>
                    <a:gd name="T28" fmla="*/ 2147483647 w 299"/>
                    <a:gd name="T29" fmla="*/ 2147483647 h 388"/>
                    <a:gd name="T30" fmla="*/ 2147483647 w 299"/>
                    <a:gd name="T31" fmla="*/ 2147483647 h 388"/>
                    <a:gd name="T32" fmla="*/ 2147483647 w 299"/>
                    <a:gd name="T33" fmla="*/ 2147483647 h 388"/>
                    <a:gd name="T34" fmla="*/ 2147483647 w 299"/>
                    <a:gd name="T35" fmla="*/ 2147483647 h 388"/>
                    <a:gd name="T36" fmla="*/ 2147483647 w 299"/>
                    <a:gd name="T37" fmla="*/ 2147483647 h 388"/>
                    <a:gd name="T38" fmla="*/ 2147483647 w 299"/>
                    <a:gd name="T39" fmla="*/ 2147483647 h 388"/>
                    <a:gd name="T40" fmla="*/ 2147483647 w 299"/>
                    <a:gd name="T41" fmla="*/ 2147483647 h 388"/>
                    <a:gd name="T42" fmla="*/ 2147483647 w 299"/>
                    <a:gd name="T43" fmla="*/ 2147483647 h 388"/>
                    <a:gd name="T44" fmla="*/ 2147483647 w 299"/>
                    <a:gd name="T45" fmla="*/ 2147483647 h 388"/>
                    <a:gd name="T46" fmla="*/ 2147483647 w 299"/>
                    <a:gd name="T47" fmla="*/ 0 h 388"/>
                    <a:gd name="T48" fmla="*/ 2147483647 w 299"/>
                    <a:gd name="T49" fmla="*/ 2147483647 h 388"/>
                    <a:gd name="T50" fmla="*/ 2147483647 w 299"/>
                    <a:gd name="T51" fmla="*/ 2147483647 h 388"/>
                    <a:gd name="T52" fmla="*/ 2147483647 w 299"/>
                    <a:gd name="T53" fmla="*/ 2147483647 h 388"/>
                    <a:gd name="T54" fmla="*/ 2147483647 w 299"/>
                    <a:gd name="T55" fmla="*/ 2147483647 h 388"/>
                    <a:gd name="T56" fmla="*/ 2147483647 w 299"/>
                    <a:gd name="T57" fmla="*/ 2147483647 h 388"/>
                    <a:gd name="T58" fmla="*/ 2147483647 w 299"/>
                    <a:gd name="T59" fmla="*/ 2147483647 h 388"/>
                    <a:gd name="T60" fmla="*/ 2147483647 w 299"/>
                    <a:gd name="T61" fmla="*/ 2147483647 h 388"/>
                    <a:gd name="T62" fmla="*/ 2147483647 w 299"/>
                    <a:gd name="T63" fmla="*/ 2147483647 h 388"/>
                    <a:gd name="T64" fmla="*/ 2147483647 w 299"/>
                    <a:gd name="T65" fmla="*/ 2147483647 h 388"/>
                    <a:gd name="T66" fmla="*/ 2147483647 w 299"/>
                    <a:gd name="T67" fmla="*/ 2147483647 h 388"/>
                    <a:gd name="T68" fmla="*/ 2147483647 w 299"/>
                    <a:gd name="T69" fmla="*/ 2147483647 h 388"/>
                    <a:gd name="T70" fmla="*/ 2147483647 w 299"/>
                    <a:gd name="T71" fmla="*/ 2147483647 h 388"/>
                    <a:gd name="T72" fmla="*/ 2147483647 w 299"/>
                    <a:gd name="T73" fmla="*/ 2147483647 h 388"/>
                    <a:gd name="T74" fmla="*/ 2147483647 w 299"/>
                    <a:gd name="T75" fmla="*/ 2147483647 h 388"/>
                    <a:gd name="T76" fmla="*/ 2147483647 w 299"/>
                    <a:gd name="T77" fmla="*/ 2147483647 h 388"/>
                    <a:gd name="T78" fmla="*/ 2147483647 w 299"/>
                    <a:gd name="T79" fmla="*/ 2147483647 h 388"/>
                    <a:gd name="T80" fmla="*/ 2147483647 w 299"/>
                    <a:gd name="T81" fmla="*/ 2147483647 h 388"/>
                    <a:gd name="T82" fmla="*/ 2147483647 w 299"/>
                    <a:gd name="T83" fmla="*/ 2147483647 h 388"/>
                    <a:gd name="T84" fmla="*/ 2147483647 w 299"/>
                    <a:gd name="T85" fmla="*/ 2147483647 h 388"/>
                    <a:gd name="T86" fmla="*/ 2147483647 w 299"/>
                    <a:gd name="T87" fmla="*/ 2147483647 h 388"/>
                    <a:gd name="T88" fmla="*/ 2147483647 w 299"/>
                    <a:gd name="T89" fmla="*/ 2147483647 h 388"/>
                    <a:gd name="T90" fmla="*/ 2147483647 w 299"/>
                    <a:gd name="T91" fmla="*/ 2147483647 h 388"/>
                    <a:gd name="T92" fmla="*/ 2147483647 w 299"/>
                    <a:gd name="T93" fmla="*/ 2147483647 h 388"/>
                    <a:gd name="T94" fmla="*/ 2147483647 w 299"/>
                    <a:gd name="T95" fmla="*/ 2147483647 h 388"/>
                    <a:gd name="T96" fmla="*/ 2147483647 w 299"/>
                    <a:gd name="T97" fmla="*/ 2147483647 h 388"/>
                    <a:gd name="T98" fmla="*/ 2147483647 w 299"/>
                    <a:gd name="T99" fmla="*/ 2147483647 h 388"/>
                    <a:gd name="T100" fmla="*/ 2147483647 w 299"/>
                    <a:gd name="T101" fmla="*/ 2147483647 h 388"/>
                    <a:gd name="T102" fmla="*/ 2147483647 w 299"/>
                    <a:gd name="T103" fmla="*/ 2147483647 h 388"/>
                    <a:gd name="T104" fmla="*/ 2147483647 w 299"/>
                    <a:gd name="T105" fmla="*/ 2147483647 h 388"/>
                    <a:gd name="T106" fmla="*/ 2147483647 w 299"/>
                    <a:gd name="T107" fmla="*/ 2147483647 h 388"/>
                    <a:gd name="T108" fmla="*/ 2147483647 w 299"/>
                    <a:gd name="T109" fmla="*/ 2147483647 h 388"/>
                    <a:gd name="T110" fmla="*/ 2147483647 w 299"/>
                    <a:gd name="T111" fmla="*/ 2147483647 h 388"/>
                    <a:gd name="T112" fmla="*/ 2147483647 w 299"/>
                    <a:gd name="T113" fmla="*/ 2147483647 h 388"/>
                    <a:gd name="T114" fmla="*/ 2147483647 w 299"/>
                    <a:gd name="T115" fmla="*/ 2147483647 h 388"/>
                    <a:gd name="T116" fmla="*/ 2147483647 w 299"/>
                    <a:gd name="T117" fmla="*/ 2147483647 h 388"/>
                    <a:gd name="T118" fmla="*/ 2147483647 w 299"/>
                    <a:gd name="T119" fmla="*/ 2147483647 h 388"/>
                    <a:gd name="T120" fmla="*/ 2147483647 w 299"/>
                    <a:gd name="T121" fmla="*/ 2147483647 h 3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9"/>
                    <a:gd name="T184" fmla="*/ 0 h 388"/>
                    <a:gd name="T185" fmla="*/ 299 w 299"/>
                    <a:gd name="T186" fmla="*/ 388 h 3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9" h="388">
                      <a:moveTo>
                        <a:pt x="251" y="358"/>
                      </a:moveTo>
                      <a:lnTo>
                        <a:pt x="251" y="358"/>
                      </a:lnTo>
                      <a:lnTo>
                        <a:pt x="251" y="353"/>
                      </a:lnTo>
                      <a:lnTo>
                        <a:pt x="248" y="350"/>
                      </a:lnTo>
                      <a:lnTo>
                        <a:pt x="245" y="348"/>
                      </a:lnTo>
                      <a:lnTo>
                        <a:pt x="238" y="347"/>
                      </a:lnTo>
                      <a:lnTo>
                        <a:pt x="238" y="345"/>
                      </a:lnTo>
                      <a:lnTo>
                        <a:pt x="237" y="342"/>
                      </a:lnTo>
                      <a:lnTo>
                        <a:pt x="237" y="337"/>
                      </a:lnTo>
                      <a:lnTo>
                        <a:pt x="236" y="331"/>
                      </a:lnTo>
                      <a:lnTo>
                        <a:pt x="232" y="324"/>
                      </a:lnTo>
                      <a:lnTo>
                        <a:pt x="227" y="317"/>
                      </a:lnTo>
                      <a:lnTo>
                        <a:pt x="218" y="311"/>
                      </a:lnTo>
                      <a:lnTo>
                        <a:pt x="204" y="304"/>
                      </a:lnTo>
                      <a:lnTo>
                        <a:pt x="203" y="303"/>
                      </a:lnTo>
                      <a:lnTo>
                        <a:pt x="200" y="302"/>
                      </a:lnTo>
                      <a:lnTo>
                        <a:pt x="200" y="297"/>
                      </a:lnTo>
                      <a:lnTo>
                        <a:pt x="200" y="292"/>
                      </a:lnTo>
                      <a:lnTo>
                        <a:pt x="204" y="289"/>
                      </a:lnTo>
                      <a:lnTo>
                        <a:pt x="205" y="289"/>
                      </a:lnTo>
                      <a:lnTo>
                        <a:pt x="209" y="289"/>
                      </a:lnTo>
                      <a:lnTo>
                        <a:pt x="212" y="289"/>
                      </a:lnTo>
                      <a:lnTo>
                        <a:pt x="214" y="288"/>
                      </a:lnTo>
                      <a:lnTo>
                        <a:pt x="217" y="286"/>
                      </a:lnTo>
                      <a:lnTo>
                        <a:pt x="219" y="284"/>
                      </a:lnTo>
                      <a:lnTo>
                        <a:pt x="221" y="278"/>
                      </a:lnTo>
                      <a:lnTo>
                        <a:pt x="222" y="265"/>
                      </a:lnTo>
                      <a:lnTo>
                        <a:pt x="222" y="258"/>
                      </a:lnTo>
                      <a:lnTo>
                        <a:pt x="222" y="251"/>
                      </a:lnTo>
                      <a:lnTo>
                        <a:pt x="222" y="248"/>
                      </a:lnTo>
                      <a:lnTo>
                        <a:pt x="223" y="246"/>
                      </a:lnTo>
                      <a:lnTo>
                        <a:pt x="227" y="245"/>
                      </a:lnTo>
                      <a:lnTo>
                        <a:pt x="231" y="244"/>
                      </a:lnTo>
                      <a:lnTo>
                        <a:pt x="233" y="244"/>
                      </a:lnTo>
                      <a:lnTo>
                        <a:pt x="233" y="243"/>
                      </a:lnTo>
                      <a:lnTo>
                        <a:pt x="236" y="232"/>
                      </a:lnTo>
                      <a:lnTo>
                        <a:pt x="237" y="225"/>
                      </a:lnTo>
                      <a:lnTo>
                        <a:pt x="238" y="215"/>
                      </a:lnTo>
                      <a:lnTo>
                        <a:pt x="241" y="212"/>
                      </a:lnTo>
                      <a:lnTo>
                        <a:pt x="245" y="208"/>
                      </a:lnTo>
                      <a:lnTo>
                        <a:pt x="259" y="196"/>
                      </a:lnTo>
                      <a:lnTo>
                        <a:pt x="262" y="193"/>
                      </a:lnTo>
                      <a:lnTo>
                        <a:pt x="264" y="190"/>
                      </a:lnTo>
                      <a:lnTo>
                        <a:pt x="264" y="189"/>
                      </a:lnTo>
                      <a:lnTo>
                        <a:pt x="261" y="182"/>
                      </a:lnTo>
                      <a:lnTo>
                        <a:pt x="260" y="174"/>
                      </a:lnTo>
                      <a:lnTo>
                        <a:pt x="260" y="165"/>
                      </a:lnTo>
                      <a:lnTo>
                        <a:pt x="260" y="157"/>
                      </a:lnTo>
                      <a:lnTo>
                        <a:pt x="261" y="148"/>
                      </a:lnTo>
                      <a:lnTo>
                        <a:pt x="264" y="139"/>
                      </a:lnTo>
                      <a:lnTo>
                        <a:pt x="268" y="131"/>
                      </a:lnTo>
                      <a:lnTo>
                        <a:pt x="273" y="125"/>
                      </a:lnTo>
                      <a:lnTo>
                        <a:pt x="275" y="123"/>
                      </a:lnTo>
                      <a:lnTo>
                        <a:pt x="278" y="122"/>
                      </a:lnTo>
                      <a:lnTo>
                        <a:pt x="285" y="118"/>
                      </a:lnTo>
                      <a:lnTo>
                        <a:pt x="289" y="117"/>
                      </a:lnTo>
                      <a:lnTo>
                        <a:pt x="292" y="115"/>
                      </a:lnTo>
                      <a:lnTo>
                        <a:pt x="295" y="111"/>
                      </a:lnTo>
                      <a:lnTo>
                        <a:pt x="299" y="105"/>
                      </a:lnTo>
                      <a:lnTo>
                        <a:pt x="293" y="99"/>
                      </a:lnTo>
                      <a:lnTo>
                        <a:pt x="287" y="93"/>
                      </a:lnTo>
                      <a:lnTo>
                        <a:pt x="280" y="87"/>
                      </a:lnTo>
                      <a:lnTo>
                        <a:pt x="278" y="85"/>
                      </a:lnTo>
                      <a:lnTo>
                        <a:pt x="276" y="81"/>
                      </a:lnTo>
                      <a:lnTo>
                        <a:pt x="276" y="75"/>
                      </a:lnTo>
                      <a:lnTo>
                        <a:pt x="276" y="69"/>
                      </a:lnTo>
                      <a:lnTo>
                        <a:pt x="276" y="64"/>
                      </a:lnTo>
                      <a:lnTo>
                        <a:pt x="276" y="58"/>
                      </a:lnTo>
                      <a:lnTo>
                        <a:pt x="275" y="55"/>
                      </a:lnTo>
                      <a:lnTo>
                        <a:pt x="273" y="52"/>
                      </a:lnTo>
                      <a:lnTo>
                        <a:pt x="271" y="49"/>
                      </a:lnTo>
                      <a:lnTo>
                        <a:pt x="270" y="47"/>
                      </a:lnTo>
                      <a:lnTo>
                        <a:pt x="271" y="39"/>
                      </a:lnTo>
                      <a:lnTo>
                        <a:pt x="270" y="32"/>
                      </a:lnTo>
                      <a:lnTo>
                        <a:pt x="268" y="24"/>
                      </a:lnTo>
                      <a:lnTo>
                        <a:pt x="266" y="21"/>
                      </a:lnTo>
                      <a:lnTo>
                        <a:pt x="262" y="20"/>
                      </a:lnTo>
                      <a:lnTo>
                        <a:pt x="254" y="13"/>
                      </a:lnTo>
                      <a:lnTo>
                        <a:pt x="247" y="8"/>
                      </a:lnTo>
                      <a:lnTo>
                        <a:pt x="246" y="4"/>
                      </a:lnTo>
                      <a:lnTo>
                        <a:pt x="246" y="0"/>
                      </a:lnTo>
                      <a:lnTo>
                        <a:pt x="235" y="0"/>
                      </a:lnTo>
                      <a:lnTo>
                        <a:pt x="228" y="1"/>
                      </a:lnTo>
                      <a:lnTo>
                        <a:pt x="227" y="1"/>
                      </a:lnTo>
                      <a:lnTo>
                        <a:pt x="226" y="2"/>
                      </a:lnTo>
                      <a:lnTo>
                        <a:pt x="222" y="11"/>
                      </a:lnTo>
                      <a:lnTo>
                        <a:pt x="219" y="15"/>
                      </a:lnTo>
                      <a:lnTo>
                        <a:pt x="218" y="17"/>
                      </a:lnTo>
                      <a:lnTo>
                        <a:pt x="215" y="18"/>
                      </a:lnTo>
                      <a:lnTo>
                        <a:pt x="214" y="18"/>
                      </a:lnTo>
                      <a:lnTo>
                        <a:pt x="214" y="21"/>
                      </a:lnTo>
                      <a:lnTo>
                        <a:pt x="214" y="24"/>
                      </a:lnTo>
                      <a:lnTo>
                        <a:pt x="212" y="26"/>
                      </a:lnTo>
                      <a:lnTo>
                        <a:pt x="208" y="27"/>
                      </a:lnTo>
                      <a:lnTo>
                        <a:pt x="204" y="26"/>
                      </a:lnTo>
                      <a:lnTo>
                        <a:pt x="202" y="23"/>
                      </a:lnTo>
                      <a:lnTo>
                        <a:pt x="199" y="20"/>
                      </a:lnTo>
                      <a:lnTo>
                        <a:pt x="64" y="22"/>
                      </a:lnTo>
                      <a:lnTo>
                        <a:pt x="63" y="59"/>
                      </a:lnTo>
                      <a:lnTo>
                        <a:pt x="54" y="61"/>
                      </a:lnTo>
                      <a:lnTo>
                        <a:pt x="53" y="75"/>
                      </a:lnTo>
                      <a:lnTo>
                        <a:pt x="52" y="138"/>
                      </a:lnTo>
                      <a:lnTo>
                        <a:pt x="49" y="147"/>
                      </a:lnTo>
                      <a:lnTo>
                        <a:pt x="47" y="149"/>
                      </a:lnTo>
                      <a:lnTo>
                        <a:pt x="45" y="150"/>
                      </a:lnTo>
                      <a:lnTo>
                        <a:pt x="44" y="150"/>
                      </a:lnTo>
                      <a:lnTo>
                        <a:pt x="39" y="148"/>
                      </a:lnTo>
                      <a:lnTo>
                        <a:pt x="34" y="148"/>
                      </a:lnTo>
                      <a:lnTo>
                        <a:pt x="29" y="148"/>
                      </a:lnTo>
                      <a:lnTo>
                        <a:pt x="28" y="150"/>
                      </a:lnTo>
                      <a:lnTo>
                        <a:pt x="26" y="152"/>
                      </a:lnTo>
                      <a:lnTo>
                        <a:pt x="26" y="158"/>
                      </a:lnTo>
                      <a:lnTo>
                        <a:pt x="25" y="161"/>
                      </a:lnTo>
                      <a:lnTo>
                        <a:pt x="25" y="163"/>
                      </a:lnTo>
                      <a:lnTo>
                        <a:pt x="21" y="170"/>
                      </a:lnTo>
                      <a:lnTo>
                        <a:pt x="19" y="179"/>
                      </a:lnTo>
                      <a:lnTo>
                        <a:pt x="16" y="186"/>
                      </a:lnTo>
                      <a:lnTo>
                        <a:pt x="12" y="193"/>
                      </a:lnTo>
                      <a:lnTo>
                        <a:pt x="11" y="196"/>
                      </a:lnTo>
                      <a:lnTo>
                        <a:pt x="8" y="199"/>
                      </a:lnTo>
                      <a:lnTo>
                        <a:pt x="5" y="202"/>
                      </a:lnTo>
                      <a:lnTo>
                        <a:pt x="2" y="206"/>
                      </a:lnTo>
                      <a:lnTo>
                        <a:pt x="0" y="209"/>
                      </a:lnTo>
                      <a:lnTo>
                        <a:pt x="1" y="213"/>
                      </a:lnTo>
                      <a:lnTo>
                        <a:pt x="1" y="215"/>
                      </a:lnTo>
                      <a:lnTo>
                        <a:pt x="2" y="216"/>
                      </a:lnTo>
                      <a:lnTo>
                        <a:pt x="6" y="216"/>
                      </a:lnTo>
                      <a:lnTo>
                        <a:pt x="10" y="216"/>
                      </a:lnTo>
                      <a:lnTo>
                        <a:pt x="14" y="216"/>
                      </a:lnTo>
                      <a:lnTo>
                        <a:pt x="15" y="216"/>
                      </a:lnTo>
                      <a:lnTo>
                        <a:pt x="16" y="218"/>
                      </a:lnTo>
                      <a:lnTo>
                        <a:pt x="16" y="225"/>
                      </a:lnTo>
                      <a:lnTo>
                        <a:pt x="17" y="233"/>
                      </a:lnTo>
                      <a:lnTo>
                        <a:pt x="20" y="240"/>
                      </a:lnTo>
                      <a:lnTo>
                        <a:pt x="21" y="244"/>
                      </a:lnTo>
                      <a:lnTo>
                        <a:pt x="21" y="248"/>
                      </a:lnTo>
                      <a:lnTo>
                        <a:pt x="25" y="250"/>
                      </a:lnTo>
                      <a:lnTo>
                        <a:pt x="28" y="251"/>
                      </a:lnTo>
                      <a:lnTo>
                        <a:pt x="29" y="252"/>
                      </a:lnTo>
                      <a:lnTo>
                        <a:pt x="29" y="258"/>
                      </a:lnTo>
                      <a:lnTo>
                        <a:pt x="29" y="264"/>
                      </a:lnTo>
                      <a:lnTo>
                        <a:pt x="29" y="270"/>
                      </a:lnTo>
                      <a:lnTo>
                        <a:pt x="31" y="276"/>
                      </a:lnTo>
                      <a:lnTo>
                        <a:pt x="33" y="280"/>
                      </a:lnTo>
                      <a:lnTo>
                        <a:pt x="34" y="285"/>
                      </a:lnTo>
                      <a:lnTo>
                        <a:pt x="34" y="290"/>
                      </a:lnTo>
                      <a:lnTo>
                        <a:pt x="34" y="295"/>
                      </a:lnTo>
                      <a:lnTo>
                        <a:pt x="36" y="297"/>
                      </a:lnTo>
                      <a:lnTo>
                        <a:pt x="39" y="299"/>
                      </a:lnTo>
                      <a:lnTo>
                        <a:pt x="45" y="303"/>
                      </a:lnTo>
                      <a:lnTo>
                        <a:pt x="52" y="305"/>
                      </a:lnTo>
                      <a:lnTo>
                        <a:pt x="59" y="308"/>
                      </a:lnTo>
                      <a:lnTo>
                        <a:pt x="61" y="310"/>
                      </a:lnTo>
                      <a:lnTo>
                        <a:pt x="63" y="312"/>
                      </a:lnTo>
                      <a:lnTo>
                        <a:pt x="80" y="324"/>
                      </a:lnTo>
                      <a:lnTo>
                        <a:pt x="87" y="330"/>
                      </a:lnTo>
                      <a:lnTo>
                        <a:pt x="90" y="335"/>
                      </a:lnTo>
                      <a:lnTo>
                        <a:pt x="92" y="339"/>
                      </a:lnTo>
                      <a:lnTo>
                        <a:pt x="95" y="347"/>
                      </a:lnTo>
                      <a:lnTo>
                        <a:pt x="96" y="352"/>
                      </a:lnTo>
                      <a:lnTo>
                        <a:pt x="97" y="355"/>
                      </a:lnTo>
                      <a:lnTo>
                        <a:pt x="102" y="359"/>
                      </a:lnTo>
                      <a:lnTo>
                        <a:pt x="105" y="362"/>
                      </a:lnTo>
                      <a:lnTo>
                        <a:pt x="108" y="366"/>
                      </a:lnTo>
                      <a:lnTo>
                        <a:pt x="111" y="367"/>
                      </a:lnTo>
                      <a:lnTo>
                        <a:pt x="116" y="368"/>
                      </a:lnTo>
                      <a:lnTo>
                        <a:pt x="120" y="368"/>
                      </a:lnTo>
                      <a:lnTo>
                        <a:pt x="125" y="367"/>
                      </a:lnTo>
                      <a:lnTo>
                        <a:pt x="135" y="363"/>
                      </a:lnTo>
                      <a:lnTo>
                        <a:pt x="138" y="363"/>
                      </a:lnTo>
                      <a:lnTo>
                        <a:pt x="139" y="365"/>
                      </a:lnTo>
                      <a:lnTo>
                        <a:pt x="143" y="369"/>
                      </a:lnTo>
                      <a:lnTo>
                        <a:pt x="147" y="375"/>
                      </a:lnTo>
                      <a:lnTo>
                        <a:pt x="151" y="381"/>
                      </a:lnTo>
                      <a:lnTo>
                        <a:pt x="155" y="385"/>
                      </a:lnTo>
                      <a:lnTo>
                        <a:pt x="160" y="388"/>
                      </a:lnTo>
                      <a:lnTo>
                        <a:pt x="165" y="386"/>
                      </a:lnTo>
                      <a:lnTo>
                        <a:pt x="171" y="386"/>
                      </a:lnTo>
                      <a:lnTo>
                        <a:pt x="177" y="386"/>
                      </a:lnTo>
                      <a:lnTo>
                        <a:pt x="184" y="385"/>
                      </a:lnTo>
                      <a:lnTo>
                        <a:pt x="188" y="382"/>
                      </a:lnTo>
                      <a:lnTo>
                        <a:pt x="191" y="380"/>
                      </a:lnTo>
                      <a:lnTo>
                        <a:pt x="199" y="374"/>
                      </a:lnTo>
                      <a:lnTo>
                        <a:pt x="203" y="373"/>
                      </a:lnTo>
                      <a:lnTo>
                        <a:pt x="205" y="373"/>
                      </a:lnTo>
                      <a:lnTo>
                        <a:pt x="213" y="374"/>
                      </a:lnTo>
                      <a:lnTo>
                        <a:pt x="217" y="373"/>
                      </a:lnTo>
                      <a:lnTo>
                        <a:pt x="221" y="372"/>
                      </a:lnTo>
                      <a:lnTo>
                        <a:pt x="227" y="363"/>
                      </a:lnTo>
                      <a:lnTo>
                        <a:pt x="231" y="359"/>
                      </a:lnTo>
                      <a:lnTo>
                        <a:pt x="236" y="355"/>
                      </a:lnTo>
                      <a:lnTo>
                        <a:pt x="238" y="354"/>
                      </a:lnTo>
                      <a:lnTo>
                        <a:pt x="241" y="355"/>
                      </a:lnTo>
                      <a:lnTo>
                        <a:pt x="246" y="359"/>
                      </a:lnTo>
                      <a:lnTo>
                        <a:pt x="248" y="359"/>
                      </a:lnTo>
                      <a:lnTo>
                        <a:pt x="251" y="35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3" name="Freeform 722"/>
                <p:cNvSpPr>
                  <a:spLocks/>
                </p:cNvSpPr>
                <p:nvPr/>
              </p:nvSpPr>
              <p:spPr bwMode="auto">
                <a:xfrm>
                  <a:off x="4903816" y="4464460"/>
                  <a:ext cx="448401" cy="547553"/>
                </a:xfrm>
                <a:custGeom>
                  <a:avLst/>
                  <a:gdLst>
                    <a:gd name="T0" fmla="*/ 2147483647 w 328"/>
                    <a:gd name="T1" fmla="*/ 2147483647 h 370"/>
                    <a:gd name="T2" fmla="*/ 2147483647 w 328"/>
                    <a:gd name="T3" fmla="*/ 2147483647 h 370"/>
                    <a:gd name="T4" fmla="*/ 2147483647 w 328"/>
                    <a:gd name="T5" fmla="*/ 2147483647 h 370"/>
                    <a:gd name="T6" fmla="*/ 2147483647 w 328"/>
                    <a:gd name="T7" fmla="*/ 2147483647 h 370"/>
                    <a:gd name="T8" fmla="*/ 2147483647 w 328"/>
                    <a:gd name="T9" fmla="*/ 2147483647 h 370"/>
                    <a:gd name="T10" fmla="*/ 2147483647 w 328"/>
                    <a:gd name="T11" fmla="*/ 2147483647 h 370"/>
                    <a:gd name="T12" fmla="*/ 2147483647 w 328"/>
                    <a:gd name="T13" fmla="*/ 2147483647 h 370"/>
                    <a:gd name="T14" fmla="*/ 2147483647 w 328"/>
                    <a:gd name="T15" fmla="*/ 2147483647 h 370"/>
                    <a:gd name="T16" fmla="*/ 2147483647 w 328"/>
                    <a:gd name="T17" fmla="*/ 2147483647 h 370"/>
                    <a:gd name="T18" fmla="*/ 2147483647 w 328"/>
                    <a:gd name="T19" fmla="*/ 2147483647 h 370"/>
                    <a:gd name="T20" fmla="*/ 2147483647 w 328"/>
                    <a:gd name="T21" fmla="*/ 2147483647 h 370"/>
                    <a:gd name="T22" fmla="*/ 2147483647 w 328"/>
                    <a:gd name="T23" fmla="*/ 2147483647 h 370"/>
                    <a:gd name="T24" fmla="*/ 2147483647 w 328"/>
                    <a:gd name="T25" fmla="*/ 2147483647 h 370"/>
                    <a:gd name="T26" fmla="*/ 2147483647 w 328"/>
                    <a:gd name="T27" fmla="*/ 2147483647 h 370"/>
                    <a:gd name="T28" fmla="*/ 2147483647 w 328"/>
                    <a:gd name="T29" fmla="*/ 2147483647 h 370"/>
                    <a:gd name="T30" fmla="*/ 2147483647 w 328"/>
                    <a:gd name="T31" fmla="*/ 2147483647 h 370"/>
                    <a:gd name="T32" fmla="*/ 2147483647 w 328"/>
                    <a:gd name="T33" fmla="*/ 2147483647 h 370"/>
                    <a:gd name="T34" fmla="*/ 2147483647 w 328"/>
                    <a:gd name="T35" fmla="*/ 2147483647 h 370"/>
                    <a:gd name="T36" fmla="*/ 2147483647 w 328"/>
                    <a:gd name="T37" fmla="*/ 2147483647 h 370"/>
                    <a:gd name="T38" fmla="*/ 2147483647 w 328"/>
                    <a:gd name="T39" fmla="*/ 2147483647 h 370"/>
                    <a:gd name="T40" fmla="*/ 2147483647 w 328"/>
                    <a:gd name="T41" fmla="*/ 2147483647 h 370"/>
                    <a:gd name="T42" fmla="*/ 2147483647 w 328"/>
                    <a:gd name="T43" fmla="*/ 2147483647 h 370"/>
                    <a:gd name="T44" fmla="*/ 2147483647 w 328"/>
                    <a:gd name="T45" fmla="*/ 2147483647 h 370"/>
                    <a:gd name="T46" fmla="*/ 2147483647 w 328"/>
                    <a:gd name="T47" fmla="*/ 2147483647 h 370"/>
                    <a:gd name="T48" fmla="*/ 2147483647 w 328"/>
                    <a:gd name="T49" fmla="*/ 2147483647 h 370"/>
                    <a:gd name="T50" fmla="*/ 2147483647 w 328"/>
                    <a:gd name="T51" fmla="*/ 2147483647 h 370"/>
                    <a:gd name="T52" fmla="*/ 2147483647 w 328"/>
                    <a:gd name="T53" fmla="*/ 2147483647 h 370"/>
                    <a:gd name="T54" fmla="*/ 2147483647 w 328"/>
                    <a:gd name="T55" fmla="*/ 2147483647 h 370"/>
                    <a:gd name="T56" fmla="*/ 2147483647 w 328"/>
                    <a:gd name="T57" fmla="*/ 2147483647 h 370"/>
                    <a:gd name="T58" fmla="*/ 2147483647 w 328"/>
                    <a:gd name="T59" fmla="*/ 2147483647 h 370"/>
                    <a:gd name="T60" fmla="*/ 2147483647 w 328"/>
                    <a:gd name="T61" fmla="*/ 2147483647 h 370"/>
                    <a:gd name="T62" fmla="*/ 2147483647 w 328"/>
                    <a:gd name="T63" fmla="*/ 2147483647 h 370"/>
                    <a:gd name="T64" fmla="*/ 2147483647 w 328"/>
                    <a:gd name="T65" fmla="*/ 2147483647 h 370"/>
                    <a:gd name="T66" fmla="*/ 2147483647 w 328"/>
                    <a:gd name="T67" fmla="*/ 2147483647 h 370"/>
                    <a:gd name="T68" fmla="*/ 2147483647 w 328"/>
                    <a:gd name="T69" fmla="*/ 2147483647 h 370"/>
                    <a:gd name="T70" fmla="*/ 2147483647 w 328"/>
                    <a:gd name="T71" fmla="*/ 2147483647 h 370"/>
                    <a:gd name="T72" fmla="*/ 2147483647 w 328"/>
                    <a:gd name="T73" fmla="*/ 2147483647 h 370"/>
                    <a:gd name="T74" fmla="*/ 2147483647 w 328"/>
                    <a:gd name="T75" fmla="*/ 2147483647 h 370"/>
                    <a:gd name="T76" fmla="*/ 2147483647 w 328"/>
                    <a:gd name="T77" fmla="*/ 2147483647 h 370"/>
                    <a:gd name="T78" fmla="*/ 2147483647 w 328"/>
                    <a:gd name="T79" fmla="*/ 2147483647 h 370"/>
                    <a:gd name="T80" fmla="*/ 2147483647 w 328"/>
                    <a:gd name="T81" fmla="*/ 2147483647 h 370"/>
                    <a:gd name="T82" fmla="*/ 2147483647 w 328"/>
                    <a:gd name="T83" fmla="*/ 2147483647 h 370"/>
                    <a:gd name="T84" fmla="*/ 2147483647 w 328"/>
                    <a:gd name="T85" fmla="*/ 2147483647 h 370"/>
                    <a:gd name="T86" fmla="*/ 2147483647 w 328"/>
                    <a:gd name="T87" fmla="*/ 2147483647 h 370"/>
                    <a:gd name="T88" fmla="*/ 2147483647 w 328"/>
                    <a:gd name="T89" fmla="*/ 2147483647 h 370"/>
                    <a:gd name="T90" fmla="*/ 2147483647 w 328"/>
                    <a:gd name="T91" fmla="*/ 2147483647 h 370"/>
                    <a:gd name="T92" fmla="*/ 2147483647 w 328"/>
                    <a:gd name="T93" fmla="*/ 2147483647 h 370"/>
                    <a:gd name="T94" fmla="*/ 2147483647 w 328"/>
                    <a:gd name="T95" fmla="*/ 2147483647 h 370"/>
                    <a:gd name="T96" fmla="*/ 2147483647 w 328"/>
                    <a:gd name="T97" fmla="*/ 2147483647 h 370"/>
                    <a:gd name="T98" fmla="*/ 2147483647 w 328"/>
                    <a:gd name="T99" fmla="*/ 2147483647 h 370"/>
                    <a:gd name="T100" fmla="*/ 2147483647 w 328"/>
                    <a:gd name="T101" fmla="*/ 2147483647 h 370"/>
                    <a:gd name="T102" fmla="*/ 2147483647 w 328"/>
                    <a:gd name="T103" fmla="*/ 2147483647 h 370"/>
                    <a:gd name="T104" fmla="*/ 2147483647 w 328"/>
                    <a:gd name="T105" fmla="*/ 2147483647 h 370"/>
                    <a:gd name="T106" fmla="*/ 2147483647 w 328"/>
                    <a:gd name="T107" fmla="*/ 2147483647 h 370"/>
                    <a:gd name="T108" fmla="*/ 2147483647 w 328"/>
                    <a:gd name="T109" fmla="*/ 2147483647 h 370"/>
                    <a:gd name="T110" fmla="*/ 2147483647 w 328"/>
                    <a:gd name="T111" fmla="*/ 2147483647 h 370"/>
                    <a:gd name="T112" fmla="*/ 2147483647 w 328"/>
                    <a:gd name="T113" fmla="*/ 2147483647 h 370"/>
                    <a:gd name="T114" fmla="*/ 2147483647 w 328"/>
                    <a:gd name="T115" fmla="*/ 2147483647 h 370"/>
                    <a:gd name="T116" fmla="*/ 0 w 328"/>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370"/>
                    <a:gd name="T179" fmla="*/ 328 w 328"/>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370">
                      <a:moveTo>
                        <a:pt x="0" y="214"/>
                      </a:moveTo>
                      <a:lnTo>
                        <a:pt x="0" y="214"/>
                      </a:lnTo>
                      <a:lnTo>
                        <a:pt x="6" y="213"/>
                      </a:lnTo>
                      <a:lnTo>
                        <a:pt x="7" y="211"/>
                      </a:lnTo>
                      <a:lnTo>
                        <a:pt x="8" y="211"/>
                      </a:lnTo>
                      <a:lnTo>
                        <a:pt x="8" y="208"/>
                      </a:lnTo>
                      <a:lnTo>
                        <a:pt x="10" y="204"/>
                      </a:lnTo>
                      <a:lnTo>
                        <a:pt x="14" y="201"/>
                      </a:lnTo>
                      <a:lnTo>
                        <a:pt x="17" y="196"/>
                      </a:lnTo>
                      <a:lnTo>
                        <a:pt x="20" y="198"/>
                      </a:lnTo>
                      <a:lnTo>
                        <a:pt x="24" y="198"/>
                      </a:lnTo>
                      <a:lnTo>
                        <a:pt x="25" y="197"/>
                      </a:lnTo>
                      <a:lnTo>
                        <a:pt x="26" y="196"/>
                      </a:lnTo>
                      <a:lnTo>
                        <a:pt x="28" y="191"/>
                      </a:lnTo>
                      <a:lnTo>
                        <a:pt x="29" y="189"/>
                      </a:lnTo>
                      <a:lnTo>
                        <a:pt x="30" y="187"/>
                      </a:lnTo>
                      <a:lnTo>
                        <a:pt x="34" y="185"/>
                      </a:lnTo>
                      <a:lnTo>
                        <a:pt x="36" y="185"/>
                      </a:lnTo>
                      <a:lnTo>
                        <a:pt x="39" y="187"/>
                      </a:lnTo>
                      <a:lnTo>
                        <a:pt x="42" y="190"/>
                      </a:lnTo>
                      <a:lnTo>
                        <a:pt x="44" y="192"/>
                      </a:lnTo>
                      <a:lnTo>
                        <a:pt x="47" y="192"/>
                      </a:lnTo>
                      <a:lnTo>
                        <a:pt x="48" y="191"/>
                      </a:lnTo>
                      <a:lnTo>
                        <a:pt x="54" y="187"/>
                      </a:lnTo>
                      <a:lnTo>
                        <a:pt x="58" y="184"/>
                      </a:lnTo>
                      <a:lnTo>
                        <a:pt x="63" y="183"/>
                      </a:lnTo>
                      <a:lnTo>
                        <a:pt x="67" y="182"/>
                      </a:lnTo>
                      <a:lnTo>
                        <a:pt x="69" y="181"/>
                      </a:lnTo>
                      <a:lnTo>
                        <a:pt x="73" y="175"/>
                      </a:lnTo>
                      <a:lnTo>
                        <a:pt x="75" y="171"/>
                      </a:lnTo>
                      <a:lnTo>
                        <a:pt x="73" y="168"/>
                      </a:lnTo>
                      <a:lnTo>
                        <a:pt x="72" y="164"/>
                      </a:lnTo>
                      <a:lnTo>
                        <a:pt x="71" y="159"/>
                      </a:lnTo>
                      <a:lnTo>
                        <a:pt x="69" y="156"/>
                      </a:lnTo>
                      <a:lnTo>
                        <a:pt x="69" y="155"/>
                      </a:lnTo>
                      <a:lnTo>
                        <a:pt x="71" y="153"/>
                      </a:lnTo>
                      <a:lnTo>
                        <a:pt x="76" y="146"/>
                      </a:lnTo>
                      <a:lnTo>
                        <a:pt x="77" y="143"/>
                      </a:lnTo>
                      <a:lnTo>
                        <a:pt x="78" y="139"/>
                      </a:lnTo>
                      <a:lnTo>
                        <a:pt x="80" y="138"/>
                      </a:lnTo>
                      <a:lnTo>
                        <a:pt x="81" y="137"/>
                      </a:lnTo>
                      <a:lnTo>
                        <a:pt x="85" y="134"/>
                      </a:lnTo>
                      <a:lnTo>
                        <a:pt x="88" y="131"/>
                      </a:lnTo>
                      <a:lnTo>
                        <a:pt x="92" y="126"/>
                      </a:lnTo>
                      <a:lnTo>
                        <a:pt x="94" y="123"/>
                      </a:lnTo>
                      <a:lnTo>
                        <a:pt x="95" y="118"/>
                      </a:lnTo>
                      <a:lnTo>
                        <a:pt x="99" y="110"/>
                      </a:lnTo>
                      <a:lnTo>
                        <a:pt x="99" y="106"/>
                      </a:lnTo>
                      <a:lnTo>
                        <a:pt x="97" y="102"/>
                      </a:lnTo>
                      <a:lnTo>
                        <a:pt x="95" y="94"/>
                      </a:lnTo>
                      <a:lnTo>
                        <a:pt x="94" y="87"/>
                      </a:lnTo>
                      <a:lnTo>
                        <a:pt x="95" y="81"/>
                      </a:lnTo>
                      <a:lnTo>
                        <a:pt x="96" y="76"/>
                      </a:lnTo>
                      <a:lnTo>
                        <a:pt x="97" y="74"/>
                      </a:lnTo>
                      <a:lnTo>
                        <a:pt x="97" y="72"/>
                      </a:lnTo>
                      <a:lnTo>
                        <a:pt x="99" y="67"/>
                      </a:lnTo>
                      <a:lnTo>
                        <a:pt x="104" y="53"/>
                      </a:lnTo>
                      <a:lnTo>
                        <a:pt x="106" y="45"/>
                      </a:lnTo>
                      <a:lnTo>
                        <a:pt x="108" y="36"/>
                      </a:lnTo>
                      <a:lnTo>
                        <a:pt x="108" y="31"/>
                      </a:lnTo>
                      <a:lnTo>
                        <a:pt x="108" y="30"/>
                      </a:lnTo>
                      <a:lnTo>
                        <a:pt x="110" y="29"/>
                      </a:lnTo>
                      <a:lnTo>
                        <a:pt x="111" y="28"/>
                      </a:lnTo>
                      <a:lnTo>
                        <a:pt x="113" y="27"/>
                      </a:lnTo>
                      <a:lnTo>
                        <a:pt x="114" y="18"/>
                      </a:lnTo>
                      <a:lnTo>
                        <a:pt x="119" y="16"/>
                      </a:lnTo>
                      <a:lnTo>
                        <a:pt x="122" y="12"/>
                      </a:lnTo>
                      <a:lnTo>
                        <a:pt x="125" y="4"/>
                      </a:lnTo>
                      <a:lnTo>
                        <a:pt x="127" y="3"/>
                      </a:lnTo>
                      <a:lnTo>
                        <a:pt x="129" y="4"/>
                      </a:lnTo>
                      <a:lnTo>
                        <a:pt x="135" y="5"/>
                      </a:lnTo>
                      <a:lnTo>
                        <a:pt x="139" y="6"/>
                      </a:lnTo>
                      <a:lnTo>
                        <a:pt x="142" y="6"/>
                      </a:lnTo>
                      <a:lnTo>
                        <a:pt x="146" y="11"/>
                      </a:lnTo>
                      <a:lnTo>
                        <a:pt x="148" y="15"/>
                      </a:lnTo>
                      <a:lnTo>
                        <a:pt x="151" y="16"/>
                      </a:lnTo>
                      <a:lnTo>
                        <a:pt x="153" y="17"/>
                      </a:lnTo>
                      <a:lnTo>
                        <a:pt x="160" y="18"/>
                      </a:lnTo>
                      <a:lnTo>
                        <a:pt x="168" y="18"/>
                      </a:lnTo>
                      <a:lnTo>
                        <a:pt x="177" y="17"/>
                      </a:lnTo>
                      <a:lnTo>
                        <a:pt x="181" y="16"/>
                      </a:lnTo>
                      <a:lnTo>
                        <a:pt x="185" y="13"/>
                      </a:lnTo>
                      <a:lnTo>
                        <a:pt x="189" y="9"/>
                      </a:lnTo>
                      <a:lnTo>
                        <a:pt x="190" y="8"/>
                      </a:lnTo>
                      <a:lnTo>
                        <a:pt x="193" y="9"/>
                      </a:lnTo>
                      <a:lnTo>
                        <a:pt x="200" y="11"/>
                      </a:lnTo>
                      <a:lnTo>
                        <a:pt x="208" y="12"/>
                      </a:lnTo>
                      <a:lnTo>
                        <a:pt x="215" y="11"/>
                      </a:lnTo>
                      <a:lnTo>
                        <a:pt x="219" y="10"/>
                      </a:lnTo>
                      <a:lnTo>
                        <a:pt x="222" y="9"/>
                      </a:lnTo>
                      <a:lnTo>
                        <a:pt x="227" y="5"/>
                      </a:lnTo>
                      <a:lnTo>
                        <a:pt x="232" y="2"/>
                      </a:lnTo>
                      <a:lnTo>
                        <a:pt x="237" y="0"/>
                      </a:lnTo>
                      <a:lnTo>
                        <a:pt x="240" y="0"/>
                      </a:lnTo>
                      <a:lnTo>
                        <a:pt x="243" y="2"/>
                      </a:lnTo>
                      <a:lnTo>
                        <a:pt x="250" y="3"/>
                      </a:lnTo>
                      <a:lnTo>
                        <a:pt x="254" y="4"/>
                      </a:lnTo>
                      <a:lnTo>
                        <a:pt x="257" y="5"/>
                      </a:lnTo>
                      <a:lnTo>
                        <a:pt x="262" y="9"/>
                      </a:lnTo>
                      <a:lnTo>
                        <a:pt x="265" y="12"/>
                      </a:lnTo>
                      <a:lnTo>
                        <a:pt x="268" y="16"/>
                      </a:lnTo>
                      <a:lnTo>
                        <a:pt x="271" y="17"/>
                      </a:lnTo>
                      <a:lnTo>
                        <a:pt x="276" y="18"/>
                      </a:lnTo>
                      <a:lnTo>
                        <a:pt x="280" y="18"/>
                      </a:lnTo>
                      <a:lnTo>
                        <a:pt x="285" y="17"/>
                      </a:lnTo>
                      <a:lnTo>
                        <a:pt x="295" y="13"/>
                      </a:lnTo>
                      <a:lnTo>
                        <a:pt x="298" y="13"/>
                      </a:lnTo>
                      <a:lnTo>
                        <a:pt x="299" y="15"/>
                      </a:lnTo>
                      <a:lnTo>
                        <a:pt x="303" y="19"/>
                      </a:lnTo>
                      <a:lnTo>
                        <a:pt x="307" y="25"/>
                      </a:lnTo>
                      <a:lnTo>
                        <a:pt x="311" y="31"/>
                      </a:lnTo>
                      <a:lnTo>
                        <a:pt x="315" y="35"/>
                      </a:lnTo>
                      <a:lnTo>
                        <a:pt x="320" y="38"/>
                      </a:lnTo>
                      <a:lnTo>
                        <a:pt x="322" y="40"/>
                      </a:lnTo>
                      <a:lnTo>
                        <a:pt x="325" y="42"/>
                      </a:lnTo>
                      <a:lnTo>
                        <a:pt x="325" y="45"/>
                      </a:lnTo>
                      <a:lnTo>
                        <a:pt x="325" y="48"/>
                      </a:lnTo>
                      <a:lnTo>
                        <a:pt x="326" y="55"/>
                      </a:lnTo>
                      <a:lnTo>
                        <a:pt x="328" y="62"/>
                      </a:lnTo>
                      <a:lnTo>
                        <a:pt x="328" y="64"/>
                      </a:lnTo>
                      <a:lnTo>
                        <a:pt x="328" y="67"/>
                      </a:lnTo>
                      <a:lnTo>
                        <a:pt x="321" y="75"/>
                      </a:lnTo>
                      <a:lnTo>
                        <a:pt x="317" y="82"/>
                      </a:lnTo>
                      <a:lnTo>
                        <a:pt x="313" y="91"/>
                      </a:lnTo>
                      <a:lnTo>
                        <a:pt x="313" y="95"/>
                      </a:lnTo>
                      <a:lnTo>
                        <a:pt x="313" y="100"/>
                      </a:lnTo>
                      <a:lnTo>
                        <a:pt x="312" y="104"/>
                      </a:lnTo>
                      <a:lnTo>
                        <a:pt x="309" y="106"/>
                      </a:lnTo>
                      <a:lnTo>
                        <a:pt x="306" y="108"/>
                      </a:lnTo>
                      <a:lnTo>
                        <a:pt x="304" y="111"/>
                      </a:lnTo>
                      <a:lnTo>
                        <a:pt x="304" y="114"/>
                      </a:lnTo>
                      <a:lnTo>
                        <a:pt x="304" y="119"/>
                      </a:lnTo>
                      <a:lnTo>
                        <a:pt x="306" y="123"/>
                      </a:lnTo>
                      <a:lnTo>
                        <a:pt x="306" y="125"/>
                      </a:lnTo>
                      <a:lnTo>
                        <a:pt x="299" y="132"/>
                      </a:lnTo>
                      <a:lnTo>
                        <a:pt x="293" y="139"/>
                      </a:lnTo>
                      <a:lnTo>
                        <a:pt x="290" y="144"/>
                      </a:lnTo>
                      <a:lnTo>
                        <a:pt x="289" y="149"/>
                      </a:lnTo>
                      <a:lnTo>
                        <a:pt x="288" y="155"/>
                      </a:lnTo>
                      <a:lnTo>
                        <a:pt x="289" y="157"/>
                      </a:lnTo>
                      <a:lnTo>
                        <a:pt x="290" y="157"/>
                      </a:lnTo>
                      <a:lnTo>
                        <a:pt x="293" y="164"/>
                      </a:lnTo>
                      <a:lnTo>
                        <a:pt x="297" y="171"/>
                      </a:lnTo>
                      <a:lnTo>
                        <a:pt x="301" y="177"/>
                      </a:lnTo>
                      <a:lnTo>
                        <a:pt x="302" y="183"/>
                      </a:lnTo>
                      <a:lnTo>
                        <a:pt x="301" y="195"/>
                      </a:lnTo>
                      <a:lnTo>
                        <a:pt x="302" y="208"/>
                      </a:lnTo>
                      <a:lnTo>
                        <a:pt x="304" y="221"/>
                      </a:lnTo>
                      <a:lnTo>
                        <a:pt x="307" y="233"/>
                      </a:lnTo>
                      <a:lnTo>
                        <a:pt x="312" y="243"/>
                      </a:lnTo>
                      <a:lnTo>
                        <a:pt x="318" y="253"/>
                      </a:lnTo>
                      <a:lnTo>
                        <a:pt x="323" y="262"/>
                      </a:lnTo>
                      <a:lnTo>
                        <a:pt x="326" y="268"/>
                      </a:lnTo>
                      <a:lnTo>
                        <a:pt x="327" y="273"/>
                      </a:lnTo>
                      <a:lnTo>
                        <a:pt x="323" y="272"/>
                      </a:lnTo>
                      <a:lnTo>
                        <a:pt x="316" y="268"/>
                      </a:lnTo>
                      <a:lnTo>
                        <a:pt x="308" y="268"/>
                      </a:lnTo>
                      <a:lnTo>
                        <a:pt x="292" y="268"/>
                      </a:lnTo>
                      <a:lnTo>
                        <a:pt x="292" y="270"/>
                      </a:lnTo>
                      <a:lnTo>
                        <a:pt x="290" y="272"/>
                      </a:lnTo>
                      <a:lnTo>
                        <a:pt x="290" y="274"/>
                      </a:lnTo>
                      <a:lnTo>
                        <a:pt x="290" y="277"/>
                      </a:lnTo>
                      <a:lnTo>
                        <a:pt x="285" y="284"/>
                      </a:lnTo>
                      <a:lnTo>
                        <a:pt x="283" y="292"/>
                      </a:lnTo>
                      <a:lnTo>
                        <a:pt x="282" y="305"/>
                      </a:lnTo>
                      <a:lnTo>
                        <a:pt x="280" y="323"/>
                      </a:lnTo>
                      <a:lnTo>
                        <a:pt x="280" y="328"/>
                      </a:lnTo>
                      <a:lnTo>
                        <a:pt x="282" y="332"/>
                      </a:lnTo>
                      <a:lnTo>
                        <a:pt x="284" y="337"/>
                      </a:lnTo>
                      <a:lnTo>
                        <a:pt x="288" y="342"/>
                      </a:lnTo>
                      <a:lnTo>
                        <a:pt x="290" y="345"/>
                      </a:lnTo>
                      <a:lnTo>
                        <a:pt x="295" y="348"/>
                      </a:lnTo>
                      <a:lnTo>
                        <a:pt x="299" y="350"/>
                      </a:lnTo>
                      <a:lnTo>
                        <a:pt x="303" y="350"/>
                      </a:lnTo>
                      <a:lnTo>
                        <a:pt x="304" y="350"/>
                      </a:lnTo>
                      <a:lnTo>
                        <a:pt x="304" y="353"/>
                      </a:lnTo>
                      <a:lnTo>
                        <a:pt x="304" y="357"/>
                      </a:lnTo>
                      <a:lnTo>
                        <a:pt x="304" y="369"/>
                      </a:lnTo>
                      <a:lnTo>
                        <a:pt x="303" y="370"/>
                      </a:lnTo>
                      <a:lnTo>
                        <a:pt x="299" y="370"/>
                      </a:lnTo>
                      <a:lnTo>
                        <a:pt x="294" y="369"/>
                      </a:lnTo>
                      <a:lnTo>
                        <a:pt x="292" y="368"/>
                      </a:lnTo>
                      <a:lnTo>
                        <a:pt x="289" y="364"/>
                      </a:lnTo>
                      <a:lnTo>
                        <a:pt x="288" y="362"/>
                      </a:lnTo>
                      <a:lnTo>
                        <a:pt x="287" y="358"/>
                      </a:lnTo>
                      <a:lnTo>
                        <a:pt x="284" y="356"/>
                      </a:lnTo>
                      <a:lnTo>
                        <a:pt x="279" y="354"/>
                      </a:lnTo>
                      <a:lnTo>
                        <a:pt x="275" y="349"/>
                      </a:lnTo>
                      <a:lnTo>
                        <a:pt x="268" y="340"/>
                      </a:lnTo>
                      <a:lnTo>
                        <a:pt x="265" y="335"/>
                      </a:lnTo>
                      <a:lnTo>
                        <a:pt x="262" y="332"/>
                      </a:lnTo>
                      <a:lnTo>
                        <a:pt x="261" y="332"/>
                      </a:lnTo>
                      <a:lnTo>
                        <a:pt x="260" y="332"/>
                      </a:lnTo>
                      <a:lnTo>
                        <a:pt x="248" y="340"/>
                      </a:lnTo>
                      <a:lnTo>
                        <a:pt x="243" y="341"/>
                      </a:lnTo>
                      <a:lnTo>
                        <a:pt x="237" y="341"/>
                      </a:lnTo>
                      <a:lnTo>
                        <a:pt x="232" y="340"/>
                      </a:lnTo>
                      <a:lnTo>
                        <a:pt x="229" y="338"/>
                      </a:lnTo>
                      <a:lnTo>
                        <a:pt x="229" y="336"/>
                      </a:lnTo>
                      <a:lnTo>
                        <a:pt x="229" y="332"/>
                      </a:lnTo>
                      <a:lnTo>
                        <a:pt x="231" y="328"/>
                      </a:lnTo>
                      <a:lnTo>
                        <a:pt x="223" y="330"/>
                      </a:lnTo>
                      <a:lnTo>
                        <a:pt x="219" y="331"/>
                      </a:lnTo>
                      <a:lnTo>
                        <a:pt x="217" y="330"/>
                      </a:lnTo>
                      <a:lnTo>
                        <a:pt x="212" y="325"/>
                      </a:lnTo>
                      <a:lnTo>
                        <a:pt x="205" y="323"/>
                      </a:lnTo>
                      <a:lnTo>
                        <a:pt x="200" y="324"/>
                      </a:lnTo>
                      <a:lnTo>
                        <a:pt x="194" y="325"/>
                      </a:lnTo>
                      <a:lnTo>
                        <a:pt x="182" y="328"/>
                      </a:lnTo>
                      <a:lnTo>
                        <a:pt x="180" y="326"/>
                      </a:lnTo>
                      <a:lnTo>
                        <a:pt x="177" y="325"/>
                      </a:lnTo>
                      <a:lnTo>
                        <a:pt x="177" y="324"/>
                      </a:lnTo>
                      <a:lnTo>
                        <a:pt x="177" y="312"/>
                      </a:lnTo>
                      <a:lnTo>
                        <a:pt x="176" y="300"/>
                      </a:lnTo>
                      <a:lnTo>
                        <a:pt x="172" y="289"/>
                      </a:lnTo>
                      <a:lnTo>
                        <a:pt x="167" y="277"/>
                      </a:lnTo>
                      <a:lnTo>
                        <a:pt x="167" y="274"/>
                      </a:lnTo>
                      <a:lnTo>
                        <a:pt x="168" y="271"/>
                      </a:lnTo>
                      <a:lnTo>
                        <a:pt x="168" y="267"/>
                      </a:lnTo>
                      <a:lnTo>
                        <a:pt x="167" y="264"/>
                      </a:lnTo>
                      <a:lnTo>
                        <a:pt x="166" y="262"/>
                      </a:lnTo>
                      <a:lnTo>
                        <a:pt x="165" y="257"/>
                      </a:lnTo>
                      <a:lnTo>
                        <a:pt x="165" y="254"/>
                      </a:lnTo>
                      <a:lnTo>
                        <a:pt x="162" y="253"/>
                      </a:lnTo>
                      <a:lnTo>
                        <a:pt x="158" y="252"/>
                      </a:lnTo>
                      <a:lnTo>
                        <a:pt x="156" y="253"/>
                      </a:lnTo>
                      <a:lnTo>
                        <a:pt x="153" y="252"/>
                      </a:lnTo>
                      <a:lnTo>
                        <a:pt x="151" y="252"/>
                      </a:lnTo>
                      <a:lnTo>
                        <a:pt x="146" y="252"/>
                      </a:lnTo>
                      <a:lnTo>
                        <a:pt x="143" y="251"/>
                      </a:lnTo>
                      <a:lnTo>
                        <a:pt x="142" y="249"/>
                      </a:lnTo>
                      <a:lnTo>
                        <a:pt x="141" y="247"/>
                      </a:lnTo>
                      <a:lnTo>
                        <a:pt x="138" y="245"/>
                      </a:lnTo>
                      <a:lnTo>
                        <a:pt x="134" y="243"/>
                      </a:lnTo>
                      <a:lnTo>
                        <a:pt x="129" y="245"/>
                      </a:lnTo>
                      <a:lnTo>
                        <a:pt x="127" y="247"/>
                      </a:lnTo>
                      <a:lnTo>
                        <a:pt x="124" y="251"/>
                      </a:lnTo>
                      <a:lnTo>
                        <a:pt x="124" y="255"/>
                      </a:lnTo>
                      <a:lnTo>
                        <a:pt x="124" y="261"/>
                      </a:lnTo>
                      <a:lnTo>
                        <a:pt x="124" y="262"/>
                      </a:lnTo>
                      <a:lnTo>
                        <a:pt x="123" y="265"/>
                      </a:lnTo>
                      <a:lnTo>
                        <a:pt x="116" y="267"/>
                      </a:lnTo>
                      <a:lnTo>
                        <a:pt x="110" y="268"/>
                      </a:lnTo>
                      <a:lnTo>
                        <a:pt x="104" y="267"/>
                      </a:lnTo>
                      <a:lnTo>
                        <a:pt x="102" y="266"/>
                      </a:lnTo>
                      <a:lnTo>
                        <a:pt x="100" y="265"/>
                      </a:lnTo>
                      <a:lnTo>
                        <a:pt x="97" y="257"/>
                      </a:lnTo>
                      <a:lnTo>
                        <a:pt x="96" y="246"/>
                      </a:lnTo>
                      <a:lnTo>
                        <a:pt x="94" y="236"/>
                      </a:lnTo>
                      <a:lnTo>
                        <a:pt x="91" y="233"/>
                      </a:lnTo>
                      <a:lnTo>
                        <a:pt x="87" y="229"/>
                      </a:lnTo>
                      <a:lnTo>
                        <a:pt x="78" y="226"/>
                      </a:lnTo>
                      <a:lnTo>
                        <a:pt x="69" y="225"/>
                      </a:lnTo>
                      <a:lnTo>
                        <a:pt x="59" y="225"/>
                      </a:lnTo>
                      <a:lnTo>
                        <a:pt x="50" y="225"/>
                      </a:lnTo>
                      <a:lnTo>
                        <a:pt x="42" y="223"/>
                      </a:lnTo>
                      <a:lnTo>
                        <a:pt x="33" y="221"/>
                      </a:lnTo>
                      <a:lnTo>
                        <a:pt x="26" y="221"/>
                      </a:lnTo>
                      <a:lnTo>
                        <a:pt x="22" y="223"/>
                      </a:lnTo>
                      <a:lnTo>
                        <a:pt x="19" y="227"/>
                      </a:lnTo>
                      <a:lnTo>
                        <a:pt x="16" y="228"/>
                      </a:lnTo>
                      <a:lnTo>
                        <a:pt x="11" y="229"/>
                      </a:lnTo>
                      <a:lnTo>
                        <a:pt x="6" y="229"/>
                      </a:lnTo>
                      <a:lnTo>
                        <a:pt x="3" y="229"/>
                      </a:lnTo>
                      <a:lnTo>
                        <a:pt x="2" y="228"/>
                      </a:lnTo>
                      <a:lnTo>
                        <a:pt x="0" y="226"/>
                      </a:lnTo>
                      <a:lnTo>
                        <a:pt x="0" y="222"/>
                      </a:lnTo>
                      <a:lnTo>
                        <a:pt x="0" y="217"/>
                      </a:lnTo>
                      <a:lnTo>
                        <a:pt x="0" y="2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4" name="Freeform 723"/>
                <p:cNvSpPr>
                  <a:spLocks/>
                </p:cNvSpPr>
                <p:nvPr/>
              </p:nvSpPr>
              <p:spPr bwMode="auto">
                <a:xfrm>
                  <a:off x="4891978" y="4792986"/>
                  <a:ext cx="294494" cy="355169"/>
                </a:xfrm>
                <a:custGeom>
                  <a:avLst/>
                  <a:gdLst>
                    <a:gd name="T0" fmla="*/ 2147483647 w 215"/>
                    <a:gd name="T1" fmla="*/ 2147483647 h 240"/>
                    <a:gd name="T2" fmla="*/ 2147483647 w 215"/>
                    <a:gd name="T3" fmla="*/ 0 h 240"/>
                    <a:gd name="T4" fmla="*/ 2147483647 w 215"/>
                    <a:gd name="T5" fmla="*/ 2147483647 h 240"/>
                    <a:gd name="T6" fmla="*/ 2147483647 w 215"/>
                    <a:gd name="T7" fmla="*/ 2147483647 h 240"/>
                    <a:gd name="T8" fmla="*/ 2147483647 w 215"/>
                    <a:gd name="T9" fmla="*/ 2147483647 h 240"/>
                    <a:gd name="T10" fmla="*/ 2147483647 w 215"/>
                    <a:gd name="T11" fmla="*/ 2147483647 h 240"/>
                    <a:gd name="T12" fmla="*/ 2147483647 w 215"/>
                    <a:gd name="T13" fmla="*/ 2147483647 h 240"/>
                    <a:gd name="T14" fmla="*/ 2147483647 w 215"/>
                    <a:gd name="T15" fmla="*/ 2147483647 h 240"/>
                    <a:gd name="T16" fmla="*/ 2147483647 w 215"/>
                    <a:gd name="T17" fmla="*/ 2147483647 h 240"/>
                    <a:gd name="T18" fmla="*/ 2147483647 w 215"/>
                    <a:gd name="T19" fmla="*/ 2147483647 h 240"/>
                    <a:gd name="T20" fmla="*/ 2147483647 w 215"/>
                    <a:gd name="T21" fmla="*/ 2147483647 h 240"/>
                    <a:gd name="T22" fmla="*/ 2147483647 w 215"/>
                    <a:gd name="T23" fmla="*/ 2147483647 h 240"/>
                    <a:gd name="T24" fmla="*/ 2147483647 w 215"/>
                    <a:gd name="T25" fmla="*/ 2147483647 h 240"/>
                    <a:gd name="T26" fmla="*/ 2147483647 w 215"/>
                    <a:gd name="T27" fmla="*/ 2147483647 h 240"/>
                    <a:gd name="T28" fmla="*/ 2147483647 w 215"/>
                    <a:gd name="T29" fmla="*/ 2147483647 h 240"/>
                    <a:gd name="T30" fmla="*/ 2147483647 w 215"/>
                    <a:gd name="T31" fmla="*/ 2147483647 h 240"/>
                    <a:gd name="T32" fmla="*/ 2147483647 w 215"/>
                    <a:gd name="T33" fmla="*/ 2147483647 h 240"/>
                    <a:gd name="T34" fmla="*/ 2147483647 w 215"/>
                    <a:gd name="T35" fmla="*/ 2147483647 h 240"/>
                    <a:gd name="T36" fmla="*/ 2147483647 w 215"/>
                    <a:gd name="T37" fmla="*/ 2147483647 h 240"/>
                    <a:gd name="T38" fmla="*/ 2147483647 w 215"/>
                    <a:gd name="T39" fmla="*/ 2147483647 h 240"/>
                    <a:gd name="T40" fmla="*/ 2147483647 w 215"/>
                    <a:gd name="T41" fmla="*/ 2147483647 h 240"/>
                    <a:gd name="T42" fmla="*/ 2147483647 w 215"/>
                    <a:gd name="T43" fmla="*/ 2147483647 h 240"/>
                    <a:gd name="T44" fmla="*/ 2147483647 w 215"/>
                    <a:gd name="T45" fmla="*/ 2147483647 h 240"/>
                    <a:gd name="T46" fmla="*/ 2147483647 w 215"/>
                    <a:gd name="T47" fmla="*/ 2147483647 h 240"/>
                    <a:gd name="T48" fmla="*/ 2147483647 w 215"/>
                    <a:gd name="T49" fmla="*/ 2147483647 h 240"/>
                    <a:gd name="T50" fmla="*/ 2147483647 w 215"/>
                    <a:gd name="T51" fmla="*/ 2147483647 h 240"/>
                    <a:gd name="T52" fmla="*/ 2147483647 w 215"/>
                    <a:gd name="T53" fmla="*/ 2147483647 h 240"/>
                    <a:gd name="T54" fmla="*/ 2147483647 w 215"/>
                    <a:gd name="T55" fmla="*/ 2147483647 h 240"/>
                    <a:gd name="T56" fmla="*/ 2147483647 w 215"/>
                    <a:gd name="T57" fmla="*/ 2147483647 h 240"/>
                    <a:gd name="T58" fmla="*/ 2147483647 w 215"/>
                    <a:gd name="T59" fmla="*/ 2147483647 h 240"/>
                    <a:gd name="T60" fmla="*/ 2147483647 w 215"/>
                    <a:gd name="T61" fmla="*/ 2147483647 h 240"/>
                    <a:gd name="T62" fmla="*/ 2147483647 w 215"/>
                    <a:gd name="T63" fmla="*/ 2147483647 h 240"/>
                    <a:gd name="T64" fmla="*/ 2147483647 w 215"/>
                    <a:gd name="T65" fmla="*/ 2147483647 h 240"/>
                    <a:gd name="T66" fmla="*/ 2147483647 w 215"/>
                    <a:gd name="T67" fmla="*/ 2147483647 h 240"/>
                    <a:gd name="T68" fmla="*/ 2147483647 w 215"/>
                    <a:gd name="T69" fmla="*/ 2147483647 h 240"/>
                    <a:gd name="T70" fmla="*/ 2147483647 w 215"/>
                    <a:gd name="T71" fmla="*/ 2147483647 h 240"/>
                    <a:gd name="T72" fmla="*/ 2147483647 w 215"/>
                    <a:gd name="T73" fmla="*/ 2147483647 h 240"/>
                    <a:gd name="T74" fmla="*/ 2147483647 w 215"/>
                    <a:gd name="T75" fmla="*/ 2147483647 h 240"/>
                    <a:gd name="T76" fmla="*/ 2147483647 w 215"/>
                    <a:gd name="T77" fmla="*/ 2147483647 h 240"/>
                    <a:gd name="T78" fmla="*/ 2147483647 w 215"/>
                    <a:gd name="T79" fmla="*/ 2147483647 h 240"/>
                    <a:gd name="T80" fmla="*/ 2147483647 w 215"/>
                    <a:gd name="T81" fmla="*/ 2147483647 h 240"/>
                    <a:gd name="T82" fmla="*/ 2147483647 w 215"/>
                    <a:gd name="T83" fmla="*/ 2147483647 h 240"/>
                    <a:gd name="T84" fmla="*/ 2147483647 w 215"/>
                    <a:gd name="T85" fmla="*/ 2147483647 h 240"/>
                    <a:gd name="T86" fmla="*/ 2147483647 w 215"/>
                    <a:gd name="T87" fmla="*/ 2147483647 h 240"/>
                    <a:gd name="T88" fmla="*/ 2147483647 w 215"/>
                    <a:gd name="T89" fmla="*/ 2147483647 h 240"/>
                    <a:gd name="T90" fmla="*/ 2147483647 w 215"/>
                    <a:gd name="T91" fmla="*/ 2147483647 h 240"/>
                    <a:gd name="T92" fmla="*/ 2147483647 w 215"/>
                    <a:gd name="T93" fmla="*/ 2147483647 h 2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5"/>
                    <a:gd name="T142" fmla="*/ 0 h 240"/>
                    <a:gd name="T143" fmla="*/ 215 w 215"/>
                    <a:gd name="T144" fmla="*/ 240 h 2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5" h="240">
                      <a:moveTo>
                        <a:pt x="20" y="8"/>
                      </a:moveTo>
                      <a:lnTo>
                        <a:pt x="25" y="7"/>
                      </a:lnTo>
                      <a:lnTo>
                        <a:pt x="28" y="6"/>
                      </a:lnTo>
                      <a:lnTo>
                        <a:pt x="32" y="3"/>
                      </a:lnTo>
                      <a:lnTo>
                        <a:pt x="36" y="0"/>
                      </a:lnTo>
                      <a:lnTo>
                        <a:pt x="42" y="0"/>
                      </a:lnTo>
                      <a:lnTo>
                        <a:pt x="51" y="3"/>
                      </a:lnTo>
                      <a:lnTo>
                        <a:pt x="60" y="4"/>
                      </a:lnTo>
                      <a:lnTo>
                        <a:pt x="69" y="4"/>
                      </a:lnTo>
                      <a:lnTo>
                        <a:pt x="79" y="4"/>
                      </a:lnTo>
                      <a:lnTo>
                        <a:pt x="88" y="5"/>
                      </a:lnTo>
                      <a:lnTo>
                        <a:pt x="96" y="8"/>
                      </a:lnTo>
                      <a:lnTo>
                        <a:pt x="100" y="12"/>
                      </a:lnTo>
                      <a:lnTo>
                        <a:pt x="103" y="16"/>
                      </a:lnTo>
                      <a:lnTo>
                        <a:pt x="105" y="25"/>
                      </a:lnTo>
                      <a:lnTo>
                        <a:pt x="107" y="36"/>
                      </a:lnTo>
                      <a:lnTo>
                        <a:pt x="109" y="44"/>
                      </a:lnTo>
                      <a:lnTo>
                        <a:pt x="112" y="45"/>
                      </a:lnTo>
                      <a:lnTo>
                        <a:pt x="113" y="46"/>
                      </a:lnTo>
                      <a:lnTo>
                        <a:pt x="119" y="48"/>
                      </a:lnTo>
                      <a:lnTo>
                        <a:pt x="126" y="46"/>
                      </a:lnTo>
                      <a:lnTo>
                        <a:pt x="132" y="44"/>
                      </a:lnTo>
                      <a:lnTo>
                        <a:pt x="133" y="42"/>
                      </a:lnTo>
                      <a:lnTo>
                        <a:pt x="133" y="40"/>
                      </a:lnTo>
                      <a:lnTo>
                        <a:pt x="133" y="35"/>
                      </a:lnTo>
                      <a:lnTo>
                        <a:pt x="133" y="30"/>
                      </a:lnTo>
                      <a:lnTo>
                        <a:pt x="136" y="26"/>
                      </a:lnTo>
                      <a:lnTo>
                        <a:pt x="138" y="24"/>
                      </a:lnTo>
                      <a:lnTo>
                        <a:pt x="143" y="23"/>
                      </a:lnTo>
                      <a:lnTo>
                        <a:pt x="147" y="24"/>
                      </a:lnTo>
                      <a:lnTo>
                        <a:pt x="150" y="26"/>
                      </a:lnTo>
                      <a:lnTo>
                        <a:pt x="151" y="29"/>
                      </a:lnTo>
                      <a:lnTo>
                        <a:pt x="152" y="30"/>
                      </a:lnTo>
                      <a:lnTo>
                        <a:pt x="155" y="31"/>
                      </a:lnTo>
                      <a:lnTo>
                        <a:pt x="160" y="31"/>
                      </a:lnTo>
                      <a:lnTo>
                        <a:pt x="163" y="31"/>
                      </a:lnTo>
                      <a:lnTo>
                        <a:pt x="165" y="32"/>
                      </a:lnTo>
                      <a:lnTo>
                        <a:pt x="168" y="31"/>
                      </a:lnTo>
                      <a:lnTo>
                        <a:pt x="171" y="32"/>
                      </a:lnTo>
                      <a:lnTo>
                        <a:pt x="174" y="33"/>
                      </a:lnTo>
                      <a:lnTo>
                        <a:pt x="174" y="36"/>
                      </a:lnTo>
                      <a:lnTo>
                        <a:pt x="175" y="42"/>
                      </a:lnTo>
                      <a:lnTo>
                        <a:pt x="176" y="43"/>
                      </a:lnTo>
                      <a:lnTo>
                        <a:pt x="178" y="46"/>
                      </a:lnTo>
                      <a:lnTo>
                        <a:pt x="178" y="50"/>
                      </a:lnTo>
                      <a:lnTo>
                        <a:pt x="176" y="53"/>
                      </a:lnTo>
                      <a:lnTo>
                        <a:pt x="176" y="56"/>
                      </a:lnTo>
                      <a:lnTo>
                        <a:pt x="182" y="68"/>
                      </a:lnTo>
                      <a:lnTo>
                        <a:pt x="185" y="80"/>
                      </a:lnTo>
                      <a:lnTo>
                        <a:pt x="187" y="91"/>
                      </a:lnTo>
                      <a:lnTo>
                        <a:pt x="187" y="103"/>
                      </a:lnTo>
                      <a:lnTo>
                        <a:pt x="187" y="104"/>
                      </a:lnTo>
                      <a:lnTo>
                        <a:pt x="189" y="106"/>
                      </a:lnTo>
                      <a:lnTo>
                        <a:pt x="192" y="107"/>
                      </a:lnTo>
                      <a:lnTo>
                        <a:pt x="203" y="104"/>
                      </a:lnTo>
                      <a:lnTo>
                        <a:pt x="210" y="103"/>
                      </a:lnTo>
                      <a:lnTo>
                        <a:pt x="215" y="102"/>
                      </a:lnTo>
                      <a:lnTo>
                        <a:pt x="215" y="138"/>
                      </a:lnTo>
                      <a:lnTo>
                        <a:pt x="199" y="140"/>
                      </a:lnTo>
                      <a:lnTo>
                        <a:pt x="188" y="141"/>
                      </a:lnTo>
                      <a:lnTo>
                        <a:pt x="182" y="141"/>
                      </a:lnTo>
                      <a:lnTo>
                        <a:pt x="179" y="234"/>
                      </a:lnTo>
                      <a:lnTo>
                        <a:pt x="168" y="237"/>
                      </a:lnTo>
                      <a:lnTo>
                        <a:pt x="156" y="238"/>
                      </a:lnTo>
                      <a:lnTo>
                        <a:pt x="143" y="240"/>
                      </a:lnTo>
                      <a:lnTo>
                        <a:pt x="138" y="238"/>
                      </a:lnTo>
                      <a:lnTo>
                        <a:pt x="132" y="237"/>
                      </a:lnTo>
                      <a:lnTo>
                        <a:pt x="128" y="234"/>
                      </a:lnTo>
                      <a:lnTo>
                        <a:pt x="124" y="230"/>
                      </a:lnTo>
                      <a:lnTo>
                        <a:pt x="122" y="225"/>
                      </a:lnTo>
                      <a:lnTo>
                        <a:pt x="119" y="224"/>
                      </a:lnTo>
                      <a:lnTo>
                        <a:pt x="100" y="223"/>
                      </a:lnTo>
                      <a:lnTo>
                        <a:pt x="81" y="223"/>
                      </a:lnTo>
                      <a:lnTo>
                        <a:pt x="62" y="223"/>
                      </a:lnTo>
                      <a:lnTo>
                        <a:pt x="43" y="221"/>
                      </a:lnTo>
                      <a:lnTo>
                        <a:pt x="36" y="218"/>
                      </a:lnTo>
                      <a:lnTo>
                        <a:pt x="32" y="218"/>
                      </a:lnTo>
                      <a:lnTo>
                        <a:pt x="28" y="218"/>
                      </a:lnTo>
                      <a:lnTo>
                        <a:pt x="27" y="219"/>
                      </a:lnTo>
                      <a:lnTo>
                        <a:pt x="25" y="222"/>
                      </a:lnTo>
                      <a:lnTo>
                        <a:pt x="24" y="224"/>
                      </a:lnTo>
                      <a:lnTo>
                        <a:pt x="23" y="225"/>
                      </a:lnTo>
                      <a:lnTo>
                        <a:pt x="22" y="225"/>
                      </a:lnTo>
                      <a:lnTo>
                        <a:pt x="19" y="224"/>
                      </a:lnTo>
                      <a:lnTo>
                        <a:pt x="18" y="222"/>
                      </a:lnTo>
                      <a:lnTo>
                        <a:pt x="15" y="219"/>
                      </a:lnTo>
                      <a:lnTo>
                        <a:pt x="13" y="218"/>
                      </a:lnTo>
                      <a:lnTo>
                        <a:pt x="10" y="219"/>
                      </a:lnTo>
                      <a:lnTo>
                        <a:pt x="5" y="222"/>
                      </a:lnTo>
                      <a:lnTo>
                        <a:pt x="1" y="218"/>
                      </a:lnTo>
                      <a:lnTo>
                        <a:pt x="0" y="216"/>
                      </a:lnTo>
                      <a:lnTo>
                        <a:pt x="1" y="214"/>
                      </a:lnTo>
                      <a:lnTo>
                        <a:pt x="3" y="206"/>
                      </a:lnTo>
                      <a:lnTo>
                        <a:pt x="4" y="199"/>
                      </a:lnTo>
                      <a:lnTo>
                        <a:pt x="5" y="197"/>
                      </a:lnTo>
                      <a:lnTo>
                        <a:pt x="6" y="195"/>
                      </a:lnTo>
                      <a:lnTo>
                        <a:pt x="9" y="192"/>
                      </a:lnTo>
                      <a:lnTo>
                        <a:pt x="9" y="191"/>
                      </a:lnTo>
                      <a:lnTo>
                        <a:pt x="10" y="177"/>
                      </a:lnTo>
                      <a:lnTo>
                        <a:pt x="11" y="170"/>
                      </a:lnTo>
                      <a:lnTo>
                        <a:pt x="15" y="163"/>
                      </a:lnTo>
                      <a:lnTo>
                        <a:pt x="16" y="160"/>
                      </a:lnTo>
                      <a:lnTo>
                        <a:pt x="16" y="157"/>
                      </a:lnTo>
                      <a:lnTo>
                        <a:pt x="16" y="154"/>
                      </a:lnTo>
                      <a:lnTo>
                        <a:pt x="18" y="151"/>
                      </a:lnTo>
                      <a:lnTo>
                        <a:pt x="20" y="148"/>
                      </a:lnTo>
                      <a:lnTo>
                        <a:pt x="22" y="145"/>
                      </a:lnTo>
                      <a:lnTo>
                        <a:pt x="23" y="139"/>
                      </a:lnTo>
                      <a:lnTo>
                        <a:pt x="27" y="134"/>
                      </a:lnTo>
                      <a:lnTo>
                        <a:pt x="30" y="129"/>
                      </a:lnTo>
                      <a:lnTo>
                        <a:pt x="36" y="126"/>
                      </a:lnTo>
                      <a:lnTo>
                        <a:pt x="37" y="122"/>
                      </a:lnTo>
                      <a:lnTo>
                        <a:pt x="38" y="119"/>
                      </a:lnTo>
                      <a:lnTo>
                        <a:pt x="39" y="108"/>
                      </a:lnTo>
                      <a:lnTo>
                        <a:pt x="39" y="109"/>
                      </a:lnTo>
                      <a:lnTo>
                        <a:pt x="37" y="107"/>
                      </a:lnTo>
                      <a:lnTo>
                        <a:pt x="37" y="104"/>
                      </a:lnTo>
                      <a:lnTo>
                        <a:pt x="34" y="100"/>
                      </a:lnTo>
                      <a:lnTo>
                        <a:pt x="30" y="91"/>
                      </a:lnTo>
                      <a:lnTo>
                        <a:pt x="29" y="87"/>
                      </a:lnTo>
                      <a:lnTo>
                        <a:pt x="29" y="82"/>
                      </a:lnTo>
                      <a:lnTo>
                        <a:pt x="28" y="80"/>
                      </a:lnTo>
                      <a:lnTo>
                        <a:pt x="25" y="77"/>
                      </a:lnTo>
                      <a:lnTo>
                        <a:pt x="25" y="75"/>
                      </a:lnTo>
                      <a:lnTo>
                        <a:pt x="28" y="67"/>
                      </a:lnTo>
                      <a:lnTo>
                        <a:pt x="29" y="62"/>
                      </a:lnTo>
                      <a:lnTo>
                        <a:pt x="30" y="56"/>
                      </a:lnTo>
                      <a:lnTo>
                        <a:pt x="29" y="50"/>
                      </a:lnTo>
                      <a:lnTo>
                        <a:pt x="28" y="44"/>
                      </a:lnTo>
                      <a:lnTo>
                        <a:pt x="24" y="39"/>
                      </a:lnTo>
                      <a:lnTo>
                        <a:pt x="19" y="33"/>
                      </a:lnTo>
                      <a:lnTo>
                        <a:pt x="18" y="32"/>
                      </a:lnTo>
                      <a:lnTo>
                        <a:pt x="18" y="31"/>
                      </a:lnTo>
                      <a:lnTo>
                        <a:pt x="16" y="26"/>
                      </a:lnTo>
                      <a:lnTo>
                        <a:pt x="15" y="24"/>
                      </a:lnTo>
                      <a:lnTo>
                        <a:pt x="13" y="23"/>
                      </a:lnTo>
                      <a:lnTo>
                        <a:pt x="10" y="21"/>
                      </a:lnTo>
                      <a:lnTo>
                        <a:pt x="9" y="19"/>
                      </a:lnTo>
                      <a:lnTo>
                        <a:pt x="8" y="16"/>
                      </a:lnTo>
                      <a:lnTo>
                        <a:pt x="9" y="13"/>
                      </a:lnTo>
                      <a:lnTo>
                        <a:pt x="10" y="13"/>
                      </a:lnTo>
                      <a:lnTo>
                        <a:pt x="15" y="12"/>
                      </a:lnTo>
                      <a:lnTo>
                        <a:pt x="20"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5" name="Freeform 724"/>
                <p:cNvSpPr>
                  <a:spLocks/>
                </p:cNvSpPr>
                <p:nvPr/>
              </p:nvSpPr>
              <p:spPr bwMode="auto">
                <a:xfrm>
                  <a:off x="4890499" y="5115602"/>
                  <a:ext cx="328532" cy="358129"/>
                </a:xfrm>
                <a:custGeom>
                  <a:avLst/>
                  <a:gdLst>
                    <a:gd name="T0" fmla="*/ 2147483647 w 240"/>
                    <a:gd name="T1" fmla="*/ 2147483647 h 242"/>
                    <a:gd name="T2" fmla="*/ 2147483647 w 240"/>
                    <a:gd name="T3" fmla="*/ 2147483647 h 242"/>
                    <a:gd name="T4" fmla="*/ 2147483647 w 240"/>
                    <a:gd name="T5" fmla="*/ 2147483647 h 242"/>
                    <a:gd name="T6" fmla="*/ 2147483647 w 240"/>
                    <a:gd name="T7" fmla="*/ 2147483647 h 242"/>
                    <a:gd name="T8" fmla="*/ 2147483647 w 240"/>
                    <a:gd name="T9" fmla="*/ 2147483647 h 242"/>
                    <a:gd name="T10" fmla="*/ 2147483647 w 240"/>
                    <a:gd name="T11" fmla="*/ 0 h 242"/>
                    <a:gd name="T12" fmla="*/ 2147483647 w 240"/>
                    <a:gd name="T13" fmla="*/ 0 h 242"/>
                    <a:gd name="T14" fmla="*/ 2147483647 w 240"/>
                    <a:gd name="T15" fmla="*/ 2147483647 h 242"/>
                    <a:gd name="T16" fmla="*/ 2147483647 w 240"/>
                    <a:gd name="T17" fmla="*/ 2147483647 h 242"/>
                    <a:gd name="T18" fmla="*/ 2147483647 w 240"/>
                    <a:gd name="T19" fmla="*/ 2147483647 h 242"/>
                    <a:gd name="T20" fmla="*/ 2147483647 w 240"/>
                    <a:gd name="T21" fmla="*/ 2147483647 h 242"/>
                    <a:gd name="T22" fmla="*/ 2147483647 w 240"/>
                    <a:gd name="T23" fmla="*/ 2147483647 h 242"/>
                    <a:gd name="T24" fmla="*/ 2147483647 w 240"/>
                    <a:gd name="T25" fmla="*/ 2147483647 h 242"/>
                    <a:gd name="T26" fmla="*/ 2147483647 w 240"/>
                    <a:gd name="T27" fmla="*/ 2147483647 h 242"/>
                    <a:gd name="T28" fmla="*/ 2147483647 w 240"/>
                    <a:gd name="T29" fmla="*/ 2147483647 h 242"/>
                    <a:gd name="T30" fmla="*/ 2147483647 w 240"/>
                    <a:gd name="T31" fmla="*/ 2147483647 h 242"/>
                    <a:gd name="T32" fmla="*/ 2147483647 w 240"/>
                    <a:gd name="T33" fmla="*/ 2147483647 h 242"/>
                    <a:gd name="T34" fmla="*/ 2147483647 w 240"/>
                    <a:gd name="T35" fmla="*/ 2147483647 h 242"/>
                    <a:gd name="T36" fmla="*/ 2147483647 w 240"/>
                    <a:gd name="T37" fmla="*/ 2147483647 h 242"/>
                    <a:gd name="T38" fmla="*/ 2147483647 w 240"/>
                    <a:gd name="T39" fmla="*/ 2147483647 h 242"/>
                    <a:gd name="T40" fmla="*/ 2147483647 w 240"/>
                    <a:gd name="T41" fmla="*/ 2147483647 h 242"/>
                    <a:gd name="T42" fmla="*/ 2147483647 w 240"/>
                    <a:gd name="T43" fmla="*/ 2147483647 h 242"/>
                    <a:gd name="T44" fmla="*/ 2147483647 w 240"/>
                    <a:gd name="T45" fmla="*/ 2147483647 h 242"/>
                    <a:gd name="T46" fmla="*/ 2147483647 w 240"/>
                    <a:gd name="T47" fmla="*/ 2147483647 h 242"/>
                    <a:gd name="T48" fmla="*/ 2147483647 w 240"/>
                    <a:gd name="T49" fmla="*/ 2147483647 h 242"/>
                    <a:gd name="T50" fmla="*/ 2147483647 w 240"/>
                    <a:gd name="T51" fmla="*/ 2147483647 h 242"/>
                    <a:gd name="T52" fmla="*/ 2147483647 w 240"/>
                    <a:gd name="T53" fmla="*/ 2147483647 h 242"/>
                    <a:gd name="T54" fmla="*/ 2147483647 w 240"/>
                    <a:gd name="T55" fmla="*/ 2147483647 h 242"/>
                    <a:gd name="T56" fmla="*/ 2147483647 w 240"/>
                    <a:gd name="T57" fmla="*/ 2147483647 h 242"/>
                    <a:gd name="T58" fmla="*/ 2147483647 w 240"/>
                    <a:gd name="T59" fmla="*/ 2147483647 h 242"/>
                    <a:gd name="T60" fmla="*/ 2147483647 w 240"/>
                    <a:gd name="T61" fmla="*/ 2147483647 h 242"/>
                    <a:gd name="T62" fmla="*/ 2147483647 w 240"/>
                    <a:gd name="T63" fmla="*/ 2147483647 h 242"/>
                    <a:gd name="T64" fmla="*/ 2147483647 w 240"/>
                    <a:gd name="T65" fmla="*/ 2147483647 h 242"/>
                    <a:gd name="T66" fmla="*/ 2147483647 w 240"/>
                    <a:gd name="T67" fmla="*/ 2147483647 h 242"/>
                    <a:gd name="T68" fmla="*/ 2147483647 w 240"/>
                    <a:gd name="T69" fmla="*/ 2147483647 h 242"/>
                    <a:gd name="T70" fmla="*/ 2147483647 w 240"/>
                    <a:gd name="T71" fmla="*/ 2147483647 h 242"/>
                    <a:gd name="T72" fmla="*/ 2147483647 w 240"/>
                    <a:gd name="T73" fmla="*/ 2147483647 h 242"/>
                    <a:gd name="T74" fmla="*/ 2147483647 w 240"/>
                    <a:gd name="T75" fmla="*/ 2147483647 h 242"/>
                    <a:gd name="T76" fmla="*/ 2147483647 w 240"/>
                    <a:gd name="T77" fmla="*/ 2147483647 h 242"/>
                    <a:gd name="T78" fmla="*/ 2147483647 w 240"/>
                    <a:gd name="T79" fmla="*/ 2147483647 h 242"/>
                    <a:gd name="T80" fmla="*/ 2147483647 w 240"/>
                    <a:gd name="T81" fmla="*/ 2147483647 h 242"/>
                    <a:gd name="T82" fmla="*/ 2147483647 w 240"/>
                    <a:gd name="T83" fmla="*/ 2147483647 h 242"/>
                    <a:gd name="T84" fmla="*/ 2147483647 w 240"/>
                    <a:gd name="T85" fmla="*/ 2147483647 h 242"/>
                    <a:gd name="T86" fmla="*/ 2147483647 w 240"/>
                    <a:gd name="T87" fmla="*/ 2147483647 h 242"/>
                    <a:gd name="T88" fmla="*/ 2147483647 w 240"/>
                    <a:gd name="T89" fmla="*/ 2147483647 h 242"/>
                    <a:gd name="T90" fmla="*/ 2147483647 w 240"/>
                    <a:gd name="T91" fmla="*/ 2147483647 h 242"/>
                    <a:gd name="T92" fmla="*/ 2147483647 w 240"/>
                    <a:gd name="T93" fmla="*/ 2147483647 h 242"/>
                    <a:gd name="T94" fmla="*/ 2147483647 w 240"/>
                    <a:gd name="T95" fmla="*/ 2147483647 h 242"/>
                    <a:gd name="T96" fmla="*/ 2147483647 w 240"/>
                    <a:gd name="T97" fmla="*/ 2147483647 h 242"/>
                    <a:gd name="T98" fmla="*/ 2147483647 w 240"/>
                    <a:gd name="T99" fmla="*/ 2147483647 h 242"/>
                    <a:gd name="T100" fmla="*/ 2147483647 w 240"/>
                    <a:gd name="T101" fmla="*/ 2147483647 h 242"/>
                    <a:gd name="T102" fmla="*/ 2147483647 w 240"/>
                    <a:gd name="T103" fmla="*/ 2147483647 h 242"/>
                    <a:gd name="T104" fmla="*/ 2147483647 w 240"/>
                    <a:gd name="T105" fmla="*/ 2147483647 h 242"/>
                    <a:gd name="T106" fmla="*/ 2147483647 w 240"/>
                    <a:gd name="T107" fmla="*/ 2147483647 h 242"/>
                    <a:gd name="T108" fmla="*/ 2147483647 w 240"/>
                    <a:gd name="T109" fmla="*/ 2147483647 h 242"/>
                    <a:gd name="T110" fmla="*/ 2147483647 w 240"/>
                    <a:gd name="T111" fmla="*/ 2147483647 h 242"/>
                    <a:gd name="T112" fmla="*/ 2147483647 w 240"/>
                    <a:gd name="T113" fmla="*/ 2147483647 h 242"/>
                    <a:gd name="T114" fmla="*/ 2147483647 w 240"/>
                    <a:gd name="T115" fmla="*/ 2147483647 h 242"/>
                    <a:gd name="T116" fmla="*/ 2147483647 w 240"/>
                    <a:gd name="T117" fmla="*/ 2147483647 h 2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0"/>
                    <a:gd name="T178" fmla="*/ 0 h 242"/>
                    <a:gd name="T179" fmla="*/ 240 w 240"/>
                    <a:gd name="T180" fmla="*/ 242 h 2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0" h="242">
                      <a:moveTo>
                        <a:pt x="6" y="4"/>
                      </a:moveTo>
                      <a:lnTo>
                        <a:pt x="11" y="1"/>
                      </a:lnTo>
                      <a:lnTo>
                        <a:pt x="14" y="0"/>
                      </a:lnTo>
                      <a:lnTo>
                        <a:pt x="16" y="1"/>
                      </a:lnTo>
                      <a:lnTo>
                        <a:pt x="19" y="4"/>
                      </a:lnTo>
                      <a:lnTo>
                        <a:pt x="20" y="6"/>
                      </a:lnTo>
                      <a:lnTo>
                        <a:pt x="23" y="7"/>
                      </a:lnTo>
                      <a:lnTo>
                        <a:pt x="24" y="7"/>
                      </a:lnTo>
                      <a:lnTo>
                        <a:pt x="25" y="6"/>
                      </a:lnTo>
                      <a:lnTo>
                        <a:pt x="26" y="4"/>
                      </a:lnTo>
                      <a:lnTo>
                        <a:pt x="28" y="1"/>
                      </a:lnTo>
                      <a:lnTo>
                        <a:pt x="29" y="0"/>
                      </a:lnTo>
                      <a:lnTo>
                        <a:pt x="33" y="0"/>
                      </a:lnTo>
                      <a:lnTo>
                        <a:pt x="37" y="0"/>
                      </a:lnTo>
                      <a:lnTo>
                        <a:pt x="44" y="3"/>
                      </a:lnTo>
                      <a:lnTo>
                        <a:pt x="63" y="5"/>
                      </a:lnTo>
                      <a:lnTo>
                        <a:pt x="82" y="5"/>
                      </a:lnTo>
                      <a:lnTo>
                        <a:pt x="101" y="5"/>
                      </a:lnTo>
                      <a:lnTo>
                        <a:pt x="120" y="6"/>
                      </a:lnTo>
                      <a:lnTo>
                        <a:pt x="123" y="7"/>
                      </a:lnTo>
                      <a:lnTo>
                        <a:pt x="125" y="12"/>
                      </a:lnTo>
                      <a:lnTo>
                        <a:pt x="129" y="16"/>
                      </a:lnTo>
                      <a:lnTo>
                        <a:pt x="133" y="19"/>
                      </a:lnTo>
                      <a:lnTo>
                        <a:pt x="139" y="20"/>
                      </a:lnTo>
                      <a:lnTo>
                        <a:pt x="144" y="22"/>
                      </a:lnTo>
                      <a:lnTo>
                        <a:pt x="157" y="20"/>
                      </a:lnTo>
                      <a:lnTo>
                        <a:pt x="169" y="19"/>
                      </a:lnTo>
                      <a:lnTo>
                        <a:pt x="180" y="16"/>
                      </a:lnTo>
                      <a:lnTo>
                        <a:pt x="202" y="12"/>
                      </a:lnTo>
                      <a:lnTo>
                        <a:pt x="213" y="11"/>
                      </a:lnTo>
                      <a:lnTo>
                        <a:pt x="223" y="11"/>
                      </a:lnTo>
                      <a:lnTo>
                        <a:pt x="228" y="15"/>
                      </a:lnTo>
                      <a:lnTo>
                        <a:pt x="233" y="15"/>
                      </a:lnTo>
                      <a:lnTo>
                        <a:pt x="240" y="15"/>
                      </a:lnTo>
                      <a:lnTo>
                        <a:pt x="240" y="17"/>
                      </a:lnTo>
                      <a:lnTo>
                        <a:pt x="238" y="18"/>
                      </a:lnTo>
                      <a:lnTo>
                        <a:pt x="226" y="22"/>
                      </a:lnTo>
                      <a:lnTo>
                        <a:pt x="219" y="24"/>
                      </a:lnTo>
                      <a:lnTo>
                        <a:pt x="213" y="26"/>
                      </a:lnTo>
                      <a:lnTo>
                        <a:pt x="212" y="26"/>
                      </a:lnTo>
                      <a:lnTo>
                        <a:pt x="209" y="25"/>
                      </a:lnTo>
                      <a:lnTo>
                        <a:pt x="205" y="22"/>
                      </a:lnTo>
                      <a:lnTo>
                        <a:pt x="166" y="29"/>
                      </a:lnTo>
                      <a:lnTo>
                        <a:pt x="165" y="97"/>
                      </a:lnTo>
                      <a:lnTo>
                        <a:pt x="144" y="97"/>
                      </a:lnTo>
                      <a:lnTo>
                        <a:pt x="144" y="163"/>
                      </a:lnTo>
                      <a:lnTo>
                        <a:pt x="144" y="224"/>
                      </a:lnTo>
                      <a:lnTo>
                        <a:pt x="143" y="228"/>
                      </a:lnTo>
                      <a:lnTo>
                        <a:pt x="142" y="230"/>
                      </a:lnTo>
                      <a:lnTo>
                        <a:pt x="138" y="234"/>
                      </a:lnTo>
                      <a:lnTo>
                        <a:pt x="134" y="236"/>
                      </a:lnTo>
                      <a:lnTo>
                        <a:pt x="132" y="236"/>
                      </a:lnTo>
                      <a:lnTo>
                        <a:pt x="127" y="240"/>
                      </a:lnTo>
                      <a:lnTo>
                        <a:pt x="119" y="242"/>
                      </a:lnTo>
                      <a:lnTo>
                        <a:pt x="114" y="242"/>
                      </a:lnTo>
                      <a:lnTo>
                        <a:pt x="110" y="242"/>
                      </a:lnTo>
                      <a:lnTo>
                        <a:pt x="108" y="241"/>
                      </a:lnTo>
                      <a:lnTo>
                        <a:pt x="105" y="239"/>
                      </a:lnTo>
                      <a:lnTo>
                        <a:pt x="103" y="236"/>
                      </a:lnTo>
                      <a:lnTo>
                        <a:pt x="101" y="233"/>
                      </a:lnTo>
                      <a:lnTo>
                        <a:pt x="101" y="230"/>
                      </a:lnTo>
                      <a:lnTo>
                        <a:pt x="101" y="227"/>
                      </a:lnTo>
                      <a:lnTo>
                        <a:pt x="100" y="224"/>
                      </a:lnTo>
                      <a:lnTo>
                        <a:pt x="97" y="224"/>
                      </a:lnTo>
                      <a:lnTo>
                        <a:pt x="96" y="224"/>
                      </a:lnTo>
                      <a:lnTo>
                        <a:pt x="96" y="226"/>
                      </a:lnTo>
                      <a:lnTo>
                        <a:pt x="96" y="229"/>
                      </a:lnTo>
                      <a:lnTo>
                        <a:pt x="95" y="231"/>
                      </a:lnTo>
                      <a:lnTo>
                        <a:pt x="94" y="233"/>
                      </a:lnTo>
                      <a:lnTo>
                        <a:pt x="90" y="233"/>
                      </a:lnTo>
                      <a:lnTo>
                        <a:pt x="89" y="233"/>
                      </a:lnTo>
                      <a:lnTo>
                        <a:pt x="87" y="234"/>
                      </a:lnTo>
                      <a:lnTo>
                        <a:pt x="86" y="235"/>
                      </a:lnTo>
                      <a:lnTo>
                        <a:pt x="85" y="236"/>
                      </a:lnTo>
                      <a:lnTo>
                        <a:pt x="78" y="229"/>
                      </a:lnTo>
                      <a:lnTo>
                        <a:pt x="68" y="220"/>
                      </a:lnTo>
                      <a:lnTo>
                        <a:pt x="63" y="214"/>
                      </a:lnTo>
                      <a:lnTo>
                        <a:pt x="59" y="208"/>
                      </a:lnTo>
                      <a:lnTo>
                        <a:pt x="54" y="196"/>
                      </a:lnTo>
                      <a:lnTo>
                        <a:pt x="52" y="184"/>
                      </a:lnTo>
                      <a:lnTo>
                        <a:pt x="51" y="172"/>
                      </a:lnTo>
                      <a:lnTo>
                        <a:pt x="52" y="160"/>
                      </a:lnTo>
                      <a:lnTo>
                        <a:pt x="53" y="154"/>
                      </a:lnTo>
                      <a:lnTo>
                        <a:pt x="52" y="148"/>
                      </a:lnTo>
                      <a:lnTo>
                        <a:pt x="51" y="143"/>
                      </a:lnTo>
                      <a:lnTo>
                        <a:pt x="47" y="137"/>
                      </a:lnTo>
                      <a:lnTo>
                        <a:pt x="45" y="134"/>
                      </a:lnTo>
                      <a:lnTo>
                        <a:pt x="47" y="132"/>
                      </a:lnTo>
                      <a:lnTo>
                        <a:pt x="52" y="130"/>
                      </a:lnTo>
                      <a:lnTo>
                        <a:pt x="51" y="126"/>
                      </a:lnTo>
                      <a:lnTo>
                        <a:pt x="52" y="122"/>
                      </a:lnTo>
                      <a:lnTo>
                        <a:pt x="54" y="120"/>
                      </a:lnTo>
                      <a:lnTo>
                        <a:pt x="57" y="118"/>
                      </a:lnTo>
                      <a:lnTo>
                        <a:pt x="58" y="115"/>
                      </a:lnTo>
                      <a:lnTo>
                        <a:pt x="58" y="113"/>
                      </a:lnTo>
                      <a:lnTo>
                        <a:pt x="57" y="112"/>
                      </a:lnTo>
                      <a:lnTo>
                        <a:pt x="54" y="111"/>
                      </a:lnTo>
                      <a:lnTo>
                        <a:pt x="49" y="109"/>
                      </a:lnTo>
                      <a:lnTo>
                        <a:pt x="45" y="107"/>
                      </a:lnTo>
                      <a:lnTo>
                        <a:pt x="43" y="105"/>
                      </a:lnTo>
                      <a:lnTo>
                        <a:pt x="42" y="101"/>
                      </a:lnTo>
                      <a:lnTo>
                        <a:pt x="39" y="94"/>
                      </a:lnTo>
                      <a:lnTo>
                        <a:pt x="37" y="87"/>
                      </a:lnTo>
                      <a:lnTo>
                        <a:pt x="29" y="70"/>
                      </a:lnTo>
                      <a:lnTo>
                        <a:pt x="25" y="61"/>
                      </a:lnTo>
                      <a:lnTo>
                        <a:pt x="25" y="56"/>
                      </a:lnTo>
                      <a:lnTo>
                        <a:pt x="26" y="51"/>
                      </a:lnTo>
                      <a:lnTo>
                        <a:pt x="26" y="47"/>
                      </a:lnTo>
                      <a:lnTo>
                        <a:pt x="24" y="45"/>
                      </a:lnTo>
                      <a:lnTo>
                        <a:pt x="17" y="42"/>
                      </a:lnTo>
                      <a:lnTo>
                        <a:pt x="15" y="39"/>
                      </a:lnTo>
                      <a:lnTo>
                        <a:pt x="15" y="37"/>
                      </a:lnTo>
                      <a:lnTo>
                        <a:pt x="6" y="26"/>
                      </a:lnTo>
                      <a:lnTo>
                        <a:pt x="2" y="22"/>
                      </a:lnTo>
                      <a:lnTo>
                        <a:pt x="0" y="15"/>
                      </a:lnTo>
                      <a:lnTo>
                        <a:pt x="5" y="15"/>
                      </a:lnTo>
                      <a:lnTo>
                        <a:pt x="7" y="11"/>
                      </a:lnTo>
                      <a:lnTo>
                        <a:pt x="7" y="7"/>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6" name="Freeform 725"/>
                <p:cNvSpPr>
                  <a:spLocks/>
                </p:cNvSpPr>
                <p:nvPr/>
              </p:nvSpPr>
              <p:spPr bwMode="auto">
                <a:xfrm>
                  <a:off x="4890500" y="4791508"/>
                  <a:ext cx="293015" cy="353690"/>
                </a:xfrm>
                <a:custGeom>
                  <a:avLst/>
                  <a:gdLst>
                    <a:gd name="T0" fmla="*/ 2147483647 w 214"/>
                    <a:gd name="T1" fmla="*/ 2147483647 h 239"/>
                    <a:gd name="T2" fmla="*/ 2147483647 w 214"/>
                    <a:gd name="T3" fmla="*/ 2147483647 h 239"/>
                    <a:gd name="T4" fmla="*/ 2147483647 w 214"/>
                    <a:gd name="T5" fmla="*/ 2147483647 h 239"/>
                    <a:gd name="T6" fmla="*/ 2147483647 w 214"/>
                    <a:gd name="T7" fmla="*/ 2147483647 h 239"/>
                    <a:gd name="T8" fmla="*/ 2147483647 w 214"/>
                    <a:gd name="T9" fmla="*/ 2147483647 h 239"/>
                    <a:gd name="T10" fmla="*/ 2147483647 w 214"/>
                    <a:gd name="T11" fmla="*/ 2147483647 h 239"/>
                    <a:gd name="T12" fmla="*/ 2147483647 w 214"/>
                    <a:gd name="T13" fmla="*/ 2147483647 h 239"/>
                    <a:gd name="T14" fmla="*/ 2147483647 w 214"/>
                    <a:gd name="T15" fmla="*/ 2147483647 h 239"/>
                    <a:gd name="T16" fmla="*/ 2147483647 w 214"/>
                    <a:gd name="T17" fmla="*/ 2147483647 h 239"/>
                    <a:gd name="T18" fmla="*/ 2147483647 w 214"/>
                    <a:gd name="T19" fmla="*/ 2147483647 h 239"/>
                    <a:gd name="T20" fmla="*/ 2147483647 w 214"/>
                    <a:gd name="T21" fmla="*/ 2147483647 h 239"/>
                    <a:gd name="T22" fmla="*/ 2147483647 w 214"/>
                    <a:gd name="T23" fmla="*/ 2147483647 h 239"/>
                    <a:gd name="T24" fmla="*/ 2147483647 w 214"/>
                    <a:gd name="T25" fmla="*/ 2147483647 h 239"/>
                    <a:gd name="T26" fmla="*/ 2147483647 w 214"/>
                    <a:gd name="T27" fmla="*/ 2147483647 h 239"/>
                    <a:gd name="T28" fmla="*/ 2147483647 w 214"/>
                    <a:gd name="T29" fmla="*/ 2147483647 h 239"/>
                    <a:gd name="T30" fmla="*/ 2147483647 w 214"/>
                    <a:gd name="T31" fmla="*/ 2147483647 h 239"/>
                    <a:gd name="T32" fmla="*/ 2147483647 w 214"/>
                    <a:gd name="T33" fmla="*/ 2147483647 h 239"/>
                    <a:gd name="T34" fmla="*/ 2147483647 w 214"/>
                    <a:gd name="T35" fmla="*/ 2147483647 h 239"/>
                    <a:gd name="T36" fmla="*/ 2147483647 w 214"/>
                    <a:gd name="T37" fmla="*/ 2147483647 h 239"/>
                    <a:gd name="T38" fmla="*/ 2147483647 w 214"/>
                    <a:gd name="T39" fmla="*/ 2147483647 h 239"/>
                    <a:gd name="T40" fmla="*/ 2147483647 w 214"/>
                    <a:gd name="T41" fmla="*/ 2147483647 h 239"/>
                    <a:gd name="T42" fmla="*/ 2147483647 w 214"/>
                    <a:gd name="T43" fmla="*/ 2147483647 h 239"/>
                    <a:gd name="T44" fmla="*/ 2147483647 w 214"/>
                    <a:gd name="T45" fmla="*/ 2147483647 h 239"/>
                    <a:gd name="T46" fmla="*/ 2147483647 w 214"/>
                    <a:gd name="T47" fmla="*/ 2147483647 h 239"/>
                    <a:gd name="T48" fmla="*/ 2147483647 w 214"/>
                    <a:gd name="T49" fmla="*/ 2147483647 h 239"/>
                    <a:gd name="T50" fmla="*/ 2147483647 w 214"/>
                    <a:gd name="T51" fmla="*/ 2147483647 h 239"/>
                    <a:gd name="T52" fmla="*/ 2147483647 w 214"/>
                    <a:gd name="T53" fmla="*/ 2147483647 h 239"/>
                    <a:gd name="T54" fmla="*/ 2147483647 w 214"/>
                    <a:gd name="T55" fmla="*/ 2147483647 h 239"/>
                    <a:gd name="T56" fmla="*/ 2147483647 w 214"/>
                    <a:gd name="T57" fmla="*/ 2147483647 h 239"/>
                    <a:gd name="T58" fmla="*/ 2147483647 w 214"/>
                    <a:gd name="T59" fmla="*/ 2147483647 h 239"/>
                    <a:gd name="T60" fmla="*/ 2147483647 w 214"/>
                    <a:gd name="T61" fmla="*/ 2147483647 h 239"/>
                    <a:gd name="T62" fmla="*/ 2147483647 w 214"/>
                    <a:gd name="T63" fmla="*/ 2147483647 h 239"/>
                    <a:gd name="T64" fmla="*/ 2147483647 w 214"/>
                    <a:gd name="T65" fmla="*/ 2147483647 h 239"/>
                    <a:gd name="T66" fmla="*/ 2147483647 w 214"/>
                    <a:gd name="T67" fmla="*/ 2147483647 h 239"/>
                    <a:gd name="T68" fmla="*/ 2147483647 w 214"/>
                    <a:gd name="T69" fmla="*/ 2147483647 h 239"/>
                    <a:gd name="T70" fmla="*/ 2147483647 w 214"/>
                    <a:gd name="T71" fmla="*/ 2147483647 h 239"/>
                    <a:gd name="T72" fmla="*/ 2147483647 w 214"/>
                    <a:gd name="T73" fmla="*/ 2147483647 h 239"/>
                    <a:gd name="T74" fmla="*/ 2147483647 w 214"/>
                    <a:gd name="T75" fmla="*/ 2147483647 h 239"/>
                    <a:gd name="T76" fmla="*/ 2147483647 w 214"/>
                    <a:gd name="T77" fmla="*/ 2147483647 h 239"/>
                    <a:gd name="T78" fmla="*/ 2147483647 w 214"/>
                    <a:gd name="T79" fmla="*/ 2147483647 h 239"/>
                    <a:gd name="T80" fmla="*/ 2147483647 w 214"/>
                    <a:gd name="T81" fmla="*/ 2147483647 h 239"/>
                    <a:gd name="T82" fmla="*/ 2147483647 w 214"/>
                    <a:gd name="T83" fmla="*/ 2147483647 h 239"/>
                    <a:gd name="T84" fmla="*/ 2147483647 w 214"/>
                    <a:gd name="T85" fmla="*/ 2147483647 h 239"/>
                    <a:gd name="T86" fmla="*/ 2147483647 w 214"/>
                    <a:gd name="T87" fmla="*/ 2147483647 h 239"/>
                    <a:gd name="T88" fmla="*/ 2147483647 w 214"/>
                    <a:gd name="T89" fmla="*/ 2147483647 h 239"/>
                    <a:gd name="T90" fmla="*/ 2147483647 w 214"/>
                    <a:gd name="T91" fmla="*/ 2147483647 h 239"/>
                    <a:gd name="T92" fmla="*/ 2147483647 w 214"/>
                    <a:gd name="T93" fmla="*/ 2147483647 h 239"/>
                    <a:gd name="T94" fmla="*/ 2147483647 w 214"/>
                    <a:gd name="T95" fmla="*/ 2147483647 h 239"/>
                    <a:gd name="T96" fmla="*/ 2147483647 w 214"/>
                    <a:gd name="T97" fmla="*/ 2147483647 h 239"/>
                    <a:gd name="T98" fmla="*/ 2147483647 w 214"/>
                    <a:gd name="T99" fmla="*/ 2147483647 h 239"/>
                    <a:gd name="T100" fmla="*/ 2147483647 w 214"/>
                    <a:gd name="T101" fmla="*/ 2147483647 h 239"/>
                    <a:gd name="T102" fmla="*/ 2147483647 w 214"/>
                    <a:gd name="T103" fmla="*/ 2147483647 h 239"/>
                    <a:gd name="T104" fmla="*/ 2147483647 w 214"/>
                    <a:gd name="T105" fmla="*/ 2147483647 h 239"/>
                    <a:gd name="T106" fmla="*/ 2147483647 w 214"/>
                    <a:gd name="T107" fmla="*/ 2147483647 h 239"/>
                    <a:gd name="T108" fmla="*/ 2147483647 w 214"/>
                    <a:gd name="T109" fmla="*/ 2147483647 h 239"/>
                    <a:gd name="T110" fmla="*/ 2147483647 w 214"/>
                    <a:gd name="T111" fmla="*/ 2147483647 h 239"/>
                    <a:gd name="T112" fmla="*/ 2147483647 w 214"/>
                    <a:gd name="T113" fmla="*/ 2147483647 h 239"/>
                    <a:gd name="T114" fmla="*/ 2147483647 w 214"/>
                    <a:gd name="T115" fmla="*/ 2147483647 h 239"/>
                    <a:gd name="T116" fmla="*/ 2147483647 w 214"/>
                    <a:gd name="T117" fmla="*/ 2147483647 h 239"/>
                    <a:gd name="T118" fmla="*/ 2147483647 w 214"/>
                    <a:gd name="T119" fmla="*/ 2147483647 h 239"/>
                    <a:gd name="T120" fmla="*/ 2147483647 w 214"/>
                    <a:gd name="T121" fmla="*/ 2147483647 h 239"/>
                    <a:gd name="T122" fmla="*/ 2147483647 w 214"/>
                    <a:gd name="T123" fmla="*/ 2147483647 h 2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4"/>
                    <a:gd name="T187" fmla="*/ 0 h 239"/>
                    <a:gd name="T188" fmla="*/ 214 w 214"/>
                    <a:gd name="T189" fmla="*/ 239 h 2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4" h="239">
                      <a:moveTo>
                        <a:pt x="20" y="8"/>
                      </a:moveTo>
                      <a:lnTo>
                        <a:pt x="20" y="8"/>
                      </a:lnTo>
                      <a:lnTo>
                        <a:pt x="25" y="7"/>
                      </a:lnTo>
                      <a:lnTo>
                        <a:pt x="28" y="6"/>
                      </a:lnTo>
                      <a:lnTo>
                        <a:pt x="31" y="2"/>
                      </a:lnTo>
                      <a:lnTo>
                        <a:pt x="35" y="0"/>
                      </a:lnTo>
                      <a:lnTo>
                        <a:pt x="42" y="0"/>
                      </a:lnTo>
                      <a:lnTo>
                        <a:pt x="51" y="2"/>
                      </a:lnTo>
                      <a:lnTo>
                        <a:pt x="59" y="4"/>
                      </a:lnTo>
                      <a:lnTo>
                        <a:pt x="68" y="4"/>
                      </a:lnTo>
                      <a:lnTo>
                        <a:pt x="78" y="4"/>
                      </a:lnTo>
                      <a:lnTo>
                        <a:pt x="87" y="5"/>
                      </a:lnTo>
                      <a:lnTo>
                        <a:pt x="96" y="8"/>
                      </a:lnTo>
                      <a:lnTo>
                        <a:pt x="100" y="12"/>
                      </a:lnTo>
                      <a:lnTo>
                        <a:pt x="103" y="15"/>
                      </a:lnTo>
                      <a:lnTo>
                        <a:pt x="105" y="25"/>
                      </a:lnTo>
                      <a:lnTo>
                        <a:pt x="106" y="36"/>
                      </a:lnTo>
                      <a:lnTo>
                        <a:pt x="109" y="44"/>
                      </a:lnTo>
                      <a:lnTo>
                        <a:pt x="111" y="45"/>
                      </a:lnTo>
                      <a:lnTo>
                        <a:pt x="113" y="46"/>
                      </a:lnTo>
                      <a:lnTo>
                        <a:pt x="119" y="47"/>
                      </a:lnTo>
                      <a:lnTo>
                        <a:pt x="125" y="46"/>
                      </a:lnTo>
                      <a:lnTo>
                        <a:pt x="132" y="44"/>
                      </a:lnTo>
                      <a:lnTo>
                        <a:pt x="133" y="41"/>
                      </a:lnTo>
                      <a:lnTo>
                        <a:pt x="133" y="40"/>
                      </a:lnTo>
                      <a:lnTo>
                        <a:pt x="133" y="34"/>
                      </a:lnTo>
                      <a:lnTo>
                        <a:pt x="133" y="30"/>
                      </a:lnTo>
                      <a:lnTo>
                        <a:pt x="136" y="26"/>
                      </a:lnTo>
                      <a:lnTo>
                        <a:pt x="138" y="24"/>
                      </a:lnTo>
                      <a:lnTo>
                        <a:pt x="143" y="22"/>
                      </a:lnTo>
                      <a:lnTo>
                        <a:pt x="147" y="24"/>
                      </a:lnTo>
                      <a:lnTo>
                        <a:pt x="150" y="26"/>
                      </a:lnTo>
                      <a:lnTo>
                        <a:pt x="151" y="28"/>
                      </a:lnTo>
                      <a:lnTo>
                        <a:pt x="152" y="30"/>
                      </a:lnTo>
                      <a:lnTo>
                        <a:pt x="155" y="31"/>
                      </a:lnTo>
                      <a:lnTo>
                        <a:pt x="160" y="31"/>
                      </a:lnTo>
                      <a:lnTo>
                        <a:pt x="162" y="31"/>
                      </a:lnTo>
                      <a:lnTo>
                        <a:pt x="165" y="32"/>
                      </a:lnTo>
                      <a:lnTo>
                        <a:pt x="167" y="31"/>
                      </a:lnTo>
                      <a:lnTo>
                        <a:pt x="171" y="32"/>
                      </a:lnTo>
                      <a:lnTo>
                        <a:pt x="174" y="33"/>
                      </a:lnTo>
                      <a:lnTo>
                        <a:pt x="174" y="36"/>
                      </a:lnTo>
                      <a:lnTo>
                        <a:pt x="175" y="41"/>
                      </a:lnTo>
                      <a:lnTo>
                        <a:pt x="176" y="43"/>
                      </a:lnTo>
                      <a:lnTo>
                        <a:pt x="177" y="46"/>
                      </a:lnTo>
                      <a:lnTo>
                        <a:pt x="177" y="50"/>
                      </a:lnTo>
                      <a:lnTo>
                        <a:pt x="176" y="53"/>
                      </a:lnTo>
                      <a:lnTo>
                        <a:pt x="176" y="56"/>
                      </a:lnTo>
                      <a:lnTo>
                        <a:pt x="181" y="68"/>
                      </a:lnTo>
                      <a:lnTo>
                        <a:pt x="185" y="79"/>
                      </a:lnTo>
                      <a:lnTo>
                        <a:pt x="186" y="91"/>
                      </a:lnTo>
                      <a:lnTo>
                        <a:pt x="186" y="103"/>
                      </a:lnTo>
                      <a:lnTo>
                        <a:pt x="186" y="104"/>
                      </a:lnTo>
                      <a:lnTo>
                        <a:pt x="189" y="105"/>
                      </a:lnTo>
                      <a:lnTo>
                        <a:pt x="191" y="107"/>
                      </a:lnTo>
                      <a:lnTo>
                        <a:pt x="203" y="104"/>
                      </a:lnTo>
                      <a:lnTo>
                        <a:pt x="209" y="103"/>
                      </a:lnTo>
                      <a:lnTo>
                        <a:pt x="214" y="102"/>
                      </a:lnTo>
                      <a:lnTo>
                        <a:pt x="214" y="137"/>
                      </a:lnTo>
                      <a:lnTo>
                        <a:pt x="199" y="140"/>
                      </a:lnTo>
                      <a:lnTo>
                        <a:pt x="188" y="141"/>
                      </a:lnTo>
                      <a:lnTo>
                        <a:pt x="181" y="141"/>
                      </a:lnTo>
                      <a:lnTo>
                        <a:pt x="179" y="234"/>
                      </a:lnTo>
                      <a:lnTo>
                        <a:pt x="167" y="237"/>
                      </a:lnTo>
                      <a:lnTo>
                        <a:pt x="156" y="238"/>
                      </a:lnTo>
                      <a:lnTo>
                        <a:pt x="143" y="239"/>
                      </a:lnTo>
                      <a:lnTo>
                        <a:pt x="138" y="238"/>
                      </a:lnTo>
                      <a:lnTo>
                        <a:pt x="132" y="237"/>
                      </a:lnTo>
                      <a:lnTo>
                        <a:pt x="128" y="234"/>
                      </a:lnTo>
                      <a:lnTo>
                        <a:pt x="124" y="230"/>
                      </a:lnTo>
                      <a:lnTo>
                        <a:pt x="122" y="225"/>
                      </a:lnTo>
                      <a:lnTo>
                        <a:pt x="119" y="224"/>
                      </a:lnTo>
                      <a:lnTo>
                        <a:pt x="100" y="223"/>
                      </a:lnTo>
                      <a:lnTo>
                        <a:pt x="81" y="223"/>
                      </a:lnTo>
                      <a:lnTo>
                        <a:pt x="62" y="223"/>
                      </a:lnTo>
                      <a:lnTo>
                        <a:pt x="43" y="220"/>
                      </a:lnTo>
                      <a:lnTo>
                        <a:pt x="35" y="218"/>
                      </a:lnTo>
                      <a:lnTo>
                        <a:pt x="31" y="218"/>
                      </a:lnTo>
                      <a:lnTo>
                        <a:pt x="28" y="218"/>
                      </a:lnTo>
                      <a:lnTo>
                        <a:pt x="26" y="219"/>
                      </a:lnTo>
                      <a:lnTo>
                        <a:pt x="25" y="222"/>
                      </a:lnTo>
                      <a:lnTo>
                        <a:pt x="24" y="224"/>
                      </a:lnTo>
                      <a:lnTo>
                        <a:pt x="23" y="225"/>
                      </a:lnTo>
                      <a:lnTo>
                        <a:pt x="21" y="225"/>
                      </a:lnTo>
                      <a:lnTo>
                        <a:pt x="19" y="224"/>
                      </a:lnTo>
                      <a:lnTo>
                        <a:pt x="17" y="222"/>
                      </a:lnTo>
                      <a:lnTo>
                        <a:pt x="15" y="219"/>
                      </a:lnTo>
                      <a:lnTo>
                        <a:pt x="12" y="218"/>
                      </a:lnTo>
                      <a:lnTo>
                        <a:pt x="10" y="219"/>
                      </a:lnTo>
                      <a:lnTo>
                        <a:pt x="5" y="222"/>
                      </a:lnTo>
                      <a:lnTo>
                        <a:pt x="1" y="218"/>
                      </a:lnTo>
                      <a:lnTo>
                        <a:pt x="0" y="216"/>
                      </a:lnTo>
                      <a:lnTo>
                        <a:pt x="1" y="213"/>
                      </a:lnTo>
                      <a:lnTo>
                        <a:pt x="2" y="206"/>
                      </a:lnTo>
                      <a:lnTo>
                        <a:pt x="4" y="199"/>
                      </a:lnTo>
                      <a:lnTo>
                        <a:pt x="5" y="197"/>
                      </a:lnTo>
                      <a:lnTo>
                        <a:pt x="6" y="194"/>
                      </a:lnTo>
                      <a:lnTo>
                        <a:pt x="9" y="192"/>
                      </a:lnTo>
                      <a:lnTo>
                        <a:pt x="9" y="191"/>
                      </a:lnTo>
                      <a:lnTo>
                        <a:pt x="10" y="177"/>
                      </a:lnTo>
                      <a:lnTo>
                        <a:pt x="11" y="169"/>
                      </a:lnTo>
                      <a:lnTo>
                        <a:pt x="15" y="162"/>
                      </a:lnTo>
                      <a:lnTo>
                        <a:pt x="16" y="160"/>
                      </a:lnTo>
                      <a:lnTo>
                        <a:pt x="16" y="156"/>
                      </a:lnTo>
                      <a:lnTo>
                        <a:pt x="16" y="154"/>
                      </a:lnTo>
                      <a:lnTo>
                        <a:pt x="17" y="151"/>
                      </a:lnTo>
                      <a:lnTo>
                        <a:pt x="20" y="148"/>
                      </a:lnTo>
                      <a:lnTo>
                        <a:pt x="21" y="145"/>
                      </a:lnTo>
                      <a:lnTo>
                        <a:pt x="23" y="139"/>
                      </a:lnTo>
                      <a:lnTo>
                        <a:pt x="26" y="134"/>
                      </a:lnTo>
                      <a:lnTo>
                        <a:pt x="30" y="129"/>
                      </a:lnTo>
                      <a:lnTo>
                        <a:pt x="35" y="126"/>
                      </a:lnTo>
                      <a:lnTo>
                        <a:pt x="37" y="122"/>
                      </a:lnTo>
                      <a:lnTo>
                        <a:pt x="38" y="119"/>
                      </a:lnTo>
                      <a:lnTo>
                        <a:pt x="39" y="108"/>
                      </a:lnTo>
                      <a:lnTo>
                        <a:pt x="39" y="109"/>
                      </a:lnTo>
                      <a:lnTo>
                        <a:pt x="37" y="107"/>
                      </a:lnTo>
                      <a:lnTo>
                        <a:pt x="37" y="104"/>
                      </a:lnTo>
                      <a:lnTo>
                        <a:pt x="34" y="100"/>
                      </a:lnTo>
                      <a:lnTo>
                        <a:pt x="30" y="91"/>
                      </a:lnTo>
                      <a:lnTo>
                        <a:pt x="29" y="86"/>
                      </a:lnTo>
                      <a:lnTo>
                        <a:pt x="29" y="82"/>
                      </a:lnTo>
                      <a:lnTo>
                        <a:pt x="28" y="79"/>
                      </a:lnTo>
                      <a:lnTo>
                        <a:pt x="25" y="77"/>
                      </a:lnTo>
                      <a:lnTo>
                        <a:pt x="25" y="75"/>
                      </a:lnTo>
                      <a:lnTo>
                        <a:pt x="28" y="66"/>
                      </a:lnTo>
                      <a:lnTo>
                        <a:pt x="29" y="62"/>
                      </a:lnTo>
                      <a:lnTo>
                        <a:pt x="30" y="56"/>
                      </a:lnTo>
                      <a:lnTo>
                        <a:pt x="29" y="50"/>
                      </a:lnTo>
                      <a:lnTo>
                        <a:pt x="28" y="44"/>
                      </a:lnTo>
                      <a:lnTo>
                        <a:pt x="24" y="39"/>
                      </a:lnTo>
                      <a:lnTo>
                        <a:pt x="19" y="33"/>
                      </a:lnTo>
                      <a:lnTo>
                        <a:pt x="17" y="32"/>
                      </a:lnTo>
                      <a:lnTo>
                        <a:pt x="17" y="31"/>
                      </a:lnTo>
                      <a:lnTo>
                        <a:pt x="16" y="26"/>
                      </a:lnTo>
                      <a:lnTo>
                        <a:pt x="15" y="24"/>
                      </a:lnTo>
                      <a:lnTo>
                        <a:pt x="12" y="22"/>
                      </a:lnTo>
                      <a:lnTo>
                        <a:pt x="10" y="21"/>
                      </a:lnTo>
                      <a:lnTo>
                        <a:pt x="9" y="19"/>
                      </a:lnTo>
                      <a:lnTo>
                        <a:pt x="7" y="15"/>
                      </a:lnTo>
                      <a:lnTo>
                        <a:pt x="9" y="13"/>
                      </a:lnTo>
                      <a:lnTo>
                        <a:pt x="10" y="13"/>
                      </a:lnTo>
                      <a:lnTo>
                        <a:pt x="15" y="12"/>
                      </a:lnTo>
                      <a:lnTo>
                        <a:pt x="20"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7" name="Freeform 727"/>
                <p:cNvSpPr>
                  <a:spLocks/>
                </p:cNvSpPr>
                <p:nvPr/>
              </p:nvSpPr>
              <p:spPr bwMode="auto">
                <a:xfrm>
                  <a:off x="5007409" y="5265069"/>
                  <a:ext cx="398085" cy="399565"/>
                </a:xfrm>
                <a:custGeom>
                  <a:avLst/>
                  <a:gdLst>
                    <a:gd name="T0" fmla="*/ 2147483647 w 291"/>
                    <a:gd name="T1" fmla="*/ 2147483647 h 270"/>
                    <a:gd name="T2" fmla="*/ 2147483647 w 291"/>
                    <a:gd name="T3" fmla="*/ 2147483647 h 270"/>
                    <a:gd name="T4" fmla="*/ 2147483647 w 291"/>
                    <a:gd name="T5" fmla="*/ 2147483647 h 270"/>
                    <a:gd name="T6" fmla="*/ 2147483647 w 291"/>
                    <a:gd name="T7" fmla="*/ 2147483647 h 270"/>
                    <a:gd name="T8" fmla="*/ 2147483647 w 291"/>
                    <a:gd name="T9" fmla="*/ 2147483647 h 270"/>
                    <a:gd name="T10" fmla="*/ 2147483647 w 291"/>
                    <a:gd name="T11" fmla="*/ 2147483647 h 270"/>
                    <a:gd name="T12" fmla="*/ 2147483647 w 291"/>
                    <a:gd name="T13" fmla="*/ 2147483647 h 270"/>
                    <a:gd name="T14" fmla="*/ 2147483647 w 291"/>
                    <a:gd name="T15" fmla="*/ 2147483647 h 270"/>
                    <a:gd name="T16" fmla="*/ 2147483647 w 291"/>
                    <a:gd name="T17" fmla="*/ 2147483647 h 270"/>
                    <a:gd name="T18" fmla="*/ 2147483647 w 291"/>
                    <a:gd name="T19" fmla="*/ 2147483647 h 270"/>
                    <a:gd name="T20" fmla="*/ 2147483647 w 291"/>
                    <a:gd name="T21" fmla="*/ 2147483647 h 270"/>
                    <a:gd name="T22" fmla="*/ 2147483647 w 291"/>
                    <a:gd name="T23" fmla="*/ 2147483647 h 270"/>
                    <a:gd name="T24" fmla="*/ 2147483647 w 291"/>
                    <a:gd name="T25" fmla="*/ 2147483647 h 270"/>
                    <a:gd name="T26" fmla="*/ 2147483647 w 291"/>
                    <a:gd name="T27" fmla="*/ 2147483647 h 270"/>
                    <a:gd name="T28" fmla="*/ 2147483647 w 291"/>
                    <a:gd name="T29" fmla="*/ 2147483647 h 270"/>
                    <a:gd name="T30" fmla="*/ 2147483647 w 291"/>
                    <a:gd name="T31" fmla="*/ 2147483647 h 270"/>
                    <a:gd name="T32" fmla="*/ 2147483647 w 291"/>
                    <a:gd name="T33" fmla="*/ 2147483647 h 270"/>
                    <a:gd name="T34" fmla="*/ 2147483647 w 291"/>
                    <a:gd name="T35" fmla="*/ 2147483647 h 270"/>
                    <a:gd name="T36" fmla="*/ 2147483647 w 291"/>
                    <a:gd name="T37" fmla="*/ 2147483647 h 270"/>
                    <a:gd name="T38" fmla="*/ 2147483647 w 291"/>
                    <a:gd name="T39" fmla="*/ 2147483647 h 270"/>
                    <a:gd name="T40" fmla="*/ 2147483647 w 291"/>
                    <a:gd name="T41" fmla="*/ 2147483647 h 270"/>
                    <a:gd name="T42" fmla="*/ 2147483647 w 291"/>
                    <a:gd name="T43" fmla="*/ 2147483647 h 270"/>
                    <a:gd name="T44" fmla="*/ 2147483647 w 291"/>
                    <a:gd name="T45" fmla="*/ 2147483647 h 270"/>
                    <a:gd name="T46" fmla="*/ 2147483647 w 291"/>
                    <a:gd name="T47" fmla="*/ 2147483647 h 270"/>
                    <a:gd name="T48" fmla="*/ 2147483647 w 291"/>
                    <a:gd name="T49" fmla="*/ 2147483647 h 270"/>
                    <a:gd name="T50" fmla="*/ 2147483647 w 291"/>
                    <a:gd name="T51" fmla="*/ 2147483647 h 270"/>
                    <a:gd name="T52" fmla="*/ 2147483647 w 291"/>
                    <a:gd name="T53" fmla="*/ 2147483647 h 270"/>
                    <a:gd name="T54" fmla="*/ 2147483647 w 291"/>
                    <a:gd name="T55" fmla="*/ 2147483647 h 270"/>
                    <a:gd name="T56" fmla="*/ 2147483647 w 291"/>
                    <a:gd name="T57" fmla="*/ 2147483647 h 270"/>
                    <a:gd name="T58" fmla="*/ 2147483647 w 291"/>
                    <a:gd name="T59" fmla="*/ 2147483647 h 270"/>
                    <a:gd name="T60" fmla="*/ 2147483647 w 291"/>
                    <a:gd name="T61" fmla="*/ 2147483647 h 270"/>
                    <a:gd name="T62" fmla="*/ 2147483647 w 291"/>
                    <a:gd name="T63" fmla="*/ 2147483647 h 270"/>
                    <a:gd name="T64" fmla="*/ 2147483647 w 291"/>
                    <a:gd name="T65" fmla="*/ 2147483647 h 270"/>
                    <a:gd name="T66" fmla="*/ 2147483647 w 291"/>
                    <a:gd name="T67" fmla="*/ 2147483647 h 270"/>
                    <a:gd name="T68" fmla="*/ 2147483647 w 291"/>
                    <a:gd name="T69" fmla="*/ 2147483647 h 270"/>
                    <a:gd name="T70" fmla="*/ 2147483647 w 291"/>
                    <a:gd name="T71" fmla="*/ 2147483647 h 270"/>
                    <a:gd name="T72" fmla="*/ 2147483647 w 291"/>
                    <a:gd name="T73" fmla="*/ 2147483647 h 270"/>
                    <a:gd name="T74" fmla="*/ 2147483647 w 291"/>
                    <a:gd name="T75" fmla="*/ 2147483647 h 270"/>
                    <a:gd name="T76" fmla="*/ 2147483647 w 291"/>
                    <a:gd name="T77" fmla="*/ 2147483647 h 270"/>
                    <a:gd name="T78" fmla="*/ 2147483647 w 291"/>
                    <a:gd name="T79" fmla="*/ 2147483647 h 270"/>
                    <a:gd name="T80" fmla="*/ 2147483647 w 291"/>
                    <a:gd name="T81" fmla="*/ 2147483647 h 270"/>
                    <a:gd name="T82" fmla="*/ 2147483647 w 291"/>
                    <a:gd name="T83" fmla="*/ 2147483647 h 270"/>
                    <a:gd name="T84" fmla="*/ 2147483647 w 291"/>
                    <a:gd name="T85" fmla="*/ 2147483647 h 270"/>
                    <a:gd name="T86" fmla="*/ 2147483647 w 291"/>
                    <a:gd name="T87" fmla="*/ 2147483647 h 270"/>
                    <a:gd name="T88" fmla="*/ 2147483647 w 291"/>
                    <a:gd name="T89" fmla="*/ 2147483647 h 270"/>
                    <a:gd name="T90" fmla="*/ 2147483647 w 291"/>
                    <a:gd name="T91" fmla="*/ 2147483647 h 270"/>
                    <a:gd name="T92" fmla="*/ 2147483647 w 291"/>
                    <a:gd name="T93" fmla="*/ 2147483647 h 270"/>
                    <a:gd name="T94" fmla="*/ 2147483647 w 291"/>
                    <a:gd name="T95" fmla="*/ 2147483647 h 270"/>
                    <a:gd name="T96" fmla="*/ 2147483647 w 291"/>
                    <a:gd name="T97" fmla="*/ 2147483647 h 270"/>
                    <a:gd name="T98" fmla="*/ 2147483647 w 291"/>
                    <a:gd name="T99" fmla="*/ 2147483647 h 270"/>
                    <a:gd name="T100" fmla="*/ 2147483647 w 291"/>
                    <a:gd name="T101" fmla="*/ 2147483647 h 270"/>
                    <a:gd name="T102" fmla="*/ 2147483647 w 291"/>
                    <a:gd name="T103" fmla="*/ 2147483647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1"/>
                    <a:gd name="T157" fmla="*/ 0 h 270"/>
                    <a:gd name="T158" fmla="*/ 291 w 291"/>
                    <a:gd name="T159" fmla="*/ 270 h 2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1" h="270">
                      <a:moveTo>
                        <a:pt x="0" y="135"/>
                      </a:moveTo>
                      <a:lnTo>
                        <a:pt x="1" y="134"/>
                      </a:lnTo>
                      <a:lnTo>
                        <a:pt x="2" y="133"/>
                      </a:lnTo>
                      <a:lnTo>
                        <a:pt x="4" y="132"/>
                      </a:lnTo>
                      <a:lnTo>
                        <a:pt x="5" y="132"/>
                      </a:lnTo>
                      <a:lnTo>
                        <a:pt x="9" y="132"/>
                      </a:lnTo>
                      <a:lnTo>
                        <a:pt x="10" y="130"/>
                      </a:lnTo>
                      <a:lnTo>
                        <a:pt x="11" y="128"/>
                      </a:lnTo>
                      <a:lnTo>
                        <a:pt x="11" y="125"/>
                      </a:lnTo>
                      <a:lnTo>
                        <a:pt x="11" y="123"/>
                      </a:lnTo>
                      <a:lnTo>
                        <a:pt x="12" y="123"/>
                      </a:lnTo>
                      <a:lnTo>
                        <a:pt x="15" y="123"/>
                      </a:lnTo>
                      <a:lnTo>
                        <a:pt x="16" y="126"/>
                      </a:lnTo>
                      <a:lnTo>
                        <a:pt x="16" y="129"/>
                      </a:lnTo>
                      <a:lnTo>
                        <a:pt x="16" y="132"/>
                      </a:lnTo>
                      <a:lnTo>
                        <a:pt x="18" y="135"/>
                      </a:lnTo>
                      <a:lnTo>
                        <a:pt x="20" y="138"/>
                      </a:lnTo>
                      <a:lnTo>
                        <a:pt x="23" y="140"/>
                      </a:lnTo>
                      <a:lnTo>
                        <a:pt x="25" y="141"/>
                      </a:lnTo>
                      <a:lnTo>
                        <a:pt x="29" y="141"/>
                      </a:lnTo>
                      <a:lnTo>
                        <a:pt x="34" y="141"/>
                      </a:lnTo>
                      <a:lnTo>
                        <a:pt x="42" y="139"/>
                      </a:lnTo>
                      <a:lnTo>
                        <a:pt x="47" y="135"/>
                      </a:lnTo>
                      <a:lnTo>
                        <a:pt x="49" y="135"/>
                      </a:lnTo>
                      <a:lnTo>
                        <a:pt x="53" y="133"/>
                      </a:lnTo>
                      <a:lnTo>
                        <a:pt x="57" y="129"/>
                      </a:lnTo>
                      <a:lnTo>
                        <a:pt x="58" y="127"/>
                      </a:lnTo>
                      <a:lnTo>
                        <a:pt x="59" y="123"/>
                      </a:lnTo>
                      <a:lnTo>
                        <a:pt x="59" y="62"/>
                      </a:lnTo>
                      <a:lnTo>
                        <a:pt x="65" y="64"/>
                      </a:lnTo>
                      <a:lnTo>
                        <a:pt x="68" y="68"/>
                      </a:lnTo>
                      <a:lnTo>
                        <a:pt x="71" y="71"/>
                      </a:lnTo>
                      <a:lnTo>
                        <a:pt x="73" y="75"/>
                      </a:lnTo>
                      <a:lnTo>
                        <a:pt x="77" y="84"/>
                      </a:lnTo>
                      <a:lnTo>
                        <a:pt x="79" y="95"/>
                      </a:lnTo>
                      <a:lnTo>
                        <a:pt x="80" y="96"/>
                      </a:lnTo>
                      <a:lnTo>
                        <a:pt x="82" y="96"/>
                      </a:lnTo>
                      <a:lnTo>
                        <a:pt x="87" y="95"/>
                      </a:lnTo>
                      <a:lnTo>
                        <a:pt x="94" y="93"/>
                      </a:lnTo>
                      <a:lnTo>
                        <a:pt x="99" y="91"/>
                      </a:lnTo>
                      <a:lnTo>
                        <a:pt x="101" y="90"/>
                      </a:lnTo>
                      <a:lnTo>
                        <a:pt x="103" y="88"/>
                      </a:lnTo>
                      <a:lnTo>
                        <a:pt x="104" y="85"/>
                      </a:lnTo>
                      <a:lnTo>
                        <a:pt x="106" y="84"/>
                      </a:lnTo>
                      <a:lnTo>
                        <a:pt x="109" y="83"/>
                      </a:lnTo>
                      <a:lnTo>
                        <a:pt x="112" y="78"/>
                      </a:lnTo>
                      <a:lnTo>
                        <a:pt x="114" y="72"/>
                      </a:lnTo>
                      <a:lnTo>
                        <a:pt x="117" y="68"/>
                      </a:lnTo>
                      <a:lnTo>
                        <a:pt x="119" y="66"/>
                      </a:lnTo>
                      <a:lnTo>
                        <a:pt x="122" y="66"/>
                      </a:lnTo>
                      <a:lnTo>
                        <a:pt x="127" y="69"/>
                      </a:lnTo>
                      <a:lnTo>
                        <a:pt x="131" y="71"/>
                      </a:lnTo>
                      <a:lnTo>
                        <a:pt x="134" y="74"/>
                      </a:lnTo>
                      <a:lnTo>
                        <a:pt x="138" y="75"/>
                      </a:lnTo>
                      <a:lnTo>
                        <a:pt x="139" y="74"/>
                      </a:lnTo>
                      <a:lnTo>
                        <a:pt x="145" y="72"/>
                      </a:lnTo>
                      <a:lnTo>
                        <a:pt x="150" y="71"/>
                      </a:lnTo>
                      <a:lnTo>
                        <a:pt x="155" y="69"/>
                      </a:lnTo>
                      <a:lnTo>
                        <a:pt x="159" y="65"/>
                      </a:lnTo>
                      <a:lnTo>
                        <a:pt x="161" y="62"/>
                      </a:lnTo>
                      <a:lnTo>
                        <a:pt x="164" y="57"/>
                      </a:lnTo>
                      <a:lnTo>
                        <a:pt x="165" y="52"/>
                      </a:lnTo>
                      <a:lnTo>
                        <a:pt x="166" y="47"/>
                      </a:lnTo>
                      <a:lnTo>
                        <a:pt x="167" y="46"/>
                      </a:lnTo>
                      <a:lnTo>
                        <a:pt x="170" y="45"/>
                      </a:lnTo>
                      <a:lnTo>
                        <a:pt x="172" y="44"/>
                      </a:lnTo>
                      <a:lnTo>
                        <a:pt x="174" y="43"/>
                      </a:lnTo>
                      <a:lnTo>
                        <a:pt x="176" y="38"/>
                      </a:lnTo>
                      <a:lnTo>
                        <a:pt x="178" y="32"/>
                      </a:lnTo>
                      <a:lnTo>
                        <a:pt x="179" y="29"/>
                      </a:lnTo>
                      <a:lnTo>
                        <a:pt x="181" y="27"/>
                      </a:lnTo>
                      <a:lnTo>
                        <a:pt x="183" y="26"/>
                      </a:lnTo>
                      <a:lnTo>
                        <a:pt x="190" y="24"/>
                      </a:lnTo>
                      <a:lnTo>
                        <a:pt x="197" y="20"/>
                      </a:lnTo>
                      <a:lnTo>
                        <a:pt x="202" y="17"/>
                      </a:lnTo>
                      <a:lnTo>
                        <a:pt x="208" y="14"/>
                      </a:lnTo>
                      <a:lnTo>
                        <a:pt x="214" y="13"/>
                      </a:lnTo>
                      <a:lnTo>
                        <a:pt x="219" y="11"/>
                      </a:lnTo>
                      <a:lnTo>
                        <a:pt x="221" y="8"/>
                      </a:lnTo>
                      <a:lnTo>
                        <a:pt x="222" y="7"/>
                      </a:lnTo>
                      <a:lnTo>
                        <a:pt x="223" y="4"/>
                      </a:lnTo>
                      <a:lnTo>
                        <a:pt x="226" y="2"/>
                      </a:lnTo>
                      <a:lnTo>
                        <a:pt x="230" y="2"/>
                      </a:lnTo>
                      <a:lnTo>
                        <a:pt x="235" y="1"/>
                      </a:lnTo>
                      <a:lnTo>
                        <a:pt x="240" y="0"/>
                      </a:lnTo>
                      <a:lnTo>
                        <a:pt x="246" y="1"/>
                      </a:lnTo>
                      <a:lnTo>
                        <a:pt x="251" y="4"/>
                      </a:lnTo>
                      <a:lnTo>
                        <a:pt x="256" y="7"/>
                      </a:lnTo>
                      <a:lnTo>
                        <a:pt x="255" y="13"/>
                      </a:lnTo>
                      <a:lnTo>
                        <a:pt x="255" y="18"/>
                      </a:lnTo>
                      <a:lnTo>
                        <a:pt x="259" y="23"/>
                      </a:lnTo>
                      <a:lnTo>
                        <a:pt x="261" y="34"/>
                      </a:lnTo>
                      <a:lnTo>
                        <a:pt x="265" y="46"/>
                      </a:lnTo>
                      <a:lnTo>
                        <a:pt x="269" y="57"/>
                      </a:lnTo>
                      <a:lnTo>
                        <a:pt x="272" y="63"/>
                      </a:lnTo>
                      <a:lnTo>
                        <a:pt x="274" y="68"/>
                      </a:lnTo>
                      <a:lnTo>
                        <a:pt x="275" y="71"/>
                      </a:lnTo>
                      <a:lnTo>
                        <a:pt x="274" y="74"/>
                      </a:lnTo>
                      <a:lnTo>
                        <a:pt x="272" y="76"/>
                      </a:lnTo>
                      <a:lnTo>
                        <a:pt x="270" y="75"/>
                      </a:lnTo>
                      <a:lnTo>
                        <a:pt x="266" y="71"/>
                      </a:lnTo>
                      <a:lnTo>
                        <a:pt x="263" y="70"/>
                      </a:lnTo>
                      <a:lnTo>
                        <a:pt x="259" y="71"/>
                      </a:lnTo>
                      <a:lnTo>
                        <a:pt x="256" y="76"/>
                      </a:lnTo>
                      <a:lnTo>
                        <a:pt x="252" y="83"/>
                      </a:lnTo>
                      <a:lnTo>
                        <a:pt x="252" y="89"/>
                      </a:lnTo>
                      <a:lnTo>
                        <a:pt x="252" y="93"/>
                      </a:lnTo>
                      <a:lnTo>
                        <a:pt x="255" y="95"/>
                      </a:lnTo>
                      <a:lnTo>
                        <a:pt x="256" y="97"/>
                      </a:lnTo>
                      <a:lnTo>
                        <a:pt x="259" y="98"/>
                      </a:lnTo>
                      <a:lnTo>
                        <a:pt x="261" y="98"/>
                      </a:lnTo>
                      <a:lnTo>
                        <a:pt x="264" y="98"/>
                      </a:lnTo>
                      <a:lnTo>
                        <a:pt x="268" y="95"/>
                      </a:lnTo>
                      <a:lnTo>
                        <a:pt x="273" y="91"/>
                      </a:lnTo>
                      <a:lnTo>
                        <a:pt x="274" y="90"/>
                      </a:lnTo>
                      <a:lnTo>
                        <a:pt x="277" y="90"/>
                      </a:lnTo>
                      <a:lnTo>
                        <a:pt x="278" y="91"/>
                      </a:lnTo>
                      <a:lnTo>
                        <a:pt x="279" y="91"/>
                      </a:lnTo>
                      <a:lnTo>
                        <a:pt x="284" y="90"/>
                      </a:lnTo>
                      <a:lnTo>
                        <a:pt x="288" y="91"/>
                      </a:lnTo>
                      <a:lnTo>
                        <a:pt x="291" y="93"/>
                      </a:lnTo>
                      <a:lnTo>
                        <a:pt x="291" y="94"/>
                      </a:lnTo>
                      <a:lnTo>
                        <a:pt x="291" y="101"/>
                      </a:lnTo>
                      <a:lnTo>
                        <a:pt x="288" y="107"/>
                      </a:lnTo>
                      <a:lnTo>
                        <a:pt x="286" y="110"/>
                      </a:lnTo>
                      <a:lnTo>
                        <a:pt x="282" y="121"/>
                      </a:lnTo>
                      <a:lnTo>
                        <a:pt x="279" y="130"/>
                      </a:lnTo>
                      <a:lnTo>
                        <a:pt x="274" y="140"/>
                      </a:lnTo>
                      <a:lnTo>
                        <a:pt x="270" y="144"/>
                      </a:lnTo>
                      <a:lnTo>
                        <a:pt x="265" y="147"/>
                      </a:lnTo>
                      <a:lnTo>
                        <a:pt x="261" y="152"/>
                      </a:lnTo>
                      <a:lnTo>
                        <a:pt x="259" y="157"/>
                      </a:lnTo>
                      <a:lnTo>
                        <a:pt x="255" y="167"/>
                      </a:lnTo>
                      <a:lnTo>
                        <a:pt x="249" y="176"/>
                      </a:lnTo>
                      <a:lnTo>
                        <a:pt x="235" y="192"/>
                      </a:lnTo>
                      <a:lnTo>
                        <a:pt x="228" y="199"/>
                      </a:lnTo>
                      <a:lnTo>
                        <a:pt x="222" y="206"/>
                      </a:lnTo>
                      <a:lnTo>
                        <a:pt x="213" y="218"/>
                      </a:lnTo>
                      <a:lnTo>
                        <a:pt x="203" y="229"/>
                      </a:lnTo>
                      <a:lnTo>
                        <a:pt x="199" y="232"/>
                      </a:lnTo>
                      <a:lnTo>
                        <a:pt x="194" y="236"/>
                      </a:lnTo>
                      <a:lnTo>
                        <a:pt x="189" y="238"/>
                      </a:lnTo>
                      <a:lnTo>
                        <a:pt x="184" y="240"/>
                      </a:lnTo>
                      <a:lnTo>
                        <a:pt x="181" y="242"/>
                      </a:lnTo>
                      <a:lnTo>
                        <a:pt x="179" y="244"/>
                      </a:lnTo>
                      <a:lnTo>
                        <a:pt x="176" y="247"/>
                      </a:lnTo>
                      <a:lnTo>
                        <a:pt x="175" y="248"/>
                      </a:lnTo>
                      <a:lnTo>
                        <a:pt x="165" y="247"/>
                      </a:lnTo>
                      <a:lnTo>
                        <a:pt x="160" y="248"/>
                      </a:lnTo>
                      <a:lnTo>
                        <a:pt x="156" y="251"/>
                      </a:lnTo>
                      <a:lnTo>
                        <a:pt x="153" y="253"/>
                      </a:lnTo>
                      <a:lnTo>
                        <a:pt x="152" y="253"/>
                      </a:lnTo>
                      <a:lnTo>
                        <a:pt x="147" y="253"/>
                      </a:lnTo>
                      <a:lnTo>
                        <a:pt x="142" y="253"/>
                      </a:lnTo>
                      <a:lnTo>
                        <a:pt x="136" y="251"/>
                      </a:lnTo>
                      <a:lnTo>
                        <a:pt x="137" y="251"/>
                      </a:lnTo>
                      <a:lnTo>
                        <a:pt x="133" y="250"/>
                      </a:lnTo>
                      <a:lnTo>
                        <a:pt x="131" y="250"/>
                      </a:lnTo>
                      <a:lnTo>
                        <a:pt x="126" y="251"/>
                      </a:lnTo>
                      <a:lnTo>
                        <a:pt x="117" y="257"/>
                      </a:lnTo>
                      <a:lnTo>
                        <a:pt x="113" y="257"/>
                      </a:lnTo>
                      <a:lnTo>
                        <a:pt x="110" y="257"/>
                      </a:lnTo>
                      <a:lnTo>
                        <a:pt x="108" y="256"/>
                      </a:lnTo>
                      <a:lnTo>
                        <a:pt x="105" y="255"/>
                      </a:lnTo>
                      <a:lnTo>
                        <a:pt x="103" y="255"/>
                      </a:lnTo>
                      <a:lnTo>
                        <a:pt x="99" y="257"/>
                      </a:lnTo>
                      <a:lnTo>
                        <a:pt x="96" y="260"/>
                      </a:lnTo>
                      <a:lnTo>
                        <a:pt x="94" y="262"/>
                      </a:lnTo>
                      <a:lnTo>
                        <a:pt x="91" y="262"/>
                      </a:lnTo>
                      <a:lnTo>
                        <a:pt x="81" y="261"/>
                      </a:lnTo>
                      <a:lnTo>
                        <a:pt x="77" y="260"/>
                      </a:lnTo>
                      <a:lnTo>
                        <a:pt x="72" y="261"/>
                      </a:lnTo>
                      <a:lnTo>
                        <a:pt x="70" y="263"/>
                      </a:lnTo>
                      <a:lnTo>
                        <a:pt x="68" y="266"/>
                      </a:lnTo>
                      <a:lnTo>
                        <a:pt x="66" y="269"/>
                      </a:lnTo>
                      <a:lnTo>
                        <a:pt x="63" y="270"/>
                      </a:lnTo>
                      <a:lnTo>
                        <a:pt x="61" y="270"/>
                      </a:lnTo>
                      <a:lnTo>
                        <a:pt x="58" y="269"/>
                      </a:lnTo>
                      <a:lnTo>
                        <a:pt x="53" y="267"/>
                      </a:lnTo>
                      <a:lnTo>
                        <a:pt x="49" y="262"/>
                      </a:lnTo>
                      <a:lnTo>
                        <a:pt x="46" y="257"/>
                      </a:lnTo>
                      <a:lnTo>
                        <a:pt x="42" y="255"/>
                      </a:lnTo>
                      <a:lnTo>
                        <a:pt x="39" y="255"/>
                      </a:lnTo>
                      <a:lnTo>
                        <a:pt x="37" y="256"/>
                      </a:lnTo>
                      <a:lnTo>
                        <a:pt x="34" y="257"/>
                      </a:lnTo>
                      <a:lnTo>
                        <a:pt x="33" y="257"/>
                      </a:lnTo>
                      <a:lnTo>
                        <a:pt x="33" y="256"/>
                      </a:lnTo>
                      <a:lnTo>
                        <a:pt x="32" y="245"/>
                      </a:lnTo>
                      <a:lnTo>
                        <a:pt x="30" y="241"/>
                      </a:lnTo>
                      <a:lnTo>
                        <a:pt x="26" y="236"/>
                      </a:lnTo>
                      <a:lnTo>
                        <a:pt x="26" y="234"/>
                      </a:lnTo>
                      <a:lnTo>
                        <a:pt x="25" y="230"/>
                      </a:lnTo>
                      <a:lnTo>
                        <a:pt x="24" y="224"/>
                      </a:lnTo>
                      <a:lnTo>
                        <a:pt x="24" y="222"/>
                      </a:lnTo>
                      <a:lnTo>
                        <a:pt x="25" y="219"/>
                      </a:lnTo>
                      <a:lnTo>
                        <a:pt x="29" y="218"/>
                      </a:lnTo>
                      <a:lnTo>
                        <a:pt x="33" y="218"/>
                      </a:lnTo>
                      <a:lnTo>
                        <a:pt x="34" y="215"/>
                      </a:lnTo>
                      <a:lnTo>
                        <a:pt x="34" y="210"/>
                      </a:lnTo>
                      <a:lnTo>
                        <a:pt x="32" y="202"/>
                      </a:lnTo>
                      <a:lnTo>
                        <a:pt x="26" y="194"/>
                      </a:lnTo>
                      <a:lnTo>
                        <a:pt x="23" y="191"/>
                      </a:lnTo>
                      <a:lnTo>
                        <a:pt x="19" y="189"/>
                      </a:lnTo>
                      <a:lnTo>
                        <a:pt x="16" y="187"/>
                      </a:lnTo>
                      <a:lnTo>
                        <a:pt x="15" y="185"/>
                      </a:lnTo>
                      <a:lnTo>
                        <a:pt x="15" y="179"/>
                      </a:lnTo>
                      <a:lnTo>
                        <a:pt x="14" y="167"/>
                      </a:lnTo>
                      <a:lnTo>
                        <a:pt x="11" y="157"/>
                      </a:lnTo>
                      <a:lnTo>
                        <a:pt x="6" y="145"/>
                      </a:lnTo>
                      <a:lnTo>
                        <a:pt x="0" y="1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8" name="Freeform 728"/>
                <p:cNvSpPr>
                  <a:spLocks/>
                </p:cNvSpPr>
                <p:nvPr/>
              </p:nvSpPr>
              <p:spPr bwMode="auto">
                <a:xfrm>
                  <a:off x="5352220" y="5368657"/>
                  <a:ext cx="34038" cy="41436"/>
                </a:xfrm>
                <a:custGeom>
                  <a:avLst/>
                  <a:gdLst>
                    <a:gd name="T0" fmla="*/ 2147483647 w 25"/>
                    <a:gd name="T1" fmla="*/ 2147483647 h 28"/>
                    <a:gd name="T2" fmla="*/ 2147483647 w 25"/>
                    <a:gd name="T3" fmla="*/ 2147483647 h 28"/>
                    <a:gd name="T4" fmla="*/ 2147483647 w 25"/>
                    <a:gd name="T5" fmla="*/ 2147483647 h 28"/>
                    <a:gd name="T6" fmla="*/ 2147483647 w 25"/>
                    <a:gd name="T7" fmla="*/ 0 h 28"/>
                    <a:gd name="T8" fmla="*/ 2147483647 w 25"/>
                    <a:gd name="T9" fmla="*/ 2147483647 h 28"/>
                    <a:gd name="T10" fmla="*/ 2147483647 w 25"/>
                    <a:gd name="T11" fmla="*/ 2147483647 h 28"/>
                    <a:gd name="T12" fmla="*/ 0 w 25"/>
                    <a:gd name="T13" fmla="*/ 2147483647 h 28"/>
                    <a:gd name="T14" fmla="*/ 0 w 25"/>
                    <a:gd name="T15" fmla="*/ 2147483647 h 28"/>
                    <a:gd name="T16" fmla="*/ 0 w 25"/>
                    <a:gd name="T17" fmla="*/ 2147483647 h 28"/>
                    <a:gd name="T18" fmla="*/ 2147483647 w 25"/>
                    <a:gd name="T19" fmla="*/ 2147483647 h 28"/>
                    <a:gd name="T20" fmla="*/ 2147483647 w 25"/>
                    <a:gd name="T21" fmla="*/ 2147483647 h 28"/>
                    <a:gd name="T22" fmla="*/ 2147483647 w 25"/>
                    <a:gd name="T23" fmla="*/ 2147483647 h 28"/>
                    <a:gd name="T24" fmla="*/ 2147483647 w 25"/>
                    <a:gd name="T25" fmla="*/ 2147483647 h 28"/>
                    <a:gd name="T26" fmla="*/ 2147483647 w 25"/>
                    <a:gd name="T27" fmla="*/ 2147483647 h 28"/>
                    <a:gd name="T28" fmla="*/ 2147483647 w 25"/>
                    <a:gd name="T29" fmla="*/ 2147483647 h 28"/>
                    <a:gd name="T30" fmla="*/ 2147483647 w 25"/>
                    <a:gd name="T31" fmla="*/ 2147483647 h 28"/>
                    <a:gd name="T32" fmla="*/ 2147483647 w 25"/>
                    <a:gd name="T33" fmla="*/ 2147483647 h 28"/>
                    <a:gd name="T34" fmla="*/ 2147483647 w 25"/>
                    <a:gd name="T35" fmla="*/ 2147483647 h 28"/>
                    <a:gd name="T36" fmla="*/ 2147483647 w 25"/>
                    <a:gd name="T37" fmla="*/ 2147483647 h 28"/>
                    <a:gd name="T38" fmla="*/ 2147483647 w 25"/>
                    <a:gd name="T39" fmla="*/ 2147483647 h 28"/>
                    <a:gd name="T40" fmla="*/ 2147483647 w 25"/>
                    <a:gd name="T41" fmla="*/ 214748364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
                    <a:gd name="T64" fmla="*/ 0 h 28"/>
                    <a:gd name="T65" fmla="*/ 25 w 25"/>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 h="28">
                      <a:moveTo>
                        <a:pt x="20" y="6"/>
                      </a:moveTo>
                      <a:lnTo>
                        <a:pt x="18" y="5"/>
                      </a:lnTo>
                      <a:lnTo>
                        <a:pt x="14" y="1"/>
                      </a:lnTo>
                      <a:lnTo>
                        <a:pt x="11" y="0"/>
                      </a:lnTo>
                      <a:lnTo>
                        <a:pt x="7" y="1"/>
                      </a:lnTo>
                      <a:lnTo>
                        <a:pt x="4" y="6"/>
                      </a:lnTo>
                      <a:lnTo>
                        <a:pt x="0" y="13"/>
                      </a:lnTo>
                      <a:lnTo>
                        <a:pt x="0" y="19"/>
                      </a:lnTo>
                      <a:lnTo>
                        <a:pt x="0" y="23"/>
                      </a:lnTo>
                      <a:lnTo>
                        <a:pt x="3" y="25"/>
                      </a:lnTo>
                      <a:lnTo>
                        <a:pt x="4" y="27"/>
                      </a:lnTo>
                      <a:lnTo>
                        <a:pt x="7" y="28"/>
                      </a:lnTo>
                      <a:lnTo>
                        <a:pt x="9" y="28"/>
                      </a:lnTo>
                      <a:lnTo>
                        <a:pt x="12" y="28"/>
                      </a:lnTo>
                      <a:lnTo>
                        <a:pt x="16" y="25"/>
                      </a:lnTo>
                      <a:lnTo>
                        <a:pt x="21" y="21"/>
                      </a:lnTo>
                      <a:lnTo>
                        <a:pt x="22" y="20"/>
                      </a:lnTo>
                      <a:lnTo>
                        <a:pt x="25" y="20"/>
                      </a:lnTo>
                      <a:lnTo>
                        <a:pt x="23" y="13"/>
                      </a:lnTo>
                      <a:lnTo>
                        <a:pt x="22" y="9"/>
                      </a:lnTo>
                      <a:lnTo>
                        <a:pt x="2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69" name="Freeform 730"/>
                <p:cNvSpPr>
                  <a:spLocks/>
                </p:cNvSpPr>
                <p:nvPr/>
              </p:nvSpPr>
              <p:spPr bwMode="auto">
                <a:xfrm>
                  <a:off x="5350738" y="5367177"/>
                  <a:ext cx="32557" cy="41436"/>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0 h 28"/>
                    <a:gd name="T12" fmla="*/ 2147483647 w 24"/>
                    <a:gd name="T13" fmla="*/ 2147483647 h 28"/>
                    <a:gd name="T14" fmla="*/ 2147483647 w 24"/>
                    <a:gd name="T15" fmla="*/ 2147483647 h 28"/>
                    <a:gd name="T16" fmla="*/ 2147483647 w 24"/>
                    <a:gd name="T17" fmla="*/ 2147483647 h 28"/>
                    <a:gd name="T18" fmla="*/ 0 w 24"/>
                    <a:gd name="T19" fmla="*/ 2147483647 h 28"/>
                    <a:gd name="T20" fmla="*/ 0 w 24"/>
                    <a:gd name="T21" fmla="*/ 2147483647 h 28"/>
                    <a:gd name="T22" fmla="*/ 0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2147483647 w 24"/>
                    <a:gd name="T43" fmla="*/ 2147483647 h 28"/>
                    <a:gd name="T44" fmla="*/ 2147483647 w 24"/>
                    <a:gd name="T45" fmla="*/ 2147483647 h 28"/>
                    <a:gd name="T46" fmla="*/ 2147483647 w 24"/>
                    <a:gd name="T47" fmla="*/ 2147483647 h 28"/>
                    <a:gd name="T48" fmla="*/ 2147483647 w 24"/>
                    <a:gd name="T49" fmla="*/ 2147483647 h 28"/>
                    <a:gd name="T50" fmla="*/ 2147483647 w 24"/>
                    <a:gd name="T51" fmla="*/ 2147483647 h 28"/>
                    <a:gd name="T52" fmla="*/ 2147483647 w 24"/>
                    <a:gd name="T53" fmla="*/ 2147483647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28"/>
                    <a:gd name="T83" fmla="*/ 24 w 24"/>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28">
                      <a:moveTo>
                        <a:pt x="19" y="6"/>
                      </a:moveTo>
                      <a:lnTo>
                        <a:pt x="19" y="6"/>
                      </a:lnTo>
                      <a:lnTo>
                        <a:pt x="18" y="5"/>
                      </a:lnTo>
                      <a:lnTo>
                        <a:pt x="14" y="1"/>
                      </a:lnTo>
                      <a:lnTo>
                        <a:pt x="10" y="0"/>
                      </a:lnTo>
                      <a:lnTo>
                        <a:pt x="7" y="1"/>
                      </a:lnTo>
                      <a:lnTo>
                        <a:pt x="4" y="6"/>
                      </a:lnTo>
                      <a:lnTo>
                        <a:pt x="0" y="13"/>
                      </a:lnTo>
                      <a:lnTo>
                        <a:pt x="0" y="19"/>
                      </a:lnTo>
                      <a:lnTo>
                        <a:pt x="0" y="22"/>
                      </a:lnTo>
                      <a:lnTo>
                        <a:pt x="3" y="25"/>
                      </a:lnTo>
                      <a:lnTo>
                        <a:pt x="4" y="27"/>
                      </a:lnTo>
                      <a:lnTo>
                        <a:pt x="7" y="28"/>
                      </a:lnTo>
                      <a:lnTo>
                        <a:pt x="9" y="28"/>
                      </a:lnTo>
                      <a:lnTo>
                        <a:pt x="12" y="28"/>
                      </a:lnTo>
                      <a:lnTo>
                        <a:pt x="15" y="25"/>
                      </a:lnTo>
                      <a:lnTo>
                        <a:pt x="21" y="21"/>
                      </a:lnTo>
                      <a:lnTo>
                        <a:pt x="22" y="20"/>
                      </a:lnTo>
                      <a:lnTo>
                        <a:pt x="24" y="20"/>
                      </a:lnTo>
                      <a:lnTo>
                        <a:pt x="23" y="13"/>
                      </a:lnTo>
                      <a:lnTo>
                        <a:pt x="22" y="9"/>
                      </a:lnTo>
                      <a:lnTo>
                        <a:pt x="19"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0" name="Freeform 731"/>
                <p:cNvSpPr>
                  <a:spLocks/>
                </p:cNvSpPr>
                <p:nvPr/>
              </p:nvSpPr>
              <p:spPr bwMode="auto">
                <a:xfrm>
                  <a:off x="5331501" y="4918779"/>
                  <a:ext cx="254537" cy="479478"/>
                </a:xfrm>
                <a:custGeom>
                  <a:avLst/>
                  <a:gdLst>
                    <a:gd name="T0" fmla="*/ 2147483647 w 187"/>
                    <a:gd name="T1" fmla="*/ 2147483647 h 324"/>
                    <a:gd name="T2" fmla="*/ 2147483647 w 187"/>
                    <a:gd name="T3" fmla="*/ 2147483647 h 324"/>
                    <a:gd name="T4" fmla="*/ 2147483647 w 187"/>
                    <a:gd name="T5" fmla="*/ 2147483647 h 324"/>
                    <a:gd name="T6" fmla="*/ 2147483647 w 187"/>
                    <a:gd name="T7" fmla="*/ 2147483647 h 324"/>
                    <a:gd name="T8" fmla="*/ 2147483647 w 187"/>
                    <a:gd name="T9" fmla="*/ 2147483647 h 324"/>
                    <a:gd name="T10" fmla="*/ 2147483647 w 187"/>
                    <a:gd name="T11" fmla="*/ 2147483647 h 324"/>
                    <a:gd name="T12" fmla="*/ 2147483647 w 187"/>
                    <a:gd name="T13" fmla="*/ 2147483647 h 324"/>
                    <a:gd name="T14" fmla="*/ 2147483647 w 187"/>
                    <a:gd name="T15" fmla="*/ 2147483647 h 324"/>
                    <a:gd name="T16" fmla="*/ 2147483647 w 187"/>
                    <a:gd name="T17" fmla="*/ 2147483647 h 324"/>
                    <a:gd name="T18" fmla="*/ 2147483647 w 187"/>
                    <a:gd name="T19" fmla="*/ 2147483647 h 324"/>
                    <a:gd name="T20" fmla="*/ 0 w 187"/>
                    <a:gd name="T21" fmla="*/ 2147483647 h 324"/>
                    <a:gd name="T22" fmla="*/ 2147483647 w 187"/>
                    <a:gd name="T23" fmla="*/ 2147483647 h 324"/>
                    <a:gd name="T24" fmla="*/ 2147483647 w 187"/>
                    <a:gd name="T25" fmla="*/ 2147483647 h 324"/>
                    <a:gd name="T26" fmla="*/ 2147483647 w 187"/>
                    <a:gd name="T27" fmla="*/ 2147483647 h 324"/>
                    <a:gd name="T28" fmla="*/ 2147483647 w 187"/>
                    <a:gd name="T29" fmla="*/ 2147483647 h 324"/>
                    <a:gd name="T30" fmla="*/ 2147483647 w 187"/>
                    <a:gd name="T31" fmla="*/ 2147483647 h 324"/>
                    <a:gd name="T32" fmla="*/ 2147483647 w 187"/>
                    <a:gd name="T33" fmla="*/ 2147483647 h 324"/>
                    <a:gd name="T34" fmla="*/ 2147483647 w 187"/>
                    <a:gd name="T35" fmla="*/ 2147483647 h 324"/>
                    <a:gd name="T36" fmla="*/ 2147483647 w 187"/>
                    <a:gd name="T37" fmla="*/ 2147483647 h 324"/>
                    <a:gd name="T38" fmla="*/ 2147483647 w 187"/>
                    <a:gd name="T39" fmla="*/ 2147483647 h 324"/>
                    <a:gd name="T40" fmla="*/ 2147483647 w 187"/>
                    <a:gd name="T41" fmla="*/ 2147483647 h 324"/>
                    <a:gd name="T42" fmla="*/ 2147483647 w 187"/>
                    <a:gd name="T43" fmla="*/ 2147483647 h 324"/>
                    <a:gd name="T44" fmla="*/ 2147483647 w 187"/>
                    <a:gd name="T45" fmla="*/ 2147483647 h 324"/>
                    <a:gd name="T46" fmla="*/ 2147483647 w 187"/>
                    <a:gd name="T47" fmla="*/ 2147483647 h 324"/>
                    <a:gd name="T48" fmla="*/ 2147483647 w 187"/>
                    <a:gd name="T49" fmla="*/ 2147483647 h 324"/>
                    <a:gd name="T50" fmla="*/ 2147483647 w 187"/>
                    <a:gd name="T51" fmla="*/ 2147483647 h 324"/>
                    <a:gd name="T52" fmla="*/ 2147483647 w 187"/>
                    <a:gd name="T53" fmla="*/ 2147483647 h 324"/>
                    <a:gd name="T54" fmla="*/ 2147483647 w 187"/>
                    <a:gd name="T55" fmla="*/ 2147483647 h 324"/>
                    <a:gd name="T56" fmla="*/ 2147483647 w 187"/>
                    <a:gd name="T57" fmla="*/ 2147483647 h 324"/>
                    <a:gd name="T58" fmla="*/ 2147483647 w 187"/>
                    <a:gd name="T59" fmla="*/ 2147483647 h 324"/>
                    <a:gd name="T60" fmla="*/ 2147483647 w 187"/>
                    <a:gd name="T61" fmla="*/ 2147483647 h 324"/>
                    <a:gd name="T62" fmla="*/ 2147483647 w 187"/>
                    <a:gd name="T63" fmla="*/ 2147483647 h 324"/>
                    <a:gd name="T64" fmla="*/ 2147483647 w 187"/>
                    <a:gd name="T65" fmla="*/ 2147483647 h 324"/>
                    <a:gd name="T66" fmla="*/ 2147483647 w 187"/>
                    <a:gd name="T67" fmla="*/ 2147483647 h 324"/>
                    <a:gd name="T68" fmla="*/ 2147483647 w 187"/>
                    <a:gd name="T69" fmla="*/ 2147483647 h 324"/>
                    <a:gd name="T70" fmla="*/ 2147483647 w 187"/>
                    <a:gd name="T71" fmla="*/ 2147483647 h 324"/>
                    <a:gd name="T72" fmla="*/ 2147483647 w 187"/>
                    <a:gd name="T73" fmla="*/ 2147483647 h 324"/>
                    <a:gd name="T74" fmla="*/ 2147483647 w 187"/>
                    <a:gd name="T75" fmla="*/ 2147483647 h 324"/>
                    <a:gd name="T76" fmla="*/ 2147483647 w 187"/>
                    <a:gd name="T77" fmla="*/ 2147483647 h 324"/>
                    <a:gd name="T78" fmla="*/ 2147483647 w 187"/>
                    <a:gd name="T79" fmla="*/ 2147483647 h 324"/>
                    <a:gd name="T80" fmla="*/ 2147483647 w 187"/>
                    <a:gd name="T81" fmla="*/ 2147483647 h 324"/>
                    <a:gd name="T82" fmla="*/ 2147483647 w 187"/>
                    <a:gd name="T83" fmla="*/ 2147483647 h 324"/>
                    <a:gd name="T84" fmla="*/ 2147483647 w 187"/>
                    <a:gd name="T85" fmla="*/ 2147483647 h 324"/>
                    <a:gd name="T86" fmla="*/ 2147483647 w 187"/>
                    <a:gd name="T87" fmla="*/ 0 h 324"/>
                    <a:gd name="T88" fmla="*/ 2147483647 w 187"/>
                    <a:gd name="T89" fmla="*/ 2147483647 h 324"/>
                    <a:gd name="T90" fmla="*/ 2147483647 w 187"/>
                    <a:gd name="T91" fmla="*/ 2147483647 h 324"/>
                    <a:gd name="T92" fmla="*/ 2147483647 w 187"/>
                    <a:gd name="T93" fmla="*/ 2147483647 h 324"/>
                    <a:gd name="T94" fmla="*/ 2147483647 w 187"/>
                    <a:gd name="T95" fmla="*/ 2147483647 h 324"/>
                    <a:gd name="T96" fmla="*/ 2147483647 w 187"/>
                    <a:gd name="T97" fmla="*/ 2147483647 h 324"/>
                    <a:gd name="T98" fmla="*/ 2147483647 w 187"/>
                    <a:gd name="T99" fmla="*/ 2147483647 h 324"/>
                    <a:gd name="T100" fmla="*/ 2147483647 w 187"/>
                    <a:gd name="T101" fmla="*/ 2147483647 h 3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
                    <a:gd name="T154" fmla="*/ 0 h 324"/>
                    <a:gd name="T155" fmla="*/ 187 w 187"/>
                    <a:gd name="T156" fmla="*/ 324 h 3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 h="324">
                      <a:moveTo>
                        <a:pt x="87" y="62"/>
                      </a:moveTo>
                      <a:lnTo>
                        <a:pt x="92" y="65"/>
                      </a:lnTo>
                      <a:lnTo>
                        <a:pt x="97" y="69"/>
                      </a:lnTo>
                      <a:lnTo>
                        <a:pt x="101" y="75"/>
                      </a:lnTo>
                      <a:lnTo>
                        <a:pt x="102" y="78"/>
                      </a:lnTo>
                      <a:lnTo>
                        <a:pt x="103" y="80"/>
                      </a:lnTo>
                      <a:lnTo>
                        <a:pt x="103" y="86"/>
                      </a:lnTo>
                      <a:lnTo>
                        <a:pt x="102" y="93"/>
                      </a:lnTo>
                      <a:lnTo>
                        <a:pt x="99" y="100"/>
                      </a:lnTo>
                      <a:lnTo>
                        <a:pt x="95" y="107"/>
                      </a:lnTo>
                      <a:lnTo>
                        <a:pt x="94" y="115"/>
                      </a:lnTo>
                      <a:lnTo>
                        <a:pt x="94" y="124"/>
                      </a:lnTo>
                      <a:lnTo>
                        <a:pt x="94" y="132"/>
                      </a:lnTo>
                      <a:lnTo>
                        <a:pt x="94" y="134"/>
                      </a:lnTo>
                      <a:lnTo>
                        <a:pt x="92" y="137"/>
                      </a:lnTo>
                      <a:lnTo>
                        <a:pt x="89" y="137"/>
                      </a:lnTo>
                      <a:lnTo>
                        <a:pt x="88" y="136"/>
                      </a:lnTo>
                      <a:lnTo>
                        <a:pt x="85" y="133"/>
                      </a:lnTo>
                      <a:lnTo>
                        <a:pt x="80" y="123"/>
                      </a:lnTo>
                      <a:lnTo>
                        <a:pt x="76" y="118"/>
                      </a:lnTo>
                      <a:lnTo>
                        <a:pt x="70" y="114"/>
                      </a:lnTo>
                      <a:lnTo>
                        <a:pt x="69" y="113"/>
                      </a:lnTo>
                      <a:lnTo>
                        <a:pt x="68" y="112"/>
                      </a:lnTo>
                      <a:lnTo>
                        <a:pt x="68" y="107"/>
                      </a:lnTo>
                      <a:lnTo>
                        <a:pt x="71" y="98"/>
                      </a:lnTo>
                      <a:lnTo>
                        <a:pt x="74" y="94"/>
                      </a:lnTo>
                      <a:lnTo>
                        <a:pt x="75" y="91"/>
                      </a:lnTo>
                      <a:lnTo>
                        <a:pt x="75" y="88"/>
                      </a:lnTo>
                      <a:lnTo>
                        <a:pt x="74" y="87"/>
                      </a:lnTo>
                      <a:lnTo>
                        <a:pt x="70" y="83"/>
                      </a:lnTo>
                      <a:lnTo>
                        <a:pt x="66" y="83"/>
                      </a:lnTo>
                      <a:lnTo>
                        <a:pt x="62" y="83"/>
                      </a:lnTo>
                      <a:lnTo>
                        <a:pt x="57" y="85"/>
                      </a:lnTo>
                      <a:lnTo>
                        <a:pt x="54" y="85"/>
                      </a:lnTo>
                      <a:lnTo>
                        <a:pt x="52" y="83"/>
                      </a:lnTo>
                      <a:lnTo>
                        <a:pt x="51" y="82"/>
                      </a:lnTo>
                      <a:lnTo>
                        <a:pt x="50" y="79"/>
                      </a:lnTo>
                      <a:lnTo>
                        <a:pt x="49" y="74"/>
                      </a:lnTo>
                      <a:lnTo>
                        <a:pt x="38" y="80"/>
                      </a:lnTo>
                      <a:lnTo>
                        <a:pt x="27" y="85"/>
                      </a:lnTo>
                      <a:lnTo>
                        <a:pt x="5" y="93"/>
                      </a:lnTo>
                      <a:lnTo>
                        <a:pt x="3" y="94"/>
                      </a:lnTo>
                      <a:lnTo>
                        <a:pt x="0" y="98"/>
                      </a:lnTo>
                      <a:lnTo>
                        <a:pt x="0" y="102"/>
                      </a:lnTo>
                      <a:lnTo>
                        <a:pt x="0" y="107"/>
                      </a:lnTo>
                      <a:lnTo>
                        <a:pt x="3" y="112"/>
                      </a:lnTo>
                      <a:lnTo>
                        <a:pt x="7" y="114"/>
                      </a:lnTo>
                      <a:lnTo>
                        <a:pt x="17" y="119"/>
                      </a:lnTo>
                      <a:lnTo>
                        <a:pt x="27" y="124"/>
                      </a:lnTo>
                      <a:lnTo>
                        <a:pt x="32" y="126"/>
                      </a:lnTo>
                      <a:lnTo>
                        <a:pt x="37" y="127"/>
                      </a:lnTo>
                      <a:lnTo>
                        <a:pt x="42" y="130"/>
                      </a:lnTo>
                      <a:lnTo>
                        <a:pt x="46" y="133"/>
                      </a:lnTo>
                      <a:lnTo>
                        <a:pt x="49" y="139"/>
                      </a:lnTo>
                      <a:lnTo>
                        <a:pt x="49" y="145"/>
                      </a:lnTo>
                      <a:lnTo>
                        <a:pt x="50" y="159"/>
                      </a:lnTo>
                      <a:lnTo>
                        <a:pt x="50" y="163"/>
                      </a:lnTo>
                      <a:lnTo>
                        <a:pt x="47" y="166"/>
                      </a:lnTo>
                      <a:lnTo>
                        <a:pt x="45" y="169"/>
                      </a:lnTo>
                      <a:lnTo>
                        <a:pt x="43" y="172"/>
                      </a:lnTo>
                      <a:lnTo>
                        <a:pt x="42" y="176"/>
                      </a:lnTo>
                      <a:lnTo>
                        <a:pt x="42" y="180"/>
                      </a:lnTo>
                      <a:lnTo>
                        <a:pt x="43" y="185"/>
                      </a:lnTo>
                      <a:lnTo>
                        <a:pt x="47" y="193"/>
                      </a:lnTo>
                      <a:lnTo>
                        <a:pt x="50" y="200"/>
                      </a:lnTo>
                      <a:lnTo>
                        <a:pt x="51" y="207"/>
                      </a:lnTo>
                      <a:lnTo>
                        <a:pt x="50" y="212"/>
                      </a:lnTo>
                      <a:lnTo>
                        <a:pt x="49" y="217"/>
                      </a:lnTo>
                      <a:lnTo>
                        <a:pt x="45" y="221"/>
                      </a:lnTo>
                      <a:lnTo>
                        <a:pt x="35" y="229"/>
                      </a:lnTo>
                      <a:lnTo>
                        <a:pt x="24" y="236"/>
                      </a:lnTo>
                      <a:lnTo>
                        <a:pt x="21" y="239"/>
                      </a:lnTo>
                      <a:lnTo>
                        <a:pt x="19" y="240"/>
                      </a:lnTo>
                      <a:lnTo>
                        <a:pt x="19" y="241"/>
                      </a:lnTo>
                      <a:lnTo>
                        <a:pt x="18" y="247"/>
                      </a:lnTo>
                      <a:lnTo>
                        <a:pt x="18" y="252"/>
                      </a:lnTo>
                      <a:lnTo>
                        <a:pt x="22" y="257"/>
                      </a:lnTo>
                      <a:lnTo>
                        <a:pt x="24" y="268"/>
                      </a:lnTo>
                      <a:lnTo>
                        <a:pt x="28" y="280"/>
                      </a:lnTo>
                      <a:lnTo>
                        <a:pt x="32" y="291"/>
                      </a:lnTo>
                      <a:lnTo>
                        <a:pt x="35" y="297"/>
                      </a:lnTo>
                      <a:lnTo>
                        <a:pt x="37" y="302"/>
                      </a:lnTo>
                      <a:lnTo>
                        <a:pt x="38" y="305"/>
                      </a:lnTo>
                      <a:lnTo>
                        <a:pt x="37" y="308"/>
                      </a:lnTo>
                      <a:lnTo>
                        <a:pt x="35" y="310"/>
                      </a:lnTo>
                      <a:lnTo>
                        <a:pt x="37" y="313"/>
                      </a:lnTo>
                      <a:lnTo>
                        <a:pt x="38" y="317"/>
                      </a:lnTo>
                      <a:lnTo>
                        <a:pt x="40" y="324"/>
                      </a:lnTo>
                      <a:lnTo>
                        <a:pt x="41" y="316"/>
                      </a:lnTo>
                      <a:lnTo>
                        <a:pt x="43" y="309"/>
                      </a:lnTo>
                      <a:lnTo>
                        <a:pt x="49" y="304"/>
                      </a:lnTo>
                      <a:lnTo>
                        <a:pt x="54" y="300"/>
                      </a:lnTo>
                      <a:lnTo>
                        <a:pt x="59" y="298"/>
                      </a:lnTo>
                      <a:lnTo>
                        <a:pt x="65" y="297"/>
                      </a:lnTo>
                      <a:lnTo>
                        <a:pt x="71" y="296"/>
                      </a:lnTo>
                      <a:lnTo>
                        <a:pt x="80" y="292"/>
                      </a:lnTo>
                      <a:lnTo>
                        <a:pt x="85" y="291"/>
                      </a:lnTo>
                      <a:lnTo>
                        <a:pt x="89" y="289"/>
                      </a:lnTo>
                      <a:lnTo>
                        <a:pt x="93" y="286"/>
                      </a:lnTo>
                      <a:lnTo>
                        <a:pt x="95" y="284"/>
                      </a:lnTo>
                      <a:lnTo>
                        <a:pt x="97" y="281"/>
                      </a:lnTo>
                      <a:lnTo>
                        <a:pt x="97" y="279"/>
                      </a:lnTo>
                      <a:lnTo>
                        <a:pt x="94" y="276"/>
                      </a:lnTo>
                      <a:lnTo>
                        <a:pt x="93" y="273"/>
                      </a:lnTo>
                      <a:lnTo>
                        <a:pt x="92" y="271"/>
                      </a:lnTo>
                      <a:lnTo>
                        <a:pt x="94" y="267"/>
                      </a:lnTo>
                      <a:lnTo>
                        <a:pt x="95" y="265"/>
                      </a:lnTo>
                      <a:lnTo>
                        <a:pt x="98" y="263"/>
                      </a:lnTo>
                      <a:lnTo>
                        <a:pt x="98" y="259"/>
                      </a:lnTo>
                      <a:lnTo>
                        <a:pt x="95" y="249"/>
                      </a:lnTo>
                      <a:lnTo>
                        <a:pt x="94" y="240"/>
                      </a:lnTo>
                      <a:lnTo>
                        <a:pt x="93" y="236"/>
                      </a:lnTo>
                      <a:lnTo>
                        <a:pt x="92" y="234"/>
                      </a:lnTo>
                      <a:lnTo>
                        <a:pt x="90" y="232"/>
                      </a:lnTo>
                      <a:lnTo>
                        <a:pt x="89" y="228"/>
                      </a:lnTo>
                      <a:lnTo>
                        <a:pt x="89" y="223"/>
                      </a:lnTo>
                      <a:lnTo>
                        <a:pt x="90" y="217"/>
                      </a:lnTo>
                      <a:lnTo>
                        <a:pt x="90" y="215"/>
                      </a:lnTo>
                      <a:lnTo>
                        <a:pt x="90" y="213"/>
                      </a:lnTo>
                      <a:lnTo>
                        <a:pt x="87" y="210"/>
                      </a:lnTo>
                      <a:lnTo>
                        <a:pt x="84" y="208"/>
                      </a:lnTo>
                      <a:lnTo>
                        <a:pt x="83" y="207"/>
                      </a:lnTo>
                      <a:lnTo>
                        <a:pt x="82" y="204"/>
                      </a:lnTo>
                      <a:lnTo>
                        <a:pt x="82" y="203"/>
                      </a:lnTo>
                      <a:lnTo>
                        <a:pt x="80" y="201"/>
                      </a:lnTo>
                      <a:lnTo>
                        <a:pt x="75" y="197"/>
                      </a:lnTo>
                      <a:lnTo>
                        <a:pt x="74" y="195"/>
                      </a:lnTo>
                      <a:lnTo>
                        <a:pt x="74" y="193"/>
                      </a:lnTo>
                      <a:lnTo>
                        <a:pt x="76" y="184"/>
                      </a:lnTo>
                      <a:lnTo>
                        <a:pt x="78" y="183"/>
                      </a:lnTo>
                      <a:lnTo>
                        <a:pt x="80" y="183"/>
                      </a:lnTo>
                      <a:lnTo>
                        <a:pt x="84" y="183"/>
                      </a:lnTo>
                      <a:lnTo>
                        <a:pt x="90" y="182"/>
                      </a:lnTo>
                      <a:lnTo>
                        <a:pt x="94" y="181"/>
                      </a:lnTo>
                      <a:lnTo>
                        <a:pt x="102" y="172"/>
                      </a:lnTo>
                      <a:lnTo>
                        <a:pt x="103" y="171"/>
                      </a:lnTo>
                      <a:lnTo>
                        <a:pt x="106" y="170"/>
                      </a:lnTo>
                      <a:lnTo>
                        <a:pt x="108" y="170"/>
                      </a:lnTo>
                      <a:lnTo>
                        <a:pt x="111" y="172"/>
                      </a:lnTo>
                      <a:lnTo>
                        <a:pt x="113" y="171"/>
                      </a:lnTo>
                      <a:lnTo>
                        <a:pt x="115" y="169"/>
                      </a:lnTo>
                      <a:lnTo>
                        <a:pt x="117" y="165"/>
                      </a:lnTo>
                      <a:lnTo>
                        <a:pt x="121" y="161"/>
                      </a:lnTo>
                      <a:lnTo>
                        <a:pt x="122" y="157"/>
                      </a:lnTo>
                      <a:lnTo>
                        <a:pt x="123" y="155"/>
                      </a:lnTo>
                      <a:lnTo>
                        <a:pt x="122" y="152"/>
                      </a:lnTo>
                      <a:lnTo>
                        <a:pt x="122" y="150"/>
                      </a:lnTo>
                      <a:lnTo>
                        <a:pt x="125" y="148"/>
                      </a:lnTo>
                      <a:lnTo>
                        <a:pt x="127" y="146"/>
                      </a:lnTo>
                      <a:lnTo>
                        <a:pt x="129" y="146"/>
                      </a:lnTo>
                      <a:lnTo>
                        <a:pt x="134" y="146"/>
                      </a:lnTo>
                      <a:lnTo>
                        <a:pt x="136" y="146"/>
                      </a:lnTo>
                      <a:lnTo>
                        <a:pt x="139" y="145"/>
                      </a:lnTo>
                      <a:lnTo>
                        <a:pt x="149" y="138"/>
                      </a:lnTo>
                      <a:lnTo>
                        <a:pt x="155" y="136"/>
                      </a:lnTo>
                      <a:lnTo>
                        <a:pt x="162" y="133"/>
                      </a:lnTo>
                      <a:lnTo>
                        <a:pt x="165" y="131"/>
                      </a:lnTo>
                      <a:lnTo>
                        <a:pt x="167" y="127"/>
                      </a:lnTo>
                      <a:lnTo>
                        <a:pt x="170" y="119"/>
                      </a:lnTo>
                      <a:lnTo>
                        <a:pt x="174" y="113"/>
                      </a:lnTo>
                      <a:lnTo>
                        <a:pt x="178" y="107"/>
                      </a:lnTo>
                      <a:lnTo>
                        <a:pt x="187" y="95"/>
                      </a:lnTo>
                      <a:lnTo>
                        <a:pt x="187" y="93"/>
                      </a:lnTo>
                      <a:lnTo>
                        <a:pt x="187" y="92"/>
                      </a:lnTo>
                      <a:lnTo>
                        <a:pt x="186" y="89"/>
                      </a:lnTo>
                      <a:lnTo>
                        <a:pt x="186" y="87"/>
                      </a:lnTo>
                      <a:lnTo>
                        <a:pt x="186" y="70"/>
                      </a:lnTo>
                      <a:lnTo>
                        <a:pt x="184" y="62"/>
                      </a:lnTo>
                      <a:lnTo>
                        <a:pt x="183" y="54"/>
                      </a:lnTo>
                      <a:lnTo>
                        <a:pt x="181" y="46"/>
                      </a:lnTo>
                      <a:lnTo>
                        <a:pt x="181" y="35"/>
                      </a:lnTo>
                      <a:lnTo>
                        <a:pt x="182" y="14"/>
                      </a:lnTo>
                      <a:lnTo>
                        <a:pt x="183" y="9"/>
                      </a:lnTo>
                      <a:lnTo>
                        <a:pt x="183" y="6"/>
                      </a:lnTo>
                      <a:lnTo>
                        <a:pt x="182" y="4"/>
                      </a:lnTo>
                      <a:lnTo>
                        <a:pt x="177" y="0"/>
                      </a:lnTo>
                      <a:lnTo>
                        <a:pt x="173" y="5"/>
                      </a:lnTo>
                      <a:lnTo>
                        <a:pt x="172" y="8"/>
                      </a:lnTo>
                      <a:lnTo>
                        <a:pt x="169" y="9"/>
                      </a:lnTo>
                      <a:lnTo>
                        <a:pt x="163" y="11"/>
                      </a:lnTo>
                      <a:lnTo>
                        <a:pt x="158" y="15"/>
                      </a:lnTo>
                      <a:lnTo>
                        <a:pt x="153" y="18"/>
                      </a:lnTo>
                      <a:lnTo>
                        <a:pt x="148" y="22"/>
                      </a:lnTo>
                      <a:lnTo>
                        <a:pt x="145" y="23"/>
                      </a:lnTo>
                      <a:lnTo>
                        <a:pt x="142" y="23"/>
                      </a:lnTo>
                      <a:lnTo>
                        <a:pt x="139" y="21"/>
                      </a:lnTo>
                      <a:lnTo>
                        <a:pt x="136" y="18"/>
                      </a:lnTo>
                      <a:lnTo>
                        <a:pt x="135" y="17"/>
                      </a:lnTo>
                      <a:lnTo>
                        <a:pt x="132" y="17"/>
                      </a:lnTo>
                      <a:lnTo>
                        <a:pt x="120" y="23"/>
                      </a:lnTo>
                      <a:lnTo>
                        <a:pt x="112" y="25"/>
                      </a:lnTo>
                      <a:lnTo>
                        <a:pt x="104" y="25"/>
                      </a:lnTo>
                      <a:lnTo>
                        <a:pt x="98" y="24"/>
                      </a:lnTo>
                      <a:lnTo>
                        <a:pt x="92" y="24"/>
                      </a:lnTo>
                      <a:lnTo>
                        <a:pt x="87" y="25"/>
                      </a:lnTo>
                      <a:lnTo>
                        <a:pt x="82" y="28"/>
                      </a:lnTo>
                      <a:lnTo>
                        <a:pt x="78" y="30"/>
                      </a:lnTo>
                      <a:lnTo>
                        <a:pt x="76" y="35"/>
                      </a:lnTo>
                      <a:lnTo>
                        <a:pt x="75" y="41"/>
                      </a:lnTo>
                      <a:lnTo>
                        <a:pt x="76" y="47"/>
                      </a:lnTo>
                      <a:lnTo>
                        <a:pt x="78" y="51"/>
                      </a:lnTo>
                      <a:lnTo>
                        <a:pt x="79" y="55"/>
                      </a:lnTo>
                      <a:lnTo>
                        <a:pt x="80" y="59"/>
                      </a:lnTo>
                      <a:lnTo>
                        <a:pt x="80" y="61"/>
                      </a:lnTo>
                      <a:lnTo>
                        <a:pt x="87" y="6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1" name="Freeform 732"/>
                <p:cNvSpPr>
                  <a:spLocks/>
                </p:cNvSpPr>
                <p:nvPr/>
              </p:nvSpPr>
              <p:spPr bwMode="auto">
                <a:xfrm>
                  <a:off x="5087323" y="5142237"/>
                  <a:ext cx="229380" cy="264897"/>
                </a:xfrm>
                <a:custGeom>
                  <a:avLst/>
                  <a:gdLst>
                    <a:gd name="T0" fmla="*/ 2147483647 w 167"/>
                    <a:gd name="T1" fmla="*/ 2147483647 h 179"/>
                    <a:gd name="T2" fmla="*/ 2147483647 w 167"/>
                    <a:gd name="T3" fmla="*/ 2147483647 h 179"/>
                    <a:gd name="T4" fmla="*/ 2147483647 w 167"/>
                    <a:gd name="T5" fmla="*/ 2147483647 h 179"/>
                    <a:gd name="T6" fmla="*/ 2147483647 w 167"/>
                    <a:gd name="T7" fmla="*/ 2147483647 h 179"/>
                    <a:gd name="T8" fmla="*/ 2147483647 w 167"/>
                    <a:gd name="T9" fmla="*/ 2147483647 h 179"/>
                    <a:gd name="T10" fmla="*/ 2147483647 w 167"/>
                    <a:gd name="T11" fmla="*/ 2147483647 h 179"/>
                    <a:gd name="T12" fmla="*/ 2147483647 w 167"/>
                    <a:gd name="T13" fmla="*/ 2147483647 h 179"/>
                    <a:gd name="T14" fmla="*/ 2147483647 w 167"/>
                    <a:gd name="T15" fmla="*/ 2147483647 h 179"/>
                    <a:gd name="T16" fmla="*/ 2147483647 w 167"/>
                    <a:gd name="T17" fmla="*/ 2147483647 h 179"/>
                    <a:gd name="T18" fmla="*/ 2147483647 w 167"/>
                    <a:gd name="T19" fmla="*/ 2147483647 h 179"/>
                    <a:gd name="T20" fmla="*/ 2147483647 w 167"/>
                    <a:gd name="T21" fmla="*/ 2147483647 h 179"/>
                    <a:gd name="T22" fmla="*/ 2147483647 w 167"/>
                    <a:gd name="T23" fmla="*/ 2147483647 h 179"/>
                    <a:gd name="T24" fmla="*/ 2147483647 w 167"/>
                    <a:gd name="T25" fmla="*/ 2147483647 h 179"/>
                    <a:gd name="T26" fmla="*/ 2147483647 w 167"/>
                    <a:gd name="T27" fmla="*/ 2147483647 h 179"/>
                    <a:gd name="T28" fmla="*/ 2147483647 w 167"/>
                    <a:gd name="T29" fmla="*/ 2147483647 h 179"/>
                    <a:gd name="T30" fmla="*/ 2147483647 w 167"/>
                    <a:gd name="T31" fmla="*/ 2147483647 h 179"/>
                    <a:gd name="T32" fmla="*/ 2147483647 w 167"/>
                    <a:gd name="T33" fmla="*/ 2147483647 h 179"/>
                    <a:gd name="T34" fmla="*/ 2147483647 w 167"/>
                    <a:gd name="T35" fmla="*/ 2147483647 h 179"/>
                    <a:gd name="T36" fmla="*/ 2147483647 w 167"/>
                    <a:gd name="T37" fmla="*/ 2147483647 h 179"/>
                    <a:gd name="T38" fmla="*/ 2147483647 w 167"/>
                    <a:gd name="T39" fmla="*/ 2147483647 h 179"/>
                    <a:gd name="T40" fmla="*/ 2147483647 w 167"/>
                    <a:gd name="T41" fmla="*/ 2147483647 h 179"/>
                    <a:gd name="T42" fmla="*/ 2147483647 w 167"/>
                    <a:gd name="T43" fmla="*/ 2147483647 h 179"/>
                    <a:gd name="T44" fmla="*/ 2147483647 w 167"/>
                    <a:gd name="T45" fmla="*/ 2147483647 h 179"/>
                    <a:gd name="T46" fmla="*/ 2147483647 w 167"/>
                    <a:gd name="T47" fmla="*/ 2147483647 h 179"/>
                    <a:gd name="T48" fmla="*/ 2147483647 w 167"/>
                    <a:gd name="T49" fmla="*/ 2147483647 h 179"/>
                    <a:gd name="T50" fmla="*/ 2147483647 w 167"/>
                    <a:gd name="T51" fmla="*/ 2147483647 h 179"/>
                    <a:gd name="T52" fmla="*/ 0 w 167"/>
                    <a:gd name="T53" fmla="*/ 2147483647 h 179"/>
                    <a:gd name="T54" fmla="*/ 2147483647 w 167"/>
                    <a:gd name="T55" fmla="*/ 2147483647 h 179"/>
                    <a:gd name="T56" fmla="*/ 2147483647 w 167"/>
                    <a:gd name="T57" fmla="*/ 2147483647 h 179"/>
                    <a:gd name="T58" fmla="*/ 2147483647 w 167"/>
                    <a:gd name="T59" fmla="*/ 2147483647 h 179"/>
                    <a:gd name="T60" fmla="*/ 2147483647 w 167"/>
                    <a:gd name="T61" fmla="*/ 2147483647 h 179"/>
                    <a:gd name="T62" fmla="*/ 2147483647 w 167"/>
                    <a:gd name="T63" fmla="*/ 0 h 179"/>
                    <a:gd name="T64" fmla="*/ 2147483647 w 167"/>
                    <a:gd name="T65" fmla="*/ 2147483647 h 179"/>
                    <a:gd name="T66" fmla="*/ 2147483647 w 167"/>
                    <a:gd name="T67" fmla="*/ 2147483647 h 179"/>
                    <a:gd name="T68" fmla="*/ 2147483647 w 167"/>
                    <a:gd name="T69" fmla="*/ 2147483647 h 179"/>
                    <a:gd name="T70" fmla="*/ 2147483647 w 167"/>
                    <a:gd name="T71" fmla="*/ 2147483647 h 179"/>
                    <a:gd name="T72" fmla="*/ 2147483647 w 167"/>
                    <a:gd name="T73" fmla="*/ 2147483647 h 179"/>
                    <a:gd name="T74" fmla="*/ 2147483647 w 167"/>
                    <a:gd name="T75" fmla="*/ 2147483647 h 179"/>
                    <a:gd name="T76" fmla="*/ 2147483647 w 167"/>
                    <a:gd name="T77" fmla="*/ 2147483647 h 179"/>
                    <a:gd name="T78" fmla="*/ 2147483647 w 167"/>
                    <a:gd name="T79" fmla="*/ 2147483647 h 179"/>
                    <a:gd name="T80" fmla="*/ 2147483647 w 167"/>
                    <a:gd name="T81" fmla="*/ 2147483647 h 1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7"/>
                    <a:gd name="T124" fmla="*/ 0 h 179"/>
                    <a:gd name="T125" fmla="*/ 167 w 167"/>
                    <a:gd name="T126" fmla="*/ 179 h 1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7" h="179">
                      <a:moveTo>
                        <a:pt x="167" y="85"/>
                      </a:moveTo>
                      <a:lnTo>
                        <a:pt x="164" y="87"/>
                      </a:lnTo>
                      <a:lnTo>
                        <a:pt x="163" y="90"/>
                      </a:lnTo>
                      <a:lnTo>
                        <a:pt x="162" y="91"/>
                      </a:lnTo>
                      <a:lnTo>
                        <a:pt x="160" y="94"/>
                      </a:lnTo>
                      <a:lnTo>
                        <a:pt x="155" y="96"/>
                      </a:lnTo>
                      <a:lnTo>
                        <a:pt x="149" y="97"/>
                      </a:lnTo>
                      <a:lnTo>
                        <a:pt x="143" y="100"/>
                      </a:lnTo>
                      <a:lnTo>
                        <a:pt x="138" y="103"/>
                      </a:lnTo>
                      <a:lnTo>
                        <a:pt x="131" y="107"/>
                      </a:lnTo>
                      <a:lnTo>
                        <a:pt x="124" y="109"/>
                      </a:lnTo>
                      <a:lnTo>
                        <a:pt x="122" y="110"/>
                      </a:lnTo>
                      <a:lnTo>
                        <a:pt x="120" y="112"/>
                      </a:lnTo>
                      <a:lnTo>
                        <a:pt x="119" y="115"/>
                      </a:lnTo>
                      <a:lnTo>
                        <a:pt x="117" y="121"/>
                      </a:lnTo>
                      <a:lnTo>
                        <a:pt x="115" y="126"/>
                      </a:lnTo>
                      <a:lnTo>
                        <a:pt x="113" y="127"/>
                      </a:lnTo>
                      <a:lnTo>
                        <a:pt x="111" y="128"/>
                      </a:lnTo>
                      <a:lnTo>
                        <a:pt x="108" y="129"/>
                      </a:lnTo>
                      <a:lnTo>
                        <a:pt x="107" y="130"/>
                      </a:lnTo>
                      <a:lnTo>
                        <a:pt x="106" y="135"/>
                      </a:lnTo>
                      <a:lnTo>
                        <a:pt x="105" y="140"/>
                      </a:lnTo>
                      <a:lnTo>
                        <a:pt x="102" y="145"/>
                      </a:lnTo>
                      <a:lnTo>
                        <a:pt x="100" y="148"/>
                      </a:lnTo>
                      <a:lnTo>
                        <a:pt x="96" y="152"/>
                      </a:lnTo>
                      <a:lnTo>
                        <a:pt x="91" y="154"/>
                      </a:lnTo>
                      <a:lnTo>
                        <a:pt x="86" y="155"/>
                      </a:lnTo>
                      <a:lnTo>
                        <a:pt x="80" y="157"/>
                      </a:lnTo>
                      <a:lnTo>
                        <a:pt x="79" y="158"/>
                      </a:lnTo>
                      <a:lnTo>
                        <a:pt x="75" y="157"/>
                      </a:lnTo>
                      <a:lnTo>
                        <a:pt x="72" y="154"/>
                      </a:lnTo>
                      <a:lnTo>
                        <a:pt x="68" y="152"/>
                      </a:lnTo>
                      <a:lnTo>
                        <a:pt x="63" y="149"/>
                      </a:lnTo>
                      <a:lnTo>
                        <a:pt x="60" y="149"/>
                      </a:lnTo>
                      <a:lnTo>
                        <a:pt x="58" y="151"/>
                      </a:lnTo>
                      <a:lnTo>
                        <a:pt x="55" y="155"/>
                      </a:lnTo>
                      <a:lnTo>
                        <a:pt x="53" y="161"/>
                      </a:lnTo>
                      <a:lnTo>
                        <a:pt x="50" y="166"/>
                      </a:lnTo>
                      <a:lnTo>
                        <a:pt x="47" y="167"/>
                      </a:lnTo>
                      <a:lnTo>
                        <a:pt x="45" y="168"/>
                      </a:lnTo>
                      <a:lnTo>
                        <a:pt x="44" y="171"/>
                      </a:lnTo>
                      <a:lnTo>
                        <a:pt x="42" y="173"/>
                      </a:lnTo>
                      <a:lnTo>
                        <a:pt x="40" y="174"/>
                      </a:lnTo>
                      <a:lnTo>
                        <a:pt x="35" y="176"/>
                      </a:lnTo>
                      <a:lnTo>
                        <a:pt x="28" y="178"/>
                      </a:lnTo>
                      <a:lnTo>
                        <a:pt x="23" y="179"/>
                      </a:lnTo>
                      <a:lnTo>
                        <a:pt x="21" y="179"/>
                      </a:lnTo>
                      <a:lnTo>
                        <a:pt x="20" y="178"/>
                      </a:lnTo>
                      <a:lnTo>
                        <a:pt x="18" y="167"/>
                      </a:lnTo>
                      <a:lnTo>
                        <a:pt x="14" y="158"/>
                      </a:lnTo>
                      <a:lnTo>
                        <a:pt x="12" y="154"/>
                      </a:lnTo>
                      <a:lnTo>
                        <a:pt x="9" y="151"/>
                      </a:lnTo>
                      <a:lnTo>
                        <a:pt x="6" y="147"/>
                      </a:lnTo>
                      <a:lnTo>
                        <a:pt x="0" y="145"/>
                      </a:lnTo>
                      <a:lnTo>
                        <a:pt x="0" y="79"/>
                      </a:lnTo>
                      <a:lnTo>
                        <a:pt x="21" y="79"/>
                      </a:lnTo>
                      <a:lnTo>
                        <a:pt x="22" y="11"/>
                      </a:lnTo>
                      <a:lnTo>
                        <a:pt x="61" y="4"/>
                      </a:lnTo>
                      <a:lnTo>
                        <a:pt x="65" y="7"/>
                      </a:lnTo>
                      <a:lnTo>
                        <a:pt x="68" y="8"/>
                      </a:lnTo>
                      <a:lnTo>
                        <a:pt x="69" y="8"/>
                      </a:lnTo>
                      <a:lnTo>
                        <a:pt x="75" y="6"/>
                      </a:lnTo>
                      <a:lnTo>
                        <a:pt x="82" y="4"/>
                      </a:lnTo>
                      <a:lnTo>
                        <a:pt x="94" y="0"/>
                      </a:lnTo>
                      <a:lnTo>
                        <a:pt x="97" y="1"/>
                      </a:lnTo>
                      <a:lnTo>
                        <a:pt x="100" y="4"/>
                      </a:lnTo>
                      <a:lnTo>
                        <a:pt x="103" y="8"/>
                      </a:lnTo>
                      <a:lnTo>
                        <a:pt x="110" y="19"/>
                      </a:lnTo>
                      <a:lnTo>
                        <a:pt x="116" y="29"/>
                      </a:lnTo>
                      <a:lnTo>
                        <a:pt x="120" y="32"/>
                      </a:lnTo>
                      <a:lnTo>
                        <a:pt x="124" y="36"/>
                      </a:lnTo>
                      <a:lnTo>
                        <a:pt x="129" y="39"/>
                      </a:lnTo>
                      <a:lnTo>
                        <a:pt x="135" y="40"/>
                      </a:lnTo>
                      <a:lnTo>
                        <a:pt x="139" y="43"/>
                      </a:lnTo>
                      <a:lnTo>
                        <a:pt x="141" y="46"/>
                      </a:lnTo>
                      <a:lnTo>
                        <a:pt x="143" y="57"/>
                      </a:lnTo>
                      <a:lnTo>
                        <a:pt x="145" y="68"/>
                      </a:lnTo>
                      <a:lnTo>
                        <a:pt x="147" y="71"/>
                      </a:lnTo>
                      <a:lnTo>
                        <a:pt x="149" y="75"/>
                      </a:lnTo>
                      <a:lnTo>
                        <a:pt x="153" y="77"/>
                      </a:lnTo>
                      <a:lnTo>
                        <a:pt x="158" y="78"/>
                      </a:lnTo>
                      <a:lnTo>
                        <a:pt x="167" y="8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2" name="Freeform 734"/>
                <p:cNvSpPr>
                  <a:spLocks/>
                </p:cNvSpPr>
                <p:nvPr/>
              </p:nvSpPr>
              <p:spPr bwMode="auto">
                <a:xfrm>
                  <a:off x="5085840" y="5140759"/>
                  <a:ext cx="229381" cy="264898"/>
                </a:xfrm>
                <a:custGeom>
                  <a:avLst/>
                  <a:gdLst>
                    <a:gd name="T0" fmla="*/ 2147483647 w 167"/>
                    <a:gd name="T1" fmla="*/ 2147483647 h 179"/>
                    <a:gd name="T2" fmla="*/ 2147483647 w 167"/>
                    <a:gd name="T3" fmla="*/ 2147483647 h 179"/>
                    <a:gd name="T4" fmla="*/ 2147483647 w 167"/>
                    <a:gd name="T5" fmla="*/ 2147483647 h 179"/>
                    <a:gd name="T6" fmla="*/ 2147483647 w 167"/>
                    <a:gd name="T7" fmla="*/ 2147483647 h 179"/>
                    <a:gd name="T8" fmla="*/ 2147483647 w 167"/>
                    <a:gd name="T9" fmla="*/ 2147483647 h 179"/>
                    <a:gd name="T10" fmla="*/ 2147483647 w 167"/>
                    <a:gd name="T11" fmla="*/ 2147483647 h 179"/>
                    <a:gd name="T12" fmla="*/ 2147483647 w 167"/>
                    <a:gd name="T13" fmla="*/ 2147483647 h 179"/>
                    <a:gd name="T14" fmla="*/ 2147483647 w 167"/>
                    <a:gd name="T15" fmla="*/ 2147483647 h 179"/>
                    <a:gd name="T16" fmla="*/ 2147483647 w 167"/>
                    <a:gd name="T17" fmla="*/ 2147483647 h 179"/>
                    <a:gd name="T18" fmla="*/ 2147483647 w 167"/>
                    <a:gd name="T19" fmla="*/ 2147483647 h 179"/>
                    <a:gd name="T20" fmla="*/ 2147483647 w 167"/>
                    <a:gd name="T21" fmla="*/ 2147483647 h 179"/>
                    <a:gd name="T22" fmla="*/ 2147483647 w 167"/>
                    <a:gd name="T23" fmla="*/ 2147483647 h 179"/>
                    <a:gd name="T24" fmla="*/ 2147483647 w 167"/>
                    <a:gd name="T25" fmla="*/ 2147483647 h 179"/>
                    <a:gd name="T26" fmla="*/ 2147483647 w 167"/>
                    <a:gd name="T27" fmla="*/ 2147483647 h 179"/>
                    <a:gd name="T28" fmla="*/ 2147483647 w 167"/>
                    <a:gd name="T29" fmla="*/ 2147483647 h 179"/>
                    <a:gd name="T30" fmla="*/ 2147483647 w 167"/>
                    <a:gd name="T31" fmla="*/ 2147483647 h 179"/>
                    <a:gd name="T32" fmla="*/ 2147483647 w 167"/>
                    <a:gd name="T33" fmla="*/ 2147483647 h 179"/>
                    <a:gd name="T34" fmla="*/ 2147483647 w 167"/>
                    <a:gd name="T35" fmla="*/ 2147483647 h 179"/>
                    <a:gd name="T36" fmla="*/ 2147483647 w 167"/>
                    <a:gd name="T37" fmla="*/ 2147483647 h 179"/>
                    <a:gd name="T38" fmla="*/ 2147483647 w 167"/>
                    <a:gd name="T39" fmla="*/ 2147483647 h 179"/>
                    <a:gd name="T40" fmla="*/ 2147483647 w 167"/>
                    <a:gd name="T41" fmla="*/ 2147483647 h 179"/>
                    <a:gd name="T42" fmla="*/ 2147483647 w 167"/>
                    <a:gd name="T43" fmla="*/ 2147483647 h 179"/>
                    <a:gd name="T44" fmla="*/ 2147483647 w 167"/>
                    <a:gd name="T45" fmla="*/ 2147483647 h 179"/>
                    <a:gd name="T46" fmla="*/ 2147483647 w 167"/>
                    <a:gd name="T47" fmla="*/ 2147483647 h 179"/>
                    <a:gd name="T48" fmla="*/ 2147483647 w 167"/>
                    <a:gd name="T49" fmla="*/ 2147483647 h 179"/>
                    <a:gd name="T50" fmla="*/ 2147483647 w 167"/>
                    <a:gd name="T51" fmla="*/ 2147483647 h 179"/>
                    <a:gd name="T52" fmla="*/ 2147483647 w 167"/>
                    <a:gd name="T53" fmla="*/ 2147483647 h 179"/>
                    <a:gd name="T54" fmla="*/ 2147483647 w 167"/>
                    <a:gd name="T55" fmla="*/ 2147483647 h 179"/>
                    <a:gd name="T56" fmla="*/ 2147483647 w 167"/>
                    <a:gd name="T57" fmla="*/ 2147483647 h 179"/>
                    <a:gd name="T58" fmla="*/ 2147483647 w 167"/>
                    <a:gd name="T59" fmla="*/ 2147483647 h 179"/>
                    <a:gd name="T60" fmla="*/ 2147483647 w 167"/>
                    <a:gd name="T61" fmla="*/ 2147483647 h 179"/>
                    <a:gd name="T62" fmla="*/ 2147483647 w 167"/>
                    <a:gd name="T63" fmla="*/ 2147483647 h 179"/>
                    <a:gd name="T64" fmla="*/ 2147483647 w 167"/>
                    <a:gd name="T65" fmla="*/ 2147483647 h 179"/>
                    <a:gd name="T66" fmla="*/ 0 w 167"/>
                    <a:gd name="T67" fmla="*/ 2147483647 h 179"/>
                    <a:gd name="T68" fmla="*/ 2147483647 w 167"/>
                    <a:gd name="T69" fmla="*/ 2147483647 h 179"/>
                    <a:gd name="T70" fmla="*/ 2147483647 w 167"/>
                    <a:gd name="T71" fmla="*/ 2147483647 h 179"/>
                    <a:gd name="T72" fmla="*/ 2147483647 w 167"/>
                    <a:gd name="T73" fmla="*/ 2147483647 h 179"/>
                    <a:gd name="T74" fmla="*/ 2147483647 w 167"/>
                    <a:gd name="T75" fmla="*/ 2147483647 h 179"/>
                    <a:gd name="T76" fmla="*/ 2147483647 w 167"/>
                    <a:gd name="T77" fmla="*/ 2147483647 h 179"/>
                    <a:gd name="T78" fmla="*/ 2147483647 w 167"/>
                    <a:gd name="T79" fmla="*/ 0 h 179"/>
                    <a:gd name="T80" fmla="*/ 2147483647 w 167"/>
                    <a:gd name="T81" fmla="*/ 2147483647 h 179"/>
                    <a:gd name="T82" fmla="*/ 2147483647 w 167"/>
                    <a:gd name="T83" fmla="*/ 2147483647 h 179"/>
                    <a:gd name="T84" fmla="*/ 2147483647 w 167"/>
                    <a:gd name="T85" fmla="*/ 2147483647 h 179"/>
                    <a:gd name="T86" fmla="*/ 2147483647 w 167"/>
                    <a:gd name="T87" fmla="*/ 2147483647 h 179"/>
                    <a:gd name="T88" fmla="*/ 2147483647 w 167"/>
                    <a:gd name="T89" fmla="*/ 2147483647 h 179"/>
                    <a:gd name="T90" fmla="*/ 2147483647 w 167"/>
                    <a:gd name="T91" fmla="*/ 2147483647 h 179"/>
                    <a:gd name="T92" fmla="*/ 2147483647 w 167"/>
                    <a:gd name="T93" fmla="*/ 2147483647 h 179"/>
                    <a:gd name="T94" fmla="*/ 2147483647 w 167"/>
                    <a:gd name="T95" fmla="*/ 2147483647 h 179"/>
                    <a:gd name="T96" fmla="*/ 2147483647 w 167"/>
                    <a:gd name="T97" fmla="*/ 2147483647 h 179"/>
                    <a:gd name="T98" fmla="*/ 2147483647 w 167"/>
                    <a:gd name="T99" fmla="*/ 2147483647 h 179"/>
                    <a:gd name="T100" fmla="*/ 2147483647 w 167"/>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179"/>
                    <a:gd name="T155" fmla="*/ 167 w 167"/>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179">
                      <a:moveTo>
                        <a:pt x="167" y="85"/>
                      </a:moveTo>
                      <a:lnTo>
                        <a:pt x="167" y="85"/>
                      </a:lnTo>
                      <a:lnTo>
                        <a:pt x="164" y="86"/>
                      </a:lnTo>
                      <a:lnTo>
                        <a:pt x="163" y="90"/>
                      </a:lnTo>
                      <a:lnTo>
                        <a:pt x="161" y="91"/>
                      </a:lnTo>
                      <a:lnTo>
                        <a:pt x="160" y="94"/>
                      </a:lnTo>
                      <a:lnTo>
                        <a:pt x="155" y="96"/>
                      </a:lnTo>
                      <a:lnTo>
                        <a:pt x="149" y="97"/>
                      </a:lnTo>
                      <a:lnTo>
                        <a:pt x="142" y="99"/>
                      </a:lnTo>
                      <a:lnTo>
                        <a:pt x="137" y="103"/>
                      </a:lnTo>
                      <a:lnTo>
                        <a:pt x="131" y="107"/>
                      </a:lnTo>
                      <a:lnTo>
                        <a:pt x="123" y="109"/>
                      </a:lnTo>
                      <a:lnTo>
                        <a:pt x="122" y="110"/>
                      </a:lnTo>
                      <a:lnTo>
                        <a:pt x="120" y="111"/>
                      </a:lnTo>
                      <a:lnTo>
                        <a:pt x="118" y="115"/>
                      </a:lnTo>
                      <a:lnTo>
                        <a:pt x="117" y="121"/>
                      </a:lnTo>
                      <a:lnTo>
                        <a:pt x="114" y="126"/>
                      </a:lnTo>
                      <a:lnTo>
                        <a:pt x="113" y="127"/>
                      </a:lnTo>
                      <a:lnTo>
                        <a:pt x="111" y="128"/>
                      </a:lnTo>
                      <a:lnTo>
                        <a:pt x="108" y="129"/>
                      </a:lnTo>
                      <a:lnTo>
                        <a:pt x="107" y="130"/>
                      </a:lnTo>
                      <a:lnTo>
                        <a:pt x="106" y="135"/>
                      </a:lnTo>
                      <a:lnTo>
                        <a:pt x="104" y="140"/>
                      </a:lnTo>
                      <a:lnTo>
                        <a:pt x="102" y="145"/>
                      </a:lnTo>
                      <a:lnTo>
                        <a:pt x="99" y="148"/>
                      </a:lnTo>
                      <a:lnTo>
                        <a:pt x="95" y="152"/>
                      </a:lnTo>
                      <a:lnTo>
                        <a:pt x="90" y="154"/>
                      </a:lnTo>
                      <a:lnTo>
                        <a:pt x="85" y="155"/>
                      </a:lnTo>
                      <a:lnTo>
                        <a:pt x="80" y="156"/>
                      </a:lnTo>
                      <a:lnTo>
                        <a:pt x="79" y="158"/>
                      </a:lnTo>
                      <a:lnTo>
                        <a:pt x="75" y="156"/>
                      </a:lnTo>
                      <a:lnTo>
                        <a:pt x="71" y="154"/>
                      </a:lnTo>
                      <a:lnTo>
                        <a:pt x="68" y="152"/>
                      </a:lnTo>
                      <a:lnTo>
                        <a:pt x="62" y="149"/>
                      </a:lnTo>
                      <a:lnTo>
                        <a:pt x="60" y="149"/>
                      </a:lnTo>
                      <a:lnTo>
                        <a:pt x="57" y="150"/>
                      </a:lnTo>
                      <a:lnTo>
                        <a:pt x="55" y="155"/>
                      </a:lnTo>
                      <a:lnTo>
                        <a:pt x="52" y="161"/>
                      </a:lnTo>
                      <a:lnTo>
                        <a:pt x="50" y="166"/>
                      </a:lnTo>
                      <a:lnTo>
                        <a:pt x="47" y="167"/>
                      </a:lnTo>
                      <a:lnTo>
                        <a:pt x="45" y="168"/>
                      </a:lnTo>
                      <a:lnTo>
                        <a:pt x="43" y="171"/>
                      </a:lnTo>
                      <a:lnTo>
                        <a:pt x="42" y="173"/>
                      </a:lnTo>
                      <a:lnTo>
                        <a:pt x="40" y="174"/>
                      </a:lnTo>
                      <a:lnTo>
                        <a:pt x="34" y="175"/>
                      </a:lnTo>
                      <a:lnTo>
                        <a:pt x="28" y="178"/>
                      </a:lnTo>
                      <a:lnTo>
                        <a:pt x="23" y="179"/>
                      </a:lnTo>
                      <a:lnTo>
                        <a:pt x="21" y="179"/>
                      </a:lnTo>
                      <a:lnTo>
                        <a:pt x="19" y="178"/>
                      </a:lnTo>
                      <a:lnTo>
                        <a:pt x="18" y="167"/>
                      </a:lnTo>
                      <a:lnTo>
                        <a:pt x="14" y="158"/>
                      </a:lnTo>
                      <a:lnTo>
                        <a:pt x="12" y="154"/>
                      </a:lnTo>
                      <a:lnTo>
                        <a:pt x="9" y="150"/>
                      </a:lnTo>
                      <a:lnTo>
                        <a:pt x="5" y="147"/>
                      </a:lnTo>
                      <a:lnTo>
                        <a:pt x="0" y="145"/>
                      </a:lnTo>
                      <a:lnTo>
                        <a:pt x="0" y="79"/>
                      </a:lnTo>
                      <a:lnTo>
                        <a:pt x="21" y="79"/>
                      </a:lnTo>
                      <a:lnTo>
                        <a:pt x="22" y="11"/>
                      </a:lnTo>
                      <a:lnTo>
                        <a:pt x="61" y="3"/>
                      </a:lnTo>
                      <a:lnTo>
                        <a:pt x="65" y="7"/>
                      </a:lnTo>
                      <a:lnTo>
                        <a:pt x="68" y="8"/>
                      </a:lnTo>
                      <a:lnTo>
                        <a:pt x="69" y="8"/>
                      </a:lnTo>
                      <a:lnTo>
                        <a:pt x="75" y="6"/>
                      </a:lnTo>
                      <a:lnTo>
                        <a:pt x="81" y="3"/>
                      </a:lnTo>
                      <a:lnTo>
                        <a:pt x="94" y="0"/>
                      </a:lnTo>
                      <a:lnTo>
                        <a:pt x="97" y="1"/>
                      </a:lnTo>
                      <a:lnTo>
                        <a:pt x="99" y="3"/>
                      </a:lnTo>
                      <a:lnTo>
                        <a:pt x="103" y="8"/>
                      </a:lnTo>
                      <a:lnTo>
                        <a:pt x="109" y="19"/>
                      </a:lnTo>
                      <a:lnTo>
                        <a:pt x="116" y="28"/>
                      </a:lnTo>
                      <a:lnTo>
                        <a:pt x="120" y="32"/>
                      </a:lnTo>
                      <a:lnTo>
                        <a:pt x="123" y="35"/>
                      </a:lnTo>
                      <a:lnTo>
                        <a:pt x="128" y="39"/>
                      </a:lnTo>
                      <a:lnTo>
                        <a:pt x="135" y="40"/>
                      </a:lnTo>
                      <a:lnTo>
                        <a:pt x="139" y="43"/>
                      </a:lnTo>
                      <a:lnTo>
                        <a:pt x="141" y="46"/>
                      </a:lnTo>
                      <a:lnTo>
                        <a:pt x="142" y="57"/>
                      </a:lnTo>
                      <a:lnTo>
                        <a:pt x="145" y="67"/>
                      </a:lnTo>
                      <a:lnTo>
                        <a:pt x="146" y="71"/>
                      </a:lnTo>
                      <a:lnTo>
                        <a:pt x="149" y="75"/>
                      </a:lnTo>
                      <a:lnTo>
                        <a:pt x="153" y="77"/>
                      </a:lnTo>
                      <a:lnTo>
                        <a:pt x="158" y="78"/>
                      </a:lnTo>
                      <a:lnTo>
                        <a:pt x="167" y="8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3" name="Freeform 735"/>
                <p:cNvSpPr>
                  <a:spLocks/>
                </p:cNvSpPr>
                <p:nvPr/>
              </p:nvSpPr>
              <p:spPr bwMode="auto">
                <a:xfrm>
                  <a:off x="5216068" y="5075646"/>
                  <a:ext cx="184984" cy="199783"/>
                </a:xfrm>
                <a:custGeom>
                  <a:avLst/>
                  <a:gdLst>
                    <a:gd name="T0" fmla="*/ 2147483647 w 135"/>
                    <a:gd name="T1" fmla="*/ 2147483647 h 135"/>
                    <a:gd name="T2" fmla="*/ 2147483647 w 135"/>
                    <a:gd name="T3" fmla="*/ 2147483647 h 135"/>
                    <a:gd name="T4" fmla="*/ 2147483647 w 135"/>
                    <a:gd name="T5" fmla="*/ 2147483647 h 135"/>
                    <a:gd name="T6" fmla="*/ 2147483647 w 135"/>
                    <a:gd name="T7" fmla="*/ 2147483647 h 135"/>
                    <a:gd name="T8" fmla="*/ 2147483647 w 135"/>
                    <a:gd name="T9" fmla="*/ 2147483647 h 135"/>
                    <a:gd name="T10" fmla="*/ 2147483647 w 135"/>
                    <a:gd name="T11" fmla="*/ 2147483647 h 135"/>
                    <a:gd name="T12" fmla="*/ 2147483647 w 135"/>
                    <a:gd name="T13" fmla="*/ 2147483647 h 135"/>
                    <a:gd name="T14" fmla="*/ 2147483647 w 135"/>
                    <a:gd name="T15" fmla="*/ 2147483647 h 135"/>
                    <a:gd name="T16" fmla="*/ 2147483647 w 135"/>
                    <a:gd name="T17" fmla="*/ 2147483647 h 135"/>
                    <a:gd name="T18" fmla="*/ 2147483647 w 135"/>
                    <a:gd name="T19" fmla="*/ 2147483647 h 135"/>
                    <a:gd name="T20" fmla="*/ 2147483647 w 135"/>
                    <a:gd name="T21" fmla="*/ 2147483647 h 135"/>
                    <a:gd name="T22" fmla="*/ 2147483647 w 135"/>
                    <a:gd name="T23" fmla="*/ 2147483647 h 135"/>
                    <a:gd name="T24" fmla="*/ 2147483647 w 135"/>
                    <a:gd name="T25" fmla="*/ 2147483647 h 135"/>
                    <a:gd name="T26" fmla="*/ 2147483647 w 135"/>
                    <a:gd name="T27" fmla="*/ 2147483647 h 135"/>
                    <a:gd name="T28" fmla="*/ 2147483647 w 135"/>
                    <a:gd name="T29" fmla="*/ 2147483647 h 135"/>
                    <a:gd name="T30" fmla="*/ 2147483647 w 135"/>
                    <a:gd name="T31" fmla="*/ 2147483647 h 135"/>
                    <a:gd name="T32" fmla="*/ 2147483647 w 135"/>
                    <a:gd name="T33" fmla="*/ 2147483647 h 135"/>
                    <a:gd name="T34" fmla="*/ 2147483647 w 135"/>
                    <a:gd name="T35" fmla="*/ 2147483647 h 135"/>
                    <a:gd name="T36" fmla="*/ 2147483647 w 135"/>
                    <a:gd name="T37" fmla="*/ 2147483647 h 135"/>
                    <a:gd name="T38" fmla="*/ 2147483647 w 135"/>
                    <a:gd name="T39" fmla="*/ 2147483647 h 135"/>
                    <a:gd name="T40" fmla="*/ 2147483647 w 135"/>
                    <a:gd name="T41" fmla="*/ 2147483647 h 135"/>
                    <a:gd name="T42" fmla="*/ 2147483647 w 135"/>
                    <a:gd name="T43" fmla="*/ 0 h 135"/>
                    <a:gd name="T44" fmla="*/ 2147483647 w 135"/>
                    <a:gd name="T45" fmla="*/ 2147483647 h 135"/>
                    <a:gd name="T46" fmla="*/ 2147483647 w 135"/>
                    <a:gd name="T47" fmla="*/ 2147483647 h 135"/>
                    <a:gd name="T48" fmla="*/ 2147483647 w 135"/>
                    <a:gd name="T49" fmla="*/ 2147483647 h 135"/>
                    <a:gd name="T50" fmla="*/ 2147483647 w 135"/>
                    <a:gd name="T51" fmla="*/ 2147483647 h 135"/>
                    <a:gd name="T52" fmla="*/ 2147483647 w 135"/>
                    <a:gd name="T53" fmla="*/ 2147483647 h 135"/>
                    <a:gd name="T54" fmla="*/ 2147483647 w 135"/>
                    <a:gd name="T55" fmla="*/ 2147483647 h 135"/>
                    <a:gd name="T56" fmla="*/ 2147483647 w 135"/>
                    <a:gd name="T57" fmla="*/ 2147483647 h 135"/>
                    <a:gd name="T58" fmla="*/ 2147483647 w 135"/>
                    <a:gd name="T59" fmla="*/ 2147483647 h 135"/>
                    <a:gd name="T60" fmla="*/ 2147483647 w 135"/>
                    <a:gd name="T61" fmla="*/ 2147483647 h 135"/>
                    <a:gd name="T62" fmla="*/ 2147483647 w 135"/>
                    <a:gd name="T63" fmla="*/ 2147483647 h 135"/>
                    <a:gd name="T64" fmla="*/ 2147483647 w 135"/>
                    <a:gd name="T65" fmla="*/ 2147483647 h 135"/>
                    <a:gd name="T66" fmla="*/ 2147483647 w 135"/>
                    <a:gd name="T67" fmla="*/ 2147483647 h 135"/>
                    <a:gd name="T68" fmla="*/ 2147483647 w 135"/>
                    <a:gd name="T69" fmla="*/ 2147483647 h 135"/>
                    <a:gd name="T70" fmla="*/ 2147483647 w 135"/>
                    <a:gd name="T71" fmla="*/ 2147483647 h 135"/>
                    <a:gd name="T72" fmla="*/ 2147483647 w 135"/>
                    <a:gd name="T73" fmla="*/ 2147483647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35"/>
                    <a:gd name="T113" fmla="*/ 135 w 135"/>
                    <a:gd name="T114" fmla="*/ 135 h 1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35">
                      <a:moveTo>
                        <a:pt x="103" y="135"/>
                      </a:moveTo>
                      <a:lnTo>
                        <a:pt x="98" y="132"/>
                      </a:lnTo>
                      <a:lnTo>
                        <a:pt x="93" y="129"/>
                      </a:lnTo>
                      <a:lnTo>
                        <a:pt x="87" y="128"/>
                      </a:lnTo>
                      <a:lnTo>
                        <a:pt x="82" y="129"/>
                      </a:lnTo>
                      <a:lnTo>
                        <a:pt x="77" y="130"/>
                      </a:lnTo>
                      <a:lnTo>
                        <a:pt x="73" y="130"/>
                      </a:lnTo>
                      <a:lnTo>
                        <a:pt x="64" y="123"/>
                      </a:lnTo>
                      <a:lnTo>
                        <a:pt x="59" y="122"/>
                      </a:lnTo>
                      <a:lnTo>
                        <a:pt x="55" y="120"/>
                      </a:lnTo>
                      <a:lnTo>
                        <a:pt x="53" y="116"/>
                      </a:lnTo>
                      <a:lnTo>
                        <a:pt x="51" y="113"/>
                      </a:lnTo>
                      <a:lnTo>
                        <a:pt x="49" y="102"/>
                      </a:lnTo>
                      <a:lnTo>
                        <a:pt x="47" y="91"/>
                      </a:lnTo>
                      <a:lnTo>
                        <a:pt x="45" y="88"/>
                      </a:lnTo>
                      <a:lnTo>
                        <a:pt x="41" y="85"/>
                      </a:lnTo>
                      <a:lnTo>
                        <a:pt x="35" y="84"/>
                      </a:lnTo>
                      <a:lnTo>
                        <a:pt x="30" y="81"/>
                      </a:lnTo>
                      <a:lnTo>
                        <a:pt x="26" y="77"/>
                      </a:lnTo>
                      <a:lnTo>
                        <a:pt x="22" y="74"/>
                      </a:lnTo>
                      <a:lnTo>
                        <a:pt x="16" y="64"/>
                      </a:lnTo>
                      <a:lnTo>
                        <a:pt x="9" y="53"/>
                      </a:lnTo>
                      <a:lnTo>
                        <a:pt x="6" y="49"/>
                      </a:lnTo>
                      <a:lnTo>
                        <a:pt x="3" y="46"/>
                      </a:lnTo>
                      <a:lnTo>
                        <a:pt x="0" y="45"/>
                      </a:lnTo>
                      <a:lnTo>
                        <a:pt x="2" y="44"/>
                      </a:lnTo>
                      <a:lnTo>
                        <a:pt x="2" y="42"/>
                      </a:lnTo>
                      <a:lnTo>
                        <a:pt x="9" y="40"/>
                      </a:lnTo>
                      <a:lnTo>
                        <a:pt x="13" y="40"/>
                      </a:lnTo>
                      <a:lnTo>
                        <a:pt x="17" y="42"/>
                      </a:lnTo>
                      <a:lnTo>
                        <a:pt x="19" y="43"/>
                      </a:lnTo>
                      <a:lnTo>
                        <a:pt x="23" y="43"/>
                      </a:lnTo>
                      <a:lnTo>
                        <a:pt x="30" y="40"/>
                      </a:lnTo>
                      <a:lnTo>
                        <a:pt x="37" y="36"/>
                      </a:lnTo>
                      <a:lnTo>
                        <a:pt x="44" y="28"/>
                      </a:lnTo>
                      <a:lnTo>
                        <a:pt x="50" y="23"/>
                      </a:lnTo>
                      <a:lnTo>
                        <a:pt x="58" y="18"/>
                      </a:lnTo>
                      <a:lnTo>
                        <a:pt x="59" y="15"/>
                      </a:lnTo>
                      <a:lnTo>
                        <a:pt x="60" y="14"/>
                      </a:lnTo>
                      <a:lnTo>
                        <a:pt x="63" y="9"/>
                      </a:lnTo>
                      <a:lnTo>
                        <a:pt x="65" y="5"/>
                      </a:lnTo>
                      <a:lnTo>
                        <a:pt x="72" y="1"/>
                      </a:lnTo>
                      <a:lnTo>
                        <a:pt x="75" y="0"/>
                      </a:lnTo>
                      <a:lnTo>
                        <a:pt x="78" y="0"/>
                      </a:lnTo>
                      <a:lnTo>
                        <a:pt x="82" y="0"/>
                      </a:lnTo>
                      <a:lnTo>
                        <a:pt x="84" y="1"/>
                      </a:lnTo>
                      <a:lnTo>
                        <a:pt x="87" y="6"/>
                      </a:lnTo>
                      <a:lnTo>
                        <a:pt x="91" y="8"/>
                      </a:lnTo>
                      <a:lnTo>
                        <a:pt x="101" y="13"/>
                      </a:lnTo>
                      <a:lnTo>
                        <a:pt x="111" y="18"/>
                      </a:lnTo>
                      <a:lnTo>
                        <a:pt x="116" y="20"/>
                      </a:lnTo>
                      <a:lnTo>
                        <a:pt x="121" y="21"/>
                      </a:lnTo>
                      <a:lnTo>
                        <a:pt x="126" y="24"/>
                      </a:lnTo>
                      <a:lnTo>
                        <a:pt x="130" y="27"/>
                      </a:lnTo>
                      <a:lnTo>
                        <a:pt x="133" y="33"/>
                      </a:lnTo>
                      <a:lnTo>
                        <a:pt x="133" y="39"/>
                      </a:lnTo>
                      <a:lnTo>
                        <a:pt x="134" y="53"/>
                      </a:lnTo>
                      <a:lnTo>
                        <a:pt x="134" y="57"/>
                      </a:lnTo>
                      <a:lnTo>
                        <a:pt x="131" y="60"/>
                      </a:lnTo>
                      <a:lnTo>
                        <a:pt x="129" y="63"/>
                      </a:lnTo>
                      <a:lnTo>
                        <a:pt x="127" y="66"/>
                      </a:lnTo>
                      <a:lnTo>
                        <a:pt x="126" y="70"/>
                      </a:lnTo>
                      <a:lnTo>
                        <a:pt x="126" y="74"/>
                      </a:lnTo>
                      <a:lnTo>
                        <a:pt x="127" y="79"/>
                      </a:lnTo>
                      <a:lnTo>
                        <a:pt x="131" y="87"/>
                      </a:lnTo>
                      <a:lnTo>
                        <a:pt x="134" y="94"/>
                      </a:lnTo>
                      <a:lnTo>
                        <a:pt x="135" y="101"/>
                      </a:lnTo>
                      <a:lnTo>
                        <a:pt x="134" y="106"/>
                      </a:lnTo>
                      <a:lnTo>
                        <a:pt x="133" y="111"/>
                      </a:lnTo>
                      <a:lnTo>
                        <a:pt x="129" y="115"/>
                      </a:lnTo>
                      <a:lnTo>
                        <a:pt x="119" y="123"/>
                      </a:lnTo>
                      <a:lnTo>
                        <a:pt x="108" y="130"/>
                      </a:lnTo>
                      <a:lnTo>
                        <a:pt x="105" y="133"/>
                      </a:lnTo>
                      <a:lnTo>
                        <a:pt x="103" y="134"/>
                      </a:lnTo>
                      <a:lnTo>
                        <a:pt x="103" y="1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4" name="Freeform 736"/>
                <p:cNvSpPr>
                  <a:spLocks/>
                </p:cNvSpPr>
                <p:nvPr/>
              </p:nvSpPr>
              <p:spPr bwMode="auto">
                <a:xfrm>
                  <a:off x="5137638" y="4864021"/>
                  <a:ext cx="275256" cy="275256"/>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2147483647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2147483647 h 186"/>
                    <a:gd name="T22" fmla="*/ 2147483647 w 202"/>
                    <a:gd name="T23" fmla="*/ 2147483647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2147483647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2147483647 w 202"/>
                    <a:gd name="T83" fmla="*/ 2147483647 h 186"/>
                    <a:gd name="T84" fmla="*/ 2147483647 w 202"/>
                    <a:gd name="T85" fmla="*/ 0 h 186"/>
                    <a:gd name="T86" fmla="*/ 2147483647 w 202"/>
                    <a:gd name="T87" fmla="*/ 0 h 186"/>
                    <a:gd name="T88" fmla="*/ 2147483647 w 202"/>
                    <a:gd name="T89" fmla="*/ 2147483647 h 186"/>
                    <a:gd name="T90" fmla="*/ 2147483647 w 202"/>
                    <a:gd name="T91" fmla="*/ 2147483647 h 186"/>
                    <a:gd name="T92" fmla="*/ 2147483647 w 202"/>
                    <a:gd name="T93" fmla="*/ 2147483647 h 186"/>
                    <a:gd name="T94" fmla="*/ 2147483647 w 202"/>
                    <a:gd name="T95" fmla="*/ 2147483647 h 186"/>
                    <a:gd name="T96" fmla="*/ 2147483647 w 202"/>
                    <a:gd name="T97" fmla="*/ 2147483647 h 186"/>
                    <a:gd name="T98" fmla="*/ 2147483647 w 202"/>
                    <a:gd name="T99" fmla="*/ 2147483647 h 186"/>
                    <a:gd name="T100" fmla="*/ 2147483647 w 202"/>
                    <a:gd name="T101" fmla="*/ 2147483647 h 186"/>
                    <a:gd name="T102" fmla="*/ 2147483647 w 202"/>
                    <a:gd name="T103" fmla="*/ 2147483647 h 186"/>
                    <a:gd name="T104" fmla="*/ 2147483647 w 202"/>
                    <a:gd name="T105" fmla="*/ 2147483647 h 186"/>
                    <a:gd name="T106" fmla="*/ 2147483647 w 202"/>
                    <a:gd name="T107" fmla="*/ 2147483647 h 186"/>
                    <a:gd name="T108" fmla="*/ 2147483647 w 202"/>
                    <a:gd name="T109" fmla="*/ 2147483647 h 186"/>
                    <a:gd name="T110" fmla="*/ 2147483647 w 202"/>
                    <a:gd name="T111" fmla="*/ 2147483647 h 1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2"/>
                    <a:gd name="T169" fmla="*/ 0 h 186"/>
                    <a:gd name="T170" fmla="*/ 202 w 202"/>
                    <a:gd name="T171" fmla="*/ 186 h 1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2" h="186">
                      <a:moveTo>
                        <a:pt x="191" y="111"/>
                      </a:moveTo>
                      <a:lnTo>
                        <a:pt x="180" y="117"/>
                      </a:lnTo>
                      <a:lnTo>
                        <a:pt x="169" y="122"/>
                      </a:lnTo>
                      <a:lnTo>
                        <a:pt x="147" y="130"/>
                      </a:lnTo>
                      <a:lnTo>
                        <a:pt x="145" y="131"/>
                      </a:lnTo>
                      <a:lnTo>
                        <a:pt x="142" y="135"/>
                      </a:lnTo>
                      <a:lnTo>
                        <a:pt x="142" y="139"/>
                      </a:lnTo>
                      <a:lnTo>
                        <a:pt x="142" y="144"/>
                      </a:lnTo>
                      <a:lnTo>
                        <a:pt x="140" y="143"/>
                      </a:lnTo>
                      <a:lnTo>
                        <a:pt x="136" y="143"/>
                      </a:lnTo>
                      <a:lnTo>
                        <a:pt x="133" y="143"/>
                      </a:lnTo>
                      <a:lnTo>
                        <a:pt x="130" y="144"/>
                      </a:lnTo>
                      <a:lnTo>
                        <a:pt x="123" y="148"/>
                      </a:lnTo>
                      <a:lnTo>
                        <a:pt x="121" y="152"/>
                      </a:lnTo>
                      <a:lnTo>
                        <a:pt x="118" y="157"/>
                      </a:lnTo>
                      <a:lnTo>
                        <a:pt x="117" y="158"/>
                      </a:lnTo>
                      <a:lnTo>
                        <a:pt x="116" y="161"/>
                      </a:lnTo>
                      <a:lnTo>
                        <a:pt x="108" y="166"/>
                      </a:lnTo>
                      <a:lnTo>
                        <a:pt x="102" y="171"/>
                      </a:lnTo>
                      <a:lnTo>
                        <a:pt x="95" y="179"/>
                      </a:lnTo>
                      <a:lnTo>
                        <a:pt x="88" y="183"/>
                      </a:lnTo>
                      <a:lnTo>
                        <a:pt x="81" y="186"/>
                      </a:lnTo>
                      <a:lnTo>
                        <a:pt x="77" y="186"/>
                      </a:lnTo>
                      <a:lnTo>
                        <a:pt x="75" y="185"/>
                      </a:lnTo>
                      <a:lnTo>
                        <a:pt x="71" y="183"/>
                      </a:lnTo>
                      <a:lnTo>
                        <a:pt x="67" y="183"/>
                      </a:lnTo>
                      <a:lnTo>
                        <a:pt x="60" y="185"/>
                      </a:lnTo>
                      <a:lnTo>
                        <a:pt x="53" y="185"/>
                      </a:lnTo>
                      <a:lnTo>
                        <a:pt x="48" y="185"/>
                      </a:lnTo>
                      <a:lnTo>
                        <a:pt x="43" y="181"/>
                      </a:lnTo>
                      <a:lnTo>
                        <a:pt x="33" y="181"/>
                      </a:lnTo>
                      <a:lnTo>
                        <a:pt x="22" y="182"/>
                      </a:lnTo>
                      <a:lnTo>
                        <a:pt x="0" y="186"/>
                      </a:lnTo>
                      <a:lnTo>
                        <a:pt x="3" y="93"/>
                      </a:lnTo>
                      <a:lnTo>
                        <a:pt x="9" y="93"/>
                      </a:lnTo>
                      <a:lnTo>
                        <a:pt x="20" y="92"/>
                      </a:lnTo>
                      <a:lnTo>
                        <a:pt x="36" y="90"/>
                      </a:lnTo>
                      <a:lnTo>
                        <a:pt x="36" y="54"/>
                      </a:lnTo>
                      <a:lnTo>
                        <a:pt x="42" y="56"/>
                      </a:lnTo>
                      <a:lnTo>
                        <a:pt x="47" y="61"/>
                      </a:lnTo>
                      <a:lnTo>
                        <a:pt x="50" y="62"/>
                      </a:lnTo>
                      <a:lnTo>
                        <a:pt x="53" y="61"/>
                      </a:lnTo>
                      <a:lnTo>
                        <a:pt x="61" y="59"/>
                      </a:lnTo>
                      <a:lnTo>
                        <a:pt x="60" y="64"/>
                      </a:lnTo>
                      <a:lnTo>
                        <a:pt x="60" y="67"/>
                      </a:lnTo>
                      <a:lnTo>
                        <a:pt x="60" y="70"/>
                      </a:lnTo>
                      <a:lnTo>
                        <a:pt x="62" y="71"/>
                      </a:lnTo>
                      <a:lnTo>
                        <a:pt x="67" y="72"/>
                      </a:lnTo>
                      <a:lnTo>
                        <a:pt x="74" y="72"/>
                      </a:lnTo>
                      <a:lnTo>
                        <a:pt x="79" y="71"/>
                      </a:lnTo>
                      <a:lnTo>
                        <a:pt x="90" y="64"/>
                      </a:lnTo>
                      <a:lnTo>
                        <a:pt x="91" y="64"/>
                      </a:lnTo>
                      <a:lnTo>
                        <a:pt x="93" y="64"/>
                      </a:lnTo>
                      <a:lnTo>
                        <a:pt x="95" y="66"/>
                      </a:lnTo>
                      <a:lnTo>
                        <a:pt x="98" y="71"/>
                      </a:lnTo>
                      <a:lnTo>
                        <a:pt x="105" y="80"/>
                      </a:lnTo>
                      <a:lnTo>
                        <a:pt x="109" y="85"/>
                      </a:lnTo>
                      <a:lnTo>
                        <a:pt x="114" y="87"/>
                      </a:lnTo>
                      <a:lnTo>
                        <a:pt x="117" y="90"/>
                      </a:lnTo>
                      <a:lnTo>
                        <a:pt x="118" y="93"/>
                      </a:lnTo>
                      <a:lnTo>
                        <a:pt x="119" y="96"/>
                      </a:lnTo>
                      <a:lnTo>
                        <a:pt x="122" y="99"/>
                      </a:lnTo>
                      <a:lnTo>
                        <a:pt x="124" y="100"/>
                      </a:lnTo>
                      <a:lnTo>
                        <a:pt x="130" y="102"/>
                      </a:lnTo>
                      <a:lnTo>
                        <a:pt x="133" y="102"/>
                      </a:lnTo>
                      <a:lnTo>
                        <a:pt x="135" y="100"/>
                      </a:lnTo>
                      <a:lnTo>
                        <a:pt x="135" y="88"/>
                      </a:lnTo>
                      <a:lnTo>
                        <a:pt x="135" y="84"/>
                      </a:lnTo>
                      <a:lnTo>
                        <a:pt x="135" y="81"/>
                      </a:lnTo>
                      <a:lnTo>
                        <a:pt x="133" y="81"/>
                      </a:lnTo>
                      <a:lnTo>
                        <a:pt x="130" y="81"/>
                      </a:lnTo>
                      <a:lnTo>
                        <a:pt x="126" y="79"/>
                      </a:lnTo>
                      <a:lnTo>
                        <a:pt x="121" y="77"/>
                      </a:lnTo>
                      <a:lnTo>
                        <a:pt x="118" y="73"/>
                      </a:lnTo>
                      <a:lnTo>
                        <a:pt x="114" y="68"/>
                      </a:lnTo>
                      <a:lnTo>
                        <a:pt x="112" y="64"/>
                      </a:lnTo>
                      <a:lnTo>
                        <a:pt x="111" y="59"/>
                      </a:lnTo>
                      <a:lnTo>
                        <a:pt x="111" y="54"/>
                      </a:lnTo>
                      <a:lnTo>
                        <a:pt x="112" y="36"/>
                      </a:lnTo>
                      <a:lnTo>
                        <a:pt x="113" y="23"/>
                      </a:lnTo>
                      <a:lnTo>
                        <a:pt x="116" y="15"/>
                      </a:lnTo>
                      <a:lnTo>
                        <a:pt x="121" y="8"/>
                      </a:lnTo>
                      <a:lnTo>
                        <a:pt x="121" y="5"/>
                      </a:lnTo>
                      <a:lnTo>
                        <a:pt x="121" y="3"/>
                      </a:lnTo>
                      <a:lnTo>
                        <a:pt x="122" y="1"/>
                      </a:lnTo>
                      <a:lnTo>
                        <a:pt x="122" y="0"/>
                      </a:lnTo>
                      <a:lnTo>
                        <a:pt x="138" y="0"/>
                      </a:lnTo>
                      <a:lnTo>
                        <a:pt x="146" y="0"/>
                      </a:lnTo>
                      <a:lnTo>
                        <a:pt x="154" y="3"/>
                      </a:lnTo>
                      <a:lnTo>
                        <a:pt x="157" y="4"/>
                      </a:lnTo>
                      <a:lnTo>
                        <a:pt x="168" y="11"/>
                      </a:lnTo>
                      <a:lnTo>
                        <a:pt x="173" y="14"/>
                      </a:lnTo>
                      <a:lnTo>
                        <a:pt x="179" y="16"/>
                      </a:lnTo>
                      <a:lnTo>
                        <a:pt x="180" y="17"/>
                      </a:lnTo>
                      <a:lnTo>
                        <a:pt x="183" y="20"/>
                      </a:lnTo>
                      <a:lnTo>
                        <a:pt x="187" y="21"/>
                      </a:lnTo>
                      <a:lnTo>
                        <a:pt x="191" y="22"/>
                      </a:lnTo>
                      <a:lnTo>
                        <a:pt x="191" y="24"/>
                      </a:lnTo>
                      <a:lnTo>
                        <a:pt x="191" y="26"/>
                      </a:lnTo>
                      <a:lnTo>
                        <a:pt x="197" y="37"/>
                      </a:lnTo>
                      <a:lnTo>
                        <a:pt x="199" y="43"/>
                      </a:lnTo>
                      <a:lnTo>
                        <a:pt x="199" y="49"/>
                      </a:lnTo>
                      <a:lnTo>
                        <a:pt x="199" y="67"/>
                      </a:lnTo>
                      <a:lnTo>
                        <a:pt x="199" y="77"/>
                      </a:lnTo>
                      <a:lnTo>
                        <a:pt x="202" y="85"/>
                      </a:lnTo>
                      <a:lnTo>
                        <a:pt x="202" y="87"/>
                      </a:lnTo>
                      <a:lnTo>
                        <a:pt x="201" y="90"/>
                      </a:lnTo>
                      <a:lnTo>
                        <a:pt x="197" y="93"/>
                      </a:lnTo>
                      <a:lnTo>
                        <a:pt x="193" y="97"/>
                      </a:lnTo>
                      <a:lnTo>
                        <a:pt x="191" y="100"/>
                      </a:lnTo>
                      <a:lnTo>
                        <a:pt x="189" y="103"/>
                      </a:lnTo>
                      <a:lnTo>
                        <a:pt x="189" y="106"/>
                      </a:lnTo>
                      <a:lnTo>
                        <a:pt x="191" y="1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5" name="Freeform 737"/>
                <p:cNvSpPr>
                  <a:spLocks/>
                </p:cNvSpPr>
                <p:nvPr/>
              </p:nvSpPr>
              <p:spPr bwMode="auto">
                <a:xfrm>
                  <a:off x="5214590" y="5074163"/>
                  <a:ext cx="184984" cy="199782"/>
                </a:xfrm>
                <a:custGeom>
                  <a:avLst/>
                  <a:gdLst>
                    <a:gd name="T0" fmla="*/ 2147483647 w 135"/>
                    <a:gd name="T1" fmla="*/ 2147483647 h 135"/>
                    <a:gd name="T2" fmla="*/ 2147483647 w 135"/>
                    <a:gd name="T3" fmla="*/ 2147483647 h 135"/>
                    <a:gd name="T4" fmla="*/ 2147483647 w 135"/>
                    <a:gd name="T5" fmla="*/ 2147483647 h 135"/>
                    <a:gd name="T6" fmla="*/ 2147483647 w 135"/>
                    <a:gd name="T7" fmla="*/ 2147483647 h 135"/>
                    <a:gd name="T8" fmla="*/ 2147483647 w 135"/>
                    <a:gd name="T9" fmla="*/ 2147483647 h 135"/>
                    <a:gd name="T10" fmla="*/ 2147483647 w 135"/>
                    <a:gd name="T11" fmla="*/ 2147483647 h 135"/>
                    <a:gd name="T12" fmla="*/ 2147483647 w 135"/>
                    <a:gd name="T13" fmla="*/ 2147483647 h 135"/>
                    <a:gd name="T14" fmla="*/ 2147483647 w 135"/>
                    <a:gd name="T15" fmla="*/ 2147483647 h 135"/>
                    <a:gd name="T16" fmla="*/ 2147483647 w 135"/>
                    <a:gd name="T17" fmla="*/ 2147483647 h 135"/>
                    <a:gd name="T18" fmla="*/ 2147483647 w 135"/>
                    <a:gd name="T19" fmla="*/ 2147483647 h 135"/>
                    <a:gd name="T20" fmla="*/ 2147483647 w 135"/>
                    <a:gd name="T21" fmla="*/ 2147483647 h 135"/>
                    <a:gd name="T22" fmla="*/ 2147483647 w 135"/>
                    <a:gd name="T23" fmla="*/ 2147483647 h 135"/>
                    <a:gd name="T24" fmla="*/ 2147483647 w 135"/>
                    <a:gd name="T25" fmla="*/ 2147483647 h 135"/>
                    <a:gd name="T26" fmla="*/ 2147483647 w 135"/>
                    <a:gd name="T27" fmla="*/ 2147483647 h 135"/>
                    <a:gd name="T28" fmla="*/ 2147483647 w 135"/>
                    <a:gd name="T29" fmla="*/ 2147483647 h 135"/>
                    <a:gd name="T30" fmla="*/ 0 w 135"/>
                    <a:gd name="T31" fmla="*/ 2147483647 h 135"/>
                    <a:gd name="T32" fmla="*/ 2147483647 w 135"/>
                    <a:gd name="T33" fmla="*/ 2147483647 h 135"/>
                    <a:gd name="T34" fmla="*/ 2147483647 w 135"/>
                    <a:gd name="T35" fmla="*/ 2147483647 h 135"/>
                    <a:gd name="T36" fmla="*/ 2147483647 w 135"/>
                    <a:gd name="T37" fmla="*/ 2147483647 h 135"/>
                    <a:gd name="T38" fmla="*/ 2147483647 w 135"/>
                    <a:gd name="T39" fmla="*/ 2147483647 h 135"/>
                    <a:gd name="T40" fmla="*/ 2147483647 w 135"/>
                    <a:gd name="T41" fmla="*/ 2147483647 h 135"/>
                    <a:gd name="T42" fmla="*/ 2147483647 w 135"/>
                    <a:gd name="T43" fmla="*/ 2147483647 h 135"/>
                    <a:gd name="T44" fmla="*/ 2147483647 w 135"/>
                    <a:gd name="T45" fmla="*/ 2147483647 h 135"/>
                    <a:gd name="T46" fmla="*/ 2147483647 w 135"/>
                    <a:gd name="T47" fmla="*/ 2147483647 h 135"/>
                    <a:gd name="T48" fmla="*/ 2147483647 w 135"/>
                    <a:gd name="T49" fmla="*/ 2147483647 h 135"/>
                    <a:gd name="T50" fmla="*/ 2147483647 w 135"/>
                    <a:gd name="T51" fmla="*/ 2147483647 h 135"/>
                    <a:gd name="T52" fmla="*/ 2147483647 w 135"/>
                    <a:gd name="T53" fmla="*/ 2147483647 h 135"/>
                    <a:gd name="T54" fmla="*/ 2147483647 w 135"/>
                    <a:gd name="T55" fmla="*/ 0 h 135"/>
                    <a:gd name="T56" fmla="*/ 2147483647 w 135"/>
                    <a:gd name="T57" fmla="*/ 0 h 135"/>
                    <a:gd name="T58" fmla="*/ 2147483647 w 135"/>
                    <a:gd name="T59" fmla="*/ 2147483647 h 135"/>
                    <a:gd name="T60" fmla="*/ 2147483647 w 135"/>
                    <a:gd name="T61" fmla="*/ 2147483647 h 135"/>
                    <a:gd name="T62" fmla="*/ 2147483647 w 135"/>
                    <a:gd name="T63" fmla="*/ 2147483647 h 135"/>
                    <a:gd name="T64" fmla="*/ 2147483647 w 135"/>
                    <a:gd name="T65" fmla="*/ 2147483647 h 135"/>
                    <a:gd name="T66" fmla="*/ 2147483647 w 135"/>
                    <a:gd name="T67" fmla="*/ 2147483647 h 135"/>
                    <a:gd name="T68" fmla="*/ 2147483647 w 135"/>
                    <a:gd name="T69" fmla="*/ 2147483647 h 135"/>
                    <a:gd name="T70" fmla="*/ 2147483647 w 135"/>
                    <a:gd name="T71" fmla="*/ 2147483647 h 135"/>
                    <a:gd name="T72" fmla="*/ 2147483647 w 135"/>
                    <a:gd name="T73" fmla="*/ 2147483647 h 135"/>
                    <a:gd name="T74" fmla="*/ 2147483647 w 135"/>
                    <a:gd name="T75" fmla="*/ 2147483647 h 135"/>
                    <a:gd name="T76" fmla="*/ 2147483647 w 135"/>
                    <a:gd name="T77" fmla="*/ 2147483647 h 135"/>
                    <a:gd name="T78" fmla="*/ 2147483647 w 135"/>
                    <a:gd name="T79" fmla="*/ 2147483647 h 135"/>
                    <a:gd name="T80" fmla="*/ 2147483647 w 135"/>
                    <a:gd name="T81" fmla="*/ 2147483647 h 135"/>
                    <a:gd name="T82" fmla="*/ 2147483647 w 135"/>
                    <a:gd name="T83" fmla="*/ 2147483647 h 135"/>
                    <a:gd name="T84" fmla="*/ 2147483647 w 135"/>
                    <a:gd name="T85" fmla="*/ 2147483647 h 135"/>
                    <a:gd name="T86" fmla="*/ 2147483647 w 135"/>
                    <a:gd name="T87" fmla="*/ 2147483647 h 135"/>
                    <a:gd name="T88" fmla="*/ 2147483647 w 135"/>
                    <a:gd name="T89" fmla="*/ 2147483647 h 135"/>
                    <a:gd name="T90" fmla="*/ 2147483647 w 135"/>
                    <a:gd name="T91" fmla="*/ 2147483647 h 135"/>
                    <a:gd name="T92" fmla="*/ 2147483647 w 135"/>
                    <a:gd name="T93" fmla="*/ 2147483647 h 135"/>
                    <a:gd name="T94" fmla="*/ 2147483647 w 135"/>
                    <a:gd name="T95" fmla="*/ 2147483647 h 135"/>
                    <a:gd name="T96" fmla="*/ 2147483647 w 135"/>
                    <a:gd name="T97" fmla="*/ 2147483647 h 13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5"/>
                    <a:gd name="T148" fmla="*/ 0 h 135"/>
                    <a:gd name="T149" fmla="*/ 135 w 135"/>
                    <a:gd name="T150" fmla="*/ 135 h 13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5" h="135">
                      <a:moveTo>
                        <a:pt x="103" y="135"/>
                      </a:moveTo>
                      <a:lnTo>
                        <a:pt x="103" y="135"/>
                      </a:lnTo>
                      <a:lnTo>
                        <a:pt x="98" y="131"/>
                      </a:lnTo>
                      <a:lnTo>
                        <a:pt x="93" y="129"/>
                      </a:lnTo>
                      <a:lnTo>
                        <a:pt x="87" y="128"/>
                      </a:lnTo>
                      <a:lnTo>
                        <a:pt x="81" y="129"/>
                      </a:lnTo>
                      <a:lnTo>
                        <a:pt x="76" y="130"/>
                      </a:lnTo>
                      <a:lnTo>
                        <a:pt x="73" y="130"/>
                      </a:lnTo>
                      <a:lnTo>
                        <a:pt x="64" y="123"/>
                      </a:lnTo>
                      <a:lnTo>
                        <a:pt x="59" y="122"/>
                      </a:lnTo>
                      <a:lnTo>
                        <a:pt x="55" y="120"/>
                      </a:lnTo>
                      <a:lnTo>
                        <a:pt x="52" y="116"/>
                      </a:lnTo>
                      <a:lnTo>
                        <a:pt x="51" y="112"/>
                      </a:lnTo>
                      <a:lnTo>
                        <a:pt x="48" y="102"/>
                      </a:lnTo>
                      <a:lnTo>
                        <a:pt x="47" y="91"/>
                      </a:lnTo>
                      <a:lnTo>
                        <a:pt x="45" y="88"/>
                      </a:lnTo>
                      <a:lnTo>
                        <a:pt x="41" y="85"/>
                      </a:lnTo>
                      <a:lnTo>
                        <a:pt x="34" y="84"/>
                      </a:lnTo>
                      <a:lnTo>
                        <a:pt x="29" y="80"/>
                      </a:lnTo>
                      <a:lnTo>
                        <a:pt x="26" y="77"/>
                      </a:lnTo>
                      <a:lnTo>
                        <a:pt x="22" y="73"/>
                      </a:lnTo>
                      <a:lnTo>
                        <a:pt x="15" y="64"/>
                      </a:lnTo>
                      <a:lnTo>
                        <a:pt x="9" y="53"/>
                      </a:lnTo>
                      <a:lnTo>
                        <a:pt x="5" y="48"/>
                      </a:lnTo>
                      <a:lnTo>
                        <a:pt x="3" y="46"/>
                      </a:lnTo>
                      <a:lnTo>
                        <a:pt x="0" y="45"/>
                      </a:lnTo>
                      <a:lnTo>
                        <a:pt x="1" y="44"/>
                      </a:lnTo>
                      <a:lnTo>
                        <a:pt x="1" y="41"/>
                      </a:lnTo>
                      <a:lnTo>
                        <a:pt x="9" y="40"/>
                      </a:lnTo>
                      <a:lnTo>
                        <a:pt x="13" y="40"/>
                      </a:lnTo>
                      <a:lnTo>
                        <a:pt x="17" y="41"/>
                      </a:lnTo>
                      <a:lnTo>
                        <a:pt x="19" y="43"/>
                      </a:lnTo>
                      <a:lnTo>
                        <a:pt x="23" y="43"/>
                      </a:lnTo>
                      <a:lnTo>
                        <a:pt x="29" y="40"/>
                      </a:lnTo>
                      <a:lnTo>
                        <a:pt x="37" y="35"/>
                      </a:lnTo>
                      <a:lnTo>
                        <a:pt x="43" y="28"/>
                      </a:lnTo>
                      <a:lnTo>
                        <a:pt x="50" y="22"/>
                      </a:lnTo>
                      <a:lnTo>
                        <a:pt x="57" y="18"/>
                      </a:lnTo>
                      <a:lnTo>
                        <a:pt x="59" y="15"/>
                      </a:lnTo>
                      <a:lnTo>
                        <a:pt x="60" y="14"/>
                      </a:lnTo>
                      <a:lnTo>
                        <a:pt x="62" y="9"/>
                      </a:lnTo>
                      <a:lnTo>
                        <a:pt x="65" y="5"/>
                      </a:lnTo>
                      <a:lnTo>
                        <a:pt x="71" y="1"/>
                      </a:lnTo>
                      <a:lnTo>
                        <a:pt x="75" y="0"/>
                      </a:lnTo>
                      <a:lnTo>
                        <a:pt x="78" y="0"/>
                      </a:lnTo>
                      <a:lnTo>
                        <a:pt x="81" y="0"/>
                      </a:lnTo>
                      <a:lnTo>
                        <a:pt x="84" y="1"/>
                      </a:lnTo>
                      <a:lnTo>
                        <a:pt x="87" y="6"/>
                      </a:lnTo>
                      <a:lnTo>
                        <a:pt x="90" y="8"/>
                      </a:lnTo>
                      <a:lnTo>
                        <a:pt x="100" y="13"/>
                      </a:lnTo>
                      <a:lnTo>
                        <a:pt x="111" y="18"/>
                      </a:lnTo>
                      <a:lnTo>
                        <a:pt x="116" y="20"/>
                      </a:lnTo>
                      <a:lnTo>
                        <a:pt x="121" y="21"/>
                      </a:lnTo>
                      <a:lnTo>
                        <a:pt x="126" y="24"/>
                      </a:lnTo>
                      <a:lnTo>
                        <a:pt x="130" y="27"/>
                      </a:lnTo>
                      <a:lnTo>
                        <a:pt x="132" y="33"/>
                      </a:lnTo>
                      <a:lnTo>
                        <a:pt x="132" y="39"/>
                      </a:lnTo>
                      <a:lnTo>
                        <a:pt x="134" y="53"/>
                      </a:lnTo>
                      <a:lnTo>
                        <a:pt x="134" y="57"/>
                      </a:lnTo>
                      <a:lnTo>
                        <a:pt x="131" y="60"/>
                      </a:lnTo>
                      <a:lnTo>
                        <a:pt x="128" y="63"/>
                      </a:lnTo>
                      <a:lnTo>
                        <a:pt x="127" y="66"/>
                      </a:lnTo>
                      <a:lnTo>
                        <a:pt x="126" y="70"/>
                      </a:lnTo>
                      <a:lnTo>
                        <a:pt x="126" y="73"/>
                      </a:lnTo>
                      <a:lnTo>
                        <a:pt x="127" y="79"/>
                      </a:lnTo>
                      <a:lnTo>
                        <a:pt x="131" y="86"/>
                      </a:lnTo>
                      <a:lnTo>
                        <a:pt x="134" y="93"/>
                      </a:lnTo>
                      <a:lnTo>
                        <a:pt x="135" y="101"/>
                      </a:lnTo>
                      <a:lnTo>
                        <a:pt x="134" y="105"/>
                      </a:lnTo>
                      <a:lnTo>
                        <a:pt x="132" y="111"/>
                      </a:lnTo>
                      <a:lnTo>
                        <a:pt x="128" y="115"/>
                      </a:lnTo>
                      <a:lnTo>
                        <a:pt x="118" y="123"/>
                      </a:lnTo>
                      <a:lnTo>
                        <a:pt x="108" y="130"/>
                      </a:lnTo>
                      <a:lnTo>
                        <a:pt x="104" y="133"/>
                      </a:lnTo>
                      <a:lnTo>
                        <a:pt x="103" y="134"/>
                      </a:lnTo>
                      <a:lnTo>
                        <a:pt x="103" y="1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6" name="Freeform 738"/>
                <p:cNvSpPr>
                  <a:spLocks/>
                </p:cNvSpPr>
                <p:nvPr/>
              </p:nvSpPr>
              <p:spPr bwMode="auto">
                <a:xfrm>
                  <a:off x="5136159" y="4861063"/>
                  <a:ext cx="275256" cy="276736"/>
                </a:xfrm>
                <a:custGeom>
                  <a:avLst/>
                  <a:gdLst>
                    <a:gd name="T0" fmla="*/ 2147483647 w 202"/>
                    <a:gd name="T1" fmla="*/ 2147483647 h 187"/>
                    <a:gd name="T2" fmla="*/ 2147483647 w 202"/>
                    <a:gd name="T3" fmla="*/ 2147483647 h 187"/>
                    <a:gd name="T4" fmla="*/ 2147483647 w 202"/>
                    <a:gd name="T5" fmla="*/ 2147483647 h 187"/>
                    <a:gd name="T6" fmla="*/ 2147483647 w 202"/>
                    <a:gd name="T7" fmla="*/ 2147483647 h 187"/>
                    <a:gd name="T8" fmla="*/ 2147483647 w 202"/>
                    <a:gd name="T9" fmla="*/ 2147483647 h 187"/>
                    <a:gd name="T10" fmla="*/ 2147483647 w 202"/>
                    <a:gd name="T11" fmla="*/ 2147483647 h 187"/>
                    <a:gd name="T12" fmla="*/ 2147483647 w 202"/>
                    <a:gd name="T13" fmla="*/ 2147483647 h 187"/>
                    <a:gd name="T14" fmla="*/ 2147483647 w 202"/>
                    <a:gd name="T15" fmla="*/ 2147483647 h 187"/>
                    <a:gd name="T16" fmla="*/ 2147483647 w 202"/>
                    <a:gd name="T17" fmla="*/ 2147483647 h 187"/>
                    <a:gd name="T18" fmla="*/ 2147483647 w 202"/>
                    <a:gd name="T19" fmla="*/ 2147483647 h 187"/>
                    <a:gd name="T20" fmla="*/ 2147483647 w 202"/>
                    <a:gd name="T21" fmla="*/ 2147483647 h 187"/>
                    <a:gd name="T22" fmla="*/ 2147483647 w 202"/>
                    <a:gd name="T23" fmla="*/ 2147483647 h 187"/>
                    <a:gd name="T24" fmla="*/ 2147483647 w 202"/>
                    <a:gd name="T25" fmla="*/ 2147483647 h 187"/>
                    <a:gd name="T26" fmla="*/ 2147483647 w 202"/>
                    <a:gd name="T27" fmla="*/ 2147483647 h 187"/>
                    <a:gd name="T28" fmla="*/ 2147483647 w 202"/>
                    <a:gd name="T29" fmla="*/ 2147483647 h 187"/>
                    <a:gd name="T30" fmla="*/ 2147483647 w 202"/>
                    <a:gd name="T31" fmla="*/ 2147483647 h 187"/>
                    <a:gd name="T32" fmla="*/ 2147483647 w 202"/>
                    <a:gd name="T33" fmla="*/ 2147483647 h 187"/>
                    <a:gd name="T34" fmla="*/ 2147483647 w 202"/>
                    <a:gd name="T35" fmla="*/ 2147483647 h 187"/>
                    <a:gd name="T36" fmla="*/ 2147483647 w 202"/>
                    <a:gd name="T37" fmla="*/ 2147483647 h 187"/>
                    <a:gd name="T38" fmla="*/ 2147483647 w 202"/>
                    <a:gd name="T39" fmla="*/ 2147483647 h 187"/>
                    <a:gd name="T40" fmla="*/ 2147483647 w 202"/>
                    <a:gd name="T41" fmla="*/ 2147483647 h 187"/>
                    <a:gd name="T42" fmla="*/ 2147483647 w 202"/>
                    <a:gd name="T43" fmla="*/ 2147483647 h 187"/>
                    <a:gd name="T44" fmla="*/ 2147483647 w 202"/>
                    <a:gd name="T45" fmla="*/ 2147483647 h 187"/>
                    <a:gd name="T46" fmla="*/ 2147483647 w 202"/>
                    <a:gd name="T47" fmla="*/ 2147483647 h 187"/>
                    <a:gd name="T48" fmla="*/ 2147483647 w 202"/>
                    <a:gd name="T49" fmla="*/ 2147483647 h 187"/>
                    <a:gd name="T50" fmla="*/ 2147483647 w 202"/>
                    <a:gd name="T51" fmla="*/ 2147483647 h 187"/>
                    <a:gd name="T52" fmla="*/ 2147483647 w 202"/>
                    <a:gd name="T53" fmla="*/ 2147483647 h 187"/>
                    <a:gd name="T54" fmla="*/ 2147483647 w 202"/>
                    <a:gd name="T55" fmla="*/ 2147483647 h 187"/>
                    <a:gd name="T56" fmla="*/ 2147483647 w 202"/>
                    <a:gd name="T57" fmla="*/ 2147483647 h 187"/>
                    <a:gd name="T58" fmla="*/ 2147483647 w 202"/>
                    <a:gd name="T59" fmla="*/ 2147483647 h 187"/>
                    <a:gd name="T60" fmla="*/ 2147483647 w 202"/>
                    <a:gd name="T61" fmla="*/ 2147483647 h 187"/>
                    <a:gd name="T62" fmla="*/ 2147483647 w 202"/>
                    <a:gd name="T63" fmla="*/ 2147483647 h 187"/>
                    <a:gd name="T64" fmla="*/ 2147483647 w 202"/>
                    <a:gd name="T65" fmla="*/ 2147483647 h 187"/>
                    <a:gd name="T66" fmla="*/ 2147483647 w 202"/>
                    <a:gd name="T67" fmla="*/ 2147483647 h 187"/>
                    <a:gd name="T68" fmla="*/ 2147483647 w 202"/>
                    <a:gd name="T69" fmla="*/ 2147483647 h 187"/>
                    <a:gd name="T70" fmla="*/ 2147483647 w 202"/>
                    <a:gd name="T71" fmla="*/ 2147483647 h 187"/>
                    <a:gd name="T72" fmla="*/ 2147483647 w 202"/>
                    <a:gd name="T73" fmla="*/ 0 h 187"/>
                    <a:gd name="T74" fmla="*/ 2147483647 w 202"/>
                    <a:gd name="T75" fmla="*/ 0 h 187"/>
                    <a:gd name="T76" fmla="*/ 2147483647 w 202"/>
                    <a:gd name="T77" fmla="*/ 2147483647 h 187"/>
                    <a:gd name="T78" fmla="*/ 2147483647 w 202"/>
                    <a:gd name="T79" fmla="*/ 2147483647 h 187"/>
                    <a:gd name="T80" fmla="*/ 2147483647 w 202"/>
                    <a:gd name="T81" fmla="*/ 2147483647 h 187"/>
                    <a:gd name="T82" fmla="*/ 2147483647 w 202"/>
                    <a:gd name="T83" fmla="*/ 2147483647 h 187"/>
                    <a:gd name="T84" fmla="*/ 2147483647 w 202"/>
                    <a:gd name="T85" fmla="*/ 2147483647 h 187"/>
                    <a:gd name="T86" fmla="*/ 2147483647 w 202"/>
                    <a:gd name="T87" fmla="*/ 2147483647 h 187"/>
                    <a:gd name="T88" fmla="*/ 2147483647 w 202"/>
                    <a:gd name="T89" fmla="*/ 2147483647 h 187"/>
                    <a:gd name="T90" fmla="*/ 2147483647 w 202"/>
                    <a:gd name="T91" fmla="*/ 2147483647 h 187"/>
                    <a:gd name="T92" fmla="*/ 2147483647 w 202"/>
                    <a:gd name="T93" fmla="*/ 2147483647 h 187"/>
                    <a:gd name="T94" fmla="*/ 2147483647 w 202"/>
                    <a:gd name="T95" fmla="*/ 2147483647 h 187"/>
                    <a:gd name="T96" fmla="*/ 2147483647 w 202"/>
                    <a:gd name="T97" fmla="*/ 2147483647 h 187"/>
                    <a:gd name="T98" fmla="*/ 2147483647 w 202"/>
                    <a:gd name="T99" fmla="*/ 2147483647 h 1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87"/>
                    <a:gd name="T152" fmla="*/ 202 w 202"/>
                    <a:gd name="T153" fmla="*/ 187 h 1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87">
                      <a:moveTo>
                        <a:pt x="190" y="112"/>
                      </a:moveTo>
                      <a:lnTo>
                        <a:pt x="190" y="112"/>
                      </a:lnTo>
                      <a:lnTo>
                        <a:pt x="180" y="118"/>
                      </a:lnTo>
                      <a:lnTo>
                        <a:pt x="169" y="122"/>
                      </a:lnTo>
                      <a:lnTo>
                        <a:pt x="147" y="131"/>
                      </a:lnTo>
                      <a:lnTo>
                        <a:pt x="145" y="132"/>
                      </a:lnTo>
                      <a:lnTo>
                        <a:pt x="142" y="136"/>
                      </a:lnTo>
                      <a:lnTo>
                        <a:pt x="142" y="140"/>
                      </a:lnTo>
                      <a:lnTo>
                        <a:pt x="142" y="145"/>
                      </a:lnTo>
                      <a:lnTo>
                        <a:pt x="139" y="144"/>
                      </a:lnTo>
                      <a:lnTo>
                        <a:pt x="136" y="144"/>
                      </a:lnTo>
                      <a:lnTo>
                        <a:pt x="133" y="144"/>
                      </a:lnTo>
                      <a:lnTo>
                        <a:pt x="129" y="145"/>
                      </a:lnTo>
                      <a:lnTo>
                        <a:pt x="123" y="149"/>
                      </a:lnTo>
                      <a:lnTo>
                        <a:pt x="120" y="153"/>
                      </a:lnTo>
                      <a:lnTo>
                        <a:pt x="118" y="158"/>
                      </a:lnTo>
                      <a:lnTo>
                        <a:pt x="117" y="159"/>
                      </a:lnTo>
                      <a:lnTo>
                        <a:pt x="115" y="162"/>
                      </a:lnTo>
                      <a:lnTo>
                        <a:pt x="108" y="166"/>
                      </a:lnTo>
                      <a:lnTo>
                        <a:pt x="101" y="172"/>
                      </a:lnTo>
                      <a:lnTo>
                        <a:pt x="95" y="179"/>
                      </a:lnTo>
                      <a:lnTo>
                        <a:pt x="87" y="184"/>
                      </a:lnTo>
                      <a:lnTo>
                        <a:pt x="81" y="187"/>
                      </a:lnTo>
                      <a:lnTo>
                        <a:pt x="77" y="187"/>
                      </a:lnTo>
                      <a:lnTo>
                        <a:pt x="75" y="185"/>
                      </a:lnTo>
                      <a:lnTo>
                        <a:pt x="71" y="184"/>
                      </a:lnTo>
                      <a:lnTo>
                        <a:pt x="67" y="184"/>
                      </a:lnTo>
                      <a:lnTo>
                        <a:pt x="59" y="185"/>
                      </a:lnTo>
                      <a:lnTo>
                        <a:pt x="53" y="185"/>
                      </a:lnTo>
                      <a:lnTo>
                        <a:pt x="48" y="185"/>
                      </a:lnTo>
                      <a:lnTo>
                        <a:pt x="43" y="182"/>
                      </a:lnTo>
                      <a:lnTo>
                        <a:pt x="33" y="182"/>
                      </a:lnTo>
                      <a:lnTo>
                        <a:pt x="21" y="183"/>
                      </a:lnTo>
                      <a:lnTo>
                        <a:pt x="0" y="187"/>
                      </a:lnTo>
                      <a:lnTo>
                        <a:pt x="2" y="94"/>
                      </a:lnTo>
                      <a:lnTo>
                        <a:pt x="9" y="94"/>
                      </a:lnTo>
                      <a:lnTo>
                        <a:pt x="20" y="93"/>
                      </a:lnTo>
                      <a:lnTo>
                        <a:pt x="35" y="90"/>
                      </a:lnTo>
                      <a:lnTo>
                        <a:pt x="35" y="55"/>
                      </a:lnTo>
                      <a:lnTo>
                        <a:pt x="42" y="57"/>
                      </a:lnTo>
                      <a:lnTo>
                        <a:pt x="47" y="62"/>
                      </a:lnTo>
                      <a:lnTo>
                        <a:pt x="49" y="63"/>
                      </a:lnTo>
                      <a:lnTo>
                        <a:pt x="53" y="62"/>
                      </a:lnTo>
                      <a:lnTo>
                        <a:pt x="61" y="60"/>
                      </a:lnTo>
                      <a:lnTo>
                        <a:pt x="59" y="64"/>
                      </a:lnTo>
                      <a:lnTo>
                        <a:pt x="59" y="68"/>
                      </a:lnTo>
                      <a:lnTo>
                        <a:pt x="59" y="70"/>
                      </a:lnTo>
                      <a:lnTo>
                        <a:pt x="62" y="72"/>
                      </a:lnTo>
                      <a:lnTo>
                        <a:pt x="67" y="73"/>
                      </a:lnTo>
                      <a:lnTo>
                        <a:pt x="73" y="73"/>
                      </a:lnTo>
                      <a:lnTo>
                        <a:pt x="78" y="72"/>
                      </a:lnTo>
                      <a:lnTo>
                        <a:pt x="90" y="64"/>
                      </a:lnTo>
                      <a:lnTo>
                        <a:pt x="91" y="64"/>
                      </a:lnTo>
                      <a:lnTo>
                        <a:pt x="92" y="64"/>
                      </a:lnTo>
                      <a:lnTo>
                        <a:pt x="95" y="67"/>
                      </a:lnTo>
                      <a:lnTo>
                        <a:pt x="98" y="72"/>
                      </a:lnTo>
                      <a:lnTo>
                        <a:pt x="105" y="81"/>
                      </a:lnTo>
                      <a:lnTo>
                        <a:pt x="109" y="86"/>
                      </a:lnTo>
                      <a:lnTo>
                        <a:pt x="114" y="88"/>
                      </a:lnTo>
                      <a:lnTo>
                        <a:pt x="117" y="90"/>
                      </a:lnTo>
                      <a:lnTo>
                        <a:pt x="118" y="94"/>
                      </a:lnTo>
                      <a:lnTo>
                        <a:pt x="119" y="96"/>
                      </a:lnTo>
                      <a:lnTo>
                        <a:pt x="122" y="100"/>
                      </a:lnTo>
                      <a:lnTo>
                        <a:pt x="124" y="101"/>
                      </a:lnTo>
                      <a:lnTo>
                        <a:pt x="129" y="102"/>
                      </a:lnTo>
                      <a:lnTo>
                        <a:pt x="133" y="102"/>
                      </a:lnTo>
                      <a:lnTo>
                        <a:pt x="134" y="101"/>
                      </a:lnTo>
                      <a:lnTo>
                        <a:pt x="134" y="89"/>
                      </a:lnTo>
                      <a:lnTo>
                        <a:pt x="134" y="85"/>
                      </a:lnTo>
                      <a:lnTo>
                        <a:pt x="134" y="82"/>
                      </a:lnTo>
                      <a:lnTo>
                        <a:pt x="133" y="82"/>
                      </a:lnTo>
                      <a:lnTo>
                        <a:pt x="129" y="82"/>
                      </a:lnTo>
                      <a:lnTo>
                        <a:pt x="125" y="80"/>
                      </a:lnTo>
                      <a:lnTo>
                        <a:pt x="120" y="77"/>
                      </a:lnTo>
                      <a:lnTo>
                        <a:pt x="118" y="74"/>
                      </a:lnTo>
                      <a:lnTo>
                        <a:pt x="114" y="69"/>
                      </a:lnTo>
                      <a:lnTo>
                        <a:pt x="112" y="64"/>
                      </a:lnTo>
                      <a:lnTo>
                        <a:pt x="110" y="60"/>
                      </a:lnTo>
                      <a:lnTo>
                        <a:pt x="110" y="55"/>
                      </a:lnTo>
                      <a:lnTo>
                        <a:pt x="112" y="37"/>
                      </a:lnTo>
                      <a:lnTo>
                        <a:pt x="113" y="24"/>
                      </a:lnTo>
                      <a:lnTo>
                        <a:pt x="115" y="16"/>
                      </a:lnTo>
                      <a:lnTo>
                        <a:pt x="120" y="9"/>
                      </a:lnTo>
                      <a:lnTo>
                        <a:pt x="120" y="6"/>
                      </a:lnTo>
                      <a:lnTo>
                        <a:pt x="120" y="4"/>
                      </a:lnTo>
                      <a:lnTo>
                        <a:pt x="122" y="2"/>
                      </a:lnTo>
                      <a:lnTo>
                        <a:pt x="122" y="0"/>
                      </a:lnTo>
                      <a:lnTo>
                        <a:pt x="138" y="0"/>
                      </a:lnTo>
                      <a:lnTo>
                        <a:pt x="146" y="0"/>
                      </a:lnTo>
                      <a:lnTo>
                        <a:pt x="153" y="4"/>
                      </a:lnTo>
                      <a:lnTo>
                        <a:pt x="157" y="5"/>
                      </a:lnTo>
                      <a:lnTo>
                        <a:pt x="167" y="12"/>
                      </a:lnTo>
                      <a:lnTo>
                        <a:pt x="172" y="15"/>
                      </a:lnTo>
                      <a:lnTo>
                        <a:pt x="179" y="17"/>
                      </a:lnTo>
                      <a:lnTo>
                        <a:pt x="180" y="18"/>
                      </a:lnTo>
                      <a:lnTo>
                        <a:pt x="183" y="21"/>
                      </a:lnTo>
                      <a:lnTo>
                        <a:pt x="186" y="22"/>
                      </a:lnTo>
                      <a:lnTo>
                        <a:pt x="190" y="23"/>
                      </a:lnTo>
                      <a:lnTo>
                        <a:pt x="190" y="25"/>
                      </a:lnTo>
                      <a:lnTo>
                        <a:pt x="190" y="26"/>
                      </a:lnTo>
                      <a:lnTo>
                        <a:pt x="197" y="38"/>
                      </a:lnTo>
                      <a:lnTo>
                        <a:pt x="199" y="44"/>
                      </a:lnTo>
                      <a:lnTo>
                        <a:pt x="199" y="50"/>
                      </a:lnTo>
                      <a:lnTo>
                        <a:pt x="199" y="68"/>
                      </a:lnTo>
                      <a:lnTo>
                        <a:pt x="199" y="77"/>
                      </a:lnTo>
                      <a:lnTo>
                        <a:pt x="202" y="86"/>
                      </a:lnTo>
                      <a:lnTo>
                        <a:pt x="202" y="88"/>
                      </a:lnTo>
                      <a:lnTo>
                        <a:pt x="200" y="90"/>
                      </a:lnTo>
                      <a:lnTo>
                        <a:pt x="197" y="94"/>
                      </a:lnTo>
                      <a:lnTo>
                        <a:pt x="193" y="98"/>
                      </a:lnTo>
                      <a:lnTo>
                        <a:pt x="190" y="101"/>
                      </a:lnTo>
                      <a:lnTo>
                        <a:pt x="189" y="104"/>
                      </a:lnTo>
                      <a:lnTo>
                        <a:pt x="189" y="107"/>
                      </a:lnTo>
                      <a:lnTo>
                        <a:pt x="190" y="1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7" name="Freeform 739"/>
                <p:cNvSpPr>
                  <a:spLocks/>
                </p:cNvSpPr>
                <p:nvPr/>
              </p:nvSpPr>
              <p:spPr bwMode="auto">
                <a:xfrm>
                  <a:off x="5554959" y="4766350"/>
                  <a:ext cx="10359" cy="16278"/>
                </a:xfrm>
                <a:custGeom>
                  <a:avLst/>
                  <a:gdLst>
                    <a:gd name="T0" fmla="*/ 2147483647 w 8"/>
                    <a:gd name="T1" fmla="*/ 2147483647 h 11"/>
                    <a:gd name="T2" fmla="*/ 2147483647 w 8"/>
                    <a:gd name="T3" fmla="*/ 2147483647 h 11"/>
                    <a:gd name="T4" fmla="*/ 2147483647 w 8"/>
                    <a:gd name="T5" fmla="*/ 0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0 w 8"/>
                    <a:gd name="T19" fmla="*/ 2147483647 h 11"/>
                    <a:gd name="T20" fmla="*/ 2147483647 w 8"/>
                    <a:gd name="T21" fmla="*/ 2147483647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1"/>
                    <a:gd name="T35" fmla="*/ 8 w 8"/>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1">
                      <a:moveTo>
                        <a:pt x="1" y="5"/>
                      </a:moveTo>
                      <a:lnTo>
                        <a:pt x="3" y="2"/>
                      </a:lnTo>
                      <a:lnTo>
                        <a:pt x="4" y="0"/>
                      </a:lnTo>
                      <a:lnTo>
                        <a:pt x="6" y="2"/>
                      </a:lnTo>
                      <a:lnTo>
                        <a:pt x="8" y="3"/>
                      </a:lnTo>
                      <a:lnTo>
                        <a:pt x="8" y="6"/>
                      </a:lnTo>
                      <a:lnTo>
                        <a:pt x="5" y="10"/>
                      </a:lnTo>
                      <a:lnTo>
                        <a:pt x="3" y="11"/>
                      </a:lnTo>
                      <a:lnTo>
                        <a:pt x="0" y="9"/>
                      </a:lnTo>
                      <a:lnTo>
                        <a:pt x="0" y="6"/>
                      </a:lnTo>
                      <a:lnTo>
                        <a:pt x="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8" name="Freeform 740"/>
                <p:cNvSpPr>
                  <a:spLocks/>
                </p:cNvSpPr>
                <p:nvPr/>
              </p:nvSpPr>
              <p:spPr bwMode="auto">
                <a:xfrm>
                  <a:off x="5547560" y="4792988"/>
                  <a:ext cx="7400" cy="17758"/>
                </a:xfrm>
                <a:custGeom>
                  <a:avLst/>
                  <a:gdLst>
                    <a:gd name="T0" fmla="*/ 2147483647 w 6"/>
                    <a:gd name="T1" fmla="*/ 2147483647 h 12"/>
                    <a:gd name="T2" fmla="*/ 2147483647 w 6"/>
                    <a:gd name="T3" fmla="*/ 2147483647 h 12"/>
                    <a:gd name="T4" fmla="*/ 2147483647 w 6"/>
                    <a:gd name="T5" fmla="*/ 2147483647 h 12"/>
                    <a:gd name="T6" fmla="*/ 0 w 6"/>
                    <a:gd name="T7" fmla="*/ 2147483647 h 12"/>
                    <a:gd name="T8" fmla="*/ 0 w 6"/>
                    <a:gd name="T9" fmla="*/ 2147483647 h 12"/>
                    <a:gd name="T10" fmla="*/ 2147483647 w 6"/>
                    <a:gd name="T11" fmla="*/ 2147483647 h 12"/>
                    <a:gd name="T12" fmla="*/ 2147483647 w 6"/>
                    <a:gd name="T13" fmla="*/ 2147483647 h 12"/>
                    <a:gd name="T14" fmla="*/ 0 w 6"/>
                    <a:gd name="T15" fmla="*/ 2147483647 h 12"/>
                    <a:gd name="T16" fmla="*/ 0 w 6"/>
                    <a:gd name="T17" fmla="*/ 0 h 12"/>
                    <a:gd name="T18" fmla="*/ 2147483647 w 6"/>
                    <a:gd name="T19" fmla="*/ 0 h 12"/>
                    <a:gd name="T20" fmla="*/ 2147483647 w 6"/>
                    <a:gd name="T21" fmla="*/ 0 h 12"/>
                    <a:gd name="T22" fmla="*/ 2147483647 w 6"/>
                    <a:gd name="T23" fmla="*/ 2147483647 h 12"/>
                    <a:gd name="T24" fmla="*/ 2147483647 w 6"/>
                    <a:gd name="T25" fmla="*/ 2147483647 h 12"/>
                    <a:gd name="T26" fmla="*/ 2147483647 w 6"/>
                    <a:gd name="T27" fmla="*/ 2147483647 h 12"/>
                    <a:gd name="T28" fmla="*/ 2147483647 w 6"/>
                    <a:gd name="T29" fmla="*/ 2147483647 h 12"/>
                    <a:gd name="T30" fmla="*/ 2147483647 w 6"/>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2"/>
                    <a:gd name="T50" fmla="*/ 6 w 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2">
                      <a:moveTo>
                        <a:pt x="6" y="11"/>
                      </a:moveTo>
                      <a:lnTo>
                        <a:pt x="4" y="12"/>
                      </a:lnTo>
                      <a:lnTo>
                        <a:pt x="1" y="12"/>
                      </a:lnTo>
                      <a:lnTo>
                        <a:pt x="0" y="10"/>
                      </a:lnTo>
                      <a:lnTo>
                        <a:pt x="0" y="8"/>
                      </a:lnTo>
                      <a:lnTo>
                        <a:pt x="1" y="6"/>
                      </a:lnTo>
                      <a:lnTo>
                        <a:pt x="1" y="5"/>
                      </a:lnTo>
                      <a:lnTo>
                        <a:pt x="0" y="3"/>
                      </a:lnTo>
                      <a:lnTo>
                        <a:pt x="0" y="0"/>
                      </a:lnTo>
                      <a:lnTo>
                        <a:pt x="1" y="0"/>
                      </a:lnTo>
                      <a:lnTo>
                        <a:pt x="2" y="0"/>
                      </a:lnTo>
                      <a:lnTo>
                        <a:pt x="5" y="1"/>
                      </a:lnTo>
                      <a:lnTo>
                        <a:pt x="5" y="4"/>
                      </a:lnTo>
                      <a:lnTo>
                        <a:pt x="6" y="7"/>
                      </a:lnTo>
                      <a:lnTo>
                        <a:pt x="6" y="8"/>
                      </a:lnTo>
                      <a:lnTo>
                        <a:pt x="6"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79" name="Freeform 741"/>
                <p:cNvSpPr>
                  <a:spLocks/>
                </p:cNvSpPr>
                <p:nvPr/>
              </p:nvSpPr>
              <p:spPr bwMode="auto">
                <a:xfrm>
                  <a:off x="5553483" y="4764873"/>
                  <a:ext cx="10360" cy="16279"/>
                </a:xfrm>
                <a:custGeom>
                  <a:avLst/>
                  <a:gdLst>
                    <a:gd name="T0" fmla="*/ 2147483647 w 7"/>
                    <a:gd name="T1" fmla="*/ 2147483647 h 11"/>
                    <a:gd name="T2" fmla="*/ 2147483647 w 7"/>
                    <a:gd name="T3" fmla="*/ 2147483647 h 11"/>
                    <a:gd name="T4" fmla="*/ 2147483647 w 7"/>
                    <a:gd name="T5" fmla="*/ 2147483647 h 11"/>
                    <a:gd name="T6" fmla="*/ 2147483647 w 7"/>
                    <a:gd name="T7" fmla="*/ 0 h 11"/>
                    <a:gd name="T8" fmla="*/ 2147483647 w 7"/>
                    <a:gd name="T9" fmla="*/ 0 h 11"/>
                    <a:gd name="T10" fmla="*/ 2147483647 w 7"/>
                    <a:gd name="T11" fmla="*/ 2147483647 h 11"/>
                    <a:gd name="T12" fmla="*/ 2147483647 w 7"/>
                    <a:gd name="T13" fmla="*/ 2147483647 h 11"/>
                    <a:gd name="T14" fmla="*/ 2147483647 w 7"/>
                    <a:gd name="T15" fmla="*/ 2147483647 h 11"/>
                    <a:gd name="T16" fmla="*/ 2147483647 w 7"/>
                    <a:gd name="T17" fmla="*/ 2147483647 h 11"/>
                    <a:gd name="T18" fmla="*/ 2147483647 w 7"/>
                    <a:gd name="T19" fmla="*/ 2147483647 h 11"/>
                    <a:gd name="T20" fmla="*/ 2147483647 w 7"/>
                    <a:gd name="T21" fmla="*/ 2147483647 h 11"/>
                    <a:gd name="T22" fmla="*/ 0 w 7"/>
                    <a:gd name="T23" fmla="*/ 2147483647 h 11"/>
                    <a:gd name="T24" fmla="*/ 0 w 7"/>
                    <a:gd name="T25" fmla="*/ 2147483647 h 11"/>
                    <a:gd name="T26" fmla="*/ 2147483647 w 7"/>
                    <a:gd name="T27" fmla="*/ 2147483647 h 11"/>
                    <a:gd name="T28" fmla="*/ 2147483647 w 7"/>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11"/>
                    <a:gd name="T47" fmla="*/ 7 w 7"/>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11">
                      <a:moveTo>
                        <a:pt x="1" y="5"/>
                      </a:moveTo>
                      <a:lnTo>
                        <a:pt x="1" y="5"/>
                      </a:lnTo>
                      <a:lnTo>
                        <a:pt x="2" y="1"/>
                      </a:lnTo>
                      <a:lnTo>
                        <a:pt x="4" y="0"/>
                      </a:lnTo>
                      <a:lnTo>
                        <a:pt x="6" y="1"/>
                      </a:lnTo>
                      <a:lnTo>
                        <a:pt x="7" y="3"/>
                      </a:lnTo>
                      <a:lnTo>
                        <a:pt x="7" y="6"/>
                      </a:lnTo>
                      <a:lnTo>
                        <a:pt x="5" y="10"/>
                      </a:lnTo>
                      <a:lnTo>
                        <a:pt x="2" y="11"/>
                      </a:lnTo>
                      <a:lnTo>
                        <a:pt x="0" y="8"/>
                      </a:lnTo>
                      <a:lnTo>
                        <a:pt x="0" y="6"/>
                      </a:lnTo>
                      <a:lnTo>
                        <a:pt x="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0" name="Freeform 742"/>
                <p:cNvSpPr>
                  <a:spLocks/>
                </p:cNvSpPr>
                <p:nvPr/>
              </p:nvSpPr>
              <p:spPr bwMode="auto">
                <a:xfrm>
                  <a:off x="5544602" y="4791507"/>
                  <a:ext cx="8879" cy="17758"/>
                </a:xfrm>
                <a:custGeom>
                  <a:avLst/>
                  <a:gdLst>
                    <a:gd name="T0" fmla="*/ 2147483647 w 7"/>
                    <a:gd name="T1" fmla="*/ 2147483647 h 12"/>
                    <a:gd name="T2" fmla="*/ 2147483647 w 7"/>
                    <a:gd name="T3" fmla="*/ 2147483647 h 12"/>
                    <a:gd name="T4" fmla="*/ 2147483647 w 7"/>
                    <a:gd name="T5" fmla="*/ 2147483647 h 12"/>
                    <a:gd name="T6" fmla="*/ 2147483647 w 7"/>
                    <a:gd name="T7" fmla="*/ 2147483647 h 12"/>
                    <a:gd name="T8" fmla="*/ 0 w 7"/>
                    <a:gd name="T9" fmla="*/ 2147483647 h 12"/>
                    <a:gd name="T10" fmla="*/ 0 w 7"/>
                    <a:gd name="T11" fmla="*/ 2147483647 h 12"/>
                    <a:gd name="T12" fmla="*/ 0 w 7"/>
                    <a:gd name="T13" fmla="*/ 2147483647 h 12"/>
                    <a:gd name="T14" fmla="*/ 2147483647 w 7"/>
                    <a:gd name="T15" fmla="*/ 2147483647 h 12"/>
                    <a:gd name="T16" fmla="*/ 2147483647 w 7"/>
                    <a:gd name="T17" fmla="*/ 2147483647 h 12"/>
                    <a:gd name="T18" fmla="*/ 0 w 7"/>
                    <a:gd name="T19" fmla="*/ 2147483647 h 12"/>
                    <a:gd name="T20" fmla="*/ 0 w 7"/>
                    <a:gd name="T21" fmla="*/ 2147483647 h 12"/>
                    <a:gd name="T22" fmla="*/ 0 w 7"/>
                    <a:gd name="T23" fmla="*/ 0 h 12"/>
                    <a:gd name="T24" fmla="*/ 2147483647 w 7"/>
                    <a:gd name="T25" fmla="*/ 0 h 12"/>
                    <a:gd name="T26" fmla="*/ 2147483647 w 7"/>
                    <a:gd name="T27" fmla="*/ 0 h 12"/>
                    <a:gd name="T28" fmla="*/ 2147483647 w 7"/>
                    <a:gd name="T29" fmla="*/ 0 h 12"/>
                    <a:gd name="T30" fmla="*/ 2147483647 w 7"/>
                    <a:gd name="T31" fmla="*/ 2147483647 h 12"/>
                    <a:gd name="T32" fmla="*/ 2147483647 w 7"/>
                    <a:gd name="T33" fmla="*/ 2147483647 h 12"/>
                    <a:gd name="T34" fmla="*/ 2147483647 w 7"/>
                    <a:gd name="T35" fmla="*/ 2147483647 h 12"/>
                    <a:gd name="T36" fmla="*/ 2147483647 w 7"/>
                    <a:gd name="T37" fmla="*/ 2147483647 h 12"/>
                    <a:gd name="T38" fmla="*/ 2147483647 w 7"/>
                    <a:gd name="T39" fmla="*/ 2147483647 h 12"/>
                    <a:gd name="T40" fmla="*/ 2147483647 w 7"/>
                    <a:gd name="T41" fmla="*/ 2147483647 h 12"/>
                    <a:gd name="T42" fmla="*/ 2147483647 w 7"/>
                    <a:gd name="T43" fmla="*/ 2147483647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
                    <a:gd name="T67" fmla="*/ 0 h 12"/>
                    <a:gd name="T68" fmla="*/ 7 w 7"/>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 h="12">
                      <a:moveTo>
                        <a:pt x="7" y="11"/>
                      </a:moveTo>
                      <a:lnTo>
                        <a:pt x="7" y="11"/>
                      </a:lnTo>
                      <a:lnTo>
                        <a:pt x="4" y="12"/>
                      </a:lnTo>
                      <a:lnTo>
                        <a:pt x="2" y="12"/>
                      </a:lnTo>
                      <a:lnTo>
                        <a:pt x="0" y="9"/>
                      </a:lnTo>
                      <a:lnTo>
                        <a:pt x="0" y="8"/>
                      </a:lnTo>
                      <a:lnTo>
                        <a:pt x="2" y="6"/>
                      </a:lnTo>
                      <a:lnTo>
                        <a:pt x="2" y="5"/>
                      </a:lnTo>
                      <a:lnTo>
                        <a:pt x="0" y="2"/>
                      </a:lnTo>
                      <a:lnTo>
                        <a:pt x="0" y="0"/>
                      </a:lnTo>
                      <a:lnTo>
                        <a:pt x="2" y="0"/>
                      </a:lnTo>
                      <a:lnTo>
                        <a:pt x="3" y="0"/>
                      </a:lnTo>
                      <a:lnTo>
                        <a:pt x="6" y="1"/>
                      </a:lnTo>
                      <a:lnTo>
                        <a:pt x="6" y="4"/>
                      </a:lnTo>
                      <a:lnTo>
                        <a:pt x="7" y="7"/>
                      </a:lnTo>
                      <a:lnTo>
                        <a:pt x="7" y="8"/>
                      </a:lnTo>
                      <a:lnTo>
                        <a:pt x="7"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1" name="Freeform 743"/>
                <p:cNvSpPr>
                  <a:spLocks/>
                </p:cNvSpPr>
                <p:nvPr/>
              </p:nvSpPr>
              <p:spPr bwMode="auto">
                <a:xfrm>
                  <a:off x="5556443" y="4838866"/>
                  <a:ext cx="10360" cy="19239"/>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0 w 8"/>
                    <a:gd name="T9" fmla="*/ 2147483647 h 13"/>
                    <a:gd name="T10" fmla="*/ 0 w 8"/>
                    <a:gd name="T11" fmla="*/ 2147483647 h 13"/>
                    <a:gd name="T12" fmla="*/ 0 w 8"/>
                    <a:gd name="T13" fmla="*/ 2147483647 h 13"/>
                    <a:gd name="T14" fmla="*/ 2147483647 w 8"/>
                    <a:gd name="T15" fmla="*/ 2147483647 h 13"/>
                    <a:gd name="T16" fmla="*/ 2147483647 w 8"/>
                    <a:gd name="T17" fmla="*/ 2147483647 h 13"/>
                    <a:gd name="T18" fmla="*/ 2147483647 w 8"/>
                    <a:gd name="T19" fmla="*/ 0 h 13"/>
                    <a:gd name="T20" fmla="*/ 2147483647 w 8"/>
                    <a:gd name="T21" fmla="*/ 2147483647 h 13"/>
                    <a:gd name="T22" fmla="*/ 2147483647 w 8"/>
                    <a:gd name="T23" fmla="*/ 2147483647 h 13"/>
                    <a:gd name="T24" fmla="*/ 2147483647 w 8"/>
                    <a:gd name="T25" fmla="*/ 2147483647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3"/>
                    <a:gd name="T41" fmla="*/ 8 w 8"/>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3">
                      <a:moveTo>
                        <a:pt x="8" y="7"/>
                      </a:moveTo>
                      <a:lnTo>
                        <a:pt x="7" y="9"/>
                      </a:lnTo>
                      <a:lnTo>
                        <a:pt x="5" y="12"/>
                      </a:lnTo>
                      <a:lnTo>
                        <a:pt x="3" y="13"/>
                      </a:lnTo>
                      <a:lnTo>
                        <a:pt x="0" y="11"/>
                      </a:lnTo>
                      <a:lnTo>
                        <a:pt x="0" y="7"/>
                      </a:lnTo>
                      <a:lnTo>
                        <a:pt x="0" y="4"/>
                      </a:lnTo>
                      <a:lnTo>
                        <a:pt x="3" y="1"/>
                      </a:lnTo>
                      <a:lnTo>
                        <a:pt x="5" y="1"/>
                      </a:lnTo>
                      <a:lnTo>
                        <a:pt x="7" y="0"/>
                      </a:lnTo>
                      <a:lnTo>
                        <a:pt x="8" y="1"/>
                      </a:lnTo>
                      <a:lnTo>
                        <a:pt x="8" y="2"/>
                      </a:lnTo>
                      <a:lnTo>
                        <a:pt x="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2" name="Freeform 744"/>
                <p:cNvSpPr>
                  <a:spLocks/>
                </p:cNvSpPr>
                <p:nvPr/>
              </p:nvSpPr>
              <p:spPr bwMode="auto">
                <a:xfrm>
                  <a:off x="5316701" y="4642040"/>
                  <a:ext cx="256018" cy="318172"/>
                </a:xfrm>
                <a:custGeom>
                  <a:avLst/>
                  <a:gdLst>
                    <a:gd name="T0" fmla="*/ 2147483647 w 188"/>
                    <a:gd name="T1" fmla="*/ 2147483647 h 215"/>
                    <a:gd name="T2" fmla="*/ 2147483647 w 188"/>
                    <a:gd name="T3" fmla="*/ 2147483647 h 215"/>
                    <a:gd name="T4" fmla="*/ 2147483647 w 188"/>
                    <a:gd name="T5" fmla="*/ 2147483647 h 215"/>
                    <a:gd name="T6" fmla="*/ 2147483647 w 188"/>
                    <a:gd name="T7" fmla="*/ 2147483647 h 215"/>
                    <a:gd name="T8" fmla="*/ 2147483647 w 188"/>
                    <a:gd name="T9" fmla="*/ 2147483647 h 215"/>
                    <a:gd name="T10" fmla="*/ 2147483647 w 188"/>
                    <a:gd name="T11" fmla="*/ 2147483647 h 215"/>
                    <a:gd name="T12" fmla="*/ 2147483647 w 188"/>
                    <a:gd name="T13" fmla="*/ 2147483647 h 215"/>
                    <a:gd name="T14" fmla="*/ 2147483647 w 188"/>
                    <a:gd name="T15" fmla="*/ 2147483647 h 215"/>
                    <a:gd name="T16" fmla="*/ 2147483647 w 188"/>
                    <a:gd name="T17" fmla="*/ 2147483647 h 215"/>
                    <a:gd name="T18" fmla="*/ 2147483647 w 188"/>
                    <a:gd name="T19" fmla="*/ 2147483647 h 215"/>
                    <a:gd name="T20" fmla="*/ 2147483647 w 188"/>
                    <a:gd name="T21" fmla="*/ 2147483647 h 215"/>
                    <a:gd name="T22" fmla="*/ 2147483647 w 188"/>
                    <a:gd name="T23" fmla="*/ 2147483647 h 215"/>
                    <a:gd name="T24" fmla="*/ 2147483647 w 188"/>
                    <a:gd name="T25" fmla="*/ 2147483647 h 215"/>
                    <a:gd name="T26" fmla="*/ 2147483647 w 188"/>
                    <a:gd name="T27" fmla="*/ 2147483647 h 215"/>
                    <a:gd name="T28" fmla="*/ 2147483647 w 188"/>
                    <a:gd name="T29" fmla="*/ 2147483647 h 215"/>
                    <a:gd name="T30" fmla="*/ 2147483647 w 188"/>
                    <a:gd name="T31" fmla="*/ 2147483647 h 215"/>
                    <a:gd name="T32" fmla="*/ 2147483647 w 188"/>
                    <a:gd name="T33" fmla="*/ 2147483647 h 215"/>
                    <a:gd name="T34" fmla="*/ 2147483647 w 188"/>
                    <a:gd name="T35" fmla="*/ 2147483647 h 215"/>
                    <a:gd name="T36" fmla="*/ 2147483647 w 188"/>
                    <a:gd name="T37" fmla="*/ 2147483647 h 215"/>
                    <a:gd name="T38" fmla="*/ 2147483647 w 188"/>
                    <a:gd name="T39" fmla="*/ 2147483647 h 215"/>
                    <a:gd name="T40" fmla="*/ 2147483647 w 188"/>
                    <a:gd name="T41" fmla="*/ 2147483647 h 215"/>
                    <a:gd name="T42" fmla="*/ 2147483647 w 188"/>
                    <a:gd name="T43" fmla="*/ 2147483647 h 215"/>
                    <a:gd name="T44" fmla="*/ 2147483647 w 188"/>
                    <a:gd name="T45" fmla="*/ 2147483647 h 215"/>
                    <a:gd name="T46" fmla="*/ 0 w 188"/>
                    <a:gd name="T47" fmla="*/ 2147483647 h 215"/>
                    <a:gd name="T48" fmla="*/ 2147483647 w 188"/>
                    <a:gd name="T49" fmla="*/ 2147483647 h 215"/>
                    <a:gd name="T50" fmla="*/ 2147483647 w 188"/>
                    <a:gd name="T51" fmla="*/ 2147483647 h 215"/>
                    <a:gd name="T52" fmla="*/ 2147483647 w 188"/>
                    <a:gd name="T53" fmla="*/ 2147483647 h 215"/>
                    <a:gd name="T54" fmla="*/ 2147483647 w 188"/>
                    <a:gd name="T55" fmla="*/ 2147483647 h 215"/>
                    <a:gd name="T56" fmla="*/ 2147483647 w 188"/>
                    <a:gd name="T57" fmla="*/ 2147483647 h 215"/>
                    <a:gd name="T58" fmla="*/ 2147483647 w 188"/>
                    <a:gd name="T59" fmla="*/ 2147483647 h 215"/>
                    <a:gd name="T60" fmla="*/ 2147483647 w 188"/>
                    <a:gd name="T61" fmla="*/ 2147483647 h 215"/>
                    <a:gd name="T62" fmla="*/ 2147483647 w 188"/>
                    <a:gd name="T63" fmla="*/ 0 h 215"/>
                    <a:gd name="T64" fmla="*/ 2147483647 w 188"/>
                    <a:gd name="T65" fmla="*/ 2147483647 h 215"/>
                    <a:gd name="T66" fmla="*/ 2147483647 w 188"/>
                    <a:gd name="T67" fmla="*/ 2147483647 h 215"/>
                    <a:gd name="T68" fmla="*/ 2147483647 w 188"/>
                    <a:gd name="T69" fmla="*/ 2147483647 h 215"/>
                    <a:gd name="T70" fmla="*/ 2147483647 w 188"/>
                    <a:gd name="T71" fmla="*/ 2147483647 h 215"/>
                    <a:gd name="T72" fmla="*/ 2147483647 w 188"/>
                    <a:gd name="T73" fmla="*/ 2147483647 h 215"/>
                    <a:gd name="T74" fmla="*/ 2147483647 w 188"/>
                    <a:gd name="T75" fmla="*/ 2147483647 h 215"/>
                    <a:gd name="T76" fmla="*/ 2147483647 w 188"/>
                    <a:gd name="T77" fmla="*/ 2147483647 h 215"/>
                    <a:gd name="T78" fmla="*/ 2147483647 w 188"/>
                    <a:gd name="T79" fmla="*/ 2147483647 h 215"/>
                    <a:gd name="T80" fmla="*/ 2147483647 w 188"/>
                    <a:gd name="T81" fmla="*/ 2147483647 h 215"/>
                    <a:gd name="T82" fmla="*/ 2147483647 w 188"/>
                    <a:gd name="T83" fmla="*/ 2147483647 h 215"/>
                    <a:gd name="T84" fmla="*/ 2147483647 w 188"/>
                    <a:gd name="T85" fmla="*/ 2147483647 h 215"/>
                    <a:gd name="T86" fmla="*/ 2147483647 w 188"/>
                    <a:gd name="T87" fmla="*/ 2147483647 h 215"/>
                    <a:gd name="T88" fmla="*/ 2147483647 w 188"/>
                    <a:gd name="T89" fmla="*/ 2147483647 h 215"/>
                    <a:gd name="T90" fmla="*/ 2147483647 w 188"/>
                    <a:gd name="T91" fmla="*/ 2147483647 h 215"/>
                    <a:gd name="T92" fmla="*/ 2147483647 w 188"/>
                    <a:gd name="T93" fmla="*/ 2147483647 h 215"/>
                    <a:gd name="T94" fmla="*/ 2147483647 w 188"/>
                    <a:gd name="T95" fmla="*/ 2147483647 h 215"/>
                    <a:gd name="T96" fmla="*/ 2147483647 w 188"/>
                    <a:gd name="T97" fmla="*/ 2147483647 h 215"/>
                    <a:gd name="T98" fmla="*/ 2147483647 w 188"/>
                    <a:gd name="T99" fmla="*/ 2147483647 h 2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8"/>
                    <a:gd name="T151" fmla="*/ 0 h 215"/>
                    <a:gd name="T152" fmla="*/ 188 w 188"/>
                    <a:gd name="T153" fmla="*/ 215 h 2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8" h="215">
                      <a:moveTo>
                        <a:pt x="188" y="187"/>
                      </a:moveTo>
                      <a:lnTo>
                        <a:pt x="184" y="192"/>
                      </a:lnTo>
                      <a:lnTo>
                        <a:pt x="183" y="195"/>
                      </a:lnTo>
                      <a:lnTo>
                        <a:pt x="180" y="196"/>
                      </a:lnTo>
                      <a:lnTo>
                        <a:pt x="174" y="198"/>
                      </a:lnTo>
                      <a:lnTo>
                        <a:pt x="169" y="202"/>
                      </a:lnTo>
                      <a:lnTo>
                        <a:pt x="164" y="205"/>
                      </a:lnTo>
                      <a:lnTo>
                        <a:pt x="159" y="209"/>
                      </a:lnTo>
                      <a:lnTo>
                        <a:pt x="156" y="210"/>
                      </a:lnTo>
                      <a:lnTo>
                        <a:pt x="153" y="210"/>
                      </a:lnTo>
                      <a:lnTo>
                        <a:pt x="150" y="208"/>
                      </a:lnTo>
                      <a:lnTo>
                        <a:pt x="147" y="205"/>
                      </a:lnTo>
                      <a:lnTo>
                        <a:pt x="146" y="204"/>
                      </a:lnTo>
                      <a:lnTo>
                        <a:pt x="143" y="204"/>
                      </a:lnTo>
                      <a:lnTo>
                        <a:pt x="131" y="210"/>
                      </a:lnTo>
                      <a:lnTo>
                        <a:pt x="123" y="212"/>
                      </a:lnTo>
                      <a:lnTo>
                        <a:pt x="115" y="212"/>
                      </a:lnTo>
                      <a:lnTo>
                        <a:pt x="109" y="211"/>
                      </a:lnTo>
                      <a:lnTo>
                        <a:pt x="103" y="211"/>
                      </a:lnTo>
                      <a:lnTo>
                        <a:pt x="98" y="212"/>
                      </a:lnTo>
                      <a:lnTo>
                        <a:pt x="93" y="215"/>
                      </a:lnTo>
                      <a:lnTo>
                        <a:pt x="91" y="205"/>
                      </a:lnTo>
                      <a:lnTo>
                        <a:pt x="91" y="197"/>
                      </a:lnTo>
                      <a:lnTo>
                        <a:pt x="91" y="193"/>
                      </a:lnTo>
                      <a:lnTo>
                        <a:pt x="90" y="190"/>
                      </a:lnTo>
                      <a:lnTo>
                        <a:pt x="84" y="180"/>
                      </a:lnTo>
                      <a:lnTo>
                        <a:pt x="77" y="172"/>
                      </a:lnTo>
                      <a:lnTo>
                        <a:pt x="76" y="172"/>
                      </a:lnTo>
                      <a:lnTo>
                        <a:pt x="75" y="174"/>
                      </a:lnTo>
                      <a:lnTo>
                        <a:pt x="76" y="176"/>
                      </a:lnTo>
                      <a:lnTo>
                        <a:pt x="71" y="174"/>
                      </a:lnTo>
                      <a:lnTo>
                        <a:pt x="66" y="172"/>
                      </a:lnTo>
                      <a:lnTo>
                        <a:pt x="60" y="172"/>
                      </a:lnTo>
                      <a:lnTo>
                        <a:pt x="56" y="171"/>
                      </a:lnTo>
                      <a:lnTo>
                        <a:pt x="52" y="170"/>
                      </a:lnTo>
                      <a:lnTo>
                        <a:pt x="49" y="167"/>
                      </a:lnTo>
                      <a:lnTo>
                        <a:pt x="48" y="166"/>
                      </a:lnTo>
                      <a:lnTo>
                        <a:pt x="42" y="164"/>
                      </a:lnTo>
                      <a:lnTo>
                        <a:pt x="37" y="161"/>
                      </a:lnTo>
                      <a:lnTo>
                        <a:pt x="26" y="154"/>
                      </a:lnTo>
                      <a:lnTo>
                        <a:pt x="25" y="150"/>
                      </a:lnTo>
                      <a:lnTo>
                        <a:pt x="23" y="144"/>
                      </a:lnTo>
                      <a:lnTo>
                        <a:pt x="18" y="134"/>
                      </a:lnTo>
                      <a:lnTo>
                        <a:pt x="11" y="125"/>
                      </a:lnTo>
                      <a:lnTo>
                        <a:pt x="6" y="114"/>
                      </a:lnTo>
                      <a:lnTo>
                        <a:pt x="4" y="102"/>
                      </a:lnTo>
                      <a:lnTo>
                        <a:pt x="1" y="89"/>
                      </a:lnTo>
                      <a:lnTo>
                        <a:pt x="0" y="76"/>
                      </a:lnTo>
                      <a:lnTo>
                        <a:pt x="1" y="64"/>
                      </a:lnTo>
                      <a:lnTo>
                        <a:pt x="7" y="58"/>
                      </a:lnTo>
                      <a:lnTo>
                        <a:pt x="11" y="54"/>
                      </a:lnTo>
                      <a:lnTo>
                        <a:pt x="13" y="51"/>
                      </a:lnTo>
                      <a:lnTo>
                        <a:pt x="13" y="48"/>
                      </a:lnTo>
                      <a:lnTo>
                        <a:pt x="10" y="42"/>
                      </a:lnTo>
                      <a:lnTo>
                        <a:pt x="9" y="36"/>
                      </a:lnTo>
                      <a:lnTo>
                        <a:pt x="11" y="35"/>
                      </a:lnTo>
                      <a:lnTo>
                        <a:pt x="14" y="32"/>
                      </a:lnTo>
                      <a:lnTo>
                        <a:pt x="15" y="29"/>
                      </a:lnTo>
                      <a:lnTo>
                        <a:pt x="16" y="22"/>
                      </a:lnTo>
                      <a:lnTo>
                        <a:pt x="15" y="13"/>
                      </a:lnTo>
                      <a:lnTo>
                        <a:pt x="15" y="6"/>
                      </a:lnTo>
                      <a:lnTo>
                        <a:pt x="30" y="6"/>
                      </a:lnTo>
                      <a:lnTo>
                        <a:pt x="46" y="5"/>
                      </a:lnTo>
                      <a:lnTo>
                        <a:pt x="76" y="0"/>
                      </a:lnTo>
                      <a:lnTo>
                        <a:pt x="93" y="14"/>
                      </a:lnTo>
                      <a:lnTo>
                        <a:pt x="109" y="27"/>
                      </a:lnTo>
                      <a:lnTo>
                        <a:pt x="127" y="44"/>
                      </a:lnTo>
                      <a:lnTo>
                        <a:pt x="134" y="50"/>
                      </a:lnTo>
                      <a:lnTo>
                        <a:pt x="138" y="58"/>
                      </a:lnTo>
                      <a:lnTo>
                        <a:pt x="141" y="62"/>
                      </a:lnTo>
                      <a:lnTo>
                        <a:pt x="145" y="65"/>
                      </a:lnTo>
                      <a:lnTo>
                        <a:pt x="155" y="71"/>
                      </a:lnTo>
                      <a:lnTo>
                        <a:pt x="165" y="77"/>
                      </a:lnTo>
                      <a:lnTo>
                        <a:pt x="169" y="81"/>
                      </a:lnTo>
                      <a:lnTo>
                        <a:pt x="171" y="83"/>
                      </a:lnTo>
                      <a:lnTo>
                        <a:pt x="169" y="89"/>
                      </a:lnTo>
                      <a:lnTo>
                        <a:pt x="165" y="95"/>
                      </a:lnTo>
                      <a:lnTo>
                        <a:pt x="162" y="99"/>
                      </a:lnTo>
                      <a:lnTo>
                        <a:pt x="161" y="102"/>
                      </a:lnTo>
                      <a:lnTo>
                        <a:pt x="161" y="107"/>
                      </a:lnTo>
                      <a:lnTo>
                        <a:pt x="162" y="110"/>
                      </a:lnTo>
                      <a:lnTo>
                        <a:pt x="162" y="115"/>
                      </a:lnTo>
                      <a:lnTo>
                        <a:pt x="165" y="119"/>
                      </a:lnTo>
                      <a:lnTo>
                        <a:pt x="167" y="121"/>
                      </a:lnTo>
                      <a:lnTo>
                        <a:pt x="170" y="125"/>
                      </a:lnTo>
                      <a:lnTo>
                        <a:pt x="171" y="128"/>
                      </a:lnTo>
                      <a:lnTo>
                        <a:pt x="171" y="132"/>
                      </a:lnTo>
                      <a:lnTo>
                        <a:pt x="169" y="138"/>
                      </a:lnTo>
                      <a:lnTo>
                        <a:pt x="169" y="141"/>
                      </a:lnTo>
                      <a:lnTo>
                        <a:pt x="170" y="145"/>
                      </a:lnTo>
                      <a:lnTo>
                        <a:pt x="171" y="150"/>
                      </a:lnTo>
                      <a:lnTo>
                        <a:pt x="173" y="154"/>
                      </a:lnTo>
                      <a:lnTo>
                        <a:pt x="176" y="159"/>
                      </a:lnTo>
                      <a:lnTo>
                        <a:pt x="180" y="164"/>
                      </a:lnTo>
                      <a:lnTo>
                        <a:pt x="181" y="169"/>
                      </a:lnTo>
                      <a:lnTo>
                        <a:pt x="181" y="173"/>
                      </a:lnTo>
                      <a:lnTo>
                        <a:pt x="183" y="183"/>
                      </a:lnTo>
                      <a:lnTo>
                        <a:pt x="184" y="185"/>
                      </a:lnTo>
                      <a:lnTo>
                        <a:pt x="186" y="186"/>
                      </a:lnTo>
                      <a:lnTo>
                        <a:pt x="188" y="18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3" name="Freeform 745"/>
                <p:cNvSpPr>
                  <a:spLocks/>
                </p:cNvSpPr>
                <p:nvPr/>
              </p:nvSpPr>
              <p:spPr bwMode="auto">
                <a:xfrm>
                  <a:off x="5554959" y="4837386"/>
                  <a:ext cx="10359" cy="19238"/>
                </a:xfrm>
                <a:custGeom>
                  <a:avLst/>
                  <a:gdLst>
                    <a:gd name="T0" fmla="*/ 2147483647 w 8"/>
                    <a:gd name="T1" fmla="*/ 2147483647 h 13"/>
                    <a:gd name="T2" fmla="*/ 2147483647 w 8"/>
                    <a:gd name="T3" fmla="*/ 2147483647 h 13"/>
                    <a:gd name="T4" fmla="*/ 2147483647 w 8"/>
                    <a:gd name="T5" fmla="*/ 2147483647 h 13"/>
                    <a:gd name="T6" fmla="*/ 2147483647 w 8"/>
                    <a:gd name="T7" fmla="*/ 2147483647 h 13"/>
                    <a:gd name="T8" fmla="*/ 2147483647 w 8"/>
                    <a:gd name="T9" fmla="*/ 2147483647 h 13"/>
                    <a:gd name="T10" fmla="*/ 0 w 8"/>
                    <a:gd name="T11" fmla="*/ 2147483647 h 13"/>
                    <a:gd name="T12" fmla="*/ 0 w 8"/>
                    <a:gd name="T13" fmla="*/ 2147483647 h 13"/>
                    <a:gd name="T14" fmla="*/ 0 w 8"/>
                    <a:gd name="T15" fmla="*/ 2147483647 h 13"/>
                    <a:gd name="T16" fmla="*/ 0 w 8"/>
                    <a:gd name="T17" fmla="*/ 2147483647 h 13"/>
                    <a:gd name="T18" fmla="*/ 2147483647 w 8"/>
                    <a:gd name="T19" fmla="*/ 2147483647 h 13"/>
                    <a:gd name="T20" fmla="*/ 2147483647 w 8"/>
                    <a:gd name="T21" fmla="*/ 2147483647 h 13"/>
                    <a:gd name="T22" fmla="*/ 2147483647 w 8"/>
                    <a:gd name="T23" fmla="*/ 0 h 13"/>
                    <a:gd name="T24" fmla="*/ 2147483647 w 8"/>
                    <a:gd name="T25" fmla="*/ 0 h 13"/>
                    <a:gd name="T26" fmla="*/ 2147483647 w 8"/>
                    <a:gd name="T27" fmla="*/ 2147483647 h 13"/>
                    <a:gd name="T28" fmla="*/ 2147483647 w 8"/>
                    <a:gd name="T29" fmla="*/ 2147483647 h 13"/>
                    <a:gd name="T30" fmla="*/ 2147483647 w 8"/>
                    <a:gd name="T31" fmla="*/ 2147483647 h 13"/>
                    <a:gd name="T32" fmla="*/ 2147483647 w 8"/>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3"/>
                    <a:gd name="T53" fmla="*/ 8 w 8"/>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3">
                      <a:moveTo>
                        <a:pt x="8" y="7"/>
                      </a:moveTo>
                      <a:lnTo>
                        <a:pt x="8" y="7"/>
                      </a:lnTo>
                      <a:lnTo>
                        <a:pt x="6" y="9"/>
                      </a:lnTo>
                      <a:lnTo>
                        <a:pt x="5" y="12"/>
                      </a:lnTo>
                      <a:lnTo>
                        <a:pt x="3" y="13"/>
                      </a:lnTo>
                      <a:lnTo>
                        <a:pt x="0" y="10"/>
                      </a:lnTo>
                      <a:lnTo>
                        <a:pt x="0" y="7"/>
                      </a:lnTo>
                      <a:lnTo>
                        <a:pt x="0" y="3"/>
                      </a:lnTo>
                      <a:lnTo>
                        <a:pt x="3" y="1"/>
                      </a:lnTo>
                      <a:lnTo>
                        <a:pt x="5" y="1"/>
                      </a:lnTo>
                      <a:lnTo>
                        <a:pt x="6" y="0"/>
                      </a:lnTo>
                      <a:lnTo>
                        <a:pt x="8" y="1"/>
                      </a:lnTo>
                      <a:lnTo>
                        <a:pt x="8" y="2"/>
                      </a:lnTo>
                      <a:lnTo>
                        <a:pt x="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4" name="Freeform 746"/>
                <p:cNvSpPr>
                  <a:spLocks/>
                </p:cNvSpPr>
                <p:nvPr/>
              </p:nvSpPr>
              <p:spPr bwMode="auto">
                <a:xfrm>
                  <a:off x="5315224" y="4640563"/>
                  <a:ext cx="254537" cy="318173"/>
                </a:xfrm>
                <a:custGeom>
                  <a:avLst/>
                  <a:gdLst>
                    <a:gd name="T0" fmla="*/ 2147483647 w 187"/>
                    <a:gd name="T1" fmla="*/ 2147483647 h 215"/>
                    <a:gd name="T2" fmla="*/ 2147483647 w 187"/>
                    <a:gd name="T3" fmla="*/ 2147483647 h 215"/>
                    <a:gd name="T4" fmla="*/ 2147483647 w 187"/>
                    <a:gd name="T5" fmla="*/ 2147483647 h 215"/>
                    <a:gd name="T6" fmla="*/ 2147483647 w 187"/>
                    <a:gd name="T7" fmla="*/ 2147483647 h 215"/>
                    <a:gd name="T8" fmla="*/ 2147483647 w 187"/>
                    <a:gd name="T9" fmla="*/ 2147483647 h 215"/>
                    <a:gd name="T10" fmla="*/ 2147483647 w 187"/>
                    <a:gd name="T11" fmla="*/ 2147483647 h 215"/>
                    <a:gd name="T12" fmla="*/ 2147483647 w 187"/>
                    <a:gd name="T13" fmla="*/ 2147483647 h 215"/>
                    <a:gd name="T14" fmla="*/ 2147483647 w 187"/>
                    <a:gd name="T15" fmla="*/ 2147483647 h 215"/>
                    <a:gd name="T16" fmla="*/ 2147483647 w 187"/>
                    <a:gd name="T17" fmla="*/ 2147483647 h 215"/>
                    <a:gd name="T18" fmla="*/ 2147483647 w 187"/>
                    <a:gd name="T19" fmla="*/ 2147483647 h 215"/>
                    <a:gd name="T20" fmla="*/ 2147483647 w 187"/>
                    <a:gd name="T21" fmla="*/ 2147483647 h 215"/>
                    <a:gd name="T22" fmla="*/ 2147483647 w 187"/>
                    <a:gd name="T23" fmla="*/ 2147483647 h 215"/>
                    <a:gd name="T24" fmla="*/ 2147483647 w 187"/>
                    <a:gd name="T25" fmla="*/ 2147483647 h 215"/>
                    <a:gd name="T26" fmla="*/ 2147483647 w 187"/>
                    <a:gd name="T27" fmla="*/ 2147483647 h 215"/>
                    <a:gd name="T28" fmla="*/ 2147483647 w 187"/>
                    <a:gd name="T29" fmla="*/ 2147483647 h 215"/>
                    <a:gd name="T30" fmla="*/ 2147483647 w 187"/>
                    <a:gd name="T31" fmla="*/ 2147483647 h 215"/>
                    <a:gd name="T32" fmla="*/ 2147483647 w 187"/>
                    <a:gd name="T33" fmla="*/ 2147483647 h 215"/>
                    <a:gd name="T34" fmla="*/ 2147483647 w 187"/>
                    <a:gd name="T35" fmla="*/ 2147483647 h 215"/>
                    <a:gd name="T36" fmla="*/ 2147483647 w 187"/>
                    <a:gd name="T37" fmla="*/ 2147483647 h 215"/>
                    <a:gd name="T38" fmla="*/ 2147483647 w 187"/>
                    <a:gd name="T39" fmla="*/ 2147483647 h 215"/>
                    <a:gd name="T40" fmla="*/ 2147483647 w 187"/>
                    <a:gd name="T41" fmla="*/ 2147483647 h 215"/>
                    <a:gd name="T42" fmla="*/ 2147483647 w 187"/>
                    <a:gd name="T43" fmla="*/ 2147483647 h 215"/>
                    <a:gd name="T44" fmla="*/ 2147483647 w 187"/>
                    <a:gd name="T45" fmla="*/ 2147483647 h 215"/>
                    <a:gd name="T46" fmla="*/ 2147483647 w 187"/>
                    <a:gd name="T47" fmla="*/ 2147483647 h 215"/>
                    <a:gd name="T48" fmla="*/ 2147483647 w 187"/>
                    <a:gd name="T49" fmla="*/ 2147483647 h 215"/>
                    <a:gd name="T50" fmla="*/ 2147483647 w 187"/>
                    <a:gd name="T51" fmla="*/ 2147483647 h 215"/>
                    <a:gd name="T52" fmla="*/ 2147483647 w 187"/>
                    <a:gd name="T53" fmla="*/ 2147483647 h 215"/>
                    <a:gd name="T54" fmla="*/ 2147483647 w 187"/>
                    <a:gd name="T55" fmla="*/ 2147483647 h 215"/>
                    <a:gd name="T56" fmla="*/ 2147483647 w 187"/>
                    <a:gd name="T57" fmla="*/ 0 h 215"/>
                    <a:gd name="T58" fmla="*/ 2147483647 w 187"/>
                    <a:gd name="T59" fmla="*/ 2147483647 h 215"/>
                    <a:gd name="T60" fmla="*/ 2147483647 w 187"/>
                    <a:gd name="T61" fmla="*/ 2147483647 h 215"/>
                    <a:gd name="T62" fmla="*/ 2147483647 w 187"/>
                    <a:gd name="T63" fmla="*/ 2147483647 h 215"/>
                    <a:gd name="T64" fmla="*/ 2147483647 w 187"/>
                    <a:gd name="T65" fmla="*/ 2147483647 h 215"/>
                    <a:gd name="T66" fmla="*/ 2147483647 w 187"/>
                    <a:gd name="T67" fmla="*/ 2147483647 h 215"/>
                    <a:gd name="T68" fmla="*/ 2147483647 w 187"/>
                    <a:gd name="T69" fmla="*/ 2147483647 h 215"/>
                    <a:gd name="T70" fmla="*/ 2147483647 w 187"/>
                    <a:gd name="T71" fmla="*/ 2147483647 h 215"/>
                    <a:gd name="T72" fmla="*/ 2147483647 w 187"/>
                    <a:gd name="T73" fmla="*/ 2147483647 h 215"/>
                    <a:gd name="T74" fmla="*/ 2147483647 w 187"/>
                    <a:gd name="T75" fmla="*/ 2147483647 h 215"/>
                    <a:gd name="T76" fmla="*/ 2147483647 w 187"/>
                    <a:gd name="T77" fmla="*/ 2147483647 h 215"/>
                    <a:gd name="T78" fmla="*/ 2147483647 w 187"/>
                    <a:gd name="T79" fmla="*/ 2147483647 h 215"/>
                    <a:gd name="T80" fmla="*/ 2147483647 w 187"/>
                    <a:gd name="T81" fmla="*/ 2147483647 h 215"/>
                    <a:gd name="T82" fmla="*/ 2147483647 w 187"/>
                    <a:gd name="T83" fmla="*/ 2147483647 h 215"/>
                    <a:gd name="T84" fmla="*/ 2147483647 w 187"/>
                    <a:gd name="T85" fmla="*/ 2147483647 h 215"/>
                    <a:gd name="T86" fmla="*/ 2147483647 w 187"/>
                    <a:gd name="T87" fmla="*/ 2147483647 h 215"/>
                    <a:gd name="T88" fmla="*/ 2147483647 w 187"/>
                    <a:gd name="T89" fmla="*/ 2147483647 h 215"/>
                    <a:gd name="T90" fmla="*/ 2147483647 w 187"/>
                    <a:gd name="T91" fmla="*/ 2147483647 h 2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7"/>
                    <a:gd name="T139" fmla="*/ 0 h 215"/>
                    <a:gd name="T140" fmla="*/ 187 w 187"/>
                    <a:gd name="T141" fmla="*/ 215 h 2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7" h="215">
                      <a:moveTo>
                        <a:pt x="187" y="187"/>
                      </a:moveTo>
                      <a:lnTo>
                        <a:pt x="187" y="187"/>
                      </a:lnTo>
                      <a:lnTo>
                        <a:pt x="184" y="192"/>
                      </a:lnTo>
                      <a:lnTo>
                        <a:pt x="182" y="194"/>
                      </a:lnTo>
                      <a:lnTo>
                        <a:pt x="180" y="196"/>
                      </a:lnTo>
                      <a:lnTo>
                        <a:pt x="174" y="198"/>
                      </a:lnTo>
                      <a:lnTo>
                        <a:pt x="168" y="202"/>
                      </a:lnTo>
                      <a:lnTo>
                        <a:pt x="163" y="205"/>
                      </a:lnTo>
                      <a:lnTo>
                        <a:pt x="158" y="209"/>
                      </a:lnTo>
                      <a:lnTo>
                        <a:pt x="156" y="210"/>
                      </a:lnTo>
                      <a:lnTo>
                        <a:pt x="153" y="210"/>
                      </a:lnTo>
                      <a:lnTo>
                        <a:pt x="149" y="207"/>
                      </a:lnTo>
                      <a:lnTo>
                        <a:pt x="147" y="205"/>
                      </a:lnTo>
                      <a:lnTo>
                        <a:pt x="146" y="204"/>
                      </a:lnTo>
                      <a:lnTo>
                        <a:pt x="143" y="204"/>
                      </a:lnTo>
                      <a:lnTo>
                        <a:pt x="130" y="210"/>
                      </a:lnTo>
                      <a:lnTo>
                        <a:pt x="123" y="212"/>
                      </a:lnTo>
                      <a:lnTo>
                        <a:pt x="115" y="212"/>
                      </a:lnTo>
                      <a:lnTo>
                        <a:pt x="109" y="211"/>
                      </a:lnTo>
                      <a:lnTo>
                        <a:pt x="102" y="211"/>
                      </a:lnTo>
                      <a:lnTo>
                        <a:pt x="97" y="212"/>
                      </a:lnTo>
                      <a:lnTo>
                        <a:pt x="92" y="215"/>
                      </a:lnTo>
                      <a:lnTo>
                        <a:pt x="91" y="205"/>
                      </a:lnTo>
                      <a:lnTo>
                        <a:pt x="91" y="197"/>
                      </a:lnTo>
                      <a:lnTo>
                        <a:pt x="91" y="193"/>
                      </a:lnTo>
                      <a:lnTo>
                        <a:pt x="90" y="190"/>
                      </a:lnTo>
                      <a:lnTo>
                        <a:pt x="83" y="180"/>
                      </a:lnTo>
                      <a:lnTo>
                        <a:pt x="77" y="172"/>
                      </a:lnTo>
                      <a:lnTo>
                        <a:pt x="76" y="172"/>
                      </a:lnTo>
                      <a:lnTo>
                        <a:pt x="74" y="174"/>
                      </a:lnTo>
                      <a:lnTo>
                        <a:pt x="76" y="175"/>
                      </a:lnTo>
                      <a:lnTo>
                        <a:pt x="71" y="174"/>
                      </a:lnTo>
                      <a:lnTo>
                        <a:pt x="66" y="172"/>
                      </a:lnTo>
                      <a:lnTo>
                        <a:pt x="59" y="172"/>
                      </a:lnTo>
                      <a:lnTo>
                        <a:pt x="55" y="171"/>
                      </a:lnTo>
                      <a:lnTo>
                        <a:pt x="52" y="170"/>
                      </a:lnTo>
                      <a:lnTo>
                        <a:pt x="49" y="167"/>
                      </a:lnTo>
                      <a:lnTo>
                        <a:pt x="48" y="166"/>
                      </a:lnTo>
                      <a:lnTo>
                        <a:pt x="41" y="164"/>
                      </a:lnTo>
                      <a:lnTo>
                        <a:pt x="36" y="161"/>
                      </a:lnTo>
                      <a:lnTo>
                        <a:pt x="26" y="154"/>
                      </a:lnTo>
                      <a:lnTo>
                        <a:pt x="25" y="149"/>
                      </a:lnTo>
                      <a:lnTo>
                        <a:pt x="22" y="143"/>
                      </a:lnTo>
                      <a:lnTo>
                        <a:pt x="17" y="134"/>
                      </a:lnTo>
                      <a:lnTo>
                        <a:pt x="11" y="124"/>
                      </a:lnTo>
                      <a:lnTo>
                        <a:pt x="6" y="114"/>
                      </a:lnTo>
                      <a:lnTo>
                        <a:pt x="3" y="102"/>
                      </a:lnTo>
                      <a:lnTo>
                        <a:pt x="1" y="89"/>
                      </a:lnTo>
                      <a:lnTo>
                        <a:pt x="0" y="76"/>
                      </a:lnTo>
                      <a:lnTo>
                        <a:pt x="1" y="64"/>
                      </a:lnTo>
                      <a:lnTo>
                        <a:pt x="7" y="58"/>
                      </a:lnTo>
                      <a:lnTo>
                        <a:pt x="11" y="53"/>
                      </a:lnTo>
                      <a:lnTo>
                        <a:pt x="12" y="51"/>
                      </a:lnTo>
                      <a:lnTo>
                        <a:pt x="12" y="47"/>
                      </a:lnTo>
                      <a:lnTo>
                        <a:pt x="10" y="41"/>
                      </a:lnTo>
                      <a:lnTo>
                        <a:pt x="8" y="36"/>
                      </a:lnTo>
                      <a:lnTo>
                        <a:pt x="11" y="34"/>
                      </a:lnTo>
                      <a:lnTo>
                        <a:pt x="14" y="32"/>
                      </a:lnTo>
                      <a:lnTo>
                        <a:pt x="15" y="28"/>
                      </a:lnTo>
                      <a:lnTo>
                        <a:pt x="16" y="21"/>
                      </a:lnTo>
                      <a:lnTo>
                        <a:pt x="15" y="13"/>
                      </a:lnTo>
                      <a:lnTo>
                        <a:pt x="15" y="6"/>
                      </a:lnTo>
                      <a:lnTo>
                        <a:pt x="30" y="6"/>
                      </a:lnTo>
                      <a:lnTo>
                        <a:pt x="45" y="5"/>
                      </a:lnTo>
                      <a:lnTo>
                        <a:pt x="76" y="0"/>
                      </a:lnTo>
                      <a:lnTo>
                        <a:pt x="92" y="14"/>
                      </a:lnTo>
                      <a:lnTo>
                        <a:pt x="109" y="27"/>
                      </a:lnTo>
                      <a:lnTo>
                        <a:pt x="127" y="44"/>
                      </a:lnTo>
                      <a:lnTo>
                        <a:pt x="134" y="50"/>
                      </a:lnTo>
                      <a:lnTo>
                        <a:pt x="138" y="58"/>
                      </a:lnTo>
                      <a:lnTo>
                        <a:pt x="141" y="62"/>
                      </a:lnTo>
                      <a:lnTo>
                        <a:pt x="144" y="65"/>
                      </a:lnTo>
                      <a:lnTo>
                        <a:pt x="154" y="71"/>
                      </a:lnTo>
                      <a:lnTo>
                        <a:pt x="165" y="77"/>
                      </a:lnTo>
                      <a:lnTo>
                        <a:pt x="168" y="81"/>
                      </a:lnTo>
                      <a:lnTo>
                        <a:pt x="171" y="83"/>
                      </a:lnTo>
                      <a:lnTo>
                        <a:pt x="168" y="89"/>
                      </a:lnTo>
                      <a:lnTo>
                        <a:pt x="165" y="95"/>
                      </a:lnTo>
                      <a:lnTo>
                        <a:pt x="162" y="98"/>
                      </a:lnTo>
                      <a:lnTo>
                        <a:pt x="161" y="102"/>
                      </a:lnTo>
                      <a:lnTo>
                        <a:pt x="161" y="107"/>
                      </a:lnTo>
                      <a:lnTo>
                        <a:pt x="162" y="110"/>
                      </a:lnTo>
                      <a:lnTo>
                        <a:pt x="162" y="115"/>
                      </a:lnTo>
                      <a:lnTo>
                        <a:pt x="165" y="119"/>
                      </a:lnTo>
                      <a:lnTo>
                        <a:pt x="167" y="121"/>
                      </a:lnTo>
                      <a:lnTo>
                        <a:pt x="170" y="124"/>
                      </a:lnTo>
                      <a:lnTo>
                        <a:pt x="171" y="128"/>
                      </a:lnTo>
                      <a:lnTo>
                        <a:pt x="171" y="132"/>
                      </a:lnTo>
                      <a:lnTo>
                        <a:pt x="168" y="138"/>
                      </a:lnTo>
                      <a:lnTo>
                        <a:pt x="168" y="141"/>
                      </a:lnTo>
                      <a:lnTo>
                        <a:pt x="170" y="145"/>
                      </a:lnTo>
                      <a:lnTo>
                        <a:pt x="171" y="149"/>
                      </a:lnTo>
                      <a:lnTo>
                        <a:pt x="172" y="154"/>
                      </a:lnTo>
                      <a:lnTo>
                        <a:pt x="176" y="159"/>
                      </a:lnTo>
                      <a:lnTo>
                        <a:pt x="180" y="164"/>
                      </a:lnTo>
                      <a:lnTo>
                        <a:pt x="181" y="168"/>
                      </a:lnTo>
                      <a:lnTo>
                        <a:pt x="181" y="173"/>
                      </a:lnTo>
                      <a:lnTo>
                        <a:pt x="182" y="183"/>
                      </a:lnTo>
                      <a:lnTo>
                        <a:pt x="184" y="185"/>
                      </a:lnTo>
                      <a:lnTo>
                        <a:pt x="186" y="186"/>
                      </a:lnTo>
                      <a:lnTo>
                        <a:pt x="187" y="18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5" name="Freeform 747"/>
                <p:cNvSpPr>
                  <a:spLocks/>
                </p:cNvSpPr>
                <p:nvPr/>
              </p:nvSpPr>
              <p:spPr bwMode="auto">
                <a:xfrm>
                  <a:off x="5298946" y="4650922"/>
                  <a:ext cx="38477" cy="48835"/>
                </a:xfrm>
                <a:custGeom>
                  <a:avLst/>
                  <a:gdLst>
                    <a:gd name="T0" fmla="*/ 2147483647 w 29"/>
                    <a:gd name="T1" fmla="*/ 2147483647 h 33"/>
                    <a:gd name="T2" fmla="*/ 2147483647 w 29"/>
                    <a:gd name="T3" fmla="*/ 2147483647 h 33"/>
                    <a:gd name="T4" fmla="*/ 0 w 29"/>
                    <a:gd name="T5" fmla="*/ 2147483647 h 33"/>
                    <a:gd name="T6" fmla="*/ 2147483647 w 29"/>
                    <a:gd name="T7" fmla="*/ 2147483647 h 33"/>
                    <a:gd name="T8" fmla="*/ 2147483647 w 29"/>
                    <a:gd name="T9" fmla="*/ 2147483647 h 33"/>
                    <a:gd name="T10" fmla="*/ 2147483647 w 29"/>
                    <a:gd name="T11" fmla="*/ 2147483647 h 33"/>
                    <a:gd name="T12" fmla="*/ 2147483647 w 29"/>
                    <a:gd name="T13" fmla="*/ 2147483647 h 33"/>
                    <a:gd name="T14" fmla="*/ 2147483647 w 29"/>
                    <a:gd name="T15" fmla="*/ 0 h 33"/>
                    <a:gd name="T16" fmla="*/ 2147483647 w 29"/>
                    <a:gd name="T17" fmla="*/ 0 h 33"/>
                    <a:gd name="T18" fmla="*/ 2147483647 w 29"/>
                    <a:gd name="T19" fmla="*/ 2147483647 h 33"/>
                    <a:gd name="T20" fmla="*/ 2147483647 w 29"/>
                    <a:gd name="T21" fmla="*/ 2147483647 h 33"/>
                    <a:gd name="T22" fmla="*/ 2147483647 w 29"/>
                    <a:gd name="T23" fmla="*/ 2147483647 h 33"/>
                    <a:gd name="T24" fmla="*/ 2147483647 w 29"/>
                    <a:gd name="T25" fmla="*/ 2147483647 h 33"/>
                    <a:gd name="T26" fmla="*/ 2147483647 w 29"/>
                    <a:gd name="T27" fmla="*/ 2147483647 h 33"/>
                    <a:gd name="T28" fmla="*/ 2147483647 w 29"/>
                    <a:gd name="T29" fmla="*/ 2147483647 h 33"/>
                    <a:gd name="T30" fmla="*/ 2147483647 w 29"/>
                    <a:gd name="T31" fmla="*/ 2147483647 h 33"/>
                    <a:gd name="T32" fmla="*/ 2147483647 w 29"/>
                    <a:gd name="T33" fmla="*/ 2147483647 h 33"/>
                    <a:gd name="T34" fmla="*/ 2147483647 w 29"/>
                    <a:gd name="T35" fmla="*/ 2147483647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
                    <a:gd name="T55" fmla="*/ 0 h 33"/>
                    <a:gd name="T56" fmla="*/ 29 w 29"/>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 h="33">
                      <a:moveTo>
                        <a:pt x="3" y="32"/>
                      </a:moveTo>
                      <a:lnTo>
                        <a:pt x="1" y="32"/>
                      </a:lnTo>
                      <a:lnTo>
                        <a:pt x="0" y="30"/>
                      </a:lnTo>
                      <a:lnTo>
                        <a:pt x="1" y="24"/>
                      </a:lnTo>
                      <a:lnTo>
                        <a:pt x="3" y="19"/>
                      </a:lnTo>
                      <a:lnTo>
                        <a:pt x="5" y="14"/>
                      </a:lnTo>
                      <a:lnTo>
                        <a:pt x="12" y="7"/>
                      </a:lnTo>
                      <a:lnTo>
                        <a:pt x="18" y="0"/>
                      </a:lnTo>
                      <a:lnTo>
                        <a:pt x="28" y="0"/>
                      </a:lnTo>
                      <a:lnTo>
                        <a:pt x="28" y="7"/>
                      </a:lnTo>
                      <a:lnTo>
                        <a:pt x="29" y="16"/>
                      </a:lnTo>
                      <a:lnTo>
                        <a:pt x="28" y="23"/>
                      </a:lnTo>
                      <a:lnTo>
                        <a:pt x="27" y="26"/>
                      </a:lnTo>
                      <a:lnTo>
                        <a:pt x="24" y="29"/>
                      </a:lnTo>
                      <a:lnTo>
                        <a:pt x="22" y="30"/>
                      </a:lnTo>
                      <a:lnTo>
                        <a:pt x="12" y="33"/>
                      </a:lnTo>
                      <a:lnTo>
                        <a:pt x="6" y="33"/>
                      </a:lnTo>
                      <a:lnTo>
                        <a:pt x="3"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6" name="Freeform 748"/>
                <p:cNvSpPr>
                  <a:spLocks/>
                </p:cNvSpPr>
                <p:nvPr/>
              </p:nvSpPr>
              <p:spPr bwMode="auto">
                <a:xfrm>
                  <a:off x="5301901" y="4695315"/>
                  <a:ext cx="32557" cy="41436"/>
                </a:xfrm>
                <a:custGeom>
                  <a:avLst/>
                  <a:gdLst>
                    <a:gd name="T0" fmla="*/ 2147483647 w 23"/>
                    <a:gd name="T1" fmla="*/ 2147483647 h 28"/>
                    <a:gd name="T2" fmla="*/ 2147483647 w 23"/>
                    <a:gd name="T3" fmla="*/ 2147483647 h 28"/>
                    <a:gd name="T4" fmla="*/ 2147483647 w 23"/>
                    <a:gd name="T5" fmla="*/ 2147483647 h 28"/>
                    <a:gd name="T6" fmla="*/ 2147483647 w 23"/>
                    <a:gd name="T7" fmla="*/ 2147483647 h 28"/>
                    <a:gd name="T8" fmla="*/ 0 w 23"/>
                    <a:gd name="T9" fmla="*/ 2147483647 h 28"/>
                    <a:gd name="T10" fmla="*/ 2147483647 w 23"/>
                    <a:gd name="T11" fmla="*/ 2147483647 h 28"/>
                    <a:gd name="T12" fmla="*/ 2147483647 w 23"/>
                    <a:gd name="T13" fmla="*/ 2147483647 h 28"/>
                    <a:gd name="T14" fmla="*/ 2147483647 w 23"/>
                    <a:gd name="T15" fmla="*/ 0 h 28"/>
                    <a:gd name="T16" fmla="*/ 2147483647 w 23"/>
                    <a:gd name="T17" fmla="*/ 2147483647 h 28"/>
                    <a:gd name="T18" fmla="*/ 2147483647 w 23"/>
                    <a:gd name="T19" fmla="*/ 2147483647 h 28"/>
                    <a:gd name="T20" fmla="*/ 2147483647 w 23"/>
                    <a:gd name="T21" fmla="*/ 2147483647 h 28"/>
                    <a:gd name="T22" fmla="*/ 2147483647 w 23"/>
                    <a:gd name="T23" fmla="*/ 2147483647 h 28"/>
                    <a:gd name="T24" fmla="*/ 2147483647 w 23"/>
                    <a:gd name="T25" fmla="*/ 2147483647 h 28"/>
                    <a:gd name="T26" fmla="*/ 2147483647 w 23"/>
                    <a:gd name="T27" fmla="*/ 2147483647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28"/>
                    <a:gd name="T44" fmla="*/ 23 w 23"/>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28">
                      <a:moveTo>
                        <a:pt x="11" y="28"/>
                      </a:moveTo>
                      <a:lnTo>
                        <a:pt x="10" y="22"/>
                      </a:lnTo>
                      <a:lnTo>
                        <a:pt x="6" y="16"/>
                      </a:lnTo>
                      <a:lnTo>
                        <a:pt x="2" y="9"/>
                      </a:lnTo>
                      <a:lnTo>
                        <a:pt x="0" y="2"/>
                      </a:lnTo>
                      <a:lnTo>
                        <a:pt x="3" y="3"/>
                      </a:lnTo>
                      <a:lnTo>
                        <a:pt x="9" y="3"/>
                      </a:lnTo>
                      <a:lnTo>
                        <a:pt x="19" y="0"/>
                      </a:lnTo>
                      <a:lnTo>
                        <a:pt x="20" y="6"/>
                      </a:lnTo>
                      <a:lnTo>
                        <a:pt x="23" y="12"/>
                      </a:lnTo>
                      <a:lnTo>
                        <a:pt x="23" y="15"/>
                      </a:lnTo>
                      <a:lnTo>
                        <a:pt x="21" y="18"/>
                      </a:lnTo>
                      <a:lnTo>
                        <a:pt x="17" y="22"/>
                      </a:lnTo>
                      <a:lnTo>
                        <a:pt x="11"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7" name="Freeform 749"/>
                <p:cNvSpPr>
                  <a:spLocks/>
                </p:cNvSpPr>
                <p:nvPr/>
              </p:nvSpPr>
              <p:spPr bwMode="auto">
                <a:xfrm>
                  <a:off x="5297465" y="4649439"/>
                  <a:ext cx="38477" cy="48836"/>
                </a:xfrm>
                <a:custGeom>
                  <a:avLst/>
                  <a:gdLst>
                    <a:gd name="T0" fmla="*/ 2147483647 w 29"/>
                    <a:gd name="T1" fmla="*/ 2147483647 h 33"/>
                    <a:gd name="T2" fmla="*/ 2147483647 w 29"/>
                    <a:gd name="T3" fmla="*/ 2147483647 h 33"/>
                    <a:gd name="T4" fmla="*/ 2147483647 w 29"/>
                    <a:gd name="T5" fmla="*/ 2147483647 h 33"/>
                    <a:gd name="T6" fmla="*/ 0 w 29"/>
                    <a:gd name="T7" fmla="*/ 2147483647 h 33"/>
                    <a:gd name="T8" fmla="*/ 2147483647 w 29"/>
                    <a:gd name="T9" fmla="*/ 2147483647 h 33"/>
                    <a:gd name="T10" fmla="*/ 2147483647 w 29"/>
                    <a:gd name="T11" fmla="*/ 2147483647 h 33"/>
                    <a:gd name="T12" fmla="*/ 2147483647 w 29"/>
                    <a:gd name="T13" fmla="*/ 2147483647 h 33"/>
                    <a:gd name="T14" fmla="*/ 2147483647 w 29"/>
                    <a:gd name="T15" fmla="*/ 2147483647 h 33"/>
                    <a:gd name="T16" fmla="*/ 2147483647 w 29"/>
                    <a:gd name="T17" fmla="*/ 2147483647 h 33"/>
                    <a:gd name="T18" fmla="*/ 2147483647 w 29"/>
                    <a:gd name="T19" fmla="*/ 0 h 33"/>
                    <a:gd name="T20" fmla="*/ 2147483647 w 29"/>
                    <a:gd name="T21" fmla="*/ 0 h 33"/>
                    <a:gd name="T22" fmla="*/ 2147483647 w 29"/>
                    <a:gd name="T23" fmla="*/ 0 h 33"/>
                    <a:gd name="T24" fmla="*/ 2147483647 w 29"/>
                    <a:gd name="T25" fmla="*/ 0 h 33"/>
                    <a:gd name="T26" fmla="*/ 2147483647 w 29"/>
                    <a:gd name="T27" fmla="*/ 2147483647 h 33"/>
                    <a:gd name="T28" fmla="*/ 2147483647 w 29"/>
                    <a:gd name="T29" fmla="*/ 2147483647 h 33"/>
                    <a:gd name="T30" fmla="*/ 2147483647 w 29"/>
                    <a:gd name="T31" fmla="*/ 2147483647 h 33"/>
                    <a:gd name="T32" fmla="*/ 2147483647 w 29"/>
                    <a:gd name="T33" fmla="*/ 2147483647 h 33"/>
                    <a:gd name="T34" fmla="*/ 2147483647 w 29"/>
                    <a:gd name="T35" fmla="*/ 2147483647 h 33"/>
                    <a:gd name="T36" fmla="*/ 2147483647 w 29"/>
                    <a:gd name="T37" fmla="*/ 2147483647 h 33"/>
                    <a:gd name="T38" fmla="*/ 2147483647 w 29"/>
                    <a:gd name="T39" fmla="*/ 2147483647 h 33"/>
                    <a:gd name="T40" fmla="*/ 2147483647 w 29"/>
                    <a:gd name="T41" fmla="*/ 2147483647 h 33"/>
                    <a:gd name="T42" fmla="*/ 2147483647 w 29"/>
                    <a:gd name="T43" fmla="*/ 2147483647 h 33"/>
                    <a:gd name="T44" fmla="*/ 2147483647 w 29"/>
                    <a:gd name="T45" fmla="*/ 2147483647 h 33"/>
                    <a:gd name="T46" fmla="*/ 2147483647 w 29"/>
                    <a:gd name="T47" fmla="*/ 2147483647 h 33"/>
                    <a:gd name="T48" fmla="*/ 2147483647 w 29"/>
                    <a:gd name="T49" fmla="*/ 2147483647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
                    <a:gd name="T76" fmla="*/ 0 h 33"/>
                    <a:gd name="T77" fmla="*/ 29 w 29"/>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 h="33">
                      <a:moveTo>
                        <a:pt x="2" y="32"/>
                      </a:moveTo>
                      <a:lnTo>
                        <a:pt x="2" y="32"/>
                      </a:lnTo>
                      <a:lnTo>
                        <a:pt x="1" y="32"/>
                      </a:lnTo>
                      <a:lnTo>
                        <a:pt x="0" y="30"/>
                      </a:lnTo>
                      <a:lnTo>
                        <a:pt x="1" y="24"/>
                      </a:lnTo>
                      <a:lnTo>
                        <a:pt x="2" y="19"/>
                      </a:lnTo>
                      <a:lnTo>
                        <a:pt x="5" y="14"/>
                      </a:lnTo>
                      <a:lnTo>
                        <a:pt x="11" y="7"/>
                      </a:lnTo>
                      <a:lnTo>
                        <a:pt x="18" y="0"/>
                      </a:lnTo>
                      <a:lnTo>
                        <a:pt x="28" y="0"/>
                      </a:lnTo>
                      <a:lnTo>
                        <a:pt x="28" y="7"/>
                      </a:lnTo>
                      <a:lnTo>
                        <a:pt x="29" y="15"/>
                      </a:lnTo>
                      <a:lnTo>
                        <a:pt x="28" y="22"/>
                      </a:lnTo>
                      <a:lnTo>
                        <a:pt x="27" y="26"/>
                      </a:lnTo>
                      <a:lnTo>
                        <a:pt x="24" y="28"/>
                      </a:lnTo>
                      <a:lnTo>
                        <a:pt x="21" y="30"/>
                      </a:lnTo>
                      <a:lnTo>
                        <a:pt x="11" y="33"/>
                      </a:lnTo>
                      <a:lnTo>
                        <a:pt x="6" y="33"/>
                      </a:lnTo>
                      <a:lnTo>
                        <a:pt x="2"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8" name="Freeform 750"/>
                <p:cNvSpPr>
                  <a:spLocks/>
                </p:cNvSpPr>
                <p:nvPr/>
              </p:nvSpPr>
              <p:spPr bwMode="auto">
                <a:xfrm>
                  <a:off x="5298943" y="4693835"/>
                  <a:ext cx="32557" cy="41436"/>
                </a:xfrm>
                <a:custGeom>
                  <a:avLst/>
                  <a:gdLst>
                    <a:gd name="T0" fmla="*/ 2147483647 w 23"/>
                    <a:gd name="T1" fmla="*/ 2147483647 h 28"/>
                    <a:gd name="T2" fmla="*/ 2147483647 w 23"/>
                    <a:gd name="T3" fmla="*/ 2147483647 h 28"/>
                    <a:gd name="T4" fmla="*/ 2147483647 w 23"/>
                    <a:gd name="T5" fmla="*/ 2147483647 h 28"/>
                    <a:gd name="T6" fmla="*/ 2147483647 w 23"/>
                    <a:gd name="T7" fmla="*/ 2147483647 h 28"/>
                    <a:gd name="T8" fmla="*/ 2147483647 w 23"/>
                    <a:gd name="T9" fmla="*/ 2147483647 h 28"/>
                    <a:gd name="T10" fmla="*/ 2147483647 w 23"/>
                    <a:gd name="T11" fmla="*/ 2147483647 h 28"/>
                    <a:gd name="T12" fmla="*/ 2147483647 w 23"/>
                    <a:gd name="T13" fmla="*/ 2147483647 h 28"/>
                    <a:gd name="T14" fmla="*/ 0 w 23"/>
                    <a:gd name="T15" fmla="*/ 2147483647 h 28"/>
                    <a:gd name="T16" fmla="*/ 0 w 23"/>
                    <a:gd name="T17" fmla="*/ 2147483647 h 28"/>
                    <a:gd name="T18" fmla="*/ 2147483647 w 23"/>
                    <a:gd name="T19" fmla="*/ 2147483647 h 28"/>
                    <a:gd name="T20" fmla="*/ 2147483647 w 23"/>
                    <a:gd name="T21" fmla="*/ 2147483647 h 28"/>
                    <a:gd name="T22" fmla="*/ 2147483647 w 23"/>
                    <a:gd name="T23" fmla="*/ 0 h 28"/>
                    <a:gd name="T24" fmla="*/ 2147483647 w 23"/>
                    <a:gd name="T25" fmla="*/ 0 h 28"/>
                    <a:gd name="T26" fmla="*/ 2147483647 w 23"/>
                    <a:gd name="T27" fmla="*/ 2147483647 h 28"/>
                    <a:gd name="T28" fmla="*/ 2147483647 w 23"/>
                    <a:gd name="T29" fmla="*/ 2147483647 h 28"/>
                    <a:gd name="T30" fmla="*/ 2147483647 w 23"/>
                    <a:gd name="T31" fmla="*/ 2147483647 h 28"/>
                    <a:gd name="T32" fmla="*/ 2147483647 w 23"/>
                    <a:gd name="T33" fmla="*/ 2147483647 h 28"/>
                    <a:gd name="T34" fmla="*/ 2147483647 w 23"/>
                    <a:gd name="T35" fmla="*/ 2147483647 h 28"/>
                    <a:gd name="T36" fmla="*/ 2147483647 w 23"/>
                    <a:gd name="T37" fmla="*/ 2147483647 h 28"/>
                    <a:gd name="T38" fmla="*/ 2147483647 w 23"/>
                    <a:gd name="T39" fmla="*/ 2147483647 h 28"/>
                    <a:gd name="T40" fmla="*/ 2147483647 w 23"/>
                    <a:gd name="T41" fmla="*/ 2147483647 h 28"/>
                    <a:gd name="T42" fmla="*/ 2147483647 w 23"/>
                    <a:gd name="T43" fmla="*/ 2147483647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28"/>
                    <a:gd name="T68" fmla="*/ 23 w 23"/>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28">
                      <a:moveTo>
                        <a:pt x="12" y="28"/>
                      </a:moveTo>
                      <a:lnTo>
                        <a:pt x="12" y="28"/>
                      </a:lnTo>
                      <a:lnTo>
                        <a:pt x="11" y="22"/>
                      </a:lnTo>
                      <a:lnTo>
                        <a:pt x="7" y="16"/>
                      </a:lnTo>
                      <a:lnTo>
                        <a:pt x="3" y="9"/>
                      </a:lnTo>
                      <a:lnTo>
                        <a:pt x="0" y="2"/>
                      </a:lnTo>
                      <a:lnTo>
                        <a:pt x="4" y="3"/>
                      </a:lnTo>
                      <a:lnTo>
                        <a:pt x="9" y="3"/>
                      </a:lnTo>
                      <a:lnTo>
                        <a:pt x="19" y="0"/>
                      </a:lnTo>
                      <a:lnTo>
                        <a:pt x="21" y="5"/>
                      </a:lnTo>
                      <a:lnTo>
                        <a:pt x="23" y="11"/>
                      </a:lnTo>
                      <a:lnTo>
                        <a:pt x="23" y="15"/>
                      </a:lnTo>
                      <a:lnTo>
                        <a:pt x="22" y="17"/>
                      </a:lnTo>
                      <a:lnTo>
                        <a:pt x="18" y="22"/>
                      </a:lnTo>
                      <a:lnTo>
                        <a:pt x="12" y="2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89" name="Freeform 751"/>
                <p:cNvSpPr>
                  <a:spLocks/>
                </p:cNvSpPr>
                <p:nvPr/>
              </p:nvSpPr>
              <p:spPr bwMode="auto">
                <a:xfrm>
                  <a:off x="5420294" y="4471857"/>
                  <a:ext cx="210142" cy="293015"/>
                </a:xfrm>
                <a:custGeom>
                  <a:avLst/>
                  <a:gdLst>
                    <a:gd name="T0" fmla="*/ 2147483647 w 154"/>
                    <a:gd name="T1" fmla="*/ 2147483647 h 198"/>
                    <a:gd name="T2" fmla="*/ 2147483647 w 154"/>
                    <a:gd name="T3" fmla="*/ 2147483647 h 198"/>
                    <a:gd name="T4" fmla="*/ 2147483647 w 154"/>
                    <a:gd name="T5" fmla="*/ 2147483647 h 198"/>
                    <a:gd name="T6" fmla="*/ 2147483647 w 154"/>
                    <a:gd name="T7" fmla="*/ 2147483647 h 198"/>
                    <a:gd name="T8" fmla="*/ 2147483647 w 154"/>
                    <a:gd name="T9" fmla="*/ 2147483647 h 198"/>
                    <a:gd name="T10" fmla="*/ 0 w 154"/>
                    <a:gd name="T11" fmla="*/ 2147483647 h 198"/>
                    <a:gd name="T12" fmla="*/ 2147483647 w 154"/>
                    <a:gd name="T13" fmla="*/ 2147483647 h 198"/>
                    <a:gd name="T14" fmla="*/ 2147483647 w 154"/>
                    <a:gd name="T15" fmla="*/ 2147483647 h 198"/>
                    <a:gd name="T16" fmla="*/ 2147483647 w 154"/>
                    <a:gd name="T17" fmla="*/ 2147483647 h 198"/>
                    <a:gd name="T18" fmla="*/ 2147483647 w 154"/>
                    <a:gd name="T19" fmla="*/ 2147483647 h 198"/>
                    <a:gd name="T20" fmla="*/ 2147483647 w 154"/>
                    <a:gd name="T21" fmla="*/ 2147483647 h 198"/>
                    <a:gd name="T22" fmla="*/ 2147483647 w 154"/>
                    <a:gd name="T23" fmla="*/ 2147483647 h 198"/>
                    <a:gd name="T24" fmla="*/ 2147483647 w 154"/>
                    <a:gd name="T25" fmla="*/ 2147483647 h 198"/>
                    <a:gd name="T26" fmla="*/ 2147483647 w 154"/>
                    <a:gd name="T27" fmla="*/ 2147483647 h 198"/>
                    <a:gd name="T28" fmla="*/ 2147483647 w 154"/>
                    <a:gd name="T29" fmla="*/ 2147483647 h 198"/>
                    <a:gd name="T30" fmla="*/ 2147483647 w 154"/>
                    <a:gd name="T31" fmla="*/ 2147483647 h 198"/>
                    <a:gd name="T32" fmla="*/ 2147483647 w 154"/>
                    <a:gd name="T33" fmla="*/ 2147483647 h 198"/>
                    <a:gd name="T34" fmla="*/ 2147483647 w 154"/>
                    <a:gd name="T35" fmla="*/ 2147483647 h 198"/>
                    <a:gd name="T36" fmla="*/ 2147483647 w 154"/>
                    <a:gd name="T37" fmla="*/ 2147483647 h 198"/>
                    <a:gd name="T38" fmla="*/ 2147483647 w 154"/>
                    <a:gd name="T39" fmla="*/ 2147483647 h 198"/>
                    <a:gd name="T40" fmla="*/ 2147483647 w 154"/>
                    <a:gd name="T41" fmla="*/ 2147483647 h 198"/>
                    <a:gd name="T42" fmla="*/ 2147483647 w 154"/>
                    <a:gd name="T43" fmla="*/ 2147483647 h 198"/>
                    <a:gd name="T44" fmla="*/ 2147483647 w 154"/>
                    <a:gd name="T45" fmla="*/ 2147483647 h 198"/>
                    <a:gd name="T46" fmla="*/ 2147483647 w 154"/>
                    <a:gd name="T47" fmla="*/ 2147483647 h 198"/>
                    <a:gd name="T48" fmla="*/ 2147483647 w 154"/>
                    <a:gd name="T49" fmla="*/ 2147483647 h 198"/>
                    <a:gd name="T50" fmla="*/ 2147483647 w 154"/>
                    <a:gd name="T51" fmla="*/ 2147483647 h 198"/>
                    <a:gd name="T52" fmla="*/ 2147483647 w 154"/>
                    <a:gd name="T53" fmla="*/ 2147483647 h 198"/>
                    <a:gd name="T54" fmla="*/ 2147483647 w 154"/>
                    <a:gd name="T55" fmla="*/ 2147483647 h 198"/>
                    <a:gd name="T56" fmla="*/ 2147483647 w 154"/>
                    <a:gd name="T57" fmla="*/ 2147483647 h 198"/>
                    <a:gd name="T58" fmla="*/ 2147483647 w 154"/>
                    <a:gd name="T59" fmla="*/ 2147483647 h 198"/>
                    <a:gd name="T60" fmla="*/ 2147483647 w 154"/>
                    <a:gd name="T61" fmla="*/ 2147483647 h 198"/>
                    <a:gd name="T62" fmla="*/ 2147483647 w 154"/>
                    <a:gd name="T63" fmla="*/ 2147483647 h 198"/>
                    <a:gd name="T64" fmla="*/ 2147483647 w 154"/>
                    <a:gd name="T65" fmla="*/ 2147483647 h 198"/>
                    <a:gd name="T66" fmla="*/ 2147483647 w 154"/>
                    <a:gd name="T67" fmla="*/ 2147483647 h 198"/>
                    <a:gd name="T68" fmla="*/ 2147483647 w 154"/>
                    <a:gd name="T69" fmla="*/ 2147483647 h 198"/>
                    <a:gd name="T70" fmla="*/ 2147483647 w 154"/>
                    <a:gd name="T71" fmla="*/ 2147483647 h 198"/>
                    <a:gd name="T72" fmla="*/ 2147483647 w 154"/>
                    <a:gd name="T73" fmla="*/ 2147483647 h 198"/>
                    <a:gd name="T74" fmla="*/ 2147483647 w 154"/>
                    <a:gd name="T75" fmla="*/ 2147483647 h 198"/>
                    <a:gd name="T76" fmla="*/ 2147483647 w 154"/>
                    <a:gd name="T77" fmla="*/ 2147483647 h 198"/>
                    <a:gd name="T78" fmla="*/ 2147483647 w 154"/>
                    <a:gd name="T79" fmla="*/ 2147483647 h 198"/>
                    <a:gd name="T80" fmla="*/ 2147483647 w 154"/>
                    <a:gd name="T81" fmla="*/ 2147483647 h 1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4"/>
                    <a:gd name="T124" fmla="*/ 0 h 198"/>
                    <a:gd name="T125" fmla="*/ 154 w 154"/>
                    <a:gd name="T126" fmla="*/ 198 h 1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4" h="198">
                      <a:moveTo>
                        <a:pt x="95" y="198"/>
                      </a:moveTo>
                      <a:lnTo>
                        <a:pt x="93" y="196"/>
                      </a:lnTo>
                      <a:lnTo>
                        <a:pt x="89" y="192"/>
                      </a:lnTo>
                      <a:lnTo>
                        <a:pt x="79" y="186"/>
                      </a:lnTo>
                      <a:lnTo>
                        <a:pt x="69" y="180"/>
                      </a:lnTo>
                      <a:lnTo>
                        <a:pt x="65" y="177"/>
                      </a:lnTo>
                      <a:lnTo>
                        <a:pt x="62" y="173"/>
                      </a:lnTo>
                      <a:lnTo>
                        <a:pt x="58" y="165"/>
                      </a:lnTo>
                      <a:lnTo>
                        <a:pt x="51" y="159"/>
                      </a:lnTo>
                      <a:lnTo>
                        <a:pt x="33" y="142"/>
                      </a:lnTo>
                      <a:lnTo>
                        <a:pt x="17" y="129"/>
                      </a:lnTo>
                      <a:lnTo>
                        <a:pt x="0" y="115"/>
                      </a:lnTo>
                      <a:lnTo>
                        <a:pt x="1" y="99"/>
                      </a:lnTo>
                      <a:lnTo>
                        <a:pt x="3" y="91"/>
                      </a:lnTo>
                      <a:lnTo>
                        <a:pt x="4" y="84"/>
                      </a:lnTo>
                      <a:lnTo>
                        <a:pt x="6" y="80"/>
                      </a:lnTo>
                      <a:lnTo>
                        <a:pt x="10" y="75"/>
                      </a:lnTo>
                      <a:lnTo>
                        <a:pt x="15" y="70"/>
                      </a:lnTo>
                      <a:lnTo>
                        <a:pt x="20" y="67"/>
                      </a:lnTo>
                      <a:lnTo>
                        <a:pt x="22" y="65"/>
                      </a:lnTo>
                      <a:lnTo>
                        <a:pt x="23" y="63"/>
                      </a:lnTo>
                      <a:lnTo>
                        <a:pt x="22" y="57"/>
                      </a:lnTo>
                      <a:lnTo>
                        <a:pt x="14" y="42"/>
                      </a:lnTo>
                      <a:lnTo>
                        <a:pt x="13" y="33"/>
                      </a:lnTo>
                      <a:lnTo>
                        <a:pt x="10" y="25"/>
                      </a:lnTo>
                      <a:lnTo>
                        <a:pt x="10" y="24"/>
                      </a:lnTo>
                      <a:lnTo>
                        <a:pt x="9" y="23"/>
                      </a:lnTo>
                      <a:lnTo>
                        <a:pt x="5" y="20"/>
                      </a:lnTo>
                      <a:lnTo>
                        <a:pt x="4" y="18"/>
                      </a:lnTo>
                      <a:lnTo>
                        <a:pt x="10" y="10"/>
                      </a:lnTo>
                      <a:lnTo>
                        <a:pt x="14" y="5"/>
                      </a:lnTo>
                      <a:lnTo>
                        <a:pt x="19" y="1"/>
                      </a:lnTo>
                      <a:lnTo>
                        <a:pt x="22" y="0"/>
                      </a:lnTo>
                      <a:lnTo>
                        <a:pt x="24" y="1"/>
                      </a:lnTo>
                      <a:lnTo>
                        <a:pt x="29" y="5"/>
                      </a:lnTo>
                      <a:lnTo>
                        <a:pt x="32" y="5"/>
                      </a:lnTo>
                      <a:lnTo>
                        <a:pt x="34" y="4"/>
                      </a:lnTo>
                      <a:lnTo>
                        <a:pt x="36" y="6"/>
                      </a:lnTo>
                      <a:lnTo>
                        <a:pt x="37" y="8"/>
                      </a:lnTo>
                      <a:lnTo>
                        <a:pt x="38" y="11"/>
                      </a:lnTo>
                      <a:lnTo>
                        <a:pt x="38" y="12"/>
                      </a:lnTo>
                      <a:lnTo>
                        <a:pt x="39" y="13"/>
                      </a:lnTo>
                      <a:lnTo>
                        <a:pt x="42" y="14"/>
                      </a:lnTo>
                      <a:lnTo>
                        <a:pt x="46" y="16"/>
                      </a:lnTo>
                      <a:lnTo>
                        <a:pt x="51" y="14"/>
                      </a:lnTo>
                      <a:lnTo>
                        <a:pt x="56" y="14"/>
                      </a:lnTo>
                      <a:lnTo>
                        <a:pt x="60" y="17"/>
                      </a:lnTo>
                      <a:lnTo>
                        <a:pt x="71" y="24"/>
                      </a:lnTo>
                      <a:lnTo>
                        <a:pt x="77" y="26"/>
                      </a:lnTo>
                      <a:lnTo>
                        <a:pt x="83" y="27"/>
                      </a:lnTo>
                      <a:lnTo>
                        <a:pt x="89" y="27"/>
                      </a:lnTo>
                      <a:lnTo>
                        <a:pt x="94" y="27"/>
                      </a:lnTo>
                      <a:lnTo>
                        <a:pt x="100" y="25"/>
                      </a:lnTo>
                      <a:lnTo>
                        <a:pt x="107" y="22"/>
                      </a:lnTo>
                      <a:lnTo>
                        <a:pt x="110" y="22"/>
                      </a:lnTo>
                      <a:lnTo>
                        <a:pt x="116" y="20"/>
                      </a:lnTo>
                      <a:lnTo>
                        <a:pt x="126" y="20"/>
                      </a:lnTo>
                      <a:lnTo>
                        <a:pt x="136" y="23"/>
                      </a:lnTo>
                      <a:lnTo>
                        <a:pt x="147" y="20"/>
                      </a:lnTo>
                      <a:lnTo>
                        <a:pt x="154" y="20"/>
                      </a:lnTo>
                      <a:lnTo>
                        <a:pt x="149" y="25"/>
                      </a:lnTo>
                      <a:lnTo>
                        <a:pt x="145" y="31"/>
                      </a:lnTo>
                      <a:lnTo>
                        <a:pt x="140" y="36"/>
                      </a:lnTo>
                      <a:lnTo>
                        <a:pt x="136" y="40"/>
                      </a:lnTo>
                      <a:lnTo>
                        <a:pt x="131" y="45"/>
                      </a:lnTo>
                      <a:lnTo>
                        <a:pt x="130" y="50"/>
                      </a:lnTo>
                      <a:lnTo>
                        <a:pt x="130" y="82"/>
                      </a:lnTo>
                      <a:lnTo>
                        <a:pt x="130" y="110"/>
                      </a:lnTo>
                      <a:lnTo>
                        <a:pt x="131" y="114"/>
                      </a:lnTo>
                      <a:lnTo>
                        <a:pt x="133" y="118"/>
                      </a:lnTo>
                      <a:lnTo>
                        <a:pt x="140" y="125"/>
                      </a:lnTo>
                      <a:lnTo>
                        <a:pt x="132" y="137"/>
                      </a:lnTo>
                      <a:lnTo>
                        <a:pt x="130" y="144"/>
                      </a:lnTo>
                      <a:lnTo>
                        <a:pt x="127" y="146"/>
                      </a:lnTo>
                      <a:lnTo>
                        <a:pt x="126" y="148"/>
                      </a:lnTo>
                      <a:lnTo>
                        <a:pt x="118" y="152"/>
                      </a:lnTo>
                      <a:lnTo>
                        <a:pt x="112" y="157"/>
                      </a:lnTo>
                      <a:lnTo>
                        <a:pt x="108" y="163"/>
                      </a:lnTo>
                      <a:lnTo>
                        <a:pt x="105" y="170"/>
                      </a:lnTo>
                      <a:lnTo>
                        <a:pt x="100" y="184"/>
                      </a:lnTo>
                      <a:lnTo>
                        <a:pt x="98" y="191"/>
                      </a:lnTo>
                      <a:lnTo>
                        <a:pt x="95" y="19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0" name="Freeform 752"/>
                <p:cNvSpPr>
                  <a:spLocks/>
                </p:cNvSpPr>
                <p:nvPr/>
              </p:nvSpPr>
              <p:spPr bwMode="auto">
                <a:xfrm>
                  <a:off x="5597876" y="4279470"/>
                  <a:ext cx="236780" cy="377368"/>
                </a:xfrm>
                <a:custGeom>
                  <a:avLst/>
                  <a:gdLst>
                    <a:gd name="T0" fmla="*/ 2147483647 w 174"/>
                    <a:gd name="T1" fmla="*/ 2147483647 h 255"/>
                    <a:gd name="T2" fmla="*/ 0 w 174"/>
                    <a:gd name="T3" fmla="*/ 2147483647 h 255"/>
                    <a:gd name="T4" fmla="*/ 0 w 174"/>
                    <a:gd name="T5" fmla="*/ 2147483647 h 255"/>
                    <a:gd name="T6" fmla="*/ 2147483647 w 174"/>
                    <a:gd name="T7" fmla="*/ 2147483647 h 255"/>
                    <a:gd name="T8" fmla="*/ 2147483647 w 174"/>
                    <a:gd name="T9" fmla="*/ 2147483647 h 255"/>
                    <a:gd name="T10" fmla="*/ 2147483647 w 174"/>
                    <a:gd name="T11" fmla="*/ 2147483647 h 255"/>
                    <a:gd name="T12" fmla="*/ 2147483647 w 174"/>
                    <a:gd name="T13" fmla="*/ 2147483647 h 255"/>
                    <a:gd name="T14" fmla="*/ 2147483647 w 174"/>
                    <a:gd name="T15" fmla="*/ 2147483647 h 255"/>
                    <a:gd name="T16" fmla="*/ 2147483647 w 174"/>
                    <a:gd name="T17" fmla="*/ 2147483647 h 255"/>
                    <a:gd name="T18" fmla="*/ 2147483647 w 174"/>
                    <a:gd name="T19" fmla="*/ 2147483647 h 255"/>
                    <a:gd name="T20" fmla="*/ 2147483647 w 174"/>
                    <a:gd name="T21" fmla="*/ 2147483647 h 255"/>
                    <a:gd name="T22" fmla="*/ 2147483647 w 174"/>
                    <a:gd name="T23" fmla="*/ 2147483647 h 255"/>
                    <a:gd name="T24" fmla="*/ 2147483647 w 174"/>
                    <a:gd name="T25" fmla="*/ 2147483647 h 255"/>
                    <a:gd name="T26" fmla="*/ 2147483647 w 174"/>
                    <a:gd name="T27" fmla="*/ 2147483647 h 255"/>
                    <a:gd name="T28" fmla="*/ 2147483647 w 174"/>
                    <a:gd name="T29" fmla="*/ 2147483647 h 255"/>
                    <a:gd name="T30" fmla="*/ 2147483647 w 174"/>
                    <a:gd name="T31" fmla="*/ 2147483647 h 255"/>
                    <a:gd name="T32" fmla="*/ 2147483647 w 174"/>
                    <a:gd name="T33" fmla="*/ 2147483647 h 255"/>
                    <a:gd name="T34" fmla="*/ 2147483647 w 174"/>
                    <a:gd name="T35" fmla="*/ 2147483647 h 255"/>
                    <a:gd name="T36" fmla="*/ 2147483647 w 174"/>
                    <a:gd name="T37" fmla="*/ 2147483647 h 255"/>
                    <a:gd name="T38" fmla="*/ 2147483647 w 174"/>
                    <a:gd name="T39" fmla="*/ 2147483647 h 255"/>
                    <a:gd name="T40" fmla="*/ 2147483647 w 174"/>
                    <a:gd name="T41" fmla="*/ 2147483647 h 255"/>
                    <a:gd name="T42" fmla="*/ 2147483647 w 174"/>
                    <a:gd name="T43" fmla="*/ 2147483647 h 255"/>
                    <a:gd name="T44" fmla="*/ 2147483647 w 174"/>
                    <a:gd name="T45" fmla="*/ 2147483647 h 255"/>
                    <a:gd name="T46" fmla="*/ 2147483647 w 174"/>
                    <a:gd name="T47" fmla="*/ 2147483647 h 255"/>
                    <a:gd name="T48" fmla="*/ 2147483647 w 174"/>
                    <a:gd name="T49" fmla="*/ 2147483647 h 255"/>
                    <a:gd name="T50" fmla="*/ 2147483647 w 174"/>
                    <a:gd name="T51" fmla="*/ 2147483647 h 255"/>
                    <a:gd name="T52" fmla="*/ 2147483647 w 174"/>
                    <a:gd name="T53" fmla="*/ 2147483647 h 255"/>
                    <a:gd name="T54" fmla="*/ 2147483647 w 174"/>
                    <a:gd name="T55" fmla="*/ 2147483647 h 255"/>
                    <a:gd name="T56" fmla="*/ 2147483647 w 174"/>
                    <a:gd name="T57" fmla="*/ 2147483647 h 255"/>
                    <a:gd name="T58" fmla="*/ 2147483647 w 174"/>
                    <a:gd name="T59" fmla="*/ 2147483647 h 255"/>
                    <a:gd name="T60" fmla="*/ 2147483647 w 174"/>
                    <a:gd name="T61" fmla="*/ 2147483647 h 255"/>
                    <a:gd name="T62" fmla="*/ 2147483647 w 174"/>
                    <a:gd name="T63" fmla="*/ 2147483647 h 255"/>
                    <a:gd name="T64" fmla="*/ 2147483647 w 174"/>
                    <a:gd name="T65" fmla="*/ 2147483647 h 255"/>
                    <a:gd name="T66" fmla="*/ 2147483647 w 174"/>
                    <a:gd name="T67" fmla="*/ 2147483647 h 255"/>
                    <a:gd name="T68" fmla="*/ 2147483647 w 174"/>
                    <a:gd name="T69" fmla="*/ 2147483647 h 255"/>
                    <a:gd name="T70" fmla="*/ 2147483647 w 174"/>
                    <a:gd name="T71" fmla="*/ 0 h 255"/>
                    <a:gd name="T72" fmla="*/ 2147483647 w 174"/>
                    <a:gd name="T73" fmla="*/ 2147483647 h 255"/>
                    <a:gd name="T74" fmla="*/ 2147483647 w 174"/>
                    <a:gd name="T75" fmla="*/ 2147483647 h 255"/>
                    <a:gd name="T76" fmla="*/ 2147483647 w 174"/>
                    <a:gd name="T77" fmla="*/ 2147483647 h 255"/>
                    <a:gd name="T78" fmla="*/ 2147483647 w 174"/>
                    <a:gd name="T79" fmla="*/ 2147483647 h 255"/>
                    <a:gd name="T80" fmla="*/ 2147483647 w 174"/>
                    <a:gd name="T81" fmla="*/ 2147483647 h 255"/>
                    <a:gd name="T82" fmla="*/ 2147483647 w 174"/>
                    <a:gd name="T83" fmla="*/ 2147483647 h 255"/>
                    <a:gd name="T84" fmla="*/ 2147483647 w 174"/>
                    <a:gd name="T85" fmla="*/ 2147483647 h 255"/>
                    <a:gd name="T86" fmla="*/ 2147483647 w 174"/>
                    <a:gd name="T87" fmla="*/ 2147483647 h 255"/>
                    <a:gd name="T88" fmla="*/ 2147483647 w 174"/>
                    <a:gd name="T89" fmla="*/ 2147483647 h 255"/>
                    <a:gd name="T90" fmla="*/ 2147483647 w 174"/>
                    <a:gd name="T91" fmla="*/ 2147483647 h 255"/>
                    <a:gd name="T92" fmla="*/ 2147483647 w 174"/>
                    <a:gd name="T93" fmla="*/ 2147483647 h 255"/>
                    <a:gd name="T94" fmla="*/ 2147483647 w 174"/>
                    <a:gd name="T95" fmla="*/ 2147483647 h 255"/>
                    <a:gd name="T96" fmla="*/ 2147483647 w 174"/>
                    <a:gd name="T97" fmla="*/ 2147483647 h 255"/>
                    <a:gd name="T98" fmla="*/ 2147483647 w 174"/>
                    <a:gd name="T99" fmla="*/ 2147483647 h 255"/>
                    <a:gd name="T100" fmla="*/ 2147483647 w 174"/>
                    <a:gd name="T101" fmla="*/ 2147483647 h 255"/>
                    <a:gd name="T102" fmla="*/ 2147483647 w 174"/>
                    <a:gd name="T103" fmla="*/ 2147483647 h 255"/>
                    <a:gd name="T104" fmla="*/ 2147483647 w 174"/>
                    <a:gd name="T105" fmla="*/ 2147483647 h 255"/>
                    <a:gd name="T106" fmla="*/ 2147483647 w 174"/>
                    <a:gd name="T107" fmla="*/ 2147483647 h 255"/>
                    <a:gd name="T108" fmla="*/ 2147483647 w 174"/>
                    <a:gd name="T109" fmla="*/ 2147483647 h 255"/>
                    <a:gd name="T110" fmla="*/ 2147483647 w 174"/>
                    <a:gd name="T111" fmla="*/ 2147483647 h 255"/>
                    <a:gd name="T112" fmla="*/ 2147483647 w 174"/>
                    <a:gd name="T113" fmla="*/ 2147483647 h 255"/>
                    <a:gd name="T114" fmla="*/ 2147483647 w 174"/>
                    <a:gd name="T115" fmla="*/ 2147483647 h 255"/>
                    <a:gd name="T116" fmla="*/ 2147483647 w 174"/>
                    <a:gd name="T117" fmla="*/ 2147483647 h 255"/>
                    <a:gd name="T118" fmla="*/ 2147483647 w 174"/>
                    <a:gd name="T119" fmla="*/ 2147483647 h 255"/>
                    <a:gd name="T120" fmla="*/ 2147483647 w 174"/>
                    <a:gd name="T121" fmla="*/ 2147483647 h 255"/>
                    <a:gd name="T122" fmla="*/ 2147483647 w 174"/>
                    <a:gd name="T123" fmla="*/ 2147483647 h 2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255"/>
                    <a:gd name="T188" fmla="*/ 174 w 174"/>
                    <a:gd name="T189" fmla="*/ 255 h 2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255">
                      <a:moveTo>
                        <a:pt x="10" y="255"/>
                      </a:moveTo>
                      <a:lnTo>
                        <a:pt x="3" y="248"/>
                      </a:lnTo>
                      <a:lnTo>
                        <a:pt x="1" y="244"/>
                      </a:lnTo>
                      <a:lnTo>
                        <a:pt x="0" y="240"/>
                      </a:lnTo>
                      <a:lnTo>
                        <a:pt x="0" y="212"/>
                      </a:lnTo>
                      <a:lnTo>
                        <a:pt x="0" y="180"/>
                      </a:lnTo>
                      <a:lnTo>
                        <a:pt x="1" y="175"/>
                      </a:lnTo>
                      <a:lnTo>
                        <a:pt x="6" y="170"/>
                      </a:lnTo>
                      <a:lnTo>
                        <a:pt x="10" y="166"/>
                      </a:lnTo>
                      <a:lnTo>
                        <a:pt x="15" y="161"/>
                      </a:lnTo>
                      <a:lnTo>
                        <a:pt x="19" y="155"/>
                      </a:lnTo>
                      <a:lnTo>
                        <a:pt x="24" y="150"/>
                      </a:lnTo>
                      <a:lnTo>
                        <a:pt x="30" y="150"/>
                      </a:lnTo>
                      <a:lnTo>
                        <a:pt x="36" y="149"/>
                      </a:lnTo>
                      <a:lnTo>
                        <a:pt x="40" y="147"/>
                      </a:lnTo>
                      <a:lnTo>
                        <a:pt x="45" y="144"/>
                      </a:lnTo>
                      <a:lnTo>
                        <a:pt x="49" y="142"/>
                      </a:lnTo>
                      <a:lnTo>
                        <a:pt x="52" y="141"/>
                      </a:lnTo>
                      <a:lnTo>
                        <a:pt x="60" y="141"/>
                      </a:lnTo>
                      <a:lnTo>
                        <a:pt x="66" y="141"/>
                      </a:lnTo>
                      <a:lnTo>
                        <a:pt x="71" y="140"/>
                      </a:lnTo>
                      <a:lnTo>
                        <a:pt x="73" y="137"/>
                      </a:lnTo>
                      <a:lnTo>
                        <a:pt x="76" y="133"/>
                      </a:lnTo>
                      <a:lnTo>
                        <a:pt x="87" y="117"/>
                      </a:lnTo>
                      <a:lnTo>
                        <a:pt x="100" y="104"/>
                      </a:lnTo>
                      <a:lnTo>
                        <a:pt x="113" y="90"/>
                      </a:lnTo>
                      <a:lnTo>
                        <a:pt x="118" y="83"/>
                      </a:lnTo>
                      <a:lnTo>
                        <a:pt x="121" y="74"/>
                      </a:lnTo>
                      <a:lnTo>
                        <a:pt x="120" y="73"/>
                      </a:lnTo>
                      <a:lnTo>
                        <a:pt x="119" y="73"/>
                      </a:lnTo>
                      <a:lnTo>
                        <a:pt x="111" y="73"/>
                      </a:lnTo>
                      <a:lnTo>
                        <a:pt x="104" y="72"/>
                      </a:lnTo>
                      <a:lnTo>
                        <a:pt x="97" y="70"/>
                      </a:lnTo>
                      <a:lnTo>
                        <a:pt x="90" y="67"/>
                      </a:lnTo>
                      <a:lnTo>
                        <a:pt x="77" y="61"/>
                      </a:lnTo>
                      <a:lnTo>
                        <a:pt x="63" y="55"/>
                      </a:lnTo>
                      <a:lnTo>
                        <a:pt x="57" y="53"/>
                      </a:lnTo>
                      <a:lnTo>
                        <a:pt x="49" y="50"/>
                      </a:lnTo>
                      <a:lnTo>
                        <a:pt x="43" y="46"/>
                      </a:lnTo>
                      <a:lnTo>
                        <a:pt x="38" y="41"/>
                      </a:lnTo>
                      <a:lnTo>
                        <a:pt x="27" y="32"/>
                      </a:lnTo>
                      <a:lnTo>
                        <a:pt x="20" y="20"/>
                      </a:lnTo>
                      <a:lnTo>
                        <a:pt x="22" y="18"/>
                      </a:lnTo>
                      <a:lnTo>
                        <a:pt x="26" y="12"/>
                      </a:lnTo>
                      <a:lnTo>
                        <a:pt x="29" y="8"/>
                      </a:lnTo>
                      <a:lnTo>
                        <a:pt x="31" y="6"/>
                      </a:lnTo>
                      <a:lnTo>
                        <a:pt x="31" y="9"/>
                      </a:lnTo>
                      <a:lnTo>
                        <a:pt x="33" y="12"/>
                      </a:lnTo>
                      <a:lnTo>
                        <a:pt x="41" y="19"/>
                      </a:lnTo>
                      <a:lnTo>
                        <a:pt x="50" y="23"/>
                      </a:lnTo>
                      <a:lnTo>
                        <a:pt x="54" y="25"/>
                      </a:lnTo>
                      <a:lnTo>
                        <a:pt x="59" y="26"/>
                      </a:lnTo>
                      <a:lnTo>
                        <a:pt x="66" y="27"/>
                      </a:lnTo>
                      <a:lnTo>
                        <a:pt x="72" y="26"/>
                      </a:lnTo>
                      <a:lnTo>
                        <a:pt x="83" y="22"/>
                      </a:lnTo>
                      <a:lnTo>
                        <a:pt x="96" y="19"/>
                      </a:lnTo>
                      <a:lnTo>
                        <a:pt x="107" y="15"/>
                      </a:lnTo>
                      <a:lnTo>
                        <a:pt x="120" y="13"/>
                      </a:lnTo>
                      <a:lnTo>
                        <a:pt x="121" y="13"/>
                      </a:lnTo>
                      <a:lnTo>
                        <a:pt x="123" y="14"/>
                      </a:lnTo>
                      <a:lnTo>
                        <a:pt x="124" y="14"/>
                      </a:lnTo>
                      <a:lnTo>
                        <a:pt x="125" y="15"/>
                      </a:lnTo>
                      <a:lnTo>
                        <a:pt x="130" y="13"/>
                      </a:lnTo>
                      <a:lnTo>
                        <a:pt x="134" y="10"/>
                      </a:lnTo>
                      <a:lnTo>
                        <a:pt x="139" y="9"/>
                      </a:lnTo>
                      <a:lnTo>
                        <a:pt x="144" y="9"/>
                      </a:lnTo>
                      <a:lnTo>
                        <a:pt x="147" y="9"/>
                      </a:lnTo>
                      <a:lnTo>
                        <a:pt x="151" y="9"/>
                      </a:lnTo>
                      <a:lnTo>
                        <a:pt x="157" y="6"/>
                      </a:lnTo>
                      <a:lnTo>
                        <a:pt x="165" y="2"/>
                      </a:lnTo>
                      <a:lnTo>
                        <a:pt x="168" y="0"/>
                      </a:lnTo>
                      <a:lnTo>
                        <a:pt x="172" y="0"/>
                      </a:lnTo>
                      <a:lnTo>
                        <a:pt x="174" y="1"/>
                      </a:lnTo>
                      <a:lnTo>
                        <a:pt x="174" y="3"/>
                      </a:lnTo>
                      <a:lnTo>
                        <a:pt x="172" y="8"/>
                      </a:lnTo>
                      <a:lnTo>
                        <a:pt x="171" y="13"/>
                      </a:lnTo>
                      <a:lnTo>
                        <a:pt x="171" y="19"/>
                      </a:lnTo>
                      <a:lnTo>
                        <a:pt x="172" y="23"/>
                      </a:lnTo>
                      <a:lnTo>
                        <a:pt x="174" y="27"/>
                      </a:lnTo>
                      <a:lnTo>
                        <a:pt x="174" y="29"/>
                      </a:lnTo>
                      <a:lnTo>
                        <a:pt x="171" y="35"/>
                      </a:lnTo>
                      <a:lnTo>
                        <a:pt x="157" y="61"/>
                      </a:lnTo>
                      <a:lnTo>
                        <a:pt x="144" y="86"/>
                      </a:lnTo>
                      <a:lnTo>
                        <a:pt x="140" y="93"/>
                      </a:lnTo>
                      <a:lnTo>
                        <a:pt x="138" y="97"/>
                      </a:lnTo>
                      <a:lnTo>
                        <a:pt x="138" y="99"/>
                      </a:lnTo>
                      <a:lnTo>
                        <a:pt x="137" y="109"/>
                      </a:lnTo>
                      <a:lnTo>
                        <a:pt x="134" y="118"/>
                      </a:lnTo>
                      <a:lnTo>
                        <a:pt x="133" y="123"/>
                      </a:lnTo>
                      <a:lnTo>
                        <a:pt x="130" y="127"/>
                      </a:lnTo>
                      <a:lnTo>
                        <a:pt x="127" y="130"/>
                      </a:lnTo>
                      <a:lnTo>
                        <a:pt x="123" y="133"/>
                      </a:lnTo>
                      <a:lnTo>
                        <a:pt x="121" y="135"/>
                      </a:lnTo>
                      <a:lnTo>
                        <a:pt x="120" y="137"/>
                      </a:lnTo>
                      <a:lnTo>
                        <a:pt x="119" y="141"/>
                      </a:lnTo>
                      <a:lnTo>
                        <a:pt x="118" y="142"/>
                      </a:lnTo>
                      <a:lnTo>
                        <a:pt x="113" y="146"/>
                      </a:lnTo>
                      <a:lnTo>
                        <a:pt x="110" y="150"/>
                      </a:lnTo>
                      <a:lnTo>
                        <a:pt x="106" y="160"/>
                      </a:lnTo>
                      <a:lnTo>
                        <a:pt x="102" y="168"/>
                      </a:lnTo>
                      <a:lnTo>
                        <a:pt x="96" y="174"/>
                      </a:lnTo>
                      <a:lnTo>
                        <a:pt x="90" y="179"/>
                      </a:lnTo>
                      <a:lnTo>
                        <a:pt x="83" y="184"/>
                      </a:lnTo>
                      <a:lnTo>
                        <a:pt x="76" y="188"/>
                      </a:lnTo>
                      <a:lnTo>
                        <a:pt x="71" y="193"/>
                      </a:lnTo>
                      <a:lnTo>
                        <a:pt x="64" y="202"/>
                      </a:lnTo>
                      <a:lnTo>
                        <a:pt x="62" y="205"/>
                      </a:lnTo>
                      <a:lnTo>
                        <a:pt x="57" y="207"/>
                      </a:lnTo>
                      <a:lnTo>
                        <a:pt x="53" y="210"/>
                      </a:lnTo>
                      <a:lnTo>
                        <a:pt x="50" y="213"/>
                      </a:lnTo>
                      <a:lnTo>
                        <a:pt x="49" y="216"/>
                      </a:lnTo>
                      <a:lnTo>
                        <a:pt x="48" y="218"/>
                      </a:lnTo>
                      <a:lnTo>
                        <a:pt x="44" y="221"/>
                      </a:lnTo>
                      <a:lnTo>
                        <a:pt x="40" y="223"/>
                      </a:lnTo>
                      <a:lnTo>
                        <a:pt x="36" y="226"/>
                      </a:lnTo>
                      <a:lnTo>
                        <a:pt x="33" y="230"/>
                      </a:lnTo>
                      <a:lnTo>
                        <a:pt x="30" y="232"/>
                      </a:lnTo>
                      <a:lnTo>
                        <a:pt x="24" y="237"/>
                      </a:lnTo>
                      <a:lnTo>
                        <a:pt x="21" y="239"/>
                      </a:lnTo>
                      <a:lnTo>
                        <a:pt x="20" y="243"/>
                      </a:lnTo>
                      <a:lnTo>
                        <a:pt x="19" y="245"/>
                      </a:lnTo>
                      <a:lnTo>
                        <a:pt x="16" y="248"/>
                      </a:lnTo>
                      <a:lnTo>
                        <a:pt x="14" y="250"/>
                      </a:lnTo>
                      <a:lnTo>
                        <a:pt x="10" y="25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1" name="Freeform 753"/>
                <p:cNvSpPr>
                  <a:spLocks/>
                </p:cNvSpPr>
                <p:nvPr/>
              </p:nvSpPr>
              <p:spPr bwMode="auto">
                <a:xfrm>
                  <a:off x="5418813" y="4470377"/>
                  <a:ext cx="208661" cy="293015"/>
                </a:xfrm>
                <a:custGeom>
                  <a:avLst/>
                  <a:gdLst>
                    <a:gd name="T0" fmla="*/ 2147483647 w 153"/>
                    <a:gd name="T1" fmla="*/ 2147483647 h 198"/>
                    <a:gd name="T2" fmla="*/ 2147483647 w 153"/>
                    <a:gd name="T3" fmla="*/ 2147483647 h 198"/>
                    <a:gd name="T4" fmla="*/ 2147483647 w 153"/>
                    <a:gd name="T5" fmla="*/ 2147483647 h 198"/>
                    <a:gd name="T6" fmla="*/ 2147483647 w 153"/>
                    <a:gd name="T7" fmla="*/ 2147483647 h 198"/>
                    <a:gd name="T8" fmla="*/ 2147483647 w 153"/>
                    <a:gd name="T9" fmla="*/ 2147483647 h 198"/>
                    <a:gd name="T10" fmla="*/ 2147483647 w 153"/>
                    <a:gd name="T11" fmla="*/ 2147483647 h 198"/>
                    <a:gd name="T12" fmla="*/ 2147483647 w 153"/>
                    <a:gd name="T13" fmla="*/ 2147483647 h 198"/>
                    <a:gd name="T14" fmla="*/ 0 w 153"/>
                    <a:gd name="T15" fmla="*/ 2147483647 h 198"/>
                    <a:gd name="T16" fmla="*/ 2147483647 w 153"/>
                    <a:gd name="T17" fmla="*/ 2147483647 h 198"/>
                    <a:gd name="T18" fmla="*/ 2147483647 w 153"/>
                    <a:gd name="T19" fmla="*/ 2147483647 h 198"/>
                    <a:gd name="T20" fmla="*/ 2147483647 w 153"/>
                    <a:gd name="T21" fmla="*/ 2147483647 h 198"/>
                    <a:gd name="T22" fmla="*/ 2147483647 w 153"/>
                    <a:gd name="T23" fmla="*/ 2147483647 h 198"/>
                    <a:gd name="T24" fmla="*/ 2147483647 w 153"/>
                    <a:gd name="T25" fmla="*/ 2147483647 h 198"/>
                    <a:gd name="T26" fmla="*/ 2147483647 w 153"/>
                    <a:gd name="T27" fmla="*/ 2147483647 h 198"/>
                    <a:gd name="T28" fmla="*/ 2147483647 w 153"/>
                    <a:gd name="T29" fmla="*/ 2147483647 h 198"/>
                    <a:gd name="T30" fmla="*/ 2147483647 w 153"/>
                    <a:gd name="T31" fmla="*/ 2147483647 h 198"/>
                    <a:gd name="T32" fmla="*/ 2147483647 w 153"/>
                    <a:gd name="T33" fmla="*/ 2147483647 h 198"/>
                    <a:gd name="T34" fmla="*/ 2147483647 w 153"/>
                    <a:gd name="T35" fmla="*/ 2147483647 h 198"/>
                    <a:gd name="T36" fmla="*/ 2147483647 w 153"/>
                    <a:gd name="T37" fmla="*/ 2147483647 h 198"/>
                    <a:gd name="T38" fmla="*/ 2147483647 w 153"/>
                    <a:gd name="T39" fmla="*/ 2147483647 h 198"/>
                    <a:gd name="T40" fmla="*/ 2147483647 w 153"/>
                    <a:gd name="T41" fmla="*/ 2147483647 h 198"/>
                    <a:gd name="T42" fmla="*/ 2147483647 w 153"/>
                    <a:gd name="T43" fmla="*/ 0 h 198"/>
                    <a:gd name="T44" fmla="*/ 2147483647 w 153"/>
                    <a:gd name="T45" fmla="*/ 2147483647 h 198"/>
                    <a:gd name="T46" fmla="*/ 2147483647 w 153"/>
                    <a:gd name="T47" fmla="*/ 2147483647 h 198"/>
                    <a:gd name="T48" fmla="*/ 2147483647 w 153"/>
                    <a:gd name="T49" fmla="*/ 2147483647 h 198"/>
                    <a:gd name="T50" fmla="*/ 2147483647 w 153"/>
                    <a:gd name="T51" fmla="*/ 2147483647 h 198"/>
                    <a:gd name="T52" fmla="*/ 2147483647 w 153"/>
                    <a:gd name="T53" fmla="*/ 2147483647 h 198"/>
                    <a:gd name="T54" fmla="*/ 2147483647 w 153"/>
                    <a:gd name="T55" fmla="*/ 2147483647 h 198"/>
                    <a:gd name="T56" fmla="*/ 2147483647 w 153"/>
                    <a:gd name="T57" fmla="*/ 2147483647 h 198"/>
                    <a:gd name="T58" fmla="*/ 2147483647 w 153"/>
                    <a:gd name="T59" fmla="*/ 2147483647 h 198"/>
                    <a:gd name="T60" fmla="*/ 2147483647 w 153"/>
                    <a:gd name="T61" fmla="*/ 2147483647 h 198"/>
                    <a:gd name="T62" fmla="*/ 2147483647 w 153"/>
                    <a:gd name="T63" fmla="*/ 2147483647 h 198"/>
                    <a:gd name="T64" fmla="*/ 2147483647 w 153"/>
                    <a:gd name="T65" fmla="*/ 2147483647 h 198"/>
                    <a:gd name="T66" fmla="*/ 2147483647 w 153"/>
                    <a:gd name="T67" fmla="*/ 2147483647 h 198"/>
                    <a:gd name="T68" fmla="*/ 2147483647 w 153"/>
                    <a:gd name="T69" fmla="*/ 2147483647 h 198"/>
                    <a:gd name="T70" fmla="*/ 2147483647 w 153"/>
                    <a:gd name="T71" fmla="*/ 2147483647 h 198"/>
                    <a:gd name="T72" fmla="*/ 2147483647 w 153"/>
                    <a:gd name="T73" fmla="*/ 2147483647 h 198"/>
                    <a:gd name="T74" fmla="*/ 2147483647 w 153"/>
                    <a:gd name="T75" fmla="*/ 2147483647 h 198"/>
                    <a:gd name="T76" fmla="*/ 2147483647 w 153"/>
                    <a:gd name="T77" fmla="*/ 2147483647 h 198"/>
                    <a:gd name="T78" fmla="*/ 2147483647 w 153"/>
                    <a:gd name="T79" fmla="*/ 2147483647 h 198"/>
                    <a:gd name="T80" fmla="*/ 2147483647 w 153"/>
                    <a:gd name="T81" fmla="*/ 2147483647 h 198"/>
                    <a:gd name="T82" fmla="*/ 2147483647 w 153"/>
                    <a:gd name="T83" fmla="*/ 2147483647 h 198"/>
                    <a:gd name="T84" fmla="*/ 2147483647 w 153"/>
                    <a:gd name="T85" fmla="*/ 2147483647 h 198"/>
                    <a:gd name="T86" fmla="*/ 2147483647 w 153"/>
                    <a:gd name="T87" fmla="*/ 2147483647 h 198"/>
                    <a:gd name="T88" fmla="*/ 2147483647 w 153"/>
                    <a:gd name="T89" fmla="*/ 2147483647 h 198"/>
                    <a:gd name="T90" fmla="*/ 2147483647 w 153"/>
                    <a:gd name="T91" fmla="*/ 2147483647 h 198"/>
                    <a:gd name="T92" fmla="*/ 2147483647 w 153"/>
                    <a:gd name="T93" fmla="*/ 2147483647 h 198"/>
                    <a:gd name="T94" fmla="*/ 2147483647 w 153"/>
                    <a:gd name="T95" fmla="*/ 2147483647 h 198"/>
                    <a:gd name="T96" fmla="*/ 2147483647 w 153"/>
                    <a:gd name="T97" fmla="*/ 2147483647 h 198"/>
                    <a:gd name="T98" fmla="*/ 2147483647 w 153"/>
                    <a:gd name="T99" fmla="*/ 2147483647 h 198"/>
                    <a:gd name="T100" fmla="*/ 2147483647 w 153"/>
                    <a:gd name="T101" fmla="*/ 2147483647 h 198"/>
                    <a:gd name="T102" fmla="*/ 2147483647 w 153"/>
                    <a:gd name="T103" fmla="*/ 2147483647 h 198"/>
                    <a:gd name="T104" fmla="*/ 2147483647 w 153"/>
                    <a:gd name="T105" fmla="*/ 2147483647 h 198"/>
                    <a:gd name="T106" fmla="*/ 2147483647 w 153"/>
                    <a:gd name="T107" fmla="*/ 2147483647 h 19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3"/>
                    <a:gd name="T163" fmla="*/ 0 h 198"/>
                    <a:gd name="T164" fmla="*/ 153 w 153"/>
                    <a:gd name="T165" fmla="*/ 198 h 19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3" h="198">
                      <a:moveTo>
                        <a:pt x="95" y="198"/>
                      </a:moveTo>
                      <a:lnTo>
                        <a:pt x="95" y="198"/>
                      </a:lnTo>
                      <a:lnTo>
                        <a:pt x="92" y="196"/>
                      </a:lnTo>
                      <a:lnTo>
                        <a:pt x="89" y="192"/>
                      </a:lnTo>
                      <a:lnTo>
                        <a:pt x="78" y="186"/>
                      </a:lnTo>
                      <a:lnTo>
                        <a:pt x="68" y="180"/>
                      </a:lnTo>
                      <a:lnTo>
                        <a:pt x="65" y="177"/>
                      </a:lnTo>
                      <a:lnTo>
                        <a:pt x="62" y="173"/>
                      </a:lnTo>
                      <a:lnTo>
                        <a:pt x="58" y="165"/>
                      </a:lnTo>
                      <a:lnTo>
                        <a:pt x="51" y="159"/>
                      </a:lnTo>
                      <a:lnTo>
                        <a:pt x="33" y="142"/>
                      </a:lnTo>
                      <a:lnTo>
                        <a:pt x="16" y="129"/>
                      </a:lnTo>
                      <a:lnTo>
                        <a:pt x="0" y="115"/>
                      </a:lnTo>
                      <a:lnTo>
                        <a:pt x="1" y="98"/>
                      </a:lnTo>
                      <a:lnTo>
                        <a:pt x="2" y="91"/>
                      </a:lnTo>
                      <a:lnTo>
                        <a:pt x="4" y="84"/>
                      </a:lnTo>
                      <a:lnTo>
                        <a:pt x="6" y="79"/>
                      </a:lnTo>
                      <a:lnTo>
                        <a:pt x="10" y="75"/>
                      </a:lnTo>
                      <a:lnTo>
                        <a:pt x="15" y="70"/>
                      </a:lnTo>
                      <a:lnTo>
                        <a:pt x="20" y="66"/>
                      </a:lnTo>
                      <a:lnTo>
                        <a:pt x="21" y="65"/>
                      </a:lnTo>
                      <a:lnTo>
                        <a:pt x="23" y="63"/>
                      </a:lnTo>
                      <a:lnTo>
                        <a:pt x="21" y="57"/>
                      </a:lnTo>
                      <a:lnTo>
                        <a:pt x="14" y="41"/>
                      </a:lnTo>
                      <a:lnTo>
                        <a:pt x="12" y="33"/>
                      </a:lnTo>
                      <a:lnTo>
                        <a:pt x="10" y="25"/>
                      </a:lnTo>
                      <a:lnTo>
                        <a:pt x="10" y="24"/>
                      </a:lnTo>
                      <a:lnTo>
                        <a:pt x="9" y="23"/>
                      </a:lnTo>
                      <a:lnTo>
                        <a:pt x="5" y="20"/>
                      </a:lnTo>
                      <a:lnTo>
                        <a:pt x="4" y="18"/>
                      </a:lnTo>
                      <a:lnTo>
                        <a:pt x="10" y="9"/>
                      </a:lnTo>
                      <a:lnTo>
                        <a:pt x="14" y="5"/>
                      </a:lnTo>
                      <a:lnTo>
                        <a:pt x="19" y="1"/>
                      </a:lnTo>
                      <a:lnTo>
                        <a:pt x="21" y="0"/>
                      </a:lnTo>
                      <a:lnTo>
                        <a:pt x="24" y="1"/>
                      </a:lnTo>
                      <a:lnTo>
                        <a:pt x="29" y="5"/>
                      </a:lnTo>
                      <a:lnTo>
                        <a:pt x="31" y="5"/>
                      </a:lnTo>
                      <a:lnTo>
                        <a:pt x="34" y="4"/>
                      </a:lnTo>
                      <a:lnTo>
                        <a:pt x="35" y="6"/>
                      </a:lnTo>
                      <a:lnTo>
                        <a:pt x="37" y="8"/>
                      </a:lnTo>
                      <a:lnTo>
                        <a:pt x="38" y="11"/>
                      </a:lnTo>
                      <a:lnTo>
                        <a:pt x="38" y="12"/>
                      </a:lnTo>
                      <a:lnTo>
                        <a:pt x="39" y="13"/>
                      </a:lnTo>
                      <a:lnTo>
                        <a:pt x="42" y="14"/>
                      </a:lnTo>
                      <a:lnTo>
                        <a:pt x="45" y="15"/>
                      </a:lnTo>
                      <a:lnTo>
                        <a:pt x="51" y="14"/>
                      </a:lnTo>
                      <a:lnTo>
                        <a:pt x="56" y="14"/>
                      </a:lnTo>
                      <a:lnTo>
                        <a:pt x="59" y="17"/>
                      </a:lnTo>
                      <a:lnTo>
                        <a:pt x="71" y="24"/>
                      </a:lnTo>
                      <a:lnTo>
                        <a:pt x="77" y="26"/>
                      </a:lnTo>
                      <a:lnTo>
                        <a:pt x="82" y="27"/>
                      </a:lnTo>
                      <a:lnTo>
                        <a:pt x="89" y="27"/>
                      </a:lnTo>
                      <a:lnTo>
                        <a:pt x="94" y="27"/>
                      </a:lnTo>
                      <a:lnTo>
                        <a:pt x="100" y="25"/>
                      </a:lnTo>
                      <a:lnTo>
                        <a:pt x="106" y="21"/>
                      </a:lnTo>
                      <a:lnTo>
                        <a:pt x="110" y="21"/>
                      </a:lnTo>
                      <a:lnTo>
                        <a:pt x="115" y="20"/>
                      </a:lnTo>
                      <a:lnTo>
                        <a:pt x="125" y="20"/>
                      </a:lnTo>
                      <a:lnTo>
                        <a:pt x="136" y="23"/>
                      </a:lnTo>
                      <a:lnTo>
                        <a:pt x="147" y="20"/>
                      </a:lnTo>
                      <a:lnTo>
                        <a:pt x="153" y="20"/>
                      </a:lnTo>
                      <a:lnTo>
                        <a:pt x="148" y="25"/>
                      </a:lnTo>
                      <a:lnTo>
                        <a:pt x="145" y="31"/>
                      </a:lnTo>
                      <a:lnTo>
                        <a:pt x="139" y="36"/>
                      </a:lnTo>
                      <a:lnTo>
                        <a:pt x="136" y="40"/>
                      </a:lnTo>
                      <a:lnTo>
                        <a:pt x="131" y="45"/>
                      </a:lnTo>
                      <a:lnTo>
                        <a:pt x="129" y="50"/>
                      </a:lnTo>
                      <a:lnTo>
                        <a:pt x="129" y="82"/>
                      </a:lnTo>
                      <a:lnTo>
                        <a:pt x="129" y="110"/>
                      </a:lnTo>
                      <a:lnTo>
                        <a:pt x="131" y="114"/>
                      </a:lnTo>
                      <a:lnTo>
                        <a:pt x="133" y="117"/>
                      </a:lnTo>
                      <a:lnTo>
                        <a:pt x="139" y="124"/>
                      </a:lnTo>
                      <a:lnTo>
                        <a:pt x="132" y="136"/>
                      </a:lnTo>
                      <a:lnTo>
                        <a:pt x="129" y="143"/>
                      </a:lnTo>
                      <a:lnTo>
                        <a:pt x="127" y="146"/>
                      </a:lnTo>
                      <a:lnTo>
                        <a:pt x="125" y="148"/>
                      </a:lnTo>
                      <a:lnTo>
                        <a:pt x="118" y="152"/>
                      </a:lnTo>
                      <a:lnTo>
                        <a:pt x="111" y="156"/>
                      </a:lnTo>
                      <a:lnTo>
                        <a:pt x="108" y="162"/>
                      </a:lnTo>
                      <a:lnTo>
                        <a:pt x="105" y="170"/>
                      </a:lnTo>
                      <a:lnTo>
                        <a:pt x="100" y="184"/>
                      </a:lnTo>
                      <a:lnTo>
                        <a:pt x="98" y="191"/>
                      </a:lnTo>
                      <a:lnTo>
                        <a:pt x="95" y="19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2" name="Freeform 754"/>
                <p:cNvSpPr>
                  <a:spLocks/>
                </p:cNvSpPr>
                <p:nvPr/>
              </p:nvSpPr>
              <p:spPr bwMode="auto">
                <a:xfrm>
                  <a:off x="5594915" y="4277995"/>
                  <a:ext cx="236780" cy="375887"/>
                </a:xfrm>
                <a:custGeom>
                  <a:avLst/>
                  <a:gdLst>
                    <a:gd name="T0" fmla="*/ 2147483647 w 174"/>
                    <a:gd name="T1" fmla="*/ 2147483647 h 254"/>
                    <a:gd name="T2" fmla="*/ 0 w 174"/>
                    <a:gd name="T3" fmla="*/ 2147483647 h 254"/>
                    <a:gd name="T4" fmla="*/ 0 w 174"/>
                    <a:gd name="T5" fmla="*/ 2147483647 h 254"/>
                    <a:gd name="T6" fmla="*/ 2147483647 w 174"/>
                    <a:gd name="T7" fmla="*/ 2147483647 h 254"/>
                    <a:gd name="T8" fmla="*/ 2147483647 w 174"/>
                    <a:gd name="T9" fmla="*/ 2147483647 h 254"/>
                    <a:gd name="T10" fmla="*/ 2147483647 w 174"/>
                    <a:gd name="T11" fmla="*/ 2147483647 h 254"/>
                    <a:gd name="T12" fmla="*/ 2147483647 w 174"/>
                    <a:gd name="T13" fmla="*/ 2147483647 h 254"/>
                    <a:gd name="T14" fmla="*/ 2147483647 w 174"/>
                    <a:gd name="T15" fmla="*/ 2147483647 h 254"/>
                    <a:gd name="T16" fmla="*/ 2147483647 w 174"/>
                    <a:gd name="T17" fmla="*/ 2147483647 h 254"/>
                    <a:gd name="T18" fmla="*/ 2147483647 w 174"/>
                    <a:gd name="T19" fmla="*/ 2147483647 h 254"/>
                    <a:gd name="T20" fmla="*/ 2147483647 w 174"/>
                    <a:gd name="T21" fmla="*/ 2147483647 h 254"/>
                    <a:gd name="T22" fmla="*/ 2147483647 w 174"/>
                    <a:gd name="T23" fmla="*/ 2147483647 h 254"/>
                    <a:gd name="T24" fmla="*/ 2147483647 w 174"/>
                    <a:gd name="T25" fmla="*/ 2147483647 h 254"/>
                    <a:gd name="T26" fmla="*/ 2147483647 w 174"/>
                    <a:gd name="T27" fmla="*/ 2147483647 h 254"/>
                    <a:gd name="T28" fmla="*/ 2147483647 w 174"/>
                    <a:gd name="T29" fmla="*/ 2147483647 h 254"/>
                    <a:gd name="T30" fmla="*/ 2147483647 w 174"/>
                    <a:gd name="T31" fmla="*/ 2147483647 h 254"/>
                    <a:gd name="T32" fmla="*/ 2147483647 w 174"/>
                    <a:gd name="T33" fmla="*/ 2147483647 h 254"/>
                    <a:gd name="T34" fmla="*/ 2147483647 w 174"/>
                    <a:gd name="T35" fmla="*/ 2147483647 h 254"/>
                    <a:gd name="T36" fmla="*/ 2147483647 w 174"/>
                    <a:gd name="T37" fmla="*/ 2147483647 h 254"/>
                    <a:gd name="T38" fmla="*/ 2147483647 w 174"/>
                    <a:gd name="T39" fmla="*/ 2147483647 h 254"/>
                    <a:gd name="T40" fmla="*/ 2147483647 w 174"/>
                    <a:gd name="T41" fmla="*/ 2147483647 h 254"/>
                    <a:gd name="T42" fmla="*/ 2147483647 w 174"/>
                    <a:gd name="T43" fmla="*/ 2147483647 h 254"/>
                    <a:gd name="T44" fmla="*/ 2147483647 w 174"/>
                    <a:gd name="T45" fmla="*/ 2147483647 h 254"/>
                    <a:gd name="T46" fmla="*/ 2147483647 w 174"/>
                    <a:gd name="T47" fmla="*/ 2147483647 h 254"/>
                    <a:gd name="T48" fmla="*/ 2147483647 w 174"/>
                    <a:gd name="T49" fmla="*/ 2147483647 h 254"/>
                    <a:gd name="T50" fmla="*/ 2147483647 w 174"/>
                    <a:gd name="T51" fmla="*/ 2147483647 h 254"/>
                    <a:gd name="T52" fmla="*/ 2147483647 w 174"/>
                    <a:gd name="T53" fmla="*/ 2147483647 h 254"/>
                    <a:gd name="T54" fmla="*/ 2147483647 w 174"/>
                    <a:gd name="T55" fmla="*/ 2147483647 h 254"/>
                    <a:gd name="T56" fmla="*/ 2147483647 w 174"/>
                    <a:gd name="T57" fmla="*/ 2147483647 h 254"/>
                    <a:gd name="T58" fmla="*/ 2147483647 w 174"/>
                    <a:gd name="T59" fmla="*/ 2147483647 h 254"/>
                    <a:gd name="T60" fmla="*/ 2147483647 w 174"/>
                    <a:gd name="T61" fmla="*/ 0 h 254"/>
                    <a:gd name="T62" fmla="*/ 2147483647 w 174"/>
                    <a:gd name="T63" fmla="*/ 2147483647 h 254"/>
                    <a:gd name="T64" fmla="*/ 2147483647 w 174"/>
                    <a:gd name="T65" fmla="*/ 2147483647 h 254"/>
                    <a:gd name="T66" fmla="*/ 2147483647 w 174"/>
                    <a:gd name="T67" fmla="*/ 2147483647 h 254"/>
                    <a:gd name="T68" fmla="*/ 2147483647 w 174"/>
                    <a:gd name="T69" fmla="*/ 2147483647 h 254"/>
                    <a:gd name="T70" fmla="*/ 2147483647 w 174"/>
                    <a:gd name="T71" fmla="*/ 2147483647 h 254"/>
                    <a:gd name="T72" fmla="*/ 2147483647 w 174"/>
                    <a:gd name="T73" fmla="*/ 2147483647 h 254"/>
                    <a:gd name="T74" fmla="*/ 2147483647 w 174"/>
                    <a:gd name="T75" fmla="*/ 2147483647 h 254"/>
                    <a:gd name="T76" fmla="*/ 2147483647 w 174"/>
                    <a:gd name="T77" fmla="*/ 2147483647 h 254"/>
                    <a:gd name="T78" fmla="*/ 2147483647 w 174"/>
                    <a:gd name="T79" fmla="*/ 2147483647 h 254"/>
                    <a:gd name="T80" fmla="*/ 2147483647 w 174"/>
                    <a:gd name="T81" fmla="*/ 2147483647 h 254"/>
                    <a:gd name="T82" fmla="*/ 2147483647 w 174"/>
                    <a:gd name="T83" fmla="*/ 2147483647 h 254"/>
                    <a:gd name="T84" fmla="*/ 2147483647 w 174"/>
                    <a:gd name="T85" fmla="*/ 2147483647 h 254"/>
                    <a:gd name="T86" fmla="*/ 2147483647 w 174"/>
                    <a:gd name="T87" fmla="*/ 2147483647 h 254"/>
                    <a:gd name="T88" fmla="*/ 2147483647 w 174"/>
                    <a:gd name="T89" fmla="*/ 2147483647 h 254"/>
                    <a:gd name="T90" fmla="*/ 2147483647 w 174"/>
                    <a:gd name="T91" fmla="*/ 2147483647 h 254"/>
                    <a:gd name="T92" fmla="*/ 2147483647 w 174"/>
                    <a:gd name="T93" fmla="*/ 2147483647 h 254"/>
                    <a:gd name="T94" fmla="*/ 2147483647 w 174"/>
                    <a:gd name="T95" fmla="*/ 2147483647 h 254"/>
                    <a:gd name="T96" fmla="*/ 2147483647 w 174"/>
                    <a:gd name="T97" fmla="*/ 2147483647 h 254"/>
                    <a:gd name="T98" fmla="*/ 2147483647 w 174"/>
                    <a:gd name="T99" fmla="*/ 2147483647 h 254"/>
                    <a:gd name="T100" fmla="*/ 2147483647 w 174"/>
                    <a:gd name="T101" fmla="*/ 2147483647 h 254"/>
                    <a:gd name="T102" fmla="*/ 2147483647 w 174"/>
                    <a:gd name="T103" fmla="*/ 2147483647 h 254"/>
                    <a:gd name="T104" fmla="*/ 2147483647 w 174"/>
                    <a:gd name="T105" fmla="*/ 2147483647 h 2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
                    <a:gd name="T160" fmla="*/ 0 h 254"/>
                    <a:gd name="T161" fmla="*/ 174 w 174"/>
                    <a:gd name="T162" fmla="*/ 254 h 2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 h="254">
                      <a:moveTo>
                        <a:pt x="10" y="254"/>
                      </a:moveTo>
                      <a:lnTo>
                        <a:pt x="10" y="254"/>
                      </a:lnTo>
                      <a:lnTo>
                        <a:pt x="4" y="247"/>
                      </a:lnTo>
                      <a:lnTo>
                        <a:pt x="2" y="244"/>
                      </a:lnTo>
                      <a:lnTo>
                        <a:pt x="0" y="240"/>
                      </a:lnTo>
                      <a:lnTo>
                        <a:pt x="0" y="212"/>
                      </a:lnTo>
                      <a:lnTo>
                        <a:pt x="0" y="180"/>
                      </a:lnTo>
                      <a:lnTo>
                        <a:pt x="2" y="175"/>
                      </a:lnTo>
                      <a:lnTo>
                        <a:pt x="7" y="170"/>
                      </a:lnTo>
                      <a:lnTo>
                        <a:pt x="10" y="166"/>
                      </a:lnTo>
                      <a:lnTo>
                        <a:pt x="16" y="161"/>
                      </a:lnTo>
                      <a:lnTo>
                        <a:pt x="19" y="155"/>
                      </a:lnTo>
                      <a:lnTo>
                        <a:pt x="24" y="150"/>
                      </a:lnTo>
                      <a:lnTo>
                        <a:pt x="31" y="150"/>
                      </a:lnTo>
                      <a:lnTo>
                        <a:pt x="37" y="149"/>
                      </a:lnTo>
                      <a:lnTo>
                        <a:pt x="41" y="147"/>
                      </a:lnTo>
                      <a:lnTo>
                        <a:pt x="46" y="144"/>
                      </a:lnTo>
                      <a:lnTo>
                        <a:pt x="50" y="142"/>
                      </a:lnTo>
                      <a:lnTo>
                        <a:pt x="52" y="141"/>
                      </a:lnTo>
                      <a:lnTo>
                        <a:pt x="61" y="141"/>
                      </a:lnTo>
                      <a:lnTo>
                        <a:pt x="66" y="141"/>
                      </a:lnTo>
                      <a:lnTo>
                        <a:pt x="71" y="139"/>
                      </a:lnTo>
                      <a:lnTo>
                        <a:pt x="74" y="137"/>
                      </a:lnTo>
                      <a:lnTo>
                        <a:pt x="76" y="132"/>
                      </a:lnTo>
                      <a:lnTo>
                        <a:pt x="88" y="117"/>
                      </a:lnTo>
                      <a:lnTo>
                        <a:pt x="101" y="104"/>
                      </a:lnTo>
                      <a:lnTo>
                        <a:pt x="113" y="90"/>
                      </a:lnTo>
                      <a:lnTo>
                        <a:pt x="118" y="83"/>
                      </a:lnTo>
                      <a:lnTo>
                        <a:pt x="122" y="74"/>
                      </a:lnTo>
                      <a:lnTo>
                        <a:pt x="121" y="73"/>
                      </a:lnTo>
                      <a:lnTo>
                        <a:pt x="120" y="73"/>
                      </a:lnTo>
                      <a:lnTo>
                        <a:pt x="112" y="73"/>
                      </a:lnTo>
                      <a:lnTo>
                        <a:pt x="104" y="72"/>
                      </a:lnTo>
                      <a:lnTo>
                        <a:pt x="98" y="70"/>
                      </a:lnTo>
                      <a:lnTo>
                        <a:pt x="90" y="67"/>
                      </a:lnTo>
                      <a:lnTo>
                        <a:pt x="78" y="61"/>
                      </a:lnTo>
                      <a:lnTo>
                        <a:pt x="64" y="55"/>
                      </a:lnTo>
                      <a:lnTo>
                        <a:pt x="57" y="53"/>
                      </a:lnTo>
                      <a:lnTo>
                        <a:pt x="50" y="49"/>
                      </a:lnTo>
                      <a:lnTo>
                        <a:pt x="43" y="46"/>
                      </a:lnTo>
                      <a:lnTo>
                        <a:pt x="38" y="41"/>
                      </a:lnTo>
                      <a:lnTo>
                        <a:pt x="28" y="32"/>
                      </a:lnTo>
                      <a:lnTo>
                        <a:pt x="21" y="20"/>
                      </a:lnTo>
                      <a:lnTo>
                        <a:pt x="23" y="17"/>
                      </a:lnTo>
                      <a:lnTo>
                        <a:pt x="27" y="11"/>
                      </a:lnTo>
                      <a:lnTo>
                        <a:pt x="29" y="8"/>
                      </a:lnTo>
                      <a:lnTo>
                        <a:pt x="32" y="6"/>
                      </a:lnTo>
                      <a:lnTo>
                        <a:pt x="32" y="9"/>
                      </a:lnTo>
                      <a:lnTo>
                        <a:pt x="33" y="11"/>
                      </a:lnTo>
                      <a:lnTo>
                        <a:pt x="42" y="19"/>
                      </a:lnTo>
                      <a:lnTo>
                        <a:pt x="51" y="23"/>
                      </a:lnTo>
                      <a:lnTo>
                        <a:pt x="55" y="24"/>
                      </a:lnTo>
                      <a:lnTo>
                        <a:pt x="60" y="26"/>
                      </a:lnTo>
                      <a:lnTo>
                        <a:pt x="66" y="27"/>
                      </a:lnTo>
                      <a:lnTo>
                        <a:pt x="73" y="26"/>
                      </a:lnTo>
                      <a:lnTo>
                        <a:pt x="84" y="22"/>
                      </a:lnTo>
                      <a:lnTo>
                        <a:pt x="97" y="19"/>
                      </a:lnTo>
                      <a:lnTo>
                        <a:pt x="108" y="15"/>
                      </a:lnTo>
                      <a:lnTo>
                        <a:pt x="121" y="13"/>
                      </a:lnTo>
                      <a:lnTo>
                        <a:pt x="122" y="13"/>
                      </a:lnTo>
                      <a:lnTo>
                        <a:pt x="123" y="14"/>
                      </a:lnTo>
                      <a:lnTo>
                        <a:pt x="125" y="14"/>
                      </a:lnTo>
                      <a:lnTo>
                        <a:pt x="126" y="15"/>
                      </a:lnTo>
                      <a:lnTo>
                        <a:pt x="131" y="13"/>
                      </a:lnTo>
                      <a:lnTo>
                        <a:pt x="135" y="10"/>
                      </a:lnTo>
                      <a:lnTo>
                        <a:pt x="140" y="9"/>
                      </a:lnTo>
                      <a:lnTo>
                        <a:pt x="145" y="9"/>
                      </a:lnTo>
                      <a:lnTo>
                        <a:pt x="148" y="9"/>
                      </a:lnTo>
                      <a:lnTo>
                        <a:pt x="151" y="9"/>
                      </a:lnTo>
                      <a:lnTo>
                        <a:pt x="158" y="6"/>
                      </a:lnTo>
                      <a:lnTo>
                        <a:pt x="165" y="2"/>
                      </a:lnTo>
                      <a:lnTo>
                        <a:pt x="169" y="0"/>
                      </a:lnTo>
                      <a:lnTo>
                        <a:pt x="173" y="0"/>
                      </a:lnTo>
                      <a:lnTo>
                        <a:pt x="174" y="1"/>
                      </a:lnTo>
                      <a:lnTo>
                        <a:pt x="174" y="3"/>
                      </a:lnTo>
                      <a:lnTo>
                        <a:pt x="173" y="8"/>
                      </a:lnTo>
                      <a:lnTo>
                        <a:pt x="172" y="13"/>
                      </a:lnTo>
                      <a:lnTo>
                        <a:pt x="172" y="19"/>
                      </a:lnTo>
                      <a:lnTo>
                        <a:pt x="173" y="23"/>
                      </a:lnTo>
                      <a:lnTo>
                        <a:pt x="174" y="27"/>
                      </a:lnTo>
                      <a:lnTo>
                        <a:pt x="174" y="29"/>
                      </a:lnTo>
                      <a:lnTo>
                        <a:pt x="172" y="35"/>
                      </a:lnTo>
                      <a:lnTo>
                        <a:pt x="158" y="61"/>
                      </a:lnTo>
                      <a:lnTo>
                        <a:pt x="145" y="86"/>
                      </a:lnTo>
                      <a:lnTo>
                        <a:pt x="141" y="93"/>
                      </a:lnTo>
                      <a:lnTo>
                        <a:pt x="139" y="97"/>
                      </a:lnTo>
                      <a:lnTo>
                        <a:pt x="139" y="99"/>
                      </a:lnTo>
                      <a:lnTo>
                        <a:pt x="137" y="109"/>
                      </a:lnTo>
                      <a:lnTo>
                        <a:pt x="135" y="118"/>
                      </a:lnTo>
                      <a:lnTo>
                        <a:pt x="134" y="123"/>
                      </a:lnTo>
                      <a:lnTo>
                        <a:pt x="131" y="126"/>
                      </a:lnTo>
                      <a:lnTo>
                        <a:pt x="127" y="130"/>
                      </a:lnTo>
                      <a:lnTo>
                        <a:pt x="123" y="132"/>
                      </a:lnTo>
                      <a:lnTo>
                        <a:pt x="122" y="135"/>
                      </a:lnTo>
                      <a:lnTo>
                        <a:pt x="121" y="137"/>
                      </a:lnTo>
                      <a:lnTo>
                        <a:pt x="120" y="141"/>
                      </a:lnTo>
                      <a:lnTo>
                        <a:pt x="118" y="142"/>
                      </a:lnTo>
                      <a:lnTo>
                        <a:pt x="113" y="145"/>
                      </a:lnTo>
                      <a:lnTo>
                        <a:pt x="111" y="150"/>
                      </a:lnTo>
                      <a:lnTo>
                        <a:pt x="107" y="160"/>
                      </a:lnTo>
                      <a:lnTo>
                        <a:pt x="103" y="168"/>
                      </a:lnTo>
                      <a:lnTo>
                        <a:pt x="97" y="174"/>
                      </a:lnTo>
                      <a:lnTo>
                        <a:pt x="90" y="179"/>
                      </a:lnTo>
                      <a:lnTo>
                        <a:pt x="84" y="183"/>
                      </a:lnTo>
                      <a:lnTo>
                        <a:pt x="76" y="188"/>
                      </a:lnTo>
                      <a:lnTo>
                        <a:pt x="71" y="193"/>
                      </a:lnTo>
                      <a:lnTo>
                        <a:pt x="65" y="202"/>
                      </a:lnTo>
                      <a:lnTo>
                        <a:pt x="62" y="205"/>
                      </a:lnTo>
                      <a:lnTo>
                        <a:pt x="57" y="207"/>
                      </a:lnTo>
                      <a:lnTo>
                        <a:pt x="54" y="209"/>
                      </a:lnTo>
                      <a:lnTo>
                        <a:pt x="51" y="213"/>
                      </a:lnTo>
                      <a:lnTo>
                        <a:pt x="50" y="215"/>
                      </a:lnTo>
                      <a:lnTo>
                        <a:pt x="49" y="218"/>
                      </a:lnTo>
                      <a:lnTo>
                        <a:pt x="45" y="221"/>
                      </a:lnTo>
                      <a:lnTo>
                        <a:pt x="41" y="222"/>
                      </a:lnTo>
                      <a:lnTo>
                        <a:pt x="37" y="226"/>
                      </a:lnTo>
                      <a:lnTo>
                        <a:pt x="33" y="230"/>
                      </a:lnTo>
                      <a:lnTo>
                        <a:pt x="31" y="232"/>
                      </a:lnTo>
                      <a:lnTo>
                        <a:pt x="24" y="237"/>
                      </a:lnTo>
                      <a:lnTo>
                        <a:pt x="22" y="239"/>
                      </a:lnTo>
                      <a:lnTo>
                        <a:pt x="21" y="243"/>
                      </a:lnTo>
                      <a:lnTo>
                        <a:pt x="19" y="245"/>
                      </a:lnTo>
                      <a:lnTo>
                        <a:pt x="17" y="247"/>
                      </a:lnTo>
                      <a:lnTo>
                        <a:pt x="14" y="250"/>
                      </a:lnTo>
                      <a:lnTo>
                        <a:pt x="10" y="2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3" name="Freeform 755"/>
                <p:cNvSpPr>
                  <a:spLocks/>
                </p:cNvSpPr>
                <p:nvPr/>
              </p:nvSpPr>
              <p:spPr bwMode="auto">
                <a:xfrm>
                  <a:off x="5608239" y="4264673"/>
                  <a:ext cx="38477" cy="45877"/>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0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0 w 28"/>
                    <a:gd name="T39" fmla="*/ 2147483647 h 31"/>
                    <a:gd name="T40" fmla="*/ 0 w 28"/>
                    <a:gd name="T41" fmla="*/ 2147483647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31"/>
                    <a:gd name="T77" fmla="*/ 28 w 28"/>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31">
                      <a:moveTo>
                        <a:pt x="12" y="30"/>
                      </a:moveTo>
                      <a:lnTo>
                        <a:pt x="14" y="28"/>
                      </a:lnTo>
                      <a:lnTo>
                        <a:pt x="18" y="22"/>
                      </a:lnTo>
                      <a:lnTo>
                        <a:pt x="21" y="18"/>
                      </a:lnTo>
                      <a:lnTo>
                        <a:pt x="23" y="16"/>
                      </a:lnTo>
                      <a:lnTo>
                        <a:pt x="22" y="13"/>
                      </a:lnTo>
                      <a:lnTo>
                        <a:pt x="23" y="11"/>
                      </a:lnTo>
                      <a:lnTo>
                        <a:pt x="27" y="9"/>
                      </a:lnTo>
                      <a:lnTo>
                        <a:pt x="28" y="7"/>
                      </a:lnTo>
                      <a:lnTo>
                        <a:pt x="28" y="5"/>
                      </a:lnTo>
                      <a:lnTo>
                        <a:pt x="26" y="3"/>
                      </a:lnTo>
                      <a:lnTo>
                        <a:pt x="21" y="1"/>
                      </a:lnTo>
                      <a:lnTo>
                        <a:pt x="19" y="1"/>
                      </a:lnTo>
                      <a:lnTo>
                        <a:pt x="18" y="0"/>
                      </a:lnTo>
                      <a:lnTo>
                        <a:pt x="13" y="4"/>
                      </a:lnTo>
                      <a:lnTo>
                        <a:pt x="8" y="9"/>
                      </a:lnTo>
                      <a:lnTo>
                        <a:pt x="4" y="13"/>
                      </a:lnTo>
                      <a:lnTo>
                        <a:pt x="3" y="20"/>
                      </a:lnTo>
                      <a:lnTo>
                        <a:pt x="2" y="22"/>
                      </a:lnTo>
                      <a:lnTo>
                        <a:pt x="0" y="24"/>
                      </a:lnTo>
                      <a:lnTo>
                        <a:pt x="0" y="28"/>
                      </a:lnTo>
                      <a:lnTo>
                        <a:pt x="2" y="30"/>
                      </a:lnTo>
                      <a:lnTo>
                        <a:pt x="3" y="31"/>
                      </a:lnTo>
                      <a:lnTo>
                        <a:pt x="6" y="31"/>
                      </a:lnTo>
                      <a:lnTo>
                        <a:pt x="12"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4" name="Freeform 756"/>
                <p:cNvSpPr>
                  <a:spLocks/>
                </p:cNvSpPr>
                <p:nvPr/>
              </p:nvSpPr>
              <p:spPr bwMode="auto">
                <a:xfrm>
                  <a:off x="5398096" y="4103366"/>
                  <a:ext cx="364049" cy="408445"/>
                </a:xfrm>
                <a:custGeom>
                  <a:avLst/>
                  <a:gdLst>
                    <a:gd name="T0" fmla="*/ 2147483647 w 267"/>
                    <a:gd name="T1" fmla="*/ 2147483647 h 276"/>
                    <a:gd name="T2" fmla="*/ 2147483647 w 267"/>
                    <a:gd name="T3" fmla="*/ 2147483647 h 276"/>
                    <a:gd name="T4" fmla="*/ 2147483647 w 267"/>
                    <a:gd name="T5" fmla="*/ 2147483647 h 276"/>
                    <a:gd name="T6" fmla="*/ 2147483647 w 267"/>
                    <a:gd name="T7" fmla="*/ 2147483647 h 276"/>
                    <a:gd name="T8" fmla="*/ 2147483647 w 267"/>
                    <a:gd name="T9" fmla="*/ 2147483647 h 276"/>
                    <a:gd name="T10" fmla="*/ 2147483647 w 267"/>
                    <a:gd name="T11" fmla="*/ 2147483647 h 276"/>
                    <a:gd name="T12" fmla="*/ 2147483647 w 267"/>
                    <a:gd name="T13" fmla="*/ 2147483647 h 276"/>
                    <a:gd name="T14" fmla="*/ 2147483647 w 267"/>
                    <a:gd name="T15" fmla="*/ 2147483647 h 276"/>
                    <a:gd name="T16" fmla="*/ 2147483647 w 267"/>
                    <a:gd name="T17" fmla="*/ 2147483647 h 276"/>
                    <a:gd name="T18" fmla="*/ 2147483647 w 267"/>
                    <a:gd name="T19" fmla="*/ 2147483647 h 276"/>
                    <a:gd name="T20" fmla="*/ 2147483647 w 267"/>
                    <a:gd name="T21" fmla="*/ 2147483647 h 276"/>
                    <a:gd name="T22" fmla="*/ 2147483647 w 267"/>
                    <a:gd name="T23" fmla="*/ 2147483647 h 276"/>
                    <a:gd name="T24" fmla="*/ 2147483647 w 267"/>
                    <a:gd name="T25" fmla="*/ 2147483647 h 276"/>
                    <a:gd name="T26" fmla="*/ 2147483647 w 267"/>
                    <a:gd name="T27" fmla="*/ 2147483647 h 276"/>
                    <a:gd name="T28" fmla="*/ 2147483647 w 267"/>
                    <a:gd name="T29" fmla="*/ 2147483647 h 276"/>
                    <a:gd name="T30" fmla="*/ 2147483647 w 267"/>
                    <a:gd name="T31" fmla="*/ 2147483647 h 276"/>
                    <a:gd name="T32" fmla="*/ 2147483647 w 267"/>
                    <a:gd name="T33" fmla="*/ 2147483647 h 276"/>
                    <a:gd name="T34" fmla="*/ 2147483647 w 267"/>
                    <a:gd name="T35" fmla="*/ 2147483647 h 276"/>
                    <a:gd name="T36" fmla="*/ 2147483647 w 267"/>
                    <a:gd name="T37" fmla="*/ 2147483647 h 276"/>
                    <a:gd name="T38" fmla="*/ 2147483647 w 267"/>
                    <a:gd name="T39" fmla="*/ 2147483647 h 276"/>
                    <a:gd name="T40" fmla="*/ 2147483647 w 267"/>
                    <a:gd name="T41" fmla="*/ 2147483647 h 276"/>
                    <a:gd name="T42" fmla="*/ 2147483647 w 267"/>
                    <a:gd name="T43" fmla="*/ 2147483647 h 276"/>
                    <a:gd name="T44" fmla="*/ 2147483647 w 267"/>
                    <a:gd name="T45" fmla="*/ 2147483647 h 276"/>
                    <a:gd name="T46" fmla="*/ 2147483647 w 267"/>
                    <a:gd name="T47" fmla="*/ 2147483647 h 276"/>
                    <a:gd name="T48" fmla="*/ 2147483647 w 267"/>
                    <a:gd name="T49" fmla="*/ 2147483647 h 276"/>
                    <a:gd name="T50" fmla="*/ 2147483647 w 267"/>
                    <a:gd name="T51" fmla="*/ 2147483647 h 276"/>
                    <a:gd name="T52" fmla="*/ 0 w 267"/>
                    <a:gd name="T53" fmla="*/ 2147483647 h 276"/>
                    <a:gd name="T54" fmla="*/ 2147483647 w 267"/>
                    <a:gd name="T55" fmla="*/ 2147483647 h 276"/>
                    <a:gd name="T56" fmla="*/ 2147483647 w 267"/>
                    <a:gd name="T57" fmla="*/ 2147483647 h 276"/>
                    <a:gd name="T58" fmla="*/ 2147483647 w 267"/>
                    <a:gd name="T59" fmla="*/ 2147483647 h 276"/>
                    <a:gd name="T60" fmla="*/ 2147483647 w 267"/>
                    <a:gd name="T61" fmla="*/ 2147483647 h 276"/>
                    <a:gd name="T62" fmla="*/ 2147483647 w 267"/>
                    <a:gd name="T63" fmla="*/ 2147483647 h 276"/>
                    <a:gd name="T64" fmla="*/ 2147483647 w 267"/>
                    <a:gd name="T65" fmla="*/ 2147483647 h 276"/>
                    <a:gd name="T66" fmla="*/ 2147483647 w 267"/>
                    <a:gd name="T67" fmla="*/ 2147483647 h 276"/>
                    <a:gd name="T68" fmla="*/ 2147483647 w 267"/>
                    <a:gd name="T69" fmla="*/ 2147483647 h 276"/>
                    <a:gd name="T70" fmla="*/ 2147483647 w 267"/>
                    <a:gd name="T71" fmla="*/ 2147483647 h 276"/>
                    <a:gd name="T72" fmla="*/ 2147483647 w 267"/>
                    <a:gd name="T73" fmla="*/ 2147483647 h 276"/>
                    <a:gd name="T74" fmla="*/ 2147483647 w 267"/>
                    <a:gd name="T75" fmla="*/ 2147483647 h 276"/>
                    <a:gd name="T76" fmla="*/ 2147483647 w 267"/>
                    <a:gd name="T77" fmla="*/ 2147483647 h 276"/>
                    <a:gd name="T78" fmla="*/ 2147483647 w 267"/>
                    <a:gd name="T79" fmla="*/ 2147483647 h 276"/>
                    <a:gd name="T80" fmla="*/ 2147483647 w 267"/>
                    <a:gd name="T81" fmla="*/ 2147483647 h 276"/>
                    <a:gd name="T82" fmla="*/ 2147483647 w 267"/>
                    <a:gd name="T83" fmla="*/ 2147483647 h 276"/>
                    <a:gd name="T84" fmla="*/ 2147483647 w 267"/>
                    <a:gd name="T85" fmla="*/ 2147483647 h 276"/>
                    <a:gd name="T86" fmla="*/ 2147483647 w 267"/>
                    <a:gd name="T87" fmla="*/ 2147483647 h 276"/>
                    <a:gd name="T88" fmla="*/ 2147483647 w 267"/>
                    <a:gd name="T89" fmla="*/ 2147483647 h 276"/>
                    <a:gd name="T90" fmla="*/ 2147483647 w 267"/>
                    <a:gd name="T91" fmla="*/ 2147483647 h 276"/>
                    <a:gd name="T92" fmla="*/ 2147483647 w 267"/>
                    <a:gd name="T93" fmla="*/ 2147483647 h 276"/>
                    <a:gd name="T94" fmla="*/ 2147483647 w 267"/>
                    <a:gd name="T95" fmla="*/ 2147483647 h 2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7"/>
                    <a:gd name="T145" fmla="*/ 0 h 276"/>
                    <a:gd name="T146" fmla="*/ 267 w 267"/>
                    <a:gd name="T147" fmla="*/ 276 h 2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7" h="276">
                      <a:moveTo>
                        <a:pt x="172" y="109"/>
                      </a:moveTo>
                      <a:lnTo>
                        <a:pt x="167" y="113"/>
                      </a:lnTo>
                      <a:lnTo>
                        <a:pt x="162" y="118"/>
                      </a:lnTo>
                      <a:lnTo>
                        <a:pt x="158" y="122"/>
                      </a:lnTo>
                      <a:lnTo>
                        <a:pt x="157" y="129"/>
                      </a:lnTo>
                      <a:lnTo>
                        <a:pt x="156" y="131"/>
                      </a:lnTo>
                      <a:lnTo>
                        <a:pt x="154" y="133"/>
                      </a:lnTo>
                      <a:lnTo>
                        <a:pt x="154" y="137"/>
                      </a:lnTo>
                      <a:lnTo>
                        <a:pt x="156" y="139"/>
                      </a:lnTo>
                      <a:lnTo>
                        <a:pt x="157" y="140"/>
                      </a:lnTo>
                      <a:lnTo>
                        <a:pt x="160" y="140"/>
                      </a:lnTo>
                      <a:lnTo>
                        <a:pt x="166" y="139"/>
                      </a:lnTo>
                      <a:lnTo>
                        <a:pt x="173" y="151"/>
                      </a:lnTo>
                      <a:lnTo>
                        <a:pt x="184" y="160"/>
                      </a:lnTo>
                      <a:lnTo>
                        <a:pt x="189" y="165"/>
                      </a:lnTo>
                      <a:lnTo>
                        <a:pt x="195" y="169"/>
                      </a:lnTo>
                      <a:lnTo>
                        <a:pt x="203" y="172"/>
                      </a:lnTo>
                      <a:lnTo>
                        <a:pt x="209" y="174"/>
                      </a:lnTo>
                      <a:lnTo>
                        <a:pt x="223" y="180"/>
                      </a:lnTo>
                      <a:lnTo>
                        <a:pt x="236" y="186"/>
                      </a:lnTo>
                      <a:lnTo>
                        <a:pt x="243" y="189"/>
                      </a:lnTo>
                      <a:lnTo>
                        <a:pt x="250" y="191"/>
                      </a:lnTo>
                      <a:lnTo>
                        <a:pt x="257" y="192"/>
                      </a:lnTo>
                      <a:lnTo>
                        <a:pt x="265" y="192"/>
                      </a:lnTo>
                      <a:lnTo>
                        <a:pt x="266" y="192"/>
                      </a:lnTo>
                      <a:lnTo>
                        <a:pt x="267" y="193"/>
                      </a:lnTo>
                      <a:lnTo>
                        <a:pt x="264" y="202"/>
                      </a:lnTo>
                      <a:lnTo>
                        <a:pt x="259" y="209"/>
                      </a:lnTo>
                      <a:lnTo>
                        <a:pt x="246" y="223"/>
                      </a:lnTo>
                      <a:lnTo>
                        <a:pt x="233" y="236"/>
                      </a:lnTo>
                      <a:lnTo>
                        <a:pt x="222" y="252"/>
                      </a:lnTo>
                      <a:lnTo>
                        <a:pt x="219" y="256"/>
                      </a:lnTo>
                      <a:lnTo>
                        <a:pt x="217" y="259"/>
                      </a:lnTo>
                      <a:lnTo>
                        <a:pt x="212" y="260"/>
                      </a:lnTo>
                      <a:lnTo>
                        <a:pt x="206" y="260"/>
                      </a:lnTo>
                      <a:lnTo>
                        <a:pt x="198" y="260"/>
                      </a:lnTo>
                      <a:lnTo>
                        <a:pt x="195" y="261"/>
                      </a:lnTo>
                      <a:lnTo>
                        <a:pt x="191" y="263"/>
                      </a:lnTo>
                      <a:lnTo>
                        <a:pt x="186" y="266"/>
                      </a:lnTo>
                      <a:lnTo>
                        <a:pt x="182" y="268"/>
                      </a:lnTo>
                      <a:lnTo>
                        <a:pt x="176" y="269"/>
                      </a:lnTo>
                      <a:lnTo>
                        <a:pt x="170" y="269"/>
                      </a:lnTo>
                      <a:lnTo>
                        <a:pt x="163" y="269"/>
                      </a:lnTo>
                      <a:lnTo>
                        <a:pt x="152" y="272"/>
                      </a:lnTo>
                      <a:lnTo>
                        <a:pt x="142" y="269"/>
                      </a:lnTo>
                      <a:lnTo>
                        <a:pt x="132" y="269"/>
                      </a:lnTo>
                      <a:lnTo>
                        <a:pt x="126" y="271"/>
                      </a:lnTo>
                      <a:lnTo>
                        <a:pt x="123" y="271"/>
                      </a:lnTo>
                      <a:lnTo>
                        <a:pt x="116" y="274"/>
                      </a:lnTo>
                      <a:lnTo>
                        <a:pt x="110" y="276"/>
                      </a:lnTo>
                      <a:lnTo>
                        <a:pt x="105" y="276"/>
                      </a:lnTo>
                      <a:lnTo>
                        <a:pt x="99" y="276"/>
                      </a:lnTo>
                      <a:lnTo>
                        <a:pt x="93" y="275"/>
                      </a:lnTo>
                      <a:lnTo>
                        <a:pt x="87" y="273"/>
                      </a:lnTo>
                      <a:lnTo>
                        <a:pt x="76" y="266"/>
                      </a:lnTo>
                      <a:lnTo>
                        <a:pt x="72" y="263"/>
                      </a:lnTo>
                      <a:lnTo>
                        <a:pt x="67" y="263"/>
                      </a:lnTo>
                      <a:lnTo>
                        <a:pt x="62" y="265"/>
                      </a:lnTo>
                      <a:lnTo>
                        <a:pt x="58" y="263"/>
                      </a:lnTo>
                      <a:lnTo>
                        <a:pt x="55" y="262"/>
                      </a:lnTo>
                      <a:lnTo>
                        <a:pt x="54" y="261"/>
                      </a:lnTo>
                      <a:lnTo>
                        <a:pt x="54" y="260"/>
                      </a:lnTo>
                      <a:lnTo>
                        <a:pt x="53" y="257"/>
                      </a:lnTo>
                      <a:lnTo>
                        <a:pt x="52" y="255"/>
                      </a:lnTo>
                      <a:lnTo>
                        <a:pt x="50" y="253"/>
                      </a:lnTo>
                      <a:lnTo>
                        <a:pt x="50" y="248"/>
                      </a:lnTo>
                      <a:lnTo>
                        <a:pt x="48" y="246"/>
                      </a:lnTo>
                      <a:lnTo>
                        <a:pt x="44" y="243"/>
                      </a:lnTo>
                      <a:lnTo>
                        <a:pt x="38" y="242"/>
                      </a:lnTo>
                      <a:lnTo>
                        <a:pt x="38" y="240"/>
                      </a:lnTo>
                      <a:lnTo>
                        <a:pt x="36" y="237"/>
                      </a:lnTo>
                      <a:lnTo>
                        <a:pt x="36" y="233"/>
                      </a:lnTo>
                      <a:lnTo>
                        <a:pt x="35" y="227"/>
                      </a:lnTo>
                      <a:lnTo>
                        <a:pt x="31" y="220"/>
                      </a:lnTo>
                      <a:lnTo>
                        <a:pt x="26" y="212"/>
                      </a:lnTo>
                      <a:lnTo>
                        <a:pt x="17" y="206"/>
                      </a:lnTo>
                      <a:lnTo>
                        <a:pt x="3" y="199"/>
                      </a:lnTo>
                      <a:lnTo>
                        <a:pt x="2" y="198"/>
                      </a:lnTo>
                      <a:lnTo>
                        <a:pt x="0" y="197"/>
                      </a:lnTo>
                      <a:lnTo>
                        <a:pt x="0" y="192"/>
                      </a:lnTo>
                      <a:lnTo>
                        <a:pt x="0" y="188"/>
                      </a:lnTo>
                      <a:lnTo>
                        <a:pt x="3" y="184"/>
                      </a:lnTo>
                      <a:lnTo>
                        <a:pt x="5" y="184"/>
                      </a:lnTo>
                      <a:lnTo>
                        <a:pt x="8" y="184"/>
                      </a:lnTo>
                      <a:lnTo>
                        <a:pt x="11" y="184"/>
                      </a:lnTo>
                      <a:lnTo>
                        <a:pt x="13" y="183"/>
                      </a:lnTo>
                      <a:lnTo>
                        <a:pt x="16" y="182"/>
                      </a:lnTo>
                      <a:lnTo>
                        <a:pt x="19" y="179"/>
                      </a:lnTo>
                      <a:lnTo>
                        <a:pt x="20" y="173"/>
                      </a:lnTo>
                      <a:lnTo>
                        <a:pt x="21" y="160"/>
                      </a:lnTo>
                      <a:lnTo>
                        <a:pt x="21" y="153"/>
                      </a:lnTo>
                      <a:lnTo>
                        <a:pt x="21" y="146"/>
                      </a:lnTo>
                      <a:lnTo>
                        <a:pt x="21" y="144"/>
                      </a:lnTo>
                      <a:lnTo>
                        <a:pt x="22" y="141"/>
                      </a:lnTo>
                      <a:lnTo>
                        <a:pt x="26" y="140"/>
                      </a:lnTo>
                      <a:lnTo>
                        <a:pt x="30" y="139"/>
                      </a:lnTo>
                      <a:lnTo>
                        <a:pt x="33" y="139"/>
                      </a:lnTo>
                      <a:lnTo>
                        <a:pt x="33" y="138"/>
                      </a:lnTo>
                      <a:lnTo>
                        <a:pt x="35" y="127"/>
                      </a:lnTo>
                      <a:lnTo>
                        <a:pt x="36" y="120"/>
                      </a:lnTo>
                      <a:lnTo>
                        <a:pt x="38" y="110"/>
                      </a:lnTo>
                      <a:lnTo>
                        <a:pt x="40" y="107"/>
                      </a:lnTo>
                      <a:lnTo>
                        <a:pt x="44" y="103"/>
                      </a:lnTo>
                      <a:lnTo>
                        <a:pt x="58" y="91"/>
                      </a:lnTo>
                      <a:lnTo>
                        <a:pt x="62" y="88"/>
                      </a:lnTo>
                      <a:lnTo>
                        <a:pt x="63" y="86"/>
                      </a:lnTo>
                      <a:lnTo>
                        <a:pt x="63" y="84"/>
                      </a:lnTo>
                      <a:lnTo>
                        <a:pt x="60" y="77"/>
                      </a:lnTo>
                      <a:lnTo>
                        <a:pt x="59" y="69"/>
                      </a:lnTo>
                      <a:lnTo>
                        <a:pt x="59" y="61"/>
                      </a:lnTo>
                      <a:lnTo>
                        <a:pt x="59" y="52"/>
                      </a:lnTo>
                      <a:lnTo>
                        <a:pt x="60" y="43"/>
                      </a:lnTo>
                      <a:lnTo>
                        <a:pt x="63" y="35"/>
                      </a:lnTo>
                      <a:lnTo>
                        <a:pt x="67" y="26"/>
                      </a:lnTo>
                      <a:lnTo>
                        <a:pt x="72" y="20"/>
                      </a:lnTo>
                      <a:lnTo>
                        <a:pt x="74" y="18"/>
                      </a:lnTo>
                      <a:lnTo>
                        <a:pt x="77" y="17"/>
                      </a:lnTo>
                      <a:lnTo>
                        <a:pt x="85" y="13"/>
                      </a:lnTo>
                      <a:lnTo>
                        <a:pt x="88" y="12"/>
                      </a:lnTo>
                      <a:lnTo>
                        <a:pt x="91" y="10"/>
                      </a:lnTo>
                      <a:lnTo>
                        <a:pt x="95" y="6"/>
                      </a:lnTo>
                      <a:lnTo>
                        <a:pt x="99" y="0"/>
                      </a:lnTo>
                      <a:lnTo>
                        <a:pt x="101" y="6"/>
                      </a:lnTo>
                      <a:lnTo>
                        <a:pt x="104" y="13"/>
                      </a:lnTo>
                      <a:lnTo>
                        <a:pt x="109" y="29"/>
                      </a:lnTo>
                      <a:lnTo>
                        <a:pt x="110" y="36"/>
                      </a:lnTo>
                      <a:lnTo>
                        <a:pt x="114" y="41"/>
                      </a:lnTo>
                      <a:lnTo>
                        <a:pt x="118" y="44"/>
                      </a:lnTo>
                      <a:lnTo>
                        <a:pt x="119" y="45"/>
                      </a:lnTo>
                      <a:lnTo>
                        <a:pt x="121" y="45"/>
                      </a:lnTo>
                      <a:lnTo>
                        <a:pt x="123" y="45"/>
                      </a:lnTo>
                      <a:lnTo>
                        <a:pt x="124" y="48"/>
                      </a:lnTo>
                      <a:lnTo>
                        <a:pt x="125" y="51"/>
                      </a:lnTo>
                      <a:lnTo>
                        <a:pt x="128" y="56"/>
                      </a:lnTo>
                      <a:lnTo>
                        <a:pt x="130" y="59"/>
                      </a:lnTo>
                      <a:lnTo>
                        <a:pt x="138" y="64"/>
                      </a:lnTo>
                      <a:lnTo>
                        <a:pt x="146" y="70"/>
                      </a:lnTo>
                      <a:lnTo>
                        <a:pt x="151" y="76"/>
                      </a:lnTo>
                      <a:lnTo>
                        <a:pt x="157" y="83"/>
                      </a:lnTo>
                      <a:lnTo>
                        <a:pt x="161" y="87"/>
                      </a:lnTo>
                      <a:lnTo>
                        <a:pt x="165" y="91"/>
                      </a:lnTo>
                      <a:lnTo>
                        <a:pt x="167" y="96"/>
                      </a:lnTo>
                      <a:lnTo>
                        <a:pt x="170" y="100"/>
                      </a:lnTo>
                      <a:lnTo>
                        <a:pt x="172" y="10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5" name="Freeform 757"/>
                <p:cNvSpPr>
                  <a:spLocks/>
                </p:cNvSpPr>
                <p:nvPr/>
              </p:nvSpPr>
              <p:spPr bwMode="auto">
                <a:xfrm>
                  <a:off x="5606758" y="4263192"/>
                  <a:ext cx="38477" cy="45876"/>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2147483647 w 28"/>
                    <a:gd name="T39" fmla="*/ 0 h 31"/>
                    <a:gd name="T40" fmla="*/ 2147483647 w 28"/>
                    <a:gd name="T41" fmla="*/ 0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2147483647 w 28"/>
                    <a:gd name="T51" fmla="*/ 2147483647 h 31"/>
                    <a:gd name="T52" fmla="*/ 2147483647 w 28"/>
                    <a:gd name="T53" fmla="*/ 2147483647 h 31"/>
                    <a:gd name="T54" fmla="*/ 0 w 28"/>
                    <a:gd name="T55" fmla="*/ 2147483647 h 31"/>
                    <a:gd name="T56" fmla="*/ 0 w 28"/>
                    <a:gd name="T57" fmla="*/ 2147483647 h 31"/>
                    <a:gd name="T58" fmla="*/ 2147483647 w 28"/>
                    <a:gd name="T59" fmla="*/ 2147483647 h 31"/>
                    <a:gd name="T60" fmla="*/ 2147483647 w 28"/>
                    <a:gd name="T61" fmla="*/ 2147483647 h 31"/>
                    <a:gd name="T62" fmla="*/ 2147483647 w 28"/>
                    <a:gd name="T63" fmla="*/ 2147483647 h 31"/>
                    <a:gd name="T64" fmla="*/ 2147483647 w 28"/>
                    <a:gd name="T65" fmla="*/ 2147483647 h 31"/>
                    <a:gd name="T66" fmla="*/ 2147483647 w 28"/>
                    <a:gd name="T67" fmla="*/ 2147483647 h 31"/>
                    <a:gd name="T68" fmla="*/ 2147483647 w 28"/>
                    <a:gd name="T69" fmla="*/ 2147483647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
                    <a:gd name="T106" fmla="*/ 0 h 31"/>
                    <a:gd name="T107" fmla="*/ 28 w 28"/>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 h="31">
                      <a:moveTo>
                        <a:pt x="12" y="30"/>
                      </a:moveTo>
                      <a:lnTo>
                        <a:pt x="12" y="30"/>
                      </a:lnTo>
                      <a:lnTo>
                        <a:pt x="14" y="27"/>
                      </a:lnTo>
                      <a:lnTo>
                        <a:pt x="18" y="21"/>
                      </a:lnTo>
                      <a:lnTo>
                        <a:pt x="20" y="18"/>
                      </a:lnTo>
                      <a:lnTo>
                        <a:pt x="23" y="16"/>
                      </a:lnTo>
                      <a:lnTo>
                        <a:pt x="22" y="13"/>
                      </a:lnTo>
                      <a:lnTo>
                        <a:pt x="23" y="11"/>
                      </a:lnTo>
                      <a:lnTo>
                        <a:pt x="27" y="8"/>
                      </a:lnTo>
                      <a:lnTo>
                        <a:pt x="28" y="7"/>
                      </a:lnTo>
                      <a:lnTo>
                        <a:pt x="28" y="5"/>
                      </a:lnTo>
                      <a:lnTo>
                        <a:pt x="26" y="2"/>
                      </a:lnTo>
                      <a:lnTo>
                        <a:pt x="20" y="1"/>
                      </a:lnTo>
                      <a:lnTo>
                        <a:pt x="19" y="1"/>
                      </a:lnTo>
                      <a:lnTo>
                        <a:pt x="18" y="0"/>
                      </a:lnTo>
                      <a:lnTo>
                        <a:pt x="13" y="4"/>
                      </a:lnTo>
                      <a:lnTo>
                        <a:pt x="8" y="8"/>
                      </a:lnTo>
                      <a:lnTo>
                        <a:pt x="4" y="13"/>
                      </a:lnTo>
                      <a:lnTo>
                        <a:pt x="3" y="20"/>
                      </a:lnTo>
                      <a:lnTo>
                        <a:pt x="1" y="21"/>
                      </a:lnTo>
                      <a:lnTo>
                        <a:pt x="0" y="24"/>
                      </a:lnTo>
                      <a:lnTo>
                        <a:pt x="0" y="27"/>
                      </a:lnTo>
                      <a:lnTo>
                        <a:pt x="1" y="30"/>
                      </a:lnTo>
                      <a:lnTo>
                        <a:pt x="3" y="31"/>
                      </a:lnTo>
                      <a:lnTo>
                        <a:pt x="5" y="31"/>
                      </a:lnTo>
                      <a:lnTo>
                        <a:pt x="12" y="3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6" name="Freeform 758"/>
                <p:cNvSpPr>
                  <a:spLocks/>
                </p:cNvSpPr>
                <p:nvPr/>
              </p:nvSpPr>
              <p:spPr bwMode="auto">
                <a:xfrm>
                  <a:off x="5395133" y="4101886"/>
                  <a:ext cx="365528" cy="408445"/>
                </a:xfrm>
                <a:custGeom>
                  <a:avLst/>
                  <a:gdLst>
                    <a:gd name="T0" fmla="*/ 2147483647 w 268"/>
                    <a:gd name="T1" fmla="*/ 2147483647 h 276"/>
                    <a:gd name="T2" fmla="*/ 2147483647 w 268"/>
                    <a:gd name="T3" fmla="*/ 2147483647 h 276"/>
                    <a:gd name="T4" fmla="*/ 2147483647 w 268"/>
                    <a:gd name="T5" fmla="*/ 2147483647 h 276"/>
                    <a:gd name="T6" fmla="*/ 2147483647 w 268"/>
                    <a:gd name="T7" fmla="*/ 2147483647 h 276"/>
                    <a:gd name="T8" fmla="*/ 2147483647 w 268"/>
                    <a:gd name="T9" fmla="*/ 2147483647 h 276"/>
                    <a:gd name="T10" fmla="*/ 2147483647 w 268"/>
                    <a:gd name="T11" fmla="*/ 2147483647 h 276"/>
                    <a:gd name="T12" fmla="*/ 2147483647 w 268"/>
                    <a:gd name="T13" fmla="*/ 2147483647 h 276"/>
                    <a:gd name="T14" fmla="*/ 2147483647 w 268"/>
                    <a:gd name="T15" fmla="*/ 2147483647 h 276"/>
                    <a:gd name="T16" fmla="*/ 2147483647 w 268"/>
                    <a:gd name="T17" fmla="*/ 2147483647 h 276"/>
                    <a:gd name="T18" fmla="*/ 2147483647 w 268"/>
                    <a:gd name="T19" fmla="*/ 2147483647 h 276"/>
                    <a:gd name="T20" fmla="*/ 2147483647 w 268"/>
                    <a:gd name="T21" fmla="*/ 2147483647 h 276"/>
                    <a:gd name="T22" fmla="*/ 2147483647 w 268"/>
                    <a:gd name="T23" fmla="*/ 2147483647 h 276"/>
                    <a:gd name="T24" fmla="*/ 2147483647 w 268"/>
                    <a:gd name="T25" fmla="*/ 2147483647 h 276"/>
                    <a:gd name="T26" fmla="*/ 2147483647 w 268"/>
                    <a:gd name="T27" fmla="*/ 2147483647 h 276"/>
                    <a:gd name="T28" fmla="*/ 2147483647 w 268"/>
                    <a:gd name="T29" fmla="*/ 2147483647 h 276"/>
                    <a:gd name="T30" fmla="*/ 2147483647 w 268"/>
                    <a:gd name="T31" fmla="*/ 2147483647 h 276"/>
                    <a:gd name="T32" fmla="*/ 2147483647 w 268"/>
                    <a:gd name="T33" fmla="*/ 2147483647 h 276"/>
                    <a:gd name="T34" fmla="*/ 2147483647 w 268"/>
                    <a:gd name="T35" fmla="*/ 2147483647 h 276"/>
                    <a:gd name="T36" fmla="*/ 2147483647 w 268"/>
                    <a:gd name="T37" fmla="*/ 2147483647 h 276"/>
                    <a:gd name="T38" fmla="*/ 2147483647 w 268"/>
                    <a:gd name="T39" fmla="*/ 2147483647 h 276"/>
                    <a:gd name="T40" fmla="*/ 2147483647 w 268"/>
                    <a:gd name="T41" fmla="*/ 2147483647 h 276"/>
                    <a:gd name="T42" fmla="*/ 2147483647 w 268"/>
                    <a:gd name="T43" fmla="*/ 2147483647 h 276"/>
                    <a:gd name="T44" fmla="*/ 2147483647 w 268"/>
                    <a:gd name="T45" fmla="*/ 2147483647 h 276"/>
                    <a:gd name="T46" fmla="*/ 2147483647 w 268"/>
                    <a:gd name="T47" fmla="*/ 2147483647 h 276"/>
                    <a:gd name="T48" fmla="*/ 2147483647 w 268"/>
                    <a:gd name="T49" fmla="*/ 2147483647 h 276"/>
                    <a:gd name="T50" fmla="*/ 2147483647 w 268"/>
                    <a:gd name="T51" fmla="*/ 2147483647 h 276"/>
                    <a:gd name="T52" fmla="*/ 2147483647 w 268"/>
                    <a:gd name="T53" fmla="*/ 2147483647 h 276"/>
                    <a:gd name="T54" fmla="*/ 2147483647 w 268"/>
                    <a:gd name="T55" fmla="*/ 2147483647 h 276"/>
                    <a:gd name="T56" fmla="*/ 2147483647 w 268"/>
                    <a:gd name="T57" fmla="*/ 2147483647 h 276"/>
                    <a:gd name="T58" fmla="*/ 2147483647 w 268"/>
                    <a:gd name="T59" fmla="*/ 2147483647 h 276"/>
                    <a:gd name="T60" fmla="*/ 2147483647 w 268"/>
                    <a:gd name="T61" fmla="*/ 2147483647 h 276"/>
                    <a:gd name="T62" fmla="*/ 2147483647 w 268"/>
                    <a:gd name="T63" fmla="*/ 2147483647 h 276"/>
                    <a:gd name="T64" fmla="*/ 2147483647 w 268"/>
                    <a:gd name="T65" fmla="*/ 2147483647 h 276"/>
                    <a:gd name="T66" fmla="*/ 0 w 268"/>
                    <a:gd name="T67" fmla="*/ 2147483647 h 276"/>
                    <a:gd name="T68" fmla="*/ 2147483647 w 268"/>
                    <a:gd name="T69" fmla="*/ 2147483647 h 276"/>
                    <a:gd name="T70" fmla="*/ 2147483647 w 268"/>
                    <a:gd name="T71" fmla="*/ 2147483647 h 276"/>
                    <a:gd name="T72" fmla="*/ 2147483647 w 268"/>
                    <a:gd name="T73" fmla="*/ 2147483647 h 276"/>
                    <a:gd name="T74" fmla="*/ 2147483647 w 268"/>
                    <a:gd name="T75" fmla="*/ 2147483647 h 276"/>
                    <a:gd name="T76" fmla="*/ 2147483647 w 268"/>
                    <a:gd name="T77" fmla="*/ 2147483647 h 276"/>
                    <a:gd name="T78" fmla="*/ 2147483647 w 268"/>
                    <a:gd name="T79" fmla="*/ 2147483647 h 276"/>
                    <a:gd name="T80" fmla="*/ 2147483647 w 268"/>
                    <a:gd name="T81" fmla="*/ 2147483647 h 276"/>
                    <a:gd name="T82" fmla="*/ 2147483647 w 268"/>
                    <a:gd name="T83" fmla="*/ 2147483647 h 276"/>
                    <a:gd name="T84" fmla="*/ 2147483647 w 268"/>
                    <a:gd name="T85" fmla="*/ 2147483647 h 276"/>
                    <a:gd name="T86" fmla="*/ 2147483647 w 268"/>
                    <a:gd name="T87" fmla="*/ 2147483647 h 276"/>
                    <a:gd name="T88" fmla="*/ 2147483647 w 268"/>
                    <a:gd name="T89" fmla="*/ 2147483647 h 276"/>
                    <a:gd name="T90" fmla="*/ 2147483647 w 268"/>
                    <a:gd name="T91" fmla="*/ 2147483647 h 276"/>
                    <a:gd name="T92" fmla="*/ 2147483647 w 268"/>
                    <a:gd name="T93" fmla="*/ 2147483647 h 276"/>
                    <a:gd name="T94" fmla="*/ 2147483647 w 268"/>
                    <a:gd name="T95" fmla="*/ 2147483647 h 276"/>
                    <a:gd name="T96" fmla="*/ 2147483647 w 268"/>
                    <a:gd name="T97" fmla="*/ 2147483647 h 276"/>
                    <a:gd name="T98" fmla="*/ 2147483647 w 268"/>
                    <a:gd name="T99" fmla="*/ 2147483647 h 276"/>
                    <a:gd name="T100" fmla="*/ 2147483647 w 268"/>
                    <a:gd name="T101" fmla="*/ 2147483647 h 276"/>
                    <a:gd name="T102" fmla="*/ 2147483647 w 268"/>
                    <a:gd name="T103" fmla="*/ 2147483647 h 276"/>
                    <a:gd name="T104" fmla="*/ 2147483647 w 268"/>
                    <a:gd name="T105" fmla="*/ 2147483647 h 276"/>
                    <a:gd name="T106" fmla="*/ 2147483647 w 268"/>
                    <a:gd name="T107" fmla="*/ 2147483647 h 276"/>
                    <a:gd name="T108" fmla="*/ 2147483647 w 268"/>
                    <a:gd name="T109" fmla="*/ 2147483647 h 276"/>
                    <a:gd name="T110" fmla="*/ 2147483647 w 268"/>
                    <a:gd name="T111" fmla="*/ 2147483647 h 276"/>
                    <a:gd name="T112" fmla="*/ 2147483647 w 268"/>
                    <a:gd name="T113" fmla="*/ 2147483647 h 276"/>
                    <a:gd name="T114" fmla="*/ 2147483647 w 268"/>
                    <a:gd name="T115" fmla="*/ 2147483647 h 276"/>
                    <a:gd name="T116" fmla="*/ 2147483647 w 268"/>
                    <a:gd name="T117" fmla="*/ 2147483647 h 276"/>
                    <a:gd name="T118" fmla="*/ 2147483647 w 268"/>
                    <a:gd name="T119" fmla="*/ 2147483647 h 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8"/>
                    <a:gd name="T181" fmla="*/ 0 h 276"/>
                    <a:gd name="T182" fmla="*/ 268 w 268"/>
                    <a:gd name="T183" fmla="*/ 276 h 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8" h="276">
                      <a:moveTo>
                        <a:pt x="173" y="109"/>
                      </a:moveTo>
                      <a:lnTo>
                        <a:pt x="173" y="109"/>
                      </a:lnTo>
                      <a:lnTo>
                        <a:pt x="168" y="113"/>
                      </a:lnTo>
                      <a:lnTo>
                        <a:pt x="163" y="117"/>
                      </a:lnTo>
                      <a:lnTo>
                        <a:pt x="159" y="122"/>
                      </a:lnTo>
                      <a:lnTo>
                        <a:pt x="158" y="129"/>
                      </a:lnTo>
                      <a:lnTo>
                        <a:pt x="156" y="130"/>
                      </a:lnTo>
                      <a:lnTo>
                        <a:pt x="155" y="133"/>
                      </a:lnTo>
                      <a:lnTo>
                        <a:pt x="155" y="136"/>
                      </a:lnTo>
                      <a:lnTo>
                        <a:pt x="156" y="139"/>
                      </a:lnTo>
                      <a:lnTo>
                        <a:pt x="158" y="140"/>
                      </a:lnTo>
                      <a:lnTo>
                        <a:pt x="160" y="140"/>
                      </a:lnTo>
                      <a:lnTo>
                        <a:pt x="167" y="139"/>
                      </a:lnTo>
                      <a:lnTo>
                        <a:pt x="174" y="151"/>
                      </a:lnTo>
                      <a:lnTo>
                        <a:pt x="184" y="160"/>
                      </a:lnTo>
                      <a:lnTo>
                        <a:pt x="189" y="165"/>
                      </a:lnTo>
                      <a:lnTo>
                        <a:pt x="196" y="168"/>
                      </a:lnTo>
                      <a:lnTo>
                        <a:pt x="203" y="172"/>
                      </a:lnTo>
                      <a:lnTo>
                        <a:pt x="210" y="174"/>
                      </a:lnTo>
                      <a:lnTo>
                        <a:pt x="224" y="180"/>
                      </a:lnTo>
                      <a:lnTo>
                        <a:pt x="236" y="186"/>
                      </a:lnTo>
                      <a:lnTo>
                        <a:pt x="244" y="189"/>
                      </a:lnTo>
                      <a:lnTo>
                        <a:pt x="250" y="191"/>
                      </a:lnTo>
                      <a:lnTo>
                        <a:pt x="258" y="192"/>
                      </a:lnTo>
                      <a:lnTo>
                        <a:pt x="266" y="192"/>
                      </a:lnTo>
                      <a:lnTo>
                        <a:pt x="267" y="192"/>
                      </a:lnTo>
                      <a:lnTo>
                        <a:pt x="268" y="193"/>
                      </a:lnTo>
                      <a:lnTo>
                        <a:pt x="264" y="202"/>
                      </a:lnTo>
                      <a:lnTo>
                        <a:pt x="259" y="209"/>
                      </a:lnTo>
                      <a:lnTo>
                        <a:pt x="247" y="223"/>
                      </a:lnTo>
                      <a:lnTo>
                        <a:pt x="234" y="236"/>
                      </a:lnTo>
                      <a:lnTo>
                        <a:pt x="222" y="251"/>
                      </a:lnTo>
                      <a:lnTo>
                        <a:pt x="220" y="256"/>
                      </a:lnTo>
                      <a:lnTo>
                        <a:pt x="217" y="258"/>
                      </a:lnTo>
                      <a:lnTo>
                        <a:pt x="212" y="260"/>
                      </a:lnTo>
                      <a:lnTo>
                        <a:pt x="207" y="260"/>
                      </a:lnTo>
                      <a:lnTo>
                        <a:pt x="198" y="260"/>
                      </a:lnTo>
                      <a:lnTo>
                        <a:pt x="196" y="261"/>
                      </a:lnTo>
                      <a:lnTo>
                        <a:pt x="192" y="263"/>
                      </a:lnTo>
                      <a:lnTo>
                        <a:pt x="187" y="266"/>
                      </a:lnTo>
                      <a:lnTo>
                        <a:pt x="183" y="268"/>
                      </a:lnTo>
                      <a:lnTo>
                        <a:pt x="177" y="269"/>
                      </a:lnTo>
                      <a:lnTo>
                        <a:pt x="170" y="269"/>
                      </a:lnTo>
                      <a:lnTo>
                        <a:pt x="164" y="269"/>
                      </a:lnTo>
                      <a:lnTo>
                        <a:pt x="153" y="272"/>
                      </a:lnTo>
                      <a:lnTo>
                        <a:pt x="142" y="269"/>
                      </a:lnTo>
                      <a:lnTo>
                        <a:pt x="132" y="269"/>
                      </a:lnTo>
                      <a:lnTo>
                        <a:pt x="127" y="270"/>
                      </a:lnTo>
                      <a:lnTo>
                        <a:pt x="123" y="270"/>
                      </a:lnTo>
                      <a:lnTo>
                        <a:pt x="117" y="274"/>
                      </a:lnTo>
                      <a:lnTo>
                        <a:pt x="111" y="276"/>
                      </a:lnTo>
                      <a:lnTo>
                        <a:pt x="106" y="276"/>
                      </a:lnTo>
                      <a:lnTo>
                        <a:pt x="99" y="276"/>
                      </a:lnTo>
                      <a:lnTo>
                        <a:pt x="94" y="275"/>
                      </a:lnTo>
                      <a:lnTo>
                        <a:pt x="88" y="273"/>
                      </a:lnTo>
                      <a:lnTo>
                        <a:pt x="76" y="266"/>
                      </a:lnTo>
                      <a:lnTo>
                        <a:pt x="73" y="263"/>
                      </a:lnTo>
                      <a:lnTo>
                        <a:pt x="68" y="263"/>
                      </a:lnTo>
                      <a:lnTo>
                        <a:pt x="62" y="264"/>
                      </a:lnTo>
                      <a:lnTo>
                        <a:pt x="59" y="263"/>
                      </a:lnTo>
                      <a:lnTo>
                        <a:pt x="56" y="262"/>
                      </a:lnTo>
                      <a:lnTo>
                        <a:pt x="55" y="261"/>
                      </a:lnTo>
                      <a:lnTo>
                        <a:pt x="55" y="260"/>
                      </a:lnTo>
                      <a:lnTo>
                        <a:pt x="54" y="257"/>
                      </a:lnTo>
                      <a:lnTo>
                        <a:pt x="52" y="255"/>
                      </a:lnTo>
                      <a:lnTo>
                        <a:pt x="51" y="253"/>
                      </a:lnTo>
                      <a:lnTo>
                        <a:pt x="51" y="248"/>
                      </a:lnTo>
                      <a:lnTo>
                        <a:pt x="48" y="245"/>
                      </a:lnTo>
                      <a:lnTo>
                        <a:pt x="45" y="243"/>
                      </a:lnTo>
                      <a:lnTo>
                        <a:pt x="38" y="242"/>
                      </a:lnTo>
                      <a:lnTo>
                        <a:pt x="38" y="240"/>
                      </a:lnTo>
                      <a:lnTo>
                        <a:pt x="37" y="237"/>
                      </a:lnTo>
                      <a:lnTo>
                        <a:pt x="37" y="232"/>
                      </a:lnTo>
                      <a:lnTo>
                        <a:pt x="36" y="226"/>
                      </a:lnTo>
                      <a:lnTo>
                        <a:pt x="32" y="219"/>
                      </a:lnTo>
                      <a:lnTo>
                        <a:pt x="27" y="212"/>
                      </a:lnTo>
                      <a:lnTo>
                        <a:pt x="18" y="206"/>
                      </a:lnTo>
                      <a:lnTo>
                        <a:pt x="4" y="199"/>
                      </a:lnTo>
                      <a:lnTo>
                        <a:pt x="3" y="198"/>
                      </a:lnTo>
                      <a:lnTo>
                        <a:pt x="0" y="197"/>
                      </a:lnTo>
                      <a:lnTo>
                        <a:pt x="0" y="192"/>
                      </a:lnTo>
                      <a:lnTo>
                        <a:pt x="0" y="187"/>
                      </a:lnTo>
                      <a:lnTo>
                        <a:pt x="4" y="184"/>
                      </a:lnTo>
                      <a:lnTo>
                        <a:pt x="5" y="184"/>
                      </a:lnTo>
                      <a:lnTo>
                        <a:pt x="9" y="184"/>
                      </a:lnTo>
                      <a:lnTo>
                        <a:pt x="12" y="184"/>
                      </a:lnTo>
                      <a:lnTo>
                        <a:pt x="14" y="183"/>
                      </a:lnTo>
                      <a:lnTo>
                        <a:pt x="17" y="181"/>
                      </a:lnTo>
                      <a:lnTo>
                        <a:pt x="19" y="179"/>
                      </a:lnTo>
                      <a:lnTo>
                        <a:pt x="21" y="173"/>
                      </a:lnTo>
                      <a:lnTo>
                        <a:pt x="22" y="160"/>
                      </a:lnTo>
                      <a:lnTo>
                        <a:pt x="22" y="153"/>
                      </a:lnTo>
                      <a:lnTo>
                        <a:pt x="22" y="146"/>
                      </a:lnTo>
                      <a:lnTo>
                        <a:pt x="22" y="143"/>
                      </a:lnTo>
                      <a:lnTo>
                        <a:pt x="23" y="141"/>
                      </a:lnTo>
                      <a:lnTo>
                        <a:pt x="27" y="140"/>
                      </a:lnTo>
                      <a:lnTo>
                        <a:pt x="31" y="139"/>
                      </a:lnTo>
                      <a:lnTo>
                        <a:pt x="33" y="139"/>
                      </a:lnTo>
                      <a:lnTo>
                        <a:pt x="33" y="138"/>
                      </a:lnTo>
                      <a:lnTo>
                        <a:pt x="36" y="127"/>
                      </a:lnTo>
                      <a:lnTo>
                        <a:pt x="37" y="120"/>
                      </a:lnTo>
                      <a:lnTo>
                        <a:pt x="38" y="110"/>
                      </a:lnTo>
                      <a:lnTo>
                        <a:pt x="41" y="107"/>
                      </a:lnTo>
                      <a:lnTo>
                        <a:pt x="45" y="103"/>
                      </a:lnTo>
                      <a:lnTo>
                        <a:pt x="59" y="91"/>
                      </a:lnTo>
                      <a:lnTo>
                        <a:pt x="62" y="88"/>
                      </a:lnTo>
                      <a:lnTo>
                        <a:pt x="64" y="85"/>
                      </a:lnTo>
                      <a:lnTo>
                        <a:pt x="64" y="84"/>
                      </a:lnTo>
                      <a:lnTo>
                        <a:pt x="61" y="77"/>
                      </a:lnTo>
                      <a:lnTo>
                        <a:pt x="60" y="69"/>
                      </a:lnTo>
                      <a:lnTo>
                        <a:pt x="60" y="60"/>
                      </a:lnTo>
                      <a:lnTo>
                        <a:pt x="60" y="52"/>
                      </a:lnTo>
                      <a:lnTo>
                        <a:pt x="61" y="43"/>
                      </a:lnTo>
                      <a:lnTo>
                        <a:pt x="64" y="34"/>
                      </a:lnTo>
                      <a:lnTo>
                        <a:pt x="68" y="26"/>
                      </a:lnTo>
                      <a:lnTo>
                        <a:pt x="73" y="20"/>
                      </a:lnTo>
                      <a:lnTo>
                        <a:pt x="75" y="18"/>
                      </a:lnTo>
                      <a:lnTo>
                        <a:pt x="78" y="17"/>
                      </a:lnTo>
                      <a:lnTo>
                        <a:pt x="85" y="13"/>
                      </a:lnTo>
                      <a:lnTo>
                        <a:pt x="89" y="12"/>
                      </a:lnTo>
                      <a:lnTo>
                        <a:pt x="92" y="10"/>
                      </a:lnTo>
                      <a:lnTo>
                        <a:pt x="95" y="6"/>
                      </a:lnTo>
                      <a:lnTo>
                        <a:pt x="99" y="0"/>
                      </a:lnTo>
                      <a:lnTo>
                        <a:pt x="102" y="6"/>
                      </a:lnTo>
                      <a:lnTo>
                        <a:pt x="104" y="13"/>
                      </a:lnTo>
                      <a:lnTo>
                        <a:pt x="109" y="28"/>
                      </a:lnTo>
                      <a:lnTo>
                        <a:pt x="111" y="36"/>
                      </a:lnTo>
                      <a:lnTo>
                        <a:pt x="115" y="40"/>
                      </a:lnTo>
                      <a:lnTo>
                        <a:pt x="118" y="44"/>
                      </a:lnTo>
                      <a:lnTo>
                        <a:pt x="120" y="45"/>
                      </a:lnTo>
                      <a:lnTo>
                        <a:pt x="122" y="45"/>
                      </a:lnTo>
                      <a:lnTo>
                        <a:pt x="123" y="45"/>
                      </a:lnTo>
                      <a:lnTo>
                        <a:pt x="125" y="47"/>
                      </a:lnTo>
                      <a:lnTo>
                        <a:pt x="126" y="51"/>
                      </a:lnTo>
                      <a:lnTo>
                        <a:pt x="128" y="56"/>
                      </a:lnTo>
                      <a:lnTo>
                        <a:pt x="131" y="59"/>
                      </a:lnTo>
                      <a:lnTo>
                        <a:pt x="139" y="64"/>
                      </a:lnTo>
                      <a:lnTo>
                        <a:pt x="146" y="70"/>
                      </a:lnTo>
                      <a:lnTo>
                        <a:pt x="151" y="76"/>
                      </a:lnTo>
                      <a:lnTo>
                        <a:pt x="158" y="83"/>
                      </a:lnTo>
                      <a:lnTo>
                        <a:pt x="162" y="87"/>
                      </a:lnTo>
                      <a:lnTo>
                        <a:pt x="165" y="91"/>
                      </a:lnTo>
                      <a:lnTo>
                        <a:pt x="168" y="96"/>
                      </a:lnTo>
                      <a:lnTo>
                        <a:pt x="170" y="100"/>
                      </a:lnTo>
                      <a:lnTo>
                        <a:pt x="173" y="10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7" name="Freeform 760"/>
                <p:cNvSpPr>
                  <a:spLocks/>
                </p:cNvSpPr>
                <p:nvPr/>
              </p:nvSpPr>
              <p:spPr bwMode="auto">
                <a:xfrm>
                  <a:off x="7592744" y="4476298"/>
                  <a:ext cx="14799" cy="25157"/>
                </a:xfrm>
                <a:custGeom>
                  <a:avLst/>
                  <a:gdLst>
                    <a:gd name="T0" fmla="*/ 2147483647 w 10"/>
                    <a:gd name="T1" fmla="*/ 2147483647 h 17"/>
                    <a:gd name="T2" fmla="*/ 2147483647 w 10"/>
                    <a:gd name="T3" fmla="*/ 2147483647 h 17"/>
                    <a:gd name="T4" fmla="*/ 2147483647 w 10"/>
                    <a:gd name="T5" fmla="*/ 2147483647 h 17"/>
                    <a:gd name="T6" fmla="*/ 2147483647 w 10"/>
                    <a:gd name="T7" fmla="*/ 2147483647 h 17"/>
                    <a:gd name="T8" fmla="*/ 2147483647 w 10"/>
                    <a:gd name="T9" fmla="*/ 0 h 17"/>
                    <a:gd name="T10" fmla="*/ 2147483647 w 10"/>
                    <a:gd name="T11" fmla="*/ 0 h 17"/>
                    <a:gd name="T12" fmla="*/ 2147483647 w 10"/>
                    <a:gd name="T13" fmla="*/ 2147483647 h 17"/>
                    <a:gd name="T14" fmla="*/ 2147483647 w 10"/>
                    <a:gd name="T15" fmla="*/ 2147483647 h 17"/>
                    <a:gd name="T16" fmla="*/ 0 w 10"/>
                    <a:gd name="T17" fmla="*/ 2147483647 h 17"/>
                    <a:gd name="T18" fmla="*/ 2147483647 w 10"/>
                    <a:gd name="T19" fmla="*/ 2147483647 h 17"/>
                    <a:gd name="T20" fmla="*/ 2147483647 w 10"/>
                    <a:gd name="T21" fmla="*/ 2147483647 h 17"/>
                    <a:gd name="T22" fmla="*/ 2147483647 w 10"/>
                    <a:gd name="T23" fmla="*/ 2147483647 h 17"/>
                    <a:gd name="T24" fmla="*/ 2147483647 w 10"/>
                    <a:gd name="T25" fmla="*/ 2147483647 h 17"/>
                    <a:gd name="T26" fmla="*/ 2147483647 w 10"/>
                    <a:gd name="T27" fmla="*/ 2147483647 h 17"/>
                    <a:gd name="T28" fmla="*/ 2147483647 w 10"/>
                    <a:gd name="T29" fmla="*/ 2147483647 h 17"/>
                    <a:gd name="T30" fmla="*/ 2147483647 w 10"/>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7"/>
                    <a:gd name="T50" fmla="*/ 10 w 10"/>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7">
                      <a:moveTo>
                        <a:pt x="10" y="10"/>
                      </a:moveTo>
                      <a:lnTo>
                        <a:pt x="10" y="5"/>
                      </a:lnTo>
                      <a:lnTo>
                        <a:pt x="9" y="2"/>
                      </a:lnTo>
                      <a:lnTo>
                        <a:pt x="8" y="1"/>
                      </a:lnTo>
                      <a:lnTo>
                        <a:pt x="5" y="0"/>
                      </a:lnTo>
                      <a:lnTo>
                        <a:pt x="4" y="0"/>
                      </a:lnTo>
                      <a:lnTo>
                        <a:pt x="3" y="1"/>
                      </a:lnTo>
                      <a:lnTo>
                        <a:pt x="1" y="8"/>
                      </a:lnTo>
                      <a:lnTo>
                        <a:pt x="0" y="14"/>
                      </a:lnTo>
                      <a:lnTo>
                        <a:pt x="1" y="15"/>
                      </a:lnTo>
                      <a:lnTo>
                        <a:pt x="3" y="16"/>
                      </a:lnTo>
                      <a:lnTo>
                        <a:pt x="5" y="17"/>
                      </a:lnTo>
                      <a:lnTo>
                        <a:pt x="6" y="17"/>
                      </a:lnTo>
                      <a:lnTo>
                        <a:pt x="9" y="15"/>
                      </a:lnTo>
                      <a:lnTo>
                        <a:pt x="10" y="14"/>
                      </a:lnTo>
                      <a:lnTo>
                        <a:pt x="10"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8" name="Freeform 762"/>
                <p:cNvSpPr>
                  <a:spLocks/>
                </p:cNvSpPr>
                <p:nvPr/>
              </p:nvSpPr>
              <p:spPr bwMode="auto">
                <a:xfrm>
                  <a:off x="7591263" y="4473334"/>
                  <a:ext cx="14799" cy="26638"/>
                </a:xfrm>
                <a:custGeom>
                  <a:avLst/>
                  <a:gdLst>
                    <a:gd name="T0" fmla="*/ 2147483647 w 10"/>
                    <a:gd name="T1" fmla="*/ 2147483647 h 18"/>
                    <a:gd name="T2" fmla="*/ 2147483647 w 10"/>
                    <a:gd name="T3" fmla="*/ 2147483647 h 18"/>
                    <a:gd name="T4" fmla="*/ 2147483647 w 10"/>
                    <a:gd name="T5" fmla="*/ 2147483647 h 18"/>
                    <a:gd name="T6" fmla="*/ 2147483647 w 10"/>
                    <a:gd name="T7" fmla="*/ 2147483647 h 18"/>
                    <a:gd name="T8" fmla="*/ 2147483647 w 10"/>
                    <a:gd name="T9" fmla="*/ 2147483647 h 18"/>
                    <a:gd name="T10" fmla="*/ 2147483647 w 10"/>
                    <a:gd name="T11" fmla="*/ 2147483647 h 18"/>
                    <a:gd name="T12" fmla="*/ 2147483647 w 10"/>
                    <a:gd name="T13" fmla="*/ 0 h 18"/>
                    <a:gd name="T14" fmla="*/ 2147483647 w 10"/>
                    <a:gd name="T15" fmla="*/ 0 h 18"/>
                    <a:gd name="T16" fmla="*/ 2147483647 w 10"/>
                    <a:gd name="T17" fmla="*/ 2147483647 h 18"/>
                    <a:gd name="T18" fmla="*/ 2147483647 w 10"/>
                    <a:gd name="T19" fmla="*/ 2147483647 h 18"/>
                    <a:gd name="T20" fmla="*/ 2147483647 w 10"/>
                    <a:gd name="T21" fmla="*/ 2147483647 h 18"/>
                    <a:gd name="T22" fmla="*/ 0 w 10"/>
                    <a:gd name="T23" fmla="*/ 2147483647 h 18"/>
                    <a:gd name="T24" fmla="*/ 0 w 10"/>
                    <a:gd name="T25" fmla="*/ 2147483647 h 18"/>
                    <a:gd name="T26" fmla="*/ 2147483647 w 10"/>
                    <a:gd name="T27" fmla="*/ 2147483647 h 18"/>
                    <a:gd name="T28" fmla="*/ 2147483647 w 10"/>
                    <a:gd name="T29" fmla="*/ 2147483647 h 18"/>
                    <a:gd name="T30" fmla="*/ 2147483647 w 10"/>
                    <a:gd name="T31" fmla="*/ 2147483647 h 18"/>
                    <a:gd name="T32" fmla="*/ 2147483647 w 10"/>
                    <a:gd name="T33" fmla="*/ 2147483647 h 18"/>
                    <a:gd name="T34" fmla="*/ 2147483647 w 10"/>
                    <a:gd name="T35" fmla="*/ 2147483647 h 18"/>
                    <a:gd name="T36" fmla="*/ 2147483647 w 10"/>
                    <a:gd name="T37" fmla="*/ 2147483647 h 18"/>
                    <a:gd name="T38" fmla="*/ 2147483647 w 10"/>
                    <a:gd name="T39" fmla="*/ 2147483647 h 18"/>
                    <a:gd name="T40" fmla="*/ 2147483647 w 10"/>
                    <a:gd name="T41" fmla="*/ 2147483647 h 18"/>
                    <a:gd name="T42" fmla="*/ 2147483647 w 10"/>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
                    <a:gd name="T67" fmla="*/ 0 h 18"/>
                    <a:gd name="T68" fmla="*/ 10 w 10"/>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 h="18">
                      <a:moveTo>
                        <a:pt x="10" y="11"/>
                      </a:moveTo>
                      <a:lnTo>
                        <a:pt x="10" y="11"/>
                      </a:lnTo>
                      <a:lnTo>
                        <a:pt x="10" y="6"/>
                      </a:lnTo>
                      <a:lnTo>
                        <a:pt x="9" y="3"/>
                      </a:lnTo>
                      <a:lnTo>
                        <a:pt x="7" y="2"/>
                      </a:lnTo>
                      <a:lnTo>
                        <a:pt x="5" y="0"/>
                      </a:lnTo>
                      <a:lnTo>
                        <a:pt x="4" y="0"/>
                      </a:lnTo>
                      <a:lnTo>
                        <a:pt x="2" y="2"/>
                      </a:lnTo>
                      <a:lnTo>
                        <a:pt x="1" y="9"/>
                      </a:lnTo>
                      <a:lnTo>
                        <a:pt x="0" y="15"/>
                      </a:lnTo>
                      <a:lnTo>
                        <a:pt x="1" y="16"/>
                      </a:lnTo>
                      <a:lnTo>
                        <a:pt x="2" y="17"/>
                      </a:lnTo>
                      <a:lnTo>
                        <a:pt x="5" y="18"/>
                      </a:lnTo>
                      <a:lnTo>
                        <a:pt x="6" y="18"/>
                      </a:lnTo>
                      <a:lnTo>
                        <a:pt x="9" y="16"/>
                      </a:lnTo>
                      <a:lnTo>
                        <a:pt x="10" y="15"/>
                      </a:lnTo>
                      <a:lnTo>
                        <a:pt x="10"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899" name="Freeform 1089"/>
                <p:cNvSpPr>
                  <a:spLocks/>
                </p:cNvSpPr>
                <p:nvPr/>
              </p:nvSpPr>
              <p:spPr bwMode="auto">
                <a:xfrm>
                  <a:off x="5321141" y="4498492"/>
                  <a:ext cx="130229" cy="152427"/>
                </a:xfrm>
                <a:custGeom>
                  <a:avLst/>
                  <a:gdLst>
                    <a:gd name="T0" fmla="*/ 2147483647 w 95"/>
                    <a:gd name="T1" fmla="*/ 2147483647 h 103"/>
                    <a:gd name="T2" fmla="*/ 2147483647 w 95"/>
                    <a:gd name="T3" fmla="*/ 2147483647 h 103"/>
                    <a:gd name="T4" fmla="*/ 2147483647 w 95"/>
                    <a:gd name="T5" fmla="*/ 2147483647 h 103"/>
                    <a:gd name="T6" fmla="*/ 2147483647 w 95"/>
                    <a:gd name="T7" fmla="*/ 2147483647 h 103"/>
                    <a:gd name="T8" fmla="*/ 2147483647 w 95"/>
                    <a:gd name="T9" fmla="*/ 2147483647 h 103"/>
                    <a:gd name="T10" fmla="*/ 2147483647 w 95"/>
                    <a:gd name="T11" fmla="*/ 2147483647 h 103"/>
                    <a:gd name="T12" fmla="*/ 2147483647 w 95"/>
                    <a:gd name="T13" fmla="*/ 2147483647 h 103"/>
                    <a:gd name="T14" fmla="*/ 2147483647 w 95"/>
                    <a:gd name="T15" fmla="*/ 2147483647 h 103"/>
                    <a:gd name="T16" fmla="*/ 2147483647 w 95"/>
                    <a:gd name="T17" fmla="*/ 2147483647 h 103"/>
                    <a:gd name="T18" fmla="*/ 2147483647 w 95"/>
                    <a:gd name="T19" fmla="*/ 2147483647 h 103"/>
                    <a:gd name="T20" fmla="*/ 2147483647 w 95"/>
                    <a:gd name="T21" fmla="*/ 2147483647 h 103"/>
                    <a:gd name="T22" fmla="*/ 2147483647 w 95"/>
                    <a:gd name="T23" fmla="*/ 2147483647 h 103"/>
                    <a:gd name="T24" fmla="*/ 2147483647 w 95"/>
                    <a:gd name="T25" fmla="*/ 2147483647 h 103"/>
                    <a:gd name="T26" fmla="*/ 2147483647 w 95"/>
                    <a:gd name="T27" fmla="*/ 2147483647 h 103"/>
                    <a:gd name="T28" fmla="*/ 2147483647 w 95"/>
                    <a:gd name="T29" fmla="*/ 2147483647 h 103"/>
                    <a:gd name="T30" fmla="*/ 2147483647 w 95"/>
                    <a:gd name="T31" fmla="*/ 2147483647 h 103"/>
                    <a:gd name="T32" fmla="*/ 2147483647 w 95"/>
                    <a:gd name="T33" fmla="*/ 2147483647 h 103"/>
                    <a:gd name="T34" fmla="*/ 0 w 95"/>
                    <a:gd name="T35" fmla="*/ 2147483647 h 103"/>
                    <a:gd name="T36" fmla="*/ 0 w 95"/>
                    <a:gd name="T37" fmla="*/ 2147483647 h 103"/>
                    <a:gd name="T38" fmla="*/ 0 w 95"/>
                    <a:gd name="T39" fmla="*/ 2147483647 h 103"/>
                    <a:gd name="T40" fmla="*/ 2147483647 w 95"/>
                    <a:gd name="T41" fmla="*/ 2147483647 h 103"/>
                    <a:gd name="T42" fmla="*/ 2147483647 w 95"/>
                    <a:gd name="T43" fmla="*/ 2147483647 h 103"/>
                    <a:gd name="T44" fmla="*/ 2147483647 w 95"/>
                    <a:gd name="T45" fmla="*/ 2147483647 h 103"/>
                    <a:gd name="T46" fmla="*/ 2147483647 w 95"/>
                    <a:gd name="T47" fmla="*/ 2147483647 h 103"/>
                    <a:gd name="T48" fmla="*/ 2147483647 w 95"/>
                    <a:gd name="T49" fmla="*/ 2147483647 h 103"/>
                    <a:gd name="T50" fmla="*/ 2147483647 w 95"/>
                    <a:gd name="T51" fmla="*/ 2147483647 h 103"/>
                    <a:gd name="T52" fmla="*/ 2147483647 w 95"/>
                    <a:gd name="T53" fmla="*/ 2147483647 h 103"/>
                    <a:gd name="T54" fmla="*/ 2147483647 w 95"/>
                    <a:gd name="T55" fmla="*/ 2147483647 h 103"/>
                    <a:gd name="T56" fmla="*/ 2147483647 w 95"/>
                    <a:gd name="T57" fmla="*/ 2147483647 h 103"/>
                    <a:gd name="T58" fmla="*/ 2147483647 w 95"/>
                    <a:gd name="T59" fmla="*/ 2147483647 h 103"/>
                    <a:gd name="T60" fmla="*/ 2147483647 w 95"/>
                    <a:gd name="T61" fmla="*/ 2147483647 h 103"/>
                    <a:gd name="T62" fmla="*/ 2147483647 w 95"/>
                    <a:gd name="T63" fmla="*/ 2147483647 h 103"/>
                    <a:gd name="T64" fmla="*/ 2147483647 w 95"/>
                    <a:gd name="T65" fmla="*/ 2147483647 h 103"/>
                    <a:gd name="T66" fmla="*/ 2147483647 w 95"/>
                    <a:gd name="T67" fmla="*/ 2147483647 h 103"/>
                    <a:gd name="T68" fmla="*/ 2147483647 w 95"/>
                    <a:gd name="T69" fmla="*/ 2147483647 h 103"/>
                    <a:gd name="T70" fmla="*/ 2147483647 w 95"/>
                    <a:gd name="T71" fmla="*/ 2147483647 h 103"/>
                    <a:gd name="T72" fmla="*/ 2147483647 w 95"/>
                    <a:gd name="T73" fmla="*/ 2147483647 h 103"/>
                    <a:gd name="T74" fmla="*/ 2147483647 w 95"/>
                    <a:gd name="T75" fmla="*/ 2147483647 h 103"/>
                    <a:gd name="T76" fmla="*/ 2147483647 w 95"/>
                    <a:gd name="T77" fmla="*/ 2147483647 h 103"/>
                    <a:gd name="T78" fmla="*/ 2147483647 w 95"/>
                    <a:gd name="T79" fmla="*/ 2147483647 h 103"/>
                    <a:gd name="T80" fmla="*/ 2147483647 w 95"/>
                    <a:gd name="T81" fmla="*/ 2147483647 h 103"/>
                    <a:gd name="T82" fmla="*/ 2147483647 w 95"/>
                    <a:gd name="T83" fmla="*/ 2147483647 h 103"/>
                    <a:gd name="T84" fmla="*/ 2147483647 w 95"/>
                    <a:gd name="T85" fmla="*/ 0 h 103"/>
                    <a:gd name="T86" fmla="*/ 2147483647 w 95"/>
                    <a:gd name="T87" fmla="*/ 2147483647 h 103"/>
                    <a:gd name="T88" fmla="*/ 2147483647 w 95"/>
                    <a:gd name="T89" fmla="*/ 2147483647 h 103"/>
                    <a:gd name="T90" fmla="*/ 2147483647 w 95"/>
                    <a:gd name="T91" fmla="*/ 2147483647 h 103"/>
                    <a:gd name="T92" fmla="*/ 2147483647 w 95"/>
                    <a:gd name="T93" fmla="*/ 2147483647 h 103"/>
                    <a:gd name="T94" fmla="*/ 2147483647 w 95"/>
                    <a:gd name="T95" fmla="*/ 2147483647 h 103"/>
                    <a:gd name="T96" fmla="*/ 2147483647 w 95"/>
                    <a:gd name="T97" fmla="*/ 2147483647 h 103"/>
                    <a:gd name="T98" fmla="*/ 2147483647 w 95"/>
                    <a:gd name="T99" fmla="*/ 2147483647 h 103"/>
                    <a:gd name="T100" fmla="*/ 2147483647 w 95"/>
                    <a:gd name="T101" fmla="*/ 2147483647 h 103"/>
                    <a:gd name="T102" fmla="*/ 2147483647 w 95"/>
                    <a:gd name="T103" fmla="*/ 2147483647 h 103"/>
                    <a:gd name="T104" fmla="*/ 2147483647 w 95"/>
                    <a:gd name="T105" fmla="*/ 2147483647 h 103"/>
                    <a:gd name="T106" fmla="*/ 2147483647 w 95"/>
                    <a:gd name="T107" fmla="*/ 2147483647 h 103"/>
                    <a:gd name="T108" fmla="*/ 2147483647 w 95"/>
                    <a:gd name="T109" fmla="*/ 2147483647 h 1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5"/>
                    <a:gd name="T166" fmla="*/ 0 h 103"/>
                    <a:gd name="T167" fmla="*/ 95 w 95"/>
                    <a:gd name="T168" fmla="*/ 103 h 1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5" h="103">
                      <a:moveTo>
                        <a:pt x="15" y="17"/>
                      </a:moveTo>
                      <a:lnTo>
                        <a:pt x="17" y="18"/>
                      </a:lnTo>
                      <a:lnTo>
                        <a:pt x="20" y="20"/>
                      </a:lnTo>
                      <a:lnTo>
                        <a:pt x="20" y="24"/>
                      </a:lnTo>
                      <a:lnTo>
                        <a:pt x="20" y="26"/>
                      </a:lnTo>
                      <a:lnTo>
                        <a:pt x="21" y="33"/>
                      </a:lnTo>
                      <a:lnTo>
                        <a:pt x="24" y="40"/>
                      </a:lnTo>
                      <a:lnTo>
                        <a:pt x="24" y="43"/>
                      </a:lnTo>
                      <a:lnTo>
                        <a:pt x="24" y="45"/>
                      </a:lnTo>
                      <a:lnTo>
                        <a:pt x="16" y="53"/>
                      </a:lnTo>
                      <a:lnTo>
                        <a:pt x="12" y="60"/>
                      </a:lnTo>
                      <a:lnTo>
                        <a:pt x="9" y="69"/>
                      </a:lnTo>
                      <a:lnTo>
                        <a:pt x="9" y="73"/>
                      </a:lnTo>
                      <a:lnTo>
                        <a:pt x="9" y="78"/>
                      </a:lnTo>
                      <a:lnTo>
                        <a:pt x="7" y="82"/>
                      </a:lnTo>
                      <a:lnTo>
                        <a:pt x="5" y="84"/>
                      </a:lnTo>
                      <a:lnTo>
                        <a:pt x="1" y="87"/>
                      </a:lnTo>
                      <a:lnTo>
                        <a:pt x="0" y="89"/>
                      </a:lnTo>
                      <a:lnTo>
                        <a:pt x="0" y="92"/>
                      </a:lnTo>
                      <a:lnTo>
                        <a:pt x="0" y="97"/>
                      </a:lnTo>
                      <a:lnTo>
                        <a:pt x="1" y="101"/>
                      </a:lnTo>
                      <a:lnTo>
                        <a:pt x="1" y="103"/>
                      </a:lnTo>
                      <a:lnTo>
                        <a:pt x="11" y="103"/>
                      </a:lnTo>
                      <a:lnTo>
                        <a:pt x="26" y="103"/>
                      </a:lnTo>
                      <a:lnTo>
                        <a:pt x="42" y="102"/>
                      </a:lnTo>
                      <a:lnTo>
                        <a:pt x="72" y="97"/>
                      </a:lnTo>
                      <a:lnTo>
                        <a:pt x="73" y="81"/>
                      </a:lnTo>
                      <a:lnTo>
                        <a:pt x="75" y="73"/>
                      </a:lnTo>
                      <a:lnTo>
                        <a:pt x="76" y="66"/>
                      </a:lnTo>
                      <a:lnTo>
                        <a:pt x="78" y="62"/>
                      </a:lnTo>
                      <a:lnTo>
                        <a:pt x="82" y="57"/>
                      </a:lnTo>
                      <a:lnTo>
                        <a:pt x="87" y="52"/>
                      </a:lnTo>
                      <a:lnTo>
                        <a:pt x="92" y="49"/>
                      </a:lnTo>
                      <a:lnTo>
                        <a:pt x="94" y="47"/>
                      </a:lnTo>
                      <a:lnTo>
                        <a:pt x="95" y="45"/>
                      </a:lnTo>
                      <a:lnTo>
                        <a:pt x="94" y="39"/>
                      </a:lnTo>
                      <a:lnTo>
                        <a:pt x="86" y="24"/>
                      </a:lnTo>
                      <a:lnTo>
                        <a:pt x="85" y="15"/>
                      </a:lnTo>
                      <a:lnTo>
                        <a:pt x="82" y="7"/>
                      </a:lnTo>
                      <a:lnTo>
                        <a:pt x="82" y="6"/>
                      </a:lnTo>
                      <a:lnTo>
                        <a:pt x="81" y="5"/>
                      </a:lnTo>
                      <a:lnTo>
                        <a:pt x="77" y="2"/>
                      </a:lnTo>
                      <a:lnTo>
                        <a:pt x="76" y="0"/>
                      </a:lnTo>
                      <a:lnTo>
                        <a:pt x="72" y="1"/>
                      </a:lnTo>
                      <a:lnTo>
                        <a:pt x="68" y="2"/>
                      </a:lnTo>
                      <a:lnTo>
                        <a:pt x="61" y="1"/>
                      </a:lnTo>
                      <a:lnTo>
                        <a:pt x="58" y="1"/>
                      </a:lnTo>
                      <a:lnTo>
                        <a:pt x="54" y="2"/>
                      </a:lnTo>
                      <a:lnTo>
                        <a:pt x="47" y="8"/>
                      </a:lnTo>
                      <a:lnTo>
                        <a:pt x="43" y="11"/>
                      </a:lnTo>
                      <a:lnTo>
                        <a:pt x="39" y="13"/>
                      </a:lnTo>
                      <a:lnTo>
                        <a:pt x="33" y="14"/>
                      </a:lnTo>
                      <a:lnTo>
                        <a:pt x="26" y="14"/>
                      </a:lnTo>
                      <a:lnTo>
                        <a:pt x="20" y="14"/>
                      </a:lnTo>
                      <a:lnTo>
                        <a:pt x="15" y="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0" name="Freeform 1091"/>
                <p:cNvSpPr>
                  <a:spLocks/>
                </p:cNvSpPr>
                <p:nvPr/>
              </p:nvSpPr>
              <p:spPr bwMode="auto">
                <a:xfrm>
                  <a:off x="5318184" y="4497013"/>
                  <a:ext cx="131708" cy="152426"/>
                </a:xfrm>
                <a:custGeom>
                  <a:avLst/>
                  <a:gdLst>
                    <a:gd name="T0" fmla="*/ 2147483647 w 96"/>
                    <a:gd name="T1" fmla="*/ 2147483647 h 103"/>
                    <a:gd name="T2" fmla="*/ 2147483647 w 96"/>
                    <a:gd name="T3" fmla="*/ 2147483647 h 103"/>
                    <a:gd name="T4" fmla="*/ 2147483647 w 96"/>
                    <a:gd name="T5" fmla="*/ 2147483647 h 103"/>
                    <a:gd name="T6" fmla="*/ 2147483647 w 96"/>
                    <a:gd name="T7" fmla="*/ 2147483647 h 103"/>
                    <a:gd name="T8" fmla="*/ 2147483647 w 96"/>
                    <a:gd name="T9" fmla="*/ 2147483647 h 103"/>
                    <a:gd name="T10" fmla="*/ 2147483647 w 96"/>
                    <a:gd name="T11" fmla="*/ 2147483647 h 103"/>
                    <a:gd name="T12" fmla="*/ 2147483647 w 96"/>
                    <a:gd name="T13" fmla="*/ 2147483647 h 103"/>
                    <a:gd name="T14" fmla="*/ 2147483647 w 96"/>
                    <a:gd name="T15" fmla="*/ 2147483647 h 103"/>
                    <a:gd name="T16" fmla="*/ 2147483647 w 96"/>
                    <a:gd name="T17" fmla="*/ 2147483647 h 103"/>
                    <a:gd name="T18" fmla="*/ 2147483647 w 96"/>
                    <a:gd name="T19" fmla="*/ 2147483647 h 103"/>
                    <a:gd name="T20" fmla="*/ 2147483647 w 96"/>
                    <a:gd name="T21" fmla="*/ 2147483647 h 103"/>
                    <a:gd name="T22" fmla="*/ 2147483647 w 96"/>
                    <a:gd name="T23" fmla="*/ 2147483647 h 103"/>
                    <a:gd name="T24" fmla="*/ 0 w 96"/>
                    <a:gd name="T25" fmla="*/ 2147483647 h 103"/>
                    <a:gd name="T26" fmla="*/ 0 w 96"/>
                    <a:gd name="T27" fmla="*/ 2147483647 h 103"/>
                    <a:gd name="T28" fmla="*/ 2147483647 w 96"/>
                    <a:gd name="T29" fmla="*/ 2147483647 h 103"/>
                    <a:gd name="T30" fmla="*/ 2147483647 w 96"/>
                    <a:gd name="T31" fmla="*/ 2147483647 h 103"/>
                    <a:gd name="T32" fmla="*/ 2147483647 w 96"/>
                    <a:gd name="T33" fmla="*/ 2147483647 h 103"/>
                    <a:gd name="T34" fmla="*/ 2147483647 w 96"/>
                    <a:gd name="T35" fmla="*/ 2147483647 h 103"/>
                    <a:gd name="T36" fmla="*/ 2147483647 w 96"/>
                    <a:gd name="T37" fmla="*/ 2147483647 h 103"/>
                    <a:gd name="T38" fmla="*/ 2147483647 w 96"/>
                    <a:gd name="T39" fmla="*/ 2147483647 h 103"/>
                    <a:gd name="T40" fmla="*/ 2147483647 w 96"/>
                    <a:gd name="T41" fmla="*/ 2147483647 h 103"/>
                    <a:gd name="T42" fmla="*/ 2147483647 w 96"/>
                    <a:gd name="T43" fmla="*/ 2147483647 h 103"/>
                    <a:gd name="T44" fmla="*/ 2147483647 w 96"/>
                    <a:gd name="T45" fmla="*/ 2147483647 h 103"/>
                    <a:gd name="T46" fmla="*/ 2147483647 w 96"/>
                    <a:gd name="T47" fmla="*/ 2147483647 h 103"/>
                    <a:gd name="T48" fmla="*/ 2147483647 w 96"/>
                    <a:gd name="T49" fmla="*/ 2147483647 h 103"/>
                    <a:gd name="T50" fmla="*/ 2147483647 w 96"/>
                    <a:gd name="T51" fmla="*/ 2147483647 h 103"/>
                    <a:gd name="T52" fmla="*/ 2147483647 w 96"/>
                    <a:gd name="T53" fmla="*/ 2147483647 h 103"/>
                    <a:gd name="T54" fmla="*/ 2147483647 w 96"/>
                    <a:gd name="T55" fmla="*/ 2147483647 h 103"/>
                    <a:gd name="T56" fmla="*/ 2147483647 w 96"/>
                    <a:gd name="T57" fmla="*/ 0 h 103"/>
                    <a:gd name="T58" fmla="*/ 2147483647 w 96"/>
                    <a:gd name="T59" fmla="*/ 2147483647 h 103"/>
                    <a:gd name="T60" fmla="*/ 2147483647 w 96"/>
                    <a:gd name="T61" fmla="*/ 2147483647 h 103"/>
                    <a:gd name="T62" fmla="*/ 2147483647 w 96"/>
                    <a:gd name="T63" fmla="*/ 2147483647 h 103"/>
                    <a:gd name="T64" fmla="*/ 2147483647 w 96"/>
                    <a:gd name="T65" fmla="*/ 2147483647 h 103"/>
                    <a:gd name="T66" fmla="*/ 2147483647 w 96"/>
                    <a:gd name="T67" fmla="*/ 2147483647 h 103"/>
                    <a:gd name="T68" fmla="*/ 2147483647 w 96"/>
                    <a:gd name="T69" fmla="*/ 2147483647 h 103"/>
                    <a:gd name="T70" fmla="*/ 2147483647 w 96"/>
                    <a:gd name="T71" fmla="*/ 2147483647 h 103"/>
                    <a:gd name="T72" fmla="*/ 2147483647 w 96"/>
                    <a:gd name="T73" fmla="*/ 2147483647 h 103"/>
                    <a:gd name="T74" fmla="*/ 2147483647 w 96"/>
                    <a:gd name="T75" fmla="*/ 2147483647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6"/>
                    <a:gd name="T115" fmla="*/ 0 h 103"/>
                    <a:gd name="T116" fmla="*/ 96 w 96"/>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6" h="103">
                      <a:moveTo>
                        <a:pt x="16" y="16"/>
                      </a:moveTo>
                      <a:lnTo>
                        <a:pt x="16" y="16"/>
                      </a:lnTo>
                      <a:lnTo>
                        <a:pt x="18" y="18"/>
                      </a:lnTo>
                      <a:lnTo>
                        <a:pt x="21" y="20"/>
                      </a:lnTo>
                      <a:lnTo>
                        <a:pt x="21" y="23"/>
                      </a:lnTo>
                      <a:lnTo>
                        <a:pt x="21" y="26"/>
                      </a:lnTo>
                      <a:lnTo>
                        <a:pt x="22" y="33"/>
                      </a:lnTo>
                      <a:lnTo>
                        <a:pt x="24" y="40"/>
                      </a:lnTo>
                      <a:lnTo>
                        <a:pt x="24" y="42"/>
                      </a:lnTo>
                      <a:lnTo>
                        <a:pt x="24" y="45"/>
                      </a:lnTo>
                      <a:lnTo>
                        <a:pt x="17" y="53"/>
                      </a:lnTo>
                      <a:lnTo>
                        <a:pt x="13" y="60"/>
                      </a:lnTo>
                      <a:lnTo>
                        <a:pt x="9" y="69"/>
                      </a:lnTo>
                      <a:lnTo>
                        <a:pt x="9" y="73"/>
                      </a:lnTo>
                      <a:lnTo>
                        <a:pt x="9" y="78"/>
                      </a:lnTo>
                      <a:lnTo>
                        <a:pt x="8" y="82"/>
                      </a:lnTo>
                      <a:lnTo>
                        <a:pt x="5" y="84"/>
                      </a:lnTo>
                      <a:lnTo>
                        <a:pt x="2" y="86"/>
                      </a:lnTo>
                      <a:lnTo>
                        <a:pt x="0" y="89"/>
                      </a:lnTo>
                      <a:lnTo>
                        <a:pt x="0" y="92"/>
                      </a:lnTo>
                      <a:lnTo>
                        <a:pt x="0" y="97"/>
                      </a:lnTo>
                      <a:lnTo>
                        <a:pt x="2" y="101"/>
                      </a:lnTo>
                      <a:lnTo>
                        <a:pt x="2" y="103"/>
                      </a:lnTo>
                      <a:lnTo>
                        <a:pt x="12" y="103"/>
                      </a:lnTo>
                      <a:lnTo>
                        <a:pt x="27" y="103"/>
                      </a:lnTo>
                      <a:lnTo>
                        <a:pt x="42" y="102"/>
                      </a:lnTo>
                      <a:lnTo>
                        <a:pt x="73" y="97"/>
                      </a:lnTo>
                      <a:lnTo>
                        <a:pt x="74" y="80"/>
                      </a:lnTo>
                      <a:lnTo>
                        <a:pt x="75" y="73"/>
                      </a:lnTo>
                      <a:lnTo>
                        <a:pt x="77" y="66"/>
                      </a:lnTo>
                      <a:lnTo>
                        <a:pt x="79" y="61"/>
                      </a:lnTo>
                      <a:lnTo>
                        <a:pt x="83" y="57"/>
                      </a:lnTo>
                      <a:lnTo>
                        <a:pt x="88" y="52"/>
                      </a:lnTo>
                      <a:lnTo>
                        <a:pt x="93" y="48"/>
                      </a:lnTo>
                      <a:lnTo>
                        <a:pt x="94" y="47"/>
                      </a:lnTo>
                      <a:lnTo>
                        <a:pt x="96" y="45"/>
                      </a:lnTo>
                      <a:lnTo>
                        <a:pt x="94" y="39"/>
                      </a:lnTo>
                      <a:lnTo>
                        <a:pt x="87" y="23"/>
                      </a:lnTo>
                      <a:lnTo>
                        <a:pt x="85" y="15"/>
                      </a:lnTo>
                      <a:lnTo>
                        <a:pt x="83" y="7"/>
                      </a:lnTo>
                      <a:lnTo>
                        <a:pt x="83" y="6"/>
                      </a:lnTo>
                      <a:lnTo>
                        <a:pt x="82" y="5"/>
                      </a:lnTo>
                      <a:lnTo>
                        <a:pt x="78" y="2"/>
                      </a:lnTo>
                      <a:lnTo>
                        <a:pt x="77" y="0"/>
                      </a:lnTo>
                      <a:lnTo>
                        <a:pt x="73" y="1"/>
                      </a:lnTo>
                      <a:lnTo>
                        <a:pt x="69" y="2"/>
                      </a:lnTo>
                      <a:lnTo>
                        <a:pt x="61" y="1"/>
                      </a:lnTo>
                      <a:lnTo>
                        <a:pt x="59" y="1"/>
                      </a:lnTo>
                      <a:lnTo>
                        <a:pt x="55" y="2"/>
                      </a:lnTo>
                      <a:lnTo>
                        <a:pt x="47" y="8"/>
                      </a:lnTo>
                      <a:lnTo>
                        <a:pt x="44" y="10"/>
                      </a:lnTo>
                      <a:lnTo>
                        <a:pt x="40" y="13"/>
                      </a:lnTo>
                      <a:lnTo>
                        <a:pt x="33" y="14"/>
                      </a:lnTo>
                      <a:lnTo>
                        <a:pt x="27" y="14"/>
                      </a:lnTo>
                      <a:lnTo>
                        <a:pt x="21" y="14"/>
                      </a:lnTo>
                      <a:lnTo>
                        <a:pt x="16"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1" name="Freeform 1096"/>
                <p:cNvSpPr>
                  <a:spLocks/>
                </p:cNvSpPr>
                <p:nvPr/>
              </p:nvSpPr>
              <p:spPr bwMode="auto">
                <a:xfrm>
                  <a:off x="4963012" y="2885434"/>
                  <a:ext cx="8879" cy="13319"/>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0 w 6"/>
                    <a:gd name="T11" fmla="*/ 2147483647 h 9"/>
                    <a:gd name="T12" fmla="*/ 2147483647 w 6"/>
                    <a:gd name="T13" fmla="*/ 0 h 9"/>
                    <a:gd name="T14" fmla="*/ 2147483647 w 6"/>
                    <a:gd name="T15" fmla="*/ 0 h 9"/>
                    <a:gd name="T16" fmla="*/ 2147483647 w 6"/>
                    <a:gd name="T17" fmla="*/ 2147483647 h 9"/>
                    <a:gd name="T18" fmla="*/ 2147483647 w 6"/>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9"/>
                    <a:gd name="T32" fmla="*/ 6 w 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9">
                      <a:moveTo>
                        <a:pt x="6" y="6"/>
                      </a:moveTo>
                      <a:lnTo>
                        <a:pt x="5" y="9"/>
                      </a:lnTo>
                      <a:lnTo>
                        <a:pt x="4" y="9"/>
                      </a:lnTo>
                      <a:lnTo>
                        <a:pt x="3" y="9"/>
                      </a:lnTo>
                      <a:lnTo>
                        <a:pt x="1" y="6"/>
                      </a:lnTo>
                      <a:lnTo>
                        <a:pt x="0" y="5"/>
                      </a:lnTo>
                      <a:lnTo>
                        <a:pt x="1" y="0"/>
                      </a:lnTo>
                      <a:lnTo>
                        <a:pt x="3" y="0"/>
                      </a:lnTo>
                      <a:lnTo>
                        <a:pt x="5" y="3"/>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2" name="Freeform 1097"/>
                <p:cNvSpPr>
                  <a:spLocks/>
                </p:cNvSpPr>
                <p:nvPr/>
              </p:nvSpPr>
              <p:spPr bwMode="auto">
                <a:xfrm>
                  <a:off x="4816506" y="3324956"/>
                  <a:ext cx="22199" cy="51795"/>
                </a:xfrm>
                <a:custGeom>
                  <a:avLst/>
                  <a:gdLst>
                    <a:gd name="T0" fmla="*/ 2147483647 w 17"/>
                    <a:gd name="T1" fmla="*/ 2147483647 h 35"/>
                    <a:gd name="T2" fmla="*/ 2147483647 w 17"/>
                    <a:gd name="T3" fmla="*/ 2147483647 h 35"/>
                    <a:gd name="T4" fmla="*/ 2147483647 w 17"/>
                    <a:gd name="T5" fmla="*/ 2147483647 h 35"/>
                    <a:gd name="T6" fmla="*/ 2147483647 w 17"/>
                    <a:gd name="T7" fmla="*/ 2147483647 h 35"/>
                    <a:gd name="T8" fmla="*/ 2147483647 w 17"/>
                    <a:gd name="T9" fmla="*/ 2147483647 h 35"/>
                    <a:gd name="T10" fmla="*/ 2147483647 w 17"/>
                    <a:gd name="T11" fmla="*/ 0 h 35"/>
                    <a:gd name="T12" fmla="*/ 2147483647 w 17"/>
                    <a:gd name="T13" fmla="*/ 0 h 35"/>
                    <a:gd name="T14" fmla="*/ 2147483647 w 17"/>
                    <a:gd name="T15" fmla="*/ 2147483647 h 35"/>
                    <a:gd name="T16" fmla="*/ 2147483647 w 17"/>
                    <a:gd name="T17" fmla="*/ 2147483647 h 35"/>
                    <a:gd name="T18" fmla="*/ 2147483647 w 17"/>
                    <a:gd name="T19" fmla="*/ 2147483647 h 35"/>
                    <a:gd name="T20" fmla="*/ 2147483647 w 17"/>
                    <a:gd name="T21" fmla="*/ 2147483647 h 35"/>
                    <a:gd name="T22" fmla="*/ 2147483647 w 17"/>
                    <a:gd name="T23" fmla="*/ 2147483647 h 35"/>
                    <a:gd name="T24" fmla="*/ 2147483647 w 17"/>
                    <a:gd name="T25" fmla="*/ 2147483647 h 35"/>
                    <a:gd name="T26" fmla="*/ 0 w 17"/>
                    <a:gd name="T27" fmla="*/ 2147483647 h 35"/>
                    <a:gd name="T28" fmla="*/ 0 w 17"/>
                    <a:gd name="T29" fmla="*/ 2147483647 h 35"/>
                    <a:gd name="T30" fmla="*/ 2147483647 w 17"/>
                    <a:gd name="T31" fmla="*/ 2147483647 h 35"/>
                    <a:gd name="T32" fmla="*/ 2147483647 w 17"/>
                    <a:gd name="T33" fmla="*/ 2147483647 h 35"/>
                    <a:gd name="T34" fmla="*/ 2147483647 w 17"/>
                    <a:gd name="T35" fmla="*/ 2147483647 h 35"/>
                    <a:gd name="T36" fmla="*/ 2147483647 w 17"/>
                    <a:gd name="T37" fmla="*/ 2147483647 h 35"/>
                    <a:gd name="T38" fmla="*/ 2147483647 w 17"/>
                    <a:gd name="T39" fmla="*/ 2147483647 h 35"/>
                    <a:gd name="T40" fmla="*/ 2147483647 w 17"/>
                    <a:gd name="T41" fmla="*/ 2147483647 h 35"/>
                    <a:gd name="T42" fmla="*/ 2147483647 w 17"/>
                    <a:gd name="T43" fmla="*/ 2147483647 h 35"/>
                    <a:gd name="T44" fmla="*/ 2147483647 w 17"/>
                    <a:gd name="T45" fmla="*/ 2147483647 h 35"/>
                    <a:gd name="T46" fmla="*/ 2147483647 w 17"/>
                    <a:gd name="T47" fmla="*/ 2147483647 h 35"/>
                    <a:gd name="T48" fmla="*/ 2147483647 w 17"/>
                    <a:gd name="T49" fmla="*/ 2147483647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
                    <a:gd name="T76" fmla="*/ 0 h 35"/>
                    <a:gd name="T77" fmla="*/ 17 w 17"/>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 h="35">
                      <a:moveTo>
                        <a:pt x="14" y="10"/>
                      </a:moveTo>
                      <a:lnTo>
                        <a:pt x="13" y="9"/>
                      </a:lnTo>
                      <a:lnTo>
                        <a:pt x="14" y="7"/>
                      </a:lnTo>
                      <a:lnTo>
                        <a:pt x="17" y="3"/>
                      </a:lnTo>
                      <a:lnTo>
                        <a:pt x="17" y="2"/>
                      </a:lnTo>
                      <a:lnTo>
                        <a:pt x="15" y="0"/>
                      </a:lnTo>
                      <a:lnTo>
                        <a:pt x="14" y="0"/>
                      </a:lnTo>
                      <a:lnTo>
                        <a:pt x="13" y="1"/>
                      </a:lnTo>
                      <a:lnTo>
                        <a:pt x="12" y="3"/>
                      </a:lnTo>
                      <a:lnTo>
                        <a:pt x="9" y="3"/>
                      </a:lnTo>
                      <a:lnTo>
                        <a:pt x="6" y="5"/>
                      </a:lnTo>
                      <a:lnTo>
                        <a:pt x="4" y="6"/>
                      </a:lnTo>
                      <a:lnTo>
                        <a:pt x="1" y="8"/>
                      </a:lnTo>
                      <a:lnTo>
                        <a:pt x="0" y="10"/>
                      </a:lnTo>
                      <a:lnTo>
                        <a:pt x="0" y="18"/>
                      </a:lnTo>
                      <a:lnTo>
                        <a:pt x="1" y="25"/>
                      </a:lnTo>
                      <a:lnTo>
                        <a:pt x="5" y="32"/>
                      </a:lnTo>
                      <a:lnTo>
                        <a:pt x="8" y="34"/>
                      </a:lnTo>
                      <a:lnTo>
                        <a:pt x="10" y="35"/>
                      </a:lnTo>
                      <a:lnTo>
                        <a:pt x="13" y="29"/>
                      </a:lnTo>
                      <a:lnTo>
                        <a:pt x="15" y="24"/>
                      </a:lnTo>
                      <a:lnTo>
                        <a:pt x="15" y="21"/>
                      </a:lnTo>
                      <a:lnTo>
                        <a:pt x="15" y="18"/>
                      </a:lnTo>
                      <a:lnTo>
                        <a:pt x="14" y="14"/>
                      </a:lnTo>
                      <a:lnTo>
                        <a:pt x="14"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3" name="Freeform 1098"/>
                <p:cNvSpPr>
                  <a:spLocks/>
                </p:cNvSpPr>
                <p:nvPr/>
              </p:nvSpPr>
              <p:spPr bwMode="auto">
                <a:xfrm>
                  <a:off x="4961532" y="2883953"/>
                  <a:ext cx="8879" cy="13319"/>
                </a:xfrm>
                <a:custGeom>
                  <a:avLst/>
                  <a:gdLst>
                    <a:gd name="T0" fmla="*/ 2147483647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0 w 6"/>
                    <a:gd name="T15" fmla="*/ 2147483647 h 9"/>
                    <a:gd name="T16" fmla="*/ 2147483647 w 6"/>
                    <a:gd name="T17" fmla="*/ 0 h 9"/>
                    <a:gd name="T18" fmla="*/ 2147483647 w 6"/>
                    <a:gd name="T19" fmla="*/ 0 h 9"/>
                    <a:gd name="T20" fmla="*/ 2147483647 w 6"/>
                    <a:gd name="T21" fmla="*/ 0 h 9"/>
                    <a:gd name="T22" fmla="*/ 2147483647 w 6"/>
                    <a:gd name="T23" fmla="*/ 2147483647 h 9"/>
                    <a:gd name="T24" fmla="*/ 2147483647 w 6"/>
                    <a:gd name="T25" fmla="*/ 2147483647 h 9"/>
                    <a:gd name="T26" fmla="*/ 2147483647 w 6"/>
                    <a:gd name="T27" fmla="*/ 2147483647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9"/>
                    <a:gd name="T44" fmla="*/ 6 w 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9">
                      <a:moveTo>
                        <a:pt x="6" y="6"/>
                      </a:moveTo>
                      <a:lnTo>
                        <a:pt x="6" y="6"/>
                      </a:lnTo>
                      <a:lnTo>
                        <a:pt x="5" y="9"/>
                      </a:lnTo>
                      <a:lnTo>
                        <a:pt x="4" y="9"/>
                      </a:lnTo>
                      <a:lnTo>
                        <a:pt x="2" y="9"/>
                      </a:lnTo>
                      <a:lnTo>
                        <a:pt x="1" y="6"/>
                      </a:lnTo>
                      <a:lnTo>
                        <a:pt x="0" y="5"/>
                      </a:lnTo>
                      <a:lnTo>
                        <a:pt x="1" y="0"/>
                      </a:lnTo>
                      <a:lnTo>
                        <a:pt x="2" y="0"/>
                      </a:lnTo>
                      <a:lnTo>
                        <a:pt x="5" y="3"/>
                      </a:lnTo>
                      <a:lnTo>
                        <a:pt x="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4" name="Freeform 1100"/>
                <p:cNvSpPr>
                  <a:spLocks/>
                </p:cNvSpPr>
                <p:nvPr/>
              </p:nvSpPr>
              <p:spPr bwMode="auto">
                <a:xfrm>
                  <a:off x="4810584" y="3391548"/>
                  <a:ext cx="35517" cy="65114"/>
                </a:xfrm>
                <a:custGeom>
                  <a:avLst/>
                  <a:gdLst>
                    <a:gd name="T0" fmla="*/ 2147483647 w 26"/>
                    <a:gd name="T1" fmla="*/ 2147483647 h 44"/>
                    <a:gd name="T2" fmla="*/ 2147483647 w 26"/>
                    <a:gd name="T3" fmla="*/ 2147483647 h 44"/>
                    <a:gd name="T4" fmla="*/ 2147483647 w 26"/>
                    <a:gd name="T5" fmla="*/ 2147483647 h 44"/>
                    <a:gd name="T6" fmla="*/ 2147483647 w 26"/>
                    <a:gd name="T7" fmla="*/ 2147483647 h 44"/>
                    <a:gd name="T8" fmla="*/ 2147483647 w 26"/>
                    <a:gd name="T9" fmla="*/ 2147483647 h 44"/>
                    <a:gd name="T10" fmla="*/ 2147483647 w 26"/>
                    <a:gd name="T11" fmla="*/ 2147483647 h 44"/>
                    <a:gd name="T12" fmla="*/ 2147483647 w 26"/>
                    <a:gd name="T13" fmla="*/ 0 h 44"/>
                    <a:gd name="T14" fmla="*/ 2147483647 w 26"/>
                    <a:gd name="T15" fmla="*/ 0 h 44"/>
                    <a:gd name="T16" fmla="*/ 2147483647 w 26"/>
                    <a:gd name="T17" fmla="*/ 2147483647 h 44"/>
                    <a:gd name="T18" fmla="*/ 0 w 26"/>
                    <a:gd name="T19" fmla="*/ 2147483647 h 44"/>
                    <a:gd name="T20" fmla="*/ 0 w 26"/>
                    <a:gd name="T21" fmla="*/ 2147483647 h 44"/>
                    <a:gd name="T22" fmla="*/ 0 w 26"/>
                    <a:gd name="T23" fmla="*/ 2147483647 h 44"/>
                    <a:gd name="T24" fmla="*/ 2147483647 w 26"/>
                    <a:gd name="T25" fmla="*/ 2147483647 h 44"/>
                    <a:gd name="T26" fmla="*/ 2147483647 w 26"/>
                    <a:gd name="T27" fmla="*/ 2147483647 h 44"/>
                    <a:gd name="T28" fmla="*/ 2147483647 w 26"/>
                    <a:gd name="T29" fmla="*/ 2147483647 h 44"/>
                    <a:gd name="T30" fmla="*/ 2147483647 w 26"/>
                    <a:gd name="T31" fmla="*/ 2147483647 h 44"/>
                    <a:gd name="T32" fmla="*/ 2147483647 w 26"/>
                    <a:gd name="T33" fmla="*/ 2147483647 h 44"/>
                    <a:gd name="T34" fmla="*/ 2147483647 w 26"/>
                    <a:gd name="T35" fmla="*/ 2147483647 h 44"/>
                    <a:gd name="T36" fmla="*/ 2147483647 w 26"/>
                    <a:gd name="T37" fmla="*/ 2147483647 h 44"/>
                    <a:gd name="T38" fmla="*/ 2147483647 w 26"/>
                    <a:gd name="T39" fmla="*/ 2147483647 h 44"/>
                    <a:gd name="T40" fmla="*/ 2147483647 w 26"/>
                    <a:gd name="T41" fmla="*/ 2147483647 h 44"/>
                    <a:gd name="T42" fmla="*/ 2147483647 w 26"/>
                    <a:gd name="T43" fmla="*/ 2147483647 h 44"/>
                    <a:gd name="T44" fmla="*/ 2147483647 w 26"/>
                    <a:gd name="T45" fmla="*/ 2147483647 h 44"/>
                    <a:gd name="T46" fmla="*/ 2147483647 w 26"/>
                    <a:gd name="T47" fmla="*/ 2147483647 h 44"/>
                    <a:gd name="T48" fmla="*/ 2147483647 w 26"/>
                    <a:gd name="T49" fmla="*/ 2147483647 h 44"/>
                    <a:gd name="T50" fmla="*/ 2147483647 w 26"/>
                    <a:gd name="T51" fmla="*/ 2147483647 h 44"/>
                    <a:gd name="T52" fmla="*/ 2147483647 w 26"/>
                    <a:gd name="T53" fmla="*/ 2147483647 h 44"/>
                    <a:gd name="T54" fmla="*/ 2147483647 w 26"/>
                    <a:gd name="T55" fmla="*/ 2147483647 h 44"/>
                    <a:gd name="T56" fmla="*/ 2147483647 w 26"/>
                    <a:gd name="T57" fmla="*/ 2147483647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
                    <a:gd name="T88" fmla="*/ 0 h 44"/>
                    <a:gd name="T89" fmla="*/ 26 w 26"/>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 h="44">
                      <a:moveTo>
                        <a:pt x="23" y="30"/>
                      </a:moveTo>
                      <a:lnTo>
                        <a:pt x="23" y="25"/>
                      </a:lnTo>
                      <a:lnTo>
                        <a:pt x="24" y="14"/>
                      </a:lnTo>
                      <a:lnTo>
                        <a:pt x="23" y="9"/>
                      </a:lnTo>
                      <a:lnTo>
                        <a:pt x="21" y="5"/>
                      </a:lnTo>
                      <a:lnTo>
                        <a:pt x="18" y="1"/>
                      </a:lnTo>
                      <a:lnTo>
                        <a:pt x="13" y="0"/>
                      </a:lnTo>
                      <a:lnTo>
                        <a:pt x="8" y="0"/>
                      </a:lnTo>
                      <a:lnTo>
                        <a:pt x="3" y="2"/>
                      </a:lnTo>
                      <a:lnTo>
                        <a:pt x="0" y="5"/>
                      </a:lnTo>
                      <a:lnTo>
                        <a:pt x="0" y="6"/>
                      </a:lnTo>
                      <a:lnTo>
                        <a:pt x="0" y="7"/>
                      </a:lnTo>
                      <a:lnTo>
                        <a:pt x="4" y="12"/>
                      </a:lnTo>
                      <a:lnTo>
                        <a:pt x="5" y="16"/>
                      </a:lnTo>
                      <a:lnTo>
                        <a:pt x="4" y="31"/>
                      </a:lnTo>
                      <a:lnTo>
                        <a:pt x="5" y="38"/>
                      </a:lnTo>
                      <a:lnTo>
                        <a:pt x="8" y="40"/>
                      </a:lnTo>
                      <a:lnTo>
                        <a:pt x="9" y="43"/>
                      </a:lnTo>
                      <a:lnTo>
                        <a:pt x="10" y="44"/>
                      </a:lnTo>
                      <a:lnTo>
                        <a:pt x="12" y="43"/>
                      </a:lnTo>
                      <a:lnTo>
                        <a:pt x="14" y="40"/>
                      </a:lnTo>
                      <a:lnTo>
                        <a:pt x="17" y="39"/>
                      </a:lnTo>
                      <a:lnTo>
                        <a:pt x="18" y="39"/>
                      </a:lnTo>
                      <a:lnTo>
                        <a:pt x="21" y="39"/>
                      </a:lnTo>
                      <a:lnTo>
                        <a:pt x="23" y="39"/>
                      </a:lnTo>
                      <a:lnTo>
                        <a:pt x="24" y="39"/>
                      </a:lnTo>
                      <a:lnTo>
                        <a:pt x="26" y="38"/>
                      </a:lnTo>
                      <a:lnTo>
                        <a:pt x="26" y="34"/>
                      </a:lnTo>
                      <a:lnTo>
                        <a:pt x="23"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5" name="Freeform 1102"/>
                <p:cNvSpPr>
                  <a:spLocks/>
                </p:cNvSpPr>
                <p:nvPr/>
              </p:nvSpPr>
              <p:spPr bwMode="auto">
                <a:xfrm>
                  <a:off x="4809104" y="3390068"/>
                  <a:ext cx="34037" cy="65114"/>
                </a:xfrm>
                <a:custGeom>
                  <a:avLst/>
                  <a:gdLst>
                    <a:gd name="T0" fmla="*/ 2147483647 w 25"/>
                    <a:gd name="T1" fmla="*/ 2147483647 h 44"/>
                    <a:gd name="T2" fmla="*/ 2147483647 w 25"/>
                    <a:gd name="T3" fmla="*/ 2147483647 h 44"/>
                    <a:gd name="T4" fmla="*/ 2147483647 w 25"/>
                    <a:gd name="T5" fmla="*/ 2147483647 h 44"/>
                    <a:gd name="T6" fmla="*/ 2147483647 w 25"/>
                    <a:gd name="T7" fmla="*/ 2147483647 h 44"/>
                    <a:gd name="T8" fmla="*/ 2147483647 w 25"/>
                    <a:gd name="T9" fmla="*/ 2147483647 h 44"/>
                    <a:gd name="T10" fmla="*/ 2147483647 w 25"/>
                    <a:gd name="T11" fmla="*/ 2147483647 h 44"/>
                    <a:gd name="T12" fmla="*/ 2147483647 w 25"/>
                    <a:gd name="T13" fmla="*/ 2147483647 h 44"/>
                    <a:gd name="T14" fmla="*/ 2147483647 w 25"/>
                    <a:gd name="T15" fmla="*/ 0 h 44"/>
                    <a:gd name="T16" fmla="*/ 2147483647 w 25"/>
                    <a:gd name="T17" fmla="*/ 0 h 44"/>
                    <a:gd name="T18" fmla="*/ 2147483647 w 25"/>
                    <a:gd name="T19" fmla="*/ 0 h 44"/>
                    <a:gd name="T20" fmla="*/ 2147483647 w 25"/>
                    <a:gd name="T21" fmla="*/ 2147483647 h 44"/>
                    <a:gd name="T22" fmla="*/ 2147483647 w 25"/>
                    <a:gd name="T23" fmla="*/ 2147483647 h 44"/>
                    <a:gd name="T24" fmla="*/ 0 w 25"/>
                    <a:gd name="T25" fmla="*/ 2147483647 h 44"/>
                    <a:gd name="T26" fmla="*/ 0 w 25"/>
                    <a:gd name="T27" fmla="*/ 2147483647 h 44"/>
                    <a:gd name="T28" fmla="*/ 0 w 25"/>
                    <a:gd name="T29" fmla="*/ 2147483647 h 44"/>
                    <a:gd name="T30" fmla="*/ 0 w 25"/>
                    <a:gd name="T31" fmla="*/ 2147483647 h 44"/>
                    <a:gd name="T32" fmla="*/ 2147483647 w 25"/>
                    <a:gd name="T33" fmla="*/ 2147483647 h 44"/>
                    <a:gd name="T34" fmla="*/ 2147483647 w 25"/>
                    <a:gd name="T35" fmla="*/ 2147483647 h 44"/>
                    <a:gd name="T36" fmla="*/ 2147483647 w 25"/>
                    <a:gd name="T37" fmla="*/ 2147483647 h 44"/>
                    <a:gd name="T38" fmla="*/ 2147483647 w 25"/>
                    <a:gd name="T39" fmla="*/ 2147483647 h 44"/>
                    <a:gd name="T40" fmla="*/ 2147483647 w 25"/>
                    <a:gd name="T41" fmla="*/ 2147483647 h 44"/>
                    <a:gd name="T42" fmla="*/ 2147483647 w 25"/>
                    <a:gd name="T43" fmla="*/ 2147483647 h 44"/>
                    <a:gd name="T44" fmla="*/ 2147483647 w 25"/>
                    <a:gd name="T45" fmla="*/ 2147483647 h 44"/>
                    <a:gd name="T46" fmla="*/ 2147483647 w 25"/>
                    <a:gd name="T47" fmla="*/ 2147483647 h 44"/>
                    <a:gd name="T48" fmla="*/ 2147483647 w 25"/>
                    <a:gd name="T49" fmla="*/ 2147483647 h 44"/>
                    <a:gd name="T50" fmla="*/ 2147483647 w 25"/>
                    <a:gd name="T51" fmla="*/ 2147483647 h 44"/>
                    <a:gd name="T52" fmla="*/ 2147483647 w 25"/>
                    <a:gd name="T53" fmla="*/ 2147483647 h 44"/>
                    <a:gd name="T54" fmla="*/ 2147483647 w 25"/>
                    <a:gd name="T55" fmla="*/ 2147483647 h 44"/>
                    <a:gd name="T56" fmla="*/ 2147483647 w 25"/>
                    <a:gd name="T57" fmla="*/ 2147483647 h 44"/>
                    <a:gd name="T58" fmla="*/ 2147483647 w 25"/>
                    <a:gd name="T59" fmla="*/ 2147483647 h 44"/>
                    <a:gd name="T60" fmla="*/ 2147483647 w 25"/>
                    <a:gd name="T61" fmla="*/ 2147483647 h 44"/>
                    <a:gd name="T62" fmla="*/ 2147483647 w 25"/>
                    <a:gd name="T63" fmla="*/ 2147483647 h 44"/>
                    <a:gd name="T64" fmla="*/ 2147483647 w 25"/>
                    <a:gd name="T65" fmla="*/ 2147483647 h 44"/>
                    <a:gd name="T66" fmla="*/ 2147483647 w 25"/>
                    <a:gd name="T67" fmla="*/ 2147483647 h 44"/>
                    <a:gd name="T68" fmla="*/ 2147483647 w 25"/>
                    <a:gd name="T69" fmla="*/ 2147483647 h 44"/>
                    <a:gd name="T70" fmla="*/ 2147483647 w 25"/>
                    <a:gd name="T71" fmla="*/ 2147483647 h 44"/>
                    <a:gd name="T72" fmla="*/ 2147483647 w 25"/>
                    <a:gd name="T73" fmla="*/ 2147483647 h 44"/>
                    <a:gd name="T74" fmla="*/ 2147483647 w 25"/>
                    <a:gd name="T75" fmla="*/ 2147483647 h 44"/>
                    <a:gd name="T76" fmla="*/ 2147483647 w 25"/>
                    <a:gd name="T77" fmla="*/ 2147483647 h 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
                    <a:gd name="T118" fmla="*/ 0 h 44"/>
                    <a:gd name="T119" fmla="*/ 25 w 25"/>
                    <a:gd name="T120" fmla="*/ 44 h 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 h="44">
                      <a:moveTo>
                        <a:pt x="23" y="29"/>
                      </a:moveTo>
                      <a:lnTo>
                        <a:pt x="23" y="29"/>
                      </a:lnTo>
                      <a:lnTo>
                        <a:pt x="23" y="25"/>
                      </a:lnTo>
                      <a:lnTo>
                        <a:pt x="24" y="14"/>
                      </a:lnTo>
                      <a:lnTo>
                        <a:pt x="23" y="9"/>
                      </a:lnTo>
                      <a:lnTo>
                        <a:pt x="20" y="4"/>
                      </a:lnTo>
                      <a:lnTo>
                        <a:pt x="18" y="1"/>
                      </a:lnTo>
                      <a:lnTo>
                        <a:pt x="13" y="0"/>
                      </a:lnTo>
                      <a:lnTo>
                        <a:pt x="8" y="0"/>
                      </a:lnTo>
                      <a:lnTo>
                        <a:pt x="3" y="2"/>
                      </a:lnTo>
                      <a:lnTo>
                        <a:pt x="0" y="4"/>
                      </a:lnTo>
                      <a:lnTo>
                        <a:pt x="0" y="6"/>
                      </a:lnTo>
                      <a:lnTo>
                        <a:pt x="0" y="7"/>
                      </a:lnTo>
                      <a:lnTo>
                        <a:pt x="4" y="12"/>
                      </a:lnTo>
                      <a:lnTo>
                        <a:pt x="5" y="16"/>
                      </a:lnTo>
                      <a:lnTo>
                        <a:pt x="4" y="31"/>
                      </a:lnTo>
                      <a:lnTo>
                        <a:pt x="5" y="38"/>
                      </a:lnTo>
                      <a:lnTo>
                        <a:pt x="8" y="40"/>
                      </a:lnTo>
                      <a:lnTo>
                        <a:pt x="9" y="42"/>
                      </a:lnTo>
                      <a:lnTo>
                        <a:pt x="10" y="44"/>
                      </a:lnTo>
                      <a:lnTo>
                        <a:pt x="11" y="42"/>
                      </a:lnTo>
                      <a:lnTo>
                        <a:pt x="14" y="40"/>
                      </a:lnTo>
                      <a:lnTo>
                        <a:pt x="17" y="39"/>
                      </a:lnTo>
                      <a:lnTo>
                        <a:pt x="18" y="39"/>
                      </a:lnTo>
                      <a:lnTo>
                        <a:pt x="20" y="39"/>
                      </a:lnTo>
                      <a:lnTo>
                        <a:pt x="23" y="39"/>
                      </a:lnTo>
                      <a:lnTo>
                        <a:pt x="24" y="39"/>
                      </a:lnTo>
                      <a:lnTo>
                        <a:pt x="25" y="38"/>
                      </a:lnTo>
                      <a:lnTo>
                        <a:pt x="25" y="34"/>
                      </a:lnTo>
                      <a:lnTo>
                        <a:pt x="23" y="2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6" name="Freeform 1104"/>
                <p:cNvSpPr>
                  <a:spLocks/>
                </p:cNvSpPr>
                <p:nvPr/>
              </p:nvSpPr>
              <p:spPr bwMode="auto">
                <a:xfrm>
                  <a:off x="4445056" y="2638293"/>
                  <a:ext cx="4439" cy="5919"/>
                </a:xfrm>
                <a:custGeom>
                  <a:avLst/>
                  <a:gdLst>
                    <a:gd name="T0" fmla="*/ 2147483647 w 4"/>
                    <a:gd name="T1" fmla="*/ 2147483647 h 4"/>
                    <a:gd name="T2" fmla="*/ 2147483647 w 4"/>
                    <a:gd name="T3" fmla="*/ 2147483647 h 4"/>
                    <a:gd name="T4" fmla="*/ 0 w 4"/>
                    <a:gd name="T5" fmla="*/ 2147483647 h 4"/>
                    <a:gd name="T6" fmla="*/ 2147483647 w 4"/>
                    <a:gd name="T7" fmla="*/ 0 h 4"/>
                    <a:gd name="T8" fmla="*/ 2147483647 w 4"/>
                    <a:gd name="T9" fmla="*/ 0 h 4"/>
                    <a:gd name="T10" fmla="*/ 2147483647 w 4"/>
                    <a:gd name="T11" fmla="*/ 2147483647 h 4"/>
                    <a:gd name="T12" fmla="*/ 2147483647 w 4"/>
                    <a:gd name="T13" fmla="*/ 2147483647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3"/>
                      </a:moveTo>
                      <a:lnTo>
                        <a:pt x="2" y="4"/>
                      </a:lnTo>
                      <a:lnTo>
                        <a:pt x="0" y="1"/>
                      </a:lnTo>
                      <a:lnTo>
                        <a:pt x="2" y="0"/>
                      </a:lnTo>
                      <a:lnTo>
                        <a:pt x="3" y="0"/>
                      </a:lnTo>
                      <a:lnTo>
                        <a:pt x="4" y="1"/>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7" name="Freeform 1105"/>
                <p:cNvSpPr>
                  <a:spLocks/>
                </p:cNvSpPr>
                <p:nvPr/>
              </p:nvSpPr>
              <p:spPr bwMode="auto">
                <a:xfrm>
                  <a:off x="4363666" y="2882472"/>
                  <a:ext cx="103591" cy="140588"/>
                </a:xfrm>
                <a:custGeom>
                  <a:avLst/>
                  <a:gdLst>
                    <a:gd name="T0" fmla="*/ 2147483647 w 76"/>
                    <a:gd name="T1" fmla="*/ 2147483647 h 95"/>
                    <a:gd name="T2" fmla="*/ 2147483647 w 76"/>
                    <a:gd name="T3" fmla="*/ 2147483647 h 95"/>
                    <a:gd name="T4" fmla="*/ 2147483647 w 76"/>
                    <a:gd name="T5" fmla="*/ 2147483647 h 95"/>
                    <a:gd name="T6" fmla="*/ 2147483647 w 76"/>
                    <a:gd name="T7" fmla="*/ 2147483647 h 95"/>
                    <a:gd name="T8" fmla="*/ 2147483647 w 76"/>
                    <a:gd name="T9" fmla="*/ 2147483647 h 95"/>
                    <a:gd name="T10" fmla="*/ 2147483647 w 76"/>
                    <a:gd name="T11" fmla="*/ 2147483647 h 95"/>
                    <a:gd name="T12" fmla="*/ 2147483647 w 76"/>
                    <a:gd name="T13" fmla="*/ 2147483647 h 95"/>
                    <a:gd name="T14" fmla="*/ 2147483647 w 76"/>
                    <a:gd name="T15" fmla="*/ 2147483647 h 95"/>
                    <a:gd name="T16" fmla="*/ 2147483647 w 76"/>
                    <a:gd name="T17" fmla="*/ 0 h 95"/>
                    <a:gd name="T18" fmla="*/ 2147483647 w 76"/>
                    <a:gd name="T19" fmla="*/ 2147483647 h 95"/>
                    <a:gd name="T20" fmla="*/ 2147483647 w 76"/>
                    <a:gd name="T21" fmla="*/ 2147483647 h 95"/>
                    <a:gd name="T22" fmla="*/ 2147483647 w 76"/>
                    <a:gd name="T23" fmla="*/ 2147483647 h 95"/>
                    <a:gd name="T24" fmla="*/ 2147483647 w 76"/>
                    <a:gd name="T25" fmla="*/ 2147483647 h 95"/>
                    <a:gd name="T26" fmla="*/ 2147483647 w 76"/>
                    <a:gd name="T27" fmla="*/ 2147483647 h 95"/>
                    <a:gd name="T28" fmla="*/ 2147483647 w 76"/>
                    <a:gd name="T29" fmla="*/ 2147483647 h 95"/>
                    <a:gd name="T30" fmla="*/ 2147483647 w 76"/>
                    <a:gd name="T31" fmla="*/ 2147483647 h 95"/>
                    <a:gd name="T32" fmla="*/ 2147483647 w 76"/>
                    <a:gd name="T33" fmla="*/ 2147483647 h 95"/>
                    <a:gd name="T34" fmla="*/ 2147483647 w 76"/>
                    <a:gd name="T35" fmla="*/ 2147483647 h 95"/>
                    <a:gd name="T36" fmla="*/ 2147483647 w 76"/>
                    <a:gd name="T37" fmla="*/ 2147483647 h 95"/>
                    <a:gd name="T38" fmla="*/ 2147483647 w 76"/>
                    <a:gd name="T39" fmla="*/ 2147483647 h 95"/>
                    <a:gd name="T40" fmla="*/ 2147483647 w 76"/>
                    <a:gd name="T41" fmla="*/ 2147483647 h 95"/>
                    <a:gd name="T42" fmla="*/ 2147483647 w 76"/>
                    <a:gd name="T43" fmla="*/ 2147483647 h 95"/>
                    <a:gd name="T44" fmla="*/ 2147483647 w 76"/>
                    <a:gd name="T45" fmla="*/ 2147483647 h 95"/>
                    <a:gd name="T46" fmla="*/ 2147483647 w 76"/>
                    <a:gd name="T47" fmla="*/ 2147483647 h 95"/>
                    <a:gd name="T48" fmla="*/ 2147483647 w 76"/>
                    <a:gd name="T49" fmla="*/ 2147483647 h 95"/>
                    <a:gd name="T50" fmla="*/ 2147483647 w 76"/>
                    <a:gd name="T51" fmla="*/ 2147483647 h 95"/>
                    <a:gd name="T52" fmla="*/ 2147483647 w 76"/>
                    <a:gd name="T53" fmla="*/ 2147483647 h 95"/>
                    <a:gd name="T54" fmla="*/ 2147483647 w 76"/>
                    <a:gd name="T55" fmla="*/ 2147483647 h 95"/>
                    <a:gd name="T56" fmla="*/ 2147483647 w 76"/>
                    <a:gd name="T57" fmla="*/ 2147483647 h 95"/>
                    <a:gd name="T58" fmla="*/ 2147483647 w 76"/>
                    <a:gd name="T59" fmla="*/ 2147483647 h 95"/>
                    <a:gd name="T60" fmla="*/ 2147483647 w 76"/>
                    <a:gd name="T61" fmla="*/ 2147483647 h 95"/>
                    <a:gd name="T62" fmla="*/ 0 w 76"/>
                    <a:gd name="T63" fmla="*/ 2147483647 h 95"/>
                    <a:gd name="T64" fmla="*/ 2147483647 w 76"/>
                    <a:gd name="T65" fmla="*/ 2147483647 h 95"/>
                    <a:gd name="T66" fmla="*/ 2147483647 w 76"/>
                    <a:gd name="T67" fmla="*/ 2147483647 h 95"/>
                    <a:gd name="T68" fmla="*/ 2147483647 w 76"/>
                    <a:gd name="T69" fmla="*/ 2147483647 h 95"/>
                    <a:gd name="T70" fmla="*/ 2147483647 w 76"/>
                    <a:gd name="T71" fmla="*/ 2147483647 h 95"/>
                    <a:gd name="T72" fmla="*/ 2147483647 w 76"/>
                    <a:gd name="T73" fmla="*/ 2147483647 h 95"/>
                    <a:gd name="T74" fmla="*/ 2147483647 w 76"/>
                    <a:gd name="T75" fmla="*/ 2147483647 h 95"/>
                    <a:gd name="T76" fmla="*/ 2147483647 w 76"/>
                    <a:gd name="T77" fmla="*/ 2147483647 h 95"/>
                    <a:gd name="T78" fmla="*/ 2147483647 w 76"/>
                    <a:gd name="T79" fmla="*/ 2147483647 h 95"/>
                    <a:gd name="T80" fmla="*/ 2147483647 w 76"/>
                    <a:gd name="T81" fmla="*/ 2147483647 h 95"/>
                    <a:gd name="T82" fmla="*/ 2147483647 w 76"/>
                    <a:gd name="T83" fmla="*/ 2147483647 h 95"/>
                    <a:gd name="T84" fmla="*/ 2147483647 w 76"/>
                    <a:gd name="T85" fmla="*/ 2147483647 h 95"/>
                    <a:gd name="T86" fmla="*/ 2147483647 w 76"/>
                    <a:gd name="T87" fmla="*/ 2147483647 h 95"/>
                    <a:gd name="T88" fmla="*/ 2147483647 w 76"/>
                    <a:gd name="T89" fmla="*/ 2147483647 h 95"/>
                    <a:gd name="T90" fmla="*/ 2147483647 w 76"/>
                    <a:gd name="T91" fmla="*/ 2147483647 h 95"/>
                    <a:gd name="T92" fmla="*/ 2147483647 w 76"/>
                    <a:gd name="T93" fmla="*/ 2147483647 h 95"/>
                    <a:gd name="T94" fmla="*/ 2147483647 w 76"/>
                    <a:gd name="T95" fmla="*/ 2147483647 h 95"/>
                    <a:gd name="T96" fmla="*/ 2147483647 w 76"/>
                    <a:gd name="T97" fmla="*/ 2147483647 h 95"/>
                    <a:gd name="T98" fmla="*/ 2147483647 w 76"/>
                    <a:gd name="T99" fmla="*/ 2147483647 h 95"/>
                    <a:gd name="T100" fmla="*/ 2147483647 w 76"/>
                    <a:gd name="T101" fmla="*/ 2147483647 h 95"/>
                    <a:gd name="T102" fmla="*/ 2147483647 w 76"/>
                    <a:gd name="T103" fmla="*/ 2147483647 h 95"/>
                    <a:gd name="T104" fmla="*/ 2147483647 w 76"/>
                    <a:gd name="T105" fmla="*/ 2147483647 h 95"/>
                    <a:gd name="T106" fmla="*/ 2147483647 w 76"/>
                    <a:gd name="T107" fmla="*/ 2147483647 h 95"/>
                    <a:gd name="T108" fmla="*/ 2147483647 w 76"/>
                    <a:gd name="T109" fmla="*/ 2147483647 h 95"/>
                    <a:gd name="T110" fmla="*/ 2147483647 w 76"/>
                    <a:gd name="T111" fmla="*/ 2147483647 h 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5"/>
                    <a:gd name="T170" fmla="*/ 76 w 76"/>
                    <a:gd name="T171" fmla="*/ 95 h 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5">
                      <a:moveTo>
                        <a:pt x="73" y="33"/>
                      </a:moveTo>
                      <a:lnTo>
                        <a:pt x="72" y="32"/>
                      </a:lnTo>
                      <a:lnTo>
                        <a:pt x="70" y="32"/>
                      </a:lnTo>
                      <a:lnTo>
                        <a:pt x="68" y="32"/>
                      </a:lnTo>
                      <a:lnTo>
                        <a:pt x="67" y="31"/>
                      </a:lnTo>
                      <a:lnTo>
                        <a:pt x="64" y="29"/>
                      </a:lnTo>
                      <a:lnTo>
                        <a:pt x="59" y="25"/>
                      </a:lnTo>
                      <a:lnTo>
                        <a:pt x="56" y="24"/>
                      </a:lnTo>
                      <a:lnTo>
                        <a:pt x="47" y="25"/>
                      </a:lnTo>
                      <a:lnTo>
                        <a:pt x="44" y="24"/>
                      </a:lnTo>
                      <a:lnTo>
                        <a:pt x="44" y="23"/>
                      </a:lnTo>
                      <a:lnTo>
                        <a:pt x="45" y="19"/>
                      </a:lnTo>
                      <a:lnTo>
                        <a:pt x="52" y="12"/>
                      </a:lnTo>
                      <a:lnTo>
                        <a:pt x="53" y="10"/>
                      </a:lnTo>
                      <a:lnTo>
                        <a:pt x="52" y="8"/>
                      </a:lnTo>
                      <a:lnTo>
                        <a:pt x="50" y="4"/>
                      </a:lnTo>
                      <a:lnTo>
                        <a:pt x="50" y="2"/>
                      </a:lnTo>
                      <a:lnTo>
                        <a:pt x="52" y="0"/>
                      </a:lnTo>
                      <a:lnTo>
                        <a:pt x="48" y="1"/>
                      </a:lnTo>
                      <a:lnTo>
                        <a:pt x="47" y="2"/>
                      </a:lnTo>
                      <a:lnTo>
                        <a:pt x="45" y="4"/>
                      </a:lnTo>
                      <a:lnTo>
                        <a:pt x="44" y="5"/>
                      </a:lnTo>
                      <a:lnTo>
                        <a:pt x="44" y="4"/>
                      </a:lnTo>
                      <a:lnTo>
                        <a:pt x="42" y="2"/>
                      </a:lnTo>
                      <a:lnTo>
                        <a:pt x="40" y="5"/>
                      </a:lnTo>
                      <a:lnTo>
                        <a:pt x="39" y="2"/>
                      </a:lnTo>
                      <a:lnTo>
                        <a:pt x="38" y="1"/>
                      </a:lnTo>
                      <a:lnTo>
                        <a:pt x="37" y="2"/>
                      </a:lnTo>
                      <a:lnTo>
                        <a:pt x="35" y="2"/>
                      </a:lnTo>
                      <a:lnTo>
                        <a:pt x="35" y="7"/>
                      </a:lnTo>
                      <a:lnTo>
                        <a:pt x="34" y="11"/>
                      </a:lnTo>
                      <a:lnTo>
                        <a:pt x="34" y="15"/>
                      </a:lnTo>
                      <a:lnTo>
                        <a:pt x="33" y="19"/>
                      </a:lnTo>
                      <a:lnTo>
                        <a:pt x="25" y="27"/>
                      </a:lnTo>
                      <a:lnTo>
                        <a:pt x="23" y="30"/>
                      </a:lnTo>
                      <a:lnTo>
                        <a:pt x="21" y="30"/>
                      </a:lnTo>
                      <a:lnTo>
                        <a:pt x="17" y="29"/>
                      </a:lnTo>
                      <a:lnTo>
                        <a:pt x="16" y="29"/>
                      </a:lnTo>
                      <a:lnTo>
                        <a:pt x="14" y="29"/>
                      </a:lnTo>
                      <a:lnTo>
                        <a:pt x="11" y="29"/>
                      </a:lnTo>
                      <a:lnTo>
                        <a:pt x="10" y="30"/>
                      </a:lnTo>
                      <a:lnTo>
                        <a:pt x="10" y="33"/>
                      </a:lnTo>
                      <a:lnTo>
                        <a:pt x="15" y="43"/>
                      </a:lnTo>
                      <a:lnTo>
                        <a:pt x="14" y="44"/>
                      </a:lnTo>
                      <a:lnTo>
                        <a:pt x="14" y="45"/>
                      </a:lnTo>
                      <a:lnTo>
                        <a:pt x="15" y="49"/>
                      </a:lnTo>
                      <a:lnTo>
                        <a:pt x="16" y="49"/>
                      </a:lnTo>
                      <a:lnTo>
                        <a:pt x="17" y="47"/>
                      </a:lnTo>
                      <a:lnTo>
                        <a:pt x="20" y="46"/>
                      </a:lnTo>
                      <a:lnTo>
                        <a:pt x="23" y="46"/>
                      </a:lnTo>
                      <a:lnTo>
                        <a:pt x="24" y="47"/>
                      </a:lnTo>
                      <a:lnTo>
                        <a:pt x="24" y="52"/>
                      </a:lnTo>
                      <a:lnTo>
                        <a:pt x="24" y="57"/>
                      </a:lnTo>
                      <a:lnTo>
                        <a:pt x="23" y="61"/>
                      </a:lnTo>
                      <a:lnTo>
                        <a:pt x="20" y="62"/>
                      </a:lnTo>
                      <a:lnTo>
                        <a:pt x="19" y="63"/>
                      </a:lnTo>
                      <a:lnTo>
                        <a:pt x="17" y="64"/>
                      </a:lnTo>
                      <a:lnTo>
                        <a:pt x="17" y="66"/>
                      </a:lnTo>
                      <a:lnTo>
                        <a:pt x="17" y="69"/>
                      </a:lnTo>
                      <a:lnTo>
                        <a:pt x="12" y="70"/>
                      </a:lnTo>
                      <a:lnTo>
                        <a:pt x="9" y="71"/>
                      </a:lnTo>
                      <a:lnTo>
                        <a:pt x="3" y="72"/>
                      </a:lnTo>
                      <a:lnTo>
                        <a:pt x="0" y="75"/>
                      </a:lnTo>
                      <a:lnTo>
                        <a:pt x="0" y="76"/>
                      </a:lnTo>
                      <a:lnTo>
                        <a:pt x="0" y="77"/>
                      </a:lnTo>
                      <a:lnTo>
                        <a:pt x="2" y="77"/>
                      </a:lnTo>
                      <a:lnTo>
                        <a:pt x="7" y="77"/>
                      </a:lnTo>
                      <a:lnTo>
                        <a:pt x="10" y="76"/>
                      </a:lnTo>
                      <a:lnTo>
                        <a:pt x="12" y="77"/>
                      </a:lnTo>
                      <a:lnTo>
                        <a:pt x="9" y="79"/>
                      </a:lnTo>
                      <a:lnTo>
                        <a:pt x="5" y="83"/>
                      </a:lnTo>
                      <a:lnTo>
                        <a:pt x="2" y="85"/>
                      </a:lnTo>
                      <a:lnTo>
                        <a:pt x="2" y="88"/>
                      </a:lnTo>
                      <a:lnTo>
                        <a:pt x="2" y="90"/>
                      </a:lnTo>
                      <a:lnTo>
                        <a:pt x="3" y="90"/>
                      </a:lnTo>
                      <a:lnTo>
                        <a:pt x="5" y="89"/>
                      </a:lnTo>
                      <a:lnTo>
                        <a:pt x="7" y="87"/>
                      </a:lnTo>
                      <a:lnTo>
                        <a:pt x="9" y="87"/>
                      </a:lnTo>
                      <a:lnTo>
                        <a:pt x="10" y="88"/>
                      </a:lnTo>
                      <a:lnTo>
                        <a:pt x="10" y="90"/>
                      </a:lnTo>
                      <a:lnTo>
                        <a:pt x="10" y="93"/>
                      </a:lnTo>
                      <a:lnTo>
                        <a:pt x="12" y="91"/>
                      </a:lnTo>
                      <a:lnTo>
                        <a:pt x="15" y="89"/>
                      </a:lnTo>
                      <a:lnTo>
                        <a:pt x="17" y="89"/>
                      </a:lnTo>
                      <a:lnTo>
                        <a:pt x="19" y="89"/>
                      </a:lnTo>
                      <a:lnTo>
                        <a:pt x="20" y="90"/>
                      </a:lnTo>
                      <a:lnTo>
                        <a:pt x="23" y="90"/>
                      </a:lnTo>
                      <a:lnTo>
                        <a:pt x="24" y="90"/>
                      </a:lnTo>
                      <a:lnTo>
                        <a:pt x="25" y="93"/>
                      </a:lnTo>
                      <a:lnTo>
                        <a:pt x="28" y="93"/>
                      </a:lnTo>
                      <a:lnTo>
                        <a:pt x="29" y="93"/>
                      </a:lnTo>
                      <a:lnTo>
                        <a:pt x="31" y="94"/>
                      </a:lnTo>
                      <a:lnTo>
                        <a:pt x="33" y="95"/>
                      </a:lnTo>
                      <a:lnTo>
                        <a:pt x="34" y="95"/>
                      </a:lnTo>
                      <a:lnTo>
                        <a:pt x="39" y="90"/>
                      </a:lnTo>
                      <a:lnTo>
                        <a:pt x="44" y="85"/>
                      </a:lnTo>
                      <a:lnTo>
                        <a:pt x="50" y="83"/>
                      </a:lnTo>
                      <a:lnTo>
                        <a:pt x="57" y="81"/>
                      </a:lnTo>
                      <a:lnTo>
                        <a:pt x="59" y="78"/>
                      </a:lnTo>
                      <a:lnTo>
                        <a:pt x="62" y="76"/>
                      </a:lnTo>
                      <a:lnTo>
                        <a:pt x="66" y="74"/>
                      </a:lnTo>
                      <a:lnTo>
                        <a:pt x="70" y="74"/>
                      </a:lnTo>
                      <a:lnTo>
                        <a:pt x="73" y="71"/>
                      </a:lnTo>
                      <a:lnTo>
                        <a:pt x="75" y="70"/>
                      </a:lnTo>
                      <a:lnTo>
                        <a:pt x="75" y="68"/>
                      </a:lnTo>
                      <a:lnTo>
                        <a:pt x="72" y="62"/>
                      </a:lnTo>
                      <a:lnTo>
                        <a:pt x="72" y="55"/>
                      </a:lnTo>
                      <a:lnTo>
                        <a:pt x="72" y="47"/>
                      </a:lnTo>
                      <a:lnTo>
                        <a:pt x="75" y="42"/>
                      </a:lnTo>
                      <a:lnTo>
                        <a:pt x="76" y="39"/>
                      </a:lnTo>
                      <a:lnTo>
                        <a:pt x="75" y="37"/>
                      </a:lnTo>
                      <a:lnTo>
                        <a:pt x="73" y="3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8" name="Freeform 1106"/>
                <p:cNvSpPr>
                  <a:spLocks/>
                </p:cNvSpPr>
                <p:nvPr/>
              </p:nvSpPr>
              <p:spPr bwMode="auto">
                <a:xfrm>
                  <a:off x="4443575" y="2636813"/>
                  <a:ext cx="4440" cy="5919"/>
                </a:xfrm>
                <a:custGeom>
                  <a:avLst/>
                  <a:gdLst>
                    <a:gd name="T0" fmla="*/ 2147483647 w 4"/>
                    <a:gd name="T1" fmla="*/ 2147483647 h 4"/>
                    <a:gd name="T2" fmla="*/ 2147483647 w 4"/>
                    <a:gd name="T3" fmla="*/ 2147483647 h 4"/>
                    <a:gd name="T4" fmla="*/ 2147483647 w 4"/>
                    <a:gd name="T5" fmla="*/ 2147483647 h 4"/>
                    <a:gd name="T6" fmla="*/ 2147483647 w 4"/>
                    <a:gd name="T7" fmla="*/ 2147483647 h 4"/>
                    <a:gd name="T8" fmla="*/ 0 w 4"/>
                    <a:gd name="T9" fmla="*/ 2147483647 h 4"/>
                    <a:gd name="T10" fmla="*/ 0 w 4"/>
                    <a:gd name="T11" fmla="*/ 2147483647 h 4"/>
                    <a:gd name="T12" fmla="*/ 2147483647 w 4"/>
                    <a:gd name="T13" fmla="*/ 0 h 4"/>
                    <a:gd name="T14" fmla="*/ 2147483647 w 4"/>
                    <a:gd name="T15" fmla="*/ 0 h 4"/>
                    <a:gd name="T16" fmla="*/ 2147483647 w 4"/>
                    <a:gd name="T17" fmla="*/ 0 h 4"/>
                    <a:gd name="T18" fmla="*/ 2147483647 w 4"/>
                    <a:gd name="T19" fmla="*/ 2147483647 h 4"/>
                    <a:gd name="T20" fmla="*/ 2147483647 w 4"/>
                    <a:gd name="T21" fmla="*/ 2147483647 h 4"/>
                    <a:gd name="T22" fmla="*/ 2147483647 w 4"/>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4"/>
                    <a:gd name="T38" fmla="*/ 4 w 4"/>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4">
                      <a:moveTo>
                        <a:pt x="4" y="2"/>
                      </a:moveTo>
                      <a:lnTo>
                        <a:pt x="4" y="2"/>
                      </a:lnTo>
                      <a:lnTo>
                        <a:pt x="1" y="4"/>
                      </a:lnTo>
                      <a:lnTo>
                        <a:pt x="0" y="1"/>
                      </a:lnTo>
                      <a:lnTo>
                        <a:pt x="1" y="0"/>
                      </a:lnTo>
                      <a:lnTo>
                        <a:pt x="3" y="0"/>
                      </a:lnTo>
                      <a:lnTo>
                        <a:pt x="4" y="1"/>
                      </a:lnTo>
                      <a:lnTo>
                        <a:pt x="4"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09" name="Freeform 1107"/>
                <p:cNvSpPr>
                  <a:spLocks/>
                </p:cNvSpPr>
                <p:nvPr/>
              </p:nvSpPr>
              <p:spPr bwMode="auto">
                <a:xfrm>
                  <a:off x="4360705" y="2880995"/>
                  <a:ext cx="105071" cy="140587"/>
                </a:xfrm>
                <a:custGeom>
                  <a:avLst/>
                  <a:gdLst>
                    <a:gd name="T0" fmla="*/ 2147483647 w 77"/>
                    <a:gd name="T1" fmla="*/ 2147483647 h 95"/>
                    <a:gd name="T2" fmla="*/ 2147483647 w 77"/>
                    <a:gd name="T3" fmla="*/ 2147483647 h 95"/>
                    <a:gd name="T4" fmla="*/ 2147483647 w 77"/>
                    <a:gd name="T5" fmla="*/ 2147483647 h 95"/>
                    <a:gd name="T6" fmla="*/ 2147483647 w 77"/>
                    <a:gd name="T7" fmla="*/ 2147483647 h 95"/>
                    <a:gd name="T8" fmla="*/ 2147483647 w 77"/>
                    <a:gd name="T9" fmla="*/ 2147483647 h 95"/>
                    <a:gd name="T10" fmla="*/ 2147483647 w 77"/>
                    <a:gd name="T11" fmla="*/ 2147483647 h 95"/>
                    <a:gd name="T12" fmla="*/ 2147483647 w 77"/>
                    <a:gd name="T13" fmla="*/ 2147483647 h 95"/>
                    <a:gd name="T14" fmla="*/ 2147483647 w 77"/>
                    <a:gd name="T15" fmla="*/ 0 h 95"/>
                    <a:gd name="T16" fmla="*/ 2147483647 w 77"/>
                    <a:gd name="T17" fmla="*/ 2147483647 h 95"/>
                    <a:gd name="T18" fmla="*/ 2147483647 w 77"/>
                    <a:gd name="T19" fmla="*/ 2147483647 h 95"/>
                    <a:gd name="T20" fmla="*/ 2147483647 w 77"/>
                    <a:gd name="T21" fmla="*/ 2147483647 h 95"/>
                    <a:gd name="T22" fmla="*/ 2147483647 w 77"/>
                    <a:gd name="T23" fmla="*/ 2147483647 h 95"/>
                    <a:gd name="T24" fmla="*/ 2147483647 w 77"/>
                    <a:gd name="T25" fmla="*/ 2147483647 h 95"/>
                    <a:gd name="T26" fmla="*/ 2147483647 w 77"/>
                    <a:gd name="T27" fmla="*/ 2147483647 h 95"/>
                    <a:gd name="T28" fmla="*/ 2147483647 w 77"/>
                    <a:gd name="T29" fmla="*/ 2147483647 h 95"/>
                    <a:gd name="T30" fmla="*/ 2147483647 w 77"/>
                    <a:gd name="T31" fmla="*/ 2147483647 h 95"/>
                    <a:gd name="T32" fmla="*/ 2147483647 w 77"/>
                    <a:gd name="T33" fmla="*/ 2147483647 h 95"/>
                    <a:gd name="T34" fmla="*/ 2147483647 w 77"/>
                    <a:gd name="T35" fmla="*/ 2147483647 h 95"/>
                    <a:gd name="T36" fmla="*/ 2147483647 w 77"/>
                    <a:gd name="T37" fmla="*/ 2147483647 h 95"/>
                    <a:gd name="T38" fmla="*/ 2147483647 w 77"/>
                    <a:gd name="T39" fmla="*/ 2147483647 h 95"/>
                    <a:gd name="T40" fmla="*/ 2147483647 w 77"/>
                    <a:gd name="T41" fmla="*/ 2147483647 h 95"/>
                    <a:gd name="T42" fmla="*/ 2147483647 w 77"/>
                    <a:gd name="T43" fmla="*/ 2147483647 h 95"/>
                    <a:gd name="T44" fmla="*/ 2147483647 w 77"/>
                    <a:gd name="T45" fmla="*/ 2147483647 h 95"/>
                    <a:gd name="T46" fmla="*/ 2147483647 w 77"/>
                    <a:gd name="T47" fmla="*/ 2147483647 h 95"/>
                    <a:gd name="T48" fmla="*/ 2147483647 w 77"/>
                    <a:gd name="T49" fmla="*/ 2147483647 h 95"/>
                    <a:gd name="T50" fmla="*/ 2147483647 w 77"/>
                    <a:gd name="T51" fmla="*/ 2147483647 h 95"/>
                    <a:gd name="T52" fmla="*/ 2147483647 w 77"/>
                    <a:gd name="T53" fmla="*/ 2147483647 h 95"/>
                    <a:gd name="T54" fmla="*/ 2147483647 w 77"/>
                    <a:gd name="T55" fmla="*/ 2147483647 h 95"/>
                    <a:gd name="T56" fmla="*/ 0 w 77"/>
                    <a:gd name="T57" fmla="*/ 2147483647 h 95"/>
                    <a:gd name="T58" fmla="*/ 2147483647 w 77"/>
                    <a:gd name="T59" fmla="*/ 2147483647 h 95"/>
                    <a:gd name="T60" fmla="*/ 2147483647 w 77"/>
                    <a:gd name="T61" fmla="*/ 2147483647 h 95"/>
                    <a:gd name="T62" fmla="*/ 2147483647 w 77"/>
                    <a:gd name="T63" fmla="*/ 2147483647 h 95"/>
                    <a:gd name="T64" fmla="*/ 2147483647 w 77"/>
                    <a:gd name="T65" fmla="*/ 2147483647 h 95"/>
                    <a:gd name="T66" fmla="*/ 2147483647 w 77"/>
                    <a:gd name="T67" fmla="*/ 2147483647 h 95"/>
                    <a:gd name="T68" fmla="*/ 2147483647 w 77"/>
                    <a:gd name="T69" fmla="*/ 2147483647 h 95"/>
                    <a:gd name="T70" fmla="*/ 2147483647 w 77"/>
                    <a:gd name="T71" fmla="*/ 2147483647 h 95"/>
                    <a:gd name="T72" fmla="*/ 2147483647 w 77"/>
                    <a:gd name="T73" fmla="*/ 2147483647 h 95"/>
                    <a:gd name="T74" fmla="*/ 2147483647 w 77"/>
                    <a:gd name="T75" fmla="*/ 2147483647 h 95"/>
                    <a:gd name="T76" fmla="*/ 2147483647 w 77"/>
                    <a:gd name="T77" fmla="*/ 2147483647 h 95"/>
                    <a:gd name="T78" fmla="*/ 2147483647 w 77"/>
                    <a:gd name="T79" fmla="*/ 2147483647 h 95"/>
                    <a:gd name="T80" fmla="*/ 2147483647 w 77"/>
                    <a:gd name="T81" fmla="*/ 2147483647 h 95"/>
                    <a:gd name="T82" fmla="*/ 2147483647 w 77"/>
                    <a:gd name="T83" fmla="*/ 2147483647 h 95"/>
                    <a:gd name="T84" fmla="*/ 2147483647 w 77"/>
                    <a:gd name="T85" fmla="*/ 2147483647 h 95"/>
                    <a:gd name="T86" fmla="*/ 2147483647 w 77"/>
                    <a:gd name="T87" fmla="*/ 2147483647 h 95"/>
                    <a:gd name="T88" fmla="*/ 2147483647 w 77"/>
                    <a:gd name="T89" fmla="*/ 2147483647 h 95"/>
                    <a:gd name="T90" fmla="*/ 2147483647 w 77"/>
                    <a:gd name="T91" fmla="*/ 2147483647 h 95"/>
                    <a:gd name="T92" fmla="*/ 2147483647 w 77"/>
                    <a:gd name="T93" fmla="*/ 2147483647 h 95"/>
                    <a:gd name="T94" fmla="*/ 2147483647 w 77"/>
                    <a:gd name="T95" fmla="*/ 2147483647 h 95"/>
                    <a:gd name="T96" fmla="*/ 2147483647 w 77"/>
                    <a:gd name="T97" fmla="*/ 2147483647 h 95"/>
                    <a:gd name="T98" fmla="*/ 2147483647 w 77"/>
                    <a:gd name="T99" fmla="*/ 2147483647 h 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7"/>
                    <a:gd name="T151" fmla="*/ 0 h 95"/>
                    <a:gd name="T152" fmla="*/ 77 w 77"/>
                    <a:gd name="T153" fmla="*/ 95 h 9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7" h="95">
                      <a:moveTo>
                        <a:pt x="74" y="33"/>
                      </a:moveTo>
                      <a:lnTo>
                        <a:pt x="74" y="33"/>
                      </a:lnTo>
                      <a:lnTo>
                        <a:pt x="73" y="32"/>
                      </a:lnTo>
                      <a:lnTo>
                        <a:pt x="70" y="32"/>
                      </a:lnTo>
                      <a:lnTo>
                        <a:pt x="69" y="32"/>
                      </a:lnTo>
                      <a:lnTo>
                        <a:pt x="68" y="31"/>
                      </a:lnTo>
                      <a:lnTo>
                        <a:pt x="65" y="28"/>
                      </a:lnTo>
                      <a:lnTo>
                        <a:pt x="60" y="25"/>
                      </a:lnTo>
                      <a:lnTo>
                        <a:pt x="56" y="24"/>
                      </a:lnTo>
                      <a:lnTo>
                        <a:pt x="47" y="25"/>
                      </a:lnTo>
                      <a:lnTo>
                        <a:pt x="45" y="24"/>
                      </a:lnTo>
                      <a:lnTo>
                        <a:pt x="45" y="22"/>
                      </a:lnTo>
                      <a:lnTo>
                        <a:pt x="46" y="19"/>
                      </a:lnTo>
                      <a:lnTo>
                        <a:pt x="52" y="12"/>
                      </a:lnTo>
                      <a:lnTo>
                        <a:pt x="54" y="9"/>
                      </a:lnTo>
                      <a:lnTo>
                        <a:pt x="52" y="8"/>
                      </a:lnTo>
                      <a:lnTo>
                        <a:pt x="51" y="3"/>
                      </a:lnTo>
                      <a:lnTo>
                        <a:pt x="51" y="2"/>
                      </a:lnTo>
                      <a:lnTo>
                        <a:pt x="52" y="0"/>
                      </a:lnTo>
                      <a:lnTo>
                        <a:pt x="49" y="1"/>
                      </a:lnTo>
                      <a:lnTo>
                        <a:pt x="47" y="2"/>
                      </a:lnTo>
                      <a:lnTo>
                        <a:pt x="46" y="3"/>
                      </a:lnTo>
                      <a:lnTo>
                        <a:pt x="45" y="5"/>
                      </a:lnTo>
                      <a:lnTo>
                        <a:pt x="45" y="3"/>
                      </a:lnTo>
                      <a:lnTo>
                        <a:pt x="42" y="2"/>
                      </a:lnTo>
                      <a:lnTo>
                        <a:pt x="41" y="5"/>
                      </a:lnTo>
                      <a:lnTo>
                        <a:pt x="40" y="2"/>
                      </a:lnTo>
                      <a:lnTo>
                        <a:pt x="39" y="1"/>
                      </a:lnTo>
                      <a:lnTo>
                        <a:pt x="37" y="2"/>
                      </a:lnTo>
                      <a:lnTo>
                        <a:pt x="36" y="2"/>
                      </a:lnTo>
                      <a:lnTo>
                        <a:pt x="36" y="7"/>
                      </a:lnTo>
                      <a:lnTo>
                        <a:pt x="35" y="11"/>
                      </a:lnTo>
                      <a:lnTo>
                        <a:pt x="35" y="15"/>
                      </a:lnTo>
                      <a:lnTo>
                        <a:pt x="33" y="19"/>
                      </a:lnTo>
                      <a:lnTo>
                        <a:pt x="26" y="27"/>
                      </a:lnTo>
                      <a:lnTo>
                        <a:pt x="23" y="30"/>
                      </a:lnTo>
                      <a:lnTo>
                        <a:pt x="22" y="30"/>
                      </a:lnTo>
                      <a:lnTo>
                        <a:pt x="18" y="28"/>
                      </a:lnTo>
                      <a:lnTo>
                        <a:pt x="17" y="28"/>
                      </a:lnTo>
                      <a:lnTo>
                        <a:pt x="14" y="28"/>
                      </a:lnTo>
                      <a:lnTo>
                        <a:pt x="12" y="28"/>
                      </a:lnTo>
                      <a:lnTo>
                        <a:pt x="11" y="30"/>
                      </a:lnTo>
                      <a:lnTo>
                        <a:pt x="11" y="33"/>
                      </a:lnTo>
                      <a:lnTo>
                        <a:pt x="16" y="43"/>
                      </a:lnTo>
                      <a:lnTo>
                        <a:pt x="14" y="44"/>
                      </a:lnTo>
                      <a:lnTo>
                        <a:pt x="14" y="45"/>
                      </a:lnTo>
                      <a:lnTo>
                        <a:pt x="16" y="48"/>
                      </a:lnTo>
                      <a:lnTo>
                        <a:pt x="17" y="48"/>
                      </a:lnTo>
                      <a:lnTo>
                        <a:pt x="18" y="47"/>
                      </a:lnTo>
                      <a:lnTo>
                        <a:pt x="21" y="46"/>
                      </a:lnTo>
                      <a:lnTo>
                        <a:pt x="23" y="46"/>
                      </a:lnTo>
                      <a:lnTo>
                        <a:pt x="25" y="47"/>
                      </a:lnTo>
                      <a:lnTo>
                        <a:pt x="25" y="52"/>
                      </a:lnTo>
                      <a:lnTo>
                        <a:pt x="25" y="57"/>
                      </a:lnTo>
                      <a:lnTo>
                        <a:pt x="23" y="60"/>
                      </a:lnTo>
                      <a:lnTo>
                        <a:pt x="21" y="62"/>
                      </a:lnTo>
                      <a:lnTo>
                        <a:pt x="19" y="63"/>
                      </a:lnTo>
                      <a:lnTo>
                        <a:pt x="18" y="64"/>
                      </a:lnTo>
                      <a:lnTo>
                        <a:pt x="18" y="66"/>
                      </a:lnTo>
                      <a:lnTo>
                        <a:pt x="18" y="69"/>
                      </a:lnTo>
                      <a:lnTo>
                        <a:pt x="13" y="70"/>
                      </a:lnTo>
                      <a:lnTo>
                        <a:pt x="9" y="71"/>
                      </a:lnTo>
                      <a:lnTo>
                        <a:pt x="4" y="72"/>
                      </a:lnTo>
                      <a:lnTo>
                        <a:pt x="0" y="75"/>
                      </a:lnTo>
                      <a:lnTo>
                        <a:pt x="0" y="76"/>
                      </a:lnTo>
                      <a:lnTo>
                        <a:pt x="0" y="77"/>
                      </a:lnTo>
                      <a:lnTo>
                        <a:pt x="3" y="77"/>
                      </a:lnTo>
                      <a:lnTo>
                        <a:pt x="8" y="77"/>
                      </a:lnTo>
                      <a:lnTo>
                        <a:pt x="11" y="76"/>
                      </a:lnTo>
                      <a:lnTo>
                        <a:pt x="13" y="77"/>
                      </a:lnTo>
                      <a:lnTo>
                        <a:pt x="9" y="79"/>
                      </a:lnTo>
                      <a:lnTo>
                        <a:pt x="5" y="83"/>
                      </a:lnTo>
                      <a:lnTo>
                        <a:pt x="3" y="85"/>
                      </a:lnTo>
                      <a:lnTo>
                        <a:pt x="3" y="88"/>
                      </a:lnTo>
                      <a:lnTo>
                        <a:pt x="3" y="90"/>
                      </a:lnTo>
                      <a:lnTo>
                        <a:pt x="4" y="90"/>
                      </a:lnTo>
                      <a:lnTo>
                        <a:pt x="5" y="89"/>
                      </a:lnTo>
                      <a:lnTo>
                        <a:pt x="8" y="86"/>
                      </a:lnTo>
                      <a:lnTo>
                        <a:pt x="9" y="86"/>
                      </a:lnTo>
                      <a:lnTo>
                        <a:pt x="11" y="88"/>
                      </a:lnTo>
                      <a:lnTo>
                        <a:pt x="11" y="90"/>
                      </a:lnTo>
                      <a:lnTo>
                        <a:pt x="11" y="92"/>
                      </a:lnTo>
                      <a:lnTo>
                        <a:pt x="13" y="91"/>
                      </a:lnTo>
                      <a:lnTo>
                        <a:pt x="16" y="89"/>
                      </a:lnTo>
                      <a:lnTo>
                        <a:pt x="18" y="89"/>
                      </a:lnTo>
                      <a:lnTo>
                        <a:pt x="19" y="89"/>
                      </a:lnTo>
                      <a:lnTo>
                        <a:pt x="21" y="90"/>
                      </a:lnTo>
                      <a:lnTo>
                        <a:pt x="23" y="90"/>
                      </a:lnTo>
                      <a:lnTo>
                        <a:pt x="25" y="90"/>
                      </a:lnTo>
                      <a:lnTo>
                        <a:pt x="26" y="92"/>
                      </a:lnTo>
                      <a:lnTo>
                        <a:pt x="28" y="92"/>
                      </a:lnTo>
                      <a:lnTo>
                        <a:pt x="30" y="92"/>
                      </a:lnTo>
                      <a:lnTo>
                        <a:pt x="32" y="94"/>
                      </a:lnTo>
                      <a:lnTo>
                        <a:pt x="33" y="95"/>
                      </a:lnTo>
                      <a:lnTo>
                        <a:pt x="35" y="95"/>
                      </a:lnTo>
                      <a:lnTo>
                        <a:pt x="40" y="90"/>
                      </a:lnTo>
                      <a:lnTo>
                        <a:pt x="45" y="85"/>
                      </a:lnTo>
                      <a:lnTo>
                        <a:pt x="51" y="83"/>
                      </a:lnTo>
                      <a:lnTo>
                        <a:pt x="58" y="80"/>
                      </a:lnTo>
                      <a:lnTo>
                        <a:pt x="60" y="78"/>
                      </a:lnTo>
                      <a:lnTo>
                        <a:pt x="63" y="76"/>
                      </a:lnTo>
                      <a:lnTo>
                        <a:pt x="66" y="73"/>
                      </a:lnTo>
                      <a:lnTo>
                        <a:pt x="70" y="73"/>
                      </a:lnTo>
                      <a:lnTo>
                        <a:pt x="74" y="71"/>
                      </a:lnTo>
                      <a:lnTo>
                        <a:pt x="75" y="70"/>
                      </a:lnTo>
                      <a:lnTo>
                        <a:pt x="75" y="67"/>
                      </a:lnTo>
                      <a:lnTo>
                        <a:pt x="73" y="62"/>
                      </a:lnTo>
                      <a:lnTo>
                        <a:pt x="73" y="54"/>
                      </a:lnTo>
                      <a:lnTo>
                        <a:pt x="73" y="47"/>
                      </a:lnTo>
                      <a:lnTo>
                        <a:pt x="75" y="41"/>
                      </a:lnTo>
                      <a:lnTo>
                        <a:pt x="77" y="39"/>
                      </a:lnTo>
                      <a:lnTo>
                        <a:pt x="75" y="37"/>
                      </a:lnTo>
                      <a:lnTo>
                        <a:pt x="74" y="3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0" name="Freeform 1109"/>
                <p:cNvSpPr>
                  <a:spLocks/>
                </p:cNvSpPr>
                <p:nvPr/>
              </p:nvSpPr>
              <p:spPr bwMode="auto">
                <a:xfrm>
                  <a:off x="5837615" y="2141057"/>
                  <a:ext cx="147987" cy="119869"/>
                </a:xfrm>
                <a:custGeom>
                  <a:avLst/>
                  <a:gdLst>
                    <a:gd name="T0" fmla="*/ 2147483647 w 108"/>
                    <a:gd name="T1" fmla="*/ 2147483647 h 81"/>
                    <a:gd name="T2" fmla="*/ 2147483647 w 108"/>
                    <a:gd name="T3" fmla="*/ 0 h 81"/>
                    <a:gd name="T4" fmla="*/ 2147483647 w 108"/>
                    <a:gd name="T5" fmla="*/ 2147483647 h 81"/>
                    <a:gd name="T6" fmla="*/ 2147483647 w 108"/>
                    <a:gd name="T7" fmla="*/ 2147483647 h 81"/>
                    <a:gd name="T8" fmla="*/ 2147483647 w 108"/>
                    <a:gd name="T9" fmla="*/ 2147483647 h 81"/>
                    <a:gd name="T10" fmla="*/ 2147483647 w 108"/>
                    <a:gd name="T11" fmla="*/ 2147483647 h 81"/>
                    <a:gd name="T12" fmla="*/ 2147483647 w 108"/>
                    <a:gd name="T13" fmla="*/ 2147483647 h 81"/>
                    <a:gd name="T14" fmla="*/ 2147483647 w 108"/>
                    <a:gd name="T15" fmla="*/ 2147483647 h 81"/>
                    <a:gd name="T16" fmla="*/ 2147483647 w 108"/>
                    <a:gd name="T17" fmla="*/ 2147483647 h 81"/>
                    <a:gd name="T18" fmla="*/ 2147483647 w 108"/>
                    <a:gd name="T19" fmla="*/ 2147483647 h 81"/>
                    <a:gd name="T20" fmla="*/ 2147483647 w 108"/>
                    <a:gd name="T21" fmla="*/ 2147483647 h 81"/>
                    <a:gd name="T22" fmla="*/ 2147483647 w 108"/>
                    <a:gd name="T23" fmla="*/ 2147483647 h 81"/>
                    <a:gd name="T24" fmla="*/ 2147483647 w 108"/>
                    <a:gd name="T25" fmla="*/ 2147483647 h 81"/>
                    <a:gd name="T26" fmla="*/ 2147483647 w 108"/>
                    <a:gd name="T27" fmla="*/ 2147483647 h 81"/>
                    <a:gd name="T28" fmla="*/ 2147483647 w 108"/>
                    <a:gd name="T29" fmla="*/ 2147483647 h 81"/>
                    <a:gd name="T30" fmla="*/ 2147483647 w 108"/>
                    <a:gd name="T31" fmla="*/ 2147483647 h 81"/>
                    <a:gd name="T32" fmla="*/ 2147483647 w 108"/>
                    <a:gd name="T33" fmla="*/ 2147483647 h 81"/>
                    <a:gd name="T34" fmla="*/ 2147483647 w 108"/>
                    <a:gd name="T35" fmla="*/ 2147483647 h 81"/>
                    <a:gd name="T36" fmla="*/ 2147483647 w 108"/>
                    <a:gd name="T37" fmla="*/ 2147483647 h 81"/>
                    <a:gd name="T38" fmla="*/ 2147483647 w 108"/>
                    <a:gd name="T39" fmla="*/ 2147483647 h 81"/>
                    <a:gd name="T40" fmla="*/ 2147483647 w 108"/>
                    <a:gd name="T41" fmla="*/ 2147483647 h 81"/>
                    <a:gd name="T42" fmla="*/ 2147483647 w 108"/>
                    <a:gd name="T43" fmla="*/ 2147483647 h 81"/>
                    <a:gd name="T44" fmla="*/ 2147483647 w 108"/>
                    <a:gd name="T45" fmla="*/ 2147483647 h 81"/>
                    <a:gd name="T46" fmla="*/ 2147483647 w 108"/>
                    <a:gd name="T47" fmla="*/ 2147483647 h 81"/>
                    <a:gd name="T48" fmla="*/ 2147483647 w 108"/>
                    <a:gd name="T49" fmla="*/ 2147483647 h 81"/>
                    <a:gd name="T50" fmla="*/ 2147483647 w 108"/>
                    <a:gd name="T51" fmla="*/ 2147483647 h 81"/>
                    <a:gd name="T52" fmla="*/ 2147483647 w 108"/>
                    <a:gd name="T53" fmla="*/ 2147483647 h 81"/>
                    <a:gd name="T54" fmla="*/ 2147483647 w 108"/>
                    <a:gd name="T55" fmla="*/ 2147483647 h 81"/>
                    <a:gd name="T56" fmla="*/ 2147483647 w 108"/>
                    <a:gd name="T57" fmla="*/ 2147483647 h 81"/>
                    <a:gd name="T58" fmla="*/ 2147483647 w 108"/>
                    <a:gd name="T59" fmla="*/ 2147483647 h 81"/>
                    <a:gd name="T60" fmla="*/ 2147483647 w 108"/>
                    <a:gd name="T61" fmla="*/ 2147483647 h 81"/>
                    <a:gd name="T62" fmla="*/ 2147483647 w 108"/>
                    <a:gd name="T63" fmla="*/ 2147483647 h 81"/>
                    <a:gd name="T64" fmla="*/ 2147483647 w 108"/>
                    <a:gd name="T65" fmla="*/ 2147483647 h 81"/>
                    <a:gd name="T66" fmla="*/ 2147483647 w 108"/>
                    <a:gd name="T67" fmla="*/ 2147483647 h 81"/>
                    <a:gd name="T68" fmla="*/ 2147483647 w 108"/>
                    <a:gd name="T69" fmla="*/ 2147483647 h 81"/>
                    <a:gd name="T70" fmla="*/ 2147483647 w 108"/>
                    <a:gd name="T71" fmla="*/ 2147483647 h 81"/>
                    <a:gd name="T72" fmla="*/ 2147483647 w 108"/>
                    <a:gd name="T73" fmla="*/ 2147483647 h 81"/>
                    <a:gd name="T74" fmla="*/ 2147483647 w 108"/>
                    <a:gd name="T75" fmla="*/ 2147483647 h 81"/>
                    <a:gd name="T76" fmla="*/ 2147483647 w 108"/>
                    <a:gd name="T77" fmla="*/ 2147483647 h 8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
                    <a:gd name="T118" fmla="*/ 0 h 81"/>
                    <a:gd name="T119" fmla="*/ 108 w 108"/>
                    <a:gd name="T120" fmla="*/ 81 h 8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 h="81">
                      <a:moveTo>
                        <a:pt x="76" y="8"/>
                      </a:moveTo>
                      <a:lnTo>
                        <a:pt x="70" y="3"/>
                      </a:lnTo>
                      <a:lnTo>
                        <a:pt x="64" y="1"/>
                      </a:lnTo>
                      <a:lnTo>
                        <a:pt x="56" y="0"/>
                      </a:lnTo>
                      <a:lnTo>
                        <a:pt x="50" y="0"/>
                      </a:lnTo>
                      <a:lnTo>
                        <a:pt x="42" y="1"/>
                      </a:lnTo>
                      <a:lnTo>
                        <a:pt x="34" y="4"/>
                      </a:lnTo>
                      <a:lnTo>
                        <a:pt x="28" y="7"/>
                      </a:lnTo>
                      <a:lnTo>
                        <a:pt x="20" y="9"/>
                      </a:lnTo>
                      <a:lnTo>
                        <a:pt x="18" y="11"/>
                      </a:lnTo>
                      <a:lnTo>
                        <a:pt x="17" y="13"/>
                      </a:lnTo>
                      <a:lnTo>
                        <a:pt x="15" y="19"/>
                      </a:lnTo>
                      <a:lnTo>
                        <a:pt x="17" y="19"/>
                      </a:lnTo>
                      <a:lnTo>
                        <a:pt x="17" y="22"/>
                      </a:lnTo>
                      <a:lnTo>
                        <a:pt x="14" y="24"/>
                      </a:lnTo>
                      <a:lnTo>
                        <a:pt x="8" y="29"/>
                      </a:lnTo>
                      <a:lnTo>
                        <a:pt x="4" y="35"/>
                      </a:lnTo>
                      <a:lnTo>
                        <a:pt x="1" y="41"/>
                      </a:lnTo>
                      <a:lnTo>
                        <a:pt x="0" y="47"/>
                      </a:lnTo>
                      <a:lnTo>
                        <a:pt x="1" y="52"/>
                      </a:lnTo>
                      <a:lnTo>
                        <a:pt x="3" y="54"/>
                      </a:lnTo>
                      <a:lnTo>
                        <a:pt x="6" y="55"/>
                      </a:lnTo>
                      <a:lnTo>
                        <a:pt x="10" y="56"/>
                      </a:lnTo>
                      <a:lnTo>
                        <a:pt x="19" y="56"/>
                      </a:lnTo>
                      <a:lnTo>
                        <a:pt x="27" y="56"/>
                      </a:lnTo>
                      <a:lnTo>
                        <a:pt x="29" y="58"/>
                      </a:lnTo>
                      <a:lnTo>
                        <a:pt x="31" y="59"/>
                      </a:lnTo>
                      <a:lnTo>
                        <a:pt x="33" y="67"/>
                      </a:lnTo>
                      <a:lnTo>
                        <a:pt x="36" y="71"/>
                      </a:lnTo>
                      <a:lnTo>
                        <a:pt x="38" y="71"/>
                      </a:lnTo>
                      <a:lnTo>
                        <a:pt x="39" y="71"/>
                      </a:lnTo>
                      <a:lnTo>
                        <a:pt x="44" y="70"/>
                      </a:lnTo>
                      <a:lnTo>
                        <a:pt x="46" y="70"/>
                      </a:lnTo>
                      <a:lnTo>
                        <a:pt x="48" y="70"/>
                      </a:lnTo>
                      <a:lnTo>
                        <a:pt x="53" y="72"/>
                      </a:lnTo>
                      <a:lnTo>
                        <a:pt x="57" y="75"/>
                      </a:lnTo>
                      <a:lnTo>
                        <a:pt x="61" y="78"/>
                      </a:lnTo>
                      <a:lnTo>
                        <a:pt x="64" y="79"/>
                      </a:lnTo>
                      <a:lnTo>
                        <a:pt x="67" y="78"/>
                      </a:lnTo>
                      <a:lnTo>
                        <a:pt x="71" y="77"/>
                      </a:lnTo>
                      <a:lnTo>
                        <a:pt x="72" y="77"/>
                      </a:lnTo>
                      <a:lnTo>
                        <a:pt x="75" y="77"/>
                      </a:lnTo>
                      <a:lnTo>
                        <a:pt x="76" y="78"/>
                      </a:lnTo>
                      <a:lnTo>
                        <a:pt x="78" y="79"/>
                      </a:lnTo>
                      <a:lnTo>
                        <a:pt x="80" y="81"/>
                      </a:lnTo>
                      <a:lnTo>
                        <a:pt x="86" y="80"/>
                      </a:lnTo>
                      <a:lnTo>
                        <a:pt x="94" y="80"/>
                      </a:lnTo>
                      <a:lnTo>
                        <a:pt x="100" y="79"/>
                      </a:lnTo>
                      <a:lnTo>
                        <a:pt x="107" y="78"/>
                      </a:lnTo>
                      <a:lnTo>
                        <a:pt x="108" y="77"/>
                      </a:lnTo>
                      <a:lnTo>
                        <a:pt x="108" y="74"/>
                      </a:lnTo>
                      <a:lnTo>
                        <a:pt x="103" y="74"/>
                      </a:lnTo>
                      <a:lnTo>
                        <a:pt x="99" y="73"/>
                      </a:lnTo>
                      <a:lnTo>
                        <a:pt x="95" y="72"/>
                      </a:lnTo>
                      <a:lnTo>
                        <a:pt x="91" y="70"/>
                      </a:lnTo>
                      <a:lnTo>
                        <a:pt x="88" y="68"/>
                      </a:lnTo>
                      <a:lnTo>
                        <a:pt x="86" y="66"/>
                      </a:lnTo>
                      <a:lnTo>
                        <a:pt x="86" y="65"/>
                      </a:lnTo>
                      <a:lnTo>
                        <a:pt x="85" y="64"/>
                      </a:lnTo>
                      <a:lnTo>
                        <a:pt x="76" y="61"/>
                      </a:lnTo>
                      <a:lnTo>
                        <a:pt x="70" y="56"/>
                      </a:lnTo>
                      <a:lnTo>
                        <a:pt x="69" y="54"/>
                      </a:lnTo>
                      <a:lnTo>
                        <a:pt x="67" y="51"/>
                      </a:lnTo>
                      <a:lnTo>
                        <a:pt x="66" y="47"/>
                      </a:lnTo>
                      <a:lnTo>
                        <a:pt x="67" y="42"/>
                      </a:lnTo>
                      <a:lnTo>
                        <a:pt x="67" y="40"/>
                      </a:lnTo>
                      <a:lnTo>
                        <a:pt x="66" y="39"/>
                      </a:lnTo>
                      <a:lnTo>
                        <a:pt x="65" y="36"/>
                      </a:lnTo>
                      <a:lnTo>
                        <a:pt x="66" y="32"/>
                      </a:lnTo>
                      <a:lnTo>
                        <a:pt x="66" y="29"/>
                      </a:lnTo>
                      <a:lnTo>
                        <a:pt x="65" y="28"/>
                      </a:lnTo>
                      <a:lnTo>
                        <a:pt x="65" y="26"/>
                      </a:lnTo>
                      <a:lnTo>
                        <a:pt x="67" y="22"/>
                      </a:lnTo>
                      <a:lnTo>
                        <a:pt x="70" y="16"/>
                      </a:lnTo>
                      <a:lnTo>
                        <a:pt x="72" y="14"/>
                      </a:lnTo>
                      <a:lnTo>
                        <a:pt x="76" y="11"/>
                      </a:lnTo>
                      <a:lnTo>
                        <a:pt x="76" y="10"/>
                      </a:lnTo>
                      <a:lnTo>
                        <a:pt x="76"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1" name="Freeform 1111"/>
                <p:cNvSpPr>
                  <a:spLocks/>
                </p:cNvSpPr>
                <p:nvPr/>
              </p:nvSpPr>
              <p:spPr bwMode="auto">
                <a:xfrm>
                  <a:off x="5836136" y="2138097"/>
                  <a:ext cx="147987" cy="121349"/>
                </a:xfrm>
                <a:custGeom>
                  <a:avLst/>
                  <a:gdLst>
                    <a:gd name="T0" fmla="*/ 2147483647 w 108"/>
                    <a:gd name="T1" fmla="*/ 2147483647 h 82"/>
                    <a:gd name="T2" fmla="*/ 2147483647 w 108"/>
                    <a:gd name="T3" fmla="*/ 2147483647 h 82"/>
                    <a:gd name="T4" fmla="*/ 2147483647 w 108"/>
                    <a:gd name="T5" fmla="*/ 0 h 82"/>
                    <a:gd name="T6" fmla="*/ 2147483647 w 108"/>
                    <a:gd name="T7" fmla="*/ 2147483647 h 82"/>
                    <a:gd name="T8" fmla="*/ 2147483647 w 108"/>
                    <a:gd name="T9" fmla="*/ 2147483647 h 82"/>
                    <a:gd name="T10" fmla="*/ 2147483647 w 108"/>
                    <a:gd name="T11" fmla="*/ 2147483647 h 82"/>
                    <a:gd name="T12" fmla="*/ 2147483647 w 108"/>
                    <a:gd name="T13" fmla="*/ 2147483647 h 82"/>
                    <a:gd name="T14" fmla="*/ 2147483647 w 108"/>
                    <a:gd name="T15" fmla="*/ 2147483647 h 82"/>
                    <a:gd name="T16" fmla="*/ 2147483647 w 108"/>
                    <a:gd name="T17" fmla="*/ 2147483647 h 82"/>
                    <a:gd name="T18" fmla="*/ 2147483647 w 108"/>
                    <a:gd name="T19" fmla="*/ 2147483647 h 82"/>
                    <a:gd name="T20" fmla="*/ 2147483647 w 108"/>
                    <a:gd name="T21" fmla="*/ 2147483647 h 82"/>
                    <a:gd name="T22" fmla="*/ 2147483647 w 108"/>
                    <a:gd name="T23" fmla="*/ 2147483647 h 82"/>
                    <a:gd name="T24" fmla="*/ 0 w 108"/>
                    <a:gd name="T25" fmla="*/ 2147483647 h 82"/>
                    <a:gd name="T26" fmla="*/ 2147483647 w 108"/>
                    <a:gd name="T27" fmla="*/ 2147483647 h 82"/>
                    <a:gd name="T28" fmla="*/ 2147483647 w 108"/>
                    <a:gd name="T29" fmla="*/ 2147483647 h 82"/>
                    <a:gd name="T30" fmla="*/ 2147483647 w 108"/>
                    <a:gd name="T31" fmla="*/ 2147483647 h 82"/>
                    <a:gd name="T32" fmla="*/ 2147483647 w 108"/>
                    <a:gd name="T33" fmla="*/ 2147483647 h 82"/>
                    <a:gd name="T34" fmla="*/ 2147483647 w 108"/>
                    <a:gd name="T35" fmla="*/ 2147483647 h 82"/>
                    <a:gd name="T36" fmla="*/ 2147483647 w 108"/>
                    <a:gd name="T37" fmla="*/ 2147483647 h 82"/>
                    <a:gd name="T38" fmla="*/ 2147483647 w 108"/>
                    <a:gd name="T39" fmla="*/ 2147483647 h 82"/>
                    <a:gd name="T40" fmla="*/ 2147483647 w 108"/>
                    <a:gd name="T41" fmla="*/ 2147483647 h 82"/>
                    <a:gd name="T42" fmla="*/ 2147483647 w 108"/>
                    <a:gd name="T43" fmla="*/ 2147483647 h 82"/>
                    <a:gd name="T44" fmla="*/ 2147483647 w 108"/>
                    <a:gd name="T45" fmla="*/ 2147483647 h 82"/>
                    <a:gd name="T46" fmla="*/ 2147483647 w 108"/>
                    <a:gd name="T47" fmla="*/ 2147483647 h 82"/>
                    <a:gd name="T48" fmla="*/ 2147483647 w 108"/>
                    <a:gd name="T49" fmla="*/ 2147483647 h 82"/>
                    <a:gd name="T50" fmla="*/ 2147483647 w 108"/>
                    <a:gd name="T51" fmla="*/ 2147483647 h 82"/>
                    <a:gd name="T52" fmla="*/ 2147483647 w 108"/>
                    <a:gd name="T53" fmla="*/ 2147483647 h 82"/>
                    <a:gd name="T54" fmla="*/ 2147483647 w 108"/>
                    <a:gd name="T55" fmla="*/ 2147483647 h 82"/>
                    <a:gd name="T56" fmla="*/ 2147483647 w 108"/>
                    <a:gd name="T57" fmla="*/ 2147483647 h 82"/>
                    <a:gd name="T58" fmla="*/ 2147483647 w 108"/>
                    <a:gd name="T59" fmla="*/ 2147483647 h 82"/>
                    <a:gd name="T60" fmla="*/ 2147483647 w 108"/>
                    <a:gd name="T61" fmla="*/ 2147483647 h 82"/>
                    <a:gd name="T62" fmla="*/ 2147483647 w 108"/>
                    <a:gd name="T63" fmla="*/ 2147483647 h 82"/>
                    <a:gd name="T64" fmla="*/ 2147483647 w 108"/>
                    <a:gd name="T65" fmla="*/ 2147483647 h 82"/>
                    <a:gd name="T66" fmla="*/ 2147483647 w 108"/>
                    <a:gd name="T67" fmla="*/ 2147483647 h 82"/>
                    <a:gd name="T68" fmla="*/ 2147483647 w 108"/>
                    <a:gd name="T69" fmla="*/ 2147483647 h 82"/>
                    <a:gd name="T70" fmla="*/ 2147483647 w 108"/>
                    <a:gd name="T71" fmla="*/ 2147483647 h 82"/>
                    <a:gd name="T72" fmla="*/ 2147483647 w 108"/>
                    <a:gd name="T73" fmla="*/ 2147483647 h 82"/>
                    <a:gd name="T74" fmla="*/ 2147483647 w 108"/>
                    <a:gd name="T75" fmla="*/ 2147483647 h 82"/>
                    <a:gd name="T76" fmla="*/ 2147483647 w 108"/>
                    <a:gd name="T77" fmla="*/ 2147483647 h 82"/>
                    <a:gd name="T78" fmla="*/ 2147483647 w 108"/>
                    <a:gd name="T79" fmla="*/ 2147483647 h 82"/>
                    <a:gd name="T80" fmla="*/ 2147483647 w 108"/>
                    <a:gd name="T81" fmla="*/ 2147483647 h 82"/>
                    <a:gd name="T82" fmla="*/ 2147483647 w 108"/>
                    <a:gd name="T83" fmla="*/ 2147483647 h 82"/>
                    <a:gd name="T84" fmla="*/ 2147483647 w 108"/>
                    <a:gd name="T85" fmla="*/ 2147483647 h 82"/>
                    <a:gd name="T86" fmla="*/ 2147483647 w 108"/>
                    <a:gd name="T87" fmla="*/ 2147483647 h 82"/>
                    <a:gd name="T88" fmla="*/ 2147483647 w 108"/>
                    <a:gd name="T89" fmla="*/ 2147483647 h 82"/>
                    <a:gd name="T90" fmla="*/ 2147483647 w 108"/>
                    <a:gd name="T91" fmla="*/ 2147483647 h 82"/>
                    <a:gd name="T92" fmla="*/ 2147483647 w 108"/>
                    <a:gd name="T93" fmla="*/ 2147483647 h 82"/>
                    <a:gd name="T94" fmla="*/ 2147483647 w 108"/>
                    <a:gd name="T95" fmla="*/ 2147483647 h 82"/>
                    <a:gd name="T96" fmla="*/ 2147483647 w 108"/>
                    <a:gd name="T97" fmla="*/ 2147483647 h 82"/>
                    <a:gd name="T98" fmla="*/ 2147483647 w 108"/>
                    <a:gd name="T99" fmla="*/ 2147483647 h 82"/>
                    <a:gd name="T100" fmla="*/ 2147483647 w 108"/>
                    <a:gd name="T101" fmla="*/ 2147483647 h 82"/>
                    <a:gd name="T102" fmla="*/ 2147483647 w 108"/>
                    <a:gd name="T103" fmla="*/ 2147483647 h 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8"/>
                    <a:gd name="T157" fmla="*/ 0 h 82"/>
                    <a:gd name="T158" fmla="*/ 108 w 108"/>
                    <a:gd name="T159" fmla="*/ 82 h 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8" h="82">
                      <a:moveTo>
                        <a:pt x="76" y="9"/>
                      </a:moveTo>
                      <a:lnTo>
                        <a:pt x="76" y="9"/>
                      </a:lnTo>
                      <a:lnTo>
                        <a:pt x="70" y="4"/>
                      </a:lnTo>
                      <a:lnTo>
                        <a:pt x="63" y="2"/>
                      </a:lnTo>
                      <a:lnTo>
                        <a:pt x="56" y="0"/>
                      </a:lnTo>
                      <a:lnTo>
                        <a:pt x="49" y="0"/>
                      </a:lnTo>
                      <a:lnTo>
                        <a:pt x="42" y="2"/>
                      </a:lnTo>
                      <a:lnTo>
                        <a:pt x="34" y="5"/>
                      </a:lnTo>
                      <a:lnTo>
                        <a:pt x="28" y="7"/>
                      </a:lnTo>
                      <a:lnTo>
                        <a:pt x="20" y="10"/>
                      </a:lnTo>
                      <a:lnTo>
                        <a:pt x="18" y="12"/>
                      </a:lnTo>
                      <a:lnTo>
                        <a:pt x="16" y="13"/>
                      </a:lnTo>
                      <a:lnTo>
                        <a:pt x="15" y="19"/>
                      </a:lnTo>
                      <a:lnTo>
                        <a:pt x="16" y="19"/>
                      </a:lnTo>
                      <a:lnTo>
                        <a:pt x="16" y="23"/>
                      </a:lnTo>
                      <a:lnTo>
                        <a:pt x="14" y="25"/>
                      </a:lnTo>
                      <a:lnTo>
                        <a:pt x="7" y="30"/>
                      </a:lnTo>
                      <a:lnTo>
                        <a:pt x="4" y="36"/>
                      </a:lnTo>
                      <a:lnTo>
                        <a:pt x="1" y="42"/>
                      </a:lnTo>
                      <a:lnTo>
                        <a:pt x="0" y="48"/>
                      </a:lnTo>
                      <a:lnTo>
                        <a:pt x="1" y="53"/>
                      </a:lnTo>
                      <a:lnTo>
                        <a:pt x="2" y="55"/>
                      </a:lnTo>
                      <a:lnTo>
                        <a:pt x="6" y="56"/>
                      </a:lnTo>
                      <a:lnTo>
                        <a:pt x="10" y="57"/>
                      </a:lnTo>
                      <a:lnTo>
                        <a:pt x="19" y="57"/>
                      </a:lnTo>
                      <a:lnTo>
                        <a:pt x="26" y="57"/>
                      </a:lnTo>
                      <a:lnTo>
                        <a:pt x="29" y="58"/>
                      </a:lnTo>
                      <a:lnTo>
                        <a:pt x="30" y="60"/>
                      </a:lnTo>
                      <a:lnTo>
                        <a:pt x="33" y="68"/>
                      </a:lnTo>
                      <a:lnTo>
                        <a:pt x="35" y="72"/>
                      </a:lnTo>
                      <a:lnTo>
                        <a:pt x="38" y="72"/>
                      </a:lnTo>
                      <a:lnTo>
                        <a:pt x="39" y="72"/>
                      </a:lnTo>
                      <a:lnTo>
                        <a:pt x="44" y="70"/>
                      </a:lnTo>
                      <a:lnTo>
                        <a:pt x="45" y="70"/>
                      </a:lnTo>
                      <a:lnTo>
                        <a:pt x="48" y="70"/>
                      </a:lnTo>
                      <a:lnTo>
                        <a:pt x="53" y="73"/>
                      </a:lnTo>
                      <a:lnTo>
                        <a:pt x="57" y="76"/>
                      </a:lnTo>
                      <a:lnTo>
                        <a:pt x="61" y="79"/>
                      </a:lnTo>
                      <a:lnTo>
                        <a:pt x="63" y="80"/>
                      </a:lnTo>
                      <a:lnTo>
                        <a:pt x="67" y="79"/>
                      </a:lnTo>
                      <a:lnTo>
                        <a:pt x="71" y="77"/>
                      </a:lnTo>
                      <a:lnTo>
                        <a:pt x="72" y="77"/>
                      </a:lnTo>
                      <a:lnTo>
                        <a:pt x="75" y="77"/>
                      </a:lnTo>
                      <a:lnTo>
                        <a:pt x="76" y="79"/>
                      </a:lnTo>
                      <a:lnTo>
                        <a:pt x="77" y="80"/>
                      </a:lnTo>
                      <a:lnTo>
                        <a:pt x="80" y="82"/>
                      </a:lnTo>
                      <a:lnTo>
                        <a:pt x="86" y="81"/>
                      </a:lnTo>
                      <a:lnTo>
                        <a:pt x="94" y="81"/>
                      </a:lnTo>
                      <a:lnTo>
                        <a:pt x="100" y="80"/>
                      </a:lnTo>
                      <a:lnTo>
                        <a:pt x="106" y="79"/>
                      </a:lnTo>
                      <a:lnTo>
                        <a:pt x="108" y="77"/>
                      </a:lnTo>
                      <a:lnTo>
                        <a:pt x="108" y="75"/>
                      </a:lnTo>
                      <a:lnTo>
                        <a:pt x="103" y="75"/>
                      </a:lnTo>
                      <a:lnTo>
                        <a:pt x="99" y="74"/>
                      </a:lnTo>
                      <a:lnTo>
                        <a:pt x="95" y="73"/>
                      </a:lnTo>
                      <a:lnTo>
                        <a:pt x="91" y="70"/>
                      </a:lnTo>
                      <a:lnTo>
                        <a:pt x="87" y="69"/>
                      </a:lnTo>
                      <a:lnTo>
                        <a:pt x="86" y="67"/>
                      </a:lnTo>
                      <a:lnTo>
                        <a:pt x="86" y="66"/>
                      </a:lnTo>
                      <a:lnTo>
                        <a:pt x="85" y="64"/>
                      </a:lnTo>
                      <a:lnTo>
                        <a:pt x="76" y="62"/>
                      </a:lnTo>
                      <a:lnTo>
                        <a:pt x="70" y="57"/>
                      </a:lnTo>
                      <a:lnTo>
                        <a:pt x="68" y="55"/>
                      </a:lnTo>
                      <a:lnTo>
                        <a:pt x="67" y="51"/>
                      </a:lnTo>
                      <a:lnTo>
                        <a:pt x="66" y="48"/>
                      </a:lnTo>
                      <a:lnTo>
                        <a:pt x="67" y="43"/>
                      </a:lnTo>
                      <a:lnTo>
                        <a:pt x="67" y="41"/>
                      </a:lnTo>
                      <a:lnTo>
                        <a:pt x="66" y="39"/>
                      </a:lnTo>
                      <a:lnTo>
                        <a:pt x="65" y="37"/>
                      </a:lnTo>
                      <a:lnTo>
                        <a:pt x="66" y="32"/>
                      </a:lnTo>
                      <a:lnTo>
                        <a:pt x="66" y="30"/>
                      </a:lnTo>
                      <a:lnTo>
                        <a:pt x="65" y="29"/>
                      </a:lnTo>
                      <a:lnTo>
                        <a:pt x="65" y="26"/>
                      </a:lnTo>
                      <a:lnTo>
                        <a:pt x="67" y="23"/>
                      </a:lnTo>
                      <a:lnTo>
                        <a:pt x="70" y="17"/>
                      </a:lnTo>
                      <a:lnTo>
                        <a:pt x="72" y="15"/>
                      </a:lnTo>
                      <a:lnTo>
                        <a:pt x="76" y="12"/>
                      </a:lnTo>
                      <a:lnTo>
                        <a:pt x="76" y="11"/>
                      </a:lnTo>
                      <a:lnTo>
                        <a:pt x="76"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2" name="Freeform 1112"/>
                <p:cNvSpPr>
                  <a:spLocks/>
                </p:cNvSpPr>
                <p:nvPr/>
              </p:nvSpPr>
              <p:spPr bwMode="auto">
                <a:xfrm>
                  <a:off x="5756222" y="2305322"/>
                  <a:ext cx="39956" cy="41436"/>
                </a:xfrm>
                <a:custGeom>
                  <a:avLst/>
                  <a:gdLst>
                    <a:gd name="T0" fmla="*/ 2147483647 w 30"/>
                    <a:gd name="T1" fmla="*/ 2147483647 h 28"/>
                    <a:gd name="T2" fmla="*/ 2147483647 w 30"/>
                    <a:gd name="T3" fmla="*/ 2147483647 h 28"/>
                    <a:gd name="T4" fmla="*/ 2147483647 w 30"/>
                    <a:gd name="T5" fmla="*/ 2147483647 h 28"/>
                    <a:gd name="T6" fmla="*/ 2147483647 w 30"/>
                    <a:gd name="T7" fmla="*/ 2147483647 h 28"/>
                    <a:gd name="T8" fmla="*/ 2147483647 w 30"/>
                    <a:gd name="T9" fmla="*/ 0 h 28"/>
                    <a:gd name="T10" fmla="*/ 2147483647 w 30"/>
                    <a:gd name="T11" fmla="*/ 0 h 28"/>
                    <a:gd name="T12" fmla="*/ 2147483647 w 30"/>
                    <a:gd name="T13" fmla="*/ 2147483647 h 28"/>
                    <a:gd name="T14" fmla="*/ 2147483647 w 30"/>
                    <a:gd name="T15" fmla="*/ 2147483647 h 28"/>
                    <a:gd name="T16" fmla="*/ 2147483647 w 30"/>
                    <a:gd name="T17" fmla="*/ 2147483647 h 28"/>
                    <a:gd name="T18" fmla="*/ 2147483647 w 30"/>
                    <a:gd name="T19" fmla="*/ 2147483647 h 28"/>
                    <a:gd name="T20" fmla="*/ 2147483647 w 30"/>
                    <a:gd name="T21" fmla="*/ 2147483647 h 28"/>
                    <a:gd name="T22" fmla="*/ 0 w 30"/>
                    <a:gd name="T23" fmla="*/ 2147483647 h 28"/>
                    <a:gd name="T24" fmla="*/ 0 w 30"/>
                    <a:gd name="T25" fmla="*/ 2147483647 h 28"/>
                    <a:gd name="T26" fmla="*/ 2147483647 w 30"/>
                    <a:gd name="T27" fmla="*/ 2147483647 h 28"/>
                    <a:gd name="T28" fmla="*/ 2147483647 w 30"/>
                    <a:gd name="T29" fmla="*/ 2147483647 h 28"/>
                    <a:gd name="T30" fmla="*/ 2147483647 w 30"/>
                    <a:gd name="T31" fmla="*/ 2147483647 h 28"/>
                    <a:gd name="T32" fmla="*/ 2147483647 w 30"/>
                    <a:gd name="T33" fmla="*/ 2147483647 h 28"/>
                    <a:gd name="T34" fmla="*/ 2147483647 w 30"/>
                    <a:gd name="T35" fmla="*/ 2147483647 h 28"/>
                    <a:gd name="T36" fmla="*/ 2147483647 w 30"/>
                    <a:gd name="T37" fmla="*/ 2147483647 h 28"/>
                    <a:gd name="T38" fmla="*/ 2147483647 w 30"/>
                    <a:gd name="T39" fmla="*/ 2147483647 h 28"/>
                    <a:gd name="T40" fmla="*/ 2147483647 w 30"/>
                    <a:gd name="T41" fmla="*/ 2147483647 h 28"/>
                    <a:gd name="T42" fmla="*/ 2147483647 w 30"/>
                    <a:gd name="T43" fmla="*/ 2147483647 h 28"/>
                    <a:gd name="T44" fmla="*/ 2147483647 w 30"/>
                    <a:gd name="T45" fmla="*/ 2147483647 h 28"/>
                    <a:gd name="T46" fmla="*/ 2147483647 w 30"/>
                    <a:gd name="T47" fmla="*/ 2147483647 h 28"/>
                    <a:gd name="T48" fmla="*/ 2147483647 w 30"/>
                    <a:gd name="T49" fmla="*/ 2147483647 h 28"/>
                    <a:gd name="T50" fmla="*/ 2147483647 w 30"/>
                    <a:gd name="T51" fmla="*/ 2147483647 h 28"/>
                    <a:gd name="T52" fmla="*/ 2147483647 w 30"/>
                    <a:gd name="T53" fmla="*/ 2147483647 h 28"/>
                    <a:gd name="T54" fmla="*/ 2147483647 w 30"/>
                    <a:gd name="T55" fmla="*/ 2147483647 h 28"/>
                    <a:gd name="T56" fmla="*/ 2147483647 w 30"/>
                    <a:gd name="T57" fmla="*/ 2147483647 h 28"/>
                    <a:gd name="T58" fmla="*/ 2147483647 w 30"/>
                    <a:gd name="T59" fmla="*/ 2147483647 h 28"/>
                    <a:gd name="T60" fmla="*/ 2147483647 w 30"/>
                    <a:gd name="T61" fmla="*/ 2147483647 h 28"/>
                    <a:gd name="T62" fmla="*/ 2147483647 w 30"/>
                    <a:gd name="T63" fmla="*/ 2147483647 h 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
                    <a:gd name="T97" fmla="*/ 0 h 28"/>
                    <a:gd name="T98" fmla="*/ 30 w 30"/>
                    <a:gd name="T99" fmla="*/ 28 h 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 h="28">
                      <a:moveTo>
                        <a:pt x="27" y="11"/>
                      </a:moveTo>
                      <a:lnTo>
                        <a:pt x="23" y="8"/>
                      </a:lnTo>
                      <a:lnTo>
                        <a:pt x="19" y="7"/>
                      </a:lnTo>
                      <a:lnTo>
                        <a:pt x="16" y="5"/>
                      </a:lnTo>
                      <a:lnTo>
                        <a:pt x="14" y="0"/>
                      </a:lnTo>
                      <a:lnTo>
                        <a:pt x="13" y="0"/>
                      </a:lnTo>
                      <a:lnTo>
                        <a:pt x="13" y="1"/>
                      </a:lnTo>
                      <a:lnTo>
                        <a:pt x="12" y="5"/>
                      </a:lnTo>
                      <a:lnTo>
                        <a:pt x="9" y="7"/>
                      </a:lnTo>
                      <a:lnTo>
                        <a:pt x="7" y="7"/>
                      </a:lnTo>
                      <a:lnTo>
                        <a:pt x="3" y="7"/>
                      </a:lnTo>
                      <a:lnTo>
                        <a:pt x="0" y="14"/>
                      </a:lnTo>
                      <a:lnTo>
                        <a:pt x="0" y="18"/>
                      </a:lnTo>
                      <a:lnTo>
                        <a:pt x="2" y="21"/>
                      </a:lnTo>
                      <a:lnTo>
                        <a:pt x="4" y="23"/>
                      </a:lnTo>
                      <a:lnTo>
                        <a:pt x="5" y="23"/>
                      </a:lnTo>
                      <a:lnTo>
                        <a:pt x="5" y="24"/>
                      </a:lnTo>
                      <a:lnTo>
                        <a:pt x="5" y="25"/>
                      </a:lnTo>
                      <a:lnTo>
                        <a:pt x="5" y="27"/>
                      </a:lnTo>
                      <a:lnTo>
                        <a:pt x="5" y="28"/>
                      </a:lnTo>
                      <a:lnTo>
                        <a:pt x="7" y="28"/>
                      </a:lnTo>
                      <a:lnTo>
                        <a:pt x="11" y="28"/>
                      </a:lnTo>
                      <a:lnTo>
                        <a:pt x="13" y="27"/>
                      </a:lnTo>
                      <a:lnTo>
                        <a:pt x="18" y="24"/>
                      </a:lnTo>
                      <a:lnTo>
                        <a:pt x="19" y="24"/>
                      </a:lnTo>
                      <a:lnTo>
                        <a:pt x="22" y="24"/>
                      </a:lnTo>
                      <a:lnTo>
                        <a:pt x="26" y="21"/>
                      </a:lnTo>
                      <a:lnTo>
                        <a:pt x="28" y="18"/>
                      </a:lnTo>
                      <a:lnTo>
                        <a:pt x="30" y="15"/>
                      </a:lnTo>
                      <a:lnTo>
                        <a:pt x="30" y="14"/>
                      </a:lnTo>
                      <a:lnTo>
                        <a:pt x="28" y="12"/>
                      </a:lnTo>
                      <a:lnTo>
                        <a:pt x="27"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3" name="Freeform 1113"/>
                <p:cNvSpPr>
                  <a:spLocks/>
                </p:cNvSpPr>
                <p:nvPr/>
              </p:nvSpPr>
              <p:spPr bwMode="auto">
                <a:xfrm>
                  <a:off x="7059991" y="2857315"/>
                  <a:ext cx="133188" cy="159826"/>
                </a:xfrm>
                <a:custGeom>
                  <a:avLst/>
                  <a:gdLst>
                    <a:gd name="T0" fmla="*/ 2147483647 w 97"/>
                    <a:gd name="T1" fmla="*/ 2147483647 h 108"/>
                    <a:gd name="T2" fmla="*/ 2147483647 w 97"/>
                    <a:gd name="T3" fmla="*/ 2147483647 h 108"/>
                    <a:gd name="T4" fmla="*/ 2147483647 w 97"/>
                    <a:gd name="T5" fmla="*/ 0 h 108"/>
                    <a:gd name="T6" fmla="*/ 2147483647 w 97"/>
                    <a:gd name="T7" fmla="*/ 0 h 108"/>
                    <a:gd name="T8" fmla="*/ 2147483647 w 97"/>
                    <a:gd name="T9" fmla="*/ 2147483647 h 108"/>
                    <a:gd name="T10" fmla="*/ 2147483647 w 97"/>
                    <a:gd name="T11" fmla="*/ 2147483647 h 108"/>
                    <a:gd name="T12" fmla="*/ 2147483647 w 97"/>
                    <a:gd name="T13" fmla="*/ 2147483647 h 108"/>
                    <a:gd name="T14" fmla="*/ 2147483647 w 97"/>
                    <a:gd name="T15" fmla="*/ 2147483647 h 108"/>
                    <a:gd name="T16" fmla="*/ 2147483647 w 97"/>
                    <a:gd name="T17" fmla="*/ 2147483647 h 108"/>
                    <a:gd name="T18" fmla="*/ 2147483647 w 97"/>
                    <a:gd name="T19" fmla="*/ 2147483647 h 108"/>
                    <a:gd name="T20" fmla="*/ 2147483647 w 97"/>
                    <a:gd name="T21" fmla="*/ 2147483647 h 108"/>
                    <a:gd name="T22" fmla="*/ 2147483647 w 97"/>
                    <a:gd name="T23" fmla="*/ 2147483647 h 108"/>
                    <a:gd name="T24" fmla="*/ 2147483647 w 97"/>
                    <a:gd name="T25" fmla="*/ 2147483647 h 108"/>
                    <a:gd name="T26" fmla="*/ 2147483647 w 97"/>
                    <a:gd name="T27" fmla="*/ 2147483647 h 108"/>
                    <a:gd name="T28" fmla="*/ 2147483647 w 97"/>
                    <a:gd name="T29" fmla="*/ 2147483647 h 108"/>
                    <a:gd name="T30" fmla="*/ 2147483647 w 97"/>
                    <a:gd name="T31" fmla="*/ 2147483647 h 108"/>
                    <a:gd name="T32" fmla="*/ 2147483647 w 97"/>
                    <a:gd name="T33" fmla="*/ 2147483647 h 108"/>
                    <a:gd name="T34" fmla="*/ 2147483647 w 97"/>
                    <a:gd name="T35" fmla="*/ 2147483647 h 108"/>
                    <a:gd name="T36" fmla="*/ 2147483647 w 97"/>
                    <a:gd name="T37" fmla="*/ 2147483647 h 108"/>
                    <a:gd name="T38" fmla="*/ 2147483647 w 97"/>
                    <a:gd name="T39" fmla="*/ 2147483647 h 108"/>
                    <a:gd name="T40" fmla="*/ 2147483647 w 97"/>
                    <a:gd name="T41" fmla="*/ 2147483647 h 108"/>
                    <a:gd name="T42" fmla="*/ 2147483647 w 97"/>
                    <a:gd name="T43" fmla="*/ 2147483647 h 108"/>
                    <a:gd name="T44" fmla="*/ 2147483647 w 97"/>
                    <a:gd name="T45" fmla="*/ 2147483647 h 108"/>
                    <a:gd name="T46" fmla="*/ 0 w 97"/>
                    <a:gd name="T47" fmla="*/ 2147483647 h 108"/>
                    <a:gd name="T48" fmla="*/ 2147483647 w 97"/>
                    <a:gd name="T49" fmla="*/ 2147483647 h 108"/>
                    <a:gd name="T50" fmla="*/ 2147483647 w 97"/>
                    <a:gd name="T51" fmla="*/ 2147483647 h 108"/>
                    <a:gd name="T52" fmla="*/ 2147483647 w 97"/>
                    <a:gd name="T53" fmla="*/ 2147483647 h 108"/>
                    <a:gd name="T54" fmla="*/ 2147483647 w 97"/>
                    <a:gd name="T55" fmla="*/ 2147483647 h 108"/>
                    <a:gd name="T56" fmla="*/ 2147483647 w 97"/>
                    <a:gd name="T57" fmla="*/ 2147483647 h 108"/>
                    <a:gd name="T58" fmla="*/ 2147483647 w 97"/>
                    <a:gd name="T59" fmla="*/ 2147483647 h 108"/>
                    <a:gd name="T60" fmla="*/ 2147483647 w 97"/>
                    <a:gd name="T61" fmla="*/ 2147483647 h 108"/>
                    <a:gd name="T62" fmla="*/ 2147483647 w 97"/>
                    <a:gd name="T63" fmla="*/ 2147483647 h 108"/>
                    <a:gd name="T64" fmla="*/ 2147483647 w 97"/>
                    <a:gd name="T65" fmla="*/ 2147483647 h 108"/>
                    <a:gd name="T66" fmla="*/ 2147483647 w 97"/>
                    <a:gd name="T67" fmla="*/ 2147483647 h 108"/>
                    <a:gd name="T68" fmla="*/ 2147483647 w 97"/>
                    <a:gd name="T69" fmla="*/ 2147483647 h 108"/>
                    <a:gd name="T70" fmla="*/ 2147483647 w 97"/>
                    <a:gd name="T71" fmla="*/ 2147483647 h 108"/>
                    <a:gd name="T72" fmla="*/ 2147483647 w 97"/>
                    <a:gd name="T73" fmla="*/ 2147483647 h 108"/>
                    <a:gd name="T74" fmla="*/ 2147483647 w 97"/>
                    <a:gd name="T75" fmla="*/ 2147483647 h 108"/>
                    <a:gd name="T76" fmla="*/ 2147483647 w 97"/>
                    <a:gd name="T77" fmla="*/ 2147483647 h 108"/>
                    <a:gd name="T78" fmla="*/ 2147483647 w 97"/>
                    <a:gd name="T79" fmla="*/ 2147483647 h 108"/>
                    <a:gd name="T80" fmla="*/ 2147483647 w 97"/>
                    <a:gd name="T81" fmla="*/ 2147483647 h 108"/>
                    <a:gd name="T82" fmla="*/ 2147483647 w 97"/>
                    <a:gd name="T83" fmla="*/ 2147483647 h 108"/>
                    <a:gd name="T84" fmla="*/ 2147483647 w 97"/>
                    <a:gd name="T85" fmla="*/ 2147483647 h 108"/>
                    <a:gd name="T86" fmla="*/ 2147483647 w 97"/>
                    <a:gd name="T87" fmla="*/ 2147483647 h 108"/>
                    <a:gd name="T88" fmla="*/ 2147483647 w 97"/>
                    <a:gd name="T89" fmla="*/ 2147483647 h 108"/>
                    <a:gd name="T90" fmla="*/ 2147483647 w 97"/>
                    <a:gd name="T91" fmla="*/ 2147483647 h 108"/>
                    <a:gd name="T92" fmla="*/ 2147483647 w 97"/>
                    <a:gd name="T93" fmla="*/ 2147483647 h 108"/>
                    <a:gd name="T94" fmla="*/ 2147483647 w 97"/>
                    <a:gd name="T95" fmla="*/ 2147483647 h 108"/>
                    <a:gd name="T96" fmla="*/ 2147483647 w 97"/>
                    <a:gd name="T97" fmla="*/ 2147483647 h 108"/>
                    <a:gd name="T98" fmla="*/ 2147483647 w 97"/>
                    <a:gd name="T99" fmla="*/ 2147483647 h 108"/>
                    <a:gd name="T100" fmla="*/ 2147483647 w 97"/>
                    <a:gd name="T101" fmla="*/ 2147483647 h 1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7"/>
                    <a:gd name="T154" fmla="*/ 0 h 108"/>
                    <a:gd name="T155" fmla="*/ 97 w 97"/>
                    <a:gd name="T156" fmla="*/ 108 h 1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7" h="108">
                      <a:moveTo>
                        <a:pt x="96" y="5"/>
                      </a:moveTo>
                      <a:lnTo>
                        <a:pt x="97" y="2"/>
                      </a:lnTo>
                      <a:lnTo>
                        <a:pt x="96" y="0"/>
                      </a:lnTo>
                      <a:lnTo>
                        <a:pt x="94" y="0"/>
                      </a:lnTo>
                      <a:lnTo>
                        <a:pt x="88" y="5"/>
                      </a:lnTo>
                      <a:lnTo>
                        <a:pt x="84" y="11"/>
                      </a:lnTo>
                      <a:lnTo>
                        <a:pt x="76" y="24"/>
                      </a:lnTo>
                      <a:lnTo>
                        <a:pt x="71" y="29"/>
                      </a:lnTo>
                      <a:lnTo>
                        <a:pt x="69" y="34"/>
                      </a:lnTo>
                      <a:lnTo>
                        <a:pt x="68" y="37"/>
                      </a:lnTo>
                      <a:lnTo>
                        <a:pt x="68" y="40"/>
                      </a:lnTo>
                      <a:lnTo>
                        <a:pt x="66" y="41"/>
                      </a:lnTo>
                      <a:lnTo>
                        <a:pt x="60" y="48"/>
                      </a:lnTo>
                      <a:lnTo>
                        <a:pt x="54" y="55"/>
                      </a:lnTo>
                      <a:lnTo>
                        <a:pt x="51" y="57"/>
                      </a:lnTo>
                      <a:lnTo>
                        <a:pt x="49" y="59"/>
                      </a:lnTo>
                      <a:lnTo>
                        <a:pt x="46" y="60"/>
                      </a:lnTo>
                      <a:lnTo>
                        <a:pt x="45" y="61"/>
                      </a:lnTo>
                      <a:lnTo>
                        <a:pt x="36" y="74"/>
                      </a:lnTo>
                      <a:lnTo>
                        <a:pt x="26" y="85"/>
                      </a:lnTo>
                      <a:lnTo>
                        <a:pt x="21" y="89"/>
                      </a:lnTo>
                      <a:lnTo>
                        <a:pt x="14" y="94"/>
                      </a:lnTo>
                      <a:lnTo>
                        <a:pt x="8" y="98"/>
                      </a:lnTo>
                      <a:lnTo>
                        <a:pt x="0" y="101"/>
                      </a:lnTo>
                      <a:lnTo>
                        <a:pt x="2" y="106"/>
                      </a:lnTo>
                      <a:lnTo>
                        <a:pt x="2" y="108"/>
                      </a:lnTo>
                      <a:lnTo>
                        <a:pt x="4" y="108"/>
                      </a:lnTo>
                      <a:lnTo>
                        <a:pt x="8" y="107"/>
                      </a:lnTo>
                      <a:lnTo>
                        <a:pt x="12" y="106"/>
                      </a:lnTo>
                      <a:lnTo>
                        <a:pt x="21" y="105"/>
                      </a:lnTo>
                      <a:lnTo>
                        <a:pt x="24" y="104"/>
                      </a:lnTo>
                      <a:lnTo>
                        <a:pt x="28" y="101"/>
                      </a:lnTo>
                      <a:lnTo>
                        <a:pt x="36" y="92"/>
                      </a:lnTo>
                      <a:lnTo>
                        <a:pt x="41" y="87"/>
                      </a:lnTo>
                      <a:lnTo>
                        <a:pt x="46" y="85"/>
                      </a:lnTo>
                      <a:lnTo>
                        <a:pt x="47" y="83"/>
                      </a:lnTo>
                      <a:lnTo>
                        <a:pt x="47" y="82"/>
                      </a:lnTo>
                      <a:lnTo>
                        <a:pt x="47" y="81"/>
                      </a:lnTo>
                      <a:lnTo>
                        <a:pt x="49" y="80"/>
                      </a:lnTo>
                      <a:lnTo>
                        <a:pt x="55" y="80"/>
                      </a:lnTo>
                      <a:lnTo>
                        <a:pt x="61" y="78"/>
                      </a:lnTo>
                      <a:lnTo>
                        <a:pt x="66" y="73"/>
                      </a:lnTo>
                      <a:lnTo>
                        <a:pt x="70" y="69"/>
                      </a:lnTo>
                      <a:lnTo>
                        <a:pt x="78" y="60"/>
                      </a:lnTo>
                      <a:lnTo>
                        <a:pt x="82" y="55"/>
                      </a:lnTo>
                      <a:lnTo>
                        <a:pt x="85" y="48"/>
                      </a:lnTo>
                      <a:lnTo>
                        <a:pt x="89" y="36"/>
                      </a:lnTo>
                      <a:lnTo>
                        <a:pt x="92" y="22"/>
                      </a:lnTo>
                      <a:lnTo>
                        <a:pt x="94" y="9"/>
                      </a:lnTo>
                      <a:lnTo>
                        <a:pt x="97" y="4"/>
                      </a:lnTo>
                      <a:lnTo>
                        <a:pt x="9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4" name="Freeform 1114"/>
                <p:cNvSpPr>
                  <a:spLocks/>
                </p:cNvSpPr>
                <p:nvPr/>
              </p:nvSpPr>
              <p:spPr bwMode="auto">
                <a:xfrm>
                  <a:off x="5754743" y="2303843"/>
                  <a:ext cx="39957" cy="41436"/>
                </a:xfrm>
                <a:custGeom>
                  <a:avLst/>
                  <a:gdLst>
                    <a:gd name="T0" fmla="*/ 2147483647 w 29"/>
                    <a:gd name="T1" fmla="*/ 2147483647 h 28"/>
                    <a:gd name="T2" fmla="*/ 2147483647 w 29"/>
                    <a:gd name="T3" fmla="*/ 2147483647 h 28"/>
                    <a:gd name="T4" fmla="*/ 2147483647 w 29"/>
                    <a:gd name="T5" fmla="*/ 2147483647 h 28"/>
                    <a:gd name="T6" fmla="*/ 2147483647 w 29"/>
                    <a:gd name="T7" fmla="*/ 2147483647 h 28"/>
                    <a:gd name="T8" fmla="*/ 2147483647 w 29"/>
                    <a:gd name="T9" fmla="*/ 2147483647 h 28"/>
                    <a:gd name="T10" fmla="*/ 2147483647 w 29"/>
                    <a:gd name="T11" fmla="*/ 0 h 28"/>
                    <a:gd name="T12" fmla="*/ 2147483647 w 29"/>
                    <a:gd name="T13" fmla="*/ 0 h 28"/>
                    <a:gd name="T14" fmla="*/ 2147483647 w 29"/>
                    <a:gd name="T15" fmla="*/ 0 h 28"/>
                    <a:gd name="T16" fmla="*/ 2147483647 w 29"/>
                    <a:gd name="T17" fmla="*/ 2147483647 h 28"/>
                    <a:gd name="T18" fmla="*/ 2147483647 w 29"/>
                    <a:gd name="T19" fmla="*/ 2147483647 h 28"/>
                    <a:gd name="T20" fmla="*/ 2147483647 w 29"/>
                    <a:gd name="T21" fmla="*/ 2147483647 h 28"/>
                    <a:gd name="T22" fmla="*/ 2147483647 w 29"/>
                    <a:gd name="T23" fmla="*/ 2147483647 h 28"/>
                    <a:gd name="T24" fmla="*/ 2147483647 w 29"/>
                    <a:gd name="T25" fmla="*/ 2147483647 h 28"/>
                    <a:gd name="T26" fmla="*/ 2147483647 w 29"/>
                    <a:gd name="T27" fmla="*/ 2147483647 h 28"/>
                    <a:gd name="T28" fmla="*/ 2147483647 w 29"/>
                    <a:gd name="T29" fmla="*/ 2147483647 h 28"/>
                    <a:gd name="T30" fmla="*/ 0 w 29"/>
                    <a:gd name="T31" fmla="*/ 2147483647 h 28"/>
                    <a:gd name="T32" fmla="*/ 0 w 29"/>
                    <a:gd name="T33" fmla="*/ 2147483647 h 28"/>
                    <a:gd name="T34" fmla="*/ 2147483647 w 29"/>
                    <a:gd name="T35" fmla="*/ 2147483647 h 28"/>
                    <a:gd name="T36" fmla="*/ 2147483647 w 29"/>
                    <a:gd name="T37" fmla="*/ 2147483647 h 28"/>
                    <a:gd name="T38" fmla="*/ 2147483647 w 29"/>
                    <a:gd name="T39" fmla="*/ 2147483647 h 28"/>
                    <a:gd name="T40" fmla="*/ 2147483647 w 29"/>
                    <a:gd name="T41" fmla="*/ 2147483647 h 28"/>
                    <a:gd name="T42" fmla="*/ 2147483647 w 29"/>
                    <a:gd name="T43" fmla="*/ 2147483647 h 28"/>
                    <a:gd name="T44" fmla="*/ 2147483647 w 29"/>
                    <a:gd name="T45" fmla="*/ 2147483647 h 28"/>
                    <a:gd name="T46" fmla="*/ 2147483647 w 29"/>
                    <a:gd name="T47" fmla="*/ 2147483647 h 28"/>
                    <a:gd name="T48" fmla="*/ 2147483647 w 29"/>
                    <a:gd name="T49" fmla="*/ 2147483647 h 28"/>
                    <a:gd name="T50" fmla="*/ 2147483647 w 29"/>
                    <a:gd name="T51" fmla="*/ 2147483647 h 28"/>
                    <a:gd name="T52" fmla="*/ 2147483647 w 29"/>
                    <a:gd name="T53" fmla="*/ 2147483647 h 28"/>
                    <a:gd name="T54" fmla="*/ 2147483647 w 29"/>
                    <a:gd name="T55" fmla="*/ 2147483647 h 28"/>
                    <a:gd name="T56" fmla="*/ 2147483647 w 29"/>
                    <a:gd name="T57" fmla="*/ 2147483647 h 28"/>
                    <a:gd name="T58" fmla="*/ 2147483647 w 29"/>
                    <a:gd name="T59" fmla="*/ 2147483647 h 28"/>
                    <a:gd name="T60" fmla="*/ 2147483647 w 29"/>
                    <a:gd name="T61" fmla="*/ 2147483647 h 28"/>
                    <a:gd name="T62" fmla="*/ 2147483647 w 29"/>
                    <a:gd name="T63" fmla="*/ 2147483647 h 28"/>
                    <a:gd name="T64" fmla="*/ 2147483647 w 29"/>
                    <a:gd name="T65" fmla="*/ 2147483647 h 28"/>
                    <a:gd name="T66" fmla="*/ 2147483647 w 29"/>
                    <a:gd name="T67" fmla="*/ 2147483647 h 28"/>
                    <a:gd name="T68" fmla="*/ 2147483647 w 29"/>
                    <a:gd name="T69" fmla="*/ 2147483647 h 28"/>
                    <a:gd name="T70" fmla="*/ 2147483647 w 29"/>
                    <a:gd name="T71" fmla="*/ 2147483647 h 28"/>
                    <a:gd name="T72" fmla="*/ 2147483647 w 29"/>
                    <a:gd name="T73" fmla="*/ 2147483647 h 28"/>
                    <a:gd name="T74" fmla="*/ 2147483647 w 29"/>
                    <a:gd name="T75" fmla="*/ 2147483647 h 28"/>
                    <a:gd name="T76" fmla="*/ 2147483647 w 29"/>
                    <a:gd name="T77" fmla="*/ 2147483647 h 28"/>
                    <a:gd name="T78" fmla="*/ 2147483647 w 29"/>
                    <a:gd name="T79" fmla="*/ 2147483647 h 28"/>
                    <a:gd name="T80" fmla="*/ 2147483647 w 29"/>
                    <a:gd name="T81" fmla="*/ 2147483647 h 28"/>
                    <a:gd name="T82" fmla="*/ 2147483647 w 29"/>
                    <a:gd name="T83" fmla="*/ 2147483647 h 28"/>
                    <a:gd name="T84" fmla="*/ 2147483647 w 29"/>
                    <a:gd name="T85" fmla="*/ 2147483647 h 2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28"/>
                    <a:gd name="T131" fmla="*/ 29 w 29"/>
                    <a:gd name="T132" fmla="*/ 28 h 2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28">
                      <a:moveTo>
                        <a:pt x="27" y="10"/>
                      </a:moveTo>
                      <a:lnTo>
                        <a:pt x="27" y="10"/>
                      </a:lnTo>
                      <a:lnTo>
                        <a:pt x="23" y="8"/>
                      </a:lnTo>
                      <a:lnTo>
                        <a:pt x="19" y="7"/>
                      </a:lnTo>
                      <a:lnTo>
                        <a:pt x="15" y="5"/>
                      </a:lnTo>
                      <a:lnTo>
                        <a:pt x="14" y="0"/>
                      </a:lnTo>
                      <a:lnTo>
                        <a:pt x="13" y="0"/>
                      </a:lnTo>
                      <a:lnTo>
                        <a:pt x="13" y="1"/>
                      </a:lnTo>
                      <a:lnTo>
                        <a:pt x="12" y="5"/>
                      </a:lnTo>
                      <a:lnTo>
                        <a:pt x="9" y="7"/>
                      </a:lnTo>
                      <a:lnTo>
                        <a:pt x="6" y="7"/>
                      </a:lnTo>
                      <a:lnTo>
                        <a:pt x="3" y="7"/>
                      </a:lnTo>
                      <a:lnTo>
                        <a:pt x="0" y="14"/>
                      </a:lnTo>
                      <a:lnTo>
                        <a:pt x="0" y="18"/>
                      </a:lnTo>
                      <a:lnTo>
                        <a:pt x="1" y="21"/>
                      </a:lnTo>
                      <a:lnTo>
                        <a:pt x="4" y="22"/>
                      </a:lnTo>
                      <a:lnTo>
                        <a:pt x="5" y="22"/>
                      </a:lnTo>
                      <a:lnTo>
                        <a:pt x="5" y="24"/>
                      </a:lnTo>
                      <a:lnTo>
                        <a:pt x="5" y="25"/>
                      </a:lnTo>
                      <a:lnTo>
                        <a:pt x="5" y="27"/>
                      </a:lnTo>
                      <a:lnTo>
                        <a:pt x="5" y="28"/>
                      </a:lnTo>
                      <a:lnTo>
                        <a:pt x="6" y="28"/>
                      </a:lnTo>
                      <a:lnTo>
                        <a:pt x="10" y="28"/>
                      </a:lnTo>
                      <a:lnTo>
                        <a:pt x="13" y="27"/>
                      </a:lnTo>
                      <a:lnTo>
                        <a:pt x="18" y="24"/>
                      </a:lnTo>
                      <a:lnTo>
                        <a:pt x="19" y="24"/>
                      </a:lnTo>
                      <a:lnTo>
                        <a:pt x="22" y="24"/>
                      </a:lnTo>
                      <a:lnTo>
                        <a:pt x="25" y="21"/>
                      </a:lnTo>
                      <a:lnTo>
                        <a:pt x="28" y="18"/>
                      </a:lnTo>
                      <a:lnTo>
                        <a:pt x="29" y="15"/>
                      </a:lnTo>
                      <a:lnTo>
                        <a:pt x="29" y="14"/>
                      </a:lnTo>
                      <a:lnTo>
                        <a:pt x="28" y="12"/>
                      </a:lnTo>
                      <a:lnTo>
                        <a:pt x="27"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5" name="Freeform 1115"/>
                <p:cNvSpPr>
                  <a:spLocks/>
                </p:cNvSpPr>
                <p:nvPr/>
              </p:nvSpPr>
              <p:spPr bwMode="auto">
                <a:xfrm>
                  <a:off x="7058510" y="2855835"/>
                  <a:ext cx="133188" cy="159826"/>
                </a:xfrm>
                <a:custGeom>
                  <a:avLst/>
                  <a:gdLst>
                    <a:gd name="T0" fmla="*/ 2147483647 w 97"/>
                    <a:gd name="T1" fmla="*/ 2147483647 h 108"/>
                    <a:gd name="T2" fmla="*/ 2147483647 w 97"/>
                    <a:gd name="T3" fmla="*/ 0 h 108"/>
                    <a:gd name="T4" fmla="*/ 2147483647 w 97"/>
                    <a:gd name="T5" fmla="*/ 0 h 108"/>
                    <a:gd name="T6" fmla="*/ 2147483647 w 97"/>
                    <a:gd name="T7" fmla="*/ 2147483647 h 108"/>
                    <a:gd name="T8" fmla="*/ 2147483647 w 97"/>
                    <a:gd name="T9" fmla="*/ 2147483647 h 108"/>
                    <a:gd name="T10" fmla="*/ 2147483647 w 97"/>
                    <a:gd name="T11" fmla="*/ 2147483647 h 108"/>
                    <a:gd name="T12" fmla="*/ 2147483647 w 97"/>
                    <a:gd name="T13" fmla="*/ 2147483647 h 108"/>
                    <a:gd name="T14" fmla="*/ 2147483647 w 97"/>
                    <a:gd name="T15" fmla="*/ 2147483647 h 108"/>
                    <a:gd name="T16" fmla="*/ 2147483647 w 97"/>
                    <a:gd name="T17" fmla="*/ 2147483647 h 108"/>
                    <a:gd name="T18" fmla="*/ 2147483647 w 97"/>
                    <a:gd name="T19" fmla="*/ 2147483647 h 108"/>
                    <a:gd name="T20" fmla="*/ 2147483647 w 97"/>
                    <a:gd name="T21" fmla="*/ 2147483647 h 108"/>
                    <a:gd name="T22" fmla="*/ 2147483647 w 97"/>
                    <a:gd name="T23" fmla="*/ 2147483647 h 108"/>
                    <a:gd name="T24" fmla="*/ 2147483647 w 97"/>
                    <a:gd name="T25" fmla="*/ 2147483647 h 108"/>
                    <a:gd name="T26" fmla="*/ 2147483647 w 97"/>
                    <a:gd name="T27" fmla="*/ 2147483647 h 108"/>
                    <a:gd name="T28" fmla="*/ 2147483647 w 97"/>
                    <a:gd name="T29" fmla="*/ 2147483647 h 108"/>
                    <a:gd name="T30" fmla="*/ 0 w 97"/>
                    <a:gd name="T31" fmla="*/ 2147483647 h 108"/>
                    <a:gd name="T32" fmla="*/ 2147483647 w 97"/>
                    <a:gd name="T33" fmla="*/ 2147483647 h 108"/>
                    <a:gd name="T34" fmla="*/ 2147483647 w 97"/>
                    <a:gd name="T35" fmla="*/ 2147483647 h 108"/>
                    <a:gd name="T36" fmla="*/ 2147483647 w 97"/>
                    <a:gd name="T37" fmla="*/ 2147483647 h 108"/>
                    <a:gd name="T38" fmla="*/ 2147483647 w 97"/>
                    <a:gd name="T39" fmla="*/ 2147483647 h 108"/>
                    <a:gd name="T40" fmla="*/ 2147483647 w 97"/>
                    <a:gd name="T41" fmla="*/ 2147483647 h 108"/>
                    <a:gd name="T42" fmla="*/ 2147483647 w 97"/>
                    <a:gd name="T43" fmla="*/ 2147483647 h 108"/>
                    <a:gd name="T44" fmla="*/ 2147483647 w 97"/>
                    <a:gd name="T45" fmla="*/ 2147483647 h 108"/>
                    <a:gd name="T46" fmla="*/ 2147483647 w 97"/>
                    <a:gd name="T47" fmla="*/ 2147483647 h 108"/>
                    <a:gd name="T48" fmla="*/ 2147483647 w 97"/>
                    <a:gd name="T49" fmla="*/ 2147483647 h 108"/>
                    <a:gd name="T50" fmla="*/ 2147483647 w 97"/>
                    <a:gd name="T51" fmla="*/ 2147483647 h 108"/>
                    <a:gd name="T52" fmla="*/ 2147483647 w 97"/>
                    <a:gd name="T53" fmla="*/ 2147483647 h 108"/>
                    <a:gd name="T54" fmla="*/ 2147483647 w 97"/>
                    <a:gd name="T55" fmla="*/ 2147483647 h 108"/>
                    <a:gd name="T56" fmla="*/ 2147483647 w 97"/>
                    <a:gd name="T57" fmla="*/ 2147483647 h 108"/>
                    <a:gd name="T58" fmla="*/ 2147483647 w 97"/>
                    <a:gd name="T59" fmla="*/ 2147483647 h 108"/>
                    <a:gd name="T60" fmla="*/ 2147483647 w 97"/>
                    <a:gd name="T61" fmla="*/ 2147483647 h 108"/>
                    <a:gd name="T62" fmla="*/ 2147483647 w 97"/>
                    <a:gd name="T63" fmla="*/ 2147483647 h 108"/>
                    <a:gd name="T64" fmla="*/ 2147483647 w 97"/>
                    <a:gd name="T65" fmla="*/ 2147483647 h 108"/>
                    <a:gd name="T66" fmla="*/ 2147483647 w 97"/>
                    <a:gd name="T67" fmla="*/ 2147483647 h 1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7"/>
                    <a:gd name="T103" fmla="*/ 0 h 108"/>
                    <a:gd name="T104" fmla="*/ 97 w 97"/>
                    <a:gd name="T105" fmla="*/ 108 h 1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7" h="108">
                      <a:moveTo>
                        <a:pt x="95" y="5"/>
                      </a:moveTo>
                      <a:lnTo>
                        <a:pt x="95" y="5"/>
                      </a:lnTo>
                      <a:lnTo>
                        <a:pt x="97" y="1"/>
                      </a:lnTo>
                      <a:lnTo>
                        <a:pt x="95" y="0"/>
                      </a:lnTo>
                      <a:lnTo>
                        <a:pt x="94" y="0"/>
                      </a:lnTo>
                      <a:lnTo>
                        <a:pt x="88" y="5"/>
                      </a:lnTo>
                      <a:lnTo>
                        <a:pt x="84" y="11"/>
                      </a:lnTo>
                      <a:lnTo>
                        <a:pt x="76" y="24"/>
                      </a:lnTo>
                      <a:lnTo>
                        <a:pt x="71" y="29"/>
                      </a:lnTo>
                      <a:lnTo>
                        <a:pt x="69" y="33"/>
                      </a:lnTo>
                      <a:lnTo>
                        <a:pt x="67" y="37"/>
                      </a:lnTo>
                      <a:lnTo>
                        <a:pt x="67" y="39"/>
                      </a:lnTo>
                      <a:lnTo>
                        <a:pt x="66" y="41"/>
                      </a:lnTo>
                      <a:lnTo>
                        <a:pt x="60" y="48"/>
                      </a:lnTo>
                      <a:lnTo>
                        <a:pt x="53" y="55"/>
                      </a:lnTo>
                      <a:lnTo>
                        <a:pt x="51" y="57"/>
                      </a:lnTo>
                      <a:lnTo>
                        <a:pt x="48" y="58"/>
                      </a:lnTo>
                      <a:lnTo>
                        <a:pt x="46" y="60"/>
                      </a:lnTo>
                      <a:lnTo>
                        <a:pt x="44" y="61"/>
                      </a:lnTo>
                      <a:lnTo>
                        <a:pt x="36" y="74"/>
                      </a:lnTo>
                      <a:lnTo>
                        <a:pt x="25" y="84"/>
                      </a:lnTo>
                      <a:lnTo>
                        <a:pt x="20" y="89"/>
                      </a:lnTo>
                      <a:lnTo>
                        <a:pt x="14" y="94"/>
                      </a:lnTo>
                      <a:lnTo>
                        <a:pt x="8" y="97"/>
                      </a:lnTo>
                      <a:lnTo>
                        <a:pt x="0" y="101"/>
                      </a:lnTo>
                      <a:lnTo>
                        <a:pt x="1" y="106"/>
                      </a:lnTo>
                      <a:lnTo>
                        <a:pt x="1" y="108"/>
                      </a:lnTo>
                      <a:lnTo>
                        <a:pt x="4" y="108"/>
                      </a:lnTo>
                      <a:lnTo>
                        <a:pt x="8" y="107"/>
                      </a:lnTo>
                      <a:lnTo>
                        <a:pt x="11" y="106"/>
                      </a:lnTo>
                      <a:lnTo>
                        <a:pt x="20" y="105"/>
                      </a:lnTo>
                      <a:lnTo>
                        <a:pt x="24" y="103"/>
                      </a:lnTo>
                      <a:lnTo>
                        <a:pt x="28" y="101"/>
                      </a:lnTo>
                      <a:lnTo>
                        <a:pt x="36" y="92"/>
                      </a:lnTo>
                      <a:lnTo>
                        <a:pt x="41" y="87"/>
                      </a:lnTo>
                      <a:lnTo>
                        <a:pt x="46" y="84"/>
                      </a:lnTo>
                      <a:lnTo>
                        <a:pt x="47" y="83"/>
                      </a:lnTo>
                      <a:lnTo>
                        <a:pt x="47" y="82"/>
                      </a:lnTo>
                      <a:lnTo>
                        <a:pt x="47" y="81"/>
                      </a:lnTo>
                      <a:lnTo>
                        <a:pt x="48" y="80"/>
                      </a:lnTo>
                      <a:lnTo>
                        <a:pt x="55" y="80"/>
                      </a:lnTo>
                      <a:lnTo>
                        <a:pt x="61" y="77"/>
                      </a:lnTo>
                      <a:lnTo>
                        <a:pt x="66" y="73"/>
                      </a:lnTo>
                      <a:lnTo>
                        <a:pt x="70" y="69"/>
                      </a:lnTo>
                      <a:lnTo>
                        <a:pt x="77" y="60"/>
                      </a:lnTo>
                      <a:lnTo>
                        <a:pt x="81" y="55"/>
                      </a:lnTo>
                      <a:lnTo>
                        <a:pt x="85" y="48"/>
                      </a:lnTo>
                      <a:lnTo>
                        <a:pt x="89" y="36"/>
                      </a:lnTo>
                      <a:lnTo>
                        <a:pt x="91" y="22"/>
                      </a:lnTo>
                      <a:lnTo>
                        <a:pt x="94" y="9"/>
                      </a:lnTo>
                      <a:lnTo>
                        <a:pt x="97" y="4"/>
                      </a:lnTo>
                      <a:lnTo>
                        <a:pt x="9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6" name="Freeform 1116"/>
                <p:cNvSpPr>
                  <a:spLocks/>
                </p:cNvSpPr>
                <p:nvPr/>
              </p:nvSpPr>
              <p:spPr bwMode="auto">
                <a:xfrm>
                  <a:off x="8036705" y="2024147"/>
                  <a:ext cx="121350" cy="51796"/>
                </a:xfrm>
                <a:custGeom>
                  <a:avLst/>
                  <a:gdLst>
                    <a:gd name="T0" fmla="*/ 2147483647 w 88"/>
                    <a:gd name="T1" fmla="*/ 2147483647 h 35"/>
                    <a:gd name="T2" fmla="*/ 2147483647 w 88"/>
                    <a:gd name="T3" fmla="*/ 2147483647 h 35"/>
                    <a:gd name="T4" fmla="*/ 2147483647 w 88"/>
                    <a:gd name="T5" fmla="*/ 2147483647 h 35"/>
                    <a:gd name="T6" fmla="*/ 2147483647 w 88"/>
                    <a:gd name="T7" fmla="*/ 0 h 35"/>
                    <a:gd name="T8" fmla="*/ 0 w 88"/>
                    <a:gd name="T9" fmla="*/ 2147483647 h 35"/>
                    <a:gd name="T10" fmla="*/ 0 w 88"/>
                    <a:gd name="T11" fmla="*/ 2147483647 h 35"/>
                    <a:gd name="T12" fmla="*/ 2147483647 w 88"/>
                    <a:gd name="T13" fmla="*/ 2147483647 h 35"/>
                    <a:gd name="T14" fmla="*/ 2147483647 w 88"/>
                    <a:gd name="T15" fmla="*/ 2147483647 h 35"/>
                    <a:gd name="T16" fmla="*/ 2147483647 w 88"/>
                    <a:gd name="T17" fmla="*/ 2147483647 h 35"/>
                    <a:gd name="T18" fmla="*/ 2147483647 w 88"/>
                    <a:gd name="T19" fmla="*/ 2147483647 h 35"/>
                    <a:gd name="T20" fmla="*/ 2147483647 w 88"/>
                    <a:gd name="T21" fmla="*/ 2147483647 h 35"/>
                    <a:gd name="T22" fmla="*/ 2147483647 w 88"/>
                    <a:gd name="T23" fmla="*/ 2147483647 h 35"/>
                    <a:gd name="T24" fmla="*/ 2147483647 w 88"/>
                    <a:gd name="T25" fmla="*/ 2147483647 h 35"/>
                    <a:gd name="T26" fmla="*/ 2147483647 w 88"/>
                    <a:gd name="T27" fmla="*/ 2147483647 h 35"/>
                    <a:gd name="T28" fmla="*/ 2147483647 w 88"/>
                    <a:gd name="T29" fmla="*/ 2147483647 h 35"/>
                    <a:gd name="T30" fmla="*/ 2147483647 w 88"/>
                    <a:gd name="T31" fmla="*/ 2147483647 h 35"/>
                    <a:gd name="T32" fmla="*/ 2147483647 w 88"/>
                    <a:gd name="T33" fmla="*/ 2147483647 h 35"/>
                    <a:gd name="T34" fmla="*/ 2147483647 w 88"/>
                    <a:gd name="T35" fmla="*/ 2147483647 h 35"/>
                    <a:gd name="T36" fmla="*/ 2147483647 w 88"/>
                    <a:gd name="T37" fmla="*/ 2147483647 h 35"/>
                    <a:gd name="T38" fmla="*/ 2147483647 w 88"/>
                    <a:gd name="T39" fmla="*/ 2147483647 h 35"/>
                    <a:gd name="T40" fmla="*/ 2147483647 w 88"/>
                    <a:gd name="T41" fmla="*/ 2147483647 h 35"/>
                    <a:gd name="T42" fmla="*/ 2147483647 w 88"/>
                    <a:gd name="T43" fmla="*/ 2147483647 h 35"/>
                    <a:gd name="T44" fmla="*/ 2147483647 w 88"/>
                    <a:gd name="T45" fmla="*/ 2147483647 h 35"/>
                    <a:gd name="T46" fmla="*/ 2147483647 w 88"/>
                    <a:gd name="T47" fmla="*/ 2147483647 h 35"/>
                    <a:gd name="T48" fmla="*/ 2147483647 w 88"/>
                    <a:gd name="T49" fmla="*/ 2147483647 h 35"/>
                    <a:gd name="T50" fmla="*/ 2147483647 w 88"/>
                    <a:gd name="T51" fmla="*/ 2147483647 h 35"/>
                    <a:gd name="T52" fmla="*/ 2147483647 w 88"/>
                    <a:gd name="T53" fmla="*/ 2147483647 h 35"/>
                    <a:gd name="T54" fmla="*/ 2147483647 w 88"/>
                    <a:gd name="T55" fmla="*/ 2147483647 h 35"/>
                    <a:gd name="T56" fmla="*/ 2147483647 w 88"/>
                    <a:gd name="T57" fmla="*/ 2147483647 h 35"/>
                    <a:gd name="T58" fmla="*/ 2147483647 w 88"/>
                    <a:gd name="T59" fmla="*/ 2147483647 h 35"/>
                    <a:gd name="T60" fmla="*/ 2147483647 w 88"/>
                    <a:gd name="T61" fmla="*/ 2147483647 h 35"/>
                    <a:gd name="T62" fmla="*/ 2147483647 w 88"/>
                    <a:gd name="T63" fmla="*/ 2147483647 h 35"/>
                    <a:gd name="T64" fmla="*/ 2147483647 w 88"/>
                    <a:gd name="T65" fmla="*/ 2147483647 h 35"/>
                    <a:gd name="T66" fmla="*/ 2147483647 w 88"/>
                    <a:gd name="T67" fmla="*/ 2147483647 h 35"/>
                    <a:gd name="T68" fmla="*/ 2147483647 w 88"/>
                    <a:gd name="T69" fmla="*/ 2147483647 h 35"/>
                    <a:gd name="T70" fmla="*/ 2147483647 w 88"/>
                    <a:gd name="T71" fmla="*/ 2147483647 h 35"/>
                    <a:gd name="T72" fmla="*/ 2147483647 w 88"/>
                    <a:gd name="T73" fmla="*/ 2147483647 h 35"/>
                    <a:gd name="T74" fmla="*/ 2147483647 w 88"/>
                    <a:gd name="T75" fmla="*/ 2147483647 h 35"/>
                    <a:gd name="T76" fmla="*/ 2147483647 w 88"/>
                    <a:gd name="T77" fmla="*/ 2147483647 h 35"/>
                    <a:gd name="T78" fmla="*/ 2147483647 w 88"/>
                    <a:gd name="T79" fmla="*/ 2147483647 h 35"/>
                    <a:gd name="T80" fmla="*/ 2147483647 w 88"/>
                    <a:gd name="T81" fmla="*/ 0 h 35"/>
                    <a:gd name="T82" fmla="*/ 2147483647 w 88"/>
                    <a:gd name="T83" fmla="*/ 0 h 35"/>
                    <a:gd name="T84" fmla="*/ 2147483647 w 88"/>
                    <a:gd name="T85" fmla="*/ 2147483647 h 35"/>
                    <a:gd name="T86" fmla="*/ 2147483647 w 88"/>
                    <a:gd name="T87" fmla="*/ 2147483647 h 35"/>
                    <a:gd name="T88" fmla="*/ 2147483647 w 88"/>
                    <a:gd name="T89" fmla="*/ 2147483647 h 3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8"/>
                    <a:gd name="T136" fmla="*/ 0 h 35"/>
                    <a:gd name="T137" fmla="*/ 88 w 88"/>
                    <a:gd name="T138" fmla="*/ 35 h 3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8" h="35">
                      <a:moveTo>
                        <a:pt x="22" y="3"/>
                      </a:moveTo>
                      <a:lnTo>
                        <a:pt x="15" y="3"/>
                      </a:lnTo>
                      <a:lnTo>
                        <a:pt x="8" y="1"/>
                      </a:lnTo>
                      <a:lnTo>
                        <a:pt x="4" y="0"/>
                      </a:lnTo>
                      <a:lnTo>
                        <a:pt x="0" y="1"/>
                      </a:lnTo>
                      <a:lnTo>
                        <a:pt x="0" y="3"/>
                      </a:lnTo>
                      <a:lnTo>
                        <a:pt x="8" y="5"/>
                      </a:lnTo>
                      <a:lnTo>
                        <a:pt x="14" y="10"/>
                      </a:lnTo>
                      <a:lnTo>
                        <a:pt x="22" y="18"/>
                      </a:lnTo>
                      <a:lnTo>
                        <a:pt x="29" y="26"/>
                      </a:lnTo>
                      <a:lnTo>
                        <a:pt x="33" y="29"/>
                      </a:lnTo>
                      <a:lnTo>
                        <a:pt x="37" y="32"/>
                      </a:lnTo>
                      <a:lnTo>
                        <a:pt x="42" y="34"/>
                      </a:lnTo>
                      <a:lnTo>
                        <a:pt x="47" y="34"/>
                      </a:lnTo>
                      <a:lnTo>
                        <a:pt x="52" y="35"/>
                      </a:lnTo>
                      <a:lnTo>
                        <a:pt x="59" y="35"/>
                      </a:lnTo>
                      <a:lnTo>
                        <a:pt x="64" y="35"/>
                      </a:lnTo>
                      <a:lnTo>
                        <a:pt x="68" y="34"/>
                      </a:lnTo>
                      <a:lnTo>
                        <a:pt x="73" y="32"/>
                      </a:lnTo>
                      <a:lnTo>
                        <a:pt x="78" y="31"/>
                      </a:lnTo>
                      <a:lnTo>
                        <a:pt x="87" y="31"/>
                      </a:lnTo>
                      <a:lnTo>
                        <a:pt x="88" y="30"/>
                      </a:lnTo>
                      <a:lnTo>
                        <a:pt x="87" y="29"/>
                      </a:lnTo>
                      <a:lnTo>
                        <a:pt x="85" y="25"/>
                      </a:lnTo>
                      <a:lnTo>
                        <a:pt x="85" y="23"/>
                      </a:lnTo>
                      <a:lnTo>
                        <a:pt x="87" y="20"/>
                      </a:lnTo>
                      <a:lnTo>
                        <a:pt x="87" y="19"/>
                      </a:lnTo>
                      <a:lnTo>
                        <a:pt x="87" y="18"/>
                      </a:lnTo>
                      <a:lnTo>
                        <a:pt x="83" y="15"/>
                      </a:lnTo>
                      <a:lnTo>
                        <a:pt x="79" y="13"/>
                      </a:lnTo>
                      <a:lnTo>
                        <a:pt x="69" y="10"/>
                      </a:lnTo>
                      <a:lnTo>
                        <a:pt x="66" y="10"/>
                      </a:lnTo>
                      <a:lnTo>
                        <a:pt x="62" y="11"/>
                      </a:lnTo>
                      <a:lnTo>
                        <a:pt x="60" y="12"/>
                      </a:lnTo>
                      <a:lnTo>
                        <a:pt x="56" y="12"/>
                      </a:lnTo>
                      <a:lnTo>
                        <a:pt x="48" y="10"/>
                      </a:lnTo>
                      <a:lnTo>
                        <a:pt x="41" y="7"/>
                      </a:lnTo>
                      <a:lnTo>
                        <a:pt x="40" y="6"/>
                      </a:lnTo>
                      <a:lnTo>
                        <a:pt x="40" y="4"/>
                      </a:lnTo>
                      <a:lnTo>
                        <a:pt x="40" y="3"/>
                      </a:lnTo>
                      <a:lnTo>
                        <a:pt x="38" y="0"/>
                      </a:lnTo>
                      <a:lnTo>
                        <a:pt x="34" y="0"/>
                      </a:lnTo>
                      <a:lnTo>
                        <a:pt x="29" y="1"/>
                      </a:lnTo>
                      <a:lnTo>
                        <a:pt x="26" y="3"/>
                      </a:lnTo>
                      <a:lnTo>
                        <a:pt x="22"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7" name="Freeform 1117"/>
                <p:cNvSpPr>
                  <a:spLocks/>
                </p:cNvSpPr>
                <p:nvPr/>
              </p:nvSpPr>
              <p:spPr bwMode="auto">
                <a:xfrm>
                  <a:off x="7952354" y="2009349"/>
                  <a:ext cx="63634" cy="51796"/>
                </a:xfrm>
                <a:custGeom>
                  <a:avLst/>
                  <a:gdLst>
                    <a:gd name="T0" fmla="*/ 2147483647 w 47"/>
                    <a:gd name="T1" fmla="*/ 2147483647 h 35"/>
                    <a:gd name="T2" fmla="*/ 2147483647 w 47"/>
                    <a:gd name="T3" fmla="*/ 2147483647 h 35"/>
                    <a:gd name="T4" fmla="*/ 2147483647 w 47"/>
                    <a:gd name="T5" fmla="*/ 2147483647 h 35"/>
                    <a:gd name="T6" fmla="*/ 2147483647 w 47"/>
                    <a:gd name="T7" fmla="*/ 2147483647 h 35"/>
                    <a:gd name="T8" fmla="*/ 2147483647 w 47"/>
                    <a:gd name="T9" fmla="*/ 2147483647 h 35"/>
                    <a:gd name="T10" fmla="*/ 2147483647 w 47"/>
                    <a:gd name="T11" fmla="*/ 2147483647 h 35"/>
                    <a:gd name="T12" fmla="*/ 2147483647 w 47"/>
                    <a:gd name="T13" fmla="*/ 2147483647 h 35"/>
                    <a:gd name="T14" fmla="*/ 2147483647 w 47"/>
                    <a:gd name="T15" fmla="*/ 2147483647 h 35"/>
                    <a:gd name="T16" fmla="*/ 2147483647 w 47"/>
                    <a:gd name="T17" fmla="*/ 2147483647 h 35"/>
                    <a:gd name="T18" fmla="*/ 0 w 47"/>
                    <a:gd name="T19" fmla="*/ 0 h 35"/>
                    <a:gd name="T20" fmla="*/ 0 w 47"/>
                    <a:gd name="T21" fmla="*/ 2147483647 h 35"/>
                    <a:gd name="T22" fmla="*/ 2147483647 w 47"/>
                    <a:gd name="T23" fmla="*/ 2147483647 h 35"/>
                    <a:gd name="T24" fmla="*/ 2147483647 w 47"/>
                    <a:gd name="T25" fmla="*/ 2147483647 h 35"/>
                    <a:gd name="T26" fmla="*/ 2147483647 w 47"/>
                    <a:gd name="T27" fmla="*/ 2147483647 h 35"/>
                    <a:gd name="T28" fmla="*/ 2147483647 w 47"/>
                    <a:gd name="T29" fmla="*/ 2147483647 h 35"/>
                    <a:gd name="T30" fmla="*/ 2147483647 w 47"/>
                    <a:gd name="T31" fmla="*/ 2147483647 h 35"/>
                    <a:gd name="T32" fmla="*/ 2147483647 w 47"/>
                    <a:gd name="T33" fmla="*/ 2147483647 h 35"/>
                    <a:gd name="T34" fmla="*/ 2147483647 w 47"/>
                    <a:gd name="T35" fmla="*/ 2147483647 h 35"/>
                    <a:gd name="T36" fmla="*/ 2147483647 w 47"/>
                    <a:gd name="T37" fmla="*/ 2147483647 h 35"/>
                    <a:gd name="T38" fmla="*/ 2147483647 w 47"/>
                    <a:gd name="T39" fmla="*/ 2147483647 h 35"/>
                    <a:gd name="T40" fmla="*/ 2147483647 w 47"/>
                    <a:gd name="T41" fmla="*/ 2147483647 h 35"/>
                    <a:gd name="T42" fmla="*/ 2147483647 w 47"/>
                    <a:gd name="T43" fmla="*/ 2147483647 h 35"/>
                    <a:gd name="T44" fmla="*/ 2147483647 w 47"/>
                    <a:gd name="T45" fmla="*/ 2147483647 h 35"/>
                    <a:gd name="T46" fmla="*/ 2147483647 w 47"/>
                    <a:gd name="T47" fmla="*/ 2147483647 h 35"/>
                    <a:gd name="T48" fmla="*/ 2147483647 w 47"/>
                    <a:gd name="T49" fmla="*/ 2147483647 h 35"/>
                    <a:gd name="T50" fmla="*/ 2147483647 w 47"/>
                    <a:gd name="T51" fmla="*/ 2147483647 h 35"/>
                    <a:gd name="T52" fmla="*/ 2147483647 w 47"/>
                    <a:gd name="T53" fmla="*/ 2147483647 h 35"/>
                    <a:gd name="T54" fmla="*/ 2147483647 w 47"/>
                    <a:gd name="T55" fmla="*/ 2147483647 h 35"/>
                    <a:gd name="T56" fmla="*/ 2147483647 w 47"/>
                    <a:gd name="T57" fmla="*/ 2147483647 h 35"/>
                    <a:gd name="T58" fmla="*/ 2147483647 w 47"/>
                    <a:gd name="T59" fmla="*/ 2147483647 h 35"/>
                    <a:gd name="T60" fmla="*/ 2147483647 w 47"/>
                    <a:gd name="T61" fmla="*/ 2147483647 h 35"/>
                    <a:gd name="T62" fmla="*/ 2147483647 w 47"/>
                    <a:gd name="T63" fmla="*/ 2147483647 h 35"/>
                    <a:gd name="T64" fmla="*/ 2147483647 w 47"/>
                    <a:gd name="T65" fmla="*/ 2147483647 h 35"/>
                    <a:gd name="T66" fmla="*/ 2147483647 w 47"/>
                    <a:gd name="T67" fmla="*/ 2147483647 h 35"/>
                    <a:gd name="T68" fmla="*/ 2147483647 w 47"/>
                    <a:gd name="T69" fmla="*/ 214748364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7"/>
                    <a:gd name="T106" fmla="*/ 0 h 35"/>
                    <a:gd name="T107" fmla="*/ 47 w 47"/>
                    <a:gd name="T108" fmla="*/ 35 h 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7" h="35">
                      <a:moveTo>
                        <a:pt x="41" y="10"/>
                      </a:moveTo>
                      <a:lnTo>
                        <a:pt x="37" y="10"/>
                      </a:lnTo>
                      <a:lnTo>
                        <a:pt x="33" y="8"/>
                      </a:lnTo>
                      <a:lnTo>
                        <a:pt x="29" y="7"/>
                      </a:lnTo>
                      <a:lnTo>
                        <a:pt x="25" y="8"/>
                      </a:lnTo>
                      <a:lnTo>
                        <a:pt x="22" y="8"/>
                      </a:lnTo>
                      <a:lnTo>
                        <a:pt x="19" y="8"/>
                      </a:lnTo>
                      <a:lnTo>
                        <a:pt x="13" y="6"/>
                      </a:lnTo>
                      <a:lnTo>
                        <a:pt x="6" y="2"/>
                      </a:lnTo>
                      <a:lnTo>
                        <a:pt x="0" y="0"/>
                      </a:lnTo>
                      <a:lnTo>
                        <a:pt x="0" y="2"/>
                      </a:lnTo>
                      <a:lnTo>
                        <a:pt x="1" y="4"/>
                      </a:lnTo>
                      <a:lnTo>
                        <a:pt x="8" y="9"/>
                      </a:lnTo>
                      <a:lnTo>
                        <a:pt x="14" y="14"/>
                      </a:lnTo>
                      <a:lnTo>
                        <a:pt x="16" y="16"/>
                      </a:lnTo>
                      <a:lnTo>
                        <a:pt x="16" y="20"/>
                      </a:lnTo>
                      <a:lnTo>
                        <a:pt x="16" y="22"/>
                      </a:lnTo>
                      <a:lnTo>
                        <a:pt x="18" y="25"/>
                      </a:lnTo>
                      <a:lnTo>
                        <a:pt x="22" y="29"/>
                      </a:lnTo>
                      <a:lnTo>
                        <a:pt x="27" y="34"/>
                      </a:lnTo>
                      <a:lnTo>
                        <a:pt x="29" y="35"/>
                      </a:lnTo>
                      <a:lnTo>
                        <a:pt x="32" y="35"/>
                      </a:lnTo>
                      <a:lnTo>
                        <a:pt x="34" y="35"/>
                      </a:lnTo>
                      <a:lnTo>
                        <a:pt x="38" y="34"/>
                      </a:lnTo>
                      <a:lnTo>
                        <a:pt x="39" y="32"/>
                      </a:lnTo>
                      <a:lnTo>
                        <a:pt x="39" y="29"/>
                      </a:lnTo>
                      <a:lnTo>
                        <a:pt x="39" y="26"/>
                      </a:lnTo>
                      <a:lnTo>
                        <a:pt x="39" y="23"/>
                      </a:lnTo>
                      <a:lnTo>
                        <a:pt x="42" y="22"/>
                      </a:lnTo>
                      <a:lnTo>
                        <a:pt x="44" y="20"/>
                      </a:lnTo>
                      <a:lnTo>
                        <a:pt x="47" y="19"/>
                      </a:lnTo>
                      <a:lnTo>
                        <a:pt x="47" y="15"/>
                      </a:lnTo>
                      <a:lnTo>
                        <a:pt x="44" y="11"/>
                      </a:lnTo>
                      <a:lnTo>
                        <a:pt x="43" y="10"/>
                      </a:lnTo>
                      <a:lnTo>
                        <a:pt x="41"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8" name="Freeform 1118"/>
                <p:cNvSpPr>
                  <a:spLocks/>
                </p:cNvSpPr>
                <p:nvPr/>
              </p:nvSpPr>
              <p:spPr bwMode="auto">
                <a:xfrm>
                  <a:off x="8035226" y="2022668"/>
                  <a:ext cx="121350" cy="51795"/>
                </a:xfrm>
                <a:custGeom>
                  <a:avLst/>
                  <a:gdLst>
                    <a:gd name="T0" fmla="*/ 2147483647 w 88"/>
                    <a:gd name="T1" fmla="*/ 2147483647 h 35"/>
                    <a:gd name="T2" fmla="*/ 2147483647 w 88"/>
                    <a:gd name="T3" fmla="*/ 2147483647 h 35"/>
                    <a:gd name="T4" fmla="*/ 2147483647 w 88"/>
                    <a:gd name="T5" fmla="*/ 2147483647 h 35"/>
                    <a:gd name="T6" fmla="*/ 2147483647 w 88"/>
                    <a:gd name="T7" fmla="*/ 2147483647 h 35"/>
                    <a:gd name="T8" fmla="*/ 2147483647 w 88"/>
                    <a:gd name="T9" fmla="*/ 2147483647 h 35"/>
                    <a:gd name="T10" fmla="*/ 2147483647 w 88"/>
                    <a:gd name="T11" fmla="*/ 0 h 35"/>
                    <a:gd name="T12" fmla="*/ 0 w 88"/>
                    <a:gd name="T13" fmla="*/ 2147483647 h 35"/>
                    <a:gd name="T14" fmla="*/ 0 w 88"/>
                    <a:gd name="T15" fmla="*/ 2147483647 h 35"/>
                    <a:gd name="T16" fmla="*/ 0 w 88"/>
                    <a:gd name="T17" fmla="*/ 2147483647 h 35"/>
                    <a:gd name="T18" fmla="*/ 0 w 88"/>
                    <a:gd name="T19" fmla="*/ 2147483647 h 35"/>
                    <a:gd name="T20" fmla="*/ 0 w 88"/>
                    <a:gd name="T21" fmla="*/ 2147483647 h 35"/>
                    <a:gd name="T22" fmla="*/ 0 w 88"/>
                    <a:gd name="T23" fmla="*/ 2147483647 h 35"/>
                    <a:gd name="T24" fmla="*/ 2147483647 w 88"/>
                    <a:gd name="T25" fmla="*/ 2147483647 h 35"/>
                    <a:gd name="T26" fmla="*/ 2147483647 w 88"/>
                    <a:gd name="T27" fmla="*/ 2147483647 h 35"/>
                    <a:gd name="T28" fmla="*/ 2147483647 w 88"/>
                    <a:gd name="T29" fmla="*/ 2147483647 h 35"/>
                    <a:gd name="T30" fmla="*/ 2147483647 w 88"/>
                    <a:gd name="T31" fmla="*/ 2147483647 h 35"/>
                    <a:gd name="T32" fmla="*/ 2147483647 w 88"/>
                    <a:gd name="T33" fmla="*/ 2147483647 h 35"/>
                    <a:gd name="T34" fmla="*/ 2147483647 w 88"/>
                    <a:gd name="T35" fmla="*/ 2147483647 h 35"/>
                    <a:gd name="T36" fmla="*/ 2147483647 w 88"/>
                    <a:gd name="T37" fmla="*/ 2147483647 h 35"/>
                    <a:gd name="T38" fmla="*/ 2147483647 w 88"/>
                    <a:gd name="T39" fmla="*/ 2147483647 h 35"/>
                    <a:gd name="T40" fmla="*/ 2147483647 w 88"/>
                    <a:gd name="T41" fmla="*/ 2147483647 h 35"/>
                    <a:gd name="T42" fmla="*/ 2147483647 w 88"/>
                    <a:gd name="T43" fmla="*/ 2147483647 h 35"/>
                    <a:gd name="T44" fmla="*/ 2147483647 w 88"/>
                    <a:gd name="T45" fmla="*/ 2147483647 h 35"/>
                    <a:gd name="T46" fmla="*/ 2147483647 w 88"/>
                    <a:gd name="T47" fmla="*/ 2147483647 h 35"/>
                    <a:gd name="T48" fmla="*/ 2147483647 w 88"/>
                    <a:gd name="T49" fmla="*/ 2147483647 h 35"/>
                    <a:gd name="T50" fmla="*/ 2147483647 w 88"/>
                    <a:gd name="T51" fmla="*/ 2147483647 h 35"/>
                    <a:gd name="T52" fmla="*/ 2147483647 w 88"/>
                    <a:gd name="T53" fmla="*/ 2147483647 h 35"/>
                    <a:gd name="T54" fmla="*/ 2147483647 w 88"/>
                    <a:gd name="T55" fmla="*/ 2147483647 h 35"/>
                    <a:gd name="T56" fmla="*/ 2147483647 w 88"/>
                    <a:gd name="T57" fmla="*/ 2147483647 h 35"/>
                    <a:gd name="T58" fmla="*/ 2147483647 w 88"/>
                    <a:gd name="T59" fmla="*/ 2147483647 h 35"/>
                    <a:gd name="T60" fmla="*/ 2147483647 w 88"/>
                    <a:gd name="T61" fmla="*/ 2147483647 h 35"/>
                    <a:gd name="T62" fmla="*/ 2147483647 w 88"/>
                    <a:gd name="T63" fmla="*/ 2147483647 h 35"/>
                    <a:gd name="T64" fmla="*/ 2147483647 w 88"/>
                    <a:gd name="T65" fmla="*/ 2147483647 h 35"/>
                    <a:gd name="T66" fmla="*/ 2147483647 w 88"/>
                    <a:gd name="T67" fmla="*/ 2147483647 h 35"/>
                    <a:gd name="T68" fmla="*/ 2147483647 w 88"/>
                    <a:gd name="T69" fmla="*/ 2147483647 h 35"/>
                    <a:gd name="T70" fmla="*/ 2147483647 w 88"/>
                    <a:gd name="T71" fmla="*/ 2147483647 h 35"/>
                    <a:gd name="T72" fmla="*/ 2147483647 w 88"/>
                    <a:gd name="T73" fmla="*/ 2147483647 h 35"/>
                    <a:gd name="T74" fmla="*/ 2147483647 w 88"/>
                    <a:gd name="T75" fmla="*/ 2147483647 h 35"/>
                    <a:gd name="T76" fmla="*/ 2147483647 w 88"/>
                    <a:gd name="T77" fmla="*/ 2147483647 h 35"/>
                    <a:gd name="T78" fmla="*/ 2147483647 w 88"/>
                    <a:gd name="T79" fmla="*/ 2147483647 h 35"/>
                    <a:gd name="T80" fmla="*/ 2147483647 w 88"/>
                    <a:gd name="T81" fmla="*/ 2147483647 h 35"/>
                    <a:gd name="T82" fmla="*/ 2147483647 w 88"/>
                    <a:gd name="T83" fmla="*/ 2147483647 h 35"/>
                    <a:gd name="T84" fmla="*/ 2147483647 w 88"/>
                    <a:gd name="T85" fmla="*/ 2147483647 h 35"/>
                    <a:gd name="T86" fmla="*/ 2147483647 w 88"/>
                    <a:gd name="T87" fmla="*/ 2147483647 h 35"/>
                    <a:gd name="T88" fmla="*/ 2147483647 w 88"/>
                    <a:gd name="T89" fmla="*/ 2147483647 h 35"/>
                    <a:gd name="T90" fmla="*/ 2147483647 w 88"/>
                    <a:gd name="T91" fmla="*/ 2147483647 h 35"/>
                    <a:gd name="T92" fmla="*/ 2147483647 w 88"/>
                    <a:gd name="T93" fmla="*/ 2147483647 h 35"/>
                    <a:gd name="T94" fmla="*/ 2147483647 w 88"/>
                    <a:gd name="T95" fmla="*/ 2147483647 h 35"/>
                    <a:gd name="T96" fmla="*/ 2147483647 w 88"/>
                    <a:gd name="T97" fmla="*/ 2147483647 h 35"/>
                    <a:gd name="T98" fmla="*/ 2147483647 w 88"/>
                    <a:gd name="T99" fmla="*/ 2147483647 h 35"/>
                    <a:gd name="T100" fmla="*/ 2147483647 w 88"/>
                    <a:gd name="T101" fmla="*/ 2147483647 h 35"/>
                    <a:gd name="T102" fmla="*/ 2147483647 w 88"/>
                    <a:gd name="T103" fmla="*/ 2147483647 h 35"/>
                    <a:gd name="T104" fmla="*/ 2147483647 w 88"/>
                    <a:gd name="T105" fmla="*/ 2147483647 h 35"/>
                    <a:gd name="T106" fmla="*/ 2147483647 w 88"/>
                    <a:gd name="T107" fmla="*/ 2147483647 h 35"/>
                    <a:gd name="T108" fmla="*/ 2147483647 w 88"/>
                    <a:gd name="T109" fmla="*/ 2147483647 h 35"/>
                    <a:gd name="T110" fmla="*/ 2147483647 w 88"/>
                    <a:gd name="T111" fmla="*/ 0 h 35"/>
                    <a:gd name="T112" fmla="*/ 2147483647 w 88"/>
                    <a:gd name="T113" fmla="*/ 0 h 35"/>
                    <a:gd name="T114" fmla="*/ 2147483647 w 88"/>
                    <a:gd name="T115" fmla="*/ 0 h 35"/>
                    <a:gd name="T116" fmla="*/ 2147483647 w 88"/>
                    <a:gd name="T117" fmla="*/ 2147483647 h 35"/>
                    <a:gd name="T118" fmla="*/ 2147483647 w 88"/>
                    <a:gd name="T119" fmla="*/ 2147483647 h 35"/>
                    <a:gd name="T120" fmla="*/ 2147483647 w 88"/>
                    <a:gd name="T121" fmla="*/ 2147483647 h 35"/>
                    <a:gd name="T122" fmla="*/ 2147483647 w 88"/>
                    <a:gd name="T123" fmla="*/ 2147483647 h 35"/>
                    <a:gd name="T124" fmla="*/ 2147483647 w 88"/>
                    <a:gd name="T125" fmla="*/ 2147483647 h 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8"/>
                    <a:gd name="T190" fmla="*/ 0 h 35"/>
                    <a:gd name="T191" fmla="*/ 88 w 88"/>
                    <a:gd name="T192" fmla="*/ 35 h 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8" h="35">
                      <a:moveTo>
                        <a:pt x="22" y="2"/>
                      </a:moveTo>
                      <a:lnTo>
                        <a:pt x="22" y="2"/>
                      </a:lnTo>
                      <a:lnTo>
                        <a:pt x="15" y="2"/>
                      </a:lnTo>
                      <a:lnTo>
                        <a:pt x="8" y="1"/>
                      </a:lnTo>
                      <a:lnTo>
                        <a:pt x="4" y="0"/>
                      </a:lnTo>
                      <a:lnTo>
                        <a:pt x="0" y="1"/>
                      </a:lnTo>
                      <a:lnTo>
                        <a:pt x="0" y="2"/>
                      </a:lnTo>
                      <a:lnTo>
                        <a:pt x="8" y="5"/>
                      </a:lnTo>
                      <a:lnTo>
                        <a:pt x="14" y="10"/>
                      </a:lnTo>
                      <a:lnTo>
                        <a:pt x="22" y="18"/>
                      </a:lnTo>
                      <a:lnTo>
                        <a:pt x="29" y="26"/>
                      </a:lnTo>
                      <a:lnTo>
                        <a:pt x="33" y="29"/>
                      </a:lnTo>
                      <a:lnTo>
                        <a:pt x="37" y="32"/>
                      </a:lnTo>
                      <a:lnTo>
                        <a:pt x="42" y="33"/>
                      </a:lnTo>
                      <a:lnTo>
                        <a:pt x="47" y="33"/>
                      </a:lnTo>
                      <a:lnTo>
                        <a:pt x="52" y="35"/>
                      </a:lnTo>
                      <a:lnTo>
                        <a:pt x="58" y="35"/>
                      </a:lnTo>
                      <a:lnTo>
                        <a:pt x="63" y="35"/>
                      </a:lnTo>
                      <a:lnTo>
                        <a:pt x="67" y="33"/>
                      </a:lnTo>
                      <a:lnTo>
                        <a:pt x="72" y="32"/>
                      </a:lnTo>
                      <a:lnTo>
                        <a:pt x="77" y="31"/>
                      </a:lnTo>
                      <a:lnTo>
                        <a:pt x="86" y="31"/>
                      </a:lnTo>
                      <a:lnTo>
                        <a:pt x="88" y="30"/>
                      </a:lnTo>
                      <a:lnTo>
                        <a:pt x="86" y="29"/>
                      </a:lnTo>
                      <a:lnTo>
                        <a:pt x="85" y="25"/>
                      </a:lnTo>
                      <a:lnTo>
                        <a:pt x="85" y="23"/>
                      </a:lnTo>
                      <a:lnTo>
                        <a:pt x="86" y="20"/>
                      </a:lnTo>
                      <a:lnTo>
                        <a:pt x="86" y="19"/>
                      </a:lnTo>
                      <a:lnTo>
                        <a:pt x="86" y="18"/>
                      </a:lnTo>
                      <a:lnTo>
                        <a:pt x="82" y="14"/>
                      </a:lnTo>
                      <a:lnTo>
                        <a:pt x="79" y="13"/>
                      </a:lnTo>
                      <a:lnTo>
                        <a:pt x="69" y="10"/>
                      </a:lnTo>
                      <a:lnTo>
                        <a:pt x="66" y="10"/>
                      </a:lnTo>
                      <a:lnTo>
                        <a:pt x="62" y="11"/>
                      </a:lnTo>
                      <a:lnTo>
                        <a:pt x="60" y="12"/>
                      </a:lnTo>
                      <a:lnTo>
                        <a:pt x="56" y="12"/>
                      </a:lnTo>
                      <a:lnTo>
                        <a:pt x="48" y="10"/>
                      </a:lnTo>
                      <a:lnTo>
                        <a:pt x="41" y="7"/>
                      </a:lnTo>
                      <a:lnTo>
                        <a:pt x="39" y="6"/>
                      </a:lnTo>
                      <a:lnTo>
                        <a:pt x="39" y="4"/>
                      </a:lnTo>
                      <a:lnTo>
                        <a:pt x="39" y="2"/>
                      </a:lnTo>
                      <a:lnTo>
                        <a:pt x="38" y="0"/>
                      </a:lnTo>
                      <a:lnTo>
                        <a:pt x="34" y="0"/>
                      </a:lnTo>
                      <a:lnTo>
                        <a:pt x="29" y="1"/>
                      </a:lnTo>
                      <a:lnTo>
                        <a:pt x="25" y="2"/>
                      </a:lnTo>
                      <a:lnTo>
                        <a:pt x="22"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19" name="Freeform 1119"/>
                <p:cNvSpPr>
                  <a:spLocks/>
                </p:cNvSpPr>
                <p:nvPr/>
              </p:nvSpPr>
              <p:spPr bwMode="auto">
                <a:xfrm>
                  <a:off x="7950872" y="2006387"/>
                  <a:ext cx="65114" cy="53275"/>
                </a:xfrm>
                <a:custGeom>
                  <a:avLst/>
                  <a:gdLst>
                    <a:gd name="T0" fmla="*/ 2147483647 w 47"/>
                    <a:gd name="T1" fmla="*/ 2147483647 h 36"/>
                    <a:gd name="T2" fmla="*/ 2147483647 w 47"/>
                    <a:gd name="T3" fmla="*/ 2147483647 h 36"/>
                    <a:gd name="T4" fmla="*/ 2147483647 w 47"/>
                    <a:gd name="T5" fmla="*/ 2147483647 h 36"/>
                    <a:gd name="T6" fmla="*/ 2147483647 w 47"/>
                    <a:gd name="T7" fmla="*/ 2147483647 h 36"/>
                    <a:gd name="T8" fmla="*/ 2147483647 w 47"/>
                    <a:gd name="T9" fmla="*/ 2147483647 h 36"/>
                    <a:gd name="T10" fmla="*/ 2147483647 w 47"/>
                    <a:gd name="T11" fmla="*/ 2147483647 h 36"/>
                    <a:gd name="T12" fmla="*/ 2147483647 w 47"/>
                    <a:gd name="T13" fmla="*/ 2147483647 h 36"/>
                    <a:gd name="T14" fmla="*/ 2147483647 w 47"/>
                    <a:gd name="T15" fmla="*/ 2147483647 h 36"/>
                    <a:gd name="T16" fmla="*/ 2147483647 w 47"/>
                    <a:gd name="T17" fmla="*/ 2147483647 h 36"/>
                    <a:gd name="T18" fmla="*/ 2147483647 w 47"/>
                    <a:gd name="T19" fmla="*/ 2147483647 h 36"/>
                    <a:gd name="T20" fmla="*/ 2147483647 w 47"/>
                    <a:gd name="T21" fmla="*/ 2147483647 h 36"/>
                    <a:gd name="T22" fmla="*/ 0 w 47"/>
                    <a:gd name="T23" fmla="*/ 0 h 36"/>
                    <a:gd name="T24" fmla="*/ 0 w 47"/>
                    <a:gd name="T25" fmla="*/ 0 h 36"/>
                    <a:gd name="T26" fmla="*/ 0 w 47"/>
                    <a:gd name="T27" fmla="*/ 0 h 36"/>
                    <a:gd name="T28" fmla="*/ 0 w 47"/>
                    <a:gd name="T29" fmla="*/ 2147483647 h 36"/>
                    <a:gd name="T30" fmla="*/ 2147483647 w 47"/>
                    <a:gd name="T31" fmla="*/ 2147483647 h 36"/>
                    <a:gd name="T32" fmla="*/ 2147483647 w 47"/>
                    <a:gd name="T33" fmla="*/ 2147483647 h 36"/>
                    <a:gd name="T34" fmla="*/ 2147483647 w 47"/>
                    <a:gd name="T35" fmla="*/ 2147483647 h 36"/>
                    <a:gd name="T36" fmla="*/ 2147483647 w 47"/>
                    <a:gd name="T37" fmla="*/ 2147483647 h 36"/>
                    <a:gd name="T38" fmla="*/ 2147483647 w 47"/>
                    <a:gd name="T39" fmla="*/ 2147483647 h 36"/>
                    <a:gd name="T40" fmla="*/ 2147483647 w 47"/>
                    <a:gd name="T41" fmla="*/ 2147483647 h 36"/>
                    <a:gd name="T42" fmla="*/ 2147483647 w 47"/>
                    <a:gd name="T43" fmla="*/ 2147483647 h 36"/>
                    <a:gd name="T44" fmla="*/ 2147483647 w 47"/>
                    <a:gd name="T45" fmla="*/ 2147483647 h 36"/>
                    <a:gd name="T46" fmla="*/ 2147483647 w 47"/>
                    <a:gd name="T47" fmla="*/ 2147483647 h 36"/>
                    <a:gd name="T48" fmla="*/ 2147483647 w 47"/>
                    <a:gd name="T49" fmla="*/ 2147483647 h 36"/>
                    <a:gd name="T50" fmla="*/ 2147483647 w 47"/>
                    <a:gd name="T51" fmla="*/ 2147483647 h 36"/>
                    <a:gd name="T52" fmla="*/ 2147483647 w 47"/>
                    <a:gd name="T53" fmla="*/ 2147483647 h 36"/>
                    <a:gd name="T54" fmla="*/ 2147483647 w 47"/>
                    <a:gd name="T55" fmla="*/ 2147483647 h 36"/>
                    <a:gd name="T56" fmla="*/ 2147483647 w 47"/>
                    <a:gd name="T57" fmla="*/ 2147483647 h 36"/>
                    <a:gd name="T58" fmla="*/ 2147483647 w 47"/>
                    <a:gd name="T59" fmla="*/ 2147483647 h 36"/>
                    <a:gd name="T60" fmla="*/ 2147483647 w 47"/>
                    <a:gd name="T61" fmla="*/ 2147483647 h 36"/>
                    <a:gd name="T62" fmla="*/ 2147483647 w 47"/>
                    <a:gd name="T63" fmla="*/ 2147483647 h 36"/>
                    <a:gd name="T64" fmla="*/ 2147483647 w 47"/>
                    <a:gd name="T65" fmla="*/ 2147483647 h 36"/>
                    <a:gd name="T66" fmla="*/ 2147483647 w 47"/>
                    <a:gd name="T67" fmla="*/ 2147483647 h 36"/>
                    <a:gd name="T68" fmla="*/ 2147483647 w 47"/>
                    <a:gd name="T69" fmla="*/ 2147483647 h 36"/>
                    <a:gd name="T70" fmla="*/ 2147483647 w 47"/>
                    <a:gd name="T71" fmla="*/ 2147483647 h 36"/>
                    <a:gd name="T72" fmla="*/ 2147483647 w 47"/>
                    <a:gd name="T73" fmla="*/ 2147483647 h 36"/>
                    <a:gd name="T74" fmla="*/ 2147483647 w 47"/>
                    <a:gd name="T75" fmla="*/ 2147483647 h 36"/>
                    <a:gd name="T76" fmla="*/ 2147483647 w 47"/>
                    <a:gd name="T77" fmla="*/ 2147483647 h 36"/>
                    <a:gd name="T78" fmla="*/ 2147483647 w 47"/>
                    <a:gd name="T79" fmla="*/ 2147483647 h 36"/>
                    <a:gd name="T80" fmla="*/ 2147483647 w 47"/>
                    <a:gd name="T81" fmla="*/ 2147483647 h 36"/>
                    <a:gd name="T82" fmla="*/ 2147483647 w 47"/>
                    <a:gd name="T83" fmla="*/ 2147483647 h 36"/>
                    <a:gd name="T84" fmla="*/ 2147483647 w 47"/>
                    <a:gd name="T85" fmla="*/ 2147483647 h 36"/>
                    <a:gd name="T86" fmla="*/ 2147483647 w 47"/>
                    <a:gd name="T87" fmla="*/ 2147483647 h 36"/>
                    <a:gd name="T88" fmla="*/ 2147483647 w 47"/>
                    <a:gd name="T89" fmla="*/ 2147483647 h 36"/>
                    <a:gd name="T90" fmla="*/ 2147483647 w 47"/>
                    <a:gd name="T91" fmla="*/ 2147483647 h 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7"/>
                    <a:gd name="T139" fmla="*/ 0 h 36"/>
                    <a:gd name="T140" fmla="*/ 47 w 47"/>
                    <a:gd name="T141" fmla="*/ 36 h 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7" h="36">
                      <a:moveTo>
                        <a:pt x="40" y="11"/>
                      </a:moveTo>
                      <a:lnTo>
                        <a:pt x="40" y="11"/>
                      </a:lnTo>
                      <a:lnTo>
                        <a:pt x="37" y="11"/>
                      </a:lnTo>
                      <a:lnTo>
                        <a:pt x="33" y="9"/>
                      </a:lnTo>
                      <a:lnTo>
                        <a:pt x="29" y="8"/>
                      </a:lnTo>
                      <a:lnTo>
                        <a:pt x="25" y="9"/>
                      </a:lnTo>
                      <a:lnTo>
                        <a:pt x="21" y="9"/>
                      </a:lnTo>
                      <a:lnTo>
                        <a:pt x="19" y="9"/>
                      </a:lnTo>
                      <a:lnTo>
                        <a:pt x="12" y="6"/>
                      </a:lnTo>
                      <a:lnTo>
                        <a:pt x="6" y="3"/>
                      </a:lnTo>
                      <a:lnTo>
                        <a:pt x="0" y="0"/>
                      </a:lnTo>
                      <a:lnTo>
                        <a:pt x="0" y="3"/>
                      </a:lnTo>
                      <a:lnTo>
                        <a:pt x="1" y="5"/>
                      </a:lnTo>
                      <a:lnTo>
                        <a:pt x="7" y="10"/>
                      </a:lnTo>
                      <a:lnTo>
                        <a:pt x="14" y="15"/>
                      </a:lnTo>
                      <a:lnTo>
                        <a:pt x="16" y="17"/>
                      </a:lnTo>
                      <a:lnTo>
                        <a:pt x="16" y="21"/>
                      </a:lnTo>
                      <a:lnTo>
                        <a:pt x="16" y="23"/>
                      </a:lnTo>
                      <a:lnTo>
                        <a:pt x="17" y="25"/>
                      </a:lnTo>
                      <a:lnTo>
                        <a:pt x="21" y="30"/>
                      </a:lnTo>
                      <a:lnTo>
                        <a:pt x="26" y="35"/>
                      </a:lnTo>
                      <a:lnTo>
                        <a:pt x="29" y="36"/>
                      </a:lnTo>
                      <a:lnTo>
                        <a:pt x="31" y="36"/>
                      </a:lnTo>
                      <a:lnTo>
                        <a:pt x="34" y="36"/>
                      </a:lnTo>
                      <a:lnTo>
                        <a:pt x="38" y="35"/>
                      </a:lnTo>
                      <a:lnTo>
                        <a:pt x="39" y="32"/>
                      </a:lnTo>
                      <a:lnTo>
                        <a:pt x="39" y="30"/>
                      </a:lnTo>
                      <a:lnTo>
                        <a:pt x="39" y="27"/>
                      </a:lnTo>
                      <a:lnTo>
                        <a:pt x="39" y="24"/>
                      </a:lnTo>
                      <a:lnTo>
                        <a:pt x="42" y="23"/>
                      </a:lnTo>
                      <a:lnTo>
                        <a:pt x="44" y="21"/>
                      </a:lnTo>
                      <a:lnTo>
                        <a:pt x="47" y="19"/>
                      </a:lnTo>
                      <a:lnTo>
                        <a:pt x="47" y="16"/>
                      </a:lnTo>
                      <a:lnTo>
                        <a:pt x="44" y="12"/>
                      </a:lnTo>
                      <a:lnTo>
                        <a:pt x="43" y="11"/>
                      </a:lnTo>
                      <a:lnTo>
                        <a:pt x="40"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0" name="Freeform 1120"/>
                <p:cNvSpPr>
                  <a:spLocks/>
                </p:cNvSpPr>
                <p:nvPr/>
              </p:nvSpPr>
              <p:spPr bwMode="auto">
                <a:xfrm>
                  <a:off x="7847285" y="2001951"/>
                  <a:ext cx="127269" cy="78433"/>
                </a:xfrm>
                <a:custGeom>
                  <a:avLst/>
                  <a:gdLst>
                    <a:gd name="T0" fmla="*/ 2147483647 w 93"/>
                    <a:gd name="T1" fmla="*/ 2147483647 h 53"/>
                    <a:gd name="T2" fmla="*/ 2147483647 w 93"/>
                    <a:gd name="T3" fmla="*/ 2147483647 h 53"/>
                    <a:gd name="T4" fmla="*/ 2147483647 w 93"/>
                    <a:gd name="T5" fmla="*/ 2147483647 h 53"/>
                    <a:gd name="T6" fmla="*/ 2147483647 w 93"/>
                    <a:gd name="T7" fmla="*/ 2147483647 h 53"/>
                    <a:gd name="T8" fmla="*/ 2147483647 w 93"/>
                    <a:gd name="T9" fmla="*/ 2147483647 h 53"/>
                    <a:gd name="T10" fmla="*/ 2147483647 w 93"/>
                    <a:gd name="T11" fmla="*/ 2147483647 h 53"/>
                    <a:gd name="T12" fmla="*/ 2147483647 w 93"/>
                    <a:gd name="T13" fmla="*/ 2147483647 h 53"/>
                    <a:gd name="T14" fmla="*/ 2147483647 w 93"/>
                    <a:gd name="T15" fmla="*/ 2147483647 h 53"/>
                    <a:gd name="T16" fmla="*/ 2147483647 w 93"/>
                    <a:gd name="T17" fmla="*/ 2147483647 h 53"/>
                    <a:gd name="T18" fmla="*/ 2147483647 w 93"/>
                    <a:gd name="T19" fmla="*/ 2147483647 h 53"/>
                    <a:gd name="T20" fmla="*/ 2147483647 w 93"/>
                    <a:gd name="T21" fmla="*/ 2147483647 h 53"/>
                    <a:gd name="T22" fmla="*/ 0 w 93"/>
                    <a:gd name="T23" fmla="*/ 2147483647 h 53"/>
                    <a:gd name="T24" fmla="*/ 0 w 93"/>
                    <a:gd name="T25" fmla="*/ 2147483647 h 53"/>
                    <a:gd name="T26" fmla="*/ 2147483647 w 93"/>
                    <a:gd name="T27" fmla="*/ 2147483647 h 53"/>
                    <a:gd name="T28" fmla="*/ 2147483647 w 93"/>
                    <a:gd name="T29" fmla="*/ 2147483647 h 53"/>
                    <a:gd name="T30" fmla="*/ 2147483647 w 93"/>
                    <a:gd name="T31" fmla="*/ 2147483647 h 53"/>
                    <a:gd name="T32" fmla="*/ 2147483647 w 93"/>
                    <a:gd name="T33" fmla="*/ 2147483647 h 53"/>
                    <a:gd name="T34" fmla="*/ 2147483647 w 93"/>
                    <a:gd name="T35" fmla="*/ 2147483647 h 53"/>
                    <a:gd name="T36" fmla="*/ 2147483647 w 93"/>
                    <a:gd name="T37" fmla="*/ 2147483647 h 53"/>
                    <a:gd name="T38" fmla="*/ 2147483647 w 93"/>
                    <a:gd name="T39" fmla="*/ 2147483647 h 53"/>
                    <a:gd name="T40" fmla="*/ 2147483647 w 93"/>
                    <a:gd name="T41" fmla="*/ 2147483647 h 53"/>
                    <a:gd name="T42" fmla="*/ 2147483647 w 93"/>
                    <a:gd name="T43" fmla="*/ 2147483647 h 53"/>
                    <a:gd name="T44" fmla="*/ 2147483647 w 93"/>
                    <a:gd name="T45" fmla="*/ 2147483647 h 53"/>
                    <a:gd name="T46" fmla="*/ 2147483647 w 93"/>
                    <a:gd name="T47" fmla="*/ 2147483647 h 53"/>
                    <a:gd name="T48" fmla="*/ 2147483647 w 93"/>
                    <a:gd name="T49" fmla="*/ 2147483647 h 53"/>
                    <a:gd name="T50" fmla="*/ 2147483647 w 93"/>
                    <a:gd name="T51" fmla="*/ 2147483647 h 53"/>
                    <a:gd name="T52" fmla="*/ 2147483647 w 93"/>
                    <a:gd name="T53" fmla="*/ 2147483647 h 53"/>
                    <a:gd name="T54" fmla="*/ 2147483647 w 93"/>
                    <a:gd name="T55" fmla="*/ 2147483647 h 53"/>
                    <a:gd name="T56" fmla="*/ 2147483647 w 93"/>
                    <a:gd name="T57" fmla="*/ 2147483647 h 53"/>
                    <a:gd name="T58" fmla="*/ 2147483647 w 93"/>
                    <a:gd name="T59" fmla="*/ 2147483647 h 53"/>
                    <a:gd name="T60" fmla="*/ 2147483647 w 93"/>
                    <a:gd name="T61" fmla="*/ 2147483647 h 53"/>
                    <a:gd name="T62" fmla="*/ 2147483647 w 93"/>
                    <a:gd name="T63" fmla="*/ 2147483647 h 53"/>
                    <a:gd name="T64" fmla="*/ 2147483647 w 93"/>
                    <a:gd name="T65" fmla="*/ 2147483647 h 53"/>
                    <a:gd name="T66" fmla="*/ 2147483647 w 93"/>
                    <a:gd name="T67" fmla="*/ 2147483647 h 53"/>
                    <a:gd name="T68" fmla="*/ 2147483647 w 93"/>
                    <a:gd name="T69" fmla="*/ 2147483647 h 53"/>
                    <a:gd name="T70" fmla="*/ 2147483647 w 93"/>
                    <a:gd name="T71" fmla="*/ 2147483647 h 53"/>
                    <a:gd name="T72" fmla="*/ 2147483647 w 93"/>
                    <a:gd name="T73" fmla="*/ 2147483647 h 53"/>
                    <a:gd name="T74" fmla="*/ 2147483647 w 93"/>
                    <a:gd name="T75" fmla="*/ 2147483647 h 53"/>
                    <a:gd name="T76" fmla="*/ 2147483647 w 93"/>
                    <a:gd name="T77" fmla="*/ 2147483647 h 53"/>
                    <a:gd name="T78" fmla="*/ 2147483647 w 93"/>
                    <a:gd name="T79" fmla="*/ 2147483647 h 53"/>
                    <a:gd name="T80" fmla="*/ 2147483647 w 93"/>
                    <a:gd name="T81" fmla="*/ 2147483647 h 53"/>
                    <a:gd name="T82" fmla="*/ 2147483647 w 93"/>
                    <a:gd name="T83" fmla="*/ 2147483647 h 53"/>
                    <a:gd name="T84" fmla="*/ 2147483647 w 93"/>
                    <a:gd name="T85" fmla="*/ 2147483647 h 53"/>
                    <a:gd name="T86" fmla="*/ 2147483647 w 93"/>
                    <a:gd name="T87" fmla="*/ 0 h 53"/>
                    <a:gd name="T88" fmla="*/ 2147483647 w 93"/>
                    <a:gd name="T89" fmla="*/ 0 h 53"/>
                    <a:gd name="T90" fmla="*/ 2147483647 w 93"/>
                    <a:gd name="T91" fmla="*/ 2147483647 h 53"/>
                    <a:gd name="T92" fmla="*/ 2147483647 w 93"/>
                    <a:gd name="T93" fmla="*/ 2147483647 h 53"/>
                    <a:gd name="T94" fmla="*/ 2147483647 w 93"/>
                    <a:gd name="T95" fmla="*/ 2147483647 h 53"/>
                    <a:gd name="T96" fmla="*/ 2147483647 w 93"/>
                    <a:gd name="T97" fmla="*/ 2147483647 h 53"/>
                    <a:gd name="T98" fmla="*/ 2147483647 w 93"/>
                    <a:gd name="T99" fmla="*/ 2147483647 h 53"/>
                    <a:gd name="T100" fmla="*/ 2147483647 w 93"/>
                    <a:gd name="T101" fmla="*/ 2147483647 h 53"/>
                    <a:gd name="T102" fmla="*/ 2147483647 w 93"/>
                    <a:gd name="T103" fmla="*/ 2147483647 h 53"/>
                    <a:gd name="T104" fmla="*/ 2147483647 w 93"/>
                    <a:gd name="T105" fmla="*/ 2147483647 h 53"/>
                    <a:gd name="T106" fmla="*/ 2147483647 w 93"/>
                    <a:gd name="T107" fmla="*/ 2147483647 h 53"/>
                    <a:gd name="T108" fmla="*/ 2147483647 w 93"/>
                    <a:gd name="T109" fmla="*/ 2147483647 h 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
                    <a:gd name="T166" fmla="*/ 0 h 53"/>
                    <a:gd name="T167" fmla="*/ 93 w 93"/>
                    <a:gd name="T168" fmla="*/ 53 h 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 h="53">
                      <a:moveTo>
                        <a:pt x="44" y="12"/>
                      </a:moveTo>
                      <a:lnTo>
                        <a:pt x="34" y="6"/>
                      </a:lnTo>
                      <a:lnTo>
                        <a:pt x="29" y="3"/>
                      </a:lnTo>
                      <a:lnTo>
                        <a:pt x="24" y="2"/>
                      </a:lnTo>
                      <a:lnTo>
                        <a:pt x="19" y="5"/>
                      </a:lnTo>
                      <a:lnTo>
                        <a:pt x="15" y="7"/>
                      </a:lnTo>
                      <a:lnTo>
                        <a:pt x="8" y="14"/>
                      </a:lnTo>
                      <a:lnTo>
                        <a:pt x="7" y="15"/>
                      </a:lnTo>
                      <a:lnTo>
                        <a:pt x="3" y="16"/>
                      </a:lnTo>
                      <a:lnTo>
                        <a:pt x="2" y="19"/>
                      </a:lnTo>
                      <a:lnTo>
                        <a:pt x="1" y="20"/>
                      </a:lnTo>
                      <a:lnTo>
                        <a:pt x="0" y="28"/>
                      </a:lnTo>
                      <a:lnTo>
                        <a:pt x="0" y="32"/>
                      </a:lnTo>
                      <a:lnTo>
                        <a:pt x="1" y="35"/>
                      </a:lnTo>
                      <a:lnTo>
                        <a:pt x="2" y="38"/>
                      </a:lnTo>
                      <a:lnTo>
                        <a:pt x="5" y="40"/>
                      </a:lnTo>
                      <a:lnTo>
                        <a:pt x="11" y="45"/>
                      </a:lnTo>
                      <a:lnTo>
                        <a:pt x="26" y="51"/>
                      </a:lnTo>
                      <a:lnTo>
                        <a:pt x="30" y="52"/>
                      </a:lnTo>
                      <a:lnTo>
                        <a:pt x="34" y="51"/>
                      </a:lnTo>
                      <a:lnTo>
                        <a:pt x="40" y="47"/>
                      </a:lnTo>
                      <a:lnTo>
                        <a:pt x="41" y="46"/>
                      </a:lnTo>
                      <a:lnTo>
                        <a:pt x="43" y="47"/>
                      </a:lnTo>
                      <a:lnTo>
                        <a:pt x="47" y="50"/>
                      </a:lnTo>
                      <a:lnTo>
                        <a:pt x="50" y="52"/>
                      </a:lnTo>
                      <a:lnTo>
                        <a:pt x="54" y="53"/>
                      </a:lnTo>
                      <a:lnTo>
                        <a:pt x="59" y="52"/>
                      </a:lnTo>
                      <a:lnTo>
                        <a:pt x="63" y="50"/>
                      </a:lnTo>
                      <a:lnTo>
                        <a:pt x="68" y="46"/>
                      </a:lnTo>
                      <a:lnTo>
                        <a:pt x="72" y="44"/>
                      </a:lnTo>
                      <a:lnTo>
                        <a:pt x="74" y="43"/>
                      </a:lnTo>
                      <a:lnTo>
                        <a:pt x="77" y="44"/>
                      </a:lnTo>
                      <a:lnTo>
                        <a:pt x="81" y="45"/>
                      </a:lnTo>
                      <a:lnTo>
                        <a:pt x="83" y="47"/>
                      </a:lnTo>
                      <a:lnTo>
                        <a:pt x="87" y="49"/>
                      </a:lnTo>
                      <a:lnTo>
                        <a:pt x="91" y="49"/>
                      </a:lnTo>
                      <a:lnTo>
                        <a:pt x="92" y="47"/>
                      </a:lnTo>
                      <a:lnTo>
                        <a:pt x="93" y="46"/>
                      </a:lnTo>
                      <a:lnTo>
                        <a:pt x="92" y="40"/>
                      </a:lnTo>
                      <a:lnTo>
                        <a:pt x="90" y="35"/>
                      </a:lnTo>
                      <a:lnTo>
                        <a:pt x="83" y="25"/>
                      </a:lnTo>
                      <a:lnTo>
                        <a:pt x="80" y="19"/>
                      </a:lnTo>
                      <a:lnTo>
                        <a:pt x="74" y="13"/>
                      </a:lnTo>
                      <a:lnTo>
                        <a:pt x="63" y="0"/>
                      </a:lnTo>
                      <a:lnTo>
                        <a:pt x="62" y="0"/>
                      </a:lnTo>
                      <a:lnTo>
                        <a:pt x="60" y="1"/>
                      </a:lnTo>
                      <a:lnTo>
                        <a:pt x="60" y="6"/>
                      </a:lnTo>
                      <a:lnTo>
                        <a:pt x="62" y="11"/>
                      </a:lnTo>
                      <a:lnTo>
                        <a:pt x="62" y="15"/>
                      </a:lnTo>
                      <a:lnTo>
                        <a:pt x="62" y="16"/>
                      </a:lnTo>
                      <a:lnTo>
                        <a:pt x="59" y="19"/>
                      </a:lnTo>
                      <a:lnTo>
                        <a:pt x="58" y="19"/>
                      </a:lnTo>
                      <a:lnTo>
                        <a:pt x="57" y="19"/>
                      </a:lnTo>
                      <a:lnTo>
                        <a:pt x="52" y="16"/>
                      </a:lnTo>
                      <a:lnTo>
                        <a:pt x="4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1" name="Freeform 1121"/>
                <p:cNvSpPr>
                  <a:spLocks/>
                </p:cNvSpPr>
                <p:nvPr/>
              </p:nvSpPr>
              <p:spPr bwMode="auto">
                <a:xfrm>
                  <a:off x="7915355" y="2093701"/>
                  <a:ext cx="11839" cy="19238"/>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0 h 13"/>
                    <a:gd name="T10" fmla="*/ 2147483647 w 9"/>
                    <a:gd name="T11" fmla="*/ 2147483647 h 13"/>
                    <a:gd name="T12" fmla="*/ 0 w 9"/>
                    <a:gd name="T13" fmla="*/ 2147483647 h 13"/>
                    <a:gd name="T14" fmla="*/ 0 w 9"/>
                    <a:gd name="T15" fmla="*/ 2147483647 h 13"/>
                    <a:gd name="T16" fmla="*/ 0 w 9"/>
                    <a:gd name="T17" fmla="*/ 2147483647 h 13"/>
                    <a:gd name="T18" fmla="*/ 0 w 9"/>
                    <a:gd name="T19" fmla="*/ 2147483647 h 13"/>
                    <a:gd name="T20" fmla="*/ 2147483647 w 9"/>
                    <a:gd name="T21" fmla="*/ 2147483647 h 13"/>
                    <a:gd name="T22" fmla="*/ 2147483647 w 9"/>
                    <a:gd name="T23" fmla="*/ 2147483647 h 13"/>
                    <a:gd name="T24" fmla="*/ 2147483647 w 9"/>
                    <a:gd name="T25" fmla="*/ 2147483647 h 13"/>
                    <a:gd name="T26" fmla="*/ 2147483647 w 9"/>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3"/>
                    <a:gd name="T44" fmla="*/ 9 w 9"/>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3">
                      <a:moveTo>
                        <a:pt x="8" y="9"/>
                      </a:moveTo>
                      <a:lnTo>
                        <a:pt x="9" y="5"/>
                      </a:lnTo>
                      <a:lnTo>
                        <a:pt x="9" y="3"/>
                      </a:lnTo>
                      <a:lnTo>
                        <a:pt x="7" y="1"/>
                      </a:lnTo>
                      <a:lnTo>
                        <a:pt x="2" y="0"/>
                      </a:lnTo>
                      <a:lnTo>
                        <a:pt x="2" y="1"/>
                      </a:lnTo>
                      <a:lnTo>
                        <a:pt x="0" y="2"/>
                      </a:lnTo>
                      <a:lnTo>
                        <a:pt x="0" y="7"/>
                      </a:lnTo>
                      <a:lnTo>
                        <a:pt x="0" y="10"/>
                      </a:lnTo>
                      <a:lnTo>
                        <a:pt x="0" y="11"/>
                      </a:lnTo>
                      <a:lnTo>
                        <a:pt x="2" y="13"/>
                      </a:lnTo>
                      <a:lnTo>
                        <a:pt x="5" y="11"/>
                      </a:lnTo>
                      <a:lnTo>
                        <a:pt x="7" y="11"/>
                      </a:lnTo>
                      <a:lnTo>
                        <a:pt x="8"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2" name="Freeform 1122"/>
                <p:cNvSpPr>
                  <a:spLocks/>
                </p:cNvSpPr>
                <p:nvPr/>
              </p:nvSpPr>
              <p:spPr bwMode="auto">
                <a:xfrm>
                  <a:off x="7844321" y="2000468"/>
                  <a:ext cx="128749" cy="78434"/>
                </a:xfrm>
                <a:custGeom>
                  <a:avLst/>
                  <a:gdLst>
                    <a:gd name="T0" fmla="*/ 2147483647 w 94"/>
                    <a:gd name="T1" fmla="*/ 2147483647 h 53"/>
                    <a:gd name="T2" fmla="*/ 2147483647 w 94"/>
                    <a:gd name="T3" fmla="*/ 2147483647 h 53"/>
                    <a:gd name="T4" fmla="*/ 2147483647 w 94"/>
                    <a:gd name="T5" fmla="*/ 2147483647 h 53"/>
                    <a:gd name="T6" fmla="*/ 2147483647 w 94"/>
                    <a:gd name="T7" fmla="*/ 2147483647 h 53"/>
                    <a:gd name="T8" fmla="*/ 2147483647 w 94"/>
                    <a:gd name="T9" fmla="*/ 2147483647 h 53"/>
                    <a:gd name="T10" fmla="*/ 2147483647 w 94"/>
                    <a:gd name="T11" fmla="*/ 2147483647 h 53"/>
                    <a:gd name="T12" fmla="*/ 2147483647 w 94"/>
                    <a:gd name="T13" fmla="*/ 2147483647 h 53"/>
                    <a:gd name="T14" fmla="*/ 0 w 94"/>
                    <a:gd name="T15" fmla="*/ 2147483647 h 53"/>
                    <a:gd name="T16" fmla="*/ 2147483647 w 94"/>
                    <a:gd name="T17" fmla="*/ 2147483647 h 53"/>
                    <a:gd name="T18" fmla="*/ 2147483647 w 94"/>
                    <a:gd name="T19" fmla="*/ 2147483647 h 53"/>
                    <a:gd name="T20" fmla="*/ 2147483647 w 94"/>
                    <a:gd name="T21" fmla="*/ 2147483647 h 53"/>
                    <a:gd name="T22" fmla="*/ 2147483647 w 94"/>
                    <a:gd name="T23" fmla="*/ 2147483647 h 53"/>
                    <a:gd name="T24" fmla="*/ 2147483647 w 94"/>
                    <a:gd name="T25" fmla="*/ 2147483647 h 53"/>
                    <a:gd name="T26" fmla="*/ 2147483647 w 94"/>
                    <a:gd name="T27" fmla="*/ 2147483647 h 53"/>
                    <a:gd name="T28" fmla="*/ 2147483647 w 94"/>
                    <a:gd name="T29" fmla="*/ 2147483647 h 53"/>
                    <a:gd name="T30" fmla="*/ 2147483647 w 94"/>
                    <a:gd name="T31" fmla="*/ 2147483647 h 53"/>
                    <a:gd name="T32" fmla="*/ 2147483647 w 94"/>
                    <a:gd name="T33" fmla="*/ 2147483647 h 53"/>
                    <a:gd name="T34" fmla="*/ 2147483647 w 94"/>
                    <a:gd name="T35" fmla="*/ 2147483647 h 53"/>
                    <a:gd name="T36" fmla="*/ 2147483647 w 94"/>
                    <a:gd name="T37" fmla="*/ 2147483647 h 53"/>
                    <a:gd name="T38" fmla="*/ 2147483647 w 94"/>
                    <a:gd name="T39" fmla="*/ 2147483647 h 53"/>
                    <a:gd name="T40" fmla="*/ 2147483647 w 94"/>
                    <a:gd name="T41" fmla="*/ 2147483647 h 53"/>
                    <a:gd name="T42" fmla="*/ 2147483647 w 94"/>
                    <a:gd name="T43" fmla="*/ 2147483647 h 53"/>
                    <a:gd name="T44" fmla="*/ 2147483647 w 94"/>
                    <a:gd name="T45" fmla="*/ 2147483647 h 53"/>
                    <a:gd name="T46" fmla="*/ 2147483647 w 94"/>
                    <a:gd name="T47" fmla="*/ 2147483647 h 53"/>
                    <a:gd name="T48" fmla="*/ 2147483647 w 94"/>
                    <a:gd name="T49" fmla="*/ 2147483647 h 53"/>
                    <a:gd name="T50" fmla="*/ 2147483647 w 94"/>
                    <a:gd name="T51" fmla="*/ 2147483647 h 53"/>
                    <a:gd name="T52" fmla="*/ 2147483647 w 94"/>
                    <a:gd name="T53" fmla="*/ 2147483647 h 53"/>
                    <a:gd name="T54" fmla="*/ 2147483647 w 94"/>
                    <a:gd name="T55" fmla="*/ 2147483647 h 53"/>
                    <a:gd name="T56" fmla="*/ 2147483647 w 94"/>
                    <a:gd name="T57" fmla="*/ 0 h 53"/>
                    <a:gd name="T58" fmla="*/ 2147483647 w 94"/>
                    <a:gd name="T59" fmla="*/ 2147483647 h 53"/>
                    <a:gd name="T60" fmla="*/ 2147483647 w 94"/>
                    <a:gd name="T61" fmla="*/ 2147483647 h 53"/>
                    <a:gd name="T62" fmla="*/ 2147483647 w 94"/>
                    <a:gd name="T63" fmla="*/ 2147483647 h 53"/>
                    <a:gd name="T64" fmla="*/ 2147483647 w 94"/>
                    <a:gd name="T65" fmla="*/ 2147483647 h 53"/>
                    <a:gd name="T66" fmla="*/ 2147483647 w 94"/>
                    <a:gd name="T67" fmla="*/ 2147483647 h 53"/>
                    <a:gd name="T68" fmla="*/ 2147483647 w 94"/>
                    <a:gd name="T69" fmla="*/ 2147483647 h 53"/>
                    <a:gd name="T70" fmla="*/ 2147483647 w 94"/>
                    <a:gd name="T71" fmla="*/ 2147483647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4"/>
                    <a:gd name="T109" fmla="*/ 0 h 53"/>
                    <a:gd name="T110" fmla="*/ 94 w 94"/>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4" h="53">
                      <a:moveTo>
                        <a:pt x="45" y="12"/>
                      </a:moveTo>
                      <a:lnTo>
                        <a:pt x="45" y="12"/>
                      </a:lnTo>
                      <a:lnTo>
                        <a:pt x="35" y="6"/>
                      </a:lnTo>
                      <a:lnTo>
                        <a:pt x="29" y="3"/>
                      </a:lnTo>
                      <a:lnTo>
                        <a:pt x="24" y="2"/>
                      </a:lnTo>
                      <a:lnTo>
                        <a:pt x="19" y="4"/>
                      </a:lnTo>
                      <a:lnTo>
                        <a:pt x="15" y="7"/>
                      </a:lnTo>
                      <a:lnTo>
                        <a:pt x="9" y="14"/>
                      </a:lnTo>
                      <a:lnTo>
                        <a:pt x="8" y="15"/>
                      </a:lnTo>
                      <a:lnTo>
                        <a:pt x="4" y="16"/>
                      </a:lnTo>
                      <a:lnTo>
                        <a:pt x="3" y="19"/>
                      </a:lnTo>
                      <a:lnTo>
                        <a:pt x="2" y="20"/>
                      </a:lnTo>
                      <a:lnTo>
                        <a:pt x="0" y="28"/>
                      </a:lnTo>
                      <a:lnTo>
                        <a:pt x="0" y="32"/>
                      </a:lnTo>
                      <a:lnTo>
                        <a:pt x="2" y="35"/>
                      </a:lnTo>
                      <a:lnTo>
                        <a:pt x="3" y="38"/>
                      </a:lnTo>
                      <a:lnTo>
                        <a:pt x="5" y="40"/>
                      </a:lnTo>
                      <a:lnTo>
                        <a:pt x="12" y="45"/>
                      </a:lnTo>
                      <a:lnTo>
                        <a:pt x="27" y="51"/>
                      </a:lnTo>
                      <a:lnTo>
                        <a:pt x="31" y="52"/>
                      </a:lnTo>
                      <a:lnTo>
                        <a:pt x="35" y="51"/>
                      </a:lnTo>
                      <a:lnTo>
                        <a:pt x="41" y="47"/>
                      </a:lnTo>
                      <a:lnTo>
                        <a:pt x="42" y="46"/>
                      </a:lnTo>
                      <a:lnTo>
                        <a:pt x="43" y="47"/>
                      </a:lnTo>
                      <a:lnTo>
                        <a:pt x="47" y="50"/>
                      </a:lnTo>
                      <a:lnTo>
                        <a:pt x="51" y="52"/>
                      </a:lnTo>
                      <a:lnTo>
                        <a:pt x="55" y="53"/>
                      </a:lnTo>
                      <a:lnTo>
                        <a:pt x="60" y="52"/>
                      </a:lnTo>
                      <a:lnTo>
                        <a:pt x="64" y="50"/>
                      </a:lnTo>
                      <a:lnTo>
                        <a:pt x="69" y="46"/>
                      </a:lnTo>
                      <a:lnTo>
                        <a:pt x="73" y="44"/>
                      </a:lnTo>
                      <a:lnTo>
                        <a:pt x="75" y="42"/>
                      </a:lnTo>
                      <a:lnTo>
                        <a:pt x="78" y="44"/>
                      </a:lnTo>
                      <a:lnTo>
                        <a:pt x="82" y="45"/>
                      </a:lnTo>
                      <a:lnTo>
                        <a:pt x="84" y="47"/>
                      </a:lnTo>
                      <a:lnTo>
                        <a:pt x="88" y="48"/>
                      </a:lnTo>
                      <a:lnTo>
                        <a:pt x="92" y="48"/>
                      </a:lnTo>
                      <a:lnTo>
                        <a:pt x="93" y="47"/>
                      </a:lnTo>
                      <a:lnTo>
                        <a:pt x="94" y="46"/>
                      </a:lnTo>
                      <a:lnTo>
                        <a:pt x="93" y="40"/>
                      </a:lnTo>
                      <a:lnTo>
                        <a:pt x="90" y="35"/>
                      </a:lnTo>
                      <a:lnTo>
                        <a:pt x="84" y="25"/>
                      </a:lnTo>
                      <a:lnTo>
                        <a:pt x="80" y="19"/>
                      </a:lnTo>
                      <a:lnTo>
                        <a:pt x="75" y="13"/>
                      </a:lnTo>
                      <a:lnTo>
                        <a:pt x="64" y="0"/>
                      </a:lnTo>
                      <a:lnTo>
                        <a:pt x="62" y="0"/>
                      </a:lnTo>
                      <a:lnTo>
                        <a:pt x="61" y="1"/>
                      </a:lnTo>
                      <a:lnTo>
                        <a:pt x="61" y="6"/>
                      </a:lnTo>
                      <a:lnTo>
                        <a:pt x="62" y="10"/>
                      </a:lnTo>
                      <a:lnTo>
                        <a:pt x="62" y="15"/>
                      </a:lnTo>
                      <a:lnTo>
                        <a:pt x="62" y="16"/>
                      </a:lnTo>
                      <a:lnTo>
                        <a:pt x="60" y="19"/>
                      </a:lnTo>
                      <a:lnTo>
                        <a:pt x="59" y="19"/>
                      </a:lnTo>
                      <a:lnTo>
                        <a:pt x="57" y="19"/>
                      </a:lnTo>
                      <a:lnTo>
                        <a:pt x="52" y="16"/>
                      </a:lnTo>
                      <a:lnTo>
                        <a:pt x="45"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3" name="Freeform 1123"/>
                <p:cNvSpPr>
                  <a:spLocks/>
                </p:cNvSpPr>
                <p:nvPr/>
              </p:nvSpPr>
              <p:spPr bwMode="auto">
                <a:xfrm>
                  <a:off x="7913879" y="2090744"/>
                  <a:ext cx="13318" cy="19238"/>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2147483647 h 13"/>
                    <a:gd name="T10" fmla="*/ 2147483647 w 9"/>
                    <a:gd name="T11" fmla="*/ 2147483647 h 13"/>
                    <a:gd name="T12" fmla="*/ 2147483647 w 9"/>
                    <a:gd name="T13" fmla="*/ 0 h 13"/>
                    <a:gd name="T14" fmla="*/ 2147483647 w 9"/>
                    <a:gd name="T15" fmla="*/ 0 h 13"/>
                    <a:gd name="T16" fmla="*/ 2147483647 w 9"/>
                    <a:gd name="T17" fmla="*/ 2147483647 h 13"/>
                    <a:gd name="T18" fmla="*/ 0 w 9"/>
                    <a:gd name="T19" fmla="*/ 2147483647 h 13"/>
                    <a:gd name="T20" fmla="*/ 0 w 9"/>
                    <a:gd name="T21" fmla="*/ 2147483647 h 13"/>
                    <a:gd name="T22" fmla="*/ 0 w 9"/>
                    <a:gd name="T23" fmla="*/ 2147483647 h 13"/>
                    <a:gd name="T24" fmla="*/ 0 w 9"/>
                    <a:gd name="T25" fmla="*/ 2147483647 h 13"/>
                    <a:gd name="T26" fmla="*/ 0 w 9"/>
                    <a:gd name="T27" fmla="*/ 2147483647 h 13"/>
                    <a:gd name="T28" fmla="*/ 0 w 9"/>
                    <a:gd name="T29" fmla="*/ 2147483647 h 13"/>
                    <a:gd name="T30" fmla="*/ 2147483647 w 9"/>
                    <a:gd name="T31" fmla="*/ 2147483647 h 13"/>
                    <a:gd name="T32" fmla="*/ 2147483647 w 9"/>
                    <a:gd name="T33" fmla="*/ 2147483647 h 13"/>
                    <a:gd name="T34" fmla="*/ 2147483647 w 9"/>
                    <a:gd name="T35" fmla="*/ 2147483647 h 13"/>
                    <a:gd name="T36" fmla="*/ 2147483647 w 9"/>
                    <a:gd name="T37" fmla="*/ 2147483647 h 13"/>
                    <a:gd name="T38" fmla="*/ 2147483647 w 9"/>
                    <a:gd name="T39" fmla="*/ 2147483647 h 13"/>
                    <a:gd name="T40" fmla="*/ 2147483647 w 9"/>
                    <a:gd name="T41" fmla="*/ 2147483647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3"/>
                    <a:gd name="T65" fmla="*/ 9 w 9"/>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3">
                      <a:moveTo>
                        <a:pt x="8" y="10"/>
                      </a:moveTo>
                      <a:lnTo>
                        <a:pt x="8" y="10"/>
                      </a:lnTo>
                      <a:lnTo>
                        <a:pt x="9" y="6"/>
                      </a:lnTo>
                      <a:lnTo>
                        <a:pt x="9" y="4"/>
                      </a:lnTo>
                      <a:lnTo>
                        <a:pt x="6" y="2"/>
                      </a:lnTo>
                      <a:lnTo>
                        <a:pt x="1" y="0"/>
                      </a:lnTo>
                      <a:lnTo>
                        <a:pt x="1" y="2"/>
                      </a:lnTo>
                      <a:lnTo>
                        <a:pt x="0" y="3"/>
                      </a:lnTo>
                      <a:lnTo>
                        <a:pt x="0" y="7"/>
                      </a:lnTo>
                      <a:lnTo>
                        <a:pt x="0" y="11"/>
                      </a:lnTo>
                      <a:lnTo>
                        <a:pt x="0" y="12"/>
                      </a:lnTo>
                      <a:lnTo>
                        <a:pt x="1" y="13"/>
                      </a:lnTo>
                      <a:lnTo>
                        <a:pt x="5" y="12"/>
                      </a:lnTo>
                      <a:lnTo>
                        <a:pt x="6" y="12"/>
                      </a:lnTo>
                      <a:lnTo>
                        <a:pt x="8"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4" name="Freeform 1124"/>
                <p:cNvSpPr>
                  <a:spLocks/>
                </p:cNvSpPr>
                <p:nvPr/>
              </p:nvSpPr>
              <p:spPr bwMode="auto">
                <a:xfrm>
                  <a:off x="7912397" y="2108500"/>
                  <a:ext cx="71034" cy="38477"/>
                </a:xfrm>
                <a:custGeom>
                  <a:avLst/>
                  <a:gdLst>
                    <a:gd name="T0" fmla="*/ 2147483647 w 52"/>
                    <a:gd name="T1" fmla="*/ 2147483647 h 26"/>
                    <a:gd name="T2" fmla="*/ 2147483647 w 52"/>
                    <a:gd name="T3" fmla="*/ 2147483647 h 26"/>
                    <a:gd name="T4" fmla="*/ 2147483647 w 52"/>
                    <a:gd name="T5" fmla="*/ 2147483647 h 26"/>
                    <a:gd name="T6" fmla="*/ 2147483647 w 52"/>
                    <a:gd name="T7" fmla="*/ 2147483647 h 26"/>
                    <a:gd name="T8" fmla="*/ 2147483647 w 52"/>
                    <a:gd name="T9" fmla="*/ 0 h 26"/>
                    <a:gd name="T10" fmla="*/ 2147483647 w 52"/>
                    <a:gd name="T11" fmla="*/ 0 h 26"/>
                    <a:gd name="T12" fmla="*/ 2147483647 w 52"/>
                    <a:gd name="T13" fmla="*/ 0 h 26"/>
                    <a:gd name="T14" fmla="*/ 2147483647 w 52"/>
                    <a:gd name="T15" fmla="*/ 2147483647 h 26"/>
                    <a:gd name="T16" fmla="*/ 2147483647 w 52"/>
                    <a:gd name="T17" fmla="*/ 2147483647 h 26"/>
                    <a:gd name="T18" fmla="*/ 2147483647 w 52"/>
                    <a:gd name="T19" fmla="*/ 2147483647 h 26"/>
                    <a:gd name="T20" fmla="*/ 2147483647 w 52"/>
                    <a:gd name="T21" fmla="*/ 2147483647 h 26"/>
                    <a:gd name="T22" fmla="*/ 2147483647 w 52"/>
                    <a:gd name="T23" fmla="*/ 2147483647 h 26"/>
                    <a:gd name="T24" fmla="*/ 2147483647 w 52"/>
                    <a:gd name="T25" fmla="*/ 2147483647 h 26"/>
                    <a:gd name="T26" fmla="*/ 2147483647 w 52"/>
                    <a:gd name="T27" fmla="*/ 2147483647 h 26"/>
                    <a:gd name="T28" fmla="*/ 2147483647 w 52"/>
                    <a:gd name="T29" fmla="*/ 2147483647 h 26"/>
                    <a:gd name="T30" fmla="*/ 2147483647 w 52"/>
                    <a:gd name="T31" fmla="*/ 2147483647 h 26"/>
                    <a:gd name="T32" fmla="*/ 0 w 52"/>
                    <a:gd name="T33" fmla="*/ 2147483647 h 26"/>
                    <a:gd name="T34" fmla="*/ 0 w 52"/>
                    <a:gd name="T35" fmla="*/ 2147483647 h 26"/>
                    <a:gd name="T36" fmla="*/ 2147483647 w 52"/>
                    <a:gd name="T37" fmla="*/ 2147483647 h 26"/>
                    <a:gd name="T38" fmla="*/ 2147483647 w 52"/>
                    <a:gd name="T39" fmla="*/ 2147483647 h 26"/>
                    <a:gd name="T40" fmla="*/ 2147483647 w 52"/>
                    <a:gd name="T41" fmla="*/ 2147483647 h 26"/>
                    <a:gd name="T42" fmla="*/ 2147483647 w 52"/>
                    <a:gd name="T43" fmla="*/ 2147483647 h 26"/>
                    <a:gd name="T44" fmla="*/ 2147483647 w 52"/>
                    <a:gd name="T45" fmla="*/ 2147483647 h 26"/>
                    <a:gd name="T46" fmla="*/ 2147483647 w 52"/>
                    <a:gd name="T47" fmla="*/ 2147483647 h 26"/>
                    <a:gd name="T48" fmla="*/ 2147483647 w 52"/>
                    <a:gd name="T49" fmla="*/ 2147483647 h 26"/>
                    <a:gd name="T50" fmla="*/ 2147483647 w 52"/>
                    <a:gd name="T51" fmla="*/ 2147483647 h 26"/>
                    <a:gd name="T52" fmla="*/ 2147483647 w 52"/>
                    <a:gd name="T53" fmla="*/ 2147483647 h 26"/>
                    <a:gd name="T54" fmla="*/ 2147483647 w 52"/>
                    <a:gd name="T55" fmla="*/ 2147483647 h 26"/>
                    <a:gd name="T56" fmla="*/ 2147483647 w 52"/>
                    <a:gd name="T57" fmla="*/ 2147483647 h 26"/>
                    <a:gd name="T58" fmla="*/ 2147483647 w 52"/>
                    <a:gd name="T59" fmla="*/ 2147483647 h 26"/>
                    <a:gd name="T60" fmla="*/ 2147483647 w 52"/>
                    <a:gd name="T61" fmla="*/ 2147483647 h 26"/>
                    <a:gd name="T62" fmla="*/ 2147483647 w 52"/>
                    <a:gd name="T63" fmla="*/ 2147483647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26"/>
                    <a:gd name="T98" fmla="*/ 52 w 52"/>
                    <a:gd name="T99" fmla="*/ 26 h 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26">
                      <a:moveTo>
                        <a:pt x="52" y="20"/>
                      </a:moveTo>
                      <a:lnTo>
                        <a:pt x="52" y="17"/>
                      </a:lnTo>
                      <a:lnTo>
                        <a:pt x="52" y="16"/>
                      </a:lnTo>
                      <a:lnTo>
                        <a:pt x="51" y="14"/>
                      </a:lnTo>
                      <a:lnTo>
                        <a:pt x="33" y="0"/>
                      </a:lnTo>
                      <a:lnTo>
                        <a:pt x="32" y="0"/>
                      </a:lnTo>
                      <a:lnTo>
                        <a:pt x="30" y="0"/>
                      </a:lnTo>
                      <a:lnTo>
                        <a:pt x="28" y="3"/>
                      </a:lnTo>
                      <a:lnTo>
                        <a:pt x="24" y="4"/>
                      </a:lnTo>
                      <a:lnTo>
                        <a:pt x="20" y="4"/>
                      </a:lnTo>
                      <a:lnTo>
                        <a:pt x="18" y="4"/>
                      </a:lnTo>
                      <a:lnTo>
                        <a:pt x="14" y="5"/>
                      </a:lnTo>
                      <a:lnTo>
                        <a:pt x="15" y="7"/>
                      </a:lnTo>
                      <a:lnTo>
                        <a:pt x="15" y="10"/>
                      </a:lnTo>
                      <a:lnTo>
                        <a:pt x="14" y="12"/>
                      </a:lnTo>
                      <a:lnTo>
                        <a:pt x="11" y="13"/>
                      </a:lnTo>
                      <a:lnTo>
                        <a:pt x="0" y="19"/>
                      </a:lnTo>
                      <a:lnTo>
                        <a:pt x="0" y="20"/>
                      </a:lnTo>
                      <a:lnTo>
                        <a:pt x="5" y="23"/>
                      </a:lnTo>
                      <a:lnTo>
                        <a:pt x="11" y="25"/>
                      </a:lnTo>
                      <a:lnTo>
                        <a:pt x="18" y="26"/>
                      </a:lnTo>
                      <a:lnTo>
                        <a:pt x="23" y="26"/>
                      </a:lnTo>
                      <a:lnTo>
                        <a:pt x="25" y="25"/>
                      </a:lnTo>
                      <a:lnTo>
                        <a:pt x="26" y="24"/>
                      </a:lnTo>
                      <a:lnTo>
                        <a:pt x="28" y="22"/>
                      </a:lnTo>
                      <a:lnTo>
                        <a:pt x="29" y="22"/>
                      </a:lnTo>
                      <a:lnTo>
                        <a:pt x="35" y="23"/>
                      </a:lnTo>
                      <a:lnTo>
                        <a:pt x="42" y="24"/>
                      </a:lnTo>
                      <a:lnTo>
                        <a:pt x="44" y="24"/>
                      </a:lnTo>
                      <a:lnTo>
                        <a:pt x="47" y="24"/>
                      </a:lnTo>
                      <a:lnTo>
                        <a:pt x="49" y="23"/>
                      </a:lnTo>
                      <a:lnTo>
                        <a:pt x="52" y="2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5" name="Freeform 1125"/>
                <p:cNvSpPr>
                  <a:spLocks/>
                </p:cNvSpPr>
                <p:nvPr/>
              </p:nvSpPr>
              <p:spPr bwMode="auto">
                <a:xfrm>
                  <a:off x="8575382" y="2278685"/>
                  <a:ext cx="20718" cy="17758"/>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0 h 12"/>
                    <a:gd name="T10" fmla="*/ 2147483647 w 15"/>
                    <a:gd name="T11" fmla="*/ 2147483647 h 12"/>
                    <a:gd name="T12" fmla="*/ 0 w 15"/>
                    <a:gd name="T13" fmla="*/ 2147483647 h 12"/>
                    <a:gd name="T14" fmla="*/ 0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15" y="7"/>
                      </a:moveTo>
                      <a:lnTo>
                        <a:pt x="15" y="5"/>
                      </a:lnTo>
                      <a:lnTo>
                        <a:pt x="14" y="4"/>
                      </a:lnTo>
                      <a:lnTo>
                        <a:pt x="10" y="1"/>
                      </a:lnTo>
                      <a:lnTo>
                        <a:pt x="5" y="0"/>
                      </a:lnTo>
                      <a:lnTo>
                        <a:pt x="1" y="1"/>
                      </a:lnTo>
                      <a:lnTo>
                        <a:pt x="0" y="3"/>
                      </a:lnTo>
                      <a:lnTo>
                        <a:pt x="0" y="4"/>
                      </a:lnTo>
                      <a:lnTo>
                        <a:pt x="4" y="9"/>
                      </a:lnTo>
                      <a:lnTo>
                        <a:pt x="9" y="11"/>
                      </a:lnTo>
                      <a:lnTo>
                        <a:pt x="11" y="12"/>
                      </a:lnTo>
                      <a:lnTo>
                        <a:pt x="14" y="11"/>
                      </a:lnTo>
                      <a:lnTo>
                        <a:pt x="15" y="10"/>
                      </a:lnTo>
                      <a:lnTo>
                        <a:pt x="1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6" name="Freeform 1126"/>
                <p:cNvSpPr>
                  <a:spLocks/>
                </p:cNvSpPr>
                <p:nvPr/>
              </p:nvSpPr>
              <p:spPr bwMode="auto">
                <a:xfrm>
                  <a:off x="7910917" y="2107022"/>
                  <a:ext cx="71034" cy="38477"/>
                </a:xfrm>
                <a:custGeom>
                  <a:avLst/>
                  <a:gdLst>
                    <a:gd name="T0" fmla="*/ 2147483647 w 52"/>
                    <a:gd name="T1" fmla="*/ 2147483647 h 26"/>
                    <a:gd name="T2" fmla="*/ 2147483647 w 52"/>
                    <a:gd name="T3" fmla="*/ 2147483647 h 26"/>
                    <a:gd name="T4" fmla="*/ 2147483647 w 52"/>
                    <a:gd name="T5" fmla="*/ 2147483647 h 26"/>
                    <a:gd name="T6" fmla="*/ 2147483647 w 52"/>
                    <a:gd name="T7" fmla="*/ 2147483647 h 26"/>
                    <a:gd name="T8" fmla="*/ 2147483647 w 52"/>
                    <a:gd name="T9" fmla="*/ 2147483647 h 26"/>
                    <a:gd name="T10" fmla="*/ 2147483647 w 52"/>
                    <a:gd name="T11" fmla="*/ 2147483647 h 26"/>
                    <a:gd name="T12" fmla="*/ 2147483647 w 52"/>
                    <a:gd name="T13" fmla="*/ 0 h 26"/>
                    <a:gd name="T14" fmla="*/ 2147483647 w 52"/>
                    <a:gd name="T15" fmla="*/ 0 h 26"/>
                    <a:gd name="T16" fmla="*/ 2147483647 w 52"/>
                    <a:gd name="T17" fmla="*/ 0 h 26"/>
                    <a:gd name="T18" fmla="*/ 2147483647 w 52"/>
                    <a:gd name="T19" fmla="*/ 0 h 26"/>
                    <a:gd name="T20" fmla="*/ 2147483647 w 52"/>
                    <a:gd name="T21" fmla="*/ 2147483647 h 26"/>
                    <a:gd name="T22" fmla="*/ 2147483647 w 52"/>
                    <a:gd name="T23" fmla="*/ 2147483647 h 26"/>
                    <a:gd name="T24" fmla="*/ 2147483647 w 52"/>
                    <a:gd name="T25" fmla="*/ 2147483647 h 26"/>
                    <a:gd name="T26" fmla="*/ 2147483647 w 52"/>
                    <a:gd name="T27" fmla="*/ 2147483647 h 26"/>
                    <a:gd name="T28" fmla="*/ 2147483647 w 52"/>
                    <a:gd name="T29" fmla="*/ 2147483647 h 26"/>
                    <a:gd name="T30" fmla="*/ 2147483647 w 52"/>
                    <a:gd name="T31" fmla="*/ 2147483647 h 26"/>
                    <a:gd name="T32" fmla="*/ 2147483647 w 52"/>
                    <a:gd name="T33" fmla="*/ 2147483647 h 26"/>
                    <a:gd name="T34" fmla="*/ 2147483647 w 52"/>
                    <a:gd name="T35" fmla="*/ 2147483647 h 26"/>
                    <a:gd name="T36" fmla="*/ 2147483647 w 52"/>
                    <a:gd name="T37" fmla="*/ 2147483647 h 26"/>
                    <a:gd name="T38" fmla="*/ 2147483647 w 52"/>
                    <a:gd name="T39" fmla="*/ 2147483647 h 26"/>
                    <a:gd name="T40" fmla="*/ 2147483647 w 52"/>
                    <a:gd name="T41" fmla="*/ 2147483647 h 26"/>
                    <a:gd name="T42" fmla="*/ 0 w 52"/>
                    <a:gd name="T43" fmla="*/ 2147483647 h 26"/>
                    <a:gd name="T44" fmla="*/ 0 w 52"/>
                    <a:gd name="T45" fmla="*/ 2147483647 h 26"/>
                    <a:gd name="T46" fmla="*/ 0 w 52"/>
                    <a:gd name="T47" fmla="*/ 2147483647 h 26"/>
                    <a:gd name="T48" fmla="*/ 0 w 52"/>
                    <a:gd name="T49" fmla="*/ 2147483647 h 26"/>
                    <a:gd name="T50" fmla="*/ 2147483647 w 52"/>
                    <a:gd name="T51" fmla="*/ 2147483647 h 26"/>
                    <a:gd name="T52" fmla="*/ 2147483647 w 52"/>
                    <a:gd name="T53" fmla="*/ 2147483647 h 26"/>
                    <a:gd name="T54" fmla="*/ 2147483647 w 52"/>
                    <a:gd name="T55" fmla="*/ 2147483647 h 26"/>
                    <a:gd name="T56" fmla="*/ 2147483647 w 52"/>
                    <a:gd name="T57" fmla="*/ 2147483647 h 26"/>
                    <a:gd name="T58" fmla="*/ 2147483647 w 52"/>
                    <a:gd name="T59" fmla="*/ 2147483647 h 26"/>
                    <a:gd name="T60" fmla="*/ 2147483647 w 52"/>
                    <a:gd name="T61" fmla="*/ 2147483647 h 26"/>
                    <a:gd name="T62" fmla="*/ 2147483647 w 52"/>
                    <a:gd name="T63" fmla="*/ 2147483647 h 26"/>
                    <a:gd name="T64" fmla="*/ 2147483647 w 52"/>
                    <a:gd name="T65" fmla="*/ 2147483647 h 26"/>
                    <a:gd name="T66" fmla="*/ 2147483647 w 52"/>
                    <a:gd name="T67" fmla="*/ 2147483647 h 26"/>
                    <a:gd name="T68" fmla="*/ 2147483647 w 52"/>
                    <a:gd name="T69" fmla="*/ 2147483647 h 26"/>
                    <a:gd name="T70" fmla="*/ 2147483647 w 52"/>
                    <a:gd name="T71" fmla="*/ 2147483647 h 26"/>
                    <a:gd name="T72" fmla="*/ 2147483647 w 52"/>
                    <a:gd name="T73" fmla="*/ 2147483647 h 26"/>
                    <a:gd name="T74" fmla="*/ 2147483647 w 52"/>
                    <a:gd name="T75" fmla="*/ 2147483647 h 26"/>
                    <a:gd name="T76" fmla="*/ 2147483647 w 52"/>
                    <a:gd name="T77" fmla="*/ 2147483647 h 26"/>
                    <a:gd name="T78" fmla="*/ 2147483647 w 52"/>
                    <a:gd name="T79" fmla="*/ 2147483647 h 26"/>
                    <a:gd name="T80" fmla="*/ 2147483647 w 52"/>
                    <a:gd name="T81" fmla="*/ 2147483647 h 26"/>
                    <a:gd name="T82" fmla="*/ 2147483647 w 52"/>
                    <a:gd name="T83" fmla="*/ 2147483647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2"/>
                    <a:gd name="T127" fmla="*/ 0 h 26"/>
                    <a:gd name="T128" fmla="*/ 52 w 52"/>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2" h="26">
                      <a:moveTo>
                        <a:pt x="52" y="20"/>
                      </a:moveTo>
                      <a:lnTo>
                        <a:pt x="52" y="20"/>
                      </a:lnTo>
                      <a:lnTo>
                        <a:pt x="52" y="17"/>
                      </a:lnTo>
                      <a:lnTo>
                        <a:pt x="52" y="15"/>
                      </a:lnTo>
                      <a:lnTo>
                        <a:pt x="50" y="14"/>
                      </a:lnTo>
                      <a:lnTo>
                        <a:pt x="33" y="0"/>
                      </a:lnTo>
                      <a:lnTo>
                        <a:pt x="31" y="0"/>
                      </a:lnTo>
                      <a:lnTo>
                        <a:pt x="30" y="0"/>
                      </a:lnTo>
                      <a:lnTo>
                        <a:pt x="27" y="2"/>
                      </a:lnTo>
                      <a:lnTo>
                        <a:pt x="24" y="4"/>
                      </a:lnTo>
                      <a:lnTo>
                        <a:pt x="20" y="4"/>
                      </a:lnTo>
                      <a:lnTo>
                        <a:pt x="17" y="4"/>
                      </a:lnTo>
                      <a:lnTo>
                        <a:pt x="13" y="5"/>
                      </a:lnTo>
                      <a:lnTo>
                        <a:pt x="15" y="7"/>
                      </a:lnTo>
                      <a:lnTo>
                        <a:pt x="15" y="10"/>
                      </a:lnTo>
                      <a:lnTo>
                        <a:pt x="13" y="12"/>
                      </a:lnTo>
                      <a:lnTo>
                        <a:pt x="11" y="13"/>
                      </a:lnTo>
                      <a:lnTo>
                        <a:pt x="0" y="19"/>
                      </a:lnTo>
                      <a:lnTo>
                        <a:pt x="0" y="20"/>
                      </a:lnTo>
                      <a:lnTo>
                        <a:pt x="5" y="23"/>
                      </a:lnTo>
                      <a:lnTo>
                        <a:pt x="11" y="25"/>
                      </a:lnTo>
                      <a:lnTo>
                        <a:pt x="17" y="26"/>
                      </a:lnTo>
                      <a:lnTo>
                        <a:pt x="22" y="26"/>
                      </a:lnTo>
                      <a:lnTo>
                        <a:pt x="25" y="25"/>
                      </a:lnTo>
                      <a:lnTo>
                        <a:pt x="26" y="24"/>
                      </a:lnTo>
                      <a:lnTo>
                        <a:pt x="27" y="21"/>
                      </a:lnTo>
                      <a:lnTo>
                        <a:pt x="29" y="21"/>
                      </a:lnTo>
                      <a:lnTo>
                        <a:pt x="35" y="23"/>
                      </a:lnTo>
                      <a:lnTo>
                        <a:pt x="41" y="24"/>
                      </a:lnTo>
                      <a:lnTo>
                        <a:pt x="44" y="24"/>
                      </a:lnTo>
                      <a:lnTo>
                        <a:pt x="46" y="24"/>
                      </a:lnTo>
                      <a:lnTo>
                        <a:pt x="49" y="23"/>
                      </a:lnTo>
                      <a:lnTo>
                        <a:pt x="52" y="2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7" name="Freeform 1127"/>
                <p:cNvSpPr>
                  <a:spLocks/>
                </p:cNvSpPr>
                <p:nvPr/>
              </p:nvSpPr>
              <p:spPr bwMode="auto">
                <a:xfrm>
                  <a:off x="8573902" y="2277204"/>
                  <a:ext cx="20718" cy="17758"/>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0 h 12"/>
                    <a:gd name="T14" fmla="*/ 2147483647 w 15"/>
                    <a:gd name="T15" fmla="*/ 2147483647 h 12"/>
                    <a:gd name="T16" fmla="*/ 2147483647 w 15"/>
                    <a:gd name="T17" fmla="*/ 2147483647 h 12"/>
                    <a:gd name="T18" fmla="*/ 0 w 15"/>
                    <a:gd name="T19" fmla="*/ 2147483647 h 12"/>
                    <a:gd name="T20" fmla="*/ 0 w 15"/>
                    <a:gd name="T21" fmla="*/ 2147483647 h 12"/>
                    <a:gd name="T22" fmla="*/ 0 w 15"/>
                    <a:gd name="T23" fmla="*/ 2147483647 h 12"/>
                    <a:gd name="T24" fmla="*/ 2147483647 w 15"/>
                    <a:gd name="T25" fmla="*/ 2147483647 h 12"/>
                    <a:gd name="T26" fmla="*/ 2147483647 w 15"/>
                    <a:gd name="T27" fmla="*/ 2147483647 h 12"/>
                    <a:gd name="T28" fmla="*/ 2147483647 w 15"/>
                    <a:gd name="T29" fmla="*/ 2147483647 h 12"/>
                    <a:gd name="T30" fmla="*/ 2147483647 w 15"/>
                    <a:gd name="T31" fmla="*/ 2147483647 h 12"/>
                    <a:gd name="T32" fmla="*/ 2147483647 w 15"/>
                    <a:gd name="T33" fmla="*/ 2147483647 h 12"/>
                    <a:gd name="T34" fmla="*/ 2147483647 w 15"/>
                    <a:gd name="T35" fmla="*/ 2147483647 h 12"/>
                    <a:gd name="T36" fmla="*/ 2147483647 w 15"/>
                    <a:gd name="T37" fmla="*/ 2147483647 h 12"/>
                    <a:gd name="T38" fmla="*/ 2147483647 w 15"/>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2"/>
                    <a:gd name="T62" fmla="*/ 15 w 15"/>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2">
                      <a:moveTo>
                        <a:pt x="15" y="7"/>
                      </a:moveTo>
                      <a:lnTo>
                        <a:pt x="15" y="7"/>
                      </a:lnTo>
                      <a:lnTo>
                        <a:pt x="15" y="5"/>
                      </a:lnTo>
                      <a:lnTo>
                        <a:pt x="14" y="4"/>
                      </a:lnTo>
                      <a:lnTo>
                        <a:pt x="10" y="1"/>
                      </a:lnTo>
                      <a:lnTo>
                        <a:pt x="5" y="0"/>
                      </a:lnTo>
                      <a:lnTo>
                        <a:pt x="1" y="1"/>
                      </a:lnTo>
                      <a:lnTo>
                        <a:pt x="0" y="2"/>
                      </a:lnTo>
                      <a:lnTo>
                        <a:pt x="0" y="4"/>
                      </a:lnTo>
                      <a:lnTo>
                        <a:pt x="3" y="8"/>
                      </a:lnTo>
                      <a:lnTo>
                        <a:pt x="8" y="11"/>
                      </a:lnTo>
                      <a:lnTo>
                        <a:pt x="11" y="12"/>
                      </a:lnTo>
                      <a:lnTo>
                        <a:pt x="14" y="11"/>
                      </a:lnTo>
                      <a:lnTo>
                        <a:pt x="15" y="10"/>
                      </a:lnTo>
                      <a:lnTo>
                        <a:pt x="15"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8" name="Freeform 1128"/>
                <p:cNvSpPr>
                  <a:spLocks/>
                </p:cNvSpPr>
                <p:nvPr/>
              </p:nvSpPr>
              <p:spPr bwMode="auto">
                <a:xfrm>
                  <a:off x="8831400" y="2216532"/>
                  <a:ext cx="79913" cy="32557"/>
                </a:xfrm>
                <a:custGeom>
                  <a:avLst/>
                  <a:gdLst>
                    <a:gd name="T0" fmla="*/ 2147483647 w 59"/>
                    <a:gd name="T1" fmla="*/ 2147483647 h 22"/>
                    <a:gd name="T2" fmla="*/ 2147483647 w 59"/>
                    <a:gd name="T3" fmla="*/ 2147483647 h 22"/>
                    <a:gd name="T4" fmla="*/ 2147483647 w 59"/>
                    <a:gd name="T5" fmla="*/ 2147483647 h 22"/>
                    <a:gd name="T6" fmla="*/ 2147483647 w 59"/>
                    <a:gd name="T7" fmla="*/ 0 h 22"/>
                    <a:gd name="T8" fmla="*/ 2147483647 w 59"/>
                    <a:gd name="T9" fmla="*/ 0 h 22"/>
                    <a:gd name="T10" fmla="*/ 2147483647 w 59"/>
                    <a:gd name="T11" fmla="*/ 2147483647 h 22"/>
                    <a:gd name="T12" fmla="*/ 2147483647 w 59"/>
                    <a:gd name="T13" fmla="*/ 2147483647 h 22"/>
                    <a:gd name="T14" fmla="*/ 2147483647 w 59"/>
                    <a:gd name="T15" fmla="*/ 2147483647 h 22"/>
                    <a:gd name="T16" fmla="*/ 2147483647 w 59"/>
                    <a:gd name="T17" fmla="*/ 2147483647 h 22"/>
                    <a:gd name="T18" fmla="*/ 0 w 59"/>
                    <a:gd name="T19" fmla="*/ 2147483647 h 22"/>
                    <a:gd name="T20" fmla="*/ 0 w 59"/>
                    <a:gd name="T21" fmla="*/ 2147483647 h 22"/>
                    <a:gd name="T22" fmla="*/ 2147483647 w 59"/>
                    <a:gd name="T23" fmla="*/ 2147483647 h 22"/>
                    <a:gd name="T24" fmla="*/ 2147483647 w 59"/>
                    <a:gd name="T25" fmla="*/ 2147483647 h 22"/>
                    <a:gd name="T26" fmla="*/ 2147483647 w 59"/>
                    <a:gd name="T27" fmla="*/ 2147483647 h 22"/>
                    <a:gd name="T28" fmla="*/ 2147483647 w 59"/>
                    <a:gd name="T29" fmla="*/ 2147483647 h 22"/>
                    <a:gd name="T30" fmla="*/ 2147483647 w 59"/>
                    <a:gd name="T31" fmla="*/ 2147483647 h 22"/>
                    <a:gd name="T32" fmla="*/ 2147483647 w 59"/>
                    <a:gd name="T33" fmla="*/ 2147483647 h 22"/>
                    <a:gd name="T34" fmla="*/ 2147483647 w 59"/>
                    <a:gd name="T35" fmla="*/ 2147483647 h 22"/>
                    <a:gd name="T36" fmla="*/ 2147483647 w 59"/>
                    <a:gd name="T37" fmla="*/ 2147483647 h 22"/>
                    <a:gd name="T38" fmla="*/ 2147483647 w 59"/>
                    <a:gd name="T39" fmla="*/ 2147483647 h 22"/>
                    <a:gd name="T40" fmla="*/ 2147483647 w 59"/>
                    <a:gd name="T41" fmla="*/ 2147483647 h 22"/>
                    <a:gd name="T42" fmla="*/ 2147483647 w 59"/>
                    <a:gd name="T43" fmla="*/ 2147483647 h 22"/>
                    <a:gd name="T44" fmla="*/ 2147483647 w 59"/>
                    <a:gd name="T45" fmla="*/ 2147483647 h 22"/>
                    <a:gd name="T46" fmla="*/ 2147483647 w 59"/>
                    <a:gd name="T47" fmla="*/ 2147483647 h 22"/>
                    <a:gd name="T48" fmla="*/ 2147483647 w 59"/>
                    <a:gd name="T49" fmla="*/ 2147483647 h 22"/>
                    <a:gd name="T50" fmla="*/ 2147483647 w 59"/>
                    <a:gd name="T51" fmla="*/ 2147483647 h 22"/>
                    <a:gd name="T52" fmla="*/ 2147483647 w 59"/>
                    <a:gd name="T53" fmla="*/ 2147483647 h 22"/>
                    <a:gd name="T54" fmla="*/ 2147483647 w 59"/>
                    <a:gd name="T55" fmla="*/ 2147483647 h 2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9"/>
                    <a:gd name="T85" fmla="*/ 0 h 22"/>
                    <a:gd name="T86" fmla="*/ 59 w 59"/>
                    <a:gd name="T87" fmla="*/ 22 h 2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9" h="22">
                      <a:moveTo>
                        <a:pt x="53" y="3"/>
                      </a:moveTo>
                      <a:lnTo>
                        <a:pt x="41" y="3"/>
                      </a:lnTo>
                      <a:lnTo>
                        <a:pt x="33" y="2"/>
                      </a:lnTo>
                      <a:lnTo>
                        <a:pt x="26" y="0"/>
                      </a:lnTo>
                      <a:lnTo>
                        <a:pt x="20" y="0"/>
                      </a:lnTo>
                      <a:lnTo>
                        <a:pt x="15" y="1"/>
                      </a:lnTo>
                      <a:lnTo>
                        <a:pt x="10" y="4"/>
                      </a:lnTo>
                      <a:lnTo>
                        <a:pt x="5" y="8"/>
                      </a:lnTo>
                      <a:lnTo>
                        <a:pt x="1" y="13"/>
                      </a:lnTo>
                      <a:lnTo>
                        <a:pt x="0" y="16"/>
                      </a:lnTo>
                      <a:lnTo>
                        <a:pt x="0" y="20"/>
                      </a:lnTo>
                      <a:lnTo>
                        <a:pt x="1" y="21"/>
                      </a:lnTo>
                      <a:lnTo>
                        <a:pt x="2" y="22"/>
                      </a:lnTo>
                      <a:lnTo>
                        <a:pt x="6" y="22"/>
                      </a:lnTo>
                      <a:lnTo>
                        <a:pt x="11" y="20"/>
                      </a:lnTo>
                      <a:lnTo>
                        <a:pt x="17" y="20"/>
                      </a:lnTo>
                      <a:lnTo>
                        <a:pt x="29" y="21"/>
                      </a:lnTo>
                      <a:lnTo>
                        <a:pt x="39" y="21"/>
                      </a:lnTo>
                      <a:lnTo>
                        <a:pt x="49" y="22"/>
                      </a:lnTo>
                      <a:lnTo>
                        <a:pt x="53" y="22"/>
                      </a:lnTo>
                      <a:lnTo>
                        <a:pt x="55" y="21"/>
                      </a:lnTo>
                      <a:lnTo>
                        <a:pt x="57" y="20"/>
                      </a:lnTo>
                      <a:lnTo>
                        <a:pt x="58" y="17"/>
                      </a:lnTo>
                      <a:lnTo>
                        <a:pt x="59" y="11"/>
                      </a:lnTo>
                      <a:lnTo>
                        <a:pt x="58" y="5"/>
                      </a:lnTo>
                      <a:lnTo>
                        <a:pt x="58" y="4"/>
                      </a:lnTo>
                      <a:lnTo>
                        <a:pt x="57" y="4"/>
                      </a:lnTo>
                      <a:lnTo>
                        <a:pt x="5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29" name="Freeform 1129"/>
                <p:cNvSpPr>
                  <a:spLocks/>
                </p:cNvSpPr>
                <p:nvPr/>
              </p:nvSpPr>
              <p:spPr bwMode="auto">
                <a:xfrm>
                  <a:off x="6478400" y="1729652"/>
                  <a:ext cx="26637" cy="17758"/>
                </a:xfrm>
                <a:custGeom>
                  <a:avLst/>
                  <a:gdLst>
                    <a:gd name="T0" fmla="*/ 2147483647 w 19"/>
                    <a:gd name="T1" fmla="*/ 2147483647 h 12"/>
                    <a:gd name="T2" fmla="*/ 2147483647 w 19"/>
                    <a:gd name="T3" fmla="*/ 2147483647 h 12"/>
                    <a:gd name="T4" fmla="*/ 2147483647 w 19"/>
                    <a:gd name="T5" fmla="*/ 2147483647 h 12"/>
                    <a:gd name="T6" fmla="*/ 2147483647 w 19"/>
                    <a:gd name="T7" fmla="*/ 2147483647 h 12"/>
                    <a:gd name="T8" fmla="*/ 2147483647 w 19"/>
                    <a:gd name="T9" fmla="*/ 0 h 12"/>
                    <a:gd name="T10" fmla="*/ 2147483647 w 19"/>
                    <a:gd name="T11" fmla="*/ 0 h 12"/>
                    <a:gd name="T12" fmla="*/ 2147483647 w 19"/>
                    <a:gd name="T13" fmla="*/ 0 h 12"/>
                    <a:gd name="T14" fmla="*/ 2147483647 w 19"/>
                    <a:gd name="T15" fmla="*/ 2147483647 h 12"/>
                    <a:gd name="T16" fmla="*/ 2147483647 w 19"/>
                    <a:gd name="T17" fmla="*/ 2147483647 h 12"/>
                    <a:gd name="T18" fmla="*/ 2147483647 w 19"/>
                    <a:gd name="T19" fmla="*/ 2147483647 h 12"/>
                    <a:gd name="T20" fmla="*/ 2147483647 w 19"/>
                    <a:gd name="T21" fmla="*/ 2147483647 h 12"/>
                    <a:gd name="T22" fmla="*/ 2147483647 w 19"/>
                    <a:gd name="T23" fmla="*/ 2147483647 h 12"/>
                    <a:gd name="T24" fmla="*/ 2147483647 w 19"/>
                    <a:gd name="T25" fmla="*/ 2147483647 h 12"/>
                    <a:gd name="T26" fmla="*/ 0 w 19"/>
                    <a:gd name="T27" fmla="*/ 2147483647 h 12"/>
                    <a:gd name="T28" fmla="*/ 2147483647 w 19"/>
                    <a:gd name="T29" fmla="*/ 2147483647 h 12"/>
                    <a:gd name="T30" fmla="*/ 2147483647 w 19"/>
                    <a:gd name="T31" fmla="*/ 2147483647 h 12"/>
                    <a:gd name="T32" fmla="*/ 2147483647 w 19"/>
                    <a:gd name="T33" fmla="*/ 2147483647 h 12"/>
                    <a:gd name="T34" fmla="*/ 2147483647 w 19"/>
                    <a:gd name="T35" fmla="*/ 2147483647 h 12"/>
                    <a:gd name="T36" fmla="*/ 2147483647 w 19"/>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12"/>
                    <a:gd name="T59" fmla="*/ 19 w 19"/>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12">
                      <a:moveTo>
                        <a:pt x="15" y="7"/>
                      </a:moveTo>
                      <a:lnTo>
                        <a:pt x="16" y="6"/>
                      </a:lnTo>
                      <a:lnTo>
                        <a:pt x="19" y="4"/>
                      </a:lnTo>
                      <a:lnTo>
                        <a:pt x="19" y="3"/>
                      </a:lnTo>
                      <a:lnTo>
                        <a:pt x="19" y="0"/>
                      </a:lnTo>
                      <a:lnTo>
                        <a:pt x="17" y="0"/>
                      </a:lnTo>
                      <a:lnTo>
                        <a:pt x="15" y="0"/>
                      </a:lnTo>
                      <a:lnTo>
                        <a:pt x="11" y="3"/>
                      </a:lnTo>
                      <a:lnTo>
                        <a:pt x="9" y="4"/>
                      </a:lnTo>
                      <a:lnTo>
                        <a:pt x="6" y="3"/>
                      </a:lnTo>
                      <a:lnTo>
                        <a:pt x="5" y="1"/>
                      </a:lnTo>
                      <a:lnTo>
                        <a:pt x="2" y="1"/>
                      </a:lnTo>
                      <a:lnTo>
                        <a:pt x="1" y="4"/>
                      </a:lnTo>
                      <a:lnTo>
                        <a:pt x="0" y="7"/>
                      </a:lnTo>
                      <a:lnTo>
                        <a:pt x="1" y="10"/>
                      </a:lnTo>
                      <a:lnTo>
                        <a:pt x="3" y="12"/>
                      </a:lnTo>
                      <a:lnTo>
                        <a:pt x="6" y="12"/>
                      </a:lnTo>
                      <a:lnTo>
                        <a:pt x="9" y="11"/>
                      </a:lnTo>
                      <a:lnTo>
                        <a:pt x="1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0" name="Freeform 1130"/>
                <p:cNvSpPr>
                  <a:spLocks/>
                </p:cNvSpPr>
                <p:nvPr/>
              </p:nvSpPr>
              <p:spPr bwMode="auto">
                <a:xfrm>
                  <a:off x="8828437" y="2213573"/>
                  <a:ext cx="81392" cy="34038"/>
                </a:xfrm>
                <a:custGeom>
                  <a:avLst/>
                  <a:gdLst>
                    <a:gd name="T0" fmla="*/ 2147483647 w 60"/>
                    <a:gd name="T1" fmla="*/ 2147483647 h 23"/>
                    <a:gd name="T2" fmla="*/ 2147483647 w 60"/>
                    <a:gd name="T3" fmla="*/ 2147483647 h 23"/>
                    <a:gd name="T4" fmla="*/ 2147483647 w 60"/>
                    <a:gd name="T5" fmla="*/ 2147483647 h 23"/>
                    <a:gd name="T6" fmla="*/ 2147483647 w 60"/>
                    <a:gd name="T7" fmla="*/ 2147483647 h 23"/>
                    <a:gd name="T8" fmla="*/ 2147483647 w 60"/>
                    <a:gd name="T9" fmla="*/ 0 h 23"/>
                    <a:gd name="T10" fmla="*/ 2147483647 w 60"/>
                    <a:gd name="T11" fmla="*/ 0 h 23"/>
                    <a:gd name="T12" fmla="*/ 2147483647 w 60"/>
                    <a:gd name="T13" fmla="*/ 0 h 23"/>
                    <a:gd name="T14" fmla="*/ 2147483647 w 60"/>
                    <a:gd name="T15" fmla="*/ 2147483647 h 23"/>
                    <a:gd name="T16" fmla="*/ 2147483647 w 60"/>
                    <a:gd name="T17" fmla="*/ 2147483647 h 23"/>
                    <a:gd name="T18" fmla="*/ 2147483647 w 60"/>
                    <a:gd name="T19" fmla="*/ 2147483647 h 23"/>
                    <a:gd name="T20" fmla="*/ 2147483647 w 60"/>
                    <a:gd name="T21" fmla="*/ 2147483647 h 23"/>
                    <a:gd name="T22" fmla="*/ 2147483647 w 60"/>
                    <a:gd name="T23" fmla="*/ 2147483647 h 23"/>
                    <a:gd name="T24" fmla="*/ 0 w 60"/>
                    <a:gd name="T25" fmla="*/ 2147483647 h 23"/>
                    <a:gd name="T26" fmla="*/ 0 w 60"/>
                    <a:gd name="T27" fmla="*/ 2147483647 h 23"/>
                    <a:gd name="T28" fmla="*/ 0 w 60"/>
                    <a:gd name="T29" fmla="*/ 2147483647 h 23"/>
                    <a:gd name="T30" fmla="*/ 2147483647 w 60"/>
                    <a:gd name="T31" fmla="*/ 2147483647 h 23"/>
                    <a:gd name="T32" fmla="*/ 2147483647 w 60"/>
                    <a:gd name="T33" fmla="*/ 2147483647 h 23"/>
                    <a:gd name="T34" fmla="*/ 2147483647 w 60"/>
                    <a:gd name="T35" fmla="*/ 2147483647 h 23"/>
                    <a:gd name="T36" fmla="*/ 2147483647 w 60"/>
                    <a:gd name="T37" fmla="*/ 2147483647 h 23"/>
                    <a:gd name="T38" fmla="*/ 2147483647 w 60"/>
                    <a:gd name="T39" fmla="*/ 2147483647 h 23"/>
                    <a:gd name="T40" fmla="*/ 2147483647 w 60"/>
                    <a:gd name="T41" fmla="*/ 2147483647 h 23"/>
                    <a:gd name="T42" fmla="*/ 2147483647 w 60"/>
                    <a:gd name="T43" fmla="*/ 2147483647 h 23"/>
                    <a:gd name="T44" fmla="*/ 2147483647 w 60"/>
                    <a:gd name="T45" fmla="*/ 2147483647 h 23"/>
                    <a:gd name="T46" fmla="*/ 2147483647 w 60"/>
                    <a:gd name="T47" fmla="*/ 2147483647 h 23"/>
                    <a:gd name="T48" fmla="*/ 2147483647 w 60"/>
                    <a:gd name="T49" fmla="*/ 2147483647 h 23"/>
                    <a:gd name="T50" fmla="*/ 2147483647 w 60"/>
                    <a:gd name="T51" fmla="*/ 2147483647 h 23"/>
                    <a:gd name="T52" fmla="*/ 2147483647 w 60"/>
                    <a:gd name="T53" fmla="*/ 2147483647 h 23"/>
                    <a:gd name="T54" fmla="*/ 2147483647 w 60"/>
                    <a:gd name="T55" fmla="*/ 2147483647 h 23"/>
                    <a:gd name="T56" fmla="*/ 2147483647 w 60"/>
                    <a:gd name="T57" fmla="*/ 2147483647 h 23"/>
                    <a:gd name="T58" fmla="*/ 2147483647 w 60"/>
                    <a:gd name="T59" fmla="*/ 2147483647 h 23"/>
                    <a:gd name="T60" fmla="*/ 2147483647 w 60"/>
                    <a:gd name="T61" fmla="*/ 2147483647 h 23"/>
                    <a:gd name="T62" fmla="*/ 2147483647 w 60"/>
                    <a:gd name="T63" fmla="*/ 2147483647 h 23"/>
                    <a:gd name="T64" fmla="*/ 2147483647 w 60"/>
                    <a:gd name="T65" fmla="*/ 2147483647 h 23"/>
                    <a:gd name="T66" fmla="*/ 2147483647 w 60"/>
                    <a:gd name="T67" fmla="*/ 2147483647 h 23"/>
                    <a:gd name="T68" fmla="*/ 2147483647 w 60"/>
                    <a:gd name="T69" fmla="*/ 2147483647 h 23"/>
                    <a:gd name="T70" fmla="*/ 2147483647 w 60"/>
                    <a:gd name="T71" fmla="*/ 2147483647 h 23"/>
                    <a:gd name="T72" fmla="*/ 2147483647 w 60"/>
                    <a:gd name="T73" fmla="*/ 2147483647 h 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23"/>
                    <a:gd name="T113" fmla="*/ 60 w 60"/>
                    <a:gd name="T114" fmla="*/ 23 h 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23">
                      <a:moveTo>
                        <a:pt x="54" y="4"/>
                      </a:moveTo>
                      <a:lnTo>
                        <a:pt x="54" y="4"/>
                      </a:lnTo>
                      <a:lnTo>
                        <a:pt x="42" y="4"/>
                      </a:lnTo>
                      <a:lnTo>
                        <a:pt x="33" y="3"/>
                      </a:lnTo>
                      <a:lnTo>
                        <a:pt x="27" y="0"/>
                      </a:lnTo>
                      <a:lnTo>
                        <a:pt x="21" y="0"/>
                      </a:lnTo>
                      <a:lnTo>
                        <a:pt x="15" y="2"/>
                      </a:lnTo>
                      <a:lnTo>
                        <a:pt x="10" y="5"/>
                      </a:lnTo>
                      <a:lnTo>
                        <a:pt x="5" y="9"/>
                      </a:lnTo>
                      <a:lnTo>
                        <a:pt x="2" y="13"/>
                      </a:lnTo>
                      <a:lnTo>
                        <a:pt x="0" y="17"/>
                      </a:lnTo>
                      <a:lnTo>
                        <a:pt x="0" y="21"/>
                      </a:lnTo>
                      <a:lnTo>
                        <a:pt x="2" y="22"/>
                      </a:lnTo>
                      <a:lnTo>
                        <a:pt x="3" y="23"/>
                      </a:lnTo>
                      <a:lnTo>
                        <a:pt x="7" y="23"/>
                      </a:lnTo>
                      <a:lnTo>
                        <a:pt x="12" y="21"/>
                      </a:lnTo>
                      <a:lnTo>
                        <a:pt x="18" y="21"/>
                      </a:lnTo>
                      <a:lnTo>
                        <a:pt x="29" y="22"/>
                      </a:lnTo>
                      <a:lnTo>
                        <a:pt x="40" y="22"/>
                      </a:lnTo>
                      <a:lnTo>
                        <a:pt x="50" y="23"/>
                      </a:lnTo>
                      <a:lnTo>
                        <a:pt x="54" y="23"/>
                      </a:lnTo>
                      <a:lnTo>
                        <a:pt x="56" y="22"/>
                      </a:lnTo>
                      <a:lnTo>
                        <a:pt x="57" y="21"/>
                      </a:lnTo>
                      <a:lnTo>
                        <a:pt x="59" y="18"/>
                      </a:lnTo>
                      <a:lnTo>
                        <a:pt x="60" y="12"/>
                      </a:lnTo>
                      <a:lnTo>
                        <a:pt x="59" y="6"/>
                      </a:lnTo>
                      <a:lnTo>
                        <a:pt x="59" y="5"/>
                      </a:lnTo>
                      <a:lnTo>
                        <a:pt x="57" y="5"/>
                      </a:lnTo>
                      <a:lnTo>
                        <a:pt x="5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1" name="Freeform 1131"/>
                <p:cNvSpPr>
                  <a:spLocks/>
                </p:cNvSpPr>
                <p:nvPr/>
              </p:nvSpPr>
              <p:spPr bwMode="auto">
                <a:xfrm>
                  <a:off x="6475441" y="1728172"/>
                  <a:ext cx="26637" cy="17758"/>
                </a:xfrm>
                <a:custGeom>
                  <a:avLst/>
                  <a:gdLst>
                    <a:gd name="T0" fmla="*/ 2147483647 w 19"/>
                    <a:gd name="T1" fmla="*/ 2147483647 h 12"/>
                    <a:gd name="T2" fmla="*/ 2147483647 w 19"/>
                    <a:gd name="T3" fmla="*/ 2147483647 h 12"/>
                    <a:gd name="T4" fmla="*/ 2147483647 w 19"/>
                    <a:gd name="T5" fmla="*/ 2147483647 h 12"/>
                    <a:gd name="T6" fmla="*/ 2147483647 w 19"/>
                    <a:gd name="T7" fmla="*/ 2147483647 h 12"/>
                    <a:gd name="T8" fmla="*/ 2147483647 w 19"/>
                    <a:gd name="T9" fmla="*/ 2147483647 h 12"/>
                    <a:gd name="T10" fmla="*/ 2147483647 w 19"/>
                    <a:gd name="T11" fmla="*/ 0 h 12"/>
                    <a:gd name="T12" fmla="*/ 2147483647 w 19"/>
                    <a:gd name="T13" fmla="*/ 0 h 12"/>
                    <a:gd name="T14" fmla="*/ 2147483647 w 19"/>
                    <a:gd name="T15" fmla="*/ 0 h 12"/>
                    <a:gd name="T16" fmla="*/ 2147483647 w 19"/>
                    <a:gd name="T17" fmla="*/ 0 h 12"/>
                    <a:gd name="T18" fmla="*/ 2147483647 w 19"/>
                    <a:gd name="T19" fmla="*/ 2147483647 h 12"/>
                    <a:gd name="T20" fmla="*/ 2147483647 w 19"/>
                    <a:gd name="T21" fmla="*/ 2147483647 h 12"/>
                    <a:gd name="T22" fmla="*/ 2147483647 w 19"/>
                    <a:gd name="T23" fmla="*/ 2147483647 h 12"/>
                    <a:gd name="T24" fmla="*/ 2147483647 w 19"/>
                    <a:gd name="T25" fmla="*/ 2147483647 h 12"/>
                    <a:gd name="T26" fmla="*/ 2147483647 w 19"/>
                    <a:gd name="T27" fmla="*/ 2147483647 h 12"/>
                    <a:gd name="T28" fmla="*/ 2147483647 w 19"/>
                    <a:gd name="T29" fmla="*/ 2147483647 h 12"/>
                    <a:gd name="T30" fmla="*/ 2147483647 w 19"/>
                    <a:gd name="T31" fmla="*/ 2147483647 h 12"/>
                    <a:gd name="T32" fmla="*/ 2147483647 w 19"/>
                    <a:gd name="T33" fmla="*/ 2147483647 h 12"/>
                    <a:gd name="T34" fmla="*/ 0 w 19"/>
                    <a:gd name="T35" fmla="*/ 2147483647 h 12"/>
                    <a:gd name="T36" fmla="*/ 2147483647 w 19"/>
                    <a:gd name="T37" fmla="*/ 2147483647 h 12"/>
                    <a:gd name="T38" fmla="*/ 2147483647 w 19"/>
                    <a:gd name="T39" fmla="*/ 2147483647 h 12"/>
                    <a:gd name="T40" fmla="*/ 2147483647 w 19"/>
                    <a:gd name="T41" fmla="*/ 2147483647 h 12"/>
                    <a:gd name="T42" fmla="*/ 2147483647 w 19"/>
                    <a:gd name="T43" fmla="*/ 2147483647 h 12"/>
                    <a:gd name="T44" fmla="*/ 2147483647 w 19"/>
                    <a:gd name="T45" fmla="*/ 2147483647 h 12"/>
                    <a:gd name="T46" fmla="*/ 2147483647 w 19"/>
                    <a:gd name="T47" fmla="*/ 2147483647 h 12"/>
                    <a:gd name="T48" fmla="*/ 2147483647 w 19"/>
                    <a:gd name="T49" fmla="*/ 2147483647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
                    <a:gd name="T76" fmla="*/ 0 h 12"/>
                    <a:gd name="T77" fmla="*/ 19 w 19"/>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 h="12">
                      <a:moveTo>
                        <a:pt x="16" y="7"/>
                      </a:moveTo>
                      <a:lnTo>
                        <a:pt x="16" y="7"/>
                      </a:lnTo>
                      <a:lnTo>
                        <a:pt x="17" y="6"/>
                      </a:lnTo>
                      <a:lnTo>
                        <a:pt x="19" y="4"/>
                      </a:lnTo>
                      <a:lnTo>
                        <a:pt x="19" y="2"/>
                      </a:lnTo>
                      <a:lnTo>
                        <a:pt x="19" y="0"/>
                      </a:lnTo>
                      <a:lnTo>
                        <a:pt x="18" y="0"/>
                      </a:lnTo>
                      <a:lnTo>
                        <a:pt x="16" y="0"/>
                      </a:lnTo>
                      <a:lnTo>
                        <a:pt x="12" y="2"/>
                      </a:lnTo>
                      <a:lnTo>
                        <a:pt x="9" y="4"/>
                      </a:lnTo>
                      <a:lnTo>
                        <a:pt x="7" y="2"/>
                      </a:lnTo>
                      <a:lnTo>
                        <a:pt x="5" y="1"/>
                      </a:lnTo>
                      <a:lnTo>
                        <a:pt x="3" y="1"/>
                      </a:lnTo>
                      <a:lnTo>
                        <a:pt x="2" y="4"/>
                      </a:lnTo>
                      <a:lnTo>
                        <a:pt x="0" y="7"/>
                      </a:lnTo>
                      <a:lnTo>
                        <a:pt x="2" y="9"/>
                      </a:lnTo>
                      <a:lnTo>
                        <a:pt x="4" y="12"/>
                      </a:lnTo>
                      <a:lnTo>
                        <a:pt x="7" y="12"/>
                      </a:lnTo>
                      <a:lnTo>
                        <a:pt x="9" y="11"/>
                      </a:lnTo>
                      <a:lnTo>
                        <a:pt x="1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2" name="Freeform 1132"/>
                <p:cNvSpPr>
                  <a:spLocks/>
                </p:cNvSpPr>
                <p:nvPr/>
              </p:nvSpPr>
              <p:spPr bwMode="auto">
                <a:xfrm>
                  <a:off x="6743298" y="1697094"/>
                  <a:ext cx="25158" cy="16278"/>
                </a:xfrm>
                <a:custGeom>
                  <a:avLst/>
                  <a:gdLst>
                    <a:gd name="T0" fmla="*/ 2147483647 w 18"/>
                    <a:gd name="T1" fmla="*/ 2147483647 h 11"/>
                    <a:gd name="T2" fmla="*/ 2147483647 w 18"/>
                    <a:gd name="T3" fmla="*/ 2147483647 h 11"/>
                    <a:gd name="T4" fmla="*/ 2147483647 w 18"/>
                    <a:gd name="T5" fmla="*/ 2147483647 h 11"/>
                    <a:gd name="T6" fmla="*/ 2147483647 w 18"/>
                    <a:gd name="T7" fmla="*/ 2147483647 h 11"/>
                    <a:gd name="T8" fmla="*/ 2147483647 w 18"/>
                    <a:gd name="T9" fmla="*/ 2147483647 h 11"/>
                    <a:gd name="T10" fmla="*/ 2147483647 w 18"/>
                    <a:gd name="T11" fmla="*/ 2147483647 h 11"/>
                    <a:gd name="T12" fmla="*/ 2147483647 w 18"/>
                    <a:gd name="T13" fmla="*/ 2147483647 h 11"/>
                    <a:gd name="T14" fmla="*/ 2147483647 w 18"/>
                    <a:gd name="T15" fmla="*/ 2147483647 h 11"/>
                    <a:gd name="T16" fmla="*/ 0 w 18"/>
                    <a:gd name="T17" fmla="*/ 2147483647 h 11"/>
                    <a:gd name="T18" fmla="*/ 2147483647 w 18"/>
                    <a:gd name="T19" fmla="*/ 2147483647 h 11"/>
                    <a:gd name="T20" fmla="*/ 2147483647 w 18"/>
                    <a:gd name="T21" fmla="*/ 2147483647 h 11"/>
                    <a:gd name="T22" fmla="*/ 2147483647 w 18"/>
                    <a:gd name="T23" fmla="*/ 2147483647 h 11"/>
                    <a:gd name="T24" fmla="*/ 2147483647 w 18"/>
                    <a:gd name="T25" fmla="*/ 0 h 11"/>
                    <a:gd name="T26" fmla="*/ 2147483647 w 18"/>
                    <a:gd name="T27" fmla="*/ 0 h 11"/>
                    <a:gd name="T28" fmla="*/ 2147483647 w 18"/>
                    <a:gd name="T29" fmla="*/ 2147483647 h 11"/>
                    <a:gd name="T30" fmla="*/ 2147483647 w 18"/>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1"/>
                    <a:gd name="T50" fmla="*/ 18 w 18"/>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1">
                      <a:moveTo>
                        <a:pt x="18" y="6"/>
                      </a:moveTo>
                      <a:lnTo>
                        <a:pt x="18" y="8"/>
                      </a:lnTo>
                      <a:lnTo>
                        <a:pt x="16" y="9"/>
                      </a:lnTo>
                      <a:lnTo>
                        <a:pt x="14" y="10"/>
                      </a:lnTo>
                      <a:lnTo>
                        <a:pt x="10" y="10"/>
                      </a:lnTo>
                      <a:lnTo>
                        <a:pt x="5" y="11"/>
                      </a:lnTo>
                      <a:lnTo>
                        <a:pt x="2" y="11"/>
                      </a:lnTo>
                      <a:lnTo>
                        <a:pt x="1" y="11"/>
                      </a:lnTo>
                      <a:lnTo>
                        <a:pt x="0" y="9"/>
                      </a:lnTo>
                      <a:lnTo>
                        <a:pt x="1" y="7"/>
                      </a:lnTo>
                      <a:lnTo>
                        <a:pt x="4" y="3"/>
                      </a:lnTo>
                      <a:lnTo>
                        <a:pt x="6" y="1"/>
                      </a:lnTo>
                      <a:lnTo>
                        <a:pt x="10" y="0"/>
                      </a:lnTo>
                      <a:lnTo>
                        <a:pt x="14" y="0"/>
                      </a:lnTo>
                      <a:lnTo>
                        <a:pt x="16" y="2"/>
                      </a:lnTo>
                      <a:lnTo>
                        <a:pt x="18"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3" name="Freeform 1133"/>
                <p:cNvSpPr>
                  <a:spLocks/>
                </p:cNvSpPr>
                <p:nvPr/>
              </p:nvSpPr>
              <p:spPr bwMode="auto">
                <a:xfrm>
                  <a:off x="6761055" y="1796249"/>
                  <a:ext cx="47356" cy="56235"/>
                </a:xfrm>
                <a:custGeom>
                  <a:avLst/>
                  <a:gdLst>
                    <a:gd name="T0" fmla="*/ 2147483647 w 34"/>
                    <a:gd name="T1" fmla="*/ 2147483647 h 38"/>
                    <a:gd name="T2" fmla="*/ 2147483647 w 34"/>
                    <a:gd name="T3" fmla="*/ 2147483647 h 38"/>
                    <a:gd name="T4" fmla="*/ 2147483647 w 34"/>
                    <a:gd name="T5" fmla="*/ 0 h 38"/>
                    <a:gd name="T6" fmla="*/ 2147483647 w 34"/>
                    <a:gd name="T7" fmla="*/ 2147483647 h 38"/>
                    <a:gd name="T8" fmla="*/ 0 w 34"/>
                    <a:gd name="T9" fmla="*/ 2147483647 h 38"/>
                    <a:gd name="T10" fmla="*/ 0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2147483647 h 38"/>
                    <a:gd name="T42" fmla="*/ 2147483647 w 34"/>
                    <a:gd name="T43" fmla="*/ 2147483647 h 38"/>
                    <a:gd name="T44" fmla="*/ 2147483647 w 34"/>
                    <a:gd name="T45" fmla="*/ 2147483647 h 38"/>
                    <a:gd name="T46" fmla="*/ 2147483647 w 34"/>
                    <a:gd name="T47" fmla="*/ 2147483647 h 38"/>
                    <a:gd name="T48" fmla="*/ 2147483647 w 34"/>
                    <a:gd name="T49" fmla="*/ 2147483647 h 38"/>
                    <a:gd name="T50" fmla="*/ 2147483647 w 34"/>
                    <a:gd name="T51" fmla="*/ 2147483647 h 38"/>
                    <a:gd name="T52" fmla="*/ 2147483647 w 34"/>
                    <a:gd name="T53" fmla="*/ 2147483647 h 38"/>
                    <a:gd name="T54" fmla="*/ 2147483647 w 34"/>
                    <a:gd name="T55" fmla="*/ 2147483647 h 38"/>
                    <a:gd name="T56" fmla="*/ 2147483647 w 34"/>
                    <a:gd name="T57" fmla="*/ 2147483647 h 38"/>
                    <a:gd name="T58" fmla="*/ 2147483647 w 34"/>
                    <a:gd name="T59" fmla="*/ 2147483647 h 38"/>
                    <a:gd name="T60" fmla="*/ 2147483647 w 34"/>
                    <a:gd name="T61" fmla="*/ 2147483647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
                    <a:gd name="T94" fmla="*/ 0 h 38"/>
                    <a:gd name="T95" fmla="*/ 34 w 34"/>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 h="38">
                      <a:moveTo>
                        <a:pt x="24" y="12"/>
                      </a:moveTo>
                      <a:lnTo>
                        <a:pt x="14" y="6"/>
                      </a:lnTo>
                      <a:lnTo>
                        <a:pt x="3" y="0"/>
                      </a:lnTo>
                      <a:lnTo>
                        <a:pt x="1" y="6"/>
                      </a:lnTo>
                      <a:lnTo>
                        <a:pt x="0" y="12"/>
                      </a:lnTo>
                      <a:lnTo>
                        <a:pt x="0" y="17"/>
                      </a:lnTo>
                      <a:lnTo>
                        <a:pt x="2" y="19"/>
                      </a:lnTo>
                      <a:lnTo>
                        <a:pt x="3" y="22"/>
                      </a:lnTo>
                      <a:lnTo>
                        <a:pt x="7" y="23"/>
                      </a:lnTo>
                      <a:lnTo>
                        <a:pt x="12" y="23"/>
                      </a:lnTo>
                      <a:lnTo>
                        <a:pt x="15" y="23"/>
                      </a:lnTo>
                      <a:lnTo>
                        <a:pt x="16" y="24"/>
                      </a:lnTo>
                      <a:lnTo>
                        <a:pt x="15" y="25"/>
                      </a:lnTo>
                      <a:lnTo>
                        <a:pt x="14" y="30"/>
                      </a:lnTo>
                      <a:lnTo>
                        <a:pt x="14" y="33"/>
                      </a:lnTo>
                      <a:lnTo>
                        <a:pt x="14" y="37"/>
                      </a:lnTo>
                      <a:lnTo>
                        <a:pt x="15" y="37"/>
                      </a:lnTo>
                      <a:lnTo>
                        <a:pt x="17" y="38"/>
                      </a:lnTo>
                      <a:lnTo>
                        <a:pt x="19" y="37"/>
                      </a:lnTo>
                      <a:lnTo>
                        <a:pt x="20" y="36"/>
                      </a:lnTo>
                      <a:lnTo>
                        <a:pt x="20" y="33"/>
                      </a:lnTo>
                      <a:lnTo>
                        <a:pt x="21" y="32"/>
                      </a:lnTo>
                      <a:lnTo>
                        <a:pt x="26" y="29"/>
                      </a:lnTo>
                      <a:lnTo>
                        <a:pt x="31" y="25"/>
                      </a:lnTo>
                      <a:lnTo>
                        <a:pt x="34" y="22"/>
                      </a:lnTo>
                      <a:lnTo>
                        <a:pt x="34" y="19"/>
                      </a:lnTo>
                      <a:lnTo>
                        <a:pt x="34" y="16"/>
                      </a:lnTo>
                      <a:lnTo>
                        <a:pt x="33" y="14"/>
                      </a:lnTo>
                      <a:lnTo>
                        <a:pt x="30" y="13"/>
                      </a:lnTo>
                      <a:lnTo>
                        <a:pt x="26" y="13"/>
                      </a:lnTo>
                      <a:lnTo>
                        <a:pt x="2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4" name="Freeform 1134"/>
                <p:cNvSpPr>
                  <a:spLocks/>
                </p:cNvSpPr>
                <p:nvPr/>
              </p:nvSpPr>
              <p:spPr bwMode="auto">
                <a:xfrm>
                  <a:off x="6741818" y="1694138"/>
                  <a:ext cx="23678" cy="17758"/>
                </a:xfrm>
                <a:custGeom>
                  <a:avLst/>
                  <a:gdLst>
                    <a:gd name="T0" fmla="*/ 2147483647 w 17"/>
                    <a:gd name="T1" fmla="*/ 2147483647 h 12"/>
                    <a:gd name="T2" fmla="*/ 2147483647 w 17"/>
                    <a:gd name="T3" fmla="*/ 2147483647 h 12"/>
                    <a:gd name="T4" fmla="*/ 2147483647 w 17"/>
                    <a:gd name="T5" fmla="*/ 2147483647 h 12"/>
                    <a:gd name="T6" fmla="*/ 2147483647 w 17"/>
                    <a:gd name="T7" fmla="*/ 2147483647 h 12"/>
                    <a:gd name="T8" fmla="*/ 2147483647 w 17"/>
                    <a:gd name="T9" fmla="*/ 2147483647 h 12"/>
                    <a:gd name="T10" fmla="*/ 2147483647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2147483647 h 12"/>
                    <a:gd name="T22" fmla="*/ 0 w 17"/>
                    <a:gd name="T23" fmla="*/ 2147483647 h 12"/>
                    <a:gd name="T24" fmla="*/ 2147483647 w 17"/>
                    <a:gd name="T25" fmla="*/ 2147483647 h 12"/>
                    <a:gd name="T26" fmla="*/ 2147483647 w 17"/>
                    <a:gd name="T27" fmla="*/ 2147483647 h 12"/>
                    <a:gd name="T28" fmla="*/ 2147483647 w 17"/>
                    <a:gd name="T29" fmla="*/ 2147483647 h 12"/>
                    <a:gd name="T30" fmla="*/ 2147483647 w 17"/>
                    <a:gd name="T31" fmla="*/ 2147483647 h 12"/>
                    <a:gd name="T32" fmla="*/ 2147483647 w 17"/>
                    <a:gd name="T33" fmla="*/ 0 h 12"/>
                    <a:gd name="T34" fmla="*/ 2147483647 w 17"/>
                    <a:gd name="T35" fmla="*/ 0 h 12"/>
                    <a:gd name="T36" fmla="*/ 2147483647 w 17"/>
                    <a:gd name="T37" fmla="*/ 2147483647 h 12"/>
                    <a:gd name="T38" fmla="*/ 2147483647 w 17"/>
                    <a:gd name="T39" fmla="*/ 2147483647 h 12"/>
                    <a:gd name="T40" fmla="*/ 2147483647 w 17"/>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
                    <a:gd name="T64" fmla="*/ 0 h 12"/>
                    <a:gd name="T65" fmla="*/ 17 w 17"/>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 h="12">
                      <a:moveTo>
                        <a:pt x="17" y="6"/>
                      </a:moveTo>
                      <a:lnTo>
                        <a:pt x="17" y="6"/>
                      </a:lnTo>
                      <a:lnTo>
                        <a:pt x="17" y="9"/>
                      </a:lnTo>
                      <a:lnTo>
                        <a:pt x="16" y="10"/>
                      </a:lnTo>
                      <a:lnTo>
                        <a:pt x="14" y="11"/>
                      </a:lnTo>
                      <a:lnTo>
                        <a:pt x="10" y="11"/>
                      </a:lnTo>
                      <a:lnTo>
                        <a:pt x="5" y="12"/>
                      </a:lnTo>
                      <a:lnTo>
                        <a:pt x="2" y="12"/>
                      </a:lnTo>
                      <a:lnTo>
                        <a:pt x="1" y="12"/>
                      </a:lnTo>
                      <a:lnTo>
                        <a:pt x="0" y="10"/>
                      </a:lnTo>
                      <a:lnTo>
                        <a:pt x="1" y="8"/>
                      </a:lnTo>
                      <a:lnTo>
                        <a:pt x="3" y="4"/>
                      </a:lnTo>
                      <a:lnTo>
                        <a:pt x="6" y="2"/>
                      </a:lnTo>
                      <a:lnTo>
                        <a:pt x="10" y="0"/>
                      </a:lnTo>
                      <a:lnTo>
                        <a:pt x="14" y="0"/>
                      </a:lnTo>
                      <a:lnTo>
                        <a:pt x="16" y="3"/>
                      </a:lnTo>
                      <a:lnTo>
                        <a:pt x="17"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5" name="Freeform 1135"/>
                <p:cNvSpPr>
                  <a:spLocks/>
                </p:cNvSpPr>
                <p:nvPr/>
              </p:nvSpPr>
              <p:spPr bwMode="auto">
                <a:xfrm>
                  <a:off x="6758095" y="1794770"/>
                  <a:ext cx="48836" cy="56235"/>
                </a:xfrm>
                <a:custGeom>
                  <a:avLst/>
                  <a:gdLst>
                    <a:gd name="T0" fmla="*/ 2147483647 w 35"/>
                    <a:gd name="T1" fmla="*/ 2147483647 h 38"/>
                    <a:gd name="T2" fmla="*/ 2147483647 w 35"/>
                    <a:gd name="T3" fmla="*/ 2147483647 h 38"/>
                    <a:gd name="T4" fmla="*/ 2147483647 w 35"/>
                    <a:gd name="T5" fmla="*/ 2147483647 h 38"/>
                    <a:gd name="T6" fmla="*/ 2147483647 w 35"/>
                    <a:gd name="T7" fmla="*/ 0 h 38"/>
                    <a:gd name="T8" fmla="*/ 2147483647 w 35"/>
                    <a:gd name="T9" fmla="*/ 0 h 38"/>
                    <a:gd name="T10" fmla="*/ 2147483647 w 35"/>
                    <a:gd name="T11" fmla="*/ 2147483647 h 38"/>
                    <a:gd name="T12" fmla="*/ 0 w 35"/>
                    <a:gd name="T13" fmla="*/ 2147483647 h 38"/>
                    <a:gd name="T14" fmla="*/ 0 w 35"/>
                    <a:gd name="T15" fmla="*/ 2147483647 h 38"/>
                    <a:gd name="T16" fmla="*/ 2147483647 w 35"/>
                    <a:gd name="T17" fmla="*/ 2147483647 h 38"/>
                    <a:gd name="T18" fmla="*/ 2147483647 w 35"/>
                    <a:gd name="T19" fmla="*/ 2147483647 h 38"/>
                    <a:gd name="T20" fmla="*/ 2147483647 w 35"/>
                    <a:gd name="T21" fmla="*/ 2147483647 h 38"/>
                    <a:gd name="T22" fmla="*/ 2147483647 w 35"/>
                    <a:gd name="T23" fmla="*/ 2147483647 h 38"/>
                    <a:gd name="T24" fmla="*/ 2147483647 w 35"/>
                    <a:gd name="T25" fmla="*/ 2147483647 h 38"/>
                    <a:gd name="T26" fmla="*/ 2147483647 w 35"/>
                    <a:gd name="T27" fmla="*/ 2147483647 h 38"/>
                    <a:gd name="T28" fmla="*/ 2147483647 w 35"/>
                    <a:gd name="T29" fmla="*/ 2147483647 h 38"/>
                    <a:gd name="T30" fmla="*/ 2147483647 w 35"/>
                    <a:gd name="T31" fmla="*/ 2147483647 h 38"/>
                    <a:gd name="T32" fmla="*/ 2147483647 w 35"/>
                    <a:gd name="T33" fmla="*/ 2147483647 h 38"/>
                    <a:gd name="T34" fmla="*/ 2147483647 w 35"/>
                    <a:gd name="T35" fmla="*/ 2147483647 h 38"/>
                    <a:gd name="T36" fmla="*/ 2147483647 w 35"/>
                    <a:gd name="T37" fmla="*/ 2147483647 h 38"/>
                    <a:gd name="T38" fmla="*/ 2147483647 w 35"/>
                    <a:gd name="T39" fmla="*/ 2147483647 h 38"/>
                    <a:gd name="T40" fmla="*/ 2147483647 w 35"/>
                    <a:gd name="T41" fmla="*/ 2147483647 h 38"/>
                    <a:gd name="T42" fmla="*/ 2147483647 w 35"/>
                    <a:gd name="T43" fmla="*/ 2147483647 h 38"/>
                    <a:gd name="T44" fmla="*/ 2147483647 w 35"/>
                    <a:gd name="T45" fmla="*/ 2147483647 h 38"/>
                    <a:gd name="T46" fmla="*/ 2147483647 w 35"/>
                    <a:gd name="T47" fmla="*/ 2147483647 h 38"/>
                    <a:gd name="T48" fmla="*/ 2147483647 w 35"/>
                    <a:gd name="T49" fmla="*/ 2147483647 h 38"/>
                    <a:gd name="T50" fmla="*/ 2147483647 w 35"/>
                    <a:gd name="T51" fmla="*/ 2147483647 h 38"/>
                    <a:gd name="T52" fmla="*/ 2147483647 w 35"/>
                    <a:gd name="T53" fmla="*/ 2147483647 h 38"/>
                    <a:gd name="T54" fmla="*/ 2147483647 w 35"/>
                    <a:gd name="T55" fmla="*/ 2147483647 h 38"/>
                    <a:gd name="T56" fmla="*/ 2147483647 w 35"/>
                    <a:gd name="T57" fmla="*/ 2147483647 h 38"/>
                    <a:gd name="T58" fmla="*/ 2147483647 w 35"/>
                    <a:gd name="T59" fmla="*/ 2147483647 h 38"/>
                    <a:gd name="T60" fmla="*/ 2147483647 w 35"/>
                    <a:gd name="T61" fmla="*/ 2147483647 h 38"/>
                    <a:gd name="T62" fmla="*/ 2147483647 w 35"/>
                    <a:gd name="T63" fmla="*/ 2147483647 h 38"/>
                    <a:gd name="T64" fmla="*/ 2147483647 w 35"/>
                    <a:gd name="T65" fmla="*/ 2147483647 h 38"/>
                    <a:gd name="T66" fmla="*/ 2147483647 w 35"/>
                    <a:gd name="T67" fmla="*/ 2147483647 h 38"/>
                    <a:gd name="T68" fmla="*/ 2147483647 w 35"/>
                    <a:gd name="T69" fmla="*/ 2147483647 h 38"/>
                    <a:gd name="T70" fmla="*/ 2147483647 w 35"/>
                    <a:gd name="T71" fmla="*/ 2147483647 h 38"/>
                    <a:gd name="T72" fmla="*/ 2147483647 w 35"/>
                    <a:gd name="T73" fmla="*/ 2147483647 h 38"/>
                    <a:gd name="T74" fmla="*/ 2147483647 w 35"/>
                    <a:gd name="T75" fmla="*/ 2147483647 h 38"/>
                    <a:gd name="T76" fmla="*/ 2147483647 w 35"/>
                    <a:gd name="T77" fmla="*/ 2147483647 h 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5"/>
                    <a:gd name="T118" fmla="*/ 0 h 38"/>
                    <a:gd name="T119" fmla="*/ 35 w 35"/>
                    <a:gd name="T120" fmla="*/ 38 h 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5" h="38">
                      <a:moveTo>
                        <a:pt x="24" y="12"/>
                      </a:moveTo>
                      <a:lnTo>
                        <a:pt x="24" y="12"/>
                      </a:lnTo>
                      <a:lnTo>
                        <a:pt x="14" y="6"/>
                      </a:lnTo>
                      <a:lnTo>
                        <a:pt x="4" y="0"/>
                      </a:lnTo>
                      <a:lnTo>
                        <a:pt x="2" y="6"/>
                      </a:lnTo>
                      <a:lnTo>
                        <a:pt x="0" y="12"/>
                      </a:lnTo>
                      <a:lnTo>
                        <a:pt x="0" y="17"/>
                      </a:lnTo>
                      <a:lnTo>
                        <a:pt x="3" y="19"/>
                      </a:lnTo>
                      <a:lnTo>
                        <a:pt x="4" y="21"/>
                      </a:lnTo>
                      <a:lnTo>
                        <a:pt x="8" y="23"/>
                      </a:lnTo>
                      <a:lnTo>
                        <a:pt x="13" y="23"/>
                      </a:lnTo>
                      <a:lnTo>
                        <a:pt x="16" y="23"/>
                      </a:lnTo>
                      <a:lnTo>
                        <a:pt x="17" y="24"/>
                      </a:lnTo>
                      <a:lnTo>
                        <a:pt x="16" y="25"/>
                      </a:lnTo>
                      <a:lnTo>
                        <a:pt x="14" y="30"/>
                      </a:lnTo>
                      <a:lnTo>
                        <a:pt x="14" y="33"/>
                      </a:lnTo>
                      <a:lnTo>
                        <a:pt x="14" y="37"/>
                      </a:lnTo>
                      <a:lnTo>
                        <a:pt x="16" y="37"/>
                      </a:lnTo>
                      <a:lnTo>
                        <a:pt x="18" y="38"/>
                      </a:lnTo>
                      <a:lnTo>
                        <a:pt x="19" y="37"/>
                      </a:lnTo>
                      <a:lnTo>
                        <a:pt x="21" y="36"/>
                      </a:lnTo>
                      <a:lnTo>
                        <a:pt x="21" y="33"/>
                      </a:lnTo>
                      <a:lnTo>
                        <a:pt x="22" y="32"/>
                      </a:lnTo>
                      <a:lnTo>
                        <a:pt x="27" y="28"/>
                      </a:lnTo>
                      <a:lnTo>
                        <a:pt x="32" y="25"/>
                      </a:lnTo>
                      <a:lnTo>
                        <a:pt x="35" y="21"/>
                      </a:lnTo>
                      <a:lnTo>
                        <a:pt x="35" y="19"/>
                      </a:lnTo>
                      <a:lnTo>
                        <a:pt x="35" y="15"/>
                      </a:lnTo>
                      <a:lnTo>
                        <a:pt x="33" y="14"/>
                      </a:lnTo>
                      <a:lnTo>
                        <a:pt x="31" y="13"/>
                      </a:lnTo>
                      <a:lnTo>
                        <a:pt x="27" y="13"/>
                      </a:lnTo>
                      <a:lnTo>
                        <a:pt x="2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6" name="Freeform 1136"/>
                <p:cNvSpPr>
                  <a:spLocks/>
                </p:cNvSpPr>
                <p:nvPr/>
              </p:nvSpPr>
              <p:spPr bwMode="auto">
                <a:xfrm>
                  <a:off x="6772896" y="1705974"/>
                  <a:ext cx="97672" cy="54755"/>
                </a:xfrm>
                <a:custGeom>
                  <a:avLst/>
                  <a:gdLst>
                    <a:gd name="T0" fmla="*/ 2147483647 w 72"/>
                    <a:gd name="T1" fmla="*/ 2147483647 h 37"/>
                    <a:gd name="T2" fmla="*/ 2147483647 w 72"/>
                    <a:gd name="T3" fmla="*/ 2147483647 h 37"/>
                    <a:gd name="T4" fmla="*/ 2147483647 w 72"/>
                    <a:gd name="T5" fmla="*/ 2147483647 h 37"/>
                    <a:gd name="T6" fmla="*/ 2147483647 w 72"/>
                    <a:gd name="T7" fmla="*/ 0 h 37"/>
                    <a:gd name="T8" fmla="*/ 2147483647 w 72"/>
                    <a:gd name="T9" fmla="*/ 0 h 37"/>
                    <a:gd name="T10" fmla="*/ 2147483647 w 72"/>
                    <a:gd name="T11" fmla="*/ 2147483647 h 37"/>
                    <a:gd name="T12" fmla="*/ 2147483647 w 72"/>
                    <a:gd name="T13" fmla="*/ 2147483647 h 37"/>
                    <a:gd name="T14" fmla="*/ 2147483647 w 72"/>
                    <a:gd name="T15" fmla="*/ 2147483647 h 37"/>
                    <a:gd name="T16" fmla="*/ 2147483647 w 72"/>
                    <a:gd name="T17" fmla="*/ 2147483647 h 37"/>
                    <a:gd name="T18" fmla="*/ 2147483647 w 72"/>
                    <a:gd name="T19" fmla="*/ 2147483647 h 37"/>
                    <a:gd name="T20" fmla="*/ 2147483647 w 72"/>
                    <a:gd name="T21" fmla="*/ 2147483647 h 37"/>
                    <a:gd name="T22" fmla="*/ 2147483647 w 72"/>
                    <a:gd name="T23" fmla="*/ 2147483647 h 37"/>
                    <a:gd name="T24" fmla="*/ 2147483647 w 72"/>
                    <a:gd name="T25" fmla="*/ 2147483647 h 37"/>
                    <a:gd name="T26" fmla="*/ 2147483647 w 72"/>
                    <a:gd name="T27" fmla="*/ 2147483647 h 37"/>
                    <a:gd name="T28" fmla="*/ 2147483647 w 72"/>
                    <a:gd name="T29" fmla="*/ 2147483647 h 37"/>
                    <a:gd name="T30" fmla="*/ 2147483647 w 72"/>
                    <a:gd name="T31" fmla="*/ 2147483647 h 37"/>
                    <a:gd name="T32" fmla="*/ 2147483647 w 72"/>
                    <a:gd name="T33" fmla="*/ 2147483647 h 37"/>
                    <a:gd name="T34" fmla="*/ 2147483647 w 72"/>
                    <a:gd name="T35" fmla="*/ 2147483647 h 37"/>
                    <a:gd name="T36" fmla="*/ 2147483647 w 72"/>
                    <a:gd name="T37" fmla="*/ 2147483647 h 37"/>
                    <a:gd name="T38" fmla="*/ 2147483647 w 72"/>
                    <a:gd name="T39" fmla="*/ 2147483647 h 37"/>
                    <a:gd name="T40" fmla="*/ 2147483647 w 72"/>
                    <a:gd name="T41" fmla="*/ 2147483647 h 37"/>
                    <a:gd name="T42" fmla="*/ 2147483647 w 72"/>
                    <a:gd name="T43" fmla="*/ 2147483647 h 37"/>
                    <a:gd name="T44" fmla="*/ 2147483647 w 72"/>
                    <a:gd name="T45" fmla="*/ 2147483647 h 37"/>
                    <a:gd name="T46" fmla="*/ 2147483647 w 72"/>
                    <a:gd name="T47" fmla="*/ 2147483647 h 37"/>
                    <a:gd name="T48" fmla="*/ 0 w 72"/>
                    <a:gd name="T49" fmla="*/ 2147483647 h 37"/>
                    <a:gd name="T50" fmla="*/ 2147483647 w 72"/>
                    <a:gd name="T51" fmla="*/ 2147483647 h 37"/>
                    <a:gd name="T52" fmla="*/ 2147483647 w 72"/>
                    <a:gd name="T53" fmla="*/ 2147483647 h 37"/>
                    <a:gd name="T54" fmla="*/ 2147483647 w 72"/>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2"/>
                    <a:gd name="T85" fmla="*/ 0 h 37"/>
                    <a:gd name="T86" fmla="*/ 72 w 72"/>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2" h="37">
                      <a:moveTo>
                        <a:pt x="72" y="15"/>
                      </a:moveTo>
                      <a:lnTo>
                        <a:pt x="68" y="4"/>
                      </a:lnTo>
                      <a:lnTo>
                        <a:pt x="65" y="1"/>
                      </a:lnTo>
                      <a:lnTo>
                        <a:pt x="63" y="0"/>
                      </a:lnTo>
                      <a:lnTo>
                        <a:pt x="60" y="0"/>
                      </a:lnTo>
                      <a:lnTo>
                        <a:pt x="58" y="1"/>
                      </a:lnTo>
                      <a:lnTo>
                        <a:pt x="56" y="2"/>
                      </a:lnTo>
                      <a:lnTo>
                        <a:pt x="54" y="4"/>
                      </a:lnTo>
                      <a:lnTo>
                        <a:pt x="53" y="4"/>
                      </a:lnTo>
                      <a:lnTo>
                        <a:pt x="44" y="4"/>
                      </a:lnTo>
                      <a:lnTo>
                        <a:pt x="40" y="5"/>
                      </a:lnTo>
                      <a:lnTo>
                        <a:pt x="36" y="8"/>
                      </a:lnTo>
                      <a:lnTo>
                        <a:pt x="34" y="8"/>
                      </a:lnTo>
                      <a:lnTo>
                        <a:pt x="31" y="8"/>
                      </a:lnTo>
                      <a:lnTo>
                        <a:pt x="30" y="9"/>
                      </a:lnTo>
                      <a:lnTo>
                        <a:pt x="23" y="10"/>
                      </a:lnTo>
                      <a:lnTo>
                        <a:pt x="18" y="10"/>
                      </a:lnTo>
                      <a:lnTo>
                        <a:pt x="13" y="11"/>
                      </a:lnTo>
                      <a:lnTo>
                        <a:pt x="12" y="13"/>
                      </a:lnTo>
                      <a:lnTo>
                        <a:pt x="12" y="15"/>
                      </a:lnTo>
                      <a:lnTo>
                        <a:pt x="11" y="20"/>
                      </a:lnTo>
                      <a:lnTo>
                        <a:pt x="8" y="23"/>
                      </a:lnTo>
                      <a:lnTo>
                        <a:pt x="6" y="27"/>
                      </a:lnTo>
                      <a:lnTo>
                        <a:pt x="2" y="30"/>
                      </a:lnTo>
                      <a:lnTo>
                        <a:pt x="0" y="33"/>
                      </a:lnTo>
                      <a:lnTo>
                        <a:pt x="2" y="34"/>
                      </a:lnTo>
                      <a:lnTo>
                        <a:pt x="6" y="37"/>
                      </a:lnTo>
                      <a:lnTo>
                        <a:pt x="72"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7" name="Freeform 1137"/>
                <p:cNvSpPr>
                  <a:spLocks/>
                </p:cNvSpPr>
                <p:nvPr/>
              </p:nvSpPr>
              <p:spPr bwMode="auto">
                <a:xfrm>
                  <a:off x="6774378" y="1725211"/>
                  <a:ext cx="119869" cy="90273"/>
                </a:xfrm>
                <a:custGeom>
                  <a:avLst/>
                  <a:gdLst>
                    <a:gd name="T0" fmla="*/ 2147483647 w 87"/>
                    <a:gd name="T1" fmla="*/ 2147483647 h 61"/>
                    <a:gd name="T2" fmla="*/ 2147483647 w 87"/>
                    <a:gd name="T3" fmla="*/ 2147483647 h 61"/>
                    <a:gd name="T4" fmla="*/ 2147483647 w 87"/>
                    <a:gd name="T5" fmla="*/ 2147483647 h 61"/>
                    <a:gd name="T6" fmla="*/ 0 w 87"/>
                    <a:gd name="T7" fmla="*/ 2147483647 h 61"/>
                    <a:gd name="T8" fmla="*/ 2147483647 w 87"/>
                    <a:gd name="T9" fmla="*/ 2147483647 h 61"/>
                    <a:gd name="T10" fmla="*/ 2147483647 w 87"/>
                    <a:gd name="T11" fmla="*/ 2147483647 h 61"/>
                    <a:gd name="T12" fmla="*/ 2147483647 w 87"/>
                    <a:gd name="T13" fmla="*/ 2147483647 h 61"/>
                    <a:gd name="T14" fmla="*/ 2147483647 w 87"/>
                    <a:gd name="T15" fmla="*/ 2147483647 h 61"/>
                    <a:gd name="T16" fmla="*/ 2147483647 w 87"/>
                    <a:gd name="T17" fmla="*/ 2147483647 h 61"/>
                    <a:gd name="T18" fmla="*/ 2147483647 w 87"/>
                    <a:gd name="T19" fmla="*/ 2147483647 h 61"/>
                    <a:gd name="T20" fmla="*/ 2147483647 w 87"/>
                    <a:gd name="T21" fmla="*/ 2147483647 h 61"/>
                    <a:gd name="T22" fmla="*/ 2147483647 w 87"/>
                    <a:gd name="T23" fmla="*/ 2147483647 h 61"/>
                    <a:gd name="T24" fmla="*/ 2147483647 w 87"/>
                    <a:gd name="T25" fmla="*/ 2147483647 h 61"/>
                    <a:gd name="T26" fmla="*/ 2147483647 w 87"/>
                    <a:gd name="T27" fmla="*/ 2147483647 h 61"/>
                    <a:gd name="T28" fmla="*/ 2147483647 w 87"/>
                    <a:gd name="T29" fmla="*/ 2147483647 h 61"/>
                    <a:gd name="T30" fmla="*/ 2147483647 w 87"/>
                    <a:gd name="T31" fmla="*/ 2147483647 h 61"/>
                    <a:gd name="T32" fmla="*/ 2147483647 w 87"/>
                    <a:gd name="T33" fmla="*/ 2147483647 h 61"/>
                    <a:gd name="T34" fmla="*/ 2147483647 w 87"/>
                    <a:gd name="T35" fmla="*/ 2147483647 h 61"/>
                    <a:gd name="T36" fmla="*/ 2147483647 w 87"/>
                    <a:gd name="T37" fmla="*/ 2147483647 h 61"/>
                    <a:gd name="T38" fmla="*/ 2147483647 w 87"/>
                    <a:gd name="T39" fmla="*/ 2147483647 h 61"/>
                    <a:gd name="T40" fmla="*/ 2147483647 w 87"/>
                    <a:gd name="T41" fmla="*/ 2147483647 h 61"/>
                    <a:gd name="T42" fmla="*/ 2147483647 w 87"/>
                    <a:gd name="T43" fmla="*/ 2147483647 h 61"/>
                    <a:gd name="T44" fmla="*/ 2147483647 w 87"/>
                    <a:gd name="T45" fmla="*/ 2147483647 h 61"/>
                    <a:gd name="T46" fmla="*/ 2147483647 w 87"/>
                    <a:gd name="T47" fmla="*/ 2147483647 h 61"/>
                    <a:gd name="T48" fmla="*/ 2147483647 w 87"/>
                    <a:gd name="T49" fmla="*/ 2147483647 h 61"/>
                    <a:gd name="T50" fmla="*/ 2147483647 w 87"/>
                    <a:gd name="T51" fmla="*/ 2147483647 h 61"/>
                    <a:gd name="T52" fmla="*/ 2147483647 w 87"/>
                    <a:gd name="T53" fmla="*/ 2147483647 h 61"/>
                    <a:gd name="T54" fmla="*/ 2147483647 w 87"/>
                    <a:gd name="T55" fmla="*/ 2147483647 h 61"/>
                    <a:gd name="T56" fmla="*/ 2147483647 w 87"/>
                    <a:gd name="T57" fmla="*/ 2147483647 h 61"/>
                    <a:gd name="T58" fmla="*/ 2147483647 w 87"/>
                    <a:gd name="T59" fmla="*/ 2147483647 h 61"/>
                    <a:gd name="T60" fmla="*/ 2147483647 w 87"/>
                    <a:gd name="T61" fmla="*/ 2147483647 h 61"/>
                    <a:gd name="T62" fmla="*/ 2147483647 w 87"/>
                    <a:gd name="T63" fmla="*/ 2147483647 h 61"/>
                    <a:gd name="T64" fmla="*/ 2147483647 w 87"/>
                    <a:gd name="T65" fmla="*/ 2147483647 h 61"/>
                    <a:gd name="T66" fmla="*/ 2147483647 w 87"/>
                    <a:gd name="T67" fmla="*/ 2147483647 h 61"/>
                    <a:gd name="T68" fmla="*/ 2147483647 w 87"/>
                    <a:gd name="T69" fmla="*/ 2147483647 h 61"/>
                    <a:gd name="T70" fmla="*/ 2147483647 w 87"/>
                    <a:gd name="T71" fmla="*/ 2147483647 h 61"/>
                    <a:gd name="T72" fmla="*/ 2147483647 w 87"/>
                    <a:gd name="T73" fmla="*/ 2147483647 h 61"/>
                    <a:gd name="T74" fmla="*/ 2147483647 w 87"/>
                    <a:gd name="T75" fmla="*/ 2147483647 h 61"/>
                    <a:gd name="T76" fmla="*/ 2147483647 w 87"/>
                    <a:gd name="T77" fmla="*/ 2147483647 h 61"/>
                    <a:gd name="T78" fmla="*/ 2147483647 w 87"/>
                    <a:gd name="T79" fmla="*/ 2147483647 h 61"/>
                    <a:gd name="T80" fmla="*/ 2147483647 w 87"/>
                    <a:gd name="T81" fmla="*/ 2147483647 h 61"/>
                    <a:gd name="T82" fmla="*/ 2147483647 w 87"/>
                    <a:gd name="T83" fmla="*/ 2147483647 h 61"/>
                    <a:gd name="T84" fmla="*/ 2147483647 w 87"/>
                    <a:gd name="T85" fmla="*/ 0 h 61"/>
                    <a:gd name="T86" fmla="*/ 2147483647 w 87"/>
                    <a:gd name="T87" fmla="*/ 2147483647 h 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7"/>
                    <a:gd name="T133" fmla="*/ 0 h 61"/>
                    <a:gd name="T134" fmla="*/ 87 w 87"/>
                    <a:gd name="T135" fmla="*/ 61 h 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7" h="61">
                      <a:moveTo>
                        <a:pt x="4" y="26"/>
                      </a:moveTo>
                      <a:lnTo>
                        <a:pt x="4" y="29"/>
                      </a:lnTo>
                      <a:lnTo>
                        <a:pt x="1" y="32"/>
                      </a:lnTo>
                      <a:lnTo>
                        <a:pt x="0" y="35"/>
                      </a:lnTo>
                      <a:lnTo>
                        <a:pt x="1" y="36"/>
                      </a:lnTo>
                      <a:lnTo>
                        <a:pt x="2" y="38"/>
                      </a:lnTo>
                      <a:lnTo>
                        <a:pt x="16" y="46"/>
                      </a:lnTo>
                      <a:lnTo>
                        <a:pt x="23" y="51"/>
                      </a:lnTo>
                      <a:lnTo>
                        <a:pt x="28" y="55"/>
                      </a:lnTo>
                      <a:lnTo>
                        <a:pt x="34" y="60"/>
                      </a:lnTo>
                      <a:lnTo>
                        <a:pt x="37" y="61"/>
                      </a:lnTo>
                      <a:lnTo>
                        <a:pt x="38" y="61"/>
                      </a:lnTo>
                      <a:lnTo>
                        <a:pt x="39" y="59"/>
                      </a:lnTo>
                      <a:lnTo>
                        <a:pt x="43" y="55"/>
                      </a:lnTo>
                      <a:lnTo>
                        <a:pt x="48" y="53"/>
                      </a:lnTo>
                      <a:lnTo>
                        <a:pt x="53" y="52"/>
                      </a:lnTo>
                      <a:lnTo>
                        <a:pt x="58" y="52"/>
                      </a:lnTo>
                      <a:lnTo>
                        <a:pt x="59" y="49"/>
                      </a:lnTo>
                      <a:lnTo>
                        <a:pt x="62" y="49"/>
                      </a:lnTo>
                      <a:lnTo>
                        <a:pt x="65" y="48"/>
                      </a:lnTo>
                      <a:lnTo>
                        <a:pt x="68" y="46"/>
                      </a:lnTo>
                      <a:lnTo>
                        <a:pt x="72" y="45"/>
                      </a:lnTo>
                      <a:lnTo>
                        <a:pt x="77" y="43"/>
                      </a:lnTo>
                      <a:lnTo>
                        <a:pt x="81" y="42"/>
                      </a:lnTo>
                      <a:lnTo>
                        <a:pt x="82" y="40"/>
                      </a:lnTo>
                      <a:lnTo>
                        <a:pt x="81" y="39"/>
                      </a:lnTo>
                      <a:lnTo>
                        <a:pt x="78" y="32"/>
                      </a:lnTo>
                      <a:lnTo>
                        <a:pt x="77" y="28"/>
                      </a:lnTo>
                      <a:lnTo>
                        <a:pt x="78" y="26"/>
                      </a:lnTo>
                      <a:lnTo>
                        <a:pt x="80" y="24"/>
                      </a:lnTo>
                      <a:lnTo>
                        <a:pt x="82" y="24"/>
                      </a:lnTo>
                      <a:lnTo>
                        <a:pt x="85" y="24"/>
                      </a:lnTo>
                      <a:lnTo>
                        <a:pt x="87" y="24"/>
                      </a:lnTo>
                      <a:lnTo>
                        <a:pt x="87" y="22"/>
                      </a:lnTo>
                      <a:lnTo>
                        <a:pt x="86" y="21"/>
                      </a:lnTo>
                      <a:lnTo>
                        <a:pt x="84" y="20"/>
                      </a:lnTo>
                      <a:lnTo>
                        <a:pt x="80" y="19"/>
                      </a:lnTo>
                      <a:lnTo>
                        <a:pt x="77" y="17"/>
                      </a:lnTo>
                      <a:lnTo>
                        <a:pt x="76" y="16"/>
                      </a:lnTo>
                      <a:lnTo>
                        <a:pt x="75" y="14"/>
                      </a:lnTo>
                      <a:lnTo>
                        <a:pt x="73" y="7"/>
                      </a:lnTo>
                      <a:lnTo>
                        <a:pt x="72" y="3"/>
                      </a:lnTo>
                      <a:lnTo>
                        <a:pt x="70" y="0"/>
                      </a:lnTo>
                      <a:lnTo>
                        <a:pt x="4"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8" name="Freeform 1138"/>
                <p:cNvSpPr>
                  <a:spLocks/>
                </p:cNvSpPr>
                <p:nvPr/>
              </p:nvSpPr>
              <p:spPr bwMode="auto">
                <a:xfrm>
                  <a:off x="6771418" y="1703018"/>
                  <a:ext cx="96191" cy="56235"/>
                </a:xfrm>
                <a:custGeom>
                  <a:avLst/>
                  <a:gdLst>
                    <a:gd name="T0" fmla="*/ 2147483647 w 71"/>
                    <a:gd name="T1" fmla="*/ 2147483647 h 38"/>
                    <a:gd name="T2" fmla="*/ 2147483647 w 71"/>
                    <a:gd name="T3" fmla="*/ 2147483647 h 38"/>
                    <a:gd name="T4" fmla="*/ 2147483647 w 71"/>
                    <a:gd name="T5" fmla="*/ 2147483647 h 38"/>
                    <a:gd name="T6" fmla="*/ 2147483647 w 71"/>
                    <a:gd name="T7" fmla="*/ 2147483647 h 38"/>
                    <a:gd name="T8" fmla="*/ 2147483647 w 71"/>
                    <a:gd name="T9" fmla="*/ 0 h 38"/>
                    <a:gd name="T10" fmla="*/ 2147483647 w 71"/>
                    <a:gd name="T11" fmla="*/ 0 h 38"/>
                    <a:gd name="T12" fmla="*/ 2147483647 w 71"/>
                    <a:gd name="T13" fmla="*/ 0 h 38"/>
                    <a:gd name="T14" fmla="*/ 2147483647 w 71"/>
                    <a:gd name="T15" fmla="*/ 2147483647 h 38"/>
                    <a:gd name="T16" fmla="*/ 2147483647 w 71"/>
                    <a:gd name="T17" fmla="*/ 2147483647 h 38"/>
                    <a:gd name="T18" fmla="*/ 2147483647 w 71"/>
                    <a:gd name="T19" fmla="*/ 2147483647 h 38"/>
                    <a:gd name="T20" fmla="*/ 2147483647 w 71"/>
                    <a:gd name="T21" fmla="*/ 2147483647 h 38"/>
                    <a:gd name="T22" fmla="*/ 2147483647 w 71"/>
                    <a:gd name="T23" fmla="*/ 2147483647 h 38"/>
                    <a:gd name="T24" fmla="*/ 2147483647 w 71"/>
                    <a:gd name="T25" fmla="*/ 2147483647 h 38"/>
                    <a:gd name="T26" fmla="*/ 2147483647 w 71"/>
                    <a:gd name="T27" fmla="*/ 2147483647 h 38"/>
                    <a:gd name="T28" fmla="*/ 2147483647 w 71"/>
                    <a:gd name="T29" fmla="*/ 2147483647 h 38"/>
                    <a:gd name="T30" fmla="*/ 2147483647 w 71"/>
                    <a:gd name="T31" fmla="*/ 2147483647 h 38"/>
                    <a:gd name="T32" fmla="*/ 2147483647 w 71"/>
                    <a:gd name="T33" fmla="*/ 2147483647 h 38"/>
                    <a:gd name="T34" fmla="*/ 2147483647 w 71"/>
                    <a:gd name="T35" fmla="*/ 2147483647 h 38"/>
                    <a:gd name="T36" fmla="*/ 2147483647 w 71"/>
                    <a:gd name="T37" fmla="*/ 2147483647 h 38"/>
                    <a:gd name="T38" fmla="*/ 2147483647 w 71"/>
                    <a:gd name="T39" fmla="*/ 2147483647 h 38"/>
                    <a:gd name="T40" fmla="*/ 2147483647 w 71"/>
                    <a:gd name="T41" fmla="*/ 2147483647 h 38"/>
                    <a:gd name="T42" fmla="*/ 2147483647 w 71"/>
                    <a:gd name="T43" fmla="*/ 2147483647 h 38"/>
                    <a:gd name="T44" fmla="*/ 2147483647 w 71"/>
                    <a:gd name="T45" fmla="*/ 2147483647 h 38"/>
                    <a:gd name="T46" fmla="*/ 2147483647 w 71"/>
                    <a:gd name="T47" fmla="*/ 2147483647 h 38"/>
                    <a:gd name="T48" fmla="*/ 2147483647 w 71"/>
                    <a:gd name="T49" fmla="*/ 2147483647 h 38"/>
                    <a:gd name="T50" fmla="*/ 2147483647 w 71"/>
                    <a:gd name="T51" fmla="*/ 2147483647 h 38"/>
                    <a:gd name="T52" fmla="*/ 2147483647 w 71"/>
                    <a:gd name="T53" fmla="*/ 2147483647 h 38"/>
                    <a:gd name="T54" fmla="*/ 2147483647 w 71"/>
                    <a:gd name="T55" fmla="*/ 2147483647 h 38"/>
                    <a:gd name="T56" fmla="*/ 2147483647 w 71"/>
                    <a:gd name="T57" fmla="*/ 2147483647 h 38"/>
                    <a:gd name="T58" fmla="*/ 2147483647 w 71"/>
                    <a:gd name="T59" fmla="*/ 2147483647 h 38"/>
                    <a:gd name="T60" fmla="*/ 2147483647 w 71"/>
                    <a:gd name="T61" fmla="*/ 2147483647 h 38"/>
                    <a:gd name="T62" fmla="*/ 2147483647 w 71"/>
                    <a:gd name="T63" fmla="*/ 2147483647 h 38"/>
                    <a:gd name="T64" fmla="*/ 2147483647 w 71"/>
                    <a:gd name="T65" fmla="*/ 2147483647 h 38"/>
                    <a:gd name="T66" fmla="*/ 2147483647 w 71"/>
                    <a:gd name="T67" fmla="*/ 2147483647 h 38"/>
                    <a:gd name="T68" fmla="*/ 0 w 71"/>
                    <a:gd name="T69" fmla="*/ 2147483647 h 38"/>
                    <a:gd name="T70" fmla="*/ 2147483647 w 71"/>
                    <a:gd name="T71" fmla="*/ 2147483647 h 38"/>
                    <a:gd name="T72" fmla="*/ 2147483647 w 71"/>
                    <a:gd name="T73" fmla="*/ 2147483647 h 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38"/>
                    <a:gd name="T113" fmla="*/ 71 w 71"/>
                    <a:gd name="T114" fmla="*/ 38 h 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38">
                      <a:moveTo>
                        <a:pt x="71" y="16"/>
                      </a:moveTo>
                      <a:lnTo>
                        <a:pt x="71" y="16"/>
                      </a:lnTo>
                      <a:lnTo>
                        <a:pt x="68" y="5"/>
                      </a:lnTo>
                      <a:lnTo>
                        <a:pt x="65" y="2"/>
                      </a:lnTo>
                      <a:lnTo>
                        <a:pt x="62" y="0"/>
                      </a:lnTo>
                      <a:lnTo>
                        <a:pt x="60" y="0"/>
                      </a:lnTo>
                      <a:lnTo>
                        <a:pt x="57" y="2"/>
                      </a:lnTo>
                      <a:lnTo>
                        <a:pt x="56" y="3"/>
                      </a:lnTo>
                      <a:lnTo>
                        <a:pt x="54" y="5"/>
                      </a:lnTo>
                      <a:lnTo>
                        <a:pt x="52" y="5"/>
                      </a:lnTo>
                      <a:lnTo>
                        <a:pt x="43" y="5"/>
                      </a:lnTo>
                      <a:lnTo>
                        <a:pt x="40" y="6"/>
                      </a:lnTo>
                      <a:lnTo>
                        <a:pt x="36" y="9"/>
                      </a:lnTo>
                      <a:lnTo>
                        <a:pt x="33" y="9"/>
                      </a:lnTo>
                      <a:lnTo>
                        <a:pt x="31" y="9"/>
                      </a:lnTo>
                      <a:lnTo>
                        <a:pt x="29" y="10"/>
                      </a:lnTo>
                      <a:lnTo>
                        <a:pt x="23" y="11"/>
                      </a:lnTo>
                      <a:lnTo>
                        <a:pt x="18" y="11"/>
                      </a:lnTo>
                      <a:lnTo>
                        <a:pt x="13" y="12"/>
                      </a:lnTo>
                      <a:lnTo>
                        <a:pt x="12" y="13"/>
                      </a:lnTo>
                      <a:lnTo>
                        <a:pt x="12" y="16"/>
                      </a:lnTo>
                      <a:lnTo>
                        <a:pt x="10" y="21"/>
                      </a:lnTo>
                      <a:lnTo>
                        <a:pt x="8" y="24"/>
                      </a:lnTo>
                      <a:lnTo>
                        <a:pt x="5" y="28"/>
                      </a:lnTo>
                      <a:lnTo>
                        <a:pt x="1" y="31"/>
                      </a:lnTo>
                      <a:lnTo>
                        <a:pt x="0" y="34"/>
                      </a:lnTo>
                      <a:lnTo>
                        <a:pt x="1" y="35"/>
                      </a:lnTo>
                      <a:lnTo>
                        <a:pt x="5" y="38"/>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39" name="Freeform 1139"/>
                <p:cNvSpPr>
                  <a:spLocks/>
                </p:cNvSpPr>
                <p:nvPr/>
              </p:nvSpPr>
              <p:spPr bwMode="auto">
                <a:xfrm>
                  <a:off x="6772895" y="1722253"/>
                  <a:ext cx="119870" cy="91752"/>
                </a:xfrm>
                <a:custGeom>
                  <a:avLst/>
                  <a:gdLst>
                    <a:gd name="T0" fmla="*/ 2147483647 w 88"/>
                    <a:gd name="T1" fmla="*/ 2147483647 h 62"/>
                    <a:gd name="T2" fmla="*/ 2147483647 w 88"/>
                    <a:gd name="T3" fmla="*/ 2147483647 h 62"/>
                    <a:gd name="T4" fmla="*/ 2147483647 w 88"/>
                    <a:gd name="T5" fmla="*/ 2147483647 h 62"/>
                    <a:gd name="T6" fmla="*/ 2147483647 w 88"/>
                    <a:gd name="T7" fmla="*/ 2147483647 h 62"/>
                    <a:gd name="T8" fmla="*/ 0 w 88"/>
                    <a:gd name="T9" fmla="*/ 2147483647 h 62"/>
                    <a:gd name="T10" fmla="*/ 2147483647 w 88"/>
                    <a:gd name="T11" fmla="*/ 2147483647 h 62"/>
                    <a:gd name="T12" fmla="*/ 2147483647 w 88"/>
                    <a:gd name="T13" fmla="*/ 2147483647 h 62"/>
                    <a:gd name="T14" fmla="*/ 2147483647 w 88"/>
                    <a:gd name="T15" fmla="*/ 2147483647 h 62"/>
                    <a:gd name="T16" fmla="*/ 2147483647 w 88"/>
                    <a:gd name="T17" fmla="*/ 2147483647 h 62"/>
                    <a:gd name="T18" fmla="*/ 2147483647 w 88"/>
                    <a:gd name="T19" fmla="*/ 2147483647 h 62"/>
                    <a:gd name="T20" fmla="*/ 2147483647 w 88"/>
                    <a:gd name="T21" fmla="*/ 2147483647 h 62"/>
                    <a:gd name="T22" fmla="*/ 2147483647 w 88"/>
                    <a:gd name="T23" fmla="*/ 2147483647 h 62"/>
                    <a:gd name="T24" fmla="*/ 2147483647 w 88"/>
                    <a:gd name="T25" fmla="*/ 2147483647 h 62"/>
                    <a:gd name="T26" fmla="*/ 2147483647 w 88"/>
                    <a:gd name="T27" fmla="*/ 2147483647 h 62"/>
                    <a:gd name="T28" fmla="*/ 2147483647 w 88"/>
                    <a:gd name="T29" fmla="*/ 2147483647 h 62"/>
                    <a:gd name="T30" fmla="*/ 2147483647 w 88"/>
                    <a:gd name="T31" fmla="*/ 2147483647 h 62"/>
                    <a:gd name="T32" fmla="*/ 2147483647 w 88"/>
                    <a:gd name="T33" fmla="*/ 2147483647 h 62"/>
                    <a:gd name="T34" fmla="*/ 2147483647 w 88"/>
                    <a:gd name="T35" fmla="*/ 2147483647 h 62"/>
                    <a:gd name="T36" fmla="*/ 2147483647 w 88"/>
                    <a:gd name="T37" fmla="*/ 2147483647 h 62"/>
                    <a:gd name="T38" fmla="*/ 2147483647 w 88"/>
                    <a:gd name="T39" fmla="*/ 2147483647 h 62"/>
                    <a:gd name="T40" fmla="*/ 2147483647 w 88"/>
                    <a:gd name="T41" fmla="*/ 2147483647 h 62"/>
                    <a:gd name="T42" fmla="*/ 2147483647 w 88"/>
                    <a:gd name="T43" fmla="*/ 2147483647 h 62"/>
                    <a:gd name="T44" fmla="*/ 2147483647 w 88"/>
                    <a:gd name="T45" fmla="*/ 2147483647 h 62"/>
                    <a:gd name="T46" fmla="*/ 2147483647 w 88"/>
                    <a:gd name="T47" fmla="*/ 2147483647 h 62"/>
                    <a:gd name="T48" fmla="*/ 2147483647 w 88"/>
                    <a:gd name="T49" fmla="*/ 2147483647 h 62"/>
                    <a:gd name="T50" fmla="*/ 2147483647 w 88"/>
                    <a:gd name="T51" fmla="*/ 2147483647 h 62"/>
                    <a:gd name="T52" fmla="*/ 2147483647 w 88"/>
                    <a:gd name="T53" fmla="*/ 2147483647 h 62"/>
                    <a:gd name="T54" fmla="*/ 2147483647 w 88"/>
                    <a:gd name="T55" fmla="*/ 2147483647 h 62"/>
                    <a:gd name="T56" fmla="*/ 2147483647 w 88"/>
                    <a:gd name="T57" fmla="*/ 2147483647 h 62"/>
                    <a:gd name="T58" fmla="*/ 2147483647 w 88"/>
                    <a:gd name="T59" fmla="*/ 2147483647 h 62"/>
                    <a:gd name="T60" fmla="*/ 2147483647 w 88"/>
                    <a:gd name="T61" fmla="*/ 2147483647 h 62"/>
                    <a:gd name="T62" fmla="*/ 2147483647 w 88"/>
                    <a:gd name="T63" fmla="*/ 2147483647 h 62"/>
                    <a:gd name="T64" fmla="*/ 2147483647 w 88"/>
                    <a:gd name="T65" fmla="*/ 2147483647 h 62"/>
                    <a:gd name="T66" fmla="*/ 2147483647 w 88"/>
                    <a:gd name="T67" fmla="*/ 2147483647 h 62"/>
                    <a:gd name="T68" fmla="*/ 2147483647 w 88"/>
                    <a:gd name="T69" fmla="*/ 2147483647 h 62"/>
                    <a:gd name="T70" fmla="*/ 2147483647 w 88"/>
                    <a:gd name="T71" fmla="*/ 2147483647 h 62"/>
                    <a:gd name="T72" fmla="*/ 2147483647 w 88"/>
                    <a:gd name="T73" fmla="*/ 2147483647 h 62"/>
                    <a:gd name="T74" fmla="*/ 2147483647 w 88"/>
                    <a:gd name="T75" fmla="*/ 2147483647 h 62"/>
                    <a:gd name="T76" fmla="*/ 2147483647 w 88"/>
                    <a:gd name="T77" fmla="*/ 2147483647 h 62"/>
                    <a:gd name="T78" fmla="*/ 2147483647 w 88"/>
                    <a:gd name="T79" fmla="*/ 2147483647 h 62"/>
                    <a:gd name="T80" fmla="*/ 2147483647 w 88"/>
                    <a:gd name="T81" fmla="*/ 2147483647 h 62"/>
                    <a:gd name="T82" fmla="*/ 2147483647 w 88"/>
                    <a:gd name="T83" fmla="*/ 2147483647 h 62"/>
                    <a:gd name="T84" fmla="*/ 2147483647 w 88"/>
                    <a:gd name="T85" fmla="*/ 2147483647 h 62"/>
                    <a:gd name="T86" fmla="*/ 2147483647 w 88"/>
                    <a:gd name="T87" fmla="*/ 2147483647 h 62"/>
                    <a:gd name="T88" fmla="*/ 2147483647 w 88"/>
                    <a:gd name="T89" fmla="*/ 2147483647 h 62"/>
                    <a:gd name="T90" fmla="*/ 2147483647 w 88"/>
                    <a:gd name="T91" fmla="*/ 2147483647 h 62"/>
                    <a:gd name="T92" fmla="*/ 2147483647 w 88"/>
                    <a:gd name="T93" fmla="*/ 2147483647 h 62"/>
                    <a:gd name="T94" fmla="*/ 2147483647 w 88"/>
                    <a:gd name="T95" fmla="*/ 2147483647 h 62"/>
                    <a:gd name="T96" fmla="*/ 2147483647 w 88"/>
                    <a:gd name="T97" fmla="*/ 2147483647 h 62"/>
                    <a:gd name="T98" fmla="*/ 2147483647 w 88"/>
                    <a:gd name="T99" fmla="*/ 2147483647 h 62"/>
                    <a:gd name="T100" fmla="*/ 2147483647 w 88"/>
                    <a:gd name="T101" fmla="*/ 2147483647 h 62"/>
                    <a:gd name="T102" fmla="*/ 2147483647 w 88"/>
                    <a:gd name="T103" fmla="*/ 2147483647 h 62"/>
                    <a:gd name="T104" fmla="*/ 2147483647 w 88"/>
                    <a:gd name="T105" fmla="*/ 2147483647 h 62"/>
                    <a:gd name="T106" fmla="*/ 2147483647 w 88"/>
                    <a:gd name="T107" fmla="*/ 2147483647 h 62"/>
                    <a:gd name="T108" fmla="*/ 2147483647 w 88"/>
                    <a:gd name="T109" fmla="*/ 2147483647 h 62"/>
                    <a:gd name="T110" fmla="*/ 2147483647 w 88"/>
                    <a:gd name="T111" fmla="*/ 2147483647 h 62"/>
                    <a:gd name="T112" fmla="*/ 2147483647 w 88"/>
                    <a:gd name="T113" fmla="*/ 2147483647 h 62"/>
                    <a:gd name="T114" fmla="*/ 2147483647 w 88"/>
                    <a:gd name="T115" fmla="*/ 2147483647 h 62"/>
                    <a:gd name="T116" fmla="*/ 2147483647 w 88"/>
                    <a:gd name="T117" fmla="*/ 0 h 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62"/>
                    <a:gd name="T179" fmla="*/ 88 w 88"/>
                    <a:gd name="T180" fmla="*/ 62 h 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62">
                      <a:moveTo>
                        <a:pt x="4" y="26"/>
                      </a:moveTo>
                      <a:lnTo>
                        <a:pt x="4" y="26"/>
                      </a:lnTo>
                      <a:lnTo>
                        <a:pt x="4" y="30"/>
                      </a:lnTo>
                      <a:lnTo>
                        <a:pt x="2" y="32"/>
                      </a:lnTo>
                      <a:lnTo>
                        <a:pt x="0" y="36"/>
                      </a:lnTo>
                      <a:lnTo>
                        <a:pt x="2" y="37"/>
                      </a:lnTo>
                      <a:lnTo>
                        <a:pt x="3" y="38"/>
                      </a:lnTo>
                      <a:lnTo>
                        <a:pt x="17" y="47"/>
                      </a:lnTo>
                      <a:lnTo>
                        <a:pt x="23" y="51"/>
                      </a:lnTo>
                      <a:lnTo>
                        <a:pt x="28" y="56"/>
                      </a:lnTo>
                      <a:lnTo>
                        <a:pt x="35" y="61"/>
                      </a:lnTo>
                      <a:lnTo>
                        <a:pt x="37" y="62"/>
                      </a:lnTo>
                      <a:lnTo>
                        <a:pt x="39" y="62"/>
                      </a:lnTo>
                      <a:lnTo>
                        <a:pt x="40" y="60"/>
                      </a:lnTo>
                      <a:lnTo>
                        <a:pt x="44" y="56"/>
                      </a:lnTo>
                      <a:lnTo>
                        <a:pt x="49" y="54"/>
                      </a:lnTo>
                      <a:lnTo>
                        <a:pt x="54" y="53"/>
                      </a:lnTo>
                      <a:lnTo>
                        <a:pt x="59" y="53"/>
                      </a:lnTo>
                      <a:lnTo>
                        <a:pt x="60" y="50"/>
                      </a:lnTo>
                      <a:lnTo>
                        <a:pt x="63" y="50"/>
                      </a:lnTo>
                      <a:lnTo>
                        <a:pt x="65" y="49"/>
                      </a:lnTo>
                      <a:lnTo>
                        <a:pt x="69" y="47"/>
                      </a:lnTo>
                      <a:lnTo>
                        <a:pt x="73" y="45"/>
                      </a:lnTo>
                      <a:lnTo>
                        <a:pt x="78" y="44"/>
                      </a:lnTo>
                      <a:lnTo>
                        <a:pt x="82" y="43"/>
                      </a:lnTo>
                      <a:lnTo>
                        <a:pt x="83" y="41"/>
                      </a:lnTo>
                      <a:lnTo>
                        <a:pt x="82" y="40"/>
                      </a:lnTo>
                      <a:lnTo>
                        <a:pt x="79" y="32"/>
                      </a:lnTo>
                      <a:lnTo>
                        <a:pt x="78" y="29"/>
                      </a:lnTo>
                      <a:lnTo>
                        <a:pt x="79" y="26"/>
                      </a:lnTo>
                      <a:lnTo>
                        <a:pt x="80" y="25"/>
                      </a:lnTo>
                      <a:lnTo>
                        <a:pt x="83" y="25"/>
                      </a:lnTo>
                      <a:lnTo>
                        <a:pt x="86" y="25"/>
                      </a:lnTo>
                      <a:lnTo>
                        <a:pt x="88" y="25"/>
                      </a:lnTo>
                      <a:lnTo>
                        <a:pt x="88" y="23"/>
                      </a:lnTo>
                      <a:lnTo>
                        <a:pt x="87" y="22"/>
                      </a:lnTo>
                      <a:lnTo>
                        <a:pt x="84" y="21"/>
                      </a:lnTo>
                      <a:lnTo>
                        <a:pt x="80" y="19"/>
                      </a:lnTo>
                      <a:lnTo>
                        <a:pt x="78" y="18"/>
                      </a:lnTo>
                      <a:lnTo>
                        <a:pt x="77" y="17"/>
                      </a:lnTo>
                      <a:lnTo>
                        <a:pt x="75" y="15"/>
                      </a:lnTo>
                      <a:lnTo>
                        <a:pt x="74" y="8"/>
                      </a:lnTo>
                      <a:lnTo>
                        <a:pt x="73" y="4"/>
                      </a:lnTo>
                      <a:lnTo>
                        <a:pt x="70"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0" name="Freeform 1140"/>
                <p:cNvSpPr>
                  <a:spLocks/>
                </p:cNvSpPr>
                <p:nvPr/>
              </p:nvSpPr>
              <p:spPr bwMode="auto">
                <a:xfrm>
                  <a:off x="6818770" y="1797729"/>
                  <a:ext cx="158346" cy="109511"/>
                </a:xfrm>
                <a:custGeom>
                  <a:avLst/>
                  <a:gdLst>
                    <a:gd name="T0" fmla="*/ 2147483647 w 116"/>
                    <a:gd name="T1" fmla="*/ 2147483647 h 74"/>
                    <a:gd name="T2" fmla="*/ 2147483647 w 116"/>
                    <a:gd name="T3" fmla="*/ 2147483647 h 74"/>
                    <a:gd name="T4" fmla="*/ 2147483647 w 116"/>
                    <a:gd name="T5" fmla="*/ 2147483647 h 74"/>
                    <a:gd name="T6" fmla="*/ 2147483647 w 116"/>
                    <a:gd name="T7" fmla="*/ 2147483647 h 74"/>
                    <a:gd name="T8" fmla="*/ 2147483647 w 116"/>
                    <a:gd name="T9" fmla="*/ 2147483647 h 74"/>
                    <a:gd name="T10" fmla="*/ 2147483647 w 116"/>
                    <a:gd name="T11" fmla="*/ 2147483647 h 74"/>
                    <a:gd name="T12" fmla="*/ 2147483647 w 116"/>
                    <a:gd name="T13" fmla="*/ 2147483647 h 74"/>
                    <a:gd name="T14" fmla="*/ 2147483647 w 116"/>
                    <a:gd name="T15" fmla="*/ 2147483647 h 74"/>
                    <a:gd name="T16" fmla="*/ 2147483647 w 116"/>
                    <a:gd name="T17" fmla="*/ 2147483647 h 74"/>
                    <a:gd name="T18" fmla="*/ 2147483647 w 116"/>
                    <a:gd name="T19" fmla="*/ 2147483647 h 74"/>
                    <a:gd name="T20" fmla="*/ 2147483647 w 116"/>
                    <a:gd name="T21" fmla="*/ 0 h 74"/>
                    <a:gd name="T22" fmla="*/ 2147483647 w 116"/>
                    <a:gd name="T23" fmla="*/ 2147483647 h 74"/>
                    <a:gd name="T24" fmla="*/ 2147483647 w 116"/>
                    <a:gd name="T25" fmla="*/ 2147483647 h 74"/>
                    <a:gd name="T26" fmla="*/ 0 w 116"/>
                    <a:gd name="T27" fmla="*/ 2147483647 h 74"/>
                    <a:gd name="T28" fmla="*/ 0 w 116"/>
                    <a:gd name="T29" fmla="*/ 2147483647 h 74"/>
                    <a:gd name="T30" fmla="*/ 2147483647 w 116"/>
                    <a:gd name="T31" fmla="*/ 2147483647 h 74"/>
                    <a:gd name="T32" fmla="*/ 2147483647 w 116"/>
                    <a:gd name="T33" fmla="*/ 2147483647 h 74"/>
                    <a:gd name="T34" fmla="*/ 2147483647 w 116"/>
                    <a:gd name="T35" fmla="*/ 2147483647 h 74"/>
                    <a:gd name="T36" fmla="*/ 2147483647 w 116"/>
                    <a:gd name="T37" fmla="*/ 2147483647 h 74"/>
                    <a:gd name="T38" fmla="*/ 2147483647 w 116"/>
                    <a:gd name="T39" fmla="*/ 2147483647 h 74"/>
                    <a:gd name="T40" fmla="*/ 2147483647 w 116"/>
                    <a:gd name="T41" fmla="*/ 2147483647 h 74"/>
                    <a:gd name="T42" fmla="*/ 2147483647 w 116"/>
                    <a:gd name="T43" fmla="*/ 2147483647 h 74"/>
                    <a:gd name="T44" fmla="*/ 2147483647 w 116"/>
                    <a:gd name="T45" fmla="*/ 2147483647 h 74"/>
                    <a:gd name="T46" fmla="*/ 2147483647 w 116"/>
                    <a:gd name="T47" fmla="*/ 2147483647 h 74"/>
                    <a:gd name="T48" fmla="*/ 2147483647 w 116"/>
                    <a:gd name="T49" fmla="*/ 2147483647 h 74"/>
                    <a:gd name="T50" fmla="*/ 2147483647 w 116"/>
                    <a:gd name="T51" fmla="*/ 2147483647 h 74"/>
                    <a:gd name="T52" fmla="*/ 2147483647 w 116"/>
                    <a:gd name="T53" fmla="*/ 2147483647 h 74"/>
                    <a:gd name="T54" fmla="*/ 2147483647 w 116"/>
                    <a:gd name="T55" fmla="*/ 2147483647 h 74"/>
                    <a:gd name="T56" fmla="*/ 2147483647 w 116"/>
                    <a:gd name="T57" fmla="*/ 2147483647 h 74"/>
                    <a:gd name="T58" fmla="*/ 2147483647 w 116"/>
                    <a:gd name="T59" fmla="*/ 2147483647 h 74"/>
                    <a:gd name="T60" fmla="*/ 2147483647 w 116"/>
                    <a:gd name="T61" fmla="*/ 2147483647 h 74"/>
                    <a:gd name="T62" fmla="*/ 2147483647 w 116"/>
                    <a:gd name="T63" fmla="*/ 2147483647 h 74"/>
                    <a:gd name="T64" fmla="*/ 2147483647 w 116"/>
                    <a:gd name="T65" fmla="*/ 2147483647 h 74"/>
                    <a:gd name="T66" fmla="*/ 2147483647 w 116"/>
                    <a:gd name="T67" fmla="*/ 2147483647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74"/>
                    <a:gd name="T104" fmla="*/ 116 w 116"/>
                    <a:gd name="T105" fmla="*/ 74 h 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74">
                      <a:moveTo>
                        <a:pt x="116" y="18"/>
                      </a:moveTo>
                      <a:lnTo>
                        <a:pt x="114" y="13"/>
                      </a:lnTo>
                      <a:lnTo>
                        <a:pt x="110" y="10"/>
                      </a:lnTo>
                      <a:lnTo>
                        <a:pt x="100" y="3"/>
                      </a:lnTo>
                      <a:lnTo>
                        <a:pt x="97" y="3"/>
                      </a:lnTo>
                      <a:lnTo>
                        <a:pt x="95" y="2"/>
                      </a:lnTo>
                      <a:lnTo>
                        <a:pt x="92" y="3"/>
                      </a:lnTo>
                      <a:lnTo>
                        <a:pt x="90" y="4"/>
                      </a:lnTo>
                      <a:lnTo>
                        <a:pt x="88" y="9"/>
                      </a:lnTo>
                      <a:lnTo>
                        <a:pt x="87" y="13"/>
                      </a:lnTo>
                      <a:lnTo>
                        <a:pt x="85" y="17"/>
                      </a:lnTo>
                      <a:lnTo>
                        <a:pt x="83" y="19"/>
                      </a:lnTo>
                      <a:lnTo>
                        <a:pt x="81" y="21"/>
                      </a:lnTo>
                      <a:lnTo>
                        <a:pt x="80" y="19"/>
                      </a:lnTo>
                      <a:lnTo>
                        <a:pt x="80" y="18"/>
                      </a:lnTo>
                      <a:lnTo>
                        <a:pt x="80" y="16"/>
                      </a:lnTo>
                      <a:lnTo>
                        <a:pt x="82" y="13"/>
                      </a:lnTo>
                      <a:lnTo>
                        <a:pt x="82" y="11"/>
                      </a:lnTo>
                      <a:lnTo>
                        <a:pt x="82" y="9"/>
                      </a:lnTo>
                      <a:lnTo>
                        <a:pt x="81" y="6"/>
                      </a:lnTo>
                      <a:lnTo>
                        <a:pt x="81" y="4"/>
                      </a:lnTo>
                      <a:lnTo>
                        <a:pt x="82" y="0"/>
                      </a:lnTo>
                      <a:lnTo>
                        <a:pt x="60" y="3"/>
                      </a:lnTo>
                      <a:lnTo>
                        <a:pt x="39" y="9"/>
                      </a:lnTo>
                      <a:lnTo>
                        <a:pt x="29" y="12"/>
                      </a:lnTo>
                      <a:lnTo>
                        <a:pt x="19" y="17"/>
                      </a:lnTo>
                      <a:lnTo>
                        <a:pt x="8" y="22"/>
                      </a:lnTo>
                      <a:lnTo>
                        <a:pt x="0" y="28"/>
                      </a:lnTo>
                      <a:lnTo>
                        <a:pt x="0" y="29"/>
                      </a:lnTo>
                      <a:lnTo>
                        <a:pt x="0" y="30"/>
                      </a:lnTo>
                      <a:lnTo>
                        <a:pt x="0" y="35"/>
                      </a:lnTo>
                      <a:lnTo>
                        <a:pt x="2" y="38"/>
                      </a:lnTo>
                      <a:lnTo>
                        <a:pt x="6" y="42"/>
                      </a:lnTo>
                      <a:lnTo>
                        <a:pt x="13" y="45"/>
                      </a:lnTo>
                      <a:lnTo>
                        <a:pt x="20" y="51"/>
                      </a:lnTo>
                      <a:lnTo>
                        <a:pt x="26" y="57"/>
                      </a:lnTo>
                      <a:lnTo>
                        <a:pt x="34" y="62"/>
                      </a:lnTo>
                      <a:lnTo>
                        <a:pt x="35" y="63"/>
                      </a:lnTo>
                      <a:lnTo>
                        <a:pt x="38" y="62"/>
                      </a:lnTo>
                      <a:lnTo>
                        <a:pt x="41" y="58"/>
                      </a:lnTo>
                      <a:lnTo>
                        <a:pt x="43" y="58"/>
                      </a:lnTo>
                      <a:lnTo>
                        <a:pt x="45" y="58"/>
                      </a:lnTo>
                      <a:lnTo>
                        <a:pt x="52" y="61"/>
                      </a:lnTo>
                      <a:lnTo>
                        <a:pt x="57" y="63"/>
                      </a:lnTo>
                      <a:lnTo>
                        <a:pt x="58" y="64"/>
                      </a:lnTo>
                      <a:lnTo>
                        <a:pt x="60" y="66"/>
                      </a:lnTo>
                      <a:lnTo>
                        <a:pt x="63" y="68"/>
                      </a:lnTo>
                      <a:lnTo>
                        <a:pt x="64" y="70"/>
                      </a:lnTo>
                      <a:lnTo>
                        <a:pt x="67" y="72"/>
                      </a:lnTo>
                      <a:lnTo>
                        <a:pt x="68" y="73"/>
                      </a:lnTo>
                      <a:lnTo>
                        <a:pt x="78" y="74"/>
                      </a:lnTo>
                      <a:lnTo>
                        <a:pt x="88" y="74"/>
                      </a:lnTo>
                      <a:lnTo>
                        <a:pt x="91" y="73"/>
                      </a:lnTo>
                      <a:lnTo>
                        <a:pt x="92" y="70"/>
                      </a:lnTo>
                      <a:lnTo>
                        <a:pt x="99" y="67"/>
                      </a:lnTo>
                      <a:lnTo>
                        <a:pt x="105" y="63"/>
                      </a:lnTo>
                      <a:lnTo>
                        <a:pt x="109" y="62"/>
                      </a:lnTo>
                      <a:lnTo>
                        <a:pt x="110" y="60"/>
                      </a:lnTo>
                      <a:lnTo>
                        <a:pt x="111" y="56"/>
                      </a:lnTo>
                      <a:lnTo>
                        <a:pt x="111" y="54"/>
                      </a:lnTo>
                      <a:lnTo>
                        <a:pt x="109" y="50"/>
                      </a:lnTo>
                      <a:lnTo>
                        <a:pt x="106" y="47"/>
                      </a:lnTo>
                      <a:lnTo>
                        <a:pt x="104" y="43"/>
                      </a:lnTo>
                      <a:lnTo>
                        <a:pt x="104" y="41"/>
                      </a:lnTo>
                      <a:lnTo>
                        <a:pt x="105" y="39"/>
                      </a:lnTo>
                      <a:lnTo>
                        <a:pt x="110" y="35"/>
                      </a:lnTo>
                      <a:lnTo>
                        <a:pt x="113" y="30"/>
                      </a:lnTo>
                      <a:lnTo>
                        <a:pt x="115" y="24"/>
                      </a:lnTo>
                      <a:lnTo>
                        <a:pt x="116" y="1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1" name="Freeform 1141"/>
                <p:cNvSpPr>
                  <a:spLocks/>
                </p:cNvSpPr>
                <p:nvPr/>
              </p:nvSpPr>
              <p:spPr bwMode="auto">
                <a:xfrm>
                  <a:off x="7119184" y="1905757"/>
                  <a:ext cx="29597" cy="17758"/>
                </a:xfrm>
                <a:custGeom>
                  <a:avLst/>
                  <a:gdLst>
                    <a:gd name="T0" fmla="*/ 2147483647 w 22"/>
                    <a:gd name="T1" fmla="*/ 0 h 12"/>
                    <a:gd name="T2" fmla="*/ 2147483647 w 22"/>
                    <a:gd name="T3" fmla="*/ 0 h 12"/>
                    <a:gd name="T4" fmla="*/ 2147483647 w 22"/>
                    <a:gd name="T5" fmla="*/ 2147483647 h 12"/>
                    <a:gd name="T6" fmla="*/ 2147483647 w 22"/>
                    <a:gd name="T7" fmla="*/ 2147483647 h 12"/>
                    <a:gd name="T8" fmla="*/ 2147483647 w 22"/>
                    <a:gd name="T9" fmla="*/ 2147483647 h 12"/>
                    <a:gd name="T10" fmla="*/ 2147483647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0 w 22"/>
                    <a:gd name="T25" fmla="*/ 2147483647 h 12"/>
                    <a:gd name="T26" fmla="*/ 2147483647 w 22"/>
                    <a:gd name="T27" fmla="*/ 2147483647 h 12"/>
                    <a:gd name="T28" fmla="*/ 2147483647 w 22"/>
                    <a:gd name="T29" fmla="*/ 2147483647 h 12"/>
                    <a:gd name="T30" fmla="*/ 2147483647 w 22"/>
                    <a:gd name="T31" fmla="*/ 0 h 12"/>
                    <a:gd name="T32" fmla="*/ 2147483647 w 22"/>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2"/>
                    <a:gd name="T53" fmla="*/ 22 w 22"/>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2">
                      <a:moveTo>
                        <a:pt x="13" y="0"/>
                      </a:moveTo>
                      <a:lnTo>
                        <a:pt x="17" y="0"/>
                      </a:lnTo>
                      <a:lnTo>
                        <a:pt x="20" y="2"/>
                      </a:lnTo>
                      <a:lnTo>
                        <a:pt x="21" y="3"/>
                      </a:lnTo>
                      <a:lnTo>
                        <a:pt x="22" y="6"/>
                      </a:lnTo>
                      <a:lnTo>
                        <a:pt x="22" y="9"/>
                      </a:lnTo>
                      <a:lnTo>
                        <a:pt x="21" y="10"/>
                      </a:lnTo>
                      <a:lnTo>
                        <a:pt x="18" y="12"/>
                      </a:lnTo>
                      <a:lnTo>
                        <a:pt x="12" y="12"/>
                      </a:lnTo>
                      <a:lnTo>
                        <a:pt x="4" y="10"/>
                      </a:lnTo>
                      <a:lnTo>
                        <a:pt x="2" y="10"/>
                      </a:lnTo>
                      <a:lnTo>
                        <a:pt x="2" y="9"/>
                      </a:lnTo>
                      <a:lnTo>
                        <a:pt x="0" y="6"/>
                      </a:lnTo>
                      <a:lnTo>
                        <a:pt x="3" y="2"/>
                      </a:lnTo>
                      <a:lnTo>
                        <a:pt x="6" y="1"/>
                      </a:lnTo>
                      <a:lnTo>
                        <a:pt x="9" y="0"/>
                      </a:lnTo>
                      <a:lnTo>
                        <a:pt x="1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2" name="Freeform 1142"/>
                <p:cNvSpPr>
                  <a:spLocks/>
                </p:cNvSpPr>
                <p:nvPr/>
              </p:nvSpPr>
              <p:spPr bwMode="auto">
                <a:xfrm>
                  <a:off x="6815811" y="1796248"/>
                  <a:ext cx="159826" cy="109511"/>
                </a:xfrm>
                <a:custGeom>
                  <a:avLst/>
                  <a:gdLst>
                    <a:gd name="T0" fmla="*/ 2147483647 w 117"/>
                    <a:gd name="T1" fmla="*/ 2147483647 h 74"/>
                    <a:gd name="T2" fmla="*/ 2147483647 w 117"/>
                    <a:gd name="T3" fmla="*/ 2147483647 h 74"/>
                    <a:gd name="T4" fmla="*/ 2147483647 w 117"/>
                    <a:gd name="T5" fmla="*/ 2147483647 h 74"/>
                    <a:gd name="T6" fmla="*/ 2147483647 w 117"/>
                    <a:gd name="T7" fmla="*/ 2147483647 h 74"/>
                    <a:gd name="T8" fmla="*/ 2147483647 w 117"/>
                    <a:gd name="T9" fmla="*/ 2147483647 h 74"/>
                    <a:gd name="T10" fmla="*/ 2147483647 w 117"/>
                    <a:gd name="T11" fmla="*/ 2147483647 h 74"/>
                    <a:gd name="T12" fmla="*/ 2147483647 w 117"/>
                    <a:gd name="T13" fmla="*/ 2147483647 h 74"/>
                    <a:gd name="T14" fmla="*/ 2147483647 w 117"/>
                    <a:gd name="T15" fmla="*/ 2147483647 h 74"/>
                    <a:gd name="T16" fmla="*/ 2147483647 w 117"/>
                    <a:gd name="T17" fmla="*/ 2147483647 h 74"/>
                    <a:gd name="T18" fmla="*/ 2147483647 w 117"/>
                    <a:gd name="T19" fmla="*/ 2147483647 h 74"/>
                    <a:gd name="T20" fmla="*/ 2147483647 w 117"/>
                    <a:gd name="T21" fmla="*/ 2147483647 h 74"/>
                    <a:gd name="T22" fmla="*/ 2147483647 w 117"/>
                    <a:gd name="T23" fmla="*/ 2147483647 h 74"/>
                    <a:gd name="T24" fmla="*/ 2147483647 w 117"/>
                    <a:gd name="T25" fmla="*/ 2147483647 h 74"/>
                    <a:gd name="T26" fmla="*/ 2147483647 w 117"/>
                    <a:gd name="T27" fmla="*/ 0 h 74"/>
                    <a:gd name="T28" fmla="*/ 2147483647 w 117"/>
                    <a:gd name="T29" fmla="*/ 2147483647 h 74"/>
                    <a:gd name="T30" fmla="*/ 2147483647 w 117"/>
                    <a:gd name="T31" fmla="*/ 2147483647 h 74"/>
                    <a:gd name="T32" fmla="*/ 2147483647 w 117"/>
                    <a:gd name="T33" fmla="*/ 2147483647 h 74"/>
                    <a:gd name="T34" fmla="*/ 0 w 117"/>
                    <a:gd name="T35" fmla="*/ 2147483647 h 74"/>
                    <a:gd name="T36" fmla="*/ 0 w 117"/>
                    <a:gd name="T37" fmla="*/ 2147483647 h 74"/>
                    <a:gd name="T38" fmla="*/ 2147483647 w 117"/>
                    <a:gd name="T39" fmla="*/ 2147483647 h 74"/>
                    <a:gd name="T40" fmla="*/ 2147483647 w 117"/>
                    <a:gd name="T41" fmla="*/ 2147483647 h 74"/>
                    <a:gd name="T42" fmla="*/ 2147483647 w 117"/>
                    <a:gd name="T43" fmla="*/ 2147483647 h 74"/>
                    <a:gd name="T44" fmla="*/ 2147483647 w 117"/>
                    <a:gd name="T45" fmla="*/ 2147483647 h 74"/>
                    <a:gd name="T46" fmla="*/ 2147483647 w 117"/>
                    <a:gd name="T47" fmla="*/ 2147483647 h 74"/>
                    <a:gd name="T48" fmla="*/ 2147483647 w 117"/>
                    <a:gd name="T49" fmla="*/ 2147483647 h 74"/>
                    <a:gd name="T50" fmla="*/ 2147483647 w 117"/>
                    <a:gd name="T51" fmla="*/ 2147483647 h 74"/>
                    <a:gd name="T52" fmla="*/ 2147483647 w 117"/>
                    <a:gd name="T53" fmla="*/ 2147483647 h 74"/>
                    <a:gd name="T54" fmla="*/ 2147483647 w 117"/>
                    <a:gd name="T55" fmla="*/ 2147483647 h 74"/>
                    <a:gd name="T56" fmla="*/ 2147483647 w 117"/>
                    <a:gd name="T57" fmla="*/ 2147483647 h 74"/>
                    <a:gd name="T58" fmla="*/ 2147483647 w 117"/>
                    <a:gd name="T59" fmla="*/ 2147483647 h 74"/>
                    <a:gd name="T60" fmla="*/ 2147483647 w 117"/>
                    <a:gd name="T61" fmla="*/ 2147483647 h 74"/>
                    <a:gd name="T62" fmla="*/ 2147483647 w 117"/>
                    <a:gd name="T63" fmla="*/ 2147483647 h 74"/>
                    <a:gd name="T64" fmla="*/ 2147483647 w 117"/>
                    <a:gd name="T65" fmla="*/ 2147483647 h 74"/>
                    <a:gd name="T66" fmla="*/ 2147483647 w 117"/>
                    <a:gd name="T67" fmla="*/ 2147483647 h 74"/>
                    <a:gd name="T68" fmla="*/ 2147483647 w 117"/>
                    <a:gd name="T69" fmla="*/ 2147483647 h 74"/>
                    <a:gd name="T70" fmla="*/ 2147483647 w 117"/>
                    <a:gd name="T71" fmla="*/ 2147483647 h 74"/>
                    <a:gd name="T72" fmla="*/ 2147483647 w 117"/>
                    <a:gd name="T73" fmla="*/ 2147483647 h 74"/>
                    <a:gd name="T74" fmla="*/ 2147483647 w 117"/>
                    <a:gd name="T75" fmla="*/ 2147483647 h 74"/>
                    <a:gd name="T76" fmla="*/ 2147483647 w 117"/>
                    <a:gd name="T77" fmla="*/ 2147483647 h 74"/>
                    <a:gd name="T78" fmla="*/ 2147483647 w 117"/>
                    <a:gd name="T79" fmla="*/ 2147483647 h 74"/>
                    <a:gd name="T80" fmla="*/ 2147483647 w 117"/>
                    <a:gd name="T81" fmla="*/ 2147483647 h 74"/>
                    <a:gd name="T82" fmla="*/ 2147483647 w 117"/>
                    <a:gd name="T83" fmla="*/ 2147483647 h 74"/>
                    <a:gd name="T84" fmla="*/ 2147483647 w 117"/>
                    <a:gd name="T85" fmla="*/ 2147483647 h 74"/>
                    <a:gd name="T86" fmla="*/ 2147483647 w 117"/>
                    <a:gd name="T87" fmla="*/ 2147483647 h 7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
                    <a:gd name="T133" fmla="*/ 0 h 74"/>
                    <a:gd name="T134" fmla="*/ 117 w 117"/>
                    <a:gd name="T135" fmla="*/ 74 h 7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 h="74">
                      <a:moveTo>
                        <a:pt x="117" y="18"/>
                      </a:moveTo>
                      <a:lnTo>
                        <a:pt x="117" y="18"/>
                      </a:lnTo>
                      <a:lnTo>
                        <a:pt x="115" y="13"/>
                      </a:lnTo>
                      <a:lnTo>
                        <a:pt x="111" y="10"/>
                      </a:lnTo>
                      <a:lnTo>
                        <a:pt x="101" y="3"/>
                      </a:lnTo>
                      <a:lnTo>
                        <a:pt x="98" y="3"/>
                      </a:lnTo>
                      <a:lnTo>
                        <a:pt x="95" y="1"/>
                      </a:lnTo>
                      <a:lnTo>
                        <a:pt x="93" y="3"/>
                      </a:lnTo>
                      <a:lnTo>
                        <a:pt x="90" y="4"/>
                      </a:lnTo>
                      <a:lnTo>
                        <a:pt x="89" y="8"/>
                      </a:lnTo>
                      <a:lnTo>
                        <a:pt x="88" y="13"/>
                      </a:lnTo>
                      <a:lnTo>
                        <a:pt x="85" y="17"/>
                      </a:lnTo>
                      <a:lnTo>
                        <a:pt x="84" y="19"/>
                      </a:lnTo>
                      <a:lnTo>
                        <a:pt x="82" y="20"/>
                      </a:lnTo>
                      <a:lnTo>
                        <a:pt x="80" y="19"/>
                      </a:lnTo>
                      <a:lnTo>
                        <a:pt x="80" y="18"/>
                      </a:lnTo>
                      <a:lnTo>
                        <a:pt x="80" y="16"/>
                      </a:lnTo>
                      <a:lnTo>
                        <a:pt x="83" y="13"/>
                      </a:lnTo>
                      <a:lnTo>
                        <a:pt x="83" y="11"/>
                      </a:lnTo>
                      <a:lnTo>
                        <a:pt x="83" y="8"/>
                      </a:lnTo>
                      <a:lnTo>
                        <a:pt x="82" y="6"/>
                      </a:lnTo>
                      <a:lnTo>
                        <a:pt x="82" y="4"/>
                      </a:lnTo>
                      <a:lnTo>
                        <a:pt x="83" y="0"/>
                      </a:lnTo>
                      <a:lnTo>
                        <a:pt x="61" y="3"/>
                      </a:lnTo>
                      <a:lnTo>
                        <a:pt x="40" y="8"/>
                      </a:lnTo>
                      <a:lnTo>
                        <a:pt x="29" y="12"/>
                      </a:lnTo>
                      <a:lnTo>
                        <a:pt x="19" y="17"/>
                      </a:lnTo>
                      <a:lnTo>
                        <a:pt x="9" y="22"/>
                      </a:lnTo>
                      <a:lnTo>
                        <a:pt x="0" y="27"/>
                      </a:lnTo>
                      <a:lnTo>
                        <a:pt x="0" y="29"/>
                      </a:lnTo>
                      <a:lnTo>
                        <a:pt x="0" y="30"/>
                      </a:lnTo>
                      <a:lnTo>
                        <a:pt x="0" y="35"/>
                      </a:lnTo>
                      <a:lnTo>
                        <a:pt x="3" y="38"/>
                      </a:lnTo>
                      <a:lnTo>
                        <a:pt x="7" y="42"/>
                      </a:lnTo>
                      <a:lnTo>
                        <a:pt x="14" y="45"/>
                      </a:lnTo>
                      <a:lnTo>
                        <a:pt x="21" y="51"/>
                      </a:lnTo>
                      <a:lnTo>
                        <a:pt x="27" y="57"/>
                      </a:lnTo>
                      <a:lnTo>
                        <a:pt x="35" y="62"/>
                      </a:lnTo>
                      <a:lnTo>
                        <a:pt x="36" y="63"/>
                      </a:lnTo>
                      <a:lnTo>
                        <a:pt x="38" y="62"/>
                      </a:lnTo>
                      <a:lnTo>
                        <a:pt x="42" y="58"/>
                      </a:lnTo>
                      <a:lnTo>
                        <a:pt x="43" y="58"/>
                      </a:lnTo>
                      <a:lnTo>
                        <a:pt x="46" y="58"/>
                      </a:lnTo>
                      <a:lnTo>
                        <a:pt x="52" y="61"/>
                      </a:lnTo>
                      <a:lnTo>
                        <a:pt x="57" y="63"/>
                      </a:lnTo>
                      <a:lnTo>
                        <a:pt x="59" y="64"/>
                      </a:lnTo>
                      <a:lnTo>
                        <a:pt x="61" y="65"/>
                      </a:lnTo>
                      <a:lnTo>
                        <a:pt x="64" y="68"/>
                      </a:lnTo>
                      <a:lnTo>
                        <a:pt x="65" y="70"/>
                      </a:lnTo>
                      <a:lnTo>
                        <a:pt x="68" y="71"/>
                      </a:lnTo>
                      <a:lnTo>
                        <a:pt x="69" y="73"/>
                      </a:lnTo>
                      <a:lnTo>
                        <a:pt x="79" y="74"/>
                      </a:lnTo>
                      <a:lnTo>
                        <a:pt x="89" y="74"/>
                      </a:lnTo>
                      <a:lnTo>
                        <a:pt x="92" y="73"/>
                      </a:lnTo>
                      <a:lnTo>
                        <a:pt x="93" y="70"/>
                      </a:lnTo>
                      <a:lnTo>
                        <a:pt x="99" y="67"/>
                      </a:lnTo>
                      <a:lnTo>
                        <a:pt x="106" y="63"/>
                      </a:lnTo>
                      <a:lnTo>
                        <a:pt x="109" y="62"/>
                      </a:lnTo>
                      <a:lnTo>
                        <a:pt x="111" y="59"/>
                      </a:lnTo>
                      <a:lnTo>
                        <a:pt x="112" y="56"/>
                      </a:lnTo>
                      <a:lnTo>
                        <a:pt x="112" y="54"/>
                      </a:lnTo>
                      <a:lnTo>
                        <a:pt x="109" y="50"/>
                      </a:lnTo>
                      <a:lnTo>
                        <a:pt x="107" y="46"/>
                      </a:lnTo>
                      <a:lnTo>
                        <a:pt x="104" y="43"/>
                      </a:lnTo>
                      <a:lnTo>
                        <a:pt x="104" y="40"/>
                      </a:lnTo>
                      <a:lnTo>
                        <a:pt x="106" y="39"/>
                      </a:lnTo>
                      <a:lnTo>
                        <a:pt x="111" y="35"/>
                      </a:lnTo>
                      <a:lnTo>
                        <a:pt x="113" y="30"/>
                      </a:lnTo>
                      <a:lnTo>
                        <a:pt x="116" y="24"/>
                      </a:lnTo>
                      <a:lnTo>
                        <a:pt x="117" y="1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3" name="Freeform 1143"/>
                <p:cNvSpPr>
                  <a:spLocks/>
                </p:cNvSpPr>
                <p:nvPr/>
              </p:nvSpPr>
              <p:spPr bwMode="auto">
                <a:xfrm>
                  <a:off x="7117706" y="1904276"/>
                  <a:ext cx="29597" cy="16278"/>
                </a:xfrm>
                <a:custGeom>
                  <a:avLst/>
                  <a:gdLst>
                    <a:gd name="T0" fmla="*/ 2147483647 w 22"/>
                    <a:gd name="T1" fmla="*/ 0 h 11"/>
                    <a:gd name="T2" fmla="*/ 2147483647 w 22"/>
                    <a:gd name="T3" fmla="*/ 0 h 11"/>
                    <a:gd name="T4" fmla="*/ 2147483647 w 22"/>
                    <a:gd name="T5" fmla="*/ 0 h 11"/>
                    <a:gd name="T6" fmla="*/ 2147483647 w 22"/>
                    <a:gd name="T7" fmla="*/ 2147483647 h 11"/>
                    <a:gd name="T8" fmla="*/ 2147483647 w 22"/>
                    <a:gd name="T9" fmla="*/ 2147483647 h 11"/>
                    <a:gd name="T10" fmla="*/ 2147483647 w 22"/>
                    <a:gd name="T11" fmla="*/ 2147483647 h 11"/>
                    <a:gd name="T12" fmla="*/ 2147483647 w 22"/>
                    <a:gd name="T13" fmla="*/ 2147483647 h 11"/>
                    <a:gd name="T14" fmla="*/ 2147483647 w 22"/>
                    <a:gd name="T15" fmla="*/ 2147483647 h 11"/>
                    <a:gd name="T16" fmla="*/ 2147483647 w 22"/>
                    <a:gd name="T17" fmla="*/ 2147483647 h 11"/>
                    <a:gd name="T18" fmla="*/ 2147483647 w 22"/>
                    <a:gd name="T19" fmla="*/ 2147483647 h 11"/>
                    <a:gd name="T20" fmla="*/ 2147483647 w 22"/>
                    <a:gd name="T21" fmla="*/ 2147483647 h 11"/>
                    <a:gd name="T22" fmla="*/ 2147483647 w 22"/>
                    <a:gd name="T23" fmla="*/ 2147483647 h 11"/>
                    <a:gd name="T24" fmla="*/ 2147483647 w 22"/>
                    <a:gd name="T25" fmla="*/ 2147483647 h 11"/>
                    <a:gd name="T26" fmla="*/ 2147483647 w 22"/>
                    <a:gd name="T27" fmla="*/ 2147483647 h 11"/>
                    <a:gd name="T28" fmla="*/ 2147483647 w 22"/>
                    <a:gd name="T29" fmla="*/ 2147483647 h 11"/>
                    <a:gd name="T30" fmla="*/ 2147483647 w 22"/>
                    <a:gd name="T31" fmla="*/ 2147483647 h 11"/>
                    <a:gd name="T32" fmla="*/ 0 w 22"/>
                    <a:gd name="T33" fmla="*/ 2147483647 h 11"/>
                    <a:gd name="T34" fmla="*/ 0 w 22"/>
                    <a:gd name="T35" fmla="*/ 2147483647 h 11"/>
                    <a:gd name="T36" fmla="*/ 2147483647 w 22"/>
                    <a:gd name="T37" fmla="*/ 2147483647 h 11"/>
                    <a:gd name="T38" fmla="*/ 2147483647 w 22"/>
                    <a:gd name="T39" fmla="*/ 2147483647 h 11"/>
                    <a:gd name="T40" fmla="*/ 2147483647 w 22"/>
                    <a:gd name="T41" fmla="*/ 0 h 11"/>
                    <a:gd name="T42" fmla="*/ 2147483647 w 22"/>
                    <a:gd name="T43" fmla="*/ 0 h 11"/>
                    <a:gd name="T44" fmla="*/ 2147483647 w 22"/>
                    <a:gd name="T45" fmla="*/ 0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11"/>
                    <a:gd name="T71" fmla="*/ 22 w 22"/>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11">
                      <a:moveTo>
                        <a:pt x="13" y="0"/>
                      </a:moveTo>
                      <a:lnTo>
                        <a:pt x="13" y="0"/>
                      </a:lnTo>
                      <a:lnTo>
                        <a:pt x="17" y="0"/>
                      </a:lnTo>
                      <a:lnTo>
                        <a:pt x="19" y="2"/>
                      </a:lnTo>
                      <a:lnTo>
                        <a:pt x="21" y="3"/>
                      </a:lnTo>
                      <a:lnTo>
                        <a:pt x="22" y="5"/>
                      </a:lnTo>
                      <a:lnTo>
                        <a:pt x="22" y="9"/>
                      </a:lnTo>
                      <a:lnTo>
                        <a:pt x="21" y="10"/>
                      </a:lnTo>
                      <a:lnTo>
                        <a:pt x="18" y="11"/>
                      </a:lnTo>
                      <a:lnTo>
                        <a:pt x="12" y="11"/>
                      </a:lnTo>
                      <a:lnTo>
                        <a:pt x="4" y="10"/>
                      </a:lnTo>
                      <a:lnTo>
                        <a:pt x="1" y="10"/>
                      </a:lnTo>
                      <a:lnTo>
                        <a:pt x="1" y="9"/>
                      </a:lnTo>
                      <a:lnTo>
                        <a:pt x="0" y="5"/>
                      </a:lnTo>
                      <a:lnTo>
                        <a:pt x="3" y="2"/>
                      </a:lnTo>
                      <a:lnTo>
                        <a:pt x="5" y="1"/>
                      </a:lnTo>
                      <a:lnTo>
                        <a:pt x="9" y="0"/>
                      </a:lnTo>
                      <a:lnTo>
                        <a:pt x="1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4" name="Freeform 1144"/>
                <p:cNvSpPr>
                  <a:spLocks/>
                </p:cNvSpPr>
                <p:nvPr/>
              </p:nvSpPr>
              <p:spPr bwMode="auto">
                <a:xfrm>
                  <a:off x="6852807" y="1978270"/>
                  <a:ext cx="36997" cy="16278"/>
                </a:xfrm>
                <a:custGeom>
                  <a:avLst/>
                  <a:gdLst>
                    <a:gd name="T0" fmla="*/ 2147483647 w 27"/>
                    <a:gd name="T1" fmla="*/ 2147483647 h 11"/>
                    <a:gd name="T2" fmla="*/ 2147483647 w 27"/>
                    <a:gd name="T3" fmla="*/ 2147483647 h 11"/>
                    <a:gd name="T4" fmla="*/ 2147483647 w 27"/>
                    <a:gd name="T5" fmla="*/ 2147483647 h 11"/>
                    <a:gd name="T6" fmla="*/ 2147483647 w 27"/>
                    <a:gd name="T7" fmla="*/ 2147483647 h 11"/>
                    <a:gd name="T8" fmla="*/ 2147483647 w 27"/>
                    <a:gd name="T9" fmla="*/ 2147483647 h 11"/>
                    <a:gd name="T10" fmla="*/ 2147483647 w 27"/>
                    <a:gd name="T11" fmla="*/ 2147483647 h 11"/>
                    <a:gd name="T12" fmla="*/ 2147483647 w 27"/>
                    <a:gd name="T13" fmla="*/ 2147483647 h 11"/>
                    <a:gd name="T14" fmla="*/ 2147483647 w 27"/>
                    <a:gd name="T15" fmla="*/ 2147483647 h 11"/>
                    <a:gd name="T16" fmla="*/ 0 w 27"/>
                    <a:gd name="T17" fmla="*/ 2147483647 h 11"/>
                    <a:gd name="T18" fmla="*/ 0 w 27"/>
                    <a:gd name="T19" fmla="*/ 2147483647 h 11"/>
                    <a:gd name="T20" fmla="*/ 2147483647 w 27"/>
                    <a:gd name="T21" fmla="*/ 2147483647 h 11"/>
                    <a:gd name="T22" fmla="*/ 2147483647 w 27"/>
                    <a:gd name="T23" fmla="*/ 2147483647 h 11"/>
                    <a:gd name="T24" fmla="*/ 2147483647 w 27"/>
                    <a:gd name="T25" fmla="*/ 0 h 11"/>
                    <a:gd name="T26" fmla="*/ 2147483647 w 27"/>
                    <a:gd name="T27" fmla="*/ 0 h 11"/>
                    <a:gd name="T28" fmla="*/ 2147483647 w 27"/>
                    <a:gd name="T29" fmla="*/ 2147483647 h 11"/>
                    <a:gd name="T30" fmla="*/ 2147483647 w 27"/>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11"/>
                    <a:gd name="T50" fmla="*/ 27 w 27"/>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11">
                      <a:moveTo>
                        <a:pt x="27" y="4"/>
                      </a:moveTo>
                      <a:lnTo>
                        <a:pt x="27" y="6"/>
                      </a:lnTo>
                      <a:lnTo>
                        <a:pt x="25" y="9"/>
                      </a:lnTo>
                      <a:lnTo>
                        <a:pt x="21" y="10"/>
                      </a:lnTo>
                      <a:lnTo>
                        <a:pt x="19" y="11"/>
                      </a:lnTo>
                      <a:lnTo>
                        <a:pt x="10" y="11"/>
                      </a:lnTo>
                      <a:lnTo>
                        <a:pt x="2" y="11"/>
                      </a:lnTo>
                      <a:lnTo>
                        <a:pt x="1" y="10"/>
                      </a:lnTo>
                      <a:lnTo>
                        <a:pt x="0" y="10"/>
                      </a:lnTo>
                      <a:lnTo>
                        <a:pt x="0" y="9"/>
                      </a:lnTo>
                      <a:lnTo>
                        <a:pt x="8" y="5"/>
                      </a:lnTo>
                      <a:lnTo>
                        <a:pt x="16" y="2"/>
                      </a:lnTo>
                      <a:lnTo>
                        <a:pt x="20" y="0"/>
                      </a:lnTo>
                      <a:lnTo>
                        <a:pt x="24" y="0"/>
                      </a:lnTo>
                      <a:lnTo>
                        <a:pt x="25" y="2"/>
                      </a:lnTo>
                      <a:lnTo>
                        <a:pt x="27"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5" name="Freeform 1145"/>
                <p:cNvSpPr>
                  <a:spLocks/>
                </p:cNvSpPr>
                <p:nvPr/>
              </p:nvSpPr>
              <p:spPr bwMode="auto">
                <a:xfrm>
                  <a:off x="6972677" y="1831763"/>
                  <a:ext cx="106551" cy="105071"/>
                </a:xfrm>
                <a:custGeom>
                  <a:avLst/>
                  <a:gdLst>
                    <a:gd name="T0" fmla="*/ 2147483647 w 78"/>
                    <a:gd name="T1" fmla="*/ 2147483647 h 71"/>
                    <a:gd name="T2" fmla="*/ 2147483647 w 78"/>
                    <a:gd name="T3" fmla="*/ 2147483647 h 71"/>
                    <a:gd name="T4" fmla="*/ 2147483647 w 78"/>
                    <a:gd name="T5" fmla="*/ 2147483647 h 71"/>
                    <a:gd name="T6" fmla="*/ 2147483647 w 78"/>
                    <a:gd name="T7" fmla="*/ 2147483647 h 71"/>
                    <a:gd name="T8" fmla="*/ 2147483647 w 78"/>
                    <a:gd name="T9" fmla="*/ 2147483647 h 71"/>
                    <a:gd name="T10" fmla="*/ 2147483647 w 78"/>
                    <a:gd name="T11" fmla="*/ 2147483647 h 71"/>
                    <a:gd name="T12" fmla="*/ 2147483647 w 78"/>
                    <a:gd name="T13" fmla="*/ 2147483647 h 71"/>
                    <a:gd name="T14" fmla="*/ 2147483647 w 78"/>
                    <a:gd name="T15" fmla="*/ 2147483647 h 71"/>
                    <a:gd name="T16" fmla="*/ 2147483647 w 78"/>
                    <a:gd name="T17" fmla="*/ 2147483647 h 71"/>
                    <a:gd name="T18" fmla="*/ 2147483647 w 78"/>
                    <a:gd name="T19" fmla="*/ 2147483647 h 71"/>
                    <a:gd name="T20" fmla="*/ 2147483647 w 78"/>
                    <a:gd name="T21" fmla="*/ 2147483647 h 71"/>
                    <a:gd name="T22" fmla="*/ 2147483647 w 78"/>
                    <a:gd name="T23" fmla="*/ 2147483647 h 71"/>
                    <a:gd name="T24" fmla="*/ 2147483647 w 78"/>
                    <a:gd name="T25" fmla="*/ 2147483647 h 71"/>
                    <a:gd name="T26" fmla="*/ 2147483647 w 78"/>
                    <a:gd name="T27" fmla="*/ 2147483647 h 71"/>
                    <a:gd name="T28" fmla="*/ 2147483647 w 78"/>
                    <a:gd name="T29" fmla="*/ 2147483647 h 71"/>
                    <a:gd name="T30" fmla="*/ 2147483647 w 78"/>
                    <a:gd name="T31" fmla="*/ 2147483647 h 71"/>
                    <a:gd name="T32" fmla="*/ 2147483647 w 78"/>
                    <a:gd name="T33" fmla="*/ 2147483647 h 71"/>
                    <a:gd name="T34" fmla="*/ 2147483647 w 78"/>
                    <a:gd name="T35" fmla="*/ 2147483647 h 71"/>
                    <a:gd name="T36" fmla="*/ 2147483647 w 78"/>
                    <a:gd name="T37" fmla="*/ 2147483647 h 71"/>
                    <a:gd name="T38" fmla="*/ 2147483647 w 78"/>
                    <a:gd name="T39" fmla="*/ 2147483647 h 71"/>
                    <a:gd name="T40" fmla="*/ 2147483647 w 78"/>
                    <a:gd name="T41" fmla="*/ 2147483647 h 71"/>
                    <a:gd name="T42" fmla="*/ 2147483647 w 78"/>
                    <a:gd name="T43" fmla="*/ 2147483647 h 71"/>
                    <a:gd name="T44" fmla="*/ 2147483647 w 78"/>
                    <a:gd name="T45" fmla="*/ 0 h 71"/>
                    <a:gd name="T46" fmla="*/ 2147483647 w 78"/>
                    <a:gd name="T47" fmla="*/ 2147483647 h 71"/>
                    <a:gd name="T48" fmla="*/ 2147483647 w 78"/>
                    <a:gd name="T49" fmla="*/ 2147483647 h 71"/>
                    <a:gd name="T50" fmla="*/ 2147483647 w 78"/>
                    <a:gd name="T51" fmla="*/ 2147483647 h 71"/>
                    <a:gd name="T52" fmla="*/ 2147483647 w 78"/>
                    <a:gd name="T53" fmla="*/ 2147483647 h 71"/>
                    <a:gd name="T54" fmla="*/ 2147483647 w 78"/>
                    <a:gd name="T55" fmla="*/ 2147483647 h 71"/>
                    <a:gd name="T56" fmla="*/ 2147483647 w 78"/>
                    <a:gd name="T57" fmla="*/ 2147483647 h 71"/>
                    <a:gd name="T58" fmla="*/ 2147483647 w 78"/>
                    <a:gd name="T59" fmla="*/ 2147483647 h 71"/>
                    <a:gd name="T60" fmla="*/ 2147483647 w 78"/>
                    <a:gd name="T61" fmla="*/ 2147483647 h 71"/>
                    <a:gd name="T62" fmla="*/ 2147483647 w 78"/>
                    <a:gd name="T63" fmla="*/ 2147483647 h 71"/>
                    <a:gd name="T64" fmla="*/ 2147483647 w 78"/>
                    <a:gd name="T65" fmla="*/ 2147483647 h 71"/>
                    <a:gd name="T66" fmla="*/ 2147483647 w 78"/>
                    <a:gd name="T67" fmla="*/ 2147483647 h 71"/>
                    <a:gd name="T68" fmla="*/ 2147483647 w 78"/>
                    <a:gd name="T69" fmla="*/ 2147483647 h 71"/>
                    <a:gd name="T70" fmla="*/ 0 w 78"/>
                    <a:gd name="T71" fmla="*/ 2147483647 h 71"/>
                    <a:gd name="T72" fmla="*/ 0 w 78"/>
                    <a:gd name="T73" fmla="*/ 2147483647 h 71"/>
                    <a:gd name="T74" fmla="*/ 0 w 78"/>
                    <a:gd name="T75" fmla="*/ 2147483647 h 71"/>
                    <a:gd name="T76" fmla="*/ 2147483647 w 78"/>
                    <a:gd name="T77" fmla="*/ 2147483647 h 71"/>
                    <a:gd name="T78" fmla="*/ 2147483647 w 78"/>
                    <a:gd name="T79" fmla="*/ 2147483647 h 71"/>
                    <a:gd name="T80" fmla="*/ 2147483647 w 78"/>
                    <a:gd name="T81" fmla="*/ 2147483647 h 71"/>
                    <a:gd name="T82" fmla="*/ 2147483647 w 78"/>
                    <a:gd name="T83" fmla="*/ 2147483647 h 71"/>
                    <a:gd name="T84" fmla="*/ 2147483647 w 78"/>
                    <a:gd name="T85" fmla="*/ 2147483647 h 71"/>
                    <a:gd name="T86" fmla="*/ 2147483647 w 78"/>
                    <a:gd name="T87" fmla="*/ 2147483647 h 71"/>
                    <a:gd name="T88" fmla="*/ 2147483647 w 78"/>
                    <a:gd name="T89" fmla="*/ 2147483647 h 71"/>
                    <a:gd name="T90" fmla="*/ 2147483647 w 78"/>
                    <a:gd name="T91" fmla="*/ 2147483647 h 71"/>
                    <a:gd name="T92" fmla="*/ 2147483647 w 78"/>
                    <a:gd name="T93" fmla="*/ 2147483647 h 71"/>
                    <a:gd name="T94" fmla="*/ 2147483647 w 78"/>
                    <a:gd name="T95" fmla="*/ 2147483647 h 71"/>
                    <a:gd name="T96" fmla="*/ 2147483647 w 78"/>
                    <a:gd name="T97" fmla="*/ 2147483647 h 71"/>
                    <a:gd name="T98" fmla="*/ 2147483647 w 78"/>
                    <a:gd name="T99" fmla="*/ 2147483647 h 71"/>
                    <a:gd name="T100" fmla="*/ 2147483647 w 78"/>
                    <a:gd name="T101" fmla="*/ 2147483647 h 71"/>
                    <a:gd name="T102" fmla="*/ 2147483647 w 78"/>
                    <a:gd name="T103" fmla="*/ 2147483647 h 71"/>
                    <a:gd name="T104" fmla="*/ 2147483647 w 78"/>
                    <a:gd name="T105" fmla="*/ 2147483647 h 71"/>
                    <a:gd name="T106" fmla="*/ 2147483647 w 78"/>
                    <a:gd name="T107" fmla="*/ 2147483647 h 71"/>
                    <a:gd name="T108" fmla="*/ 2147483647 w 78"/>
                    <a:gd name="T109" fmla="*/ 2147483647 h 71"/>
                    <a:gd name="T110" fmla="*/ 2147483647 w 78"/>
                    <a:gd name="T111" fmla="*/ 2147483647 h 71"/>
                    <a:gd name="T112" fmla="*/ 2147483647 w 78"/>
                    <a:gd name="T113" fmla="*/ 2147483647 h 71"/>
                    <a:gd name="T114" fmla="*/ 2147483647 w 78"/>
                    <a:gd name="T115" fmla="*/ 2147483647 h 71"/>
                    <a:gd name="T116" fmla="*/ 2147483647 w 78"/>
                    <a:gd name="T117" fmla="*/ 2147483647 h 71"/>
                    <a:gd name="T118" fmla="*/ 2147483647 w 78"/>
                    <a:gd name="T119" fmla="*/ 2147483647 h 71"/>
                    <a:gd name="T120" fmla="*/ 2147483647 w 78"/>
                    <a:gd name="T121" fmla="*/ 2147483647 h 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8"/>
                    <a:gd name="T184" fmla="*/ 0 h 71"/>
                    <a:gd name="T185" fmla="*/ 78 w 78"/>
                    <a:gd name="T186" fmla="*/ 71 h 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8" h="71">
                      <a:moveTo>
                        <a:pt x="77" y="28"/>
                      </a:moveTo>
                      <a:lnTo>
                        <a:pt x="77" y="25"/>
                      </a:lnTo>
                      <a:lnTo>
                        <a:pt x="76" y="24"/>
                      </a:lnTo>
                      <a:lnTo>
                        <a:pt x="73" y="21"/>
                      </a:lnTo>
                      <a:lnTo>
                        <a:pt x="69" y="21"/>
                      </a:lnTo>
                      <a:lnTo>
                        <a:pt x="68" y="20"/>
                      </a:lnTo>
                      <a:lnTo>
                        <a:pt x="67" y="19"/>
                      </a:lnTo>
                      <a:lnTo>
                        <a:pt x="66" y="15"/>
                      </a:lnTo>
                      <a:lnTo>
                        <a:pt x="64" y="13"/>
                      </a:lnTo>
                      <a:lnTo>
                        <a:pt x="62" y="12"/>
                      </a:lnTo>
                      <a:lnTo>
                        <a:pt x="59" y="11"/>
                      </a:lnTo>
                      <a:lnTo>
                        <a:pt x="55" y="11"/>
                      </a:lnTo>
                      <a:lnTo>
                        <a:pt x="53" y="13"/>
                      </a:lnTo>
                      <a:lnTo>
                        <a:pt x="49" y="15"/>
                      </a:lnTo>
                      <a:lnTo>
                        <a:pt x="45" y="18"/>
                      </a:lnTo>
                      <a:lnTo>
                        <a:pt x="44" y="18"/>
                      </a:lnTo>
                      <a:lnTo>
                        <a:pt x="41" y="18"/>
                      </a:lnTo>
                      <a:lnTo>
                        <a:pt x="40" y="15"/>
                      </a:lnTo>
                      <a:lnTo>
                        <a:pt x="39" y="13"/>
                      </a:lnTo>
                      <a:lnTo>
                        <a:pt x="38" y="6"/>
                      </a:lnTo>
                      <a:lnTo>
                        <a:pt x="35" y="3"/>
                      </a:lnTo>
                      <a:lnTo>
                        <a:pt x="33" y="1"/>
                      </a:lnTo>
                      <a:lnTo>
                        <a:pt x="30" y="0"/>
                      </a:lnTo>
                      <a:lnTo>
                        <a:pt x="27" y="1"/>
                      </a:lnTo>
                      <a:lnTo>
                        <a:pt x="25" y="3"/>
                      </a:lnTo>
                      <a:lnTo>
                        <a:pt x="24" y="6"/>
                      </a:lnTo>
                      <a:lnTo>
                        <a:pt x="22" y="12"/>
                      </a:lnTo>
                      <a:lnTo>
                        <a:pt x="20" y="14"/>
                      </a:lnTo>
                      <a:lnTo>
                        <a:pt x="20" y="16"/>
                      </a:lnTo>
                      <a:lnTo>
                        <a:pt x="20" y="19"/>
                      </a:lnTo>
                      <a:lnTo>
                        <a:pt x="21" y="22"/>
                      </a:lnTo>
                      <a:lnTo>
                        <a:pt x="20" y="25"/>
                      </a:lnTo>
                      <a:lnTo>
                        <a:pt x="13" y="39"/>
                      </a:lnTo>
                      <a:lnTo>
                        <a:pt x="7" y="51"/>
                      </a:lnTo>
                      <a:lnTo>
                        <a:pt x="1" y="62"/>
                      </a:lnTo>
                      <a:lnTo>
                        <a:pt x="0" y="65"/>
                      </a:lnTo>
                      <a:lnTo>
                        <a:pt x="0" y="69"/>
                      </a:lnTo>
                      <a:lnTo>
                        <a:pt x="0" y="70"/>
                      </a:lnTo>
                      <a:lnTo>
                        <a:pt x="2" y="71"/>
                      </a:lnTo>
                      <a:lnTo>
                        <a:pt x="3" y="70"/>
                      </a:lnTo>
                      <a:lnTo>
                        <a:pt x="5" y="69"/>
                      </a:lnTo>
                      <a:lnTo>
                        <a:pt x="6" y="66"/>
                      </a:lnTo>
                      <a:lnTo>
                        <a:pt x="8" y="64"/>
                      </a:lnTo>
                      <a:lnTo>
                        <a:pt x="13" y="62"/>
                      </a:lnTo>
                      <a:lnTo>
                        <a:pt x="24" y="59"/>
                      </a:lnTo>
                      <a:lnTo>
                        <a:pt x="30" y="56"/>
                      </a:lnTo>
                      <a:lnTo>
                        <a:pt x="38" y="53"/>
                      </a:lnTo>
                      <a:lnTo>
                        <a:pt x="44" y="53"/>
                      </a:lnTo>
                      <a:lnTo>
                        <a:pt x="52" y="56"/>
                      </a:lnTo>
                      <a:lnTo>
                        <a:pt x="54" y="57"/>
                      </a:lnTo>
                      <a:lnTo>
                        <a:pt x="55" y="57"/>
                      </a:lnTo>
                      <a:lnTo>
                        <a:pt x="57" y="57"/>
                      </a:lnTo>
                      <a:lnTo>
                        <a:pt x="62" y="54"/>
                      </a:lnTo>
                      <a:lnTo>
                        <a:pt x="66" y="53"/>
                      </a:lnTo>
                      <a:lnTo>
                        <a:pt x="71" y="52"/>
                      </a:lnTo>
                      <a:lnTo>
                        <a:pt x="76" y="51"/>
                      </a:lnTo>
                      <a:lnTo>
                        <a:pt x="77" y="49"/>
                      </a:lnTo>
                      <a:lnTo>
                        <a:pt x="78" y="46"/>
                      </a:lnTo>
                      <a:lnTo>
                        <a:pt x="78" y="40"/>
                      </a:lnTo>
                      <a:lnTo>
                        <a:pt x="77" y="34"/>
                      </a:lnTo>
                      <a:lnTo>
                        <a:pt x="77"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6" name="Freeform 1146"/>
                <p:cNvSpPr>
                  <a:spLocks/>
                </p:cNvSpPr>
                <p:nvPr/>
              </p:nvSpPr>
              <p:spPr bwMode="auto">
                <a:xfrm>
                  <a:off x="6851327" y="1976793"/>
                  <a:ext cx="35517" cy="16279"/>
                </a:xfrm>
                <a:custGeom>
                  <a:avLst/>
                  <a:gdLst>
                    <a:gd name="T0" fmla="*/ 2147483647 w 26"/>
                    <a:gd name="T1" fmla="*/ 2147483647 h 11"/>
                    <a:gd name="T2" fmla="*/ 2147483647 w 26"/>
                    <a:gd name="T3" fmla="*/ 2147483647 h 11"/>
                    <a:gd name="T4" fmla="*/ 2147483647 w 26"/>
                    <a:gd name="T5" fmla="*/ 2147483647 h 11"/>
                    <a:gd name="T6" fmla="*/ 2147483647 w 26"/>
                    <a:gd name="T7" fmla="*/ 2147483647 h 11"/>
                    <a:gd name="T8" fmla="*/ 2147483647 w 26"/>
                    <a:gd name="T9" fmla="*/ 2147483647 h 11"/>
                    <a:gd name="T10" fmla="*/ 2147483647 w 26"/>
                    <a:gd name="T11" fmla="*/ 2147483647 h 11"/>
                    <a:gd name="T12" fmla="*/ 2147483647 w 26"/>
                    <a:gd name="T13" fmla="*/ 2147483647 h 11"/>
                    <a:gd name="T14" fmla="*/ 2147483647 w 26"/>
                    <a:gd name="T15" fmla="*/ 2147483647 h 11"/>
                    <a:gd name="T16" fmla="*/ 2147483647 w 26"/>
                    <a:gd name="T17" fmla="*/ 2147483647 h 11"/>
                    <a:gd name="T18" fmla="*/ 2147483647 w 26"/>
                    <a:gd name="T19" fmla="*/ 2147483647 h 11"/>
                    <a:gd name="T20" fmla="*/ 0 w 26"/>
                    <a:gd name="T21" fmla="*/ 2147483647 h 11"/>
                    <a:gd name="T22" fmla="*/ 0 w 26"/>
                    <a:gd name="T23" fmla="*/ 2147483647 h 11"/>
                    <a:gd name="T24" fmla="*/ 0 w 26"/>
                    <a:gd name="T25" fmla="*/ 2147483647 h 11"/>
                    <a:gd name="T26" fmla="*/ 2147483647 w 26"/>
                    <a:gd name="T27" fmla="*/ 2147483647 h 11"/>
                    <a:gd name="T28" fmla="*/ 2147483647 w 26"/>
                    <a:gd name="T29" fmla="*/ 2147483647 h 11"/>
                    <a:gd name="T30" fmla="*/ 2147483647 w 26"/>
                    <a:gd name="T31" fmla="*/ 0 h 11"/>
                    <a:gd name="T32" fmla="*/ 2147483647 w 26"/>
                    <a:gd name="T33" fmla="*/ 0 h 11"/>
                    <a:gd name="T34" fmla="*/ 2147483647 w 26"/>
                    <a:gd name="T35" fmla="*/ 2147483647 h 11"/>
                    <a:gd name="T36" fmla="*/ 2147483647 w 26"/>
                    <a:gd name="T37" fmla="*/ 2147483647 h 11"/>
                    <a:gd name="T38" fmla="*/ 2147483647 w 26"/>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1"/>
                    <a:gd name="T62" fmla="*/ 26 w 26"/>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1">
                      <a:moveTo>
                        <a:pt x="26" y="4"/>
                      </a:moveTo>
                      <a:lnTo>
                        <a:pt x="26" y="4"/>
                      </a:lnTo>
                      <a:lnTo>
                        <a:pt x="26" y="6"/>
                      </a:lnTo>
                      <a:lnTo>
                        <a:pt x="25" y="9"/>
                      </a:lnTo>
                      <a:lnTo>
                        <a:pt x="21" y="10"/>
                      </a:lnTo>
                      <a:lnTo>
                        <a:pt x="19" y="11"/>
                      </a:lnTo>
                      <a:lnTo>
                        <a:pt x="10" y="11"/>
                      </a:lnTo>
                      <a:lnTo>
                        <a:pt x="2" y="11"/>
                      </a:lnTo>
                      <a:lnTo>
                        <a:pt x="1" y="10"/>
                      </a:lnTo>
                      <a:lnTo>
                        <a:pt x="0" y="10"/>
                      </a:lnTo>
                      <a:lnTo>
                        <a:pt x="0" y="9"/>
                      </a:lnTo>
                      <a:lnTo>
                        <a:pt x="7" y="5"/>
                      </a:lnTo>
                      <a:lnTo>
                        <a:pt x="16" y="1"/>
                      </a:lnTo>
                      <a:lnTo>
                        <a:pt x="20" y="0"/>
                      </a:lnTo>
                      <a:lnTo>
                        <a:pt x="24" y="0"/>
                      </a:lnTo>
                      <a:lnTo>
                        <a:pt x="25" y="1"/>
                      </a:lnTo>
                      <a:lnTo>
                        <a:pt x="2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7" name="Freeform 1147"/>
                <p:cNvSpPr>
                  <a:spLocks/>
                </p:cNvSpPr>
                <p:nvPr/>
              </p:nvSpPr>
              <p:spPr bwMode="auto">
                <a:xfrm>
                  <a:off x="6969718" y="1830286"/>
                  <a:ext cx="108030" cy="105070"/>
                </a:xfrm>
                <a:custGeom>
                  <a:avLst/>
                  <a:gdLst>
                    <a:gd name="T0" fmla="*/ 2147483647 w 79"/>
                    <a:gd name="T1" fmla="*/ 2147483647 h 71"/>
                    <a:gd name="T2" fmla="*/ 2147483647 w 79"/>
                    <a:gd name="T3" fmla="*/ 2147483647 h 71"/>
                    <a:gd name="T4" fmla="*/ 2147483647 w 79"/>
                    <a:gd name="T5" fmla="*/ 2147483647 h 71"/>
                    <a:gd name="T6" fmla="*/ 2147483647 w 79"/>
                    <a:gd name="T7" fmla="*/ 2147483647 h 71"/>
                    <a:gd name="T8" fmla="*/ 2147483647 w 79"/>
                    <a:gd name="T9" fmla="*/ 2147483647 h 71"/>
                    <a:gd name="T10" fmla="*/ 2147483647 w 79"/>
                    <a:gd name="T11" fmla="*/ 2147483647 h 71"/>
                    <a:gd name="T12" fmla="*/ 2147483647 w 79"/>
                    <a:gd name="T13" fmla="*/ 2147483647 h 71"/>
                    <a:gd name="T14" fmla="*/ 2147483647 w 79"/>
                    <a:gd name="T15" fmla="*/ 2147483647 h 71"/>
                    <a:gd name="T16" fmla="*/ 2147483647 w 79"/>
                    <a:gd name="T17" fmla="*/ 2147483647 h 71"/>
                    <a:gd name="T18" fmla="*/ 2147483647 w 79"/>
                    <a:gd name="T19" fmla="*/ 2147483647 h 71"/>
                    <a:gd name="T20" fmla="*/ 2147483647 w 79"/>
                    <a:gd name="T21" fmla="*/ 2147483647 h 71"/>
                    <a:gd name="T22" fmla="*/ 2147483647 w 79"/>
                    <a:gd name="T23" fmla="*/ 2147483647 h 71"/>
                    <a:gd name="T24" fmla="*/ 2147483647 w 79"/>
                    <a:gd name="T25" fmla="*/ 2147483647 h 71"/>
                    <a:gd name="T26" fmla="*/ 2147483647 w 79"/>
                    <a:gd name="T27" fmla="*/ 2147483647 h 71"/>
                    <a:gd name="T28" fmla="*/ 2147483647 w 79"/>
                    <a:gd name="T29" fmla="*/ 2147483647 h 71"/>
                    <a:gd name="T30" fmla="*/ 2147483647 w 79"/>
                    <a:gd name="T31" fmla="*/ 2147483647 h 71"/>
                    <a:gd name="T32" fmla="*/ 2147483647 w 79"/>
                    <a:gd name="T33" fmla="*/ 2147483647 h 71"/>
                    <a:gd name="T34" fmla="*/ 2147483647 w 79"/>
                    <a:gd name="T35" fmla="*/ 2147483647 h 71"/>
                    <a:gd name="T36" fmla="*/ 2147483647 w 79"/>
                    <a:gd name="T37" fmla="*/ 2147483647 h 71"/>
                    <a:gd name="T38" fmla="*/ 2147483647 w 79"/>
                    <a:gd name="T39" fmla="*/ 2147483647 h 71"/>
                    <a:gd name="T40" fmla="*/ 2147483647 w 79"/>
                    <a:gd name="T41" fmla="*/ 2147483647 h 71"/>
                    <a:gd name="T42" fmla="*/ 2147483647 w 79"/>
                    <a:gd name="T43" fmla="*/ 2147483647 h 71"/>
                    <a:gd name="T44" fmla="*/ 2147483647 w 79"/>
                    <a:gd name="T45" fmla="*/ 2147483647 h 71"/>
                    <a:gd name="T46" fmla="*/ 0 w 79"/>
                    <a:gd name="T47" fmla="*/ 2147483647 h 71"/>
                    <a:gd name="T48" fmla="*/ 0 w 79"/>
                    <a:gd name="T49" fmla="*/ 2147483647 h 71"/>
                    <a:gd name="T50" fmla="*/ 2147483647 w 79"/>
                    <a:gd name="T51" fmla="*/ 2147483647 h 71"/>
                    <a:gd name="T52" fmla="*/ 2147483647 w 79"/>
                    <a:gd name="T53" fmla="*/ 2147483647 h 71"/>
                    <a:gd name="T54" fmla="*/ 2147483647 w 79"/>
                    <a:gd name="T55" fmla="*/ 2147483647 h 71"/>
                    <a:gd name="T56" fmla="*/ 2147483647 w 79"/>
                    <a:gd name="T57" fmla="*/ 2147483647 h 71"/>
                    <a:gd name="T58" fmla="*/ 2147483647 w 79"/>
                    <a:gd name="T59" fmla="*/ 2147483647 h 71"/>
                    <a:gd name="T60" fmla="*/ 2147483647 w 79"/>
                    <a:gd name="T61" fmla="*/ 2147483647 h 71"/>
                    <a:gd name="T62" fmla="*/ 2147483647 w 79"/>
                    <a:gd name="T63" fmla="*/ 2147483647 h 71"/>
                    <a:gd name="T64" fmla="*/ 2147483647 w 79"/>
                    <a:gd name="T65" fmla="*/ 2147483647 h 71"/>
                    <a:gd name="T66" fmla="*/ 2147483647 w 79"/>
                    <a:gd name="T67" fmla="*/ 2147483647 h 71"/>
                    <a:gd name="T68" fmla="*/ 2147483647 w 79"/>
                    <a:gd name="T69" fmla="*/ 2147483647 h 71"/>
                    <a:gd name="T70" fmla="*/ 2147483647 w 79"/>
                    <a:gd name="T71" fmla="*/ 2147483647 h 71"/>
                    <a:gd name="T72" fmla="*/ 2147483647 w 79"/>
                    <a:gd name="T73" fmla="*/ 2147483647 h 71"/>
                    <a:gd name="T74" fmla="*/ 2147483647 w 79"/>
                    <a:gd name="T75" fmla="*/ 2147483647 h 71"/>
                    <a:gd name="T76" fmla="*/ 2147483647 w 79"/>
                    <a:gd name="T77" fmla="*/ 2147483647 h 71"/>
                    <a:gd name="T78" fmla="*/ 2147483647 w 79"/>
                    <a:gd name="T79" fmla="*/ 2147483647 h 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71"/>
                    <a:gd name="T122" fmla="*/ 79 w 79"/>
                    <a:gd name="T123" fmla="*/ 71 h 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71">
                      <a:moveTo>
                        <a:pt x="78" y="28"/>
                      </a:moveTo>
                      <a:lnTo>
                        <a:pt x="78" y="28"/>
                      </a:lnTo>
                      <a:lnTo>
                        <a:pt x="78" y="25"/>
                      </a:lnTo>
                      <a:lnTo>
                        <a:pt x="76" y="23"/>
                      </a:lnTo>
                      <a:lnTo>
                        <a:pt x="74" y="21"/>
                      </a:lnTo>
                      <a:lnTo>
                        <a:pt x="70" y="21"/>
                      </a:lnTo>
                      <a:lnTo>
                        <a:pt x="69" y="20"/>
                      </a:lnTo>
                      <a:lnTo>
                        <a:pt x="68" y="19"/>
                      </a:lnTo>
                      <a:lnTo>
                        <a:pt x="66" y="15"/>
                      </a:lnTo>
                      <a:lnTo>
                        <a:pt x="65" y="13"/>
                      </a:lnTo>
                      <a:lnTo>
                        <a:pt x="62" y="12"/>
                      </a:lnTo>
                      <a:lnTo>
                        <a:pt x="60" y="10"/>
                      </a:lnTo>
                      <a:lnTo>
                        <a:pt x="56" y="10"/>
                      </a:lnTo>
                      <a:lnTo>
                        <a:pt x="54" y="13"/>
                      </a:lnTo>
                      <a:lnTo>
                        <a:pt x="50" y="15"/>
                      </a:lnTo>
                      <a:lnTo>
                        <a:pt x="46" y="17"/>
                      </a:lnTo>
                      <a:lnTo>
                        <a:pt x="45" y="17"/>
                      </a:lnTo>
                      <a:lnTo>
                        <a:pt x="42" y="17"/>
                      </a:lnTo>
                      <a:lnTo>
                        <a:pt x="41" y="15"/>
                      </a:lnTo>
                      <a:lnTo>
                        <a:pt x="40" y="13"/>
                      </a:lnTo>
                      <a:lnTo>
                        <a:pt x="38" y="6"/>
                      </a:lnTo>
                      <a:lnTo>
                        <a:pt x="36" y="3"/>
                      </a:lnTo>
                      <a:lnTo>
                        <a:pt x="33" y="1"/>
                      </a:lnTo>
                      <a:lnTo>
                        <a:pt x="31" y="0"/>
                      </a:lnTo>
                      <a:lnTo>
                        <a:pt x="28" y="1"/>
                      </a:lnTo>
                      <a:lnTo>
                        <a:pt x="26" y="3"/>
                      </a:lnTo>
                      <a:lnTo>
                        <a:pt x="24" y="6"/>
                      </a:lnTo>
                      <a:lnTo>
                        <a:pt x="23" y="12"/>
                      </a:lnTo>
                      <a:lnTo>
                        <a:pt x="21" y="14"/>
                      </a:lnTo>
                      <a:lnTo>
                        <a:pt x="21" y="16"/>
                      </a:lnTo>
                      <a:lnTo>
                        <a:pt x="21" y="19"/>
                      </a:lnTo>
                      <a:lnTo>
                        <a:pt x="22" y="22"/>
                      </a:lnTo>
                      <a:lnTo>
                        <a:pt x="21" y="25"/>
                      </a:lnTo>
                      <a:lnTo>
                        <a:pt x="14" y="39"/>
                      </a:lnTo>
                      <a:lnTo>
                        <a:pt x="8" y="51"/>
                      </a:lnTo>
                      <a:lnTo>
                        <a:pt x="2" y="61"/>
                      </a:lnTo>
                      <a:lnTo>
                        <a:pt x="0" y="65"/>
                      </a:lnTo>
                      <a:lnTo>
                        <a:pt x="0" y="68"/>
                      </a:lnTo>
                      <a:lnTo>
                        <a:pt x="0" y="70"/>
                      </a:lnTo>
                      <a:lnTo>
                        <a:pt x="3" y="71"/>
                      </a:lnTo>
                      <a:lnTo>
                        <a:pt x="4" y="70"/>
                      </a:lnTo>
                      <a:lnTo>
                        <a:pt x="5" y="68"/>
                      </a:lnTo>
                      <a:lnTo>
                        <a:pt x="7" y="66"/>
                      </a:lnTo>
                      <a:lnTo>
                        <a:pt x="9" y="64"/>
                      </a:lnTo>
                      <a:lnTo>
                        <a:pt x="14" y="61"/>
                      </a:lnTo>
                      <a:lnTo>
                        <a:pt x="24" y="59"/>
                      </a:lnTo>
                      <a:lnTo>
                        <a:pt x="31" y="55"/>
                      </a:lnTo>
                      <a:lnTo>
                        <a:pt x="38" y="53"/>
                      </a:lnTo>
                      <a:lnTo>
                        <a:pt x="45" y="53"/>
                      </a:lnTo>
                      <a:lnTo>
                        <a:pt x="52" y="55"/>
                      </a:lnTo>
                      <a:lnTo>
                        <a:pt x="55" y="57"/>
                      </a:lnTo>
                      <a:lnTo>
                        <a:pt x="56" y="57"/>
                      </a:lnTo>
                      <a:lnTo>
                        <a:pt x="57" y="57"/>
                      </a:lnTo>
                      <a:lnTo>
                        <a:pt x="62" y="54"/>
                      </a:lnTo>
                      <a:lnTo>
                        <a:pt x="66" y="53"/>
                      </a:lnTo>
                      <a:lnTo>
                        <a:pt x="71" y="52"/>
                      </a:lnTo>
                      <a:lnTo>
                        <a:pt x="76" y="51"/>
                      </a:lnTo>
                      <a:lnTo>
                        <a:pt x="78" y="48"/>
                      </a:lnTo>
                      <a:lnTo>
                        <a:pt x="79" y="46"/>
                      </a:lnTo>
                      <a:lnTo>
                        <a:pt x="79" y="40"/>
                      </a:lnTo>
                      <a:lnTo>
                        <a:pt x="78" y="34"/>
                      </a:lnTo>
                      <a:lnTo>
                        <a:pt x="78" y="2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8" name="Freeform 1148"/>
                <p:cNvSpPr>
                  <a:spLocks/>
                </p:cNvSpPr>
                <p:nvPr/>
              </p:nvSpPr>
              <p:spPr bwMode="auto">
                <a:xfrm>
                  <a:off x="6479880" y="2129217"/>
                  <a:ext cx="14799" cy="26638"/>
                </a:xfrm>
                <a:custGeom>
                  <a:avLst/>
                  <a:gdLst>
                    <a:gd name="T0" fmla="*/ 2147483647 w 11"/>
                    <a:gd name="T1" fmla="*/ 2147483647 h 18"/>
                    <a:gd name="T2" fmla="*/ 2147483647 w 11"/>
                    <a:gd name="T3" fmla="*/ 2147483647 h 18"/>
                    <a:gd name="T4" fmla="*/ 2147483647 w 11"/>
                    <a:gd name="T5" fmla="*/ 2147483647 h 18"/>
                    <a:gd name="T6" fmla="*/ 2147483647 w 11"/>
                    <a:gd name="T7" fmla="*/ 0 h 18"/>
                    <a:gd name="T8" fmla="*/ 2147483647 w 11"/>
                    <a:gd name="T9" fmla="*/ 0 h 18"/>
                    <a:gd name="T10" fmla="*/ 2147483647 w 11"/>
                    <a:gd name="T11" fmla="*/ 2147483647 h 18"/>
                    <a:gd name="T12" fmla="*/ 2147483647 w 11"/>
                    <a:gd name="T13" fmla="*/ 2147483647 h 18"/>
                    <a:gd name="T14" fmla="*/ 0 w 11"/>
                    <a:gd name="T15" fmla="*/ 2147483647 h 18"/>
                    <a:gd name="T16" fmla="*/ 0 w 11"/>
                    <a:gd name="T17" fmla="*/ 2147483647 h 18"/>
                    <a:gd name="T18" fmla="*/ 2147483647 w 11"/>
                    <a:gd name="T19" fmla="*/ 2147483647 h 18"/>
                    <a:gd name="T20" fmla="*/ 2147483647 w 11"/>
                    <a:gd name="T21" fmla="*/ 2147483647 h 18"/>
                    <a:gd name="T22" fmla="*/ 2147483647 w 11"/>
                    <a:gd name="T23" fmla="*/ 2147483647 h 18"/>
                    <a:gd name="T24" fmla="*/ 2147483647 w 11"/>
                    <a:gd name="T25" fmla="*/ 2147483647 h 18"/>
                    <a:gd name="T26" fmla="*/ 2147483647 w 11"/>
                    <a:gd name="T27" fmla="*/ 2147483647 h 18"/>
                    <a:gd name="T28" fmla="*/ 2147483647 w 11"/>
                    <a:gd name="T29" fmla="*/ 2147483647 h 18"/>
                    <a:gd name="T30" fmla="*/ 2147483647 w 11"/>
                    <a:gd name="T31" fmla="*/ 2147483647 h 18"/>
                    <a:gd name="T32" fmla="*/ 2147483647 w 11"/>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8"/>
                    <a:gd name="T53" fmla="*/ 11 w 11"/>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8">
                      <a:moveTo>
                        <a:pt x="11" y="5"/>
                      </a:moveTo>
                      <a:lnTo>
                        <a:pt x="11" y="4"/>
                      </a:lnTo>
                      <a:lnTo>
                        <a:pt x="11" y="2"/>
                      </a:lnTo>
                      <a:lnTo>
                        <a:pt x="11" y="0"/>
                      </a:lnTo>
                      <a:lnTo>
                        <a:pt x="9" y="0"/>
                      </a:lnTo>
                      <a:lnTo>
                        <a:pt x="5" y="3"/>
                      </a:lnTo>
                      <a:lnTo>
                        <a:pt x="2" y="6"/>
                      </a:lnTo>
                      <a:lnTo>
                        <a:pt x="0" y="10"/>
                      </a:lnTo>
                      <a:lnTo>
                        <a:pt x="0" y="13"/>
                      </a:lnTo>
                      <a:lnTo>
                        <a:pt x="1" y="15"/>
                      </a:lnTo>
                      <a:lnTo>
                        <a:pt x="5" y="17"/>
                      </a:lnTo>
                      <a:lnTo>
                        <a:pt x="8" y="18"/>
                      </a:lnTo>
                      <a:lnTo>
                        <a:pt x="10" y="17"/>
                      </a:lnTo>
                      <a:lnTo>
                        <a:pt x="11" y="15"/>
                      </a:lnTo>
                      <a:lnTo>
                        <a:pt x="10" y="11"/>
                      </a:lnTo>
                      <a:lnTo>
                        <a:pt x="10" y="9"/>
                      </a:lnTo>
                      <a:lnTo>
                        <a:pt x="1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49" name="Freeform 1149"/>
                <p:cNvSpPr>
                  <a:spLocks/>
                </p:cNvSpPr>
                <p:nvPr/>
              </p:nvSpPr>
              <p:spPr bwMode="auto">
                <a:xfrm>
                  <a:off x="6426604" y="2144019"/>
                  <a:ext cx="36997" cy="26638"/>
                </a:xfrm>
                <a:custGeom>
                  <a:avLst/>
                  <a:gdLst>
                    <a:gd name="T0" fmla="*/ 2147483647 w 27"/>
                    <a:gd name="T1" fmla="*/ 2147483647 h 18"/>
                    <a:gd name="T2" fmla="*/ 2147483647 w 27"/>
                    <a:gd name="T3" fmla="*/ 2147483647 h 18"/>
                    <a:gd name="T4" fmla="*/ 2147483647 w 27"/>
                    <a:gd name="T5" fmla="*/ 2147483647 h 18"/>
                    <a:gd name="T6" fmla="*/ 2147483647 w 27"/>
                    <a:gd name="T7" fmla="*/ 2147483647 h 18"/>
                    <a:gd name="T8" fmla="*/ 2147483647 w 27"/>
                    <a:gd name="T9" fmla="*/ 2147483647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0 w 27"/>
                    <a:gd name="T23" fmla="*/ 2147483647 h 18"/>
                    <a:gd name="T24" fmla="*/ 0 w 27"/>
                    <a:gd name="T25" fmla="*/ 2147483647 h 18"/>
                    <a:gd name="T26" fmla="*/ 2147483647 w 27"/>
                    <a:gd name="T27" fmla="*/ 2147483647 h 18"/>
                    <a:gd name="T28" fmla="*/ 2147483647 w 27"/>
                    <a:gd name="T29" fmla="*/ 2147483647 h 18"/>
                    <a:gd name="T30" fmla="*/ 2147483647 w 27"/>
                    <a:gd name="T31" fmla="*/ 2147483647 h 18"/>
                    <a:gd name="T32" fmla="*/ 2147483647 w 27"/>
                    <a:gd name="T33" fmla="*/ 2147483647 h 18"/>
                    <a:gd name="T34" fmla="*/ 2147483647 w 27"/>
                    <a:gd name="T35" fmla="*/ 2147483647 h 18"/>
                    <a:gd name="T36" fmla="*/ 2147483647 w 27"/>
                    <a:gd name="T37" fmla="*/ 2147483647 h 18"/>
                    <a:gd name="T38" fmla="*/ 2147483647 w 27"/>
                    <a:gd name="T39" fmla="*/ 2147483647 h 18"/>
                    <a:gd name="T40" fmla="*/ 2147483647 w 27"/>
                    <a:gd name="T41" fmla="*/ 2147483647 h 18"/>
                    <a:gd name="T42" fmla="*/ 2147483647 w 27"/>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18"/>
                    <a:gd name="T68" fmla="*/ 27 w 27"/>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18">
                      <a:moveTo>
                        <a:pt x="25" y="8"/>
                      </a:moveTo>
                      <a:lnTo>
                        <a:pt x="27" y="7"/>
                      </a:lnTo>
                      <a:lnTo>
                        <a:pt x="27" y="6"/>
                      </a:lnTo>
                      <a:lnTo>
                        <a:pt x="27" y="5"/>
                      </a:lnTo>
                      <a:lnTo>
                        <a:pt x="22" y="1"/>
                      </a:lnTo>
                      <a:lnTo>
                        <a:pt x="20" y="0"/>
                      </a:lnTo>
                      <a:lnTo>
                        <a:pt x="16" y="1"/>
                      </a:lnTo>
                      <a:lnTo>
                        <a:pt x="10" y="5"/>
                      </a:lnTo>
                      <a:lnTo>
                        <a:pt x="6" y="6"/>
                      </a:lnTo>
                      <a:lnTo>
                        <a:pt x="2" y="7"/>
                      </a:lnTo>
                      <a:lnTo>
                        <a:pt x="1" y="8"/>
                      </a:lnTo>
                      <a:lnTo>
                        <a:pt x="0" y="9"/>
                      </a:lnTo>
                      <a:lnTo>
                        <a:pt x="0" y="13"/>
                      </a:lnTo>
                      <a:lnTo>
                        <a:pt x="1" y="14"/>
                      </a:lnTo>
                      <a:lnTo>
                        <a:pt x="2" y="15"/>
                      </a:lnTo>
                      <a:lnTo>
                        <a:pt x="5" y="15"/>
                      </a:lnTo>
                      <a:lnTo>
                        <a:pt x="7" y="15"/>
                      </a:lnTo>
                      <a:lnTo>
                        <a:pt x="8" y="18"/>
                      </a:lnTo>
                      <a:lnTo>
                        <a:pt x="10" y="18"/>
                      </a:lnTo>
                      <a:lnTo>
                        <a:pt x="11" y="18"/>
                      </a:lnTo>
                      <a:lnTo>
                        <a:pt x="17" y="12"/>
                      </a:lnTo>
                      <a:lnTo>
                        <a:pt x="25"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0" name="Freeform 1150"/>
                <p:cNvSpPr>
                  <a:spLocks/>
                </p:cNvSpPr>
                <p:nvPr/>
              </p:nvSpPr>
              <p:spPr bwMode="auto">
                <a:xfrm>
                  <a:off x="6478400" y="2127740"/>
                  <a:ext cx="14799" cy="26638"/>
                </a:xfrm>
                <a:custGeom>
                  <a:avLst/>
                  <a:gdLst>
                    <a:gd name="T0" fmla="*/ 2147483647 w 11"/>
                    <a:gd name="T1" fmla="*/ 2147483647 h 18"/>
                    <a:gd name="T2" fmla="*/ 2147483647 w 11"/>
                    <a:gd name="T3" fmla="*/ 2147483647 h 18"/>
                    <a:gd name="T4" fmla="*/ 2147483647 w 11"/>
                    <a:gd name="T5" fmla="*/ 2147483647 h 18"/>
                    <a:gd name="T6" fmla="*/ 2147483647 w 11"/>
                    <a:gd name="T7" fmla="*/ 2147483647 h 18"/>
                    <a:gd name="T8" fmla="*/ 2147483647 w 11"/>
                    <a:gd name="T9" fmla="*/ 0 h 18"/>
                    <a:gd name="T10" fmla="*/ 2147483647 w 11"/>
                    <a:gd name="T11" fmla="*/ 0 h 18"/>
                    <a:gd name="T12" fmla="*/ 2147483647 w 11"/>
                    <a:gd name="T13" fmla="*/ 0 h 18"/>
                    <a:gd name="T14" fmla="*/ 2147483647 w 11"/>
                    <a:gd name="T15" fmla="*/ 2147483647 h 18"/>
                    <a:gd name="T16" fmla="*/ 2147483647 w 11"/>
                    <a:gd name="T17" fmla="*/ 2147483647 h 18"/>
                    <a:gd name="T18" fmla="*/ 0 w 11"/>
                    <a:gd name="T19" fmla="*/ 2147483647 h 18"/>
                    <a:gd name="T20" fmla="*/ 0 w 11"/>
                    <a:gd name="T21" fmla="*/ 2147483647 h 18"/>
                    <a:gd name="T22" fmla="*/ 0 w 11"/>
                    <a:gd name="T23" fmla="*/ 2147483647 h 18"/>
                    <a:gd name="T24" fmla="*/ 2147483647 w 11"/>
                    <a:gd name="T25" fmla="*/ 2147483647 h 18"/>
                    <a:gd name="T26" fmla="*/ 2147483647 w 11"/>
                    <a:gd name="T27" fmla="*/ 2147483647 h 18"/>
                    <a:gd name="T28" fmla="*/ 2147483647 w 11"/>
                    <a:gd name="T29" fmla="*/ 2147483647 h 18"/>
                    <a:gd name="T30" fmla="*/ 2147483647 w 11"/>
                    <a:gd name="T31" fmla="*/ 2147483647 h 18"/>
                    <a:gd name="T32" fmla="*/ 2147483647 w 11"/>
                    <a:gd name="T33" fmla="*/ 2147483647 h 18"/>
                    <a:gd name="T34" fmla="*/ 2147483647 w 11"/>
                    <a:gd name="T35" fmla="*/ 2147483647 h 18"/>
                    <a:gd name="T36" fmla="*/ 2147483647 w 11"/>
                    <a:gd name="T37" fmla="*/ 2147483647 h 18"/>
                    <a:gd name="T38" fmla="*/ 2147483647 w 11"/>
                    <a:gd name="T39" fmla="*/ 2147483647 h 18"/>
                    <a:gd name="T40" fmla="*/ 2147483647 w 11"/>
                    <a:gd name="T41" fmla="*/ 2147483647 h 18"/>
                    <a:gd name="T42" fmla="*/ 2147483647 w 11"/>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
                    <a:gd name="T67" fmla="*/ 0 h 18"/>
                    <a:gd name="T68" fmla="*/ 11 w 11"/>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 h="18">
                      <a:moveTo>
                        <a:pt x="11" y="5"/>
                      </a:moveTo>
                      <a:lnTo>
                        <a:pt x="11" y="5"/>
                      </a:lnTo>
                      <a:lnTo>
                        <a:pt x="11" y="4"/>
                      </a:lnTo>
                      <a:lnTo>
                        <a:pt x="11" y="1"/>
                      </a:lnTo>
                      <a:lnTo>
                        <a:pt x="11" y="0"/>
                      </a:lnTo>
                      <a:lnTo>
                        <a:pt x="9" y="0"/>
                      </a:lnTo>
                      <a:lnTo>
                        <a:pt x="5" y="3"/>
                      </a:lnTo>
                      <a:lnTo>
                        <a:pt x="2" y="6"/>
                      </a:lnTo>
                      <a:lnTo>
                        <a:pt x="0" y="10"/>
                      </a:lnTo>
                      <a:lnTo>
                        <a:pt x="0" y="13"/>
                      </a:lnTo>
                      <a:lnTo>
                        <a:pt x="1" y="14"/>
                      </a:lnTo>
                      <a:lnTo>
                        <a:pt x="5" y="17"/>
                      </a:lnTo>
                      <a:lnTo>
                        <a:pt x="7" y="18"/>
                      </a:lnTo>
                      <a:lnTo>
                        <a:pt x="10" y="17"/>
                      </a:lnTo>
                      <a:lnTo>
                        <a:pt x="11" y="14"/>
                      </a:lnTo>
                      <a:lnTo>
                        <a:pt x="10" y="11"/>
                      </a:lnTo>
                      <a:lnTo>
                        <a:pt x="10" y="9"/>
                      </a:lnTo>
                      <a:lnTo>
                        <a:pt x="1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1" name="Freeform 1151"/>
                <p:cNvSpPr>
                  <a:spLocks/>
                </p:cNvSpPr>
                <p:nvPr/>
              </p:nvSpPr>
              <p:spPr bwMode="auto">
                <a:xfrm>
                  <a:off x="6423648" y="2142537"/>
                  <a:ext cx="38477" cy="26638"/>
                </a:xfrm>
                <a:custGeom>
                  <a:avLst/>
                  <a:gdLst>
                    <a:gd name="T0" fmla="*/ 2147483647 w 28"/>
                    <a:gd name="T1" fmla="*/ 2147483647 h 18"/>
                    <a:gd name="T2" fmla="*/ 2147483647 w 28"/>
                    <a:gd name="T3" fmla="*/ 2147483647 h 18"/>
                    <a:gd name="T4" fmla="*/ 2147483647 w 28"/>
                    <a:gd name="T5" fmla="*/ 2147483647 h 18"/>
                    <a:gd name="T6" fmla="*/ 2147483647 w 28"/>
                    <a:gd name="T7" fmla="*/ 2147483647 h 18"/>
                    <a:gd name="T8" fmla="*/ 2147483647 w 28"/>
                    <a:gd name="T9" fmla="*/ 2147483647 h 18"/>
                    <a:gd name="T10" fmla="*/ 2147483647 w 28"/>
                    <a:gd name="T11" fmla="*/ 2147483647 h 18"/>
                    <a:gd name="T12" fmla="*/ 2147483647 w 28"/>
                    <a:gd name="T13" fmla="*/ 2147483647 h 18"/>
                    <a:gd name="T14" fmla="*/ 2147483647 w 28"/>
                    <a:gd name="T15" fmla="*/ 0 h 18"/>
                    <a:gd name="T16" fmla="*/ 2147483647 w 28"/>
                    <a:gd name="T17" fmla="*/ 2147483647 h 18"/>
                    <a:gd name="T18" fmla="*/ 2147483647 w 28"/>
                    <a:gd name="T19" fmla="*/ 2147483647 h 18"/>
                    <a:gd name="T20" fmla="*/ 2147483647 w 28"/>
                    <a:gd name="T21" fmla="*/ 2147483647 h 18"/>
                    <a:gd name="T22" fmla="*/ 2147483647 w 28"/>
                    <a:gd name="T23" fmla="*/ 2147483647 h 18"/>
                    <a:gd name="T24" fmla="*/ 2147483647 w 28"/>
                    <a:gd name="T25" fmla="*/ 2147483647 h 18"/>
                    <a:gd name="T26" fmla="*/ 2147483647 w 28"/>
                    <a:gd name="T27" fmla="*/ 2147483647 h 18"/>
                    <a:gd name="T28" fmla="*/ 2147483647 w 28"/>
                    <a:gd name="T29" fmla="*/ 2147483647 h 18"/>
                    <a:gd name="T30" fmla="*/ 0 w 28"/>
                    <a:gd name="T31" fmla="*/ 2147483647 h 18"/>
                    <a:gd name="T32" fmla="*/ 0 w 28"/>
                    <a:gd name="T33" fmla="*/ 2147483647 h 18"/>
                    <a:gd name="T34" fmla="*/ 0 w 28"/>
                    <a:gd name="T35" fmla="*/ 2147483647 h 18"/>
                    <a:gd name="T36" fmla="*/ 2147483647 w 28"/>
                    <a:gd name="T37" fmla="*/ 2147483647 h 18"/>
                    <a:gd name="T38" fmla="*/ 2147483647 w 28"/>
                    <a:gd name="T39" fmla="*/ 2147483647 h 18"/>
                    <a:gd name="T40" fmla="*/ 2147483647 w 28"/>
                    <a:gd name="T41" fmla="*/ 2147483647 h 18"/>
                    <a:gd name="T42" fmla="*/ 2147483647 w 28"/>
                    <a:gd name="T43" fmla="*/ 2147483647 h 18"/>
                    <a:gd name="T44" fmla="*/ 2147483647 w 28"/>
                    <a:gd name="T45" fmla="*/ 2147483647 h 18"/>
                    <a:gd name="T46" fmla="*/ 2147483647 w 28"/>
                    <a:gd name="T47" fmla="*/ 2147483647 h 18"/>
                    <a:gd name="T48" fmla="*/ 2147483647 w 28"/>
                    <a:gd name="T49" fmla="*/ 2147483647 h 18"/>
                    <a:gd name="T50" fmla="*/ 2147483647 w 28"/>
                    <a:gd name="T51" fmla="*/ 2147483647 h 18"/>
                    <a:gd name="T52" fmla="*/ 2147483647 w 28"/>
                    <a:gd name="T53" fmla="*/ 2147483647 h 18"/>
                    <a:gd name="T54" fmla="*/ 2147483647 w 28"/>
                    <a:gd name="T55" fmla="*/ 2147483647 h 18"/>
                    <a:gd name="T56" fmla="*/ 2147483647 w 28"/>
                    <a:gd name="T57" fmla="*/ 2147483647 h 18"/>
                    <a:gd name="T58" fmla="*/ 2147483647 w 28"/>
                    <a:gd name="T59" fmla="*/ 2147483647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18"/>
                    <a:gd name="T92" fmla="*/ 28 w 28"/>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18">
                      <a:moveTo>
                        <a:pt x="26" y="8"/>
                      </a:moveTo>
                      <a:lnTo>
                        <a:pt x="26" y="8"/>
                      </a:lnTo>
                      <a:lnTo>
                        <a:pt x="28" y="7"/>
                      </a:lnTo>
                      <a:lnTo>
                        <a:pt x="28" y="6"/>
                      </a:lnTo>
                      <a:lnTo>
                        <a:pt x="28" y="4"/>
                      </a:lnTo>
                      <a:lnTo>
                        <a:pt x="23" y="1"/>
                      </a:lnTo>
                      <a:lnTo>
                        <a:pt x="21" y="0"/>
                      </a:lnTo>
                      <a:lnTo>
                        <a:pt x="17" y="1"/>
                      </a:lnTo>
                      <a:lnTo>
                        <a:pt x="10" y="4"/>
                      </a:lnTo>
                      <a:lnTo>
                        <a:pt x="7" y="6"/>
                      </a:lnTo>
                      <a:lnTo>
                        <a:pt x="3" y="7"/>
                      </a:lnTo>
                      <a:lnTo>
                        <a:pt x="2" y="8"/>
                      </a:lnTo>
                      <a:lnTo>
                        <a:pt x="0" y="9"/>
                      </a:lnTo>
                      <a:lnTo>
                        <a:pt x="0" y="13"/>
                      </a:lnTo>
                      <a:lnTo>
                        <a:pt x="2" y="14"/>
                      </a:lnTo>
                      <a:lnTo>
                        <a:pt x="3" y="15"/>
                      </a:lnTo>
                      <a:lnTo>
                        <a:pt x="5" y="15"/>
                      </a:lnTo>
                      <a:lnTo>
                        <a:pt x="8" y="15"/>
                      </a:lnTo>
                      <a:lnTo>
                        <a:pt x="9" y="18"/>
                      </a:lnTo>
                      <a:lnTo>
                        <a:pt x="10" y="18"/>
                      </a:lnTo>
                      <a:lnTo>
                        <a:pt x="12" y="18"/>
                      </a:lnTo>
                      <a:lnTo>
                        <a:pt x="18" y="12"/>
                      </a:lnTo>
                      <a:lnTo>
                        <a:pt x="2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2" name="Freeform 1152"/>
                <p:cNvSpPr>
                  <a:spLocks/>
                </p:cNvSpPr>
                <p:nvPr/>
              </p:nvSpPr>
              <p:spPr bwMode="auto">
                <a:xfrm>
                  <a:off x="6351134" y="3175490"/>
                  <a:ext cx="131708" cy="73994"/>
                </a:xfrm>
                <a:custGeom>
                  <a:avLst/>
                  <a:gdLst>
                    <a:gd name="T0" fmla="*/ 2147483647 w 96"/>
                    <a:gd name="T1" fmla="*/ 2147483647 h 50"/>
                    <a:gd name="T2" fmla="*/ 2147483647 w 96"/>
                    <a:gd name="T3" fmla="*/ 0 h 50"/>
                    <a:gd name="T4" fmla="*/ 2147483647 w 96"/>
                    <a:gd name="T5" fmla="*/ 2147483647 h 50"/>
                    <a:gd name="T6" fmla="*/ 2147483647 w 96"/>
                    <a:gd name="T7" fmla="*/ 2147483647 h 50"/>
                    <a:gd name="T8" fmla="*/ 2147483647 w 96"/>
                    <a:gd name="T9" fmla="*/ 2147483647 h 50"/>
                    <a:gd name="T10" fmla="*/ 2147483647 w 96"/>
                    <a:gd name="T11" fmla="*/ 2147483647 h 50"/>
                    <a:gd name="T12" fmla="*/ 2147483647 w 96"/>
                    <a:gd name="T13" fmla="*/ 2147483647 h 50"/>
                    <a:gd name="T14" fmla="*/ 2147483647 w 96"/>
                    <a:gd name="T15" fmla="*/ 2147483647 h 50"/>
                    <a:gd name="T16" fmla="*/ 2147483647 w 96"/>
                    <a:gd name="T17" fmla="*/ 2147483647 h 50"/>
                    <a:gd name="T18" fmla="*/ 2147483647 w 96"/>
                    <a:gd name="T19" fmla="*/ 2147483647 h 50"/>
                    <a:gd name="T20" fmla="*/ 2147483647 w 96"/>
                    <a:gd name="T21" fmla="*/ 2147483647 h 50"/>
                    <a:gd name="T22" fmla="*/ 2147483647 w 96"/>
                    <a:gd name="T23" fmla="*/ 2147483647 h 50"/>
                    <a:gd name="T24" fmla="*/ 2147483647 w 96"/>
                    <a:gd name="T25" fmla="*/ 2147483647 h 50"/>
                    <a:gd name="T26" fmla="*/ 2147483647 w 96"/>
                    <a:gd name="T27" fmla="*/ 2147483647 h 50"/>
                    <a:gd name="T28" fmla="*/ 0 w 96"/>
                    <a:gd name="T29" fmla="*/ 2147483647 h 50"/>
                    <a:gd name="T30" fmla="*/ 2147483647 w 96"/>
                    <a:gd name="T31" fmla="*/ 2147483647 h 50"/>
                    <a:gd name="T32" fmla="*/ 2147483647 w 96"/>
                    <a:gd name="T33" fmla="*/ 2147483647 h 50"/>
                    <a:gd name="T34" fmla="*/ 2147483647 w 96"/>
                    <a:gd name="T35" fmla="*/ 2147483647 h 50"/>
                    <a:gd name="T36" fmla="*/ 2147483647 w 96"/>
                    <a:gd name="T37" fmla="*/ 2147483647 h 50"/>
                    <a:gd name="T38" fmla="*/ 2147483647 w 96"/>
                    <a:gd name="T39" fmla="*/ 2147483647 h 50"/>
                    <a:gd name="T40" fmla="*/ 2147483647 w 96"/>
                    <a:gd name="T41" fmla="*/ 2147483647 h 50"/>
                    <a:gd name="T42" fmla="*/ 2147483647 w 96"/>
                    <a:gd name="T43" fmla="*/ 2147483647 h 50"/>
                    <a:gd name="T44" fmla="*/ 2147483647 w 96"/>
                    <a:gd name="T45" fmla="*/ 2147483647 h 50"/>
                    <a:gd name="T46" fmla="*/ 2147483647 w 96"/>
                    <a:gd name="T47" fmla="*/ 2147483647 h 50"/>
                    <a:gd name="T48" fmla="*/ 2147483647 w 96"/>
                    <a:gd name="T49" fmla="*/ 2147483647 h 50"/>
                    <a:gd name="T50" fmla="*/ 2147483647 w 96"/>
                    <a:gd name="T51" fmla="*/ 2147483647 h 50"/>
                    <a:gd name="T52" fmla="*/ 2147483647 w 96"/>
                    <a:gd name="T53" fmla="*/ 2147483647 h 50"/>
                    <a:gd name="T54" fmla="*/ 2147483647 w 96"/>
                    <a:gd name="T55" fmla="*/ 2147483647 h 50"/>
                    <a:gd name="T56" fmla="*/ 2147483647 w 96"/>
                    <a:gd name="T57" fmla="*/ 2147483647 h 50"/>
                    <a:gd name="T58" fmla="*/ 2147483647 w 96"/>
                    <a:gd name="T59" fmla="*/ 2147483647 h 50"/>
                    <a:gd name="T60" fmla="*/ 2147483647 w 96"/>
                    <a:gd name="T61" fmla="*/ 2147483647 h 50"/>
                    <a:gd name="T62" fmla="*/ 2147483647 w 96"/>
                    <a:gd name="T63" fmla="*/ 2147483647 h 50"/>
                    <a:gd name="T64" fmla="*/ 2147483647 w 96"/>
                    <a:gd name="T65" fmla="*/ 2147483647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50"/>
                    <a:gd name="T101" fmla="*/ 96 w 96"/>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50">
                      <a:moveTo>
                        <a:pt x="96" y="7"/>
                      </a:moveTo>
                      <a:lnTo>
                        <a:pt x="96" y="4"/>
                      </a:lnTo>
                      <a:lnTo>
                        <a:pt x="96" y="1"/>
                      </a:lnTo>
                      <a:lnTo>
                        <a:pt x="94" y="0"/>
                      </a:lnTo>
                      <a:lnTo>
                        <a:pt x="91" y="0"/>
                      </a:lnTo>
                      <a:lnTo>
                        <a:pt x="90" y="1"/>
                      </a:lnTo>
                      <a:lnTo>
                        <a:pt x="88" y="4"/>
                      </a:lnTo>
                      <a:lnTo>
                        <a:pt x="85" y="6"/>
                      </a:lnTo>
                      <a:lnTo>
                        <a:pt x="82" y="6"/>
                      </a:lnTo>
                      <a:lnTo>
                        <a:pt x="79" y="5"/>
                      </a:lnTo>
                      <a:lnTo>
                        <a:pt x="76" y="5"/>
                      </a:lnTo>
                      <a:lnTo>
                        <a:pt x="74" y="5"/>
                      </a:lnTo>
                      <a:lnTo>
                        <a:pt x="63" y="6"/>
                      </a:lnTo>
                      <a:lnTo>
                        <a:pt x="60" y="6"/>
                      </a:lnTo>
                      <a:lnTo>
                        <a:pt x="55" y="6"/>
                      </a:lnTo>
                      <a:lnTo>
                        <a:pt x="55" y="4"/>
                      </a:lnTo>
                      <a:lnTo>
                        <a:pt x="47" y="4"/>
                      </a:lnTo>
                      <a:lnTo>
                        <a:pt x="41" y="4"/>
                      </a:lnTo>
                      <a:lnTo>
                        <a:pt x="34" y="5"/>
                      </a:lnTo>
                      <a:lnTo>
                        <a:pt x="28" y="5"/>
                      </a:lnTo>
                      <a:lnTo>
                        <a:pt x="19" y="5"/>
                      </a:lnTo>
                      <a:lnTo>
                        <a:pt x="14" y="6"/>
                      </a:lnTo>
                      <a:lnTo>
                        <a:pt x="11" y="8"/>
                      </a:lnTo>
                      <a:lnTo>
                        <a:pt x="9" y="12"/>
                      </a:lnTo>
                      <a:lnTo>
                        <a:pt x="8" y="15"/>
                      </a:lnTo>
                      <a:lnTo>
                        <a:pt x="6" y="19"/>
                      </a:lnTo>
                      <a:lnTo>
                        <a:pt x="5" y="23"/>
                      </a:lnTo>
                      <a:lnTo>
                        <a:pt x="2" y="25"/>
                      </a:lnTo>
                      <a:lnTo>
                        <a:pt x="0" y="27"/>
                      </a:lnTo>
                      <a:lnTo>
                        <a:pt x="0" y="31"/>
                      </a:lnTo>
                      <a:lnTo>
                        <a:pt x="1" y="36"/>
                      </a:lnTo>
                      <a:lnTo>
                        <a:pt x="4" y="40"/>
                      </a:lnTo>
                      <a:lnTo>
                        <a:pt x="8" y="45"/>
                      </a:lnTo>
                      <a:lnTo>
                        <a:pt x="11" y="49"/>
                      </a:lnTo>
                      <a:lnTo>
                        <a:pt x="13" y="50"/>
                      </a:lnTo>
                      <a:lnTo>
                        <a:pt x="15" y="50"/>
                      </a:lnTo>
                      <a:lnTo>
                        <a:pt x="19" y="49"/>
                      </a:lnTo>
                      <a:lnTo>
                        <a:pt x="20" y="46"/>
                      </a:lnTo>
                      <a:lnTo>
                        <a:pt x="22" y="44"/>
                      </a:lnTo>
                      <a:lnTo>
                        <a:pt x="20" y="42"/>
                      </a:lnTo>
                      <a:lnTo>
                        <a:pt x="18" y="38"/>
                      </a:lnTo>
                      <a:lnTo>
                        <a:pt x="16" y="33"/>
                      </a:lnTo>
                      <a:lnTo>
                        <a:pt x="18" y="28"/>
                      </a:lnTo>
                      <a:lnTo>
                        <a:pt x="20" y="24"/>
                      </a:lnTo>
                      <a:lnTo>
                        <a:pt x="22" y="24"/>
                      </a:lnTo>
                      <a:lnTo>
                        <a:pt x="24" y="25"/>
                      </a:lnTo>
                      <a:lnTo>
                        <a:pt x="24" y="23"/>
                      </a:lnTo>
                      <a:lnTo>
                        <a:pt x="24" y="21"/>
                      </a:lnTo>
                      <a:lnTo>
                        <a:pt x="24" y="19"/>
                      </a:lnTo>
                      <a:lnTo>
                        <a:pt x="25" y="17"/>
                      </a:lnTo>
                      <a:lnTo>
                        <a:pt x="27" y="17"/>
                      </a:lnTo>
                      <a:lnTo>
                        <a:pt x="28" y="17"/>
                      </a:lnTo>
                      <a:lnTo>
                        <a:pt x="30" y="17"/>
                      </a:lnTo>
                      <a:lnTo>
                        <a:pt x="32" y="17"/>
                      </a:lnTo>
                      <a:lnTo>
                        <a:pt x="35" y="17"/>
                      </a:lnTo>
                      <a:lnTo>
                        <a:pt x="39" y="17"/>
                      </a:lnTo>
                      <a:lnTo>
                        <a:pt x="47" y="18"/>
                      </a:lnTo>
                      <a:lnTo>
                        <a:pt x="52" y="17"/>
                      </a:lnTo>
                      <a:lnTo>
                        <a:pt x="56" y="15"/>
                      </a:lnTo>
                      <a:lnTo>
                        <a:pt x="61" y="15"/>
                      </a:lnTo>
                      <a:lnTo>
                        <a:pt x="67" y="15"/>
                      </a:lnTo>
                      <a:lnTo>
                        <a:pt x="79" y="17"/>
                      </a:lnTo>
                      <a:lnTo>
                        <a:pt x="85" y="15"/>
                      </a:lnTo>
                      <a:lnTo>
                        <a:pt x="89" y="14"/>
                      </a:lnTo>
                      <a:lnTo>
                        <a:pt x="94" y="12"/>
                      </a:lnTo>
                      <a:lnTo>
                        <a:pt x="9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3" name="Freeform 1153"/>
                <p:cNvSpPr>
                  <a:spLocks/>
                </p:cNvSpPr>
                <p:nvPr/>
              </p:nvSpPr>
              <p:spPr bwMode="auto">
                <a:xfrm>
                  <a:off x="5890890" y="1963474"/>
                  <a:ext cx="349250" cy="177585"/>
                </a:xfrm>
                <a:custGeom>
                  <a:avLst/>
                  <a:gdLst>
                    <a:gd name="T0" fmla="*/ 2147483647 w 256"/>
                    <a:gd name="T1" fmla="*/ 2147483647 h 120"/>
                    <a:gd name="T2" fmla="*/ 2147483647 w 256"/>
                    <a:gd name="T3" fmla="*/ 0 h 120"/>
                    <a:gd name="T4" fmla="*/ 2147483647 w 256"/>
                    <a:gd name="T5" fmla="*/ 0 h 120"/>
                    <a:gd name="T6" fmla="*/ 2147483647 w 256"/>
                    <a:gd name="T7" fmla="*/ 2147483647 h 120"/>
                    <a:gd name="T8" fmla="*/ 2147483647 w 256"/>
                    <a:gd name="T9" fmla="*/ 2147483647 h 120"/>
                    <a:gd name="T10" fmla="*/ 2147483647 w 256"/>
                    <a:gd name="T11" fmla="*/ 2147483647 h 120"/>
                    <a:gd name="T12" fmla="*/ 2147483647 w 256"/>
                    <a:gd name="T13" fmla="*/ 2147483647 h 120"/>
                    <a:gd name="T14" fmla="*/ 2147483647 w 256"/>
                    <a:gd name="T15" fmla="*/ 2147483647 h 120"/>
                    <a:gd name="T16" fmla="*/ 2147483647 w 256"/>
                    <a:gd name="T17" fmla="*/ 2147483647 h 120"/>
                    <a:gd name="T18" fmla="*/ 2147483647 w 256"/>
                    <a:gd name="T19" fmla="*/ 2147483647 h 120"/>
                    <a:gd name="T20" fmla="*/ 2147483647 w 256"/>
                    <a:gd name="T21" fmla="*/ 2147483647 h 120"/>
                    <a:gd name="T22" fmla="*/ 2147483647 w 256"/>
                    <a:gd name="T23" fmla="*/ 2147483647 h 120"/>
                    <a:gd name="T24" fmla="*/ 2147483647 w 256"/>
                    <a:gd name="T25" fmla="*/ 2147483647 h 120"/>
                    <a:gd name="T26" fmla="*/ 2147483647 w 256"/>
                    <a:gd name="T27" fmla="*/ 2147483647 h 120"/>
                    <a:gd name="T28" fmla="*/ 2147483647 w 256"/>
                    <a:gd name="T29" fmla="*/ 2147483647 h 120"/>
                    <a:gd name="T30" fmla="*/ 2147483647 w 256"/>
                    <a:gd name="T31" fmla="*/ 2147483647 h 120"/>
                    <a:gd name="T32" fmla="*/ 2147483647 w 256"/>
                    <a:gd name="T33" fmla="*/ 2147483647 h 120"/>
                    <a:gd name="T34" fmla="*/ 2147483647 w 256"/>
                    <a:gd name="T35" fmla="*/ 2147483647 h 120"/>
                    <a:gd name="T36" fmla="*/ 2147483647 w 256"/>
                    <a:gd name="T37" fmla="*/ 2147483647 h 120"/>
                    <a:gd name="T38" fmla="*/ 2147483647 w 256"/>
                    <a:gd name="T39" fmla="*/ 2147483647 h 120"/>
                    <a:gd name="T40" fmla="*/ 0 w 256"/>
                    <a:gd name="T41" fmla="*/ 2147483647 h 120"/>
                    <a:gd name="T42" fmla="*/ 2147483647 w 256"/>
                    <a:gd name="T43" fmla="*/ 2147483647 h 120"/>
                    <a:gd name="T44" fmla="*/ 2147483647 w 256"/>
                    <a:gd name="T45" fmla="*/ 2147483647 h 120"/>
                    <a:gd name="T46" fmla="*/ 2147483647 w 256"/>
                    <a:gd name="T47" fmla="*/ 2147483647 h 120"/>
                    <a:gd name="T48" fmla="*/ 2147483647 w 256"/>
                    <a:gd name="T49" fmla="*/ 2147483647 h 120"/>
                    <a:gd name="T50" fmla="*/ 2147483647 w 256"/>
                    <a:gd name="T51" fmla="*/ 2147483647 h 120"/>
                    <a:gd name="T52" fmla="*/ 2147483647 w 256"/>
                    <a:gd name="T53" fmla="*/ 2147483647 h 120"/>
                    <a:gd name="T54" fmla="*/ 2147483647 w 256"/>
                    <a:gd name="T55" fmla="*/ 2147483647 h 120"/>
                    <a:gd name="T56" fmla="*/ 2147483647 w 256"/>
                    <a:gd name="T57" fmla="*/ 2147483647 h 120"/>
                    <a:gd name="T58" fmla="*/ 2147483647 w 256"/>
                    <a:gd name="T59" fmla="*/ 2147483647 h 120"/>
                    <a:gd name="T60" fmla="*/ 2147483647 w 256"/>
                    <a:gd name="T61" fmla="*/ 2147483647 h 120"/>
                    <a:gd name="T62" fmla="*/ 2147483647 w 256"/>
                    <a:gd name="T63" fmla="*/ 2147483647 h 120"/>
                    <a:gd name="T64" fmla="*/ 2147483647 w 256"/>
                    <a:gd name="T65" fmla="*/ 2147483647 h 120"/>
                    <a:gd name="T66" fmla="*/ 2147483647 w 256"/>
                    <a:gd name="T67" fmla="*/ 2147483647 h 120"/>
                    <a:gd name="T68" fmla="*/ 2147483647 w 256"/>
                    <a:gd name="T69" fmla="*/ 2147483647 h 120"/>
                    <a:gd name="T70" fmla="*/ 2147483647 w 256"/>
                    <a:gd name="T71" fmla="*/ 2147483647 h 120"/>
                    <a:gd name="T72" fmla="*/ 2147483647 w 256"/>
                    <a:gd name="T73" fmla="*/ 2147483647 h 120"/>
                    <a:gd name="T74" fmla="*/ 2147483647 w 256"/>
                    <a:gd name="T75" fmla="*/ 2147483647 h 120"/>
                    <a:gd name="T76" fmla="*/ 2147483647 w 256"/>
                    <a:gd name="T77" fmla="*/ 2147483647 h 120"/>
                    <a:gd name="T78" fmla="*/ 2147483647 w 256"/>
                    <a:gd name="T79" fmla="*/ 2147483647 h 120"/>
                    <a:gd name="T80" fmla="*/ 2147483647 w 256"/>
                    <a:gd name="T81" fmla="*/ 2147483647 h 120"/>
                    <a:gd name="T82" fmla="*/ 2147483647 w 256"/>
                    <a:gd name="T83" fmla="*/ 2147483647 h 120"/>
                    <a:gd name="T84" fmla="*/ 2147483647 w 256"/>
                    <a:gd name="T85" fmla="*/ 2147483647 h 1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6"/>
                    <a:gd name="T130" fmla="*/ 0 h 120"/>
                    <a:gd name="T131" fmla="*/ 256 w 256"/>
                    <a:gd name="T132" fmla="*/ 120 h 1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6" h="120">
                      <a:moveTo>
                        <a:pt x="253" y="0"/>
                      </a:moveTo>
                      <a:lnTo>
                        <a:pt x="251" y="1"/>
                      </a:lnTo>
                      <a:lnTo>
                        <a:pt x="247" y="2"/>
                      </a:lnTo>
                      <a:lnTo>
                        <a:pt x="240" y="2"/>
                      </a:lnTo>
                      <a:lnTo>
                        <a:pt x="235" y="2"/>
                      </a:lnTo>
                      <a:lnTo>
                        <a:pt x="230" y="0"/>
                      </a:lnTo>
                      <a:lnTo>
                        <a:pt x="228" y="0"/>
                      </a:lnTo>
                      <a:lnTo>
                        <a:pt x="225" y="0"/>
                      </a:lnTo>
                      <a:lnTo>
                        <a:pt x="224" y="0"/>
                      </a:lnTo>
                      <a:lnTo>
                        <a:pt x="218" y="7"/>
                      </a:lnTo>
                      <a:lnTo>
                        <a:pt x="214" y="9"/>
                      </a:lnTo>
                      <a:lnTo>
                        <a:pt x="210" y="12"/>
                      </a:lnTo>
                      <a:lnTo>
                        <a:pt x="200" y="15"/>
                      </a:lnTo>
                      <a:lnTo>
                        <a:pt x="190" y="19"/>
                      </a:lnTo>
                      <a:lnTo>
                        <a:pt x="179" y="21"/>
                      </a:lnTo>
                      <a:lnTo>
                        <a:pt x="169" y="25"/>
                      </a:lnTo>
                      <a:lnTo>
                        <a:pt x="164" y="26"/>
                      </a:lnTo>
                      <a:lnTo>
                        <a:pt x="162" y="26"/>
                      </a:lnTo>
                      <a:lnTo>
                        <a:pt x="159" y="25"/>
                      </a:lnTo>
                      <a:lnTo>
                        <a:pt x="159" y="24"/>
                      </a:lnTo>
                      <a:lnTo>
                        <a:pt x="158" y="18"/>
                      </a:lnTo>
                      <a:lnTo>
                        <a:pt x="158" y="16"/>
                      </a:lnTo>
                      <a:lnTo>
                        <a:pt x="158" y="15"/>
                      </a:lnTo>
                      <a:lnTo>
                        <a:pt x="152" y="15"/>
                      </a:lnTo>
                      <a:lnTo>
                        <a:pt x="144" y="15"/>
                      </a:lnTo>
                      <a:lnTo>
                        <a:pt x="138" y="18"/>
                      </a:lnTo>
                      <a:lnTo>
                        <a:pt x="130" y="20"/>
                      </a:lnTo>
                      <a:lnTo>
                        <a:pt x="129" y="22"/>
                      </a:lnTo>
                      <a:lnTo>
                        <a:pt x="127" y="25"/>
                      </a:lnTo>
                      <a:lnTo>
                        <a:pt x="125" y="27"/>
                      </a:lnTo>
                      <a:lnTo>
                        <a:pt x="122" y="29"/>
                      </a:lnTo>
                      <a:lnTo>
                        <a:pt x="113" y="29"/>
                      </a:lnTo>
                      <a:lnTo>
                        <a:pt x="106" y="32"/>
                      </a:lnTo>
                      <a:lnTo>
                        <a:pt x="101" y="34"/>
                      </a:lnTo>
                      <a:lnTo>
                        <a:pt x="97" y="38"/>
                      </a:lnTo>
                      <a:lnTo>
                        <a:pt x="93" y="39"/>
                      </a:lnTo>
                      <a:lnTo>
                        <a:pt x="89" y="40"/>
                      </a:lnTo>
                      <a:lnTo>
                        <a:pt x="83" y="42"/>
                      </a:lnTo>
                      <a:lnTo>
                        <a:pt x="78" y="45"/>
                      </a:lnTo>
                      <a:lnTo>
                        <a:pt x="73" y="46"/>
                      </a:lnTo>
                      <a:lnTo>
                        <a:pt x="66" y="48"/>
                      </a:lnTo>
                      <a:lnTo>
                        <a:pt x="65" y="51"/>
                      </a:lnTo>
                      <a:lnTo>
                        <a:pt x="64" y="53"/>
                      </a:lnTo>
                      <a:lnTo>
                        <a:pt x="60" y="57"/>
                      </a:lnTo>
                      <a:lnTo>
                        <a:pt x="55" y="59"/>
                      </a:lnTo>
                      <a:lnTo>
                        <a:pt x="50" y="60"/>
                      </a:lnTo>
                      <a:lnTo>
                        <a:pt x="44" y="60"/>
                      </a:lnTo>
                      <a:lnTo>
                        <a:pt x="41" y="60"/>
                      </a:lnTo>
                      <a:lnTo>
                        <a:pt x="39" y="63"/>
                      </a:lnTo>
                      <a:lnTo>
                        <a:pt x="33" y="77"/>
                      </a:lnTo>
                      <a:lnTo>
                        <a:pt x="30" y="83"/>
                      </a:lnTo>
                      <a:lnTo>
                        <a:pt x="27" y="86"/>
                      </a:lnTo>
                      <a:lnTo>
                        <a:pt x="23" y="89"/>
                      </a:lnTo>
                      <a:lnTo>
                        <a:pt x="22" y="89"/>
                      </a:lnTo>
                      <a:lnTo>
                        <a:pt x="23" y="91"/>
                      </a:lnTo>
                      <a:lnTo>
                        <a:pt x="22" y="93"/>
                      </a:lnTo>
                      <a:lnTo>
                        <a:pt x="19" y="96"/>
                      </a:lnTo>
                      <a:lnTo>
                        <a:pt x="14" y="98"/>
                      </a:lnTo>
                      <a:lnTo>
                        <a:pt x="7" y="102"/>
                      </a:lnTo>
                      <a:lnTo>
                        <a:pt x="4" y="103"/>
                      </a:lnTo>
                      <a:lnTo>
                        <a:pt x="2" y="103"/>
                      </a:lnTo>
                      <a:lnTo>
                        <a:pt x="0" y="105"/>
                      </a:lnTo>
                      <a:lnTo>
                        <a:pt x="0" y="108"/>
                      </a:lnTo>
                      <a:lnTo>
                        <a:pt x="0" y="112"/>
                      </a:lnTo>
                      <a:lnTo>
                        <a:pt x="2" y="112"/>
                      </a:lnTo>
                      <a:lnTo>
                        <a:pt x="3" y="112"/>
                      </a:lnTo>
                      <a:lnTo>
                        <a:pt x="8" y="111"/>
                      </a:lnTo>
                      <a:lnTo>
                        <a:pt x="14" y="111"/>
                      </a:lnTo>
                      <a:lnTo>
                        <a:pt x="21" y="112"/>
                      </a:lnTo>
                      <a:lnTo>
                        <a:pt x="26" y="115"/>
                      </a:lnTo>
                      <a:lnTo>
                        <a:pt x="39" y="118"/>
                      </a:lnTo>
                      <a:lnTo>
                        <a:pt x="45" y="120"/>
                      </a:lnTo>
                      <a:lnTo>
                        <a:pt x="51" y="120"/>
                      </a:lnTo>
                      <a:lnTo>
                        <a:pt x="54" y="118"/>
                      </a:lnTo>
                      <a:lnTo>
                        <a:pt x="55" y="117"/>
                      </a:lnTo>
                      <a:lnTo>
                        <a:pt x="55" y="116"/>
                      </a:lnTo>
                      <a:lnTo>
                        <a:pt x="56" y="111"/>
                      </a:lnTo>
                      <a:lnTo>
                        <a:pt x="58" y="108"/>
                      </a:lnTo>
                      <a:lnTo>
                        <a:pt x="58" y="103"/>
                      </a:lnTo>
                      <a:lnTo>
                        <a:pt x="58" y="99"/>
                      </a:lnTo>
                      <a:lnTo>
                        <a:pt x="56" y="96"/>
                      </a:lnTo>
                      <a:lnTo>
                        <a:pt x="58" y="92"/>
                      </a:lnTo>
                      <a:lnTo>
                        <a:pt x="63" y="88"/>
                      </a:lnTo>
                      <a:lnTo>
                        <a:pt x="68" y="83"/>
                      </a:lnTo>
                      <a:lnTo>
                        <a:pt x="75" y="79"/>
                      </a:lnTo>
                      <a:lnTo>
                        <a:pt x="79" y="79"/>
                      </a:lnTo>
                      <a:lnTo>
                        <a:pt x="83" y="79"/>
                      </a:lnTo>
                      <a:lnTo>
                        <a:pt x="85" y="78"/>
                      </a:lnTo>
                      <a:lnTo>
                        <a:pt x="88" y="77"/>
                      </a:lnTo>
                      <a:lnTo>
                        <a:pt x="89" y="73"/>
                      </a:lnTo>
                      <a:lnTo>
                        <a:pt x="93" y="72"/>
                      </a:lnTo>
                      <a:lnTo>
                        <a:pt x="96" y="72"/>
                      </a:lnTo>
                      <a:lnTo>
                        <a:pt x="99" y="72"/>
                      </a:lnTo>
                      <a:lnTo>
                        <a:pt x="102" y="73"/>
                      </a:lnTo>
                      <a:lnTo>
                        <a:pt x="105" y="73"/>
                      </a:lnTo>
                      <a:lnTo>
                        <a:pt x="106" y="71"/>
                      </a:lnTo>
                      <a:lnTo>
                        <a:pt x="106" y="69"/>
                      </a:lnTo>
                      <a:lnTo>
                        <a:pt x="106" y="66"/>
                      </a:lnTo>
                      <a:lnTo>
                        <a:pt x="107" y="66"/>
                      </a:lnTo>
                      <a:lnTo>
                        <a:pt x="117" y="64"/>
                      </a:lnTo>
                      <a:lnTo>
                        <a:pt x="126" y="60"/>
                      </a:lnTo>
                      <a:lnTo>
                        <a:pt x="144" y="52"/>
                      </a:lnTo>
                      <a:lnTo>
                        <a:pt x="150" y="50"/>
                      </a:lnTo>
                      <a:lnTo>
                        <a:pt x="153" y="50"/>
                      </a:lnTo>
                      <a:lnTo>
                        <a:pt x="157" y="50"/>
                      </a:lnTo>
                      <a:lnTo>
                        <a:pt x="159" y="50"/>
                      </a:lnTo>
                      <a:lnTo>
                        <a:pt x="163" y="50"/>
                      </a:lnTo>
                      <a:lnTo>
                        <a:pt x="168" y="46"/>
                      </a:lnTo>
                      <a:lnTo>
                        <a:pt x="174" y="42"/>
                      </a:lnTo>
                      <a:lnTo>
                        <a:pt x="177" y="41"/>
                      </a:lnTo>
                      <a:lnTo>
                        <a:pt x="181" y="41"/>
                      </a:lnTo>
                      <a:lnTo>
                        <a:pt x="191" y="41"/>
                      </a:lnTo>
                      <a:lnTo>
                        <a:pt x="199" y="40"/>
                      </a:lnTo>
                      <a:lnTo>
                        <a:pt x="206" y="39"/>
                      </a:lnTo>
                      <a:lnTo>
                        <a:pt x="214" y="35"/>
                      </a:lnTo>
                      <a:lnTo>
                        <a:pt x="221" y="33"/>
                      </a:lnTo>
                      <a:lnTo>
                        <a:pt x="229" y="32"/>
                      </a:lnTo>
                      <a:lnTo>
                        <a:pt x="243" y="32"/>
                      </a:lnTo>
                      <a:lnTo>
                        <a:pt x="244" y="31"/>
                      </a:lnTo>
                      <a:lnTo>
                        <a:pt x="244" y="29"/>
                      </a:lnTo>
                      <a:lnTo>
                        <a:pt x="244" y="27"/>
                      </a:lnTo>
                      <a:lnTo>
                        <a:pt x="244" y="22"/>
                      </a:lnTo>
                      <a:lnTo>
                        <a:pt x="247" y="20"/>
                      </a:lnTo>
                      <a:lnTo>
                        <a:pt x="251" y="16"/>
                      </a:lnTo>
                      <a:lnTo>
                        <a:pt x="253" y="13"/>
                      </a:lnTo>
                      <a:lnTo>
                        <a:pt x="254" y="8"/>
                      </a:lnTo>
                      <a:lnTo>
                        <a:pt x="254" y="5"/>
                      </a:lnTo>
                      <a:lnTo>
                        <a:pt x="256" y="2"/>
                      </a:lnTo>
                      <a:lnTo>
                        <a:pt x="256" y="1"/>
                      </a:lnTo>
                      <a:lnTo>
                        <a:pt x="254" y="1"/>
                      </a:lnTo>
                      <a:lnTo>
                        <a:pt x="25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4" name="Freeform 1154"/>
                <p:cNvSpPr>
                  <a:spLocks/>
                </p:cNvSpPr>
                <p:nvPr/>
              </p:nvSpPr>
              <p:spPr bwMode="auto">
                <a:xfrm>
                  <a:off x="6349651" y="3174010"/>
                  <a:ext cx="131709" cy="73994"/>
                </a:xfrm>
                <a:custGeom>
                  <a:avLst/>
                  <a:gdLst>
                    <a:gd name="T0" fmla="*/ 2147483647 w 96"/>
                    <a:gd name="T1" fmla="*/ 2147483647 h 50"/>
                    <a:gd name="T2" fmla="*/ 2147483647 w 96"/>
                    <a:gd name="T3" fmla="*/ 2147483647 h 50"/>
                    <a:gd name="T4" fmla="*/ 2147483647 w 96"/>
                    <a:gd name="T5" fmla="*/ 0 h 50"/>
                    <a:gd name="T6" fmla="*/ 2147483647 w 96"/>
                    <a:gd name="T7" fmla="*/ 2147483647 h 50"/>
                    <a:gd name="T8" fmla="*/ 2147483647 w 96"/>
                    <a:gd name="T9" fmla="*/ 2147483647 h 50"/>
                    <a:gd name="T10" fmla="*/ 2147483647 w 96"/>
                    <a:gd name="T11" fmla="*/ 2147483647 h 50"/>
                    <a:gd name="T12" fmla="*/ 2147483647 w 96"/>
                    <a:gd name="T13" fmla="*/ 2147483647 h 50"/>
                    <a:gd name="T14" fmla="*/ 2147483647 w 96"/>
                    <a:gd name="T15" fmla="*/ 2147483647 h 50"/>
                    <a:gd name="T16" fmla="*/ 2147483647 w 96"/>
                    <a:gd name="T17" fmla="*/ 2147483647 h 50"/>
                    <a:gd name="T18" fmla="*/ 2147483647 w 96"/>
                    <a:gd name="T19" fmla="*/ 2147483647 h 50"/>
                    <a:gd name="T20" fmla="*/ 2147483647 w 96"/>
                    <a:gd name="T21" fmla="*/ 2147483647 h 50"/>
                    <a:gd name="T22" fmla="*/ 2147483647 w 96"/>
                    <a:gd name="T23" fmla="*/ 2147483647 h 50"/>
                    <a:gd name="T24" fmla="*/ 2147483647 w 96"/>
                    <a:gd name="T25" fmla="*/ 2147483647 h 50"/>
                    <a:gd name="T26" fmla="*/ 2147483647 w 96"/>
                    <a:gd name="T27" fmla="*/ 2147483647 h 50"/>
                    <a:gd name="T28" fmla="*/ 2147483647 w 96"/>
                    <a:gd name="T29" fmla="*/ 2147483647 h 50"/>
                    <a:gd name="T30" fmla="*/ 2147483647 w 96"/>
                    <a:gd name="T31" fmla="*/ 2147483647 h 50"/>
                    <a:gd name="T32" fmla="*/ 2147483647 w 96"/>
                    <a:gd name="T33" fmla="*/ 2147483647 h 50"/>
                    <a:gd name="T34" fmla="*/ 2147483647 w 96"/>
                    <a:gd name="T35" fmla="*/ 2147483647 h 50"/>
                    <a:gd name="T36" fmla="*/ 2147483647 w 96"/>
                    <a:gd name="T37" fmla="*/ 2147483647 h 50"/>
                    <a:gd name="T38" fmla="*/ 0 w 96"/>
                    <a:gd name="T39" fmla="*/ 2147483647 h 50"/>
                    <a:gd name="T40" fmla="*/ 0 w 96"/>
                    <a:gd name="T41" fmla="*/ 2147483647 h 50"/>
                    <a:gd name="T42" fmla="*/ 2147483647 w 96"/>
                    <a:gd name="T43" fmla="*/ 2147483647 h 50"/>
                    <a:gd name="T44" fmla="*/ 2147483647 w 96"/>
                    <a:gd name="T45" fmla="*/ 2147483647 h 50"/>
                    <a:gd name="T46" fmla="*/ 2147483647 w 96"/>
                    <a:gd name="T47" fmla="*/ 2147483647 h 50"/>
                    <a:gd name="T48" fmla="*/ 2147483647 w 96"/>
                    <a:gd name="T49" fmla="*/ 2147483647 h 50"/>
                    <a:gd name="T50" fmla="*/ 2147483647 w 96"/>
                    <a:gd name="T51" fmla="*/ 2147483647 h 50"/>
                    <a:gd name="T52" fmla="*/ 2147483647 w 96"/>
                    <a:gd name="T53" fmla="*/ 2147483647 h 50"/>
                    <a:gd name="T54" fmla="*/ 2147483647 w 96"/>
                    <a:gd name="T55" fmla="*/ 2147483647 h 50"/>
                    <a:gd name="T56" fmla="*/ 2147483647 w 96"/>
                    <a:gd name="T57" fmla="*/ 2147483647 h 50"/>
                    <a:gd name="T58" fmla="*/ 2147483647 w 96"/>
                    <a:gd name="T59" fmla="*/ 2147483647 h 50"/>
                    <a:gd name="T60" fmla="*/ 2147483647 w 96"/>
                    <a:gd name="T61" fmla="*/ 2147483647 h 50"/>
                    <a:gd name="T62" fmla="*/ 2147483647 w 96"/>
                    <a:gd name="T63" fmla="*/ 2147483647 h 50"/>
                    <a:gd name="T64" fmla="*/ 2147483647 w 96"/>
                    <a:gd name="T65" fmla="*/ 2147483647 h 50"/>
                    <a:gd name="T66" fmla="*/ 2147483647 w 96"/>
                    <a:gd name="T67" fmla="*/ 2147483647 h 50"/>
                    <a:gd name="T68" fmla="*/ 2147483647 w 96"/>
                    <a:gd name="T69" fmla="*/ 2147483647 h 50"/>
                    <a:gd name="T70" fmla="*/ 2147483647 w 96"/>
                    <a:gd name="T71" fmla="*/ 2147483647 h 50"/>
                    <a:gd name="T72" fmla="*/ 2147483647 w 96"/>
                    <a:gd name="T73" fmla="*/ 2147483647 h 50"/>
                    <a:gd name="T74" fmla="*/ 2147483647 w 96"/>
                    <a:gd name="T75" fmla="*/ 2147483647 h 50"/>
                    <a:gd name="T76" fmla="*/ 2147483647 w 96"/>
                    <a:gd name="T77" fmla="*/ 2147483647 h 50"/>
                    <a:gd name="T78" fmla="*/ 2147483647 w 96"/>
                    <a:gd name="T79" fmla="*/ 2147483647 h 50"/>
                    <a:gd name="T80" fmla="*/ 2147483647 w 96"/>
                    <a:gd name="T81" fmla="*/ 2147483647 h 50"/>
                    <a:gd name="T82" fmla="*/ 2147483647 w 96"/>
                    <a:gd name="T83" fmla="*/ 2147483647 h 50"/>
                    <a:gd name="T84" fmla="*/ 2147483647 w 96"/>
                    <a:gd name="T85" fmla="*/ 2147483647 h 50"/>
                    <a:gd name="T86" fmla="*/ 2147483647 w 96"/>
                    <a:gd name="T87" fmla="*/ 2147483647 h 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6"/>
                    <a:gd name="T133" fmla="*/ 0 h 50"/>
                    <a:gd name="T134" fmla="*/ 96 w 96"/>
                    <a:gd name="T135" fmla="*/ 50 h 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6" h="50">
                      <a:moveTo>
                        <a:pt x="96" y="7"/>
                      </a:moveTo>
                      <a:lnTo>
                        <a:pt x="96" y="7"/>
                      </a:lnTo>
                      <a:lnTo>
                        <a:pt x="96" y="3"/>
                      </a:lnTo>
                      <a:lnTo>
                        <a:pt x="96" y="1"/>
                      </a:lnTo>
                      <a:lnTo>
                        <a:pt x="94" y="0"/>
                      </a:lnTo>
                      <a:lnTo>
                        <a:pt x="91" y="0"/>
                      </a:lnTo>
                      <a:lnTo>
                        <a:pt x="90" y="1"/>
                      </a:lnTo>
                      <a:lnTo>
                        <a:pt x="87" y="3"/>
                      </a:lnTo>
                      <a:lnTo>
                        <a:pt x="85" y="6"/>
                      </a:lnTo>
                      <a:lnTo>
                        <a:pt x="82" y="6"/>
                      </a:lnTo>
                      <a:lnTo>
                        <a:pt x="78" y="5"/>
                      </a:lnTo>
                      <a:lnTo>
                        <a:pt x="76" y="5"/>
                      </a:lnTo>
                      <a:lnTo>
                        <a:pt x="73" y="5"/>
                      </a:lnTo>
                      <a:lnTo>
                        <a:pt x="63" y="6"/>
                      </a:lnTo>
                      <a:lnTo>
                        <a:pt x="59" y="6"/>
                      </a:lnTo>
                      <a:lnTo>
                        <a:pt x="54" y="6"/>
                      </a:lnTo>
                      <a:lnTo>
                        <a:pt x="54" y="3"/>
                      </a:lnTo>
                      <a:lnTo>
                        <a:pt x="47" y="3"/>
                      </a:lnTo>
                      <a:lnTo>
                        <a:pt x="40" y="3"/>
                      </a:lnTo>
                      <a:lnTo>
                        <a:pt x="34" y="5"/>
                      </a:lnTo>
                      <a:lnTo>
                        <a:pt x="28" y="5"/>
                      </a:lnTo>
                      <a:lnTo>
                        <a:pt x="19" y="5"/>
                      </a:lnTo>
                      <a:lnTo>
                        <a:pt x="14" y="6"/>
                      </a:lnTo>
                      <a:lnTo>
                        <a:pt x="11" y="8"/>
                      </a:lnTo>
                      <a:lnTo>
                        <a:pt x="9" y="12"/>
                      </a:lnTo>
                      <a:lnTo>
                        <a:pt x="7" y="15"/>
                      </a:lnTo>
                      <a:lnTo>
                        <a:pt x="6" y="19"/>
                      </a:lnTo>
                      <a:lnTo>
                        <a:pt x="5" y="22"/>
                      </a:lnTo>
                      <a:lnTo>
                        <a:pt x="2" y="25"/>
                      </a:lnTo>
                      <a:lnTo>
                        <a:pt x="0" y="27"/>
                      </a:lnTo>
                      <a:lnTo>
                        <a:pt x="0" y="31"/>
                      </a:lnTo>
                      <a:lnTo>
                        <a:pt x="1" y="35"/>
                      </a:lnTo>
                      <a:lnTo>
                        <a:pt x="3" y="40"/>
                      </a:lnTo>
                      <a:lnTo>
                        <a:pt x="7" y="45"/>
                      </a:lnTo>
                      <a:lnTo>
                        <a:pt x="11" y="48"/>
                      </a:lnTo>
                      <a:lnTo>
                        <a:pt x="12" y="50"/>
                      </a:lnTo>
                      <a:lnTo>
                        <a:pt x="15" y="50"/>
                      </a:lnTo>
                      <a:lnTo>
                        <a:pt x="19" y="48"/>
                      </a:lnTo>
                      <a:lnTo>
                        <a:pt x="20" y="46"/>
                      </a:lnTo>
                      <a:lnTo>
                        <a:pt x="21" y="44"/>
                      </a:lnTo>
                      <a:lnTo>
                        <a:pt x="20" y="41"/>
                      </a:lnTo>
                      <a:lnTo>
                        <a:pt x="17" y="38"/>
                      </a:lnTo>
                      <a:lnTo>
                        <a:pt x="16" y="33"/>
                      </a:lnTo>
                      <a:lnTo>
                        <a:pt x="17" y="28"/>
                      </a:lnTo>
                      <a:lnTo>
                        <a:pt x="20" y="24"/>
                      </a:lnTo>
                      <a:lnTo>
                        <a:pt x="21" y="24"/>
                      </a:lnTo>
                      <a:lnTo>
                        <a:pt x="24" y="25"/>
                      </a:lnTo>
                      <a:lnTo>
                        <a:pt x="24" y="22"/>
                      </a:lnTo>
                      <a:lnTo>
                        <a:pt x="24" y="21"/>
                      </a:lnTo>
                      <a:lnTo>
                        <a:pt x="24" y="19"/>
                      </a:lnTo>
                      <a:lnTo>
                        <a:pt x="25" y="16"/>
                      </a:lnTo>
                      <a:lnTo>
                        <a:pt x="26" y="16"/>
                      </a:lnTo>
                      <a:lnTo>
                        <a:pt x="28" y="16"/>
                      </a:lnTo>
                      <a:lnTo>
                        <a:pt x="30" y="16"/>
                      </a:lnTo>
                      <a:lnTo>
                        <a:pt x="31" y="16"/>
                      </a:lnTo>
                      <a:lnTo>
                        <a:pt x="35" y="16"/>
                      </a:lnTo>
                      <a:lnTo>
                        <a:pt x="39" y="16"/>
                      </a:lnTo>
                      <a:lnTo>
                        <a:pt x="47" y="18"/>
                      </a:lnTo>
                      <a:lnTo>
                        <a:pt x="52" y="16"/>
                      </a:lnTo>
                      <a:lnTo>
                        <a:pt x="56" y="15"/>
                      </a:lnTo>
                      <a:lnTo>
                        <a:pt x="61" y="15"/>
                      </a:lnTo>
                      <a:lnTo>
                        <a:pt x="67" y="15"/>
                      </a:lnTo>
                      <a:lnTo>
                        <a:pt x="78" y="16"/>
                      </a:lnTo>
                      <a:lnTo>
                        <a:pt x="85" y="15"/>
                      </a:lnTo>
                      <a:lnTo>
                        <a:pt x="89" y="14"/>
                      </a:lnTo>
                      <a:lnTo>
                        <a:pt x="94" y="12"/>
                      </a:lnTo>
                      <a:lnTo>
                        <a:pt x="9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5" name="Freeform 1155"/>
                <p:cNvSpPr>
                  <a:spLocks/>
                </p:cNvSpPr>
                <p:nvPr/>
              </p:nvSpPr>
              <p:spPr bwMode="auto">
                <a:xfrm>
                  <a:off x="5889410" y="1961994"/>
                  <a:ext cx="349250" cy="176105"/>
                </a:xfrm>
                <a:custGeom>
                  <a:avLst/>
                  <a:gdLst>
                    <a:gd name="T0" fmla="*/ 2147483647 w 255"/>
                    <a:gd name="T1" fmla="*/ 2147483647 h 119"/>
                    <a:gd name="T2" fmla="*/ 2147483647 w 255"/>
                    <a:gd name="T3" fmla="*/ 2147483647 h 119"/>
                    <a:gd name="T4" fmla="*/ 2147483647 w 255"/>
                    <a:gd name="T5" fmla="*/ 0 h 119"/>
                    <a:gd name="T6" fmla="*/ 2147483647 w 255"/>
                    <a:gd name="T7" fmla="*/ 0 h 119"/>
                    <a:gd name="T8" fmla="*/ 2147483647 w 255"/>
                    <a:gd name="T9" fmla="*/ 2147483647 h 119"/>
                    <a:gd name="T10" fmla="*/ 2147483647 w 255"/>
                    <a:gd name="T11" fmla="*/ 2147483647 h 119"/>
                    <a:gd name="T12" fmla="*/ 2147483647 w 255"/>
                    <a:gd name="T13" fmla="*/ 2147483647 h 119"/>
                    <a:gd name="T14" fmla="*/ 2147483647 w 255"/>
                    <a:gd name="T15" fmla="*/ 2147483647 h 119"/>
                    <a:gd name="T16" fmla="*/ 2147483647 w 255"/>
                    <a:gd name="T17" fmla="*/ 2147483647 h 119"/>
                    <a:gd name="T18" fmla="*/ 2147483647 w 255"/>
                    <a:gd name="T19" fmla="*/ 2147483647 h 119"/>
                    <a:gd name="T20" fmla="*/ 2147483647 w 255"/>
                    <a:gd name="T21" fmla="*/ 2147483647 h 119"/>
                    <a:gd name="T22" fmla="*/ 2147483647 w 255"/>
                    <a:gd name="T23" fmla="*/ 2147483647 h 119"/>
                    <a:gd name="T24" fmla="*/ 2147483647 w 255"/>
                    <a:gd name="T25" fmla="*/ 2147483647 h 119"/>
                    <a:gd name="T26" fmla="*/ 2147483647 w 255"/>
                    <a:gd name="T27" fmla="*/ 2147483647 h 119"/>
                    <a:gd name="T28" fmla="*/ 2147483647 w 255"/>
                    <a:gd name="T29" fmla="*/ 2147483647 h 119"/>
                    <a:gd name="T30" fmla="*/ 2147483647 w 255"/>
                    <a:gd name="T31" fmla="*/ 2147483647 h 119"/>
                    <a:gd name="T32" fmla="*/ 2147483647 w 255"/>
                    <a:gd name="T33" fmla="*/ 2147483647 h 119"/>
                    <a:gd name="T34" fmla="*/ 2147483647 w 255"/>
                    <a:gd name="T35" fmla="*/ 2147483647 h 119"/>
                    <a:gd name="T36" fmla="*/ 2147483647 w 255"/>
                    <a:gd name="T37" fmla="*/ 2147483647 h 119"/>
                    <a:gd name="T38" fmla="*/ 2147483647 w 255"/>
                    <a:gd name="T39" fmla="*/ 2147483647 h 119"/>
                    <a:gd name="T40" fmla="*/ 2147483647 w 255"/>
                    <a:gd name="T41" fmla="*/ 2147483647 h 119"/>
                    <a:gd name="T42" fmla="*/ 2147483647 w 255"/>
                    <a:gd name="T43" fmla="*/ 2147483647 h 119"/>
                    <a:gd name="T44" fmla="*/ 2147483647 w 255"/>
                    <a:gd name="T45" fmla="*/ 2147483647 h 119"/>
                    <a:gd name="T46" fmla="*/ 2147483647 w 255"/>
                    <a:gd name="T47" fmla="*/ 2147483647 h 119"/>
                    <a:gd name="T48" fmla="*/ 2147483647 w 255"/>
                    <a:gd name="T49" fmla="*/ 2147483647 h 119"/>
                    <a:gd name="T50" fmla="*/ 2147483647 w 255"/>
                    <a:gd name="T51" fmla="*/ 2147483647 h 119"/>
                    <a:gd name="T52" fmla="*/ 0 w 255"/>
                    <a:gd name="T53" fmla="*/ 2147483647 h 119"/>
                    <a:gd name="T54" fmla="*/ 0 w 255"/>
                    <a:gd name="T55" fmla="*/ 2147483647 h 119"/>
                    <a:gd name="T56" fmla="*/ 2147483647 w 255"/>
                    <a:gd name="T57" fmla="*/ 2147483647 h 119"/>
                    <a:gd name="T58" fmla="*/ 2147483647 w 255"/>
                    <a:gd name="T59" fmla="*/ 2147483647 h 119"/>
                    <a:gd name="T60" fmla="*/ 2147483647 w 255"/>
                    <a:gd name="T61" fmla="*/ 2147483647 h 119"/>
                    <a:gd name="T62" fmla="*/ 2147483647 w 255"/>
                    <a:gd name="T63" fmla="*/ 2147483647 h 119"/>
                    <a:gd name="T64" fmla="*/ 2147483647 w 255"/>
                    <a:gd name="T65" fmla="*/ 2147483647 h 119"/>
                    <a:gd name="T66" fmla="*/ 2147483647 w 255"/>
                    <a:gd name="T67" fmla="*/ 2147483647 h 119"/>
                    <a:gd name="T68" fmla="*/ 2147483647 w 255"/>
                    <a:gd name="T69" fmla="*/ 2147483647 h 119"/>
                    <a:gd name="T70" fmla="*/ 2147483647 w 255"/>
                    <a:gd name="T71" fmla="*/ 2147483647 h 119"/>
                    <a:gd name="T72" fmla="*/ 2147483647 w 255"/>
                    <a:gd name="T73" fmla="*/ 2147483647 h 119"/>
                    <a:gd name="T74" fmla="*/ 2147483647 w 255"/>
                    <a:gd name="T75" fmla="*/ 2147483647 h 119"/>
                    <a:gd name="T76" fmla="*/ 2147483647 w 255"/>
                    <a:gd name="T77" fmla="*/ 2147483647 h 119"/>
                    <a:gd name="T78" fmla="*/ 2147483647 w 255"/>
                    <a:gd name="T79" fmla="*/ 2147483647 h 119"/>
                    <a:gd name="T80" fmla="*/ 2147483647 w 255"/>
                    <a:gd name="T81" fmla="*/ 2147483647 h 119"/>
                    <a:gd name="T82" fmla="*/ 2147483647 w 255"/>
                    <a:gd name="T83" fmla="*/ 2147483647 h 119"/>
                    <a:gd name="T84" fmla="*/ 2147483647 w 255"/>
                    <a:gd name="T85" fmla="*/ 2147483647 h 119"/>
                    <a:gd name="T86" fmla="*/ 2147483647 w 255"/>
                    <a:gd name="T87" fmla="*/ 2147483647 h 119"/>
                    <a:gd name="T88" fmla="*/ 2147483647 w 255"/>
                    <a:gd name="T89" fmla="*/ 2147483647 h 119"/>
                    <a:gd name="T90" fmla="*/ 2147483647 w 255"/>
                    <a:gd name="T91" fmla="*/ 2147483647 h 119"/>
                    <a:gd name="T92" fmla="*/ 2147483647 w 255"/>
                    <a:gd name="T93" fmla="*/ 2147483647 h 119"/>
                    <a:gd name="T94" fmla="*/ 2147483647 w 255"/>
                    <a:gd name="T95" fmla="*/ 2147483647 h 119"/>
                    <a:gd name="T96" fmla="*/ 2147483647 w 255"/>
                    <a:gd name="T97" fmla="*/ 2147483647 h 119"/>
                    <a:gd name="T98" fmla="*/ 2147483647 w 255"/>
                    <a:gd name="T99" fmla="*/ 2147483647 h 119"/>
                    <a:gd name="T100" fmla="*/ 2147483647 w 255"/>
                    <a:gd name="T101" fmla="*/ 2147483647 h 119"/>
                    <a:gd name="T102" fmla="*/ 2147483647 w 255"/>
                    <a:gd name="T103" fmla="*/ 2147483647 h 119"/>
                    <a:gd name="T104" fmla="*/ 2147483647 w 255"/>
                    <a:gd name="T105" fmla="*/ 2147483647 h 119"/>
                    <a:gd name="T106" fmla="*/ 2147483647 w 255"/>
                    <a:gd name="T107" fmla="*/ 2147483647 h 119"/>
                    <a:gd name="T108" fmla="*/ 2147483647 w 255"/>
                    <a:gd name="T109" fmla="*/ 2147483647 h 119"/>
                    <a:gd name="T110" fmla="*/ 2147483647 w 255"/>
                    <a:gd name="T111" fmla="*/ 2147483647 h 119"/>
                    <a:gd name="T112" fmla="*/ 2147483647 w 255"/>
                    <a:gd name="T113" fmla="*/ 0 h 1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5"/>
                    <a:gd name="T172" fmla="*/ 0 h 119"/>
                    <a:gd name="T173" fmla="*/ 255 w 255"/>
                    <a:gd name="T174" fmla="*/ 119 h 1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5" h="119">
                      <a:moveTo>
                        <a:pt x="253" y="0"/>
                      </a:moveTo>
                      <a:lnTo>
                        <a:pt x="253" y="0"/>
                      </a:lnTo>
                      <a:lnTo>
                        <a:pt x="250" y="1"/>
                      </a:lnTo>
                      <a:lnTo>
                        <a:pt x="246" y="2"/>
                      </a:lnTo>
                      <a:lnTo>
                        <a:pt x="240" y="2"/>
                      </a:lnTo>
                      <a:lnTo>
                        <a:pt x="235" y="2"/>
                      </a:lnTo>
                      <a:lnTo>
                        <a:pt x="230" y="0"/>
                      </a:lnTo>
                      <a:lnTo>
                        <a:pt x="227" y="0"/>
                      </a:lnTo>
                      <a:lnTo>
                        <a:pt x="225" y="0"/>
                      </a:lnTo>
                      <a:lnTo>
                        <a:pt x="224" y="0"/>
                      </a:lnTo>
                      <a:lnTo>
                        <a:pt x="217" y="7"/>
                      </a:lnTo>
                      <a:lnTo>
                        <a:pt x="213" y="9"/>
                      </a:lnTo>
                      <a:lnTo>
                        <a:pt x="210" y="11"/>
                      </a:lnTo>
                      <a:lnTo>
                        <a:pt x="200" y="15"/>
                      </a:lnTo>
                      <a:lnTo>
                        <a:pt x="189" y="19"/>
                      </a:lnTo>
                      <a:lnTo>
                        <a:pt x="179" y="21"/>
                      </a:lnTo>
                      <a:lnTo>
                        <a:pt x="169" y="25"/>
                      </a:lnTo>
                      <a:lnTo>
                        <a:pt x="164" y="26"/>
                      </a:lnTo>
                      <a:lnTo>
                        <a:pt x="161" y="26"/>
                      </a:lnTo>
                      <a:lnTo>
                        <a:pt x="159" y="25"/>
                      </a:lnTo>
                      <a:lnTo>
                        <a:pt x="159" y="23"/>
                      </a:lnTo>
                      <a:lnTo>
                        <a:pt x="158" y="17"/>
                      </a:lnTo>
                      <a:lnTo>
                        <a:pt x="158" y="16"/>
                      </a:lnTo>
                      <a:lnTo>
                        <a:pt x="158" y="15"/>
                      </a:lnTo>
                      <a:lnTo>
                        <a:pt x="151" y="15"/>
                      </a:lnTo>
                      <a:lnTo>
                        <a:pt x="144" y="15"/>
                      </a:lnTo>
                      <a:lnTo>
                        <a:pt x="137" y="17"/>
                      </a:lnTo>
                      <a:lnTo>
                        <a:pt x="130" y="20"/>
                      </a:lnTo>
                      <a:lnTo>
                        <a:pt x="128" y="22"/>
                      </a:lnTo>
                      <a:lnTo>
                        <a:pt x="127" y="25"/>
                      </a:lnTo>
                      <a:lnTo>
                        <a:pt x="125" y="27"/>
                      </a:lnTo>
                      <a:lnTo>
                        <a:pt x="122" y="29"/>
                      </a:lnTo>
                      <a:lnTo>
                        <a:pt x="113" y="29"/>
                      </a:lnTo>
                      <a:lnTo>
                        <a:pt x="106" y="32"/>
                      </a:lnTo>
                      <a:lnTo>
                        <a:pt x="100" y="34"/>
                      </a:lnTo>
                      <a:lnTo>
                        <a:pt x="97" y="38"/>
                      </a:lnTo>
                      <a:lnTo>
                        <a:pt x="93" y="39"/>
                      </a:lnTo>
                      <a:lnTo>
                        <a:pt x="89" y="40"/>
                      </a:lnTo>
                      <a:lnTo>
                        <a:pt x="83" y="42"/>
                      </a:lnTo>
                      <a:lnTo>
                        <a:pt x="78" y="45"/>
                      </a:lnTo>
                      <a:lnTo>
                        <a:pt x="73" y="46"/>
                      </a:lnTo>
                      <a:lnTo>
                        <a:pt x="66" y="48"/>
                      </a:lnTo>
                      <a:lnTo>
                        <a:pt x="65" y="51"/>
                      </a:lnTo>
                      <a:lnTo>
                        <a:pt x="64" y="53"/>
                      </a:lnTo>
                      <a:lnTo>
                        <a:pt x="60" y="57"/>
                      </a:lnTo>
                      <a:lnTo>
                        <a:pt x="55" y="59"/>
                      </a:lnTo>
                      <a:lnTo>
                        <a:pt x="50" y="60"/>
                      </a:lnTo>
                      <a:lnTo>
                        <a:pt x="43" y="60"/>
                      </a:lnTo>
                      <a:lnTo>
                        <a:pt x="41" y="60"/>
                      </a:lnTo>
                      <a:lnTo>
                        <a:pt x="38" y="62"/>
                      </a:lnTo>
                      <a:lnTo>
                        <a:pt x="33" y="77"/>
                      </a:lnTo>
                      <a:lnTo>
                        <a:pt x="29" y="83"/>
                      </a:lnTo>
                      <a:lnTo>
                        <a:pt x="27" y="86"/>
                      </a:lnTo>
                      <a:lnTo>
                        <a:pt x="23" y="89"/>
                      </a:lnTo>
                      <a:lnTo>
                        <a:pt x="22" y="89"/>
                      </a:lnTo>
                      <a:lnTo>
                        <a:pt x="23" y="91"/>
                      </a:lnTo>
                      <a:lnTo>
                        <a:pt x="22" y="93"/>
                      </a:lnTo>
                      <a:lnTo>
                        <a:pt x="19" y="96"/>
                      </a:lnTo>
                      <a:lnTo>
                        <a:pt x="14" y="98"/>
                      </a:lnTo>
                      <a:lnTo>
                        <a:pt x="6" y="102"/>
                      </a:lnTo>
                      <a:lnTo>
                        <a:pt x="4" y="103"/>
                      </a:lnTo>
                      <a:lnTo>
                        <a:pt x="1" y="103"/>
                      </a:lnTo>
                      <a:lnTo>
                        <a:pt x="0" y="105"/>
                      </a:lnTo>
                      <a:lnTo>
                        <a:pt x="0" y="108"/>
                      </a:lnTo>
                      <a:lnTo>
                        <a:pt x="0" y="112"/>
                      </a:lnTo>
                      <a:lnTo>
                        <a:pt x="1" y="112"/>
                      </a:lnTo>
                      <a:lnTo>
                        <a:pt x="3" y="112"/>
                      </a:lnTo>
                      <a:lnTo>
                        <a:pt x="8" y="111"/>
                      </a:lnTo>
                      <a:lnTo>
                        <a:pt x="14" y="111"/>
                      </a:lnTo>
                      <a:lnTo>
                        <a:pt x="20" y="112"/>
                      </a:lnTo>
                      <a:lnTo>
                        <a:pt x="26" y="115"/>
                      </a:lnTo>
                      <a:lnTo>
                        <a:pt x="38" y="118"/>
                      </a:lnTo>
                      <a:lnTo>
                        <a:pt x="45" y="119"/>
                      </a:lnTo>
                      <a:lnTo>
                        <a:pt x="51" y="119"/>
                      </a:lnTo>
                      <a:lnTo>
                        <a:pt x="53" y="118"/>
                      </a:lnTo>
                      <a:lnTo>
                        <a:pt x="55" y="117"/>
                      </a:lnTo>
                      <a:lnTo>
                        <a:pt x="55" y="116"/>
                      </a:lnTo>
                      <a:lnTo>
                        <a:pt x="56" y="111"/>
                      </a:lnTo>
                      <a:lnTo>
                        <a:pt x="57" y="108"/>
                      </a:lnTo>
                      <a:lnTo>
                        <a:pt x="57" y="103"/>
                      </a:lnTo>
                      <a:lnTo>
                        <a:pt x="57" y="99"/>
                      </a:lnTo>
                      <a:lnTo>
                        <a:pt x="56" y="96"/>
                      </a:lnTo>
                      <a:lnTo>
                        <a:pt x="57" y="92"/>
                      </a:lnTo>
                      <a:lnTo>
                        <a:pt x="62" y="87"/>
                      </a:lnTo>
                      <a:lnTo>
                        <a:pt x="67" y="83"/>
                      </a:lnTo>
                      <a:lnTo>
                        <a:pt x="75" y="79"/>
                      </a:lnTo>
                      <a:lnTo>
                        <a:pt x="79" y="79"/>
                      </a:lnTo>
                      <a:lnTo>
                        <a:pt x="83" y="79"/>
                      </a:lnTo>
                      <a:lnTo>
                        <a:pt x="85" y="78"/>
                      </a:lnTo>
                      <a:lnTo>
                        <a:pt x="88" y="77"/>
                      </a:lnTo>
                      <a:lnTo>
                        <a:pt x="89" y="73"/>
                      </a:lnTo>
                      <a:lnTo>
                        <a:pt x="93" y="72"/>
                      </a:lnTo>
                      <a:lnTo>
                        <a:pt x="95" y="72"/>
                      </a:lnTo>
                      <a:lnTo>
                        <a:pt x="99" y="72"/>
                      </a:lnTo>
                      <a:lnTo>
                        <a:pt x="102" y="73"/>
                      </a:lnTo>
                      <a:lnTo>
                        <a:pt x="104" y="73"/>
                      </a:lnTo>
                      <a:lnTo>
                        <a:pt x="106" y="71"/>
                      </a:lnTo>
                      <a:lnTo>
                        <a:pt x="106" y="68"/>
                      </a:lnTo>
                      <a:lnTo>
                        <a:pt x="106" y="66"/>
                      </a:lnTo>
                      <a:lnTo>
                        <a:pt x="107" y="66"/>
                      </a:lnTo>
                      <a:lnTo>
                        <a:pt x="117" y="64"/>
                      </a:lnTo>
                      <a:lnTo>
                        <a:pt x="126" y="60"/>
                      </a:lnTo>
                      <a:lnTo>
                        <a:pt x="144" y="52"/>
                      </a:lnTo>
                      <a:lnTo>
                        <a:pt x="150" y="49"/>
                      </a:lnTo>
                      <a:lnTo>
                        <a:pt x="153" y="49"/>
                      </a:lnTo>
                      <a:lnTo>
                        <a:pt x="156" y="49"/>
                      </a:lnTo>
                      <a:lnTo>
                        <a:pt x="159" y="49"/>
                      </a:lnTo>
                      <a:lnTo>
                        <a:pt x="163" y="49"/>
                      </a:lnTo>
                      <a:lnTo>
                        <a:pt x="168" y="46"/>
                      </a:lnTo>
                      <a:lnTo>
                        <a:pt x="174" y="42"/>
                      </a:lnTo>
                      <a:lnTo>
                        <a:pt x="177" y="41"/>
                      </a:lnTo>
                      <a:lnTo>
                        <a:pt x="180" y="41"/>
                      </a:lnTo>
                      <a:lnTo>
                        <a:pt x="191" y="41"/>
                      </a:lnTo>
                      <a:lnTo>
                        <a:pt x="198" y="40"/>
                      </a:lnTo>
                      <a:lnTo>
                        <a:pt x="206" y="39"/>
                      </a:lnTo>
                      <a:lnTo>
                        <a:pt x="213" y="35"/>
                      </a:lnTo>
                      <a:lnTo>
                        <a:pt x="221" y="33"/>
                      </a:lnTo>
                      <a:lnTo>
                        <a:pt x="229" y="32"/>
                      </a:lnTo>
                      <a:lnTo>
                        <a:pt x="243" y="32"/>
                      </a:lnTo>
                      <a:lnTo>
                        <a:pt x="244" y="30"/>
                      </a:lnTo>
                      <a:lnTo>
                        <a:pt x="244" y="29"/>
                      </a:lnTo>
                      <a:lnTo>
                        <a:pt x="244" y="27"/>
                      </a:lnTo>
                      <a:lnTo>
                        <a:pt x="244" y="22"/>
                      </a:lnTo>
                      <a:lnTo>
                        <a:pt x="246" y="20"/>
                      </a:lnTo>
                      <a:lnTo>
                        <a:pt x="250" y="16"/>
                      </a:lnTo>
                      <a:lnTo>
                        <a:pt x="253" y="13"/>
                      </a:lnTo>
                      <a:lnTo>
                        <a:pt x="254" y="8"/>
                      </a:lnTo>
                      <a:lnTo>
                        <a:pt x="254" y="4"/>
                      </a:lnTo>
                      <a:lnTo>
                        <a:pt x="255" y="2"/>
                      </a:lnTo>
                      <a:lnTo>
                        <a:pt x="255" y="1"/>
                      </a:lnTo>
                      <a:lnTo>
                        <a:pt x="254" y="1"/>
                      </a:lnTo>
                      <a:lnTo>
                        <a:pt x="253"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6" name="Freeform 1156"/>
                <p:cNvSpPr>
                  <a:spLocks/>
                </p:cNvSpPr>
                <p:nvPr/>
              </p:nvSpPr>
              <p:spPr bwMode="auto">
                <a:xfrm>
                  <a:off x="5130237" y="2749287"/>
                  <a:ext cx="26637" cy="20718"/>
                </a:xfrm>
                <a:custGeom>
                  <a:avLst/>
                  <a:gdLst>
                    <a:gd name="T0" fmla="*/ 2147483647 w 20"/>
                    <a:gd name="T1" fmla="*/ 2147483647 h 14"/>
                    <a:gd name="T2" fmla="*/ 2147483647 w 20"/>
                    <a:gd name="T3" fmla="*/ 2147483647 h 14"/>
                    <a:gd name="T4" fmla="*/ 2147483647 w 20"/>
                    <a:gd name="T5" fmla="*/ 2147483647 h 14"/>
                    <a:gd name="T6" fmla="*/ 2147483647 w 20"/>
                    <a:gd name="T7" fmla="*/ 2147483647 h 14"/>
                    <a:gd name="T8" fmla="*/ 2147483647 w 20"/>
                    <a:gd name="T9" fmla="*/ 2147483647 h 14"/>
                    <a:gd name="T10" fmla="*/ 2147483647 w 20"/>
                    <a:gd name="T11" fmla="*/ 2147483647 h 14"/>
                    <a:gd name="T12" fmla="*/ 2147483647 w 20"/>
                    <a:gd name="T13" fmla="*/ 0 h 14"/>
                    <a:gd name="T14" fmla="*/ 2147483647 w 20"/>
                    <a:gd name="T15" fmla="*/ 2147483647 h 14"/>
                    <a:gd name="T16" fmla="*/ 2147483647 w 20"/>
                    <a:gd name="T17" fmla="*/ 2147483647 h 14"/>
                    <a:gd name="T18" fmla="*/ 0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4"/>
                    <a:gd name="T62" fmla="*/ 20 w 20"/>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4">
                      <a:moveTo>
                        <a:pt x="20" y="6"/>
                      </a:moveTo>
                      <a:lnTo>
                        <a:pt x="19" y="4"/>
                      </a:lnTo>
                      <a:lnTo>
                        <a:pt x="18" y="2"/>
                      </a:lnTo>
                      <a:lnTo>
                        <a:pt x="15" y="2"/>
                      </a:lnTo>
                      <a:lnTo>
                        <a:pt x="13" y="2"/>
                      </a:lnTo>
                      <a:lnTo>
                        <a:pt x="10" y="1"/>
                      </a:lnTo>
                      <a:lnTo>
                        <a:pt x="8" y="0"/>
                      </a:lnTo>
                      <a:lnTo>
                        <a:pt x="6" y="1"/>
                      </a:lnTo>
                      <a:lnTo>
                        <a:pt x="1" y="7"/>
                      </a:lnTo>
                      <a:lnTo>
                        <a:pt x="0" y="9"/>
                      </a:lnTo>
                      <a:lnTo>
                        <a:pt x="1" y="13"/>
                      </a:lnTo>
                      <a:lnTo>
                        <a:pt x="2" y="14"/>
                      </a:lnTo>
                      <a:lnTo>
                        <a:pt x="4" y="14"/>
                      </a:lnTo>
                      <a:lnTo>
                        <a:pt x="6" y="13"/>
                      </a:lnTo>
                      <a:lnTo>
                        <a:pt x="9" y="12"/>
                      </a:lnTo>
                      <a:lnTo>
                        <a:pt x="11" y="11"/>
                      </a:lnTo>
                      <a:lnTo>
                        <a:pt x="18" y="9"/>
                      </a:lnTo>
                      <a:lnTo>
                        <a:pt x="19" y="8"/>
                      </a:lnTo>
                      <a:lnTo>
                        <a:pt x="20" y="7"/>
                      </a:lnTo>
                      <a:lnTo>
                        <a:pt x="2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7" name="Freeform 1157"/>
                <p:cNvSpPr>
                  <a:spLocks/>
                </p:cNvSpPr>
                <p:nvPr/>
              </p:nvSpPr>
              <p:spPr bwMode="auto">
                <a:xfrm>
                  <a:off x="5140599" y="2727086"/>
                  <a:ext cx="20718" cy="13319"/>
                </a:xfrm>
                <a:custGeom>
                  <a:avLst/>
                  <a:gdLst>
                    <a:gd name="T0" fmla="*/ 2147483647 w 15"/>
                    <a:gd name="T1" fmla="*/ 2147483647 h 9"/>
                    <a:gd name="T2" fmla="*/ 2147483647 w 15"/>
                    <a:gd name="T3" fmla="*/ 2147483647 h 9"/>
                    <a:gd name="T4" fmla="*/ 2147483647 w 15"/>
                    <a:gd name="T5" fmla="*/ 2147483647 h 9"/>
                    <a:gd name="T6" fmla="*/ 2147483647 w 15"/>
                    <a:gd name="T7" fmla="*/ 2147483647 h 9"/>
                    <a:gd name="T8" fmla="*/ 2147483647 w 15"/>
                    <a:gd name="T9" fmla="*/ 2147483647 h 9"/>
                    <a:gd name="T10" fmla="*/ 2147483647 w 15"/>
                    <a:gd name="T11" fmla="*/ 0 h 9"/>
                    <a:gd name="T12" fmla="*/ 2147483647 w 15"/>
                    <a:gd name="T13" fmla="*/ 0 h 9"/>
                    <a:gd name="T14" fmla="*/ 2147483647 w 15"/>
                    <a:gd name="T15" fmla="*/ 0 h 9"/>
                    <a:gd name="T16" fmla="*/ 2147483647 w 15"/>
                    <a:gd name="T17" fmla="*/ 2147483647 h 9"/>
                    <a:gd name="T18" fmla="*/ 0 w 15"/>
                    <a:gd name="T19" fmla="*/ 2147483647 h 9"/>
                    <a:gd name="T20" fmla="*/ 2147483647 w 15"/>
                    <a:gd name="T21" fmla="*/ 2147483647 h 9"/>
                    <a:gd name="T22" fmla="*/ 2147483647 w 15"/>
                    <a:gd name="T23" fmla="*/ 2147483647 h 9"/>
                    <a:gd name="T24" fmla="*/ 2147483647 w 15"/>
                    <a:gd name="T25" fmla="*/ 2147483647 h 9"/>
                    <a:gd name="T26" fmla="*/ 2147483647 w 15"/>
                    <a:gd name="T27" fmla="*/ 2147483647 h 9"/>
                    <a:gd name="T28" fmla="*/ 2147483647 w 15"/>
                    <a:gd name="T29" fmla="*/ 2147483647 h 9"/>
                    <a:gd name="T30" fmla="*/ 2147483647 w 15"/>
                    <a:gd name="T31" fmla="*/ 2147483647 h 9"/>
                    <a:gd name="T32" fmla="*/ 2147483647 w 15"/>
                    <a:gd name="T33" fmla="*/ 2147483647 h 9"/>
                    <a:gd name="T34" fmla="*/ 2147483647 w 15"/>
                    <a:gd name="T35" fmla="*/ 2147483647 h 9"/>
                    <a:gd name="T36" fmla="*/ 2147483647 w 15"/>
                    <a:gd name="T37" fmla="*/ 214748364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9"/>
                    <a:gd name="T59" fmla="*/ 15 w 15"/>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9">
                      <a:moveTo>
                        <a:pt x="11" y="9"/>
                      </a:moveTo>
                      <a:lnTo>
                        <a:pt x="14" y="9"/>
                      </a:lnTo>
                      <a:lnTo>
                        <a:pt x="15" y="8"/>
                      </a:lnTo>
                      <a:lnTo>
                        <a:pt x="12" y="4"/>
                      </a:lnTo>
                      <a:lnTo>
                        <a:pt x="10" y="1"/>
                      </a:lnTo>
                      <a:lnTo>
                        <a:pt x="7" y="0"/>
                      </a:lnTo>
                      <a:lnTo>
                        <a:pt x="5" y="0"/>
                      </a:lnTo>
                      <a:lnTo>
                        <a:pt x="3" y="0"/>
                      </a:lnTo>
                      <a:lnTo>
                        <a:pt x="1" y="2"/>
                      </a:lnTo>
                      <a:lnTo>
                        <a:pt x="0" y="5"/>
                      </a:lnTo>
                      <a:lnTo>
                        <a:pt x="1" y="8"/>
                      </a:lnTo>
                      <a:lnTo>
                        <a:pt x="3" y="9"/>
                      </a:lnTo>
                      <a:lnTo>
                        <a:pt x="5" y="9"/>
                      </a:lnTo>
                      <a:lnTo>
                        <a:pt x="6" y="8"/>
                      </a:lnTo>
                      <a:lnTo>
                        <a:pt x="7" y="7"/>
                      </a:lnTo>
                      <a:lnTo>
                        <a:pt x="8" y="7"/>
                      </a:lnTo>
                      <a:lnTo>
                        <a:pt x="10" y="8"/>
                      </a:lnTo>
                      <a:lnTo>
                        <a:pt x="10" y="9"/>
                      </a:lnTo>
                      <a:lnTo>
                        <a:pt x="11"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8" name="Freeform 1158"/>
                <p:cNvSpPr>
                  <a:spLocks/>
                </p:cNvSpPr>
                <p:nvPr/>
              </p:nvSpPr>
              <p:spPr bwMode="auto">
                <a:xfrm>
                  <a:off x="5128756" y="2747807"/>
                  <a:ext cx="28117" cy="20718"/>
                </a:xfrm>
                <a:custGeom>
                  <a:avLst/>
                  <a:gdLst>
                    <a:gd name="T0" fmla="*/ 2147483647 w 20"/>
                    <a:gd name="T1" fmla="*/ 2147483647 h 14"/>
                    <a:gd name="T2" fmla="*/ 2147483647 w 20"/>
                    <a:gd name="T3" fmla="*/ 2147483647 h 14"/>
                    <a:gd name="T4" fmla="*/ 2147483647 w 20"/>
                    <a:gd name="T5" fmla="*/ 2147483647 h 14"/>
                    <a:gd name="T6" fmla="*/ 2147483647 w 20"/>
                    <a:gd name="T7" fmla="*/ 2147483647 h 14"/>
                    <a:gd name="T8" fmla="*/ 2147483647 w 20"/>
                    <a:gd name="T9" fmla="*/ 2147483647 h 14"/>
                    <a:gd name="T10" fmla="*/ 2147483647 w 20"/>
                    <a:gd name="T11" fmla="*/ 2147483647 h 14"/>
                    <a:gd name="T12" fmla="*/ 2147483647 w 20"/>
                    <a:gd name="T13" fmla="*/ 2147483647 h 14"/>
                    <a:gd name="T14" fmla="*/ 2147483647 w 20"/>
                    <a:gd name="T15" fmla="*/ 2147483647 h 14"/>
                    <a:gd name="T16" fmla="*/ 2147483647 w 20"/>
                    <a:gd name="T17" fmla="*/ 2147483647 h 14"/>
                    <a:gd name="T18" fmla="*/ 2147483647 w 20"/>
                    <a:gd name="T19" fmla="*/ 0 h 14"/>
                    <a:gd name="T20" fmla="*/ 2147483647 w 20"/>
                    <a:gd name="T21" fmla="*/ 2147483647 h 14"/>
                    <a:gd name="T22" fmla="*/ 2147483647 w 20"/>
                    <a:gd name="T23" fmla="*/ 2147483647 h 14"/>
                    <a:gd name="T24" fmla="*/ 2147483647 w 20"/>
                    <a:gd name="T25" fmla="*/ 2147483647 h 14"/>
                    <a:gd name="T26" fmla="*/ 0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2147483647 w 20"/>
                    <a:gd name="T47" fmla="*/ 2147483647 h 14"/>
                    <a:gd name="T48" fmla="*/ 2147483647 w 20"/>
                    <a:gd name="T49" fmla="*/ 2147483647 h 14"/>
                    <a:gd name="T50" fmla="*/ 2147483647 w 20"/>
                    <a:gd name="T51" fmla="*/ 2147483647 h 14"/>
                    <a:gd name="T52" fmla="*/ 2147483647 w 20"/>
                    <a:gd name="T53" fmla="*/ 2147483647 h 14"/>
                    <a:gd name="T54" fmla="*/ 2147483647 w 20"/>
                    <a:gd name="T55" fmla="*/ 2147483647 h 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
                    <a:gd name="T85" fmla="*/ 0 h 14"/>
                    <a:gd name="T86" fmla="*/ 20 w 20"/>
                    <a:gd name="T87" fmla="*/ 14 h 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 h="14">
                      <a:moveTo>
                        <a:pt x="20" y="6"/>
                      </a:moveTo>
                      <a:lnTo>
                        <a:pt x="20" y="6"/>
                      </a:lnTo>
                      <a:lnTo>
                        <a:pt x="19" y="3"/>
                      </a:lnTo>
                      <a:lnTo>
                        <a:pt x="17" y="2"/>
                      </a:lnTo>
                      <a:lnTo>
                        <a:pt x="15" y="2"/>
                      </a:lnTo>
                      <a:lnTo>
                        <a:pt x="12" y="2"/>
                      </a:lnTo>
                      <a:lnTo>
                        <a:pt x="10" y="1"/>
                      </a:lnTo>
                      <a:lnTo>
                        <a:pt x="7" y="0"/>
                      </a:lnTo>
                      <a:lnTo>
                        <a:pt x="6" y="1"/>
                      </a:lnTo>
                      <a:lnTo>
                        <a:pt x="1" y="7"/>
                      </a:lnTo>
                      <a:lnTo>
                        <a:pt x="0" y="9"/>
                      </a:lnTo>
                      <a:lnTo>
                        <a:pt x="1" y="13"/>
                      </a:lnTo>
                      <a:lnTo>
                        <a:pt x="2" y="14"/>
                      </a:lnTo>
                      <a:lnTo>
                        <a:pt x="3" y="14"/>
                      </a:lnTo>
                      <a:lnTo>
                        <a:pt x="6" y="13"/>
                      </a:lnTo>
                      <a:lnTo>
                        <a:pt x="9" y="12"/>
                      </a:lnTo>
                      <a:lnTo>
                        <a:pt x="11" y="10"/>
                      </a:lnTo>
                      <a:lnTo>
                        <a:pt x="17" y="9"/>
                      </a:lnTo>
                      <a:lnTo>
                        <a:pt x="19" y="8"/>
                      </a:lnTo>
                      <a:lnTo>
                        <a:pt x="20" y="7"/>
                      </a:lnTo>
                      <a:lnTo>
                        <a:pt x="20"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59" name="Freeform 1159"/>
                <p:cNvSpPr>
                  <a:spLocks/>
                </p:cNvSpPr>
                <p:nvPr/>
              </p:nvSpPr>
              <p:spPr bwMode="auto">
                <a:xfrm>
                  <a:off x="5139119" y="2724129"/>
                  <a:ext cx="20718" cy="14799"/>
                </a:xfrm>
                <a:custGeom>
                  <a:avLst/>
                  <a:gdLst>
                    <a:gd name="T0" fmla="*/ 2147483647 w 16"/>
                    <a:gd name="T1" fmla="*/ 2147483647 h 10"/>
                    <a:gd name="T2" fmla="*/ 2147483647 w 16"/>
                    <a:gd name="T3" fmla="*/ 2147483647 h 10"/>
                    <a:gd name="T4" fmla="*/ 2147483647 w 16"/>
                    <a:gd name="T5" fmla="*/ 2147483647 h 10"/>
                    <a:gd name="T6" fmla="*/ 2147483647 w 16"/>
                    <a:gd name="T7" fmla="*/ 2147483647 h 10"/>
                    <a:gd name="T8" fmla="*/ 2147483647 w 16"/>
                    <a:gd name="T9" fmla="*/ 2147483647 h 10"/>
                    <a:gd name="T10" fmla="*/ 2147483647 w 16"/>
                    <a:gd name="T11" fmla="*/ 2147483647 h 10"/>
                    <a:gd name="T12" fmla="*/ 2147483647 w 16"/>
                    <a:gd name="T13" fmla="*/ 2147483647 h 10"/>
                    <a:gd name="T14" fmla="*/ 2147483647 w 16"/>
                    <a:gd name="T15" fmla="*/ 2147483647 h 10"/>
                    <a:gd name="T16" fmla="*/ 2147483647 w 16"/>
                    <a:gd name="T17" fmla="*/ 0 h 10"/>
                    <a:gd name="T18" fmla="*/ 2147483647 w 16"/>
                    <a:gd name="T19" fmla="*/ 0 h 10"/>
                    <a:gd name="T20" fmla="*/ 2147483647 w 16"/>
                    <a:gd name="T21" fmla="*/ 0 h 10"/>
                    <a:gd name="T22" fmla="*/ 2147483647 w 16"/>
                    <a:gd name="T23" fmla="*/ 2147483647 h 10"/>
                    <a:gd name="T24" fmla="*/ 2147483647 w 16"/>
                    <a:gd name="T25" fmla="*/ 2147483647 h 10"/>
                    <a:gd name="T26" fmla="*/ 0 w 16"/>
                    <a:gd name="T27" fmla="*/ 2147483647 h 10"/>
                    <a:gd name="T28" fmla="*/ 2147483647 w 16"/>
                    <a:gd name="T29" fmla="*/ 2147483647 h 10"/>
                    <a:gd name="T30" fmla="*/ 2147483647 w 16"/>
                    <a:gd name="T31" fmla="*/ 2147483647 h 10"/>
                    <a:gd name="T32" fmla="*/ 2147483647 w 16"/>
                    <a:gd name="T33" fmla="*/ 2147483647 h 10"/>
                    <a:gd name="T34" fmla="*/ 2147483647 w 16"/>
                    <a:gd name="T35" fmla="*/ 2147483647 h 10"/>
                    <a:gd name="T36" fmla="*/ 2147483647 w 16"/>
                    <a:gd name="T37" fmla="*/ 2147483647 h 10"/>
                    <a:gd name="T38" fmla="*/ 2147483647 w 16"/>
                    <a:gd name="T39" fmla="*/ 2147483647 h 10"/>
                    <a:gd name="T40" fmla="*/ 2147483647 w 16"/>
                    <a:gd name="T41" fmla="*/ 2147483647 h 10"/>
                    <a:gd name="T42" fmla="*/ 2147483647 w 16"/>
                    <a:gd name="T43" fmla="*/ 2147483647 h 10"/>
                    <a:gd name="T44" fmla="*/ 2147483647 w 16"/>
                    <a:gd name="T45" fmla="*/ 2147483647 h 10"/>
                    <a:gd name="T46" fmla="*/ 2147483647 w 16"/>
                    <a:gd name="T47" fmla="*/ 2147483647 h 10"/>
                    <a:gd name="T48" fmla="*/ 2147483647 w 16"/>
                    <a:gd name="T49" fmla="*/ 2147483647 h 10"/>
                    <a:gd name="T50" fmla="*/ 2147483647 w 16"/>
                    <a:gd name="T51" fmla="*/ 2147483647 h 10"/>
                    <a:gd name="T52" fmla="*/ 2147483647 w 16"/>
                    <a:gd name="T53" fmla="*/ 2147483647 h 10"/>
                    <a:gd name="T54" fmla="*/ 2147483647 w 16"/>
                    <a:gd name="T55" fmla="*/ 2147483647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
                    <a:gd name="T85" fmla="*/ 0 h 10"/>
                    <a:gd name="T86" fmla="*/ 16 w 16"/>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 h="10">
                      <a:moveTo>
                        <a:pt x="12" y="10"/>
                      </a:moveTo>
                      <a:lnTo>
                        <a:pt x="12" y="10"/>
                      </a:lnTo>
                      <a:lnTo>
                        <a:pt x="14" y="10"/>
                      </a:lnTo>
                      <a:lnTo>
                        <a:pt x="16" y="9"/>
                      </a:lnTo>
                      <a:lnTo>
                        <a:pt x="13" y="5"/>
                      </a:lnTo>
                      <a:lnTo>
                        <a:pt x="10" y="2"/>
                      </a:lnTo>
                      <a:lnTo>
                        <a:pt x="8" y="0"/>
                      </a:lnTo>
                      <a:lnTo>
                        <a:pt x="5" y="0"/>
                      </a:lnTo>
                      <a:lnTo>
                        <a:pt x="4" y="0"/>
                      </a:lnTo>
                      <a:lnTo>
                        <a:pt x="2" y="3"/>
                      </a:lnTo>
                      <a:lnTo>
                        <a:pt x="0" y="6"/>
                      </a:lnTo>
                      <a:lnTo>
                        <a:pt x="2" y="9"/>
                      </a:lnTo>
                      <a:lnTo>
                        <a:pt x="4" y="10"/>
                      </a:lnTo>
                      <a:lnTo>
                        <a:pt x="5" y="10"/>
                      </a:lnTo>
                      <a:lnTo>
                        <a:pt x="7" y="9"/>
                      </a:lnTo>
                      <a:lnTo>
                        <a:pt x="8" y="7"/>
                      </a:lnTo>
                      <a:lnTo>
                        <a:pt x="9" y="7"/>
                      </a:lnTo>
                      <a:lnTo>
                        <a:pt x="10" y="9"/>
                      </a:lnTo>
                      <a:lnTo>
                        <a:pt x="10" y="10"/>
                      </a:lnTo>
                      <a:lnTo>
                        <a:pt x="12"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0" name="Freeform 1160"/>
                <p:cNvSpPr>
                  <a:spLocks/>
                </p:cNvSpPr>
                <p:nvPr/>
              </p:nvSpPr>
              <p:spPr bwMode="auto">
                <a:xfrm>
                  <a:off x="5997444" y="3172530"/>
                  <a:ext cx="85833" cy="124309"/>
                </a:xfrm>
                <a:custGeom>
                  <a:avLst/>
                  <a:gdLst>
                    <a:gd name="T0" fmla="*/ 2147483647 w 63"/>
                    <a:gd name="T1" fmla="*/ 2147483647 h 84"/>
                    <a:gd name="T2" fmla="*/ 2147483647 w 63"/>
                    <a:gd name="T3" fmla="*/ 2147483647 h 84"/>
                    <a:gd name="T4" fmla="*/ 2147483647 w 63"/>
                    <a:gd name="T5" fmla="*/ 2147483647 h 84"/>
                    <a:gd name="T6" fmla="*/ 2147483647 w 63"/>
                    <a:gd name="T7" fmla="*/ 2147483647 h 84"/>
                    <a:gd name="T8" fmla="*/ 2147483647 w 63"/>
                    <a:gd name="T9" fmla="*/ 2147483647 h 84"/>
                    <a:gd name="T10" fmla="*/ 2147483647 w 63"/>
                    <a:gd name="T11" fmla="*/ 2147483647 h 84"/>
                    <a:gd name="T12" fmla="*/ 0 w 63"/>
                    <a:gd name="T13" fmla="*/ 2147483647 h 84"/>
                    <a:gd name="T14" fmla="*/ 0 w 63"/>
                    <a:gd name="T15" fmla="*/ 2147483647 h 84"/>
                    <a:gd name="T16" fmla="*/ 2147483647 w 63"/>
                    <a:gd name="T17" fmla="*/ 2147483647 h 84"/>
                    <a:gd name="T18" fmla="*/ 2147483647 w 63"/>
                    <a:gd name="T19" fmla="*/ 2147483647 h 84"/>
                    <a:gd name="T20" fmla="*/ 2147483647 w 63"/>
                    <a:gd name="T21" fmla="*/ 2147483647 h 84"/>
                    <a:gd name="T22" fmla="*/ 2147483647 w 63"/>
                    <a:gd name="T23" fmla="*/ 2147483647 h 84"/>
                    <a:gd name="T24" fmla="*/ 2147483647 w 63"/>
                    <a:gd name="T25" fmla="*/ 2147483647 h 84"/>
                    <a:gd name="T26" fmla="*/ 2147483647 w 63"/>
                    <a:gd name="T27" fmla="*/ 2147483647 h 84"/>
                    <a:gd name="T28" fmla="*/ 2147483647 w 63"/>
                    <a:gd name="T29" fmla="*/ 2147483647 h 84"/>
                    <a:gd name="T30" fmla="*/ 2147483647 w 63"/>
                    <a:gd name="T31" fmla="*/ 2147483647 h 84"/>
                    <a:gd name="T32" fmla="*/ 2147483647 w 63"/>
                    <a:gd name="T33" fmla="*/ 2147483647 h 84"/>
                    <a:gd name="T34" fmla="*/ 2147483647 w 63"/>
                    <a:gd name="T35" fmla="*/ 2147483647 h 84"/>
                    <a:gd name="T36" fmla="*/ 2147483647 w 63"/>
                    <a:gd name="T37" fmla="*/ 2147483647 h 84"/>
                    <a:gd name="T38" fmla="*/ 2147483647 w 63"/>
                    <a:gd name="T39" fmla="*/ 2147483647 h 84"/>
                    <a:gd name="T40" fmla="*/ 2147483647 w 63"/>
                    <a:gd name="T41" fmla="*/ 2147483647 h 84"/>
                    <a:gd name="T42" fmla="*/ 2147483647 w 63"/>
                    <a:gd name="T43" fmla="*/ 2147483647 h 84"/>
                    <a:gd name="T44" fmla="*/ 2147483647 w 63"/>
                    <a:gd name="T45" fmla="*/ 2147483647 h 84"/>
                    <a:gd name="T46" fmla="*/ 2147483647 w 63"/>
                    <a:gd name="T47" fmla="*/ 2147483647 h 84"/>
                    <a:gd name="T48" fmla="*/ 2147483647 w 63"/>
                    <a:gd name="T49" fmla="*/ 2147483647 h 84"/>
                    <a:gd name="T50" fmla="*/ 2147483647 w 63"/>
                    <a:gd name="T51" fmla="*/ 2147483647 h 84"/>
                    <a:gd name="T52" fmla="*/ 2147483647 w 63"/>
                    <a:gd name="T53" fmla="*/ 2147483647 h 84"/>
                    <a:gd name="T54" fmla="*/ 2147483647 w 63"/>
                    <a:gd name="T55" fmla="*/ 2147483647 h 84"/>
                    <a:gd name="T56" fmla="*/ 2147483647 w 63"/>
                    <a:gd name="T57" fmla="*/ 2147483647 h 84"/>
                    <a:gd name="T58" fmla="*/ 2147483647 w 63"/>
                    <a:gd name="T59" fmla="*/ 2147483647 h 84"/>
                    <a:gd name="T60" fmla="*/ 2147483647 w 63"/>
                    <a:gd name="T61" fmla="*/ 2147483647 h 84"/>
                    <a:gd name="T62" fmla="*/ 2147483647 w 63"/>
                    <a:gd name="T63" fmla="*/ 2147483647 h 84"/>
                    <a:gd name="T64" fmla="*/ 2147483647 w 63"/>
                    <a:gd name="T65" fmla="*/ 2147483647 h 84"/>
                    <a:gd name="T66" fmla="*/ 2147483647 w 63"/>
                    <a:gd name="T67" fmla="*/ 0 h 84"/>
                    <a:gd name="T68" fmla="*/ 2147483647 w 63"/>
                    <a:gd name="T69" fmla="*/ 2147483647 h 84"/>
                    <a:gd name="T70" fmla="*/ 2147483647 w 63"/>
                    <a:gd name="T71" fmla="*/ 2147483647 h 84"/>
                    <a:gd name="T72" fmla="*/ 2147483647 w 63"/>
                    <a:gd name="T73" fmla="*/ 2147483647 h 84"/>
                    <a:gd name="T74" fmla="*/ 2147483647 w 63"/>
                    <a:gd name="T75" fmla="*/ 2147483647 h 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3"/>
                    <a:gd name="T115" fmla="*/ 0 h 84"/>
                    <a:gd name="T116" fmla="*/ 63 w 63"/>
                    <a:gd name="T117" fmla="*/ 84 h 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3" h="84">
                      <a:moveTo>
                        <a:pt x="19" y="15"/>
                      </a:moveTo>
                      <a:lnTo>
                        <a:pt x="20" y="19"/>
                      </a:lnTo>
                      <a:lnTo>
                        <a:pt x="20" y="21"/>
                      </a:lnTo>
                      <a:lnTo>
                        <a:pt x="19" y="23"/>
                      </a:lnTo>
                      <a:lnTo>
                        <a:pt x="16" y="26"/>
                      </a:lnTo>
                      <a:lnTo>
                        <a:pt x="13" y="26"/>
                      </a:lnTo>
                      <a:lnTo>
                        <a:pt x="9" y="27"/>
                      </a:lnTo>
                      <a:lnTo>
                        <a:pt x="6" y="28"/>
                      </a:lnTo>
                      <a:lnTo>
                        <a:pt x="5" y="29"/>
                      </a:lnTo>
                      <a:lnTo>
                        <a:pt x="5" y="33"/>
                      </a:lnTo>
                      <a:lnTo>
                        <a:pt x="5" y="38"/>
                      </a:lnTo>
                      <a:lnTo>
                        <a:pt x="4" y="41"/>
                      </a:lnTo>
                      <a:lnTo>
                        <a:pt x="1" y="44"/>
                      </a:lnTo>
                      <a:lnTo>
                        <a:pt x="0" y="45"/>
                      </a:lnTo>
                      <a:lnTo>
                        <a:pt x="0" y="46"/>
                      </a:lnTo>
                      <a:lnTo>
                        <a:pt x="0" y="63"/>
                      </a:lnTo>
                      <a:lnTo>
                        <a:pt x="1" y="72"/>
                      </a:lnTo>
                      <a:lnTo>
                        <a:pt x="2" y="79"/>
                      </a:lnTo>
                      <a:lnTo>
                        <a:pt x="5" y="81"/>
                      </a:lnTo>
                      <a:lnTo>
                        <a:pt x="9" y="81"/>
                      </a:lnTo>
                      <a:lnTo>
                        <a:pt x="13" y="80"/>
                      </a:lnTo>
                      <a:lnTo>
                        <a:pt x="16" y="78"/>
                      </a:lnTo>
                      <a:lnTo>
                        <a:pt x="19" y="78"/>
                      </a:lnTo>
                      <a:lnTo>
                        <a:pt x="20" y="79"/>
                      </a:lnTo>
                      <a:lnTo>
                        <a:pt x="23" y="81"/>
                      </a:lnTo>
                      <a:lnTo>
                        <a:pt x="28" y="84"/>
                      </a:lnTo>
                      <a:lnTo>
                        <a:pt x="32" y="84"/>
                      </a:lnTo>
                      <a:lnTo>
                        <a:pt x="35" y="81"/>
                      </a:lnTo>
                      <a:lnTo>
                        <a:pt x="41" y="78"/>
                      </a:lnTo>
                      <a:lnTo>
                        <a:pt x="43" y="76"/>
                      </a:lnTo>
                      <a:lnTo>
                        <a:pt x="46" y="72"/>
                      </a:lnTo>
                      <a:lnTo>
                        <a:pt x="46" y="71"/>
                      </a:lnTo>
                      <a:lnTo>
                        <a:pt x="46" y="68"/>
                      </a:lnTo>
                      <a:lnTo>
                        <a:pt x="46" y="67"/>
                      </a:lnTo>
                      <a:lnTo>
                        <a:pt x="46" y="66"/>
                      </a:lnTo>
                      <a:lnTo>
                        <a:pt x="49" y="65"/>
                      </a:lnTo>
                      <a:lnTo>
                        <a:pt x="53" y="65"/>
                      </a:lnTo>
                      <a:lnTo>
                        <a:pt x="56" y="64"/>
                      </a:lnTo>
                      <a:lnTo>
                        <a:pt x="57" y="63"/>
                      </a:lnTo>
                      <a:lnTo>
                        <a:pt x="58" y="59"/>
                      </a:lnTo>
                      <a:lnTo>
                        <a:pt x="58" y="54"/>
                      </a:lnTo>
                      <a:lnTo>
                        <a:pt x="60" y="49"/>
                      </a:lnTo>
                      <a:lnTo>
                        <a:pt x="63" y="42"/>
                      </a:lnTo>
                      <a:lnTo>
                        <a:pt x="61" y="45"/>
                      </a:lnTo>
                      <a:lnTo>
                        <a:pt x="57" y="45"/>
                      </a:lnTo>
                      <a:lnTo>
                        <a:pt x="54" y="45"/>
                      </a:lnTo>
                      <a:lnTo>
                        <a:pt x="51" y="42"/>
                      </a:lnTo>
                      <a:lnTo>
                        <a:pt x="49" y="40"/>
                      </a:lnTo>
                      <a:lnTo>
                        <a:pt x="47" y="38"/>
                      </a:lnTo>
                      <a:lnTo>
                        <a:pt x="47" y="34"/>
                      </a:lnTo>
                      <a:lnTo>
                        <a:pt x="47" y="32"/>
                      </a:lnTo>
                      <a:lnTo>
                        <a:pt x="48" y="28"/>
                      </a:lnTo>
                      <a:lnTo>
                        <a:pt x="52" y="25"/>
                      </a:lnTo>
                      <a:lnTo>
                        <a:pt x="53" y="20"/>
                      </a:lnTo>
                      <a:lnTo>
                        <a:pt x="53" y="19"/>
                      </a:lnTo>
                      <a:lnTo>
                        <a:pt x="51" y="16"/>
                      </a:lnTo>
                      <a:lnTo>
                        <a:pt x="51" y="14"/>
                      </a:lnTo>
                      <a:lnTo>
                        <a:pt x="52" y="12"/>
                      </a:lnTo>
                      <a:lnTo>
                        <a:pt x="54" y="9"/>
                      </a:lnTo>
                      <a:lnTo>
                        <a:pt x="56" y="7"/>
                      </a:lnTo>
                      <a:lnTo>
                        <a:pt x="56" y="4"/>
                      </a:lnTo>
                      <a:lnTo>
                        <a:pt x="56" y="2"/>
                      </a:lnTo>
                      <a:lnTo>
                        <a:pt x="53" y="2"/>
                      </a:lnTo>
                      <a:lnTo>
                        <a:pt x="51" y="4"/>
                      </a:lnTo>
                      <a:lnTo>
                        <a:pt x="48" y="4"/>
                      </a:lnTo>
                      <a:lnTo>
                        <a:pt x="47" y="4"/>
                      </a:lnTo>
                      <a:lnTo>
                        <a:pt x="44" y="1"/>
                      </a:lnTo>
                      <a:lnTo>
                        <a:pt x="44" y="0"/>
                      </a:lnTo>
                      <a:lnTo>
                        <a:pt x="42" y="0"/>
                      </a:lnTo>
                      <a:lnTo>
                        <a:pt x="37" y="1"/>
                      </a:lnTo>
                      <a:lnTo>
                        <a:pt x="33" y="3"/>
                      </a:lnTo>
                      <a:lnTo>
                        <a:pt x="30" y="8"/>
                      </a:lnTo>
                      <a:lnTo>
                        <a:pt x="30" y="13"/>
                      </a:lnTo>
                      <a:lnTo>
                        <a:pt x="27" y="12"/>
                      </a:lnTo>
                      <a:lnTo>
                        <a:pt x="24" y="12"/>
                      </a:lnTo>
                      <a:lnTo>
                        <a:pt x="19"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1" name="Freeform 1161"/>
                <p:cNvSpPr>
                  <a:spLocks/>
                </p:cNvSpPr>
                <p:nvPr/>
              </p:nvSpPr>
              <p:spPr bwMode="auto">
                <a:xfrm>
                  <a:off x="5081404" y="2033029"/>
                  <a:ext cx="1675214" cy="1518349"/>
                </a:xfrm>
                <a:custGeom>
                  <a:avLst/>
                  <a:gdLst>
                    <a:gd name="T0" fmla="*/ 2147483647 w 1227"/>
                    <a:gd name="T1" fmla="*/ 2147483647 h 1026"/>
                    <a:gd name="T2" fmla="*/ 2147483647 w 1227"/>
                    <a:gd name="T3" fmla="*/ 2147483647 h 1026"/>
                    <a:gd name="T4" fmla="*/ 2147483647 w 1227"/>
                    <a:gd name="T5" fmla="*/ 2147483647 h 1026"/>
                    <a:gd name="T6" fmla="*/ 2147483647 w 1227"/>
                    <a:gd name="T7" fmla="*/ 2147483647 h 1026"/>
                    <a:gd name="T8" fmla="*/ 2147483647 w 1227"/>
                    <a:gd name="T9" fmla="*/ 2147483647 h 1026"/>
                    <a:gd name="T10" fmla="*/ 2147483647 w 1227"/>
                    <a:gd name="T11" fmla="*/ 2147483647 h 1026"/>
                    <a:gd name="T12" fmla="*/ 2147483647 w 1227"/>
                    <a:gd name="T13" fmla="*/ 2147483647 h 1026"/>
                    <a:gd name="T14" fmla="*/ 2147483647 w 1227"/>
                    <a:gd name="T15" fmla="*/ 2147483647 h 1026"/>
                    <a:gd name="T16" fmla="*/ 2147483647 w 1227"/>
                    <a:gd name="T17" fmla="*/ 2147483647 h 1026"/>
                    <a:gd name="T18" fmla="*/ 2147483647 w 1227"/>
                    <a:gd name="T19" fmla="*/ 2147483647 h 1026"/>
                    <a:gd name="T20" fmla="*/ 2147483647 w 1227"/>
                    <a:gd name="T21" fmla="*/ 2147483647 h 1026"/>
                    <a:gd name="T22" fmla="*/ 2147483647 w 1227"/>
                    <a:gd name="T23" fmla="*/ 2147483647 h 1026"/>
                    <a:gd name="T24" fmla="*/ 2147483647 w 1227"/>
                    <a:gd name="T25" fmla="*/ 2147483647 h 1026"/>
                    <a:gd name="T26" fmla="*/ 2147483647 w 1227"/>
                    <a:gd name="T27" fmla="*/ 2147483647 h 1026"/>
                    <a:gd name="T28" fmla="*/ 2147483647 w 1227"/>
                    <a:gd name="T29" fmla="*/ 2147483647 h 1026"/>
                    <a:gd name="T30" fmla="*/ 2147483647 w 1227"/>
                    <a:gd name="T31" fmla="*/ 2147483647 h 1026"/>
                    <a:gd name="T32" fmla="*/ 2147483647 w 1227"/>
                    <a:gd name="T33" fmla="*/ 2147483647 h 1026"/>
                    <a:gd name="T34" fmla="*/ 2147483647 w 1227"/>
                    <a:gd name="T35" fmla="*/ 2147483647 h 1026"/>
                    <a:gd name="T36" fmla="*/ 2147483647 w 1227"/>
                    <a:gd name="T37" fmla="*/ 2147483647 h 1026"/>
                    <a:gd name="T38" fmla="*/ 2147483647 w 1227"/>
                    <a:gd name="T39" fmla="*/ 2147483647 h 1026"/>
                    <a:gd name="T40" fmla="*/ 2147483647 w 1227"/>
                    <a:gd name="T41" fmla="*/ 2147483647 h 1026"/>
                    <a:gd name="T42" fmla="*/ 2147483647 w 1227"/>
                    <a:gd name="T43" fmla="*/ 2147483647 h 1026"/>
                    <a:gd name="T44" fmla="*/ 2147483647 w 1227"/>
                    <a:gd name="T45" fmla="*/ 2147483647 h 1026"/>
                    <a:gd name="T46" fmla="*/ 2147483647 w 1227"/>
                    <a:gd name="T47" fmla="*/ 2147483647 h 1026"/>
                    <a:gd name="T48" fmla="*/ 2147483647 w 1227"/>
                    <a:gd name="T49" fmla="*/ 2147483647 h 1026"/>
                    <a:gd name="T50" fmla="*/ 2147483647 w 1227"/>
                    <a:gd name="T51" fmla="*/ 2147483647 h 1026"/>
                    <a:gd name="T52" fmla="*/ 2147483647 w 1227"/>
                    <a:gd name="T53" fmla="*/ 2147483647 h 1026"/>
                    <a:gd name="T54" fmla="*/ 2147483647 w 1227"/>
                    <a:gd name="T55" fmla="*/ 2147483647 h 1026"/>
                    <a:gd name="T56" fmla="*/ 2147483647 w 1227"/>
                    <a:gd name="T57" fmla="*/ 2147483647 h 1026"/>
                    <a:gd name="T58" fmla="*/ 2147483647 w 1227"/>
                    <a:gd name="T59" fmla="*/ 2147483647 h 1026"/>
                    <a:gd name="T60" fmla="*/ 2147483647 w 1227"/>
                    <a:gd name="T61" fmla="*/ 2147483647 h 1026"/>
                    <a:gd name="T62" fmla="*/ 2147483647 w 1227"/>
                    <a:gd name="T63" fmla="*/ 2147483647 h 1026"/>
                    <a:gd name="T64" fmla="*/ 2147483647 w 1227"/>
                    <a:gd name="T65" fmla="*/ 2147483647 h 1026"/>
                    <a:gd name="T66" fmla="*/ 2147483647 w 1227"/>
                    <a:gd name="T67" fmla="*/ 2147483647 h 1026"/>
                    <a:gd name="T68" fmla="*/ 2147483647 w 1227"/>
                    <a:gd name="T69" fmla="*/ 2147483647 h 1026"/>
                    <a:gd name="T70" fmla="*/ 2147483647 w 1227"/>
                    <a:gd name="T71" fmla="*/ 2147483647 h 1026"/>
                    <a:gd name="T72" fmla="*/ 2147483647 w 1227"/>
                    <a:gd name="T73" fmla="*/ 2147483647 h 1026"/>
                    <a:gd name="T74" fmla="*/ 2147483647 w 1227"/>
                    <a:gd name="T75" fmla="*/ 2147483647 h 1026"/>
                    <a:gd name="T76" fmla="*/ 2147483647 w 1227"/>
                    <a:gd name="T77" fmla="*/ 2147483647 h 1026"/>
                    <a:gd name="T78" fmla="*/ 2147483647 w 1227"/>
                    <a:gd name="T79" fmla="*/ 2147483647 h 1026"/>
                    <a:gd name="T80" fmla="*/ 2147483647 w 1227"/>
                    <a:gd name="T81" fmla="*/ 2147483647 h 1026"/>
                    <a:gd name="T82" fmla="*/ 2147483647 w 1227"/>
                    <a:gd name="T83" fmla="*/ 2147483647 h 1026"/>
                    <a:gd name="T84" fmla="*/ 2147483647 w 1227"/>
                    <a:gd name="T85" fmla="*/ 2147483647 h 1026"/>
                    <a:gd name="T86" fmla="*/ 2147483647 w 1227"/>
                    <a:gd name="T87" fmla="*/ 2147483647 h 1026"/>
                    <a:gd name="T88" fmla="*/ 2147483647 w 1227"/>
                    <a:gd name="T89" fmla="*/ 2147483647 h 1026"/>
                    <a:gd name="T90" fmla="*/ 2147483647 w 1227"/>
                    <a:gd name="T91" fmla="*/ 2147483647 h 1026"/>
                    <a:gd name="T92" fmla="*/ 2147483647 w 1227"/>
                    <a:gd name="T93" fmla="*/ 2147483647 h 1026"/>
                    <a:gd name="T94" fmla="*/ 2147483647 w 1227"/>
                    <a:gd name="T95" fmla="*/ 2147483647 h 1026"/>
                    <a:gd name="T96" fmla="*/ 2147483647 w 1227"/>
                    <a:gd name="T97" fmla="*/ 2147483647 h 1026"/>
                    <a:gd name="T98" fmla="*/ 2147483647 w 1227"/>
                    <a:gd name="T99" fmla="*/ 2147483647 h 1026"/>
                    <a:gd name="T100" fmla="*/ 2147483647 w 1227"/>
                    <a:gd name="T101" fmla="*/ 2147483647 h 1026"/>
                    <a:gd name="T102" fmla="*/ 2147483647 w 1227"/>
                    <a:gd name="T103" fmla="*/ 2147483647 h 1026"/>
                    <a:gd name="T104" fmla="*/ 2147483647 w 1227"/>
                    <a:gd name="T105" fmla="*/ 2147483647 h 1026"/>
                    <a:gd name="T106" fmla="*/ 2147483647 w 1227"/>
                    <a:gd name="T107" fmla="*/ 2147483647 h 1026"/>
                    <a:gd name="T108" fmla="*/ 2147483647 w 1227"/>
                    <a:gd name="T109" fmla="*/ 2147483647 h 1026"/>
                    <a:gd name="T110" fmla="*/ 2147483647 w 1227"/>
                    <a:gd name="T111" fmla="*/ 2147483647 h 1026"/>
                    <a:gd name="T112" fmla="*/ 2147483647 w 1227"/>
                    <a:gd name="T113" fmla="*/ 2147483647 h 1026"/>
                    <a:gd name="T114" fmla="*/ 2147483647 w 1227"/>
                    <a:gd name="T115" fmla="*/ 2147483647 h 1026"/>
                    <a:gd name="T116" fmla="*/ 2147483647 w 1227"/>
                    <a:gd name="T117" fmla="*/ 2147483647 h 1026"/>
                    <a:gd name="T118" fmla="*/ 2147483647 w 1227"/>
                    <a:gd name="T119" fmla="*/ 2147483647 h 1026"/>
                    <a:gd name="T120" fmla="*/ 2147483647 w 1227"/>
                    <a:gd name="T121" fmla="*/ 2147483647 h 1026"/>
                    <a:gd name="T122" fmla="*/ 2147483647 w 1227"/>
                    <a:gd name="T123" fmla="*/ 2147483647 h 1026"/>
                    <a:gd name="T124" fmla="*/ 2147483647 w 1227"/>
                    <a:gd name="T125" fmla="*/ 2147483647 h 10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7"/>
                    <a:gd name="T190" fmla="*/ 0 h 1026"/>
                    <a:gd name="T191" fmla="*/ 1227 w 1227"/>
                    <a:gd name="T192" fmla="*/ 1026 h 10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7" h="1026">
                      <a:moveTo>
                        <a:pt x="1216" y="0"/>
                      </a:moveTo>
                      <a:lnTo>
                        <a:pt x="1208" y="1"/>
                      </a:lnTo>
                      <a:lnTo>
                        <a:pt x="1200" y="5"/>
                      </a:lnTo>
                      <a:lnTo>
                        <a:pt x="1194" y="7"/>
                      </a:lnTo>
                      <a:lnTo>
                        <a:pt x="1186" y="10"/>
                      </a:lnTo>
                      <a:lnTo>
                        <a:pt x="1179" y="12"/>
                      </a:lnTo>
                      <a:lnTo>
                        <a:pt x="1172" y="14"/>
                      </a:lnTo>
                      <a:lnTo>
                        <a:pt x="1167" y="14"/>
                      </a:lnTo>
                      <a:lnTo>
                        <a:pt x="1165" y="16"/>
                      </a:lnTo>
                      <a:lnTo>
                        <a:pt x="1162" y="17"/>
                      </a:lnTo>
                      <a:lnTo>
                        <a:pt x="1160" y="16"/>
                      </a:lnTo>
                      <a:lnTo>
                        <a:pt x="1157" y="14"/>
                      </a:lnTo>
                      <a:lnTo>
                        <a:pt x="1155" y="13"/>
                      </a:lnTo>
                      <a:lnTo>
                        <a:pt x="1155" y="14"/>
                      </a:lnTo>
                      <a:lnTo>
                        <a:pt x="1152" y="17"/>
                      </a:lnTo>
                      <a:lnTo>
                        <a:pt x="1151" y="20"/>
                      </a:lnTo>
                      <a:lnTo>
                        <a:pt x="1148" y="24"/>
                      </a:lnTo>
                      <a:lnTo>
                        <a:pt x="1146" y="25"/>
                      </a:lnTo>
                      <a:lnTo>
                        <a:pt x="1143" y="28"/>
                      </a:lnTo>
                      <a:lnTo>
                        <a:pt x="1141" y="29"/>
                      </a:lnTo>
                      <a:lnTo>
                        <a:pt x="1139" y="31"/>
                      </a:lnTo>
                      <a:lnTo>
                        <a:pt x="1137" y="32"/>
                      </a:lnTo>
                      <a:lnTo>
                        <a:pt x="1136" y="33"/>
                      </a:lnTo>
                      <a:lnTo>
                        <a:pt x="1133" y="32"/>
                      </a:lnTo>
                      <a:lnTo>
                        <a:pt x="1131" y="32"/>
                      </a:lnTo>
                      <a:lnTo>
                        <a:pt x="1128" y="32"/>
                      </a:lnTo>
                      <a:lnTo>
                        <a:pt x="1127" y="33"/>
                      </a:lnTo>
                      <a:lnTo>
                        <a:pt x="1128" y="36"/>
                      </a:lnTo>
                      <a:lnTo>
                        <a:pt x="1131" y="41"/>
                      </a:lnTo>
                      <a:lnTo>
                        <a:pt x="1133" y="46"/>
                      </a:lnTo>
                      <a:lnTo>
                        <a:pt x="1133" y="48"/>
                      </a:lnTo>
                      <a:lnTo>
                        <a:pt x="1132" y="50"/>
                      </a:lnTo>
                      <a:lnTo>
                        <a:pt x="1132" y="52"/>
                      </a:lnTo>
                      <a:lnTo>
                        <a:pt x="1133" y="54"/>
                      </a:lnTo>
                      <a:lnTo>
                        <a:pt x="1136" y="55"/>
                      </a:lnTo>
                      <a:lnTo>
                        <a:pt x="1138" y="56"/>
                      </a:lnTo>
                      <a:lnTo>
                        <a:pt x="1139" y="58"/>
                      </a:lnTo>
                      <a:lnTo>
                        <a:pt x="1141" y="63"/>
                      </a:lnTo>
                      <a:lnTo>
                        <a:pt x="1142" y="67"/>
                      </a:lnTo>
                      <a:lnTo>
                        <a:pt x="1145" y="70"/>
                      </a:lnTo>
                      <a:lnTo>
                        <a:pt x="1145" y="71"/>
                      </a:lnTo>
                      <a:lnTo>
                        <a:pt x="1143" y="73"/>
                      </a:lnTo>
                      <a:lnTo>
                        <a:pt x="1139" y="73"/>
                      </a:lnTo>
                      <a:lnTo>
                        <a:pt x="1137" y="71"/>
                      </a:lnTo>
                      <a:lnTo>
                        <a:pt x="1133" y="73"/>
                      </a:lnTo>
                      <a:lnTo>
                        <a:pt x="1129" y="75"/>
                      </a:lnTo>
                      <a:lnTo>
                        <a:pt x="1128" y="75"/>
                      </a:lnTo>
                      <a:lnTo>
                        <a:pt x="1127" y="74"/>
                      </a:lnTo>
                      <a:lnTo>
                        <a:pt x="1125" y="73"/>
                      </a:lnTo>
                      <a:lnTo>
                        <a:pt x="1124" y="70"/>
                      </a:lnTo>
                      <a:lnTo>
                        <a:pt x="1125" y="67"/>
                      </a:lnTo>
                      <a:lnTo>
                        <a:pt x="1128" y="64"/>
                      </a:lnTo>
                      <a:lnTo>
                        <a:pt x="1128" y="62"/>
                      </a:lnTo>
                      <a:lnTo>
                        <a:pt x="1127" y="61"/>
                      </a:lnTo>
                      <a:lnTo>
                        <a:pt x="1122" y="62"/>
                      </a:lnTo>
                      <a:lnTo>
                        <a:pt x="1119" y="62"/>
                      </a:lnTo>
                      <a:lnTo>
                        <a:pt x="1117" y="62"/>
                      </a:lnTo>
                      <a:lnTo>
                        <a:pt x="1112" y="61"/>
                      </a:lnTo>
                      <a:lnTo>
                        <a:pt x="1106" y="61"/>
                      </a:lnTo>
                      <a:lnTo>
                        <a:pt x="1095" y="62"/>
                      </a:lnTo>
                      <a:lnTo>
                        <a:pt x="1085" y="63"/>
                      </a:lnTo>
                      <a:lnTo>
                        <a:pt x="1080" y="63"/>
                      </a:lnTo>
                      <a:lnTo>
                        <a:pt x="1075" y="63"/>
                      </a:lnTo>
                      <a:lnTo>
                        <a:pt x="1070" y="62"/>
                      </a:lnTo>
                      <a:lnTo>
                        <a:pt x="1066" y="62"/>
                      </a:lnTo>
                      <a:lnTo>
                        <a:pt x="1062" y="63"/>
                      </a:lnTo>
                      <a:lnTo>
                        <a:pt x="1061" y="67"/>
                      </a:lnTo>
                      <a:lnTo>
                        <a:pt x="1059" y="73"/>
                      </a:lnTo>
                      <a:lnTo>
                        <a:pt x="1061" y="78"/>
                      </a:lnTo>
                      <a:lnTo>
                        <a:pt x="1062" y="83"/>
                      </a:lnTo>
                      <a:lnTo>
                        <a:pt x="1065" y="88"/>
                      </a:lnTo>
                      <a:lnTo>
                        <a:pt x="1067" y="90"/>
                      </a:lnTo>
                      <a:lnTo>
                        <a:pt x="1070" y="92"/>
                      </a:lnTo>
                      <a:lnTo>
                        <a:pt x="1077" y="93"/>
                      </a:lnTo>
                      <a:lnTo>
                        <a:pt x="1080" y="94"/>
                      </a:lnTo>
                      <a:lnTo>
                        <a:pt x="1084" y="96"/>
                      </a:lnTo>
                      <a:lnTo>
                        <a:pt x="1085" y="99"/>
                      </a:lnTo>
                      <a:lnTo>
                        <a:pt x="1085" y="102"/>
                      </a:lnTo>
                      <a:lnTo>
                        <a:pt x="1086" y="103"/>
                      </a:lnTo>
                      <a:lnTo>
                        <a:pt x="1086" y="105"/>
                      </a:lnTo>
                      <a:lnTo>
                        <a:pt x="1089" y="107"/>
                      </a:lnTo>
                      <a:lnTo>
                        <a:pt x="1098" y="120"/>
                      </a:lnTo>
                      <a:lnTo>
                        <a:pt x="1101" y="127"/>
                      </a:lnTo>
                      <a:lnTo>
                        <a:pt x="1106" y="133"/>
                      </a:lnTo>
                      <a:lnTo>
                        <a:pt x="1108" y="137"/>
                      </a:lnTo>
                      <a:lnTo>
                        <a:pt x="1108" y="139"/>
                      </a:lnTo>
                      <a:lnTo>
                        <a:pt x="1105" y="143"/>
                      </a:lnTo>
                      <a:lnTo>
                        <a:pt x="1103" y="144"/>
                      </a:lnTo>
                      <a:lnTo>
                        <a:pt x="1095" y="143"/>
                      </a:lnTo>
                      <a:lnTo>
                        <a:pt x="1087" y="141"/>
                      </a:lnTo>
                      <a:lnTo>
                        <a:pt x="1085" y="140"/>
                      </a:lnTo>
                      <a:lnTo>
                        <a:pt x="1085" y="139"/>
                      </a:lnTo>
                      <a:lnTo>
                        <a:pt x="1085" y="134"/>
                      </a:lnTo>
                      <a:lnTo>
                        <a:pt x="1090" y="125"/>
                      </a:lnTo>
                      <a:lnTo>
                        <a:pt x="1090" y="121"/>
                      </a:lnTo>
                      <a:lnTo>
                        <a:pt x="1087" y="120"/>
                      </a:lnTo>
                      <a:lnTo>
                        <a:pt x="1085" y="119"/>
                      </a:lnTo>
                      <a:lnTo>
                        <a:pt x="1081" y="119"/>
                      </a:lnTo>
                      <a:lnTo>
                        <a:pt x="1076" y="119"/>
                      </a:lnTo>
                      <a:lnTo>
                        <a:pt x="1072" y="119"/>
                      </a:lnTo>
                      <a:lnTo>
                        <a:pt x="1070" y="119"/>
                      </a:lnTo>
                      <a:lnTo>
                        <a:pt x="1065" y="115"/>
                      </a:lnTo>
                      <a:lnTo>
                        <a:pt x="1053" y="101"/>
                      </a:lnTo>
                      <a:lnTo>
                        <a:pt x="1047" y="95"/>
                      </a:lnTo>
                      <a:lnTo>
                        <a:pt x="1043" y="93"/>
                      </a:lnTo>
                      <a:lnTo>
                        <a:pt x="1039" y="92"/>
                      </a:lnTo>
                      <a:lnTo>
                        <a:pt x="1032" y="90"/>
                      </a:lnTo>
                      <a:lnTo>
                        <a:pt x="1024" y="89"/>
                      </a:lnTo>
                      <a:lnTo>
                        <a:pt x="1018" y="89"/>
                      </a:lnTo>
                      <a:lnTo>
                        <a:pt x="1010" y="92"/>
                      </a:lnTo>
                      <a:lnTo>
                        <a:pt x="1005" y="95"/>
                      </a:lnTo>
                      <a:lnTo>
                        <a:pt x="1004" y="96"/>
                      </a:lnTo>
                      <a:lnTo>
                        <a:pt x="1002" y="99"/>
                      </a:lnTo>
                      <a:lnTo>
                        <a:pt x="1004" y="101"/>
                      </a:lnTo>
                      <a:lnTo>
                        <a:pt x="1005" y="102"/>
                      </a:lnTo>
                      <a:lnTo>
                        <a:pt x="1009" y="103"/>
                      </a:lnTo>
                      <a:lnTo>
                        <a:pt x="1014" y="105"/>
                      </a:lnTo>
                      <a:lnTo>
                        <a:pt x="1018" y="107"/>
                      </a:lnTo>
                      <a:lnTo>
                        <a:pt x="1019" y="109"/>
                      </a:lnTo>
                      <a:lnTo>
                        <a:pt x="1018" y="112"/>
                      </a:lnTo>
                      <a:lnTo>
                        <a:pt x="1016" y="114"/>
                      </a:lnTo>
                      <a:lnTo>
                        <a:pt x="1014" y="115"/>
                      </a:lnTo>
                      <a:lnTo>
                        <a:pt x="1011" y="116"/>
                      </a:lnTo>
                      <a:lnTo>
                        <a:pt x="1007" y="115"/>
                      </a:lnTo>
                      <a:lnTo>
                        <a:pt x="1002" y="113"/>
                      </a:lnTo>
                      <a:lnTo>
                        <a:pt x="992" y="107"/>
                      </a:lnTo>
                      <a:lnTo>
                        <a:pt x="990" y="106"/>
                      </a:lnTo>
                      <a:lnTo>
                        <a:pt x="987" y="107"/>
                      </a:lnTo>
                      <a:lnTo>
                        <a:pt x="985" y="108"/>
                      </a:lnTo>
                      <a:lnTo>
                        <a:pt x="983" y="110"/>
                      </a:lnTo>
                      <a:lnTo>
                        <a:pt x="982" y="116"/>
                      </a:lnTo>
                      <a:lnTo>
                        <a:pt x="983" y="121"/>
                      </a:lnTo>
                      <a:lnTo>
                        <a:pt x="985" y="126"/>
                      </a:lnTo>
                      <a:lnTo>
                        <a:pt x="987" y="128"/>
                      </a:lnTo>
                      <a:lnTo>
                        <a:pt x="992" y="129"/>
                      </a:lnTo>
                      <a:lnTo>
                        <a:pt x="997" y="131"/>
                      </a:lnTo>
                      <a:lnTo>
                        <a:pt x="1007" y="133"/>
                      </a:lnTo>
                      <a:lnTo>
                        <a:pt x="1012" y="134"/>
                      </a:lnTo>
                      <a:lnTo>
                        <a:pt x="1016" y="137"/>
                      </a:lnTo>
                      <a:lnTo>
                        <a:pt x="1025" y="143"/>
                      </a:lnTo>
                      <a:lnTo>
                        <a:pt x="1028" y="146"/>
                      </a:lnTo>
                      <a:lnTo>
                        <a:pt x="1028" y="148"/>
                      </a:lnTo>
                      <a:lnTo>
                        <a:pt x="1026" y="151"/>
                      </a:lnTo>
                      <a:lnTo>
                        <a:pt x="1025" y="151"/>
                      </a:lnTo>
                      <a:lnTo>
                        <a:pt x="1021" y="150"/>
                      </a:lnTo>
                      <a:lnTo>
                        <a:pt x="1019" y="150"/>
                      </a:lnTo>
                      <a:lnTo>
                        <a:pt x="1016" y="151"/>
                      </a:lnTo>
                      <a:lnTo>
                        <a:pt x="1014" y="152"/>
                      </a:lnTo>
                      <a:lnTo>
                        <a:pt x="1012" y="151"/>
                      </a:lnTo>
                      <a:lnTo>
                        <a:pt x="1007" y="146"/>
                      </a:lnTo>
                      <a:lnTo>
                        <a:pt x="1004" y="143"/>
                      </a:lnTo>
                      <a:lnTo>
                        <a:pt x="997" y="143"/>
                      </a:lnTo>
                      <a:lnTo>
                        <a:pt x="992" y="144"/>
                      </a:lnTo>
                      <a:lnTo>
                        <a:pt x="988" y="144"/>
                      </a:lnTo>
                      <a:lnTo>
                        <a:pt x="987" y="141"/>
                      </a:lnTo>
                      <a:lnTo>
                        <a:pt x="978" y="134"/>
                      </a:lnTo>
                      <a:lnTo>
                        <a:pt x="968" y="129"/>
                      </a:lnTo>
                      <a:lnTo>
                        <a:pt x="965" y="127"/>
                      </a:lnTo>
                      <a:lnTo>
                        <a:pt x="963" y="124"/>
                      </a:lnTo>
                      <a:lnTo>
                        <a:pt x="962" y="119"/>
                      </a:lnTo>
                      <a:lnTo>
                        <a:pt x="960" y="114"/>
                      </a:lnTo>
                      <a:lnTo>
                        <a:pt x="962" y="105"/>
                      </a:lnTo>
                      <a:lnTo>
                        <a:pt x="962" y="95"/>
                      </a:lnTo>
                      <a:lnTo>
                        <a:pt x="962" y="93"/>
                      </a:lnTo>
                      <a:lnTo>
                        <a:pt x="960" y="89"/>
                      </a:lnTo>
                      <a:lnTo>
                        <a:pt x="958" y="88"/>
                      </a:lnTo>
                      <a:lnTo>
                        <a:pt x="955" y="86"/>
                      </a:lnTo>
                      <a:lnTo>
                        <a:pt x="954" y="84"/>
                      </a:lnTo>
                      <a:lnTo>
                        <a:pt x="954" y="83"/>
                      </a:lnTo>
                      <a:lnTo>
                        <a:pt x="954" y="80"/>
                      </a:lnTo>
                      <a:lnTo>
                        <a:pt x="953" y="78"/>
                      </a:lnTo>
                      <a:lnTo>
                        <a:pt x="952" y="77"/>
                      </a:lnTo>
                      <a:lnTo>
                        <a:pt x="950" y="78"/>
                      </a:lnTo>
                      <a:lnTo>
                        <a:pt x="950" y="80"/>
                      </a:lnTo>
                      <a:lnTo>
                        <a:pt x="950" y="82"/>
                      </a:lnTo>
                      <a:lnTo>
                        <a:pt x="952" y="92"/>
                      </a:lnTo>
                      <a:lnTo>
                        <a:pt x="949" y="100"/>
                      </a:lnTo>
                      <a:lnTo>
                        <a:pt x="945" y="108"/>
                      </a:lnTo>
                      <a:lnTo>
                        <a:pt x="938" y="115"/>
                      </a:lnTo>
                      <a:lnTo>
                        <a:pt x="934" y="119"/>
                      </a:lnTo>
                      <a:lnTo>
                        <a:pt x="931" y="124"/>
                      </a:lnTo>
                      <a:lnTo>
                        <a:pt x="930" y="128"/>
                      </a:lnTo>
                      <a:lnTo>
                        <a:pt x="930" y="133"/>
                      </a:lnTo>
                      <a:lnTo>
                        <a:pt x="931" y="137"/>
                      </a:lnTo>
                      <a:lnTo>
                        <a:pt x="935" y="140"/>
                      </a:lnTo>
                      <a:lnTo>
                        <a:pt x="943" y="144"/>
                      </a:lnTo>
                      <a:lnTo>
                        <a:pt x="944" y="146"/>
                      </a:lnTo>
                      <a:lnTo>
                        <a:pt x="944" y="147"/>
                      </a:lnTo>
                      <a:lnTo>
                        <a:pt x="943" y="153"/>
                      </a:lnTo>
                      <a:lnTo>
                        <a:pt x="940" y="158"/>
                      </a:lnTo>
                      <a:lnTo>
                        <a:pt x="939" y="163"/>
                      </a:lnTo>
                      <a:lnTo>
                        <a:pt x="938" y="171"/>
                      </a:lnTo>
                      <a:lnTo>
                        <a:pt x="938" y="179"/>
                      </a:lnTo>
                      <a:lnTo>
                        <a:pt x="939" y="186"/>
                      </a:lnTo>
                      <a:lnTo>
                        <a:pt x="943" y="193"/>
                      </a:lnTo>
                      <a:lnTo>
                        <a:pt x="944" y="195"/>
                      </a:lnTo>
                      <a:lnTo>
                        <a:pt x="946" y="195"/>
                      </a:lnTo>
                      <a:lnTo>
                        <a:pt x="950" y="195"/>
                      </a:lnTo>
                      <a:lnTo>
                        <a:pt x="952" y="195"/>
                      </a:lnTo>
                      <a:lnTo>
                        <a:pt x="953" y="196"/>
                      </a:lnTo>
                      <a:lnTo>
                        <a:pt x="955" y="201"/>
                      </a:lnTo>
                      <a:lnTo>
                        <a:pt x="957" y="204"/>
                      </a:lnTo>
                      <a:lnTo>
                        <a:pt x="957" y="207"/>
                      </a:lnTo>
                      <a:lnTo>
                        <a:pt x="954" y="208"/>
                      </a:lnTo>
                      <a:lnTo>
                        <a:pt x="953" y="209"/>
                      </a:lnTo>
                      <a:lnTo>
                        <a:pt x="949" y="208"/>
                      </a:lnTo>
                      <a:lnTo>
                        <a:pt x="948" y="207"/>
                      </a:lnTo>
                      <a:lnTo>
                        <a:pt x="946" y="207"/>
                      </a:lnTo>
                      <a:lnTo>
                        <a:pt x="946" y="208"/>
                      </a:lnTo>
                      <a:lnTo>
                        <a:pt x="948" y="216"/>
                      </a:lnTo>
                      <a:lnTo>
                        <a:pt x="950" y="225"/>
                      </a:lnTo>
                      <a:lnTo>
                        <a:pt x="952" y="234"/>
                      </a:lnTo>
                      <a:lnTo>
                        <a:pt x="952" y="239"/>
                      </a:lnTo>
                      <a:lnTo>
                        <a:pt x="950" y="242"/>
                      </a:lnTo>
                      <a:lnTo>
                        <a:pt x="949" y="241"/>
                      </a:lnTo>
                      <a:lnTo>
                        <a:pt x="948" y="240"/>
                      </a:lnTo>
                      <a:lnTo>
                        <a:pt x="945" y="240"/>
                      </a:lnTo>
                      <a:lnTo>
                        <a:pt x="944" y="241"/>
                      </a:lnTo>
                      <a:lnTo>
                        <a:pt x="943" y="244"/>
                      </a:lnTo>
                      <a:lnTo>
                        <a:pt x="940" y="248"/>
                      </a:lnTo>
                      <a:lnTo>
                        <a:pt x="940" y="253"/>
                      </a:lnTo>
                      <a:lnTo>
                        <a:pt x="940" y="256"/>
                      </a:lnTo>
                      <a:lnTo>
                        <a:pt x="941" y="262"/>
                      </a:lnTo>
                      <a:lnTo>
                        <a:pt x="943" y="265"/>
                      </a:lnTo>
                      <a:lnTo>
                        <a:pt x="941" y="266"/>
                      </a:lnTo>
                      <a:lnTo>
                        <a:pt x="936" y="268"/>
                      </a:lnTo>
                      <a:lnTo>
                        <a:pt x="931" y="268"/>
                      </a:lnTo>
                      <a:lnTo>
                        <a:pt x="921" y="268"/>
                      </a:lnTo>
                      <a:lnTo>
                        <a:pt x="916" y="269"/>
                      </a:lnTo>
                      <a:lnTo>
                        <a:pt x="912" y="269"/>
                      </a:lnTo>
                      <a:lnTo>
                        <a:pt x="910" y="272"/>
                      </a:lnTo>
                      <a:lnTo>
                        <a:pt x="907" y="275"/>
                      </a:lnTo>
                      <a:lnTo>
                        <a:pt x="908" y="279"/>
                      </a:lnTo>
                      <a:lnTo>
                        <a:pt x="911" y="282"/>
                      </a:lnTo>
                      <a:lnTo>
                        <a:pt x="913" y="285"/>
                      </a:lnTo>
                      <a:lnTo>
                        <a:pt x="913" y="286"/>
                      </a:lnTo>
                      <a:lnTo>
                        <a:pt x="912" y="287"/>
                      </a:lnTo>
                      <a:lnTo>
                        <a:pt x="911" y="287"/>
                      </a:lnTo>
                      <a:lnTo>
                        <a:pt x="908" y="287"/>
                      </a:lnTo>
                      <a:lnTo>
                        <a:pt x="905" y="285"/>
                      </a:lnTo>
                      <a:lnTo>
                        <a:pt x="901" y="282"/>
                      </a:lnTo>
                      <a:lnTo>
                        <a:pt x="897" y="280"/>
                      </a:lnTo>
                      <a:lnTo>
                        <a:pt x="892" y="279"/>
                      </a:lnTo>
                      <a:lnTo>
                        <a:pt x="889" y="279"/>
                      </a:lnTo>
                      <a:lnTo>
                        <a:pt x="887" y="280"/>
                      </a:lnTo>
                      <a:lnTo>
                        <a:pt x="879" y="280"/>
                      </a:lnTo>
                      <a:lnTo>
                        <a:pt x="873" y="278"/>
                      </a:lnTo>
                      <a:lnTo>
                        <a:pt x="866" y="274"/>
                      </a:lnTo>
                      <a:lnTo>
                        <a:pt x="863" y="267"/>
                      </a:lnTo>
                      <a:lnTo>
                        <a:pt x="875" y="268"/>
                      </a:lnTo>
                      <a:lnTo>
                        <a:pt x="882" y="268"/>
                      </a:lnTo>
                      <a:lnTo>
                        <a:pt x="888" y="267"/>
                      </a:lnTo>
                      <a:lnTo>
                        <a:pt x="894" y="267"/>
                      </a:lnTo>
                      <a:lnTo>
                        <a:pt x="901" y="265"/>
                      </a:lnTo>
                      <a:lnTo>
                        <a:pt x="906" y="260"/>
                      </a:lnTo>
                      <a:lnTo>
                        <a:pt x="908" y="254"/>
                      </a:lnTo>
                      <a:lnTo>
                        <a:pt x="912" y="250"/>
                      </a:lnTo>
                      <a:lnTo>
                        <a:pt x="916" y="248"/>
                      </a:lnTo>
                      <a:lnTo>
                        <a:pt x="920" y="246"/>
                      </a:lnTo>
                      <a:lnTo>
                        <a:pt x="924" y="243"/>
                      </a:lnTo>
                      <a:lnTo>
                        <a:pt x="925" y="241"/>
                      </a:lnTo>
                      <a:lnTo>
                        <a:pt x="925" y="239"/>
                      </a:lnTo>
                      <a:lnTo>
                        <a:pt x="925" y="234"/>
                      </a:lnTo>
                      <a:lnTo>
                        <a:pt x="924" y="228"/>
                      </a:lnTo>
                      <a:lnTo>
                        <a:pt x="924" y="223"/>
                      </a:lnTo>
                      <a:lnTo>
                        <a:pt x="924" y="220"/>
                      </a:lnTo>
                      <a:lnTo>
                        <a:pt x="922" y="216"/>
                      </a:lnTo>
                      <a:lnTo>
                        <a:pt x="920" y="214"/>
                      </a:lnTo>
                      <a:lnTo>
                        <a:pt x="916" y="211"/>
                      </a:lnTo>
                      <a:lnTo>
                        <a:pt x="913" y="208"/>
                      </a:lnTo>
                      <a:lnTo>
                        <a:pt x="911" y="204"/>
                      </a:lnTo>
                      <a:lnTo>
                        <a:pt x="911" y="202"/>
                      </a:lnTo>
                      <a:lnTo>
                        <a:pt x="912" y="199"/>
                      </a:lnTo>
                      <a:lnTo>
                        <a:pt x="913" y="197"/>
                      </a:lnTo>
                      <a:lnTo>
                        <a:pt x="912" y="195"/>
                      </a:lnTo>
                      <a:lnTo>
                        <a:pt x="910" y="188"/>
                      </a:lnTo>
                      <a:lnTo>
                        <a:pt x="908" y="180"/>
                      </a:lnTo>
                      <a:lnTo>
                        <a:pt x="910" y="173"/>
                      </a:lnTo>
                      <a:lnTo>
                        <a:pt x="913" y="165"/>
                      </a:lnTo>
                      <a:lnTo>
                        <a:pt x="915" y="163"/>
                      </a:lnTo>
                      <a:lnTo>
                        <a:pt x="915" y="159"/>
                      </a:lnTo>
                      <a:lnTo>
                        <a:pt x="913" y="153"/>
                      </a:lnTo>
                      <a:lnTo>
                        <a:pt x="910" y="147"/>
                      </a:lnTo>
                      <a:lnTo>
                        <a:pt x="905" y="141"/>
                      </a:lnTo>
                      <a:lnTo>
                        <a:pt x="903" y="139"/>
                      </a:lnTo>
                      <a:lnTo>
                        <a:pt x="902" y="137"/>
                      </a:lnTo>
                      <a:lnTo>
                        <a:pt x="903" y="132"/>
                      </a:lnTo>
                      <a:lnTo>
                        <a:pt x="906" y="126"/>
                      </a:lnTo>
                      <a:lnTo>
                        <a:pt x="908" y="121"/>
                      </a:lnTo>
                      <a:lnTo>
                        <a:pt x="910" y="113"/>
                      </a:lnTo>
                      <a:lnTo>
                        <a:pt x="912" y="107"/>
                      </a:lnTo>
                      <a:lnTo>
                        <a:pt x="916" y="101"/>
                      </a:lnTo>
                      <a:lnTo>
                        <a:pt x="921" y="95"/>
                      </a:lnTo>
                      <a:lnTo>
                        <a:pt x="922" y="93"/>
                      </a:lnTo>
                      <a:lnTo>
                        <a:pt x="921" y="92"/>
                      </a:lnTo>
                      <a:lnTo>
                        <a:pt x="920" y="90"/>
                      </a:lnTo>
                      <a:lnTo>
                        <a:pt x="918" y="90"/>
                      </a:lnTo>
                      <a:lnTo>
                        <a:pt x="912" y="92"/>
                      </a:lnTo>
                      <a:lnTo>
                        <a:pt x="907" y="92"/>
                      </a:lnTo>
                      <a:lnTo>
                        <a:pt x="902" y="90"/>
                      </a:lnTo>
                      <a:lnTo>
                        <a:pt x="897" y="88"/>
                      </a:lnTo>
                      <a:lnTo>
                        <a:pt x="894" y="88"/>
                      </a:lnTo>
                      <a:lnTo>
                        <a:pt x="892" y="88"/>
                      </a:lnTo>
                      <a:lnTo>
                        <a:pt x="891" y="89"/>
                      </a:lnTo>
                      <a:lnTo>
                        <a:pt x="888" y="88"/>
                      </a:lnTo>
                      <a:lnTo>
                        <a:pt x="878" y="87"/>
                      </a:lnTo>
                      <a:lnTo>
                        <a:pt x="874" y="86"/>
                      </a:lnTo>
                      <a:lnTo>
                        <a:pt x="869" y="84"/>
                      </a:lnTo>
                      <a:lnTo>
                        <a:pt x="866" y="84"/>
                      </a:lnTo>
                      <a:lnTo>
                        <a:pt x="863" y="86"/>
                      </a:lnTo>
                      <a:lnTo>
                        <a:pt x="860" y="88"/>
                      </a:lnTo>
                      <a:lnTo>
                        <a:pt x="858" y="92"/>
                      </a:lnTo>
                      <a:lnTo>
                        <a:pt x="852" y="100"/>
                      </a:lnTo>
                      <a:lnTo>
                        <a:pt x="851" y="107"/>
                      </a:lnTo>
                      <a:lnTo>
                        <a:pt x="851" y="113"/>
                      </a:lnTo>
                      <a:lnTo>
                        <a:pt x="849" y="118"/>
                      </a:lnTo>
                      <a:lnTo>
                        <a:pt x="846" y="122"/>
                      </a:lnTo>
                      <a:lnTo>
                        <a:pt x="842" y="126"/>
                      </a:lnTo>
                      <a:lnTo>
                        <a:pt x="832" y="132"/>
                      </a:lnTo>
                      <a:lnTo>
                        <a:pt x="823" y="137"/>
                      </a:lnTo>
                      <a:lnTo>
                        <a:pt x="821" y="138"/>
                      </a:lnTo>
                      <a:lnTo>
                        <a:pt x="818" y="140"/>
                      </a:lnTo>
                      <a:lnTo>
                        <a:pt x="818" y="143"/>
                      </a:lnTo>
                      <a:lnTo>
                        <a:pt x="819" y="145"/>
                      </a:lnTo>
                      <a:lnTo>
                        <a:pt x="823" y="153"/>
                      </a:lnTo>
                      <a:lnTo>
                        <a:pt x="825" y="160"/>
                      </a:lnTo>
                      <a:lnTo>
                        <a:pt x="823" y="167"/>
                      </a:lnTo>
                      <a:lnTo>
                        <a:pt x="819" y="176"/>
                      </a:lnTo>
                      <a:lnTo>
                        <a:pt x="819" y="180"/>
                      </a:lnTo>
                      <a:lnTo>
                        <a:pt x="819" y="184"/>
                      </a:lnTo>
                      <a:lnTo>
                        <a:pt x="823" y="184"/>
                      </a:lnTo>
                      <a:lnTo>
                        <a:pt x="826" y="182"/>
                      </a:lnTo>
                      <a:lnTo>
                        <a:pt x="830" y="180"/>
                      </a:lnTo>
                      <a:lnTo>
                        <a:pt x="831" y="182"/>
                      </a:lnTo>
                      <a:lnTo>
                        <a:pt x="833" y="182"/>
                      </a:lnTo>
                      <a:lnTo>
                        <a:pt x="835" y="184"/>
                      </a:lnTo>
                      <a:lnTo>
                        <a:pt x="835" y="185"/>
                      </a:lnTo>
                      <a:lnTo>
                        <a:pt x="831" y="190"/>
                      </a:lnTo>
                      <a:lnTo>
                        <a:pt x="831" y="192"/>
                      </a:lnTo>
                      <a:lnTo>
                        <a:pt x="832" y="193"/>
                      </a:lnTo>
                      <a:lnTo>
                        <a:pt x="833" y="196"/>
                      </a:lnTo>
                      <a:lnTo>
                        <a:pt x="835" y="198"/>
                      </a:lnTo>
                      <a:lnTo>
                        <a:pt x="836" y="202"/>
                      </a:lnTo>
                      <a:lnTo>
                        <a:pt x="838" y="205"/>
                      </a:lnTo>
                      <a:lnTo>
                        <a:pt x="840" y="205"/>
                      </a:lnTo>
                      <a:lnTo>
                        <a:pt x="844" y="204"/>
                      </a:lnTo>
                      <a:lnTo>
                        <a:pt x="849" y="203"/>
                      </a:lnTo>
                      <a:lnTo>
                        <a:pt x="851" y="205"/>
                      </a:lnTo>
                      <a:lnTo>
                        <a:pt x="851" y="207"/>
                      </a:lnTo>
                      <a:lnTo>
                        <a:pt x="849" y="217"/>
                      </a:lnTo>
                      <a:lnTo>
                        <a:pt x="846" y="221"/>
                      </a:lnTo>
                      <a:lnTo>
                        <a:pt x="845" y="222"/>
                      </a:lnTo>
                      <a:lnTo>
                        <a:pt x="844" y="222"/>
                      </a:lnTo>
                      <a:lnTo>
                        <a:pt x="837" y="221"/>
                      </a:lnTo>
                      <a:lnTo>
                        <a:pt x="832" y="218"/>
                      </a:lnTo>
                      <a:lnTo>
                        <a:pt x="821" y="212"/>
                      </a:lnTo>
                      <a:lnTo>
                        <a:pt x="816" y="209"/>
                      </a:lnTo>
                      <a:lnTo>
                        <a:pt x="809" y="205"/>
                      </a:lnTo>
                      <a:lnTo>
                        <a:pt x="804" y="203"/>
                      </a:lnTo>
                      <a:lnTo>
                        <a:pt x="800" y="202"/>
                      </a:lnTo>
                      <a:lnTo>
                        <a:pt x="797" y="202"/>
                      </a:lnTo>
                      <a:lnTo>
                        <a:pt x="793" y="203"/>
                      </a:lnTo>
                      <a:lnTo>
                        <a:pt x="792" y="203"/>
                      </a:lnTo>
                      <a:lnTo>
                        <a:pt x="789" y="203"/>
                      </a:lnTo>
                      <a:lnTo>
                        <a:pt x="775" y="190"/>
                      </a:lnTo>
                      <a:lnTo>
                        <a:pt x="767" y="184"/>
                      </a:lnTo>
                      <a:lnTo>
                        <a:pt x="760" y="180"/>
                      </a:lnTo>
                      <a:lnTo>
                        <a:pt x="751" y="178"/>
                      </a:lnTo>
                      <a:lnTo>
                        <a:pt x="742" y="178"/>
                      </a:lnTo>
                      <a:lnTo>
                        <a:pt x="733" y="179"/>
                      </a:lnTo>
                      <a:lnTo>
                        <a:pt x="724" y="182"/>
                      </a:lnTo>
                      <a:lnTo>
                        <a:pt x="722" y="182"/>
                      </a:lnTo>
                      <a:lnTo>
                        <a:pt x="720" y="179"/>
                      </a:lnTo>
                      <a:lnTo>
                        <a:pt x="717" y="173"/>
                      </a:lnTo>
                      <a:lnTo>
                        <a:pt x="714" y="173"/>
                      </a:lnTo>
                      <a:lnTo>
                        <a:pt x="713" y="175"/>
                      </a:lnTo>
                      <a:lnTo>
                        <a:pt x="712" y="178"/>
                      </a:lnTo>
                      <a:lnTo>
                        <a:pt x="709" y="179"/>
                      </a:lnTo>
                      <a:lnTo>
                        <a:pt x="705" y="179"/>
                      </a:lnTo>
                      <a:lnTo>
                        <a:pt x="703" y="180"/>
                      </a:lnTo>
                      <a:lnTo>
                        <a:pt x="701" y="183"/>
                      </a:lnTo>
                      <a:lnTo>
                        <a:pt x="703" y="184"/>
                      </a:lnTo>
                      <a:lnTo>
                        <a:pt x="708" y="189"/>
                      </a:lnTo>
                      <a:lnTo>
                        <a:pt x="713" y="193"/>
                      </a:lnTo>
                      <a:lnTo>
                        <a:pt x="715" y="197"/>
                      </a:lnTo>
                      <a:lnTo>
                        <a:pt x="717" y="199"/>
                      </a:lnTo>
                      <a:lnTo>
                        <a:pt x="717" y="203"/>
                      </a:lnTo>
                      <a:lnTo>
                        <a:pt x="714" y="205"/>
                      </a:lnTo>
                      <a:lnTo>
                        <a:pt x="712" y="208"/>
                      </a:lnTo>
                      <a:lnTo>
                        <a:pt x="708" y="208"/>
                      </a:lnTo>
                      <a:lnTo>
                        <a:pt x="700" y="208"/>
                      </a:lnTo>
                      <a:lnTo>
                        <a:pt x="699" y="209"/>
                      </a:lnTo>
                      <a:lnTo>
                        <a:pt x="698" y="210"/>
                      </a:lnTo>
                      <a:lnTo>
                        <a:pt x="696" y="212"/>
                      </a:lnTo>
                      <a:lnTo>
                        <a:pt x="698" y="217"/>
                      </a:lnTo>
                      <a:lnTo>
                        <a:pt x="696" y="218"/>
                      </a:lnTo>
                      <a:lnTo>
                        <a:pt x="695" y="220"/>
                      </a:lnTo>
                      <a:lnTo>
                        <a:pt x="694" y="221"/>
                      </a:lnTo>
                      <a:lnTo>
                        <a:pt x="691" y="220"/>
                      </a:lnTo>
                      <a:lnTo>
                        <a:pt x="689" y="218"/>
                      </a:lnTo>
                      <a:lnTo>
                        <a:pt x="686" y="217"/>
                      </a:lnTo>
                      <a:lnTo>
                        <a:pt x="685" y="214"/>
                      </a:lnTo>
                      <a:lnTo>
                        <a:pt x="685" y="210"/>
                      </a:lnTo>
                      <a:lnTo>
                        <a:pt x="685" y="207"/>
                      </a:lnTo>
                      <a:lnTo>
                        <a:pt x="684" y="203"/>
                      </a:lnTo>
                      <a:lnTo>
                        <a:pt x="682" y="203"/>
                      </a:lnTo>
                      <a:lnTo>
                        <a:pt x="681" y="204"/>
                      </a:lnTo>
                      <a:lnTo>
                        <a:pt x="680" y="207"/>
                      </a:lnTo>
                      <a:lnTo>
                        <a:pt x="676" y="208"/>
                      </a:lnTo>
                      <a:lnTo>
                        <a:pt x="671" y="208"/>
                      </a:lnTo>
                      <a:lnTo>
                        <a:pt x="667" y="208"/>
                      </a:lnTo>
                      <a:lnTo>
                        <a:pt x="662" y="208"/>
                      </a:lnTo>
                      <a:lnTo>
                        <a:pt x="659" y="209"/>
                      </a:lnTo>
                      <a:lnTo>
                        <a:pt x="657" y="211"/>
                      </a:lnTo>
                      <a:lnTo>
                        <a:pt x="653" y="215"/>
                      </a:lnTo>
                      <a:lnTo>
                        <a:pt x="652" y="215"/>
                      </a:lnTo>
                      <a:lnTo>
                        <a:pt x="649" y="215"/>
                      </a:lnTo>
                      <a:lnTo>
                        <a:pt x="640" y="212"/>
                      </a:lnTo>
                      <a:lnTo>
                        <a:pt x="632" y="210"/>
                      </a:lnTo>
                      <a:lnTo>
                        <a:pt x="626" y="210"/>
                      </a:lnTo>
                      <a:lnTo>
                        <a:pt x="623" y="211"/>
                      </a:lnTo>
                      <a:lnTo>
                        <a:pt x="619" y="212"/>
                      </a:lnTo>
                      <a:lnTo>
                        <a:pt x="615" y="216"/>
                      </a:lnTo>
                      <a:lnTo>
                        <a:pt x="611" y="224"/>
                      </a:lnTo>
                      <a:lnTo>
                        <a:pt x="610" y="227"/>
                      </a:lnTo>
                      <a:lnTo>
                        <a:pt x="607" y="228"/>
                      </a:lnTo>
                      <a:lnTo>
                        <a:pt x="606" y="227"/>
                      </a:lnTo>
                      <a:lnTo>
                        <a:pt x="600" y="224"/>
                      </a:lnTo>
                      <a:lnTo>
                        <a:pt x="596" y="222"/>
                      </a:lnTo>
                      <a:lnTo>
                        <a:pt x="592" y="223"/>
                      </a:lnTo>
                      <a:lnTo>
                        <a:pt x="592" y="212"/>
                      </a:lnTo>
                      <a:lnTo>
                        <a:pt x="593" y="209"/>
                      </a:lnTo>
                      <a:lnTo>
                        <a:pt x="597" y="205"/>
                      </a:lnTo>
                      <a:lnTo>
                        <a:pt x="597" y="204"/>
                      </a:lnTo>
                      <a:lnTo>
                        <a:pt x="597" y="203"/>
                      </a:lnTo>
                      <a:lnTo>
                        <a:pt x="597" y="202"/>
                      </a:lnTo>
                      <a:lnTo>
                        <a:pt x="596" y="201"/>
                      </a:lnTo>
                      <a:lnTo>
                        <a:pt x="592" y="201"/>
                      </a:lnTo>
                      <a:lnTo>
                        <a:pt x="590" y="202"/>
                      </a:lnTo>
                      <a:lnTo>
                        <a:pt x="583" y="204"/>
                      </a:lnTo>
                      <a:lnTo>
                        <a:pt x="578" y="207"/>
                      </a:lnTo>
                      <a:lnTo>
                        <a:pt x="576" y="210"/>
                      </a:lnTo>
                      <a:lnTo>
                        <a:pt x="572" y="221"/>
                      </a:lnTo>
                      <a:lnTo>
                        <a:pt x="571" y="221"/>
                      </a:lnTo>
                      <a:lnTo>
                        <a:pt x="569" y="221"/>
                      </a:lnTo>
                      <a:lnTo>
                        <a:pt x="567" y="220"/>
                      </a:lnTo>
                      <a:lnTo>
                        <a:pt x="562" y="215"/>
                      </a:lnTo>
                      <a:lnTo>
                        <a:pt x="558" y="212"/>
                      </a:lnTo>
                      <a:lnTo>
                        <a:pt x="554" y="212"/>
                      </a:lnTo>
                      <a:lnTo>
                        <a:pt x="546" y="216"/>
                      </a:lnTo>
                      <a:lnTo>
                        <a:pt x="540" y="220"/>
                      </a:lnTo>
                      <a:lnTo>
                        <a:pt x="520" y="231"/>
                      </a:lnTo>
                      <a:lnTo>
                        <a:pt x="510" y="237"/>
                      </a:lnTo>
                      <a:lnTo>
                        <a:pt x="501" y="243"/>
                      </a:lnTo>
                      <a:lnTo>
                        <a:pt x="499" y="246"/>
                      </a:lnTo>
                      <a:lnTo>
                        <a:pt x="498" y="249"/>
                      </a:lnTo>
                      <a:lnTo>
                        <a:pt x="498" y="256"/>
                      </a:lnTo>
                      <a:lnTo>
                        <a:pt x="497" y="260"/>
                      </a:lnTo>
                      <a:lnTo>
                        <a:pt x="496" y="262"/>
                      </a:lnTo>
                      <a:lnTo>
                        <a:pt x="494" y="263"/>
                      </a:lnTo>
                      <a:lnTo>
                        <a:pt x="491" y="262"/>
                      </a:lnTo>
                      <a:lnTo>
                        <a:pt x="485" y="261"/>
                      </a:lnTo>
                      <a:lnTo>
                        <a:pt x="480" y="262"/>
                      </a:lnTo>
                      <a:lnTo>
                        <a:pt x="475" y="263"/>
                      </a:lnTo>
                      <a:lnTo>
                        <a:pt x="472" y="263"/>
                      </a:lnTo>
                      <a:lnTo>
                        <a:pt x="469" y="263"/>
                      </a:lnTo>
                      <a:lnTo>
                        <a:pt x="466" y="262"/>
                      </a:lnTo>
                      <a:lnTo>
                        <a:pt x="464" y="259"/>
                      </a:lnTo>
                      <a:lnTo>
                        <a:pt x="461" y="255"/>
                      </a:lnTo>
                      <a:lnTo>
                        <a:pt x="459" y="252"/>
                      </a:lnTo>
                      <a:lnTo>
                        <a:pt x="451" y="248"/>
                      </a:lnTo>
                      <a:lnTo>
                        <a:pt x="447" y="246"/>
                      </a:lnTo>
                      <a:lnTo>
                        <a:pt x="446" y="242"/>
                      </a:lnTo>
                      <a:lnTo>
                        <a:pt x="447" y="240"/>
                      </a:lnTo>
                      <a:lnTo>
                        <a:pt x="452" y="239"/>
                      </a:lnTo>
                      <a:lnTo>
                        <a:pt x="459" y="237"/>
                      </a:lnTo>
                      <a:lnTo>
                        <a:pt x="463" y="236"/>
                      </a:lnTo>
                      <a:lnTo>
                        <a:pt x="465" y="235"/>
                      </a:lnTo>
                      <a:lnTo>
                        <a:pt x="466" y="233"/>
                      </a:lnTo>
                      <a:lnTo>
                        <a:pt x="466" y="229"/>
                      </a:lnTo>
                      <a:lnTo>
                        <a:pt x="466" y="225"/>
                      </a:lnTo>
                      <a:lnTo>
                        <a:pt x="464" y="223"/>
                      </a:lnTo>
                      <a:lnTo>
                        <a:pt x="461" y="222"/>
                      </a:lnTo>
                      <a:lnTo>
                        <a:pt x="455" y="218"/>
                      </a:lnTo>
                      <a:lnTo>
                        <a:pt x="447" y="216"/>
                      </a:lnTo>
                      <a:lnTo>
                        <a:pt x="444" y="216"/>
                      </a:lnTo>
                      <a:lnTo>
                        <a:pt x="441" y="216"/>
                      </a:lnTo>
                      <a:lnTo>
                        <a:pt x="437" y="218"/>
                      </a:lnTo>
                      <a:lnTo>
                        <a:pt x="435" y="218"/>
                      </a:lnTo>
                      <a:lnTo>
                        <a:pt x="431" y="217"/>
                      </a:lnTo>
                      <a:lnTo>
                        <a:pt x="427" y="214"/>
                      </a:lnTo>
                      <a:lnTo>
                        <a:pt x="426" y="212"/>
                      </a:lnTo>
                      <a:lnTo>
                        <a:pt x="422" y="212"/>
                      </a:lnTo>
                      <a:lnTo>
                        <a:pt x="421" y="215"/>
                      </a:lnTo>
                      <a:lnTo>
                        <a:pt x="419" y="217"/>
                      </a:lnTo>
                      <a:lnTo>
                        <a:pt x="421" y="220"/>
                      </a:lnTo>
                      <a:lnTo>
                        <a:pt x="422" y="221"/>
                      </a:lnTo>
                      <a:lnTo>
                        <a:pt x="426" y="223"/>
                      </a:lnTo>
                      <a:lnTo>
                        <a:pt x="430" y="227"/>
                      </a:lnTo>
                      <a:lnTo>
                        <a:pt x="432" y="230"/>
                      </a:lnTo>
                      <a:lnTo>
                        <a:pt x="432" y="235"/>
                      </a:lnTo>
                      <a:lnTo>
                        <a:pt x="430" y="239"/>
                      </a:lnTo>
                      <a:lnTo>
                        <a:pt x="427" y="242"/>
                      </a:lnTo>
                      <a:lnTo>
                        <a:pt x="419" y="250"/>
                      </a:lnTo>
                      <a:lnTo>
                        <a:pt x="419" y="253"/>
                      </a:lnTo>
                      <a:lnTo>
                        <a:pt x="418" y="255"/>
                      </a:lnTo>
                      <a:lnTo>
                        <a:pt x="419" y="258"/>
                      </a:lnTo>
                      <a:lnTo>
                        <a:pt x="419" y="259"/>
                      </a:lnTo>
                      <a:lnTo>
                        <a:pt x="421" y="258"/>
                      </a:lnTo>
                      <a:lnTo>
                        <a:pt x="427" y="255"/>
                      </a:lnTo>
                      <a:lnTo>
                        <a:pt x="431" y="255"/>
                      </a:lnTo>
                      <a:lnTo>
                        <a:pt x="433" y="256"/>
                      </a:lnTo>
                      <a:lnTo>
                        <a:pt x="435" y="259"/>
                      </a:lnTo>
                      <a:lnTo>
                        <a:pt x="436" y="261"/>
                      </a:lnTo>
                      <a:lnTo>
                        <a:pt x="436" y="265"/>
                      </a:lnTo>
                      <a:lnTo>
                        <a:pt x="436" y="267"/>
                      </a:lnTo>
                      <a:lnTo>
                        <a:pt x="435" y="269"/>
                      </a:lnTo>
                      <a:lnTo>
                        <a:pt x="435" y="272"/>
                      </a:lnTo>
                      <a:lnTo>
                        <a:pt x="433" y="275"/>
                      </a:lnTo>
                      <a:lnTo>
                        <a:pt x="433" y="276"/>
                      </a:lnTo>
                      <a:lnTo>
                        <a:pt x="431" y="278"/>
                      </a:lnTo>
                      <a:lnTo>
                        <a:pt x="428" y="278"/>
                      </a:lnTo>
                      <a:lnTo>
                        <a:pt x="426" y="278"/>
                      </a:lnTo>
                      <a:lnTo>
                        <a:pt x="422" y="279"/>
                      </a:lnTo>
                      <a:lnTo>
                        <a:pt x="422" y="275"/>
                      </a:lnTo>
                      <a:lnTo>
                        <a:pt x="419" y="272"/>
                      </a:lnTo>
                      <a:lnTo>
                        <a:pt x="417" y="271"/>
                      </a:lnTo>
                      <a:lnTo>
                        <a:pt x="413" y="269"/>
                      </a:lnTo>
                      <a:lnTo>
                        <a:pt x="405" y="269"/>
                      </a:lnTo>
                      <a:lnTo>
                        <a:pt x="399" y="271"/>
                      </a:lnTo>
                      <a:lnTo>
                        <a:pt x="397" y="273"/>
                      </a:lnTo>
                      <a:lnTo>
                        <a:pt x="393" y="275"/>
                      </a:lnTo>
                      <a:lnTo>
                        <a:pt x="389" y="279"/>
                      </a:lnTo>
                      <a:lnTo>
                        <a:pt x="384" y="280"/>
                      </a:lnTo>
                      <a:lnTo>
                        <a:pt x="383" y="282"/>
                      </a:lnTo>
                      <a:lnTo>
                        <a:pt x="380" y="286"/>
                      </a:lnTo>
                      <a:lnTo>
                        <a:pt x="379" y="288"/>
                      </a:lnTo>
                      <a:lnTo>
                        <a:pt x="378" y="288"/>
                      </a:lnTo>
                      <a:lnTo>
                        <a:pt x="376" y="288"/>
                      </a:lnTo>
                      <a:lnTo>
                        <a:pt x="370" y="287"/>
                      </a:lnTo>
                      <a:lnTo>
                        <a:pt x="367" y="288"/>
                      </a:lnTo>
                      <a:lnTo>
                        <a:pt x="364" y="290"/>
                      </a:lnTo>
                      <a:lnTo>
                        <a:pt x="358" y="295"/>
                      </a:lnTo>
                      <a:lnTo>
                        <a:pt x="355" y="299"/>
                      </a:lnTo>
                      <a:lnTo>
                        <a:pt x="353" y="304"/>
                      </a:lnTo>
                      <a:lnTo>
                        <a:pt x="353" y="308"/>
                      </a:lnTo>
                      <a:lnTo>
                        <a:pt x="356" y="312"/>
                      </a:lnTo>
                      <a:lnTo>
                        <a:pt x="360" y="314"/>
                      </a:lnTo>
                      <a:lnTo>
                        <a:pt x="365" y="317"/>
                      </a:lnTo>
                      <a:lnTo>
                        <a:pt x="370" y="319"/>
                      </a:lnTo>
                      <a:lnTo>
                        <a:pt x="374" y="323"/>
                      </a:lnTo>
                      <a:lnTo>
                        <a:pt x="375" y="326"/>
                      </a:lnTo>
                      <a:lnTo>
                        <a:pt x="375" y="327"/>
                      </a:lnTo>
                      <a:lnTo>
                        <a:pt x="374" y="329"/>
                      </a:lnTo>
                      <a:lnTo>
                        <a:pt x="365" y="326"/>
                      </a:lnTo>
                      <a:lnTo>
                        <a:pt x="357" y="324"/>
                      </a:lnTo>
                      <a:lnTo>
                        <a:pt x="350" y="322"/>
                      </a:lnTo>
                      <a:lnTo>
                        <a:pt x="345" y="320"/>
                      </a:lnTo>
                      <a:lnTo>
                        <a:pt x="339" y="320"/>
                      </a:lnTo>
                      <a:lnTo>
                        <a:pt x="336" y="320"/>
                      </a:lnTo>
                      <a:lnTo>
                        <a:pt x="331" y="318"/>
                      </a:lnTo>
                      <a:lnTo>
                        <a:pt x="322" y="314"/>
                      </a:lnTo>
                      <a:lnTo>
                        <a:pt x="313" y="311"/>
                      </a:lnTo>
                      <a:lnTo>
                        <a:pt x="309" y="307"/>
                      </a:lnTo>
                      <a:lnTo>
                        <a:pt x="306" y="305"/>
                      </a:lnTo>
                      <a:lnTo>
                        <a:pt x="305" y="304"/>
                      </a:lnTo>
                      <a:lnTo>
                        <a:pt x="304" y="304"/>
                      </a:lnTo>
                      <a:lnTo>
                        <a:pt x="300" y="305"/>
                      </a:lnTo>
                      <a:lnTo>
                        <a:pt x="298" y="307"/>
                      </a:lnTo>
                      <a:lnTo>
                        <a:pt x="295" y="314"/>
                      </a:lnTo>
                      <a:lnTo>
                        <a:pt x="294" y="314"/>
                      </a:lnTo>
                      <a:lnTo>
                        <a:pt x="291" y="316"/>
                      </a:lnTo>
                      <a:lnTo>
                        <a:pt x="291" y="317"/>
                      </a:lnTo>
                      <a:lnTo>
                        <a:pt x="291" y="319"/>
                      </a:lnTo>
                      <a:lnTo>
                        <a:pt x="295" y="322"/>
                      </a:lnTo>
                      <a:lnTo>
                        <a:pt x="304" y="327"/>
                      </a:lnTo>
                      <a:lnTo>
                        <a:pt x="309" y="331"/>
                      </a:lnTo>
                      <a:lnTo>
                        <a:pt x="313" y="335"/>
                      </a:lnTo>
                      <a:lnTo>
                        <a:pt x="317" y="338"/>
                      </a:lnTo>
                      <a:lnTo>
                        <a:pt x="317" y="342"/>
                      </a:lnTo>
                      <a:lnTo>
                        <a:pt x="317" y="344"/>
                      </a:lnTo>
                      <a:lnTo>
                        <a:pt x="315" y="346"/>
                      </a:lnTo>
                      <a:lnTo>
                        <a:pt x="313" y="346"/>
                      </a:lnTo>
                      <a:lnTo>
                        <a:pt x="310" y="346"/>
                      </a:lnTo>
                      <a:lnTo>
                        <a:pt x="309" y="345"/>
                      </a:lnTo>
                      <a:lnTo>
                        <a:pt x="301" y="342"/>
                      </a:lnTo>
                      <a:lnTo>
                        <a:pt x="292" y="338"/>
                      </a:lnTo>
                      <a:lnTo>
                        <a:pt x="290" y="337"/>
                      </a:lnTo>
                      <a:lnTo>
                        <a:pt x="289" y="335"/>
                      </a:lnTo>
                      <a:lnTo>
                        <a:pt x="284" y="333"/>
                      </a:lnTo>
                      <a:lnTo>
                        <a:pt x="278" y="333"/>
                      </a:lnTo>
                      <a:lnTo>
                        <a:pt x="273" y="333"/>
                      </a:lnTo>
                      <a:lnTo>
                        <a:pt x="268" y="332"/>
                      </a:lnTo>
                      <a:lnTo>
                        <a:pt x="267" y="331"/>
                      </a:lnTo>
                      <a:lnTo>
                        <a:pt x="266" y="330"/>
                      </a:lnTo>
                      <a:lnTo>
                        <a:pt x="266" y="327"/>
                      </a:lnTo>
                      <a:lnTo>
                        <a:pt x="266" y="326"/>
                      </a:lnTo>
                      <a:lnTo>
                        <a:pt x="265" y="322"/>
                      </a:lnTo>
                      <a:lnTo>
                        <a:pt x="263" y="316"/>
                      </a:lnTo>
                      <a:lnTo>
                        <a:pt x="262" y="310"/>
                      </a:lnTo>
                      <a:lnTo>
                        <a:pt x="263" y="305"/>
                      </a:lnTo>
                      <a:lnTo>
                        <a:pt x="266" y="299"/>
                      </a:lnTo>
                      <a:lnTo>
                        <a:pt x="266" y="294"/>
                      </a:lnTo>
                      <a:lnTo>
                        <a:pt x="266" y="290"/>
                      </a:lnTo>
                      <a:lnTo>
                        <a:pt x="263" y="287"/>
                      </a:lnTo>
                      <a:lnTo>
                        <a:pt x="259" y="285"/>
                      </a:lnTo>
                      <a:lnTo>
                        <a:pt x="251" y="281"/>
                      </a:lnTo>
                      <a:lnTo>
                        <a:pt x="240" y="280"/>
                      </a:lnTo>
                      <a:lnTo>
                        <a:pt x="237" y="279"/>
                      </a:lnTo>
                      <a:lnTo>
                        <a:pt x="234" y="276"/>
                      </a:lnTo>
                      <a:lnTo>
                        <a:pt x="232" y="274"/>
                      </a:lnTo>
                      <a:lnTo>
                        <a:pt x="230" y="272"/>
                      </a:lnTo>
                      <a:lnTo>
                        <a:pt x="228" y="265"/>
                      </a:lnTo>
                      <a:lnTo>
                        <a:pt x="228" y="261"/>
                      </a:lnTo>
                      <a:lnTo>
                        <a:pt x="229" y="258"/>
                      </a:lnTo>
                      <a:lnTo>
                        <a:pt x="230" y="256"/>
                      </a:lnTo>
                      <a:lnTo>
                        <a:pt x="233" y="256"/>
                      </a:lnTo>
                      <a:lnTo>
                        <a:pt x="237" y="260"/>
                      </a:lnTo>
                      <a:lnTo>
                        <a:pt x="239" y="261"/>
                      </a:lnTo>
                      <a:lnTo>
                        <a:pt x="242" y="262"/>
                      </a:lnTo>
                      <a:lnTo>
                        <a:pt x="247" y="262"/>
                      </a:lnTo>
                      <a:lnTo>
                        <a:pt x="251" y="262"/>
                      </a:lnTo>
                      <a:lnTo>
                        <a:pt x="262" y="267"/>
                      </a:lnTo>
                      <a:lnTo>
                        <a:pt x="273" y="272"/>
                      </a:lnTo>
                      <a:lnTo>
                        <a:pt x="278" y="274"/>
                      </a:lnTo>
                      <a:lnTo>
                        <a:pt x="285" y="275"/>
                      </a:lnTo>
                      <a:lnTo>
                        <a:pt x="291" y="275"/>
                      </a:lnTo>
                      <a:lnTo>
                        <a:pt x="298" y="274"/>
                      </a:lnTo>
                      <a:lnTo>
                        <a:pt x="299" y="274"/>
                      </a:lnTo>
                      <a:lnTo>
                        <a:pt x="300" y="274"/>
                      </a:lnTo>
                      <a:lnTo>
                        <a:pt x="303" y="276"/>
                      </a:lnTo>
                      <a:lnTo>
                        <a:pt x="305" y="280"/>
                      </a:lnTo>
                      <a:lnTo>
                        <a:pt x="306" y="282"/>
                      </a:lnTo>
                      <a:lnTo>
                        <a:pt x="312" y="285"/>
                      </a:lnTo>
                      <a:lnTo>
                        <a:pt x="317" y="286"/>
                      </a:lnTo>
                      <a:lnTo>
                        <a:pt x="342" y="286"/>
                      </a:lnTo>
                      <a:lnTo>
                        <a:pt x="346" y="285"/>
                      </a:lnTo>
                      <a:lnTo>
                        <a:pt x="351" y="282"/>
                      </a:lnTo>
                      <a:lnTo>
                        <a:pt x="361" y="276"/>
                      </a:lnTo>
                      <a:lnTo>
                        <a:pt x="361" y="275"/>
                      </a:lnTo>
                      <a:lnTo>
                        <a:pt x="362" y="273"/>
                      </a:lnTo>
                      <a:lnTo>
                        <a:pt x="374" y="263"/>
                      </a:lnTo>
                      <a:lnTo>
                        <a:pt x="378" y="260"/>
                      </a:lnTo>
                      <a:lnTo>
                        <a:pt x="379" y="255"/>
                      </a:lnTo>
                      <a:lnTo>
                        <a:pt x="379" y="254"/>
                      </a:lnTo>
                      <a:lnTo>
                        <a:pt x="378" y="253"/>
                      </a:lnTo>
                      <a:lnTo>
                        <a:pt x="375" y="252"/>
                      </a:lnTo>
                      <a:lnTo>
                        <a:pt x="372" y="250"/>
                      </a:lnTo>
                      <a:lnTo>
                        <a:pt x="371" y="249"/>
                      </a:lnTo>
                      <a:lnTo>
                        <a:pt x="372" y="244"/>
                      </a:lnTo>
                      <a:lnTo>
                        <a:pt x="372" y="241"/>
                      </a:lnTo>
                      <a:lnTo>
                        <a:pt x="371" y="236"/>
                      </a:lnTo>
                      <a:lnTo>
                        <a:pt x="362" y="234"/>
                      </a:lnTo>
                      <a:lnTo>
                        <a:pt x="353" y="229"/>
                      </a:lnTo>
                      <a:lnTo>
                        <a:pt x="352" y="229"/>
                      </a:lnTo>
                      <a:lnTo>
                        <a:pt x="351" y="230"/>
                      </a:lnTo>
                      <a:lnTo>
                        <a:pt x="348" y="230"/>
                      </a:lnTo>
                      <a:lnTo>
                        <a:pt x="347" y="230"/>
                      </a:lnTo>
                      <a:lnTo>
                        <a:pt x="345" y="228"/>
                      </a:lnTo>
                      <a:lnTo>
                        <a:pt x="343" y="225"/>
                      </a:lnTo>
                      <a:lnTo>
                        <a:pt x="341" y="222"/>
                      </a:lnTo>
                      <a:lnTo>
                        <a:pt x="339" y="221"/>
                      </a:lnTo>
                      <a:lnTo>
                        <a:pt x="337" y="221"/>
                      </a:lnTo>
                      <a:lnTo>
                        <a:pt x="333" y="221"/>
                      </a:lnTo>
                      <a:lnTo>
                        <a:pt x="329" y="220"/>
                      </a:lnTo>
                      <a:lnTo>
                        <a:pt x="325" y="217"/>
                      </a:lnTo>
                      <a:lnTo>
                        <a:pt x="322" y="214"/>
                      </a:lnTo>
                      <a:lnTo>
                        <a:pt x="318" y="211"/>
                      </a:lnTo>
                      <a:lnTo>
                        <a:pt x="305" y="207"/>
                      </a:lnTo>
                      <a:lnTo>
                        <a:pt x="299" y="205"/>
                      </a:lnTo>
                      <a:lnTo>
                        <a:pt x="292" y="203"/>
                      </a:lnTo>
                      <a:lnTo>
                        <a:pt x="287" y="204"/>
                      </a:lnTo>
                      <a:lnTo>
                        <a:pt x="285" y="204"/>
                      </a:lnTo>
                      <a:lnTo>
                        <a:pt x="281" y="204"/>
                      </a:lnTo>
                      <a:lnTo>
                        <a:pt x="280" y="203"/>
                      </a:lnTo>
                      <a:lnTo>
                        <a:pt x="278" y="202"/>
                      </a:lnTo>
                      <a:lnTo>
                        <a:pt x="276" y="197"/>
                      </a:lnTo>
                      <a:lnTo>
                        <a:pt x="275" y="197"/>
                      </a:lnTo>
                      <a:lnTo>
                        <a:pt x="273" y="197"/>
                      </a:lnTo>
                      <a:lnTo>
                        <a:pt x="270" y="198"/>
                      </a:lnTo>
                      <a:lnTo>
                        <a:pt x="267" y="198"/>
                      </a:lnTo>
                      <a:lnTo>
                        <a:pt x="266" y="197"/>
                      </a:lnTo>
                      <a:lnTo>
                        <a:pt x="265" y="195"/>
                      </a:lnTo>
                      <a:lnTo>
                        <a:pt x="262" y="192"/>
                      </a:lnTo>
                      <a:lnTo>
                        <a:pt x="257" y="191"/>
                      </a:lnTo>
                      <a:lnTo>
                        <a:pt x="251" y="191"/>
                      </a:lnTo>
                      <a:lnTo>
                        <a:pt x="245" y="193"/>
                      </a:lnTo>
                      <a:lnTo>
                        <a:pt x="243" y="196"/>
                      </a:lnTo>
                      <a:lnTo>
                        <a:pt x="242" y="199"/>
                      </a:lnTo>
                      <a:lnTo>
                        <a:pt x="240" y="202"/>
                      </a:lnTo>
                      <a:lnTo>
                        <a:pt x="239" y="203"/>
                      </a:lnTo>
                      <a:lnTo>
                        <a:pt x="237" y="203"/>
                      </a:lnTo>
                      <a:lnTo>
                        <a:pt x="237" y="201"/>
                      </a:lnTo>
                      <a:lnTo>
                        <a:pt x="235" y="197"/>
                      </a:lnTo>
                      <a:lnTo>
                        <a:pt x="234" y="192"/>
                      </a:lnTo>
                      <a:lnTo>
                        <a:pt x="233" y="188"/>
                      </a:lnTo>
                      <a:lnTo>
                        <a:pt x="230" y="186"/>
                      </a:lnTo>
                      <a:lnTo>
                        <a:pt x="229" y="188"/>
                      </a:lnTo>
                      <a:lnTo>
                        <a:pt x="226" y="189"/>
                      </a:lnTo>
                      <a:lnTo>
                        <a:pt x="225" y="189"/>
                      </a:lnTo>
                      <a:lnTo>
                        <a:pt x="221" y="186"/>
                      </a:lnTo>
                      <a:lnTo>
                        <a:pt x="221" y="185"/>
                      </a:lnTo>
                      <a:lnTo>
                        <a:pt x="221" y="184"/>
                      </a:lnTo>
                      <a:lnTo>
                        <a:pt x="223" y="183"/>
                      </a:lnTo>
                      <a:lnTo>
                        <a:pt x="225" y="182"/>
                      </a:lnTo>
                      <a:lnTo>
                        <a:pt x="228" y="182"/>
                      </a:lnTo>
                      <a:lnTo>
                        <a:pt x="229" y="179"/>
                      </a:lnTo>
                      <a:lnTo>
                        <a:pt x="228" y="178"/>
                      </a:lnTo>
                      <a:lnTo>
                        <a:pt x="221" y="175"/>
                      </a:lnTo>
                      <a:lnTo>
                        <a:pt x="216" y="172"/>
                      </a:lnTo>
                      <a:lnTo>
                        <a:pt x="214" y="171"/>
                      </a:lnTo>
                      <a:lnTo>
                        <a:pt x="212" y="171"/>
                      </a:lnTo>
                      <a:lnTo>
                        <a:pt x="211" y="175"/>
                      </a:lnTo>
                      <a:lnTo>
                        <a:pt x="211" y="178"/>
                      </a:lnTo>
                      <a:lnTo>
                        <a:pt x="211" y="179"/>
                      </a:lnTo>
                      <a:lnTo>
                        <a:pt x="210" y="180"/>
                      </a:lnTo>
                      <a:lnTo>
                        <a:pt x="206" y="182"/>
                      </a:lnTo>
                      <a:lnTo>
                        <a:pt x="202" y="183"/>
                      </a:lnTo>
                      <a:lnTo>
                        <a:pt x="193" y="183"/>
                      </a:lnTo>
                      <a:lnTo>
                        <a:pt x="191" y="186"/>
                      </a:lnTo>
                      <a:lnTo>
                        <a:pt x="188" y="189"/>
                      </a:lnTo>
                      <a:lnTo>
                        <a:pt x="185" y="189"/>
                      </a:lnTo>
                      <a:lnTo>
                        <a:pt x="181" y="191"/>
                      </a:lnTo>
                      <a:lnTo>
                        <a:pt x="177" y="192"/>
                      </a:lnTo>
                      <a:lnTo>
                        <a:pt x="168" y="191"/>
                      </a:lnTo>
                      <a:lnTo>
                        <a:pt x="169" y="195"/>
                      </a:lnTo>
                      <a:lnTo>
                        <a:pt x="171" y="202"/>
                      </a:lnTo>
                      <a:lnTo>
                        <a:pt x="172" y="210"/>
                      </a:lnTo>
                      <a:lnTo>
                        <a:pt x="176" y="220"/>
                      </a:lnTo>
                      <a:lnTo>
                        <a:pt x="176" y="223"/>
                      </a:lnTo>
                      <a:lnTo>
                        <a:pt x="176" y="227"/>
                      </a:lnTo>
                      <a:lnTo>
                        <a:pt x="172" y="233"/>
                      </a:lnTo>
                      <a:lnTo>
                        <a:pt x="168" y="242"/>
                      </a:lnTo>
                      <a:lnTo>
                        <a:pt x="167" y="250"/>
                      </a:lnTo>
                      <a:lnTo>
                        <a:pt x="167" y="258"/>
                      </a:lnTo>
                      <a:lnTo>
                        <a:pt x="168" y="263"/>
                      </a:lnTo>
                      <a:lnTo>
                        <a:pt x="173" y="273"/>
                      </a:lnTo>
                      <a:lnTo>
                        <a:pt x="177" y="284"/>
                      </a:lnTo>
                      <a:lnTo>
                        <a:pt x="178" y="288"/>
                      </a:lnTo>
                      <a:lnTo>
                        <a:pt x="177" y="293"/>
                      </a:lnTo>
                      <a:lnTo>
                        <a:pt x="174" y="299"/>
                      </a:lnTo>
                      <a:lnTo>
                        <a:pt x="174" y="304"/>
                      </a:lnTo>
                      <a:lnTo>
                        <a:pt x="176" y="310"/>
                      </a:lnTo>
                      <a:lnTo>
                        <a:pt x="177" y="312"/>
                      </a:lnTo>
                      <a:lnTo>
                        <a:pt x="178" y="313"/>
                      </a:lnTo>
                      <a:lnTo>
                        <a:pt x="178" y="316"/>
                      </a:lnTo>
                      <a:lnTo>
                        <a:pt x="179" y="316"/>
                      </a:lnTo>
                      <a:lnTo>
                        <a:pt x="181" y="317"/>
                      </a:lnTo>
                      <a:lnTo>
                        <a:pt x="182" y="318"/>
                      </a:lnTo>
                      <a:lnTo>
                        <a:pt x="183" y="318"/>
                      </a:lnTo>
                      <a:lnTo>
                        <a:pt x="186" y="318"/>
                      </a:lnTo>
                      <a:lnTo>
                        <a:pt x="186" y="322"/>
                      </a:lnTo>
                      <a:lnTo>
                        <a:pt x="185" y="325"/>
                      </a:lnTo>
                      <a:lnTo>
                        <a:pt x="183" y="329"/>
                      </a:lnTo>
                      <a:lnTo>
                        <a:pt x="183" y="331"/>
                      </a:lnTo>
                      <a:lnTo>
                        <a:pt x="187" y="336"/>
                      </a:lnTo>
                      <a:lnTo>
                        <a:pt x="187" y="340"/>
                      </a:lnTo>
                      <a:lnTo>
                        <a:pt x="185" y="345"/>
                      </a:lnTo>
                      <a:lnTo>
                        <a:pt x="181" y="351"/>
                      </a:lnTo>
                      <a:lnTo>
                        <a:pt x="179" y="352"/>
                      </a:lnTo>
                      <a:lnTo>
                        <a:pt x="181" y="355"/>
                      </a:lnTo>
                      <a:lnTo>
                        <a:pt x="182" y="359"/>
                      </a:lnTo>
                      <a:lnTo>
                        <a:pt x="185" y="361"/>
                      </a:lnTo>
                      <a:lnTo>
                        <a:pt x="187" y="362"/>
                      </a:lnTo>
                      <a:lnTo>
                        <a:pt x="190" y="362"/>
                      </a:lnTo>
                      <a:lnTo>
                        <a:pt x="190" y="364"/>
                      </a:lnTo>
                      <a:lnTo>
                        <a:pt x="190" y="371"/>
                      </a:lnTo>
                      <a:lnTo>
                        <a:pt x="191" y="377"/>
                      </a:lnTo>
                      <a:lnTo>
                        <a:pt x="192" y="382"/>
                      </a:lnTo>
                      <a:lnTo>
                        <a:pt x="192" y="387"/>
                      </a:lnTo>
                      <a:lnTo>
                        <a:pt x="191" y="390"/>
                      </a:lnTo>
                      <a:lnTo>
                        <a:pt x="187" y="395"/>
                      </a:lnTo>
                      <a:lnTo>
                        <a:pt x="174" y="408"/>
                      </a:lnTo>
                      <a:lnTo>
                        <a:pt x="150" y="432"/>
                      </a:lnTo>
                      <a:lnTo>
                        <a:pt x="160" y="434"/>
                      </a:lnTo>
                      <a:lnTo>
                        <a:pt x="168" y="438"/>
                      </a:lnTo>
                      <a:lnTo>
                        <a:pt x="177" y="441"/>
                      </a:lnTo>
                      <a:lnTo>
                        <a:pt x="185" y="446"/>
                      </a:lnTo>
                      <a:lnTo>
                        <a:pt x="181" y="450"/>
                      </a:lnTo>
                      <a:lnTo>
                        <a:pt x="176" y="453"/>
                      </a:lnTo>
                      <a:lnTo>
                        <a:pt x="172" y="454"/>
                      </a:lnTo>
                      <a:lnTo>
                        <a:pt x="167" y="455"/>
                      </a:lnTo>
                      <a:lnTo>
                        <a:pt x="158" y="455"/>
                      </a:lnTo>
                      <a:lnTo>
                        <a:pt x="149" y="457"/>
                      </a:lnTo>
                      <a:lnTo>
                        <a:pt x="148" y="455"/>
                      </a:lnTo>
                      <a:lnTo>
                        <a:pt x="146" y="454"/>
                      </a:lnTo>
                      <a:lnTo>
                        <a:pt x="145" y="453"/>
                      </a:lnTo>
                      <a:lnTo>
                        <a:pt x="144" y="454"/>
                      </a:lnTo>
                      <a:lnTo>
                        <a:pt x="141" y="455"/>
                      </a:lnTo>
                      <a:lnTo>
                        <a:pt x="139" y="458"/>
                      </a:lnTo>
                      <a:lnTo>
                        <a:pt x="136" y="464"/>
                      </a:lnTo>
                      <a:lnTo>
                        <a:pt x="135" y="464"/>
                      </a:lnTo>
                      <a:lnTo>
                        <a:pt x="132" y="464"/>
                      </a:lnTo>
                      <a:lnTo>
                        <a:pt x="126" y="461"/>
                      </a:lnTo>
                      <a:lnTo>
                        <a:pt x="120" y="459"/>
                      </a:lnTo>
                      <a:lnTo>
                        <a:pt x="116" y="458"/>
                      </a:lnTo>
                      <a:lnTo>
                        <a:pt x="98" y="459"/>
                      </a:lnTo>
                      <a:lnTo>
                        <a:pt x="89" y="457"/>
                      </a:lnTo>
                      <a:lnTo>
                        <a:pt x="87" y="457"/>
                      </a:lnTo>
                      <a:lnTo>
                        <a:pt x="84" y="458"/>
                      </a:lnTo>
                      <a:lnTo>
                        <a:pt x="83" y="460"/>
                      </a:lnTo>
                      <a:lnTo>
                        <a:pt x="80" y="461"/>
                      </a:lnTo>
                      <a:lnTo>
                        <a:pt x="75" y="463"/>
                      </a:lnTo>
                      <a:lnTo>
                        <a:pt x="72" y="463"/>
                      </a:lnTo>
                      <a:lnTo>
                        <a:pt x="68" y="465"/>
                      </a:lnTo>
                      <a:lnTo>
                        <a:pt x="66" y="467"/>
                      </a:lnTo>
                      <a:lnTo>
                        <a:pt x="68" y="471"/>
                      </a:lnTo>
                      <a:lnTo>
                        <a:pt x="69" y="478"/>
                      </a:lnTo>
                      <a:lnTo>
                        <a:pt x="70" y="479"/>
                      </a:lnTo>
                      <a:lnTo>
                        <a:pt x="73" y="479"/>
                      </a:lnTo>
                      <a:lnTo>
                        <a:pt x="75" y="480"/>
                      </a:lnTo>
                      <a:lnTo>
                        <a:pt x="78" y="482"/>
                      </a:lnTo>
                      <a:lnTo>
                        <a:pt x="78" y="484"/>
                      </a:lnTo>
                      <a:lnTo>
                        <a:pt x="79" y="486"/>
                      </a:lnTo>
                      <a:lnTo>
                        <a:pt x="84" y="492"/>
                      </a:lnTo>
                      <a:lnTo>
                        <a:pt x="87" y="495"/>
                      </a:lnTo>
                      <a:lnTo>
                        <a:pt x="85" y="498"/>
                      </a:lnTo>
                      <a:lnTo>
                        <a:pt x="84" y="503"/>
                      </a:lnTo>
                      <a:lnTo>
                        <a:pt x="83" y="508"/>
                      </a:lnTo>
                      <a:lnTo>
                        <a:pt x="83" y="512"/>
                      </a:lnTo>
                      <a:lnTo>
                        <a:pt x="82" y="517"/>
                      </a:lnTo>
                      <a:lnTo>
                        <a:pt x="82" y="518"/>
                      </a:lnTo>
                      <a:lnTo>
                        <a:pt x="79" y="520"/>
                      </a:lnTo>
                      <a:lnTo>
                        <a:pt x="75" y="522"/>
                      </a:lnTo>
                      <a:lnTo>
                        <a:pt x="75" y="523"/>
                      </a:lnTo>
                      <a:lnTo>
                        <a:pt x="75" y="524"/>
                      </a:lnTo>
                      <a:lnTo>
                        <a:pt x="75" y="525"/>
                      </a:lnTo>
                      <a:lnTo>
                        <a:pt x="72" y="527"/>
                      </a:lnTo>
                      <a:lnTo>
                        <a:pt x="68" y="527"/>
                      </a:lnTo>
                      <a:lnTo>
                        <a:pt x="64" y="524"/>
                      </a:lnTo>
                      <a:lnTo>
                        <a:pt x="61" y="522"/>
                      </a:lnTo>
                      <a:lnTo>
                        <a:pt x="59" y="518"/>
                      </a:lnTo>
                      <a:lnTo>
                        <a:pt x="58" y="512"/>
                      </a:lnTo>
                      <a:lnTo>
                        <a:pt x="56" y="508"/>
                      </a:lnTo>
                      <a:lnTo>
                        <a:pt x="54" y="503"/>
                      </a:lnTo>
                      <a:lnTo>
                        <a:pt x="51" y="501"/>
                      </a:lnTo>
                      <a:lnTo>
                        <a:pt x="49" y="502"/>
                      </a:lnTo>
                      <a:lnTo>
                        <a:pt x="44" y="505"/>
                      </a:lnTo>
                      <a:lnTo>
                        <a:pt x="33" y="514"/>
                      </a:lnTo>
                      <a:lnTo>
                        <a:pt x="28" y="517"/>
                      </a:lnTo>
                      <a:lnTo>
                        <a:pt x="26" y="522"/>
                      </a:lnTo>
                      <a:lnTo>
                        <a:pt x="22" y="527"/>
                      </a:lnTo>
                      <a:lnTo>
                        <a:pt x="21" y="533"/>
                      </a:lnTo>
                      <a:lnTo>
                        <a:pt x="21" y="537"/>
                      </a:lnTo>
                      <a:lnTo>
                        <a:pt x="21" y="543"/>
                      </a:lnTo>
                      <a:lnTo>
                        <a:pt x="21" y="548"/>
                      </a:lnTo>
                      <a:lnTo>
                        <a:pt x="21" y="549"/>
                      </a:lnTo>
                      <a:lnTo>
                        <a:pt x="22" y="550"/>
                      </a:lnTo>
                      <a:lnTo>
                        <a:pt x="27" y="555"/>
                      </a:lnTo>
                      <a:lnTo>
                        <a:pt x="30" y="560"/>
                      </a:lnTo>
                      <a:lnTo>
                        <a:pt x="31" y="566"/>
                      </a:lnTo>
                      <a:lnTo>
                        <a:pt x="28" y="572"/>
                      </a:lnTo>
                      <a:lnTo>
                        <a:pt x="27" y="574"/>
                      </a:lnTo>
                      <a:lnTo>
                        <a:pt x="25" y="576"/>
                      </a:lnTo>
                      <a:lnTo>
                        <a:pt x="22" y="579"/>
                      </a:lnTo>
                      <a:lnTo>
                        <a:pt x="18" y="579"/>
                      </a:lnTo>
                      <a:lnTo>
                        <a:pt x="16" y="578"/>
                      </a:lnTo>
                      <a:lnTo>
                        <a:pt x="16" y="576"/>
                      </a:lnTo>
                      <a:lnTo>
                        <a:pt x="19" y="570"/>
                      </a:lnTo>
                      <a:lnTo>
                        <a:pt x="21" y="567"/>
                      </a:lnTo>
                      <a:lnTo>
                        <a:pt x="21" y="565"/>
                      </a:lnTo>
                      <a:lnTo>
                        <a:pt x="18" y="565"/>
                      </a:lnTo>
                      <a:lnTo>
                        <a:pt x="18" y="568"/>
                      </a:lnTo>
                      <a:lnTo>
                        <a:pt x="17" y="572"/>
                      </a:lnTo>
                      <a:lnTo>
                        <a:pt x="12" y="575"/>
                      </a:lnTo>
                      <a:lnTo>
                        <a:pt x="7" y="578"/>
                      </a:lnTo>
                      <a:lnTo>
                        <a:pt x="2" y="581"/>
                      </a:lnTo>
                      <a:lnTo>
                        <a:pt x="2" y="584"/>
                      </a:lnTo>
                      <a:lnTo>
                        <a:pt x="2" y="586"/>
                      </a:lnTo>
                      <a:lnTo>
                        <a:pt x="4" y="589"/>
                      </a:lnTo>
                      <a:lnTo>
                        <a:pt x="4" y="593"/>
                      </a:lnTo>
                      <a:lnTo>
                        <a:pt x="3" y="595"/>
                      </a:lnTo>
                      <a:lnTo>
                        <a:pt x="0" y="600"/>
                      </a:lnTo>
                      <a:lnTo>
                        <a:pt x="14" y="600"/>
                      </a:lnTo>
                      <a:lnTo>
                        <a:pt x="28" y="598"/>
                      </a:lnTo>
                      <a:lnTo>
                        <a:pt x="55" y="594"/>
                      </a:lnTo>
                      <a:lnTo>
                        <a:pt x="61" y="594"/>
                      </a:lnTo>
                      <a:lnTo>
                        <a:pt x="68" y="595"/>
                      </a:lnTo>
                      <a:lnTo>
                        <a:pt x="72" y="599"/>
                      </a:lnTo>
                      <a:lnTo>
                        <a:pt x="77" y="604"/>
                      </a:lnTo>
                      <a:lnTo>
                        <a:pt x="80" y="611"/>
                      </a:lnTo>
                      <a:lnTo>
                        <a:pt x="84" y="618"/>
                      </a:lnTo>
                      <a:lnTo>
                        <a:pt x="85" y="626"/>
                      </a:lnTo>
                      <a:lnTo>
                        <a:pt x="87" y="633"/>
                      </a:lnTo>
                      <a:lnTo>
                        <a:pt x="87" y="642"/>
                      </a:lnTo>
                      <a:lnTo>
                        <a:pt x="85" y="650"/>
                      </a:lnTo>
                      <a:lnTo>
                        <a:pt x="82" y="667"/>
                      </a:lnTo>
                      <a:lnTo>
                        <a:pt x="82" y="668"/>
                      </a:lnTo>
                      <a:lnTo>
                        <a:pt x="84" y="670"/>
                      </a:lnTo>
                      <a:lnTo>
                        <a:pt x="87" y="672"/>
                      </a:lnTo>
                      <a:lnTo>
                        <a:pt x="87" y="674"/>
                      </a:lnTo>
                      <a:lnTo>
                        <a:pt x="87" y="675"/>
                      </a:lnTo>
                      <a:lnTo>
                        <a:pt x="83" y="683"/>
                      </a:lnTo>
                      <a:lnTo>
                        <a:pt x="82" y="691"/>
                      </a:lnTo>
                      <a:lnTo>
                        <a:pt x="83" y="694"/>
                      </a:lnTo>
                      <a:lnTo>
                        <a:pt x="84" y="696"/>
                      </a:lnTo>
                      <a:lnTo>
                        <a:pt x="88" y="701"/>
                      </a:lnTo>
                      <a:lnTo>
                        <a:pt x="88" y="704"/>
                      </a:lnTo>
                      <a:lnTo>
                        <a:pt x="88" y="708"/>
                      </a:lnTo>
                      <a:lnTo>
                        <a:pt x="85" y="712"/>
                      </a:lnTo>
                      <a:lnTo>
                        <a:pt x="82" y="716"/>
                      </a:lnTo>
                      <a:lnTo>
                        <a:pt x="75" y="722"/>
                      </a:lnTo>
                      <a:lnTo>
                        <a:pt x="66" y="729"/>
                      </a:lnTo>
                      <a:lnTo>
                        <a:pt x="69" y="732"/>
                      </a:lnTo>
                      <a:lnTo>
                        <a:pt x="70" y="733"/>
                      </a:lnTo>
                      <a:lnTo>
                        <a:pt x="70" y="734"/>
                      </a:lnTo>
                      <a:lnTo>
                        <a:pt x="68" y="740"/>
                      </a:lnTo>
                      <a:lnTo>
                        <a:pt x="64" y="746"/>
                      </a:lnTo>
                      <a:lnTo>
                        <a:pt x="60" y="751"/>
                      </a:lnTo>
                      <a:lnTo>
                        <a:pt x="64" y="757"/>
                      </a:lnTo>
                      <a:lnTo>
                        <a:pt x="66" y="757"/>
                      </a:lnTo>
                      <a:lnTo>
                        <a:pt x="69" y="757"/>
                      </a:lnTo>
                      <a:lnTo>
                        <a:pt x="73" y="757"/>
                      </a:lnTo>
                      <a:lnTo>
                        <a:pt x="77" y="757"/>
                      </a:lnTo>
                      <a:lnTo>
                        <a:pt x="80" y="755"/>
                      </a:lnTo>
                      <a:lnTo>
                        <a:pt x="84" y="755"/>
                      </a:lnTo>
                      <a:lnTo>
                        <a:pt x="88" y="758"/>
                      </a:lnTo>
                      <a:lnTo>
                        <a:pt x="92" y="760"/>
                      </a:lnTo>
                      <a:lnTo>
                        <a:pt x="96" y="761"/>
                      </a:lnTo>
                      <a:lnTo>
                        <a:pt x="97" y="761"/>
                      </a:lnTo>
                      <a:lnTo>
                        <a:pt x="99" y="760"/>
                      </a:lnTo>
                      <a:lnTo>
                        <a:pt x="103" y="757"/>
                      </a:lnTo>
                      <a:lnTo>
                        <a:pt x="108" y="753"/>
                      </a:lnTo>
                      <a:lnTo>
                        <a:pt x="112" y="752"/>
                      </a:lnTo>
                      <a:lnTo>
                        <a:pt x="115" y="753"/>
                      </a:lnTo>
                      <a:lnTo>
                        <a:pt x="116" y="753"/>
                      </a:lnTo>
                      <a:lnTo>
                        <a:pt x="118" y="757"/>
                      </a:lnTo>
                      <a:lnTo>
                        <a:pt x="120" y="760"/>
                      </a:lnTo>
                      <a:lnTo>
                        <a:pt x="121" y="767"/>
                      </a:lnTo>
                      <a:lnTo>
                        <a:pt x="120" y="783"/>
                      </a:lnTo>
                      <a:lnTo>
                        <a:pt x="121" y="783"/>
                      </a:lnTo>
                      <a:lnTo>
                        <a:pt x="121" y="784"/>
                      </a:lnTo>
                      <a:lnTo>
                        <a:pt x="121" y="785"/>
                      </a:lnTo>
                      <a:lnTo>
                        <a:pt x="122" y="786"/>
                      </a:lnTo>
                      <a:lnTo>
                        <a:pt x="136" y="798"/>
                      </a:lnTo>
                      <a:lnTo>
                        <a:pt x="143" y="804"/>
                      </a:lnTo>
                      <a:lnTo>
                        <a:pt x="146" y="812"/>
                      </a:lnTo>
                      <a:lnTo>
                        <a:pt x="149" y="815"/>
                      </a:lnTo>
                      <a:lnTo>
                        <a:pt x="152" y="816"/>
                      </a:lnTo>
                      <a:lnTo>
                        <a:pt x="155" y="816"/>
                      </a:lnTo>
                      <a:lnTo>
                        <a:pt x="158" y="816"/>
                      </a:lnTo>
                      <a:lnTo>
                        <a:pt x="165" y="814"/>
                      </a:lnTo>
                      <a:lnTo>
                        <a:pt x="172" y="812"/>
                      </a:lnTo>
                      <a:lnTo>
                        <a:pt x="174" y="812"/>
                      </a:lnTo>
                      <a:lnTo>
                        <a:pt x="178" y="814"/>
                      </a:lnTo>
                      <a:lnTo>
                        <a:pt x="179" y="811"/>
                      </a:lnTo>
                      <a:lnTo>
                        <a:pt x="182" y="810"/>
                      </a:lnTo>
                      <a:lnTo>
                        <a:pt x="185" y="809"/>
                      </a:lnTo>
                      <a:lnTo>
                        <a:pt x="190" y="805"/>
                      </a:lnTo>
                      <a:lnTo>
                        <a:pt x="191" y="802"/>
                      </a:lnTo>
                      <a:lnTo>
                        <a:pt x="192" y="797"/>
                      </a:lnTo>
                      <a:lnTo>
                        <a:pt x="193" y="792"/>
                      </a:lnTo>
                      <a:lnTo>
                        <a:pt x="195" y="790"/>
                      </a:lnTo>
                      <a:lnTo>
                        <a:pt x="197" y="789"/>
                      </a:lnTo>
                      <a:lnTo>
                        <a:pt x="201" y="787"/>
                      </a:lnTo>
                      <a:lnTo>
                        <a:pt x="205" y="787"/>
                      </a:lnTo>
                      <a:lnTo>
                        <a:pt x="211" y="790"/>
                      </a:lnTo>
                      <a:lnTo>
                        <a:pt x="223" y="797"/>
                      </a:lnTo>
                      <a:lnTo>
                        <a:pt x="226" y="798"/>
                      </a:lnTo>
                      <a:lnTo>
                        <a:pt x="230" y="799"/>
                      </a:lnTo>
                      <a:lnTo>
                        <a:pt x="237" y="799"/>
                      </a:lnTo>
                      <a:lnTo>
                        <a:pt x="244" y="798"/>
                      </a:lnTo>
                      <a:lnTo>
                        <a:pt x="252" y="799"/>
                      </a:lnTo>
                      <a:lnTo>
                        <a:pt x="249" y="803"/>
                      </a:lnTo>
                      <a:lnTo>
                        <a:pt x="247" y="805"/>
                      </a:lnTo>
                      <a:lnTo>
                        <a:pt x="243" y="806"/>
                      </a:lnTo>
                      <a:lnTo>
                        <a:pt x="239" y="808"/>
                      </a:lnTo>
                      <a:lnTo>
                        <a:pt x="230" y="809"/>
                      </a:lnTo>
                      <a:lnTo>
                        <a:pt x="226" y="810"/>
                      </a:lnTo>
                      <a:lnTo>
                        <a:pt x="224" y="812"/>
                      </a:lnTo>
                      <a:lnTo>
                        <a:pt x="223" y="815"/>
                      </a:lnTo>
                      <a:lnTo>
                        <a:pt x="224" y="816"/>
                      </a:lnTo>
                      <a:lnTo>
                        <a:pt x="232" y="819"/>
                      </a:lnTo>
                      <a:lnTo>
                        <a:pt x="238" y="822"/>
                      </a:lnTo>
                      <a:lnTo>
                        <a:pt x="240" y="824"/>
                      </a:lnTo>
                      <a:lnTo>
                        <a:pt x="242" y="827"/>
                      </a:lnTo>
                      <a:lnTo>
                        <a:pt x="242" y="830"/>
                      </a:lnTo>
                      <a:lnTo>
                        <a:pt x="240" y="836"/>
                      </a:lnTo>
                      <a:lnTo>
                        <a:pt x="242" y="837"/>
                      </a:lnTo>
                      <a:lnTo>
                        <a:pt x="243" y="840"/>
                      </a:lnTo>
                      <a:lnTo>
                        <a:pt x="245" y="841"/>
                      </a:lnTo>
                      <a:lnTo>
                        <a:pt x="248" y="841"/>
                      </a:lnTo>
                      <a:lnTo>
                        <a:pt x="257" y="834"/>
                      </a:lnTo>
                      <a:lnTo>
                        <a:pt x="266" y="828"/>
                      </a:lnTo>
                      <a:lnTo>
                        <a:pt x="270" y="825"/>
                      </a:lnTo>
                      <a:lnTo>
                        <a:pt x="275" y="823"/>
                      </a:lnTo>
                      <a:lnTo>
                        <a:pt x="280" y="822"/>
                      </a:lnTo>
                      <a:lnTo>
                        <a:pt x="286" y="822"/>
                      </a:lnTo>
                      <a:lnTo>
                        <a:pt x="289" y="822"/>
                      </a:lnTo>
                      <a:lnTo>
                        <a:pt x="290" y="818"/>
                      </a:lnTo>
                      <a:lnTo>
                        <a:pt x="290" y="816"/>
                      </a:lnTo>
                      <a:lnTo>
                        <a:pt x="289" y="812"/>
                      </a:lnTo>
                      <a:lnTo>
                        <a:pt x="286" y="811"/>
                      </a:lnTo>
                      <a:lnTo>
                        <a:pt x="284" y="810"/>
                      </a:lnTo>
                      <a:lnTo>
                        <a:pt x="277" y="809"/>
                      </a:lnTo>
                      <a:lnTo>
                        <a:pt x="275" y="809"/>
                      </a:lnTo>
                      <a:lnTo>
                        <a:pt x="273" y="808"/>
                      </a:lnTo>
                      <a:lnTo>
                        <a:pt x="272" y="805"/>
                      </a:lnTo>
                      <a:lnTo>
                        <a:pt x="272" y="802"/>
                      </a:lnTo>
                      <a:lnTo>
                        <a:pt x="271" y="804"/>
                      </a:lnTo>
                      <a:lnTo>
                        <a:pt x="272" y="808"/>
                      </a:lnTo>
                      <a:lnTo>
                        <a:pt x="273" y="810"/>
                      </a:lnTo>
                      <a:lnTo>
                        <a:pt x="272" y="812"/>
                      </a:lnTo>
                      <a:lnTo>
                        <a:pt x="270" y="815"/>
                      </a:lnTo>
                      <a:lnTo>
                        <a:pt x="267" y="816"/>
                      </a:lnTo>
                      <a:lnTo>
                        <a:pt x="265" y="815"/>
                      </a:lnTo>
                      <a:lnTo>
                        <a:pt x="262" y="814"/>
                      </a:lnTo>
                      <a:lnTo>
                        <a:pt x="258" y="809"/>
                      </a:lnTo>
                      <a:lnTo>
                        <a:pt x="257" y="803"/>
                      </a:lnTo>
                      <a:lnTo>
                        <a:pt x="257" y="798"/>
                      </a:lnTo>
                      <a:lnTo>
                        <a:pt x="259" y="793"/>
                      </a:lnTo>
                      <a:lnTo>
                        <a:pt x="261" y="792"/>
                      </a:lnTo>
                      <a:lnTo>
                        <a:pt x="263" y="792"/>
                      </a:lnTo>
                      <a:lnTo>
                        <a:pt x="268" y="791"/>
                      </a:lnTo>
                      <a:lnTo>
                        <a:pt x="271" y="790"/>
                      </a:lnTo>
                      <a:lnTo>
                        <a:pt x="271" y="787"/>
                      </a:lnTo>
                      <a:lnTo>
                        <a:pt x="271" y="786"/>
                      </a:lnTo>
                      <a:lnTo>
                        <a:pt x="273" y="784"/>
                      </a:lnTo>
                      <a:lnTo>
                        <a:pt x="275" y="784"/>
                      </a:lnTo>
                      <a:lnTo>
                        <a:pt x="278" y="784"/>
                      </a:lnTo>
                      <a:lnTo>
                        <a:pt x="282" y="784"/>
                      </a:lnTo>
                      <a:lnTo>
                        <a:pt x="285" y="785"/>
                      </a:lnTo>
                      <a:lnTo>
                        <a:pt x="289" y="785"/>
                      </a:lnTo>
                      <a:lnTo>
                        <a:pt x="291" y="783"/>
                      </a:lnTo>
                      <a:lnTo>
                        <a:pt x="295" y="782"/>
                      </a:lnTo>
                      <a:lnTo>
                        <a:pt x="305" y="779"/>
                      </a:lnTo>
                      <a:lnTo>
                        <a:pt x="314" y="777"/>
                      </a:lnTo>
                      <a:lnTo>
                        <a:pt x="333" y="770"/>
                      </a:lnTo>
                      <a:lnTo>
                        <a:pt x="339" y="768"/>
                      </a:lnTo>
                      <a:lnTo>
                        <a:pt x="336" y="774"/>
                      </a:lnTo>
                      <a:lnTo>
                        <a:pt x="332" y="779"/>
                      </a:lnTo>
                      <a:lnTo>
                        <a:pt x="327" y="782"/>
                      </a:lnTo>
                      <a:lnTo>
                        <a:pt x="320" y="783"/>
                      </a:lnTo>
                      <a:lnTo>
                        <a:pt x="320" y="786"/>
                      </a:lnTo>
                      <a:lnTo>
                        <a:pt x="320" y="790"/>
                      </a:lnTo>
                      <a:lnTo>
                        <a:pt x="322" y="791"/>
                      </a:lnTo>
                      <a:lnTo>
                        <a:pt x="324" y="793"/>
                      </a:lnTo>
                      <a:lnTo>
                        <a:pt x="325" y="796"/>
                      </a:lnTo>
                      <a:lnTo>
                        <a:pt x="324" y="797"/>
                      </a:lnTo>
                      <a:lnTo>
                        <a:pt x="323" y="798"/>
                      </a:lnTo>
                      <a:lnTo>
                        <a:pt x="320" y="799"/>
                      </a:lnTo>
                      <a:lnTo>
                        <a:pt x="318" y="800"/>
                      </a:lnTo>
                      <a:lnTo>
                        <a:pt x="315" y="806"/>
                      </a:lnTo>
                      <a:lnTo>
                        <a:pt x="313" y="811"/>
                      </a:lnTo>
                      <a:lnTo>
                        <a:pt x="312" y="812"/>
                      </a:lnTo>
                      <a:lnTo>
                        <a:pt x="312" y="815"/>
                      </a:lnTo>
                      <a:lnTo>
                        <a:pt x="312" y="817"/>
                      </a:lnTo>
                      <a:lnTo>
                        <a:pt x="309" y="817"/>
                      </a:lnTo>
                      <a:lnTo>
                        <a:pt x="306" y="817"/>
                      </a:lnTo>
                      <a:lnTo>
                        <a:pt x="305" y="816"/>
                      </a:lnTo>
                      <a:lnTo>
                        <a:pt x="304" y="815"/>
                      </a:lnTo>
                      <a:lnTo>
                        <a:pt x="303" y="816"/>
                      </a:lnTo>
                      <a:lnTo>
                        <a:pt x="301" y="818"/>
                      </a:lnTo>
                      <a:lnTo>
                        <a:pt x="301" y="822"/>
                      </a:lnTo>
                      <a:lnTo>
                        <a:pt x="301" y="824"/>
                      </a:lnTo>
                      <a:lnTo>
                        <a:pt x="305" y="825"/>
                      </a:lnTo>
                      <a:lnTo>
                        <a:pt x="308" y="827"/>
                      </a:lnTo>
                      <a:lnTo>
                        <a:pt x="312" y="828"/>
                      </a:lnTo>
                      <a:lnTo>
                        <a:pt x="317" y="833"/>
                      </a:lnTo>
                      <a:lnTo>
                        <a:pt x="322" y="836"/>
                      </a:lnTo>
                      <a:lnTo>
                        <a:pt x="328" y="840"/>
                      </a:lnTo>
                      <a:lnTo>
                        <a:pt x="332" y="841"/>
                      </a:lnTo>
                      <a:lnTo>
                        <a:pt x="336" y="841"/>
                      </a:lnTo>
                      <a:lnTo>
                        <a:pt x="341" y="844"/>
                      </a:lnTo>
                      <a:lnTo>
                        <a:pt x="345" y="848"/>
                      </a:lnTo>
                      <a:lnTo>
                        <a:pt x="348" y="853"/>
                      </a:lnTo>
                      <a:lnTo>
                        <a:pt x="352" y="856"/>
                      </a:lnTo>
                      <a:lnTo>
                        <a:pt x="360" y="860"/>
                      </a:lnTo>
                      <a:lnTo>
                        <a:pt x="365" y="863"/>
                      </a:lnTo>
                      <a:lnTo>
                        <a:pt x="375" y="872"/>
                      </a:lnTo>
                      <a:lnTo>
                        <a:pt x="384" y="881"/>
                      </a:lnTo>
                      <a:lnTo>
                        <a:pt x="386" y="886"/>
                      </a:lnTo>
                      <a:lnTo>
                        <a:pt x="388" y="891"/>
                      </a:lnTo>
                      <a:lnTo>
                        <a:pt x="385" y="895"/>
                      </a:lnTo>
                      <a:lnTo>
                        <a:pt x="383" y="899"/>
                      </a:lnTo>
                      <a:lnTo>
                        <a:pt x="393" y="899"/>
                      </a:lnTo>
                      <a:lnTo>
                        <a:pt x="404" y="899"/>
                      </a:lnTo>
                      <a:lnTo>
                        <a:pt x="408" y="901"/>
                      </a:lnTo>
                      <a:lnTo>
                        <a:pt x="413" y="902"/>
                      </a:lnTo>
                      <a:lnTo>
                        <a:pt x="416" y="906"/>
                      </a:lnTo>
                      <a:lnTo>
                        <a:pt x="418" y="911"/>
                      </a:lnTo>
                      <a:lnTo>
                        <a:pt x="425" y="926"/>
                      </a:lnTo>
                      <a:lnTo>
                        <a:pt x="428" y="932"/>
                      </a:lnTo>
                      <a:lnTo>
                        <a:pt x="432" y="939"/>
                      </a:lnTo>
                      <a:lnTo>
                        <a:pt x="432" y="942"/>
                      </a:lnTo>
                      <a:lnTo>
                        <a:pt x="431" y="945"/>
                      </a:lnTo>
                      <a:lnTo>
                        <a:pt x="435" y="945"/>
                      </a:lnTo>
                      <a:lnTo>
                        <a:pt x="437" y="948"/>
                      </a:lnTo>
                      <a:lnTo>
                        <a:pt x="441" y="953"/>
                      </a:lnTo>
                      <a:lnTo>
                        <a:pt x="446" y="958"/>
                      </a:lnTo>
                      <a:lnTo>
                        <a:pt x="450" y="961"/>
                      </a:lnTo>
                      <a:lnTo>
                        <a:pt x="452" y="962"/>
                      </a:lnTo>
                      <a:lnTo>
                        <a:pt x="456" y="962"/>
                      </a:lnTo>
                      <a:lnTo>
                        <a:pt x="460" y="962"/>
                      </a:lnTo>
                      <a:lnTo>
                        <a:pt x="466" y="959"/>
                      </a:lnTo>
                      <a:lnTo>
                        <a:pt x="472" y="956"/>
                      </a:lnTo>
                      <a:lnTo>
                        <a:pt x="478" y="952"/>
                      </a:lnTo>
                      <a:lnTo>
                        <a:pt x="484" y="949"/>
                      </a:lnTo>
                      <a:lnTo>
                        <a:pt x="485" y="949"/>
                      </a:lnTo>
                      <a:lnTo>
                        <a:pt x="487" y="949"/>
                      </a:lnTo>
                      <a:lnTo>
                        <a:pt x="489" y="952"/>
                      </a:lnTo>
                      <a:lnTo>
                        <a:pt x="491" y="956"/>
                      </a:lnTo>
                      <a:lnTo>
                        <a:pt x="489" y="958"/>
                      </a:lnTo>
                      <a:lnTo>
                        <a:pt x="489" y="963"/>
                      </a:lnTo>
                      <a:lnTo>
                        <a:pt x="491" y="968"/>
                      </a:lnTo>
                      <a:lnTo>
                        <a:pt x="492" y="970"/>
                      </a:lnTo>
                      <a:lnTo>
                        <a:pt x="494" y="974"/>
                      </a:lnTo>
                      <a:lnTo>
                        <a:pt x="497" y="975"/>
                      </a:lnTo>
                      <a:lnTo>
                        <a:pt x="501" y="977"/>
                      </a:lnTo>
                      <a:lnTo>
                        <a:pt x="508" y="978"/>
                      </a:lnTo>
                      <a:lnTo>
                        <a:pt x="508" y="969"/>
                      </a:lnTo>
                      <a:lnTo>
                        <a:pt x="507" y="965"/>
                      </a:lnTo>
                      <a:lnTo>
                        <a:pt x="506" y="961"/>
                      </a:lnTo>
                      <a:lnTo>
                        <a:pt x="503" y="957"/>
                      </a:lnTo>
                      <a:lnTo>
                        <a:pt x="503" y="955"/>
                      </a:lnTo>
                      <a:lnTo>
                        <a:pt x="505" y="948"/>
                      </a:lnTo>
                      <a:lnTo>
                        <a:pt x="507" y="949"/>
                      </a:lnTo>
                      <a:lnTo>
                        <a:pt x="508" y="950"/>
                      </a:lnTo>
                      <a:lnTo>
                        <a:pt x="510" y="952"/>
                      </a:lnTo>
                      <a:lnTo>
                        <a:pt x="511" y="953"/>
                      </a:lnTo>
                      <a:lnTo>
                        <a:pt x="513" y="953"/>
                      </a:lnTo>
                      <a:lnTo>
                        <a:pt x="516" y="952"/>
                      </a:lnTo>
                      <a:lnTo>
                        <a:pt x="517" y="951"/>
                      </a:lnTo>
                      <a:lnTo>
                        <a:pt x="517" y="949"/>
                      </a:lnTo>
                      <a:lnTo>
                        <a:pt x="517" y="944"/>
                      </a:lnTo>
                      <a:lnTo>
                        <a:pt x="518" y="940"/>
                      </a:lnTo>
                      <a:lnTo>
                        <a:pt x="524" y="933"/>
                      </a:lnTo>
                      <a:lnTo>
                        <a:pt x="529" y="932"/>
                      </a:lnTo>
                      <a:lnTo>
                        <a:pt x="531" y="931"/>
                      </a:lnTo>
                      <a:lnTo>
                        <a:pt x="531" y="930"/>
                      </a:lnTo>
                      <a:lnTo>
                        <a:pt x="526" y="926"/>
                      </a:lnTo>
                      <a:lnTo>
                        <a:pt x="521" y="923"/>
                      </a:lnTo>
                      <a:lnTo>
                        <a:pt x="513" y="915"/>
                      </a:lnTo>
                      <a:lnTo>
                        <a:pt x="510" y="912"/>
                      </a:lnTo>
                      <a:lnTo>
                        <a:pt x="508" y="911"/>
                      </a:lnTo>
                      <a:lnTo>
                        <a:pt x="507" y="910"/>
                      </a:lnTo>
                      <a:lnTo>
                        <a:pt x="505" y="901"/>
                      </a:lnTo>
                      <a:lnTo>
                        <a:pt x="503" y="899"/>
                      </a:lnTo>
                      <a:lnTo>
                        <a:pt x="499" y="895"/>
                      </a:lnTo>
                      <a:lnTo>
                        <a:pt x="491" y="885"/>
                      </a:lnTo>
                      <a:lnTo>
                        <a:pt x="485" y="876"/>
                      </a:lnTo>
                      <a:lnTo>
                        <a:pt x="484" y="868"/>
                      </a:lnTo>
                      <a:lnTo>
                        <a:pt x="483" y="860"/>
                      </a:lnTo>
                      <a:lnTo>
                        <a:pt x="484" y="850"/>
                      </a:lnTo>
                      <a:lnTo>
                        <a:pt x="479" y="843"/>
                      </a:lnTo>
                      <a:lnTo>
                        <a:pt x="477" y="835"/>
                      </a:lnTo>
                      <a:lnTo>
                        <a:pt x="475" y="833"/>
                      </a:lnTo>
                      <a:lnTo>
                        <a:pt x="475" y="828"/>
                      </a:lnTo>
                      <a:lnTo>
                        <a:pt x="477" y="819"/>
                      </a:lnTo>
                      <a:lnTo>
                        <a:pt x="479" y="811"/>
                      </a:lnTo>
                      <a:lnTo>
                        <a:pt x="480" y="809"/>
                      </a:lnTo>
                      <a:lnTo>
                        <a:pt x="483" y="808"/>
                      </a:lnTo>
                      <a:lnTo>
                        <a:pt x="489" y="804"/>
                      </a:lnTo>
                      <a:lnTo>
                        <a:pt x="493" y="800"/>
                      </a:lnTo>
                      <a:lnTo>
                        <a:pt x="503" y="791"/>
                      </a:lnTo>
                      <a:lnTo>
                        <a:pt x="506" y="789"/>
                      </a:lnTo>
                      <a:lnTo>
                        <a:pt x="511" y="787"/>
                      </a:lnTo>
                      <a:lnTo>
                        <a:pt x="515" y="786"/>
                      </a:lnTo>
                      <a:lnTo>
                        <a:pt x="517" y="784"/>
                      </a:lnTo>
                      <a:lnTo>
                        <a:pt x="526" y="780"/>
                      </a:lnTo>
                      <a:lnTo>
                        <a:pt x="531" y="778"/>
                      </a:lnTo>
                      <a:lnTo>
                        <a:pt x="534" y="776"/>
                      </a:lnTo>
                      <a:lnTo>
                        <a:pt x="543" y="770"/>
                      </a:lnTo>
                      <a:lnTo>
                        <a:pt x="548" y="767"/>
                      </a:lnTo>
                      <a:lnTo>
                        <a:pt x="554" y="767"/>
                      </a:lnTo>
                      <a:lnTo>
                        <a:pt x="557" y="765"/>
                      </a:lnTo>
                      <a:lnTo>
                        <a:pt x="558" y="764"/>
                      </a:lnTo>
                      <a:lnTo>
                        <a:pt x="571" y="765"/>
                      </a:lnTo>
                      <a:lnTo>
                        <a:pt x="578" y="766"/>
                      </a:lnTo>
                      <a:lnTo>
                        <a:pt x="583" y="768"/>
                      </a:lnTo>
                      <a:lnTo>
                        <a:pt x="586" y="771"/>
                      </a:lnTo>
                      <a:lnTo>
                        <a:pt x="587" y="773"/>
                      </a:lnTo>
                      <a:lnTo>
                        <a:pt x="587" y="776"/>
                      </a:lnTo>
                      <a:lnTo>
                        <a:pt x="590" y="778"/>
                      </a:lnTo>
                      <a:lnTo>
                        <a:pt x="592" y="782"/>
                      </a:lnTo>
                      <a:lnTo>
                        <a:pt x="593" y="784"/>
                      </a:lnTo>
                      <a:lnTo>
                        <a:pt x="593" y="786"/>
                      </a:lnTo>
                      <a:lnTo>
                        <a:pt x="595" y="791"/>
                      </a:lnTo>
                      <a:lnTo>
                        <a:pt x="596" y="792"/>
                      </a:lnTo>
                      <a:lnTo>
                        <a:pt x="598" y="793"/>
                      </a:lnTo>
                      <a:lnTo>
                        <a:pt x="600" y="795"/>
                      </a:lnTo>
                      <a:lnTo>
                        <a:pt x="598" y="795"/>
                      </a:lnTo>
                      <a:lnTo>
                        <a:pt x="597" y="796"/>
                      </a:lnTo>
                      <a:lnTo>
                        <a:pt x="597" y="797"/>
                      </a:lnTo>
                      <a:lnTo>
                        <a:pt x="595" y="798"/>
                      </a:lnTo>
                      <a:lnTo>
                        <a:pt x="595" y="799"/>
                      </a:lnTo>
                      <a:lnTo>
                        <a:pt x="597" y="804"/>
                      </a:lnTo>
                      <a:lnTo>
                        <a:pt x="597" y="806"/>
                      </a:lnTo>
                      <a:lnTo>
                        <a:pt x="597" y="808"/>
                      </a:lnTo>
                      <a:lnTo>
                        <a:pt x="598" y="809"/>
                      </a:lnTo>
                      <a:lnTo>
                        <a:pt x="596" y="811"/>
                      </a:lnTo>
                      <a:lnTo>
                        <a:pt x="592" y="814"/>
                      </a:lnTo>
                      <a:lnTo>
                        <a:pt x="588" y="816"/>
                      </a:lnTo>
                      <a:lnTo>
                        <a:pt x="585" y="816"/>
                      </a:lnTo>
                      <a:lnTo>
                        <a:pt x="578" y="814"/>
                      </a:lnTo>
                      <a:lnTo>
                        <a:pt x="572" y="812"/>
                      </a:lnTo>
                      <a:lnTo>
                        <a:pt x="569" y="811"/>
                      </a:lnTo>
                      <a:lnTo>
                        <a:pt x="565" y="810"/>
                      </a:lnTo>
                      <a:lnTo>
                        <a:pt x="562" y="810"/>
                      </a:lnTo>
                      <a:lnTo>
                        <a:pt x="558" y="811"/>
                      </a:lnTo>
                      <a:lnTo>
                        <a:pt x="554" y="814"/>
                      </a:lnTo>
                      <a:lnTo>
                        <a:pt x="553" y="815"/>
                      </a:lnTo>
                      <a:lnTo>
                        <a:pt x="553" y="817"/>
                      </a:lnTo>
                      <a:lnTo>
                        <a:pt x="554" y="824"/>
                      </a:lnTo>
                      <a:lnTo>
                        <a:pt x="555" y="831"/>
                      </a:lnTo>
                      <a:lnTo>
                        <a:pt x="557" y="835"/>
                      </a:lnTo>
                      <a:lnTo>
                        <a:pt x="557" y="837"/>
                      </a:lnTo>
                      <a:lnTo>
                        <a:pt x="555" y="838"/>
                      </a:lnTo>
                      <a:lnTo>
                        <a:pt x="553" y="838"/>
                      </a:lnTo>
                      <a:lnTo>
                        <a:pt x="548" y="838"/>
                      </a:lnTo>
                      <a:lnTo>
                        <a:pt x="543" y="836"/>
                      </a:lnTo>
                      <a:lnTo>
                        <a:pt x="538" y="835"/>
                      </a:lnTo>
                      <a:lnTo>
                        <a:pt x="536" y="836"/>
                      </a:lnTo>
                      <a:lnTo>
                        <a:pt x="536" y="837"/>
                      </a:lnTo>
                      <a:lnTo>
                        <a:pt x="538" y="841"/>
                      </a:lnTo>
                      <a:lnTo>
                        <a:pt x="541" y="843"/>
                      </a:lnTo>
                      <a:lnTo>
                        <a:pt x="544" y="844"/>
                      </a:lnTo>
                      <a:lnTo>
                        <a:pt x="545" y="846"/>
                      </a:lnTo>
                      <a:lnTo>
                        <a:pt x="548" y="849"/>
                      </a:lnTo>
                      <a:lnTo>
                        <a:pt x="548" y="851"/>
                      </a:lnTo>
                      <a:lnTo>
                        <a:pt x="549" y="854"/>
                      </a:lnTo>
                      <a:lnTo>
                        <a:pt x="550" y="856"/>
                      </a:lnTo>
                      <a:lnTo>
                        <a:pt x="552" y="859"/>
                      </a:lnTo>
                      <a:lnTo>
                        <a:pt x="552" y="861"/>
                      </a:lnTo>
                      <a:lnTo>
                        <a:pt x="549" y="866"/>
                      </a:lnTo>
                      <a:lnTo>
                        <a:pt x="549" y="868"/>
                      </a:lnTo>
                      <a:lnTo>
                        <a:pt x="550" y="868"/>
                      </a:lnTo>
                      <a:lnTo>
                        <a:pt x="559" y="863"/>
                      </a:lnTo>
                      <a:lnTo>
                        <a:pt x="559" y="865"/>
                      </a:lnTo>
                      <a:lnTo>
                        <a:pt x="560" y="866"/>
                      </a:lnTo>
                      <a:lnTo>
                        <a:pt x="559" y="867"/>
                      </a:lnTo>
                      <a:lnTo>
                        <a:pt x="560" y="868"/>
                      </a:lnTo>
                      <a:lnTo>
                        <a:pt x="563" y="869"/>
                      </a:lnTo>
                      <a:lnTo>
                        <a:pt x="565" y="868"/>
                      </a:lnTo>
                      <a:lnTo>
                        <a:pt x="568" y="867"/>
                      </a:lnTo>
                      <a:lnTo>
                        <a:pt x="571" y="867"/>
                      </a:lnTo>
                      <a:lnTo>
                        <a:pt x="574" y="869"/>
                      </a:lnTo>
                      <a:lnTo>
                        <a:pt x="578" y="870"/>
                      </a:lnTo>
                      <a:lnTo>
                        <a:pt x="579" y="873"/>
                      </a:lnTo>
                      <a:lnTo>
                        <a:pt x="578" y="876"/>
                      </a:lnTo>
                      <a:lnTo>
                        <a:pt x="576" y="883"/>
                      </a:lnTo>
                      <a:lnTo>
                        <a:pt x="576" y="888"/>
                      </a:lnTo>
                      <a:lnTo>
                        <a:pt x="576" y="894"/>
                      </a:lnTo>
                      <a:lnTo>
                        <a:pt x="576" y="899"/>
                      </a:lnTo>
                      <a:lnTo>
                        <a:pt x="577" y="902"/>
                      </a:lnTo>
                      <a:lnTo>
                        <a:pt x="578" y="905"/>
                      </a:lnTo>
                      <a:lnTo>
                        <a:pt x="579" y="902"/>
                      </a:lnTo>
                      <a:lnTo>
                        <a:pt x="581" y="900"/>
                      </a:lnTo>
                      <a:lnTo>
                        <a:pt x="581" y="897"/>
                      </a:lnTo>
                      <a:lnTo>
                        <a:pt x="579" y="893"/>
                      </a:lnTo>
                      <a:lnTo>
                        <a:pt x="581" y="891"/>
                      </a:lnTo>
                      <a:lnTo>
                        <a:pt x="582" y="888"/>
                      </a:lnTo>
                      <a:lnTo>
                        <a:pt x="583" y="887"/>
                      </a:lnTo>
                      <a:lnTo>
                        <a:pt x="585" y="888"/>
                      </a:lnTo>
                      <a:lnTo>
                        <a:pt x="587" y="891"/>
                      </a:lnTo>
                      <a:lnTo>
                        <a:pt x="588" y="891"/>
                      </a:lnTo>
                      <a:lnTo>
                        <a:pt x="590" y="889"/>
                      </a:lnTo>
                      <a:lnTo>
                        <a:pt x="593" y="885"/>
                      </a:lnTo>
                      <a:lnTo>
                        <a:pt x="596" y="883"/>
                      </a:lnTo>
                      <a:lnTo>
                        <a:pt x="597" y="882"/>
                      </a:lnTo>
                      <a:lnTo>
                        <a:pt x="600" y="883"/>
                      </a:lnTo>
                      <a:lnTo>
                        <a:pt x="601" y="886"/>
                      </a:lnTo>
                      <a:lnTo>
                        <a:pt x="604" y="899"/>
                      </a:lnTo>
                      <a:lnTo>
                        <a:pt x="605" y="907"/>
                      </a:lnTo>
                      <a:lnTo>
                        <a:pt x="605" y="911"/>
                      </a:lnTo>
                      <a:lnTo>
                        <a:pt x="605" y="912"/>
                      </a:lnTo>
                      <a:lnTo>
                        <a:pt x="605" y="913"/>
                      </a:lnTo>
                      <a:lnTo>
                        <a:pt x="601" y="918"/>
                      </a:lnTo>
                      <a:lnTo>
                        <a:pt x="600" y="920"/>
                      </a:lnTo>
                      <a:lnTo>
                        <a:pt x="597" y="921"/>
                      </a:lnTo>
                      <a:lnTo>
                        <a:pt x="593" y="921"/>
                      </a:lnTo>
                      <a:lnTo>
                        <a:pt x="591" y="921"/>
                      </a:lnTo>
                      <a:lnTo>
                        <a:pt x="585" y="917"/>
                      </a:lnTo>
                      <a:lnTo>
                        <a:pt x="583" y="917"/>
                      </a:lnTo>
                      <a:lnTo>
                        <a:pt x="582" y="918"/>
                      </a:lnTo>
                      <a:lnTo>
                        <a:pt x="581" y="920"/>
                      </a:lnTo>
                      <a:lnTo>
                        <a:pt x="581" y="926"/>
                      </a:lnTo>
                      <a:lnTo>
                        <a:pt x="582" y="930"/>
                      </a:lnTo>
                      <a:lnTo>
                        <a:pt x="586" y="931"/>
                      </a:lnTo>
                      <a:lnTo>
                        <a:pt x="588" y="931"/>
                      </a:lnTo>
                      <a:lnTo>
                        <a:pt x="592" y="932"/>
                      </a:lnTo>
                      <a:lnTo>
                        <a:pt x="596" y="933"/>
                      </a:lnTo>
                      <a:lnTo>
                        <a:pt x="598" y="936"/>
                      </a:lnTo>
                      <a:lnTo>
                        <a:pt x="598" y="938"/>
                      </a:lnTo>
                      <a:lnTo>
                        <a:pt x="598" y="939"/>
                      </a:lnTo>
                      <a:lnTo>
                        <a:pt x="595" y="940"/>
                      </a:lnTo>
                      <a:lnTo>
                        <a:pt x="592" y="940"/>
                      </a:lnTo>
                      <a:lnTo>
                        <a:pt x="591" y="942"/>
                      </a:lnTo>
                      <a:lnTo>
                        <a:pt x="590" y="943"/>
                      </a:lnTo>
                      <a:lnTo>
                        <a:pt x="591" y="944"/>
                      </a:lnTo>
                      <a:lnTo>
                        <a:pt x="592" y="945"/>
                      </a:lnTo>
                      <a:lnTo>
                        <a:pt x="592" y="946"/>
                      </a:lnTo>
                      <a:lnTo>
                        <a:pt x="592" y="949"/>
                      </a:lnTo>
                      <a:lnTo>
                        <a:pt x="592" y="950"/>
                      </a:lnTo>
                      <a:lnTo>
                        <a:pt x="593" y="951"/>
                      </a:lnTo>
                      <a:lnTo>
                        <a:pt x="597" y="955"/>
                      </a:lnTo>
                      <a:lnTo>
                        <a:pt x="597" y="957"/>
                      </a:lnTo>
                      <a:lnTo>
                        <a:pt x="597" y="959"/>
                      </a:lnTo>
                      <a:lnTo>
                        <a:pt x="596" y="964"/>
                      </a:lnTo>
                      <a:lnTo>
                        <a:pt x="595" y="969"/>
                      </a:lnTo>
                      <a:lnTo>
                        <a:pt x="595" y="975"/>
                      </a:lnTo>
                      <a:lnTo>
                        <a:pt x="596" y="980"/>
                      </a:lnTo>
                      <a:lnTo>
                        <a:pt x="597" y="983"/>
                      </a:lnTo>
                      <a:lnTo>
                        <a:pt x="597" y="988"/>
                      </a:lnTo>
                      <a:lnTo>
                        <a:pt x="606" y="987"/>
                      </a:lnTo>
                      <a:lnTo>
                        <a:pt x="614" y="983"/>
                      </a:lnTo>
                      <a:lnTo>
                        <a:pt x="628" y="975"/>
                      </a:lnTo>
                      <a:lnTo>
                        <a:pt x="633" y="972"/>
                      </a:lnTo>
                      <a:lnTo>
                        <a:pt x="638" y="971"/>
                      </a:lnTo>
                      <a:lnTo>
                        <a:pt x="644" y="966"/>
                      </a:lnTo>
                      <a:lnTo>
                        <a:pt x="647" y="971"/>
                      </a:lnTo>
                      <a:lnTo>
                        <a:pt x="651" y="974"/>
                      </a:lnTo>
                      <a:lnTo>
                        <a:pt x="654" y="974"/>
                      </a:lnTo>
                      <a:lnTo>
                        <a:pt x="657" y="975"/>
                      </a:lnTo>
                      <a:lnTo>
                        <a:pt x="662" y="977"/>
                      </a:lnTo>
                      <a:lnTo>
                        <a:pt x="668" y="980"/>
                      </a:lnTo>
                      <a:lnTo>
                        <a:pt x="680" y="981"/>
                      </a:lnTo>
                      <a:lnTo>
                        <a:pt x="686" y="983"/>
                      </a:lnTo>
                      <a:lnTo>
                        <a:pt x="689" y="985"/>
                      </a:lnTo>
                      <a:lnTo>
                        <a:pt x="691" y="988"/>
                      </a:lnTo>
                      <a:lnTo>
                        <a:pt x="696" y="993"/>
                      </a:lnTo>
                      <a:lnTo>
                        <a:pt x="703" y="996"/>
                      </a:lnTo>
                      <a:lnTo>
                        <a:pt x="715" y="1000"/>
                      </a:lnTo>
                      <a:lnTo>
                        <a:pt x="719" y="1002"/>
                      </a:lnTo>
                      <a:lnTo>
                        <a:pt x="722" y="1006"/>
                      </a:lnTo>
                      <a:lnTo>
                        <a:pt x="723" y="1009"/>
                      </a:lnTo>
                      <a:lnTo>
                        <a:pt x="723" y="1014"/>
                      </a:lnTo>
                      <a:lnTo>
                        <a:pt x="723" y="1022"/>
                      </a:lnTo>
                      <a:lnTo>
                        <a:pt x="736" y="1025"/>
                      </a:lnTo>
                      <a:lnTo>
                        <a:pt x="742" y="1026"/>
                      </a:lnTo>
                      <a:lnTo>
                        <a:pt x="750" y="1026"/>
                      </a:lnTo>
                      <a:lnTo>
                        <a:pt x="751" y="1026"/>
                      </a:lnTo>
                      <a:lnTo>
                        <a:pt x="752" y="1025"/>
                      </a:lnTo>
                      <a:lnTo>
                        <a:pt x="755" y="1021"/>
                      </a:lnTo>
                      <a:lnTo>
                        <a:pt x="756" y="1017"/>
                      </a:lnTo>
                      <a:lnTo>
                        <a:pt x="758" y="1014"/>
                      </a:lnTo>
                      <a:lnTo>
                        <a:pt x="761" y="1013"/>
                      </a:lnTo>
                      <a:lnTo>
                        <a:pt x="762" y="1013"/>
                      </a:lnTo>
                      <a:lnTo>
                        <a:pt x="765" y="1013"/>
                      </a:lnTo>
                      <a:lnTo>
                        <a:pt x="767" y="1013"/>
                      </a:lnTo>
                      <a:lnTo>
                        <a:pt x="770" y="1008"/>
                      </a:lnTo>
                      <a:lnTo>
                        <a:pt x="772" y="1004"/>
                      </a:lnTo>
                      <a:lnTo>
                        <a:pt x="776" y="995"/>
                      </a:lnTo>
                      <a:lnTo>
                        <a:pt x="778" y="993"/>
                      </a:lnTo>
                      <a:lnTo>
                        <a:pt x="781" y="991"/>
                      </a:lnTo>
                      <a:lnTo>
                        <a:pt x="786" y="990"/>
                      </a:lnTo>
                      <a:lnTo>
                        <a:pt x="790" y="989"/>
                      </a:lnTo>
                      <a:lnTo>
                        <a:pt x="794" y="987"/>
                      </a:lnTo>
                      <a:lnTo>
                        <a:pt x="798" y="984"/>
                      </a:lnTo>
                      <a:lnTo>
                        <a:pt x="800" y="983"/>
                      </a:lnTo>
                      <a:lnTo>
                        <a:pt x="803" y="984"/>
                      </a:lnTo>
                      <a:lnTo>
                        <a:pt x="804" y="985"/>
                      </a:lnTo>
                      <a:lnTo>
                        <a:pt x="807" y="987"/>
                      </a:lnTo>
                      <a:lnTo>
                        <a:pt x="813" y="987"/>
                      </a:lnTo>
                      <a:lnTo>
                        <a:pt x="818" y="987"/>
                      </a:lnTo>
                      <a:lnTo>
                        <a:pt x="823" y="989"/>
                      </a:lnTo>
                      <a:lnTo>
                        <a:pt x="828" y="993"/>
                      </a:lnTo>
                      <a:lnTo>
                        <a:pt x="830" y="993"/>
                      </a:lnTo>
                      <a:lnTo>
                        <a:pt x="832" y="994"/>
                      </a:lnTo>
                      <a:lnTo>
                        <a:pt x="847" y="991"/>
                      </a:lnTo>
                      <a:lnTo>
                        <a:pt x="850" y="990"/>
                      </a:lnTo>
                      <a:lnTo>
                        <a:pt x="854" y="990"/>
                      </a:lnTo>
                      <a:lnTo>
                        <a:pt x="859" y="990"/>
                      </a:lnTo>
                      <a:lnTo>
                        <a:pt x="864" y="989"/>
                      </a:lnTo>
                      <a:lnTo>
                        <a:pt x="869" y="987"/>
                      </a:lnTo>
                      <a:lnTo>
                        <a:pt x="874" y="983"/>
                      </a:lnTo>
                      <a:lnTo>
                        <a:pt x="880" y="976"/>
                      </a:lnTo>
                      <a:lnTo>
                        <a:pt x="885" y="966"/>
                      </a:lnTo>
                      <a:lnTo>
                        <a:pt x="893" y="962"/>
                      </a:lnTo>
                      <a:lnTo>
                        <a:pt x="897" y="959"/>
                      </a:lnTo>
                      <a:lnTo>
                        <a:pt x="898" y="959"/>
                      </a:lnTo>
                      <a:lnTo>
                        <a:pt x="899" y="961"/>
                      </a:lnTo>
                      <a:lnTo>
                        <a:pt x="899" y="964"/>
                      </a:lnTo>
                      <a:lnTo>
                        <a:pt x="897" y="968"/>
                      </a:lnTo>
                      <a:lnTo>
                        <a:pt x="896" y="971"/>
                      </a:lnTo>
                      <a:lnTo>
                        <a:pt x="896" y="972"/>
                      </a:lnTo>
                      <a:lnTo>
                        <a:pt x="897" y="974"/>
                      </a:lnTo>
                      <a:lnTo>
                        <a:pt x="901" y="975"/>
                      </a:lnTo>
                      <a:lnTo>
                        <a:pt x="903" y="976"/>
                      </a:lnTo>
                      <a:lnTo>
                        <a:pt x="905" y="978"/>
                      </a:lnTo>
                      <a:lnTo>
                        <a:pt x="905" y="982"/>
                      </a:lnTo>
                      <a:lnTo>
                        <a:pt x="906" y="988"/>
                      </a:lnTo>
                      <a:lnTo>
                        <a:pt x="906" y="993"/>
                      </a:lnTo>
                      <a:lnTo>
                        <a:pt x="906" y="995"/>
                      </a:lnTo>
                      <a:lnTo>
                        <a:pt x="908" y="995"/>
                      </a:lnTo>
                      <a:lnTo>
                        <a:pt x="912" y="994"/>
                      </a:lnTo>
                      <a:lnTo>
                        <a:pt x="917" y="991"/>
                      </a:lnTo>
                      <a:lnTo>
                        <a:pt x="920" y="991"/>
                      </a:lnTo>
                      <a:lnTo>
                        <a:pt x="922" y="991"/>
                      </a:lnTo>
                      <a:lnTo>
                        <a:pt x="932" y="989"/>
                      </a:lnTo>
                      <a:lnTo>
                        <a:pt x="939" y="988"/>
                      </a:lnTo>
                      <a:lnTo>
                        <a:pt x="946" y="987"/>
                      </a:lnTo>
                      <a:lnTo>
                        <a:pt x="950" y="987"/>
                      </a:lnTo>
                      <a:lnTo>
                        <a:pt x="953" y="985"/>
                      </a:lnTo>
                      <a:lnTo>
                        <a:pt x="953" y="984"/>
                      </a:lnTo>
                      <a:lnTo>
                        <a:pt x="953" y="983"/>
                      </a:lnTo>
                      <a:lnTo>
                        <a:pt x="949" y="977"/>
                      </a:lnTo>
                      <a:lnTo>
                        <a:pt x="948" y="974"/>
                      </a:lnTo>
                      <a:lnTo>
                        <a:pt x="948" y="971"/>
                      </a:lnTo>
                      <a:lnTo>
                        <a:pt x="952" y="966"/>
                      </a:lnTo>
                      <a:lnTo>
                        <a:pt x="952" y="965"/>
                      </a:lnTo>
                      <a:lnTo>
                        <a:pt x="952" y="963"/>
                      </a:lnTo>
                      <a:lnTo>
                        <a:pt x="949" y="961"/>
                      </a:lnTo>
                      <a:lnTo>
                        <a:pt x="946" y="958"/>
                      </a:lnTo>
                      <a:lnTo>
                        <a:pt x="943" y="958"/>
                      </a:lnTo>
                      <a:lnTo>
                        <a:pt x="940" y="959"/>
                      </a:lnTo>
                      <a:lnTo>
                        <a:pt x="938" y="961"/>
                      </a:lnTo>
                      <a:lnTo>
                        <a:pt x="935" y="961"/>
                      </a:lnTo>
                      <a:lnTo>
                        <a:pt x="932" y="957"/>
                      </a:lnTo>
                      <a:lnTo>
                        <a:pt x="930" y="953"/>
                      </a:lnTo>
                      <a:lnTo>
                        <a:pt x="930" y="950"/>
                      </a:lnTo>
                      <a:lnTo>
                        <a:pt x="930" y="945"/>
                      </a:lnTo>
                      <a:lnTo>
                        <a:pt x="932" y="936"/>
                      </a:lnTo>
                      <a:lnTo>
                        <a:pt x="938" y="927"/>
                      </a:lnTo>
                      <a:lnTo>
                        <a:pt x="939" y="926"/>
                      </a:lnTo>
                      <a:lnTo>
                        <a:pt x="941" y="925"/>
                      </a:lnTo>
                      <a:lnTo>
                        <a:pt x="946" y="924"/>
                      </a:lnTo>
                      <a:lnTo>
                        <a:pt x="953" y="920"/>
                      </a:lnTo>
                      <a:lnTo>
                        <a:pt x="955" y="919"/>
                      </a:lnTo>
                      <a:lnTo>
                        <a:pt x="959" y="918"/>
                      </a:lnTo>
                      <a:lnTo>
                        <a:pt x="960" y="919"/>
                      </a:lnTo>
                      <a:lnTo>
                        <a:pt x="962" y="920"/>
                      </a:lnTo>
                      <a:lnTo>
                        <a:pt x="962" y="923"/>
                      </a:lnTo>
                      <a:lnTo>
                        <a:pt x="963" y="924"/>
                      </a:lnTo>
                      <a:lnTo>
                        <a:pt x="965" y="925"/>
                      </a:lnTo>
                      <a:lnTo>
                        <a:pt x="968" y="925"/>
                      </a:lnTo>
                      <a:lnTo>
                        <a:pt x="972" y="924"/>
                      </a:lnTo>
                      <a:lnTo>
                        <a:pt x="977" y="923"/>
                      </a:lnTo>
                      <a:lnTo>
                        <a:pt x="982" y="920"/>
                      </a:lnTo>
                      <a:lnTo>
                        <a:pt x="982" y="918"/>
                      </a:lnTo>
                      <a:lnTo>
                        <a:pt x="982" y="915"/>
                      </a:lnTo>
                      <a:lnTo>
                        <a:pt x="982" y="913"/>
                      </a:lnTo>
                      <a:lnTo>
                        <a:pt x="982" y="911"/>
                      </a:lnTo>
                      <a:lnTo>
                        <a:pt x="982" y="910"/>
                      </a:lnTo>
                      <a:lnTo>
                        <a:pt x="983" y="908"/>
                      </a:lnTo>
                      <a:lnTo>
                        <a:pt x="995" y="910"/>
                      </a:lnTo>
                      <a:lnTo>
                        <a:pt x="1000" y="908"/>
                      </a:lnTo>
                      <a:lnTo>
                        <a:pt x="1004" y="906"/>
                      </a:lnTo>
                      <a:lnTo>
                        <a:pt x="1010" y="900"/>
                      </a:lnTo>
                      <a:lnTo>
                        <a:pt x="1018" y="897"/>
                      </a:lnTo>
                      <a:lnTo>
                        <a:pt x="1025" y="893"/>
                      </a:lnTo>
                      <a:lnTo>
                        <a:pt x="1033" y="891"/>
                      </a:lnTo>
                      <a:lnTo>
                        <a:pt x="1037" y="889"/>
                      </a:lnTo>
                      <a:lnTo>
                        <a:pt x="1040" y="887"/>
                      </a:lnTo>
                      <a:lnTo>
                        <a:pt x="1042" y="883"/>
                      </a:lnTo>
                      <a:lnTo>
                        <a:pt x="1043" y="879"/>
                      </a:lnTo>
                      <a:lnTo>
                        <a:pt x="1043" y="876"/>
                      </a:lnTo>
                      <a:lnTo>
                        <a:pt x="1040" y="874"/>
                      </a:lnTo>
                      <a:lnTo>
                        <a:pt x="1039" y="873"/>
                      </a:lnTo>
                      <a:lnTo>
                        <a:pt x="1039" y="870"/>
                      </a:lnTo>
                      <a:lnTo>
                        <a:pt x="1049" y="856"/>
                      </a:lnTo>
                      <a:lnTo>
                        <a:pt x="1052" y="853"/>
                      </a:lnTo>
                      <a:lnTo>
                        <a:pt x="1053" y="848"/>
                      </a:lnTo>
                      <a:lnTo>
                        <a:pt x="1053" y="844"/>
                      </a:lnTo>
                      <a:lnTo>
                        <a:pt x="1052" y="840"/>
                      </a:lnTo>
                      <a:lnTo>
                        <a:pt x="1051" y="837"/>
                      </a:lnTo>
                      <a:lnTo>
                        <a:pt x="1048" y="836"/>
                      </a:lnTo>
                      <a:lnTo>
                        <a:pt x="1047" y="834"/>
                      </a:lnTo>
                      <a:lnTo>
                        <a:pt x="1045" y="831"/>
                      </a:lnTo>
                      <a:lnTo>
                        <a:pt x="1044" y="828"/>
                      </a:lnTo>
                      <a:lnTo>
                        <a:pt x="1042" y="824"/>
                      </a:lnTo>
                      <a:lnTo>
                        <a:pt x="1040" y="821"/>
                      </a:lnTo>
                      <a:lnTo>
                        <a:pt x="1039" y="817"/>
                      </a:lnTo>
                      <a:lnTo>
                        <a:pt x="1040" y="815"/>
                      </a:lnTo>
                      <a:lnTo>
                        <a:pt x="1043" y="814"/>
                      </a:lnTo>
                      <a:lnTo>
                        <a:pt x="1067" y="810"/>
                      </a:lnTo>
                      <a:lnTo>
                        <a:pt x="1084" y="808"/>
                      </a:lnTo>
                      <a:lnTo>
                        <a:pt x="1085" y="808"/>
                      </a:lnTo>
                      <a:lnTo>
                        <a:pt x="1086" y="806"/>
                      </a:lnTo>
                      <a:lnTo>
                        <a:pt x="1087" y="805"/>
                      </a:lnTo>
                      <a:lnTo>
                        <a:pt x="1087" y="804"/>
                      </a:lnTo>
                      <a:lnTo>
                        <a:pt x="1086" y="802"/>
                      </a:lnTo>
                      <a:lnTo>
                        <a:pt x="1084" y="799"/>
                      </a:lnTo>
                      <a:lnTo>
                        <a:pt x="1082" y="797"/>
                      </a:lnTo>
                      <a:lnTo>
                        <a:pt x="1082" y="789"/>
                      </a:lnTo>
                      <a:lnTo>
                        <a:pt x="1082" y="780"/>
                      </a:lnTo>
                      <a:lnTo>
                        <a:pt x="1084" y="777"/>
                      </a:lnTo>
                      <a:lnTo>
                        <a:pt x="1086" y="773"/>
                      </a:lnTo>
                      <a:lnTo>
                        <a:pt x="1089" y="771"/>
                      </a:lnTo>
                      <a:lnTo>
                        <a:pt x="1094" y="771"/>
                      </a:lnTo>
                      <a:lnTo>
                        <a:pt x="1108" y="771"/>
                      </a:lnTo>
                      <a:lnTo>
                        <a:pt x="1114" y="770"/>
                      </a:lnTo>
                      <a:lnTo>
                        <a:pt x="1122" y="768"/>
                      </a:lnTo>
                      <a:lnTo>
                        <a:pt x="1125" y="767"/>
                      </a:lnTo>
                      <a:lnTo>
                        <a:pt x="1128" y="765"/>
                      </a:lnTo>
                      <a:lnTo>
                        <a:pt x="1129" y="761"/>
                      </a:lnTo>
                      <a:lnTo>
                        <a:pt x="1131" y="758"/>
                      </a:lnTo>
                      <a:lnTo>
                        <a:pt x="1131" y="750"/>
                      </a:lnTo>
                      <a:lnTo>
                        <a:pt x="1131" y="746"/>
                      </a:lnTo>
                      <a:lnTo>
                        <a:pt x="1132" y="741"/>
                      </a:lnTo>
                      <a:lnTo>
                        <a:pt x="1133" y="740"/>
                      </a:lnTo>
                      <a:lnTo>
                        <a:pt x="1134" y="738"/>
                      </a:lnTo>
                      <a:lnTo>
                        <a:pt x="1147" y="732"/>
                      </a:lnTo>
                      <a:lnTo>
                        <a:pt x="1155" y="727"/>
                      </a:lnTo>
                      <a:lnTo>
                        <a:pt x="1161" y="722"/>
                      </a:lnTo>
                      <a:lnTo>
                        <a:pt x="1164" y="721"/>
                      </a:lnTo>
                      <a:lnTo>
                        <a:pt x="1166" y="720"/>
                      </a:lnTo>
                      <a:lnTo>
                        <a:pt x="1170" y="719"/>
                      </a:lnTo>
                      <a:lnTo>
                        <a:pt x="1172" y="718"/>
                      </a:lnTo>
                      <a:lnTo>
                        <a:pt x="1178" y="714"/>
                      </a:lnTo>
                      <a:lnTo>
                        <a:pt x="1184" y="710"/>
                      </a:lnTo>
                      <a:lnTo>
                        <a:pt x="1190" y="709"/>
                      </a:lnTo>
                      <a:lnTo>
                        <a:pt x="1198" y="708"/>
                      </a:lnTo>
                      <a:lnTo>
                        <a:pt x="1207" y="707"/>
                      </a:lnTo>
                      <a:lnTo>
                        <a:pt x="1208" y="707"/>
                      </a:lnTo>
                      <a:lnTo>
                        <a:pt x="1209" y="706"/>
                      </a:lnTo>
                      <a:lnTo>
                        <a:pt x="1209" y="702"/>
                      </a:lnTo>
                      <a:lnTo>
                        <a:pt x="1205" y="696"/>
                      </a:lnTo>
                      <a:lnTo>
                        <a:pt x="1204" y="694"/>
                      </a:lnTo>
                      <a:lnTo>
                        <a:pt x="1204" y="693"/>
                      </a:lnTo>
                      <a:lnTo>
                        <a:pt x="1211" y="689"/>
                      </a:lnTo>
                      <a:lnTo>
                        <a:pt x="1216" y="687"/>
                      </a:lnTo>
                      <a:lnTo>
                        <a:pt x="1222" y="684"/>
                      </a:lnTo>
                      <a:lnTo>
                        <a:pt x="1227" y="681"/>
                      </a:lnTo>
                      <a:lnTo>
                        <a:pt x="121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2" name="Freeform 1162"/>
                <p:cNvSpPr>
                  <a:spLocks/>
                </p:cNvSpPr>
                <p:nvPr/>
              </p:nvSpPr>
              <p:spPr bwMode="auto">
                <a:xfrm>
                  <a:off x="5995965" y="3169566"/>
                  <a:ext cx="85833" cy="125790"/>
                </a:xfrm>
                <a:custGeom>
                  <a:avLst/>
                  <a:gdLst>
                    <a:gd name="T0" fmla="*/ 2147483647 w 63"/>
                    <a:gd name="T1" fmla="*/ 2147483647 h 85"/>
                    <a:gd name="T2" fmla="*/ 2147483647 w 63"/>
                    <a:gd name="T3" fmla="*/ 2147483647 h 85"/>
                    <a:gd name="T4" fmla="*/ 2147483647 w 63"/>
                    <a:gd name="T5" fmla="*/ 2147483647 h 85"/>
                    <a:gd name="T6" fmla="*/ 2147483647 w 63"/>
                    <a:gd name="T7" fmla="*/ 2147483647 h 85"/>
                    <a:gd name="T8" fmla="*/ 2147483647 w 63"/>
                    <a:gd name="T9" fmla="*/ 2147483647 h 85"/>
                    <a:gd name="T10" fmla="*/ 2147483647 w 63"/>
                    <a:gd name="T11" fmla="*/ 2147483647 h 85"/>
                    <a:gd name="T12" fmla="*/ 2147483647 w 63"/>
                    <a:gd name="T13" fmla="*/ 2147483647 h 85"/>
                    <a:gd name="T14" fmla="*/ 2147483647 w 63"/>
                    <a:gd name="T15" fmla="*/ 2147483647 h 85"/>
                    <a:gd name="T16" fmla="*/ 0 w 63"/>
                    <a:gd name="T17" fmla="*/ 2147483647 h 85"/>
                    <a:gd name="T18" fmla="*/ 0 w 63"/>
                    <a:gd name="T19" fmla="*/ 2147483647 h 85"/>
                    <a:gd name="T20" fmla="*/ 2147483647 w 63"/>
                    <a:gd name="T21" fmla="*/ 2147483647 h 85"/>
                    <a:gd name="T22" fmla="*/ 2147483647 w 63"/>
                    <a:gd name="T23" fmla="*/ 2147483647 h 85"/>
                    <a:gd name="T24" fmla="*/ 2147483647 w 63"/>
                    <a:gd name="T25" fmla="*/ 2147483647 h 85"/>
                    <a:gd name="T26" fmla="*/ 2147483647 w 63"/>
                    <a:gd name="T27" fmla="*/ 2147483647 h 85"/>
                    <a:gd name="T28" fmla="*/ 2147483647 w 63"/>
                    <a:gd name="T29" fmla="*/ 2147483647 h 85"/>
                    <a:gd name="T30" fmla="*/ 2147483647 w 63"/>
                    <a:gd name="T31" fmla="*/ 2147483647 h 85"/>
                    <a:gd name="T32" fmla="*/ 2147483647 w 63"/>
                    <a:gd name="T33" fmla="*/ 2147483647 h 85"/>
                    <a:gd name="T34" fmla="*/ 2147483647 w 63"/>
                    <a:gd name="T35" fmla="*/ 2147483647 h 85"/>
                    <a:gd name="T36" fmla="*/ 2147483647 w 63"/>
                    <a:gd name="T37" fmla="*/ 2147483647 h 85"/>
                    <a:gd name="T38" fmla="*/ 2147483647 w 63"/>
                    <a:gd name="T39" fmla="*/ 2147483647 h 85"/>
                    <a:gd name="T40" fmla="*/ 2147483647 w 63"/>
                    <a:gd name="T41" fmla="*/ 2147483647 h 85"/>
                    <a:gd name="T42" fmla="*/ 2147483647 w 63"/>
                    <a:gd name="T43" fmla="*/ 2147483647 h 85"/>
                    <a:gd name="T44" fmla="*/ 2147483647 w 63"/>
                    <a:gd name="T45" fmla="*/ 2147483647 h 85"/>
                    <a:gd name="T46" fmla="*/ 2147483647 w 63"/>
                    <a:gd name="T47" fmla="*/ 2147483647 h 85"/>
                    <a:gd name="T48" fmla="*/ 2147483647 w 63"/>
                    <a:gd name="T49" fmla="*/ 2147483647 h 85"/>
                    <a:gd name="T50" fmla="*/ 2147483647 w 63"/>
                    <a:gd name="T51" fmla="*/ 2147483647 h 85"/>
                    <a:gd name="T52" fmla="*/ 2147483647 w 63"/>
                    <a:gd name="T53" fmla="*/ 2147483647 h 85"/>
                    <a:gd name="T54" fmla="*/ 2147483647 w 63"/>
                    <a:gd name="T55" fmla="*/ 2147483647 h 85"/>
                    <a:gd name="T56" fmla="*/ 2147483647 w 63"/>
                    <a:gd name="T57" fmla="*/ 2147483647 h 85"/>
                    <a:gd name="T58" fmla="*/ 2147483647 w 63"/>
                    <a:gd name="T59" fmla="*/ 2147483647 h 85"/>
                    <a:gd name="T60" fmla="*/ 2147483647 w 63"/>
                    <a:gd name="T61" fmla="*/ 2147483647 h 85"/>
                    <a:gd name="T62" fmla="*/ 2147483647 w 63"/>
                    <a:gd name="T63" fmla="*/ 2147483647 h 85"/>
                    <a:gd name="T64" fmla="*/ 2147483647 w 63"/>
                    <a:gd name="T65" fmla="*/ 2147483647 h 85"/>
                    <a:gd name="T66" fmla="*/ 2147483647 w 63"/>
                    <a:gd name="T67" fmla="*/ 2147483647 h 85"/>
                    <a:gd name="T68" fmla="*/ 2147483647 w 63"/>
                    <a:gd name="T69" fmla="*/ 2147483647 h 85"/>
                    <a:gd name="T70" fmla="*/ 2147483647 w 63"/>
                    <a:gd name="T71" fmla="*/ 2147483647 h 85"/>
                    <a:gd name="T72" fmla="*/ 2147483647 w 63"/>
                    <a:gd name="T73" fmla="*/ 2147483647 h 85"/>
                    <a:gd name="T74" fmla="*/ 2147483647 w 63"/>
                    <a:gd name="T75" fmla="*/ 2147483647 h 85"/>
                    <a:gd name="T76" fmla="*/ 2147483647 w 63"/>
                    <a:gd name="T77" fmla="*/ 2147483647 h 85"/>
                    <a:gd name="T78" fmla="*/ 2147483647 w 63"/>
                    <a:gd name="T79" fmla="*/ 2147483647 h 85"/>
                    <a:gd name="T80" fmla="*/ 2147483647 w 63"/>
                    <a:gd name="T81" fmla="*/ 2147483647 h 85"/>
                    <a:gd name="T82" fmla="*/ 2147483647 w 63"/>
                    <a:gd name="T83" fmla="*/ 2147483647 h 85"/>
                    <a:gd name="T84" fmla="*/ 2147483647 w 63"/>
                    <a:gd name="T85" fmla="*/ 2147483647 h 85"/>
                    <a:gd name="T86" fmla="*/ 2147483647 w 63"/>
                    <a:gd name="T87" fmla="*/ 0 h 85"/>
                    <a:gd name="T88" fmla="*/ 2147483647 w 63"/>
                    <a:gd name="T89" fmla="*/ 2147483647 h 85"/>
                    <a:gd name="T90" fmla="*/ 2147483647 w 63"/>
                    <a:gd name="T91" fmla="*/ 2147483647 h 85"/>
                    <a:gd name="T92" fmla="*/ 2147483647 w 63"/>
                    <a:gd name="T93" fmla="*/ 2147483647 h 85"/>
                    <a:gd name="T94" fmla="*/ 2147483647 w 63"/>
                    <a:gd name="T95" fmla="*/ 2147483647 h 85"/>
                    <a:gd name="T96" fmla="*/ 2147483647 w 63"/>
                    <a:gd name="T97" fmla="*/ 2147483647 h 8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
                    <a:gd name="T148" fmla="*/ 0 h 85"/>
                    <a:gd name="T149" fmla="*/ 63 w 63"/>
                    <a:gd name="T150" fmla="*/ 85 h 8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 h="85">
                      <a:moveTo>
                        <a:pt x="19" y="16"/>
                      </a:moveTo>
                      <a:lnTo>
                        <a:pt x="19" y="16"/>
                      </a:lnTo>
                      <a:lnTo>
                        <a:pt x="20" y="19"/>
                      </a:lnTo>
                      <a:lnTo>
                        <a:pt x="20" y="22"/>
                      </a:lnTo>
                      <a:lnTo>
                        <a:pt x="19" y="24"/>
                      </a:lnTo>
                      <a:lnTo>
                        <a:pt x="16" y="27"/>
                      </a:lnTo>
                      <a:lnTo>
                        <a:pt x="12" y="27"/>
                      </a:lnTo>
                      <a:lnTo>
                        <a:pt x="8" y="28"/>
                      </a:lnTo>
                      <a:lnTo>
                        <a:pt x="6" y="29"/>
                      </a:lnTo>
                      <a:lnTo>
                        <a:pt x="5" y="30"/>
                      </a:lnTo>
                      <a:lnTo>
                        <a:pt x="5" y="34"/>
                      </a:lnTo>
                      <a:lnTo>
                        <a:pt x="5" y="38"/>
                      </a:lnTo>
                      <a:lnTo>
                        <a:pt x="3" y="42"/>
                      </a:lnTo>
                      <a:lnTo>
                        <a:pt x="1" y="44"/>
                      </a:lnTo>
                      <a:lnTo>
                        <a:pt x="0" y="46"/>
                      </a:lnTo>
                      <a:lnTo>
                        <a:pt x="0" y="47"/>
                      </a:lnTo>
                      <a:lnTo>
                        <a:pt x="0" y="63"/>
                      </a:lnTo>
                      <a:lnTo>
                        <a:pt x="1" y="73"/>
                      </a:lnTo>
                      <a:lnTo>
                        <a:pt x="2" y="80"/>
                      </a:lnTo>
                      <a:lnTo>
                        <a:pt x="5" y="82"/>
                      </a:lnTo>
                      <a:lnTo>
                        <a:pt x="8" y="82"/>
                      </a:lnTo>
                      <a:lnTo>
                        <a:pt x="12" y="81"/>
                      </a:lnTo>
                      <a:lnTo>
                        <a:pt x="16" y="79"/>
                      </a:lnTo>
                      <a:lnTo>
                        <a:pt x="19" y="79"/>
                      </a:lnTo>
                      <a:lnTo>
                        <a:pt x="20" y="80"/>
                      </a:lnTo>
                      <a:lnTo>
                        <a:pt x="22" y="82"/>
                      </a:lnTo>
                      <a:lnTo>
                        <a:pt x="28" y="85"/>
                      </a:lnTo>
                      <a:lnTo>
                        <a:pt x="31" y="85"/>
                      </a:lnTo>
                      <a:lnTo>
                        <a:pt x="35" y="82"/>
                      </a:lnTo>
                      <a:lnTo>
                        <a:pt x="40" y="79"/>
                      </a:lnTo>
                      <a:lnTo>
                        <a:pt x="43" y="76"/>
                      </a:lnTo>
                      <a:lnTo>
                        <a:pt x="45" y="73"/>
                      </a:lnTo>
                      <a:lnTo>
                        <a:pt x="45" y="72"/>
                      </a:lnTo>
                      <a:lnTo>
                        <a:pt x="45" y="69"/>
                      </a:lnTo>
                      <a:lnTo>
                        <a:pt x="45" y="68"/>
                      </a:lnTo>
                      <a:lnTo>
                        <a:pt x="45" y="67"/>
                      </a:lnTo>
                      <a:lnTo>
                        <a:pt x="49" y="66"/>
                      </a:lnTo>
                      <a:lnTo>
                        <a:pt x="53" y="66"/>
                      </a:lnTo>
                      <a:lnTo>
                        <a:pt x="55" y="65"/>
                      </a:lnTo>
                      <a:lnTo>
                        <a:pt x="57" y="63"/>
                      </a:lnTo>
                      <a:lnTo>
                        <a:pt x="58" y="60"/>
                      </a:lnTo>
                      <a:lnTo>
                        <a:pt x="58" y="55"/>
                      </a:lnTo>
                      <a:lnTo>
                        <a:pt x="59" y="50"/>
                      </a:lnTo>
                      <a:lnTo>
                        <a:pt x="63" y="43"/>
                      </a:lnTo>
                      <a:lnTo>
                        <a:pt x="61" y="46"/>
                      </a:lnTo>
                      <a:lnTo>
                        <a:pt x="57" y="46"/>
                      </a:lnTo>
                      <a:lnTo>
                        <a:pt x="54" y="46"/>
                      </a:lnTo>
                      <a:lnTo>
                        <a:pt x="50" y="43"/>
                      </a:lnTo>
                      <a:lnTo>
                        <a:pt x="49" y="41"/>
                      </a:lnTo>
                      <a:lnTo>
                        <a:pt x="47" y="38"/>
                      </a:lnTo>
                      <a:lnTo>
                        <a:pt x="47" y="35"/>
                      </a:lnTo>
                      <a:lnTo>
                        <a:pt x="47" y="32"/>
                      </a:lnTo>
                      <a:lnTo>
                        <a:pt x="48" y="29"/>
                      </a:lnTo>
                      <a:lnTo>
                        <a:pt x="52" y="25"/>
                      </a:lnTo>
                      <a:lnTo>
                        <a:pt x="53" y="21"/>
                      </a:lnTo>
                      <a:lnTo>
                        <a:pt x="53" y="19"/>
                      </a:lnTo>
                      <a:lnTo>
                        <a:pt x="50" y="17"/>
                      </a:lnTo>
                      <a:lnTo>
                        <a:pt x="50" y="15"/>
                      </a:lnTo>
                      <a:lnTo>
                        <a:pt x="52" y="12"/>
                      </a:lnTo>
                      <a:lnTo>
                        <a:pt x="54" y="10"/>
                      </a:lnTo>
                      <a:lnTo>
                        <a:pt x="55" y="8"/>
                      </a:lnTo>
                      <a:lnTo>
                        <a:pt x="55" y="5"/>
                      </a:lnTo>
                      <a:lnTo>
                        <a:pt x="55" y="3"/>
                      </a:lnTo>
                      <a:lnTo>
                        <a:pt x="53" y="3"/>
                      </a:lnTo>
                      <a:lnTo>
                        <a:pt x="50" y="5"/>
                      </a:lnTo>
                      <a:lnTo>
                        <a:pt x="48" y="5"/>
                      </a:lnTo>
                      <a:lnTo>
                        <a:pt x="47" y="5"/>
                      </a:lnTo>
                      <a:lnTo>
                        <a:pt x="44" y="2"/>
                      </a:lnTo>
                      <a:lnTo>
                        <a:pt x="44" y="0"/>
                      </a:lnTo>
                      <a:lnTo>
                        <a:pt x="42" y="0"/>
                      </a:lnTo>
                      <a:lnTo>
                        <a:pt x="36" y="2"/>
                      </a:lnTo>
                      <a:lnTo>
                        <a:pt x="33" y="4"/>
                      </a:lnTo>
                      <a:lnTo>
                        <a:pt x="30" y="9"/>
                      </a:lnTo>
                      <a:lnTo>
                        <a:pt x="30" y="14"/>
                      </a:lnTo>
                      <a:lnTo>
                        <a:pt x="26" y="12"/>
                      </a:lnTo>
                      <a:lnTo>
                        <a:pt x="24" y="12"/>
                      </a:lnTo>
                      <a:lnTo>
                        <a:pt x="19"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3" name="Freeform 1163"/>
                <p:cNvSpPr>
                  <a:spLocks/>
                </p:cNvSpPr>
                <p:nvPr/>
              </p:nvSpPr>
              <p:spPr bwMode="auto">
                <a:xfrm>
                  <a:off x="5079924" y="2031548"/>
                  <a:ext cx="1675214" cy="1518349"/>
                </a:xfrm>
                <a:custGeom>
                  <a:avLst/>
                  <a:gdLst>
                    <a:gd name="T0" fmla="*/ 2147483647 w 1227"/>
                    <a:gd name="T1" fmla="*/ 2147483647 h 1026"/>
                    <a:gd name="T2" fmla="*/ 2147483647 w 1227"/>
                    <a:gd name="T3" fmla="*/ 2147483647 h 1026"/>
                    <a:gd name="T4" fmla="*/ 2147483647 w 1227"/>
                    <a:gd name="T5" fmla="*/ 2147483647 h 1026"/>
                    <a:gd name="T6" fmla="*/ 2147483647 w 1227"/>
                    <a:gd name="T7" fmla="*/ 2147483647 h 1026"/>
                    <a:gd name="T8" fmla="*/ 2147483647 w 1227"/>
                    <a:gd name="T9" fmla="*/ 2147483647 h 1026"/>
                    <a:gd name="T10" fmla="*/ 2147483647 w 1227"/>
                    <a:gd name="T11" fmla="*/ 2147483647 h 1026"/>
                    <a:gd name="T12" fmla="*/ 2147483647 w 1227"/>
                    <a:gd name="T13" fmla="*/ 2147483647 h 1026"/>
                    <a:gd name="T14" fmla="*/ 2147483647 w 1227"/>
                    <a:gd name="T15" fmla="*/ 2147483647 h 1026"/>
                    <a:gd name="T16" fmla="*/ 2147483647 w 1227"/>
                    <a:gd name="T17" fmla="*/ 2147483647 h 1026"/>
                    <a:gd name="T18" fmla="*/ 2147483647 w 1227"/>
                    <a:gd name="T19" fmla="*/ 2147483647 h 1026"/>
                    <a:gd name="T20" fmla="*/ 2147483647 w 1227"/>
                    <a:gd name="T21" fmla="*/ 2147483647 h 1026"/>
                    <a:gd name="T22" fmla="*/ 2147483647 w 1227"/>
                    <a:gd name="T23" fmla="*/ 2147483647 h 1026"/>
                    <a:gd name="T24" fmla="*/ 2147483647 w 1227"/>
                    <a:gd name="T25" fmla="*/ 2147483647 h 1026"/>
                    <a:gd name="T26" fmla="*/ 2147483647 w 1227"/>
                    <a:gd name="T27" fmla="*/ 2147483647 h 1026"/>
                    <a:gd name="T28" fmla="*/ 2147483647 w 1227"/>
                    <a:gd name="T29" fmla="*/ 2147483647 h 1026"/>
                    <a:gd name="T30" fmla="*/ 2147483647 w 1227"/>
                    <a:gd name="T31" fmla="*/ 2147483647 h 1026"/>
                    <a:gd name="T32" fmla="*/ 2147483647 w 1227"/>
                    <a:gd name="T33" fmla="*/ 2147483647 h 1026"/>
                    <a:gd name="T34" fmla="*/ 2147483647 w 1227"/>
                    <a:gd name="T35" fmla="*/ 2147483647 h 1026"/>
                    <a:gd name="T36" fmla="*/ 2147483647 w 1227"/>
                    <a:gd name="T37" fmla="*/ 2147483647 h 1026"/>
                    <a:gd name="T38" fmla="*/ 2147483647 w 1227"/>
                    <a:gd name="T39" fmla="*/ 2147483647 h 1026"/>
                    <a:gd name="T40" fmla="*/ 2147483647 w 1227"/>
                    <a:gd name="T41" fmla="*/ 2147483647 h 1026"/>
                    <a:gd name="T42" fmla="*/ 2147483647 w 1227"/>
                    <a:gd name="T43" fmla="*/ 2147483647 h 1026"/>
                    <a:gd name="T44" fmla="*/ 2147483647 w 1227"/>
                    <a:gd name="T45" fmla="*/ 2147483647 h 1026"/>
                    <a:gd name="T46" fmla="*/ 2147483647 w 1227"/>
                    <a:gd name="T47" fmla="*/ 2147483647 h 1026"/>
                    <a:gd name="T48" fmla="*/ 2147483647 w 1227"/>
                    <a:gd name="T49" fmla="*/ 2147483647 h 1026"/>
                    <a:gd name="T50" fmla="*/ 2147483647 w 1227"/>
                    <a:gd name="T51" fmla="*/ 2147483647 h 1026"/>
                    <a:gd name="T52" fmla="*/ 2147483647 w 1227"/>
                    <a:gd name="T53" fmla="*/ 2147483647 h 1026"/>
                    <a:gd name="T54" fmla="*/ 2147483647 w 1227"/>
                    <a:gd name="T55" fmla="*/ 2147483647 h 1026"/>
                    <a:gd name="T56" fmla="*/ 2147483647 w 1227"/>
                    <a:gd name="T57" fmla="*/ 2147483647 h 1026"/>
                    <a:gd name="T58" fmla="*/ 2147483647 w 1227"/>
                    <a:gd name="T59" fmla="*/ 2147483647 h 1026"/>
                    <a:gd name="T60" fmla="*/ 2147483647 w 1227"/>
                    <a:gd name="T61" fmla="*/ 2147483647 h 1026"/>
                    <a:gd name="T62" fmla="*/ 2147483647 w 1227"/>
                    <a:gd name="T63" fmla="*/ 2147483647 h 1026"/>
                    <a:gd name="T64" fmla="*/ 2147483647 w 1227"/>
                    <a:gd name="T65" fmla="*/ 2147483647 h 1026"/>
                    <a:gd name="T66" fmla="*/ 2147483647 w 1227"/>
                    <a:gd name="T67" fmla="*/ 2147483647 h 1026"/>
                    <a:gd name="T68" fmla="*/ 2147483647 w 1227"/>
                    <a:gd name="T69" fmla="*/ 2147483647 h 1026"/>
                    <a:gd name="T70" fmla="*/ 2147483647 w 1227"/>
                    <a:gd name="T71" fmla="*/ 2147483647 h 1026"/>
                    <a:gd name="T72" fmla="*/ 2147483647 w 1227"/>
                    <a:gd name="T73" fmla="*/ 2147483647 h 1026"/>
                    <a:gd name="T74" fmla="*/ 2147483647 w 1227"/>
                    <a:gd name="T75" fmla="*/ 2147483647 h 1026"/>
                    <a:gd name="T76" fmla="*/ 2147483647 w 1227"/>
                    <a:gd name="T77" fmla="*/ 2147483647 h 1026"/>
                    <a:gd name="T78" fmla="*/ 2147483647 w 1227"/>
                    <a:gd name="T79" fmla="*/ 2147483647 h 1026"/>
                    <a:gd name="T80" fmla="*/ 2147483647 w 1227"/>
                    <a:gd name="T81" fmla="*/ 2147483647 h 1026"/>
                    <a:gd name="T82" fmla="*/ 2147483647 w 1227"/>
                    <a:gd name="T83" fmla="*/ 2147483647 h 1026"/>
                    <a:gd name="T84" fmla="*/ 2147483647 w 1227"/>
                    <a:gd name="T85" fmla="*/ 2147483647 h 1026"/>
                    <a:gd name="T86" fmla="*/ 2147483647 w 1227"/>
                    <a:gd name="T87" fmla="*/ 2147483647 h 1026"/>
                    <a:gd name="T88" fmla="*/ 2147483647 w 1227"/>
                    <a:gd name="T89" fmla="*/ 2147483647 h 1026"/>
                    <a:gd name="T90" fmla="*/ 2147483647 w 1227"/>
                    <a:gd name="T91" fmla="*/ 2147483647 h 1026"/>
                    <a:gd name="T92" fmla="*/ 2147483647 w 1227"/>
                    <a:gd name="T93" fmla="*/ 2147483647 h 1026"/>
                    <a:gd name="T94" fmla="*/ 2147483647 w 1227"/>
                    <a:gd name="T95" fmla="*/ 2147483647 h 1026"/>
                    <a:gd name="T96" fmla="*/ 2147483647 w 1227"/>
                    <a:gd name="T97" fmla="*/ 2147483647 h 1026"/>
                    <a:gd name="T98" fmla="*/ 2147483647 w 1227"/>
                    <a:gd name="T99" fmla="*/ 2147483647 h 1026"/>
                    <a:gd name="T100" fmla="*/ 2147483647 w 1227"/>
                    <a:gd name="T101" fmla="*/ 2147483647 h 1026"/>
                    <a:gd name="T102" fmla="*/ 2147483647 w 1227"/>
                    <a:gd name="T103" fmla="*/ 2147483647 h 1026"/>
                    <a:gd name="T104" fmla="*/ 2147483647 w 1227"/>
                    <a:gd name="T105" fmla="*/ 2147483647 h 1026"/>
                    <a:gd name="T106" fmla="*/ 2147483647 w 1227"/>
                    <a:gd name="T107" fmla="*/ 2147483647 h 1026"/>
                    <a:gd name="T108" fmla="*/ 2147483647 w 1227"/>
                    <a:gd name="T109" fmla="*/ 2147483647 h 1026"/>
                    <a:gd name="T110" fmla="*/ 2147483647 w 1227"/>
                    <a:gd name="T111" fmla="*/ 2147483647 h 1026"/>
                    <a:gd name="T112" fmla="*/ 2147483647 w 1227"/>
                    <a:gd name="T113" fmla="*/ 2147483647 h 1026"/>
                    <a:gd name="T114" fmla="*/ 2147483647 w 1227"/>
                    <a:gd name="T115" fmla="*/ 2147483647 h 1026"/>
                    <a:gd name="T116" fmla="*/ 2147483647 w 1227"/>
                    <a:gd name="T117" fmla="*/ 2147483647 h 1026"/>
                    <a:gd name="T118" fmla="*/ 2147483647 w 1227"/>
                    <a:gd name="T119" fmla="*/ 2147483647 h 1026"/>
                    <a:gd name="T120" fmla="*/ 2147483647 w 1227"/>
                    <a:gd name="T121" fmla="*/ 2147483647 h 1026"/>
                    <a:gd name="T122" fmla="*/ 2147483647 w 1227"/>
                    <a:gd name="T123" fmla="*/ 2147483647 h 1026"/>
                    <a:gd name="T124" fmla="*/ 2147483647 w 1227"/>
                    <a:gd name="T125" fmla="*/ 2147483647 h 10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27"/>
                    <a:gd name="T190" fmla="*/ 0 h 1026"/>
                    <a:gd name="T191" fmla="*/ 1227 w 1227"/>
                    <a:gd name="T192" fmla="*/ 1026 h 10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27" h="1026">
                      <a:moveTo>
                        <a:pt x="1215" y="0"/>
                      </a:moveTo>
                      <a:lnTo>
                        <a:pt x="1215" y="0"/>
                      </a:lnTo>
                      <a:lnTo>
                        <a:pt x="1208" y="1"/>
                      </a:lnTo>
                      <a:lnTo>
                        <a:pt x="1200" y="5"/>
                      </a:lnTo>
                      <a:lnTo>
                        <a:pt x="1194" y="7"/>
                      </a:lnTo>
                      <a:lnTo>
                        <a:pt x="1186" y="10"/>
                      </a:lnTo>
                      <a:lnTo>
                        <a:pt x="1179" y="12"/>
                      </a:lnTo>
                      <a:lnTo>
                        <a:pt x="1172" y="14"/>
                      </a:lnTo>
                      <a:lnTo>
                        <a:pt x="1167" y="14"/>
                      </a:lnTo>
                      <a:lnTo>
                        <a:pt x="1165" y="15"/>
                      </a:lnTo>
                      <a:lnTo>
                        <a:pt x="1162" y="17"/>
                      </a:lnTo>
                      <a:lnTo>
                        <a:pt x="1159" y="15"/>
                      </a:lnTo>
                      <a:lnTo>
                        <a:pt x="1157" y="14"/>
                      </a:lnTo>
                      <a:lnTo>
                        <a:pt x="1154" y="13"/>
                      </a:lnTo>
                      <a:lnTo>
                        <a:pt x="1154" y="14"/>
                      </a:lnTo>
                      <a:lnTo>
                        <a:pt x="1152" y="17"/>
                      </a:lnTo>
                      <a:lnTo>
                        <a:pt x="1151" y="20"/>
                      </a:lnTo>
                      <a:lnTo>
                        <a:pt x="1148" y="24"/>
                      </a:lnTo>
                      <a:lnTo>
                        <a:pt x="1146" y="25"/>
                      </a:lnTo>
                      <a:lnTo>
                        <a:pt x="1143" y="27"/>
                      </a:lnTo>
                      <a:lnTo>
                        <a:pt x="1140" y="29"/>
                      </a:lnTo>
                      <a:lnTo>
                        <a:pt x="1139" y="31"/>
                      </a:lnTo>
                      <a:lnTo>
                        <a:pt x="1137" y="32"/>
                      </a:lnTo>
                      <a:lnTo>
                        <a:pt x="1135" y="33"/>
                      </a:lnTo>
                      <a:lnTo>
                        <a:pt x="1133" y="32"/>
                      </a:lnTo>
                      <a:lnTo>
                        <a:pt x="1130" y="32"/>
                      </a:lnTo>
                      <a:lnTo>
                        <a:pt x="1128" y="32"/>
                      </a:lnTo>
                      <a:lnTo>
                        <a:pt x="1126" y="33"/>
                      </a:lnTo>
                      <a:lnTo>
                        <a:pt x="1128" y="36"/>
                      </a:lnTo>
                      <a:lnTo>
                        <a:pt x="1130" y="40"/>
                      </a:lnTo>
                      <a:lnTo>
                        <a:pt x="1133" y="46"/>
                      </a:lnTo>
                      <a:lnTo>
                        <a:pt x="1133" y="47"/>
                      </a:lnTo>
                      <a:lnTo>
                        <a:pt x="1132" y="50"/>
                      </a:lnTo>
                      <a:lnTo>
                        <a:pt x="1132" y="52"/>
                      </a:lnTo>
                      <a:lnTo>
                        <a:pt x="1133" y="53"/>
                      </a:lnTo>
                      <a:lnTo>
                        <a:pt x="1135" y="55"/>
                      </a:lnTo>
                      <a:lnTo>
                        <a:pt x="1138" y="56"/>
                      </a:lnTo>
                      <a:lnTo>
                        <a:pt x="1139" y="58"/>
                      </a:lnTo>
                      <a:lnTo>
                        <a:pt x="1140" y="63"/>
                      </a:lnTo>
                      <a:lnTo>
                        <a:pt x="1142" y="66"/>
                      </a:lnTo>
                      <a:lnTo>
                        <a:pt x="1144" y="70"/>
                      </a:lnTo>
                      <a:lnTo>
                        <a:pt x="1144" y="71"/>
                      </a:lnTo>
                      <a:lnTo>
                        <a:pt x="1143" y="72"/>
                      </a:lnTo>
                      <a:lnTo>
                        <a:pt x="1139" y="72"/>
                      </a:lnTo>
                      <a:lnTo>
                        <a:pt x="1137" y="71"/>
                      </a:lnTo>
                      <a:lnTo>
                        <a:pt x="1133" y="72"/>
                      </a:lnTo>
                      <a:lnTo>
                        <a:pt x="1129" y="75"/>
                      </a:lnTo>
                      <a:lnTo>
                        <a:pt x="1128" y="75"/>
                      </a:lnTo>
                      <a:lnTo>
                        <a:pt x="1126" y="74"/>
                      </a:lnTo>
                      <a:lnTo>
                        <a:pt x="1125" y="72"/>
                      </a:lnTo>
                      <a:lnTo>
                        <a:pt x="1124" y="70"/>
                      </a:lnTo>
                      <a:lnTo>
                        <a:pt x="1125" y="66"/>
                      </a:lnTo>
                      <a:lnTo>
                        <a:pt x="1128" y="64"/>
                      </a:lnTo>
                      <a:lnTo>
                        <a:pt x="1128" y="62"/>
                      </a:lnTo>
                      <a:lnTo>
                        <a:pt x="1126" y="61"/>
                      </a:lnTo>
                      <a:lnTo>
                        <a:pt x="1121" y="62"/>
                      </a:lnTo>
                      <a:lnTo>
                        <a:pt x="1119" y="62"/>
                      </a:lnTo>
                      <a:lnTo>
                        <a:pt x="1116" y="62"/>
                      </a:lnTo>
                      <a:lnTo>
                        <a:pt x="1111" y="61"/>
                      </a:lnTo>
                      <a:lnTo>
                        <a:pt x="1106" y="61"/>
                      </a:lnTo>
                      <a:lnTo>
                        <a:pt x="1095" y="62"/>
                      </a:lnTo>
                      <a:lnTo>
                        <a:pt x="1085" y="63"/>
                      </a:lnTo>
                      <a:lnTo>
                        <a:pt x="1079" y="63"/>
                      </a:lnTo>
                      <a:lnTo>
                        <a:pt x="1074" y="63"/>
                      </a:lnTo>
                      <a:lnTo>
                        <a:pt x="1069" y="62"/>
                      </a:lnTo>
                      <a:lnTo>
                        <a:pt x="1066" y="62"/>
                      </a:lnTo>
                      <a:lnTo>
                        <a:pt x="1062" y="63"/>
                      </a:lnTo>
                      <a:lnTo>
                        <a:pt x="1060" y="66"/>
                      </a:lnTo>
                      <a:lnTo>
                        <a:pt x="1059" y="72"/>
                      </a:lnTo>
                      <a:lnTo>
                        <a:pt x="1060" y="78"/>
                      </a:lnTo>
                      <a:lnTo>
                        <a:pt x="1062" y="83"/>
                      </a:lnTo>
                      <a:lnTo>
                        <a:pt x="1064" y="88"/>
                      </a:lnTo>
                      <a:lnTo>
                        <a:pt x="1067" y="90"/>
                      </a:lnTo>
                      <a:lnTo>
                        <a:pt x="1069" y="91"/>
                      </a:lnTo>
                      <a:lnTo>
                        <a:pt x="1077" y="93"/>
                      </a:lnTo>
                      <a:lnTo>
                        <a:pt x="1079" y="94"/>
                      </a:lnTo>
                      <a:lnTo>
                        <a:pt x="1083" y="96"/>
                      </a:lnTo>
                      <a:lnTo>
                        <a:pt x="1085" y="98"/>
                      </a:lnTo>
                      <a:lnTo>
                        <a:pt x="1085" y="102"/>
                      </a:lnTo>
                      <a:lnTo>
                        <a:pt x="1086" y="103"/>
                      </a:lnTo>
                      <a:lnTo>
                        <a:pt x="1086" y="104"/>
                      </a:lnTo>
                      <a:lnTo>
                        <a:pt x="1088" y="107"/>
                      </a:lnTo>
                      <a:lnTo>
                        <a:pt x="1097" y="120"/>
                      </a:lnTo>
                      <a:lnTo>
                        <a:pt x="1101" y="127"/>
                      </a:lnTo>
                      <a:lnTo>
                        <a:pt x="1106" y="133"/>
                      </a:lnTo>
                      <a:lnTo>
                        <a:pt x="1107" y="136"/>
                      </a:lnTo>
                      <a:lnTo>
                        <a:pt x="1107" y="139"/>
                      </a:lnTo>
                      <a:lnTo>
                        <a:pt x="1105" y="142"/>
                      </a:lnTo>
                      <a:lnTo>
                        <a:pt x="1102" y="144"/>
                      </a:lnTo>
                      <a:lnTo>
                        <a:pt x="1095" y="142"/>
                      </a:lnTo>
                      <a:lnTo>
                        <a:pt x="1087" y="141"/>
                      </a:lnTo>
                      <a:lnTo>
                        <a:pt x="1085" y="140"/>
                      </a:lnTo>
                      <a:lnTo>
                        <a:pt x="1085" y="139"/>
                      </a:lnTo>
                      <a:lnTo>
                        <a:pt x="1085" y="134"/>
                      </a:lnTo>
                      <a:lnTo>
                        <a:pt x="1090" y="125"/>
                      </a:lnTo>
                      <a:lnTo>
                        <a:pt x="1090" y="121"/>
                      </a:lnTo>
                      <a:lnTo>
                        <a:pt x="1087" y="120"/>
                      </a:lnTo>
                      <a:lnTo>
                        <a:pt x="1085" y="119"/>
                      </a:lnTo>
                      <a:lnTo>
                        <a:pt x="1081" y="119"/>
                      </a:lnTo>
                      <a:lnTo>
                        <a:pt x="1076" y="119"/>
                      </a:lnTo>
                      <a:lnTo>
                        <a:pt x="1072" y="119"/>
                      </a:lnTo>
                      <a:lnTo>
                        <a:pt x="1069" y="119"/>
                      </a:lnTo>
                      <a:lnTo>
                        <a:pt x="1064" y="115"/>
                      </a:lnTo>
                      <a:lnTo>
                        <a:pt x="1053" y="101"/>
                      </a:lnTo>
                      <a:lnTo>
                        <a:pt x="1046" y="95"/>
                      </a:lnTo>
                      <a:lnTo>
                        <a:pt x="1043" y="93"/>
                      </a:lnTo>
                      <a:lnTo>
                        <a:pt x="1039" y="91"/>
                      </a:lnTo>
                      <a:lnTo>
                        <a:pt x="1031" y="90"/>
                      </a:lnTo>
                      <a:lnTo>
                        <a:pt x="1024" y="89"/>
                      </a:lnTo>
                      <a:lnTo>
                        <a:pt x="1017" y="89"/>
                      </a:lnTo>
                      <a:lnTo>
                        <a:pt x="1010" y="91"/>
                      </a:lnTo>
                      <a:lnTo>
                        <a:pt x="1005" y="95"/>
                      </a:lnTo>
                      <a:lnTo>
                        <a:pt x="1003" y="96"/>
                      </a:lnTo>
                      <a:lnTo>
                        <a:pt x="1002" y="98"/>
                      </a:lnTo>
                      <a:lnTo>
                        <a:pt x="1003" y="101"/>
                      </a:lnTo>
                      <a:lnTo>
                        <a:pt x="1005" y="102"/>
                      </a:lnTo>
                      <a:lnTo>
                        <a:pt x="1008" y="103"/>
                      </a:lnTo>
                      <a:lnTo>
                        <a:pt x="1013" y="104"/>
                      </a:lnTo>
                      <a:lnTo>
                        <a:pt x="1017" y="107"/>
                      </a:lnTo>
                      <a:lnTo>
                        <a:pt x="1019" y="109"/>
                      </a:lnTo>
                      <a:lnTo>
                        <a:pt x="1017" y="111"/>
                      </a:lnTo>
                      <a:lnTo>
                        <a:pt x="1016" y="114"/>
                      </a:lnTo>
                      <a:lnTo>
                        <a:pt x="1013" y="115"/>
                      </a:lnTo>
                      <a:lnTo>
                        <a:pt x="1011" y="116"/>
                      </a:lnTo>
                      <a:lnTo>
                        <a:pt x="1007" y="115"/>
                      </a:lnTo>
                      <a:lnTo>
                        <a:pt x="1002" y="113"/>
                      </a:lnTo>
                      <a:lnTo>
                        <a:pt x="992" y="107"/>
                      </a:lnTo>
                      <a:lnTo>
                        <a:pt x="989" y="106"/>
                      </a:lnTo>
                      <a:lnTo>
                        <a:pt x="987" y="107"/>
                      </a:lnTo>
                      <a:lnTo>
                        <a:pt x="984" y="108"/>
                      </a:lnTo>
                      <a:lnTo>
                        <a:pt x="983" y="110"/>
                      </a:lnTo>
                      <a:lnTo>
                        <a:pt x="982" y="116"/>
                      </a:lnTo>
                      <a:lnTo>
                        <a:pt x="983" y="121"/>
                      </a:lnTo>
                      <a:lnTo>
                        <a:pt x="984" y="126"/>
                      </a:lnTo>
                      <a:lnTo>
                        <a:pt x="987" y="128"/>
                      </a:lnTo>
                      <a:lnTo>
                        <a:pt x="992" y="129"/>
                      </a:lnTo>
                      <a:lnTo>
                        <a:pt x="997" y="130"/>
                      </a:lnTo>
                      <a:lnTo>
                        <a:pt x="1007" y="133"/>
                      </a:lnTo>
                      <a:lnTo>
                        <a:pt x="1012" y="134"/>
                      </a:lnTo>
                      <a:lnTo>
                        <a:pt x="1016" y="136"/>
                      </a:lnTo>
                      <a:lnTo>
                        <a:pt x="1025" y="142"/>
                      </a:lnTo>
                      <a:lnTo>
                        <a:pt x="1027" y="146"/>
                      </a:lnTo>
                      <a:lnTo>
                        <a:pt x="1027" y="148"/>
                      </a:lnTo>
                      <a:lnTo>
                        <a:pt x="1026" y="151"/>
                      </a:lnTo>
                      <a:lnTo>
                        <a:pt x="1025" y="151"/>
                      </a:lnTo>
                      <a:lnTo>
                        <a:pt x="1021" y="149"/>
                      </a:lnTo>
                      <a:lnTo>
                        <a:pt x="1019" y="149"/>
                      </a:lnTo>
                      <a:lnTo>
                        <a:pt x="1016" y="151"/>
                      </a:lnTo>
                      <a:lnTo>
                        <a:pt x="1013" y="152"/>
                      </a:lnTo>
                      <a:lnTo>
                        <a:pt x="1012" y="151"/>
                      </a:lnTo>
                      <a:lnTo>
                        <a:pt x="1007" y="146"/>
                      </a:lnTo>
                      <a:lnTo>
                        <a:pt x="1003" y="142"/>
                      </a:lnTo>
                      <a:lnTo>
                        <a:pt x="997" y="142"/>
                      </a:lnTo>
                      <a:lnTo>
                        <a:pt x="992" y="144"/>
                      </a:lnTo>
                      <a:lnTo>
                        <a:pt x="988" y="144"/>
                      </a:lnTo>
                      <a:lnTo>
                        <a:pt x="987" y="141"/>
                      </a:lnTo>
                      <a:lnTo>
                        <a:pt x="978" y="134"/>
                      </a:lnTo>
                      <a:lnTo>
                        <a:pt x="968" y="129"/>
                      </a:lnTo>
                      <a:lnTo>
                        <a:pt x="965" y="127"/>
                      </a:lnTo>
                      <a:lnTo>
                        <a:pt x="963" y="123"/>
                      </a:lnTo>
                      <a:lnTo>
                        <a:pt x="961" y="119"/>
                      </a:lnTo>
                      <a:lnTo>
                        <a:pt x="960" y="114"/>
                      </a:lnTo>
                      <a:lnTo>
                        <a:pt x="961" y="104"/>
                      </a:lnTo>
                      <a:lnTo>
                        <a:pt x="961" y="95"/>
                      </a:lnTo>
                      <a:lnTo>
                        <a:pt x="961" y="93"/>
                      </a:lnTo>
                      <a:lnTo>
                        <a:pt x="960" y="89"/>
                      </a:lnTo>
                      <a:lnTo>
                        <a:pt x="958" y="88"/>
                      </a:lnTo>
                      <a:lnTo>
                        <a:pt x="955" y="85"/>
                      </a:lnTo>
                      <a:lnTo>
                        <a:pt x="954" y="84"/>
                      </a:lnTo>
                      <a:lnTo>
                        <a:pt x="954" y="83"/>
                      </a:lnTo>
                      <a:lnTo>
                        <a:pt x="954" y="79"/>
                      </a:lnTo>
                      <a:lnTo>
                        <a:pt x="953" y="78"/>
                      </a:lnTo>
                      <a:lnTo>
                        <a:pt x="951" y="77"/>
                      </a:lnTo>
                      <a:lnTo>
                        <a:pt x="950" y="78"/>
                      </a:lnTo>
                      <a:lnTo>
                        <a:pt x="950" y="79"/>
                      </a:lnTo>
                      <a:lnTo>
                        <a:pt x="950" y="82"/>
                      </a:lnTo>
                      <a:lnTo>
                        <a:pt x="951" y="91"/>
                      </a:lnTo>
                      <a:lnTo>
                        <a:pt x="949" y="100"/>
                      </a:lnTo>
                      <a:lnTo>
                        <a:pt x="945" y="108"/>
                      </a:lnTo>
                      <a:lnTo>
                        <a:pt x="937" y="115"/>
                      </a:lnTo>
                      <a:lnTo>
                        <a:pt x="933" y="119"/>
                      </a:lnTo>
                      <a:lnTo>
                        <a:pt x="931" y="123"/>
                      </a:lnTo>
                      <a:lnTo>
                        <a:pt x="930" y="128"/>
                      </a:lnTo>
                      <a:lnTo>
                        <a:pt x="930" y="133"/>
                      </a:lnTo>
                      <a:lnTo>
                        <a:pt x="931" y="136"/>
                      </a:lnTo>
                      <a:lnTo>
                        <a:pt x="935" y="140"/>
                      </a:lnTo>
                      <a:lnTo>
                        <a:pt x="942" y="144"/>
                      </a:lnTo>
                      <a:lnTo>
                        <a:pt x="944" y="146"/>
                      </a:lnTo>
                      <a:lnTo>
                        <a:pt x="944" y="147"/>
                      </a:lnTo>
                      <a:lnTo>
                        <a:pt x="942" y="153"/>
                      </a:lnTo>
                      <a:lnTo>
                        <a:pt x="940" y="158"/>
                      </a:lnTo>
                      <a:lnTo>
                        <a:pt x="939" y="162"/>
                      </a:lnTo>
                      <a:lnTo>
                        <a:pt x="937" y="171"/>
                      </a:lnTo>
                      <a:lnTo>
                        <a:pt x="937" y="179"/>
                      </a:lnTo>
                      <a:lnTo>
                        <a:pt x="939" y="186"/>
                      </a:lnTo>
                      <a:lnTo>
                        <a:pt x="942" y="193"/>
                      </a:lnTo>
                      <a:lnTo>
                        <a:pt x="944" y="194"/>
                      </a:lnTo>
                      <a:lnTo>
                        <a:pt x="946" y="194"/>
                      </a:lnTo>
                      <a:lnTo>
                        <a:pt x="950" y="194"/>
                      </a:lnTo>
                      <a:lnTo>
                        <a:pt x="951" y="194"/>
                      </a:lnTo>
                      <a:lnTo>
                        <a:pt x="953" y="196"/>
                      </a:lnTo>
                      <a:lnTo>
                        <a:pt x="955" y="200"/>
                      </a:lnTo>
                      <a:lnTo>
                        <a:pt x="956" y="204"/>
                      </a:lnTo>
                      <a:lnTo>
                        <a:pt x="956" y="206"/>
                      </a:lnTo>
                      <a:lnTo>
                        <a:pt x="954" y="208"/>
                      </a:lnTo>
                      <a:lnTo>
                        <a:pt x="953" y="209"/>
                      </a:lnTo>
                      <a:lnTo>
                        <a:pt x="949" y="208"/>
                      </a:lnTo>
                      <a:lnTo>
                        <a:pt x="947" y="206"/>
                      </a:lnTo>
                      <a:lnTo>
                        <a:pt x="946" y="206"/>
                      </a:lnTo>
                      <a:lnTo>
                        <a:pt x="946" y="208"/>
                      </a:lnTo>
                      <a:lnTo>
                        <a:pt x="947" y="216"/>
                      </a:lnTo>
                      <a:lnTo>
                        <a:pt x="950" y="225"/>
                      </a:lnTo>
                      <a:lnTo>
                        <a:pt x="951" y="234"/>
                      </a:lnTo>
                      <a:lnTo>
                        <a:pt x="951" y="238"/>
                      </a:lnTo>
                      <a:lnTo>
                        <a:pt x="950" y="242"/>
                      </a:lnTo>
                      <a:lnTo>
                        <a:pt x="949" y="241"/>
                      </a:lnTo>
                      <a:lnTo>
                        <a:pt x="947" y="240"/>
                      </a:lnTo>
                      <a:lnTo>
                        <a:pt x="945" y="240"/>
                      </a:lnTo>
                      <a:lnTo>
                        <a:pt x="944" y="241"/>
                      </a:lnTo>
                      <a:lnTo>
                        <a:pt x="942" y="244"/>
                      </a:lnTo>
                      <a:lnTo>
                        <a:pt x="940" y="248"/>
                      </a:lnTo>
                      <a:lnTo>
                        <a:pt x="940" y="253"/>
                      </a:lnTo>
                      <a:lnTo>
                        <a:pt x="940" y="256"/>
                      </a:lnTo>
                      <a:lnTo>
                        <a:pt x="941" y="262"/>
                      </a:lnTo>
                      <a:lnTo>
                        <a:pt x="942" y="264"/>
                      </a:lnTo>
                      <a:lnTo>
                        <a:pt x="941" y="266"/>
                      </a:lnTo>
                      <a:lnTo>
                        <a:pt x="936" y="268"/>
                      </a:lnTo>
                      <a:lnTo>
                        <a:pt x="931" y="268"/>
                      </a:lnTo>
                      <a:lnTo>
                        <a:pt x="921" y="268"/>
                      </a:lnTo>
                      <a:lnTo>
                        <a:pt x="916" y="269"/>
                      </a:lnTo>
                      <a:lnTo>
                        <a:pt x="912" y="269"/>
                      </a:lnTo>
                      <a:lnTo>
                        <a:pt x="909" y="272"/>
                      </a:lnTo>
                      <a:lnTo>
                        <a:pt x="907" y="275"/>
                      </a:lnTo>
                      <a:lnTo>
                        <a:pt x="908" y="279"/>
                      </a:lnTo>
                      <a:lnTo>
                        <a:pt x="911" y="282"/>
                      </a:lnTo>
                      <a:lnTo>
                        <a:pt x="913" y="285"/>
                      </a:lnTo>
                      <a:lnTo>
                        <a:pt x="913" y="286"/>
                      </a:lnTo>
                      <a:lnTo>
                        <a:pt x="912" y="287"/>
                      </a:lnTo>
                      <a:lnTo>
                        <a:pt x="911" y="287"/>
                      </a:lnTo>
                      <a:lnTo>
                        <a:pt x="908" y="287"/>
                      </a:lnTo>
                      <a:lnTo>
                        <a:pt x="904" y="285"/>
                      </a:lnTo>
                      <a:lnTo>
                        <a:pt x="900" y="282"/>
                      </a:lnTo>
                      <a:lnTo>
                        <a:pt x="897" y="280"/>
                      </a:lnTo>
                      <a:lnTo>
                        <a:pt x="892" y="279"/>
                      </a:lnTo>
                      <a:lnTo>
                        <a:pt x="889" y="279"/>
                      </a:lnTo>
                      <a:lnTo>
                        <a:pt x="886" y="280"/>
                      </a:lnTo>
                      <a:lnTo>
                        <a:pt x="879" y="280"/>
                      </a:lnTo>
                      <a:lnTo>
                        <a:pt x="873" y="277"/>
                      </a:lnTo>
                      <a:lnTo>
                        <a:pt x="866" y="274"/>
                      </a:lnTo>
                      <a:lnTo>
                        <a:pt x="862" y="267"/>
                      </a:lnTo>
                      <a:lnTo>
                        <a:pt x="875" y="268"/>
                      </a:lnTo>
                      <a:lnTo>
                        <a:pt x="881" y="268"/>
                      </a:lnTo>
                      <a:lnTo>
                        <a:pt x="888" y="267"/>
                      </a:lnTo>
                      <a:lnTo>
                        <a:pt x="894" y="267"/>
                      </a:lnTo>
                      <a:lnTo>
                        <a:pt x="900" y="264"/>
                      </a:lnTo>
                      <a:lnTo>
                        <a:pt x="906" y="260"/>
                      </a:lnTo>
                      <a:lnTo>
                        <a:pt x="908" y="254"/>
                      </a:lnTo>
                      <a:lnTo>
                        <a:pt x="912" y="250"/>
                      </a:lnTo>
                      <a:lnTo>
                        <a:pt x="916" y="248"/>
                      </a:lnTo>
                      <a:lnTo>
                        <a:pt x="919" y="245"/>
                      </a:lnTo>
                      <a:lnTo>
                        <a:pt x="923" y="243"/>
                      </a:lnTo>
                      <a:lnTo>
                        <a:pt x="925" y="241"/>
                      </a:lnTo>
                      <a:lnTo>
                        <a:pt x="925" y="238"/>
                      </a:lnTo>
                      <a:lnTo>
                        <a:pt x="925" y="234"/>
                      </a:lnTo>
                      <a:lnTo>
                        <a:pt x="923" y="228"/>
                      </a:lnTo>
                      <a:lnTo>
                        <a:pt x="923" y="223"/>
                      </a:lnTo>
                      <a:lnTo>
                        <a:pt x="923" y="219"/>
                      </a:lnTo>
                      <a:lnTo>
                        <a:pt x="922" y="216"/>
                      </a:lnTo>
                      <a:lnTo>
                        <a:pt x="919" y="213"/>
                      </a:lnTo>
                      <a:lnTo>
                        <a:pt x="916" y="211"/>
                      </a:lnTo>
                      <a:lnTo>
                        <a:pt x="913" y="208"/>
                      </a:lnTo>
                      <a:lnTo>
                        <a:pt x="911" y="204"/>
                      </a:lnTo>
                      <a:lnTo>
                        <a:pt x="911" y="202"/>
                      </a:lnTo>
                      <a:lnTo>
                        <a:pt x="912" y="199"/>
                      </a:lnTo>
                      <a:lnTo>
                        <a:pt x="913" y="197"/>
                      </a:lnTo>
                      <a:lnTo>
                        <a:pt x="912" y="194"/>
                      </a:lnTo>
                      <a:lnTo>
                        <a:pt x="909" y="187"/>
                      </a:lnTo>
                      <a:lnTo>
                        <a:pt x="908" y="180"/>
                      </a:lnTo>
                      <a:lnTo>
                        <a:pt x="909" y="173"/>
                      </a:lnTo>
                      <a:lnTo>
                        <a:pt x="913" y="165"/>
                      </a:lnTo>
                      <a:lnTo>
                        <a:pt x="914" y="162"/>
                      </a:lnTo>
                      <a:lnTo>
                        <a:pt x="914" y="159"/>
                      </a:lnTo>
                      <a:lnTo>
                        <a:pt x="913" y="153"/>
                      </a:lnTo>
                      <a:lnTo>
                        <a:pt x="909" y="147"/>
                      </a:lnTo>
                      <a:lnTo>
                        <a:pt x="904" y="141"/>
                      </a:lnTo>
                      <a:lnTo>
                        <a:pt x="903" y="139"/>
                      </a:lnTo>
                      <a:lnTo>
                        <a:pt x="902" y="136"/>
                      </a:lnTo>
                      <a:lnTo>
                        <a:pt x="903" y="132"/>
                      </a:lnTo>
                      <a:lnTo>
                        <a:pt x="906" y="126"/>
                      </a:lnTo>
                      <a:lnTo>
                        <a:pt x="908" y="121"/>
                      </a:lnTo>
                      <a:lnTo>
                        <a:pt x="909" y="113"/>
                      </a:lnTo>
                      <a:lnTo>
                        <a:pt x="912" y="107"/>
                      </a:lnTo>
                      <a:lnTo>
                        <a:pt x="916" y="101"/>
                      </a:lnTo>
                      <a:lnTo>
                        <a:pt x="921" y="95"/>
                      </a:lnTo>
                      <a:lnTo>
                        <a:pt x="922" y="93"/>
                      </a:lnTo>
                      <a:lnTo>
                        <a:pt x="921" y="91"/>
                      </a:lnTo>
                      <a:lnTo>
                        <a:pt x="919" y="90"/>
                      </a:lnTo>
                      <a:lnTo>
                        <a:pt x="918" y="90"/>
                      </a:lnTo>
                      <a:lnTo>
                        <a:pt x="912" y="91"/>
                      </a:lnTo>
                      <a:lnTo>
                        <a:pt x="907" y="91"/>
                      </a:lnTo>
                      <a:lnTo>
                        <a:pt x="902" y="90"/>
                      </a:lnTo>
                      <a:lnTo>
                        <a:pt x="897" y="88"/>
                      </a:lnTo>
                      <a:lnTo>
                        <a:pt x="894" y="88"/>
                      </a:lnTo>
                      <a:lnTo>
                        <a:pt x="892" y="88"/>
                      </a:lnTo>
                      <a:lnTo>
                        <a:pt x="890" y="89"/>
                      </a:lnTo>
                      <a:lnTo>
                        <a:pt x="888" y="88"/>
                      </a:lnTo>
                      <a:lnTo>
                        <a:pt x="878" y="87"/>
                      </a:lnTo>
                      <a:lnTo>
                        <a:pt x="874" y="85"/>
                      </a:lnTo>
                      <a:lnTo>
                        <a:pt x="869" y="84"/>
                      </a:lnTo>
                      <a:lnTo>
                        <a:pt x="866" y="84"/>
                      </a:lnTo>
                      <a:lnTo>
                        <a:pt x="862" y="85"/>
                      </a:lnTo>
                      <a:lnTo>
                        <a:pt x="860" y="88"/>
                      </a:lnTo>
                      <a:lnTo>
                        <a:pt x="857" y="91"/>
                      </a:lnTo>
                      <a:lnTo>
                        <a:pt x="852" y="100"/>
                      </a:lnTo>
                      <a:lnTo>
                        <a:pt x="851" y="107"/>
                      </a:lnTo>
                      <a:lnTo>
                        <a:pt x="851" y="113"/>
                      </a:lnTo>
                      <a:lnTo>
                        <a:pt x="848" y="117"/>
                      </a:lnTo>
                      <a:lnTo>
                        <a:pt x="846" y="122"/>
                      </a:lnTo>
                      <a:lnTo>
                        <a:pt x="842" y="126"/>
                      </a:lnTo>
                      <a:lnTo>
                        <a:pt x="832" y="132"/>
                      </a:lnTo>
                      <a:lnTo>
                        <a:pt x="823" y="136"/>
                      </a:lnTo>
                      <a:lnTo>
                        <a:pt x="820" y="138"/>
                      </a:lnTo>
                      <a:lnTo>
                        <a:pt x="818" y="140"/>
                      </a:lnTo>
                      <a:lnTo>
                        <a:pt x="818" y="142"/>
                      </a:lnTo>
                      <a:lnTo>
                        <a:pt x="819" y="145"/>
                      </a:lnTo>
                      <a:lnTo>
                        <a:pt x="823" y="153"/>
                      </a:lnTo>
                      <a:lnTo>
                        <a:pt x="824" y="160"/>
                      </a:lnTo>
                      <a:lnTo>
                        <a:pt x="823" y="167"/>
                      </a:lnTo>
                      <a:lnTo>
                        <a:pt x="819" y="176"/>
                      </a:lnTo>
                      <a:lnTo>
                        <a:pt x="819" y="180"/>
                      </a:lnTo>
                      <a:lnTo>
                        <a:pt x="819" y="184"/>
                      </a:lnTo>
                      <a:lnTo>
                        <a:pt x="823" y="184"/>
                      </a:lnTo>
                      <a:lnTo>
                        <a:pt x="826" y="181"/>
                      </a:lnTo>
                      <a:lnTo>
                        <a:pt x="829" y="180"/>
                      </a:lnTo>
                      <a:lnTo>
                        <a:pt x="831" y="181"/>
                      </a:lnTo>
                      <a:lnTo>
                        <a:pt x="833" y="181"/>
                      </a:lnTo>
                      <a:lnTo>
                        <a:pt x="834" y="184"/>
                      </a:lnTo>
                      <a:lnTo>
                        <a:pt x="834" y="185"/>
                      </a:lnTo>
                      <a:lnTo>
                        <a:pt x="831" y="190"/>
                      </a:lnTo>
                      <a:lnTo>
                        <a:pt x="831" y="192"/>
                      </a:lnTo>
                      <a:lnTo>
                        <a:pt x="832" y="193"/>
                      </a:lnTo>
                      <a:lnTo>
                        <a:pt x="833" y="196"/>
                      </a:lnTo>
                      <a:lnTo>
                        <a:pt x="834" y="198"/>
                      </a:lnTo>
                      <a:lnTo>
                        <a:pt x="836" y="202"/>
                      </a:lnTo>
                      <a:lnTo>
                        <a:pt x="838" y="205"/>
                      </a:lnTo>
                      <a:lnTo>
                        <a:pt x="839" y="205"/>
                      </a:lnTo>
                      <a:lnTo>
                        <a:pt x="843" y="204"/>
                      </a:lnTo>
                      <a:lnTo>
                        <a:pt x="848" y="203"/>
                      </a:lnTo>
                      <a:lnTo>
                        <a:pt x="851" y="205"/>
                      </a:lnTo>
                      <a:lnTo>
                        <a:pt x="851" y="206"/>
                      </a:lnTo>
                      <a:lnTo>
                        <a:pt x="848" y="217"/>
                      </a:lnTo>
                      <a:lnTo>
                        <a:pt x="846" y="221"/>
                      </a:lnTo>
                      <a:lnTo>
                        <a:pt x="845" y="222"/>
                      </a:lnTo>
                      <a:lnTo>
                        <a:pt x="843" y="222"/>
                      </a:lnTo>
                      <a:lnTo>
                        <a:pt x="837" y="221"/>
                      </a:lnTo>
                      <a:lnTo>
                        <a:pt x="832" y="218"/>
                      </a:lnTo>
                      <a:lnTo>
                        <a:pt x="820" y="212"/>
                      </a:lnTo>
                      <a:lnTo>
                        <a:pt x="815" y="209"/>
                      </a:lnTo>
                      <a:lnTo>
                        <a:pt x="809" y="205"/>
                      </a:lnTo>
                      <a:lnTo>
                        <a:pt x="804" y="203"/>
                      </a:lnTo>
                      <a:lnTo>
                        <a:pt x="800" y="202"/>
                      </a:lnTo>
                      <a:lnTo>
                        <a:pt x="796" y="202"/>
                      </a:lnTo>
                      <a:lnTo>
                        <a:pt x="793" y="203"/>
                      </a:lnTo>
                      <a:lnTo>
                        <a:pt x="791" y="203"/>
                      </a:lnTo>
                      <a:lnTo>
                        <a:pt x="789" y="203"/>
                      </a:lnTo>
                      <a:lnTo>
                        <a:pt x="775" y="190"/>
                      </a:lnTo>
                      <a:lnTo>
                        <a:pt x="767" y="184"/>
                      </a:lnTo>
                      <a:lnTo>
                        <a:pt x="759" y="180"/>
                      </a:lnTo>
                      <a:lnTo>
                        <a:pt x="751" y="178"/>
                      </a:lnTo>
                      <a:lnTo>
                        <a:pt x="742" y="178"/>
                      </a:lnTo>
                      <a:lnTo>
                        <a:pt x="733" y="179"/>
                      </a:lnTo>
                      <a:lnTo>
                        <a:pt x="724" y="181"/>
                      </a:lnTo>
                      <a:lnTo>
                        <a:pt x="721" y="181"/>
                      </a:lnTo>
                      <a:lnTo>
                        <a:pt x="720" y="179"/>
                      </a:lnTo>
                      <a:lnTo>
                        <a:pt x="716" y="173"/>
                      </a:lnTo>
                      <a:lnTo>
                        <a:pt x="714" y="173"/>
                      </a:lnTo>
                      <a:lnTo>
                        <a:pt x="713" y="174"/>
                      </a:lnTo>
                      <a:lnTo>
                        <a:pt x="711" y="178"/>
                      </a:lnTo>
                      <a:lnTo>
                        <a:pt x="709" y="179"/>
                      </a:lnTo>
                      <a:lnTo>
                        <a:pt x="705" y="179"/>
                      </a:lnTo>
                      <a:lnTo>
                        <a:pt x="702" y="180"/>
                      </a:lnTo>
                      <a:lnTo>
                        <a:pt x="701" y="183"/>
                      </a:lnTo>
                      <a:lnTo>
                        <a:pt x="702" y="184"/>
                      </a:lnTo>
                      <a:lnTo>
                        <a:pt x="707" y="189"/>
                      </a:lnTo>
                      <a:lnTo>
                        <a:pt x="713" y="193"/>
                      </a:lnTo>
                      <a:lnTo>
                        <a:pt x="715" y="197"/>
                      </a:lnTo>
                      <a:lnTo>
                        <a:pt x="716" y="199"/>
                      </a:lnTo>
                      <a:lnTo>
                        <a:pt x="716" y="203"/>
                      </a:lnTo>
                      <a:lnTo>
                        <a:pt x="714" y="205"/>
                      </a:lnTo>
                      <a:lnTo>
                        <a:pt x="711" y="208"/>
                      </a:lnTo>
                      <a:lnTo>
                        <a:pt x="707" y="208"/>
                      </a:lnTo>
                      <a:lnTo>
                        <a:pt x="700" y="208"/>
                      </a:lnTo>
                      <a:lnTo>
                        <a:pt x="699" y="209"/>
                      </a:lnTo>
                      <a:lnTo>
                        <a:pt x="697" y="210"/>
                      </a:lnTo>
                      <a:lnTo>
                        <a:pt x="696" y="212"/>
                      </a:lnTo>
                      <a:lnTo>
                        <a:pt x="697" y="217"/>
                      </a:lnTo>
                      <a:lnTo>
                        <a:pt x="696" y="218"/>
                      </a:lnTo>
                      <a:lnTo>
                        <a:pt x="695" y="219"/>
                      </a:lnTo>
                      <a:lnTo>
                        <a:pt x="693" y="221"/>
                      </a:lnTo>
                      <a:lnTo>
                        <a:pt x="691" y="219"/>
                      </a:lnTo>
                      <a:lnTo>
                        <a:pt x="688" y="218"/>
                      </a:lnTo>
                      <a:lnTo>
                        <a:pt x="686" y="217"/>
                      </a:lnTo>
                      <a:lnTo>
                        <a:pt x="685" y="213"/>
                      </a:lnTo>
                      <a:lnTo>
                        <a:pt x="685" y="210"/>
                      </a:lnTo>
                      <a:lnTo>
                        <a:pt x="685" y="206"/>
                      </a:lnTo>
                      <a:lnTo>
                        <a:pt x="683" y="203"/>
                      </a:lnTo>
                      <a:lnTo>
                        <a:pt x="682" y="203"/>
                      </a:lnTo>
                      <a:lnTo>
                        <a:pt x="681" y="204"/>
                      </a:lnTo>
                      <a:lnTo>
                        <a:pt x="679" y="206"/>
                      </a:lnTo>
                      <a:lnTo>
                        <a:pt x="676" y="208"/>
                      </a:lnTo>
                      <a:lnTo>
                        <a:pt x="671" y="208"/>
                      </a:lnTo>
                      <a:lnTo>
                        <a:pt x="667" y="208"/>
                      </a:lnTo>
                      <a:lnTo>
                        <a:pt x="662" y="208"/>
                      </a:lnTo>
                      <a:lnTo>
                        <a:pt x="659" y="209"/>
                      </a:lnTo>
                      <a:lnTo>
                        <a:pt x="657" y="211"/>
                      </a:lnTo>
                      <a:lnTo>
                        <a:pt x="653" y="215"/>
                      </a:lnTo>
                      <a:lnTo>
                        <a:pt x="652" y="215"/>
                      </a:lnTo>
                      <a:lnTo>
                        <a:pt x="649" y="215"/>
                      </a:lnTo>
                      <a:lnTo>
                        <a:pt x="640" y="212"/>
                      </a:lnTo>
                      <a:lnTo>
                        <a:pt x="631" y="210"/>
                      </a:lnTo>
                      <a:lnTo>
                        <a:pt x="626" y="210"/>
                      </a:lnTo>
                      <a:lnTo>
                        <a:pt x="622" y="211"/>
                      </a:lnTo>
                      <a:lnTo>
                        <a:pt x="619" y="212"/>
                      </a:lnTo>
                      <a:lnTo>
                        <a:pt x="615" y="216"/>
                      </a:lnTo>
                      <a:lnTo>
                        <a:pt x="611" y="224"/>
                      </a:lnTo>
                      <a:lnTo>
                        <a:pt x="610" y="226"/>
                      </a:lnTo>
                      <a:lnTo>
                        <a:pt x="607" y="228"/>
                      </a:lnTo>
                      <a:lnTo>
                        <a:pt x="606" y="226"/>
                      </a:lnTo>
                      <a:lnTo>
                        <a:pt x="599" y="224"/>
                      </a:lnTo>
                      <a:lnTo>
                        <a:pt x="596" y="222"/>
                      </a:lnTo>
                      <a:lnTo>
                        <a:pt x="592" y="223"/>
                      </a:lnTo>
                      <a:lnTo>
                        <a:pt x="592" y="212"/>
                      </a:lnTo>
                      <a:lnTo>
                        <a:pt x="593" y="209"/>
                      </a:lnTo>
                      <a:lnTo>
                        <a:pt x="597" y="205"/>
                      </a:lnTo>
                      <a:lnTo>
                        <a:pt x="597" y="204"/>
                      </a:lnTo>
                      <a:lnTo>
                        <a:pt x="597" y="203"/>
                      </a:lnTo>
                      <a:lnTo>
                        <a:pt x="597" y="202"/>
                      </a:lnTo>
                      <a:lnTo>
                        <a:pt x="596" y="200"/>
                      </a:lnTo>
                      <a:lnTo>
                        <a:pt x="592" y="200"/>
                      </a:lnTo>
                      <a:lnTo>
                        <a:pt x="589" y="202"/>
                      </a:lnTo>
                      <a:lnTo>
                        <a:pt x="583" y="204"/>
                      </a:lnTo>
                      <a:lnTo>
                        <a:pt x="578" y="206"/>
                      </a:lnTo>
                      <a:lnTo>
                        <a:pt x="575" y="210"/>
                      </a:lnTo>
                      <a:lnTo>
                        <a:pt x="572" y="221"/>
                      </a:lnTo>
                      <a:lnTo>
                        <a:pt x="570" y="221"/>
                      </a:lnTo>
                      <a:lnTo>
                        <a:pt x="569" y="221"/>
                      </a:lnTo>
                      <a:lnTo>
                        <a:pt x="566" y="219"/>
                      </a:lnTo>
                      <a:lnTo>
                        <a:pt x="561" y="215"/>
                      </a:lnTo>
                      <a:lnTo>
                        <a:pt x="558" y="212"/>
                      </a:lnTo>
                      <a:lnTo>
                        <a:pt x="554" y="212"/>
                      </a:lnTo>
                      <a:lnTo>
                        <a:pt x="546" y="216"/>
                      </a:lnTo>
                      <a:lnTo>
                        <a:pt x="540" y="219"/>
                      </a:lnTo>
                      <a:lnTo>
                        <a:pt x="519" y="231"/>
                      </a:lnTo>
                      <a:lnTo>
                        <a:pt x="509" y="237"/>
                      </a:lnTo>
                      <a:lnTo>
                        <a:pt x="500" y="243"/>
                      </a:lnTo>
                      <a:lnTo>
                        <a:pt x="499" y="245"/>
                      </a:lnTo>
                      <a:lnTo>
                        <a:pt x="498" y="249"/>
                      </a:lnTo>
                      <a:lnTo>
                        <a:pt x="498" y="256"/>
                      </a:lnTo>
                      <a:lnTo>
                        <a:pt x="497" y="260"/>
                      </a:lnTo>
                      <a:lnTo>
                        <a:pt x="495" y="262"/>
                      </a:lnTo>
                      <a:lnTo>
                        <a:pt x="494" y="263"/>
                      </a:lnTo>
                      <a:lnTo>
                        <a:pt x="490" y="262"/>
                      </a:lnTo>
                      <a:lnTo>
                        <a:pt x="485" y="261"/>
                      </a:lnTo>
                      <a:lnTo>
                        <a:pt x="480" y="262"/>
                      </a:lnTo>
                      <a:lnTo>
                        <a:pt x="475" y="263"/>
                      </a:lnTo>
                      <a:lnTo>
                        <a:pt x="471" y="263"/>
                      </a:lnTo>
                      <a:lnTo>
                        <a:pt x="469" y="263"/>
                      </a:lnTo>
                      <a:lnTo>
                        <a:pt x="466" y="262"/>
                      </a:lnTo>
                      <a:lnTo>
                        <a:pt x="464" y="259"/>
                      </a:lnTo>
                      <a:lnTo>
                        <a:pt x="461" y="255"/>
                      </a:lnTo>
                      <a:lnTo>
                        <a:pt x="459" y="251"/>
                      </a:lnTo>
                      <a:lnTo>
                        <a:pt x="451" y="248"/>
                      </a:lnTo>
                      <a:lnTo>
                        <a:pt x="447" y="245"/>
                      </a:lnTo>
                      <a:lnTo>
                        <a:pt x="446" y="242"/>
                      </a:lnTo>
                      <a:lnTo>
                        <a:pt x="447" y="240"/>
                      </a:lnTo>
                      <a:lnTo>
                        <a:pt x="452" y="238"/>
                      </a:lnTo>
                      <a:lnTo>
                        <a:pt x="459" y="237"/>
                      </a:lnTo>
                      <a:lnTo>
                        <a:pt x="462" y="236"/>
                      </a:lnTo>
                      <a:lnTo>
                        <a:pt x="465" y="235"/>
                      </a:lnTo>
                      <a:lnTo>
                        <a:pt x="466" y="232"/>
                      </a:lnTo>
                      <a:lnTo>
                        <a:pt x="466" y="229"/>
                      </a:lnTo>
                      <a:lnTo>
                        <a:pt x="466" y="225"/>
                      </a:lnTo>
                      <a:lnTo>
                        <a:pt x="464" y="223"/>
                      </a:lnTo>
                      <a:lnTo>
                        <a:pt x="461" y="222"/>
                      </a:lnTo>
                      <a:lnTo>
                        <a:pt x="455" y="218"/>
                      </a:lnTo>
                      <a:lnTo>
                        <a:pt x="447" y="216"/>
                      </a:lnTo>
                      <a:lnTo>
                        <a:pt x="443" y="216"/>
                      </a:lnTo>
                      <a:lnTo>
                        <a:pt x="441" y="216"/>
                      </a:lnTo>
                      <a:lnTo>
                        <a:pt x="437" y="218"/>
                      </a:lnTo>
                      <a:lnTo>
                        <a:pt x="434" y="218"/>
                      </a:lnTo>
                      <a:lnTo>
                        <a:pt x="431" y="217"/>
                      </a:lnTo>
                      <a:lnTo>
                        <a:pt x="427" y="213"/>
                      </a:lnTo>
                      <a:lnTo>
                        <a:pt x="426" y="212"/>
                      </a:lnTo>
                      <a:lnTo>
                        <a:pt x="422" y="212"/>
                      </a:lnTo>
                      <a:lnTo>
                        <a:pt x="420" y="215"/>
                      </a:lnTo>
                      <a:lnTo>
                        <a:pt x="419" y="217"/>
                      </a:lnTo>
                      <a:lnTo>
                        <a:pt x="420" y="219"/>
                      </a:lnTo>
                      <a:lnTo>
                        <a:pt x="422" y="221"/>
                      </a:lnTo>
                      <a:lnTo>
                        <a:pt x="426" y="223"/>
                      </a:lnTo>
                      <a:lnTo>
                        <a:pt x="429" y="226"/>
                      </a:lnTo>
                      <a:lnTo>
                        <a:pt x="432" y="230"/>
                      </a:lnTo>
                      <a:lnTo>
                        <a:pt x="432" y="235"/>
                      </a:lnTo>
                      <a:lnTo>
                        <a:pt x="429" y="238"/>
                      </a:lnTo>
                      <a:lnTo>
                        <a:pt x="427" y="242"/>
                      </a:lnTo>
                      <a:lnTo>
                        <a:pt x="419" y="250"/>
                      </a:lnTo>
                      <a:lnTo>
                        <a:pt x="419" y="253"/>
                      </a:lnTo>
                      <a:lnTo>
                        <a:pt x="418" y="255"/>
                      </a:lnTo>
                      <a:lnTo>
                        <a:pt x="419" y="257"/>
                      </a:lnTo>
                      <a:lnTo>
                        <a:pt x="419" y="259"/>
                      </a:lnTo>
                      <a:lnTo>
                        <a:pt x="420" y="257"/>
                      </a:lnTo>
                      <a:lnTo>
                        <a:pt x="427" y="255"/>
                      </a:lnTo>
                      <a:lnTo>
                        <a:pt x="431" y="255"/>
                      </a:lnTo>
                      <a:lnTo>
                        <a:pt x="433" y="256"/>
                      </a:lnTo>
                      <a:lnTo>
                        <a:pt x="434" y="259"/>
                      </a:lnTo>
                      <a:lnTo>
                        <a:pt x="436" y="261"/>
                      </a:lnTo>
                      <a:lnTo>
                        <a:pt x="436" y="264"/>
                      </a:lnTo>
                      <a:lnTo>
                        <a:pt x="436" y="267"/>
                      </a:lnTo>
                      <a:lnTo>
                        <a:pt x="434" y="269"/>
                      </a:lnTo>
                      <a:lnTo>
                        <a:pt x="434" y="272"/>
                      </a:lnTo>
                      <a:lnTo>
                        <a:pt x="433" y="275"/>
                      </a:lnTo>
                      <a:lnTo>
                        <a:pt x="433" y="276"/>
                      </a:lnTo>
                      <a:lnTo>
                        <a:pt x="431" y="277"/>
                      </a:lnTo>
                      <a:lnTo>
                        <a:pt x="428" y="277"/>
                      </a:lnTo>
                      <a:lnTo>
                        <a:pt x="426" y="277"/>
                      </a:lnTo>
                      <a:lnTo>
                        <a:pt x="422" y="279"/>
                      </a:lnTo>
                      <a:lnTo>
                        <a:pt x="422" y="275"/>
                      </a:lnTo>
                      <a:lnTo>
                        <a:pt x="419" y="272"/>
                      </a:lnTo>
                      <a:lnTo>
                        <a:pt x="417" y="270"/>
                      </a:lnTo>
                      <a:lnTo>
                        <a:pt x="413" y="269"/>
                      </a:lnTo>
                      <a:lnTo>
                        <a:pt x="405" y="269"/>
                      </a:lnTo>
                      <a:lnTo>
                        <a:pt x="399" y="270"/>
                      </a:lnTo>
                      <a:lnTo>
                        <a:pt x="396" y="273"/>
                      </a:lnTo>
                      <a:lnTo>
                        <a:pt x="393" y="275"/>
                      </a:lnTo>
                      <a:lnTo>
                        <a:pt x="389" y="279"/>
                      </a:lnTo>
                      <a:lnTo>
                        <a:pt x="384" y="280"/>
                      </a:lnTo>
                      <a:lnTo>
                        <a:pt x="382" y="282"/>
                      </a:lnTo>
                      <a:lnTo>
                        <a:pt x="380" y="286"/>
                      </a:lnTo>
                      <a:lnTo>
                        <a:pt x="379" y="288"/>
                      </a:lnTo>
                      <a:lnTo>
                        <a:pt x="377" y="288"/>
                      </a:lnTo>
                      <a:lnTo>
                        <a:pt x="376" y="288"/>
                      </a:lnTo>
                      <a:lnTo>
                        <a:pt x="370" y="287"/>
                      </a:lnTo>
                      <a:lnTo>
                        <a:pt x="367" y="288"/>
                      </a:lnTo>
                      <a:lnTo>
                        <a:pt x="363" y="289"/>
                      </a:lnTo>
                      <a:lnTo>
                        <a:pt x="358" y="295"/>
                      </a:lnTo>
                      <a:lnTo>
                        <a:pt x="354" y="299"/>
                      </a:lnTo>
                      <a:lnTo>
                        <a:pt x="353" y="304"/>
                      </a:lnTo>
                      <a:lnTo>
                        <a:pt x="353" y="308"/>
                      </a:lnTo>
                      <a:lnTo>
                        <a:pt x="356" y="312"/>
                      </a:lnTo>
                      <a:lnTo>
                        <a:pt x="359" y="314"/>
                      </a:lnTo>
                      <a:lnTo>
                        <a:pt x="365" y="317"/>
                      </a:lnTo>
                      <a:lnTo>
                        <a:pt x="370" y="319"/>
                      </a:lnTo>
                      <a:lnTo>
                        <a:pt x="373" y="323"/>
                      </a:lnTo>
                      <a:lnTo>
                        <a:pt x="375" y="326"/>
                      </a:lnTo>
                      <a:lnTo>
                        <a:pt x="375" y="327"/>
                      </a:lnTo>
                      <a:lnTo>
                        <a:pt x="373" y="328"/>
                      </a:lnTo>
                      <a:lnTo>
                        <a:pt x="365" y="326"/>
                      </a:lnTo>
                      <a:lnTo>
                        <a:pt x="357" y="324"/>
                      </a:lnTo>
                      <a:lnTo>
                        <a:pt x="349" y="321"/>
                      </a:lnTo>
                      <a:lnTo>
                        <a:pt x="344" y="320"/>
                      </a:lnTo>
                      <a:lnTo>
                        <a:pt x="339" y="320"/>
                      </a:lnTo>
                      <a:lnTo>
                        <a:pt x="335" y="320"/>
                      </a:lnTo>
                      <a:lnTo>
                        <a:pt x="330" y="318"/>
                      </a:lnTo>
                      <a:lnTo>
                        <a:pt x="321" y="314"/>
                      </a:lnTo>
                      <a:lnTo>
                        <a:pt x="313" y="311"/>
                      </a:lnTo>
                      <a:lnTo>
                        <a:pt x="309" y="307"/>
                      </a:lnTo>
                      <a:lnTo>
                        <a:pt x="306" y="305"/>
                      </a:lnTo>
                      <a:lnTo>
                        <a:pt x="305" y="304"/>
                      </a:lnTo>
                      <a:lnTo>
                        <a:pt x="304" y="304"/>
                      </a:lnTo>
                      <a:lnTo>
                        <a:pt x="300" y="305"/>
                      </a:lnTo>
                      <a:lnTo>
                        <a:pt x="297" y="307"/>
                      </a:lnTo>
                      <a:lnTo>
                        <a:pt x="295" y="314"/>
                      </a:lnTo>
                      <a:lnTo>
                        <a:pt x="293" y="314"/>
                      </a:lnTo>
                      <a:lnTo>
                        <a:pt x="291" y="315"/>
                      </a:lnTo>
                      <a:lnTo>
                        <a:pt x="291" y="317"/>
                      </a:lnTo>
                      <a:lnTo>
                        <a:pt x="291" y="319"/>
                      </a:lnTo>
                      <a:lnTo>
                        <a:pt x="295" y="321"/>
                      </a:lnTo>
                      <a:lnTo>
                        <a:pt x="304" y="327"/>
                      </a:lnTo>
                      <a:lnTo>
                        <a:pt x="309" y="331"/>
                      </a:lnTo>
                      <a:lnTo>
                        <a:pt x="313" y="334"/>
                      </a:lnTo>
                      <a:lnTo>
                        <a:pt x="316" y="338"/>
                      </a:lnTo>
                      <a:lnTo>
                        <a:pt x="316" y="341"/>
                      </a:lnTo>
                      <a:lnTo>
                        <a:pt x="316" y="344"/>
                      </a:lnTo>
                      <a:lnTo>
                        <a:pt x="315" y="346"/>
                      </a:lnTo>
                      <a:lnTo>
                        <a:pt x="313" y="346"/>
                      </a:lnTo>
                      <a:lnTo>
                        <a:pt x="310" y="346"/>
                      </a:lnTo>
                      <a:lnTo>
                        <a:pt x="309" y="345"/>
                      </a:lnTo>
                      <a:lnTo>
                        <a:pt x="301" y="341"/>
                      </a:lnTo>
                      <a:lnTo>
                        <a:pt x="292" y="338"/>
                      </a:lnTo>
                      <a:lnTo>
                        <a:pt x="290" y="337"/>
                      </a:lnTo>
                      <a:lnTo>
                        <a:pt x="288" y="334"/>
                      </a:lnTo>
                      <a:lnTo>
                        <a:pt x="283" y="333"/>
                      </a:lnTo>
                      <a:lnTo>
                        <a:pt x="278" y="333"/>
                      </a:lnTo>
                      <a:lnTo>
                        <a:pt x="273" y="333"/>
                      </a:lnTo>
                      <a:lnTo>
                        <a:pt x="268" y="332"/>
                      </a:lnTo>
                      <a:lnTo>
                        <a:pt x="267" y="331"/>
                      </a:lnTo>
                      <a:lnTo>
                        <a:pt x="266" y="330"/>
                      </a:lnTo>
                      <a:lnTo>
                        <a:pt x="266" y="327"/>
                      </a:lnTo>
                      <a:lnTo>
                        <a:pt x="266" y="326"/>
                      </a:lnTo>
                      <a:lnTo>
                        <a:pt x="264" y="321"/>
                      </a:lnTo>
                      <a:lnTo>
                        <a:pt x="263" y="315"/>
                      </a:lnTo>
                      <a:lnTo>
                        <a:pt x="262" y="309"/>
                      </a:lnTo>
                      <a:lnTo>
                        <a:pt x="263" y="305"/>
                      </a:lnTo>
                      <a:lnTo>
                        <a:pt x="266" y="299"/>
                      </a:lnTo>
                      <a:lnTo>
                        <a:pt x="266" y="294"/>
                      </a:lnTo>
                      <a:lnTo>
                        <a:pt x="266" y="289"/>
                      </a:lnTo>
                      <a:lnTo>
                        <a:pt x="263" y="287"/>
                      </a:lnTo>
                      <a:lnTo>
                        <a:pt x="259" y="285"/>
                      </a:lnTo>
                      <a:lnTo>
                        <a:pt x="250" y="281"/>
                      </a:lnTo>
                      <a:lnTo>
                        <a:pt x="240" y="280"/>
                      </a:lnTo>
                      <a:lnTo>
                        <a:pt x="236" y="279"/>
                      </a:lnTo>
                      <a:lnTo>
                        <a:pt x="234" y="276"/>
                      </a:lnTo>
                      <a:lnTo>
                        <a:pt x="231" y="274"/>
                      </a:lnTo>
                      <a:lnTo>
                        <a:pt x="230" y="272"/>
                      </a:lnTo>
                      <a:lnTo>
                        <a:pt x="227" y="264"/>
                      </a:lnTo>
                      <a:lnTo>
                        <a:pt x="227" y="261"/>
                      </a:lnTo>
                      <a:lnTo>
                        <a:pt x="229" y="257"/>
                      </a:lnTo>
                      <a:lnTo>
                        <a:pt x="230" y="256"/>
                      </a:lnTo>
                      <a:lnTo>
                        <a:pt x="233" y="256"/>
                      </a:lnTo>
                      <a:lnTo>
                        <a:pt x="236" y="260"/>
                      </a:lnTo>
                      <a:lnTo>
                        <a:pt x="239" y="261"/>
                      </a:lnTo>
                      <a:lnTo>
                        <a:pt x="241" y="262"/>
                      </a:lnTo>
                      <a:lnTo>
                        <a:pt x="246" y="262"/>
                      </a:lnTo>
                      <a:lnTo>
                        <a:pt x="250" y="262"/>
                      </a:lnTo>
                      <a:lnTo>
                        <a:pt x="262" y="267"/>
                      </a:lnTo>
                      <a:lnTo>
                        <a:pt x="273" y="272"/>
                      </a:lnTo>
                      <a:lnTo>
                        <a:pt x="278" y="274"/>
                      </a:lnTo>
                      <a:lnTo>
                        <a:pt x="285" y="275"/>
                      </a:lnTo>
                      <a:lnTo>
                        <a:pt x="291" y="275"/>
                      </a:lnTo>
                      <a:lnTo>
                        <a:pt x="297" y="274"/>
                      </a:lnTo>
                      <a:lnTo>
                        <a:pt x="299" y="274"/>
                      </a:lnTo>
                      <a:lnTo>
                        <a:pt x="300" y="274"/>
                      </a:lnTo>
                      <a:lnTo>
                        <a:pt x="302" y="276"/>
                      </a:lnTo>
                      <a:lnTo>
                        <a:pt x="305" y="280"/>
                      </a:lnTo>
                      <a:lnTo>
                        <a:pt x="306" y="282"/>
                      </a:lnTo>
                      <a:lnTo>
                        <a:pt x="311" y="285"/>
                      </a:lnTo>
                      <a:lnTo>
                        <a:pt x="316" y="286"/>
                      </a:lnTo>
                      <a:lnTo>
                        <a:pt x="342" y="286"/>
                      </a:lnTo>
                      <a:lnTo>
                        <a:pt x="346" y="285"/>
                      </a:lnTo>
                      <a:lnTo>
                        <a:pt x="351" y="282"/>
                      </a:lnTo>
                      <a:lnTo>
                        <a:pt x="361" y="276"/>
                      </a:lnTo>
                      <a:lnTo>
                        <a:pt x="361" y="275"/>
                      </a:lnTo>
                      <a:lnTo>
                        <a:pt x="362" y="273"/>
                      </a:lnTo>
                      <a:lnTo>
                        <a:pt x="373" y="263"/>
                      </a:lnTo>
                      <a:lnTo>
                        <a:pt x="377" y="260"/>
                      </a:lnTo>
                      <a:lnTo>
                        <a:pt x="379" y="255"/>
                      </a:lnTo>
                      <a:lnTo>
                        <a:pt x="379" y="254"/>
                      </a:lnTo>
                      <a:lnTo>
                        <a:pt x="377" y="253"/>
                      </a:lnTo>
                      <a:lnTo>
                        <a:pt x="375" y="251"/>
                      </a:lnTo>
                      <a:lnTo>
                        <a:pt x="372" y="250"/>
                      </a:lnTo>
                      <a:lnTo>
                        <a:pt x="371" y="249"/>
                      </a:lnTo>
                      <a:lnTo>
                        <a:pt x="372" y="244"/>
                      </a:lnTo>
                      <a:lnTo>
                        <a:pt x="372" y="241"/>
                      </a:lnTo>
                      <a:lnTo>
                        <a:pt x="371" y="236"/>
                      </a:lnTo>
                      <a:lnTo>
                        <a:pt x="362" y="234"/>
                      </a:lnTo>
                      <a:lnTo>
                        <a:pt x="353" y="229"/>
                      </a:lnTo>
                      <a:lnTo>
                        <a:pt x="352" y="229"/>
                      </a:lnTo>
                      <a:lnTo>
                        <a:pt x="351" y="230"/>
                      </a:lnTo>
                      <a:lnTo>
                        <a:pt x="348" y="230"/>
                      </a:lnTo>
                      <a:lnTo>
                        <a:pt x="347" y="230"/>
                      </a:lnTo>
                      <a:lnTo>
                        <a:pt x="344" y="228"/>
                      </a:lnTo>
                      <a:lnTo>
                        <a:pt x="343" y="225"/>
                      </a:lnTo>
                      <a:lnTo>
                        <a:pt x="340" y="222"/>
                      </a:lnTo>
                      <a:lnTo>
                        <a:pt x="339" y="221"/>
                      </a:lnTo>
                      <a:lnTo>
                        <a:pt x="337" y="221"/>
                      </a:lnTo>
                      <a:lnTo>
                        <a:pt x="333" y="221"/>
                      </a:lnTo>
                      <a:lnTo>
                        <a:pt x="329" y="219"/>
                      </a:lnTo>
                      <a:lnTo>
                        <a:pt x="325" y="217"/>
                      </a:lnTo>
                      <a:lnTo>
                        <a:pt x="321" y="213"/>
                      </a:lnTo>
                      <a:lnTo>
                        <a:pt x="318" y="211"/>
                      </a:lnTo>
                      <a:lnTo>
                        <a:pt x="305" y="206"/>
                      </a:lnTo>
                      <a:lnTo>
                        <a:pt x="299" y="205"/>
                      </a:lnTo>
                      <a:lnTo>
                        <a:pt x="292" y="203"/>
                      </a:lnTo>
                      <a:lnTo>
                        <a:pt x="287" y="204"/>
                      </a:lnTo>
                      <a:lnTo>
                        <a:pt x="285" y="204"/>
                      </a:lnTo>
                      <a:lnTo>
                        <a:pt x="281" y="204"/>
                      </a:lnTo>
                      <a:lnTo>
                        <a:pt x="279" y="203"/>
                      </a:lnTo>
                      <a:lnTo>
                        <a:pt x="278" y="202"/>
                      </a:lnTo>
                      <a:lnTo>
                        <a:pt x="276" y="197"/>
                      </a:lnTo>
                      <a:lnTo>
                        <a:pt x="274" y="197"/>
                      </a:lnTo>
                      <a:lnTo>
                        <a:pt x="273" y="197"/>
                      </a:lnTo>
                      <a:lnTo>
                        <a:pt x="269" y="198"/>
                      </a:lnTo>
                      <a:lnTo>
                        <a:pt x="267" y="198"/>
                      </a:lnTo>
                      <a:lnTo>
                        <a:pt x="266" y="197"/>
                      </a:lnTo>
                      <a:lnTo>
                        <a:pt x="264" y="194"/>
                      </a:lnTo>
                      <a:lnTo>
                        <a:pt x="262" y="192"/>
                      </a:lnTo>
                      <a:lnTo>
                        <a:pt x="257" y="191"/>
                      </a:lnTo>
                      <a:lnTo>
                        <a:pt x="250" y="191"/>
                      </a:lnTo>
                      <a:lnTo>
                        <a:pt x="245" y="193"/>
                      </a:lnTo>
                      <a:lnTo>
                        <a:pt x="243" y="196"/>
                      </a:lnTo>
                      <a:lnTo>
                        <a:pt x="241" y="199"/>
                      </a:lnTo>
                      <a:lnTo>
                        <a:pt x="240" y="202"/>
                      </a:lnTo>
                      <a:lnTo>
                        <a:pt x="239" y="203"/>
                      </a:lnTo>
                      <a:lnTo>
                        <a:pt x="236" y="203"/>
                      </a:lnTo>
                      <a:lnTo>
                        <a:pt x="236" y="200"/>
                      </a:lnTo>
                      <a:lnTo>
                        <a:pt x="235" y="197"/>
                      </a:lnTo>
                      <a:lnTo>
                        <a:pt x="234" y="192"/>
                      </a:lnTo>
                      <a:lnTo>
                        <a:pt x="233" y="187"/>
                      </a:lnTo>
                      <a:lnTo>
                        <a:pt x="230" y="186"/>
                      </a:lnTo>
                      <a:lnTo>
                        <a:pt x="229" y="187"/>
                      </a:lnTo>
                      <a:lnTo>
                        <a:pt x="226" y="189"/>
                      </a:lnTo>
                      <a:lnTo>
                        <a:pt x="225" y="189"/>
                      </a:lnTo>
                      <a:lnTo>
                        <a:pt x="221" y="186"/>
                      </a:lnTo>
                      <a:lnTo>
                        <a:pt x="221" y="185"/>
                      </a:lnTo>
                      <a:lnTo>
                        <a:pt x="221" y="184"/>
                      </a:lnTo>
                      <a:lnTo>
                        <a:pt x="222" y="183"/>
                      </a:lnTo>
                      <a:lnTo>
                        <a:pt x="225" y="181"/>
                      </a:lnTo>
                      <a:lnTo>
                        <a:pt x="227" y="181"/>
                      </a:lnTo>
                      <a:lnTo>
                        <a:pt x="229" y="179"/>
                      </a:lnTo>
                      <a:lnTo>
                        <a:pt x="227" y="178"/>
                      </a:lnTo>
                      <a:lnTo>
                        <a:pt x="221" y="174"/>
                      </a:lnTo>
                      <a:lnTo>
                        <a:pt x="216" y="172"/>
                      </a:lnTo>
                      <a:lnTo>
                        <a:pt x="213" y="171"/>
                      </a:lnTo>
                      <a:lnTo>
                        <a:pt x="212" y="171"/>
                      </a:lnTo>
                      <a:lnTo>
                        <a:pt x="211" y="174"/>
                      </a:lnTo>
                      <a:lnTo>
                        <a:pt x="211" y="178"/>
                      </a:lnTo>
                      <a:lnTo>
                        <a:pt x="211" y="179"/>
                      </a:lnTo>
                      <a:lnTo>
                        <a:pt x="210" y="180"/>
                      </a:lnTo>
                      <a:lnTo>
                        <a:pt x="206" y="181"/>
                      </a:lnTo>
                      <a:lnTo>
                        <a:pt x="202" y="183"/>
                      </a:lnTo>
                      <a:lnTo>
                        <a:pt x="193" y="183"/>
                      </a:lnTo>
                      <a:lnTo>
                        <a:pt x="191" y="186"/>
                      </a:lnTo>
                      <a:lnTo>
                        <a:pt x="188" y="189"/>
                      </a:lnTo>
                      <a:lnTo>
                        <a:pt x="184" y="189"/>
                      </a:lnTo>
                      <a:lnTo>
                        <a:pt x="180" y="191"/>
                      </a:lnTo>
                      <a:lnTo>
                        <a:pt x="177" y="192"/>
                      </a:lnTo>
                      <a:lnTo>
                        <a:pt x="168" y="191"/>
                      </a:lnTo>
                      <a:lnTo>
                        <a:pt x="169" y="194"/>
                      </a:lnTo>
                      <a:lnTo>
                        <a:pt x="170" y="202"/>
                      </a:lnTo>
                      <a:lnTo>
                        <a:pt x="172" y="210"/>
                      </a:lnTo>
                      <a:lnTo>
                        <a:pt x="175" y="219"/>
                      </a:lnTo>
                      <a:lnTo>
                        <a:pt x="175" y="223"/>
                      </a:lnTo>
                      <a:lnTo>
                        <a:pt x="175" y="226"/>
                      </a:lnTo>
                      <a:lnTo>
                        <a:pt x="172" y="232"/>
                      </a:lnTo>
                      <a:lnTo>
                        <a:pt x="168" y="242"/>
                      </a:lnTo>
                      <a:lnTo>
                        <a:pt x="166" y="250"/>
                      </a:lnTo>
                      <a:lnTo>
                        <a:pt x="166" y="257"/>
                      </a:lnTo>
                      <a:lnTo>
                        <a:pt x="168" y="263"/>
                      </a:lnTo>
                      <a:lnTo>
                        <a:pt x="173" y="273"/>
                      </a:lnTo>
                      <a:lnTo>
                        <a:pt x="177" y="283"/>
                      </a:lnTo>
                      <a:lnTo>
                        <a:pt x="178" y="288"/>
                      </a:lnTo>
                      <a:lnTo>
                        <a:pt x="177" y="293"/>
                      </a:lnTo>
                      <a:lnTo>
                        <a:pt x="174" y="299"/>
                      </a:lnTo>
                      <a:lnTo>
                        <a:pt x="174" y="304"/>
                      </a:lnTo>
                      <a:lnTo>
                        <a:pt x="175" y="309"/>
                      </a:lnTo>
                      <a:lnTo>
                        <a:pt x="177" y="312"/>
                      </a:lnTo>
                      <a:lnTo>
                        <a:pt x="178" y="313"/>
                      </a:lnTo>
                      <a:lnTo>
                        <a:pt x="178" y="315"/>
                      </a:lnTo>
                      <a:lnTo>
                        <a:pt x="179" y="315"/>
                      </a:lnTo>
                      <a:lnTo>
                        <a:pt x="180" y="317"/>
                      </a:lnTo>
                      <a:lnTo>
                        <a:pt x="182" y="318"/>
                      </a:lnTo>
                      <a:lnTo>
                        <a:pt x="183" y="318"/>
                      </a:lnTo>
                      <a:lnTo>
                        <a:pt x="186" y="318"/>
                      </a:lnTo>
                      <a:lnTo>
                        <a:pt x="186" y="321"/>
                      </a:lnTo>
                      <a:lnTo>
                        <a:pt x="184" y="325"/>
                      </a:lnTo>
                      <a:lnTo>
                        <a:pt x="183" y="328"/>
                      </a:lnTo>
                      <a:lnTo>
                        <a:pt x="183" y="331"/>
                      </a:lnTo>
                      <a:lnTo>
                        <a:pt x="187" y="336"/>
                      </a:lnTo>
                      <a:lnTo>
                        <a:pt x="187" y="340"/>
                      </a:lnTo>
                      <a:lnTo>
                        <a:pt x="184" y="345"/>
                      </a:lnTo>
                      <a:lnTo>
                        <a:pt x="180" y="351"/>
                      </a:lnTo>
                      <a:lnTo>
                        <a:pt x="179" y="352"/>
                      </a:lnTo>
                      <a:lnTo>
                        <a:pt x="180" y="355"/>
                      </a:lnTo>
                      <a:lnTo>
                        <a:pt x="182" y="359"/>
                      </a:lnTo>
                      <a:lnTo>
                        <a:pt x="184" y="360"/>
                      </a:lnTo>
                      <a:lnTo>
                        <a:pt x="187" y="362"/>
                      </a:lnTo>
                      <a:lnTo>
                        <a:pt x="189" y="362"/>
                      </a:lnTo>
                      <a:lnTo>
                        <a:pt x="189" y="364"/>
                      </a:lnTo>
                      <a:lnTo>
                        <a:pt x="189" y="371"/>
                      </a:lnTo>
                      <a:lnTo>
                        <a:pt x="191" y="377"/>
                      </a:lnTo>
                      <a:lnTo>
                        <a:pt x="192" y="382"/>
                      </a:lnTo>
                      <a:lnTo>
                        <a:pt x="192" y="387"/>
                      </a:lnTo>
                      <a:lnTo>
                        <a:pt x="191" y="390"/>
                      </a:lnTo>
                      <a:lnTo>
                        <a:pt x="187" y="395"/>
                      </a:lnTo>
                      <a:lnTo>
                        <a:pt x="174" y="408"/>
                      </a:lnTo>
                      <a:lnTo>
                        <a:pt x="150" y="432"/>
                      </a:lnTo>
                      <a:lnTo>
                        <a:pt x="160" y="434"/>
                      </a:lnTo>
                      <a:lnTo>
                        <a:pt x="168" y="438"/>
                      </a:lnTo>
                      <a:lnTo>
                        <a:pt x="177" y="441"/>
                      </a:lnTo>
                      <a:lnTo>
                        <a:pt x="184" y="446"/>
                      </a:lnTo>
                      <a:lnTo>
                        <a:pt x="180" y="449"/>
                      </a:lnTo>
                      <a:lnTo>
                        <a:pt x="175" y="453"/>
                      </a:lnTo>
                      <a:lnTo>
                        <a:pt x="172" y="454"/>
                      </a:lnTo>
                      <a:lnTo>
                        <a:pt x="166" y="455"/>
                      </a:lnTo>
                      <a:lnTo>
                        <a:pt x="158" y="455"/>
                      </a:lnTo>
                      <a:lnTo>
                        <a:pt x="149" y="456"/>
                      </a:lnTo>
                      <a:lnTo>
                        <a:pt x="147" y="455"/>
                      </a:lnTo>
                      <a:lnTo>
                        <a:pt x="146" y="454"/>
                      </a:lnTo>
                      <a:lnTo>
                        <a:pt x="145" y="453"/>
                      </a:lnTo>
                      <a:lnTo>
                        <a:pt x="144" y="454"/>
                      </a:lnTo>
                      <a:lnTo>
                        <a:pt x="141" y="455"/>
                      </a:lnTo>
                      <a:lnTo>
                        <a:pt x="139" y="458"/>
                      </a:lnTo>
                      <a:lnTo>
                        <a:pt x="136" y="464"/>
                      </a:lnTo>
                      <a:lnTo>
                        <a:pt x="135" y="464"/>
                      </a:lnTo>
                      <a:lnTo>
                        <a:pt x="132" y="464"/>
                      </a:lnTo>
                      <a:lnTo>
                        <a:pt x="126" y="461"/>
                      </a:lnTo>
                      <a:lnTo>
                        <a:pt x="119" y="459"/>
                      </a:lnTo>
                      <a:lnTo>
                        <a:pt x="116" y="458"/>
                      </a:lnTo>
                      <a:lnTo>
                        <a:pt x="98" y="459"/>
                      </a:lnTo>
                      <a:lnTo>
                        <a:pt x="89" y="456"/>
                      </a:lnTo>
                      <a:lnTo>
                        <a:pt x="86" y="456"/>
                      </a:lnTo>
                      <a:lnTo>
                        <a:pt x="84" y="458"/>
                      </a:lnTo>
                      <a:lnTo>
                        <a:pt x="83" y="460"/>
                      </a:lnTo>
                      <a:lnTo>
                        <a:pt x="80" y="461"/>
                      </a:lnTo>
                      <a:lnTo>
                        <a:pt x="75" y="462"/>
                      </a:lnTo>
                      <a:lnTo>
                        <a:pt x="71" y="462"/>
                      </a:lnTo>
                      <a:lnTo>
                        <a:pt x="67" y="465"/>
                      </a:lnTo>
                      <a:lnTo>
                        <a:pt x="66" y="467"/>
                      </a:lnTo>
                      <a:lnTo>
                        <a:pt x="67" y="471"/>
                      </a:lnTo>
                      <a:lnTo>
                        <a:pt x="69" y="478"/>
                      </a:lnTo>
                      <a:lnTo>
                        <a:pt x="70" y="479"/>
                      </a:lnTo>
                      <a:lnTo>
                        <a:pt x="73" y="479"/>
                      </a:lnTo>
                      <a:lnTo>
                        <a:pt x="75" y="480"/>
                      </a:lnTo>
                      <a:lnTo>
                        <a:pt x="78" y="481"/>
                      </a:lnTo>
                      <a:lnTo>
                        <a:pt x="78" y="484"/>
                      </a:lnTo>
                      <a:lnTo>
                        <a:pt x="79" y="486"/>
                      </a:lnTo>
                      <a:lnTo>
                        <a:pt x="84" y="492"/>
                      </a:lnTo>
                      <a:lnTo>
                        <a:pt x="86" y="494"/>
                      </a:lnTo>
                      <a:lnTo>
                        <a:pt x="85" y="498"/>
                      </a:lnTo>
                      <a:lnTo>
                        <a:pt x="84" y="503"/>
                      </a:lnTo>
                      <a:lnTo>
                        <a:pt x="83" y="507"/>
                      </a:lnTo>
                      <a:lnTo>
                        <a:pt x="83" y="512"/>
                      </a:lnTo>
                      <a:lnTo>
                        <a:pt x="81" y="517"/>
                      </a:lnTo>
                      <a:lnTo>
                        <a:pt x="81" y="518"/>
                      </a:lnTo>
                      <a:lnTo>
                        <a:pt x="79" y="519"/>
                      </a:lnTo>
                      <a:lnTo>
                        <a:pt x="75" y="522"/>
                      </a:lnTo>
                      <a:lnTo>
                        <a:pt x="75" y="523"/>
                      </a:lnTo>
                      <a:lnTo>
                        <a:pt x="75" y="524"/>
                      </a:lnTo>
                      <a:lnTo>
                        <a:pt x="75" y="525"/>
                      </a:lnTo>
                      <a:lnTo>
                        <a:pt x="71" y="526"/>
                      </a:lnTo>
                      <a:lnTo>
                        <a:pt x="67" y="526"/>
                      </a:lnTo>
                      <a:lnTo>
                        <a:pt x="64" y="524"/>
                      </a:lnTo>
                      <a:lnTo>
                        <a:pt x="61" y="522"/>
                      </a:lnTo>
                      <a:lnTo>
                        <a:pt x="59" y="518"/>
                      </a:lnTo>
                      <a:lnTo>
                        <a:pt x="57" y="512"/>
                      </a:lnTo>
                      <a:lnTo>
                        <a:pt x="56" y="507"/>
                      </a:lnTo>
                      <a:lnTo>
                        <a:pt x="53" y="503"/>
                      </a:lnTo>
                      <a:lnTo>
                        <a:pt x="51" y="500"/>
                      </a:lnTo>
                      <a:lnTo>
                        <a:pt x="48" y="502"/>
                      </a:lnTo>
                      <a:lnTo>
                        <a:pt x="43" y="505"/>
                      </a:lnTo>
                      <a:lnTo>
                        <a:pt x="33" y="513"/>
                      </a:lnTo>
                      <a:lnTo>
                        <a:pt x="28" y="517"/>
                      </a:lnTo>
                      <a:lnTo>
                        <a:pt x="26" y="522"/>
                      </a:lnTo>
                      <a:lnTo>
                        <a:pt x="22" y="526"/>
                      </a:lnTo>
                      <a:lnTo>
                        <a:pt x="20" y="532"/>
                      </a:lnTo>
                      <a:lnTo>
                        <a:pt x="20" y="537"/>
                      </a:lnTo>
                      <a:lnTo>
                        <a:pt x="20" y="543"/>
                      </a:lnTo>
                      <a:lnTo>
                        <a:pt x="20" y="548"/>
                      </a:lnTo>
                      <a:lnTo>
                        <a:pt x="20" y="549"/>
                      </a:lnTo>
                      <a:lnTo>
                        <a:pt x="22" y="550"/>
                      </a:lnTo>
                      <a:lnTo>
                        <a:pt x="27" y="555"/>
                      </a:lnTo>
                      <a:lnTo>
                        <a:pt x="29" y="560"/>
                      </a:lnTo>
                      <a:lnTo>
                        <a:pt x="31" y="566"/>
                      </a:lnTo>
                      <a:lnTo>
                        <a:pt x="28" y="571"/>
                      </a:lnTo>
                      <a:lnTo>
                        <a:pt x="27" y="574"/>
                      </a:lnTo>
                      <a:lnTo>
                        <a:pt x="24" y="576"/>
                      </a:lnTo>
                      <a:lnTo>
                        <a:pt x="22" y="579"/>
                      </a:lnTo>
                      <a:lnTo>
                        <a:pt x="18" y="579"/>
                      </a:lnTo>
                      <a:lnTo>
                        <a:pt x="15" y="577"/>
                      </a:lnTo>
                      <a:lnTo>
                        <a:pt x="15" y="576"/>
                      </a:lnTo>
                      <a:lnTo>
                        <a:pt x="19" y="570"/>
                      </a:lnTo>
                      <a:lnTo>
                        <a:pt x="20" y="567"/>
                      </a:lnTo>
                      <a:lnTo>
                        <a:pt x="20" y="564"/>
                      </a:lnTo>
                      <a:lnTo>
                        <a:pt x="18" y="564"/>
                      </a:lnTo>
                      <a:lnTo>
                        <a:pt x="18" y="568"/>
                      </a:lnTo>
                      <a:lnTo>
                        <a:pt x="17" y="571"/>
                      </a:lnTo>
                      <a:lnTo>
                        <a:pt x="12" y="575"/>
                      </a:lnTo>
                      <a:lnTo>
                        <a:pt x="6" y="577"/>
                      </a:lnTo>
                      <a:lnTo>
                        <a:pt x="1" y="581"/>
                      </a:lnTo>
                      <a:lnTo>
                        <a:pt x="1" y="583"/>
                      </a:lnTo>
                      <a:lnTo>
                        <a:pt x="1" y="586"/>
                      </a:lnTo>
                      <a:lnTo>
                        <a:pt x="4" y="589"/>
                      </a:lnTo>
                      <a:lnTo>
                        <a:pt x="4" y="593"/>
                      </a:lnTo>
                      <a:lnTo>
                        <a:pt x="3" y="595"/>
                      </a:lnTo>
                      <a:lnTo>
                        <a:pt x="0" y="600"/>
                      </a:lnTo>
                      <a:lnTo>
                        <a:pt x="14" y="600"/>
                      </a:lnTo>
                      <a:lnTo>
                        <a:pt x="28" y="598"/>
                      </a:lnTo>
                      <a:lnTo>
                        <a:pt x="55" y="594"/>
                      </a:lnTo>
                      <a:lnTo>
                        <a:pt x="61" y="594"/>
                      </a:lnTo>
                      <a:lnTo>
                        <a:pt x="67" y="595"/>
                      </a:lnTo>
                      <a:lnTo>
                        <a:pt x="71" y="599"/>
                      </a:lnTo>
                      <a:lnTo>
                        <a:pt x="76" y="604"/>
                      </a:lnTo>
                      <a:lnTo>
                        <a:pt x="80" y="611"/>
                      </a:lnTo>
                      <a:lnTo>
                        <a:pt x="84" y="618"/>
                      </a:lnTo>
                      <a:lnTo>
                        <a:pt x="85" y="626"/>
                      </a:lnTo>
                      <a:lnTo>
                        <a:pt x="86" y="633"/>
                      </a:lnTo>
                      <a:lnTo>
                        <a:pt x="86" y="641"/>
                      </a:lnTo>
                      <a:lnTo>
                        <a:pt x="85" y="650"/>
                      </a:lnTo>
                      <a:lnTo>
                        <a:pt x="81" y="666"/>
                      </a:lnTo>
                      <a:lnTo>
                        <a:pt x="81" y="668"/>
                      </a:lnTo>
                      <a:lnTo>
                        <a:pt x="84" y="670"/>
                      </a:lnTo>
                      <a:lnTo>
                        <a:pt x="86" y="672"/>
                      </a:lnTo>
                      <a:lnTo>
                        <a:pt x="86" y="673"/>
                      </a:lnTo>
                      <a:lnTo>
                        <a:pt x="86" y="675"/>
                      </a:lnTo>
                      <a:lnTo>
                        <a:pt x="83" y="683"/>
                      </a:lnTo>
                      <a:lnTo>
                        <a:pt x="81" y="691"/>
                      </a:lnTo>
                      <a:lnTo>
                        <a:pt x="83" y="694"/>
                      </a:lnTo>
                      <a:lnTo>
                        <a:pt x="84" y="696"/>
                      </a:lnTo>
                      <a:lnTo>
                        <a:pt x="88" y="701"/>
                      </a:lnTo>
                      <a:lnTo>
                        <a:pt x="88" y="704"/>
                      </a:lnTo>
                      <a:lnTo>
                        <a:pt x="88" y="708"/>
                      </a:lnTo>
                      <a:lnTo>
                        <a:pt x="85" y="711"/>
                      </a:lnTo>
                      <a:lnTo>
                        <a:pt x="81" y="716"/>
                      </a:lnTo>
                      <a:lnTo>
                        <a:pt x="75" y="722"/>
                      </a:lnTo>
                      <a:lnTo>
                        <a:pt x="66" y="729"/>
                      </a:lnTo>
                      <a:lnTo>
                        <a:pt x="69" y="732"/>
                      </a:lnTo>
                      <a:lnTo>
                        <a:pt x="70" y="733"/>
                      </a:lnTo>
                      <a:lnTo>
                        <a:pt x="70" y="734"/>
                      </a:lnTo>
                      <a:lnTo>
                        <a:pt x="67" y="740"/>
                      </a:lnTo>
                      <a:lnTo>
                        <a:pt x="64" y="746"/>
                      </a:lnTo>
                      <a:lnTo>
                        <a:pt x="60" y="751"/>
                      </a:lnTo>
                      <a:lnTo>
                        <a:pt x="64" y="756"/>
                      </a:lnTo>
                      <a:lnTo>
                        <a:pt x="66" y="756"/>
                      </a:lnTo>
                      <a:lnTo>
                        <a:pt x="69" y="756"/>
                      </a:lnTo>
                      <a:lnTo>
                        <a:pt x="73" y="756"/>
                      </a:lnTo>
                      <a:lnTo>
                        <a:pt x="76" y="756"/>
                      </a:lnTo>
                      <a:lnTo>
                        <a:pt x="80" y="755"/>
                      </a:lnTo>
                      <a:lnTo>
                        <a:pt x="84" y="755"/>
                      </a:lnTo>
                      <a:lnTo>
                        <a:pt x="88" y="758"/>
                      </a:lnTo>
                      <a:lnTo>
                        <a:pt x="92" y="760"/>
                      </a:lnTo>
                      <a:lnTo>
                        <a:pt x="95" y="761"/>
                      </a:lnTo>
                      <a:lnTo>
                        <a:pt x="97" y="761"/>
                      </a:lnTo>
                      <a:lnTo>
                        <a:pt x="99" y="760"/>
                      </a:lnTo>
                      <a:lnTo>
                        <a:pt x="103" y="756"/>
                      </a:lnTo>
                      <a:lnTo>
                        <a:pt x="108" y="753"/>
                      </a:lnTo>
                      <a:lnTo>
                        <a:pt x="112" y="752"/>
                      </a:lnTo>
                      <a:lnTo>
                        <a:pt x="114" y="753"/>
                      </a:lnTo>
                      <a:lnTo>
                        <a:pt x="116" y="753"/>
                      </a:lnTo>
                      <a:lnTo>
                        <a:pt x="118" y="756"/>
                      </a:lnTo>
                      <a:lnTo>
                        <a:pt x="119" y="760"/>
                      </a:lnTo>
                      <a:lnTo>
                        <a:pt x="121" y="767"/>
                      </a:lnTo>
                      <a:lnTo>
                        <a:pt x="119" y="783"/>
                      </a:lnTo>
                      <a:lnTo>
                        <a:pt x="121" y="783"/>
                      </a:lnTo>
                      <a:lnTo>
                        <a:pt x="121" y="784"/>
                      </a:lnTo>
                      <a:lnTo>
                        <a:pt x="121" y="785"/>
                      </a:lnTo>
                      <a:lnTo>
                        <a:pt x="122" y="786"/>
                      </a:lnTo>
                      <a:lnTo>
                        <a:pt x="136" y="798"/>
                      </a:lnTo>
                      <a:lnTo>
                        <a:pt x="142" y="804"/>
                      </a:lnTo>
                      <a:lnTo>
                        <a:pt x="146" y="812"/>
                      </a:lnTo>
                      <a:lnTo>
                        <a:pt x="149" y="815"/>
                      </a:lnTo>
                      <a:lnTo>
                        <a:pt x="151" y="816"/>
                      </a:lnTo>
                      <a:lnTo>
                        <a:pt x="155" y="816"/>
                      </a:lnTo>
                      <a:lnTo>
                        <a:pt x="158" y="816"/>
                      </a:lnTo>
                      <a:lnTo>
                        <a:pt x="165" y="813"/>
                      </a:lnTo>
                      <a:lnTo>
                        <a:pt x="172" y="812"/>
                      </a:lnTo>
                      <a:lnTo>
                        <a:pt x="174" y="812"/>
                      </a:lnTo>
                      <a:lnTo>
                        <a:pt x="178" y="813"/>
                      </a:lnTo>
                      <a:lnTo>
                        <a:pt x="179" y="811"/>
                      </a:lnTo>
                      <a:lnTo>
                        <a:pt x="182" y="810"/>
                      </a:lnTo>
                      <a:lnTo>
                        <a:pt x="184" y="809"/>
                      </a:lnTo>
                      <a:lnTo>
                        <a:pt x="189" y="805"/>
                      </a:lnTo>
                      <a:lnTo>
                        <a:pt x="191" y="801"/>
                      </a:lnTo>
                      <a:lnTo>
                        <a:pt x="192" y="797"/>
                      </a:lnTo>
                      <a:lnTo>
                        <a:pt x="193" y="792"/>
                      </a:lnTo>
                      <a:lnTo>
                        <a:pt x="194" y="790"/>
                      </a:lnTo>
                      <a:lnTo>
                        <a:pt x="197" y="788"/>
                      </a:lnTo>
                      <a:lnTo>
                        <a:pt x="201" y="787"/>
                      </a:lnTo>
                      <a:lnTo>
                        <a:pt x="205" y="787"/>
                      </a:lnTo>
                      <a:lnTo>
                        <a:pt x="211" y="790"/>
                      </a:lnTo>
                      <a:lnTo>
                        <a:pt x="222" y="797"/>
                      </a:lnTo>
                      <a:lnTo>
                        <a:pt x="226" y="798"/>
                      </a:lnTo>
                      <a:lnTo>
                        <a:pt x="230" y="799"/>
                      </a:lnTo>
                      <a:lnTo>
                        <a:pt x="236" y="799"/>
                      </a:lnTo>
                      <a:lnTo>
                        <a:pt x="244" y="798"/>
                      </a:lnTo>
                      <a:lnTo>
                        <a:pt x="252" y="799"/>
                      </a:lnTo>
                      <a:lnTo>
                        <a:pt x="249" y="803"/>
                      </a:lnTo>
                      <a:lnTo>
                        <a:pt x="246" y="805"/>
                      </a:lnTo>
                      <a:lnTo>
                        <a:pt x="243" y="806"/>
                      </a:lnTo>
                      <a:lnTo>
                        <a:pt x="239" y="807"/>
                      </a:lnTo>
                      <a:lnTo>
                        <a:pt x="230" y="809"/>
                      </a:lnTo>
                      <a:lnTo>
                        <a:pt x="226" y="810"/>
                      </a:lnTo>
                      <a:lnTo>
                        <a:pt x="224" y="812"/>
                      </a:lnTo>
                      <a:lnTo>
                        <a:pt x="222" y="815"/>
                      </a:lnTo>
                      <a:lnTo>
                        <a:pt x="224" y="816"/>
                      </a:lnTo>
                      <a:lnTo>
                        <a:pt x="231" y="819"/>
                      </a:lnTo>
                      <a:lnTo>
                        <a:pt x="238" y="822"/>
                      </a:lnTo>
                      <a:lnTo>
                        <a:pt x="240" y="824"/>
                      </a:lnTo>
                      <a:lnTo>
                        <a:pt x="241" y="826"/>
                      </a:lnTo>
                      <a:lnTo>
                        <a:pt x="241" y="830"/>
                      </a:lnTo>
                      <a:lnTo>
                        <a:pt x="240" y="836"/>
                      </a:lnTo>
                      <a:lnTo>
                        <a:pt x="241" y="837"/>
                      </a:lnTo>
                      <a:lnTo>
                        <a:pt x="243" y="839"/>
                      </a:lnTo>
                      <a:lnTo>
                        <a:pt x="245" y="841"/>
                      </a:lnTo>
                      <a:lnTo>
                        <a:pt x="248" y="841"/>
                      </a:lnTo>
                      <a:lnTo>
                        <a:pt x="257" y="834"/>
                      </a:lnTo>
                      <a:lnTo>
                        <a:pt x="266" y="828"/>
                      </a:lnTo>
                      <a:lnTo>
                        <a:pt x="269" y="825"/>
                      </a:lnTo>
                      <a:lnTo>
                        <a:pt x="274" y="823"/>
                      </a:lnTo>
                      <a:lnTo>
                        <a:pt x="279" y="822"/>
                      </a:lnTo>
                      <a:lnTo>
                        <a:pt x="286" y="822"/>
                      </a:lnTo>
                      <a:lnTo>
                        <a:pt x="288" y="822"/>
                      </a:lnTo>
                      <a:lnTo>
                        <a:pt x="290" y="818"/>
                      </a:lnTo>
                      <a:lnTo>
                        <a:pt x="290" y="816"/>
                      </a:lnTo>
                      <a:lnTo>
                        <a:pt x="288" y="812"/>
                      </a:lnTo>
                      <a:lnTo>
                        <a:pt x="286" y="811"/>
                      </a:lnTo>
                      <a:lnTo>
                        <a:pt x="283" y="810"/>
                      </a:lnTo>
                      <a:lnTo>
                        <a:pt x="277" y="809"/>
                      </a:lnTo>
                      <a:lnTo>
                        <a:pt x="274" y="809"/>
                      </a:lnTo>
                      <a:lnTo>
                        <a:pt x="273" y="807"/>
                      </a:lnTo>
                      <a:lnTo>
                        <a:pt x="272" y="805"/>
                      </a:lnTo>
                      <a:lnTo>
                        <a:pt x="272" y="801"/>
                      </a:lnTo>
                      <a:lnTo>
                        <a:pt x="271" y="804"/>
                      </a:lnTo>
                      <a:lnTo>
                        <a:pt x="272" y="807"/>
                      </a:lnTo>
                      <a:lnTo>
                        <a:pt x="273" y="810"/>
                      </a:lnTo>
                      <a:lnTo>
                        <a:pt x="272" y="812"/>
                      </a:lnTo>
                      <a:lnTo>
                        <a:pt x="269" y="815"/>
                      </a:lnTo>
                      <a:lnTo>
                        <a:pt x="267" y="816"/>
                      </a:lnTo>
                      <a:lnTo>
                        <a:pt x="264" y="815"/>
                      </a:lnTo>
                      <a:lnTo>
                        <a:pt x="262" y="813"/>
                      </a:lnTo>
                      <a:lnTo>
                        <a:pt x="258" y="809"/>
                      </a:lnTo>
                      <a:lnTo>
                        <a:pt x="257" y="803"/>
                      </a:lnTo>
                      <a:lnTo>
                        <a:pt x="257" y="798"/>
                      </a:lnTo>
                      <a:lnTo>
                        <a:pt x="259" y="793"/>
                      </a:lnTo>
                      <a:lnTo>
                        <a:pt x="260" y="792"/>
                      </a:lnTo>
                      <a:lnTo>
                        <a:pt x="263" y="792"/>
                      </a:lnTo>
                      <a:lnTo>
                        <a:pt x="268" y="791"/>
                      </a:lnTo>
                      <a:lnTo>
                        <a:pt x="271" y="790"/>
                      </a:lnTo>
                      <a:lnTo>
                        <a:pt x="271" y="787"/>
                      </a:lnTo>
                      <a:lnTo>
                        <a:pt x="271" y="786"/>
                      </a:lnTo>
                      <a:lnTo>
                        <a:pt x="273" y="784"/>
                      </a:lnTo>
                      <a:lnTo>
                        <a:pt x="274" y="784"/>
                      </a:lnTo>
                      <a:lnTo>
                        <a:pt x="278" y="784"/>
                      </a:lnTo>
                      <a:lnTo>
                        <a:pt x="282" y="784"/>
                      </a:lnTo>
                      <a:lnTo>
                        <a:pt x="285" y="785"/>
                      </a:lnTo>
                      <a:lnTo>
                        <a:pt x="288" y="785"/>
                      </a:lnTo>
                      <a:lnTo>
                        <a:pt x="291" y="783"/>
                      </a:lnTo>
                      <a:lnTo>
                        <a:pt x="295" y="781"/>
                      </a:lnTo>
                      <a:lnTo>
                        <a:pt x="305" y="779"/>
                      </a:lnTo>
                      <a:lnTo>
                        <a:pt x="314" y="777"/>
                      </a:lnTo>
                      <a:lnTo>
                        <a:pt x="333" y="769"/>
                      </a:lnTo>
                      <a:lnTo>
                        <a:pt x="339" y="768"/>
                      </a:lnTo>
                      <a:lnTo>
                        <a:pt x="335" y="774"/>
                      </a:lnTo>
                      <a:lnTo>
                        <a:pt x="332" y="779"/>
                      </a:lnTo>
                      <a:lnTo>
                        <a:pt x="326" y="781"/>
                      </a:lnTo>
                      <a:lnTo>
                        <a:pt x="320" y="783"/>
                      </a:lnTo>
                      <a:lnTo>
                        <a:pt x="320" y="786"/>
                      </a:lnTo>
                      <a:lnTo>
                        <a:pt x="320" y="790"/>
                      </a:lnTo>
                      <a:lnTo>
                        <a:pt x="321" y="791"/>
                      </a:lnTo>
                      <a:lnTo>
                        <a:pt x="324" y="793"/>
                      </a:lnTo>
                      <a:lnTo>
                        <a:pt x="325" y="796"/>
                      </a:lnTo>
                      <a:lnTo>
                        <a:pt x="324" y="797"/>
                      </a:lnTo>
                      <a:lnTo>
                        <a:pt x="323" y="798"/>
                      </a:lnTo>
                      <a:lnTo>
                        <a:pt x="320" y="799"/>
                      </a:lnTo>
                      <a:lnTo>
                        <a:pt x="318" y="800"/>
                      </a:lnTo>
                      <a:lnTo>
                        <a:pt x="315" y="806"/>
                      </a:lnTo>
                      <a:lnTo>
                        <a:pt x="313" y="811"/>
                      </a:lnTo>
                      <a:lnTo>
                        <a:pt x="311" y="812"/>
                      </a:lnTo>
                      <a:lnTo>
                        <a:pt x="311" y="815"/>
                      </a:lnTo>
                      <a:lnTo>
                        <a:pt x="311" y="817"/>
                      </a:lnTo>
                      <a:lnTo>
                        <a:pt x="309" y="817"/>
                      </a:lnTo>
                      <a:lnTo>
                        <a:pt x="306" y="817"/>
                      </a:lnTo>
                      <a:lnTo>
                        <a:pt x="305" y="816"/>
                      </a:lnTo>
                      <a:lnTo>
                        <a:pt x="304" y="815"/>
                      </a:lnTo>
                      <a:lnTo>
                        <a:pt x="302" y="816"/>
                      </a:lnTo>
                      <a:lnTo>
                        <a:pt x="301" y="818"/>
                      </a:lnTo>
                      <a:lnTo>
                        <a:pt x="301" y="822"/>
                      </a:lnTo>
                      <a:lnTo>
                        <a:pt x="301" y="824"/>
                      </a:lnTo>
                      <a:lnTo>
                        <a:pt x="305" y="825"/>
                      </a:lnTo>
                      <a:lnTo>
                        <a:pt x="307" y="826"/>
                      </a:lnTo>
                      <a:lnTo>
                        <a:pt x="311" y="828"/>
                      </a:lnTo>
                      <a:lnTo>
                        <a:pt x="316" y="832"/>
                      </a:lnTo>
                      <a:lnTo>
                        <a:pt x="321" y="836"/>
                      </a:lnTo>
                      <a:lnTo>
                        <a:pt x="328" y="839"/>
                      </a:lnTo>
                      <a:lnTo>
                        <a:pt x="332" y="841"/>
                      </a:lnTo>
                      <a:lnTo>
                        <a:pt x="335" y="841"/>
                      </a:lnTo>
                      <a:lnTo>
                        <a:pt x="340" y="844"/>
                      </a:lnTo>
                      <a:lnTo>
                        <a:pt x="344" y="848"/>
                      </a:lnTo>
                      <a:lnTo>
                        <a:pt x="348" y="852"/>
                      </a:lnTo>
                      <a:lnTo>
                        <a:pt x="352" y="856"/>
                      </a:lnTo>
                      <a:lnTo>
                        <a:pt x="359" y="860"/>
                      </a:lnTo>
                      <a:lnTo>
                        <a:pt x="365" y="863"/>
                      </a:lnTo>
                      <a:lnTo>
                        <a:pt x="375" y="871"/>
                      </a:lnTo>
                      <a:lnTo>
                        <a:pt x="384" y="881"/>
                      </a:lnTo>
                      <a:lnTo>
                        <a:pt x="386" y="886"/>
                      </a:lnTo>
                      <a:lnTo>
                        <a:pt x="387" y="890"/>
                      </a:lnTo>
                      <a:lnTo>
                        <a:pt x="385" y="895"/>
                      </a:lnTo>
                      <a:lnTo>
                        <a:pt x="382" y="899"/>
                      </a:lnTo>
                      <a:lnTo>
                        <a:pt x="393" y="899"/>
                      </a:lnTo>
                      <a:lnTo>
                        <a:pt x="404" y="899"/>
                      </a:lnTo>
                      <a:lnTo>
                        <a:pt x="408" y="901"/>
                      </a:lnTo>
                      <a:lnTo>
                        <a:pt x="413" y="902"/>
                      </a:lnTo>
                      <a:lnTo>
                        <a:pt x="415" y="906"/>
                      </a:lnTo>
                      <a:lnTo>
                        <a:pt x="418" y="911"/>
                      </a:lnTo>
                      <a:lnTo>
                        <a:pt x="424" y="926"/>
                      </a:lnTo>
                      <a:lnTo>
                        <a:pt x="428" y="932"/>
                      </a:lnTo>
                      <a:lnTo>
                        <a:pt x="432" y="939"/>
                      </a:lnTo>
                      <a:lnTo>
                        <a:pt x="432" y="941"/>
                      </a:lnTo>
                      <a:lnTo>
                        <a:pt x="431" y="945"/>
                      </a:lnTo>
                      <a:lnTo>
                        <a:pt x="434" y="945"/>
                      </a:lnTo>
                      <a:lnTo>
                        <a:pt x="437" y="947"/>
                      </a:lnTo>
                      <a:lnTo>
                        <a:pt x="441" y="953"/>
                      </a:lnTo>
                      <a:lnTo>
                        <a:pt x="446" y="958"/>
                      </a:lnTo>
                      <a:lnTo>
                        <a:pt x="450" y="960"/>
                      </a:lnTo>
                      <a:lnTo>
                        <a:pt x="452" y="962"/>
                      </a:lnTo>
                      <a:lnTo>
                        <a:pt x="456" y="962"/>
                      </a:lnTo>
                      <a:lnTo>
                        <a:pt x="460" y="962"/>
                      </a:lnTo>
                      <a:lnTo>
                        <a:pt x="466" y="959"/>
                      </a:lnTo>
                      <a:lnTo>
                        <a:pt x="471" y="956"/>
                      </a:lnTo>
                      <a:lnTo>
                        <a:pt x="478" y="952"/>
                      </a:lnTo>
                      <a:lnTo>
                        <a:pt x="484" y="949"/>
                      </a:lnTo>
                      <a:lnTo>
                        <a:pt x="485" y="949"/>
                      </a:lnTo>
                      <a:lnTo>
                        <a:pt x="486" y="949"/>
                      </a:lnTo>
                      <a:lnTo>
                        <a:pt x="489" y="952"/>
                      </a:lnTo>
                      <a:lnTo>
                        <a:pt x="490" y="956"/>
                      </a:lnTo>
                      <a:lnTo>
                        <a:pt x="489" y="958"/>
                      </a:lnTo>
                      <a:lnTo>
                        <a:pt x="489" y="963"/>
                      </a:lnTo>
                      <a:lnTo>
                        <a:pt x="490" y="967"/>
                      </a:lnTo>
                      <a:lnTo>
                        <a:pt x="492" y="970"/>
                      </a:lnTo>
                      <a:lnTo>
                        <a:pt x="494" y="973"/>
                      </a:lnTo>
                      <a:lnTo>
                        <a:pt x="497" y="975"/>
                      </a:lnTo>
                      <a:lnTo>
                        <a:pt x="500" y="977"/>
                      </a:lnTo>
                      <a:lnTo>
                        <a:pt x="508" y="978"/>
                      </a:lnTo>
                      <a:lnTo>
                        <a:pt x="508" y="969"/>
                      </a:lnTo>
                      <a:lnTo>
                        <a:pt x="507" y="965"/>
                      </a:lnTo>
                      <a:lnTo>
                        <a:pt x="506" y="960"/>
                      </a:lnTo>
                      <a:lnTo>
                        <a:pt x="503" y="957"/>
                      </a:lnTo>
                      <a:lnTo>
                        <a:pt x="503" y="954"/>
                      </a:lnTo>
                      <a:lnTo>
                        <a:pt x="504" y="947"/>
                      </a:lnTo>
                      <a:lnTo>
                        <a:pt x="507" y="949"/>
                      </a:lnTo>
                      <a:lnTo>
                        <a:pt x="508" y="950"/>
                      </a:lnTo>
                      <a:lnTo>
                        <a:pt x="509" y="952"/>
                      </a:lnTo>
                      <a:lnTo>
                        <a:pt x="511" y="953"/>
                      </a:lnTo>
                      <a:lnTo>
                        <a:pt x="513" y="953"/>
                      </a:lnTo>
                      <a:lnTo>
                        <a:pt x="516" y="952"/>
                      </a:lnTo>
                      <a:lnTo>
                        <a:pt x="517" y="951"/>
                      </a:lnTo>
                      <a:lnTo>
                        <a:pt x="517" y="949"/>
                      </a:lnTo>
                      <a:lnTo>
                        <a:pt x="517" y="944"/>
                      </a:lnTo>
                      <a:lnTo>
                        <a:pt x="518" y="940"/>
                      </a:lnTo>
                      <a:lnTo>
                        <a:pt x="523" y="933"/>
                      </a:lnTo>
                      <a:lnTo>
                        <a:pt x="528" y="932"/>
                      </a:lnTo>
                      <a:lnTo>
                        <a:pt x="531" y="931"/>
                      </a:lnTo>
                      <a:lnTo>
                        <a:pt x="531" y="930"/>
                      </a:lnTo>
                      <a:lnTo>
                        <a:pt x="526" y="926"/>
                      </a:lnTo>
                      <a:lnTo>
                        <a:pt x="521" y="922"/>
                      </a:lnTo>
                      <a:lnTo>
                        <a:pt x="513" y="915"/>
                      </a:lnTo>
                      <a:lnTo>
                        <a:pt x="509" y="912"/>
                      </a:lnTo>
                      <a:lnTo>
                        <a:pt x="508" y="911"/>
                      </a:lnTo>
                      <a:lnTo>
                        <a:pt x="507" y="909"/>
                      </a:lnTo>
                      <a:lnTo>
                        <a:pt x="504" y="901"/>
                      </a:lnTo>
                      <a:lnTo>
                        <a:pt x="503" y="899"/>
                      </a:lnTo>
                      <a:lnTo>
                        <a:pt x="499" y="895"/>
                      </a:lnTo>
                      <a:lnTo>
                        <a:pt x="490" y="884"/>
                      </a:lnTo>
                      <a:lnTo>
                        <a:pt x="485" y="876"/>
                      </a:lnTo>
                      <a:lnTo>
                        <a:pt x="484" y="868"/>
                      </a:lnTo>
                      <a:lnTo>
                        <a:pt x="483" y="860"/>
                      </a:lnTo>
                      <a:lnTo>
                        <a:pt x="484" y="850"/>
                      </a:lnTo>
                      <a:lnTo>
                        <a:pt x="479" y="843"/>
                      </a:lnTo>
                      <a:lnTo>
                        <a:pt x="476" y="835"/>
                      </a:lnTo>
                      <a:lnTo>
                        <a:pt x="475" y="832"/>
                      </a:lnTo>
                      <a:lnTo>
                        <a:pt x="475" y="828"/>
                      </a:lnTo>
                      <a:lnTo>
                        <a:pt x="476" y="819"/>
                      </a:lnTo>
                      <a:lnTo>
                        <a:pt x="479" y="811"/>
                      </a:lnTo>
                      <a:lnTo>
                        <a:pt x="480" y="809"/>
                      </a:lnTo>
                      <a:lnTo>
                        <a:pt x="483" y="807"/>
                      </a:lnTo>
                      <a:lnTo>
                        <a:pt x="489" y="804"/>
                      </a:lnTo>
                      <a:lnTo>
                        <a:pt x="493" y="800"/>
                      </a:lnTo>
                      <a:lnTo>
                        <a:pt x="503" y="791"/>
                      </a:lnTo>
                      <a:lnTo>
                        <a:pt x="506" y="788"/>
                      </a:lnTo>
                      <a:lnTo>
                        <a:pt x="511" y="787"/>
                      </a:lnTo>
                      <a:lnTo>
                        <a:pt x="514" y="786"/>
                      </a:lnTo>
                      <a:lnTo>
                        <a:pt x="517" y="784"/>
                      </a:lnTo>
                      <a:lnTo>
                        <a:pt x="526" y="780"/>
                      </a:lnTo>
                      <a:lnTo>
                        <a:pt x="531" y="778"/>
                      </a:lnTo>
                      <a:lnTo>
                        <a:pt x="533" y="775"/>
                      </a:lnTo>
                      <a:lnTo>
                        <a:pt x="542" y="769"/>
                      </a:lnTo>
                      <a:lnTo>
                        <a:pt x="547" y="767"/>
                      </a:lnTo>
                      <a:lnTo>
                        <a:pt x="554" y="767"/>
                      </a:lnTo>
                      <a:lnTo>
                        <a:pt x="556" y="765"/>
                      </a:lnTo>
                      <a:lnTo>
                        <a:pt x="558" y="764"/>
                      </a:lnTo>
                      <a:lnTo>
                        <a:pt x="570" y="765"/>
                      </a:lnTo>
                      <a:lnTo>
                        <a:pt x="578" y="766"/>
                      </a:lnTo>
                      <a:lnTo>
                        <a:pt x="583" y="768"/>
                      </a:lnTo>
                      <a:lnTo>
                        <a:pt x="586" y="771"/>
                      </a:lnTo>
                      <a:lnTo>
                        <a:pt x="587" y="773"/>
                      </a:lnTo>
                      <a:lnTo>
                        <a:pt x="587" y="775"/>
                      </a:lnTo>
                      <a:lnTo>
                        <a:pt x="589" y="778"/>
                      </a:lnTo>
                      <a:lnTo>
                        <a:pt x="592" y="781"/>
                      </a:lnTo>
                      <a:lnTo>
                        <a:pt x="593" y="784"/>
                      </a:lnTo>
                      <a:lnTo>
                        <a:pt x="593" y="786"/>
                      </a:lnTo>
                      <a:lnTo>
                        <a:pt x="594" y="791"/>
                      </a:lnTo>
                      <a:lnTo>
                        <a:pt x="596" y="792"/>
                      </a:lnTo>
                      <a:lnTo>
                        <a:pt x="598" y="793"/>
                      </a:lnTo>
                      <a:lnTo>
                        <a:pt x="599" y="794"/>
                      </a:lnTo>
                      <a:lnTo>
                        <a:pt x="598" y="794"/>
                      </a:lnTo>
                      <a:lnTo>
                        <a:pt x="597" y="796"/>
                      </a:lnTo>
                      <a:lnTo>
                        <a:pt x="597" y="797"/>
                      </a:lnTo>
                      <a:lnTo>
                        <a:pt x="594" y="798"/>
                      </a:lnTo>
                      <a:lnTo>
                        <a:pt x="594" y="799"/>
                      </a:lnTo>
                      <a:lnTo>
                        <a:pt x="597" y="804"/>
                      </a:lnTo>
                      <a:lnTo>
                        <a:pt x="597" y="806"/>
                      </a:lnTo>
                      <a:lnTo>
                        <a:pt x="597" y="807"/>
                      </a:lnTo>
                      <a:lnTo>
                        <a:pt x="598" y="809"/>
                      </a:lnTo>
                      <a:lnTo>
                        <a:pt x="596" y="811"/>
                      </a:lnTo>
                      <a:lnTo>
                        <a:pt x="592" y="813"/>
                      </a:lnTo>
                      <a:lnTo>
                        <a:pt x="588" y="816"/>
                      </a:lnTo>
                      <a:lnTo>
                        <a:pt x="584" y="816"/>
                      </a:lnTo>
                      <a:lnTo>
                        <a:pt x="578" y="813"/>
                      </a:lnTo>
                      <a:lnTo>
                        <a:pt x="572" y="812"/>
                      </a:lnTo>
                      <a:lnTo>
                        <a:pt x="569" y="811"/>
                      </a:lnTo>
                      <a:lnTo>
                        <a:pt x="565" y="810"/>
                      </a:lnTo>
                      <a:lnTo>
                        <a:pt x="561" y="810"/>
                      </a:lnTo>
                      <a:lnTo>
                        <a:pt x="558" y="811"/>
                      </a:lnTo>
                      <a:lnTo>
                        <a:pt x="554" y="813"/>
                      </a:lnTo>
                      <a:lnTo>
                        <a:pt x="553" y="815"/>
                      </a:lnTo>
                      <a:lnTo>
                        <a:pt x="553" y="817"/>
                      </a:lnTo>
                      <a:lnTo>
                        <a:pt x="554" y="824"/>
                      </a:lnTo>
                      <a:lnTo>
                        <a:pt x="555" y="831"/>
                      </a:lnTo>
                      <a:lnTo>
                        <a:pt x="556" y="835"/>
                      </a:lnTo>
                      <a:lnTo>
                        <a:pt x="556" y="837"/>
                      </a:lnTo>
                      <a:lnTo>
                        <a:pt x="555" y="838"/>
                      </a:lnTo>
                      <a:lnTo>
                        <a:pt x="553" y="838"/>
                      </a:lnTo>
                      <a:lnTo>
                        <a:pt x="547" y="838"/>
                      </a:lnTo>
                      <a:lnTo>
                        <a:pt x="542" y="836"/>
                      </a:lnTo>
                      <a:lnTo>
                        <a:pt x="537" y="835"/>
                      </a:lnTo>
                      <a:lnTo>
                        <a:pt x="536" y="836"/>
                      </a:lnTo>
                      <a:lnTo>
                        <a:pt x="536" y="837"/>
                      </a:lnTo>
                      <a:lnTo>
                        <a:pt x="537" y="841"/>
                      </a:lnTo>
                      <a:lnTo>
                        <a:pt x="541" y="843"/>
                      </a:lnTo>
                      <a:lnTo>
                        <a:pt x="544" y="844"/>
                      </a:lnTo>
                      <a:lnTo>
                        <a:pt x="545" y="845"/>
                      </a:lnTo>
                      <a:lnTo>
                        <a:pt x="547" y="849"/>
                      </a:lnTo>
                      <a:lnTo>
                        <a:pt x="547" y="851"/>
                      </a:lnTo>
                      <a:lnTo>
                        <a:pt x="549" y="854"/>
                      </a:lnTo>
                      <a:lnTo>
                        <a:pt x="550" y="856"/>
                      </a:lnTo>
                      <a:lnTo>
                        <a:pt x="551" y="858"/>
                      </a:lnTo>
                      <a:lnTo>
                        <a:pt x="551" y="861"/>
                      </a:lnTo>
                      <a:lnTo>
                        <a:pt x="549" y="866"/>
                      </a:lnTo>
                      <a:lnTo>
                        <a:pt x="549" y="868"/>
                      </a:lnTo>
                      <a:lnTo>
                        <a:pt x="550" y="868"/>
                      </a:lnTo>
                      <a:lnTo>
                        <a:pt x="559" y="863"/>
                      </a:lnTo>
                      <a:lnTo>
                        <a:pt x="559" y="864"/>
                      </a:lnTo>
                      <a:lnTo>
                        <a:pt x="560" y="866"/>
                      </a:lnTo>
                      <a:lnTo>
                        <a:pt x="559" y="867"/>
                      </a:lnTo>
                      <a:lnTo>
                        <a:pt x="560" y="868"/>
                      </a:lnTo>
                      <a:lnTo>
                        <a:pt x="563" y="869"/>
                      </a:lnTo>
                      <a:lnTo>
                        <a:pt x="565" y="868"/>
                      </a:lnTo>
                      <a:lnTo>
                        <a:pt x="568" y="867"/>
                      </a:lnTo>
                      <a:lnTo>
                        <a:pt x="570" y="867"/>
                      </a:lnTo>
                      <a:lnTo>
                        <a:pt x="574" y="869"/>
                      </a:lnTo>
                      <a:lnTo>
                        <a:pt x="578" y="870"/>
                      </a:lnTo>
                      <a:lnTo>
                        <a:pt x="579" y="873"/>
                      </a:lnTo>
                      <a:lnTo>
                        <a:pt x="578" y="876"/>
                      </a:lnTo>
                      <a:lnTo>
                        <a:pt x="575" y="883"/>
                      </a:lnTo>
                      <a:lnTo>
                        <a:pt x="575" y="888"/>
                      </a:lnTo>
                      <a:lnTo>
                        <a:pt x="575" y="894"/>
                      </a:lnTo>
                      <a:lnTo>
                        <a:pt x="575" y="899"/>
                      </a:lnTo>
                      <a:lnTo>
                        <a:pt x="577" y="902"/>
                      </a:lnTo>
                      <a:lnTo>
                        <a:pt x="578" y="905"/>
                      </a:lnTo>
                      <a:lnTo>
                        <a:pt x="579" y="902"/>
                      </a:lnTo>
                      <a:lnTo>
                        <a:pt x="580" y="900"/>
                      </a:lnTo>
                      <a:lnTo>
                        <a:pt x="580" y="896"/>
                      </a:lnTo>
                      <a:lnTo>
                        <a:pt x="579" y="893"/>
                      </a:lnTo>
                      <a:lnTo>
                        <a:pt x="580" y="890"/>
                      </a:lnTo>
                      <a:lnTo>
                        <a:pt x="582" y="888"/>
                      </a:lnTo>
                      <a:lnTo>
                        <a:pt x="583" y="887"/>
                      </a:lnTo>
                      <a:lnTo>
                        <a:pt x="584" y="888"/>
                      </a:lnTo>
                      <a:lnTo>
                        <a:pt x="587" y="890"/>
                      </a:lnTo>
                      <a:lnTo>
                        <a:pt x="588" y="890"/>
                      </a:lnTo>
                      <a:lnTo>
                        <a:pt x="589" y="889"/>
                      </a:lnTo>
                      <a:lnTo>
                        <a:pt x="593" y="884"/>
                      </a:lnTo>
                      <a:lnTo>
                        <a:pt x="596" y="883"/>
                      </a:lnTo>
                      <a:lnTo>
                        <a:pt x="597" y="882"/>
                      </a:lnTo>
                      <a:lnTo>
                        <a:pt x="599" y="883"/>
                      </a:lnTo>
                      <a:lnTo>
                        <a:pt x="601" y="886"/>
                      </a:lnTo>
                      <a:lnTo>
                        <a:pt x="603" y="899"/>
                      </a:lnTo>
                      <a:lnTo>
                        <a:pt x="605" y="907"/>
                      </a:lnTo>
                      <a:lnTo>
                        <a:pt x="605" y="911"/>
                      </a:lnTo>
                      <a:lnTo>
                        <a:pt x="605" y="912"/>
                      </a:lnTo>
                      <a:lnTo>
                        <a:pt x="605" y="913"/>
                      </a:lnTo>
                      <a:lnTo>
                        <a:pt x="601" y="918"/>
                      </a:lnTo>
                      <a:lnTo>
                        <a:pt x="599" y="920"/>
                      </a:lnTo>
                      <a:lnTo>
                        <a:pt x="597" y="921"/>
                      </a:lnTo>
                      <a:lnTo>
                        <a:pt x="593" y="921"/>
                      </a:lnTo>
                      <a:lnTo>
                        <a:pt x="591" y="921"/>
                      </a:lnTo>
                      <a:lnTo>
                        <a:pt x="584" y="916"/>
                      </a:lnTo>
                      <a:lnTo>
                        <a:pt x="583" y="916"/>
                      </a:lnTo>
                      <a:lnTo>
                        <a:pt x="582" y="918"/>
                      </a:lnTo>
                      <a:lnTo>
                        <a:pt x="580" y="920"/>
                      </a:lnTo>
                      <a:lnTo>
                        <a:pt x="580" y="926"/>
                      </a:lnTo>
                      <a:lnTo>
                        <a:pt x="582" y="930"/>
                      </a:lnTo>
                      <a:lnTo>
                        <a:pt x="586" y="931"/>
                      </a:lnTo>
                      <a:lnTo>
                        <a:pt x="588" y="931"/>
                      </a:lnTo>
                      <a:lnTo>
                        <a:pt x="592" y="932"/>
                      </a:lnTo>
                      <a:lnTo>
                        <a:pt x="596" y="933"/>
                      </a:lnTo>
                      <a:lnTo>
                        <a:pt x="598" y="935"/>
                      </a:lnTo>
                      <a:lnTo>
                        <a:pt x="598" y="938"/>
                      </a:lnTo>
                      <a:lnTo>
                        <a:pt x="598" y="939"/>
                      </a:lnTo>
                      <a:lnTo>
                        <a:pt x="594" y="940"/>
                      </a:lnTo>
                      <a:lnTo>
                        <a:pt x="592" y="940"/>
                      </a:lnTo>
                      <a:lnTo>
                        <a:pt x="591" y="941"/>
                      </a:lnTo>
                      <a:lnTo>
                        <a:pt x="589" y="943"/>
                      </a:lnTo>
                      <a:lnTo>
                        <a:pt x="591" y="944"/>
                      </a:lnTo>
                      <a:lnTo>
                        <a:pt x="592" y="945"/>
                      </a:lnTo>
                      <a:lnTo>
                        <a:pt x="592" y="946"/>
                      </a:lnTo>
                      <a:lnTo>
                        <a:pt x="592" y="949"/>
                      </a:lnTo>
                      <a:lnTo>
                        <a:pt x="592" y="950"/>
                      </a:lnTo>
                      <a:lnTo>
                        <a:pt x="593" y="951"/>
                      </a:lnTo>
                      <a:lnTo>
                        <a:pt x="597" y="954"/>
                      </a:lnTo>
                      <a:lnTo>
                        <a:pt x="597" y="957"/>
                      </a:lnTo>
                      <a:lnTo>
                        <a:pt x="597" y="959"/>
                      </a:lnTo>
                      <a:lnTo>
                        <a:pt x="596" y="964"/>
                      </a:lnTo>
                      <a:lnTo>
                        <a:pt x="594" y="969"/>
                      </a:lnTo>
                      <a:lnTo>
                        <a:pt x="594" y="975"/>
                      </a:lnTo>
                      <a:lnTo>
                        <a:pt x="596" y="979"/>
                      </a:lnTo>
                      <a:lnTo>
                        <a:pt x="597" y="983"/>
                      </a:lnTo>
                      <a:lnTo>
                        <a:pt x="597" y="988"/>
                      </a:lnTo>
                      <a:lnTo>
                        <a:pt x="606" y="986"/>
                      </a:lnTo>
                      <a:lnTo>
                        <a:pt x="613" y="983"/>
                      </a:lnTo>
                      <a:lnTo>
                        <a:pt x="627" y="975"/>
                      </a:lnTo>
                      <a:lnTo>
                        <a:pt x="633" y="972"/>
                      </a:lnTo>
                      <a:lnTo>
                        <a:pt x="638" y="971"/>
                      </a:lnTo>
                      <a:lnTo>
                        <a:pt x="644" y="966"/>
                      </a:lnTo>
                      <a:lnTo>
                        <a:pt x="646" y="971"/>
                      </a:lnTo>
                      <a:lnTo>
                        <a:pt x="650" y="973"/>
                      </a:lnTo>
                      <a:lnTo>
                        <a:pt x="654" y="973"/>
                      </a:lnTo>
                      <a:lnTo>
                        <a:pt x="657" y="975"/>
                      </a:lnTo>
                      <a:lnTo>
                        <a:pt x="662" y="977"/>
                      </a:lnTo>
                      <a:lnTo>
                        <a:pt x="668" y="979"/>
                      </a:lnTo>
                      <a:lnTo>
                        <a:pt x="679" y="981"/>
                      </a:lnTo>
                      <a:lnTo>
                        <a:pt x="686" y="983"/>
                      </a:lnTo>
                      <a:lnTo>
                        <a:pt x="688" y="985"/>
                      </a:lnTo>
                      <a:lnTo>
                        <a:pt x="691" y="988"/>
                      </a:lnTo>
                      <a:lnTo>
                        <a:pt x="696" y="992"/>
                      </a:lnTo>
                      <a:lnTo>
                        <a:pt x="702" y="996"/>
                      </a:lnTo>
                      <a:lnTo>
                        <a:pt x="715" y="999"/>
                      </a:lnTo>
                      <a:lnTo>
                        <a:pt x="719" y="1002"/>
                      </a:lnTo>
                      <a:lnTo>
                        <a:pt x="721" y="1005"/>
                      </a:lnTo>
                      <a:lnTo>
                        <a:pt x="723" y="1009"/>
                      </a:lnTo>
                      <a:lnTo>
                        <a:pt x="723" y="1014"/>
                      </a:lnTo>
                      <a:lnTo>
                        <a:pt x="723" y="1022"/>
                      </a:lnTo>
                      <a:lnTo>
                        <a:pt x="735" y="1024"/>
                      </a:lnTo>
                      <a:lnTo>
                        <a:pt x="742" y="1026"/>
                      </a:lnTo>
                      <a:lnTo>
                        <a:pt x="749" y="1026"/>
                      </a:lnTo>
                      <a:lnTo>
                        <a:pt x="751" y="1026"/>
                      </a:lnTo>
                      <a:lnTo>
                        <a:pt x="752" y="1024"/>
                      </a:lnTo>
                      <a:lnTo>
                        <a:pt x="754" y="1021"/>
                      </a:lnTo>
                      <a:lnTo>
                        <a:pt x="756" y="1017"/>
                      </a:lnTo>
                      <a:lnTo>
                        <a:pt x="758" y="1014"/>
                      </a:lnTo>
                      <a:lnTo>
                        <a:pt x="761" y="1013"/>
                      </a:lnTo>
                      <a:lnTo>
                        <a:pt x="762" y="1013"/>
                      </a:lnTo>
                      <a:lnTo>
                        <a:pt x="765" y="1013"/>
                      </a:lnTo>
                      <a:lnTo>
                        <a:pt x="767" y="1013"/>
                      </a:lnTo>
                      <a:lnTo>
                        <a:pt x="770" y="1008"/>
                      </a:lnTo>
                      <a:lnTo>
                        <a:pt x="772" y="1004"/>
                      </a:lnTo>
                      <a:lnTo>
                        <a:pt x="776" y="995"/>
                      </a:lnTo>
                      <a:lnTo>
                        <a:pt x="777" y="992"/>
                      </a:lnTo>
                      <a:lnTo>
                        <a:pt x="781" y="991"/>
                      </a:lnTo>
                      <a:lnTo>
                        <a:pt x="786" y="990"/>
                      </a:lnTo>
                      <a:lnTo>
                        <a:pt x="790" y="989"/>
                      </a:lnTo>
                      <a:lnTo>
                        <a:pt x="794" y="986"/>
                      </a:lnTo>
                      <a:lnTo>
                        <a:pt x="798" y="984"/>
                      </a:lnTo>
                      <a:lnTo>
                        <a:pt x="800" y="983"/>
                      </a:lnTo>
                      <a:lnTo>
                        <a:pt x="803" y="984"/>
                      </a:lnTo>
                      <a:lnTo>
                        <a:pt x="804" y="985"/>
                      </a:lnTo>
                      <a:lnTo>
                        <a:pt x="806" y="986"/>
                      </a:lnTo>
                      <a:lnTo>
                        <a:pt x="813" y="986"/>
                      </a:lnTo>
                      <a:lnTo>
                        <a:pt x="818" y="986"/>
                      </a:lnTo>
                      <a:lnTo>
                        <a:pt x="823" y="989"/>
                      </a:lnTo>
                      <a:lnTo>
                        <a:pt x="828" y="992"/>
                      </a:lnTo>
                      <a:lnTo>
                        <a:pt x="829" y="992"/>
                      </a:lnTo>
                      <a:lnTo>
                        <a:pt x="832" y="994"/>
                      </a:lnTo>
                      <a:lnTo>
                        <a:pt x="847" y="991"/>
                      </a:lnTo>
                      <a:lnTo>
                        <a:pt x="850" y="990"/>
                      </a:lnTo>
                      <a:lnTo>
                        <a:pt x="853" y="990"/>
                      </a:lnTo>
                      <a:lnTo>
                        <a:pt x="859" y="990"/>
                      </a:lnTo>
                      <a:lnTo>
                        <a:pt x="864" y="989"/>
                      </a:lnTo>
                      <a:lnTo>
                        <a:pt x="869" y="986"/>
                      </a:lnTo>
                      <a:lnTo>
                        <a:pt x="874" y="983"/>
                      </a:lnTo>
                      <a:lnTo>
                        <a:pt x="880" y="976"/>
                      </a:lnTo>
                      <a:lnTo>
                        <a:pt x="885" y="966"/>
                      </a:lnTo>
                      <a:lnTo>
                        <a:pt x="893" y="962"/>
                      </a:lnTo>
                      <a:lnTo>
                        <a:pt x="897" y="959"/>
                      </a:lnTo>
                      <a:lnTo>
                        <a:pt x="898" y="959"/>
                      </a:lnTo>
                      <a:lnTo>
                        <a:pt x="899" y="960"/>
                      </a:lnTo>
                      <a:lnTo>
                        <a:pt x="899" y="964"/>
                      </a:lnTo>
                      <a:lnTo>
                        <a:pt x="897" y="967"/>
                      </a:lnTo>
                      <a:lnTo>
                        <a:pt x="895" y="971"/>
                      </a:lnTo>
                      <a:lnTo>
                        <a:pt x="895" y="972"/>
                      </a:lnTo>
                      <a:lnTo>
                        <a:pt x="897" y="973"/>
                      </a:lnTo>
                      <a:lnTo>
                        <a:pt x="900" y="975"/>
                      </a:lnTo>
                      <a:lnTo>
                        <a:pt x="903" y="976"/>
                      </a:lnTo>
                      <a:lnTo>
                        <a:pt x="904" y="978"/>
                      </a:lnTo>
                      <a:lnTo>
                        <a:pt x="904" y="982"/>
                      </a:lnTo>
                      <a:lnTo>
                        <a:pt x="906" y="988"/>
                      </a:lnTo>
                      <a:lnTo>
                        <a:pt x="906" y="992"/>
                      </a:lnTo>
                      <a:lnTo>
                        <a:pt x="906" y="995"/>
                      </a:lnTo>
                      <a:lnTo>
                        <a:pt x="908" y="995"/>
                      </a:lnTo>
                      <a:lnTo>
                        <a:pt x="912" y="994"/>
                      </a:lnTo>
                      <a:lnTo>
                        <a:pt x="917" y="991"/>
                      </a:lnTo>
                      <a:lnTo>
                        <a:pt x="919" y="991"/>
                      </a:lnTo>
                      <a:lnTo>
                        <a:pt x="922" y="991"/>
                      </a:lnTo>
                      <a:lnTo>
                        <a:pt x="932" y="989"/>
                      </a:lnTo>
                      <a:lnTo>
                        <a:pt x="939" y="988"/>
                      </a:lnTo>
                      <a:lnTo>
                        <a:pt x="946" y="986"/>
                      </a:lnTo>
                      <a:lnTo>
                        <a:pt x="950" y="986"/>
                      </a:lnTo>
                      <a:lnTo>
                        <a:pt x="953" y="985"/>
                      </a:lnTo>
                      <a:lnTo>
                        <a:pt x="953" y="984"/>
                      </a:lnTo>
                      <a:lnTo>
                        <a:pt x="953" y="983"/>
                      </a:lnTo>
                      <a:lnTo>
                        <a:pt x="949" y="977"/>
                      </a:lnTo>
                      <a:lnTo>
                        <a:pt x="947" y="973"/>
                      </a:lnTo>
                      <a:lnTo>
                        <a:pt x="947" y="971"/>
                      </a:lnTo>
                      <a:lnTo>
                        <a:pt x="951" y="966"/>
                      </a:lnTo>
                      <a:lnTo>
                        <a:pt x="951" y="965"/>
                      </a:lnTo>
                      <a:lnTo>
                        <a:pt x="951" y="963"/>
                      </a:lnTo>
                      <a:lnTo>
                        <a:pt x="949" y="960"/>
                      </a:lnTo>
                      <a:lnTo>
                        <a:pt x="946" y="958"/>
                      </a:lnTo>
                      <a:lnTo>
                        <a:pt x="942" y="958"/>
                      </a:lnTo>
                      <a:lnTo>
                        <a:pt x="940" y="959"/>
                      </a:lnTo>
                      <a:lnTo>
                        <a:pt x="937" y="960"/>
                      </a:lnTo>
                      <a:lnTo>
                        <a:pt x="935" y="960"/>
                      </a:lnTo>
                      <a:lnTo>
                        <a:pt x="932" y="957"/>
                      </a:lnTo>
                      <a:lnTo>
                        <a:pt x="930" y="953"/>
                      </a:lnTo>
                      <a:lnTo>
                        <a:pt x="930" y="950"/>
                      </a:lnTo>
                      <a:lnTo>
                        <a:pt x="930" y="945"/>
                      </a:lnTo>
                      <a:lnTo>
                        <a:pt x="932" y="935"/>
                      </a:lnTo>
                      <a:lnTo>
                        <a:pt x="937" y="927"/>
                      </a:lnTo>
                      <a:lnTo>
                        <a:pt x="939" y="926"/>
                      </a:lnTo>
                      <a:lnTo>
                        <a:pt x="941" y="925"/>
                      </a:lnTo>
                      <a:lnTo>
                        <a:pt x="946" y="924"/>
                      </a:lnTo>
                      <a:lnTo>
                        <a:pt x="953" y="920"/>
                      </a:lnTo>
                      <a:lnTo>
                        <a:pt x="955" y="919"/>
                      </a:lnTo>
                      <a:lnTo>
                        <a:pt x="959" y="918"/>
                      </a:lnTo>
                      <a:lnTo>
                        <a:pt x="960" y="919"/>
                      </a:lnTo>
                      <a:lnTo>
                        <a:pt x="961" y="920"/>
                      </a:lnTo>
                      <a:lnTo>
                        <a:pt x="961" y="922"/>
                      </a:lnTo>
                      <a:lnTo>
                        <a:pt x="963" y="924"/>
                      </a:lnTo>
                      <a:lnTo>
                        <a:pt x="965" y="925"/>
                      </a:lnTo>
                      <a:lnTo>
                        <a:pt x="968" y="925"/>
                      </a:lnTo>
                      <a:lnTo>
                        <a:pt x="972" y="924"/>
                      </a:lnTo>
                      <a:lnTo>
                        <a:pt x="977" y="922"/>
                      </a:lnTo>
                      <a:lnTo>
                        <a:pt x="982" y="920"/>
                      </a:lnTo>
                      <a:lnTo>
                        <a:pt x="982" y="918"/>
                      </a:lnTo>
                      <a:lnTo>
                        <a:pt x="982" y="915"/>
                      </a:lnTo>
                      <a:lnTo>
                        <a:pt x="982" y="913"/>
                      </a:lnTo>
                      <a:lnTo>
                        <a:pt x="982" y="911"/>
                      </a:lnTo>
                      <a:lnTo>
                        <a:pt x="982" y="909"/>
                      </a:lnTo>
                      <a:lnTo>
                        <a:pt x="983" y="908"/>
                      </a:lnTo>
                      <a:lnTo>
                        <a:pt x="994" y="909"/>
                      </a:lnTo>
                      <a:lnTo>
                        <a:pt x="999" y="908"/>
                      </a:lnTo>
                      <a:lnTo>
                        <a:pt x="1003" y="906"/>
                      </a:lnTo>
                      <a:lnTo>
                        <a:pt x="1010" y="900"/>
                      </a:lnTo>
                      <a:lnTo>
                        <a:pt x="1017" y="896"/>
                      </a:lnTo>
                      <a:lnTo>
                        <a:pt x="1025" y="893"/>
                      </a:lnTo>
                      <a:lnTo>
                        <a:pt x="1033" y="890"/>
                      </a:lnTo>
                      <a:lnTo>
                        <a:pt x="1036" y="889"/>
                      </a:lnTo>
                      <a:lnTo>
                        <a:pt x="1040" y="887"/>
                      </a:lnTo>
                      <a:lnTo>
                        <a:pt x="1041" y="883"/>
                      </a:lnTo>
                      <a:lnTo>
                        <a:pt x="1043" y="879"/>
                      </a:lnTo>
                      <a:lnTo>
                        <a:pt x="1043" y="876"/>
                      </a:lnTo>
                      <a:lnTo>
                        <a:pt x="1040" y="874"/>
                      </a:lnTo>
                      <a:lnTo>
                        <a:pt x="1039" y="873"/>
                      </a:lnTo>
                      <a:lnTo>
                        <a:pt x="1039" y="870"/>
                      </a:lnTo>
                      <a:lnTo>
                        <a:pt x="1049" y="856"/>
                      </a:lnTo>
                      <a:lnTo>
                        <a:pt x="1052" y="852"/>
                      </a:lnTo>
                      <a:lnTo>
                        <a:pt x="1053" y="848"/>
                      </a:lnTo>
                      <a:lnTo>
                        <a:pt x="1053" y="844"/>
                      </a:lnTo>
                      <a:lnTo>
                        <a:pt x="1052" y="839"/>
                      </a:lnTo>
                      <a:lnTo>
                        <a:pt x="1050" y="837"/>
                      </a:lnTo>
                      <a:lnTo>
                        <a:pt x="1048" y="836"/>
                      </a:lnTo>
                      <a:lnTo>
                        <a:pt x="1046" y="834"/>
                      </a:lnTo>
                      <a:lnTo>
                        <a:pt x="1045" y="831"/>
                      </a:lnTo>
                      <a:lnTo>
                        <a:pt x="1044" y="828"/>
                      </a:lnTo>
                      <a:lnTo>
                        <a:pt x="1041" y="824"/>
                      </a:lnTo>
                      <a:lnTo>
                        <a:pt x="1040" y="820"/>
                      </a:lnTo>
                      <a:lnTo>
                        <a:pt x="1039" y="817"/>
                      </a:lnTo>
                      <a:lnTo>
                        <a:pt x="1040" y="815"/>
                      </a:lnTo>
                      <a:lnTo>
                        <a:pt x="1043" y="813"/>
                      </a:lnTo>
                      <a:lnTo>
                        <a:pt x="1067" y="810"/>
                      </a:lnTo>
                      <a:lnTo>
                        <a:pt x="1083" y="807"/>
                      </a:lnTo>
                      <a:lnTo>
                        <a:pt x="1085" y="807"/>
                      </a:lnTo>
                      <a:lnTo>
                        <a:pt x="1086" y="806"/>
                      </a:lnTo>
                      <a:lnTo>
                        <a:pt x="1087" y="805"/>
                      </a:lnTo>
                      <a:lnTo>
                        <a:pt x="1087" y="804"/>
                      </a:lnTo>
                      <a:lnTo>
                        <a:pt x="1086" y="801"/>
                      </a:lnTo>
                      <a:lnTo>
                        <a:pt x="1083" y="799"/>
                      </a:lnTo>
                      <a:lnTo>
                        <a:pt x="1082" y="797"/>
                      </a:lnTo>
                      <a:lnTo>
                        <a:pt x="1082" y="788"/>
                      </a:lnTo>
                      <a:lnTo>
                        <a:pt x="1082" y="780"/>
                      </a:lnTo>
                      <a:lnTo>
                        <a:pt x="1083" y="777"/>
                      </a:lnTo>
                      <a:lnTo>
                        <a:pt x="1086" y="773"/>
                      </a:lnTo>
                      <a:lnTo>
                        <a:pt x="1088" y="771"/>
                      </a:lnTo>
                      <a:lnTo>
                        <a:pt x="1093" y="771"/>
                      </a:lnTo>
                      <a:lnTo>
                        <a:pt x="1107" y="771"/>
                      </a:lnTo>
                      <a:lnTo>
                        <a:pt x="1114" y="769"/>
                      </a:lnTo>
                      <a:lnTo>
                        <a:pt x="1121" y="768"/>
                      </a:lnTo>
                      <a:lnTo>
                        <a:pt x="1125" y="767"/>
                      </a:lnTo>
                      <a:lnTo>
                        <a:pt x="1128" y="765"/>
                      </a:lnTo>
                      <a:lnTo>
                        <a:pt x="1129" y="761"/>
                      </a:lnTo>
                      <a:lnTo>
                        <a:pt x="1130" y="758"/>
                      </a:lnTo>
                      <a:lnTo>
                        <a:pt x="1130" y="749"/>
                      </a:lnTo>
                      <a:lnTo>
                        <a:pt x="1130" y="746"/>
                      </a:lnTo>
                      <a:lnTo>
                        <a:pt x="1132" y="741"/>
                      </a:lnTo>
                      <a:lnTo>
                        <a:pt x="1133" y="740"/>
                      </a:lnTo>
                      <a:lnTo>
                        <a:pt x="1134" y="737"/>
                      </a:lnTo>
                      <a:lnTo>
                        <a:pt x="1147" y="732"/>
                      </a:lnTo>
                      <a:lnTo>
                        <a:pt x="1154" y="727"/>
                      </a:lnTo>
                      <a:lnTo>
                        <a:pt x="1161" y="722"/>
                      </a:lnTo>
                      <a:lnTo>
                        <a:pt x="1163" y="721"/>
                      </a:lnTo>
                      <a:lnTo>
                        <a:pt x="1166" y="720"/>
                      </a:lnTo>
                      <a:lnTo>
                        <a:pt x="1170" y="719"/>
                      </a:lnTo>
                      <a:lnTo>
                        <a:pt x="1172" y="717"/>
                      </a:lnTo>
                      <a:lnTo>
                        <a:pt x="1177" y="714"/>
                      </a:lnTo>
                      <a:lnTo>
                        <a:pt x="1184" y="710"/>
                      </a:lnTo>
                      <a:lnTo>
                        <a:pt x="1190" y="709"/>
                      </a:lnTo>
                      <a:lnTo>
                        <a:pt x="1198" y="708"/>
                      </a:lnTo>
                      <a:lnTo>
                        <a:pt x="1206" y="707"/>
                      </a:lnTo>
                      <a:lnTo>
                        <a:pt x="1208" y="707"/>
                      </a:lnTo>
                      <a:lnTo>
                        <a:pt x="1209" y="705"/>
                      </a:lnTo>
                      <a:lnTo>
                        <a:pt x="1209" y="702"/>
                      </a:lnTo>
                      <a:lnTo>
                        <a:pt x="1205" y="696"/>
                      </a:lnTo>
                      <a:lnTo>
                        <a:pt x="1204" y="694"/>
                      </a:lnTo>
                      <a:lnTo>
                        <a:pt x="1204" y="692"/>
                      </a:lnTo>
                      <a:lnTo>
                        <a:pt x="1210" y="689"/>
                      </a:lnTo>
                      <a:lnTo>
                        <a:pt x="1215" y="686"/>
                      </a:lnTo>
                      <a:lnTo>
                        <a:pt x="1222" y="684"/>
                      </a:lnTo>
                      <a:lnTo>
                        <a:pt x="1227" y="681"/>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4" name="Freeform 1164"/>
                <p:cNvSpPr>
                  <a:spLocks/>
                </p:cNvSpPr>
                <p:nvPr/>
              </p:nvSpPr>
              <p:spPr bwMode="auto">
                <a:xfrm>
                  <a:off x="6741819" y="1936837"/>
                  <a:ext cx="2341158" cy="1376281"/>
                </a:xfrm>
                <a:custGeom>
                  <a:avLst/>
                  <a:gdLst>
                    <a:gd name="T0" fmla="*/ 2147483647 w 1714"/>
                    <a:gd name="T1" fmla="*/ 2147483647 h 930"/>
                    <a:gd name="T2" fmla="*/ 2147483647 w 1714"/>
                    <a:gd name="T3" fmla="*/ 2147483647 h 930"/>
                    <a:gd name="T4" fmla="*/ 2147483647 w 1714"/>
                    <a:gd name="T5" fmla="*/ 2147483647 h 930"/>
                    <a:gd name="T6" fmla="*/ 2147483647 w 1714"/>
                    <a:gd name="T7" fmla="*/ 2147483647 h 930"/>
                    <a:gd name="T8" fmla="*/ 2147483647 w 1714"/>
                    <a:gd name="T9" fmla="*/ 2147483647 h 930"/>
                    <a:gd name="T10" fmla="*/ 2147483647 w 1714"/>
                    <a:gd name="T11" fmla="*/ 2147483647 h 930"/>
                    <a:gd name="T12" fmla="*/ 2147483647 w 1714"/>
                    <a:gd name="T13" fmla="*/ 2147483647 h 930"/>
                    <a:gd name="T14" fmla="*/ 2147483647 w 1714"/>
                    <a:gd name="T15" fmla="*/ 2147483647 h 930"/>
                    <a:gd name="T16" fmla="*/ 2147483647 w 1714"/>
                    <a:gd name="T17" fmla="*/ 2147483647 h 930"/>
                    <a:gd name="T18" fmla="*/ 2147483647 w 1714"/>
                    <a:gd name="T19" fmla="*/ 2147483647 h 930"/>
                    <a:gd name="T20" fmla="*/ 2147483647 w 1714"/>
                    <a:gd name="T21" fmla="*/ 2147483647 h 930"/>
                    <a:gd name="T22" fmla="*/ 2147483647 w 1714"/>
                    <a:gd name="T23" fmla="*/ 2147483647 h 930"/>
                    <a:gd name="T24" fmla="*/ 2147483647 w 1714"/>
                    <a:gd name="T25" fmla="*/ 2147483647 h 930"/>
                    <a:gd name="T26" fmla="*/ 2147483647 w 1714"/>
                    <a:gd name="T27" fmla="*/ 2147483647 h 930"/>
                    <a:gd name="T28" fmla="*/ 2147483647 w 1714"/>
                    <a:gd name="T29" fmla="*/ 2147483647 h 930"/>
                    <a:gd name="T30" fmla="*/ 2147483647 w 1714"/>
                    <a:gd name="T31" fmla="*/ 2147483647 h 930"/>
                    <a:gd name="T32" fmla="*/ 2147483647 w 1714"/>
                    <a:gd name="T33" fmla="*/ 2147483647 h 930"/>
                    <a:gd name="T34" fmla="*/ 2147483647 w 1714"/>
                    <a:gd name="T35" fmla="*/ 2147483647 h 930"/>
                    <a:gd name="T36" fmla="*/ 2147483647 w 1714"/>
                    <a:gd name="T37" fmla="*/ 2147483647 h 930"/>
                    <a:gd name="T38" fmla="*/ 2147483647 w 1714"/>
                    <a:gd name="T39" fmla="*/ 2147483647 h 930"/>
                    <a:gd name="T40" fmla="*/ 2147483647 w 1714"/>
                    <a:gd name="T41" fmla="*/ 2147483647 h 930"/>
                    <a:gd name="T42" fmla="*/ 2147483647 w 1714"/>
                    <a:gd name="T43" fmla="*/ 2147483647 h 930"/>
                    <a:gd name="T44" fmla="*/ 2147483647 w 1714"/>
                    <a:gd name="T45" fmla="*/ 2147483647 h 930"/>
                    <a:gd name="T46" fmla="*/ 2147483647 w 1714"/>
                    <a:gd name="T47" fmla="*/ 2147483647 h 930"/>
                    <a:gd name="T48" fmla="*/ 2147483647 w 1714"/>
                    <a:gd name="T49" fmla="*/ 2147483647 h 930"/>
                    <a:gd name="T50" fmla="*/ 2147483647 w 1714"/>
                    <a:gd name="T51" fmla="*/ 2147483647 h 930"/>
                    <a:gd name="T52" fmla="*/ 2147483647 w 1714"/>
                    <a:gd name="T53" fmla="*/ 2147483647 h 930"/>
                    <a:gd name="T54" fmla="*/ 2147483647 w 1714"/>
                    <a:gd name="T55" fmla="*/ 2147483647 h 930"/>
                    <a:gd name="T56" fmla="*/ 2147483647 w 1714"/>
                    <a:gd name="T57" fmla="*/ 2147483647 h 930"/>
                    <a:gd name="T58" fmla="*/ 2147483647 w 1714"/>
                    <a:gd name="T59" fmla="*/ 2147483647 h 930"/>
                    <a:gd name="T60" fmla="*/ 2147483647 w 1714"/>
                    <a:gd name="T61" fmla="*/ 2147483647 h 930"/>
                    <a:gd name="T62" fmla="*/ 2147483647 w 1714"/>
                    <a:gd name="T63" fmla="*/ 2147483647 h 930"/>
                    <a:gd name="T64" fmla="*/ 2147483647 w 1714"/>
                    <a:gd name="T65" fmla="*/ 2147483647 h 930"/>
                    <a:gd name="T66" fmla="*/ 2147483647 w 1714"/>
                    <a:gd name="T67" fmla="*/ 2147483647 h 930"/>
                    <a:gd name="T68" fmla="*/ 2147483647 w 1714"/>
                    <a:gd name="T69" fmla="*/ 2147483647 h 930"/>
                    <a:gd name="T70" fmla="*/ 2147483647 w 1714"/>
                    <a:gd name="T71" fmla="*/ 2147483647 h 930"/>
                    <a:gd name="T72" fmla="*/ 2147483647 w 1714"/>
                    <a:gd name="T73" fmla="*/ 2147483647 h 930"/>
                    <a:gd name="T74" fmla="*/ 2147483647 w 1714"/>
                    <a:gd name="T75" fmla="*/ 2147483647 h 930"/>
                    <a:gd name="T76" fmla="*/ 2147483647 w 1714"/>
                    <a:gd name="T77" fmla="*/ 2147483647 h 930"/>
                    <a:gd name="T78" fmla="*/ 2147483647 w 1714"/>
                    <a:gd name="T79" fmla="*/ 2147483647 h 930"/>
                    <a:gd name="T80" fmla="*/ 2147483647 w 1714"/>
                    <a:gd name="T81" fmla="*/ 2147483647 h 930"/>
                    <a:gd name="T82" fmla="*/ 2147483647 w 1714"/>
                    <a:gd name="T83" fmla="*/ 2147483647 h 930"/>
                    <a:gd name="T84" fmla="*/ 2147483647 w 1714"/>
                    <a:gd name="T85" fmla="*/ 2147483647 h 930"/>
                    <a:gd name="T86" fmla="*/ 2147483647 w 1714"/>
                    <a:gd name="T87" fmla="*/ 2147483647 h 930"/>
                    <a:gd name="T88" fmla="*/ 2147483647 w 1714"/>
                    <a:gd name="T89" fmla="*/ 2147483647 h 930"/>
                    <a:gd name="T90" fmla="*/ 2147483647 w 1714"/>
                    <a:gd name="T91" fmla="*/ 2147483647 h 930"/>
                    <a:gd name="T92" fmla="*/ 2147483647 w 1714"/>
                    <a:gd name="T93" fmla="*/ 2147483647 h 930"/>
                    <a:gd name="T94" fmla="*/ 2147483647 w 1714"/>
                    <a:gd name="T95" fmla="*/ 2147483647 h 930"/>
                    <a:gd name="T96" fmla="*/ 2147483647 w 1714"/>
                    <a:gd name="T97" fmla="*/ 2147483647 h 930"/>
                    <a:gd name="T98" fmla="*/ 2147483647 w 1714"/>
                    <a:gd name="T99" fmla="*/ 2147483647 h 930"/>
                    <a:gd name="T100" fmla="*/ 2147483647 w 1714"/>
                    <a:gd name="T101" fmla="*/ 2147483647 h 930"/>
                    <a:gd name="T102" fmla="*/ 2147483647 w 1714"/>
                    <a:gd name="T103" fmla="*/ 2147483647 h 930"/>
                    <a:gd name="T104" fmla="*/ 2147483647 w 1714"/>
                    <a:gd name="T105" fmla="*/ 2147483647 h 930"/>
                    <a:gd name="T106" fmla="*/ 2147483647 w 1714"/>
                    <a:gd name="T107" fmla="*/ 2147483647 h 930"/>
                    <a:gd name="T108" fmla="*/ 2147483647 w 1714"/>
                    <a:gd name="T109" fmla="*/ 2147483647 h 930"/>
                    <a:gd name="T110" fmla="*/ 2147483647 w 1714"/>
                    <a:gd name="T111" fmla="*/ 2147483647 h 930"/>
                    <a:gd name="T112" fmla="*/ 2147483647 w 1714"/>
                    <a:gd name="T113" fmla="*/ 2147483647 h 930"/>
                    <a:gd name="T114" fmla="*/ 2147483647 w 1714"/>
                    <a:gd name="T115" fmla="*/ 2147483647 h 930"/>
                    <a:gd name="T116" fmla="*/ 2147483647 w 1714"/>
                    <a:gd name="T117" fmla="*/ 2147483647 h 930"/>
                    <a:gd name="T118" fmla="*/ 2147483647 w 171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14"/>
                    <a:gd name="T181" fmla="*/ 0 h 930"/>
                    <a:gd name="T182" fmla="*/ 1714 w 171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14" h="930">
                      <a:moveTo>
                        <a:pt x="11" y="746"/>
                      </a:moveTo>
                      <a:lnTo>
                        <a:pt x="15" y="743"/>
                      </a:lnTo>
                      <a:lnTo>
                        <a:pt x="20" y="741"/>
                      </a:lnTo>
                      <a:lnTo>
                        <a:pt x="25" y="741"/>
                      </a:lnTo>
                      <a:lnTo>
                        <a:pt x="30" y="741"/>
                      </a:lnTo>
                      <a:lnTo>
                        <a:pt x="40" y="741"/>
                      </a:lnTo>
                      <a:lnTo>
                        <a:pt x="52" y="743"/>
                      </a:lnTo>
                      <a:lnTo>
                        <a:pt x="53" y="742"/>
                      </a:lnTo>
                      <a:lnTo>
                        <a:pt x="54" y="740"/>
                      </a:lnTo>
                      <a:lnTo>
                        <a:pt x="56" y="739"/>
                      </a:lnTo>
                      <a:lnTo>
                        <a:pt x="58" y="737"/>
                      </a:lnTo>
                      <a:lnTo>
                        <a:pt x="61" y="739"/>
                      </a:lnTo>
                      <a:lnTo>
                        <a:pt x="63" y="740"/>
                      </a:lnTo>
                      <a:lnTo>
                        <a:pt x="64" y="742"/>
                      </a:lnTo>
                      <a:lnTo>
                        <a:pt x="66" y="743"/>
                      </a:lnTo>
                      <a:lnTo>
                        <a:pt x="72" y="746"/>
                      </a:lnTo>
                      <a:lnTo>
                        <a:pt x="76" y="749"/>
                      </a:lnTo>
                      <a:lnTo>
                        <a:pt x="81" y="753"/>
                      </a:lnTo>
                      <a:lnTo>
                        <a:pt x="85" y="756"/>
                      </a:lnTo>
                      <a:lnTo>
                        <a:pt x="89" y="756"/>
                      </a:lnTo>
                      <a:lnTo>
                        <a:pt x="91" y="756"/>
                      </a:lnTo>
                      <a:lnTo>
                        <a:pt x="97" y="755"/>
                      </a:lnTo>
                      <a:lnTo>
                        <a:pt x="101" y="755"/>
                      </a:lnTo>
                      <a:lnTo>
                        <a:pt x="105" y="756"/>
                      </a:lnTo>
                      <a:lnTo>
                        <a:pt x="109" y="758"/>
                      </a:lnTo>
                      <a:lnTo>
                        <a:pt x="111" y="759"/>
                      </a:lnTo>
                      <a:lnTo>
                        <a:pt x="127" y="758"/>
                      </a:lnTo>
                      <a:lnTo>
                        <a:pt x="134" y="756"/>
                      </a:lnTo>
                      <a:lnTo>
                        <a:pt x="142" y="758"/>
                      </a:lnTo>
                      <a:lnTo>
                        <a:pt x="144" y="756"/>
                      </a:lnTo>
                      <a:lnTo>
                        <a:pt x="147" y="755"/>
                      </a:lnTo>
                      <a:lnTo>
                        <a:pt x="148" y="752"/>
                      </a:lnTo>
                      <a:lnTo>
                        <a:pt x="148" y="748"/>
                      </a:lnTo>
                      <a:lnTo>
                        <a:pt x="143" y="742"/>
                      </a:lnTo>
                      <a:lnTo>
                        <a:pt x="139" y="735"/>
                      </a:lnTo>
                      <a:lnTo>
                        <a:pt x="138" y="729"/>
                      </a:lnTo>
                      <a:lnTo>
                        <a:pt x="138" y="726"/>
                      </a:lnTo>
                      <a:lnTo>
                        <a:pt x="139" y="723"/>
                      </a:lnTo>
                      <a:lnTo>
                        <a:pt x="143" y="720"/>
                      </a:lnTo>
                      <a:lnTo>
                        <a:pt x="148" y="717"/>
                      </a:lnTo>
                      <a:lnTo>
                        <a:pt x="160" y="711"/>
                      </a:lnTo>
                      <a:lnTo>
                        <a:pt x="162" y="710"/>
                      </a:lnTo>
                      <a:lnTo>
                        <a:pt x="166" y="710"/>
                      </a:lnTo>
                      <a:lnTo>
                        <a:pt x="174" y="711"/>
                      </a:lnTo>
                      <a:lnTo>
                        <a:pt x="181" y="714"/>
                      </a:lnTo>
                      <a:lnTo>
                        <a:pt x="189" y="715"/>
                      </a:lnTo>
                      <a:lnTo>
                        <a:pt x="190" y="716"/>
                      </a:lnTo>
                      <a:lnTo>
                        <a:pt x="193" y="718"/>
                      </a:lnTo>
                      <a:lnTo>
                        <a:pt x="194" y="721"/>
                      </a:lnTo>
                      <a:lnTo>
                        <a:pt x="198" y="722"/>
                      </a:lnTo>
                      <a:lnTo>
                        <a:pt x="198" y="724"/>
                      </a:lnTo>
                      <a:lnTo>
                        <a:pt x="204" y="726"/>
                      </a:lnTo>
                      <a:lnTo>
                        <a:pt x="205" y="728"/>
                      </a:lnTo>
                      <a:lnTo>
                        <a:pt x="207" y="730"/>
                      </a:lnTo>
                      <a:lnTo>
                        <a:pt x="209" y="736"/>
                      </a:lnTo>
                      <a:lnTo>
                        <a:pt x="212" y="742"/>
                      </a:lnTo>
                      <a:lnTo>
                        <a:pt x="216" y="747"/>
                      </a:lnTo>
                      <a:lnTo>
                        <a:pt x="219" y="752"/>
                      </a:lnTo>
                      <a:lnTo>
                        <a:pt x="227" y="756"/>
                      </a:lnTo>
                      <a:lnTo>
                        <a:pt x="233" y="759"/>
                      </a:lnTo>
                      <a:lnTo>
                        <a:pt x="241" y="760"/>
                      </a:lnTo>
                      <a:lnTo>
                        <a:pt x="247" y="759"/>
                      </a:lnTo>
                      <a:lnTo>
                        <a:pt x="251" y="756"/>
                      </a:lnTo>
                      <a:lnTo>
                        <a:pt x="254" y="754"/>
                      </a:lnTo>
                      <a:lnTo>
                        <a:pt x="259" y="752"/>
                      </a:lnTo>
                      <a:lnTo>
                        <a:pt x="261" y="750"/>
                      </a:lnTo>
                      <a:lnTo>
                        <a:pt x="265" y="752"/>
                      </a:lnTo>
                      <a:lnTo>
                        <a:pt x="279" y="758"/>
                      </a:lnTo>
                      <a:lnTo>
                        <a:pt x="283" y="759"/>
                      </a:lnTo>
                      <a:lnTo>
                        <a:pt x="287" y="759"/>
                      </a:lnTo>
                      <a:lnTo>
                        <a:pt x="290" y="759"/>
                      </a:lnTo>
                      <a:lnTo>
                        <a:pt x="294" y="759"/>
                      </a:lnTo>
                      <a:lnTo>
                        <a:pt x="297" y="759"/>
                      </a:lnTo>
                      <a:lnTo>
                        <a:pt x="298" y="761"/>
                      </a:lnTo>
                      <a:lnTo>
                        <a:pt x="299" y="765"/>
                      </a:lnTo>
                      <a:lnTo>
                        <a:pt x="303" y="769"/>
                      </a:lnTo>
                      <a:lnTo>
                        <a:pt x="304" y="773"/>
                      </a:lnTo>
                      <a:lnTo>
                        <a:pt x="307" y="774"/>
                      </a:lnTo>
                      <a:lnTo>
                        <a:pt x="311" y="774"/>
                      </a:lnTo>
                      <a:lnTo>
                        <a:pt x="313" y="774"/>
                      </a:lnTo>
                      <a:lnTo>
                        <a:pt x="317" y="773"/>
                      </a:lnTo>
                      <a:lnTo>
                        <a:pt x="320" y="773"/>
                      </a:lnTo>
                      <a:lnTo>
                        <a:pt x="334" y="775"/>
                      </a:lnTo>
                      <a:lnTo>
                        <a:pt x="346" y="775"/>
                      </a:lnTo>
                      <a:lnTo>
                        <a:pt x="353" y="774"/>
                      </a:lnTo>
                      <a:lnTo>
                        <a:pt x="359" y="773"/>
                      </a:lnTo>
                      <a:lnTo>
                        <a:pt x="365" y="771"/>
                      </a:lnTo>
                      <a:lnTo>
                        <a:pt x="372" y="766"/>
                      </a:lnTo>
                      <a:lnTo>
                        <a:pt x="378" y="762"/>
                      </a:lnTo>
                      <a:lnTo>
                        <a:pt x="384" y="760"/>
                      </a:lnTo>
                      <a:lnTo>
                        <a:pt x="400" y="756"/>
                      </a:lnTo>
                      <a:lnTo>
                        <a:pt x="403" y="755"/>
                      </a:lnTo>
                      <a:lnTo>
                        <a:pt x="409" y="755"/>
                      </a:lnTo>
                      <a:lnTo>
                        <a:pt x="417" y="756"/>
                      </a:lnTo>
                      <a:lnTo>
                        <a:pt x="425" y="759"/>
                      </a:lnTo>
                      <a:lnTo>
                        <a:pt x="429" y="759"/>
                      </a:lnTo>
                      <a:lnTo>
                        <a:pt x="433" y="758"/>
                      </a:lnTo>
                      <a:lnTo>
                        <a:pt x="438" y="758"/>
                      </a:lnTo>
                      <a:lnTo>
                        <a:pt x="443" y="759"/>
                      </a:lnTo>
                      <a:lnTo>
                        <a:pt x="448" y="761"/>
                      </a:lnTo>
                      <a:lnTo>
                        <a:pt x="453" y="765"/>
                      </a:lnTo>
                      <a:lnTo>
                        <a:pt x="458" y="767"/>
                      </a:lnTo>
                      <a:lnTo>
                        <a:pt x="463" y="768"/>
                      </a:lnTo>
                      <a:lnTo>
                        <a:pt x="467" y="767"/>
                      </a:lnTo>
                      <a:lnTo>
                        <a:pt x="471" y="766"/>
                      </a:lnTo>
                      <a:lnTo>
                        <a:pt x="475" y="764"/>
                      </a:lnTo>
                      <a:lnTo>
                        <a:pt x="482" y="758"/>
                      </a:lnTo>
                      <a:lnTo>
                        <a:pt x="489" y="749"/>
                      </a:lnTo>
                      <a:lnTo>
                        <a:pt x="494" y="740"/>
                      </a:lnTo>
                      <a:lnTo>
                        <a:pt x="504" y="723"/>
                      </a:lnTo>
                      <a:lnTo>
                        <a:pt x="513" y="709"/>
                      </a:lnTo>
                      <a:lnTo>
                        <a:pt x="518" y="702"/>
                      </a:lnTo>
                      <a:lnTo>
                        <a:pt x="519" y="695"/>
                      </a:lnTo>
                      <a:lnTo>
                        <a:pt x="519" y="692"/>
                      </a:lnTo>
                      <a:lnTo>
                        <a:pt x="518" y="692"/>
                      </a:lnTo>
                      <a:lnTo>
                        <a:pt x="514" y="692"/>
                      </a:lnTo>
                      <a:lnTo>
                        <a:pt x="510" y="692"/>
                      </a:lnTo>
                      <a:lnTo>
                        <a:pt x="505" y="692"/>
                      </a:lnTo>
                      <a:lnTo>
                        <a:pt x="511" y="682"/>
                      </a:lnTo>
                      <a:lnTo>
                        <a:pt x="516" y="677"/>
                      </a:lnTo>
                      <a:lnTo>
                        <a:pt x="523" y="675"/>
                      </a:lnTo>
                      <a:lnTo>
                        <a:pt x="532" y="672"/>
                      </a:lnTo>
                      <a:lnTo>
                        <a:pt x="542" y="672"/>
                      </a:lnTo>
                      <a:lnTo>
                        <a:pt x="553" y="672"/>
                      </a:lnTo>
                      <a:lnTo>
                        <a:pt x="565" y="673"/>
                      </a:lnTo>
                      <a:lnTo>
                        <a:pt x="585" y="677"/>
                      </a:lnTo>
                      <a:lnTo>
                        <a:pt x="594" y="679"/>
                      </a:lnTo>
                      <a:lnTo>
                        <a:pt x="602" y="683"/>
                      </a:lnTo>
                      <a:lnTo>
                        <a:pt x="605" y="683"/>
                      </a:lnTo>
                      <a:lnTo>
                        <a:pt x="607" y="685"/>
                      </a:lnTo>
                      <a:lnTo>
                        <a:pt x="609" y="691"/>
                      </a:lnTo>
                      <a:lnTo>
                        <a:pt x="610" y="698"/>
                      </a:lnTo>
                      <a:lnTo>
                        <a:pt x="613" y="705"/>
                      </a:lnTo>
                      <a:lnTo>
                        <a:pt x="617" y="714"/>
                      </a:lnTo>
                      <a:lnTo>
                        <a:pt x="621" y="722"/>
                      </a:lnTo>
                      <a:lnTo>
                        <a:pt x="626" y="730"/>
                      </a:lnTo>
                      <a:lnTo>
                        <a:pt x="628" y="740"/>
                      </a:lnTo>
                      <a:lnTo>
                        <a:pt x="631" y="745"/>
                      </a:lnTo>
                      <a:lnTo>
                        <a:pt x="636" y="749"/>
                      </a:lnTo>
                      <a:lnTo>
                        <a:pt x="638" y="750"/>
                      </a:lnTo>
                      <a:lnTo>
                        <a:pt x="642" y="752"/>
                      </a:lnTo>
                      <a:lnTo>
                        <a:pt x="646" y="752"/>
                      </a:lnTo>
                      <a:lnTo>
                        <a:pt x="649" y="750"/>
                      </a:lnTo>
                      <a:lnTo>
                        <a:pt x="651" y="749"/>
                      </a:lnTo>
                      <a:lnTo>
                        <a:pt x="652" y="750"/>
                      </a:lnTo>
                      <a:lnTo>
                        <a:pt x="654" y="753"/>
                      </a:lnTo>
                      <a:lnTo>
                        <a:pt x="659" y="754"/>
                      </a:lnTo>
                      <a:lnTo>
                        <a:pt x="664" y="755"/>
                      </a:lnTo>
                      <a:lnTo>
                        <a:pt x="673" y="755"/>
                      </a:lnTo>
                      <a:lnTo>
                        <a:pt x="676" y="756"/>
                      </a:lnTo>
                      <a:lnTo>
                        <a:pt x="679" y="759"/>
                      </a:lnTo>
                      <a:lnTo>
                        <a:pt x="679" y="761"/>
                      </a:lnTo>
                      <a:lnTo>
                        <a:pt x="679" y="764"/>
                      </a:lnTo>
                      <a:lnTo>
                        <a:pt x="679" y="766"/>
                      </a:lnTo>
                      <a:lnTo>
                        <a:pt x="680" y="768"/>
                      </a:lnTo>
                      <a:lnTo>
                        <a:pt x="685" y="773"/>
                      </a:lnTo>
                      <a:lnTo>
                        <a:pt x="688" y="779"/>
                      </a:lnTo>
                      <a:lnTo>
                        <a:pt x="689" y="786"/>
                      </a:lnTo>
                      <a:lnTo>
                        <a:pt x="689" y="793"/>
                      </a:lnTo>
                      <a:lnTo>
                        <a:pt x="690" y="800"/>
                      </a:lnTo>
                      <a:lnTo>
                        <a:pt x="692" y="804"/>
                      </a:lnTo>
                      <a:lnTo>
                        <a:pt x="694" y="806"/>
                      </a:lnTo>
                      <a:lnTo>
                        <a:pt x="697" y="809"/>
                      </a:lnTo>
                      <a:lnTo>
                        <a:pt x="702" y="811"/>
                      </a:lnTo>
                      <a:lnTo>
                        <a:pt x="707" y="812"/>
                      </a:lnTo>
                      <a:lnTo>
                        <a:pt x="712" y="812"/>
                      </a:lnTo>
                      <a:lnTo>
                        <a:pt x="715" y="811"/>
                      </a:lnTo>
                      <a:lnTo>
                        <a:pt x="717" y="810"/>
                      </a:lnTo>
                      <a:lnTo>
                        <a:pt x="721" y="806"/>
                      </a:lnTo>
                      <a:lnTo>
                        <a:pt x="727" y="797"/>
                      </a:lnTo>
                      <a:lnTo>
                        <a:pt x="729" y="796"/>
                      </a:lnTo>
                      <a:lnTo>
                        <a:pt x="731" y="793"/>
                      </a:lnTo>
                      <a:lnTo>
                        <a:pt x="739" y="792"/>
                      </a:lnTo>
                      <a:lnTo>
                        <a:pt x="746" y="793"/>
                      </a:lnTo>
                      <a:lnTo>
                        <a:pt x="754" y="794"/>
                      </a:lnTo>
                      <a:lnTo>
                        <a:pt x="755" y="794"/>
                      </a:lnTo>
                      <a:lnTo>
                        <a:pt x="755" y="796"/>
                      </a:lnTo>
                      <a:lnTo>
                        <a:pt x="755" y="799"/>
                      </a:lnTo>
                      <a:lnTo>
                        <a:pt x="753" y="806"/>
                      </a:lnTo>
                      <a:lnTo>
                        <a:pt x="753" y="809"/>
                      </a:lnTo>
                      <a:lnTo>
                        <a:pt x="753" y="811"/>
                      </a:lnTo>
                      <a:lnTo>
                        <a:pt x="756" y="815"/>
                      </a:lnTo>
                      <a:lnTo>
                        <a:pt x="756" y="816"/>
                      </a:lnTo>
                      <a:lnTo>
                        <a:pt x="751" y="820"/>
                      </a:lnTo>
                      <a:lnTo>
                        <a:pt x="746" y="825"/>
                      </a:lnTo>
                      <a:lnTo>
                        <a:pt x="745" y="828"/>
                      </a:lnTo>
                      <a:lnTo>
                        <a:pt x="744" y="831"/>
                      </a:lnTo>
                      <a:lnTo>
                        <a:pt x="744" y="833"/>
                      </a:lnTo>
                      <a:lnTo>
                        <a:pt x="745" y="837"/>
                      </a:lnTo>
                      <a:lnTo>
                        <a:pt x="745" y="838"/>
                      </a:lnTo>
                      <a:lnTo>
                        <a:pt x="745" y="841"/>
                      </a:lnTo>
                      <a:lnTo>
                        <a:pt x="741" y="844"/>
                      </a:lnTo>
                      <a:lnTo>
                        <a:pt x="739" y="850"/>
                      </a:lnTo>
                      <a:lnTo>
                        <a:pt x="736" y="857"/>
                      </a:lnTo>
                      <a:lnTo>
                        <a:pt x="731" y="863"/>
                      </a:lnTo>
                      <a:lnTo>
                        <a:pt x="729" y="864"/>
                      </a:lnTo>
                      <a:lnTo>
                        <a:pt x="725" y="867"/>
                      </a:lnTo>
                      <a:lnTo>
                        <a:pt x="720" y="868"/>
                      </a:lnTo>
                      <a:lnTo>
                        <a:pt x="715" y="867"/>
                      </a:lnTo>
                      <a:lnTo>
                        <a:pt x="704" y="863"/>
                      </a:lnTo>
                      <a:lnTo>
                        <a:pt x="702" y="863"/>
                      </a:lnTo>
                      <a:lnTo>
                        <a:pt x="699" y="863"/>
                      </a:lnTo>
                      <a:lnTo>
                        <a:pt x="697" y="865"/>
                      </a:lnTo>
                      <a:lnTo>
                        <a:pt x="696" y="867"/>
                      </a:lnTo>
                      <a:lnTo>
                        <a:pt x="694" y="871"/>
                      </a:lnTo>
                      <a:lnTo>
                        <a:pt x="693" y="875"/>
                      </a:lnTo>
                      <a:lnTo>
                        <a:pt x="694" y="883"/>
                      </a:lnTo>
                      <a:lnTo>
                        <a:pt x="696" y="890"/>
                      </a:lnTo>
                      <a:lnTo>
                        <a:pt x="699" y="899"/>
                      </a:lnTo>
                      <a:lnTo>
                        <a:pt x="701" y="902"/>
                      </a:lnTo>
                      <a:lnTo>
                        <a:pt x="701" y="906"/>
                      </a:lnTo>
                      <a:lnTo>
                        <a:pt x="701" y="911"/>
                      </a:lnTo>
                      <a:lnTo>
                        <a:pt x="698" y="914"/>
                      </a:lnTo>
                      <a:lnTo>
                        <a:pt x="694" y="921"/>
                      </a:lnTo>
                      <a:lnTo>
                        <a:pt x="689" y="928"/>
                      </a:lnTo>
                      <a:lnTo>
                        <a:pt x="693" y="925"/>
                      </a:lnTo>
                      <a:lnTo>
                        <a:pt x="697" y="922"/>
                      </a:lnTo>
                      <a:lnTo>
                        <a:pt x="704" y="918"/>
                      </a:lnTo>
                      <a:lnTo>
                        <a:pt x="707" y="918"/>
                      </a:lnTo>
                      <a:lnTo>
                        <a:pt x="708" y="919"/>
                      </a:lnTo>
                      <a:lnTo>
                        <a:pt x="709" y="924"/>
                      </a:lnTo>
                      <a:lnTo>
                        <a:pt x="713" y="927"/>
                      </a:lnTo>
                      <a:lnTo>
                        <a:pt x="718" y="930"/>
                      </a:lnTo>
                      <a:lnTo>
                        <a:pt x="723" y="930"/>
                      </a:lnTo>
                      <a:lnTo>
                        <a:pt x="729" y="930"/>
                      </a:lnTo>
                      <a:lnTo>
                        <a:pt x="734" y="930"/>
                      </a:lnTo>
                      <a:lnTo>
                        <a:pt x="744" y="926"/>
                      </a:lnTo>
                      <a:lnTo>
                        <a:pt x="749" y="922"/>
                      </a:lnTo>
                      <a:lnTo>
                        <a:pt x="753" y="920"/>
                      </a:lnTo>
                      <a:lnTo>
                        <a:pt x="758" y="916"/>
                      </a:lnTo>
                      <a:lnTo>
                        <a:pt x="763" y="915"/>
                      </a:lnTo>
                      <a:lnTo>
                        <a:pt x="765" y="915"/>
                      </a:lnTo>
                      <a:lnTo>
                        <a:pt x="767" y="914"/>
                      </a:lnTo>
                      <a:lnTo>
                        <a:pt x="769" y="911"/>
                      </a:lnTo>
                      <a:lnTo>
                        <a:pt x="789" y="883"/>
                      </a:lnTo>
                      <a:lnTo>
                        <a:pt x="800" y="871"/>
                      </a:lnTo>
                      <a:lnTo>
                        <a:pt x="812" y="858"/>
                      </a:lnTo>
                      <a:lnTo>
                        <a:pt x="816" y="854"/>
                      </a:lnTo>
                      <a:lnTo>
                        <a:pt x="819" y="848"/>
                      </a:lnTo>
                      <a:lnTo>
                        <a:pt x="824" y="837"/>
                      </a:lnTo>
                      <a:lnTo>
                        <a:pt x="828" y="828"/>
                      </a:lnTo>
                      <a:lnTo>
                        <a:pt x="833" y="818"/>
                      </a:lnTo>
                      <a:lnTo>
                        <a:pt x="847" y="803"/>
                      </a:lnTo>
                      <a:lnTo>
                        <a:pt x="848" y="798"/>
                      </a:lnTo>
                      <a:lnTo>
                        <a:pt x="849" y="793"/>
                      </a:lnTo>
                      <a:lnTo>
                        <a:pt x="849" y="788"/>
                      </a:lnTo>
                      <a:lnTo>
                        <a:pt x="852" y="784"/>
                      </a:lnTo>
                      <a:lnTo>
                        <a:pt x="857" y="774"/>
                      </a:lnTo>
                      <a:lnTo>
                        <a:pt x="858" y="768"/>
                      </a:lnTo>
                      <a:lnTo>
                        <a:pt x="859" y="765"/>
                      </a:lnTo>
                      <a:lnTo>
                        <a:pt x="854" y="752"/>
                      </a:lnTo>
                      <a:lnTo>
                        <a:pt x="854" y="745"/>
                      </a:lnTo>
                      <a:lnTo>
                        <a:pt x="856" y="739"/>
                      </a:lnTo>
                      <a:lnTo>
                        <a:pt x="858" y="732"/>
                      </a:lnTo>
                      <a:lnTo>
                        <a:pt x="862" y="726"/>
                      </a:lnTo>
                      <a:lnTo>
                        <a:pt x="866" y="718"/>
                      </a:lnTo>
                      <a:lnTo>
                        <a:pt x="869" y="711"/>
                      </a:lnTo>
                      <a:lnTo>
                        <a:pt x="868" y="707"/>
                      </a:lnTo>
                      <a:lnTo>
                        <a:pt x="867" y="702"/>
                      </a:lnTo>
                      <a:lnTo>
                        <a:pt x="866" y="698"/>
                      </a:lnTo>
                      <a:lnTo>
                        <a:pt x="863" y="694"/>
                      </a:lnTo>
                      <a:lnTo>
                        <a:pt x="863" y="691"/>
                      </a:lnTo>
                      <a:lnTo>
                        <a:pt x="864" y="689"/>
                      </a:lnTo>
                      <a:lnTo>
                        <a:pt x="866" y="684"/>
                      </a:lnTo>
                      <a:lnTo>
                        <a:pt x="867" y="679"/>
                      </a:lnTo>
                      <a:lnTo>
                        <a:pt x="866" y="676"/>
                      </a:lnTo>
                      <a:lnTo>
                        <a:pt x="864" y="671"/>
                      </a:lnTo>
                      <a:lnTo>
                        <a:pt x="862" y="668"/>
                      </a:lnTo>
                      <a:lnTo>
                        <a:pt x="854" y="662"/>
                      </a:lnTo>
                      <a:lnTo>
                        <a:pt x="850" y="659"/>
                      </a:lnTo>
                      <a:lnTo>
                        <a:pt x="847" y="658"/>
                      </a:lnTo>
                      <a:lnTo>
                        <a:pt x="829" y="654"/>
                      </a:lnTo>
                      <a:lnTo>
                        <a:pt x="830" y="654"/>
                      </a:lnTo>
                      <a:lnTo>
                        <a:pt x="826" y="653"/>
                      </a:lnTo>
                      <a:lnTo>
                        <a:pt x="824" y="653"/>
                      </a:lnTo>
                      <a:lnTo>
                        <a:pt x="824" y="654"/>
                      </a:lnTo>
                      <a:lnTo>
                        <a:pt x="824" y="658"/>
                      </a:lnTo>
                      <a:lnTo>
                        <a:pt x="825" y="663"/>
                      </a:lnTo>
                      <a:lnTo>
                        <a:pt x="825" y="666"/>
                      </a:lnTo>
                      <a:lnTo>
                        <a:pt x="824" y="668"/>
                      </a:lnTo>
                      <a:lnTo>
                        <a:pt x="821" y="669"/>
                      </a:lnTo>
                      <a:lnTo>
                        <a:pt x="820" y="669"/>
                      </a:lnTo>
                      <a:lnTo>
                        <a:pt x="819" y="669"/>
                      </a:lnTo>
                      <a:lnTo>
                        <a:pt x="816" y="668"/>
                      </a:lnTo>
                      <a:lnTo>
                        <a:pt x="812" y="669"/>
                      </a:lnTo>
                      <a:lnTo>
                        <a:pt x="809" y="671"/>
                      </a:lnTo>
                      <a:lnTo>
                        <a:pt x="806" y="671"/>
                      </a:lnTo>
                      <a:lnTo>
                        <a:pt x="805" y="671"/>
                      </a:lnTo>
                      <a:lnTo>
                        <a:pt x="805" y="670"/>
                      </a:lnTo>
                      <a:lnTo>
                        <a:pt x="805" y="665"/>
                      </a:lnTo>
                      <a:lnTo>
                        <a:pt x="806" y="659"/>
                      </a:lnTo>
                      <a:lnTo>
                        <a:pt x="809" y="654"/>
                      </a:lnTo>
                      <a:lnTo>
                        <a:pt x="809" y="652"/>
                      </a:lnTo>
                      <a:lnTo>
                        <a:pt x="807" y="650"/>
                      </a:lnTo>
                      <a:lnTo>
                        <a:pt x="805" y="649"/>
                      </a:lnTo>
                      <a:lnTo>
                        <a:pt x="803" y="647"/>
                      </a:lnTo>
                      <a:lnTo>
                        <a:pt x="798" y="650"/>
                      </a:lnTo>
                      <a:lnTo>
                        <a:pt x="796" y="653"/>
                      </a:lnTo>
                      <a:lnTo>
                        <a:pt x="795" y="658"/>
                      </a:lnTo>
                      <a:lnTo>
                        <a:pt x="792" y="662"/>
                      </a:lnTo>
                      <a:lnTo>
                        <a:pt x="791" y="663"/>
                      </a:lnTo>
                      <a:lnTo>
                        <a:pt x="788" y="664"/>
                      </a:lnTo>
                      <a:lnTo>
                        <a:pt x="787" y="664"/>
                      </a:lnTo>
                      <a:lnTo>
                        <a:pt x="787" y="659"/>
                      </a:lnTo>
                      <a:lnTo>
                        <a:pt x="788" y="654"/>
                      </a:lnTo>
                      <a:lnTo>
                        <a:pt x="788" y="651"/>
                      </a:lnTo>
                      <a:lnTo>
                        <a:pt x="787" y="649"/>
                      </a:lnTo>
                      <a:lnTo>
                        <a:pt x="786" y="647"/>
                      </a:lnTo>
                      <a:lnTo>
                        <a:pt x="784" y="647"/>
                      </a:lnTo>
                      <a:lnTo>
                        <a:pt x="782" y="647"/>
                      </a:lnTo>
                      <a:lnTo>
                        <a:pt x="777" y="650"/>
                      </a:lnTo>
                      <a:lnTo>
                        <a:pt x="776" y="650"/>
                      </a:lnTo>
                      <a:lnTo>
                        <a:pt x="773" y="650"/>
                      </a:lnTo>
                      <a:lnTo>
                        <a:pt x="770" y="646"/>
                      </a:lnTo>
                      <a:lnTo>
                        <a:pt x="769" y="643"/>
                      </a:lnTo>
                      <a:lnTo>
                        <a:pt x="770" y="639"/>
                      </a:lnTo>
                      <a:lnTo>
                        <a:pt x="781" y="626"/>
                      </a:lnTo>
                      <a:lnTo>
                        <a:pt x="792" y="615"/>
                      </a:lnTo>
                      <a:lnTo>
                        <a:pt x="816" y="595"/>
                      </a:lnTo>
                      <a:lnTo>
                        <a:pt x="828" y="583"/>
                      </a:lnTo>
                      <a:lnTo>
                        <a:pt x="833" y="579"/>
                      </a:lnTo>
                      <a:lnTo>
                        <a:pt x="839" y="573"/>
                      </a:lnTo>
                      <a:lnTo>
                        <a:pt x="842" y="573"/>
                      </a:lnTo>
                      <a:lnTo>
                        <a:pt x="843" y="573"/>
                      </a:lnTo>
                      <a:lnTo>
                        <a:pt x="843" y="571"/>
                      </a:lnTo>
                      <a:lnTo>
                        <a:pt x="845" y="569"/>
                      </a:lnTo>
                      <a:lnTo>
                        <a:pt x="849" y="568"/>
                      </a:lnTo>
                      <a:lnTo>
                        <a:pt x="854" y="564"/>
                      </a:lnTo>
                      <a:lnTo>
                        <a:pt x="862" y="555"/>
                      </a:lnTo>
                      <a:lnTo>
                        <a:pt x="868" y="543"/>
                      </a:lnTo>
                      <a:lnTo>
                        <a:pt x="873" y="539"/>
                      </a:lnTo>
                      <a:lnTo>
                        <a:pt x="877" y="535"/>
                      </a:lnTo>
                      <a:lnTo>
                        <a:pt x="882" y="530"/>
                      </a:lnTo>
                      <a:lnTo>
                        <a:pt x="887" y="526"/>
                      </a:lnTo>
                      <a:lnTo>
                        <a:pt x="891" y="525"/>
                      </a:lnTo>
                      <a:lnTo>
                        <a:pt x="895" y="524"/>
                      </a:lnTo>
                      <a:lnTo>
                        <a:pt x="943" y="524"/>
                      </a:lnTo>
                      <a:lnTo>
                        <a:pt x="944" y="524"/>
                      </a:lnTo>
                      <a:lnTo>
                        <a:pt x="946" y="526"/>
                      </a:lnTo>
                      <a:lnTo>
                        <a:pt x="949" y="531"/>
                      </a:lnTo>
                      <a:lnTo>
                        <a:pt x="951" y="531"/>
                      </a:lnTo>
                      <a:lnTo>
                        <a:pt x="952" y="531"/>
                      </a:lnTo>
                      <a:lnTo>
                        <a:pt x="958" y="529"/>
                      </a:lnTo>
                      <a:lnTo>
                        <a:pt x="972" y="529"/>
                      </a:lnTo>
                      <a:lnTo>
                        <a:pt x="986" y="530"/>
                      </a:lnTo>
                      <a:lnTo>
                        <a:pt x="991" y="530"/>
                      </a:lnTo>
                      <a:lnTo>
                        <a:pt x="995" y="532"/>
                      </a:lnTo>
                      <a:lnTo>
                        <a:pt x="1000" y="532"/>
                      </a:lnTo>
                      <a:lnTo>
                        <a:pt x="1004" y="532"/>
                      </a:lnTo>
                      <a:lnTo>
                        <a:pt x="1007" y="531"/>
                      </a:lnTo>
                      <a:lnTo>
                        <a:pt x="1003" y="529"/>
                      </a:lnTo>
                      <a:lnTo>
                        <a:pt x="1000" y="528"/>
                      </a:lnTo>
                      <a:lnTo>
                        <a:pt x="1000" y="525"/>
                      </a:lnTo>
                      <a:lnTo>
                        <a:pt x="1002" y="524"/>
                      </a:lnTo>
                      <a:lnTo>
                        <a:pt x="1004" y="524"/>
                      </a:lnTo>
                      <a:lnTo>
                        <a:pt x="1007" y="523"/>
                      </a:lnTo>
                      <a:lnTo>
                        <a:pt x="1008" y="522"/>
                      </a:lnTo>
                      <a:lnTo>
                        <a:pt x="1008" y="519"/>
                      </a:lnTo>
                      <a:lnTo>
                        <a:pt x="1007" y="517"/>
                      </a:lnTo>
                      <a:lnTo>
                        <a:pt x="1003" y="512"/>
                      </a:lnTo>
                      <a:lnTo>
                        <a:pt x="1003" y="510"/>
                      </a:lnTo>
                      <a:lnTo>
                        <a:pt x="1004" y="509"/>
                      </a:lnTo>
                      <a:lnTo>
                        <a:pt x="1007" y="509"/>
                      </a:lnTo>
                      <a:lnTo>
                        <a:pt x="1009" y="509"/>
                      </a:lnTo>
                      <a:lnTo>
                        <a:pt x="1016" y="513"/>
                      </a:lnTo>
                      <a:lnTo>
                        <a:pt x="1023" y="517"/>
                      </a:lnTo>
                      <a:lnTo>
                        <a:pt x="1027" y="518"/>
                      </a:lnTo>
                      <a:lnTo>
                        <a:pt x="1031" y="519"/>
                      </a:lnTo>
                      <a:lnTo>
                        <a:pt x="1035" y="518"/>
                      </a:lnTo>
                      <a:lnTo>
                        <a:pt x="1038" y="516"/>
                      </a:lnTo>
                      <a:lnTo>
                        <a:pt x="1040" y="516"/>
                      </a:lnTo>
                      <a:lnTo>
                        <a:pt x="1042" y="517"/>
                      </a:lnTo>
                      <a:lnTo>
                        <a:pt x="1045" y="519"/>
                      </a:lnTo>
                      <a:lnTo>
                        <a:pt x="1046" y="522"/>
                      </a:lnTo>
                      <a:lnTo>
                        <a:pt x="1049" y="525"/>
                      </a:lnTo>
                      <a:lnTo>
                        <a:pt x="1051" y="528"/>
                      </a:lnTo>
                      <a:lnTo>
                        <a:pt x="1052" y="529"/>
                      </a:lnTo>
                      <a:lnTo>
                        <a:pt x="1052" y="530"/>
                      </a:lnTo>
                      <a:lnTo>
                        <a:pt x="1049" y="532"/>
                      </a:lnTo>
                      <a:lnTo>
                        <a:pt x="1043" y="535"/>
                      </a:lnTo>
                      <a:lnTo>
                        <a:pt x="1040" y="536"/>
                      </a:lnTo>
                      <a:lnTo>
                        <a:pt x="1036" y="539"/>
                      </a:lnTo>
                      <a:lnTo>
                        <a:pt x="1035" y="542"/>
                      </a:lnTo>
                      <a:lnTo>
                        <a:pt x="1036" y="544"/>
                      </a:lnTo>
                      <a:lnTo>
                        <a:pt x="1038" y="545"/>
                      </a:lnTo>
                      <a:lnTo>
                        <a:pt x="1041" y="545"/>
                      </a:lnTo>
                      <a:lnTo>
                        <a:pt x="1051" y="543"/>
                      </a:lnTo>
                      <a:lnTo>
                        <a:pt x="1060" y="543"/>
                      </a:lnTo>
                      <a:lnTo>
                        <a:pt x="1065" y="542"/>
                      </a:lnTo>
                      <a:lnTo>
                        <a:pt x="1069" y="542"/>
                      </a:lnTo>
                      <a:lnTo>
                        <a:pt x="1073" y="539"/>
                      </a:lnTo>
                      <a:lnTo>
                        <a:pt x="1076" y="537"/>
                      </a:lnTo>
                      <a:lnTo>
                        <a:pt x="1079" y="536"/>
                      </a:lnTo>
                      <a:lnTo>
                        <a:pt x="1080" y="537"/>
                      </a:lnTo>
                      <a:lnTo>
                        <a:pt x="1083" y="538"/>
                      </a:lnTo>
                      <a:lnTo>
                        <a:pt x="1084" y="538"/>
                      </a:lnTo>
                      <a:lnTo>
                        <a:pt x="1087" y="536"/>
                      </a:lnTo>
                      <a:lnTo>
                        <a:pt x="1089" y="534"/>
                      </a:lnTo>
                      <a:lnTo>
                        <a:pt x="1090" y="534"/>
                      </a:lnTo>
                      <a:lnTo>
                        <a:pt x="1093" y="534"/>
                      </a:lnTo>
                      <a:lnTo>
                        <a:pt x="1094" y="535"/>
                      </a:lnTo>
                      <a:lnTo>
                        <a:pt x="1098" y="536"/>
                      </a:lnTo>
                      <a:lnTo>
                        <a:pt x="1102" y="535"/>
                      </a:lnTo>
                      <a:lnTo>
                        <a:pt x="1108" y="531"/>
                      </a:lnTo>
                      <a:lnTo>
                        <a:pt x="1108" y="530"/>
                      </a:lnTo>
                      <a:lnTo>
                        <a:pt x="1098" y="524"/>
                      </a:lnTo>
                      <a:lnTo>
                        <a:pt x="1094" y="522"/>
                      </a:lnTo>
                      <a:lnTo>
                        <a:pt x="1090" y="518"/>
                      </a:lnTo>
                      <a:lnTo>
                        <a:pt x="1090" y="515"/>
                      </a:lnTo>
                      <a:lnTo>
                        <a:pt x="1092" y="511"/>
                      </a:lnTo>
                      <a:lnTo>
                        <a:pt x="1094" y="510"/>
                      </a:lnTo>
                      <a:lnTo>
                        <a:pt x="1098" y="507"/>
                      </a:lnTo>
                      <a:lnTo>
                        <a:pt x="1107" y="505"/>
                      </a:lnTo>
                      <a:lnTo>
                        <a:pt x="1115" y="503"/>
                      </a:lnTo>
                      <a:lnTo>
                        <a:pt x="1125" y="496"/>
                      </a:lnTo>
                      <a:lnTo>
                        <a:pt x="1129" y="492"/>
                      </a:lnTo>
                      <a:lnTo>
                        <a:pt x="1134" y="487"/>
                      </a:lnTo>
                      <a:lnTo>
                        <a:pt x="1137" y="483"/>
                      </a:lnTo>
                      <a:lnTo>
                        <a:pt x="1140" y="479"/>
                      </a:lnTo>
                      <a:lnTo>
                        <a:pt x="1145" y="472"/>
                      </a:lnTo>
                      <a:lnTo>
                        <a:pt x="1151" y="467"/>
                      </a:lnTo>
                      <a:lnTo>
                        <a:pt x="1158" y="464"/>
                      </a:lnTo>
                      <a:lnTo>
                        <a:pt x="1162" y="462"/>
                      </a:lnTo>
                      <a:lnTo>
                        <a:pt x="1165" y="461"/>
                      </a:lnTo>
                      <a:lnTo>
                        <a:pt x="1169" y="462"/>
                      </a:lnTo>
                      <a:lnTo>
                        <a:pt x="1173" y="462"/>
                      </a:lnTo>
                      <a:lnTo>
                        <a:pt x="1177" y="465"/>
                      </a:lnTo>
                      <a:lnTo>
                        <a:pt x="1179" y="466"/>
                      </a:lnTo>
                      <a:lnTo>
                        <a:pt x="1182" y="466"/>
                      </a:lnTo>
                      <a:lnTo>
                        <a:pt x="1186" y="464"/>
                      </a:lnTo>
                      <a:lnTo>
                        <a:pt x="1189" y="461"/>
                      </a:lnTo>
                      <a:lnTo>
                        <a:pt x="1195" y="456"/>
                      </a:lnTo>
                      <a:lnTo>
                        <a:pt x="1200" y="451"/>
                      </a:lnTo>
                      <a:lnTo>
                        <a:pt x="1203" y="446"/>
                      </a:lnTo>
                      <a:lnTo>
                        <a:pt x="1207" y="445"/>
                      </a:lnTo>
                      <a:lnTo>
                        <a:pt x="1210" y="443"/>
                      </a:lnTo>
                      <a:lnTo>
                        <a:pt x="1207" y="452"/>
                      </a:lnTo>
                      <a:lnTo>
                        <a:pt x="1203" y="460"/>
                      </a:lnTo>
                      <a:lnTo>
                        <a:pt x="1203" y="465"/>
                      </a:lnTo>
                      <a:lnTo>
                        <a:pt x="1202" y="468"/>
                      </a:lnTo>
                      <a:lnTo>
                        <a:pt x="1202" y="471"/>
                      </a:lnTo>
                      <a:lnTo>
                        <a:pt x="1200" y="473"/>
                      </a:lnTo>
                      <a:lnTo>
                        <a:pt x="1197" y="474"/>
                      </a:lnTo>
                      <a:lnTo>
                        <a:pt x="1192" y="479"/>
                      </a:lnTo>
                      <a:lnTo>
                        <a:pt x="1192" y="480"/>
                      </a:lnTo>
                      <a:lnTo>
                        <a:pt x="1192" y="483"/>
                      </a:lnTo>
                      <a:lnTo>
                        <a:pt x="1193" y="485"/>
                      </a:lnTo>
                      <a:lnTo>
                        <a:pt x="1197" y="487"/>
                      </a:lnTo>
                      <a:lnTo>
                        <a:pt x="1198" y="490"/>
                      </a:lnTo>
                      <a:lnTo>
                        <a:pt x="1201" y="492"/>
                      </a:lnTo>
                      <a:lnTo>
                        <a:pt x="1203" y="493"/>
                      </a:lnTo>
                      <a:lnTo>
                        <a:pt x="1207" y="493"/>
                      </a:lnTo>
                      <a:lnTo>
                        <a:pt x="1210" y="491"/>
                      </a:lnTo>
                      <a:lnTo>
                        <a:pt x="1212" y="487"/>
                      </a:lnTo>
                      <a:lnTo>
                        <a:pt x="1215" y="483"/>
                      </a:lnTo>
                      <a:lnTo>
                        <a:pt x="1216" y="477"/>
                      </a:lnTo>
                      <a:lnTo>
                        <a:pt x="1219" y="472"/>
                      </a:lnTo>
                      <a:lnTo>
                        <a:pt x="1221" y="471"/>
                      </a:lnTo>
                      <a:lnTo>
                        <a:pt x="1222" y="471"/>
                      </a:lnTo>
                      <a:lnTo>
                        <a:pt x="1225" y="470"/>
                      </a:lnTo>
                      <a:lnTo>
                        <a:pt x="1226" y="470"/>
                      </a:lnTo>
                      <a:lnTo>
                        <a:pt x="1229" y="465"/>
                      </a:lnTo>
                      <a:lnTo>
                        <a:pt x="1230" y="460"/>
                      </a:lnTo>
                      <a:lnTo>
                        <a:pt x="1231" y="456"/>
                      </a:lnTo>
                      <a:lnTo>
                        <a:pt x="1233" y="454"/>
                      </a:lnTo>
                      <a:lnTo>
                        <a:pt x="1234" y="453"/>
                      </a:lnTo>
                      <a:lnTo>
                        <a:pt x="1242" y="449"/>
                      </a:lnTo>
                      <a:lnTo>
                        <a:pt x="1249" y="448"/>
                      </a:lnTo>
                      <a:lnTo>
                        <a:pt x="1252" y="448"/>
                      </a:lnTo>
                      <a:lnTo>
                        <a:pt x="1253" y="449"/>
                      </a:lnTo>
                      <a:lnTo>
                        <a:pt x="1253" y="451"/>
                      </a:lnTo>
                      <a:lnTo>
                        <a:pt x="1249" y="454"/>
                      </a:lnTo>
                      <a:lnTo>
                        <a:pt x="1247" y="459"/>
                      </a:lnTo>
                      <a:lnTo>
                        <a:pt x="1242" y="467"/>
                      </a:lnTo>
                      <a:lnTo>
                        <a:pt x="1239" y="471"/>
                      </a:lnTo>
                      <a:lnTo>
                        <a:pt x="1239" y="473"/>
                      </a:lnTo>
                      <a:lnTo>
                        <a:pt x="1242" y="478"/>
                      </a:lnTo>
                      <a:lnTo>
                        <a:pt x="1243" y="480"/>
                      </a:lnTo>
                      <a:lnTo>
                        <a:pt x="1244" y="483"/>
                      </a:lnTo>
                      <a:lnTo>
                        <a:pt x="1243" y="485"/>
                      </a:lnTo>
                      <a:lnTo>
                        <a:pt x="1239" y="488"/>
                      </a:lnTo>
                      <a:lnTo>
                        <a:pt x="1235" y="491"/>
                      </a:lnTo>
                      <a:lnTo>
                        <a:pt x="1230" y="493"/>
                      </a:lnTo>
                      <a:lnTo>
                        <a:pt x="1226" y="497"/>
                      </a:lnTo>
                      <a:lnTo>
                        <a:pt x="1217" y="505"/>
                      </a:lnTo>
                      <a:lnTo>
                        <a:pt x="1207" y="512"/>
                      </a:lnTo>
                      <a:lnTo>
                        <a:pt x="1197" y="519"/>
                      </a:lnTo>
                      <a:lnTo>
                        <a:pt x="1187" y="526"/>
                      </a:lnTo>
                      <a:lnTo>
                        <a:pt x="1184" y="531"/>
                      </a:lnTo>
                      <a:lnTo>
                        <a:pt x="1183" y="536"/>
                      </a:lnTo>
                      <a:lnTo>
                        <a:pt x="1182" y="542"/>
                      </a:lnTo>
                      <a:lnTo>
                        <a:pt x="1182" y="543"/>
                      </a:lnTo>
                      <a:lnTo>
                        <a:pt x="1179" y="544"/>
                      </a:lnTo>
                      <a:lnTo>
                        <a:pt x="1177" y="545"/>
                      </a:lnTo>
                      <a:lnTo>
                        <a:pt x="1174" y="548"/>
                      </a:lnTo>
                      <a:lnTo>
                        <a:pt x="1172" y="551"/>
                      </a:lnTo>
                      <a:lnTo>
                        <a:pt x="1170" y="556"/>
                      </a:lnTo>
                      <a:lnTo>
                        <a:pt x="1169" y="557"/>
                      </a:lnTo>
                      <a:lnTo>
                        <a:pt x="1167" y="558"/>
                      </a:lnTo>
                      <a:lnTo>
                        <a:pt x="1151" y="561"/>
                      </a:lnTo>
                      <a:lnTo>
                        <a:pt x="1144" y="563"/>
                      </a:lnTo>
                      <a:lnTo>
                        <a:pt x="1140" y="564"/>
                      </a:lnTo>
                      <a:lnTo>
                        <a:pt x="1136" y="568"/>
                      </a:lnTo>
                      <a:lnTo>
                        <a:pt x="1130" y="575"/>
                      </a:lnTo>
                      <a:lnTo>
                        <a:pt x="1127" y="577"/>
                      </a:lnTo>
                      <a:lnTo>
                        <a:pt x="1123" y="579"/>
                      </a:lnTo>
                      <a:lnTo>
                        <a:pt x="1122" y="581"/>
                      </a:lnTo>
                      <a:lnTo>
                        <a:pt x="1121" y="587"/>
                      </a:lnTo>
                      <a:lnTo>
                        <a:pt x="1120" y="594"/>
                      </a:lnTo>
                      <a:lnTo>
                        <a:pt x="1117" y="599"/>
                      </a:lnTo>
                      <a:lnTo>
                        <a:pt x="1116" y="602"/>
                      </a:lnTo>
                      <a:lnTo>
                        <a:pt x="1116" y="606"/>
                      </a:lnTo>
                      <a:lnTo>
                        <a:pt x="1116" y="611"/>
                      </a:lnTo>
                      <a:lnTo>
                        <a:pt x="1116" y="614"/>
                      </a:lnTo>
                      <a:lnTo>
                        <a:pt x="1112" y="621"/>
                      </a:lnTo>
                      <a:lnTo>
                        <a:pt x="1111" y="626"/>
                      </a:lnTo>
                      <a:lnTo>
                        <a:pt x="1111" y="630"/>
                      </a:lnTo>
                      <a:lnTo>
                        <a:pt x="1118" y="649"/>
                      </a:lnTo>
                      <a:lnTo>
                        <a:pt x="1123" y="668"/>
                      </a:lnTo>
                      <a:lnTo>
                        <a:pt x="1127" y="686"/>
                      </a:lnTo>
                      <a:lnTo>
                        <a:pt x="1130" y="707"/>
                      </a:lnTo>
                      <a:lnTo>
                        <a:pt x="1131" y="709"/>
                      </a:lnTo>
                      <a:lnTo>
                        <a:pt x="1132" y="716"/>
                      </a:lnTo>
                      <a:lnTo>
                        <a:pt x="1135" y="722"/>
                      </a:lnTo>
                      <a:lnTo>
                        <a:pt x="1141" y="734"/>
                      </a:lnTo>
                      <a:lnTo>
                        <a:pt x="1142" y="734"/>
                      </a:lnTo>
                      <a:lnTo>
                        <a:pt x="1144" y="734"/>
                      </a:lnTo>
                      <a:lnTo>
                        <a:pt x="1148" y="733"/>
                      </a:lnTo>
                      <a:lnTo>
                        <a:pt x="1154" y="724"/>
                      </a:lnTo>
                      <a:lnTo>
                        <a:pt x="1159" y="717"/>
                      </a:lnTo>
                      <a:lnTo>
                        <a:pt x="1165" y="709"/>
                      </a:lnTo>
                      <a:lnTo>
                        <a:pt x="1172" y="702"/>
                      </a:lnTo>
                      <a:lnTo>
                        <a:pt x="1174" y="700"/>
                      </a:lnTo>
                      <a:lnTo>
                        <a:pt x="1174" y="696"/>
                      </a:lnTo>
                      <a:lnTo>
                        <a:pt x="1172" y="689"/>
                      </a:lnTo>
                      <a:lnTo>
                        <a:pt x="1172" y="685"/>
                      </a:lnTo>
                      <a:lnTo>
                        <a:pt x="1173" y="683"/>
                      </a:lnTo>
                      <a:lnTo>
                        <a:pt x="1179" y="679"/>
                      </a:lnTo>
                      <a:lnTo>
                        <a:pt x="1182" y="678"/>
                      </a:lnTo>
                      <a:lnTo>
                        <a:pt x="1183" y="678"/>
                      </a:lnTo>
                      <a:lnTo>
                        <a:pt x="1187" y="679"/>
                      </a:lnTo>
                      <a:lnTo>
                        <a:pt x="1193" y="681"/>
                      </a:lnTo>
                      <a:lnTo>
                        <a:pt x="1196" y="681"/>
                      </a:lnTo>
                      <a:lnTo>
                        <a:pt x="1198" y="679"/>
                      </a:lnTo>
                      <a:lnTo>
                        <a:pt x="1198" y="678"/>
                      </a:lnTo>
                      <a:lnTo>
                        <a:pt x="1200" y="677"/>
                      </a:lnTo>
                      <a:lnTo>
                        <a:pt x="1198" y="672"/>
                      </a:lnTo>
                      <a:lnTo>
                        <a:pt x="1197" y="669"/>
                      </a:lnTo>
                      <a:lnTo>
                        <a:pt x="1196" y="665"/>
                      </a:lnTo>
                      <a:lnTo>
                        <a:pt x="1196" y="660"/>
                      </a:lnTo>
                      <a:lnTo>
                        <a:pt x="1198" y="658"/>
                      </a:lnTo>
                      <a:lnTo>
                        <a:pt x="1201" y="656"/>
                      </a:lnTo>
                      <a:lnTo>
                        <a:pt x="1206" y="654"/>
                      </a:lnTo>
                      <a:lnTo>
                        <a:pt x="1215" y="651"/>
                      </a:lnTo>
                      <a:lnTo>
                        <a:pt x="1219" y="650"/>
                      </a:lnTo>
                      <a:lnTo>
                        <a:pt x="1222" y="647"/>
                      </a:lnTo>
                      <a:lnTo>
                        <a:pt x="1224" y="645"/>
                      </a:lnTo>
                      <a:lnTo>
                        <a:pt x="1225" y="643"/>
                      </a:lnTo>
                      <a:lnTo>
                        <a:pt x="1224" y="638"/>
                      </a:lnTo>
                      <a:lnTo>
                        <a:pt x="1221" y="633"/>
                      </a:lnTo>
                      <a:lnTo>
                        <a:pt x="1219" y="627"/>
                      </a:lnTo>
                      <a:lnTo>
                        <a:pt x="1217" y="625"/>
                      </a:lnTo>
                      <a:lnTo>
                        <a:pt x="1219" y="621"/>
                      </a:lnTo>
                      <a:lnTo>
                        <a:pt x="1224" y="614"/>
                      </a:lnTo>
                      <a:lnTo>
                        <a:pt x="1233" y="605"/>
                      </a:lnTo>
                      <a:lnTo>
                        <a:pt x="1235" y="603"/>
                      </a:lnTo>
                      <a:lnTo>
                        <a:pt x="1236" y="602"/>
                      </a:lnTo>
                      <a:lnTo>
                        <a:pt x="1239" y="602"/>
                      </a:lnTo>
                      <a:lnTo>
                        <a:pt x="1242" y="603"/>
                      </a:lnTo>
                      <a:lnTo>
                        <a:pt x="1243" y="605"/>
                      </a:lnTo>
                      <a:lnTo>
                        <a:pt x="1244" y="605"/>
                      </a:lnTo>
                      <a:lnTo>
                        <a:pt x="1247" y="602"/>
                      </a:lnTo>
                      <a:lnTo>
                        <a:pt x="1249" y="600"/>
                      </a:lnTo>
                      <a:lnTo>
                        <a:pt x="1250" y="596"/>
                      </a:lnTo>
                      <a:lnTo>
                        <a:pt x="1250" y="594"/>
                      </a:lnTo>
                      <a:lnTo>
                        <a:pt x="1249" y="593"/>
                      </a:lnTo>
                      <a:lnTo>
                        <a:pt x="1245" y="592"/>
                      </a:lnTo>
                      <a:lnTo>
                        <a:pt x="1242" y="590"/>
                      </a:lnTo>
                      <a:lnTo>
                        <a:pt x="1240" y="589"/>
                      </a:lnTo>
                      <a:lnTo>
                        <a:pt x="1239" y="588"/>
                      </a:lnTo>
                      <a:lnTo>
                        <a:pt x="1236" y="582"/>
                      </a:lnTo>
                      <a:lnTo>
                        <a:pt x="1235" y="580"/>
                      </a:lnTo>
                      <a:lnTo>
                        <a:pt x="1235" y="576"/>
                      </a:lnTo>
                      <a:lnTo>
                        <a:pt x="1236" y="574"/>
                      </a:lnTo>
                      <a:lnTo>
                        <a:pt x="1239" y="573"/>
                      </a:lnTo>
                      <a:lnTo>
                        <a:pt x="1245" y="573"/>
                      </a:lnTo>
                      <a:lnTo>
                        <a:pt x="1247" y="571"/>
                      </a:lnTo>
                      <a:lnTo>
                        <a:pt x="1247" y="569"/>
                      </a:lnTo>
                      <a:lnTo>
                        <a:pt x="1247" y="568"/>
                      </a:lnTo>
                      <a:lnTo>
                        <a:pt x="1245" y="567"/>
                      </a:lnTo>
                      <a:lnTo>
                        <a:pt x="1239" y="563"/>
                      </a:lnTo>
                      <a:lnTo>
                        <a:pt x="1236" y="562"/>
                      </a:lnTo>
                      <a:lnTo>
                        <a:pt x="1234" y="560"/>
                      </a:lnTo>
                      <a:lnTo>
                        <a:pt x="1234" y="557"/>
                      </a:lnTo>
                      <a:lnTo>
                        <a:pt x="1235" y="555"/>
                      </a:lnTo>
                      <a:lnTo>
                        <a:pt x="1238" y="551"/>
                      </a:lnTo>
                      <a:lnTo>
                        <a:pt x="1239" y="549"/>
                      </a:lnTo>
                      <a:lnTo>
                        <a:pt x="1238" y="547"/>
                      </a:lnTo>
                      <a:lnTo>
                        <a:pt x="1234" y="545"/>
                      </a:lnTo>
                      <a:lnTo>
                        <a:pt x="1234" y="544"/>
                      </a:lnTo>
                      <a:lnTo>
                        <a:pt x="1234" y="542"/>
                      </a:lnTo>
                      <a:lnTo>
                        <a:pt x="1235" y="537"/>
                      </a:lnTo>
                      <a:lnTo>
                        <a:pt x="1239" y="532"/>
                      </a:lnTo>
                      <a:lnTo>
                        <a:pt x="1243" y="529"/>
                      </a:lnTo>
                      <a:lnTo>
                        <a:pt x="1248" y="525"/>
                      </a:lnTo>
                      <a:lnTo>
                        <a:pt x="1249" y="524"/>
                      </a:lnTo>
                      <a:lnTo>
                        <a:pt x="1249" y="522"/>
                      </a:lnTo>
                      <a:lnTo>
                        <a:pt x="1250" y="519"/>
                      </a:lnTo>
                      <a:lnTo>
                        <a:pt x="1252" y="517"/>
                      </a:lnTo>
                      <a:lnTo>
                        <a:pt x="1262" y="510"/>
                      </a:lnTo>
                      <a:lnTo>
                        <a:pt x="1267" y="509"/>
                      </a:lnTo>
                      <a:lnTo>
                        <a:pt x="1272" y="509"/>
                      </a:lnTo>
                      <a:lnTo>
                        <a:pt x="1278" y="511"/>
                      </a:lnTo>
                      <a:lnTo>
                        <a:pt x="1281" y="510"/>
                      </a:lnTo>
                      <a:lnTo>
                        <a:pt x="1282" y="509"/>
                      </a:lnTo>
                      <a:lnTo>
                        <a:pt x="1286" y="503"/>
                      </a:lnTo>
                      <a:lnTo>
                        <a:pt x="1289" y="497"/>
                      </a:lnTo>
                      <a:lnTo>
                        <a:pt x="1291" y="491"/>
                      </a:lnTo>
                      <a:lnTo>
                        <a:pt x="1292" y="491"/>
                      </a:lnTo>
                      <a:lnTo>
                        <a:pt x="1294" y="491"/>
                      </a:lnTo>
                      <a:lnTo>
                        <a:pt x="1295" y="496"/>
                      </a:lnTo>
                      <a:lnTo>
                        <a:pt x="1295" y="500"/>
                      </a:lnTo>
                      <a:lnTo>
                        <a:pt x="1294" y="505"/>
                      </a:lnTo>
                      <a:lnTo>
                        <a:pt x="1292" y="509"/>
                      </a:lnTo>
                      <a:lnTo>
                        <a:pt x="1294" y="511"/>
                      </a:lnTo>
                      <a:lnTo>
                        <a:pt x="1296" y="510"/>
                      </a:lnTo>
                      <a:lnTo>
                        <a:pt x="1299" y="510"/>
                      </a:lnTo>
                      <a:lnTo>
                        <a:pt x="1300" y="507"/>
                      </a:lnTo>
                      <a:lnTo>
                        <a:pt x="1302" y="505"/>
                      </a:lnTo>
                      <a:lnTo>
                        <a:pt x="1305" y="503"/>
                      </a:lnTo>
                      <a:lnTo>
                        <a:pt x="1310" y="500"/>
                      </a:lnTo>
                      <a:lnTo>
                        <a:pt x="1315" y="498"/>
                      </a:lnTo>
                      <a:lnTo>
                        <a:pt x="1325" y="492"/>
                      </a:lnTo>
                      <a:lnTo>
                        <a:pt x="1329" y="490"/>
                      </a:lnTo>
                      <a:lnTo>
                        <a:pt x="1333" y="488"/>
                      </a:lnTo>
                      <a:lnTo>
                        <a:pt x="1341" y="490"/>
                      </a:lnTo>
                      <a:lnTo>
                        <a:pt x="1348" y="492"/>
                      </a:lnTo>
                      <a:lnTo>
                        <a:pt x="1356" y="497"/>
                      </a:lnTo>
                      <a:lnTo>
                        <a:pt x="1358" y="497"/>
                      </a:lnTo>
                      <a:lnTo>
                        <a:pt x="1362" y="497"/>
                      </a:lnTo>
                      <a:lnTo>
                        <a:pt x="1363" y="499"/>
                      </a:lnTo>
                      <a:lnTo>
                        <a:pt x="1365" y="500"/>
                      </a:lnTo>
                      <a:lnTo>
                        <a:pt x="1366" y="503"/>
                      </a:lnTo>
                      <a:lnTo>
                        <a:pt x="1367" y="505"/>
                      </a:lnTo>
                      <a:lnTo>
                        <a:pt x="1367" y="506"/>
                      </a:lnTo>
                      <a:lnTo>
                        <a:pt x="1369" y="506"/>
                      </a:lnTo>
                      <a:lnTo>
                        <a:pt x="1371" y="504"/>
                      </a:lnTo>
                      <a:lnTo>
                        <a:pt x="1372" y="502"/>
                      </a:lnTo>
                      <a:lnTo>
                        <a:pt x="1375" y="497"/>
                      </a:lnTo>
                      <a:lnTo>
                        <a:pt x="1381" y="490"/>
                      </a:lnTo>
                      <a:lnTo>
                        <a:pt x="1386" y="485"/>
                      </a:lnTo>
                      <a:lnTo>
                        <a:pt x="1390" y="483"/>
                      </a:lnTo>
                      <a:lnTo>
                        <a:pt x="1399" y="478"/>
                      </a:lnTo>
                      <a:lnTo>
                        <a:pt x="1408" y="474"/>
                      </a:lnTo>
                      <a:lnTo>
                        <a:pt x="1417" y="467"/>
                      </a:lnTo>
                      <a:lnTo>
                        <a:pt x="1422" y="465"/>
                      </a:lnTo>
                      <a:lnTo>
                        <a:pt x="1427" y="464"/>
                      </a:lnTo>
                      <a:lnTo>
                        <a:pt x="1433" y="461"/>
                      </a:lnTo>
                      <a:lnTo>
                        <a:pt x="1438" y="459"/>
                      </a:lnTo>
                      <a:lnTo>
                        <a:pt x="1445" y="455"/>
                      </a:lnTo>
                      <a:lnTo>
                        <a:pt x="1450" y="453"/>
                      </a:lnTo>
                      <a:lnTo>
                        <a:pt x="1455" y="449"/>
                      </a:lnTo>
                      <a:lnTo>
                        <a:pt x="1460" y="447"/>
                      </a:lnTo>
                      <a:lnTo>
                        <a:pt x="1465" y="445"/>
                      </a:lnTo>
                      <a:lnTo>
                        <a:pt x="1470" y="443"/>
                      </a:lnTo>
                      <a:lnTo>
                        <a:pt x="1479" y="442"/>
                      </a:lnTo>
                      <a:lnTo>
                        <a:pt x="1489" y="440"/>
                      </a:lnTo>
                      <a:lnTo>
                        <a:pt x="1501" y="439"/>
                      </a:lnTo>
                      <a:lnTo>
                        <a:pt x="1507" y="440"/>
                      </a:lnTo>
                      <a:lnTo>
                        <a:pt x="1513" y="441"/>
                      </a:lnTo>
                      <a:lnTo>
                        <a:pt x="1516" y="442"/>
                      </a:lnTo>
                      <a:lnTo>
                        <a:pt x="1520" y="442"/>
                      </a:lnTo>
                      <a:lnTo>
                        <a:pt x="1523" y="441"/>
                      </a:lnTo>
                      <a:lnTo>
                        <a:pt x="1526" y="440"/>
                      </a:lnTo>
                      <a:lnTo>
                        <a:pt x="1527" y="436"/>
                      </a:lnTo>
                      <a:lnTo>
                        <a:pt x="1529" y="432"/>
                      </a:lnTo>
                      <a:lnTo>
                        <a:pt x="1529" y="428"/>
                      </a:lnTo>
                      <a:lnTo>
                        <a:pt x="1527" y="426"/>
                      </a:lnTo>
                      <a:lnTo>
                        <a:pt x="1523" y="422"/>
                      </a:lnTo>
                      <a:lnTo>
                        <a:pt x="1520" y="419"/>
                      </a:lnTo>
                      <a:lnTo>
                        <a:pt x="1515" y="409"/>
                      </a:lnTo>
                      <a:lnTo>
                        <a:pt x="1508" y="391"/>
                      </a:lnTo>
                      <a:lnTo>
                        <a:pt x="1504" y="389"/>
                      </a:lnTo>
                      <a:lnTo>
                        <a:pt x="1502" y="388"/>
                      </a:lnTo>
                      <a:lnTo>
                        <a:pt x="1494" y="388"/>
                      </a:lnTo>
                      <a:lnTo>
                        <a:pt x="1489" y="385"/>
                      </a:lnTo>
                      <a:lnTo>
                        <a:pt x="1478" y="378"/>
                      </a:lnTo>
                      <a:lnTo>
                        <a:pt x="1476" y="377"/>
                      </a:lnTo>
                      <a:lnTo>
                        <a:pt x="1478" y="376"/>
                      </a:lnTo>
                      <a:lnTo>
                        <a:pt x="1479" y="375"/>
                      </a:lnTo>
                      <a:lnTo>
                        <a:pt x="1492" y="376"/>
                      </a:lnTo>
                      <a:lnTo>
                        <a:pt x="1503" y="378"/>
                      </a:lnTo>
                      <a:lnTo>
                        <a:pt x="1515" y="381"/>
                      </a:lnTo>
                      <a:lnTo>
                        <a:pt x="1521" y="381"/>
                      </a:lnTo>
                      <a:lnTo>
                        <a:pt x="1527" y="379"/>
                      </a:lnTo>
                      <a:lnTo>
                        <a:pt x="1534" y="377"/>
                      </a:lnTo>
                      <a:lnTo>
                        <a:pt x="1540" y="373"/>
                      </a:lnTo>
                      <a:lnTo>
                        <a:pt x="1545" y="369"/>
                      </a:lnTo>
                      <a:lnTo>
                        <a:pt x="1550" y="364"/>
                      </a:lnTo>
                      <a:lnTo>
                        <a:pt x="1553" y="358"/>
                      </a:lnTo>
                      <a:lnTo>
                        <a:pt x="1553" y="352"/>
                      </a:lnTo>
                      <a:lnTo>
                        <a:pt x="1551" y="346"/>
                      </a:lnTo>
                      <a:lnTo>
                        <a:pt x="1546" y="339"/>
                      </a:lnTo>
                      <a:lnTo>
                        <a:pt x="1546" y="337"/>
                      </a:lnTo>
                      <a:lnTo>
                        <a:pt x="1548" y="336"/>
                      </a:lnTo>
                      <a:lnTo>
                        <a:pt x="1556" y="336"/>
                      </a:lnTo>
                      <a:lnTo>
                        <a:pt x="1565" y="334"/>
                      </a:lnTo>
                      <a:lnTo>
                        <a:pt x="1567" y="334"/>
                      </a:lnTo>
                      <a:lnTo>
                        <a:pt x="1567" y="336"/>
                      </a:lnTo>
                      <a:lnTo>
                        <a:pt x="1567" y="338"/>
                      </a:lnTo>
                      <a:lnTo>
                        <a:pt x="1563" y="341"/>
                      </a:lnTo>
                      <a:lnTo>
                        <a:pt x="1562" y="346"/>
                      </a:lnTo>
                      <a:lnTo>
                        <a:pt x="1564" y="350"/>
                      </a:lnTo>
                      <a:lnTo>
                        <a:pt x="1568" y="353"/>
                      </a:lnTo>
                      <a:lnTo>
                        <a:pt x="1573" y="356"/>
                      </a:lnTo>
                      <a:lnTo>
                        <a:pt x="1577" y="356"/>
                      </a:lnTo>
                      <a:lnTo>
                        <a:pt x="1579" y="356"/>
                      </a:lnTo>
                      <a:lnTo>
                        <a:pt x="1586" y="356"/>
                      </a:lnTo>
                      <a:lnTo>
                        <a:pt x="1596" y="353"/>
                      </a:lnTo>
                      <a:lnTo>
                        <a:pt x="1601" y="355"/>
                      </a:lnTo>
                      <a:lnTo>
                        <a:pt x="1606" y="356"/>
                      </a:lnTo>
                      <a:lnTo>
                        <a:pt x="1609" y="358"/>
                      </a:lnTo>
                      <a:lnTo>
                        <a:pt x="1611" y="362"/>
                      </a:lnTo>
                      <a:lnTo>
                        <a:pt x="1614" y="369"/>
                      </a:lnTo>
                      <a:lnTo>
                        <a:pt x="1617" y="373"/>
                      </a:lnTo>
                      <a:lnTo>
                        <a:pt x="1619" y="375"/>
                      </a:lnTo>
                      <a:lnTo>
                        <a:pt x="1621" y="376"/>
                      </a:lnTo>
                      <a:lnTo>
                        <a:pt x="1634" y="381"/>
                      </a:lnTo>
                      <a:lnTo>
                        <a:pt x="1645" y="385"/>
                      </a:lnTo>
                      <a:lnTo>
                        <a:pt x="1657" y="389"/>
                      </a:lnTo>
                      <a:lnTo>
                        <a:pt x="1659" y="389"/>
                      </a:lnTo>
                      <a:lnTo>
                        <a:pt x="1663" y="389"/>
                      </a:lnTo>
                      <a:lnTo>
                        <a:pt x="1666" y="388"/>
                      </a:lnTo>
                      <a:lnTo>
                        <a:pt x="1667" y="387"/>
                      </a:lnTo>
                      <a:lnTo>
                        <a:pt x="1669" y="381"/>
                      </a:lnTo>
                      <a:lnTo>
                        <a:pt x="1672" y="376"/>
                      </a:lnTo>
                      <a:lnTo>
                        <a:pt x="1676" y="370"/>
                      </a:lnTo>
                      <a:lnTo>
                        <a:pt x="1676" y="363"/>
                      </a:lnTo>
                      <a:lnTo>
                        <a:pt x="1675" y="359"/>
                      </a:lnTo>
                      <a:lnTo>
                        <a:pt x="1673" y="357"/>
                      </a:lnTo>
                      <a:lnTo>
                        <a:pt x="1671" y="355"/>
                      </a:lnTo>
                      <a:lnTo>
                        <a:pt x="1667" y="353"/>
                      </a:lnTo>
                      <a:lnTo>
                        <a:pt x="1667" y="351"/>
                      </a:lnTo>
                      <a:lnTo>
                        <a:pt x="1673" y="352"/>
                      </a:lnTo>
                      <a:lnTo>
                        <a:pt x="1680" y="353"/>
                      </a:lnTo>
                      <a:lnTo>
                        <a:pt x="1692" y="358"/>
                      </a:lnTo>
                      <a:lnTo>
                        <a:pt x="1694" y="357"/>
                      </a:lnTo>
                      <a:lnTo>
                        <a:pt x="1695" y="357"/>
                      </a:lnTo>
                      <a:lnTo>
                        <a:pt x="1695" y="355"/>
                      </a:lnTo>
                      <a:lnTo>
                        <a:pt x="1696" y="352"/>
                      </a:lnTo>
                      <a:lnTo>
                        <a:pt x="1696" y="350"/>
                      </a:lnTo>
                      <a:lnTo>
                        <a:pt x="1701" y="349"/>
                      </a:lnTo>
                      <a:lnTo>
                        <a:pt x="1706" y="347"/>
                      </a:lnTo>
                      <a:lnTo>
                        <a:pt x="1710" y="345"/>
                      </a:lnTo>
                      <a:lnTo>
                        <a:pt x="1713" y="341"/>
                      </a:lnTo>
                      <a:lnTo>
                        <a:pt x="1714" y="338"/>
                      </a:lnTo>
                      <a:lnTo>
                        <a:pt x="1714" y="337"/>
                      </a:lnTo>
                      <a:lnTo>
                        <a:pt x="1713" y="334"/>
                      </a:lnTo>
                      <a:lnTo>
                        <a:pt x="1711" y="333"/>
                      </a:lnTo>
                      <a:lnTo>
                        <a:pt x="1704" y="328"/>
                      </a:lnTo>
                      <a:lnTo>
                        <a:pt x="1697" y="324"/>
                      </a:lnTo>
                      <a:lnTo>
                        <a:pt x="1692" y="318"/>
                      </a:lnTo>
                      <a:lnTo>
                        <a:pt x="1687" y="314"/>
                      </a:lnTo>
                      <a:lnTo>
                        <a:pt x="1683" y="312"/>
                      </a:lnTo>
                      <a:lnTo>
                        <a:pt x="1680" y="312"/>
                      </a:lnTo>
                      <a:lnTo>
                        <a:pt x="1671" y="311"/>
                      </a:lnTo>
                      <a:lnTo>
                        <a:pt x="1661" y="311"/>
                      </a:lnTo>
                      <a:lnTo>
                        <a:pt x="1652" y="312"/>
                      </a:lnTo>
                      <a:lnTo>
                        <a:pt x="1643" y="314"/>
                      </a:lnTo>
                      <a:lnTo>
                        <a:pt x="1642" y="315"/>
                      </a:lnTo>
                      <a:lnTo>
                        <a:pt x="1642" y="317"/>
                      </a:lnTo>
                      <a:lnTo>
                        <a:pt x="1643" y="320"/>
                      </a:lnTo>
                      <a:lnTo>
                        <a:pt x="1645" y="328"/>
                      </a:lnTo>
                      <a:lnTo>
                        <a:pt x="1645" y="332"/>
                      </a:lnTo>
                      <a:lnTo>
                        <a:pt x="1645" y="333"/>
                      </a:lnTo>
                      <a:lnTo>
                        <a:pt x="1643" y="334"/>
                      </a:lnTo>
                      <a:lnTo>
                        <a:pt x="1642" y="336"/>
                      </a:lnTo>
                      <a:lnTo>
                        <a:pt x="1639" y="336"/>
                      </a:lnTo>
                      <a:lnTo>
                        <a:pt x="1638" y="333"/>
                      </a:lnTo>
                      <a:lnTo>
                        <a:pt x="1636" y="332"/>
                      </a:lnTo>
                      <a:lnTo>
                        <a:pt x="1635" y="318"/>
                      </a:lnTo>
                      <a:lnTo>
                        <a:pt x="1634" y="311"/>
                      </a:lnTo>
                      <a:lnTo>
                        <a:pt x="1631" y="305"/>
                      </a:lnTo>
                      <a:lnTo>
                        <a:pt x="1629" y="300"/>
                      </a:lnTo>
                      <a:lnTo>
                        <a:pt x="1625" y="296"/>
                      </a:lnTo>
                      <a:lnTo>
                        <a:pt x="1621" y="294"/>
                      </a:lnTo>
                      <a:lnTo>
                        <a:pt x="1615" y="292"/>
                      </a:lnTo>
                      <a:lnTo>
                        <a:pt x="1602" y="289"/>
                      </a:lnTo>
                      <a:lnTo>
                        <a:pt x="1589" y="286"/>
                      </a:lnTo>
                      <a:lnTo>
                        <a:pt x="1578" y="281"/>
                      </a:lnTo>
                      <a:lnTo>
                        <a:pt x="1567" y="275"/>
                      </a:lnTo>
                      <a:lnTo>
                        <a:pt x="1562" y="274"/>
                      </a:lnTo>
                      <a:lnTo>
                        <a:pt x="1556" y="273"/>
                      </a:lnTo>
                      <a:lnTo>
                        <a:pt x="1545" y="270"/>
                      </a:lnTo>
                      <a:lnTo>
                        <a:pt x="1541" y="269"/>
                      </a:lnTo>
                      <a:lnTo>
                        <a:pt x="1537" y="266"/>
                      </a:lnTo>
                      <a:lnTo>
                        <a:pt x="1534" y="260"/>
                      </a:lnTo>
                      <a:lnTo>
                        <a:pt x="1531" y="257"/>
                      </a:lnTo>
                      <a:lnTo>
                        <a:pt x="1527" y="255"/>
                      </a:lnTo>
                      <a:lnTo>
                        <a:pt x="1525" y="255"/>
                      </a:lnTo>
                      <a:lnTo>
                        <a:pt x="1523" y="255"/>
                      </a:lnTo>
                      <a:lnTo>
                        <a:pt x="1521" y="256"/>
                      </a:lnTo>
                      <a:lnTo>
                        <a:pt x="1518" y="255"/>
                      </a:lnTo>
                      <a:lnTo>
                        <a:pt x="1501" y="247"/>
                      </a:lnTo>
                      <a:lnTo>
                        <a:pt x="1492" y="243"/>
                      </a:lnTo>
                      <a:lnTo>
                        <a:pt x="1483" y="241"/>
                      </a:lnTo>
                      <a:lnTo>
                        <a:pt x="1483" y="240"/>
                      </a:lnTo>
                      <a:lnTo>
                        <a:pt x="1468" y="237"/>
                      </a:lnTo>
                      <a:lnTo>
                        <a:pt x="1454" y="235"/>
                      </a:lnTo>
                      <a:lnTo>
                        <a:pt x="1424" y="231"/>
                      </a:lnTo>
                      <a:lnTo>
                        <a:pt x="1418" y="231"/>
                      </a:lnTo>
                      <a:lnTo>
                        <a:pt x="1413" y="232"/>
                      </a:lnTo>
                      <a:lnTo>
                        <a:pt x="1403" y="235"/>
                      </a:lnTo>
                      <a:lnTo>
                        <a:pt x="1399" y="235"/>
                      </a:lnTo>
                      <a:lnTo>
                        <a:pt x="1396" y="234"/>
                      </a:lnTo>
                      <a:lnTo>
                        <a:pt x="1393" y="234"/>
                      </a:lnTo>
                      <a:lnTo>
                        <a:pt x="1390" y="236"/>
                      </a:lnTo>
                      <a:lnTo>
                        <a:pt x="1390" y="237"/>
                      </a:lnTo>
                      <a:lnTo>
                        <a:pt x="1390" y="238"/>
                      </a:lnTo>
                      <a:lnTo>
                        <a:pt x="1390" y="240"/>
                      </a:lnTo>
                      <a:lnTo>
                        <a:pt x="1390" y="241"/>
                      </a:lnTo>
                      <a:lnTo>
                        <a:pt x="1388" y="243"/>
                      </a:lnTo>
                      <a:lnTo>
                        <a:pt x="1386" y="247"/>
                      </a:lnTo>
                      <a:lnTo>
                        <a:pt x="1385" y="251"/>
                      </a:lnTo>
                      <a:lnTo>
                        <a:pt x="1386" y="263"/>
                      </a:lnTo>
                      <a:lnTo>
                        <a:pt x="1385" y="268"/>
                      </a:lnTo>
                      <a:lnTo>
                        <a:pt x="1382" y="273"/>
                      </a:lnTo>
                      <a:lnTo>
                        <a:pt x="1377" y="276"/>
                      </a:lnTo>
                      <a:lnTo>
                        <a:pt x="1374" y="279"/>
                      </a:lnTo>
                      <a:lnTo>
                        <a:pt x="1370" y="279"/>
                      </a:lnTo>
                      <a:lnTo>
                        <a:pt x="1366" y="277"/>
                      </a:lnTo>
                      <a:lnTo>
                        <a:pt x="1363" y="276"/>
                      </a:lnTo>
                      <a:lnTo>
                        <a:pt x="1361" y="273"/>
                      </a:lnTo>
                      <a:lnTo>
                        <a:pt x="1356" y="267"/>
                      </a:lnTo>
                      <a:lnTo>
                        <a:pt x="1352" y="262"/>
                      </a:lnTo>
                      <a:lnTo>
                        <a:pt x="1344" y="257"/>
                      </a:lnTo>
                      <a:lnTo>
                        <a:pt x="1338" y="251"/>
                      </a:lnTo>
                      <a:lnTo>
                        <a:pt x="1333" y="245"/>
                      </a:lnTo>
                      <a:lnTo>
                        <a:pt x="1329" y="238"/>
                      </a:lnTo>
                      <a:lnTo>
                        <a:pt x="1322" y="242"/>
                      </a:lnTo>
                      <a:lnTo>
                        <a:pt x="1318" y="243"/>
                      </a:lnTo>
                      <a:lnTo>
                        <a:pt x="1313" y="244"/>
                      </a:lnTo>
                      <a:lnTo>
                        <a:pt x="1302" y="243"/>
                      </a:lnTo>
                      <a:lnTo>
                        <a:pt x="1292" y="242"/>
                      </a:lnTo>
                      <a:lnTo>
                        <a:pt x="1281" y="242"/>
                      </a:lnTo>
                      <a:lnTo>
                        <a:pt x="1276" y="242"/>
                      </a:lnTo>
                      <a:lnTo>
                        <a:pt x="1272" y="244"/>
                      </a:lnTo>
                      <a:lnTo>
                        <a:pt x="1264" y="245"/>
                      </a:lnTo>
                      <a:lnTo>
                        <a:pt x="1257" y="245"/>
                      </a:lnTo>
                      <a:lnTo>
                        <a:pt x="1257" y="244"/>
                      </a:lnTo>
                      <a:lnTo>
                        <a:pt x="1244" y="244"/>
                      </a:lnTo>
                      <a:lnTo>
                        <a:pt x="1236" y="244"/>
                      </a:lnTo>
                      <a:lnTo>
                        <a:pt x="1231" y="247"/>
                      </a:lnTo>
                      <a:lnTo>
                        <a:pt x="1221" y="251"/>
                      </a:lnTo>
                      <a:lnTo>
                        <a:pt x="1220" y="253"/>
                      </a:lnTo>
                      <a:lnTo>
                        <a:pt x="1219" y="255"/>
                      </a:lnTo>
                      <a:lnTo>
                        <a:pt x="1216" y="258"/>
                      </a:lnTo>
                      <a:lnTo>
                        <a:pt x="1216" y="260"/>
                      </a:lnTo>
                      <a:lnTo>
                        <a:pt x="1214" y="258"/>
                      </a:lnTo>
                      <a:lnTo>
                        <a:pt x="1211" y="257"/>
                      </a:lnTo>
                      <a:lnTo>
                        <a:pt x="1203" y="250"/>
                      </a:lnTo>
                      <a:lnTo>
                        <a:pt x="1196" y="243"/>
                      </a:lnTo>
                      <a:lnTo>
                        <a:pt x="1193" y="241"/>
                      </a:lnTo>
                      <a:lnTo>
                        <a:pt x="1192" y="238"/>
                      </a:lnTo>
                      <a:lnTo>
                        <a:pt x="1192" y="234"/>
                      </a:lnTo>
                      <a:lnTo>
                        <a:pt x="1192" y="229"/>
                      </a:lnTo>
                      <a:lnTo>
                        <a:pt x="1192" y="225"/>
                      </a:lnTo>
                      <a:lnTo>
                        <a:pt x="1191" y="221"/>
                      </a:lnTo>
                      <a:lnTo>
                        <a:pt x="1186" y="216"/>
                      </a:lnTo>
                      <a:lnTo>
                        <a:pt x="1179" y="212"/>
                      </a:lnTo>
                      <a:lnTo>
                        <a:pt x="1174" y="209"/>
                      </a:lnTo>
                      <a:lnTo>
                        <a:pt x="1160" y="204"/>
                      </a:lnTo>
                      <a:lnTo>
                        <a:pt x="1146" y="202"/>
                      </a:lnTo>
                      <a:lnTo>
                        <a:pt x="1132" y="202"/>
                      </a:lnTo>
                      <a:lnTo>
                        <a:pt x="1112" y="204"/>
                      </a:lnTo>
                      <a:lnTo>
                        <a:pt x="1092" y="208"/>
                      </a:lnTo>
                      <a:lnTo>
                        <a:pt x="1085" y="209"/>
                      </a:lnTo>
                      <a:lnTo>
                        <a:pt x="1079" y="208"/>
                      </a:lnTo>
                      <a:lnTo>
                        <a:pt x="1079" y="210"/>
                      </a:lnTo>
                      <a:lnTo>
                        <a:pt x="1071" y="209"/>
                      </a:lnTo>
                      <a:lnTo>
                        <a:pt x="1064" y="209"/>
                      </a:lnTo>
                      <a:lnTo>
                        <a:pt x="1052" y="206"/>
                      </a:lnTo>
                      <a:lnTo>
                        <a:pt x="1042" y="204"/>
                      </a:lnTo>
                      <a:lnTo>
                        <a:pt x="1038" y="203"/>
                      </a:lnTo>
                      <a:lnTo>
                        <a:pt x="1035" y="200"/>
                      </a:lnTo>
                      <a:lnTo>
                        <a:pt x="1028" y="194"/>
                      </a:lnTo>
                      <a:lnTo>
                        <a:pt x="1028" y="193"/>
                      </a:lnTo>
                      <a:lnTo>
                        <a:pt x="1027" y="189"/>
                      </a:lnTo>
                      <a:lnTo>
                        <a:pt x="1024" y="185"/>
                      </a:lnTo>
                      <a:lnTo>
                        <a:pt x="1019" y="178"/>
                      </a:lnTo>
                      <a:lnTo>
                        <a:pt x="1019" y="175"/>
                      </a:lnTo>
                      <a:lnTo>
                        <a:pt x="1021" y="172"/>
                      </a:lnTo>
                      <a:lnTo>
                        <a:pt x="1021" y="170"/>
                      </a:lnTo>
                      <a:lnTo>
                        <a:pt x="1019" y="168"/>
                      </a:lnTo>
                      <a:lnTo>
                        <a:pt x="1005" y="165"/>
                      </a:lnTo>
                      <a:lnTo>
                        <a:pt x="989" y="162"/>
                      </a:lnTo>
                      <a:lnTo>
                        <a:pt x="981" y="162"/>
                      </a:lnTo>
                      <a:lnTo>
                        <a:pt x="975" y="164"/>
                      </a:lnTo>
                      <a:lnTo>
                        <a:pt x="969" y="166"/>
                      </a:lnTo>
                      <a:lnTo>
                        <a:pt x="963" y="171"/>
                      </a:lnTo>
                      <a:lnTo>
                        <a:pt x="960" y="175"/>
                      </a:lnTo>
                      <a:lnTo>
                        <a:pt x="957" y="181"/>
                      </a:lnTo>
                      <a:lnTo>
                        <a:pt x="953" y="186"/>
                      </a:lnTo>
                      <a:lnTo>
                        <a:pt x="948" y="191"/>
                      </a:lnTo>
                      <a:lnTo>
                        <a:pt x="944" y="191"/>
                      </a:lnTo>
                      <a:lnTo>
                        <a:pt x="943" y="190"/>
                      </a:lnTo>
                      <a:lnTo>
                        <a:pt x="942" y="189"/>
                      </a:lnTo>
                      <a:lnTo>
                        <a:pt x="941" y="186"/>
                      </a:lnTo>
                      <a:lnTo>
                        <a:pt x="941" y="184"/>
                      </a:lnTo>
                      <a:lnTo>
                        <a:pt x="943" y="179"/>
                      </a:lnTo>
                      <a:lnTo>
                        <a:pt x="946" y="175"/>
                      </a:lnTo>
                      <a:lnTo>
                        <a:pt x="951" y="174"/>
                      </a:lnTo>
                      <a:lnTo>
                        <a:pt x="953" y="172"/>
                      </a:lnTo>
                      <a:lnTo>
                        <a:pt x="955" y="170"/>
                      </a:lnTo>
                      <a:lnTo>
                        <a:pt x="955" y="167"/>
                      </a:lnTo>
                      <a:lnTo>
                        <a:pt x="947" y="170"/>
                      </a:lnTo>
                      <a:lnTo>
                        <a:pt x="937" y="171"/>
                      </a:lnTo>
                      <a:lnTo>
                        <a:pt x="933" y="170"/>
                      </a:lnTo>
                      <a:lnTo>
                        <a:pt x="929" y="168"/>
                      </a:lnTo>
                      <a:lnTo>
                        <a:pt x="927" y="167"/>
                      </a:lnTo>
                      <a:lnTo>
                        <a:pt x="927" y="164"/>
                      </a:lnTo>
                      <a:lnTo>
                        <a:pt x="927" y="160"/>
                      </a:lnTo>
                      <a:lnTo>
                        <a:pt x="929" y="158"/>
                      </a:lnTo>
                      <a:lnTo>
                        <a:pt x="933" y="158"/>
                      </a:lnTo>
                      <a:lnTo>
                        <a:pt x="938" y="158"/>
                      </a:lnTo>
                      <a:lnTo>
                        <a:pt x="948" y="159"/>
                      </a:lnTo>
                      <a:lnTo>
                        <a:pt x="953" y="159"/>
                      </a:lnTo>
                      <a:lnTo>
                        <a:pt x="957" y="158"/>
                      </a:lnTo>
                      <a:lnTo>
                        <a:pt x="930" y="153"/>
                      </a:lnTo>
                      <a:lnTo>
                        <a:pt x="904" y="147"/>
                      </a:lnTo>
                      <a:lnTo>
                        <a:pt x="896" y="147"/>
                      </a:lnTo>
                      <a:lnTo>
                        <a:pt x="890" y="148"/>
                      </a:lnTo>
                      <a:lnTo>
                        <a:pt x="876" y="151"/>
                      </a:lnTo>
                      <a:lnTo>
                        <a:pt x="873" y="151"/>
                      </a:lnTo>
                      <a:lnTo>
                        <a:pt x="869" y="149"/>
                      </a:lnTo>
                      <a:lnTo>
                        <a:pt x="867" y="149"/>
                      </a:lnTo>
                      <a:lnTo>
                        <a:pt x="864" y="149"/>
                      </a:lnTo>
                      <a:lnTo>
                        <a:pt x="862" y="151"/>
                      </a:lnTo>
                      <a:lnTo>
                        <a:pt x="861" y="154"/>
                      </a:lnTo>
                      <a:lnTo>
                        <a:pt x="861" y="157"/>
                      </a:lnTo>
                      <a:lnTo>
                        <a:pt x="859" y="158"/>
                      </a:lnTo>
                      <a:lnTo>
                        <a:pt x="854" y="159"/>
                      </a:lnTo>
                      <a:lnTo>
                        <a:pt x="848" y="159"/>
                      </a:lnTo>
                      <a:lnTo>
                        <a:pt x="844" y="160"/>
                      </a:lnTo>
                      <a:lnTo>
                        <a:pt x="843" y="161"/>
                      </a:lnTo>
                      <a:lnTo>
                        <a:pt x="843" y="164"/>
                      </a:lnTo>
                      <a:lnTo>
                        <a:pt x="844" y="166"/>
                      </a:lnTo>
                      <a:lnTo>
                        <a:pt x="847" y="168"/>
                      </a:lnTo>
                      <a:lnTo>
                        <a:pt x="849" y="170"/>
                      </a:lnTo>
                      <a:lnTo>
                        <a:pt x="852" y="171"/>
                      </a:lnTo>
                      <a:lnTo>
                        <a:pt x="852" y="172"/>
                      </a:lnTo>
                      <a:lnTo>
                        <a:pt x="849" y="174"/>
                      </a:lnTo>
                      <a:lnTo>
                        <a:pt x="847" y="175"/>
                      </a:lnTo>
                      <a:lnTo>
                        <a:pt x="845" y="178"/>
                      </a:lnTo>
                      <a:lnTo>
                        <a:pt x="844" y="180"/>
                      </a:lnTo>
                      <a:lnTo>
                        <a:pt x="844" y="185"/>
                      </a:lnTo>
                      <a:lnTo>
                        <a:pt x="847" y="190"/>
                      </a:lnTo>
                      <a:lnTo>
                        <a:pt x="845" y="191"/>
                      </a:lnTo>
                      <a:lnTo>
                        <a:pt x="839" y="190"/>
                      </a:lnTo>
                      <a:lnTo>
                        <a:pt x="833" y="189"/>
                      </a:lnTo>
                      <a:lnTo>
                        <a:pt x="826" y="189"/>
                      </a:lnTo>
                      <a:lnTo>
                        <a:pt x="824" y="189"/>
                      </a:lnTo>
                      <a:lnTo>
                        <a:pt x="821" y="191"/>
                      </a:lnTo>
                      <a:lnTo>
                        <a:pt x="820" y="191"/>
                      </a:lnTo>
                      <a:lnTo>
                        <a:pt x="820" y="193"/>
                      </a:lnTo>
                      <a:lnTo>
                        <a:pt x="821" y="194"/>
                      </a:lnTo>
                      <a:lnTo>
                        <a:pt x="820" y="196"/>
                      </a:lnTo>
                      <a:lnTo>
                        <a:pt x="819" y="196"/>
                      </a:lnTo>
                      <a:lnTo>
                        <a:pt x="816" y="196"/>
                      </a:lnTo>
                      <a:lnTo>
                        <a:pt x="814" y="198"/>
                      </a:lnTo>
                      <a:lnTo>
                        <a:pt x="810" y="199"/>
                      </a:lnTo>
                      <a:lnTo>
                        <a:pt x="807" y="199"/>
                      </a:lnTo>
                      <a:lnTo>
                        <a:pt x="803" y="199"/>
                      </a:lnTo>
                      <a:lnTo>
                        <a:pt x="796" y="197"/>
                      </a:lnTo>
                      <a:lnTo>
                        <a:pt x="789" y="193"/>
                      </a:lnTo>
                      <a:lnTo>
                        <a:pt x="782" y="192"/>
                      </a:lnTo>
                      <a:lnTo>
                        <a:pt x="776" y="191"/>
                      </a:lnTo>
                      <a:lnTo>
                        <a:pt x="768" y="192"/>
                      </a:lnTo>
                      <a:lnTo>
                        <a:pt x="760" y="196"/>
                      </a:lnTo>
                      <a:lnTo>
                        <a:pt x="756" y="197"/>
                      </a:lnTo>
                      <a:lnTo>
                        <a:pt x="753" y="197"/>
                      </a:lnTo>
                      <a:lnTo>
                        <a:pt x="748" y="197"/>
                      </a:lnTo>
                      <a:lnTo>
                        <a:pt x="744" y="194"/>
                      </a:lnTo>
                      <a:lnTo>
                        <a:pt x="740" y="192"/>
                      </a:lnTo>
                      <a:lnTo>
                        <a:pt x="737" y="190"/>
                      </a:lnTo>
                      <a:lnTo>
                        <a:pt x="735" y="186"/>
                      </a:lnTo>
                      <a:lnTo>
                        <a:pt x="735" y="183"/>
                      </a:lnTo>
                      <a:lnTo>
                        <a:pt x="732" y="183"/>
                      </a:lnTo>
                      <a:lnTo>
                        <a:pt x="729" y="187"/>
                      </a:lnTo>
                      <a:lnTo>
                        <a:pt x="725" y="191"/>
                      </a:lnTo>
                      <a:lnTo>
                        <a:pt x="721" y="194"/>
                      </a:lnTo>
                      <a:lnTo>
                        <a:pt x="718" y="196"/>
                      </a:lnTo>
                      <a:lnTo>
                        <a:pt x="715" y="196"/>
                      </a:lnTo>
                      <a:lnTo>
                        <a:pt x="713" y="197"/>
                      </a:lnTo>
                      <a:lnTo>
                        <a:pt x="712" y="198"/>
                      </a:lnTo>
                      <a:lnTo>
                        <a:pt x="711" y="200"/>
                      </a:lnTo>
                      <a:lnTo>
                        <a:pt x="711" y="203"/>
                      </a:lnTo>
                      <a:lnTo>
                        <a:pt x="711" y="209"/>
                      </a:lnTo>
                      <a:lnTo>
                        <a:pt x="709" y="213"/>
                      </a:lnTo>
                      <a:lnTo>
                        <a:pt x="709" y="215"/>
                      </a:lnTo>
                      <a:lnTo>
                        <a:pt x="708" y="215"/>
                      </a:lnTo>
                      <a:lnTo>
                        <a:pt x="703" y="213"/>
                      </a:lnTo>
                      <a:lnTo>
                        <a:pt x="699" y="210"/>
                      </a:lnTo>
                      <a:lnTo>
                        <a:pt x="690" y="202"/>
                      </a:lnTo>
                      <a:lnTo>
                        <a:pt x="687" y="199"/>
                      </a:lnTo>
                      <a:lnTo>
                        <a:pt x="678" y="197"/>
                      </a:lnTo>
                      <a:lnTo>
                        <a:pt x="669" y="193"/>
                      </a:lnTo>
                      <a:lnTo>
                        <a:pt x="665" y="191"/>
                      </a:lnTo>
                      <a:lnTo>
                        <a:pt x="662" y="187"/>
                      </a:lnTo>
                      <a:lnTo>
                        <a:pt x="660" y="184"/>
                      </a:lnTo>
                      <a:lnTo>
                        <a:pt x="659" y="180"/>
                      </a:lnTo>
                      <a:lnTo>
                        <a:pt x="655" y="179"/>
                      </a:lnTo>
                      <a:lnTo>
                        <a:pt x="651" y="177"/>
                      </a:lnTo>
                      <a:lnTo>
                        <a:pt x="647" y="173"/>
                      </a:lnTo>
                      <a:lnTo>
                        <a:pt x="645" y="170"/>
                      </a:lnTo>
                      <a:lnTo>
                        <a:pt x="652" y="170"/>
                      </a:lnTo>
                      <a:lnTo>
                        <a:pt x="655" y="168"/>
                      </a:lnTo>
                      <a:lnTo>
                        <a:pt x="657" y="166"/>
                      </a:lnTo>
                      <a:lnTo>
                        <a:pt x="657" y="159"/>
                      </a:lnTo>
                      <a:lnTo>
                        <a:pt x="655" y="152"/>
                      </a:lnTo>
                      <a:lnTo>
                        <a:pt x="651" y="147"/>
                      </a:lnTo>
                      <a:lnTo>
                        <a:pt x="646" y="142"/>
                      </a:lnTo>
                      <a:lnTo>
                        <a:pt x="638" y="139"/>
                      </a:lnTo>
                      <a:lnTo>
                        <a:pt x="632" y="135"/>
                      </a:lnTo>
                      <a:lnTo>
                        <a:pt x="617" y="132"/>
                      </a:lnTo>
                      <a:lnTo>
                        <a:pt x="614" y="129"/>
                      </a:lnTo>
                      <a:lnTo>
                        <a:pt x="613" y="127"/>
                      </a:lnTo>
                      <a:lnTo>
                        <a:pt x="609" y="127"/>
                      </a:lnTo>
                      <a:lnTo>
                        <a:pt x="608" y="129"/>
                      </a:lnTo>
                      <a:lnTo>
                        <a:pt x="603" y="134"/>
                      </a:lnTo>
                      <a:lnTo>
                        <a:pt x="594" y="133"/>
                      </a:lnTo>
                      <a:lnTo>
                        <a:pt x="585" y="132"/>
                      </a:lnTo>
                      <a:lnTo>
                        <a:pt x="577" y="128"/>
                      </a:lnTo>
                      <a:lnTo>
                        <a:pt x="570" y="125"/>
                      </a:lnTo>
                      <a:lnTo>
                        <a:pt x="567" y="125"/>
                      </a:lnTo>
                      <a:lnTo>
                        <a:pt x="566" y="125"/>
                      </a:lnTo>
                      <a:lnTo>
                        <a:pt x="563" y="126"/>
                      </a:lnTo>
                      <a:lnTo>
                        <a:pt x="562" y="126"/>
                      </a:lnTo>
                      <a:lnTo>
                        <a:pt x="558" y="123"/>
                      </a:lnTo>
                      <a:lnTo>
                        <a:pt x="557" y="122"/>
                      </a:lnTo>
                      <a:lnTo>
                        <a:pt x="556" y="125"/>
                      </a:lnTo>
                      <a:lnTo>
                        <a:pt x="556" y="136"/>
                      </a:lnTo>
                      <a:lnTo>
                        <a:pt x="556" y="145"/>
                      </a:lnTo>
                      <a:lnTo>
                        <a:pt x="556" y="147"/>
                      </a:lnTo>
                      <a:lnTo>
                        <a:pt x="555" y="149"/>
                      </a:lnTo>
                      <a:lnTo>
                        <a:pt x="549" y="154"/>
                      </a:lnTo>
                      <a:lnTo>
                        <a:pt x="547" y="154"/>
                      </a:lnTo>
                      <a:lnTo>
                        <a:pt x="543" y="154"/>
                      </a:lnTo>
                      <a:lnTo>
                        <a:pt x="539" y="153"/>
                      </a:lnTo>
                      <a:lnTo>
                        <a:pt x="536" y="154"/>
                      </a:lnTo>
                      <a:lnTo>
                        <a:pt x="533" y="154"/>
                      </a:lnTo>
                      <a:lnTo>
                        <a:pt x="530" y="153"/>
                      </a:lnTo>
                      <a:lnTo>
                        <a:pt x="529" y="152"/>
                      </a:lnTo>
                      <a:lnTo>
                        <a:pt x="527" y="152"/>
                      </a:lnTo>
                      <a:lnTo>
                        <a:pt x="525" y="152"/>
                      </a:lnTo>
                      <a:lnTo>
                        <a:pt x="523" y="152"/>
                      </a:lnTo>
                      <a:lnTo>
                        <a:pt x="520" y="154"/>
                      </a:lnTo>
                      <a:lnTo>
                        <a:pt x="518" y="154"/>
                      </a:lnTo>
                      <a:lnTo>
                        <a:pt x="513" y="154"/>
                      </a:lnTo>
                      <a:lnTo>
                        <a:pt x="508" y="152"/>
                      </a:lnTo>
                      <a:lnTo>
                        <a:pt x="504" y="149"/>
                      </a:lnTo>
                      <a:lnTo>
                        <a:pt x="501" y="149"/>
                      </a:lnTo>
                      <a:lnTo>
                        <a:pt x="499" y="149"/>
                      </a:lnTo>
                      <a:lnTo>
                        <a:pt x="496" y="148"/>
                      </a:lnTo>
                      <a:lnTo>
                        <a:pt x="495" y="147"/>
                      </a:lnTo>
                      <a:lnTo>
                        <a:pt x="494" y="142"/>
                      </a:lnTo>
                      <a:lnTo>
                        <a:pt x="491" y="141"/>
                      </a:lnTo>
                      <a:lnTo>
                        <a:pt x="483" y="141"/>
                      </a:lnTo>
                      <a:lnTo>
                        <a:pt x="476" y="139"/>
                      </a:lnTo>
                      <a:lnTo>
                        <a:pt x="473" y="139"/>
                      </a:lnTo>
                      <a:lnTo>
                        <a:pt x="472" y="140"/>
                      </a:lnTo>
                      <a:lnTo>
                        <a:pt x="468" y="141"/>
                      </a:lnTo>
                      <a:lnTo>
                        <a:pt x="467" y="141"/>
                      </a:lnTo>
                      <a:lnTo>
                        <a:pt x="464" y="141"/>
                      </a:lnTo>
                      <a:lnTo>
                        <a:pt x="462" y="139"/>
                      </a:lnTo>
                      <a:lnTo>
                        <a:pt x="458" y="138"/>
                      </a:lnTo>
                      <a:lnTo>
                        <a:pt x="450" y="136"/>
                      </a:lnTo>
                      <a:lnTo>
                        <a:pt x="443" y="135"/>
                      </a:lnTo>
                      <a:lnTo>
                        <a:pt x="435" y="134"/>
                      </a:lnTo>
                      <a:lnTo>
                        <a:pt x="426" y="134"/>
                      </a:lnTo>
                      <a:lnTo>
                        <a:pt x="420" y="135"/>
                      </a:lnTo>
                      <a:lnTo>
                        <a:pt x="417" y="135"/>
                      </a:lnTo>
                      <a:lnTo>
                        <a:pt x="415" y="135"/>
                      </a:lnTo>
                      <a:lnTo>
                        <a:pt x="411" y="134"/>
                      </a:lnTo>
                      <a:lnTo>
                        <a:pt x="407" y="132"/>
                      </a:lnTo>
                      <a:lnTo>
                        <a:pt x="401" y="127"/>
                      </a:lnTo>
                      <a:lnTo>
                        <a:pt x="398" y="125"/>
                      </a:lnTo>
                      <a:lnTo>
                        <a:pt x="396" y="125"/>
                      </a:lnTo>
                      <a:lnTo>
                        <a:pt x="393" y="125"/>
                      </a:lnTo>
                      <a:lnTo>
                        <a:pt x="392" y="127"/>
                      </a:lnTo>
                      <a:lnTo>
                        <a:pt x="392" y="130"/>
                      </a:lnTo>
                      <a:lnTo>
                        <a:pt x="393" y="133"/>
                      </a:lnTo>
                      <a:lnTo>
                        <a:pt x="395" y="135"/>
                      </a:lnTo>
                      <a:lnTo>
                        <a:pt x="396" y="138"/>
                      </a:lnTo>
                      <a:lnTo>
                        <a:pt x="397" y="141"/>
                      </a:lnTo>
                      <a:lnTo>
                        <a:pt x="396" y="145"/>
                      </a:lnTo>
                      <a:lnTo>
                        <a:pt x="395" y="147"/>
                      </a:lnTo>
                      <a:lnTo>
                        <a:pt x="393" y="148"/>
                      </a:lnTo>
                      <a:lnTo>
                        <a:pt x="391" y="147"/>
                      </a:lnTo>
                      <a:lnTo>
                        <a:pt x="389" y="145"/>
                      </a:lnTo>
                      <a:lnTo>
                        <a:pt x="386" y="139"/>
                      </a:lnTo>
                      <a:lnTo>
                        <a:pt x="379" y="130"/>
                      </a:lnTo>
                      <a:lnTo>
                        <a:pt x="373" y="122"/>
                      </a:lnTo>
                      <a:lnTo>
                        <a:pt x="368" y="119"/>
                      </a:lnTo>
                      <a:lnTo>
                        <a:pt x="364" y="116"/>
                      </a:lnTo>
                      <a:lnTo>
                        <a:pt x="359" y="114"/>
                      </a:lnTo>
                      <a:lnTo>
                        <a:pt x="353" y="114"/>
                      </a:lnTo>
                      <a:lnTo>
                        <a:pt x="350" y="114"/>
                      </a:lnTo>
                      <a:lnTo>
                        <a:pt x="346" y="115"/>
                      </a:lnTo>
                      <a:lnTo>
                        <a:pt x="340" y="119"/>
                      </a:lnTo>
                      <a:lnTo>
                        <a:pt x="337" y="120"/>
                      </a:lnTo>
                      <a:lnTo>
                        <a:pt x="336" y="122"/>
                      </a:lnTo>
                      <a:lnTo>
                        <a:pt x="337" y="129"/>
                      </a:lnTo>
                      <a:lnTo>
                        <a:pt x="332" y="129"/>
                      </a:lnTo>
                      <a:lnTo>
                        <a:pt x="329" y="132"/>
                      </a:lnTo>
                      <a:lnTo>
                        <a:pt x="318" y="135"/>
                      </a:lnTo>
                      <a:lnTo>
                        <a:pt x="311" y="138"/>
                      </a:lnTo>
                      <a:lnTo>
                        <a:pt x="307" y="139"/>
                      </a:lnTo>
                      <a:lnTo>
                        <a:pt x="303" y="138"/>
                      </a:lnTo>
                      <a:lnTo>
                        <a:pt x="298" y="136"/>
                      </a:lnTo>
                      <a:lnTo>
                        <a:pt x="293" y="136"/>
                      </a:lnTo>
                      <a:lnTo>
                        <a:pt x="288" y="138"/>
                      </a:lnTo>
                      <a:lnTo>
                        <a:pt x="283" y="139"/>
                      </a:lnTo>
                      <a:lnTo>
                        <a:pt x="274" y="145"/>
                      </a:lnTo>
                      <a:lnTo>
                        <a:pt x="265" y="151"/>
                      </a:lnTo>
                      <a:lnTo>
                        <a:pt x="262" y="152"/>
                      </a:lnTo>
                      <a:lnTo>
                        <a:pt x="261" y="152"/>
                      </a:lnTo>
                      <a:lnTo>
                        <a:pt x="256" y="152"/>
                      </a:lnTo>
                      <a:lnTo>
                        <a:pt x="251" y="149"/>
                      </a:lnTo>
                      <a:lnTo>
                        <a:pt x="246" y="149"/>
                      </a:lnTo>
                      <a:lnTo>
                        <a:pt x="245" y="149"/>
                      </a:lnTo>
                      <a:lnTo>
                        <a:pt x="243" y="149"/>
                      </a:lnTo>
                      <a:lnTo>
                        <a:pt x="242" y="148"/>
                      </a:lnTo>
                      <a:lnTo>
                        <a:pt x="242" y="147"/>
                      </a:lnTo>
                      <a:lnTo>
                        <a:pt x="249" y="145"/>
                      </a:lnTo>
                      <a:lnTo>
                        <a:pt x="255" y="142"/>
                      </a:lnTo>
                      <a:lnTo>
                        <a:pt x="261" y="140"/>
                      </a:lnTo>
                      <a:lnTo>
                        <a:pt x="266" y="136"/>
                      </a:lnTo>
                      <a:lnTo>
                        <a:pt x="273" y="134"/>
                      </a:lnTo>
                      <a:lnTo>
                        <a:pt x="279" y="132"/>
                      </a:lnTo>
                      <a:lnTo>
                        <a:pt x="284" y="130"/>
                      </a:lnTo>
                      <a:lnTo>
                        <a:pt x="288" y="128"/>
                      </a:lnTo>
                      <a:lnTo>
                        <a:pt x="292" y="125"/>
                      </a:lnTo>
                      <a:lnTo>
                        <a:pt x="296" y="120"/>
                      </a:lnTo>
                      <a:lnTo>
                        <a:pt x="301" y="117"/>
                      </a:lnTo>
                      <a:lnTo>
                        <a:pt x="307" y="116"/>
                      </a:lnTo>
                      <a:lnTo>
                        <a:pt x="309" y="116"/>
                      </a:lnTo>
                      <a:lnTo>
                        <a:pt x="313" y="115"/>
                      </a:lnTo>
                      <a:lnTo>
                        <a:pt x="318" y="111"/>
                      </a:lnTo>
                      <a:lnTo>
                        <a:pt x="322" y="108"/>
                      </a:lnTo>
                      <a:lnTo>
                        <a:pt x="327" y="104"/>
                      </a:lnTo>
                      <a:lnTo>
                        <a:pt x="331" y="102"/>
                      </a:lnTo>
                      <a:lnTo>
                        <a:pt x="335" y="101"/>
                      </a:lnTo>
                      <a:lnTo>
                        <a:pt x="337" y="101"/>
                      </a:lnTo>
                      <a:lnTo>
                        <a:pt x="345" y="100"/>
                      </a:lnTo>
                      <a:lnTo>
                        <a:pt x="349" y="97"/>
                      </a:lnTo>
                      <a:lnTo>
                        <a:pt x="353" y="95"/>
                      </a:lnTo>
                      <a:lnTo>
                        <a:pt x="362" y="89"/>
                      </a:lnTo>
                      <a:lnTo>
                        <a:pt x="372" y="84"/>
                      </a:lnTo>
                      <a:lnTo>
                        <a:pt x="381" y="81"/>
                      </a:lnTo>
                      <a:lnTo>
                        <a:pt x="382" y="79"/>
                      </a:lnTo>
                      <a:lnTo>
                        <a:pt x="383" y="78"/>
                      </a:lnTo>
                      <a:lnTo>
                        <a:pt x="384" y="75"/>
                      </a:lnTo>
                      <a:lnTo>
                        <a:pt x="387" y="70"/>
                      </a:lnTo>
                      <a:lnTo>
                        <a:pt x="387" y="69"/>
                      </a:lnTo>
                      <a:lnTo>
                        <a:pt x="386" y="66"/>
                      </a:lnTo>
                      <a:lnTo>
                        <a:pt x="386" y="62"/>
                      </a:lnTo>
                      <a:lnTo>
                        <a:pt x="388" y="56"/>
                      </a:lnTo>
                      <a:lnTo>
                        <a:pt x="391" y="50"/>
                      </a:lnTo>
                      <a:lnTo>
                        <a:pt x="389" y="47"/>
                      </a:lnTo>
                      <a:lnTo>
                        <a:pt x="387" y="44"/>
                      </a:lnTo>
                      <a:lnTo>
                        <a:pt x="384" y="42"/>
                      </a:lnTo>
                      <a:lnTo>
                        <a:pt x="382" y="42"/>
                      </a:lnTo>
                      <a:lnTo>
                        <a:pt x="377" y="42"/>
                      </a:lnTo>
                      <a:lnTo>
                        <a:pt x="373" y="39"/>
                      </a:lnTo>
                      <a:lnTo>
                        <a:pt x="370" y="36"/>
                      </a:lnTo>
                      <a:lnTo>
                        <a:pt x="365" y="34"/>
                      </a:lnTo>
                      <a:lnTo>
                        <a:pt x="355" y="33"/>
                      </a:lnTo>
                      <a:lnTo>
                        <a:pt x="341" y="33"/>
                      </a:lnTo>
                      <a:lnTo>
                        <a:pt x="336" y="34"/>
                      </a:lnTo>
                      <a:lnTo>
                        <a:pt x="334" y="36"/>
                      </a:lnTo>
                      <a:lnTo>
                        <a:pt x="329" y="37"/>
                      </a:lnTo>
                      <a:lnTo>
                        <a:pt x="321" y="34"/>
                      </a:lnTo>
                      <a:lnTo>
                        <a:pt x="316" y="33"/>
                      </a:lnTo>
                      <a:lnTo>
                        <a:pt x="311" y="33"/>
                      </a:lnTo>
                      <a:lnTo>
                        <a:pt x="301" y="34"/>
                      </a:lnTo>
                      <a:lnTo>
                        <a:pt x="289" y="34"/>
                      </a:lnTo>
                      <a:lnTo>
                        <a:pt x="284" y="36"/>
                      </a:lnTo>
                      <a:lnTo>
                        <a:pt x="279" y="37"/>
                      </a:lnTo>
                      <a:lnTo>
                        <a:pt x="275" y="39"/>
                      </a:lnTo>
                      <a:lnTo>
                        <a:pt x="273" y="39"/>
                      </a:lnTo>
                      <a:lnTo>
                        <a:pt x="271" y="39"/>
                      </a:lnTo>
                      <a:lnTo>
                        <a:pt x="269" y="36"/>
                      </a:lnTo>
                      <a:lnTo>
                        <a:pt x="268" y="34"/>
                      </a:lnTo>
                      <a:lnTo>
                        <a:pt x="269" y="32"/>
                      </a:lnTo>
                      <a:lnTo>
                        <a:pt x="273" y="30"/>
                      </a:lnTo>
                      <a:lnTo>
                        <a:pt x="276" y="27"/>
                      </a:lnTo>
                      <a:lnTo>
                        <a:pt x="280" y="25"/>
                      </a:lnTo>
                      <a:lnTo>
                        <a:pt x="282" y="24"/>
                      </a:lnTo>
                      <a:lnTo>
                        <a:pt x="282" y="21"/>
                      </a:lnTo>
                      <a:lnTo>
                        <a:pt x="280" y="14"/>
                      </a:lnTo>
                      <a:lnTo>
                        <a:pt x="279" y="10"/>
                      </a:lnTo>
                      <a:lnTo>
                        <a:pt x="275" y="7"/>
                      </a:lnTo>
                      <a:lnTo>
                        <a:pt x="270" y="6"/>
                      </a:lnTo>
                      <a:lnTo>
                        <a:pt x="261" y="5"/>
                      </a:lnTo>
                      <a:lnTo>
                        <a:pt x="255" y="5"/>
                      </a:lnTo>
                      <a:lnTo>
                        <a:pt x="241" y="2"/>
                      </a:lnTo>
                      <a:lnTo>
                        <a:pt x="236" y="1"/>
                      </a:lnTo>
                      <a:lnTo>
                        <a:pt x="233" y="0"/>
                      </a:lnTo>
                      <a:lnTo>
                        <a:pt x="231" y="0"/>
                      </a:lnTo>
                      <a:lnTo>
                        <a:pt x="223" y="2"/>
                      </a:lnTo>
                      <a:lnTo>
                        <a:pt x="217" y="5"/>
                      </a:lnTo>
                      <a:lnTo>
                        <a:pt x="205" y="11"/>
                      </a:lnTo>
                      <a:lnTo>
                        <a:pt x="199" y="13"/>
                      </a:lnTo>
                      <a:lnTo>
                        <a:pt x="195" y="15"/>
                      </a:lnTo>
                      <a:lnTo>
                        <a:pt x="193" y="18"/>
                      </a:lnTo>
                      <a:lnTo>
                        <a:pt x="191" y="21"/>
                      </a:lnTo>
                      <a:lnTo>
                        <a:pt x="191" y="24"/>
                      </a:lnTo>
                      <a:lnTo>
                        <a:pt x="190" y="25"/>
                      </a:lnTo>
                      <a:lnTo>
                        <a:pt x="185" y="26"/>
                      </a:lnTo>
                      <a:lnTo>
                        <a:pt x="182" y="27"/>
                      </a:lnTo>
                      <a:lnTo>
                        <a:pt x="180" y="31"/>
                      </a:lnTo>
                      <a:lnTo>
                        <a:pt x="179" y="36"/>
                      </a:lnTo>
                      <a:lnTo>
                        <a:pt x="177" y="36"/>
                      </a:lnTo>
                      <a:lnTo>
                        <a:pt x="175" y="36"/>
                      </a:lnTo>
                      <a:lnTo>
                        <a:pt x="174" y="36"/>
                      </a:lnTo>
                      <a:lnTo>
                        <a:pt x="174" y="34"/>
                      </a:lnTo>
                      <a:lnTo>
                        <a:pt x="170" y="34"/>
                      </a:lnTo>
                      <a:lnTo>
                        <a:pt x="166" y="33"/>
                      </a:lnTo>
                      <a:lnTo>
                        <a:pt x="158" y="30"/>
                      </a:lnTo>
                      <a:lnTo>
                        <a:pt x="157" y="28"/>
                      </a:lnTo>
                      <a:lnTo>
                        <a:pt x="156" y="30"/>
                      </a:lnTo>
                      <a:lnTo>
                        <a:pt x="155" y="32"/>
                      </a:lnTo>
                      <a:lnTo>
                        <a:pt x="155" y="33"/>
                      </a:lnTo>
                      <a:lnTo>
                        <a:pt x="157" y="38"/>
                      </a:lnTo>
                      <a:lnTo>
                        <a:pt x="160" y="43"/>
                      </a:lnTo>
                      <a:lnTo>
                        <a:pt x="165" y="45"/>
                      </a:lnTo>
                      <a:lnTo>
                        <a:pt x="170" y="47"/>
                      </a:lnTo>
                      <a:lnTo>
                        <a:pt x="171" y="49"/>
                      </a:lnTo>
                      <a:lnTo>
                        <a:pt x="172" y="50"/>
                      </a:lnTo>
                      <a:lnTo>
                        <a:pt x="172" y="52"/>
                      </a:lnTo>
                      <a:lnTo>
                        <a:pt x="171" y="53"/>
                      </a:lnTo>
                      <a:lnTo>
                        <a:pt x="170" y="55"/>
                      </a:lnTo>
                      <a:lnTo>
                        <a:pt x="167" y="53"/>
                      </a:lnTo>
                      <a:lnTo>
                        <a:pt x="163" y="52"/>
                      </a:lnTo>
                      <a:lnTo>
                        <a:pt x="157" y="51"/>
                      </a:lnTo>
                      <a:lnTo>
                        <a:pt x="151" y="52"/>
                      </a:lnTo>
                      <a:lnTo>
                        <a:pt x="146" y="53"/>
                      </a:lnTo>
                      <a:lnTo>
                        <a:pt x="142" y="57"/>
                      </a:lnTo>
                      <a:lnTo>
                        <a:pt x="139" y="58"/>
                      </a:lnTo>
                      <a:lnTo>
                        <a:pt x="137" y="57"/>
                      </a:lnTo>
                      <a:lnTo>
                        <a:pt x="130" y="52"/>
                      </a:lnTo>
                      <a:lnTo>
                        <a:pt x="124" y="50"/>
                      </a:lnTo>
                      <a:lnTo>
                        <a:pt x="116" y="49"/>
                      </a:lnTo>
                      <a:lnTo>
                        <a:pt x="109" y="49"/>
                      </a:lnTo>
                      <a:lnTo>
                        <a:pt x="108" y="49"/>
                      </a:lnTo>
                      <a:lnTo>
                        <a:pt x="105" y="47"/>
                      </a:lnTo>
                      <a:lnTo>
                        <a:pt x="101" y="45"/>
                      </a:lnTo>
                      <a:lnTo>
                        <a:pt x="100" y="45"/>
                      </a:lnTo>
                      <a:lnTo>
                        <a:pt x="99" y="46"/>
                      </a:lnTo>
                      <a:lnTo>
                        <a:pt x="96" y="46"/>
                      </a:lnTo>
                      <a:lnTo>
                        <a:pt x="95" y="46"/>
                      </a:lnTo>
                      <a:lnTo>
                        <a:pt x="92" y="45"/>
                      </a:lnTo>
                      <a:lnTo>
                        <a:pt x="86" y="47"/>
                      </a:lnTo>
                      <a:lnTo>
                        <a:pt x="80" y="50"/>
                      </a:lnTo>
                      <a:lnTo>
                        <a:pt x="72" y="50"/>
                      </a:lnTo>
                      <a:lnTo>
                        <a:pt x="66" y="49"/>
                      </a:lnTo>
                      <a:lnTo>
                        <a:pt x="61" y="47"/>
                      </a:lnTo>
                      <a:lnTo>
                        <a:pt x="54" y="47"/>
                      </a:lnTo>
                      <a:lnTo>
                        <a:pt x="42" y="49"/>
                      </a:lnTo>
                      <a:lnTo>
                        <a:pt x="35" y="50"/>
                      </a:lnTo>
                      <a:lnTo>
                        <a:pt x="33" y="51"/>
                      </a:lnTo>
                      <a:lnTo>
                        <a:pt x="31" y="52"/>
                      </a:lnTo>
                      <a:lnTo>
                        <a:pt x="29" y="57"/>
                      </a:lnTo>
                      <a:lnTo>
                        <a:pt x="26" y="59"/>
                      </a:lnTo>
                      <a:lnTo>
                        <a:pt x="22" y="62"/>
                      </a:lnTo>
                      <a:lnTo>
                        <a:pt x="17" y="63"/>
                      </a:lnTo>
                      <a:lnTo>
                        <a:pt x="9" y="64"/>
                      </a:lnTo>
                      <a:lnTo>
                        <a:pt x="0" y="65"/>
                      </a:lnTo>
                      <a:lnTo>
                        <a:pt x="11" y="74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5" name="Freeform 1165"/>
                <p:cNvSpPr>
                  <a:spLocks/>
                </p:cNvSpPr>
                <p:nvPr/>
              </p:nvSpPr>
              <p:spPr bwMode="auto">
                <a:xfrm>
                  <a:off x="5328538" y="2635337"/>
                  <a:ext cx="59195" cy="60674"/>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2147483647 h 41"/>
                    <a:gd name="T14" fmla="*/ 2147483647 w 44"/>
                    <a:gd name="T15" fmla="*/ 2147483647 h 41"/>
                    <a:gd name="T16" fmla="*/ 2147483647 w 44"/>
                    <a:gd name="T17" fmla="*/ 0 h 41"/>
                    <a:gd name="T18" fmla="*/ 2147483647 w 44"/>
                    <a:gd name="T19" fmla="*/ 0 h 41"/>
                    <a:gd name="T20" fmla="*/ 2147483647 w 44"/>
                    <a:gd name="T21" fmla="*/ 0 h 41"/>
                    <a:gd name="T22" fmla="*/ 2147483647 w 44"/>
                    <a:gd name="T23" fmla="*/ 2147483647 h 41"/>
                    <a:gd name="T24" fmla="*/ 2147483647 w 44"/>
                    <a:gd name="T25" fmla="*/ 2147483647 h 41"/>
                    <a:gd name="T26" fmla="*/ 2147483647 w 44"/>
                    <a:gd name="T27" fmla="*/ 0 h 41"/>
                    <a:gd name="T28" fmla="*/ 2147483647 w 44"/>
                    <a:gd name="T29" fmla="*/ 0 h 41"/>
                    <a:gd name="T30" fmla="*/ 2147483647 w 44"/>
                    <a:gd name="T31" fmla="*/ 2147483647 h 41"/>
                    <a:gd name="T32" fmla="*/ 2147483647 w 44"/>
                    <a:gd name="T33" fmla="*/ 2147483647 h 41"/>
                    <a:gd name="T34" fmla="*/ 2147483647 w 44"/>
                    <a:gd name="T35" fmla="*/ 2147483647 h 41"/>
                    <a:gd name="T36" fmla="*/ 0 w 44"/>
                    <a:gd name="T37" fmla="*/ 2147483647 h 41"/>
                    <a:gd name="T38" fmla="*/ 0 w 44"/>
                    <a:gd name="T39" fmla="*/ 2147483647 h 41"/>
                    <a:gd name="T40" fmla="*/ 0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2147483647 w 44"/>
                    <a:gd name="T67" fmla="*/ 2147483647 h 41"/>
                    <a:gd name="T68" fmla="*/ 2147483647 w 44"/>
                    <a:gd name="T69" fmla="*/ 2147483647 h 41"/>
                    <a:gd name="T70" fmla="*/ 2147483647 w 44"/>
                    <a:gd name="T71" fmla="*/ 2147483647 h 41"/>
                    <a:gd name="T72" fmla="*/ 2147483647 w 44"/>
                    <a:gd name="T73" fmla="*/ 2147483647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
                    <a:gd name="T112" fmla="*/ 0 h 41"/>
                    <a:gd name="T113" fmla="*/ 44 w 4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 h="41">
                      <a:moveTo>
                        <a:pt x="44" y="26"/>
                      </a:moveTo>
                      <a:lnTo>
                        <a:pt x="44" y="22"/>
                      </a:lnTo>
                      <a:lnTo>
                        <a:pt x="43" y="20"/>
                      </a:lnTo>
                      <a:lnTo>
                        <a:pt x="39" y="14"/>
                      </a:lnTo>
                      <a:lnTo>
                        <a:pt x="34" y="11"/>
                      </a:lnTo>
                      <a:lnTo>
                        <a:pt x="26" y="7"/>
                      </a:lnTo>
                      <a:lnTo>
                        <a:pt x="25" y="5"/>
                      </a:lnTo>
                      <a:lnTo>
                        <a:pt x="24" y="2"/>
                      </a:lnTo>
                      <a:lnTo>
                        <a:pt x="23" y="0"/>
                      </a:lnTo>
                      <a:lnTo>
                        <a:pt x="21" y="0"/>
                      </a:lnTo>
                      <a:lnTo>
                        <a:pt x="20" y="0"/>
                      </a:lnTo>
                      <a:lnTo>
                        <a:pt x="16" y="1"/>
                      </a:lnTo>
                      <a:lnTo>
                        <a:pt x="14" y="2"/>
                      </a:lnTo>
                      <a:lnTo>
                        <a:pt x="10" y="0"/>
                      </a:lnTo>
                      <a:lnTo>
                        <a:pt x="7" y="0"/>
                      </a:lnTo>
                      <a:lnTo>
                        <a:pt x="6" y="1"/>
                      </a:lnTo>
                      <a:lnTo>
                        <a:pt x="4" y="6"/>
                      </a:lnTo>
                      <a:lnTo>
                        <a:pt x="2" y="7"/>
                      </a:lnTo>
                      <a:lnTo>
                        <a:pt x="0" y="8"/>
                      </a:lnTo>
                      <a:lnTo>
                        <a:pt x="0" y="9"/>
                      </a:lnTo>
                      <a:lnTo>
                        <a:pt x="0" y="11"/>
                      </a:lnTo>
                      <a:lnTo>
                        <a:pt x="2" y="12"/>
                      </a:lnTo>
                      <a:lnTo>
                        <a:pt x="4" y="14"/>
                      </a:lnTo>
                      <a:lnTo>
                        <a:pt x="7" y="19"/>
                      </a:lnTo>
                      <a:lnTo>
                        <a:pt x="9" y="24"/>
                      </a:lnTo>
                      <a:lnTo>
                        <a:pt x="10" y="28"/>
                      </a:lnTo>
                      <a:lnTo>
                        <a:pt x="14" y="37"/>
                      </a:lnTo>
                      <a:lnTo>
                        <a:pt x="16" y="39"/>
                      </a:lnTo>
                      <a:lnTo>
                        <a:pt x="19" y="41"/>
                      </a:lnTo>
                      <a:lnTo>
                        <a:pt x="24" y="41"/>
                      </a:lnTo>
                      <a:lnTo>
                        <a:pt x="29" y="41"/>
                      </a:lnTo>
                      <a:lnTo>
                        <a:pt x="40" y="38"/>
                      </a:lnTo>
                      <a:lnTo>
                        <a:pt x="42" y="38"/>
                      </a:lnTo>
                      <a:lnTo>
                        <a:pt x="43" y="37"/>
                      </a:lnTo>
                      <a:lnTo>
                        <a:pt x="44" y="33"/>
                      </a:lnTo>
                      <a:lnTo>
                        <a:pt x="43" y="30"/>
                      </a:lnTo>
                      <a:lnTo>
                        <a:pt x="44"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6" name="Freeform 1166"/>
                <p:cNvSpPr>
                  <a:spLocks/>
                </p:cNvSpPr>
                <p:nvPr/>
              </p:nvSpPr>
              <p:spPr bwMode="auto">
                <a:xfrm>
                  <a:off x="5427694" y="2582058"/>
                  <a:ext cx="48835" cy="81392"/>
                </a:xfrm>
                <a:custGeom>
                  <a:avLst/>
                  <a:gdLst>
                    <a:gd name="T0" fmla="*/ 2147483647 w 36"/>
                    <a:gd name="T1" fmla="*/ 2147483647 h 55"/>
                    <a:gd name="T2" fmla="*/ 2147483647 w 36"/>
                    <a:gd name="T3" fmla="*/ 2147483647 h 55"/>
                    <a:gd name="T4" fmla="*/ 2147483647 w 36"/>
                    <a:gd name="T5" fmla="*/ 2147483647 h 55"/>
                    <a:gd name="T6" fmla="*/ 2147483647 w 36"/>
                    <a:gd name="T7" fmla="*/ 2147483647 h 55"/>
                    <a:gd name="T8" fmla="*/ 2147483647 w 36"/>
                    <a:gd name="T9" fmla="*/ 2147483647 h 55"/>
                    <a:gd name="T10" fmla="*/ 2147483647 w 36"/>
                    <a:gd name="T11" fmla="*/ 2147483647 h 55"/>
                    <a:gd name="T12" fmla="*/ 2147483647 w 36"/>
                    <a:gd name="T13" fmla="*/ 2147483647 h 55"/>
                    <a:gd name="T14" fmla="*/ 2147483647 w 36"/>
                    <a:gd name="T15" fmla="*/ 2147483647 h 55"/>
                    <a:gd name="T16" fmla="*/ 2147483647 w 36"/>
                    <a:gd name="T17" fmla="*/ 2147483647 h 55"/>
                    <a:gd name="T18" fmla="*/ 2147483647 w 36"/>
                    <a:gd name="T19" fmla="*/ 2147483647 h 55"/>
                    <a:gd name="T20" fmla="*/ 2147483647 w 36"/>
                    <a:gd name="T21" fmla="*/ 0 h 55"/>
                    <a:gd name="T22" fmla="*/ 2147483647 w 36"/>
                    <a:gd name="T23" fmla="*/ 0 h 55"/>
                    <a:gd name="T24" fmla="*/ 2147483647 w 36"/>
                    <a:gd name="T25" fmla="*/ 2147483647 h 55"/>
                    <a:gd name="T26" fmla="*/ 2147483647 w 36"/>
                    <a:gd name="T27" fmla="*/ 2147483647 h 55"/>
                    <a:gd name="T28" fmla="*/ 2147483647 w 36"/>
                    <a:gd name="T29" fmla="*/ 2147483647 h 55"/>
                    <a:gd name="T30" fmla="*/ 2147483647 w 36"/>
                    <a:gd name="T31" fmla="*/ 2147483647 h 55"/>
                    <a:gd name="T32" fmla="*/ 2147483647 w 36"/>
                    <a:gd name="T33" fmla="*/ 2147483647 h 55"/>
                    <a:gd name="T34" fmla="*/ 2147483647 w 36"/>
                    <a:gd name="T35" fmla="*/ 2147483647 h 55"/>
                    <a:gd name="T36" fmla="*/ 2147483647 w 36"/>
                    <a:gd name="T37" fmla="*/ 2147483647 h 55"/>
                    <a:gd name="T38" fmla="*/ 2147483647 w 36"/>
                    <a:gd name="T39" fmla="*/ 2147483647 h 55"/>
                    <a:gd name="T40" fmla="*/ 2147483647 w 36"/>
                    <a:gd name="T41" fmla="*/ 2147483647 h 55"/>
                    <a:gd name="T42" fmla="*/ 2147483647 w 36"/>
                    <a:gd name="T43" fmla="*/ 2147483647 h 55"/>
                    <a:gd name="T44" fmla="*/ 2147483647 w 36"/>
                    <a:gd name="T45" fmla="*/ 2147483647 h 55"/>
                    <a:gd name="T46" fmla="*/ 2147483647 w 36"/>
                    <a:gd name="T47" fmla="*/ 2147483647 h 55"/>
                    <a:gd name="T48" fmla="*/ 2147483647 w 36"/>
                    <a:gd name="T49" fmla="*/ 2147483647 h 55"/>
                    <a:gd name="T50" fmla="*/ 2147483647 w 36"/>
                    <a:gd name="T51" fmla="*/ 2147483647 h 55"/>
                    <a:gd name="T52" fmla="*/ 0 w 36"/>
                    <a:gd name="T53" fmla="*/ 2147483647 h 55"/>
                    <a:gd name="T54" fmla="*/ 2147483647 w 36"/>
                    <a:gd name="T55" fmla="*/ 2147483647 h 55"/>
                    <a:gd name="T56" fmla="*/ 2147483647 w 36"/>
                    <a:gd name="T57" fmla="*/ 2147483647 h 55"/>
                    <a:gd name="T58" fmla="*/ 2147483647 w 36"/>
                    <a:gd name="T59" fmla="*/ 2147483647 h 55"/>
                    <a:gd name="T60" fmla="*/ 2147483647 w 36"/>
                    <a:gd name="T61" fmla="*/ 2147483647 h 55"/>
                    <a:gd name="T62" fmla="*/ 2147483647 w 36"/>
                    <a:gd name="T63" fmla="*/ 2147483647 h 55"/>
                    <a:gd name="T64" fmla="*/ 2147483647 w 36"/>
                    <a:gd name="T65" fmla="*/ 2147483647 h 55"/>
                    <a:gd name="T66" fmla="*/ 2147483647 w 36"/>
                    <a:gd name="T67" fmla="*/ 2147483647 h 55"/>
                    <a:gd name="T68" fmla="*/ 2147483647 w 36"/>
                    <a:gd name="T69" fmla="*/ 2147483647 h 55"/>
                    <a:gd name="T70" fmla="*/ 2147483647 w 36"/>
                    <a:gd name="T71" fmla="*/ 2147483647 h 55"/>
                    <a:gd name="T72" fmla="*/ 2147483647 w 36"/>
                    <a:gd name="T73" fmla="*/ 2147483647 h 55"/>
                    <a:gd name="T74" fmla="*/ 2147483647 w 36"/>
                    <a:gd name="T75" fmla="*/ 2147483647 h 55"/>
                    <a:gd name="T76" fmla="*/ 2147483647 w 36"/>
                    <a:gd name="T77" fmla="*/ 2147483647 h 55"/>
                    <a:gd name="T78" fmla="*/ 2147483647 w 36"/>
                    <a:gd name="T79" fmla="*/ 2147483647 h 55"/>
                    <a:gd name="T80" fmla="*/ 2147483647 w 36"/>
                    <a:gd name="T81" fmla="*/ 2147483647 h 55"/>
                    <a:gd name="T82" fmla="*/ 2147483647 w 36"/>
                    <a:gd name="T83" fmla="*/ 2147483647 h 55"/>
                    <a:gd name="T84" fmla="*/ 2147483647 w 36"/>
                    <a:gd name="T85" fmla="*/ 2147483647 h 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55"/>
                    <a:gd name="T131" fmla="*/ 36 w 36"/>
                    <a:gd name="T132" fmla="*/ 55 h 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55">
                      <a:moveTo>
                        <a:pt x="35" y="45"/>
                      </a:moveTo>
                      <a:lnTo>
                        <a:pt x="31" y="36"/>
                      </a:lnTo>
                      <a:lnTo>
                        <a:pt x="27" y="26"/>
                      </a:lnTo>
                      <a:lnTo>
                        <a:pt x="24" y="17"/>
                      </a:lnTo>
                      <a:lnTo>
                        <a:pt x="23" y="6"/>
                      </a:lnTo>
                      <a:lnTo>
                        <a:pt x="22" y="6"/>
                      </a:lnTo>
                      <a:lnTo>
                        <a:pt x="21" y="6"/>
                      </a:lnTo>
                      <a:lnTo>
                        <a:pt x="19" y="6"/>
                      </a:lnTo>
                      <a:lnTo>
                        <a:pt x="17" y="6"/>
                      </a:lnTo>
                      <a:lnTo>
                        <a:pt x="12" y="2"/>
                      </a:lnTo>
                      <a:lnTo>
                        <a:pt x="8" y="0"/>
                      </a:lnTo>
                      <a:lnTo>
                        <a:pt x="5" y="0"/>
                      </a:lnTo>
                      <a:lnTo>
                        <a:pt x="3" y="3"/>
                      </a:lnTo>
                      <a:lnTo>
                        <a:pt x="3" y="5"/>
                      </a:lnTo>
                      <a:lnTo>
                        <a:pt x="4" y="6"/>
                      </a:lnTo>
                      <a:lnTo>
                        <a:pt x="7" y="7"/>
                      </a:lnTo>
                      <a:lnTo>
                        <a:pt x="9" y="10"/>
                      </a:lnTo>
                      <a:lnTo>
                        <a:pt x="13" y="13"/>
                      </a:lnTo>
                      <a:lnTo>
                        <a:pt x="14" y="15"/>
                      </a:lnTo>
                      <a:lnTo>
                        <a:pt x="16" y="16"/>
                      </a:lnTo>
                      <a:lnTo>
                        <a:pt x="14" y="20"/>
                      </a:lnTo>
                      <a:lnTo>
                        <a:pt x="13" y="22"/>
                      </a:lnTo>
                      <a:lnTo>
                        <a:pt x="12" y="22"/>
                      </a:lnTo>
                      <a:lnTo>
                        <a:pt x="7" y="19"/>
                      </a:lnTo>
                      <a:lnTo>
                        <a:pt x="4" y="18"/>
                      </a:lnTo>
                      <a:lnTo>
                        <a:pt x="2" y="20"/>
                      </a:lnTo>
                      <a:lnTo>
                        <a:pt x="0" y="24"/>
                      </a:lnTo>
                      <a:lnTo>
                        <a:pt x="2" y="28"/>
                      </a:lnTo>
                      <a:lnTo>
                        <a:pt x="4" y="35"/>
                      </a:lnTo>
                      <a:lnTo>
                        <a:pt x="5" y="36"/>
                      </a:lnTo>
                      <a:lnTo>
                        <a:pt x="7" y="36"/>
                      </a:lnTo>
                      <a:lnTo>
                        <a:pt x="11" y="36"/>
                      </a:lnTo>
                      <a:lnTo>
                        <a:pt x="14" y="37"/>
                      </a:lnTo>
                      <a:lnTo>
                        <a:pt x="16" y="38"/>
                      </a:lnTo>
                      <a:lnTo>
                        <a:pt x="19" y="44"/>
                      </a:lnTo>
                      <a:lnTo>
                        <a:pt x="22" y="51"/>
                      </a:lnTo>
                      <a:lnTo>
                        <a:pt x="24" y="54"/>
                      </a:lnTo>
                      <a:lnTo>
                        <a:pt x="27" y="55"/>
                      </a:lnTo>
                      <a:lnTo>
                        <a:pt x="30" y="55"/>
                      </a:lnTo>
                      <a:lnTo>
                        <a:pt x="33" y="52"/>
                      </a:lnTo>
                      <a:lnTo>
                        <a:pt x="36" y="49"/>
                      </a:lnTo>
                      <a:lnTo>
                        <a:pt x="36" y="48"/>
                      </a:lnTo>
                      <a:lnTo>
                        <a:pt x="35" y="4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7" name="Freeform 1167"/>
                <p:cNvSpPr>
                  <a:spLocks/>
                </p:cNvSpPr>
                <p:nvPr/>
              </p:nvSpPr>
              <p:spPr bwMode="auto">
                <a:xfrm>
                  <a:off x="6738857" y="1935354"/>
                  <a:ext cx="2342637" cy="1374801"/>
                </a:xfrm>
                <a:custGeom>
                  <a:avLst/>
                  <a:gdLst>
                    <a:gd name="T0" fmla="*/ 2147483647 w 1715"/>
                    <a:gd name="T1" fmla="*/ 2147483647 h 929"/>
                    <a:gd name="T2" fmla="*/ 2147483647 w 1715"/>
                    <a:gd name="T3" fmla="*/ 2147483647 h 929"/>
                    <a:gd name="T4" fmla="*/ 2147483647 w 1715"/>
                    <a:gd name="T5" fmla="*/ 2147483647 h 929"/>
                    <a:gd name="T6" fmla="*/ 2147483647 w 1715"/>
                    <a:gd name="T7" fmla="*/ 2147483647 h 929"/>
                    <a:gd name="T8" fmla="*/ 2147483647 w 1715"/>
                    <a:gd name="T9" fmla="*/ 2147483647 h 929"/>
                    <a:gd name="T10" fmla="*/ 2147483647 w 1715"/>
                    <a:gd name="T11" fmla="*/ 2147483647 h 929"/>
                    <a:gd name="T12" fmla="*/ 2147483647 w 1715"/>
                    <a:gd name="T13" fmla="*/ 2147483647 h 929"/>
                    <a:gd name="T14" fmla="*/ 2147483647 w 1715"/>
                    <a:gd name="T15" fmla="*/ 2147483647 h 929"/>
                    <a:gd name="T16" fmla="*/ 2147483647 w 1715"/>
                    <a:gd name="T17" fmla="*/ 2147483647 h 929"/>
                    <a:gd name="T18" fmla="*/ 2147483647 w 1715"/>
                    <a:gd name="T19" fmla="*/ 2147483647 h 929"/>
                    <a:gd name="T20" fmla="*/ 2147483647 w 1715"/>
                    <a:gd name="T21" fmla="*/ 2147483647 h 929"/>
                    <a:gd name="T22" fmla="*/ 2147483647 w 1715"/>
                    <a:gd name="T23" fmla="*/ 2147483647 h 929"/>
                    <a:gd name="T24" fmla="*/ 2147483647 w 1715"/>
                    <a:gd name="T25" fmla="*/ 2147483647 h 929"/>
                    <a:gd name="T26" fmla="*/ 2147483647 w 1715"/>
                    <a:gd name="T27" fmla="*/ 2147483647 h 929"/>
                    <a:gd name="T28" fmla="*/ 2147483647 w 1715"/>
                    <a:gd name="T29" fmla="*/ 2147483647 h 929"/>
                    <a:gd name="T30" fmla="*/ 2147483647 w 1715"/>
                    <a:gd name="T31" fmla="*/ 2147483647 h 929"/>
                    <a:gd name="T32" fmla="*/ 2147483647 w 1715"/>
                    <a:gd name="T33" fmla="*/ 2147483647 h 929"/>
                    <a:gd name="T34" fmla="*/ 2147483647 w 1715"/>
                    <a:gd name="T35" fmla="*/ 2147483647 h 929"/>
                    <a:gd name="T36" fmla="*/ 2147483647 w 1715"/>
                    <a:gd name="T37" fmla="*/ 2147483647 h 929"/>
                    <a:gd name="T38" fmla="*/ 2147483647 w 1715"/>
                    <a:gd name="T39" fmla="*/ 2147483647 h 929"/>
                    <a:gd name="T40" fmla="*/ 2147483647 w 1715"/>
                    <a:gd name="T41" fmla="*/ 2147483647 h 929"/>
                    <a:gd name="T42" fmla="*/ 2147483647 w 1715"/>
                    <a:gd name="T43" fmla="*/ 2147483647 h 929"/>
                    <a:gd name="T44" fmla="*/ 2147483647 w 1715"/>
                    <a:gd name="T45" fmla="*/ 2147483647 h 929"/>
                    <a:gd name="T46" fmla="*/ 2147483647 w 1715"/>
                    <a:gd name="T47" fmla="*/ 2147483647 h 929"/>
                    <a:gd name="T48" fmla="*/ 2147483647 w 1715"/>
                    <a:gd name="T49" fmla="*/ 2147483647 h 929"/>
                    <a:gd name="T50" fmla="*/ 2147483647 w 1715"/>
                    <a:gd name="T51" fmla="*/ 2147483647 h 929"/>
                    <a:gd name="T52" fmla="*/ 2147483647 w 1715"/>
                    <a:gd name="T53" fmla="*/ 2147483647 h 929"/>
                    <a:gd name="T54" fmla="*/ 2147483647 w 1715"/>
                    <a:gd name="T55" fmla="*/ 2147483647 h 929"/>
                    <a:gd name="T56" fmla="*/ 2147483647 w 1715"/>
                    <a:gd name="T57" fmla="*/ 2147483647 h 929"/>
                    <a:gd name="T58" fmla="*/ 2147483647 w 1715"/>
                    <a:gd name="T59" fmla="*/ 2147483647 h 929"/>
                    <a:gd name="T60" fmla="*/ 2147483647 w 1715"/>
                    <a:gd name="T61" fmla="*/ 2147483647 h 929"/>
                    <a:gd name="T62" fmla="*/ 2147483647 w 1715"/>
                    <a:gd name="T63" fmla="*/ 2147483647 h 929"/>
                    <a:gd name="T64" fmla="*/ 2147483647 w 1715"/>
                    <a:gd name="T65" fmla="*/ 2147483647 h 929"/>
                    <a:gd name="T66" fmla="*/ 2147483647 w 1715"/>
                    <a:gd name="T67" fmla="*/ 2147483647 h 929"/>
                    <a:gd name="T68" fmla="*/ 2147483647 w 1715"/>
                    <a:gd name="T69" fmla="*/ 2147483647 h 929"/>
                    <a:gd name="T70" fmla="*/ 2147483647 w 1715"/>
                    <a:gd name="T71" fmla="*/ 2147483647 h 929"/>
                    <a:gd name="T72" fmla="*/ 2147483647 w 1715"/>
                    <a:gd name="T73" fmla="*/ 2147483647 h 929"/>
                    <a:gd name="T74" fmla="*/ 2147483647 w 1715"/>
                    <a:gd name="T75" fmla="*/ 2147483647 h 929"/>
                    <a:gd name="T76" fmla="*/ 2147483647 w 1715"/>
                    <a:gd name="T77" fmla="*/ 2147483647 h 929"/>
                    <a:gd name="T78" fmla="*/ 2147483647 w 1715"/>
                    <a:gd name="T79" fmla="*/ 2147483647 h 929"/>
                    <a:gd name="T80" fmla="*/ 2147483647 w 1715"/>
                    <a:gd name="T81" fmla="*/ 2147483647 h 929"/>
                    <a:gd name="T82" fmla="*/ 2147483647 w 1715"/>
                    <a:gd name="T83" fmla="*/ 2147483647 h 929"/>
                    <a:gd name="T84" fmla="*/ 2147483647 w 1715"/>
                    <a:gd name="T85" fmla="*/ 2147483647 h 929"/>
                    <a:gd name="T86" fmla="*/ 2147483647 w 1715"/>
                    <a:gd name="T87" fmla="*/ 2147483647 h 929"/>
                    <a:gd name="T88" fmla="*/ 2147483647 w 1715"/>
                    <a:gd name="T89" fmla="*/ 2147483647 h 929"/>
                    <a:gd name="T90" fmla="*/ 2147483647 w 1715"/>
                    <a:gd name="T91" fmla="*/ 2147483647 h 929"/>
                    <a:gd name="T92" fmla="*/ 2147483647 w 1715"/>
                    <a:gd name="T93" fmla="*/ 2147483647 h 929"/>
                    <a:gd name="T94" fmla="*/ 2147483647 w 1715"/>
                    <a:gd name="T95" fmla="*/ 2147483647 h 929"/>
                    <a:gd name="T96" fmla="*/ 2147483647 w 1715"/>
                    <a:gd name="T97" fmla="*/ 2147483647 h 929"/>
                    <a:gd name="T98" fmla="*/ 2147483647 w 1715"/>
                    <a:gd name="T99" fmla="*/ 2147483647 h 929"/>
                    <a:gd name="T100" fmla="*/ 2147483647 w 1715"/>
                    <a:gd name="T101" fmla="*/ 2147483647 h 929"/>
                    <a:gd name="T102" fmla="*/ 2147483647 w 1715"/>
                    <a:gd name="T103" fmla="*/ 2147483647 h 929"/>
                    <a:gd name="T104" fmla="*/ 2147483647 w 1715"/>
                    <a:gd name="T105" fmla="*/ 2147483647 h 929"/>
                    <a:gd name="T106" fmla="*/ 2147483647 w 1715"/>
                    <a:gd name="T107" fmla="*/ 2147483647 h 929"/>
                    <a:gd name="T108" fmla="*/ 2147483647 w 1715"/>
                    <a:gd name="T109" fmla="*/ 2147483647 h 929"/>
                    <a:gd name="T110" fmla="*/ 2147483647 w 1715"/>
                    <a:gd name="T111" fmla="*/ 2147483647 h 929"/>
                    <a:gd name="T112" fmla="*/ 2147483647 w 1715"/>
                    <a:gd name="T113" fmla="*/ 2147483647 h 929"/>
                    <a:gd name="T114" fmla="*/ 2147483647 w 1715"/>
                    <a:gd name="T115" fmla="*/ 2147483647 h 929"/>
                    <a:gd name="T116" fmla="*/ 2147483647 w 1715"/>
                    <a:gd name="T117" fmla="*/ 2147483647 h 929"/>
                    <a:gd name="T118" fmla="*/ 2147483647 w 1715"/>
                    <a:gd name="T119" fmla="*/ 2147483647 h 929"/>
                    <a:gd name="T120" fmla="*/ 2147483647 w 1715"/>
                    <a:gd name="T121" fmla="*/ 2147483647 h 92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15"/>
                    <a:gd name="T184" fmla="*/ 0 h 929"/>
                    <a:gd name="T185" fmla="*/ 1715 w 1715"/>
                    <a:gd name="T186" fmla="*/ 929 h 92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15" h="929">
                      <a:moveTo>
                        <a:pt x="12" y="746"/>
                      </a:moveTo>
                      <a:lnTo>
                        <a:pt x="12" y="746"/>
                      </a:lnTo>
                      <a:lnTo>
                        <a:pt x="16" y="743"/>
                      </a:lnTo>
                      <a:lnTo>
                        <a:pt x="21" y="741"/>
                      </a:lnTo>
                      <a:lnTo>
                        <a:pt x="26" y="741"/>
                      </a:lnTo>
                      <a:lnTo>
                        <a:pt x="31" y="741"/>
                      </a:lnTo>
                      <a:lnTo>
                        <a:pt x="41" y="741"/>
                      </a:lnTo>
                      <a:lnTo>
                        <a:pt x="52" y="743"/>
                      </a:lnTo>
                      <a:lnTo>
                        <a:pt x="54" y="742"/>
                      </a:lnTo>
                      <a:lnTo>
                        <a:pt x="55" y="740"/>
                      </a:lnTo>
                      <a:lnTo>
                        <a:pt x="56" y="738"/>
                      </a:lnTo>
                      <a:lnTo>
                        <a:pt x="59" y="737"/>
                      </a:lnTo>
                      <a:lnTo>
                        <a:pt x="61" y="738"/>
                      </a:lnTo>
                      <a:lnTo>
                        <a:pt x="64" y="740"/>
                      </a:lnTo>
                      <a:lnTo>
                        <a:pt x="65" y="742"/>
                      </a:lnTo>
                      <a:lnTo>
                        <a:pt x="66" y="743"/>
                      </a:lnTo>
                      <a:lnTo>
                        <a:pt x="73" y="746"/>
                      </a:lnTo>
                      <a:lnTo>
                        <a:pt x="77" y="749"/>
                      </a:lnTo>
                      <a:lnTo>
                        <a:pt x="82" y="753"/>
                      </a:lnTo>
                      <a:lnTo>
                        <a:pt x="85" y="756"/>
                      </a:lnTo>
                      <a:lnTo>
                        <a:pt x="89" y="756"/>
                      </a:lnTo>
                      <a:lnTo>
                        <a:pt x="92" y="756"/>
                      </a:lnTo>
                      <a:lnTo>
                        <a:pt x="98" y="755"/>
                      </a:lnTo>
                      <a:lnTo>
                        <a:pt x="102" y="755"/>
                      </a:lnTo>
                      <a:lnTo>
                        <a:pt x="106" y="756"/>
                      </a:lnTo>
                      <a:lnTo>
                        <a:pt x="110" y="757"/>
                      </a:lnTo>
                      <a:lnTo>
                        <a:pt x="112" y="759"/>
                      </a:lnTo>
                      <a:lnTo>
                        <a:pt x="127" y="757"/>
                      </a:lnTo>
                      <a:lnTo>
                        <a:pt x="135" y="756"/>
                      </a:lnTo>
                      <a:lnTo>
                        <a:pt x="143" y="757"/>
                      </a:lnTo>
                      <a:lnTo>
                        <a:pt x="145" y="756"/>
                      </a:lnTo>
                      <a:lnTo>
                        <a:pt x="148" y="755"/>
                      </a:lnTo>
                      <a:lnTo>
                        <a:pt x="149" y="751"/>
                      </a:lnTo>
                      <a:lnTo>
                        <a:pt x="149" y="748"/>
                      </a:lnTo>
                      <a:lnTo>
                        <a:pt x="144" y="742"/>
                      </a:lnTo>
                      <a:lnTo>
                        <a:pt x="140" y="735"/>
                      </a:lnTo>
                      <a:lnTo>
                        <a:pt x="139" y="729"/>
                      </a:lnTo>
                      <a:lnTo>
                        <a:pt x="139" y="725"/>
                      </a:lnTo>
                      <a:lnTo>
                        <a:pt x="140" y="723"/>
                      </a:lnTo>
                      <a:lnTo>
                        <a:pt x="144" y="719"/>
                      </a:lnTo>
                      <a:lnTo>
                        <a:pt x="149" y="717"/>
                      </a:lnTo>
                      <a:lnTo>
                        <a:pt x="160" y="711"/>
                      </a:lnTo>
                      <a:lnTo>
                        <a:pt x="163" y="710"/>
                      </a:lnTo>
                      <a:lnTo>
                        <a:pt x="167" y="710"/>
                      </a:lnTo>
                      <a:lnTo>
                        <a:pt x="174" y="711"/>
                      </a:lnTo>
                      <a:lnTo>
                        <a:pt x="182" y="714"/>
                      </a:lnTo>
                      <a:lnTo>
                        <a:pt x="190" y="715"/>
                      </a:lnTo>
                      <a:lnTo>
                        <a:pt x="191" y="716"/>
                      </a:lnTo>
                      <a:lnTo>
                        <a:pt x="193" y="718"/>
                      </a:lnTo>
                      <a:lnTo>
                        <a:pt x="195" y="721"/>
                      </a:lnTo>
                      <a:lnTo>
                        <a:pt x="198" y="722"/>
                      </a:lnTo>
                      <a:lnTo>
                        <a:pt x="198" y="724"/>
                      </a:lnTo>
                      <a:lnTo>
                        <a:pt x="205" y="725"/>
                      </a:lnTo>
                      <a:lnTo>
                        <a:pt x="206" y="728"/>
                      </a:lnTo>
                      <a:lnTo>
                        <a:pt x="207" y="730"/>
                      </a:lnTo>
                      <a:lnTo>
                        <a:pt x="210" y="736"/>
                      </a:lnTo>
                      <a:lnTo>
                        <a:pt x="212" y="742"/>
                      </a:lnTo>
                      <a:lnTo>
                        <a:pt x="216" y="747"/>
                      </a:lnTo>
                      <a:lnTo>
                        <a:pt x="220" y="751"/>
                      </a:lnTo>
                      <a:lnTo>
                        <a:pt x="228" y="756"/>
                      </a:lnTo>
                      <a:lnTo>
                        <a:pt x="234" y="759"/>
                      </a:lnTo>
                      <a:lnTo>
                        <a:pt x="242" y="760"/>
                      </a:lnTo>
                      <a:lnTo>
                        <a:pt x="248" y="759"/>
                      </a:lnTo>
                      <a:lnTo>
                        <a:pt x="252" y="756"/>
                      </a:lnTo>
                      <a:lnTo>
                        <a:pt x="254" y="754"/>
                      </a:lnTo>
                      <a:lnTo>
                        <a:pt x="259" y="751"/>
                      </a:lnTo>
                      <a:lnTo>
                        <a:pt x="262" y="750"/>
                      </a:lnTo>
                      <a:lnTo>
                        <a:pt x="266" y="751"/>
                      </a:lnTo>
                      <a:lnTo>
                        <a:pt x="280" y="757"/>
                      </a:lnTo>
                      <a:lnTo>
                        <a:pt x="284" y="759"/>
                      </a:lnTo>
                      <a:lnTo>
                        <a:pt x="287" y="759"/>
                      </a:lnTo>
                      <a:lnTo>
                        <a:pt x="291" y="759"/>
                      </a:lnTo>
                      <a:lnTo>
                        <a:pt x="295" y="759"/>
                      </a:lnTo>
                      <a:lnTo>
                        <a:pt x="298" y="759"/>
                      </a:lnTo>
                      <a:lnTo>
                        <a:pt x="299" y="761"/>
                      </a:lnTo>
                      <a:lnTo>
                        <a:pt x="300" y="765"/>
                      </a:lnTo>
                      <a:lnTo>
                        <a:pt x="304" y="769"/>
                      </a:lnTo>
                      <a:lnTo>
                        <a:pt x="305" y="773"/>
                      </a:lnTo>
                      <a:lnTo>
                        <a:pt x="308" y="774"/>
                      </a:lnTo>
                      <a:lnTo>
                        <a:pt x="311" y="774"/>
                      </a:lnTo>
                      <a:lnTo>
                        <a:pt x="314" y="774"/>
                      </a:lnTo>
                      <a:lnTo>
                        <a:pt x="318" y="773"/>
                      </a:lnTo>
                      <a:lnTo>
                        <a:pt x="320" y="773"/>
                      </a:lnTo>
                      <a:lnTo>
                        <a:pt x="334" y="775"/>
                      </a:lnTo>
                      <a:lnTo>
                        <a:pt x="347" y="775"/>
                      </a:lnTo>
                      <a:lnTo>
                        <a:pt x="353" y="774"/>
                      </a:lnTo>
                      <a:lnTo>
                        <a:pt x="360" y="773"/>
                      </a:lnTo>
                      <a:lnTo>
                        <a:pt x="366" y="770"/>
                      </a:lnTo>
                      <a:lnTo>
                        <a:pt x="372" y="766"/>
                      </a:lnTo>
                      <a:lnTo>
                        <a:pt x="379" y="762"/>
                      </a:lnTo>
                      <a:lnTo>
                        <a:pt x="385" y="760"/>
                      </a:lnTo>
                      <a:lnTo>
                        <a:pt x="400" y="756"/>
                      </a:lnTo>
                      <a:lnTo>
                        <a:pt x="404" y="755"/>
                      </a:lnTo>
                      <a:lnTo>
                        <a:pt x="409" y="755"/>
                      </a:lnTo>
                      <a:lnTo>
                        <a:pt x="418" y="756"/>
                      </a:lnTo>
                      <a:lnTo>
                        <a:pt x="426" y="759"/>
                      </a:lnTo>
                      <a:lnTo>
                        <a:pt x="430" y="759"/>
                      </a:lnTo>
                      <a:lnTo>
                        <a:pt x="433" y="757"/>
                      </a:lnTo>
                      <a:lnTo>
                        <a:pt x="438" y="757"/>
                      </a:lnTo>
                      <a:lnTo>
                        <a:pt x="444" y="759"/>
                      </a:lnTo>
                      <a:lnTo>
                        <a:pt x="449" y="761"/>
                      </a:lnTo>
                      <a:lnTo>
                        <a:pt x="454" y="765"/>
                      </a:lnTo>
                      <a:lnTo>
                        <a:pt x="459" y="767"/>
                      </a:lnTo>
                      <a:lnTo>
                        <a:pt x="464" y="768"/>
                      </a:lnTo>
                      <a:lnTo>
                        <a:pt x="468" y="767"/>
                      </a:lnTo>
                      <a:lnTo>
                        <a:pt x="471" y="766"/>
                      </a:lnTo>
                      <a:lnTo>
                        <a:pt x="475" y="763"/>
                      </a:lnTo>
                      <a:lnTo>
                        <a:pt x="483" y="757"/>
                      </a:lnTo>
                      <a:lnTo>
                        <a:pt x="489" y="749"/>
                      </a:lnTo>
                      <a:lnTo>
                        <a:pt x="494" y="740"/>
                      </a:lnTo>
                      <a:lnTo>
                        <a:pt x="504" y="723"/>
                      </a:lnTo>
                      <a:lnTo>
                        <a:pt x="513" y="709"/>
                      </a:lnTo>
                      <a:lnTo>
                        <a:pt x="518" y="702"/>
                      </a:lnTo>
                      <a:lnTo>
                        <a:pt x="520" y="695"/>
                      </a:lnTo>
                      <a:lnTo>
                        <a:pt x="520" y="692"/>
                      </a:lnTo>
                      <a:lnTo>
                        <a:pt x="518" y="692"/>
                      </a:lnTo>
                      <a:lnTo>
                        <a:pt x="515" y="692"/>
                      </a:lnTo>
                      <a:lnTo>
                        <a:pt x="511" y="692"/>
                      </a:lnTo>
                      <a:lnTo>
                        <a:pt x="506" y="692"/>
                      </a:lnTo>
                      <a:lnTo>
                        <a:pt x="512" y="682"/>
                      </a:lnTo>
                      <a:lnTo>
                        <a:pt x="517" y="677"/>
                      </a:lnTo>
                      <a:lnTo>
                        <a:pt x="524" y="674"/>
                      </a:lnTo>
                      <a:lnTo>
                        <a:pt x="532" y="672"/>
                      </a:lnTo>
                      <a:lnTo>
                        <a:pt x="543" y="672"/>
                      </a:lnTo>
                      <a:lnTo>
                        <a:pt x="554" y="672"/>
                      </a:lnTo>
                      <a:lnTo>
                        <a:pt x="565" y="673"/>
                      </a:lnTo>
                      <a:lnTo>
                        <a:pt x="586" y="677"/>
                      </a:lnTo>
                      <a:lnTo>
                        <a:pt x="595" y="679"/>
                      </a:lnTo>
                      <a:lnTo>
                        <a:pt x="602" y="683"/>
                      </a:lnTo>
                      <a:lnTo>
                        <a:pt x="606" y="683"/>
                      </a:lnTo>
                      <a:lnTo>
                        <a:pt x="607" y="685"/>
                      </a:lnTo>
                      <a:lnTo>
                        <a:pt x="610" y="691"/>
                      </a:lnTo>
                      <a:lnTo>
                        <a:pt x="611" y="698"/>
                      </a:lnTo>
                      <a:lnTo>
                        <a:pt x="614" y="705"/>
                      </a:lnTo>
                      <a:lnTo>
                        <a:pt x="618" y="714"/>
                      </a:lnTo>
                      <a:lnTo>
                        <a:pt x="621" y="722"/>
                      </a:lnTo>
                      <a:lnTo>
                        <a:pt x="626" y="730"/>
                      </a:lnTo>
                      <a:lnTo>
                        <a:pt x="629" y="740"/>
                      </a:lnTo>
                      <a:lnTo>
                        <a:pt x="631" y="744"/>
                      </a:lnTo>
                      <a:lnTo>
                        <a:pt x="637" y="749"/>
                      </a:lnTo>
                      <a:lnTo>
                        <a:pt x="639" y="750"/>
                      </a:lnTo>
                      <a:lnTo>
                        <a:pt x="643" y="751"/>
                      </a:lnTo>
                      <a:lnTo>
                        <a:pt x="647" y="751"/>
                      </a:lnTo>
                      <a:lnTo>
                        <a:pt x="649" y="750"/>
                      </a:lnTo>
                      <a:lnTo>
                        <a:pt x="652" y="749"/>
                      </a:lnTo>
                      <a:lnTo>
                        <a:pt x="653" y="750"/>
                      </a:lnTo>
                      <a:lnTo>
                        <a:pt x="654" y="753"/>
                      </a:lnTo>
                      <a:lnTo>
                        <a:pt x="659" y="754"/>
                      </a:lnTo>
                      <a:lnTo>
                        <a:pt x="664" y="755"/>
                      </a:lnTo>
                      <a:lnTo>
                        <a:pt x="673" y="755"/>
                      </a:lnTo>
                      <a:lnTo>
                        <a:pt x="677" y="756"/>
                      </a:lnTo>
                      <a:lnTo>
                        <a:pt x="680" y="759"/>
                      </a:lnTo>
                      <a:lnTo>
                        <a:pt x="680" y="761"/>
                      </a:lnTo>
                      <a:lnTo>
                        <a:pt x="680" y="763"/>
                      </a:lnTo>
                      <a:lnTo>
                        <a:pt x="680" y="766"/>
                      </a:lnTo>
                      <a:lnTo>
                        <a:pt x="681" y="768"/>
                      </a:lnTo>
                      <a:lnTo>
                        <a:pt x="686" y="773"/>
                      </a:lnTo>
                      <a:lnTo>
                        <a:pt x="689" y="779"/>
                      </a:lnTo>
                      <a:lnTo>
                        <a:pt x="690" y="786"/>
                      </a:lnTo>
                      <a:lnTo>
                        <a:pt x="690" y="793"/>
                      </a:lnTo>
                      <a:lnTo>
                        <a:pt x="691" y="800"/>
                      </a:lnTo>
                      <a:lnTo>
                        <a:pt x="692" y="804"/>
                      </a:lnTo>
                      <a:lnTo>
                        <a:pt x="695" y="806"/>
                      </a:lnTo>
                      <a:lnTo>
                        <a:pt x="698" y="808"/>
                      </a:lnTo>
                      <a:lnTo>
                        <a:pt x="703" y="811"/>
                      </a:lnTo>
                      <a:lnTo>
                        <a:pt x="708" y="812"/>
                      </a:lnTo>
                      <a:lnTo>
                        <a:pt x="713" y="812"/>
                      </a:lnTo>
                      <a:lnTo>
                        <a:pt x="715" y="811"/>
                      </a:lnTo>
                      <a:lnTo>
                        <a:pt x="718" y="810"/>
                      </a:lnTo>
                      <a:lnTo>
                        <a:pt x="722" y="806"/>
                      </a:lnTo>
                      <a:lnTo>
                        <a:pt x="728" y="797"/>
                      </a:lnTo>
                      <a:lnTo>
                        <a:pt x="729" y="795"/>
                      </a:lnTo>
                      <a:lnTo>
                        <a:pt x="732" y="793"/>
                      </a:lnTo>
                      <a:lnTo>
                        <a:pt x="739" y="792"/>
                      </a:lnTo>
                      <a:lnTo>
                        <a:pt x="747" y="793"/>
                      </a:lnTo>
                      <a:lnTo>
                        <a:pt x="755" y="794"/>
                      </a:lnTo>
                      <a:lnTo>
                        <a:pt x="756" y="794"/>
                      </a:lnTo>
                      <a:lnTo>
                        <a:pt x="756" y="795"/>
                      </a:lnTo>
                      <a:lnTo>
                        <a:pt x="756" y="799"/>
                      </a:lnTo>
                      <a:lnTo>
                        <a:pt x="753" y="806"/>
                      </a:lnTo>
                      <a:lnTo>
                        <a:pt x="753" y="808"/>
                      </a:lnTo>
                      <a:lnTo>
                        <a:pt x="753" y="811"/>
                      </a:lnTo>
                      <a:lnTo>
                        <a:pt x="757" y="814"/>
                      </a:lnTo>
                      <a:lnTo>
                        <a:pt x="757" y="816"/>
                      </a:lnTo>
                      <a:lnTo>
                        <a:pt x="752" y="820"/>
                      </a:lnTo>
                      <a:lnTo>
                        <a:pt x="747" y="825"/>
                      </a:lnTo>
                      <a:lnTo>
                        <a:pt x="746" y="827"/>
                      </a:lnTo>
                      <a:lnTo>
                        <a:pt x="744" y="831"/>
                      </a:lnTo>
                      <a:lnTo>
                        <a:pt x="744" y="833"/>
                      </a:lnTo>
                      <a:lnTo>
                        <a:pt x="746" y="837"/>
                      </a:lnTo>
                      <a:lnTo>
                        <a:pt x="746" y="838"/>
                      </a:lnTo>
                      <a:lnTo>
                        <a:pt x="746" y="840"/>
                      </a:lnTo>
                      <a:lnTo>
                        <a:pt x="742" y="844"/>
                      </a:lnTo>
                      <a:lnTo>
                        <a:pt x="739" y="850"/>
                      </a:lnTo>
                      <a:lnTo>
                        <a:pt x="737" y="857"/>
                      </a:lnTo>
                      <a:lnTo>
                        <a:pt x="732" y="863"/>
                      </a:lnTo>
                      <a:lnTo>
                        <a:pt x="729" y="864"/>
                      </a:lnTo>
                      <a:lnTo>
                        <a:pt x="725" y="866"/>
                      </a:lnTo>
                      <a:lnTo>
                        <a:pt x="720" y="868"/>
                      </a:lnTo>
                      <a:lnTo>
                        <a:pt x="715" y="866"/>
                      </a:lnTo>
                      <a:lnTo>
                        <a:pt x="705" y="863"/>
                      </a:lnTo>
                      <a:lnTo>
                        <a:pt x="703" y="863"/>
                      </a:lnTo>
                      <a:lnTo>
                        <a:pt x="700" y="863"/>
                      </a:lnTo>
                      <a:lnTo>
                        <a:pt x="698" y="865"/>
                      </a:lnTo>
                      <a:lnTo>
                        <a:pt x="696" y="866"/>
                      </a:lnTo>
                      <a:lnTo>
                        <a:pt x="695" y="871"/>
                      </a:lnTo>
                      <a:lnTo>
                        <a:pt x="694" y="875"/>
                      </a:lnTo>
                      <a:lnTo>
                        <a:pt x="695" y="883"/>
                      </a:lnTo>
                      <a:lnTo>
                        <a:pt x="696" y="890"/>
                      </a:lnTo>
                      <a:lnTo>
                        <a:pt x="700" y="899"/>
                      </a:lnTo>
                      <a:lnTo>
                        <a:pt x="701" y="902"/>
                      </a:lnTo>
                      <a:lnTo>
                        <a:pt x="701" y="906"/>
                      </a:lnTo>
                      <a:lnTo>
                        <a:pt x="701" y="910"/>
                      </a:lnTo>
                      <a:lnTo>
                        <a:pt x="699" y="914"/>
                      </a:lnTo>
                      <a:lnTo>
                        <a:pt x="695" y="921"/>
                      </a:lnTo>
                      <a:lnTo>
                        <a:pt x="690" y="928"/>
                      </a:lnTo>
                      <a:lnTo>
                        <a:pt x="694" y="925"/>
                      </a:lnTo>
                      <a:lnTo>
                        <a:pt x="698" y="922"/>
                      </a:lnTo>
                      <a:lnTo>
                        <a:pt x="705" y="917"/>
                      </a:lnTo>
                      <a:lnTo>
                        <a:pt x="708" y="917"/>
                      </a:lnTo>
                      <a:lnTo>
                        <a:pt x="709" y="919"/>
                      </a:lnTo>
                      <a:lnTo>
                        <a:pt x="710" y="923"/>
                      </a:lnTo>
                      <a:lnTo>
                        <a:pt x="714" y="927"/>
                      </a:lnTo>
                      <a:lnTo>
                        <a:pt x="719" y="929"/>
                      </a:lnTo>
                      <a:lnTo>
                        <a:pt x="724" y="929"/>
                      </a:lnTo>
                      <a:lnTo>
                        <a:pt x="729" y="929"/>
                      </a:lnTo>
                      <a:lnTo>
                        <a:pt x="734" y="929"/>
                      </a:lnTo>
                      <a:lnTo>
                        <a:pt x="744" y="926"/>
                      </a:lnTo>
                      <a:lnTo>
                        <a:pt x="750" y="922"/>
                      </a:lnTo>
                      <a:lnTo>
                        <a:pt x="753" y="920"/>
                      </a:lnTo>
                      <a:lnTo>
                        <a:pt x="758" y="916"/>
                      </a:lnTo>
                      <a:lnTo>
                        <a:pt x="764" y="915"/>
                      </a:lnTo>
                      <a:lnTo>
                        <a:pt x="766" y="915"/>
                      </a:lnTo>
                      <a:lnTo>
                        <a:pt x="767" y="914"/>
                      </a:lnTo>
                      <a:lnTo>
                        <a:pt x="770" y="910"/>
                      </a:lnTo>
                      <a:lnTo>
                        <a:pt x="790" y="883"/>
                      </a:lnTo>
                      <a:lnTo>
                        <a:pt x="800" y="871"/>
                      </a:lnTo>
                      <a:lnTo>
                        <a:pt x="813" y="858"/>
                      </a:lnTo>
                      <a:lnTo>
                        <a:pt x="817" y="853"/>
                      </a:lnTo>
                      <a:lnTo>
                        <a:pt x="819" y="848"/>
                      </a:lnTo>
                      <a:lnTo>
                        <a:pt x="824" y="837"/>
                      </a:lnTo>
                      <a:lnTo>
                        <a:pt x="828" y="827"/>
                      </a:lnTo>
                      <a:lnTo>
                        <a:pt x="833" y="818"/>
                      </a:lnTo>
                      <a:lnTo>
                        <a:pt x="847" y="802"/>
                      </a:lnTo>
                      <a:lnTo>
                        <a:pt x="849" y="798"/>
                      </a:lnTo>
                      <a:lnTo>
                        <a:pt x="850" y="793"/>
                      </a:lnTo>
                      <a:lnTo>
                        <a:pt x="850" y="788"/>
                      </a:lnTo>
                      <a:lnTo>
                        <a:pt x="852" y="784"/>
                      </a:lnTo>
                      <a:lnTo>
                        <a:pt x="858" y="774"/>
                      </a:lnTo>
                      <a:lnTo>
                        <a:pt x="859" y="768"/>
                      </a:lnTo>
                      <a:lnTo>
                        <a:pt x="860" y="765"/>
                      </a:lnTo>
                      <a:lnTo>
                        <a:pt x="855" y="751"/>
                      </a:lnTo>
                      <a:lnTo>
                        <a:pt x="855" y="744"/>
                      </a:lnTo>
                      <a:lnTo>
                        <a:pt x="856" y="738"/>
                      </a:lnTo>
                      <a:lnTo>
                        <a:pt x="859" y="731"/>
                      </a:lnTo>
                      <a:lnTo>
                        <a:pt x="863" y="725"/>
                      </a:lnTo>
                      <a:lnTo>
                        <a:pt x="866" y="718"/>
                      </a:lnTo>
                      <a:lnTo>
                        <a:pt x="870" y="711"/>
                      </a:lnTo>
                      <a:lnTo>
                        <a:pt x="869" y="706"/>
                      </a:lnTo>
                      <a:lnTo>
                        <a:pt x="868" y="702"/>
                      </a:lnTo>
                      <a:lnTo>
                        <a:pt x="866" y="698"/>
                      </a:lnTo>
                      <a:lnTo>
                        <a:pt x="864" y="693"/>
                      </a:lnTo>
                      <a:lnTo>
                        <a:pt x="864" y="691"/>
                      </a:lnTo>
                      <a:lnTo>
                        <a:pt x="865" y="689"/>
                      </a:lnTo>
                      <a:lnTo>
                        <a:pt x="866" y="684"/>
                      </a:lnTo>
                      <a:lnTo>
                        <a:pt x="868" y="679"/>
                      </a:lnTo>
                      <a:lnTo>
                        <a:pt x="866" y="676"/>
                      </a:lnTo>
                      <a:lnTo>
                        <a:pt x="865" y="671"/>
                      </a:lnTo>
                      <a:lnTo>
                        <a:pt x="863" y="667"/>
                      </a:lnTo>
                      <a:lnTo>
                        <a:pt x="855" y="661"/>
                      </a:lnTo>
                      <a:lnTo>
                        <a:pt x="851" y="659"/>
                      </a:lnTo>
                      <a:lnTo>
                        <a:pt x="847" y="658"/>
                      </a:lnTo>
                      <a:lnTo>
                        <a:pt x="830" y="654"/>
                      </a:lnTo>
                      <a:lnTo>
                        <a:pt x="831" y="654"/>
                      </a:lnTo>
                      <a:lnTo>
                        <a:pt x="827" y="653"/>
                      </a:lnTo>
                      <a:lnTo>
                        <a:pt x="824" y="653"/>
                      </a:lnTo>
                      <a:lnTo>
                        <a:pt x="824" y="654"/>
                      </a:lnTo>
                      <a:lnTo>
                        <a:pt x="824" y="658"/>
                      </a:lnTo>
                      <a:lnTo>
                        <a:pt x="826" y="663"/>
                      </a:lnTo>
                      <a:lnTo>
                        <a:pt x="826" y="666"/>
                      </a:lnTo>
                      <a:lnTo>
                        <a:pt x="824" y="667"/>
                      </a:lnTo>
                      <a:lnTo>
                        <a:pt x="822" y="669"/>
                      </a:lnTo>
                      <a:lnTo>
                        <a:pt x="821" y="669"/>
                      </a:lnTo>
                      <a:lnTo>
                        <a:pt x="819" y="669"/>
                      </a:lnTo>
                      <a:lnTo>
                        <a:pt x="817" y="667"/>
                      </a:lnTo>
                      <a:lnTo>
                        <a:pt x="813" y="669"/>
                      </a:lnTo>
                      <a:lnTo>
                        <a:pt x="809" y="671"/>
                      </a:lnTo>
                      <a:lnTo>
                        <a:pt x="807" y="671"/>
                      </a:lnTo>
                      <a:lnTo>
                        <a:pt x="805" y="671"/>
                      </a:lnTo>
                      <a:lnTo>
                        <a:pt x="805" y="670"/>
                      </a:lnTo>
                      <a:lnTo>
                        <a:pt x="805" y="665"/>
                      </a:lnTo>
                      <a:lnTo>
                        <a:pt x="807" y="659"/>
                      </a:lnTo>
                      <a:lnTo>
                        <a:pt x="809" y="654"/>
                      </a:lnTo>
                      <a:lnTo>
                        <a:pt x="809" y="652"/>
                      </a:lnTo>
                      <a:lnTo>
                        <a:pt x="808" y="650"/>
                      </a:lnTo>
                      <a:lnTo>
                        <a:pt x="805" y="648"/>
                      </a:lnTo>
                      <a:lnTo>
                        <a:pt x="804" y="647"/>
                      </a:lnTo>
                      <a:lnTo>
                        <a:pt x="799" y="650"/>
                      </a:lnTo>
                      <a:lnTo>
                        <a:pt x="797" y="653"/>
                      </a:lnTo>
                      <a:lnTo>
                        <a:pt x="795" y="658"/>
                      </a:lnTo>
                      <a:lnTo>
                        <a:pt x="793" y="661"/>
                      </a:lnTo>
                      <a:lnTo>
                        <a:pt x="791" y="663"/>
                      </a:lnTo>
                      <a:lnTo>
                        <a:pt x="789" y="664"/>
                      </a:lnTo>
                      <a:lnTo>
                        <a:pt x="788" y="664"/>
                      </a:lnTo>
                      <a:lnTo>
                        <a:pt x="788" y="659"/>
                      </a:lnTo>
                      <a:lnTo>
                        <a:pt x="789" y="654"/>
                      </a:lnTo>
                      <a:lnTo>
                        <a:pt x="789" y="651"/>
                      </a:lnTo>
                      <a:lnTo>
                        <a:pt x="788" y="648"/>
                      </a:lnTo>
                      <a:lnTo>
                        <a:pt x="786" y="647"/>
                      </a:lnTo>
                      <a:lnTo>
                        <a:pt x="785" y="647"/>
                      </a:lnTo>
                      <a:lnTo>
                        <a:pt x="783" y="647"/>
                      </a:lnTo>
                      <a:lnTo>
                        <a:pt x="778" y="650"/>
                      </a:lnTo>
                      <a:lnTo>
                        <a:pt x="776" y="650"/>
                      </a:lnTo>
                      <a:lnTo>
                        <a:pt x="774" y="650"/>
                      </a:lnTo>
                      <a:lnTo>
                        <a:pt x="771" y="646"/>
                      </a:lnTo>
                      <a:lnTo>
                        <a:pt x="770" y="642"/>
                      </a:lnTo>
                      <a:lnTo>
                        <a:pt x="771" y="639"/>
                      </a:lnTo>
                      <a:lnTo>
                        <a:pt x="781" y="626"/>
                      </a:lnTo>
                      <a:lnTo>
                        <a:pt x="793" y="615"/>
                      </a:lnTo>
                      <a:lnTo>
                        <a:pt x="817" y="595"/>
                      </a:lnTo>
                      <a:lnTo>
                        <a:pt x="828" y="583"/>
                      </a:lnTo>
                      <a:lnTo>
                        <a:pt x="833" y="578"/>
                      </a:lnTo>
                      <a:lnTo>
                        <a:pt x="840" y="572"/>
                      </a:lnTo>
                      <a:lnTo>
                        <a:pt x="842" y="572"/>
                      </a:lnTo>
                      <a:lnTo>
                        <a:pt x="844" y="572"/>
                      </a:lnTo>
                      <a:lnTo>
                        <a:pt x="844" y="571"/>
                      </a:lnTo>
                      <a:lnTo>
                        <a:pt x="846" y="569"/>
                      </a:lnTo>
                      <a:lnTo>
                        <a:pt x="850" y="568"/>
                      </a:lnTo>
                      <a:lnTo>
                        <a:pt x="855" y="564"/>
                      </a:lnTo>
                      <a:lnTo>
                        <a:pt x="863" y="555"/>
                      </a:lnTo>
                      <a:lnTo>
                        <a:pt x="869" y="543"/>
                      </a:lnTo>
                      <a:lnTo>
                        <a:pt x="874" y="539"/>
                      </a:lnTo>
                      <a:lnTo>
                        <a:pt x="878" y="535"/>
                      </a:lnTo>
                      <a:lnTo>
                        <a:pt x="883" y="530"/>
                      </a:lnTo>
                      <a:lnTo>
                        <a:pt x="888" y="526"/>
                      </a:lnTo>
                      <a:lnTo>
                        <a:pt x="892" y="525"/>
                      </a:lnTo>
                      <a:lnTo>
                        <a:pt x="896" y="524"/>
                      </a:lnTo>
                      <a:lnTo>
                        <a:pt x="944" y="524"/>
                      </a:lnTo>
                      <a:lnTo>
                        <a:pt x="945" y="524"/>
                      </a:lnTo>
                      <a:lnTo>
                        <a:pt x="946" y="526"/>
                      </a:lnTo>
                      <a:lnTo>
                        <a:pt x="950" y="531"/>
                      </a:lnTo>
                      <a:lnTo>
                        <a:pt x="951" y="531"/>
                      </a:lnTo>
                      <a:lnTo>
                        <a:pt x="953" y="531"/>
                      </a:lnTo>
                      <a:lnTo>
                        <a:pt x="959" y="529"/>
                      </a:lnTo>
                      <a:lnTo>
                        <a:pt x="973" y="529"/>
                      </a:lnTo>
                      <a:lnTo>
                        <a:pt x="987" y="530"/>
                      </a:lnTo>
                      <a:lnTo>
                        <a:pt x="992" y="530"/>
                      </a:lnTo>
                      <a:lnTo>
                        <a:pt x="996" y="532"/>
                      </a:lnTo>
                      <a:lnTo>
                        <a:pt x="1001" y="532"/>
                      </a:lnTo>
                      <a:lnTo>
                        <a:pt x="1005" y="532"/>
                      </a:lnTo>
                      <a:lnTo>
                        <a:pt x="1007" y="531"/>
                      </a:lnTo>
                      <a:lnTo>
                        <a:pt x="1004" y="529"/>
                      </a:lnTo>
                      <a:lnTo>
                        <a:pt x="1001" y="527"/>
                      </a:lnTo>
                      <a:lnTo>
                        <a:pt x="1001" y="525"/>
                      </a:lnTo>
                      <a:lnTo>
                        <a:pt x="1002" y="524"/>
                      </a:lnTo>
                      <a:lnTo>
                        <a:pt x="1005" y="524"/>
                      </a:lnTo>
                      <a:lnTo>
                        <a:pt x="1007" y="523"/>
                      </a:lnTo>
                      <a:lnTo>
                        <a:pt x="1009" y="521"/>
                      </a:lnTo>
                      <a:lnTo>
                        <a:pt x="1009" y="519"/>
                      </a:lnTo>
                      <a:lnTo>
                        <a:pt x="1007" y="517"/>
                      </a:lnTo>
                      <a:lnTo>
                        <a:pt x="1004" y="512"/>
                      </a:lnTo>
                      <a:lnTo>
                        <a:pt x="1004" y="510"/>
                      </a:lnTo>
                      <a:lnTo>
                        <a:pt x="1005" y="508"/>
                      </a:lnTo>
                      <a:lnTo>
                        <a:pt x="1007" y="508"/>
                      </a:lnTo>
                      <a:lnTo>
                        <a:pt x="1010" y="508"/>
                      </a:lnTo>
                      <a:lnTo>
                        <a:pt x="1016" y="513"/>
                      </a:lnTo>
                      <a:lnTo>
                        <a:pt x="1024" y="517"/>
                      </a:lnTo>
                      <a:lnTo>
                        <a:pt x="1028" y="518"/>
                      </a:lnTo>
                      <a:lnTo>
                        <a:pt x="1031" y="519"/>
                      </a:lnTo>
                      <a:lnTo>
                        <a:pt x="1035" y="518"/>
                      </a:lnTo>
                      <a:lnTo>
                        <a:pt x="1039" y="516"/>
                      </a:lnTo>
                      <a:lnTo>
                        <a:pt x="1040" y="516"/>
                      </a:lnTo>
                      <a:lnTo>
                        <a:pt x="1043" y="517"/>
                      </a:lnTo>
                      <a:lnTo>
                        <a:pt x="1045" y="519"/>
                      </a:lnTo>
                      <a:lnTo>
                        <a:pt x="1047" y="521"/>
                      </a:lnTo>
                      <a:lnTo>
                        <a:pt x="1049" y="525"/>
                      </a:lnTo>
                      <a:lnTo>
                        <a:pt x="1052" y="527"/>
                      </a:lnTo>
                      <a:lnTo>
                        <a:pt x="1053" y="529"/>
                      </a:lnTo>
                      <a:lnTo>
                        <a:pt x="1053" y="530"/>
                      </a:lnTo>
                      <a:lnTo>
                        <a:pt x="1049" y="532"/>
                      </a:lnTo>
                      <a:lnTo>
                        <a:pt x="1044" y="535"/>
                      </a:lnTo>
                      <a:lnTo>
                        <a:pt x="1040" y="536"/>
                      </a:lnTo>
                      <a:lnTo>
                        <a:pt x="1037" y="539"/>
                      </a:lnTo>
                      <a:lnTo>
                        <a:pt x="1035" y="542"/>
                      </a:lnTo>
                      <a:lnTo>
                        <a:pt x="1037" y="544"/>
                      </a:lnTo>
                      <a:lnTo>
                        <a:pt x="1039" y="545"/>
                      </a:lnTo>
                      <a:lnTo>
                        <a:pt x="1042" y="545"/>
                      </a:lnTo>
                      <a:lnTo>
                        <a:pt x="1052" y="543"/>
                      </a:lnTo>
                      <a:lnTo>
                        <a:pt x="1061" y="543"/>
                      </a:lnTo>
                      <a:lnTo>
                        <a:pt x="1066" y="542"/>
                      </a:lnTo>
                      <a:lnTo>
                        <a:pt x="1070" y="542"/>
                      </a:lnTo>
                      <a:lnTo>
                        <a:pt x="1073" y="539"/>
                      </a:lnTo>
                      <a:lnTo>
                        <a:pt x="1077" y="537"/>
                      </a:lnTo>
                      <a:lnTo>
                        <a:pt x="1080" y="536"/>
                      </a:lnTo>
                      <a:lnTo>
                        <a:pt x="1081" y="537"/>
                      </a:lnTo>
                      <a:lnTo>
                        <a:pt x="1084" y="538"/>
                      </a:lnTo>
                      <a:lnTo>
                        <a:pt x="1085" y="538"/>
                      </a:lnTo>
                      <a:lnTo>
                        <a:pt x="1087" y="536"/>
                      </a:lnTo>
                      <a:lnTo>
                        <a:pt x="1090" y="533"/>
                      </a:lnTo>
                      <a:lnTo>
                        <a:pt x="1091" y="533"/>
                      </a:lnTo>
                      <a:lnTo>
                        <a:pt x="1094" y="533"/>
                      </a:lnTo>
                      <a:lnTo>
                        <a:pt x="1095" y="535"/>
                      </a:lnTo>
                      <a:lnTo>
                        <a:pt x="1099" y="536"/>
                      </a:lnTo>
                      <a:lnTo>
                        <a:pt x="1103" y="535"/>
                      </a:lnTo>
                      <a:lnTo>
                        <a:pt x="1109" y="531"/>
                      </a:lnTo>
                      <a:lnTo>
                        <a:pt x="1109" y="530"/>
                      </a:lnTo>
                      <a:lnTo>
                        <a:pt x="1099" y="524"/>
                      </a:lnTo>
                      <a:lnTo>
                        <a:pt x="1095" y="521"/>
                      </a:lnTo>
                      <a:lnTo>
                        <a:pt x="1091" y="518"/>
                      </a:lnTo>
                      <a:lnTo>
                        <a:pt x="1091" y="514"/>
                      </a:lnTo>
                      <a:lnTo>
                        <a:pt x="1092" y="511"/>
                      </a:lnTo>
                      <a:lnTo>
                        <a:pt x="1095" y="510"/>
                      </a:lnTo>
                      <a:lnTo>
                        <a:pt x="1099" y="507"/>
                      </a:lnTo>
                      <a:lnTo>
                        <a:pt x="1108" y="505"/>
                      </a:lnTo>
                      <a:lnTo>
                        <a:pt x="1115" y="503"/>
                      </a:lnTo>
                      <a:lnTo>
                        <a:pt x="1125" y="495"/>
                      </a:lnTo>
                      <a:lnTo>
                        <a:pt x="1129" y="492"/>
                      </a:lnTo>
                      <a:lnTo>
                        <a:pt x="1134" y="487"/>
                      </a:lnTo>
                      <a:lnTo>
                        <a:pt x="1138" y="482"/>
                      </a:lnTo>
                      <a:lnTo>
                        <a:pt x="1141" y="479"/>
                      </a:lnTo>
                      <a:lnTo>
                        <a:pt x="1146" y="472"/>
                      </a:lnTo>
                      <a:lnTo>
                        <a:pt x="1152" y="467"/>
                      </a:lnTo>
                      <a:lnTo>
                        <a:pt x="1158" y="463"/>
                      </a:lnTo>
                      <a:lnTo>
                        <a:pt x="1162" y="462"/>
                      </a:lnTo>
                      <a:lnTo>
                        <a:pt x="1166" y="461"/>
                      </a:lnTo>
                      <a:lnTo>
                        <a:pt x="1170" y="462"/>
                      </a:lnTo>
                      <a:lnTo>
                        <a:pt x="1174" y="462"/>
                      </a:lnTo>
                      <a:lnTo>
                        <a:pt x="1178" y="465"/>
                      </a:lnTo>
                      <a:lnTo>
                        <a:pt x="1180" y="466"/>
                      </a:lnTo>
                      <a:lnTo>
                        <a:pt x="1183" y="466"/>
                      </a:lnTo>
                      <a:lnTo>
                        <a:pt x="1186" y="463"/>
                      </a:lnTo>
                      <a:lnTo>
                        <a:pt x="1190" y="461"/>
                      </a:lnTo>
                      <a:lnTo>
                        <a:pt x="1195" y="456"/>
                      </a:lnTo>
                      <a:lnTo>
                        <a:pt x="1200" y="450"/>
                      </a:lnTo>
                      <a:lnTo>
                        <a:pt x="1204" y="446"/>
                      </a:lnTo>
                      <a:lnTo>
                        <a:pt x="1208" y="444"/>
                      </a:lnTo>
                      <a:lnTo>
                        <a:pt x="1211" y="443"/>
                      </a:lnTo>
                      <a:lnTo>
                        <a:pt x="1208" y="452"/>
                      </a:lnTo>
                      <a:lnTo>
                        <a:pt x="1204" y="460"/>
                      </a:lnTo>
                      <a:lnTo>
                        <a:pt x="1204" y="465"/>
                      </a:lnTo>
                      <a:lnTo>
                        <a:pt x="1203" y="468"/>
                      </a:lnTo>
                      <a:lnTo>
                        <a:pt x="1203" y="471"/>
                      </a:lnTo>
                      <a:lnTo>
                        <a:pt x="1200" y="473"/>
                      </a:lnTo>
                      <a:lnTo>
                        <a:pt x="1198" y="474"/>
                      </a:lnTo>
                      <a:lnTo>
                        <a:pt x="1193" y="479"/>
                      </a:lnTo>
                      <a:lnTo>
                        <a:pt x="1193" y="480"/>
                      </a:lnTo>
                      <a:lnTo>
                        <a:pt x="1193" y="482"/>
                      </a:lnTo>
                      <a:lnTo>
                        <a:pt x="1194" y="485"/>
                      </a:lnTo>
                      <a:lnTo>
                        <a:pt x="1198" y="487"/>
                      </a:lnTo>
                      <a:lnTo>
                        <a:pt x="1199" y="489"/>
                      </a:lnTo>
                      <a:lnTo>
                        <a:pt x="1202" y="492"/>
                      </a:lnTo>
                      <a:lnTo>
                        <a:pt x="1204" y="493"/>
                      </a:lnTo>
                      <a:lnTo>
                        <a:pt x="1208" y="493"/>
                      </a:lnTo>
                      <a:lnTo>
                        <a:pt x="1211" y="491"/>
                      </a:lnTo>
                      <a:lnTo>
                        <a:pt x="1213" y="487"/>
                      </a:lnTo>
                      <a:lnTo>
                        <a:pt x="1216" y="482"/>
                      </a:lnTo>
                      <a:lnTo>
                        <a:pt x="1217" y="476"/>
                      </a:lnTo>
                      <a:lnTo>
                        <a:pt x="1219" y="472"/>
                      </a:lnTo>
                      <a:lnTo>
                        <a:pt x="1222" y="471"/>
                      </a:lnTo>
                      <a:lnTo>
                        <a:pt x="1223" y="471"/>
                      </a:lnTo>
                      <a:lnTo>
                        <a:pt x="1226" y="469"/>
                      </a:lnTo>
                      <a:lnTo>
                        <a:pt x="1227" y="469"/>
                      </a:lnTo>
                      <a:lnTo>
                        <a:pt x="1230" y="465"/>
                      </a:lnTo>
                      <a:lnTo>
                        <a:pt x="1231" y="460"/>
                      </a:lnTo>
                      <a:lnTo>
                        <a:pt x="1232" y="456"/>
                      </a:lnTo>
                      <a:lnTo>
                        <a:pt x="1233" y="454"/>
                      </a:lnTo>
                      <a:lnTo>
                        <a:pt x="1235" y="453"/>
                      </a:lnTo>
                      <a:lnTo>
                        <a:pt x="1242" y="449"/>
                      </a:lnTo>
                      <a:lnTo>
                        <a:pt x="1250" y="448"/>
                      </a:lnTo>
                      <a:lnTo>
                        <a:pt x="1252" y="448"/>
                      </a:lnTo>
                      <a:lnTo>
                        <a:pt x="1254" y="449"/>
                      </a:lnTo>
                      <a:lnTo>
                        <a:pt x="1254" y="450"/>
                      </a:lnTo>
                      <a:lnTo>
                        <a:pt x="1250" y="454"/>
                      </a:lnTo>
                      <a:lnTo>
                        <a:pt x="1247" y="459"/>
                      </a:lnTo>
                      <a:lnTo>
                        <a:pt x="1242" y="467"/>
                      </a:lnTo>
                      <a:lnTo>
                        <a:pt x="1240" y="471"/>
                      </a:lnTo>
                      <a:lnTo>
                        <a:pt x="1240" y="473"/>
                      </a:lnTo>
                      <a:lnTo>
                        <a:pt x="1242" y="478"/>
                      </a:lnTo>
                      <a:lnTo>
                        <a:pt x="1244" y="480"/>
                      </a:lnTo>
                      <a:lnTo>
                        <a:pt x="1245" y="482"/>
                      </a:lnTo>
                      <a:lnTo>
                        <a:pt x="1244" y="485"/>
                      </a:lnTo>
                      <a:lnTo>
                        <a:pt x="1240" y="488"/>
                      </a:lnTo>
                      <a:lnTo>
                        <a:pt x="1236" y="491"/>
                      </a:lnTo>
                      <a:lnTo>
                        <a:pt x="1231" y="493"/>
                      </a:lnTo>
                      <a:lnTo>
                        <a:pt x="1227" y="497"/>
                      </a:lnTo>
                      <a:lnTo>
                        <a:pt x="1218" y="505"/>
                      </a:lnTo>
                      <a:lnTo>
                        <a:pt x="1208" y="512"/>
                      </a:lnTo>
                      <a:lnTo>
                        <a:pt x="1198" y="519"/>
                      </a:lnTo>
                      <a:lnTo>
                        <a:pt x="1188" y="526"/>
                      </a:lnTo>
                      <a:lnTo>
                        <a:pt x="1185" y="531"/>
                      </a:lnTo>
                      <a:lnTo>
                        <a:pt x="1184" y="536"/>
                      </a:lnTo>
                      <a:lnTo>
                        <a:pt x="1183" y="542"/>
                      </a:lnTo>
                      <a:lnTo>
                        <a:pt x="1183" y="543"/>
                      </a:lnTo>
                      <a:lnTo>
                        <a:pt x="1180" y="544"/>
                      </a:lnTo>
                      <a:lnTo>
                        <a:pt x="1178" y="545"/>
                      </a:lnTo>
                      <a:lnTo>
                        <a:pt x="1175" y="548"/>
                      </a:lnTo>
                      <a:lnTo>
                        <a:pt x="1172" y="551"/>
                      </a:lnTo>
                      <a:lnTo>
                        <a:pt x="1171" y="556"/>
                      </a:lnTo>
                      <a:lnTo>
                        <a:pt x="1170" y="557"/>
                      </a:lnTo>
                      <a:lnTo>
                        <a:pt x="1167" y="558"/>
                      </a:lnTo>
                      <a:lnTo>
                        <a:pt x="1152" y="561"/>
                      </a:lnTo>
                      <a:lnTo>
                        <a:pt x="1144" y="563"/>
                      </a:lnTo>
                      <a:lnTo>
                        <a:pt x="1141" y="564"/>
                      </a:lnTo>
                      <a:lnTo>
                        <a:pt x="1137" y="568"/>
                      </a:lnTo>
                      <a:lnTo>
                        <a:pt x="1131" y="575"/>
                      </a:lnTo>
                      <a:lnTo>
                        <a:pt x="1128" y="577"/>
                      </a:lnTo>
                      <a:lnTo>
                        <a:pt x="1124" y="578"/>
                      </a:lnTo>
                      <a:lnTo>
                        <a:pt x="1123" y="581"/>
                      </a:lnTo>
                      <a:lnTo>
                        <a:pt x="1122" y="587"/>
                      </a:lnTo>
                      <a:lnTo>
                        <a:pt x="1120" y="594"/>
                      </a:lnTo>
                      <a:lnTo>
                        <a:pt x="1118" y="599"/>
                      </a:lnTo>
                      <a:lnTo>
                        <a:pt x="1117" y="602"/>
                      </a:lnTo>
                      <a:lnTo>
                        <a:pt x="1117" y="606"/>
                      </a:lnTo>
                      <a:lnTo>
                        <a:pt x="1117" y="610"/>
                      </a:lnTo>
                      <a:lnTo>
                        <a:pt x="1117" y="614"/>
                      </a:lnTo>
                      <a:lnTo>
                        <a:pt x="1113" y="621"/>
                      </a:lnTo>
                      <a:lnTo>
                        <a:pt x="1111" y="626"/>
                      </a:lnTo>
                      <a:lnTo>
                        <a:pt x="1111" y="629"/>
                      </a:lnTo>
                      <a:lnTo>
                        <a:pt x="1119" y="648"/>
                      </a:lnTo>
                      <a:lnTo>
                        <a:pt x="1124" y="667"/>
                      </a:lnTo>
                      <a:lnTo>
                        <a:pt x="1128" y="686"/>
                      </a:lnTo>
                      <a:lnTo>
                        <a:pt x="1131" y="706"/>
                      </a:lnTo>
                      <a:lnTo>
                        <a:pt x="1132" y="709"/>
                      </a:lnTo>
                      <a:lnTo>
                        <a:pt x="1133" y="716"/>
                      </a:lnTo>
                      <a:lnTo>
                        <a:pt x="1136" y="722"/>
                      </a:lnTo>
                      <a:lnTo>
                        <a:pt x="1142" y="734"/>
                      </a:lnTo>
                      <a:lnTo>
                        <a:pt x="1143" y="734"/>
                      </a:lnTo>
                      <a:lnTo>
                        <a:pt x="1144" y="734"/>
                      </a:lnTo>
                      <a:lnTo>
                        <a:pt x="1148" y="733"/>
                      </a:lnTo>
                      <a:lnTo>
                        <a:pt x="1155" y="724"/>
                      </a:lnTo>
                      <a:lnTo>
                        <a:pt x="1160" y="717"/>
                      </a:lnTo>
                      <a:lnTo>
                        <a:pt x="1166" y="709"/>
                      </a:lnTo>
                      <a:lnTo>
                        <a:pt x="1172" y="702"/>
                      </a:lnTo>
                      <a:lnTo>
                        <a:pt x="1175" y="699"/>
                      </a:lnTo>
                      <a:lnTo>
                        <a:pt x="1175" y="696"/>
                      </a:lnTo>
                      <a:lnTo>
                        <a:pt x="1172" y="689"/>
                      </a:lnTo>
                      <a:lnTo>
                        <a:pt x="1172" y="685"/>
                      </a:lnTo>
                      <a:lnTo>
                        <a:pt x="1174" y="683"/>
                      </a:lnTo>
                      <a:lnTo>
                        <a:pt x="1180" y="679"/>
                      </a:lnTo>
                      <a:lnTo>
                        <a:pt x="1183" y="678"/>
                      </a:lnTo>
                      <a:lnTo>
                        <a:pt x="1184" y="678"/>
                      </a:lnTo>
                      <a:lnTo>
                        <a:pt x="1188" y="679"/>
                      </a:lnTo>
                      <a:lnTo>
                        <a:pt x="1194" y="680"/>
                      </a:lnTo>
                      <a:lnTo>
                        <a:pt x="1197" y="680"/>
                      </a:lnTo>
                      <a:lnTo>
                        <a:pt x="1199" y="679"/>
                      </a:lnTo>
                      <a:lnTo>
                        <a:pt x="1199" y="678"/>
                      </a:lnTo>
                      <a:lnTo>
                        <a:pt x="1200" y="677"/>
                      </a:lnTo>
                      <a:lnTo>
                        <a:pt x="1199" y="672"/>
                      </a:lnTo>
                      <a:lnTo>
                        <a:pt x="1198" y="669"/>
                      </a:lnTo>
                      <a:lnTo>
                        <a:pt x="1197" y="665"/>
                      </a:lnTo>
                      <a:lnTo>
                        <a:pt x="1197" y="660"/>
                      </a:lnTo>
                      <a:lnTo>
                        <a:pt x="1199" y="658"/>
                      </a:lnTo>
                      <a:lnTo>
                        <a:pt x="1202" y="655"/>
                      </a:lnTo>
                      <a:lnTo>
                        <a:pt x="1207" y="654"/>
                      </a:lnTo>
                      <a:lnTo>
                        <a:pt x="1216" y="651"/>
                      </a:lnTo>
                      <a:lnTo>
                        <a:pt x="1219" y="650"/>
                      </a:lnTo>
                      <a:lnTo>
                        <a:pt x="1223" y="647"/>
                      </a:lnTo>
                      <a:lnTo>
                        <a:pt x="1224" y="645"/>
                      </a:lnTo>
                      <a:lnTo>
                        <a:pt x="1226" y="642"/>
                      </a:lnTo>
                      <a:lnTo>
                        <a:pt x="1224" y="638"/>
                      </a:lnTo>
                      <a:lnTo>
                        <a:pt x="1222" y="633"/>
                      </a:lnTo>
                      <a:lnTo>
                        <a:pt x="1219" y="627"/>
                      </a:lnTo>
                      <a:lnTo>
                        <a:pt x="1218" y="625"/>
                      </a:lnTo>
                      <a:lnTo>
                        <a:pt x="1219" y="621"/>
                      </a:lnTo>
                      <a:lnTo>
                        <a:pt x="1224" y="614"/>
                      </a:lnTo>
                      <a:lnTo>
                        <a:pt x="1233" y="604"/>
                      </a:lnTo>
                      <a:lnTo>
                        <a:pt x="1236" y="603"/>
                      </a:lnTo>
                      <a:lnTo>
                        <a:pt x="1237" y="602"/>
                      </a:lnTo>
                      <a:lnTo>
                        <a:pt x="1240" y="602"/>
                      </a:lnTo>
                      <a:lnTo>
                        <a:pt x="1242" y="603"/>
                      </a:lnTo>
                      <a:lnTo>
                        <a:pt x="1244" y="604"/>
                      </a:lnTo>
                      <a:lnTo>
                        <a:pt x="1245" y="604"/>
                      </a:lnTo>
                      <a:lnTo>
                        <a:pt x="1247" y="602"/>
                      </a:lnTo>
                      <a:lnTo>
                        <a:pt x="1250" y="600"/>
                      </a:lnTo>
                      <a:lnTo>
                        <a:pt x="1251" y="596"/>
                      </a:lnTo>
                      <a:lnTo>
                        <a:pt x="1251" y="594"/>
                      </a:lnTo>
                      <a:lnTo>
                        <a:pt x="1250" y="593"/>
                      </a:lnTo>
                      <a:lnTo>
                        <a:pt x="1246" y="591"/>
                      </a:lnTo>
                      <a:lnTo>
                        <a:pt x="1242" y="590"/>
                      </a:lnTo>
                      <a:lnTo>
                        <a:pt x="1241" y="589"/>
                      </a:lnTo>
                      <a:lnTo>
                        <a:pt x="1240" y="588"/>
                      </a:lnTo>
                      <a:lnTo>
                        <a:pt x="1237" y="582"/>
                      </a:lnTo>
                      <a:lnTo>
                        <a:pt x="1236" y="580"/>
                      </a:lnTo>
                      <a:lnTo>
                        <a:pt x="1236" y="576"/>
                      </a:lnTo>
                      <a:lnTo>
                        <a:pt x="1237" y="574"/>
                      </a:lnTo>
                      <a:lnTo>
                        <a:pt x="1240" y="572"/>
                      </a:lnTo>
                      <a:lnTo>
                        <a:pt x="1246" y="572"/>
                      </a:lnTo>
                      <a:lnTo>
                        <a:pt x="1247" y="571"/>
                      </a:lnTo>
                      <a:lnTo>
                        <a:pt x="1247" y="569"/>
                      </a:lnTo>
                      <a:lnTo>
                        <a:pt x="1247" y="568"/>
                      </a:lnTo>
                      <a:lnTo>
                        <a:pt x="1246" y="567"/>
                      </a:lnTo>
                      <a:lnTo>
                        <a:pt x="1240" y="563"/>
                      </a:lnTo>
                      <a:lnTo>
                        <a:pt x="1237" y="562"/>
                      </a:lnTo>
                      <a:lnTo>
                        <a:pt x="1235" y="559"/>
                      </a:lnTo>
                      <a:lnTo>
                        <a:pt x="1235" y="557"/>
                      </a:lnTo>
                      <a:lnTo>
                        <a:pt x="1236" y="555"/>
                      </a:lnTo>
                      <a:lnTo>
                        <a:pt x="1238" y="551"/>
                      </a:lnTo>
                      <a:lnTo>
                        <a:pt x="1240" y="549"/>
                      </a:lnTo>
                      <a:lnTo>
                        <a:pt x="1238" y="546"/>
                      </a:lnTo>
                      <a:lnTo>
                        <a:pt x="1235" y="545"/>
                      </a:lnTo>
                      <a:lnTo>
                        <a:pt x="1235" y="544"/>
                      </a:lnTo>
                      <a:lnTo>
                        <a:pt x="1235" y="542"/>
                      </a:lnTo>
                      <a:lnTo>
                        <a:pt x="1236" y="537"/>
                      </a:lnTo>
                      <a:lnTo>
                        <a:pt x="1240" y="532"/>
                      </a:lnTo>
                      <a:lnTo>
                        <a:pt x="1244" y="529"/>
                      </a:lnTo>
                      <a:lnTo>
                        <a:pt x="1249" y="525"/>
                      </a:lnTo>
                      <a:lnTo>
                        <a:pt x="1250" y="524"/>
                      </a:lnTo>
                      <a:lnTo>
                        <a:pt x="1250" y="521"/>
                      </a:lnTo>
                      <a:lnTo>
                        <a:pt x="1251" y="519"/>
                      </a:lnTo>
                      <a:lnTo>
                        <a:pt x="1252" y="517"/>
                      </a:lnTo>
                      <a:lnTo>
                        <a:pt x="1263" y="510"/>
                      </a:lnTo>
                      <a:lnTo>
                        <a:pt x="1268" y="508"/>
                      </a:lnTo>
                      <a:lnTo>
                        <a:pt x="1273" y="508"/>
                      </a:lnTo>
                      <a:lnTo>
                        <a:pt x="1279" y="511"/>
                      </a:lnTo>
                      <a:lnTo>
                        <a:pt x="1282" y="510"/>
                      </a:lnTo>
                      <a:lnTo>
                        <a:pt x="1283" y="508"/>
                      </a:lnTo>
                      <a:lnTo>
                        <a:pt x="1287" y="503"/>
                      </a:lnTo>
                      <a:lnTo>
                        <a:pt x="1289" y="497"/>
                      </a:lnTo>
                      <a:lnTo>
                        <a:pt x="1292" y="491"/>
                      </a:lnTo>
                      <a:lnTo>
                        <a:pt x="1293" y="491"/>
                      </a:lnTo>
                      <a:lnTo>
                        <a:pt x="1294" y="491"/>
                      </a:lnTo>
                      <a:lnTo>
                        <a:pt x="1296" y="495"/>
                      </a:lnTo>
                      <a:lnTo>
                        <a:pt x="1296" y="500"/>
                      </a:lnTo>
                      <a:lnTo>
                        <a:pt x="1294" y="505"/>
                      </a:lnTo>
                      <a:lnTo>
                        <a:pt x="1293" y="508"/>
                      </a:lnTo>
                      <a:lnTo>
                        <a:pt x="1294" y="511"/>
                      </a:lnTo>
                      <a:lnTo>
                        <a:pt x="1297" y="510"/>
                      </a:lnTo>
                      <a:lnTo>
                        <a:pt x="1299" y="510"/>
                      </a:lnTo>
                      <a:lnTo>
                        <a:pt x="1301" y="507"/>
                      </a:lnTo>
                      <a:lnTo>
                        <a:pt x="1303" y="505"/>
                      </a:lnTo>
                      <a:lnTo>
                        <a:pt x="1306" y="503"/>
                      </a:lnTo>
                      <a:lnTo>
                        <a:pt x="1311" y="500"/>
                      </a:lnTo>
                      <a:lnTo>
                        <a:pt x="1316" y="498"/>
                      </a:lnTo>
                      <a:lnTo>
                        <a:pt x="1326" y="492"/>
                      </a:lnTo>
                      <a:lnTo>
                        <a:pt x="1330" y="489"/>
                      </a:lnTo>
                      <a:lnTo>
                        <a:pt x="1334" y="488"/>
                      </a:lnTo>
                      <a:lnTo>
                        <a:pt x="1341" y="489"/>
                      </a:lnTo>
                      <a:lnTo>
                        <a:pt x="1349" y="492"/>
                      </a:lnTo>
                      <a:lnTo>
                        <a:pt x="1357" y="497"/>
                      </a:lnTo>
                      <a:lnTo>
                        <a:pt x="1359" y="497"/>
                      </a:lnTo>
                      <a:lnTo>
                        <a:pt x="1363" y="497"/>
                      </a:lnTo>
                      <a:lnTo>
                        <a:pt x="1364" y="499"/>
                      </a:lnTo>
                      <a:lnTo>
                        <a:pt x="1365" y="500"/>
                      </a:lnTo>
                      <a:lnTo>
                        <a:pt x="1367" y="503"/>
                      </a:lnTo>
                      <a:lnTo>
                        <a:pt x="1368" y="505"/>
                      </a:lnTo>
                      <a:lnTo>
                        <a:pt x="1368" y="506"/>
                      </a:lnTo>
                      <a:lnTo>
                        <a:pt x="1369" y="506"/>
                      </a:lnTo>
                      <a:lnTo>
                        <a:pt x="1372" y="504"/>
                      </a:lnTo>
                      <a:lnTo>
                        <a:pt x="1373" y="501"/>
                      </a:lnTo>
                      <a:lnTo>
                        <a:pt x="1376" y="497"/>
                      </a:lnTo>
                      <a:lnTo>
                        <a:pt x="1382" y="489"/>
                      </a:lnTo>
                      <a:lnTo>
                        <a:pt x="1387" y="485"/>
                      </a:lnTo>
                      <a:lnTo>
                        <a:pt x="1391" y="482"/>
                      </a:lnTo>
                      <a:lnTo>
                        <a:pt x="1400" y="478"/>
                      </a:lnTo>
                      <a:lnTo>
                        <a:pt x="1409" y="474"/>
                      </a:lnTo>
                      <a:lnTo>
                        <a:pt x="1418" y="467"/>
                      </a:lnTo>
                      <a:lnTo>
                        <a:pt x="1423" y="465"/>
                      </a:lnTo>
                      <a:lnTo>
                        <a:pt x="1428" y="463"/>
                      </a:lnTo>
                      <a:lnTo>
                        <a:pt x="1434" y="461"/>
                      </a:lnTo>
                      <a:lnTo>
                        <a:pt x="1439" y="459"/>
                      </a:lnTo>
                      <a:lnTo>
                        <a:pt x="1445" y="455"/>
                      </a:lnTo>
                      <a:lnTo>
                        <a:pt x="1451" y="453"/>
                      </a:lnTo>
                      <a:lnTo>
                        <a:pt x="1456" y="449"/>
                      </a:lnTo>
                      <a:lnTo>
                        <a:pt x="1461" y="447"/>
                      </a:lnTo>
                      <a:lnTo>
                        <a:pt x="1466" y="444"/>
                      </a:lnTo>
                      <a:lnTo>
                        <a:pt x="1471" y="443"/>
                      </a:lnTo>
                      <a:lnTo>
                        <a:pt x="1480" y="442"/>
                      </a:lnTo>
                      <a:lnTo>
                        <a:pt x="1490" y="440"/>
                      </a:lnTo>
                      <a:lnTo>
                        <a:pt x="1501" y="439"/>
                      </a:lnTo>
                      <a:lnTo>
                        <a:pt x="1508" y="440"/>
                      </a:lnTo>
                      <a:lnTo>
                        <a:pt x="1514" y="441"/>
                      </a:lnTo>
                      <a:lnTo>
                        <a:pt x="1517" y="442"/>
                      </a:lnTo>
                      <a:lnTo>
                        <a:pt x="1520" y="442"/>
                      </a:lnTo>
                      <a:lnTo>
                        <a:pt x="1524" y="441"/>
                      </a:lnTo>
                      <a:lnTo>
                        <a:pt x="1527" y="440"/>
                      </a:lnTo>
                      <a:lnTo>
                        <a:pt x="1528" y="436"/>
                      </a:lnTo>
                      <a:lnTo>
                        <a:pt x="1529" y="431"/>
                      </a:lnTo>
                      <a:lnTo>
                        <a:pt x="1529" y="428"/>
                      </a:lnTo>
                      <a:lnTo>
                        <a:pt x="1528" y="425"/>
                      </a:lnTo>
                      <a:lnTo>
                        <a:pt x="1524" y="422"/>
                      </a:lnTo>
                      <a:lnTo>
                        <a:pt x="1520" y="418"/>
                      </a:lnTo>
                      <a:lnTo>
                        <a:pt x="1515" y="409"/>
                      </a:lnTo>
                      <a:lnTo>
                        <a:pt x="1509" y="391"/>
                      </a:lnTo>
                      <a:lnTo>
                        <a:pt x="1505" y="389"/>
                      </a:lnTo>
                      <a:lnTo>
                        <a:pt x="1503" y="388"/>
                      </a:lnTo>
                      <a:lnTo>
                        <a:pt x="1495" y="388"/>
                      </a:lnTo>
                      <a:lnTo>
                        <a:pt x="1490" y="385"/>
                      </a:lnTo>
                      <a:lnTo>
                        <a:pt x="1478" y="378"/>
                      </a:lnTo>
                      <a:lnTo>
                        <a:pt x="1477" y="377"/>
                      </a:lnTo>
                      <a:lnTo>
                        <a:pt x="1478" y="376"/>
                      </a:lnTo>
                      <a:lnTo>
                        <a:pt x="1480" y="374"/>
                      </a:lnTo>
                      <a:lnTo>
                        <a:pt x="1492" y="376"/>
                      </a:lnTo>
                      <a:lnTo>
                        <a:pt x="1504" y="378"/>
                      </a:lnTo>
                      <a:lnTo>
                        <a:pt x="1515" y="380"/>
                      </a:lnTo>
                      <a:lnTo>
                        <a:pt x="1522" y="380"/>
                      </a:lnTo>
                      <a:lnTo>
                        <a:pt x="1528" y="379"/>
                      </a:lnTo>
                      <a:lnTo>
                        <a:pt x="1534" y="377"/>
                      </a:lnTo>
                      <a:lnTo>
                        <a:pt x="1541" y="373"/>
                      </a:lnTo>
                      <a:lnTo>
                        <a:pt x="1546" y="369"/>
                      </a:lnTo>
                      <a:lnTo>
                        <a:pt x="1551" y="364"/>
                      </a:lnTo>
                      <a:lnTo>
                        <a:pt x="1553" y="358"/>
                      </a:lnTo>
                      <a:lnTo>
                        <a:pt x="1553" y="352"/>
                      </a:lnTo>
                      <a:lnTo>
                        <a:pt x="1552" y="346"/>
                      </a:lnTo>
                      <a:lnTo>
                        <a:pt x="1547" y="339"/>
                      </a:lnTo>
                      <a:lnTo>
                        <a:pt x="1547" y="337"/>
                      </a:lnTo>
                      <a:lnTo>
                        <a:pt x="1548" y="335"/>
                      </a:lnTo>
                      <a:lnTo>
                        <a:pt x="1557" y="335"/>
                      </a:lnTo>
                      <a:lnTo>
                        <a:pt x="1566" y="334"/>
                      </a:lnTo>
                      <a:lnTo>
                        <a:pt x="1567" y="334"/>
                      </a:lnTo>
                      <a:lnTo>
                        <a:pt x="1567" y="335"/>
                      </a:lnTo>
                      <a:lnTo>
                        <a:pt x="1567" y="338"/>
                      </a:lnTo>
                      <a:lnTo>
                        <a:pt x="1564" y="341"/>
                      </a:lnTo>
                      <a:lnTo>
                        <a:pt x="1562" y="346"/>
                      </a:lnTo>
                      <a:lnTo>
                        <a:pt x="1565" y="350"/>
                      </a:lnTo>
                      <a:lnTo>
                        <a:pt x="1569" y="353"/>
                      </a:lnTo>
                      <a:lnTo>
                        <a:pt x="1574" y="356"/>
                      </a:lnTo>
                      <a:lnTo>
                        <a:pt x="1578" y="356"/>
                      </a:lnTo>
                      <a:lnTo>
                        <a:pt x="1580" y="356"/>
                      </a:lnTo>
                      <a:lnTo>
                        <a:pt x="1586" y="356"/>
                      </a:lnTo>
                      <a:lnTo>
                        <a:pt x="1597" y="353"/>
                      </a:lnTo>
                      <a:lnTo>
                        <a:pt x="1602" y="354"/>
                      </a:lnTo>
                      <a:lnTo>
                        <a:pt x="1607" y="356"/>
                      </a:lnTo>
                      <a:lnTo>
                        <a:pt x="1609" y="358"/>
                      </a:lnTo>
                      <a:lnTo>
                        <a:pt x="1612" y="361"/>
                      </a:lnTo>
                      <a:lnTo>
                        <a:pt x="1614" y="369"/>
                      </a:lnTo>
                      <a:lnTo>
                        <a:pt x="1618" y="373"/>
                      </a:lnTo>
                      <a:lnTo>
                        <a:pt x="1619" y="374"/>
                      </a:lnTo>
                      <a:lnTo>
                        <a:pt x="1622" y="376"/>
                      </a:lnTo>
                      <a:lnTo>
                        <a:pt x="1635" y="380"/>
                      </a:lnTo>
                      <a:lnTo>
                        <a:pt x="1646" y="385"/>
                      </a:lnTo>
                      <a:lnTo>
                        <a:pt x="1658" y="389"/>
                      </a:lnTo>
                      <a:lnTo>
                        <a:pt x="1660" y="389"/>
                      </a:lnTo>
                      <a:lnTo>
                        <a:pt x="1664" y="389"/>
                      </a:lnTo>
                      <a:lnTo>
                        <a:pt x="1666" y="388"/>
                      </a:lnTo>
                      <a:lnTo>
                        <a:pt x="1668" y="386"/>
                      </a:lnTo>
                      <a:lnTo>
                        <a:pt x="1670" y="380"/>
                      </a:lnTo>
                      <a:lnTo>
                        <a:pt x="1673" y="376"/>
                      </a:lnTo>
                      <a:lnTo>
                        <a:pt x="1677" y="370"/>
                      </a:lnTo>
                      <a:lnTo>
                        <a:pt x="1677" y="363"/>
                      </a:lnTo>
                      <a:lnTo>
                        <a:pt x="1675" y="359"/>
                      </a:lnTo>
                      <a:lnTo>
                        <a:pt x="1674" y="357"/>
                      </a:lnTo>
                      <a:lnTo>
                        <a:pt x="1671" y="354"/>
                      </a:lnTo>
                      <a:lnTo>
                        <a:pt x="1668" y="353"/>
                      </a:lnTo>
                      <a:lnTo>
                        <a:pt x="1668" y="351"/>
                      </a:lnTo>
                      <a:lnTo>
                        <a:pt x="1674" y="352"/>
                      </a:lnTo>
                      <a:lnTo>
                        <a:pt x="1680" y="353"/>
                      </a:lnTo>
                      <a:lnTo>
                        <a:pt x="1693" y="358"/>
                      </a:lnTo>
                      <a:lnTo>
                        <a:pt x="1694" y="357"/>
                      </a:lnTo>
                      <a:lnTo>
                        <a:pt x="1696" y="357"/>
                      </a:lnTo>
                      <a:lnTo>
                        <a:pt x="1696" y="354"/>
                      </a:lnTo>
                      <a:lnTo>
                        <a:pt x="1697" y="352"/>
                      </a:lnTo>
                      <a:lnTo>
                        <a:pt x="1697" y="350"/>
                      </a:lnTo>
                      <a:lnTo>
                        <a:pt x="1702" y="348"/>
                      </a:lnTo>
                      <a:lnTo>
                        <a:pt x="1707" y="347"/>
                      </a:lnTo>
                      <a:lnTo>
                        <a:pt x="1711" y="345"/>
                      </a:lnTo>
                      <a:lnTo>
                        <a:pt x="1713" y="341"/>
                      </a:lnTo>
                      <a:lnTo>
                        <a:pt x="1715" y="338"/>
                      </a:lnTo>
                      <a:lnTo>
                        <a:pt x="1715" y="337"/>
                      </a:lnTo>
                      <a:lnTo>
                        <a:pt x="1713" y="334"/>
                      </a:lnTo>
                      <a:lnTo>
                        <a:pt x="1712" y="333"/>
                      </a:lnTo>
                      <a:lnTo>
                        <a:pt x="1704" y="328"/>
                      </a:lnTo>
                      <a:lnTo>
                        <a:pt x="1698" y="324"/>
                      </a:lnTo>
                      <a:lnTo>
                        <a:pt x="1693" y="318"/>
                      </a:lnTo>
                      <a:lnTo>
                        <a:pt x="1688" y="314"/>
                      </a:lnTo>
                      <a:lnTo>
                        <a:pt x="1684" y="312"/>
                      </a:lnTo>
                      <a:lnTo>
                        <a:pt x="1680" y="312"/>
                      </a:lnTo>
                      <a:lnTo>
                        <a:pt x="1671" y="310"/>
                      </a:lnTo>
                      <a:lnTo>
                        <a:pt x="1661" y="310"/>
                      </a:lnTo>
                      <a:lnTo>
                        <a:pt x="1652" y="312"/>
                      </a:lnTo>
                      <a:lnTo>
                        <a:pt x="1644" y="314"/>
                      </a:lnTo>
                      <a:lnTo>
                        <a:pt x="1642" y="315"/>
                      </a:lnTo>
                      <a:lnTo>
                        <a:pt x="1642" y="316"/>
                      </a:lnTo>
                      <a:lnTo>
                        <a:pt x="1644" y="320"/>
                      </a:lnTo>
                      <a:lnTo>
                        <a:pt x="1646" y="328"/>
                      </a:lnTo>
                      <a:lnTo>
                        <a:pt x="1646" y="332"/>
                      </a:lnTo>
                      <a:lnTo>
                        <a:pt x="1646" y="333"/>
                      </a:lnTo>
                      <a:lnTo>
                        <a:pt x="1644" y="334"/>
                      </a:lnTo>
                      <a:lnTo>
                        <a:pt x="1642" y="335"/>
                      </a:lnTo>
                      <a:lnTo>
                        <a:pt x="1640" y="335"/>
                      </a:lnTo>
                      <a:lnTo>
                        <a:pt x="1638" y="333"/>
                      </a:lnTo>
                      <a:lnTo>
                        <a:pt x="1637" y="332"/>
                      </a:lnTo>
                      <a:lnTo>
                        <a:pt x="1636" y="318"/>
                      </a:lnTo>
                      <a:lnTo>
                        <a:pt x="1635" y="310"/>
                      </a:lnTo>
                      <a:lnTo>
                        <a:pt x="1632" y="305"/>
                      </a:lnTo>
                      <a:lnTo>
                        <a:pt x="1630" y="300"/>
                      </a:lnTo>
                      <a:lnTo>
                        <a:pt x="1626" y="296"/>
                      </a:lnTo>
                      <a:lnTo>
                        <a:pt x="1622" y="294"/>
                      </a:lnTo>
                      <a:lnTo>
                        <a:pt x="1616" y="291"/>
                      </a:lnTo>
                      <a:lnTo>
                        <a:pt x="1603" y="289"/>
                      </a:lnTo>
                      <a:lnTo>
                        <a:pt x="1590" y="286"/>
                      </a:lnTo>
                      <a:lnTo>
                        <a:pt x="1579" y="281"/>
                      </a:lnTo>
                      <a:lnTo>
                        <a:pt x="1567" y="275"/>
                      </a:lnTo>
                      <a:lnTo>
                        <a:pt x="1562" y="274"/>
                      </a:lnTo>
                      <a:lnTo>
                        <a:pt x="1557" y="273"/>
                      </a:lnTo>
                      <a:lnTo>
                        <a:pt x="1546" y="270"/>
                      </a:lnTo>
                      <a:lnTo>
                        <a:pt x="1542" y="269"/>
                      </a:lnTo>
                      <a:lnTo>
                        <a:pt x="1538" y="265"/>
                      </a:lnTo>
                      <a:lnTo>
                        <a:pt x="1534" y="259"/>
                      </a:lnTo>
                      <a:lnTo>
                        <a:pt x="1532" y="257"/>
                      </a:lnTo>
                      <a:lnTo>
                        <a:pt x="1528" y="255"/>
                      </a:lnTo>
                      <a:lnTo>
                        <a:pt x="1525" y="255"/>
                      </a:lnTo>
                      <a:lnTo>
                        <a:pt x="1524" y="255"/>
                      </a:lnTo>
                      <a:lnTo>
                        <a:pt x="1522" y="256"/>
                      </a:lnTo>
                      <a:lnTo>
                        <a:pt x="1519" y="255"/>
                      </a:lnTo>
                      <a:lnTo>
                        <a:pt x="1501" y="246"/>
                      </a:lnTo>
                      <a:lnTo>
                        <a:pt x="1492" y="243"/>
                      </a:lnTo>
                      <a:lnTo>
                        <a:pt x="1484" y="241"/>
                      </a:lnTo>
                      <a:lnTo>
                        <a:pt x="1484" y="239"/>
                      </a:lnTo>
                      <a:lnTo>
                        <a:pt x="1468" y="237"/>
                      </a:lnTo>
                      <a:lnTo>
                        <a:pt x="1454" y="235"/>
                      </a:lnTo>
                      <a:lnTo>
                        <a:pt x="1425" y="231"/>
                      </a:lnTo>
                      <a:lnTo>
                        <a:pt x="1419" y="231"/>
                      </a:lnTo>
                      <a:lnTo>
                        <a:pt x="1414" y="232"/>
                      </a:lnTo>
                      <a:lnTo>
                        <a:pt x="1404" y="235"/>
                      </a:lnTo>
                      <a:lnTo>
                        <a:pt x="1400" y="235"/>
                      </a:lnTo>
                      <a:lnTo>
                        <a:pt x="1397" y="233"/>
                      </a:lnTo>
                      <a:lnTo>
                        <a:pt x="1393" y="233"/>
                      </a:lnTo>
                      <a:lnTo>
                        <a:pt x="1391" y="236"/>
                      </a:lnTo>
                      <a:lnTo>
                        <a:pt x="1391" y="237"/>
                      </a:lnTo>
                      <a:lnTo>
                        <a:pt x="1391" y="238"/>
                      </a:lnTo>
                      <a:lnTo>
                        <a:pt x="1391" y="239"/>
                      </a:lnTo>
                      <a:lnTo>
                        <a:pt x="1391" y="241"/>
                      </a:lnTo>
                      <a:lnTo>
                        <a:pt x="1388" y="243"/>
                      </a:lnTo>
                      <a:lnTo>
                        <a:pt x="1387" y="246"/>
                      </a:lnTo>
                      <a:lnTo>
                        <a:pt x="1386" y="251"/>
                      </a:lnTo>
                      <a:lnTo>
                        <a:pt x="1387" y="263"/>
                      </a:lnTo>
                      <a:lnTo>
                        <a:pt x="1386" y="268"/>
                      </a:lnTo>
                      <a:lnTo>
                        <a:pt x="1383" y="273"/>
                      </a:lnTo>
                      <a:lnTo>
                        <a:pt x="1378" y="276"/>
                      </a:lnTo>
                      <a:lnTo>
                        <a:pt x="1374" y="278"/>
                      </a:lnTo>
                      <a:lnTo>
                        <a:pt x="1371" y="278"/>
                      </a:lnTo>
                      <a:lnTo>
                        <a:pt x="1367" y="277"/>
                      </a:lnTo>
                      <a:lnTo>
                        <a:pt x="1364" y="276"/>
                      </a:lnTo>
                      <a:lnTo>
                        <a:pt x="1362" y="273"/>
                      </a:lnTo>
                      <a:lnTo>
                        <a:pt x="1357" y="267"/>
                      </a:lnTo>
                      <a:lnTo>
                        <a:pt x="1353" y="262"/>
                      </a:lnTo>
                      <a:lnTo>
                        <a:pt x="1345" y="257"/>
                      </a:lnTo>
                      <a:lnTo>
                        <a:pt x="1339" y="251"/>
                      </a:lnTo>
                      <a:lnTo>
                        <a:pt x="1334" y="245"/>
                      </a:lnTo>
                      <a:lnTo>
                        <a:pt x="1330" y="238"/>
                      </a:lnTo>
                      <a:lnTo>
                        <a:pt x="1322" y="242"/>
                      </a:lnTo>
                      <a:lnTo>
                        <a:pt x="1318" y="243"/>
                      </a:lnTo>
                      <a:lnTo>
                        <a:pt x="1313" y="244"/>
                      </a:lnTo>
                      <a:lnTo>
                        <a:pt x="1303" y="243"/>
                      </a:lnTo>
                      <a:lnTo>
                        <a:pt x="1293" y="242"/>
                      </a:lnTo>
                      <a:lnTo>
                        <a:pt x="1282" y="242"/>
                      </a:lnTo>
                      <a:lnTo>
                        <a:pt x="1277" y="242"/>
                      </a:lnTo>
                      <a:lnTo>
                        <a:pt x="1273" y="244"/>
                      </a:lnTo>
                      <a:lnTo>
                        <a:pt x="1265" y="245"/>
                      </a:lnTo>
                      <a:lnTo>
                        <a:pt x="1258" y="245"/>
                      </a:lnTo>
                      <a:lnTo>
                        <a:pt x="1258" y="244"/>
                      </a:lnTo>
                      <a:lnTo>
                        <a:pt x="1245" y="244"/>
                      </a:lnTo>
                      <a:lnTo>
                        <a:pt x="1237" y="244"/>
                      </a:lnTo>
                      <a:lnTo>
                        <a:pt x="1232" y="246"/>
                      </a:lnTo>
                      <a:lnTo>
                        <a:pt x="1222" y="251"/>
                      </a:lnTo>
                      <a:lnTo>
                        <a:pt x="1221" y="252"/>
                      </a:lnTo>
                      <a:lnTo>
                        <a:pt x="1219" y="255"/>
                      </a:lnTo>
                      <a:lnTo>
                        <a:pt x="1217" y="258"/>
                      </a:lnTo>
                      <a:lnTo>
                        <a:pt x="1217" y="259"/>
                      </a:lnTo>
                      <a:lnTo>
                        <a:pt x="1214" y="258"/>
                      </a:lnTo>
                      <a:lnTo>
                        <a:pt x="1212" y="257"/>
                      </a:lnTo>
                      <a:lnTo>
                        <a:pt x="1204" y="250"/>
                      </a:lnTo>
                      <a:lnTo>
                        <a:pt x="1197" y="243"/>
                      </a:lnTo>
                      <a:lnTo>
                        <a:pt x="1194" y="241"/>
                      </a:lnTo>
                      <a:lnTo>
                        <a:pt x="1193" y="238"/>
                      </a:lnTo>
                      <a:lnTo>
                        <a:pt x="1193" y="233"/>
                      </a:lnTo>
                      <a:lnTo>
                        <a:pt x="1193" y="229"/>
                      </a:lnTo>
                      <a:lnTo>
                        <a:pt x="1193" y="225"/>
                      </a:lnTo>
                      <a:lnTo>
                        <a:pt x="1191" y="220"/>
                      </a:lnTo>
                      <a:lnTo>
                        <a:pt x="1186" y="216"/>
                      </a:lnTo>
                      <a:lnTo>
                        <a:pt x="1180" y="212"/>
                      </a:lnTo>
                      <a:lnTo>
                        <a:pt x="1175" y="209"/>
                      </a:lnTo>
                      <a:lnTo>
                        <a:pt x="1161" y="204"/>
                      </a:lnTo>
                      <a:lnTo>
                        <a:pt x="1147" y="201"/>
                      </a:lnTo>
                      <a:lnTo>
                        <a:pt x="1133" y="201"/>
                      </a:lnTo>
                      <a:lnTo>
                        <a:pt x="1113" y="204"/>
                      </a:lnTo>
                      <a:lnTo>
                        <a:pt x="1092" y="207"/>
                      </a:lnTo>
                      <a:lnTo>
                        <a:pt x="1086" y="209"/>
                      </a:lnTo>
                      <a:lnTo>
                        <a:pt x="1080" y="207"/>
                      </a:lnTo>
                      <a:lnTo>
                        <a:pt x="1080" y="210"/>
                      </a:lnTo>
                      <a:lnTo>
                        <a:pt x="1072" y="209"/>
                      </a:lnTo>
                      <a:lnTo>
                        <a:pt x="1064" y="209"/>
                      </a:lnTo>
                      <a:lnTo>
                        <a:pt x="1053" y="206"/>
                      </a:lnTo>
                      <a:lnTo>
                        <a:pt x="1043" y="204"/>
                      </a:lnTo>
                      <a:lnTo>
                        <a:pt x="1039" y="203"/>
                      </a:lnTo>
                      <a:lnTo>
                        <a:pt x="1035" y="200"/>
                      </a:lnTo>
                      <a:lnTo>
                        <a:pt x="1029" y="194"/>
                      </a:lnTo>
                      <a:lnTo>
                        <a:pt x="1029" y="193"/>
                      </a:lnTo>
                      <a:lnTo>
                        <a:pt x="1028" y="188"/>
                      </a:lnTo>
                      <a:lnTo>
                        <a:pt x="1025" y="185"/>
                      </a:lnTo>
                      <a:lnTo>
                        <a:pt x="1020" y="178"/>
                      </a:lnTo>
                      <a:lnTo>
                        <a:pt x="1020" y="175"/>
                      </a:lnTo>
                      <a:lnTo>
                        <a:pt x="1021" y="172"/>
                      </a:lnTo>
                      <a:lnTo>
                        <a:pt x="1021" y="169"/>
                      </a:lnTo>
                      <a:lnTo>
                        <a:pt x="1020" y="168"/>
                      </a:lnTo>
                      <a:lnTo>
                        <a:pt x="1006" y="165"/>
                      </a:lnTo>
                      <a:lnTo>
                        <a:pt x="990" y="162"/>
                      </a:lnTo>
                      <a:lnTo>
                        <a:pt x="982" y="162"/>
                      </a:lnTo>
                      <a:lnTo>
                        <a:pt x="976" y="163"/>
                      </a:lnTo>
                      <a:lnTo>
                        <a:pt x="969" y="166"/>
                      </a:lnTo>
                      <a:lnTo>
                        <a:pt x="964" y="171"/>
                      </a:lnTo>
                      <a:lnTo>
                        <a:pt x="960" y="175"/>
                      </a:lnTo>
                      <a:lnTo>
                        <a:pt x="958" y="181"/>
                      </a:lnTo>
                      <a:lnTo>
                        <a:pt x="954" y="186"/>
                      </a:lnTo>
                      <a:lnTo>
                        <a:pt x="949" y="191"/>
                      </a:lnTo>
                      <a:lnTo>
                        <a:pt x="945" y="191"/>
                      </a:lnTo>
                      <a:lnTo>
                        <a:pt x="944" y="190"/>
                      </a:lnTo>
                      <a:lnTo>
                        <a:pt x="943" y="188"/>
                      </a:lnTo>
                      <a:lnTo>
                        <a:pt x="941" y="186"/>
                      </a:lnTo>
                      <a:lnTo>
                        <a:pt x="941" y="184"/>
                      </a:lnTo>
                      <a:lnTo>
                        <a:pt x="944" y="179"/>
                      </a:lnTo>
                      <a:lnTo>
                        <a:pt x="946" y="175"/>
                      </a:lnTo>
                      <a:lnTo>
                        <a:pt x="951" y="174"/>
                      </a:lnTo>
                      <a:lnTo>
                        <a:pt x="954" y="172"/>
                      </a:lnTo>
                      <a:lnTo>
                        <a:pt x="955" y="169"/>
                      </a:lnTo>
                      <a:lnTo>
                        <a:pt x="955" y="167"/>
                      </a:lnTo>
                      <a:lnTo>
                        <a:pt x="948" y="169"/>
                      </a:lnTo>
                      <a:lnTo>
                        <a:pt x="938" y="171"/>
                      </a:lnTo>
                      <a:lnTo>
                        <a:pt x="934" y="169"/>
                      </a:lnTo>
                      <a:lnTo>
                        <a:pt x="930" y="168"/>
                      </a:lnTo>
                      <a:lnTo>
                        <a:pt x="927" y="167"/>
                      </a:lnTo>
                      <a:lnTo>
                        <a:pt x="927" y="163"/>
                      </a:lnTo>
                      <a:lnTo>
                        <a:pt x="927" y="160"/>
                      </a:lnTo>
                      <a:lnTo>
                        <a:pt x="930" y="158"/>
                      </a:lnTo>
                      <a:lnTo>
                        <a:pt x="934" y="158"/>
                      </a:lnTo>
                      <a:lnTo>
                        <a:pt x="939" y="158"/>
                      </a:lnTo>
                      <a:lnTo>
                        <a:pt x="949" y="159"/>
                      </a:lnTo>
                      <a:lnTo>
                        <a:pt x="954" y="159"/>
                      </a:lnTo>
                      <a:lnTo>
                        <a:pt x="958" y="158"/>
                      </a:lnTo>
                      <a:lnTo>
                        <a:pt x="931" y="153"/>
                      </a:lnTo>
                      <a:lnTo>
                        <a:pt x="904" y="147"/>
                      </a:lnTo>
                      <a:lnTo>
                        <a:pt x="897" y="147"/>
                      </a:lnTo>
                      <a:lnTo>
                        <a:pt x="891" y="148"/>
                      </a:lnTo>
                      <a:lnTo>
                        <a:pt x="877" y="150"/>
                      </a:lnTo>
                      <a:lnTo>
                        <a:pt x="874" y="150"/>
                      </a:lnTo>
                      <a:lnTo>
                        <a:pt x="870" y="149"/>
                      </a:lnTo>
                      <a:lnTo>
                        <a:pt x="868" y="149"/>
                      </a:lnTo>
                      <a:lnTo>
                        <a:pt x="865" y="149"/>
                      </a:lnTo>
                      <a:lnTo>
                        <a:pt x="863" y="150"/>
                      </a:lnTo>
                      <a:lnTo>
                        <a:pt x="861" y="154"/>
                      </a:lnTo>
                      <a:lnTo>
                        <a:pt x="861" y="156"/>
                      </a:lnTo>
                      <a:lnTo>
                        <a:pt x="860" y="158"/>
                      </a:lnTo>
                      <a:lnTo>
                        <a:pt x="855" y="159"/>
                      </a:lnTo>
                      <a:lnTo>
                        <a:pt x="849" y="159"/>
                      </a:lnTo>
                      <a:lnTo>
                        <a:pt x="845" y="160"/>
                      </a:lnTo>
                      <a:lnTo>
                        <a:pt x="844" y="161"/>
                      </a:lnTo>
                      <a:lnTo>
                        <a:pt x="844" y="163"/>
                      </a:lnTo>
                      <a:lnTo>
                        <a:pt x="845" y="166"/>
                      </a:lnTo>
                      <a:lnTo>
                        <a:pt x="847" y="168"/>
                      </a:lnTo>
                      <a:lnTo>
                        <a:pt x="850" y="169"/>
                      </a:lnTo>
                      <a:lnTo>
                        <a:pt x="852" y="171"/>
                      </a:lnTo>
                      <a:lnTo>
                        <a:pt x="852" y="172"/>
                      </a:lnTo>
                      <a:lnTo>
                        <a:pt x="850" y="174"/>
                      </a:lnTo>
                      <a:lnTo>
                        <a:pt x="847" y="175"/>
                      </a:lnTo>
                      <a:lnTo>
                        <a:pt x="846" y="178"/>
                      </a:lnTo>
                      <a:lnTo>
                        <a:pt x="845" y="180"/>
                      </a:lnTo>
                      <a:lnTo>
                        <a:pt x="845" y="185"/>
                      </a:lnTo>
                      <a:lnTo>
                        <a:pt x="847" y="190"/>
                      </a:lnTo>
                      <a:lnTo>
                        <a:pt x="846" y="191"/>
                      </a:lnTo>
                      <a:lnTo>
                        <a:pt x="840" y="190"/>
                      </a:lnTo>
                      <a:lnTo>
                        <a:pt x="833" y="188"/>
                      </a:lnTo>
                      <a:lnTo>
                        <a:pt x="827" y="188"/>
                      </a:lnTo>
                      <a:lnTo>
                        <a:pt x="824" y="188"/>
                      </a:lnTo>
                      <a:lnTo>
                        <a:pt x="822" y="191"/>
                      </a:lnTo>
                      <a:lnTo>
                        <a:pt x="821" y="191"/>
                      </a:lnTo>
                      <a:lnTo>
                        <a:pt x="821" y="193"/>
                      </a:lnTo>
                      <a:lnTo>
                        <a:pt x="822" y="194"/>
                      </a:lnTo>
                      <a:lnTo>
                        <a:pt x="821" y="195"/>
                      </a:lnTo>
                      <a:lnTo>
                        <a:pt x="819" y="195"/>
                      </a:lnTo>
                      <a:lnTo>
                        <a:pt x="817" y="195"/>
                      </a:lnTo>
                      <a:lnTo>
                        <a:pt x="814" y="198"/>
                      </a:lnTo>
                      <a:lnTo>
                        <a:pt x="811" y="199"/>
                      </a:lnTo>
                      <a:lnTo>
                        <a:pt x="808" y="199"/>
                      </a:lnTo>
                      <a:lnTo>
                        <a:pt x="804" y="199"/>
                      </a:lnTo>
                      <a:lnTo>
                        <a:pt x="797" y="197"/>
                      </a:lnTo>
                      <a:lnTo>
                        <a:pt x="790" y="193"/>
                      </a:lnTo>
                      <a:lnTo>
                        <a:pt x="783" y="192"/>
                      </a:lnTo>
                      <a:lnTo>
                        <a:pt x="776" y="191"/>
                      </a:lnTo>
                      <a:lnTo>
                        <a:pt x="769" y="192"/>
                      </a:lnTo>
                      <a:lnTo>
                        <a:pt x="761" y="195"/>
                      </a:lnTo>
                      <a:lnTo>
                        <a:pt x="757" y="197"/>
                      </a:lnTo>
                      <a:lnTo>
                        <a:pt x="753" y="197"/>
                      </a:lnTo>
                      <a:lnTo>
                        <a:pt x="748" y="197"/>
                      </a:lnTo>
                      <a:lnTo>
                        <a:pt x="744" y="194"/>
                      </a:lnTo>
                      <a:lnTo>
                        <a:pt x="741" y="192"/>
                      </a:lnTo>
                      <a:lnTo>
                        <a:pt x="738" y="190"/>
                      </a:lnTo>
                      <a:lnTo>
                        <a:pt x="736" y="186"/>
                      </a:lnTo>
                      <a:lnTo>
                        <a:pt x="736" y="182"/>
                      </a:lnTo>
                      <a:lnTo>
                        <a:pt x="733" y="182"/>
                      </a:lnTo>
                      <a:lnTo>
                        <a:pt x="729" y="187"/>
                      </a:lnTo>
                      <a:lnTo>
                        <a:pt x="725" y="191"/>
                      </a:lnTo>
                      <a:lnTo>
                        <a:pt x="722" y="194"/>
                      </a:lnTo>
                      <a:lnTo>
                        <a:pt x="719" y="195"/>
                      </a:lnTo>
                      <a:lnTo>
                        <a:pt x="715" y="195"/>
                      </a:lnTo>
                      <a:lnTo>
                        <a:pt x="714" y="197"/>
                      </a:lnTo>
                      <a:lnTo>
                        <a:pt x="713" y="198"/>
                      </a:lnTo>
                      <a:lnTo>
                        <a:pt x="711" y="200"/>
                      </a:lnTo>
                      <a:lnTo>
                        <a:pt x="711" y="203"/>
                      </a:lnTo>
                      <a:lnTo>
                        <a:pt x="711" y="209"/>
                      </a:lnTo>
                      <a:lnTo>
                        <a:pt x="710" y="213"/>
                      </a:lnTo>
                      <a:lnTo>
                        <a:pt x="710" y="214"/>
                      </a:lnTo>
                      <a:lnTo>
                        <a:pt x="709" y="214"/>
                      </a:lnTo>
                      <a:lnTo>
                        <a:pt x="704" y="213"/>
                      </a:lnTo>
                      <a:lnTo>
                        <a:pt x="700" y="210"/>
                      </a:lnTo>
                      <a:lnTo>
                        <a:pt x="691" y="201"/>
                      </a:lnTo>
                      <a:lnTo>
                        <a:pt x="687" y="199"/>
                      </a:lnTo>
                      <a:lnTo>
                        <a:pt x="678" y="197"/>
                      </a:lnTo>
                      <a:lnTo>
                        <a:pt x="670" y="193"/>
                      </a:lnTo>
                      <a:lnTo>
                        <a:pt x="666" y="191"/>
                      </a:lnTo>
                      <a:lnTo>
                        <a:pt x="663" y="187"/>
                      </a:lnTo>
                      <a:lnTo>
                        <a:pt x="661" y="184"/>
                      </a:lnTo>
                      <a:lnTo>
                        <a:pt x="659" y="180"/>
                      </a:lnTo>
                      <a:lnTo>
                        <a:pt x="656" y="179"/>
                      </a:lnTo>
                      <a:lnTo>
                        <a:pt x="652" y="176"/>
                      </a:lnTo>
                      <a:lnTo>
                        <a:pt x="648" y="173"/>
                      </a:lnTo>
                      <a:lnTo>
                        <a:pt x="645" y="169"/>
                      </a:lnTo>
                      <a:lnTo>
                        <a:pt x="653" y="169"/>
                      </a:lnTo>
                      <a:lnTo>
                        <a:pt x="656" y="168"/>
                      </a:lnTo>
                      <a:lnTo>
                        <a:pt x="658" y="166"/>
                      </a:lnTo>
                      <a:lnTo>
                        <a:pt x="658" y="159"/>
                      </a:lnTo>
                      <a:lnTo>
                        <a:pt x="656" y="152"/>
                      </a:lnTo>
                      <a:lnTo>
                        <a:pt x="652" y="147"/>
                      </a:lnTo>
                      <a:lnTo>
                        <a:pt x="647" y="142"/>
                      </a:lnTo>
                      <a:lnTo>
                        <a:pt x="639" y="139"/>
                      </a:lnTo>
                      <a:lnTo>
                        <a:pt x="633" y="135"/>
                      </a:lnTo>
                      <a:lnTo>
                        <a:pt x="618" y="131"/>
                      </a:lnTo>
                      <a:lnTo>
                        <a:pt x="615" y="129"/>
                      </a:lnTo>
                      <a:lnTo>
                        <a:pt x="614" y="127"/>
                      </a:lnTo>
                      <a:lnTo>
                        <a:pt x="610" y="127"/>
                      </a:lnTo>
                      <a:lnTo>
                        <a:pt x="609" y="129"/>
                      </a:lnTo>
                      <a:lnTo>
                        <a:pt x="604" y="134"/>
                      </a:lnTo>
                      <a:lnTo>
                        <a:pt x="595" y="133"/>
                      </a:lnTo>
                      <a:lnTo>
                        <a:pt x="586" y="131"/>
                      </a:lnTo>
                      <a:lnTo>
                        <a:pt x="578" y="128"/>
                      </a:lnTo>
                      <a:lnTo>
                        <a:pt x="571" y="124"/>
                      </a:lnTo>
                      <a:lnTo>
                        <a:pt x="568" y="124"/>
                      </a:lnTo>
                      <a:lnTo>
                        <a:pt x="567" y="124"/>
                      </a:lnTo>
                      <a:lnTo>
                        <a:pt x="564" y="126"/>
                      </a:lnTo>
                      <a:lnTo>
                        <a:pt x="563" y="126"/>
                      </a:lnTo>
                      <a:lnTo>
                        <a:pt x="559" y="123"/>
                      </a:lnTo>
                      <a:lnTo>
                        <a:pt x="558" y="122"/>
                      </a:lnTo>
                      <a:lnTo>
                        <a:pt x="557" y="124"/>
                      </a:lnTo>
                      <a:lnTo>
                        <a:pt x="557" y="136"/>
                      </a:lnTo>
                      <a:lnTo>
                        <a:pt x="557" y="144"/>
                      </a:lnTo>
                      <a:lnTo>
                        <a:pt x="557" y="147"/>
                      </a:lnTo>
                      <a:lnTo>
                        <a:pt x="555" y="149"/>
                      </a:lnTo>
                      <a:lnTo>
                        <a:pt x="550" y="154"/>
                      </a:lnTo>
                      <a:lnTo>
                        <a:pt x="548" y="154"/>
                      </a:lnTo>
                      <a:lnTo>
                        <a:pt x="544" y="154"/>
                      </a:lnTo>
                      <a:lnTo>
                        <a:pt x="540" y="153"/>
                      </a:lnTo>
                      <a:lnTo>
                        <a:pt x="536" y="154"/>
                      </a:lnTo>
                      <a:lnTo>
                        <a:pt x="534" y="154"/>
                      </a:lnTo>
                      <a:lnTo>
                        <a:pt x="531" y="153"/>
                      </a:lnTo>
                      <a:lnTo>
                        <a:pt x="530" y="152"/>
                      </a:lnTo>
                      <a:lnTo>
                        <a:pt x="527" y="152"/>
                      </a:lnTo>
                      <a:lnTo>
                        <a:pt x="526" y="152"/>
                      </a:lnTo>
                      <a:lnTo>
                        <a:pt x="524" y="152"/>
                      </a:lnTo>
                      <a:lnTo>
                        <a:pt x="521" y="154"/>
                      </a:lnTo>
                      <a:lnTo>
                        <a:pt x="518" y="154"/>
                      </a:lnTo>
                      <a:lnTo>
                        <a:pt x="513" y="154"/>
                      </a:lnTo>
                      <a:lnTo>
                        <a:pt x="508" y="152"/>
                      </a:lnTo>
                      <a:lnTo>
                        <a:pt x="504" y="149"/>
                      </a:lnTo>
                      <a:lnTo>
                        <a:pt x="502" y="149"/>
                      </a:lnTo>
                      <a:lnTo>
                        <a:pt x="499" y="149"/>
                      </a:lnTo>
                      <a:lnTo>
                        <a:pt x="497" y="148"/>
                      </a:lnTo>
                      <a:lnTo>
                        <a:pt x="496" y="147"/>
                      </a:lnTo>
                      <a:lnTo>
                        <a:pt x="494" y="142"/>
                      </a:lnTo>
                      <a:lnTo>
                        <a:pt x="492" y="141"/>
                      </a:lnTo>
                      <a:lnTo>
                        <a:pt x="484" y="141"/>
                      </a:lnTo>
                      <a:lnTo>
                        <a:pt x="477" y="139"/>
                      </a:lnTo>
                      <a:lnTo>
                        <a:pt x="474" y="139"/>
                      </a:lnTo>
                      <a:lnTo>
                        <a:pt x="473" y="140"/>
                      </a:lnTo>
                      <a:lnTo>
                        <a:pt x="469" y="141"/>
                      </a:lnTo>
                      <a:lnTo>
                        <a:pt x="468" y="141"/>
                      </a:lnTo>
                      <a:lnTo>
                        <a:pt x="465" y="141"/>
                      </a:lnTo>
                      <a:lnTo>
                        <a:pt x="463" y="139"/>
                      </a:lnTo>
                      <a:lnTo>
                        <a:pt x="459" y="137"/>
                      </a:lnTo>
                      <a:lnTo>
                        <a:pt x="451" y="136"/>
                      </a:lnTo>
                      <a:lnTo>
                        <a:pt x="444" y="135"/>
                      </a:lnTo>
                      <a:lnTo>
                        <a:pt x="436" y="134"/>
                      </a:lnTo>
                      <a:lnTo>
                        <a:pt x="427" y="134"/>
                      </a:lnTo>
                      <a:lnTo>
                        <a:pt x="421" y="135"/>
                      </a:lnTo>
                      <a:lnTo>
                        <a:pt x="418" y="135"/>
                      </a:lnTo>
                      <a:lnTo>
                        <a:pt x="416" y="135"/>
                      </a:lnTo>
                      <a:lnTo>
                        <a:pt x="412" y="134"/>
                      </a:lnTo>
                      <a:lnTo>
                        <a:pt x="408" y="131"/>
                      </a:lnTo>
                      <a:lnTo>
                        <a:pt x="402" y="127"/>
                      </a:lnTo>
                      <a:lnTo>
                        <a:pt x="399" y="124"/>
                      </a:lnTo>
                      <a:lnTo>
                        <a:pt x="397" y="124"/>
                      </a:lnTo>
                      <a:lnTo>
                        <a:pt x="394" y="124"/>
                      </a:lnTo>
                      <a:lnTo>
                        <a:pt x="393" y="127"/>
                      </a:lnTo>
                      <a:lnTo>
                        <a:pt x="393" y="130"/>
                      </a:lnTo>
                      <a:lnTo>
                        <a:pt x="394" y="133"/>
                      </a:lnTo>
                      <a:lnTo>
                        <a:pt x="395" y="135"/>
                      </a:lnTo>
                      <a:lnTo>
                        <a:pt x="397" y="137"/>
                      </a:lnTo>
                      <a:lnTo>
                        <a:pt x="398" y="141"/>
                      </a:lnTo>
                      <a:lnTo>
                        <a:pt x="397" y="144"/>
                      </a:lnTo>
                      <a:lnTo>
                        <a:pt x="395" y="147"/>
                      </a:lnTo>
                      <a:lnTo>
                        <a:pt x="394" y="148"/>
                      </a:lnTo>
                      <a:lnTo>
                        <a:pt x="391" y="147"/>
                      </a:lnTo>
                      <a:lnTo>
                        <a:pt x="390" y="144"/>
                      </a:lnTo>
                      <a:lnTo>
                        <a:pt x="386" y="139"/>
                      </a:lnTo>
                      <a:lnTo>
                        <a:pt x="380" y="130"/>
                      </a:lnTo>
                      <a:lnTo>
                        <a:pt x="374" y="122"/>
                      </a:lnTo>
                      <a:lnTo>
                        <a:pt x="369" y="118"/>
                      </a:lnTo>
                      <a:lnTo>
                        <a:pt x="365" y="116"/>
                      </a:lnTo>
                      <a:lnTo>
                        <a:pt x="360" y="114"/>
                      </a:lnTo>
                      <a:lnTo>
                        <a:pt x="353" y="114"/>
                      </a:lnTo>
                      <a:lnTo>
                        <a:pt x="351" y="114"/>
                      </a:lnTo>
                      <a:lnTo>
                        <a:pt x="347" y="115"/>
                      </a:lnTo>
                      <a:lnTo>
                        <a:pt x="341" y="118"/>
                      </a:lnTo>
                      <a:lnTo>
                        <a:pt x="338" y="120"/>
                      </a:lnTo>
                      <a:lnTo>
                        <a:pt x="337" y="122"/>
                      </a:lnTo>
                      <a:lnTo>
                        <a:pt x="338" y="129"/>
                      </a:lnTo>
                      <a:lnTo>
                        <a:pt x="333" y="129"/>
                      </a:lnTo>
                      <a:lnTo>
                        <a:pt x="329" y="131"/>
                      </a:lnTo>
                      <a:lnTo>
                        <a:pt x="319" y="135"/>
                      </a:lnTo>
                      <a:lnTo>
                        <a:pt x="311" y="137"/>
                      </a:lnTo>
                      <a:lnTo>
                        <a:pt x="308" y="139"/>
                      </a:lnTo>
                      <a:lnTo>
                        <a:pt x="304" y="137"/>
                      </a:lnTo>
                      <a:lnTo>
                        <a:pt x="299" y="136"/>
                      </a:lnTo>
                      <a:lnTo>
                        <a:pt x="294" y="136"/>
                      </a:lnTo>
                      <a:lnTo>
                        <a:pt x="289" y="137"/>
                      </a:lnTo>
                      <a:lnTo>
                        <a:pt x="284" y="139"/>
                      </a:lnTo>
                      <a:lnTo>
                        <a:pt x="275" y="144"/>
                      </a:lnTo>
                      <a:lnTo>
                        <a:pt x="266" y="150"/>
                      </a:lnTo>
                      <a:lnTo>
                        <a:pt x="263" y="152"/>
                      </a:lnTo>
                      <a:lnTo>
                        <a:pt x="262" y="152"/>
                      </a:lnTo>
                      <a:lnTo>
                        <a:pt x="257" y="152"/>
                      </a:lnTo>
                      <a:lnTo>
                        <a:pt x="252" y="149"/>
                      </a:lnTo>
                      <a:lnTo>
                        <a:pt x="247" y="149"/>
                      </a:lnTo>
                      <a:lnTo>
                        <a:pt x="245" y="149"/>
                      </a:lnTo>
                      <a:lnTo>
                        <a:pt x="244" y="149"/>
                      </a:lnTo>
                      <a:lnTo>
                        <a:pt x="243" y="148"/>
                      </a:lnTo>
                      <a:lnTo>
                        <a:pt x="243" y="147"/>
                      </a:lnTo>
                      <a:lnTo>
                        <a:pt x="249" y="144"/>
                      </a:lnTo>
                      <a:lnTo>
                        <a:pt x="256" y="142"/>
                      </a:lnTo>
                      <a:lnTo>
                        <a:pt x="262" y="140"/>
                      </a:lnTo>
                      <a:lnTo>
                        <a:pt x="267" y="136"/>
                      </a:lnTo>
                      <a:lnTo>
                        <a:pt x="273" y="134"/>
                      </a:lnTo>
                      <a:lnTo>
                        <a:pt x="280" y="131"/>
                      </a:lnTo>
                      <a:lnTo>
                        <a:pt x="285" y="130"/>
                      </a:lnTo>
                      <a:lnTo>
                        <a:pt x="289" y="128"/>
                      </a:lnTo>
                      <a:lnTo>
                        <a:pt x="292" y="124"/>
                      </a:lnTo>
                      <a:lnTo>
                        <a:pt x="296" y="120"/>
                      </a:lnTo>
                      <a:lnTo>
                        <a:pt x="301" y="117"/>
                      </a:lnTo>
                      <a:lnTo>
                        <a:pt x="308" y="116"/>
                      </a:lnTo>
                      <a:lnTo>
                        <a:pt x="310" y="116"/>
                      </a:lnTo>
                      <a:lnTo>
                        <a:pt x="314" y="115"/>
                      </a:lnTo>
                      <a:lnTo>
                        <a:pt x="319" y="111"/>
                      </a:lnTo>
                      <a:lnTo>
                        <a:pt x="323" y="108"/>
                      </a:lnTo>
                      <a:lnTo>
                        <a:pt x="328" y="104"/>
                      </a:lnTo>
                      <a:lnTo>
                        <a:pt x="332" y="102"/>
                      </a:lnTo>
                      <a:lnTo>
                        <a:pt x="336" y="101"/>
                      </a:lnTo>
                      <a:lnTo>
                        <a:pt x="338" y="101"/>
                      </a:lnTo>
                      <a:lnTo>
                        <a:pt x="346" y="99"/>
                      </a:lnTo>
                      <a:lnTo>
                        <a:pt x="350" y="97"/>
                      </a:lnTo>
                      <a:lnTo>
                        <a:pt x="353" y="95"/>
                      </a:lnTo>
                      <a:lnTo>
                        <a:pt x="362" y="89"/>
                      </a:lnTo>
                      <a:lnTo>
                        <a:pt x="372" y="84"/>
                      </a:lnTo>
                      <a:lnTo>
                        <a:pt x="381" y="80"/>
                      </a:lnTo>
                      <a:lnTo>
                        <a:pt x="383" y="79"/>
                      </a:lnTo>
                      <a:lnTo>
                        <a:pt x="384" y="78"/>
                      </a:lnTo>
                      <a:lnTo>
                        <a:pt x="385" y="75"/>
                      </a:lnTo>
                      <a:lnTo>
                        <a:pt x="388" y="70"/>
                      </a:lnTo>
                      <a:lnTo>
                        <a:pt x="388" y="69"/>
                      </a:lnTo>
                      <a:lnTo>
                        <a:pt x="386" y="66"/>
                      </a:lnTo>
                      <a:lnTo>
                        <a:pt x="386" y="61"/>
                      </a:lnTo>
                      <a:lnTo>
                        <a:pt x="389" y="56"/>
                      </a:lnTo>
                      <a:lnTo>
                        <a:pt x="391" y="50"/>
                      </a:lnTo>
                      <a:lnTo>
                        <a:pt x="390" y="47"/>
                      </a:lnTo>
                      <a:lnTo>
                        <a:pt x="388" y="44"/>
                      </a:lnTo>
                      <a:lnTo>
                        <a:pt x="385" y="41"/>
                      </a:lnTo>
                      <a:lnTo>
                        <a:pt x="383" y="41"/>
                      </a:lnTo>
                      <a:lnTo>
                        <a:pt x="378" y="41"/>
                      </a:lnTo>
                      <a:lnTo>
                        <a:pt x="374" y="39"/>
                      </a:lnTo>
                      <a:lnTo>
                        <a:pt x="371" y="35"/>
                      </a:lnTo>
                      <a:lnTo>
                        <a:pt x="366" y="34"/>
                      </a:lnTo>
                      <a:lnTo>
                        <a:pt x="356" y="33"/>
                      </a:lnTo>
                      <a:lnTo>
                        <a:pt x="342" y="33"/>
                      </a:lnTo>
                      <a:lnTo>
                        <a:pt x="337" y="34"/>
                      </a:lnTo>
                      <a:lnTo>
                        <a:pt x="334" y="35"/>
                      </a:lnTo>
                      <a:lnTo>
                        <a:pt x="329" y="37"/>
                      </a:lnTo>
                      <a:lnTo>
                        <a:pt x="322" y="34"/>
                      </a:lnTo>
                      <a:lnTo>
                        <a:pt x="317" y="33"/>
                      </a:lnTo>
                      <a:lnTo>
                        <a:pt x="311" y="33"/>
                      </a:lnTo>
                      <a:lnTo>
                        <a:pt x="301" y="34"/>
                      </a:lnTo>
                      <a:lnTo>
                        <a:pt x="290" y="34"/>
                      </a:lnTo>
                      <a:lnTo>
                        <a:pt x="285" y="35"/>
                      </a:lnTo>
                      <a:lnTo>
                        <a:pt x="280" y="37"/>
                      </a:lnTo>
                      <a:lnTo>
                        <a:pt x="276" y="39"/>
                      </a:lnTo>
                      <a:lnTo>
                        <a:pt x="273" y="39"/>
                      </a:lnTo>
                      <a:lnTo>
                        <a:pt x="272" y="39"/>
                      </a:lnTo>
                      <a:lnTo>
                        <a:pt x="270" y="35"/>
                      </a:lnTo>
                      <a:lnTo>
                        <a:pt x="268" y="34"/>
                      </a:lnTo>
                      <a:lnTo>
                        <a:pt x="270" y="32"/>
                      </a:lnTo>
                      <a:lnTo>
                        <a:pt x="273" y="29"/>
                      </a:lnTo>
                      <a:lnTo>
                        <a:pt x="277" y="27"/>
                      </a:lnTo>
                      <a:lnTo>
                        <a:pt x="281" y="25"/>
                      </a:lnTo>
                      <a:lnTo>
                        <a:pt x="282" y="24"/>
                      </a:lnTo>
                      <a:lnTo>
                        <a:pt x="282" y="21"/>
                      </a:lnTo>
                      <a:lnTo>
                        <a:pt x="281" y="14"/>
                      </a:lnTo>
                      <a:lnTo>
                        <a:pt x="280" y="9"/>
                      </a:lnTo>
                      <a:lnTo>
                        <a:pt x="276" y="7"/>
                      </a:lnTo>
                      <a:lnTo>
                        <a:pt x="271" y="6"/>
                      </a:lnTo>
                      <a:lnTo>
                        <a:pt x="262" y="5"/>
                      </a:lnTo>
                      <a:lnTo>
                        <a:pt x="256" y="5"/>
                      </a:lnTo>
                      <a:lnTo>
                        <a:pt x="242" y="2"/>
                      </a:lnTo>
                      <a:lnTo>
                        <a:pt x="237" y="1"/>
                      </a:lnTo>
                      <a:lnTo>
                        <a:pt x="234" y="0"/>
                      </a:lnTo>
                      <a:lnTo>
                        <a:pt x="231" y="0"/>
                      </a:lnTo>
                      <a:lnTo>
                        <a:pt x="224" y="2"/>
                      </a:lnTo>
                      <a:lnTo>
                        <a:pt x="218" y="5"/>
                      </a:lnTo>
                      <a:lnTo>
                        <a:pt x="206" y="11"/>
                      </a:lnTo>
                      <a:lnTo>
                        <a:pt x="200" y="13"/>
                      </a:lnTo>
                      <a:lnTo>
                        <a:pt x="196" y="15"/>
                      </a:lnTo>
                      <a:lnTo>
                        <a:pt x="193" y="18"/>
                      </a:lnTo>
                      <a:lnTo>
                        <a:pt x="192" y="21"/>
                      </a:lnTo>
                      <a:lnTo>
                        <a:pt x="192" y="24"/>
                      </a:lnTo>
                      <a:lnTo>
                        <a:pt x="191" y="25"/>
                      </a:lnTo>
                      <a:lnTo>
                        <a:pt x="186" y="26"/>
                      </a:lnTo>
                      <a:lnTo>
                        <a:pt x="183" y="27"/>
                      </a:lnTo>
                      <a:lnTo>
                        <a:pt x="181" y="31"/>
                      </a:lnTo>
                      <a:lnTo>
                        <a:pt x="179" y="35"/>
                      </a:lnTo>
                      <a:lnTo>
                        <a:pt x="178" y="35"/>
                      </a:lnTo>
                      <a:lnTo>
                        <a:pt x="176" y="35"/>
                      </a:lnTo>
                      <a:lnTo>
                        <a:pt x="174" y="35"/>
                      </a:lnTo>
                      <a:lnTo>
                        <a:pt x="174" y="34"/>
                      </a:lnTo>
                      <a:lnTo>
                        <a:pt x="171" y="34"/>
                      </a:lnTo>
                      <a:lnTo>
                        <a:pt x="167" y="33"/>
                      </a:lnTo>
                      <a:lnTo>
                        <a:pt x="159" y="29"/>
                      </a:lnTo>
                      <a:lnTo>
                        <a:pt x="158" y="28"/>
                      </a:lnTo>
                      <a:lnTo>
                        <a:pt x="157" y="29"/>
                      </a:lnTo>
                      <a:lnTo>
                        <a:pt x="155" y="32"/>
                      </a:lnTo>
                      <a:lnTo>
                        <a:pt x="155" y="33"/>
                      </a:lnTo>
                      <a:lnTo>
                        <a:pt x="158" y="38"/>
                      </a:lnTo>
                      <a:lnTo>
                        <a:pt x="160" y="43"/>
                      </a:lnTo>
                      <a:lnTo>
                        <a:pt x="165" y="45"/>
                      </a:lnTo>
                      <a:lnTo>
                        <a:pt x="171" y="47"/>
                      </a:lnTo>
                      <a:lnTo>
                        <a:pt x="172" y="48"/>
                      </a:lnTo>
                      <a:lnTo>
                        <a:pt x="173" y="50"/>
                      </a:lnTo>
                      <a:lnTo>
                        <a:pt x="173" y="52"/>
                      </a:lnTo>
                      <a:lnTo>
                        <a:pt x="172" y="53"/>
                      </a:lnTo>
                      <a:lnTo>
                        <a:pt x="171" y="54"/>
                      </a:lnTo>
                      <a:lnTo>
                        <a:pt x="168" y="53"/>
                      </a:lnTo>
                      <a:lnTo>
                        <a:pt x="164" y="52"/>
                      </a:lnTo>
                      <a:lnTo>
                        <a:pt x="158" y="51"/>
                      </a:lnTo>
                      <a:lnTo>
                        <a:pt x="151" y="52"/>
                      </a:lnTo>
                      <a:lnTo>
                        <a:pt x="146" y="53"/>
                      </a:lnTo>
                      <a:lnTo>
                        <a:pt x="143" y="57"/>
                      </a:lnTo>
                      <a:lnTo>
                        <a:pt x="140" y="58"/>
                      </a:lnTo>
                      <a:lnTo>
                        <a:pt x="138" y="57"/>
                      </a:lnTo>
                      <a:lnTo>
                        <a:pt x="131" y="52"/>
                      </a:lnTo>
                      <a:lnTo>
                        <a:pt x="125" y="50"/>
                      </a:lnTo>
                      <a:lnTo>
                        <a:pt x="117" y="48"/>
                      </a:lnTo>
                      <a:lnTo>
                        <a:pt x="110" y="48"/>
                      </a:lnTo>
                      <a:lnTo>
                        <a:pt x="108" y="48"/>
                      </a:lnTo>
                      <a:lnTo>
                        <a:pt x="106" y="47"/>
                      </a:lnTo>
                      <a:lnTo>
                        <a:pt x="102" y="45"/>
                      </a:lnTo>
                      <a:lnTo>
                        <a:pt x="101" y="45"/>
                      </a:lnTo>
                      <a:lnTo>
                        <a:pt x="99" y="46"/>
                      </a:lnTo>
                      <a:lnTo>
                        <a:pt x="97" y="46"/>
                      </a:lnTo>
                      <a:lnTo>
                        <a:pt x="96" y="46"/>
                      </a:lnTo>
                      <a:lnTo>
                        <a:pt x="93" y="45"/>
                      </a:lnTo>
                      <a:lnTo>
                        <a:pt x="87" y="47"/>
                      </a:lnTo>
                      <a:lnTo>
                        <a:pt x="80" y="50"/>
                      </a:lnTo>
                      <a:lnTo>
                        <a:pt x="73" y="50"/>
                      </a:lnTo>
                      <a:lnTo>
                        <a:pt x="66" y="48"/>
                      </a:lnTo>
                      <a:lnTo>
                        <a:pt x="61" y="47"/>
                      </a:lnTo>
                      <a:lnTo>
                        <a:pt x="55" y="47"/>
                      </a:lnTo>
                      <a:lnTo>
                        <a:pt x="42" y="48"/>
                      </a:lnTo>
                      <a:lnTo>
                        <a:pt x="36" y="50"/>
                      </a:lnTo>
                      <a:lnTo>
                        <a:pt x="33" y="51"/>
                      </a:lnTo>
                      <a:lnTo>
                        <a:pt x="32" y="52"/>
                      </a:lnTo>
                      <a:lnTo>
                        <a:pt x="30" y="57"/>
                      </a:lnTo>
                      <a:lnTo>
                        <a:pt x="27" y="59"/>
                      </a:lnTo>
                      <a:lnTo>
                        <a:pt x="23" y="61"/>
                      </a:lnTo>
                      <a:lnTo>
                        <a:pt x="18" y="63"/>
                      </a:lnTo>
                      <a:lnTo>
                        <a:pt x="9" y="64"/>
                      </a:lnTo>
                      <a:lnTo>
                        <a:pt x="0" y="65"/>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8" name="Freeform 1168"/>
                <p:cNvSpPr>
                  <a:spLocks/>
                </p:cNvSpPr>
                <p:nvPr/>
              </p:nvSpPr>
              <p:spPr bwMode="auto">
                <a:xfrm>
                  <a:off x="5426211" y="2580581"/>
                  <a:ext cx="50316" cy="81393"/>
                </a:xfrm>
                <a:custGeom>
                  <a:avLst/>
                  <a:gdLst>
                    <a:gd name="T0" fmla="*/ 2147483647 w 36"/>
                    <a:gd name="T1" fmla="*/ 2147483647 h 55"/>
                    <a:gd name="T2" fmla="*/ 2147483647 w 36"/>
                    <a:gd name="T3" fmla="*/ 2147483647 h 55"/>
                    <a:gd name="T4" fmla="*/ 2147483647 w 36"/>
                    <a:gd name="T5" fmla="*/ 2147483647 h 55"/>
                    <a:gd name="T6" fmla="*/ 2147483647 w 36"/>
                    <a:gd name="T7" fmla="*/ 2147483647 h 55"/>
                    <a:gd name="T8" fmla="*/ 2147483647 w 36"/>
                    <a:gd name="T9" fmla="*/ 2147483647 h 55"/>
                    <a:gd name="T10" fmla="*/ 2147483647 w 36"/>
                    <a:gd name="T11" fmla="*/ 2147483647 h 55"/>
                    <a:gd name="T12" fmla="*/ 2147483647 w 36"/>
                    <a:gd name="T13" fmla="*/ 2147483647 h 55"/>
                    <a:gd name="T14" fmla="*/ 2147483647 w 36"/>
                    <a:gd name="T15" fmla="*/ 2147483647 h 55"/>
                    <a:gd name="T16" fmla="*/ 2147483647 w 36"/>
                    <a:gd name="T17" fmla="*/ 2147483647 h 55"/>
                    <a:gd name="T18" fmla="*/ 2147483647 w 36"/>
                    <a:gd name="T19" fmla="*/ 2147483647 h 55"/>
                    <a:gd name="T20" fmla="*/ 2147483647 w 36"/>
                    <a:gd name="T21" fmla="*/ 2147483647 h 55"/>
                    <a:gd name="T22" fmla="*/ 2147483647 w 36"/>
                    <a:gd name="T23" fmla="*/ 2147483647 h 55"/>
                    <a:gd name="T24" fmla="*/ 2147483647 w 36"/>
                    <a:gd name="T25" fmla="*/ 2147483647 h 55"/>
                    <a:gd name="T26" fmla="*/ 2147483647 w 36"/>
                    <a:gd name="T27" fmla="*/ 0 h 55"/>
                    <a:gd name="T28" fmla="*/ 2147483647 w 36"/>
                    <a:gd name="T29" fmla="*/ 0 h 55"/>
                    <a:gd name="T30" fmla="*/ 2147483647 w 36"/>
                    <a:gd name="T31" fmla="*/ 0 h 55"/>
                    <a:gd name="T32" fmla="*/ 2147483647 w 36"/>
                    <a:gd name="T33" fmla="*/ 2147483647 h 55"/>
                    <a:gd name="T34" fmla="*/ 2147483647 w 36"/>
                    <a:gd name="T35" fmla="*/ 2147483647 h 55"/>
                    <a:gd name="T36" fmla="*/ 2147483647 w 36"/>
                    <a:gd name="T37" fmla="*/ 2147483647 h 55"/>
                    <a:gd name="T38" fmla="*/ 2147483647 w 36"/>
                    <a:gd name="T39" fmla="*/ 2147483647 h 55"/>
                    <a:gd name="T40" fmla="*/ 2147483647 w 36"/>
                    <a:gd name="T41" fmla="*/ 2147483647 h 55"/>
                    <a:gd name="T42" fmla="*/ 2147483647 w 36"/>
                    <a:gd name="T43" fmla="*/ 2147483647 h 55"/>
                    <a:gd name="T44" fmla="*/ 2147483647 w 36"/>
                    <a:gd name="T45" fmla="*/ 2147483647 h 55"/>
                    <a:gd name="T46" fmla="*/ 2147483647 w 36"/>
                    <a:gd name="T47" fmla="*/ 2147483647 h 55"/>
                    <a:gd name="T48" fmla="*/ 2147483647 w 36"/>
                    <a:gd name="T49" fmla="*/ 2147483647 h 55"/>
                    <a:gd name="T50" fmla="*/ 2147483647 w 36"/>
                    <a:gd name="T51" fmla="*/ 2147483647 h 55"/>
                    <a:gd name="T52" fmla="*/ 2147483647 w 36"/>
                    <a:gd name="T53" fmla="*/ 2147483647 h 55"/>
                    <a:gd name="T54" fmla="*/ 2147483647 w 36"/>
                    <a:gd name="T55" fmla="*/ 2147483647 h 55"/>
                    <a:gd name="T56" fmla="*/ 2147483647 w 36"/>
                    <a:gd name="T57" fmla="*/ 2147483647 h 55"/>
                    <a:gd name="T58" fmla="*/ 2147483647 w 36"/>
                    <a:gd name="T59" fmla="*/ 2147483647 h 55"/>
                    <a:gd name="T60" fmla="*/ 2147483647 w 36"/>
                    <a:gd name="T61" fmla="*/ 2147483647 h 55"/>
                    <a:gd name="T62" fmla="*/ 2147483647 w 36"/>
                    <a:gd name="T63" fmla="*/ 2147483647 h 55"/>
                    <a:gd name="T64" fmla="*/ 2147483647 w 36"/>
                    <a:gd name="T65" fmla="*/ 2147483647 h 55"/>
                    <a:gd name="T66" fmla="*/ 2147483647 w 36"/>
                    <a:gd name="T67" fmla="*/ 2147483647 h 55"/>
                    <a:gd name="T68" fmla="*/ 2147483647 w 36"/>
                    <a:gd name="T69" fmla="*/ 2147483647 h 55"/>
                    <a:gd name="T70" fmla="*/ 0 w 36"/>
                    <a:gd name="T71" fmla="*/ 2147483647 h 55"/>
                    <a:gd name="T72" fmla="*/ 2147483647 w 36"/>
                    <a:gd name="T73" fmla="*/ 2147483647 h 55"/>
                    <a:gd name="T74" fmla="*/ 2147483647 w 36"/>
                    <a:gd name="T75" fmla="*/ 2147483647 h 55"/>
                    <a:gd name="T76" fmla="*/ 2147483647 w 36"/>
                    <a:gd name="T77" fmla="*/ 2147483647 h 55"/>
                    <a:gd name="T78" fmla="*/ 2147483647 w 36"/>
                    <a:gd name="T79" fmla="*/ 2147483647 h 55"/>
                    <a:gd name="T80" fmla="*/ 2147483647 w 36"/>
                    <a:gd name="T81" fmla="*/ 2147483647 h 55"/>
                    <a:gd name="T82" fmla="*/ 2147483647 w 36"/>
                    <a:gd name="T83" fmla="*/ 2147483647 h 55"/>
                    <a:gd name="T84" fmla="*/ 2147483647 w 36"/>
                    <a:gd name="T85" fmla="*/ 2147483647 h 55"/>
                    <a:gd name="T86" fmla="*/ 2147483647 w 36"/>
                    <a:gd name="T87" fmla="*/ 2147483647 h 55"/>
                    <a:gd name="T88" fmla="*/ 2147483647 w 36"/>
                    <a:gd name="T89" fmla="*/ 2147483647 h 55"/>
                    <a:gd name="T90" fmla="*/ 2147483647 w 36"/>
                    <a:gd name="T91" fmla="*/ 2147483647 h 55"/>
                    <a:gd name="T92" fmla="*/ 2147483647 w 36"/>
                    <a:gd name="T93" fmla="*/ 2147483647 h 55"/>
                    <a:gd name="T94" fmla="*/ 2147483647 w 36"/>
                    <a:gd name="T95" fmla="*/ 2147483647 h 55"/>
                    <a:gd name="T96" fmla="*/ 2147483647 w 36"/>
                    <a:gd name="T97" fmla="*/ 2147483647 h 55"/>
                    <a:gd name="T98" fmla="*/ 2147483647 w 36"/>
                    <a:gd name="T99" fmla="*/ 2147483647 h 55"/>
                    <a:gd name="T100" fmla="*/ 2147483647 w 36"/>
                    <a:gd name="T101" fmla="*/ 2147483647 h 55"/>
                    <a:gd name="T102" fmla="*/ 2147483647 w 36"/>
                    <a:gd name="T103" fmla="*/ 2147483647 h 55"/>
                    <a:gd name="T104" fmla="*/ 2147483647 w 36"/>
                    <a:gd name="T105" fmla="*/ 2147483647 h 55"/>
                    <a:gd name="T106" fmla="*/ 2147483647 w 36"/>
                    <a:gd name="T107" fmla="*/ 2147483647 h 55"/>
                    <a:gd name="T108" fmla="*/ 2147483647 w 36"/>
                    <a:gd name="T109" fmla="*/ 2147483647 h 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6"/>
                    <a:gd name="T166" fmla="*/ 0 h 55"/>
                    <a:gd name="T167" fmla="*/ 36 w 36"/>
                    <a:gd name="T168" fmla="*/ 55 h 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6" h="55">
                      <a:moveTo>
                        <a:pt x="34" y="45"/>
                      </a:moveTo>
                      <a:lnTo>
                        <a:pt x="34" y="45"/>
                      </a:lnTo>
                      <a:lnTo>
                        <a:pt x="31" y="36"/>
                      </a:lnTo>
                      <a:lnTo>
                        <a:pt x="27" y="26"/>
                      </a:lnTo>
                      <a:lnTo>
                        <a:pt x="24" y="17"/>
                      </a:lnTo>
                      <a:lnTo>
                        <a:pt x="23" y="6"/>
                      </a:lnTo>
                      <a:lnTo>
                        <a:pt x="22" y="6"/>
                      </a:lnTo>
                      <a:lnTo>
                        <a:pt x="20" y="6"/>
                      </a:lnTo>
                      <a:lnTo>
                        <a:pt x="19" y="6"/>
                      </a:lnTo>
                      <a:lnTo>
                        <a:pt x="17" y="6"/>
                      </a:lnTo>
                      <a:lnTo>
                        <a:pt x="12" y="1"/>
                      </a:lnTo>
                      <a:lnTo>
                        <a:pt x="8" y="0"/>
                      </a:lnTo>
                      <a:lnTo>
                        <a:pt x="5" y="0"/>
                      </a:lnTo>
                      <a:lnTo>
                        <a:pt x="3" y="3"/>
                      </a:lnTo>
                      <a:lnTo>
                        <a:pt x="3" y="5"/>
                      </a:lnTo>
                      <a:lnTo>
                        <a:pt x="4" y="6"/>
                      </a:lnTo>
                      <a:lnTo>
                        <a:pt x="6" y="7"/>
                      </a:lnTo>
                      <a:lnTo>
                        <a:pt x="9" y="10"/>
                      </a:lnTo>
                      <a:lnTo>
                        <a:pt x="13" y="13"/>
                      </a:lnTo>
                      <a:lnTo>
                        <a:pt x="14" y="14"/>
                      </a:lnTo>
                      <a:lnTo>
                        <a:pt x="15" y="16"/>
                      </a:lnTo>
                      <a:lnTo>
                        <a:pt x="14" y="20"/>
                      </a:lnTo>
                      <a:lnTo>
                        <a:pt x="13" y="21"/>
                      </a:lnTo>
                      <a:lnTo>
                        <a:pt x="12" y="21"/>
                      </a:lnTo>
                      <a:lnTo>
                        <a:pt x="6" y="19"/>
                      </a:lnTo>
                      <a:lnTo>
                        <a:pt x="4" y="18"/>
                      </a:lnTo>
                      <a:lnTo>
                        <a:pt x="1" y="20"/>
                      </a:lnTo>
                      <a:lnTo>
                        <a:pt x="0" y="24"/>
                      </a:lnTo>
                      <a:lnTo>
                        <a:pt x="1" y="27"/>
                      </a:lnTo>
                      <a:lnTo>
                        <a:pt x="4" y="35"/>
                      </a:lnTo>
                      <a:lnTo>
                        <a:pt x="5" y="36"/>
                      </a:lnTo>
                      <a:lnTo>
                        <a:pt x="6" y="36"/>
                      </a:lnTo>
                      <a:lnTo>
                        <a:pt x="10" y="36"/>
                      </a:lnTo>
                      <a:lnTo>
                        <a:pt x="14" y="37"/>
                      </a:lnTo>
                      <a:lnTo>
                        <a:pt x="15" y="38"/>
                      </a:lnTo>
                      <a:lnTo>
                        <a:pt x="19" y="44"/>
                      </a:lnTo>
                      <a:lnTo>
                        <a:pt x="22" y="51"/>
                      </a:lnTo>
                      <a:lnTo>
                        <a:pt x="24" y="53"/>
                      </a:lnTo>
                      <a:lnTo>
                        <a:pt x="27" y="55"/>
                      </a:lnTo>
                      <a:lnTo>
                        <a:pt x="29" y="55"/>
                      </a:lnTo>
                      <a:lnTo>
                        <a:pt x="33" y="52"/>
                      </a:lnTo>
                      <a:lnTo>
                        <a:pt x="36" y="49"/>
                      </a:lnTo>
                      <a:lnTo>
                        <a:pt x="36" y="48"/>
                      </a:lnTo>
                      <a:lnTo>
                        <a:pt x="34" y="4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69" name="Freeform 1169"/>
                <p:cNvSpPr>
                  <a:spLocks/>
                </p:cNvSpPr>
                <p:nvPr/>
              </p:nvSpPr>
              <p:spPr bwMode="auto">
                <a:xfrm>
                  <a:off x="5227908" y="3342712"/>
                  <a:ext cx="76953" cy="53275"/>
                </a:xfrm>
                <a:custGeom>
                  <a:avLst/>
                  <a:gdLst>
                    <a:gd name="T0" fmla="*/ 0 w 56"/>
                    <a:gd name="T1" fmla="*/ 2147483647 h 36"/>
                    <a:gd name="T2" fmla="*/ 2147483647 w 56"/>
                    <a:gd name="T3" fmla="*/ 2147483647 h 36"/>
                    <a:gd name="T4" fmla="*/ 2147483647 w 56"/>
                    <a:gd name="T5" fmla="*/ 2147483647 h 36"/>
                    <a:gd name="T6" fmla="*/ 2147483647 w 56"/>
                    <a:gd name="T7" fmla="*/ 2147483647 h 36"/>
                    <a:gd name="T8" fmla="*/ 2147483647 w 56"/>
                    <a:gd name="T9" fmla="*/ 2147483647 h 36"/>
                    <a:gd name="T10" fmla="*/ 2147483647 w 56"/>
                    <a:gd name="T11" fmla="*/ 2147483647 h 36"/>
                    <a:gd name="T12" fmla="*/ 2147483647 w 56"/>
                    <a:gd name="T13" fmla="*/ 2147483647 h 36"/>
                    <a:gd name="T14" fmla="*/ 2147483647 w 56"/>
                    <a:gd name="T15" fmla="*/ 2147483647 h 36"/>
                    <a:gd name="T16" fmla="*/ 2147483647 w 56"/>
                    <a:gd name="T17" fmla="*/ 2147483647 h 36"/>
                    <a:gd name="T18" fmla="*/ 2147483647 w 56"/>
                    <a:gd name="T19" fmla="*/ 2147483647 h 36"/>
                    <a:gd name="T20" fmla="*/ 2147483647 w 56"/>
                    <a:gd name="T21" fmla="*/ 2147483647 h 36"/>
                    <a:gd name="T22" fmla="*/ 2147483647 w 56"/>
                    <a:gd name="T23" fmla="*/ 2147483647 h 36"/>
                    <a:gd name="T24" fmla="*/ 2147483647 w 56"/>
                    <a:gd name="T25" fmla="*/ 2147483647 h 36"/>
                    <a:gd name="T26" fmla="*/ 2147483647 w 56"/>
                    <a:gd name="T27" fmla="*/ 2147483647 h 36"/>
                    <a:gd name="T28" fmla="*/ 2147483647 w 56"/>
                    <a:gd name="T29" fmla="*/ 2147483647 h 36"/>
                    <a:gd name="T30" fmla="*/ 2147483647 w 56"/>
                    <a:gd name="T31" fmla="*/ 2147483647 h 36"/>
                    <a:gd name="T32" fmla="*/ 2147483647 w 56"/>
                    <a:gd name="T33" fmla="*/ 2147483647 h 36"/>
                    <a:gd name="T34" fmla="*/ 2147483647 w 56"/>
                    <a:gd name="T35" fmla="*/ 2147483647 h 36"/>
                    <a:gd name="T36" fmla="*/ 2147483647 w 56"/>
                    <a:gd name="T37" fmla="*/ 2147483647 h 36"/>
                    <a:gd name="T38" fmla="*/ 2147483647 w 56"/>
                    <a:gd name="T39" fmla="*/ 2147483647 h 36"/>
                    <a:gd name="T40" fmla="*/ 2147483647 w 56"/>
                    <a:gd name="T41" fmla="*/ 2147483647 h 36"/>
                    <a:gd name="T42" fmla="*/ 2147483647 w 56"/>
                    <a:gd name="T43" fmla="*/ 0 h 36"/>
                    <a:gd name="T44" fmla="*/ 2147483647 w 56"/>
                    <a:gd name="T45" fmla="*/ 2147483647 h 36"/>
                    <a:gd name="T46" fmla="*/ 2147483647 w 56"/>
                    <a:gd name="T47" fmla="*/ 2147483647 h 36"/>
                    <a:gd name="T48" fmla="*/ 2147483647 w 56"/>
                    <a:gd name="T49" fmla="*/ 2147483647 h 36"/>
                    <a:gd name="T50" fmla="*/ 2147483647 w 56"/>
                    <a:gd name="T51" fmla="*/ 2147483647 h 36"/>
                    <a:gd name="T52" fmla="*/ 2147483647 w 56"/>
                    <a:gd name="T53" fmla="*/ 2147483647 h 36"/>
                    <a:gd name="T54" fmla="*/ 2147483647 w 56"/>
                    <a:gd name="T55" fmla="*/ 2147483647 h 36"/>
                    <a:gd name="T56" fmla="*/ 2147483647 w 56"/>
                    <a:gd name="T57" fmla="*/ 2147483647 h 36"/>
                    <a:gd name="T58" fmla="*/ 0 w 56"/>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36"/>
                    <a:gd name="T92" fmla="*/ 56 w 56"/>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36">
                      <a:moveTo>
                        <a:pt x="0" y="30"/>
                      </a:moveTo>
                      <a:lnTo>
                        <a:pt x="8" y="35"/>
                      </a:lnTo>
                      <a:lnTo>
                        <a:pt x="12" y="36"/>
                      </a:lnTo>
                      <a:lnTo>
                        <a:pt x="16" y="35"/>
                      </a:lnTo>
                      <a:lnTo>
                        <a:pt x="22" y="30"/>
                      </a:lnTo>
                      <a:lnTo>
                        <a:pt x="26" y="28"/>
                      </a:lnTo>
                      <a:lnTo>
                        <a:pt x="30" y="28"/>
                      </a:lnTo>
                      <a:lnTo>
                        <a:pt x="38" y="28"/>
                      </a:lnTo>
                      <a:lnTo>
                        <a:pt x="47" y="28"/>
                      </a:lnTo>
                      <a:lnTo>
                        <a:pt x="51" y="27"/>
                      </a:lnTo>
                      <a:lnTo>
                        <a:pt x="55" y="25"/>
                      </a:lnTo>
                      <a:lnTo>
                        <a:pt x="56" y="21"/>
                      </a:lnTo>
                      <a:lnTo>
                        <a:pt x="55" y="19"/>
                      </a:lnTo>
                      <a:lnTo>
                        <a:pt x="55" y="17"/>
                      </a:lnTo>
                      <a:lnTo>
                        <a:pt x="51" y="15"/>
                      </a:lnTo>
                      <a:lnTo>
                        <a:pt x="49" y="14"/>
                      </a:lnTo>
                      <a:lnTo>
                        <a:pt x="45" y="14"/>
                      </a:lnTo>
                      <a:lnTo>
                        <a:pt x="41" y="14"/>
                      </a:lnTo>
                      <a:lnTo>
                        <a:pt x="40" y="13"/>
                      </a:lnTo>
                      <a:lnTo>
                        <a:pt x="38" y="10"/>
                      </a:lnTo>
                      <a:lnTo>
                        <a:pt x="36" y="4"/>
                      </a:lnTo>
                      <a:lnTo>
                        <a:pt x="31" y="0"/>
                      </a:lnTo>
                      <a:lnTo>
                        <a:pt x="23" y="2"/>
                      </a:lnTo>
                      <a:lnTo>
                        <a:pt x="12" y="3"/>
                      </a:lnTo>
                      <a:lnTo>
                        <a:pt x="14" y="7"/>
                      </a:lnTo>
                      <a:lnTo>
                        <a:pt x="16" y="10"/>
                      </a:lnTo>
                      <a:lnTo>
                        <a:pt x="14" y="14"/>
                      </a:lnTo>
                      <a:lnTo>
                        <a:pt x="12" y="17"/>
                      </a:lnTo>
                      <a:lnTo>
                        <a:pt x="7" y="25"/>
                      </a:lnTo>
                      <a:lnTo>
                        <a:pt x="0" y="3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0" name="Freeform 1170"/>
                <p:cNvSpPr>
                  <a:spLocks/>
                </p:cNvSpPr>
                <p:nvPr/>
              </p:nvSpPr>
              <p:spPr bwMode="auto">
                <a:xfrm>
                  <a:off x="5239747" y="3345672"/>
                  <a:ext cx="432123" cy="199782"/>
                </a:xfrm>
                <a:custGeom>
                  <a:avLst/>
                  <a:gdLst>
                    <a:gd name="T0" fmla="*/ 2147483647 w 316"/>
                    <a:gd name="T1" fmla="*/ 2147483647 h 135"/>
                    <a:gd name="T2" fmla="*/ 2147483647 w 316"/>
                    <a:gd name="T3" fmla="*/ 2147483647 h 135"/>
                    <a:gd name="T4" fmla="*/ 2147483647 w 316"/>
                    <a:gd name="T5" fmla="*/ 2147483647 h 135"/>
                    <a:gd name="T6" fmla="*/ 2147483647 w 316"/>
                    <a:gd name="T7" fmla="*/ 2147483647 h 135"/>
                    <a:gd name="T8" fmla="*/ 2147483647 w 316"/>
                    <a:gd name="T9" fmla="*/ 2147483647 h 135"/>
                    <a:gd name="T10" fmla="*/ 2147483647 w 316"/>
                    <a:gd name="T11" fmla="*/ 2147483647 h 135"/>
                    <a:gd name="T12" fmla="*/ 2147483647 w 316"/>
                    <a:gd name="T13" fmla="*/ 2147483647 h 135"/>
                    <a:gd name="T14" fmla="*/ 2147483647 w 316"/>
                    <a:gd name="T15" fmla="*/ 2147483647 h 135"/>
                    <a:gd name="T16" fmla="*/ 2147483647 w 316"/>
                    <a:gd name="T17" fmla="*/ 2147483647 h 135"/>
                    <a:gd name="T18" fmla="*/ 2147483647 w 316"/>
                    <a:gd name="T19" fmla="*/ 2147483647 h 135"/>
                    <a:gd name="T20" fmla="*/ 2147483647 w 316"/>
                    <a:gd name="T21" fmla="*/ 2147483647 h 135"/>
                    <a:gd name="T22" fmla="*/ 2147483647 w 316"/>
                    <a:gd name="T23" fmla="*/ 2147483647 h 135"/>
                    <a:gd name="T24" fmla="*/ 2147483647 w 316"/>
                    <a:gd name="T25" fmla="*/ 2147483647 h 135"/>
                    <a:gd name="T26" fmla="*/ 2147483647 w 316"/>
                    <a:gd name="T27" fmla="*/ 2147483647 h 135"/>
                    <a:gd name="T28" fmla="*/ 2147483647 w 316"/>
                    <a:gd name="T29" fmla="*/ 2147483647 h 135"/>
                    <a:gd name="T30" fmla="*/ 2147483647 w 316"/>
                    <a:gd name="T31" fmla="*/ 2147483647 h 135"/>
                    <a:gd name="T32" fmla="*/ 2147483647 w 316"/>
                    <a:gd name="T33" fmla="*/ 2147483647 h 135"/>
                    <a:gd name="T34" fmla="*/ 2147483647 w 316"/>
                    <a:gd name="T35" fmla="*/ 2147483647 h 135"/>
                    <a:gd name="T36" fmla="*/ 2147483647 w 316"/>
                    <a:gd name="T37" fmla="*/ 2147483647 h 135"/>
                    <a:gd name="T38" fmla="*/ 2147483647 w 316"/>
                    <a:gd name="T39" fmla="*/ 2147483647 h 135"/>
                    <a:gd name="T40" fmla="*/ 2147483647 w 316"/>
                    <a:gd name="T41" fmla="*/ 2147483647 h 135"/>
                    <a:gd name="T42" fmla="*/ 2147483647 w 316"/>
                    <a:gd name="T43" fmla="*/ 2147483647 h 135"/>
                    <a:gd name="T44" fmla="*/ 2147483647 w 316"/>
                    <a:gd name="T45" fmla="*/ 2147483647 h 135"/>
                    <a:gd name="T46" fmla="*/ 2147483647 w 316"/>
                    <a:gd name="T47" fmla="*/ 2147483647 h 135"/>
                    <a:gd name="T48" fmla="*/ 2147483647 w 316"/>
                    <a:gd name="T49" fmla="*/ 2147483647 h 135"/>
                    <a:gd name="T50" fmla="*/ 2147483647 w 316"/>
                    <a:gd name="T51" fmla="*/ 2147483647 h 135"/>
                    <a:gd name="T52" fmla="*/ 2147483647 w 316"/>
                    <a:gd name="T53" fmla="*/ 2147483647 h 135"/>
                    <a:gd name="T54" fmla="*/ 2147483647 w 316"/>
                    <a:gd name="T55" fmla="*/ 2147483647 h 135"/>
                    <a:gd name="T56" fmla="*/ 2147483647 w 316"/>
                    <a:gd name="T57" fmla="*/ 2147483647 h 135"/>
                    <a:gd name="T58" fmla="*/ 2147483647 w 316"/>
                    <a:gd name="T59" fmla="*/ 2147483647 h 135"/>
                    <a:gd name="T60" fmla="*/ 2147483647 w 316"/>
                    <a:gd name="T61" fmla="*/ 2147483647 h 135"/>
                    <a:gd name="T62" fmla="*/ 2147483647 w 316"/>
                    <a:gd name="T63" fmla="*/ 2147483647 h 135"/>
                    <a:gd name="T64" fmla="*/ 2147483647 w 316"/>
                    <a:gd name="T65" fmla="*/ 2147483647 h 135"/>
                    <a:gd name="T66" fmla="*/ 2147483647 w 316"/>
                    <a:gd name="T67" fmla="*/ 2147483647 h 135"/>
                    <a:gd name="T68" fmla="*/ 2147483647 w 316"/>
                    <a:gd name="T69" fmla="*/ 2147483647 h 135"/>
                    <a:gd name="T70" fmla="*/ 2147483647 w 316"/>
                    <a:gd name="T71" fmla="*/ 2147483647 h 135"/>
                    <a:gd name="T72" fmla="*/ 2147483647 w 316"/>
                    <a:gd name="T73" fmla="*/ 2147483647 h 135"/>
                    <a:gd name="T74" fmla="*/ 2147483647 w 316"/>
                    <a:gd name="T75" fmla="*/ 2147483647 h 135"/>
                    <a:gd name="T76" fmla="*/ 2147483647 w 316"/>
                    <a:gd name="T77" fmla="*/ 2147483647 h 135"/>
                    <a:gd name="T78" fmla="*/ 2147483647 w 316"/>
                    <a:gd name="T79" fmla="*/ 2147483647 h 135"/>
                    <a:gd name="T80" fmla="*/ 2147483647 w 316"/>
                    <a:gd name="T81" fmla="*/ 2147483647 h 135"/>
                    <a:gd name="T82" fmla="*/ 2147483647 w 316"/>
                    <a:gd name="T83" fmla="*/ 2147483647 h 135"/>
                    <a:gd name="T84" fmla="*/ 2147483647 w 316"/>
                    <a:gd name="T85" fmla="*/ 2147483647 h 135"/>
                    <a:gd name="T86" fmla="*/ 2147483647 w 316"/>
                    <a:gd name="T87" fmla="*/ 2147483647 h 135"/>
                    <a:gd name="T88" fmla="*/ 2147483647 w 316"/>
                    <a:gd name="T89" fmla="*/ 2147483647 h 135"/>
                    <a:gd name="T90" fmla="*/ 2147483647 w 316"/>
                    <a:gd name="T91" fmla="*/ 2147483647 h 135"/>
                    <a:gd name="T92" fmla="*/ 2147483647 w 316"/>
                    <a:gd name="T93" fmla="*/ 2147483647 h 135"/>
                    <a:gd name="T94" fmla="*/ 2147483647 w 316"/>
                    <a:gd name="T95" fmla="*/ 2147483647 h 135"/>
                    <a:gd name="T96" fmla="*/ 2147483647 w 316"/>
                    <a:gd name="T97" fmla="*/ 2147483647 h 135"/>
                    <a:gd name="T98" fmla="*/ 2147483647 w 316"/>
                    <a:gd name="T99" fmla="*/ 2147483647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16"/>
                    <a:gd name="T151" fmla="*/ 0 h 135"/>
                    <a:gd name="T152" fmla="*/ 316 w 316"/>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16" h="135">
                      <a:moveTo>
                        <a:pt x="165" y="135"/>
                      </a:moveTo>
                      <a:lnTo>
                        <a:pt x="169" y="135"/>
                      </a:lnTo>
                      <a:lnTo>
                        <a:pt x="173" y="134"/>
                      </a:lnTo>
                      <a:lnTo>
                        <a:pt x="175" y="132"/>
                      </a:lnTo>
                      <a:lnTo>
                        <a:pt x="178" y="129"/>
                      </a:lnTo>
                      <a:lnTo>
                        <a:pt x="180" y="122"/>
                      </a:lnTo>
                      <a:lnTo>
                        <a:pt x="180" y="114"/>
                      </a:lnTo>
                      <a:lnTo>
                        <a:pt x="182" y="113"/>
                      </a:lnTo>
                      <a:lnTo>
                        <a:pt x="183" y="110"/>
                      </a:lnTo>
                      <a:lnTo>
                        <a:pt x="184" y="110"/>
                      </a:lnTo>
                      <a:lnTo>
                        <a:pt x="187" y="110"/>
                      </a:lnTo>
                      <a:lnTo>
                        <a:pt x="194" y="114"/>
                      </a:lnTo>
                      <a:lnTo>
                        <a:pt x="199" y="115"/>
                      </a:lnTo>
                      <a:lnTo>
                        <a:pt x="203" y="115"/>
                      </a:lnTo>
                      <a:lnTo>
                        <a:pt x="207" y="114"/>
                      </a:lnTo>
                      <a:lnTo>
                        <a:pt x="211" y="111"/>
                      </a:lnTo>
                      <a:lnTo>
                        <a:pt x="216" y="108"/>
                      </a:lnTo>
                      <a:lnTo>
                        <a:pt x="220" y="108"/>
                      </a:lnTo>
                      <a:lnTo>
                        <a:pt x="223" y="108"/>
                      </a:lnTo>
                      <a:lnTo>
                        <a:pt x="230" y="109"/>
                      </a:lnTo>
                      <a:lnTo>
                        <a:pt x="239" y="109"/>
                      </a:lnTo>
                      <a:lnTo>
                        <a:pt x="245" y="107"/>
                      </a:lnTo>
                      <a:lnTo>
                        <a:pt x="248" y="104"/>
                      </a:lnTo>
                      <a:lnTo>
                        <a:pt x="249" y="103"/>
                      </a:lnTo>
                      <a:lnTo>
                        <a:pt x="254" y="102"/>
                      </a:lnTo>
                      <a:lnTo>
                        <a:pt x="259" y="101"/>
                      </a:lnTo>
                      <a:lnTo>
                        <a:pt x="265" y="96"/>
                      </a:lnTo>
                      <a:lnTo>
                        <a:pt x="269" y="96"/>
                      </a:lnTo>
                      <a:lnTo>
                        <a:pt x="273" y="97"/>
                      </a:lnTo>
                      <a:lnTo>
                        <a:pt x="279" y="103"/>
                      </a:lnTo>
                      <a:lnTo>
                        <a:pt x="286" y="101"/>
                      </a:lnTo>
                      <a:lnTo>
                        <a:pt x="292" y="100"/>
                      </a:lnTo>
                      <a:lnTo>
                        <a:pt x="303" y="102"/>
                      </a:lnTo>
                      <a:lnTo>
                        <a:pt x="314" y="102"/>
                      </a:lnTo>
                      <a:lnTo>
                        <a:pt x="310" y="94"/>
                      </a:lnTo>
                      <a:lnTo>
                        <a:pt x="309" y="84"/>
                      </a:lnTo>
                      <a:lnTo>
                        <a:pt x="307" y="75"/>
                      </a:lnTo>
                      <a:lnTo>
                        <a:pt x="307" y="65"/>
                      </a:lnTo>
                      <a:lnTo>
                        <a:pt x="309" y="62"/>
                      </a:lnTo>
                      <a:lnTo>
                        <a:pt x="310" y="61"/>
                      </a:lnTo>
                      <a:lnTo>
                        <a:pt x="312" y="58"/>
                      </a:lnTo>
                      <a:lnTo>
                        <a:pt x="315" y="58"/>
                      </a:lnTo>
                      <a:lnTo>
                        <a:pt x="316" y="55"/>
                      </a:lnTo>
                      <a:lnTo>
                        <a:pt x="316" y="52"/>
                      </a:lnTo>
                      <a:lnTo>
                        <a:pt x="312" y="45"/>
                      </a:lnTo>
                      <a:lnTo>
                        <a:pt x="309" y="39"/>
                      </a:lnTo>
                      <a:lnTo>
                        <a:pt x="302" y="24"/>
                      </a:lnTo>
                      <a:lnTo>
                        <a:pt x="300" y="19"/>
                      </a:lnTo>
                      <a:lnTo>
                        <a:pt x="297" y="15"/>
                      </a:lnTo>
                      <a:lnTo>
                        <a:pt x="292" y="14"/>
                      </a:lnTo>
                      <a:lnTo>
                        <a:pt x="288" y="12"/>
                      </a:lnTo>
                      <a:lnTo>
                        <a:pt x="277" y="12"/>
                      </a:lnTo>
                      <a:lnTo>
                        <a:pt x="267" y="12"/>
                      </a:lnTo>
                      <a:lnTo>
                        <a:pt x="260" y="18"/>
                      </a:lnTo>
                      <a:lnTo>
                        <a:pt x="254" y="24"/>
                      </a:lnTo>
                      <a:lnTo>
                        <a:pt x="250" y="25"/>
                      </a:lnTo>
                      <a:lnTo>
                        <a:pt x="245" y="26"/>
                      </a:lnTo>
                      <a:lnTo>
                        <a:pt x="241" y="26"/>
                      </a:lnTo>
                      <a:lnTo>
                        <a:pt x="237" y="25"/>
                      </a:lnTo>
                      <a:lnTo>
                        <a:pt x="232" y="24"/>
                      </a:lnTo>
                      <a:lnTo>
                        <a:pt x="229" y="23"/>
                      </a:lnTo>
                      <a:lnTo>
                        <a:pt x="221" y="20"/>
                      </a:lnTo>
                      <a:lnTo>
                        <a:pt x="217" y="20"/>
                      </a:lnTo>
                      <a:lnTo>
                        <a:pt x="213" y="20"/>
                      </a:lnTo>
                      <a:lnTo>
                        <a:pt x="207" y="21"/>
                      </a:lnTo>
                      <a:lnTo>
                        <a:pt x="201" y="21"/>
                      </a:lnTo>
                      <a:lnTo>
                        <a:pt x="196" y="21"/>
                      </a:lnTo>
                      <a:lnTo>
                        <a:pt x="189" y="19"/>
                      </a:lnTo>
                      <a:lnTo>
                        <a:pt x="185" y="19"/>
                      </a:lnTo>
                      <a:lnTo>
                        <a:pt x="182" y="19"/>
                      </a:lnTo>
                      <a:lnTo>
                        <a:pt x="175" y="14"/>
                      </a:lnTo>
                      <a:lnTo>
                        <a:pt x="171" y="12"/>
                      </a:lnTo>
                      <a:lnTo>
                        <a:pt x="168" y="10"/>
                      </a:lnTo>
                      <a:lnTo>
                        <a:pt x="164" y="10"/>
                      </a:lnTo>
                      <a:lnTo>
                        <a:pt x="161" y="11"/>
                      </a:lnTo>
                      <a:lnTo>
                        <a:pt x="157" y="11"/>
                      </a:lnTo>
                      <a:lnTo>
                        <a:pt x="155" y="10"/>
                      </a:lnTo>
                      <a:lnTo>
                        <a:pt x="152" y="6"/>
                      </a:lnTo>
                      <a:lnTo>
                        <a:pt x="151" y="4"/>
                      </a:lnTo>
                      <a:lnTo>
                        <a:pt x="150" y="2"/>
                      </a:lnTo>
                      <a:lnTo>
                        <a:pt x="146" y="2"/>
                      </a:lnTo>
                      <a:lnTo>
                        <a:pt x="141" y="2"/>
                      </a:lnTo>
                      <a:lnTo>
                        <a:pt x="136" y="4"/>
                      </a:lnTo>
                      <a:lnTo>
                        <a:pt x="129" y="4"/>
                      </a:lnTo>
                      <a:lnTo>
                        <a:pt x="126" y="2"/>
                      </a:lnTo>
                      <a:lnTo>
                        <a:pt x="118" y="0"/>
                      </a:lnTo>
                      <a:lnTo>
                        <a:pt x="114" y="0"/>
                      </a:lnTo>
                      <a:lnTo>
                        <a:pt x="112" y="1"/>
                      </a:lnTo>
                      <a:lnTo>
                        <a:pt x="103" y="7"/>
                      </a:lnTo>
                      <a:lnTo>
                        <a:pt x="99" y="11"/>
                      </a:lnTo>
                      <a:lnTo>
                        <a:pt x="95" y="15"/>
                      </a:lnTo>
                      <a:lnTo>
                        <a:pt x="91" y="18"/>
                      </a:lnTo>
                      <a:lnTo>
                        <a:pt x="88" y="20"/>
                      </a:lnTo>
                      <a:lnTo>
                        <a:pt x="84" y="20"/>
                      </a:lnTo>
                      <a:lnTo>
                        <a:pt x="79" y="20"/>
                      </a:lnTo>
                      <a:lnTo>
                        <a:pt x="70" y="20"/>
                      </a:lnTo>
                      <a:lnTo>
                        <a:pt x="65" y="21"/>
                      </a:lnTo>
                      <a:lnTo>
                        <a:pt x="61" y="23"/>
                      </a:lnTo>
                      <a:lnTo>
                        <a:pt x="58" y="24"/>
                      </a:lnTo>
                      <a:lnTo>
                        <a:pt x="56" y="27"/>
                      </a:lnTo>
                      <a:lnTo>
                        <a:pt x="55" y="30"/>
                      </a:lnTo>
                      <a:lnTo>
                        <a:pt x="52" y="32"/>
                      </a:lnTo>
                      <a:lnTo>
                        <a:pt x="41" y="39"/>
                      </a:lnTo>
                      <a:lnTo>
                        <a:pt x="38" y="39"/>
                      </a:lnTo>
                      <a:lnTo>
                        <a:pt x="36" y="39"/>
                      </a:lnTo>
                      <a:lnTo>
                        <a:pt x="30" y="39"/>
                      </a:lnTo>
                      <a:lnTo>
                        <a:pt x="25" y="39"/>
                      </a:lnTo>
                      <a:lnTo>
                        <a:pt x="20" y="39"/>
                      </a:lnTo>
                      <a:lnTo>
                        <a:pt x="15" y="39"/>
                      </a:lnTo>
                      <a:lnTo>
                        <a:pt x="9" y="42"/>
                      </a:lnTo>
                      <a:lnTo>
                        <a:pt x="6" y="40"/>
                      </a:lnTo>
                      <a:lnTo>
                        <a:pt x="4" y="40"/>
                      </a:lnTo>
                      <a:lnTo>
                        <a:pt x="2" y="44"/>
                      </a:lnTo>
                      <a:lnTo>
                        <a:pt x="1" y="47"/>
                      </a:lnTo>
                      <a:lnTo>
                        <a:pt x="0" y="52"/>
                      </a:lnTo>
                      <a:lnTo>
                        <a:pt x="1" y="56"/>
                      </a:lnTo>
                      <a:lnTo>
                        <a:pt x="4" y="57"/>
                      </a:lnTo>
                      <a:lnTo>
                        <a:pt x="6" y="58"/>
                      </a:lnTo>
                      <a:lnTo>
                        <a:pt x="8" y="59"/>
                      </a:lnTo>
                      <a:lnTo>
                        <a:pt x="9" y="61"/>
                      </a:lnTo>
                      <a:lnTo>
                        <a:pt x="10" y="64"/>
                      </a:lnTo>
                      <a:lnTo>
                        <a:pt x="10" y="69"/>
                      </a:lnTo>
                      <a:lnTo>
                        <a:pt x="13" y="72"/>
                      </a:lnTo>
                      <a:lnTo>
                        <a:pt x="15" y="76"/>
                      </a:lnTo>
                      <a:lnTo>
                        <a:pt x="15" y="77"/>
                      </a:lnTo>
                      <a:lnTo>
                        <a:pt x="14" y="79"/>
                      </a:lnTo>
                      <a:lnTo>
                        <a:pt x="11" y="82"/>
                      </a:lnTo>
                      <a:lnTo>
                        <a:pt x="10" y="82"/>
                      </a:lnTo>
                      <a:lnTo>
                        <a:pt x="8" y="79"/>
                      </a:lnTo>
                      <a:lnTo>
                        <a:pt x="5" y="77"/>
                      </a:lnTo>
                      <a:lnTo>
                        <a:pt x="4" y="77"/>
                      </a:lnTo>
                      <a:lnTo>
                        <a:pt x="4" y="78"/>
                      </a:lnTo>
                      <a:lnTo>
                        <a:pt x="4" y="82"/>
                      </a:lnTo>
                      <a:lnTo>
                        <a:pt x="6" y="85"/>
                      </a:lnTo>
                      <a:lnTo>
                        <a:pt x="9" y="93"/>
                      </a:lnTo>
                      <a:lnTo>
                        <a:pt x="10" y="94"/>
                      </a:lnTo>
                      <a:lnTo>
                        <a:pt x="11" y="95"/>
                      </a:lnTo>
                      <a:lnTo>
                        <a:pt x="14" y="95"/>
                      </a:lnTo>
                      <a:lnTo>
                        <a:pt x="19" y="95"/>
                      </a:lnTo>
                      <a:lnTo>
                        <a:pt x="22" y="96"/>
                      </a:lnTo>
                      <a:lnTo>
                        <a:pt x="23" y="97"/>
                      </a:lnTo>
                      <a:lnTo>
                        <a:pt x="22" y="97"/>
                      </a:lnTo>
                      <a:lnTo>
                        <a:pt x="20" y="98"/>
                      </a:lnTo>
                      <a:lnTo>
                        <a:pt x="18" y="100"/>
                      </a:lnTo>
                      <a:lnTo>
                        <a:pt x="18" y="102"/>
                      </a:lnTo>
                      <a:lnTo>
                        <a:pt x="18" y="104"/>
                      </a:lnTo>
                      <a:lnTo>
                        <a:pt x="18" y="106"/>
                      </a:lnTo>
                      <a:lnTo>
                        <a:pt x="20" y="107"/>
                      </a:lnTo>
                      <a:lnTo>
                        <a:pt x="24" y="107"/>
                      </a:lnTo>
                      <a:lnTo>
                        <a:pt x="29" y="107"/>
                      </a:lnTo>
                      <a:lnTo>
                        <a:pt x="30" y="107"/>
                      </a:lnTo>
                      <a:lnTo>
                        <a:pt x="30" y="108"/>
                      </a:lnTo>
                      <a:lnTo>
                        <a:pt x="25" y="113"/>
                      </a:lnTo>
                      <a:lnTo>
                        <a:pt x="24" y="114"/>
                      </a:lnTo>
                      <a:lnTo>
                        <a:pt x="24" y="116"/>
                      </a:lnTo>
                      <a:lnTo>
                        <a:pt x="25" y="119"/>
                      </a:lnTo>
                      <a:lnTo>
                        <a:pt x="28" y="119"/>
                      </a:lnTo>
                      <a:lnTo>
                        <a:pt x="32" y="119"/>
                      </a:lnTo>
                      <a:lnTo>
                        <a:pt x="37" y="117"/>
                      </a:lnTo>
                      <a:lnTo>
                        <a:pt x="42" y="116"/>
                      </a:lnTo>
                      <a:lnTo>
                        <a:pt x="44" y="116"/>
                      </a:lnTo>
                      <a:lnTo>
                        <a:pt x="47" y="117"/>
                      </a:lnTo>
                      <a:lnTo>
                        <a:pt x="51" y="122"/>
                      </a:lnTo>
                      <a:lnTo>
                        <a:pt x="53" y="125"/>
                      </a:lnTo>
                      <a:lnTo>
                        <a:pt x="56" y="126"/>
                      </a:lnTo>
                      <a:lnTo>
                        <a:pt x="70" y="130"/>
                      </a:lnTo>
                      <a:lnTo>
                        <a:pt x="71" y="132"/>
                      </a:lnTo>
                      <a:lnTo>
                        <a:pt x="74" y="132"/>
                      </a:lnTo>
                      <a:lnTo>
                        <a:pt x="74" y="128"/>
                      </a:lnTo>
                      <a:lnTo>
                        <a:pt x="75" y="125"/>
                      </a:lnTo>
                      <a:lnTo>
                        <a:pt x="75" y="121"/>
                      </a:lnTo>
                      <a:lnTo>
                        <a:pt x="77" y="117"/>
                      </a:lnTo>
                      <a:lnTo>
                        <a:pt x="81" y="116"/>
                      </a:lnTo>
                      <a:lnTo>
                        <a:pt x="85" y="116"/>
                      </a:lnTo>
                      <a:lnTo>
                        <a:pt x="89" y="117"/>
                      </a:lnTo>
                      <a:lnTo>
                        <a:pt x="96" y="121"/>
                      </a:lnTo>
                      <a:lnTo>
                        <a:pt x="103" y="126"/>
                      </a:lnTo>
                      <a:lnTo>
                        <a:pt x="110" y="129"/>
                      </a:lnTo>
                      <a:lnTo>
                        <a:pt x="114" y="130"/>
                      </a:lnTo>
                      <a:lnTo>
                        <a:pt x="118" y="130"/>
                      </a:lnTo>
                      <a:lnTo>
                        <a:pt x="127" y="130"/>
                      </a:lnTo>
                      <a:lnTo>
                        <a:pt x="131" y="129"/>
                      </a:lnTo>
                      <a:lnTo>
                        <a:pt x="135" y="128"/>
                      </a:lnTo>
                      <a:lnTo>
                        <a:pt x="137" y="123"/>
                      </a:lnTo>
                      <a:lnTo>
                        <a:pt x="138" y="121"/>
                      </a:lnTo>
                      <a:lnTo>
                        <a:pt x="140" y="120"/>
                      </a:lnTo>
                      <a:lnTo>
                        <a:pt x="143" y="119"/>
                      </a:lnTo>
                      <a:lnTo>
                        <a:pt x="147" y="120"/>
                      </a:lnTo>
                      <a:lnTo>
                        <a:pt x="150" y="121"/>
                      </a:lnTo>
                      <a:lnTo>
                        <a:pt x="154" y="121"/>
                      </a:lnTo>
                      <a:lnTo>
                        <a:pt x="159" y="120"/>
                      </a:lnTo>
                      <a:lnTo>
                        <a:pt x="165" y="115"/>
                      </a:lnTo>
                      <a:lnTo>
                        <a:pt x="169" y="114"/>
                      </a:lnTo>
                      <a:lnTo>
                        <a:pt x="171" y="114"/>
                      </a:lnTo>
                      <a:lnTo>
                        <a:pt x="173" y="115"/>
                      </a:lnTo>
                      <a:lnTo>
                        <a:pt x="171" y="117"/>
                      </a:lnTo>
                      <a:lnTo>
                        <a:pt x="169" y="120"/>
                      </a:lnTo>
                      <a:lnTo>
                        <a:pt x="166" y="121"/>
                      </a:lnTo>
                      <a:lnTo>
                        <a:pt x="164" y="125"/>
                      </a:lnTo>
                      <a:lnTo>
                        <a:pt x="165" y="130"/>
                      </a:lnTo>
                      <a:lnTo>
                        <a:pt x="165" y="1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1" name="Freeform 1171"/>
                <p:cNvSpPr>
                  <a:spLocks/>
                </p:cNvSpPr>
                <p:nvPr/>
              </p:nvSpPr>
              <p:spPr bwMode="auto">
                <a:xfrm>
                  <a:off x="5227911" y="3339753"/>
                  <a:ext cx="75474" cy="54755"/>
                </a:xfrm>
                <a:custGeom>
                  <a:avLst/>
                  <a:gdLst>
                    <a:gd name="T0" fmla="*/ 0 w 56"/>
                    <a:gd name="T1" fmla="*/ 2147483647 h 37"/>
                    <a:gd name="T2" fmla="*/ 0 w 56"/>
                    <a:gd name="T3" fmla="*/ 2147483647 h 37"/>
                    <a:gd name="T4" fmla="*/ 2147483647 w 56"/>
                    <a:gd name="T5" fmla="*/ 2147483647 h 37"/>
                    <a:gd name="T6" fmla="*/ 2147483647 w 56"/>
                    <a:gd name="T7" fmla="*/ 2147483647 h 37"/>
                    <a:gd name="T8" fmla="*/ 2147483647 w 56"/>
                    <a:gd name="T9" fmla="*/ 2147483647 h 37"/>
                    <a:gd name="T10" fmla="*/ 2147483647 w 56"/>
                    <a:gd name="T11" fmla="*/ 2147483647 h 37"/>
                    <a:gd name="T12" fmla="*/ 2147483647 w 56"/>
                    <a:gd name="T13" fmla="*/ 2147483647 h 37"/>
                    <a:gd name="T14" fmla="*/ 2147483647 w 56"/>
                    <a:gd name="T15" fmla="*/ 2147483647 h 37"/>
                    <a:gd name="T16" fmla="*/ 2147483647 w 56"/>
                    <a:gd name="T17" fmla="*/ 2147483647 h 37"/>
                    <a:gd name="T18" fmla="*/ 2147483647 w 56"/>
                    <a:gd name="T19" fmla="*/ 2147483647 h 37"/>
                    <a:gd name="T20" fmla="*/ 2147483647 w 56"/>
                    <a:gd name="T21" fmla="*/ 2147483647 h 37"/>
                    <a:gd name="T22" fmla="*/ 2147483647 w 56"/>
                    <a:gd name="T23" fmla="*/ 2147483647 h 37"/>
                    <a:gd name="T24" fmla="*/ 2147483647 w 56"/>
                    <a:gd name="T25" fmla="*/ 2147483647 h 37"/>
                    <a:gd name="T26" fmla="*/ 2147483647 w 56"/>
                    <a:gd name="T27" fmla="*/ 2147483647 h 37"/>
                    <a:gd name="T28" fmla="*/ 2147483647 w 56"/>
                    <a:gd name="T29" fmla="*/ 2147483647 h 37"/>
                    <a:gd name="T30" fmla="*/ 2147483647 w 56"/>
                    <a:gd name="T31" fmla="*/ 2147483647 h 37"/>
                    <a:gd name="T32" fmla="*/ 2147483647 w 56"/>
                    <a:gd name="T33" fmla="*/ 2147483647 h 37"/>
                    <a:gd name="T34" fmla="*/ 2147483647 w 56"/>
                    <a:gd name="T35" fmla="*/ 2147483647 h 37"/>
                    <a:gd name="T36" fmla="*/ 2147483647 w 56"/>
                    <a:gd name="T37" fmla="*/ 2147483647 h 37"/>
                    <a:gd name="T38" fmla="*/ 2147483647 w 56"/>
                    <a:gd name="T39" fmla="*/ 2147483647 h 37"/>
                    <a:gd name="T40" fmla="*/ 2147483647 w 56"/>
                    <a:gd name="T41" fmla="*/ 2147483647 h 37"/>
                    <a:gd name="T42" fmla="*/ 2147483647 w 56"/>
                    <a:gd name="T43" fmla="*/ 2147483647 h 37"/>
                    <a:gd name="T44" fmla="*/ 2147483647 w 56"/>
                    <a:gd name="T45" fmla="*/ 2147483647 h 37"/>
                    <a:gd name="T46" fmla="*/ 2147483647 w 56"/>
                    <a:gd name="T47" fmla="*/ 2147483647 h 37"/>
                    <a:gd name="T48" fmla="*/ 2147483647 w 56"/>
                    <a:gd name="T49" fmla="*/ 2147483647 h 37"/>
                    <a:gd name="T50" fmla="*/ 2147483647 w 56"/>
                    <a:gd name="T51" fmla="*/ 2147483647 h 37"/>
                    <a:gd name="T52" fmla="*/ 2147483647 w 56"/>
                    <a:gd name="T53" fmla="*/ 2147483647 h 37"/>
                    <a:gd name="T54" fmla="*/ 2147483647 w 56"/>
                    <a:gd name="T55" fmla="*/ 2147483647 h 37"/>
                    <a:gd name="T56" fmla="*/ 2147483647 w 56"/>
                    <a:gd name="T57" fmla="*/ 2147483647 h 37"/>
                    <a:gd name="T58" fmla="*/ 2147483647 w 56"/>
                    <a:gd name="T59" fmla="*/ 0 h 37"/>
                    <a:gd name="T60" fmla="*/ 2147483647 w 56"/>
                    <a:gd name="T61" fmla="*/ 0 h 37"/>
                    <a:gd name="T62" fmla="*/ 2147483647 w 56"/>
                    <a:gd name="T63" fmla="*/ 2147483647 h 37"/>
                    <a:gd name="T64" fmla="*/ 2147483647 w 56"/>
                    <a:gd name="T65" fmla="*/ 2147483647 h 37"/>
                    <a:gd name="T66" fmla="*/ 2147483647 w 56"/>
                    <a:gd name="T67" fmla="*/ 2147483647 h 37"/>
                    <a:gd name="T68" fmla="*/ 2147483647 w 56"/>
                    <a:gd name="T69" fmla="*/ 2147483647 h 37"/>
                    <a:gd name="T70" fmla="*/ 2147483647 w 56"/>
                    <a:gd name="T71" fmla="*/ 2147483647 h 37"/>
                    <a:gd name="T72" fmla="*/ 2147483647 w 56"/>
                    <a:gd name="T73" fmla="*/ 2147483647 h 37"/>
                    <a:gd name="T74" fmla="*/ 2147483647 w 56"/>
                    <a:gd name="T75" fmla="*/ 2147483647 h 37"/>
                    <a:gd name="T76" fmla="*/ 2147483647 w 56"/>
                    <a:gd name="T77" fmla="*/ 2147483647 h 37"/>
                    <a:gd name="T78" fmla="*/ 0 w 56"/>
                    <a:gd name="T79" fmla="*/ 2147483647 h 37"/>
                    <a:gd name="T80" fmla="*/ 0 w 56"/>
                    <a:gd name="T81" fmla="*/ 2147483647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6"/>
                    <a:gd name="T124" fmla="*/ 0 h 37"/>
                    <a:gd name="T125" fmla="*/ 56 w 56"/>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6" h="37">
                      <a:moveTo>
                        <a:pt x="0" y="31"/>
                      </a:moveTo>
                      <a:lnTo>
                        <a:pt x="0" y="31"/>
                      </a:lnTo>
                      <a:lnTo>
                        <a:pt x="8" y="36"/>
                      </a:lnTo>
                      <a:lnTo>
                        <a:pt x="11" y="37"/>
                      </a:lnTo>
                      <a:lnTo>
                        <a:pt x="15" y="36"/>
                      </a:lnTo>
                      <a:lnTo>
                        <a:pt x="22" y="31"/>
                      </a:lnTo>
                      <a:lnTo>
                        <a:pt x="25" y="29"/>
                      </a:lnTo>
                      <a:lnTo>
                        <a:pt x="29" y="29"/>
                      </a:lnTo>
                      <a:lnTo>
                        <a:pt x="38" y="29"/>
                      </a:lnTo>
                      <a:lnTo>
                        <a:pt x="47" y="29"/>
                      </a:lnTo>
                      <a:lnTo>
                        <a:pt x="51" y="28"/>
                      </a:lnTo>
                      <a:lnTo>
                        <a:pt x="55" y="25"/>
                      </a:lnTo>
                      <a:lnTo>
                        <a:pt x="56" y="22"/>
                      </a:lnTo>
                      <a:lnTo>
                        <a:pt x="55" y="19"/>
                      </a:lnTo>
                      <a:lnTo>
                        <a:pt x="55" y="18"/>
                      </a:lnTo>
                      <a:lnTo>
                        <a:pt x="51" y="16"/>
                      </a:lnTo>
                      <a:lnTo>
                        <a:pt x="48" y="15"/>
                      </a:lnTo>
                      <a:lnTo>
                        <a:pt x="45" y="15"/>
                      </a:lnTo>
                      <a:lnTo>
                        <a:pt x="41" y="15"/>
                      </a:lnTo>
                      <a:lnTo>
                        <a:pt x="39" y="14"/>
                      </a:lnTo>
                      <a:lnTo>
                        <a:pt x="38" y="11"/>
                      </a:lnTo>
                      <a:lnTo>
                        <a:pt x="36" y="5"/>
                      </a:lnTo>
                      <a:lnTo>
                        <a:pt x="31" y="0"/>
                      </a:lnTo>
                      <a:lnTo>
                        <a:pt x="23" y="3"/>
                      </a:lnTo>
                      <a:lnTo>
                        <a:pt x="11" y="4"/>
                      </a:lnTo>
                      <a:lnTo>
                        <a:pt x="14" y="8"/>
                      </a:lnTo>
                      <a:lnTo>
                        <a:pt x="15" y="11"/>
                      </a:lnTo>
                      <a:lnTo>
                        <a:pt x="14" y="15"/>
                      </a:lnTo>
                      <a:lnTo>
                        <a:pt x="11" y="18"/>
                      </a:lnTo>
                      <a:lnTo>
                        <a:pt x="6" y="25"/>
                      </a:lnTo>
                      <a:lnTo>
                        <a:pt x="0" y="3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2" name="Freeform 1172"/>
                <p:cNvSpPr>
                  <a:spLocks/>
                </p:cNvSpPr>
                <p:nvPr/>
              </p:nvSpPr>
              <p:spPr bwMode="auto">
                <a:xfrm>
                  <a:off x="5238268" y="3344195"/>
                  <a:ext cx="432123" cy="199783"/>
                </a:xfrm>
                <a:custGeom>
                  <a:avLst/>
                  <a:gdLst>
                    <a:gd name="T0" fmla="*/ 2147483647 w 316"/>
                    <a:gd name="T1" fmla="*/ 2147483647 h 135"/>
                    <a:gd name="T2" fmla="*/ 2147483647 w 316"/>
                    <a:gd name="T3" fmla="*/ 2147483647 h 135"/>
                    <a:gd name="T4" fmla="*/ 2147483647 w 316"/>
                    <a:gd name="T5" fmla="*/ 2147483647 h 135"/>
                    <a:gd name="T6" fmla="*/ 2147483647 w 316"/>
                    <a:gd name="T7" fmla="*/ 2147483647 h 135"/>
                    <a:gd name="T8" fmla="*/ 2147483647 w 316"/>
                    <a:gd name="T9" fmla="*/ 2147483647 h 135"/>
                    <a:gd name="T10" fmla="*/ 2147483647 w 316"/>
                    <a:gd name="T11" fmla="*/ 2147483647 h 135"/>
                    <a:gd name="T12" fmla="*/ 2147483647 w 316"/>
                    <a:gd name="T13" fmla="*/ 2147483647 h 135"/>
                    <a:gd name="T14" fmla="*/ 2147483647 w 316"/>
                    <a:gd name="T15" fmla="*/ 2147483647 h 135"/>
                    <a:gd name="T16" fmla="*/ 2147483647 w 316"/>
                    <a:gd name="T17" fmla="*/ 2147483647 h 135"/>
                    <a:gd name="T18" fmla="*/ 2147483647 w 316"/>
                    <a:gd name="T19" fmla="*/ 2147483647 h 135"/>
                    <a:gd name="T20" fmla="*/ 2147483647 w 316"/>
                    <a:gd name="T21" fmla="*/ 2147483647 h 135"/>
                    <a:gd name="T22" fmla="*/ 2147483647 w 316"/>
                    <a:gd name="T23" fmla="*/ 2147483647 h 135"/>
                    <a:gd name="T24" fmla="*/ 2147483647 w 316"/>
                    <a:gd name="T25" fmla="*/ 2147483647 h 135"/>
                    <a:gd name="T26" fmla="*/ 2147483647 w 316"/>
                    <a:gd name="T27" fmla="*/ 2147483647 h 135"/>
                    <a:gd name="T28" fmla="*/ 2147483647 w 316"/>
                    <a:gd name="T29" fmla="*/ 2147483647 h 135"/>
                    <a:gd name="T30" fmla="*/ 2147483647 w 316"/>
                    <a:gd name="T31" fmla="*/ 2147483647 h 135"/>
                    <a:gd name="T32" fmla="*/ 2147483647 w 316"/>
                    <a:gd name="T33" fmla="*/ 2147483647 h 135"/>
                    <a:gd name="T34" fmla="*/ 2147483647 w 316"/>
                    <a:gd name="T35" fmla="*/ 2147483647 h 135"/>
                    <a:gd name="T36" fmla="*/ 2147483647 w 316"/>
                    <a:gd name="T37" fmla="*/ 2147483647 h 135"/>
                    <a:gd name="T38" fmla="*/ 2147483647 w 316"/>
                    <a:gd name="T39" fmla="*/ 2147483647 h 135"/>
                    <a:gd name="T40" fmla="*/ 2147483647 w 316"/>
                    <a:gd name="T41" fmla="*/ 2147483647 h 135"/>
                    <a:gd name="T42" fmla="*/ 2147483647 w 316"/>
                    <a:gd name="T43" fmla="*/ 2147483647 h 135"/>
                    <a:gd name="T44" fmla="*/ 2147483647 w 316"/>
                    <a:gd name="T45" fmla="*/ 2147483647 h 135"/>
                    <a:gd name="T46" fmla="*/ 2147483647 w 316"/>
                    <a:gd name="T47" fmla="*/ 2147483647 h 135"/>
                    <a:gd name="T48" fmla="*/ 2147483647 w 316"/>
                    <a:gd name="T49" fmla="*/ 2147483647 h 135"/>
                    <a:gd name="T50" fmla="*/ 2147483647 w 316"/>
                    <a:gd name="T51" fmla="*/ 2147483647 h 135"/>
                    <a:gd name="T52" fmla="*/ 2147483647 w 316"/>
                    <a:gd name="T53" fmla="*/ 2147483647 h 135"/>
                    <a:gd name="T54" fmla="*/ 2147483647 w 316"/>
                    <a:gd name="T55" fmla="*/ 2147483647 h 135"/>
                    <a:gd name="T56" fmla="*/ 2147483647 w 316"/>
                    <a:gd name="T57" fmla="*/ 2147483647 h 135"/>
                    <a:gd name="T58" fmla="*/ 2147483647 w 316"/>
                    <a:gd name="T59" fmla="*/ 2147483647 h 135"/>
                    <a:gd name="T60" fmla="*/ 2147483647 w 316"/>
                    <a:gd name="T61" fmla="*/ 2147483647 h 135"/>
                    <a:gd name="T62" fmla="*/ 2147483647 w 316"/>
                    <a:gd name="T63" fmla="*/ 2147483647 h 135"/>
                    <a:gd name="T64" fmla="*/ 2147483647 w 316"/>
                    <a:gd name="T65" fmla="*/ 2147483647 h 135"/>
                    <a:gd name="T66" fmla="*/ 2147483647 w 316"/>
                    <a:gd name="T67" fmla="*/ 2147483647 h 135"/>
                    <a:gd name="T68" fmla="*/ 2147483647 w 316"/>
                    <a:gd name="T69" fmla="*/ 2147483647 h 135"/>
                    <a:gd name="T70" fmla="*/ 2147483647 w 316"/>
                    <a:gd name="T71" fmla="*/ 2147483647 h 135"/>
                    <a:gd name="T72" fmla="*/ 2147483647 w 316"/>
                    <a:gd name="T73" fmla="*/ 2147483647 h 135"/>
                    <a:gd name="T74" fmla="*/ 2147483647 w 316"/>
                    <a:gd name="T75" fmla="*/ 2147483647 h 135"/>
                    <a:gd name="T76" fmla="*/ 2147483647 w 316"/>
                    <a:gd name="T77" fmla="*/ 2147483647 h 135"/>
                    <a:gd name="T78" fmla="*/ 2147483647 w 316"/>
                    <a:gd name="T79" fmla="*/ 2147483647 h 135"/>
                    <a:gd name="T80" fmla="*/ 2147483647 w 316"/>
                    <a:gd name="T81" fmla="*/ 2147483647 h 135"/>
                    <a:gd name="T82" fmla="*/ 2147483647 w 316"/>
                    <a:gd name="T83" fmla="*/ 2147483647 h 135"/>
                    <a:gd name="T84" fmla="*/ 2147483647 w 316"/>
                    <a:gd name="T85" fmla="*/ 2147483647 h 135"/>
                    <a:gd name="T86" fmla="*/ 2147483647 w 316"/>
                    <a:gd name="T87" fmla="*/ 2147483647 h 135"/>
                    <a:gd name="T88" fmla="*/ 2147483647 w 316"/>
                    <a:gd name="T89" fmla="*/ 2147483647 h 135"/>
                    <a:gd name="T90" fmla="*/ 2147483647 w 316"/>
                    <a:gd name="T91" fmla="*/ 2147483647 h 135"/>
                    <a:gd name="T92" fmla="*/ 2147483647 w 316"/>
                    <a:gd name="T93" fmla="*/ 2147483647 h 135"/>
                    <a:gd name="T94" fmla="*/ 2147483647 w 316"/>
                    <a:gd name="T95" fmla="*/ 2147483647 h 135"/>
                    <a:gd name="T96" fmla="*/ 2147483647 w 316"/>
                    <a:gd name="T97" fmla="*/ 2147483647 h 135"/>
                    <a:gd name="T98" fmla="*/ 2147483647 w 316"/>
                    <a:gd name="T99" fmla="*/ 2147483647 h 135"/>
                    <a:gd name="T100" fmla="*/ 2147483647 w 316"/>
                    <a:gd name="T101" fmla="*/ 2147483647 h 135"/>
                    <a:gd name="T102" fmla="*/ 2147483647 w 316"/>
                    <a:gd name="T103" fmla="*/ 2147483647 h 135"/>
                    <a:gd name="T104" fmla="*/ 2147483647 w 316"/>
                    <a:gd name="T105" fmla="*/ 2147483647 h 13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16"/>
                    <a:gd name="T160" fmla="*/ 0 h 135"/>
                    <a:gd name="T161" fmla="*/ 316 w 316"/>
                    <a:gd name="T162" fmla="*/ 135 h 13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16" h="135">
                      <a:moveTo>
                        <a:pt x="165" y="135"/>
                      </a:moveTo>
                      <a:lnTo>
                        <a:pt x="165" y="135"/>
                      </a:lnTo>
                      <a:lnTo>
                        <a:pt x="169" y="135"/>
                      </a:lnTo>
                      <a:lnTo>
                        <a:pt x="172" y="134"/>
                      </a:lnTo>
                      <a:lnTo>
                        <a:pt x="175" y="131"/>
                      </a:lnTo>
                      <a:lnTo>
                        <a:pt x="177" y="129"/>
                      </a:lnTo>
                      <a:lnTo>
                        <a:pt x="180" y="122"/>
                      </a:lnTo>
                      <a:lnTo>
                        <a:pt x="180" y="114"/>
                      </a:lnTo>
                      <a:lnTo>
                        <a:pt x="181" y="112"/>
                      </a:lnTo>
                      <a:lnTo>
                        <a:pt x="183" y="110"/>
                      </a:lnTo>
                      <a:lnTo>
                        <a:pt x="184" y="110"/>
                      </a:lnTo>
                      <a:lnTo>
                        <a:pt x="186" y="110"/>
                      </a:lnTo>
                      <a:lnTo>
                        <a:pt x="194" y="114"/>
                      </a:lnTo>
                      <a:lnTo>
                        <a:pt x="199" y="115"/>
                      </a:lnTo>
                      <a:lnTo>
                        <a:pt x="203" y="115"/>
                      </a:lnTo>
                      <a:lnTo>
                        <a:pt x="207" y="114"/>
                      </a:lnTo>
                      <a:lnTo>
                        <a:pt x="210" y="111"/>
                      </a:lnTo>
                      <a:lnTo>
                        <a:pt x="216" y="108"/>
                      </a:lnTo>
                      <a:lnTo>
                        <a:pt x="219" y="108"/>
                      </a:lnTo>
                      <a:lnTo>
                        <a:pt x="223" y="108"/>
                      </a:lnTo>
                      <a:lnTo>
                        <a:pt x="230" y="109"/>
                      </a:lnTo>
                      <a:lnTo>
                        <a:pt x="238" y="109"/>
                      </a:lnTo>
                      <a:lnTo>
                        <a:pt x="245" y="107"/>
                      </a:lnTo>
                      <a:lnTo>
                        <a:pt x="247" y="104"/>
                      </a:lnTo>
                      <a:lnTo>
                        <a:pt x="249" y="103"/>
                      </a:lnTo>
                      <a:lnTo>
                        <a:pt x="254" y="102"/>
                      </a:lnTo>
                      <a:lnTo>
                        <a:pt x="259" y="101"/>
                      </a:lnTo>
                      <a:lnTo>
                        <a:pt x="265" y="96"/>
                      </a:lnTo>
                      <a:lnTo>
                        <a:pt x="269" y="96"/>
                      </a:lnTo>
                      <a:lnTo>
                        <a:pt x="273" y="97"/>
                      </a:lnTo>
                      <a:lnTo>
                        <a:pt x="279" y="103"/>
                      </a:lnTo>
                      <a:lnTo>
                        <a:pt x="285" y="101"/>
                      </a:lnTo>
                      <a:lnTo>
                        <a:pt x="292" y="99"/>
                      </a:lnTo>
                      <a:lnTo>
                        <a:pt x="303" y="102"/>
                      </a:lnTo>
                      <a:lnTo>
                        <a:pt x="313" y="102"/>
                      </a:lnTo>
                      <a:lnTo>
                        <a:pt x="310" y="94"/>
                      </a:lnTo>
                      <a:lnTo>
                        <a:pt x="308" y="84"/>
                      </a:lnTo>
                      <a:lnTo>
                        <a:pt x="307" y="75"/>
                      </a:lnTo>
                      <a:lnTo>
                        <a:pt x="307" y="65"/>
                      </a:lnTo>
                      <a:lnTo>
                        <a:pt x="308" y="62"/>
                      </a:lnTo>
                      <a:lnTo>
                        <a:pt x="310" y="60"/>
                      </a:lnTo>
                      <a:lnTo>
                        <a:pt x="312" y="58"/>
                      </a:lnTo>
                      <a:lnTo>
                        <a:pt x="315" y="58"/>
                      </a:lnTo>
                      <a:lnTo>
                        <a:pt x="316" y="54"/>
                      </a:lnTo>
                      <a:lnTo>
                        <a:pt x="316" y="52"/>
                      </a:lnTo>
                      <a:lnTo>
                        <a:pt x="312" y="45"/>
                      </a:lnTo>
                      <a:lnTo>
                        <a:pt x="308" y="39"/>
                      </a:lnTo>
                      <a:lnTo>
                        <a:pt x="302" y="24"/>
                      </a:lnTo>
                      <a:lnTo>
                        <a:pt x="299" y="19"/>
                      </a:lnTo>
                      <a:lnTo>
                        <a:pt x="297" y="15"/>
                      </a:lnTo>
                      <a:lnTo>
                        <a:pt x="292" y="14"/>
                      </a:lnTo>
                      <a:lnTo>
                        <a:pt x="288" y="12"/>
                      </a:lnTo>
                      <a:lnTo>
                        <a:pt x="277" y="12"/>
                      </a:lnTo>
                      <a:lnTo>
                        <a:pt x="266" y="12"/>
                      </a:lnTo>
                      <a:lnTo>
                        <a:pt x="260" y="18"/>
                      </a:lnTo>
                      <a:lnTo>
                        <a:pt x="254" y="24"/>
                      </a:lnTo>
                      <a:lnTo>
                        <a:pt x="250" y="25"/>
                      </a:lnTo>
                      <a:lnTo>
                        <a:pt x="245" y="26"/>
                      </a:lnTo>
                      <a:lnTo>
                        <a:pt x="241" y="26"/>
                      </a:lnTo>
                      <a:lnTo>
                        <a:pt x="237" y="25"/>
                      </a:lnTo>
                      <a:lnTo>
                        <a:pt x="232" y="24"/>
                      </a:lnTo>
                      <a:lnTo>
                        <a:pt x="228" y="22"/>
                      </a:lnTo>
                      <a:lnTo>
                        <a:pt x="221" y="20"/>
                      </a:lnTo>
                      <a:lnTo>
                        <a:pt x="217" y="20"/>
                      </a:lnTo>
                      <a:lnTo>
                        <a:pt x="213" y="20"/>
                      </a:lnTo>
                      <a:lnTo>
                        <a:pt x="207" y="21"/>
                      </a:lnTo>
                      <a:lnTo>
                        <a:pt x="200" y="21"/>
                      </a:lnTo>
                      <a:lnTo>
                        <a:pt x="195" y="21"/>
                      </a:lnTo>
                      <a:lnTo>
                        <a:pt x="189" y="19"/>
                      </a:lnTo>
                      <a:lnTo>
                        <a:pt x="185" y="19"/>
                      </a:lnTo>
                      <a:lnTo>
                        <a:pt x="181" y="19"/>
                      </a:lnTo>
                      <a:lnTo>
                        <a:pt x="175" y="14"/>
                      </a:lnTo>
                      <a:lnTo>
                        <a:pt x="171" y="12"/>
                      </a:lnTo>
                      <a:lnTo>
                        <a:pt x="167" y="9"/>
                      </a:lnTo>
                      <a:lnTo>
                        <a:pt x="163" y="9"/>
                      </a:lnTo>
                      <a:lnTo>
                        <a:pt x="161" y="11"/>
                      </a:lnTo>
                      <a:lnTo>
                        <a:pt x="157" y="11"/>
                      </a:lnTo>
                      <a:lnTo>
                        <a:pt x="155" y="9"/>
                      </a:lnTo>
                      <a:lnTo>
                        <a:pt x="152" y="6"/>
                      </a:lnTo>
                      <a:lnTo>
                        <a:pt x="151" y="3"/>
                      </a:lnTo>
                      <a:lnTo>
                        <a:pt x="150" y="2"/>
                      </a:lnTo>
                      <a:lnTo>
                        <a:pt x="146" y="2"/>
                      </a:lnTo>
                      <a:lnTo>
                        <a:pt x="141" y="2"/>
                      </a:lnTo>
                      <a:lnTo>
                        <a:pt x="136" y="3"/>
                      </a:lnTo>
                      <a:lnTo>
                        <a:pt x="129" y="3"/>
                      </a:lnTo>
                      <a:lnTo>
                        <a:pt x="125" y="2"/>
                      </a:lnTo>
                      <a:lnTo>
                        <a:pt x="118" y="0"/>
                      </a:lnTo>
                      <a:lnTo>
                        <a:pt x="114" y="0"/>
                      </a:lnTo>
                      <a:lnTo>
                        <a:pt x="111" y="1"/>
                      </a:lnTo>
                      <a:lnTo>
                        <a:pt x="103" y="7"/>
                      </a:lnTo>
                      <a:lnTo>
                        <a:pt x="99" y="11"/>
                      </a:lnTo>
                      <a:lnTo>
                        <a:pt x="95" y="15"/>
                      </a:lnTo>
                      <a:lnTo>
                        <a:pt x="91" y="18"/>
                      </a:lnTo>
                      <a:lnTo>
                        <a:pt x="87" y="20"/>
                      </a:lnTo>
                      <a:lnTo>
                        <a:pt x="83" y="20"/>
                      </a:lnTo>
                      <a:lnTo>
                        <a:pt x="78" y="20"/>
                      </a:lnTo>
                      <a:lnTo>
                        <a:pt x="70" y="20"/>
                      </a:lnTo>
                      <a:lnTo>
                        <a:pt x="64" y="21"/>
                      </a:lnTo>
                      <a:lnTo>
                        <a:pt x="61" y="22"/>
                      </a:lnTo>
                      <a:lnTo>
                        <a:pt x="58" y="24"/>
                      </a:lnTo>
                      <a:lnTo>
                        <a:pt x="56" y="27"/>
                      </a:lnTo>
                      <a:lnTo>
                        <a:pt x="54" y="29"/>
                      </a:lnTo>
                      <a:lnTo>
                        <a:pt x="52" y="32"/>
                      </a:lnTo>
                      <a:lnTo>
                        <a:pt x="40" y="39"/>
                      </a:lnTo>
                      <a:lnTo>
                        <a:pt x="38" y="39"/>
                      </a:lnTo>
                      <a:lnTo>
                        <a:pt x="35" y="39"/>
                      </a:lnTo>
                      <a:lnTo>
                        <a:pt x="30" y="39"/>
                      </a:lnTo>
                      <a:lnTo>
                        <a:pt x="25" y="39"/>
                      </a:lnTo>
                      <a:lnTo>
                        <a:pt x="20" y="39"/>
                      </a:lnTo>
                      <a:lnTo>
                        <a:pt x="15" y="39"/>
                      </a:lnTo>
                      <a:lnTo>
                        <a:pt x="9" y="41"/>
                      </a:lnTo>
                      <a:lnTo>
                        <a:pt x="6" y="40"/>
                      </a:lnTo>
                      <a:lnTo>
                        <a:pt x="3" y="40"/>
                      </a:lnTo>
                      <a:lnTo>
                        <a:pt x="2" y="44"/>
                      </a:lnTo>
                      <a:lnTo>
                        <a:pt x="1" y="47"/>
                      </a:lnTo>
                      <a:lnTo>
                        <a:pt x="0" y="52"/>
                      </a:lnTo>
                      <a:lnTo>
                        <a:pt x="1" y="56"/>
                      </a:lnTo>
                      <a:lnTo>
                        <a:pt x="3" y="57"/>
                      </a:lnTo>
                      <a:lnTo>
                        <a:pt x="6" y="58"/>
                      </a:lnTo>
                      <a:lnTo>
                        <a:pt x="7" y="59"/>
                      </a:lnTo>
                      <a:lnTo>
                        <a:pt x="9" y="60"/>
                      </a:lnTo>
                      <a:lnTo>
                        <a:pt x="10" y="64"/>
                      </a:lnTo>
                      <a:lnTo>
                        <a:pt x="10" y="69"/>
                      </a:lnTo>
                      <a:lnTo>
                        <a:pt x="12" y="72"/>
                      </a:lnTo>
                      <a:lnTo>
                        <a:pt x="15" y="76"/>
                      </a:lnTo>
                      <a:lnTo>
                        <a:pt x="15" y="77"/>
                      </a:lnTo>
                      <a:lnTo>
                        <a:pt x="14" y="79"/>
                      </a:lnTo>
                      <a:lnTo>
                        <a:pt x="11" y="82"/>
                      </a:lnTo>
                      <a:lnTo>
                        <a:pt x="10" y="82"/>
                      </a:lnTo>
                      <a:lnTo>
                        <a:pt x="7" y="79"/>
                      </a:lnTo>
                      <a:lnTo>
                        <a:pt x="5" y="77"/>
                      </a:lnTo>
                      <a:lnTo>
                        <a:pt x="3" y="77"/>
                      </a:lnTo>
                      <a:lnTo>
                        <a:pt x="3" y="78"/>
                      </a:lnTo>
                      <a:lnTo>
                        <a:pt x="3" y="82"/>
                      </a:lnTo>
                      <a:lnTo>
                        <a:pt x="6" y="85"/>
                      </a:lnTo>
                      <a:lnTo>
                        <a:pt x="9" y="92"/>
                      </a:lnTo>
                      <a:lnTo>
                        <a:pt x="10" y="94"/>
                      </a:lnTo>
                      <a:lnTo>
                        <a:pt x="11" y="95"/>
                      </a:lnTo>
                      <a:lnTo>
                        <a:pt x="14" y="95"/>
                      </a:lnTo>
                      <a:lnTo>
                        <a:pt x="19" y="95"/>
                      </a:lnTo>
                      <a:lnTo>
                        <a:pt x="21" y="96"/>
                      </a:lnTo>
                      <a:lnTo>
                        <a:pt x="23" y="97"/>
                      </a:lnTo>
                      <a:lnTo>
                        <a:pt x="21" y="97"/>
                      </a:lnTo>
                      <a:lnTo>
                        <a:pt x="20" y="98"/>
                      </a:lnTo>
                      <a:lnTo>
                        <a:pt x="17" y="99"/>
                      </a:lnTo>
                      <a:lnTo>
                        <a:pt x="17" y="102"/>
                      </a:lnTo>
                      <a:lnTo>
                        <a:pt x="17" y="104"/>
                      </a:lnTo>
                      <a:lnTo>
                        <a:pt x="17" y="105"/>
                      </a:lnTo>
                      <a:lnTo>
                        <a:pt x="20" y="107"/>
                      </a:lnTo>
                      <a:lnTo>
                        <a:pt x="24" y="107"/>
                      </a:lnTo>
                      <a:lnTo>
                        <a:pt x="29" y="107"/>
                      </a:lnTo>
                      <a:lnTo>
                        <a:pt x="30" y="107"/>
                      </a:lnTo>
                      <a:lnTo>
                        <a:pt x="30" y="108"/>
                      </a:lnTo>
                      <a:lnTo>
                        <a:pt x="25" y="112"/>
                      </a:lnTo>
                      <a:lnTo>
                        <a:pt x="24" y="114"/>
                      </a:lnTo>
                      <a:lnTo>
                        <a:pt x="24" y="116"/>
                      </a:lnTo>
                      <a:lnTo>
                        <a:pt x="25" y="118"/>
                      </a:lnTo>
                      <a:lnTo>
                        <a:pt x="28" y="118"/>
                      </a:lnTo>
                      <a:lnTo>
                        <a:pt x="31" y="118"/>
                      </a:lnTo>
                      <a:lnTo>
                        <a:pt x="37" y="117"/>
                      </a:lnTo>
                      <a:lnTo>
                        <a:pt x="42" y="116"/>
                      </a:lnTo>
                      <a:lnTo>
                        <a:pt x="44" y="116"/>
                      </a:lnTo>
                      <a:lnTo>
                        <a:pt x="47" y="117"/>
                      </a:lnTo>
                      <a:lnTo>
                        <a:pt x="50" y="122"/>
                      </a:lnTo>
                      <a:lnTo>
                        <a:pt x="53" y="124"/>
                      </a:lnTo>
                      <a:lnTo>
                        <a:pt x="56" y="126"/>
                      </a:lnTo>
                      <a:lnTo>
                        <a:pt x="70" y="130"/>
                      </a:lnTo>
                      <a:lnTo>
                        <a:pt x="71" y="131"/>
                      </a:lnTo>
                      <a:lnTo>
                        <a:pt x="73" y="131"/>
                      </a:lnTo>
                      <a:lnTo>
                        <a:pt x="73" y="128"/>
                      </a:lnTo>
                      <a:lnTo>
                        <a:pt x="75" y="124"/>
                      </a:lnTo>
                      <a:lnTo>
                        <a:pt x="75" y="121"/>
                      </a:lnTo>
                      <a:lnTo>
                        <a:pt x="77" y="117"/>
                      </a:lnTo>
                      <a:lnTo>
                        <a:pt x="81" y="116"/>
                      </a:lnTo>
                      <a:lnTo>
                        <a:pt x="85" y="116"/>
                      </a:lnTo>
                      <a:lnTo>
                        <a:pt x="89" y="117"/>
                      </a:lnTo>
                      <a:lnTo>
                        <a:pt x="96" y="121"/>
                      </a:lnTo>
                      <a:lnTo>
                        <a:pt x="103" y="126"/>
                      </a:lnTo>
                      <a:lnTo>
                        <a:pt x="110" y="129"/>
                      </a:lnTo>
                      <a:lnTo>
                        <a:pt x="114" y="130"/>
                      </a:lnTo>
                      <a:lnTo>
                        <a:pt x="118" y="130"/>
                      </a:lnTo>
                      <a:lnTo>
                        <a:pt x="127" y="130"/>
                      </a:lnTo>
                      <a:lnTo>
                        <a:pt x="130" y="129"/>
                      </a:lnTo>
                      <a:lnTo>
                        <a:pt x="134" y="128"/>
                      </a:lnTo>
                      <a:lnTo>
                        <a:pt x="137" y="123"/>
                      </a:lnTo>
                      <a:lnTo>
                        <a:pt x="138" y="121"/>
                      </a:lnTo>
                      <a:lnTo>
                        <a:pt x="139" y="120"/>
                      </a:lnTo>
                      <a:lnTo>
                        <a:pt x="143" y="118"/>
                      </a:lnTo>
                      <a:lnTo>
                        <a:pt x="147" y="120"/>
                      </a:lnTo>
                      <a:lnTo>
                        <a:pt x="150" y="121"/>
                      </a:lnTo>
                      <a:lnTo>
                        <a:pt x="153" y="121"/>
                      </a:lnTo>
                      <a:lnTo>
                        <a:pt x="158" y="120"/>
                      </a:lnTo>
                      <a:lnTo>
                        <a:pt x="165" y="115"/>
                      </a:lnTo>
                      <a:lnTo>
                        <a:pt x="169" y="114"/>
                      </a:lnTo>
                      <a:lnTo>
                        <a:pt x="171" y="114"/>
                      </a:lnTo>
                      <a:lnTo>
                        <a:pt x="172" y="115"/>
                      </a:lnTo>
                      <a:lnTo>
                        <a:pt x="171" y="117"/>
                      </a:lnTo>
                      <a:lnTo>
                        <a:pt x="169" y="120"/>
                      </a:lnTo>
                      <a:lnTo>
                        <a:pt x="166" y="121"/>
                      </a:lnTo>
                      <a:lnTo>
                        <a:pt x="163" y="124"/>
                      </a:lnTo>
                      <a:lnTo>
                        <a:pt x="165" y="130"/>
                      </a:lnTo>
                      <a:lnTo>
                        <a:pt x="165" y="1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3" name="Freeform 1173"/>
                <p:cNvSpPr>
                  <a:spLocks/>
                </p:cNvSpPr>
                <p:nvPr/>
              </p:nvSpPr>
              <p:spPr bwMode="auto">
                <a:xfrm>
                  <a:off x="5078441" y="3437425"/>
                  <a:ext cx="5919" cy="10359"/>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0 w 4"/>
                    <a:gd name="T9" fmla="*/ 2147483647 h 7"/>
                    <a:gd name="T10" fmla="*/ 2147483647 w 4"/>
                    <a:gd name="T11" fmla="*/ 0 h 7"/>
                    <a:gd name="T12" fmla="*/ 2147483647 w 4"/>
                    <a:gd name="T13" fmla="*/ 0 h 7"/>
                    <a:gd name="T14" fmla="*/ 2147483647 w 4"/>
                    <a:gd name="T15" fmla="*/ 2147483647 h 7"/>
                    <a:gd name="T16" fmla="*/ 2147483647 w 4"/>
                    <a:gd name="T17" fmla="*/ 2147483647 h 7"/>
                    <a:gd name="T18" fmla="*/ 2147483647 w 4"/>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7"/>
                    <a:gd name="T32" fmla="*/ 4 w 4"/>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7">
                      <a:moveTo>
                        <a:pt x="4" y="4"/>
                      </a:moveTo>
                      <a:lnTo>
                        <a:pt x="4" y="6"/>
                      </a:lnTo>
                      <a:lnTo>
                        <a:pt x="4" y="7"/>
                      </a:lnTo>
                      <a:lnTo>
                        <a:pt x="1" y="3"/>
                      </a:lnTo>
                      <a:lnTo>
                        <a:pt x="0" y="1"/>
                      </a:lnTo>
                      <a:lnTo>
                        <a:pt x="1" y="0"/>
                      </a:lnTo>
                      <a:lnTo>
                        <a:pt x="2" y="0"/>
                      </a:lnTo>
                      <a:lnTo>
                        <a:pt x="4" y="1"/>
                      </a:lnTo>
                      <a:lnTo>
                        <a:pt x="4" y="3"/>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4" name="Freeform 1174"/>
                <p:cNvSpPr>
                  <a:spLocks/>
                </p:cNvSpPr>
                <p:nvPr/>
              </p:nvSpPr>
              <p:spPr bwMode="auto">
                <a:xfrm>
                  <a:off x="5097678" y="3469981"/>
                  <a:ext cx="13319" cy="10359"/>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2147483647 w 10"/>
                    <a:gd name="T11" fmla="*/ 2147483647 h 7"/>
                    <a:gd name="T12" fmla="*/ 2147483647 w 10"/>
                    <a:gd name="T13" fmla="*/ 2147483647 h 7"/>
                    <a:gd name="T14" fmla="*/ 0 w 10"/>
                    <a:gd name="T15" fmla="*/ 2147483647 h 7"/>
                    <a:gd name="T16" fmla="*/ 2147483647 w 10"/>
                    <a:gd name="T17" fmla="*/ 2147483647 h 7"/>
                    <a:gd name="T18" fmla="*/ 2147483647 w 10"/>
                    <a:gd name="T19" fmla="*/ 0 h 7"/>
                    <a:gd name="T20" fmla="*/ 2147483647 w 10"/>
                    <a:gd name="T21" fmla="*/ 2147483647 h 7"/>
                    <a:gd name="T22" fmla="*/ 2147483647 w 10"/>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7"/>
                    <a:gd name="T38" fmla="*/ 10 w 10"/>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7">
                      <a:moveTo>
                        <a:pt x="10" y="4"/>
                      </a:moveTo>
                      <a:lnTo>
                        <a:pt x="10" y="6"/>
                      </a:lnTo>
                      <a:lnTo>
                        <a:pt x="10" y="7"/>
                      </a:lnTo>
                      <a:lnTo>
                        <a:pt x="9" y="7"/>
                      </a:lnTo>
                      <a:lnTo>
                        <a:pt x="6" y="7"/>
                      </a:lnTo>
                      <a:lnTo>
                        <a:pt x="2" y="7"/>
                      </a:lnTo>
                      <a:lnTo>
                        <a:pt x="1" y="5"/>
                      </a:lnTo>
                      <a:lnTo>
                        <a:pt x="0" y="3"/>
                      </a:lnTo>
                      <a:lnTo>
                        <a:pt x="2" y="1"/>
                      </a:lnTo>
                      <a:lnTo>
                        <a:pt x="5" y="0"/>
                      </a:lnTo>
                      <a:lnTo>
                        <a:pt x="7" y="1"/>
                      </a:lnTo>
                      <a:lnTo>
                        <a:pt x="10"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5" name="Freeform 1175"/>
                <p:cNvSpPr>
                  <a:spLocks/>
                </p:cNvSpPr>
                <p:nvPr/>
              </p:nvSpPr>
              <p:spPr bwMode="auto">
                <a:xfrm>
                  <a:off x="5076962" y="3435944"/>
                  <a:ext cx="4440" cy="10360"/>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0 w 3"/>
                    <a:gd name="T13" fmla="*/ 2147483647 h 7"/>
                    <a:gd name="T14" fmla="*/ 2147483647 w 3"/>
                    <a:gd name="T15" fmla="*/ 0 h 7"/>
                    <a:gd name="T16" fmla="*/ 2147483647 w 3"/>
                    <a:gd name="T17" fmla="*/ 0 h 7"/>
                    <a:gd name="T18" fmla="*/ 2147483647 w 3"/>
                    <a:gd name="T19" fmla="*/ 0 h 7"/>
                    <a:gd name="T20" fmla="*/ 2147483647 w 3"/>
                    <a:gd name="T21" fmla="*/ 2147483647 h 7"/>
                    <a:gd name="T22" fmla="*/ 2147483647 w 3"/>
                    <a:gd name="T23" fmla="*/ 2147483647 h 7"/>
                    <a:gd name="T24" fmla="*/ 2147483647 w 3"/>
                    <a:gd name="T25" fmla="*/ 2147483647 h 7"/>
                    <a:gd name="T26" fmla="*/ 2147483647 w 3"/>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7"/>
                    <a:gd name="T44" fmla="*/ 3 w 3"/>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7">
                      <a:moveTo>
                        <a:pt x="3" y="4"/>
                      </a:moveTo>
                      <a:lnTo>
                        <a:pt x="3" y="4"/>
                      </a:lnTo>
                      <a:lnTo>
                        <a:pt x="3" y="5"/>
                      </a:lnTo>
                      <a:lnTo>
                        <a:pt x="3" y="7"/>
                      </a:lnTo>
                      <a:lnTo>
                        <a:pt x="1" y="3"/>
                      </a:lnTo>
                      <a:lnTo>
                        <a:pt x="0" y="1"/>
                      </a:lnTo>
                      <a:lnTo>
                        <a:pt x="1" y="0"/>
                      </a:lnTo>
                      <a:lnTo>
                        <a:pt x="2" y="0"/>
                      </a:lnTo>
                      <a:lnTo>
                        <a:pt x="3" y="1"/>
                      </a:lnTo>
                      <a:lnTo>
                        <a:pt x="3" y="3"/>
                      </a:lnTo>
                      <a:lnTo>
                        <a:pt x="3"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6" name="Freeform 1176"/>
                <p:cNvSpPr>
                  <a:spLocks/>
                </p:cNvSpPr>
                <p:nvPr/>
              </p:nvSpPr>
              <p:spPr bwMode="auto">
                <a:xfrm>
                  <a:off x="5096203" y="3468501"/>
                  <a:ext cx="13318" cy="10360"/>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2147483647 w 10"/>
                    <a:gd name="T11" fmla="*/ 2147483647 h 7"/>
                    <a:gd name="T12" fmla="*/ 2147483647 w 10"/>
                    <a:gd name="T13" fmla="*/ 2147483647 h 7"/>
                    <a:gd name="T14" fmla="*/ 2147483647 w 10"/>
                    <a:gd name="T15" fmla="*/ 2147483647 h 7"/>
                    <a:gd name="T16" fmla="*/ 2147483647 w 10"/>
                    <a:gd name="T17" fmla="*/ 2147483647 h 7"/>
                    <a:gd name="T18" fmla="*/ 0 w 10"/>
                    <a:gd name="T19" fmla="*/ 2147483647 h 7"/>
                    <a:gd name="T20" fmla="*/ 0 w 10"/>
                    <a:gd name="T21" fmla="*/ 2147483647 h 7"/>
                    <a:gd name="T22" fmla="*/ 2147483647 w 10"/>
                    <a:gd name="T23" fmla="*/ 2147483647 h 7"/>
                    <a:gd name="T24" fmla="*/ 2147483647 w 10"/>
                    <a:gd name="T25" fmla="*/ 0 h 7"/>
                    <a:gd name="T26" fmla="*/ 2147483647 w 10"/>
                    <a:gd name="T27" fmla="*/ 2147483647 h 7"/>
                    <a:gd name="T28" fmla="*/ 2147483647 w 10"/>
                    <a:gd name="T29" fmla="*/ 2147483647 h 7"/>
                    <a:gd name="T30" fmla="*/ 2147483647 w 10"/>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7"/>
                    <a:gd name="T50" fmla="*/ 10 w 10"/>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7">
                      <a:moveTo>
                        <a:pt x="10" y="4"/>
                      </a:moveTo>
                      <a:lnTo>
                        <a:pt x="10" y="4"/>
                      </a:lnTo>
                      <a:lnTo>
                        <a:pt x="10" y="6"/>
                      </a:lnTo>
                      <a:lnTo>
                        <a:pt x="10" y="7"/>
                      </a:lnTo>
                      <a:lnTo>
                        <a:pt x="8" y="7"/>
                      </a:lnTo>
                      <a:lnTo>
                        <a:pt x="6" y="7"/>
                      </a:lnTo>
                      <a:lnTo>
                        <a:pt x="2" y="7"/>
                      </a:lnTo>
                      <a:lnTo>
                        <a:pt x="1" y="5"/>
                      </a:lnTo>
                      <a:lnTo>
                        <a:pt x="0" y="2"/>
                      </a:lnTo>
                      <a:lnTo>
                        <a:pt x="2" y="1"/>
                      </a:lnTo>
                      <a:lnTo>
                        <a:pt x="5" y="0"/>
                      </a:lnTo>
                      <a:lnTo>
                        <a:pt x="7" y="1"/>
                      </a:lnTo>
                      <a:lnTo>
                        <a:pt x="10"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7" name="Freeform 1177"/>
                <p:cNvSpPr>
                  <a:spLocks/>
                </p:cNvSpPr>
                <p:nvPr/>
              </p:nvSpPr>
              <p:spPr bwMode="auto">
                <a:xfrm>
                  <a:off x="5224947" y="3465545"/>
                  <a:ext cx="7400" cy="14799"/>
                </a:xfrm>
                <a:custGeom>
                  <a:avLst/>
                  <a:gdLst>
                    <a:gd name="T0" fmla="*/ 2147483647 w 6"/>
                    <a:gd name="T1" fmla="*/ 2147483647 h 10"/>
                    <a:gd name="T2" fmla="*/ 2147483647 w 6"/>
                    <a:gd name="T3" fmla="*/ 2147483647 h 10"/>
                    <a:gd name="T4" fmla="*/ 2147483647 w 6"/>
                    <a:gd name="T5" fmla="*/ 2147483647 h 10"/>
                    <a:gd name="T6" fmla="*/ 2147483647 w 6"/>
                    <a:gd name="T7" fmla="*/ 2147483647 h 10"/>
                    <a:gd name="T8" fmla="*/ 2147483647 w 6"/>
                    <a:gd name="T9" fmla="*/ 2147483647 h 10"/>
                    <a:gd name="T10" fmla="*/ 0 w 6"/>
                    <a:gd name="T11" fmla="*/ 2147483647 h 10"/>
                    <a:gd name="T12" fmla="*/ 0 w 6"/>
                    <a:gd name="T13" fmla="*/ 2147483647 h 10"/>
                    <a:gd name="T14" fmla="*/ 2147483647 w 6"/>
                    <a:gd name="T15" fmla="*/ 2147483647 h 10"/>
                    <a:gd name="T16" fmla="*/ 2147483647 w 6"/>
                    <a:gd name="T17" fmla="*/ 0 h 10"/>
                    <a:gd name="T18" fmla="*/ 2147483647 w 6"/>
                    <a:gd name="T19" fmla="*/ 2147483647 h 10"/>
                    <a:gd name="T20" fmla="*/ 2147483647 w 6"/>
                    <a:gd name="T21" fmla="*/ 2147483647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0"/>
                    <a:gd name="T35" fmla="*/ 6 w 6"/>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0">
                      <a:moveTo>
                        <a:pt x="6" y="6"/>
                      </a:moveTo>
                      <a:lnTo>
                        <a:pt x="6" y="8"/>
                      </a:lnTo>
                      <a:lnTo>
                        <a:pt x="5" y="10"/>
                      </a:lnTo>
                      <a:lnTo>
                        <a:pt x="3" y="10"/>
                      </a:lnTo>
                      <a:lnTo>
                        <a:pt x="1" y="9"/>
                      </a:lnTo>
                      <a:lnTo>
                        <a:pt x="0" y="6"/>
                      </a:lnTo>
                      <a:lnTo>
                        <a:pt x="0" y="3"/>
                      </a:lnTo>
                      <a:lnTo>
                        <a:pt x="2" y="1"/>
                      </a:lnTo>
                      <a:lnTo>
                        <a:pt x="3" y="0"/>
                      </a:lnTo>
                      <a:lnTo>
                        <a:pt x="5" y="1"/>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8" name="Freeform 1178"/>
                <p:cNvSpPr>
                  <a:spLocks/>
                </p:cNvSpPr>
                <p:nvPr/>
              </p:nvSpPr>
              <p:spPr bwMode="auto">
                <a:xfrm>
                  <a:off x="5251589" y="3514381"/>
                  <a:ext cx="10360" cy="7399"/>
                </a:xfrm>
                <a:custGeom>
                  <a:avLst/>
                  <a:gdLst>
                    <a:gd name="T0" fmla="*/ 2147483647 w 7"/>
                    <a:gd name="T1" fmla="*/ 2147483647 h 5"/>
                    <a:gd name="T2" fmla="*/ 2147483647 w 7"/>
                    <a:gd name="T3" fmla="*/ 2147483647 h 5"/>
                    <a:gd name="T4" fmla="*/ 2147483647 w 7"/>
                    <a:gd name="T5" fmla="*/ 2147483647 h 5"/>
                    <a:gd name="T6" fmla="*/ 0 w 7"/>
                    <a:gd name="T7" fmla="*/ 2147483647 h 5"/>
                    <a:gd name="T8" fmla="*/ 0 w 7"/>
                    <a:gd name="T9" fmla="*/ 2147483647 h 5"/>
                    <a:gd name="T10" fmla="*/ 2147483647 w 7"/>
                    <a:gd name="T11" fmla="*/ 2147483647 h 5"/>
                    <a:gd name="T12" fmla="*/ 2147483647 w 7"/>
                    <a:gd name="T13" fmla="*/ 2147483647 h 5"/>
                    <a:gd name="T14" fmla="*/ 2147483647 w 7"/>
                    <a:gd name="T15" fmla="*/ 0 h 5"/>
                    <a:gd name="T16" fmla="*/ 2147483647 w 7"/>
                    <a:gd name="T17" fmla="*/ 2147483647 h 5"/>
                    <a:gd name="T18" fmla="*/ 2147483647 w 7"/>
                    <a:gd name="T19" fmla="*/ 2147483647 h 5"/>
                    <a:gd name="T20" fmla="*/ 2147483647 w 7"/>
                    <a:gd name="T21" fmla="*/ 2147483647 h 5"/>
                    <a:gd name="T22" fmla="*/ 2147483647 w 7"/>
                    <a:gd name="T23" fmla="*/ 2147483647 h 5"/>
                    <a:gd name="T24" fmla="*/ 2147483647 w 7"/>
                    <a:gd name="T25" fmla="*/ 2147483647 h 5"/>
                    <a:gd name="T26" fmla="*/ 2147483647 w 7"/>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
                    <a:gd name="T44" fmla="*/ 7 w 7"/>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
                      <a:moveTo>
                        <a:pt x="4" y="3"/>
                      </a:moveTo>
                      <a:lnTo>
                        <a:pt x="2" y="5"/>
                      </a:lnTo>
                      <a:lnTo>
                        <a:pt x="1" y="5"/>
                      </a:lnTo>
                      <a:lnTo>
                        <a:pt x="0" y="3"/>
                      </a:lnTo>
                      <a:lnTo>
                        <a:pt x="0" y="2"/>
                      </a:lnTo>
                      <a:lnTo>
                        <a:pt x="1" y="1"/>
                      </a:lnTo>
                      <a:lnTo>
                        <a:pt x="4" y="1"/>
                      </a:lnTo>
                      <a:lnTo>
                        <a:pt x="4" y="0"/>
                      </a:lnTo>
                      <a:lnTo>
                        <a:pt x="5" y="1"/>
                      </a:lnTo>
                      <a:lnTo>
                        <a:pt x="6" y="1"/>
                      </a:lnTo>
                      <a:lnTo>
                        <a:pt x="7" y="1"/>
                      </a:lnTo>
                      <a:lnTo>
                        <a:pt x="7" y="2"/>
                      </a:lnTo>
                      <a:lnTo>
                        <a:pt x="6" y="3"/>
                      </a:lnTo>
                      <a:lnTo>
                        <a:pt x="4"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79" name="Freeform 1179"/>
                <p:cNvSpPr>
                  <a:spLocks/>
                </p:cNvSpPr>
                <p:nvPr/>
              </p:nvSpPr>
              <p:spPr bwMode="auto">
                <a:xfrm>
                  <a:off x="5221989" y="3462585"/>
                  <a:ext cx="8879" cy="16279"/>
                </a:xfrm>
                <a:custGeom>
                  <a:avLst/>
                  <a:gdLst>
                    <a:gd name="T0" fmla="*/ 2147483647 w 7"/>
                    <a:gd name="T1" fmla="*/ 2147483647 h 11"/>
                    <a:gd name="T2" fmla="*/ 2147483647 w 7"/>
                    <a:gd name="T3" fmla="*/ 2147483647 h 11"/>
                    <a:gd name="T4" fmla="*/ 2147483647 w 7"/>
                    <a:gd name="T5" fmla="*/ 2147483647 h 11"/>
                    <a:gd name="T6" fmla="*/ 2147483647 w 7"/>
                    <a:gd name="T7" fmla="*/ 2147483647 h 11"/>
                    <a:gd name="T8" fmla="*/ 2147483647 w 7"/>
                    <a:gd name="T9" fmla="*/ 2147483647 h 11"/>
                    <a:gd name="T10" fmla="*/ 2147483647 w 7"/>
                    <a:gd name="T11" fmla="*/ 2147483647 h 11"/>
                    <a:gd name="T12" fmla="*/ 2147483647 w 7"/>
                    <a:gd name="T13" fmla="*/ 2147483647 h 11"/>
                    <a:gd name="T14" fmla="*/ 0 w 7"/>
                    <a:gd name="T15" fmla="*/ 2147483647 h 11"/>
                    <a:gd name="T16" fmla="*/ 0 w 7"/>
                    <a:gd name="T17" fmla="*/ 2147483647 h 11"/>
                    <a:gd name="T18" fmla="*/ 2147483647 w 7"/>
                    <a:gd name="T19" fmla="*/ 2147483647 h 11"/>
                    <a:gd name="T20" fmla="*/ 2147483647 w 7"/>
                    <a:gd name="T21" fmla="*/ 2147483647 h 11"/>
                    <a:gd name="T22" fmla="*/ 2147483647 w 7"/>
                    <a:gd name="T23" fmla="*/ 0 h 11"/>
                    <a:gd name="T24" fmla="*/ 2147483647 w 7"/>
                    <a:gd name="T25" fmla="*/ 2147483647 h 11"/>
                    <a:gd name="T26" fmla="*/ 2147483647 w 7"/>
                    <a:gd name="T27" fmla="*/ 2147483647 h 11"/>
                    <a:gd name="T28" fmla="*/ 2147483647 w 7"/>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11"/>
                    <a:gd name="T47" fmla="*/ 7 w 7"/>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11">
                      <a:moveTo>
                        <a:pt x="7" y="6"/>
                      </a:moveTo>
                      <a:lnTo>
                        <a:pt x="7" y="6"/>
                      </a:lnTo>
                      <a:lnTo>
                        <a:pt x="7" y="9"/>
                      </a:lnTo>
                      <a:lnTo>
                        <a:pt x="5" y="11"/>
                      </a:lnTo>
                      <a:lnTo>
                        <a:pt x="4" y="11"/>
                      </a:lnTo>
                      <a:lnTo>
                        <a:pt x="2" y="10"/>
                      </a:lnTo>
                      <a:lnTo>
                        <a:pt x="0" y="6"/>
                      </a:lnTo>
                      <a:lnTo>
                        <a:pt x="0" y="4"/>
                      </a:lnTo>
                      <a:lnTo>
                        <a:pt x="3" y="2"/>
                      </a:lnTo>
                      <a:lnTo>
                        <a:pt x="4" y="0"/>
                      </a:lnTo>
                      <a:lnTo>
                        <a:pt x="5" y="2"/>
                      </a:lnTo>
                      <a:lnTo>
                        <a:pt x="7"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0" name="Freeform 1180"/>
                <p:cNvSpPr>
                  <a:spLocks/>
                </p:cNvSpPr>
                <p:nvPr/>
              </p:nvSpPr>
              <p:spPr bwMode="auto">
                <a:xfrm>
                  <a:off x="5250106" y="3512897"/>
                  <a:ext cx="10359" cy="5919"/>
                </a:xfrm>
                <a:custGeom>
                  <a:avLst/>
                  <a:gdLst>
                    <a:gd name="T0" fmla="*/ 2147483647 w 7"/>
                    <a:gd name="T1" fmla="*/ 2147483647 h 4"/>
                    <a:gd name="T2" fmla="*/ 2147483647 w 7"/>
                    <a:gd name="T3" fmla="*/ 2147483647 h 4"/>
                    <a:gd name="T4" fmla="*/ 2147483647 w 7"/>
                    <a:gd name="T5" fmla="*/ 2147483647 h 4"/>
                    <a:gd name="T6" fmla="*/ 2147483647 w 7"/>
                    <a:gd name="T7" fmla="*/ 2147483647 h 4"/>
                    <a:gd name="T8" fmla="*/ 0 w 7"/>
                    <a:gd name="T9" fmla="*/ 2147483647 h 4"/>
                    <a:gd name="T10" fmla="*/ 0 w 7"/>
                    <a:gd name="T11" fmla="*/ 2147483647 h 4"/>
                    <a:gd name="T12" fmla="*/ 0 w 7"/>
                    <a:gd name="T13" fmla="*/ 2147483647 h 4"/>
                    <a:gd name="T14" fmla="*/ 2147483647 w 7"/>
                    <a:gd name="T15" fmla="*/ 2147483647 h 4"/>
                    <a:gd name="T16" fmla="*/ 2147483647 w 7"/>
                    <a:gd name="T17" fmla="*/ 2147483647 h 4"/>
                    <a:gd name="T18" fmla="*/ 2147483647 w 7"/>
                    <a:gd name="T19" fmla="*/ 0 h 4"/>
                    <a:gd name="T20" fmla="*/ 2147483647 w 7"/>
                    <a:gd name="T21" fmla="*/ 0 h 4"/>
                    <a:gd name="T22" fmla="*/ 2147483647 w 7"/>
                    <a:gd name="T23" fmla="*/ 2147483647 h 4"/>
                    <a:gd name="T24" fmla="*/ 2147483647 w 7"/>
                    <a:gd name="T25" fmla="*/ 2147483647 h 4"/>
                    <a:gd name="T26" fmla="*/ 2147483647 w 7"/>
                    <a:gd name="T27" fmla="*/ 2147483647 h 4"/>
                    <a:gd name="T28" fmla="*/ 2147483647 w 7"/>
                    <a:gd name="T29" fmla="*/ 2147483647 h 4"/>
                    <a:gd name="T30" fmla="*/ 2147483647 w 7"/>
                    <a:gd name="T31" fmla="*/ 2147483647 h 4"/>
                    <a:gd name="T32" fmla="*/ 2147483647 w 7"/>
                    <a:gd name="T33" fmla="*/ 2147483647 h 4"/>
                    <a:gd name="T34" fmla="*/ 2147483647 w 7"/>
                    <a:gd name="T35" fmla="*/ 2147483647 h 4"/>
                    <a:gd name="T36" fmla="*/ 2147483647 w 7"/>
                    <a:gd name="T37" fmla="*/ 2147483647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
                    <a:gd name="T58" fmla="*/ 0 h 4"/>
                    <a:gd name="T59" fmla="*/ 7 w 7"/>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 h="4">
                      <a:moveTo>
                        <a:pt x="3" y="3"/>
                      </a:moveTo>
                      <a:lnTo>
                        <a:pt x="3" y="3"/>
                      </a:lnTo>
                      <a:lnTo>
                        <a:pt x="2" y="4"/>
                      </a:lnTo>
                      <a:lnTo>
                        <a:pt x="1" y="4"/>
                      </a:lnTo>
                      <a:lnTo>
                        <a:pt x="0" y="3"/>
                      </a:lnTo>
                      <a:lnTo>
                        <a:pt x="0" y="2"/>
                      </a:lnTo>
                      <a:lnTo>
                        <a:pt x="1" y="1"/>
                      </a:lnTo>
                      <a:lnTo>
                        <a:pt x="3" y="1"/>
                      </a:lnTo>
                      <a:lnTo>
                        <a:pt x="3" y="0"/>
                      </a:lnTo>
                      <a:lnTo>
                        <a:pt x="5" y="1"/>
                      </a:lnTo>
                      <a:lnTo>
                        <a:pt x="6" y="1"/>
                      </a:lnTo>
                      <a:lnTo>
                        <a:pt x="7" y="1"/>
                      </a:lnTo>
                      <a:lnTo>
                        <a:pt x="7" y="2"/>
                      </a:lnTo>
                      <a:lnTo>
                        <a:pt x="6" y="3"/>
                      </a:lnTo>
                      <a:lnTo>
                        <a:pt x="3"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1" name="Freeform 1181"/>
                <p:cNvSpPr>
                  <a:spLocks/>
                </p:cNvSpPr>
                <p:nvPr/>
              </p:nvSpPr>
              <p:spPr bwMode="auto">
                <a:xfrm>
                  <a:off x="5266384" y="3532139"/>
                  <a:ext cx="13319" cy="19238"/>
                </a:xfrm>
                <a:custGeom>
                  <a:avLst/>
                  <a:gdLst>
                    <a:gd name="T0" fmla="*/ 2147483647 w 9"/>
                    <a:gd name="T1" fmla="*/ 2147483647 h 13"/>
                    <a:gd name="T2" fmla="*/ 2147483647 w 9"/>
                    <a:gd name="T3" fmla="*/ 2147483647 h 13"/>
                    <a:gd name="T4" fmla="*/ 2147483647 w 9"/>
                    <a:gd name="T5" fmla="*/ 2147483647 h 13"/>
                    <a:gd name="T6" fmla="*/ 2147483647 w 9"/>
                    <a:gd name="T7" fmla="*/ 0 h 13"/>
                    <a:gd name="T8" fmla="*/ 2147483647 w 9"/>
                    <a:gd name="T9" fmla="*/ 2147483647 h 13"/>
                    <a:gd name="T10" fmla="*/ 2147483647 w 9"/>
                    <a:gd name="T11" fmla="*/ 2147483647 h 13"/>
                    <a:gd name="T12" fmla="*/ 2147483647 w 9"/>
                    <a:gd name="T13" fmla="*/ 2147483647 h 13"/>
                    <a:gd name="T14" fmla="*/ 2147483647 w 9"/>
                    <a:gd name="T15" fmla="*/ 2147483647 h 13"/>
                    <a:gd name="T16" fmla="*/ 2147483647 w 9"/>
                    <a:gd name="T17" fmla="*/ 2147483647 h 13"/>
                    <a:gd name="T18" fmla="*/ 2147483647 w 9"/>
                    <a:gd name="T19" fmla="*/ 2147483647 h 13"/>
                    <a:gd name="T20" fmla="*/ 2147483647 w 9"/>
                    <a:gd name="T21" fmla="*/ 2147483647 h 13"/>
                    <a:gd name="T22" fmla="*/ 0 w 9"/>
                    <a:gd name="T23" fmla="*/ 2147483647 h 13"/>
                    <a:gd name="T24" fmla="*/ 0 w 9"/>
                    <a:gd name="T25" fmla="*/ 2147483647 h 13"/>
                    <a:gd name="T26" fmla="*/ 2147483647 w 9"/>
                    <a:gd name="T27" fmla="*/ 2147483647 h 13"/>
                    <a:gd name="T28" fmla="*/ 2147483647 w 9"/>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3"/>
                    <a:gd name="T47" fmla="*/ 9 w 9"/>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3">
                      <a:moveTo>
                        <a:pt x="4" y="6"/>
                      </a:moveTo>
                      <a:lnTo>
                        <a:pt x="5" y="3"/>
                      </a:lnTo>
                      <a:lnTo>
                        <a:pt x="7" y="2"/>
                      </a:lnTo>
                      <a:lnTo>
                        <a:pt x="7" y="0"/>
                      </a:lnTo>
                      <a:lnTo>
                        <a:pt x="9" y="1"/>
                      </a:lnTo>
                      <a:lnTo>
                        <a:pt x="9" y="2"/>
                      </a:lnTo>
                      <a:lnTo>
                        <a:pt x="9" y="6"/>
                      </a:lnTo>
                      <a:lnTo>
                        <a:pt x="7" y="12"/>
                      </a:lnTo>
                      <a:lnTo>
                        <a:pt x="5" y="13"/>
                      </a:lnTo>
                      <a:lnTo>
                        <a:pt x="3" y="13"/>
                      </a:lnTo>
                      <a:lnTo>
                        <a:pt x="2" y="13"/>
                      </a:lnTo>
                      <a:lnTo>
                        <a:pt x="0" y="10"/>
                      </a:lnTo>
                      <a:lnTo>
                        <a:pt x="0" y="9"/>
                      </a:lnTo>
                      <a:lnTo>
                        <a:pt x="2" y="8"/>
                      </a:lnTo>
                      <a:lnTo>
                        <a:pt x="4"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2" name="Freeform 1182"/>
                <p:cNvSpPr>
                  <a:spLocks/>
                </p:cNvSpPr>
                <p:nvPr/>
              </p:nvSpPr>
              <p:spPr bwMode="auto">
                <a:xfrm>
                  <a:off x="5168712" y="3566175"/>
                  <a:ext cx="72514" cy="19239"/>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0 h 13"/>
                    <a:gd name="T26" fmla="*/ 2147483647 w 53"/>
                    <a:gd name="T27" fmla="*/ 0 h 13"/>
                    <a:gd name="T28" fmla="*/ 2147483647 w 53"/>
                    <a:gd name="T29" fmla="*/ 0 h 13"/>
                    <a:gd name="T30" fmla="*/ 2147483647 w 53"/>
                    <a:gd name="T31" fmla="*/ 2147483647 h 13"/>
                    <a:gd name="T32" fmla="*/ 2147483647 w 53"/>
                    <a:gd name="T33" fmla="*/ 2147483647 h 13"/>
                    <a:gd name="T34" fmla="*/ 2147483647 w 53"/>
                    <a:gd name="T35" fmla="*/ 2147483647 h 13"/>
                    <a:gd name="T36" fmla="*/ 2147483647 w 53"/>
                    <a:gd name="T37" fmla="*/ 2147483647 h 13"/>
                    <a:gd name="T38" fmla="*/ 2147483647 w 53"/>
                    <a:gd name="T39" fmla="*/ 2147483647 h 13"/>
                    <a:gd name="T40" fmla="*/ 0 w 53"/>
                    <a:gd name="T41" fmla="*/ 2147483647 h 13"/>
                    <a:gd name="T42" fmla="*/ 0 w 53"/>
                    <a:gd name="T43" fmla="*/ 2147483647 h 13"/>
                    <a:gd name="T44" fmla="*/ 2147483647 w 53"/>
                    <a:gd name="T45" fmla="*/ 2147483647 h 13"/>
                    <a:gd name="T46" fmla="*/ 2147483647 w 53"/>
                    <a:gd name="T47" fmla="*/ 2147483647 h 13"/>
                    <a:gd name="T48" fmla="*/ 2147483647 w 53"/>
                    <a:gd name="T49" fmla="*/ 2147483647 h 13"/>
                    <a:gd name="T50" fmla="*/ 2147483647 w 53"/>
                    <a:gd name="T51" fmla="*/ 2147483647 h 13"/>
                    <a:gd name="T52" fmla="*/ 2147483647 w 53"/>
                    <a:gd name="T53" fmla="*/ 2147483647 h 13"/>
                    <a:gd name="T54" fmla="*/ 2147483647 w 53"/>
                    <a:gd name="T55" fmla="*/ 2147483647 h 13"/>
                    <a:gd name="T56" fmla="*/ 2147483647 w 53"/>
                    <a:gd name="T57" fmla="*/ 2147483647 h 13"/>
                    <a:gd name="T58" fmla="*/ 2147483647 w 53"/>
                    <a:gd name="T59" fmla="*/ 2147483647 h 13"/>
                    <a:gd name="T60" fmla="*/ 2147483647 w 53"/>
                    <a:gd name="T61" fmla="*/ 2147483647 h 13"/>
                    <a:gd name="T62" fmla="*/ 2147483647 w 53"/>
                    <a:gd name="T63" fmla="*/ 2147483647 h 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
                    <a:gd name="T97" fmla="*/ 0 h 13"/>
                    <a:gd name="T98" fmla="*/ 53 w 53"/>
                    <a:gd name="T99" fmla="*/ 13 h 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 h="13">
                      <a:moveTo>
                        <a:pt x="48" y="12"/>
                      </a:moveTo>
                      <a:lnTo>
                        <a:pt x="49" y="12"/>
                      </a:lnTo>
                      <a:lnTo>
                        <a:pt x="51" y="12"/>
                      </a:lnTo>
                      <a:lnTo>
                        <a:pt x="53" y="10"/>
                      </a:lnTo>
                      <a:lnTo>
                        <a:pt x="53" y="9"/>
                      </a:lnTo>
                      <a:lnTo>
                        <a:pt x="53" y="6"/>
                      </a:lnTo>
                      <a:lnTo>
                        <a:pt x="52" y="4"/>
                      </a:lnTo>
                      <a:lnTo>
                        <a:pt x="51" y="4"/>
                      </a:lnTo>
                      <a:lnTo>
                        <a:pt x="48" y="4"/>
                      </a:lnTo>
                      <a:lnTo>
                        <a:pt x="47" y="5"/>
                      </a:lnTo>
                      <a:lnTo>
                        <a:pt x="44" y="5"/>
                      </a:lnTo>
                      <a:lnTo>
                        <a:pt x="37" y="3"/>
                      </a:lnTo>
                      <a:lnTo>
                        <a:pt x="28" y="0"/>
                      </a:lnTo>
                      <a:lnTo>
                        <a:pt x="19" y="0"/>
                      </a:lnTo>
                      <a:lnTo>
                        <a:pt x="10" y="0"/>
                      </a:lnTo>
                      <a:lnTo>
                        <a:pt x="9" y="2"/>
                      </a:lnTo>
                      <a:lnTo>
                        <a:pt x="8" y="3"/>
                      </a:lnTo>
                      <a:lnTo>
                        <a:pt x="5" y="2"/>
                      </a:lnTo>
                      <a:lnTo>
                        <a:pt x="4" y="2"/>
                      </a:lnTo>
                      <a:lnTo>
                        <a:pt x="1" y="2"/>
                      </a:lnTo>
                      <a:lnTo>
                        <a:pt x="0" y="4"/>
                      </a:lnTo>
                      <a:lnTo>
                        <a:pt x="0" y="6"/>
                      </a:lnTo>
                      <a:lnTo>
                        <a:pt x="1" y="8"/>
                      </a:lnTo>
                      <a:lnTo>
                        <a:pt x="2" y="9"/>
                      </a:lnTo>
                      <a:lnTo>
                        <a:pt x="18" y="9"/>
                      </a:lnTo>
                      <a:lnTo>
                        <a:pt x="25" y="9"/>
                      </a:lnTo>
                      <a:lnTo>
                        <a:pt x="29" y="11"/>
                      </a:lnTo>
                      <a:lnTo>
                        <a:pt x="32" y="12"/>
                      </a:lnTo>
                      <a:lnTo>
                        <a:pt x="35" y="13"/>
                      </a:lnTo>
                      <a:lnTo>
                        <a:pt x="41" y="13"/>
                      </a:lnTo>
                      <a:lnTo>
                        <a:pt x="44" y="12"/>
                      </a:lnTo>
                      <a:lnTo>
                        <a:pt x="48"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3" name="Freeform 1183"/>
                <p:cNvSpPr>
                  <a:spLocks/>
                </p:cNvSpPr>
                <p:nvPr/>
              </p:nvSpPr>
              <p:spPr bwMode="auto">
                <a:xfrm>
                  <a:off x="5264907" y="3530656"/>
                  <a:ext cx="13318" cy="19239"/>
                </a:xfrm>
                <a:custGeom>
                  <a:avLst/>
                  <a:gdLst>
                    <a:gd name="T0" fmla="*/ 2147483647 w 9"/>
                    <a:gd name="T1" fmla="*/ 2147483647 h 13"/>
                    <a:gd name="T2" fmla="*/ 2147483647 w 9"/>
                    <a:gd name="T3" fmla="*/ 2147483647 h 13"/>
                    <a:gd name="T4" fmla="*/ 2147483647 w 9"/>
                    <a:gd name="T5" fmla="*/ 2147483647 h 13"/>
                    <a:gd name="T6" fmla="*/ 2147483647 w 9"/>
                    <a:gd name="T7" fmla="*/ 2147483647 h 13"/>
                    <a:gd name="T8" fmla="*/ 2147483647 w 9"/>
                    <a:gd name="T9" fmla="*/ 0 h 13"/>
                    <a:gd name="T10" fmla="*/ 2147483647 w 9"/>
                    <a:gd name="T11" fmla="*/ 0 h 13"/>
                    <a:gd name="T12" fmla="*/ 2147483647 w 9"/>
                    <a:gd name="T13" fmla="*/ 2147483647 h 13"/>
                    <a:gd name="T14" fmla="*/ 2147483647 w 9"/>
                    <a:gd name="T15" fmla="*/ 2147483647 h 13"/>
                    <a:gd name="T16" fmla="*/ 2147483647 w 9"/>
                    <a:gd name="T17" fmla="*/ 2147483647 h 13"/>
                    <a:gd name="T18" fmla="*/ 2147483647 w 9"/>
                    <a:gd name="T19" fmla="*/ 2147483647 h 13"/>
                    <a:gd name="T20" fmla="*/ 2147483647 w 9"/>
                    <a:gd name="T21" fmla="*/ 2147483647 h 13"/>
                    <a:gd name="T22" fmla="*/ 2147483647 w 9"/>
                    <a:gd name="T23" fmla="*/ 2147483647 h 13"/>
                    <a:gd name="T24" fmla="*/ 2147483647 w 9"/>
                    <a:gd name="T25" fmla="*/ 2147483647 h 13"/>
                    <a:gd name="T26" fmla="*/ 2147483647 w 9"/>
                    <a:gd name="T27" fmla="*/ 2147483647 h 13"/>
                    <a:gd name="T28" fmla="*/ 0 w 9"/>
                    <a:gd name="T29" fmla="*/ 2147483647 h 13"/>
                    <a:gd name="T30" fmla="*/ 0 w 9"/>
                    <a:gd name="T31" fmla="*/ 2147483647 h 13"/>
                    <a:gd name="T32" fmla="*/ 0 w 9"/>
                    <a:gd name="T33" fmla="*/ 2147483647 h 13"/>
                    <a:gd name="T34" fmla="*/ 2147483647 w 9"/>
                    <a:gd name="T35" fmla="*/ 2147483647 h 13"/>
                    <a:gd name="T36" fmla="*/ 2147483647 w 9"/>
                    <a:gd name="T37" fmla="*/ 2147483647 h 13"/>
                    <a:gd name="T38" fmla="*/ 2147483647 w 9"/>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3"/>
                    <a:gd name="T62" fmla="*/ 9 w 9"/>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3">
                      <a:moveTo>
                        <a:pt x="4" y="5"/>
                      </a:moveTo>
                      <a:lnTo>
                        <a:pt x="4" y="5"/>
                      </a:lnTo>
                      <a:lnTo>
                        <a:pt x="5" y="3"/>
                      </a:lnTo>
                      <a:lnTo>
                        <a:pt x="6" y="2"/>
                      </a:lnTo>
                      <a:lnTo>
                        <a:pt x="6" y="0"/>
                      </a:lnTo>
                      <a:lnTo>
                        <a:pt x="9" y="1"/>
                      </a:lnTo>
                      <a:lnTo>
                        <a:pt x="9" y="2"/>
                      </a:lnTo>
                      <a:lnTo>
                        <a:pt x="9" y="5"/>
                      </a:lnTo>
                      <a:lnTo>
                        <a:pt x="6" y="11"/>
                      </a:lnTo>
                      <a:lnTo>
                        <a:pt x="5" y="13"/>
                      </a:lnTo>
                      <a:lnTo>
                        <a:pt x="3" y="13"/>
                      </a:lnTo>
                      <a:lnTo>
                        <a:pt x="1" y="13"/>
                      </a:lnTo>
                      <a:lnTo>
                        <a:pt x="0" y="10"/>
                      </a:lnTo>
                      <a:lnTo>
                        <a:pt x="0" y="9"/>
                      </a:lnTo>
                      <a:lnTo>
                        <a:pt x="1" y="8"/>
                      </a:lnTo>
                      <a:lnTo>
                        <a:pt x="4"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4" name="Freeform 1184"/>
                <p:cNvSpPr>
                  <a:spLocks/>
                </p:cNvSpPr>
                <p:nvPr/>
              </p:nvSpPr>
              <p:spPr bwMode="auto">
                <a:xfrm>
                  <a:off x="5167236" y="3564693"/>
                  <a:ext cx="72513" cy="19238"/>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0 h 13"/>
                    <a:gd name="T34" fmla="*/ 2147483647 w 53"/>
                    <a:gd name="T35" fmla="*/ 0 h 13"/>
                    <a:gd name="T36" fmla="*/ 2147483647 w 53"/>
                    <a:gd name="T37" fmla="*/ 0 h 13"/>
                    <a:gd name="T38" fmla="*/ 2147483647 w 53"/>
                    <a:gd name="T39" fmla="*/ 0 h 13"/>
                    <a:gd name="T40" fmla="*/ 2147483647 w 53"/>
                    <a:gd name="T41" fmla="*/ 2147483647 h 13"/>
                    <a:gd name="T42" fmla="*/ 2147483647 w 53"/>
                    <a:gd name="T43" fmla="*/ 2147483647 h 13"/>
                    <a:gd name="T44" fmla="*/ 2147483647 w 53"/>
                    <a:gd name="T45" fmla="*/ 2147483647 h 13"/>
                    <a:gd name="T46" fmla="*/ 2147483647 w 53"/>
                    <a:gd name="T47" fmla="*/ 2147483647 h 13"/>
                    <a:gd name="T48" fmla="*/ 2147483647 w 53"/>
                    <a:gd name="T49" fmla="*/ 2147483647 h 13"/>
                    <a:gd name="T50" fmla="*/ 2147483647 w 53"/>
                    <a:gd name="T51" fmla="*/ 2147483647 h 13"/>
                    <a:gd name="T52" fmla="*/ 2147483647 w 53"/>
                    <a:gd name="T53" fmla="*/ 2147483647 h 13"/>
                    <a:gd name="T54" fmla="*/ 0 w 53"/>
                    <a:gd name="T55" fmla="*/ 2147483647 h 13"/>
                    <a:gd name="T56" fmla="*/ 0 w 53"/>
                    <a:gd name="T57" fmla="*/ 2147483647 h 13"/>
                    <a:gd name="T58" fmla="*/ 2147483647 w 53"/>
                    <a:gd name="T59" fmla="*/ 2147483647 h 13"/>
                    <a:gd name="T60" fmla="*/ 2147483647 w 53"/>
                    <a:gd name="T61" fmla="*/ 2147483647 h 13"/>
                    <a:gd name="T62" fmla="*/ 2147483647 w 53"/>
                    <a:gd name="T63" fmla="*/ 2147483647 h 13"/>
                    <a:gd name="T64" fmla="*/ 2147483647 w 53"/>
                    <a:gd name="T65" fmla="*/ 2147483647 h 13"/>
                    <a:gd name="T66" fmla="*/ 2147483647 w 53"/>
                    <a:gd name="T67" fmla="*/ 2147483647 h 13"/>
                    <a:gd name="T68" fmla="*/ 2147483647 w 53"/>
                    <a:gd name="T69" fmla="*/ 2147483647 h 13"/>
                    <a:gd name="T70" fmla="*/ 2147483647 w 53"/>
                    <a:gd name="T71" fmla="*/ 2147483647 h 13"/>
                    <a:gd name="T72" fmla="*/ 2147483647 w 53"/>
                    <a:gd name="T73" fmla="*/ 2147483647 h 13"/>
                    <a:gd name="T74" fmla="*/ 2147483647 w 53"/>
                    <a:gd name="T75" fmla="*/ 2147483647 h 13"/>
                    <a:gd name="T76" fmla="*/ 2147483647 w 53"/>
                    <a:gd name="T77" fmla="*/ 2147483647 h 13"/>
                    <a:gd name="T78" fmla="*/ 2147483647 w 53"/>
                    <a:gd name="T79" fmla="*/ 2147483647 h 13"/>
                    <a:gd name="T80" fmla="*/ 2147483647 w 53"/>
                    <a:gd name="T81" fmla="*/ 2147483647 h 13"/>
                    <a:gd name="T82" fmla="*/ 2147483647 w 53"/>
                    <a:gd name="T83" fmla="*/ 2147483647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3"/>
                    <a:gd name="T128" fmla="*/ 53 w 53"/>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3">
                      <a:moveTo>
                        <a:pt x="48" y="12"/>
                      </a:moveTo>
                      <a:lnTo>
                        <a:pt x="48" y="12"/>
                      </a:lnTo>
                      <a:lnTo>
                        <a:pt x="49" y="12"/>
                      </a:lnTo>
                      <a:lnTo>
                        <a:pt x="50" y="12"/>
                      </a:lnTo>
                      <a:lnTo>
                        <a:pt x="53" y="10"/>
                      </a:lnTo>
                      <a:lnTo>
                        <a:pt x="53" y="9"/>
                      </a:lnTo>
                      <a:lnTo>
                        <a:pt x="53" y="6"/>
                      </a:lnTo>
                      <a:lnTo>
                        <a:pt x="52" y="4"/>
                      </a:lnTo>
                      <a:lnTo>
                        <a:pt x="50" y="4"/>
                      </a:lnTo>
                      <a:lnTo>
                        <a:pt x="48" y="4"/>
                      </a:lnTo>
                      <a:lnTo>
                        <a:pt x="47" y="5"/>
                      </a:lnTo>
                      <a:lnTo>
                        <a:pt x="44" y="5"/>
                      </a:lnTo>
                      <a:lnTo>
                        <a:pt x="36" y="3"/>
                      </a:lnTo>
                      <a:lnTo>
                        <a:pt x="28" y="0"/>
                      </a:lnTo>
                      <a:lnTo>
                        <a:pt x="19" y="0"/>
                      </a:lnTo>
                      <a:lnTo>
                        <a:pt x="10" y="0"/>
                      </a:lnTo>
                      <a:lnTo>
                        <a:pt x="9" y="1"/>
                      </a:lnTo>
                      <a:lnTo>
                        <a:pt x="7" y="3"/>
                      </a:lnTo>
                      <a:lnTo>
                        <a:pt x="5" y="1"/>
                      </a:lnTo>
                      <a:lnTo>
                        <a:pt x="3" y="1"/>
                      </a:lnTo>
                      <a:lnTo>
                        <a:pt x="1" y="1"/>
                      </a:lnTo>
                      <a:lnTo>
                        <a:pt x="0" y="4"/>
                      </a:lnTo>
                      <a:lnTo>
                        <a:pt x="0" y="6"/>
                      </a:lnTo>
                      <a:lnTo>
                        <a:pt x="1" y="7"/>
                      </a:lnTo>
                      <a:lnTo>
                        <a:pt x="2" y="9"/>
                      </a:lnTo>
                      <a:lnTo>
                        <a:pt x="17" y="9"/>
                      </a:lnTo>
                      <a:lnTo>
                        <a:pt x="25" y="9"/>
                      </a:lnTo>
                      <a:lnTo>
                        <a:pt x="29" y="11"/>
                      </a:lnTo>
                      <a:lnTo>
                        <a:pt x="31" y="12"/>
                      </a:lnTo>
                      <a:lnTo>
                        <a:pt x="35" y="13"/>
                      </a:lnTo>
                      <a:lnTo>
                        <a:pt x="40" y="13"/>
                      </a:lnTo>
                      <a:lnTo>
                        <a:pt x="44" y="12"/>
                      </a:lnTo>
                      <a:lnTo>
                        <a:pt x="48"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5" name="Freeform 1185"/>
                <p:cNvSpPr>
                  <a:spLocks/>
                </p:cNvSpPr>
                <p:nvPr/>
              </p:nvSpPr>
              <p:spPr bwMode="auto">
                <a:xfrm>
                  <a:off x="5176113" y="3441864"/>
                  <a:ext cx="34037" cy="41436"/>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2147483647 w 24"/>
                    <a:gd name="T9" fmla="*/ 2147483647 h 28"/>
                    <a:gd name="T10" fmla="*/ 2147483647 w 24"/>
                    <a:gd name="T11" fmla="*/ 2147483647 h 28"/>
                    <a:gd name="T12" fmla="*/ 2147483647 w 24"/>
                    <a:gd name="T13" fmla="*/ 2147483647 h 28"/>
                    <a:gd name="T14" fmla="*/ 2147483647 w 24"/>
                    <a:gd name="T15" fmla="*/ 0 h 28"/>
                    <a:gd name="T16" fmla="*/ 2147483647 w 24"/>
                    <a:gd name="T17" fmla="*/ 2147483647 h 28"/>
                    <a:gd name="T18" fmla="*/ 0 w 24"/>
                    <a:gd name="T19" fmla="*/ 2147483647 h 28"/>
                    <a:gd name="T20" fmla="*/ 2147483647 w 24"/>
                    <a:gd name="T21" fmla="*/ 2147483647 h 28"/>
                    <a:gd name="T22" fmla="*/ 2147483647 w 24"/>
                    <a:gd name="T23" fmla="*/ 2147483647 h 28"/>
                    <a:gd name="T24" fmla="*/ 2147483647 w 24"/>
                    <a:gd name="T25" fmla="*/ 2147483647 h 28"/>
                    <a:gd name="T26" fmla="*/ 2147483647 w 24"/>
                    <a:gd name="T27" fmla="*/ 2147483647 h 28"/>
                    <a:gd name="T28" fmla="*/ 2147483647 w 24"/>
                    <a:gd name="T29" fmla="*/ 2147483647 h 28"/>
                    <a:gd name="T30" fmla="*/ 2147483647 w 24"/>
                    <a:gd name="T31" fmla="*/ 2147483647 h 28"/>
                    <a:gd name="T32" fmla="*/ 2147483647 w 24"/>
                    <a:gd name="T33" fmla="*/ 2147483647 h 28"/>
                    <a:gd name="T34" fmla="*/ 2147483647 w 24"/>
                    <a:gd name="T35" fmla="*/ 2147483647 h 28"/>
                    <a:gd name="T36" fmla="*/ 2147483647 w 24"/>
                    <a:gd name="T37" fmla="*/ 2147483647 h 28"/>
                    <a:gd name="T38" fmla="*/ 2147483647 w 24"/>
                    <a:gd name="T39" fmla="*/ 2147483647 h 28"/>
                    <a:gd name="T40" fmla="*/ 2147483647 w 24"/>
                    <a:gd name="T41" fmla="*/ 2147483647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28"/>
                    <a:gd name="T65" fmla="*/ 24 w 24"/>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28">
                      <a:moveTo>
                        <a:pt x="21" y="20"/>
                      </a:moveTo>
                      <a:lnTo>
                        <a:pt x="18" y="19"/>
                      </a:lnTo>
                      <a:lnTo>
                        <a:pt x="15" y="17"/>
                      </a:lnTo>
                      <a:lnTo>
                        <a:pt x="13" y="12"/>
                      </a:lnTo>
                      <a:lnTo>
                        <a:pt x="10" y="6"/>
                      </a:lnTo>
                      <a:lnTo>
                        <a:pt x="7" y="3"/>
                      </a:lnTo>
                      <a:lnTo>
                        <a:pt x="4" y="1"/>
                      </a:lnTo>
                      <a:lnTo>
                        <a:pt x="2" y="0"/>
                      </a:lnTo>
                      <a:lnTo>
                        <a:pt x="2" y="1"/>
                      </a:lnTo>
                      <a:lnTo>
                        <a:pt x="0" y="3"/>
                      </a:lnTo>
                      <a:lnTo>
                        <a:pt x="2" y="6"/>
                      </a:lnTo>
                      <a:lnTo>
                        <a:pt x="3" y="9"/>
                      </a:lnTo>
                      <a:lnTo>
                        <a:pt x="4" y="12"/>
                      </a:lnTo>
                      <a:lnTo>
                        <a:pt x="8" y="18"/>
                      </a:lnTo>
                      <a:lnTo>
                        <a:pt x="10" y="23"/>
                      </a:lnTo>
                      <a:lnTo>
                        <a:pt x="14" y="25"/>
                      </a:lnTo>
                      <a:lnTo>
                        <a:pt x="19" y="28"/>
                      </a:lnTo>
                      <a:lnTo>
                        <a:pt x="23" y="28"/>
                      </a:lnTo>
                      <a:lnTo>
                        <a:pt x="24" y="26"/>
                      </a:lnTo>
                      <a:lnTo>
                        <a:pt x="24" y="24"/>
                      </a:lnTo>
                      <a:lnTo>
                        <a:pt x="21" y="2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6" name="Freeform 1186"/>
                <p:cNvSpPr>
                  <a:spLocks/>
                </p:cNvSpPr>
                <p:nvPr/>
              </p:nvSpPr>
              <p:spPr bwMode="auto">
                <a:xfrm>
                  <a:off x="5232351" y="3437425"/>
                  <a:ext cx="13318" cy="13319"/>
                </a:xfrm>
                <a:custGeom>
                  <a:avLst/>
                  <a:gdLst>
                    <a:gd name="T0" fmla="*/ 2147483647 w 10"/>
                    <a:gd name="T1" fmla="*/ 2147483647 h 9"/>
                    <a:gd name="T2" fmla="*/ 2147483647 w 10"/>
                    <a:gd name="T3" fmla="*/ 2147483647 h 9"/>
                    <a:gd name="T4" fmla="*/ 2147483647 w 10"/>
                    <a:gd name="T5" fmla="*/ 2147483647 h 9"/>
                    <a:gd name="T6" fmla="*/ 2147483647 w 10"/>
                    <a:gd name="T7" fmla="*/ 2147483647 h 9"/>
                    <a:gd name="T8" fmla="*/ 2147483647 w 10"/>
                    <a:gd name="T9" fmla="*/ 2147483647 h 9"/>
                    <a:gd name="T10" fmla="*/ 2147483647 w 10"/>
                    <a:gd name="T11" fmla="*/ 2147483647 h 9"/>
                    <a:gd name="T12" fmla="*/ 0 w 10"/>
                    <a:gd name="T13" fmla="*/ 2147483647 h 9"/>
                    <a:gd name="T14" fmla="*/ 0 w 10"/>
                    <a:gd name="T15" fmla="*/ 2147483647 h 9"/>
                    <a:gd name="T16" fmla="*/ 2147483647 w 10"/>
                    <a:gd name="T17" fmla="*/ 2147483647 h 9"/>
                    <a:gd name="T18" fmla="*/ 2147483647 w 10"/>
                    <a:gd name="T19" fmla="*/ 0 h 9"/>
                    <a:gd name="T20" fmla="*/ 2147483647 w 10"/>
                    <a:gd name="T21" fmla="*/ 0 h 9"/>
                    <a:gd name="T22" fmla="*/ 2147483647 w 10"/>
                    <a:gd name="T23" fmla="*/ 2147483647 h 9"/>
                    <a:gd name="T24" fmla="*/ 2147483647 w 10"/>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9"/>
                    <a:gd name="T41" fmla="*/ 10 w 10"/>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9">
                      <a:moveTo>
                        <a:pt x="9" y="6"/>
                      </a:moveTo>
                      <a:lnTo>
                        <a:pt x="10" y="7"/>
                      </a:lnTo>
                      <a:lnTo>
                        <a:pt x="10" y="8"/>
                      </a:lnTo>
                      <a:lnTo>
                        <a:pt x="7" y="9"/>
                      </a:lnTo>
                      <a:lnTo>
                        <a:pt x="4" y="9"/>
                      </a:lnTo>
                      <a:lnTo>
                        <a:pt x="1" y="7"/>
                      </a:lnTo>
                      <a:lnTo>
                        <a:pt x="0" y="6"/>
                      </a:lnTo>
                      <a:lnTo>
                        <a:pt x="0" y="3"/>
                      </a:lnTo>
                      <a:lnTo>
                        <a:pt x="1" y="1"/>
                      </a:lnTo>
                      <a:lnTo>
                        <a:pt x="2" y="0"/>
                      </a:lnTo>
                      <a:lnTo>
                        <a:pt x="5" y="0"/>
                      </a:lnTo>
                      <a:lnTo>
                        <a:pt x="6" y="1"/>
                      </a:lnTo>
                      <a:lnTo>
                        <a:pt x="9"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7" name="Freeform 1187"/>
                <p:cNvSpPr>
                  <a:spLocks/>
                </p:cNvSpPr>
                <p:nvPr/>
              </p:nvSpPr>
              <p:spPr bwMode="auto">
                <a:xfrm>
                  <a:off x="5174636" y="3440384"/>
                  <a:ext cx="34038" cy="39956"/>
                </a:xfrm>
                <a:custGeom>
                  <a:avLst/>
                  <a:gdLst>
                    <a:gd name="T0" fmla="*/ 2147483647 w 24"/>
                    <a:gd name="T1" fmla="*/ 2147483647 h 27"/>
                    <a:gd name="T2" fmla="*/ 2147483647 w 24"/>
                    <a:gd name="T3" fmla="*/ 2147483647 h 27"/>
                    <a:gd name="T4" fmla="*/ 2147483647 w 24"/>
                    <a:gd name="T5" fmla="*/ 2147483647 h 27"/>
                    <a:gd name="T6" fmla="*/ 2147483647 w 24"/>
                    <a:gd name="T7" fmla="*/ 2147483647 h 27"/>
                    <a:gd name="T8" fmla="*/ 2147483647 w 24"/>
                    <a:gd name="T9" fmla="*/ 2147483647 h 27"/>
                    <a:gd name="T10" fmla="*/ 2147483647 w 24"/>
                    <a:gd name="T11" fmla="*/ 2147483647 h 27"/>
                    <a:gd name="T12" fmla="*/ 2147483647 w 24"/>
                    <a:gd name="T13" fmla="*/ 2147483647 h 27"/>
                    <a:gd name="T14" fmla="*/ 2147483647 w 24"/>
                    <a:gd name="T15" fmla="*/ 2147483647 h 27"/>
                    <a:gd name="T16" fmla="*/ 2147483647 w 24"/>
                    <a:gd name="T17" fmla="*/ 2147483647 h 27"/>
                    <a:gd name="T18" fmla="*/ 2147483647 w 24"/>
                    <a:gd name="T19" fmla="*/ 0 h 27"/>
                    <a:gd name="T20" fmla="*/ 2147483647 w 24"/>
                    <a:gd name="T21" fmla="*/ 0 h 27"/>
                    <a:gd name="T22" fmla="*/ 2147483647 w 24"/>
                    <a:gd name="T23" fmla="*/ 2147483647 h 27"/>
                    <a:gd name="T24" fmla="*/ 0 w 24"/>
                    <a:gd name="T25" fmla="*/ 2147483647 h 27"/>
                    <a:gd name="T26" fmla="*/ 2147483647 w 24"/>
                    <a:gd name="T27" fmla="*/ 2147483647 h 27"/>
                    <a:gd name="T28" fmla="*/ 2147483647 w 24"/>
                    <a:gd name="T29" fmla="*/ 2147483647 h 27"/>
                    <a:gd name="T30" fmla="*/ 2147483647 w 24"/>
                    <a:gd name="T31" fmla="*/ 2147483647 h 27"/>
                    <a:gd name="T32" fmla="*/ 2147483647 w 24"/>
                    <a:gd name="T33" fmla="*/ 2147483647 h 27"/>
                    <a:gd name="T34" fmla="*/ 2147483647 w 24"/>
                    <a:gd name="T35" fmla="*/ 2147483647 h 27"/>
                    <a:gd name="T36" fmla="*/ 2147483647 w 24"/>
                    <a:gd name="T37" fmla="*/ 2147483647 h 27"/>
                    <a:gd name="T38" fmla="*/ 2147483647 w 24"/>
                    <a:gd name="T39" fmla="*/ 2147483647 h 27"/>
                    <a:gd name="T40" fmla="*/ 2147483647 w 24"/>
                    <a:gd name="T41" fmla="*/ 2147483647 h 27"/>
                    <a:gd name="T42" fmla="*/ 2147483647 w 24"/>
                    <a:gd name="T43" fmla="*/ 2147483647 h 27"/>
                    <a:gd name="T44" fmla="*/ 2147483647 w 24"/>
                    <a:gd name="T45" fmla="*/ 2147483647 h 27"/>
                    <a:gd name="T46" fmla="*/ 2147483647 w 24"/>
                    <a:gd name="T47" fmla="*/ 2147483647 h 27"/>
                    <a:gd name="T48" fmla="*/ 2147483647 w 24"/>
                    <a:gd name="T49" fmla="*/ 2147483647 h 27"/>
                    <a:gd name="T50" fmla="*/ 2147483647 w 24"/>
                    <a:gd name="T51" fmla="*/ 2147483647 h 27"/>
                    <a:gd name="T52" fmla="*/ 2147483647 w 24"/>
                    <a:gd name="T53" fmla="*/ 2147483647 h 27"/>
                    <a:gd name="T54" fmla="*/ 2147483647 w 24"/>
                    <a:gd name="T55" fmla="*/ 2147483647 h 27"/>
                    <a:gd name="T56" fmla="*/ 2147483647 w 24"/>
                    <a:gd name="T57" fmla="*/ 2147483647 h 27"/>
                    <a:gd name="T58" fmla="*/ 2147483647 w 24"/>
                    <a:gd name="T59" fmla="*/ 2147483647 h 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27"/>
                    <a:gd name="T92" fmla="*/ 24 w 24"/>
                    <a:gd name="T93" fmla="*/ 27 h 2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27">
                      <a:moveTo>
                        <a:pt x="20" y="20"/>
                      </a:moveTo>
                      <a:lnTo>
                        <a:pt x="20" y="20"/>
                      </a:lnTo>
                      <a:lnTo>
                        <a:pt x="18" y="19"/>
                      </a:lnTo>
                      <a:lnTo>
                        <a:pt x="15" y="17"/>
                      </a:lnTo>
                      <a:lnTo>
                        <a:pt x="13" y="12"/>
                      </a:lnTo>
                      <a:lnTo>
                        <a:pt x="10" y="6"/>
                      </a:lnTo>
                      <a:lnTo>
                        <a:pt x="6" y="2"/>
                      </a:lnTo>
                      <a:lnTo>
                        <a:pt x="4" y="1"/>
                      </a:lnTo>
                      <a:lnTo>
                        <a:pt x="1" y="0"/>
                      </a:lnTo>
                      <a:lnTo>
                        <a:pt x="1" y="1"/>
                      </a:lnTo>
                      <a:lnTo>
                        <a:pt x="0" y="2"/>
                      </a:lnTo>
                      <a:lnTo>
                        <a:pt x="1" y="6"/>
                      </a:lnTo>
                      <a:lnTo>
                        <a:pt x="3" y="8"/>
                      </a:lnTo>
                      <a:lnTo>
                        <a:pt x="4" y="12"/>
                      </a:lnTo>
                      <a:lnTo>
                        <a:pt x="8" y="18"/>
                      </a:lnTo>
                      <a:lnTo>
                        <a:pt x="10" y="23"/>
                      </a:lnTo>
                      <a:lnTo>
                        <a:pt x="14" y="25"/>
                      </a:lnTo>
                      <a:lnTo>
                        <a:pt x="19" y="27"/>
                      </a:lnTo>
                      <a:lnTo>
                        <a:pt x="23" y="27"/>
                      </a:lnTo>
                      <a:lnTo>
                        <a:pt x="24" y="26"/>
                      </a:lnTo>
                      <a:lnTo>
                        <a:pt x="24" y="24"/>
                      </a:lnTo>
                      <a:lnTo>
                        <a:pt x="20" y="2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8" name="Freeform 1188"/>
                <p:cNvSpPr>
                  <a:spLocks/>
                </p:cNvSpPr>
                <p:nvPr/>
              </p:nvSpPr>
              <p:spPr bwMode="auto">
                <a:xfrm>
                  <a:off x="5230868" y="3435943"/>
                  <a:ext cx="14799" cy="13319"/>
                </a:xfrm>
                <a:custGeom>
                  <a:avLst/>
                  <a:gdLst>
                    <a:gd name="T0" fmla="*/ 2147483647 w 10"/>
                    <a:gd name="T1" fmla="*/ 2147483647 h 9"/>
                    <a:gd name="T2" fmla="*/ 2147483647 w 10"/>
                    <a:gd name="T3" fmla="*/ 2147483647 h 9"/>
                    <a:gd name="T4" fmla="*/ 2147483647 w 10"/>
                    <a:gd name="T5" fmla="*/ 2147483647 h 9"/>
                    <a:gd name="T6" fmla="*/ 2147483647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0 w 10"/>
                    <a:gd name="T19" fmla="*/ 2147483647 h 9"/>
                    <a:gd name="T20" fmla="*/ 0 w 10"/>
                    <a:gd name="T21" fmla="*/ 2147483647 h 9"/>
                    <a:gd name="T22" fmla="*/ 2147483647 w 10"/>
                    <a:gd name="T23" fmla="*/ 2147483647 h 9"/>
                    <a:gd name="T24" fmla="*/ 2147483647 w 10"/>
                    <a:gd name="T25" fmla="*/ 0 h 9"/>
                    <a:gd name="T26" fmla="*/ 2147483647 w 10"/>
                    <a:gd name="T27" fmla="*/ 0 h 9"/>
                    <a:gd name="T28" fmla="*/ 2147483647 w 10"/>
                    <a:gd name="T29" fmla="*/ 0 h 9"/>
                    <a:gd name="T30" fmla="*/ 2147483647 w 10"/>
                    <a:gd name="T31" fmla="*/ 2147483647 h 9"/>
                    <a:gd name="T32" fmla="*/ 2147483647 w 10"/>
                    <a:gd name="T33" fmla="*/ 2147483647 h 9"/>
                    <a:gd name="T34" fmla="*/ 2147483647 w 10"/>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
                    <a:gd name="T55" fmla="*/ 0 h 9"/>
                    <a:gd name="T56" fmla="*/ 10 w 10"/>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 h="9">
                      <a:moveTo>
                        <a:pt x="8" y="5"/>
                      </a:moveTo>
                      <a:lnTo>
                        <a:pt x="8" y="5"/>
                      </a:lnTo>
                      <a:lnTo>
                        <a:pt x="10" y="7"/>
                      </a:lnTo>
                      <a:lnTo>
                        <a:pt x="10" y="8"/>
                      </a:lnTo>
                      <a:lnTo>
                        <a:pt x="7" y="9"/>
                      </a:lnTo>
                      <a:lnTo>
                        <a:pt x="3" y="9"/>
                      </a:lnTo>
                      <a:lnTo>
                        <a:pt x="1" y="7"/>
                      </a:lnTo>
                      <a:lnTo>
                        <a:pt x="0" y="5"/>
                      </a:lnTo>
                      <a:lnTo>
                        <a:pt x="0" y="3"/>
                      </a:lnTo>
                      <a:lnTo>
                        <a:pt x="1" y="1"/>
                      </a:lnTo>
                      <a:lnTo>
                        <a:pt x="2" y="0"/>
                      </a:lnTo>
                      <a:lnTo>
                        <a:pt x="5" y="0"/>
                      </a:lnTo>
                      <a:lnTo>
                        <a:pt x="6" y="1"/>
                      </a:lnTo>
                      <a:lnTo>
                        <a:pt x="8"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89" name="Freeform 1189"/>
                <p:cNvSpPr>
                  <a:spLocks/>
                </p:cNvSpPr>
                <p:nvPr/>
              </p:nvSpPr>
              <p:spPr bwMode="auto">
                <a:xfrm>
                  <a:off x="5087322" y="3347151"/>
                  <a:ext cx="162786" cy="189424"/>
                </a:xfrm>
                <a:custGeom>
                  <a:avLst/>
                  <a:gdLst>
                    <a:gd name="T0" fmla="*/ 2147483647 w 119"/>
                    <a:gd name="T1" fmla="*/ 2147483647 h 128"/>
                    <a:gd name="T2" fmla="*/ 2147483647 w 119"/>
                    <a:gd name="T3" fmla="*/ 2147483647 h 128"/>
                    <a:gd name="T4" fmla="*/ 2147483647 w 119"/>
                    <a:gd name="T5" fmla="*/ 2147483647 h 128"/>
                    <a:gd name="T6" fmla="*/ 2147483647 w 119"/>
                    <a:gd name="T7" fmla="*/ 0 h 128"/>
                    <a:gd name="T8" fmla="*/ 2147483647 w 119"/>
                    <a:gd name="T9" fmla="*/ 2147483647 h 128"/>
                    <a:gd name="T10" fmla="*/ 2147483647 w 119"/>
                    <a:gd name="T11" fmla="*/ 2147483647 h 128"/>
                    <a:gd name="T12" fmla="*/ 2147483647 w 119"/>
                    <a:gd name="T13" fmla="*/ 2147483647 h 128"/>
                    <a:gd name="T14" fmla="*/ 2147483647 w 119"/>
                    <a:gd name="T15" fmla="*/ 2147483647 h 128"/>
                    <a:gd name="T16" fmla="*/ 2147483647 w 119"/>
                    <a:gd name="T17" fmla="*/ 2147483647 h 128"/>
                    <a:gd name="T18" fmla="*/ 2147483647 w 119"/>
                    <a:gd name="T19" fmla="*/ 2147483647 h 128"/>
                    <a:gd name="T20" fmla="*/ 2147483647 w 119"/>
                    <a:gd name="T21" fmla="*/ 2147483647 h 128"/>
                    <a:gd name="T22" fmla="*/ 2147483647 w 119"/>
                    <a:gd name="T23" fmla="*/ 2147483647 h 128"/>
                    <a:gd name="T24" fmla="*/ 2147483647 w 119"/>
                    <a:gd name="T25" fmla="*/ 2147483647 h 128"/>
                    <a:gd name="T26" fmla="*/ 2147483647 w 119"/>
                    <a:gd name="T27" fmla="*/ 2147483647 h 128"/>
                    <a:gd name="T28" fmla="*/ 2147483647 w 119"/>
                    <a:gd name="T29" fmla="*/ 2147483647 h 128"/>
                    <a:gd name="T30" fmla="*/ 0 w 119"/>
                    <a:gd name="T31" fmla="*/ 2147483647 h 128"/>
                    <a:gd name="T32" fmla="*/ 0 w 119"/>
                    <a:gd name="T33" fmla="*/ 2147483647 h 128"/>
                    <a:gd name="T34" fmla="*/ 2147483647 w 119"/>
                    <a:gd name="T35" fmla="*/ 2147483647 h 128"/>
                    <a:gd name="T36" fmla="*/ 2147483647 w 119"/>
                    <a:gd name="T37" fmla="*/ 2147483647 h 128"/>
                    <a:gd name="T38" fmla="*/ 2147483647 w 119"/>
                    <a:gd name="T39" fmla="*/ 2147483647 h 128"/>
                    <a:gd name="T40" fmla="*/ 2147483647 w 119"/>
                    <a:gd name="T41" fmla="*/ 2147483647 h 128"/>
                    <a:gd name="T42" fmla="*/ 2147483647 w 119"/>
                    <a:gd name="T43" fmla="*/ 2147483647 h 128"/>
                    <a:gd name="T44" fmla="*/ 2147483647 w 119"/>
                    <a:gd name="T45" fmla="*/ 2147483647 h 128"/>
                    <a:gd name="T46" fmla="*/ 2147483647 w 119"/>
                    <a:gd name="T47" fmla="*/ 2147483647 h 128"/>
                    <a:gd name="T48" fmla="*/ 2147483647 w 119"/>
                    <a:gd name="T49" fmla="*/ 2147483647 h 128"/>
                    <a:gd name="T50" fmla="*/ 2147483647 w 119"/>
                    <a:gd name="T51" fmla="*/ 2147483647 h 128"/>
                    <a:gd name="T52" fmla="*/ 2147483647 w 119"/>
                    <a:gd name="T53" fmla="*/ 2147483647 h 128"/>
                    <a:gd name="T54" fmla="*/ 2147483647 w 119"/>
                    <a:gd name="T55" fmla="*/ 2147483647 h 128"/>
                    <a:gd name="T56" fmla="*/ 2147483647 w 119"/>
                    <a:gd name="T57" fmla="*/ 2147483647 h 128"/>
                    <a:gd name="T58" fmla="*/ 2147483647 w 119"/>
                    <a:gd name="T59" fmla="*/ 2147483647 h 128"/>
                    <a:gd name="T60" fmla="*/ 2147483647 w 119"/>
                    <a:gd name="T61" fmla="*/ 2147483647 h 128"/>
                    <a:gd name="T62" fmla="*/ 2147483647 w 119"/>
                    <a:gd name="T63" fmla="*/ 2147483647 h 128"/>
                    <a:gd name="T64" fmla="*/ 2147483647 w 119"/>
                    <a:gd name="T65" fmla="*/ 2147483647 h 128"/>
                    <a:gd name="T66" fmla="*/ 2147483647 w 119"/>
                    <a:gd name="T67" fmla="*/ 2147483647 h 128"/>
                    <a:gd name="T68" fmla="*/ 2147483647 w 119"/>
                    <a:gd name="T69" fmla="*/ 2147483647 h 128"/>
                    <a:gd name="T70" fmla="*/ 2147483647 w 119"/>
                    <a:gd name="T71" fmla="*/ 2147483647 h 128"/>
                    <a:gd name="T72" fmla="*/ 2147483647 w 119"/>
                    <a:gd name="T73" fmla="*/ 2147483647 h 128"/>
                    <a:gd name="T74" fmla="*/ 2147483647 w 119"/>
                    <a:gd name="T75" fmla="*/ 2147483647 h 128"/>
                    <a:gd name="T76" fmla="*/ 2147483647 w 119"/>
                    <a:gd name="T77" fmla="*/ 2147483647 h 128"/>
                    <a:gd name="T78" fmla="*/ 2147483647 w 119"/>
                    <a:gd name="T79" fmla="*/ 2147483647 h 128"/>
                    <a:gd name="T80" fmla="*/ 2147483647 w 119"/>
                    <a:gd name="T81" fmla="*/ 2147483647 h 128"/>
                    <a:gd name="T82" fmla="*/ 2147483647 w 119"/>
                    <a:gd name="T83" fmla="*/ 2147483647 h 128"/>
                    <a:gd name="T84" fmla="*/ 2147483647 w 119"/>
                    <a:gd name="T85" fmla="*/ 2147483647 h 128"/>
                    <a:gd name="T86" fmla="*/ 2147483647 w 119"/>
                    <a:gd name="T87" fmla="*/ 2147483647 h 128"/>
                    <a:gd name="T88" fmla="*/ 2147483647 w 119"/>
                    <a:gd name="T89" fmla="*/ 2147483647 h 128"/>
                    <a:gd name="T90" fmla="*/ 2147483647 w 119"/>
                    <a:gd name="T91" fmla="*/ 2147483647 h 128"/>
                    <a:gd name="T92" fmla="*/ 2147483647 w 119"/>
                    <a:gd name="T93" fmla="*/ 2147483647 h 128"/>
                    <a:gd name="T94" fmla="*/ 2147483647 w 119"/>
                    <a:gd name="T95" fmla="*/ 2147483647 h 128"/>
                    <a:gd name="T96" fmla="*/ 2147483647 w 119"/>
                    <a:gd name="T97" fmla="*/ 2147483647 h 128"/>
                    <a:gd name="T98" fmla="*/ 2147483647 w 119"/>
                    <a:gd name="T99" fmla="*/ 2147483647 h 128"/>
                    <a:gd name="T100" fmla="*/ 2147483647 w 119"/>
                    <a:gd name="T101" fmla="*/ 2147483647 h 128"/>
                    <a:gd name="T102" fmla="*/ 2147483647 w 119"/>
                    <a:gd name="T103" fmla="*/ 2147483647 h 128"/>
                    <a:gd name="T104" fmla="*/ 2147483647 w 119"/>
                    <a:gd name="T105" fmla="*/ 2147483647 h 128"/>
                    <a:gd name="T106" fmla="*/ 2147483647 w 119"/>
                    <a:gd name="T107" fmla="*/ 2147483647 h 128"/>
                    <a:gd name="T108" fmla="*/ 2147483647 w 119"/>
                    <a:gd name="T109" fmla="*/ 2147483647 h 128"/>
                    <a:gd name="T110" fmla="*/ 2147483647 w 119"/>
                    <a:gd name="T111" fmla="*/ 2147483647 h 128"/>
                    <a:gd name="T112" fmla="*/ 2147483647 w 119"/>
                    <a:gd name="T113" fmla="*/ 2147483647 h 128"/>
                    <a:gd name="T114" fmla="*/ 2147483647 w 119"/>
                    <a:gd name="T115" fmla="*/ 2147483647 h 128"/>
                    <a:gd name="T116" fmla="*/ 2147483647 w 119"/>
                    <a:gd name="T117" fmla="*/ 2147483647 h 128"/>
                    <a:gd name="T118" fmla="*/ 2147483647 w 119"/>
                    <a:gd name="T119" fmla="*/ 2147483647 h 128"/>
                    <a:gd name="T120" fmla="*/ 2147483647 w 119"/>
                    <a:gd name="T121" fmla="*/ 2147483647 h 1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9"/>
                    <a:gd name="T184" fmla="*/ 0 h 128"/>
                    <a:gd name="T185" fmla="*/ 119 w 119"/>
                    <a:gd name="T186" fmla="*/ 128 h 1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9" h="128">
                      <a:moveTo>
                        <a:pt x="103" y="27"/>
                      </a:moveTo>
                      <a:lnTo>
                        <a:pt x="110" y="22"/>
                      </a:lnTo>
                      <a:lnTo>
                        <a:pt x="115" y="14"/>
                      </a:lnTo>
                      <a:lnTo>
                        <a:pt x="117" y="11"/>
                      </a:lnTo>
                      <a:lnTo>
                        <a:pt x="119" y="7"/>
                      </a:lnTo>
                      <a:lnTo>
                        <a:pt x="117" y="4"/>
                      </a:lnTo>
                      <a:lnTo>
                        <a:pt x="115" y="0"/>
                      </a:lnTo>
                      <a:lnTo>
                        <a:pt x="111" y="0"/>
                      </a:lnTo>
                      <a:lnTo>
                        <a:pt x="110" y="1"/>
                      </a:lnTo>
                      <a:lnTo>
                        <a:pt x="107" y="9"/>
                      </a:lnTo>
                      <a:lnTo>
                        <a:pt x="106" y="11"/>
                      </a:lnTo>
                      <a:lnTo>
                        <a:pt x="102" y="13"/>
                      </a:lnTo>
                      <a:lnTo>
                        <a:pt x="100" y="13"/>
                      </a:lnTo>
                      <a:lnTo>
                        <a:pt x="97" y="13"/>
                      </a:lnTo>
                      <a:lnTo>
                        <a:pt x="91" y="11"/>
                      </a:lnTo>
                      <a:lnTo>
                        <a:pt x="86" y="10"/>
                      </a:lnTo>
                      <a:lnTo>
                        <a:pt x="80" y="10"/>
                      </a:lnTo>
                      <a:lnTo>
                        <a:pt x="70" y="11"/>
                      </a:lnTo>
                      <a:lnTo>
                        <a:pt x="67" y="12"/>
                      </a:lnTo>
                      <a:lnTo>
                        <a:pt x="61" y="14"/>
                      </a:lnTo>
                      <a:lnTo>
                        <a:pt x="58" y="16"/>
                      </a:lnTo>
                      <a:lnTo>
                        <a:pt x="53" y="16"/>
                      </a:lnTo>
                      <a:lnTo>
                        <a:pt x="46" y="20"/>
                      </a:lnTo>
                      <a:lnTo>
                        <a:pt x="42" y="23"/>
                      </a:lnTo>
                      <a:lnTo>
                        <a:pt x="39" y="24"/>
                      </a:lnTo>
                      <a:lnTo>
                        <a:pt x="17" y="29"/>
                      </a:lnTo>
                      <a:lnTo>
                        <a:pt x="17" y="32"/>
                      </a:lnTo>
                      <a:lnTo>
                        <a:pt x="16" y="36"/>
                      </a:lnTo>
                      <a:lnTo>
                        <a:pt x="11" y="42"/>
                      </a:lnTo>
                      <a:lnTo>
                        <a:pt x="11" y="44"/>
                      </a:lnTo>
                      <a:lnTo>
                        <a:pt x="9" y="48"/>
                      </a:lnTo>
                      <a:lnTo>
                        <a:pt x="0" y="54"/>
                      </a:lnTo>
                      <a:lnTo>
                        <a:pt x="0" y="56"/>
                      </a:lnTo>
                      <a:lnTo>
                        <a:pt x="0" y="58"/>
                      </a:lnTo>
                      <a:lnTo>
                        <a:pt x="2" y="61"/>
                      </a:lnTo>
                      <a:lnTo>
                        <a:pt x="3" y="63"/>
                      </a:lnTo>
                      <a:lnTo>
                        <a:pt x="7" y="65"/>
                      </a:lnTo>
                      <a:lnTo>
                        <a:pt x="11" y="65"/>
                      </a:lnTo>
                      <a:lnTo>
                        <a:pt x="16" y="65"/>
                      </a:lnTo>
                      <a:lnTo>
                        <a:pt x="17" y="67"/>
                      </a:lnTo>
                      <a:lnTo>
                        <a:pt x="18" y="68"/>
                      </a:lnTo>
                      <a:lnTo>
                        <a:pt x="18" y="70"/>
                      </a:lnTo>
                      <a:lnTo>
                        <a:pt x="17" y="73"/>
                      </a:lnTo>
                      <a:lnTo>
                        <a:pt x="20" y="75"/>
                      </a:lnTo>
                      <a:lnTo>
                        <a:pt x="25" y="80"/>
                      </a:lnTo>
                      <a:lnTo>
                        <a:pt x="30" y="81"/>
                      </a:lnTo>
                      <a:lnTo>
                        <a:pt x="35" y="81"/>
                      </a:lnTo>
                      <a:lnTo>
                        <a:pt x="41" y="81"/>
                      </a:lnTo>
                      <a:lnTo>
                        <a:pt x="46" y="82"/>
                      </a:lnTo>
                      <a:lnTo>
                        <a:pt x="50" y="83"/>
                      </a:lnTo>
                      <a:lnTo>
                        <a:pt x="51" y="87"/>
                      </a:lnTo>
                      <a:lnTo>
                        <a:pt x="51" y="89"/>
                      </a:lnTo>
                      <a:lnTo>
                        <a:pt x="50" y="90"/>
                      </a:lnTo>
                      <a:lnTo>
                        <a:pt x="49" y="90"/>
                      </a:lnTo>
                      <a:lnTo>
                        <a:pt x="41" y="88"/>
                      </a:lnTo>
                      <a:lnTo>
                        <a:pt x="33" y="87"/>
                      </a:lnTo>
                      <a:lnTo>
                        <a:pt x="28" y="87"/>
                      </a:lnTo>
                      <a:lnTo>
                        <a:pt x="23" y="90"/>
                      </a:lnTo>
                      <a:lnTo>
                        <a:pt x="21" y="93"/>
                      </a:lnTo>
                      <a:lnTo>
                        <a:pt x="21" y="97"/>
                      </a:lnTo>
                      <a:lnTo>
                        <a:pt x="25" y="99"/>
                      </a:lnTo>
                      <a:lnTo>
                        <a:pt x="26" y="100"/>
                      </a:lnTo>
                      <a:lnTo>
                        <a:pt x="28" y="106"/>
                      </a:lnTo>
                      <a:lnTo>
                        <a:pt x="31" y="110"/>
                      </a:lnTo>
                      <a:lnTo>
                        <a:pt x="32" y="113"/>
                      </a:lnTo>
                      <a:lnTo>
                        <a:pt x="33" y="114"/>
                      </a:lnTo>
                      <a:lnTo>
                        <a:pt x="39" y="116"/>
                      </a:lnTo>
                      <a:lnTo>
                        <a:pt x="42" y="121"/>
                      </a:lnTo>
                      <a:lnTo>
                        <a:pt x="46" y="125"/>
                      </a:lnTo>
                      <a:lnTo>
                        <a:pt x="51" y="127"/>
                      </a:lnTo>
                      <a:lnTo>
                        <a:pt x="53" y="128"/>
                      </a:lnTo>
                      <a:lnTo>
                        <a:pt x="55" y="127"/>
                      </a:lnTo>
                      <a:lnTo>
                        <a:pt x="56" y="126"/>
                      </a:lnTo>
                      <a:lnTo>
                        <a:pt x="58" y="124"/>
                      </a:lnTo>
                      <a:lnTo>
                        <a:pt x="56" y="119"/>
                      </a:lnTo>
                      <a:lnTo>
                        <a:pt x="54" y="115"/>
                      </a:lnTo>
                      <a:lnTo>
                        <a:pt x="53" y="110"/>
                      </a:lnTo>
                      <a:lnTo>
                        <a:pt x="53" y="108"/>
                      </a:lnTo>
                      <a:lnTo>
                        <a:pt x="54" y="106"/>
                      </a:lnTo>
                      <a:lnTo>
                        <a:pt x="58" y="103"/>
                      </a:lnTo>
                      <a:lnTo>
                        <a:pt x="59" y="102"/>
                      </a:lnTo>
                      <a:lnTo>
                        <a:pt x="58" y="101"/>
                      </a:lnTo>
                      <a:lnTo>
                        <a:pt x="58" y="99"/>
                      </a:lnTo>
                      <a:lnTo>
                        <a:pt x="58" y="97"/>
                      </a:lnTo>
                      <a:lnTo>
                        <a:pt x="61" y="100"/>
                      </a:lnTo>
                      <a:lnTo>
                        <a:pt x="67" y="100"/>
                      </a:lnTo>
                      <a:lnTo>
                        <a:pt x="70" y="100"/>
                      </a:lnTo>
                      <a:lnTo>
                        <a:pt x="73" y="96"/>
                      </a:lnTo>
                      <a:lnTo>
                        <a:pt x="73" y="95"/>
                      </a:lnTo>
                      <a:lnTo>
                        <a:pt x="73" y="93"/>
                      </a:lnTo>
                      <a:lnTo>
                        <a:pt x="69" y="89"/>
                      </a:lnTo>
                      <a:lnTo>
                        <a:pt x="61" y="80"/>
                      </a:lnTo>
                      <a:lnTo>
                        <a:pt x="59" y="76"/>
                      </a:lnTo>
                      <a:lnTo>
                        <a:pt x="58" y="73"/>
                      </a:lnTo>
                      <a:lnTo>
                        <a:pt x="58" y="65"/>
                      </a:lnTo>
                      <a:lnTo>
                        <a:pt x="56" y="57"/>
                      </a:lnTo>
                      <a:lnTo>
                        <a:pt x="55" y="55"/>
                      </a:lnTo>
                      <a:lnTo>
                        <a:pt x="53" y="51"/>
                      </a:lnTo>
                      <a:lnTo>
                        <a:pt x="51" y="50"/>
                      </a:lnTo>
                      <a:lnTo>
                        <a:pt x="51" y="49"/>
                      </a:lnTo>
                      <a:lnTo>
                        <a:pt x="54" y="46"/>
                      </a:lnTo>
                      <a:lnTo>
                        <a:pt x="58" y="45"/>
                      </a:lnTo>
                      <a:lnTo>
                        <a:pt x="60" y="43"/>
                      </a:lnTo>
                      <a:lnTo>
                        <a:pt x="61" y="42"/>
                      </a:lnTo>
                      <a:lnTo>
                        <a:pt x="61" y="39"/>
                      </a:lnTo>
                      <a:lnTo>
                        <a:pt x="61" y="37"/>
                      </a:lnTo>
                      <a:lnTo>
                        <a:pt x="61" y="35"/>
                      </a:lnTo>
                      <a:lnTo>
                        <a:pt x="64" y="33"/>
                      </a:lnTo>
                      <a:lnTo>
                        <a:pt x="65" y="33"/>
                      </a:lnTo>
                      <a:lnTo>
                        <a:pt x="68" y="35"/>
                      </a:lnTo>
                      <a:lnTo>
                        <a:pt x="70" y="38"/>
                      </a:lnTo>
                      <a:lnTo>
                        <a:pt x="72" y="43"/>
                      </a:lnTo>
                      <a:lnTo>
                        <a:pt x="74" y="43"/>
                      </a:lnTo>
                      <a:lnTo>
                        <a:pt x="75" y="43"/>
                      </a:lnTo>
                      <a:lnTo>
                        <a:pt x="77" y="38"/>
                      </a:lnTo>
                      <a:lnTo>
                        <a:pt x="77" y="35"/>
                      </a:lnTo>
                      <a:lnTo>
                        <a:pt x="75" y="32"/>
                      </a:lnTo>
                      <a:lnTo>
                        <a:pt x="74" y="31"/>
                      </a:lnTo>
                      <a:lnTo>
                        <a:pt x="74" y="27"/>
                      </a:lnTo>
                      <a:lnTo>
                        <a:pt x="82" y="25"/>
                      </a:lnTo>
                      <a:lnTo>
                        <a:pt x="88" y="25"/>
                      </a:lnTo>
                      <a:lnTo>
                        <a:pt x="96" y="25"/>
                      </a:lnTo>
                      <a:lnTo>
                        <a:pt x="103" y="2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0" name="Freeform 1190"/>
                <p:cNvSpPr>
                  <a:spLocks/>
                </p:cNvSpPr>
                <p:nvPr/>
              </p:nvSpPr>
              <p:spPr bwMode="auto">
                <a:xfrm>
                  <a:off x="5079920" y="3336796"/>
                  <a:ext cx="31078" cy="90272"/>
                </a:xfrm>
                <a:custGeom>
                  <a:avLst/>
                  <a:gdLst>
                    <a:gd name="T0" fmla="*/ 2147483647 w 23"/>
                    <a:gd name="T1" fmla="*/ 2147483647 h 61"/>
                    <a:gd name="T2" fmla="*/ 2147483647 w 23"/>
                    <a:gd name="T3" fmla="*/ 2147483647 h 61"/>
                    <a:gd name="T4" fmla="*/ 2147483647 w 23"/>
                    <a:gd name="T5" fmla="*/ 2147483647 h 61"/>
                    <a:gd name="T6" fmla="*/ 2147483647 w 23"/>
                    <a:gd name="T7" fmla="*/ 2147483647 h 61"/>
                    <a:gd name="T8" fmla="*/ 2147483647 w 23"/>
                    <a:gd name="T9" fmla="*/ 2147483647 h 61"/>
                    <a:gd name="T10" fmla="*/ 2147483647 w 23"/>
                    <a:gd name="T11" fmla="*/ 2147483647 h 61"/>
                    <a:gd name="T12" fmla="*/ 2147483647 w 23"/>
                    <a:gd name="T13" fmla="*/ 2147483647 h 61"/>
                    <a:gd name="T14" fmla="*/ 2147483647 w 23"/>
                    <a:gd name="T15" fmla="*/ 2147483647 h 61"/>
                    <a:gd name="T16" fmla="*/ 2147483647 w 23"/>
                    <a:gd name="T17" fmla="*/ 2147483647 h 61"/>
                    <a:gd name="T18" fmla="*/ 0 w 23"/>
                    <a:gd name="T19" fmla="*/ 2147483647 h 61"/>
                    <a:gd name="T20" fmla="*/ 2147483647 w 23"/>
                    <a:gd name="T21" fmla="*/ 2147483647 h 61"/>
                    <a:gd name="T22" fmla="*/ 2147483647 w 23"/>
                    <a:gd name="T23" fmla="*/ 2147483647 h 61"/>
                    <a:gd name="T24" fmla="*/ 2147483647 w 23"/>
                    <a:gd name="T25" fmla="*/ 2147483647 h 61"/>
                    <a:gd name="T26" fmla="*/ 2147483647 w 23"/>
                    <a:gd name="T27" fmla="*/ 2147483647 h 61"/>
                    <a:gd name="T28" fmla="*/ 2147483647 w 23"/>
                    <a:gd name="T29" fmla="*/ 2147483647 h 61"/>
                    <a:gd name="T30" fmla="*/ 2147483647 w 23"/>
                    <a:gd name="T31" fmla="*/ 2147483647 h 61"/>
                    <a:gd name="T32" fmla="*/ 2147483647 w 23"/>
                    <a:gd name="T33" fmla="*/ 2147483647 h 61"/>
                    <a:gd name="T34" fmla="*/ 2147483647 w 23"/>
                    <a:gd name="T35" fmla="*/ 2147483647 h 61"/>
                    <a:gd name="T36" fmla="*/ 2147483647 w 23"/>
                    <a:gd name="T37" fmla="*/ 2147483647 h 61"/>
                    <a:gd name="T38" fmla="*/ 2147483647 w 23"/>
                    <a:gd name="T39" fmla="*/ 2147483647 h 61"/>
                    <a:gd name="T40" fmla="*/ 2147483647 w 23"/>
                    <a:gd name="T41" fmla="*/ 2147483647 h 61"/>
                    <a:gd name="T42" fmla="*/ 2147483647 w 23"/>
                    <a:gd name="T43" fmla="*/ 2147483647 h 61"/>
                    <a:gd name="T44" fmla="*/ 2147483647 w 23"/>
                    <a:gd name="T45" fmla="*/ 2147483647 h 61"/>
                    <a:gd name="T46" fmla="*/ 2147483647 w 23"/>
                    <a:gd name="T47" fmla="*/ 2147483647 h 61"/>
                    <a:gd name="T48" fmla="*/ 2147483647 w 23"/>
                    <a:gd name="T49" fmla="*/ 2147483647 h 61"/>
                    <a:gd name="T50" fmla="*/ 2147483647 w 23"/>
                    <a:gd name="T51" fmla="*/ 0 h 61"/>
                    <a:gd name="T52" fmla="*/ 2147483647 w 23"/>
                    <a:gd name="T53" fmla="*/ 2147483647 h 61"/>
                    <a:gd name="T54" fmla="*/ 2147483647 w 23"/>
                    <a:gd name="T55" fmla="*/ 2147483647 h 61"/>
                    <a:gd name="T56" fmla="*/ 2147483647 w 23"/>
                    <a:gd name="T57" fmla="*/ 2147483647 h 61"/>
                    <a:gd name="T58" fmla="*/ 2147483647 w 23"/>
                    <a:gd name="T59" fmla="*/ 2147483647 h 6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61"/>
                    <a:gd name="T92" fmla="*/ 23 w 23"/>
                    <a:gd name="T93" fmla="*/ 61 h 6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61">
                      <a:moveTo>
                        <a:pt x="1" y="12"/>
                      </a:moveTo>
                      <a:lnTo>
                        <a:pt x="4" y="13"/>
                      </a:lnTo>
                      <a:lnTo>
                        <a:pt x="5" y="14"/>
                      </a:lnTo>
                      <a:lnTo>
                        <a:pt x="4" y="17"/>
                      </a:lnTo>
                      <a:lnTo>
                        <a:pt x="3" y="19"/>
                      </a:lnTo>
                      <a:lnTo>
                        <a:pt x="1" y="21"/>
                      </a:lnTo>
                      <a:lnTo>
                        <a:pt x="1" y="27"/>
                      </a:lnTo>
                      <a:lnTo>
                        <a:pt x="1" y="30"/>
                      </a:lnTo>
                      <a:lnTo>
                        <a:pt x="1" y="39"/>
                      </a:lnTo>
                      <a:lnTo>
                        <a:pt x="0" y="46"/>
                      </a:lnTo>
                      <a:lnTo>
                        <a:pt x="1" y="53"/>
                      </a:lnTo>
                      <a:lnTo>
                        <a:pt x="6" y="61"/>
                      </a:lnTo>
                      <a:lnTo>
                        <a:pt x="15" y="55"/>
                      </a:lnTo>
                      <a:lnTo>
                        <a:pt x="17" y="51"/>
                      </a:lnTo>
                      <a:lnTo>
                        <a:pt x="17" y="49"/>
                      </a:lnTo>
                      <a:lnTo>
                        <a:pt x="22" y="43"/>
                      </a:lnTo>
                      <a:lnTo>
                        <a:pt x="23" y="39"/>
                      </a:lnTo>
                      <a:lnTo>
                        <a:pt x="23" y="36"/>
                      </a:lnTo>
                      <a:lnTo>
                        <a:pt x="23" y="33"/>
                      </a:lnTo>
                      <a:lnTo>
                        <a:pt x="19" y="23"/>
                      </a:lnTo>
                      <a:lnTo>
                        <a:pt x="18" y="17"/>
                      </a:lnTo>
                      <a:lnTo>
                        <a:pt x="18" y="11"/>
                      </a:lnTo>
                      <a:lnTo>
                        <a:pt x="17" y="8"/>
                      </a:lnTo>
                      <a:lnTo>
                        <a:pt x="15" y="5"/>
                      </a:lnTo>
                      <a:lnTo>
                        <a:pt x="10" y="1"/>
                      </a:lnTo>
                      <a:lnTo>
                        <a:pt x="8" y="0"/>
                      </a:lnTo>
                      <a:lnTo>
                        <a:pt x="5" y="1"/>
                      </a:lnTo>
                      <a:lnTo>
                        <a:pt x="4" y="4"/>
                      </a:lnTo>
                      <a:lnTo>
                        <a:pt x="3" y="7"/>
                      </a:lnTo>
                      <a:lnTo>
                        <a:pt x="1"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1" name="Freeform 1191"/>
                <p:cNvSpPr>
                  <a:spLocks/>
                </p:cNvSpPr>
                <p:nvPr/>
              </p:nvSpPr>
              <p:spPr bwMode="auto">
                <a:xfrm>
                  <a:off x="5085839" y="3345673"/>
                  <a:ext cx="161307" cy="189424"/>
                </a:xfrm>
                <a:custGeom>
                  <a:avLst/>
                  <a:gdLst>
                    <a:gd name="T0" fmla="*/ 2147483647 w 118"/>
                    <a:gd name="T1" fmla="*/ 2147483647 h 128"/>
                    <a:gd name="T2" fmla="*/ 2147483647 w 118"/>
                    <a:gd name="T3" fmla="*/ 2147483647 h 128"/>
                    <a:gd name="T4" fmla="*/ 2147483647 w 118"/>
                    <a:gd name="T5" fmla="*/ 0 h 128"/>
                    <a:gd name="T6" fmla="*/ 2147483647 w 118"/>
                    <a:gd name="T7" fmla="*/ 2147483647 h 128"/>
                    <a:gd name="T8" fmla="*/ 2147483647 w 118"/>
                    <a:gd name="T9" fmla="*/ 2147483647 h 128"/>
                    <a:gd name="T10" fmla="*/ 2147483647 w 118"/>
                    <a:gd name="T11" fmla="*/ 2147483647 h 128"/>
                    <a:gd name="T12" fmla="*/ 2147483647 w 118"/>
                    <a:gd name="T13" fmla="*/ 2147483647 h 128"/>
                    <a:gd name="T14" fmla="*/ 2147483647 w 118"/>
                    <a:gd name="T15" fmla="*/ 2147483647 h 128"/>
                    <a:gd name="T16" fmla="*/ 2147483647 w 118"/>
                    <a:gd name="T17" fmla="*/ 2147483647 h 128"/>
                    <a:gd name="T18" fmla="*/ 2147483647 w 118"/>
                    <a:gd name="T19" fmla="*/ 2147483647 h 128"/>
                    <a:gd name="T20" fmla="*/ 2147483647 w 118"/>
                    <a:gd name="T21" fmla="*/ 2147483647 h 128"/>
                    <a:gd name="T22" fmla="*/ 2147483647 w 118"/>
                    <a:gd name="T23" fmla="*/ 2147483647 h 128"/>
                    <a:gd name="T24" fmla="*/ 2147483647 w 118"/>
                    <a:gd name="T25" fmla="*/ 2147483647 h 128"/>
                    <a:gd name="T26" fmla="*/ 2147483647 w 118"/>
                    <a:gd name="T27" fmla="*/ 2147483647 h 128"/>
                    <a:gd name="T28" fmla="*/ 0 w 118"/>
                    <a:gd name="T29" fmla="*/ 2147483647 h 128"/>
                    <a:gd name="T30" fmla="*/ 0 w 118"/>
                    <a:gd name="T31" fmla="*/ 2147483647 h 128"/>
                    <a:gd name="T32" fmla="*/ 2147483647 w 118"/>
                    <a:gd name="T33" fmla="*/ 2147483647 h 128"/>
                    <a:gd name="T34" fmla="*/ 2147483647 w 118"/>
                    <a:gd name="T35" fmla="*/ 2147483647 h 128"/>
                    <a:gd name="T36" fmla="*/ 2147483647 w 118"/>
                    <a:gd name="T37" fmla="*/ 2147483647 h 128"/>
                    <a:gd name="T38" fmla="*/ 2147483647 w 118"/>
                    <a:gd name="T39" fmla="*/ 2147483647 h 128"/>
                    <a:gd name="T40" fmla="*/ 2147483647 w 118"/>
                    <a:gd name="T41" fmla="*/ 2147483647 h 128"/>
                    <a:gd name="T42" fmla="*/ 2147483647 w 118"/>
                    <a:gd name="T43" fmla="*/ 2147483647 h 128"/>
                    <a:gd name="T44" fmla="*/ 2147483647 w 118"/>
                    <a:gd name="T45" fmla="*/ 2147483647 h 128"/>
                    <a:gd name="T46" fmla="*/ 2147483647 w 118"/>
                    <a:gd name="T47" fmla="*/ 2147483647 h 128"/>
                    <a:gd name="T48" fmla="*/ 2147483647 w 118"/>
                    <a:gd name="T49" fmla="*/ 2147483647 h 128"/>
                    <a:gd name="T50" fmla="*/ 2147483647 w 118"/>
                    <a:gd name="T51" fmla="*/ 2147483647 h 128"/>
                    <a:gd name="T52" fmla="*/ 2147483647 w 118"/>
                    <a:gd name="T53" fmla="*/ 2147483647 h 128"/>
                    <a:gd name="T54" fmla="*/ 2147483647 w 118"/>
                    <a:gd name="T55" fmla="*/ 2147483647 h 128"/>
                    <a:gd name="T56" fmla="*/ 2147483647 w 118"/>
                    <a:gd name="T57" fmla="*/ 2147483647 h 128"/>
                    <a:gd name="T58" fmla="*/ 2147483647 w 118"/>
                    <a:gd name="T59" fmla="*/ 2147483647 h 128"/>
                    <a:gd name="T60" fmla="*/ 2147483647 w 118"/>
                    <a:gd name="T61" fmla="*/ 2147483647 h 128"/>
                    <a:gd name="T62" fmla="*/ 2147483647 w 118"/>
                    <a:gd name="T63" fmla="*/ 2147483647 h 128"/>
                    <a:gd name="T64" fmla="*/ 2147483647 w 118"/>
                    <a:gd name="T65" fmla="*/ 2147483647 h 128"/>
                    <a:gd name="T66" fmla="*/ 2147483647 w 118"/>
                    <a:gd name="T67" fmla="*/ 2147483647 h 128"/>
                    <a:gd name="T68" fmla="*/ 2147483647 w 118"/>
                    <a:gd name="T69" fmla="*/ 2147483647 h 128"/>
                    <a:gd name="T70" fmla="*/ 2147483647 w 118"/>
                    <a:gd name="T71" fmla="*/ 2147483647 h 128"/>
                    <a:gd name="T72" fmla="*/ 2147483647 w 118"/>
                    <a:gd name="T73" fmla="*/ 2147483647 h 128"/>
                    <a:gd name="T74" fmla="*/ 2147483647 w 118"/>
                    <a:gd name="T75" fmla="*/ 2147483647 h 128"/>
                    <a:gd name="T76" fmla="*/ 2147483647 w 118"/>
                    <a:gd name="T77" fmla="*/ 2147483647 h 128"/>
                    <a:gd name="T78" fmla="*/ 2147483647 w 118"/>
                    <a:gd name="T79" fmla="*/ 2147483647 h 128"/>
                    <a:gd name="T80" fmla="*/ 2147483647 w 118"/>
                    <a:gd name="T81" fmla="*/ 2147483647 h 128"/>
                    <a:gd name="T82" fmla="*/ 2147483647 w 118"/>
                    <a:gd name="T83" fmla="*/ 2147483647 h 128"/>
                    <a:gd name="T84" fmla="*/ 2147483647 w 118"/>
                    <a:gd name="T85" fmla="*/ 2147483647 h 128"/>
                    <a:gd name="T86" fmla="*/ 2147483647 w 118"/>
                    <a:gd name="T87" fmla="*/ 2147483647 h 128"/>
                    <a:gd name="T88" fmla="*/ 2147483647 w 118"/>
                    <a:gd name="T89" fmla="*/ 2147483647 h 128"/>
                    <a:gd name="T90" fmla="*/ 2147483647 w 118"/>
                    <a:gd name="T91" fmla="*/ 2147483647 h 128"/>
                    <a:gd name="T92" fmla="*/ 2147483647 w 118"/>
                    <a:gd name="T93" fmla="*/ 2147483647 h 128"/>
                    <a:gd name="T94" fmla="*/ 2147483647 w 118"/>
                    <a:gd name="T95" fmla="*/ 2147483647 h 128"/>
                    <a:gd name="T96" fmla="*/ 2147483647 w 118"/>
                    <a:gd name="T97" fmla="*/ 2147483647 h 128"/>
                    <a:gd name="T98" fmla="*/ 2147483647 w 118"/>
                    <a:gd name="T99" fmla="*/ 2147483647 h 128"/>
                    <a:gd name="T100" fmla="*/ 2147483647 w 118"/>
                    <a:gd name="T101" fmla="*/ 2147483647 h 128"/>
                    <a:gd name="T102" fmla="*/ 2147483647 w 118"/>
                    <a:gd name="T103" fmla="*/ 2147483647 h 128"/>
                    <a:gd name="T104" fmla="*/ 2147483647 w 118"/>
                    <a:gd name="T105" fmla="*/ 2147483647 h 128"/>
                    <a:gd name="T106" fmla="*/ 2147483647 w 118"/>
                    <a:gd name="T107" fmla="*/ 2147483647 h 1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8"/>
                    <a:gd name="T163" fmla="*/ 0 h 128"/>
                    <a:gd name="T164" fmla="*/ 118 w 118"/>
                    <a:gd name="T165" fmla="*/ 128 h 1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8" h="128">
                      <a:moveTo>
                        <a:pt x="103" y="27"/>
                      </a:moveTo>
                      <a:lnTo>
                        <a:pt x="103" y="27"/>
                      </a:lnTo>
                      <a:lnTo>
                        <a:pt x="109" y="21"/>
                      </a:lnTo>
                      <a:lnTo>
                        <a:pt x="114" y="14"/>
                      </a:lnTo>
                      <a:lnTo>
                        <a:pt x="117" y="11"/>
                      </a:lnTo>
                      <a:lnTo>
                        <a:pt x="118" y="7"/>
                      </a:lnTo>
                      <a:lnTo>
                        <a:pt x="117" y="4"/>
                      </a:lnTo>
                      <a:lnTo>
                        <a:pt x="114" y="0"/>
                      </a:lnTo>
                      <a:lnTo>
                        <a:pt x="111" y="0"/>
                      </a:lnTo>
                      <a:lnTo>
                        <a:pt x="109" y="1"/>
                      </a:lnTo>
                      <a:lnTo>
                        <a:pt x="107" y="8"/>
                      </a:lnTo>
                      <a:lnTo>
                        <a:pt x="106" y="11"/>
                      </a:lnTo>
                      <a:lnTo>
                        <a:pt x="102" y="13"/>
                      </a:lnTo>
                      <a:lnTo>
                        <a:pt x="99" y="13"/>
                      </a:lnTo>
                      <a:lnTo>
                        <a:pt x="97" y="13"/>
                      </a:lnTo>
                      <a:lnTo>
                        <a:pt x="90" y="11"/>
                      </a:lnTo>
                      <a:lnTo>
                        <a:pt x="85" y="10"/>
                      </a:lnTo>
                      <a:lnTo>
                        <a:pt x="80" y="10"/>
                      </a:lnTo>
                      <a:lnTo>
                        <a:pt x="70" y="11"/>
                      </a:lnTo>
                      <a:lnTo>
                        <a:pt x="66" y="12"/>
                      </a:lnTo>
                      <a:lnTo>
                        <a:pt x="61" y="14"/>
                      </a:lnTo>
                      <a:lnTo>
                        <a:pt x="57" y="15"/>
                      </a:lnTo>
                      <a:lnTo>
                        <a:pt x="52" y="15"/>
                      </a:lnTo>
                      <a:lnTo>
                        <a:pt x="46" y="20"/>
                      </a:lnTo>
                      <a:lnTo>
                        <a:pt x="42" y="23"/>
                      </a:lnTo>
                      <a:lnTo>
                        <a:pt x="38" y="24"/>
                      </a:lnTo>
                      <a:lnTo>
                        <a:pt x="17" y="28"/>
                      </a:lnTo>
                      <a:lnTo>
                        <a:pt x="17" y="32"/>
                      </a:lnTo>
                      <a:lnTo>
                        <a:pt x="15" y="36"/>
                      </a:lnTo>
                      <a:lnTo>
                        <a:pt x="10" y="42"/>
                      </a:lnTo>
                      <a:lnTo>
                        <a:pt x="10" y="44"/>
                      </a:lnTo>
                      <a:lnTo>
                        <a:pt x="9" y="47"/>
                      </a:lnTo>
                      <a:lnTo>
                        <a:pt x="0" y="53"/>
                      </a:lnTo>
                      <a:lnTo>
                        <a:pt x="0" y="56"/>
                      </a:lnTo>
                      <a:lnTo>
                        <a:pt x="0" y="58"/>
                      </a:lnTo>
                      <a:lnTo>
                        <a:pt x="1" y="61"/>
                      </a:lnTo>
                      <a:lnTo>
                        <a:pt x="3" y="63"/>
                      </a:lnTo>
                      <a:lnTo>
                        <a:pt x="7" y="65"/>
                      </a:lnTo>
                      <a:lnTo>
                        <a:pt x="10" y="65"/>
                      </a:lnTo>
                      <a:lnTo>
                        <a:pt x="15" y="65"/>
                      </a:lnTo>
                      <a:lnTo>
                        <a:pt x="17" y="66"/>
                      </a:lnTo>
                      <a:lnTo>
                        <a:pt x="18" y="68"/>
                      </a:lnTo>
                      <a:lnTo>
                        <a:pt x="18" y="70"/>
                      </a:lnTo>
                      <a:lnTo>
                        <a:pt x="17" y="72"/>
                      </a:lnTo>
                      <a:lnTo>
                        <a:pt x="19" y="75"/>
                      </a:lnTo>
                      <a:lnTo>
                        <a:pt x="24" y="79"/>
                      </a:lnTo>
                      <a:lnTo>
                        <a:pt x="29" y="81"/>
                      </a:lnTo>
                      <a:lnTo>
                        <a:pt x="34" y="81"/>
                      </a:lnTo>
                      <a:lnTo>
                        <a:pt x="41" y="81"/>
                      </a:lnTo>
                      <a:lnTo>
                        <a:pt x="46" y="82"/>
                      </a:lnTo>
                      <a:lnTo>
                        <a:pt x="50" y="83"/>
                      </a:lnTo>
                      <a:lnTo>
                        <a:pt x="51" y="87"/>
                      </a:lnTo>
                      <a:lnTo>
                        <a:pt x="51" y="89"/>
                      </a:lnTo>
                      <a:lnTo>
                        <a:pt x="50" y="90"/>
                      </a:lnTo>
                      <a:lnTo>
                        <a:pt x="48" y="90"/>
                      </a:lnTo>
                      <a:lnTo>
                        <a:pt x="41" y="88"/>
                      </a:lnTo>
                      <a:lnTo>
                        <a:pt x="33" y="87"/>
                      </a:lnTo>
                      <a:lnTo>
                        <a:pt x="28" y="87"/>
                      </a:lnTo>
                      <a:lnTo>
                        <a:pt x="23" y="90"/>
                      </a:lnTo>
                      <a:lnTo>
                        <a:pt x="21" y="93"/>
                      </a:lnTo>
                      <a:lnTo>
                        <a:pt x="21" y="97"/>
                      </a:lnTo>
                      <a:lnTo>
                        <a:pt x="24" y="98"/>
                      </a:lnTo>
                      <a:lnTo>
                        <a:pt x="26" y="100"/>
                      </a:lnTo>
                      <a:lnTo>
                        <a:pt x="28" y="106"/>
                      </a:lnTo>
                      <a:lnTo>
                        <a:pt x="31" y="110"/>
                      </a:lnTo>
                      <a:lnTo>
                        <a:pt x="32" y="113"/>
                      </a:lnTo>
                      <a:lnTo>
                        <a:pt x="33" y="114"/>
                      </a:lnTo>
                      <a:lnTo>
                        <a:pt x="38" y="116"/>
                      </a:lnTo>
                      <a:lnTo>
                        <a:pt x="42" y="121"/>
                      </a:lnTo>
                      <a:lnTo>
                        <a:pt x="46" y="125"/>
                      </a:lnTo>
                      <a:lnTo>
                        <a:pt x="51" y="127"/>
                      </a:lnTo>
                      <a:lnTo>
                        <a:pt x="52" y="128"/>
                      </a:lnTo>
                      <a:lnTo>
                        <a:pt x="55" y="127"/>
                      </a:lnTo>
                      <a:lnTo>
                        <a:pt x="56" y="126"/>
                      </a:lnTo>
                      <a:lnTo>
                        <a:pt x="57" y="123"/>
                      </a:lnTo>
                      <a:lnTo>
                        <a:pt x="56" y="119"/>
                      </a:lnTo>
                      <a:lnTo>
                        <a:pt x="54" y="115"/>
                      </a:lnTo>
                      <a:lnTo>
                        <a:pt x="52" y="110"/>
                      </a:lnTo>
                      <a:lnTo>
                        <a:pt x="52" y="108"/>
                      </a:lnTo>
                      <a:lnTo>
                        <a:pt x="54" y="106"/>
                      </a:lnTo>
                      <a:lnTo>
                        <a:pt x="57" y="103"/>
                      </a:lnTo>
                      <a:lnTo>
                        <a:pt x="59" y="102"/>
                      </a:lnTo>
                      <a:lnTo>
                        <a:pt x="57" y="101"/>
                      </a:lnTo>
                      <a:lnTo>
                        <a:pt x="57" y="98"/>
                      </a:lnTo>
                      <a:lnTo>
                        <a:pt x="57" y="97"/>
                      </a:lnTo>
                      <a:lnTo>
                        <a:pt x="61" y="100"/>
                      </a:lnTo>
                      <a:lnTo>
                        <a:pt x="66" y="100"/>
                      </a:lnTo>
                      <a:lnTo>
                        <a:pt x="70" y="100"/>
                      </a:lnTo>
                      <a:lnTo>
                        <a:pt x="73" y="96"/>
                      </a:lnTo>
                      <a:lnTo>
                        <a:pt x="73" y="95"/>
                      </a:lnTo>
                      <a:lnTo>
                        <a:pt x="73" y="93"/>
                      </a:lnTo>
                      <a:lnTo>
                        <a:pt x="69" y="89"/>
                      </a:lnTo>
                      <a:lnTo>
                        <a:pt x="61" y="79"/>
                      </a:lnTo>
                      <a:lnTo>
                        <a:pt x="59" y="76"/>
                      </a:lnTo>
                      <a:lnTo>
                        <a:pt x="57" y="72"/>
                      </a:lnTo>
                      <a:lnTo>
                        <a:pt x="57" y="65"/>
                      </a:lnTo>
                      <a:lnTo>
                        <a:pt x="56" y="57"/>
                      </a:lnTo>
                      <a:lnTo>
                        <a:pt x="55" y="55"/>
                      </a:lnTo>
                      <a:lnTo>
                        <a:pt x="52" y="51"/>
                      </a:lnTo>
                      <a:lnTo>
                        <a:pt x="51" y="50"/>
                      </a:lnTo>
                      <a:lnTo>
                        <a:pt x="51" y="49"/>
                      </a:lnTo>
                      <a:lnTo>
                        <a:pt x="54" y="46"/>
                      </a:lnTo>
                      <a:lnTo>
                        <a:pt x="57" y="45"/>
                      </a:lnTo>
                      <a:lnTo>
                        <a:pt x="60" y="43"/>
                      </a:lnTo>
                      <a:lnTo>
                        <a:pt x="61" y="42"/>
                      </a:lnTo>
                      <a:lnTo>
                        <a:pt x="61" y="39"/>
                      </a:lnTo>
                      <a:lnTo>
                        <a:pt x="61" y="37"/>
                      </a:lnTo>
                      <a:lnTo>
                        <a:pt x="61" y="34"/>
                      </a:lnTo>
                      <a:lnTo>
                        <a:pt x="64" y="33"/>
                      </a:lnTo>
                      <a:lnTo>
                        <a:pt x="65" y="33"/>
                      </a:lnTo>
                      <a:lnTo>
                        <a:pt x="68" y="34"/>
                      </a:lnTo>
                      <a:lnTo>
                        <a:pt x="70" y="38"/>
                      </a:lnTo>
                      <a:lnTo>
                        <a:pt x="71" y="43"/>
                      </a:lnTo>
                      <a:lnTo>
                        <a:pt x="74" y="43"/>
                      </a:lnTo>
                      <a:lnTo>
                        <a:pt x="75" y="43"/>
                      </a:lnTo>
                      <a:lnTo>
                        <a:pt x="76" y="38"/>
                      </a:lnTo>
                      <a:lnTo>
                        <a:pt x="76" y="34"/>
                      </a:lnTo>
                      <a:lnTo>
                        <a:pt x="75" y="32"/>
                      </a:lnTo>
                      <a:lnTo>
                        <a:pt x="74" y="31"/>
                      </a:lnTo>
                      <a:lnTo>
                        <a:pt x="74" y="27"/>
                      </a:lnTo>
                      <a:lnTo>
                        <a:pt x="81" y="25"/>
                      </a:lnTo>
                      <a:lnTo>
                        <a:pt x="88" y="25"/>
                      </a:lnTo>
                      <a:lnTo>
                        <a:pt x="95" y="25"/>
                      </a:lnTo>
                      <a:lnTo>
                        <a:pt x="103" y="2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2" name="Freeform 1192"/>
                <p:cNvSpPr>
                  <a:spLocks/>
                </p:cNvSpPr>
                <p:nvPr/>
              </p:nvSpPr>
              <p:spPr bwMode="auto">
                <a:xfrm>
                  <a:off x="5078444" y="3335315"/>
                  <a:ext cx="31077" cy="88792"/>
                </a:xfrm>
                <a:custGeom>
                  <a:avLst/>
                  <a:gdLst>
                    <a:gd name="T0" fmla="*/ 2147483647 w 23"/>
                    <a:gd name="T1" fmla="*/ 2147483647 h 60"/>
                    <a:gd name="T2" fmla="*/ 2147483647 w 23"/>
                    <a:gd name="T3" fmla="*/ 2147483647 h 60"/>
                    <a:gd name="T4" fmla="*/ 2147483647 w 23"/>
                    <a:gd name="T5" fmla="*/ 2147483647 h 60"/>
                    <a:gd name="T6" fmla="*/ 2147483647 w 23"/>
                    <a:gd name="T7" fmla="*/ 2147483647 h 60"/>
                    <a:gd name="T8" fmla="*/ 2147483647 w 23"/>
                    <a:gd name="T9" fmla="*/ 2147483647 h 60"/>
                    <a:gd name="T10" fmla="*/ 2147483647 w 23"/>
                    <a:gd name="T11" fmla="*/ 2147483647 h 60"/>
                    <a:gd name="T12" fmla="*/ 2147483647 w 23"/>
                    <a:gd name="T13" fmla="*/ 2147483647 h 60"/>
                    <a:gd name="T14" fmla="*/ 2147483647 w 23"/>
                    <a:gd name="T15" fmla="*/ 2147483647 h 60"/>
                    <a:gd name="T16" fmla="*/ 2147483647 w 23"/>
                    <a:gd name="T17" fmla="*/ 2147483647 h 60"/>
                    <a:gd name="T18" fmla="*/ 2147483647 w 23"/>
                    <a:gd name="T19" fmla="*/ 2147483647 h 60"/>
                    <a:gd name="T20" fmla="*/ 2147483647 w 23"/>
                    <a:gd name="T21" fmla="*/ 2147483647 h 60"/>
                    <a:gd name="T22" fmla="*/ 2147483647 w 23"/>
                    <a:gd name="T23" fmla="*/ 2147483647 h 60"/>
                    <a:gd name="T24" fmla="*/ 2147483647 w 23"/>
                    <a:gd name="T25" fmla="*/ 2147483647 h 60"/>
                    <a:gd name="T26" fmla="*/ 0 w 23"/>
                    <a:gd name="T27" fmla="*/ 2147483647 h 60"/>
                    <a:gd name="T28" fmla="*/ 2147483647 w 23"/>
                    <a:gd name="T29" fmla="*/ 2147483647 h 60"/>
                    <a:gd name="T30" fmla="*/ 2147483647 w 23"/>
                    <a:gd name="T31" fmla="*/ 2147483647 h 60"/>
                    <a:gd name="T32" fmla="*/ 2147483647 w 23"/>
                    <a:gd name="T33" fmla="*/ 2147483647 h 60"/>
                    <a:gd name="T34" fmla="*/ 2147483647 w 23"/>
                    <a:gd name="T35" fmla="*/ 2147483647 h 60"/>
                    <a:gd name="T36" fmla="*/ 2147483647 w 23"/>
                    <a:gd name="T37" fmla="*/ 2147483647 h 60"/>
                    <a:gd name="T38" fmla="*/ 2147483647 w 23"/>
                    <a:gd name="T39" fmla="*/ 2147483647 h 60"/>
                    <a:gd name="T40" fmla="*/ 2147483647 w 23"/>
                    <a:gd name="T41" fmla="*/ 2147483647 h 60"/>
                    <a:gd name="T42" fmla="*/ 2147483647 w 23"/>
                    <a:gd name="T43" fmla="*/ 2147483647 h 60"/>
                    <a:gd name="T44" fmla="*/ 2147483647 w 23"/>
                    <a:gd name="T45" fmla="*/ 2147483647 h 60"/>
                    <a:gd name="T46" fmla="*/ 2147483647 w 23"/>
                    <a:gd name="T47" fmla="*/ 2147483647 h 60"/>
                    <a:gd name="T48" fmla="*/ 2147483647 w 23"/>
                    <a:gd name="T49" fmla="*/ 2147483647 h 60"/>
                    <a:gd name="T50" fmla="*/ 2147483647 w 23"/>
                    <a:gd name="T51" fmla="*/ 2147483647 h 60"/>
                    <a:gd name="T52" fmla="*/ 2147483647 w 23"/>
                    <a:gd name="T53" fmla="*/ 2147483647 h 60"/>
                    <a:gd name="T54" fmla="*/ 2147483647 w 23"/>
                    <a:gd name="T55" fmla="*/ 2147483647 h 60"/>
                    <a:gd name="T56" fmla="*/ 2147483647 w 23"/>
                    <a:gd name="T57" fmla="*/ 2147483647 h 60"/>
                    <a:gd name="T58" fmla="*/ 2147483647 w 23"/>
                    <a:gd name="T59" fmla="*/ 2147483647 h 60"/>
                    <a:gd name="T60" fmla="*/ 2147483647 w 23"/>
                    <a:gd name="T61" fmla="*/ 2147483647 h 60"/>
                    <a:gd name="T62" fmla="*/ 2147483647 w 23"/>
                    <a:gd name="T63" fmla="*/ 2147483647 h 60"/>
                    <a:gd name="T64" fmla="*/ 2147483647 w 23"/>
                    <a:gd name="T65" fmla="*/ 2147483647 h 60"/>
                    <a:gd name="T66" fmla="*/ 2147483647 w 23"/>
                    <a:gd name="T67" fmla="*/ 2147483647 h 60"/>
                    <a:gd name="T68" fmla="*/ 2147483647 w 23"/>
                    <a:gd name="T69" fmla="*/ 2147483647 h 60"/>
                    <a:gd name="T70" fmla="*/ 2147483647 w 23"/>
                    <a:gd name="T71" fmla="*/ 2147483647 h 60"/>
                    <a:gd name="T72" fmla="*/ 2147483647 w 23"/>
                    <a:gd name="T73" fmla="*/ 0 h 60"/>
                    <a:gd name="T74" fmla="*/ 2147483647 w 23"/>
                    <a:gd name="T75" fmla="*/ 2147483647 h 60"/>
                    <a:gd name="T76" fmla="*/ 2147483647 w 23"/>
                    <a:gd name="T77" fmla="*/ 2147483647 h 60"/>
                    <a:gd name="T78" fmla="*/ 2147483647 w 23"/>
                    <a:gd name="T79" fmla="*/ 2147483647 h 60"/>
                    <a:gd name="T80" fmla="*/ 2147483647 w 23"/>
                    <a:gd name="T81" fmla="*/ 2147483647 h 60"/>
                    <a:gd name="T82" fmla="*/ 2147483647 w 23"/>
                    <a:gd name="T83" fmla="*/ 2147483647 h 60"/>
                    <a:gd name="T84" fmla="*/ 2147483647 w 23"/>
                    <a:gd name="T85" fmla="*/ 2147483647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
                    <a:gd name="T130" fmla="*/ 0 h 60"/>
                    <a:gd name="T131" fmla="*/ 23 w 23"/>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 h="60">
                      <a:moveTo>
                        <a:pt x="1" y="12"/>
                      </a:moveTo>
                      <a:lnTo>
                        <a:pt x="1" y="12"/>
                      </a:lnTo>
                      <a:lnTo>
                        <a:pt x="4" y="13"/>
                      </a:lnTo>
                      <a:lnTo>
                        <a:pt x="5" y="14"/>
                      </a:lnTo>
                      <a:lnTo>
                        <a:pt x="4" y="17"/>
                      </a:lnTo>
                      <a:lnTo>
                        <a:pt x="2" y="19"/>
                      </a:lnTo>
                      <a:lnTo>
                        <a:pt x="1" y="21"/>
                      </a:lnTo>
                      <a:lnTo>
                        <a:pt x="1" y="27"/>
                      </a:lnTo>
                      <a:lnTo>
                        <a:pt x="1" y="30"/>
                      </a:lnTo>
                      <a:lnTo>
                        <a:pt x="1" y="39"/>
                      </a:lnTo>
                      <a:lnTo>
                        <a:pt x="0" y="46"/>
                      </a:lnTo>
                      <a:lnTo>
                        <a:pt x="1" y="53"/>
                      </a:lnTo>
                      <a:lnTo>
                        <a:pt x="6" y="60"/>
                      </a:lnTo>
                      <a:lnTo>
                        <a:pt x="15" y="54"/>
                      </a:lnTo>
                      <a:lnTo>
                        <a:pt x="16" y="51"/>
                      </a:lnTo>
                      <a:lnTo>
                        <a:pt x="16" y="49"/>
                      </a:lnTo>
                      <a:lnTo>
                        <a:pt x="21" y="43"/>
                      </a:lnTo>
                      <a:lnTo>
                        <a:pt x="23" y="39"/>
                      </a:lnTo>
                      <a:lnTo>
                        <a:pt x="23" y="35"/>
                      </a:lnTo>
                      <a:lnTo>
                        <a:pt x="23" y="33"/>
                      </a:lnTo>
                      <a:lnTo>
                        <a:pt x="19" y="22"/>
                      </a:lnTo>
                      <a:lnTo>
                        <a:pt x="18" y="17"/>
                      </a:lnTo>
                      <a:lnTo>
                        <a:pt x="18" y="11"/>
                      </a:lnTo>
                      <a:lnTo>
                        <a:pt x="16" y="8"/>
                      </a:lnTo>
                      <a:lnTo>
                        <a:pt x="15" y="5"/>
                      </a:lnTo>
                      <a:lnTo>
                        <a:pt x="10" y="1"/>
                      </a:lnTo>
                      <a:lnTo>
                        <a:pt x="7" y="0"/>
                      </a:lnTo>
                      <a:lnTo>
                        <a:pt x="5" y="1"/>
                      </a:lnTo>
                      <a:lnTo>
                        <a:pt x="4" y="3"/>
                      </a:lnTo>
                      <a:lnTo>
                        <a:pt x="2" y="7"/>
                      </a:lnTo>
                      <a:lnTo>
                        <a:pt x="1"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3" name="Freeform 1193"/>
                <p:cNvSpPr>
                  <a:spLocks/>
                </p:cNvSpPr>
                <p:nvPr/>
              </p:nvSpPr>
              <p:spPr bwMode="auto">
                <a:xfrm>
                  <a:off x="4933415" y="3191768"/>
                  <a:ext cx="226420" cy="198303"/>
                </a:xfrm>
                <a:custGeom>
                  <a:avLst/>
                  <a:gdLst>
                    <a:gd name="T0" fmla="*/ 2147483647 w 166"/>
                    <a:gd name="T1" fmla="*/ 2147483647 h 134"/>
                    <a:gd name="T2" fmla="*/ 2147483647 w 166"/>
                    <a:gd name="T3" fmla="*/ 2147483647 h 134"/>
                    <a:gd name="T4" fmla="*/ 2147483647 w 166"/>
                    <a:gd name="T5" fmla="*/ 2147483647 h 134"/>
                    <a:gd name="T6" fmla="*/ 2147483647 w 166"/>
                    <a:gd name="T7" fmla="*/ 2147483647 h 134"/>
                    <a:gd name="T8" fmla="*/ 2147483647 w 166"/>
                    <a:gd name="T9" fmla="*/ 2147483647 h 134"/>
                    <a:gd name="T10" fmla="*/ 2147483647 w 166"/>
                    <a:gd name="T11" fmla="*/ 2147483647 h 134"/>
                    <a:gd name="T12" fmla="*/ 2147483647 w 166"/>
                    <a:gd name="T13" fmla="*/ 2147483647 h 134"/>
                    <a:gd name="T14" fmla="*/ 2147483647 w 166"/>
                    <a:gd name="T15" fmla="*/ 2147483647 h 134"/>
                    <a:gd name="T16" fmla="*/ 2147483647 w 166"/>
                    <a:gd name="T17" fmla="*/ 2147483647 h 134"/>
                    <a:gd name="T18" fmla="*/ 2147483647 w 166"/>
                    <a:gd name="T19" fmla="*/ 2147483647 h 134"/>
                    <a:gd name="T20" fmla="*/ 2147483647 w 166"/>
                    <a:gd name="T21" fmla="*/ 2147483647 h 134"/>
                    <a:gd name="T22" fmla="*/ 2147483647 w 166"/>
                    <a:gd name="T23" fmla="*/ 2147483647 h 134"/>
                    <a:gd name="T24" fmla="*/ 2147483647 w 166"/>
                    <a:gd name="T25" fmla="*/ 2147483647 h 134"/>
                    <a:gd name="T26" fmla="*/ 2147483647 w 166"/>
                    <a:gd name="T27" fmla="*/ 2147483647 h 134"/>
                    <a:gd name="T28" fmla="*/ 2147483647 w 166"/>
                    <a:gd name="T29" fmla="*/ 2147483647 h 134"/>
                    <a:gd name="T30" fmla="*/ 2147483647 w 166"/>
                    <a:gd name="T31" fmla="*/ 2147483647 h 134"/>
                    <a:gd name="T32" fmla="*/ 2147483647 w 166"/>
                    <a:gd name="T33" fmla="*/ 2147483647 h 134"/>
                    <a:gd name="T34" fmla="*/ 2147483647 w 166"/>
                    <a:gd name="T35" fmla="*/ 2147483647 h 134"/>
                    <a:gd name="T36" fmla="*/ 2147483647 w 166"/>
                    <a:gd name="T37" fmla="*/ 2147483647 h 134"/>
                    <a:gd name="T38" fmla="*/ 2147483647 w 166"/>
                    <a:gd name="T39" fmla="*/ 2147483647 h 134"/>
                    <a:gd name="T40" fmla="*/ 2147483647 w 166"/>
                    <a:gd name="T41" fmla="*/ 2147483647 h 134"/>
                    <a:gd name="T42" fmla="*/ 2147483647 w 166"/>
                    <a:gd name="T43" fmla="*/ 2147483647 h 134"/>
                    <a:gd name="T44" fmla="*/ 2147483647 w 166"/>
                    <a:gd name="T45" fmla="*/ 2147483647 h 134"/>
                    <a:gd name="T46" fmla="*/ 2147483647 w 166"/>
                    <a:gd name="T47" fmla="*/ 2147483647 h 134"/>
                    <a:gd name="T48" fmla="*/ 2147483647 w 166"/>
                    <a:gd name="T49" fmla="*/ 2147483647 h 134"/>
                    <a:gd name="T50" fmla="*/ 2147483647 w 166"/>
                    <a:gd name="T51" fmla="*/ 2147483647 h 134"/>
                    <a:gd name="T52" fmla="*/ 2147483647 w 166"/>
                    <a:gd name="T53" fmla="*/ 2147483647 h 134"/>
                    <a:gd name="T54" fmla="*/ 2147483647 w 166"/>
                    <a:gd name="T55" fmla="*/ 2147483647 h 134"/>
                    <a:gd name="T56" fmla="*/ 2147483647 w 166"/>
                    <a:gd name="T57" fmla="*/ 2147483647 h 134"/>
                    <a:gd name="T58" fmla="*/ 2147483647 w 166"/>
                    <a:gd name="T59" fmla="*/ 2147483647 h 134"/>
                    <a:gd name="T60" fmla="*/ 2147483647 w 166"/>
                    <a:gd name="T61" fmla="*/ 2147483647 h 134"/>
                    <a:gd name="T62" fmla="*/ 2147483647 w 166"/>
                    <a:gd name="T63" fmla="*/ 2147483647 h 134"/>
                    <a:gd name="T64" fmla="*/ 2147483647 w 166"/>
                    <a:gd name="T65" fmla="*/ 2147483647 h 134"/>
                    <a:gd name="T66" fmla="*/ 0 w 166"/>
                    <a:gd name="T67" fmla="*/ 2147483647 h 134"/>
                    <a:gd name="T68" fmla="*/ 0 w 166"/>
                    <a:gd name="T69" fmla="*/ 2147483647 h 134"/>
                    <a:gd name="T70" fmla="*/ 2147483647 w 166"/>
                    <a:gd name="T71" fmla="*/ 2147483647 h 134"/>
                    <a:gd name="T72" fmla="*/ 2147483647 w 166"/>
                    <a:gd name="T73" fmla="*/ 2147483647 h 134"/>
                    <a:gd name="T74" fmla="*/ 2147483647 w 166"/>
                    <a:gd name="T75" fmla="*/ 2147483647 h 134"/>
                    <a:gd name="T76" fmla="*/ 2147483647 w 166"/>
                    <a:gd name="T77" fmla="*/ 2147483647 h 134"/>
                    <a:gd name="T78" fmla="*/ 2147483647 w 166"/>
                    <a:gd name="T79" fmla="*/ 2147483647 h 134"/>
                    <a:gd name="T80" fmla="*/ 2147483647 w 166"/>
                    <a:gd name="T81" fmla="*/ 2147483647 h 134"/>
                    <a:gd name="T82" fmla="*/ 2147483647 w 166"/>
                    <a:gd name="T83" fmla="*/ 2147483647 h 134"/>
                    <a:gd name="T84" fmla="*/ 2147483647 w 166"/>
                    <a:gd name="T85" fmla="*/ 2147483647 h 134"/>
                    <a:gd name="T86" fmla="*/ 2147483647 w 166"/>
                    <a:gd name="T87" fmla="*/ 2147483647 h 134"/>
                    <a:gd name="T88" fmla="*/ 2147483647 w 166"/>
                    <a:gd name="T89" fmla="*/ 2147483647 h 134"/>
                    <a:gd name="T90" fmla="*/ 2147483647 w 166"/>
                    <a:gd name="T91" fmla="*/ 2147483647 h 134"/>
                    <a:gd name="T92" fmla="*/ 2147483647 w 166"/>
                    <a:gd name="T93" fmla="*/ 2147483647 h 134"/>
                    <a:gd name="T94" fmla="*/ 2147483647 w 166"/>
                    <a:gd name="T95" fmla="*/ 2147483647 h 134"/>
                    <a:gd name="T96" fmla="*/ 2147483647 w 166"/>
                    <a:gd name="T97" fmla="*/ 2147483647 h 134"/>
                    <a:gd name="T98" fmla="*/ 2147483647 w 166"/>
                    <a:gd name="T99" fmla="*/ 2147483647 h 134"/>
                    <a:gd name="T100" fmla="*/ 2147483647 w 166"/>
                    <a:gd name="T101" fmla="*/ 2147483647 h 134"/>
                    <a:gd name="T102" fmla="*/ 2147483647 w 166"/>
                    <a:gd name="T103" fmla="*/ 2147483647 h 134"/>
                    <a:gd name="T104" fmla="*/ 2147483647 w 166"/>
                    <a:gd name="T105" fmla="*/ 2147483647 h 1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
                    <a:gd name="T160" fmla="*/ 0 h 134"/>
                    <a:gd name="T161" fmla="*/ 166 w 166"/>
                    <a:gd name="T162" fmla="*/ 134 h 1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 h="134">
                      <a:moveTo>
                        <a:pt x="108" y="110"/>
                      </a:moveTo>
                      <a:lnTo>
                        <a:pt x="110" y="105"/>
                      </a:lnTo>
                      <a:lnTo>
                        <a:pt x="111" y="102"/>
                      </a:lnTo>
                      <a:lnTo>
                        <a:pt x="112" y="99"/>
                      </a:lnTo>
                      <a:lnTo>
                        <a:pt x="115" y="98"/>
                      </a:lnTo>
                      <a:lnTo>
                        <a:pt x="117" y="99"/>
                      </a:lnTo>
                      <a:lnTo>
                        <a:pt x="122" y="103"/>
                      </a:lnTo>
                      <a:lnTo>
                        <a:pt x="124" y="106"/>
                      </a:lnTo>
                      <a:lnTo>
                        <a:pt x="125" y="109"/>
                      </a:lnTo>
                      <a:lnTo>
                        <a:pt x="125" y="115"/>
                      </a:lnTo>
                      <a:lnTo>
                        <a:pt x="126" y="121"/>
                      </a:lnTo>
                      <a:lnTo>
                        <a:pt x="130" y="131"/>
                      </a:lnTo>
                      <a:lnTo>
                        <a:pt x="130" y="134"/>
                      </a:lnTo>
                      <a:lnTo>
                        <a:pt x="152" y="129"/>
                      </a:lnTo>
                      <a:lnTo>
                        <a:pt x="155" y="128"/>
                      </a:lnTo>
                      <a:lnTo>
                        <a:pt x="159" y="125"/>
                      </a:lnTo>
                      <a:lnTo>
                        <a:pt x="166" y="121"/>
                      </a:lnTo>
                      <a:lnTo>
                        <a:pt x="163" y="121"/>
                      </a:lnTo>
                      <a:lnTo>
                        <a:pt x="162" y="118"/>
                      </a:lnTo>
                      <a:lnTo>
                        <a:pt x="162" y="112"/>
                      </a:lnTo>
                      <a:lnTo>
                        <a:pt x="158" y="106"/>
                      </a:lnTo>
                      <a:lnTo>
                        <a:pt x="157" y="102"/>
                      </a:lnTo>
                      <a:lnTo>
                        <a:pt x="157" y="97"/>
                      </a:lnTo>
                      <a:lnTo>
                        <a:pt x="159" y="91"/>
                      </a:lnTo>
                      <a:lnTo>
                        <a:pt x="162" y="86"/>
                      </a:lnTo>
                      <a:lnTo>
                        <a:pt x="163" y="85"/>
                      </a:lnTo>
                      <a:lnTo>
                        <a:pt x="163" y="83"/>
                      </a:lnTo>
                      <a:lnTo>
                        <a:pt x="160" y="79"/>
                      </a:lnTo>
                      <a:lnTo>
                        <a:pt x="157" y="74"/>
                      </a:lnTo>
                      <a:lnTo>
                        <a:pt x="154" y="71"/>
                      </a:lnTo>
                      <a:lnTo>
                        <a:pt x="155" y="65"/>
                      </a:lnTo>
                      <a:lnTo>
                        <a:pt x="158" y="60"/>
                      </a:lnTo>
                      <a:lnTo>
                        <a:pt x="162" y="57"/>
                      </a:lnTo>
                      <a:lnTo>
                        <a:pt x="163" y="55"/>
                      </a:lnTo>
                      <a:lnTo>
                        <a:pt x="164" y="55"/>
                      </a:lnTo>
                      <a:lnTo>
                        <a:pt x="164" y="52"/>
                      </a:lnTo>
                      <a:lnTo>
                        <a:pt x="163" y="48"/>
                      </a:lnTo>
                      <a:lnTo>
                        <a:pt x="160" y="47"/>
                      </a:lnTo>
                      <a:lnTo>
                        <a:pt x="158" y="46"/>
                      </a:lnTo>
                      <a:lnTo>
                        <a:pt x="150" y="44"/>
                      </a:lnTo>
                      <a:lnTo>
                        <a:pt x="148" y="42"/>
                      </a:lnTo>
                      <a:lnTo>
                        <a:pt x="145" y="41"/>
                      </a:lnTo>
                      <a:lnTo>
                        <a:pt x="144" y="39"/>
                      </a:lnTo>
                      <a:lnTo>
                        <a:pt x="144" y="35"/>
                      </a:lnTo>
                      <a:lnTo>
                        <a:pt x="140" y="33"/>
                      </a:lnTo>
                      <a:lnTo>
                        <a:pt x="139" y="32"/>
                      </a:lnTo>
                      <a:lnTo>
                        <a:pt x="138" y="31"/>
                      </a:lnTo>
                      <a:lnTo>
                        <a:pt x="135" y="26"/>
                      </a:lnTo>
                      <a:lnTo>
                        <a:pt x="131" y="21"/>
                      </a:lnTo>
                      <a:lnTo>
                        <a:pt x="124" y="13"/>
                      </a:lnTo>
                      <a:lnTo>
                        <a:pt x="115" y="15"/>
                      </a:lnTo>
                      <a:lnTo>
                        <a:pt x="107" y="17"/>
                      </a:lnTo>
                      <a:lnTo>
                        <a:pt x="98" y="21"/>
                      </a:lnTo>
                      <a:lnTo>
                        <a:pt x="91" y="21"/>
                      </a:lnTo>
                      <a:lnTo>
                        <a:pt x="83" y="21"/>
                      </a:lnTo>
                      <a:lnTo>
                        <a:pt x="75" y="19"/>
                      </a:lnTo>
                      <a:lnTo>
                        <a:pt x="68" y="16"/>
                      </a:lnTo>
                      <a:lnTo>
                        <a:pt x="60" y="13"/>
                      </a:lnTo>
                      <a:lnTo>
                        <a:pt x="54" y="8"/>
                      </a:lnTo>
                      <a:lnTo>
                        <a:pt x="49" y="2"/>
                      </a:lnTo>
                      <a:lnTo>
                        <a:pt x="47" y="0"/>
                      </a:lnTo>
                      <a:lnTo>
                        <a:pt x="41" y="3"/>
                      </a:lnTo>
                      <a:lnTo>
                        <a:pt x="22" y="6"/>
                      </a:lnTo>
                      <a:lnTo>
                        <a:pt x="3" y="7"/>
                      </a:lnTo>
                      <a:lnTo>
                        <a:pt x="4" y="10"/>
                      </a:lnTo>
                      <a:lnTo>
                        <a:pt x="3" y="15"/>
                      </a:lnTo>
                      <a:lnTo>
                        <a:pt x="0" y="22"/>
                      </a:lnTo>
                      <a:lnTo>
                        <a:pt x="0" y="27"/>
                      </a:lnTo>
                      <a:lnTo>
                        <a:pt x="0" y="32"/>
                      </a:lnTo>
                      <a:lnTo>
                        <a:pt x="0" y="36"/>
                      </a:lnTo>
                      <a:lnTo>
                        <a:pt x="2" y="39"/>
                      </a:lnTo>
                      <a:lnTo>
                        <a:pt x="4" y="41"/>
                      </a:lnTo>
                      <a:lnTo>
                        <a:pt x="8" y="35"/>
                      </a:lnTo>
                      <a:lnTo>
                        <a:pt x="14" y="33"/>
                      </a:lnTo>
                      <a:lnTo>
                        <a:pt x="17" y="32"/>
                      </a:lnTo>
                      <a:lnTo>
                        <a:pt x="20" y="33"/>
                      </a:lnTo>
                      <a:lnTo>
                        <a:pt x="22" y="34"/>
                      </a:lnTo>
                      <a:lnTo>
                        <a:pt x="23" y="38"/>
                      </a:lnTo>
                      <a:lnTo>
                        <a:pt x="23" y="45"/>
                      </a:lnTo>
                      <a:lnTo>
                        <a:pt x="25" y="48"/>
                      </a:lnTo>
                      <a:lnTo>
                        <a:pt x="26" y="51"/>
                      </a:lnTo>
                      <a:lnTo>
                        <a:pt x="32" y="57"/>
                      </a:lnTo>
                      <a:lnTo>
                        <a:pt x="33" y="59"/>
                      </a:lnTo>
                      <a:lnTo>
                        <a:pt x="35" y="60"/>
                      </a:lnTo>
                      <a:lnTo>
                        <a:pt x="32" y="63"/>
                      </a:lnTo>
                      <a:lnTo>
                        <a:pt x="31" y="65"/>
                      </a:lnTo>
                      <a:lnTo>
                        <a:pt x="32" y="67"/>
                      </a:lnTo>
                      <a:lnTo>
                        <a:pt x="33" y="70"/>
                      </a:lnTo>
                      <a:lnTo>
                        <a:pt x="35" y="71"/>
                      </a:lnTo>
                      <a:lnTo>
                        <a:pt x="36" y="71"/>
                      </a:lnTo>
                      <a:lnTo>
                        <a:pt x="37" y="71"/>
                      </a:lnTo>
                      <a:lnTo>
                        <a:pt x="39" y="72"/>
                      </a:lnTo>
                      <a:lnTo>
                        <a:pt x="42" y="76"/>
                      </a:lnTo>
                      <a:lnTo>
                        <a:pt x="44" y="78"/>
                      </a:lnTo>
                      <a:lnTo>
                        <a:pt x="50" y="78"/>
                      </a:lnTo>
                      <a:lnTo>
                        <a:pt x="54" y="78"/>
                      </a:lnTo>
                      <a:lnTo>
                        <a:pt x="59" y="78"/>
                      </a:lnTo>
                      <a:lnTo>
                        <a:pt x="65" y="80"/>
                      </a:lnTo>
                      <a:lnTo>
                        <a:pt x="72" y="84"/>
                      </a:lnTo>
                      <a:lnTo>
                        <a:pt x="78" y="90"/>
                      </a:lnTo>
                      <a:lnTo>
                        <a:pt x="84" y="98"/>
                      </a:lnTo>
                      <a:lnTo>
                        <a:pt x="87" y="100"/>
                      </a:lnTo>
                      <a:lnTo>
                        <a:pt x="91" y="104"/>
                      </a:lnTo>
                      <a:lnTo>
                        <a:pt x="101" y="109"/>
                      </a:lnTo>
                      <a:lnTo>
                        <a:pt x="106" y="110"/>
                      </a:lnTo>
                      <a:lnTo>
                        <a:pt x="108" y="1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4" name="Freeform 1194"/>
                <p:cNvSpPr>
                  <a:spLocks/>
                </p:cNvSpPr>
                <p:nvPr/>
              </p:nvSpPr>
              <p:spPr bwMode="auto">
                <a:xfrm>
                  <a:off x="4997048" y="3131093"/>
                  <a:ext cx="171665" cy="91752"/>
                </a:xfrm>
                <a:custGeom>
                  <a:avLst/>
                  <a:gdLst>
                    <a:gd name="T0" fmla="*/ 2147483647 w 125"/>
                    <a:gd name="T1" fmla="*/ 2147483647 h 62"/>
                    <a:gd name="T2" fmla="*/ 2147483647 w 125"/>
                    <a:gd name="T3" fmla="*/ 2147483647 h 62"/>
                    <a:gd name="T4" fmla="*/ 2147483647 w 125"/>
                    <a:gd name="T5" fmla="*/ 2147483647 h 62"/>
                    <a:gd name="T6" fmla="*/ 2147483647 w 125"/>
                    <a:gd name="T7" fmla="*/ 2147483647 h 62"/>
                    <a:gd name="T8" fmla="*/ 2147483647 w 125"/>
                    <a:gd name="T9" fmla="*/ 2147483647 h 62"/>
                    <a:gd name="T10" fmla="*/ 2147483647 w 125"/>
                    <a:gd name="T11" fmla="*/ 2147483647 h 62"/>
                    <a:gd name="T12" fmla="*/ 2147483647 w 125"/>
                    <a:gd name="T13" fmla="*/ 2147483647 h 62"/>
                    <a:gd name="T14" fmla="*/ 2147483647 w 125"/>
                    <a:gd name="T15" fmla="*/ 2147483647 h 62"/>
                    <a:gd name="T16" fmla="*/ 2147483647 w 125"/>
                    <a:gd name="T17" fmla="*/ 2147483647 h 62"/>
                    <a:gd name="T18" fmla="*/ 2147483647 w 125"/>
                    <a:gd name="T19" fmla="*/ 2147483647 h 62"/>
                    <a:gd name="T20" fmla="*/ 2147483647 w 125"/>
                    <a:gd name="T21" fmla="*/ 2147483647 h 62"/>
                    <a:gd name="T22" fmla="*/ 0 w 125"/>
                    <a:gd name="T23" fmla="*/ 2147483647 h 62"/>
                    <a:gd name="T24" fmla="*/ 2147483647 w 125"/>
                    <a:gd name="T25" fmla="*/ 2147483647 h 62"/>
                    <a:gd name="T26" fmla="*/ 2147483647 w 125"/>
                    <a:gd name="T27" fmla="*/ 2147483647 h 62"/>
                    <a:gd name="T28" fmla="*/ 2147483647 w 125"/>
                    <a:gd name="T29" fmla="*/ 2147483647 h 62"/>
                    <a:gd name="T30" fmla="*/ 2147483647 w 125"/>
                    <a:gd name="T31" fmla="*/ 2147483647 h 62"/>
                    <a:gd name="T32" fmla="*/ 2147483647 w 125"/>
                    <a:gd name="T33" fmla="*/ 2147483647 h 62"/>
                    <a:gd name="T34" fmla="*/ 2147483647 w 125"/>
                    <a:gd name="T35" fmla="*/ 2147483647 h 62"/>
                    <a:gd name="T36" fmla="*/ 2147483647 w 125"/>
                    <a:gd name="T37" fmla="*/ 2147483647 h 62"/>
                    <a:gd name="T38" fmla="*/ 2147483647 w 125"/>
                    <a:gd name="T39" fmla="*/ 2147483647 h 62"/>
                    <a:gd name="T40" fmla="*/ 2147483647 w 125"/>
                    <a:gd name="T41" fmla="*/ 2147483647 h 62"/>
                    <a:gd name="T42" fmla="*/ 2147483647 w 125"/>
                    <a:gd name="T43" fmla="*/ 2147483647 h 62"/>
                    <a:gd name="T44" fmla="*/ 2147483647 w 125"/>
                    <a:gd name="T45" fmla="*/ 2147483647 h 62"/>
                    <a:gd name="T46" fmla="*/ 2147483647 w 125"/>
                    <a:gd name="T47" fmla="*/ 2147483647 h 62"/>
                    <a:gd name="T48" fmla="*/ 2147483647 w 125"/>
                    <a:gd name="T49" fmla="*/ 2147483647 h 62"/>
                    <a:gd name="T50" fmla="*/ 2147483647 w 125"/>
                    <a:gd name="T51" fmla="*/ 2147483647 h 62"/>
                    <a:gd name="T52" fmla="*/ 2147483647 w 125"/>
                    <a:gd name="T53" fmla="*/ 2147483647 h 62"/>
                    <a:gd name="T54" fmla="*/ 2147483647 w 125"/>
                    <a:gd name="T55" fmla="*/ 2147483647 h 62"/>
                    <a:gd name="T56" fmla="*/ 2147483647 w 125"/>
                    <a:gd name="T57" fmla="*/ 2147483647 h 62"/>
                    <a:gd name="T58" fmla="*/ 2147483647 w 125"/>
                    <a:gd name="T59" fmla="*/ 2147483647 h 62"/>
                    <a:gd name="T60" fmla="*/ 2147483647 w 125"/>
                    <a:gd name="T61" fmla="*/ 2147483647 h 62"/>
                    <a:gd name="T62" fmla="*/ 2147483647 w 125"/>
                    <a:gd name="T63" fmla="*/ 0 h 62"/>
                    <a:gd name="T64" fmla="*/ 2147483647 w 125"/>
                    <a:gd name="T65" fmla="*/ 0 h 62"/>
                    <a:gd name="T66" fmla="*/ 2147483647 w 125"/>
                    <a:gd name="T67" fmla="*/ 2147483647 h 62"/>
                    <a:gd name="T68" fmla="*/ 2147483647 w 125"/>
                    <a:gd name="T69" fmla="*/ 2147483647 h 62"/>
                    <a:gd name="T70" fmla="*/ 2147483647 w 125"/>
                    <a:gd name="T71" fmla="*/ 2147483647 h 62"/>
                    <a:gd name="T72" fmla="*/ 2147483647 w 125"/>
                    <a:gd name="T73" fmla="*/ 2147483647 h 62"/>
                    <a:gd name="T74" fmla="*/ 2147483647 w 125"/>
                    <a:gd name="T75" fmla="*/ 2147483647 h 62"/>
                    <a:gd name="T76" fmla="*/ 2147483647 w 125"/>
                    <a:gd name="T77" fmla="*/ 2147483647 h 62"/>
                    <a:gd name="T78" fmla="*/ 2147483647 w 125"/>
                    <a:gd name="T79" fmla="*/ 2147483647 h 62"/>
                    <a:gd name="T80" fmla="*/ 2147483647 w 125"/>
                    <a:gd name="T81" fmla="*/ 2147483647 h 62"/>
                    <a:gd name="T82" fmla="*/ 2147483647 w 125"/>
                    <a:gd name="T83" fmla="*/ 2147483647 h 62"/>
                    <a:gd name="T84" fmla="*/ 2147483647 w 125"/>
                    <a:gd name="T85" fmla="*/ 2147483647 h 62"/>
                    <a:gd name="T86" fmla="*/ 2147483647 w 125"/>
                    <a:gd name="T87" fmla="*/ 2147483647 h 62"/>
                    <a:gd name="T88" fmla="*/ 2147483647 w 125"/>
                    <a:gd name="T89" fmla="*/ 2147483647 h 62"/>
                    <a:gd name="T90" fmla="*/ 2147483647 w 125"/>
                    <a:gd name="T91" fmla="*/ 2147483647 h 62"/>
                    <a:gd name="T92" fmla="*/ 2147483647 w 125"/>
                    <a:gd name="T93" fmla="*/ 2147483647 h 62"/>
                    <a:gd name="T94" fmla="*/ 2147483647 w 125"/>
                    <a:gd name="T95" fmla="*/ 2147483647 h 62"/>
                    <a:gd name="T96" fmla="*/ 2147483647 w 125"/>
                    <a:gd name="T97" fmla="*/ 2147483647 h 62"/>
                    <a:gd name="T98" fmla="*/ 2147483647 w 125"/>
                    <a:gd name="T99" fmla="*/ 2147483647 h 62"/>
                    <a:gd name="T100" fmla="*/ 2147483647 w 125"/>
                    <a:gd name="T101" fmla="*/ 2147483647 h 62"/>
                    <a:gd name="T102" fmla="*/ 2147483647 w 125"/>
                    <a:gd name="T103" fmla="*/ 2147483647 h 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5"/>
                    <a:gd name="T157" fmla="*/ 0 h 62"/>
                    <a:gd name="T158" fmla="*/ 125 w 125"/>
                    <a:gd name="T159" fmla="*/ 62 h 6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5" h="62">
                      <a:moveTo>
                        <a:pt x="77" y="54"/>
                      </a:moveTo>
                      <a:lnTo>
                        <a:pt x="68" y="56"/>
                      </a:lnTo>
                      <a:lnTo>
                        <a:pt x="60" y="58"/>
                      </a:lnTo>
                      <a:lnTo>
                        <a:pt x="51" y="62"/>
                      </a:lnTo>
                      <a:lnTo>
                        <a:pt x="44" y="62"/>
                      </a:lnTo>
                      <a:lnTo>
                        <a:pt x="36" y="62"/>
                      </a:lnTo>
                      <a:lnTo>
                        <a:pt x="28" y="60"/>
                      </a:lnTo>
                      <a:lnTo>
                        <a:pt x="21" y="57"/>
                      </a:lnTo>
                      <a:lnTo>
                        <a:pt x="13" y="54"/>
                      </a:lnTo>
                      <a:lnTo>
                        <a:pt x="7" y="49"/>
                      </a:lnTo>
                      <a:lnTo>
                        <a:pt x="2" y="43"/>
                      </a:lnTo>
                      <a:lnTo>
                        <a:pt x="0" y="41"/>
                      </a:lnTo>
                      <a:lnTo>
                        <a:pt x="6" y="37"/>
                      </a:lnTo>
                      <a:lnTo>
                        <a:pt x="11" y="34"/>
                      </a:lnTo>
                      <a:lnTo>
                        <a:pt x="14" y="29"/>
                      </a:lnTo>
                      <a:lnTo>
                        <a:pt x="17" y="24"/>
                      </a:lnTo>
                      <a:lnTo>
                        <a:pt x="18" y="13"/>
                      </a:lnTo>
                      <a:lnTo>
                        <a:pt x="19" y="4"/>
                      </a:lnTo>
                      <a:lnTo>
                        <a:pt x="25" y="4"/>
                      </a:lnTo>
                      <a:lnTo>
                        <a:pt x="30" y="6"/>
                      </a:lnTo>
                      <a:lnTo>
                        <a:pt x="39" y="10"/>
                      </a:lnTo>
                      <a:lnTo>
                        <a:pt x="41" y="11"/>
                      </a:lnTo>
                      <a:lnTo>
                        <a:pt x="42" y="10"/>
                      </a:lnTo>
                      <a:lnTo>
                        <a:pt x="47" y="10"/>
                      </a:lnTo>
                      <a:lnTo>
                        <a:pt x="50" y="10"/>
                      </a:lnTo>
                      <a:lnTo>
                        <a:pt x="54" y="11"/>
                      </a:lnTo>
                      <a:lnTo>
                        <a:pt x="56" y="12"/>
                      </a:lnTo>
                      <a:lnTo>
                        <a:pt x="60" y="11"/>
                      </a:lnTo>
                      <a:lnTo>
                        <a:pt x="66" y="8"/>
                      </a:lnTo>
                      <a:lnTo>
                        <a:pt x="74" y="5"/>
                      </a:lnTo>
                      <a:lnTo>
                        <a:pt x="89" y="2"/>
                      </a:lnTo>
                      <a:lnTo>
                        <a:pt x="98" y="0"/>
                      </a:lnTo>
                      <a:lnTo>
                        <a:pt x="107" y="0"/>
                      </a:lnTo>
                      <a:lnTo>
                        <a:pt x="115" y="4"/>
                      </a:lnTo>
                      <a:lnTo>
                        <a:pt x="121" y="9"/>
                      </a:lnTo>
                      <a:lnTo>
                        <a:pt x="125" y="15"/>
                      </a:lnTo>
                      <a:lnTo>
                        <a:pt x="124" y="15"/>
                      </a:lnTo>
                      <a:lnTo>
                        <a:pt x="122" y="16"/>
                      </a:lnTo>
                      <a:lnTo>
                        <a:pt x="119" y="23"/>
                      </a:lnTo>
                      <a:lnTo>
                        <a:pt x="113" y="30"/>
                      </a:lnTo>
                      <a:lnTo>
                        <a:pt x="102" y="42"/>
                      </a:lnTo>
                      <a:lnTo>
                        <a:pt x="102" y="45"/>
                      </a:lnTo>
                      <a:lnTo>
                        <a:pt x="101" y="48"/>
                      </a:lnTo>
                      <a:lnTo>
                        <a:pt x="99" y="49"/>
                      </a:lnTo>
                      <a:lnTo>
                        <a:pt x="99" y="51"/>
                      </a:lnTo>
                      <a:lnTo>
                        <a:pt x="99" y="53"/>
                      </a:lnTo>
                      <a:lnTo>
                        <a:pt x="98" y="54"/>
                      </a:lnTo>
                      <a:lnTo>
                        <a:pt x="97" y="55"/>
                      </a:lnTo>
                      <a:lnTo>
                        <a:pt x="94" y="55"/>
                      </a:lnTo>
                      <a:lnTo>
                        <a:pt x="89" y="53"/>
                      </a:lnTo>
                      <a:lnTo>
                        <a:pt x="86" y="53"/>
                      </a:lnTo>
                      <a:lnTo>
                        <a:pt x="77" y="5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5" name="Freeform 1195"/>
                <p:cNvSpPr>
                  <a:spLocks/>
                </p:cNvSpPr>
                <p:nvPr/>
              </p:nvSpPr>
              <p:spPr bwMode="auto">
                <a:xfrm>
                  <a:off x="4931935" y="3190285"/>
                  <a:ext cx="224941" cy="196823"/>
                </a:xfrm>
                <a:custGeom>
                  <a:avLst/>
                  <a:gdLst>
                    <a:gd name="T0" fmla="*/ 2147483647 w 165"/>
                    <a:gd name="T1" fmla="*/ 2147483647 h 133"/>
                    <a:gd name="T2" fmla="*/ 2147483647 w 165"/>
                    <a:gd name="T3" fmla="*/ 2147483647 h 133"/>
                    <a:gd name="T4" fmla="*/ 2147483647 w 165"/>
                    <a:gd name="T5" fmla="*/ 2147483647 h 133"/>
                    <a:gd name="T6" fmla="*/ 2147483647 w 165"/>
                    <a:gd name="T7" fmla="*/ 2147483647 h 133"/>
                    <a:gd name="T8" fmla="*/ 2147483647 w 165"/>
                    <a:gd name="T9" fmla="*/ 2147483647 h 133"/>
                    <a:gd name="T10" fmla="*/ 2147483647 w 165"/>
                    <a:gd name="T11" fmla="*/ 2147483647 h 133"/>
                    <a:gd name="T12" fmla="*/ 2147483647 w 165"/>
                    <a:gd name="T13" fmla="*/ 2147483647 h 133"/>
                    <a:gd name="T14" fmla="*/ 2147483647 w 165"/>
                    <a:gd name="T15" fmla="*/ 2147483647 h 133"/>
                    <a:gd name="T16" fmla="*/ 2147483647 w 165"/>
                    <a:gd name="T17" fmla="*/ 2147483647 h 133"/>
                    <a:gd name="T18" fmla="*/ 2147483647 w 165"/>
                    <a:gd name="T19" fmla="*/ 2147483647 h 133"/>
                    <a:gd name="T20" fmla="*/ 2147483647 w 165"/>
                    <a:gd name="T21" fmla="*/ 2147483647 h 133"/>
                    <a:gd name="T22" fmla="*/ 2147483647 w 165"/>
                    <a:gd name="T23" fmla="*/ 2147483647 h 133"/>
                    <a:gd name="T24" fmla="*/ 2147483647 w 165"/>
                    <a:gd name="T25" fmla="*/ 2147483647 h 133"/>
                    <a:gd name="T26" fmla="*/ 2147483647 w 165"/>
                    <a:gd name="T27" fmla="*/ 2147483647 h 133"/>
                    <a:gd name="T28" fmla="*/ 2147483647 w 165"/>
                    <a:gd name="T29" fmla="*/ 2147483647 h 133"/>
                    <a:gd name="T30" fmla="*/ 2147483647 w 165"/>
                    <a:gd name="T31" fmla="*/ 2147483647 h 133"/>
                    <a:gd name="T32" fmla="*/ 2147483647 w 165"/>
                    <a:gd name="T33" fmla="*/ 2147483647 h 133"/>
                    <a:gd name="T34" fmla="*/ 2147483647 w 165"/>
                    <a:gd name="T35" fmla="*/ 2147483647 h 133"/>
                    <a:gd name="T36" fmla="*/ 2147483647 w 165"/>
                    <a:gd name="T37" fmla="*/ 2147483647 h 133"/>
                    <a:gd name="T38" fmla="*/ 2147483647 w 165"/>
                    <a:gd name="T39" fmla="*/ 2147483647 h 133"/>
                    <a:gd name="T40" fmla="*/ 2147483647 w 165"/>
                    <a:gd name="T41" fmla="*/ 2147483647 h 133"/>
                    <a:gd name="T42" fmla="*/ 2147483647 w 165"/>
                    <a:gd name="T43" fmla="*/ 2147483647 h 133"/>
                    <a:gd name="T44" fmla="*/ 2147483647 w 165"/>
                    <a:gd name="T45" fmla="*/ 2147483647 h 133"/>
                    <a:gd name="T46" fmla="*/ 2147483647 w 165"/>
                    <a:gd name="T47" fmla="*/ 2147483647 h 133"/>
                    <a:gd name="T48" fmla="*/ 2147483647 w 165"/>
                    <a:gd name="T49" fmla="*/ 2147483647 h 133"/>
                    <a:gd name="T50" fmla="*/ 2147483647 w 165"/>
                    <a:gd name="T51" fmla="*/ 2147483647 h 133"/>
                    <a:gd name="T52" fmla="*/ 2147483647 w 165"/>
                    <a:gd name="T53" fmla="*/ 0 h 133"/>
                    <a:gd name="T54" fmla="*/ 2147483647 w 165"/>
                    <a:gd name="T55" fmla="*/ 2147483647 h 133"/>
                    <a:gd name="T56" fmla="*/ 2147483647 w 165"/>
                    <a:gd name="T57" fmla="*/ 2147483647 h 133"/>
                    <a:gd name="T58" fmla="*/ 0 w 165"/>
                    <a:gd name="T59" fmla="*/ 2147483647 h 133"/>
                    <a:gd name="T60" fmla="*/ 0 w 165"/>
                    <a:gd name="T61" fmla="*/ 2147483647 h 133"/>
                    <a:gd name="T62" fmla="*/ 2147483647 w 165"/>
                    <a:gd name="T63" fmla="*/ 2147483647 h 133"/>
                    <a:gd name="T64" fmla="*/ 2147483647 w 165"/>
                    <a:gd name="T65" fmla="*/ 2147483647 h 133"/>
                    <a:gd name="T66" fmla="*/ 2147483647 w 165"/>
                    <a:gd name="T67" fmla="*/ 2147483647 h 133"/>
                    <a:gd name="T68" fmla="*/ 2147483647 w 165"/>
                    <a:gd name="T69" fmla="*/ 2147483647 h 133"/>
                    <a:gd name="T70" fmla="*/ 2147483647 w 165"/>
                    <a:gd name="T71" fmla="*/ 2147483647 h 133"/>
                    <a:gd name="T72" fmla="*/ 2147483647 w 165"/>
                    <a:gd name="T73" fmla="*/ 2147483647 h 133"/>
                    <a:gd name="T74" fmla="*/ 2147483647 w 165"/>
                    <a:gd name="T75" fmla="*/ 2147483647 h 133"/>
                    <a:gd name="T76" fmla="*/ 2147483647 w 165"/>
                    <a:gd name="T77" fmla="*/ 2147483647 h 133"/>
                    <a:gd name="T78" fmla="*/ 2147483647 w 165"/>
                    <a:gd name="T79" fmla="*/ 2147483647 h 133"/>
                    <a:gd name="T80" fmla="*/ 2147483647 w 165"/>
                    <a:gd name="T81" fmla="*/ 2147483647 h 133"/>
                    <a:gd name="T82" fmla="*/ 2147483647 w 165"/>
                    <a:gd name="T83" fmla="*/ 2147483647 h 133"/>
                    <a:gd name="T84" fmla="*/ 2147483647 w 165"/>
                    <a:gd name="T85" fmla="*/ 2147483647 h 133"/>
                    <a:gd name="T86" fmla="*/ 2147483647 w 165"/>
                    <a:gd name="T87" fmla="*/ 2147483647 h 133"/>
                    <a:gd name="T88" fmla="*/ 2147483647 w 165"/>
                    <a:gd name="T89" fmla="*/ 2147483647 h 133"/>
                    <a:gd name="T90" fmla="*/ 2147483647 w 165"/>
                    <a:gd name="T91" fmla="*/ 2147483647 h 13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5"/>
                    <a:gd name="T139" fmla="*/ 0 h 133"/>
                    <a:gd name="T140" fmla="*/ 165 w 165"/>
                    <a:gd name="T141" fmla="*/ 133 h 13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5" h="133">
                      <a:moveTo>
                        <a:pt x="108" y="110"/>
                      </a:moveTo>
                      <a:lnTo>
                        <a:pt x="108" y="110"/>
                      </a:lnTo>
                      <a:lnTo>
                        <a:pt x="109" y="105"/>
                      </a:lnTo>
                      <a:lnTo>
                        <a:pt x="111" y="101"/>
                      </a:lnTo>
                      <a:lnTo>
                        <a:pt x="112" y="99"/>
                      </a:lnTo>
                      <a:lnTo>
                        <a:pt x="114" y="98"/>
                      </a:lnTo>
                      <a:lnTo>
                        <a:pt x="117" y="99"/>
                      </a:lnTo>
                      <a:lnTo>
                        <a:pt x="122" y="103"/>
                      </a:lnTo>
                      <a:lnTo>
                        <a:pt x="123" y="106"/>
                      </a:lnTo>
                      <a:lnTo>
                        <a:pt x="125" y="109"/>
                      </a:lnTo>
                      <a:lnTo>
                        <a:pt x="125" y="115"/>
                      </a:lnTo>
                      <a:lnTo>
                        <a:pt x="126" y="120"/>
                      </a:lnTo>
                      <a:lnTo>
                        <a:pt x="130" y="131"/>
                      </a:lnTo>
                      <a:lnTo>
                        <a:pt x="130" y="133"/>
                      </a:lnTo>
                      <a:lnTo>
                        <a:pt x="151" y="129"/>
                      </a:lnTo>
                      <a:lnTo>
                        <a:pt x="155" y="128"/>
                      </a:lnTo>
                      <a:lnTo>
                        <a:pt x="159" y="125"/>
                      </a:lnTo>
                      <a:lnTo>
                        <a:pt x="165" y="120"/>
                      </a:lnTo>
                      <a:lnTo>
                        <a:pt x="163" y="120"/>
                      </a:lnTo>
                      <a:lnTo>
                        <a:pt x="161" y="118"/>
                      </a:lnTo>
                      <a:lnTo>
                        <a:pt x="161" y="112"/>
                      </a:lnTo>
                      <a:lnTo>
                        <a:pt x="158" y="106"/>
                      </a:lnTo>
                      <a:lnTo>
                        <a:pt x="156" y="101"/>
                      </a:lnTo>
                      <a:lnTo>
                        <a:pt x="156" y="97"/>
                      </a:lnTo>
                      <a:lnTo>
                        <a:pt x="159" y="91"/>
                      </a:lnTo>
                      <a:lnTo>
                        <a:pt x="161" y="86"/>
                      </a:lnTo>
                      <a:lnTo>
                        <a:pt x="163" y="85"/>
                      </a:lnTo>
                      <a:lnTo>
                        <a:pt x="163" y="83"/>
                      </a:lnTo>
                      <a:lnTo>
                        <a:pt x="160" y="79"/>
                      </a:lnTo>
                      <a:lnTo>
                        <a:pt x="156" y="74"/>
                      </a:lnTo>
                      <a:lnTo>
                        <a:pt x="154" y="71"/>
                      </a:lnTo>
                      <a:lnTo>
                        <a:pt x="155" y="65"/>
                      </a:lnTo>
                      <a:lnTo>
                        <a:pt x="158" y="60"/>
                      </a:lnTo>
                      <a:lnTo>
                        <a:pt x="161" y="56"/>
                      </a:lnTo>
                      <a:lnTo>
                        <a:pt x="163" y="55"/>
                      </a:lnTo>
                      <a:lnTo>
                        <a:pt x="164" y="55"/>
                      </a:lnTo>
                      <a:lnTo>
                        <a:pt x="164" y="52"/>
                      </a:lnTo>
                      <a:lnTo>
                        <a:pt x="163" y="48"/>
                      </a:lnTo>
                      <a:lnTo>
                        <a:pt x="160" y="47"/>
                      </a:lnTo>
                      <a:lnTo>
                        <a:pt x="158" y="46"/>
                      </a:lnTo>
                      <a:lnTo>
                        <a:pt x="150" y="43"/>
                      </a:lnTo>
                      <a:lnTo>
                        <a:pt x="147" y="42"/>
                      </a:lnTo>
                      <a:lnTo>
                        <a:pt x="145" y="41"/>
                      </a:lnTo>
                      <a:lnTo>
                        <a:pt x="144" y="39"/>
                      </a:lnTo>
                      <a:lnTo>
                        <a:pt x="144" y="35"/>
                      </a:lnTo>
                      <a:lnTo>
                        <a:pt x="140" y="33"/>
                      </a:lnTo>
                      <a:lnTo>
                        <a:pt x="139" y="32"/>
                      </a:lnTo>
                      <a:lnTo>
                        <a:pt x="137" y="30"/>
                      </a:lnTo>
                      <a:lnTo>
                        <a:pt x="135" y="26"/>
                      </a:lnTo>
                      <a:lnTo>
                        <a:pt x="131" y="21"/>
                      </a:lnTo>
                      <a:lnTo>
                        <a:pt x="123" y="13"/>
                      </a:lnTo>
                      <a:lnTo>
                        <a:pt x="114" y="15"/>
                      </a:lnTo>
                      <a:lnTo>
                        <a:pt x="107" y="17"/>
                      </a:lnTo>
                      <a:lnTo>
                        <a:pt x="98" y="21"/>
                      </a:lnTo>
                      <a:lnTo>
                        <a:pt x="90" y="21"/>
                      </a:lnTo>
                      <a:lnTo>
                        <a:pt x="83" y="21"/>
                      </a:lnTo>
                      <a:lnTo>
                        <a:pt x="75" y="18"/>
                      </a:lnTo>
                      <a:lnTo>
                        <a:pt x="67" y="16"/>
                      </a:lnTo>
                      <a:lnTo>
                        <a:pt x="60" y="13"/>
                      </a:lnTo>
                      <a:lnTo>
                        <a:pt x="54" y="8"/>
                      </a:lnTo>
                      <a:lnTo>
                        <a:pt x="48" y="2"/>
                      </a:lnTo>
                      <a:lnTo>
                        <a:pt x="47" y="0"/>
                      </a:lnTo>
                      <a:lnTo>
                        <a:pt x="41" y="3"/>
                      </a:lnTo>
                      <a:lnTo>
                        <a:pt x="22" y="5"/>
                      </a:lnTo>
                      <a:lnTo>
                        <a:pt x="3" y="7"/>
                      </a:lnTo>
                      <a:lnTo>
                        <a:pt x="4" y="10"/>
                      </a:lnTo>
                      <a:lnTo>
                        <a:pt x="3" y="15"/>
                      </a:lnTo>
                      <a:lnTo>
                        <a:pt x="0" y="22"/>
                      </a:lnTo>
                      <a:lnTo>
                        <a:pt x="0" y="27"/>
                      </a:lnTo>
                      <a:lnTo>
                        <a:pt x="0" y="32"/>
                      </a:lnTo>
                      <a:lnTo>
                        <a:pt x="0" y="36"/>
                      </a:lnTo>
                      <a:lnTo>
                        <a:pt x="1" y="39"/>
                      </a:lnTo>
                      <a:lnTo>
                        <a:pt x="4" y="41"/>
                      </a:lnTo>
                      <a:lnTo>
                        <a:pt x="8" y="35"/>
                      </a:lnTo>
                      <a:lnTo>
                        <a:pt x="14" y="33"/>
                      </a:lnTo>
                      <a:lnTo>
                        <a:pt x="17" y="32"/>
                      </a:lnTo>
                      <a:lnTo>
                        <a:pt x="19" y="33"/>
                      </a:lnTo>
                      <a:lnTo>
                        <a:pt x="22" y="34"/>
                      </a:lnTo>
                      <a:lnTo>
                        <a:pt x="23" y="37"/>
                      </a:lnTo>
                      <a:lnTo>
                        <a:pt x="23" y="45"/>
                      </a:lnTo>
                      <a:lnTo>
                        <a:pt x="24" y="48"/>
                      </a:lnTo>
                      <a:lnTo>
                        <a:pt x="26" y="51"/>
                      </a:lnTo>
                      <a:lnTo>
                        <a:pt x="32" y="56"/>
                      </a:lnTo>
                      <a:lnTo>
                        <a:pt x="33" y="59"/>
                      </a:lnTo>
                      <a:lnTo>
                        <a:pt x="34" y="60"/>
                      </a:lnTo>
                      <a:lnTo>
                        <a:pt x="32" y="62"/>
                      </a:lnTo>
                      <a:lnTo>
                        <a:pt x="31" y="65"/>
                      </a:lnTo>
                      <a:lnTo>
                        <a:pt x="32" y="67"/>
                      </a:lnTo>
                      <a:lnTo>
                        <a:pt x="33" y="69"/>
                      </a:lnTo>
                      <a:lnTo>
                        <a:pt x="34" y="71"/>
                      </a:lnTo>
                      <a:lnTo>
                        <a:pt x="36" y="71"/>
                      </a:lnTo>
                      <a:lnTo>
                        <a:pt x="37" y="71"/>
                      </a:lnTo>
                      <a:lnTo>
                        <a:pt x="38" y="72"/>
                      </a:lnTo>
                      <a:lnTo>
                        <a:pt x="42" y="75"/>
                      </a:lnTo>
                      <a:lnTo>
                        <a:pt x="43" y="78"/>
                      </a:lnTo>
                      <a:lnTo>
                        <a:pt x="50" y="78"/>
                      </a:lnTo>
                      <a:lnTo>
                        <a:pt x="54" y="78"/>
                      </a:lnTo>
                      <a:lnTo>
                        <a:pt x="59" y="78"/>
                      </a:lnTo>
                      <a:lnTo>
                        <a:pt x="65" y="80"/>
                      </a:lnTo>
                      <a:lnTo>
                        <a:pt x="71" y="84"/>
                      </a:lnTo>
                      <a:lnTo>
                        <a:pt x="78" y="90"/>
                      </a:lnTo>
                      <a:lnTo>
                        <a:pt x="84" y="98"/>
                      </a:lnTo>
                      <a:lnTo>
                        <a:pt x="87" y="100"/>
                      </a:lnTo>
                      <a:lnTo>
                        <a:pt x="90" y="104"/>
                      </a:lnTo>
                      <a:lnTo>
                        <a:pt x="101" y="109"/>
                      </a:lnTo>
                      <a:lnTo>
                        <a:pt x="106" y="110"/>
                      </a:lnTo>
                      <a:lnTo>
                        <a:pt x="108" y="1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6" name="Freeform 1196"/>
                <p:cNvSpPr>
                  <a:spLocks/>
                </p:cNvSpPr>
                <p:nvPr/>
              </p:nvSpPr>
              <p:spPr bwMode="auto">
                <a:xfrm>
                  <a:off x="4997047" y="3129610"/>
                  <a:ext cx="170186" cy="91752"/>
                </a:xfrm>
                <a:custGeom>
                  <a:avLst/>
                  <a:gdLst>
                    <a:gd name="T0" fmla="*/ 2147483647 w 125"/>
                    <a:gd name="T1" fmla="*/ 2147483647 h 62"/>
                    <a:gd name="T2" fmla="*/ 2147483647 w 125"/>
                    <a:gd name="T3" fmla="*/ 2147483647 h 62"/>
                    <a:gd name="T4" fmla="*/ 2147483647 w 125"/>
                    <a:gd name="T5" fmla="*/ 2147483647 h 62"/>
                    <a:gd name="T6" fmla="*/ 2147483647 w 125"/>
                    <a:gd name="T7" fmla="*/ 2147483647 h 62"/>
                    <a:gd name="T8" fmla="*/ 2147483647 w 125"/>
                    <a:gd name="T9" fmla="*/ 2147483647 h 62"/>
                    <a:gd name="T10" fmla="*/ 2147483647 w 125"/>
                    <a:gd name="T11" fmla="*/ 2147483647 h 62"/>
                    <a:gd name="T12" fmla="*/ 2147483647 w 125"/>
                    <a:gd name="T13" fmla="*/ 2147483647 h 62"/>
                    <a:gd name="T14" fmla="*/ 0 w 125"/>
                    <a:gd name="T15" fmla="*/ 2147483647 h 62"/>
                    <a:gd name="T16" fmla="*/ 2147483647 w 125"/>
                    <a:gd name="T17" fmla="*/ 2147483647 h 62"/>
                    <a:gd name="T18" fmla="*/ 2147483647 w 125"/>
                    <a:gd name="T19" fmla="*/ 2147483647 h 62"/>
                    <a:gd name="T20" fmla="*/ 2147483647 w 125"/>
                    <a:gd name="T21" fmla="*/ 2147483647 h 62"/>
                    <a:gd name="T22" fmla="*/ 2147483647 w 125"/>
                    <a:gd name="T23" fmla="*/ 2147483647 h 62"/>
                    <a:gd name="T24" fmla="*/ 2147483647 w 125"/>
                    <a:gd name="T25" fmla="*/ 2147483647 h 62"/>
                    <a:gd name="T26" fmla="*/ 2147483647 w 125"/>
                    <a:gd name="T27" fmla="*/ 2147483647 h 62"/>
                    <a:gd name="T28" fmla="*/ 2147483647 w 125"/>
                    <a:gd name="T29" fmla="*/ 2147483647 h 62"/>
                    <a:gd name="T30" fmla="*/ 2147483647 w 125"/>
                    <a:gd name="T31" fmla="*/ 2147483647 h 62"/>
                    <a:gd name="T32" fmla="*/ 2147483647 w 125"/>
                    <a:gd name="T33" fmla="*/ 2147483647 h 62"/>
                    <a:gd name="T34" fmla="*/ 2147483647 w 125"/>
                    <a:gd name="T35" fmla="*/ 2147483647 h 62"/>
                    <a:gd name="T36" fmla="*/ 2147483647 w 125"/>
                    <a:gd name="T37" fmla="*/ 2147483647 h 62"/>
                    <a:gd name="T38" fmla="*/ 2147483647 w 125"/>
                    <a:gd name="T39" fmla="*/ 2147483647 h 62"/>
                    <a:gd name="T40" fmla="*/ 2147483647 w 125"/>
                    <a:gd name="T41" fmla="*/ 0 h 62"/>
                    <a:gd name="T42" fmla="*/ 2147483647 w 125"/>
                    <a:gd name="T43" fmla="*/ 2147483647 h 62"/>
                    <a:gd name="T44" fmla="*/ 2147483647 w 125"/>
                    <a:gd name="T45" fmla="*/ 2147483647 h 62"/>
                    <a:gd name="T46" fmla="*/ 2147483647 w 125"/>
                    <a:gd name="T47" fmla="*/ 2147483647 h 62"/>
                    <a:gd name="T48" fmla="*/ 2147483647 w 125"/>
                    <a:gd name="T49" fmla="*/ 2147483647 h 62"/>
                    <a:gd name="T50" fmla="*/ 2147483647 w 125"/>
                    <a:gd name="T51" fmla="*/ 2147483647 h 62"/>
                    <a:gd name="T52" fmla="*/ 2147483647 w 125"/>
                    <a:gd name="T53" fmla="*/ 2147483647 h 62"/>
                    <a:gd name="T54" fmla="*/ 2147483647 w 125"/>
                    <a:gd name="T55" fmla="*/ 2147483647 h 62"/>
                    <a:gd name="T56" fmla="*/ 2147483647 w 125"/>
                    <a:gd name="T57" fmla="*/ 2147483647 h 62"/>
                    <a:gd name="T58" fmla="*/ 2147483647 w 125"/>
                    <a:gd name="T59" fmla="*/ 2147483647 h 62"/>
                    <a:gd name="T60" fmla="*/ 2147483647 w 125"/>
                    <a:gd name="T61" fmla="*/ 2147483647 h 62"/>
                    <a:gd name="T62" fmla="*/ 2147483647 w 125"/>
                    <a:gd name="T63" fmla="*/ 2147483647 h 62"/>
                    <a:gd name="T64" fmla="*/ 2147483647 w 125"/>
                    <a:gd name="T65" fmla="*/ 2147483647 h 62"/>
                    <a:gd name="T66" fmla="*/ 2147483647 w 125"/>
                    <a:gd name="T67" fmla="*/ 2147483647 h 62"/>
                    <a:gd name="T68" fmla="*/ 2147483647 w 125"/>
                    <a:gd name="T69" fmla="*/ 2147483647 h 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5"/>
                    <a:gd name="T106" fmla="*/ 0 h 62"/>
                    <a:gd name="T107" fmla="*/ 125 w 125"/>
                    <a:gd name="T108" fmla="*/ 62 h 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5" h="62">
                      <a:moveTo>
                        <a:pt x="76" y="54"/>
                      </a:moveTo>
                      <a:lnTo>
                        <a:pt x="76" y="54"/>
                      </a:lnTo>
                      <a:lnTo>
                        <a:pt x="67" y="56"/>
                      </a:lnTo>
                      <a:lnTo>
                        <a:pt x="60" y="58"/>
                      </a:lnTo>
                      <a:lnTo>
                        <a:pt x="51" y="62"/>
                      </a:lnTo>
                      <a:lnTo>
                        <a:pt x="43" y="62"/>
                      </a:lnTo>
                      <a:lnTo>
                        <a:pt x="36" y="62"/>
                      </a:lnTo>
                      <a:lnTo>
                        <a:pt x="28" y="59"/>
                      </a:lnTo>
                      <a:lnTo>
                        <a:pt x="20" y="57"/>
                      </a:lnTo>
                      <a:lnTo>
                        <a:pt x="13" y="54"/>
                      </a:lnTo>
                      <a:lnTo>
                        <a:pt x="7" y="49"/>
                      </a:lnTo>
                      <a:lnTo>
                        <a:pt x="1" y="43"/>
                      </a:lnTo>
                      <a:lnTo>
                        <a:pt x="0" y="41"/>
                      </a:lnTo>
                      <a:lnTo>
                        <a:pt x="5" y="37"/>
                      </a:lnTo>
                      <a:lnTo>
                        <a:pt x="10" y="33"/>
                      </a:lnTo>
                      <a:lnTo>
                        <a:pt x="14" y="29"/>
                      </a:lnTo>
                      <a:lnTo>
                        <a:pt x="17" y="24"/>
                      </a:lnTo>
                      <a:lnTo>
                        <a:pt x="18" y="13"/>
                      </a:lnTo>
                      <a:lnTo>
                        <a:pt x="19" y="4"/>
                      </a:lnTo>
                      <a:lnTo>
                        <a:pt x="24" y="4"/>
                      </a:lnTo>
                      <a:lnTo>
                        <a:pt x="29" y="6"/>
                      </a:lnTo>
                      <a:lnTo>
                        <a:pt x="38" y="10"/>
                      </a:lnTo>
                      <a:lnTo>
                        <a:pt x="41" y="11"/>
                      </a:lnTo>
                      <a:lnTo>
                        <a:pt x="42" y="10"/>
                      </a:lnTo>
                      <a:lnTo>
                        <a:pt x="47" y="10"/>
                      </a:lnTo>
                      <a:lnTo>
                        <a:pt x="50" y="10"/>
                      </a:lnTo>
                      <a:lnTo>
                        <a:pt x="54" y="11"/>
                      </a:lnTo>
                      <a:lnTo>
                        <a:pt x="56" y="12"/>
                      </a:lnTo>
                      <a:lnTo>
                        <a:pt x="60" y="11"/>
                      </a:lnTo>
                      <a:lnTo>
                        <a:pt x="66" y="7"/>
                      </a:lnTo>
                      <a:lnTo>
                        <a:pt x="74" y="5"/>
                      </a:lnTo>
                      <a:lnTo>
                        <a:pt x="89" y="1"/>
                      </a:lnTo>
                      <a:lnTo>
                        <a:pt x="98" y="0"/>
                      </a:lnTo>
                      <a:lnTo>
                        <a:pt x="107" y="0"/>
                      </a:lnTo>
                      <a:lnTo>
                        <a:pt x="114" y="4"/>
                      </a:lnTo>
                      <a:lnTo>
                        <a:pt x="121" y="9"/>
                      </a:lnTo>
                      <a:lnTo>
                        <a:pt x="125" y="14"/>
                      </a:lnTo>
                      <a:lnTo>
                        <a:pt x="123" y="14"/>
                      </a:lnTo>
                      <a:lnTo>
                        <a:pt x="122" y="16"/>
                      </a:lnTo>
                      <a:lnTo>
                        <a:pt x="118" y="23"/>
                      </a:lnTo>
                      <a:lnTo>
                        <a:pt x="113" y="30"/>
                      </a:lnTo>
                      <a:lnTo>
                        <a:pt x="102" y="42"/>
                      </a:lnTo>
                      <a:lnTo>
                        <a:pt x="102" y="45"/>
                      </a:lnTo>
                      <a:lnTo>
                        <a:pt x="100" y="48"/>
                      </a:lnTo>
                      <a:lnTo>
                        <a:pt x="99" y="49"/>
                      </a:lnTo>
                      <a:lnTo>
                        <a:pt x="99" y="51"/>
                      </a:lnTo>
                      <a:lnTo>
                        <a:pt x="99" y="52"/>
                      </a:lnTo>
                      <a:lnTo>
                        <a:pt x="98" y="54"/>
                      </a:lnTo>
                      <a:lnTo>
                        <a:pt x="97" y="55"/>
                      </a:lnTo>
                      <a:lnTo>
                        <a:pt x="94" y="55"/>
                      </a:lnTo>
                      <a:lnTo>
                        <a:pt x="89" y="52"/>
                      </a:lnTo>
                      <a:lnTo>
                        <a:pt x="85" y="52"/>
                      </a:lnTo>
                      <a:lnTo>
                        <a:pt x="76" y="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7" name="Freeform 1197"/>
                <p:cNvSpPr>
                  <a:spLocks/>
                </p:cNvSpPr>
                <p:nvPr/>
              </p:nvSpPr>
              <p:spPr bwMode="auto">
                <a:xfrm>
                  <a:off x="4900857" y="3480341"/>
                  <a:ext cx="81392" cy="45877"/>
                </a:xfrm>
                <a:custGeom>
                  <a:avLst/>
                  <a:gdLst>
                    <a:gd name="T0" fmla="*/ 2147483647 w 60"/>
                    <a:gd name="T1" fmla="*/ 2147483647 h 31"/>
                    <a:gd name="T2" fmla="*/ 2147483647 w 60"/>
                    <a:gd name="T3" fmla="*/ 2147483647 h 31"/>
                    <a:gd name="T4" fmla="*/ 2147483647 w 60"/>
                    <a:gd name="T5" fmla="*/ 2147483647 h 31"/>
                    <a:gd name="T6" fmla="*/ 2147483647 w 60"/>
                    <a:gd name="T7" fmla="*/ 2147483647 h 31"/>
                    <a:gd name="T8" fmla="*/ 2147483647 w 60"/>
                    <a:gd name="T9" fmla="*/ 2147483647 h 31"/>
                    <a:gd name="T10" fmla="*/ 2147483647 w 60"/>
                    <a:gd name="T11" fmla="*/ 2147483647 h 31"/>
                    <a:gd name="T12" fmla="*/ 2147483647 w 60"/>
                    <a:gd name="T13" fmla="*/ 2147483647 h 31"/>
                    <a:gd name="T14" fmla="*/ 2147483647 w 60"/>
                    <a:gd name="T15" fmla="*/ 2147483647 h 31"/>
                    <a:gd name="T16" fmla="*/ 2147483647 w 60"/>
                    <a:gd name="T17" fmla="*/ 2147483647 h 31"/>
                    <a:gd name="T18" fmla="*/ 0 w 60"/>
                    <a:gd name="T19" fmla="*/ 2147483647 h 31"/>
                    <a:gd name="T20" fmla="*/ 0 w 60"/>
                    <a:gd name="T21" fmla="*/ 2147483647 h 31"/>
                    <a:gd name="T22" fmla="*/ 0 w 60"/>
                    <a:gd name="T23" fmla="*/ 2147483647 h 31"/>
                    <a:gd name="T24" fmla="*/ 2147483647 w 60"/>
                    <a:gd name="T25" fmla="*/ 2147483647 h 31"/>
                    <a:gd name="T26" fmla="*/ 2147483647 w 60"/>
                    <a:gd name="T27" fmla="*/ 2147483647 h 31"/>
                    <a:gd name="T28" fmla="*/ 2147483647 w 60"/>
                    <a:gd name="T29" fmla="*/ 2147483647 h 31"/>
                    <a:gd name="T30" fmla="*/ 2147483647 w 60"/>
                    <a:gd name="T31" fmla="*/ 2147483647 h 31"/>
                    <a:gd name="T32" fmla="*/ 2147483647 w 60"/>
                    <a:gd name="T33" fmla="*/ 2147483647 h 31"/>
                    <a:gd name="T34" fmla="*/ 2147483647 w 60"/>
                    <a:gd name="T35" fmla="*/ 2147483647 h 31"/>
                    <a:gd name="T36" fmla="*/ 2147483647 w 60"/>
                    <a:gd name="T37" fmla="*/ 2147483647 h 31"/>
                    <a:gd name="T38" fmla="*/ 2147483647 w 60"/>
                    <a:gd name="T39" fmla="*/ 2147483647 h 31"/>
                    <a:gd name="T40" fmla="*/ 2147483647 w 60"/>
                    <a:gd name="T41" fmla="*/ 2147483647 h 31"/>
                    <a:gd name="T42" fmla="*/ 2147483647 w 60"/>
                    <a:gd name="T43" fmla="*/ 2147483647 h 31"/>
                    <a:gd name="T44" fmla="*/ 2147483647 w 60"/>
                    <a:gd name="T45" fmla="*/ 2147483647 h 31"/>
                    <a:gd name="T46" fmla="*/ 2147483647 w 60"/>
                    <a:gd name="T47" fmla="*/ 2147483647 h 31"/>
                    <a:gd name="T48" fmla="*/ 2147483647 w 60"/>
                    <a:gd name="T49" fmla="*/ 2147483647 h 31"/>
                    <a:gd name="T50" fmla="*/ 2147483647 w 60"/>
                    <a:gd name="T51" fmla="*/ 2147483647 h 31"/>
                    <a:gd name="T52" fmla="*/ 2147483647 w 60"/>
                    <a:gd name="T53" fmla="*/ 2147483647 h 31"/>
                    <a:gd name="T54" fmla="*/ 2147483647 w 60"/>
                    <a:gd name="T55" fmla="*/ 2147483647 h 31"/>
                    <a:gd name="T56" fmla="*/ 2147483647 w 60"/>
                    <a:gd name="T57" fmla="*/ 2147483647 h 31"/>
                    <a:gd name="T58" fmla="*/ 2147483647 w 60"/>
                    <a:gd name="T59" fmla="*/ 2147483647 h 31"/>
                    <a:gd name="T60" fmla="*/ 2147483647 w 60"/>
                    <a:gd name="T61" fmla="*/ 2147483647 h 31"/>
                    <a:gd name="T62" fmla="*/ 2147483647 w 60"/>
                    <a:gd name="T63" fmla="*/ 2147483647 h 31"/>
                    <a:gd name="T64" fmla="*/ 2147483647 w 60"/>
                    <a:gd name="T65" fmla="*/ 2147483647 h 31"/>
                    <a:gd name="T66" fmla="*/ 2147483647 w 60"/>
                    <a:gd name="T67" fmla="*/ 2147483647 h 31"/>
                    <a:gd name="T68" fmla="*/ 2147483647 w 60"/>
                    <a:gd name="T69" fmla="*/ 2147483647 h 31"/>
                    <a:gd name="T70" fmla="*/ 2147483647 w 60"/>
                    <a:gd name="T71" fmla="*/ 2147483647 h 31"/>
                    <a:gd name="T72" fmla="*/ 2147483647 w 60"/>
                    <a:gd name="T73" fmla="*/ 2147483647 h 31"/>
                    <a:gd name="T74" fmla="*/ 2147483647 w 60"/>
                    <a:gd name="T75" fmla="*/ 2147483647 h 31"/>
                    <a:gd name="T76" fmla="*/ 2147483647 w 60"/>
                    <a:gd name="T77" fmla="*/ 2147483647 h 31"/>
                    <a:gd name="T78" fmla="*/ 2147483647 w 60"/>
                    <a:gd name="T79" fmla="*/ 2147483647 h 31"/>
                    <a:gd name="T80" fmla="*/ 2147483647 w 60"/>
                    <a:gd name="T81" fmla="*/ 2147483647 h 31"/>
                    <a:gd name="T82" fmla="*/ 2147483647 w 60"/>
                    <a:gd name="T83" fmla="*/ 2147483647 h 31"/>
                    <a:gd name="T84" fmla="*/ 2147483647 w 60"/>
                    <a:gd name="T85" fmla="*/ 0 h 31"/>
                    <a:gd name="T86" fmla="*/ 2147483647 w 60"/>
                    <a:gd name="T87" fmla="*/ 0 h 31"/>
                    <a:gd name="T88" fmla="*/ 2147483647 w 60"/>
                    <a:gd name="T89" fmla="*/ 2147483647 h 31"/>
                    <a:gd name="T90" fmla="*/ 2147483647 w 60"/>
                    <a:gd name="T91" fmla="*/ 2147483647 h 31"/>
                    <a:gd name="T92" fmla="*/ 2147483647 w 60"/>
                    <a:gd name="T93" fmla="*/ 2147483647 h 31"/>
                    <a:gd name="T94" fmla="*/ 2147483647 w 60"/>
                    <a:gd name="T95" fmla="*/ 2147483647 h 31"/>
                    <a:gd name="T96" fmla="*/ 2147483647 w 60"/>
                    <a:gd name="T97" fmla="*/ 2147483647 h 31"/>
                    <a:gd name="T98" fmla="*/ 2147483647 w 60"/>
                    <a:gd name="T99" fmla="*/ 2147483647 h 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
                    <a:gd name="T151" fmla="*/ 0 h 31"/>
                    <a:gd name="T152" fmla="*/ 60 w 60"/>
                    <a:gd name="T153" fmla="*/ 31 h 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 h="31">
                      <a:moveTo>
                        <a:pt x="31" y="6"/>
                      </a:moveTo>
                      <a:lnTo>
                        <a:pt x="30" y="6"/>
                      </a:lnTo>
                      <a:lnTo>
                        <a:pt x="27" y="4"/>
                      </a:lnTo>
                      <a:lnTo>
                        <a:pt x="23" y="3"/>
                      </a:lnTo>
                      <a:lnTo>
                        <a:pt x="19" y="2"/>
                      </a:lnTo>
                      <a:lnTo>
                        <a:pt x="17" y="2"/>
                      </a:lnTo>
                      <a:lnTo>
                        <a:pt x="12" y="4"/>
                      </a:lnTo>
                      <a:lnTo>
                        <a:pt x="8" y="6"/>
                      </a:lnTo>
                      <a:lnTo>
                        <a:pt x="3" y="6"/>
                      </a:lnTo>
                      <a:lnTo>
                        <a:pt x="0" y="6"/>
                      </a:lnTo>
                      <a:lnTo>
                        <a:pt x="0" y="9"/>
                      </a:lnTo>
                      <a:lnTo>
                        <a:pt x="0" y="11"/>
                      </a:lnTo>
                      <a:lnTo>
                        <a:pt x="2" y="11"/>
                      </a:lnTo>
                      <a:lnTo>
                        <a:pt x="5" y="12"/>
                      </a:lnTo>
                      <a:lnTo>
                        <a:pt x="9" y="15"/>
                      </a:lnTo>
                      <a:lnTo>
                        <a:pt x="14" y="20"/>
                      </a:lnTo>
                      <a:lnTo>
                        <a:pt x="17" y="20"/>
                      </a:lnTo>
                      <a:lnTo>
                        <a:pt x="18" y="20"/>
                      </a:lnTo>
                      <a:lnTo>
                        <a:pt x="21" y="23"/>
                      </a:lnTo>
                      <a:lnTo>
                        <a:pt x="22" y="24"/>
                      </a:lnTo>
                      <a:lnTo>
                        <a:pt x="23" y="25"/>
                      </a:lnTo>
                      <a:lnTo>
                        <a:pt x="26" y="25"/>
                      </a:lnTo>
                      <a:lnTo>
                        <a:pt x="30" y="24"/>
                      </a:lnTo>
                      <a:lnTo>
                        <a:pt x="32" y="22"/>
                      </a:lnTo>
                      <a:lnTo>
                        <a:pt x="33" y="22"/>
                      </a:lnTo>
                      <a:lnTo>
                        <a:pt x="36" y="23"/>
                      </a:lnTo>
                      <a:lnTo>
                        <a:pt x="41" y="26"/>
                      </a:lnTo>
                      <a:lnTo>
                        <a:pt x="46" y="29"/>
                      </a:lnTo>
                      <a:lnTo>
                        <a:pt x="51" y="31"/>
                      </a:lnTo>
                      <a:lnTo>
                        <a:pt x="55" y="30"/>
                      </a:lnTo>
                      <a:lnTo>
                        <a:pt x="57" y="29"/>
                      </a:lnTo>
                      <a:lnTo>
                        <a:pt x="60" y="31"/>
                      </a:lnTo>
                      <a:lnTo>
                        <a:pt x="60" y="29"/>
                      </a:lnTo>
                      <a:lnTo>
                        <a:pt x="60" y="26"/>
                      </a:lnTo>
                      <a:lnTo>
                        <a:pt x="55" y="22"/>
                      </a:lnTo>
                      <a:lnTo>
                        <a:pt x="55" y="19"/>
                      </a:lnTo>
                      <a:lnTo>
                        <a:pt x="54" y="18"/>
                      </a:lnTo>
                      <a:lnTo>
                        <a:pt x="55" y="13"/>
                      </a:lnTo>
                      <a:lnTo>
                        <a:pt x="57" y="10"/>
                      </a:lnTo>
                      <a:lnTo>
                        <a:pt x="56" y="6"/>
                      </a:lnTo>
                      <a:lnTo>
                        <a:pt x="55" y="3"/>
                      </a:lnTo>
                      <a:lnTo>
                        <a:pt x="54" y="2"/>
                      </a:lnTo>
                      <a:lnTo>
                        <a:pt x="51" y="0"/>
                      </a:lnTo>
                      <a:lnTo>
                        <a:pt x="50" y="0"/>
                      </a:lnTo>
                      <a:lnTo>
                        <a:pt x="46" y="3"/>
                      </a:lnTo>
                      <a:lnTo>
                        <a:pt x="42" y="3"/>
                      </a:lnTo>
                      <a:lnTo>
                        <a:pt x="40" y="3"/>
                      </a:lnTo>
                      <a:lnTo>
                        <a:pt x="36" y="4"/>
                      </a:lnTo>
                      <a:lnTo>
                        <a:pt x="33" y="5"/>
                      </a:lnTo>
                      <a:lnTo>
                        <a:pt x="3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8" name="Freeform 1198"/>
                <p:cNvSpPr>
                  <a:spLocks/>
                </p:cNvSpPr>
                <p:nvPr/>
              </p:nvSpPr>
              <p:spPr bwMode="auto">
                <a:xfrm>
                  <a:off x="4766187" y="3182887"/>
                  <a:ext cx="288576" cy="303372"/>
                </a:xfrm>
                <a:custGeom>
                  <a:avLst/>
                  <a:gdLst>
                    <a:gd name="T0" fmla="*/ 2147483647 w 212"/>
                    <a:gd name="T1" fmla="*/ 2147483647 h 205"/>
                    <a:gd name="T2" fmla="*/ 2147483647 w 212"/>
                    <a:gd name="T3" fmla="*/ 2147483647 h 205"/>
                    <a:gd name="T4" fmla="*/ 2147483647 w 212"/>
                    <a:gd name="T5" fmla="*/ 2147483647 h 205"/>
                    <a:gd name="T6" fmla="*/ 2147483647 w 212"/>
                    <a:gd name="T7" fmla="*/ 2147483647 h 205"/>
                    <a:gd name="T8" fmla="*/ 2147483647 w 212"/>
                    <a:gd name="T9" fmla="*/ 2147483647 h 205"/>
                    <a:gd name="T10" fmla="*/ 2147483647 w 212"/>
                    <a:gd name="T11" fmla="*/ 2147483647 h 205"/>
                    <a:gd name="T12" fmla="*/ 2147483647 w 212"/>
                    <a:gd name="T13" fmla="*/ 2147483647 h 205"/>
                    <a:gd name="T14" fmla="*/ 2147483647 w 212"/>
                    <a:gd name="T15" fmla="*/ 2147483647 h 205"/>
                    <a:gd name="T16" fmla="*/ 2147483647 w 212"/>
                    <a:gd name="T17" fmla="*/ 2147483647 h 205"/>
                    <a:gd name="T18" fmla="*/ 2147483647 w 212"/>
                    <a:gd name="T19" fmla="*/ 2147483647 h 205"/>
                    <a:gd name="T20" fmla="*/ 2147483647 w 212"/>
                    <a:gd name="T21" fmla="*/ 2147483647 h 205"/>
                    <a:gd name="T22" fmla="*/ 2147483647 w 212"/>
                    <a:gd name="T23" fmla="*/ 2147483647 h 205"/>
                    <a:gd name="T24" fmla="*/ 2147483647 w 212"/>
                    <a:gd name="T25" fmla="*/ 2147483647 h 205"/>
                    <a:gd name="T26" fmla="*/ 2147483647 w 212"/>
                    <a:gd name="T27" fmla="*/ 2147483647 h 205"/>
                    <a:gd name="T28" fmla="*/ 2147483647 w 212"/>
                    <a:gd name="T29" fmla="*/ 2147483647 h 205"/>
                    <a:gd name="T30" fmla="*/ 2147483647 w 212"/>
                    <a:gd name="T31" fmla="*/ 2147483647 h 205"/>
                    <a:gd name="T32" fmla="*/ 0 w 212"/>
                    <a:gd name="T33" fmla="*/ 2147483647 h 205"/>
                    <a:gd name="T34" fmla="*/ 2147483647 w 212"/>
                    <a:gd name="T35" fmla="*/ 2147483647 h 205"/>
                    <a:gd name="T36" fmla="*/ 2147483647 w 212"/>
                    <a:gd name="T37" fmla="*/ 2147483647 h 205"/>
                    <a:gd name="T38" fmla="*/ 2147483647 w 212"/>
                    <a:gd name="T39" fmla="*/ 2147483647 h 205"/>
                    <a:gd name="T40" fmla="*/ 2147483647 w 212"/>
                    <a:gd name="T41" fmla="*/ 2147483647 h 205"/>
                    <a:gd name="T42" fmla="*/ 2147483647 w 212"/>
                    <a:gd name="T43" fmla="*/ 2147483647 h 205"/>
                    <a:gd name="T44" fmla="*/ 2147483647 w 212"/>
                    <a:gd name="T45" fmla="*/ 2147483647 h 205"/>
                    <a:gd name="T46" fmla="*/ 2147483647 w 212"/>
                    <a:gd name="T47" fmla="*/ 2147483647 h 205"/>
                    <a:gd name="T48" fmla="*/ 2147483647 w 212"/>
                    <a:gd name="T49" fmla="*/ 2147483647 h 205"/>
                    <a:gd name="T50" fmla="*/ 2147483647 w 212"/>
                    <a:gd name="T51" fmla="*/ 2147483647 h 205"/>
                    <a:gd name="T52" fmla="*/ 2147483647 w 212"/>
                    <a:gd name="T53" fmla="*/ 2147483647 h 205"/>
                    <a:gd name="T54" fmla="*/ 2147483647 w 212"/>
                    <a:gd name="T55" fmla="*/ 2147483647 h 205"/>
                    <a:gd name="T56" fmla="*/ 2147483647 w 212"/>
                    <a:gd name="T57" fmla="*/ 2147483647 h 205"/>
                    <a:gd name="T58" fmla="*/ 2147483647 w 212"/>
                    <a:gd name="T59" fmla="*/ 2147483647 h 205"/>
                    <a:gd name="T60" fmla="*/ 2147483647 w 212"/>
                    <a:gd name="T61" fmla="*/ 2147483647 h 205"/>
                    <a:gd name="T62" fmla="*/ 2147483647 w 212"/>
                    <a:gd name="T63" fmla="*/ 2147483647 h 205"/>
                    <a:gd name="T64" fmla="*/ 2147483647 w 212"/>
                    <a:gd name="T65" fmla="*/ 2147483647 h 205"/>
                    <a:gd name="T66" fmla="*/ 2147483647 w 212"/>
                    <a:gd name="T67" fmla="*/ 2147483647 h 205"/>
                    <a:gd name="T68" fmla="*/ 2147483647 w 212"/>
                    <a:gd name="T69" fmla="*/ 2147483647 h 205"/>
                    <a:gd name="T70" fmla="*/ 2147483647 w 212"/>
                    <a:gd name="T71" fmla="*/ 2147483647 h 205"/>
                    <a:gd name="T72" fmla="*/ 2147483647 w 212"/>
                    <a:gd name="T73" fmla="*/ 2147483647 h 205"/>
                    <a:gd name="T74" fmla="*/ 2147483647 w 212"/>
                    <a:gd name="T75" fmla="*/ 2147483647 h 205"/>
                    <a:gd name="T76" fmla="*/ 2147483647 w 212"/>
                    <a:gd name="T77" fmla="*/ 2147483647 h 205"/>
                    <a:gd name="T78" fmla="*/ 2147483647 w 212"/>
                    <a:gd name="T79" fmla="*/ 2147483647 h 205"/>
                    <a:gd name="T80" fmla="*/ 2147483647 w 212"/>
                    <a:gd name="T81" fmla="*/ 2147483647 h 205"/>
                    <a:gd name="T82" fmla="*/ 2147483647 w 212"/>
                    <a:gd name="T83" fmla="*/ 2147483647 h 205"/>
                    <a:gd name="T84" fmla="*/ 2147483647 w 212"/>
                    <a:gd name="T85" fmla="*/ 2147483647 h 205"/>
                    <a:gd name="T86" fmla="*/ 2147483647 w 212"/>
                    <a:gd name="T87" fmla="*/ 2147483647 h 205"/>
                    <a:gd name="T88" fmla="*/ 2147483647 w 212"/>
                    <a:gd name="T89" fmla="*/ 2147483647 h 205"/>
                    <a:gd name="T90" fmla="*/ 2147483647 w 212"/>
                    <a:gd name="T91" fmla="*/ 2147483647 h 205"/>
                    <a:gd name="T92" fmla="*/ 2147483647 w 212"/>
                    <a:gd name="T93" fmla="*/ 2147483647 h 205"/>
                    <a:gd name="T94" fmla="*/ 2147483647 w 212"/>
                    <a:gd name="T95" fmla="*/ 2147483647 h 205"/>
                    <a:gd name="T96" fmla="*/ 2147483647 w 212"/>
                    <a:gd name="T97" fmla="*/ 2147483647 h 205"/>
                    <a:gd name="T98" fmla="*/ 2147483647 w 212"/>
                    <a:gd name="T99" fmla="*/ 2147483647 h 205"/>
                    <a:gd name="T100" fmla="*/ 2147483647 w 212"/>
                    <a:gd name="T101" fmla="*/ 2147483647 h 205"/>
                    <a:gd name="T102" fmla="*/ 2147483647 w 212"/>
                    <a:gd name="T103" fmla="*/ 2147483647 h 205"/>
                    <a:gd name="T104" fmla="*/ 2147483647 w 212"/>
                    <a:gd name="T105" fmla="*/ 2147483647 h 2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2"/>
                    <a:gd name="T160" fmla="*/ 0 h 205"/>
                    <a:gd name="T161" fmla="*/ 212 w 212"/>
                    <a:gd name="T162" fmla="*/ 205 h 2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2" h="205">
                      <a:moveTo>
                        <a:pt x="123" y="28"/>
                      </a:moveTo>
                      <a:lnTo>
                        <a:pt x="126" y="21"/>
                      </a:lnTo>
                      <a:lnTo>
                        <a:pt x="127" y="16"/>
                      </a:lnTo>
                      <a:lnTo>
                        <a:pt x="126" y="13"/>
                      </a:lnTo>
                      <a:lnTo>
                        <a:pt x="112" y="12"/>
                      </a:lnTo>
                      <a:lnTo>
                        <a:pt x="106" y="10"/>
                      </a:lnTo>
                      <a:lnTo>
                        <a:pt x="99" y="8"/>
                      </a:lnTo>
                      <a:lnTo>
                        <a:pt x="98" y="6"/>
                      </a:lnTo>
                      <a:lnTo>
                        <a:pt x="97" y="3"/>
                      </a:lnTo>
                      <a:lnTo>
                        <a:pt x="97" y="1"/>
                      </a:lnTo>
                      <a:lnTo>
                        <a:pt x="94" y="0"/>
                      </a:lnTo>
                      <a:lnTo>
                        <a:pt x="84" y="1"/>
                      </a:lnTo>
                      <a:lnTo>
                        <a:pt x="74" y="2"/>
                      </a:lnTo>
                      <a:lnTo>
                        <a:pt x="70" y="3"/>
                      </a:lnTo>
                      <a:lnTo>
                        <a:pt x="66" y="5"/>
                      </a:lnTo>
                      <a:lnTo>
                        <a:pt x="65" y="6"/>
                      </a:lnTo>
                      <a:lnTo>
                        <a:pt x="64" y="8"/>
                      </a:lnTo>
                      <a:lnTo>
                        <a:pt x="60" y="10"/>
                      </a:lnTo>
                      <a:lnTo>
                        <a:pt x="56" y="13"/>
                      </a:lnTo>
                      <a:lnTo>
                        <a:pt x="54" y="15"/>
                      </a:lnTo>
                      <a:lnTo>
                        <a:pt x="52" y="18"/>
                      </a:lnTo>
                      <a:lnTo>
                        <a:pt x="52" y="19"/>
                      </a:lnTo>
                      <a:lnTo>
                        <a:pt x="52" y="20"/>
                      </a:lnTo>
                      <a:lnTo>
                        <a:pt x="50" y="21"/>
                      </a:lnTo>
                      <a:lnTo>
                        <a:pt x="49" y="19"/>
                      </a:lnTo>
                      <a:lnTo>
                        <a:pt x="47" y="15"/>
                      </a:lnTo>
                      <a:lnTo>
                        <a:pt x="45" y="13"/>
                      </a:lnTo>
                      <a:lnTo>
                        <a:pt x="43" y="13"/>
                      </a:lnTo>
                      <a:lnTo>
                        <a:pt x="42" y="15"/>
                      </a:lnTo>
                      <a:lnTo>
                        <a:pt x="42" y="19"/>
                      </a:lnTo>
                      <a:lnTo>
                        <a:pt x="42" y="21"/>
                      </a:lnTo>
                      <a:lnTo>
                        <a:pt x="42" y="25"/>
                      </a:lnTo>
                      <a:lnTo>
                        <a:pt x="40" y="26"/>
                      </a:lnTo>
                      <a:lnTo>
                        <a:pt x="38" y="26"/>
                      </a:lnTo>
                      <a:lnTo>
                        <a:pt x="35" y="23"/>
                      </a:lnTo>
                      <a:lnTo>
                        <a:pt x="31" y="22"/>
                      </a:lnTo>
                      <a:lnTo>
                        <a:pt x="29" y="21"/>
                      </a:lnTo>
                      <a:lnTo>
                        <a:pt x="28" y="22"/>
                      </a:lnTo>
                      <a:lnTo>
                        <a:pt x="22" y="25"/>
                      </a:lnTo>
                      <a:lnTo>
                        <a:pt x="17" y="27"/>
                      </a:lnTo>
                      <a:lnTo>
                        <a:pt x="16" y="28"/>
                      </a:lnTo>
                      <a:lnTo>
                        <a:pt x="17" y="29"/>
                      </a:lnTo>
                      <a:lnTo>
                        <a:pt x="17" y="33"/>
                      </a:lnTo>
                      <a:lnTo>
                        <a:pt x="16" y="34"/>
                      </a:lnTo>
                      <a:lnTo>
                        <a:pt x="14" y="37"/>
                      </a:lnTo>
                      <a:lnTo>
                        <a:pt x="9" y="38"/>
                      </a:lnTo>
                      <a:lnTo>
                        <a:pt x="10" y="41"/>
                      </a:lnTo>
                      <a:lnTo>
                        <a:pt x="8" y="44"/>
                      </a:lnTo>
                      <a:lnTo>
                        <a:pt x="5" y="46"/>
                      </a:lnTo>
                      <a:lnTo>
                        <a:pt x="2" y="47"/>
                      </a:lnTo>
                      <a:lnTo>
                        <a:pt x="0" y="48"/>
                      </a:lnTo>
                      <a:lnTo>
                        <a:pt x="0" y="50"/>
                      </a:lnTo>
                      <a:lnTo>
                        <a:pt x="2" y="52"/>
                      </a:lnTo>
                      <a:lnTo>
                        <a:pt x="7" y="58"/>
                      </a:lnTo>
                      <a:lnTo>
                        <a:pt x="13" y="63"/>
                      </a:lnTo>
                      <a:lnTo>
                        <a:pt x="18" y="69"/>
                      </a:lnTo>
                      <a:lnTo>
                        <a:pt x="19" y="72"/>
                      </a:lnTo>
                      <a:lnTo>
                        <a:pt x="21" y="74"/>
                      </a:lnTo>
                      <a:lnTo>
                        <a:pt x="27" y="71"/>
                      </a:lnTo>
                      <a:lnTo>
                        <a:pt x="35" y="69"/>
                      </a:lnTo>
                      <a:lnTo>
                        <a:pt x="41" y="67"/>
                      </a:lnTo>
                      <a:lnTo>
                        <a:pt x="49" y="67"/>
                      </a:lnTo>
                      <a:lnTo>
                        <a:pt x="55" y="70"/>
                      </a:lnTo>
                      <a:lnTo>
                        <a:pt x="60" y="72"/>
                      </a:lnTo>
                      <a:lnTo>
                        <a:pt x="65" y="76"/>
                      </a:lnTo>
                      <a:lnTo>
                        <a:pt x="68" y="80"/>
                      </a:lnTo>
                      <a:lnTo>
                        <a:pt x="73" y="92"/>
                      </a:lnTo>
                      <a:lnTo>
                        <a:pt x="78" y="103"/>
                      </a:lnTo>
                      <a:lnTo>
                        <a:pt x="82" y="108"/>
                      </a:lnTo>
                      <a:lnTo>
                        <a:pt x="87" y="112"/>
                      </a:lnTo>
                      <a:lnTo>
                        <a:pt x="92" y="115"/>
                      </a:lnTo>
                      <a:lnTo>
                        <a:pt x="99" y="117"/>
                      </a:lnTo>
                      <a:lnTo>
                        <a:pt x="99" y="118"/>
                      </a:lnTo>
                      <a:lnTo>
                        <a:pt x="101" y="121"/>
                      </a:lnTo>
                      <a:lnTo>
                        <a:pt x="107" y="122"/>
                      </a:lnTo>
                      <a:lnTo>
                        <a:pt x="113" y="125"/>
                      </a:lnTo>
                      <a:lnTo>
                        <a:pt x="125" y="133"/>
                      </a:lnTo>
                      <a:lnTo>
                        <a:pt x="135" y="141"/>
                      </a:lnTo>
                      <a:lnTo>
                        <a:pt x="144" y="150"/>
                      </a:lnTo>
                      <a:lnTo>
                        <a:pt x="149" y="155"/>
                      </a:lnTo>
                      <a:lnTo>
                        <a:pt x="155" y="160"/>
                      </a:lnTo>
                      <a:lnTo>
                        <a:pt x="162" y="163"/>
                      </a:lnTo>
                      <a:lnTo>
                        <a:pt x="167" y="167"/>
                      </a:lnTo>
                      <a:lnTo>
                        <a:pt x="169" y="172"/>
                      </a:lnTo>
                      <a:lnTo>
                        <a:pt x="169" y="176"/>
                      </a:lnTo>
                      <a:lnTo>
                        <a:pt x="168" y="182"/>
                      </a:lnTo>
                      <a:lnTo>
                        <a:pt x="165" y="188"/>
                      </a:lnTo>
                      <a:lnTo>
                        <a:pt x="164" y="191"/>
                      </a:lnTo>
                      <a:lnTo>
                        <a:pt x="163" y="194"/>
                      </a:lnTo>
                      <a:lnTo>
                        <a:pt x="164" y="198"/>
                      </a:lnTo>
                      <a:lnTo>
                        <a:pt x="165" y="201"/>
                      </a:lnTo>
                      <a:lnTo>
                        <a:pt x="167" y="204"/>
                      </a:lnTo>
                      <a:lnTo>
                        <a:pt x="168" y="205"/>
                      </a:lnTo>
                      <a:lnTo>
                        <a:pt x="169" y="205"/>
                      </a:lnTo>
                      <a:lnTo>
                        <a:pt x="173" y="203"/>
                      </a:lnTo>
                      <a:lnTo>
                        <a:pt x="177" y="199"/>
                      </a:lnTo>
                      <a:lnTo>
                        <a:pt x="182" y="193"/>
                      </a:lnTo>
                      <a:lnTo>
                        <a:pt x="182" y="186"/>
                      </a:lnTo>
                      <a:lnTo>
                        <a:pt x="182" y="185"/>
                      </a:lnTo>
                      <a:lnTo>
                        <a:pt x="183" y="184"/>
                      </a:lnTo>
                      <a:lnTo>
                        <a:pt x="187" y="182"/>
                      </a:lnTo>
                      <a:lnTo>
                        <a:pt x="189" y="181"/>
                      </a:lnTo>
                      <a:lnTo>
                        <a:pt x="191" y="180"/>
                      </a:lnTo>
                      <a:lnTo>
                        <a:pt x="191" y="179"/>
                      </a:lnTo>
                      <a:lnTo>
                        <a:pt x="189" y="176"/>
                      </a:lnTo>
                      <a:lnTo>
                        <a:pt x="187" y="175"/>
                      </a:lnTo>
                      <a:lnTo>
                        <a:pt x="184" y="174"/>
                      </a:lnTo>
                      <a:lnTo>
                        <a:pt x="183" y="172"/>
                      </a:lnTo>
                      <a:lnTo>
                        <a:pt x="183" y="168"/>
                      </a:lnTo>
                      <a:lnTo>
                        <a:pt x="184" y="163"/>
                      </a:lnTo>
                      <a:lnTo>
                        <a:pt x="184" y="161"/>
                      </a:lnTo>
                      <a:lnTo>
                        <a:pt x="186" y="159"/>
                      </a:lnTo>
                      <a:lnTo>
                        <a:pt x="187" y="157"/>
                      </a:lnTo>
                      <a:lnTo>
                        <a:pt x="189" y="156"/>
                      </a:lnTo>
                      <a:lnTo>
                        <a:pt x="193" y="156"/>
                      </a:lnTo>
                      <a:lnTo>
                        <a:pt x="201" y="160"/>
                      </a:lnTo>
                      <a:lnTo>
                        <a:pt x="205" y="162"/>
                      </a:lnTo>
                      <a:lnTo>
                        <a:pt x="207" y="163"/>
                      </a:lnTo>
                      <a:lnTo>
                        <a:pt x="210" y="163"/>
                      </a:lnTo>
                      <a:lnTo>
                        <a:pt x="212" y="160"/>
                      </a:lnTo>
                      <a:lnTo>
                        <a:pt x="212" y="155"/>
                      </a:lnTo>
                      <a:lnTo>
                        <a:pt x="206" y="150"/>
                      </a:lnTo>
                      <a:lnTo>
                        <a:pt x="201" y="147"/>
                      </a:lnTo>
                      <a:lnTo>
                        <a:pt x="196" y="142"/>
                      </a:lnTo>
                      <a:lnTo>
                        <a:pt x="189" y="136"/>
                      </a:lnTo>
                      <a:lnTo>
                        <a:pt x="179" y="135"/>
                      </a:lnTo>
                      <a:lnTo>
                        <a:pt x="173" y="134"/>
                      </a:lnTo>
                      <a:lnTo>
                        <a:pt x="170" y="133"/>
                      </a:lnTo>
                      <a:lnTo>
                        <a:pt x="169" y="133"/>
                      </a:lnTo>
                      <a:lnTo>
                        <a:pt x="167" y="127"/>
                      </a:lnTo>
                      <a:lnTo>
                        <a:pt x="163" y="122"/>
                      </a:lnTo>
                      <a:lnTo>
                        <a:pt x="159" y="117"/>
                      </a:lnTo>
                      <a:lnTo>
                        <a:pt x="154" y="114"/>
                      </a:lnTo>
                      <a:lnTo>
                        <a:pt x="139" y="108"/>
                      </a:lnTo>
                      <a:lnTo>
                        <a:pt x="131" y="103"/>
                      </a:lnTo>
                      <a:lnTo>
                        <a:pt x="129" y="101"/>
                      </a:lnTo>
                      <a:lnTo>
                        <a:pt x="127" y="98"/>
                      </a:lnTo>
                      <a:lnTo>
                        <a:pt x="126" y="89"/>
                      </a:lnTo>
                      <a:lnTo>
                        <a:pt x="123" y="84"/>
                      </a:lnTo>
                      <a:lnTo>
                        <a:pt x="120" y="80"/>
                      </a:lnTo>
                      <a:lnTo>
                        <a:pt x="117" y="78"/>
                      </a:lnTo>
                      <a:lnTo>
                        <a:pt x="112" y="76"/>
                      </a:lnTo>
                      <a:lnTo>
                        <a:pt x="108" y="74"/>
                      </a:lnTo>
                      <a:lnTo>
                        <a:pt x="103" y="72"/>
                      </a:lnTo>
                      <a:lnTo>
                        <a:pt x="103" y="71"/>
                      </a:lnTo>
                      <a:lnTo>
                        <a:pt x="102" y="69"/>
                      </a:lnTo>
                      <a:lnTo>
                        <a:pt x="102" y="63"/>
                      </a:lnTo>
                      <a:lnTo>
                        <a:pt x="102" y="57"/>
                      </a:lnTo>
                      <a:lnTo>
                        <a:pt x="104" y="51"/>
                      </a:lnTo>
                      <a:lnTo>
                        <a:pt x="106" y="46"/>
                      </a:lnTo>
                      <a:lnTo>
                        <a:pt x="107" y="42"/>
                      </a:lnTo>
                      <a:lnTo>
                        <a:pt x="106" y="40"/>
                      </a:lnTo>
                      <a:lnTo>
                        <a:pt x="103" y="38"/>
                      </a:lnTo>
                      <a:lnTo>
                        <a:pt x="103" y="37"/>
                      </a:lnTo>
                      <a:lnTo>
                        <a:pt x="103" y="35"/>
                      </a:lnTo>
                      <a:lnTo>
                        <a:pt x="108" y="33"/>
                      </a:lnTo>
                      <a:lnTo>
                        <a:pt x="113" y="31"/>
                      </a:lnTo>
                      <a:lnTo>
                        <a:pt x="118" y="29"/>
                      </a:lnTo>
                      <a:lnTo>
                        <a:pt x="123"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999" name="Freeform 1199"/>
                <p:cNvSpPr>
                  <a:spLocks/>
                </p:cNvSpPr>
                <p:nvPr/>
              </p:nvSpPr>
              <p:spPr bwMode="auto">
                <a:xfrm>
                  <a:off x="4899377" y="3478860"/>
                  <a:ext cx="81393" cy="45876"/>
                </a:xfrm>
                <a:custGeom>
                  <a:avLst/>
                  <a:gdLst>
                    <a:gd name="T0" fmla="*/ 2147483647 w 60"/>
                    <a:gd name="T1" fmla="*/ 2147483647 h 31"/>
                    <a:gd name="T2" fmla="*/ 2147483647 w 60"/>
                    <a:gd name="T3" fmla="*/ 2147483647 h 31"/>
                    <a:gd name="T4" fmla="*/ 2147483647 w 60"/>
                    <a:gd name="T5" fmla="*/ 2147483647 h 31"/>
                    <a:gd name="T6" fmla="*/ 2147483647 w 60"/>
                    <a:gd name="T7" fmla="*/ 2147483647 h 31"/>
                    <a:gd name="T8" fmla="*/ 2147483647 w 60"/>
                    <a:gd name="T9" fmla="*/ 2147483647 h 31"/>
                    <a:gd name="T10" fmla="*/ 2147483647 w 60"/>
                    <a:gd name="T11" fmla="*/ 2147483647 h 31"/>
                    <a:gd name="T12" fmla="*/ 2147483647 w 60"/>
                    <a:gd name="T13" fmla="*/ 2147483647 h 31"/>
                    <a:gd name="T14" fmla="*/ 0 w 60"/>
                    <a:gd name="T15" fmla="*/ 2147483647 h 31"/>
                    <a:gd name="T16" fmla="*/ 0 w 60"/>
                    <a:gd name="T17" fmla="*/ 2147483647 h 31"/>
                    <a:gd name="T18" fmla="*/ 2147483647 w 60"/>
                    <a:gd name="T19" fmla="*/ 2147483647 h 31"/>
                    <a:gd name="T20" fmla="*/ 2147483647 w 60"/>
                    <a:gd name="T21" fmla="*/ 2147483647 h 31"/>
                    <a:gd name="T22" fmla="*/ 2147483647 w 60"/>
                    <a:gd name="T23" fmla="*/ 2147483647 h 31"/>
                    <a:gd name="T24" fmla="*/ 2147483647 w 60"/>
                    <a:gd name="T25" fmla="*/ 2147483647 h 31"/>
                    <a:gd name="T26" fmla="*/ 2147483647 w 60"/>
                    <a:gd name="T27" fmla="*/ 2147483647 h 31"/>
                    <a:gd name="T28" fmla="*/ 2147483647 w 60"/>
                    <a:gd name="T29" fmla="*/ 2147483647 h 31"/>
                    <a:gd name="T30" fmla="*/ 2147483647 w 60"/>
                    <a:gd name="T31" fmla="*/ 2147483647 h 31"/>
                    <a:gd name="T32" fmla="*/ 2147483647 w 60"/>
                    <a:gd name="T33" fmla="*/ 2147483647 h 31"/>
                    <a:gd name="T34" fmla="*/ 2147483647 w 60"/>
                    <a:gd name="T35" fmla="*/ 2147483647 h 31"/>
                    <a:gd name="T36" fmla="*/ 2147483647 w 60"/>
                    <a:gd name="T37" fmla="*/ 2147483647 h 31"/>
                    <a:gd name="T38" fmla="*/ 2147483647 w 60"/>
                    <a:gd name="T39" fmla="*/ 2147483647 h 31"/>
                    <a:gd name="T40" fmla="*/ 2147483647 w 60"/>
                    <a:gd name="T41" fmla="*/ 2147483647 h 31"/>
                    <a:gd name="T42" fmla="*/ 2147483647 w 60"/>
                    <a:gd name="T43" fmla="*/ 2147483647 h 31"/>
                    <a:gd name="T44" fmla="*/ 2147483647 w 60"/>
                    <a:gd name="T45" fmla="*/ 2147483647 h 31"/>
                    <a:gd name="T46" fmla="*/ 2147483647 w 60"/>
                    <a:gd name="T47" fmla="*/ 2147483647 h 31"/>
                    <a:gd name="T48" fmla="*/ 2147483647 w 60"/>
                    <a:gd name="T49" fmla="*/ 2147483647 h 31"/>
                    <a:gd name="T50" fmla="*/ 2147483647 w 60"/>
                    <a:gd name="T51" fmla="*/ 2147483647 h 31"/>
                    <a:gd name="T52" fmla="*/ 2147483647 w 60"/>
                    <a:gd name="T53" fmla="*/ 2147483647 h 31"/>
                    <a:gd name="T54" fmla="*/ 2147483647 w 60"/>
                    <a:gd name="T55" fmla="*/ 2147483647 h 31"/>
                    <a:gd name="T56" fmla="*/ 2147483647 w 60"/>
                    <a:gd name="T57" fmla="*/ 2147483647 h 31"/>
                    <a:gd name="T58" fmla="*/ 2147483647 w 60"/>
                    <a:gd name="T59" fmla="*/ 0 h 31"/>
                    <a:gd name="T60" fmla="*/ 2147483647 w 60"/>
                    <a:gd name="T61" fmla="*/ 2147483647 h 31"/>
                    <a:gd name="T62" fmla="*/ 2147483647 w 60"/>
                    <a:gd name="T63" fmla="*/ 2147483647 h 31"/>
                    <a:gd name="T64" fmla="*/ 2147483647 w 60"/>
                    <a:gd name="T65" fmla="*/ 2147483647 h 31"/>
                    <a:gd name="T66" fmla="*/ 2147483647 w 60"/>
                    <a:gd name="T67" fmla="*/ 2147483647 h 31"/>
                    <a:gd name="T68" fmla="*/ 2147483647 w 60"/>
                    <a:gd name="T69" fmla="*/ 2147483647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0"/>
                    <a:gd name="T106" fmla="*/ 0 h 31"/>
                    <a:gd name="T107" fmla="*/ 60 w 60"/>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0" h="31">
                      <a:moveTo>
                        <a:pt x="31" y="6"/>
                      </a:moveTo>
                      <a:lnTo>
                        <a:pt x="31" y="6"/>
                      </a:lnTo>
                      <a:lnTo>
                        <a:pt x="29" y="6"/>
                      </a:lnTo>
                      <a:lnTo>
                        <a:pt x="27" y="4"/>
                      </a:lnTo>
                      <a:lnTo>
                        <a:pt x="23" y="3"/>
                      </a:lnTo>
                      <a:lnTo>
                        <a:pt x="19" y="1"/>
                      </a:lnTo>
                      <a:lnTo>
                        <a:pt x="17" y="1"/>
                      </a:lnTo>
                      <a:lnTo>
                        <a:pt x="11" y="4"/>
                      </a:lnTo>
                      <a:lnTo>
                        <a:pt x="8" y="6"/>
                      </a:lnTo>
                      <a:lnTo>
                        <a:pt x="3" y="6"/>
                      </a:lnTo>
                      <a:lnTo>
                        <a:pt x="0" y="6"/>
                      </a:lnTo>
                      <a:lnTo>
                        <a:pt x="0" y="8"/>
                      </a:lnTo>
                      <a:lnTo>
                        <a:pt x="0" y="11"/>
                      </a:lnTo>
                      <a:lnTo>
                        <a:pt x="1" y="11"/>
                      </a:lnTo>
                      <a:lnTo>
                        <a:pt x="5" y="12"/>
                      </a:lnTo>
                      <a:lnTo>
                        <a:pt x="9" y="14"/>
                      </a:lnTo>
                      <a:lnTo>
                        <a:pt x="14" y="20"/>
                      </a:lnTo>
                      <a:lnTo>
                        <a:pt x="17" y="20"/>
                      </a:lnTo>
                      <a:lnTo>
                        <a:pt x="18" y="20"/>
                      </a:lnTo>
                      <a:lnTo>
                        <a:pt x="20" y="23"/>
                      </a:lnTo>
                      <a:lnTo>
                        <a:pt x="22" y="24"/>
                      </a:lnTo>
                      <a:lnTo>
                        <a:pt x="23" y="25"/>
                      </a:lnTo>
                      <a:lnTo>
                        <a:pt x="25" y="25"/>
                      </a:lnTo>
                      <a:lnTo>
                        <a:pt x="29" y="24"/>
                      </a:lnTo>
                      <a:lnTo>
                        <a:pt x="32" y="21"/>
                      </a:lnTo>
                      <a:lnTo>
                        <a:pt x="33" y="21"/>
                      </a:lnTo>
                      <a:lnTo>
                        <a:pt x="36" y="23"/>
                      </a:lnTo>
                      <a:lnTo>
                        <a:pt x="41" y="26"/>
                      </a:lnTo>
                      <a:lnTo>
                        <a:pt x="46" y="29"/>
                      </a:lnTo>
                      <a:lnTo>
                        <a:pt x="51" y="31"/>
                      </a:lnTo>
                      <a:lnTo>
                        <a:pt x="55" y="30"/>
                      </a:lnTo>
                      <a:lnTo>
                        <a:pt x="57" y="29"/>
                      </a:lnTo>
                      <a:lnTo>
                        <a:pt x="60" y="31"/>
                      </a:lnTo>
                      <a:lnTo>
                        <a:pt x="60" y="29"/>
                      </a:lnTo>
                      <a:lnTo>
                        <a:pt x="60" y="26"/>
                      </a:lnTo>
                      <a:lnTo>
                        <a:pt x="55" y="21"/>
                      </a:lnTo>
                      <a:lnTo>
                        <a:pt x="55" y="19"/>
                      </a:lnTo>
                      <a:lnTo>
                        <a:pt x="53" y="18"/>
                      </a:lnTo>
                      <a:lnTo>
                        <a:pt x="55" y="13"/>
                      </a:lnTo>
                      <a:lnTo>
                        <a:pt x="57" y="10"/>
                      </a:lnTo>
                      <a:lnTo>
                        <a:pt x="56" y="6"/>
                      </a:lnTo>
                      <a:lnTo>
                        <a:pt x="55" y="3"/>
                      </a:lnTo>
                      <a:lnTo>
                        <a:pt x="53" y="1"/>
                      </a:lnTo>
                      <a:lnTo>
                        <a:pt x="51" y="0"/>
                      </a:lnTo>
                      <a:lnTo>
                        <a:pt x="50" y="0"/>
                      </a:lnTo>
                      <a:lnTo>
                        <a:pt x="46" y="3"/>
                      </a:lnTo>
                      <a:lnTo>
                        <a:pt x="42" y="3"/>
                      </a:lnTo>
                      <a:lnTo>
                        <a:pt x="39" y="3"/>
                      </a:lnTo>
                      <a:lnTo>
                        <a:pt x="36" y="4"/>
                      </a:lnTo>
                      <a:lnTo>
                        <a:pt x="33" y="5"/>
                      </a:lnTo>
                      <a:lnTo>
                        <a:pt x="3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0" name="Freeform 1201"/>
                <p:cNvSpPr>
                  <a:spLocks/>
                </p:cNvSpPr>
                <p:nvPr/>
              </p:nvSpPr>
              <p:spPr bwMode="auto">
                <a:xfrm>
                  <a:off x="4767667" y="3150329"/>
                  <a:ext cx="87312" cy="88792"/>
                </a:xfrm>
                <a:custGeom>
                  <a:avLst/>
                  <a:gdLst>
                    <a:gd name="T0" fmla="*/ 2147483647 w 64"/>
                    <a:gd name="T1" fmla="*/ 2147483647 h 60"/>
                    <a:gd name="T2" fmla="*/ 2147483647 w 64"/>
                    <a:gd name="T3" fmla="*/ 2147483647 h 60"/>
                    <a:gd name="T4" fmla="*/ 2147483647 w 64"/>
                    <a:gd name="T5" fmla="*/ 2147483647 h 60"/>
                    <a:gd name="T6" fmla="*/ 2147483647 w 64"/>
                    <a:gd name="T7" fmla="*/ 2147483647 h 60"/>
                    <a:gd name="T8" fmla="*/ 2147483647 w 64"/>
                    <a:gd name="T9" fmla="*/ 2147483647 h 60"/>
                    <a:gd name="T10" fmla="*/ 2147483647 w 64"/>
                    <a:gd name="T11" fmla="*/ 2147483647 h 60"/>
                    <a:gd name="T12" fmla="*/ 2147483647 w 64"/>
                    <a:gd name="T13" fmla="*/ 2147483647 h 60"/>
                    <a:gd name="T14" fmla="*/ 2147483647 w 64"/>
                    <a:gd name="T15" fmla="*/ 2147483647 h 60"/>
                    <a:gd name="T16" fmla="*/ 2147483647 w 64"/>
                    <a:gd name="T17" fmla="*/ 2147483647 h 60"/>
                    <a:gd name="T18" fmla="*/ 2147483647 w 64"/>
                    <a:gd name="T19" fmla="*/ 2147483647 h 60"/>
                    <a:gd name="T20" fmla="*/ 2147483647 w 64"/>
                    <a:gd name="T21" fmla="*/ 2147483647 h 60"/>
                    <a:gd name="T22" fmla="*/ 2147483647 w 64"/>
                    <a:gd name="T23" fmla="*/ 2147483647 h 60"/>
                    <a:gd name="T24" fmla="*/ 2147483647 w 64"/>
                    <a:gd name="T25" fmla="*/ 2147483647 h 60"/>
                    <a:gd name="T26" fmla="*/ 2147483647 w 64"/>
                    <a:gd name="T27" fmla="*/ 2147483647 h 60"/>
                    <a:gd name="T28" fmla="*/ 2147483647 w 64"/>
                    <a:gd name="T29" fmla="*/ 2147483647 h 60"/>
                    <a:gd name="T30" fmla="*/ 2147483647 w 64"/>
                    <a:gd name="T31" fmla="*/ 2147483647 h 60"/>
                    <a:gd name="T32" fmla="*/ 2147483647 w 64"/>
                    <a:gd name="T33" fmla="*/ 2147483647 h 60"/>
                    <a:gd name="T34" fmla="*/ 2147483647 w 64"/>
                    <a:gd name="T35" fmla="*/ 2147483647 h 60"/>
                    <a:gd name="T36" fmla="*/ 2147483647 w 64"/>
                    <a:gd name="T37" fmla="*/ 2147483647 h 60"/>
                    <a:gd name="T38" fmla="*/ 2147483647 w 64"/>
                    <a:gd name="T39" fmla="*/ 2147483647 h 60"/>
                    <a:gd name="T40" fmla="*/ 2147483647 w 64"/>
                    <a:gd name="T41" fmla="*/ 0 h 60"/>
                    <a:gd name="T42" fmla="*/ 2147483647 w 64"/>
                    <a:gd name="T43" fmla="*/ 2147483647 h 60"/>
                    <a:gd name="T44" fmla="*/ 2147483647 w 64"/>
                    <a:gd name="T45" fmla="*/ 2147483647 h 60"/>
                    <a:gd name="T46" fmla="*/ 2147483647 w 64"/>
                    <a:gd name="T47" fmla="*/ 2147483647 h 60"/>
                    <a:gd name="T48" fmla="*/ 2147483647 w 64"/>
                    <a:gd name="T49" fmla="*/ 2147483647 h 60"/>
                    <a:gd name="T50" fmla="*/ 0 w 64"/>
                    <a:gd name="T51" fmla="*/ 2147483647 h 60"/>
                    <a:gd name="T52" fmla="*/ 2147483647 w 64"/>
                    <a:gd name="T53" fmla="*/ 2147483647 h 60"/>
                    <a:gd name="T54" fmla="*/ 2147483647 w 64"/>
                    <a:gd name="T55" fmla="*/ 2147483647 h 60"/>
                    <a:gd name="T56" fmla="*/ 2147483647 w 64"/>
                    <a:gd name="T57" fmla="*/ 2147483647 h 60"/>
                    <a:gd name="T58" fmla="*/ 2147483647 w 64"/>
                    <a:gd name="T59" fmla="*/ 2147483647 h 60"/>
                    <a:gd name="T60" fmla="*/ 2147483647 w 64"/>
                    <a:gd name="T61" fmla="*/ 2147483647 h 60"/>
                    <a:gd name="T62" fmla="*/ 2147483647 w 64"/>
                    <a:gd name="T63" fmla="*/ 2147483647 h 60"/>
                    <a:gd name="T64" fmla="*/ 2147483647 w 64"/>
                    <a:gd name="T65" fmla="*/ 2147483647 h 60"/>
                    <a:gd name="T66" fmla="*/ 2147483647 w 64"/>
                    <a:gd name="T67" fmla="*/ 2147483647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4"/>
                    <a:gd name="T103" fmla="*/ 0 h 60"/>
                    <a:gd name="T104" fmla="*/ 64 w 64"/>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4" h="60">
                      <a:moveTo>
                        <a:pt x="7" y="60"/>
                      </a:moveTo>
                      <a:lnTo>
                        <a:pt x="12" y="59"/>
                      </a:lnTo>
                      <a:lnTo>
                        <a:pt x="14" y="56"/>
                      </a:lnTo>
                      <a:lnTo>
                        <a:pt x="15" y="55"/>
                      </a:lnTo>
                      <a:lnTo>
                        <a:pt x="15" y="51"/>
                      </a:lnTo>
                      <a:lnTo>
                        <a:pt x="14" y="50"/>
                      </a:lnTo>
                      <a:lnTo>
                        <a:pt x="15" y="49"/>
                      </a:lnTo>
                      <a:lnTo>
                        <a:pt x="20" y="47"/>
                      </a:lnTo>
                      <a:lnTo>
                        <a:pt x="26" y="44"/>
                      </a:lnTo>
                      <a:lnTo>
                        <a:pt x="27" y="43"/>
                      </a:lnTo>
                      <a:lnTo>
                        <a:pt x="29" y="44"/>
                      </a:lnTo>
                      <a:lnTo>
                        <a:pt x="33" y="45"/>
                      </a:lnTo>
                      <a:lnTo>
                        <a:pt x="36" y="48"/>
                      </a:lnTo>
                      <a:lnTo>
                        <a:pt x="38" y="48"/>
                      </a:lnTo>
                      <a:lnTo>
                        <a:pt x="40" y="47"/>
                      </a:lnTo>
                      <a:lnTo>
                        <a:pt x="40" y="43"/>
                      </a:lnTo>
                      <a:lnTo>
                        <a:pt x="40" y="41"/>
                      </a:lnTo>
                      <a:lnTo>
                        <a:pt x="40" y="37"/>
                      </a:lnTo>
                      <a:lnTo>
                        <a:pt x="41" y="35"/>
                      </a:lnTo>
                      <a:lnTo>
                        <a:pt x="43" y="35"/>
                      </a:lnTo>
                      <a:lnTo>
                        <a:pt x="45" y="37"/>
                      </a:lnTo>
                      <a:lnTo>
                        <a:pt x="47" y="41"/>
                      </a:lnTo>
                      <a:lnTo>
                        <a:pt x="48" y="43"/>
                      </a:lnTo>
                      <a:lnTo>
                        <a:pt x="50" y="42"/>
                      </a:lnTo>
                      <a:lnTo>
                        <a:pt x="50" y="41"/>
                      </a:lnTo>
                      <a:lnTo>
                        <a:pt x="50" y="40"/>
                      </a:lnTo>
                      <a:lnTo>
                        <a:pt x="52" y="37"/>
                      </a:lnTo>
                      <a:lnTo>
                        <a:pt x="54" y="35"/>
                      </a:lnTo>
                      <a:lnTo>
                        <a:pt x="58" y="32"/>
                      </a:lnTo>
                      <a:lnTo>
                        <a:pt x="62" y="30"/>
                      </a:lnTo>
                      <a:lnTo>
                        <a:pt x="63" y="28"/>
                      </a:lnTo>
                      <a:lnTo>
                        <a:pt x="64" y="27"/>
                      </a:lnTo>
                      <a:lnTo>
                        <a:pt x="57" y="25"/>
                      </a:lnTo>
                      <a:lnTo>
                        <a:pt x="54" y="23"/>
                      </a:lnTo>
                      <a:lnTo>
                        <a:pt x="53" y="21"/>
                      </a:lnTo>
                      <a:lnTo>
                        <a:pt x="53" y="15"/>
                      </a:lnTo>
                      <a:lnTo>
                        <a:pt x="53" y="13"/>
                      </a:lnTo>
                      <a:lnTo>
                        <a:pt x="52" y="11"/>
                      </a:lnTo>
                      <a:lnTo>
                        <a:pt x="47" y="6"/>
                      </a:lnTo>
                      <a:lnTo>
                        <a:pt x="40" y="4"/>
                      </a:lnTo>
                      <a:lnTo>
                        <a:pt x="33" y="2"/>
                      </a:lnTo>
                      <a:lnTo>
                        <a:pt x="25" y="0"/>
                      </a:lnTo>
                      <a:lnTo>
                        <a:pt x="22" y="2"/>
                      </a:lnTo>
                      <a:lnTo>
                        <a:pt x="20" y="3"/>
                      </a:lnTo>
                      <a:lnTo>
                        <a:pt x="17" y="3"/>
                      </a:lnTo>
                      <a:lnTo>
                        <a:pt x="14" y="8"/>
                      </a:lnTo>
                      <a:lnTo>
                        <a:pt x="11" y="12"/>
                      </a:lnTo>
                      <a:lnTo>
                        <a:pt x="8" y="17"/>
                      </a:lnTo>
                      <a:lnTo>
                        <a:pt x="7" y="21"/>
                      </a:lnTo>
                      <a:lnTo>
                        <a:pt x="5" y="23"/>
                      </a:lnTo>
                      <a:lnTo>
                        <a:pt x="0" y="30"/>
                      </a:lnTo>
                      <a:lnTo>
                        <a:pt x="0" y="34"/>
                      </a:lnTo>
                      <a:lnTo>
                        <a:pt x="1" y="35"/>
                      </a:lnTo>
                      <a:lnTo>
                        <a:pt x="5" y="36"/>
                      </a:lnTo>
                      <a:lnTo>
                        <a:pt x="6" y="36"/>
                      </a:lnTo>
                      <a:lnTo>
                        <a:pt x="6" y="37"/>
                      </a:lnTo>
                      <a:lnTo>
                        <a:pt x="5" y="40"/>
                      </a:lnTo>
                      <a:lnTo>
                        <a:pt x="2" y="41"/>
                      </a:lnTo>
                      <a:lnTo>
                        <a:pt x="2" y="42"/>
                      </a:lnTo>
                      <a:lnTo>
                        <a:pt x="2" y="43"/>
                      </a:lnTo>
                      <a:lnTo>
                        <a:pt x="3" y="45"/>
                      </a:lnTo>
                      <a:lnTo>
                        <a:pt x="5" y="47"/>
                      </a:lnTo>
                      <a:lnTo>
                        <a:pt x="3" y="50"/>
                      </a:lnTo>
                      <a:lnTo>
                        <a:pt x="2" y="54"/>
                      </a:lnTo>
                      <a:lnTo>
                        <a:pt x="1" y="56"/>
                      </a:lnTo>
                      <a:lnTo>
                        <a:pt x="2" y="59"/>
                      </a:lnTo>
                      <a:lnTo>
                        <a:pt x="3" y="60"/>
                      </a:lnTo>
                      <a:lnTo>
                        <a:pt x="7" y="6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1" name="Freeform 1202"/>
                <p:cNvSpPr>
                  <a:spLocks/>
                </p:cNvSpPr>
                <p:nvPr/>
              </p:nvSpPr>
              <p:spPr bwMode="auto">
                <a:xfrm>
                  <a:off x="4838703" y="3116294"/>
                  <a:ext cx="184984" cy="85833"/>
                </a:xfrm>
                <a:custGeom>
                  <a:avLst/>
                  <a:gdLst>
                    <a:gd name="T0" fmla="*/ 2147483647 w 135"/>
                    <a:gd name="T1" fmla="*/ 2147483647 h 58"/>
                    <a:gd name="T2" fmla="*/ 2147483647 w 135"/>
                    <a:gd name="T3" fmla="*/ 2147483647 h 58"/>
                    <a:gd name="T4" fmla="*/ 2147483647 w 135"/>
                    <a:gd name="T5" fmla="*/ 2147483647 h 58"/>
                    <a:gd name="T6" fmla="*/ 2147483647 w 135"/>
                    <a:gd name="T7" fmla="*/ 2147483647 h 58"/>
                    <a:gd name="T8" fmla="*/ 2147483647 w 135"/>
                    <a:gd name="T9" fmla="*/ 2147483647 h 58"/>
                    <a:gd name="T10" fmla="*/ 2147483647 w 135"/>
                    <a:gd name="T11" fmla="*/ 2147483647 h 58"/>
                    <a:gd name="T12" fmla="*/ 2147483647 w 135"/>
                    <a:gd name="T13" fmla="*/ 2147483647 h 58"/>
                    <a:gd name="T14" fmla="*/ 2147483647 w 135"/>
                    <a:gd name="T15" fmla="*/ 2147483647 h 58"/>
                    <a:gd name="T16" fmla="*/ 2147483647 w 135"/>
                    <a:gd name="T17" fmla="*/ 2147483647 h 58"/>
                    <a:gd name="T18" fmla="*/ 2147483647 w 135"/>
                    <a:gd name="T19" fmla="*/ 2147483647 h 58"/>
                    <a:gd name="T20" fmla="*/ 2147483647 w 135"/>
                    <a:gd name="T21" fmla="*/ 2147483647 h 58"/>
                    <a:gd name="T22" fmla="*/ 2147483647 w 135"/>
                    <a:gd name="T23" fmla="*/ 2147483647 h 58"/>
                    <a:gd name="T24" fmla="*/ 2147483647 w 135"/>
                    <a:gd name="T25" fmla="*/ 2147483647 h 58"/>
                    <a:gd name="T26" fmla="*/ 2147483647 w 135"/>
                    <a:gd name="T27" fmla="*/ 2147483647 h 58"/>
                    <a:gd name="T28" fmla="*/ 2147483647 w 135"/>
                    <a:gd name="T29" fmla="*/ 2147483647 h 58"/>
                    <a:gd name="T30" fmla="*/ 2147483647 w 135"/>
                    <a:gd name="T31" fmla="*/ 2147483647 h 58"/>
                    <a:gd name="T32" fmla="*/ 2147483647 w 135"/>
                    <a:gd name="T33" fmla="*/ 2147483647 h 58"/>
                    <a:gd name="T34" fmla="*/ 2147483647 w 135"/>
                    <a:gd name="T35" fmla="*/ 2147483647 h 58"/>
                    <a:gd name="T36" fmla="*/ 2147483647 w 135"/>
                    <a:gd name="T37" fmla="*/ 2147483647 h 58"/>
                    <a:gd name="T38" fmla="*/ 2147483647 w 135"/>
                    <a:gd name="T39" fmla="*/ 2147483647 h 58"/>
                    <a:gd name="T40" fmla="*/ 2147483647 w 135"/>
                    <a:gd name="T41" fmla="*/ 2147483647 h 58"/>
                    <a:gd name="T42" fmla="*/ 2147483647 w 135"/>
                    <a:gd name="T43" fmla="*/ 2147483647 h 58"/>
                    <a:gd name="T44" fmla="*/ 2147483647 w 135"/>
                    <a:gd name="T45" fmla="*/ 2147483647 h 58"/>
                    <a:gd name="T46" fmla="*/ 2147483647 w 135"/>
                    <a:gd name="T47" fmla="*/ 2147483647 h 58"/>
                    <a:gd name="T48" fmla="*/ 2147483647 w 135"/>
                    <a:gd name="T49" fmla="*/ 2147483647 h 58"/>
                    <a:gd name="T50" fmla="*/ 2147483647 w 135"/>
                    <a:gd name="T51" fmla="*/ 2147483647 h 58"/>
                    <a:gd name="T52" fmla="*/ 0 w 135"/>
                    <a:gd name="T53" fmla="*/ 2147483647 h 58"/>
                    <a:gd name="T54" fmla="*/ 2147483647 w 135"/>
                    <a:gd name="T55" fmla="*/ 2147483647 h 58"/>
                    <a:gd name="T56" fmla="*/ 2147483647 w 135"/>
                    <a:gd name="T57" fmla="*/ 2147483647 h 58"/>
                    <a:gd name="T58" fmla="*/ 2147483647 w 135"/>
                    <a:gd name="T59" fmla="*/ 2147483647 h 58"/>
                    <a:gd name="T60" fmla="*/ 2147483647 w 135"/>
                    <a:gd name="T61" fmla="*/ 2147483647 h 58"/>
                    <a:gd name="T62" fmla="*/ 2147483647 w 135"/>
                    <a:gd name="T63" fmla="*/ 2147483647 h 58"/>
                    <a:gd name="T64" fmla="*/ 2147483647 w 135"/>
                    <a:gd name="T65" fmla="*/ 2147483647 h 58"/>
                    <a:gd name="T66" fmla="*/ 2147483647 w 135"/>
                    <a:gd name="T67" fmla="*/ 2147483647 h 58"/>
                    <a:gd name="T68" fmla="*/ 2147483647 w 135"/>
                    <a:gd name="T69" fmla="*/ 2147483647 h 58"/>
                    <a:gd name="T70" fmla="*/ 2147483647 w 135"/>
                    <a:gd name="T71" fmla="*/ 2147483647 h 58"/>
                    <a:gd name="T72" fmla="*/ 2147483647 w 135"/>
                    <a:gd name="T73" fmla="*/ 2147483647 h 58"/>
                    <a:gd name="T74" fmla="*/ 2147483647 w 135"/>
                    <a:gd name="T75" fmla="*/ 2147483647 h 58"/>
                    <a:gd name="T76" fmla="*/ 2147483647 w 135"/>
                    <a:gd name="T77" fmla="*/ 2147483647 h 58"/>
                    <a:gd name="T78" fmla="*/ 2147483647 w 135"/>
                    <a:gd name="T79" fmla="*/ 2147483647 h 58"/>
                    <a:gd name="T80" fmla="*/ 2147483647 w 135"/>
                    <a:gd name="T81" fmla="*/ 2147483647 h 58"/>
                    <a:gd name="T82" fmla="*/ 2147483647 w 135"/>
                    <a:gd name="T83" fmla="*/ 2147483647 h 58"/>
                    <a:gd name="T84" fmla="*/ 2147483647 w 135"/>
                    <a:gd name="T85" fmla="*/ 2147483647 h 58"/>
                    <a:gd name="T86" fmla="*/ 2147483647 w 135"/>
                    <a:gd name="T87" fmla="*/ 2147483647 h 58"/>
                    <a:gd name="T88" fmla="*/ 2147483647 w 135"/>
                    <a:gd name="T89" fmla="*/ 2147483647 h 58"/>
                    <a:gd name="T90" fmla="*/ 2147483647 w 135"/>
                    <a:gd name="T91" fmla="*/ 2147483647 h 58"/>
                    <a:gd name="T92" fmla="*/ 2147483647 w 135"/>
                    <a:gd name="T93" fmla="*/ 2147483647 h 58"/>
                    <a:gd name="T94" fmla="*/ 2147483647 w 135"/>
                    <a:gd name="T95" fmla="*/ 0 h 58"/>
                    <a:gd name="T96" fmla="*/ 2147483647 w 135"/>
                    <a:gd name="T97" fmla="*/ 2147483647 h 58"/>
                    <a:gd name="T98" fmla="*/ 2147483647 w 135"/>
                    <a:gd name="T99" fmla="*/ 2147483647 h 58"/>
                    <a:gd name="T100" fmla="*/ 2147483647 w 135"/>
                    <a:gd name="T101" fmla="*/ 2147483647 h 58"/>
                    <a:gd name="T102" fmla="*/ 2147483647 w 135"/>
                    <a:gd name="T103" fmla="*/ 2147483647 h 58"/>
                    <a:gd name="T104" fmla="*/ 2147483647 w 135"/>
                    <a:gd name="T105" fmla="*/ 2147483647 h 58"/>
                    <a:gd name="T106" fmla="*/ 2147483647 w 135"/>
                    <a:gd name="T107" fmla="*/ 2147483647 h 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5"/>
                    <a:gd name="T163" fmla="*/ 0 h 58"/>
                    <a:gd name="T164" fmla="*/ 135 w 135"/>
                    <a:gd name="T165" fmla="*/ 58 h 5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5" h="58">
                      <a:moveTo>
                        <a:pt x="135" y="14"/>
                      </a:moveTo>
                      <a:lnTo>
                        <a:pt x="134" y="23"/>
                      </a:lnTo>
                      <a:lnTo>
                        <a:pt x="133" y="34"/>
                      </a:lnTo>
                      <a:lnTo>
                        <a:pt x="130" y="39"/>
                      </a:lnTo>
                      <a:lnTo>
                        <a:pt x="127" y="44"/>
                      </a:lnTo>
                      <a:lnTo>
                        <a:pt x="122" y="47"/>
                      </a:lnTo>
                      <a:lnTo>
                        <a:pt x="116" y="51"/>
                      </a:lnTo>
                      <a:lnTo>
                        <a:pt x="110" y="54"/>
                      </a:lnTo>
                      <a:lnTo>
                        <a:pt x="91" y="57"/>
                      </a:lnTo>
                      <a:lnTo>
                        <a:pt x="72" y="58"/>
                      </a:lnTo>
                      <a:lnTo>
                        <a:pt x="58" y="57"/>
                      </a:lnTo>
                      <a:lnTo>
                        <a:pt x="52" y="55"/>
                      </a:lnTo>
                      <a:lnTo>
                        <a:pt x="45" y="53"/>
                      </a:lnTo>
                      <a:lnTo>
                        <a:pt x="44" y="51"/>
                      </a:lnTo>
                      <a:lnTo>
                        <a:pt x="43" y="48"/>
                      </a:lnTo>
                      <a:lnTo>
                        <a:pt x="43" y="46"/>
                      </a:lnTo>
                      <a:lnTo>
                        <a:pt x="40" y="45"/>
                      </a:lnTo>
                      <a:lnTo>
                        <a:pt x="30" y="46"/>
                      </a:lnTo>
                      <a:lnTo>
                        <a:pt x="20" y="47"/>
                      </a:lnTo>
                      <a:lnTo>
                        <a:pt x="16" y="48"/>
                      </a:lnTo>
                      <a:lnTo>
                        <a:pt x="12" y="50"/>
                      </a:lnTo>
                      <a:lnTo>
                        <a:pt x="5" y="48"/>
                      </a:lnTo>
                      <a:lnTo>
                        <a:pt x="2" y="46"/>
                      </a:lnTo>
                      <a:lnTo>
                        <a:pt x="1" y="44"/>
                      </a:lnTo>
                      <a:lnTo>
                        <a:pt x="1" y="38"/>
                      </a:lnTo>
                      <a:lnTo>
                        <a:pt x="1" y="36"/>
                      </a:lnTo>
                      <a:lnTo>
                        <a:pt x="0" y="34"/>
                      </a:lnTo>
                      <a:lnTo>
                        <a:pt x="10" y="34"/>
                      </a:lnTo>
                      <a:lnTo>
                        <a:pt x="19" y="33"/>
                      </a:lnTo>
                      <a:lnTo>
                        <a:pt x="29" y="29"/>
                      </a:lnTo>
                      <a:lnTo>
                        <a:pt x="38" y="25"/>
                      </a:lnTo>
                      <a:lnTo>
                        <a:pt x="39" y="25"/>
                      </a:lnTo>
                      <a:lnTo>
                        <a:pt x="40" y="25"/>
                      </a:lnTo>
                      <a:lnTo>
                        <a:pt x="44" y="26"/>
                      </a:lnTo>
                      <a:lnTo>
                        <a:pt x="52" y="31"/>
                      </a:lnTo>
                      <a:lnTo>
                        <a:pt x="53" y="31"/>
                      </a:lnTo>
                      <a:lnTo>
                        <a:pt x="54" y="31"/>
                      </a:lnTo>
                      <a:lnTo>
                        <a:pt x="55" y="29"/>
                      </a:lnTo>
                      <a:lnTo>
                        <a:pt x="55" y="23"/>
                      </a:lnTo>
                      <a:lnTo>
                        <a:pt x="53" y="19"/>
                      </a:lnTo>
                      <a:lnTo>
                        <a:pt x="55" y="18"/>
                      </a:lnTo>
                      <a:lnTo>
                        <a:pt x="57" y="16"/>
                      </a:lnTo>
                      <a:lnTo>
                        <a:pt x="63" y="9"/>
                      </a:lnTo>
                      <a:lnTo>
                        <a:pt x="69" y="6"/>
                      </a:lnTo>
                      <a:lnTo>
                        <a:pt x="77" y="3"/>
                      </a:lnTo>
                      <a:lnTo>
                        <a:pt x="87" y="2"/>
                      </a:lnTo>
                      <a:lnTo>
                        <a:pt x="90" y="1"/>
                      </a:lnTo>
                      <a:lnTo>
                        <a:pt x="92" y="0"/>
                      </a:lnTo>
                      <a:lnTo>
                        <a:pt x="108" y="2"/>
                      </a:lnTo>
                      <a:lnTo>
                        <a:pt x="124" y="3"/>
                      </a:lnTo>
                      <a:lnTo>
                        <a:pt x="129" y="4"/>
                      </a:lnTo>
                      <a:lnTo>
                        <a:pt x="133" y="7"/>
                      </a:lnTo>
                      <a:lnTo>
                        <a:pt x="134" y="10"/>
                      </a:lnTo>
                      <a:lnTo>
                        <a:pt x="135"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2" name="Freeform 1203"/>
                <p:cNvSpPr>
                  <a:spLocks/>
                </p:cNvSpPr>
                <p:nvPr/>
              </p:nvSpPr>
              <p:spPr bwMode="auto">
                <a:xfrm>
                  <a:off x="4766187" y="3148848"/>
                  <a:ext cx="88792" cy="88792"/>
                </a:xfrm>
                <a:custGeom>
                  <a:avLst/>
                  <a:gdLst>
                    <a:gd name="T0" fmla="*/ 2147483647 w 65"/>
                    <a:gd name="T1" fmla="*/ 2147483647 h 60"/>
                    <a:gd name="T2" fmla="*/ 2147483647 w 65"/>
                    <a:gd name="T3" fmla="*/ 2147483647 h 60"/>
                    <a:gd name="T4" fmla="*/ 2147483647 w 65"/>
                    <a:gd name="T5" fmla="*/ 2147483647 h 60"/>
                    <a:gd name="T6" fmla="*/ 2147483647 w 65"/>
                    <a:gd name="T7" fmla="*/ 2147483647 h 60"/>
                    <a:gd name="T8" fmla="*/ 2147483647 w 65"/>
                    <a:gd name="T9" fmla="*/ 2147483647 h 60"/>
                    <a:gd name="T10" fmla="*/ 2147483647 w 65"/>
                    <a:gd name="T11" fmla="*/ 2147483647 h 60"/>
                    <a:gd name="T12" fmla="*/ 2147483647 w 65"/>
                    <a:gd name="T13" fmla="*/ 2147483647 h 60"/>
                    <a:gd name="T14" fmla="*/ 2147483647 w 65"/>
                    <a:gd name="T15" fmla="*/ 2147483647 h 60"/>
                    <a:gd name="T16" fmla="*/ 2147483647 w 65"/>
                    <a:gd name="T17" fmla="*/ 2147483647 h 60"/>
                    <a:gd name="T18" fmla="*/ 2147483647 w 65"/>
                    <a:gd name="T19" fmla="*/ 2147483647 h 60"/>
                    <a:gd name="T20" fmla="*/ 2147483647 w 65"/>
                    <a:gd name="T21" fmla="*/ 2147483647 h 60"/>
                    <a:gd name="T22" fmla="*/ 2147483647 w 65"/>
                    <a:gd name="T23" fmla="*/ 2147483647 h 60"/>
                    <a:gd name="T24" fmla="*/ 2147483647 w 65"/>
                    <a:gd name="T25" fmla="*/ 2147483647 h 60"/>
                    <a:gd name="T26" fmla="*/ 2147483647 w 65"/>
                    <a:gd name="T27" fmla="*/ 2147483647 h 60"/>
                    <a:gd name="T28" fmla="*/ 2147483647 w 65"/>
                    <a:gd name="T29" fmla="*/ 2147483647 h 60"/>
                    <a:gd name="T30" fmla="*/ 2147483647 w 65"/>
                    <a:gd name="T31" fmla="*/ 2147483647 h 60"/>
                    <a:gd name="T32" fmla="*/ 2147483647 w 65"/>
                    <a:gd name="T33" fmla="*/ 2147483647 h 60"/>
                    <a:gd name="T34" fmla="*/ 2147483647 w 65"/>
                    <a:gd name="T35" fmla="*/ 2147483647 h 60"/>
                    <a:gd name="T36" fmla="*/ 2147483647 w 65"/>
                    <a:gd name="T37" fmla="*/ 2147483647 h 60"/>
                    <a:gd name="T38" fmla="*/ 2147483647 w 65"/>
                    <a:gd name="T39" fmla="*/ 2147483647 h 60"/>
                    <a:gd name="T40" fmla="*/ 2147483647 w 65"/>
                    <a:gd name="T41" fmla="*/ 2147483647 h 60"/>
                    <a:gd name="T42" fmla="*/ 2147483647 w 65"/>
                    <a:gd name="T43" fmla="*/ 2147483647 h 60"/>
                    <a:gd name="T44" fmla="*/ 2147483647 w 65"/>
                    <a:gd name="T45" fmla="*/ 2147483647 h 60"/>
                    <a:gd name="T46" fmla="*/ 2147483647 w 65"/>
                    <a:gd name="T47" fmla="*/ 2147483647 h 60"/>
                    <a:gd name="T48" fmla="*/ 2147483647 w 65"/>
                    <a:gd name="T49" fmla="*/ 2147483647 h 60"/>
                    <a:gd name="T50" fmla="*/ 2147483647 w 65"/>
                    <a:gd name="T51" fmla="*/ 2147483647 h 60"/>
                    <a:gd name="T52" fmla="*/ 2147483647 w 65"/>
                    <a:gd name="T53" fmla="*/ 2147483647 h 60"/>
                    <a:gd name="T54" fmla="*/ 2147483647 w 65"/>
                    <a:gd name="T55" fmla="*/ 2147483647 h 60"/>
                    <a:gd name="T56" fmla="*/ 2147483647 w 65"/>
                    <a:gd name="T57" fmla="*/ 0 h 60"/>
                    <a:gd name="T58" fmla="*/ 2147483647 w 65"/>
                    <a:gd name="T59" fmla="*/ 2147483647 h 60"/>
                    <a:gd name="T60" fmla="*/ 2147483647 w 65"/>
                    <a:gd name="T61" fmla="*/ 2147483647 h 60"/>
                    <a:gd name="T62" fmla="*/ 2147483647 w 65"/>
                    <a:gd name="T63" fmla="*/ 2147483647 h 60"/>
                    <a:gd name="T64" fmla="*/ 2147483647 w 65"/>
                    <a:gd name="T65" fmla="*/ 2147483647 h 60"/>
                    <a:gd name="T66" fmla="*/ 2147483647 w 65"/>
                    <a:gd name="T67" fmla="*/ 2147483647 h 60"/>
                    <a:gd name="T68" fmla="*/ 0 w 65"/>
                    <a:gd name="T69" fmla="*/ 2147483647 h 60"/>
                    <a:gd name="T70" fmla="*/ 2147483647 w 65"/>
                    <a:gd name="T71" fmla="*/ 2147483647 h 60"/>
                    <a:gd name="T72" fmla="*/ 2147483647 w 65"/>
                    <a:gd name="T73" fmla="*/ 2147483647 h 60"/>
                    <a:gd name="T74" fmla="*/ 2147483647 w 65"/>
                    <a:gd name="T75" fmla="*/ 2147483647 h 60"/>
                    <a:gd name="T76" fmla="*/ 2147483647 w 65"/>
                    <a:gd name="T77" fmla="*/ 2147483647 h 60"/>
                    <a:gd name="T78" fmla="*/ 2147483647 w 65"/>
                    <a:gd name="T79" fmla="*/ 2147483647 h 60"/>
                    <a:gd name="T80" fmla="*/ 2147483647 w 65"/>
                    <a:gd name="T81" fmla="*/ 2147483647 h 60"/>
                    <a:gd name="T82" fmla="*/ 2147483647 w 65"/>
                    <a:gd name="T83" fmla="*/ 2147483647 h 60"/>
                    <a:gd name="T84" fmla="*/ 2147483647 w 65"/>
                    <a:gd name="T85" fmla="*/ 2147483647 h 60"/>
                    <a:gd name="T86" fmla="*/ 2147483647 w 65"/>
                    <a:gd name="T87" fmla="*/ 2147483647 h 60"/>
                    <a:gd name="T88" fmla="*/ 2147483647 w 65"/>
                    <a:gd name="T89" fmla="*/ 2147483647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5"/>
                    <a:gd name="T136" fmla="*/ 0 h 60"/>
                    <a:gd name="T137" fmla="*/ 65 w 65"/>
                    <a:gd name="T138" fmla="*/ 60 h 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5" h="60">
                      <a:moveTo>
                        <a:pt x="8" y="60"/>
                      </a:moveTo>
                      <a:lnTo>
                        <a:pt x="8" y="60"/>
                      </a:lnTo>
                      <a:lnTo>
                        <a:pt x="13" y="58"/>
                      </a:lnTo>
                      <a:lnTo>
                        <a:pt x="14" y="56"/>
                      </a:lnTo>
                      <a:lnTo>
                        <a:pt x="16" y="55"/>
                      </a:lnTo>
                      <a:lnTo>
                        <a:pt x="16" y="51"/>
                      </a:lnTo>
                      <a:lnTo>
                        <a:pt x="14" y="50"/>
                      </a:lnTo>
                      <a:lnTo>
                        <a:pt x="16" y="49"/>
                      </a:lnTo>
                      <a:lnTo>
                        <a:pt x="21" y="46"/>
                      </a:lnTo>
                      <a:lnTo>
                        <a:pt x="27" y="44"/>
                      </a:lnTo>
                      <a:lnTo>
                        <a:pt x="28" y="43"/>
                      </a:lnTo>
                      <a:lnTo>
                        <a:pt x="29" y="44"/>
                      </a:lnTo>
                      <a:lnTo>
                        <a:pt x="33" y="45"/>
                      </a:lnTo>
                      <a:lnTo>
                        <a:pt x="37" y="48"/>
                      </a:lnTo>
                      <a:lnTo>
                        <a:pt x="38" y="48"/>
                      </a:lnTo>
                      <a:lnTo>
                        <a:pt x="41" y="46"/>
                      </a:lnTo>
                      <a:lnTo>
                        <a:pt x="41" y="43"/>
                      </a:lnTo>
                      <a:lnTo>
                        <a:pt x="41" y="41"/>
                      </a:lnTo>
                      <a:lnTo>
                        <a:pt x="41" y="37"/>
                      </a:lnTo>
                      <a:lnTo>
                        <a:pt x="42" y="35"/>
                      </a:lnTo>
                      <a:lnTo>
                        <a:pt x="43" y="35"/>
                      </a:lnTo>
                      <a:lnTo>
                        <a:pt x="46" y="37"/>
                      </a:lnTo>
                      <a:lnTo>
                        <a:pt x="47" y="41"/>
                      </a:lnTo>
                      <a:lnTo>
                        <a:pt x="49" y="43"/>
                      </a:lnTo>
                      <a:lnTo>
                        <a:pt x="51" y="42"/>
                      </a:lnTo>
                      <a:lnTo>
                        <a:pt x="51" y="41"/>
                      </a:lnTo>
                      <a:lnTo>
                        <a:pt x="51" y="39"/>
                      </a:lnTo>
                      <a:lnTo>
                        <a:pt x="52" y="37"/>
                      </a:lnTo>
                      <a:lnTo>
                        <a:pt x="55" y="35"/>
                      </a:lnTo>
                      <a:lnTo>
                        <a:pt x="59" y="32"/>
                      </a:lnTo>
                      <a:lnTo>
                        <a:pt x="63" y="30"/>
                      </a:lnTo>
                      <a:lnTo>
                        <a:pt x="64" y="28"/>
                      </a:lnTo>
                      <a:lnTo>
                        <a:pt x="65" y="26"/>
                      </a:lnTo>
                      <a:lnTo>
                        <a:pt x="57" y="25"/>
                      </a:lnTo>
                      <a:lnTo>
                        <a:pt x="55" y="23"/>
                      </a:lnTo>
                      <a:lnTo>
                        <a:pt x="54" y="20"/>
                      </a:lnTo>
                      <a:lnTo>
                        <a:pt x="54" y="14"/>
                      </a:lnTo>
                      <a:lnTo>
                        <a:pt x="54" y="13"/>
                      </a:lnTo>
                      <a:lnTo>
                        <a:pt x="52" y="11"/>
                      </a:lnTo>
                      <a:lnTo>
                        <a:pt x="47" y="6"/>
                      </a:lnTo>
                      <a:lnTo>
                        <a:pt x="41" y="4"/>
                      </a:lnTo>
                      <a:lnTo>
                        <a:pt x="33" y="1"/>
                      </a:lnTo>
                      <a:lnTo>
                        <a:pt x="26" y="0"/>
                      </a:lnTo>
                      <a:lnTo>
                        <a:pt x="23" y="1"/>
                      </a:lnTo>
                      <a:lnTo>
                        <a:pt x="21" y="3"/>
                      </a:lnTo>
                      <a:lnTo>
                        <a:pt x="18" y="3"/>
                      </a:lnTo>
                      <a:lnTo>
                        <a:pt x="14" y="7"/>
                      </a:lnTo>
                      <a:lnTo>
                        <a:pt x="12" y="12"/>
                      </a:lnTo>
                      <a:lnTo>
                        <a:pt x="9" y="17"/>
                      </a:lnTo>
                      <a:lnTo>
                        <a:pt x="8" y="20"/>
                      </a:lnTo>
                      <a:lnTo>
                        <a:pt x="5" y="23"/>
                      </a:lnTo>
                      <a:lnTo>
                        <a:pt x="0" y="30"/>
                      </a:lnTo>
                      <a:lnTo>
                        <a:pt x="0" y="33"/>
                      </a:lnTo>
                      <a:lnTo>
                        <a:pt x="2" y="35"/>
                      </a:lnTo>
                      <a:lnTo>
                        <a:pt x="5" y="36"/>
                      </a:lnTo>
                      <a:lnTo>
                        <a:pt x="7" y="36"/>
                      </a:lnTo>
                      <a:lnTo>
                        <a:pt x="7" y="37"/>
                      </a:lnTo>
                      <a:lnTo>
                        <a:pt x="5" y="39"/>
                      </a:lnTo>
                      <a:lnTo>
                        <a:pt x="3" y="41"/>
                      </a:lnTo>
                      <a:lnTo>
                        <a:pt x="3" y="42"/>
                      </a:lnTo>
                      <a:lnTo>
                        <a:pt x="3" y="43"/>
                      </a:lnTo>
                      <a:lnTo>
                        <a:pt x="4" y="45"/>
                      </a:lnTo>
                      <a:lnTo>
                        <a:pt x="5" y="46"/>
                      </a:lnTo>
                      <a:lnTo>
                        <a:pt x="4" y="50"/>
                      </a:lnTo>
                      <a:lnTo>
                        <a:pt x="3" y="54"/>
                      </a:lnTo>
                      <a:lnTo>
                        <a:pt x="2" y="56"/>
                      </a:lnTo>
                      <a:lnTo>
                        <a:pt x="3" y="58"/>
                      </a:lnTo>
                      <a:lnTo>
                        <a:pt x="4" y="60"/>
                      </a:lnTo>
                      <a:lnTo>
                        <a:pt x="8" y="6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3" name="Freeform 1204"/>
                <p:cNvSpPr>
                  <a:spLocks/>
                </p:cNvSpPr>
                <p:nvPr/>
              </p:nvSpPr>
              <p:spPr bwMode="auto">
                <a:xfrm>
                  <a:off x="4837221" y="3114815"/>
                  <a:ext cx="184984" cy="85833"/>
                </a:xfrm>
                <a:custGeom>
                  <a:avLst/>
                  <a:gdLst>
                    <a:gd name="T0" fmla="*/ 2147483647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0 w 136"/>
                    <a:gd name="T37" fmla="*/ 2147483647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0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6"/>
                    <a:gd name="T112" fmla="*/ 0 h 58"/>
                    <a:gd name="T113" fmla="*/ 136 w 136"/>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6" h="58">
                      <a:moveTo>
                        <a:pt x="136" y="14"/>
                      </a:moveTo>
                      <a:lnTo>
                        <a:pt x="136" y="14"/>
                      </a:lnTo>
                      <a:lnTo>
                        <a:pt x="135" y="23"/>
                      </a:lnTo>
                      <a:lnTo>
                        <a:pt x="134" y="34"/>
                      </a:lnTo>
                      <a:lnTo>
                        <a:pt x="131" y="39"/>
                      </a:lnTo>
                      <a:lnTo>
                        <a:pt x="127" y="43"/>
                      </a:lnTo>
                      <a:lnTo>
                        <a:pt x="122" y="47"/>
                      </a:lnTo>
                      <a:lnTo>
                        <a:pt x="117" y="51"/>
                      </a:lnTo>
                      <a:lnTo>
                        <a:pt x="111" y="54"/>
                      </a:lnTo>
                      <a:lnTo>
                        <a:pt x="92" y="56"/>
                      </a:lnTo>
                      <a:lnTo>
                        <a:pt x="73" y="58"/>
                      </a:lnTo>
                      <a:lnTo>
                        <a:pt x="59" y="56"/>
                      </a:lnTo>
                      <a:lnTo>
                        <a:pt x="52" y="55"/>
                      </a:lnTo>
                      <a:lnTo>
                        <a:pt x="46" y="53"/>
                      </a:lnTo>
                      <a:lnTo>
                        <a:pt x="45" y="51"/>
                      </a:lnTo>
                      <a:lnTo>
                        <a:pt x="44" y="48"/>
                      </a:lnTo>
                      <a:lnTo>
                        <a:pt x="44" y="46"/>
                      </a:lnTo>
                      <a:lnTo>
                        <a:pt x="41" y="45"/>
                      </a:lnTo>
                      <a:lnTo>
                        <a:pt x="31" y="46"/>
                      </a:lnTo>
                      <a:lnTo>
                        <a:pt x="21" y="47"/>
                      </a:lnTo>
                      <a:lnTo>
                        <a:pt x="17" y="48"/>
                      </a:lnTo>
                      <a:lnTo>
                        <a:pt x="13" y="49"/>
                      </a:lnTo>
                      <a:lnTo>
                        <a:pt x="5" y="48"/>
                      </a:lnTo>
                      <a:lnTo>
                        <a:pt x="3" y="46"/>
                      </a:lnTo>
                      <a:lnTo>
                        <a:pt x="2" y="43"/>
                      </a:lnTo>
                      <a:lnTo>
                        <a:pt x="2" y="37"/>
                      </a:lnTo>
                      <a:lnTo>
                        <a:pt x="2" y="36"/>
                      </a:lnTo>
                      <a:lnTo>
                        <a:pt x="0" y="34"/>
                      </a:lnTo>
                      <a:lnTo>
                        <a:pt x="11" y="34"/>
                      </a:lnTo>
                      <a:lnTo>
                        <a:pt x="19" y="33"/>
                      </a:lnTo>
                      <a:lnTo>
                        <a:pt x="30" y="29"/>
                      </a:lnTo>
                      <a:lnTo>
                        <a:pt x="38" y="24"/>
                      </a:lnTo>
                      <a:lnTo>
                        <a:pt x="40" y="24"/>
                      </a:lnTo>
                      <a:lnTo>
                        <a:pt x="41" y="24"/>
                      </a:lnTo>
                      <a:lnTo>
                        <a:pt x="45" y="26"/>
                      </a:lnTo>
                      <a:lnTo>
                        <a:pt x="52" y="30"/>
                      </a:lnTo>
                      <a:lnTo>
                        <a:pt x="54" y="30"/>
                      </a:lnTo>
                      <a:lnTo>
                        <a:pt x="55" y="30"/>
                      </a:lnTo>
                      <a:lnTo>
                        <a:pt x="56" y="29"/>
                      </a:lnTo>
                      <a:lnTo>
                        <a:pt x="56" y="23"/>
                      </a:lnTo>
                      <a:lnTo>
                        <a:pt x="54" y="19"/>
                      </a:lnTo>
                      <a:lnTo>
                        <a:pt x="56" y="17"/>
                      </a:lnTo>
                      <a:lnTo>
                        <a:pt x="57" y="16"/>
                      </a:lnTo>
                      <a:lnTo>
                        <a:pt x="64" y="9"/>
                      </a:lnTo>
                      <a:lnTo>
                        <a:pt x="70" y="5"/>
                      </a:lnTo>
                      <a:lnTo>
                        <a:pt x="78" y="3"/>
                      </a:lnTo>
                      <a:lnTo>
                        <a:pt x="88" y="2"/>
                      </a:lnTo>
                      <a:lnTo>
                        <a:pt x="91" y="1"/>
                      </a:lnTo>
                      <a:lnTo>
                        <a:pt x="93" y="0"/>
                      </a:lnTo>
                      <a:lnTo>
                        <a:pt x="108" y="2"/>
                      </a:lnTo>
                      <a:lnTo>
                        <a:pt x="125" y="3"/>
                      </a:lnTo>
                      <a:lnTo>
                        <a:pt x="130" y="4"/>
                      </a:lnTo>
                      <a:lnTo>
                        <a:pt x="134" y="7"/>
                      </a:lnTo>
                      <a:lnTo>
                        <a:pt x="135" y="10"/>
                      </a:lnTo>
                      <a:lnTo>
                        <a:pt x="136"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4" name="Freeform 1205"/>
                <p:cNvSpPr>
                  <a:spLocks/>
                </p:cNvSpPr>
                <p:nvPr/>
              </p:nvSpPr>
              <p:spPr bwMode="auto">
                <a:xfrm>
                  <a:off x="4890497" y="3031940"/>
                  <a:ext cx="285616" cy="116909"/>
                </a:xfrm>
                <a:custGeom>
                  <a:avLst/>
                  <a:gdLst>
                    <a:gd name="T0" fmla="*/ 2147483647 w 209"/>
                    <a:gd name="T1" fmla="*/ 2147483647 h 79"/>
                    <a:gd name="T2" fmla="*/ 2147483647 w 209"/>
                    <a:gd name="T3" fmla="*/ 2147483647 h 79"/>
                    <a:gd name="T4" fmla="*/ 2147483647 w 209"/>
                    <a:gd name="T5" fmla="*/ 2147483647 h 79"/>
                    <a:gd name="T6" fmla="*/ 2147483647 w 209"/>
                    <a:gd name="T7" fmla="*/ 2147483647 h 79"/>
                    <a:gd name="T8" fmla="*/ 2147483647 w 209"/>
                    <a:gd name="T9" fmla="*/ 2147483647 h 79"/>
                    <a:gd name="T10" fmla="*/ 2147483647 w 209"/>
                    <a:gd name="T11" fmla="*/ 2147483647 h 79"/>
                    <a:gd name="T12" fmla="*/ 2147483647 w 209"/>
                    <a:gd name="T13" fmla="*/ 2147483647 h 79"/>
                    <a:gd name="T14" fmla="*/ 2147483647 w 209"/>
                    <a:gd name="T15" fmla="*/ 2147483647 h 79"/>
                    <a:gd name="T16" fmla="*/ 2147483647 w 209"/>
                    <a:gd name="T17" fmla="*/ 2147483647 h 79"/>
                    <a:gd name="T18" fmla="*/ 2147483647 w 209"/>
                    <a:gd name="T19" fmla="*/ 2147483647 h 79"/>
                    <a:gd name="T20" fmla="*/ 2147483647 w 209"/>
                    <a:gd name="T21" fmla="*/ 2147483647 h 79"/>
                    <a:gd name="T22" fmla="*/ 2147483647 w 209"/>
                    <a:gd name="T23" fmla="*/ 2147483647 h 79"/>
                    <a:gd name="T24" fmla="*/ 2147483647 w 209"/>
                    <a:gd name="T25" fmla="*/ 2147483647 h 79"/>
                    <a:gd name="T26" fmla="*/ 2147483647 w 209"/>
                    <a:gd name="T27" fmla="*/ 2147483647 h 79"/>
                    <a:gd name="T28" fmla="*/ 2147483647 w 209"/>
                    <a:gd name="T29" fmla="*/ 2147483647 h 79"/>
                    <a:gd name="T30" fmla="*/ 2147483647 w 209"/>
                    <a:gd name="T31" fmla="*/ 2147483647 h 79"/>
                    <a:gd name="T32" fmla="*/ 2147483647 w 209"/>
                    <a:gd name="T33" fmla="*/ 2147483647 h 79"/>
                    <a:gd name="T34" fmla="*/ 2147483647 w 209"/>
                    <a:gd name="T35" fmla="*/ 2147483647 h 79"/>
                    <a:gd name="T36" fmla="*/ 2147483647 w 209"/>
                    <a:gd name="T37" fmla="*/ 2147483647 h 79"/>
                    <a:gd name="T38" fmla="*/ 2147483647 w 209"/>
                    <a:gd name="T39" fmla="*/ 2147483647 h 79"/>
                    <a:gd name="T40" fmla="*/ 2147483647 w 209"/>
                    <a:gd name="T41" fmla="*/ 2147483647 h 79"/>
                    <a:gd name="T42" fmla="*/ 2147483647 w 209"/>
                    <a:gd name="T43" fmla="*/ 2147483647 h 79"/>
                    <a:gd name="T44" fmla="*/ 2147483647 w 209"/>
                    <a:gd name="T45" fmla="*/ 2147483647 h 79"/>
                    <a:gd name="T46" fmla="*/ 2147483647 w 209"/>
                    <a:gd name="T47" fmla="*/ 2147483647 h 79"/>
                    <a:gd name="T48" fmla="*/ 2147483647 w 209"/>
                    <a:gd name="T49" fmla="*/ 2147483647 h 79"/>
                    <a:gd name="T50" fmla="*/ 2147483647 w 209"/>
                    <a:gd name="T51" fmla="*/ 2147483647 h 79"/>
                    <a:gd name="T52" fmla="*/ 2147483647 w 209"/>
                    <a:gd name="T53" fmla="*/ 2147483647 h 79"/>
                    <a:gd name="T54" fmla="*/ 2147483647 w 209"/>
                    <a:gd name="T55" fmla="*/ 2147483647 h 79"/>
                    <a:gd name="T56" fmla="*/ 2147483647 w 209"/>
                    <a:gd name="T57" fmla="*/ 2147483647 h 79"/>
                    <a:gd name="T58" fmla="*/ 2147483647 w 209"/>
                    <a:gd name="T59" fmla="*/ 2147483647 h 79"/>
                    <a:gd name="T60" fmla="*/ 2147483647 w 209"/>
                    <a:gd name="T61" fmla="*/ 2147483647 h 79"/>
                    <a:gd name="T62" fmla="*/ 2147483647 w 209"/>
                    <a:gd name="T63" fmla="*/ 2147483647 h 79"/>
                    <a:gd name="T64" fmla="*/ 2147483647 w 209"/>
                    <a:gd name="T65" fmla="*/ 2147483647 h 79"/>
                    <a:gd name="T66" fmla="*/ 2147483647 w 209"/>
                    <a:gd name="T67" fmla="*/ 2147483647 h 79"/>
                    <a:gd name="T68" fmla="*/ 2147483647 w 209"/>
                    <a:gd name="T69" fmla="*/ 2147483647 h 79"/>
                    <a:gd name="T70" fmla="*/ 2147483647 w 209"/>
                    <a:gd name="T71" fmla="*/ 2147483647 h 79"/>
                    <a:gd name="T72" fmla="*/ 2147483647 w 209"/>
                    <a:gd name="T73" fmla="*/ 2147483647 h 79"/>
                    <a:gd name="T74" fmla="*/ 2147483647 w 209"/>
                    <a:gd name="T75" fmla="*/ 2147483647 h 79"/>
                    <a:gd name="T76" fmla="*/ 2147483647 w 209"/>
                    <a:gd name="T77" fmla="*/ 2147483647 h 79"/>
                    <a:gd name="T78" fmla="*/ 2147483647 w 209"/>
                    <a:gd name="T79" fmla="*/ 2147483647 h 7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79"/>
                    <a:gd name="T122" fmla="*/ 209 w 209"/>
                    <a:gd name="T123" fmla="*/ 79 h 7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79">
                      <a:moveTo>
                        <a:pt x="205" y="54"/>
                      </a:moveTo>
                      <a:lnTo>
                        <a:pt x="208" y="57"/>
                      </a:lnTo>
                      <a:lnTo>
                        <a:pt x="209" y="58"/>
                      </a:lnTo>
                      <a:lnTo>
                        <a:pt x="209" y="59"/>
                      </a:lnTo>
                      <a:lnTo>
                        <a:pt x="207" y="65"/>
                      </a:lnTo>
                      <a:lnTo>
                        <a:pt x="203" y="71"/>
                      </a:lnTo>
                      <a:lnTo>
                        <a:pt x="199" y="76"/>
                      </a:lnTo>
                      <a:lnTo>
                        <a:pt x="193" y="71"/>
                      </a:lnTo>
                      <a:lnTo>
                        <a:pt x="185" y="67"/>
                      </a:lnTo>
                      <a:lnTo>
                        <a:pt x="176" y="67"/>
                      </a:lnTo>
                      <a:lnTo>
                        <a:pt x="167" y="69"/>
                      </a:lnTo>
                      <a:lnTo>
                        <a:pt x="152" y="72"/>
                      </a:lnTo>
                      <a:lnTo>
                        <a:pt x="144" y="75"/>
                      </a:lnTo>
                      <a:lnTo>
                        <a:pt x="138" y="78"/>
                      </a:lnTo>
                      <a:lnTo>
                        <a:pt x="134" y="79"/>
                      </a:lnTo>
                      <a:lnTo>
                        <a:pt x="132" y="78"/>
                      </a:lnTo>
                      <a:lnTo>
                        <a:pt x="128" y="77"/>
                      </a:lnTo>
                      <a:lnTo>
                        <a:pt x="125" y="77"/>
                      </a:lnTo>
                      <a:lnTo>
                        <a:pt x="120" y="77"/>
                      </a:lnTo>
                      <a:lnTo>
                        <a:pt x="119" y="78"/>
                      </a:lnTo>
                      <a:lnTo>
                        <a:pt x="117" y="77"/>
                      </a:lnTo>
                      <a:lnTo>
                        <a:pt x="108" y="73"/>
                      </a:lnTo>
                      <a:lnTo>
                        <a:pt x="103" y="71"/>
                      </a:lnTo>
                      <a:lnTo>
                        <a:pt x="97" y="71"/>
                      </a:lnTo>
                      <a:lnTo>
                        <a:pt x="96" y="67"/>
                      </a:lnTo>
                      <a:lnTo>
                        <a:pt x="95" y="64"/>
                      </a:lnTo>
                      <a:lnTo>
                        <a:pt x="91" y="61"/>
                      </a:lnTo>
                      <a:lnTo>
                        <a:pt x="86" y="60"/>
                      </a:lnTo>
                      <a:lnTo>
                        <a:pt x="70" y="59"/>
                      </a:lnTo>
                      <a:lnTo>
                        <a:pt x="54" y="57"/>
                      </a:lnTo>
                      <a:lnTo>
                        <a:pt x="52" y="58"/>
                      </a:lnTo>
                      <a:lnTo>
                        <a:pt x="49" y="59"/>
                      </a:lnTo>
                      <a:lnTo>
                        <a:pt x="39" y="60"/>
                      </a:lnTo>
                      <a:lnTo>
                        <a:pt x="31" y="63"/>
                      </a:lnTo>
                      <a:lnTo>
                        <a:pt x="21" y="51"/>
                      </a:lnTo>
                      <a:lnTo>
                        <a:pt x="10" y="40"/>
                      </a:lnTo>
                      <a:lnTo>
                        <a:pt x="9" y="38"/>
                      </a:lnTo>
                      <a:lnTo>
                        <a:pt x="7" y="34"/>
                      </a:lnTo>
                      <a:lnTo>
                        <a:pt x="2" y="27"/>
                      </a:lnTo>
                      <a:lnTo>
                        <a:pt x="1" y="24"/>
                      </a:lnTo>
                      <a:lnTo>
                        <a:pt x="0" y="19"/>
                      </a:lnTo>
                      <a:lnTo>
                        <a:pt x="6" y="18"/>
                      </a:lnTo>
                      <a:lnTo>
                        <a:pt x="15" y="19"/>
                      </a:lnTo>
                      <a:lnTo>
                        <a:pt x="16" y="19"/>
                      </a:lnTo>
                      <a:lnTo>
                        <a:pt x="17" y="18"/>
                      </a:lnTo>
                      <a:lnTo>
                        <a:pt x="20" y="15"/>
                      </a:lnTo>
                      <a:lnTo>
                        <a:pt x="28" y="12"/>
                      </a:lnTo>
                      <a:lnTo>
                        <a:pt x="31" y="10"/>
                      </a:lnTo>
                      <a:lnTo>
                        <a:pt x="34" y="8"/>
                      </a:lnTo>
                      <a:lnTo>
                        <a:pt x="40" y="3"/>
                      </a:lnTo>
                      <a:lnTo>
                        <a:pt x="47" y="0"/>
                      </a:lnTo>
                      <a:lnTo>
                        <a:pt x="48" y="2"/>
                      </a:lnTo>
                      <a:lnTo>
                        <a:pt x="51" y="5"/>
                      </a:lnTo>
                      <a:lnTo>
                        <a:pt x="56" y="8"/>
                      </a:lnTo>
                      <a:lnTo>
                        <a:pt x="67" y="12"/>
                      </a:lnTo>
                      <a:lnTo>
                        <a:pt x="91" y="22"/>
                      </a:lnTo>
                      <a:lnTo>
                        <a:pt x="97" y="26"/>
                      </a:lnTo>
                      <a:lnTo>
                        <a:pt x="101" y="29"/>
                      </a:lnTo>
                      <a:lnTo>
                        <a:pt x="106" y="34"/>
                      </a:lnTo>
                      <a:lnTo>
                        <a:pt x="113" y="38"/>
                      </a:lnTo>
                      <a:lnTo>
                        <a:pt x="115" y="39"/>
                      </a:lnTo>
                      <a:lnTo>
                        <a:pt x="117" y="41"/>
                      </a:lnTo>
                      <a:lnTo>
                        <a:pt x="118" y="44"/>
                      </a:lnTo>
                      <a:lnTo>
                        <a:pt x="120" y="45"/>
                      </a:lnTo>
                      <a:lnTo>
                        <a:pt x="123" y="45"/>
                      </a:lnTo>
                      <a:lnTo>
                        <a:pt x="125" y="44"/>
                      </a:lnTo>
                      <a:lnTo>
                        <a:pt x="128" y="41"/>
                      </a:lnTo>
                      <a:lnTo>
                        <a:pt x="131" y="40"/>
                      </a:lnTo>
                      <a:lnTo>
                        <a:pt x="132" y="41"/>
                      </a:lnTo>
                      <a:lnTo>
                        <a:pt x="134" y="43"/>
                      </a:lnTo>
                      <a:lnTo>
                        <a:pt x="138" y="46"/>
                      </a:lnTo>
                      <a:lnTo>
                        <a:pt x="141" y="50"/>
                      </a:lnTo>
                      <a:lnTo>
                        <a:pt x="143" y="50"/>
                      </a:lnTo>
                      <a:lnTo>
                        <a:pt x="146" y="48"/>
                      </a:lnTo>
                      <a:lnTo>
                        <a:pt x="151" y="45"/>
                      </a:lnTo>
                      <a:lnTo>
                        <a:pt x="157" y="43"/>
                      </a:lnTo>
                      <a:lnTo>
                        <a:pt x="164" y="43"/>
                      </a:lnTo>
                      <a:lnTo>
                        <a:pt x="170" y="43"/>
                      </a:lnTo>
                      <a:lnTo>
                        <a:pt x="198" y="50"/>
                      </a:lnTo>
                      <a:lnTo>
                        <a:pt x="202" y="52"/>
                      </a:lnTo>
                      <a:lnTo>
                        <a:pt x="205" y="5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5" name="Freeform 1206"/>
                <p:cNvSpPr>
                  <a:spLocks/>
                </p:cNvSpPr>
                <p:nvPr/>
              </p:nvSpPr>
              <p:spPr bwMode="auto">
                <a:xfrm>
                  <a:off x="4939334" y="2897272"/>
                  <a:ext cx="266377" cy="214582"/>
                </a:xfrm>
                <a:custGeom>
                  <a:avLst/>
                  <a:gdLst>
                    <a:gd name="T0" fmla="*/ 2147483647 w 195"/>
                    <a:gd name="T1" fmla="*/ 2147483647 h 145"/>
                    <a:gd name="T2" fmla="*/ 2147483647 w 195"/>
                    <a:gd name="T3" fmla="*/ 2147483647 h 145"/>
                    <a:gd name="T4" fmla="*/ 2147483647 w 195"/>
                    <a:gd name="T5" fmla="*/ 2147483647 h 145"/>
                    <a:gd name="T6" fmla="*/ 2147483647 w 195"/>
                    <a:gd name="T7" fmla="*/ 2147483647 h 145"/>
                    <a:gd name="T8" fmla="*/ 2147483647 w 195"/>
                    <a:gd name="T9" fmla="*/ 2147483647 h 145"/>
                    <a:gd name="T10" fmla="*/ 2147483647 w 195"/>
                    <a:gd name="T11" fmla="*/ 2147483647 h 145"/>
                    <a:gd name="T12" fmla="*/ 2147483647 w 195"/>
                    <a:gd name="T13" fmla="*/ 2147483647 h 145"/>
                    <a:gd name="T14" fmla="*/ 2147483647 w 195"/>
                    <a:gd name="T15" fmla="*/ 2147483647 h 145"/>
                    <a:gd name="T16" fmla="*/ 2147483647 w 195"/>
                    <a:gd name="T17" fmla="*/ 2147483647 h 145"/>
                    <a:gd name="T18" fmla="*/ 2147483647 w 195"/>
                    <a:gd name="T19" fmla="*/ 2147483647 h 145"/>
                    <a:gd name="T20" fmla="*/ 2147483647 w 195"/>
                    <a:gd name="T21" fmla="*/ 2147483647 h 145"/>
                    <a:gd name="T22" fmla="*/ 2147483647 w 195"/>
                    <a:gd name="T23" fmla="*/ 2147483647 h 145"/>
                    <a:gd name="T24" fmla="*/ 2147483647 w 195"/>
                    <a:gd name="T25" fmla="*/ 2147483647 h 145"/>
                    <a:gd name="T26" fmla="*/ 2147483647 w 195"/>
                    <a:gd name="T27" fmla="*/ 2147483647 h 145"/>
                    <a:gd name="T28" fmla="*/ 2147483647 w 195"/>
                    <a:gd name="T29" fmla="*/ 2147483647 h 145"/>
                    <a:gd name="T30" fmla="*/ 2147483647 w 195"/>
                    <a:gd name="T31" fmla="*/ 2147483647 h 145"/>
                    <a:gd name="T32" fmla="*/ 2147483647 w 195"/>
                    <a:gd name="T33" fmla="*/ 2147483647 h 145"/>
                    <a:gd name="T34" fmla="*/ 2147483647 w 195"/>
                    <a:gd name="T35" fmla="*/ 2147483647 h 145"/>
                    <a:gd name="T36" fmla="*/ 2147483647 w 195"/>
                    <a:gd name="T37" fmla="*/ 2147483647 h 145"/>
                    <a:gd name="T38" fmla="*/ 2147483647 w 195"/>
                    <a:gd name="T39" fmla="*/ 2147483647 h 145"/>
                    <a:gd name="T40" fmla="*/ 2147483647 w 195"/>
                    <a:gd name="T41" fmla="*/ 2147483647 h 145"/>
                    <a:gd name="T42" fmla="*/ 2147483647 w 195"/>
                    <a:gd name="T43" fmla="*/ 2147483647 h 145"/>
                    <a:gd name="T44" fmla="*/ 2147483647 w 195"/>
                    <a:gd name="T45" fmla="*/ 2147483647 h 145"/>
                    <a:gd name="T46" fmla="*/ 2147483647 w 195"/>
                    <a:gd name="T47" fmla="*/ 2147483647 h 145"/>
                    <a:gd name="T48" fmla="*/ 2147483647 w 195"/>
                    <a:gd name="T49" fmla="*/ 2147483647 h 145"/>
                    <a:gd name="T50" fmla="*/ 2147483647 w 195"/>
                    <a:gd name="T51" fmla="*/ 2147483647 h 145"/>
                    <a:gd name="T52" fmla="*/ 2147483647 w 195"/>
                    <a:gd name="T53" fmla="*/ 2147483647 h 145"/>
                    <a:gd name="T54" fmla="*/ 2147483647 w 195"/>
                    <a:gd name="T55" fmla="*/ 2147483647 h 145"/>
                    <a:gd name="T56" fmla="*/ 2147483647 w 195"/>
                    <a:gd name="T57" fmla="*/ 2147483647 h 145"/>
                    <a:gd name="T58" fmla="*/ 2147483647 w 195"/>
                    <a:gd name="T59" fmla="*/ 2147483647 h 145"/>
                    <a:gd name="T60" fmla="*/ 2147483647 w 195"/>
                    <a:gd name="T61" fmla="*/ 2147483647 h 145"/>
                    <a:gd name="T62" fmla="*/ 2147483647 w 195"/>
                    <a:gd name="T63" fmla="*/ 2147483647 h 145"/>
                    <a:gd name="T64" fmla="*/ 2147483647 w 195"/>
                    <a:gd name="T65" fmla="*/ 2147483647 h 145"/>
                    <a:gd name="T66" fmla="*/ 2147483647 w 195"/>
                    <a:gd name="T67" fmla="*/ 2147483647 h 145"/>
                    <a:gd name="T68" fmla="*/ 2147483647 w 195"/>
                    <a:gd name="T69" fmla="*/ 2147483647 h 145"/>
                    <a:gd name="T70" fmla="*/ 2147483647 w 195"/>
                    <a:gd name="T71" fmla="*/ 2147483647 h 145"/>
                    <a:gd name="T72" fmla="*/ 0 w 195"/>
                    <a:gd name="T73" fmla="*/ 2147483647 h 145"/>
                    <a:gd name="T74" fmla="*/ 2147483647 w 195"/>
                    <a:gd name="T75" fmla="*/ 2147483647 h 145"/>
                    <a:gd name="T76" fmla="*/ 2147483647 w 195"/>
                    <a:gd name="T77" fmla="*/ 2147483647 h 145"/>
                    <a:gd name="T78" fmla="*/ 2147483647 w 195"/>
                    <a:gd name="T79" fmla="*/ 2147483647 h 145"/>
                    <a:gd name="T80" fmla="*/ 2147483647 w 195"/>
                    <a:gd name="T81" fmla="*/ 2147483647 h 145"/>
                    <a:gd name="T82" fmla="*/ 2147483647 w 195"/>
                    <a:gd name="T83" fmla="*/ 2147483647 h 145"/>
                    <a:gd name="T84" fmla="*/ 2147483647 w 195"/>
                    <a:gd name="T85" fmla="*/ 2147483647 h 145"/>
                    <a:gd name="T86" fmla="*/ 2147483647 w 195"/>
                    <a:gd name="T87" fmla="*/ 0 h 145"/>
                    <a:gd name="T88" fmla="*/ 2147483647 w 195"/>
                    <a:gd name="T89" fmla="*/ 2147483647 h 145"/>
                    <a:gd name="T90" fmla="*/ 2147483647 w 195"/>
                    <a:gd name="T91" fmla="*/ 2147483647 h 145"/>
                    <a:gd name="T92" fmla="*/ 2147483647 w 195"/>
                    <a:gd name="T93" fmla="*/ 2147483647 h 145"/>
                    <a:gd name="T94" fmla="*/ 2147483647 w 195"/>
                    <a:gd name="T95" fmla="*/ 2147483647 h 145"/>
                    <a:gd name="T96" fmla="*/ 2147483647 w 195"/>
                    <a:gd name="T97" fmla="*/ 2147483647 h 145"/>
                    <a:gd name="T98" fmla="*/ 2147483647 w 195"/>
                    <a:gd name="T99" fmla="*/ 2147483647 h 145"/>
                    <a:gd name="T100" fmla="*/ 2147483647 w 195"/>
                    <a:gd name="T101" fmla="*/ 2147483647 h 145"/>
                    <a:gd name="T102" fmla="*/ 2147483647 w 195"/>
                    <a:gd name="T103" fmla="*/ 2147483647 h 1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5"/>
                    <a:gd name="T157" fmla="*/ 0 h 145"/>
                    <a:gd name="T158" fmla="*/ 195 w 195"/>
                    <a:gd name="T159" fmla="*/ 145 h 14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5" h="145">
                      <a:moveTo>
                        <a:pt x="106" y="16"/>
                      </a:moveTo>
                      <a:lnTo>
                        <a:pt x="120" y="16"/>
                      </a:lnTo>
                      <a:lnTo>
                        <a:pt x="134" y="14"/>
                      </a:lnTo>
                      <a:lnTo>
                        <a:pt x="162" y="10"/>
                      </a:lnTo>
                      <a:lnTo>
                        <a:pt x="167" y="10"/>
                      </a:lnTo>
                      <a:lnTo>
                        <a:pt x="173" y="11"/>
                      </a:lnTo>
                      <a:lnTo>
                        <a:pt x="178" y="15"/>
                      </a:lnTo>
                      <a:lnTo>
                        <a:pt x="182" y="20"/>
                      </a:lnTo>
                      <a:lnTo>
                        <a:pt x="186" y="27"/>
                      </a:lnTo>
                      <a:lnTo>
                        <a:pt x="189" y="34"/>
                      </a:lnTo>
                      <a:lnTo>
                        <a:pt x="192" y="42"/>
                      </a:lnTo>
                      <a:lnTo>
                        <a:pt x="192" y="49"/>
                      </a:lnTo>
                      <a:lnTo>
                        <a:pt x="192" y="58"/>
                      </a:lnTo>
                      <a:lnTo>
                        <a:pt x="191" y="66"/>
                      </a:lnTo>
                      <a:lnTo>
                        <a:pt x="187" y="83"/>
                      </a:lnTo>
                      <a:lnTo>
                        <a:pt x="187" y="84"/>
                      </a:lnTo>
                      <a:lnTo>
                        <a:pt x="189" y="86"/>
                      </a:lnTo>
                      <a:lnTo>
                        <a:pt x="192" y="88"/>
                      </a:lnTo>
                      <a:lnTo>
                        <a:pt x="192" y="90"/>
                      </a:lnTo>
                      <a:lnTo>
                        <a:pt x="192" y="91"/>
                      </a:lnTo>
                      <a:lnTo>
                        <a:pt x="188" y="99"/>
                      </a:lnTo>
                      <a:lnTo>
                        <a:pt x="187" y="107"/>
                      </a:lnTo>
                      <a:lnTo>
                        <a:pt x="188" y="110"/>
                      </a:lnTo>
                      <a:lnTo>
                        <a:pt x="189" y="112"/>
                      </a:lnTo>
                      <a:lnTo>
                        <a:pt x="193" y="117"/>
                      </a:lnTo>
                      <a:lnTo>
                        <a:pt x="195" y="120"/>
                      </a:lnTo>
                      <a:lnTo>
                        <a:pt x="193" y="124"/>
                      </a:lnTo>
                      <a:lnTo>
                        <a:pt x="192" y="128"/>
                      </a:lnTo>
                      <a:lnTo>
                        <a:pt x="187" y="132"/>
                      </a:lnTo>
                      <a:lnTo>
                        <a:pt x="181" y="138"/>
                      </a:lnTo>
                      <a:lnTo>
                        <a:pt x="172" y="145"/>
                      </a:lnTo>
                      <a:lnTo>
                        <a:pt x="169" y="143"/>
                      </a:lnTo>
                      <a:lnTo>
                        <a:pt x="164" y="141"/>
                      </a:lnTo>
                      <a:lnTo>
                        <a:pt x="136" y="134"/>
                      </a:lnTo>
                      <a:lnTo>
                        <a:pt x="130" y="134"/>
                      </a:lnTo>
                      <a:lnTo>
                        <a:pt x="123" y="134"/>
                      </a:lnTo>
                      <a:lnTo>
                        <a:pt x="118" y="136"/>
                      </a:lnTo>
                      <a:lnTo>
                        <a:pt x="112" y="139"/>
                      </a:lnTo>
                      <a:lnTo>
                        <a:pt x="109" y="141"/>
                      </a:lnTo>
                      <a:lnTo>
                        <a:pt x="107" y="141"/>
                      </a:lnTo>
                      <a:lnTo>
                        <a:pt x="104" y="137"/>
                      </a:lnTo>
                      <a:lnTo>
                        <a:pt x="102" y="134"/>
                      </a:lnTo>
                      <a:lnTo>
                        <a:pt x="98" y="132"/>
                      </a:lnTo>
                      <a:lnTo>
                        <a:pt x="97" y="131"/>
                      </a:lnTo>
                      <a:lnTo>
                        <a:pt x="94" y="132"/>
                      </a:lnTo>
                      <a:lnTo>
                        <a:pt x="92" y="135"/>
                      </a:lnTo>
                      <a:lnTo>
                        <a:pt x="89" y="136"/>
                      </a:lnTo>
                      <a:lnTo>
                        <a:pt x="88" y="136"/>
                      </a:lnTo>
                      <a:lnTo>
                        <a:pt x="85" y="135"/>
                      </a:lnTo>
                      <a:lnTo>
                        <a:pt x="83" y="132"/>
                      </a:lnTo>
                      <a:lnTo>
                        <a:pt x="82" y="130"/>
                      </a:lnTo>
                      <a:lnTo>
                        <a:pt x="79" y="129"/>
                      </a:lnTo>
                      <a:lnTo>
                        <a:pt x="74" y="125"/>
                      </a:lnTo>
                      <a:lnTo>
                        <a:pt x="69" y="120"/>
                      </a:lnTo>
                      <a:lnTo>
                        <a:pt x="64" y="117"/>
                      </a:lnTo>
                      <a:lnTo>
                        <a:pt x="57" y="113"/>
                      </a:lnTo>
                      <a:lnTo>
                        <a:pt x="35" y="103"/>
                      </a:lnTo>
                      <a:lnTo>
                        <a:pt x="22" y="99"/>
                      </a:lnTo>
                      <a:lnTo>
                        <a:pt x="17" y="96"/>
                      </a:lnTo>
                      <a:lnTo>
                        <a:pt x="14" y="93"/>
                      </a:lnTo>
                      <a:lnTo>
                        <a:pt x="13" y="91"/>
                      </a:lnTo>
                      <a:lnTo>
                        <a:pt x="16" y="85"/>
                      </a:lnTo>
                      <a:lnTo>
                        <a:pt x="14" y="80"/>
                      </a:lnTo>
                      <a:lnTo>
                        <a:pt x="12" y="75"/>
                      </a:lnTo>
                      <a:lnTo>
                        <a:pt x="7" y="72"/>
                      </a:lnTo>
                      <a:lnTo>
                        <a:pt x="5" y="69"/>
                      </a:lnTo>
                      <a:lnTo>
                        <a:pt x="4" y="67"/>
                      </a:lnTo>
                      <a:lnTo>
                        <a:pt x="4" y="65"/>
                      </a:lnTo>
                      <a:lnTo>
                        <a:pt x="4" y="61"/>
                      </a:lnTo>
                      <a:lnTo>
                        <a:pt x="5" y="59"/>
                      </a:lnTo>
                      <a:lnTo>
                        <a:pt x="5" y="55"/>
                      </a:lnTo>
                      <a:lnTo>
                        <a:pt x="4" y="52"/>
                      </a:lnTo>
                      <a:lnTo>
                        <a:pt x="2" y="47"/>
                      </a:lnTo>
                      <a:lnTo>
                        <a:pt x="0" y="43"/>
                      </a:lnTo>
                      <a:lnTo>
                        <a:pt x="2" y="39"/>
                      </a:lnTo>
                      <a:lnTo>
                        <a:pt x="3" y="35"/>
                      </a:lnTo>
                      <a:lnTo>
                        <a:pt x="3" y="30"/>
                      </a:lnTo>
                      <a:lnTo>
                        <a:pt x="4" y="26"/>
                      </a:lnTo>
                      <a:lnTo>
                        <a:pt x="5" y="21"/>
                      </a:lnTo>
                      <a:lnTo>
                        <a:pt x="12" y="22"/>
                      </a:lnTo>
                      <a:lnTo>
                        <a:pt x="13" y="22"/>
                      </a:lnTo>
                      <a:lnTo>
                        <a:pt x="16" y="21"/>
                      </a:lnTo>
                      <a:lnTo>
                        <a:pt x="19" y="19"/>
                      </a:lnTo>
                      <a:lnTo>
                        <a:pt x="27" y="17"/>
                      </a:lnTo>
                      <a:lnTo>
                        <a:pt x="35" y="16"/>
                      </a:lnTo>
                      <a:lnTo>
                        <a:pt x="49" y="11"/>
                      </a:lnTo>
                      <a:lnTo>
                        <a:pt x="62" y="5"/>
                      </a:lnTo>
                      <a:lnTo>
                        <a:pt x="78" y="0"/>
                      </a:lnTo>
                      <a:lnTo>
                        <a:pt x="79" y="0"/>
                      </a:lnTo>
                      <a:lnTo>
                        <a:pt x="80" y="1"/>
                      </a:lnTo>
                      <a:lnTo>
                        <a:pt x="80" y="3"/>
                      </a:lnTo>
                      <a:lnTo>
                        <a:pt x="87" y="3"/>
                      </a:lnTo>
                      <a:lnTo>
                        <a:pt x="88" y="4"/>
                      </a:lnTo>
                      <a:lnTo>
                        <a:pt x="90" y="5"/>
                      </a:lnTo>
                      <a:lnTo>
                        <a:pt x="89" y="8"/>
                      </a:lnTo>
                      <a:lnTo>
                        <a:pt x="88" y="9"/>
                      </a:lnTo>
                      <a:lnTo>
                        <a:pt x="87" y="11"/>
                      </a:lnTo>
                      <a:lnTo>
                        <a:pt x="87" y="13"/>
                      </a:lnTo>
                      <a:lnTo>
                        <a:pt x="90" y="17"/>
                      </a:lnTo>
                      <a:lnTo>
                        <a:pt x="96" y="20"/>
                      </a:lnTo>
                      <a:lnTo>
                        <a:pt x="98" y="20"/>
                      </a:lnTo>
                      <a:lnTo>
                        <a:pt x="101" y="20"/>
                      </a:lnTo>
                      <a:lnTo>
                        <a:pt x="103" y="19"/>
                      </a:lnTo>
                      <a:lnTo>
                        <a:pt x="106"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6" name="Freeform 1207"/>
                <p:cNvSpPr>
                  <a:spLocks/>
                </p:cNvSpPr>
                <p:nvPr/>
              </p:nvSpPr>
              <p:spPr bwMode="auto">
                <a:xfrm>
                  <a:off x="4889021" y="3030461"/>
                  <a:ext cx="285615" cy="116910"/>
                </a:xfrm>
                <a:custGeom>
                  <a:avLst/>
                  <a:gdLst>
                    <a:gd name="T0" fmla="*/ 2147483647 w 210"/>
                    <a:gd name="T1" fmla="*/ 2147483647 h 79"/>
                    <a:gd name="T2" fmla="*/ 2147483647 w 210"/>
                    <a:gd name="T3" fmla="*/ 2147483647 h 79"/>
                    <a:gd name="T4" fmla="*/ 2147483647 w 210"/>
                    <a:gd name="T5" fmla="*/ 2147483647 h 79"/>
                    <a:gd name="T6" fmla="*/ 2147483647 w 210"/>
                    <a:gd name="T7" fmla="*/ 2147483647 h 79"/>
                    <a:gd name="T8" fmla="*/ 2147483647 w 210"/>
                    <a:gd name="T9" fmla="*/ 2147483647 h 79"/>
                    <a:gd name="T10" fmla="*/ 2147483647 w 210"/>
                    <a:gd name="T11" fmla="*/ 2147483647 h 79"/>
                    <a:gd name="T12" fmla="*/ 2147483647 w 210"/>
                    <a:gd name="T13" fmla="*/ 2147483647 h 79"/>
                    <a:gd name="T14" fmla="*/ 2147483647 w 210"/>
                    <a:gd name="T15" fmla="*/ 2147483647 h 79"/>
                    <a:gd name="T16" fmla="*/ 2147483647 w 210"/>
                    <a:gd name="T17" fmla="*/ 2147483647 h 79"/>
                    <a:gd name="T18" fmla="*/ 2147483647 w 210"/>
                    <a:gd name="T19" fmla="*/ 2147483647 h 79"/>
                    <a:gd name="T20" fmla="*/ 2147483647 w 210"/>
                    <a:gd name="T21" fmla="*/ 2147483647 h 79"/>
                    <a:gd name="T22" fmla="*/ 2147483647 w 210"/>
                    <a:gd name="T23" fmla="*/ 2147483647 h 79"/>
                    <a:gd name="T24" fmla="*/ 2147483647 w 210"/>
                    <a:gd name="T25" fmla="*/ 2147483647 h 79"/>
                    <a:gd name="T26" fmla="*/ 2147483647 w 210"/>
                    <a:gd name="T27" fmla="*/ 2147483647 h 79"/>
                    <a:gd name="T28" fmla="*/ 2147483647 w 210"/>
                    <a:gd name="T29" fmla="*/ 2147483647 h 79"/>
                    <a:gd name="T30" fmla="*/ 2147483647 w 210"/>
                    <a:gd name="T31" fmla="*/ 2147483647 h 79"/>
                    <a:gd name="T32" fmla="*/ 2147483647 w 210"/>
                    <a:gd name="T33" fmla="*/ 2147483647 h 79"/>
                    <a:gd name="T34" fmla="*/ 2147483647 w 210"/>
                    <a:gd name="T35" fmla="*/ 2147483647 h 79"/>
                    <a:gd name="T36" fmla="*/ 2147483647 w 210"/>
                    <a:gd name="T37" fmla="*/ 2147483647 h 79"/>
                    <a:gd name="T38" fmla="*/ 2147483647 w 210"/>
                    <a:gd name="T39" fmla="*/ 2147483647 h 79"/>
                    <a:gd name="T40" fmla="*/ 2147483647 w 210"/>
                    <a:gd name="T41" fmla="*/ 2147483647 h 79"/>
                    <a:gd name="T42" fmla="*/ 2147483647 w 210"/>
                    <a:gd name="T43" fmla="*/ 2147483647 h 79"/>
                    <a:gd name="T44" fmla="*/ 2147483647 w 210"/>
                    <a:gd name="T45" fmla="*/ 2147483647 h 79"/>
                    <a:gd name="T46" fmla="*/ 2147483647 w 210"/>
                    <a:gd name="T47" fmla="*/ 2147483647 h 79"/>
                    <a:gd name="T48" fmla="*/ 2147483647 w 210"/>
                    <a:gd name="T49" fmla="*/ 2147483647 h 79"/>
                    <a:gd name="T50" fmla="*/ 2147483647 w 210"/>
                    <a:gd name="T51" fmla="*/ 2147483647 h 79"/>
                    <a:gd name="T52" fmla="*/ 2147483647 w 210"/>
                    <a:gd name="T53" fmla="*/ 2147483647 h 79"/>
                    <a:gd name="T54" fmla="*/ 0 w 210"/>
                    <a:gd name="T55" fmla="*/ 2147483647 h 79"/>
                    <a:gd name="T56" fmla="*/ 2147483647 w 210"/>
                    <a:gd name="T57" fmla="*/ 2147483647 h 79"/>
                    <a:gd name="T58" fmla="*/ 2147483647 w 210"/>
                    <a:gd name="T59" fmla="*/ 2147483647 h 79"/>
                    <a:gd name="T60" fmla="*/ 2147483647 w 210"/>
                    <a:gd name="T61" fmla="*/ 2147483647 h 79"/>
                    <a:gd name="T62" fmla="*/ 2147483647 w 210"/>
                    <a:gd name="T63" fmla="*/ 2147483647 h 79"/>
                    <a:gd name="T64" fmla="*/ 2147483647 w 210"/>
                    <a:gd name="T65" fmla="*/ 2147483647 h 79"/>
                    <a:gd name="T66" fmla="*/ 2147483647 w 210"/>
                    <a:gd name="T67" fmla="*/ 2147483647 h 79"/>
                    <a:gd name="T68" fmla="*/ 2147483647 w 210"/>
                    <a:gd name="T69" fmla="*/ 0 h 79"/>
                    <a:gd name="T70" fmla="*/ 2147483647 w 210"/>
                    <a:gd name="T71" fmla="*/ 0 h 79"/>
                    <a:gd name="T72" fmla="*/ 2147483647 w 210"/>
                    <a:gd name="T73" fmla="*/ 2147483647 h 79"/>
                    <a:gd name="T74" fmla="*/ 2147483647 w 210"/>
                    <a:gd name="T75" fmla="*/ 2147483647 h 79"/>
                    <a:gd name="T76" fmla="*/ 2147483647 w 210"/>
                    <a:gd name="T77" fmla="*/ 2147483647 h 79"/>
                    <a:gd name="T78" fmla="*/ 2147483647 w 210"/>
                    <a:gd name="T79" fmla="*/ 2147483647 h 79"/>
                    <a:gd name="T80" fmla="*/ 2147483647 w 210"/>
                    <a:gd name="T81" fmla="*/ 2147483647 h 79"/>
                    <a:gd name="T82" fmla="*/ 2147483647 w 210"/>
                    <a:gd name="T83" fmla="*/ 2147483647 h 79"/>
                    <a:gd name="T84" fmla="*/ 2147483647 w 210"/>
                    <a:gd name="T85" fmla="*/ 2147483647 h 79"/>
                    <a:gd name="T86" fmla="*/ 2147483647 w 210"/>
                    <a:gd name="T87" fmla="*/ 2147483647 h 79"/>
                    <a:gd name="T88" fmla="*/ 2147483647 w 210"/>
                    <a:gd name="T89" fmla="*/ 2147483647 h 79"/>
                    <a:gd name="T90" fmla="*/ 2147483647 w 210"/>
                    <a:gd name="T91" fmla="*/ 2147483647 h 79"/>
                    <a:gd name="T92" fmla="*/ 2147483647 w 210"/>
                    <a:gd name="T93" fmla="*/ 2147483647 h 79"/>
                    <a:gd name="T94" fmla="*/ 2147483647 w 210"/>
                    <a:gd name="T95" fmla="*/ 2147483647 h 79"/>
                    <a:gd name="T96" fmla="*/ 2147483647 w 210"/>
                    <a:gd name="T97" fmla="*/ 2147483647 h 79"/>
                    <a:gd name="T98" fmla="*/ 2147483647 w 210"/>
                    <a:gd name="T99" fmla="*/ 2147483647 h 79"/>
                    <a:gd name="T100" fmla="*/ 2147483647 w 210"/>
                    <a:gd name="T101" fmla="*/ 2147483647 h 79"/>
                    <a:gd name="T102" fmla="*/ 2147483647 w 210"/>
                    <a:gd name="T103" fmla="*/ 2147483647 h 79"/>
                    <a:gd name="T104" fmla="*/ 2147483647 w 210"/>
                    <a:gd name="T105" fmla="*/ 2147483647 h 79"/>
                    <a:gd name="T106" fmla="*/ 2147483647 w 210"/>
                    <a:gd name="T107" fmla="*/ 2147483647 h 79"/>
                    <a:gd name="T108" fmla="*/ 2147483647 w 210"/>
                    <a:gd name="T109" fmla="*/ 2147483647 h 79"/>
                    <a:gd name="T110" fmla="*/ 2147483647 w 210"/>
                    <a:gd name="T111" fmla="*/ 2147483647 h 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0"/>
                    <a:gd name="T169" fmla="*/ 0 h 79"/>
                    <a:gd name="T170" fmla="*/ 210 w 210"/>
                    <a:gd name="T171" fmla="*/ 79 h 7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0" h="79">
                      <a:moveTo>
                        <a:pt x="206" y="54"/>
                      </a:moveTo>
                      <a:lnTo>
                        <a:pt x="206" y="54"/>
                      </a:lnTo>
                      <a:lnTo>
                        <a:pt x="209" y="57"/>
                      </a:lnTo>
                      <a:lnTo>
                        <a:pt x="210" y="58"/>
                      </a:lnTo>
                      <a:lnTo>
                        <a:pt x="210" y="59"/>
                      </a:lnTo>
                      <a:lnTo>
                        <a:pt x="207" y="65"/>
                      </a:lnTo>
                      <a:lnTo>
                        <a:pt x="204" y="71"/>
                      </a:lnTo>
                      <a:lnTo>
                        <a:pt x="200" y="76"/>
                      </a:lnTo>
                      <a:lnTo>
                        <a:pt x="193" y="71"/>
                      </a:lnTo>
                      <a:lnTo>
                        <a:pt x="186" y="67"/>
                      </a:lnTo>
                      <a:lnTo>
                        <a:pt x="177" y="67"/>
                      </a:lnTo>
                      <a:lnTo>
                        <a:pt x="168" y="68"/>
                      </a:lnTo>
                      <a:lnTo>
                        <a:pt x="153" y="72"/>
                      </a:lnTo>
                      <a:lnTo>
                        <a:pt x="145" y="74"/>
                      </a:lnTo>
                      <a:lnTo>
                        <a:pt x="139" y="78"/>
                      </a:lnTo>
                      <a:lnTo>
                        <a:pt x="135" y="79"/>
                      </a:lnTo>
                      <a:lnTo>
                        <a:pt x="133" y="78"/>
                      </a:lnTo>
                      <a:lnTo>
                        <a:pt x="129" y="77"/>
                      </a:lnTo>
                      <a:lnTo>
                        <a:pt x="126" y="77"/>
                      </a:lnTo>
                      <a:lnTo>
                        <a:pt x="121" y="77"/>
                      </a:lnTo>
                      <a:lnTo>
                        <a:pt x="120" y="78"/>
                      </a:lnTo>
                      <a:lnTo>
                        <a:pt x="117" y="77"/>
                      </a:lnTo>
                      <a:lnTo>
                        <a:pt x="108" y="73"/>
                      </a:lnTo>
                      <a:lnTo>
                        <a:pt x="103" y="71"/>
                      </a:lnTo>
                      <a:lnTo>
                        <a:pt x="98" y="71"/>
                      </a:lnTo>
                      <a:lnTo>
                        <a:pt x="97" y="67"/>
                      </a:lnTo>
                      <a:lnTo>
                        <a:pt x="96" y="64"/>
                      </a:lnTo>
                      <a:lnTo>
                        <a:pt x="92" y="61"/>
                      </a:lnTo>
                      <a:lnTo>
                        <a:pt x="87" y="60"/>
                      </a:lnTo>
                      <a:lnTo>
                        <a:pt x="70" y="59"/>
                      </a:lnTo>
                      <a:lnTo>
                        <a:pt x="55" y="57"/>
                      </a:lnTo>
                      <a:lnTo>
                        <a:pt x="53" y="58"/>
                      </a:lnTo>
                      <a:lnTo>
                        <a:pt x="50" y="59"/>
                      </a:lnTo>
                      <a:lnTo>
                        <a:pt x="40" y="60"/>
                      </a:lnTo>
                      <a:lnTo>
                        <a:pt x="32" y="62"/>
                      </a:lnTo>
                      <a:lnTo>
                        <a:pt x="22" y="51"/>
                      </a:lnTo>
                      <a:lnTo>
                        <a:pt x="11" y="40"/>
                      </a:lnTo>
                      <a:lnTo>
                        <a:pt x="9" y="38"/>
                      </a:lnTo>
                      <a:lnTo>
                        <a:pt x="8" y="34"/>
                      </a:lnTo>
                      <a:lnTo>
                        <a:pt x="3" y="27"/>
                      </a:lnTo>
                      <a:lnTo>
                        <a:pt x="2" y="23"/>
                      </a:lnTo>
                      <a:lnTo>
                        <a:pt x="0" y="19"/>
                      </a:lnTo>
                      <a:lnTo>
                        <a:pt x="7" y="17"/>
                      </a:lnTo>
                      <a:lnTo>
                        <a:pt x="16" y="19"/>
                      </a:lnTo>
                      <a:lnTo>
                        <a:pt x="17" y="19"/>
                      </a:lnTo>
                      <a:lnTo>
                        <a:pt x="18" y="17"/>
                      </a:lnTo>
                      <a:lnTo>
                        <a:pt x="21" y="15"/>
                      </a:lnTo>
                      <a:lnTo>
                        <a:pt x="28" y="11"/>
                      </a:lnTo>
                      <a:lnTo>
                        <a:pt x="32" y="10"/>
                      </a:lnTo>
                      <a:lnTo>
                        <a:pt x="35" y="8"/>
                      </a:lnTo>
                      <a:lnTo>
                        <a:pt x="41" y="3"/>
                      </a:lnTo>
                      <a:lnTo>
                        <a:pt x="47" y="0"/>
                      </a:lnTo>
                      <a:lnTo>
                        <a:pt x="49" y="2"/>
                      </a:lnTo>
                      <a:lnTo>
                        <a:pt x="51" y="4"/>
                      </a:lnTo>
                      <a:lnTo>
                        <a:pt x="56" y="8"/>
                      </a:lnTo>
                      <a:lnTo>
                        <a:pt x="68" y="11"/>
                      </a:lnTo>
                      <a:lnTo>
                        <a:pt x="92" y="22"/>
                      </a:lnTo>
                      <a:lnTo>
                        <a:pt x="98" y="26"/>
                      </a:lnTo>
                      <a:lnTo>
                        <a:pt x="102" y="29"/>
                      </a:lnTo>
                      <a:lnTo>
                        <a:pt x="107" y="34"/>
                      </a:lnTo>
                      <a:lnTo>
                        <a:pt x="113" y="38"/>
                      </a:lnTo>
                      <a:lnTo>
                        <a:pt x="116" y="39"/>
                      </a:lnTo>
                      <a:lnTo>
                        <a:pt x="117" y="41"/>
                      </a:lnTo>
                      <a:lnTo>
                        <a:pt x="119" y="44"/>
                      </a:lnTo>
                      <a:lnTo>
                        <a:pt x="121" y="45"/>
                      </a:lnTo>
                      <a:lnTo>
                        <a:pt x="124" y="45"/>
                      </a:lnTo>
                      <a:lnTo>
                        <a:pt x="126" y="44"/>
                      </a:lnTo>
                      <a:lnTo>
                        <a:pt x="129" y="41"/>
                      </a:lnTo>
                      <a:lnTo>
                        <a:pt x="131" y="40"/>
                      </a:lnTo>
                      <a:lnTo>
                        <a:pt x="133" y="41"/>
                      </a:lnTo>
                      <a:lnTo>
                        <a:pt x="135" y="42"/>
                      </a:lnTo>
                      <a:lnTo>
                        <a:pt x="139" y="46"/>
                      </a:lnTo>
                      <a:lnTo>
                        <a:pt x="141" y="49"/>
                      </a:lnTo>
                      <a:lnTo>
                        <a:pt x="144" y="49"/>
                      </a:lnTo>
                      <a:lnTo>
                        <a:pt x="146" y="48"/>
                      </a:lnTo>
                      <a:lnTo>
                        <a:pt x="152" y="45"/>
                      </a:lnTo>
                      <a:lnTo>
                        <a:pt x="158" y="42"/>
                      </a:lnTo>
                      <a:lnTo>
                        <a:pt x="164" y="42"/>
                      </a:lnTo>
                      <a:lnTo>
                        <a:pt x="171" y="42"/>
                      </a:lnTo>
                      <a:lnTo>
                        <a:pt x="199" y="49"/>
                      </a:lnTo>
                      <a:lnTo>
                        <a:pt x="202" y="52"/>
                      </a:lnTo>
                      <a:lnTo>
                        <a:pt x="206" y="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7" name="Freeform 1208"/>
                <p:cNvSpPr>
                  <a:spLocks/>
                </p:cNvSpPr>
                <p:nvPr/>
              </p:nvSpPr>
              <p:spPr bwMode="auto">
                <a:xfrm>
                  <a:off x="4937856" y="2894315"/>
                  <a:ext cx="264898" cy="216061"/>
                </a:xfrm>
                <a:custGeom>
                  <a:avLst/>
                  <a:gdLst>
                    <a:gd name="T0" fmla="*/ 2147483647 w 194"/>
                    <a:gd name="T1" fmla="*/ 2147483647 h 146"/>
                    <a:gd name="T2" fmla="*/ 2147483647 w 194"/>
                    <a:gd name="T3" fmla="*/ 2147483647 h 146"/>
                    <a:gd name="T4" fmla="*/ 2147483647 w 194"/>
                    <a:gd name="T5" fmla="*/ 2147483647 h 146"/>
                    <a:gd name="T6" fmla="*/ 2147483647 w 194"/>
                    <a:gd name="T7" fmla="*/ 2147483647 h 146"/>
                    <a:gd name="T8" fmla="*/ 2147483647 w 194"/>
                    <a:gd name="T9" fmla="*/ 2147483647 h 146"/>
                    <a:gd name="T10" fmla="*/ 2147483647 w 194"/>
                    <a:gd name="T11" fmla="*/ 2147483647 h 146"/>
                    <a:gd name="T12" fmla="*/ 2147483647 w 194"/>
                    <a:gd name="T13" fmla="*/ 2147483647 h 146"/>
                    <a:gd name="T14" fmla="*/ 2147483647 w 194"/>
                    <a:gd name="T15" fmla="*/ 2147483647 h 146"/>
                    <a:gd name="T16" fmla="*/ 2147483647 w 194"/>
                    <a:gd name="T17" fmla="*/ 2147483647 h 146"/>
                    <a:gd name="T18" fmla="*/ 2147483647 w 194"/>
                    <a:gd name="T19" fmla="*/ 2147483647 h 146"/>
                    <a:gd name="T20" fmla="*/ 2147483647 w 194"/>
                    <a:gd name="T21" fmla="*/ 2147483647 h 146"/>
                    <a:gd name="T22" fmla="*/ 2147483647 w 194"/>
                    <a:gd name="T23" fmla="*/ 2147483647 h 146"/>
                    <a:gd name="T24" fmla="*/ 2147483647 w 194"/>
                    <a:gd name="T25" fmla="*/ 2147483647 h 146"/>
                    <a:gd name="T26" fmla="*/ 2147483647 w 194"/>
                    <a:gd name="T27" fmla="*/ 2147483647 h 146"/>
                    <a:gd name="T28" fmla="*/ 2147483647 w 194"/>
                    <a:gd name="T29" fmla="*/ 2147483647 h 146"/>
                    <a:gd name="T30" fmla="*/ 2147483647 w 194"/>
                    <a:gd name="T31" fmla="*/ 2147483647 h 146"/>
                    <a:gd name="T32" fmla="*/ 2147483647 w 194"/>
                    <a:gd name="T33" fmla="*/ 2147483647 h 146"/>
                    <a:gd name="T34" fmla="*/ 2147483647 w 194"/>
                    <a:gd name="T35" fmla="*/ 2147483647 h 146"/>
                    <a:gd name="T36" fmla="*/ 2147483647 w 194"/>
                    <a:gd name="T37" fmla="*/ 2147483647 h 146"/>
                    <a:gd name="T38" fmla="*/ 2147483647 w 194"/>
                    <a:gd name="T39" fmla="*/ 2147483647 h 146"/>
                    <a:gd name="T40" fmla="*/ 2147483647 w 194"/>
                    <a:gd name="T41" fmla="*/ 2147483647 h 146"/>
                    <a:gd name="T42" fmla="*/ 2147483647 w 194"/>
                    <a:gd name="T43" fmla="*/ 2147483647 h 146"/>
                    <a:gd name="T44" fmla="*/ 2147483647 w 194"/>
                    <a:gd name="T45" fmla="*/ 2147483647 h 146"/>
                    <a:gd name="T46" fmla="*/ 2147483647 w 194"/>
                    <a:gd name="T47" fmla="*/ 2147483647 h 146"/>
                    <a:gd name="T48" fmla="*/ 2147483647 w 194"/>
                    <a:gd name="T49" fmla="*/ 2147483647 h 146"/>
                    <a:gd name="T50" fmla="*/ 2147483647 w 194"/>
                    <a:gd name="T51" fmla="*/ 2147483647 h 146"/>
                    <a:gd name="T52" fmla="*/ 2147483647 w 194"/>
                    <a:gd name="T53" fmla="*/ 2147483647 h 146"/>
                    <a:gd name="T54" fmla="*/ 2147483647 w 194"/>
                    <a:gd name="T55" fmla="*/ 2147483647 h 146"/>
                    <a:gd name="T56" fmla="*/ 2147483647 w 194"/>
                    <a:gd name="T57" fmla="*/ 2147483647 h 146"/>
                    <a:gd name="T58" fmla="*/ 2147483647 w 194"/>
                    <a:gd name="T59" fmla="*/ 2147483647 h 146"/>
                    <a:gd name="T60" fmla="*/ 2147483647 w 194"/>
                    <a:gd name="T61" fmla="*/ 2147483647 h 146"/>
                    <a:gd name="T62" fmla="*/ 2147483647 w 194"/>
                    <a:gd name="T63" fmla="*/ 2147483647 h 146"/>
                    <a:gd name="T64" fmla="*/ 2147483647 w 194"/>
                    <a:gd name="T65" fmla="*/ 2147483647 h 146"/>
                    <a:gd name="T66" fmla="*/ 2147483647 w 194"/>
                    <a:gd name="T67" fmla="*/ 2147483647 h 146"/>
                    <a:gd name="T68" fmla="*/ 2147483647 w 194"/>
                    <a:gd name="T69" fmla="*/ 2147483647 h 146"/>
                    <a:gd name="T70" fmla="*/ 2147483647 w 194"/>
                    <a:gd name="T71" fmla="*/ 2147483647 h 146"/>
                    <a:gd name="T72" fmla="*/ 2147483647 w 194"/>
                    <a:gd name="T73" fmla="*/ 2147483647 h 146"/>
                    <a:gd name="T74" fmla="*/ 2147483647 w 194"/>
                    <a:gd name="T75" fmla="*/ 2147483647 h 146"/>
                    <a:gd name="T76" fmla="*/ 2147483647 w 194"/>
                    <a:gd name="T77" fmla="*/ 0 h 146"/>
                    <a:gd name="T78" fmla="*/ 2147483647 w 194"/>
                    <a:gd name="T79" fmla="*/ 2147483647 h 146"/>
                    <a:gd name="T80" fmla="*/ 2147483647 w 194"/>
                    <a:gd name="T81" fmla="*/ 2147483647 h 146"/>
                    <a:gd name="T82" fmla="*/ 2147483647 w 194"/>
                    <a:gd name="T83" fmla="*/ 2147483647 h 146"/>
                    <a:gd name="T84" fmla="*/ 2147483647 w 194"/>
                    <a:gd name="T85" fmla="*/ 2147483647 h 146"/>
                    <a:gd name="T86" fmla="*/ 2147483647 w 194"/>
                    <a:gd name="T87" fmla="*/ 2147483647 h 146"/>
                    <a:gd name="T88" fmla="*/ 2147483647 w 194"/>
                    <a:gd name="T89" fmla="*/ 2147483647 h 1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146"/>
                    <a:gd name="T137" fmla="*/ 194 w 194"/>
                    <a:gd name="T138" fmla="*/ 146 h 1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146">
                      <a:moveTo>
                        <a:pt x="105" y="17"/>
                      </a:moveTo>
                      <a:lnTo>
                        <a:pt x="105" y="17"/>
                      </a:lnTo>
                      <a:lnTo>
                        <a:pt x="119" y="17"/>
                      </a:lnTo>
                      <a:lnTo>
                        <a:pt x="133" y="15"/>
                      </a:lnTo>
                      <a:lnTo>
                        <a:pt x="161" y="11"/>
                      </a:lnTo>
                      <a:lnTo>
                        <a:pt x="166" y="11"/>
                      </a:lnTo>
                      <a:lnTo>
                        <a:pt x="173" y="12"/>
                      </a:lnTo>
                      <a:lnTo>
                        <a:pt x="178" y="16"/>
                      </a:lnTo>
                      <a:lnTo>
                        <a:pt x="182" y="21"/>
                      </a:lnTo>
                      <a:lnTo>
                        <a:pt x="185" y="28"/>
                      </a:lnTo>
                      <a:lnTo>
                        <a:pt x="189" y="35"/>
                      </a:lnTo>
                      <a:lnTo>
                        <a:pt x="192" y="43"/>
                      </a:lnTo>
                      <a:lnTo>
                        <a:pt x="192" y="50"/>
                      </a:lnTo>
                      <a:lnTo>
                        <a:pt x="192" y="58"/>
                      </a:lnTo>
                      <a:lnTo>
                        <a:pt x="190" y="67"/>
                      </a:lnTo>
                      <a:lnTo>
                        <a:pt x="187" y="83"/>
                      </a:lnTo>
                      <a:lnTo>
                        <a:pt x="187" y="85"/>
                      </a:lnTo>
                      <a:lnTo>
                        <a:pt x="189" y="87"/>
                      </a:lnTo>
                      <a:lnTo>
                        <a:pt x="192" y="89"/>
                      </a:lnTo>
                      <a:lnTo>
                        <a:pt x="192" y="90"/>
                      </a:lnTo>
                      <a:lnTo>
                        <a:pt x="192" y="92"/>
                      </a:lnTo>
                      <a:lnTo>
                        <a:pt x="188" y="100"/>
                      </a:lnTo>
                      <a:lnTo>
                        <a:pt x="187" y="108"/>
                      </a:lnTo>
                      <a:lnTo>
                        <a:pt x="188" y="111"/>
                      </a:lnTo>
                      <a:lnTo>
                        <a:pt x="189" y="113"/>
                      </a:lnTo>
                      <a:lnTo>
                        <a:pt x="193" y="118"/>
                      </a:lnTo>
                      <a:lnTo>
                        <a:pt x="194" y="121"/>
                      </a:lnTo>
                      <a:lnTo>
                        <a:pt x="193" y="125"/>
                      </a:lnTo>
                      <a:lnTo>
                        <a:pt x="192" y="128"/>
                      </a:lnTo>
                      <a:lnTo>
                        <a:pt x="187" y="133"/>
                      </a:lnTo>
                      <a:lnTo>
                        <a:pt x="180" y="139"/>
                      </a:lnTo>
                      <a:lnTo>
                        <a:pt x="171" y="146"/>
                      </a:lnTo>
                      <a:lnTo>
                        <a:pt x="169" y="144"/>
                      </a:lnTo>
                      <a:lnTo>
                        <a:pt x="164" y="141"/>
                      </a:lnTo>
                      <a:lnTo>
                        <a:pt x="136" y="134"/>
                      </a:lnTo>
                      <a:lnTo>
                        <a:pt x="130" y="134"/>
                      </a:lnTo>
                      <a:lnTo>
                        <a:pt x="123" y="134"/>
                      </a:lnTo>
                      <a:lnTo>
                        <a:pt x="118" y="137"/>
                      </a:lnTo>
                      <a:lnTo>
                        <a:pt x="112" y="140"/>
                      </a:lnTo>
                      <a:lnTo>
                        <a:pt x="109" y="141"/>
                      </a:lnTo>
                      <a:lnTo>
                        <a:pt x="107" y="141"/>
                      </a:lnTo>
                      <a:lnTo>
                        <a:pt x="104" y="138"/>
                      </a:lnTo>
                      <a:lnTo>
                        <a:pt x="102" y="134"/>
                      </a:lnTo>
                      <a:lnTo>
                        <a:pt x="98" y="133"/>
                      </a:lnTo>
                      <a:lnTo>
                        <a:pt x="97" y="132"/>
                      </a:lnTo>
                      <a:lnTo>
                        <a:pt x="94" y="133"/>
                      </a:lnTo>
                      <a:lnTo>
                        <a:pt x="91" y="136"/>
                      </a:lnTo>
                      <a:lnTo>
                        <a:pt x="89" y="137"/>
                      </a:lnTo>
                      <a:lnTo>
                        <a:pt x="88" y="137"/>
                      </a:lnTo>
                      <a:lnTo>
                        <a:pt x="85" y="136"/>
                      </a:lnTo>
                      <a:lnTo>
                        <a:pt x="83" y="133"/>
                      </a:lnTo>
                      <a:lnTo>
                        <a:pt x="81" y="131"/>
                      </a:lnTo>
                      <a:lnTo>
                        <a:pt x="79" y="130"/>
                      </a:lnTo>
                      <a:lnTo>
                        <a:pt x="74" y="126"/>
                      </a:lnTo>
                      <a:lnTo>
                        <a:pt x="69" y="121"/>
                      </a:lnTo>
                      <a:lnTo>
                        <a:pt x="63" y="118"/>
                      </a:lnTo>
                      <a:lnTo>
                        <a:pt x="57" y="114"/>
                      </a:lnTo>
                      <a:lnTo>
                        <a:pt x="34" y="103"/>
                      </a:lnTo>
                      <a:lnTo>
                        <a:pt x="22" y="100"/>
                      </a:lnTo>
                      <a:lnTo>
                        <a:pt x="17" y="96"/>
                      </a:lnTo>
                      <a:lnTo>
                        <a:pt x="14" y="94"/>
                      </a:lnTo>
                      <a:lnTo>
                        <a:pt x="13" y="92"/>
                      </a:lnTo>
                      <a:lnTo>
                        <a:pt x="15" y="86"/>
                      </a:lnTo>
                      <a:lnTo>
                        <a:pt x="14" y="81"/>
                      </a:lnTo>
                      <a:lnTo>
                        <a:pt x="11" y="76"/>
                      </a:lnTo>
                      <a:lnTo>
                        <a:pt x="6" y="73"/>
                      </a:lnTo>
                      <a:lnTo>
                        <a:pt x="5" y="70"/>
                      </a:lnTo>
                      <a:lnTo>
                        <a:pt x="4" y="68"/>
                      </a:lnTo>
                      <a:lnTo>
                        <a:pt x="4" y="66"/>
                      </a:lnTo>
                      <a:lnTo>
                        <a:pt x="4" y="62"/>
                      </a:lnTo>
                      <a:lnTo>
                        <a:pt x="5" y="60"/>
                      </a:lnTo>
                      <a:lnTo>
                        <a:pt x="5" y="56"/>
                      </a:lnTo>
                      <a:lnTo>
                        <a:pt x="4" y="53"/>
                      </a:lnTo>
                      <a:lnTo>
                        <a:pt x="1" y="48"/>
                      </a:lnTo>
                      <a:lnTo>
                        <a:pt x="0" y="44"/>
                      </a:lnTo>
                      <a:lnTo>
                        <a:pt x="1" y="39"/>
                      </a:lnTo>
                      <a:lnTo>
                        <a:pt x="3" y="36"/>
                      </a:lnTo>
                      <a:lnTo>
                        <a:pt x="3" y="31"/>
                      </a:lnTo>
                      <a:lnTo>
                        <a:pt x="4" y="26"/>
                      </a:lnTo>
                      <a:lnTo>
                        <a:pt x="5" y="22"/>
                      </a:lnTo>
                      <a:lnTo>
                        <a:pt x="11" y="23"/>
                      </a:lnTo>
                      <a:lnTo>
                        <a:pt x="13" y="23"/>
                      </a:lnTo>
                      <a:lnTo>
                        <a:pt x="15" y="22"/>
                      </a:lnTo>
                      <a:lnTo>
                        <a:pt x="19" y="19"/>
                      </a:lnTo>
                      <a:lnTo>
                        <a:pt x="27" y="18"/>
                      </a:lnTo>
                      <a:lnTo>
                        <a:pt x="34" y="17"/>
                      </a:lnTo>
                      <a:lnTo>
                        <a:pt x="48" y="12"/>
                      </a:lnTo>
                      <a:lnTo>
                        <a:pt x="62" y="6"/>
                      </a:lnTo>
                      <a:lnTo>
                        <a:pt x="77" y="0"/>
                      </a:lnTo>
                      <a:lnTo>
                        <a:pt x="79" y="0"/>
                      </a:lnTo>
                      <a:lnTo>
                        <a:pt x="80" y="2"/>
                      </a:lnTo>
                      <a:lnTo>
                        <a:pt x="80" y="4"/>
                      </a:lnTo>
                      <a:lnTo>
                        <a:pt x="86" y="4"/>
                      </a:lnTo>
                      <a:lnTo>
                        <a:pt x="88" y="5"/>
                      </a:lnTo>
                      <a:lnTo>
                        <a:pt x="90" y="6"/>
                      </a:lnTo>
                      <a:lnTo>
                        <a:pt x="89" y="9"/>
                      </a:lnTo>
                      <a:lnTo>
                        <a:pt x="88" y="10"/>
                      </a:lnTo>
                      <a:lnTo>
                        <a:pt x="86" y="12"/>
                      </a:lnTo>
                      <a:lnTo>
                        <a:pt x="86" y="13"/>
                      </a:lnTo>
                      <a:lnTo>
                        <a:pt x="90" y="18"/>
                      </a:lnTo>
                      <a:lnTo>
                        <a:pt x="95" y="21"/>
                      </a:lnTo>
                      <a:lnTo>
                        <a:pt x="98" y="21"/>
                      </a:lnTo>
                      <a:lnTo>
                        <a:pt x="100" y="21"/>
                      </a:lnTo>
                      <a:lnTo>
                        <a:pt x="103" y="19"/>
                      </a:lnTo>
                      <a:lnTo>
                        <a:pt x="105"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8" name="Freeform 1210"/>
                <p:cNvSpPr>
                  <a:spLocks/>
                </p:cNvSpPr>
                <p:nvPr/>
              </p:nvSpPr>
              <p:spPr bwMode="auto">
                <a:xfrm>
                  <a:off x="4745469" y="3073374"/>
                  <a:ext cx="17758" cy="28117"/>
                </a:xfrm>
                <a:custGeom>
                  <a:avLst/>
                  <a:gdLst>
                    <a:gd name="T0" fmla="*/ 2147483647 w 13"/>
                    <a:gd name="T1" fmla="*/ 0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0 w 13"/>
                    <a:gd name="T13" fmla="*/ 2147483647 h 19"/>
                    <a:gd name="T14" fmla="*/ 2147483647 w 13"/>
                    <a:gd name="T15" fmla="*/ 2147483647 h 19"/>
                    <a:gd name="T16" fmla="*/ 2147483647 w 1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9"/>
                    <a:gd name="T29" fmla="*/ 13 w 1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9">
                      <a:moveTo>
                        <a:pt x="8" y="0"/>
                      </a:moveTo>
                      <a:lnTo>
                        <a:pt x="10" y="4"/>
                      </a:lnTo>
                      <a:lnTo>
                        <a:pt x="11" y="9"/>
                      </a:lnTo>
                      <a:lnTo>
                        <a:pt x="13" y="19"/>
                      </a:lnTo>
                      <a:lnTo>
                        <a:pt x="6" y="17"/>
                      </a:lnTo>
                      <a:lnTo>
                        <a:pt x="1" y="12"/>
                      </a:lnTo>
                      <a:lnTo>
                        <a:pt x="0" y="11"/>
                      </a:lnTo>
                      <a:lnTo>
                        <a:pt x="4" y="5"/>
                      </a:lnTo>
                      <a:lnTo>
                        <a:pt x="8"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09" name="Freeform 1212"/>
                <p:cNvSpPr>
                  <a:spLocks/>
                </p:cNvSpPr>
                <p:nvPr/>
              </p:nvSpPr>
              <p:spPr bwMode="auto">
                <a:xfrm>
                  <a:off x="4743990" y="3071900"/>
                  <a:ext cx="16278" cy="28118"/>
                </a:xfrm>
                <a:custGeom>
                  <a:avLst/>
                  <a:gdLst>
                    <a:gd name="T0" fmla="*/ 2147483647 w 12"/>
                    <a:gd name="T1" fmla="*/ 0 h 19"/>
                    <a:gd name="T2" fmla="*/ 2147483647 w 12"/>
                    <a:gd name="T3" fmla="*/ 0 h 19"/>
                    <a:gd name="T4" fmla="*/ 2147483647 w 12"/>
                    <a:gd name="T5" fmla="*/ 2147483647 h 19"/>
                    <a:gd name="T6" fmla="*/ 2147483647 w 12"/>
                    <a:gd name="T7" fmla="*/ 2147483647 h 19"/>
                    <a:gd name="T8" fmla="*/ 2147483647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0 w 12"/>
                    <a:gd name="T19" fmla="*/ 2147483647 h 19"/>
                    <a:gd name="T20" fmla="*/ 0 w 12"/>
                    <a:gd name="T21" fmla="*/ 2147483647 h 19"/>
                    <a:gd name="T22" fmla="*/ 2147483647 w 12"/>
                    <a:gd name="T23" fmla="*/ 2147483647 h 19"/>
                    <a:gd name="T24" fmla="*/ 2147483647 w 12"/>
                    <a:gd name="T25" fmla="*/ 0 h 19"/>
                    <a:gd name="T26" fmla="*/ 2147483647 w 12"/>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9"/>
                    <a:gd name="T44" fmla="*/ 12 w 1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9">
                      <a:moveTo>
                        <a:pt x="7" y="0"/>
                      </a:moveTo>
                      <a:lnTo>
                        <a:pt x="7" y="0"/>
                      </a:lnTo>
                      <a:lnTo>
                        <a:pt x="10" y="4"/>
                      </a:lnTo>
                      <a:lnTo>
                        <a:pt x="11" y="8"/>
                      </a:lnTo>
                      <a:lnTo>
                        <a:pt x="12" y="19"/>
                      </a:lnTo>
                      <a:lnTo>
                        <a:pt x="6" y="17"/>
                      </a:lnTo>
                      <a:lnTo>
                        <a:pt x="1" y="12"/>
                      </a:lnTo>
                      <a:lnTo>
                        <a:pt x="0" y="11"/>
                      </a:lnTo>
                      <a:lnTo>
                        <a:pt x="4" y="5"/>
                      </a:lnTo>
                      <a:lnTo>
                        <a:pt x="7"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0" name="Freeform 1221"/>
                <p:cNvSpPr>
                  <a:spLocks/>
                </p:cNvSpPr>
                <p:nvPr/>
              </p:nvSpPr>
              <p:spPr bwMode="auto">
                <a:xfrm>
                  <a:off x="4387342" y="3344191"/>
                  <a:ext cx="69554" cy="171665"/>
                </a:xfrm>
                <a:custGeom>
                  <a:avLst/>
                  <a:gdLst>
                    <a:gd name="T0" fmla="*/ 2147483647 w 51"/>
                    <a:gd name="T1" fmla="*/ 2147483647 h 116"/>
                    <a:gd name="T2" fmla="*/ 2147483647 w 51"/>
                    <a:gd name="T3" fmla="*/ 2147483647 h 116"/>
                    <a:gd name="T4" fmla="*/ 2147483647 w 51"/>
                    <a:gd name="T5" fmla="*/ 2147483647 h 116"/>
                    <a:gd name="T6" fmla="*/ 2147483647 w 51"/>
                    <a:gd name="T7" fmla="*/ 2147483647 h 116"/>
                    <a:gd name="T8" fmla="*/ 2147483647 w 51"/>
                    <a:gd name="T9" fmla="*/ 2147483647 h 116"/>
                    <a:gd name="T10" fmla="*/ 2147483647 w 51"/>
                    <a:gd name="T11" fmla="*/ 2147483647 h 116"/>
                    <a:gd name="T12" fmla="*/ 2147483647 w 51"/>
                    <a:gd name="T13" fmla="*/ 2147483647 h 116"/>
                    <a:gd name="T14" fmla="*/ 2147483647 w 51"/>
                    <a:gd name="T15" fmla="*/ 2147483647 h 116"/>
                    <a:gd name="T16" fmla="*/ 2147483647 w 51"/>
                    <a:gd name="T17" fmla="*/ 2147483647 h 116"/>
                    <a:gd name="T18" fmla="*/ 2147483647 w 51"/>
                    <a:gd name="T19" fmla="*/ 2147483647 h 116"/>
                    <a:gd name="T20" fmla="*/ 2147483647 w 51"/>
                    <a:gd name="T21" fmla="*/ 2147483647 h 116"/>
                    <a:gd name="T22" fmla="*/ 2147483647 w 51"/>
                    <a:gd name="T23" fmla="*/ 2147483647 h 116"/>
                    <a:gd name="T24" fmla="*/ 2147483647 w 51"/>
                    <a:gd name="T25" fmla="*/ 2147483647 h 116"/>
                    <a:gd name="T26" fmla="*/ 2147483647 w 51"/>
                    <a:gd name="T27" fmla="*/ 2147483647 h 116"/>
                    <a:gd name="T28" fmla="*/ 2147483647 w 51"/>
                    <a:gd name="T29" fmla="*/ 2147483647 h 116"/>
                    <a:gd name="T30" fmla="*/ 2147483647 w 51"/>
                    <a:gd name="T31" fmla="*/ 2147483647 h 116"/>
                    <a:gd name="T32" fmla="*/ 2147483647 w 51"/>
                    <a:gd name="T33" fmla="*/ 2147483647 h 116"/>
                    <a:gd name="T34" fmla="*/ 2147483647 w 51"/>
                    <a:gd name="T35" fmla="*/ 2147483647 h 116"/>
                    <a:gd name="T36" fmla="*/ 2147483647 w 51"/>
                    <a:gd name="T37" fmla="*/ 2147483647 h 116"/>
                    <a:gd name="T38" fmla="*/ 2147483647 w 51"/>
                    <a:gd name="T39" fmla="*/ 0 h 116"/>
                    <a:gd name="T40" fmla="*/ 2147483647 w 51"/>
                    <a:gd name="T41" fmla="*/ 2147483647 h 116"/>
                    <a:gd name="T42" fmla="*/ 2147483647 w 51"/>
                    <a:gd name="T43" fmla="*/ 2147483647 h 116"/>
                    <a:gd name="T44" fmla="*/ 2147483647 w 51"/>
                    <a:gd name="T45" fmla="*/ 2147483647 h 116"/>
                    <a:gd name="T46" fmla="*/ 2147483647 w 51"/>
                    <a:gd name="T47" fmla="*/ 2147483647 h 116"/>
                    <a:gd name="T48" fmla="*/ 2147483647 w 51"/>
                    <a:gd name="T49" fmla="*/ 2147483647 h 116"/>
                    <a:gd name="T50" fmla="*/ 2147483647 w 51"/>
                    <a:gd name="T51" fmla="*/ 2147483647 h 116"/>
                    <a:gd name="T52" fmla="*/ 0 w 51"/>
                    <a:gd name="T53" fmla="*/ 2147483647 h 116"/>
                    <a:gd name="T54" fmla="*/ 2147483647 w 51"/>
                    <a:gd name="T55" fmla="*/ 2147483647 h 116"/>
                    <a:gd name="T56" fmla="*/ 2147483647 w 51"/>
                    <a:gd name="T57" fmla="*/ 2147483647 h 116"/>
                    <a:gd name="T58" fmla="*/ 2147483647 w 51"/>
                    <a:gd name="T59" fmla="*/ 2147483647 h 116"/>
                    <a:gd name="T60" fmla="*/ 2147483647 w 51"/>
                    <a:gd name="T61" fmla="*/ 2147483647 h 116"/>
                    <a:gd name="T62" fmla="*/ 2147483647 w 51"/>
                    <a:gd name="T63" fmla="*/ 2147483647 h 116"/>
                    <a:gd name="T64" fmla="*/ 2147483647 w 51"/>
                    <a:gd name="T65" fmla="*/ 2147483647 h 116"/>
                    <a:gd name="T66" fmla="*/ 2147483647 w 51"/>
                    <a:gd name="T67" fmla="*/ 2147483647 h 116"/>
                    <a:gd name="T68" fmla="*/ 2147483647 w 51"/>
                    <a:gd name="T69" fmla="*/ 2147483647 h 116"/>
                    <a:gd name="T70" fmla="*/ 2147483647 w 51"/>
                    <a:gd name="T71" fmla="*/ 2147483647 h 116"/>
                    <a:gd name="T72" fmla="*/ 2147483647 w 51"/>
                    <a:gd name="T73" fmla="*/ 2147483647 h 116"/>
                    <a:gd name="T74" fmla="*/ 2147483647 w 51"/>
                    <a:gd name="T75" fmla="*/ 2147483647 h 116"/>
                    <a:gd name="T76" fmla="*/ 2147483647 w 51"/>
                    <a:gd name="T77" fmla="*/ 2147483647 h 116"/>
                    <a:gd name="T78" fmla="*/ 2147483647 w 51"/>
                    <a:gd name="T79" fmla="*/ 2147483647 h 116"/>
                    <a:gd name="T80" fmla="*/ 2147483647 w 51"/>
                    <a:gd name="T81" fmla="*/ 2147483647 h 116"/>
                    <a:gd name="T82" fmla="*/ 2147483647 w 51"/>
                    <a:gd name="T83" fmla="*/ 2147483647 h 116"/>
                    <a:gd name="T84" fmla="*/ 2147483647 w 51"/>
                    <a:gd name="T85" fmla="*/ 2147483647 h 116"/>
                    <a:gd name="T86" fmla="*/ 2147483647 w 51"/>
                    <a:gd name="T87" fmla="*/ 2147483647 h 1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
                    <a:gd name="T133" fmla="*/ 0 h 116"/>
                    <a:gd name="T134" fmla="*/ 51 w 51"/>
                    <a:gd name="T135" fmla="*/ 116 h 1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 h="116">
                      <a:moveTo>
                        <a:pt x="42" y="110"/>
                      </a:moveTo>
                      <a:lnTo>
                        <a:pt x="44" y="108"/>
                      </a:lnTo>
                      <a:lnTo>
                        <a:pt x="42" y="105"/>
                      </a:lnTo>
                      <a:lnTo>
                        <a:pt x="41" y="103"/>
                      </a:lnTo>
                      <a:lnTo>
                        <a:pt x="40" y="101"/>
                      </a:lnTo>
                      <a:lnTo>
                        <a:pt x="40" y="97"/>
                      </a:lnTo>
                      <a:lnTo>
                        <a:pt x="42" y="92"/>
                      </a:lnTo>
                      <a:lnTo>
                        <a:pt x="42" y="91"/>
                      </a:lnTo>
                      <a:lnTo>
                        <a:pt x="42" y="89"/>
                      </a:lnTo>
                      <a:lnTo>
                        <a:pt x="41" y="85"/>
                      </a:lnTo>
                      <a:lnTo>
                        <a:pt x="39" y="82"/>
                      </a:lnTo>
                      <a:lnTo>
                        <a:pt x="37" y="78"/>
                      </a:lnTo>
                      <a:lnTo>
                        <a:pt x="37" y="73"/>
                      </a:lnTo>
                      <a:lnTo>
                        <a:pt x="39" y="71"/>
                      </a:lnTo>
                      <a:lnTo>
                        <a:pt x="37" y="69"/>
                      </a:lnTo>
                      <a:lnTo>
                        <a:pt x="36" y="69"/>
                      </a:lnTo>
                      <a:lnTo>
                        <a:pt x="33" y="69"/>
                      </a:lnTo>
                      <a:lnTo>
                        <a:pt x="32" y="66"/>
                      </a:lnTo>
                      <a:lnTo>
                        <a:pt x="32" y="64"/>
                      </a:lnTo>
                      <a:lnTo>
                        <a:pt x="32" y="62"/>
                      </a:lnTo>
                      <a:lnTo>
                        <a:pt x="35" y="59"/>
                      </a:lnTo>
                      <a:lnTo>
                        <a:pt x="41" y="54"/>
                      </a:lnTo>
                      <a:lnTo>
                        <a:pt x="42" y="52"/>
                      </a:lnTo>
                      <a:lnTo>
                        <a:pt x="44" y="50"/>
                      </a:lnTo>
                      <a:lnTo>
                        <a:pt x="42" y="41"/>
                      </a:lnTo>
                      <a:lnTo>
                        <a:pt x="42" y="37"/>
                      </a:lnTo>
                      <a:lnTo>
                        <a:pt x="44" y="33"/>
                      </a:lnTo>
                      <a:lnTo>
                        <a:pt x="46" y="31"/>
                      </a:lnTo>
                      <a:lnTo>
                        <a:pt x="50" y="16"/>
                      </a:lnTo>
                      <a:lnTo>
                        <a:pt x="51" y="12"/>
                      </a:lnTo>
                      <a:lnTo>
                        <a:pt x="50" y="9"/>
                      </a:lnTo>
                      <a:lnTo>
                        <a:pt x="47" y="8"/>
                      </a:lnTo>
                      <a:lnTo>
                        <a:pt x="45" y="7"/>
                      </a:lnTo>
                      <a:lnTo>
                        <a:pt x="41" y="7"/>
                      </a:lnTo>
                      <a:lnTo>
                        <a:pt x="33" y="7"/>
                      </a:lnTo>
                      <a:lnTo>
                        <a:pt x="30" y="7"/>
                      </a:lnTo>
                      <a:lnTo>
                        <a:pt x="26" y="6"/>
                      </a:lnTo>
                      <a:lnTo>
                        <a:pt x="23" y="5"/>
                      </a:lnTo>
                      <a:lnTo>
                        <a:pt x="21" y="1"/>
                      </a:lnTo>
                      <a:lnTo>
                        <a:pt x="18" y="0"/>
                      </a:lnTo>
                      <a:lnTo>
                        <a:pt x="16" y="0"/>
                      </a:lnTo>
                      <a:lnTo>
                        <a:pt x="11" y="2"/>
                      </a:lnTo>
                      <a:lnTo>
                        <a:pt x="9" y="9"/>
                      </a:lnTo>
                      <a:lnTo>
                        <a:pt x="9" y="12"/>
                      </a:lnTo>
                      <a:lnTo>
                        <a:pt x="11" y="13"/>
                      </a:lnTo>
                      <a:lnTo>
                        <a:pt x="12" y="15"/>
                      </a:lnTo>
                      <a:lnTo>
                        <a:pt x="13" y="16"/>
                      </a:lnTo>
                      <a:lnTo>
                        <a:pt x="13" y="33"/>
                      </a:lnTo>
                      <a:lnTo>
                        <a:pt x="12" y="41"/>
                      </a:lnTo>
                      <a:lnTo>
                        <a:pt x="8" y="50"/>
                      </a:lnTo>
                      <a:lnTo>
                        <a:pt x="4" y="59"/>
                      </a:lnTo>
                      <a:lnTo>
                        <a:pt x="2" y="70"/>
                      </a:lnTo>
                      <a:lnTo>
                        <a:pt x="0" y="75"/>
                      </a:lnTo>
                      <a:lnTo>
                        <a:pt x="0" y="77"/>
                      </a:lnTo>
                      <a:lnTo>
                        <a:pt x="0" y="78"/>
                      </a:lnTo>
                      <a:lnTo>
                        <a:pt x="2" y="79"/>
                      </a:lnTo>
                      <a:lnTo>
                        <a:pt x="4" y="79"/>
                      </a:lnTo>
                      <a:lnTo>
                        <a:pt x="7" y="78"/>
                      </a:lnTo>
                      <a:lnTo>
                        <a:pt x="11" y="76"/>
                      </a:lnTo>
                      <a:lnTo>
                        <a:pt x="12" y="76"/>
                      </a:lnTo>
                      <a:lnTo>
                        <a:pt x="13" y="76"/>
                      </a:lnTo>
                      <a:lnTo>
                        <a:pt x="13" y="77"/>
                      </a:lnTo>
                      <a:lnTo>
                        <a:pt x="14" y="78"/>
                      </a:lnTo>
                      <a:lnTo>
                        <a:pt x="12" y="82"/>
                      </a:lnTo>
                      <a:lnTo>
                        <a:pt x="9" y="84"/>
                      </a:lnTo>
                      <a:lnTo>
                        <a:pt x="6" y="85"/>
                      </a:lnTo>
                      <a:lnTo>
                        <a:pt x="4" y="88"/>
                      </a:lnTo>
                      <a:lnTo>
                        <a:pt x="4" y="89"/>
                      </a:lnTo>
                      <a:lnTo>
                        <a:pt x="4" y="90"/>
                      </a:lnTo>
                      <a:lnTo>
                        <a:pt x="9" y="94"/>
                      </a:lnTo>
                      <a:lnTo>
                        <a:pt x="11" y="96"/>
                      </a:lnTo>
                      <a:lnTo>
                        <a:pt x="11" y="98"/>
                      </a:lnTo>
                      <a:lnTo>
                        <a:pt x="9" y="99"/>
                      </a:lnTo>
                      <a:lnTo>
                        <a:pt x="9" y="101"/>
                      </a:lnTo>
                      <a:lnTo>
                        <a:pt x="9" y="104"/>
                      </a:lnTo>
                      <a:lnTo>
                        <a:pt x="9" y="107"/>
                      </a:lnTo>
                      <a:lnTo>
                        <a:pt x="8" y="110"/>
                      </a:lnTo>
                      <a:lnTo>
                        <a:pt x="8" y="114"/>
                      </a:lnTo>
                      <a:lnTo>
                        <a:pt x="8" y="115"/>
                      </a:lnTo>
                      <a:lnTo>
                        <a:pt x="11" y="115"/>
                      </a:lnTo>
                      <a:lnTo>
                        <a:pt x="14" y="115"/>
                      </a:lnTo>
                      <a:lnTo>
                        <a:pt x="20" y="115"/>
                      </a:lnTo>
                      <a:lnTo>
                        <a:pt x="23" y="114"/>
                      </a:lnTo>
                      <a:lnTo>
                        <a:pt x="28" y="114"/>
                      </a:lnTo>
                      <a:lnTo>
                        <a:pt x="31" y="116"/>
                      </a:lnTo>
                      <a:lnTo>
                        <a:pt x="35" y="116"/>
                      </a:lnTo>
                      <a:lnTo>
                        <a:pt x="37" y="114"/>
                      </a:lnTo>
                      <a:lnTo>
                        <a:pt x="42" y="1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1" name="Freeform 1223"/>
                <p:cNvSpPr>
                  <a:spLocks/>
                </p:cNvSpPr>
                <p:nvPr/>
              </p:nvSpPr>
              <p:spPr bwMode="auto">
                <a:xfrm>
                  <a:off x="4385860" y="3342712"/>
                  <a:ext cx="69554" cy="171665"/>
                </a:xfrm>
                <a:custGeom>
                  <a:avLst/>
                  <a:gdLst>
                    <a:gd name="T0" fmla="*/ 2147483647 w 51"/>
                    <a:gd name="T1" fmla="*/ 2147483647 h 116"/>
                    <a:gd name="T2" fmla="*/ 2147483647 w 51"/>
                    <a:gd name="T3" fmla="*/ 2147483647 h 116"/>
                    <a:gd name="T4" fmla="*/ 2147483647 w 51"/>
                    <a:gd name="T5" fmla="*/ 2147483647 h 116"/>
                    <a:gd name="T6" fmla="*/ 2147483647 w 51"/>
                    <a:gd name="T7" fmla="*/ 2147483647 h 116"/>
                    <a:gd name="T8" fmla="*/ 2147483647 w 51"/>
                    <a:gd name="T9" fmla="*/ 2147483647 h 116"/>
                    <a:gd name="T10" fmla="*/ 2147483647 w 51"/>
                    <a:gd name="T11" fmla="*/ 2147483647 h 116"/>
                    <a:gd name="T12" fmla="*/ 2147483647 w 51"/>
                    <a:gd name="T13" fmla="*/ 2147483647 h 116"/>
                    <a:gd name="T14" fmla="*/ 2147483647 w 51"/>
                    <a:gd name="T15" fmla="*/ 2147483647 h 116"/>
                    <a:gd name="T16" fmla="*/ 2147483647 w 51"/>
                    <a:gd name="T17" fmla="*/ 2147483647 h 116"/>
                    <a:gd name="T18" fmla="*/ 2147483647 w 51"/>
                    <a:gd name="T19" fmla="*/ 2147483647 h 116"/>
                    <a:gd name="T20" fmla="*/ 2147483647 w 51"/>
                    <a:gd name="T21" fmla="*/ 2147483647 h 116"/>
                    <a:gd name="T22" fmla="*/ 2147483647 w 51"/>
                    <a:gd name="T23" fmla="*/ 2147483647 h 116"/>
                    <a:gd name="T24" fmla="*/ 2147483647 w 51"/>
                    <a:gd name="T25" fmla="*/ 2147483647 h 116"/>
                    <a:gd name="T26" fmla="*/ 2147483647 w 51"/>
                    <a:gd name="T27" fmla="*/ 2147483647 h 116"/>
                    <a:gd name="T28" fmla="*/ 2147483647 w 51"/>
                    <a:gd name="T29" fmla="*/ 2147483647 h 116"/>
                    <a:gd name="T30" fmla="*/ 2147483647 w 51"/>
                    <a:gd name="T31" fmla="*/ 2147483647 h 116"/>
                    <a:gd name="T32" fmla="*/ 2147483647 w 51"/>
                    <a:gd name="T33" fmla="*/ 2147483647 h 116"/>
                    <a:gd name="T34" fmla="*/ 2147483647 w 51"/>
                    <a:gd name="T35" fmla="*/ 2147483647 h 116"/>
                    <a:gd name="T36" fmla="*/ 2147483647 w 51"/>
                    <a:gd name="T37" fmla="*/ 2147483647 h 116"/>
                    <a:gd name="T38" fmla="*/ 2147483647 w 51"/>
                    <a:gd name="T39" fmla="*/ 2147483647 h 116"/>
                    <a:gd name="T40" fmla="*/ 2147483647 w 51"/>
                    <a:gd name="T41" fmla="*/ 2147483647 h 116"/>
                    <a:gd name="T42" fmla="*/ 2147483647 w 51"/>
                    <a:gd name="T43" fmla="*/ 2147483647 h 116"/>
                    <a:gd name="T44" fmla="*/ 2147483647 w 51"/>
                    <a:gd name="T45" fmla="*/ 2147483647 h 116"/>
                    <a:gd name="T46" fmla="*/ 2147483647 w 51"/>
                    <a:gd name="T47" fmla="*/ 2147483647 h 116"/>
                    <a:gd name="T48" fmla="*/ 2147483647 w 51"/>
                    <a:gd name="T49" fmla="*/ 2147483647 h 116"/>
                    <a:gd name="T50" fmla="*/ 2147483647 w 51"/>
                    <a:gd name="T51" fmla="*/ 2147483647 h 116"/>
                    <a:gd name="T52" fmla="*/ 2147483647 w 51"/>
                    <a:gd name="T53" fmla="*/ 0 h 116"/>
                    <a:gd name="T54" fmla="*/ 2147483647 w 51"/>
                    <a:gd name="T55" fmla="*/ 2147483647 h 116"/>
                    <a:gd name="T56" fmla="*/ 2147483647 w 51"/>
                    <a:gd name="T57" fmla="*/ 2147483647 h 116"/>
                    <a:gd name="T58" fmla="*/ 2147483647 w 51"/>
                    <a:gd name="T59" fmla="*/ 2147483647 h 116"/>
                    <a:gd name="T60" fmla="*/ 2147483647 w 51"/>
                    <a:gd name="T61" fmla="*/ 2147483647 h 116"/>
                    <a:gd name="T62" fmla="*/ 2147483647 w 51"/>
                    <a:gd name="T63" fmla="*/ 2147483647 h 116"/>
                    <a:gd name="T64" fmla="*/ 2147483647 w 51"/>
                    <a:gd name="T65" fmla="*/ 2147483647 h 116"/>
                    <a:gd name="T66" fmla="*/ 2147483647 w 51"/>
                    <a:gd name="T67" fmla="*/ 2147483647 h 116"/>
                    <a:gd name="T68" fmla="*/ 2147483647 w 51"/>
                    <a:gd name="T69" fmla="*/ 2147483647 h 116"/>
                    <a:gd name="T70" fmla="*/ 0 w 51"/>
                    <a:gd name="T71" fmla="*/ 2147483647 h 116"/>
                    <a:gd name="T72" fmla="*/ 0 w 51"/>
                    <a:gd name="T73" fmla="*/ 2147483647 h 116"/>
                    <a:gd name="T74" fmla="*/ 2147483647 w 51"/>
                    <a:gd name="T75" fmla="*/ 2147483647 h 116"/>
                    <a:gd name="T76" fmla="*/ 2147483647 w 51"/>
                    <a:gd name="T77" fmla="*/ 2147483647 h 116"/>
                    <a:gd name="T78" fmla="*/ 2147483647 w 51"/>
                    <a:gd name="T79" fmla="*/ 2147483647 h 116"/>
                    <a:gd name="T80" fmla="*/ 2147483647 w 51"/>
                    <a:gd name="T81" fmla="*/ 2147483647 h 116"/>
                    <a:gd name="T82" fmla="*/ 2147483647 w 51"/>
                    <a:gd name="T83" fmla="*/ 2147483647 h 116"/>
                    <a:gd name="T84" fmla="*/ 2147483647 w 51"/>
                    <a:gd name="T85" fmla="*/ 2147483647 h 116"/>
                    <a:gd name="T86" fmla="*/ 2147483647 w 51"/>
                    <a:gd name="T87" fmla="*/ 2147483647 h 116"/>
                    <a:gd name="T88" fmla="*/ 2147483647 w 51"/>
                    <a:gd name="T89" fmla="*/ 2147483647 h 116"/>
                    <a:gd name="T90" fmla="*/ 2147483647 w 51"/>
                    <a:gd name="T91" fmla="*/ 2147483647 h 116"/>
                    <a:gd name="T92" fmla="*/ 2147483647 w 51"/>
                    <a:gd name="T93" fmla="*/ 2147483647 h 116"/>
                    <a:gd name="T94" fmla="*/ 2147483647 w 51"/>
                    <a:gd name="T95" fmla="*/ 2147483647 h 116"/>
                    <a:gd name="T96" fmla="*/ 2147483647 w 51"/>
                    <a:gd name="T97" fmla="*/ 2147483647 h 116"/>
                    <a:gd name="T98" fmla="*/ 2147483647 w 51"/>
                    <a:gd name="T99" fmla="*/ 2147483647 h 116"/>
                    <a:gd name="T100" fmla="*/ 2147483647 w 51"/>
                    <a:gd name="T101" fmla="*/ 2147483647 h 116"/>
                    <a:gd name="T102" fmla="*/ 2147483647 w 51"/>
                    <a:gd name="T103" fmla="*/ 2147483647 h 116"/>
                    <a:gd name="T104" fmla="*/ 2147483647 w 51"/>
                    <a:gd name="T105" fmla="*/ 2147483647 h 116"/>
                    <a:gd name="T106" fmla="*/ 2147483647 w 51"/>
                    <a:gd name="T107" fmla="*/ 2147483647 h 116"/>
                    <a:gd name="T108" fmla="*/ 2147483647 w 51"/>
                    <a:gd name="T109" fmla="*/ 2147483647 h 116"/>
                    <a:gd name="T110" fmla="*/ 2147483647 w 51"/>
                    <a:gd name="T111" fmla="*/ 2147483647 h 116"/>
                    <a:gd name="T112" fmla="*/ 2147483647 w 51"/>
                    <a:gd name="T113" fmla="*/ 2147483647 h 116"/>
                    <a:gd name="T114" fmla="*/ 2147483647 w 51"/>
                    <a:gd name="T115" fmla="*/ 2147483647 h 116"/>
                    <a:gd name="T116" fmla="*/ 2147483647 w 51"/>
                    <a:gd name="T117" fmla="*/ 2147483647 h 116"/>
                    <a:gd name="T118" fmla="*/ 2147483647 w 51"/>
                    <a:gd name="T119" fmla="*/ 2147483647 h 1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1"/>
                    <a:gd name="T181" fmla="*/ 0 h 116"/>
                    <a:gd name="T182" fmla="*/ 51 w 51"/>
                    <a:gd name="T183" fmla="*/ 116 h 1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1" h="116">
                      <a:moveTo>
                        <a:pt x="42" y="110"/>
                      </a:moveTo>
                      <a:lnTo>
                        <a:pt x="42" y="110"/>
                      </a:lnTo>
                      <a:lnTo>
                        <a:pt x="43" y="108"/>
                      </a:lnTo>
                      <a:lnTo>
                        <a:pt x="42" y="105"/>
                      </a:lnTo>
                      <a:lnTo>
                        <a:pt x="41" y="103"/>
                      </a:lnTo>
                      <a:lnTo>
                        <a:pt x="40" y="100"/>
                      </a:lnTo>
                      <a:lnTo>
                        <a:pt x="40" y="97"/>
                      </a:lnTo>
                      <a:lnTo>
                        <a:pt x="42" y="92"/>
                      </a:lnTo>
                      <a:lnTo>
                        <a:pt x="42" y="91"/>
                      </a:lnTo>
                      <a:lnTo>
                        <a:pt x="42" y="89"/>
                      </a:lnTo>
                      <a:lnTo>
                        <a:pt x="41" y="85"/>
                      </a:lnTo>
                      <a:lnTo>
                        <a:pt x="38" y="81"/>
                      </a:lnTo>
                      <a:lnTo>
                        <a:pt x="37" y="78"/>
                      </a:lnTo>
                      <a:lnTo>
                        <a:pt x="37" y="73"/>
                      </a:lnTo>
                      <a:lnTo>
                        <a:pt x="38" y="71"/>
                      </a:lnTo>
                      <a:lnTo>
                        <a:pt x="37" y="68"/>
                      </a:lnTo>
                      <a:lnTo>
                        <a:pt x="36" y="68"/>
                      </a:lnTo>
                      <a:lnTo>
                        <a:pt x="33" y="68"/>
                      </a:lnTo>
                      <a:lnTo>
                        <a:pt x="32" y="66"/>
                      </a:lnTo>
                      <a:lnTo>
                        <a:pt x="32" y="64"/>
                      </a:lnTo>
                      <a:lnTo>
                        <a:pt x="32" y="61"/>
                      </a:lnTo>
                      <a:lnTo>
                        <a:pt x="34" y="59"/>
                      </a:lnTo>
                      <a:lnTo>
                        <a:pt x="41" y="54"/>
                      </a:lnTo>
                      <a:lnTo>
                        <a:pt x="42" y="52"/>
                      </a:lnTo>
                      <a:lnTo>
                        <a:pt x="43" y="49"/>
                      </a:lnTo>
                      <a:lnTo>
                        <a:pt x="42" y="41"/>
                      </a:lnTo>
                      <a:lnTo>
                        <a:pt x="42" y="36"/>
                      </a:lnTo>
                      <a:lnTo>
                        <a:pt x="43" y="33"/>
                      </a:lnTo>
                      <a:lnTo>
                        <a:pt x="46" y="30"/>
                      </a:lnTo>
                      <a:lnTo>
                        <a:pt x="50" y="16"/>
                      </a:lnTo>
                      <a:lnTo>
                        <a:pt x="51" y="12"/>
                      </a:lnTo>
                      <a:lnTo>
                        <a:pt x="50" y="9"/>
                      </a:lnTo>
                      <a:lnTo>
                        <a:pt x="47" y="8"/>
                      </a:lnTo>
                      <a:lnTo>
                        <a:pt x="45" y="7"/>
                      </a:lnTo>
                      <a:lnTo>
                        <a:pt x="41" y="7"/>
                      </a:lnTo>
                      <a:lnTo>
                        <a:pt x="33" y="7"/>
                      </a:lnTo>
                      <a:lnTo>
                        <a:pt x="29" y="7"/>
                      </a:lnTo>
                      <a:lnTo>
                        <a:pt x="26" y="6"/>
                      </a:lnTo>
                      <a:lnTo>
                        <a:pt x="23" y="4"/>
                      </a:lnTo>
                      <a:lnTo>
                        <a:pt x="21" y="1"/>
                      </a:lnTo>
                      <a:lnTo>
                        <a:pt x="18" y="0"/>
                      </a:lnTo>
                      <a:lnTo>
                        <a:pt x="15" y="0"/>
                      </a:lnTo>
                      <a:lnTo>
                        <a:pt x="10" y="2"/>
                      </a:lnTo>
                      <a:lnTo>
                        <a:pt x="9" y="9"/>
                      </a:lnTo>
                      <a:lnTo>
                        <a:pt x="9" y="12"/>
                      </a:lnTo>
                      <a:lnTo>
                        <a:pt x="10" y="13"/>
                      </a:lnTo>
                      <a:lnTo>
                        <a:pt x="12" y="15"/>
                      </a:lnTo>
                      <a:lnTo>
                        <a:pt x="13" y="16"/>
                      </a:lnTo>
                      <a:lnTo>
                        <a:pt x="13" y="33"/>
                      </a:lnTo>
                      <a:lnTo>
                        <a:pt x="12" y="41"/>
                      </a:lnTo>
                      <a:lnTo>
                        <a:pt x="8" y="49"/>
                      </a:lnTo>
                      <a:lnTo>
                        <a:pt x="4" y="59"/>
                      </a:lnTo>
                      <a:lnTo>
                        <a:pt x="1" y="70"/>
                      </a:lnTo>
                      <a:lnTo>
                        <a:pt x="0" y="74"/>
                      </a:lnTo>
                      <a:lnTo>
                        <a:pt x="0" y="77"/>
                      </a:lnTo>
                      <a:lnTo>
                        <a:pt x="0" y="78"/>
                      </a:lnTo>
                      <a:lnTo>
                        <a:pt x="1" y="79"/>
                      </a:lnTo>
                      <a:lnTo>
                        <a:pt x="4" y="79"/>
                      </a:lnTo>
                      <a:lnTo>
                        <a:pt x="7" y="78"/>
                      </a:lnTo>
                      <a:lnTo>
                        <a:pt x="10" y="76"/>
                      </a:lnTo>
                      <a:lnTo>
                        <a:pt x="12" y="76"/>
                      </a:lnTo>
                      <a:lnTo>
                        <a:pt x="13" y="76"/>
                      </a:lnTo>
                      <a:lnTo>
                        <a:pt x="13" y="77"/>
                      </a:lnTo>
                      <a:lnTo>
                        <a:pt x="14" y="78"/>
                      </a:lnTo>
                      <a:lnTo>
                        <a:pt x="12" y="81"/>
                      </a:lnTo>
                      <a:lnTo>
                        <a:pt x="9" y="84"/>
                      </a:lnTo>
                      <a:lnTo>
                        <a:pt x="5" y="85"/>
                      </a:lnTo>
                      <a:lnTo>
                        <a:pt x="4" y="87"/>
                      </a:lnTo>
                      <a:lnTo>
                        <a:pt x="4" y="89"/>
                      </a:lnTo>
                      <a:lnTo>
                        <a:pt x="4" y="90"/>
                      </a:lnTo>
                      <a:lnTo>
                        <a:pt x="9" y="93"/>
                      </a:lnTo>
                      <a:lnTo>
                        <a:pt x="10" y="96"/>
                      </a:lnTo>
                      <a:lnTo>
                        <a:pt x="10" y="98"/>
                      </a:lnTo>
                      <a:lnTo>
                        <a:pt x="9" y="99"/>
                      </a:lnTo>
                      <a:lnTo>
                        <a:pt x="9" y="100"/>
                      </a:lnTo>
                      <a:lnTo>
                        <a:pt x="9" y="104"/>
                      </a:lnTo>
                      <a:lnTo>
                        <a:pt x="9" y="106"/>
                      </a:lnTo>
                      <a:lnTo>
                        <a:pt x="8" y="110"/>
                      </a:lnTo>
                      <a:lnTo>
                        <a:pt x="8" y="113"/>
                      </a:lnTo>
                      <a:lnTo>
                        <a:pt x="8" y="115"/>
                      </a:lnTo>
                      <a:lnTo>
                        <a:pt x="10" y="115"/>
                      </a:lnTo>
                      <a:lnTo>
                        <a:pt x="14" y="115"/>
                      </a:lnTo>
                      <a:lnTo>
                        <a:pt x="19" y="115"/>
                      </a:lnTo>
                      <a:lnTo>
                        <a:pt x="23" y="113"/>
                      </a:lnTo>
                      <a:lnTo>
                        <a:pt x="28" y="113"/>
                      </a:lnTo>
                      <a:lnTo>
                        <a:pt x="31" y="116"/>
                      </a:lnTo>
                      <a:lnTo>
                        <a:pt x="34" y="116"/>
                      </a:lnTo>
                      <a:lnTo>
                        <a:pt x="37" y="113"/>
                      </a:lnTo>
                      <a:lnTo>
                        <a:pt x="42" y="1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2" name="Freeform 1250"/>
                <p:cNvSpPr>
                  <a:spLocks/>
                </p:cNvSpPr>
                <p:nvPr/>
              </p:nvSpPr>
              <p:spPr bwMode="auto">
                <a:xfrm>
                  <a:off x="5079920" y="2676773"/>
                  <a:ext cx="17758" cy="25157"/>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0 h 17"/>
                    <a:gd name="T10" fmla="*/ 2147483647 w 13"/>
                    <a:gd name="T11" fmla="*/ 2147483647 h 17"/>
                    <a:gd name="T12" fmla="*/ 0 w 13"/>
                    <a:gd name="T13" fmla="*/ 2147483647 h 17"/>
                    <a:gd name="T14" fmla="*/ 0 w 13"/>
                    <a:gd name="T15" fmla="*/ 2147483647 h 17"/>
                    <a:gd name="T16" fmla="*/ 2147483647 w 13"/>
                    <a:gd name="T17" fmla="*/ 2147483647 h 17"/>
                    <a:gd name="T18" fmla="*/ 2147483647 w 13"/>
                    <a:gd name="T19" fmla="*/ 2147483647 h 17"/>
                    <a:gd name="T20" fmla="*/ 2147483647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7"/>
                    <a:gd name="T47" fmla="*/ 13 w 13"/>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7">
                      <a:moveTo>
                        <a:pt x="13" y="10"/>
                      </a:moveTo>
                      <a:lnTo>
                        <a:pt x="13" y="7"/>
                      </a:lnTo>
                      <a:lnTo>
                        <a:pt x="10" y="3"/>
                      </a:lnTo>
                      <a:lnTo>
                        <a:pt x="8" y="2"/>
                      </a:lnTo>
                      <a:lnTo>
                        <a:pt x="5" y="0"/>
                      </a:lnTo>
                      <a:lnTo>
                        <a:pt x="3" y="3"/>
                      </a:lnTo>
                      <a:lnTo>
                        <a:pt x="0" y="5"/>
                      </a:lnTo>
                      <a:lnTo>
                        <a:pt x="0" y="9"/>
                      </a:lnTo>
                      <a:lnTo>
                        <a:pt x="1" y="12"/>
                      </a:lnTo>
                      <a:lnTo>
                        <a:pt x="5" y="16"/>
                      </a:lnTo>
                      <a:lnTo>
                        <a:pt x="6" y="17"/>
                      </a:lnTo>
                      <a:lnTo>
                        <a:pt x="9" y="17"/>
                      </a:lnTo>
                      <a:lnTo>
                        <a:pt x="10" y="16"/>
                      </a:lnTo>
                      <a:lnTo>
                        <a:pt x="12" y="15"/>
                      </a:lnTo>
                      <a:lnTo>
                        <a:pt x="13"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3" name="Freeform 1252"/>
                <p:cNvSpPr>
                  <a:spLocks/>
                </p:cNvSpPr>
                <p:nvPr/>
              </p:nvSpPr>
              <p:spPr bwMode="auto">
                <a:xfrm>
                  <a:off x="5078441" y="2675289"/>
                  <a:ext cx="17758" cy="25158"/>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2147483647 w 13"/>
                    <a:gd name="T13" fmla="*/ 0 h 17"/>
                    <a:gd name="T14" fmla="*/ 2147483647 w 13"/>
                    <a:gd name="T15" fmla="*/ 0 h 17"/>
                    <a:gd name="T16" fmla="*/ 2147483647 w 13"/>
                    <a:gd name="T17" fmla="*/ 2147483647 h 17"/>
                    <a:gd name="T18" fmla="*/ 0 w 13"/>
                    <a:gd name="T19" fmla="*/ 2147483647 h 17"/>
                    <a:gd name="T20" fmla="*/ 0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2147483647 w 13"/>
                    <a:gd name="T37" fmla="*/ 2147483647 h 17"/>
                    <a:gd name="T38" fmla="*/ 2147483647 w 13"/>
                    <a:gd name="T39" fmla="*/ 2147483647 h 17"/>
                    <a:gd name="T40" fmla="*/ 2147483647 w 13"/>
                    <a:gd name="T41" fmla="*/ 2147483647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7"/>
                    <a:gd name="T65" fmla="*/ 13 w 13"/>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7">
                      <a:moveTo>
                        <a:pt x="13" y="10"/>
                      </a:moveTo>
                      <a:lnTo>
                        <a:pt x="13" y="10"/>
                      </a:lnTo>
                      <a:lnTo>
                        <a:pt x="13" y="7"/>
                      </a:lnTo>
                      <a:lnTo>
                        <a:pt x="10" y="3"/>
                      </a:lnTo>
                      <a:lnTo>
                        <a:pt x="7" y="1"/>
                      </a:lnTo>
                      <a:lnTo>
                        <a:pt x="5" y="0"/>
                      </a:lnTo>
                      <a:lnTo>
                        <a:pt x="2" y="3"/>
                      </a:lnTo>
                      <a:lnTo>
                        <a:pt x="0" y="5"/>
                      </a:lnTo>
                      <a:lnTo>
                        <a:pt x="0" y="8"/>
                      </a:lnTo>
                      <a:lnTo>
                        <a:pt x="1" y="12"/>
                      </a:lnTo>
                      <a:lnTo>
                        <a:pt x="5" y="16"/>
                      </a:lnTo>
                      <a:lnTo>
                        <a:pt x="6" y="17"/>
                      </a:lnTo>
                      <a:lnTo>
                        <a:pt x="9" y="17"/>
                      </a:lnTo>
                      <a:lnTo>
                        <a:pt x="10" y="16"/>
                      </a:lnTo>
                      <a:lnTo>
                        <a:pt x="11" y="14"/>
                      </a:lnTo>
                      <a:lnTo>
                        <a:pt x="13"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4" name="Freeform 1253"/>
                <p:cNvSpPr>
                  <a:spLocks/>
                </p:cNvSpPr>
                <p:nvPr/>
              </p:nvSpPr>
              <p:spPr bwMode="auto">
                <a:xfrm>
                  <a:off x="5105082" y="2275728"/>
                  <a:ext cx="238259" cy="436563"/>
                </a:xfrm>
                <a:custGeom>
                  <a:avLst/>
                  <a:gdLst>
                    <a:gd name="T0" fmla="*/ 2147483647 w 174"/>
                    <a:gd name="T1" fmla="*/ 2147483647 h 295"/>
                    <a:gd name="T2" fmla="*/ 2147483647 w 174"/>
                    <a:gd name="T3" fmla="*/ 2147483647 h 295"/>
                    <a:gd name="T4" fmla="*/ 2147483647 w 174"/>
                    <a:gd name="T5" fmla="*/ 2147483647 h 295"/>
                    <a:gd name="T6" fmla="*/ 2147483647 w 174"/>
                    <a:gd name="T7" fmla="*/ 2147483647 h 295"/>
                    <a:gd name="T8" fmla="*/ 2147483647 w 174"/>
                    <a:gd name="T9" fmla="*/ 2147483647 h 295"/>
                    <a:gd name="T10" fmla="*/ 2147483647 w 174"/>
                    <a:gd name="T11" fmla="*/ 2147483647 h 295"/>
                    <a:gd name="T12" fmla="*/ 2147483647 w 174"/>
                    <a:gd name="T13" fmla="*/ 2147483647 h 295"/>
                    <a:gd name="T14" fmla="*/ 2147483647 w 174"/>
                    <a:gd name="T15" fmla="*/ 2147483647 h 295"/>
                    <a:gd name="T16" fmla="*/ 2147483647 w 174"/>
                    <a:gd name="T17" fmla="*/ 2147483647 h 295"/>
                    <a:gd name="T18" fmla="*/ 2147483647 w 174"/>
                    <a:gd name="T19" fmla="*/ 2147483647 h 295"/>
                    <a:gd name="T20" fmla="*/ 2147483647 w 174"/>
                    <a:gd name="T21" fmla="*/ 0 h 295"/>
                    <a:gd name="T22" fmla="*/ 2147483647 w 174"/>
                    <a:gd name="T23" fmla="*/ 2147483647 h 295"/>
                    <a:gd name="T24" fmla="*/ 2147483647 w 174"/>
                    <a:gd name="T25" fmla="*/ 2147483647 h 295"/>
                    <a:gd name="T26" fmla="*/ 2147483647 w 174"/>
                    <a:gd name="T27" fmla="*/ 2147483647 h 295"/>
                    <a:gd name="T28" fmla="*/ 2147483647 w 174"/>
                    <a:gd name="T29" fmla="*/ 2147483647 h 295"/>
                    <a:gd name="T30" fmla="*/ 2147483647 w 174"/>
                    <a:gd name="T31" fmla="*/ 2147483647 h 295"/>
                    <a:gd name="T32" fmla="*/ 2147483647 w 174"/>
                    <a:gd name="T33" fmla="*/ 2147483647 h 295"/>
                    <a:gd name="T34" fmla="*/ 2147483647 w 174"/>
                    <a:gd name="T35" fmla="*/ 2147483647 h 295"/>
                    <a:gd name="T36" fmla="*/ 2147483647 w 174"/>
                    <a:gd name="T37" fmla="*/ 2147483647 h 295"/>
                    <a:gd name="T38" fmla="*/ 2147483647 w 174"/>
                    <a:gd name="T39" fmla="*/ 2147483647 h 295"/>
                    <a:gd name="T40" fmla="*/ 2147483647 w 174"/>
                    <a:gd name="T41" fmla="*/ 2147483647 h 295"/>
                    <a:gd name="T42" fmla="*/ 2147483647 w 174"/>
                    <a:gd name="T43" fmla="*/ 2147483647 h 295"/>
                    <a:gd name="T44" fmla="*/ 2147483647 w 174"/>
                    <a:gd name="T45" fmla="*/ 2147483647 h 295"/>
                    <a:gd name="T46" fmla="*/ 2147483647 w 174"/>
                    <a:gd name="T47" fmla="*/ 2147483647 h 295"/>
                    <a:gd name="T48" fmla="*/ 2147483647 w 174"/>
                    <a:gd name="T49" fmla="*/ 2147483647 h 295"/>
                    <a:gd name="T50" fmla="*/ 2147483647 w 174"/>
                    <a:gd name="T51" fmla="*/ 2147483647 h 295"/>
                    <a:gd name="T52" fmla="*/ 2147483647 w 174"/>
                    <a:gd name="T53" fmla="*/ 2147483647 h 295"/>
                    <a:gd name="T54" fmla="*/ 2147483647 w 174"/>
                    <a:gd name="T55" fmla="*/ 2147483647 h 295"/>
                    <a:gd name="T56" fmla="*/ 2147483647 w 174"/>
                    <a:gd name="T57" fmla="*/ 2147483647 h 295"/>
                    <a:gd name="T58" fmla="*/ 2147483647 w 174"/>
                    <a:gd name="T59" fmla="*/ 2147483647 h 295"/>
                    <a:gd name="T60" fmla="*/ 2147483647 w 174"/>
                    <a:gd name="T61" fmla="*/ 2147483647 h 295"/>
                    <a:gd name="T62" fmla="*/ 2147483647 w 174"/>
                    <a:gd name="T63" fmla="*/ 2147483647 h 295"/>
                    <a:gd name="T64" fmla="*/ 2147483647 w 174"/>
                    <a:gd name="T65" fmla="*/ 2147483647 h 295"/>
                    <a:gd name="T66" fmla="*/ 2147483647 w 174"/>
                    <a:gd name="T67" fmla="*/ 2147483647 h 295"/>
                    <a:gd name="T68" fmla="*/ 2147483647 w 174"/>
                    <a:gd name="T69" fmla="*/ 2147483647 h 295"/>
                    <a:gd name="T70" fmla="*/ 2147483647 w 174"/>
                    <a:gd name="T71" fmla="*/ 2147483647 h 295"/>
                    <a:gd name="T72" fmla="*/ 2147483647 w 174"/>
                    <a:gd name="T73" fmla="*/ 2147483647 h 295"/>
                    <a:gd name="T74" fmla="*/ 2147483647 w 174"/>
                    <a:gd name="T75" fmla="*/ 2147483647 h 295"/>
                    <a:gd name="T76" fmla="*/ 2147483647 w 174"/>
                    <a:gd name="T77" fmla="*/ 2147483647 h 295"/>
                    <a:gd name="T78" fmla="*/ 2147483647 w 174"/>
                    <a:gd name="T79" fmla="*/ 2147483647 h 295"/>
                    <a:gd name="T80" fmla="*/ 2147483647 w 174"/>
                    <a:gd name="T81" fmla="*/ 2147483647 h 295"/>
                    <a:gd name="T82" fmla="*/ 2147483647 w 174"/>
                    <a:gd name="T83" fmla="*/ 2147483647 h 295"/>
                    <a:gd name="T84" fmla="*/ 2147483647 w 174"/>
                    <a:gd name="T85" fmla="*/ 2147483647 h 295"/>
                    <a:gd name="T86" fmla="*/ 2147483647 w 174"/>
                    <a:gd name="T87" fmla="*/ 2147483647 h 295"/>
                    <a:gd name="T88" fmla="*/ 2147483647 w 174"/>
                    <a:gd name="T89" fmla="*/ 2147483647 h 295"/>
                    <a:gd name="T90" fmla="*/ 2147483647 w 174"/>
                    <a:gd name="T91" fmla="*/ 2147483647 h 295"/>
                    <a:gd name="T92" fmla="*/ 2147483647 w 174"/>
                    <a:gd name="T93" fmla="*/ 2147483647 h 295"/>
                    <a:gd name="T94" fmla="*/ 2147483647 w 174"/>
                    <a:gd name="T95" fmla="*/ 2147483647 h 295"/>
                    <a:gd name="T96" fmla="*/ 2147483647 w 174"/>
                    <a:gd name="T97" fmla="*/ 2147483647 h 295"/>
                    <a:gd name="T98" fmla="*/ 2147483647 w 174"/>
                    <a:gd name="T99" fmla="*/ 2147483647 h 295"/>
                    <a:gd name="T100" fmla="*/ 2147483647 w 174"/>
                    <a:gd name="T101" fmla="*/ 2147483647 h 295"/>
                    <a:gd name="T102" fmla="*/ 2147483647 w 174"/>
                    <a:gd name="T103" fmla="*/ 2147483647 h 295"/>
                    <a:gd name="T104" fmla="*/ 2147483647 w 174"/>
                    <a:gd name="T105" fmla="*/ 2147483647 h 295"/>
                    <a:gd name="T106" fmla="*/ 2147483647 w 174"/>
                    <a:gd name="T107" fmla="*/ 2147483647 h 295"/>
                    <a:gd name="T108" fmla="*/ 0 w 174"/>
                    <a:gd name="T109" fmla="*/ 2147483647 h 29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4"/>
                    <a:gd name="T166" fmla="*/ 0 h 295"/>
                    <a:gd name="T167" fmla="*/ 174 w 174"/>
                    <a:gd name="T168" fmla="*/ 295 h 29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4" h="295">
                      <a:moveTo>
                        <a:pt x="0" y="39"/>
                      </a:moveTo>
                      <a:lnTo>
                        <a:pt x="8" y="33"/>
                      </a:lnTo>
                      <a:lnTo>
                        <a:pt x="15" y="28"/>
                      </a:lnTo>
                      <a:lnTo>
                        <a:pt x="18" y="29"/>
                      </a:lnTo>
                      <a:lnTo>
                        <a:pt x="19" y="31"/>
                      </a:lnTo>
                      <a:lnTo>
                        <a:pt x="23" y="38"/>
                      </a:lnTo>
                      <a:lnTo>
                        <a:pt x="28" y="44"/>
                      </a:lnTo>
                      <a:lnTo>
                        <a:pt x="31" y="46"/>
                      </a:lnTo>
                      <a:lnTo>
                        <a:pt x="34" y="47"/>
                      </a:lnTo>
                      <a:lnTo>
                        <a:pt x="38" y="48"/>
                      </a:lnTo>
                      <a:lnTo>
                        <a:pt x="42" y="47"/>
                      </a:lnTo>
                      <a:lnTo>
                        <a:pt x="48" y="46"/>
                      </a:lnTo>
                      <a:lnTo>
                        <a:pt x="52" y="45"/>
                      </a:lnTo>
                      <a:lnTo>
                        <a:pt x="57" y="43"/>
                      </a:lnTo>
                      <a:lnTo>
                        <a:pt x="59" y="41"/>
                      </a:lnTo>
                      <a:lnTo>
                        <a:pt x="61" y="43"/>
                      </a:lnTo>
                      <a:lnTo>
                        <a:pt x="73" y="46"/>
                      </a:lnTo>
                      <a:lnTo>
                        <a:pt x="76" y="45"/>
                      </a:lnTo>
                      <a:lnTo>
                        <a:pt x="83" y="43"/>
                      </a:lnTo>
                      <a:lnTo>
                        <a:pt x="87" y="38"/>
                      </a:lnTo>
                      <a:lnTo>
                        <a:pt x="88" y="37"/>
                      </a:lnTo>
                      <a:lnTo>
                        <a:pt x="89" y="35"/>
                      </a:lnTo>
                      <a:lnTo>
                        <a:pt x="87" y="29"/>
                      </a:lnTo>
                      <a:lnTo>
                        <a:pt x="84" y="24"/>
                      </a:lnTo>
                      <a:lnTo>
                        <a:pt x="84" y="20"/>
                      </a:lnTo>
                      <a:lnTo>
                        <a:pt x="85" y="18"/>
                      </a:lnTo>
                      <a:lnTo>
                        <a:pt x="87" y="15"/>
                      </a:lnTo>
                      <a:lnTo>
                        <a:pt x="89" y="13"/>
                      </a:lnTo>
                      <a:lnTo>
                        <a:pt x="97" y="9"/>
                      </a:lnTo>
                      <a:lnTo>
                        <a:pt x="104" y="7"/>
                      </a:lnTo>
                      <a:lnTo>
                        <a:pt x="112" y="3"/>
                      </a:lnTo>
                      <a:lnTo>
                        <a:pt x="120" y="0"/>
                      </a:lnTo>
                      <a:lnTo>
                        <a:pt x="122" y="0"/>
                      </a:lnTo>
                      <a:lnTo>
                        <a:pt x="125" y="1"/>
                      </a:lnTo>
                      <a:lnTo>
                        <a:pt x="126" y="3"/>
                      </a:lnTo>
                      <a:lnTo>
                        <a:pt x="127" y="7"/>
                      </a:lnTo>
                      <a:lnTo>
                        <a:pt x="130" y="11"/>
                      </a:lnTo>
                      <a:lnTo>
                        <a:pt x="132" y="13"/>
                      </a:lnTo>
                      <a:lnTo>
                        <a:pt x="137" y="15"/>
                      </a:lnTo>
                      <a:lnTo>
                        <a:pt x="142" y="19"/>
                      </a:lnTo>
                      <a:lnTo>
                        <a:pt x="146" y="22"/>
                      </a:lnTo>
                      <a:lnTo>
                        <a:pt x="150" y="27"/>
                      </a:lnTo>
                      <a:lnTo>
                        <a:pt x="151" y="31"/>
                      </a:lnTo>
                      <a:lnTo>
                        <a:pt x="153" y="38"/>
                      </a:lnTo>
                      <a:lnTo>
                        <a:pt x="154" y="46"/>
                      </a:lnTo>
                      <a:lnTo>
                        <a:pt x="158" y="56"/>
                      </a:lnTo>
                      <a:lnTo>
                        <a:pt x="158" y="59"/>
                      </a:lnTo>
                      <a:lnTo>
                        <a:pt x="158" y="63"/>
                      </a:lnTo>
                      <a:lnTo>
                        <a:pt x="154" y="69"/>
                      </a:lnTo>
                      <a:lnTo>
                        <a:pt x="150" y="78"/>
                      </a:lnTo>
                      <a:lnTo>
                        <a:pt x="149" y="86"/>
                      </a:lnTo>
                      <a:lnTo>
                        <a:pt x="149" y="94"/>
                      </a:lnTo>
                      <a:lnTo>
                        <a:pt x="150" y="99"/>
                      </a:lnTo>
                      <a:lnTo>
                        <a:pt x="155" y="109"/>
                      </a:lnTo>
                      <a:lnTo>
                        <a:pt x="159" y="120"/>
                      </a:lnTo>
                      <a:lnTo>
                        <a:pt x="160" y="124"/>
                      </a:lnTo>
                      <a:lnTo>
                        <a:pt x="159" y="129"/>
                      </a:lnTo>
                      <a:lnTo>
                        <a:pt x="156" y="135"/>
                      </a:lnTo>
                      <a:lnTo>
                        <a:pt x="156" y="140"/>
                      </a:lnTo>
                      <a:lnTo>
                        <a:pt x="158" y="146"/>
                      </a:lnTo>
                      <a:lnTo>
                        <a:pt x="159" y="148"/>
                      </a:lnTo>
                      <a:lnTo>
                        <a:pt x="160" y="149"/>
                      </a:lnTo>
                      <a:lnTo>
                        <a:pt x="160" y="152"/>
                      </a:lnTo>
                      <a:lnTo>
                        <a:pt x="161" y="152"/>
                      </a:lnTo>
                      <a:lnTo>
                        <a:pt x="163" y="153"/>
                      </a:lnTo>
                      <a:lnTo>
                        <a:pt x="164" y="154"/>
                      </a:lnTo>
                      <a:lnTo>
                        <a:pt x="165" y="154"/>
                      </a:lnTo>
                      <a:lnTo>
                        <a:pt x="168" y="154"/>
                      </a:lnTo>
                      <a:lnTo>
                        <a:pt x="168" y="158"/>
                      </a:lnTo>
                      <a:lnTo>
                        <a:pt x="167" y="161"/>
                      </a:lnTo>
                      <a:lnTo>
                        <a:pt x="165" y="165"/>
                      </a:lnTo>
                      <a:lnTo>
                        <a:pt x="165" y="167"/>
                      </a:lnTo>
                      <a:lnTo>
                        <a:pt x="169" y="172"/>
                      </a:lnTo>
                      <a:lnTo>
                        <a:pt x="169" y="176"/>
                      </a:lnTo>
                      <a:lnTo>
                        <a:pt x="167" y="181"/>
                      </a:lnTo>
                      <a:lnTo>
                        <a:pt x="163" y="187"/>
                      </a:lnTo>
                      <a:lnTo>
                        <a:pt x="161" y="188"/>
                      </a:lnTo>
                      <a:lnTo>
                        <a:pt x="163" y="191"/>
                      </a:lnTo>
                      <a:lnTo>
                        <a:pt x="164" y="195"/>
                      </a:lnTo>
                      <a:lnTo>
                        <a:pt x="167" y="197"/>
                      </a:lnTo>
                      <a:lnTo>
                        <a:pt x="169" y="198"/>
                      </a:lnTo>
                      <a:lnTo>
                        <a:pt x="172" y="198"/>
                      </a:lnTo>
                      <a:lnTo>
                        <a:pt x="172" y="200"/>
                      </a:lnTo>
                      <a:lnTo>
                        <a:pt x="172" y="207"/>
                      </a:lnTo>
                      <a:lnTo>
                        <a:pt x="173" y="213"/>
                      </a:lnTo>
                      <a:lnTo>
                        <a:pt x="174" y="218"/>
                      </a:lnTo>
                      <a:lnTo>
                        <a:pt x="174" y="223"/>
                      </a:lnTo>
                      <a:lnTo>
                        <a:pt x="173" y="226"/>
                      </a:lnTo>
                      <a:lnTo>
                        <a:pt x="169" y="231"/>
                      </a:lnTo>
                      <a:lnTo>
                        <a:pt x="156" y="244"/>
                      </a:lnTo>
                      <a:lnTo>
                        <a:pt x="132" y="268"/>
                      </a:lnTo>
                      <a:lnTo>
                        <a:pt x="126" y="267"/>
                      </a:lnTo>
                      <a:lnTo>
                        <a:pt x="120" y="267"/>
                      </a:lnTo>
                      <a:lnTo>
                        <a:pt x="114" y="268"/>
                      </a:lnTo>
                      <a:lnTo>
                        <a:pt x="104" y="270"/>
                      </a:lnTo>
                      <a:lnTo>
                        <a:pt x="93" y="275"/>
                      </a:lnTo>
                      <a:lnTo>
                        <a:pt x="81" y="281"/>
                      </a:lnTo>
                      <a:lnTo>
                        <a:pt x="78" y="281"/>
                      </a:lnTo>
                      <a:lnTo>
                        <a:pt x="73" y="281"/>
                      </a:lnTo>
                      <a:lnTo>
                        <a:pt x="67" y="281"/>
                      </a:lnTo>
                      <a:lnTo>
                        <a:pt x="64" y="282"/>
                      </a:lnTo>
                      <a:lnTo>
                        <a:pt x="51" y="290"/>
                      </a:lnTo>
                      <a:lnTo>
                        <a:pt x="45" y="294"/>
                      </a:lnTo>
                      <a:lnTo>
                        <a:pt x="37" y="295"/>
                      </a:lnTo>
                      <a:lnTo>
                        <a:pt x="36" y="294"/>
                      </a:lnTo>
                      <a:lnTo>
                        <a:pt x="34" y="293"/>
                      </a:lnTo>
                      <a:lnTo>
                        <a:pt x="32" y="288"/>
                      </a:lnTo>
                      <a:lnTo>
                        <a:pt x="31" y="286"/>
                      </a:lnTo>
                      <a:lnTo>
                        <a:pt x="31" y="282"/>
                      </a:lnTo>
                      <a:lnTo>
                        <a:pt x="32" y="280"/>
                      </a:lnTo>
                      <a:lnTo>
                        <a:pt x="33" y="276"/>
                      </a:lnTo>
                      <a:lnTo>
                        <a:pt x="32" y="274"/>
                      </a:lnTo>
                      <a:lnTo>
                        <a:pt x="29" y="273"/>
                      </a:lnTo>
                      <a:lnTo>
                        <a:pt x="26" y="270"/>
                      </a:lnTo>
                      <a:lnTo>
                        <a:pt x="18" y="270"/>
                      </a:lnTo>
                      <a:lnTo>
                        <a:pt x="14" y="269"/>
                      </a:lnTo>
                      <a:lnTo>
                        <a:pt x="12" y="267"/>
                      </a:lnTo>
                      <a:lnTo>
                        <a:pt x="10" y="262"/>
                      </a:lnTo>
                      <a:lnTo>
                        <a:pt x="10" y="257"/>
                      </a:lnTo>
                      <a:lnTo>
                        <a:pt x="12" y="252"/>
                      </a:lnTo>
                      <a:lnTo>
                        <a:pt x="13" y="248"/>
                      </a:lnTo>
                      <a:lnTo>
                        <a:pt x="12" y="241"/>
                      </a:lnTo>
                      <a:lnTo>
                        <a:pt x="9" y="235"/>
                      </a:lnTo>
                      <a:lnTo>
                        <a:pt x="8" y="230"/>
                      </a:lnTo>
                      <a:lnTo>
                        <a:pt x="8" y="226"/>
                      </a:lnTo>
                      <a:lnTo>
                        <a:pt x="9" y="223"/>
                      </a:lnTo>
                      <a:lnTo>
                        <a:pt x="10" y="219"/>
                      </a:lnTo>
                      <a:lnTo>
                        <a:pt x="15" y="213"/>
                      </a:lnTo>
                      <a:lnTo>
                        <a:pt x="20" y="206"/>
                      </a:lnTo>
                      <a:lnTo>
                        <a:pt x="22" y="203"/>
                      </a:lnTo>
                      <a:lnTo>
                        <a:pt x="22" y="199"/>
                      </a:lnTo>
                      <a:lnTo>
                        <a:pt x="23" y="198"/>
                      </a:lnTo>
                      <a:lnTo>
                        <a:pt x="24" y="197"/>
                      </a:lnTo>
                      <a:lnTo>
                        <a:pt x="29" y="193"/>
                      </a:lnTo>
                      <a:lnTo>
                        <a:pt x="36" y="190"/>
                      </a:lnTo>
                      <a:lnTo>
                        <a:pt x="45" y="180"/>
                      </a:lnTo>
                      <a:lnTo>
                        <a:pt x="55" y="171"/>
                      </a:lnTo>
                      <a:lnTo>
                        <a:pt x="65" y="161"/>
                      </a:lnTo>
                      <a:lnTo>
                        <a:pt x="69" y="159"/>
                      </a:lnTo>
                      <a:lnTo>
                        <a:pt x="73" y="158"/>
                      </a:lnTo>
                      <a:lnTo>
                        <a:pt x="76" y="155"/>
                      </a:lnTo>
                      <a:lnTo>
                        <a:pt x="79" y="152"/>
                      </a:lnTo>
                      <a:lnTo>
                        <a:pt x="80" y="147"/>
                      </a:lnTo>
                      <a:lnTo>
                        <a:pt x="81" y="140"/>
                      </a:lnTo>
                      <a:lnTo>
                        <a:pt x="81" y="137"/>
                      </a:lnTo>
                      <a:lnTo>
                        <a:pt x="80" y="135"/>
                      </a:lnTo>
                      <a:lnTo>
                        <a:pt x="78" y="133"/>
                      </a:lnTo>
                      <a:lnTo>
                        <a:pt x="75" y="131"/>
                      </a:lnTo>
                      <a:lnTo>
                        <a:pt x="70" y="131"/>
                      </a:lnTo>
                      <a:lnTo>
                        <a:pt x="67" y="130"/>
                      </a:lnTo>
                      <a:lnTo>
                        <a:pt x="65" y="129"/>
                      </a:lnTo>
                      <a:lnTo>
                        <a:pt x="64" y="128"/>
                      </a:lnTo>
                      <a:lnTo>
                        <a:pt x="61" y="128"/>
                      </a:lnTo>
                      <a:lnTo>
                        <a:pt x="57" y="128"/>
                      </a:lnTo>
                      <a:lnTo>
                        <a:pt x="55" y="117"/>
                      </a:lnTo>
                      <a:lnTo>
                        <a:pt x="54" y="107"/>
                      </a:lnTo>
                      <a:lnTo>
                        <a:pt x="52" y="85"/>
                      </a:lnTo>
                      <a:lnTo>
                        <a:pt x="51" y="76"/>
                      </a:lnTo>
                      <a:lnTo>
                        <a:pt x="50" y="69"/>
                      </a:lnTo>
                      <a:lnTo>
                        <a:pt x="46" y="63"/>
                      </a:lnTo>
                      <a:lnTo>
                        <a:pt x="45" y="60"/>
                      </a:lnTo>
                      <a:lnTo>
                        <a:pt x="41" y="59"/>
                      </a:lnTo>
                      <a:lnTo>
                        <a:pt x="22" y="52"/>
                      </a:lnTo>
                      <a:lnTo>
                        <a:pt x="12" y="46"/>
                      </a:lnTo>
                      <a:lnTo>
                        <a:pt x="0" y="3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5" name="Freeform 1254"/>
                <p:cNvSpPr>
                  <a:spLocks/>
                </p:cNvSpPr>
                <p:nvPr/>
              </p:nvSpPr>
              <p:spPr bwMode="auto">
                <a:xfrm>
                  <a:off x="5002968" y="2786284"/>
                  <a:ext cx="23678" cy="48835"/>
                </a:xfrm>
                <a:custGeom>
                  <a:avLst/>
                  <a:gdLst>
                    <a:gd name="T0" fmla="*/ 2147483647 w 17"/>
                    <a:gd name="T1" fmla="*/ 2147483647 h 33"/>
                    <a:gd name="T2" fmla="*/ 2147483647 w 17"/>
                    <a:gd name="T3" fmla="*/ 2147483647 h 33"/>
                    <a:gd name="T4" fmla="*/ 0 w 17"/>
                    <a:gd name="T5" fmla="*/ 2147483647 h 33"/>
                    <a:gd name="T6" fmla="*/ 0 w 17"/>
                    <a:gd name="T7" fmla="*/ 2147483647 h 33"/>
                    <a:gd name="T8" fmla="*/ 0 w 17"/>
                    <a:gd name="T9" fmla="*/ 2147483647 h 33"/>
                    <a:gd name="T10" fmla="*/ 2147483647 w 17"/>
                    <a:gd name="T11" fmla="*/ 2147483647 h 33"/>
                    <a:gd name="T12" fmla="*/ 2147483647 w 17"/>
                    <a:gd name="T13" fmla="*/ 2147483647 h 33"/>
                    <a:gd name="T14" fmla="*/ 2147483647 w 17"/>
                    <a:gd name="T15" fmla="*/ 2147483647 h 33"/>
                    <a:gd name="T16" fmla="*/ 2147483647 w 17"/>
                    <a:gd name="T17" fmla="*/ 0 h 33"/>
                    <a:gd name="T18" fmla="*/ 2147483647 w 17"/>
                    <a:gd name="T19" fmla="*/ 2147483647 h 33"/>
                    <a:gd name="T20" fmla="*/ 2147483647 w 17"/>
                    <a:gd name="T21" fmla="*/ 2147483647 h 33"/>
                    <a:gd name="T22" fmla="*/ 2147483647 w 17"/>
                    <a:gd name="T23" fmla="*/ 2147483647 h 33"/>
                    <a:gd name="T24" fmla="*/ 2147483647 w 17"/>
                    <a:gd name="T25" fmla="*/ 2147483647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3"/>
                    <a:gd name="T41" fmla="*/ 17 w 17"/>
                    <a:gd name="T42" fmla="*/ 33 h 3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3">
                      <a:moveTo>
                        <a:pt x="13" y="14"/>
                      </a:moveTo>
                      <a:lnTo>
                        <a:pt x="2" y="33"/>
                      </a:lnTo>
                      <a:lnTo>
                        <a:pt x="0" y="29"/>
                      </a:lnTo>
                      <a:lnTo>
                        <a:pt x="0" y="26"/>
                      </a:lnTo>
                      <a:lnTo>
                        <a:pt x="0" y="20"/>
                      </a:lnTo>
                      <a:lnTo>
                        <a:pt x="4" y="13"/>
                      </a:lnTo>
                      <a:lnTo>
                        <a:pt x="7" y="7"/>
                      </a:lnTo>
                      <a:lnTo>
                        <a:pt x="10" y="2"/>
                      </a:lnTo>
                      <a:lnTo>
                        <a:pt x="13" y="0"/>
                      </a:lnTo>
                      <a:lnTo>
                        <a:pt x="15" y="1"/>
                      </a:lnTo>
                      <a:lnTo>
                        <a:pt x="17" y="3"/>
                      </a:lnTo>
                      <a:lnTo>
                        <a:pt x="15" y="7"/>
                      </a:lnTo>
                      <a:lnTo>
                        <a:pt x="13"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6" name="Freeform 1255"/>
                <p:cNvSpPr>
                  <a:spLocks/>
                </p:cNvSpPr>
                <p:nvPr/>
              </p:nvSpPr>
              <p:spPr bwMode="auto">
                <a:xfrm>
                  <a:off x="5103601" y="2274245"/>
                  <a:ext cx="238260" cy="436562"/>
                </a:xfrm>
                <a:custGeom>
                  <a:avLst/>
                  <a:gdLst>
                    <a:gd name="T0" fmla="*/ 2147483647 w 174"/>
                    <a:gd name="T1" fmla="*/ 2147483647 h 295"/>
                    <a:gd name="T2" fmla="*/ 2147483647 w 174"/>
                    <a:gd name="T3" fmla="*/ 2147483647 h 295"/>
                    <a:gd name="T4" fmla="*/ 2147483647 w 174"/>
                    <a:gd name="T5" fmla="*/ 2147483647 h 295"/>
                    <a:gd name="T6" fmla="*/ 2147483647 w 174"/>
                    <a:gd name="T7" fmla="*/ 2147483647 h 295"/>
                    <a:gd name="T8" fmla="*/ 2147483647 w 174"/>
                    <a:gd name="T9" fmla="*/ 2147483647 h 295"/>
                    <a:gd name="T10" fmla="*/ 2147483647 w 174"/>
                    <a:gd name="T11" fmla="*/ 2147483647 h 295"/>
                    <a:gd name="T12" fmla="*/ 2147483647 w 174"/>
                    <a:gd name="T13" fmla="*/ 2147483647 h 295"/>
                    <a:gd name="T14" fmla="*/ 2147483647 w 174"/>
                    <a:gd name="T15" fmla="*/ 2147483647 h 295"/>
                    <a:gd name="T16" fmla="*/ 2147483647 w 174"/>
                    <a:gd name="T17" fmla="*/ 2147483647 h 295"/>
                    <a:gd name="T18" fmla="*/ 2147483647 w 174"/>
                    <a:gd name="T19" fmla="*/ 0 h 295"/>
                    <a:gd name="T20" fmla="*/ 2147483647 w 174"/>
                    <a:gd name="T21" fmla="*/ 2147483647 h 295"/>
                    <a:gd name="T22" fmla="*/ 2147483647 w 174"/>
                    <a:gd name="T23" fmla="*/ 2147483647 h 295"/>
                    <a:gd name="T24" fmla="*/ 2147483647 w 174"/>
                    <a:gd name="T25" fmla="*/ 2147483647 h 295"/>
                    <a:gd name="T26" fmla="*/ 2147483647 w 174"/>
                    <a:gd name="T27" fmla="*/ 2147483647 h 295"/>
                    <a:gd name="T28" fmla="*/ 2147483647 w 174"/>
                    <a:gd name="T29" fmla="*/ 2147483647 h 295"/>
                    <a:gd name="T30" fmla="*/ 2147483647 w 174"/>
                    <a:gd name="T31" fmla="*/ 2147483647 h 295"/>
                    <a:gd name="T32" fmla="*/ 2147483647 w 174"/>
                    <a:gd name="T33" fmla="*/ 2147483647 h 295"/>
                    <a:gd name="T34" fmla="*/ 2147483647 w 174"/>
                    <a:gd name="T35" fmla="*/ 2147483647 h 295"/>
                    <a:gd name="T36" fmla="*/ 2147483647 w 174"/>
                    <a:gd name="T37" fmla="*/ 2147483647 h 295"/>
                    <a:gd name="T38" fmla="*/ 2147483647 w 174"/>
                    <a:gd name="T39" fmla="*/ 2147483647 h 295"/>
                    <a:gd name="T40" fmla="*/ 2147483647 w 174"/>
                    <a:gd name="T41" fmla="*/ 2147483647 h 295"/>
                    <a:gd name="T42" fmla="*/ 2147483647 w 174"/>
                    <a:gd name="T43" fmla="*/ 2147483647 h 295"/>
                    <a:gd name="T44" fmla="*/ 2147483647 w 174"/>
                    <a:gd name="T45" fmla="*/ 2147483647 h 295"/>
                    <a:gd name="T46" fmla="*/ 2147483647 w 174"/>
                    <a:gd name="T47" fmla="*/ 2147483647 h 295"/>
                    <a:gd name="T48" fmla="*/ 2147483647 w 174"/>
                    <a:gd name="T49" fmla="*/ 2147483647 h 295"/>
                    <a:gd name="T50" fmla="*/ 2147483647 w 174"/>
                    <a:gd name="T51" fmla="*/ 2147483647 h 295"/>
                    <a:gd name="T52" fmla="*/ 2147483647 w 174"/>
                    <a:gd name="T53" fmla="*/ 2147483647 h 295"/>
                    <a:gd name="T54" fmla="*/ 2147483647 w 174"/>
                    <a:gd name="T55" fmla="*/ 2147483647 h 295"/>
                    <a:gd name="T56" fmla="*/ 2147483647 w 174"/>
                    <a:gd name="T57" fmla="*/ 2147483647 h 295"/>
                    <a:gd name="T58" fmla="*/ 2147483647 w 174"/>
                    <a:gd name="T59" fmla="*/ 2147483647 h 295"/>
                    <a:gd name="T60" fmla="*/ 2147483647 w 174"/>
                    <a:gd name="T61" fmla="*/ 2147483647 h 295"/>
                    <a:gd name="T62" fmla="*/ 2147483647 w 174"/>
                    <a:gd name="T63" fmla="*/ 2147483647 h 295"/>
                    <a:gd name="T64" fmla="*/ 2147483647 w 174"/>
                    <a:gd name="T65" fmla="*/ 2147483647 h 295"/>
                    <a:gd name="T66" fmla="*/ 2147483647 w 174"/>
                    <a:gd name="T67" fmla="*/ 2147483647 h 295"/>
                    <a:gd name="T68" fmla="*/ 2147483647 w 174"/>
                    <a:gd name="T69" fmla="*/ 2147483647 h 295"/>
                    <a:gd name="T70" fmla="*/ 2147483647 w 174"/>
                    <a:gd name="T71" fmla="*/ 2147483647 h 295"/>
                    <a:gd name="T72" fmla="*/ 2147483647 w 174"/>
                    <a:gd name="T73" fmla="*/ 2147483647 h 295"/>
                    <a:gd name="T74" fmla="*/ 2147483647 w 174"/>
                    <a:gd name="T75" fmla="*/ 2147483647 h 295"/>
                    <a:gd name="T76" fmla="*/ 2147483647 w 174"/>
                    <a:gd name="T77" fmla="*/ 2147483647 h 295"/>
                    <a:gd name="T78" fmla="*/ 2147483647 w 174"/>
                    <a:gd name="T79" fmla="*/ 2147483647 h 295"/>
                    <a:gd name="T80" fmla="*/ 2147483647 w 174"/>
                    <a:gd name="T81" fmla="*/ 2147483647 h 295"/>
                    <a:gd name="T82" fmla="*/ 2147483647 w 174"/>
                    <a:gd name="T83" fmla="*/ 2147483647 h 295"/>
                    <a:gd name="T84" fmla="*/ 2147483647 w 174"/>
                    <a:gd name="T85" fmla="*/ 2147483647 h 295"/>
                    <a:gd name="T86" fmla="*/ 2147483647 w 174"/>
                    <a:gd name="T87" fmla="*/ 2147483647 h 295"/>
                    <a:gd name="T88" fmla="*/ 2147483647 w 174"/>
                    <a:gd name="T89" fmla="*/ 2147483647 h 295"/>
                    <a:gd name="T90" fmla="*/ 2147483647 w 174"/>
                    <a:gd name="T91" fmla="*/ 2147483647 h 295"/>
                    <a:gd name="T92" fmla="*/ 2147483647 w 174"/>
                    <a:gd name="T93" fmla="*/ 2147483647 h 295"/>
                    <a:gd name="T94" fmla="*/ 2147483647 w 174"/>
                    <a:gd name="T95" fmla="*/ 2147483647 h 295"/>
                    <a:gd name="T96" fmla="*/ 2147483647 w 174"/>
                    <a:gd name="T97" fmla="*/ 2147483647 h 295"/>
                    <a:gd name="T98" fmla="*/ 2147483647 w 174"/>
                    <a:gd name="T99" fmla="*/ 2147483647 h 295"/>
                    <a:gd name="T100" fmla="*/ 2147483647 w 174"/>
                    <a:gd name="T101" fmla="*/ 2147483647 h 295"/>
                    <a:gd name="T102" fmla="*/ 2147483647 w 174"/>
                    <a:gd name="T103" fmla="*/ 2147483647 h 295"/>
                    <a:gd name="T104" fmla="*/ 0 w 174"/>
                    <a:gd name="T105" fmla="*/ 2147483647 h 2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
                    <a:gd name="T160" fmla="*/ 0 h 295"/>
                    <a:gd name="T161" fmla="*/ 174 w 174"/>
                    <a:gd name="T162" fmla="*/ 295 h 2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 h="295">
                      <a:moveTo>
                        <a:pt x="0" y="39"/>
                      </a:moveTo>
                      <a:lnTo>
                        <a:pt x="0" y="39"/>
                      </a:lnTo>
                      <a:lnTo>
                        <a:pt x="8" y="33"/>
                      </a:lnTo>
                      <a:lnTo>
                        <a:pt x="15" y="28"/>
                      </a:lnTo>
                      <a:lnTo>
                        <a:pt x="18" y="29"/>
                      </a:lnTo>
                      <a:lnTo>
                        <a:pt x="19" y="30"/>
                      </a:lnTo>
                      <a:lnTo>
                        <a:pt x="23" y="38"/>
                      </a:lnTo>
                      <a:lnTo>
                        <a:pt x="28" y="44"/>
                      </a:lnTo>
                      <a:lnTo>
                        <a:pt x="30" y="46"/>
                      </a:lnTo>
                      <a:lnTo>
                        <a:pt x="34" y="47"/>
                      </a:lnTo>
                      <a:lnTo>
                        <a:pt x="38" y="48"/>
                      </a:lnTo>
                      <a:lnTo>
                        <a:pt x="42" y="47"/>
                      </a:lnTo>
                      <a:lnTo>
                        <a:pt x="48" y="46"/>
                      </a:lnTo>
                      <a:lnTo>
                        <a:pt x="52" y="45"/>
                      </a:lnTo>
                      <a:lnTo>
                        <a:pt x="57" y="42"/>
                      </a:lnTo>
                      <a:lnTo>
                        <a:pt x="58" y="41"/>
                      </a:lnTo>
                      <a:lnTo>
                        <a:pt x="61" y="42"/>
                      </a:lnTo>
                      <a:lnTo>
                        <a:pt x="72" y="46"/>
                      </a:lnTo>
                      <a:lnTo>
                        <a:pt x="76" y="45"/>
                      </a:lnTo>
                      <a:lnTo>
                        <a:pt x="82" y="42"/>
                      </a:lnTo>
                      <a:lnTo>
                        <a:pt x="86" y="38"/>
                      </a:lnTo>
                      <a:lnTo>
                        <a:pt x="88" y="36"/>
                      </a:lnTo>
                      <a:lnTo>
                        <a:pt x="89" y="35"/>
                      </a:lnTo>
                      <a:lnTo>
                        <a:pt x="86" y="29"/>
                      </a:lnTo>
                      <a:lnTo>
                        <a:pt x="84" y="23"/>
                      </a:lnTo>
                      <a:lnTo>
                        <a:pt x="84" y="20"/>
                      </a:lnTo>
                      <a:lnTo>
                        <a:pt x="85" y="17"/>
                      </a:lnTo>
                      <a:lnTo>
                        <a:pt x="86" y="15"/>
                      </a:lnTo>
                      <a:lnTo>
                        <a:pt x="89" y="13"/>
                      </a:lnTo>
                      <a:lnTo>
                        <a:pt x="96" y="9"/>
                      </a:lnTo>
                      <a:lnTo>
                        <a:pt x="104" y="7"/>
                      </a:lnTo>
                      <a:lnTo>
                        <a:pt x="112" y="3"/>
                      </a:lnTo>
                      <a:lnTo>
                        <a:pt x="119" y="0"/>
                      </a:lnTo>
                      <a:lnTo>
                        <a:pt x="122" y="0"/>
                      </a:lnTo>
                      <a:lnTo>
                        <a:pt x="124" y="1"/>
                      </a:lnTo>
                      <a:lnTo>
                        <a:pt x="126" y="3"/>
                      </a:lnTo>
                      <a:lnTo>
                        <a:pt x="127" y="7"/>
                      </a:lnTo>
                      <a:lnTo>
                        <a:pt x="129" y="10"/>
                      </a:lnTo>
                      <a:lnTo>
                        <a:pt x="132" y="13"/>
                      </a:lnTo>
                      <a:lnTo>
                        <a:pt x="137" y="15"/>
                      </a:lnTo>
                      <a:lnTo>
                        <a:pt x="142" y="19"/>
                      </a:lnTo>
                      <a:lnTo>
                        <a:pt x="146" y="22"/>
                      </a:lnTo>
                      <a:lnTo>
                        <a:pt x="150" y="27"/>
                      </a:lnTo>
                      <a:lnTo>
                        <a:pt x="151" y="30"/>
                      </a:lnTo>
                      <a:lnTo>
                        <a:pt x="152" y="38"/>
                      </a:lnTo>
                      <a:lnTo>
                        <a:pt x="154" y="46"/>
                      </a:lnTo>
                      <a:lnTo>
                        <a:pt x="157" y="55"/>
                      </a:lnTo>
                      <a:lnTo>
                        <a:pt x="157" y="59"/>
                      </a:lnTo>
                      <a:lnTo>
                        <a:pt x="157" y="62"/>
                      </a:lnTo>
                      <a:lnTo>
                        <a:pt x="154" y="68"/>
                      </a:lnTo>
                      <a:lnTo>
                        <a:pt x="150" y="78"/>
                      </a:lnTo>
                      <a:lnTo>
                        <a:pt x="148" y="86"/>
                      </a:lnTo>
                      <a:lnTo>
                        <a:pt x="148" y="93"/>
                      </a:lnTo>
                      <a:lnTo>
                        <a:pt x="150" y="99"/>
                      </a:lnTo>
                      <a:lnTo>
                        <a:pt x="155" y="109"/>
                      </a:lnTo>
                      <a:lnTo>
                        <a:pt x="159" y="119"/>
                      </a:lnTo>
                      <a:lnTo>
                        <a:pt x="160" y="124"/>
                      </a:lnTo>
                      <a:lnTo>
                        <a:pt x="159" y="129"/>
                      </a:lnTo>
                      <a:lnTo>
                        <a:pt x="156" y="135"/>
                      </a:lnTo>
                      <a:lnTo>
                        <a:pt x="156" y="140"/>
                      </a:lnTo>
                      <a:lnTo>
                        <a:pt x="157" y="145"/>
                      </a:lnTo>
                      <a:lnTo>
                        <a:pt x="159" y="148"/>
                      </a:lnTo>
                      <a:lnTo>
                        <a:pt x="160" y="149"/>
                      </a:lnTo>
                      <a:lnTo>
                        <a:pt x="160" y="151"/>
                      </a:lnTo>
                      <a:lnTo>
                        <a:pt x="161" y="151"/>
                      </a:lnTo>
                      <a:lnTo>
                        <a:pt x="162" y="153"/>
                      </a:lnTo>
                      <a:lnTo>
                        <a:pt x="164" y="154"/>
                      </a:lnTo>
                      <a:lnTo>
                        <a:pt x="165" y="154"/>
                      </a:lnTo>
                      <a:lnTo>
                        <a:pt x="168" y="154"/>
                      </a:lnTo>
                      <a:lnTo>
                        <a:pt x="168" y="157"/>
                      </a:lnTo>
                      <a:lnTo>
                        <a:pt x="166" y="161"/>
                      </a:lnTo>
                      <a:lnTo>
                        <a:pt x="165" y="164"/>
                      </a:lnTo>
                      <a:lnTo>
                        <a:pt x="165" y="167"/>
                      </a:lnTo>
                      <a:lnTo>
                        <a:pt x="169" y="172"/>
                      </a:lnTo>
                      <a:lnTo>
                        <a:pt x="169" y="176"/>
                      </a:lnTo>
                      <a:lnTo>
                        <a:pt x="166" y="181"/>
                      </a:lnTo>
                      <a:lnTo>
                        <a:pt x="162" y="187"/>
                      </a:lnTo>
                      <a:lnTo>
                        <a:pt x="161" y="188"/>
                      </a:lnTo>
                      <a:lnTo>
                        <a:pt x="162" y="191"/>
                      </a:lnTo>
                      <a:lnTo>
                        <a:pt x="164" y="195"/>
                      </a:lnTo>
                      <a:lnTo>
                        <a:pt x="166" y="196"/>
                      </a:lnTo>
                      <a:lnTo>
                        <a:pt x="169" y="198"/>
                      </a:lnTo>
                      <a:lnTo>
                        <a:pt x="171" y="198"/>
                      </a:lnTo>
                      <a:lnTo>
                        <a:pt x="171" y="200"/>
                      </a:lnTo>
                      <a:lnTo>
                        <a:pt x="171" y="207"/>
                      </a:lnTo>
                      <a:lnTo>
                        <a:pt x="173" y="213"/>
                      </a:lnTo>
                      <a:lnTo>
                        <a:pt x="174" y="218"/>
                      </a:lnTo>
                      <a:lnTo>
                        <a:pt x="174" y="223"/>
                      </a:lnTo>
                      <a:lnTo>
                        <a:pt x="173" y="226"/>
                      </a:lnTo>
                      <a:lnTo>
                        <a:pt x="169" y="231"/>
                      </a:lnTo>
                      <a:lnTo>
                        <a:pt x="156" y="244"/>
                      </a:lnTo>
                      <a:lnTo>
                        <a:pt x="132" y="268"/>
                      </a:lnTo>
                      <a:lnTo>
                        <a:pt x="126" y="266"/>
                      </a:lnTo>
                      <a:lnTo>
                        <a:pt x="119" y="266"/>
                      </a:lnTo>
                      <a:lnTo>
                        <a:pt x="114" y="268"/>
                      </a:lnTo>
                      <a:lnTo>
                        <a:pt x="104" y="270"/>
                      </a:lnTo>
                      <a:lnTo>
                        <a:pt x="93" y="275"/>
                      </a:lnTo>
                      <a:lnTo>
                        <a:pt x="81" y="281"/>
                      </a:lnTo>
                      <a:lnTo>
                        <a:pt x="77" y="281"/>
                      </a:lnTo>
                      <a:lnTo>
                        <a:pt x="72" y="281"/>
                      </a:lnTo>
                      <a:lnTo>
                        <a:pt x="67" y="281"/>
                      </a:lnTo>
                      <a:lnTo>
                        <a:pt x="63" y="282"/>
                      </a:lnTo>
                      <a:lnTo>
                        <a:pt x="51" y="290"/>
                      </a:lnTo>
                      <a:lnTo>
                        <a:pt x="44" y="294"/>
                      </a:lnTo>
                      <a:lnTo>
                        <a:pt x="37" y="295"/>
                      </a:lnTo>
                      <a:lnTo>
                        <a:pt x="35" y="294"/>
                      </a:lnTo>
                      <a:lnTo>
                        <a:pt x="34" y="292"/>
                      </a:lnTo>
                      <a:lnTo>
                        <a:pt x="32" y="288"/>
                      </a:lnTo>
                      <a:lnTo>
                        <a:pt x="30" y="285"/>
                      </a:lnTo>
                      <a:lnTo>
                        <a:pt x="30" y="282"/>
                      </a:lnTo>
                      <a:lnTo>
                        <a:pt x="32" y="279"/>
                      </a:lnTo>
                      <a:lnTo>
                        <a:pt x="33" y="276"/>
                      </a:lnTo>
                      <a:lnTo>
                        <a:pt x="32" y="274"/>
                      </a:lnTo>
                      <a:lnTo>
                        <a:pt x="29" y="272"/>
                      </a:lnTo>
                      <a:lnTo>
                        <a:pt x="25" y="270"/>
                      </a:lnTo>
                      <a:lnTo>
                        <a:pt x="18" y="270"/>
                      </a:lnTo>
                      <a:lnTo>
                        <a:pt x="14" y="269"/>
                      </a:lnTo>
                      <a:lnTo>
                        <a:pt x="11" y="266"/>
                      </a:lnTo>
                      <a:lnTo>
                        <a:pt x="10" y="262"/>
                      </a:lnTo>
                      <a:lnTo>
                        <a:pt x="10" y="257"/>
                      </a:lnTo>
                      <a:lnTo>
                        <a:pt x="11" y="252"/>
                      </a:lnTo>
                      <a:lnTo>
                        <a:pt x="13" y="247"/>
                      </a:lnTo>
                      <a:lnTo>
                        <a:pt x="11" y="240"/>
                      </a:lnTo>
                      <a:lnTo>
                        <a:pt x="9" y="234"/>
                      </a:lnTo>
                      <a:lnTo>
                        <a:pt x="8" y="230"/>
                      </a:lnTo>
                      <a:lnTo>
                        <a:pt x="8" y="226"/>
                      </a:lnTo>
                      <a:lnTo>
                        <a:pt x="9" y="223"/>
                      </a:lnTo>
                      <a:lnTo>
                        <a:pt x="10" y="219"/>
                      </a:lnTo>
                      <a:lnTo>
                        <a:pt x="15" y="213"/>
                      </a:lnTo>
                      <a:lnTo>
                        <a:pt x="20" y="206"/>
                      </a:lnTo>
                      <a:lnTo>
                        <a:pt x="21" y="202"/>
                      </a:lnTo>
                      <a:lnTo>
                        <a:pt x="21" y="199"/>
                      </a:lnTo>
                      <a:lnTo>
                        <a:pt x="23" y="198"/>
                      </a:lnTo>
                      <a:lnTo>
                        <a:pt x="24" y="196"/>
                      </a:lnTo>
                      <a:lnTo>
                        <a:pt x="29" y="193"/>
                      </a:lnTo>
                      <a:lnTo>
                        <a:pt x="35" y="189"/>
                      </a:lnTo>
                      <a:lnTo>
                        <a:pt x="44" y="180"/>
                      </a:lnTo>
                      <a:lnTo>
                        <a:pt x="55" y="170"/>
                      </a:lnTo>
                      <a:lnTo>
                        <a:pt x="65" y="161"/>
                      </a:lnTo>
                      <a:lnTo>
                        <a:pt x="68" y="159"/>
                      </a:lnTo>
                      <a:lnTo>
                        <a:pt x="72" y="157"/>
                      </a:lnTo>
                      <a:lnTo>
                        <a:pt x="76" y="155"/>
                      </a:lnTo>
                      <a:lnTo>
                        <a:pt x="79" y="151"/>
                      </a:lnTo>
                      <a:lnTo>
                        <a:pt x="80" y="147"/>
                      </a:lnTo>
                      <a:lnTo>
                        <a:pt x="81" y="140"/>
                      </a:lnTo>
                      <a:lnTo>
                        <a:pt x="81" y="137"/>
                      </a:lnTo>
                      <a:lnTo>
                        <a:pt x="80" y="135"/>
                      </a:lnTo>
                      <a:lnTo>
                        <a:pt x="77" y="132"/>
                      </a:lnTo>
                      <a:lnTo>
                        <a:pt x="75" y="131"/>
                      </a:lnTo>
                      <a:lnTo>
                        <a:pt x="70" y="131"/>
                      </a:lnTo>
                      <a:lnTo>
                        <a:pt x="67" y="130"/>
                      </a:lnTo>
                      <a:lnTo>
                        <a:pt x="65" y="129"/>
                      </a:lnTo>
                      <a:lnTo>
                        <a:pt x="63" y="128"/>
                      </a:lnTo>
                      <a:lnTo>
                        <a:pt x="61" y="128"/>
                      </a:lnTo>
                      <a:lnTo>
                        <a:pt x="57" y="128"/>
                      </a:lnTo>
                      <a:lnTo>
                        <a:pt x="55" y="117"/>
                      </a:lnTo>
                      <a:lnTo>
                        <a:pt x="53" y="106"/>
                      </a:lnTo>
                      <a:lnTo>
                        <a:pt x="52" y="85"/>
                      </a:lnTo>
                      <a:lnTo>
                        <a:pt x="51" y="76"/>
                      </a:lnTo>
                      <a:lnTo>
                        <a:pt x="49" y="68"/>
                      </a:lnTo>
                      <a:lnTo>
                        <a:pt x="46" y="62"/>
                      </a:lnTo>
                      <a:lnTo>
                        <a:pt x="44" y="60"/>
                      </a:lnTo>
                      <a:lnTo>
                        <a:pt x="41" y="59"/>
                      </a:lnTo>
                      <a:lnTo>
                        <a:pt x="21" y="52"/>
                      </a:lnTo>
                      <a:lnTo>
                        <a:pt x="11" y="46"/>
                      </a:lnTo>
                      <a:lnTo>
                        <a:pt x="0" y="3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7" name="Freeform 1256"/>
                <p:cNvSpPr>
                  <a:spLocks/>
                </p:cNvSpPr>
                <p:nvPr/>
              </p:nvSpPr>
              <p:spPr bwMode="auto">
                <a:xfrm>
                  <a:off x="5001487" y="2784801"/>
                  <a:ext cx="22198" cy="48836"/>
                </a:xfrm>
                <a:custGeom>
                  <a:avLst/>
                  <a:gdLst>
                    <a:gd name="T0" fmla="*/ 2147483647 w 16"/>
                    <a:gd name="T1" fmla="*/ 2147483647 h 33"/>
                    <a:gd name="T2" fmla="*/ 2147483647 w 16"/>
                    <a:gd name="T3" fmla="*/ 2147483647 h 33"/>
                    <a:gd name="T4" fmla="*/ 2147483647 w 16"/>
                    <a:gd name="T5" fmla="*/ 2147483647 h 33"/>
                    <a:gd name="T6" fmla="*/ 2147483647 w 16"/>
                    <a:gd name="T7" fmla="*/ 2147483647 h 33"/>
                    <a:gd name="T8" fmla="*/ 0 w 16"/>
                    <a:gd name="T9" fmla="*/ 2147483647 h 33"/>
                    <a:gd name="T10" fmla="*/ 0 w 16"/>
                    <a:gd name="T11" fmla="*/ 2147483647 h 33"/>
                    <a:gd name="T12" fmla="*/ 0 w 16"/>
                    <a:gd name="T13" fmla="*/ 2147483647 h 33"/>
                    <a:gd name="T14" fmla="*/ 2147483647 w 16"/>
                    <a:gd name="T15" fmla="*/ 2147483647 h 33"/>
                    <a:gd name="T16" fmla="*/ 2147483647 w 16"/>
                    <a:gd name="T17" fmla="*/ 2147483647 h 33"/>
                    <a:gd name="T18" fmla="*/ 2147483647 w 16"/>
                    <a:gd name="T19" fmla="*/ 2147483647 h 33"/>
                    <a:gd name="T20" fmla="*/ 2147483647 w 16"/>
                    <a:gd name="T21" fmla="*/ 2147483647 h 33"/>
                    <a:gd name="T22" fmla="*/ 2147483647 w 16"/>
                    <a:gd name="T23" fmla="*/ 0 h 33"/>
                    <a:gd name="T24" fmla="*/ 2147483647 w 16"/>
                    <a:gd name="T25" fmla="*/ 2147483647 h 33"/>
                    <a:gd name="T26" fmla="*/ 2147483647 w 16"/>
                    <a:gd name="T27" fmla="*/ 2147483647 h 33"/>
                    <a:gd name="T28" fmla="*/ 2147483647 w 16"/>
                    <a:gd name="T29" fmla="*/ 2147483647 h 33"/>
                    <a:gd name="T30" fmla="*/ 2147483647 w 16"/>
                    <a:gd name="T31" fmla="*/ 2147483647 h 33"/>
                    <a:gd name="T32" fmla="*/ 2147483647 w 16"/>
                    <a:gd name="T33" fmla="*/ 2147483647 h 33"/>
                    <a:gd name="T34" fmla="*/ 2147483647 w 16"/>
                    <a:gd name="T35" fmla="*/ 2147483647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3"/>
                    <a:gd name="T56" fmla="*/ 16 w 16"/>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3">
                      <a:moveTo>
                        <a:pt x="13" y="14"/>
                      </a:moveTo>
                      <a:lnTo>
                        <a:pt x="13" y="14"/>
                      </a:lnTo>
                      <a:lnTo>
                        <a:pt x="1" y="33"/>
                      </a:lnTo>
                      <a:lnTo>
                        <a:pt x="0" y="29"/>
                      </a:lnTo>
                      <a:lnTo>
                        <a:pt x="0" y="26"/>
                      </a:lnTo>
                      <a:lnTo>
                        <a:pt x="0" y="20"/>
                      </a:lnTo>
                      <a:lnTo>
                        <a:pt x="4" y="13"/>
                      </a:lnTo>
                      <a:lnTo>
                        <a:pt x="6" y="7"/>
                      </a:lnTo>
                      <a:lnTo>
                        <a:pt x="10" y="2"/>
                      </a:lnTo>
                      <a:lnTo>
                        <a:pt x="13" y="0"/>
                      </a:lnTo>
                      <a:lnTo>
                        <a:pt x="15" y="1"/>
                      </a:lnTo>
                      <a:lnTo>
                        <a:pt x="16" y="3"/>
                      </a:lnTo>
                      <a:lnTo>
                        <a:pt x="15" y="7"/>
                      </a:lnTo>
                      <a:lnTo>
                        <a:pt x="13"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8" name="Freeform 1257"/>
                <p:cNvSpPr>
                  <a:spLocks/>
                </p:cNvSpPr>
                <p:nvPr/>
              </p:nvSpPr>
              <p:spPr bwMode="auto">
                <a:xfrm>
                  <a:off x="5041447" y="2770002"/>
                  <a:ext cx="28118" cy="48836"/>
                </a:xfrm>
                <a:custGeom>
                  <a:avLst/>
                  <a:gdLst>
                    <a:gd name="T0" fmla="*/ 2147483647 w 21"/>
                    <a:gd name="T1" fmla="*/ 2147483647 h 33"/>
                    <a:gd name="T2" fmla="*/ 2147483647 w 21"/>
                    <a:gd name="T3" fmla="*/ 2147483647 h 33"/>
                    <a:gd name="T4" fmla="*/ 2147483647 w 21"/>
                    <a:gd name="T5" fmla="*/ 2147483647 h 33"/>
                    <a:gd name="T6" fmla="*/ 2147483647 w 21"/>
                    <a:gd name="T7" fmla="*/ 2147483647 h 33"/>
                    <a:gd name="T8" fmla="*/ 2147483647 w 21"/>
                    <a:gd name="T9" fmla="*/ 2147483647 h 33"/>
                    <a:gd name="T10" fmla="*/ 2147483647 w 21"/>
                    <a:gd name="T11" fmla="*/ 0 h 33"/>
                    <a:gd name="T12" fmla="*/ 2147483647 w 21"/>
                    <a:gd name="T13" fmla="*/ 2147483647 h 33"/>
                    <a:gd name="T14" fmla="*/ 2147483647 w 21"/>
                    <a:gd name="T15" fmla="*/ 2147483647 h 33"/>
                    <a:gd name="T16" fmla="*/ 2147483647 w 21"/>
                    <a:gd name="T17" fmla="*/ 2147483647 h 33"/>
                    <a:gd name="T18" fmla="*/ 2147483647 w 21"/>
                    <a:gd name="T19" fmla="*/ 2147483647 h 33"/>
                    <a:gd name="T20" fmla="*/ 2147483647 w 21"/>
                    <a:gd name="T21" fmla="*/ 2147483647 h 33"/>
                    <a:gd name="T22" fmla="*/ 2147483647 w 21"/>
                    <a:gd name="T23" fmla="*/ 2147483647 h 33"/>
                    <a:gd name="T24" fmla="*/ 0 w 21"/>
                    <a:gd name="T25" fmla="*/ 2147483647 h 33"/>
                    <a:gd name="T26" fmla="*/ 2147483647 w 21"/>
                    <a:gd name="T27" fmla="*/ 2147483647 h 33"/>
                    <a:gd name="T28" fmla="*/ 2147483647 w 21"/>
                    <a:gd name="T29" fmla="*/ 2147483647 h 33"/>
                    <a:gd name="T30" fmla="*/ 2147483647 w 21"/>
                    <a:gd name="T31" fmla="*/ 2147483647 h 33"/>
                    <a:gd name="T32" fmla="*/ 2147483647 w 21"/>
                    <a:gd name="T33" fmla="*/ 2147483647 h 33"/>
                    <a:gd name="T34" fmla="*/ 2147483647 w 21"/>
                    <a:gd name="T35" fmla="*/ 2147483647 h 33"/>
                    <a:gd name="T36" fmla="*/ 2147483647 w 21"/>
                    <a:gd name="T37" fmla="*/ 2147483647 h 33"/>
                    <a:gd name="T38" fmla="*/ 2147483647 w 21"/>
                    <a:gd name="T39" fmla="*/ 2147483647 h 33"/>
                    <a:gd name="T40" fmla="*/ 2147483647 w 21"/>
                    <a:gd name="T41" fmla="*/ 2147483647 h 33"/>
                    <a:gd name="T42" fmla="*/ 2147483647 w 21"/>
                    <a:gd name="T43" fmla="*/ 2147483647 h 33"/>
                    <a:gd name="T44" fmla="*/ 2147483647 w 21"/>
                    <a:gd name="T45" fmla="*/ 2147483647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
                    <a:gd name="T70" fmla="*/ 0 h 33"/>
                    <a:gd name="T71" fmla="*/ 21 w 21"/>
                    <a:gd name="T72" fmla="*/ 33 h 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 h="33">
                      <a:moveTo>
                        <a:pt x="18" y="14"/>
                      </a:moveTo>
                      <a:lnTo>
                        <a:pt x="17" y="11"/>
                      </a:lnTo>
                      <a:lnTo>
                        <a:pt x="18" y="10"/>
                      </a:lnTo>
                      <a:lnTo>
                        <a:pt x="21" y="5"/>
                      </a:lnTo>
                      <a:lnTo>
                        <a:pt x="21" y="1"/>
                      </a:lnTo>
                      <a:lnTo>
                        <a:pt x="21" y="0"/>
                      </a:lnTo>
                      <a:lnTo>
                        <a:pt x="14" y="1"/>
                      </a:lnTo>
                      <a:lnTo>
                        <a:pt x="9" y="4"/>
                      </a:lnTo>
                      <a:lnTo>
                        <a:pt x="4" y="7"/>
                      </a:lnTo>
                      <a:lnTo>
                        <a:pt x="3" y="10"/>
                      </a:lnTo>
                      <a:lnTo>
                        <a:pt x="1" y="12"/>
                      </a:lnTo>
                      <a:lnTo>
                        <a:pt x="1" y="18"/>
                      </a:lnTo>
                      <a:lnTo>
                        <a:pt x="0" y="24"/>
                      </a:lnTo>
                      <a:lnTo>
                        <a:pt x="1" y="30"/>
                      </a:lnTo>
                      <a:lnTo>
                        <a:pt x="3" y="32"/>
                      </a:lnTo>
                      <a:lnTo>
                        <a:pt x="5" y="33"/>
                      </a:lnTo>
                      <a:lnTo>
                        <a:pt x="7" y="26"/>
                      </a:lnTo>
                      <a:lnTo>
                        <a:pt x="8" y="24"/>
                      </a:lnTo>
                      <a:lnTo>
                        <a:pt x="12" y="22"/>
                      </a:lnTo>
                      <a:lnTo>
                        <a:pt x="13" y="20"/>
                      </a:lnTo>
                      <a:lnTo>
                        <a:pt x="15" y="18"/>
                      </a:lnTo>
                      <a:lnTo>
                        <a:pt x="18" y="16"/>
                      </a:lnTo>
                      <a:lnTo>
                        <a:pt x="18"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19" name="Freeform 1258"/>
                <p:cNvSpPr>
                  <a:spLocks/>
                </p:cNvSpPr>
                <p:nvPr/>
              </p:nvSpPr>
              <p:spPr bwMode="auto">
                <a:xfrm>
                  <a:off x="4881618" y="2333439"/>
                  <a:ext cx="301894" cy="550512"/>
                </a:xfrm>
                <a:custGeom>
                  <a:avLst/>
                  <a:gdLst>
                    <a:gd name="T0" fmla="*/ 2147483647 w 221"/>
                    <a:gd name="T1" fmla="*/ 2147483647 h 372"/>
                    <a:gd name="T2" fmla="*/ 2147483647 w 221"/>
                    <a:gd name="T3" fmla="*/ 2147483647 h 372"/>
                    <a:gd name="T4" fmla="*/ 2147483647 w 221"/>
                    <a:gd name="T5" fmla="*/ 0 h 372"/>
                    <a:gd name="T6" fmla="*/ 2147483647 w 221"/>
                    <a:gd name="T7" fmla="*/ 2147483647 h 372"/>
                    <a:gd name="T8" fmla="*/ 2147483647 w 221"/>
                    <a:gd name="T9" fmla="*/ 2147483647 h 372"/>
                    <a:gd name="T10" fmla="*/ 2147483647 w 221"/>
                    <a:gd name="T11" fmla="*/ 2147483647 h 372"/>
                    <a:gd name="T12" fmla="*/ 2147483647 w 221"/>
                    <a:gd name="T13" fmla="*/ 2147483647 h 372"/>
                    <a:gd name="T14" fmla="*/ 2147483647 w 221"/>
                    <a:gd name="T15" fmla="*/ 2147483647 h 372"/>
                    <a:gd name="T16" fmla="*/ 2147483647 w 221"/>
                    <a:gd name="T17" fmla="*/ 2147483647 h 372"/>
                    <a:gd name="T18" fmla="*/ 2147483647 w 221"/>
                    <a:gd name="T19" fmla="*/ 2147483647 h 372"/>
                    <a:gd name="T20" fmla="*/ 2147483647 w 221"/>
                    <a:gd name="T21" fmla="*/ 2147483647 h 372"/>
                    <a:gd name="T22" fmla="*/ 2147483647 w 221"/>
                    <a:gd name="T23" fmla="*/ 2147483647 h 372"/>
                    <a:gd name="T24" fmla="*/ 2147483647 w 221"/>
                    <a:gd name="T25" fmla="*/ 2147483647 h 372"/>
                    <a:gd name="T26" fmla="*/ 2147483647 w 221"/>
                    <a:gd name="T27" fmla="*/ 2147483647 h 372"/>
                    <a:gd name="T28" fmla="*/ 2147483647 w 221"/>
                    <a:gd name="T29" fmla="*/ 2147483647 h 372"/>
                    <a:gd name="T30" fmla="*/ 2147483647 w 221"/>
                    <a:gd name="T31" fmla="*/ 2147483647 h 372"/>
                    <a:gd name="T32" fmla="*/ 2147483647 w 221"/>
                    <a:gd name="T33" fmla="*/ 2147483647 h 372"/>
                    <a:gd name="T34" fmla="*/ 2147483647 w 221"/>
                    <a:gd name="T35" fmla="*/ 2147483647 h 372"/>
                    <a:gd name="T36" fmla="*/ 2147483647 w 221"/>
                    <a:gd name="T37" fmla="*/ 2147483647 h 372"/>
                    <a:gd name="T38" fmla="*/ 2147483647 w 221"/>
                    <a:gd name="T39" fmla="*/ 2147483647 h 372"/>
                    <a:gd name="T40" fmla="*/ 2147483647 w 221"/>
                    <a:gd name="T41" fmla="*/ 2147483647 h 372"/>
                    <a:gd name="T42" fmla="*/ 2147483647 w 221"/>
                    <a:gd name="T43" fmla="*/ 2147483647 h 372"/>
                    <a:gd name="T44" fmla="*/ 2147483647 w 221"/>
                    <a:gd name="T45" fmla="*/ 2147483647 h 372"/>
                    <a:gd name="T46" fmla="*/ 2147483647 w 221"/>
                    <a:gd name="T47" fmla="*/ 2147483647 h 372"/>
                    <a:gd name="T48" fmla="*/ 2147483647 w 221"/>
                    <a:gd name="T49" fmla="*/ 2147483647 h 372"/>
                    <a:gd name="T50" fmla="*/ 2147483647 w 221"/>
                    <a:gd name="T51" fmla="*/ 2147483647 h 372"/>
                    <a:gd name="T52" fmla="*/ 2147483647 w 221"/>
                    <a:gd name="T53" fmla="*/ 2147483647 h 372"/>
                    <a:gd name="T54" fmla="*/ 2147483647 w 221"/>
                    <a:gd name="T55" fmla="*/ 2147483647 h 372"/>
                    <a:gd name="T56" fmla="*/ 2147483647 w 221"/>
                    <a:gd name="T57" fmla="*/ 2147483647 h 372"/>
                    <a:gd name="T58" fmla="*/ 2147483647 w 221"/>
                    <a:gd name="T59" fmla="*/ 2147483647 h 372"/>
                    <a:gd name="T60" fmla="*/ 2147483647 w 221"/>
                    <a:gd name="T61" fmla="*/ 2147483647 h 372"/>
                    <a:gd name="T62" fmla="*/ 2147483647 w 221"/>
                    <a:gd name="T63" fmla="*/ 2147483647 h 372"/>
                    <a:gd name="T64" fmla="*/ 2147483647 w 221"/>
                    <a:gd name="T65" fmla="*/ 2147483647 h 372"/>
                    <a:gd name="T66" fmla="*/ 2147483647 w 221"/>
                    <a:gd name="T67" fmla="*/ 2147483647 h 372"/>
                    <a:gd name="T68" fmla="*/ 2147483647 w 221"/>
                    <a:gd name="T69" fmla="*/ 2147483647 h 372"/>
                    <a:gd name="T70" fmla="*/ 2147483647 w 221"/>
                    <a:gd name="T71" fmla="*/ 2147483647 h 372"/>
                    <a:gd name="T72" fmla="*/ 2147483647 w 221"/>
                    <a:gd name="T73" fmla="*/ 2147483647 h 372"/>
                    <a:gd name="T74" fmla="*/ 2147483647 w 221"/>
                    <a:gd name="T75" fmla="*/ 2147483647 h 372"/>
                    <a:gd name="T76" fmla="*/ 2147483647 w 221"/>
                    <a:gd name="T77" fmla="*/ 2147483647 h 372"/>
                    <a:gd name="T78" fmla="*/ 2147483647 w 221"/>
                    <a:gd name="T79" fmla="*/ 2147483647 h 372"/>
                    <a:gd name="T80" fmla="*/ 2147483647 w 221"/>
                    <a:gd name="T81" fmla="*/ 2147483647 h 372"/>
                    <a:gd name="T82" fmla="*/ 2147483647 w 221"/>
                    <a:gd name="T83" fmla="*/ 2147483647 h 372"/>
                    <a:gd name="T84" fmla="*/ 2147483647 w 221"/>
                    <a:gd name="T85" fmla="*/ 2147483647 h 372"/>
                    <a:gd name="T86" fmla="*/ 2147483647 w 221"/>
                    <a:gd name="T87" fmla="*/ 2147483647 h 372"/>
                    <a:gd name="T88" fmla="*/ 2147483647 w 221"/>
                    <a:gd name="T89" fmla="*/ 2147483647 h 372"/>
                    <a:gd name="T90" fmla="*/ 2147483647 w 221"/>
                    <a:gd name="T91" fmla="*/ 2147483647 h 372"/>
                    <a:gd name="T92" fmla="*/ 2147483647 w 221"/>
                    <a:gd name="T93" fmla="*/ 2147483647 h 372"/>
                    <a:gd name="T94" fmla="*/ 2147483647 w 221"/>
                    <a:gd name="T95" fmla="*/ 2147483647 h 372"/>
                    <a:gd name="T96" fmla="*/ 2147483647 w 221"/>
                    <a:gd name="T97" fmla="*/ 2147483647 h 372"/>
                    <a:gd name="T98" fmla="*/ 2147483647 w 221"/>
                    <a:gd name="T99" fmla="*/ 2147483647 h 372"/>
                    <a:gd name="T100" fmla="*/ 2147483647 w 221"/>
                    <a:gd name="T101" fmla="*/ 2147483647 h 372"/>
                    <a:gd name="T102" fmla="*/ 2147483647 w 221"/>
                    <a:gd name="T103" fmla="*/ 2147483647 h 372"/>
                    <a:gd name="T104" fmla="*/ 2147483647 w 221"/>
                    <a:gd name="T105" fmla="*/ 2147483647 h 372"/>
                    <a:gd name="T106" fmla="*/ 2147483647 w 221"/>
                    <a:gd name="T107" fmla="*/ 2147483647 h 372"/>
                    <a:gd name="T108" fmla="*/ 2147483647 w 221"/>
                    <a:gd name="T109" fmla="*/ 2147483647 h 3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1"/>
                    <a:gd name="T166" fmla="*/ 0 h 372"/>
                    <a:gd name="T167" fmla="*/ 221 w 221"/>
                    <a:gd name="T168" fmla="*/ 372 h 3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1" h="372">
                      <a:moveTo>
                        <a:pt x="221" y="89"/>
                      </a:moveTo>
                      <a:lnTo>
                        <a:pt x="219" y="78"/>
                      </a:lnTo>
                      <a:lnTo>
                        <a:pt x="218" y="68"/>
                      </a:lnTo>
                      <a:lnTo>
                        <a:pt x="216" y="46"/>
                      </a:lnTo>
                      <a:lnTo>
                        <a:pt x="215" y="37"/>
                      </a:lnTo>
                      <a:lnTo>
                        <a:pt x="214" y="30"/>
                      </a:lnTo>
                      <a:lnTo>
                        <a:pt x="210" y="24"/>
                      </a:lnTo>
                      <a:lnTo>
                        <a:pt x="209" y="21"/>
                      </a:lnTo>
                      <a:lnTo>
                        <a:pt x="205" y="20"/>
                      </a:lnTo>
                      <a:lnTo>
                        <a:pt x="186" y="13"/>
                      </a:lnTo>
                      <a:lnTo>
                        <a:pt x="176" y="7"/>
                      </a:lnTo>
                      <a:lnTo>
                        <a:pt x="164" y="0"/>
                      </a:lnTo>
                      <a:lnTo>
                        <a:pt x="158" y="7"/>
                      </a:lnTo>
                      <a:lnTo>
                        <a:pt x="153" y="14"/>
                      </a:lnTo>
                      <a:lnTo>
                        <a:pt x="149" y="17"/>
                      </a:lnTo>
                      <a:lnTo>
                        <a:pt x="146" y="18"/>
                      </a:lnTo>
                      <a:lnTo>
                        <a:pt x="143" y="18"/>
                      </a:lnTo>
                      <a:lnTo>
                        <a:pt x="139" y="17"/>
                      </a:lnTo>
                      <a:lnTo>
                        <a:pt x="134" y="15"/>
                      </a:lnTo>
                      <a:lnTo>
                        <a:pt x="129" y="15"/>
                      </a:lnTo>
                      <a:lnTo>
                        <a:pt x="125" y="15"/>
                      </a:lnTo>
                      <a:lnTo>
                        <a:pt x="121" y="18"/>
                      </a:lnTo>
                      <a:lnTo>
                        <a:pt x="117" y="22"/>
                      </a:lnTo>
                      <a:lnTo>
                        <a:pt x="113" y="26"/>
                      </a:lnTo>
                      <a:lnTo>
                        <a:pt x="104" y="31"/>
                      </a:lnTo>
                      <a:lnTo>
                        <a:pt x="94" y="36"/>
                      </a:lnTo>
                      <a:lnTo>
                        <a:pt x="84" y="40"/>
                      </a:lnTo>
                      <a:lnTo>
                        <a:pt x="82" y="43"/>
                      </a:lnTo>
                      <a:lnTo>
                        <a:pt x="79" y="45"/>
                      </a:lnTo>
                      <a:lnTo>
                        <a:pt x="78" y="51"/>
                      </a:lnTo>
                      <a:lnTo>
                        <a:pt x="75" y="56"/>
                      </a:lnTo>
                      <a:lnTo>
                        <a:pt x="71" y="60"/>
                      </a:lnTo>
                      <a:lnTo>
                        <a:pt x="66" y="64"/>
                      </a:lnTo>
                      <a:lnTo>
                        <a:pt x="65" y="65"/>
                      </a:lnTo>
                      <a:lnTo>
                        <a:pt x="64" y="68"/>
                      </a:lnTo>
                      <a:lnTo>
                        <a:pt x="64" y="72"/>
                      </a:lnTo>
                      <a:lnTo>
                        <a:pt x="61" y="76"/>
                      </a:lnTo>
                      <a:lnTo>
                        <a:pt x="58" y="78"/>
                      </a:lnTo>
                      <a:lnTo>
                        <a:pt x="52" y="79"/>
                      </a:lnTo>
                      <a:lnTo>
                        <a:pt x="49" y="83"/>
                      </a:lnTo>
                      <a:lnTo>
                        <a:pt x="47" y="87"/>
                      </a:lnTo>
                      <a:lnTo>
                        <a:pt x="46" y="102"/>
                      </a:lnTo>
                      <a:lnTo>
                        <a:pt x="44" y="109"/>
                      </a:lnTo>
                      <a:lnTo>
                        <a:pt x="40" y="116"/>
                      </a:lnTo>
                      <a:lnTo>
                        <a:pt x="40" y="119"/>
                      </a:lnTo>
                      <a:lnTo>
                        <a:pt x="41" y="121"/>
                      </a:lnTo>
                      <a:lnTo>
                        <a:pt x="45" y="128"/>
                      </a:lnTo>
                      <a:lnTo>
                        <a:pt x="46" y="132"/>
                      </a:lnTo>
                      <a:lnTo>
                        <a:pt x="44" y="134"/>
                      </a:lnTo>
                      <a:lnTo>
                        <a:pt x="41" y="135"/>
                      </a:lnTo>
                      <a:lnTo>
                        <a:pt x="37" y="135"/>
                      </a:lnTo>
                      <a:lnTo>
                        <a:pt x="31" y="133"/>
                      </a:lnTo>
                      <a:lnTo>
                        <a:pt x="26" y="133"/>
                      </a:lnTo>
                      <a:lnTo>
                        <a:pt x="21" y="134"/>
                      </a:lnTo>
                      <a:lnTo>
                        <a:pt x="17" y="136"/>
                      </a:lnTo>
                      <a:lnTo>
                        <a:pt x="14" y="140"/>
                      </a:lnTo>
                      <a:lnTo>
                        <a:pt x="12" y="145"/>
                      </a:lnTo>
                      <a:lnTo>
                        <a:pt x="9" y="155"/>
                      </a:lnTo>
                      <a:lnTo>
                        <a:pt x="8" y="165"/>
                      </a:lnTo>
                      <a:lnTo>
                        <a:pt x="8" y="172"/>
                      </a:lnTo>
                      <a:lnTo>
                        <a:pt x="9" y="179"/>
                      </a:lnTo>
                      <a:lnTo>
                        <a:pt x="9" y="186"/>
                      </a:lnTo>
                      <a:lnTo>
                        <a:pt x="9" y="192"/>
                      </a:lnTo>
                      <a:lnTo>
                        <a:pt x="12" y="198"/>
                      </a:lnTo>
                      <a:lnTo>
                        <a:pt x="13" y="199"/>
                      </a:lnTo>
                      <a:lnTo>
                        <a:pt x="16" y="200"/>
                      </a:lnTo>
                      <a:lnTo>
                        <a:pt x="18" y="203"/>
                      </a:lnTo>
                      <a:lnTo>
                        <a:pt x="19" y="204"/>
                      </a:lnTo>
                      <a:lnTo>
                        <a:pt x="21" y="210"/>
                      </a:lnTo>
                      <a:lnTo>
                        <a:pt x="22" y="212"/>
                      </a:lnTo>
                      <a:lnTo>
                        <a:pt x="21" y="215"/>
                      </a:lnTo>
                      <a:lnTo>
                        <a:pt x="17" y="216"/>
                      </a:lnTo>
                      <a:lnTo>
                        <a:pt x="14" y="217"/>
                      </a:lnTo>
                      <a:lnTo>
                        <a:pt x="13" y="218"/>
                      </a:lnTo>
                      <a:lnTo>
                        <a:pt x="12" y="234"/>
                      </a:lnTo>
                      <a:lnTo>
                        <a:pt x="9" y="245"/>
                      </a:lnTo>
                      <a:lnTo>
                        <a:pt x="5" y="256"/>
                      </a:lnTo>
                      <a:lnTo>
                        <a:pt x="0" y="268"/>
                      </a:lnTo>
                      <a:lnTo>
                        <a:pt x="2" y="269"/>
                      </a:lnTo>
                      <a:lnTo>
                        <a:pt x="3" y="271"/>
                      </a:lnTo>
                      <a:lnTo>
                        <a:pt x="4" y="277"/>
                      </a:lnTo>
                      <a:lnTo>
                        <a:pt x="5" y="283"/>
                      </a:lnTo>
                      <a:lnTo>
                        <a:pt x="7" y="289"/>
                      </a:lnTo>
                      <a:lnTo>
                        <a:pt x="8" y="292"/>
                      </a:lnTo>
                      <a:lnTo>
                        <a:pt x="12" y="294"/>
                      </a:lnTo>
                      <a:lnTo>
                        <a:pt x="12" y="295"/>
                      </a:lnTo>
                      <a:lnTo>
                        <a:pt x="12" y="299"/>
                      </a:lnTo>
                      <a:lnTo>
                        <a:pt x="11" y="301"/>
                      </a:lnTo>
                      <a:lnTo>
                        <a:pt x="11" y="305"/>
                      </a:lnTo>
                      <a:lnTo>
                        <a:pt x="16" y="318"/>
                      </a:lnTo>
                      <a:lnTo>
                        <a:pt x="18" y="324"/>
                      </a:lnTo>
                      <a:lnTo>
                        <a:pt x="22" y="330"/>
                      </a:lnTo>
                      <a:lnTo>
                        <a:pt x="23" y="332"/>
                      </a:lnTo>
                      <a:lnTo>
                        <a:pt x="24" y="334"/>
                      </a:lnTo>
                      <a:lnTo>
                        <a:pt x="26" y="337"/>
                      </a:lnTo>
                      <a:lnTo>
                        <a:pt x="24" y="340"/>
                      </a:lnTo>
                      <a:lnTo>
                        <a:pt x="23" y="346"/>
                      </a:lnTo>
                      <a:lnTo>
                        <a:pt x="24" y="351"/>
                      </a:lnTo>
                      <a:lnTo>
                        <a:pt x="26" y="356"/>
                      </a:lnTo>
                      <a:lnTo>
                        <a:pt x="27" y="359"/>
                      </a:lnTo>
                      <a:lnTo>
                        <a:pt x="27" y="363"/>
                      </a:lnTo>
                      <a:lnTo>
                        <a:pt x="24" y="371"/>
                      </a:lnTo>
                      <a:lnTo>
                        <a:pt x="31" y="372"/>
                      </a:lnTo>
                      <a:lnTo>
                        <a:pt x="37" y="372"/>
                      </a:lnTo>
                      <a:lnTo>
                        <a:pt x="51" y="372"/>
                      </a:lnTo>
                      <a:lnTo>
                        <a:pt x="52" y="371"/>
                      </a:lnTo>
                      <a:lnTo>
                        <a:pt x="54" y="369"/>
                      </a:lnTo>
                      <a:lnTo>
                        <a:pt x="55" y="365"/>
                      </a:lnTo>
                      <a:lnTo>
                        <a:pt x="58" y="360"/>
                      </a:lnTo>
                      <a:lnTo>
                        <a:pt x="59" y="356"/>
                      </a:lnTo>
                      <a:lnTo>
                        <a:pt x="60" y="351"/>
                      </a:lnTo>
                      <a:lnTo>
                        <a:pt x="63" y="347"/>
                      </a:lnTo>
                      <a:lnTo>
                        <a:pt x="66" y="345"/>
                      </a:lnTo>
                      <a:lnTo>
                        <a:pt x="70" y="344"/>
                      </a:lnTo>
                      <a:lnTo>
                        <a:pt x="75" y="341"/>
                      </a:lnTo>
                      <a:lnTo>
                        <a:pt x="79" y="338"/>
                      </a:lnTo>
                      <a:lnTo>
                        <a:pt x="87" y="326"/>
                      </a:lnTo>
                      <a:lnTo>
                        <a:pt x="91" y="318"/>
                      </a:lnTo>
                      <a:lnTo>
                        <a:pt x="94" y="309"/>
                      </a:lnTo>
                      <a:lnTo>
                        <a:pt x="97" y="302"/>
                      </a:lnTo>
                      <a:lnTo>
                        <a:pt x="97" y="295"/>
                      </a:lnTo>
                      <a:lnTo>
                        <a:pt x="97" y="293"/>
                      </a:lnTo>
                      <a:lnTo>
                        <a:pt x="96" y="289"/>
                      </a:lnTo>
                      <a:lnTo>
                        <a:pt x="93" y="288"/>
                      </a:lnTo>
                      <a:lnTo>
                        <a:pt x="91" y="286"/>
                      </a:lnTo>
                      <a:lnTo>
                        <a:pt x="91" y="283"/>
                      </a:lnTo>
                      <a:lnTo>
                        <a:pt x="91" y="281"/>
                      </a:lnTo>
                      <a:lnTo>
                        <a:pt x="96" y="277"/>
                      </a:lnTo>
                      <a:lnTo>
                        <a:pt x="102" y="276"/>
                      </a:lnTo>
                      <a:lnTo>
                        <a:pt x="107" y="274"/>
                      </a:lnTo>
                      <a:lnTo>
                        <a:pt x="112" y="271"/>
                      </a:lnTo>
                      <a:lnTo>
                        <a:pt x="115" y="268"/>
                      </a:lnTo>
                      <a:lnTo>
                        <a:pt x="115" y="266"/>
                      </a:lnTo>
                      <a:lnTo>
                        <a:pt x="115" y="263"/>
                      </a:lnTo>
                      <a:lnTo>
                        <a:pt x="112" y="262"/>
                      </a:lnTo>
                      <a:lnTo>
                        <a:pt x="110" y="261"/>
                      </a:lnTo>
                      <a:lnTo>
                        <a:pt x="106" y="260"/>
                      </a:lnTo>
                      <a:lnTo>
                        <a:pt x="101" y="261"/>
                      </a:lnTo>
                      <a:lnTo>
                        <a:pt x="99" y="262"/>
                      </a:lnTo>
                      <a:lnTo>
                        <a:pt x="97" y="261"/>
                      </a:lnTo>
                      <a:lnTo>
                        <a:pt x="97" y="260"/>
                      </a:lnTo>
                      <a:lnTo>
                        <a:pt x="97" y="258"/>
                      </a:lnTo>
                      <a:lnTo>
                        <a:pt x="99" y="257"/>
                      </a:lnTo>
                      <a:lnTo>
                        <a:pt x="103" y="257"/>
                      </a:lnTo>
                      <a:lnTo>
                        <a:pt x="107" y="257"/>
                      </a:lnTo>
                      <a:lnTo>
                        <a:pt x="111" y="258"/>
                      </a:lnTo>
                      <a:lnTo>
                        <a:pt x="115" y="260"/>
                      </a:lnTo>
                      <a:lnTo>
                        <a:pt x="116" y="260"/>
                      </a:lnTo>
                      <a:lnTo>
                        <a:pt x="117" y="261"/>
                      </a:lnTo>
                      <a:lnTo>
                        <a:pt x="118" y="263"/>
                      </a:lnTo>
                      <a:lnTo>
                        <a:pt x="118" y="267"/>
                      </a:lnTo>
                      <a:lnTo>
                        <a:pt x="121" y="269"/>
                      </a:lnTo>
                      <a:lnTo>
                        <a:pt x="122" y="266"/>
                      </a:lnTo>
                      <a:lnTo>
                        <a:pt x="125" y="263"/>
                      </a:lnTo>
                      <a:lnTo>
                        <a:pt x="127" y="261"/>
                      </a:lnTo>
                      <a:lnTo>
                        <a:pt x="132" y="261"/>
                      </a:lnTo>
                      <a:lnTo>
                        <a:pt x="134" y="261"/>
                      </a:lnTo>
                      <a:lnTo>
                        <a:pt x="132" y="258"/>
                      </a:lnTo>
                      <a:lnTo>
                        <a:pt x="131" y="256"/>
                      </a:lnTo>
                      <a:lnTo>
                        <a:pt x="131" y="254"/>
                      </a:lnTo>
                      <a:lnTo>
                        <a:pt x="134" y="249"/>
                      </a:lnTo>
                      <a:lnTo>
                        <a:pt x="135" y="245"/>
                      </a:lnTo>
                      <a:lnTo>
                        <a:pt x="135" y="243"/>
                      </a:lnTo>
                      <a:lnTo>
                        <a:pt x="135" y="242"/>
                      </a:lnTo>
                      <a:lnTo>
                        <a:pt x="132" y="241"/>
                      </a:lnTo>
                      <a:lnTo>
                        <a:pt x="129" y="241"/>
                      </a:lnTo>
                      <a:lnTo>
                        <a:pt x="127" y="238"/>
                      </a:lnTo>
                      <a:lnTo>
                        <a:pt x="125" y="236"/>
                      </a:lnTo>
                      <a:lnTo>
                        <a:pt x="117" y="236"/>
                      </a:lnTo>
                      <a:lnTo>
                        <a:pt x="113" y="235"/>
                      </a:lnTo>
                      <a:lnTo>
                        <a:pt x="111" y="232"/>
                      </a:lnTo>
                      <a:lnTo>
                        <a:pt x="106" y="219"/>
                      </a:lnTo>
                      <a:lnTo>
                        <a:pt x="103" y="204"/>
                      </a:lnTo>
                      <a:lnTo>
                        <a:pt x="103" y="197"/>
                      </a:lnTo>
                      <a:lnTo>
                        <a:pt x="103" y="190"/>
                      </a:lnTo>
                      <a:lnTo>
                        <a:pt x="106" y="183"/>
                      </a:lnTo>
                      <a:lnTo>
                        <a:pt x="108" y="175"/>
                      </a:lnTo>
                      <a:lnTo>
                        <a:pt x="110" y="174"/>
                      </a:lnTo>
                      <a:lnTo>
                        <a:pt x="111" y="173"/>
                      </a:lnTo>
                      <a:lnTo>
                        <a:pt x="115" y="173"/>
                      </a:lnTo>
                      <a:lnTo>
                        <a:pt x="118" y="173"/>
                      </a:lnTo>
                      <a:lnTo>
                        <a:pt x="121" y="173"/>
                      </a:lnTo>
                      <a:lnTo>
                        <a:pt x="125" y="165"/>
                      </a:lnTo>
                      <a:lnTo>
                        <a:pt x="127" y="162"/>
                      </a:lnTo>
                      <a:lnTo>
                        <a:pt x="132" y="161"/>
                      </a:lnTo>
                      <a:lnTo>
                        <a:pt x="140" y="159"/>
                      </a:lnTo>
                      <a:lnTo>
                        <a:pt x="143" y="158"/>
                      </a:lnTo>
                      <a:lnTo>
                        <a:pt x="144" y="156"/>
                      </a:lnTo>
                      <a:lnTo>
                        <a:pt x="146" y="151"/>
                      </a:lnTo>
                      <a:lnTo>
                        <a:pt x="149" y="148"/>
                      </a:lnTo>
                      <a:lnTo>
                        <a:pt x="150" y="148"/>
                      </a:lnTo>
                      <a:lnTo>
                        <a:pt x="154" y="147"/>
                      </a:lnTo>
                      <a:lnTo>
                        <a:pt x="158" y="146"/>
                      </a:lnTo>
                      <a:lnTo>
                        <a:pt x="162" y="141"/>
                      </a:lnTo>
                      <a:lnTo>
                        <a:pt x="165" y="136"/>
                      </a:lnTo>
                      <a:lnTo>
                        <a:pt x="169" y="132"/>
                      </a:lnTo>
                      <a:lnTo>
                        <a:pt x="173" y="129"/>
                      </a:lnTo>
                      <a:lnTo>
                        <a:pt x="174" y="128"/>
                      </a:lnTo>
                      <a:lnTo>
                        <a:pt x="174" y="127"/>
                      </a:lnTo>
                      <a:lnTo>
                        <a:pt x="172" y="120"/>
                      </a:lnTo>
                      <a:lnTo>
                        <a:pt x="172" y="113"/>
                      </a:lnTo>
                      <a:lnTo>
                        <a:pt x="176" y="107"/>
                      </a:lnTo>
                      <a:lnTo>
                        <a:pt x="182" y="101"/>
                      </a:lnTo>
                      <a:lnTo>
                        <a:pt x="186" y="96"/>
                      </a:lnTo>
                      <a:lnTo>
                        <a:pt x="188" y="94"/>
                      </a:lnTo>
                      <a:lnTo>
                        <a:pt x="191" y="91"/>
                      </a:lnTo>
                      <a:lnTo>
                        <a:pt x="192" y="91"/>
                      </a:lnTo>
                      <a:lnTo>
                        <a:pt x="195" y="92"/>
                      </a:lnTo>
                      <a:lnTo>
                        <a:pt x="196" y="94"/>
                      </a:lnTo>
                      <a:lnTo>
                        <a:pt x="198" y="94"/>
                      </a:lnTo>
                      <a:lnTo>
                        <a:pt x="200" y="92"/>
                      </a:lnTo>
                      <a:lnTo>
                        <a:pt x="201" y="90"/>
                      </a:lnTo>
                      <a:lnTo>
                        <a:pt x="204" y="88"/>
                      </a:lnTo>
                      <a:lnTo>
                        <a:pt x="205" y="87"/>
                      </a:lnTo>
                      <a:lnTo>
                        <a:pt x="206" y="88"/>
                      </a:lnTo>
                      <a:lnTo>
                        <a:pt x="207" y="89"/>
                      </a:lnTo>
                      <a:lnTo>
                        <a:pt x="209" y="90"/>
                      </a:lnTo>
                      <a:lnTo>
                        <a:pt x="211" y="91"/>
                      </a:lnTo>
                      <a:lnTo>
                        <a:pt x="214" y="92"/>
                      </a:lnTo>
                      <a:lnTo>
                        <a:pt x="216" y="91"/>
                      </a:lnTo>
                      <a:lnTo>
                        <a:pt x="221" y="8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0" name="Freeform 1259"/>
                <p:cNvSpPr>
                  <a:spLocks/>
                </p:cNvSpPr>
                <p:nvPr/>
              </p:nvSpPr>
              <p:spPr bwMode="auto">
                <a:xfrm>
                  <a:off x="5039964" y="2768525"/>
                  <a:ext cx="28117" cy="48835"/>
                </a:xfrm>
                <a:custGeom>
                  <a:avLst/>
                  <a:gdLst>
                    <a:gd name="T0" fmla="*/ 2147483647 w 20"/>
                    <a:gd name="T1" fmla="*/ 2147483647 h 33"/>
                    <a:gd name="T2" fmla="*/ 2147483647 w 20"/>
                    <a:gd name="T3" fmla="*/ 2147483647 h 33"/>
                    <a:gd name="T4" fmla="*/ 2147483647 w 20"/>
                    <a:gd name="T5" fmla="*/ 2147483647 h 33"/>
                    <a:gd name="T6" fmla="*/ 2147483647 w 20"/>
                    <a:gd name="T7" fmla="*/ 2147483647 h 33"/>
                    <a:gd name="T8" fmla="*/ 2147483647 w 20"/>
                    <a:gd name="T9" fmla="*/ 2147483647 h 33"/>
                    <a:gd name="T10" fmla="*/ 2147483647 w 20"/>
                    <a:gd name="T11" fmla="*/ 2147483647 h 33"/>
                    <a:gd name="T12" fmla="*/ 2147483647 w 20"/>
                    <a:gd name="T13" fmla="*/ 2147483647 h 33"/>
                    <a:gd name="T14" fmla="*/ 2147483647 w 20"/>
                    <a:gd name="T15" fmla="*/ 0 h 33"/>
                    <a:gd name="T16" fmla="*/ 2147483647 w 20"/>
                    <a:gd name="T17" fmla="*/ 0 h 33"/>
                    <a:gd name="T18" fmla="*/ 2147483647 w 20"/>
                    <a:gd name="T19" fmla="*/ 2147483647 h 33"/>
                    <a:gd name="T20" fmla="*/ 2147483647 w 20"/>
                    <a:gd name="T21" fmla="*/ 2147483647 h 33"/>
                    <a:gd name="T22" fmla="*/ 2147483647 w 20"/>
                    <a:gd name="T23" fmla="*/ 2147483647 h 33"/>
                    <a:gd name="T24" fmla="*/ 2147483647 w 20"/>
                    <a:gd name="T25" fmla="*/ 2147483647 h 33"/>
                    <a:gd name="T26" fmla="*/ 2147483647 w 20"/>
                    <a:gd name="T27" fmla="*/ 2147483647 h 33"/>
                    <a:gd name="T28" fmla="*/ 2147483647 w 20"/>
                    <a:gd name="T29" fmla="*/ 2147483647 h 33"/>
                    <a:gd name="T30" fmla="*/ 2147483647 w 20"/>
                    <a:gd name="T31" fmla="*/ 2147483647 h 33"/>
                    <a:gd name="T32" fmla="*/ 0 w 20"/>
                    <a:gd name="T33" fmla="*/ 2147483647 h 33"/>
                    <a:gd name="T34" fmla="*/ 2147483647 w 20"/>
                    <a:gd name="T35" fmla="*/ 2147483647 h 33"/>
                    <a:gd name="T36" fmla="*/ 2147483647 w 20"/>
                    <a:gd name="T37" fmla="*/ 2147483647 h 33"/>
                    <a:gd name="T38" fmla="*/ 2147483647 w 20"/>
                    <a:gd name="T39" fmla="*/ 2147483647 h 33"/>
                    <a:gd name="T40" fmla="*/ 2147483647 w 20"/>
                    <a:gd name="T41" fmla="*/ 2147483647 h 33"/>
                    <a:gd name="T42" fmla="*/ 2147483647 w 20"/>
                    <a:gd name="T43" fmla="*/ 2147483647 h 33"/>
                    <a:gd name="T44" fmla="*/ 2147483647 w 20"/>
                    <a:gd name="T45" fmla="*/ 2147483647 h 33"/>
                    <a:gd name="T46" fmla="*/ 2147483647 w 20"/>
                    <a:gd name="T47" fmla="*/ 2147483647 h 33"/>
                    <a:gd name="T48" fmla="*/ 2147483647 w 20"/>
                    <a:gd name="T49" fmla="*/ 2147483647 h 33"/>
                    <a:gd name="T50" fmla="*/ 2147483647 w 20"/>
                    <a:gd name="T51" fmla="*/ 2147483647 h 33"/>
                    <a:gd name="T52" fmla="*/ 2147483647 w 20"/>
                    <a:gd name="T53" fmla="*/ 2147483647 h 33"/>
                    <a:gd name="T54" fmla="*/ 2147483647 w 20"/>
                    <a:gd name="T55" fmla="*/ 2147483647 h 33"/>
                    <a:gd name="T56" fmla="*/ 2147483647 w 20"/>
                    <a:gd name="T57" fmla="*/ 2147483647 h 33"/>
                    <a:gd name="T58" fmla="*/ 2147483647 w 20"/>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
                    <a:gd name="T91" fmla="*/ 0 h 33"/>
                    <a:gd name="T92" fmla="*/ 20 w 20"/>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 h="33">
                      <a:moveTo>
                        <a:pt x="18" y="14"/>
                      </a:moveTo>
                      <a:lnTo>
                        <a:pt x="18" y="14"/>
                      </a:lnTo>
                      <a:lnTo>
                        <a:pt x="16" y="11"/>
                      </a:lnTo>
                      <a:lnTo>
                        <a:pt x="18" y="9"/>
                      </a:lnTo>
                      <a:lnTo>
                        <a:pt x="20" y="5"/>
                      </a:lnTo>
                      <a:lnTo>
                        <a:pt x="20" y="1"/>
                      </a:lnTo>
                      <a:lnTo>
                        <a:pt x="20" y="0"/>
                      </a:lnTo>
                      <a:lnTo>
                        <a:pt x="14" y="1"/>
                      </a:lnTo>
                      <a:lnTo>
                        <a:pt x="9" y="4"/>
                      </a:lnTo>
                      <a:lnTo>
                        <a:pt x="4" y="7"/>
                      </a:lnTo>
                      <a:lnTo>
                        <a:pt x="2" y="9"/>
                      </a:lnTo>
                      <a:lnTo>
                        <a:pt x="1" y="12"/>
                      </a:lnTo>
                      <a:lnTo>
                        <a:pt x="1" y="18"/>
                      </a:lnTo>
                      <a:lnTo>
                        <a:pt x="0" y="24"/>
                      </a:lnTo>
                      <a:lnTo>
                        <a:pt x="1" y="30"/>
                      </a:lnTo>
                      <a:lnTo>
                        <a:pt x="2" y="32"/>
                      </a:lnTo>
                      <a:lnTo>
                        <a:pt x="5" y="33"/>
                      </a:lnTo>
                      <a:lnTo>
                        <a:pt x="6" y="26"/>
                      </a:lnTo>
                      <a:lnTo>
                        <a:pt x="8" y="24"/>
                      </a:lnTo>
                      <a:lnTo>
                        <a:pt x="11" y="21"/>
                      </a:lnTo>
                      <a:lnTo>
                        <a:pt x="13" y="20"/>
                      </a:lnTo>
                      <a:lnTo>
                        <a:pt x="15" y="18"/>
                      </a:lnTo>
                      <a:lnTo>
                        <a:pt x="18" y="15"/>
                      </a:lnTo>
                      <a:lnTo>
                        <a:pt x="18"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1" name="Freeform 1260"/>
                <p:cNvSpPr>
                  <a:spLocks/>
                </p:cNvSpPr>
                <p:nvPr/>
              </p:nvSpPr>
              <p:spPr bwMode="auto">
                <a:xfrm>
                  <a:off x="4880138" y="2331959"/>
                  <a:ext cx="301894" cy="550512"/>
                </a:xfrm>
                <a:custGeom>
                  <a:avLst/>
                  <a:gdLst>
                    <a:gd name="T0" fmla="*/ 2147483647 w 221"/>
                    <a:gd name="T1" fmla="*/ 2147483647 h 372"/>
                    <a:gd name="T2" fmla="*/ 2147483647 w 221"/>
                    <a:gd name="T3" fmla="*/ 2147483647 h 372"/>
                    <a:gd name="T4" fmla="*/ 2147483647 w 221"/>
                    <a:gd name="T5" fmla="*/ 0 h 372"/>
                    <a:gd name="T6" fmla="*/ 2147483647 w 221"/>
                    <a:gd name="T7" fmla="*/ 2147483647 h 372"/>
                    <a:gd name="T8" fmla="*/ 2147483647 w 221"/>
                    <a:gd name="T9" fmla="*/ 2147483647 h 372"/>
                    <a:gd name="T10" fmla="*/ 2147483647 w 221"/>
                    <a:gd name="T11" fmla="*/ 2147483647 h 372"/>
                    <a:gd name="T12" fmla="*/ 2147483647 w 221"/>
                    <a:gd name="T13" fmla="*/ 2147483647 h 372"/>
                    <a:gd name="T14" fmla="*/ 2147483647 w 221"/>
                    <a:gd name="T15" fmla="*/ 2147483647 h 372"/>
                    <a:gd name="T16" fmla="*/ 2147483647 w 221"/>
                    <a:gd name="T17" fmla="*/ 2147483647 h 372"/>
                    <a:gd name="T18" fmla="*/ 2147483647 w 221"/>
                    <a:gd name="T19" fmla="*/ 2147483647 h 372"/>
                    <a:gd name="T20" fmla="*/ 2147483647 w 221"/>
                    <a:gd name="T21" fmla="*/ 2147483647 h 372"/>
                    <a:gd name="T22" fmla="*/ 2147483647 w 221"/>
                    <a:gd name="T23" fmla="*/ 2147483647 h 372"/>
                    <a:gd name="T24" fmla="*/ 2147483647 w 221"/>
                    <a:gd name="T25" fmla="*/ 2147483647 h 372"/>
                    <a:gd name="T26" fmla="*/ 2147483647 w 221"/>
                    <a:gd name="T27" fmla="*/ 2147483647 h 372"/>
                    <a:gd name="T28" fmla="*/ 2147483647 w 221"/>
                    <a:gd name="T29" fmla="*/ 2147483647 h 372"/>
                    <a:gd name="T30" fmla="*/ 2147483647 w 221"/>
                    <a:gd name="T31" fmla="*/ 2147483647 h 372"/>
                    <a:gd name="T32" fmla="*/ 2147483647 w 221"/>
                    <a:gd name="T33" fmla="*/ 2147483647 h 372"/>
                    <a:gd name="T34" fmla="*/ 2147483647 w 221"/>
                    <a:gd name="T35" fmla="*/ 2147483647 h 372"/>
                    <a:gd name="T36" fmla="*/ 2147483647 w 221"/>
                    <a:gd name="T37" fmla="*/ 2147483647 h 372"/>
                    <a:gd name="T38" fmla="*/ 0 w 221"/>
                    <a:gd name="T39" fmla="*/ 2147483647 h 372"/>
                    <a:gd name="T40" fmla="*/ 2147483647 w 221"/>
                    <a:gd name="T41" fmla="*/ 2147483647 h 372"/>
                    <a:gd name="T42" fmla="*/ 2147483647 w 221"/>
                    <a:gd name="T43" fmla="*/ 2147483647 h 372"/>
                    <a:gd name="T44" fmla="*/ 2147483647 w 221"/>
                    <a:gd name="T45" fmla="*/ 2147483647 h 372"/>
                    <a:gd name="T46" fmla="*/ 2147483647 w 221"/>
                    <a:gd name="T47" fmla="*/ 2147483647 h 372"/>
                    <a:gd name="T48" fmla="*/ 2147483647 w 221"/>
                    <a:gd name="T49" fmla="*/ 2147483647 h 372"/>
                    <a:gd name="T50" fmla="*/ 2147483647 w 221"/>
                    <a:gd name="T51" fmla="*/ 2147483647 h 372"/>
                    <a:gd name="T52" fmla="*/ 2147483647 w 221"/>
                    <a:gd name="T53" fmla="*/ 2147483647 h 372"/>
                    <a:gd name="T54" fmla="*/ 2147483647 w 221"/>
                    <a:gd name="T55" fmla="*/ 2147483647 h 372"/>
                    <a:gd name="T56" fmla="*/ 2147483647 w 221"/>
                    <a:gd name="T57" fmla="*/ 2147483647 h 372"/>
                    <a:gd name="T58" fmla="*/ 2147483647 w 221"/>
                    <a:gd name="T59" fmla="*/ 2147483647 h 372"/>
                    <a:gd name="T60" fmla="*/ 2147483647 w 221"/>
                    <a:gd name="T61" fmla="*/ 2147483647 h 372"/>
                    <a:gd name="T62" fmla="*/ 2147483647 w 221"/>
                    <a:gd name="T63" fmla="*/ 2147483647 h 372"/>
                    <a:gd name="T64" fmla="*/ 2147483647 w 221"/>
                    <a:gd name="T65" fmla="*/ 2147483647 h 372"/>
                    <a:gd name="T66" fmla="*/ 2147483647 w 221"/>
                    <a:gd name="T67" fmla="*/ 2147483647 h 372"/>
                    <a:gd name="T68" fmla="*/ 2147483647 w 221"/>
                    <a:gd name="T69" fmla="*/ 2147483647 h 372"/>
                    <a:gd name="T70" fmla="*/ 2147483647 w 221"/>
                    <a:gd name="T71" fmla="*/ 2147483647 h 372"/>
                    <a:gd name="T72" fmla="*/ 2147483647 w 221"/>
                    <a:gd name="T73" fmla="*/ 2147483647 h 372"/>
                    <a:gd name="T74" fmla="*/ 2147483647 w 221"/>
                    <a:gd name="T75" fmla="*/ 2147483647 h 372"/>
                    <a:gd name="T76" fmla="*/ 2147483647 w 221"/>
                    <a:gd name="T77" fmla="*/ 2147483647 h 372"/>
                    <a:gd name="T78" fmla="*/ 2147483647 w 221"/>
                    <a:gd name="T79" fmla="*/ 2147483647 h 372"/>
                    <a:gd name="T80" fmla="*/ 2147483647 w 221"/>
                    <a:gd name="T81" fmla="*/ 2147483647 h 372"/>
                    <a:gd name="T82" fmla="*/ 2147483647 w 221"/>
                    <a:gd name="T83" fmla="*/ 2147483647 h 372"/>
                    <a:gd name="T84" fmla="*/ 2147483647 w 221"/>
                    <a:gd name="T85" fmla="*/ 2147483647 h 372"/>
                    <a:gd name="T86" fmla="*/ 2147483647 w 221"/>
                    <a:gd name="T87" fmla="*/ 2147483647 h 372"/>
                    <a:gd name="T88" fmla="*/ 2147483647 w 221"/>
                    <a:gd name="T89" fmla="*/ 2147483647 h 372"/>
                    <a:gd name="T90" fmla="*/ 2147483647 w 221"/>
                    <a:gd name="T91" fmla="*/ 2147483647 h 372"/>
                    <a:gd name="T92" fmla="*/ 2147483647 w 221"/>
                    <a:gd name="T93" fmla="*/ 2147483647 h 372"/>
                    <a:gd name="T94" fmla="*/ 2147483647 w 221"/>
                    <a:gd name="T95" fmla="*/ 2147483647 h 372"/>
                    <a:gd name="T96" fmla="*/ 2147483647 w 221"/>
                    <a:gd name="T97" fmla="*/ 2147483647 h 372"/>
                    <a:gd name="T98" fmla="*/ 2147483647 w 221"/>
                    <a:gd name="T99" fmla="*/ 2147483647 h 372"/>
                    <a:gd name="T100" fmla="*/ 2147483647 w 221"/>
                    <a:gd name="T101" fmla="*/ 2147483647 h 372"/>
                    <a:gd name="T102" fmla="*/ 2147483647 w 221"/>
                    <a:gd name="T103" fmla="*/ 2147483647 h 372"/>
                    <a:gd name="T104" fmla="*/ 2147483647 w 221"/>
                    <a:gd name="T105" fmla="*/ 2147483647 h 372"/>
                    <a:gd name="T106" fmla="*/ 2147483647 w 221"/>
                    <a:gd name="T107" fmla="*/ 2147483647 h 372"/>
                    <a:gd name="T108" fmla="*/ 2147483647 w 221"/>
                    <a:gd name="T109" fmla="*/ 2147483647 h 372"/>
                    <a:gd name="T110" fmla="*/ 2147483647 w 221"/>
                    <a:gd name="T111" fmla="*/ 2147483647 h 372"/>
                    <a:gd name="T112" fmla="*/ 2147483647 w 221"/>
                    <a:gd name="T113" fmla="*/ 2147483647 h 3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1"/>
                    <a:gd name="T172" fmla="*/ 0 h 372"/>
                    <a:gd name="T173" fmla="*/ 221 w 221"/>
                    <a:gd name="T174" fmla="*/ 372 h 3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1" h="372">
                      <a:moveTo>
                        <a:pt x="221" y="89"/>
                      </a:moveTo>
                      <a:lnTo>
                        <a:pt x="221" y="89"/>
                      </a:lnTo>
                      <a:lnTo>
                        <a:pt x="219" y="78"/>
                      </a:lnTo>
                      <a:lnTo>
                        <a:pt x="217" y="67"/>
                      </a:lnTo>
                      <a:lnTo>
                        <a:pt x="216" y="46"/>
                      </a:lnTo>
                      <a:lnTo>
                        <a:pt x="215" y="37"/>
                      </a:lnTo>
                      <a:lnTo>
                        <a:pt x="213" y="29"/>
                      </a:lnTo>
                      <a:lnTo>
                        <a:pt x="210" y="23"/>
                      </a:lnTo>
                      <a:lnTo>
                        <a:pt x="208" y="21"/>
                      </a:lnTo>
                      <a:lnTo>
                        <a:pt x="205" y="20"/>
                      </a:lnTo>
                      <a:lnTo>
                        <a:pt x="185" y="13"/>
                      </a:lnTo>
                      <a:lnTo>
                        <a:pt x="175" y="7"/>
                      </a:lnTo>
                      <a:lnTo>
                        <a:pt x="164" y="0"/>
                      </a:lnTo>
                      <a:lnTo>
                        <a:pt x="158" y="7"/>
                      </a:lnTo>
                      <a:lnTo>
                        <a:pt x="152" y="14"/>
                      </a:lnTo>
                      <a:lnTo>
                        <a:pt x="149" y="16"/>
                      </a:lnTo>
                      <a:lnTo>
                        <a:pt x="146" y="18"/>
                      </a:lnTo>
                      <a:lnTo>
                        <a:pt x="142" y="18"/>
                      </a:lnTo>
                      <a:lnTo>
                        <a:pt x="139" y="16"/>
                      </a:lnTo>
                      <a:lnTo>
                        <a:pt x="133" y="15"/>
                      </a:lnTo>
                      <a:lnTo>
                        <a:pt x="128" y="15"/>
                      </a:lnTo>
                      <a:lnTo>
                        <a:pt x="125" y="15"/>
                      </a:lnTo>
                      <a:lnTo>
                        <a:pt x="121" y="18"/>
                      </a:lnTo>
                      <a:lnTo>
                        <a:pt x="117" y="22"/>
                      </a:lnTo>
                      <a:lnTo>
                        <a:pt x="113" y="26"/>
                      </a:lnTo>
                      <a:lnTo>
                        <a:pt x="104" y="31"/>
                      </a:lnTo>
                      <a:lnTo>
                        <a:pt x="94" y="35"/>
                      </a:lnTo>
                      <a:lnTo>
                        <a:pt x="84" y="40"/>
                      </a:lnTo>
                      <a:lnTo>
                        <a:pt x="81" y="42"/>
                      </a:lnTo>
                      <a:lnTo>
                        <a:pt x="79" y="45"/>
                      </a:lnTo>
                      <a:lnTo>
                        <a:pt x="78" y="51"/>
                      </a:lnTo>
                      <a:lnTo>
                        <a:pt x="75" y="56"/>
                      </a:lnTo>
                      <a:lnTo>
                        <a:pt x="71" y="60"/>
                      </a:lnTo>
                      <a:lnTo>
                        <a:pt x="66" y="64"/>
                      </a:lnTo>
                      <a:lnTo>
                        <a:pt x="65" y="65"/>
                      </a:lnTo>
                      <a:lnTo>
                        <a:pt x="64" y="67"/>
                      </a:lnTo>
                      <a:lnTo>
                        <a:pt x="64" y="72"/>
                      </a:lnTo>
                      <a:lnTo>
                        <a:pt x="61" y="76"/>
                      </a:lnTo>
                      <a:lnTo>
                        <a:pt x="57" y="78"/>
                      </a:lnTo>
                      <a:lnTo>
                        <a:pt x="52" y="79"/>
                      </a:lnTo>
                      <a:lnTo>
                        <a:pt x="48" y="83"/>
                      </a:lnTo>
                      <a:lnTo>
                        <a:pt x="47" y="86"/>
                      </a:lnTo>
                      <a:lnTo>
                        <a:pt x="46" y="102"/>
                      </a:lnTo>
                      <a:lnTo>
                        <a:pt x="43" y="109"/>
                      </a:lnTo>
                      <a:lnTo>
                        <a:pt x="39" y="116"/>
                      </a:lnTo>
                      <a:lnTo>
                        <a:pt x="39" y="118"/>
                      </a:lnTo>
                      <a:lnTo>
                        <a:pt x="41" y="121"/>
                      </a:lnTo>
                      <a:lnTo>
                        <a:pt x="45" y="128"/>
                      </a:lnTo>
                      <a:lnTo>
                        <a:pt x="46" y="131"/>
                      </a:lnTo>
                      <a:lnTo>
                        <a:pt x="43" y="134"/>
                      </a:lnTo>
                      <a:lnTo>
                        <a:pt x="41" y="135"/>
                      </a:lnTo>
                      <a:lnTo>
                        <a:pt x="37" y="135"/>
                      </a:lnTo>
                      <a:lnTo>
                        <a:pt x="31" y="133"/>
                      </a:lnTo>
                      <a:lnTo>
                        <a:pt x="25" y="133"/>
                      </a:lnTo>
                      <a:lnTo>
                        <a:pt x="20" y="134"/>
                      </a:lnTo>
                      <a:lnTo>
                        <a:pt x="17" y="136"/>
                      </a:lnTo>
                      <a:lnTo>
                        <a:pt x="14" y="140"/>
                      </a:lnTo>
                      <a:lnTo>
                        <a:pt x="12" y="144"/>
                      </a:lnTo>
                      <a:lnTo>
                        <a:pt x="9" y="155"/>
                      </a:lnTo>
                      <a:lnTo>
                        <a:pt x="8" y="165"/>
                      </a:lnTo>
                      <a:lnTo>
                        <a:pt x="8" y="172"/>
                      </a:lnTo>
                      <a:lnTo>
                        <a:pt x="9" y="179"/>
                      </a:lnTo>
                      <a:lnTo>
                        <a:pt x="9" y="186"/>
                      </a:lnTo>
                      <a:lnTo>
                        <a:pt x="9" y="192"/>
                      </a:lnTo>
                      <a:lnTo>
                        <a:pt x="12" y="198"/>
                      </a:lnTo>
                      <a:lnTo>
                        <a:pt x="13" y="199"/>
                      </a:lnTo>
                      <a:lnTo>
                        <a:pt x="15" y="200"/>
                      </a:lnTo>
                      <a:lnTo>
                        <a:pt x="18" y="203"/>
                      </a:lnTo>
                      <a:lnTo>
                        <a:pt x="19" y="204"/>
                      </a:lnTo>
                      <a:lnTo>
                        <a:pt x="20" y="210"/>
                      </a:lnTo>
                      <a:lnTo>
                        <a:pt x="22" y="212"/>
                      </a:lnTo>
                      <a:lnTo>
                        <a:pt x="20" y="214"/>
                      </a:lnTo>
                      <a:lnTo>
                        <a:pt x="17" y="216"/>
                      </a:lnTo>
                      <a:lnTo>
                        <a:pt x="14" y="217"/>
                      </a:lnTo>
                      <a:lnTo>
                        <a:pt x="13" y="218"/>
                      </a:lnTo>
                      <a:lnTo>
                        <a:pt x="12" y="233"/>
                      </a:lnTo>
                      <a:lnTo>
                        <a:pt x="9" y="245"/>
                      </a:lnTo>
                      <a:lnTo>
                        <a:pt x="5" y="256"/>
                      </a:lnTo>
                      <a:lnTo>
                        <a:pt x="0" y="268"/>
                      </a:lnTo>
                      <a:lnTo>
                        <a:pt x="1" y="269"/>
                      </a:lnTo>
                      <a:lnTo>
                        <a:pt x="3" y="271"/>
                      </a:lnTo>
                      <a:lnTo>
                        <a:pt x="4" y="277"/>
                      </a:lnTo>
                      <a:lnTo>
                        <a:pt x="5" y="283"/>
                      </a:lnTo>
                      <a:lnTo>
                        <a:pt x="6" y="289"/>
                      </a:lnTo>
                      <a:lnTo>
                        <a:pt x="8" y="291"/>
                      </a:lnTo>
                      <a:lnTo>
                        <a:pt x="12" y="294"/>
                      </a:lnTo>
                      <a:lnTo>
                        <a:pt x="12" y="295"/>
                      </a:lnTo>
                      <a:lnTo>
                        <a:pt x="12" y="299"/>
                      </a:lnTo>
                      <a:lnTo>
                        <a:pt x="10" y="301"/>
                      </a:lnTo>
                      <a:lnTo>
                        <a:pt x="10" y="304"/>
                      </a:lnTo>
                      <a:lnTo>
                        <a:pt x="15" y="318"/>
                      </a:lnTo>
                      <a:lnTo>
                        <a:pt x="18" y="323"/>
                      </a:lnTo>
                      <a:lnTo>
                        <a:pt x="22" y="329"/>
                      </a:lnTo>
                      <a:lnTo>
                        <a:pt x="23" y="332"/>
                      </a:lnTo>
                      <a:lnTo>
                        <a:pt x="24" y="334"/>
                      </a:lnTo>
                      <a:lnTo>
                        <a:pt x="25" y="336"/>
                      </a:lnTo>
                      <a:lnTo>
                        <a:pt x="24" y="340"/>
                      </a:lnTo>
                      <a:lnTo>
                        <a:pt x="23" y="346"/>
                      </a:lnTo>
                      <a:lnTo>
                        <a:pt x="24" y="351"/>
                      </a:lnTo>
                      <a:lnTo>
                        <a:pt x="25" y="355"/>
                      </a:lnTo>
                      <a:lnTo>
                        <a:pt x="27" y="359"/>
                      </a:lnTo>
                      <a:lnTo>
                        <a:pt x="27" y="363"/>
                      </a:lnTo>
                      <a:lnTo>
                        <a:pt x="24" y="371"/>
                      </a:lnTo>
                      <a:lnTo>
                        <a:pt x="31" y="372"/>
                      </a:lnTo>
                      <a:lnTo>
                        <a:pt x="37" y="372"/>
                      </a:lnTo>
                      <a:lnTo>
                        <a:pt x="51" y="372"/>
                      </a:lnTo>
                      <a:lnTo>
                        <a:pt x="52" y="371"/>
                      </a:lnTo>
                      <a:lnTo>
                        <a:pt x="53" y="368"/>
                      </a:lnTo>
                      <a:lnTo>
                        <a:pt x="55" y="365"/>
                      </a:lnTo>
                      <a:lnTo>
                        <a:pt x="57" y="360"/>
                      </a:lnTo>
                      <a:lnTo>
                        <a:pt x="59" y="355"/>
                      </a:lnTo>
                      <a:lnTo>
                        <a:pt x="60" y="351"/>
                      </a:lnTo>
                      <a:lnTo>
                        <a:pt x="62" y="347"/>
                      </a:lnTo>
                      <a:lnTo>
                        <a:pt x="66" y="345"/>
                      </a:lnTo>
                      <a:lnTo>
                        <a:pt x="70" y="344"/>
                      </a:lnTo>
                      <a:lnTo>
                        <a:pt x="75" y="341"/>
                      </a:lnTo>
                      <a:lnTo>
                        <a:pt x="79" y="338"/>
                      </a:lnTo>
                      <a:lnTo>
                        <a:pt x="86" y="326"/>
                      </a:lnTo>
                      <a:lnTo>
                        <a:pt x="90" y="318"/>
                      </a:lnTo>
                      <a:lnTo>
                        <a:pt x="94" y="309"/>
                      </a:lnTo>
                      <a:lnTo>
                        <a:pt x="97" y="302"/>
                      </a:lnTo>
                      <a:lnTo>
                        <a:pt x="97" y="295"/>
                      </a:lnTo>
                      <a:lnTo>
                        <a:pt x="97" y="293"/>
                      </a:lnTo>
                      <a:lnTo>
                        <a:pt x="95" y="289"/>
                      </a:lnTo>
                      <a:lnTo>
                        <a:pt x="93" y="288"/>
                      </a:lnTo>
                      <a:lnTo>
                        <a:pt x="90" y="286"/>
                      </a:lnTo>
                      <a:lnTo>
                        <a:pt x="90" y="283"/>
                      </a:lnTo>
                      <a:lnTo>
                        <a:pt x="90" y="281"/>
                      </a:lnTo>
                      <a:lnTo>
                        <a:pt x="95" y="277"/>
                      </a:lnTo>
                      <a:lnTo>
                        <a:pt x="102" y="276"/>
                      </a:lnTo>
                      <a:lnTo>
                        <a:pt x="107" y="274"/>
                      </a:lnTo>
                      <a:lnTo>
                        <a:pt x="112" y="271"/>
                      </a:lnTo>
                      <a:lnTo>
                        <a:pt x="114" y="268"/>
                      </a:lnTo>
                      <a:lnTo>
                        <a:pt x="114" y="265"/>
                      </a:lnTo>
                      <a:lnTo>
                        <a:pt x="114" y="263"/>
                      </a:lnTo>
                      <a:lnTo>
                        <a:pt x="112" y="262"/>
                      </a:lnTo>
                      <a:lnTo>
                        <a:pt x="109" y="261"/>
                      </a:lnTo>
                      <a:lnTo>
                        <a:pt x="105" y="259"/>
                      </a:lnTo>
                      <a:lnTo>
                        <a:pt x="100" y="261"/>
                      </a:lnTo>
                      <a:lnTo>
                        <a:pt x="99" y="262"/>
                      </a:lnTo>
                      <a:lnTo>
                        <a:pt x="97" y="261"/>
                      </a:lnTo>
                      <a:lnTo>
                        <a:pt x="97" y="259"/>
                      </a:lnTo>
                      <a:lnTo>
                        <a:pt x="97" y="258"/>
                      </a:lnTo>
                      <a:lnTo>
                        <a:pt x="99" y="257"/>
                      </a:lnTo>
                      <a:lnTo>
                        <a:pt x="103" y="257"/>
                      </a:lnTo>
                      <a:lnTo>
                        <a:pt x="107" y="257"/>
                      </a:lnTo>
                      <a:lnTo>
                        <a:pt x="111" y="258"/>
                      </a:lnTo>
                      <a:lnTo>
                        <a:pt x="114" y="259"/>
                      </a:lnTo>
                      <a:lnTo>
                        <a:pt x="116" y="259"/>
                      </a:lnTo>
                      <a:lnTo>
                        <a:pt x="117" y="261"/>
                      </a:lnTo>
                      <a:lnTo>
                        <a:pt x="118" y="263"/>
                      </a:lnTo>
                      <a:lnTo>
                        <a:pt x="118" y="267"/>
                      </a:lnTo>
                      <a:lnTo>
                        <a:pt x="121" y="269"/>
                      </a:lnTo>
                      <a:lnTo>
                        <a:pt x="122" y="265"/>
                      </a:lnTo>
                      <a:lnTo>
                        <a:pt x="125" y="263"/>
                      </a:lnTo>
                      <a:lnTo>
                        <a:pt x="127" y="261"/>
                      </a:lnTo>
                      <a:lnTo>
                        <a:pt x="132" y="261"/>
                      </a:lnTo>
                      <a:lnTo>
                        <a:pt x="133" y="261"/>
                      </a:lnTo>
                      <a:lnTo>
                        <a:pt x="132" y="258"/>
                      </a:lnTo>
                      <a:lnTo>
                        <a:pt x="131" y="256"/>
                      </a:lnTo>
                      <a:lnTo>
                        <a:pt x="131" y="253"/>
                      </a:lnTo>
                      <a:lnTo>
                        <a:pt x="133" y="249"/>
                      </a:lnTo>
                      <a:lnTo>
                        <a:pt x="135" y="245"/>
                      </a:lnTo>
                      <a:lnTo>
                        <a:pt x="135" y="243"/>
                      </a:lnTo>
                      <a:lnTo>
                        <a:pt x="135" y="242"/>
                      </a:lnTo>
                      <a:lnTo>
                        <a:pt x="132" y="240"/>
                      </a:lnTo>
                      <a:lnTo>
                        <a:pt x="128" y="240"/>
                      </a:lnTo>
                      <a:lnTo>
                        <a:pt x="127" y="238"/>
                      </a:lnTo>
                      <a:lnTo>
                        <a:pt x="125" y="236"/>
                      </a:lnTo>
                      <a:lnTo>
                        <a:pt x="117" y="236"/>
                      </a:lnTo>
                      <a:lnTo>
                        <a:pt x="113" y="235"/>
                      </a:lnTo>
                      <a:lnTo>
                        <a:pt x="111" y="232"/>
                      </a:lnTo>
                      <a:lnTo>
                        <a:pt x="105" y="219"/>
                      </a:lnTo>
                      <a:lnTo>
                        <a:pt x="103" y="204"/>
                      </a:lnTo>
                      <a:lnTo>
                        <a:pt x="103" y="197"/>
                      </a:lnTo>
                      <a:lnTo>
                        <a:pt x="103" y="189"/>
                      </a:lnTo>
                      <a:lnTo>
                        <a:pt x="105" y="182"/>
                      </a:lnTo>
                      <a:lnTo>
                        <a:pt x="108" y="175"/>
                      </a:lnTo>
                      <a:lnTo>
                        <a:pt x="109" y="174"/>
                      </a:lnTo>
                      <a:lnTo>
                        <a:pt x="111" y="173"/>
                      </a:lnTo>
                      <a:lnTo>
                        <a:pt x="114" y="173"/>
                      </a:lnTo>
                      <a:lnTo>
                        <a:pt x="118" y="173"/>
                      </a:lnTo>
                      <a:lnTo>
                        <a:pt x="121" y="173"/>
                      </a:lnTo>
                      <a:lnTo>
                        <a:pt x="125" y="165"/>
                      </a:lnTo>
                      <a:lnTo>
                        <a:pt x="127" y="162"/>
                      </a:lnTo>
                      <a:lnTo>
                        <a:pt x="132" y="161"/>
                      </a:lnTo>
                      <a:lnTo>
                        <a:pt x="140" y="159"/>
                      </a:lnTo>
                      <a:lnTo>
                        <a:pt x="142" y="157"/>
                      </a:lnTo>
                      <a:lnTo>
                        <a:pt x="144" y="156"/>
                      </a:lnTo>
                      <a:lnTo>
                        <a:pt x="146" y="150"/>
                      </a:lnTo>
                      <a:lnTo>
                        <a:pt x="149" y="148"/>
                      </a:lnTo>
                      <a:lnTo>
                        <a:pt x="150" y="148"/>
                      </a:lnTo>
                      <a:lnTo>
                        <a:pt x="154" y="147"/>
                      </a:lnTo>
                      <a:lnTo>
                        <a:pt x="158" y="146"/>
                      </a:lnTo>
                      <a:lnTo>
                        <a:pt x="161" y="141"/>
                      </a:lnTo>
                      <a:lnTo>
                        <a:pt x="165" y="136"/>
                      </a:lnTo>
                      <a:lnTo>
                        <a:pt x="169" y="131"/>
                      </a:lnTo>
                      <a:lnTo>
                        <a:pt x="173" y="129"/>
                      </a:lnTo>
                      <a:lnTo>
                        <a:pt x="174" y="128"/>
                      </a:lnTo>
                      <a:lnTo>
                        <a:pt x="174" y="127"/>
                      </a:lnTo>
                      <a:lnTo>
                        <a:pt x="172" y="120"/>
                      </a:lnTo>
                      <a:lnTo>
                        <a:pt x="172" y="112"/>
                      </a:lnTo>
                      <a:lnTo>
                        <a:pt x="175" y="106"/>
                      </a:lnTo>
                      <a:lnTo>
                        <a:pt x="182" y="101"/>
                      </a:lnTo>
                      <a:lnTo>
                        <a:pt x="185" y="96"/>
                      </a:lnTo>
                      <a:lnTo>
                        <a:pt x="188" y="93"/>
                      </a:lnTo>
                      <a:lnTo>
                        <a:pt x="191" y="91"/>
                      </a:lnTo>
                      <a:lnTo>
                        <a:pt x="192" y="91"/>
                      </a:lnTo>
                      <a:lnTo>
                        <a:pt x="194" y="92"/>
                      </a:lnTo>
                      <a:lnTo>
                        <a:pt x="196" y="93"/>
                      </a:lnTo>
                      <a:lnTo>
                        <a:pt x="198" y="93"/>
                      </a:lnTo>
                      <a:lnTo>
                        <a:pt x="199" y="92"/>
                      </a:lnTo>
                      <a:lnTo>
                        <a:pt x="201" y="90"/>
                      </a:lnTo>
                      <a:lnTo>
                        <a:pt x="203" y="88"/>
                      </a:lnTo>
                      <a:lnTo>
                        <a:pt x="205" y="86"/>
                      </a:lnTo>
                      <a:lnTo>
                        <a:pt x="206" y="88"/>
                      </a:lnTo>
                      <a:lnTo>
                        <a:pt x="207" y="89"/>
                      </a:lnTo>
                      <a:lnTo>
                        <a:pt x="208" y="90"/>
                      </a:lnTo>
                      <a:lnTo>
                        <a:pt x="211" y="91"/>
                      </a:lnTo>
                      <a:lnTo>
                        <a:pt x="213" y="92"/>
                      </a:lnTo>
                      <a:lnTo>
                        <a:pt x="216" y="91"/>
                      </a:lnTo>
                      <a:lnTo>
                        <a:pt x="221" y="8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2" name="Freeform 1261"/>
                <p:cNvSpPr>
                  <a:spLocks/>
                </p:cNvSpPr>
                <p:nvPr/>
              </p:nvSpPr>
              <p:spPr bwMode="auto">
                <a:xfrm>
                  <a:off x="5216070" y="2223930"/>
                  <a:ext cx="22199" cy="17758"/>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0 w 16"/>
                    <a:gd name="T17" fmla="*/ 2147483647 h 12"/>
                    <a:gd name="T18" fmla="*/ 2147483647 w 16"/>
                    <a:gd name="T19" fmla="*/ 2147483647 h 12"/>
                    <a:gd name="T20" fmla="*/ 2147483647 w 16"/>
                    <a:gd name="T21" fmla="*/ 2147483647 h 12"/>
                    <a:gd name="T22" fmla="*/ 2147483647 w 16"/>
                    <a:gd name="T23" fmla="*/ 0 h 12"/>
                    <a:gd name="T24" fmla="*/ 2147483647 w 16"/>
                    <a:gd name="T25" fmla="*/ 0 h 12"/>
                    <a:gd name="T26" fmla="*/ 2147483647 w 16"/>
                    <a:gd name="T27" fmla="*/ 2147483647 h 12"/>
                    <a:gd name="T28" fmla="*/ 2147483647 w 16"/>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2"/>
                    <a:gd name="T47" fmla="*/ 16 w 1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2">
                      <a:moveTo>
                        <a:pt x="16" y="6"/>
                      </a:moveTo>
                      <a:lnTo>
                        <a:pt x="16" y="9"/>
                      </a:lnTo>
                      <a:lnTo>
                        <a:pt x="14" y="11"/>
                      </a:lnTo>
                      <a:lnTo>
                        <a:pt x="13" y="11"/>
                      </a:lnTo>
                      <a:lnTo>
                        <a:pt x="11" y="12"/>
                      </a:lnTo>
                      <a:lnTo>
                        <a:pt x="8" y="11"/>
                      </a:lnTo>
                      <a:lnTo>
                        <a:pt x="3" y="9"/>
                      </a:lnTo>
                      <a:lnTo>
                        <a:pt x="2" y="8"/>
                      </a:lnTo>
                      <a:lnTo>
                        <a:pt x="0" y="5"/>
                      </a:lnTo>
                      <a:lnTo>
                        <a:pt x="2" y="4"/>
                      </a:lnTo>
                      <a:lnTo>
                        <a:pt x="3" y="2"/>
                      </a:lnTo>
                      <a:lnTo>
                        <a:pt x="7" y="0"/>
                      </a:lnTo>
                      <a:lnTo>
                        <a:pt x="9" y="0"/>
                      </a:lnTo>
                      <a:lnTo>
                        <a:pt x="13" y="2"/>
                      </a:lnTo>
                      <a:lnTo>
                        <a:pt x="1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3" name="Freeform 1262"/>
                <p:cNvSpPr>
                  <a:spLocks/>
                </p:cNvSpPr>
                <p:nvPr/>
              </p:nvSpPr>
              <p:spPr bwMode="auto">
                <a:xfrm>
                  <a:off x="5084363" y="2263889"/>
                  <a:ext cx="13318" cy="20718"/>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2147483647 h 14"/>
                    <a:gd name="T10" fmla="*/ 0 w 10"/>
                    <a:gd name="T11" fmla="*/ 2147483647 h 14"/>
                    <a:gd name="T12" fmla="*/ 0 w 10"/>
                    <a:gd name="T13" fmla="*/ 2147483647 h 14"/>
                    <a:gd name="T14" fmla="*/ 2147483647 w 10"/>
                    <a:gd name="T15" fmla="*/ 2147483647 h 14"/>
                    <a:gd name="T16" fmla="*/ 2147483647 w 10"/>
                    <a:gd name="T17" fmla="*/ 2147483647 h 14"/>
                    <a:gd name="T18" fmla="*/ 2147483647 w 10"/>
                    <a:gd name="T19" fmla="*/ 0 h 14"/>
                    <a:gd name="T20" fmla="*/ 2147483647 w 10"/>
                    <a:gd name="T21" fmla="*/ 2147483647 h 14"/>
                    <a:gd name="T22" fmla="*/ 2147483647 w 10"/>
                    <a:gd name="T23" fmla="*/ 2147483647 h 14"/>
                    <a:gd name="T24" fmla="*/ 2147483647 w 10"/>
                    <a:gd name="T25" fmla="*/ 2147483647 h 14"/>
                    <a:gd name="T26" fmla="*/ 2147483647 w 1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9" y="9"/>
                      </a:moveTo>
                      <a:lnTo>
                        <a:pt x="7" y="11"/>
                      </a:lnTo>
                      <a:lnTo>
                        <a:pt x="5" y="14"/>
                      </a:lnTo>
                      <a:lnTo>
                        <a:pt x="2" y="14"/>
                      </a:lnTo>
                      <a:lnTo>
                        <a:pt x="1" y="13"/>
                      </a:lnTo>
                      <a:lnTo>
                        <a:pt x="0" y="9"/>
                      </a:lnTo>
                      <a:lnTo>
                        <a:pt x="0" y="7"/>
                      </a:lnTo>
                      <a:lnTo>
                        <a:pt x="1" y="3"/>
                      </a:lnTo>
                      <a:lnTo>
                        <a:pt x="5" y="1"/>
                      </a:lnTo>
                      <a:lnTo>
                        <a:pt x="6" y="0"/>
                      </a:lnTo>
                      <a:lnTo>
                        <a:pt x="7" y="1"/>
                      </a:lnTo>
                      <a:lnTo>
                        <a:pt x="10" y="2"/>
                      </a:lnTo>
                      <a:lnTo>
                        <a:pt x="10" y="5"/>
                      </a:lnTo>
                      <a:lnTo>
                        <a:pt x="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4" name="Freeform 1263"/>
                <p:cNvSpPr>
                  <a:spLocks/>
                </p:cNvSpPr>
                <p:nvPr/>
              </p:nvSpPr>
              <p:spPr bwMode="auto">
                <a:xfrm>
                  <a:off x="5214593" y="2222449"/>
                  <a:ext cx="20718" cy="17758"/>
                </a:xfrm>
                <a:custGeom>
                  <a:avLst/>
                  <a:gdLst>
                    <a:gd name="T0" fmla="*/ 2147483647 w 15"/>
                    <a:gd name="T1" fmla="*/ 2147483647 h 12"/>
                    <a:gd name="T2" fmla="*/ 2147483647 w 15"/>
                    <a:gd name="T3" fmla="*/ 2147483647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0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0 h 12"/>
                    <a:gd name="T30" fmla="*/ 2147483647 w 15"/>
                    <a:gd name="T31" fmla="*/ 0 h 12"/>
                    <a:gd name="T32" fmla="*/ 2147483647 w 15"/>
                    <a:gd name="T33" fmla="*/ 2147483647 h 12"/>
                    <a:gd name="T34" fmla="*/ 2147483647 w 15"/>
                    <a:gd name="T35" fmla="*/ 2147483647 h 12"/>
                    <a:gd name="T36" fmla="*/ 2147483647 w 15"/>
                    <a:gd name="T37" fmla="*/ 2147483647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2"/>
                    <a:gd name="T59" fmla="*/ 15 w 15"/>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2">
                      <a:moveTo>
                        <a:pt x="15" y="6"/>
                      </a:moveTo>
                      <a:lnTo>
                        <a:pt x="15" y="6"/>
                      </a:lnTo>
                      <a:lnTo>
                        <a:pt x="15" y="9"/>
                      </a:lnTo>
                      <a:lnTo>
                        <a:pt x="14" y="11"/>
                      </a:lnTo>
                      <a:lnTo>
                        <a:pt x="13" y="11"/>
                      </a:lnTo>
                      <a:lnTo>
                        <a:pt x="10" y="12"/>
                      </a:lnTo>
                      <a:lnTo>
                        <a:pt x="8" y="11"/>
                      </a:lnTo>
                      <a:lnTo>
                        <a:pt x="3" y="9"/>
                      </a:lnTo>
                      <a:lnTo>
                        <a:pt x="1" y="7"/>
                      </a:lnTo>
                      <a:lnTo>
                        <a:pt x="0" y="5"/>
                      </a:lnTo>
                      <a:lnTo>
                        <a:pt x="1" y="4"/>
                      </a:lnTo>
                      <a:lnTo>
                        <a:pt x="3" y="1"/>
                      </a:lnTo>
                      <a:lnTo>
                        <a:pt x="7" y="0"/>
                      </a:lnTo>
                      <a:lnTo>
                        <a:pt x="9" y="0"/>
                      </a:lnTo>
                      <a:lnTo>
                        <a:pt x="13" y="1"/>
                      </a:lnTo>
                      <a:lnTo>
                        <a:pt x="15"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5" name="Freeform 1264"/>
                <p:cNvSpPr>
                  <a:spLocks/>
                </p:cNvSpPr>
                <p:nvPr/>
              </p:nvSpPr>
              <p:spPr bwMode="auto">
                <a:xfrm>
                  <a:off x="5081401" y="2260929"/>
                  <a:ext cx="14799" cy="22199"/>
                </a:xfrm>
                <a:custGeom>
                  <a:avLst/>
                  <a:gdLst>
                    <a:gd name="T0" fmla="*/ 2147483647 w 11"/>
                    <a:gd name="T1" fmla="*/ 2147483647 h 15"/>
                    <a:gd name="T2" fmla="*/ 2147483647 w 11"/>
                    <a:gd name="T3" fmla="*/ 2147483647 h 15"/>
                    <a:gd name="T4" fmla="*/ 2147483647 w 11"/>
                    <a:gd name="T5" fmla="*/ 2147483647 h 15"/>
                    <a:gd name="T6" fmla="*/ 2147483647 w 11"/>
                    <a:gd name="T7" fmla="*/ 2147483647 h 15"/>
                    <a:gd name="T8" fmla="*/ 2147483647 w 11"/>
                    <a:gd name="T9" fmla="*/ 2147483647 h 15"/>
                    <a:gd name="T10" fmla="*/ 2147483647 w 11"/>
                    <a:gd name="T11" fmla="*/ 2147483647 h 15"/>
                    <a:gd name="T12" fmla="*/ 2147483647 w 11"/>
                    <a:gd name="T13" fmla="*/ 2147483647 h 15"/>
                    <a:gd name="T14" fmla="*/ 0 w 11"/>
                    <a:gd name="T15" fmla="*/ 2147483647 h 15"/>
                    <a:gd name="T16" fmla="*/ 0 w 11"/>
                    <a:gd name="T17" fmla="*/ 2147483647 h 15"/>
                    <a:gd name="T18" fmla="*/ 2147483647 w 11"/>
                    <a:gd name="T19" fmla="*/ 2147483647 h 15"/>
                    <a:gd name="T20" fmla="*/ 2147483647 w 11"/>
                    <a:gd name="T21" fmla="*/ 2147483647 h 15"/>
                    <a:gd name="T22" fmla="*/ 2147483647 w 11"/>
                    <a:gd name="T23" fmla="*/ 2147483647 h 15"/>
                    <a:gd name="T24" fmla="*/ 2147483647 w 11"/>
                    <a:gd name="T25" fmla="*/ 0 h 15"/>
                    <a:gd name="T26" fmla="*/ 2147483647 w 11"/>
                    <a:gd name="T27" fmla="*/ 2147483647 h 15"/>
                    <a:gd name="T28" fmla="*/ 2147483647 w 11"/>
                    <a:gd name="T29" fmla="*/ 2147483647 h 15"/>
                    <a:gd name="T30" fmla="*/ 2147483647 w 11"/>
                    <a:gd name="T31" fmla="*/ 2147483647 h 15"/>
                    <a:gd name="T32" fmla="*/ 2147483647 w 11"/>
                    <a:gd name="T33" fmla="*/ 2147483647 h 15"/>
                    <a:gd name="T34" fmla="*/ 2147483647 w 11"/>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5"/>
                    <a:gd name="T56" fmla="*/ 11 w 11"/>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5">
                      <a:moveTo>
                        <a:pt x="9" y="10"/>
                      </a:moveTo>
                      <a:lnTo>
                        <a:pt x="9" y="10"/>
                      </a:lnTo>
                      <a:lnTo>
                        <a:pt x="8" y="12"/>
                      </a:lnTo>
                      <a:lnTo>
                        <a:pt x="5" y="15"/>
                      </a:lnTo>
                      <a:lnTo>
                        <a:pt x="3" y="15"/>
                      </a:lnTo>
                      <a:lnTo>
                        <a:pt x="2" y="13"/>
                      </a:lnTo>
                      <a:lnTo>
                        <a:pt x="0" y="10"/>
                      </a:lnTo>
                      <a:lnTo>
                        <a:pt x="0" y="7"/>
                      </a:lnTo>
                      <a:lnTo>
                        <a:pt x="2" y="4"/>
                      </a:lnTo>
                      <a:lnTo>
                        <a:pt x="5" y="2"/>
                      </a:lnTo>
                      <a:lnTo>
                        <a:pt x="7" y="0"/>
                      </a:lnTo>
                      <a:lnTo>
                        <a:pt x="8" y="2"/>
                      </a:lnTo>
                      <a:lnTo>
                        <a:pt x="11" y="3"/>
                      </a:lnTo>
                      <a:lnTo>
                        <a:pt x="11" y="6"/>
                      </a:lnTo>
                      <a:lnTo>
                        <a:pt x="9"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6" name="Freeform 1265"/>
                <p:cNvSpPr>
                  <a:spLocks/>
                </p:cNvSpPr>
                <p:nvPr/>
              </p:nvSpPr>
              <p:spPr bwMode="auto">
                <a:xfrm>
                  <a:off x="5133195" y="2247610"/>
                  <a:ext cx="31078" cy="20718"/>
                </a:xfrm>
                <a:custGeom>
                  <a:avLst/>
                  <a:gdLst>
                    <a:gd name="T0" fmla="*/ 2147483647 w 23"/>
                    <a:gd name="T1" fmla="*/ 2147483647 h 14"/>
                    <a:gd name="T2" fmla="*/ 2147483647 w 23"/>
                    <a:gd name="T3" fmla="*/ 2147483647 h 14"/>
                    <a:gd name="T4" fmla="*/ 2147483647 w 23"/>
                    <a:gd name="T5" fmla="*/ 2147483647 h 14"/>
                    <a:gd name="T6" fmla="*/ 2147483647 w 23"/>
                    <a:gd name="T7" fmla="*/ 0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0 w 23"/>
                    <a:gd name="T17" fmla="*/ 2147483647 h 14"/>
                    <a:gd name="T18" fmla="*/ 2147483647 w 23"/>
                    <a:gd name="T19" fmla="*/ 2147483647 h 14"/>
                    <a:gd name="T20" fmla="*/ 2147483647 w 23"/>
                    <a:gd name="T21" fmla="*/ 2147483647 h 14"/>
                    <a:gd name="T22" fmla="*/ 2147483647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4"/>
                    <a:gd name="T53" fmla="*/ 23 w 23"/>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4">
                      <a:moveTo>
                        <a:pt x="23" y="8"/>
                      </a:moveTo>
                      <a:lnTo>
                        <a:pt x="21" y="3"/>
                      </a:lnTo>
                      <a:lnTo>
                        <a:pt x="21" y="2"/>
                      </a:lnTo>
                      <a:lnTo>
                        <a:pt x="20" y="0"/>
                      </a:lnTo>
                      <a:lnTo>
                        <a:pt x="13" y="2"/>
                      </a:lnTo>
                      <a:lnTo>
                        <a:pt x="4" y="3"/>
                      </a:lnTo>
                      <a:lnTo>
                        <a:pt x="3" y="3"/>
                      </a:lnTo>
                      <a:lnTo>
                        <a:pt x="2" y="6"/>
                      </a:lnTo>
                      <a:lnTo>
                        <a:pt x="0" y="8"/>
                      </a:lnTo>
                      <a:lnTo>
                        <a:pt x="2" y="11"/>
                      </a:lnTo>
                      <a:lnTo>
                        <a:pt x="6" y="9"/>
                      </a:lnTo>
                      <a:lnTo>
                        <a:pt x="9" y="9"/>
                      </a:lnTo>
                      <a:lnTo>
                        <a:pt x="16" y="14"/>
                      </a:lnTo>
                      <a:lnTo>
                        <a:pt x="18" y="14"/>
                      </a:lnTo>
                      <a:lnTo>
                        <a:pt x="21" y="13"/>
                      </a:lnTo>
                      <a:lnTo>
                        <a:pt x="22" y="11"/>
                      </a:lnTo>
                      <a:lnTo>
                        <a:pt x="23"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7" name="Freeform 1266"/>
                <p:cNvSpPr>
                  <a:spLocks/>
                </p:cNvSpPr>
                <p:nvPr/>
              </p:nvSpPr>
              <p:spPr bwMode="auto">
                <a:xfrm>
                  <a:off x="5045887" y="2266845"/>
                  <a:ext cx="31077" cy="36997"/>
                </a:xfrm>
                <a:custGeom>
                  <a:avLst/>
                  <a:gdLst>
                    <a:gd name="T0" fmla="*/ 2147483647 w 23"/>
                    <a:gd name="T1" fmla="*/ 2147483647 h 25"/>
                    <a:gd name="T2" fmla="*/ 2147483647 w 23"/>
                    <a:gd name="T3" fmla="*/ 2147483647 h 25"/>
                    <a:gd name="T4" fmla="*/ 2147483647 w 23"/>
                    <a:gd name="T5" fmla="*/ 2147483647 h 25"/>
                    <a:gd name="T6" fmla="*/ 2147483647 w 23"/>
                    <a:gd name="T7" fmla="*/ 2147483647 h 25"/>
                    <a:gd name="T8" fmla="*/ 2147483647 w 23"/>
                    <a:gd name="T9" fmla="*/ 2147483647 h 25"/>
                    <a:gd name="T10" fmla="*/ 2147483647 w 23"/>
                    <a:gd name="T11" fmla="*/ 2147483647 h 25"/>
                    <a:gd name="T12" fmla="*/ 2147483647 w 23"/>
                    <a:gd name="T13" fmla="*/ 0 h 25"/>
                    <a:gd name="T14" fmla="*/ 2147483647 w 23"/>
                    <a:gd name="T15" fmla="*/ 0 h 25"/>
                    <a:gd name="T16" fmla="*/ 2147483647 w 23"/>
                    <a:gd name="T17" fmla="*/ 2147483647 h 25"/>
                    <a:gd name="T18" fmla="*/ 2147483647 w 23"/>
                    <a:gd name="T19" fmla="*/ 2147483647 h 25"/>
                    <a:gd name="T20" fmla="*/ 2147483647 w 23"/>
                    <a:gd name="T21" fmla="*/ 2147483647 h 25"/>
                    <a:gd name="T22" fmla="*/ 2147483647 w 23"/>
                    <a:gd name="T23" fmla="*/ 2147483647 h 25"/>
                    <a:gd name="T24" fmla="*/ 2147483647 w 23"/>
                    <a:gd name="T25" fmla="*/ 2147483647 h 25"/>
                    <a:gd name="T26" fmla="*/ 2147483647 w 23"/>
                    <a:gd name="T27" fmla="*/ 2147483647 h 25"/>
                    <a:gd name="T28" fmla="*/ 2147483647 w 23"/>
                    <a:gd name="T29" fmla="*/ 2147483647 h 25"/>
                    <a:gd name="T30" fmla="*/ 0 w 23"/>
                    <a:gd name="T31" fmla="*/ 2147483647 h 25"/>
                    <a:gd name="T32" fmla="*/ 0 w 23"/>
                    <a:gd name="T33" fmla="*/ 2147483647 h 25"/>
                    <a:gd name="T34" fmla="*/ 2147483647 w 23"/>
                    <a:gd name="T35" fmla="*/ 2147483647 h 25"/>
                    <a:gd name="T36" fmla="*/ 2147483647 w 23"/>
                    <a:gd name="T37" fmla="*/ 2147483647 h 25"/>
                    <a:gd name="T38" fmla="*/ 2147483647 w 23"/>
                    <a:gd name="T39" fmla="*/ 2147483647 h 25"/>
                    <a:gd name="T40" fmla="*/ 2147483647 w 23"/>
                    <a:gd name="T41" fmla="*/ 2147483647 h 25"/>
                    <a:gd name="T42" fmla="*/ 2147483647 w 23"/>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25"/>
                    <a:gd name="T68" fmla="*/ 23 w 23"/>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25">
                      <a:moveTo>
                        <a:pt x="18" y="15"/>
                      </a:moveTo>
                      <a:lnTo>
                        <a:pt x="21" y="13"/>
                      </a:lnTo>
                      <a:lnTo>
                        <a:pt x="23" y="9"/>
                      </a:lnTo>
                      <a:lnTo>
                        <a:pt x="23" y="7"/>
                      </a:lnTo>
                      <a:lnTo>
                        <a:pt x="21" y="3"/>
                      </a:lnTo>
                      <a:lnTo>
                        <a:pt x="20" y="1"/>
                      </a:lnTo>
                      <a:lnTo>
                        <a:pt x="18" y="0"/>
                      </a:lnTo>
                      <a:lnTo>
                        <a:pt x="16" y="0"/>
                      </a:lnTo>
                      <a:lnTo>
                        <a:pt x="15" y="2"/>
                      </a:lnTo>
                      <a:lnTo>
                        <a:pt x="14" y="6"/>
                      </a:lnTo>
                      <a:lnTo>
                        <a:pt x="14" y="9"/>
                      </a:lnTo>
                      <a:lnTo>
                        <a:pt x="12" y="12"/>
                      </a:lnTo>
                      <a:lnTo>
                        <a:pt x="10" y="13"/>
                      </a:lnTo>
                      <a:lnTo>
                        <a:pt x="5" y="17"/>
                      </a:lnTo>
                      <a:lnTo>
                        <a:pt x="1" y="19"/>
                      </a:lnTo>
                      <a:lnTo>
                        <a:pt x="0" y="21"/>
                      </a:lnTo>
                      <a:lnTo>
                        <a:pt x="0" y="22"/>
                      </a:lnTo>
                      <a:lnTo>
                        <a:pt x="2" y="24"/>
                      </a:lnTo>
                      <a:lnTo>
                        <a:pt x="4" y="25"/>
                      </a:lnTo>
                      <a:lnTo>
                        <a:pt x="9" y="22"/>
                      </a:lnTo>
                      <a:lnTo>
                        <a:pt x="14" y="19"/>
                      </a:lnTo>
                      <a:lnTo>
                        <a:pt x="18"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8" name="Freeform 1267"/>
                <p:cNvSpPr>
                  <a:spLocks/>
                </p:cNvSpPr>
                <p:nvPr/>
              </p:nvSpPr>
              <p:spPr bwMode="auto">
                <a:xfrm>
                  <a:off x="5131720" y="2246130"/>
                  <a:ext cx="31077" cy="20718"/>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0 h 14"/>
                    <a:gd name="T10" fmla="*/ 2147483647 w 23"/>
                    <a:gd name="T11" fmla="*/ 0 h 14"/>
                    <a:gd name="T12" fmla="*/ 2147483647 w 23"/>
                    <a:gd name="T13" fmla="*/ 2147483647 h 14"/>
                    <a:gd name="T14" fmla="*/ 2147483647 w 23"/>
                    <a:gd name="T15" fmla="*/ 2147483647 h 14"/>
                    <a:gd name="T16" fmla="*/ 2147483647 w 23"/>
                    <a:gd name="T17" fmla="*/ 2147483647 h 14"/>
                    <a:gd name="T18" fmla="*/ 2147483647 w 23"/>
                    <a:gd name="T19" fmla="*/ 2147483647 h 14"/>
                    <a:gd name="T20" fmla="*/ 2147483647 w 23"/>
                    <a:gd name="T21" fmla="*/ 2147483647 h 14"/>
                    <a:gd name="T22" fmla="*/ 0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2147483647 w 23"/>
                    <a:gd name="T35" fmla="*/ 2147483647 h 14"/>
                    <a:gd name="T36" fmla="*/ 2147483647 w 23"/>
                    <a:gd name="T37" fmla="*/ 2147483647 h 14"/>
                    <a:gd name="T38" fmla="*/ 2147483647 w 23"/>
                    <a:gd name="T39" fmla="*/ 2147483647 h 14"/>
                    <a:gd name="T40" fmla="*/ 2147483647 w 23"/>
                    <a:gd name="T41" fmla="*/ 2147483647 h 14"/>
                    <a:gd name="T42" fmla="*/ 2147483647 w 23"/>
                    <a:gd name="T43" fmla="*/ 2147483647 h 14"/>
                    <a:gd name="T44" fmla="*/ 2147483647 w 23"/>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3"/>
                    <a:gd name="T70" fmla="*/ 0 h 14"/>
                    <a:gd name="T71" fmla="*/ 23 w 23"/>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3" h="14">
                      <a:moveTo>
                        <a:pt x="23" y="8"/>
                      </a:moveTo>
                      <a:lnTo>
                        <a:pt x="23" y="8"/>
                      </a:lnTo>
                      <a:lnTo>
                        <a:pt x="21" y="3"/>
                      </a:lnTo>
                      <a:lnTo>
                        <a:pt x="21" y="2"/>
                      </a:lnTo>
                      <a:lnTo>
                        <a:pt x="19" y="0"/>
                      </a:lnTo>
                      <a:lnTo>
                        <a:pt x="13" y="2"/>
                      </a:lnTo>
                      <a:lnTo>
                        <a:pt x="4" y="3"/>
                      </a:lnTo>
                      <a:lnTo>
                        <a:pt x="3" y="3"/>
                      </a:lnTo>
                      <a:lnTo>
                        <a:pt x="1" y="6"/>
                      </a:lnTo>
                      <a:lnTo>
                        <a:pt x="0" y="8"/>
                      </a:lnTo>
                      <a:lnTo>
                        <a:pt x="1" y="10"/>
                      </a:lnTo>
                      <a:lnTo>
                        <a:pt x="5" y="9"/>
                      </a:lnTo>
                      <a:lnTo>
                        <a:pt x="9" y="9"/>
                      </a:lnTo>
                      <a:lnTo>
                        <a:pt x="15" y="14"/>
                      </a:lnTo>
                      <a:lnTo>
                        <a:pt x="18" y="14"/>
                      </a:lnTo>
                      <a:lnTo>
                        <a:pt x="21" y="13"/>
                      </a:lnTo>
                      <a:lnTo>
                        <a:pt x="22" y="10"/>
                      </a:lnTo>
                      <a:lnTo>
                        <a:pt x="23"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29" name="Freeform 1268"/>
                <p:cNvSpPr>
                  <a:spLocks/>
                </p:cNvSpPr>
                <p:nvPr/>
              </p:nvSpPr>
              <p:spPr bwMode="auto">
                <a:xfrm>
                  <a:off x="5042927" y="2265369"/>
                  <a:ext cx="31077" cy="36996"/>
                </a:xfrm>
                <a:custGeom>
                  <a:avLst/>
                  <a:gdLst>
                    <a:gd name="T0" fmla="*/ 2147483647 w 23"/>
                    <a:gd name="T1" fmla="*/ 2147483647 h 25"/>
                    <a:gd name="T2" fmla="*/ 2147483647 w 23"/>
                    <a:gd name="T3" fmla="*/ 2147483647 h 25"/>
                    <a:gd name="T4" fmla="*/ 2147483647 w 23"/>
                    <a:gd name="T5" fmla="*/ 2147483647 h 25"/>
                    <a:gd name="T6" fmla="*/ 2147483647 w 23"/>
                    <a:gd name="T7" fmla="*/ 2147483647 h 25"/>
                    <a:gd name="T8" fmla="*/ 2147483647 w 23"/>
                    <a:gd name="T9" fmla="*/ 2147483647 h 25"/>
                    <a:gd name="T10" fmla="*/ 2147483647 w 23"/>
                    <a:gd name="T11" fmla="*/ 2147483647 h 25"/>
                    <a:gd name="T12" fmla="*/ 2147483647 w 23"/>
                    <a:gd name="T13" fmla="*/ 2147483647 h 25"/>
                    <a:gd name="T14" fmla="*/ 2147483647 w 23"/>
                    <a:gd name="T15" fmla="*/ 2147483647 h 25"/>
                    <a:gd name="T16" fmla="*/ 2147483647 w 23"/>
                    <a:gd name="T17" fmla="*/ 0 h 25"/>
                    <a:gd name="T18" fmla="*/ 2147483647 w 23"/>
                    <a:gd name="T19" fmla="*/ 0 h 25"/>
                    <a:gd name="T20" fmla="*/ 2147483647 w 23"/>
                    <a:gd name="T21" fmla="*/ 2147483647 h 25"/>
                    <a:gd name="T22" fmla="*/ 2147483647 w 23"/>
                    <a:gd name="T23" fmla="*/ 2147483647 h 25"/>
                    <a:gd name="T24" fmla="*/ 2147483647 w 23"/>
                    <a:gd name="T25" fmla="*/ 2147483647 h 25"/>
                    <a:gd name="T26" fmla="*/ 2147483647 w 23"/>
                    <a:gd name="T27" fmla="*/ 2147483647 h 25"/>
                    <a:gd name="T28" fmla="*/ 2147483647 w 23"/>
                    <a:gd name="T29" fmla="*/ 2147483647 h 25"/>
                    <a:gd name="T30" fmla="*/ 2147483647 w 23"/>
                    <a:gd name="T31" fmla="*/ 2147483647 h 25"/>
                    <a:gd name="T32" fmla="*/ 2147483647 w 23"/>
                    <a:gd name="T33" fmla="*/ 2147483647 h 25"/>
                    <a:gd name="T34" fmla="*/ 2147483647 w 23"/>
                    <a:gd name="T35" fmla="*/ 2147483647 h 25"/>
                    <a:gd name="T36" fmla="*/ 2147483647 w 23"/>
                    <a:gd name="T37" fmla="*/ 2147483647 h 25"/>
                    <a:gd name="T38" fmla="*/ 0 w 23"/>
                    <a:gd name="T39" fmla="*/ 2147483647 h 25"/>
                    <a:gd name="T40" fmla="*/ 0 w 23"/>
                    <a:gd name="T41" fmla="*/ 2147483647 h 25"/>
                    <a:gd name="T42" fmla="*/ 0 w 23"/>
                    <a:gd name="T43" fmla="*/ 2147483647 h 25"/>
                    <a:gd name="T44" fmla="*/ 2147483647 w 23"/>
                    <a:gd name="T45" fmla="*/ 2147483647 h 25"/>
                    <a:gd name="T46" fmla="*/ 2147483647 w 23"/>
                    <a:gd name="T47" fmla="*/ 2147483647 h 25"/>
                    <a:gd name="T48" fmla="*/ 2147483647 w 23"/>
                    <a:gd name="T49" fmla="*/ 2147483647 h 25"/>
                    <a:gd name="T50" fmla="*/ 2147483647 w 23"/>
                    <a:gd name="T51" fmla="*/ 2147483647 h 25"/>
                    <a:gd name="T52" fmla="*/ 2147483647 w 23"/>
                    <a:gd name="T53" fmla="*/ 2147483647 h 25"/>
                    <a:gd name="T54" fmla="*/ 2147483647 w 23"/>
                    <a:gd name="T55" fmla="*/ 2147483647 h 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
                    <a:gd name="T85" fmla="*/ 0 h 25"/>
                    <a:gd name="T86" fmla="*/ 23 w 23"/>
                    <a:gd name="T87" fmla="*/ 25 h 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 h="25">
                      <a:moveTo>
                        <a:pt x="18" y="15"/>
                      </a:moveTo>
                      <a:lnTo>
                        <a:pt x="18" y="15"/>
                      </a:lnTo>
                      <a:lnTo>
                        <a:pt x="22" y="13"/>
                      </a:lnTo>
                      <a:lnTo>
                        <a:pt x="23" y="9"/>
                      </a:lnTo>
                      <a:lnTo>
                        <a:pt x="23" y="7"/>
                      </a:lnTo>
                      <a:lnTo>
                        <a:pt x="22" y="3"/>
                      </a:lnTo>
                      <a:lnTo>
                        <a:pt x="21" y="1"/>
                      </a:lnTo>
                      <a:lnTo>
                        <a:pt x="18" y="0"/>
                      </a:lnTo>
                      <a:lnTo>
                        <a:pt x="17" y="0"/>
                      </a:lnTo>
                      <a:lnTo>
                        <a:pt x="16" y="2"/>
                      </a:lnTo>
                      <a:lnTo>
                        <a:pt x="14" y="6"/>
                      </a:lnTo>
                      <a:lnTo>
                        <a:pt x="14" y="9"/>
                      </a:lnTo>
                      <a:lnTo>
                        <a:pt x="13" y="12"/>
                      </a:lnTo>
                      <a:lnTo>
                        <a:pt x="11" y="13"/>
                      </a:lnTo>
                      <a:lnTo>
                        <a:pt x="6" y="16"/>
                      </a:lnTo>
                      <a:lnTo>
                        <a:pt x="2" y="19"/>
                      </a:lnTo>
                      <a:lnTo>
                        <a:pt x="0" y="21"/>
                      </a:lnTo>
                      <a:lnTo>
                        <a:pt x="0" y="22"/>
                      </a:lnTo>
                      <a:lnTo>
                        <a:pt x="3" y="23"/>
                      </a:lnTo>
                      <a:lnTo>
                        <a:pt x="4" y="25"/>
                      </a:lnTo>
                      <a:lnTo>
                        <a:pt x="9" y="22"/>
                      </a:lnTo>
                      <a:lnTo>
                        <a:pt x="14" y="19"/>
                      </a:lnTo>
                      <a:lnTo>
                        <a:pt x="18"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0" name="Freeform 1269"/>
                <p:cNvSpPr>
                  <a:spLocks/>
                </p:cNvSpPr>
                <p:nvPr/>
              </p:nvSpPr>
              <p:spPr bwMode="auto">
                <a:xfrm>
                  <a:off x="5020725" y="2303842"/>
                  <a:ext cx="19239" cy="28117"/>
                </a:xfrm>
                <a:custGeom>
                  <a:avLst/>
                  <a:gdLst>
                    <a:gd name="T0" fmla="*/ 2147483647 w 14"/>
                    <a:gd name="T1" fmla="*/ 2147483647 h 19"/>
                    <a:gd name="T2" fmla="*/ 2147483647 w 14"/>
                    <a:gd name="T3" fmla="*/ 2147483647 h 19"/>
                    <a:gd name="T4" fmla="*/ 2147483647 w 14"/>
                    <a:gd name="T5" fmla="*/ 2147483647 h 19"/>
                    <a:gd name="T6" fmla="*/ 2147483647 w 14"/>
                    <a:gd name="T7" fmla="*/ 2147483647 h 19"/>
                    <a:gd name="T8" fmla="*/ 2147483647 w 14"/>
                    <a:gd name="T9" fmla="*/ 2147483647 h 19"/>
                    <a:gd name="T10" fmla="*/ 2147483647 w 14"/>
                    <a:gd name="T11" fmla="*/ 0 h 19"/>
                    <a:gd name="T12" fmla="*/ 2147483647 w 14"/>
                    <a:gd name="T13" fmla="*/ 2147483647 h 19"/>
                    <a:gd name="T14" fmla="*/ 2147483647 w 14"/>
                    <a:gd name="T15" fmla="*/ 2147483647 h 19"/>
                    <a:gd name="T16" fmla="*/ 0 w 14"/>
                    <a:gd name="T17" fmla="*/ 2147483647 h 19"/>
                    <a:gd name="T18" fmla="*/ 0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9"/>
                    <a:gd name="T56" fmla="*/ 14 w 14"/>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9">
                      <a:moveTo>
                        <a:pt x="6" y="13"/>
                      </a:moveTo>
                      <a:lnTo>
                        <a:pt x="11" y="8"/>
                      </a:lnTo>
                      <a:lnTo>
                        <a:pt x="14" y="6"/>
                      </a:lnTo>
                      <a:lnTo>
                        <a:pt x="13" y="2"/>
                      </a:lnTo>
                      <a:lnTo>
                        <a:pt x="9" y="1"/>
                      </a:lnTo>
                      <a:lnTo>
                        <a:pt x="6" y="0"/>
                      </a:lnTo>
                      <a:lnTo>
                        <a:pt x="2" y="1"/>
                      </a:lnTo>
                      <a:lnTo>
                        <a:pt x="1" y="5"/>
                      </a:lnTo>
                      <a:lnTo>
                        <a:pt x="0" y="9"/>
                      </a:lnTo>
                      <a:lnTo>
                        <a:pt x="0" y="14"/>
                      </a:lnTo>
                      <a:lnTo>
                        <a:pt x="1" y="18"/>
                      </a:lnTo>
                      <a:lnTo>
                        <a:pt x="2" y="19"/>
                      </a:lnTo>
                      <a:lnTo>
                        <a:pt x="5" y="19"/>
                      </a:lnTo>
                      <a:lnTo>
                        <a:pt x="6" y="19"/>
                      </a:lnTo>
                      <a:lnTo>
                        <a:pt x="6" y="16"/>
                      </a:lnTo>
                      <a:lnTo>
                        <a:pt x="6" y="14"/>
                      </a:lnTo>
                      <a:lnTo>
                        <a:pt x="8" y="13"/>
                      </a:lnTo>
                      <a:lnTo>
                        <a:pt x="6"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1" name="Freeform 1270"/>
                <p:cNvSpPr>
                  <a:spLocks/>
                </p:cNvSpPr>
                <p:nvPr/>
              </p:nvSpPr>
              <p:spPr bwMode="auto">
                <a:xfrm>
                  <a:off x="5005926" y="2330483"/>
                  <a:ext cx="4440" cy="10359"/>
                </a:xfrm>
                <a:custGeom>
                  <a:avLst/>
                  <a:gdLst>
                    <a:gd name="T0" fmla="*/ 2147483647 w 3"/>
                    <a:gd name="T1" fmla="*/ 2147483647 h 7"/>
                    <a:gd name="T2" fmla="*/ 2147483647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0 w 3"/>
                    <a:gd name="T13" fmla="*/ 0 h 7"/>
                    <a:gd name="T14" fmla="*/ 0 w 3"/>
                    <a:gd name="T15" fmla="*/ 2147483647 h 7"/>
                    <a:gd name="T16" fmla="*/ 0 w 3"/>
                    <a:gd name="T17" fmla="*/ 2147483647 h 7"/>
                    <a:gd name="T18" fmla="*/ 2147483647 w 3"/>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7"/>
                    <a:gd name="T32" fmla="*/ 3 w 3"/>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7">
                      <a:moveTo>
                        <a:pt x="1" y="7"/>
                      </a:moveTo>
                      <a:lnTo>
                        <a:pt x="3" y="6"/>
                      </a:lnTo>
                      <a:lnTo>
                        <a:pt x="3" y="4"/>
                      </a:lnTo>
                      <a:lnTo>
                        <a:pt x="3" y="3"/>
                      </a:lnTo>
                      <a:lnTo>
                        <a:pt x="3" y="2"/>
                      </a:lnTo>
                      <a:lnTo>
                        <a:pt x="1" y="1"/>
                      </a:lnTo>
                      <a:lnTo>
                        <a:pt x="0" y="0"/>
                      </a:lnTo>
                      <a:lnTo>
                        <a:pt x="0" y="1"/>
                      </a:lnTo>
                      <a:lnTo>
                        <a:pt x="0" y="3"/>
                      </a:lnTo>
                      <a:lnTo>
                        <a:pt x="1"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2" name="Freeform 1271"/>
                <p:cNvSpPr>
                  <a:spLocks/>
                </p:cNvSpPr>
                <p:nvPr/>
              </p:nvSpPr>
              <p:spPr bwMode="auto">
                <a:xfrm>
                  <a:off x="5019248" y="2302365"/>
                  <a:ext cx="19238" cy="28118"/>
                </a:xfrm>
                <a:custGeom>
                  <a:avLst/>
                  <a:gdLst>
                    <a:gd name="T0" fmla="*/ 2147483647 w 14"/>
                    <a:gd name="T1" fmla="*/ 2147483647 h 19"/>
                    <a:gd name="T2" fmla="*/ 2147483647 w 14"/>
                    <a:gd name="T3" fmla="*/ 2147483647 h 19"/>
                    <a:gd name="T4" fmla="*/ 2147483647 w 14"/>
                    <a:gd name="T5" fmla="*/ 2147483647 h 19"/>
                    <a:gd name="T6" fmla="*/ 2147483647 w 14"/>
                    <a:gd name="T7" fmla="*/ 2147483647 h 19"/>
                    <a:gd name="T8" fmla="*/ 2147483647 w 14"/>
                    <a:gd name="T9" fmla="*/ 2147483647 h 19"/>
                    <a:gd name="T10" fmla="*/ 2147483647 w 14"/>
                    <a:gd name="T11" fmla="*/ 2147483647 h 19"/>
                    <a:gd name="T12" fmla="*/ 2147483647 w 14"/>
                    <a:gd name="T13" fmla="*/ 2147483647 h 19"/>
                    <a:gd name="T14" fmla="*/ 2147483647 w 14"/>
                    <a:gd name="T15" fmla="*/ 0 h 19"/>
                    <a:gd name="T16" fmla="*/ 2147483647 w 14"/>
                    <a:gd name="T17" fmla="*/ 2147483647 h 19"/>
                    <a:gd name="T18" fmla="*/ 2147483647 w 14"/>
                    <a:gd name="T19" fmla="*/ 2147483647 h 19"/>
                    <a:gd name="T20" fmla="*/ 2147483647 w 14"/>
                    <a:gd name="T21" fmla="*/ 2147483647 h 19"/>
                    <a:gd name="T22" fmla="*/ 0 w 14"/>
                    <a:gd name="T23" fmla="*/ 2147483647 h 19"/>
                    <a:gd name="T24" fmla="*/ 0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2147483647 w 14"/>
                    <a:gd name="T37" fmla="*/ 2147483647 h 19"/>
                    <a:gd name="T38" fmla="*/ 2147483647 w 14"/>
                    <a:gd name="T39" fmla="*/ 2147483647 h 19"/>
                    <a:gd name="T40" fmla="*/ 2147483647 w 14"/>
                    <a:gd name="T41" fmla="*/ 2147483647 h 19"/>
                    <a:gd name="T42" fmla="*/ 2147483647 w 14"/>
                    <a:gd name="T43" fmla="*/ 2147483647 h 19"/>
                    <a:gd name="T44" fmla="*/ 2147483647 w 14"/>
                    <a:gd name="T45" fmla="*/ 2147483647 h 19"/>
                    <a:gd name="T46" fmla="*/ 2147483647 w 14"/>
                    <a:gd name="T47" fmla="*/ 2147483647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19"/>
                    <a:gd name="T74" fmla="*/ 14 w 14"/>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19">
                      <a:moveTo>
                        <a:pt x="6" y="13"/>
                      </a:moveTo>
                      <a:lnTo>
                        <a:pt x="6" y="13"/>
                      </a:lnTo>
                      <a:lnTo>
                        <a:pt x="11" y="8"/>
                      </a:lnTo>
                      <a:lnTo>
                        <a:pt x="14" y="6"/>
                      </a:lnTo>
                      <a:lnTo>
                        <a:pt x="12" y="2"/>
                      </a:lnTo>
                      <a:lnTo>
                        <a:pt x="9" y="1"/>
                      </a:lnTo>
                      <a:lnTo>
                        <a:pt x="6" y="0"/>
                      </a:lnTo>
                      <a:lnTo>
                        <a:pt x="2" y="1"/>
                      </a:lnTo>
                      <a:lnTo>
                        <a:pt x="1" y="4"/>
                      </a:lnTo>
                      <a:lnTo>
                        <a:pt x="0" y="9"/>
                      </a:lnTo>
                      <a:lnTo>
                        <a:pt x="0" y="14"/>
                      </a:lnTo>
                      <a:lnTo>
                        <a:pt x="1" y="17"/>
                      </a:lnTo>
                      <a:lnTo>
                        <a:pt x="2" y="19"/>
                      </a:lnTo>
                      <a:lnTo>
                        <a:pt x="5" y="19"/>
                      </a:lnTo>
                      <a:lnTo>
                        <a:pt x="6" y="19"/>
                      </a:lnTo>
                      <a:lnTo>
                        <a:pt x="6" y="16"/>
                      </a:lnTo>
                      <a:lnTo>
                        <a:pt x="6" y="14"/>
                      </a:lnTo>
                      <a:lnTo>
                        <a:pt x="7" y="13"/>
                      </a:lnTo>
                      <a:lnTo>
                        <a:pt x="6"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3" name="Freeform 1272"/>
                <p:cNvSpPr>
                  <a:spLocks/>
                </p:cNvSpPr>
                <p:nvPr/>
              </p:nvSpPr>
              <p:spPr bwMode="auto">
                <a:xfrm>
                  <a:off x="5002967" y="2327521"/>
                  <a:ext cx="5919" cy="11839"/>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2147483647 w 4"/>
                    <a:gd name="T13" fmla="*/ 2147483647 h 8"/>
                    <a:gd name="T14" fmla="*/ 2147483647 w 4"/>
                    <a:gd name="T15" fmla="*/ 2147483647 h 8"/>
                    <a:gd name="T16" fmla="*/ 2147483647 w 4"/>
                    <a:gd name="T17" fmla="*/ 2147483647 h 8"/>
                    <a:gd name="T18" fmla="*/ 0 w 4"/>
                    <a:gd name="T19" fmla="*/ 0 h 8"/>
                    <a:gd name="T20" fmla="*/ 0 w 4"/>
                    <a:gd name="T21" fmla="*/ 2147483647 h 8"/>
                    <a:gd name="T22" fmla="*/ 0 w 4"/>
                    <a:gd name="T23" fmla="*/ 2147483647 h 8"/>
                    <a:gd name="T24" fmla="*/ 0 w 4"/>
                    <a:gd name="T25" fmla="*/ 2147483647 h 8"/>
                    <a:gd name="T26" fmla="*/ 2147483647 w 4"/>
                    <a:gd name="T27" fmla="*/ 2147483647 h 8"/>
                    <a:gd name="T28" fmla="*/ 2147483647 w 4"/>
                    <a:gd name="T29" fmla="*/ 2147483647 h 8"/>
                    <a:gd name="T30" fmla="*/ 2147483647 w 4"/>
                    <a:gd name="T31" fmla="*/ 2147483647 h 8"/>
                    <a:gd name="T32" fmla="*/ 2147483647 w 4"/>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8"/>
                    <a:gd name="T53" fmla="*/ 4 w 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8">
                      <a:moveTo>
                        <a:pt x="2" y="8"/>
                      </a:moveTo>
                      <a:lnTo>
                        <a:pt x="2" y="8"/>
                      </a:lnTo>
                      <a:lnTo>
                        <a:pt x="4" y="6"/>
                      </a:lnTo>
                      <a:lnTo>
                        <a:pt x="4" y="5"/>
                      </a:lnTo>
                      <a:lnTo>
                        <a:pt x="4" y="4"/>
                      </a:lnTo>
                      <a:lnTo>
                        <a:pt x="4" y="3"/>
                      </a:lnTo>
                      <a:lnTo>
                        <a:pt x="2" y="2"/>
                      </a:lnTo>
                      <a:lnTo>
                        <a:pt x="0" y="0"/>
                      </a:lnTo>
                      <a:lnTo>
                        <a:pt x="0" y="2"/>
                      </a:lnTo>
                      <a:lnTo>
                        <a:pt x="0" y="4"/>
                      </a:lnTo>
                      <a:lnTo>
                        <a:pt x="2"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4" name="Freeform 1273"/>
                <p:cNvSpPr>
                  <a:spLocks/>
                </p:cNvSpPr>
                <p:nvPr/>
              </p:nvSpPr>
              <p:spPr bwMode="auto">
                <a:xfrm>
                  <a:off x="4977810" y="2336403"/>
                  <a:ext cx="23678" cy="25157"/>
                </a:xfrm>
                <a:custGeom>
                  <a:avLst/>
                  <a:gdLst>
                    <a:gd name="T0" fmla="*/ 2147483647 w 18"/>
                    <a:gd name="T1" fmla="*/ 2147483647 h 17"/>
                    <a:gd name="T2" fmla="*/ 2147483647 w 18"/>
                    <a:gd name="T3" fmla="*/ 2147483647 h 17"/>
                    <a:gd name="T4" fmla="*/ 2147483647 w 18"/>
                    <a:gd name="T5" fmla="*/ 2147483647 h 17"/>
                    <a:gd name="T6" fmla="*/ 2147483647 w 18"/>
                    <a:gd name="T7" fmla="*/ 0 h 17"/>
                    <a:gd name="T8" fmla="*/ 2147483647 w 18"/>
                    <a:gd name="T9" fmla="*/ 0 h 17"/>
                    <a:gd name="T10" fmla="*/ 2147483647 w 18"/>
                    <a:gd name="T11" fmla="*/ 2147483647 h 17"/>
                    <a:gd name="T12" fmla="*/ 2147483647 w 18"/>
                    <a:gd name="T13" fmla="*/ 2147483647 h 17"/>
                    <a:gd name="T14" fmla="*/ 2147483647 w 18"/>
                    <a:gd name="T15" fmla="*/ 2147483647 h 17"/>
                    <a:gd name="T16" fmla="*/ 2147483647 w 18"/>
                    <a:gd name="T17" fmla="*/ 2147483647 h 17"/>
                    <a:gd name="T18" fmla="*/ 0 w 18"/>
                    <a:gd name="T19" fmla="*/ 2147483647 h 17"/>
                    <a:gd name="T20" fmla="*/ 2147483647 w 18"/>
                    <a:gd name="T21" fmla="*/ 2147483647 h 17"/>
                    <a:gd name="T22" fmla="*/ 2147483647 w 18"/>
                    <a:gd name="T23" fmla="*/ 2147483647 h 17"/>
                    <a:gd name="T24" fmla="*/ 2147483647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2147483647 w 18"/>
                    <a:gd name="T35" fmla="*/ 2147483647 h 17"/>
                    <a:gd name="T36" fmla="*/ 2147483647 w 18"/>
                    <a:gd name="T37" fmla="*/ 2147483647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17"/>
                    <a:gd name="T59" fmla="*/ 18 w 18"/>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17">
                      <a:moveTo>
                        <a:pt x="18" y="6"/>
                      </a:moveTo>
                      <a:lnTo>
                        <a:pt x="17" y="4"/>
                      </a:lnTo>
                      <a:lnTo>
                        <a:pt x="15" y="2"/>
                      </a:lnTo>
                      <a:lnTo>
                        <a:pt x="12" y="0"/>
                      </a:lnTo>
                      <a:lnTo>
                        <a:pt x="9" y="0"/>
                      </a:lnTo>
                      <a:lnTo>
                        <a:pt x="7" y="3"/>
                      </a:lnTo>
                      <a:lnTo>
                        <a:pt x="4" y="6"/>
                      </a:lnTo>
                      <a:lnTo>
                        <a:pt x="3" y="11"/>
                      </a:lnTo>
                      <a:lnTo>
                        <a:pt x="1" y="15"/>
                      </a:lnTo>
                      <a:lnTo>
                        <a:pt x="0" y="16"/>
                      </a:lnTo>
                      <a:lnTo>
                        <a:pt x="1" y="17"/>
                      </a:lnTo>
                      <a:lnTo>
                        <a:pt x="3" y="17"/>
                      </a:lnTo>
                      <a:lnTo>
                        <a:pt x="4" y="17"/>
                      </a:lnTo>
                      <a:lnTo>
                        <a:pt x="5" y="16"/>
                      </a:lnTo>
                      <a:lnTo>
                        <a:pt x="7" y="15"/>
                      </a:lnTo>
                      <a:lnTo>
                        <a:pt x="12" y="15"/>
                      </a:lnTo>
                      <a:lnTo>
                        <a:pt x="14" y="12"/>
                      </a:lnTo>
                      <a:lnTo>
                        <a:pt x="17" y="10"/>
                      </a:lnTo>
                      <a:lnTo>
                        <a:pt x="18"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5" name="Freeform 1274"/>
                <p:cNvSpPr>
                  <a:spLocks/>
                </p:cNvSpPr>
                <p:nvPr/>
              </p:nvSpPr>
              <p:spPr bwMode="auto">
                <a:xfrm>
                  <a:off x="4983729" y="2318642"/>
                  <a:ext cx="11839" cy="11839"/>
                </a:xfrm>
                <a:custGeom>
                  <a:avLst/>
                  <a:gdLst>
                    <a:gd name="T0" fmla="*/ 2147483647 w 8"/>
                    <a:gd name="T1" fmla="*/ 2147483647 h 8"/>
                    <a:gd name="T2" fmla="*/ 2147483647 w 8"/>
                    <a:gd name="T3" fmla="*/ 2147483647 h 8"/>
                    <a:gd name="T4" fmla="*/ 2147483647 w 8"/>
                    <a:gd name="T5" fmla="*/ 0 h 8"/>
                    <a:gd name="T6" fmla="*/ 2147483647 w 8"/>
                    <a:gd name="T7" fmla="*/ 0 h 8"/>
                    <a:gd name="T8" fmla="*/ 2147483647 w 8"/>
                    <a:gd name="T9" fmla="*/ 0 h 8"/>
                    <a:gd name="T10" fmla="*/ 2147483647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5" y="4"/>
                      </a:moveTo>
                      <a:lnTo>
                        <a:pt x="7" y="2"/>
                      </a:lnTo>
                      <a:lnTo>
                        <a:pt x="8" y="0"/>
                      </a:lnTo>
                      <a:lnTo>
                        <a:pt x="7" y="0"/>
                      </a:lnTo>
                      <a:lnTo>
                        <a:pt x="4" y="0"/>
                      </a:lnTo>
                      <a:lnTo>
                        <a:pt x="3" y="3"/>
                      </a:lnTo>
                      <a:lnTo>
                        <a:pt x="0" y="5"/>
                      </a:lnTo>
                      <a:lnTo>
                        <a:pt x="2" y="8"/>
                      </a:lnTo>
                      <a:lnTo>
                        <a:pt x="3" y="6"/>
                      </a:lnTo>
                      <a:lnTo>
                        <a:pt x="4" y="5"/>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6" name="Freeform 1275"/>
                <p:cNvSpPr>
                  <a:spLocks/>
                </p:cNvSpPr>
                <p:nvPr/>
              </p:nvSpPr>
              <p:spPr bwMode="auto">
                <a:xfrm>
                  <a:off x="4976329" y="2334920"/>
                  <a:ext cx="23678" cy="25158"/>
                </a:xfrm>
                <a:custGeom>
                  <a:avLst/>
                  <a:gdLst>
                    <a:gd name="T0" fmla="*/ 2147483647 w 18"/>
                    <a:gd name="T1" fmla="*/ 2147483647 h 17"/>
                    <a:gd name="T2" fmla="*/ 2147483647 w 18"/>
                    <a:gd name="T3" fmla="*/ 2147483647 h 17"/>
                    <a:gd name="T4" fmla="*/ 2147483647 w 18"/>
                    <a:gd name="T5" fmla="*/ 2147483647 h 17"/>
                    <a:gd name="T6" fmla="*/ 2147483647 w 18"/>
                    <a:gd name="T7" fmla="*/ 2147483647 h 17"/>
                    <a:gd name="T8" fmla="*/ 2147483647 w 18"/>
                    <a:gd name="T9" fmla="*/ 0 h 17"/>
                    <a:gd name="T10" fmla="*/ 2147483647 w 18"/>
                    <a:gd name="T11" fmla="*/ 0 h 17"/>
                    <a:gd name="T12" fmla="*/ 2147483647 w 18"/>
                    <a:gd name="T13" fmla="*/ 0 h 17"/>
                    <a:gd name="T14" fmla="*/ 2147483647 w 18"/>
                    <a:gd name="T15" fmla="*/ 2147483647 h 17"/>
                    <a:gd name="T16" fmla="*/ 2147483647 w 18"/>
                    <a:gd name="T17" fmla="*/ 2147483647 h 17"/>
                    <a:gd name="T18" fmla="*/ 2147483647 w 18"/>
                    <a:gd name="T19" fmla="*/ 2147483647 h 17"/>
                    <a:gd name="T20" fmla="*/ 2147483647 w 18"/>
                    <a:gd name="T21" fmla="*/ 2147483647 h 17"/>
                    <a:gd name="T22" fmla="*/ 2147483647 w 18"/>
                    <a:gd name="T23" fmla="*/ 2147483647 h 17"/>
                    <a:gd name="T24" fmla="*/ 0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2147483647 w 18"/>
                    <a:gd name="T35" fmla="*/ 2147483647 h 17"/>
                    <a:gd name="T36" fmla="*/ 2147483647 w 18"/>
                    <a:gd name="T37" fmla="*/ 2147483647 h 17"/>
                    <a:gd name="T38" fmla="*/ 2147483647 w 18"/>
                    <a:gd name="T39" fmla="*/ 2147483647 h 17"/>
                    <a:gd name="T40" fmla="*/ 2147483647 w 18"/>
                    <a:gd name="T41" fmla="*/ 2147483647 h 17"/>
                    <a:gd name="T42" fmla="*/ 2147483647 w 18"/>
                    <a:gd name="T43" fmla="*/ 2147483647 h 17"/>
                    <a:gd name="T44" fmla="*/ 2147483647 w 18"/>
                    <a:gd name="T45" fmla="*/ 2147483647 h 17"/>
                    <a:gd name="T46" fmla="*/ 2147483647 w 18"/>
                    <a:gd name="T47" fmla="*/ 2147483647 h 17"/>
                    <a:gd name="T48" fmla="*/ 2147483647 w 18"/>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7"/>
                    <a:gd name="T77" fmla="*/ 18 w 18"/>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7">
                      <a:moveTo>
                        <a:pt x="18" y="6"/>
                      </a:moveTo>
                      <a:lnTo>
                        <a:pt x="18" y="6"/>
                      </a:lnTo>
                      <a:lnTo>
                        <a:pt x="16" y="4"/>
                      </a:lnTo>
                      <a:lnTo>
                        <a:pt x="15" y="1"/>
                      </a:lnTo>
                      <a:lnTo>
                        <a:pt x="11" y="0"/>
                      </a:lnTo>
                      <a:lnTo>
                        <a:pt x="9" y="0"/>
                      </a:lnTo>
                      <a:lnTo>
                        <a:pt x="6" y="3"/>
                      </a:lnTo>
                      <a:lnTo>
                        <a:pt x="4" y="6"/>
                      </a:lnTo>
                      <a:lnTo>
                        <a:pt x="2" y="11"/>
                      </a:lnTo>
                      <a:lnTo>
                        <a:pt x="1" y="14"/>
                      </a:lnTo>
                      <a:lnTo>
                        <a:pt x="0" y="16"/>
                      </a:lnTo>
                      <a:lnTo>
                        <a:pt x="1" y="17"/>
                      </a:lnTo>
                      <a:lnTo>
                        <a:pt x="2" y="17"/>
                      </a:lnTo>
                      <a:lnTo>
                        <a:pt x="4" y="17"/>
                      </a:lnTo>
                      <a:lnTo>
                        <a:pt x="5" y="16"/>
                      </a:lnTo>
                      <a:lnTo>
                        <a:pt x="6" y="14"/>
                      </a:lnTo>
                      <a:lnTo>
                        <a:pt x="11" y="14"/>
                      </a:lnTo>
                      <a:lnTo>
                        <a:pt x="14" y="12"/>
                      </a:lnTo>
                      <a:lnTo>
                        <a:pt x="16" y="10"/>
                      </a:lnTo>
                      <a:lnTo>
                        <a:pt x="18"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7" name="Freeform 1276"/>
                <p:cNvSpPr>
                  <a:spLocks/>
                </p:cNvSpPr>
                <p:nvPr/>
              </p:nvSpPr>
              <p:spPr bwMode="auto">
                <a:xfrm>
                  <a:off x="4982248" y="2317160"/>
                  <a:ext cx="11839" cy="10360"/>
                </a:xfrm>
                <a:custGeom>
                  <a:avLst/>
                  <a:gdLst>
                    <a:gd name="T0" fmla="*/ 2147483647 w 8"/>
                    <a:gd name="T1" fmla="*/ 2147483647 h 7"/>
                    <a:gd name="T2" fmla="*/ 2147483647 w 8"/>
                    <a:gd name="T3" fmla="*/ 2147483647 h 7"/>
                    <a:gd name="T4" fmla="*/ 2147483647 w 8"/>
                    <a:gd name="T5" fmla="*/ 2147483647 h 7"/>
                    <a:gd name="T6" fmla="*/ 2147483647 w 8"/>
                    <a:gd name="T7" fmla="*/ 0 h 7"/>
                    <a:gd name="T8" fmla="*/ 2147483647 w 8"/>
                    <a:gd name="T9" fmla="*/ 0 h 7"/>
                    <a:gd name="T10" fmla="*/ 2147483647 w 8"/>
                    <a:gd name="T11" fmla="*/ 0 h 7"/>
                    <a:gd name="T12" fmla="*/ 2147483647 w 8"/>
                    <a:gd name="T13" fmla="*/ 0 h 7"/>
                    <a:gd name="T14" fmla="*/ 2147483647 w 8"/>
                    <a:gd name="T15" fmla="*/ 2147483647 h 7"/>
                    <a:gd name="T16" fmla="*/ 0 w 8"/>
                    <a:gd name="T17" fmla="*/ 2147483647 h 7"/>
                    <a:gd name="T18" fmla="*/ 2147483647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7"/>
                    <a:gd name="T50" fmla="*/ 8 w 8"/>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7">
                      <a:moveTo>
                        <a:pt x="5" y="4"/>
                      </a:moveTo>
                      <a:lnTo>
                        <a:pt x="5" y="4"/>
                      </a:lnTo>
                      <a:lnTo>
                        <a:pt x="6" y="1"/>
                      </a:lnTo>
                      <a:lnTo>
                        <a:pt x="8" y="0"/>
                      </a:lnTo>
                      <a:lnTo>
                        <a:pt x="6" y="0"/>
                      </a:lnTo>
                      <a:lnTo>
                        <a:pt x="4" y="0"/>
                      </a:lnTo>
                      <a:lnTo>
                        <a:pt x="3" y="3"/>
                      </a:lnTo>
                      <a:lnTo>
                        <a:pt x="0" y="5"/>
                      </a:lnTo>
                      <a:lnTo>
                        <a:pt x="1" y="7"/>
                      </a:lnTo>
                      <a:lnTo>
                        <a:pt x="3" y="6"/>
                      </a:lnTo>
                      <a:lnTo>
                        <a:pt x="4" y="5"/>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8" name="Freeform 1277"/>
                <p:cNvSpPr>
                  <a:spLocks/>
                </p:cNvSpPr>
                <p:nvPr/>
              </p:nvSpPr>
              <p:spPr bwMode="auto">
                <a:xfrm>
                  <a:off x="4958570" y="2334920"/>
                  <a:ext cx="17758" cy="25158"/>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0 w 13"/>
                    <a:gd name="T13" fmla="*/ 2147483647 h 17"/>
                    <a:gd name="T14" fmla="*/ 2147483647 w 13"/>
                    <a:gd name="T15" fmla="*/ 2147483647 h 17"/>
                    <a:gd name="T16" fmla="*/ 2147483647 w 13"/>
                    <a:gd name="T17" fmla="*/ 2147483647 h 17"/>
                    <a:gd name="T18" fmla="*/ 2147483647 w 13"/>
                    <a:gd name="T19" fmla="*/ 0 h 17"/>
                    <a:gd name="T20" fmla="*/ 2147483647 w 13"/>
                    <a:gd name="T21" fmla="*/ 0 h 17"/>
                    <a:gd name="T22" fmla="*/ 2147483647 w 13"/>
                    <a:gd name="T23" fmla="*/ 2147483647 h 17"/>
                    <a:gd name="T24" fmla="*/ 2147483647 w 13"/>
                    <a:gd name="T25" fmla="*/ 2147483647 h 17"/>
                    <a:gd name="T26" fmla="*/ 2147483647 w 13"/>
                    <a:gd name="T27" fmla="*/ 2147483647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7"/>
                    <a:gd name="T44" fmla="*/ 13 w 13"/>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7">
                      <a:moveTo>
                        <a:pt x="13" y="7"/>
                      </a:moveTo>
                      <a:lnTo>
                        <a:pt x="10" y="12"/>
                      </a:lnTo>
                      <a:lnTo>
                        <a:pt x="8" y="16"/>
                      </a:lnTo>
                      <a:lnTo>
                        <a:pt x="4" y="17"/>
                      </a:lnTo>
                      <a:lnTo>
                        <a:pt x="3" y="17"/>
                      </a:lnTo>
                      <a:lnTo>
                        <a:pt x="2" y="16"/>
                      </a:lnTo>
                      <a:lnTo>
                        <a:pt x="0" y="11"/>
                      </a:lnTo>
                      <a:lnTo>
                        <a:pt x="2" y="7"/>
                      </a:lnTo>
                      <a:lnTo>
                        <a:pt x="4" y="3"/>
                      </a:lnTo>
                      <a:lnTo>
                        <a:pt x="9" y="0"/>
                      </a:lnTo>
                      <a:lnTo>
                        <a:pt x="12" y="0"/>
                      </a:lnTo>
                      <a:lnTo>
                        <a:pt x="13" y="3"/>
                      </a:lnTo>
                      <a:lnTo>
                        <a:pt x="13" y="5"/>
                      </a:lnTo>
                      <a:lnTo>
                        <a:pt x="13"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39" name="Freeform 1278"/>
                <p:cNvSpPr>
                  <a:spLocks/>
                </p:cNvSpPr>
                <p:nvPr/>
              </p:nvSpPr>
              <p:spPr bwMode="auto">
                <a:xfrm>
                  <a:off x="4730673" y="2696008"/>
                  <a:ext cx="8879" cy="17758"/>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0 w 6"/>
                    <a:gd name="T9" fmla="*/ 2147483647 h 12"/>
                    <a:gd name="T10" fmla="*/ 0 w 6"/>
                    <a:gd name="T11" fmla="*/ 2147483647 h 12"/>
                    <a:gd name="T12" fmla="*/ 2147483647 w 6"/>
                    <a:gd name="T13" fmla="*/ 2147483647 h 12"/>
                    <a:gd name="T14" fmla="*/ 2147483647 w 6"/>
                    <a:gd name="T15" fmla="*/ 2147483647 h 12"/>
                    <a:gd name="T16" fmla="*/ 2147483647 w 6"/>
                    <a:gd name="T17" fmla="*/ 0 h 12"/>
                    <a:gd name="T18" fmla="*/ 2147483647 w 6"/>
                    <a:gd name="T19" fmla="*/ 0 h 12"/>
                    <a:gd name="T20" fmla="*/ 2147483647 w 6"/>
                    <a:gd name="T21" fmla="*/ 2147483647 h 12"/>
                    <a:gd name="T22" fmla="*/ 2147483647 w 6"/>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2"/>
                    <a:gd name="T38" fmla="*/ 6 w 6"/>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2">
                      <a:moveTo>
                        <a:pt x="6" y="10"/>
                      </a:moveTo>
                      <a:lnTo>
                        <a:pt x="5" y="12"/>
                      </a:lnTo>
                      <a:lnTo>
                        <a:pt x="4" y="12"/>
                      </a:lnTo>
                      <a:lnTo>
                        <a:pt x="2" y="12"/>
                      </a:lnTo>
                      <a:lnTo>
                        <a:pt x="0" y="10"/>
                      </a:lnTo>
                      <a:lnTo>
                        <a:pt x="0" y="6"/>
                      </a:lnTo>
                      <a:lnTo>
                        <a:pt x="1" y="4"/>
                      </a:lnTo>
                      <a:lnTo>
                        <a:pt x="2" y="2"/>
                      </a:lnTo>
                      <a:lnTo>
                        <a:pt x="4" y="0"/>
                      </a:lnTo>
                      <a:lnTo>
                        <a:pt x="5" y="0"/>
                      </a:lnTo>
                      <a:lnTo>
                        <a:pt x="6" y="3"/>
                      </a:lnTo>
                      <a:lnTo>
                        <a:pt x="6"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0" name="Freeform 1279"/>
                <p:cNvSpPr>
                  <a:spLocks/>
                </p:cNvSpPr>
                <p:nvPr/>
              </p:nvSpPr>
              <p:spPr bwMode="auto">
                <a:xfrm>
                  <a:off x="4957091" y="2333443"/>
                  <a:ext cx="17758" cy="25157"/>
                </a:xfrm>
                <a:custGeom>
                  <a:avLst/>
                  <a:gdLst>
                    <a:gd name="T0" fmla="*/ 2147483647 w 13"/>
                    <a:gd name="T1" fmla="*/ 2147483647 h 17"/>
                    <a:gd name="T2" fmla="*/ 2147483647 w 13"/>
                    <a:gd name="T3" fmla="*/ 2147483647 h 17"/>
                    <a:gd name="T4" fmla="*/ 2147483647 w 13"/>
                    <a:gd name="T5" fmla="*/ 2147483647 h 17"/>
                    <a:gd name="T6" fmla="*/ 2147483647 w 13"/>
                    <a:gd name="T7" fmla="*/ 2147483647 h 17"/>
                    <a:gd name="T8" fmla="*/ 2147483647 w 13"/>
                    <a:gd name="T9" fmla="*/ 2147483647 h 17"/>
                    <a:gd name="T10" fmla="*/ 2147483647 w 13"/>
                    <a:gd name="T11" fmla="*/ 2147483647 h 17"/>
                    <a:gd name="T12" fmla="*/ 2147483647 w 13"/>
                    <a:gd name="T13" fmla="*/ 2147483647 h 17"/>
                    <a:gd name="T14" fmla="*/ 2147483647 w 13"/>
                    <a:gd name="T15" fmla="*/ 2147483647 h 17"/>
                    <a:gd name="T16" fmla="*/ 0 w 13"/>
                    <a:gd name="T17" fmla="*/ 2147483647 h 17"/>
                    <a:gd name="T18" fmla="*/ 2147483647 w 13"/>
                    <a:gd name="T19" fmla="*/ 2147483647 h 17"/>
                    <a:gd name="T20" fmla="*/ 2147483647 w 13"/>
                    <a:gd name="T21" fmla="*/ 2147483647 h 17"/>
                    <a:gd name="T22" fmla="*/ 2147483647 w 13"/>
                    <a:gd name="T23" fmla="*/ 0 h 17"/>
                    <a:gd name="T24" fmla="*/ 2147483647 w 13"/>
                    <a:gd name="T25" fmla="*/ 0 h 17"/>
                    <a:gd name="T26" fmla="*/ 2147483647 w 13"/>
                    <a:gd name="T27" fmla="*/ 0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7"/>
                    <a:gd name="T56" fmla="*/ 13 w 13"/>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7">
                      <a:moveTo>
                        <a:pt x="13" y="7"/>
                      </a:moveTo>
                      <a:lnTo>
                        <a:pt x="13" y="7"/>
                      </a:lnTo>
                      <a:lnTo>
                        <a:pt x="10" y="12"/>
                      </a:lnTo>
                      <a:lnTo>
                        <a:pt x="8" y="15"/>
                      </a:lnTo>
                      <a:lnTo>
                        <a:pt x="4" y="17"/>
                      </a:lnTo>
                      <a:lnTo>
                        <a:pt x="3" y="17"/>
                      </a:lnTo>
                      <a:lnTo>
                        <a:pt x="1" y="15"/>
                      </a:lnTo>
                      <a:lnTo>
                        <a:pt x="0" y="11"/>
                      </a:lnTo>
                      <a:lnTo>
                        <a:pt x="1" y="7"/>
                      </a:lnTo>
                      <a:lnTo>
                        <a:pt x="4" y="2"/>
                      </a:lnTo>
                      <a:lnTo>
                        <a:pt x="9" y="0"/>
                      </a:lnTo>
                      <a:lnTo>
                        <a:pt x="11" y="0"/>
                      </a:lnTo>
                      <a:lnTo>
                        <a:pt x="13" y="2"/>
                      </a:lnTo>
                      <a:lnTo>
                        <a:pt x="13" y="5"/>
                      </a:lnTo>
                      <a:lnTo>
                        <a:pt x="13"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1" name="Freeform 1280"/>
                <p:cNvSpPr>
                  <a:spLocks/>
                </p:cNvSpPr>
                <p:nvPr/>
              </p:nvSpPr>
              <p:spPr bwMode="auto">
                <a:xfrm>
                  <a:off x="4730670" y="2694531"/>
                  <a:ext cx="7400" cy="17758"/>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2147483647 w 6"/>
                    <a:gd name="T11" fmla="*/ 2147483647 h 12"/>
                    <a:gd name="T12" fmla="*/ 0 w 6"/>
                    <a:gd name="T13" fmla="*/ 2147483647 h 12"/>
                    <a:gd name="T14" fmla="*/ 0 w 6"/>
                    <a:gd name="T15" fmla="*/ 2147483647 h 12"/>
                    <a:gd name="T16" fmla="*/ 2147483647 w 6"/>
                    <a:gd name="T17" fmla="*/ 2147483647 h 12"/>
                    <a:gd name="T18" fmla="*/ 2147483647 w 6"/>
                    <a:gd name="T19" fmla="*/ 2147483647 h 12"/>
                    <a:gd name="T20" fmla="*/ 2147483647 w 6"/>
                    <a:gd name="T21" fmla="*/ 2147483647 h 12"/>
                    <a:gd name="T22" fmla="*/ 2147483647 w 6"/>
                    <a:gd name="T23" fmla="*/ 0 h 12"/>
                    <a:gd name="T24" fmla="*/ 2147483647 w 6"/>
                    <a:gd name="T25" fmla="*/ 0 h 12"/>
                    <a:gd name="T26" fmla="*/ 2147483647 w 6"/>
                    <a:gd name="T27" fmla="*/ 2147483647 h 12"/>
                    <a:gd name="T28" fmla="*/ 2147483647 w 6"/>
                    <a:gd name="T29" fmla="*/ 2147483647 h 12"/>
                    <a:gd name="T30" fmla="*/ 2147483647 w 6"/>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2"/>
                    <a:gd name="T50" fmla="*/ 6 w 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2">
                      <a:moveTo>
                        <a:pt x="6" y="10"/>
                      </a:moveTo>
                      <a:lnTo>
                        <a:pt x="6" y="10"/>
                      </a:lnTo>
                      <a:lnTo>
                        <a:pt x="5" y="12"/>
                      </a:lnTo>
                      <a:lnTo>
                        <a:pt x="3" y="12"/>
                      </a:lnTo>
                      <a:lnTo>
                        <a:pt x="2" y="12"/>
                      </a:lnTo>
                      <a:lnTo>
                        <a:pt x="0" y="10"/>
                      </a:lnTo>
                      <a:lnTo>
                        <a:pt x="0" y="6"/>
                      </a:lnTo>
                      <a:lnTo>
                        <a:pt x="1" y="4"/>
                      </a:lnTo>
                      <a:lnTo>
                        <a:pt x="2" y="1"/>
                      </a:lnTo>
                      <a:lnTo>
                        <a:pt x="3" y="0"/>
                      </a:lnTo>
                      <a:lnTo>
                        <a:pt x="5" y="0"/>
                      </a:lnTo>
                      <a:lnTo>
                        <a:pt x="6" y="3"/>
                      </a:lnTo>
                      <a:lnTo>
                        <a:pt x="6"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2" name="Freeform 1281"/>
                <p:cNvSpPr>
                  <a:spLocks/>
                </p:cNvSpPr>
                <p:nvPr/>
              </p:nvSpPr>
              <p:spPr bwMode="auto">
                <a:xfrm>
                  <a:off x="4733631" y="2238730"/>
                  <a:ext cx="614147" cy="537193"/>
                </a:xfrm>
                <a:custGeom>
                  <a:avLst/>
                  <a:gdLst>
                    <a:gd name="T0" fmla="*/ 2147483647 w 449"/>
                    <a:gd name="T1" fmla="*/ 2147483647 h 363"/>
                    <a:gd name="T2" fmla="*/ 2147483647 w 449"/>
                    <a:gd name="T3" fmla="*/ 2147483647 h 363"/>
                    <a:gd name="T4" fmla="*/ 2147483647 w 449"/>
                    <a:gd name="T5" fmla="*/ 2147483647 h 363"/>
                    <a:gd name="T6" fmla="*/ 2147483647 w 449"/>
                    <a:gd name="T7" fmla="*/ 2147483647 h 363"/>
                    <a:gd name="T8" fmla="*/ 2147483647 w 449"/>
                    <a:gd name="T9" fmla="*/ 2147483647 h 363"/>
                    <a:gd name="T10" fmla="*/ 2147483647 w 449"/>
                    <a:gd name="T11" fmla="*/ 2147483647 h 363"/>
                    <a:gd name="T12" fmla="*/ 2147483647 w 449"/>
                    <a:gd name="T13" fmla="*/ 2147483647 h 363"/>
                    <a:gd name="T14" fmla="*/ 2147483647 w 449"/>
                    <a:gd name="T15" fmla="*/ 2147483647 h 363"/>
                    <a:gd name="T16" fmla="*/ 2147483647 w 449"/>
                    <a:gd name="T17" fmla="*/ 2147483647 h 363"/>
                    <a:gd name="T18" fmla="*/ 2147483647 w 449"/>
                    <a:gd name="T19" fmla="*/ 2147483647 h 363"/>
                    <a:gd name="T20" fmla="*/ 2147483647 w 449"/>
                    <a:gd name="T21" fmla="*/ 2147483647 h 363"/>
                    <a:gd name="T22" fmla="*/ 2147483647 w 449"/>
                    <a:gd name="T23" fmla="*/ 2147483647 h 363"/>
                    <a:gd name="T24" fmla="*/ 2147483647 w 449"/>
                    <a:gd name="T25" fmla="*/ 2147483647 h 363"/>
                    <a:gd name="T26" fmla="*/ 2147483647 w 449"/>
                    <a:gd name="T27" fmla="*/ 2147483647 h 363"/>
                    <a:gd name="T28" fmla="*/ 2147483647 w 449"/>
                    <a:gd name="T29" fmla="*/ 2147483647 h 363"/>
                    <a:gd name="T30" fmla="*/ 2147483647 w 449"/>
                    <a:gd name="T31" fmla="*/ 2147483647 h 363"/>
                    <a:gd name="T32" fmla="*/ 2147483647 w 449"/>
                    <a:gd name="T33" fmla="*/ 2147483647 h 363"/>
                    <a:gd name="T34" fmla="*/ 2147483647 w 449"/>
                    <a:gd name="T35" fmla="*/ 2147483647 h 363"/>
                    <a:gd name="T36" fmla="*/ 2147483647 w 449"/>
                    <a:gd name="T37" fmla="*/ 2147483647 h 363"/>
                    <a:gd name="T38" fmla="*/ 2147483647 w 449"/>
                    <a:gd name="T39" fmla="*/ 2147483647 h 363"/>
                    <a:gd name="T40" fmla="*/ 0 w 449"/>
                    <a:gd name="T41" fmla="*/ 2147483647 h 363"/>
                    <a:gd name="T42" fmla="*/ 2147483647 w 449"/>
                    <a:gd name="T43" fmla="*/ 2147483647 h 363"/>
                    <a:gd name="T44" fmla="*/ 2147483647 w 449"/>
                    <a:gd name="T45" fmla="*/ 2147483647 h 363"/>
                    <a:gd name="T46" fmla="*/ 2147483647 w 449"/>
                    <a:gd name="T47" fmla="*/ 2147483647 h 363"/>
                    <a:gd name="T48" fmla="*/ 2147483647 w 449"/>
                    <a:gd name="T49" fmla="*/ 2147483647 h 363"/>
                    <a:gd name="T50" fmla="*/ 2147483647 w 449"/>
                    <a:gd name="T51" fmla="*/ 2147483647 h 363"/>
                    <a:gd name="T52" fmla="*/ 2147483647 w 449"/>
                    <a:gd name="T53" fmla="*/ 2147483647 h 363"/>
                    <a:gd name="T54" fmla="*/ 2147483647 w 449"/>
                    <a:gd name="T55" fmla="*/ 2147483647 h 363"/>
                    <a:gd name="T56" fmla="*/ 2147483647 w 449"/>
                    <a:gd name="T57" fmla="*/ 2147483647 h 363"/>
                    <a:gd name="T58" fmla="*/ 2147483647 w 449"/>
                    <a:gd name="T59" fmla="*/ 2147483647 h 363"/>
                    <a:gd name="T60" fmla="*/ 2147483647 w 449"/>
                    <a:gd name="T61" fmla="*/ 2147483647 h 363"/>
                    <a:gd name="T62" fmla="*/ 2147483647 w 449"/>
                    <a:gd name="T63" fmla="*/ 2147483647 h 363"/>
                    <a:gd name="T64" fmla="*/ 2147483647 w 449"/>
                    <a:gd name="T65" fmla="*/ 2147483647 h 363"/>
                    <a:gd name="T66" fmla="*/ 2147483647 w 449"/>
                    <a:gd name="T67" fmla="*/ 2147483647 h 363"/>
                    <a:gd name="T68" fmla="*/ 2147483647 w 449"/>
                    <a:gd name="T69" fmla="*/ 2147483647 h 363"/>
                    <a:gd name="T70" fmla="*/ 2147483647 w 449"/>
                    <a:gd name="T71" fmla="*/ 2147483647 h 363"/>
                    <a:gd name="T72" fmla="*/ 2147483647 w 449"/>
                    <a:gd name="T73" fmla="*/ 2147483647 h 363"/>
                    <a:gd name="T74" fmla="*/ 2147483647 w 449"/>
                    <a:gd name="T75" fmla="*/ 2147483647 h 363"/>
                    <a:gd name="T76" fmla="*/ 2147483647 w 449"/>
                    <a:gd name="T77" fmla="*/ 2147483647 h 363"/>
                    <a:gd name="T78" fmla="*/ 2147483647 w 449"/>
                    <a:gd name="T79" fmla="*/ 2147483647 h 363"/>
                    <a:gd name="T80" fmla="*/ 2147483647 w 449"/>
                    <a:gd name="T81" fmla="*/ 2147483647 h 363"/>
                    <a:gd name="T82" fmla="*/ 2147483647 w 449"/>
                    <a:gd name="T83" fmla="*/ 2147483647 h 363"/>
                    <a:gd name="T84" fmla="*/ 2147483647 w 449"/>
                    <a:gd name="T85" fmla="*/ 2147483647 h 363"/>
                    <a:gd name="T86" fmla="*/ 2147483647 w 449"/>
                    <a:gd name="T87" fmla="*/ 2147483647 h 363"/>
                    <a:gd name="T88" fmla="*/ 2147483647 w 449"/>
                    <a:gd name="T89" fmla="*/ 2147483647 h 363"/>
                    <a:gd name="T90" fmla="*/ 2147483647 w 449"/>
                    <a:gd name="T91" fmla="*/ 2147483647 h 363"/>
                    <a:gd name="T92" fmla="*/ 2147483647 w 449"/>
                    <a:gd name="T93" fmla="*/ 2147483647 h 363"/>
                    <a:gd name="T94" fmla="*/ 2147483647 w 449"/>
                    <a:gd name="T95" fmla="*/ 2147483647 h 363"/>
                    <a:gd name="T96" fmla="*/ 2147483647 w 449"/>
                    <a:gd name="T97" fmla="*/ 2147483647 h 363"/>
                    <a:gd name="T98" fmla="*/ 2147483647 w 449"/>
                    <a:gd name="T99" fmla="*/ 2147483647 h 363"/>
                    <a:gd name="T100" fmla="*/ 2147483647 w 449"/>
                    <a:gd name="T101" fmla="*/ 2147483647 h 363"/>
                    <a:gd name="T102" fmla="*/ 2147483647 w 449"/>
                    <a:gd name="T103" fmla="*/ 2147483647 h 363"/>
                    <a:gd name="T104" fmla="*/ 2147483647 w 449"/>
                    <a:gd name="T105" fmla="*/ 2147483647 h 363"/>
                    <a:gd name="T106" fmla="*/ 2147483647 w 449"/>
                    <a:gd name="T107" fmla="*/ 2147483647 h 363"/>
                    <a:gd name="T108" fmla="*/ 2147483647 w 449"/>
                    <a:gd name="T109" fmla="*/ 2147483647 h 363"/>
                    <a:gd name="T110" fmla="*/ 2147483647 w 449"/>
                    <a:gd name="T111" fmla="*/ 2147483647 h 363"/>
                    <a:gd name="T112" fmla="*/ 2147483647 w 449"/>
                    <a:gd name="T113" fmla="*/ 2147483647 h 3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9"/>
                    <a:gd name="T172" fmla="*/ 0 h 363"/>
                    <a:gd name="T173" fmla="*/ 449 w 449"/>
                    <a:gd name="T174" fmla="*/ 363 h 3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9" h="363">
                      <a:moveTo>
                        <a:pt x="272" y="64"/>
                      </a:moveTo>
                      <a:lnTo>
                        <a:pt x="266" y="71"/>
                      </a:lnTo>
                      <a:lnTo>
                        <a:pt x="261" y="78"/>
                      </a:lnTo>
                      <a:lnTo>
                        <a:pt x="257" y="81"/>
                      </a:lnTo>
                      <a:lnTo>
                        <a:pt x="254" y="82"/>
                      </a:lnTo>
                      <a:lnTo>
                        <a:pt x="251" y="82"/>
                      </a:lnTo>
                      <a:lnTo>
                        <a:pt x="247" y="81"/>
                      </a:lnTo>
                      <a:lnTo>
                        <a:pt x="242" y="79"/>
                      </a:lnTo>
                      <a:lnTo>
                        <a:pt x="237" y="79"/>
                      </a:lnTo>
                      <a:lnTo>
                        <a:pt x="233" y="79"/>
                      </a:lnTo>
                      <a:lnTo>
                        <a:pt x="229" y="82"/>
                      </a:lnTo>
                      <a:lnTo>
                        <a:pt x="225" y="86"/>
                      </a:lnTo>
                      <a:lnTo>
                        <a:pt x="221" y="90"/>
                      </a:lnTo>
                      <a:lnTo>
                        <a:pt x="212" y="95"/>
                      </a:lnTo>
                      <a:lnTo>
                        <a:pt x="202" y="100"/>
                      </a:lnTo>
                      <a:lnTo>
                        <a:pt x="192" y="104"/>
                      </a:lnTo>
                      <a:lnTo>
                        <a:pt x="190" y="107"/>
                      </a:lnTo>
                      <a:lnTo>
                        <a:pt x="187" y="109"/>
                      </a:lnTo>
                      <a:lnTo>
                        <a:pt x="186" y="115"/>
                      </a:lnTo>
                      <a:lnTo>
                        <a:pt x="183" y="120"/>
                      </a:lnTo>
                      <a:lnTo>
                        <a:pt x="179" y="124"/>
                      </a:lnTo>
                      <a:lnTo>
                        <a:pt x="174" y="128"/>
                      </a:lnTo>
                      <a:lnTo>
                        <a:pt x="173" y="129"/>
                      </a:lnTo>
                      <a:lnTo>
                        <a:pt x="172" y="132"/>
                      </a:lnTo>
                      <a:lnTo>
                        <a:pt x="172" y="136"/>
                      </a:lnTo>
                      <a:lnTo>
                        <a:pt x="169" y="140"/>
                      </a:lnTo>
                      <a:lnTo>
                        <a:pt x="166" y="142"/>
                      </a:lnTo>
                      <a:lnTo>
                        <a:pt x="160" y="143"/>
                      </a:lnTo>
                      <a:lnTo>
                        <a:pt x="157" y="147"/>
                      </a:lnTo>
                      <a:lnTo>
                        <a:pt x="155" y="151"/>
                      </a:lnTo>
                      <a:lnTo>
                        <a:pt x="154" y="166"/>
                      </a:lnTo>
                      <a:lnTo>
                        <a:pt x="152" y="173"/>
                      </a:lnTo>
                      <a:lnTo>
                        <a:pt x="148" y="180"/>
                      </a:lnTo>
                      <a:lnTo>
                        <a:pt x="148" y="183"/>
                      </a:lnTo>
                      <a:lnTo>
                        <a:pt x="149" y="185"/>
                      </a:lnTo>
                      <a:lnTo>
                        <a:pt x="153" y="192"/>
                      </a:lnTo>
                      <a:lnTo>
                        <a:pt x="154" y="196"/>
                      </a:lnTo>
                      <a:lnTo>
                        <a:pt x="152" y="198"/>
                      </a:lnTo>
                      <a:lnTo>
                        <a:pt x="149" y="199"/>
                      </a:lnTo>
                      <a:lnTo>
                        <a:pt x="145" y="199"/>
                      </a:lnTo>
                      <a:lnTo>
                        <a:pt x="139" y="197"/>
                      </a:lnTo>
                      <a:lnTo>
                        <a:pt x="134" y="197"/>
                      </a:lnTo>
                      <a:lnTo>
                        <a:pt x="129" y="198"/>
                      </a:lnTo>
                      <a:lnTo>
                        <a:pt x="125" y="200"/>
                      </a:lnTo>
                      <a:lnTo>
                        <a:pt x="122" y="204"/>
                      </a:lnTo>
                      <a:lnTo>
                        <a:pt x="120" y="209"/>
                      </a:lnTo>
                      <a:lnTo>
                        <a:pt x="117" y="219"/>
                      </a:lnTo>
                      <a:lnTo>
                        <a:pt x="116" y="229"/>
                      </a:lnTo>
                      <a:lnTo>
                        <a:pt x="116" y="236"/>
                      </a:lnTo>
                      <a:lnTo>
                        <a:pt x="117" y="243"/>
                      </a:lnTo>
                      <a:lnTo>
                        <a:pt x="117" y="250"/>
                      </a:lnTo>
                      <a:lnTo>
                        <a:pt x="117" y="256"/>
                      </a:lnTo>
                      <a:lnTo>
                        <a:pt x="120" y="262"/>
                      </a:lnTo>
                      <a:lnTo>
                        <a:pt x="121" y="263"/>
                      </a:lnTo>
                      <a:lnTo>
                        <a:pt x="124" y="264"/>
                      </a:lnTo>
                      <a:lnTo>
                        <a:pt x="126" y="267"/>
                      </a:lnTo>
                      <a:lnTo>
                        <a:pt x="127" y="268"/>
                      </a:lnTo>
                      <a:lnTo>
                        <a:pt x="129" y="274"/>
                      </a:lnTo>
                      <a:lnTo>
                        <a:pt x="130" y="276"/>
                      </a:lnTo>
                      <a:lnTo>
                        <a:pt x="129" y="279"/>
                      </a:lnTo>
                      <a:lnTo>
                        <a:pt x="125" y="280"/>
                      </a:lnTo>
                      <a:lnTo>
                        <a:pt x="122" y="281"/>
                      </a:lnTo>
                      <a:lnTo>
                        <a:pt x="121" y="282"/>
                      </a:lnTo>
                      <a:lnTo>
                        <a:pt x="120" y="298"/>
                      </a:lnTo>
                      <a:lnTo>
                        <a:pt x="117" y="309"/>
                      </a:lnTo>
                      <a:lnTo>
                        <a:pt x="113" y="320"/>
                      </a:lnTo>
                      <a:lnTo>
                        <a:pt x="108" y="332"/>
                      </a:lnTo>
                      <a:lnTo>
                        <a:pt x="103" y="330"/>
                      </a:lnTo>
                      <a:lnTo>
                        <a:pt x="101" y="327"/>
                      </a:lnTo>
                      <a:lnTo>
                        <a:pt x="98" y="326"/>
                      </a:lnTo>
                      <a:lnTo>
                        <a:pt x="97" y="321"/>
                      </a:lnTo>
                      <a:lnTo>
                        <a:pt x="96" y="315"/>
                      </a:lnTo>
                      <a:lnTo>
                        <a:pt x="97" y="311"/>
                      </a:lnTo>
                      <a:lnTo>
                        <a:pt x="99" y="306"/>
                      </a:lnTo>
                      <a:lnTo>
                        <a:pt x="99" y="305"/>
                      </a:lnTo>
                      <a:lnTo>
                        <a:pt x="98" y="303"/>
                      </a:lnTo>
                      <a:lnTo>
                        <a:pt x="97" y="302"/>
                      </a:lnTo>
                      <a:lnTo>
                        <a:pt x="94" y="303"/>
                      </a:lnTo>
                      <a:lnTo>
                        <a:pt x="92" y="305"/>
                      </a:lnTo>
                      <a:lnTo>
                        <a:pt x="91" y="308"/>
                      </a:lnTo>
                      <a:lnTo>
                        <a:pt x="91" y="315"/>
                      </a:lnTo>
                      <a:lnTo>
                        <a:pt x="92" y="326"/>
                      </a:lnTo>
                      <a:lnTo>
                        <a:pt x="92" y="331"/>
                      </a:lnTo>
                      <a:lnTo>
                        <a:pt x="91" y="333"/>
                      </a:lnTo>
                      <a:lnTo>
                        <a:pt x="88" y="334"/>
                      </a:lnTo>
                      <a:lnTo>
                        <a:pt x="80" y="339"/>
                      </a:lnTo>
                      <a:lnTo>
                        <a:pt x="74" y="345"/>
                      </a:lnTo>
                      <a:lnTo>
                        <a:pt x="61" y="357"/>
                      </a:lnTo>
                      <a:lnTo>
                        <a:pt x="58" y="360"/>
                      </a:lnTo>
                      <a:lnTo>
                        <a:pt x="52" y="363"/>
                      </a:lnTo>
                      <a:lnTo>
                        <a:pt x="49" y="363"/>
                      </a:lnTo>
                      <a:lnTo>
                        <a:pt x="44" y="363"/>
                      </a:lnTo>
                      <a:lnTo>
                        <a:pt x="32" y="360"/>
                      </a:lnTo>
                      <a:lnTo>
                        <a:pt x="22" y="357"/>
                      </a:lnTo>
                      <a:lnTo>
                        <a:pt x="17" y="357"/>
                      </a:lnTo>
                      <a:lnTo>
                        <a:pt x="14" y="357"/>
                      </a:lnTo>
                      <a:lnTo>
                        <a:pt x="12" y="356"/>
                      </a:lnTo>
                      <a:lnTo>
                        <a:pt x="11" y="351"/>
                      </a:lnTo>
                      <a:lnTo>
                        <a:pt x="9" y="346"/>
                      </a:lnTo>
                      <a:lnTo>
                        <a:pt x="8" y="343"/>
                      </a:lnTo>
                      <a:lnTo>
                        <a:pt x="6" y="340"/>
                      </a:lnTo>
                      <a:lnTo>
                        <a:pt x="3" y="339"/>
                      </a:lnTo>
                      <a:lnTo>
                        <a:pt x="3" y="338"/>
                      </a:lnTo>
                      <a:lnTo>
                        <a:pt x="14" y="340"/>
                      </a:lnTo>
                      <a:lnTo>
                        <a:pt x="18" y="339"/>
                      </a:lnTo>
                      <a:lnTo>
                        <a:pt x="21" y="337"/>
                      </a:lnTo>
                      <a:lnTo>
                        <a:pt x="21" y="333"/>
                      </a:lnTo>
                      <a:lnTo>
                        <a:pt x="21" y="331"/>
                      </a:lnTo>
                      <a:lnTo>
                        <a:pt x="19" y="330"/>
                      </a:lnTo>
                      <a:lnTo>
                        <a:pt x="14" y="326"/>
                      </a:lnTo>
                      <a:lnTo>
                        <a:pt x="13" y="324"/>
                      </a:lnTo>
                      <a:lnTo>
                        <a:pt x="13" y="320"/>
                      </a:lnTo>
                      <a:lnTo>
                        <a:pt x="13" y="319"/>
                      </a:lnTo>
                      <a:lnTo>
                        <a:pt x="14" y="318"/>
                      </a:lnTo>
                      <a:lnTo>
                        <a:pt x="18" y="315"/>
                      </a:lnTo>
                      <a:lnTo>
                        <a:pt x="18" y="314"/>
                      </a:lnTo>
                      <a:lnTo>
                        <a:pt x="17" y="313"/>
                      </a:lnTo>
                      <a:lnTo>
                        <a:pt x="11" y="312"/>
                      </a:lnTo>
                      <a:lnTo>
                        <a:pt x="9" y="311"/>
                      </a:lnTo>
                      <a:lnTo>
                        <a:pt x="9" y="308"/>
                      </a:lnTo>
                      <a:lnTo>
                        <a:pt x="11" y="303"/>
                      </a:lnTo>
                      <a:lnTo>
                        <a:pt x="11" y="299"/>
                      </a:lnTo>
                      <a:lnTo>
                        <a:pt x="9" y="294"/>
                      </a:lnTo>
                      <a:lnTo>
                        <a:pt x="8" y="289"/>
                      </a:lnTo>
                      <a:lnTo>
                        <a:pt x="7" y="286"/>
                      </a:lnTo>
                      <a:lnTo>
                        <a:pt x="7" y="284"/>
                      </a:lnTo>
                      <a:lnTo>
                        <a:pt x="8" y="282"/>
                      </a:lnTo>
                      <a:lnTo>
                        <a:pt x="11" y="282"/>
                      </a:lnTo>
                      <a:lnTo>
                        <a:pt x="12" y="282"/>
                      </a:lnTo>
                      <a:lnTo>
                        <a:pt x="14" y="283"/>
                      </a:lnTo>
                      <a:lnTo>
                        <a:pt x="17" y="286"/>
                      </a:lnTo>
                      <a:lnTo>
                        <a:pt x="18" y="286"/>
                      </a:lnTo>
                      <a:lnTo>
                        <a:pt x="19" y="286"/>
                      </a:lnTo>
                      <a:lnTo>
                        <a:pt x="23" y="284"/>
                      </a:lnTo>
                      <a:lnTo>
                        <a:pt x="28" y="284"/>
                      </a:lnTo>
                      <a:lnTo>
                        <a:pt x="31" y="284"/>
                      </a:lnTo>
                      <a:lnTo>
                        <a:pt x="32" y="283"/>
                      </a:lnTo>
                      <a:lnTo>
                        <a:pt x="32" y="281"/>
                      </a:lnTo>
                      <a:lnTo>
                        <a:pt x="31" y="280"/>
                      </a:lnTo>
                      <a:lnTo>
                        <a:pt x="25" y="279"/>
                      </a:lnTo>
                      <a:lnTo>
                        <a:pt x="16" y="279"/>
                      </a:lnTo>
                      <a:lnTo>
                        <a:pt x="9" y="279"/>
                      </a:lnTo>
                      <a:lnTo>
                        <a:pt x="7" y="277"/>
                      </a:lnTo>
                      <a:lnTo>
                        <a:pt x="4" y="276"/>
                      </a:lnTo>
                      <a:lnTo>
                        <a:pt x="2" y="275"/>
                      </a:lnTo>
                      <a:lnTo>
                        <a:pt x="0" y="274"/>
                      </a:lnTo>
                      <a:lnTo>
                        <a:pt x="0" y="273"/>
                      </a:lnTo>
                      <a:lnTo>
                        <a:pt x="2" y="271"/>
                      </a:lnTo>
                      <a:lnTo>
                        <a:pt x="4" y="270"/>
                      </a:lnTo>
                      <a:lnTo>
                        <a:pt x="6" y="263"/>
                      </a:lnTo>
                      <a:lnTo>
                        <a:pt x="9" y="257"/>
                      </a:lnTo>
                      <a:lnTo>
                        <a:pt x="12" y="255"/>
                      </a:lnTo>
                      <a:lnTo>
                        <a:pt x="14" y="254"/>
                      </a:lnTo>
                      <a:lnTo>
                        <a:pt x="18" y="254"/>
                      </a:lnTo>
                      <a:lnTo>
                        <a:pt x="22" y="254"/>
                      </a:lnTo>
                      <a:lnTo>
                        <a:pt x="23" y="251"/>
                      </a:lnTo>
                      <a:lnTo>
                        <a:pt x="25" y="250"/>
                      </a:lnTo>
                      <a:lnTo>
                        <a:pt x="32" y="248"/>
                      </a:lnTo>
                      <a:lnTo>
                        <a:pt x="40" y="244"/>
                      </a:lnTo>
                      <a:lnTo>
                        <a:pt x="42" y="242"/>
                      </a:lnTo>
                      <a:lnTo>
                        <a:pt x="44" y="239"/>
                      </a:lnTo>
                      <a:lnTo>
                        <a:pt x="45" y="236"/>
                      </a:lnTo>
                      <a:lnTo>
                        <a:pt x="44" y="232"/>
                      </a:lnTo>
                      <a:lnTo>
                        <a:pt x="50" y="234"/>
                      </a:lnTo>
                      <a:lnTo>
                        <a:pt x="56" y="232"/>
                      </a:lnTo>
                      <a:lnTo>
                        <a:pt x="63" y="230"/>
                      </a:lnTo>
                      <a:lnTo>
                        <a:pt x="68" y="226"/>
                      </a:lnTo>
                      <a:lnTo>
                        <a:pt x="72" y="225"/>
                      </a:lnTo>
                      <a:lnTo>
                        <a:pt x="75" y="224"/>
                      </a:lnTo>
                      <a:lnTo>
                        <a:pt x="79" y="224"/>
                      </a:lnTo>
                      <a:lnTo>
                        <a:pt x="82" y="223"/>
                      </a:lnTo>
                      <a:lnTo>
                        <a:pt x="83" y="222"/>
                      </a:lnTo>
                      <a:lnTo>
                        <a:pt x="86" y="216"/>
                      </a:lnTo>
                      <a:lnTo>
                        <a:pt x="88" y="209"/>
                      </a:lnTo>
                      <a:lnTo>
                        <a:pt x="92" y="201"/>
                      </a:lnTo>
                      <a:lnTo>
                        <a:pt x="96" y="196"/>
                      </a:lnTo>
                      <a:lnTo>
                        <a:pt x="98" y="192"/>
                      </a:lnTo>
                      <a:lnTo>
                        <a:pt x="99" y="188"/>
                      </a:lnTo>
                      <a:lnTo>
                        <a:pt x="102" y="187"/>
                      </a:lnTo>
                      <a:lnTo>
                        <a:pt x="105" y="185"/>
                      </a:lnTo>
                      <a:lnTo>
                        <a:pt x="107" y="184"/>
                      </a:lnTo>
                      <a:lnTo>
                        <a:pt x="110" y="183"/>
                      </a:lnTo>
                      <a:lnTo>
                        <a:pt x="110" y="180"/>
                      </a:lnTo>
                      <a:lnTo>
                        <a:pt x="110" y="178"/>
                      </a:lnTo>
                      <a:lnTo>
                        <a:pt x="110" y="172"/>
                      </a:lnTo>
                      <a:lnTo>
                        <a:pt x="111" y="169"/>
                      </a:lnTo>
                      <a:lnTo>
                        <a:pt x="112" y="169"/>
                      </a:lnTo>
                      <a:lnTo>
                        <a:pt x="113" y="169"/>
                      </a:lnTo>
                      <a:lnTo>
                        <a:pt x="117" y="174"/>
                      </a:lnTo>
                      <a:lnTo>
                        <a:pt x="122" y="178"/>
                      </a:lnTo>
                      <a:lnTo>
                        <a:pt x="125" y="178"/>
                      </a:lnTo>
                      <a:lnTo>
                        <a:pt x="127" y="178"/>
                      </a:lnTo>
                      <a:lnTo>
                        <a:pt x="130" y="177"/>
                      </a:lnTo>
                      <a:lnTo>
                        <a:pt x="132" y="174"/>
                      </a:lnTo>
                      <a:lnTo>
                        <a:pt x="134" y="172"/>
                      </a:lnTo>
                      <a:lnTo>
                        <a:pt x="134" y="168"/>
                      </a:lnTo>
                      <a:lnTo>
                        <a:pt x="132" y="166"/>
                      </a:lnTo>
                      <a:lnTo>
                        <a:pt x="131" y="164"/>
                      </a:lnTo>
                      <a:lnTo>
                        <a:pt x="127" y="160"/>
                      </a:lnTo>
                      <a:lnTo>
                        <a:pt x="126" y="156"/>
                      </a:lnTo>
                      <a:lnTo>
                        <a:pt x="127" y="152"/>
                      </a:lnTo>
                      <a:lnTo>
                        <a:pt x="129" y="147"/>
                      </a:lnTo>
                      <a:lnTo>
                        <a:pt x="136" y="139"/>
                      </a:lnTo>
                      <a:lnTo>
                        <a:pt x="140" y="135"/>
                      </a:lnTo>
                      <a:lnTo>
                        <a:pt x="144" y="129"/>
                      </a:lnTo>
                      <a:lnTo>
                        <a:pt x="145" y="128"/>
                      </a:lnTo>
                      <a:lnTo>
                        <a:pt x="148" y="126"/>
                      </a:lnTo>
                      <a:lnTo>
                        <a:pt x="153" y="123"/>
                      </a:lnTo>
                      <a:lnTo>
                        <a:pt x="164" y="120"/>
                      </a:lnTo>
                      <a:lnTo>
                        <a:pt x="166" y="119"/>
                      </a:lnTo>
                      <a:lnTo>
                        <a:pt x="167" y="117"/>
                      </a:lnTo>
                      <a:lnTo>
                        <a:pt x="171" y="114"/>
                      </a:lnTo>
                      <a:lnTo>
                        <a:pt x="174" y="113"/>
                      </a:lnTo>
                      <a:lnTo>
                        <a:pt x="178" y="109"/>
                      </a:lnTo>
                      <a:lnTo>
                        <a:pt x="179" y="108"/>
                      </a:lnTo>
                      <a:lnTo>
                        <a:pt x="179" y="105"/>
                      </a:lnTo>
                      <a:lnTo>
                        <a:pt x="179" y="103"/>
                      </a:lnTo>
                      <a:lnTo>
                        <a:pt x="178" y="102"/>
                      </a:lnTo>
                      <a:lnTo>
                        <a:pt x="174" y="100"/>
                      </a:lnTo>
                      <a:lnTo>
                        <a:pt x="174" y="98"/>
                      </a:lnTo>
                      <a:lnTo>
                        <a:pt x="176" y="97"/>
                      </a:lnTo>
                      <a:lnTo>
                        <a:pt x="177" y="95"/>
                      </a:lnTo>
                      <a:lnTo>
                        <a:pt x="185" y="92"/>
                      </a:lnTo>
                      <a:lnTo>
                        <a:pt x="187" y="91"/>
                      </a:lnTo>
                      <a:lnTo>
                        <a:pt x="192" y="91"/>
                      </a:lnTo>
                      <a:lnTo>
                        <a:pt x="197" y="90"/>
                      </a:lnTo>
                      <a:lnTo>
                        <a:pt x="201" y="88"/>
                      </a:lnTo>
                      <a:lnTo>
                        <a:pt x="204" y="83"/>
                      </a:lnTo>
                      <a:lnTo>
                        <a:pt x="205" y="76"/>
                      </a:lnTo>
                      <a:lnTo>
                        <a:pt x="205" y="75"/>
                      </a:lnTo>
                      <a:lnTo>
                        <a:pt x="209" y="73"/>
                      </a:lnTo>
                      <a:lnTo>
                        <a:pt x="216" y="73"/>
                      </a:lnTo>
                      <a:lnTo>
                        <a:pt x="219" y="72"/>
                      </a:lnTo>
                      <a:lnTo>
                        <a:pt x="219" y="70"/>
                      </a:lnTo>
                      <a:lnTo>
                        <a:pt x="219" y="66"/>
                      </a:lnTo>
                      <a:lnTo>
                        <a:pt x="220" y="64"/>
                      </a:lnTo>
                      <a:lnTo>
                        <a:pt x="224" y="62"/>
                      </a:lnTo>
                      <a:lnTo>
                        <a:pt x="228" y="56"/>
                      </a:lnTo>
                      <a:lnTo>
                        <a:pt x="234" y="52"/>
                      </a:lnTo>
                      <a:lnTo>
                        <a:pt x="238" y="51"/>
                      </a:lnTo>
                      <a:lnTo>
                        <a:pt x="240" y="51"/>
                      </a:lnTo>
                      <a:lnTo>
                        <a:pt x="248" y="52"/>
                      </a:lnTo>
                      <a:lnTo>
                        <a:pt x="249" y="52"/>
                      </a:lnTo>
                      <a:lnTo>
                        <a:pt x="251" y="51"/>
                      </a:lnTo>
                      <a:lnTo>
                        <a:pt x="251" y="50"/>
                      </a:lnTo>
                      <a:lnTo>
                        <a:pt x="251" y="49"/>
                      </a:lnTo>
                      <a:lnTo>
                        <a:pt x="247" y="46"/>
                      </a:lnTo>
                      <a:lnTo>
                        <a:pt x="246" y="45"/>
                      </a:lnTo>
                      <a:lnTo>
                        <a:pt x="246" y="44"/>
                      </a:lnTo>
                      <a:lnTo>
                        <a:pt x="246" y="43"/>
                      </a:lnTo>
                      <a:lnTo>
                        <a:pt x="247" y="41"/>
                      </a:lnTo>
                      <a:lnTo>
                        <a:pt x="252" y="41"/>
                      </a:lnTo>
                      <a:lnTo>
                        <a:pt x="256" y="39"/>
                      </a:lnTo>
                      <a:lnTo>
                        <a:pt x="259" y="37"/>
                      </a:lnTo>
                      <a:lnTo>
                        <a:pt x="263" y="34"/>
                      </a:lnTo>
                      <a:lnTo>
                        <a:pt x="267" y="33"/>
                      </a:lnTo>
                      <a:lnTo>
                        <a:pt x="267" y="36"/>
                      </a:lnTo>
                      <a:lnTo>
                        <a:pt x="266" y="39"/>
                      </a:lnTo>
                      <a:lnTo>
                        <a:pt x="266" y="41"/>
                      </a:lnTo>
                      <a:lnTo>
                        <a:pt x="266" y="43"/>
                      </a:lnTo>
                      <a:lnTo>
                        <a:pt x="267" y="43"/>
                      </a:lnTo>
                      <a:lnTo>
                        <a:pt x="277" y="39"/>
                      </a:lnTo>
                      <a:lnTo>
                        <a:pt x="287" y="36"/>
                      </a:lnTo>
                      <a:lnTo>
                        <a:pt x="289" y="36"/>
                      </a:lnTo>
                      <a:lnTo>
                        <a:pt x="289" y="34"/>
                      </a:lnTo>
                      <a:lnTo>
                        <a:pt x="287" y="32"/>
                      </a:lnTo>
                      <a:lnTo>
                        <a:pt x="285" y="26"/>
                      </a:lnTo>
                      <a:lnTo>
                        <a:pt x="284" y="25"/>
                      </a:lnTo>
                      <a:lnTo>
                        <a:pt x="285" y="24"/>
                      </a:lnTo>
                      <a:lnTo>
                        <a:pt x="287" y="21"/>
                      </a:lnTo>
                      <a:lnTo>
                        <a:pt x="290" y="21"/>
                      </a:lnTo>
                      <a:lnTo>
                        <a:pt x="294" y="22"/>
                      </a:lnTo>
                      <a:lnTo>
                        <a:pt x="301" y="27"/>
                      </a:lnTo>
                      <a:lnTo>
                        <a:pt x="306" y="31"/>
                      </a:lnTo>
                      <a:lnTo>
                        <a:pt x="310" y="32"/>
                      </a:lnTo>
                      <a:lnTo>
                        <a:pt x="313" y="31"/>
                      </a:lnTo>
                      <a:lnTo>
                        <a:pt x="313" y="27"/>
                      </a:lnTo>
                      <a:lnTo>
                        <a:pt x="315" y="24"/>
                      </a:lnTo>
                      <a:lnTo>
                        <a:pt x="320" y="19"/>
                      </a:lnTo>
                      <a:lnTo>
                        <a:pt x="328" y="12"/>
                      </a:lnTo>
                      <a:lnTo>
                        <a:pt x="337" y="5"/>
                      </a:lnTo>
                      <a:lnTo>
                        <a:pt x="339" y="4"/>
                      </a:lnTo>
                      <a:lnTo>
                        <a:pt x="341" y="4"/>
                      </a:lnTo>
                      <a:lnTo>
                        <a:pt x="343" y="4"/>
                      </a:lnTo>
                      <a:lnTo>
                        <a:pt x="347" y="4"/>
                      </a:lnTo>
                      <a:lnTo>
                        <a:pt x="350" y="5"/>
                      </a:lnTo>
                      <a:lnTo>
                        <a:pt x="352" y="5"/>
                      </a:lnTo>
                      <a:lnTo>
                        <a:pt x="356" y="5"/>
                      </a:lnTo>
                      <a:lnTo>
                        <a:pt x="356" y="6"/>
                      </a:lnTo>
                      <a:lnTo>
                        <a:pt x="356" y="8"/>
                      </a:lnTo>
                      <a:lnTo>
                        <a:pt x="355" y="12"/>
                      </a:lnTo>
                      <a:lnTo>
                        <a:pt x="351" y="15"/>
                      </a:lnTo>
                      <a:lnTo>
                        <a:pt x="345" y="22"/>
                      </a:lnTo>
                      <a:lnTo>
                        <a:pt x="345" y="24"/>
                      </a:lnTo>
                      <a:lnTo>
                        <a:pt x="345" y="26"/>
                      </a:lnTo>
                      <a:lnTo>
                        <a:pt x="346" y="27"/>
                      </a:lnTo>
                      <a:lnTo>
                        <a:pt x="347" y="27"/>
                      </a:lnTo>
                      <a:lnTo>
                        <a:pt x="353" y="22"/>
                      </a:lnTo>
                      <a:lnTo>
                        <a:pt x="360" y="18"/>
                      </a:lnTo>
                      <a:lnTo>
                        <a:pt x="365" y="12"/>
                      </a:lnTo>
                      <a:lnTo>
                        <a:pt x="370" y="6"/>
                      </a:lnTo>
                      <a:lnTo>
                        <a:pt x="372" y="5"/>
                      </a:lnTo>
                      <a:lnTo>
                        <a:pt x="374" y="6"/>
                      </a:lnTo>
                      <a:lnTo>
                        <a:pt x="375" y="9"/>
                      </a:lnTo>
                      <a:lnTo>
                        <a:pt x="375" y="13"/>
                      </a:lnTo>
                      <a:lnTo>
                        <a:pt x="376" y="14"/>
                      </a:lnTo>
                      <a:lnTo>
                        <a:pt x="378" y="15"/>
                      </a:lnTo>
                      <a:lnTo>
                        <a:pt x="379" y="15"/>
                      </a:lnTo>
                      <a:lnTo>
                        <a:pt x="380" y="14"/>
                      </a:lnTo>
                      <a:lnTo>
                        <a:pt x="385" y="7"/>
                      </a:lnTo>
                      <a:lnTo>
                        <a:pt x="388" y="4"/>
                      </a:lnTo>
                      <a:lnTo>
                        <a:pt x="392" y="1"/>
                      </a:lnTo>
                      <a:lnTo>
                        <a:pt x="395" y="0"/>
                      </a:lnTo>
                      <a:lnTo>
                        <a:pt x="399" y="0"/>
                      </a:lnTo>
                      <a:lnTo>
                        <a:pt x="402" y="1"/>
                      </a:lnTo>
                      <a:lnTo>
                        <a:pt x="403" y="4"/>
                      </a:lnTo>
                      <a:lnTo>
                        <a:pt x="403" y="5"/>
                      </a:lnTo>
                      <a:lnTo>
                        <a:pt x="403" y="7"/>
                      </a:lnTo>
                      <a:lnTo>
                        <a:pt x="400" y="9"/>
                      </a:lnTo>
                      <a:lnTo>
                        <a:pt x="399" y="12"/>
                      </a:lnTo>
                      <a:lnTo>
                        <a:pt x="400" y="13"/>
                      </a:lnTo>
                      <a:lnTo>
                        <a:pt x="400" y="14"/>
                      </a:lnTo>
                      <a:lnTo>
                        <a:pt x="403" y="14"/>
                      </a:lnTo>
                      <a:lnTo>
                        <a:pt x="404" y="14"/>
                      </a:lnTo>
                      <a:lnTo>
                        <a:pt x="408" y="12"/>
                      </a:lnTo>
                      <a:lnTo>
                        <a:pt x="411" y="8"/>
                      </a:lnTo>
                      <a:lnTo>
                        <a:pt x="413" y="6"/>
                      </a:lnTo>
                      <a:lnTo>
                        <a:pt x="418" y="4"/>
                      </a:lnTo>
                      <a:lnTo>
                        <a:pt x="423" y="4"/>
                      </a:lnTo>
                      <a:lnTo>
                        <a:pt x="428" y="4"/>
                      </a:lnTo>
                      <a:lnTo>
                        <a:pt x="433" y="6"/>
                      </a:lnTo>
                      <a:lnTo>
                        <a:pt x="439" y="7"/>
                      </a:lnTo>
                      <a:lnTo>
                        <a:pt x="442" y="9"/>
                      </a:lnTo>
                      <a:lnTo>
                        <a:pt x="446" y="13"/>
                      </a:lnTo>
                      <a:lnTo>
                        <a:pt x="447" y="15"/>
                      </a:lnTo>
                      <a:lnTo>
                        <a:pt x="449" y="19"/>
                      </a:lnTo>
                      <a:lnTo>
                        <a:pt x="449" y="20"/>
                      </a:lnTo>
                      <a:lnTo>
                        <a:pt x="447" y="20"/>
                      </a:lnTo>
                      <a:lnTo>
                        <a:pt x="445" y="21"/>
                      </a:lnTo>
                      <a:lnTo>
                        <a:pt x="442" y="24"/>
                      </a:lnTo>
                      <a:lnTo>
                        <a:pt x="440" y="25"/>
                      </a:lnTo>
                      <a:lnTo>
                        <a:pt x="436" y="26"/>
                      </a:lnTo>
                      <a:lnTo>
                        <a:pt x="433" y="26"/>
                      </a:lnTo>
                      <a:lnTo>
                        <a:pt x="431" y="25"/>
                      </a:lnTo>
                      <a:lnTo>
                        <a:pt x="426" y="21"/>
                      </a:lnTo>
                      <a:lnTo>
                        <a:pt x="423" y="20"/>
                      </a:lnTo>
                      <a:lnTo>
                        <a:pt x="419" y="20"/>
                      </a:lnTo>
                      <a:lnTo>
                        <a:pt x="417" y="21"/>
                      </a:lnTo>
                      <a:lnTo>
                        <a:pt x="416" y="24"/>
                      </a:lnTo>
                      <a:lnTo>
                        <a:pt x="416" y="26"/>
                      </a:lnTo>
                      <a:lnTo>
                        <a:pt x="417" y="28"/>
                      </a:lnTo>
                      <a:lnTo>
                        <a:pt x="418" y="31"/>
                      </a:lnTo>
                      <a:lnTo>
                        <a:pt x="421" y="32"/>
                      </a:lnTo>
                      <a:lnTo>
                        <a:pt x="427" y="33"/>
                      </a:lnTo>
                      <a:lnTo>
                        <a:pt x="432" y="36"/>
                      </a:lnTo>
                      <a:lnTo>
                        <a:pt x="435" y="39"/>
                      </a:lnTo>
                      <a:lnTo>
                        <a:pt x="440" y="41"/>
                      </a:lnTo>
                      <a:lnTo>
                        <a:pt x="447" y="44"/>
                      </a:lnTo>
                      <a:lnTo>
                        <a:pt x="445" y="47"/>
                      </a:lnTo>
                      <a:lnTo>
                        <a:pt x="442" y="50"/>
                      </a:lnTo>
                      <a:lnTo>
                        <a:pt x="439" y="50"/>
                      </a:lnTo>
                      <a:lnTo>
                        <a:pt x="435" y="52"/>
                      </a:lnTo>
                      <a:lnTo>
                        <a:pt x="431" y="53"/>
                      </a:lnTo>
                      <a:lnTo>
                        <a:pt x="422" y="52"/>
                      </a:lnTo>
                      <a:lnTo>
                        <a:pt x="418" y="47"/>
                      </a:lnTo>
                      <a:lnTo>
                        <a:pt x="414" y="44"/>
                      </a:lnTo>
                      <a:lnTo>
                        <a:pt x="409" y="40"/>
                      </a:lnTo>
                      <a:lnTo>
                        <a:pt x="404" y="38"/>
                      </a:lnTo>
                      <a:lnTo>
                        <a:pt x="402" y="36"/>
                      </a:lnTo>
                      <a:lnTo>
                        <a:pt x="399" y="32"/>
                      </a:lnTo>
                      <a:lnTo>
                        <a:pt x="398" y="28"/>
                      </a:lnTo>
                      <a:lnTo>
                        <a:pt x="397" y="26"/>
                      </a:lnTo>
                      <a:lnTo>
                        <a:pt x="394" y="25"/>
                      </a:lnTo>
                      <a:lnTo>
                        <a:pt x="392" y="25"/>
                      </a:lnTo>
                      <a:lnTo>
                        <a:pt x="384" y="28"/>
                      </a:lnTo>
                      <a:lnTo>
                        <a:pt x="376" y="32"/>
                      </a:lnTo>
                      <a:lnTo>
                        <a:pt x="369" y="34"/>
                      </a:lnTo>
                      <a:lnTo>
                        <a:pt x="361" y="38"/>
                      </a:lnTo>
                      <a:lnTo>
                        <a:pt x="359" y="40"/>
                      </a:lnTo>
                      <a:lnTo>
                        <a:pt x="357" y="43"/>
                      </a:lnTo>
                      <a:lnTo>
                        <a:pt x="356" y="45"/>
                      </a:lnTo>
                      <a:lnTo>
                        <a:pt x="356" y="49"/>
                      </a:lnTo>
                      <a:lnTo>
                        <a:pt x="359" y="54"/>
                      </a:lnTo>
                      <a:lnTo>
                        <a:pt x="361" y="60"/>
                      </a:lnTo>
                      <a:lnTo>
                        <a:pt x="360" y="62"/>
                      </a:lnTo>
                      <a:lnTo>
                        <a:pt x="359" y="63"/>
                      </a:lnTo>
                      <a:lnTo>
                        <a:pt x="355" y="68"/>
                      </a:lnTo>
                      <a:lnTo>
                        <a:pt x="348" y="70"/>
                      </a:lnTo>
                      <a:lnTo>
                        <a:pt x="345" y="71"/>
                      </a:lnTo>
                      <a:lnTo>
                        <a:pt x="333" y="68"/>
                      </a:lnTo>
                      <a:lnTo>
                        <a:pt x="331" y="66"/>
                      </a:lnTo>
                      <a:lnTo>
                        <a:pt x="329" y="68"/>
                      </a:lnTo>
                      <a:lnTo>
                        <a:pt x="324" y="70"/>
                      </a:lnTo>
                      <a:lnTo>
                        <a:pt x="320" y="71"/>
                      </a:lnTo>
                      <a:lnTo>
                        <a:pt x="314" y="72"/>
                      </a:lnTo>
                      <a:lnTo>
                        <a:pt x="310" y="73"/>
                      </a:lnTo>
                      <a:lnTo>
                        <a:pt x="306" y="72"/>
                      </a:lnTo>
                      <a:lnTo>
                        <a:pt x="303" y="71"/>
                      </a:lnTo>
                      <a:lnTo>
                        <a:pt x="300" y="69"/>
                      </a:lnTo>
                      <a:lnTo>
                        <a:pt x="295" y="63"/>
                      </a:lnTo>
                      <a:lnTo>
                        <a:pt x="291" y="56"/>
                      </a:lnTo>
                      <a:lnTo>
                        <a:pt x="290" y="54"/>
                      </a:lnTo>
                      <a:lnTo>
                        <a:pt x="287" y="53"/>
                      </a:lnTo>
                      <a:lnTo>
                        <a:pt x="280" y="58"/>
                      </a:lnTo>
                      <a:lnTo>
                        <a:pt x="272" y="6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3" name="Freeform 1282"/>
                <p:cNvSpPr>
                  <a:spLocks/>
                </p:cNvSpPr>
                <p:nvPr/>
              </p:nvSpPr>
              <p:spPr bwMode="auto">
                <a:xfrm>
                  <a:off x="4877178" y="2846957"/>
                  <a:ext cx="29597" cy="42918"/>
                </a:xfrm>
                <a:custGeom>
                  <a:avLst/>
                  <a:gdLst>
                    <a:gd name="T0" fmla="*/ 2147483647 w 21"/>
                    <a:gd name="T1" fmla="*/ 2147483647 h 29"/>
                    <a:gd name="T2" fmla="*/ 2147483647 w 21"/>
                    <a:gd name="T3" fmla="*/ 2147483647 h 29"/>
                    <a:gd name="T4" fmla="*/ 2147483647 w 21"/>
                    <a:gd name="T5" fmla="*/ 2147483647 h 29"/>
                    <a:gd name="T6" fmla="*/ 2147483647 w 21"/>
                    <a:gd name="T7" fmla="*/ 2147483647 h 29"/>
                    <a:gd name="T8" fmla="*/ 2147483647 w 21"/>
                    <a:gd name="T9" fmla="*/ 2147483647 h 29"/>
                    <a:gd name="T10" fmla="*/ 2147483647 w 21"/>
                    <a:gd name="T11" fmla="*/ 2147483647 h 29"/>
                    <a:gd name="T12" fmla="*/ 2147483647 w 21"/>
                    <a:gd name="T13" fmla="*/ 2147483647 h 29"/>
                    <a:gd name="T14" fmla="*/ 0 w 21"/>
                    <a:gd name="T15" fmla="*/ 2147483647 h 29"/>
                    <a:gd name="T16" fmla="*/ 0 w 21"/>
                    <a:gd name="T17" fmla="*/ 2147483647 h 29"/>
                    <a:gd name="T18" fmla="*/ 0 w 21"/>
                    <a:gd name="T19" fmla="*/ 2147483647 h 29"/>
                    <a:gd name="T20" fmla="*/ 2147483647 w 21"/>
                    <a:gd name="T21" fmla="*/ 2147483647 h 29"/>
                    <a:gd name="T22" fmla="*/ 2147483647 w 21"/>
                    <a:gd name="T23" fmla="*/ 2147483647 h 29"/>
                    <a:gd name="T24" fmla="*/ 2147483647 w 21"/>
                    <a:gd name="T25" fmla="*/ 2147483647 h 29"/>
                    <a:gd name="T26" fmla="*/ 2147483647 w 21"/>
                    <a:gd name="T27" fmla="*/ 0 h 29"/>
                    <a:gd name="T28" fmla="*/ 2147483647 w 21"/>
                    <a:gd name="T29" fmla="*/ 0 h 29"/>
                    <a:gd name="T30" fmla="*/ 2147483647 w 21"/>
                    <a:gd name="T31" fmla="*/ 2147483647 h 29"/>
                    <a:gd name="T32" fmla="*/ 2147483647 w 21"/>
                    <a:gd name="T33" fmla="*/ 2147483647 h 29"/>
                    <a:gd name="T34" fmla="*/ 2147483647 w 21"/>
                    <a:gd name="T35" fmla="*/ 2147483647 h 29"/>
                    <a:gd name="T36" fmla="*/ 2147483647 w 21"/>
                    <a:gd name="T37" fmla="*/ 2147483647 h 29"/>
                    <a:gd name="T38" fmla="*/ 2147483647 w 21"/>
                    <a:gd name="T39" fmla="*/ 2147483647 h 29"/>
                    <a:gd name="T40" fmla="*/ 2147483647 w 21"/>
                    <a:gd name="T41" fmla="*/ 2147483647 h 29"/>
                    <a:gd name="T42" fmla="*/ 2147483647 w 21"/>
                    <a:gd name="T43" fmla="*/ 2147483647 h 29"/>
                    <a:gd name="T44" fmla="*/ 2147483647 w 21"/>
                    <a:gd name="T45" fmla="*/ 2147483647 h 29"/>
                    <a:gd name="T46" fmla="*/ 2147483647 w 21"/>
                    <a:gd name="T47" fmla="*/ 2147483647 h 29"/>
                    <a:gd name="T48" fmla="*/ 2147483647 w 21"/>
                    <a:gd name="T49" fmla="*/ 2147483647 h 29"/>
                    <a:gd name="T50" fmla="*/ 2147483647 w 21"/>
                    <a:gd name="T51" fmla="*/ 2147483647 h 29"/>
                    <a:gd name="T52" fmla="*/ 2147483647 w 21"/>
                    <a:gd name="T53" fmla="*/ 2147483647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29"/>
                    <a:gd name="T83" fmla="*/ 21 w 21"/>
                    <a:gd name="T84" fmla="*/ 29 h 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29">
                      <a:moveTo>
                        <a:pt x="20" y="25"/>
                      </a:moveTo>
                      <a:lnTo>
                        <a:pt x="17" y="29"/>
                      </a:lnTo>
                      <a:lnTo>
                        <a:pt x="16" y="29"/>
                      </a:lnTo>
                      <a:lnTo>
                        <a:pt x="15" y="29"/>
                      </a:lnTo>
                      <a:lnTo>
                        <a:pt x="11" y="26"/>
                      </a:lnTo>
                      <a:lnTo>
                        <a:pt x="7" y="25"/>
                      </a:lnTo>
                      <a:lnTo>
                        <a:pt x="3" y="24"/>
                      </a:lnTo>
                      <a:lnTo>
                        <a:pt x="0" y="23"/>
                      </a:lnTo>
                      <a:lnTo>
                        <a:pt x="0" y="20"/>
                      </a:lnTo>
                      <a:lnTo>
                        <a:pt x="0" y="18"/>
                      </a:lnTo>
                      <a:lnTo>
                        <a:pt x="2" y="13"/>
                      </a:lnTo>
                      <a:lnTo>
                        <a:pt x="2" y="10"/>
                      </a:lnTo>
                      <a:lnTo>
                        <a:pt x="2" y="5"/>
                      </a:lnTo>
                      <a:lnTo>
                        <a:pt x="2" y="0"/>
                      </a:lnTo>
                      <a:lnTo>
                        <a:pt x="3" y="0"/>
                      </a:lnTo>
                      <a:lnTo>
                        <a:pt x="5" y="2"/>
                      </a:lnTo>
                      <a:lnTo>
                        <a:pt x="7" y="4"/>
                      </a:lnTo>
                      <a:lnTo>
                        <a:pt x="11" y="4"/>
                      </a:lnTo>
                      <a:lnTo>
                        <a:pt x="17" y="5"/>
                      </a:lnTo>
                      <a:lnTo>
                        <a:pt x="19" y="6"/>
                      </a:lnTo>
                      <a:lnTo>
                        <a:pt x="19" y="9"/>
                      </a:lnTo>
                      <a:lnTo>
                        <a:pt x="17" y="13"/>
                      </a:lnTo>
                      <a:lnTo>
                        <a:pt x="16" y="16"/>
                      </a:lnTo>
                      <a:lnTo>
                        <a:pt x="17" y="18"/>
                      </a:lnTo>
                      <a:lnTo>
                        <a:pt x="21" y="22"/>
                      </a:lnTo>
                      <a:lnTo>
                        <a:pt x="21" y="23"/>
                      </a:lnTo>
                      <a:lnTo>
                        <a:pt x="20" y="2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4" name="Freeform 1283"/>
                <p:cNvSpPr>
                  <a:spLocks/>
                </p:cNvSpPr>
                <p:nvPr/>
              </p:nvSpPr>
              <p:spPr bwMode="auto">
                <a:xfrm>
                  <a:off x="4732154" y="2237248"/>
                  <a:ext cx="612667" cy="537194"/>
                </a:xfrm>
                <a:custGeom>
                  <a:avLst/>
                  <a:gdLst>
                    <a:gd name="T0" fmla="*/ 2147483647 w 448"/>
                    <a:gd name="T1" fmla="*/ 2147483647 h 363"/>
                    <a:gd name="T2" fmla="*/ 2147483647 w 448"/>
                    <a:gd name="T3" fmla="*/ 2147483647 h 363"/>
                    <a:gd name="T4" fmla="*/ 2147483647 w 448"/>
                    <a:gd name="T5" fmla="*/ 2147483647 h 363"/>
                    <a:gd name="T6" fmla="*/ 2147483647 w 448"/>
                    <a:gd name="T7" fmla="*/ 2147483647 h 363"/>
                    <a:gd name="T8" fmla="*/ 2147483647 w 448"/>
                    <a:gd name="T9" fmla="*/ 2147483647 h 363"/>
                    <a:gd name="T10" fmla="*/ 2147483647 w 448"/>
                    <a:gd name="T11" fmla="*/ 2147483647 h 363"/>
                    <a:gd name="T12" fmla="*/ 2147483647 w 448"/>
                    <a:gd name="T13" fmla="*/ 2147483647 h 363"/>
                    <a:gd name="T14" fmla="*/ 2147483647 w 448"/>
                    <a:gd name="T15" fmla="*/ 2147483647 h 363"/>
                    <a:gd name="T16" fmla="*/ 2147483647 w 448"/>
                    <a:gd name="T17" fmla="*/ 2147483647 h 363"/>
                    <a:gd name="T18" fmla="*/ 2147483647 w 448"/>
                    <a:gd name="T19" fmla="*/ 2147483647 h 363"/>
                    <a:gd name="T20" fmla="*/ 2147483647 w 448"/>
                    <a:gd name="T21" fmla="*/ 2147483647 h 363"/>
                    <a:gd name="T22" fmla="*/ 2147483647 w 448"/>
                    <a:gd name="T23" fmla="*/ 2147483647 h 363"/>
                    <a:gd name="T24" fmla="*/ 2147483647 w 448"/>
                    <a:gd name="T25" fmla="*/ 2147483647 h 363"/>
                    <a:gd name="T26" fmla="*/ 2147483647 w 448"/>
                    <a:gd name="T27" fmla="*/ 2147483647 h 363"/>
                    <a:gd name="T28" fmla="*/ 2147483647 w 448"/>
                    <a:gd name="T29" fmla="*/ 2147483647 h 363"/>
                    <a:gd name="T30" fmla="*/ 2147483647 w 448"/>
                    <a:gd name="T31" fmla="*/ 2147483647 h 363"/>
                    <a:gd name="T32" fmla="*/ 2147483647 w 448"/>
                    <a:gd name="T33" fmla="*/ 2147483647 h 363"/>
                    <a:gd name="T34" fmla="*/ 2147483647 w 448"/>
                    <a:gd name="T35" fmla="*/ 2147483647 h 363"/>
                    <a:gd name="T36" fmla="*/ 2147483647 w 448"/>
                    <a:gd name="T37" fmla="*/ 2147483647 h 363"/>
                    <a:gd name="T38" fmla="*/ 2147483647 w 448"/>
                    <a:gd name="T39" fmla="*/ 2147483647 h 363"/>
                    <a:gd name="T40" fmla="*/ 0 w 448"/>
                    <a:gd name="T41" fmla="*/ 2147483647 h 363"/>
                    <a:gd name="T42" fmla="*/ 2147483647 w 448"/>
                    <a:gd name="T43" fmla="*/ 2147483647 h 363"/>
                    <a:gd name="T44" fmla="*/ 2147483647 w 448"/>
                    <a:gd name="T45" fmla="*/ 2147483647 h 363"/>
                    <a:gd name="T46" fmla="*/ 2147483647 w 448"/>
                    <a:gd name="T47" fmla="*/ 2147483647 h 363"/>
                    <a:gd name="T48" fmla="*/ 2147483647 w 448"/>
                    <a:gd name="T49" fmla="*/ 2147483647 h 363"/>
                    <a:gd name="T50" fmla="*/ 2147483647 w 448"/>
                    <a:gd name="T51" fmla="*/ 2147483647 h 363"/>
                    <a:gd name="T52" fmla="*/ 2147483647 w 448"/>
                    <a:gd name="T53" fmla="*/ 2147483647 h 363"/>
                    <a:gd name="T54" fmla="*/ 2147483647 w 448"/>
                    <a:gd name="T55" fmla="*/ 2147483647 h 363"/>
                    <a:gd name="T56" fmla="*/ 2147483647 w 448"/>
                    <a:gd name="T57" fmla="*/ 2147483647 h 363"/>
                    <a:gd name="T58" fmla="*/ 2147483647 w 448"/>
                    <a:gd name="T59" fmla="*/ 2147483647 h 363"/>
                    <a:gd name="T60" fmla="*/ 2147483647 w 448"/>
                    <a:gd name="T61" fmla="*/ 2147483647 h 363"/>
                    <a:gd name="T62" fmla="*/ 2147483647 w 448"/>
                    <a:gd name="T63" fmla="*/ 2147483647 h 363"/>
                    <a:gd name="T64" fmla="*/ 2147483647 w 448"/>
                    <a:gd name="T65" fmla="*/ 2147483647 h 363"/>
                    <a:gd name="T66" fmla="*/ 2147483647 w 448"/>
                    <a:gd name="T67" fmla="*/ 2147483647 h 363"/>
                    <a:gd name="T68" fmla="*/ 2147483647 w 448"/>
                    <a:gd name="T69" fmla="*/ 2147483647 h 363"/>
                    <a:gd name="T70" fmla="*/ 2147483647 w 448"/>
                    <a:gd name="T71" fmla="*/ 2147483647 h 363"/>
                    <a:gd name="T72" fmla="*/ 2147483647 w 448"/>
                    <a:gd name="T73" fmla="*/ 2147483647 h 363"/>
                    <a:gd name="T74" fmla="*/ 2147483647 w 448"/>
                    <a:gd name="T75" fmla="*/ 2147483647 h 363"/>
                    <a:gd name="T76" fmla="*/ 2147483647 w 448"/>
                    <a:gd name="T77" fmla="*/ 2147483647 h 363"/>
                    <a:gd name="T78" fmla="*/ 2147483647 w 448"/>
                    <a:gd name="T79" fmla="*/ 2147483647 h 363"/>
                    <a:gd name="T80" fmla="*/ 2147483647 w 448"/>
                    <a:gd name="T81" fmla="*/ 2147483647 h 363"/>
                    <a:gd name="T82" fmla="*/ 2147483647 w 448"/>
                    <a:gd name="T83" fmla="*/ 2147483647 h 363"/>
                    <a:gd name="T84" fmla="*/ 2147483647 w 448"/>
                    <a:gd name="T85" fmla="*/ 2147483647 h 363"/>
                    <a:gd name="T86" fmla="*/ 2147483647 w 448"/>
                    <a:gd name="T87" fmla="*/ 2147483647 h 363"/>
                    <a:gd name="T88" fmla="*/ 2147483647 w 448"/>
                    <a:gd name="T89" fmla="*/ 2147483647 h 363"/>
                    <a:gd name="T90" fmla="*/ 2147483647 w 448"/>
                    <a:gd name="T91" fmla="*/ 2147483647 h 363"/>
                    <a:gd name="T92" fmla="*/ 2147483647 w 448"/>
                    <a:gd name="T93" fmla="*/ 2147483647 h 363"/>
                    <a:gd name="T94" fmla="*/ 2147483647 w 448"/>
                    <a:gd name="T95" fmla="*/ 2147483647 h 363"/>
                    <a:gd name="T96" fmla="*/ 2147483647 w 448"/>
                    <a:gd name="T97" fmla="*/ 2147483647 h 363"/>
                    <a:gd name="T98" fmla="*/ 2147483647 w 448"/>
                    <a:gd name="T99" fmla="*/ 2147483647 h 363"/>
                    <a:gd name="T100" fmla="*/ 2147483647 w 448"/>
                    <a:gd name="T101" fmla="*/ 2147483647 h 363"/>
                    <a:gd name="T102" fmla="*/ 2147483647 w 448"/>
                    <a:gd name="T103" fmla="*/ 2147483647 h 363"/>
                    <a:gd name="T104" fmla="*/ 2147483647 w 448"/>
                    <a:gd name="T105" fmla="*/ 2147483647 h 363"/>
                    <a:gd name="T106" fmla="*/ 2147483647 w 448"/>
                    <a:gd name="T107" fmla="*/ 2147483647 h 363"/>
                    <a:gd name="T108" fmla="*/ 2147483647 w 448"/>
                    <a:gd name="T109" fmla="*/ 2147483647 h 363"/>
                    <a:gd name="T110" fmla="*/ 2147483647 w 448"/>
                    <a:gd name="T111" fmla="*/ 2147483647 h 363"/>
                    <a:gd name="T112" fmla="*/ 2147483647 w 448"/>
                    <a:gd name="T113" fmla="*/ 2147483647 h 363"/>
                    <a:gd name="T114" fmla="*/ 2147483647 w 448"/>
                    <a:gd name="T115" fmla="*/ 2147483647 h 3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48"/>
                    <a:gd name="T175" fmla="*/ 0 h 363"/>
                    <a:gd name="T176" fmla="*/ 448 w 448"/>
                    <a:gd name="T177" fmla="*/ 363 h 3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48" h="363">
                      <a:moveTo>
                        <a:pt x="272" y="64"/>
                      </a:moveTo>
                      <a:lnTo>
                        <a:pt x="272" y="64"/>
                      </a:lnTo>
                      <a:lnTo>
                        <a:pt x="266" y="71"/>
                      </a:lnTo>
                      <a:lnTo>
                        <a:pt x="260" y="78"/>
                      </a:lnTo>
                      <a:lnTo>
                        <a:pt x="257" y="80"/>
                      </a:lnTo>
                      <a:lnTo>
                        <a:pt x="254" y="82"/>
                      </a:lnTo>
                      <a:lnTo>
                        <a:pt x="250" y="82"/>
                      </a:lnTo>
                      <a:lnTo>
                        <a:pt x="247" y="80"/>
                      </a:lnTo>
                      <a:lnTo>
                        <a:pt x="241" y="79"/>
                      </a:lnTo>
                      <a:lnTo>
                        <a:pt x="236" y="79"/>
                      </a:lnTo>
                      <a:lnTo>
                        <a:pt x="233" y="79"/>
                      </a:lnTo>
                      <a:lnTo>
                        <a:pt x="229" y="82"/>
                      </a:lnTo>
                      <a:lnTo>
                        <a:pt x="225" y="86"/>
                      </a:lnTo>
                      <a:lnTo>
                        <a:pt x="221" y="90"/>
                      </a:lnTo>
                      <a:lnTo>
                        <a:pt x="212" y="95"/>
                      </a:lnTo>
                      <a:lnTo>
                        <a:pt x="202" y="99"/>
                      </a:lnTo>
                      <a:lnTo>
                        <a:pt x="192" y="104"/>
                      </a:lnTo>
                      <a:lnTo>
                        <a:pt x="189" y="106"/>
                      </a:lnTo>
                      <a:lnTo>
                        <a:pt x="187" y="109"/>
                      </a:lnTo>
                      <a:lnTo>
                        <a:pt x="186" y="115"/>
                      </a:lnTo>
                      <a:lnTo>
                        <a:pt x="183" y="120"/>
                      </a:lnTo>
                      <a:lnTo>
                        <a:pt x="179" y="124"/>
                      </a:lnTo>
                      <a:lnTo>
                        <a:pt x="174" y="128"/>
                      </a:lnTo>
                      <a:lnTo>
                        <a:pt x="173" y="129"/>
                      </a:lnTo>
                      <a:lnTo>
                        <a:pt x="172" y="131"/>
                      </a:lnTo>
                      <a:lnTo>
                        <a:pt x="172" y="136"/>
                      </a:lnTo>
                      <a:lnTo>
                        <a:pt x="169" y="140"/>
                      </a:lnTo>
                      <a:lnTo>
                        <a:pt x="165" y="142"/>
                      </a:lnTo>
                      <a:lnTo>
                        <a:pt x="160" y="143"/>
                      </a:lnTo>
                      <a:lnTo>
                        <a:pt x="156" y="147"/>
                      </a:lnTo>
                      <a:lnTo>
                        <a:pt x="155" y="150"/>
                      </a:lnTo>
                      <a:lnTo>
                        <a:pt x="154" y="166"/>
                      </a:lnTo>
                      <a:lnTo>
                        <a:pt x="151" y="173"/>
                      </a:lnTo>
                      <a:lnTo>
                        <a:pt x="147" y="180"/>
                      </a:lnTo>
                      <a:lnTo>
                        <a:pt x="147" y="182"/>
                      </a:lnTo>
                      <a:lnTo>
                        <a:pt x="149" y="185"/>
                      </a:lnTo>
                      <a:lnTo>
                        <a:pt x="153" y="192"/>
                      </a:lnTo>
                      <a:lnTo>
                        <a:pt x="154" y="195"/>
                      </a:lnTo>
                      <a:lnTo>
                        <a:pt x="151" y="198"/>
                      </a:lnTo>
                      <a:lnTo>
                        <a:pt x="149" y="199"/>
                      </a:lnTo>
                      <a:lnTo>
                        <a:pt x="145" y="199"/>
                      </a:lnTo>
                      <a:lnTo>
                        <a:pt x="139" y="197"/>
                      </a:lnTo>
                      <a:lnTo>
                        <a:pt x="133" y="197"/>
                      </a:lnTo>
                      <a:lnTo>
                        <a:pt x="128" y="198"/>
                      </a:lnTo>
                      <a:lnTo>
                        <a:pt x="125" y="200"/>
                      </a:lnTo>
                      <a:lnTo>
                        <a:pt x="122" y="204"/>
                      </a:lnTo>
                      <a:lnTo>
                        <a:pt x="120" y="208"/>
                      </a:lnTo>
                      <a:lnTo>
                        <a:pt x="117" y="219"/>
                      </a:lnTo>
                      <a:lnTo>
                        <a:pt x="116" y="229"/>
                      </a:lnTo>
                      <a:lnTo>
                        <a:pt x="116" y="236"/>
                      </a:lnTo>
                      <a:lnTo>
                        <a:pt x="117" y="243"/>
                      </a:lnTo>
                      <a:lnTo>
                        <a:pt x="117" y="250"/>
                      </a:lnTo>
                      <a:lnTo>
                        <a:pt x="117" y="256"/>
                      </a:lnTo>
                      <a:lnTo>
                        <a:pt x="120" y="262"/>
                      </a:lnTo>
                      <a:lnTo>
                        <a:pt x="121" y="263"/>
                      </a:lnTo>
                      <a:lnTo>
                        <a:pt x="123" y="264"/>
                      </a:lnTo>
                      <a:lnTo>
                        <a:pt x="126" y="267"/>
                      </a:lnTo>
                      <a:lnTo>
                        <a:pt x="127" y="268"/>
                      </a:lnTo>
                      <a:lnTo>
                        <a:pt x="128" y="274"/>
                      </a:lnTo>
                      <a:lnTo>
                        <a:pt x="130" y="276"/>
                      </a:lnTo>
                      <a:lnTo>
                        <a:pt x="128" y="278"/>
                      </a:lnTo>
                      <a:lnTo>
                        <a:pt x="125" y="280"/>
                      </a:lnTo>
                      <a:lnTo>
                        <a:pt x="122" y="281"/>
                      </a:lnTo>
                      <a:lnTo>
                        <a:pt x="121" y="282"/>
                      </a:lnTo>
                      <a:lnTo>
                        <a:pt x="120" y="297"/>
                      </a:lnTo>
                      <a:lnTo>
                        <a:pt x="117" y="309"/>
                      </a:lnTo>
                      <a:lnTo>
                        <a:pt x="113" y="320"/>
                      </a:lnTo>
                      <a:lnTo>
                        <a:pt x="108" y="332"/>
                      </a:lnTo>
                      <a:lnTo>
                        <a:pt x="103" y="329"/>
                      </a:lnTo>
                      <a:lnTo>
                        <a:pt x="100" y="327"/>
                      </a:lnTo>
                      <a:lnTo>
                        <a:pt x="98" y="326"/>
                      </a:lnTo>
                      <a:lnTo>
                        <a:pt x="97" y="321"/>
                      </a:lnTo>
                      <a:lnTo>
                        <a:pt x="95" y="315"/>
                      </a:lnTo>
                      <a:lnTo>
                        <a:pt x="97" y="310"/>
                      </a:lnTo>
                      <a:lnTo>
                        <a:pt x="99" y="306"/>
                      </a:lnTo>
                      <a:lnTo>
                        <a:pt x="99" y="304"/>
                      </a:lnTo>
                      <a:lnTo>
                        <a:pt x="98" y="303"/>
                      </a:lnTo>
                      <a:lnTo>
                        <a:pt x="97" y="302"/>
                      </a:lnTo>
                      <a:lnTo>
                        <a:pt x="94" y="303"/>
                      </a:lnTo>
                      <a:lnTo>
                        <a:pt x="92" y="304"/>
                      </a:lnTo>
                      <a:lnTo>
                        <a:pt x="90" y="308"/>
                      </a:lnTo>
                      <a:lnTo>
                        <a:pt x="90" y="315"/>
                      </a:lnTo>
                      <a:lnTo>
                        <a:pt x="92" y="326"/>
                      </a:lnTo>
                      <a:lnTo>
                        <a:pt x="92" y="331"/>
                      </a:lnTo>
                      <a:lnTo>
                        <a:pt x="90" y="333"/>
                      </a:lnTo>
                      <a:lnTo>
                        <a:pt x="88" y="334"/>
                      </a:lnTo>
                      <a:lnTo>
                        <a:pt x="80" y="339"/>
                      </a:lnTo>
                      <a:lnTo>
                        <a:pt x="74" y="345"/>
                      </a:lnTo>
                      <a:lnTo>
                        <a:pt x="61" y="357"/>
                      </a:lnTo>
                      <a:lnTo>
                        <a:pt x="57" y="360"/>
                      </a:lnTo>
                      <a:lnTo>
                        <a:pt x="52" y="363"/>
                      </a:lnTo>
                      <a:lnTo>
                        <a:pt x="48" y="363"/>
                      </a:lnTo>
                      <a:lnTo>
                        <a:pt x="43" y="363"/>
                      </a:lnTo>
                      <a:lnTo>
                        <a:pt x="32" y="360"/>
                      </a:lnTo>
                      <a:lnTo>
                        <a:pt x="22" y="357"/>
                      </a:lnTo>
                      <a:lnTo>
                        <a:pt x="17" y="357"/>
                      </a:lnTo>
                      <a:lnTo>
                        <a:pt x="14" y="357"/>
                      </a:lnTo>
                      <a:lnTo>
                        <a:pt x="12" y="355"/>
                      </a:lnTo>
                      <a:lnTo>
                        <a:pt x="10" y="351"/>
                      </a:lnTo>
                      <a:lnTo>
                        <a:pt x="9" y="346"/>
                      </a:lnTo>
                      <a:lnTo>
                        <a:pt x="8" y="342"/>
                      </a:lnTo>
                      <a:lnTo>
                        <a:pt x="5" y="340"/>
                      </a:lnTo>
                      <a:lnTo>
                        <a:pt x="3" y="339"/>
                      </a:lnTo>
                      <a:lnTo>
                        <a:pt x="3" y="338"/>
                      </a:lnTo>
                      <a:lnTo>
                        <a:pt x="14" y="340"/>
                      </a:lnTo>
                      <a:lnTo>
                        <a:pt x="18" y="339"/>
                      </a:lnTo>
                      <a:lnTo>
                        <a:pt x="20" y="336"/>
                      </a:lnTo>
                      <a:lnTo>
                        <a:pt x="20" y="333"/>
                      </a:lnTo>
                      <a:lnTo>
                        <a:pt x="20" y="331"/>
                      </a:lnTo>
                      <a:lnTo>
                        <a:pt x="19" y="329"/>
                      </a:lnTo>
                      <a:lnTo>
                        <a:pt x="14" y="326"/>
                      </a:lnTo>
                      <a:lnTo>
                        <a:pt x="13" y="323"/>
                      </a:lnTo>
                      <a:lnTo>
                        <a:pt x="13" y="320"/>
                      </a:lnTo>
                      <a:lnTo>
                        <a:pt x="13" y="319"/>
                      </a:lnTo>
                      <a:lnTo>
                        <a:pt x="14" y="317"/>
                      </a:lnTo>
                      <a:lnTo>
                        <a:pt x="18" y="315"/>
                      </a:lnTo>
                      <a:lnTo>
                        <a:pt x="18" y="314"/>
                      </a:lnTo>
                      <a:lnTo>
                        <a:pt x="17" y="313"/>
                      </a:lnTo>
                      <a:lnTo>
                        <a:pt x="10" y="312"/>
                      </a:lnTo>
                      <a:lnTo>
                        <a:pt x="9" y="310"/>
                      </a:lnTo>
                      <a:lnTo>
                        <a:pt x="9" y="308"/>
                      </a:lnTo>
                      <a:lnTo>
                        <a:pt x="10" y="303"/>
                      </a:lnTo>
                      <a:lnTo>
                        <a:pt x="10" y="299"/>
                      </a:lnTo>
                      <a:lnTo>
                        <a:pt x="9" y="294"/>
                      </a:lnTo>
                      <a:lnTo>
                        <a:pt x="8" y="289"/>
                      </a:lnTo>
                      <a:lnTo>
                        <a:pt x="7" y="285"/>
                      </a:lnTo>
                      <a:lnTo>
                        <a:pt x="7" y="284"/>
                      </a:lnTo>
                      <a:lnTo>
                        <a:pt x="8" y="282"/>
                      </a:lnTo>
                      <a:lnTo>
                        <a:pt x="10" y="282"/>
                      </a:lnTo>
                      <a:lnTo>
                        <a:pt x="12" y="282"/>
                      </a:lnTo>
                      <a:lnTo>
                        <a:pt x="14" y="283"/>
                      </a:lnTo>
                      <a:lnTo>
                        <a:pt x="17" y="285"/>
                      </a:lnTo>
                      <a:lnTo>
                        <a:pt x="18" y="285"/>
                      </a:lnTo>
                      <a:lnTo>
                        <a:pt x="19" y="285"/>
                      </a:lnTo>
                      <a:lnTo>
                        <a:pt x="23" y="284"/>
                      </a:lnTo>
                      <a:lnTo>
                        <a:pt x="28" y="284"/>
                      </a:lnTo>
                      <a:lnTo>
                        <a:pt x="31" y="284"/>
                      </a:lnTo>
                      <a:lnTo>
                        <a:pt x="32" y="283"/>
                      </a:lnTo>
                      <a:lnTo>
                        <a:pt x="32" y="281"/>
                      </a:lnTo>
                      <a:lnTo>
                        <a:pt x="31" y="280"/>
                      </a:lnTo>
                      <a:lnTo>
                        <a:pt x="24" y="278"/>
                      </a:lnTo>
                      <a:lnTo>
                        <a:pt x="15" y="278"/>
                      </a:lnTo>
                      <a:lnTo>
                        <a:pt x="9" y="278"/>
                      </a:lnTo>
                      <a:lnTo>
                        <a:pt x="7" y="277"/>
                      </a:lnTo>
                      <a:lnTo>
                        <a:pt x="4" y="276"/>
                      </a:lnTo>
                      <a:lnTo>
                        <a:pt x="1" y="275"/>
                      </a:lnTo>
                      <a:lnTo>
                        <a:pt x="0" y="274"/>
                      </a:lnTo>
                      <a:lnTo>
                        <a:pt x="0" y="272"/>
                      </a:lnTo>
                      <a:lnTo>
                        <a:pt x="1" y="271"/>
                      </a:lnTo>
                      <a:lnTo>
                        <a:pt x="4" y="270"/>
                      </a:lnTo>
                      <a:lnTo>
                        <a:pt x="5" y="263"/>
                      </a:lnTo>
                      <a:lnTo>
                        <a:pt x="9" y="257"/>
                      </a:lnTo>
                      <a:lnTo>
                        <a:pt x="12" y="255"/>
                      </a:lnTo>
                      <a:lnTo>
                        <a:pt x="14" y="253"/>
                      </a:lnTo>
                      <a:lnTo>
                        <a:pt x="18" y="253"/>
                      </a:lnTo>
                      <a:lnTo>
                        <a:pt x="22" y="253"/>
                      </a:lnTo>
                      <a:lnTo>
                        <a:pt x="23" y="251"/>
                      </a:lnTo>
                      <a:lnTo>
                        <a:pt x="24" y="250"/>
                      </a:lnTo>
                      <a:lnTo>
                        <a:pt x="32" y="248"/>
                      </a:lnTo>
                      <a:lnTo>
                        <a:pt x="40" y="244"/>
                      </a:lnTo>
                      <a:lnTo>
                        <a:pt x="42" y="242"/>
                      </a:lnTo>
                      <a:lnTo>
                        <a:pt x="43" y="239"/>
                      </a:lnTo>
                      <a:lnTo>
                        <a:pt x="45" y="236"/>
                      </a:lnTo>
                      <a:lnTo>
                        <a:pt x="43" y="232"/>
                      </a:lnTo>
                      <a:lnTo>
                        <a:pt x="50" y="233"/>
                      </a:lnTo>
                      <a:lnTo>
                        <a:pt x="56" y="232"/>
                      </a:lnTo>
                      <a:lnTo>
                        <a:pt x="62" y="230"/>
                      </a:lnTo>
                      <a:lnTo>
                        <a:pt x="67" y="226"/>
                      </a:lnTo>
                      <a:lnTo>
                        <a:pt x="71" y="225"/>
                      </a:lnTo>
                      <a:lnTo>
                        <a:pt x="75" y="224"/>
                      </a:lnTo>
                      <a:lnTo>
                        <a:pt x="79" y="224"/>
                      </a:lnTo>
                      <a:lnTo>
                        <a:pt x="81" y="223"/>
                      </a:lnTo>
                      <a:lnTo>
                        <a:pt x="83" y="221"/>
                      </a:lnTo>
                      <a:lnTo>
                        <a:pt x="85" y="216"/>
                      </a:lnTo>
                      <a:lnTo>
                        <a:pt x="88" y="208"/>
                      </a:lnTo>
                      <a:lnTo>
                        <a:pt x="92" y="201"/>
                      </a:lnTo>
                      <a:lnTo>
                        <a:pt x="95" y="195"/>
                      </a:lnTo>
                      <a:lnTo>
                        <a:pt x="98" y="192"/>
                      </a:lnTo>
                      <a:lnTo>
                        <a:pt x="99" y="188"/>
                      </a:lnTo>
                      <a:lnTo>
                        <a:pt x="102" y="187"/>
                      </a:lnTo>
                      <a:lnTo>
                        <a:pt x="104" y="185"/>
                      </a:lnTo>
                      <a:lnTo>
                        <a:pt x="107" y="184"/>
                      </a:lnTo>
                      <a:lnTo>
                        <a:pt x="109" y="182"/>
                      </a:lnTo>
                      <a:lnTo>
                        <a:pt x="109" y="180"/>
                      </a:lnTo>
                      <a:lnTo>
                        <a:pt x="109" y="178"/>
                      </a:lnTo>
                      <a:lnTo>
                        <a:pt x="109" y="172"/>
                      </a:lnTo>
                      <a:lnTo>
                        <a:pt x="111" y="169"/>
                      </a:lnTo>
                      <a:lnTo>
                        <a:pt x="112" y="169"/>
                      </a:lnTo>
                      <a:lnTo>
                        <a:pt x="113" y="169"/>
                      </a:lnTo>
                      <a:lnTo>
                        <a:pt x="117" y="174"/>
                      </a:lnTo>
                      <a:lnTo>
                        <a:pt x="122" y="178"/>
                      </a:lnTo>
                      <a:lnTo>
                        <a:pt x="125" y="178"/>
                      </a:lnTo>
                      <a:lnTo>
                        <a:pt x="127" y="178"/>
                      </a:lnTo>
                      <a:lnTo>
                        <a:pt x="130" y="176"/>
                      </a:lnTo>
                      <a:lnTo>
                        <a:pt x="132" y="174"/>
                      </a:lnTo>
                      <a:lnTo>
                        <a:pt x="133" y="172"/>
                      </a:lnTo>
                      <a:lnTo>
                        <a:pt x="133" y="168"/>
                      </a:lnTo>
                      <a:lnTo>
                        <a:pt x="132" y="166"/>
                      </a:lnTo>
                      <a:lnTo>
                        <a:pt x="131" y="163"/>
                      </a:lnTo>
                      <a:lnTo>
                        <a:pt x="127" y="160"/>
                      </a:lnTo>
                      <a:lnTo>
                        <a:pt x="126" y="156"/>
                      </a:lnTo>
                      <a:lnTo>
                        <a:pt x="127" y="152"/>
                      </a:lnTo>
                      <a:lnTo>
                        <a:pt x="128" y="147"/>
                      </a:lnTo>
                      <a:lnTo>
                        <a:pt x="136" y="138"/>
                      </a:lnTo>
                      <a:lnTo>
                        <a:pt x="140" y="135"/>
                      </a:lnTo>
                      <a:lnTo>
                        <a:pt x="144" y="129"/>
                      </a:lnTo>
                      <a:lnTo>
                        <a:pt x="145" y="128"/>
                      </a:lnTo>
                      <a:lnTo>
                        <a:pt x="147" y="125"/>
                      </a:lnTo>
                      <a:lnTo>
                        <a:pt x="153" y="123"/>
                      </a:lnTo>
                      <a:lnTo>
                        <a:pt x="164" y="120"/>
                      </a:lnTo>
                      <a:lnTo>
                        <a:pt x="165" y="118"/>
                      </a:lnTo>
                      <a:lnTo>
                        <a:pt x="167" y="117"/>
                      </a:lnTo>
                      <a:lnTo>
                        <a:pt x="170" y="114"/>
                      </a:lnTo>
                      <a:lnTo>
                        <a:pt x="174" y="112"/>
                      </a:lnTo>
                      <a:lnTo>
                        <a:pt x="178" y="109"/>
                      </a:lnTo>
                      <a:lnTo>
                        <a:pt x="179" y="108"/>
                      </a:lnTo>
                      <a:lnTo>
                        <a:pt x="179" y="105"/>
                      </a:lnTo>
                      <a:lnTo>
                        <a:pt x="179" y="103"/>
                      </a:lnTo>
                      <a:lnTo>
                        <a:pt x="178" y="102"/>
                      </a:lnTo>
                      <a:lnTo>
                        <a:pt x="174" y="99"/>
                      </a:lnTo>
                      <a:lnTo>
                        <a:pt x="174" y="98"/>
                      </a:lnTo>
                      <a:lnTo>
                        <a:pt x="175" y="97"/>
                      </a:lnTo>
                      <a:lnTo>
                        <a:pt x="177" y="95"/>
                      </a:lnTo>
                      <a:lnTo>
                        <a:pt x="184" y="92"/>
                      </a:lnTo>
                      <a:lnTo>
                        <a:pt x="187" y="91"/>
                      </a:lnTo>
                      <a:lnTo>
                        <a:pt x="192" y="91"/>
                      </a:lnTo>
                      <a:lnTo>
                        <a:pt x="197" y="90"/>
                      </a:lnTo>
                      <a:lnTo>
                        <a:pt x="201" y="87"/>
                      </a:lnTo>
                      <a:lnTo>
                        <a:pt x="203" y="83"/>
                      </a:lnTo>
                      <a:lnTo>
                        <a:pt x="205" y="76"/>
                      </a:lnTo>
                      <a:lnTo>
                        <a:pt x="205" y="74"/>
                      </a:lnTo>
                      <a:lnTo>
                        <a:pt x="208" y="73"/>
                      </a:lnTo>
                      <a:lnTo>
                        <a:pt x="216" y="73"/>
                      </a:lnTo>
                      <a:lnTo>
                        <a:pt x="219" y="72"/>
                      </a:lnTo>
                      <a:lnTo>
                        <a:pt x="219" y="70"/>
                      </a:lnTo>
                      <a:lnTo>
                        <a:pt x="219" y="66"/>
                      </a:lnTo>
                      <a:lnTo>
                        <a:pt x="220" y="64"/>
                      </a:lnTo>
                      <a:lnTo>
                        <a:pt x="224" y="61"/>
                      </a:lnTo>
                      <a:lnTo>
                        <a:pt x="227" y="55"/>
                      </a:lnTo>
                      <a:lnTo>
                        <a:pt x="234" y="52"/>
                      </a:lnTo>
                      <a:lnTo>
                        <a:pt x="238" y="51"/>
                      </a:lnTo>
                      <a:lnTo>
                        <a:pt x="240" y="51"/>
                      </a:lnTo>
                      <a:lnTo>
                        <a:pt x="248" y="52"/>
                      </a:lnTo>
                      <a:lnTo>
                        <a:pt x="249" y="52"/>
                      </a:lnTo>
                      <a:lnTo>
                        <a:pt x="250" y="51"/>
                      </a:lnTo>
                      <a:lnTo>
                        <a:pt x="250" y="50"/>
                      </a:lnTo>
                      <a:lnTo>
                        <a:pt x="250" y="48"/>
                      </a:lnTo>
                      <a:lnTo>
                        <a:pt x="247" y="46"/>
                      </a:lnTo>
                      <a:lnTo>
                        <a:pt x="245" y="45"/>
                      </a:lnTo>
                      <a:lnTo>
                        <a:pt x="245" y="44"/>
                      </a:lnTo>
                      <a:lnTo>
                        <a:pt x="245" y="42"/>
                      </a:lnTo>
                      <a:lnTo>
                        <a:pt x="247" y="41"/>
                      </a:lnTo>
                      <a:lnTo>
                        <a:pt x="252" y="41"/>
                      </a:lnTo>
                      <a:lnTo>
                        <a:pt x="255" y="39"/>
                      </a:lnTo>
                      <a:lnTo>
                        <a:pt x="259" y="37"/>
                      </a:lnTo>
                      <a:lnTo>
                        <a:pt x="263" y="34"/>
                      </a:lnTo>
                      <a:lnTo>
                        <a:pt x="267" y="33"/>
                      </a:lnTo>
                      <a:lnTo>
                        <a:pt x="267" y="35"/>
                      </a:lnTo>
                      <a:lnTo>
                        <a:pt x="266" y="39"/>
                      </a:lnTo>
                      <a:lnTo>
                        <a:pt x="266" y="41"/>
                      </a:lnTo>
                      <a:lnTo>
                        <a:pt x="266" y="42"/>
                      </a:lnTo>
                      <a:lnTo>
                        <a:pt x="267" y="42"/>
                      </a:lnTo>
                      <a:lnTo>
                        <a:pt x="277" y="39"/>
                      </a:lnTo>
                      <a:lnTo>
                        <a:pt x="287" y="35"/>
                      </a:lnTo>
                      <a:lnTo>
                        <a:pt x="288" y="35"/>
                      </a:lnTo>
                      <a:lnTo>
                        <a:pt x="288" y="34"/>
                      </a:lnTo>
                      <a:lnTo>
                        <a:pt x="287" y="32"/>
                      </a:lnTo>
                      <a:lnTo>
                        <a:pt x="285" y="26"/>
                      </a:lnTo>
                      <a:lnTo>
                        <a:pt x="283" y="25"/>
                      </a:lnTo>
                      <a:lnTo>
                        <a:pt x="285" y="23"/>
                      </a:lnTo>
                      <a:lnTo>
                        <a:pt x="287" y="21"/>
                      </a:lnTo>
                      <a:lnTo>
                        <a:pt x="290" y="21"/>
                      </a:lnTo>
                      <a:lnTo>
                        <a:pt x="293" y="22"/>
                      </a:lnTo>
                      <a:lnTo>
                        <a:pt x="301" y="27"/>
                      </a:lnTo>
                      <a:lnTo>
                        <a:pt x="306" y="31"/>
                      </a:lnTo>
                      <a:lnTo>
                        <a:pt x="310" y="32"/>
                      </a:lnTo>
                      <a:lnTo>
                        <a:pt x="313" y="31"/>
                      </a:lnTo>
                      <a:lnTo>
                        <a:pt x="313" y="27"/>
                      </a:lnTo>
                      <a:lnTo>
                        <a:pt x="315" y="23"/>
                      </a:lnTo>
                      <a:lnTo>
                        <a:pt x="320" y="19"/>
                      </a:lnTo>
                      <a:lnTo>
                        <a:pt x="328" y="12"/>
                      </a:lnTo>
                      <a:lnTo>
                        <a:pt x="337" y="5"/>
                      </a:lnTo>
                      <a:lnTo>
                        <a:pt x="339" y="3"/>
                      </a:lnTo>
                      <a:lnTo>
                        <a:pt x="340" y="3"/>
                      </a:lnTo>
                      <a:lnTo>
                        <a:pt x="343" y="3"/>
                      </a:lnTo>
                      <a:lnTo>
                        <a:pt x="347" y="3"/>
                      </a:lnTo>
                      <a:lnTo>
                        <a:pt x="349" y="5"/>
                      </a:lnTo>
                      <a:lnTo>
                        <a:pt x="352" y="5"/>
                      </a:lnTo>
                      <a:lnTo>
                        <a:pt x="356" y="5"/>
                      </a:lnTo>
                      <a:lnTo>
                        <a:pt x="356" y="6"/>
                      </a:lnTo>
                      <a:lnTo>
                        <a:pt x="356" y="8"/>
                      </a:lnTo>
                      <a:lnTo>
                        <a:pt x="354" y="12"/>
                      </a:lnTo>
                      <a:lnTo>
                        <a:pt x="351" y="15"/>
                      </a:lnTo>
                      <a:lnTo>
                        <a:pt x="344" y="22"/>
                      </a:lnTo>
                      <a:lnTo>
                        <a:pt x="344" y="23"/>
                      </a:lnTo>
                      <a:lnTo>
                        <a:pt x="344" y="26"/>
                      </a:lnTo>
                      <a:lnTo>
                        <a:pt x="346" y="27"/>
                      </a:lnTo>
                      <a:lnTo>
                        <a:pt x="347" y="27"/>
                      </a:lnTo>
                      <a:lnTo>
                        <a:pt x="353" y="22"/>
                      </a:lnTo>
                      <a:lnTo>
                        <a:pt x="360" y="18"/>
                      </a:lnTo>
                      <a:lnTo>
                        <a:pt x="365" y="12"/>
                      </a:lnTo>
                      <a:lnTo>
                        <a:pt x="370" y="6"/>
                      </a:lnTo>
                      <a:lnTo>
                        <a:pt x="372" y="5"/>
                      </a:lnTo>
                      <a:lnTo>
                        <a:pt x="373" y="6"/>
                      </a:lnTo>
                      <a:lnTo>
                        <a:pt x="375" y="9"/>
                      </a:lnTo>
                      <a:lnTo>
                        <a:pt x="375" y="13"/>
                      </a:lnTo>
                      <a:lnTo>
                        <a:pt x="376" y="14"/>
                      </a:lnTo>
                      <a:lnTo>
                        <a:pt x="377" y="15"/>
                      </a:lnTo>
                      <a:lnTo>
                        <a:pt x="379" y="15"/>
                      </a:lnTo>
                      <a:lnTo>
                        <a:pt x="380" y="14"/>
                      </a:lnTo>
                      <a:lnTo>
                        <a:pt x="385" y="7"/>
                      </a:lnTo>
                      <a:lnTo>
                        <a:pt x="387" y="3"/>
                      </a:lnTo>
                      <a:lnTo>
                        <a:pt x="391" y="1"/>
                      </a:lnTo>
                      <a:lnTo>
                        <a:pt x="395" y="0"/>
                      </a:lnTo>
                      <a:lnTo>
                        <a:pt x="399" y="0"/>
                      </a:lnTo>
                      <a:lnTo>
                        <a:pt x="401" y="1"/>
                      </a:lnTo>
                      <a:lnTo>
                        <a:pt x="403" y="3"/>
                      </a:lnTo>
                      <a:lnTo>
                        <a:pt x="403" y="5"/>
                      </a:lnTo>
                      <a:lnTo>
                        <a:pt x="403" y="7"/>
                      </a:lnTo>
                      <a:lnTo>
                        <a:pt x="400" y="9"/>
                      </a:lnTo>
                      <a:lnTo>
                        <a:pt x="399" y="12"/>
                      </a:lnTo>
                      <a:lnTo>
                        <a:pt x="400" y="13"/>
                      </a:lnTo>
                      <a:lnTo>
                        <a:pt x="400" y="14"/>
                      </a:lnTo>
                      <a:lnTo>
                        <a:pt x="403" y="14"/>
                      </a:lnTo>
                      <a:lnTo>
                        <a:pt x="404" y="14"/>
                      </a:lnTo>
                      <a:lnTo>
                        <a:pt x="408" y="12"/>
                      </a:lnTo>
                      <a:lnTo>
                        <a:pt x="410" y="8"/>
                      </a:lnTo>
                      <a:lnTo>
                        <a:pt x="413" y="6"/>
                      </a:lnTo>
                      <a:lnTo>
                        <a:pt x="418" y="3"/>
                      </a:lnTo>
                      <a:lnTo>
                        <a:pt x="423" y="3"/>
                      </a:lnTo>
                      <a:lnTo>
                        <a:pt x="428" y="3"/>
                      </a:lnTo>
                      <a:lnTo>
                        <a:pt x="433" y="6"/>
                      </a:lnTo>
                      <a:lnTo>
                        <a:pt x="438" y="7"/>
                      </a:lnTo>
                      <a:lnTo>
                        <a:pt x="442" y="9"/>
                      </a:lnTo>
                      <a:lnTo>
                        <a:pt x="446" y="13"/>
                      </a:lnTo>
                      <a:lnTo>
                        <a:pt x="447" y="15"/>
                      </a:lnTo>
                      <a:lnTo>
                        <a:pt x="448" y="19"/>
                      </a:lnTo>
                      <a:lnTo>
                        <a:pt x="448" y="20"/>
                      </a:lnTo>
                      <a:lnTo>
                        <a:pt x="447" y="20"/>
                      </a:lnTo>
                      <a:lnTo>
                        <a:pt x="445" y="21"/>
                      </a:lnTo>
                      <a:lnTo>
                        <a:pt x="442" y="23"/>
                      </a:lnTo>
                      <a:lnTo>
                        <a:pt x="440" y="25"/>
                      </a:lnTo>
                      <a:lnTo>
                        <a:pt x="436" y="26"/>
                      </a:lnTo>
                      <a:lnTo>
                        <a:pt x="433" y="26"/>
                      </a:lnTo>
                      <a:lnTo>
                        <a:pt x="431" y="25"/>
                      </a:lnTo>
                      <a:lnTo>
                        <a:pt x="426" y="21"/>
                      </a:lnTo>
                      <a:lnTo>
                        <a:pt x="423" y="20"/>
                      </a:lnTo>
                      <a:lnTo>
                        <a:pt x="419" y="20"/>
                      </a:lnTo>
                      <a:lnTo>
                        <a:pt x="417" y="21"/>
                      </a:lnTo>
                      <a:lnTo>
                        <a:pt x="415" y="23"/>
                      </a:lnTo>
                      <a:lnTo>
                        <a:pt x="415" y="26"/>
                      </a:lnTo>
                      <a:lnTo>
                        <a:pt x="417" y="28"/>
                      </a:lnTo>
                      <a:lnTo>
                        <a:pt x="418" y="31"/>
                      </a:lnTo>
                      <a:lnTo>
                        <a:pt x="420" y="32"/>
                      </a:lnTo>
                      <a:lnTo>
                        <a:pt x="427" y="33"/>
                      </a:lnTo>
                      <a:lnTo>
                        <a:pt x="432" y="35"/>
                      </a:lnTo>
                      <a:lnTo>
                        <a:pt x="434" y="39"/>
                      </a:lnTo>
                      <a:lnTo>
                        <a:pt x="440" y="41"/>
                      </a:lnTo>
                      <a:lnTo>
                        <a:pt x="447" y="44"/>
                      </a:lnTo>
                      <a:lnTo>
                        <a:pt x="445" y="47"/>
                      </a:lnTo>
                      <a:lnTo>
                        <a:pt x="442" y="50"/>
                      </a:lnTo>
                      <a:lnTo>
                        <a:pt x="438" y="50"/>
                      </a:lnTo>
                      <a:lnTo>
                        <a:pt x="434" y="52"/>
                      </a:lnTo>
                      <a:lnTo>
                        <a:pt x="431" y="53"/>
                      </a:lnTo>
                      <a:lnTo>
                        <a:pt x="422" y="52"/>
                      </a:lnTo>
                      <a:lnTo>
                        <a:pt x="418" y="47"/>
                      </a:lnTo>
                      <a:lnTo>
                        <a:pt x="414" y="44"/>
                      </a:lnTo>
                      <a:lnTo>
                        <a:pt x="409" y="40"/>
                      </a:lnTo>
                      <a:lnTo>
                        <a:pt x="404" y="38"/>
                      </a:lnTo>
                      <a:lnTo>
                        <a:pt x="401" y="35"/>
                      </a:lnTo>
                      <a:lnTo>
                        <a:pt x="399" y="32"/>
                      </a:lnTo>
                      <a:lnTo>
                        <a:pt x="398" y="28"/>
                      </a:lnTo>
                      <a:lnTo>
                        <a:pt x="396" y="26"/>
                      </a:lnTo>
                      <a:lnTo>
                        <a:pt x="394" y="25"/>
                      </a:lnTo>
                      <a:lnTo>
                        <a:pt x="391" y="25"/>
                      </a:lnTo>
                      <a:lnTo>
                        <a:pt x="384" y="28"/>
                      </a:lnTo>
                      <a:lnTo>
                        <a:pt x="376" y="32"/>
                      </a:lnTo>
                      <a:lnTo>
                        <a:pt x="368" y="34"/>
                      </a:lnTo>
                      <a:lnTo>
                        <a:pt x="361" y="38"/>
                      </a:lnTo>
                      <a:lnTo>
                        <a:pt x="358" y="40"/>
                      </a:lnTo>
                      <a:lnTo>
                        <a:pt x="357" y="42"/>
                      </a:lnTo>
                      <a:lnTo>
                        <a:pt x="356" y="45"/>
                      </a:lnTo>
                      <a:lnTo>
                        <a:pt x="356" y="48"/>
                      </a:lnTo>
                      <a:lnTo>
                        <a:pt x="358" y="54"/>
                      </a:lnTo>
                      <a:lnTo>
                        <a:pt x="361" y="60"/>
                      </a:lnTo>
                      <a:lnTo>
                        <a:pt x="360" y="61"/>
                      </a:lnTo>
                      <a:lnTo>
                        <a:pt x="358" y="63"/>
                      </a:lnTo>
                      <a:lnTo>
                        <a:pt x="354" y="67"/>
                      </a:lnTo>
                      <a:lnTo>
                        <a:pt x="348" y="70"/>
                      </a:lnTo>
                      <a:lnTo>
                        <a:pt x="344" y="71"/>
                      </a:lnTo>
                      <a:lnTo>
                        <a:pt x="333" y="67"/>
                      </a:lnTo>
                      <a:lnTo>
                        <a:pt x="330" y="66"/>
                      </a:lnTo>
                      <a:lnTo>
                        <a:pt x="329" y="67"/>
                      </a:lnTo>
                      <a:lnTo>
                        <a:pt x="324" y="70"/>
                      </a:lnTo>
                      <a:lnTo>
                        <a:pt x="320" y="71"/>
                      </a:lnTo>
                      <a:lnTo>
                        <a:pt x="314" y="72"/>
                      </a:lnTo>
                      <a:lnTo>
                        <a:pt x="310" y="73"/>
                      </a:lnTo>
                      <a:lnTo>
                        <a:pt x="306" y="72"/>
                      </a:lnTo>
                      <a:lnTo>
                        <a:pt x="302" y="71"/>
                      </a:lnTo>
                      <a:lnTo>
                        <a:pt x="300" y="69"/>
                      </a:lnTo>
                      <a:lnTo>
                        <a:pt x="295" y="63"/>
                      </a:lnTo>
                      <a:lnTo>
                        <a:pt x="291" y="55"/>
                      </a:lnTo>
                      <a:lnTo>
                        <a:pt x="290" y="54"/>
                      </a:lnTo>
                      <a:lnTo>
                        <a:pt x="287" y="53"/>
                      </a:lnTo>
                      <a:lnTo>
                        <a:pt x="280" y="58"/>
                      </a:lnTo>
                      <a:lnTo>
                        <a:pt x="272" y="6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5" name="Freeform 1284"/>
                <p:cNvSpPr>
                  <a:spLocks/>
                </p:cNvSpPr>
                <p:nvPr/>
              </p:nvSpPr>
              <p:spPr bwMode="auto">
                <a:xfrm>
                  <a:off x="4874222" y="2845476"/>
                  <a:ext cx="31077" cy="42916"/>
                </a:xfrm>
                <a:custGeom>
                  <a:avLst/>
                  <a:gdLst>
                    <a:gd name="T0" fmla="*/ 2147483647 w 22"/>
                    <a:gd name="T1" fmla="*/ 2147483647 h 29"/>
                    <a:gd name="T2" fmla="*/ 2147483647 w 22"/>
                    <a:gd name="T3" fmla="*/ 2147483647 h 29"/>
                    <a:gd name="T4" fmla="*/ 2147483647 w 22"/>
                    <a:gd name="T5" fmla="*/ 2147483647 h 29"/>
                    <a:gd name="T6" fmla="*/ 2147483647 w 22"/>
                    <a:gd name="T7" fmla="*/ 2147483647 h 29"/>
                    <a:gd name="T8" fmla="*/ 2147483647 w 22"/>
                    <a:gd name="T9" fmla="*/ 2147483647 h 29"/>
                    <a:gd name="T10" fmla="*/ 2147483647 w 22"/>
                    <a:gd name="T11" fmla="*/ 2147483647 h 29"/>
                    <a:gd name="T12" fmla="*/ 2147483647 w 22"/>
                    <a:gd name="T13" fmla="*/ 2147483647 h 29"/>
                    <a:gd name="T14" fmla="*/ 2147483647 w 22"/>
                    <a:gd name="T15" fmla="*/ 2147483647 h 29"/>
                    <a:gd name="T16" fmla="*/ 2147483647 w 22"/>
                    <a:gd name="T17" fmla="*/ 2147483647 h 29"/>
                    <a:gd name="T18" fmla="*/ 0 w 22"/>
                    <a:gd name="T19" fmla="*/ 2147483647 h 29"/>
                    <a:gd name="T20" fmla="*/ 0 w 22"/>
                    <a:gd name="T21" fmla="*/ 2147483647 h 29"/>
                    <a:gd name="T22" fmla="*/ 0 w 22"/>
                    <a:gd name="T23" fmla="*/ 2147483647 h 29"/>
                    <a:gd name="T24" fmla="*/ 0 w 22"/>
                    <a:gd name="T25" fmla="*/ 2147483647 h 29"/>
                    <a:gd name="T26" fmla="*/ 0 w 22"/>
                    <a:gd name="T27" fmla="*/ 2147483647 h 29"/>
                    <a:gd name="T28" fmla="*/ 2147483647 w 22"/>
                    <a:gd name="T29" fmla="*/ 2147483647 h 29"/>
                    <a:gd name="T30" fmla="*/ 2147483647 w 22"/>
                    <a:gd name="T31" fmla="*/ 2147483647 h 29"/>
                    <a:gd name="T32" fmla="*/ 2147483647 w 22"/>
                    <a:gd name="T33" fmla="*/ 2147483647 h 29"/>
                    <a:gd name="T34" fmla="*/ 2147483647 w 22"/>
                    <a:gd name="T35" fmla="*/ 0 h 29"/>
                    <a:gd name="T36" fmla="*/ 2147483647 w 22"/>
                    <a:gd name="T37" fmla="*/ 0 h 29"/>
                    <a:gd name="T38" fmla="*/ 2147483647 w 22"/>
                    <a:gd name="T39" fmla="*/ 0 h 29"/>
                    <a:gd name="T40" fmla="*/ 2147483647 w 22"/>
                    <a:gd name="T41" fmla="*/ 2147483647 h 29"/>
                    <a:gd name="T42" fmla="*/ 2147483647 w 22"/>
                    <a:gd name="T43" fmla="*/ 2147483647 h 29"/>
                    <a:gd name="T44" fmla="*/ 2147483647 w 22"/>
                    <a:gd name="T45" fmla="*/ 2147483647 h 29"/>
                    <a:gd name="T46" fmla="*/ 2147483647 w 22"/>
                    <a:gd name="T47" fmla="*/ 2147483647 h 29"/>
                    <a:gd name="T48" fmla="*/ 2147483647 w 22"/>
                    <a:gd name="T49" fmla="*/ 2147483647 h 29"/>
                    <a:gd name="T50" fmla="*/ 2147483647 w 22"/>
                    <a:gd name="T51" fmla="*/ 2147483647 h 29"/>
                    <a:gd name="T52" fmla="*/ 2147483647 w 22"/>
                    <a:gd name="T53" fmla="*/ 2147483647 h 29"/>
                    <a:gd name="T54" fmla="*/ 2147483647 w 22"/>
                    <a:gd name="T55" fmla="*/ 2147483647 h 29"/>
                    <a:gd name="T56" fmla="*/ 2147483647 w 22"/>
                    <a:gd name="T57" fmla="*/ 2147483647 h 29"/>
                    <a:gd name="T58" fmla="*/ 2147483647 w 22"/>
                    <a:gd name="T59" fmla="*/ 2147483647 h 29"/>
                    <a:gd name="T60" fmla="*/ 2147483647 w 22"/>
                    <a:gd name="T61" fmla="*/ 2147483647 h 29"/>
                    <a:gd name="T62" fmla="*/ 2147483647 w 22"/>
                    <a:gd name="T63" fmla="*/ 2147483647 h 29"/>
                    <a:gd name="T64" fmla="*/ 2147483647 w 22"/>
                    <a:gd name="T65" fmla="*/ 2147483647 h 29"/>
                    <a:gd name="T66" fmla="*/ 2147483647 w 22"/>
                    <a:gd name="T67" fmla="*/ 2147483647 h 29"/>
                    <a:gd name="T68" fmla="*/ 2147483647 w 22"/>
                    <a:gd name="T69" fmla="*/ 2147483647 h 29"/>
                    <a:gd name="T70" fmla="*/ 2147483647 w 22"/>
                    <a:gd name="T71" fmla="*/ 2147483647 h 29"/>
                    <a:gd name="T72" fmla="*/ 2147483647 w 22"/>
                    <a:gd name="T73" fmla="*/ 2147483647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
                    <a:gd name="T112" fmla="*/ 0 h 29"/>
                    <a:gd name="T113" fmla="*/ 22 w 22"/>
                    <a:gd name="T114" fmla="*/ 29 h 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 h="29">
                      <a:moveTo>
                        <a:pt x="21" y="25"/>
                      </a:moveTo>
                      <a:lnTo>
                        <a:pt x="21" y="25"/>
                      </a:lnTo>
                      <a:lnTo>
                        <a:pt x="18" y="29"/>
                      </a:lnTo>
                      <a:lnTo>
                        <a:pt x="17" y="29"/>
                      </a:lnTo>
                      <a:lnTo>
                        <a:pt x="16" y="29"/>
                      </a:lnTo>
                      <a:lnTo>
                        <a:pt x="12" y="26"/>
                      </a:lnTo>
                      <a:lnTo>
                        <a:pt x="8" y="25"/>
                      </a:lnTo>
                      <a:lnTo>
                        <a:pt x="4" y="24"/>
                      </a:lnTo>
                      <a:lnTo>
                        <a:pt x="0" y="23"/>
                      </a:lnTo>
                      <a:lnTo>
                        <a:pt x="0" y="20"/>
                      </a:lnTo>
                      <a:lnTo>
                        <a:pt x="0" y="18"/>
                      </a:lnTo>
                      <a:lnTo>
                        <a:pt x="3" y="13"/>
                      </a:lnTo>
                      <a:lnTo>
                        <a:pt x="3" y="10"/>
                      </a:lnTo>
                      <a:lnTo>
                        <a:pt x="3" y="5"/>
                      </a:lnTo>
                      <a:lnTo>
                        <a:pt x="3" y="0"/>
                      </a:lnTo>
                      <a:lnTo>
                        <a:pt x="4" y="0"/>
                      </a:lnTo>
                      <a:lnTo>
                        <a:pt x="5" y="1"/>
                      </a:lnTo>
                      <a:lnTo>
                        <a:pt x="8" y="4"/>
                      </a:lnTo>
                      <a:lnTo>
                        <a:pt x="12" y="4"/>
                      </a:lnTo>
                      <a:lnTo>
                        <a:pt x="18" y="5"/>
                      </a:lnTo>
                      <a:lnTo>
                        <a:pt x="19" y="6"/>
                      </a:lnTo>
                      <a:lnTo>
                        <a:pt x="19" y="8"/>
                      </a:lnTo>
                      <a:lnTo>
                        <a:pt x="18" y="13"/>
                      </a:lnTo>
                      <a:lnTo>
                        <a:pt x="17" y="16"/>
                      </a:lnTo>
                      <a:lnTo>
                        <a:pt x="18" y="18"/>
                      </a:lnTo>
                      <a:lnTo>
                        <a:pt x="22" y="21"/>
                      </a:lnTo>
                      <a:lnTo>
                        <a:pt x="22" y="23"/>
                      </a:lnTo>
                      <a:lnTo>
                        <a:pt x="21" y="2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6" name="Freeform 1285"/>
                <p:cNvSpPr>
                  <a:spLocks/>
                </p:cNvSpPr>
                <p:nvPr/>
              </p:nvSpPr>
              <p:spPr bwMode="auto">
                <a:xfrm>
                  <a:off x="4852020" y="2870632"/>
                  <a:ext cx="17758" cy="34038"/>
                </a:xfrm>
                <a:custGeom>
                  <a:avLst/>
                  <a:gdLst>
                    <a:gd name="T0" fmla="*/ 2147483647 w 13"/>
                    <a:gd name="T1" fmla="*/ 2147483647 h 23"/>
                    <a:gd name="T2" fmla="*/ 2147483647 w 13"/>
                    <a:gd name="T3" fmla="*/ 2147483647 h 23"/>
                    <a:gd name="T4" fmla="*/ 2147483647 w 13"/>
                    <a:gd name="T5" fmla="*/ 2147483647 h 23"/>
                    <a:gd name="T6" fmla="*/ 2147483647 w 13"/>
                    <a:gd name="T7" fmla="*/ 2147483647 h 23"/>
                    <a:gd name="T8" fmla="*/ 2147483647 w 13"/>
                    <a:gd name="T9" fmla="*/ 2147483647 h 23"/>
                    <a:gd name="T10" fmla="*/ 2147483647 w 13"/>
                    <a:gd name="T11" fmla="*/ 2147483647 h 23"/>
                    <a:gd name="T12" fmla="*/ 2147483647 w 13"/>
                    <a:gd name="T13" fmla="*/ 2147483647 h 23"/>
                    <a:gd name="T14" fmla="*/ 2147483647 w 13"/>
                    <a:gd name="T15" fmla="*/ 2147483647 h 23"/>
                    <a:gd name="T16" fmla="*/ 0 w 13"/>
                    <a:gd name="T17" fmla="*/ 2147483647 h 23"/>
                    <a:gd name="T18" fmla="*/ 0 w 13"/>
                    <a:gd name="T19" fmla="*/ 2147483647 h 23"/>
                    <a:gd name="T20" fmla="*/ 2147483647 w 13"/>
                    <a:gd name="T21" fmla="*/ 2147483647 h 23"/>
                    <a:gd name="T22" fmla="*/ 2147483647 w 13"/>
                    <a:gd name="T23" fmla="*/ 2147483647 h 23"/>
                    <a:gd name="T24" fmla="*/ 2147483647 w 13"/>
                    <a:gd name="T25" fmla="*/ 2147483647 h 23"/>
                    <a:gd name="T26" fmla="*/ 2147483647 w 13"/>
                    <a:gd name="T27" fmla="*/ 0 h 23"/>
                    <a:gd name="T28" fmla="*/ 2147483647 w 13"/>
                    <a:gd name="T29" fmla="*/ 2147483647 h 23"/>
                    <a:gd name="T30" fmla="*/ 2147483647 w 13"/>
                    <a:gd name="T31" fmla="*/ 2147483647 h 23"/>
                    <a:gd name="T32" fmla="*/ 2147483647 w 13"/>
                    <a:gd name="T33" fmla="*/ 2147483647 h 23"/>
                    <a:gd name="T34" fmla="*/ 2147483647 w 13"/>
                    <a:gd name="T35" fmla="*/ 2147483647 h 23"/>
                    <a:gd name="T36" fmla="*/ 2147483647 w 13"/>
                    <a:gd name="T37" fmla="*/ 2147483647 h 23"/>
                    <a:gd name="T38" fmla="*/ 2147483647 w 13"/>
                    <a:gd name="T39" fmla="*/ 2147483647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
                    <a:gd name="T61" fmla="*/ 0 h 23"/>
                    <a:gd name="T62" fmla="*/ 13 w 13"/>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 h="23">
                      <a:moveTo>
                        <a:pt x="12" y="14"/>
                      </a:moveTo>
                      <a:lnTo>
                        <a:pt x="12" y="18"/>
                      </a:lnTo>
                      <a:lnTo>
                        <a:pt x="11" y="21"/>
                      </a:lnTo>
                      <a:lnTo>
                        <a:pt x="10" y="22"/>
                      </a:lnTo>
                      <a:lnTo>
                        <a:pt x="8" y="23"/>
                      </a:lnTo>
                      <a:lnTo>
                        <a:pt x="6" y="22"/>
                      </a:lnTo>
                      <a:lnTo>
                        <a:pt x="3" y="21"/>
                      </a:lnTo>
                      <a:lnTo>
                        <a:pt x="1" y="18"/>
                      </a:lnTo>
                      <a:lnTo>
                        <a:pt x="0" y="15"/>
                      </a:lnTo>
                      <a:lnTo>
                        <a:pt x="0" y="12"/>
                      </a:lnTo>
                      <a:lnTo>
                        <a:pt x="2" y="6"/>
                      </a:lnTo>
                      <a:lnTo>
                        <a:pt x="3" y="3"/>
                      </a:lnTo>
                      <a:lnTo>
                        <a:pt x="6" y="1"/>
                      </a:lnTo>
                      <a:lnTo>
                        <a:pt x="8" y="0"/>
                      </a:lnTo>
                      <a:lnTo>
                        <a:pt x="11" y="1"/>
                      </a:lnTo>
                      <a:lnTo>
                        <a:pt x="12" y="2"/>
                      </a:lnTo>
                      <a:lnTo>
                        <a:pt x="13" y="4"/>
                      </a:lnTo>
                      <a:lnTo>
                        <a:pt x="13" y="7"/>
                      </a:lnTo>
                      <a:lnTo>
                        <a:pt x="13" y="9"/>
                      </a:lnTo>
                      <a:lnTo>
                        <a:pt x="12"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7" name="Freeform 1286"/>
                <p:cNvSpPr>
                  <a:spLocks/>
                </p:cNvSpPr>
                <p:nvPr/>
              </p:nvSpPr>
              <p:spPr bwMode="auto">
                <a:xfrm>
                  <a:off x="4872742" y="2894314"/>
                  <a:ext cx="20718" cy="16279"/>
                </a:xfrm>
                <a:custGeom>
                  <a:avLst/>
                  <a:gdLst>
                    <a:gd name="T0" fmla="*/ 2147483647 w 15"/>
                    <a:gd name="T1" fmla="*/ 2147483647 h 11"/>
                    <a:gd name="T2" fmla="*/ 2147483647 w 15"/>
                    <a:gd name="T3" fmla="*/ 2147483647 h 11"/>
                    <a:gd name="T4" fmla="*/ 2147483647 w 15"/>
                    <a:gd name="T5" fmla="*/ 2147483647 h 11"/>
                    <a:gd name="T6" fmla="*/ 2147483647 w 15"/>
                    <a:gd name="T7" fmla="*/ 2147483647 h 11"/>
                    <a:gd name="T8" fmla="*/ 0 w 15"/>
                    <a:gd name="T9" fmla="*/ 2147483647 h 11"/>
                    <a:gd name="T10" fmla="*/ 0 w 15"/>
                    <a:gd name="T11" fmla="*/ 2147483647 h 11"/>
                    <a:gd name="T12" fmla="*/ 2147483647 w 15"/>
                    <a:gd name="T13" fmla="*/ 2147483647 h 11"/>
                    <a:gd name="T14" fmla="*/ 2147483647 w 15"/>
                    <a:gd name="T15" fmla="*/ 2147483647 h 11"/>
                    <a:gd name="T16" fmla="*/ 2147483647 w 15"/>
                    <a:gd name="T17" fmla="*/ 0 h 11"/>
                    <a:gd name="T18" fmla="*/ 2147483647 w 15"/>
                    <a:gd name="T19" fmla="*/ 0 h 11"/>
                    <a:gd name="T20" fmla="*/ 2147483647 w 15"/>
                    <a:gd name="T21" fmla="*/ 2147483647 h 11"/>
                    <a:gd name="T22" fmla="*/ 2147483647 w 15"/>
                    <a:gd name="T23" fmla="*/ 2147483647 h 11"/>
                    <a:gd name="T24" fmla="*/ 2147483647 w 15"/>
                    <a:gd name="T25" fmla="*/ 2147483647 h 11"/>
                    <a:gd name="T26" fmla="*/ 2147483647 w 15"/>
                    <a:gd name="T27" fmla="*/ 2147483647 h 11"/>
                    <a:gd name="T28" fmla="*/ 2147483647 w 15"/>
                    <a:gd name="T29" fmla="*/ 2147483647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1"/>
                    <a:gd name="T47" fmla="*/ 15 w 15"/>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1">
                      <a:moveTo>
                        <a:pt x="11" y="10"/>
                      </a:moveTo>
                      <a:lnTo>
                        <a:pt x="6" y="11"/>
                      </a:lnTo>
                      <a:lnTo>
                        <a:pt x="4" y="11"/>
                      </a:lnTo>
                      <a:lnTo>
                        <a:pt x="1" y="10"/>
                      </a:lnTo>
                      <a:lnTo>
                        <a:pt x="0" y="9"/>
                      </a:lnTo>
                      <a:lnTo>
                        <a:pt x="0" y="6"/>
                      </a:lnTo>
                      <a:lnTo>
                        <a:pt x="1" y="4"/>
                      </a:lnTo>
                      <a:lnTo>
                        <a:pt x="4" y="2"/>
                      </a:lnTo>
                      <a:lnTo>
                        <a:pt x="8" y="0"/>
                      </a:lnTo>
                      <a:lnTo>
                        <a:pt x="10" y="0"/>
                      </a:lnTo>
                      <a:lnTo>
                        <a:pt x="11" y="2"/>
                      </a:lnTo>
                      <a:lnTo>
                        <a:pt x="14" y="3"/>
                      </a:lnTo>
                      <a:lnTo>
                        <a:pt x="15" y="5"/>
                      </a:lnTo>
                      <a:lnTo>
                        <a:pt x="14" y="7"/>
                      </a:lnTo>
                      <a:lnTo>
                        <a:pt x="11"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8" name="Freeform 1287"/>
                <p:cNvSpPr>
                  <a:spLocks/>
                </p:cNvSpPr>
                <p:nvPr/>
              </p:nvSpPr>
              <p:spPr bwMode="auto">
                <a:xfrm>
                  <a:off x="4849061" y="2869154"/>
                  <a:ext cx="19239" cy="34037"/>
                </a:xfrm>
                <a:custGeom>
                  <a:avLst/>
                  <a:gdLst>
                    <a:gd name="T0" fmla="*/ 2147483647 w 14"/>
                    <a:gd name="T1" fmla="*/ 2147483647 h 23"/>
                    <a:gd name="T2" fmla="*/ 2147483647 w 14"/>
                    <a:gd name="T3" fmla="*/ 2147483647 h 23"/>
                    <a:gd name="T4" fmla="*/ 2147483647 w 14"/>
                    <a:gd name="T5" fmla="*/ 2147483647 h 23"/>
                    <a:gd name="T6" fmla="*/ 2147483647 w 14"/>
                    <a:gd name="T7" fmla="*/ 2147483647 h 23"/>
                    <a:gd name="T8" fmla="*/ 2147483647 w 14"/>
                    <a:gd name="T9" fmla="*/ 2147483647 h 23"/>
                    <a:gd name="T10" fmla="*/ 2147483647 w 14"/>
                    <a:gd name="T11" fmla="*/ 2147483647 h 23"/>
                    <a:gd name="T12" fmla="*/ 2147483647 w 14"/>
                    <a:gd name="T13" fmla="*/ 2147483647 h 23"/>
                    <a:gd name="T14" fmla="*/ 2147483647 w 14"/>
                    <a:gd name="T15" fmla="*/ 2147483647 h 23"/>
                    <a:gd name="T16" fmla="*/ 2147483647 w 14"/>
                    <a:gd name="T17" fmla="*/ 2147483647 h 23"/>
                    <a:gd name="T18" fmla="*/ 2147483647 w 14"/>
                    <a:gd name="T19" fmla="*/ 2147483647 h 23"/>
                    <a:gd name="T20" fmla="*/ 0 w 14"/>
                    <a:gd name="T21" fmla="*/ 2147483647 h 23"/>
                    <a:gd name="T22" fmla="*/ 0 w 14"/>
                    <a:gd name="T23" fmla="*/ 2147483647 h 23"/>
                    <a:gd name="T24" fmla="*/ 2147483647 w 14"/>
                    <a:gd name="T25" fmla="*/ 2147483647 h 23"/>
                    <a:gd name="T26" fmla="*/ 2147483647 w 14"/>
                    <a:gd name="T27" fmla="*/ 2147483647 h 23"/>
                    <a:gd name="T28" fmla="*/ 2147483647 w 14"/>
                    <a:gd name="T29" fmla="*/ 2147483647 h 23"/>
                    <a:gd name="T30" fmla="*/ 2147483647 w 14"/>
                    <a:gd name="T31" fmla="*/ 2147483647 h 23"/>
                    <a:gd name="T32" fmla="*/ 2147483647 w 14"/>
                    <a:gd name="T33" fmla="*/ 0 h 23"/>
                    <a:gd name="T34" fmla="*/ 2147483647 w 14"/>
                    <a:gd name="T35" fmla="*/ 2147483647 h 23"/>
                    <a:gd name="T36" fmla="*/ 2147483647 w 14"/>
                    <a:gd name="T37" fmla="*/ 2147483647 h 23"/>
                    <a:gd name="T38" fmla="*/ 2147483647 w 14"/>
                    <a:gd name="T39" fmla="*/ 2147483647 h 23"/>
                    <a:gd name="T40" fmla="*/ 2147483647 w 14"/>
                    <a:gd name="T41" fmla="*/ 2147483647 h 23"/>
                    <a:gd name="T42" fmla="*/ 2147483647 w 14"/>
                    <a:gd name="T43" fmla="*/ 2147483647 h 23"/>
                    <a:gd name="T44" fmla="*/ 2147483647 w 14"/>
                    <a:gd name="T45" fmla="*/ 2147483647 h 23"/>
                    <a:gd name="T46" fmla="*/ 2147483647 w 14"/>
                    <a:gd name="T47" fmla="*/ 2147483647 h 23"/>
                    <a:gd name="T48" fmla="*/ 2147483647 w 14"/>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
                    <a:gd name="T76" fmla="*/ 0 h 23"/>
                    <a:gd name="T77" fmla="*/ 14 w 14"/>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 h="23">
                      <a:moveTo>
                        <a:pt x="13" y="14"/>
                      </a:moveTo>
                      <a:lnTo>
                        <a:pt x="13" y="14"/>
                      </a:lnTo>
                      <a:lnTo>
                        <a:pt x="13" y="17"/>
                      </a:lnTo>
                      <a:lnTo>
                        <a:pt x="12" y="21"/>
                      </a:lnTo>
                      <a:lnTo>
                        <a:pt x="10" y="22"/>
                      </a:lnTo>
                      <a:lnTo>
                        <a:pt x="9" y="23"/>
                      </a:lnTo>
                      <a:lnTo>
                        <a:pt x="7" y="22"/>
                      </a:lnTo>
                      <a:lnTo>
                        <a:pt x="4" y="21"/>
                      </a:lnTo>
                      <a:lnTo>
                        <a:pt x="2" y="17"/>
                      </a:lnTo>
                      <a:lnTo>
                        <a:pt x="0" y="15"/>
                      </a:lnTo>
                      <a:lnTo>
                        <a:pt x="0" y="11"/>
                      </a:lnTo>
                      <a:lnTo>
                        <a:pt x="3" y="5"/>
                      </a:lnTo>
                      <a:lnTo>
                        <a:pt x="4" y="3"/>
                      </a:lnTo>
                      <a:lnTo>
                        <a:pt x="7" y="1"/>
                      </a:lnTo>
                      <a:lnTo>
                        <a:pt x="9" y="0"/>
                      </a:lnTo>
                      <a:lnTo>
                        <a:pt x="12" y="1"/>
                      </a:lnTo>
                      <a:lnTo>
                        <a:pt x="13" y="2"/>
                      </a:lnTo>
                      <a:lnTo>
                        <a:pt x="14" y="4"/>
                      </a:lnTo>
                      <a:lnTo>
                        <a:pt x="14" y="7"/>
                      </a:lnTo>
                      <a:lnTo>
                        <a:pt x="14" y="9"/>
                      </a:lnTo>
                      <a:lnTo>
                        <a:pt x="13"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49" name="Freeform 1288"/>
                <p:cNvSpPr>
                  <a:spLocks/>
                </p:cNvSpPr>
                <p:nvPr/>
              </p:nvSpPr>
              <p:spPr bwMode="auto">
                <a:xfrm>
                  <a:off x="4872738" y="2892831"/>
                  <a:ext cx="19239" cy="16278"/>
                </a:xfrm>
                <a:custGeom>
                  <a:avLst/>
                  <a:gdLst>
                    <a:gd name="T0" fmla="*/ 2147483647 w 15"/>
                    <a:gd name="T1" fmla="*/ 2147483647 h 11"/>
                    <a:gd name="T2" fmla="*/ 2147483647 w 15"/>
                    <a:gd name="T3" fmla="*/ 2147483647 h 11"/>
                    <a:gd name="T4" fmla="*/ 2147483647 w 15"/>
                    <a:gd name="T5" fmla="*/ 2147483647 h 11"/>
                    <a:gd name="T6" fmla="*/ 2147483647 w 15"/>
                    <a:gd name="T7" fmla="*/ 2147483647 h 11"/>
                    <a:gd name="T8" fmla="*/ 2147483647 w 15"/>
                    <a:gd name="T9" fmla="*/ 2147483647 h 11"/>
                    <a:gd name="T10" fmla="*/ 2147483647 w 15"/>
                    <a:gd name="T11" fmla="*/ 2147483647 h 11"/>
                    <a:gd name="T12" fmla="*/ 0 w 15"/>
                    <a:gd name="T13" fmla="*/ 2147483647 h 11"/>
                    <a:gd name="T14" fmla="*/ 0 w 15"/>
                    <a:gd name="T15" fmla="*/ 2147483647 h 11"/>
                    <a:gd name="T16" fmla="*/ 2147483647 w 15"/>
                    <a:gd name="T17" fmla="*/ 2147483647 h 11"/>
                    <a:gd name="T18" fmla="*/ 2147483647 w 15"/>
                    <a:gd name="T19" fmla="*/ 2147483647 h 11"/>
                    <a:gd name="T20" fmla="*/ 2147483647 w 15"/>
                    <a:gd name="T21" fmla="*/ 2147483647 h 11"/>
                    <a:gd name="T22" fmla="*/ 2147483647 w 15"/>
                    <a:gd name="T23" fmla="*/ 0 h 11"/>
                    <a:gd name="T24" fmla="*/ 2147483647 w 15"/>
                    <a:gd name="T25" fmla="*/ 0 h 11"/>
                    <a:gd name="T26" fmla="*/ 2147483647 w 15"/>
                    <a:gd name="T27" fmla="*/ 2147483647 h 11"/>
                    <a:gd name="T28" fmla="*/ 2147483647 w 15"/>
                    <a:gd name="T29" fmla="*/ 2147483647 h 11"/>
                    <a:gd name="T30" fmla="*/ 2147483647 w 15"/>
                    <a:gd name="T31" fmla="*/ 2147483647 h 11"/>
                    <a:gd name="T32" fmla="*/ 2147483647 w 15"/>
                    <a:gd name="T33" fmla="*/ 2147483647 h 11"/>
                    <a:gd name="T34" fmla="*/ 2147483647 w 15"/>
                    <a:gd name="T35" fmla="*/ 2147483647 h 11"/>
                    <a:gd name="T36" fmla="*/ 2147483647 w 15"/>
                    <a:gd name="T37" fmla="*/ 2147483647 h 11"/>
                    <a:gd name="T38" fmla="*/ 2147483647 w 15"/>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1"/>
                    <a:gd name="T62" fmla="*/ 15 w 15"/>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1">
                      <a:moveTo>
                        <a:pt x="11" y="10"/>
                      </a:moveTo>
                      <a:lnTo>
                        <a:pt x="11" y="10"/>
                      </a:lnTo>
                      <a:lnTo>
                        <a:pt x="6" y="11"/>
                      </a:lnTo>
                      <a:lnTo>
                        <a:pt x="4" y="11"/>
                      </a:lnTo>
                      <a:lnTo>
                        <a:pt x="1" y="10"/>
                      </a:lnTo>
                      <a:lnTo>
                        <a:pt x="0" y="8"/>
                      </a:lnTo>
                      <a:lnTo>
                        <a:pt x="0" y="6"/>
                      </a:lnTo>
                      <a:lnTo>
                        <a:pt x="1" y="4"/>
                      </a:lnTo>
                      <a:lnTo>
                        <a:pt x="4" y="1"/>
                      </a:lnTo>
                      <a:lnTo>
                        <a:pt x="7" y="0"/>
                      </a:lnTo>
                      <a:lnTo>
                        <a:pt x="10" y="0"/>
                      </a:lnTo>
                      <a:lnTo>
                        <a:pt x="11" y="1"/>
                      </a:lnTo>
                      <a:lnTo>
                        <a:pt x="14" y="3"/>
                      </a:lnTo>
                      <a:lnTo>
                        <a:pt x="15" y="5"/>
                      </a:lnTo>
                      <a:lnTo>
                        <a:pt x="14" y="7"/>
                      </a:lnTo>
                      <a:lnTo>
                        <a:pt x="11"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0" name="Freeform 1289"/>
                <p:cNvSpPr>
                  <a:spLocks/>
                </p:cNvSpPr>
                <p:nvPr/>
              </p:nvSpPr>
              <p:spPr bwMode="auto">
                <a:xfrm>
                  <a:off x="4803187" y="2777401"/>
                  <a:ext cx="62155" cy="136148"/>
                </a:xfrm>
                <a:custGeom>
                  <a:avLst/>
                  <a:gdLst>
                    <a:gd name="T0" fmla="*/ 2147483647 w 45"/>
                    <a:gd name="T1" fmla="*/ 2147483647 h 92"/>
                    <a:gd name="T2" fmla="*/ 2147483647 w 45"/>
                    <a:gd name="T3" fmla="*/ 2147483647 h 92"/>
                    <a:gd name="T4" fmla="*/ 2147483647 w 45"/>
                    <a:gd name="T5" fmla="*/ 2147483647 h 92"/>
                    <a:gd name="T6" fmla="*/ 2147483647 w 45"/>
                    <a:gd name="T7" fmla="*/ 2147483647 h 92"/>
                    <a:gd name="T8" fmla="*/ 2147483647 w 45"/>
                    <a:gd name="T9" fmla="*/ 2147483647 h 92"/>
                    <a:gd name="T10" fmla="*/ 2147483647 w 45"/>
                    <a:gd name="T11" fmla="*/ 2147483647 h 92"/>
                    <a:gd name="T12" fmla="*/ 2147483647 w 45"/>
                    <a:gd name="T13" fmla="*/ 2147483647 h 92"/>
                    <a:gd name="T14" fmla="*/ 2147483647 w 45"/>
                    <a:gd name="T15" fmla="*/ 2147483647 h 92"/>
                    <a:gd name="T16" fmla="*/ 2147483647 w 45"/>
                    <a:gd name="T17" fmla="*/ 2147483647 h 92"/>
                    <a:gd name="T18" fmla="*/ 2147483647 w 45"/>
                    <a:gd name="T19" fmla="*/ 2147483647 h 92"/>
                    <a:gd name="T20" fmla="*/ 2147483647 w 45"/>
                    <a:gd name="T21" fmla="*/ 2147483647 h 92"/>
                    <a:gd name="T22" fmla="*/ 2147483647 w 45"/>
                    <a:gd name="T23" fmla="*/ 2147483647 h 92"/>
                    <a:gd name="T24" fmla="*/ 2147483647 w 45"/>
                    <a:gd name="T25" fmla="*/ 2147483647 h 92"/>
                    <a:gd name="T26" fmla="*/ 0 w 45"/>
                    <a:gd name="T27" fmla="*/ 2147483647 h 92"/>
                    <a:gd name="T28" fmla="*/ 2147483647 w 45"/>
                    <a:gd name="T29" fmla="*/ 2147483647 h 92"/>
                    <a:gd name="T30" fmla="*/ 2147483647 w 45"/>
                    <a:gd name="T31" fmla="*/ 2147483647 h 92"/>
                    <a:gd name="T32" fmla="*/ 2147483647 w 45"/>
                    <a:gd name="T33" fmla="*/ 2147483647 h 92"/>
                    <a:gd name="T34" fmla="*/ 2147483647 w 45"/>
                    <a:gd name="T35" fmla="*/ 2147483647 h 92"/>
                    <a:gd name="T36" fmla="*/ 2147483647 w 45"/>
                    <a:gd name="T37" fmla="*/ 2147483647 h 92"/>
                    <a:gd name="T38" fmla="*/ 2147483647 w 45"/>
                    <a:gd name="T39" fmla="*/ 2147483647 h 92"/>
                    <a:gd name="T40" fmla="*/ 2147483647 w 45"/>
                    <a:gd name="T41" fmla="*/ 2147483647 h 92"/>
                    <a:gd name="T42" fmla="*/ 2147483647 w 45"/>
                    <a:gd name="T43" fmla="*/ 2147483647 h 92"/>
                    <a:gd name="T44" fmla="*/ 2147483647 w 45"/>
                    <a:gd name="T45" fmla="*/ 2147483647 h 92"/>
                    <a:gd name="T46" fmla="*/ 2147483647 w 45"/>
                    <a:gd name="T47" fmla="*/ 2147483647 h 92"/>
                    <a:gd name="T48" fmla="*/ 2147483647 w 45"/>
                    <a:gd name="T49" fmla="*/ 2147483647 h 92"/>
                    <a:gd name="T50" fmla="*/ 2147483647 w 45"/>
                    <a:gd name="T51" fmla="*/ 0 h 92"/>
                    <a:gd name="T52" fmla="*/ 2147483647 w 45"/>
                    <a:gd name="T53" fmla="*/ 2147483647 h 92"/>
                    <a:gd name="T54" fmla="*/ 2147483647 w 45"/>
                    <a:gd name="T55" fmla="*/ 2147483647 h 92"/>
                    <a:gd name="T56" fmla="*/ 2147483647 w 45"/>
                    <a:gd name="T57" fmla="*/ 2147483647 h 92"/>
                    <a:gd name="T58" fmla="*/ 2147483647 w 45"/>
                    <a:gd name="T59" fmla="*/ 2147483647 h 92"/>
                    <a:gd name="T60" fmla="*/ 2147483647 w 45"/>
                    <a:gd name="T61" fmla="*/ 2147483647 h 92"/>
                    <a:gd name="T62" fmla="*/ 2147483647 w 45"/>
                    <a:gd name="T63" fmla="*/ 2147483647 h 92"/>
                    <a:gd name="T64" fmla="*/ 2147483647 w 45"/>
                    <a:gd name="T65" fmla="*/ 2147483647 h 92"/>
                    <a:gd name="T66" fmla="*/ 2147483647 w 45"/>
                    <a:gd name="T67" fmla="*/ 2147483647 h 92"/>
                    <a:gd name="T68" fmla="*/ 2147483647 w 45"/>
                    <a:gd name="T69" fmla="*/ 2147483647 h 92"/>
                    <a:gd name="T70" fmla="*/ 2147483647 w 45"/>
                    <a:gd name="T71" fmla="*/ 2147483647 h 92"/>
                    <a:gd name="T72" fmla="*/ 2147483647 w 45"/>
                    <a:gd name="T73" fmla="*/ 2147483647 h 92"/>
                    <a:gd name="T74" fmla="*/ 2147483647 w 45"/>
                    <a:gd name="T75" fmla="*/ 2147483647 h 92"/>
                    <a:gd name="T76" fmla="*/ 2147483647 w 45"/>
                    <a:gd name="T77" fmla="*/ 2147483647 h 92"/>
                    <a:gd name="T78" fmla="*/ 2147483647 w 45"/>
                    <a:gd name="T79" fmla="*/ 2147483647 h 92"/>
                    <a:gd name="T80" fmla="*/ 2147483647 w 45"/>
                    <a:gd name="T81" fmla="*/ 2147483647 h 92"/>
                    <a:gd name="T82" fmla="*/ 2147483647 w 45"/>
                    <a:gd name="T83" fmla="*/ 2147483647 h 92"/>
                    <a:gd name="T84" fmla="*/ 2147483647 w 45"/>
                    <a:gd name="T85" fmla="*/ 2147483647 h 92"/>
                    <a:gd name="T86" fmla="*/ 2147483647 w 45"/>
                    <a:gd name="T87" fmla="*/ 2147483647 h 92"/>
                    <a:gd name="T88" fmla="*/ 2147483647 w 45"/>
                    <a:gd name="T89" fmla="*/ 2147483647 h 92"/>
                    <a:gd name="T90" fmla="*/ 2147483647 w 45"/>
                    <a:gd name="T91" fmla="*/ 2147483647 h 92"/>
                    <a:gd name="T92" fmla="*/ 2147483647 w 45"/>
                    <a:gd name="T93" fmla="*/ 2147483647 h 92"/>
                    <a:gd name="T94" fmla="*/ 2147483647 w 45"/>
                    <a:gd name="T95" fmla="*/ 2147483647 h 92"/>
                    <a:gd name="T96" fmla="*/ 2147483647 w 45"/>
                    <a:gd name="T97" fmla="*/ 2147483647 h 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
                    <a:gd name="T148" fmla="*/ 0 h 92"/>
                    <a:gd name="T149" fmla="*/ 45 w 45"/>
                    <a:gd name="T150" fmla="*/ 92 h 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 h="92">
                      <a:moveTo>
                        <a:pt x="31" y="90"/>
                      </a:moveTo>
                      <a:lnTo>
                        <a:pt x="28" y="91"/>
                      </a:lnTo>
                      <a:lnTo>
                        <a:pt x="23" y="91"/>
                      </a:lnTo>
                      <a:lnTo>
                        <a:pt x="18" y="92"/>
                      </a:lnTo>
                      <a:lnTo>
                        <a:pt x="13" y="89"/>
                      </a:lnTo>
                      <a:lnTo>
                        <a:pt x="12" y="86"/>
                      </a:lnTo>
                      <a:lnTo>
                        <a:pt x="9" y="84"/>
                      </a:lnTo>
                      <a:lnTo>
                        <a:pt x="9" y="82"/>
                      </a:lnTo>
                      <a:lnTo>
                        <a:pt x="10" y="78"/>
                      </a:lnTo>
                      <a:lnTo>
                        <a:pt x="10" y="75"/>
                      </a:lnTo>
                      <a:lnTo>
                        <a:pt x="9" y="71"/>
                      </a:lnTo>
                      <a:lnTo>
                        <a:pt x="4" y="59"/>
                      </a:lnTo>
                      <a:lnTo>
                        <a:pt x="1" y="53"/>
                      </a:lnTo>
                      <a:lnTo>
                        <a:pt x="0" y="47"/>
                      </a:lnTo>
                      <a:lnTo>
                        <a:pt x="1" y="41"/>
                      </a:lnTo>
                      <a:lnTo>
                        <a:pt x="3" y="35"/>
                      </a:lnTo>
                      <a:lnTo>
                        <a:pt x="7" y="30"/>
                      </a:lnTo>
                      <a:lnTo>
                        <a:pt x="12" y="25"/>
                      </a:lnTo>
                      <a:lnTo>
                        <a:pt x="17" y="22"/>
                      </a:lnTo>
                      <a:lnTo>
                        <a:pt x="21" y="20"/>
                      </a:lnTo>
                      <a:lnTo>
                        <a:pt x="26" y="18"/>
                      </a:lnTo>
                      <a:lnTo>
                        <a:pt x="28" y="14"/>
                      </a:lnTo>
                      <a:lnTo>
                        <a:pt x="31" y="9"/>
                      </a:lnTo>
                      <a:lnTo>
                        <a:pt x="35" y="5"/>
                      </a:lnTo>
                      <a:lnTo>
                        <a:pt x="40" y="2"/>
                      </a:lnTo>
                      <a:lnTo>
                        <a:pt x="45" y="0"/>
                      </a:lnTo>
                      <a:lnTo>
                        <a:pt x="43" y="2"/>
                      </a:lnTo>
                      <a:lnTo>
                        <a:pt x="42" y="6"/>
                      </a:lnTo>
                      <a:lnTo>
                        <a:pt x="40" y="8"/>
                      </a:lnTo>
                      <a:lnTo>
                        <a:pt x="38" y="11"/>
                      </a:lnTo>
                      <a:lnTo>
                        <a:pt x="38" y="14"/>
                      </a:lnTo>
                      <a:lnTo>
                        <a:pt x="38" y="18"/>
                      </a:lnTo>
                      <a:lnTo>
                        <a:pt x="38" y="22"/>
                      </a:lnTo>
                      <a:lnTo>
                        <a:pt x="37" y="26"/>
                      </a:lnTo>
                      <a:lnTo>
                        <a:pt x="36" y="30"/>
                      </a:lnTo>
                      <a:lnTo>
                        <a:pt x="37" y="32"/>
                      </a:lnTo>
                      <a:lnTo>
                        <a:pt x="43" y="40"/>
                      </a:lnTo>
                      <a:lnTo>
                        <a:pt x="45" y="44"/>
                      </a:lnTo>
                      <a:lnTo>
                        <a:pt x="45" y="47"/>
                      </a:lnTo>
                      <a:lnTo>
                        <a:pt x="43" y="52"/>
                      </a:lnTo>
                      <a:lnTo>
                        <a:pt x="41" y="57"/>
                      </a:lnTo>
                      <a:lnTo>
                        <a:pt x="36" y="59"/>
                      </a:lnTo>
                      <a:lnTo>
                        <a:pt x="32" y="62"/>
                      </a:lnTo>
                      <a:lnTo>
                        <a:pt x="26" y="64"/>
                      </a:lnTo>
                      <a:lnTo>
                        <a:pt x="24" y="66"/>
                      </a:lnTo>
                      <a:lnTo>
                        <a:pt x="23" y="70"/>
                      </a:lnTo>
                      <a:lnTo>
                        <a:pt x="23" y="76"/>
                      </a:lnTo>
                      <a:lnTo>
                        <a:pt x="26" y="83"/>
                      </a:lnTo>
                      <a:lnTo>
                        <a:pt x="31" y="9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1" name="Freeform 1299"/>
                <p:cNvSpPr>
                  <a:spLocks/>
                </p:cNvSpPr>
                <p:nvPr/>
              </p:nvSpPr>
              <p:spPr bwMode="auto">
                <a:xfrm>
                  <a:off x="5723668" y="2755206"/>
                  <a:ext cx="966356" cy="796171"/>
                </a:xfrm>
                <a:custGeom>
                  <a:avLst/>
                  <a:gdLst>
                    <a:gd name="T0" fmla="*/ 2147483647 w 708"/>
                    <a:gd name="T1" fmla="*/ 2147483647 h 538"/>
                    <a:gd name="T2" fmla="*/ 2147483647 w 708"/>
                    <a:gd name="T3" fmla="*/ 2147483647 h 538"/>
                    <a:gd name="T4" fmla="*/ 2147483647 w 708"/>
                    <a:gd name="T5" fmla="*/ 2147483647 h 538"/>
                    <a:gd name="T6" fmla="*/ 0 w 708"/>
                    <a:gd name="T7" fmla="*/ 2147483647 h 538"/>
                    <a:gd name="T8" fmla="*/ 2147483647 w 708"/>
                    <a:gd name="T9" fmla="*/ 2147483647 h 538"/>
                    <a:gd name="T10" fmla="*/ 2147483647 w 708"/>
                    <a:gd name="T11" fmla="*/ 2147483647 h 538"/>
                    <a:gd name="T12" fmla="*/ 2147483647 w 708"/>
                    <a:gd name="T13" fmla="*/ 2147483647 h 538"/>
                    <a:gd name="T14" fmla="*/ 2147483647 w 708"/>
                    <a:gd name="T15" fmla="*/ 2147483647 h 538"/>
                    <a:gd name="T16" fmla="*/ 2147483647 w 708"/>
                    <a:gd name="T17" fmla="*/ 2147483647 h 538"/>
                    <a:gd name="T18" fmla="*/ 2147483647 w 708"/>
                    <a:gd name="T19" fmla="*/ 2147483647 h 538"/>
                    <a:gd name="T20" fmla="*/ 2147483647 w 708"/>
                    <a:gd name="T21" fmla="*/ 2147483647 h 538"/>
                    <a:gd name="T22" fmla="*/ 2147483647 w 708"/>
                    <a:gd name="T23" fmla="*/ 0 h 538"/>
                    <a:gd name="T24" fmla="*/ 2147483647 w 708"/>
                    <a:gd name="T25" fmla="*/ 2147483647 h 538"/>
                    <a:gd name="T26" fmla="*/ 2147483647 w 708"/>
                    <a:gd name="T27" fmla="*/ 2147483647 h 538"/>
                    <a:gd name="T28" fmla="*/ 2147483647 w 708"/>
                    <a:gd name="T29" fmla="*/ 2147483647 h 538"/>
                    <a:gd name="T30" fmla="*/ 2147483647 w 708"/>
                    <a:gd name="T31" fmla="*/ 2147483647 h 538"/>
                    <a:gd name="T32" fmla="*/ 2147483647 w 708"/>
                    <a:gd name="T33" fmla="*/ 2147483647 h 538"/>
                    <a:gd name="T34" fmla="*/ 2147483647 w 708"/>
                    <a:gd name="T35" fmla="*/ 2147483647 h 538"/>
                    <a:gd name="T36" fmla="*/ 2147483647 w 708"/>
                    <a:gd name="T37" fmla="*/ 2147483647 h 538"/>
                    <a:gd name="T38" fmla="*/ 2147483647 w 708"/>
                    <a:gd name="T39" fmla="*/ 2147483647 h 538"/>
                    <a:gd name="T40" fmla="*/ 2147483647 w 708"/>
                    <a:gd name="T41" fmla="*/ 2147483647 h 538"/>
                    <a:gd name="T42" fmla="*/ 2147483647 w 708"/>
                    <a:gd name="T43" fmla="*/ 2147483647 h 538"/>
                    <a:gd name="T44" fmla="*/ 2147483647 w 708"/>
                    <a:gd name="T45" fmla="*/ 2147483647 h 538"/>
                    <a:gd name="T46" fmla="*/ 2147483647 w 708"/>
                    <a:gd name="T47" fmla="*/ 2147483647 h 538"/>
                    <a:gd name="T48" fmla="*/ 2147483647 w 708"/>
                    <a:gd name="T49" fmla="*/ 2147483647 h 538"/>
                    <a:gd name="T50" fmla="*/ 2147483647 w 708"/>
                    <a:gd name="T51" fmla="*/ 2147483647 h 538"/>
                    <a:gd name="T52" fmla="*/ 2147483647 w 708"/>
                    <a:gd name="T53" fmla="*/ 2147483647 h 538"/>
                    <a:gd name="T54" fmla="*/ 2147483647 w 708"/>
                    <a:gd name="T55" fmla="*/ 2147483647 h 538"/>
                    <a:gd name="T56" fmla="*/ 2147483647 w 708"/>
                    <a:gd name="T57" fmla="*/ 2147483647 h 538"/>
                    <a:gd name="T58" fmla="*/ 2147483647 w 708"/>
                    <a:gd name="T59" fmla="*/ 2147483647 h 538"/>
                    <a:gd name="T60" fmla="*/ 2147483647 w 708"/>
                    <a:gd name="T61" fmla="*/ 2147483647 h 538"/>
                    <a:gd name="T62" fmla="*/ 2147483647 w 708"/>
                    <a:gd name="T63" fmla="*/ 2147483647 h 538"/>
                    <a:gd name="T64" fmla="*/ 2147483647 w 708"/>
                    <a:gd name="T65" fmla="*/ 2147483647 h 538"/>
                    <a:gd name="T66" fmla="*/ 2147483647 w 708"/>
                    <a:gd name="T67" fmla="*/ 2147483647 h 538"/>
                    <a:gd name="T68" fmla="*/ 2147483647 w 708"/>
                    <a:gd name="T69" fmla="*/ 2147483647 h 538"/>
                    <a:gd name="T70" fmla="*/ 2147483647 w 708"/>
                    <a:gd name="T71" fmla="*/ 2147483647 h 538"/>
                    <a:gd name="T72" fmla="*/ 2147483647 w 708"/>
                    <a:gd name="T73" fmla="*/ 2147483647 h 538"/>
                    <a:gd name="T74" fmla="*/ 2147483647 w 708"/>
                    <a:gd name="T75" fmla="*/ 2147483647 h 538"/>
                    <a:gd name="T76" fmla="*/ 2147483647 w 708"/>
                    <a:gd name="T77" fmla="*/ 2147483647 h 538"/>
                    <a:gd name="T78" fmla="*/ 2147483647 w 708"/>
                    <a:gd name="T79" fmla="*/ 2147483647 h 538"/>
                    <a:gd name="T80" fmla="*/ 2147483647 w 708"/>
                    <a:gd name="T81" fmla="*/ 2147483647 h 538"/>
                    <a:gd name="T82" fmla="*/ 2147483647 w 708"/>
                    <a:gd name="T83" fmla="*/ 2147483647 h 538"/>
                    <a:gd name="T84" fmla="*/ 2147483647 w 708"/>
                    <a:gd name="T85" fmla="*/ 2147483647 h 538"/>
                    <a:gd name="T86" fmla="*/ 2147483647 w 708"/>
                    <a:gd name="T87" fmla="*/ 2147483647 h 538"/>
                    <a:gd name="T88" fmla="*/ 2147483647 w 708"/>
                    <a:gd name="T89" fmla="*/ 2147483647 h 538"/>
                    <a:gd name="T90" fmla="*/ 2147483647 w 708"/>
                    <a:gd name="T91" fmla="*/ 2147483647 h 538"/>
                    <a:gd name="T92" fmla="*/ 2147483647 w 708"/>
                    <a:gd name="T93" fmla="*/ 2147483647 h 538"/>
                    <a:gd name="T94" fmla="*/ 2147483647 w 708"/>
                    <a:gd name="T95" fmla="*/ 2147483647 h 538"/>
                    <a:gd name="T96" fmla="*/ 2147483647 w 708"/>
                    <a:gd name="T97" fmla="*/ 2147483647 h 538"/>
                    <a:gd name="T98" fmla="*/ 2147483647 w 708"/>
                    <a:gd name="T99" fmla="*/ 2147483647 h 538"/>
                    <a:gd name="T100" fmla="*/ 2147483647 w 708"/>
                    <a:gd name="T101" fmla="*/ 2147483647 h 538"/>
                    <a:gd name="T102" fmla="*/ 2147483647 w 708"/>
                    <a:gd name="T103" fmla="*/ 2147483647 h 538"/>
                    <a:gd name="T104" fmla="*/ 2147483647 w 708"/>
                    <a:gd name="T105" fmla="*/ 2147483647 h 538"/>
                    <a:gd name="T106" fmla="*/ 2147483647 w 708"/>
                    <a:gd name="T107" fmla="*/ 2147483647 h 538"/>
                    <a:gd name="T108" fmla="*/ 2147483647 w 708"/>
                    <a:gd name="T109" fmla="*/ 2147483647 h 538"/>
                    <a:gd name="T110" fmla="*/ 2147483647 w 708"/>
                    <a:gd name="T111" fmla="*/ 2147483647 h 538"/>
                    <a:gd name="T112" fmla="*/ 2147483647 w 708"/>
                    <a:gd name="T113" fmla="*/ 2147483647 h 538"/>
                    <a:gd name="T114" fmla="*/ 2147483647 w 708"/>
                    <a:gd name="T115" fmla="*/ 2147483647 h 538"/>
                    <a:gd name="T116" fmla="*/ 2147483647 w 708"/>
                    <a:gd name="T117" fmla="*/ 2147483647 h 5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08"/>
                    <a:gd name="T178" fmla="*/ 0 h 538"/>
                    <a:gd name="T179" fmla="*/ 708 w 708"/>
                    <a:gd name="T180" fmla="*/ 538 h 5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08" h="538">
                      <a:moveTo>
                        <a:pt x="35" y="302"/>
                      </a:moveTo>
                      <a:lnTo>
                        <a:pt x="41" y="295"/>
                      </a:lnTo>
                      <a:lnTo>
                        <a:pt x="54" y="279"/>
                      </a:lnTo>
                      <a:lnTo>
                        <a:pt x="59" y="270"/>
                      </a:lnTo>
                      <a:lnTo>
                        <a:pt x="61" y="262"/>
                      </a:lnTo>
                      <a:lnTo>
                        <a:pt x="62" y="258"/>
                      </a:lnTo>
                      <a:lnTo>
                        <a:pt x="61" y="254"/>
                      </a:lnTo>
                      <a:lnTo>
                        <a:pt x="60" y="252"/>
                      </a:lnTo>
                      <a:lnTo>
                        <a:pt x="57" y="250"/>
                      </a:lnTo>
                      <a:lnTo>
                        <a:pt x="50" y="246"/>
                      </a:lnTo>
                      <a:lnTo>
                        <a:pt x="46" y="243"/>
                      </a:lnTo>
                      <a:lnTo>
                        <a:pt x="43" y="239"/>
                      </a:lnTo>
                      <a:lnTo>
                        <a:pt x="43" y="235"/>
                      </a:lnTo>
                      <a:lnTo>
                        <a:pt x="42" y="232"/>
                      </a:lnTo>
                      <a:lnTo>
                        <a:pt x="41" y="230"/>
                      </a:lnTo>
                      <a:lnTo>
                        <a:pt x="38" y="226"/>
                      </a:lnTo>
                      <a:lnTo>
                        <a:pt x="35" y="224"/>
                      </a:lnTo>
                      <a:lnTo>
                        <a:pt x="24" y="220"/>
                      </a:lnTo>
                      <a:lnTo>
                        <a:pt x="18" y="219"/>
                      </a:lnTo>
                      <a:lnTo>
                        <a:pt x="9" y="218"/>
                      </a:lnTo>
                      <a:lnTo>
                        <a:pt x="7" y="218"/>
                      </a:lnTo>
                      <a:lnTo>
                        <a:pt x="5" y="215"/>
                      </a:lnTo>
                      <a:lnTo>
                        <a:pt x="2" y="206"/>
                      </a:lnTo>
                      <a:lnTo>
                        <a:pt x="0" y="197"/>
                      </a:lnTo>
                      <a:lnTo>
                        <a:pt x="2" y="190"/>
                      </a:lnTo>
                      <a:lnTo>
                        <a:pt x="3" y="184"/>
                      </a:lnTo>
                      <a:lnTo>
                        <a:pt x="5" y="180"/>
                      </a:lnTo>
                      <a:lnTo>
                        <a:pt x="9" y="173"/>
                      </a:lnTo>
                      <a:lnTo>
                        <a:pt x="10" y="170"/>
                      </a:lnTo>
                      <a:lnTo>
                        <a:pt x="9" y="169"/>
                      </a:lnTo>
                      <a:lnTo>
                        <a:pt x="12" y="169"/>
                      </a:lnTo>
                      <a:lnTo>
                        <a:pt x="18" y="173"/>
                      </a:lnTo>
                      <a:lnTo>
                        <a:pt x="22" y="174"/>
                      </a:lnTo>
                      <a:lnTo>
                        <a:pt x="27" y="175"/>
                      </a:lnTo>
                      <a:lnTo>
                        <a:pt x="33" y="175"/>
                      </a:lnTo>
                      <a:lnTo>
                        <a:pt x="38" y="174"/>
                      </a:lnTo>
                      <a:lnTo>
                        <a:pt x="42" y="171"/>
                      </a:lnTo>
                      <a:lnTo>
                        <a:pt x="45" y="168"/>
                      </a:lnTo>
                      <a:lnTo>
                        <a:pt x="45" y="163"/>
                      </a:lnTo>
                      <a:lnTo>
                        <a:pt x="43" y="160"/>
                      </a:lnTo>
                      <a:lnTo>
                        <a:pt x="38" y="152"/>
                      </a:lnTo>
                      <a:lnTo>
                        <a:pt x="37" y="150"/>
                      </a:lnTo>
                      <a:lnTo>
                        <a:pt x="68" y="130"/>
                      </a:lnTo>
                      <a:lnTo>
                        <a:pt x="80" y="117"/>
                      </a:lnTo>
                      <a:lnTo>
                        <a:pt x="92" y="120"/>
                      </a:lnTo>
                      <a:lnTo>
                        <a:pt x="116" y="126"/>
                      </a:lnTo>
                      <a:lnTo>
                        <a:pt x="137" y="144"/>
                      </a:lnTo>
                      <a:lnTo>
                        <a:pt x="162" y="156"/>
                      </a:lnTo>
                      <a:lnTo>
                        <a:pt x="179" y="137"/>
                      </a:lnTo>
                      <a:lnTo>
                        <a:pt x="203" y="141"/>
                      </a:lnTo>
                      <a:lnTo>
                        <a:pt x="220" y="155"/>
                      </a:lnTo>
                      <a:lnTo>
                        <a:pt x="244" y="150"/>
                      </a:lnTo>
                      <a:lnTo>
                        <a:pt x="255" y="144"/>
                      </a:lnTo>
                      <a:lnTo>
                        <a:pt x="263" y="139"/>
                      </a:lnTo>
                      <a:lnTo>
                        <a:pt x="264" y="137"/>
                      </a:lnTo>
                      <a:lnTo>
                        <a:pt x="263" y="136"/>
                      </a:lnTo>
                      <a:lnTo>
                        <a:pt x="253" y="133"/>
                      </a:lnTo>
                      <a:lnTo>
                        <a:pt x="248" y="131"/>
                      </a:lnTo>
                      <a:lnTo>
                        <a:pt x="243" y="126"/>
                      </a:lnTo>
                      <a:lnTo>
                        <a:pt x="239" y="122"/>
                      </a:lnTo>
                      <a:lnTo>
                        <a:pt x="239" y="116"/>
                      </a:lnTo>
                      <a:lnTo>
                        <a:pt x="240" y="111"/>
                      </a:lnTo>
                      <a:lnTo>
                        <a:pt x="242" y="107"/>
                      </a:lnTo>
                      <a:lnTo>
                        <a:pt x="248" y="100"/>
                      </a:lnTo>
                      <a:lnTo>
                        <a:pt x="250" y="98"/>
                      </a:lnTo>
                      <a:lnTo>
                        <a:pt x="244" y="85"/>
                      </a:lnTo>
                      <a:lnTo>
                        <a:pt x="266" y="80"/>
                      </a:lnTo>
                      <a:lnTo>
                        <a:pt x="249" y="59"/>
                      </a:lnTo>
                      <a:lnTo>
                        <a:pt x="286" y="47"/>
                      </a:lnTo>
                      <a:lnTo>
                        <a:pt x="310" y="40"/>
                      </a:lnTo>
                      <a:lnTo>
                        <a:pt x="366" y="21"/>
                      </a:lnTo>
                      <a:lnTo>
                        <a:pt x="395" y="0"/>
                      </a:lnTo>
                      <a:lnTo>
                        <a:pt x="418" y="7"/>
                      </a:lnTo>
                      <a:lnTo>
                        <a:pt x="428" y="41"/>
                      </a:lnTo>
                      <a:lnTo>
                        <a:pt x="451" y="40"/>
                      </a:lnTo>
                      <a:lnTo>
                        <a:pt x="468" y="54"/>
                      </a:lnTo>
                      <a:lnTo>
                        <a:pt x="489" y="55"/>
                      </a:lnTo>
                      <a:lnTo>
                        <a:pt x="509" y="40"/>
                      </a:lnTo>
                      <a:lnTo>
                        <a:pt x="544" y="73"/>
                      </a:lnTo>
                      <a:lnTo>
                        <a:pt x="565" y="125"/>
                      </a:lnTo>
                      <a:lnTo>
                        <a:pt x="581" y="145"/>
                      </a:lnTo>
                      <a:lnTo>
                        <a:pt x="595" y="132"/>
                      </a:lnTo>
                      <a:lnTo>
                        <a:pt x="608" y="145"/>
                      </a:lnTo>
                      <a:lnTo>
                        <a:pt x="624" y="147"/>
                      </a:lnTo>
                      <a:lnTo>
                        <a:pt x="644" y="141"/>
                      </a:lnTo>
                      <a:lnTo>
                        <a:pt x="652" y="155"/>
                      </a:lnTo>
                      <a:lnTo>
                        <a:pt x="661" y="165"/>
                      </a:lnTo>
                      <a:lnTo>
                        <a:pt x="676" y="179"/>
                      </a:lnTo>
                      <a:lnTo>
                        <a:pt x="697" y="186"/>
                      </a:lnTo>
                      <a:lnTo>
                        <a:pt x="708" y="200"/>
                      </a:lnTo>
                      <a:lnTo>
                        <a:pt x="695" y="224"/>
                      </a:lnTo>
                      <a:lnTo>
                        <a:pt x="702" y="228"/>
                      </a:lnTo>
                      <a:lnTo>
                        <a:pt x="685" y="237"/>
                      </a:lnTo>
                      <a:lnTo>
                        <a:pt x="678" y="243"/>
                      </a:lnTo>
                      <a:lnTo>
                        <a:pt x="673" y="245"/>
                      </a:lnTo>
                      <a:lnTo>
                        <a:pt x="669" y="247"/>
                      </a:lnTo>
                      <a:lnTo>
                        <a:pt x="667" y="248"/>
                      </a:lnTo>
                      <a:lnTo>
                        <a:pt x="666" y="252"/>
                      </a:lnTo>
                      <a:lnTo>
                        <a:pt x="664" y="262"/>
                      </a:lnTo>
                      <a:lnTo>
                        <a:pt x="663" y="270"/>
                      </a:lnTo>
                      <a:lnTo>
                        <a:pt x="663" y="273"/>
                      </a:lnTo>
                      <a:lnTo>
                        <a:pt x="662" y="276"/>
                      </a:lnTo>
                      <a:lnTo>
                        <a:pt x="658" y="278"/>
                      </a:lnTo>
                      <a:lnTo>
                        <a:pt x="653" y="280"/>
                      </a:lnTo>
                      <a:lnTo>
                        <a:pt x="644" y="282"/>
                      </a:lnTo>
                      <a:lnTo>
                        <a:pt x="631" y="282"/>
                      </a:lnTo>
                      <a:lnTo>
                        <a:pt x="626" y="282"/>
                      </a:lnTo>
                      <a:lnTo>
                        <a:pt x="622" y="283"/>
                      </a:lnTo>
                      <a:lnTo>
                        <a:pt x="620" y="284"/>
                      </a:lnTo>
                      <a:lnTo>
                        <a:pt x="617" y="288"/>
                      </a:lnTo>
                      <a:lnTo>
                        <a:pt x="615" y="294"/>
                      </a:lnTo>
                      <a:lnTo>
                        <a:pt x="615" y="301"/>
                      </a:lnTo>
                      <a:lnTo>
                        <a:pt x="615" y="308"/>
                      </a:lnTo>
                      <a:lnTo>
                        <a:pt x="617" y="314"/>
                      </a:lnTo>
                      <a:lnTo>
                        <a:pt x="620" y="318"/>
                      </a:lnTo>
                      <a:lnTo>
                        <a:pt x="614" y="320"/>
                      </a:lnTo>
                      <a:lnTo>
                        <a:pt x="593" y="323"/>
                      </a:lnTo>
                      <a:lnTo>
                        <a:pt x="575" y="326"/>
                      </a:lnTo>
                      <a:lnTo>
                        <a:pt x="573" y="327"/>
                      </a:lnTo>
                      <a:lnTo>
                        <a:pt x="573" y="329"/>
                      </a:lnTo>
                      <a:lnTo>
                        <a:pt x="581" y="343"/>
                      </a:lnTo>
                      <a:lnTo>
                        <a:pt x="587" y="355"/>
                      </a:lnTo>
                      <a:lnTo>
                        <a:pt x="587" y="359"/>
                      </a:lnTo>
                      <a:lnTo>
                        <a:pt x="586" y="362"/>
                      </a:lnTo>
                      <a:lnTo>
                        <a:pt x="581" y="371"/>
                      </a:lnTo>
                      <a:lnTo>
                        <a:pt x="574" y="378"/>
                      </a:lnTo>
                      <a:lnTo>
                        <a:pt x="572" y="382"/>
                      </a:lnTo>
                      <a:lnTo>
                        <a:pt x="573" y="386"/>
                      </a:lnTo>
                      <a:lnTo>
                        <a:pt x="575" y="391"/>
                      </a:lnTo>
                      <a:lnTo>
                        <a:pt x="575" y="393"/>
                      </a:lnTo>
                      <a:lnTo>
                        <a:pt x="574" y="395"/>
                      </a:lnTo>
                      <a:lnTo>
                        <a:pt x="572" y="398"/>
                      </a:lnTo>
                      <a:lnTo>
                        <a:pt x="568" y="400"/>
                      </a:lnTo>
                      <a:lnTo>
                        <a:pt x="558" y="406"/>
                      </a:lnTo>
                      <a:lnTo>
                        <a:pt x="550" y="411"/>
                      </a:lnTo>
                      <a:lnTo>
                        <a:pt x="537" y="418"/>
                      </a:lnTo>
                      <a:lnTo>
                        <a:pt x="531" y="420"/>
                      </a:lnTo>
                      <a:lnTo>
                        <a:pt x="523" y="420"/>
                      </a:lnTo>
                      <a:lnTo>
                        <a:pt x="517" y="420"/>
                      </a:lnTo>
                      <a:lnTo>
                        <a:pt x="516" y="423"/>
                      </a:lnTo>
                      <a:lnTo>
                        <a:pt x="515" y="427"/>
                      </a:lnTo>
                      <a:lnTo>
                        <a:pt x="511" y="432"/>
                      </a:lnTo>
                      <a:lnTo>
                        <a:pt x="508" y="435"/>
                      </a:lnTo>
                      <a:lnTo>
                        <a:pt x="506" y="436"/>
                      </a:lnTo>
                      <a:lnTo>
                        <a:pt x="499" y="436"/>
                      </a:lnTo>
                      <a:lnTo>
                        <a:pt x="495" y="433"/>
                      </a:lnTo>
                      <a:lnTo>
                        <a:pt x="492" y="430"/>
                      </a:lnTo>
                      <a:lnTo>
                        <a:pt x="489" y="430"/>
                      </a:lnTo>
                      <a:lnTo>
                        <a:pt x="483" y="432"/>
                      </a:lnTo>
                      <a:lnTo>
                        <a:pt x="474" y="438"/>
                      </a:lnTo>
                      <a:lnTo>
                        <a:pt x="470" y="442"/>
                      </a:lnTo>
                      <a:lnTo>
                        <a:pt x="466" y="450"/>
                      </a:lnTo>
                      <a:lnTo>
                        <a:pt x="464" y="460"/>
                      </a:lnTo>
                      <a:lnTo>
                        <a:pt x="464" y="463"/>
                      </a:lnTo>
                      <a:lnTo>
                        <a:pt x="466" y="467"/>
                      </a:lnTo>
                      <a:lnTo>
                        <a:pt x="470" y="469"/>
                      </a:lnTo>
                      <a:lnTo>
                        <a:pt x="475" y="470"/>
                      </a:lnTo>
                      <a:lnTo>
                        <a:pt x="479" y="470"/>
                      </a:lnTo>
                      <a:lnTo>
                        <a:pt x="483" y="473"/>
                      </a:lnTo>
                      <a:lnTo>
                        <a:pt x="485" y="475"/>
                      </a:lnTo>
                      <a:lnTo>
                        <a:pt x="485" y="476"/>
                      </a:lnTo>
                      <a:lnTo>
                        <a:pt x="484" y="478"/>
                      </a:lnTo>
                      <a:lnTo>
                        <a:pt x="483" y="481"/>
                      </a:lnTo>
                      <a:lnTo>
                        <a:pt x="483" y="483"/>
                      </a:lnTo>
                      <a:lnTo>
                        <a:pt x="484" y="490"/>
                      </a:lnTo>
                      <a:lnTo>
                        <a:pt x="487" y="495"/>
                      </a:lnTo>
                      <a:lnTo>
                        <a:pt x="487" y="496"/>
                      </a:lnTo>
                      <a:lnTo>
                        <a:pt x="487" y="495"/>
                      </a:lnTo>
                      <a:lnTo>
                        <a:pt x="480" y="497"/>
                      </a:lnTo>
                      <a:lnTo>
                        <a:pt x="476" y="499"/>
                      </a:lnTo>
                      <a:lnTo>
                        <a:pt x="473" y="500"/>
                      </a:lnTo>
                      <a:lnTo>
                        <a:pt x="459" y="500"/>
                      </a:lnTo>
                      <a:lnTo>
                        <a:pt x="451" y="501"/>
                      </a:lnTo>
                      <a:lnTo>
                        <a:pt x="447" y="502"/>
                      </a:lnTo>
                      <a:lnTo>
                        <a:pt x="445" y="505"/>
                      </a:lnTo>
                      <a:lnTo>
                        <a:pt x="442" y="506"/>
                      </a:lnTo>
                      <a:lnTo>
                        <a:pt x="440" y="506"/>
                      </a:lnTo>
                      <a:lnTo>
                        <a:pt x="440" y="505"/>
                      </a:lnTo>
                      <a:lnTo>
                        <a:pt x="441" y="496"/>
                      </a:lnTo>
                      <a:lnTo>
                        <a:pt x="441" y="493"/>
                      </a:lnTo>
                      <a:lnTo>
                        <a:pt x="438" y="490"/>
                      </a:lnTo>
                      <a:lnTo>
                        <a:pt x="435" y="488"/>
                      </a:lnTo>
                      <a:lnTo>
                        <a:pt x="432" y="486"/>
                      </a:lnTo>
                      <a:lnTo>
                        <a:pt x="429" y="483"/>
                      </a:lnTo>
                      <a:lnTo>
                        <a:pt x="429" y="482"/>
                      </a:lnTo>
                      <a:lnTo>
                        <a:pt x="431" y="480"/>
                      </a:lnTo>
                      <a:lnTo>
                        <a:pt x="436" y="474"/>
                      </a:lnTo>
                      <a:lnTo>
                        <a:pt x="436" y="473"/>
                      </a:lnTo>
                      <a:lnTo>
                        <a:pt x="433" y="474"/>
                      </a:lnTo>
                      <a:lnTo>
                        <a:pt x="428" y="475"/>
                      </a:lnTo>
                      <a:lnTo>
                        <a:pt x="423" y="477"/>
                      </a:lnTo>
                      <a:lnTo>
                        <a:pt x="418" y="480"/>
                      </a:lnTo>
                      <a:lnTo>
                        <a:pt x="415" y="483"/>
                      </a:lnTo>
                      <a:lnTo>
                        <a:pt x="413" y="487"/>
                      </a:lnTo>
                      <a:lnTo>
                        <a:pt x="408" y="493"/>
                      </a:lnTo>
                      <a:lnTo>
                        <a:pt x="403" y="497"/>
                      </a:lnTo>
                      <a:lnTo>
                        <a:pt x="399" y="500"/>
                      </a:lnTo>
                      <a:lnTo>
                        <a:pt x="395" y="501"/>
                      </a:lnTo>
                      <a:lnTo>
                        <a:pt x="391" y="501"/>
                      </a:lnTo>
                      <a:lnTo>
                        <a:pt x="381" y="502"/>
                      </a:lnTo>
                      <a:lnTo>
                        <a:pt x="374" y="503"/>
                      </a:lnTo>
                      <a:lnTo>
                        <a:pt x="366" y="505"/>
                      </a:lnTo>
                      <a:lnTo>
                        <a:pt x="361" y="505"/>
                      </a:lnTo>
                      <a:lnTo>
                        <a:pt x="355" y="501"/>
                      </a:lnTo>
                      <a:lnTo>
                        <a:pt x="349" y="499"/>
                      </a:lnTo>
                      <a:lnTo>
                        <a:pt x="344" y="497"/>
                      </a:lnTo>
                      <a:lnTo>
                        <a:pt x="342" y="497"/>
                      </a:lnTo>
                      <a:lnTo>
                        <a:pt x="339" y="496"/>
                      </a:lnTo>
                      <a:lnTo>
                        <a:pt x="337" y="494"/>
                      </a:lnTo>
                      <a:lnTo>
                        <a:pt x="335" y="493"/>
                      </a:lnTo>
                      <a:lnTo>
                        <a:pt x="333" y="494"/>
                      </a:lnTo>
                      <a:lnTo>
                        <a:pt x="332" y="496"/>
                      </a:lnTo>
                      <a:lnTo>
                        <a:pt x="329" y="499"/>
                      </a:lnTo>
                      <a:lnTo>
                        <a:pt x="324" y="500"/>
                      </a:lnTo>
                      <a:lnTo>
                        <a:pt x="315" y="502"/>
                      </a:lnTo>
                      <a:lnTo>
                        <a:pt x="311" y="505"/>
                      </a:lnTo>
                      <a:lnTo>
                        <a:pt x="309" y="507"/>
                      </a:lnTo>
                      <a:lnTo>
                        <a:pt x="304" y="518"/>
                      </a:lnTo>
                      <a:lnTo>
                        <a:pt x="300" y="525"/>
                      </a:lnTo>
                      <a:lnTo>
                        <a:pt x="296" y="525"/>
                      </a:lnTo>
                      <a:lnTo>
                        <a:pt x="294" y="525"/>
                      </a:lnTo>
                      <a:lnTo>
                        <a:pt x="291" y="526"/>
                      </a:lnTo>
                      <a:lnTo>
                        <a:pt x="288" y="533"/>
                      </a:lnTo>
                      <a:lnTo>
                        <a:pt x="285" y="537"/>
                      </a:lnTo>
                      <a:lnTo>
                        <a:pt x="283" y="538"/>
                      </a:lnTo>
                      <a:lnTo>
                        <a:pt x="282" y="538"/>
                      </a:lnTo>
                      <a:lnTo>
                        <a:pt x="268" y="535"/>
                      </a:lnTo>
                      <a:lnTo>
                        <a:pt x="255" y="534"/>
                      </a:lnTo>
                      <a:lnTo>
                        <a:pt x="257" y="531"/>
                      </a:lnTo>
                      <a:lnTo>
                        <a:pt x="257" y="525"/>
                      </a:lnTo>
                      <a:lnTo>
                        <a:pt x="255" y="520"/>
                      </a:lnTo>
                      <a:lnTo>
                        <a:pt x="254" y="516"/>
                      </a:lnTo>
                      <a:lnTo>
                        <a:pt x="253" y="514"/>
                      </a:lnTo>
                      <a:lnTo>
                        <a:pt x="249" y="512"/>
                      </a:lnTo>
                      <a:lnTo>
                        <a:pt x="235" y="506"/>
                      </a:lnTo>
                      <a:lnTo>
                        <a:pt x="225" y="500"/>
                      </a:lnTo>
                      <a:lnTo>
                        <a:pt x="215" y="494"/>
                      </a:lnTo>
                      <a:lnTo>
                        <a:pt x="206" y="489"/>
                      </a:lnTo>
                      <a:lnTo>
                        <a:pt x="200" y="488"/>
                      </a:lnTo>
                      <a:lnTo>
                        <a:pt x="193" y="486"/>
                      </a:lnTo>
                      <a:lnTo>
                        <a:pt x="187" y="483"/>
                      </a:lnTo>
                      <a:lnTo>
                        <a:pt x="178" y="480"/>
                      </a:lnTo>
                      <a:lnTo>
                        <a:pt x="154" y="490"/>
                      </a:lnTo>
                      <a:lnTo>
                        <a:pt x="142" y="495"/>
                      </a:lnTo>
                      <a:lnTo>
                        <a:pt x="134" y="497"/>
                      </a:lnTo>
                      <a:lnTo>
                        <a:pt x="132" y="496"/>
                      </a:lnTo>
                      <a:lnTo>
                        <a:pt x="131" y="494"/>
                      </a:lnTo>
                      <a:lnTo>
                        <a:pt x="130" y="486"/>
                      </a:lnTo>
                      <a:lnTo>
                        <a:pt x="130" y="477"/>
                      </a:lnTo>
                      <a:lnTo>
                        <a:pt x="131" y="471"/>
                      </a:lnTo>
                      <a:lnTo>
                        <a:pt x="131" y="470"/>
                      </a:lnTo>
                      <a:lnTo>
                        <a:pt x="130" y="469"/>
                      </a:lnTo>
                      <a:lnTo>
                        <a:pt x="126" y="463"/>
                      </a:lnTo>
                      <a:lnTo>
                        <a:pt x="121" y="458"/>
                      </a:lnTo>
                      <a:lnTo>
                        <a:pt x="121" y="456"/>
                      </a:lnTo>
                      <a:lnTo>
                        <a:pt x="123" y="454"/>
                      </a:lnTo>
                      <a:lnTo>
                        <a:pt x="128" y="451"/>
                      </a:lnTo>
                      <a:lnTo>
                        <a:pt x="131" y="449"/>
                      </a:lnTo>
                      <a:lnTo>
                        <a:pt x="131" y="446"/>
                      </a:lnTo>
                      <a:lnTo>
                        <a:pt x="128" y="445"/>
                      </a:lnTo>
                      <a:lnTo>
                        <a:pt x="120" y="445"/>
                      </a:lnTo>
                      <a:lnTo>
                        <a:pt x="115" y="444"/>
                      </a:lnTo>
                      <a:lnTo>
                        <a:pt x="112" y="443"/>
                      </a:lnTo>
                      <a:lnTo>
                        <a:pt x="112" y="442"/>
                      </a:lnTo>
                      <a:lnTo>
                        <a:pt x="111" y="437"/>
                      </a:lnTo>
                      <a:lnTo>
                        <a:pt x="112" y="433"/>
                      </a:lnTo>
                      <a:lnTo>
                        <a:pt x="113" y="430"/>
                      </a:lnTo>
                      <a:lnTo>
                        <a:pt x="115" y="429"/>
                      </a:lnTo>
                      <a:lnTo>
                        <a:pt x="125" y="432"/>
                      </a:lnTo>
                      <a:lnTo>
                        <a:pt x="127" y="432"/>
                      </a:lnTo>
                      <a:lnTo>
                        <a:pt x="130" y="432"/>
                      </a:lnTo>
                      <a:lnTo>
                        <a:pt x="132" y="431"/>
                      </a:lnTo>
                      <a:lnTo>
                        <a:pt x="134" y="429"/>
                      </a:lnTo>
                      <a:lnTo>
                        <a:pt x="135" y="424"/>
                      </a:lnTo>
                      <a:lnTo>
                        <a:pt x="136" y="419"/>
                      </a:lnTo>
                      <a:lnTo>
                        <a:pt x="135" y="411"/>
                      </a:lnTo>
                      <a:lnTo>
                        <a:pt x="134" y="401"/>
                      </a:lnTo>
                      <a:lnTo>
                        <a:pt x="132" y="397"/>
                      </a:lnTo>
                      <a:lnTo>
                        <a:pt x="131" y="395"/>
                      </a:lnTo>
                      <a:lnTo>
                        <a:pt x="131" y="394"/>
                      </a:lnTo>
                      <a:lnTo>
                        <a:pt x="128" y="395"/>
                      </a:lnTo>
                      <a:lnTo>
                        <a:pt x="123" y="399"/>
                      </a:lnTo>
                      <a:lnTo>
                        <a:pt x="122" y="400"/>
                      </a:lnTo>
                      <a:lnTo>
                        <a:pt x="120" y="400"/>
                      </a:lnTo>
                      <a:lnTo>
                        <a:pt x="118" y="401"/>
                      </a:lnTo>
                      <a:lnTo>
                        <a:pt x="115" y="406"/>
                      </a:lnTo>
                      <a:lnTo>
                        <a:pt x="113" y="410"/>
                      </a:lnTo>
                      <a:lnTo>
                        <a:pt x="112" y="411"/>
                      </a:lnTo>
                      <a:lnTo>
                        <a:pt x="112" y="410"/>
                      </a:lnTo>
                      <a:lnTo>
                        <a:pt x="112" y="411"/>
                      </a:lnTo>
                      <a:lnTo>
                        <a:pt x="109" y="414"/>
                      </a:lnTo>
                      <a:lnTo>
                        <a:pt x="108" y="418"/>
                      </a:lnTo>
                      <a:lnTo>
                        <a:pt x="108" y="419"/>
                      </a:lnTo>
                      <a:lnTo>
                        <a:pt x="107" y="419"/>
                      </a:lnTo>
                      <a:lnTo>
                        <a:pt x="107" y="406"/>
                      </a:lnTo>
                      <a:lnTo>
                        <a:pt x="107" y="397"/>
                      </a:lnTo>
                      <a:lnTo>
                        <a:pt x="109" y="387"/>
                      </a:lnTo>
                      <a:lnTo>
                        <a:pt x="108" y="385"/>
                      </a:lnTo>
                      <a:lnTo>
                        <a:pt x="106" y="381"/>
                      </a:lnTo>
                      <a:lnTo>
                        <a:pt x="101" y="379"/>
                      </a:lnTo>
                      <a:lnTo>
                        <a:pt x="98" y="379"/>
                      </a:lnTo>
                      <a:lnTo>
                        <a:pt x="93" y="380"/>
                      </a:lnTo>
                      <a:lnTo>
                        <a:pt x="90" y="380"/>
                      </a:lnTo>
                      <a:lnTo>
                        <a:pt x="90" y="377"/>
                      </a:lnTo>
                      <a:lnTo>
                        <a:pt x="83" y="380"/>
                      </a:lnTo>
                      <a:lnTo>
                        <a:pt x="79" y="382"/>
                      </a:lnTo>
                      <a:lnTo>
                        <a:pt x="78" y="382"/>
                      </a:lnTo>
                      <a:lnTo>
                        <a:pt x="78" y="381"/>
                      </a:lnTo>
                      <a:lnTo>
                        <a:pt x="80" y="378"/>
                      </a:lnTo>
                      <a:lnTo>
                        <a:pt x="82" y="374"/>
                      </a:lnTo>
                      <a:lnTo>
                        <a:pt x="82" y="371"/>
                      </a:lnTo>
                      <a:lnTo>
                        <a:pt x="75" y="356"/>
                      </a:lnTo>
                      <a:lnTo>
                        <a:pt x="73" y="355"/>
                      </a:lnTo>
                      <a:lnTo>
                        <a:pt x="70" y="353"/>
                      </a:lnTo>
                      <a:lnTo>
                        <a:pt x="68" y="349"/>
                      </a:lnTo>
                      <a:lnTo>
                        <a:pt x="68" y="347"/>
                      </a:lnTo>
                      <a:lnTo>
                        <a:pt x="68" y="346"/>
                      </a:lnTo>
                      <a:lnTo>
                        <a:pt x="69" y="347"/>
                      </a:lnTo>
                      <a:lnTo>
                        <a:pt x="79" y="350"/>
                      </a:lnTo>
                      <a:lnTo>
                        <a:pt x="84" y="350"/>
                      </a:lnTo>
                      <a:lnTo>
                        <a:pt x="85" y="350"/>
                      </a:lnTo>
                      <a:lnTo>
                        <a:pt x="87" y="349"/>
                      </a:lnTo>
                      <a:lnTo>
                        <a:pt x="85" y="345"/>
                      </a:lnTo>
                      <a:lnTo>
                        <a:pt x="84" y="339"/>
                      </a:lnTo>
                      <a:lnTo>
                        <a:pt x="83" y="331"/>
                      </a:lnTo>
                      <a:lnTo>
                        <a:pt x="83" y="328"/>
                      </a:lnTo>
                      <a:lnTo>
                        <a:pt x="87" y="321"/>
                      </a:lnTo>
                      <a:lnTo>
                        <a:pt x="90" y="317"/>
                      </a:lnTo>
                      <a:lnTo>
                        <a:pt x="93" y="316"/>
                      </a:lnTo>
                      <a:lnTo>
                        <a:pt x="97" y="316"/>
                      </a:lnTo>
                      <a:lnTo>
                        <a:pt x="99" y="317"/>
                      </a:lnTo>
                      <a:lnTo>
                        <a:pt x="103" y="318"/>
                      </a:lnTo>
                      <a:lnTo>
                        <a:pt x="115" y="324"/>
                      </a:lnTo>
                      <a:lnTo>
                        <a:pt x="118" y="326"/>
                      </a:lnTo>
                      <a:lnTo>
                        <a:pt x="121" y="326"/>
                      </a:lnTo>
                      <a:lnTo>
                        <a:pt x="123" y="326"/>
                      </a:lnTo>
                      <a:lnTo>
                        <a:pt x="126" y="324"/>
                      </a:lnTo>
                      <a:lnTo>
                        <a:pt x="127" y="322"/>
                      </a:lnTo>
                      <a:lnTo>
                        <a:pt x="128" y="321"/>
                      </a:lnTo>
                      <a:lnTo>
                        <a:pt x="126" y="316"/>
                      </a:lnTo>
                      <a:lnTo>
                        <a:pt x="125" y="312"/>
                      </a:lnTo>
                      <a:lnTo>
                        <a:pt x="126" y="310"/>
                      </a:lnTo>
                      <a:lnTo>
                        <a:pt x="128" y="309"/>
                      </a:lnTo>
                      <a:lnTo>
                        <a:pt x="128" y="308"/>
                      </a:lnTo>
                      <a:lnTo>
                        <a:pt x="128" y="305"/>
                      </a:lnTo>
                      <a:lnTo>
                        <a:pt x="126" y="302"/>
                      </a:lnTo>
                      <a:lnTo>
                        <a:pt x="123" y="298"/>
                      </a:lnTo>
                      <a:lnTo>
                        <a:pt x="118" y="286"/>
                      </a:lnTo>
                      <a:lnTo>
                        <a:pt x="115" y="282"/>
                      </a:lnTo>
                      <a:lnTo>
                        <a:pt x="113" y="279"/>
                      </a:lnTo>
                      <a:lnTo>
                        <a:pt x="111" y="279"/>
                      </a:lnTo>
                      <a:lnTo>
                        <a:pt x="99" y="277"/>
                      </a:lnTo>
                      <a:lnTo>
                        <a:pt x="92" y="276"/>
                      </a:lnTo>
                      <a:lnTo>
                        <a:pt x="84" y="279"/>
                      </a:lnTo>
                      <a:lnTo>
                        <a:pt x="73" y="284"/>
                      </a:lnTo>
                      <a:lnTo>
                        <a:pt x="51" y="294"/>
                      </a:lnTo>
                      <a:lnTo>
                        <a:pt x="35" y="30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2" name="Freeform 1301"/>
                <p:cNvSpPr>
                  <a:spLocks/>
                </p:cNvSpPr>
                <p:nvPr/>
              </p:nvSpPr>
              <p:spPr bwMode="auto">
                <a:xfrm>
                  <a:off x="5722184" y="2752244"/>
                  <a:ext cx="964877" cy="797651"/>
                </a:xfrm>
                <a:custGeom>
                  <a:avLst/>
                  <a:gdLst>
                    <a:gd name="T0" fmla="*/ 2147483647 w 707"/>
                    <a:gd name="T1" fmla="*/ 2147483647 h 539"/>
                    <a:gd name="T2" fmla="*/ 2147483647 w 707"/>
                    <a:gd name="T3" fmla="*/ 2147483647 h 539"/>
                    <a:gd name="T4" fmla="*/ 2147483647 w 707"/>
                    <a:gd name="T5" fmla="*/ 2147483647 h 539"/>
                    <a:gd name="T6" fmla="*/ 0 w 707"/>
                    <a:gd name="T7" fmla="*/ 2147483647 h 539"/>
                    <a:gd name="T8" fmla="*/ 2147483647 w 707"/>
                    <a:gd name="T9" fmla="*/ 2147483647 h 539"/>
                    <a:gd name="T10" fmla="*/ 2147483647 w 707"/>
                    <a:gd name="T11" fmla="*/ 2147483647 h 539"/>
                    <a:gd name="T12" fmla="*/ 2147483647 w 707"/>
                    <a:gd name="T13" fmla="*/ 2147483647 h 539"/>
                    <a:gd name="T14" fmla="*/ 2147483647 w 707"/>
                    <a:gd name="T15" fmla="*/ 2147483647 h 539"/>
                    <a:gd name="T16" fmla="*/ 2147483647 w 707"/>
                    <a:gd name="T17" fmla="*/ 2147483647 h 539"/>
                    <a:gd name="T18" fmla="*/ 2147483647 w 707"/>
                    <a:gd name="T19" fmla="*/ 2147483647 h 539"/>
                    <a:gd name="T20" fmla="*/ 2147483647 w 707"/>
                    <a:gd name="T21" fmla="*/ 2147483647 h 539"/>
                    <a:gd name="T22" fmla="*/ 2147483647 w 707"/>
                    <a:gd name="T23" fmla="*/ 2147483647 h 539"/>
                    <a:gd name="T24" fmla="*/ 2147483647 w 707"/>
                    <a:gd name="T25" fmla="*/ 2147483647 h 539"/>
                    <a:gd name="T26" fmla="*/ 2147483647 w 707"/>
                    <a:gd name="T27" fmla="*/ 2147483647 h 539"/>
                    <a:gd name="T28" fmla="*/ 2147483647 w 707"/>
                    <a:gd name="T29" fmla="*/ 2147483647 h 539"/>
                    <a:gd name="T30" fmla="*/ 2147483647 w 707"/>
                    <a:gd name="T31" fmla="*/ 2147483647 h 539"/>
                    <a:gd name="T32" fmla="*/ 2147483647 w 707"/>
                    <a:gd name="T33" fmla="*/ 2147483647 h 539"/>
                    <a:gd name="T34" fmla="*/ 2147483647 w 707"/>
                    <a:gd name="T35" fmla="*/ 2147483647 h 539"/>
                    <a:gd name="T36" fmla="*/ 2147483647 w 707"/>
                    <a:gd name="T37" fmla="*/ 2147483647 h 539"/>
                    <a:gd name="T38" fmla="*/ 2147483647 w 707"/>
                    <a:gd name="T39" fmla="*/ 2147483647 h 539"/>
                    <a:gd name="T40" fmla="*/ 2147483647 w 707"/>
                    <a:gd name="T41" fmla="*/ 2147483647 h 539"/>
                    <a:gd name="T42" fmla="*/ 2147483647 w 707"/>
                    <a:gd name="T43" fmla="*/ 2147483647 h 539"/>
                    <a:gd name="T44" fmla="*/ 2147483647 w 707"/>
                    <a:gd name="T45" fmla="*/ 2147483647 h 539"/>
                    <a:gd name="T46" fmla="*/ 2147483647 w 707"/>
                    <a:gd name="T47" fmla="*/ 2147483647 h 539"/>
                    <a:gd name="T48" fmla="*/ 2147483647 w 707"/>
                    <a:gd name="T49" fmla="*/ 2147483647 h 539"/>
                    <a:gd name="T50" fmla="*/ 2147483647 w 707"/>
                    <a:gd name="T51" fmla="*/ 2147483647 h 539"/>
                    <a:gd name="T52" fmla="*/ 2147483647 w 707"/>
                    <a:gd name="T53" fmla="*/ 2147483647 h 539"/>
                    <a:gd name="T54" fmla="*/ 2147483647 w 707"/>
                    <a:gd name="T55" fmla="*/ 2147483647 h 539"/>
                    <a:gd name="T56" fmla="*/ 2147483647 w 707"/>
                    <a:gd name="T57" fmla="*/ 2147483647 h 539"/>
                    <a:gd name="T58" fmla="*/ 2147483647 w 707"/>
                    <a:gd name="T59" fmla="*/ 2147483647 h 539"/>
                    <a:gd name="T60" fmla="*/ 2147483647 w 707"/>
                    <a:gd name="T61" fmla="*/ 2147483647 h 539"/>
                    <a:gd name="T62" fmla="*/ 2147483647 w 707"/>
                    <a:gd name="T63" fmla="*/ 2147483647 h 539"/>
                    <a:gd name="T64" fmla="*/ 2147483647 w 707"/>
                    <a:gd name="T65" fmla="*/ 2147483647 h 539"/>
                    <a:gd name="T66" fmla="*/ 2147483647 w 707"/>
                    <a:gd name="T67" fmla="*/ 2147483647 h 539"/>
                    <a:gd name="T68" fmla="*/ 2147483647 w 707"/>
                    <a:gd name="T69" fmla="*/ 2147483647 h 539"/>
                    <a:gd name="T70" fmla="*/ 2147483647 w 707"/>
                    <a:gd name="T71" fmla="*/ 2147483647 h 539"/>
                    <a:gd name="T72" fmla="*/ 2147483647 w 707"/>
                    <a:gd name="T73" fmla="*/ 2147483647 h 539"/>
                    <a:gd name="T74" fmla="*/ 2147483647 w 707"/>
                    <a:gd name="T75" fmla="*/ 2147483647 h 539"/>
                    <a:gd name="T76" fmla="*/ 2147483647 w 707"/>
                    <a:gd name="T77" fmla="*/ 2147483647 h 539"/>
                    <a:gd name="T78" fmla="*/ 2147483647 w 707"/>
                    <a:gd name="T79" fmla="*/ 2147483647 h 539"/>
                    <a:gd name="T80" fmla="*/ 2147483647 w 707"/>
                    <a:gd name="T81" fmla="*/ 2147483647 h 539"/>
                    <a:gd name="T82" fmla="*/ 2147483647 w 707"/>
                    <a:gd name="T83" fmla="*/ 2147483647 h 539"/>
                    <a:gd name="T84" fmla="*/ 2147483647 w 707"/>
                    <a:gd name="T85" fmla="*/ 2147483647 h 539"/>
                    <a:gd name="T86" fmla="*/ 2147483647 w 707"/>
                    <a:gd name="T87" fmla="*/ 2147483647 h 539"/>
                    <a:gd name="T88" fmla="*/ 2147483647 w 707"/>
                    <a:gd name="T89" fmla="*/ 2147483647 h 539"/>
                    <a:gd name="T90" fmla="*/ 2147483647 w 707"/>
                    <a:gd name="T91" fmla="*/ 2147483647 h 539"/>
                    <a:gd name="T92" fmla="*/ 2147483647 w 707"/>
                    <a:gd name="T93" fmla="*/ 2147483647 h 539"/>
                    <a:gd name="T94" fmla="*/ 2147483647 w 707"/>
                    <a:gd name="T95" fmla="*/ 2147483647 h 539"/>
                    <a:gd name="T96" fmla="*/ 2147483647 w 707"/>
                    <a:gd name="T97" fmla="*/ 2147483647 h 539"/>
                    <a:gd name="T98" fmla="*/ 2147483647 w 707"/>
                    <a:gd name="T99" fmla="*/ 2147483647 h 539"/>
                    <a:gd name="T100" fmla="*/ 2147483647 w 707"/>
                    <a:gd name="T101" fmla="*/ 2147483647 h 539"/>
                    <a:gd name="T102" fmla="*/ 2147483647 w 707"/>
                    <a:gd name="T103" fmla="*/ 2147483647 h 539"/>
                    <a:gd name="T104" fmla="*/ 2147483647 w 707"/>
                    <a:gd name="T105" fmla="*/ 2147483647 h 539"/>
                    <a:gd name="T106" fmla="*/ 2147483647 w 707"/>
                    <a:gd name="T107" fmla="*/ 2147483647 h 539"/>
                    <a:gd name="T108" fmla="*/ 2147483647 w 707"/>
                    <a:gd name="T109" fmla="*/ 2147483647 h 539"/>
                    <a:gd name="T110" fmla="*/ 2147483647 w 707"/>
                    <a:gd name="T111" fmla="*/ 2147483647 h 539"/>
                    <a:gd name="T112" fmla="*/ 2147483647 w 707"/>
                    <a:gd name="T113" fmla="*/ 2147483647 h 539"/>
                    <a:gd name="T114" fmla="*/ 2147483647 w 707"/>
                    <a:gd name="T115" fmla="*/ 2147483647 h 539"/>
                    <a:gd name="T116" fmla="*/ 2147483647 w 707"/>
                    <a:gd name="T117" fmla="*/ 2147483647 h 539"/>
                    <a:gd name="T118" fmla="*/ 2147483647 w 707"/>
                    <a:gd name="T119" fmla="*/ 2147483647 h 539"/>
                    <a:gd name="T120" fmla="*/ 2147483647 w 707"/>
                    <a:gd name="T121" fmla="*/ 2147483647 h 539"/>
                    <a:gd name="T122" fmla="*/ 2147483647 w 707"/>
                    <a:gd name="T123" fmla="*/ 2147483647 h 539"/>
                    <a:gd name="T124" fmla="*/ 2147483647 w 707"/>
                    <a:gd name="T125" fmla="*/ 2147483647 h 5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7"/>
                    <a:gd name="T190" fmla="*/ 0 h 539"/>
                    <a:gd name="T191" fmla="*/ 707 w 707"/>
                    <a:gd name="T192" fmla="*/ 539 h 53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7" h="539">
                      <a:moveTo>
                        <a:pt x="34" y="303"/>
                      </a:moveTo>
                      <a:lnTo>
                        <a:pt x="34" y="303"/>
                      </a:lnTo>
                      <a:lnTo>
                        <a:pt x="41" y="296"/>
                      </a:lnTo>
                      <a:lnTo>
                        <a:pt x="53" y="280"/>
                      </a:lnTo>
                      <a:lnTo>
                        <a:pt x="58" y="271"/>
                      </a:lnTo>
                      <a:lnTo>
                        <a:pt x="61" y="262"/>
                      </a:lnTo>
                      <a:lnTo>
                        <a:pt x="62" y="259"/>
                      </a:lnTo>
                      <a:lnTo>
                        <a:pt x="61" y="255"/>
                      </a:lnTo>
                      <a:lnTo>
                        <a:pt x="60" y="253"/>
                      </a:lnTo>
                      <a:lnTo>
                        <a:pt x="57" y="250"/>
                      </a:lnTo>
                      <a:lnTo>
                        <a:pt x="49" y="247"/>
                      </a:lnTo>
                      <a:lnTo>
                        <a:pt x="46" y="243"/>
                      </a:lnTo>
                      <a:lnTo>
                        <a:pt x="43" y="240"/>
                      </a:lnTo>
                      <a:lnTo>
                        <a:pt x="43" y="236"/>
                      </a:lnTo>
                      <a:lnTo>
                        <a:pt x="42" y="233"/>
                      </a:lnTo>
                      <a:lnTo>
                        <a:pt x="41" y="230"/>
                      </a:lnTo>
                      <a:lnTo>
                        <a:pt x="38" y="227"/>
                      </a:lnTo>
                      <a:lnTo>
                        <a:pt x="34" y="224"/>
                      </a:lnTo>
                      <a:lnTo>
                        <a:pt x="24" y="221"/>
                      </a:lnTo>
                      <a:lnTo>
                        <a:pt x="18" y="220"/>
                      </a:lnTo>
                      <a:lnTo>
                        <a:pt x="9" y="218"/>
                      </a:lnTo>
                      <a:lnTo>
                        <a:pt x="6" y="218"/>
                      </a:lnTo>
                      <a:lnTo>
                        <a:pt x="5" y="216"/>
                      </a:lnTo>
                      <a:lnTo>
                        <a:pt x="1" y="207"/>
                      </a:lnTo>
                      <a:lnTo>
                        <a:pt x="0" y="198"/>
                      </a:lnTo>
                      <a:lnTo>
                        <a:pt x="1" y="191"/>
                      </a:lnTo>
                      <a:lnTo>
                        <a:pt x="3" y="185"/>
                      </a:lnTo>
                      <a:lnTo>
                        <a:pt x="5" y="181"/>
                      </a:lnTo>
                      <a:lnTo>
                        <a:pt x="9" y="173"/>
                      </a:lnTo>
                      <a:lnTo>
                        <a:pt x="10" y="171"/>
                      </a:lnTo>
                      <a:lnTo>
                        <a:pt x="9" y="170"/>
                      </a:lnTo>
                      <a:lnTo>
                        <a:pt x="11" y="170"/>
                      </a:lnTo>
                      <a:lnTo>
                        <a:pt x="18" y="173"/>
                      </a:lnTo>
                      <a:lnTo>
                        <a:pt x="22" y="175"/>
                      </a:lnTo>
                      <a:lnTo>
                        <a:pt x="27" y="176"/>
                      </a:lnTo>
                      <a:lnTo>
                        <a:pt x="33" y="176"/>
                      </a:lnTo>
                      <a:lnTo>
                        <a:pt x="38" y="175"/>
                      </a:lnTo>
                      <a:lnTo>
                        <a:pt x="42" y="172"/>
                      </a:lnTo>
                      <a:lnTo>
                        <a:pt x="44" y="169"/>
                      </a:lnTo>
                      <a:lnTo>
                        <a:pt x="44" y="164"/>
                      </a:lnTo>
                      <a:lnTo>
                        <a:pt x="43" y="160"/>
                      </a:lnTo>
                      <a:lnTo>
                        <a:pt x="38" y="153"/>
                      </a:lnTo>
                      <a:lnTo>
                        <a:pt x="37" y="151"/>
                      </a:lnTo>
                      <a:lnTo>
                        <a:pt x="67" y="131"/>
                      </a:lnTo>
                      <a:lnTo>
                        <a:pt x="80" y="118"/>
                      </a:lnTo>
                      <a:lnTo>
                        <a:pt x="91" y="121"/>
                      </a:lnTo>
                      <a:lnTo>
                        <a:pt x="116" y="127"/>
                      </a:lnTo>
                      <a:lnTo>
                        <a:pt x="137" y="145"/>
                      </a:lnTo>
                      <a:lnTo>
                        <a:pt x="161" y="157"/>
                      </a:lnTo>
                      <a:lnTo>
                        <a:pt x="179" y="138"/>
                      </a:lnTo>
                      <a:lnTo>
                        <a:pt x="203" y="141"/>
                      </a:lnTo>
                      <a:lnTo>
                        <a:pt x="220" y="156"/>
                      </a:lnTo>
                      <a:lnTo>
                        <a:pt x="244" y="151"/>
                      </a:lnTo>
                      <a:lnTo>
                        <a:pt x="255" y="145"/>
                      </a:lnTo>
                      <a:lnTo>
                        <a:pt x="263" y="140"/>
                      </a:lnTo>
                      <a:lnTo>
                        <a:pt x="264" y="138"/>
                      </a:lnTo>
                      <a:lnTo>
                        <a:pt x="263" y="137"/>
                      </a:lnTo>
                      <a:lnTo>
                        <a:pt x="253" y="134"/>
                      </a:lnTo>
                      <a:lnTo>
                        <a:pt x="248" y="132"/>
                      </a:lnTo>
                      <a:lnTo>
                        <a:pt x="243" y="127"/>
                      </a:lnTo>
                      <a:lnTo>
                        <a:pt x="239" y="122"/>
                      </a:lnTo>
                      <a:lnTo>
                        <a:pt x="239" y="117"/>
                      </a:lnTo>
                      <a:lnTo>
                        <a:pt x="240" y="112"/>
                      </a:lnTo>
                      <a:lnTo>
                        <a:pt x="241" y="108"/>
                      </a:lnTo>
                      <a:lnTo>
                        <a:pt x="248" y="101"/>
                      </a:lnTo>
                      <a:lnTo>
                        <a:pt x="250" y="99"/>
                      </a:lnTo>
                      <a:lnTo>
                        <a:pt x="244" y="86"/>
                      </a:lnTo>
                      <a:lnTo>
                        <a:pt x="265" y="81"/>
                      </a:lnTo>
                      <a:lnTo>
                        <a:pt x="249" y="60"/>
                      </a:lnTo>
                      <a:lnTo>
                        <a:pt x="286" y="48"/>
                      </a:lnTo>
                      <a:lnTo>
                        <a:pt x="310" y="41"/>
                      </a:lnTo>
                      <a:lnTo>
                        <a:pt x="366" y="22"/>
                      </a:lnTo>
                      <a:lnTo>
                        <a:pt x="395" y="0"/>
                      </a:lnTo>
                      <a:lnTo>
                        <a:pt x="418" y="7"/>
                      </a:lnTo>
                      <a:lnTo>
                        <a:pt x="428" y="42"/>
                      </a:lnTo>
                      <a:lnTo>
                        <a:pt x="451" y="41"/>
                      </a:lnTo>
                      <a:lnTo>
                        <a:pt x="467" y="55"/>
                      </a:lnTo>
                      <a:lnTo>
                        <a:pt x="489" y="56"/>
                      </a:lnTo>
                      <a:lnTo>
                        <a:pt x="509" y="41"/>
                      </a:lnTo>
                      <a:lnTo>
                        <a:pt x="543" y="74"/>
                      </a:lnTo>
                      <a:lnTo>
                        <a:pt x="565" y="126"/>
                      </a:lnTo>
                      <a:lnTo>
                        <a:pt x="580" y="146"/>
                      </a:lnTo>
                      <a:lnTo>
                        <a:pt x="594" y="133"/>
                      </a:lnTo>
                      <a:lnTo>
                        <a:pt x="608" y="146"/>
                      </a:lnTo>
                      <a:lnTo>
                        <a:pt x="623" y="147"/>
                      </a:lnTo>
                      <a:lnTo>
                        <a:pt x="644" y="141"/>
                      </a:lnTo>
                      <a:lnTo>
                        <a:pt x="651" y="156"/>
                      </a:lnTo>
                      <a:lnTo>
                        <a:pt x="660" y="166"/>
                      </a:lnTo>
                      <a:lnTo>
                        <a:pt x="676" y="179"/>
                      </a:lnTo>
                      <a:lnTo>
                        <a:pt x="697" y="186"/>
                      </a:lnTo>
                      <a:lnTo>
                        <a:pt x="707" y="201"/>
                      </a:lnTo>
                      <a:lnTo>
                        <a:pt x="695" y="224"/>
                      </a:lnTo>
                      <a:lnTo>
                        <a:pt x="702" y="229"/>
                      </a:lnTo>
                      <a:lnTo>
                        <a:pt x="684" y="237"/>
                      </a:lnTo>
                      <a:lnTo>
                        <a:pt x="678" y="243"/>
                      </a:lnTo>
                      <a:lnTo>
                        <a:pt x="673" y="246"/>
                      </a:lnTo>
                      <a:lnTo>
                        <a:pt x="669" y="248"/>
                      </a:lnTo>
                      <a:lnTo>
                        <a:pt x="667" y="249"/>
                      </a:lnTo>
                      <a:lnTo>
                        <a:pt x="665" y="253"/>
                      </a:lnTo>
                      <a:lnTo>
                        <a:pt x="664" y="262"/>
                      </a:lnTo>
                      <a:lnTo>
                        <a:pt x="663" y="271"/>
                      </a:lnTo>
                      <a:lnTo>
                        <a:pt x="663" y="274"/>
                      </a:lnTo>
                      <a:lnTo>
                        <a:pt x="662" y="277"/>
                      </a:lnTo>
                      <a:lnTo>
                        <a:pt x="658" y="279"/>
                      </a:lnTo>
                      <a:lnTo>
                        <a:pt x="653" y="281"/>
                      </a:lnTo>
                      <a:lnTo>
                        <a:pt x="644" y="282"/>
                      </a:lnTo>
                      <a:lnTo>
                        <a:pt x="631" y="282"/>
                      </a:lnTo>
                      <a:lnTo>
                        <a:pt x="626" y="282"/>
                      </a:lnTo>
                      <a:lnTo>
                        <a:pt x="622" y="284"/>
                      </a:lnTo>
                      <a:lnTo>
                        <a:pt x="620" y="285"/>
                      </a:lnTo>
                      <a:lnTo>
                        <a:pt x="617" y="288"/>
                      </a:lnTo>
                      <a:lnTo>
                        <a:pt x="615" y="294"/>
                      </a:lnTo>
                      <a:lnTo>
                        <a:pt x="615" y="301"/>
                      </a:lnTo>
                      <a:lnTo>
                        <a:pt x="615" y="309"/>
                      </a:lnTo>
                      <a:lnTo>
                        <a:pt x="617" y="314"/>
                      </a:lnTo>
                      <a:lnTo>
                        <a:pt x="620" y="319"/>
                      </a:lnTo>
                      <a:lnTo>
                        <a:pt x="613" y="320"/>
                      </a:lnTo>
                      <a:lnTo>
                        <a:pt x="593" y="324"/>
                      </a:lnTo>
                      <a:lnTo>
                        <a:pt x="575" y="326"/>
                      </a:lnTo>
                      <a:lnTo>
                        <a:pt x="573" y="328"/>
                      </a:lnTo>
                      <a:lnTo>
                        <a:pt x="573" y="330"/>
                      </a:lnTo>
                      <a:lnTo>
                        <a:pt x="580" y="344"/>
                      </a:lnTo>
                      <a:lnTo>
                        <a:pt x="587" y="356"/>
                      </a:lnTo>
                      <a:lnTo>
                        <a:pt x="587" y="360"/>
                      </a:lnTo>
                      <a:lnTo>
                        <a:pt x="585" y="363"/>
                      </a:lnTo>
                      <a:lnTo>
                        <a:pt x="580" y="371"/>
                      </a:lnTo>
                      <a:lnTo>
                        <a:pt x="574" y="379"/>
                      </a:lnTo>
                      <a:lnTo>
                        <a:pt x="571" y="383"/>
                      </a:lnTo>
                      <a:lnTo>
                        <a:pt x="573" y="387"/>
                      </a:lnTo>
                      <a:lnTo>
                        <a:pt x="575" y="392"/>
                      </a:lnTo>
                      <a:lnTo>
                        <a:pt x="575" y="394"/>
                      </a:lnTo>
                      <a:lnTo>
                        <a:pt x="574" y="396"/>
                      </a:lnTo>
                      <a:lnTo>
                        <a:pt x="571" y="399"/>
                      </a:lnTo>
                      <a:lnTo>
                        <a:pt x="568" y="401"/>
                      </a:lnTo>
                      <a:lnTo>
                        <a:pt x="557" y="407"/>
                      </a:lnTo>
                      <a:lnTo>
                        <a:pt x="550" y="412"/>
                      </a:lnTo>
                      <a:lnTo>
                        <a:pt x="537" y="419"/>
                      </a:lnTo>
                      <a:lnTo>
                        <a:pt x="531" y="421"/>
                      </a:lnTo>
                      <a:lnTo>
                        <a:pt x="523" y="421"/>
                      </a:lnTo>
                      <a:lnTo>
                        <a:pt x="517" y="421"/>
                      </a:lnTo>
                      <a:lnTo>
                        <a:pt x="516" y="424"/>
                      </a:lnTo>
                      <a:lnTo>
                        <a:pt x="514" y="428"/>
                      </a:lnTo>
                      <a:lnTo>
                        <a:pt x="510" y="433"/>
                      </a:lnTo>
                      <a:lnTo>
                        <a:pt x="508" y="435"/>
                      </a:lnTo>
                      <a:lnTo>
                        <a:pt x="505" y="437"/>
                      </a:lnTo>
                      <a:lnTo>
                        <a:pt x="499" y="437"/>
                      </a:lnTo>
                      <a:lnTo>
                        <a:pt x="495" y="434"/>
                      </a:lnTo>
                      <a:lnTo>
                        <a:pt x="491" y="431"/>
                      </a:lnTo>
                      <a:lnTo>
                        <a:pt x="489" y="431"/>
                      </a:lnTo>
                      <a:lnTo>
                        <a:pt x="483" y="433"/>
                      </a:lnTo>
                      <a:lnTo>
                        <a:pt x="474" y="439"/>
                      </a:lnTo>
                      <a:lnTo>
                        <a:pt x="470" y="443"/>
                      </a:lnTo>
                      <a:lnTo>
                        <a:pt x="466" y="451"/>
                      </a:lnTo>
                      <a:lnTo>
                        <a:pt x="463" y="460"/>
                      </a:lnTo>
                      <a:lnTo>
                        <a:pt x="463" y="464"/>
                      </a:lnTo>
                      <a:lnTo>
                        <a:pt x="466" y="467"/>
                      </a:lnTo>
                      <a:lnTo>
                        <a:pt x="470" y="470"/>
                      </a:lnTo>
                      <a:lnTo>
                        <a:pt x="475" y="471"/>
                      </a:lnTo>
                      <a:lnTo>
                        <a:pt x="479" y="471"/>
                      </a:lnTo>
                      <a:lnTo>
                        <a:pt x="483" y="473"/>
                      </a:lnTo>
                      <a:lnTo>
                        <a:pt x="485" y="476"/>
                      </a:lnTo>
                      <a:lnTo>
                        <a:pt x="485" y="477"/>
                      </a:lnTo>
                      <a:lnTo>
                        <a:pt x="484" y="479"/>
                      </a:lnTo>
                      <a:lnTo>
                        <a:pt x="483" y="482"/>
                      </a:lnTo>
                      <a:lnTo>
                        <a:pt x="483" y="484"/>
                      </a:lnTo>
                      <a:lnTo>
                        <a:pt x="484" y="491"/>
                      </a:lnTo>
                      <a:lnTo>
                        <a:pt x="486" y="496"/>
                      </a:lnTo>
                      <a:lnTo>
                        <a:pt x="486" y="497"/>
                      </a:lnTo>
                      <a:lnTo>
                        <a:pt x="486" y="496"/>
                      </a:lnTo>
                      <a:lnTo>
                        <a:pt x="480" y="498"/>
                      </a:lnTo>
                      <a:lnTo>
                        <a:pt x="476" y="499"/>
                      </a:lnTo>
                      <a:lnTo>
                        <a:pt x="472" y="501"/>
                      </a:lnTo>
                      <a:lnTo>
                        <a:pt x="458" y="501"/>
                      </a:lnTo>
                      <a:lnTo>
                        <a:pt x="451" y="502"/>
                      </a:lnTo>
                      <a:lnTo>
                        <a:pt x="447" y="503"/>
                      </a:lnTo>
                      <a:lnTo>
                        <a:pt x="444" y="505"/>
                      </a:lnTo>
                      <a:lnTo>
                        <a:pt x="442" y="507"/>
                      </a:lnTo>
                      <a:lnTo>
                        <a:pt x="439" y="507"/>
                      </a:lnTo>
                      <a:lnTo>
                        <a:pt x="439" y="505"/>
                      </a:lnTo>
                      <a:lnTo>
                        <a:pt x="441" y="497"/>
                      </a:lnTo>
                      <a:lnTo>
                        <a:pt x="441" y="494"/>
                      </a:lnTo>
                      <a:lnTo>
                        <a:pt x="438" y="491"/>
                      </a:lnTo>
                      <a:lnTo>
                        <a:pt x="434" y="489"/>
                      </a:lnTo>
                      <a:lnTo>
                        <a:pt x="432" y="486"/>
                      </a:lnTo>
                      <a:lnTo>
                        <a:pt x="429" y="484"/>
                      </a:lnTo>
                      <a:lnTo>
                        <a:pt x="429" y="483"/>
                      </a:lnTo>
                      <a:lnTo>
                        <a:pt x="430" y="480"/>
                      </a:lnTo>
                      <a:lnTo>
                        <a:pt x="436" y="475"/>
                      </a:lnTo>
                      <a:lnTo>
                        <a:pt x="436" y="473"/>
                      </a:lnTo>
                      <a:lnTo>
                        <a:pt x="433" y="475"/>
                      </a:lnTo>
                      <a:lnTo>
                        <a:pt x="428" y="476"/>
                      </a:lnTo>
                      <a:lnTo>
                        <a:pt x="423" y="478"/>
                      </a:lnTo>
                      <a:lnTo>
                        <a:pt x="418" y="480"/>
                      </a:lnTo>
                      <a:lnTo>
                        <a:pt x="415" y="484"/>
                      </a:lnTo>
                      <a:lnTo>
                        <a:pt x="413" y="488"/>
                      </a:lnTo>
                      <a:lnTo>
                        <a:pt x="408" y="494"/>
                      </a:lnTo>
                      <a:lnTo>
                        <a:pt x="403" y="498"/>
                      </a:lnTo>
                      <a:lnTo>
                        <a:pt x="399" y="501"/>
                      </a:lnTo>
                      <a:lnTo>
                        <a:pt x="395" y="502"/>
                      </a:lnTo>
                      <a:lnTo>
                        <a:pt x="391" y="502"/>
                      </a:lnTo>
                      <a:lnTo>
                        <a:pt x="381" y="503"/>
                      </a:lnTo>
                      <a:lnTo>
                        <a:pt x="373" y="504"/>
                      </a:lnTo>
                      <a:lnTo>
                        <a:pt x="366" y="505"/>
                      </a:lnTo>
                      <a:lnTo>
                        <a:pt x="361" y="505"/>
                      </a:lnTo>
                      <a:lnTo>
                        <a:pt x="354" y="502"/>
                      </a:lnTo>
                      <a:lnTo>
                        <a:pt x="349" y="499"/>
                      </a:lnTo>
                      <a:lnTo>
                        <a:pt x="344" y="498"/>
                      </a:lnTo>
                      <a:lnTo>
                        <a:pt x="342" y="498"/>
                      </a:lnTo>
                      <a:lnTo>
                        <a:pt x="339" y="497"/>
                      </a:lnTo>
                      <a:lnTo>
                        <a:pt x="336" y="495"/>
                      </a:lnTo>
                      <a:lnTo>
                        <a:pt x="335" y="494"/>
                      </a:lnTo>
                      <a:lnTo>
                        <a:pt x="333" y="495"/>
                      </a:lnTo>
                      <a:lnTo>
                        <a:pt x="331" y="497"/>
                      </a:lnTo>
                      <a:lnTo>
                        <a:pt x="329" y="499"/>
                      </a:lnTo>
                      <a:lnTo>
                        <a:pt x="324" y="501"/>
                      </a:lnTo>
                      <a:lnTo>
                        <a:pt x="315" y="503"/>
                      </a:lnTo>
                      <a:lnTo>
                        <a:pt x="311" y="505"/>
                      </a:lnTo>
                      <a:lnTo>
                        <a:pt x="309" y="508"/>
                      </a:lnTo>
                      <a:lnTo>
                        <a:pt x="303" y="518"/>
                      </a:lnTo>
                      <a:lnTo>
                        <a:pt x="300" y="526"/>
                      </a:lnTo>
                      <a:lnTo>
                        <a:pt x="296" y="526"/>
                      </a:lnTo>
                      <a:lnTo>
                        <a:pt x="293" y="526"/>
                      </a:lnTo>
                      <a:lnTo>
                        <a:pt x="291" y="527"/>
                      </a:lnTo>
                      <a:lnTo>
                        <a:pt x="288" y="534"/>
                      </a:lnTo>
                      <a:lnTo>
                        <a:pt x="284" y="537"/>
                      </a:lnTo>
                      <a:lnTo>
                        <a:pt x="283" y="539"/>
                      </a:lnTo>
                      <a:lnTo>
                        <a:pt x="282" y="539"/>
                      </a:lnTo>
                      <a:lnTo>
                        <a:pt x="268" y="536"/>
                      </a:lnTo>
                      <a:lnTo>
                        <a:pt x="255" y="535"/>
                      </a:lnTo>
                      <a:lnTo>
                        <a:pt x="256" y="531"/>
                      </a:lnTo>
                      <a:lnTo>
                        <a:pt x="256" y="526"/>
                      </a:lnTo>
                      <a:lnTo>
                        <a:pt x="255" y="521"/>
                      </a:lnTo>
                      <a:lnTo>
                        <a:pt x="254" y="517"/>
                      </a:lnTo>
                      <a:lnTo>
                        <a:pt x="253" y="515"/>
                      </a:lnTo>
                      <a:lnTo>
                        <a:pt x="249" y="512"/>
                      </a:lnTo>
                      <a:lnTo>
                        <a:pt x="235" y="507"/>
                      </a:lnTo>
                      <a:lnTo>
                        <a:pt x="225" y="501"/>
                      </a:lnTo>
                      <a:lnTo>
                        <a:pt x="215" y="495"/>
                      </a:lnTo>
                      <a:lnTo>
                        <a:pt x="206" y="490"/>
                      </a:lnTo>
                      <a:lnTo>
                        <a:pt x="199" y="489"/>
                      </a:lnTo>
                      <a:lnTo>
                        <a:pt x="193" y="486"/>
                      </a:lnTo>
                      <a:lnTo>
                        <a:pt x="187" y="484"/>
                      </a:lnTo>
                      <a:lnTo>
                        <a:pt x="178" y="480"/>
                      </a:lnTo>
                      <a:lnTo>
                        <a:pt x="154" y="491"/>
                      </a:lnTo>
                      <a:lnTo>
                        <a:pt x="142" y="496"/>
                      </a:lnTo>
                      <a:lnTo>
                        <a:pt x="133" y="498"/>
                      </a:lnTo>
                      <a:lnTo>
                        <a:pt x="132" y="497"/>
                      </a:lnTo>
                      <a:lnTo>
                        <a:pt x="131" y="495"/>
                      </a:lnTo>
                      <a:lnTo>
                        <a:pt x="129" y="486"/>
                      </a:lnTo>
                      <a:lnTo>
                        <a:pt x="129" y="478"/>
                      </a:lnTo>
                      <a:lnTo>
                        <a:pt x="131" y="472"/>
                      </a:lnTo>
                      <a:lnTo>
                        <a:pt x="131" y="471"/>
                      </a:lnTo>
                      <a:lnTo>
                        <a:pt x="129" y="470"/>
                      </a:lnTo>
                      <a:lnTo>
                        <a:pt x="126" y="464"/>
                      </a:lnTo>
                      <a:lnTo>
                        <a:pt x="121" y="459"/>
                      </a:lnTo>
                      <a:lnTo>
                        <a:pt x="121" y="457"/>
                      </a:lnTo>
                      <a:lnTo>
                        <a:pt x="123" y="454"/>
                      </a:lnTo>
                      <a:lnTo>
                        <a:pt x="128" y="452"/>
                      </a:lnTo>
                      <a:lnTo>
                        <a:pt x="131" y="450"/>
                      </a:lnTo>
                      <a:lnTo>
                        <a:pt x="131" y="447"/>
                      </a:lnTo>
                      <a:lnTo>
                        <a:pt x="128" y="446"/>
                      </a:lnTo>
                      <a:lnTo>
                        <a:pt x="119" y="446"/>
                      </a:lnTo>
                      <a:lnTo>
                        <a:pt x="114" y="445"/>
                      </a:lnTo>
                      <a:lnTo>
                        <a:pt x="112" y="444"/>
                      </a:lnTo>
                      <a:lnTo>
                        <a:pt x="112" y="443"/>
                      </a:lnTo>
                      <a:lnTo>
                        <a:pt x="110" y="438"/>
                      </a:lnTo>
                      <a:lnTo>
                        <a:pt x="112" y="434"/>
                      </a:lnTo>
                      <a:lnTo>
                        <a:pt x="113" y="431"/>
                      </a:lnTo>
                      <a:lnTo>
                        <a:pt x="114" y="429"/>
                      </a:lnTo>
                      <a:lnTo>
                        <a:pt x="124" y="433"/>
                      </a:lnTo>
                      <a:lnTo>
                        <a:pt x="127" y="433"/>
                      </a:lnTo>
                      <a:lnTo>
                        <a:pt x="129" y="433"/>
                      </a:lnTo>
                      <a:lnTo>
                        <a:pt x="132" y="432"/>
                      </a:lnTo>
                      <a:lnTo>
                        <a:pt x="133" y="429"/>
                      </a:lnTo>
                      <a:lnTo>
                        <a:pt x="135" y="425"/>
                      </a:lnTo>
                      <a:lnTo>
                        <a:pt x="136" y="420"/>
                      </a:lnTo>
                      <a:lnTo>
                        <a:pt x="135" y="412"/>
                      </a:lnTo>
                      <a:lnTo>
                        <a:pt x="133" y="402"/>
                      </a:lnTo>
                      <a:lnTo>
                        <a:pt x="132" y="397"/>
                      </a:lnTo>
                      <a:lnTo>
                        <a:pt x="131" y="396"/>
                      </a:lnTo>
                      <a:lnTo>
                        <a:pt x="131" y="395"/>
                      </a:lnTo>
                      <a:lnTo>
                        <a:pt x="128" y="396"/>
                      </a:lnTo>
                      <a:lnTo>
                        <a:pt x="123" y="400"/>
                      </a:lnTo>
                      <a:lnTo>
                        <a:pt x="122" y="401"/>
                      </a:lnTo>
                      <a:lnTo>
                        <a:pt x="119" y="401"/>
                      </a:lnTo>
                      <a:lnTo>
                        <a:pt x="118" y="402"/>
                      </a:lnTo>
                      <a:lnTo>
                        <a:pt x="114" y="407"/>
                      </a:lnTo>
                      <a:lnTo>
                        <a:pt x="113" y="411"/>
                      </a:lnTo>
                      <a:lnTo>
                        <a:pt x="112" y="412"/>
                      </a:lnTo>
                      <a:lnTo>
                        <a:pt x="112" y="411"/>
                      </a:lnTo>
                      <a:lnTo>
                        <a:pt x="112" y="412"/>
                      </a:lnTo>
                      <a:lnTo>
                        <a:pt x="109" y="415"/>
                      </a:lnTo>
                      <a:lnTo>
                        <a:pt x="108" y="419"/>
                      </a:lnTo>
                      <a:lnTo>
                        <a:pt x="108" y="420"/>
                      </a:lnTo>
                      <a:lnTo>
                        <a:pt x="107" y="420"/>
                      </a:lnTo>
                      <a:lnTo>
                        <a:pt x="107" y="407"/>
                      </a:lnTo>
                      <a:lnTo>
                        <a:pt x="107" y="397"/>
                      </a:lnTo>
                      <a:lnTo>
                        <a:pt x="109" y="388"/>
                      </a:lnTo>
                      <a:lnTo>
                        <a:pt x="108" y="386"/>
                      </a:lnTo>
                      <a:lnTo>
                        <a:pt x="105" y="382"/>
                      </a:lnTo>
                      <a:lnTo>
                        <a:pt x="100" y="380"/>
                      </a:lnTo>
                      <a:lnTo>
                        <a:pt x="98" y="380"/>
                      </a:lnTo>
                      <a:lnTo>
                        <a:pt x="93" y="381"/>
                      </a:lnTo>
                      <a:lnTo>
                        <a:pt x="90" y="381"/>
                      </a:lnTo>
                      <a:lnTo>
                        <a:pt x="90" y="377"/>
                      </a:lnTo>
                      <a:lnTo>
                        <a:pt x="83" y="381"/>
                      </a:lnTo>
                      <a:lnTo>
                        <a:pt x="79" y="383"/>
                      </a:lnTo>
                      <a:lnTo>
                        <a:pt x="77" y="383"/>
                      </a:lnTo>
                      <a:lnTo>
                        <a:pt x="77" y="382"/>
                      </a:lnTo>
                      <a:lnTo>
                        <a:pt x="80" y="379"/>
                      </a:lnTo>
                      <a:lnTo>
                        <a:pt x="81" y="375"/>
                      </a:lnTo>
                      <a:lnTo>
                        <a:pt x="81" y="371"/>
                      </a:lnTo>
                      <a:lnTo>
                        <a:pt x="75" y="357"/>
                      </a:lnTo>
                      <a:lnTo>
                        <a:pt x="72" y="356"/>
                      </a:lnTo>
                      <a:lnTo>
                        <a:pt x="70" y="354"/>
                      </a:lnTo>
                      <a:lnTo>
                        <a:pt x="67" y="350"/>
                      </a:lnTo>
                      <a:lnTo>
                        <a:pt x="67" y="348"/>
                      </a:lnTo>
                      <a:lnTo>
                        <a:pt x="67" y="347"/>
                      </a:lnTo>
                      <a:lnTo>
                        <a:pt x="69" y="348"/>
                      </a:lnTo>
                      <a:lnTo>
                        <a:pt x="79" y="351"/>
                      </a:lnTo>
                      <a:lnTo>
                        <a:pt x="84" y="351"/>
                      </a:lnTo>
                      <a:lnTo>
                        <a:pt x="85" y="351"/>
                      </a:lnTo>
                      <a:lnTo>
                        <a:pt x="86" y="350"/>
                      </a:lnTo>
                      <a:lnTo>
                        <a:pt x="85" y="345"/>
                      </a:lnTo>
                      <a:lnTo>
                        <a:pt x="84" y="339"/>
                      </a:lnTo>
                      <a:lnTo>
                        <a:pt x="83" y="332"/>
                      </a:lnTo>
                      <a:lnTo>
                        <a:pt x="83" y="329"/>
                      </a:lnTo>
                      <a:lnTo>
                        <a:pt x="86" y="322"/>
                      </a:lnTo>
                      <a:lnTo>
                        <a:pt x="90" y="318"/>
                      </a:lnTo>
                      <a:lnTo>
                        <a:pt x="93" y="317"/>
                      </a:lnTo>
                      <a:lnTo>
                        <a:pt x="96" y="317"/>
                      </a:lnTo>
                      <a:lnTo>
                        <a:pt x="99" y="318"/>
                      </a:lnTo>
                      <a:lnTo>
                        <a:pt x="103" y="319"/>
                      </a:lnTo>
                      <a:lnTo>
                        <a:pt x="114" y="325"/>
                      </a:lnTo>
                      <a:lnTo>
                        <a:pt x="118" y="326"/>
                      </a:lnTo>
                      <a:lnTo>
                        <a:pt x="121" y="326"/>
                      </a:lnTo>
                      <a:lnTo>
                        <a:pt x="123" y="326"/>
                      </a:lnTo>
                      <a:lnTo>
                        <a:pt x="126" y="325"/>
                      </a:lnTo>
                      <a:lnTo>
                        <a:pt x="127" y="323"/>
                      </a:lnTo>
                      <a:lnTo>
                        <a:pt x="128" y="322"/>
                      </a:lnTo>
                      <a:lnTo>
                        <a:pt x="126" y="317"/>
                      </a:lnTo>
                      <a:lnTo>
                        <a:pt x="124" y="313"/>
                      </a:lnTo>
                      <a:lnTo>
                        <a:pt x="126" y="311"/>
                      </a:lnTo>
                      <a:lnTo>
                        <a:pt x="128" y="310"/>
                      </a:lnTo>
                      <a:lnTo>
                        <a:pt x="128" y="309"/>
                      </a:lnTo>
                      <a:lnTo>
                        <a:pt x="128" y="306"/>
                      </a:lnTo>
                      <a:lnTo>
                        <a:pt x="126" y="303"/>
                      </a:lnTo>
                      <a:lnTo>
                        <a:pt x="123" y="299"/>
                      </a:lnTo>
                      <a:lnTo>
                        <a:pt x="118" y="287"/>
                      </a:lnTo>
                      <a:lnTo>
                        <a:pt x="114" y="282"/>
                      </a:lnTo>
                      <a:lnTo>
                        <a:pt x="113" y="280"/>
                      </a:lnTo>
                      <a:lnTo>
                        <a:pt x="110" y="280"/>
                      </a:lnTo>
                      <a:lnTo>
                        <a:pt x="99" y="278"/>
                      </a:lnTo>
                      <a:lnTo>
                        <a:pt x="91" y="277"/>
                      </a:lnTo>
                      <a:lnTo>
                        <a:pt x="84" y="280"/>
                      </a:lnTo>
                      <a:lnTo>
                        <a:pt x="72" y="285"/>
                      </a:lnTo>
                      <a:lnTo>
                        <a:pt x="51" y="294"/>
                      </a:lnTo>
                      <a:lnTo>
                        <a:pt x="34" y="303"/>
                      </a:lnTo>
                      <a:close/>
                    </a:path>
                  </a:pathLst>
                </a:custGeom>
                <a:solidFill>
                  <a:srgbClr val="CECECE"/>
                </a:solid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3" name="Freeform 1302"/>
                <p:cNvSpPr>
                  <a:spLocks/>
                </p:cNvSpPr>
                <p:nvPr/>
              </p:nvSpPr>
              <p:spPr bwMode="auto">
                <a:xfrm>
                  <a:off x="6000403" y="3169566"/>
                  <a:ext cx="87313" cy="125790"/>
                </a:xfrm>
                <a:custGeom>
                  <a:avLst/>
                  <a:gdLst>
                    <a:gd name="T0" fmla="*/ 2147483647 w 64"/>
                    <a:gd name="T1" fmla="*/ 2147483647 h 85"/>
                    <a:gd name="T2" fmla="*/ 2147483647 w 64"/>
                    <a:gd name="T3" fmla="*/ 2147483647 h 85"/>
                    <a:gd name="T4" fmla="*/ 2147483647 w 64"/>
                    <a:gd name="T5" fmla="*/ 2147483647 h 85"/>
                    <a:gd name="T6" fmla="*/ 2147483647 w 64"/>
                    <a:gd name="T7" fmla="*/ 2147483647 h 85"/>
                    <a:gd name="T8" fmla="*/ 2147483647 w 64"/>
                    <a:gd name="T9" fmla="*/ 2147483647 h 85"/>
                    <a:gd name="T10" fmla="*/ 2147483647 w 64"/>
                    <a:gd name="T11" fmla="*/ 2147483647 h 85"/>
                    <a:gd name="T12" fmla="*/ 0 w 64"/>
                    <a:gd name="T13" fmla="*/ 2147483647 h 85"/>
                    <a:gd name="T14" fmla="*/ 0 w 64"/>
                    <a:gd name="T15" fmla="*/ 2147483647 h 85"/>
                    <a:gd name="T16" fmla="*/ 2147483647 w 64"/>
                    <a:gd name="T17" fmla="*/ 2147483647 h 85"/>
                    <a:gd name="T18" fmla="*/ 2147483647 w 64"/>
                    <a:gd name="T19" fmla="*/ 2147483647 h 85"/>
                    <a:gd name="T20" fmla="*/ 2147483647 w 64"/>
                    <a:gd name="T21" fmla="*/ 2147483647 h 85"/>
                    <a:gd name="T22" fmla="*/ 2147483647 w 64"/>
                    <a:gd name="T23" fmla="*/ 2147483647 h 85"/>
                    <a:gd name="T24" fmla="*/ 2147483647 w 64"/>
                    <a:gd name="T25" fmla="*/ 2147483647 h 85"/>
                    <a:gd name="T26" fmla="*/ 2147483647 w 64"/>
                    <a:gd name="T27" fmla="*/ 2147483647 h 85"/>
                    <a:gd name="T28" fmla="*/ 2147483647 w 64"/>
                    <a:gd name="T29" fmla="*/ 2147483647 h 85"/>
                    <a:gd name="T30" fmla="*/ 2147483647 w 64"/>
                    <a:gd name="T31" fmla="*/ 2147483647 h 85"/>
                    <a:gd name="T32" fmla="*/ 2147483647 w 64"/>
                    <a:gd name="T33" fmla="*/ 2147483647 h 85"/>
                    <a:gd name="T34" fmla="*/ 2147483647 w 64"/>
                    <a:gd name="T35" fmla="*/ 2147483647 h 85"/>
                    <a:gd name="T36" fmla="*/ 2147483647 w 64"/>
                    <a:gd name="T37" fmla="*/ 2147483647 h 85"/>
                    <a:gd name="T38" fmla="*/ 2147483647 w 64"/>
                    <a:gd name="T39" fmla="*/ 2147483647 h 85"/>
                    <a:gd name="T40" fmla="*/ 2147483647 w 64"/>
                    <a:gd name="T41" fmla="*/ 2147483647 h 85"/>
                    <a:gd name="T42" fmla="*/ 2147483647 w 64"/>
                    <a:gd name="T43" fmla="*/ 2147483647 h 85"/>
                    <a:gd name="T44" fmla="*/ 2147483647 w 64"/>
                    <a:gd name="T45" fmla="*/ 2147483647 h 85"/>
                    <a:gd name="T46" fmla="*/ 2147483647 w 64"/>
                    <a:gd name="T47" fmla="*/ 2147483647 h 85"/>
                    <a:gd name="T48" fmla="*/ 2147483647 w 64"/>
                    <a:gd name="T49" fmla="*/ 2147483647 h 85"/>
                    <a:gd name="T50" fmla="*/ 2147483647 w 64"/>
                    <a:gd name="T51" fmla="*/ 2147483647 h 85"/>
                    <a:gd name="T52" fmla="*/ 2147483647 w 64"/>
                    <a:gd name="T53" fmla="*/ 2147483647 h 85"/>
                    <a:gd name="T54" fmla="*/ 2147483647 w 64"/>
                    <a:gd name="T55" fmla="*/ 2147483647 h 85"/>
                    <a:gd name="T56" fmla="*/ 2147483647 w 64"/>
                    <a:gd name="T57" fmla="*/ 2147483647 h 85"/>
                    <a:gd name="T58" fmla="*/ 2147483647 w 64"/>
                    <a:gd name="T59" fmla="*/ 2147483647 h 85"/>
                    <a:gd name="T60" fmla="*/ 2147483647 w 64"/>
                    <a:gd name="T61" fmla="*/ 2147483647 h 85"/>
                    <a:gd name="T62" fmla="*/ 2147483647 w 64"/>
                    <a:gd name="T63" fmla="*/ 2147483647 h 85"/>
                    <a:gd name="T64" fmla="*/ 2147483647 w 64"/>
                    <a:gd name="T65" fmla="*/ 2147483647 h 85"/>
                    <a:gd name="T66" fmla="*/ 2147483647 w 64"/>
                    <a:gd name="T67" fmla="*/ 0 h 85"/>
                    <a:gd name="T68" fmla="*/ 2147483647 w 64"/>
                    <a:gd name="T69" fmla="*/ 0 h 85"/>
                    <a:gd name="T70" fmla="*/ 2147483647 w 64"/>
                    <a:gd name="T71" fmla="*/ 2147483647 h 85"/>
                    <a:gd name="T72" fmla="*/ 2147483647 w 64"/>
                    <a:gd name="T73" fmla="*/ 2147483647 h 85"/>
                    <a:gd name="T74" fmla="*/ 2147483647 w 64"/>
                    <a:gd name="T75" fmla="*/ 2147483647 h 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
                    <a:gd name="T115" fmla="*/ 0 h 85"/>
                    <a:gd name="T116" fmla="*/ 64 w 64"/>
                    <a:gd name="T117" fmla="*/ 85 h 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 h="85">
                      <a:moveTo>
                        <a:pt x="19" y="16"/>
                      </a:moveTo>
                      <a:lnTo>
                        <a:pt x="21" y="19"/>
                      </a:lnTo>
                      <a:lnTo>
                        <a:pt x="21" y="22"/>
                      </a:lnTo>
                      <a:lnTo>
                        <a:pt x="18" y="24"/>
                      </a:lnTo>
                      <a:lnTo>
                        <a:pt x="17" y="27"/>
                      </a:lnTo>
                      <a:lnTo>
                        <a:pt x="12" y="27"/>
                      </a:lnTo>
                      <a:lnTo>
                        <a:pt x="8" y="27"/>
                      </a:lnTo>
                      <a:lnTo>
                        <a:pt x="7" y="28"/>
                      </a:lnTo>
                      <a:lnTo>
                        <a:pt x="5" y="30"/>
                      </a:lnTo>
                      <a:lnTo>
                        <a:pt x="4" y="34"/>
                      </a:lnTo>
                      <a:lnTo>
                        <a:pt x="4" y="37"/>
                      </a:lnTo>
                      <a:lnTo>
                        <a:pt x="3" y="42"/>
                      </a:lnTo>
                      <a:lnTo>
                        <a:pt x="2" y="43"/>
                      </a:lnTo>
                      <a:lnTo>
                        <a:pt x="0" y="44"/>
                      </a:lnTo>
                      <a:lnTo>
                        <a:pt x="0" y="46"/>
                      </a:lnTo>
                      <a:lnTo>
                        <a:pt x="0" y="63"/>
                      </a:lnTo>
                      <a:lnTo>
                        <a:pt x="0" y="72"/>
                      </a:lnTo>
                      <a:lnTo>
                        <a:pt x="3" y="80"/>
                      </a:lnTo>
                      <a:lnTo>
                        <a:pt x="4" y="81"/>
                      </a:lnTo>
                      <a:lnTo>
                        <a:pt x="8" y="82"/>
                      </a:lnTo>
                      <a:lnTo>
                        <a:pt x="13" y="81"/>
                      </a:lnTo>
                      <a:lnTo>
                        <a:pt x="17" y="79"/>
                      </a:lnTo>
                      <a:lnTo>
                        <a:pt x="18" y="79"/>
                      </a:lnTo>
                      <a:lnTo>
                        <a:pt x="19" y="79"/>
                      </a:lnTo>
                      <a:lnTo>
                        <a:pt x="23" y="82"/>
                      </a:lnTo>
                      <a:lnTo>
                        <a:pt x="27" y="85"/>
                      </a:lnTo>
                      <a:lnTo>
                        <a:pt x="31" y="85"/>
                      </a:lnTo>
                      <a:lnTo>
                        <a:pt x="35" y="82"/>
                      </a:lnTo>
                      <a:lnTo>
                        <a:pt x="41" y="78"/>
                      </a:lnTo>
                      <a:lnTo>
                        <a:pt x="44" y="75"/>
                      </a:lnTo>
                      <a:lnTo>
                        <a:pt x="46" y="73"/>
                      </a:lnTo>
                      <a:lnTo>
                        <a:pt x="46" y="72"/>
                      </a:lnTo>
                      <a:lnTo>
                        <a:pt x="45" y="69"/>
                      </a:lnTo>
                      <a:lnTo>
                        <a:pt x="45" y="68"/>
                      </a:lnTo>
                      <a:lnTo>
                        <a:pt x="46" y="67"/>
                      </a:lnTo>
                      <a:lnTo>
                        <a:pt x="50" y="66"/>
                      </a:lnTo>
                      <a:lnTo>
                        <a:pt x="54" y="66"/>
                      </a:lnTo>
                      <a:lnTo>
                        <a:pt x="55" y="65"/>
                      </a:lnTo>
                      <a:lnTo>
                        <a:pt x="58" y="63"/>
                      </a:lnTo>
                      <a:lnTo>
                        <a:pt x="58" y="59"/>
                      </a:lnTo>
                      <a:lnTo>
                        <a:pt x="58" y="54"/>
                      </a:lnTo>
                      <a:lnTo>
                        <a:pt x="59" y="50"/>
                      </a:lnTo>
                      <a:lnTo>
                        <a:pt x="64" y="43"/>
                      </a:lnTo>
                      <a:lnTo>
                        <a:pt x="60" y="46"/>
                      </a:lnTo>
                      <a:lnTo>
                        <a:pt x="58" y="46"/>
                      </a:lnTo>
                      <a:lnTo>
                        <a:pt x="54" y="44"/>
                      </a:lnTo>
                      <a:lnTo>
                        <a:pt x="51" y="43"/>
                      </a:lnTo>
                      <a:lnTo>
                        <a:pt x="49" y="41"/>
                      </a:lnTo>
                      <a:lnTo>
                        <a:pt x="47" y="38"/>
                      </a:lnTo>
                      <a:lnTo>
                        <a:pt x="46" y="35"/>
                      </a:lnTo>
                      <a:lnTo>
                        <a:pt x="46" y="31"/>
                      </a:lnTo>
                      <a:lnTo>
                        <a:pt x="49" y="28"/>
                      </a:lnTo>
                      <a:lnTo>
                        <a:pt x="51" y="24"/>
                      </a:lnTo>
                      <a:lnTo>
                        <a:pt x="52" y="21"/>
                      </a:lnTo>
                      <a:lnTo>
                        <a:pt x="52" y="18"/>
                      </a:lnTo>
                      <a:lnTo>
                        <a:pt x="51" y="17"/>
                      </a:lnTo>
                      <a:lnTo>
                        <a:pt x="51" y="15"/>
                      </a:lnTo>
                      <a:lnTo>
                        <a:pt x="51" y="12"/>
                      </a:lnTo>
                      <a:lnTo>
                        <a:pt x="55" y="9"/>
                      </a:lnTo>
                      <a:lnTo>
                        <a:pt x="56" y="8"/>
                      </a:lnTo>
                      <a:lnTo>
                        <a:pt x="56" y="5"/>
                      </a:lnTo>
                      <a:lnTo>
                        <a:pt x="55" y="3"/>
                      </a:lnTo>
                      <a:lnTo>
                        <a:pt x="54" y="3"/>
                      </a:lnTo>
                      <a:lnTo>
                        <a:pt x="50" y="4"/>
                      </a:lnTo>
                      <a:lnTo>
                        <a:pt x="49" y="5"/>
                      </a:lnTo>
                      <a:lnTo>
                        <a:pt x="47" y="4"/>
                      </a:lnTo>
                      <a:lnTo>
                        <a:pt x="45" y="2"/>
                      </a:lnTo>
                      <a:lnTo>
                        <a:pt x="44" y="0"/>
                      </a:lnTo>
                      <a:lnTo>
                        <a:pt x="42" y="0"/>
                      </a:lnTo>
                      <a:lnTo>
                        <a:pt x="37" y="0"/>
                      </a:lnTo>
                      <a:lnTo>
                        <a:pt x="33" y="4"/>
                      </a:lnTo>
                      <a:lnTo>
                        <a:pt x="31" y="9"/>
                      </a:lnTo>
                      <a:lnTo>
                        <a:pt x="30" y="14"/>
                      </a:lnTo>
                      <a:lnTo>
                        <a:pt x="27" y="11"/>
                      </a:lnTo>
                      <a:lnTo>
                        <a:pt x="25" y="12"/>
                      </a:lnTo>
                      <a:lnTo>
                        <a:pt x="19"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4" name="Freeform 1303"/>
                <p:cNvSpPr>
                  <a:spLocks/>
                </p:cNvSpPr>
                <p:nvPr/>
              </p:nvSpPr>
              <p:spPr bwMode="auto">
                <a:xfrm>
                  <a:off x="6352614" y="3174010"/>
                  <a:ext cx="134669" cy="73994"/>
                </a:xfrm>
                <a:custGeom>
                  <a:avLst/>
                  <a:gdLst>
                    <a:gd name="T0" fmla="*/ 2147483647 w 98"/>
                    <a:gd name="T1" fmla="*/ 2147483647 h 50"/>
                    <a:gd name="T2" fmla="*/ 2147483647 w 98"/>
                    <a:gd name="T3" fmla="*/ 0 h 50"/>
                    <a:gd name="T4" fmla="*/ 2147483647 w 98"/>
                    <a:gd name="T5" fmla="*/ 0 h 50"/>
                    <a:gd name="T6" fmla="*/ 2147483647 w 98"/>
                    <a:gd name="T7" fmla="*/ 2147483647 h 50"/>
                    <a:gd name="T8" fmla="*/ 2147483647 w 98"/>
                    <a:gd name="T9" fmla="*/ 2147483647 h 50"/>
                    <a:gd name="T10" fmla="*/ 2147483647 w 98"/>
                    <a:gd name="T11" fmla="*/ 2147483647 h 50"/>
                    <a:gd name="T12" fmla="*/ 2147483647 w 98"/>
                    <a:gd name="T13" fmla="*/ 2147483647 h 50"/>
                    <a:gd name="T14" fmla="*/ 2147483647 w 98"/>
                    <a:gd name="T15" fmla="*/ 2147483647 h 50"/>
                    <a:gd name="T16" fmla="*/ 2147483647 w 98"/>
                    <a:gd name="T17" fmla="*/ 2147483647 h 50"/>
                    <a:gd name="T18" fmla="*/ 2147483647 w 98"/>
                    <a:gd name="T19" fmla="*/ 2147483647 h 50"/>
                    <a:gd name="T20" fmla="*/ 2147483647 w 98"/>
                    <a:gd name="T21" fmla="*/ 2147483647 h 50"/>
                    <a:gd name="T22" fmla="*/ 2147483647 w 98"/>
                    <a:gd name="T23" fmla="*/ 2147483647 h 50"/>
                    <a:gd name="T24" fmla="*/ 2147483647 w 98"/>
                    <a:gd name="T25" fmla="*/ 2147483647 h 50"/>
                    <a:gd name="T26" fmla="*/ 2147483647 w 98"/>
                    <a:gd name="T27" fmla="*/ 2147483647 h 50"/>
                    <a:gd name="T28" fmla="*/ 0 w 98"/>
                    <a:gd name="T29" fmla="*/ 2147483647 h 50"/>
                    <a:gd name="T30" fmla="*/ 2147483647 w 98"/>
                    <a:gd name="T31" fmla="*/ 2147483647 h 50"/>
                    <a:gd name="T32" fmla="*/ 2147483647 w 98"/>
                    <a:gd name="T33" fmla="*/ 2147483647 h 50"/>
                    <a:gd name="T34" fmla="*/ 2147483647 w 98"/>
                    <a:gd name="T35" fmla="*/ 2147483647 h 50"/>
                    <a:gd name="T36" fmla="*/ 2147483647 w 98"/>
                    <a:gd name="T37" fmla="*/ 2147483647 h 50"/>
                    <a:gd name="T38" fmla="*/ 2147483647 w 98"/>
                    <a:gd name="T39" fmla="*/ 2147483647 h 50"/>
                    <a:gd name="T40" fmla="*/ 2147483647 w 98"/>
                    <a:gd name="T41" fmla="*/ 2147483647 h 50"/>
                    <a:gd name="T42" fmla="*/ 2147483647 w 98"/>
                    <a:gd name="T43" fmla="*/ 2147483647 h 50"/>
                    <a:gd name="T44" fmla="*/ 2147483647 w 98"/>
                    <a:gd name="T45" fmla="*/ 2147483647 h 50"/>
                    <a:gd name="T46" fmla="*/ 2147483647 w 98"/>
                    <a:gd name="T47" fmla="*/ 2147483647 h 50"/>
                    <a:gd name="T48" fmla="*/ 2147483647 w 98"/>
                    <a:gd name="T49" fmla="*/ 2147483647 h 50"/>
                    <a:gd name="T50" fmla="*/ 2147483647 w 98"/>
                    <a:gd name="T51" fmla="*/ 2147483647 h 50"/>
                    <a:gd name="T52" fmla="*/ 2147483647 w 98"/>
                    <a:gd name="T53" fmla="*/ 2147483647 h 50"/>
                    <a:gd name="T54" fmla="*/ 2147483647 w 98"/>
                    <a:gd name="T55" fmla="*/ 2147483647 h 50"/>
                    <a:gd name="T56" fmla="*/ 2147483647 w 98"/>
                    <a:gd name="T57" fmla="*/ 2147483647 h 50"/>
                    <a:gd name="T58" fmla="*/ 2147483647 w 98"/>
                    <a:gd name="T59" fmla="*/ 2147483647 h 50"/>
                    <a:gd name="T60" fmla="*/ 2147483647 w 98"/>
                    <a:gd name="T61" fmla="*/ 2147483647 h 50"/>
                    <a:gd name="T62" fmla="*/ 2147483647 w 98"/>
                    <a:gd name="T63" fmla="*/ 2147483647 h 50"/>
                    <a:gd name="T64" fmla="*/ 2147483647 w 98"/>
                    <a:gd name="T65" fmla="*/ 2147483647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8"/>
                    <a:gd name="T100" fmla="*/ 0 h 50"/>
                    <a:gd name="T101" fmla="*/ 98 w 98"/>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8" h="50">
                      <a:moveTo>
                        <a:pt x="98" y="7"/>
                      </a:moveTo>
                      <a:lnTo>
                        <a:pt x="98" y="3"/>
                      </a:lnTo>
                      <a:lnTo>
                        <a:pt x="97" y="1"/>
                      </a:lnTo>
                      <a:lnTo>
                        <a:pt x="94" y="0"/>
                      </a:lnTo>
                      <a:lnTo>
                        <a:pt x="93" y="0"/>
                      </a:lnTo>
                      <a:lnTo>
                        <a:pt x="92" y="0"/>
                      </a:lnTo>
                      <a:lnTo>
                        <a:pt x="89" y="3"/>
                      </a:lnTo>
                      <a:lnTo>
                        <a:pt x="87" y="5"/>
                      </a:lnTo>
                      <a:lnTo>
                        <a:pt x="83" y="5"/>
                      </a:lnTo>
                      <a:lnTo>
                        <a:pt x="80" y="5"/>
                      </a:lnTo>
                      <a:lnTo>
                        <a:pt x="78" y="3"/>
                      </a:lnTo>
                      <a:lnTo>
                        <a:pt x="74" y="5"/>
                      </a:lnTo>
                      <a:lnTo>
                        <a:pt x="65" y="6"/>
                      </a:lnTo>
                      <a:lnTo>
                        <a:pt x="60" y="6"/>
                      </a:lnTo>
                      <a:lnTo>
                        <a:pt x="56" y="5"/>
                      </a:lnTo>
                      <a:lnTo>
                        <a:pt x="55" y="3"/>
                      </a:lnTo>
                      <a:lnTo>
                        <a:pt x="48" y="3"/>
                      </a:lnTo>
                      <a:lnTo>
                        <a:pt x="42" y="3"/>
                      </a:lnTo>
                      <a:lnTo>
                        <a:pt x="36" y="5"/>
                      </a:lnTo>
                      <a:lnTo>
                        <a:pt x="28" y="5"/>
                      </a:lnTo>
                      <a:lnTo>
                        <a:pt x="19" y="3"/>
                      </a:lnTo>
                      <a:lnTo>
                        <a:pt x="15" y="5"/>
                      </a:lnTo>
                      <a:lnTo>
                        <a:pt x="12" y="8"/>
                      </a:lnTo>
                      <a:lnTo>
                        <a:pt x="10" y="12"/>
                      </a:lnTo>
                      <a:lnTo>
                        <a:pt x="9" y="15"/>
                      </a:lnTo>
                      <a:lnTo>
                        <a:pt x="8" y="19"/>
                      </a:lnTo>
                      <a:lnTo>
                        <a:pt x="5" y="21"/>
                      </a:lnTo>
                      <a:lnTo>
                        <a:pt x="3" y="25"/>
                      </a:lnTo>
                      <a:lnTo>
                        <a:pt x="1" y="27"/>
                      </a:lnTo>
                      <a:lnTo>
                        <a:pt x="0" y="31"/>
                      </a:lnTo>
                      <a:lnTo>
                        <a:pt x="3" y="35"/>
                      </a:lnTo>
                      <a:lnTo>
                        <a:pt x="5" y="40"/>
                      </a:lnTo>
                      <a:lnTo>
                        <a:pt x="8" y="45"/>
                      </a:lnTo>
                      <a:lnTo>
                        <a:pt x="12" y="48"/>
                      </a:lnTo>
                      <a:lnTo>
                        <a:pt x="14" y="50"/>
                      </a:lnTo>
                      <a:lnTo>
                        <a:pt x="17" y="50"/>
                      </a:lnTo>
                      <a:lnTo>
                        <a:pt x="19" y="48"/>
                      </a:lnTo>
                      <a:lnTo>
                        <a:pt x="22" y="46"/>
                      </a:lnTo>
                      <a:lnTo>
                        <a:pt x="23" y="44"/>
                      </a:lnTo>
                      <a:lnTo>
                        <a:pt x="22" y="41"/>
                      </a:lnTo>
                      <a:lnTo>
                        <a:pt x="18" y="37"/>
                      </a:lnTo>
                      <a:lnTo>
                        <a:pt x="17" y="32"/>
                      </a:lnTo>
                      <a:lnTo>
                        <a:pt x="18" y="28"/>
                      </a:lnTo>
                      <a:lnTo>
                        <a:pt x="21" y="24"/>
                      </a:lnTo>
                      <a:lnTo>
                        <a:pt x="22" y="24"/>
                      </a:lnTo>
                      <a:lnTo>
                        <a:pt x="23" y="24"/>
                      </a:lnTo>
                      <a:lnTo>
                        <a:pt x="24" y="25"/>
                      </a:lnTo>
                      <a:lnTo>
                        <a:pt x="26" y="22"/>
                      </a:lnTo>
                      <a:lnTo>
                        <a:pt x="26" y="21"/>
                      </a:lnTo>
                      <a:lnTo>
                        <a:pt x="26" y="19"/>
                      </a:lnTo>
                      <a:lnTo>
                        <a:pt x="26" y="16"/>
                      </a:lnTo>
                      <a:lnTo>
                        <a:pt x="28" y="15"/>
                      </a:lnTo>
                      <a:lnTo>
                        <a:pt x="29" y="16"/>
                      </a:lnTo>
                      <a:lnTo>
                        <a:pt x="31" y="16"/>
                      </a:lnTo>
                      <a:lnTo>
                        <a:pt x="33" y="16"/>
                      </a:lnTo>
                      <a:lnTo>
                        <a:pt x="37" y="16"/>
                      </a:lnTo>
                      <a:lnTo>
                        <a:pt x="41" y="15"/>
                      </a:lnTo>
                      <a:lnTo>
                        <a:pt x="48" y="16"/>
                      </a:lnTo>
                      <a:lnTo>
                        <a:pt x="52" y="16"/>
                      </a:lnTo>
                      <a:lnTo>
                        <a:pt x="56" y="15"/>
                      </a:lnTo>
                      <a:lnTo>
                        <a:pt x="62" y="15"/>
                      </a:lnTo>
                      <a:lnTo>
                        <a:pt x="67" y="15"/>
                      </a:lnTo>
                      <a:lnTo>
                        <a:pt x="80" y="15"/>
                      </a:lnTo>
                      <a:lnTo>
                        <a:pt x="85" y="15"/>
                      </a:lnTo>
                      <a:lnTo>
                        <a:pt x="90" y="14"/>
                      </a:lnTo>
                      <a:lnTo>
                        <a:pt x="94" y="11"/>
                      </a:lnTo>
                      <a:lnTo>
                        <a:pt x="98"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5" name="Freeform 1304"/>
                <p:cNvSpPr>
                  <a:spLocks/>
                </p:cNvSpPr>
                <p:nvPr/>
              </p:nvSpPr>
              <p:spPr bwMode="auto">
                <a:xfrm>
                  <a:off x="5998921" y="3168091"/>
                  <a:ext cx="87312" cy="124309"/>
                </a:xfrm>
                <a:custGeom>
                  <a:avLst/>
                  <a:gdLst>
                    <a:gd name="T0" fmla="*/ 2147483647 w 64"/>
                    <a:gd name="T1" fmla="*/ 2147483647 h 84"/>
                    <a:gd name="T2" fmla="*/ 2147483647 w 64"/>
                    <a:gd name="T3" fmla="*/ 2147483647 h 84"/>
                    <a:gd name="T4" fmla="*/ 2147483647 w 64"/>
                    <a:gd name="T5" fmla="*/ 2147483647 h 84"/>
                    <a:gd name="T6" fmla="*/ 2147483647 w 64"/>
                    <a:gd name="T7" fmla="*/ 2147483647 h 84"/>
                    <a:gd name="T8" fmla="*/ 2147483647 w 64"/>
                    <a:gd name="T9" fmla="*/ 2147483647 h 84"/>
                    <a:gd name="T10" fmla="*/ 2147483647 w 64"/>
                    <a:gd name="T11" fmla="*/ 2147483647 h 84"/>
                    <a:gd name="T12" fmla="*/ 2147483647 w 64"/>
                    <a:gd name="T13" fmla="*/ 2147483647 h 84"/>
                    <a:gd name="T14" fmla="*/ 2147483647 w 64"/>
                    <a:gd name="T15" fmla="*/ 2147483647 h 84"/>
                    <a:gd name="T16" fmla="*/ 2147483647 w 64"/>
                    <a:gd name="T17" fmla="*/ 2147483647 h 84"/>
                    <a:gd name="T18" fmla="*/ 0 w 64"/>
                    <a:gd name="T19" fmla="*/ 2147483647 h 84"/>
                    <a:gd name="T20" fmla="*/ 0 w 64"/>
                    <a:gd name="T21" fmla="*/ 2147483647 h 84"/>
                    <a:gd name="T22" fmla="*/ 2147483647 w 64"/>
                    <a:gd name="T23" fmla="*/ 2147483647 h 84"/>
                    <a:gd name="T24" fmla="*/ 2147483647 w 64"/>
                    <a:gd name="T25" fmla="*/ 2147483647 h 84"/>
                    <a:gd name="T26" fmla="*/ 2147483647 w 64"/>
                    <a:gd name="T27" fmla="*/ 2147483647 h 84"/>
                    <a:gd name="T28" fmla="*/ 2147483647 w 64"/>
                    <a:gd name="T29" fmla="*/ 2147483647 h 84"/>
                    <a:gd name="T30" fmla="*/ 2147483647 w 64"/>
                    <a:gd name="T31" fmla="*/ 2147483647 h 84"/>
                    <a:gd name="T32" fmla="*/ 2147483647 w 64"/>
                    <a:gd name="T33" fmla="*/ 2147483647 h 84"/>
                    <a:gd name="T34" fmla="*/ 2147483647 w 64"/>
                    <a:gd name="T35" fmla="*/ 2147483647 h 84"/>
                    <a:gd name="T36" fmla="*/ 2147483647 w 64"/>
                    <a:gd name="T37" fmla="*/ 2147483647 h 84"/>
                    <a:gd name="T38" fmla="*/ 2147483647 w 64"/>
                    <a:gd name="T39" fmla="*/ 2147483647 h 84"/>
                    <a:gd name="T40" fmla="*/ 2147483647 w 64"/>
                    <a:gd name="T41" fmla="*/ 2147483647 h 84"/>
                    <a:gd name="T42" fmla="*/ 2147483647 w 64"/>
                    <a:gd name="T43" fmla="*/ 2147483647 h 84"/>
                    <a:gd name="T44" fmla="*/ 2147483647 w 64"/>
                    <a:gd name="T45" fmla="*/ 2147483647 h 84"/>
                    <a:gd name="T46" fmla="*/ 2147483647 w 64"/>
                    <a:gd name="T47" fmla="*/ 2147483647 h 84"/>
                    <a:gd name="T48" fmla="*/ 2147483647 w 64"/>
                    <a:gd name="T49" fmla="*/ 2147483647 h 84"/>
                    <a:gd name="T50" fmla="*/ 2147483647 w 64"/>
                    <a:gd name="T51" fmla="*/ 2147483647 h 84"/>
                    <a:gd name="T52" fmla="*/ 2147483647 w 64"/>
                    <a:gd name="T53" fmla="*/ 2147483647 h 84"/>
                    <a:gd name="T54" fmla="*/ 2147483647 w 64"/>
                    <a:gd name="T55" fmla="*/ 2147483647 h 84"/>
                    <a:gd name="T56" fmla="*/ 2147483647 w 64"/>
                    <a:gd name="T57" fmla="*/ 2147483647 h 84"/>
                    <a:gd name="T58" fmla="*/ 2147483647 w 64"/>
                    <a:gd name="T59" fmla="*/ 2147483647 h 84"/>
                    <a:gd name="T60" fmla="*/ 2147483647 w 64"/>
                    <a:gd name="T61" fmla="*/ 2147483647 h 84"/>
                    <a:gd name="T62" fmla="*/ 2147483647 w 64"/>
                    <a:gd name="T63" fmla="*/ 2147483647 h 84"/>
                    <a:gd name="T64" fmla="*/ 2147483647 w 64"/>
                    <a:gd name="T65" fmla="*/ 2147483647 h 84"/>
                    <a:gd name="T66" fmla="*/ 2147483647 w 64"/>
                    <a:gd name="T67" fmla="*/ 2147483647 h 84"/>
                    <a:gd name="T68" fmla="*/ 2147483647 w 64"/>
                    <a:gd name="T69" fmla="*/ 2147483647 h 84"/>
                    <a:gd name="T70" fmla="*/ 2147483647 w 64"/>
                    <a:gd name="T71" fmla="*/ 2147483647 h 84"/>
                    <a:gd name="T72" fmla="*/ 2147483647 w 64"/>
                    <a:gd name="T73" fmla="*/ 2147483647 h 84"/>
                    <a:gd name="T74" fmla="*/ 2147483647 w 64"/>
                    <a:gd name="T75" fmla="*/ 2147483647 h 84"/>
                    <a:gd name="T76" fmla="*/ 2147483647 w 64"/>
                    <a:gd name="T77" fmla="*/ 2147483647 h 84"/>
                    <a:gd name="T78" fmla="*/ 2147483647 w 64"/>
                    <a:gd name="T79" fmla="*/ 2147483647 h 84"/>
                    <a:gd name="T80" fmla="*/ 2147483647 w 64"/>
                    <a:gd name="T81" fmla="*/ 2147483647 h 84"/>
                    <a:gd name="T82" fmla="*/ 2147483647 w 64"/>
                    <a:gd name="T83" fmla="*/ 2147483647 h 84"/>
                    <a:gd name="T84" fmla="*/ 2147483647 w 64"/>
                    <a:gd name="T85" fmla="*/ 2147483647 h 84"/>
                    <a:gd name="T86" fmla="*/ 2147483647 w 64"/>
                    <a:gd name="T87" fmla="*/ 0 h 84"/>
                    <a:gd name="T88" fmla="*/ 2147483647 w 64"/>
                    <a:gd name="T89" fmla="*/ 0 h 84"/>
                    <a:gd name="T90" fmla="*/ 2147483647 w 64"/>
                    <a:gd name="T91" fmla="*/ 2147483647 h 84"/>
                    <a:gd name="T92" fmla="*/ 2147483647 w 64"/>
                    <a:gd name="T93" fmla="*/ 2147483647 h 84"/>
                    <a:gd name="T94" fmla="*/ 2147483647 w 64"/>
                    <a:gd name="T95" fmla="*/ 2147483647 h 84"/>
                    <a:gd name="T96" fmla="*/ 2147483647 w 64"/>
                    <a:gd name="T97" fmla="*/ 2147483647 h 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
                    <a:gd name="T148" fmla="*/ 0 h 84"/>
                    <a:gd name="T149" fmla="*/ 64 w 64"/>
                    <a:gd name="T150" fmla="*/ 84 h 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 h="84">
                      <a:moveTo>
                        <a:pt x="19" y="16"/>
                      </a:moveTo>
                      <a:lnTo>
                        <a:pt x="19" y="16"/>
                      </a:lnTo>
                      <a:lnTo>
                        <a:pt x="20" y="19"/>
                      </a:lnTo>
                      <a:lnTo>
                        <a:pt x="20" y="22"/>
                      </a:lnTo>
                      <a:lnTo>
                        <a:pt x="18" y="24"/>
                      </a:lnTo>
                      <a:lnTo>
                        <a:pt x="17" y="26"/>
                      </a:lnTo>
                      <a:lnTo>
                        <a:pt x="12" y="26"/>
                      </a:lnTo>
                      <a:lnTo>
                        <a:pt x="8" y="26"/>
                      </a:lnTo>
                      <a:lnTo>
                        <a:pt x="6" y="28"/>
                      </a:lnTo>
                      <a:lnTo>
                        <a:pt x="5" y="30"/>
                      </a:lnTo>
                      <a:lnTo>
                        <a:pt x="4" y="33"/>
                      </a:lnTo>
                      <a:lnTo>
                        <a:pt x="4" y="37"/>
                      </a:lnTo>
                      <a:lnTo>
                        <a:pt x="3" y="42"/>
                      </a:lnTo>
                      <a:lnTo>
                        <a:pt x="1" y="43"/>
                      </a:lnTo>
                      <a:lnTo>
                        <a:pt x="0" y="44"/>
                      </a:lnTo>
                      <a:lnTo>
                        <a:pt x="0" y="45"/>
                      </a:lnTo>
                      <a:lnTo>
                        <a:pt x="0" y="63"/>
                      </a:lnTo>
                      <a:lnTo>
                        <a:pt x="0" y="71"/>
                      </a:lnTo>
                      <a:lnTo>
                        <a:pt x="3" y="80"/>
                      </a:lnTo>
                      <a:lnTo>
                        <a:pt x="4" y="81"/>
                      </a:lnTo>
                      <a:lnTo>
                        <a:pt x="8" y="82"/>
                      </a:lnTo>
                      <a:lnTo>
                        <a:pt x="13" y="81"/>
                      </a:lnTo>
                      <a:lnTo>
                        <a:pt x="17" y="79"/>
                      </a:lnTo>
                      <a:lnTo>
                        <a:pt x="18" y="79"/>
                      </a:lnTo>
                      <a:lnTo>
                        <a:pt x="19" y="79"/>
                      </a:lnTo>
                      <a:lnTo>
                        <a:pt x="23" y="82"/>
                      </a:lnTo>
                      <a:lnTo>
                        <a:pt x="27" y="84"/>
                      </a:lnTo>
                      <a:lnTo>
                        <a:pt x="31" y="84"/>
                      </a:lnTo>
                      <a:lnTo>
                        <a:pt x="34" y="82"/>
                      </a:lnTo>
                      <a:lnTo>
                        <a:pt x="41" y="77"/>
                      </a:lnTo>
                      <a:lnTo>
                        <a:pt x="43" y="75"/>
                      </a:lnTo>
                      <a:lnTo>
                        <a:pt x="46" y="73"/>
                      </a:lnTo>
                      <a:lnTo>
                        <a:pt x="46" y="71"/>
                      </a:lnTo>
                      <a:lnTo>
                        <a:pt x="45" y="69"/>
                      </a:lnTo>
                      <a:lnTo>
                        <a:pt x="45" y="68"/>
                      </a:lnTo>
                      <a:lnTo>
                        <a:pt x="46" y="67"/>
                      </a:lnTo>
                      <a:lnTo>
                        <a:pt x="50" y="66"/>
                      </a:lnTo>
                      <a:lnTo>
                        <a:pt x="53" y="66"/>
                      </a:lnTo>
                      <a:lnTo>
                        <a:pt x="55" y="64"/>
                      </a:lnTo>
                      <a:lnTo>
                        <a:pt x="57" y="63"/>
                      </a:lnTo>
                      <a:lnTo>
                        <a:pt x="57" y="58"/>
                      </a:lnTo>
                      <a:lnTo>
                        <a:pt x="57" y="54"/>
                      </a:lnTo>
                      <a:lnTo>
                        <a:pt x="59" y="50"/>
                      </a:lnTo>
                      <a:lnTo>
                        <a:pt x="64" y="43"/>
                      </a:lnTo>
                      <a:lnTo>
                        <a:pt x="60" y="45"/>
                      </a:lnTo>
                      <a:lnTo>
                        <a:pt x="57" y="45"/>
                      </a:lnTo>
                      <a:lnTo>
                        <a:pt x="53" y="44"/>
                      </a:lnTo>
                      <a:lnTo>
                        <a:pt x="51" y="43"/>
                      </a:lnTo>
                      <a:lnTo>
                        <a:pt x="48" y="41"/>
                      </a:lnTo>
                      <a:lnTo>
                        <a:pt x="47" y="38"/>
                      </a:lnTo>
                      <a:lnTo>
                        <a:pt x="46" y="35"/>
                      </a:lnTo>
                      <a:lnTo>
                        <a:pt x="46" y="31"/>
                      </a:lnTo>
                      <a:lnTo>
                        <a:pt x="48" y="28"/>
                      </a:lnTo>
                      <a:lnTo>
                        <a:pt x="51" y="24"/>
                      </a:lnTo>
                      <a:lnTo>
                        <a:pt x="52" y="20"/>
                      </a:lnTo>
                      <a:lnTo>
                        <a:pt x="52" y="18"/>
                      </a:lnTo>
                      <a:lnTo>
                        <a:pt x="51" y="17"/>
                      </a:lnTo>
                      <a:lnTo>
                        <a:pt x="51" y="15"/>
                      </a:lnTo>
                      <a:lnTo>
                        <a:pt x="51" y="12"/>
                      </a:lnTo>
                      <a:lnTo>
                        <a:pt x="55" y="9"/>
                      </a:lnTo>
                      <a:lnTo>
                        <a:pt x="56" y="7"/>
                      </a:lnTo>
                      <a:lnTo>
                        <a:pt x="56" y="5"/>
                      </a:lnTo>
                      <a:lnTo>
                        <a:pt x="55" y="3"/>
                      </a:lnTo>
                      <a:lnTo>
                        <a:pt x="53" y="3"/>
                      </a:lnTo>
                      <a:lnTo>
                        <a:pt x="50" y="4"/>
                      </a:lnTo>
                      <a:lnTo>
                        <a:pt x="48" y="5"/>
                      </a:lnTo>
                      <a:lnTo>
                        <a:pt x="47" y="4"/>
                      </a:lnTo>
                      <a:lnTo>
                        <a:pt x="45" y="1"/>
                      </a:lnTo>
                      <a:lnTo>
                        <a:pt x="43" y="0"/>
                      </a:lnTo>
                      <a:lnTo>
                        <a:pt x="42" y="0"/>
                      </a:lnTo>
                      <a:lnTo>
                        <a:pt x="37" y="0"/>
                      </a:lnTo>
                      <a:lnTo>
                        <a:pt x="33" y="4"/>
                      </a:lnTo>
                      <a:lnTo>
                        <a:pt x="31" y="9"/>
                      </a:lnTo>
                      <a:lnTo>
                        <a:pt x="29" y="13"/>
                      </a:lnTo>
                      <a:lnTo>
                        <a:pt x="27" y="11"/>
                      </a:lnTo>
                      <a:lnTo>
                        <a:pt x="24" y="12"/>
                      </a:lnTo>
                      <a:lnTo>
                        <a:pt x="19"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6" name="Freeform 1305"/>
                <p:cNvSpPr>
                  <a:spLocks/>
                </p:cNvSpPr>
                <p:nvPr/>
              </p:nvSpPr>
              <p:spPr bwMode="auto">
                <a:xfrm>
                  <a:off x="6351131" y="3172527"/>
                  <a:ext cx="134668" cy="72514"/>
                </a:xfrm>
                <a:custGeom>
                  <a:avLst/>
                  <a:gdLst>
                    <a:gd name="T0" fmla="*/ 2147483647 w 98"/>
                    <a:gd name="T1" fmla="*/ 2147483647 h 49"/>
                    <a:gd name="T2" fmla="*/ 2147483647 w 98"/>
                    <a:gd name="T3" fmla="*/ 2147483647 h 49"/>
                    <a:gd name="T4" fmla="*/ 2147483647 w 98"/>
                    <a:gd name="T5" fmla="*/ 0 h 49"/>
                    <a:gd name="T6" fmla="*/ 2147483647 w 98"/>
                    <a:gd name="T7" fmla="*/ 0 h 49"/>
                    <a:gd name="T8" fmla="*/ 2147483647 w 98"/>
                    <a:gd name="T9" fmla="*/ 2147483647 h 49"/>
                    <a:gd name="T10" fmla="*/ 2147483647 w 98"/>
                    <a:gd name="T11" fmla="*/ 2147483647 h 49"/>
                    <a:gd name="T12" fmla="*/ 2147483647 w 98"/>
                    <a:gd name="T13" fmla="*/ 2147483647 h 49"/>
                    <a:gd name="T14" fmla="*/ 2147483647 w 98"/>
                    <a:gd name="T15" fmla="*/ 2147483647 h 49"/>
                    <a:gd name="T16" fmla="*/ 2147483647 w 98"/>
                    <a:gd name="T17" fmla="*/ 2147483647 h 49"/>
                    <a:gd name="T18" fmla="*/ 2147483647 w 98"/>
                    <a:gd name="T19" fmla="*/ 2147483647 h 49"/>
                    <a:gd name="T20" fmla="*/ 2147483647 w 98"/>
                    <a:gd name="T21" fmla="*/ 2147483647 h 49"/>
                    <a:gd name="T22" fmla="*/ 2147483647 w 98"/>
                    <a:gd name="T23" fmla="*/ 2147483647 h 49"/>
                    <a:gd name="T24" fmla="*/ 2147483647 w 98"/>
                    <a:gd name="T25" fmla="*/ 2147483647 h 49"/>
                    <a:gd name="T26" fmla="*/ 2147483647 w 98"/>
                    <a:gd name="T27" fmla="*/ 2147483647 h 49"/>
                    <a:gd name="T28" fmla="*/ 2147483647 w 98"/>
                    <a:gd name="T29" fmla="*/ 2147483647 h 49"/>
                    <a:gd name="T30" fmla="*/ 2147483647 w 98"/>
                    <a:gd name="T31" fmla="*/ 2147483647 h 49"/>
                    <a:gd name="T32" fmla="*/ 2147483647 w 98"/>
                    <a:gd name="T33" fmla="*/ 2147483647 h 49"/>
                    <a:gd name="T34" fmla="*/ 2147483647 w 98"/>
                    <a:gd name="T35" fmla="*/ 2147483647 h 49"/>
                    <a:gd name="T36" fmla="*/ 2147483647 w 98"/>
                    <a:gd name="T37" fmla="*/ 2147483647 h 49"/>
                    <a:gd name="T38" fmla="*/ 2147483647 w 98"/>
                    <a:gd name="T39" fmla="*/ 2147483647 h 49"/>
                    <a:gd name="T40" fmla="*/ 0 w 98"/>
                    <a:gd name="T41" fmla="*/ 2147483647 h 49"/>
                    <a:gd name="T42" fmla="*/ 2147483647 w 98"/>
                    <a:gd name="T43" fmla="*/ 2147483647 h 49"/>
                    <a:gd name="T44" fmla="*/ 2147483647 w 98"/>
                    <a:gd name="T45" fmla="*/ 2147483647 h 49"/>
                    <a:gd name="T46" fmla="*/ 2147483647 w 98"/>
                    <a:gd name="T47" fmla="*/ 2147483647 h 49"/>
                    <a:gd name="T48" fmla="*/ 2147483647 w 98"/>
                    <a:gd name="T49" fmla="*/ 2147483647 h 49"/>
                    <a:gd name="T50" fmla="*/ 2147483647 w 98"/>
                    <a:gd name="T51" fmla="*/ 2147483647 h 49"/>
                    <a:gd name="T52" fmla="*/ 2147483647 w 98"/>
                    <a:gd name="T53" fmla="*/ 2147483647 h 49"/>
                    <a:gd name="T54" fmla="*/ 2147483647 w 98"/>
                    <a:gd name="T55" fmla="*/ 2147483647 h 49"/>
                    <a:gd name="T56" fmla="*/ 2147483647 w 98"/>
                    <a:gd name="T57" fmla="*/ 2147483647 h 49"/>
                    <a:gd name="T58" fmla="*/ 2147483647 w 98"/>
                    <a:gd name="T59" fmla="*/ 2147483647 h 49"/>
                    <a:gd name="T60" fmla="*/ 2147483647 w 98"/>
                    <a:gd name="T61" fmla="*/ 2147483647 h 49"/>
                    <a:gd name="T62" fmla="*/ 2147483647 w 98"/>
                    <a:gd name="T63" fmla="*/ 2147483647 h 49"/>
                    <a:gd name="T64" fmla="*/ 2147483647 w 98"/>
                    <a:gd name="T65" fmla="*/ 2147483647 h 49"/>
                    <a:gd name="T66" fmla="*/ 2147483647 w 98"/>
                    <a:gd name="T67" fmla="*/ 2147483647 h 49"/>
                    <a:gd name="T68" fmla="*/ 2147483647 w 98"/>
                    <a:gd name="T69" fmla="*/ 2147483647 h 49"/>
                    <a:gd name="T70" fmla="*/ 2147483647 w 98"/>
                    <a:gd name="T71" fmla="*/ 2147483647 h 49"/>
                    <a:gd name="T72" fmla="*/ 2147483647 w 98"/>
                    <a:gd name="T73" fmla="*/ 2147483647 h 49"/>
                    <a:gd name="T74" fmla="*/ 2147483647 w 98"/>
                    <a:gd name="T75" fmla="*/ 2147483647 h 49"/>
                    <a:gd name="T76" fmla="*/ 2147483647 w 98"/>
                    <a:gd name="T77" fmla="*/ 2147483647 h 49"/>
                    <a:gd name="T78" fmla="*/ 2147483647 w 98"/>
                    <a:gd name="T79" fmla="*/ 2147483647 h 49"/>
                    <a:gd name="T80" fmla="*/ 2147483647 w 98"/>
                    <a:gd name="T81" fmla="*/ 2147483647 h 49"/>
                    <a:gd name="T82" fmla="*/ 2147483647 w 98"/>
                    <a:gd name="T83" fmla="*/ 2147483647 h 49"/>
                    <a:gd name="T84" fmla="*/ 2147483647 w 98"/>
                    <a:gd name="T85" fmla="*/ 2147483647 h 49"/>
                    <a:gd name="T86" fmla="*/ 2147483647 w 98"/>
                    <a:gd name="T87" fmla="*/ 2147483647 h 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8"/>
                    <a:gd name="T133" fmla="*/ 0 h 49"/>
                    <a:gd name="T134" fmla="*/ 98 w 98"/>
                    <a:gd name="T135" fmla="*/ 49 h 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8" h="49">
                      <a:moveTo>
                        <a:pt x="98" y="7"/>
                      </a:moveTo>
                      <a:lnTo>
                        <a:pt x="98" y="7"/>
                      </a:lnTo>
                      <a:lnTo>
                        <a:pt x="98" y="3"/>
                      </a:lnTo>
                      <a:lnTo>
                        <a:pt x="96" y="1"/>
                      </a:lnTo>
                      <a:lnTo>
                        <a:pt x="94" y="0"/>
                      </a:lnTo>
                      <a:lnTo>
                        <a:pt x="93" y="0"/>
                      </a:lnTo>
                      <a:lnTo>
                        <a:pt x="91" y="0"/>
                      </a:lnTo>
                      <a:lnTo>
                        <a:pt x="89" y="3"/>
                      </a:lnTo>
                      <a:lnTo>
                        <a:pt x="86" y="4"/>
                      </a:lnTo>
                      <a:lnTo>
                        <a:pt x="82" y="4"/>
                      </a:lnTo>
                      <a:lnTo>
                        <a:pt x="80" y="4"/>
                      </a:lnTo>
                      <a:lnTo>
                        <a:pt x="77" y="3"/>
                      </a:lnTo>
                      <a:lnTo>
                        <a:pt x="74" y="4"/>
                      </a:lnTo>
                      <a:lnTo>
                        <a:pt x="65" y="6"/>
                      </a:lnTo>
                      <a:lnTo>
                        <a:pt x="60" y="6"/>
                      </a:lnTo>
                      <a:lnTo>
                        <a:pt x="56" y="4"/>
                      </a:lnTo>
                      <a:lnTo>
                        <a:pt x="55" y="3"/>
                      </a:lnTo>
                      <a:lnTo>
                        <a:pt x="48" y="3"/>
                      </a:lnTo>
                      <a:lnTo>
                        <a:pt x="42" y="3"/>
                      </a:lnTo>
                      <a:lnTo>
                        <a:pt x="35" y="4"/>
                      </a:lnTo>
                      <a:lnTo>
                        <a:pt x="28" y="4"/>
                      </a:lnTo>
                      <a:lnTo>
                        <a:pt x="19" y="3"/>
                      </a:lnTo>
                      <a:lnTo>
                        <a:pt x="15" y="4"/>
                      </a:lnTo>
                      <a:lnTo>
                        <a:pt x="11" y="8"/>
                      </a:lnTo>
                      <a:lnTo>
                        <a:pt x="10" y="12"/>
                      </a:lnTo>
                      <a:lnTo>
                        <a:pt x="9" y="15"/>
                      </a:lnTo>
                      <a:lnTo>
                        <a:pt x="8" y="19"/>
                      </a:lnTo>
                      <a:lnTo>
                        <a:pt x="5" y="21"/>
                      </a:lnTo>
                      <a:lnTo>
                        <a:pt x="2" y="25"/>
                      </a:lnTo>
                      <a:lnTo>
                        <a:pt x="1" y="27"/>
                      </a:lnTo>
                      <a:lnTo>
                        <a:pt x="0" y="30"/>
                      </a:lnTo>
                      <a:lnTo>
                        <a:pt x="2" y="35"/>
                      </a:lnTo>
                      <a:lnTo>
                        <a:pt x="5" y="40"/>
                      </a:lnTo>
                      <a:lnTo>
                        <a:pt x="8" y="45"/>
                      </a:lnTo>
                      <a:lnTo>
                        <a:pt x="11" y="48"/>
                      </a:lnTo>
                      <a:lnTo>
                        <a:pt x="14" y="49"/>
                      </a:lnTo>
                      <a:lnTo>
                        <a:pt x="16" y="49"/>
                      </a:lnTo>
                      <a:lnTo>
                        <a:pt x="19" y="48"/>
                      </a:lnTo>
                      <a:lnTo>
                        <a:pt x="22" y="46"/>
                      </a:lnTo>
                      <a:lnTo>
                        <a:pt x="23" y="44"/>
                      </a:lnTo>
                      <a:lnTo>
                        <a:pt x="22" y="41"/>
                      </a:lnTo>
                      <a:lnTo>
                        <a:pt x="18" y="36"/>
                      </a:lnTo>
                      <a:lnTo>
                        <a:pt x="16" y="32"/>
                      </a:lnTo>
                      <a:lnTo>
                        <a:pt x="18" y="28"/>
                      </a:lnTo>
                      <a:lnTo>
                        <a:pt x="20" y="23"/>
                      </a:lnTo>
                      <a:lnTo>
                        <a:pt x="22" y="23"/>
                      </a:lnTo>
                      <a:lnTo>
                        <a:pt x="23" y="23"/>
                      </a:lnTo>
                      <a:lnTo>
                        <a:pt x="24" y="25"/>
                      </a:lnTo>
                      <a:lnTo>
                        <a:pt x="25" y="22"/>
                      </a:lnTo>
                      <a:lnTo>
                        <a:pt x="25" y="21"/>
                      </a:lnTo>
                      <a:lnTo>
                        <a:pt x="25" y="19"/>
                      </a:lnTo>
                      <a:lnTo>
                        <a:pt x="25" y="16"/>
                      </a:lnTo>
                      <a:lnTo>
                        <a:pt x="28" y="15"/>
                      </a:lnTo>
                      <a:lnTo>
                        <a:pt x="29" y="16"/>
                      </a:lnTo>
                      <a:lnTo>
                        <a:pt x="30" y="16"/>
                      </a:lnTo>
                      <a:lnTo>
                        <a:pt x="33" y="16"/>
                      </a:lnTo>
                      <a:lnTo>
                        <a:pt x="37" y="16"/>
                      </a:lnTo>
                      <a:lnTo>
                        <a:pt x="41" y="15"/>
                      </a:lnTo>
                      <a:lnTo>
                        <a:pt x="48" y="16"/>
                      </a:lnTo>
                      <a:lnTo>
                        <a:pt x="52" y="16"/>
                      </a:lnTo>
                      <a:lnTo>
                        <a:pt x="56" y="15"/>
                      </a:lnTo>
                      <a:lnTo>
                        <a:pt x="62" y="15"/>
                      </a:lnTo>
                      <a:lnTo>
                        <a:pt x="67" y="15"/>
                      </a:lnTo>
                      <a:lnTo>
                        <a:pt x="80" y="15"/>
                      </a:lnTo>
                      <a:lnTo>
                        <a:pt x="85" y="15"/>
                      </a:lnTo>
                      <a:lnTo>
                        <a:pt x="90" y="14"/>
                      </a:lnTo>
                      <a:lnTo>
                        <a:pt x="94" y="10"/>
                      </a:lnTo>
                      <a:lnTo>
                        <a:pt x="9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7" name="Freeform 1306"/>
                <p:cNvSpPr>
                  <a:spLocks/>
                </p:cNvSpPr>
                <p:nvPr/>
              </p:nvSpPr>
              <p:spPr bwMode="auto">
                <a:xfrm>
                  <a:off x="6280100" y="3276121"/>
                  <a:ext cx="227900" cy="143547"/>
                </a:xfrm>
                <a:custGeom>
                  <a:avLst/>
                  <a:gdLst>
                    <a:gd name="T0" fmla="*/ 2147483647 w 167"/>
                    <a:gd name="T1" fmla="*/ 2147483647 h 97"/>
                    <a:gd name="T2" fmla="*/ 2147483647 w 167"/>
                    <a:gd name="T3" fmla="*/ 2147483647 h 97"/>
                    <a:gd name="T4" fmla="*/ 2147483647 w 167"/>
                    <a:gd name="T5" fmla="*/ 2147483647 h 97"/>
                    <a:gd name="T6" fmla="*/ 2147483647 w 167"/>
                    <a:gd name="T7" fmla="*/ 2147483647 h 97"/>
                    <a:gd name="T8" fmla="*/ 2147483647 w 167"/>
                    <a:gd name="T9" fmla="*/ 2147483647 h 97"/>
                    <a:gd name="T10" fmla="*/ 2147483647 w 167"/>
                    <a:gd name="T11" fmla="*/ 2147483647 h 97"/>
                    <a:gd name="T12" fmla="*/ 2147483647 w 167"/>
                    <a:gd name="T13" fmla="*/ 2147483647 h 97"/>
                    <a:gd name="T14" fmla="*/ 2147483647 w 167"/>
                    <a:gd name="T15" fmla="*/ 2147483647 h 97"/>
                    <a:gd name="T16" fmla="*/ 2147483647 w 167"/>
                    <a:gd name="T17" fmla="*/ 2147483647 h 97"/>
                    <a:gd name="T18" fmla="*/ 2147483647 w 167"/>
                    <a:gd name="T19" fmla="*/ 2147483647 h 97"/>
                    <a:gd name="T20" fmla="*/ 2147483647 w 167"/>
                    <a:gd name="T21" fmla="*/ 2147483647 h 97"/>
                    <a:gd name="T22" fmla="*/ 2147483647 w 167"/>
                    <a:gd name="T23" fmla="*/ 2147483647 h 97"/>
                    <a:gd name="T24" fmla="*/ 2147483647 w 167"/>
                    <a:gd name="T25" fmla="*/ 2147483647 h 97"/>
                    <a:gd name="T26" fmla="*/ 0 w 167"/>
                    <a:gd name="T27" fmla="*/ 2147483647 h 97"/>
                    <a:gd name="T28" fmla="*/ 2147483647 w 167"/>
                    <a:gd name="T29" fmla="*/ 2147483647 h 97"/>
                    <a:gd name="T30" fmla="*/ 2147483647 w 167"/>
                    <a:gd name="T31" fmla="*/ 2147483647 h 97"/>
                    <a:gd name="T32" fmla="*/ 2147483647 w 167"/>
                    <a:gd name="T33" fmla="*/ 2147483647 h 97"/>
                    <a:gd name="T34" fmla="*/ 2147483647 w 167"/>
                    <a:gd name="T35" fmla="*/ 2147483647 h 97"/>
                    <a:gd name="T36" fmla="*/ 2147483647 w 167"/>
                    <a:gd name="T37" fmla="*/ 2147483647 h 97"/>
                    <a:gd name="T38" fmla="*/ 2147483647 w 167"/>
                    <a:gd name="T39" fmla="*/ 2147483647 h 97"/>
                    <a:gd name="T40" fmla="*/ 2147483647 w 167"/>
                    <a:gd name="T41" fmla="*/ 2147483647 h 97"/>
                    <a:gd name="T42" fmla="*/ 2147483647 w 167"/>
                    <a:gd name="T43" fmla="*/ 2147483647 h 97"/>
                    <a:gd name="T44" fmla="*/ 2147483647 w 167"/>
                    <a:gd name="T45" fmla="*/ 2147483647 h 97"/>
                    <a:gd name="T46" fmla="*/ 2147483647 w 167"/>
                    <a:gd name="T47" fmla="*/ 2147483647 h 97"/>
                    <a:gd name="T48" fmla="*/ 2147483647 w 167"/>
                    <a:gd name="T49" fmla="*/ 2147483647 h 97"/>
                    <a:gd name="T50" fmla="*/ 2147483647 w 167"/>
                    <a:gd name="T51" fmla="*/ 2147483647 h 97"/>
                    <a:gd name="T52" fmla="*/ 2147483647 w 167"/>
                    <a:gd name="T53" fmla="*/ 2147483647 h 97"/>
                    <a:gd name="T54" fmla="*/ 2147483647 w 167"/>
                    <a:gd name="T55" fmla="*/ 2147483647 h 97"/>
                    <a:gd name="T56" fmla="*/ 2147483647 w 167"/>
                    <a:gd name="T57" fmla="*/ 2147483647 h 97"/>
                    <a:gd name="T58" fmla="*/ 2147483647 w 167"/>
                    <a:gd name="T59" fmla="*/ 2147483647 h 97"/>
                    <a:gd name="T60" fmla="*/ 2147483647 w 167"/>
                    <a:gd name="T61" fmla="*/ 2147483647 h 97"/>
                    <a:gd name="T62" fmla="*/ 2147483647 w 167"/>
                    <a:gd name="T63" fmla="*/ 2147483647 h 97"/>
                    <a:gd name="T64" fmla="*/ 2147483647 w 167"/>
                    <a:gd name="T65" fmla="*/ 2147483647 h 97"/>
                    <a:gd name="T66" fmla="*/ 2147483647 w 167"/>
                    <a:gd name="T67" fmla="*/ 2147483647 h 97"/>
                    <a:gd name="T68" fmla="*/ 2147483647 w 167"/>
                    <a:gd name="T69" fmla="*/ 2147483647 h 97"/>
                    <a:gd name="T70" fmla="*/ 2147483647 w 167"/>
                    <a:gd name="T71" fmla="*/ 2147483647 h 97"/>
                    <a:gd name="T72" fmla="*/ 2147483647 w 167"/>
                    <a:gd name="T73" fmla="*/ 2147483647 h 97"/>
                    <a:gd name="T74" fmla="*/ 2147483647 w 167"/>
                    <a:gd name="T75" fmla="*/ 2147483647 h 97"/>
                    <a:gd name="T76" fmla="*/ 2147483647 w 167"/>
                    <a:gd name="T77" fmla="*/ 2147483647 h 97"/>
                    <a:gd name="T78" fmla="*/ 2147483647 w 167"/>
                    <a:gd name="T79" fmla="*/ 2147483647 h 97"/>
                    <a:gd name="T80" fmla="*/ 2147483647 w 167"/>
                    <a:gd name="T81" fmla="*/ 2147483647 h 97"/>
                    <a:gd name="T82" fmla="*/ 2147483647 w 167"/>
                    <a:gd name="T83" fmla="*/ 2147483647 h 97"/>
                    <a:gd name="T84" fmla="*/ 2147483647 w 167"/>
                    <a:gd name="T85" fmla="*/ 2147483647 h 97"/>
                    <a:gd name="T86" fmla="*/ 2147483647 w 167"/>
                    <a:gd name="T87" fmla="*/ 2147483647 h 9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7"/>
                    <a:gd name="T133" fmla="*/ 0 h 97"/>
                    <a:gd name="T134" fmla="*/ 167 w 167"/>
                    <a:gd name="T135" fmla="*/ 97 h 9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7" h="97">
                      <a:moveTo>
                        <a:pt x="161" y="20"/>
                      </a:moveTo>
                      <a:lnTo>
                        <a:pt x="145" y="15"/>
                      </a:lnTo>
                      <a:lnTo>
                        <a:pt x="128" y="13"/>
                      </a:lnTo>
                      <a:lnTo>
                        <a:pt x="110" y="11"/>
                      </a:lnTo>
                      <a:lnTo>
                        <a:pt x="103" y="11"/>
                      </a:lnTo>
                      <a:lnTo>
                        <a:pt x="95" y="9"/>
                      </a:lnTo>
                      <a:lnTo>
                        <a:pt x="84" y="4"/>
                      </a:lnTo>
                      <a:lnTo>
                        <a:pt x="75" y="1"/>
                      </a:lnTo>
                      <a:lnTo>
                        <a:pt x="71" y="0"/>
                      </a:lnTo>
                      <a:lnTo>
                        <a:pt x="68" y="1"/>
                      </a:lnTo>
                      <a:lnTo>
                        <a:pt x="66" y="3"/>
                      </a:lnTo>
                      <a:lnTo>
                        <a:pt x="66" y="6"/>
                      </a:lnTo>
                      <a:lnTo>
                        <a:pt x="65" y="11"/>
                      </a:lnTo>
                      <a:lnTo>
                        <a:pt x="63" y="16"/>
                      </a:lnTo>
                      <a:lnTo>
                        <a:pt x="61" y="19"/>
                      </a:lnTo>
                      <a:lnTo>
                        <a:pt x="58" y="20"/>
                      </a:lnTo>
                      <a:lnTo>
                        <a:pt x="54" y="20"/>
                      </a:lnTo>
                      <a:lnTo>
                        <a:pt x="49" y="17"/>
                      </a:lnTo>
                      <a:lnTo>
                        <a:pt x="40" y="13"/>
                      </a:lnTo>
                      <a:lnTo>
                        <a:pt x="35" y="9"/>
                      </a:lnTo>
                      <a:lnTo>
                        <a:pt x="30" y="8"/>
                      </a:lnTo>
                      <a:lnTo>
                        <a:pt x="27" y="7"/>
                      </a:lnTo>
                      <a:lnTo>
                        <a:pt x="23" y="8"/>
                      </a:lnTo>
                      <a:lnTo>
                        <a:pt x="14" y="16"/>
                      </a:lnTo>
                      <a:lnTo>
                        <a:pt x="9" y="21"/>
                      </a:lnTo>
                      <a:lnTo>
                        <a:pt x="5" y="27"/>
                      </a:lnTo>
                      <a:lnTo>
                        <a:pt x="1" y="33"/>
                      </a:lnTo>
                      <a:lnTo>
                        <a:pt x="0" y="38"/>
                      </a:lnTo>
                      <a:lnTo>
                        <a:pt x="1" y="42"/>
                      </a:lnTo>
                      <a:lnTo>
                        <a:pt x="4" y="45"/>
                      </a:lnTo>
                      <a:lnTo>
                        <a:pt x="6" y="46"/>
                      </a:lnTo>
                      <a:lnTo>
                        <a:pt x="11" y="48"/>
                      </a:lnTo>
                      <a:lnTo>
                        <a:pt x="15" y="49"/>
                      </a:lnTo>
                      <a:lnTo>
                        <a:pt x="19" y="48"/>
                      </a:lnTo>
                      <a:lnTo>
                        <a:pt x="21" y="48"/>
                      </a:lnTo>
                      <a:lnTo>
                        <a:pt x="28" y="47"/>
                      </a:lnTo>
                      <a:lnTo>
                        <a:pt x="30" y="47"/>
                      </a:lnTo>
                      <a:lnTo>
                        <a:pt x="34" y="49"/>
                      </a:lnTo>
                      <a:lnTo>
                        <a:pt x="42" y="55"/>
                      </a:lnTo>
                      <a:lnTo>
                        <a:pt x="48" y="61"/>
                      </a:lnTo>
                      <a:lnTo>
                        <a:pt x="49" y="64"/>
                      </a:lnTo>
                      <a:lnTo>
                        <a:pt x="49" y="65"/>
                      </a:lnTo>
                      <a:lnTo>
                        <a:pt x="48" y="67"/>
                      </a:lnTo>
                      <a:lnTo>
                        <a:pt x="44" y="68"/>
                      </a:lnTo>
                      <a:lnTo>
                        <a:pt x="40" y="70"/>
                      </a:lnTo>
                      <a:lnTo>
                        <a:pt x="38" y="72"/>
                      </a:lnTo>
                      <a:lnTo>
                        <a:pt x="35" y="75"/>
                      </a:lnTo>
                      <a:lnTo>
                        <a:pt x="34" y="79"/>
                      </a:lnTo>
                      <a:lnTo>
                        <a:pt x="33" y="85"/>
                      </a:lnTo>
                      <a:lnTo>
                        <a:pt x="30" y="91"/>
                      </a:lnTo>
                      <a:lnTo>
                        <a:pt x="29" y="93"/>
                      </a:lnTo>
                      <a:lnTo>
                        <a:pt x="27" y="94"/>
                      </a:lnTo>
                      <a:lnTo>
                        <a:pt x="20" y="94"/>
                      </a:lnTo>
                      <a:lnTo>
                        <a:pt x="16" y="93"/>
                      </a:lnTo>
                      <a:lnTo>
                        <a:pt x="24" y="96"/>
                      </a:lnTo>
                      <a:lnTo>
                        <a:pt x="34" y="97"/>
                      </a:lnTo>
                      <a:lnTo>
                        <a:pt x="43" y="97"/>
                      </a:lnTo>
                      <a:lnTo>
                        <a:pt x="49" y="96"/>
                      </a:lnTo>
                      <a:lnTo>
                        <a:pt x="66" y="85"/>
                      </a:lnTo>
                      <a:lnTo>
                        <a:pt x="76" y="79"/>
                      </a:lnTo>
                      <a:lnTo>
                        <a:pt x="82" y="77"/>
                      </a:lnTo>
                      <a:lnTo>
                        <a:pt x="84" y="78"/>
                      </a:lnTo>
                      <a:lnTo>
                        <a:pt x="84" y="81"/>
                      </a:lnTo>
                      <a:lnTo>
                        <a:pt x="85" y="84"/>
                      </a:lnTo>
                      <a:lnTo>
                        <a:pt x="86" y="85"/>
                      </a:lnTo>
                      <a:lnTo>
                        <a:pt x="89" y="85"/>
                      </a:lnTo>
                      <a:lnTo>
                        <a:pt x="96" y="84"/>
                      </a:lnTo>
                      <a:lnTo>
                        <a:pt x="103" y="81"/>
                      </a:lnTo>
                      <a:lnTo>
                        <a:pt x="105" y="80"/>
                      </a:lnTo>
                      <a:lnTo>
                        <a:pt x="107" y="78"/>
                      </a:lnTo>
                      <a:lnTo>
                        <a:pt x="108" y="73"/>
                      </a:lnTo>
                      <a:lnTo>
                        <a:pt x="108" y="72"/>
                      </a:lnTo>
                      <a:lnTo>
                        <a:pt x="109" y="71"/>
                      </a:lnTo>
                      <a:lnTo>
                        <a:pt x="114" y="68"/>
                      </a:lnTo>
                      <a:lnTo>
                        <a:pt x="118" y="68"/>
                      </a:lnTo>
                      <a:lnTo>
                        <a:pt x="123" y="67"/>
                      </a:lnTo>
                      <a:lnTo>
                        <a:pt x="129" y="66"/>
                      </a:lnTo>
                      <a:lnTo>
                        <a:pt x="137" y="64"/>
                      </a:lnTo>
                      <a:lnTo>
                        <a:pt x="145" y="58"/>
                      </a:lnTo>
                      <a:lnTo>
                        <a:pt x="161" y="48"/>
                      </a:lnTo>
                      <a:lnTo>
                        <a:pt x="165" y="45"/>
                      </a:lnTo>
                      <a:lnTo>
                        <a:pt x="167" y="41"/>
                      </a:lnTo>
                      <a:lnTo>
                        <a:pt x="167" y="39"/>
                      </a:lnTo>
                      <a:lnTo>
                        <a:pt x="167" y="36"/>
                      </a:lnTo>
                      <a:lnTo>
                        <a:pt x="165" y="32"/>
                      </a:lnTo>
                      <a:lnTo>
                        <a:pt x="162" y="29"/>
                      </a:lnTo>
                      <a:lnTo>
                        <a:pt x="164" y="26"/>
                      </a:lnTo>
                      <a:lnTo>
                        <a:pt x="162" y="22"/>
                      </a:lnTo>
                      <a:lnTo>
                        <a:pt x="161" y="2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8" name="Freeform 1307"/>
                <p:cNvSpPr>
                  <a:spLocks/>
                </p:cNvSpPr>
                <p:nvPr/>
              </p:nvSpPr>
              <p:spPr bwMode="auto">
                <a:xfrm>
                  <a:off x="6219424" y="3407830"/>
                  <a:ext cx="168705" cy="97672"/>
                </a:xfrm>
                <a:custGeom>
                  <a:avLst/>
                  <a:gdLst>
                    <a:gd name="T0" fmla="*/ 0 w 124"/>
                    <a:gd name="T1" fmla="*/ 2147483647 h 66"/>
                    <a:gd name="T2" fmla="*/ 0 w 124"/>
                    <a:gd name="T3" fmla="*/ 2147483647 h 66"/>
                    <a:gd name="T4" fmla="*/ 2147483647 w 124"/>
                    <a:gd name="T5" fmla="*/ 2147483647 h 66"/>
                    <a:gd name="T6" fmla="*/ 2147483647 w 124"/>
                    <a:gd name="T7" fmla="*/ 2147483647 h 66"/>
                    <a:gd name="T8" fmla="*/ 2147483647 w 124"/>
                    <a:gd name="T9" fmla="*/ 2147483647 h 66"/>
                    <a:gd name="T10" fmla="*/ 2147483647 w 124"/>
                    <a:gd name="T11" fmla="*/ 2147483647 h 66"/>
                    <a:gd name="T12" fmla="*/ 2147483647 w 124"/>
                    <a:gd name="T13" fmla="*/ 2147483647 h 66"/>
                    <a:gd name="T14" fmla="*/ 2147483647 w 124"/>
                    <a:gd name="T15" fmla="*/ 2147483647 h 66"/>
                    <a:gd name="T16" fmla="*/ 2147483647 w 124"/>
                    <a:gd name="T17" fmla="*/ 2147483647 h 66"/>
                    <a:gd name="T18" fmla="*/ 2147483647 w 124"/>
                    <a:gd name="T19" fmla="*/ 2147483647 h 66"/>
                    <a:gd name="T20" fmla="*/ 2147483647 w 124"/>
                    <a:gd name="T21" fmla="*/ 2147483647 h 66"/>
                    <a:gd name="T22" fmla="*/ 2147483647 w 124"/>
                    <a:gd name="T23" fmla="*/ 2147483647 h 66"/>
                    <a:gd name="T24" fmla="*/ 2147483647 w 124"/>
                    <a:gd name="T25" fmla="*/ 0 h 66"/>
                    <a:gd name="T26" fmla="*/ 2147483647 w 124"/>
                    <a:gd name="T27" fmla="*/ 2147483647 h 66"/>
                    <a:gd name="T28" fmla="*/ 2147483647 w 124"/>
                    <a:gd name="T29" fmla="*/ 2147483647 h 66"/>
                    <a:gd name="T30" fmla="*/ 2147483647 w 124"/>
                    <a:gd name="T31" fmla="*/ 2147483647 h 66"/>
                    <a:gd name="T32" fmla="*/ 2147483647 w 124"/>
                    <a:gd name="T33" fmla="*/ 2147483647 h 66"/>
                    <a:gd name="T34" fmla="*/ 2147483647 w 124"/>
                    <a:gd name="T35" fmla="*/ 2147483647 h 66"/>
                    <a:gd name="T36" fmla="*/ 2147483647 w 124"/>
                    <a:gd name="T37" fmla="*/ 2147483647 h 66"/>
                    <a:gd name="T38" fmla="*/ 2147483647 w 124"/>
                    <a:gd name="T39" fmla="*/ 2147483647 h 66"/>
                    <a:gd name="T40" fmla="*/ 2147483647 w 124"/>
                    <a:gd name="T41" fmla="*/ 2147483647 h 66"/>
                    <a:gd name="T42" fmla="*/ 2147483647 w 124"/>
                    <a:gd name="T43" fmla="*/ 2147483647 h 66"/>
                    <a:gd name="T44" fmla="*/ 2147483647 w 124"/>
                    <a:gd name="T45" fmla="*/ 2147483647 h 66"/>
                    <a:gd name="T46" fmla="*/ 2147483647 w 124"/>
                    <a:gd name="T47" fmla="*/ 2147483647 h 66"/>
                    <a:gd name="T48" fmla="*/ 2147483647 w 124"/>
                    <a:gd name="T49" fmla="*/ 2147483647 h 66"/>
                    <a:gd name="T50" fmla="*/ 2147483647 w 124"/>
                    <a:gd name="T51" fmla="*/ 2147483647 h 66"/>
                    <a:gd name="T52" fmla="*/ 2147483647 w 124"/>
                    <a:gd name="T53" fmla="*/ 2147483647 h 66"/>
                    <a:gd name="T54" fmla="*/ 2147483647 w 124"/>
                    <a:gd name="T55" fmla="*/ 2147483647 h 66"/>
                    <a:gd name="T56" fmla="*/ 2147483647 w 124"/>
                    <a:gd name="T57" fmla="*/ 2147483647 h 66"/>
                    <a:gd name="T58" fmla="*/ 2147483647 w 124"/>
                    <a:gd name="T59" fmla="*/ 2147483647 h 66"/>
                    <a:gd name="T60" fmla="*/ 2147483647 w 124"/>
                    <a:gd name="T61" fmla="*/ 2147483647 h 66"/>
                    <a:gd name="T62" fmla="*/ 2147483647 w 124"/>
                    <a:gd name="T63" fmla="*/ 2147483647 h 66"/>
                    <a:gd name="T64" fmla="*/ 2147483647 w 124"/>
                    <a:gd name="T65" fmla="*/ 2147483647 h 66"/>
                    <a:gd name="T66" fmla="*/ 2147483647 w 124"/>
                    <a:gd name="T67" fmla="*/ 2147483647 h 66"/>
                    <a:gd name="T68" fmla="*/ 2147483647 w 124"/>
                    <a:gd name="T69" fmla="*/ 2147483647 h 66"/>
                    <a:gd name="T70" fmla="*/ 2147483647 w 124"/>
                    <a:gd name="T71" fmla="*/ 2147483647 h 66"/>
                    <a:gd name="T72" fmla="*/ 2147483647 w 124"/>
                    <a:gd name="T73" fmla="*/ 2147483647 h 66"/>
                    <a:gd name="T74" fmla="*/ 2147483647 w 124"/>
                    <a:gd name="T75" fmla="*/ 2147483647 h 66"/>
                    <a:gd name="T76" fmla="*/ 2147483647 w 124"/>
                    <a:gd name="T77" fmla="*/ 2147483647 h 66"/>
                    <a:gd name="T78" fmla="*/ 2147483647 w 124"/>
                    <a:gd name="T79" fmla="*/ 2147483647 h 66"/>
                    <a:gd name="T80" fmla="*/ 2147483647 w 124"/>
                    <a:gd name="T81" fmla="*/ 2147483647 h 66"/>
                    <a:gd name="T82" fmla="*/ 2147483647 w 124"/>
                    <a:gd name="T83" fmla="*/ 2147483647 h 66"/>
                    <a:gd name="T84" fmla="*/ 2147483647 w 124"/>
                    <a:gd name="T85" fmla="*/ 2147483647 h 66"/>
                    <a:gd name="T86" fmla="*/ 2147483647 w 124"/>
                    <a:gd name="T87" fmla="*/ 2147483647 h 66"/>
                    <a:gd name="T88" fmla="*/ 2147483647 w 124"/>
                    <a:gd name="T89" fmla="*/ 2147483647 h 66"/>
                    <a:gd name="T90" fmla="*/ 2147483647 w 124"/>
                    <a:gd name="T91" fmla="*/ 2147483647 h 66"/>
                    <a:gd name="T92" fmla="*/ 2147483647 w 124"/>
                    <a:gd name="T93" fmla="*/ 2147483647 h 66"/>
                    <a:gd name="T94" fmla="*/ 2147483647 w 124"/>
                    <a:gd name="T95" fmla="*/ 2147483647 h 66"/>
                    <a:gd name="T96" fmla="*/ 2147483647 w 124"/>
                    <a:gd name="T97" fmla="*/ 2147483647 h 66"/>
                    <a:gd name="T98" fmla="*/ 2147483647 w 124"/>
                    <a:gd name="T99" fmla="*/ 2147483647 h 66"/>
                    <a:gd name="T100" fmla="*/ 2147483647 w 124"/>
                    <a:gd name="T101" fmla="*/ 2147483647 h 66"/>
                    <a:gd name="T102" fmla="*/ 2147483647 w 124"/>
                    <a:gd name="T103" fmla="*/ 2147483647 h 66"/>
                    <a:gd name="T104" fmla="*/ 2147483647 w 124"/>
                    <a:gd name="T105" fmla="*/ 2147483647 h 66"/>
                    <a:gd name="T106" fmla="*/ 2147483647 w 124"/>
                    <a:gd name="T107" fmla="*/ 2147483647 h 66"/>
                    <a:gd name="T108" fmla="*/ 2147483647 w 124"/>
                    <a:gd name="T109" fmla="*/ 2147483647 h 66"/>
                    <a:gd name="T110" fmla="*/ 2147483647 w 124"/>
                    <a:gd name="T111" fmla="*/ 2147483647 h 66"/>
                    <a:gd name="T112" fmla="*/ 2147483647 w 124"/>
                    <a:gd name="T113" fmla="*/ 2147483647 h 66"/>
                    <a:gd name="T114" fmla="*/ 2147483647 w 124"/>
                    <a:gd name="T115" fmla="*/ 2147483647 h 66"/>
                    <a:gd name="T116" fmla="*/ 2147483647 w 124"/>
                    <a:gd name="T117" fmla="*/ 2147483647 h 66"/>
                    <a:gd name="T118" fmla="*/ 2147483647 w 124"/>
                    <a:gd name="T119" fmla="*/ 2147483647 h 66"/>
                    <a:gd name="T120" fmla="*/ 2147483647 w 124"/>
                    <a:gd name="T121" fmla="*/ 2147483647 h 66"/>
                    <a:gd name="T122" fmla="*/ 0 w 124"/>
                    <a:gd name="T123" fmla="*/ 2147483647 h 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4"/>
                    <a:gd name="T187" fmla="*/ 0 h 66"/>
                    <a:gd name="T188" fmla="*/ 124 w 124"/>
                    <a:gd name="T189" fmla="*/ 66 h 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4" h="66">
                      <a:moveTo>
                        <a:pt x="0" y="13"/>
                      </a:moveTo>
                      <a:lnTo>
                        <a:pt x="0" y="11"/>
                      </a:lnTo>
                      <a:lnTo>
                        <a:pt x="2" y="9"/>
                      </a:lnTo>
                      <a:lnTo>
                        <a:pt x="5" y="7"/>
                      </a:lnTo>
                      <a:lnTo>
                        <a:pt x="13" y="4"/>
                      </a:lnTo>
                      <a:lnTo>
                        <a:pt x="25" y="4"/>
                      </a:lnTo>
                      <a:lnTo>
                        <a:pt x="36" y="4"/>
                      </a:lnTo>
                      <a:lnTo>
                        <a:pt x="54" y="4"/>
                      </a:lnTo>
                      <a:lnTo>
                        <a:pt x="80" y="5"/>
                      </a:lnTo>
                      <a:lnTo>
                        <a:pt x="96" y="4"/>
                      </a:lnTo>
                      <a:lnTo>
                        <a:pt x="102" y="3"/>
                      </a:lnTo>
                      <a:lnTo>
                        <a:pt x="105" y="1"/>
                      </a:lnTo>
                      <a:lnTo>
                        <a:pt x="106" y="0"/>
                      </a:lnTo>
                      <a:lnTo>
                        <a:pt x="106" y="1"/>
                      </a:lnTo>
                      <a:lnTo>
                        <a:pt x="105" y="8"/>
                      </a:lnTo>
                      <a:lnTo>
                        <a:pt x="103" y="13"/>
                      </a:lnTo>
                      <a:lnTo>
                        <a:pt x="103" y="17"/>
                      </a:lnTo>
                      <a:lnTo>
                        <a:pt x="105" y="21"/>
                      </a:lnTo>
                      <a:lnTo>
                        <a:pt x="108" y="23"/>
                      </a:lnTo>
                      <a:lnTo>
                        <a:pt x="116" y="27"/>
                      </a:lnTo>
                      <a:lnTo>
                        <a:pt x="120" y="30"/>
                      </a:lnTo>
                      <a:lnTo>
                        <a:pt x="122" y="34"/>
                      </a:lnTo>
                      <a:lnTo>
                        <a:pt x="120" y="39"/>
                      </a:lnTo>
                      <a:lnTo>
                        <a:pt x="120" y="40"/>
                      </a:lnTo>
                      <a:lnTo>
                        <a:pt x="120" y="43"/>
                      </a:lnTo>
                      <a:lnTo>
                        <a:pt x="122" y="49"/>
                      </a:lnTo>
                      <a:lnTo>
                        <a:pt x="124" y="53"/>
                      </a:lnTo>
                      <a:lnTo>
                        <a:pt x="124" y="55"/>
                      </a:lnTo>
                      <a:lnTo>
                        <a:pt x="124" y="56"/>
                      </a:lnTo>
                      <a:lnTo>
                        <a:pt x="120" y="58"/>
                      </a:lnTo>
                      <a:lnTo>
                        <a:pt x="110" y="58"/>
                      </a:lnTo>
                      <a:lnTo>
                        <a:pt x="97" y="60"/>
                      </a:lnTo>
                      <a:lnTo>
                        <a:pt x="77" y="66"/>
                      </a:lnTo>
                      <a:lnTo>
                        <a:pt x="74" y="66"/>
                      </a:lnTo>
                      <a:lnTo>
                        <a:pt x="73" y="64"/>
                      </a:lnTo>
                      <a:lnTo>
                        <a:pt x="72" y="56"/>
                      </a:lnTo>
                      <a:lnTo>
                        <a:pt x="72" y="52"/>
                      </a:lnTo>
                      <a:lnTo>
                        <a:pt x="69" y="48"/>
                      </a:lnTo>
                      <a:lnTo>
                        <a:pt x="66" y="45"/>
                      </a:lnTo>
                      <a:lnTo>
                        <a:pt x="63" y="42"/>
                      </a:lnTo>
                      <a:lnTo>
                        <a:pt x="63" y="41"/>
                      </a:lnTo>
                      <a:lnTo>
                        <a:pt x="63" y="40"/>
                      </a:lnTo>
                      <a:lnTo>
                        <a:pt x="65" y="37"/>
                      </a:lnTo>
                      <a:lnTo>
                        <a:pt x="66" y="34"/>
                      </a:lnTo>
                      <a:lnTo>
                        <a:pt x="66" y="33"/>
                      </a:lnTo>
                      <a:lnTo>
                        <a:pt x="65" y="34"/>
                      </a:lnTo>
                      <a:lnTo>
                        <a:pt x="60" y="35"/>
                      </a:lnTo>
                      <a:lnTo>
                        <a:pt x="56" y="39"/>
                      </a:lnTo>
                      <a:lnTo>
                        <a:pt x="49" y="47"/>
                      </a:lnTo>
                      <a:lnTo>
                        <a:pt x="42" y="55"/>
                      </a:lnTo>
                      <a:lnTo>
                        <a:pt x="39" y="58"/>
                      </a:lnTo>
                      <a:lnTo>
                        <a:pt x="35" y="60"/>
                      </a:lnTo>
                      <a:lnTo>
                        <a:pt x="26" y="61"/>
                      </a:lnTo>
                      <a:lnTo>
                        <a:pt x="14" y="62"/>
                      </a:lnTo>
                      <a:lnTo>
                        <a:pt x="2" y="62"/>
                      </a:lnTo>
                      <a:lnTo>
                        <a:pt x="5" y="46"/>
                      </a:lnTo>
                      <a:lnTo>
                        <a:pt x="7" y="34"/>
                      </a:lnTo>
                      <a:lnTo>
                        <a:pt x="7" y="22"/>
                      </a:lnTo>
                      <a:lnTo>
                        <a:pt x="5" y="17"/>
                      </a:lnTo>
                      <a:lnTo>
                        <a:pt x="4" y="14"/>
                      </a:lnTo>
                      <a:lnTo>
                        <a:pt x="3" y="13"/>
                      </a:lnTo>
                      <a:lnTo>
                        <a:pt x="0"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59" name="Freeform 1308"/>
                <p:cNvSpPr>
                  <a:spLocks/>
                </p:cNvSpPr>
                <p:nvPr/>
              </p:nvSpPr>
              <p:spPr bwMode="auto">
                <a:xfrm>
                  <a:off x="6278620" y="3273158"/>
                  <a:ext cx="227900" cy="145027"/>
                </a:xfrm>
                <a:custGeom>
                  <a:avLst/>
                  <a:gdLst>
                    <a:gd name="T0" fmla="*/ 2147483647 w 167"/>
                    <a:gd name="T1" fmla="*/ 2147483647 h 98"/>
                    <a:gd name="T2" fmla="*/ 2147483647 w 167"/>
                    <a:gd name="T3" fmla="*/ 2147483647 h 98"/>
                    <a:gd name="T4" fmla="*/ 2147483647 w 167"/>
                    <a:gd name="T5" fmla="*/ 2147483647 h 98"/>
                    <a:gd name="T6" fmla="*/ 2147483647 w 167"/>
                    <a:gd name="T7" fmla="*/ 2147483647 h 98"/>
                    <a:gd name="T8" fmla="*/ 2147483647 w 167"/>
                    <a:gd name="T9" fmla="*/ 2147483647 h 98"/>
                    <a:gd name="T10" fmla="*/ 2147483647 w 167"/>
                    <a:gd name="T11" fmla="*/ 2147483647 h 98"/>
                    <a:gd name="T12" fmla="*/ 2147483647 w 167"/>
                    <a:gd name="T13" fmla="*/ 2147483647 h 98"/>
                    <a:gd name="T14" fmla="*/ 2147483647 w 167"/>
                    <a:gd name="T15" fmla="*/ 2147483647 h 98"/>
                    <a:gd name="T16" fmla="*/ 2147483647 w 167"/>
                    <a:gd name="T17" fmla="*/ 2147483647 h 98"/>
                    <a:gd name="T18" fmla="*/ 2147483647 w 167"/>
                    <a:gd name="T19" fmla="*/ 2147483647 h 98"/>
                    <a:gd name="T20" fmla="*/ 2147483647 w 167"/>
                    <a:gd name="T21" fmla="*/ 2147483647 h 98"/>
                    <a:gd name="T22" fmla="*/ 2147483647 w 167"/>
                    <a:gd name="T23" fmla="*/ 2147483647 h 98"/>
                    <a:gd name="T24" fmla="*/ 2147483647 w 167"/>
                    <a:gd name="T25" fmla="*/ 2147483647 h 98"/>
                    <a:gd name="T26" fmla="*/ 2147483647 w 167"/>
                    <a:gd name="T27" fmla="*/ 2147483647 h 98"/>
                    <a:gd name="T28" fmla="*/ 2147483647 w 167"/>
                    <a:gd name="T29" fmla="*/ 2147483647 h 98"/>
                    <a:gd name="T30" fmla="*/ 2147483647 w 167"/>
                    <a:gd name="T31" fmla="*/ 2147483647 h 98"/>
                    <a:gd name="T32" fmla="*/ 2147483647 w 167"/>
                    <a:gd name="T33" fmla="*/ 2147483647 h 98"/>
                    <a:gd name="T34" fmla="*/ 2147483647 w 167"/>
                    <a:gd name="T35" fmla="*/ 2147483647 h 98"/>
                    <a:gd name="T36" fmla="*/ 2147483647 w 167"/>
                    <a:gd name="T37" fmla="*/ 2147483647 h 98"/>
                    <a:gd name="T38" fmla="*/ 2147483647 w 167"/>
                    <a:gd name="T39" fmla="*/ 2147483647 h 98"/>
                    <a:gd name="T40" fmla="*/ 2147483647 w 167"/>
                    <a:gd name="T41" fmla="*/ 2147483647 h 98"/>
                    <a:gd name="T42" fmla="*/ 2147483647 w 167"/>
                    <a:gd name="T43" fmla="*/ 2147483647 h 98"/>
                    <a:gd name="T44" fmla="*/ 2147483647 w 167"/>
                    <a:gd name="T45" fmla="*/ 2147483647 h 98"/>
                    <a:gd name="T46" fmla="*/ 2147483647 w 167"/>
                    <a:gd name="T47" fmla="*/ 2147483647 h 98"/>
                    <a:gd name="T48" fmla="*/ 2147483647 w 167"/>
                    <a:gd name="T49" fmla="*/ 2147483647 h 98"/>
                    <a:gd name="T50" fmla="*/ 2147483647 w 167"/>
                    <a:gd name="T51" fmla="*/ 2147483647 h 98"/>
                    <a:gd name="T52" fmla="*/ 2147483647 w 167"/>
                    <a:gd name="T53" fmla="*/ 2147483647 h 98"/>
                    <a:gd name="T54" fmla="*/ 2147483647 w 167"/>
                    <a:gd name="T55" fmla="*/ 2147483647 h 98"/>
                    <a:gd name="T56" fmla="*/ 2147483647 w 167"/>
                    <a:gd name="T57" fmla="*/ 2147483647 h 98"/>
                    <a:gd name="T58" fmla="*/ 2147483647 w 167"/>
                    <a:gd name="T59" fmla="*/ 2147483647 h 98"/>
                    <a:gd name="T60" fmla="*/ 2147483647 w 167"/>
                    <a:gd name="T61" fmla="*/ 2147483647 h 98"/>
                    <a:gd name="T62" fmla="*/ 2147483647 w 167"/>
                    <a:gd name="T63" fmla="*/ 2147483647 h 98"/>
                    <a:gd name="T64" fmla="*/ 2147483647 w 167"/>
                    <a:gd name="T65" fmla="*/ 2147483647 h 98"/>
                    <a:gd name="T66" fmla="*/ 2147483647 w 167"/>
                    <a:gd name="T67" fmla="*/ 2147483647 h 98"/>
                    <a:gd name="T68" fmla="*/ 2147483647 w 167"/>
                    <a:gd name="T69" fmla="*/ 2147483647 h 98"/>
                    <a:gd name="T70" fmla="*/ 2147483647 w 167"/>
                    <a:gd name="T71" fmla="*/ 2147483647 h 98"/>
                    <a:gd name="T72" fmla="*/ 2147483647 w 167"/>
                    <a:gd name="T73" fmla="*/ 2147483647 h 98"/>
                    <a:gd name="T74" fmla="*/ 2147483647 w 167"/>
                    <a:gd name="T75" fmla="*/ 2147483647 h 98"/>
                    <a:gd name="T76" fmla="*/ 2147483647 w 167"/>
                    <a:gd name="T77" fmla="*/ 2147483647 h 98"/>
                    <a:gd name="T78" fmla="*/ 2147483647 w 167"/>
                    <a:gd name="T79" fmla="*/ 2147483647 h 98"/>
                    <a:gd name="T80" fmla="*/ 2147483647 w 167"/>
                    <a:gd name="T81" fmla="*/ 2147483647 h 98"/>
                    <a:gd name="T82" fmla="*/ 2147483647 w 167"/>
                    <a:gd name="T83" fmla="*/ 2147483647 h 98"/>
                    <a:gd name="T84" fmla="*/ 2147483647 w 167"/>
                    <a:gd name="T85" fmla="*/ 2147483647 h 98"/>
                    <a:gd name="T86" fmla="*/ 2147483647 w 167"/>
                    <a:gd name="T87" fmla="*/ 2147483647 h 98"/>
                    <a:gd name="T88" fmla="*/ 2147483647 w 167"/>
                    <a:gd name="T89" fmla="*/ 2147483647 h 98"/>
                    <a:gd name="T90" fmla="*/ 2147483647 w 167"/>
                    <a:gd name="T91" fmla="*/ 2147483647 h 98"/>
                    <a:gd name="T92" fmla="*/ 2147483647 w 167"/>
                    <a:gd name="T93" fmla="*/ 2147483647 h 98"/>
                    <a:gd name="T94" fmla="*/ 2147483647 w 167"/>
                    <a:gd name="T95" fmla="*/ 2147483647 h 98"/>
                    <a:gd name="T96" fmla="*/ 2147483647 w 167"/>
                    <a:gd name="T97" fmla="*/ 2147483647 h 98"/>
                    <a:gd name="T98" fmla="*/ 2147483647 w 167"/>
                    <a:gd name="T99" fmla="*/ 2147483647 h 98"/>
                    <a:gd name="T100" fmla="*/ 2147483647 w 167"/>
                    <a:gd name="T101" fmla="*/ 2147483647 h 98"/>
                    <a:gd name="T102" fmla="*/ 2147483647 w 167"/>
                    <a:gd name="T103" fmla="*/ 2147483647 h 98"/>
                    <a:gd name="T104" fmla="*/ 2147483647 w 167"/>
                    <a:gd name="T105" fmla="*/ 2147483647 h 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7"/>
                    <a:gd name="T160" fmla="*/ 0 h 98"/>
                    <a:gd name="T161" fmla="*/ 167 w 167"/>
                    <a:gd name="T162" fmla="*/ 98 h 9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7" h="98">
                      <a:moveTo>
                        <a:pt x="161" y="21"/>
                      </a:moveTo>
                      <a:lnTo>
                        <a:pt x="161" y="21"/>
                      </a:lnTo>
                      <a:lnTo>
                        <a:pt x="144" y="16"/>
                      </a:lnTo>
                      <a:lnTo>
                        <a:pt x="128" y="13"/>
                      </a:lnTo>
                      <a:lnTo>
                        <a:pt x="110" y="12"/>
                      </a:lnTo>
                      <a:lnTo>
                        <a:pt x="102" y="12"/>
                      </a:lnTo>
                      <a:lnTo>
                        <a:pt x="95" y="10"/>
                      </a:lnTo>
                      <a:lnTo>
                        <a:pt x="83" y="5"/>
                      </a:lnTo>
                      <a:lnTo>
                        <a:pt x="75" y="2"/>
                      </a:lnTo>
                      <a:lnTo>
                        <a:pt x="71" y="0"/>
                      </a:lnTo>
                      <a:lnTo>
                        <a:pt x="68" y="2"/>
                      </a:lnTo>
                      <a:lnTo>
                        <a:pt x="66" y="4"/>
                      </a:lnTo>
                      <a:lnTo>
                        <a:pt x="66" y="6"/>
                      </a:lnTo>
                      <a:lnTo>
                        <a:pt x="64" y="12"/>
                      </a:lnTo>
                      <a:lnTo>
                        <a:pt x="63" y="17"/>
                      </a:lnTo>
                      <a:lnTo>
                        <a:pt x="61" y="19"/>
                      </a:lnTo>
                      <a:lnTo>
                        <a:pt x="58" y="21"/>
                      </a:lnTo>
                      <a:lnTo>
                        <a:pt x="54" y="21"/>
                      </a:lnTo>
                      <a:lnTo>
                        <a:pt x="49" y="18"/>
                      </a:lnTo>
                      <a:lnTo>
                        <a:pt x="40" y="13"/>
                      </a:lnTo>
                      <a:lnTo>
                        <a:pt x="35" y="10"/>
                      </a:lnTo>
                      <a:lnTo>
                        <a:pt x="30" y="9"/>
                      </a:lnTo>
                      <a:lnTo>
                        <a:pt x="26" y="8"/>
                      </a:lnTo>
                      <a:lnTo>
                        <a:pt x="22" y="9"/>
                      </a:lnTo>
                      <a:lnTo>
                        <a:pt x="14" y="17"/>
                      </a:lnTo>
                      <a:lnTo>
                        <a:pt x="8" y="22"/>
                      </a:lnTo>
                      <a:lnTo>
                        <a:pt x="5" y="28"/>
                      </a:lnTo>
                      <a:lnTo>
                        <a:pt x="1" y="34"/>
                      </a:lnTo>
                      <a:lnTo>
                        <a:pt x="0" y="38"/>
                      </a:lnTo>
                      <a:lnTo>
                        <a:pt x="1" y="43"/>
                      </a:lnTo>
                      <a:lnTo>
                        <a:pt x="3" y="45"/>
                      </a:lnTo>
                      <a:lnTo>
                        <a:pt x="6" y="47"/>
                      </a:lnTo>
                      <a:lnTo>
                        <a:pt x="11" y="49"/>
                      </a:lnTo>
                      <a:lnTo>
                        <a:pt x="15" y="50"/>
                      </a:lnTo>
                      <a:lnTo>
                        <a:pt x="19" y="49"/>
                      </a:lnTo>
                      <a:lnTo>
                        <a:pt x="21" y="49"/>
                      </a:lnTo>
                      <a:lnTo>
                        <a:pt x="28" y="48"/>
                      </a:lnTo>
                      <a:lnTo>
                        <a:pt x="30" y="48"/>
                      </a:lnTo>
                      <a:lnTo>
                        <a:pt x="34" y="50"/>
                      </a:lnTo>
                      <a:lnTo>
                        <a:pt x="41" y="56"/>
                      </a:lnTo>
                      <a:lnTo>
                        <a:pt x="48" y="62"/>
                      </a:lnTo>
                      <a:lnTo>
                        <a:pt x="49" y="64"/>
                      </a:lnTo>
                      <a:lnTo>
                        <a:pt x="49" y="66"/>
                      </a:lnTo>
                      <a:lnTo>
                        <a:pt x="48" y="68"/>
                      </a:lnTo>
                      <a:lnTo>
                        <a:pt x="44" y="69"/>
                      </a:lnTo>
                      <a:lnTo>
                        <a:pt x="40" y="70"/>
                      </a:lnTo>
                      <a:lnTo>
                        <a:pt x="38" y="73"/>
                      </a:lnTo>
                      <a:lnTo>
                        <a:pt x="35" y="76"/>
                      </a:lnTo>
                      <a:lnTo>
                        <a:pt x="34" y="80"/>
                      </a:lnTo>
                      <a:lnTo>
                        <a:pt x="33" y="86"/>
                      </a:lnTo>
                      <a:lnTo>
                        <a:pt x="30" y="92"/>
                      </a:lnTo>
                      <a:lnTo>
                        <a:pt x="29" y="94"/>
                      </a:lnTo>
                      <a:lnTo>
                        <a:pt x="26" y="95"/>
                      </a:lnTo>
                      <a:lnTo>
                        <a:pt x="20" y="95"/>
                      </a:lnTo>
                      <a:lnTo>
                        <a:pt x="16" y="94"/>
                      </a:lnTo>
                      <a:lnTo>
                        <a:pt x="24" y="96"/>
                      </a:lnTo>
                      <a:lnTo>
                        <a:pt x="34" y="98"/>
                      </a:lnTo>
                      <a:lnTo>
                        <a:pt x="43" y="98"/>
                      </a:lnTo>
                      <a:lnTo>
                        <a:pt x="49" y="96"/>
                      </a:lnTo>
                      <a:lnTo>
                        <a:pt x="66" y="86"/>
                      </a:lnTo>
                      <a:lnTo>
                        <a:pt x="76" y="80"/>
                      </a:lnTo>
                      <a:lnTo>
                        <a:pt x="82" y="77"/>
                      </a:lnTo>
                      <a:lnTo>
                        <a:pt x="83" y="79"/>
                      </a:lnTo>
                      <a:lnTo>
                        <a:pt x="83" y="82"/>
                      </a:lnTo>
                      <a:lnTo>
                        <a:pt x="85" y="85"/>
                      </a:lnTo>
                      <a:lnTo>
                        <a:pt x="86" y="86"/>
                      </a:lnTo>
                      <a:lnTo>
                        <a:pt x="88" y="86"/>
                      </a:lnTo>
                      <a:lnTo>
                        <a:pt x="96" y="85"/>
                      </a:lnTo>
                      <a:lnTo>
                        <a:pt x="102" y="82"/>
                      </a:lnTo>
                      <a:lnTo>
                        <a:pt x="105" y="81"/>
                      </a:lnTo>
                      <a:lnTo>
                        <a:pt x="106" y="79"/>
                      </a:lnTo>
                      <a:lnTo>
                        <a:pt x="108" y="74"/>
                      </a:lnTo>
                      <a:lnTo>
                        <a:pt x="108" y="73"/>
                      </a:lnTo>
                      <a:lnTo>
                        <a:pt x="109" y="72"/>
                      </a:lnTo>
                      <a:lnTo>
                        <a:pt x="114" y="69"/>
                      </a:lnTo>
                      <a:lnTo>
                        <a:pt x="118" y="69"/>
                      </a:lnTo>
                      <a:lnTo>
                        <a:pt x="123" y="68"/>
                      </a:lnTo>
                      <a:lnTo>
                        <a:pt x="129" y="67"/>
                      </a:lnTo>
                      <a:lnTo>
                        <a:pt x="137" y="64"/>
                      </a:lnTo>
                      <a:lnTo>
                        <a:pt x="144" y="59"/>
                      </a:lnTo>
                      <a:lnTo>
                        <a:pt x="161" y="49"/>
                      </a:lnTo>
                      <a:lnTo>
                        <a:pt x="165" y="45"/>
                      </a:lnTo>
                      <a:lnTo>
                        <a:pt x="167" y="42"/>
                      </a:lnTo>
                      <a:lnTo>
                        <a:pt x="167" y="40"/>
                      </a:lnTo>
                      <a:lnTo>
                        <a:pt x="167" y="37"/>
                      </a:lnTo>
                      <a:lnTo>
                        <a:pt x="165" y="32"/>
                      </a:lnTo>
                      <a:lnTo>
                        <a:pt x="162" y="30"/>
                      </a:lnTo>
                      <a:lnTo>
                        <a:pt x="163" y="27"/>
                      </a:lnTo>
                      <a:lnTo>
                        <a:pt x="162" y="23"/>
                      </a:lnTo>
                      <a:lnTo>
                        <a:pt x="161" y="2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0" name="Freeform 1309"/>
                <p:cNvSpPr>
                  <a:spLocks/>
                </p:cNvSpPr>
                <p:nvPr/>
              </p:nvSpPr>
              <p:spPr bwMode="auto">
                <a:xfrm>
                  <a:off x="6217945" y="3404870"/>
                  <a:ext cx="167224" cy="99150"/>
                </a:xfrm>
                <a:custGeom>
                  <a:avLst/>
                  <a:gdLst>
                    <a:gd name="T0" fmla="*/ 0 w 123"/>
                    <a:gd name="T1" fmla="*/ 2147483647 h 67"/>
                    <a:gd name="T2" fmla="*/ 2147483647 w 123"/>
                    <a:gd name="T3" fmla="*/ 2147483647 h 67"/>
                    <a:gd name="T4" fmla="*/ 2147483647 w 123"/>
                    <a:gd name="T5" fmla="*/ 2147483647 h 67"/>
                    <a:gd name="T6" fmla="*/ 2147483647 w 123"/>
                    <a:gd name="T7" fmla="*/ 2147483647 h 67"/>
                    <a:gd name="T8" fmla="*/ 2147483647 w 123"/>
                    <a:gd name="T9" fmla="*/ 2147483647 h 67"/>
                    <a:gd name="T10" fmla="*/ 2147483647 w 123"/>
                    <a:gd name="T11" fmla="*/ 2147483647 h 67"/>
                    <a:gd name="T12" fmla="*/ 2147483647 w 123"/>
                    <a:gd name="T13" fmla="*/ 2147483647 h 67"/>
                    <a:gd name="T14" fmla="*/ 2147483647 w 123"/>
                    <a:gd name="T15" fmla="*/ 2147483647 h 67"/>
                    <a:gd name="T16" fmla="*/ 2147483647 w 123"/>
                    <a:gd name="T17" fmla="*/ 2147483647 h 67"/>
                    <a:gd name="T18" fmla="*/ 2147483647 w 123"/>
                    <a:gd name="T19" fmla="*/ 2147483647 h 67"/>
                    <a:gd name="T20" fmla="*/ 2147483647 w 123"/>
                    <a:gd name="T21" fmla="*/ 2147483647 h 67"/>
                    <a:gd name="T22" fmla="*/ 2147483647 w 123"/>
                    <a:gd name="T23" fmla="*/ 2147483647 h 67"/>
                    <a:gd name="T24" fmla="*/ 2147483647 w 123"/>
                    <a:gd name="T25" fmla="*/ 2147483647 h 67"/>
                    <a:gd name="T26" fmla="*/ 2147483647 w 123"/>
                    <a:gd name="T27" fmla="*/ 2147483647 h 67"/>
                    <a:gd name="T28" fmla="*/ 2147483647 w 123"/>
                    <a:gd name="T29" fmla="*/ 2147483647 h 67"/>
                    <a:gd name="T30" fmla="*/ 2147483647 w 123"/>
                    <a:gd name="T31" fmla="*/ 2147483647 h 67"/>
                    <a:gd name="T32" fmla="*/ 2147483647 w 123"/>
                    <a:gd name="T33" fmla="*/ 2147483647 h 67"/>
                    <a:gd name="T34" fmla="*/ 2147483647 w 123"/>
                    <a:gd name="T35" fmla="*/ 2147483647 h 67"/>
                    <a:gd name="T36" fmla="*/ 2147483647 w 123"/>
                    <a:gd name="T37" fmla="*/ 2147483647 h 67"/>
                    <a:gd name="T38" fmla="*/ 2147483647 w 123"/>
                    <a:gd name="T39" fmla="*/ 2147483647 h 67"/>
                    <a:gd name="T40" fmla="*/ 2147483647 w 123"/>
                    <a:gd name="T41" fmla="*/ 2147483647 h 67"/>
                    <a:gd name="T42" fmla="*/ 2147483647 w 123"/>
                    <a:gd name="T43" fmla="*/ 2147483647 h 67"/>
                    <a:gd name="T44" fmla="*/ 2147483647 w 123"/>
                    <a:gd name="T45" fmla="*/ 2147483647 h 67"/>
                    <a:gd name="T46" fmla="*/ 2147483647 w 123"/>
                    <a:gd name="T47" fmla="*/ 2147483647 h 67"/>
                    <a:gd name="T48" fmla="*/ 2147483647 w 123"/>
                    <a:gd name="T49" fmla="*/ 2147483647 h 67"/>
                    <a:gd name="T50" fmla="*/ 2147483647 w 123"/>
                    <a:gd name="T51" fmla="*/ 2147483647 h 67"/>
                    <a:gd name="T52" fmla="*/ 2147483647 w 123"/>
                    <a:gd name="T53" fmla="*/ 2147483647 h 67"/>
                    <a:gd name="T54" fmla="*/ 2147483647 w 123"/>
                    <a:gd name="T55" fmla="*/ 2147483647 h 67"/>
                    <a:gd name="T56" fmla="*/ 2147483647 w 123"/>
                    <a:gd name="T57" fmla="*/ 2147483647 h 67"/>
                    <a:gd name="T58" fmla="*/ 2147483647 w 123"/>
                    <a:gd name="T59" fmla="*/ 2147483647 h 67"/>
                    <a:gd name="T60" fmla="*/ 2147483647 w 123"/>
                    <a:gd name="T61" fmla="*/ 2147483647 h 67"/>
                    <a:gd name="T62" fmla="*/ 2147483647 w 123"/>
                    <a:gd name="T63" fmla="*/ 2147483647 h 67"/>
                    <a:gd name="T64" fmla="*/ 2147483647 w 123"/>
                    <a:gd name="T65" fmla="*/ 2147483647 h 67"/>
                    <a:gd name="T66" fmla="*/ 2147483647 w 123"/>
                    <a:gd name="T67" fmla="*/ 2147483647 h 67"/>
                    <a:gd name="T68" fmla="*/ 2147483647 w 123"/>
                    <a:gd name="T69" fmla="*/ 2147483647 h 67"/>
                    <a:gd name="T70" fmla="*/ 2147483647 w 123"/>
                    <a:gd name="T71" fmla="*/ 2147483647 h 67"/>
                    <a:gd name="T72" fmla="*/ 2147483647 w 123"/>
                    <a:gd name="T73" fmla="*/ 2147483647 h 67"/>
                    <a:gd name="T74" fmla="*/ 0 w 123"/>
                    <a:gd name="T75" fmla="*/ 2147483647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3"/>
                    <a:gd name="T115" fmla="*/ 0 h 67"/>
                    <a:gd name="T116" fmla="*/ 123 w 123"/>
                    <a:gd name="T117" fmla="*/ 67 h 6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3" h="67">
                      <a:moveTo>
                        <a:pt x="0" y="13"/>
                      </a:moveTo>
                      <a:lnTo>
                        <a:pt x="0" y="13"/>
                      </a:lnTo>
                      <a:lnTo>
                        <a:pt x="0" y="12"/>
                      </a:lnTo>
                      <a:lnTo>
                        <a:pt x="1" y="10"/>
                      </a:lnTo>
                      <a:lnTo>
                        <a:pt x="5" y="7"/>
                      </a:lnTo>
                      <a:lnTo>
                        <a:pt x="13" y="5"/>
                      </a:lnTo>
                      <a:lnTo>
                        <a:pt x="24" y="5"/>
                      </a:lnTo>
                      <a:lnTo>
                        <a:pt x="36" y="5"/>
                      </a:lnTo>
                      <a:lnTo>
                        <a:pt x="53" y="5"/>
                      </a:lnTo>
                      <a:lnTo>
                        <a:pt x="80" y="6"/>
                      </a:lnTo>
                      <a:lnTo>
                        <a:pt x="95" y="5"/>
                      </a:lnTo>
                      <a:lnTo>
                        <a:pt x="102" y="4"/>
                      </a:lnTo>
                      <a:lnTo>
                        <a:pt x="104" y="2"/>
                      </a:lnTo>
                      <a:lnTo>
                        <a:pt x="106" y="0"/>
                      </a:lnTo>
                      <a:lnTo>
                        <a:pt x="106" y="2"/>
                      </a:lnTo>
                      <a:lnTo>
                        <a:pt x="104" y="9"/>
                      </a:lnTo>
                      <a:lnTo>
                        <a:pt x="103" y="13"/>
                      </a:lnTo>
                      <a:lnTo>
                        <a:pt x="103" y="18"/>
                      </a:lnTo>
                      <a:lnTo>
                        <a:pt x="104" y="22"/>
                      </a:lnTo>
                      <a:lnTo>
                        <a:pt x="108" y="24"/>
                      </a:lnTo>
                      <a:lnTo>
                        <a:pt x="116" y="28"/>
                      </a:lnTo>
                      <a:lnTo>
                        <a:pt x="120" y="31"/>
                      </a:lnTo>
                      <a:lnTo>
                        <a:pt x="122" y="35"/>
                      </a:lnTo>
                      <a:lnTo>
                        <a:pt x="120" y="39"/>
                      </a:lnTo>
                      <a:lnTo>
                        <a:pt x="120" y="41"/>
                      </a:lnTo>
                      <a:lnTo>
                        <a:pt x="120" y="44"/>
                      </a:lnTo>
                      <a:lnTo>
                        <a:pt x="122" y="50"/>
                      </a:lnTo>
                      <a:lnTo>
                        <a:pt x="123" y="54"/>
                      </a:lnTo>
                      <a:lnTo>
                        <a:pt x="123" y="56"/>
                      </a:lnTo>
                      <a:lnTo>
                        <a:pt x="123" y="57"/>
                      </a:lnTo>
                      <a:lnTo>
                        <a:pt x="120" y="58"/>
                      </a:lnTo>
                      <a:lnTo>
                        <a:pt x="109" y="58"/>
                      </a:lnTo>
                      <a:lnTo>
                        <a:pt x="97" y="61"/>
                      </a:lnTo>
                      <a:lnTo>
                        <a:pt x="76" y="67"/>
                      </a:lnTo>
                      <a:lnTo>
                        <a:pt x="74" y="67"/>
                      </a:lnTo>
                      <a:lnTo>
                        <a:pt x="73" y="64"/>
                      </a:lnTo>
                      <a:lnTo>
                        <a:pt x="71" y="57"/>
                      </a:lnTo>
                      <a:lnTo>
                        <a:pt x="71" y="53"/>
                      </a:lnTo>
                      <a:lnTo>
                        <a:pt x="69" y="49"/>
                      </a:lnTo>
                      <a:lnTo>
                        <a:pt x="66" y="45"/>
                      </a:lnTo>
                      <a:lnTo>
                        <a:pt x="62" y="43"/>
                      </a:lnTo>
                      <a:lnTo>
                        <a:pt x="62" y="42"/>
                      </a:lnTo>
                      <a:lnTo>
                        <a:pt x="62" y="41"/>
                      </a:lnTo>
                      <a:lnTo>
                        <a:pt x="65" y="38"/>
                      </a:lnTo>
                      <a:lnTo>
                        <a:pt x="66" y="35"/>
                      </a:lnTo>
                      <a:lnTo>
                        <a:pt x="66" y="34"/>
                      </a:lnTo>
                      <a:lnTo>
                        <a:pt x="65" y="35"/>
                      </a:lnTo>
                      <a:lnTo>
                        <a:pt x="60" y="36"/>
                      </a:lnTo>
                      <a:lnTo>
                        <a:pt x="56" y="39"/>
                      </a:lnTo>
                      <a:lnTo>
                        <a:pt x="48" y="48"/>
                      </a:lnTo>
                      <a:lnTo>
                        <a:pt x="42" y="56"/>
                      </a:lnTo>
                      <a:lnTo>
                        <a:pt x="38" y="58"/>
                      </a:lnTo>
                      <a:lnTo>
                        <a:pt x="34" y="61"/>
                      </a:lnTo>
                      <a:lnTo>
                        <a:pt x="26" y="62"/>
                      </a:lnTo>
                      <a:lnTo>
                        <a:pt x="14" y="63"/>
                      </a:lnTo>
                      <a:lnTo>
                        <a:pt x="1" y="63"/>
                      </a:lnTo>
                      <a:lnTo>
                        <a:pt x="5" y="47"/>
                      </a:lnTo>
                      <a:lnTo>
                        <a:pt x="6" y="35"/>
                      </a:lnTo>
                      <a:lnTo>
                        <a:pt x="6" y="23"/>
                      </a:lnTo>
                      <a:lnTo>
                        <a:pt x="5" y="18"/>
                      </a:lnTo>
                      <a:lnTo>
                        <a:pt x="4" y="15"/>
                      </a:lnTo>
                      <a:lnTo>
                        <a:pt x="3" y="13"/>
                      </a:lnTo>
                      <a:lnTo>
                        <a:pt x="0"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1" name="Freeform 1310"/>
                <p:cNvSpPr>
                  <a:spLocks/>
                </p:cNvSpPr>
                <p:nvPr/>
              </p:nvSpPr>
              <p:spPr bwMode="auto">
                <a:xfrm>
                  <a:off x="5867214" y="3307198"/>
                  <a:ext cx="325572" cy="247138"/>
                </a:xfrm>
                <a:custGeom>
                  <a:avLst/>
                  <a:gdLst>
                    <a:gd name="T0" fmla="*/ 2147483647 w 238"/>
                    <a:gd name="T1" fmla="*/ 2147483647 h 167"/>
                    <a:gd name="T2" fmla="*/ 2147483647 w 238"/>
                    <a:gd name="T3" fmla="*/ 2147483647 h 167"/>
                    <a:gd name="T4" fmla="*/ 2147483647 w 238"/>
                    <a:gd name="T5" fmla="*/ 2147483647 h 167"/>
                    <a:gd name="T6" fmla="*/ 2147483647 w 238"/>
                    <a:gd name="T7" fmla="*/ 2147483647 h 167"/>
                    <a:gd name="T8" fmla="*/ 0 w 238"/>
                    <a:gd name="T9" fmla="*/ 2147483647 h 167"/>
                    <a:gd name="T10" fmla="*/ 2147483647 w 238"/>
                    <a:gd name="T11" fmla="*/ 2147483647 h 167"/>
                    <a:gd name="T12" fmla="*/ 2147483647 w 238"/>
                    <a:gd name="T13" fmla="*/ 2147483647 h 167"/>
                    <a:gd name="T14" fmla="*/ 2147483647 w 238"/>
                    <a:gd name="T15" fmla="*/ 2147483647 h 167"/>
                    <a:gd name="T16" fmla="*/ 2147483647 w 238"/>
                    <a:gd name="T17" fmla="*/ 2147483647 h 167"/>
                    <a:gd name="T18" fmla="*/ 2147483647 w 238"/>
                    <a:gd name="T19" fmla="*/ 2147483647 h 167"/>
                    <a:gd name="T20" fmla="*/ 2147483647 w 238"/>
                    <a:gd name="T21" fmla="*/ 2147483647 h 167"/>
                    <a:gd name="T22" fmla="*/ 2147483647 w 238"/>
                    <a:gd name="T23" fmla="*/ 2147483647 h 167"/>
                    <a:gd name="T24" fmla="*/ 2147483647 w 238"/>
                    <a:gd name="T25" fmla="*/ 2147483647 h 167"/>
                    <a:gd name="T26" fmla="*/ 2147483647 w 238"/>
                    <a:gd name="T27" fmla="*/ 2147483647 h 167"/>
                    <a:gd name="T28" fmla="*/ 2147483647 w 238"/>
                    <a:gd name="T29" fmla="*/ 2147483647 h 167"/>
                    <a:gd name="T30" fmla="*/ 2147483647 w 238"/>
                    <a:gd name="T31" fmla="*/ 2147483647 h 167"/>
                    <a:gd name="T32" fmla="*/ 2147483647 w 238"/>
                    <a:gd name="T33" fmla="*/ 2147483647 h 167"/>
                    <a:gd name="T34" fmla="*/ 2147483647 w 238"/>
                    <a:gd name="T35" fmla="*/ 2147483647 h 167"/>
                    <a:gd name="T36" fmla="*/ 2147483647 w 238"/>
                    <a:gd name="T37" fmla="*/ 2147483647 h 167"/>
                    <a:gd name="T38" fmla="*/ 2147483647 w 238"/>
                    <a:gd name="T39" fmla="*/ 2147483647 h 167"/>
                    <a:gd name="T40" fmla="*/ 2147483647 w 238"/>
                    <a:gd name="T41" fmla="*/ 2147483647 h 167"/>
                    <a:gd name="T42" fmla="*/ 2147483647 w 238"/>
                    <a:gd name="T43" fmla="*/ 2147483647 h 167"/>
                    <a:gd name="T44" fmla="*/ 2147483647 w 238"/>
                    <a:gd name="T45" fmla="*/ 2147483647 h 167"/>
                    <a:gd name="T46" fmla="*/ 2147483647 w 238"/>
                    <a:gd name="T47" fmla="*/ 2147483647 h 167"/>
                    <a:gd name="T48" fmla="*/ 2147483647 w 238"/>
                    <a:gd name="T49" fmla="*/ 2147483647 h 167"/>
                    <a:gd name="T50" fmla="*/ 2147483647 w 238"/>
                    <a:gd name="T51" fmla="*/ 2147483647 h 167"/>
                    <a:gd name="T52" fmla="*/ 2147483647 w 238"/>
                    <a:gd name="T53" fmla="*/ 2147483647 h 167"/>
                    <a:gd name="T54" fmla="*/ 2147483647 w 238"/>
                    <a:gd name="T55" fmla="*/ 2147483647 h 167"/>
                    <a:gd name="T56" fmla="*/ 2147483647 w 238"/>
                    <a:gd name="T57" fmla="*/ 2147483647 h 167"/>
                    <a:gd name="T58" fmla="*/ 2147483647 w 238"/>
                    <a:gd name="T59" fmla="*/ 2147483647 h 167"/>
                    <a:gd name="T60" fmla="*/ 2147483647 w 238"/>
                    <a:gd name="T61" fmla="*/ 2147483647 h 167"/>
                    <a:gd name="T62" fmla="*/ 2147483647 w 238"/>
                    <a:gd name="T63" fmla="*/ 2147483647 h 167"/>
                    <a:gd name="T64" fmla="*/ 2147483647 w 238"/>
                    <a:gd name="T65" fmla="*/ 2147483647 h 167"/>
                    <a:gd name="T66" fmla="*/ 2147483647 w 238"/>
                    <a:gd name="T67" fmla="*/ 2147483647 h 167"/>
                    <a:gd name="T68" fmla="*/ 2147483647 w 238"/>
                    <a:gd name="T69" fmla="*/ 2147483647 h 167"/>
                    <a:gd name="T70" fmla="*/ 2147483647 w 238"/>
                    <a:gd name="T71" fmla="*/ 2147483647 h 167"/>
                    <a:gd name="T72" fmla="*/ 2147483647 w 238"/>
                    <a:gd name="T73" fmla="*/ 2147483647 h 167"/>
                    <a:gd name="T74" fmla="*/ 2147483647 w 238"/>
                    <a:gd name="T75" fmla="*/ 2147483647 h 167"/>
                    <a:gd name="T76" fmla="*/ 2147483647 w 238"/>
                    <a:gd name="T77" fmla="*/ 2147483647 h 167"/>
                    <a:gd name="T78" fmla="*/ 2147483647 w 238"/>
                    <a:gd name="T79" fmla="*/ 2147483647 h 167"/>
                    <a:gd name="T80" fmla="*/ 2147483647 w 238"/>
                    <a:gd name="T81" fmla="*/ 2147483647 h 167"/>
                    <a:gd name="T82" fmla="*/ 2147483647 w 238"/>
                    <a:gd name="T83" fmla="*/ 2147483647 h 167"/>
                    <a:gd name="T84" fmla="*/ 2147483647 w 238"/>
                    <a:gd name="T85" fmla="*/ 0 h 167"/>
                    <a:gd name="T86" fmla="*/ 2147483647 w 238"/>
                    <a:gd name="T87" fmla="*/ 2147483647 h 167"/>
                    <a:gd name="T88" fmla="*/ 2147483647 w 238"/>
                    <a:gd name="T89" fmla="*/ 2147483647 h 167"/>
                    <a:gd name="T90" fmla="*/ 2147483647 w 238"/>
                    <a:gd name="T91" fmla="*/ 2147483647 h 167"/>
                    <a:gd name="T92" fmla="*/ 2147483647 w 238"/>
                    <a:gd name="T93" fmla="*/ 2147483647 h 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8"/>
                    <a:gd name="T142" fmla="*/ 0 h 167"/>
                    <a:gd name="T143" fmla="*/ 238 w 238"/>
                    <a:gd name="T144" fmla="*/ 167 h 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8" h="167">
                      <a:moveTo>
                        <a:pt x="44" y="32"/>
                      </a:moveTo>
                      <a:lnTo>
                        <a:pt x="42" y="30"/>
                      </a:lnTo>
                      <a:lnTo>
                        <a:pt x="39" y="26"/>
                      </a:lnTo>
                      <a:lnTo>
                        <a:pt x="33" y="15"/>
                      </a:lnTo>
                      <a:lnTo>
                        <a:pt x="25" y="6"/>
                      </a:lnTo>
                      <a:lnTo>
                        <a:pt x="22" y="2"/>
                      </a:lnTo>
                      <a:lnTo>
                        <a:pt x="19" y="1"/>
                      </a:lnTo>
                      <a:lnTo>
                        <a:pt x="14" y="2"/>
                      </a:lnTo>
                      <a:lnTo>
                        <a:pt x="9" y="6"/>
                      </a:lnTo>
                      <a:lnTo>
                        <a:pt x="6" y="11"/>
                      </a:lnTo>
                      <a:lnTo>
                        <a:pt x="2" y="15"/>
                      </a:lnTo>
                      <a:lnTo>
                        <a:pt x="1" y="19"/>
                      </a:lnTo>
                      <a:lnTo>
                        <a:pt x="1" y="24"/>
                      </a:lnTo>
                      <a:lnTo>
                        <a:pt x="0" y="34"/>
                      </a:lnTo>
                      <a:lnTo>
                        <a:pt x="0" y="47"/>
                      </a:lnTo>
                      <a:lnTo>
                        <a:pt x="12" y="28"/>
                      </a:lnTo>
                      <a:lnTo>
                        <a:pt x="14" y="30"/>
                      </a:lnTo>
                      <a:lnTo>
                        <a:pt x="16" y="28"/>
                      </a:lnTo>
                      <a:lnTo>
                        <a:pt x="20" y="25"/>
                      </a:lnTo>
                      <a:lnTo>
                        <a:pt x="21" y="24"/>
                      </a:lnTo>
                      <a:lnTo>
                        <a:pt x="22" y="24"/>
                      </a:lnTo>
                      <a:lnTo>
                        <a:pt x="25" y="27"/>
                      </a:lnTo>
                      <a:lnTo>
                        <a:pt x="29" y="46"/>
                      </a:lnTo>
                      <a:lnTo>
                        <a:pt x="30" y="50"/>
                      </a:lnTo>
                      <a:lnTo>
                        <a:pt x="29" y="52"/>
                      </a:lnTo>
                      <a:lnTo>
                        <a:pt x="25" y="56"/>
                      </a:lnTo>
                      <a:lnTo>
                        <a:pt x="20" y="58"/>
                      </a:lnTo>
                      <a:lnTo>
                        <a:pt x="16" y="58"/>
                      </a:lnTo>
                      <a:lnTo>
                        <a:pt x="14" y="57"/>
                      </a:lnTo>
                      <a:lnTo>
                        <a:pt x="11" y="56"/>
                      </a:lnTo>
                      <a:lnTo>
                        <a:pt x="9" y="56"/>
                      </a:lnTo>
                      <a:lnTo>
                        <a:pt x="6" y="57"/>
                      </a:lnTo>
                      <a:lnTo>
                        <a:pt x="5" y="58"/>
                      </a:lnTo>
                      <a:lnTo>
                        <a:pt x="3" y="63"/>
                      </a:lnTo>
                      <a:lnTo>
                        <a:pt x="3" y="69"/>
                      </a:lnTo>
                      <a:lnTo>
                        <a:pt x="3" y="71"/>
                      </a:lnTo>
                      <a:lnTo>
                        <a:pt x="6" y="72"/>
                      </a:lnTo>
                      <a:lnTo>
                        <a:pt x="12" y="73"/>
                      </a:lnTo>
                      <a:lnTo>
                        <a:pt x="19" y="75"/>
                      </a:lnTo>
                      <a:lnTo>
                        <a:pt x="21" y="76"/>
                      </a:lnTo>
                      <a:lnTo>
                        <a:pt x="22" y="78"/>
                      </a:lnTo>
                      <a:lnTo>
                        <a:pt x="24" y="79"/>
                      </a:lnTo>
                      <a:lnTo>
                        <a:pt x="22" y="79"/>
                      </a:lnTo>
                      <a:lnTo>
                        <a:pt x="19" y="78"/>
                      </a:lnTo>
                      <a:lnTo>
                        <a:pt x="17" y="79"/>
                      </a:lnTo>
                      <a:lnTo>
                        <a:pt x="15" y="81"/>
                      </a:lnTo>
                      <a:lnTo>
                        <a:pt x="14" y="83"/>
                      </a:lnTo>
                      <a:lnTo>
                        <a:pt x="14" y="87"/>
                      </a:lnTo>
                      <a:lnTo>
                        <a:pt x="16" y="94"/>
                      </a:lnTo>
                      <a:lnTo>
                        <a:pt x="19" y="101"/>
                      </a:lnTo>
                      <a:lnTo>
                        <a:pt x="19" y="103"/>
                      </a:lnTo>
                      <a:lnTo>
                        <a:pt x="19" y="107"/>
                      </a:lnTo>
                      <a:lnTo>
                        <a:pt x="17" y="116"/>
                      </a:lnTo>
                      <a:lnTo>
                        <a:pt x="17" y="120"/>
                      </a:lnTo>
                      <a:lnTo>
                        <a:pt x="19" y="123"/>
                      </a:lnTo>
                      <a:lnTo>
                        <a:pt x="21" y="126"/>
                      </a:lnTo>
                      <a:lnTo>
                        <a:pt x="24" y="128"/>
                      </a:lnTo>
                      <a:lnTo>
                        <a:pt x="28" y="128"/>
                      </a:lnTo>
                      <a:lnTo>
                        <a:pt x="31" y="128"/>
                      </a:lnTo>
                      <a:lnTo>
                        <a:pt x="35" y="127"/>
                      </a:lnTo>
                      <a:lnTo>
                        <a:pt x="40" y="124"/>
                      </a:lnTo>
                      <a:lnTo>
                        <a:pt x="52" y="119"/>
                      </a:lnTo>
                      <a:lnTo>
                        <a:pt x="63" y="110"/>
                      </a:lnTo>
                      <a:lnTo>
                        <a:pt x="73" y="115"/>
                      </a:lnTo>
                      <a:lnTo>
                        <a:pt x="83" y="119"/>
                      </a:lnTo>
                      <a:lnTo>
                        <a:pt x="92" y="121"/>
                      </a:lnTo>
                      <a:lnTo>
                        <a:pt x="116" y="127"/>
                      </a:lnTo>
                      <a:lnTo>
                        <a:pt x="116" y="128"/>
                      </a:lnTo>
                      <a:lnTo>
                        <a:pt x="119" y="130"/>
                      </a:lnTo>
                      <a:lnTo>
                        <a:pt x="127" y="135"/>
                      </a:lnTo>
                      <a:lnTo>
                        <a:pt x="143" y="142"/>
                      </a:lnTo>
                      <a:lnTo>
                        <a:pt x="146" y="145"/>
                      </a:lnTo>
                      <a:lnTo>
                        <a:pt x="147" y="146"/>
                      </a:lnTo>
                      <a:lnTo>
                        <a:pt x="148" y="151"/>
                      </a:lnTo>
                      <a:lnTo>
                        <a:pt x="147" y="161"/>
                      </a:lnTo>
                      <a:lnTo>
                        <a:pt x="148" y="162"/>
                      </a:lnTo>
                      <a:lnTo>
                        <a:pt x="151" y="164"/>
                      </a:lnTo>
                      <a:lnTo>
                        <a:pt x="160" y="165"/>
                      </a:lnTo>
                      <a:lnTo>
                        <a:pt x="170" y="165"/>
                      </a:lnTo>
                      <a:lnTo>
                        <a:pt x="174" y="166"/>
                      </a:lnTo>
                      <a:lnTo>
                        <a:pt x="176" y="167"/>
                      </a:lnTo>
                      <a:lnTo>
                        <a:pt x="177" y="167"/>
                      </a:lnTo>
                      <a:lnTo>
                        <a:pt x="179" y="165"/>
                      </a:lnTo>
                      <a:lnTo>
                        <a:pt x="182" y="161"/>
                      </a:lnTo>
                      <a:lnTo>
                        <a:pt x="188" y="155"/>
                      </a:lnTo>
                      <a:lnTo>
                        <a:pt x="191" y="154"/>
                      </a:lnTo>
                      <a:lnTo>
                        <a:pt x="194" y="153"/>
                      </a:lnTo>
                      <a:lnTo>
                        <a:pt x="196" y="152"/>
                      </a:lnTo>
                      <a:lnTo>
                        <a:pt x="199" y="148"/>
                      </a:lnTo>
                      <a:lnTo>
                        <a:pt x="204" y="141"/>
                      </a:lnTo>
                      <a:lnTo>
                        <a:pt x="210" y="134"/>
                      </a:lnTo>
                      <a:lnTo>
                        <a:pt x="214" y="130"/>
                      </a:lnTo>
                      <a:lnTo>
                        <a:pt x="218" y="129"/>
                      </a:lnTo>
                      <a:lnTo>
                        <a:pt x="223" y="127"/>
                      </a:lnTo>
                      <a:lnTo>
                        <a:pt x="226" y="126"/>
                      </a:lnTo>
                      <a:lnTo>
                        <a:pt x="228" y="126"/>
                      </a:lnTo>
                      <a:lnTo>
                        <a:pt x="233" y="127"/>
                      </a:lnTo>
                      <a:lnTo>
                        <a:pt x="237" y="127"/>
                      </a:lnTo>
                      <a:lnTo>
                        <a:pt x="238" y="127"/>
                      </a:lnTo>
                      <a:lnTo>
                        <a:pt x="238" y="126"/>
                      </a:lnTo>
                      <a:lnTo>
                        <a:pt x="237" y="122"/>
                      </a:lnTo>
                      <a:lnTo>
                        <a:pt x="237" y="117"/>
                      </a:lnTo>
                      <a:lnTo>
                        <a:pt x="237" y="113"/>
                      </a:lnTo>
                      <a:lnTo>
                        <a:pt x="236" y="110"/>
                      </a:lnTo>
                      <a:lnTo>
                        <a:pt x="232" y="109"/>
                      </a:lnTo>
                      <a:lnTo>
                        <a:pt x="226" y="109"/>
                      </a:lnTo>
                      <a:lnTo>
                        <a:pt x="219" y="107"/>
                      </a:lnTo>
                      <a:lnTo>
                        <a:pt x="212" y="103"/>
                      </a:lnTo>
                      <a:lnTo>
                        <a:pt x="194" y="89"/>
                      </a:lnTo>
                      <a:lnTo>
                        <a:pt x="177" y="73"/>
                      </a:lnTo>
                      <a:lnTo>
                        <a:pt x="167" y="63"/>
                      </a:lnTo>
                      <a:lnTo>
                        <a:pt x="158" y="51"/>
                      </a:lnTo>
                      <a:lnTo>
                        <a:pt x="155" y="44"/>
                      </a:lnTo>
                      <a:lnTo>
                        <a:pt x="152" y="38"/>
                      </a:lnTo>
                      <a:lnTo>
                        <a:pt x="151" y="36"/>
                      </a:lnTo>
                      <a:lnTo>
                        <a:pt x="148" y="34"/>
                      </a:lnTo>
                      <a:lnTo>
                        <a:pt x="142" y="32"/>
                      </a:lnTo>
                      <a:lnTo>
                        <a:pt x="133" y="32"/>
                      </a:lnTo>
                      <a:lnTo>
                        <a:pt x="125" y="32"/>
                      </a:lnTo>
                      <a:lnTo>
                        <a:pt x="123" y="31"/>
                      </a:lnTo>
                      <a:lnTo>
                        <a:pt x="122" y="30"/>
                      </a:lnTo>
                      <a:lnTo>
                        <a:pt x="120" y="24"/>
                      </a:lnTo>
                      <a:lnTo>
                        <a:pt x="119" y="18"/>
                      </a:lnTo>
                      <a:lnTo>
                        <a:pt x="118" y="14"/>
                      </a:lnTo>
                      <a:lnTo>
                        <a:pt x="116" y="11"/>
                      </a:lnTo>
                      <a:lnTo>
                        <a:pt x="113" y="6"/>
                      </a:lnTo>
                      <a:lnTo>
                        <a:pt x="106" y="1"/>
                      </a:lnTo>
                      <a:lnTo>
                        <a:pt x="102" y="0"/>
                      </a:lnTo>
                      <a:lnTo>
                        <a:pt x="99" y="0"/>
                      </a:lnTo>
                      <a:lnTo>
                        <a:pt x="95" y="0"/>
                      </a:lnTo>
                      <a:lnTo>
                        <a:pt x="90" y="1"/>
                      </a:lnTo>
                      <a:lnTo>
                        <a:pt x="85" y="4"/>
                      </a:lnTo>
                      <a:lnTo>
                        <a:pt x="82" y="7"/>
                      </a:lnTo>
                      <a:lnTo>
                        <a:pt x="78" y="12"/>
                      </a:lnTo>
                      <a:lnTo>
                        <a:pt x="77" y="15"/>
                      </a:lnTo>
                      <a:lnTo>
                        <a:pt x="75" y="24"/>
                      </a:lnTo>
                      <a:lnTo>
                        <a:pt x="73" y="30"/>
                      </a:lnTo>
                      <a:lnTo>
                        <a:pt x="72" y="31"/>
                      </a:lnTo>
                      <a:lnTo>
                        <a:pt x="69" y="32"/>
                      </a:lnTo>
                      <a:lnTo>
                        <a:pt x="64" y="32"/>
                      </a:lnTo>
                      <a:lnTo>
                        <a:pt x="58" y="30"/>
                      </a:lnTo>
                      <a:lnTo>
                        <a:pt x="44" y="3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2" name="Freeform 1311"/>
                <p:cNvSpPr>
                  <a:spLocks/>
                </p:cNvSpPr>
                <p:nvPr/>
              </p:nvSpPr>
              <p:spPr bwMode="auto">
                <a:xfrm>
                  <a:off x="5865733" y="3305716"/>
                  <a:ext cx="325572" cy="247139"/>
                </a:xfrm>
                <a:custGeom>
                  <a:avLst/>
                  <a:gdLst>
                    <a:gd name="T0" fmla="*/ 2147483647 w 239"/>
                    <a:gd name="T1" fmla="*/ 2147483647 h 167"/>
                    <a:gd name="T2" fmla="*/ 2147483647 w 239"/>
                    <a:gd name="T3" fmla="*/ 2147483647 h 167"/>
                    <a:gd name="T4" fmla="*/ 2147483647 w 239"/>
                    <a:gd name="T5" fmla="*/ 2147483647 h 167"/>
                    <a:gd name="T6" fmla="*/ 2147483647 w 239"/>
                    <a:gd name="T7" fmla="*/ 2147483647 h 167"/>
                    <a:gd name="T8" fmla="*/ 2147483647 w 239"/>
                    <a:gd name="T9" fmla="*/ 2147483647 h 167"/>
                    <a:gd name="T10" fmla="*/ 0 w 239"/>
                    <a:gd name="T11" fmla="*/ 2147483647 h 167"/>
                    <a:gd name="T12" fmla="*/ 2147483647 w 239"/>
                    <a:gd name="T13" fmla="*/ 2147483647 h 167"/>
                    <a:gd name="T14" fmla="*/ 2147483647 w 239"/>
                    <a:gd name="T15" fmla="*/ 2147483647 h 167"/>
                    <a:gd name="T16" fmla="*/ 2147483647 w 239"/>
                    <a:gd name="T17" fmla="*/ 2147483647 h 167"/>
                    <a:gd name="T18" fmla="*/ 2147483647 w 239"/>
                    <a:gd name="T19" fmla="*/ 2147483647 h 167"/>
                    <a:gd name="T20" fmla="*/ 2147483647 w 239"/>
                    <a:gd name="T21" fmla="*/ 2147483647 h 167"/>
                    <a:gd name="T22" fmla="*/ 2147483647 w 239"/>
                    <a:gd name="T23" fmla="*/ 2147483647 h 167"/>
                    <a:gd name="T24" fmla="*/ 2147483647 w 239"/>
                    <a:gd name="T25" fmla="*/ 2147483647 h 167"/>
                    <a:gd name="T26" fmla="*/ 2147483647 w 239"/>
                    <a:gd name="T27" fmla="*/ 2147483647 h 167"/>
                    <a:gd name="T28" fmla="*/ 2147483647 w 239"/>
                    <a:gd name="T29" fmla="*/ 2147483647 h 167"/>
                    <a:gd name="T30" fmla="*/ 2147483647 w 239"/>
                    <a:gd name="T31" fmla="*/ 2147483647 h 167"/>
                    <a:gd name="T32" fmla="*/ 2147483647 w 239"/>
                    <a:gd name="T33" fmla="*/ 2147483647 h 167"/>
                    <a:gd name="T34" fmla="*/ 2147483647 w 239"/>
                    <a:gd name="T35" fmla="*/ 2147483647 h 167"/>
                    <a:gd name="T36" fmla="*/ 2147483647 w 239"/>
                    <a:gd name="T37" fmla="*/ 2147483647 h 167"/>
                    <a:gd name="T38" fmla="*/ 2147483647 w 239"/>
                    <a:gd name="T39" fmla="*/ 2147483647 h 167"/>
                    <a:gd name="T40" fmla="*/ 2147483647 w 239"/>
                    <a:gd name="T41" fmla="*/ 2147483647 h 167"/>
                    <a:gd name="T42" fmla="*/ 2147483647 w 239"/>
                    <a:gd name="T43" fmla="*/ 2147483647 h 167"/>
                    <a:gd name="T44" fmla="*/ 2147483647 w 239"/>
                    <a:gd name="T45" fmla="*/ 2147483647 h 167"/>
                    <a:gd name="T46" fmla="*/ 2147483647 w 239"/>
                    <a:gd name="T47" fmla="*/ 2147483647 h 167"/>
                    <a:gd name="T48" fmla="*/ 2147483647 w 239"/>
                    <a:gd name="T49" fmla="*/ 2147483647 h 167"/>
                    <a:gd name="T50" fmla="*/ 2147483647 w 239"/>
                    <a:gd name="T51" fmla="*/ 2147483647 h 167"/>
                    <a:gd name="T52" fmla="*/ 2147483647 w 239"/>
                    <a:gd name="T53" fmla="*/ 2147483647 h 167"/>
                    <a:gd name="T54" fmla="*/ 2147483647 w 239"/>
                    <a:gd name="T55" fmla="*/ 2147483647 h 167"/>
                    <a:gd name="T56" fmla="*/ 2147483647 w 239"/>
                    <a:gd name="T57" fmla="*/ 2147483647 h 167"/>
                    <a:gd name="T58" fmla="*/ 2147483647 w 239"/>
                    <a:gd name="T59" fmla="*/ 2147483647 h 167"/>
                    <a:gd name="T60" fmla="*/ 2147483647 w 239"/>
                    <a:gd name="T61" fmla="*/ 2147483647 h 167"/>
                    <a:gd name="T62" fmla="*/ 2147483647 w 239"/>
                    <a:gd name="T63" fmla="*/ 2147483647 h 167"/>
                    <a:gd name="T64" fmla="*/ 2147483647 w 239"/>
                    <a:gd name="T65" fmla="*/ 2147483647 h 167"/>
                    <a:gd name="T66" fmla="*/ 2147483647 w 239"/>
                    <a:gd name="T67" fmla="*/ 2147483647 h 167"/>
                    <a:gd name="T68" fmla="*/ 2147483647 w 239"/>
                    <a:gd name="T69" fmla="*/ 2147483647 h 167"/>
                    <a:gd name="T70" fmla="*/ 2147483647 w 239"/>
                    <a:gd name="T71" fmla="*/ 2147483647 h 167"/>
                    <a:gd name="T72" fmla="*/ 2147483647 w 239"/>
                    <a:gd name="T73" fmla="*/ 2147483647 h 167"/>
                    <a:gd name="T74" fmla="*/ 2147483647 w 239"/>
                    <a:gd name="T75" fmla="*/ 2147483647 h 167"/>
                    <a:gd name="T76" fmla="*/ 2147483647 w 239"/>
                    <a:gd name="T77" fmla="*/ 2147483647 h 167"/>
                    <a:gd name="T78" fmla="*/ 2147483647 w 239"/>
                    <a:gd name="T79" fmla="*/ 2147483647 h 167"/>
                    <a:gd name="T80" fmla="*/ 2147483647 w 239"/>
                    <a:gd name="T81" fmla="*/ 2147483647 h 167"/>
                    <a:gd name="T82" fmla="*/ 2147483647 w 239"/>
                    <a:gd name="T83" fmla="*/ 2147483647 h 167"/>
                    <a:gd name="T84" fmla="*/ 2147483647 w 239"/>
                    <a:gd name="T85" fmla="*/ 2147483647 h 167"/>
                    <a:gd name="T86" fmla="*/ 2147483647 w 239"/>
                    <a:gd name="T87" fmla="*/ 2147483647 h 167"/>
                    <a:gd name="T88" fmla="*/ 2147483647 w 239"/>
                    <a:gd name="T89" fmla="*/ 2147483647 h 167"/>
                    <a:gd name="T90" fmla="*/ 2147483647 w 239"/>
                    <a:gd name="T91" fmla="*/ 2147483647 h 167"/>
                    <a:gd name="T92" fmla="*/ 2147483647 w 239"/>
                    <a:gd name="T93" fmla="*/ 2147483647 h 167"/>
                    <a:gd name="T94" fmla="*/ 2147483647 w 239"/>
                    <a:gd name="T95" fmla="*/ 2147483647 h 167"/>
                    <a:gd name="T96" fmla="*/ 2147483647 w 239"/>
                    <a:gd name="T97" fmla="*/ 2147483647 h 167"/>
                    <a:gd name="T98" fmla="*/ 2147483647 w 239"/>
                    <a:gd name="T99" fmla="*/ 2147483647 h 167"/>
                    <a:gd name="T100" fmla="*/ 2147483647 w 239"/>
                    <a:gd name="T101" fmla="*/ 2147483647 h 167"/>
                    <a:gd name="T102" fmla="*/ 2147483647 w 239"/>
                    <a:gd name="T103" fmla="*/ 0 h 167"/>
                    <a:gd name="T104" fmla="*/ 2147483647 w 239"/>
                    <a:gd name="T105" fmla="*/ 2147483647 h 167"/>
                    <a:gd name="T106" fmla="*/ 2147483647 w 239"/>
                    <a:gd name="T107" fmla="*/ 2147483647 h 167"/>
                    <a:gd name="T108" fmla="*/ 2147483647 w 239"/>
                    <a:gd name="T109" fmla="*/ 2147483647 h 167"/>
                    <a:gd name="T110" fmla="*/ 2147483647 w 239"/>
                    <a:gd name="T111" fmla="*/ 2147483647 h 167"/>
                    <a:gd name="T112" fmla="*/ 2147483647 w 239"/>
                    <a:gd name="T113" fmla="*/ 2147483647 h 1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9"/>
                    <a:gd name="T172" fmla="*/ 0 h 167"/>
                    <a:gd name="T173" fmla="*/ 239 w 239"/>
                    <a:gd name="T174" fmla="*/ 167 h 1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9" h="167">
                      <a:moveTo>
                        <a:pt x="45" y="32"/>
                      </a:moveTo>
                      <a:lnTo>
                        <a:pt x="45" y="32"/>
                      </a:lnTo>
                      <a:lnTo>
                        <a:pt x="42" y="29"/>
                      </a:lnTo>
                      <a:lnTo>
                        <a:pt x="40" y="26"/>
                      </a:lnTo>
                      <a:lnTo>
                        <a:pt x="33" y="15"/>
                      </a:lnTo>
                      <a:lnTo>
                        <a:pt x="26" y="6"/>
                      </a:lnTo>
                      <a:lnTo>
                        <a:pt x="23" y="2"/>
                      </a:lnTo>
                      <a:lnTo>
                        <a:pt x="19" y="1"/>
                      </a:lnTo>
                      <a:lnTo>
                        <a:pt x="14" y="2"/>
                      </a:lnTo>
                      <a:lnTo>
                        <a:pt x="9" y="6"/>
                      </a:lnTo>
                      <a:lnTo>
                        <a:pt x="7" y="10"/>
                      </a:lnTo>
                      <a:lnTo>
                        <a:pt x="3" y="15"/>
                      </a:lnTo>
                      <a:lnTo>
                        <a:pt x="2" y="19"/>
                      </a:lnTo>
                      <a:lnTo>
                        <a:pt x="2" y="23"/>
                      </a:lnTo>
                      <a:lnTo>
                        <a:pt x="0" y="34"/>
                      </a:lnTo>
                      <a:lnTo>
                        <a:pt x="0" y="47"/>
                      </a:lnTo>
                      <a:lnTo>
                        <a:pt x="13" y="28"/>
                      </a:lnTo>
                      <a:lnTo>
                        <a:pt x="14" y="29"/>
                      </a:lnTo>
                      <a:lnTo>
                        <a:pt x="17" y="28"/>
                      </a:lnTo>
                      <a:lnTo>
                        <a:pt x="21" y="25"/>
                      </a:lnTo>
                      <a:lnTo>
                        <a:pt x="22" y="23"/>
                      </a:lnTo>
                      <a:lnTo>
                        <a:pt x="23" y="23"/>
                      </a:lnTo>
                      <a:lnTo>
                        <a:pt x="26" y="27"/>
                      </a:lnTo>
                      <a:lnTo>
                        <a:pt x="30" y="46"/>
                      </a:lnTo>
                      <a:lnTo>
                        <a:pt x="31" y="50"/>
                      </a:lnTo>
                      <a:lnTo>
                        <a:pt x="30" y="52"/>
                      </a:lnTo>
                      <a:lnTo>
                        <a:pt x="26" y="55"/>
                      </a:lnTo>
                      <a:lnTo>
                        <a:pt x="21" y="58"/>
                      </a:lnTo>
                      <a:lnTo>
                        <a:pt x="17" y="58"/>
                      </a:lnTo>
                      <a:lnTo>
                        <a:pt x="14" y="57"/>
                      </a:lnTo>
                      <a:lnTo>
                        <a:pt x="12" y="55"/>
                      </a:lnTo>
                      <a:lnTo>
                        <a:pt x="9" y="55"/>
                      </a:lnTo>
                      <a:lnTo>
                        <a:pt x="7" y="57"/>
                      </a:lnTo>
                      <a:lnTo>
                        <a:pt x="5" y="58"/>
                      </a:lnTo>
                      <a:lnTo>
                        <a:pt x="4" y="63"/>
                      </a:lnTo>
                      <a:lnTo>
                        <a:pt x="4" y="69"/>
                      </a:lnTo>
                      <a:lnTo>
                        <a:pt x="4" y="71"/>
                      </a:lnTo>
                      <a:lnTo>
                        <a:pt x="7" y="72"/>
                      </a:lnTo>
                      <a:lnTo>
                        <a:pt x="13" y="73"/>
                      </a:lnTo>
                      <a:lnTo>
                        <a:pt x="19" y="74"/>
                      </a:lnTo>
                      <a:lnTo>
                        <a:pt x="22" y="76"/>
                      </a:lnTo>
                      <a:lnTo>
                        <a:pt x="23" y="78"/>
                      </a:lnTo>
                      <a:lnTo>
                        <a:pt x="24" y="79"/>
                      </a:lnTo>
                      <a:lnTo>
                        <a:pt x="23" y="79"/>
                      </a:lnTo>
                      <a:lnTo>
                        <a:pt x="19" y="78"/>
                      </a:lnTo>
                      <a:lnTo>
                        <a:pt x="18" y="79"/>
                      </a:lnTo>
                      <a:lnTo>
                        <a:pt x="16" y="80"/>
                      </a:lnTo>
                      <a:lnTo>
                        <a:pt x="14" y="83"/>
                      </a:lnTo>
                      <a:lnTo>
                        <a:pt x="14" y="86"/>
                      </a:lnTo>
                      <a:lnTo>
                        <a:pt x="17" y="93"/>
                      </a:lnTo>
                      <a:lnTo>
                        <a:pt x="19" y="101"/>
                      </a:lnTo>
                      <a:lnTo>
                        <a:pt x="19" y="103"/>
                      </a:lnTo>
                      <a:lnTo>
                        <a:pt x="19" y="106"/>
                      </a:lnTo>
                      <a:lnTo>
                        <a:pt x="18" y="116"/>
                      </a:lnTo>
                      <a:lnTo>
                        <a:pt x="18" y="120"/>
                      </a:lnTo>
                      <a:lnTo>
                        <a:pt x="19" y="123"/>
                      </a:lnTo>
                      <a:lnTo>
                        <a:pt x="22" y="125"/>
                      </a:lnTo>
                      <a:lnTo>
                        <a:pt x="24" y="128"/>
                      </a:lnTo>
                      <a:lnTo>
                        <a:pt x="28" y="128"/>
                      </a:lnTo>
                      <a:lnTo>
                        <a:pt x="32" y="128"/>
                      </a:lnTo>
                      <a:lnTo>
                        <a:pt x="36" y="127"/>
                      </a:lnTo>
                      <a:lnTo>
                        <a:pt x="41" y="124"/>
                      </a:lnTo>
                      <a:lnTo>
                        <a:pt x="52" y="118"/>
                      </a:lnTo>
                      <a:lnTo>
                        <a:pt x="64" y="110"/>
                      </a:lnTo>
                      <a:lnTo>
                        <a:pt x="74" y="115"/>
                      </a:lnTo>
                      <a:lnTo>
                        <a:pt x="84" y="118"/>
                      </a:lnTo>
                      <a:lnTo>
                        <a:pt x="93" y="121"/>
                      </a:lnTo>
                      <a:lnTo>
                        <a:pt x="117" y="127"/>
                      </a:lnTo>
                      <a:lnTo>
                        <a:pt x="117" y="128"/>
                      </a:lnTo>
                      <a:lnTo>
                        <a:pt x="120" y="130"/>
                      </a:lnTo>
                      <a:lnTo>
                        <a:pt x="127" y="135"/>
                      </a:lnTo>
                      <a:lnTo>
                        <a:pt x="144" y="142"/>
                      </a:lnTo>
                      <a:lnTo>
                        <a:pt x="146" y="144"/>
                      </a:lnTo>
                      <a:lnTo>
                        <a:pt x="148" y="146"/>
                      </a:lnTo>
                      <a:lnTo>
                        <a:pt x="149" y="150"/>
                      </a:lnTo>
                      <a:lnTo>
                        <a:pt x="148" y="161"/>
                      </a:lnTo>
                      <a:lnTo>
                        <a:pt x="149" y="162"/>
                      </a:lnTo>
                      <a:lnTo>
                        <a:pt x="151" y="163"/>
                      </a:lnTo>
                      <a:lnTo>
                        <a:pt x="160" y="165"/>
                      </a:lnTo>
                      <a:lnTo>
                        <a:pt x="171" y="165"/>
                      </a:lnTo>
                      <a:lnTo>
                        <a:pt x="174" y="166"/>
                      </a:lnTo>
                      <a:lnTo>
                        <a:pt x="177" y="167"/>
                      </a:lnTo>
                      <a:lnTo>
                        <a:pt x="178" y="167"/>
                      </a:lnTo>
                      <a:lnTo>
                        <a:pt x="179" y="165"/>
                      </a:lnTo>
                      <a:lnTo>
                        <a:pt x="183" y="161"/>
                      </a:lnTo>
                      <a:lnTo>
                        <a:pt x="188" y="155"/>
                      </a:lnTo>
                      <a:lnTo>
                        <a:pt x="192" y="154"/>
                      </a:lnTo>
                      <a:lnTo>
                        <a:pt x="195" y="153"/>
                      </a:lnTo>
                      <a:lnTo>
                        <a:pt x="197" y="152"/>
                      </a:lnTo>
                      <a:lnTo>
                        <a:pt x="200" y="148"/>
                      </a:lnTo>
                      <a:lnTo>
                        <a:pt x="205" y="141"/>
                      </a:lnTo>
                      <a:lnTo>
                        <a:pt x="211" y="134"/>
                      </a:lnTo>
                      <a:lnTo>
                        <a:pt x="215" y="130"/>
                      </a:lnTo>
                      <a:lnTo>
                        <a:pt x="219" y="129"/>
                      </a:lnTo>
                      <a:lnTo>
                        <a:pt x="224" y="127"/>
                      </a:lnTo>
                      <a:lnTo>
                        <a:pt x="226" y="125"/>
                      </a:lnTo>
                      <a:lnTo>
                        <a:pt x="229" y="125"/>
                      </a:lnTo>
                      <a:lnTo>
                        <a:pt x="234" y="127"/>
                      </a:lnTo>
                      <a:lnTo>
                        <a:pt x="238" y="127"/>
                      </a:lnTo>
                      <a:lnTo>
                        <a:pt x="239" y="127"/>
                      </a:lnTo>
                      <a:lnTo>
                        <a:pt x="239" y="125"/>
                      </a:lnTo>
                      <a:lnTo>
                        <a:pt x="238" y="122"/>
                      </a:lnTo>
                      <a:lnTo>
                        <a:pt x="238" y="117"/>
                      </a:lnTo>
                      <a:lnTo>
                        <a:pt x="238" y="112"/>
                      </a:lnTo>
                      <a:lnTo>
                        <a:pt x="237" y="110"/>
                      </a:lnTo>
                      <a:lnTo>
                        <a:pt x="233" y="109"/>
                      </a:lnTo>
                      <a:lnTo>
                        <a:pt x="226" y="109"/>
                      </a:lnTo>
                      <a:lnTo>
                        <a:pt x="220" y="106"/>
                      </a:lnTo>
                      <a:lnTo>
                        <a:pt x="212" y="103"/>
                      </a:lnTo>
                      <a:lnTo>
                        <a:pt x="195" y="89"/>
                      </a:lnTo>
                      <a:lnTo>
                        <a:pt x="178" y="73"/>
                      </a:lnTo>
                      <a:lnTo>
                        <a:pt x="168" y="63"/>
                      </a:lnTo>
                      <a:lnTo>
                        <a:pt x="159" y="51"/>
                      </a:lnTo>
                      <a:lnTo>
                        <a:pt x="155" y="44"/>
                      </a:lnTo>
                      <a:lnTo>
                        <a:pt x="153" y="38"/>
                      </a:lnTo>
                      <a:lnTo>
                        <a:pt x="151" y="35"/>
                      </a:lnTo>
                      <a:lnTo>
                        <a:pt x="149" y="34"/>
                      </a:lnTo>
                      <a:lnTo>
                        <a:pt x="143" y="32"/>
                      </a:lnTo>
                      <a:lnTo>
                        <a:pt x="134" y="32"/>
                      </a:lnTo>
                      <a:lnTo>
                        <a:pt x="126" y="32"/>
                      </a:lnTo>
                      <a:lnTo>
                        <a:pt x="124" y="31"/>
                      </a:lnTo>
                      <a:lnTo>
                        <a:pt x="122" y="29"/>
                      </a:lnTo>
                      <a:lnTo>
                        <a:pt x="121" y="23"/>
                      </a:lnTo>
                      <a:lnTo>
                        <a:pt x="120" y="18"/>
                      </a:lnTo>
                      <a:lnTo>
                        <a:pt x="118" y="14"/>
                      </a:lnTo>
                      <a:lnTo>
                        <a:pt x="117" y="10"/>
                      </a:lnTo>
                      <a:lnTo>
                        <a:pt x="113" y="6"/>
                      </a:lnTo>
                      <a:lnTo>
                        <a:pt x="107" y="1"/>
                      </a:lnTo>
                      <a:lnTo>
                        <a:pt x="103" y="0"/>
                      </a:lnTo>
                      <a:lnTo>
                        <a:pt x="99" y="0"/>
                      </a:lnTo>
                      <a:lnTo>
                        <a:pt x="96" y="0"/>
                      </a:lnTo>
                      <a:lnTo>
                        <a:pt x="91" y="1"/>
                      </a:lnTo>
                      <a:lnTo>
                        <a:pt x="85" y="3"/>
                      </a:lnTo>
                      <a:lnTo>
                        <a:pt x="83" y="7"/>
                      </a:lnTo>
                      <a:lnTo>
                        <a:pt x="79" y="12"/>
                      </a:lnTo>
                      <a:lnTo>
                        <a:pt x="78" y="15"/>
                      </a:lnTo>
                      <a:lnTo>
                        <a:pt x="75" y="23"/>
                      </a:lnTo>
                      <a:lnTo>
                        <a:pt x="74" y="29"/>
                      </a:lnTo>
                      <a:lnTo>
                        <a:pt x="73" y="31"/>
                      </a:lnTo>
                      <a:lnTo>
                        <a:pt x="70" y="32"/>
                      </a:lnTo>
                      <a:lnTo>
                        <a:pt x="65" y="32"/>
                      </a:lnTo>
                      <a:lnTo>
                        <a:pt x="59" y="29"/>
                      </a:lnTo>
                      <a:lnTo>
                        <a:pt x="45"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3" name="Freeform 1312"/>
                <p:cNvSpPr>
                  <a:spLocks/>
                </p:cNvSpPr>
                <p:nvPr/>
              </p:nvSpPr>
              <p:spPr bwMode="auto">
                <a:xfrm>
                  <a:off x="4931934" y="3202124"/>
                  <a:ext cx="71034" cy="23678"/>
                </a:xfrm>
                <a:custGeom>
                  <a:avLst/>
                  <a:gdLst>
                    <a:gd name="T0" fmla="*/ 0 w 52"/>
                    <a:gd name="T1" fmla="*/ 2147483647 h 16"/>
                    <a:gd name="T2" fmla="*/ 0 w 52"/>
                    <a:gd name="T3" fmla="*/ 2147483647 h 16"/>
                    <a:gd name="T4" fmla="*/ 2147483647 w 52"/>
                    <a:gd name="T5" fmla="*/ 2147483647 h 16"/>
                    <a:gd name="T6" fmla="*/ 2147483647 w 52"/>
                    <a:gd name="T7" fmla="*/ 2147483647 h 16"/>
                    <a:gd name="T8" fmla="*/ 2147483647 w 52"/>
                    <a:gd name="T9" fmla="*/ 2147483647 h 16"/>
                    <a:gd name="T10" fmla="*/ 2147483647 w 52"/>
                    <a:gd name="T11" fmla="*/ 2147483647 h 16"/>
                    <a:gd name="T12" fmla="*/ 2147483647 w 52"/>
                    <a:gd name="T13" fmla="*/ 2147483647 h 16"/>
                    <a:gd name="T14" fmla="*/ 2147483647 w 52"/>
                    <a:gd name="T15" fmla="*/ 2147483647 h 16"/>
                    <a:gd name="T16" fmla="*/ 2147483647 w 52"/>
                    <a:gd name="T17" fmla="*/ 2147483647 h 16"/>
                    <a:gd name="T18" fmla="*/ 2147483647 w 52"/>
                    <a:gd name="T19" fmla="*/ 2147483647 h 16"/>
                    <a:gd name="T20" fmla="*/ 2147483647 w 52"/>
                    <a:gd name="T21" fmla="*/ 2147483647 h 16"/>
                    <a:gd name="T22" fmla="*/ 2147483647 w 52"/>
                    <a:gd name="T23" fmla="*/ 2147483647 h 16"/>
                    <a:gd name="T24" fmla="*/ 2147483647 w 52"/>
                    <a:gd name="T25" fmla="*/ 2147483647 h 16"/>
                    <a:gd name="T26" fmla="*/ 2147483647 w 52"/>
                    <a:gd name="T27" fmla="*/ 2147483647 h 16"/>
                    <a:gd name="T28" fmla="*/ 2147483647 w 52"/>
                    <a:gd name="T29" fmla="*/ 2147483647 h 16"/>
                    <a:gd name="T30" fmla="*/ 2147483647 w 52"/>
                    <a:gd name="T31" fmla="*/ 2147483647 h 16"/>
                    <a:gd name="T32" fmla="*/ 2147483647 w 52"/>
                    <a:gd name="T33" fmla="*/ 2147483647 h 16"/>
                    <a:gd name="T34" fmla="*/ 2147483647 w 52"/>
                    <a:gd name="T35" fmla="*/ 0 h 16"/>
                    <a:gd name="T36" fmla="*/ 2147483647 w 52"/>
                    <a:gd name="T37" fmla="*/ 2147483647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2"/>
                    <a:gd name="T58" fmla="*/ 0 h 16"/>
                    <a:gd name="T59" fmla="*/ 52 w 52"/>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2" h="16">
                      <a:moveTo>
                        <a:pt x="0" y="15"/>
                      </a:moveTo>
                      <a:lnTo>
                        <a:pt x="0" y="15"/>
                      </a:lnTo>
                      <a:lnTo>
                        <a:pt x="7" y="16"/>
                      </a:lnTo>
                      <a:lnTo>
                        <a:pt x="14" y="16"/>
                      </a:lnTo>
                      <a:lnTo>
                        <a:pt x="21" y="16"/>
                      </a:lnTo>
                      <a:lnTo>
                        <a:pt x="27" y="14"/>
                      </a:lnTo>
                      <a:lnTo>
                        <a:pt x="32" y="12"/>
                      </a:lnTo>
                      <a:lnTo>
                        <a:pt x="36" y="10"/>
                      </a:lnTo>
                      <a:lnTo>
                        <a:pt x="38" y="9"/>
                      </a:lnTo>
                      <a:lnTo>
                        <a:pt x="41" y="9"/>
                      </a:lnTo>
                      <a:lnTo>
                        <a:pt x="43" y="8"/>
                      </a:lnTo>
                      <a:lnTo>
                        <a:pt x="46" y="6"/>
                      </a:lnTo>
                      <a:lnTo>
                        <a:pt x="48" y="2"/>
                      </a:lnTo>
                      <a:lnTo>
                        <a:pt x="50" y="1"/>
                      </a:lnTo>
                      <a:lnTo>
                        <a:pt x="51" y="0"/>
                      </a:lnTo>
                      <a:lnTo>
                        <a:pt x="52" y="1"/>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4" name="Freeform 1313"/>
                <p:cNvSpPr>
                  <a:spLocks/>
                </p:cNvSpPr>
                <p:nvPr/>
              </p:nvSpPr>
              <p:spPr bwMode="auto">
                <a:xfrm>
                  <a:off x="4986689" y="3259840"/>
                  <a:ext cx="56235" cy="72514"/>
                </a:xfrm>
                <a:custGeom>
                  <a:avLst/>
                  <a:gdLst>
                    <a:gd name="T0" fmla="*/ 2147483647 w 41"/>
                    <a:gd name="T1" fmla="*/ 2147483647 h 49"/>
                    <a:gd name="T2" fmla="*/ 2147483647 w 41"/>
                    <a:gd name="T3" fmla="*/ 2147483647 h 49"/>
                    <a:gd name="T4" fmla="*/ 2147483647 w 41"/>
                    <a:gd name="T5" fmla="*/ 2147483647 h 49"/>
                    <a:gd name="T6" fmla="*/ 2147483647 w 41"/>
                    <a:gd name="T7" fmla="*/ 2147483647 h 49"/>
                    <a:gd name="T8" fmla="*/ 2147483647 w 41"/>
                    <a:gd name="T9" fmla="*/ 2147483647 h 49"/>
                    <a:gd name="T10" fmla="*/ 2147483647 w 41"/>
                    <a:gd name="T11" fmla="*/ 2147483647 h 49"/>
                    <a:gd name="T12" fmla="*/ 2147483647 w 41"/>
                    <a:gd name="T13" fmla="*/ 2147483647 h 49"/>
                    <a:gd name="T14" fmla="*/ 2147483647 w 41"/>
                    <a:gd name="T15" fmla="*/ 2147483647 h 49"/>
                    <a:gd name="T16" fmla="*/ 2147483647 w 41"/>
                    <a:gd name="T17" fmla="*/ 2147483647 h 49"/>
                    <a:gd name="T18" fmla="*/ 2147483647 w 41"/>
                    <a:gd name="T19" fmla="*/ 2147483647 h 49"/>
                    <a:gd name="T20" fmla="*/ 2147483647 w 41"/>
                    <a:gd name="T21" fmla="*/ 0 h 49"/>
                    <a:gd name="T22" fmla="*/ 2147483647 w 41"/>
                    <a:gd name="T23" fmla="*/ 0 h 49"/>
                    <a:gd name="T24" fmla="*/ 2147483647 w 41"/>
                    <a:gd name="T25" fmla="*/ 0 h 49"/>
                    <a:gd name="T26" fmla="*/ 2147483647 w 41"/>
                    <a:gd name="T27" fmla="*/ 0 h 49"/>
                    <a:gd name="T28" fmla="*/ 2147483647 w 41"/>
                    <a:gd name="T29" fmla="*/ 2147483647 h 49"/>
                    <a:gd name="T30" fmla="*/ 2147483647 w 41"/>
                    <a:gd name="T31" fmla="*/ 2147483647 h 49"/>
                    <a:gd name="T32" fmla="*/ 2147483647 w 41"/>
                    <a:gd name="T33" fmla="*/ 2147483647 h 49"/>
                    <a:gd name="T34" fmla="*/ 2147483647 w 41"/>
                    <a:gd name="T35" fmla="*/ 2147483647 h 49"/>
                    <a:gd name="T36" fmla="*/ 2147483647 w 41"/>
                    <a:gd name="T37" fmla="*/ 2147483647 h 49"/>
                    <a:gd name="T38" fmla="*/ 2147483647 w 41"/>
                    <a:gd name="T39" fmla="*/ 2147483647 h 49"/>
                    <a:gd name="T40" fmla="*/ 0 w 41"/>
                    <a:gd name="T41" fmla="*/ 2147483647 h 49"/>
                    <a:gd name="T42" fmla="*/ 2147483647 w 41"/>
                    <a:gd name="T43" fmla="*/ 2147483647 h 49"/>
                    <a:gd name="T44" fmla="*/ 2147483647 w 41"/>
                    <a:gd name="T45" fmla="*/ 2147483647 h 49"/>
                    <a:gd name="T46" fmla="*/ 2147483647 w 41"/>
                    <a:gd name="T47" fmla="*/ 2147483647 h 49"/>
                    <a:gd name="T48" fmla="*/ 2147483647 w 41"/>
                    <a:gd name="T49" fmla="*/ 2147483647 h 49"/>
                    <a:gd name="T50" fmla="*/ 2147483647 w 41"/>
                    <a:gd name="T51" fmla="*/ 2147483647 h 49"/>
                    <a:gd name="T52" fmla="*/ 2147483647 w 41"/>
                    <a:gd name="T53" fmla="*/ 2147483647 h 49"/>
                    <a:gd name="T54" fmla="*/ 2147483647 w 41"/>
                    <a:gd name="T55" fmla="*/ 2147483647 h 49"/>
                    <a:gd name="T56" fmla="*/ 2147483647 w 41"/>
                    <a:gd name="T57" fmla="*/ 2147483647 h 49"/>
                    <a:gd name="T58" fmla="*/ 2147483647 w 41"/>
                    <a:gd name="T59" fmla="*/ 2147483647 h 49"/>
                    <a:gd name="T60" fmla="*/ 2147483647 w 41"/>
                    <a:gd name="T61" fmla="*/ 2147483647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
                    <a:gd name="T94" fmla="*/ 0 h 49"/>
                    <a:gd name="T95" fmla="*/ 41 w 41"/>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 h="49">
                      <a:moveTo>
                        <a:pt x="41" y="8"/>
                      </a:moveTo>
                      <a:lnTo>
                        <a:pt x="41" y="8"/>
                      </a:lnTo>
                      <a:lnTo>
                        <a:pt x="39" y="8"/>
                      </a:lnTo>
                      <a:lnTo>
                        <a:pt x="31" y="7"/>
                      </a:lnTo>
                      <a:lnTo>
                        <a:pt x="29" y="6"/>
                      </a:lnTo>
                      <a:lnTo>
                        <a:pt x="26" y="5"/>
                      </a:lnTo>
                      <a:lnTo>
                        <a:pt x="22" y="1"/>
                      </a:lnTo>
                      <a:lnTo>
                        <a:pt x="20" y="1"/>
                      </a:lnTo>
                      <a:lnTo>
                        <a:pt x="16" y="0"/>
                      </a:lnTo>
                      <a:lnTo>
                        <a:pt x="8" y="0"/>
                      </a:lnTo>
                      <a:lnTo>
                        <a:pt x="7" y="0"/>
                      </a:lnTo>
                      <a:lnTo>
                        <a:pt x="7" y="1"/>
                      </a:lnTo>
                      <a:lnTo>
                        <a:pt x="7" y="2"/>
                      </a:lnTo>
                      <a:lnTo>
                        <a:pt x="6" y="2"/>
                      </a:lnTo>
                      <a:lnTo>
                        <a:pt x="3" y="2"/>
                      </a:lnTo>
                      <a:lnTo>
                        <a:pt x="1" y="4"/>
                      </a:lnTo>
                      <a:lnTo>
                        <a:pt x="0" y="5"/>
                      </a:lnTo>
                      <a:lnTo>
                        <a:pt x="1" y="8"/>
                      </a:lnTo>
                      <a:lnTo>
                        <a:pt x="7" y="13"/>
                      </a:lnTo>
                      <a:lnTo>
                        <a:pt x="14" y="18"/>
                      </a:lnTo>
                      <a:lnTo>
                        <a:pt x="17" y="21"/>
                      </a:lnTo>
                      <a:lnTo>
                        <a:pt x="24" y="27"/>
                      </a:lnTo>
                      <a:lnTo>
                        <a:pt x="31" y="36"/>
                      </a:lnTo>
                      <a:lnTo>
                        <a:pt x="41" y="49"/>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5" name="Freeform 1315"/>
                <p:cNvSpPr>
                  <a:spLocks/>
                </p:cNvSpPr>
                <p:nvPr/>
              </p:nvSpPr>
              <p:spPr bwMode="auto">
                <a:xfrm>
                  <a:off x="5047363" y="3314593"/>
                  <a:ext cx="23678" cy="29598"/>
                </a:xfrm>
                <a:custGeom>
                  <a:avLst/>
                  <a:gdLst>
                    <a:gd name="T0" fmla="*/ 2147483647 w 18"/>
                    <a:gd name="T1" fmla="*/ 0 h 20"/>
                    <a:gd name="T2" fmla="*/ 2147483647 w 18"/>
                    <a:gd name="T3" fmla="*/ 2147483647 h 20"/>
                    <a:gd name="T4" fmla="*/ 2147483647 w 18"/>
                    <a:gd name="T5" fmla="*/ 2147483647 h 20"/>
                    <a:gd name="T6" fmla="*/ 2147483647 w 18"/>
                    <a:gd name="T7" fmla="*/ 2147483647 h 20"/>
                    <a:gd name="T8" fmla="*/ 2147483647 w 18"/>
                    <a:gd name="T9" fmla="*/ 2147483647 h 20"/>
                    <a:gd name="T10" fmla="*/ 2147483647 w 18"/>
                    <a:gd name="T11" fmla="*/ 2147483647 h 20"/>
                    <a:gd name="T12" fmla="*/ 0 w 18"/>
                    <a:gd name="T13" fmla="*/ 2147483647 h 20"/>
                    <a:gd name="T14" fmla="*/ 0 60000 65536"/>
                    <a:gd name="T15" fmla="*/ 0 60000 65536"/>
                    <a:gd name="T16" fmla="*/ 0 60000 65536"/>
                    <a:gd name="T17" fmla="*/ 0 60000 65536"/>
                    <a:gd name="T18" fmla="*/ 0 60000 65536"/>
                    <a:gd name="T19" fmla="*/ 0 60000 65536"/>
                    <a:gd name="T20" fmla="*/ 0 60000 65536"/>
                    <a:gd name="T21" fmla="*/ 0 w 18"/>
                    <a:gd name="T22" fmla="*/ 0 h 20"/>
                    <a:gd name="T23" fmla="*/ 18 w 18"/>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0">
                      <a:moveTo>
                        <a:pt x="18" y="0"/>
                      </a:moveTo>
                      <a:lnTo>
                        <a:pt x="18" y="4"/>
                      </a:lnTo>
                      <a:lnTo>
                        <a:pt x="10" y="7"/>
                      </a:lnTo>
                      <a:lnTo>
                        <a:pt x="5" y="12"/>
                      </a:lnTo>
                      <a:lnTo>
                        <a:pt x="3" y="15"/>
                      </a:lnTo>
                      <a:lnTo>
                        <a:pt x="0" y="2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6" name="Freeform 1316"/>
                <p:cNvSpPr>
                  <a:spLocks/>
                </p:cNvSpPr>
                <p:nvPr/>
              </p:nvSpPr>
              <p:spPr bwMode="auto">
                <a:xfrm>
                  <a:off x="5100638" y="3319034"/>
                  <a:ext cx="54756" cy="23678"/>
                </a:xfrm>
                <a:custGeom>
                  <a:avLst/>
                  <a:gdLst>
                    <a:gd name="T0" fmla="*/ 0 w 40"/>
                    <a:gd name="T1" fmla="*/ 2147483647 h 16"/>
                    <a:gd name="T2" fmla="*/ 0 w 40"/>
                    <a:gd name="T3" fmla="*/ 2147483647 h 16"/>
                    <a:gd name="T4" fmla="*/ 2147483647 w 40"/>
                    <a:gd name="T5" fmla="*/ 2147483647 h 16"/>
                    <a:gd name="T6" fmla="*/ 2147483647 w 40"/>
                    <a:gd name="T7" fmla="*/ 2147483647 h 16"/>
                    <a:gd name="T8" fmla="*/ 2147483647 w 40"/>
                    <a:gd name="T9" fmla="*/ 2147483647 h 16"/>
                    <a:gd name="T10" fmla="*/ 2147483647 w 40"/>
                    <a:gd name="T11" fmla="*/ 2147483647 h 16"/>
                    <a:gd name="T12" fmla="*/ 2147483647 w 40"/>
                    <a:gd name="T13" fmla="*/ 0 h 16"/>
                    <a:gd name="T14" fmla="*/ 2147483647 w 40"/>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16"/>
                    <a:gd name="T26" fmla="*/ 40 w 4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16">
                      <a:moveTo>
                        <a:pt x="0" y="16"/>
                      </a:moveTo>
                      <a:lnTo>
                        <a:pt x="0" y="16"/>
                      </a:lnTo>
                      <a:lnTo>
                        <a:pt x="3" y="13"/>
                      </a:lnTo>
                      <a:lnTo>
                        <a:pt x="11" y="6"/>
                      </a:lnTo>
                      <a:lnTo>
                        <a:pt x="16" y="4"/>
                      </a:lnTo>
                      <a:lnTo>
                        <a:pt x="23" y="1"/>
                      </a:lnTo>
                      <a:lnTo>
                        <a:pt x="31" y="0"/>
                      </a:lnTo>
                      <a:lnTo>
                        <a:pt x="40" y="1"/>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7" name="Freeform 1317"/>
                <p:cNvSpPr>
                  <a:spLocks/>
                </p:cNvSpPr>
                <p:nvPr/>
              </p:nvSpPr>
              <p:spPr bwMode="auto">
                <a:xfrm>
                  <a:off x="5034044" y="3219882"/>
                  <a:ext cx="53275" cy="118390"/>
                </a:xfrm>
                <a:custGeom>
                  <a:avLst/>
                  <a:gdLst>
                    <a:gd name="T0" fmla="*/ 2147483647 w 39"/>
                    <a:gd name="T1" fmla="*/ 2147483647 h 80"/>
                    <a:gd name="T2" fmla="*/ 2147483647 w 39"/>
                    <a:gd name="T3" fmla="*/ 2147483647 h 80"/>
                    <a:gd name="T4" fmla="*/ 2147483647 w 39"/>
                    <a:gd name="T5" fmla="*/ 2147483647 h 80"/>
                    <a:gd name="T6" fmla="*/ 2147483647 w 39"/>
                    <a:gd name="T7" fmla="*/ 2147483647 h 80"/>
                    <a:gd name="T8" fmla="*/ 2147483647 w 39"/>
                    <a:gd name="T9" fmla="*/ 2147483647 h 80"/>
                    <a:gd name="T10" fmla="*/ 2147483647 w 39"/>
                    <a:gd name="T11" fmla="*/ 2147483647 h 80"/>
                    <a:gd name="T12" fmla="*/ 2147483647 w 39"/>
                    <a:gd name="T13" fmla="*/ 2147483647 h 80"/>
                    <a:gd name="T14" fmla="*/ 2147483647 w 39"/>
                    <a:gd name="T15" fmla="*/ 2147483647 h 80"/>
                    <a:gd name="T16" fmla="*/ 2147483647 w 39"/>
                    <a:gd name="T17" fmla="*/ 2147483647 h 80"/>
                    <a:gd name="T18" fmla="*/ 2147483647 w 39"/>
                    <a:gd name="T19" fmla="*/ 2147483647 h 80"/>
                    <a:gd name="T20" fmla="*/ 2147483647 w 39"/>
                    <a:gd name="T21" fmla="*/ 2147483647 h 80"/>
                    <a:gd name="T22" fmla="*/ 2147483647 w 39"/>
                    <a:gd name="T23" fmla="*/ 2147483647 h 80"/>
                    <a:gd name="T24" fmla="*/ 2147483647 w 39"/>
                    <a:gd name="T25" fmla="*/ 2147483647 h 80"/>
                    <a:gd name="T26" fmla="*/ 2147483647 w 39"/>
                    <a:gd name="T27" fmla="*/ 2147483647 h 80"/>
                    <a:gd name="T28" fmla="*/ 2147483647 w 39"/>
                    <a:gd name="T29" fmla="*/ 2147483647 h 80"/>
                    <a:gd name="T30" fmla="*/ 2147483647 w 39"/>
                    <a:gd name="T31" fmla="*/ 2147483647 h 80"/>
                    <a:gd name="T32" fmla="*/ 2147483647 w 39"/>
                    <a:gd name="T33" fmla="*/ 2147483647 h 80"/>
                    <a:gd name="T34" fmla="*/ 2147483647 w 39"/>
                    <a:gd name="T35" fmla="*/ 2147483647 h 80"/>
                    <a:gd name="T36" fmla="*/ 2147483647 w 39"/>
                    <a:gd name="T37" fmla="*/ 2147483647 h 80"/>
                    <a:gd name="T38" fmla="*/ 2147483647 w 39"/>
                    <a:gd name="T39" fmla="*/ 2147483647 h 80"/>
                    <a:gd name="T40" fmla="*/ 2147483647 w 39"/>
                    <a:gd name="T41" fmla="*/ 2147483647 h 80"/>
                    <a:gd name="T42" fmla="*/ 2147483647 w 39"/>
                    <a:gd name="T43" fmla="*/ 2147483647 h 80"/>
                    <a:gd name="T44" fmla="*/ 2147483647 w 39"/>
                    <a:gd name="T45" fmla="*/ 2147483647 h 80"/>
                    <a:gd name="T46" fmla="*/ 2147483647 w 39"/>
                    <a:gd name="T47" fmla="*/ 2147483647 h 80"/>
                    <a:gd name="T48" fmla="*/ 2147483647 w 39"/>
                    <a:gd name="T49" fmla="*/ 2147483647 h 80"/>
                    <a:gd name="T50" fmla="*/ 2147483647 w 39"/>
                    <a:gd name="T51" fmla="*/ 2147483647 h 80"/>
                    <a:gd name="T52" fmla="*/ 2147483647 w 39"/>
                    <a:gd name="T53" fmla="*/ 2147483647 h 80"/>
                    <a:gd name="T54" fmla="*/ 2147483647 w 39"/>
                    <a:gd name="T55" fmla="*/ 2147483647 h 80"/>
                    <a:gd name="T56" fmla="*/ 2147483647 w 39"/>
                    <a:gd name="T57" fmla="*/ 2147483647 h 80"/>
                    <a:gd name="T58" fmla="*/ 2147483647 w 39"/>
                    <a:gd name="T59" fmla="*/ 2147483647 h 80"/>
                    <a:gd name="T60" fmla="*/ 2147483647 w 39"/>
                    <a:gd name="T61" fmla="*/ 2147483647 h 80"/>
                    <a:gd name="T62" fmla="*/ 2147483647 w 39"/>
                    <a:gd name="T63" fmla="*/ 2147483647 h 80"/>
                    <a:gd name="T64" fmla="*/ 2147483647 w 39"/>
                    <a:gd name="T65" fmla="*/ 2147483647 h 80"/>
                    <a:gd name="T66" fmla="*/ 2147483647 w 39"/>
                    <a:gd name="T67" fmla="*/ 2147483647 h 80"/>
                    <a:gd name="T68" fmla="*/ 2147483647 w 39"/>
                    <a:gd name="T69" fmla="*/ 2147483647 h 80"/>
                    <a:gd name="T70" fmla="*/ 2147483647 w 39"/>
                    <a:gd name="T71" fmla="*/ 2147483647 h 80"/>
                    <a:gd name="T72" fmla="*/ 2147483647 w 39"/>
                    <a:gd name="T73" fmla="*/ 2147483647 h 80"/>
                    <a:gd name="T74" fmla="*/ 0 w 39"/>
                    <a:gd name="T75" fmla="*/ 0 h 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
                    <a:gd name="T115" fmla="*/ 0 h 80"/>
                    <a:gd name="T116" fmla="*/ 39 w 39"/>
                    <a:gd name="T117" fmla="*/ 80 h 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 h="80">
                      <a:moveTo>
                        <a:pt x="39" y="80"/>
                      </a:moveTo>
                      <a:lnTo>
                        <a:pt x="39" y="80"/>
                      </a:lnTo>
                      <a:lnTo>
                        <a:pt x="39" y="78"/>
                      </a:lnTo>
                      <a:lnTo>
                        <a:pt x="39" y="74"/>
                      </a:lnTo>
                      <a:lnTo>
                        <a:pt x="37" y="72"/>
                      </a:lnTo>
                      <a:lnTo>
                        <a:pt x="34" y="68"/>
                      </a:lnTo>
                      <a:lnTo>
                        <a:pt x="28" y="65"/>
                      </a:lnTo>
                      <a:lnTo>
                        <a:pt x="27" y="63"/>
                      </a:lnTo>
                      <a:lnTo>
                        <a:pt x="27" y="61"/>
                      </a:lnTo>
                      <a:lnTo>
                        <a:pt x="29" y="60"/>
                      </a:lnTo>
                      <a:lnTo>
                        <a:pt x="29" y="58"/>
                      </a:lnTo>
                      <a:lnTo>
                        <a:pt x="29" y="57"/>
                      </a:lnTo>
                      <a:lnTo>
                        <a:pt x="26" y="57"/>
                      </a:lnTo>
                      <a:lnTo>
                        <a:pt x="22" y="55"/>
                      </a:lnTo>
                      <a:lnTo>
                        <a:pt x="19" y="54"/>
                      </a:lnTo>
                      <a:lnTo>
                        <a:pt x="17" y="51"/>
                      </a:lnTo>
                      <a:lnTo>
                        <a:pt x="15" y="46"/>
                      </a:lnTo>
                      <a:lnTo>
                        <a:pt x="13" y="42"/>
                      </a:lnTo>
                      <a:lnTo>
                        <a:pt x="10" y="40"/>
                      </a:lnTo>
                      <a:lnTo>
                        <a:pt x="8" y="39"/>
                      </a:lnTo>
                      <a:lnTo>
                        <a:pt x="6" y="36"/>
                      </a:lnTo>
                      <a:lnTo>
                        <a:pt x="8" y="33"/>
                      </a:lnTo>
                      <a:lnTo>
                        <a:pt x="10" y="32"/>
                      </a:lnTo>
                      <a:lnTo>
                        <a:pt x="14" y="31"/>
                      </a:lnTo>
                      <a:lnTo>
                        <a:pt x="15" y="28"/>
                      </a:lnTo>
                      <a:lnTo>
                        <a:pt x="15" y="27"/>
                      </a:lnTo>
                      <a:lnTo>
                        <a:pt x="14" y="26"/>
                      </a:lnTo>
                      <a:lnTo>
                        <a:pt x="10" y="23"/>
                      </a:lnTo>
                      <a:lnTo>
                        <a:pt x="8" y="22"/>
                      </a:lnTo>
                      <a:lnTo>
                        <a:pt x="5" y="19"/>
                      </a:lnTo>
                      <a:lnTo>
                        <a:pt x="1" y="10"/>
                      </a:lnTo>
                      <a:lnTo>
                        <a:pt x="0"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8" name="Freeform 1318"/>
                <p:cNvSpPr>
                  <a:spLocks/>
                </p:cNvSpPr>
                <p:nvPr/>
              </p:nvSpPr>
              <p:spPr bwMode="auto">
                <a:xfrm>
                  <a:off x="5103599" y="3145891"/>
                  <a:ext cx="220501" cy="146508"/>
                </a:xfrm>
                <a:custGeom>
                  <a:avLst/>
                  <a:gdLst>
                    <a:gd name="T0" fmla="*/ 2147483647 w 162"/>
                    <a:gd name="T1" fmla="*/ 2147483647 h 99"/>
                    <a:gd name="T2" fmla="*/ 2147483647 w 162"/>
                    <a:gd name="T3" fmla="*/ 2147483647 h 99"/>
                    <a:gd name="T4" fmla="*/ 2147483647 w 162"/>
                    <a:gd name="T5" fmla="*/ 2147483647 h 99"/>
                    <a:gd name="T6" fmla="*/ 2147483647 w 162"/>
                    <a:gd name="T7" fmla="*/ 2147483647 h 99"/>
                    <a:gd name="T8" fmla="*/ 2147483647 w 162"/>
                    <a:gd name="T9" fmla="*/ 2147483647 h 99"/>
                    <a:gd name="T10" fmla="*/ 2147483647 w 162"/>
                    <a:gd name="T11" fmla="*/ 2147483647 h 99"/>
                    <a:gd name="T12" fmla="*/ 2147483647 w 162"/>
                    <a:gd name="T13" fmla="*/ 2147483647 h 99"/>
                    <a:gd name="T14" fmla="*/ 2147483647 w 162"/>
                    <a:gd name="T15" fmla="*/ 2147483647 h 99"/>
                    <a:gd name="T16" fmla="*/ 2147483647 w 162"/>
                    <a:gd name="T17" fmla="*/ 2147483647 h 99"/>
                    <a:gd name="T18" fmla="*/ 2147483647 w 162"/>
                    <a:gd name="T19" fmla="*/ 2147483647 h 99"/>
                    <a:gd name="T20" fmla="*/ 2147483647 w 162"/>
                    <a:gd name="T21" fmla="*/ 2147483647 h 99"/>
                    <a:gd name="T22" fmla="*/ 2147483647 w 162"/>
                    <a:gd name="T23" fmla="*/ 2147483647 h 99"/>
                    <a:gd name="T24" fmla="*/ 2147483647 w 162"/>
                    <a:gd name="T25" fmla="*/ 2147483647 h 99"/>
                    <a:gd name="T26" fmla="*/ 2147483647 w 162"/>
                    <a:gd name="T27" fmla="*/ 2147483647 h 99"/>
                    <a:gd name="T28" fmla="*/ 2147483647 w 162"/>
                    <a:gd name="T29" fmla="*/ 2147483647 h 99"/>
                    <a:gd name="T30" fmla="*/ 2147483647 w 162"/>
                    <a:gd name="T31" fmla="*/ 2147483647 h 99"/>
                    <a:gd name="T32" fmla="*/ 2147483647 w 162"/>
                    <a:gd name="T33" fmla="*/ 2147483647 h 99"/>
                    <a:gd name="T34" fmla="*/ 0 w 162"/>
                    <a:gd name="T35" fmla="*/ 2147483647 h 99"/>
                    <a:gd name="T36" fmla="*/ 2147483647 w 162"/>
                    <a:gd name="T37" fmla="*/ 2147483647 h 99"/>
                    <a:gd name="T38" fmla="*/ 2147483647 w 162"/>
                    <a:gd name="T39" fmla="*/ 2147483647 h 99"/>
                    <a:gd name="T40" fmla="*/ 2147483647 w 162"/>
                    <a:gd name="T41" fmla="*/ 2147483647 h 99"/>
                    <a:gd name="T42" fmla="*/ 2147483647 w 162"/>
                    <a:gd name="T43" fmla="*/ 2147483647 h 99"/>
                    <a:gd name="T44" fmla="*/ 2147483647 w 162"/>
                    <a:gd name="T45" fmla="*/ 2147483647 h 99"/>
                    <a:gd name="T46" fmla="*/ 2147483647 w 162"/>
                    <a:gd name="T47" fmla="*/ 2147483647 h 99"/>
                    <a:gd name="T48" fmla="*/ 2147483647 w 162"/>
                    <a:gd name="T49" fmla="*/ 2147483647 h 99"/>
                    <a:gd name="T50" fmla="*/ 2147483647 w 162"/>
                    <a:gd name="T51" fmla="*/ 2147483647 h 99"/>
                    <a:gd name="T52" fmla="*/ 2147483647 w 162"/>
                    <a:gd name="T53" fmla="*/ 2147483647 h 99"/>
                    <a:gd name="T54" fmla="*/ 2147483647 w 162"/>
                    <a:gd name="T55" fmla="*/ 2147483647 h 99"/>
                    <a:gd name="T56" fmla="*/ 2147483647 w 162"/>
                    <a:gd name="T57" fmla="*/ 2147483647 h 99"/>
                    <a:gd name="T58" fmla="*/ 2147483647 w 162"/>
                    <a:gd name="T59" fmla="*/ 2147483647 h 99"/>
                    <a:gd name="T60" fmla="*/ 2147483647 w 162"/>
                    <a:gd name="T61" fmla="*/ 2147483647 h 99"/>
                    <a:gd name="T62" fmla="*/ 2147483647 w 162"/>
                    <a:gd name="T63" fmla="*/ 2147483647 h 99"/>
                    <a:gd name="T64" fmla="*/ 2147483647 w 162"/>
                    <a:gd name="T65" fmla="*/ 0 h 99"/>
                    <a:gd name="T66" fmla="*/ 2147483647 w 162"/>
                    <a:gd name="T67" fmla="*/ 2147483647 h 99"/>
                    <a:gd name="T68" fmla="*/ 2147483647 w 162"/>
                    <a:gd name="T69" fmla="*/ 2147483647 h 99"/>
                    <a:gd name="T70" fmla="*/ 2147483647 w 162"/>
                    <a:gd name="T71" fmla="*/ 2147483647 h 99"/>
                    <a:gd name="T72" fmla="*/ 2147483647 w 162"/>
                    <a:gd name="T73" fmla="*/ 2147483647 h 99"/>
                    <a:gd name="T74" fmla="*/ 2147483647 w 162"/>
                    <a:gd name="T75" fmla="*/ 2147483647 h 99"/>
                    <a:gd name="T76" fmla="*/ 2147483647 w 162"/>
                    <a:gd name="T77" fmla="*/ 2147483647 h 99"/>
                    <a:gd name="T78" fmla="*/ 2147483647 w 162"/>
                    <a:gd name="T79" fmla="*/ 2147483647 h 99"/>
                    <a:gd name="T80" fmla="*/ 2147483647 w 162"/>
                    <a:gd name="T81" fmla="*/ 2147483647 h 99"/>
                    <a:gd name="T82" fmla="*/ 2147483647 w 162"/>
                    <a:gd name="T83" fmla="*/ 2147483647 h 99"/>
                    <a:gd name="T84" fmla="*/ 2147483647 w 162"/>
                    <a:gd name="T85" fmla="*/ 2147483647 h 99"/>
                    <a:gd name="T86" fmla="*/ 2147483647 w 162"/>
                    <a:gd name="T87" fmla="*/ 2147483647 h 99"/>
                    <a:gd name="T88" fmla="*/ 2147483647 w 162"/>
                    <a:gd name="T89" fmla="*/ 2147483647 h 99"/>
                    <a:gd name="T90" fmla="*/ 2147483647 w 162"/>
                    <a:gd name="T91" fmla="*/ 2147483647 h 99"/>
                    <a:gd name="T92" fmla="*/ 2147483647 w 162"/>
                    <a:gd name="T93" fmla="*/ 2147483647 h 99"/>
                    <a:gd name="T94" fmla="*/ 2147483647 w 162"/>
                    <a:gd name="T95" fmla="*/ 2147483647 h 99"/>
                    <a:gd name="T96" fmla="*/ 2147483647 w 162"/>
                    <a:gd name="T97" fmla="*/ 2147483647 h 99"/>
                    <a:gd name="T98" fmla="*/ 2147483647 w 162"/>
                    <a:gd name="T99" fmla="*/ 2147483647 h 9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2"/>
                    <a:gd name="T151" fmla="*/ 0 h 99"/>
                    <a:gd name="T152" fmla="*/ 162 w 162"/>
                    <a:gd name="T153" fmla="*/ 99 h 9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2" h="99">
                      <a:moveTo>
                        <a:pt x="143" y="97"/>
                      </a:moveTo>
                      <a:lnTo>
                        <a:pt x="137" y="98"/>
                      </a:lnTo>
                      <a:lnTo>
                        <a:pt x="132" y="99"/>
                      </a:lnTo>
                      <a:lnTo>
                        <a:pt x="127" y="98"/>
                      </a:lnTo>
                      <a:lnTo>
                        <a:pt x="122" y="97"/>
                      </a:lnTo>
                      <a:lnTo>
                        <a:pt x="110" y="92"/>
                      </a:lnTo>
                      <a:lnTo>
                        <a:pt x="105" y="91"/>
                      </a:lnTo>
                      <a:lnTo>
                        <a:pt x="100" y="90"/>
                      </a:lnTo>
                      <a:lnTo>
                        <a:pt x="97" y="90"/>
                      </a:lnTo>
                      <a:lnTo>
                        <a:pt x="95" y="91"/>
                      </a:lnTo>
                      <a:lnTo>
                        <a:pt x="91" y="94"/>
                      </a:lnTo>
                      <a:lnTo>
                        <a:pt x="87" y="97"/>
                      </a:lnTo>
                      <a:lnTo>
                        <a:pt x="83" y="99"/>
                      </a:lnTo>
                      <a:lnTo>
                        <a:pt x="80" y="98"/>
                      </a:lnTo>
                      <a:lnTo>
                        <a:pt x="76" y="98"/>
                      </a:lnTo>
                      <a:lnTo>
                        <a:pt x="66" y="99"/>
                      </a:lnTo>
                      <a:lnTo>
                        <a:pt x="56" y="98"/>
                      </a:lnTo>
                      <a:lnTo>
                        <a:pt x="52" y="97"/>
                      </a:lnTo>
                      <a:lnTo>
                        <a:pt x="47" y="95"/>
                      </a:lnTo>
                      <a:lnTo>
                        <a:pt x="43" y="91"/>
                      </a:lnTo>
                      <a:lnTo>
                        <a:pt x="40" y="86"/>
                      </a:lnTo>
                      <a:lnTo>
                        <a:pt x="40" y="83"/>
                      </a:lnTo>
                      <a:lnTo>
                        <a:pt x="39" y="79"/>
                      </a:lnTo>
                      <a:lnTo>
                        <a:pt x="36" y="78"/>
                      </a:lnTo>
                      <a:lnTo>
                        <a:pt x="34" y="77"/>
                      </a:lnTo>
                      <a:lnTo>
                        <a:pt x="26" y="75"/>
                      </a:lnTo>
                      <a:lnTo>
                        <a:pt x="24" y="73"/>
                      </a:lnTo>
                      <a:lnTo>
                        <a:pt x="21" y="72"/>
                      </a:lnTo>
                      <a:lnTo>
                        <a:pt x="20" y="70"/>
                      </a:lnTo>
                      <a:lnTo>
                        <a:pt x="20" y="66"/>
                      </a:lnTo>
                      <a:lnTo>
                        <a:pt x="16" y="64"/>
                      </a:lnTo>
                      <a:lnTo>
                        <a:pt x="15" y="63"/>
                      </a:lnTo>
                      <a:lnTo>
                        <a:pt x="14" y="62"/>
                      </a:lnTo>
                      <a:lnTo>
                        <a:pt x="11" y="57"/>
                      </a:lnTo>
                      <a:lnTo>
                        <a:pt x="7" y="52"/>
                      </a:lnTo>
                      <a:lnTo>
                        <a:pt x="0" y="44"/>
                      </a:lnTo>
                      <a:lnTo>
                        <a:pt x="9" y="43"/>
                      </a:lnTo>
                      <a:lnTo>
                        <a:pt x="12" y="43"/>
                      </a:lnTo>
                      <a:lnTo>
                        <a:pt x="17" y="45"/>
                      </a:lnTo>
                      <a:lnTo>
                        <a:pt x="20" y="45"/>
                      </a:lnTo>
                      <a:lnTo>
                        <a:pt x="21" y="44"/>
                      </a:lnTo>
                      <a:lnTo>
                        <a:pt x="22" y="43"/>
                      </a:lnTo>
                      <a:lnTo>
                        <a:pt x="22" y="41"/>
                      </a:lnTo>
                      <a:lnTo>
                        <a:pt x="22" y="39"/>
                      </a:lnTo>
                      <a:lnTo>
                        <a:pt x="24" y="38"/>
                      </a:lnTo>
                      <a:lnTo>
                        <a:pt x="25" y="35"/>
                      </a:lnTo>
                      <a:lnTo>
                        <a:pt x="25" y="32"/>
                      </a:lnTo>
                      <a:lnTo>
                        <a:pt x="36" y="20"/>
                      </a:lnTo>
                      <a:lnTo>
                        <a:pt x="42" y="13"/>
                      </a:lnTo>
                      <a:lnTo>
                        <a:pt x="45" y="6"/>
                      </a:lnTo>
                      <a:lnTo>
                        <a:pt x="47" y="5"/>
                      </a:lnTo>
                      <a:lnTo>
                        <a:pt x="48" y="5"/>
                      </a:lnTo>
                      <a:lnTo>
                        <a:pt x="50" y="5"/>
                      </a:lnTo>
                      <a:lnTo>
                        <a:pt x="53" y="5"/>
                      </a:lnTo>
                      <a:lnTo>
                        <a:pt x="57" y="5"/>
                      </a:lnTo>
                      <a:lnTo>
                        <a:pt x="61" y="5"/>
                      </a:lnTo>
                      <a:lnTo>
                        <a:pt x="64" y="3"/>
                      </a:lnTo>
                      <a:lnTo>
                        <a:pt x="68" y="3"/>
                      </a:lnTo>
                      <a:lnTo>
                        <a:pt x="72" y="6"/>
                      </a:lnTo>
                      <a:lnTo>
                        <a:pt x="76" y="8"/>
                      </a:lnTo>
                      <a:lnTo>
                        <a:pt x="80" y="9"/>
                      </a:lnTo>
                      <a:lnTo>
                        <a:pt x="81" y="9"/>
                      </a:lnTo>
                      <a:lnTo>
                        <a:pt x="83" y="8"/>
                      </a:lnTo>
                      <a:lnTo>
                        <a:pt x="87" y="5"/>
                      </a:lnTo>
                      <a:lnTo>
                        <a:pt x="92" y="1"/>
                      </a:lnTo>
                      <a:lnTo>
                        <a:pt x="96" y="0"/>
                      </a:lnTo>
                      <a:lnTo>
                        <a:pt x="99" y="1"/>
                      </a:lnTo>
                      <a:lnTo>
                        <a:pt x="100" y="1"/>
                      </a:lnTo>
                      <a:lnTo>
                        <a:pt x="104" y="7"/>
                      </a:lnTo>
                      <a:lnTo>
                        <a:pt x="105" y="11"/>
                      </a:lnTo>
                      <a:lnTo>
                        <a:pt x="105" y="16"/>
                      </a:lnTo>
                      <a:lnTo>
                        <a:pt x="104" y="22"/>
                      </a:lnTo>
                      <a:lnTo>
                        <a:pt x="105" y="24"/>
                      </a:lnTo>
                      <a:lnTo>
                        <a:pt x="105" y="25"/>
                      </a:lnTo>
                      <a:lnTo>
                        <a:pt x="105" y="28"/>
                      </a:lnTo>
                      <a:lnTo>
                        <a:pt x="105" y="32"/>
                      </a:lnTo>
                      <a:lnTo>
                        <a:pt x="106" y="34"/>
                      </a:lnTo>
                      <a:lnTo>
                        <a:pt x="120" y="46"/>
                      </a:lnTo>
                      <a:lnTo>
                        <a:pt x="127" y="52"/>
                      </a:lnTo>
                      <a:lnTo>
                        <a:pt x="130" y="60"/>
                      </a:lnTo>
                      <a:lnTo>
                        <a:pt x="133" y="63"/>
                      </a:lnTo>
                      <a:lnTo>
                        <a:pt x="136" y="64"/>
                      </a:lnTo>
                      <a:lnTo>
                        <a:pt x="139" y="64"/>
                      </a:lnTo>
                      <a:lnTo>
                        <a:pt x="142" y="64"/>
                      </a:lnTo>
                      <a:lnTo>
                        <a:pt x="149" y="62"/>
                      </a:lnTo>
                      <a:lnTo>
                        <a:pt x="156" y="60"/>
                      </a:lnTo>
                      <a:lnTo>
                        <a:pt x="158" y="60"/>
                      </a:lnTo>
                      <a:lnTo>
                        <a:pt x="162" y="62"/>
                      </a:lnTo>
                      <a:lnTo>
                        <a:pt x="161" y="70"/>
                      </a:lnTo>
                      <a:lnTo>
                        <a:pt x="160" y="72"/>
                      </a:lnTo>
                      <a:lnTo>
                        <a:pt x="157" y="73"/>
                      </a:lnTo>
                      <a:lnTo>
                        <a:pt x="152" y="73"/>
                      </a:lnTo>
                      <a:lnTo>
                        <a:pt x="149" y="73"/>
                      </a:lnTo>
                      <a:lnTo>
                        <a:pt x="148" y="75"/>
                      </a:lnTo>
                      <a:lnTo>
                        <a:pt x="146" y="77"/>
                      </a:lnTo>
                      <a:lnTo>
                        <a:pt x="144" y="79"/>
                      </a:lnTo>
                      <a:lnTo>
                        <a:pt x="144" y="84"/>
                      </a:lnTo>
                      <a:lnTo>
                        <a:pt x="146" y="89"/>
                      </a:lnTo>
                      <a:lnTo>
                        <a:pt x="144" y="92"/>
                      </a:lnTo>
                      <a:lnTo>
                        <a:pt x="143" y="9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69" name="Freeform 1319"/>
                <p:cNvSpPr>
                  <a:spLocks/>
                </p:cNvSpPr>
                <p:nvPr/>
              </p:nvSpPr>
              <p:spPr bwMode="auto">
                <a:xfrm>
                  <a:off x="5143560" y="3273161"/>
                  <a:ext cx="155386" cy="97672"/>
                </a:xfrm>
                <a:custGeom>
                  <a:avLst/>
                  <a:gdLst>
                    <a:gd name="T0" fmla="*/ 2147483647 w 113"/>
                    <a:gd name="T1" fmla="*/ 2147483647 h 66"/>
                    <a:gd name="T2" fmla="*/ 2147483647 w 113"/>
                    <a:gd name="T3" fmla="*/ 2147483647 h 66"/>
                    <a:gd name="T4" fmla="*/ 2147483647 w 113"/>
                    <a:gd name="T5" fmla="*/ 2147483647 h 66"/>
                    <a:gd name="T6" fmla="*/ 2147483647 w 113"/>
                    <a:gd name="T7" fmla="*/ 2147483647 h 66"/>
                    <a:gd name="T8" fmla="*/ 2147483647 w 113"/>
                    <a:gd name="T9" fmla="*/ 2147483647 h 66"/>
                    <a:gd name="T10" fmla="*/ 2147483647 w 113"/>
                    <a:gd name="T11" fmla="*/ 2147483647 h 66"/>
                    <a:gd name="T12" fmla="*/ 2147483647 w 113"/>
                    <a:gd name="T13" fmla="*/ 2147483647 h 66"/>
                    <a:gd name="T14" fmla="*/ 2147483647 w 113"/>
                    <a:gd name="T15" fmla="*/ 2147483647 h 66"/>
                    <a:gd name="T16" fmla="*/ 2147483647 w 113"/>
                    <a:gd name="T17" fmla="*/ 2147483647 h 66"/>
                    <a:gd name="T18" fmla="*/ 2147483647 w 113"/>
                    <a:gd name="T19" fmla="*/ 2147483647 h 66"/>
                    <a:gd name="T20" fmla="*/ 2147483647 w 113"/>
                    <a:gd name="T21" fmla="*/ 2147483647 h 66"/>
                    <a:gd name="T22" fmla="*/ 2147483647 w 113"/>
                    <a:gd name="T23" fmla="*/ 2147483647 h 66"/>
                    <a:gd name="T24" fmla="*/ 2147483647 w 113"/>
                    <a:gd name="T25" fmla="*/ 2147483647 h 66"/>
                    <a:gd name="T26" fmla="*/ 2147483647 w 113"/>
                    <a:gd name="T27" fmla="*/ 2147483647 h 66"/>
                    <a:gd name="T28" fmla="*/ 2147483647 w 113"/>
                    <a:gd name="T29" fmla="*/ 2147483647 h 66"/>
                    <a:gd name="T30" fmla="*/ 2147483647 w 113"/>
                    <a:gd name="T31" fmla="*/ 2147483647 h 66"/>
                    <a:gd name="T32" fmla="*/ 2147483647 w 113"/>
                    <a:gd name="T33" fmla="*/ 2147483647 h 66"/>
                    <a:gd name="T34" fmla="*/ 2147483647 w 113"/>
                    <a:gd name="T35" fmla="*/ 2147483647 h 66"/>
                    <a:gd name="T36" fmla="*/ 2147483647 w 113"/>
                    <a:gd name="T37" fmla="*/ 2147483647 h 66"/>
                    <a:gd name="T38" fmla="*/ 2147483647 w 113"/>
                    <a:gd name="T39" fmla="*/ 2147483647 h 66"/>
                    <a:gd name="T40" fmla="*/ 2147483647 w 113"/>
                    <a:gd name="T41" fmla="*/ 2147483647 h 66"/>
                    <a:gd name="T42" fmla="*/ 2147483647 w 113"/>
                    <a:gd name="T43" fmla="*/ 2147483647 h 66"/>
                    <a:gd name="T44" fmla="*/ 2147483647 w 113"/>
                    <a:gd name="T45" fmla="*/ 2147483647 h 66"/>
                    <a:gd name="T46" fmla="*/ 2147483647 w 113"/>
                    <a:gd name="T47" fmla="*/ 2147483647 h 66"/>
                    <a:gd name="T48" fmla="*/ 2147483647 w 113"/>
                    <a:gd name="T49" fmla="*/ 2147483647 h 66"/>
                    <a:gd name="T50" fmla="*/ 2147483647 w 113"/>
                    <a:gd name="T51" fmla="*/ 2147483647 h 66"/>
                    <a:gd name="T52" fmla="*/ 2147483647 w 113"/>
                    <a:gd name="T53" fmla="*/ 2147483647 h 66"/>
                    <a:gd name="T54" fmla="*/ 2147483647 w 113"/>
                    <a:gd name="T55" fmla="*/ 2147483647 h 66"/>
                    <a:gd name="T56" fmla="*/ 0 w 113"/>
                    <a:gd name="T57" fmla="*/ 2147483647 h 66"/>
                    <a:gd name="T58" fmla="*/ 2147483647 w 113"/>
                    <a:gd name="T59" fmla="*/ 2147483647 h 66"/>
                    <a:gd name="T60" fmla="*/ 2147483647 w 113"/>
                    <a:gd name="T61" fmla="*/ 2147483647 h 66"/>
                    <a:gd name="T62" fmla="*/ 2147483647 w 113"/>
                    <a:gd name="T63" fmla="*/ 2147483647 h 66"/>
                    <a:gd name="T64" fmla="*/ 2147483647 w 113"/>
                    <a:gd name="T65" fmla="*/ 0 h 66"/>
                    <a:gd name="T66" fmla="*/ 2147483647 w 113"/>
                    <a:gd name="T67" fmla="*/ 0 h 66"/>
                    <a:gd name="T68" fmla="*/ 2147483647 w 113"/>
                    <a:gd name="T69" fmla="*/ 2147483647 h 66"/>
                    <a:gd name="T70" fmla="*/ 2147483647 w 113"/>
                    <a:gd name="T71" fmla="*/ 2147483647 h 66"/>
                    <a:gd name="T72" fmla="*/ 2147483647 w 113"/>
                    <a:gd name="T73" fmla="*/ 2147483647 h 66"/>
                    <a:gd name="T74" fmla="*/ 2147483647 w 113"/>
                    <a:gd name="T75" fmla="*/ 2147483647 h 66"/>
                    <a:gd name="T76" fmla="*/ 2147483647 w 113"/>
                    <a:gd name="T77" fmla="*/ 2147483647 h 66"/>
                    <a:gd name="T78" fmla="*/ 2147483647 w 113"/>
                    <a:gd name="T79" fmla="*/ 2147483647 h 66"/>
                    <a:gd name="T80" fmla="*/ 2147483647 w 113"/>
                    <a:gd name="T81" fmla="*/ 2147483647 h 66"/>
                    <a:gd name="T82" fmla="*/ 2147483647 w 113"/>
                    <a:gd name="T83" fmla="*/ 2147483647 h 66"/>
                    <a:gd name="T84" fmla="*/ 2147483647 w 113"/>
                    <a:gd name="T85" fmla="*/ 2147483647 h 66"/>
                    <a:gd name="T86" fmla="*/ 2147483647 w 113"/>
                    <a:gd name="T87" fmla="*/ 2147483647 h 66"/>
                    <a:gd name="T88" fmla="*/ 2147483647 w 113"/>
                    <a:gd name="T89" fmla="*/ 2147483647 h 66"/>
                    <a:gd name="T90" fmla="*/ 2147483647 w 113"/>
                    <a:gd name="T91" fmla="*/ 2147483647 h 66"/>
                    <a:gd name="T92" fmla="*/ 2147483647 w 113"/>
                    <a:gd name="T93" fmla="*/ 2147483647 h 66"/>
                    <a:gd name="T94" fmla="*/ 2147483647 w 113"/>
                    <a:gd name="T95" fmla="*/ 2147483647 h 66"/>
                    <a:gd name="T96" fmla="*/ 2147483647 w 113"/>
                    <a:gd name="T97" fmla="*/ 2147483647 h 66"/>
                    <a:gd name="T98" fmla="*/ 2147483647 w 113"/>
                    <a:gd name="T99" fmla="*/ 2147483647 h 66"/>
                    <a:gd name="T100" fmla="*/ 2147483647 w 113"/>
                    <a:gd name="T101" fmla="*/ 2147483647 h 66"/>
                    <a:gd name="T102" fmla="*/ 2147483647 w 113"/>
                    <a:gd name="T103" fmla="*/ 2147483647 h 66"/>
                    <a:gd name="T104" fmla="*/ 2147483647 w 113"/>
                    <a:gd name="T105" fmla="*/ 2147483647 h 66"/>
                    <a:gd name="T106" fmla="*/ 2147483647 w 113"/>
                    <a:gd name="T107" fmla="*/ 2147483647 h 66"/>
                    <a:gd name="T108" fmla="*/ 2147483647 w 113"/>
                    <a:gd name="T109" fmla="*/ 2147483647 h 66"/>
                    <a:gd name="T110" fmla="*/ 2147483647 w 113"/>
                    <a:gd name="T111" fmla="*/ 2147483647 h 66"/>
                    <a:gd name="T112" fmla="*/ 2147483647 w 113"/>
                    <a:gd name="T113" fmla="*/ 2147483647 h 66"/>
                    <a:gd name="T114" fmla="*/ 2147483647 w 113"/>
                    <a:gd name="T115" fmla="*/ 2147483647 h 66"/>
                    <a:gd name="T116" fmla="*/ 2147483647 w 113"/>
                    <a:gd name="T117" fmla="*/ 2147483647 h 66"/>
                    <a:gd name="T118" fmla="*/ 2147483647 w 113"/>
                    <a:gd name="T119" fmla="*/ 2147483647 h 66"/>
                    <a:gd name="T120" fmla="*/ 2147483647 w 113"/>
                    <a:gd name="T121" fmla="*/ 2147483647 h 66"/>
                    <a:gd name="T122" fmla="*/ 2147483647 w 113"/>
                    <a:gd name="T123" fmla="*/ 2147483647 h 66"/>
                    <a:gd name="T124" fmla="*/ 2147483647 w 113"/>
                    <a:gd name="T125" fmla="*/ 2147483647 h 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
                    <a:gd name="T190" fmla="*/ 0 h 66"/>
                    <a:gd name="T191" fmla="*/ 113 w 113"/>
                    <a:gd name="T192" fmla="*/ 66 h 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 h="66">
                      <a:moveTo>
                        <a:pt x="74" y="50"/>
                      </a:moveTo>
                      <a:lnTo>
                        <a:pt x="70" y="50"/>
                      </a:lnTo>
                      <a:lnTo>
                        <a:pt x="69" y="51"/>
                      </a:lnTo>
                      <a:lnTo>
                        <a:pt x="66" y="59"/>
                      </a:lnTo>
                      <a:lnTo>
                        <a:pt x="65" y="61"/>
                      </a:lnTo>
                      <a:lnTo>
                        <a:pt x="61" y="63"/>
                      </a:lnTo>
                      <a:lnTo>
                        <a:pt x="59" y="63"/>
                      </a:lnTo>
                      <a:lnTo>
                        <a:pt x="56" y="63"/>
                      </a:lnTo>
                      <a:lnTo>
                        <a:pt x="50" y="61"/>
                      </a:lnTo>
                      <a:lnTo>
                        <a:pt x="45" y="60"/>
                      </a:lnTo>
                      <a:lnTo>
                        <a:pt x="39" y="60"/>
                      </a:lnTo>
                      <a:lnTo>
                        <a:pt x="29" y="61"/>
                      </a:lnTo>
                      <a:lnTo>
                        <a:pt x="26" y="62"/>
                      </a:lnTo>
                      <a:lnTo>
                        <a:pt x="20" y="64"/>
                      </a:lnTo>
                      <a:lnTo>
                        <a:pt x="17" y="66"/>
                      </a:lnTo>
                      <a:lnTo>
                        <a:pt x="12" y="66"/>
                      </a:lnTo>
                      <a:lnTo>
                        <a:pt x="9" y="66"/>
                      </a:lnTo>
                      <a:lnTo>
                        <a:pt x="8" y="63"/>
                      </a:lnTo>
                      <a:lnTo>
                        <a:pt x="8" y="57"/>
                      </a:lnTo>
                      <a:lnTo>
                        <a:pt x="4" y="51"/>
                      </a:lnTo>
                      <a:lnTo>
                        <a:pt x="3" y="47"/>
                      </a:lnTo>
                      <a:lnTo>
                        <a:pt x="3" y="42"/>
                      </a:lnTo>
                      <a:lnTo>
                        <a:pt x="5" y="36"/>
                      </a:lnTo>
                      <a:lnTo>
                        <a:pt x="8" y="31"/>
                      </a:lnTo>
                      <a:lnTo>
                        <a:pt x="9" y="30"/>
                      </a:lnTo>
                      <a:lnTo>
                        <a:pt x="9" y="28"/>
                      </a:lnTo>
                      <a:lnTo>
                        <a:pt x="6" y="24"/>
                      </a:lnTo>
                      <a:lnTo>
                        <a:pt x="3" y="19"/>
                      </a:lnTo>
                      <a:lnTo>
                        <a:pt x="0" y="16"/>
                      </a:lnTo>
                      <a:lnTo>
                        <a:pt x="1" y="10"/>
                      </a:lnTo>
                      <a:lnTo>
                        <a:pt x="4" y="5"/>
                      </a:lnTo>
                      <a:lnTo>
                        <a:pt x="8" y="2"/>
                      </a:lnTo>
                      <a:lnTo>
                        <a:pt x="9" y="0"/>
                      </a:lnTo>
                      <a:lnTo>
                        <a:pt x="10" y="0"/>
                      </a:lnTo>
                      <a:lnTo>
                        <a:pt x="13" y="5"/>
                      </a:lnTo>
                      <a:lnTo>
                        <a:pt x="17" y="9"/>
                      </a:lnTo>
                      <a:lnTo>
                        <a:pt x="22" y="11"/>
                      </a:lnTo>
                      <a:lnTo>
                        <a:pt x="26" y="12"/>
                      </a:lnTo>
                      <a:lnTo>
                        <a:pt x="36" y="13"/>
                      </a:lnTo>
                      <a:lnTo>
                        <a:pt x="46" y="12"/>
                      </a:lnTo>
                      <a:lnTo>
                        <a:pt x="50" y="12"/>
                      </a:lnTo>
                      <a:lnTo>
                        <a:pt x="53" y="13"/>
                      </a:lnTo>
                      <a:lnTo>
                        <a:pt x="57" y="11"/>
                      </a:lnTo>
                      <a:lnTo>
                        <a:pt x="61" y="8"/>
                      </a:lnTo>
                      <a:lnTo>
                        <a:pt x="65" y="5"/>
                      </a:lnTo>
                      <a:lnTo>
                        <a:pt x="67" y="4"/>
                      </a:lnTo>
                      <a:lnTo>
                        <a:pt x="70" y="4"/>
                      </a:lnTo>
                      <a:lnTo>
                        <a:pt x="75" y="5"/>
                      </a:lnTo>
                      <a:lnTo>
                        <a:pt x="80" y="6"/>
                      </a:lnTo>
                      <a:lnTo>
                        <a:pt x="92" y="11"/>
                      </a:lnTo>
                      <a:lnTo>
                        <a:pt x="97" y="12"/>
                      </a:lnTo>
                      <a:lnTo>
                        <a:pt x="102" y="13"/>
                      </a:lnTo>
                      <a:lnTo>
                        <a:pt x="107" y="12"/>
                      </a:lnTo>
                      <a:lnTo>
                        <a:pt x="113" y="11"/>
                      </a:lnTo>
                      <a:lnTo>
                        <a:pt x="107" y="21"/>
                      </a:lnTo>
                      <a:lnTo>
                        <a:pt x="99" y="30"/>
                      </a:lnTo>
                      <a:lnTo>
                        <a:pt x="93" y="37"/>
                      </a:lnTo>
                      <a:lnTo>
                        <a:pt x="90" y="41"/>
                      </a:lnTo>
                      <a:lnTo>
                        <a:pt x="90" y="43"/>
                      </a:lnTo>
                      <a:lnTo>
                        <a:pt x="92" y="44"/>
                      </a:lnTo>
                      <a:lnTo>
                        <a:pt x="93" y="47"/>
                      </a:lnTo>
                      <a:lnTo>
                        <a:pt x="85" y="49"/>
                      </a:lnTo>
                      <a:lnTo>
                        <a:pt x="74" y="5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0" name="Freeform 1320"/>
                <p:cNvSpPr>
                  <a:spLocks/>
                </p:cNvSpPr>
                <p:nvPr/>
              </p:nvSpPr>
              <p:spPr bwMode="auto">
                <a:xfrm>
                  <a:off x="5100641" y="3144409"/>
                  <a:ext cx="221981" cy="146507"/>
                </a:xfrm>
                <a:custGeom>
                  <a:avLst/>
                  <a:gdLst>
                    <a:gd name="T0" fmla="*/ 2147483647 w 163"/>
                    <a:gd name="T1" fmla="*/ 2147483647 h 99"/>
                    <a:gd name="T2" fmla="*/ 2147483647 w 163"/>
                    <a:gd name="T3" fmla="*/ 2147483647 h 99"/>
                    <a:gd name="T4" fmla="*/ 2147483647 w 163"/>
                    <a:gd name="T5" fmla="*/ 2147483647 h 99"/>
                    <a:gd name="T6" fmla="*/ 2147483647 w 163"/>
                    <a:gd name="T7" fmla="*/ 2147483647 h 99"/>
                    <a:gd name="T8" fmla="*/ 2147483647 w 163"/>
                    <a:gd name="T9" fmla="*/ 2147483647 h 99"/>
                    <a:gd name="T10" fmla="*/ 2147483647 w 163"/>
                    <a:gd name="T11" fmla="*/ 2147483647 h 99"/>
                    <a:gd name="T12" fmla="*/ 2147483647 w 163"/>
                    <a:gd name="T13" fmla="*/ 2147483647 h 99"/>
                    <a:gd name="T14" fmla="*/ 2147483647 w 163"/>
                    <a:gd name="T15" fmla="*/ 2147483647 h 99"/>
                    <a:gd name="T16" fmla="*/ 2147483647 w 163"/>
                    <a:gd name="T17" fmla="*/ 2147483647 h 99"/>
                    <a:gd name="T18" fmla="*/ 2147483647 w 163"/>
                    <a:gd name="T19" fmla="*/ 2147483647 h 99"/>
                    <a:gd name="T20" fmla="*/ 2147483647 w 163"/>
                    <a:gd name="T21" fmla="*/ 2147483647 h 99"/>
                    <a:gd name="T22" fmla="*/ 2147483647 w 163"/>
                    <a:gd name="T23" fmla="*/ 2147483647 h 99"/>
                    <a:gd name="T24" fmla="*/ 2147483647 w 163"/>
                    <a:gd name="T25" fmla="*/ 2147483647 h 99"/>
                    <a:gd name="T26" fmla="*/ 2147483647 w 163"/>
                    <a:gd name="T27" fmla="*/ 2147483647 h 99"/>
                    <a:gd name="T28" fmla="*/ 0 w 163"/>
                    <a:gd name="T29" fmla="*/ 2147483647 h 99"/>
                    <a:gd name="T30" fmla="*/ 2147483647 w 163"/>
                    <a:gd name="T31" fmla="*/ 2147483647 h 99"/>
                    <a:gd name="T32" fmla="*/ 2147483647 w 163"/>
                    <a:gd name="T33" fmla="*/ 2147483647 h 99"/>
                    <a:gd name="T34" fmla="*/ 2147483647 w 163"/>
                    <a:gd name="T35" fmla="*/ 2147483647 h 99"/>
                    <a:gd name="T36" fmla="*/ 2147483647 w 163"/>
                    <a:gd name="T37" fmla="*/ 2147483647 h 99"/>
                    <a:gd name="T38" fmla="*/ 2147483647 w 163"/>
                    <a:gd name="T39" fmla="*/ 2147483647 h 99"/>
                    <a:gd name="T40" fmla="*/ 2147483647 w 163"/>
                    <a:gd name="T41" fmla="*/ 2147483647 h 99"/>
                    <a:gd name="T42" fmla="*/ 2147483647 w 163"/>
                    <a:gd name="T43" fmla="*/ 2147483647 h 99"/>
                    <a:gd name="T44" fmla="*/ 2147483647 w 163"/>
                    <a:gd name="T45" fmla="*/ 2147483647 h 99"/>
                    <a:gd name="T46" fmla="*/ 2147483647 w 163"/>
                    <a:gd name="T47" fmla="*/ 2147483647 h 99"/>
                    <a:gd name="T48" fmla="*/ 2147483647 w 163"/>
                    <a:gd name="T49" fmla="*/ 2147483647 h 99"/>
                    <a:gd name="T50" fmla="*/ 2147483647 w 163"/>
                    <a:gd name="T51" fmla="*/ 2147483647 h 99"/>
                    <a:gd name="T52" fmla="*/ 2147483647 w 163"/>
                    <a:gd name="T53" fmla="*/ 2147483647 h 99"/>
                    <a:gd name="T54" fmla="*/ 2147483647 w 163"/>
                    <a:gd name="T55" fmla="*/ 0 h 99"/>
                    <a:gd name="T56" fmla="*/ 2147483647 w 163"/>
                    <a:gd name="T57" fmla="*/ 2147483647 h 99"/>
                    <a:gd name="T58" fmla="*/ 2147483647 w 163"/>
                    <a:gd name="T59" fmla="*/ 2147483647 h 99"/>
                    <a:gd name="T60" fmla="*/ 2147483647 w 163"/>
                    <a:gd name="T61" fmla="*/ 2147483647 h 99"/>
                    <a:gd name="T62" fmla="*/ 2147483647 w 163"/>
                    <a:gd name="T63" fmla="*/ 2147483647 h 99"/>
                    <a:gd name="T64" fmla="*/ 2147483647 w 163"/>
                    <a:gd name="T65" fmla="*/ 2147483647 h 99"/>
                    <a:gd name="T66" fmla="*/ 2147483647 w 163"/>
                    <a:gd name="T67" fmla="*/ 2147483647 h 99"/>
                    <a:gd name="T68" fmla="*/ 2147483647 w 163"/>
                    <a:gd name="T69" fmla="*/ 2147483647 h 99"/>
                    <a:gd name="T70" fmla="*/ 2147483647 w 163"/>
                    <a:gd name="T71" fmla="*/ 2147483647 h 99"/>
                    <a:gd name="T72" fmla="*/ 2147483647 w 163"/>
                    <a:gd name="T73" fmla="*/ 2147483647 h 99"/>
                    <a:gd name="T74" fmla="*/ 2147483647 w 163"/>
                    <a:gd name="T75" fmla="*/ 2147483647 h 99"/>
                    <a:gd name="T76" fmla="*/ 2147483647 w 163"/>
                    <a:gd name="T77" fmla="*/ 2147483647 h 99"/>
                    <a:gd name="T78" fmla="*/ 2147483647 w 163"/>
                    <a:gd name="T79" fmla="*/ 2147483647 h 99"/>
                    <a:gd name="T80" fmla="*/ 2147483647 w 163"/>
                    <a:gd name="T81" fmla="*/ 2147483647 h 99"/>
                    <a:gd name="T82" fmla="*/ 2147483647 w 163"/>
                    <a:gd name="T83" fmla="*/ 2147483647 h 99"/>
                    <a:gd name="T84" fmla="*/ 2147483647 w 163"/>
                    <a:gd name="T85" fmla="*/ 2147483647 h 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3"/>
                    <a:gd name="T130" fmla="*/ 0 h 99"/>
                    <a:gd name="T131" fmla="*/ 163 w 163"/>
                    <a:gd name="T132" fmla="*/ 99 h 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3" h="99">
                      <a:moveTo>
                        <a:pt x="144" y="97"/>
                      </a:moveTo>
                      <a:lnTo>
                        <a:pt x="144" y="97"/>
                      </a:lnTo>
                      <a:lnTo>
                        <a:pt x="138" y="98"/>
                      </a:lnTo>
                      <a:lnTo>
                        <a:pt x="132" y="99"/>
                      </a:lnTo>
                      <a:lnTo>
                        <a:pt x="127" y="98"/>
                      </a:lnTo>
                      <a:lnTo>
                        <a:pt x="122" y="97"/>
                      </a:lnTo>
                      <a:lnTo>
                        <a:pt x="111" y="92"/>
                      </a:lnTo>
                      <a:lnTo>
                        <a:pt x="106" y="91"/>
                      </a:lnTo>
                      <a:lnTo>
                        <a:pt x="101" y="90"/>
                      </a:lnTo>
                      <a:lnTo>
                        <a:pt x="98" y="90"/>
                      </a:lnTo>
                      <a:lnTo>
                        <a:pt x="96" y="91"/>
                      </a:lnTo>
                      <a:lnTo>
                        <a:pt x="92" y="93"/>
                      </a:lnTo>
                      <a:lnTo>
                        <a:pt x="88" y="97"/>
                      </a:lnTo>
                      <a:lnTo>
                        <a:pt x="84" y="99"/>
                      </a:lnTo>
                      <a:lnTo>
                        <a:pt x="80" y="98"/>
                      </a:lnTo>
                      <a:lnTo>
                        <a:pt x="77" y="98"/>
                      </a:lnTo>
                      <a:lnTo>
                        <a:pt x="66" y="99"/>
                      </a:lnTo>
                      <a:lnTo>
                        <a:pt x="56" y="98"/>
                      </a:lnTo>
                      <a:lnTo>
                        <a:pt x="52" y="97"/>
                      </a:lnTo>
                      <a:lnTo>
                        <a:pt x="47" y="95"/>
                      </a:lnTo>
                      <a:lnTo>
                        <a:pt x="44" y="91"/>
                      </a:lnTo>
                      <a:lnTo>
                        <a:pt x="41" y="86"/>
                      </a:lnTo>
                      <a:lnTo>
                        <a:pt x="41" y="83"/>
                      </a:lnTo>
                      <a:lnTo>
                        <a:pt x="40" y="79"/>
                      </a:lnTo>
                      <a:lnTo>
                        <a:pt x="37" y="78"/>
                      </a:lnTo>
                      <a:lnTo>
                        <a:pt x="35" y="77"/>
                      </a:lnTo>
                      <a:lnTo>
                        <a:pt x="27" y="74"/>
                      </a:lnTo>
                      <a:lnTo>
                        <a:pt x="24" y="73"/>
                      </a:lnTo>
                      <a:lnTo>
                        <a:pt x="22" y="72"/>
                      </a:lnTo>
                      <a:lnTo>
                        <a:pt x="21" y="70"/>
                      </a:lnTo>
                      <a:lnTo>
                        <a:pt x="21" y="66"/>
                      </a:lnTo>
                      <a:lnTo>
                        <a:pt x="17" y="64"/>
                      </a:lnTo>
                      <a:lnTo>
                        <a:pt x="16" y="63"/>
                      </a:lnTo>
                      <a:lnTo>
                        <a:pt x="14" y="61"/>
                      </a:lnTo>
                      <a:lnTo>
                        <a:pt x="12" y="57"/>
                      </a:lnTo>
                      <a:lnTo>
                        <a:pt x="8" y="52"/>
                      </a:lnTo>
                      <a:lnTo>
                        <a:pt x="0" y="44"/>
                      </a:lnTo>
                      <a:lnTo>
                        <a:pt x="9" y="42"/>
                      </a:lnTo>
                      <a:lnTo>
                        <a:pt x="13" y="42"/>
                      </a:lnTo>
                      <a:lnTo>
                        <a:pt x="18" y="45"/>
                      </a:lnTo>
                      <a:lnTo>
                        <a:pt x="21" y="45"/>
                      </a:lnTo>
                      <a:lnTo>
                        <a:pt x="22" y="44"/>
                      </a:lnTo>
                      <a:lnTo>
                        <a:pt x="23" y="42"/>
                      </a:lnTo>
                      <a:lnTo>
                        <a:pt x="23" y="41"/>
                      </a:lnTo>
                      <a:lnTo>
                        <a:pt x="23" y="39"/>
                      </a:lnTo>
                      <a:lnTo>
                        <a:pt x="24" y="38"/>
                      </a:lnTo>
                      <a:lnTo>
                        <a:pt x="26" y="35"/>
                      </a:lnTo>
                      <a:lnTo>
                        <a:pt x="26" y="32"/>
                      </a:lnTo>
                      <a:lnTo>
                        <a:pt x="37" y="20"/>
                      </a:lnTo>
                      <a:lnTo>
                        <a:pt x="42" y="13"/>
                      </a:lnTo>
                      <a:lnTo>
                        <a:pt x="46" y="6"/>
                      </a:lnTo>
                      <a:lnTo>
                        <a:pt x="47" y="4"/>
                      </a:lnTo>
                      <a:lnTo>
                        <a:pt x="49" y="4"/>
                      </a:lnTo>
                      <a:lnTo>
                        <a:pt x="51" y="4"/>
                      </a:lnTo>
                      <a:lnTo>
                        <a:pt x="54" y="4"/>
                      </a:lnTo>
                      <a:lnTo>
                        <a:pt x="58" y="4"/>
                      </a:lnTo>
                      <a:lnTo>
                        <a:pt x="61" y="4"/>
                      </a:lnTo>
                      <a:lnTo>
                        <a:pt x="65" y="3"/>
                      </a:lnTo>
                      <a:lnTo>
                        <a:pt x="69" y="3"/>
                      </a:lnTo>
                      <a:lnTo>
                        <a:pt x="73" y="6"/>
                      </a:lnTo>
                      <a:lnTo>
                        <a:pt x="77" y="8"/>
                      </a:lnTo>
                      <a:lnTo>
                        <a:pt x="80" y="9"/>
                      </a:lnTo>
                      <a:lnTo>
                        <a:pt x="82" y="9"/>
                      </a:lnTo>
                      <a:lnTo>
                        <a:pt x="84" y="8"/>
                      </a:lnTo>
                      <a:lnTo>
                        <a:pt x="88" y="4"/>
                      </a:lnTo>
                      <a:lnTo>
                        <a:pt x="93" y="1"/>
                      </a:lnTo>
                      <a:lnTo>
                        <a:pt x="97" y="0"/>
                      </a:lnTo>
                      <a:lnTo>
                        <a:pt x="99" y="1"/>
                      </a:lnTo>
                      <a:lnTo>
                        <a:pt x="101" y="1"/>
                      </a:lnTo>
                      <a:lnTo>
                        <a:pt x="104" y="7"/>
                      </a:lnTo>
                      <a:lnTo>
                        <a:pt x="106" y="10"/>
                      </a:lnTo>
                      <a:lnTo>
                        <a:pt x="106" y="16"/>
                      </a:lnTo>
                      <a:lnTo>
                        <a:pt x="104" y="22"/>
                      </a:lnTo>
                      <a:lnTo>
                        <a:pt x="106" y="23"/>
                      </a:lnTo>
                      <a:lnTo>
                        <a:pt x="106" y="25"/>
                      </a:lnTo>
                      <a:lnTo>
                        <a:pt x="106" y="28"/>
                      </a:lnTo>
                      <a:lnTo>
                        <a:pt x="106" y="32"/>
                      </a:lnTo>
                      <a:lnTo>
                        <a:pt x="107" y="34"/>
                      </a:lnTo>
                      <a:lnTo>
                        <a:pt x="121" y="46"/>
                      </a:lnTo>
                      <a:lnTo>
                        <a:pt x="127" y="52"/>
                      </a:lnTo>
                      <a:lnTo>
                        <a:pt x="131" y="60"/>
                      </a:lnTo>
                      <a:lnTo>
                        <a:pt x="134" y="63"/>
                      </a:lnTo>
                      <a:lnTo>
                        <a:pt x="136" y="64"/>
                      </a:lnTo>
                      <a:lnTo>
                        <a:pt x="140" y="64"/>
                      </a:lnTo>
                      <a:lnTo>
                        <a:pt x="143" y="64"/>
                      </a:lnTo>
                      <a:lnTo>
                        <a:pt x="150" y="61"/>
                      </a:lnTo>
                      <a:lnTo>
                        <a:pt x="157" y="60"/>
                      </a:lnTo>
                      <a:lnTo>
                        <a:pt x="159" y="60"/>
                      </a:lnTo>
                      <a:lnTo>
                        <a:pt x="163" y="61"/>
                      </a:lnTo>
                      <a:lnTo>
                        <a:pt x="162" y="70"/>
                      </a:lnTo>
                      <a:lnTo>
                        <a:pt x="160" y="72"/>
                      </a:lnTo>
                      <a:lnTo>
                        <a:pt x="158" y="73"/>
                      </a:lnTo>
                      <a:lnTo>
                        <a:pt x="153" y="73"/>
                      </a:lnTo>
                      <a:lnTo>
                        <a:pt x="150" y="73"/>
                      </a:lnTo>
                      <a:lnTo>
                        <a:pt x="149" y="74"/>
                      </a:lnTo>
                      <a:lnTo>
                        <a:pt x="146" y="77"/>
                      </a:lnTo>
                      <a:lnTo>
                        <a:pt x="145" y="79"/>
                      </a:lnTo>
                      <a:lnTo>
                        <a:pt x="145" y="84"/>
                      </a:lnTo>
                      <a:lnTo>
                        <a:pt x="146" y="89"/>
                      </a:lnTo>
                      <a:lnTo>
                        <a:pt x="145" y="92"/>
                      </a:lnTo>
                      <a:lnTo>
                        <a:pt x="144" y="9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1" name="Freeform 1321"/>
                <p:cNvSpPr>
                  <a:spLocks/>
                </p:cNvSpPr>
                <p:nvPr/>
              </p:nvSpPr>
              <p:spPr bwMode="auto">
                <a:xfrm>
                  <a:off x="5142075" y="3271682"/>
                  <a:ext cx="155387" cy="96191"/>
                </a:xfrm>
                <a:custGeom>
                  <a:avLst/>
                  <a:gdLst>
                    <a:gd name="T0" fmla="*/ 2147483647 w 113"/>
                    <a:gd name="T1" fmla="*/ 2147483647 h 65"/>
                    <a:gd name="T2" fmla="*/ 2147483647 w 113"/>
                    <a:gd name="T3" fmla="*/ 2147483647 h 65"/>
                    <a:gd name="T4" fmla="*/ 2147483647 w 113"/>
                    <a:gd name="T5" fmla="*/ 2147483647 h 65"/>
                    <a:gd name="T6" fmla="*/ 2147483647 w 113"/>
                    <a:gd name="T7" fmla="*/ 2147483647 h 65"/>
                    <a:gd name="T8" fmla="*/ 2147483647 w 113"/>
                    <a:gd name="T9" fmla="*/ 2147483647 h 65"/>
                    <a:gd name="T10" fmla="*/ 2147483647 w 113"/>
                    <a:gd name="T11" fmla="*/ 2147483647 h 65"/>
                    <a:gd name="T12" fmla="*/ 2147483647 w 113"/>
                    <a:gd name="T13" fmla="*/ 2147483647 h 65"/>
                    <a:gd name="T14" fmla="*/ 2147483647 w 113"/>
                    <a:gd name="T15" fmla="*/ 2147483647 h 65"/>
                    <a:gd name="T16" fmla="*/ 2147483647 w 113"/>
                    <a:gd name="T17" fmla="*/ 2147483647 h 65"/>
                    <a:gd name="T18" fmla="*/ 2147483647 w 113"/>
                    <a:gd name="T19" fmla="*/ 2147483647 h 65"/>
                    <a:gd name="T20" fmla="*/ 2147483647 w 113"/>
                    <a:gd name="T21" fmla="*/ 2147483647 h 65"/>
                    <a:gd name="T22" fmla="*/ 2147483647 w 113"/>
                    <a:gd name="T23" fmla="*/ 2147483647 h 65"/>
                    <a:gd name="T24" fmla="*/ 2147483647 w 113"/>
                    <a:gd name="T25" fmla="*/ 2147483647 h 65"/>
                    <a:gd name="T26" fmla="*/ 2147483647 w 113"/>
                    <a:gd name="T27" fmla="*/ 2147483647 h 65"/>
                    <a:gd name="T28" fmla="*/ 2147483647 w 113"/>
                    <a:gd name="T29" fmla="*/ 2147483647 h 65"/>
                    <a:gd name="T30" fmla="*/ 2147483647 w 113"/>
                    <a:gd name="T31" fmla="*/ 2147483647 h 65"/>
                    <a:gd name="T32" fmla="*/ 2147483647 w 113"/>
                    <a:gd name="T33" fmla="*/ 2147483647 h 65"/>
                    <a:gd name="T34" fmla="*/ 2147483647 w 113"/>
                    <a:gd name="T35" fmla="*/ 2147483647 h 65"/>
                    <a:gd name="T36" fmla="*/ 2147483647 w 113"/>
                    <a:gd name="T37" fmla="*/ 2147483647 h 65"/>
                    <a:gd name="T38" fmla="*/ 0 w 113"/>
                    <a:gd name="T39" fmla="*/ 2147483647 h 65"/>
                    <a:gd name="T40" fmla="*/ 2147483647 w 113"/>
                    <a:gd name="T41" fmla="*/ 2147483647 h 65"/>
                    <a:gd name="T42" fmla="*/ 2147483647 w 113"/>
                    <a:gd name="T43" fmla="*/ 0 h 65"/>
                    <a:gd name="T44" fmla="*/ 2147483647 w 113"/>
                    <a:gd name="T45" fmla="*/ 0 h 65"/>
                    <a:gd name="T46" fmla="*/ 2147483647 w 113"/>
                    <a:gd name="T47" fmla="*/ 2147483647 h 65"/>
                    <a:gd name="T48" fmla="*/ 2147483647 w 113"/>
                    <a:gd name="T49" fmla="*/ 2147483647 h 65"/>
                    <a:gd name="T50" fmla="*/ 2147483647 w 113"/>
                    <a:gd name="T51" fmla="*/ 2147483647 h 65"/>
                    <a:gd name="T52" fmla="*/ 2147483647 w 113"/>
                    <a:gd name="T53" fmla="*/ 2147483647 h 65"/>
                    <a:gd name="T54" fmla="*/ 2147483647 w 113"/>
                    <a:gd name="T55" fmla="*/ 2147483647 h 65"/>
                    <a:gd name="T56" fmla="*/ 2147483647 w 113"/>
                    <a:gd name="T57" fmla="*/ 2147483647 h 65"/>
                    <a:gd name="T58" fmla="*/ 2147483647 w 113"/>
                    <a:gd name="T59" fmla="*/ 2147483647 h 65"/>
                    <a:gd name="T60" fmla="*/ 2147483647 w 113"/>
                    <a:gd name="T61" fmla="*/ 2147483647 h 65"/>
                    <a:gd name="T62" fmla="*/ 2147483647 w 113"/>
                    <a:gd name="T63" fmla="*/ 2147483647 h 65"/>
                    <a:gd name="T64" fmla="*/ 2147483647 w 113"/>
                    <a:gd name="T65" fmla="*/ 2147483647 h 65"/>
                    <a:gd name="T66" fmla="*/ 2147483647 w 113"/>
                    <a:gd name="T67" fmla="*/ 2147483647 h 65"/>
                    <a:gd name="T68" fmla="*/ 2147483647 w 113"/>
                    <a:gd name="T69" fmla="*/ 2147483647 h 65"/>
                    <a:gd name="T70" fmla="*/ 2147483647 w 113"/>
                    <a:gd name="T71" fmla="*/ 2147483647 h 65"/>
                    <a:gd name="T72" fmla="*/ 2147483647 w 113"/>
                    <a:gd name="T73" fmla="*/ 2147483647 h 65"/>
                    <a:gd name="T74" fmla="*/ 2147483647 w 113"/>
                    <a:gd name="T75" fmla="*/ 2147483647 h 65"/>
                    <a:gd name="T76" fmla="*/ 2147483647 w 113"/>
                    <a:gd name="T77" fmla="*/ 2147483647 h 65"/>
                    <a:gd name="T78" fmla="*/ 2147483647 w 113"/>
                    <a:gd name="T79" fmla="*/ 2147483647 h 65"/>
                    <a:gd name="T80" fmla="*/ 2147483647 w 113"/>
                    <a:gd name="T81" fmla="*/ 2147483647 h 65"/>
                    <a:gd name="T82" fmla="*/ 2147483647 w 113"/>
                    <a:gd name="T83" fmla="*/ 2147483647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3"/>
                    <a:gd name="T127" fmla="*/ 0 h 65"/>
                    <a:gd name="T128" fmla="*/ 113 w 113"/>
                    <a:gd name="T129" fmla="*/ 65 h 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3" h="65">
                      <a:moveTo>
                        <a:pt x="73" y="50"/>
                      </a:moveTo>
                      <a:lnTo>
                        <a:pt x="73" y="50"/>
                      </a:lnTo>
                      <a:lnTo>
                        <a:pt x="70" y="50"/>
                      </a:lnTo>
                      <a:lnTo>
                        <a:pt x="68" y="51"/>
                      </a:lnTo>
                      <a:lnTo>
                        <a:pt x="66" y="58"/>
                      </a:lnTo>
                      <a:lnTo>
                        <a:pt x="65" y="61"/>
                      </a:lnTo>
                      <a:lnTo>
                        <a:pt x="61" y="63"/>
                      </a:lnTo>
                      <a:lnTo>
                        <a:pt x="58" y="63"/>
                      </a:lnTo>
                      <a:lnTo>
                        <a:pt x="56" y="63"/>
                      </a:lnTo>
                      <a:lnTo>
                        <a:pt x="49" y="61"/>
                      </a:lnTo>
                      <a:lnTo>
                        <a:pt x="44" y="60"/>
                      </a:lnTo>
                      <a:lnTo>
                        <a:pt x="39" y="60"/>
                      </a:lnTo>
                      <a:lnTo>
                        <a:pt x="29" y="61"/>
                      </a:lnTo>
                      <a:lnTo>
                        <a:pt x="25" y="62"/>
                      </a:lnTo>
                      <a:lnTo>
                        <a:pt x="20" y="64"/>
                      </a:lnTo>
                      <a:lnTo>
                        <a:pt x="16" y="65"/>
                      </a:lnTo>
                      <a:lnTo>
                        <a:pt x="11" y="65"/>
                      </a:lnTo>
                      <a:lnTo>
                        <a:pt x="9" y="65"/>
                      </a:lnTo>
                      <a:lnTo>
                        <a:pt x="7" y="63"/>
                      </a:lnTo>
                      <a:lnTo>
                        <a:pt x="7" y="57"/>
                      </a:lnTo>
                      <a:lnTo>
                        <a:pt x="4" y="51"/>
                      </a:lnTo>
                      <a:lnTo>
                        <a:pt x="2" y="46"/>
                      </a:lnTo>
                      <a:lnTo>
                        <a:pt x="2" y="42"/>
                      </a:lnTo>
                      <a:lnTo>
                        <a:pt x="5" y="36"/>
                      </a:lnTo>
                      <a:lnTo>
                        <a:pt x="7" y="31"/>
                      </a:lnTo>
                      <a:lnTo>
                        <a:pt x="9" y="30"/>
                      </a:lnTo>
                      <a:lnTo>
                        <a:pt x="9" y="28"/>
                      </a:lnTo>
                      <a:lnTo>
                        <a:pt x="6" y="24"/>
                      </a:lnTo>
                      <a:lnTo>
                        <a:pt x="2" y="19"/>
                      </a:lnTo>
                      <a:lnTo>
                        <a:pt x="0" y="16"/>
                      </a:lnTo>
                      <a:lnTo>
                        <a:pt x="1" y="10"/>
                      </a:lnTo>
                      <a:lnTo>
                        <a:pt x="4" y="5"/>
                      </a:lnTo>
                      <a:lnTo>
                        <a:pt x="7" y="1"/>
                      </a:lnTo>
                      <a:lnTo>
                        <a:pt x="9" y="0"/>
                      </a:lnTo>
                      <a:lnTo>
                        <a:pt x="10" y="0"/>
                      </a:lnTo>
                      <a:lnTo>
                        <a:pt x="13" y="5"/>
                      </a:lnTo>
                      <a:lnTo>
                        <a:pt x="16" y="9"/>
                      </a:lnTo>
                      <a:lnTo>
                        <a:pt x="21" y="11"/>
                      </a:lnTo>
                      <a:lnTo>
                        <a:pt x="25" y="12"/>
                      </a:lnTo>
                      <a:lnTo>
                        <a:pt x="35" y="13"/>
                      </a:lnTo>
                      <a:lnTo>
                        <a:pt x="46" y="12"/>
                      </a:lnTo>
                      <a:lnTo>
                        <a:pt x="49" y="12"/>
                      </a:lnTo>
                      <a:lnTo>
                        <a:pt x="53" y="13"/>
                      </a:lnTo>
                      <a:lnTo>
                        <a:pt x="57" y="11"/>
                      </a:lnTo>
                      <a:lnTo>
                        <a:pt x="61" y="7"/>
                      </a:lnTo>
                      <a:lnTo>
                        <a:pt x="65" y="5"/>
                      </a:lnTo>
                      <a:lnTo>
                        <a:pt x="67" y="4"/>
                      </a:lnTo>
                      <a:lnTo>
                        <a:pt x="70" y="4"/>
                      </a:lnTo>
                      <a:lnTo>
                        <a:pt x="75" y="5"/>
                      </a:lnTo>
                      <a:lnTo>
                        <a:pt x="80" y="6"/>
                      </a:lnTo>
                      <a:lnTo>
                        <a:pt x="91" y="11"/>
                      </a:lnTo>
                      <a:lnTo>
                        <a:pt x="96" y="12"/>
                      </a:lnTo>
                      <a:lnTo>
                        <a:pt x="101" y="13"/>
                      </a:lnTo>
                      <a:lnTo>
                        <a:pt x="107" y="12"/>
                      </a:lnTo>
                      <a:lnTo>
                        <a:pt x="113" y="11"/>
                      </a:lnTo>
                      <a:lnTo>
                        <a:pt x="107" y="20"/>
                      </a:lnTo>
                      <a:lnTo>
                        <a:pt x="99" y="30"/>
                      </a:lnTo>
                      <a:lnTo>
                        <a:pt x="93" y="37"/>
                      </a:lnTo>
                      <a:lnTo>
                        <a:pt x="90" y="41"/>
                      </a:lnTo>
                      <a:lnTo>
                        <a:pt x="90" y="43"/>
                      </a:lnTo>
                      <a:lnTo>
                        <a:pt x="91" y="44"/>
                      </a:lnTo>
                      <a:lnTo>
                        <a:pt x="93" y="46"/>
                      </a:lnTo>
                      <a:lnTo>
                        <a:pt x="85" y="49"/>
                      </a:lnTo>
                      <a:lnTo>
                        <a:pt x="73" y="5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2" name="Freeform 1323"/>
                <p:cNvSpPr>
                  <a:spLocks/>
                </p:cNvSpPr>
                <p:nvPr/>
              </p:nvSpPr>
              <p:spPr bwMode="auto">
                <a:xfrm>
                  <a:off x="5116917" y="2855837"/>
                  <a:ext cx="53275" cy="56235"/>
                </a:xfrm>
                <a:custGeom>
                  <a:avLst/>
                  <a:gdLst>
                    <a:gd name="T0" fmla="*/ 0 w 39"/>
                    <a:gd name="T1" fmla="*/ 0 h 38"/>
                    <a:gd name="T2" fmla="*/ 2147483647 w 39"/>
                    <a:gd name="T3" fmla="*/ 2147483647 h 38"/>
                    <a:gd name="T4" fmla="*/ 2147483647 w 39"/>
                    <a:gd name="T5" fmla="*/ 2147483647 h 38"/>
                    <a:gd name="T6" fmla="*/ 2147483647 w 39"/>
                    <a:gd name="T7" fmla="*/ 2147483647 h 38"/>
                    <a:gd name="T8" fmla="*/ 2147483647 w 39"/>
                    <a:gd name="T9" fmla="*/ 2147483647 h 38"/>
                    <a:gd name="T10" fmla="*/ 2147483647 w 39"/>
                    <a:gd name="T11" fmla="*/ 2147483647 h 38"/>
                    <a:gd name="T12" fmla="*/ 2147483647 w 39"/>
                    <a:gd name="T13" fmla="*/ 2147483647 h 38"/>
                    <a:gd name="T14" fmla="*/ 2147483647 w 39"/>
                    <a:gd name="T15" fmla="*/ 2147483647 h 38"/>
                    <a:gd name="T16" fmla="*/ 2147483647 w 39"/>
                    <a:gd name="T17" fmla="*/ 2147483647 h 38"/>
                    <a:gd name="T18" fmla="*/ 2147483647 w 39"/>
                    <a:gd name="T19" fmla="*/ 2147483647 h 38"/>
                    <a:gd name="T20" fmla="*/ 2147483647 w 39"/>
                    <a:gd name="T21" fmla="*/ 2147483647 h 38"/>
                    <a:gd name="T22" fmla="*/ 2147483647 w 39"/>
                    <a:gd name="T23" fmla="*/ 2147483647 h 38"/>
                    <a:gd name="T24" fmla="*/ 0 w 39"/>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8"/>
                    <a:gd name="T41" fmla="*/ 39 w 39"/>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8">
                      <a:moveTo>
                        <a:pt x="0" y="0"/>
                      </a:moveTo>
                      <a:lnTo>
                        <a:pt x="9" y="10"/>
                      </a:lnTo>
                      <a:lnTo>
                        <a:pt x="16" y="16"/>
                      </a:lnTo>
                      <a:lnTo>
                        <a:pt x="20" y="17"/>
                      </a:lnTo>
                      <a:lnTo>
                        <a:pt x="23" y="17"/>
                      </a:lnTo>
                      <a:lnTo>
                        <a:pt x="26" y="16"/>
                      </a:lnTo>
                      <a:lnTo>
                        <a:pt x="32" y="16"/>
                      </a:lnTo>
                      <a:lnTo>
                        <a:pt x="35" y="14"/>
                      </a:lnTo>
                      <a:lnTo>
                        <a:pt x="39" y="20"/>
                      </a:lnTo>
                      <a:lnTo>
                        <a:pt x="39" y="28"/>
                      </a:lnTo>
                      <a:lnTo>
                        <a:pt x="34" y="31"/>
                      </a:lnTo>
                      <a:lnTo>
                        <a:pt x="32" y="38"/>
                      </a:lnTo>
                      <a:lnTo>
                        <a:pt x="0"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3" name="Freeform 1324"/>
                <p:cNvSpPr>
                  <a:spLocks/>
                </p:cNvSpPr>
                <p:nvPr/>
              </p:nvSpPr>
              <p:spPr bwMode="auto">
                <a:xfrm>
                  <a:off x="5014807" y="3080777"/>
                  <a:ext cx="26637" cy="39957"/>
                </a:xfrm>
                <a:custGeom>
                  <a:avLst/>
                  <a:gdLst>
                    <a:gd name="T0" fmla="*/ 0 w 19"/>
                    <a:gd name="T1" fmla="*/ 2147483647 h 27"/>
                    <a:gd name="T2" fmla="*/ 0 w 19"/>
                    <a:gd name="T3" fmla="*/ 2147483647 h 27"/>
                    <a:gd name="T4" fmla="*/ 0 w 19"/>
                    <a:gd name="T5" fmla="*/ 2147483647 h 27"/>
                    <a:gd name="T6" fmla="*/ 2147483647 w 19"/>
                    <a:gd name="T7" fmla="*/ 2147483647 h 27"/>
                    <a:gd name="T8" fmla="*/ 2147483647 w 19"/>
                    <a:gd name="T9" fmla="*/ 2147483647 h 27"/>
                    <a:gd name="T10" fmla="*/ 2147483647 w 19"/>
                    <a:gd name="T11" fmla="*/ 2147483647 h 27"/>
                    <a:gd name="T12" fmla="*/ 2147483647 w 19"/>
                    <a:gd name="T13" fmla="*/ 2147483647 h 27"/>
                    <a:gd name="T14" fmla="*/ 2147483647 w 19"/>
                    <a:gd name="T15" fmla="*/ 2147483647 h 27"/>
                    <a:gd name="T16" fmla="*/ 2147483647 w 19"/>
                    <a:gd name="T17" fmla="*/ 2147483647 h 27"/>
                    <a:gd name="T18" fmla="*/ 2147483647 w 19"/>
                    <a:gd name="T19" fmla="*/ 2147483647 h 27"/>
                    <a:gd name="T20" fmla="*/ 2147483647 w 19"/>
                    <a:gd name="T21" fmla="*/ 2147483647 h 27"/>
                    <a:gd name="T22" fmla="*/ 2147483647 w 19"/>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27"/>
                    <a:gd name="T38" fmla="*/ 19 w 19"/>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27">
                      <a:moveTo>
                        <a:pt x="0" y="27"/>
                      </a:moveTo>
                      <a:lnTo>
                        <a:pt x="0" y="27"/>
                      </a:lnTo>
                      <a:lnTo>
                        <a:pt x="0" y="25"/>
                      </a:lnTo>
                      <a:lnTo>
                        <a:pt x="3" y="23"/>
                      </a:lnTo>
                      <a:lnTo>
                        <a:pt x="5" y="19"/>
                      </a:lnTo>
                      <a:lnTo>
                        <a:pt x="13" y="12"/>
                      </a:lnTo>
                      <a:lnTo>
                        <a:pt x="17" y="8"/>
                      </a:lnTo>
                      <a:lnTo>
                        <a:pt x="18" y="5"/>
                      </a:lnTo>
                      <a:lnTo>
                        <a:pt x="19"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4" name="Freeform 1325"/>
                <p:cNvSpPr>
                  <a:spLocks/>
                </p:cNvSpPr>
                <p:nvPr/>
              </p:nvSpPr>
              <p:spPr bwMode="auto">
                <a:xfrm>
                  <a:off x="5115437" y="2854358"/>
                  <a:ext cx="53275" cy="56235"/>
                </a:xfrm>
                <a:custGeom>
                  <a:avLst/>
                  <a:gdLst>
                    <a:gd name="T0" fmla="*/ 0 w 39"/>
                    <a:gd name="T1" fmla="*/ 0 h 38"/>
                    <a:gd name="T2" fmla="*/ 0 w 39"/>
                    <a:gd name="T3" fmla="*/ 0 h 38"/>
                    <a:gd name="T4" fmla="*/ 2147483647 w 39"/>
                    <a:gd name="T5" fmla="*/ 2147483647 h 38"/>
                    <a:gd name="T6" fmla="*/ 2147483647 w 39"/>
                    <a:gd name="T7" fmla="*/ 2147483647 h 38"/>
                    <a:gd name="T8" fmla="*/ 2147483647 w 39"/>
                    <a:gd name="T9" fmla="*/ 2147483647 h 38"/>
                    <a:gd name="T10" fmla="*/ 2147483647 w 39"/>
                    <a:gd name="T11" fmla="*/ 2147483647 h 38"/>
                    <a:gd name="T12" fmla="*/ 2147483647 w 39"/>
                    <a:gd name="T13" fmla="*/ 2147483647 h 38"/>
                    <a:gd name="T14" fmla="*/ 2147483647 w 39"/>
                    <a:gd name="T15" fmla="*/ 2147483647 h 38"/>
                    <a:gd name="T16" fmla="*/ 2147483647 w 39"/>
                    <a:gd name="T17" fmla="*/ 2147483647 h 38"/>
                    <a:gd name="T18" fmla="*/ 2147483647 w 39"/>
                    <a:gd name="T19" fmla="*/ 2147483647 h 38"/>
                    <a:gd name="T20" fmla="*/ 2147483647 w 39"/>
                    <a:gd name="T21" fmla="*/ 2147483647 h 38"/>
                    <a:gd name="T22" fmla="*/ 2147483647 w 39"/>
                    <a:gd name="T23" fmla="*/ 2147483647 h 38"/>
                    <a:gd name="T24" fmla="*/ 2147483647 w 39"/>
                    <a:gd name="T25" fmla="*/ 2147483647 h 38"/>
                    <a:gd name="T26" fmla="*/ 2147483647 w 39"/>
                    <a:gd name="T27" fmla="*/ 2147483647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8"/>
                    <a:gd name="T44" fmla="*/ 39 w 39"/>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8">
                      <a:moveTo>
                        <a:pt x="0" y="0"/>
                      </a:moveTo>
                      <a:lnTo>
                        <a:pt x="0" y="0"/>
                      </a:lnTo>
                      <a:lnTo>
                        <a:pt x="8" y="10"/>
                      </a:lnTo>
                      <a:lnTo>
                        <a:pt x="16" y="15"/>
                      </a:lnTo>
                      <a:lnTo>
                        <a:pt x="20" y="17"/>
                      </a:lnTo>
                      <a:lnTo>
                        <a:pt x="22" y="17"/>
                      </a:lnTo>
                      <a:lnTo>
                        <a:pt x="26" y="15"/>
                      </a:lnTo>
                      <a:lnTo>
                        <a:pt x="31" y="15"/>
                      </a:lnTo>
                      <a:lnTo>
                        <a:pt x="35" y="14"/>
                      </a:lnTo>
                      <a:lnTo>
                        <a:pt x="39" y="20"/>
                      </a:lnTo>
                      <a:lnTo>
                        <a:pt x="39" y="27"/>
                      </a:lnTo>
                      <a:lnTo>
                        <a:pt x="34" y="31"/>
                      </a:lnTo>
                      <a:lnTo>
                        <a:pt x="31" y="38"/>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5" name="Freeform 1326"/>
                <p:cNvSpPr>
                  <a:spLocks/>
                </p:cNvSpPr>
                <p:nvPr/>
              </p:nvSpPr>
              <p:spPr bwMode="auto">
                <a:xfrm>
                  <a:off x="5110998" y="2756687"/>
                  <a:ext cx="223460" cy="127269"/>
                </a:xfrm>
                <a:custGeom>
                  <a:avLst/>
                  <a:gdLst>
                    <a:gd name="T0" fmla="*/ 2147483647 w 163"/>
                    <a:gd name="T1" fmla="*/ 2147483647 h 86"/>
                    <a:gd name="T2" fmla="*/ 2147483647 w 163"/>
                    <a:gd name="T3" fmla="*/ 2147483647 h 86"/>
                    <a:gd name="T4" fmla="*/ 2147483647 w 163"/>
                    <a:gd name="T5" fmla="*/ 0 h 86"/>
                    <a:gd name="T6" fmla="*/ 2147483647 w 163"/>
                    <a:gd name="T7" fmla="*/ 2147483647 h 86"/>
                    <a:gd name="T8" fmla="*/ 2147483647 w 163"/>
                    <a:gd name="T9" fmla="*/ 2147483647 h 86"/>
                    <a:gd name="T10" fmla="*/ 2147483647 w 163"/>
                    <a:gd name="T11" fmla="*/ 2147483647 h 86"/>
                    <a:gd name="T12" fmla="*/ 2147483647 w 163"/>
                    <a:gd name="T13" fmla="*/ 2147483647 h 86"/>
                    <a:gd name="T14" fmla="*/ 2147483647 w 163"/>
                    <a:gd name="T15" fmla="*/ 2147483647 h 86"/>
                    <a:gd name="T16" fmla="*/ 2147483647 w 163"/>
                    <a:gd name="T17" fmla="*/ 2147483647 h 86"/>
                    <a:gd name="T18" fmla="*/ 2147483647 w 163"/>
                    <a:gd name="T19" fmla="*/ 2147483647 h 86"/>
                    <a:gd name="T20" fmla="*/ 2147483647 w 163"/>
                    <a:gd name="T21" fmla="*/ 2147483647 h 86"/>
                    <a:gd name="T22" fmla="*/ 2147483647 w 163"/>
                    <a:gd name="T23" fmla="*/ 2147483647 h 86"/>
                    <a:gd name="T24" fmla="*/ 2147483647 w 163"/>
                    <a:gd name="T25" fmla="*/ 2147483647 h 86"/>
                    <a:gd name="T26" fmla="*/ 2147483647 w 163"/>
                    <a:gd name="T27" fmla="*/ 2147483647 h 86"/>
                    <a:gd name="T28" fmla="*/ 2147483647 w 163"/>
                    <a:gd name="T29" fmla="*/ 2147483647 h 86"/>
                    <a:gd name="T30" fmla="*/ 2147483647 w 163"/>
                    <a:gd name="T31" fmla="*/ 2147483647 h 86"/>
                    <a:gd name="T32" fmla="*/ 2147483647 w 163"/>
                    <a:gd name="T33" fmla="*/ 2147483647 h 86"/>
                    <a:gd name="T34" fmla="*/ 2147483647 w 163"/>
                    <a:gd name="T35" fmla="*/ 2147483647 h 86"/>
                    <a:gd name="T36" fmla="*/ 2147483647 w 163"/>
                    <a:gd name="T37" fmla="*/ 2147483647 h 86"/>
                    <a:gd name="T38" fmla="*/ 2147483647 w 163"/>
                    <a:gd name="T39" fmla="*/ 2147483647 h 86"/>
                    <a:gd name="T40" fmla="*/ 2147483647 w 163"/>
                    <a:gd name="T41" fmla="*/ 2147483647 h 86"/>
                    <a:gd name="T42" fmla="*/ 2147483647 w 163"/>
                    <a:gd name="T43" fmla="*/ 2147483647 h 86"/>
                    <a:gd name="T44" fmla="*/ 2147483647 w 163"/>
                    <a:gd name="T45" fmla="*/ 2147483647 h 86"/>
                    <a:gd name="T46" fmla="*/ 2147483647 w 163"/>
                    <a:gd name="T47" fmla="*/ 2147483647 h 86"/>
                    <a:gd name="T48" fmla="*/ 2147483647 w 163"/>
                    <a:gd name="T49" fmla="*/ 2147483647 h 86"/>
                    <a:gd name="T50" fmla="*/ 2147483647 w 163"/>
                    <a:gd name="T51" fmla="*/ 2147483647 h 86"/>
                    <a:gd name="T52" fmla="*/ 2147483647 w 163"/>
                    <a:gd name="T53" fmla="*/ 2147483647 h 86"/>
                    <a:gd name="T54" fmla="*/ 2147483647 w 163"/>
                    <a:gd name="T55" fmla="*/ 2147483647 h 86"/>
                    <a:gd name="T56" fmla="*/ 2147483647 w 163"/>
                    <a:gd name="T57" fmla="*/ 2147483647 h 86"/>
                    <a:gd name="T58" fmla="*/ 2147483647 w 163"/>
                    <a:gd name="T59" fmla="*/ 2147483647 h 86"/>
                    <a:gd name="T60" fmla="*/ 2147483647 w 163"/>
                    <a:gd name="T61" fmla="*/ 2147483647 h 86"/>
                    <a:gd name="T62" fmla="*/ 2147483647 w 163"/>
                    <a:gd name="T63" fmla="*/ 2147483647 h 86"/>
                    <a:gd name="T64" fmla="*/ 2147483647 w 163"/>
                    <a:gd name="T65" fmla="*/ 2147483647 h 86"/>
                    <a:gd name="T66" fmla="*/ 2147483647 w 163"/>
                    <a:gd name="T67" fmla="*/ 2147483647 h 86"/>
                    <a:gd name="T68" fmla="*/ 2147483647 w 163"/>
                    <a:gd name="T69" fmla="*/ 2147483647 h 86"/>
                    <a:gd name="T70" fmla="*/ 2147483647 w 163"/>
                    <a:gd name="T71" fmla="*/ 2147483647 h 86"/>
                    <a:gd name="T72" fmla="*/ 2147483647 w 163"/>
                    <a:gd name="T73" fmla="*/ 2147483647 h 86"/>
                    <a:gd name="T74" fmla="*/ 2147483647 w 163"/>
                    <a:gd name="T75" fmla="*/ 2147483647 h 86"/>
                    <a:gd name="T76" fmla="*/ 2147483647 w 163"/>
                    <a:gd name="T77" fmla="*/ 2147483647 h 86"/>
                    <a:gd name="T78" fmla="*/ 2147483647 w 163"/>
                    <a:gd name="T79" fmla="*/ 2147483647 h 86"/>
                    <a:gd name="T80" fmla="*/ 2147483647 w 163"/>
                    <a:gd name="T81" fmla="*/ 2147483647 h 86"/>
                    <a:gd name="T82" fmla="*/ 2147483647 w 163"/>
                    <a:gd name="T83" fmla="*/ 2147483647 h 86"/>
                    <a:gd name="T84" fmla="*/ 2147483647 w 163"/>
                    <a:gd name="T85" fmla="*/ 2147483647 h 86"/>
                    <a:gd name="T86" fmla="*/ 2147483647 w 163"/>
                    <a:gd name="T87" fmla="*/ 2147483647 h 86"/>
                    <a:gd name="T88" fmla="*/ 2147483647 w 163"/>
                    <a:gd name="T89" fmla="*/ 2147483647 h 86"/>
                    <a:gd name="T90" fmla="*/ 2147483647 w 163"/>
                    <a:gd name="T91" fmla="*/ 2147483647 h 86"/>
                    <a:gd name="T92" fmla="*/ 2147483647 w 163"/>
                    <a:gd name="T93" fmla="*/ 2147483647 h 86"/>
                    <a:gd name="T94" fmla="*/ 2147483647 w 163"/>
                    <a:gd name="T95" fmla="*/ 2147483647 h 86"/>
                    <a:gd name="T96" fmla="*/ 2147483647 w 163"/>
                    <a:gd name="T97" fmla="*/ 2147483647 h 86"/>
                    <a:gd name="T98" fmla="*/ 2147483647 w 163"/>
                    <a:gd name="T99" fmla="*/ 2147483647 h 86"/>
                    <a:gd name="T100" fmla="*/ 2147483647 w 163"/>
                    <a:gd name="T101" fmla="*/ 2147483647 h 86"/>
                    <a:gd name="T102" fmla="*/ 2147483647 w 163"/>
                    <a:gd name="T103" fmla="*/ 2147483647 h 86"/>
                    <a:gd name="T104" fmla="*/ 2147483647 w 163"/>
                    <a:gd name="T105" fmla="*/ 2147483647 h 86"/>
                    <a:gd name="T106" fmla="*/ 2147483647 w 163"/>
                    <a:gd name="T107" fmla="*/ 2147483647 h 86"/>
                    <a:gd name="T108" fmla="*/ 2147483647 w 163"/>
                    <a:gd name="T109" fmla="*/ 2147483647 h 86"/>
                    <a:gd name="T110" fmla="*/ 2147483647 w 163"/>
                    <a:gd name="T111" fmla="*/ 2147483647 h 86"/>
                    <a:gd name="T112" fmla="*/ 2147483647 w 163"/>
                    <a:gd name="T113" fmla="*/ 2147483647 h 86"/>
                    <a:gd name="T114" fmla="*/ 2147483647 w 163"/>
                    <a:gd name="T115" fmla="*/ 2147483647 h 86"/>
                    <a:gd name="T116" fmla="*/ 2147483647 w 163"/>
                    <a:gd name="T117" fmla="*/ 2147483647 h 86"/>
                    <a:gd name="T118" fmla="*/ 2147483647 w 163"/>
                    <a:gd name="T119" fmla="*/ 2147483647 h 86"/>
                    <a:gd name="T120" fmla="*/ 0 w 163"/>
                    <a:gd name="T121" fmla="*/ 2147483647 h 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3"/>
                    <a:gd name="T184" fmla="*/ 0 h 86"/>
                    <a:gd name="T185" fmla="*/ 163 w 163"/>
                    <a:gd name="T186" fmla="*/ 86 h 8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3" h="86">
                      <a:moveTo>
                        <a:pt x="48" y="10"/>
                      </a:moveTo>
                      <a:lnTo>
                        <a:pt x="62" y="2"/>
                      </a:lnTo>
                      <a:lnTo>
                        <a:pt x="81" y="0"/>
                      </a:lnTo>
                      <a:lnTo>
                        <a:pt x="86" y="8"/>
                      </a:lnTo>
                      <a:lnTo>
                        <a:pt x="88" y="15"/>
                      </a:lnTo>
                      <a:lnTo>
                        <a:pt x="96" y="22"/>
                      </a:lnTo>
                      <a:lnTo>
                        <a:pt x="119" y="25"/>
                      </a:lnTo>
                      <a:lnTo>
                        <a:pt x="122" y="25"/>
                      </a:lnTo>
                      <a:lnTo>
                        <a:pt x="133" y="26"/>
                      </a:lnTo>
                      <a:lnTo>
                        <a:pt x="149" y="28"/>
                      </a:lnTo>
                      <a:lnTo>
                        <a:pt x="156" y="28"/>
                      </a:lnTo>
                      <a:lnTo>
                        <a:pt x="159" y="34"/>
                      </a:lnTo>
                      <a:lnTo>
                        <a:pt x="161" y="39"/>
                      </a:lnTo>
                      <a:lnTo>
                        <a:pt x="163" y="44"/>
                      </a:lnTo>
                      <a:lnTo>
                        <a:pt x="161" y="53"/>
                      </a:lnTo>
                      <a:lnTo>
                        <a:pt x="160" y="59"/>
                      </a:lnTo>
                      <a:lnTo>
                        <a:pt x="159" y="61"/>
                      </a:lnTo>
                      <a:lnTo>
                        <a:pt x="157" y="63"/>
                      </a:lnTo>
                      <a:lnTo>
                        <a:pt x="156" y="64"/>
                      </a:lnTo>
                      <a:lnTo>
                        <a:pt x="155" y="67"/>
                      </a:lnTo>
                      <a:lnTo>
                        <a:pt x="152" y="70"/>
                      </a:lnTo>
                      <a:lnTo>
                        <a:pt x="143" y="77"/>
                      </a:lnTo>
                      <a:lnTo>
                        <a:pt x="140" y="80"/>
                      </a:lnTo>
                      <a:lnTo>
                        <a:pt x="137" y="84"/>
                      </a:lnTo>
                      <a:lnTo>
                        <a:pt x="137" y="86"/>
                      </a:lnTo>
                      <a:lnTo>
                        <a:pt x="135" y="86"/>
                      </a:lnTo>
                      <a:lnTo>
                        <a:pt x="128" y="86"/>
                      </a:lnTo>
                      <a:lnTo>
                        <a:pt x="121" y="85"/>
                      </a:lnTo>
                      <a:lnTo>
                        <a:pt x="118" y="84"/>
                      </a:lnTo>
                      <a:lnTo>
                        <a:pt x="117" y="81"/>
                      </a:lnTo>
                      <a:lnTo>
                        <a:pt x="113" y="76"/>
                      </a:lnTo>
                      <a:lnTo>
                        <a:pt x="109" y="70"/>
                      </a:lnTo>
                      <a:lnTo>
                        <a:pt x="103" y="64"/>
                      </a:lnTo>
                      <a:lnTo>
                        <a:pt x="100" y="63"/>
                      </a:lnTo>
                      <a:lnTo>
                        <a:pt x="90" y="59"/>
                      </a:lnTo>
                      <a:lnTo>
                        <a:pt x="84" y="57"/>
                      </a:lnTo>
                      <a:lnTo>
                        <a:pt x="80" y="55"/>
                      </a:lnTo>
                      <a:lnTo>
                        <a:pt x="77" y="55"/>
                      </a:lnTo>
                      <a:lnTo>
                        <a:pt x="74" y="57"/>
                      </a:lnTo>
                      <a:lnTo>
                        <a:pt x="69" y="59"/>
                      </a:lnTo>
                      <a:lnTo>
                        <a:pt x="66" y="60"/>
                      </a:lnTo>
                      <a:lnTo>
                        <a:pt x="39" y="57"/>
                      </a:lnTo>
                      <a:lnTo>
                        <a:pt x="28" y="54"/>
                      </a:lnTo>
                      <a:lnTo>
                        <a:pt x="19" y="53"/>
                      </a:lnTo>
                      <a:lnTo>
                        <a:pt x="15" y="53"/>
                      </a:lnTo>
                      <a:lnTo>
                        <a:pt x="13" y="54"/>
                      </a:lnTo>
                      <a:lnTo>
                        <a:pt x="0" y="58"/>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6" name="Freeform 1327"/>
                <p:cNvSpPr>
                  <a:spLocks/>
                </p:cNvSpPr>
                <p:nvPr/>
              </p:nvSpPr>
              <p:spPr bwMode="auto">
                <a:xfrm>
                  <a:off x="5312260" y="2709331"/>
                  <a:ext cx="10359" cy="90272"/>
                </a:xfrm>
                <a:custGeom>
                  <a:avLst/>
                  <a:gdLst>
                    <a:gd name="T0" fmla="*/ 2147483647 w 8"/>
                    <a:gd name="T1" fmla="*/ 0 h 61"/>
                    <a:gd name="T2" fmla="*/ 2147483647 w 8"/>
                    <a:gd name="T3" fmla="*/ 2147483647 h 61"/>
                    <a:gd name="T4" fmla="*/ 0 w 8"/>
                    <a:gd name="T5" fmla="*/ 2147483647 h 61"/>
                    <a:gd name="T6" fmla="*/ 2147483647 w 8"/>
                    <a:gd name="T7" fmla="*/ 2147483647 h 61"/>
                    <a:gd name="T8" fmla="*/ 2147483647 w 8"/>
                    <a:gd name="T9" fmla="*/ 2147483647 h 61"/>
                    <a:gd name="T10" fmla="*/ 2147483647 w 8"/>
                    <a:gd name="T11" fmla="*/ 2147483647 h 61"/>
                    <a:gd name="T12" fmla="*/ 2147483647 w 8"/>
                    <a:gd name="T13" fmla="*/ 2147483647 h 61"/>
                    <a:gd name="T14" fmla="*/ 2147483647 w 8"/>
                    <a:gd name="T15" fmla="*/ 2147483647 h 61"/>
                    <a:gd name="T16" fmla="*/ 2147483647 w 8"/>
                    <a:gd name="T17" fmla="*/ 2147483647 h 61"/>
                    <a:gd name="T18" fmla="*/ 2147483647 w 8"/>
                    <a:gd name="T19" fmla="*/ 2147483647 h 61"/>
                    <a:gd name="T20" fmla="*/ 2147483647 w 8"/>
                    <a:gd name="T21" fmla="*/ 2147483647 h 61"/>
                    <a:gd name="T22" fmla="*/ 2147483647 w 8"/>
                    <a:gd name="T23" fmla="*/ 2147483647 h 61"/>
                    <a:gd name="T24" fmla="*/ 2147483647 w 8"/>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61"/>
                    <a:gd name="T41" fmla="*/ 8 w 8"/>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61">
                      <a:moveTo>
                        <a:pt x="2" y="0"/>
                      </a:moveTo>
                      <a:lnTo>
                        <a:pt x="2" y="12"/>
                      </a:lnTo>
                      <a:lnTo>
                        <a:pt x="0" y="22"/>
                      </a:lnTo>
                      <a:lnTo>
                        <a:pt x="2" y="28"/>
                      </a:lnTo>
                      <a:lnTo>
                        <a:pt x="3" y="32"/>
                      </a:lnTo>
                      <a:lnTo>
                        <a:pt x="5" y="34"/>
                      </a:lnTo>
                      <a:lnTo>
                        <a:pt x="7" y="38"/>
                      </a:lnTo>
                      <a:lnTo>
                        <a:pt x="8" y="40"/>
                      </a:lnTo>
                      <a:lnTo>
                        <a:pt x="8" y="47"/>
                      </a:lnTo>
                      <a:lnTo>
                        <a:pt x="8" y="52"/>
                      </a:lnTo>
                      <a:lnTo>
                        <a:pt x="8" y="57"/>
                      </a:lnTo>
                      <a:lnTo>
                        <a:pt x="7" y="61"/>
                      </a:lnTo>
                      <a:lnTo>
                        <a:pt x="2"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7" name="Freeform 1328"/>
                <p:cNvSpPr>
                  <a:spLocks/>
                </p:cNvSpPr>
                <p:nvPr/>
              </p:nvSpPr>
              <p:spPr bwMode="auto">
                <a:xfrm>
                  <a:off x="5310784" y="2706368"/>
                  <a:ext cx="10360" cy="91752"/>
                </a:xfrm>
                <a:custGeom>
                  <a:avLst/>
                  <a:gdLst>
                    <a:gd name="T0" fmla="*/ 2147483647 w 8"/>
                    <a:gd name="T1" fmla="*/ 0 h 62"/>
                    <a:gd name="T2" fmla="*/ 2147483647 w 8"/>
                    <a:gd name="T3" fmla="*/ 0 h 62"/>
                    <a:gd name="T4" fmla="*/ 2147483647 w 8"/>
                    <a:gd name="T5" fmla="*/ 2147483647 h 62"/>
                    <a:gd name="T6" fmla="*/ 2147483647 w 8"/>
                    <a:gd name="T7" fmla="*/ 2147483647 h 62"/>
                    <a:gd name="T8" fmla="*/ 0 w 8"/>
                    <a:gd name="T9" fmla="*/ 2147483647 h 62"/>
                    <a:gd name="T10" fmla="*/ 2147483647 w 8"/>
                    <a:gd name="T11" fmla="*/ 2147483647 h 62"/>
                    <a:gd name="T12" fmla="*/ 2147483647 w 8"/>
                    <a:gd name="T13" fmla="*/ 2147483647 h 62"/>
                    <a:gd name="T14" fmla="*/ 2147483647 w 8"/>
                    <a:gd name="T15" fmla="*/ 2147483647 h 62"/>
                    <a:gd name="T16" fmla="*/ 2147483647 w 8"/>
                    <a:gd name="T17" fmla="*/ 2147483647 h 62"/>
                    <a:gd name="T18" fmla="*/ 2147483647 w 8"/>
                    <a:gd name="T19" fmla="*/ 2147483647 h 62"/>
                    <a:gd name="T20" fmla="*/ 2147483647 w 8"/>
                    <a:gd name="T21" fmla="*/ 2147483647 h 62"/>
                    <a:gd name="T22" fmla="*/ 2147483647 w 8"/>
                    <a:gd name="T23" fmla="*/ 2147483647 h 62"/>
                    <a:gd name="T24" fmla="*/ 2147483647 w 8"/>
                    <a:gd name="T25" fmla="*/ 2147483647 h 62"/>
                    <a:gd name="T26" fmla="*/ 2147483647 w 8"/>
                    <a:gd name="T27" fmla="*/ 2147483647 h 62"/>
                    <a:gd name="T28" fmla="*/ 2147483647 w 8"/>
                    <a:gd name="T29" fmla="*/ 2147483647 h 62"/>
                    <a:gd name="T30" fmla="*/ 2147483647 w 8"/>
                    <a:gd name="T31" fmla="*/ 2147483647 h 62"/>
                    <a:gd name="T32" fmla="*/ 2147483647 w 8"/>
                    <a:gd name="T33" fmla="*/ 2147483647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62"/>
                    <a:gd name="T53" fmla="*/ 8 w 8"/>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62">
                      <a:moveTo>
                        <a:pt x="1" y="0"/>
                      </a:moveTo>
                      <a:lnTo>
                        <a:pt x="1" y="0"/>
                      </a:lnTo>
                      <a:lnTo>
                        <a:pt x="1" y="12"/>
                      </a:lnTo>
                      <a:lnTo>
                        <a:pt x="0" y="23"/>
                      </a:lnTo>
                      <a:lnTo>
                        <a:pt x="1" y="29"/>
                      </a:lnTo>
                      <a:lnTo>
                        <a:pt x="3" y="33"/>
                      </a:lnTo>
                      <a:lnTo>
                        <a:pt x="5" y="35"/>
                      </a:lnTo>
                      <a:lnTo>
                        <a:pt x="6" y="38"/>
                      </a:lnTo>
                      <a:lnTo>
                        <a:pt x="8" y="41"/>
                      </a:lnTo>
                      <a:lnTo>
                        <a:pt x="8" y="48"/>
                      </a:lnTo>
                      <a:lnTo>
                        <a:pt x="8" y="53"/>
                      </a:lnTo>
                      <a:lnTo>
                        <a:pt x="8" y="57"/>
                      </a:lnTo>
                      <a:lnTo>
                        <a:pt x="6" y="62"/>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8" name="Freeform 1329"/>
                <p:cNvSpPr>
                  <a:spLocks/>
                </p:cNvSpPr>
                <p:nvPr/>
              </p:nvSpPr>
              <p:spPr bwMode="auto">
                <a:xfrm>
                  <a:off x="5238270" y="3135533"/>
                  <a:ext cx="97672" cy="78433"/>
                </a:xfrm>
                <a:custGeom>
                  <a:avLst/>
                  <a:gdLst>
                    <a:gd name="T0" fmla="*/ 2147483647 w 72"/>
                    <a:gd name="T1" fmla="*/ 2147483647 h 53"/>
                    <a:gd name="T2" fmla="*/ 2147483647 w 72"/>
                    <a:gd name="T3" fmla="*/ 2147483647 h 53"/>
                    <a:gd name="T4" fmla="*/ 2147483647 w 72"/>
                    <a:gd name="T5" fmla="*/ 2147483647 h 53"/>
                    <a:gd name="T6" fmla="*/ 2147483647 w 72"/>
                    <a:gd name="T7" fmla="*/ 2147483647 h 53"/>
                    <a:gd name="T8" fmla="*/ 2147483647 w 72"/>
                    <a:gd name="T9" fmla="*/ 2147483647 h 53"/>
                    <a:gd name="T10" fmla="*/ 2147483647 w 72"/>
                    <a:gd name="T11" fmla="*/ 2147483647 h 53"/>
                    <a:gd name="T12" fmla="*/ 2147483647 w 72"/>
                    <a:gd name="T13" fmla="*/ 2147483647 h 53"/>
                    <a:gd name="T14" fmla="*/ 2147483647 w 72"/>
                    <a:gd name="T15" fmla="*/ 2147483647 h 53"/>
                    <a:gd name="T16" fmla="*/ 2147483647 w 72"/>
                    <a:gd name="T17" fmla="*/ 2147483647 h 53"/>
                    <a:gd name="T18" fmla="*/ 2147483647 w 72"/>
                    <a:gd name="T19" fmla="*/ 2147483647 h 53"/>
                    <a:gd name="T20" fmla="*/ 2147483647 w 72"/>
                    <a:gd name="T21" fmla="*/ 2147483647 h 53"/>
                    <a:gd name="T22" fmla="*/ 2147483647 w 72"/>
                    <a:gd name="T23" fmla="*/ 2147483647 h 53"/>
                    <a:gd name="T24" fmla="*/ 2147483647 w 72"/>
                    <a:gd name="T25" fmla="*/ 2147483647 h 53"/>
                    <a:gd name="T26" fmla="*/ 2147483647 w 72"/>
                    <a:gd name="T27" fmla="*/ 2147483647 h 53"/>
                    <a:gd name="T28" fmla="*/ 2147483647 w 72"/>
                    <a:gd name="T29" fmla="*/ 2147483647 h 53"/>
                    <a:gd name="T30" fmla="*/ 2147483647 w 72"/>
                    <a:gd name="T31" fmla="*/ 2147483647 h 53"/>
                    <a:gd name="T32" fmla="*/ 2147483647 w 72"/>
                    <a:gd name="T33" fmla="*/ 2147483647 h 53"/>
                    <a:gd name="T34" fmla="*/ 2147483647 w 72"/>
                    <a:gd name="T35" fmla="*/ 2147483647 h 53"/>
                    <a:gd name="T36" fmla="*/ 2147483647 w 72"/>
                    <a:gd name="T37" fmla="*/ 2147483647 h 53"/>
                    <a:gd name="T38" fmla="*/ 2147483647 w 72"/>
                    <a:gd name="T39" fmla="*/ 2147483647 h 53"/>
                    <a:gd name="T40" fmla="*/ 2147483647 w 72"/>
                    <a:gd name="T41" fmla="*/ 2147483647 h 53"/>
                    <a:gd name="T42" fmla="*/ 2147483647 w 72"/>
                    <a:gd name="T43" fmla="*/ 2147483647 h 53"/>
                    <a:gd name="T44" fmla="*/ 2147483647 w 72"/>
                    <a:gd name="T45" fmla="*/ 2147483647 h 53"/>
                    <a:gd name="T46" fmla="*/ 2147483647 w 72"/>
                    <a:gd name="T47" fmla="*/ 2147483647 h 53"/>
                    <a:gd name="T48" fmla="*/ 2147483647 w 72"/>
                    <a:gd name="T49" fmla="*/ 2147483647 h 53"/>
                    <a:gd name="T50" fmla="*/ 2147483647 w 72"/>
                    <a:gd name="T51" fmla="*/ 2147483647 h 53"/>
                    <a:gd name="T52" fmla="*/ 2147483647 w 72"/>
                    <a:gd name="T53" fmla="*/ 2147483647 h 53"/>
                    <a:gd name="T54" fmla="*/ 2147483647 w 72"/>
                    <a:gd name="T55" fmla="*/ 2147483647 h 53"/>
                    <a:gd name="T56" fmla="*/ 2147483647 w 72"/>
                    <a:gd name="T57" fmla="*/ 2147483647 h 53"/>
                    <a:gd name="T58" fmla="*/ 2147483647 w 72"/>
                    <a:gd name="T59" fmla="*/ 2147483647 h 53"/>
                    <a:gd name="T60" fmla="*/ 2147483647 w 72"/>
                    <a:gd name="T61" fmla="*/ 0 h 53"/>
                    <a:gd name="T62" fmla="*/ 2147483647 w 72"/>
                    <a:gd name="T63" fmla="*/ 0 h 53"/>
                    <a:gd name="T64" fmla="*/ 2147483647 w 72"/>
                    <a:gd name="T65" fmla="*/ 0 h 53"/>
                    <a:gd name="T66" fmla="*/ 2147483647 w 72"/>
                    <a:gd name="T67" fmla="*/ 2147483647 h 53"/>
                    <a:gd name="T68" fmla="*/ 2147483647 w 72"/>
                    <a:gd name="T69" fmla="*/ 2147483647 h 53"/>
                    <a:gd name="T70" fmla="*/ 0 w 72"/>
                    <a:gd name="T71" fmla="*/ 2147483647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
                    <a:gd name="T109" fmla="*/ 0 h 53"/>
                    <a:gd name="T110" fmla="*/ 72 w 72"/>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 h="53">
                      <a:moveTo>
                        <a:pt x="24" y="53"/>
                      </a:moveTo>
                      <a:lnTo>
                        <a:pt x="24" y="53"/>
                      </a:lnTo>
                      <a:lnTo>
                        <a:pt x="33" y="48"/>
                      </a:lnTo>
                      <a:lnTo>
                        <a:pt x="40" y="42"/>
                      </a:lnTo>
                      <a:lnTo>
                        <a:pt x="45" y="38"/>
                      </a:lnTo>
                      <a:lnTo>
                        <a:pt x="45" y="31"/>
                      </a:lnTo>
                      <a:lnTo>
                        <a:pt x="47" y="26"/>
                      </a:lnTo>
                      <a:lnTo>
                        <a:pt x="48" y="25"/>
                      </a:lnTo>
                      <a:lnTo>
                        <a:pt x="49" y="23"/>
                      </a:lnTo>
                      <a:lnTo>
                        <a:pt x="52" y="26"/>
                      </a:lnTo>
                      <a:lnTo>
                        <a:pt x="57" y="29"/>
                      </a:lnTo>
                      <a:lnTo>
                        <a:pt x="62" y="33"/>
                      </a:lnTo>
                      <a:lnTo>
                        <a:pt x="67" y="34"/>
                      </a:lnTo>
                      <a:lnTo>
                        <a:pt x="70" y="35"/>
                      </a:lnTo>
                      <a:lnTo>
                        <a:pt x="72" y="38"/>
                      </a:lnTo>
                      <a:lnTo>
                        <a:pt x="72" y="37"/>
                      </a:lnTo>
                      <a:lnTo>
                        <a:pt x="71" y="29"/>
                      </a:lnTo>
                      <a:lnTo>
                        <a:pt x="68" y="22"/>
                      </a:lnTo>
                      <a:lnTo>
                        <a:pt x="66" y="19"/>
                      </a:lnTo>
                      <a:lnTo>
                        <a:pt x="62" y="18"/>
                      </a:lnTo>
                      <a:lnTo>
                        <a:pt x="58" y="14"/>
                      </a:lnTo>
                      <a:lnTo>
                        <a:pt x="54" y="9"/>
                      </a:lnTo>
                      <a:lnTo>
                        <a:pt x="52" y="6"/>
                      </a:lnTo>
                      <a:lnTo>
                        <a:pt x="49" y="2"/>
                      </a:lnTo>
                      <a:lnTo>
                        <a:pt x="47" y="0"/>
                      </a:lnTo>
                      <a:lnTo>
                        <a:pt x="43" y="0"/>
                      </a:lnTo>
                      <a:lnTo>
                        <a:pt x="37" y="1"/>
                      </a:lnTo>
                      <a:lnTo>
                        <a:pt x="21" y="3"/>
                      </a:lnTo>
                      <a:lnTo>
                        <a:pt x="0" y="7"/>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79" name="Freeform 1330"/>
                <p:cNvSpPr>
                  <a:spLocks/>
                </p:cNvSpPr>
                <p:nvPr/>
              </p:nvSpPr>
              <p:spPr bwMode="auto">
                <a:xfrm>
                  <a:off x="5193874" y="2966828"/>
                  <a:ext cx="358129" cy="202742"/>
                </a:xfrm>
                <a:custGeom>
                  <a:avLst/>
                  <a:gdLst>
                    <a:gd name="T0" fmla="*/ 0 w 262"/>
                    <a:gd name="T1" fmla="*/ 2147483647 h 137"/>
                    <a:gd name="T2" fmla="*/ 2147483647 w 262"/>
                    <a:gd name="T3" fmla="*/ 2147483647 h 137"/>
                    <a:gd name="T4" fmla="*/ 2147483647 w 262"/>
                    <a:gd name="T5" fmla="*/ 2147483647 h 137"/>
                    <a:gd name="T6" fmla="*/ 2147483647 w 262"/>
                    <a:gd name="T7" fmla="*/ 2147483647 h 137"/>
                    <a:gd name="T8" fmla="*/ 2147483647 w 262"/>
                    <a:gd name="T9" fmla="*/ 2147483647 h 137"/>
                    <a:gd name="T10" fmla="*/ 2147483647 w 262"/>
                    <a:gd name="T11" fmla="*/ 2147483647 h 137"/>
                    <a:gd name="T12" fmla="*/ 2147483647 w 262"/>
                    <a:gd name="T13" fmla="*/ 2147483647 h 137"/>
                    <a:gd name="T14" fmla="*/ 2147483647 w 262"/>
                    <a:gd name="T15" fmla="*/ 2147483647 h 137"/>
                    <a:gd name="T16" fmla="*/ 2147483647 w 262"/>
                    <a:gd name="T17" fmla="*/ 2147483647 h 137"/>
                    <a:gd name="T18" fmla="*/ 2147483647 w 262"/>
                    <a:gd name="T19" fmla="*/ 2147483647 h 137"/>
                    <a:gd name="T20" fmla="*/ 2147483647 w 262"/>
                    <a:gd name="T21" fmla="*/ 2147483647 h 137"/>
                    <a:gd name="T22" fmla="*/ 2147483647 w 262"/>
                    <a:gd name="T23" fmla="*/ 2147483647 h 137"/>
                    <a:gd name="T24" fmla="*/ 2147483647 w 262"/>
                    <a:gd name="T25" fmla="*/ 2147483647 h 137"/>
                    <a:gd name="T26" fmla="*/ 2147483647 w 262"/>
                    <a:gd name="T27" fmla="*/ 2147483647 h 137"/>
                    <a:gd name="T28" fmla="*/ 2147483647 w 262"/>
                    <a:gd name="T29" fmla="*/ 2147483647 h 137"/>
                    <a:gd name="T30" fmla="*/ 2147483647 w 262"/>
                    <a:gd name="T31" fmla="*/ 2147483647 h 137"/>
                    <a:gd name="T32" fmla="*/ 2147483647 w 262"/>
                    <a:gd name="T33" fmla="*/ 0 h 137"/>
                    <a:gd name="T34" fmla="*/ 2147483647 w 262"/>
                    <a:gd name="T35" fmla="*/ 2147483647 h 137"/>
                    <a:gd name="T36" fmla="*/ 2147483647 w 262"/>
                    <a:gd name="T37" fmla="*/ 2147483647 h 137"/>
                    <a:gd name="T38" fmla="*/ 2147483647 w 262"/>
                    <a:gd name="T39" fmla="*/ 2147483647 h 137"/>
                    <a:gd name="T40" fmla="*/ 2147483647 w 262"/>
                    <a:gd name="T41" fmla="*/ 0 h 137"/>
                    <a:gd name="T42" fmla="*/ 2147483647 w 262"/>
                    <a:gd name="T43" fmla="*/ 2147483647 h 137"/>
                    <a:gd name="T44" fmla="*/ 2147483647 w 262"/>
                    <a:gd name="T45" fmla="*/ 2147483647 h 137"/>
                    <a:gd name="T46" fmla="*/ 2147483647 w 262"/>
                    <a:gd name="T47" fmla="*/ 2147483647 h 137"/>
                    <a:gd name="T48" fmla="*/ 2147483647 w 262"/>
                    <a:gd name="T49" fmla="*/ 2147483647 h 137"/>
                    <a:gd name="T50" fmla="*/ 2147483647 w 262"/>
                    <a:gd name="T51" fmla="*/ 2147483647 h 137"/>
                    <a:gd name="T52" fmla="*/ 2147483647 w 262"/>
                    <a:gd name="T53" fmla="*/ 2147483647 h 137"/>
                    <a:gd name="T54" fmla="*/ 2147483647 w 262"/>
                    <a:gd name="T55" fmla="*/ 2147483647 h 137"/>
                    <a:gd name="T56" fmla="*/ 2147483647 w 262"/>
                    <a:gd name="T57" fmla="*/ 2147483647 h 137"/>
                    <a:gd name="T58" fmla="*/ 2147483647 w 262"/>
                    <a:gd name="T59" fmla="*/ 2147483647 h 137"/>
                    <a:gd name="T60" fmla="*/ 2147483647 w 262"/>
                    <a:gd name="T61" fmla="*/ 2147483647 h 137"/>
                    <a:gd name="T62" fmla="*/ 2147483647 w 262"/>
                    <a:gd name="T63" fmla="*/ 2147483647 h 137"/>
                    <a:gd name="T64" fmla="*/ 2147483647 w 262"/>
                    <a:gd name="T65" fmla="*/ 2147483647 h 137"/>
                    <a:gd name="T66" fmla="*/ 2147483647 w 262"/>
                    <a:gd name="T67" fmla="*/ 2147483647 h 137"/>
                    <a:gd name="T68" fmla="*/ 2147483647 w 262"/>
                    <a:gd name="T69" fmla="*/ 2147483647 h 137"/>
                    <a:gd name="T70" fmla="*/ 2147483647 w 262"/>
                    <a:gd name="T71" fmla="*/ 2147483647 h 137"/>
                    <a:gd name="T72" fmla="*/ 2147483647 w 262"/>
                    <a:gd name="T73" fmla="*/ 2147483647 h 137"/>
                    <a:gd name="T74" fmla="*/ 2147483647 w 262"/>
                    <a:gd name="T75" fmla="*/ 2147483647 h 137"/>
                    <a:gd name="T76" fmla="*/ 2147483647 w 262"/>
                    <a:gd name="T77" fmla="*/ 2147483647 h 137"/>
                    <a:gd name="T78" fmla="*/ 2147483647 w 262"/>
                    <a:gd name="T79" fmla="*/ 2147483647 h 137"/>
                    <a:gd name="T80" fmla="*/ 2147483647 w 262"/>
                    <a:gd name="T81" fmla="*/ 2147483647 h 137"/>
                    <a:gd name="T82" fmla="*/ 2147483647 w 262"/>
                    <a:gd name="T83" fmla="*/ 2147483647 h 137"/>
                    <a:gd name="T84" fmla="*/ 2147483647 w 262"/>
                    <a:gd name="T85" fmla="*/ 2147483647 h 1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2"/>
                    <a:gd name="T130" fmla="*/ 0 h 137"/>
                    <a:gd name="T131" fmla="*/ 262 w 262"/>
                    <a:gd name="T132" fmla="*/ 137 h 1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2" h="137">
                      <a:moveTo>
                        <a:pt x="0" y="20"/>
                      </a:moveTo>
                      <a:lnTo>
                        <a:pt x="0" y="20"/>
                      </a:lnTo>
                      <a:lnTo>
                        <a:pt x="2" y="22"/>
                      </a:lnTo>
                      <a:lnTo>
                        <a:pt x="5" y="24"/>
                      </a:lnTo>
                      <a:lnTo>
                        <a:pt x="9" y="24"/>
                      </a:lnTo>
                      <a:lnTo>
                        <a:pt x="13" y="22"/>
                      </a:lnTo>
                      <a:lnTo>
                        <a:pt x="19" y="19"/>
                      </a:lnTo>
                      <a:lnTo>
                        <a:pt x="27" y="17"/>
                      </a:lnTo>
                      <a:lnTo>
                        <a:pt x="30" y="15"/>
                      </a:lnTo>
                      <a:lnTo>
                        <a:pt x="34" y="17"/>
                      </a:lnTo>
                      <a:lnTo>
                        <a:pt x="38" y="18"/>
                      </a:lnTo>
                      <a:lnTo>
                        <a:pt x="44" y="18"/>
                      </a:lnTo>
                      <a:lnTo>
                        <a:pt x="58" y="18"/>
                      </a:lnTo>
                      <a:lnTo>
                        <a:pt x="77" y="15"/>
                      </a:lnTo>
                      <a:lnTo>
                        <a:pt x="99" y="20"/>
                      </a:lnTo>
                      <a:lnTo>
                        <a:pt x="114" y="21"/>
                      </a:lnTo>
                      <a:lnTo>
                        <a:pt x="121" y="21"/>
                      </a:lnTo>
                      <a:lnTo>
                        <a:pt x="128" y="19"/>
                      </a:lnTo>
                      <a:lnTo>
                        <a:pt x="131" y="17"/>
                      </a:lnTo>
                      <a:lnTo>
                        <a:pt x="133" y="11"/>
                      </a:lnTo>
                      <a:lnTo>
                        <a:pt x="137" y="6"/>
                      </a:lnTo>
                      <a:lnTo>
                        <a:pt x="138" y="5"/>
                      </a:lnTo>
                      <a:lnTo>
                        <a:pt x="141" y="4"/>
                      </a:lnTo>
                      <a:lnTo>
                        <a:pt x="150" y="4"/>
                      </a:lnTo>
                      <a:lnTo>
                        <a:pt x="156" y="4"/>
                      </a:lnTo>
                      <a:lnTo>
                        <a:pt x="162" y="1"/>
                      </a:lnTo>
                      <a:lnTo>
                        <a:pt x="166" y="0"/>
                      </a:lnTo>
                      <a:lnTo>
                        <a:pt x="169" y="0"/>
                      </a:lnTo>
                      <a:lnTo>
                        <a:pt x="171" y="2"/>
                      </a:lnTo>
                      <a:lnTo>
                        <a:pt x="173" y="4"/>
                      </a:lnTo>
                      <a:lnTo>
                        <a:pt x="176" y="7"/>
                      </a:lnTo>
                      <a:lnTo>
                        <a:pt x="178" y="7"/>
                      </a:lnTo>
                      <a:lnTo>
                        <a:pt x="180" y="4"/>
                      </a:lnTo>
                      <a:lnTo>
                        <a:pt x="182" y="1"/>
                      </a:lnTo>
                      <a:lnTo>
                        <a:pt x="183" y="0"/>
                      </a:lnTo>
                      <a:lnTo>
                        <a:pt x="185" y="0"/>
                      </a:lnTo>
                      <a:lnTo>
                        <a:pt x="187" y="1"/>
                      </a:lnTo>
                      <a:lnTo>
                        <a:pt x="190" y="4"/>
                      </a:lnTo>
                      <a:lnTo>
                        <a:pt x="193" y="5"/>
                      </a:lnTo>
                      <a:lnTo>
                        <a:pt x="194" y="4"/>
                      </a:lnTo>
                      <a:lnTo>
                        <a:pt x="198" y="4"/>
                      </a:lnTo>
                      <a:lnTo>
                        <a:pt x="203" y="4"/>
                      </a:lnTo>
                      <a:lnTo>
                        <a:pt x="208" y="4"/>
                      </a:lnTo>
                      <a:lnTo>
                        <a:pt x="212" y="5"/>
                      </a:lnTo>
                      <a:lnTo>
                        <a:pt x="213" y="7"/>
                      </a:lnTo>
                      <a:lnTo>
                        <a:pt x="216" y="11"/>
                      </a:lnTo>
                      <a:lnTo>
                        <a:pt x="221" y="18"/>
                      </a:lnTo>
                      <a:lnTo>
                        <a:pt x="222" y="21"/>
                      </a:lnTo>
                      <a:lnTo>
                        <a:pt x="225" y="27"/>
                      </a:lnTo>
                      <a:lnTo>
                        <a:pt x="227" y="30"/>
                      </a:lnTo>
                      <a:lnTo>
                        <a:pt x="231" y="33"/>
                      </a:lnTo>
                      <a:lnTo>
                        <a:pt x="235" y="36"/>
                      </a:lnTo>
                      <a:lnTo>
                        <a:pt x="241" y="38"/>
                      </a:lnTo>
                      <a:lnTo>
                        <a:pt x="248" y="40"/>
                      </a:lnTo>
                      <a:lnTo>
                        <a:pt x="251" y="43"/>
                      </a:lnTo>
                      <a:lnTo>
                        <a:pt x="255" y="46"/>
                      </a:lnTo>
                      <a:lnTo>
                        <a:pt x="256" y="49"/>
                      </a:lnTo>
                      <a:lnTo>
                        <a:pt x="258" y="51"/>
                      </a:lnTo>
                      <a:lnTo>
                        <a:pt x="258" y="54"/>
                      </a:lnTo>
                      <a:lnTo>
                        <a:pt x="258" y="62"/>
                      </a:lnTo>
                      <a:lnTo>
                        <a:pt x="258" y="71"/>
                      </a:lnTo>
                      <a:lnTo>
                        <a:pt x="260" y="81"/>
                      </a:lnTo>
                      <a:lnTo>
                        <a:pt x="262" y="90"/>
                      </a:lnTo>
                      <a:lnTo>
                        <a:pt x="262" y="100"/>
                      </a:lnTo>
                      <a:lnTo>
                        <a:pt x="259" y="108"/>
                      </a:lnTo>
                      <a:lnTo>
                        <a:pt x="258" y="113"/>
                      </a:lnTo>
                      <a:lnTo>
                        <a:pt x="254" y="116"/>
                      </a:lnTo>
                      <a:lnTo>
                        <a:pt x="248" y="120"/>
                      </a:lnTo>
                      <a:lnTo>
                        <a:pt x="245" y="122"/>
                      </a:lnTo>
                      <a:lnTo>
                        <a:pt x="245" y="124"/>
                      </a:lnTo>
                      <a:lnTo>
                        <a:pt x="246" y="130"/>
                      </a:lnTo>
                      <a:lnTo>
                        <a:pt x="249" y="137"/>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0" name="Freeform 1331"/>
                <p:cNvSpPr>
                  <a:spLocks/>
                </p:cNvSpPr>
                <p:nvPr/>
              </p:nvSpPr>
              <p:spPr bwMode="auto">
                <a:xfrm>
                  <a:off x="5187954" y="2882471"/>
                  <a:ext cx="84352" cy="53275"/>
                </a:xfrm>
                <a:custGeom>
                  <a:avLst/>
                  <a:gdLst>
                    <a:gd name="T0" fmla="*/ 2147483647 w 62"/>
                    <a:gd name="T1" fmla="*/ 0 h 36"/>
                    <a:gd name="T2" fmla="*/ 2147483647 w 62"/>
                    <a:gd name="T3" fmla="*/ 2147483647 h 36"/>
                    <a:gd name="T4" fmla="*/ 2147483647 w 62"/>
                    <a:gd name="T5" fmla="*/ 2147483647 h 36"/>
                    <a:gd name="T6" fmla="*/ 2147483647 w 62"/>
                    <a:gd name="T7" fmla="*/ 2147483647 h 36"/>
                    <a:gd name="T8" fmla="*/ 2147483647 w 62"/>
                    <a:gd name="T9" fmla="*/ 2147483647 h 36"/>
                    <a:gd name="T10" fmla="*/ 2147483647 w 62"/>
                    <a:gd name="T11" fmla="*/ 2147483647 h 36"/>
                    <a:gd name="T12" fmla="*/ 2147483647 w 62"/>
                    <a:gd name="T13" fmla="*/ 2147483647 h 36"/>
                    <a:gd name="T14" fmla="*/ 2147483647 w 62"/>
                    <a:gd name="T15" fmla="*/ 2147483647 h 36"/>
                    <a:gd name="T16" fmla="*/ 2147483647 w 62"/>
                    <a:gd name="T17" fmla="*/ 2147483647 h 36"/>
                    <a:gd name="T18" fmla="*/ 2147483647 w 62"/>
                    <a:gd name="T19" fmla="*/ 2147483647 h 36"/>
                    <a:gd name="T20" fmla="*/ 2147483647 w 62"/>
                    <a:gd name="T21" fmla="*/ 2147483647 h 36"/>
                    <a:gd name="T22" fmla="*/ 2147483647 w 62"/>
                    <a:gd name="T23" fmla="*/ 2147483647 h 36"/>
                    <a:gd name="T24" fmla="*/ 2147483647 w 62"/>
                    <a:gd name="T25" fmla="*/ 2147483647 h 36"/>
                    <a:gd name="T26" fmla="*/ 2147483647 w 62"/>
                    <a:gd name="T27" fmla="*/ 2147483647 h 36"/>
                    <a:gd name="T28" fmla="*/ 2147483647 w 62"/>
                    <a:gd name="T29" fmla="*/ 2147483647 h 36"/>
                    <a:gd name="T30" fmla="*/ 2147483647 w 62"/>
                    <a:gd name="T31" fmla="*/ 2147483647 h 36"/>
                    <a:gd name="T32" fmla="*/ 2147483647 w 62"/>
                    <a:gd name="T33" fmla="*/ 2147483647 h 36"/>
                    <a:gd name="T34" fmla="*/ 2147483647 w 62"/>
                    <a:gd name="T35" fmla="*/ 2147483647 h 36"/>
                    <a:gd name="T36" fmla="*/ 2147483647 w 62"/>
                    <a:gd name="T37" fmla="*/ 2147483647 h 36"/>
                    <a:gd name="T38" fmla="*/ 2147483647 w 62"/>
                    <a:gd name="T39" fmla="*/ 2147483647 h 36"/>
                    <a:gd name="T40" fmla="*/ 2147483647 w 62"/>
                    <a:gd name="T41" fmla="*/ 2147483647 h 36"/>
                    <a:gd name="T42" fmla="*/ 2147483647 w 62"/>
                    <a:gd name="T43" fmla="*/ 2147483647 h 36"/>
                    <a:gd name="T44" fmla="*/ 2147483647 w 62"/>
                    <a:gd name="T45" fmla="*/ 2147483647 h 36"/>
                    <a:gd name="T46" fmla="*/ 2147483647 w 62"/>
                    <a:gd name="T47" fmla="*/ 2147483647 h 36"/>
                    <a:gd name="T48" fmla="*/ 2147483647 w 62"/>
                    <a:gd name="T49" fmla="*/ 2147483647 h 36"/>
                    <a:gd name="T50" fmla="*/ 2147483647 w 62"/>
                    <a:gd name="T51" fmla="*/ 2147483647 h 36"/>
                    <a:gd name="T52" fmla="*/ 2147483647 w 62"/>
                    <a:gd name="T53" fmla="*/ 2147483647 h 36"/>
                    <a:gd name="T54" fmla="*/ 2147483647 w 62"/>
                    <a:gd name="T55" fmla="*/ 2147483647 h 36"/>
                    <a:gd name="T56" fmla="*/ 2147483647 w 62"/>
                    <a:gd name="T57" fmla="*/ 2147483647 h 36"/>
                    <a:gd name="T58" fmla="*/ 2147483647 w 62"/>
                    <a:gd name="T59" fmla="*/ 2147483647 h 36"/>
                    <a:gd name="T60" fmla="*/ 2147483647 w 62"/>
                    <a:gd name="T61" fmla="*/ 2147483647 h 36"/>
                    <a:gd name="T62" fmla="*/ 2147483647 w 62"/>
                    <a:gd name="T63" fmla="*/ 2147483647 h 36"/>
                    <a:gd name="T64" fmla="*/ 2147483647 w 62"/>
                    <a:gd name="T65" fmla="*/ 2147483647 h 36"/>
                    <a:gd name="T66" fmla="*/ 2147483647 w 62"/>
                    <a:gd name="T67" fmla="*/ 2147483647 h 36"/>
                    <a:gd name="T68" fmla="*/ 2147483647 w 62"/>
                    <a:gd name="T69" fmla="*/ 2147483647 h 36"/>
                    <a:gd name="T70" fmla="*/ 0 w 62"/>
                    <a:gd name="T71" fmla="*/ 2147483647 h 36"/>
                    <a:gd name="T72" fmla="*/ 0 w 62"/>
                    <a:gd name="T73" fmla="*/ 2147483647 h 36"/>
                    <a:gd name="T74" fmla="*/ 2147483647 w 62"/>
                    <a:gd name="T75" fmla="*/ 2147483647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2"/>
                    <a:gd name="T115" fmla="*/ 0 h 36"/>
                    <a:gd name="T116" fmla="*/ 62 w 62"/>
                    <a:gd name="T117" fmla="*/ 36 h 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2" h="36">
                      <a:moveTo>
                        <a:pt x="62" y="0"/>
                      </a:moveTo>
                      <a:lnTo>
                        <a:pt x="54" y="11"/>
                      </a:lnTo>
                      <a:lnTo>
                        <a:pt x="54" y="12"/>
                      </a:lnTo>
                      <a:lnTo>
                        <a:pt x="53" y="13"/>
                      </a:lnTo>
                      <a:lnTo>
                        <a:pt x="52" y="14"/>
                      </a:lnTo>
                      <a:lnTo>
                        <a:pt x="51" y="17"/>
                      </a:lnTo>
                      <a:lnTo>
                        <a:pt x="51" y="18"/>
                      </a:lnTo>
                      <a:lnTo>
                        <a:pt x="49" y="19"/>
                      </a:lnTo>
                      <a:lnTo>
                        <a:pt x="49" y="21"/>
                      </a:lnTo>
                      <a:lnTo>
                        <a:pt x="48" y="21"/>
                      </a:lnTo>
                      <a:lnTo>
                        <a:pt x="47" y="21"/>
                      </a:lnTo>
                      <a:lnTo>
                        <a:pt x="47" y="23"/>
                      </a:lnTo>
                      <a:lnTo>
                        <a:pt x="46" y="26"/>
                      </a:lnTo>
                      <a:lnTo>
                        <a:pt x="47" y="30"/>
                      </a:lnTo>
                      <a:lnTo>
                        <a:pt x="47" y="33"/>
                      </a:lnTo>
                      <a:lnTo>
                        <a:pt x="46" y="34"/>
                      </a:lnTo>
                      <a:lnTo>
                        <a:pt x="43" y="36"/>
                      </a:lnTo>
                      <a:lnTo>
                        <a:pt x="38" y="36"/>
                      </a:lnTo>
                      <a:lnTo>
                        <a:pt x="34" y="34"/>
                      </a:lnTo>
                      <a:lnTo>
                        <a:pt x="33" y="33"/>
                      </a:lnTo>
                      <a:lnTo>
                        <a:pt x="32" y="32"/>
                      </a:lnTo>
                      <a:lnTo>
                        <a:pt x="30" y="31"/>
                      </a:lnTo>
                      <a:lnTo>
                        <a:pt x="30" y="30"/>
                      </a:lnTo>
                      <a:lnTo>
                        <a:pt x="29" y="30"/>
                      </a:lnTo>
                      <a:lnTo>
                        <a:pt x="24" y="30"/>
                      </a:lnTo>
                      <a:lnTo>
                        <a:pt x="10" y="31"/>
                      </a:lnTo>
                      <a:lnTo>
                        <a:pt x="1" y="32"/>
                      </a:lnTo>
                      <a:lnTo>
                        <a:pt x="0" y="33"/>
                      </a:lnTo>
                      <a:lnTo>
                        <a:pt x="0" y="34"/>
                      </a:lnTo>
                      <a:lnTo>
                        <a:pt x="2" y="34"/>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1" name="Freeform 1332"/>
                <p:cNvSpPr>
                  <a:spLocks/>
                </p:cNvSpPr>
                <p:nvPr/>
              </p:nvSpPr>
              <p:spPr bwMode="auto">
                <a:xfrm>
                  <a:off x="5334459" y="2843996"/>
                  <a:ext cx="66595" cy="128749"/>
                </a:xfrm>
                <a:custGeom>
                  <a:avLst/>
                  <a:gdLst>
                    <a:gd name="T0" fmla="*/ 0 w 49"/>
                    <a:gd name="T1" fmla="*/ 0 h 87"/>
                    <a:gd name="T2" fmla="*/ 2147483647 w 49"/>
                    <a:gd name="T3" fmla="*/ 2147483647 h 87"/>
                    <a:gd name="T4" fmla="*/ 2147483647 w 49"/>
                    <a:gd name="T5" fmla="*/ 2147483647 h 87"/>
                    <a:gd name="T6" fmla="*/ 2147483647 w 49"/>
                    <a:gd name="T7" fmla="*/ 2147483647 h 87"/>
                    <a:gd name="T8" fmla="*/ 2147483647 w 49"/>
                    <a:gd name="T9" fmla="*/ 2147483647 h 87"/>
                    <a:gd name="T10" fmla="*/ 2147483647 w 49"/>
                    <a:gd name="T11" fmla="*/ 2147483647 h 87"/>
                    <a:gd name="T12" fmla="*/ 2147483647 w 49"/>
                    <a:gd name="T13" fmla="*/ 2147483647 h 87"/>
                    <a:gd name="T14" fmla="*/ 2147483647 w 49"/>
                    <a:gd name="T15" fmla="*/ 2147483647 h 87"/>
                    <a:gd name="T16" fmla="*/ 2147483647 w 49"/>
                    <a:gd name="T17" fmla="*/ 2147483647 h 87"/>
                    <a:gd name="T18" fmla="*/ 2147483647 w 49"/>
                    <a:gd name="T19" fmla="*/ 2147483647 h 87"/>
                    <a:gd name="T20" fmla="*/ 2147483647 w 49"/>
                    <a:gd name="T21" fmla="*/ 2147483647 h 87"/>
                    <a:gd name="T22" fmla="*/ 2147483647 w 49"/>
                    <a:gd name="T23" fmla="*/ 2147483647 h 87"/>
                    <a:gd name="T24" fmla="*/ 2147483647 w 49"/>
                    <a:gd name="T25" fmla="*/ 2147483647 h 87"/>
                    <a:gd name="T26" fmla="*/ 2147483647 w 49"/>
                    <a:gd name="T27" fmla="*/ 2147483647 h 87"/>
                    <a:gd name="T28" fmla="*/ 2147483647 w 49"/>
                    <a:gd name="T29" fmla="*/ 2147483647 h 87"/>
                    <a:gd name="T30" fmla="*/ 2147483647 w 49"/>
                    <a:gd name="T31" fmla="*/ 2147483647 h 87"/>
                    <a:gd name="T32" fmla="*/ 2147483647 w 49"/>
                    <a:gd name="T33" fmla="*/ 2147483647 h 87"/>
                    <a:gd name="T34" fmla="*/ 2147483647 w 49"/>
                    <a:gd name="T35" fmla="*/ 2147483647 h 87"/>
                    <a:gd name="T36" fmla="*/ 2147483647 w 49"/>
                    <a:gd name="T37" fmla="*/ 2147483647 h 87"/>
                    <a:gd name="T38" fmla="*/ 2147483647 w 49"/>
                    <a:gd name="T39" fmla="*/ 2147483647 h 87"/>
                    <a:gd name="T40" fmla="*/ 2147483647 w 49"/>
                    <a:gd name="T41" fmla="*/ 2147483647 h 87"/>
                    <a:gd name="T42" fmla="*/ 2147483647 w 49"/>
                    <a:gd name="T43" fmla="*/ 2147483647 h 87"/>
                    <a:gd name="T44" fmla="*/ 2147483647 w 49"/>
                    <a:gd name="T45" fmla="*/ 2147483647 h 87"/>
                    <a:gd name="T46" fmla="*/ 2147483647 w 49"/>
                    <a:gd name="T47" fmla="*/ 2147483647 h 87"/>
                    <a:gd name="T48" fmla="*/ 2147483647 w 49"/>
                    <a:gd name="T49" fmla="*/ 2147483647 h 87"/>
                    <a:gd name="T50" fmla="*/ 2147483647 w 49"/>
                    <a:gd name="T51" fmla="*/ 2147483647 h 87"/>
                    <a:gd name="T52" fmla="*/ 2147483647 w 49"/>
                    <a:gd name="T53" fmla="*/ 2147483647 h 87"/>
                    <a:gd name="T54" fmla="*/ 2147483647 w 49"/>
                    <a:gd name="T55" fmla="*/ 2147483647 h 87"/>
                    <a:gd name="T56" fmla="*/ 0 w 49"/>
                    <a:gd name="T57" fmla="*/ 0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
                    <a:gd name="T88" fmla="*/ 0 h 87"/>
                    <a:gd name="T89" fmla="*/ 49 w 4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 h="87">
                      <a:moveTo>
                        <a:pt x="0" y="0"/>
                      </a:moveTo>
                      <a:lnTo>
                        <a:pt x="3" y="2"/>
                      </a:lnTo>
                      <a:lnTo>
                        <a:pt x="8" y="5"/>
                      </a:lnTo>
                      <a:lnTo>
                        <a:pt x="11" y="7"/>
                      </a:lnTo>
                      <a:lnTo>
                        <a:pt x="13" y="11"/>
                      </a:lnTo>
                      <a:lnTo>
                        <a:pt x="16" y="18"/>
                      </a:lnTo>
                      <a:lnTo>
                        <a:pt x="17" y="22"/>
                      </a:lnTo>
                      <a:lnTo>
                        <a:pt x="17" y="30"/>
                      </a:lnTo>
                      <a:lnTo>
                        <a:pt x="17" y="31"/>
                      </a:lnTo>
                      <a:lnTo>
                        <a:pt x="20" y="32"/>
                      </a:lnTo>
                      <a:lnTo>
                        <a:pt x="24" y="32"/>
                      </a:lnTo>
                      <a:lnTo>
                        <a:pt x="29" y="36"/>
                      </a:lnTo>
                      <a:lnTo>
                        <a:pt x="39" y="43"/>
                      </a:lnTo>
                      <a:lnTo>
                        <a:pt x="41" y="44"/>
                      </a:lnTo>
                      <a:lnTo>
                        <a:pt x="43" y="44"/>
                      </a:lnTo>
                      <a:lnTo>
                        <a:pt x="47" y="45"/>
                      </a:lnTo>
                      <a:lnTo>
                        <a:pt x="48" y="45"/>
                      </a:lnTo>
                      <a:lnTo>
                        <a:pt x="49" y="47"/>
                      </a:lnTo>
                      <a:lnTo>
                        <a:pt x="49" y="50"/>
                      </a:lnTo>
                      <a:lnTo>
                        <a:pt x="48" y="52"/>
                      </a:lnTo>
                      <a:lnTo>
                        <a:pt x="47" y="52"/>
                      </a:lnTo>
                      <a:lnTo>
                        <a:pt x="47" y="53"/>
                      </a:lnTo>
                      <a:lnTo>
                        <a:pt x="44" y="57"/>
                      </a:lnTo>
                      <a:lnTo>
                        <a:pt x="41" y="66"/>
                      </a:lnTo>
                      <a:lnTo>
                        <a:pt x="41" y="70"/>
                      </a:lnTo>
                      <a:lnTo>
                        <a:pt x="44" y="75"/>
                      </a:lnTo>
                      <a:lnTo>
                        <a:pt x="48" y="82"/>
                      </a:lnTo>
                      <a:lnTo>
                        <a:pt x="49" y="87"/>
                      </a:lnTo>
                      <a:lnTo>
                        <a:pt x="0"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2" name="Freeform 1333"/>
                <p:cNvSpPr>
                  <a:spLocks/>
                </p:cNvSpPr>
                <p:nvPr/>
              </p:nvSpPr>
              <p:spPr bwMode="auto">
                <a:xfrm>
                  <a:off x="5306342" y="4727874"/>
                  <a:ext cx="57715" cy="150946"/>
                </a:xfrm>
                <a:custGeom>
                  <a:avLst/>
                  <a:gdLst>
                    <a:gd name="T0" fmla="*/ 2147483647 w 42"/>
                    <a:gd name="T1" fmla="*/ 2147483647 h 102"/>
                    <a:gd name="T2" fmla="*/ 2147483647 w 42"/>
                    <a:gd name="T3" fmla="*/ 2147483647 h 102"/>
                    <a:gd name="T4" fmla="*/ 2147483647 w 42"/>
                    <a:gd name="T5" fmla="*/ 2147483647 h 102"/>
                    <a:gd name="T6" fmla="*/ 2147483647 w 42"/>
                    <a:gd name="T7" fmla="*/ 2147483647 h 102"/>
                    <a:gd name="T8" fmla="*/ 2147483647 w 42"/>
                    <a:gd name="T9" fmla="*/ 2147483647 h 102"/>
                    <a:gd name="T10" fmla="*/ 2147483647 w 42"/>
                    <a:gd name="T11" fmla="*/ 2147483647 h 102"/>
                    <a:gd name="T12" fmla="*/ 2147483647 w 42"/>
                    <a:gd name="T13" fmla="*/ 2147483647 h 102"/>
                    <a:gd name="T14" fmla="*/ 2147483647 w 42"/>
                    <a:gd name="T15" fmla="*/ 2147483647 h 102"/>
                    <a:gd name="T16" fmla="*/ 2147483647 w 42"/>
                    <a:gd name="T17" fmla="*/ 2147483647 h 102"/>
                    <a:gd name="T18" fmla="*/ 2147483647 w 42"/>
                    <a:gd name="T19" fmla="*/ 2147483647 h 102"/>
                    <a:gd name="T20" fmla="*/ 2147483647 w 42"/>
                    <a:gd name="T21" fmla="*/ 2147483647 h 102"/>
                    <a:gd name="T22" fmla="*/ 2147483647 w 42"/>
                    <a:gd name="T23" fmla="*/ 2147483647 h 102"/>
                    <a:gd name="T24" fmla="*/ 2147483647 w 42"/>
                    <a:gd name="T25" fmla="*/ 2147483647 h 102"/>
                    <a:gd name="T26" fmla="*/ 2147483647 w 42"/>
                    <a:gd name="T27" fmla="*/ 2147483647 h 102"/>
                    <a:gd name="T28" fmla="*/ 2147483647 w 42"/>
                    <a:gd name="T29" fmla="*/ 2147483647 h 102"/>
                    <a:gd name="T30" fmla="*/ 2147483647 w 42"/>
                    <a:gd name="T31" fmla="*/ 2147483647 h 102"/>
                    <a:gd name="T32" fmla="*/ 2147483647 w 42"/>
                    <a:gd name="T33" fmla="*/ 2147483647 h 102"/>
                    <a:gd name="T34" fmla="*/ 2147483647 w 42"/>
                    <a:gd name="T35" fmla="*/ 2147483647 h 102"/>
                    <a:gd name="T36" fmla="*/ 2147483647 w 42"/>
                    <a:gd name="T37" fmla="*/ 2147483647 h 102"/>
                    <a:gd name="T38" fmla="*/ 2147483647 w 42"/>
                    <a:gd name="T39" fmla="*/ 2147483647 h 102"/>
                    <a:gd name="T40" fmla="*/ 2147483647 w 42"/>
                    <a:gd name="T41" fmla="*/ 2147483647 h 102"/>
                    <a:gd name="T42" fmla="*/ 2147483647 w 42"/>
                    <a:gd name="T43" fmla="*/ 2147483647 h 102"/>
                    <a:gd name="T44" fmla="*/ 2147483647 w 42"/>
                    <a:gd name="T45" fmla="*/ 2147483647 h 102"/>
                    <a:gd name="T46" fmla="*/ 2147483647 w 42"/>
                    <a:gd name="T47" fmla="*/ 2147483647 h 102"/>
                    <a:gd name="T48" fmla="*/ 2147483647 w 42"/>
                    <a:gd name="T49" fmla="*/ 2147483647 h 102"/>
                    <a:gd name="T50" fmla="*/ 2147483647 w 42"/>
                    <a:gd name="T51" fmla="*/ 2147483647 h 102"/>
                    <a:gd name="T52" fmla="*/ 2147483647 w 42"/>
                    <a:gd name="T53" fmla="*/ 2147483647 h 102"/>
                    <a:gd name="T54" fmla="*/ 0 w 42"/>
                    <a:gd name="T55" fmla="*/ 2147483647 h 102"/>
                    <a:gd name="T56" fmla="*/ 0 w 42"/>
                    <a:gd name="T57" fmla="*/ 2147483647 h 102"/>
                    <a:gd name="T58" fmla="*/ 2147483647 w 42"/>
                    <a:gd name="T59" fmla="*/ 2147483647 h 102"/>
                    <a:gd name="T60" fmla="*/ 2147483647 w 42"/>
                    <a:gd name="T61" fmla="*/ 2147483647 h 102"/>
                    <a:gd name="T62" fmla="*/ 2147483647 w 42"/>
                    <a:gd name="T63" fmla="*/ 0 h 102"/>
                    <a:gd name="T64" fmla="*/ 2147483647 w 42"/>
                    <a:gd name="T65" fmla="*/ 0 h 102"/>
                    <a:gd name="T66" fmla="*/ 2147483647 w 42"/>
                    <a:gd name="T67" fmla="*/ 2147483647 h 102"/>
                    <a:gd name="T68" fmla="*/ 2147483647 w 42"/>
                    <a:gd name="T69" fmla="*/ 2147483647 h 102"/>
                    <a:gd name="T70" fmla="*/ 2147483647 w 42"/>
                    <a:gd name="T71" fmla="*/ 2147483647 h 102"/>
                    <a:gd name="T72" fmla="*/ 2147483647 w 42"/>
                    <a:gd name="T73" fmla="*/ 2147483647 h 102"/>
                    <a:gd name="T74" fmla="*/ 2147483647 w 42"/>
                    <a:gd name="T75" fmla="*/ 2147483647 h 102"/>
                    <a:gd name="T76" fmla="*/ 2147483647 w 42"/>
                    <a:gd name="T77" fmla="*/ 2147483647 h 102"/>
                    <a:gd name="T78" fmla="*/ 2147483647 w 42"/>
                    <a:gd name="T79" fmla="*/ 2147483647 h 102"/>
                    <a:gd name="T80" fmla="*/ 2147483647 w 42"/>
                    <a:gd name="T81" fmla="*/ 2147483647 h 102"/>
                    <a:gd name="T82" fmla="*/ 2147483647 w 42"/>
                    <a:gd name="T83" fmla="*/ 2147483647 h 102"/>
                    <a:gd name="T84" fmla="*/ 2147483647 w 42"/>
                    <a:gd name="T85" fmla="*/ 2147483647 h 1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102"/>
                    <a:gd name="T131" fmla="*/ 42 w 42"/>
                    <a:gd name="T132" fmla="*/ 102 h 1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102">
                      <a:moveTo>
                        <a:pt x="14" y="51"/>
                      </a:moveTo>
                      <a:lnTo>
                        <a:pt x="17" y="56"/>
                      </a:lnTo>
                      <a:lnTo>
                        <a:pt x="21" y="60"/>
                      </a:lnTo>
                      <a:lnTo>
                        <a:pt x="25" y="63"/>
                      </a:lnTo>
                      <a:lnTo>
                        <a:pt x="26" y="68"/>
                      </a:lnTo>
                      <a:lnTo>
                        <a:pt x="30" y="76"/>
                      </a:lnTo>
                      <a:lnTo>
                        <a:pt x="33" y="83"/>
                      </a:lnTo>
                      <a:lnTo>
                        <a:pt x="39" y="89"/>
                      </a:lnTo>
                      <a:lnTo>
                        <a:pt x="41" y="96"/>
                      </a:lnTo>
                      <a:lnTo>
                        <a:pt x="42" y="100"/>
                      </a:lnTo>
                      <a:lnTo>
                        <a:pt x="41" y="102"/>
                      </a:lnTo>
                      <a:lnTo>
                        <a:pt x="36" y="102"/>
                      </a:lnTo>
                      <a:lnTo>
                        <a:pt x="32" y="102"/>
                      </a:lnTo>
                      <a:lnTo>
                        <a:pt x="30" y="100"/>
                      </a:lnTo>
                      <a:lnTo>
                        <a:pt x="27" y="97"/>
                      </a:lnTo>
                      <a:lnTo>
                        <a:pt x="25" y="95"/>
                      </a:lnTo>
                      <a:lnTo>
                        <a:pt x="23" y="92"/>
                      </a:lnTo>
                      <a:lnTo>
                        <a:pt x="23" y="83"/>
                      </a:lnTo>
                      <a:lnTo>
                        <a:pt x="22" y="82"/>
                      </a:lnTo>
                      <a:lnTo>
                        <a:pt x="21" y="81"/>
                      </a:lnTo>
                      <a:lnTo>
                        <a:pt x="18" y="75"/>
                      </a:lnTo>
                      <a:lnTo>
                        <a:pt x="16" y="69"/>
                      </a:lnTo>
                      <a:lnTo>
                        <a:pt x="8" y="60"/>
                      </a:lnTo>
                      <a:lnTo>
                        <a:pt x="7" y="56"/>
                      </a:lnTo>
                      <a:lnTo>
                        <a:pt x="8" y="51"/>
                      </a:lnTo>
                      <a:lnTo>
                        <a:pt x="4" y="45"/>
                      </a:lnTo>
                      <a:lnTo>
                        <a:pt x="2" y="39"/>
                      </a:lnTo>
                      <a:lnTo>
                        <a:pt x="0" y="33"/>
                      </a:lnTo>
                      <a:lnTo>
                        <a:pt x="0" y="28"/>
                      </a:lnTo>
                      <a:lnTo>
                        <a:pt x="3" y="14"/>
                      </a:lnTo>
                      <a:lnTo>
                        <a:pt x="6" y="1"/>
                      </a:lnTo>
                      <a:lnTo>
                        <a:pt x="7" y="0"/>
                      </a:lnTo>
                      <a:lnTo>
                        <a:pt x="8" y="0"/>
                      </a:lnTo>
                      <a:lnTo>
                        <a:pt x="11" y="5"/>
                      </a:lnTo>
                      <a:lnTo>
                        <a:pt x="12" y="10"/>
                      </a:lnTo>
                      <a:lnTo>
                        <a:pt x="12" y="18"/>
                      </a:lnTo>
                      <a:lnTo>
                        <a:pt x="12" y="28"/>
                      </a:lnTo>
                      <a:lnTo>
                        <a:pt x="13" y="32"/>
                      </a:lnTo>
                      <a:lnTo>
                        <a:pt x="14" y="36"/>
                      </a:lnTo>
                      <a:lnTo>
                        <a:pt x="14" y="39"/>
                      </a:lnTo>
                      <a:lnTo>
                        <a:pt x="14" y="43"/>
                      </a:lnTo>
                      <a:lnTo>
                        <a:pt x="13" y="48"/>
                      </a:lnTo>
                      <a:lnTo>
                        <a:pt x="14" y="5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3" name="Freeform 1334"/>
                <p:cNvSpPr>
                  <a:spLocks/>
                </p:cNvSpPr>
                <p:nvPr/>
              </p:nvSpPr>
              <p:spPr bwMode="auto">
                <a:xfrm>
                  <a:off x="5364059" y="4615402"/>
                  <a:ext cx="79913" cy="88792"/>
                </a:xfrm>
                <a:custGeom>
                  <a:avLst/>
                  <a:gdLst>
                    <a:gd name="T0" fmla="*/ 2147483647 w 59"/>
                    <a:gd name="T1" fmla="*/ 2147483647 h 60"/>
                    <a:gd name="T2" fmla="*/ 2147483647 w 59"/>
                    <a:gd name="T3" fmla="*/ 2147483647 h 60"/>
                    <a:gd name="T4" fmla="*/ 2147483647 w 59"/>
                    <a:gd name="T5" fmla="*/ 2147483647 h 60"/>
                    <a:gd name="T6" fmla="*/ 2147483647 w 59"/>
                    <a:gd name="T7" fmla="*/ 2147483647 h 60"/>
                    <a:gd name="T8" fmla="*/ 2147483647 w 59"/>
                    <a:gd name="T9" fmla="*/ 2147483647 h 60"/>
                    <a:gd name="T10" fmla="*/ 2147483647 w 59"/>
                    <a:gd name="T11" fmla="*/ 2147483647 h 60"/>
                    <a:gd name="T12" fmla="*/ 2147483647 w 59"/>
                    <a:gd name="T13" fmla="*/ 2147483647 h 60"/>
                    <a:gd name="T14" fmla="*/ 2147483647 w 59"/>
                    <a:gd name="T15" fmla="*/ 2147483647 h 60"/>
                    <a:gd name="T16" fmla="*/ 2147483647 w 59"/>
                    <a:gd name="T17" fmla="*/ 2147483647 h 60"/>
                    <a:gd name="T18" fmla="*/ 2147483647 w 59"/>
                    <a:gd name="T19" fmla="*/ 2147483647 h 60"/>
                    <a:gd name="T20" fmla="*/ 2147483647 w 59"/>
                    <a:gd name="T21" fmla="*/ 0 h 60"/>
                    <a:gd name="T22" fmla="*/ 2147483647 w 59"/>
                    <a:gd name="T23" fmla="*/ 0 h 60"/>
                    <a:gd name="T24" fmla="*/ 2147483647 w 59"/>
                    <a:gd name="T25" fmla="*/ 2147483647 h 60"/>
                    <a:gd name="T26" fmla="*/ 2147483647 w 59"/>
                    <a:gd name="T27" fmla="*/ 2147483647 h 60"/>
                    <a:gd name="T28" fmla="*/ 2147483647 w 59"/>
                    <a:gd name="T29" fmla="*/ 2147483647 h 60"/>
                    <a:gd name="T30" fmla="*/ 2147483647 w 59"/>
                    <a:gd name="T31" fmla="*/ 2147483647 h 60"/>
                    <a:gd name="T32" fmla="*/ 2147483647 w 59"/>
                    <a:gd name="T33" fmla="*/ 2147483647 h 60"/>
                    <a:gd name="T34" fmla="*/ 0 w 59"/>
                    <a:gd name="T35" fmla="*/ 2147483647 h 60"/>
                    <a:gd name="T36" fmla="*/ 2147483647 w 59"/>
                    <a:gd name="T37" fmla="*/ 2147483647 h 60"/>
                    <a:gd name="T38" fmla="*/ 2147483647 w 59"/>
                    <a:gd name="T39" fmla="*/ 2147483647 h 60"/>
                    <a:gd name="T40" fmla="*/ 2147483647 w 59"/>
                    <a:gd name="T41" fmla="*/ 2147483647 h 60"/>
                    <a:gd name="T42" fmla="*/ 2147483647 w 59"/>
                    <a:gd name="T43" fmla="*/ 2147483647 h 60"/>
                    <a:gd name="T44" fmla="*/ 2147483647 w 59"/>
                    <a:gd name="T45" fmla="*/ 2147483647 h 60"/>
                    <a:gd name="T46" fmla="*/ 2147483647 w 59"/>
                    <a:gd name="T47" fmla="*/ 2147483647 h 60"/>
                    <a:gd name="T48" fmla="*/ 0 w 59"/>
                    <a:gd name="T49" fmla="*/ 2147483647 h 60"/>
                    <a:gd name="T50" fmla="*/ 2147483647 w 59"/>
                    <a:gd name="T51" fmla="*/ 2147483647 h 60"/>
                    <a:gd name="T52" fmla="*/ 2147483647 w 59"/>
                    <a:gd name="T53" fmla="*/ 2147483647 h 60"/>
                    <a:gd name="T54" fmla="*/ 2147483647 w 59"/>
                    <a:gd name="T55" fmla="*/ 2147483647 h 60"/>
                    <a:gd name="T56" fmla="*/ 2147483647 w 59"/>
                    <a:gd name="T57" fmla="*/ 2147483647 h 60"/>
                    <a:gd name="T58" fmla="*/ 2147483647 w 59"/>
                    <a:gd name="T59" fmla="*/ 2147483647 h 60"/>
                    <a:gd name="T60" fmla="*/ 2147483647 w 59"/>
                    <a:gd name="T61" fmla="*/ 2147483647 h 60"/>
                    <a:gd name="T62" fmla="*/ 2147483647 w 59"/>
                    <a:gd name="T63" fmla="*/ 2147483647 h 60"/>
                    <a:gd name="T64" fmla="*/ 2147483647 w 59"/>
                    <a:gd name="T65" fmla="*/ 2147483647 h 60"/>
                    <a:gd name="T66" fmla="*/ 2147483647 w 59"/>
                    <a:gd name="T67" fmla="*/ 2147483647 h 60"/>
                    <a:gd name="T68" fmla="*/ 2147483647 w 59"/>
                    <a:gd name="T69" fmla="*/ 2147483647 h 60"/>
                    <a:gd name="T70" fmla="*/ 2147483647 w 59"/>
                    <a:gd name="T71" fmla="*/ 2147483647 h 60"/>
                    <a:gd name="T72" fmla="*/ 2147483647 w 59"/>
                    <a:gd name="T73" fmla="*/ 2147483647 h 60"/>
                    <a:gd name="T74" fmla="*/ 2147483647 w 59"/>
                    <a:gd name="T75" fmla="*/ 2147483647 h 60"/>
                    <a:gd name="T76" fmla="*/ 2147483647 w 59"/>
                    <a:gd name="T77" fmla="*/ 2147483647 h 60"/>
                    <a:gd name="T78" fmla="*/ 2147483647 w 59"/>
                    <a:gd name="T79" fmla="*/ 2147483647 h 60"/>
                    <a:gd name="T80" fmla="*/ 2147483647 w 59"/>
                    <a:gd name="T81" fmla="*/ 2147483647 h 60"/>
                    <a:gd name="T82" fmla="*/ 2147483647 w 59"/>
                    <a:gd name="T83" fmla="*/ 2147483647 h 60"/>
                    <a:gd name="T84" fmla="*/ 2147483647 w 59"/>
                    <a:gd name="T85" fmla="*/ 2147483647 h 60"/>
                    <a:gd name="T86" fmla="*/ 2147483647 w 59"/>
                    <a:gd name="T87" fmla="*/ 2147483647 h 60"/>
                    <a:gd name="T88" fmla="*/ 2147483647 w 59"/>
                    <a:gd name="T89" fmla="*/ 2147483647 h 60"/>
                    <a:gd name="T90" fmla="*/ 2147483647 w 59"/>
                    <a:gd name="T91" fmla="*/ 2147483647 h 60"/>
                    <a:gd name="T92" fmla="*/ 2147483647 w 59"/>
                    <a:gd name="T93" fmla="*/ 2147483647 h 60"/>
                    <a:gd name="T94" fmla="*/ 2147483647 w 59"/>
                    <a:gd name="T95" fmla="*/ 2147483647 h 60"/>
                    <a:gd name="T96" fmla="*/ 2147483647 w 59"/>
                    <a:gd name="T97" fmla="*/ 2147483647 h 60"/>
                    <a:gd name="T98" fmla="*/ 2147483647 w 59"/>
                    <a:gd name="T99" fmla="*/ 2147483647 h 60"/>
                    <a:gd name="T100" fmla="*/ 2147483647 w 59"/>
                    <a:gd name="T101" fmla="*/ 2147483647 h 60"/>
                    <a:gd name="T102" fmla="*/ 2147483647 w 59"/>
                    <a:gd name="T103" fmla="*/ 2147483647 h 60"/>
                    <a:gd name="T104" fmla="*/ 2147483647 w 59"/>
                    <a:gd name="T105" fmla="*/ 2147483647 h 60"/>
                    <a:gd name="T106" fmla="*/ 2147483647 w 59"/>
                    <a:gd name="T107" fmla="*/ 2147483647 h 6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
                    <a:gd name="T163" fmla="*/ 0 h 60"/>
                    <a:gd name="T164" fmla="*/ 59 w 59"/>
                    <a:gd name="T165" fmla="*/ 60 h 6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 h="60">
                      <a:moveTo>
                        <a:pt x="49" y="23"/>
                      </a:moveTo>
                      <a:lnTo>
                        <a:pt x="49" y="21"/>
                      </a:lnTo>
                      <a:lnTo>
                        <a:pt x="52" y="19"/>
                      </a:lnTo>
                      <a:lnTo>
                        <a:pt x="56" y="19"/>
                      </a:lnTo>
                      <a:lnTo>
                        <a:pt x="59" y="18"/>
                      </a:lnTo>
                      <a:lnTo>
                        <a:pt x="59" y="17"/>
                      </a:lnTo>
                      <a:lnTo>
                        <a:pt x="58" y="16"/>
                      </a:lnTo>
                      <a:lnTo>
                        <a:pt x="51" y="8"/>
                      </a:lnTo>
                      <a:lnTo>
                        <a:pt x="47" y="4"/>
                      </a:lnTo>
                      <a:lnTo>
                        <a:pt x="42" y="3"/>
                      </a:lnTo>
                      <a:lnTo>
                        <a:pt x="36" y="0"/>
                      </a:lnTo>
                      <a:lnTo>
                        <a:pt x="28" y="0"/>
                      </a:lnTo>
                      <a:lnTo>
                        <a:pt x="22" y="2"/>
                      </a:lnTo>
                      <a:lnTo>
                        <a:pt x="17" y="5"/>
                      </a:lnTo>
                      <a:lnTo>
                        <a:pt x="11" y="9"/>
                      </a:lnTo>
                      <a:lnTo>
                        <a:pt x="7" y="13"/>
                      </a:lnTo>
                      <a:lnTo>
                        <a:pt x="3" y="19"/>
                      </a:lnTo>
                      <a:lnTo>
                        <a:pt x="0" y="25"/>
                      </a:lnTo>
                      <a:lnTo>
                        <a:pt x="3" y="25"/>
                      </a:lnTo>
                      <a:lnTo>
                        <a:pt x="4" y="26"/>
                      </a:lnTo>
                      <a:lnTo>
                        <a:pt x="5" y="29"/>
                      </a:lnTo>
                      <a:lnTo>
                        <a:pt x="5" y="34"/>
                      </a:lnTo>
                      <a:lnTo>
                        <a:pt x="4" y="37"/>
                      </a:lnTo>
                      <a:lnTo>
                        <a:pt x="2" y="45"/>
                      </a:lnTo>
                      <a:lnTo>
                        <a:pt x="0" y="50"/>
                      </a:lnTo>
                      <a:lnTo>
                        <a:pt x="2" y="55"/>
                      </a:lnTo>
                      <a:lnTo>
                        <a:pt x="3" y="57"/>
                      </a:lnTo>
                      <a:lnTo>
                        <a:pt x="5" y="58"/>
                      </a:lnTo>
                      <a:lnTo>
                        <a:pt x="8" y="60"/>
                      </a:lnTo>
                      <a:lnTo>
                        <a:pt x="11" y="58"/>
                      </a:lnTo>
                      <a:lnTo>
                        <a:pt x="16" y="54"/>
                      </a:lnTo>
                      <a:lnTo>
                        <a:pt x="21" y="53"/>
                      </a:lnTo>
                      <a:lnTo>
                        <a:pt x="26" y="54"/>
                      </a:lnTo>
                      <a:lnTo>
                        <a:pt x="31" y="56"/>
                      </a:lnTo>
                      <a:lnTo>
                        <a:pt x="35" y="57"/>
                      </a:lnTo>
                      <a:lnTo>
                        <a:pt x="38" y="56"/>
                      </a:lnTo>
                      <a:lnTo>
                        <a:pt x="45" y="53"/>
                      </a:lnTo>
                      <a:lnTo>
                        <a:pt x="45" y="50"/>
                      </a:lnTo>
                      <a:lnTo>
                        <a:pt x="44" y="49"/>
                      </a:lnTo>
                      <a:lnTo>
                        <a:pt x="42" y="47"/>
                      </a:lnTo>
                      <a:lnTo>
                        <a:pt x="40" y="45"/>
                      </a:lnTo>
                      <a:lnTo>
                        <a:pt x="38" y="43"/>
                      </a:lnTo>
                      <a:lnTo>
                        <a:pt x="37" y="43"/>
                      </a:lnTo>
                      <a:lnTo>
                        <a:pt x="38" y="42"/>
                      </a:lnTo>
                      <a:lnTo>
                        <a:pt x="44" y="36"/>
                      </a:lnTo>
                      <a:lnTo>
                        <a:pt x="45" y="34"/>
                      </a:lnTo>
                      <a:lnTo>
                        <a:pt x="45" y="30"/>
                      </a:lnTo>
                      <a:lnTo>
                        <a:pt x="46" y="30"/>
                      </a:lnTo>
                      <a:lnTo>
                        <a:pt x="47" y="29"/>
                      </a:lnTo>
                      <a:lnTo>
                        <a:pt x="47" y="28"/>
                      </a:lnTo>
                      <a:lnTo>
                        <a:pt x="49" y="26"/>
                      </a:lnTo>
                      <a:lnTo>
                        <a:pt x="47" y="25"/>
                      </a:lnTo>
                      <a:lnTo>
                        <a:pt x="47" y="24"/>
                      </a:lnTo>
                      <a:lnTo>
                        <a:pt x="49" y="2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4" name="Freeform 1335"/>
                <p:cNvSpPr>
                  <a:spLocks/>
                </p:cNvSpPr>
                <p:nvPr/>
              </p:nvSpPr>
              <p:spPr bwMode="auto">
                <a:xfrm>
                  <a:off x="5418812" y="4895100"/>
                  <a:ext cx="22198" cy="66595"/>
                </a:xfrm>
                <a:custGeom>
                  <a:avLst/>
                  <a:gdLst>
                    <a:gd name="T0" fmla="*/ 2147483647 w 16"/>
                    <a:gd name="T1" fmla="*/ 2147483647 h 45"/>
                    <a:gd name="T2" fmla="*/ 2147483647 w 16"/>
                    <a:gd name="T3" fmla="*/ 2147483647 h 45"/>
                    <a:gd name="T4" fmla="*/ 2147483647 w 16"/>
                    <a:gd name="T5" fmla="*/ 2147483647 h 45"/>
                    <a:gd name="T6" fmla="*/ 2147483647 w 16"/>
                    <a:gd name="T7" fmla="*/ 2147483647 h 45"/>
                    <a:gd name="T8" fmla="*/ 2147483647 w 16"/>
                    <a:gd name="T9" fmla="*/ 2147483647 h 45"/>
                    <a:gd name="T10" fmla="*/ 2147483647 w 16"/>
                    <a:gd name="T11" fmla="*/ 2147483647 h 45"/>
                    <a:gd name="T12" fmla="*/ 2147483647 w 16"/>
                    <a:gd name="T13" fmla="*/ 2147483647 h 45"/>
                    <a:gd name="T14" fmla="*/ 2147483647 w 16"/>
                    <a:gd name="T15" fmla="*/ 2147483647 h 45"/>
                    <a:gd name="T16" fmla="*/ 2147483647 w 16"/>
                    <a:gd name="T17" fmla="*/ 0 h 45"/>
                    <a:gd name="T18" fmla="*/ 0 w 16"/>
                    <a:gd name="T19" fmla="*/ 2147483647 h 45"/>
                    <a:gd name="T20" fmla="*/ 0 w 16"/>
                    <a:gd name="T21" fmla="*/ 2147483647 h 45"/>
                    <a:gd name="T22" fmla="*/ 0 w 16"/>
                    <a:gd name="T23" fmla="*/ 2147483647 h 45"/>
                    <a:gd name="T24" fmla="*/ 2147483647 w 16"/>
                    <a:gd name="T25" fmla="*/ 2147483647 h 45"/>
                    <a:gd name="T26" fmla="*/ 2147483647 w 16"/>
                    <a:gd name="T27" fmla="*/ 2147483647 h 45"/>
                    <a:gd name="T28" fmla="*/ 2147483647 w 16"/>
                    <a:gd name="T29" fmla="*/ 2147483647 h 45"/>
                    <a:gd name="T30" fmla="*/ 2147483647 w 16"/>
                    <a:gd name="T31" fmla="*/ 2147483647 h 45"/>
                    <a:gd name="T32" fmla="*/ 2147483647 w 16"/>
                    <a:gd name="T33" fmla="*/ 2147483647 h 45"/>
                    <a:gd name="T34" fmla="*/ 2147483647 w 16"/>
                    <a:gd name="T35" fmla="*/ 2147483647 h 45"/>
                    <a:gd name="T36" fmla="*/ 2147483647 w 16"/>
                    <a:gd name="T37" fmla="*/ 2147483647 h 45"/>
                    <a:gd name="T38" fmla="*/ 2147483647 w 16"/>
                    <a:gd name="T39" fmla="*/ 2147483647 h 45"/>
                    <a:gd name="T40" fmla="*/ 2147483647 w 16"/>
                    <a:gd name="T41" fmla="*/ 2147483647 h 45"/>
                    <a:gd name="T42" fmla="*/ 2147483647 w 16"/>
                    <a:gd name="T43" fmla="*/ 2147483647 h 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45"/>
                    <a:gd name="T68" fmla="*/ 16 w 16"/>
                    <a:gd name="T69" fmla="*/ 45 h 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45">
                      <a:moveTo>
                        <a:pt x="16" y="43"/>
                      </a:moveTo>
                      <a:lnTo>
                        <a:pt x="16" y="39"/>
                      </a:lnTo>
                      <a:lnTo>
                        <a:pt x="16" y="31"/>
                      </a:lnTo>
                      <a:lnTo>
                        <a:pt x="16" y="21"/>
                      </a:lnTo>
                      <a:lnTo>
                        <a:pt x="14" y="16"/>
                      </a:lnTo>
                      <a:lnTo>
                        <a:pt x="11" y="13"/>
                      </a:lnTo>
                      <a:lnTo>
                        <a:pt x="7" y="8"/>
                      </a:lnTo>
                      <a:lnTo>
                        <a:pt x="4" y="3"/>
                      </a:lnTo>
                      <a:lnTo>
                        <a:pt x="1" y="0"/>
                      </a:lnTo>
                      <a:lnTo>
                        <a:pt x="0" y="1"/>
                      </a:lnTo>
                      <a:lnTo>
                        <a:pt x="0" y="2"/>
                      </a:lnTo>
                      <a:lnTo>
                        <a:pt x="0" y="8"/>
                      </a:lnTo>
                      <a:lnTo>
                        <a:pt x="1" y="12"/>
                      </a:lnTo>
                      <a:lnTo>
                        <a:pt x="4" y="18"/>
                      </a:lnTo>
                      <a:lnTo>
                        <a:pt x="7" y="32"/>
                      </a:lnTo>
                      <a:lnTo>
                        <a:pt x="9" y="37"/>
                      </a:lnTo>
                      <a:lnTo>
                        <a:pt x="9" y="40"/>
                      </a:lnTo>
                      <a:lnTo>
                        <a:pt x="9" y="43"/>
                      </a:lnTo>
                      <a:lnTo>
                        <a:pt x="10" y="45"/>
                      </a:lnTo>
                      <a:lnTo>
                        <a:pt x="12" y="45"/>
                      </a:lnTo>
                      <a:lnTo>
                        <a:pt x="15" y="44"/>
                      </a:lnTo>
                      <a:lnTo>
                        <a:pt x="16" y="4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5" name="Freeform 1336"/>
                <p:cNvSpPr>
                  <a:spLocks/>
                </p:cNvSpPr>
                <p:nvPr/>
              </p:nvSpPr>
              <p:spPr bwMode="auto">
                <a:xfrm>
                  <a:off x="5405495" y="3564696"/>
                  <a:ext cx="2960" cy="34037"/>
                </a:xfrm>
                <a:custGeom>
                  <a:avLst/>
                  <a:gdLst>
                    <a:gd name="T0" fmla="*/ 0 w 2"/>
                    <a:gd name="T1" fmla="*/ 0 h 23"/>
                    <a:gd name="T2" fmla="*/ 2147483647 w 2"/>
                    <a:gd name="T3" fmla="*/ 2147483647 h 23"/>
                    <a:gd name="T4" fmla="*/ 0 w 2"/>
                    <a:gd name="T5" fmla="*/ 0 h 23"/>
                    <a:gd name="T6" fmla="*/ 0 60000 65536"/>
                    <a:gd name="T7" fmla="*/ 0 60000 65536"/>
                    <a:gd name="T8" fmla="*/ 0 60000 65536"/>
                    <a:gd name="T9" fmla="*/ 0 w 2"/>
                    <a:gd name="T10" fmla="*/ 0 h 23"/>
                    <a:gd name="T11" fmla="*/ 2 w 2"/>
                    <a:gd name="T12" fmla="*/ 23 h 23"/>
                  </a:gdLst>
                  <a:ahLst/>
                  <a:cxnLst>
                    <a:cxn ang="T6">
                      <a:pos x="T0" y="T1"/>
                    </a:cxn>
                    <a:cxn ang="T7">
                      <a:pos x="T2" y="T3"/>
                    </a:cxn>
                    <a:cxn ang="T8">
                      <a:pos x="T4" y="T5"/>
                    </a:cxn>
                  </a:cxnLst>
                  <a:rect l="T9" t="T10" r="T11" b="T12"/>
                  <a:pathLst>
                    <a:path w="2" h="23">
                      <a:moveTo>
                        <a:pt x="0" y="0"/>
                      </a:moveTo>
                      <a:lnTo>
                        <a:pt x="2" y="23"/>
                      </a:lnTo>
                      <a:lnTo>
                        <a:pt x="0"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6" name="Freeform 1337"/>
                <p:cNvSpPr>
                  <a:spLocks/>
                </p:cNvSpPr>
                <p:nvPr/>
              </p:nvSpPr>
              <p:spPr bwMode="auto">
                <a:xfrm>
                  <a:off x="5334459" y="2843996"/>
                  <a:ext cx="66595" cy="128749"/>
                </a:xfrm>
                <a:custGeom>
                  <a:avLst/>
                  <a:gdLst>
                    <a:gd name="T0" fmla="*/ 0 w 49"/>
                    <a:gd name="T1" fmla="*/ 0 h 87"/>
                    <a:gd name="T2" fmla="*/ 0 w 49"/>
                    <a:gd name="T3" fmla="*/ 0 h 87"/>
                    <a:gd name="T4" fmla="*/ 2147483647 w 49"/>
                    <a:gd name="T5" fmla="*/ 2147483647 h 87"/>
                    <a:gd name="T6" fmla="*/ 2147483647 w 49"/>
                    <a:gd name="T7" fmla="*/ 2147483647 h 87"/>
                    <a:gd name="T8" fmla="*/ 2147483647 w 49"/>
                    <a:gd name="T9" fmla="*/ 2147483647 h 87"/>
                    <a:gd name="T10" fmla="*/ 2147483647 w 49"/>
                    <a:gd name="T11" fmla="*/ 2147483647 h 87"/>
                    <a:gd name="T12" fmla="*/ 2147483647 w 49"/>
                    <a:gd name="T13" fmla="*/ 2147483647 h 87"/>
                    <a:gd name="T14" fmla="*/ 2147483647 w 49"/>
                    <a:gd name="T15" fmla="*/ 2147483647 h 87"/>
                    <a:gd name="T16" fmla="*/ 2147483647 w 49"/>
                    <a:gd name="T17" fmla="*/ 2147483647 h 87"/>
                    <a:gd name="T18" fmla="*/ 2147483647 w 49"/>
                    <a:gd name="T19" fmla="*/ 2147483647 h 87"/>
                    <a:gd name="T20" fmla="*/ 2147483647 w 49"/>
                    <a:gd name="T21" fmla="*/ 2147483647 h 87"/>
                    <a:gd name="T22" fmla="*/ 2147483647 w 49"/>
                    <a:gd name="T23" fmla="*/ 2147483647 h 87"/>
                    <a:gd name="T24" fmla="*/ 2147483647 w 49"/>
                    <a:gd name="T25" fmla="*/ 2147483647 h 87"/>
                    <a:gd name="T26" fmla="*/ 2147483647 w 49"/>
                    <a:gd name="T27" fmla="*/ 2147483647 h 87"/>
                    <a:gd name="T28" fmla="*/ 2147483647 w 49"/>
                    <a:gd name="T29" fmla="*/ 2147483647 h 87"/>
                    <a:gd name="T30" fmla="*/ 2147483647 w 49"/>
                    <a:gd name="T31" fmla="*/ 2147483647 h 87"/>
                    <a:gd name="T32" fmla="*/ 2147483647 w 49"/>
                    <a:gd name="T33" fmla="*/ 2147483647 h 87"/>
                    <a:gd name="T34" fmla="*/ 2147483647 w 49"/>
                    <a:gd name="T35" fmla="*/ 2147483647 h 87"/>
                    <a:gd name="T36" fmla="*/ 2147483647 w 49"/>
                    <a:gd name="T37" fmla="*/ 2147483647 h 87"/>
                    <a:gd name="T38" fmla="*/ 2147483647 w 49"/>
                    <a:gd name="T39" fmla="*/ 2147483647 h 87"/>
                    <a:gd name="T40" fmla="*/ 2147483647 w 49"/>
                    <a:gd name="T41" fmla="*/ 2147483647 h 87"/>
                    <a:gd name="T42" fmla="*/ 2147483647 w 49"/>
                    <a:gd name="T43" fmla="*/ 2147483647 h 87"/>
                    <a:gd name="T44" fmla="*/ 2147483647 w 49"/>
                    <a:gd name="T45" fmla="*/ 2147483647 h 87"/>
                    <a:gd name="T46" fmla="*/ 2147483647 w 49"/>
                    <a:gd name="T47" fmla="*/ 2147483647 h 87"/>
                    <a:gd name="T48" fmla="*/ 2147483647 w 49"/>
                    <a:gd name="T49" fmla="*/ 2147483647 h 87"/>
                    <a:gd name="T50" fmla="*/ 2147483647 w 49"/>
                    <a:gd name="T51" fmla="*/ 2147483647 h 87"/>
                    <a:gd name="T52" fmla="*/ 2147483647 w 49"/>
                    <a:gd name="T53" fmla="*/ 2147483647 h 87"/>
                    <a:gd name="T54" fmla="*/ 2147483647 w 49"/>
                    <a:gd name="T55" fmla="*/ 2147483647 h 87"/>
                    <a:gd name="T56" fmla="*/ 2147483647 w 49"/>
                    <a:gd name="T57" fmla="*/ 2147483647 h 87"/>
                    <a:gd name="T58" fmla="*/ 2147483647 w 49"/>
                    <a:gd name="T59" fmla="*/ 2147483647 h 87"/>
                    <a:gd name="T60" fmla="*/ 2147483647 w 49"/>
                    <a:gd name="T61" fmla="*/ 2147483647 h 87"/>
                    <a:gd name="T62" fmla="*/ 2147483647 w 49"/>
                    <a:gd name="T63" fmla="*/ 2147483647 h 87"/>
                    <a:gd name="T64" fmla="*/ 2147483647 w 49"/>
                    <a:gd name="T65" fmla="*/ 2147483647 h 87"/>
                    <a:gd name="T66" fmla="*/ 2147483647 w 49"/>
                    <a:gd name="T67" fmla="*/ 2147483647 h 87"/>
                    <a:gd name="T68" fmla="*/ 2147483647 w 49"/>
                    <a:gd name="T69" fmla="*/ 2147483647 h 87"/>
                    <a:gd name="T70" fmla="*/ 2147483647 w 49"/>
                    <a:gd name="T71" fmla="*/ 2147483647 h 87"/>
                    <a:gd name="T72" fmla="*/ 2147483647 w 49"/>
                    <a:gd name="T73" fmla="*/ 2147483647 h 87"/>
                    <a:gd name="T74" fmla="*/ 2147483647 w 49"/>
                    <a:gd name="T75" fmla="*/ 2147483647 h 8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
                    <a:gd name="T115" fmla="*/ 0 h 87"/>
                    <a:gd name="T116" fmla="*/ 49 w 49"/>
                    <a:gd name="T117" fmla="*/ 87 h 8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 h="87">
                      <a:moveTo>
                        <a:pt x="0" y="0"/>
                      </a:moveTo>
                      <a:lnTo>
                        <a:pt x="0" y="0"/>
                      </a:lnTo>
                      <a:lnTo>
                        <a:pt x="3" y="2"/>
                      </a:lnTo>
                      <a:lnTo>
                        <a:pt x="8" y="5"/>
                      </a:lnTo>
                      <a:lnTo>
                        <a:pt x="11" y="7"/>
                      </a:lnTo>
                      <a:lnTo>
                        <a:pt x="13" y="11"/>
                      </a:lnTo>
                      <a:lnTo>
                        <a:pt x="16" y="18"/>
                      </a:lnTo>
                      <a:lnTo>
                        <a:pt x="17" y="22"/>
                      </a:lnTo>
                      <a:lnTo>
                        <a:pt x="17" y="30"/>
                      </a:lnTo>
                      <a:lnTo>
                        <a:pt x="17" y="31"/>
                      </a:lnTo>
                      <a:lnTo>
                        <a:pt x="20" y="32"/>
                      </a:lnTo>
                      <a:lnTo>
                        <a:pt x="24" y="32"/>
                      </a:lnTo>
                      <a:lnTo>
                        <a:pt x="29" y="36"/>
                      </a:lnTo>
                      <a:lnTo>
                        <a:pt x="39" y="43"/>
                      </a:lnTo>
                      <a:lnTo>
                        <a:pt x="41" y="44"/>
                      </a:lnTo>
                      <a:lnTo>
                        <a:pt x="43" y="44"/>
                      </a:lnTo>
                      <a:lnTo>
                        <a:pt x="47" y="45"/>
                      </a:lnTo>
                      <a:lnTo>
                        <a:pt x="48" y="45"/>
                      </a:lnTo>
                      <a:lnTo>
                        <a:pt x="49" y="47"/>
                      </a:lnTo>
                      <a:lnTo>
                        <a:pt x="49" y="50"/>
                      </a:lnTo>
                      <a:lnTo>
                        <a:pt x="48" y="52"/>
                      </a:lnTo>
                      <a:lnTo>
                        <a:pt x="47" y="52"/>
                      </a:lnTo>
                      <a:lnTo>
                        <a:pt x="47" y="53"/>
                      </a:lnTo>
                      <a:lnTo>
                        <a:pt x="44" y="57"/>
                      </a:lnTo>
                      <a:lnTo>
                        <a:pt x="41" y="66"/>
                      </a:lnTo>
                      <a:lnTo>
                        <a:pt x="41" y="70"/>
                      </a:lnTo>
                      <a:lnTo>
                        <a:pt x="44" y="75"/>
                      </a:lnTo>
                      <a:lnTo>
                        <a:pt x="48" y="82"/>
                      </a:lnTo>
                      <a:lnTo>
                        <a:pt x="49" y="87"/>
                      </a:lnTo>
                    </a:path>
                  </a:pathLst>
                </a:custGeom>
                <a:grpFill/>
                <a:ln w="1588">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7" name="Line 1338"/>
                <p:cNvSpPr>
                  <a:spLocks noChangeShapeType="1"/>
                </p:cNvSpPr>
                <p:nvPr/>
              </p:nvSpPr>
              <p:spPr bwMode="auto">
                <a:xfrm>
                  <a:off x="5405492" y="3563213"/>
                  <a:ext cx="1480" cy="34038"/>
                </a:xfrm>
                <a:prstGeom prst="line">
                  <a:avLst/>
                </a:prstGeom>
                <a:grpFill/>
                <a:ln w="4763">
                  <a:noFill/>
                  <a:round/>
                  <a:headEnd/>
                  <a:tailEnd/>
                </a:ln>
              </p:spPr>
              <p:txBody>
                <a:bodyPr lIns="0" tIns="0" rIns="0" bIns="0"/>
                <a:lstStyle/>
                <a:p>
                  <a:pPr defTabSz="455892" fontAlgn="base">
                    <a:spcBef>
                      <a:spcPct val="0"/>
                    </a:spcBef>
                    <a:spcAft>
                      <a:spcPct val="0"/>
                    </a:spcAft>
                  </a:pPr>
                  <a:endParaRPr lang="en-US" sz="2800">
                    <a:solidFill>
                      <a:prstClr val="black"/>
                    </a:solidFill>
                  </a:endParaRPr>
                </a:p>
              </p:txBody>
            </p:sp>
            <p:sp>
              <p:nvSpPr>
                <p:cNvPr id="7088" name="Freeform 1339"/>
                <p:cNvSpPr>
                  <a:spLocks/>
                </p:cNvSpPr>
                <p:nvPr/>
              </p:nvSpPr>
              <p:spPr bwMode="auto">
                <a:xfrm>
                  <a:off x="5948605" y="3230241"/>
                  <a:ext cx="59195" cy="122829"/>
                </a:xfrm>
                <a:custGeom>
                  <a:avLst/>
                  <a:gdLst>
                    <a:gd name="T0" fmla="*/ 2147483647 w 43"/>
                    <a:gd name="T1" fmla="*/ 0 h 83"/>
                    <a:gd name="T2" fmla="*/ 2147483647 w 43"/>
                    <a:gd name="T3" fmla="*/ 0 h 83"/>
                    <a:gd name="T4" fmla="*/ 2147483647 w 43"/>
                    <a:gd name="T5" fmla="*/ 2147483647 h 83"/>
                    <a:gd name="T6" fmla="*/ 2147483647 w 43"/>
                    <a:gd name="T7" fmla="*/ 2147483647 h 83"/>
                    <a:gd name="T8" fmla="*/ 2147483647 w 43"/>
                    <a:gd name="T9" fmla="*/ 2147483647 h 83"/>
                    <a:gd name="T10" fmla="*/ 2147483647 w 43"/>
                    <a:gd name="T11" fmla="*/ 2147483647 h 83"/>
                    <a:gd name="T12" fmla="*/ 2147483647 w 43"/>
                    <a:gd name="T13" fmla="*/ 2147483647 h 83"/>
                    <a:gd name="T14" fmla="*/ 2147483647 w 43"/>
                    <a:gd name="T15" fmla="*/ 2147483647 h 83"/>
                    <a:gd name="T16" fmla="*/ 2147483647 w 43"/>
                    <a:gd name="T17" fmla="*/ 2147483647 h 83"/>
                    <a:gd name="T18" fmla="*/ 2147483647 w 43"/>
                    <a:gd name="T19" fmla="*/ 2147483647 h 83"/>
                    <a:gd name="T20" fmla="*/ 2147483647 w 43"/>
                    <a:gd name="T21" fmla="*/ 2147483647 h 83"/>
                    <a:gd name="T22" fmla="*/ 2147483647 w 43"/>
                    <a:gd name="T23" fmla="*/ 2147483647 h 83"/>
                    <a:gd name="T24" fmla="*/ 2147483647 w 43"/>
                    <a:gd name="T25" fmla="*/ 2147483647 h 83"/>
                    <a:gd name="T26" fmla="*/ 2147483647 w 43"/>
                    <a:gd name="T27" fmla="*/ 2147483647 h 83"/>
                    <a:gd name="T28" fmla="*/ 2147483647 w 43"/>
                    <a:gd name="T29" fmla="*/ 2147483647 h 83"/>
                    <a:gd name="T30" fmla="*/ 2147483647 w 43"/>
                    <a:gd name="T31" fmla="*/ 2147483647 h 83"/>
                    <a:gd name="T32" fmla="*/ 0 w 43"/>
                    <a:gd name="T33" fmla="*/ 2147483647 h 83"/>
                    <a:gd name="T34" fmla="*/ 0 w 43"/>
                    <a:gd name="T35" fmla="*/ 2147483647 h 83"/>
                    <a:gd name="T36" fmla="*/ 0 w 43"/>
                    <a:gd name="T37" fmla="*/ 2147483647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83"/>
                    <a:gd name="T59" fmla="*/ 43 w 43"/>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83">
                      <a:moveTo>
                        <a:pt x="43" y="0"/>
                      </a:moveTo>
                      <a:lnTo>
                        <a:pt x="43" y="0"/>
                      </a:lnTo>
                      <a:lnTo>
                        <a:pt x="40" y="3"/>
                      </a:lnTo>
                      <a:lnTo>
                        <a:pt x="36" y="7"/>
                      </a:lnTo>
                      <a:lnTo>
                        <a:pt x="31" y="9"/>
                      </a:lnTo>
                      <a:lnTo>
                        <a:pt x="18" y="13"/>
                      </a:lnTo>
                      <a:lnTo>
                        <a:pt x="9" y="18"/>
                      </a:lnTo>
                      <a:lnTo>
                        <a:pt x="7" y="19"/>
                      </a:lnTo>
                      <a:lnTo>
                        <a:pt x="5" y="21"/>
                      </a:lnTo>
                      <a:lnTo>
                        <a:pt x="4" y="27"/>
                      </a:lnTo>
                      <a:lnTo>
                        <a:pt x="4" y="35"/>
                      </a:lnTo>
                      <a:lnTo>
                        <a:pt x="5" y="59"/>
                      </a:lnTo>
                      <a:lnTo>
                        <a:pt x="3" y="66"/>
                      </a:lnTo>
                      <a:lnTo>
                        <a:pt x="0" y="76"/>
                      </a:lnTo>
                      <a:lnTo>
                        <a:pt x="0" y="83"/>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89" name="Freeform 1340"/>
                <p:cNvSpPr>
                  <a:spLocks/>
                </p:cNvSpPr>
                <p:nvPr/>
              </p:nvSpPr>
              <p:spPr bwMode="auto">
                <a:xfrm>
                  <a:off x="6069955" y="3259844"/>
                  <a:ext cx="229380" cy="60674"/>
                </a:xfrm>
                <a:custGeom>
                  <a:avLst/>
                  <a:gdLst>
                    <a:gd name="T0" fmla="*/ 0 w 168"/>
                    <a:gd name="T1" fmla="*/ 0 h 41"/>
                    <a:gd name="T2" fmla="*/ 0 w 168"/>
                    <a:gd name="T3" fmla="*/ 0 h 41"/>
                    <a:gd name="T4" fmla="*/ 2147483647 w 168"/>
                    <a:gd name="T5" fmla="*/ 2147483647 h 41"/>
                    <a:gd name="T6" fmla="*/ 2147483647 w 168"/>
                    <a:gd name="T7" fmla="*/ 2147483647 h 41"/>
                    <a:gd name="T8" fmla="*/ 2147483647 w 168"/>
                    <a:gd name="T9" fmla="*/ 2147483647 h 41"/>
                    <a:gd name="T10" fmla="*/ 2147483647 w 168"/>
                    <a:gd name="T11" fmla="*/ 2147483647 h 41"/>
                    <a:gd name="T12" fmla="*/ 2147483647 w 168"/>
                    <a:gd name="T13" fmla="*/ 2147483647 h 41"/>
                    <a:gd name="T14" fmla="*/ 2147483647 w 168"/>
                    <a:gd name="T15" fmla="*/ 2147483647 h 41"/>
                    <a:gd name="T16" fmla="*/ 2147483647 w 168"/>
                    <a:gd name="T17" fmla="*/ 2147483647 h 41"/>
                    <a:gd name="T18" fmla="*/ 2147483647 w 168"/>
                    <a:gd name="T19" fmla="*/ 2147483647 h 41"/>
                    <a:gd name="T20" fmla="*/ 2147483647 w 168"/>
                    <a:gd name="T21" fmla="*/ 2147483647 h 41"/>
                    <a:gd name="T22" fmla="*/ 2147483647 w 168"/>
                    <a:gd name="T23" fmla="*/ 2147483647 h 41"/>
                    <a:gd name="T24" fmla="*/ 2147483647 w 168"/>
                    <a:gd name="T25" fmla="*/ 2147483647 h 41"/>
                    <a:gd name="T26" fmla="*/ 2147483647 w 168"/>
                    <a:gd name="T27" fmla="*/ 2147483647 h 41"/>
                    <a:gd name="T28" fmla="*/ 2147483647 w 168"/>
                    <a:gd name="T29" fmla="*/ 2147483647 h 41"/>
                    <a:gd name="T30" fmla="*/ 2147483647 w 168"/>
                    <a:gd name="T31" fmla="*/ 2147483647 h 41"/>
                    <a:gd name="T32" fmla="*/ 2147483647 w 168"/>
                    <a:gd name="T33" fmla="*/ 2147483647 h 41"/>
                    <a:gd name="T34" fmla="*/ 2147483647 w 168"/>
                    <a:gd name="T35" fmla="*/ 2147483647 h 41"/>
                    <a:gd name="T36" fmla="*/ 2147483647 w 168"/>
                    <a:gd name="T37" fmla="*/ 2147483647 h 41"/>
                    <a:gd name="T38" fmla="*/ 2147483647 w 168"/>
                    <a:gd name="T39" fmla="*/ 2147483647 h 41"/>
                    <a:gd name="T40" fmla="*/ 2147483647 w 168"/>
                    <a:gd name="T41" fmla="*/ 2147483647 h 41"/>
                    <a:gd name="T42" fmla="*/ 2147483647 w 168"/>
                    <a:gd name="T43" fmla="*/ 2147483647 h 41"/>
                    <a:gd name="T44" fmla="*/ 2147483647 w 168"/>
                    <a:gd name="T45" fmla="*/ 2147483647 h 41"/>
                    <a:gd name="T46" fmla="*/ 2147483647 w 168"/>
                    <a:gd name="T47" fmla="*/ 2147483647 h 41"/>
                    <a:gd name="T48" fmla="*/ 2147483647 w 168"/>
                    <a:gd name="T49" fmla="*/ 2147483647 h 41"/>
                    <a:gd name="T50" fmla="*/ 2147483647 w 168"/>
                    <a:gd name="T51" fmla="*/ 2147483647 h 41"/>
                    <a:gd name="T52" fmla="*/ 2147483647 w 168"/>
                    <a:gd name="T53" fmla="*/ 2147483647 h 41"/>
                    <a:gd name="T54" fmla="*/ 2147483647 w 168"/>
                    <a:gd name="T55" fmla="*/ 21474836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41"/>
                    <a:gd name="T86" fmla="*/ 168 w 168"/>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41">
                      <a:moveTo>
                        <a:pt x="0" y="0"/>
                      </a:moveTo>
                      <a:lnTo>
                        <a:pt x="0" y="0"/>
                      </a:lnTo>
                      <a:lnTo>
                        <a:pt x="18" y="14"/>
                      </a:lnTo>
                      <a:lnTo>
                        <a:pt x="32" y="15"/>
                      </a:lnTo>
                      <a:lnTo>
                        <a:pt x="52" y="17"/>
                      </a:lnTo>
                      <a:lnTo>
                        <a:pt x="54" y="15"/>
                      </a:lnTo>
                      <a:lnTo>
                        <a:pt x="59" y="13"/>
                      </a:lnTo>
                      <a:lnTo>
                        <a:pt x="62" y="13"/>
                      </a:lnTo>
                      <a:lnTo>
                        <a:pt x="68" y="13"/>
                      </a:lnTo>
                      <a:lnTo>
                        <a:pt x="75" y="14"/>
                      </a:lnTo>
                      <a:lnTo>
                        <a:pt x="83" y="18"/>
                      </a:lnTo>
                      <a:lnTo>
                        <a:pt x="103" y="26"/>
                      </a:lnTo>
                      <a:lnTo>
                        <a:pt x="106" y="28"/>
                      </a:lnTo>
                      <a:lnTo>
                        <a:pt x="106" y="31"/>
                      </a:lnTo>
                      <a:lnTo>
                        <a:pt x="106" y="34"/>
                      </a:lnTo>
                      <a:lnTo>
                        <a:pt x="107" y="38"/>
                      </a:lnTo>
                      <a:lnTo>
                        <a:pt x="111" y="40"/>
                      </a:lnTo>
                      <a:lnTo>
                        <a:pt x="117" y="41"/>
                      </a:lnTo>
                      <a:lnTo>
                        <a:pt x="123" y="41"/>
                      </a:lnTo>
                      <a:lnTo>
                        <a:pt x="130" y="40"/>
                      </a:lnTo>
                      <a:lnTo>
                        <a:pt x="146" y="34"/>
                      </a:lnTo>
                      <a:lnTo>
                        <a:pt x="160" y="28"/>
                      </a:lnTo>
                      <a:lnTo>
                        <a:pt x="168" y="25"/>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0" name="Freeform 1341"/>
                <p:cNvSpPr>
                  <a:spLocks/>
                </p:cNvSpPr>
                <p:nvPr/>
              </p:nvSpPr>
              <p:spPr bwMode="auto">
                <a:xfrm>
                  <a:off x="5655594" y="3387112"/>
                  <a:ext cx="79913" cy="50315"/>
                </a:xfrm>
                <a:custGeom>
                  <a:avLst/>
                  <a:gdLst>
                    <a:gd name="T0" fmla="*/ 0 w 58"/>
                    <a:gd name="T1" fmla="*/ 2147483647 h 34"/>
                    <a:gd name="T2" fmla="*/ 0 w 58"/>
                    <a:gd name="T3" fmla="*/ 2147483647 h 34"/>
                    <a:gd name="T4" fmla="*/ 2147483647 w 58"/>
                    <a:gd name="T5" fmla="*/ 2147483647 h 34"/>
                    <a:gd name="T6" fmla="*/ 2147483647 w 58"/>
                    <a:gd name="T7" fmla="*/ 0 h 34"/>
                    <a:gd name="T8" fmla="*/ 2147483647 w 58"/>
                    <a:gd name="T9" fmla="*/ 0 h 34"/>
                    <a:gd name="T10" fmla="*/ 2147483647 w 58"/>
                    <a:gd name="T11" fmla="*/ 0 h 34"/>
                    <a:gd name="T12" fmla="*/ 2147483647 w 58"/>
                    <a:gd name="T13" fmla="*/ 0 h 34"/>
                    <a:gd name="T14" fmla="*/ 2147483647 w 58"/>
                    <a:gd name="T15" fmla="*/ 2147483647 h 34"/>
                    <a:gd name="T16" fmla="*/ 2147483647 w 58"/>
                    <a:gd name="T17" fmla="*/ 2147483647 h 34"/>
                    <a:gd name="T18" fmla="*/ 2147483647 w 58"/>
                    <a:gd name="T19" fmla="*/ 2147483647 h 34"/>
                    <a:gd name="T20" fmla="*/ 2147483647 w 58"/>
                    <a:gd name="T21" fmla="*/ 2147483647 h 34"/>
                    <a:gd name="T22" fmla="*/ 2147483647 w 58"/>
                    <a:gd name="T23" fmla="*/ 2147483647 h 34"/>
                    <a:gd name="T24" fmla="*/ 2147483647 w 58"/>
                    <a:gd name="T25" fmla="*/ 2147483647 h 34"/>
                    <a:gd name="T26" fmla="*/ 2147483647 w 58"/>
                    <a:gd name="T27" fmla="*/ 2147483647 h 34"/>
                    <a:gd name="T28" fmla="*/ 2147483647 w 58"/>
                    <a:gd name="T29" fmla="*/ 2147483647 h 34"/>
                    <a:gd name="T30" fmla="*/ 2147483647 w 58"/>
                    <a:gd name="T31" fmla="*/ 2147483647 h 34"/>
                    <a:gd name="T32" fmla="*/ 2147483647 w 58"/>
                    <a:gd name="T33" fmla="*/ 2147483647 h 34"/>
                    <a:gd name="T34" fmla="*/ 2147483647 w 58"/>
                    <a:gd name="T35" fmla="*/ 2147483647 h 34"/>
                    <a:gd name="T36" fmla="*/ 2147483647 w 58"/>
                    <a:gd name="T37" fmla="*/ 2147483647 h 34"/>
                    <a:gd name="T38" fmla="*/ 2147483647 w 58"/>
                    <a:gd name="T39" fmla="*/ 2147483647 h 34"/>
                    <a:gd name="T40" fmla="*/ 2147483647 w 58"/>
                    <a:gd name="T41" fmla="*/ 2147483647 h 34"/>
                    <a:gd name="T42" fmla="*/ 2147483647 w 58"/>
                    <a:gd name="T43" fmla="*/ 2147483647 h 34"/>
                    <a:gd name="T44" fmla="*/ 2147483647 w 58"/>
                    <a:gd name="T45" fmla="*/ 2147483647 h 34"/>
                    <a:gd name="T46" fmla="*/ 2147483647 w 58"/>
                    <a:gd name="T47" fmla="*/ 2147483647 h 34"/>
                    <a:gd name="T48" fmla="*/ 2147483647 w 58"/>
                    <a:gd name="T49" fmla="*/ 2147483647 h 34"/>
                    <a:gd name="T50" fmla="*/ 2147483647 w 58"/>
                    <a:gd name="T51" fmla="*/ 2147483647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34"/>
                    <a:gd name="T80" fmla="*/ 58 w 58"/>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34">
                      <a:moveTo>
                        <a:pt x="0" y="4"/>
                      </a:moveTo>
                      <a:lnTo>
                        <a:pt x="0" y="4"/>
                      </a:lnTo>
                      <a:lnTo>
                        <a:pt x="5" y="2"/>
                      </a:lnTo>
                      <a:lnTo>
                        <a:pt x="9" y="0"/>
                      </a:lnTo>
                      <a:lnTo>
                        <a:pt x="14" y="0"/>
                      </a:lnTo>
                      <a:lnTo>
                        <a:pt x="23" y="0"/>
                      </a:lnTo>
                      <a:lnTo>
                        <a:pt x="29" y="3"/>
                      </a:lnTo>
                      <a:lnTo>
                        <a:pt x="37" y="5"/>
                      </a:lnTo>
                      <a:lnTo>
                        <a:pt x="39" y="6"/>
                      </a:lnTo>
                      <a:lnTo>
                        <a:pt x="48" y="6"/>
                      </a:lnTo>
                      <a:lnTo>
                        <a:pt x="54" y="8"/>
                      </a:lnTo>
                      <a:lnTo>
                        <a:pt x="57" y="9"/>
                      </a:lnTo>
                      <a:lnTo>
                        <a:pt x="58" y="14"/>
                      </a:lnTo>
                      <a:lnTo>
                        <a:pt x="58" y="18"/>
                      </a:lnTo>
                      <a:lnTo>
                        <a:pt x="57" y="21"/>
                      </a:lnTo>
                      <a:lnTo>
                        <a:pt x="56" y="22"/>
                      </a:lnTo>
                      <a:lnTo>
                        <a:pt x="54" y="24"/>
                      </a:lnTo>
                      <a:lnTo>
                        <a:pt x="54" y="27"/>
                      </a:lnTo>
                      <a:lnTo>
                        <a:pt x="56" y="31"/>
                      </a:lnTo>
                      <a:lnTo>
                        <a:pt x="57" y="34"/>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1" name="Freeform 1342"/>
                <p:cNvSpPr>
                  <a:spLocks/>
                </p:cNvSpPr>
                <p:nvPr/>
              </p:nvSpPr>
              <p:spPr bwMode="auto">
                <a:xfrm>
                  <a:off x="5695548" y="3338272"/>
                  <a:ext cx="82873" cy="53275"/>
                </a:xfrm>
                <a:custGeom>
                  <a:avLst/>
                  <a:gdLst>
                    <a:gd name="T0" fmla="*/ 0 w 60"/>
                    <a:gd name="T1" fmla="*/ 2147483647 h 36"/>
                    <a:gd name="T2" fmla="*/ 0 w 60"/>
                    <a:gd name="T3" fmla="*/ 2147483647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2147483647 w 60"/>
                    <a:gd name="T13" fmla="*/ 2147483647 h 36"/>
                    <a:gd name="T14" fmla="*/ 2147483647 w 60"/>
                    <a:gd name="T15" fmla="*/ 2147483647 h 36"/>
                    <a:gd name="T16" fmla="*/ 2147483647 w 60"/>
                    <a:gd name="T17" fmla="*/ 2147483647 h 36"/>
                    <a:gd name="T18" fmla="*/ 2147483647 w 60"/>
                    <a:gd name="T19" fmla="*/ 2147483647 h 36"/>
                    <a:gd name="T20" fmla="*/ 2147483647 w 60"/>
                    <a:gd name="T21" fmla="*/ 2147483647 h 36"/>
                    <a:gd name="T22" fmla="*/ 2147483647 w 60"/>
                    <a:gd name="T23" fmla="*/ 2147483647 h 36"/>
                    <a:gd name="T24" fmla="*/ 2147483647 w 60"/>
                    <a:gd name="T25" fmla="*/ 2147483647 h 36"/>
                    <a:gd name="T26" fmla="*/ 2147483647 w 60"/>
                    <a:gd name="T27" fmla="*/ 2147483647 h 36"/>
                    <a:gd name="T28" fmla="*/ 2147483647 w 60"/>
                    <a:gd name="T29" fmla="*/ 2147483647 h 36"/>
                    <a:gd name="T30" fmla="*/ 2147483647 w 60"/>
                    <a:gd name="T31" fmla="*/ 2147483647 h 36"/>
                    <a:gd name="T32" fmla="*/ 2147483647 w 60"/>
                    <a:gd name="T33" fmla="*/ 2147483647 h 36"/>
                    <a:gd name="T34" fmla="*/ 2147483647 w 60"/>
                    <a:gd name="T35" fmla="*/ 2147483647 h 36"/>
                    <a:gd name="T36" fmla="*/ 2147483647 w 60"/>
                    <a:gd name="T37" fmla="*/ 2147483647 h 36"/>
                    <a:gd name="T38" fmla="*/ 2147483647 w 60"/>
                    <a:gd name="T39" fmla="*/ 2147483647 h 36"/>
                    <a:gd name="T40" fmla="*/ 2147483647 w 60"/>
                    <a:gd name="T41" fmla="*/ 2147483647 h 36"/>
                    <a:gd name="T42" fmla="*/ 2147483647 w 60"/>
                    <a:gd name="T43" fmla="*/ 2147483647 h 36"/>
                    <a:gd name="T44" fmla="*/ 2147483647 w 60"/>
                    <a:gd name="T45" fmla="*/ 2147483647 h 36"/>
                    <a:gd name="T46" fmla="*/ 2147483647 w 60"/>
                    <a:gd name="T47" fmla="*/ 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36"/>
                    <a:gd name="T74" fmla="*/ 60 w 60"/>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36">
                      <a:moveTo>
                        <a:pt x="0" y="36"/>
                      </a:moveTo>
                      <a:lnTo>
                        <a:pt x="0" y="36"/>
                      </a:lnTo>
                      <a:lnTo>
                        <a:pt x="4" y="31"/>
                      </a:lnTo>
                      <a:lnTo>
                        <a:pt x="6" y="28"/>
                      </a:lnTo>
                      <a:lnTo>
                        <a:pt x="10" y="25"/>
                      </a:lnTo>
                      <a:lnTo>
                        <a:pt x="13" y="25"/>
                      </a:lnTo>
                      <a:lnTo>
                        <a:pt x="15" y="25"/>
                      </a:lnTo>
                      <a:lnTo>
                        <a:pt x="16" y="25"/>
                      </a:lnTo>
                      <a:lnTo>
                        <a:pt x="19" y="24"/>
                      </a:lnTo>
                      <a:lnTo>
                        <a:pt x="22" y="23"/>
                      </a:lnTo>
                      <a:lnTo>
                        <a:pt x="23" y="23"/>
                      </a:lnTo>
                      <a:lnTo>
                        <a:pt x="24" y="22"/>
                      </a:lnTo>
                      <a:lnTo>
                        <a:pt x="23" y="17"/>
                      </a:lnTo>
                      <a:lnTo>
                        <a:pt x="23" y="10"/>
                      </a:lnTo>
                      <a:lnTo>
                        <a:pt x="23" y="7"/>
                      </a:lnTo>
                      <a:lnTo>
                        <a:pt x="25" y="6"/>
                      </a:lnTo>
                      <a:lnTo>
                        <a:pt x="33" y="5"/>
                      </a:lnTo>
                      <a:lnTo>
                        <a:pt x="43" y="4"/>
                      </a:lnTo>
                      <a:lnTo>
                        <a:pt x="52" y="3"/>
                      </a:lnTo>
                      <a:lnTo>
                        <a:pt x="60"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2" name="Freeform 1343"/>
                <p:cNvSpPr>
                  <a:spLocks/>
                </p:cNvSpPr>
                <p:nvPr/>
              </p:nvSpPr>
              <p:spPr bwMode="auto">
                <a:xfrm>
                  <a:off x="5553483" y="3295356"/>
                  <a:ext cx="176105" cy="53275"/>
                </a:xfrm>
                <a:custGeom>
                  <a:avLst/>
                  <a:gdLst>
                    <a:gd name="T0" fmla="*/ 0 w 129"/>
                    <a:gd name="T1" fmla="*/ 2147483647 h 36"/>
                    <a:gd name="T2" fmla="*/ 0 w 129"/>
                    <a:gd name="T3" fmla="*/ 2147483647 h 36"/>
                    <a:gd name="T4" fmla="*/ 2147483647 w 129"/>
                    <a:gd name="T5" fmla="*/ 0 h 36"/>
                    <a:gd name="T6" fmla="*/ 2147483647 w 129"/>
                    <a:gd name="T7" fmla="*/ 0 h 36"/>
                    <a:gd name="T8" fmla="*/ 2147483647 w 129"/>
                    <a:gd name="T9" fmla="*/ 0 h 36"/>
                    <a:gd name="T10" fmla="*/ 2147483647 w 129"/>
                    <a:gd name="T11" fmla="*/ 2147483647 h 36"/>
                    <a:gd name="T12" fmla="*/ 2147483647 w 129"/>
                    <a:gd name="T13" fmla="*/ 2147483647 h 36"/>
                    <a:gd name="T14" fmla="*/ 2147483647 w 129"/>
                    <a:gd name="T15" fmla="*/ 2147483647 h 36"/>
                    <a:gd name="T16" fmla="*/ 2147483647 w 129"/>
                    <a:gd name="T17" fmla="*/ 2147483647 h 36"/>
                    <a:gd name="T18" fmla="*/ 2147483647 w 129"/>
                    <a:gd name="T19" fmla="*/ 2147483647 h 36"/>
                    <a:gd name="T20" fmla="*/ 2147483647 w 129"/>
                    <a:gd name="T21" fmla="*/ 2147483647 h 36"/>
                    <a:gd name="T22" fmla="*/ 2147483647 w 129"/>
                    <a:gd name="T23" fmla="*/ 2147483647 h 36"/>
                    <a:gd name="T24" fmla="*/ 2147483647 w 129"/>
                    <a:gd name="T25" fmla="*/ 2147483647 h 36"/>
                    <a:gd name="T26" fmla="*/ 2147483647 w 129"/>
                    <a:gd name="T27" fmla="*/ 2147483647 h 36"/>
                    <a:gd name="T28" fmla="*/ 2147483647 w 129"/>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36"/>
                    <a:gd name="T47" fmla="*/ 129 w 129"/>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36">
                      <a:moveTo>
                        <a:pt x="0" y="1"/>
                      </a:moveTo>
                      <a:lnTo>
                        <a:pt x="0" y="1"/>
                      </a:lnTo>
                      <a:lnTo>
                        <a:pt x="18" y="0"/>
                      </a:lnTo>
                      <a:lnTo>
                        <a:pt x="32" y="0"/>
                      </a:lnTo>
                      <a:lnTo>
                        <a:pt x="37" y="0"/>
                      </a:lnTo>
                      <a:lnTo>
                        <a:pt x="40" y="1"/>
                      </a:lnTo>
                      <a:lnTo>
                        <a:pt x="56" y="8"/>
                      </a:lnTo>
                      <a:lnTo>
                        <a:pt x="68" y="13"/>
                      </a:lnTo>
                      <a:lnTo>
                        <a:pt x="96" y="25"/>
                      </a:lnTo>
                      <a:lnTo>
                        <a:pt x="114" y="33"/>
                      </a:lnTo>
                      <a:lnTo>
                        <a:pt x="124" y="36"/>
                      </a:lnTo>
                      <a:lnTo>
                        <a:pt x="129" y="36"/>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7093" name="Freeform 616"/>
                <p:cNvSpPr>
                  <a:spLocks/>
                </p:cNvSpPr>
                <p:nvPr/>
              </p:nvSpPr>
              <p:spPr bwMode="auto">
                <a:xfrm>
                  <a:off x="7012633" y="4183280"/>
                  <a:ext cx="124309" cy="146507"/>
                </a:xfrm>
                <a:custGeom>
                  <a:avLst/>
                  <a:gdLst>
                    <a:gd name="T0" fmla="*/ 2147483647 w 91"/>
                    <a:gd name="T1" fmla="*/ 2147483647 h 99"/>
                    <a:gd name="T2" fmla="*/ 2147483647 w 91"/>
                    <a:gd name="T3" fmla="*/ 2147483647 h 99"/>
                    <a:gd name="T4" fmla="*/ 2147483647 w 91"/>
                    <a:gd name="T5" fmla="*/ 2147483647 h 99"/>
                    <a:gd name="T6" fmla="*/ 2147483647 w 91"/>
                    <a:gd name="T7" fmla="*/ 2147483647 h 99"/>
                    <a:gd name="T8" fmla="*/ 2147483647 w 91"/>
                    <a:gd name="T9" fmla="*/ 2147483647 h 99"/>
                    <a:gd name="T10" fmla="*/ 2147483647 w 91"/>
                    <a:gd name="T11" fmla="*/ 2147483647 h 99"/>
                    <a:gd name="T12" fmla="*/ 2147483647 w 91"/>
                    <a:gd name="T13" fmla="*/ 2147483647 h 99"/>
                    <a:gd name="T14" fmla="*/ 2147483647 w 91"/>
                    <a:gd name="T15" fmla="*/ 2147483647 h 99"/>
                    <a:gd name="T16" fmla="*/ 2147483647 w 91"/>
                    <a:gd name="T17" fmla="*/ 2147483647 h 99"/>
                    <a:gd name="T18" fmla="*/ 2147483647 w 91"/>
                    <a:gd name="T19" fmla="*/ 2147483647 h 99"/>
                    <a:gd name="T20" fmla="*/ 2147483647 w 91"/>
                    <a:gd name="T21" fmla="*/ 2147483647 h 99"/>
                    <a:gd name="T22" fmla="*/ 2147483647 w 91"/>
                    <a:gd name="T23" fmla="*/ 2147483647 h 99"/>
                    <a:gd name="T24" fmla="*/ 2147483647 w 91"/>
                    <a:gd name="T25" fmla="*/ 2147483647 h 99"/>
                    <a:gd name="T26" fmla="*/ 2147483647 w 91"/>
                    <a:gd name="T27" fmla="*/ 2147483647 h 99"/>
                    <a:gd name="T28" fmla="*/ 2147483647 w 91"/>
                    <a:gd name="T29" fmla="*/ 2147483647 h 99"/>
                    <a:gd name="T30" fmla="*/ 2147483647 w 91"/>
                    <a:gd name="T31" fmla="*/ 2147483647 h 99"/>
                    <a:gd name="T32" fmla="*/ 2147483647 w 91"/>
                    <a:gd name="T33" fmla="*/ 2147483647 h 99"/>
                    <a:gd name="T34" fmla="*/ 2147483647 w 91"/>
                    <a:gd name="T35" fmla="*/ 2147483647 h 99"/>
                    <a:gd name="T36" fmla="*/ 2147483647 w 91"/>
                    <a:gd name="T37" fmla="*/ 2147483647 h 99"/>
                    <a:gd name="T38" fmla="*/ 2147483647 w 91"/>
                    <a:gd name="T39" fmla="*/ 2147483647 h 99"/>
                    <a:gd name="T40" fmla="*/ 2147483647 w 91"/>
                    <a:gd name="T41" fmla="*/ 2147483647 h 99"/>
                    <a:gd name="T42" fmla="*/ 2147483647 w 91"/>
                    <a:gd name="T43" fmla="*/ 2147483647 h 99"/>
                    <a:gd name="T44" fmla="*/ 2147483647 w 91"/>
                    <a:gd name="T45" fmla="*/ 2147483647 h 99"/>
                    <a:gd name="T46" fmla="*/ 2147483647 w 91"/>
                    <a:gd name="T47" fmla="*/ 2147483647 h 99"/>
                    <a:gd name="T48" fmla="*/ 2147483647 w 91"/>
                    <a:gd name="T49" fmla="*/ 2147483647 h 99"/>
                    <a:gd name="T50" fmla="*/ 2147483647 w 91"/>
                    <a:gd name="T51" fmla="*/ 0 h 99"/>
                    <a:gd name="T52" fmla="*/ 2147483647 w 91"/>
                    <a:gd name="T53" fmla="*/ 2147483647 h 99"/>
                    <a:gd name="T54" fmla="*/ 2147483647 w 91"/>
                    <a:gd name="T55" fmla="*/ 2147483647 h 99"/>
                    <a:gd name="T56" fmla="*/ 2147483647 w 91"/>
                    <a:gd name="T57" fmla="*/ 2147483647 h 99"/>
                    <a:gd name="T58" fmla="*/ 2147483647 w 91"/>
                    <a:gd name="T59" fmla="*/ 2147483647 h 99"/>
                    <a:gd name="T60" fmla="*/ 2147483647 w 91"/>
                    <a:gd name="T61" fmla="*/ 2147483647 h 99"/>
                    <a:gd name="T62" fmla="*/ 2147483647 w 91"/>
                    <a:gd name="T63" fmla="*/ 2147483647 h 99"/>
                    <a:gd name="T64" fmla="*/ 2147483647 w 91"/>
                    <a:gd name="T65" fmla="*/ 2147483647 h 99"/>
                    <a:gd name="T66" fmla="*/ 2147483647 w 91"/>
                    <a:gd name="T67" fmla="*/ 2147483647 h 99"/>
                    <a:gd name="T68" fmla="*/ 2147483647 w 91"/>
                    <a:gd name="T69" fmla="*/ 2147483647 h 99"/>
                    <a:gd name="T70" fmla="*/ 2147483647 w 91"/>
                    <a:gd name="T71" fmla="*/ 2147483647 h 99"/>
                    <a:gd name="T72" fmla="*/ 2147483647 w 91"/>
                    <a:gd name="T73" fmla="*/ 2147483647 h 99"/>
                    <a:gd name="T74" fmla="*/ 2147483647 w 91"/>
                    <a:gd name="T75" fmla="*/ 2147483647 h 99"/>
                    <a:gd name="T76" fmla="*/ 2147483647 w 91"/>
                    <a:gd name="T77" fmla="*/ 2147483647 h 99"/>
                    <a:gd name="T78" fmla="*/ 2147483647 w 91"/>
                    <a:gd name="T79" fmla="*/ 2147483647 h 99"/>
                    <a:gd name="T80" fmla="*/ 2147483647 w 91"/>
                    <a:gd name="T81" fmla="*/ 2147483647 h 99"/>
                    <a:gd name="T82" fmla="*/ 2147483647 w 91"/>
                    <a:gd name="T83" fmla="*/ 2147483647 h 99"/>
                    <a:gd name="T84" fmla="*/ 2147483647 w 91"/>
                    <a:gd name="T85" fmla="*/ 2147483647 h 99"/>
                    <a:gd name="T86" fmla="*/ 2147483647 w 91"/>
                    <a:gd name="T87" fmla="*/ 2147483647 h 99"/>
                    <a:gd name="T88" fmla="*/ 2147483647 w 91"/>
                    <a:gd name="T89" fmla="*/ 2147483647 h 99"/>
                    <a:gd name="T90" fmla="*/ 2147483647 w 91"/>
                    <a:gd name="T91" fmla="*/ 2147483647 h 99"/>
                    <a:gd name="T92" fmla="*/ 2147483647 w 91"/>
                    <a:gd name="T93" fmla="*/ 2147483647 h 99"/>
                    <a:gd name="T94" fmla="*/ 2147483647 w 91"/>
                    <a:gd name="T95" fmla="*/ 2147483647 h 99"/>
                    <a:gd name="T96" fmla="*/ 2147483647 w 91"/>
                    <a:gd name="T97" fmla="*/ 2147483647 h 99"/>
                    <a:gd name="T98" fmla="*/ 2147483647 w 91"/>
                    <a:gd name="T99" fmla="*/ 2147483647 h 99"/>
                    <a:gd name="T100" fmla="*/ 2147483647 w 91"/>
                    <a:gd name="T101" fmla="*/ 2147483647 h 99"/>
                    <a:gd name="T102" fmla="*/ 2147483647 w 91"/>
                    <a:gd name="T103" fmla="*/ 2147483647 h 99"/>
                    <a:gd name="T104" fmla="*/ 2147483647 w 91"/>
                    <a:gd name="T105" fmla="*/ 2147483647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99"/>
                    <a:gd name="T161" fmla="*/ 91 w 91"/>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99">
                      <a:moveTo>
                        <a:pt x="43" y="98"/>
                      </a:moveTo>
                      <a:lnTo>
                        <a:pt x="43" y="98"/>
                      </a:lnTo>
                      <a:lnTo>
                        <a:pt x="43" y="93"/>
                      </a:lnTo>
                      <a:lnTo>
                        <a:pt x="44" y="88"/>
                      </a:lnTo>
                      <a:lnTo>
                        <a:pt x="47" y="85"/>
                      </a:lnTo>
                      <a:lnTo>
                        <a:pt x="49" y="84"/>
                      </a:lnTo>
                      <a:lnTo>
                        <a:pt x="51" y="83"/>
                      </a:lnTo>
                      <a:lnTo>
                        <a:pt x="56" y="83"/>
                      </a:lnTo>
                      <a:lnTo>
                        <a:pt x="59" y="83"/>
                      </a:lnTo>
                      <a:lnTo>
                        <a:pt x="63" y="84"/>
                      </a:lnTo>
                      <a:lnTo>
                        <a:pt x="67" y="83"/>
                      </a:lnTo>
                      <a:lnTo>
                        <a:pt x="68" y="80"/>
                      </a:lnTo>
                      <a:lnTo>
                        <a:pt x="70" y="77"/>
                      </a:lnTo>
                      <a:lnTo>
                        <a:pt x="68" y="74"/>
                      </a:lnTo>
                      <a:lnTo>
                        <a:pt x="70" y="71"/>
                      </a:lnTo>
                      <a:lnTo>
                        <a:pt x="71" y="70"/>
                      </a:lnTo>
                      <a:lnTo>
                        <a:pt x="71" y="68"/>
                      </a:lnTo>
                      <a:lnTo>
                        <a:pt x="77" y="67"/>
                      </a:lnTo>
                      <a:lnTo>
                        <a:pt x="80" y="66"/>
                      </a:lnTo>
                      <a:lnTo>
                        <a:pt x="80" y="64"/>
                      </a:lnTo>
                      <a:lnTo>
                        <a:pt x="84" y="48"/>
                      </a:lnTo>
                      <a:lnTo>
                        <a:pt x="87" y="40"/>
                      </a:lnTo>
                      <a:lnTo>
                        <a:pt x="91" y="33"/>
                      </a:lnTo>
                      <a:lnTo>
                        <a:pt x="91" y="29"/>
                      </a:lnTo>
                      <a:lnTo>
                        <a:pt x="90" y="26"/>
                      </a:lnTo>
                      <a:lnTo>
                        <a:pt x="87" y="17"/>
                      </a:lnTo>
                      <a:lnTo>
                        <a:pt x="86" y="9"/>
                      </a:lnTo>
                      <a:lnTo>
                        <a:pt x="82" y="9"/>
                      </a:lnTo>
                      <a:lnTo>
                        <a:pt x="80" y="10"/>
                      </a:lnTo>
                      <a:lnTo>
                        <a:pt x="75" y="15"/>
                      </a:lnTo>
                      <a:lnTo>
                        <a:pt x="73" y="15"/>
                      </a:lnTo>
                      <a:lnTo>
                        <a:pt x="72" y="15"/>
                      </a:lnTo>
                      <a:lnTo>
                        <a:pt x="71" y="14"/>
                      </a:lnTo>
                      <a:lnTo>
                        <a:pt x="70" y="13"/>
                      </a:lnTo>
                      <a:lnTo>
                        <a:pt x="70" y="10"/>
                      </a:lnTo>
                      <a:lnTo>
                        <a:pt x="68" y="9"/>
                      </a:lnTo>
                      <a:lnTo>
                        <a:pt x="64" y="7"/>
                      </a:lnTo>
                      <a:lnTo>
                        <a:pt x="61" y="3"/>
                      </a:lnTo>
                      <a:lnTo>
                        <a:pt x="57" y="1"/>
                      </a:lnTo>
                      <a:lnTo>
                        <a:pt x="53" y="0"/>
                      </a:lnTo>
                      <a:lnTo>
                        <a:pt x="49" y="0"/>
                      </a:lnTo>
                      <a:lnTo>
                        <a:pt x="48" y="2"/>
                      </a:lnTo>
                      <a:lnTo>
                        <a:pt x="44" y="8"/>
                      </a:lnTo>
                      <a:lnTo>
                        <a:pt x="43" y="9"/>
                      </a:lnTo>
                      <a:lnTo>
                        <a:pt x="40" y="10"/>
                      </a:lnTo>
                      <a:lnTo>
                        <a:pt x="34" y="10"/>
                      </a:lnTo>
                      <a:lnTo>
                        <a:pt x="29" y="10"/>
                      </a:lnTo>
                      <a:lnTo>
                        <a:pt x="23" y="10"/>
                      </a:lnTo>
                      <a:lnTo>
                        <a:pt x="20" y="11"/>
                      </a:lnTo>
                      <a:lnTo>
                        <a:pt x="18" y="14"/>
                      </a:lnTo>
                      <a:lnTo>
                        <a:pt x="9" y="22"/>
                      </a:lnTo>
                      <a:lnTo>
                        <a:pt x="1" y="32"/>
                      </a:lnTo>
                      <a:lnTo>
                        <a:pt x="0" y="34"/>
                      </a:lnTo>
                      <a:lnTo>
                        <a:pt x="1" y="36"/>
                      </a:lnTo>
                      <a:lnTo>
                        <a:pt x="5" y="40"/>
                      </a:lnTo>
                      <a:lnTo>
                        <a:pt x="6" y="45"/>
                      </a:lnTo>
                      <a:lnTo>
                        <a:pt x="7" y="51"/>
                      </a:lnTo>
                      <a:lnTo>
                        <a:pt x="7" y="56"/>
                      </a:lnTo>
                      <a:lnTo>
                        <a:pt x="6" y="59"/>
                      </a:lnTo>
                      <a:lnTo>
                        <a:pt x="4" y="60"/>
                      </a:lnTo>
                      <a:lnTo>
                        <a:pt x="5" y="62"/>
                      </a:lnTo>
                      <a:lnTo>
                        <a:pt x="10" y="67"/>
                      </a:lnTo>
                      <a:lnTo>
                        <a:pt x="12" y="72"/>
                      </a:lnTo>
                      <a:lnTo>
                        <a:pt x="18" y="81"/>
                      </a:lnTo>
                      <a:lnTo>
                        <a:pt x="19" y="85"/>
                      </a:lnTo>
                      <a:lnTo>
                        <a:pt x="20" y="86"/>
                      </a:lnTo>
                      <a:lnTo>
                        <a:pt x="24" y="86"/>
                      </a:lnTo>
                      <a:lnTo>
                        <a:pt x="26" y="85"/>
                      </a:lnTo>
                      <a:lnTo>
                        <a:pt x="29" y="85"/>
                      </a:lnTo>
                      <a:lnTo>
                        <a:pt x="31" y="85"/>
                      </a:lnTo>
                      <a:lnTo>
                        <a:pt x="33" y="86"/>
                      </a:lnTo>
                      <a:lnTo>
                        <a:pt x="34" y="87"/>
                      </a:lnTo>
                      <a:lnTo>
                        <a:pt x="33" y="90"/>
                      </a:lnTo>
                      <a:lnTo>
                        <a:pt x="29" y="94"/>
                      </a:lnTo>
                      <a:lnTo>
                        <a:pt x="28" y="96"/>
                      </a:lnTo>
                      <a:lnTo>
                        <a:pt x="28" y="98"/>
                      </a:lnTo>
                      <a:lnTo>
                        <a:pt x="29" y="99"/>
                      </a:lnTo>
                      <a:lnTo>
                        <a:pt x="30" y="99"/>
                      </a:lnTo>
                      <a:lnTo>
                        <a:pt x="33" y="98"/>
                      </a:lnTo>
                      <a:lnTo>
                        <a:pt x="37" y="98"/>
                      </a:lnTo>
                      <a:lnTo>
                        <a:pt x="43" y="9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grpSp>
        </p:grpSp>
        <p:grpSp>
          <p:nvGrpSpPr>
            <p:cNvPr id="5923" name="Group 5922"/>
            <p:cNvGrpSpPr/>
            <p:nvPr/>
          </p:nvGrpSpPr>
          <p:grpSpPr>
            <a:xfrm>
              <a:off x="1679064" y="1520007"/>
              <a:ext cx="8419621" cy="4610206"/>
              <a:chOff x="563222" y="1651218"/>
              <a:chExt cx="8572271" cy="4713394"/>
            </a:xfrm>
            <a:grpFill/>
          </p:grpSpPr>
          <p:grpSp>
            <p:nvGrpSpPr>
              <p:cNvPr id="5924" name="Group 5923"/>
              <p:cNvGrpSpPr/>
              <p:nvPr/>
            </p:nvGrpSpPr>
            <p:grpSpPr>
              <a:xfrm>
                <a:off x="5903451" y="1651218"/>
                <a:ext cx="3232042" cy="4713394"/>
                <a:chOff x="566311" y="1670458"/>
                <a:chExt cx="3232042" cy="4713394"/>
              </a:xfrm>
              <a:grpFill/>
            </p:grpSpPr>
            <p:sp>
              <p:nvSpPr>
                <p:cNvPr id="6115" name="Freeform 1044"/>
                <p:cNvSpPr>
                  <a:spLocks/>
                </p:cNvSpPr>
                <p:nvPr/>
              </p:nvSpPr>
              <p:spPr bwMode="auto">
                <a:xfrm>
                  <a:off x="2866031" y="5892531"/>
                  <a:ext cx="19239" cy="54756"/>
                </a:xfrm>
                <a:custGeom>
                  <a:avLst/>
                  <a:gdLst>
                    <a:gd name="T0" fmla="*/ 2147483647 w 15"/>
                    <a:gd name="T1" fmla="*/ 2147483647 h 37"/>
                    <a:gd name="T2" fmla="*/ 2147483647 w 15"/>
                    <a:gd name="T3" fmla="*/ 2147483647 h 37"/>
                    <a:gd name="T4" fmla="*/ 2147483647 w 15"/>
                    <a:gd name="T5" fmla="*/ 0 h 37"/>
                    <a:gd name="T6" fmla="*/ 2147483647 w 15"/>
                    <a:gd name="T7" fmla="*/ 0 h 37"/>
                    <a:gd name="T8" fmla="*/ 2147483647 w 15"/>
                    <a:gd name="T9" fmla="*/ 0 h 37"/>
                    <a:gd name="T10" fmla="*/ 2147483647 w 15"/>
                    <a:gd name="T11" fmla="*/ 2147483647 h 37"/>
                    <a:gd name="T12" fmla="*/ 2147483647 w 15"/>
                    <a:gd name="T13" fmla="*/ 2147483647 h 37"/>
                    <a:gd name="T14" fmla="*/ 0 w 15"/>
                    <a:gd name="T15" fmla="*/ 2147483647 h 37"/>
                    <a:gd name="T16" fmla="*/ 0 w 15"/>
                    <a:gd name="T17" fmla="*/ 2147483647 h 37"/>
                    <a:gd name="T18" fmla="*/ 0 w 15"/>
                    <a:gd name="T19" fmla="*/ 2147483647 h 37"/>
                    <a:gd name="T20" fmla="*/ 2147483647 w 15"/>
                    <a:gd name="T21" fmla="*/ 2147483647 h 37"/>
                    <a:gd name="T22" fmla="*/ 2147483647 w 15"/>
                    <a:gd name="T23" fmla="*/ 2147483647 h 37"/>
                    <a:gd name="T24" fmla="*/ 2147483647 w 15"/>
                    <a:gd name="T25" fmla="*/ 2147483647 h 37"/>
                    <a:gd name="T26" fmla="*/ 2147483647 w 15"/>
                    <a:gd name="T27" fmla="*/ 2147483647 h 37"/>
                    <a:gd name="T28" fmla="*/ 2147483647 w 15"/>
                    <a:gd name="T29" fmla="*/ 2147483647 h 37"/>
                    <a:gd name="T30" fmla="*/ 2147483647 w 15"/>
                    <a:gd name="T31" fmla="*/ 2147483647 h 37"/>
                    <a:gd name="T32" fmla="*/ 2147483647 w 15"/>
                    <a:gd name="T33" fmla="*/ 2147483647 h 37"/>
                    <a:gd name="T34" fmla="*/ 2147483647 w 15"/>
                    <a:gd name="T35" fmla="*/ 2147483647 h 37"/>
                    <a:gd name="T36" fmla="*/ 2147483647 w 15"/>
                    <a:gd name="T37" fmla="*/ 2147483647 h 37"/>
                    <a:gd name="T38" fmla="*/ 2147483647 w 15"/>
                    <a:gd name="T39" fmla="*/ 2147483647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37"/>
                    <a:gd name="T62" fmla="*/ 15 w 15"/>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37">
                      <a:moveTo>
                        <a:pt x="15" y="12"/>
                      </a:moveTo>
                      <a:lnTo>
                        <a:pt x="12" y="4"/>
                      </a:lnTo>
                      <a:lnTo>
                        <a:pt x="11" y="0"/>
                      </a:lnTo>
                      <a:lnTo>
                        <a:pt x="10" y="0"/>
                      </a:lnTo>
                      <a:lnTo>
                        <a:pt x="8" y="0"/>
                      </a:lnTo>
                      <a:lnTo>
                        <a:pt x="3" y="3"/>
                      </a:lnTo>
                      <a:lnTo>
                        <a:pt x="1" y="6"/>
                      </a:lnTo>
                      <a:lnTo>
                        <a:pt x="0" y="10"/>
                      </a:lnTo>
                      <a:lnTo>
                        <a:pt x="0" y="16"/>
                      </a:lnTo>
                      <a:lnTo>
                        <a:pt x="0" y="27"/>
                      </a:lnTo>
                      <a:lnTo>
                        <a:pt x="1" y="37"/>
                      </a:lnTo>
                      <a:lnTo>
                        <a:pt x="7" y="31"/>
                      </a:lnTo>
                      <a:lnTo>
                        <a:pt x="11" y="30"/>
                      </a:lnTo>
                      <a:lnTo>
                        <a:pt x="15" y="31"/>
                      </a:lnTo>
                      <a:lnTo>
                        <a:pt x="15" y="28"/>
                      </a:lnTo>
                      <a:lnTo>
                        <a:pt x="15" y="24"/>
                      </a:lnTo>
                      <a:lnTo>
                        <a:pt x="14" y="22"/>
                      </a:lnTo>
                      <a:lnTo>
                        <a:pt x="15" y="18"/>
                      </a:lnTo>
                      <a:lnTo>
                        <a:pt x="15" y="15"/>
                      </a:lnTo>
                      <a:lnTo>
                        <a:pt x="15"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6" name="Freeform 1045"/>
                <p:cNvSpPr>
                  <a:spLocks/>
                </p:cNvSpPr>
                <p:nvPr/>
              </p:nvSpPr>
              <p:spPr bwMode="auto">
                <a:xfrm>
                  <a:off x="2885270" y="5979844"/>
                  <a:ext cx="16278" cy="16278"/>
                </a:xfrm>
                <a:custGeom>
                  <a:avLst/>
                  <a:gdLst>
                    <a:gd name="T0" fmla="*/ 2147483647 w 11"/>
                    <a:gd name="T1" fmla="*/ 2147483647 h 11"/>
                    <a:gd name="T2" fmla="*/ 2147483647 w 11"/>
                    <a:gd name="T3" fmla="*/ 2147483647 h 11"/>
                    <a:gd name="T4" fmla="*/ 2147483647 w 11"/>
                    <a:gd name="T5" fmla="*/ 2147483647 h 11"/>
                    <a:gd name="T6" fmla="*/ 2147483647 w 11"/>
                    <a:gd name="T7" fmla="*/ 0 h 11"/>
                    <a:gd name="T8" fmla="*/ 2147483647 w 11"/>
                    <a:gd name="T9" fmla="*/ 0 h 11"/>
                    <a:gd name="T10" fmla="*/ 2147483647 w 11"/>
                    <a:gd name="T11" fmla="*/ 0 h 11"/>
                    <a:gd name="T12" fmla="*/ 2147483647 w 11"/>
                    <a:gd name="T13" fmla="*/ 2147483647 h 11"/>
                    <a:gd name="T14" fmla="*/ 2147483647 w 11"/>
                    <a:gd name="T15" fmla="*/ 2147483647 h 11"/>
                    <a:gd name="T16" fmla="*/ 2147483647 w 11"/>
                    <a:gd name="T17" fmla="*/ 2147483647 h 11"/>
                    <a:gd name="T18" fmla="*/ 0 w 11"/>
                    <a:gd name="T19" fmla="*/ 2147483647 h 11"/>
                    <a:gd name="T20" fmla="*/ 2147483647 w 11"/>
                    <a:gd name="T21" fmla="*/ 2147483647 h 11"/>
                    <a:gd name="T22" fmla="*/ 2147483647 w 11"/>
                    <a:gd name="T23" fmla="*/ 2147483647 h 11"/>
                    <a:gd name="T24" fmla="*/ 2147483647 w 11"/>
                    <a:gd name="T25" fmla="*/ 2147483647 h 11"/>
                    <a:gd name="T26" fmla="*/ 2147483647 w 11"/>
                    <a:gd name="T27" fmla="*/ 2147483647 h 11"/>
                    <a:gd name="T28" fmla="*/ 2147483647 w 11"/>
                    <a:gd name="T29" fmla="*/ 2147483647 h 11"/>
                    <a:gd name="T30" fmla="*/ 2147483647 w 11"/>
                    <a:gd name="T31" fmla="*/ 2147483647 h 11"/>
                    <a:gd name="T32" fmla="*/ 2147483647 w 11"/>
                    <a:gd name="T33" fmla="*/ 2147483647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11"/>
                    <a:gd name="T53" fmla="*/ 11 w 11"/>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11">
                      <a:moveTo>
                        <a:pt x="11" y="6"/>
                      </a:moveTo>
                      <a:lnTo>
                        <a:pt x="11" y="2"/>
                      </a:lnTo>
                      <a:lnTo>
                        <a:pt x="11" y="1"/>
                      </a:lnTo>
                      <a:lnTo>
                        <a:pt x="10" y="0"/>
                      </a:lnTo>
                      <a:lnTo>
                        <a:pt x="7" y="0"/>
                      </a:lnTo>
                      <a:lnTo>
                        <a:pt x="5" y="0"/>
                      </a:lnTo>
                      <a:lnTo>
                        <a:pt x="2" y="2"/>
                      </a:lnTo>
                      <a:lnTo>
                        <a:pt x="1" y="4"/>
                      </a:lnTo>
                      <a:lnTo>
                        <a:pt x="1" y="6"/>
                      </a:lnTo>
                      <a:lnTo>
                        <a:pt x="0" y="8"/>
                      </a:lnTo>
                      <a:lnTo>
                        <a:pt x="1" y="10"/>
                      </a:lnTo>
                      <a:lnTo>
                        <a:pt x="2" y="11"/>
                      </a:lnTo>
                      <a:lnTo>
                        <a:pt x="6" y="11"/>
                      </a:lnTo>
                      <a:lnTo>
                        <a:pt x="9" y="10"/>
                      </a:lnTo>
                      <a:lnTo>
                        <a:pt x="10" y="10"/>
                      </a:lnTo>
                      <a:lnTo>
                        <a:pt x="11" y="9"/>
                      </a:lnTo>
                      <a:lnTo>
                        <a:pt x="1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7" name="Freeform 1046"/>
                <p:cNvSpPr>
                  <a:spLocks/>
                </p:cNvSpPr>
                <p:nvPr/>
              </p:nvSpPr>
              <p:spPr bwMode="auto">
                <a:xfrm>
                  <a:off x="2863075" y="5891051"/>
                  <a:ext cx="20718" cy="54755"/>
                </a:xfrm>
                <a:custGeom>
                  <a:avLst/>
                  <a:gdLst>
                    <a:gd name="T0" fmla="*/ 2147483647 w 16"/>
                    <a:gd name="T1" fmla="*/ 2147483647 h 37"/>
                    <a:gd name="T2" fmla="*/ 2147483647 w 16"/>
                    <a:gd name="T3" fmla="*/ 2147483647 h 37"/>
                    <a:gd name="T4" fmla="*/ 2147483647 w 16"/>
                    <a:gd name="T5" fmla="*/ 2147483647 h 37"/>
                    <a:gd name="T6" fmla="*/ 2147483647 w 16"/>
                    <a:gd name="T7" fmla="*/ 0 h 37"/>
                    <a:gd name="T8" fmla="*/ 2147483647 w 16"/>
                    <a:gd name="T9" fmla="*/ 0 h 37"/>
                    <a:gd name="T10" fmla="*/ 2147483647 w 16"/>
                    <a:gd name="T11" fmla="*/ 0 h 37"/>
                    <a:gd name="T12" fmla="*/ 2147483647 w 16"/>
                    <a:gd name="T13" fmla="*/ 0 h 37"/>
                    <a:gd name="T14" fmla="*/ 2147483647 w 16"/>
                    <a:gd name="T15" fmla="*/ 2147483647 h 37"/>
                    <a:gd name="T16" fmla="*/ 2147483647 w 16"/>
                    <a:gd name="T17" fmla="*/ 2147483647 h 37"/>
                    <a:gd name="T18" fmla="*/ 0 w 16"/>
                    <a:gd name="T19" fmla="*/ 2147483647 h 37"/>
                    <a:gd name="T20" fmla="*/ 0 w 16"/>
                    <a:gd name="T21" fmla="*/ 2147483647 h 37"/>
                    <a:gd name="T22" fmla="*/ 0 w 16"/>
                    <a:gd name="T23" fmla="*/ 2147483647 h 37"/>
                    <a:gd name="T24" fmla="*/ 2147483647 w 16"/>
                    <a:gd name="T25" fmla="*/ 2147483647 h 37"/>
                    <a:gd name="T26" fmla="*/ 2147483647 w 16"/>
                    <a:gd name="T27" fmla="*/ 2147483647 h 37"/>
                    <a:gd name="T28" fmla="*/ 2147483647 w 16"/>
                    <a:gd name="T29" fmla="*/ 2147483647 h 37"/>
                    <a:gd name="T30" fmla="*/ 2147483647 w 16"/>
                    <a:gd name="T31" fmla="*/ 2147483647 h 37"/>
                    <a:gd name="T32" fmla="*/ 2147483647 w 16"/>
                    <a:gd name="T33" fmla="*/ 2147483647 h 37"/>
                    <a:gd name="T34" fmla="*/ 2147483647 w 16"/>
                    <a:gd name="T35" fmla="*/ 2147483647 h 37"/>
                    <a:gd name="T36" fmla="*/ 2147483647 w 16"/>
                    <a:gd name="T37" fmla="*/ 2147483647 h 37"/>
                    <a:gd name="T38" fmla="*/ 2147483647 w 16"/>
                    <a:gd name="T39" fmla="*/ 2147483647 h 37"/>
                    <a:gd name="T40" fmla="*/ 2147483647 w 16"/>
                    <a:gd name="T41" fmla="*/ 2147483647 h 37"/>
                    <a:gd name="T42" fmla="*/ 2147483647 w 16"/>
                    <a:gd name="T43" fmla="*/ 2147483647 h 37"/>
                    <a:gd name="T44" fmla="*/ 2147483647 w 16"/>
                    <a:gd name="T45" fmla="*/ 2147483647 h 37"/>
                    <a:gd name="T46" fmla="*/ 2147483647 w 16"/>
                    <a:gd name="T47" fmla="*/ 2147483647 h 37"/>
                    <a:gd name="T48" fmla="*/ 2147483647 w 16"/>
                    <a:gd name="T49" fmla="*/ 2147483647 h 37"/>
                    <a:gd name="T50" fmla="*/ 2147483647 w 16"/>
                    <a:gd name="T51" fmla="*/ 2147483647 h 37"/>
                    <a:gd name="T52" fmla="*/ 2147483647 w 16"/>
                    <a:gd name="T53" fmla="*/ 2147483647 h 37"/>
                    <a:gd name="T54" fmla="*/ 2147483647 w 16"/>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
                    <a:gd name="T85" fmla="*/ 0 h 37"/>
                    <a:gd name="T86" fmla="*/ 16 w 16"/>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 h="37">
                      <a:moveTo>
                        <a:pt x="16" y="12"/>
                      </a:moveTo>
                      <a:lnTo>
                        <a:pt x="16" y="12"/>
                      </a:lnTo>
                      <a:lnTo>
                        <a:pt x="13" y="4"/>
                      </a:lnTo>
                      <a:lnTo>
                        <a:pt x="12" y="0"/>
                      </a:lnTo>
                      <a:lnTo>
                        <a:pt x="10" y="0"/>
                      </a:lnTo>
                      <a:lnTo>
                        <a:pt x="9" y="0"/>
                      </a:lnTo>
                      <a:lnTo>
                        <a:pt x="4" y="3"/>
                      </a:lnTo>
                      <a:lnTo>
                        <a:pt x="2" y="6"/>
                      </a:lnTo>
                      <a:lnTo>
                        <a:pt x="0" y="10"/>
                      </a:lnTo>
                      <a:lnTo>
                        <a:pt x="0" y="16"/>
                      </a:lnTo>
                      <a:lnTo>
                        <a:pt x="0" y="26"/>
                      </a:lnTo>
                      <a:lnTo>
                        <a:pt x="2" y="37"/>
                      </a:lnTo>
                      <a:lnTo>
                        <a:pt x="8" y="31"/>
                      </a:lnTo>
                      <a:lnTo>
                        <a:pt x="12" y="30"/>
                      </a:lnTo>
                      <a:lnTo>
                        <a:pt x="16" y="31"/>
                      </a:lnTo>
                      <a:lnTo>
                        <a:pt x="16" y="28"/>
                      </a:lnTo>
                      <a:lnTo>
                        <a:pt x="16" y="24"/>
                      </a:lnTo>
                      <a:lnTo>
                        <a:pt x="14" y="22"/>
                      </a:lnTo>
                      <a:lnTo>
                        <a:pt x="16" y="18"/>
                      </a:lnTo>
                      <a:lnTo>
                        <a:pt x="16" y="15"/>
                      </a:lnTo>
                      <a:lnTo>
                        <a:pt x="16"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8" name="Freeform 1047"/>
                <p:cNvSpPr>
                  <a:spLocks/>
                </p:cNvSpPr>
                <p:nvPr/>
              </p:nvSpPr>
              <p:spPr bwMode="auto">
                <a:xfrm>
                  <a:off x="2883794" y="5976888"/>
                  <a:ext cx="16279" cy="17758"/>
                </a:xfrm>
                <a:custGeom>
                  <a:avLst/>
                  <a:gdLst>
                    <a:gd name="T0" fmla="*/ 2147483647 w 11"/>
                    <a:gd name="T1" fmla="*/ 2147483647 h 12"/>
                    <a:gd name="T2" fmla="*/ 2147483647 w 11"/>
                    <a:gd name="T3" fmla="*/ 2147483647 h 12"/>
                    <a:gd name="T4" fmla="*/ 2147483647 w 11"/>
                    <a:gd name="T5" fmla="*/ 2147483647 h 12"/>
                    <a:gd name="T6" fmla="*/ 2147483647 w 11"/>
                    <a:gd name="T7" fmla="*/ 2147483647 h 12"/>
                    <a:gd name="T8" fmla="*/ 2147483647 w 11"/>
                    <a:gd name="T9" fmla="*/ 0 h 12"/>
                    <a:gd name="T10" fmla="*/ 2147483647 w 11"/>
                    <a:gd name="T11" fmla="*/ 0 h 12"/>
                    <a:gd name="T12" fmla="*/ 2147483647 w 11"/>
                    <a:gd name="T13" fmla="*/ 0 h 12"/>
                    <a:gd name="T14" fmla="*/ 2147483647 w 11"/>
                    <a:gd name="T15" fmla="*/ 0 h 12"/>
                    <a:gd name="T16" fmla="*/ 2147483647 w 11"/>
                    <a:gd name="T17" fmla="*/ 2147483647 h 12"/>
                    <a:gd name="T18" fmla="*/ 2147483647 w 11"/>
                    <a:gd name="T19" fmla="*/ 2147483647 h 12"/>
                    <a:gd name="T20" fmla="*/ 2147483647 w 11"/>
                    <a:gd name="T21" fmla="*/ 2147483647 h 12"/>
                    <a:gd name="T22" fmla="*/ 2147483647 w 11"/>
                    <a:gd name="T23" fmla="*/ 2147483647 h 12"/>
                    <a:gd name="T24" fmla="*/ 2147483647 w 11"/>
                    <a:gd name="T25" fmla="*/ 2147483647 h 12"/>
                    <a:gd name="T26" fmla="*/ 0 w 11"/>
                    <a:gd name="T27" fmla="*/ 2147483647 h 12"/>
                    <a:gd name="T28" fmla="*/ 2147483647 w 11"/>
                    <a:gd name="T29" fmla="*/ 2147483647 h 12"/>
                    <a:gd name="T30" fmla="*/ 2147483647 w 11"/>
                    <a:gd name="T31" fmla="*/ 2147483647 h 12"/>
                    <a:gd name="T32" fmla="*/ 2147483647 w 11"/>
                    <a:gd name="T33" fmla="*/ 2147483647 h 12"/>
                    <a:gd name="T34" fmla="*/ 2147483647 w 11"/>
                    <a:gd name="T35" fmla="*/ 2147483647 h 12"/>
                    <a:gd name="T36" fmla="*/ 2147483647 w 11"/>
                    <a:gd name="T37" fmla="*/ 2147483647 h 12"/>
                    <a:gd name="T38" fmla="*/ 2147483647 w 11"/>
                    <a:gd name="T39" fmla="*/ 2147483647 h 12"/>
                    <a:gd name="T40" fmla="*/ 2147483647 w 11"/>
                    <a:gd name="T41" fmla="*/ 2147483647 h 12"/>
                    <a:gd name="T42" fmla="*/ 2147483647 w 11"/>
                    <a:gd name="T43" fmla="*/ 2147483647 h 12"/>
                    <a:gd name="T44" fmla="*/ 2147483647 w 11"/>
                    <a:gd name="T45" fmla="*/ 2147483647 h 12"/>
                    <a:gd name="T46" fmla="*/ 2147483647 w 11"/>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
                    <a:gd name="T73" fmla="*/ 0 h 12"/>
                    <a:gd name="T74" fmla="*/ 11 w 11"/>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 h="12">
                      <a:moveTo>
                        <a:pt x="11" y="6"/>
                      </a:moveTo>
                      <a:lnTo>
                        <a:pt x="11" y="6"/>
                      </a:lnTo>
                      <a:lnTo>
                        <a:pt x="11" y="3"/>
                      </a:lnTo>
                      <a:lnTo>
                        <a:pt x="11" y="2"/>
                      </a:lnTo>
                      <a:lnTo>
                        <a:pt x="10" y="0"/>
                      </a:lnTo>
                      <a:lnTo>
                        <a:pt x="7" y="0"/>
                      </a:lnTo>
                      <a:lnTo>
                        <a:pt x="5" y="0"/>
                      </a:lnTo>
                      <a:lnTo>
                        <a:pt x="2" y="3"/>
                      </a:lnTo>
                      <a:lnTo>
                        <a:pt x="1" y="5"/>
                      </a:lnTo>
                      <a:lnTo>
                        <a:pt x="1" y="6"/>
                      </a:lnTo>
                      <a:lnTo>
                        <a:pt x="0" y="9"/>
                      </a:lnTo>
                      <a:lnTo>
                        <a:pt x="1" y="11"/>
                      </a:lnTo>
                      <a:lnTo>
                        <a:pt x="2" y="12"/>
                      </a:lnTo>
                      <a:lnTo>
                        <a:pt x="6" y="12"/>
                      </a:lnTo>
                      <a:lnTo>
                        <a:pt x="8" y="11"/>
                      </a:lnTo>
                      <a:lnTo>
                        <a:pt x="10" y="11"/>
                      </a:lnTo>
                      <a:lnTo>
                        <a:pt x="11" y="10"/>
                      </a:lnTo>
                      <a:lnTo>
                        <a:pt x="1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9" name="Freeform 1048"/>
                <p:cNvSpPr>
                  <a:spLocks/>
                </p:cNvSpPr>
                <p:nvPr/>
              </p:nvSpPr>
              <p:spPr bwMode="auto">
                <a:xfrm>
                  <a:off x="2857153" y="5968006"/>
                  <a:ext cx="5919" cy="14799"/>
                </a:xfrm>
                <a:custGeom>
                  <a:avLst/>
                  <a:gdLst>
                    <a:gd name="T0" fmla="*/ 0 w 4"/>
                    <a:gd name="T1" fmla="*/ 2147483647 h 10"/>
                    <a:gd name="T2" fmla="*/ 0 w 4"/>
                    <a:gd name="T3" fmla="*/ 2147483647 h 10"/>
                    <a:gd name="T4" fmla="*/ 2147483647 w 4"/>
                    <a:gd name="T5" fmla="*/ 0 h 10"/>
                    <a:gd name="T6" fmla="*/ 2147483647 w 4"/>
                    <a:gd name="T7" fmla="*/ 0 h 10"/>
                    <a:gd name="T8" fmla="*/ 2147483647 w 4"/>
                    <a:gd name="T9" fmla="*/ 2147483647 h 10"/>
                    <a:gd name="T10" fmla="*/ 2147483647 w 4"/>
                    <a:gd name="T11" fmla="*/ 2147483647 h 10"/>
                    <a:gd name="T12" fmla="*/ 2147483647 w 4"/>
                    <a:gd name="T13" fmla="*/ 2147483647 h 10"/>
                    <a:gd name="T14" fmla="*/ 2147483647 w 4"/>
                    <a:gd name="T15" fmla="*/ 2147483647 h 10"/>
                    <a:gd name="T16" fmla="*/ 0 w 4"/>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0"/>
                    <a:gd name="T29" fmla="*/ 4 w 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0">
                      <a:moveTo>
                        <a:pt x="0" y="3"/>
                      </a:moveTo>
                      <a:lnTo>
                        <a:pt x="0" y="2"/>
                      </a:lnTo>
                      <a:lnTo>
                        <a:pt x="2" y="0"/>
                      </a:lnTo>
                      <a:lnTo>
                        <a:pt x="3" y="0"/>
                      </a:lnTo>
                      <a:lnTo>
                        <a:pt x="4" y="4"/>
                      </a:lnTo>
                      <a:lnTo>
                        <a:pt x="4" y="8"/>
                      </a:lnTo>
                      <a:lnTo>
                        <a:pt x="3" y="9"/>
                      </a:lnTo>
                      <a:lnTo>
                        <a:pt x="2" y="10"/>
                      </a:lnTo>
                      <a:lnTo>
                        <a:pt x="0"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0" name="Freeform 1049"/>
                <p:cNvSpPr>
                  <a:spLocks/>
                </p:cNvSpPr>
                <p:nvPr/>
              </p:nvSpPr>
              <p:spPr bwMode="auto">
                <a:xfrm>
                  <a:off x="2867513" y="6005005"/>
                  <a:ext cx="4439" cy="8879"/>
                </a:xfrm>
                <a:custGeom>
                  <a:avLst/>
                  <a:gdLst>
                    <a:gd name="T0" fmla="*/ 2147483647 w 3"/>
                    <a:gd name="T1" fmla="*/ 2147483647 h 6"/>
                    <a:gd name="T2" fmla="*/ 2147483647 w 3"/>
                    <a:gd name="T3" fmla="*/ 2147483647 h 6"/>
                    <a:gd name="T4" fmla="*/ 2147483647 w 3"/>
                    <a:gd name="T5" fmla="*/ 2147483647 h 6"/>
                    <a:gd name="T6" fmla="*/ 0 w 3"/>
                    <a:gd name="T7" fmla="*/ 2147483647 h 6"/>
                    <a:gd name="T8" fmla="*/ 0 w 3"/>
                    <a:gd name="T9" fmla="*/ 2147483647 h 6"/>
                    <a:gd name="T10" fmla="*/ 0 w 3"/>
                    <a:gd name="T11" fmla="*/ 2147483647 h 6"/>
                    <a:gd name="T12" fmla="*/ 0 w 3"/>
                    <a:gd name="T13" fmla="*/ 0 h 6"/>
                    <a:gd name="T14" fmla="*/ 2147483647 w 3"/>
                    <a:gd name="T15" fmla="*/ 0 h 6"/>
                    <a:gd name="T16" fmla="*/ 2147483647 w 3"/>
                    <a:gd name="T17" fmla="*/ 0 h 6"/>
                    <a:gd name="T18" fmla="*/ 2147483647 w 3"/>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6"/>
                    <a:gd name="T32" fmla="*/ 3 w 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6">
                      <a:moveTo>
                        <a:pt x="3" y="3"/>
                      </a:moveTo>
                      <a:lnTo>
                        <a:pt x="3" y="6"/>
                      </a:lnTo>
                      <a:lnTo>
                        <a:pt x="1" y="6"/>
                      </a:lnTo>
                      <a:lnTo>
                        <a:pt x="0" y="5"/>
                      </a:lnTo>
                      <a:lnTo>
                        <a:pt x="0" y="3"/>
                      </a:lnTo>
                      <a:lnTo>
                        <a:pt x="0" y="2"/>
                      </a:lnTo>
                      <a:lnTo>
                        <a:pt x="0" y="0"/>
                      </a:lnTo>
                      <a:lnTo>
                        <a:pt x="1" y="0"/>
                      </a:lnTo>
                      <a:lnTo>
                        <a:pt x="3" y="0"/>
                      </a:lnTo>
                      <a:lnTo>
                        <a:pt x="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1" name="Freeform 1050"/>
                <p:cNvSpPr>
                  <a:spLocks/>
                </p:cNvSpPr>
                <p:nvPr/>
              </p:nvSpPr>
              <p:spPr bwMode="auto">
                <a:xfrm>
                  <a:off x="2855673" y="5966525"/>
                  <a:ext cx="5919" cy="14799"/>
                </a:xfrm>
                <a:custGeom>
                  <a:avLst/>
                  <a:gdLst>
                    <a:gd name="T0" fmla="*/ 0 w 4"/>
                    <a:gd name="T1" fmla="*/ 2147483647 h 10"/>
                    <a:gd name="T2" fmla="*/ 0 w 4"/>
                    <a:gd name="T3" fmla="*/ 2147483647 h 10"/>
                    <a:gd name="T4" fmla="*/ 0 w 4"/>
                    <a:gd name="T5" fmla="*/ 2147483647 h 10"/>
                    <a:gd name="T6" fmla="*/ 2147483647 w 4"/>
                    <a:gd name="T7" fmla="*/ 0 h 10"/>
                    <a:gd name="T8" fmla="*/ 2147483647 w 4"/>
                    <a:gd name="T9" fmla="*/ 0 h 10"/>
                    <a:gd name="T10" fmla="*/ 2147483647 w 4"/>
                    <a:gd name="T11" fmla="*/ 0 h 10"/>
                    <a:gd name="T12" fmla="*/ 2147483647 w 4"/>
                    <a:gd name="T13" fmla="*/ 2147483647 h 10"/>
                    <a:gd name="T14" fmla="*/ 2147483647 w 4"/>
                    <a:gd name="T15" fmla="*/ 2147483647 h 10"/>
                    <a:gd name="T16" fmla="*/ 2147483647 w 4"/>
                    <a:gd name="T17" fmla="*/ 2147483647 h 10"/>
                    <a:gd name="T18" fmla="*/ 2147483647 w 4"/>
                    <a:gd name="T19" fmla="*/ 2147483647 h 10"/>
                    <a:gd name="T20" fmla="*/ 2147483647 w 4"/>
                    <a:gd name="T21" fmla="*/ 2147483647 h 10"/>
                    <a:gd name="T22" fmla="*/ 0 w 4"/>
                    <a:gd name="T23" fmla="*/ 2147483647 h 10"/>
                    <a:gd name="T24" fmla="*/ 0 w 4"/>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0"/>
                    <a:gd name="T41" fmla="*/ 4 w 4"/>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0">
                      <a:moveTo>
                        <a:pt x="0" y="3"/>
                      </a:moveTo>
                      <a:lnTo>
                        <a:pt x="0" y="3"/>
                      </a:lnTo>
                      <a:lnTo>
                        <a:pt x="0" y="1"/>
                      </a:lnTo>
                      <a:lnTo>
                        <a:pt x="1" y="0"/>
                      </a:lnTo>
                      <a:lnTo>
                        <a:pt x="3" y="0"/>
                      </a:lnTo>
                      <a:lnTo>
                        <a:pt x="4" y="4"/>
                      </a:lnTo>
                      <a:lnTo>
                        <a:pt x="4" y="7"/>
                      </a:lnTo>
                      <a:lnTo>
                        <a:pt x="3" y="9"/>
                      </a:lnTo>
                      <a:lnTo>
                        <a:pt x="1" y="10"/>
                      </a:lnTo>
                      <a:lnTo>
                        <a:pt x="0"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2" name="Freeform 1051"/>
                <p:cNvSpPr>
                  <a:spLocks/>
                </p:cNvSpPr>
                <p:nvPr/>
              </p:nvSpPr>
              <p:spPr bwMode="auto">
                <a:xfrm>
                  <a:off x="2866035" y="6003525"/>
                  <a:ext cx="2960" cy="8879"/>
                </a:xfrm>
                <a:custGeom>
                  <a:avLst/>
                  <a:gdLst>
                    <a:gd name="T0" fmla="*/ 2147483647 w 2"/>
                    <a:gd name="T1" fmla="*/ 2147483647 h 6"/>
                    <a:gd name="T2" fmla="*/ 2147483647 w 2"/>
                    <a:gd name="T3" fmla="*/ 2147483647 h 6"/>
                    <a:gd name="T4" fmla="*/ 2147483647 w 2"/>
                    <a:gd name="T5" fmla="*/ 2147483647 h 6"/>
                    <a:gd name="T6" fmla="*/ 2147483647 w 2"/>
                    <a:gd name="T7" fmla="*/ 2147483647 h 6"/>
                    <a:gd name="T8" fmla="*/ 2147483647 w 2"/>
                    <a:gd name="T9" fmla="*/ 2147483647 h 6"/>
                    <a:gd name="T10" fmla="*/ 0 w 2"/>
                    <a:gd name="T11" fmla="*/ 2147483647 h 6"/>
                    <a:gd name="T12" fmla="*/ 0 w 2"/>
                    <a:gd name="T13" fmla="*/ 2147483647 h 6"/>
                    <a:gd name="T14" fmla="*/ 0 w 2"/>
                    <a:gd name="T15" fmla="*/ 2147483647 h 6"/>
                    <a:gd name="T16" fmla="*/ 0 w 2"/>
                    <a:gd name="T17" fmla="*/ 2147483647 h 6"/>
                    <a:gd name="T18" fmla="*/ 0 w 2"/>
                    <a:gd name="T19" fmla="*/ 0 h 6"/>
                    <a:gd name="T20" fmla="*/ 0 w 2"/>
                    <a:gd name="T21" fmla="*/ 0 h 6"/>
                    <a:gd name="T22" fmla="*/ 2147483647 w 2"/>
                    <a:gd name="T23" fmla="*/ 0 h 6"/>
                    <a:gd name="T24" fmla="*/ 2147483647 w 2"/>
                    <a:gd name="T25" fmla="*/ 0 h 6"/>
                    <a:gd name="T26" fmla="*/ 2147483647 w 2"/>
                    <a:gd name="T27" fmla="*/ 2147483647 h 6"/>
                    <a:gd name="T28" fmla="*/ 2147483647 w 2"/>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
                    <a:gd name="T46" fmla="*/ 0 h 6"/>
                    <a:gd name="T47" fmla="*/ 2 w 2"/>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 h="6">
                      <a:moveTo>
                        <a:pt x="2" y="3"/>
                      </a:moveTo>
                      <a:lnTo>
                        <a:pt x="2" y="3"/>
                      </a:lnTo>
                      <a:lnTo>
                        <a:pt x="2" y="6"/>
                      </a:lnTo>
                      <a:lnTo>
                        <a:pt x="1" y="6"/>
                      </a:lnTo>
                      <a:lnTo>
                        <a:pt x="0" y="5"/>
                      </a:lnTo>
                      <a:lnTo>
                        <a:pt x="0" y="3"/>
                      </a:lnTo>
                      <a:lnTo>
                        <a:pt x="0" y="1"/>
                      </a:lnTo>
                      <a:lnTo>
                        <a:pt x="0" y="0"/>
                      </a:lnTo>
                      <a:lnTo>
                        <a:pt x="1" y="0"/>
                      </a:lnTo>
                      <a:lnTo>
                        <a:pt x="2" y="0"/>
                      </a:lnTo>
                      <a:lnTo>
                        <a:pt x="2"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3" name="Freeform 1052"/>
                <p:cNvSpPr>
                  <a:spLocks/>
                </p:cNvSpPr>
                <p:nvPr/>
              </p:nvSpPr>
              <p:spPr bwMode="auto">
                <a:xfrm>
                  <a:off x="2830515" y="6104157"/>
                  <a:ext cx="13319" cy="26638"/>
                </a:xfrm>
                <a:custGeom>
                  <a:avLst/>
                  <a:gdLst>
                    <a:gd name="T0" fmla="*/ 2147483647 w 9"/>
                    <a:gd name="T1" fmla="*/ 2147483647 h 18"/>
                    <a:gd name="T2" fmla="*/ 2147483647 w 9"/>
                    <a:gd name="T3" fmla="*/ 2147483647 h 18"/>
                    <a:gd name="T4" fmla="*/ 2147483647 w 9"/>
                    <a:gd name="T5" fmla="*/ 2147483647 h 18"/>
                    <a:gd name="T6" fmla="*/ 2147483647 w 9"/>
                    <a:gd name="T7" fmla="*/ 2147483647 h 18"/>
                    <a:gd name="T8" fmla="*/ 2147483647 w 9"/>
                    <a:gd name="T9" fmla="*/ 2147483647 h 18"/>
                    <a:gd name="T10" fmla="*/ 2147483647 w 9"/>
                    <a:gd name="T11" fmla="*/ 2147483647 h 18"/>
                    <a:gd name="T12" fmla="*/ 0 w 9"/>
                    <a:gd name="T13" fmla="*/ 2147483647 h 18"/>
                    <a:gd name="T14" fmla="*/ 0 w 9"/>
                    <a:gd name="T15" fmla="*/ 2147483647 h 18"/>
                    <a:gd name="T16" fmla="*/ 0 w 9"/>
                    <a:gd name="T17" fmla="*/ 2147483647 h 18"/>
                    <a:gd name="T18" fmla="*/ 2147483647 w 9"/>
                    <a:gd name="T19" fmla="*/ 2147483647 h 18"/>
                    <a:gd name="T20" fmla="*/ 2147483647 w 9"/>
                    <a:gd name="T21" fmla="*/ 0 h 18"/>
                    <a:gd name="T22" fmla="*/ 2147483647 w 9"/>
                    <a:gd name="T23" fmla="*/ 0 h 18"/>
                    <a:gd name="T24" fmla="*/ 2147483647 w 9"/>
                    <a:gd name="T25" fmla="*/ 2147483647 h 18"/>
                    <a:gd name="T26" fmla="*/ 2147483647 w 9"/>
                    <a:gd name="T27" fmla="*/ 2147483647 h 18"/>
                    <a:gd name="T28" fmla="*/ 2147483647 w 9"/>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8"/>
                    <a:gd name="T47" fmla="*/ 9 w 9"/>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8">
                      <a:moveTo>
                        <a:pt x="9" y="9"/>
                      </a:moveTo>
                      <a:lnTo>
                        <a:pt x="8" y="14"/>
                      </a:lnTo>
                      <a:lnTo>
                        <a:pt x="7" y="16"/>
                      </a:lnTo>
                      <a:lnTo>
                        <a:pt x="4" y="18"/>
                      </a:lnTo>
                      <a:lnTo>
                        <a:pt x="3" y="18"/>
                      </a:lnTo>
                      <a:lnTo>
                        <a:pt x="2" y="16"/>
                      </a:lnTo>
                      <a:lnTo>
                        <a:pt x="0" y="14"/>
                      </a:lnTo>
                      <a:lnTo>
                        <a:pt x="0" y="9"/>
                      </a:lnTo>
                      <a:lnTo>
                        <a:pt x="0" y="4"/>
                      </a:lnTo>
                      <a:lnTo>
                        <a:pt x="3" y="1"/>
                      </a:lnTo>
                      <a:lnTo>
                        <a:pt x="4" y="0"/>
                      </a:lnTo>
                      <a:lnTo>
                        <a:pt x="7" y="0"/>
                      </a:lnTo>
                      <a:lnTo>
                        <a:pt x="8" y="2"/>
                      </a:lnTo>
                      <a:lnTo>
                        <a:pt x="9" y="4"/>
                      </a:lnTo>
                      <a:lnTo>
                        <a:pt x="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4" name="Freeform 1054"/>
                <p:cNvSpPr>
                  <a:spLocks/>
                </p:cNvSpPr>
                <p:nvPr/>
              </p:nvSpPr>
              <p:spPr bwMode="auto">
                <a:xfrm>
                  <a:off x="2830514" y="6102673"/>
                  <a:ext cx="11839" cy="25158"/>
                </a:xfrm>
                <a:custGeom>
                  <a:avLst/>
                  <a:gdLst>
                    <a:gd name="T0" fmla="*/ 2147483647 w 9"/>
                    <a:gd name="T1" fmla="*/ 2147483647 h 17"/>
                    <a:gd name="T2" fmla="*/ 2147483647 w 9"/>
                    <a:gd name="T3" fmla="*/ 2147483647 h 17"/>
                    <a:gd name="T4" fmla="*/ 2147483647 w 9"/>
                    <a:gd name="T5" fmla="*/ 2147483647 h 17"/>
                    <a:gd name="T6" fmla="*/ 2147483647 w 9"/>
                    <a:gd name="T7" fmla="*/ 2147483647 h 17"/>
                    <a:gd name="T8" fmla="*/ 2147483647 w 9"/>
                    <a:gd name="T9" fmla="*/ 2147483647 h 17"/>
                    <a:gd name="T10" fmla="*/ 2147483647 w 9"/>
                    <a:gd name="T11" fmla="*/ 2147483647 h 17"/>
                    <a:gd name="T12" fmla="*/ 2147483647 w 9"/>
                    <a:gd name="T13" fmla="*/ 2147483647 h 17"/>
                    <a:gd name="T14" fmla="*/ 2147483647 w 9"/>
                    <a:gd name="T15" fmla="*/ 2147483647 h 17"/>
                    <a:gd name="T16" fmla="*/ 0 w 9"/>
                    <a:gd name="T17" fmla="*/ 2147483647 h 17"/>
                    <a:gd name="T18" fmla="*/ 0 w 9"/>
                    <a:gd name="T19" fmla="*/ 2147483647 h 17"/>
                    <a:gd name="T20" fmla="*/ 0 w 9"/>
                    <a:gd name="T21" fmla="*/ 2147483647 h 17"/>
                    <a:gd name="T22" fmla="*/ 0 w 9"/>
                    <a:gd name="T23" fmla="*/ 2147483647 h 17"/>
                    <a:gd name="T24" fmla="*/ 2147483647 w 9"/>
                    <a:gd name="T25" fmla="*/ 2147483647 h 17"/>
                    <a:gd name="T26" fmla="*/ 2147483647 w 9"/>
                    <a:gd name="T27" fmla="*/ 0 h 17"/>
                    <a:gd name="T28" fmla="*/ 2147483647 w 9"/>
                    <a:gd name="T29" fmla="*/ 0 h 17"/>
                    <a:gd name="T30" fmla="*/ 2147483647 w 9"/>
                    <a:gd name="T31" fmla="*/ 0 h 17"/>
                    <a:gd name="T32" fmla="*/ 2147483647 w 9"/>
                    <a:gd name="T33" fmla="*/ 2147483647 h 17"/>
                    <a:gd name="T34" fmla="*/ 2147483647 w 9"/>
                    <a:gd name="T35" fmla="*/ 2147483647 h 17"/>
                    <a:gd name="T36" fmla="*/ 2147483647 w 9"/>
                    <a:gd name="T37" fmla="*/ 2147483647 h 17"/>
                    <a:gd name="T38" fmla="*/ 2147483647 w 9"/>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17"/>
                    <a:gd name="T62" fmla="*/ 9 w 9"/>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17">
                      <a:moveTo>
                        <a:pt x="9" y="9"/>
                      </a:moveTo>
                      <a:lnTo>
                        <a:pt x="9" y="9"/>
                      </a:lnTo>
                      <a:lnTo>
                        <a:pt x="8" y="14"/>
                      </a:lnTo>
                      <a:lnTo>
                        <a:pt x="6" y="16"/>
                      </a:lnTo>
                      <a:lnTo>
                        <a:pt x="4" y="17"/>
                      </a:lnTo>
                      <a:lnTo>
                        <a:pt x="3" y="17"/>
                      </a:lnTo>
                      <a:lnTo>
                        <a:pt x="1" y="16"/>
                      </a:lnTo>
                      <a:lnTo>
                        <a:pt x="0" y="14"/>
                      </a:lnTo>
                      <a:lnTo>
                        <a:pt x="0" y="9"/>
                      </a:lnTo>
                      <a:lnTo>
                        <a:pt x="0" y="4"/>
                      </a:lnTo>
                      <a:lnTo>
                        <a:pt x="3" y="1"/>
                      </a:lnTo>
                      <a:lnTo>
                        <a:pt x="4" y="0"/>
                      </a:lnTo>
                      <a:lnTo>
                        <a:pt x="6" y="0"/>
                      </a:lnTo>
                      <a:lnTo>
                        <a:pt x="8" y="2"/>
                      </a:lnTo>
                      <a:lnTo>
                        <a:pt x="9" y="4"/>
                      </a:lnTo>
                      <a:lnTo>
                        <a:pt x="9"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5" name="Freeform 1057"/>
                <p:cNvSpPr>
                  <a:spLocks/>
                </p:cNvSpPr>
                <p:nvPr/>
              </p:nvSpPr>
              <p:spPr bwMode="auto">
                <a:xfrm>
                  <a:off x="2842353" y="6127832"/>
                  <a:ext cx="17758" cy="38477"/>
                </a:xfrm>
                <a:custGeom>
                  <a:avLst/>
                  <a:gdLst>
                    <a:gd name="T0" fmla="*/ 2147483647 w 13"/>
                    <a:gd name="T1" fmla="*/ 2147483647 h 26"/>
                    <a:gd name="T2" fmla="*/ 2147483647 w 13"/>
                    <a:gd name="T3" fmla="*/ 2147483647 h 26"/>
                    <a:gd name="T4" fmla="*/ 2147483647 w 13"/>
                    <a:gd name="T5" fmla="*/ 2147483647 h 26"/>
                    <a:gd name="T6" fmla="*/ 2147483647 w 13"/>
                    <a:gd name="T7" fmla="*/ 2147483647 h 26"/>
                    <a:gd name="T8" fmla="*/ 2147483647 w 13"/>
                    <a:gd name="T9" fmla="*/ 2147483647 h 26"/>
                    <a:gd name="T10" fmla="*/ 2147483647 w 13"/>
                    <a:gd name="T11" fmla="*/ 0 h 26"/>
                    <a:gd name="T12" fmla="*/ 2147483647 w 13"/>
                    <a:gd name="T13" fmla="*/ 2147483647 h 26"/>
                    <a:gd name="T14" fmla="*/ 2147483647 w 13"/>
                    <a:gd name="T15" fmla="*/ 2147483647 h 26"/>
                    <a:gd name="T16" fmla="*/ 2147483647 w 13"/>
                    <a:gd name="T17" fmla="*/ 2147483647 h 26"/>
                    <a:gd name="T18" fmla="*/ 0 w 13"/>
                    <a:gd name="T19" fmla="*/ 2147483647 h 26"/>
                    <a:gd name="T20" fmla="*/ 2147483647 w 13"/>
                    <a:gd name="T21" fmla="*/ 2147483647 h 26"/>
                    <a:gd name="T22" fmla="*/ 2147483647 w 13"/>
                    <a:gd name="T23" fmla="*/ 2147483647 h 26"/>
                    <a:gd name="T24" fmla="*/ 2147483647 w 13"/>
                    <a:gd name="T25" fmla="*/ 2147483647 h 26"/>
                    <a:gd name="T26" fmla="*/ 2147483647 w 13"/>
                    <a:gd name="T27" fmla="*/ 2147483647 h 26"/>
                    <a:gd name="T28" fmla="*/ 2147483647 w 13"/>
                    <a:gd name="T29" fmla="*/ 2147483647 h 26"/>
                    <a:gd name="T30" fmla="*/ 2147483647 w 13"/>
                    <a:gd name="T31" fmla="*/ 2147483647 h 26"/>
                    <a:gd name="T32" fmla="*/ 2147483647 w 13"/>
                    <a:gd name="T33" fmla="*/ 2147483647 h 26"/>
                    <a:gd name="T34" fmla="*/ 2147483647 w 13"/>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6"/>
                    <a:gd name="T56" fmla="*/ 13 w 13"/>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6">
                      <a:moveTo>
                        <a:pt x="13" y="17"/>
                      </a:moveTo>
                      <a:lnTo>
                        <a:pt x="13" y="13"/>
                      </a:lnTo>
                      <a:lnTo>
                        <a:pt x="13" y="9"/>
                      </a:lnTo>
                      <a:lnTo>
                        <a:pt x="13" y="5"/>
                      </a:lnTo>
                      <a:lnTo>
                        <a:pt x="10" y="2"/>
                      </a:lnTo>
                      <a:lnTo>
                        <a:pt x="9" y="0"/>
                      </a:lnTo>
                      <a:lnTo>
                        <a:pt x="5" y="2"/>
                      </a:lnTo>
                      <a:lnTo>
                        <a:pt x="3" y="3"/>
                      </a:lnTo>
                      <a:lnTo>
                        <a:pt x="1" y="5"/>
                      </a:lnTo>
                      <a:lnTo>
                        <a:pt x="0" y="10"/>
                      </a:lnTo>
                      <a:lnTo>
                        <a:pt x="1" y="15"/>
                      </a:lnTo>
                      <a:lnTo>
                        <a:pt x="5" y="25"/>
                      </a:lnTo>
                      <a:lnTo>
                        <a:pt x="6" y="26"/>
                      </a:lnTo>
                      <a:lnTo>
                        <a:pt x="9" y="26"/>
                      </a:lnTo>
                      <a:lnTo>
                        <a:pt x="11" y="25"/>
                      </a:lnTo>
                      <a:lnTo>
                        <a:pt x="13" y="24"/>
                      </a:lnTo>
                      <a:lnTo>
                        <a:pt x="13" y="21"/>
                      </a:lnTo>
                      <a:lnTo>
                        <a:pt x="13" y="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6" name="Freeform 1059"/>
                <p:cNvSpPr>
                  <a:spLocks/>
                </p:cNvSpPr>
                <p:nvPr/>
              </p:nvSpPr>
              <p:spPr bwMode="auto">
                <a:xfrm>
                  <a:off x="2840874" y="6126351"/>
                  <a:ext cx="16278" cy="38477"/>
                </a:xfrm>
                <a:custGeom>
                  <a:avLst/>
                  <a:gdLst>
                    <a:gd name="T0" fmla="*/ 2147483647 w 12"/>
                    <a:gd name="T1" fmla="*/ 2147483647 h 26"/>
                    <a:gd name="T2" fmla="*/ 2147483647 w 12"/>
                    <a:gd name="T3" fmla="*/ 2147483647 h 26"/>
                    <a:gd name="T4" fmla="*/ 2147483647 w 12"/>
                    <a:gd name="T5" fmla="*/ 2147483647 h 26"/>
                    <a:gd name="T6" fmla="*/ 2147483647 w 12"/>
                    <a:gd name="T7" fmla="*/ 2147483647 h 26"/>
                    <a:gd name="T8" fmla="*/ 2147483647 w 12"/>
                    <a:gd name="T9" fmla="*/ 2147483647 h 26"/>
                    <a:gd name="T10" fmla="*/ 2147483647 w 12"/>
                    <a:gd name="T11" fmla="*/ 2147483647 h 26"/>
                    <a:gd name="T12" fmla="*/ 2147483647 w 12"/>
                    <a:gd name="T13" fmla="*/ 2147483647 h 26"/>
                    <a:gd name="T14" fmla="*/ 2147483647 w 12"/>
                    <a:gd name="T15" fmla="*/ 0 h 26"/>
                    <a:gd name="T16" fmla="*/ 2147483647 w 12"/>
                    <a:gd name="T17" fmla="*/ 2147483647 h 26"/>
                    <a:gd name="T18" fmla="*/ 2147483647 w 12"/>
                    <a:gd name="T19" fmla="*/ 2147483647 h 26"/>
                    <a:gd name="T20" fmla="*/ 2147483647 w 12"/>
                    <a:gd name="T21" fmla="*/ 2147483647 h 26"/>
                    <a:gd name="T22" fmla="*/ 2147483647 w 12"/>
                    <a:gd name="T23" fmla="*/ 2147483647 h 26"/>
                    <a:gd name="T24" fmla="*/ 0 w 12"/>
                    <a:gd name="T25" fmla="*/ 2147483647 h 26"/>
                    <a:gd name="T26" fmla="*/ 2147483647 w 12"/>
                    <a:gd name="T27" fmla="*/ 2147483647 h 26"/>
                    <a:gd name="T28" fmla="*/ 2147483647 w 12"/>
                    <a:gd name="T29" fmla="*/ 2147483647 h 26"/>
                    <a:gd name="T30" fmla="*/ 2147483647 w 12"/>
                    <a:gd name="T31" fmla="*/ 2147483647 h 26"/>
                    <a:gd name="T32" fmla="*/ 2147483647 w 12"/>
                    <a:gd name="T33" fmla="*/ 2147483647 h 26"/>
                    <a:gd name="T34" fmla="*/ 2147483647 w 12"/>
                    <a:gd name="T35" fmla="*/ 2147483647 h 26"/>
                    <a:gd name="T36" fmla="*/ 2147483647 w 12"/>
                    <a:gd name="T37" fmla="*/ 2147483647 h 26"/>
                    <a:gd name="T38" fmla="*/ 2147483647 w 12"/>
                    <a:gd name="T39" fmla="*/ 2147483647 h 26"/>
                    <a:gd name="T40" fmla="*/ 2147483647 w 12"/>
                    <a:gd name="T41" fmla="*/ 2147483647 h 26"/>
                    <a:gd name="T42" fmla="*/ 2147483647 w 12"/>
                    <a:gd name="T43" fmla="*/ 2147483647 h 26"/>
                    <a:gd name="T44" fmla="*/ 2147483647 w 12"/>
                    <a:gd name="T45" fmla="*/ 2147483647 h 26"/>
                    <a:gd name="T46" fmla="*/ 2147483647 w 12"/>
                    <a:gd name="T47" fmla="*/ 2147483647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26"/>
                    <a:gd name="T74" fmla="*/ 12 w 12"/>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26">
                      <a:moveTo>
                        <a:pt x="12" y="17"/>
                      </a:moveTo>
                      <a:lnTo>
                        <a:pt x="12" y="17"/>
                      </a:lnTo>
                      <a:lnTo>
                        <a:pt x="12" y="13"/>
                      </a:lnTo>
                      <a:lnTo>
                        <a:pt x="12" y="8"/>
                      </a:lnTo>
                      <a:lnTo>
                        <a:pt x="12" y="5"/>
                      </a:lnTo>
                      <a:lnTo>
                        <a:pt x="10" y="1"/>
                      </a:lnTo>
                      <a:lnTo>
                        <a:pt x="9" y="0"/>
                      </a:lnTo>
                      <a:lnTo>
                        <a:pt x="5" y="1"/>
                      </a:lnTo>
                      <a:lnTo>
                        <a:pt x="2" y="3"/>
                      </a:lnTo>
                      <a:lnTo>
                        <a:pt x="1" y="5"/>
                      </a:lnTo>
                      <a:lnTo>
                        <a:pt x="0" y="10"/>
                      </a:lnTo>
                      <a:lnTo>
                        <a:pt x="1" y="14"/>
                      </a:lnTo>
                      <a:lnTo>
                        <a:pt x="5" y="25"/>
                      </a:lnTo>
                      <a:lnTo>
                        <a:pt x="6" y="26"/>
                      </a:lnTo>
                      <a:lnTo>
                        <a:pt x="9" y="26"/>
                      </a:lnTo>
                      <a:lnTo>
                        <a:pt x="11" y="25"/>
                      </a:lnTo>
                      <a:lnTo>
                        <a:pt x="12" y="24"/>
                      </a:lnTo>
                      <a:lnTo>
                        <a:pt x="12" y="20"/>
                      </a:lnTo>
                      <a:lnTo>
                        <a:pt x="12"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7" name="Freeform 865"/>
                <p:cNvSpPr>
                  <a:spLocks/>
                </p:cNvSpPr>
                <p:nvPr/>
              </p:nvSpPr>
              <p:spPr bwMode="auto">
                <a:xfrm>
                  <a:off x="2871953" y="4471857"/>
                  <a:ext cx="926400" cy="1151340"/>
                </a:xfrm>
                <a:custGeom>
                  <a:avLst/>
                  <a:gdLst>
                    <a:gd name="T0" fmla="*/ 2147483647 w 678"/>
                    <a:gd name="T1" fmla="*/ 2147483647 h 778"/>
                    <a:gd name="T2" fmla="*/ 2147483647 w 678"/>
                    <a:gd name="T3" fmla="*/ 2147483647 h 778"/>
                    <a:gd name="T4" fmla="*/ 2147483647 w 678"/>
                    <a:gd name="T5" fmla="*/ 2147483647 h 778"/>
                    <a:gd name="T6" fmla="*/ 2147483647 w 678"/>
                    <a:gd name="T7" fmla="*/ 2147483647 h 778"/>
                    <a:gd name="T8" fmla="*/ 2147483647 w 678"/>
                    <a:gd name="T9" fmla="*/ 2147483647 h 778"/>
                    <a:gd name="T10" fmla="*/ 2147483647 w 678"/>
                    <a:gd name="T11" fmla="*/ 2147483647 h 778"/>
                    <a:gd name="T12" fmla="*/ 2147483647 w 678"/>
                    <a:gd name="T13" fmla="*/ 2147483647 h 778"/>
                    <a:gd name="T14" fmla="*/ 2147483647 w 678"/>
                    <a:gd name="T15" fmla="*/ 2147483647 h 778"/>
                    <a:gd name="T16" fmla="*/ 2147483647 w 678"/>
                    <a:gd name="T17" fmla="*/ 2147483647 h 778"/>
                    <a:gd name="T18" fmla="*/ 2147483647 w 678"/>
                    <a:gd name="T19" fmla="*/ 2147483647 h 778"/>
                    <a:gd name="T20" fmla="*/ 2147483647 w 678"/>
                    <a:gd name="T21" fmla="*/ 2147483647 h 778"/>
                    <a:gd name="T22" fmla="*/ 2147483647 w 678"/>
                    <a:gd name="T23" fmla="*/ 2147483647 h 778"/>
                    <a:gd name="T24" fmla="*/ 2147483647 w 678"/>
                    <a:gd name="T25" fmla="*/ 2147483647 h 778"/>
                    <a:gd name="T26" fmla="*/ 2147483647 w 678"/>
                    <a:gd name="T27" fmla="*/ 2147483647 h 778"/>
                    <a:gd name="T28" fmla="*/ 2147483647 w 678"/>
                    <a:gd name="T29" fmla="*/ 2147483647 h 778"/>
                    <a:gd name="T30" fmla="*/ 2147483647 w 678"/>
                    <a:gd name="T31" fmla="*/ 2147483647 h 778"/>
                    <a:gd name="T32" fmla="*/ 2147483647 w 678"/>
                    <a:gd name="T33" fmla="*/ 2147483647 h 778"/>
                    <a:gd name="T34" fmla="*/ 2147483647 w 678"/>
                    <a:gd name="T35" fmla="*/ 2147483647 h 778"/>
                    <a:gd name="T36" fmla="*/ 2147483647 w 678"/>
                    <a:gd name="T37" fmla="*/ 2147483647 h 778"/>
                    <a:gd name="T38" fmla="*/ 2147483647 w 678"/>
                    <a:gd name="T39" fmla="*/ 2147483647 h 778"/>
                    <a:gd name="T40" fmla="*/ 2147483647 w 678"/>
                    <a:gd name="T41" fmla="*/ 2147483647 h 778"/>
                    <a:gd name="T42" fmla="*/ 2147483647 w 678"/>
                    <a:gd name="T43" fmla="*/ 2147483647 h 778"/>
                    <a:gd name="T44" fmla="*/ 2147483647 w 678"/>
                    <a:gd name="T45" fmla="*/ 2147483647 h 778"/>
                    <a:gd name="T46" fmla="*/ 2147483647 w 678"/>
                    <a:gd name="T47" fmla="*/ 2147483647 h 778"/>
                    <a:gd name="T48" fmla="*/ 2147483647 w 678"/>
                    <a:gd name="T49" fmla="*/ 2147483647 h 778"/>
                    <a:gd name="T50" fmla="*/ 2147483647 w 678"/>
                    <a:gd name="T51" fmla="*/ 2147483647 h 778"/>
                    <a:gd name="T52" fmla="*/ 2147483647 w 678"/>
                    <a:gd name="T53" fmla="*/ 2147483647 h 778"/>
                    <a:gd name="T54" fmla="*/ 2147483647 w 678"/>
                    <a:gd name="T55" fmla="*/ 2147483647 h 778"/>
                    <a:gd name="T56" fmla="*/ 2147483647 w 678"/>
                    <a:gd name="T57" fmla="*/ 2147483647 h 778"/>
                    <a:gd name="T58" fmla="*/ 2147483647 w 678"/>
                    <a:gd name="T59" fmla="*/ 2147483647 h 778"/>
                    <a:gd name="T60" fmla="*/ 2147483647 w 678"/>
                    <a:gd name="T61" fmla="*/ 2147483647 h 778"/>
                    <a:gd name="T62" fmla="*/ 2147483647 w 678"/>
                    <a:gd name="T63" fmla="*/ 2147483647 h 778"/>
                    <a:gd name="T64" fmla="*/ 2147483647 w 678"/>
                    <a:gd name="T65" fmla="*/ 2147483647 h 778"/>
                    <a:gd name="T66" fmla="*/ 2147483647 w 678"/>
                    <a:gd name="T67" fmla="*/ 2147483647 h 778"/>
                    <a:gd name="T68" fmla="*/ 2147483647 w 678"/>
                    <a:gd name="T69" fmla="*/ 2147483647 h 778"/>
                    <a:gd name="T70" fmla="*/ 2147483647 w 678"/>
                    <a:gd name="T71" fmla="*/ 2147483647 h 778"/>
                    <a:gd name="T72" fmla="*/ 2147483647 w 678"/>
                    <a:gd name="T73" fmla="*/ 2147483647 h 778"/>
                    <a:gd name="T74" fmla="*/ 2147483647 w 678"/>
                    <a:gd name="T75" fmla="*/ 2147483647 h 778"/>
                    <a:gd name="T76" fmla="*/ 2147483647 w 678"/>
                    <a:gd name="T77" fmla="*/ 2147483647 h 778"/>
                    <a:gd name="T78" fmla="*/ 2147483647 w 678"/>
                    <a:gd name="T79" fmla="*/ 2147483647 h 778"/>
                    <a:gd name="T80" fmla="*/ 2147483647 w 678"/>
                    <a:gd name="T81" fmla="*/ 2147483647 h 778"/>
                    <a:gd name="T82" fmla="*/ 2147483647 w 678"/>
                    <a:gd name="T83" fmla="*/ 2147483647 h 778"/>
                    <a:gd name="T84" fmla="*/ 2147483647 w 678"/>
                    <a:gd name="T85" fmla="*/ 2147483647 h 778"/>
                    <a:gd name="T86" fmla="*/ 2147483647 w 678"/>
                    <a:gd name="T87" fmla="*/ 2147483647 h 778"/>
                    <a:gd name="T88" fmla="*/ 2147483647 w 678"/>
                    <a:gd name="T89" fmla="*/ 2147483647 h 778"/>
                    <a:gd name="T90" fmla="*/ 2147483647 w 678"/>
                    <a:gd name="T91" fmla="*/ 2147483647 h 778"/>
                    <a:gd name="T92" fmla="*/ 2147483647 w 678"/>
                    <a:gd name="T93" fmla="*/ 2147483647 h 778"/>
                    <a:gd name="T94" fmla="*/ 2147483647 w 678"/>
                    <a:gd name="T95" fmla="*/ 2147483647 h 778"/>
                    <a:gd name="T96" fmla="*/ 2147483647 w 678"/>
                    <a:gd name="T97" fmla="*/ 2147483647 h 778"/>
                    <a:gd name="T98" fmla="*/ 2147483647 w 678"/>
                    <a:gd name="T99" fmla="*/ 2147483647 h 778"/>
                    <a:gd name="T100" fmla="*/ 2147483647 w 678"/>
                    <a:gd name="T101" fmla="*/ 2147483647 h 778"/>
                    <a:gd name="T102" fmla="*/ 2147483647 w 678"/>
                    <a:gd name="T103" fmla="*/ 2147483647 h 778"/>
                    <a:gd name="T104" fmla="*/ 2147483647 w 678"/>
                    <a:gd name="T105" fmla="*/ 2147483647 h 778"/>
                    <a:gd name="T106" fmla="*/ 2147483647 w 678"/>
                    <a:gd name="T107" fmla="*/ 2147483647 h 778"/>
                    <a:gd name="T108" fmla="*/ 2147483647 w 678"/>
                    <a:gd name="T109" fmla="*/ 2147483647 h 778"/>
                    <a:gd name="T110" fmla="*/ 2147483647 w 678"/>
                    <a:gd name="T111" fmla="*/ 2147483647 h 778"/>
                    <a:gd name="T112" fmla="*/ 2147483647 w 678"/>
                    <a:gd name="T113" fmla="*/ 2147483647 h 778"/>
                    <a:gd name="T114" fmla="*/ 2147483647 w 678"/>
                    <a:gd name="T115" fmla="*/ 2147483647 h 778"/>
                    <a:gd name="T116" fmla="*/ 2147483647 w 678"/>
                    <a:gd name="T117" fmla="*/ 2147483647 h 778"/>
                    <a:gd name="T118" fmla="*/ 2147483647 w 678"/>
                    <a:gd name="T119" fmla="*/ 2147483647 h 778"/>
                    <a:gd name="T120" fmla="*/ 2147483647 w 678"/>
                    <a:gd name="T121" fmla="*/ 2147483647 h 778"/>
                    <a:gd name="T122" fmla="*/ 2147483647 w 678"/>
                    <a:gd name="T123" fmla="*/ 2147483647 h 778"/>
                    <a:gd name="T124" fmla="*/ 2147483647 w 678"/>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78"/>
                    <a:gd name="T190" fmla="*/ 0 h 778"/>
                    <a:gd name="T191" fmla="*/ 678 w 678"/>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78" h="778">
                      <a:moveTo>
                        <a:pt x="388" y="12"/>
                      </a:moveTo>
                      <a:lnTo>
                        <a:pt x="388" y="12"/>
                      </a:lnTo>
                      <a:lnTo>
                        <a:pt x="392" y="22"/>
                      </a:lnTo>
                      <a:lnTo>
                        <a:pt x="396" y="31"/>
                      </a:lnTo>
                      <a:lnTo>
                        <a:pt x="397" y="42"/>
                      </a:lnTo>
                      <a:lnTo>
                        <a:pt x="400" y="55"/>
                      </a:lnTo>
                      <a:lnTo>
                        <a:pt x="401" y="58"/>
                      </a:lnTo>
                      <a:lnTo>
                        <a:pt x="405" y="62"/>
                      </a:lnTo>
                      <a:lnTo>
                        <a:pt x="406" y="64"/>
                      </a:lnTo>
                      <a:lnTo>
                        <a:pt x="409" y="65"/>
                      </a:lnTo>
                      <a:lnTo>
                        <a:pt x="414" y="68"/>
                      </a:lnTo>
                      <a:lnTo>
                        <a:pt x="417" y="69"/>
                      </a:lnTo>
                      <a:lnTo>
                        <a:pt x="417" y="71"/>
                      </a:lnTo>
                      <a:lnTo>
                        <a:pt x="417" y="74"/>
                      </a:lnTo>
                      <a:lnTo>
                        <a:pt x="416" y="81"/>
                      </a:lnTo>
                      <a:lnTo>
                        <a:pt x="414" y="84"/>
                      </a:lnTo>
                      <a:lnTo>
                        <a:pt x="411" y="88"/>
                      </a:lnTo>
                      <a:lnTo>
                        <a:pt x="402" y="94"/>
                      </a:lnTo>
                      <a:lnTo>
                        <a:pt x="401" y="97"/>
                      </a:lnTo>
                      <a:lnTo>
                        <a:pt x="398" y="100"/>
                      </a:lnTo>
                      <a:lnTo>
                        <a:pt x="392" y="105"/>
                      </a:lnTo>
                      <a:lnTo>
                        <a:pt x="388" y="110"/>
                      </a:lnTo>
                      <a:lnTo>
                        <a:pt x="381" y="122"/>
                      </a:lnTo>
                      <a:lnTo>
                        <a:pt x="374" y="128"/>
                      </a:lnTo>
                      <a:lnTo>
                        <a:pt x="370" y="132"/>
                      </a:lnTo>
                      <a:lnTo>
                        <a:pt x="369" y="137"/>
                      </a:lnTo>
                      <a:lnTo>
                        <a:pt x="370" y="138"/>
                      </a:lnTo>
                      <a:lnTo>
                        <a:pt x="372" y="139"/>
                      </a:lnTo>
                      <a:lnTo>
                        <a:pt x="374" y="138"/>
                      </a:lnTo>
                      <a:lnTo>
                        <a:pt x="378" y="138"/>
                      </a:lnTo>
                      <a:lnTo>
                        <a:pt x="384" y="137"/>
                      </a:lnTo>
                      <a:lnTo>
                        <a:pt x="389" y="135"/>
                      </a:lnTo>
                      <a:lnTo>
                        <a:pt x="395" y="133"/>
                      </a:lnTo>
                      <a:lnTo>
                        <a:pt x="398" y="129"/>
                      </a:lnTo>
                      <a:lnTo>
                        <a:pt x="402" y="125"/>
                      </a:lnTo>
                      <a:lnTo>
                        <a:pt x="405" y="120"/>
                      </a:lnTo>
                      <a:lnTo>
                        <a:pt x="410" y="110"/>
                      </a:lnTo>
                      <a:lnTo>
                        <a:pt x="411" y="109"/>
                      </a:lnTo>
                      <a:lnTo>
                        <a:pt x="412" y="108"/>
                      </a:lnTo>
                      <a:lnTo>
                        <a:pt x="426" y="108"/>
                      </a:lnTo>
                      <a:lnTo>
                        <a:pt x="440" y="107"/>
                      </a:lnTo>
                      <a:lnTo>
                        <a:pt x="442" y="107"/>
                      </a:lnTo>
                      <a:lnTo>
                        <a:pt x="442" y="108"/>
                      </a:lnTo>
                      <a:lnTo>
                        <a:pt x="442" y="112"/>
                      </a:lnTo>
                      <a:lnTo>
                        <a:pt x="439" y="121"/>
                      </a:lnTo>
                      <a:lnTo>
                        <a:pt x="436" y="125"/>
                      </a:lnTo>
                      <a:lnTo>
                        <a:pt x="434" y="127"/>
                      </a:lnTo>
                      <a:lnTo>
                        <a:pt x="429" y="131"/>
                      </a:lnTo>
                      <a:lnTo>
                        <a:pt x="424" y="135"/>
                      </a:lnTo>
                      <a:lnTo>
                        <a:pt x="421" y="140"/>
                      </a:lnTo>
                      <a:lnTo>
                        <a:pt x="420" y="142"/>
                      </a:lnTo>
                      <a:lnTo>
                        <a:pt x="421" y="146"/>
                      </a:lnTo>
                      <a:lnTo>
                        <a:pt x="421" y="147"/>
                      </a:lnTo>
                      <a:lnTo>
                        <a:pt x="422" y="147"/>
                      </a:lnTo>
                      <a:lnTo>
                        <a:pt x="428" y="142"/>
                      </a:lnTo>
                      <a:lnTo>
                        <a:pt x="433" y="139"/>
                      </a:lnTo>
                      <a:lnTo>
                        <a:pt x="438" y="137"/>
                      </a:lnTo>
                      <a:lnTo>
                        <a:pt x="444" y="133"/>
                      </a:lnTo>
                      <a:lnTo>
                        <a:pt x="445" y="131"/>
                      </a:lnTo>
                      <a:lnTo>
                        <a:pt x="445" y="127"/>
                      </a:lnTo>
                      <a:lnTo>
                        <a:pt x="447" y="123"/>
                      </a:lnTo>
                      <a:lnTo>
                        <a:pt x="447" y="121"/>
                      </a:lnTo>
                      <a:lnTo>
                        <a:pt x="448" y="119"/>
                      </a:lnTo>
                      <a:lnTo>
                        <a:pt x="450" y="116"/>
                      </a:lnTo>
                      <a:lnTo>
                        <a:pt x="454" y="116"/>
                      </a:lnTo>
                      <a:lnTo>
                        <a:pt x="463" y="119"/>
                      </a:lnTo>
                      <a:lnTo>
                        <a:pt x="468" y="120"/>
                      </a:lnTo>
                      <a:lnTo>
                        <a:pt x="473" y="122"/>
                      </a:lnTo>
                      <a:lnTo>
                        <a:pt x="478" y="123"/>
                      </a:lnTo>
                      <a:lnTo>
                        <a:pt x="483" y="125"/>
                      </a:lnTo>
                      <a:lnTo>
                        <a:pt x="494" y="127"/>
                      </a:lnTo>
                      <a:lnTo>
                        <a:pt x="497" y="129"/>
                      </a:lnTo>
                      <a:lnTo>
                        <a:pt x="502" y="133"/>
                      </a:lnTo>
                      <a:lnTo>
                        <a:pt x="504" y="134"/>
                      </a:lnTo>
                      <a:lnTo>
                        <a:pt x="504" y="137"/>
                      </a:lnTo>
                      <a:lnTo>
                        <a:pt x="504" y="140"/>
                      </a:lnTo>
                      <a:lnTo>
                        <a:pt x="504" y="145"/>
                      </a:lnTo>
                      <a:lnTo>
                        <a:pt x="504" y="150"/>
                      </a:lnTo>
                      <a:lnTo>
                        <a:pt x="505" y="153"/>
                      </a:lnTo>
                      <a:lnTo>
                        <a:pt x="504" y="157"/>
                      </a:lnTo>
                      <a:lnTo>
                        <a:pt x="502" y="159"/>
                      </a:lnTo>
                      <a:lnTo>
                        <a:pt x="502" y="163"/>
                      </a:lnTo>
                      <a:lnTo>
                        <a:pt x="505" y="164"/>
                      </a:lnTo>
                      <a:lnTo>
                        <a:pt x="508" y="164"/>
                      </a:lnTo>
                      <a:lnTo>
                        <a:pt x="510" y="161"/>
                      </a:lnTo>
                      <a:lnTo>
                        <a:pt x="511" y="159"/>
                      </a:lnTo>
                      <a:lnTo>
                        <a:pt x="513" y="153"/>
                      </a:lnTo>
                      <a:lnTo>
                        <a:pt x="514" y="151"/>
                      </a:lnTo>
                      <a:lnTo>
                        <a:pt x="515" y="151"/>
                      </a:lnTo>
                      <a:lnTo>
                        <a:pt x="516" y="151"/>
                      </a:lnTo>
                      <a:lnTo>
                        <a:pt x="519" y="153"/>
                      </a:lnTo>
                      <a:lnTo>
                        <a:pt x="520" y="153"/>
                      </a:lnTo>
                      <a:lnTo>
                        <a:pt x="524" y="153"/>
                      </a:lnTo>
                      <a:lnTo>
                        <a:pt x="528" y="155"/>
                      </a:lnTo>
                      <a:lnTo>
                        <a:pt x="530" y="157"/>
                      </a:lnTo>
                      <a:lnTo>
                        <a:pt x="534" y="158"/>
                      </a:lnTo>
                      <a:lnTo>
                        <a:pt x="539" y="158"/>
                      </a:lnTo>
                      <a:lnTo>
                        <a:pt x="542" y="158"/>
                      </a:lnTo>
                      <a:lnTo>
                        <a:pt x="544" y="159"/>
                      </a:lnTo>
                      <a:lnTo>
                        <a:pt x="548" y="161"/>
                      </a:lnTo>
                      <a:lnTo>
                        <a:pt x="553" y="163"/>
                      </a:lnTo>
                      <a:lnTo>
                        <a:pt x="557" y="163"/>
                      </a:lnTo>
                      <a:lnTo>
                        <a:pt x="561" y="163"/>
                      </a:lnTo>
                      <a:lnTo>
                        <a:pt x="570" y="160"/>
                      </a:lnTo>
                      <a:lnTo>
                        <a:pt x="577" y="158"/>
                      </a:lnTo>
                      <a:lnTo>
                        <a:pt x="580" y="158"/>
                      </a:lnTo>
                      <a:lnTo>
                        <a:pt x="581" y="159"/>
                      </a:lnTo>
                      <a:lnTo>
                        <a:pt x="584" y="161"/>
                      </a:lnTo>
                      <a:lnTo>
                        <a:pt x="586" y="163"/>
                      </a:lnTo>
                      <a:lnTo>
                        <a:pt x="589" y="163"/>
                      </a:lnTo>
                      <a:lnTo>
                        <a:pt x="590" y="163"/>
                      </a:lnTo>
                      <a:lnTo>
                        <a:pt x="593" y="163"/>
                      </a:lnTo>
                      <a:lnTo>
                        <a:pt x="594" y="164"/>
                      </a:lnTo>
                      <a:lnTo>
                        <a:pt x="596" y="166"/>
                      </a:lnTo>
                      <a:lnTo>
                        <a:pt x="600" y="170"/>
                      </a:lnTo>
                      <a:lnTo>
                        <a:pt x="608" y="176"/>
                      </a:lnTo>
                      <a:lnTo>
                        <a:pt x="614" y="183"/>
                      </a:lnTo>
                      <a:lnTo>
                        <a:pt x="621" y="189"/>
                      </a:lnTo>
                      <a:lnTo>
                        <a:pt x="627" y="196"/>
                      </a:lnTo>
                      <a:lnTo>
                        <a:pt x="631" y="198"/>
                      </a:lnTo>
                      <a:lnTo>
                        <a:pt x="635" y="199"/>
                      </a:lnTo>
                      <a:lnTo>
                        <a:pt x="642" y="201"/>
                      </a:lnTo>
                      <a:lnTo>
                        <a:pt x="651" y="202"/>
                      </a:lnTo>
                      <a:lnTo>
                        <a:pt x="655" y="203"/>
                      </a:lnTo>
                      <a:lnTo>
                        <a:pt x="659" y="204"/>
                      </a:lnTo>
                      <a:lnTo>
                        <a:pt x="662" y="206"/>
                      </a:lnTo>
                      <a:lnTo>
                        <a:pt x="665" y="210"/>
                      </a:lnTo>
                      <a:lnTo>
                        <a:pt x="668" y="215"/>
                      </a:lnTo>
                      <a:lnTo>
                        <a:pt x="669" y="218"/>
                      </a:lnTo>
                      <a:lnTo>
                        <a:pt x="669" y="223"/>
                      </a:lnTo>
                      <a:lnTo>
                        <a:pt x="670" y="227"/>
                      </a:lnTo>
                      <a:lnTo>
                        <a:pt x="675" y="236"/>
                      </a:lnTo>
                      <a:lnTo>
                        <a:pt x="678" y="246"/>
                      </a:lnTo>
                      <a:lnTo>
                        <a:pt x="678" y="255"/>
                      </a:lnTo>
                      <a:lnTo>
                        <a:pt x="678" y="265"/>
                      </a:lnTo>
                      <a:lnTo>
                        <a:pt x="675" y="274"/>
                      </a:lnTo>
                      <a:lnTo>
                        <a:pt x="671" y="284"/>
                      </a:lnTo>
                      <a:lnTo>
                        <a:pt x="666" y="292"/>
                      </a:lnTo>
                      <a:lnTo>
                        <a:pt x="660" y="299"/>
                      </a:lnTo>
                      <a:lnTo>
                        <a:pt x="656" y="301"/>
                      </a:lnTo>
                      <a:lnTo>
                        <a:pt x="652" y="304"/>
                      </a:lnTo>
                      <a:lnTo>
                        <a:pt x="647" y="310"/>
                      </a:lnTo>
                      <a:lnTo>
                        <a:pt x="643" y="313"/>
                      </a:lnTo>
                      <a:lnTo>
                        <a:pt x="640" y="317"/>
                      </a:lnTo>
                      <a:lnTo>
                        <a:pt x="637" y="320"/>
                      </a:lnTo>
                      <a:lnTo>
                        <a:pt x="635" y="325"/>
                      </a:lnTo>
                      <a:lnTo>
                        <a:pt x="633" y="329"/>
                      </a:lnTo>
                      <a:lnTo>
                        <a:pt x="631" y="331"/>
                      </a:lnTo>
                      <a:lnTo>
                        <a:pt x="628" y="337"/>
                      </a:lnTo>
                      <a:lnTo>
                        <a:pt x="624" y="344"/>
                      </a:lnTo>
                      <a:lnTo>
                        <a:pt x="621" y="349"/>
                      </a:lnTo>
                      <a:lnTo>
                        <a:pt x="614" y="352"/>
                      </a:lnTo>
                      <a:lnTo>
                        <a:pt x="608" y="357"/>
                      </a:lnTo>
                      <a:lnTo>
                        <a:pt x="605" y="361"/>
                      </a:lnTo>
                      <a:lnTo>
                        <a:pt x="604" y="367"/>
                      </a:lnTo>
                      <a:lnTo>
                        <a:pt x="605" y="372"/>
                      </a:lnTo>
                      <a:lnTo>
                        <a:pt x="604" y="380"/>
                      </a:lnTo>
                      <a:lnTo>
                        <a:pt x="604" y="387"/>
                      </a:lnTo>
                      <a:lnTo>
                        <a:pt x="602" y="391"/>
                      </a:lnTo>
                      <a:lnTo>
                        <a:pt x="602" y="396"/>
                      </a:lnTo>
                      <a:lnTo>
                        <a:pt x="602" y="399"/>
                      </a:lnTo>
                      <a:lnTo>
                        <a:pt x="603" y="401"/>
                      </a:lnTo>
                      <a:lnTo>
                        <a:pt x="604" y="404"/>
                      </a:lnTo>
                      <a:lnTo>
                        <a:pt x="605" y="410"/>
                      </a:lnTo>
                      <a:lnTo>
                        <a:pt x="605" y="413"/>
                      </a:lnTo>
                      <a:lnTo>
                        <a:pt x="605" y="415"/>
                      </a:lnTo>
                      <a:lnTo>
                        <a:pt x="603" y="421"/>
                      </a:lnTo>
                      <a:lnTo>
                        <a:pt x="600" y="428"/>
                      </a:lnTo>
                      <a:lnTo>
                        <a:pt x="600" y="435"/>
                      </a:lnTo>
                      <a:lnTo>
                        <a:pt x="600" y="441"/>
                      </a:lnTo>
                      <a:lnTo>
                        <a:pt x="600" y="444"/>
                      </a:lnTo>
                      <a:lnTo>
                        <a:pt x="599" y="446"/>
                      </a:lnTo>
                      <a:lnTo>
                        <a:pt x="598" y="447"/>
                      </a:lnTo>
                      <a:lnTo>
                        <a:pt x="598" y="450"/>
                      </a:lnTo>
                      <a:lnTo>
                        <a:pt x="600" y="454"/>
                      </a:lnTo>
                      <a:lnTo>
                        <a:pt x="598" y="461"/>
                      </a:lnTo>
                      <a:lnTo>
                        <a:pt x="596" y="468"/>
                      </a:lnTo>
                      <a:lnTo>
                        <a:pt x="598" y="476"/>
                      </a:lnTo>
                      <a:lnTo>
                        <a:pt x="598" y="479"/>
                      </a:lnTo>
                      <a:lnTo>
                        <a:pt x="595" y="484"/>
                      </a:lnTo>
                      <a:lnTo>
                        <a:pt x="591" y="489"/>
                      </a:lnTo>
                      <a:lnTo>
                        <a:pt x="586" y="492"/>
                      </a:lnTo>
                      <a:lnTo>
                        <a:pt x="582" y="497"/>
                      </a:lnTo>
                      <a:lnTo>
                        <a:pt x="581" y="499"/>
                      </a:lnTo>
                      <a:lnTo>
                        <a:pt x="581" y="500"/>
                      </a:lnTo>
                      <a:lnTo>
                        <a:pt x="580" y="506"/>
                      </a:lnTo>
                      <a:lnTo>
                        <a:pt x="579" y="511"/>
                      </a:lnTo>
                      <a:lnTo>
                        <a:pt x="576" y="512"/>
                      </a:lnTo>
                      <a:lnTo>
                        <a:pt x="574" y="512"/>
                      </a:lnTo>
                      <a:lnTo>
                        <a:pt x="574" y="514"/>
                      </a:lnTo>
                      <a:lnTo>
                        <a:pt x="571" y="518"/>
                      </a:lnTo>
                      <a:lnTo>
                        <a:pt x="570" y="523"/>
                      </a:lnTo>
                      <a:lnTo>
                        <a:pt x="569" y="527"/>
                      </a:lnTo>
                      <a:lnTo>
                        <a:pt x="566" y="529"/>
                      </a:lnTo>
                      <a:lnTo>
                        <a:pt x="565" y="531"/>
                      </a:lnTo>
                      <a:lnTo>
                        <a:pt x="566" y="532"/>
                      </a:lnTo>
                      <a:lnTo>
                        <a:pt x="569" y="537"/>
                      </a:lnTo>
                      <a:lnTo>
                        <a:pt x="569" y="540"/>
                      </a:lnTo>
                      <a:lnTo>
                        <a:pt x="569" y="542"/>
                      </a:lnTo>
                      <a:lnTo>
                        <a:pt x="562" y="547"/>
                      </a:lnTo>
                      <a:lnTo>
                        <a:pt x="558" y="549"/>
                      </a:lnTo>
                      <a:lnTo>
                        <a:pt x="555" y="549"/>
                      </a:lnTo>
                      <a:lnTo>
                        <a:pt x="553" y="550"/>
                      </a:lnTo>
                      <a:lnTo>
                        <a:pt x="551" y="551"/>
                      </a:lnTo>
                      <a:lnTo>
                        <a:pt x="549" y="557"/>
                      </a:lnTo>
                      <a:lnTo>
                        <a:pt x="548" y="559"/>
                      </a:lnTo>
                      <a:lnTo>
                        <a:pt x="546" y="557"/>
                      </a:lnTo>
                      <a:lnTo>
                        <a:pt x="541" y="556"/>
                      </a:lnTo>
                      <a:lnTo>
                        <a:pt x="535" y="555"/>
                      </a:lnTo>
                      <a:lnTo>
                        <a:pt x="525" y="556"/>
                      </a:lnTo>
                      <a:lnTo>
                        <a:pt x="516" y="559"/>
                      </a:lnTo>
                      <a:lnTo>
                        <a:pt x="506" y="560"/>
                      </a:lnTo>
                      <a:lnTo>
                        <a:pt x="505" y="561"/>
                      </a:lnTo>
                      <a:lnTo>
                        <a:pt x="505" y="563"/>
                      </a:lnTo>
                      <a:lnTo>
                        <a:pt x="506" y="566"/>
                      </a:lnTo>
                      <a:lnTo>
                        <a:pt x="506" y="568"/>
                      </a:lnTo>
                      <a:lnTo>
                        <a:pt x="505" y="569"/>
                      </a:lnTo>
                      <a:lnTo>
                        <a:pt x="502" y="568"/>
                      </a:lnTo>
                      <a:lnTo>
                        <a:pt x="500" y="568"/>
                      </a:lnTo>
                      <a:lnTo>
                        <a:pt x="499" y="568"/>
                      </a:lnTo>
                      <a:lnTo>
                        <a:pt x="495" y="574"/>
                      </a:lnTo>
                      <a:lnTo>
                        <a:pt x="490" y="578"/>
                      </a:lnTo>
                      <a:lnTo>
                        <a:pt x="485" y="578"/>
                      </a:lnTo>
                      <a:lnTo>
                        <a:pt x="477" y="576"/>
                      </a:lnTo>
                      <a:lnTo>
                        <a:pt x="472" y="578"/>
                      </a:lnTo>
                      <a:lnTo>
                        <a:pt x="469" y="580"/>
                      </a:lnTo>
                      <a:lnTo>
                        <a:pt x="468" y="583"/>
                      </a:lnTo>
                      <a:lnTo>
                        <a:pt x="467" y="588"/>
                      </a:lnTo>
                      <a:lnTo>
                        <a:pt x="466" y="591"/>
                      </a:lnTo>
                      <a:lnTo>
                        <a:pt x="463" y="592"/>
                      </a:lnTo>
                      <a:lnTo>
                        <a:pt x="457" y="594"/>
                      </a:lnTo>
                      <a:lnTo>
                        <a:pt x="450" y="598"/>
                      </a:lnTo>
                      <a:lnTo>
                        <a:pt x="447" y="600"/>
                      </a:lnTo>
                      <a:lnTo>
                        <a:pt x="442" y="602"/>
                      </a:lnTo>
                      <a:lnTo>
                        <a:pt x="436" y="607"/>
                      </a:lnTo>
                      <a:lnTo>
                        <a:pt x="433" y="612"/>
                      </a:lnTo>
                      <a:lnTo>
                        <a:pt x="430" y="617"/>
                      </a:lnTo>
                      <a:lnTo>
                        <a:pt x="429" y="623"/>
                      </a:lnTo>
                      <a:lnTo>
                        <a:pt x="428" y="629"/>
                      </a:lnTo>
                      <a:lnTo>
                        <a:pt x="428" y="633"/>
                      </a:lnTo>
                      <a:lnTo>
                        <a:pt x="430" y="638"/>
                      </a:lnTo>
                      <a:lnTo>
                        <a:pt x="433" y="643"/>
                      </a:lnTo>
                      <a:lnTo>
                        <a:pt x="434" y="645"/>
                      </a:lnTo>
                      <a:lnTo>
                        <a:pt x="435" y="649"/>
                      </a:lnTo>
                      <a:lnTo>
                        <a:pt x="435" y="652"/>
                      </a:lnTo>
                      <a:lnTo>
                        <a:pt x="435" y="657"/>
                      </a:lnTo>
                      <a:lnTo>
                        <a:pt x="431" y="664"/>
                      </a:lnTo>
                      <a:lnTo>
                        <a:pt x="428" y="672"/>
                      </a:lnTo>
                      <a:lnTo>
                        <a:pt x="425" y="676"/>
                      </a:lnTo>
                      <a:lnTo>
                        <a:pt x="422" y="678"/>
                      </a:lnTo>
                      <a:lnTo>
                        <a:pt x="420" y="684"/>
                      </a:lnTo>
                      <a:lnTo>
                        <a:pt x="417" y="689"/>
                      </a:lnTo>
                      <a:lnTo>
                        <a:pt x="412" y="693"/>
                      </a:lnTo>
                      <a:lnTo>
                        <a:pt x="409" y="697"/>
                      </a:lnTo>
                      <a:lnTo>
                        <a:pt x="409" y="698"/>
                      </a:lnTo>
                      <a:lnTo>
                        <a:pt x="409" y="700"/>
                      </a:lnTo>
                      <a:lnTo>
                        <a:pt x="409" y="702"/>
                      </a:lnTo>
                      <a:lnTo>
                        <a:pt x="409" y="703"/>
                      </a:lnTo>
                      <a:lnTo>
                        <a:pt x="405" y="707"/>
                      </a:lnTo>
                      <a:lnTo>
                        <a:pt x="405" y="708"/>
                      </a:lnTo>
                      <a:lnTo>
                        <a:pt x="405" y="710"/>
                      </a:lnTo>
                      <a:lnTo>
                        <a:pt x="403" y="714"/>
                      </a:lnTo>
                      <a:lnTo>
                        <a:pt x="402" y="717"/>
                      </a:lnTo>
                      <a:lnTo>
                        <a:pt x="400" y="721"/>
                      </a:lnTo>
                      <a:lnTo>
                        <a:pt x="396" y="728"/>
                      </a:lnTo>
                      <a:lnTo>
                        <a:pt x="392" y="735"/>
                      </a:lnTo>
                      <a:lnTo>
                        <a:pt x="389" y="739"/>
                      </a:lnTo>
                      <a:lnTo>
                        <a:pt x="387" y="741"/>
                      </a:lnTo>
                      <a:lnTo>
                        <a:pt x="384" y="742"/>
                      </a:lnTo>
                      <a:lnTo>
                        <a:pt x="381" y="742"/>
                      </a:lnTo>
                      <a:lnTo>
                        <a:pt x="379" y="742"/>
                      </a:lnTo>
                      <a:lnTo>
                        <a:pt x="381" y="741"/>
                      </a:lnTo>
                      <a:lnTo>
                        <a:pt x="382" y="738"/>
                      </a:lnTo>
                      <a:lnTo>
                        <a:pt x="386" y="734"/>
                      </a:lnTo>
                      <a:lnTo>
                        <a:pt x="388" y="730"/>
                      </a:lnTo>
                      <a:lnTo>
                        <a:pt x="392" y="722"/>
                      </a:lnTo>
                      <a:lnTo>
                        <a:pt x="396" y="713"/>
                      </a:lnTo>
                      <a:lnTo>
                        <a:pt x="396" y="710"/>
                      </a:lnTo>
                      <a:lnTo>
                        <a:pt x="396" y="708"/>
                      </a:lnTo>
                      <a:lnTo>
                        <a:pt x="397" y="704"/>
                      </a:lnTo>
                      <a:lnTo>
                        <a:pt x="397" y="698"/>
                      </a:lnTo>
                      <a:lnTo>
                        <a:pt x="396" y="693"/>
                      </a:lnTo>
                      <a:lnTo>
                        <a:pt x="395" y="693"/>
                      </a:lnTo>
                      <a:lnTo>
                        <a:pt x="393" y="694"/>
                      </a:lnTo>
                      <a:lnTo>
                        <a:pt x="392" y="698"/>
                      </a:lnTo>
                      <a:lnTo>
                        <a:pt x="391" y="702"/>
                      </a:lnTo>
                      <a:lnTo>
                        <a:pt x="387" y="712"/>
                      </a:lnTo>
                      <a:lnTo>
                        <a:pt x="383" y="721"/>
                      </a:lnTo>
                      <a:lnTo>
                        <a:pt x="378" y="730"/>
                      </a:lnTo>
                      <a:lnTo>
                        <a:pt x="374" y="740"/>
                      </a:lnTo>
                      <a:lnTo>
                        <a:pt x="373" y="742"/>
                      </a:lnTo>
                      <a:lnTo>
                        <a:pt x="370" y="746"/>
                      </a:lnTo>
                      <a:lnTo>
                        <a:pt x="369" y="757"/>
                      </a:lnTo>
                      <a:lnTo>
                        <a:pt x="368" y="767"/>
                      </a:lnTo>
                      <a:lnTo>
                        <a:pt x="365" y="773"/>
                      </a:lnTo>
                      <a:lnTo>
                        <a:pt x="363" y="778"/>
                      </a:lnTo>
                      <a:lnTo>
                        <a:pt x="356" y="771"/>
                      </a:lnTo>
                      <a:lnTo>
                        <a:pt x="354" y="765"/>
                      </a:lnTo>
                      <a:lnTo>
                        <a:pt x="350" y="751"/>
                      </a:lnTo>
                      <a:lnTo>
                        <a:pt x="344" y="745"/>
                      </a:lnTo>
                      <a:lnTo>
                        <a:pt x="337" y="740"/>
                      </a:lnTo>
                      <a:lnTo>
                        <a:pt x="322" y="733"/>
                      </a:lnTo>
                      <a:lnTo>
                        <a:pt x="312" y="727"/>
                      </a:lnTo>
                      <a:lnTo>
                        <a:pt x="304" y="720"/>
                      </a:lnTo>
                      <a:lnTo>
                        <a:pt x="295" y="710"/>
                      </a:lnTo>
                      <a:lnTo>
                        <a:pt x="294" y="709"/>
                      </a:lnTo>
                      <a:lnTo>
                        <a:pt x="290" y="709"/>
                      </a:lnTo>
                      <a:lnTo>
                        <a:pt x="285" y="709"/>
                      </a:lnTo>
                      <a:lnTo>
                        <a:pt x="284" y="708"/>
                      </a:lnTo>
                      <a:lnTo>
                        <a:pt x="282" y="707"/>
                      </a:lnTo>
                      <a:lnTo>
                        <a:pt x="284" y="703"/>
                      </a:lnTo>
                      <a:lnTo>
                        <a:pt x="287" y="700"/>
                      </a:lnTo>
                      <a:lnTo>
                        <a:pt x="290" y="695"/>
                      </a:lnTo>
                      <a:lnTo>
                        <a:pt x="293" y="690"/>
                      </a:lnTo>
                      <a:lnTo>
                        <a:pt x="298" y="680"/>
                      </a:lnTo>
                      <a:lnTo>
                        <a:pt x="299" y="678"/>
                      </a:lnTo>
                      <a:lnTo>
                        <a:pt x="301" y="677"/>
                      </a:lnTo>
                      <a:lnTo>
                        <a:pt x="307" y="676"/>
                      </a:lnTo>
                      <a:lnTo>
                        <a:pt x="312" y="672"/>
                      </a:lnTo>
                      <a:lnTo>
                        <a:pt x="329" y="657"/>
                      </a:lnTo>
                      <a:lnTo>
                        <a:pt x="336" y="649"/>
                      </a:lnTo>
                      <a:lnTo>
                        <a:pt x="346" y="643"/>
                      </a:lnTo>
                      <a:lnTo>
                        <a:pt x="348" y="642"/>
                      </a:lnTo>
                      <a:lnTo>
                        <a:pt x="348" y="640"/>
                      </a:lnTo>
                      <a:lnTo>
                        <a:pt x="349" y="637"/>
                      </a:lnTo>
                      <a:lnTo>
                        <a:pt x="348" y="631"/>
                      </a:lnTo>
                      <a:lnTo>
                        <a:pt x="348" y="625"/>
                      </a:lnTo>
                      <a:lnTo>
                        <a:pt x="346" y="619"/>
                      </a:lnTo>
                      <a:lnTo>
                        <a:pt x="348" y="613"/>
                      </a:lnTo>
                      <a:lnTo>
                        <a:pt x="342" y="613"/>
                      </a:lnTo>
                      <a:lnTo>
                        <a:pt x="339" y="613"/>
                      </a:lnTo>
                      <a:lnTo>
                        <a:pt x="330" y="612"/>
                      </a:lnTo>
                      <a:lnTo>
                        <a:pt x="331" y="602"/>
                      </a:lnTo>
                      <a:lnTo>
                        <a:pt x="334" y="592"/>
                      </a:lnTo>
                      <a:lnTo>
                        <a:pt x="337" y="582"/>
                      </a:lnTo>
                      <a:lnTo>
                        <a:pt x="340" y="572"/>
                      </a:lnTo>
                      <a:lnTo>
                        <a:pt x="336" y="574"/>
                      </a:lnTo>
                      <a:lnTo>
                        <a:pt x="330" y="575"/>
                      </a:lnTo>
                      <a:lnTo>
                        <a:pt x="326" y="576"/>
                      </a:lnTo>
                      <a:lnTo>
                        <a:pt x="323" y="575"/>
                      </a:lnTo>
                      <a:lnTo>
                        <a:pt x="321" y="574"/>
                      </a:lnTo>
                      <a:lnTo>
                        <a:pt x="320" y="570"/>
                      </a:lnTo>
                      <a:lnTo>
                        <a:pt x="321" y="556"/>
                      </a:lnTo>
                      <a:lnTo>
                        <a:pt x="320" y="549"/>
                      </a:lnTo>
                      <a:lnTo>
                        <a:pt x="317" y="546"/>
                      </a:lnTo>
                      <a:lnTo>
                        <a:pt x="315" y="543"/>
                      </a:lnTo>
                      <a:lnTo>
                        <a:pt x="309" y="541"/>
                      </a:lnTo>
                      <a:lnTo>
                        <a:pt x="303" y="538"/>
                      </a:lnTo>
                      <a:lnTo>
                        <a:pt x="292" y="536"/>
                      </a:lnTo>
                      <a:lnTo>
                        <a:pt x="280" y="534"/>
                      </a:lnTo>
                      <a:lnTo>
                        <a:pt x="278" y="532"/>
                      </a:lnTo>
                      <a:lnTo>
                        <a:pt x="276" y="531"/>
                      </a:lnTo>
                      <a:lnTo>
                        <a:pt x="276" y="524"/>
                      </a:lnTo>
                      <a:lnTo>
                        <a:pt x="276" y="514"/>
                      </a:lnTo>
                      <a:lnTo>
                        <a:pt x="276" y="509"/>
                      </a:lnTo>
                      <a:lnTo>
                        <a:pt x="275" y="503"/>
                      </a:lnTo>
                      <a:lnTo>
                        <a:pt x="273" y="498"/>
                      </a:lnTo>
                      <a:lnTo>
                        <a:pt x="269" y="493"/>
                      </a:lnTo>
                      <a:lnTo>
                        <a:pt x="270" y="487"/>
                      </a:lnTo>
                      <a:lnTo>
                        <a:pt x="271" y="482"/>
                      </a:lnTo>
                      <a:lnTo>
                        <a:pt x="274" y="476"/>
                      </a:lnTo>
                      <a:lnTo>
                        <a:pt x="275" y="471"/>
                      </a:lnTo>
                      <a:lnTo>
                        <a:pt x="276" y="465"/>
                      </a:lnTo>
                      <a:lnTo>
                        <a:pt x="276" y="459"/>
                      </a:lnTo>
                      <a:lnTo>
                        <a:pt x="275" y="454"/>
                      </a:lnTo>
                      <a:lnTo>
                        <a:pt x="273" y="448"/>
                      </a:lnTo>
                      <a:lnTo>
                        <a:pt x="269" y="444"/>
                      </a:lnTo>
                      <a:lnTo>
                        <a:pt x="264" y="440"/>
                      </a:lnTo>
                      <a:lnTo>
                        <a:pt x="262" y="439"/>
                      </a:lnTo>
                      <a:lnTo>
                        <a:pt x="264" y="436"/>
                      </a:lnTo>
                      <a:lnTo>
                        <a:pt x="266" y="433"/>
                      </a:lnTo>
                      <a:lnTo>
                        <a:pt x="266" y="428"/>
                      </a:lnTo>
                      <a:lnTo>
                        <a:pt x="264" y="426"/>
                      </a:lnTo>
                      <a:lnTo>
                        <a:pt x="261" y="423"/>
                      </a:lnTo>
                      <a:lnTo>
                        <a:pt x="257" y="422"/>
                      </a:lnTo>
                      <a:lnTo>
                        <a:pt x="249" y="421"/>
                      </a:lnTo>
                      <a:lnTo>
                        <a:pt x="240" y="420"/>
                      </a:lnTo>
                      <a:lnTo>
                        <a:pt x="237" y="417"/>
                      </a:lnTo>
                      <a:lnTo>
                        <a:pt x="236" y="416"/>
                      </a:lnTo>
                      <a:lnTo>
                        <a:pt x="233" y="410"/>
                      </a:lnTo>
                      <a:lnTo>
                        <a:pt x="232" y="404"/>
                      </a:lnTo>
                      <a:lnTo>
                        <a:pt x="233" y="399"/>
                      </a:lnTo>
                      <a:lnTo>
                        <a:pt x="235" y="391"/>
                      </a:lnTo>
                      <a:lnTo>
                        <a:pt x="233" y="385"/>
                      </a:lnTo>
                      <a:lnTo>
                        <a:pt x="229" y="378"/>
                      </a:lnTo>
                      <a:lnTo>
                        <a:pt x="227" y="372"/>
                      </a:lnTo>
                      <a:lnTo>
                        <a:pt x="219" y="370"/>
                      </a:lnTo>
                      <a:lnTo>
                        <a:pt x="212" y="369"/>
                      </a:lnTo>
                      <a:lnTo>
                        <a:pt x="204" y="367"/>
                      </a:lnTo>
                      <a:lnTo>
                        <a:pt x="198" y="362"/>
                      </a:lnTo>
                      <a:lnTo>
                        <a:pt x="189" y="353"/>
                      </a:lnTo>
                      <a:lnTo>
                        <a:pt x="184" y="349"/>
                      </a:lnTo>
                      <a:lnTo>
                        <a:pt x="179" y="345"/>
                      </a:lnTo>
                      <a:lnTo>
                        <a:pt x="161" y="339"/>
                      </a:lnTo>
                      <a:lnTo>
                        <a:pt x="156" y="337"/>
                      </a:lnTo>
                      <a:lnTo>
                        <a:pt x="152" y="335"/>
                      </a:lnTo>
                      <a:lnTo>
                        <a:pt x="149" y="331"/>
                      </a:lnTo>
                      <a:lnTo>
                        <a:pt x="147" y="327"/>
                      </a:lnTo>
                      <a:lnTo>
                        <a:pt x="147" y="321"/>
                      </a:lnTo>
                      <a:lnTo>
                        <a:pt x="146" y="313"/>
                      </a:lnTo>
                      <a:lnTo>
                        <a:pt x="146" y="312"/>
                      </a:lnTo>
                      <a:lnTo>
                        <a:pt x="143" y="311"/>
                      </a:lnTo>
                      <a:lnTo>
                        <a:pt x="141" y="312"/>
                      </a:lnTo>
                      <a:lnTo>
                        <a:pt x="138" y="312"/>
                      </a:lnTo>
                      <a:lnTo>
                        <a:pt x="124" y="314"/>
                      </a:lnTo>
                      <a:lnTo>
                        <a:pt x="119" y="316"/>
                      </a:lnTo>
                      <a:lnTo>
                        <a:pt x="114" y="320"/>
                      </a:lnTo>
                      <a:lnTo>
                        <a:pt x="110" y="324"/>
                      </a:lnTo>
                      <a:lnTo>
                        <a:pt x="99" y="333"/>
                      </a:lnTo>
                      <a:lnTo>
                        <a:pt x="86" y="344"/>
                      </a:lnTo>
                      <a:lnTo>
                        <a:pt x="86" y="338"/>
                      </a:lnTo>
                      <a:lnTo>
                        <a:pt x="85" y="333"/>
                      </a:lnTo>
                      <a:lnTo>
                        <a:pt x="81" y="329"/>
                      </a:lnTo>
                      <a:lnTo>
                        <a:pt x="77" y="325"/>
                      </a:lnTo>
                      <a:lnTo>
                        <a:pt x="68" y="319"/>
                      </a:lnTo>
                      <a:lnTo>
                        <a:pt x="59" y="312"/>
                      </a:lnTo>
                      <a:lnTo>
                        <a:pt x="58" y="310"/>
                      </a:lnTo>
                      <a:lnTo>
                        <a:pt x="57" y="306"/>
                      </a:lnTo>
                      <a:lnTo>
                        <a:pt x="57" y="301"/>
                      </a:lnTo>
                      <a:lnTo>
                        <a:pt x="59" y="297"/>
                      </a:lnTo>
                      <a:lnTo>
                        <a:pt x="59" y="293"/>
                      </a:lnTo>
                      <a:lnTo>
                        <a:pt x="59" y="291"/>
                      </a:lnTo>
                      <a:lnTo>
                        <a:pt x="57" y="289"/>
                      </a:lnTo>
                      <a:lnTo>
                        <a:pt x="55" y="288"/>
                      </a:lnTo>
                      <a:lnTo>
                        <a:pt x="54" y="288"/>
                      </a:lnTo>
                      <a:lnTo>
                        <a:pt x="50" y="289"/>
                      </a:lnTo>
                      <a:lnTo>
                        <a:pt x="43" y="295"/>
                      </a:lnTo>
                      <a:lnTo>
                        <a:pt x="40" y="295"/>
                      </a:lnTo>
                      <a:lnTo>
                        <a:pt x="39" y="294"/>
                      </a:lnTo>
                      <a:lnTo>
                        <a:pt x="35" y="291"/>
                      </a:lnTo>
                      <a:lnTo>
                        <a:pt x="31" y="287"/>
                      </a:lnTo>
                      <a:lnTo>
                        <a:pt x="28" y="285"/>
                      </a:lnTo>
                      <a:lnTo>
                        <a:pt x="25" y="285"/>
                      </a:lnTo>
                      <a:lnTo>
                        <a:pt x="22" y="286"/>
                      </a:lnTo>
                      <a:lnTo>
                        <a:pt x="21" y="285"/>
                      </a:lnTo>
                      <a:lnTo>
                        <a:pt x="20" y="284"/>
                      </a:lnTo>
                      <a:lnTo>
                        <a:pt x="16" y="279"/>
                      </a:lnTo>
                      <a:lnTo>
                        <a:pt x="11" y="273"/>
                      </a:lnTo>
                      <a:lnTo>
                        <a:pt x="10" y="270"/>
                      </a:lnTo>
                      <a:lnTo>
                        <a:pt x="7" y="268"/>
                      </a:lnTo>
                      <a:lnTo>
                        <a:pt x="5" y="267"/>
                      </a:lnTo>
                      <a:lnTo>
                        <a:pt x="2" y="267"/>
                      </a:lnTo>
                      <a:lnTo>
                        <a:pt x="0" y="262"/>
                      </a:lnTo>
                      <a:lnTo>
                        <a:pt x="0" y="257"/>
                      </a:lnTo>
                      <a:lnTo>
                        <a:pt x="1" y="252"/>
                      </a:lnTo>
                      <a:lnTo>
                        <a:pt x="2" y="247"/>
                      </a:lnTo>
                      <a:lnTo>
                        <a:pt x="7" y="235"/>
                      </a:lnTo>
                      <a:lnTo>
                        <a:pt x="12" y="224"/>
                      </a:lnTo>
                      <a:lnTo>
                        <a:pt x="12" y="221"/>
                      </a:lnTo>
                      <a:lnTo>
                        <a:pt x="12" y="217"/>
                      </a:lnTo>
                      <a:lnTo>
                        <a:pt x="15" y="212"/>
                      </a:lnTo>
                      <a:lnTo>
                        <a:pt x="19" y="208"/>
                      </a:lnTo>
                      <a:lnTo>
                        <a:pt x="26" y="199"/>
                      </a:lnTo>
                      <a:lnTo>
                        <a:pt x="36" y="192"/>
                      </a:lnTo>
                      <a:lnTo>
                        <a:pt x="47" y="189"/>
                      </a:lnTo>
                      <a:lnTo>
                        <a:pt x="54" y="187"/>
                      </a:lnTo>
                      <a:lnTo>
                        <a:pt x="63" y="187"/>
                      </a:lnTo>
                      <a:lnTo>
                        <a:pt x="67" y="186"/>
                      </a:lnTo>
                      <a:lnTo>
                        <a:pt x="71" y="185"/>
                      </a:lnTo>
                      <a:lnTo>
                        <a:pt x="73" y="184"/>
                      </a:lnTo>
                      <a:lnTo>
                        <a:pt x="76" y="180"/>
                      </a:lnTo>
                      <a:lnTo>
                        <a:pt x="76" y="179"/>
                      </a:lnTo>
                      <a:lnTo>
                        <a:pt x="75" y="179"/>
                      </a:lnTo>
                      <a:lnTo>
                        <a:pt x="72" y="179"/>
                      </a:lnTo>
                      <a:lnTo>
                        <a:pt x="68" y="179"/>
                      </a:lnTo>
                      <a:lnTo>
                        <a:pt x="64" y="179"/>
                      </a:lnTo>
                      <a:lnTo>
                        <a:pt x="66" y="177"/>
                      </a:lnTo>
                      <a:lnTo>
                        <a:pt x="67" y="173"/>
                      </a:lnTo>
                      <a:lnTo>
                        <a:pt x="69" y="165"/>
                      </a:lnTo>
                      <a:lnTo>
                        <a:pt x="77" y="153"/>
                      </a:lnTo>
                      <a:lnTo>
                        <a:pt x="82" y="140"/>
                      </a:lnTo>
                      <a:lnTo>
                        <a:pt x="85" y="133"/>
                      </a:lnTo>
                      <a:lnTo>
                        <a:pt x="83" y="127"/>
                      </a:lnTo>
                      <a:lnTo>
                        <a:pt x="81" y="121"/>
                      </a:lnTo>
                      <a:lnTo>
                        <a:pt x="80" y="119"/>
                      </a:lnTo>
                      <a:lnTo>
                        <a:pt x="76" y="116"/>
                      </a:lnTo>
                      <a:lnTo>
                        <a:pt x="75" y="115"/>
                      </a:lnTo>
                      <a:lnTo>
                        <a:pt x="75" y="112"/>
                      </a:lnTo>
                      <a:lnTo>
                        <a:pt x="76" y="103"/>
                      </a:lnTo>
                      <a:lnTo>
                        <a:pt x="76" y="101"/>
                      </a:lnTo>
                      <a:lnTo>
                        <a:pt x="78" y="101"/>
                      </a:lnTo>
                      <a:lnTo>
                        <a:pt x="89" y="101"/>
                      </a:lnTo>
                      <a:lnTo>
                        <a:pt x="96" y="99"/>
                      </a:lnTo>
                      <a:lnTo>
                        <a:pt x="100" y="97"/>
                      </a:lnTo>
                      <a:lnTo>
                        <a:pt x="100" y="95"/>
                      </a:lnTo>
                      <a:lnTo>
                        <a:pt x="100" y="94"/>
                      </a:lnTo>
                      <a:lnTo>
                        <a:pt x="99" y="94"/>
                      </a:lnTo>
                      <a:lnTo>
                        <a:pt x="96" y="94"/>
                      </a:lnTo>
                      <a:lnTo>
                        <a:pt x="94" y="90"/>
                      </a:lnTo>
                      <a:lnTo>
                        <a:pt x="91" y="88"/>
                      </a:lnTo>
                      <a:lnTo>
                        <a:pt x="87" y="87"/>
                      </a:lnTo>
                      <a:lnTo>
                        <a:pt x="82" y="87"/>
                      </a:lnTo>
                      <a:lnTo>
                        <a:pt x="80" y="86"/>
                      </a:lnTo>
                      <a:lnTo>
                        <a:pt x="80" y="83"/>
                      </a:lnTo>
                      <a:lnTo>
                        <a:pt x="80" y="81"/>
                      </a:lnTo>
                      <a:lnTo>
                        <a:pt x="82" y="78"/>
                      </a:lnTo>
                      <a:lnTo>
                        <a:pt x="86" y="76"/>
                      </a:lnTo>
                      <a:lnTo>
                        <a:pt x="91" y="75"/>
                      </a:lnTo>
                      <a:lnTo>
                        <a:pt x="100" y="74"/>
                      </a:lnTo>
                      <a:lnTo>
                        <a:pt x="104" y="72"/>
                      </a:lnTo>
                      <a:lnTo>
                        <a:pt x="108" y="70"/>
                      </a:lnTo>
                      <a:lnTo>
                        <a:pt x="110" y="67"/>
                      </a:lnTo>
                      <a:lnTo>
                        <a:pt x="111" y="63"/>
                      </a:lnTo>
                      <a:lnTo>
                        <a:pt x="113" y="61"/>
                      </a:lnTo>
                      <a:lnTo>
                        <a:pt x="115" y="59"/>
                      </a:lnTo>
                      <a:lnTo>
                        <a:pt x="118" y="64"/>
                      </a:lnTo>
                      <a:lnTo>
                        <a:pt x="118" y="69"/>
                      </a:lnTo>
                      <a:lnTo>
                        <a:pt x="119" y="72"/>
                      </a:lnTo>
                      <a:lnTo>
                        <a:pt x="120" y="75"/>
                      </a:lnTo>
                      <a:lnTo>
                        <a:pt x="123" y="75"/>
                      </a:lnTo>
                      <a:lnTo>
                        <a:pt x="125" y="75"/>
                      </a:lnTo>
                      <a:lnTo>
                        <a:pt x="127" y="77"/>
                      </a:lnTo>
                      <a:lnTo>
                        <a:pt x="128" y="80"/>
                      </a:lnTo>
                      <a:lnTo>
                        <a:pt x="130" y="84"/>
                      </a:lnTo>
                      <a:lnTo>
                        <a:pt x="134" y="87"/>
                      </a:lnTo>
                      <a:lnTo>
                        <a:pt x="135" y="88"/>
                      </a:lnTo>
                      <a:lnTo>
                        <a:pt x="138" y="88"/>
                      </a:lnTo>
                      <a:lnTo>
                        <a:pt x="144" y="86"/>
                      </a:lnTo>
                      <a:lnTo>
                        <a:pt x="149" y="83"/>
                      </a:lnTo>
                      <a:lnTo>
                        <a:pt x="156" y="81"/>
                      </a:lnTo>
                      <a:lnTo>
                        <a:pt x="162" y="80"/>
                      </a:lnTo>
                      <a:lnTo>
                        <a:pt x="165" y="78"/>
                      </a:lnTo>
                      <a:lnTo>
                        <a:pt x="165" y="77"/>
                      </a:lnTo>
                      <a:lnTo>
                        <a:pt x="165" y="72"/>
                      </a:lnTo>
                      <a:lnTo>
                        <a:pt x="167" y="68"/>
                      </a:lnTo>
                      <a:lnTo>
                        <a:pt x="171" y="64"/>
                      </a:lnTo>
                      <a:lnTo>
                        <a:pt x="175" y="62"/>
                      </a:lnTo>
                      <a:lnTo>
                        <a:pt x="180" y="59"/>
                      </a:lnTo>
                      <a:lnTo>
                        <a:pt x="181" y="58"/>
                      </a:lnTo>
                      <a:lnTo>
                        <a:pt x="182" y="56"/>
                      </a:lnTo>
                      <a:lnTo>
                        <a:pt x="181" y="55"/>
                      </a:lnTo>
                      <a:lnTo>
                        <a:pt x="180" y="55"/>
                      </a:lnTo>
                      <a:lnTo>
                        <a:pt x="176" y="55"/>
                      </a:lnTo>
                      <a:lnTo>
                        <a:pt x="171" y="55"/>
                      </a:lnTo>
                      <a:lnTo>
                        <a:pt x="167" y="52"/>
                      </a:lnTo>
                      <a:lnTo>
                        <a:pt x="166" y="49"/>
                      </a:lnTo>
                      <a:lnTo>
                        <a:pt x="165" y="42"/>
                      </a:lnTo>
                      <a:lnTo>
                        <a:pt x="162" y="35"/>
                      </a:lnTo>
                      <a:lnTo>
                        <a:pt x="158" y="29"/>
                      </a:lnTo>
                      <a:lnTo>
                        <a:pt x="153" y="23"/>
                      </a:lnTo>
                      <a:lnTo>
                        <a:pt x="153" y="22"/>
                      </a:lnTo>
                      <a:lnTo>
                        <a:pt x="153" y="19"/>
                      </a:lnTo>
                      <a:lnTo>
                        <a:pt x="156" y="18"/>
                      </a:lnTo>
                      <a:lnTo>
                        <a:pt x="162" y="20"/>
                      </a:lnTo>
                      <a:lnTo>
                        <a:pt x="169" y="23"/>
                      </a:lnTo>
                      <a:lnTo>
                        <a:pt x="184" y="26"/>
                      </a:lnTo>
                      <a:lnTo>
                        <a:pt x="186" y="27"/>
                      </a:lnTo>
                      <a:lnTo>
                        <a:pt x="188" y="30"/>
                      </a:lnTo>
                      <a:lnTo>
                        <a:pt x="189" y="29"/>
                      </a:lnTo>
                      <a:lnTo>
                        <a:pt x="193" y="26"/>
                      </a:lnTo>
                      <a:lnTo>
                        <a:pt x="196" y="24"/>
                      </a:lnTo>
                      <a:lnTo>
                        <a:pt x="204" y="22"/>
                      </a:lnTo>
                      <a:lnTo>
                        <a:pt x="209" y="19"/>
                      </a:lnTo>
                      <a:lnTo>
                        <a:pt x="214" y="16"/>
                      </a:lnTo>
                      <a:lnTo>
                        <a:pt x="221" y="13"/>
                      </a:lnTo>
                      <a:lnTo>
                        <a:pt x="227" y="11"/>
                      </a:lnTo>
                      <a:lnTo>
                        <a:pt x="228" y="10"/>
                      </a:lnTo>
                      <a:lnTo>
                        <a:pt x="229" y="6"/>
                      </a:lnTo>
                      <a:lnTo>
                        <a:pt x="229" y="3"/>
                      </a:lnTo>
                      <a:lnTo>
                        <a:pt x="229" y="0"/>
                      </a:lnTo>
                      <a:lnTo>
                        <a:pt x="235" y="0"/>
                      </a:lnTo>
                      <a:lnTo>
                        <a:pt x="238" y="0"/>
                      </a:lnTo>
                      <a:lnTo>
                        <a:pt x="240" y="3"/>
                      </a:lnTo>
                      <a:lnTo>
                        <a:pt x="240" y="5"/>
                      </a:lnTo>
                      <a:lnTo>
                        <a:pt x="241" y="10"/>
                      </a:lnTo>
                      <a:lnTo>
                        <a:pt x="242" y="12"/>
                      </a:lnTo>
                      <a:lnTo>
                        <a:pt x="245" y="14"/>
                      </a:lnTo>
                      <a:lnTo>
                        <a:pt x="250" y="18"/>
                      </a:lnTo>
                      <a:lnTo>
                        <a:pt x="252" y="20"/>
                      </a:lnTo>
                      <a:lnTo>
                        <a:pt x="254" y="23"/>
                      </a:lnTo>
                      <a:lnTo>
                        <a:pt x="254" y="26"/>
                      </a:lnTo>
                      <a:lnTo>
                        <a:pt x="252" y="29"/>
                      </a:lnTo>
                      <a:lnTo>
                        <a:pt x="251" y="31"/>
                      </a:lnTo>
                      <a:lnTo>
                        <a:pt x="249" y="32"/>
                      </a:lnTo>
                      <a:lnTo>
                        <a:pt x="246" y="36"/>
                      </a:lnTo>
                      <a:lnTo>
                        <a:pt x="243" y="39"/>
                      </a:lnTo>
                      <a:lnTo>
                        <a:pt x="243" y="45"/>
                      </a:lnTo>
                      <a:lnTo>
                        <a:pt x="243" y="52"/>
                      </a:lnTo>
                      <a:lnTo>
                        <a:pt x="245" y="58"/>
                      </a:lnTo>
                      <a:lnTo>
                        <a:pt x="247" y="65"/>
                      </a:lnTo>
                      <a:lnTo>
                        <a:pt x="250" y="71"/>
                      </a:lnTo>
                      <a:lnTo>
                        <a:pt x="254" y="77"/>
                      </a:lnTo>
                      <a:lnTo>
                        <a:pt x="257" y="81"/>
                      </a:lnTo>
                      <a:lnTo>
                        <a:pt x="260" y="81"/>
                      </a:lnTo>
                      <a:lnTo>
                        <a:pt x="262" y="78"/>
                      </a:lnTo>
                      <a:lnTo>
                        <a:pt x="268" y="75"/>
                      </a:lnTo>
                      <a:lnTo>
                        <a:pt x="273" y="72"/>
                      </a:lnTo>
                      <a:lnTo>
                        <a:pt x="276" y="72"/>
                      </a:lnTo>
                      <a:lnTo>
                        <a:pt x="280" y="71"/>
                      </a:lnTo>
                      <a:lnTo>
                        <a:pt x="284" y="69"/>
                      </a:lnTo>
                      <a:lnTo>
                        <a:pt x="288" y="68"/>
                      </a:lnTo>
                      <a:lnTo>
                        <a:pt x="292" y="65"/>
                      </a:lnTo>
                      <a:lnTo>
                        <a:pt x="301" y="68"/>
                      </a:lnTo>
                      <a:lnTo>
                        <a:pt x="304" y="67"/>
                      </a:lnTo>
                      <a:lnTo>
                        <a:pt x="306" y="67"/>
                      </a:lnTo>
                      <a:lnTo>
                        <a:pt x="307" y="64"/>
                      </a:lnTo>
                      <a:lnTo>
                        <a:pt x="308" y="59"/>
                      </a:lnTo>
                      <a:lnTo>
                        <a:pt x="308" y="56"/>
                      </a:lnTo>
                      <a:lnTo>
                        <a:pt x="311" y="55"/>
                      </a:lnTo>
                      <a:lnTo>
                        <a:pt x="315" y="52"/>
                      </a:lnTo>
                      <a:lnTo>
                        <a:pt x="320" y="52"/>
                      </a:lnTo>
                      <a:lnTo>
                        <a:pt x="323" y="54"/>
                      </a:lnTo>
                      <a:lnTo>
                        <a:pt x="329" y="56"/>
                      </a:lnTo>
                      <a:lnTo>
                        <a:pt x="334" y="57"/>
                      </a:lnTo>
                      <a:lnTo>
                        <a:pt x="339" y="58"/>
                      </a:lnTo>
                      <a:lnTo>
                        <a:pt x="341" y="59"/>
                      </a:lnTo>
                      <a:lnTo>
                        <a:pt x="342" y="62"/>
                      </a:lnTo>
                      <a:lnTo>
                        <a:pt x="344" y="64"/>
                      </a:lnTo>
                      <a:lnTo>
                        <a:pt x="346" y="67"/>
                      </a:lnTo>
                      <a:lnTo>
                        <a:pt x="349" y="67"/>
                      </a:lnTo>
                      <a:lnTo>
                        <a:pt x="350" y="67"/>
                      </a:lnTo>
                      <a:lnTo>
                        <a:pt x="353" y="63"/>
                      </a:lnTo>
                      <a:lnTo>
                        <a:pt x="356" y="62"/>
                      </a:lnTo>
                      <a:lnTo>
                        <a:pt x="362" y="59"/>
                      </a:lnTo>
                      <a:lnTo>
                        <a:pt x="369" y="59"/>
                      </a:lnTo>
                      <a:lnTo>
                        <a:pt x="374" y="57"/>
                      </a:lnTo>
                      <a:lnTo>
                        <a:pt x="377" y="55"/>
                      </a:lnTo>
                      <a:lnTo>
                        <a:pt x="378" y="51"/>
                      </a:lnTo>
                      <a:lnTo>
                        <a:pt x="379" y="48"/>
                      </a:lnTo>
                      <a:lnTo>
                        <a:pt x="381" y="43"/>
                      </a:lnTo>
                      <a:lnTo>
                        <a:pt x="382" y="37"/>
                      </a:lnTo>
                      <a:lnTo>
                        <a:pt x="383" y="31"/>
                      </a:lnTo>
                      <a:lnTo>
                        <a:pt x="384" y="25"/>
                      </a:lnTo>
                      <a:lnTo>
                        <a:pt x="386" y="19"/>
                      </a:lnTo>
                      <a:lnTo>
                        <a:pt x="387" y="14"/>
                      </a:lnTo>
                      <a:lnTo>
                        <a:pt x="387" y="13"/>
                      </a:lnTo>
                      <a:lnTo>
                        <a:pt x="388"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8" name="Freeform 870"/>
                <p:cNvSpPr>
                  <a:spLocks/>
                </p:cNvSpPr>
                <p:nvPr/>
              </p:nvSpPr>
              <p:spPr bwMode="auto">
                <a:xfrm>
                  <a:off x="2703246" y="4615405"/>
                  <a:ext cx="287095" cy="541633"/>
                </a:xfrm>
                <a:custGeom>
                  <a:avLst/>
                  <a:gdLst>
                    <a:gd name="T0" fmla="*/ 2147483647 w 210"/>
                    <a:gd name="T1" fmla="*/ 2147483647 h 366"/>
                    <a:gd name="T2" fmla="*/ 2147483647 w 210"/>
                    <a:gd name="T3" fmla="*/ 2147483647 h 366"/>
                    <a:gd name="T4" fmla="*/ 2147483647 w 210"/>
                    <a:gd name="T5" fmla="*/ 2147483647 h 366"/>
                    <a:gd name="T6" fmla="*/ 2147483647 w 210"/>
                    <a:gd name="T7" fmla="*/ 2147483647 h 366"/>
                    <a:gd name="T8" fmla="*/ 2147483647 w 210"/>
                    <a:gd name="T9" fmla="*/ 2147483647 h 366"/>
                    <a:gd name="T10" fmla="*/ 2147483647 w 210"/>
                    <a:gd name="T11" fmla="*/ 2147483647 h 366"/>
                    <a:gd name="T12" fmla="*/ 2147483647 w 210"/>
                    <a:gd name="T13" fmla="*/ 2147483647 h 366"/>
                    <a:gd name="T14" fmla="*/ 2147483647 w 210"/>
                    <a:gd name="T15" fmla="*/ 2147483647 h 366"/>
                    <a:gd name="T16" fmla="*/ 2147483647 w 210"/>
                    <a:gd name="T17" fmla="*/ 2147483647 h 366"/>
                    <a:gd name="T18" fmla="*/ 2147483647 w 210"/>
                    <a:gd name="T19" fmla="*/ 2147483647 h 366"/>
                    <a:gd name="T20" fmla="*/ 2147483647 w 210"/>
                    <a:gd name="T21" fmla="*/ 2147483647 h 366"/>
                    <a:gd name="T22" fmla="*/ 2147483647 w 210"/>
                    <a:gd name="T23" fmla="*/ 2147483647 h 366"/>
                    <a:gd name="T24" fmla="*/ 2147483647 w 210"/>
                    <a:gd name="T25" fmla="*/ 2147483647 h 366"/>
                    <a:gd name="T26" fmla="*/ 2147483647 w 210"/>
                    <a:gd name="T27" fmla="*/ 2147483647 h 366"/>
                    <a:gd name="T28" fmla="*/ 2147483647 w 210"/>
                    <a:gd name="T29" fmla="*/ 2147483647 h 366"/>
                    <a:gd name="T30" fmla="*/ 2147483647 w 210"/>
                    <a:gd name="T31" fmla="*/ 2147483647 h 366"/>
                    <a:gd name="T32" fmla="*/ 2147483647 w 210"/>
                    <a:gd name="T33" fmla="*/ 2147483647 h 366"/>
                    <a:gd name="T34" fmla="*/ 2147483647 w 210"/>
                    <a:gd name="T35" fmla="*/ 2147483647 h 366"/>
                    <a:gd name="T36" fmla="*/ 2147483647 w 210"/>
                    <a:gd name="T37" fmla="*/ 2147483647 h 366"/>
                    <a:gd name="T38" fmla="*/ 2147483647 w 210"/>
                    <a:gd name="T39" fmla="*/ 2147483647 h 366"/>
                    <a:gd name="T40" fmla="*/ 2147483647 w 210"/>
                    <a:gd name="T41" fmla="*/ 2147483647 h 366"/>
                    <a:gd name="T42" fmla="*/ 2147483647 w 210"/>
                    <a:gd name="T43" fmla="*/ 2147483647 h 366"/>
                    <a:gd name="T44" fmla="*/ 2147483647 w 210"/>
                    <a:gd name="T45" fmla="*/ 2147483647 h 366"/>
                    <a:gd name="T46" fmla="*/ 2147483647 w 210"/>
                    <a:gd name="T47" fmla="*/ 2147483647 h 366"/>
                    <a:gd name="T48" fmla="*/ 2147483647 w 210"/>
                    <a:gd name="T49" fmla="*/ 2147483647 h 366"/>
                    <a:gd name="T50" fmla="*/ 2147483647 w 210"/>
                    <a:gd name="T51" fmla="*/ 2147483647 h 366"/>
                    <a:gd name="T52" fmla="*/ 2147483647 w 210"/>
                    <a:gd name="T53" fmla="*/ 2147483647 h 366"/>
                    <a:gd name="T54" fmla="*/ 2147483647 w 210"/>
                    <a:gd name="T55" fmla="*/ 2147483647 h 366"/>
                    <a:gd name="T56" fmla="*/ 2147483647 w 210"/>
                    <a:gd name="T57" fmla="*/ 2147483647 h 366"/>
                    <a:gd name="T58" fmla="*/ 2147483647 w 210"/>
                    <a:gd name="T59" fmla="*/ 2147483647 h 366"/>
                    <a:gd name="T60" fmla="*/ 2147483647 w 210"/>
                    <a:gd name="T61" fmla="*/ 2147483647 h 366"/>
                    <a:gd name="T62" fmla="*/ 2147483647 w 210"/>
                    <a:gd name="T63" fmla="*/ 0 h 366"/>
                    <a:gd name="T64" fmla="*/ 2147483647 w 210"/>
                    <a:gd name="T65" fmla="*/ 2147483647 h 366"/>
                    <a:gd name="T66" fmla="*/ 2147483647 w 210"/>
                    <a:gd name="T67" fmla="*/ 2147483647 h 366"/>
                    <a:gd name="T68" fmla="*/ 2147483647 w 210"/>
                    <a:gd name="T69" fmla="*/ 2147483647 h 366"/>
                    <a:gd name="T70" fmla="*/ 2147483647 w 210"/>
                    <a:gd name="T71" fmla="*/ 2147483647 h 366"/>
                    <a:gd name="T72" fmla="*/ 2147483647 w 210"/>
                    <a:gd name="T73" fmla="*/ 2147483647 h 366"/>
                    <a:gd name="T74" fmla="*/ 2147483647 w 210"/>
                    <a:gd name="T75" fmla="*/ 2147483647 h 366"/>
                    <a:gd name="T76" fmla="*/ 2147483647 w 210"/>
                    <a:gd name="T77" fmla="*/ 2147483647 h 366"/>
                    <a:gd name="T78" fmla="*/ 2147483647 w 210"/>
                    <a:gd name="T79" fmla="*/ 2147483647 h 366"/>
                    <a:gd name="T80" fmla="*/ 2147483647 w 210"/>
                    <a:gd name="T81" fmla="*/ 2147483647 h 366"/>
                    <a:gd name="T82" fmla="*/ 2147483647 w 210"/>
                    <a:gd name="T83" fmla="*/ 2147483647 h 366"/>
                    <a:gd name="T84" fmla="*/ 2147483647 w 210"/>
                    <a:gd name="T85" fmla="*/ 2147483647 h 366"/>
                    <a:gd name="T86" fmla="*/ 2147483647 w 210"/>
                    <a:gd name="T87" fmla="*/ 2147483647 h 366"/>
                    <a:gd name="T88" fmla="*/ 2147483647 w 210"/>
                    <a:gd name="T89" fmla="*/ 2147483647 h 366"/>
                    <a:gd name="T90" fmla="*/ 0 w 210"/>
                    <a:gd name="T91" fmla="*/ 2147483647 h 366"/>
                    <a:gd name="T92" fmla="*/ 2147483647 w 210"/>
                    <a:gd name="T93" fmla="*/ 2147483647 h 366"/>
                    <a:gd name="T94" fmla="*/ 2147483647 w 210"/>
                    <a:gd name="T95" fmla="*/ 2147483647 h 366"/>
                    <a:gd name="T96" fmla="*/ 2147483647 w 210"/>
                    <a:gd name="T97" fmla="*/ 2147483647 h 366"/>
                    <a:gd name="T98" fmla="*/ 2147483647 w 210"/>
                    <a:gd name="T99" fmla="*/ 2147483647 h 366"/>
                    <a:gd name="T100" fmla="*/ 2147483647 w 210"/>
                    <a:gd name="T101" fmla="*/ 2147483647 h 366"/>
                    <a:gd name="T102" fmla="*/ 2147483647 w 210"/>
                    <a:gd name="T103" fmla="*/ 2147483647 h 366"/>
                    <a:gd name="T104" fmla="*/ 2147483647 w 210"/>
                    <a:gd name="T105" fmla="*/ 2147483647 h 366"/>
                    <a:gd name="T106" fmla="*/ 2147483647 w 210"/>
                    <a:gd name="T107" fmla="*/ 2147483647 h 366"/>
                    <a:gd name="T108" fmla="*/ 2147483647 w 210"/>
                    <a:gd name="T109" fmla="*/ 2147483647 h 366"/>
                    <a:gd name="T110" fmla="*/ 2147483647 w 210"/>
                    <a:gd name="T111" fmla="*/ 2147483647 h 366"/>
                    <a:gd name="T112" fmla="*/ 2147483647 w 210"/>
                    <a:gd name="T113" fmla="*/ 2147483647 h 366"/>
                    <a:gd name="T114" fmla="*/ 2147483647 w 210"/>
                    <a:gd name="T115" fmla="*/ 2147483647 h 366"/>
                    <a:gd name="T116" fmla="*/ 2147483647 w 210"/>
                    <a:gd name="T117" fmla="*/ 2147483647 h 366"/>
                    <a:gd name="T118" fmla="*/ 2147483647 w 210"/>
                    <a:gd name="T119" fmla="*/ 2147483647 h 366"/>
                    <a:gd name="T120" fmla="*/ 2147483647 w 210"/>
                    <a:gd name="T121" fmla="*/ 2147483647 h 366"/>
                    <a:gd name="T122" fmla="*/ 2147483647 w 210"/>
                    <a:gd name="T123" fmla="*/ 2147483647 h 366"/>
                    <a:gd name="T124" fmla="*/ 2147483647 w 210"/>
                    <a:gd name="T125" fmla="*/ 2147483647 h 3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0"/>
                    <a:gd name="T190" fmla="*/ 0 h 366"/>
                    <a:gd name="T191" fmla="*/ 210 w 210"/>
                    <a:gd name="T192" fmla="*/ 366 h 3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0" h="366">
                      <a:moveTo>
                        <a:pt x="185" y="366"/>
                      </a:moveTo>
                      <a:lnTo>
                        <a:pt x="185" y="366"/>
                      </a:lnTo>
                      <a:lnTo>
                        <a:pt x="191" y="366"/>
                      </a:lnTo>
                      <a:lnTo>
                        <a:pt x="196" y="364"/>
                      </a:lnTo>
                      <a:lnTo>
                        <a:pt x="206" y="362"/>
                      </a:lnTo>
                      <a:lnTo>
                        <a:pt x="202" y="357"/>
                      </a:lnTo>
                      <a:lnTo>
                        <a:pt x="200" y="353"/>
                      </a:lnTo>
                      <a:lnTo>
                        <a:pt x="200" y="348"/>
                      </a:lnTo>
                      <a:lnTo>
                        <a:pt x="200" y="342"/>
                      </a:lnTo>
                      <a:lnTo>
                        <a:pt x="202" y="337"/>
                      </a:lnTo>
                      <a:lnTo>
                        <a:pt x="207" y="328"/>
                      </a:lnTo>
                      <a:lnTo>
                        <a:pt x="209" y="322"/>
                      </a:lnTo>
                      <a:lnTo>
                        <a:pt x="209" y="317"/>
                      </a:lnTo>
                      <a:lnTo>
                        <a:pt x="204" y="288"/>
                      </a:lnTo>
                      <a:lnTo>
                        <a:pt x="202" y="260"/>
                      </a:lnTo>
                      <a:lnTo>
                        <a:pt x="202" y="256"/>
                      </a:lnTo>
                      <a:lnTo>
                        <a:pt x="204" y="253"/>
                      </a:lnTo>
                      <a:lnTo>
                        <a:pt x="206" y="249"/>
                      </a:lnTo>
                      <a:lnTo>
                        <a:pt x="210" y="247"/>
                      </a:lnTo>
                      <a:lnTo>
                        <a:pt x="210" y="241"/>
                      </a:lnTo>
                      <a:lnTo>
                        <a:pt x="209" y="236"/>
                      </a:lnTo>
                      <a:lnTo>
                        <a:pt x="205" y="232"/>
                      </a:lnTo>
                      <a:lnTo>
                        <a:pt x="201" y="228"/>
                      </a:lnTo>
                      <a:lnTo>
                        <a:pt x="192" y="222"/>
                      </a:lnTo>
                      <a:lnTo>
                        <a:pt x="183" y="215"/>
                      </a:lnTo>
                      <a:lnTo>
                        <a:pt x="182" y="213"/>
                      </a:lnTo>
                      <a:lnTo>
                        <a:pt x="181" y="209"/>
                      </a:lnTo>
                      <a:lnTo>
                        <a:pt x="181" y="204"/>
                      </a:lnTo>
                      <a:lnTo>
                        <a:pt x="183" y="200"/>
                      </a:lnTo>
                      <a:lnTo>
                        <a:pt x="183" y="196"/>
                      </a:lnTo>
                      <a:lnTo>
                        <a:pt x="183" y="194"/>
                      </a:lnTo>
                      <a:lnTo>
                        <a:pt x="181" y="192"/>
                      </a:lnTo>
                      <a:lnTo>
                        <a:pt x="179" y="191"/>
                      </a:lnTo>
                      <a:lnTo>
                        <a:pt x="178" y="191"/>
                      </a:lnTo>
                      <a:lnTo>
                        <a:pt x="174" y="192"/>
                      </a:lnTo>
                      <a:lnTo>
                        <a:pt x="167" y="198"/>
                      </a:lnTo>
                      <a:lnTo>
                        <a:pt x="164" y="198"/>
                      </a:lnTo>
                      <a:lnTo>
                        <a:pt x="163" y="197"/>
                      </a:lnTo>
                      <a:lnTo>
                        <a:pt x="159" y="194"/>
                      </a:lnTo>
                      <a:lnTo>
                        <a:pt x="155" y="190"/>
                      </a:lnTo>
                      <a:lnTo>
                        <a:pt x="152" y="188"/>
                      </a:lnTo>
                      <a:lnTo>
                        <a:pt x="149" y="188"/>
                      </a:lnTo>
                      <a:lnTo>
                        <a:pt x="146" y="189"/>
                      </a:lnTo>
                      <a:lnTo>
                        <a:pt x="145" y="188"/>
                      </a:lnTo>
                      <a:lnTo>
                        <a:pt x="144" y="187"/>
                      </a:lnTo>
                      <a:lnTo>
                        <a:pt x="140" y="182"/>
                      </a:lnTo>
                      <a:lnTo>
                        <a:pt x="135" y="176"/>
                      </a:lnTo>
                      <a:lnTo>
                        <a:pt x="134" y="173"/>
                      </a:lnTo>
                      <a:lnTo>
                        <a:pt x="131" y="171"/>
                      </a:lnTo>
                      <a:lnTo>
                        <a:pt x="129" y="170"/>
                      </a:lnTo>
                      <a:lnTo>
                        <a:pt x="126" y="170"/>
                      </a:lnTo>
                      <a:lnTo>
                        <a:pt x="124" y="165"/>
                      </a:lnTo>
                      <a:lnTo>
                        <a:pt x="124" y="160"/>
                      </a:lnTo>
                      <a:lnTo>
                        <a:pt x="125" y="155"/>
                      </a:lnTo>
                      <a:lnTo>
                        <a:pt x="126" y="150"/>
                      </a:lnTo>
                      <a:lnTo>
                        <a:pt x="131" y="138"/>
                      </a:lnTo>
                      <a:lnTo>
                        <a:pt x="136" y="127"/>
                      </a:lnTo>
                      <a:lnTo>
                        <a:pt x="136" y="124"/>
                      </a:lnTo>
                      <a:lnTo>
                        <a:pt x="136" y="120"/>
                      </a:lnTo>
                      <a:lnTo>
                        <a:pt x="139" y="115"/>
                      </a:lnTo>
                      <a:lnTo>
                        <a:pt x="143" y="111"/>
                      </a:lnTo>
                      <a:lnTo>
                        <a:pt x="150" y="102"/>
                      </a:lnTo>
                      <a:lnTo>
                        <a:pt x="160" y="95"/>
                      </a:lnTo>
                      <a:lnTo>
                        <a:pt x="171" y="92"/>
                      </a:lnTo>
                      <a:lnTo>
                        <a:pt x="178" y="90"/>
                      </a:lnTo>
                      <a:lnTo>
                        <a:pt x="187" y="90"/>
                      </a:lnTo>
                      <a:lnTo>
                        <a:pt x="191" y="89"/>
                      </a:lnTo>
                      <a:lnTo>
                        <a:pt x="195" y="88"/>
                      </a:lnTo>
                      <a:lnTo>
                        <a:pt x="197" y="87"/>
                      </a:lnTo>
                      <a:lnTo>
                        <a:pt x="200" y="83"/>
                      </a:lnTo>
                      <a:lnTo>
                        <a:pt x="200" y="82"/>
                      </a:lnTo>
                      <a:lnTo>
                        <a:pt x="199" y="82"/>
                      </a:lnTo>
                      <a:lnTo>
                        <a:pt x="196" y="82"/>
                      </a:lnTo>
                      <a:lnTo>
                        <a:pt x="192" y="82"/>
                      </a:lnTo>
                      <a:lnTo>
                        <a:pt x="188" y="82"/>
                      </a:lnTo>
                      <a:lnTo>
                        <a:pt x="185" y="83"/>
                      </a:lnTo>
                      <a:lnTo>
                        <a:pt x="181" y="83"/>
                      </a:lnTo>
                      <a:lnTo>
                        <a:pt x="177" y="82"/>
                      </a:lnTo>
                      <a:lnTo>
                        <a:pt x="174" y="80"/>
                      </a:lnTo>
                      <a:lnTo>
                        <a:pt x="177" y="74"/>
                      </a:lnTo>
                      <a:lnTo>
                        <a:pt x="181" y="66"/>
                      </a:lnTo>
                      <a:lnTo>
                        <a:pt x="191" y="49"/>
                      </a:lnTo>
                      <a:lnTo>
                        <a:pt x="188" y="47"/>
                      </a:lnTo>
                      <a:lnTo>
                        <a:pt x="185" y="45"/>
                      </a:lnTo>
                      <a:lnTo>
                        <a:pt x="181" y="45"/>
                      </a:lnTo>
                      <a:lnTo>
                        <a:pt x="177" y="44"/>
                      </a:lnTo>
                      <a:lnTo>
                        <a:pt x="172" y="41"/>
                      </a:lnTo>
                      <a:lnTo>
                        <a:pt x="168" y="37"/>
                      </a:lnTo>
                      <a:lnTo>
                        <a:pt x="164" y="36"/>
                      </a:lnTo>
                      <a:lnTo>
                        <a:pt x="159" y="37"/>
                      </a:lnTo>
                      <a:lnTo>
                        <a:pt x="155" y="38"/>
                      </a:lnTo>
                      <a:lnTo>
                        <a:pt x="152" y="37"/>
                      </a:lnTo>
                      <a:lnTo>
                        <a:pt x="148" y="35"/>
                      </a:lnTo>
                      <a:lnTo>
                        <a:pt x="145" y="31"/>
                      </a:lnTo>
                      <a:lnTo>
                        <a:pt x="144" y="28"/>
                      </a:lnTo>
                      <a:lnTo>
                        <a:pt x="141" y="25"/>
                      </a:lnTo>
                      <a:lnTo>
                        <a:pt x="129" y="22"/>
                      </a:lnTo>
                      <a:lnTo>
                        <a:pt x="125" y="21"/>
                      </a:lnTo>
                      <a:lnTo>
                        <a:pt x="110" y="6"/>
                      </a:lnTo>
                      <a:lnTo>
                        <a:pt x="106" y="4"/>
                      </a:lnTo>
                      <a:lnTo>
                        <a:pt x="99" y="0"/>
                      </a:lnTo>
                      <a:lnTo>
                        <a:pt x="102" y="6"/>
                      </a:lnTo>
                      <a:lnTo>
                        <a:pt x="105" y="11"/>
                      </a:lnTo>
                      <a:lnTo>
                        <a:pt x="107" y="17"/>
                      </a:lnTo>
                      <a:lnTo>
                        <a:pt x="110" y="22"/>
                      </a:lnTo>
                      <a:lnTo>
                        <a:pt x="111" y="26"/>
                      </a:lnTo>
                      <a:lnTo>
                        <a:pt x="110" y="30"/>
                      </a:lnTo>
                      <a:lnTo>
                        <a:pt x="108" y="35"/>
                      </a:lnTo>
                      <a:lnTo>
                        <a:pt x="106" y="38"/>
                      </a:lnTo>
                      <a:lnTo>
                        <a:pt x="98" y="45"/>
                      </a:lnTo>
                      <a:lnTo>
                        <a:pt x="92" y="51"/>
                      </a:lnTo>
                      <a:lnTo>
                        <a:pt x="83" y="57"/>
                      </a:lnTo>
                      <a:lnTo>
                        <a:pt x="74" y="63"/>
                      </a:lnTo>
                      <a:lnTo>
                        <a:pt x="66" y="69"/>
                      </a:lnTo>
                      <a:lnTo>
                        <a:pt x="63" y="74"/>
                      </a:lnTo>
                      <a:lnTo>
                        <a:pt x="61" y="79"/>
                      </a:lnTo>
                      <a:lnTo>
                        <a:pt x="59" y="85"/>
                      </a:lnTo>
                      <a:lnTo>
                        <a:pt x="58" y="88"/>
                      </a:lnTo>
                      <a:lnTo>
                        <a:pt x="55" y="90"/>
                      </a:lnTo>
                      <a:lnTo>
                        <a:pt x="53" y="93"/>
                      </a:lnTo>
                      <a:lnTo>
                        <a:pt x="47" y="94"/>
                      </a:lnTo>
                      <a:lnTo>
                        <a:pt x="45" y="95"/>
                      </a:lnTo>
                      <a:lnTo>
                        <a:pt x="44" y="98"/>
                      </a:lnTo>
                      <a:lnTo>
                        <a:pt x="40" y="98"/>
                      </a:lnTo>
                      <a:lnTo>
                        <a:pt x="39" y="98"/>
                      </a:lnTo>
                      <a:lnTo>
                        <a:pt x="36" y="95"/>
                      </a:lnTo>
                      <a:lnTo>
                        <a:pt x="33" y="94"/>
                      </a:lnTo>
                      <a:lnTo>
                        <a:pt x="30" y="95"/>
                      </a:lnTo>
                      <a:lnTo>
                        <a:pt x="23" y="96"/>
                      </a:lnTo>
                      <a:lnTo>
                        <a:pt x="21" y="96"/>
                      </a:lnTo>
                      <a:lnTo>
                        <a:pt x="19" y="96"/>
                      </a:lnTo>
                      <a:lnTo>
                        <a:pt x="17" y="94"/>
                      </a:lnTo>
                      <a:lnTo>
                        <a:pt x="17" y="90"/>
                      </a:lnTo>
                      <a:lnTo>
                        <a:pt x="18" y="87"/>
                      </a:lnTo>
                      <a:lnTo>
                        <a:pt x="21" y="83"/>
                      </a:lnTo>
                      <a:lnTo>
                        <a:pt x="22" y="79"/>
                      </a:lnTo>
                      <a:lnTo>
                        <a:pt x="22" y="76"/>
                      </a:lnTo>
                      <a:lnTo>
                        <a:pt x="21" y="74"/>
                      </a:lnTo>
                      <a:lnTo>
                        <a:pt x="17" y="76"/>
                      </a:lnTo>
                      <a:lnTo>
                        <a:pt x="14" y="76"/>
                      </a:lnTo>
                      <a:lnTo>
                        <a:pt x="11" y="79"/>
                      </a:lnTo>
                      <a:lnTo>
                        <a:pt x="8" y="82"/>
                      </a:lnTo>
                      <a:lnTo>
                        <a:pt x="6" y="86"/>
                      </a:lnTo>
                      <a:lnTo>
                        <a:pt x="3" y="89"/>
                      </a:lnTo>
                      <a:lnTo>
                        <a:pt x="0" y="93"/>
                      </a:lnTo>
                      <a:lnTo>
                        <a:pt x="0" y="96"/>
                      </a:lnTo>
                      <a:lnTo>
                        <a:pt x="6" y="108"/>
                      </a:lnTo>
                      <a:lnTo>
                        <a:pt x="7" y="114"/>
                      </a:lnTo>
                      <a:lnTo>
                        <a:pt x="7" y="121"/>
                      </a:lnTo>
                      <a:lnTo>
                        <a:pt x="8" y="125"/>
                      </a:lnTo>
                      <a:lnTo>
                        <a:pt x="9" y="128"/>
                      </a:lnTo>
                      <a:lnTo>
                        <a:pt x="16" y="133"/>
                      </a:lnTo>
                      <a:lnTo>
                        <a:pt x="22" y="139"/>
                      </a:lnTo>
                      <a:lnTo>
                        <a:pt x="27" y="145"/>
                      </a:lnTo>
                      <a:lnTo>
                        <a:pt x="32" y="156"/>
                      </a:lnTo>
                      <a:lnTo>
                        <a:pt x="36" y="159"/>
                      </a:lnTo>
                      <a:lnTo>
                        <a:pt x="41" y="164"/>
                      </a:lnTo>
                      <a:lnTo>
                        <a:pt x="42" y="165"/>
                      </a:lnTo>
                      <a:lnTo>
                        <a:pt x="42" y="168"/>
                      </a:lnTo>
                      <a:lnTo>
                        <a:pt x="44" y="172"/>
                      </a:lnTo>
                      <a:lnTo>
                        <a:pt x="44" y="177"/>
                      </a:lnTo>
                      <a:lnTo>
                        <a:pt x="51" y="191"/>
                      </a:lnTo>
                      <a:lnTo>
                        <a:pt x="58" y="204"/>
                      </a:lnTo>
                      <a:lnTo>
                        <a:pt x="70" y="233"/>
                      </a:lnTo>
                      <a:lnTo>
                        <a:pt x="73" y="236"/>
                      </a:lnTo>
                      <a:lnTo>
                        <a:pt x="75" y="239"/>
                      </a:lnTo>
                      <a:lnTo>
                        <a:pt x="79" y="252"/>
                      </a:lnTo>
                      <a:lnTo>
                        <a:pt x="82" y="258"/>
                      </a:lnTo>
                      <a:lnTo>
                        <a:pt x="86" y="265"/>
                      </a:lnTo>
                      <a:lnTo>
                        <a:pt x="87" y="267"/>
                      </a:lnTo>
                      <a:lnTo>
                        <a:pt x="87" y="271"/>
                      </a:lnTo>
                      <a:lnTo>
                        <a:pt x="86" y="278"/>
                      </a:lnTo>
                      <a:lnTo>
                        <a:pt x="87" y="285"/>
                      </a:lnTo>
                      <a:lnTo>
                        <a:pt x="91" y="290"/>
                      </a:lnTo>
                      <a:lnTo>
                        <a:pt x="96" y="294"/>
                      </a:lnTo>
                      <a:lnTo>
                        <a:pt x="102" y="298"/>
                      </a:lnTo>
                      <a:lnTo>
                        <a:pt x="105" y="300"/>
                      </a:lnTo>
                      <a:lnTo>
                        <a:pt x="107" y="303"/>
                      </a:lnTo>
                      <a:lnTo>
                        <a:pt x="110" y="310"/>
                      </a:lnTo>
                      <a:lnTo>
                        <a:pt x="112" y="311"/>
                      </a:lnTo>
                      <a:lnTo>
                        <a:pt x="115" y="313"/>
                      </a:lnTo>
                      <a:lnTo>
                        <a:pt x="119" y="318"/>
                      </a:lnTo>
                      <a:lnTo>
                        <a:pt x="121" y="320"/>
                      </a:lnTo>
                      <a:lnTo>
                        <a:pt x="124" y="322"/>
                      </a:lnTo>
                      <a:lnTo>
                        <a:pt x="134" y="325"/>
                      </a:lnTo>
                      <a:lnTo>
                        <a:pt x="143" y="329"/>
                      </a:lnTo>
                      <a:lnTo>
                        <a:pt x="152" y="334"/>
                      </a:lnTo>
                      <a:lnTo>
                        <a:pt x="159" y="339"/>
                      </a:lnTo>
                      <a:lnTo>
                        <a:pt x="162" y="342"/>
                      </a:lnTo>
                      <a:lnTo>
                        <a:pt x="166" y="344"/>
                      </a:lnTo>
                      <a:lnTo>
                        <a:pt x="169" y="347"/>
                      </a:lnTo>
                      <a:lnTo>
                        <a:pt x="171" y="350"/>
                      </a:lnTo>
                      <a:lnTo>
                        <a:pt x="173" y="355"/>
                      </a:lnTo>
                      <a:lnTo>
                        <a:pt x="177" y="360"/>
                      </a:lnTo>
                      <a:lnTo>
                        <a:pt x="182" y="363"/>
                      </a:lnTo>
                      <a:lnTo>
                        <a:pt x="183" y="364"/>
                      </a:lnTo>
                      <a:lnTo>
                        <a:pt x="185" y="36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29" name="Freeform 903"/>
                <p:cNvSpPr>
                  <a:spLocks/>
                </p:cNvSpPr>
                <p:nvPr/>
              </p:nvSpPr>
              <p:spPr bwMode="auto">
                <a:xfrm>
                  <a:off x="3110214" y="3185846"/>
                  <a:ext cx="48835" cy="35517"/>
                </a:xfrm>
                <a:custGeom>
                  <a:avLst/>
                  <a:gdLst>
                    <a:gd name="T0" fmla="*/ 0 w 36"/>
                    <a:gd name="T1" fmla="*/ 2147483647 h 24"/>
                    <a:gd name="T2" fmla="*/ 2147483647 w 36"/>
                    <a:gd name="T3" fmla="*/ 2147483647 h 24"/>
                    <a:gd name="T4" fmla="*/ 2147483647 w 36"/>
                    <a:gd name="T5" fmla="*/ 2147483647 h 24"/>
                    <a:gd name="T6" fmla="*/ 2147483647 w 36"/>
                    <a:gd name="T7" fmla="*/ 2147483647 h 24"/>
                    <a:gd name="T8" fmla="*/ 2147483647 w 36"/>
                    <a:gd name="T9" fmla="*/ 2147483647 h 24"/>
                    <a:gd name="T10" fmla="*/ 2147483647 w 36"/>
                    <a:gd name="T11" fmla="*/ 2147483647 h 24"/>
                    <a:gd name="T12" fmla="*/ 2147483647 w 36"/>
                    <a:gd name="T13" fmla="*/ 2147483647 h 24"/>
                    <a:gd name="T14" fmla="*/ 2147483647 w 36"/>
                    <a:gd name="T15" fmla="*/ 2147483647 h 24"/>
                    <a:gd name="T16" fmla="*/ 2147483647 w 36"/>
                    <a:gd name="T17" fmla="*/ 2147483647 h 24"/>
                    <a:gd name="T18" fmla="*/ 2147483647 w 36"/>
                    <a:gd name="T19" fmla="*/ 2147483647 h 24"/>
                    <a:gd name="T20" fmla="*/ 2147483647 w 36"/>
                    <a:gd name="T21" fmla="*/ 2147483647 h 24"/>
                    <a:gd name="T22" fmla="*/ 2147483647 w 36"/>
                    <a:gd name="T23" fmla="*/ 2147483647 h 24"/>
                    <a:gd name="T24" fmla="*/ 2147483647 w 36"/>
                    <a:gd name="T25" fmla="*/ 2147483647 h 24"/>
                    <a:gd name="T26" fmla="*/ 2147483647 w 36"/>
                    <a:gd name="T27" fmla="*/ 2147483647 h 24"/>
                    <a:gd name="T28" fmla="*/ 2147483647 w 36"/>
                    <a:gd name="T29" fmla="*/ 2147483647 h 24"/>
                    <a:gd name="T30" fmla="*/ 2147483647 w 36"/>
                    <a:gd name="T31" fmla="*/ 2147483647 h 24"/>
                    <a:gd name="T32" fmla="*/ 2147483647 w 36"/>
                    <a:gd name="T33" fmla="*/ 2147483647 h 24"/>
                    <a:gd name="T34" fmla="*/ 2147483647 w 36"/>
                    <a:gd name="T35" fmla="*/ 2147483647 h 24"/>
                    <a:gd name="T36" fmla="*/ 2147483647 w 36"/>
                    <a:gd name="T37" fmla="*/ 2147483647 h 24"/>
                    <a:gd name="T38" fmla="*/ 2147483647 w 36"/>
                    <a:gd name="T39" fmla="*/ 2147483647 h 24"/>
                    <a:gd name="T40" fmla="*/ 2147483647 w 36"/>
                    <a:gd name="T41" fmla="*/ 2147483647 h 24"/>
                    <a:gd name="T42" fmla="*/ 2147483647 w 36"/>
                    <a:gd name="T43" fmla="*/ 2147483647 h 24"/>
                    <a:gd name="T44" fmla="*/ 2147483647 w 36"/>
                    <a:gd name="T45" fmla="*/ 2147483647 h 24"/>
                    <a:gd name="T46" fmla="*/ 2147483647 w 36"/>
                    <a:gd name="T47" fmla="*/ 2147483647 h 24"/>
                    <a:gd name="T48" fmla="*/ 0 w 36"/>
                    <a:gd name="T49" fmla="*/ 0 h 24"/>
                    <a:gd name="T50" fmla="*/ 0 w 36"/>
                    <a:gd name="T51" fmla="*/ 2147483647 h 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
                    <a:gd name="T79" fmla="*/ 0 h 24"/>
                    <a:gd name="T80" fmla="*/ 36 w 36"/>
                    <a:gd name="T81" fmla="*/ 24 h 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 h="24">
                      <a:moveTo>
                        <a:pt x="0" y="10"/>
                      </a:moveTo>
                      <a:lnTo>
                        <a:pt x="1" y="11"/>
                      </a:lnTo>
                      <a:lnTo>
                        <a:pt x="3" y="12"/>
                      </a:lnTo>
                      <a:lnTo>
                        <a:pt x="6" y="13"/>
                      </a:lnTo>
                      <a:lnTo>
                        <a:pt x="10" y="16"/>
                      </a:lnTo>
                      <a:lnTo>
                        <a:pt x="15" y="20"/>
                      </a:lnTo>
                      <a:lnTo>
                        <a:pt x="19" y="23"/>
                      </a:lnTo>
                      <a:lnTo>
                        <a:pt x="24" y="24"/>
                      </a:lnTo>
                      <a:lnTo>
                        <a:pt x="29" y="24"/>
                      </a:lnTo>
                      <a:lnTo>
                        <a:pt x="34" y="23"/>
                      </a:lnTo>
                      <a:lnTo>
                        <a:pt x="35" y="21"/>
                      </a:lnTo>
                      <a:lnTo>
                        <a:pt x="36" y="19"/>
                      </a:lnTo>
                      <a:lnTo>
                        <a:pt x="36" y="13"/>
                      </a:lnTo>
                      <a:lnTo>
                        <a:pt x="36" y="12"/>
                      </a:lnTo>
                      <a:lnTo>
                        <a:pt x="35" y="11"/>
                      </a:lnTo>
                      <a:lnTo>
                        <a:pt x="33" y="10"/>
                      </a:lnTo>
                      <a:lnTo>
                        <a:pt x="30" y="10"/>
                      </a:lnTo>
                      <a:lnTo>
                        <a:pt x="28" y="10"/>
                      </a:lnTo>
                      <a:lnTo>
                        <a:pt x="24" y="10"/>
                      </a:lnTo>
                      <a:lnTo>
                        <a:pt x="21" y="10"/>
                      </a:lnTo>
                      <a:lnTo>
                        <a:pt x="19" y="8"/>
                      </a:lnTo>
                      <a:lnTo>
                        <a:pt x="12" y="7"/>
                      </a:lnTo>
                      <a:lnTo>
                        <a:pt x="8" y="6"/>
                      </a:lnTo>
                      <a:lnTo>
                        <a:pt x="3" y="4"/>
                      </a:lnTo>
                      <a:lnTo>
                        <a:pt x="0" y="0"/>
                      </a:lnTo>
                      <a:lnTo>
                        <a:pt x="0"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0" name="Freeform 904"/>
                <p:cNvSpPr>
                  <a:spLocks/>
                </p:cNvSpPr>
                <p:nvPr/>
              </p:nvSpPr>
              <p:spPr bwMode="auto">
                <a:xfrm>
                  <a:off x="3178288" y="3178449"/>
                  <a:ext cx="35517" cy="62155"/>
                </a:xfrm>
                <a:custGeom>
                  <a:avLst/>
                  <a:gdLst>
                    <a:gd name="T0" fmla="*/ 2147483647 w 26"/>
                    <a:gd name="T1" fmla="*/ 2147483647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2147483647 h 42"/>
                    <a:gd name="T12" fmla="*/ 2147483647 w 26"/>
                    <a:gd name="T13" fmla="*/ 2147483647 h 42"/>
                    <a:gd name="T14" fmla="*/ 2147483647 w 26"/>
                    <a:gd name="T15" fmla="*/ 2147483647 h 42"/>
                    <a:gd name="T16" fmla="*/ 2147483647 w 26"/>
                    <a:gd name="T17" fmla="*/ 2147483647 h 42"/>
                    <a:gd name="T18" fmla="*/ 2147483647 w 26"/>
                    <a:gd name="T19" fmla="*/ 2147483647 h 42"/>
                    <a:gd name="T20" fmla="*/ 2147483647 w 26"/>
                    <a:gd name="T21" fmla="*/ 2147483647 h 42"/>
                    <a:gd name="T22" fmla="*/ 2147483647 w 26"/>
                    <a:gd name="T23" fmla="*/ 2147483647 h 42"/>
                    <a:gd name="T24" fmla="*/ 2147483647 w 26"/>
                    <a:gd name="T25" fmla="*/ 2147483647 h 42"/>
                    <a:gd name="T26" fmla="*/ 2147483647 w 26"/>
                    <a:gd name="T27" fmla="*/ 2147483647 h 42"/>
                    <a:gd name="T28" fmla="*/ 2147483647 w 26"/>
                    <a:gd name="T29" fmla="*/ 2147483647 h 42"/>
                    <a:gd name="T30" fmla="*/ 2147483647 w 26"/>
                    <a:gd name="T31" fmla="*/ 2147483647 h 42"/>
                    <a:gd name="T32" fmla="*/ 2147483647 w 26"/>
                    <a:gd name="T33" fmla="*/ 2147483647 h 42"/>
                    <a:gd name="T34" fmla="*/ 2147483647 w 26"/>
                    <a:gd name="T35" fmla="*/ 2147483647 h 42"/>
                    <a:gd name="T36" fmla="*/ 2147483647 w 26"/>
                    <a:gd name="T37" fmla="*/ 2147483647 h 42"/>
                    <a:gd name="T38" fmla="*/ 2147483647 w 26"/>
                    <a:gd name="T39" fmla="*/ 2147483647 h 42"/>
                    <a:gd name="T40" fmla="*/ 0 w 26"/>
                    <a:gd name="T41" fmla="*/ 2147483647 h 42"/>
                    <a:gd name="T42" fmla="*/ 0 w 26"/>
                    <a:gd name="T43" fmla="*/ 2147483647 h 42"/>
                    <a:gd name="T44" fmla="*/ 0 w 26"/>
                    <a:gd name="T45" fmla="*/ 2147483647 h 42"/>
                    <a:gd name="T46" fmla="*/ 0 w 26"/>
                    <a:gd name="T47" fmla="*/ 2147483647 h 42"/>
                    <a:gd name="T48" fmla="*/ 0 w 26"/>
                    <a:gd name="T49" fmla="*/ 2147483647 h 42"/>
                    <a:gd name="T50" fmla="*/ 2147483647 w 26"/>
                    <a:gd name="T51" fmla="*/ 2147483647 h 42"/>
                    <a:gd name="T52" fmla="*/ 2147483647 w 26"/>
                    <a:gd name="T53" fmla="*/ 2147483647 h 42"/>
                    <a:gd name="T54" fmla="*/ 2147483647 w 26"/>
                    <a:gd name="T55" fmla="*/ 2147483647 h 42"/>
                    <a:gd name="T56" fmla="*/ 2147483647 w 26"/>
                    <a:gd name="T57" fmla="*/ 2147483647 h 42"/>
                    <a:gd name="T58" fmla="*/ 2147483647 w 26"/>
                    <a:gd name="T59" fmla="*/ 2147483647 h 42"/>
                    <a:gd name="T60" fmla="*/ 2147483647 w 26"/>
                    <a:gd name="T61" fmla="*/ 0 h 42"/>
                    <a:gd name="T62" fmla="*/ 2147483647 w 26"/>
                    <a:gd name="T63" fmla="*/ 2147483647 h 42"/>
                    <a:gd name="T64" fmla="*/ 2147483647 w 26"/>
                    <a:gd name="T65" fmla="*/ 2147483647 h 42"/>
                    <a:gd name="T66" fmla="*/ 2147483647 w 26"/>
                    <a:gd name="T67" fmla="*/ 2147483647 h 42"/>
                    <a:gd name="T68" fmla="*/ 2147483647 w 26"/>
                    <a:gd name="T69" fmla="*/ 2147483647 h 42"/>
                    <a:gd name="T70" fmla="*/ 2147483647 w 26"/>
                    <a:gd name="T71" fmla="*/ 2147483647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
                    <a:gd name="T109" fmla="*/ 0 h 42"/>
                    <a:gd name="T110" fmla="*/ 26 w 2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 h="42">
                      <a:moveTo>
                        <a:pt x="12" y="17"/>
                      </a:moveTo>
                      <a:lnTo>
                        <a:pt x="11" y="19"/>
                      </a:lnTo>
                      <a:lnTo>
                        <a:pt x="11" y="24"/>
                      </a:lnTo>
                      <a:lnTo>
                        <a:pt x="9" y="28"/>
                      </a:lnTo>
                      <a:lnTo>
                        <a:pt x="11" y="30"/>
                      </a:lnTo>
                      <a:lnTo>
                        <a:pt x="13" y="30"/>
                      </a:lnTo>
                      <a:lnTo>
                        <a:pt x="14" y="29"/>
                      </a:lnTo>
                      <a:lnTo>
                        <a:pt x="17" y="26"/>
                      </a:lnTo>
                      <a:lnTo>
                        <a:pt x="19" y="24"/>
                      </a:lnTo>
                      <a:lnTo>
                        <a:pt x="21" y="23"/>
                      </a:lnTo>
                      <a:lnTo>
                        <a:pt x="22" y="24"/>
                      </a:lnTo>
                      <a:lnTo>
                        <a:pt x="25" y="26"/>
                      </a:lnTo>
                      <a:lnTo>
                        <a:pt x="26" y="29"/>
                      </a:lnTo>
                      <a:lnTo>
                        <a:pt x="26" y="32"/>
                      </a:lnTo>
                      <a:lnTo>
                        <a:pt x="25" y="35"/>
                      </a:lnTo>
                      <a:lnTo>
                        <a:pt x="18" y="41"/>
                      </a:lnTo>
                      <a:lnTo>
                        <a:pt x="13" y="42"/>
                      </a:lnTo>
                      <a:lnTo>
                        <a:pt x="9" y="42"/>
                      </a:lnTo>
                      <a:lnTo>
                        <a:pt x="4" y="41"/>
                      </a:lnTo>
                      <a:lnTo>
                        <a:pt x="2" y="38"/>
                      </a:lnTo>
                      <a:lnTo>
                        <a:pt x="0" y="36"/>
                      </a:lnTo>
                      <a:lnTo>
                        <a:pt x="0" y="32"/>
                      </a:lnTo>
                      <a:lnTo>
                        <a:pt x="0" y="25"/>
                      </a:lnTo>
                      <a:lnTo>
                        <a:pt x="0" y="18"/>
                      </a:lnTo>
                      <a:lnTo>
                        <a:pt x="0" y="16"/>
                      </a:lnTo>
                      <a:lnTo>
                        <a:pt x="2" y="12"/>
                      </a:lnTo>
                      <a:lnTo>
                        <a:pt x="3" y="8"/>
                      </a:lnTo>
                      <a:lnTo>
                        <a:pt x="5" y="8"/>
                      </a:lnTo>
                      <a:lnTo>
                        <a:pt x="7" y="4"/>
                      </a:lnTo>
                      <a:lnTo>
                        <a:pt x="9" y="2"/>
                      </a:lnTo>
                      <a:lnTo>
                        <a:pt x="12" y="0"/>
                      </a:lnTo>
                      <a:lnTo>
                        <a:pt x="14" y="2"/>
                      </a:lnTo>
                      <a:lnTo>
                        <a:pt x="16" y="5"/>
                      </a:lnTo>
                      <a:lnTo>
                        <a:pt x="17" y="10"/>
                      </a:lnTo>
                      <a:lnTo>
                        <a:pt x="16" y="15"/>
                      </a:lnTo>
                      <a:lnTo>
                        <a:pt x="12" y="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1" name="Freeform 905"/>
                <p:cNvSpPr>
                  <a:spLocks/>
                </p:cNvSpPr>
                <p:nvPr/>
              </p:nvSpPr>
              <p:spPr bwMode="auto">
                <a:xfrm>
                  <a:off x="3107252" y="3184368"/>
                  <a:ext cx="50316" cy="35517"/>
                </a:xfrm>
                <a:custGeom>
                  <a:avLst/>
                  <a:gdLst>
                    <a:gd name="T0" fmla="*/ 0 w 37"/>
                    <a:gd name="T1" fmla="*/ 2147483647 h 24"/>
                    <a:gd name="T2" fmla="*/ 0 w 37"/>
                    <a:gd name="T3" fmla="*/ 2147483647 h 24"/>
                    <a:gd name="T4" fmla="*/ 2147483647 w 37"/>
                    <a:gd name="T5" fmla="*/ 2147483647 h 24"/>
                    <a:gd name="T6" fmla="*/ 2147483647 w 37"/>
                    <a:gd name="T7" fmla="*/ 2147483647 h 24"/>
                    <a:gd name="T8" fmla="*/ 2147483647 w 37"/>
                    <a:gd name="T9" fmla="*/ 2147483647 h 24"/>
                    <a:gd name="T10" fmla="*/ 2147483647 w 37"/>
                    <a:gd name="T11" fmla="*/ 2147483647 h 24"/>
                    <a:gd name="T12" fmla="*/ 2147483647 w 37"/>
                    <a:gd name="T13" fmla="*/ 2147483647 h 24"/>
                    <a:gd name="T14" fmla="*/ 2147483647 w 37"/>
                    <a:gd name="T15" fmla="*/ 2147483647 h 24"/>
                    <a:gd name="T16" fmla="*/ 2147483647 w 37"/>
                    <a:gd name="T17" fmla="*/ 2147483647 h 24"/>
                    <a:gd name="T18" fmla="*/ 2147483647 w 37"/>
                    <a:gd name="T19" fmla="*/ 2147483647 h 24"/>
                    <a:gd name="T20" fmla="*/ 2147483647 w 37"/>
                    <a:gd name="T21" fmla="*/ 2147483647 h 24"/>
                    <a:gd name="T22" fmla="*/ 2147483647 w 37"/>
                    <a:gd name="T23" fmla="*/ 2147483647 h 24"/>
                    <a:gd name="T24" fmla="*/ 2147483647 w 37"/>
                    <a:gd name="T25" fmla="*/ 2147483647 h 24"/>
                    <a:gd name="T26" fmla="*/ 2147483647 w 37"/>
                    <a:gd name="T27" fmla="*/ 2147483647 h 24"/>
                    <a:gd name="T28" fmla="*/ 2147483647 w 37"/>
                    <a:gd name="T29" fmla="*/ 2147483647 h 24"/>
                    <a:gd name="T30" fmla="*/ 2147483647 w 37"/>
                    <a:gd name="T31" fmla="*/ 2147483647 h 24"/>
                    <a:gd name="T32" fmla="*/ 2147483647 w 37"/>
                    <a:gd name="T33" fmla="*/ 2147483647 h 24"/>
                    <a:gd name="T34" fmla="*/ 2147483647 w 37"/>
                    <a:gd name="T35" fmla="*/ 2147483647 h 24"/>
                    <a:gd name="T36" fmla="*/ 2147483647 w 37"/>
                    <a:gd name="T37" fmla="*/ 2147483647 h 24"/>
                    <a:gd name="T38" fmla="*/ 2147483647 w 37"/>
                    <a:gd name="T39" fmla="*/ 2147483647 h 24"/>
                    <a:gd name="T40" fmla="*/ 2147483647 w 37"/>
                    <a:gd name="T41" fmla="*/ 2147483647 h 24"/>
                    <a:gd name="T42" fmla="*/ 2147483647 w 37"/>
                    <a:gd name="T43" fmla="*/ 2147483647 h 24"/>
                    <a:gd name="T44" fmla="*/ 2147483647 w 37"/>
                    <a:gd name="T45" fmla="*/ 2147483647 h 24"/>
                    <a:gd name="T46" fmla="*/ 2147483647 w 37"/>
                    <a:gd name="T47" fmla="*/ 2147483647 h 24"/>
                    <a:gd name="T48" fmla="*/ 2147483647 w 37"/>
                    <a:gd name="T49" fmla="*/ 2147483647 h 24"/>
                    <a:gd name="T50" fmla="*/ 2147483647 w 37"/>
                    <a:gd name="T51" fmla="*/ 2147483647 h 24"/>
                    <a:gd name="T52" fmla="*/ 2147483647 w 37"/>
                    <a:gd name="T53" fmla="*/ 2147483647 h 24"/>
                    <a:gd name="T54" fmla="*/ 2147483647 w 37"/>
                    <a:gd name="T55" fmla="*/ 2147483647 h 24"/>
                    <a:gd name="T56" fmla="*/ 2147483647 w 37"/>
                    <a:gd name="T57" fmla="*/ 2147483647 h 24"/>
                    <a:gd name="T58" fmla="*/ 2147483647 w 37"/>
                    <a:gd name="T59" fmla="*/ 2147483647 h 24"/>
                    <a:gd name="T60" fmla="*/ 2147483647 w 37"/>
                    <a:gd name="T61" fmla="*/ 2147483647 h 24"/>
                    <a:gd name="T62" fmla="*/ 2147483647 w 37"/>
                    <a:gd name="T63" fmla="*/ 2147483647 h 24"/>
                    <a:gd name="T64" fmla="*/ 0 w 37"/>
                    <a:gd name="T65" fmla="*/ 0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7"/>
                    <a:gd name="T100" fmla="*/ 0 h 24"/>
                    <a:gd name="T101" fmla="*/ 37 w 37"/>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7" h="24">
                      <a:moveTo>
                        <a:pt x="0" y="9"/>
                      </a:moveTo>
                      <a:lnTo>
                        <a:pt x="0" y="9"/>
                      </a:lnTo>
                      <a:lnTo>
                        <a:pt x="2" y="11"/>
                      </a:lnTo>
                      <a:lnTo>
                        <a:pt x="4" y="12"/>
                      </a:lnTo>
                      <a:lnTo>
                        <a:pt x="7" y="13"/>
                      </a:lnTo>
                      <a:lnTo>
                        <a:pt x="10" y="15"/>
                      </a:lnTo>
                      <a:lnTo>
                        <a:pt x="16" y="20"/>
                      </a:lnTo>
                      <a:lnTo>
                        <a:pt x="19" y="22"/>
                      </a:lnTo>
                      <a:lnTo>
                        <a:pt x="24" y="24"/>
                      </a:lnTo>
                      <a:lnTo>
                        <a:pt x="30" y="24"/>
                      </a:lnTo>
                      <a:lnTo>
                        <a:pt x="35" y="22"/>
                      </a:lnTo>
                      <a:lnTo>
                        <a:pt x="36" y="21"/>
                      </a:lnTo>
                      <a:lnTo>
                        <a:pt x="37" y="19"/>
                      </a:lnTo>
                      <a:lnTo>
                        <a:pt x="37" y="13"/>
                      </a:lnTo>
                      <a:lnTo>
                        <a:pt x="37" y="12"/>
                      </a:lnTo>
                      <a:lnTo>
                        <a:pt x="36" y="11"/>
                      </a:lnTo>
                      <a:lnTo>
                        <a:pt x="33" y="9"/>
                      </a:lnTo>
                      <a:lnTo>
                        <a:pt x="31" y="9"/>
                      </a:lnTo>
                      <a:lnTo>
                        <a:pt x="28" y="9"/>
                      </a:lnTo>
                      <a:lnTo>
                        <a:pt x="24" y="9"/>
                      </a:lnTo>
                      <a:lnTo>
                        <a:pt x="22" y="9"/>
                      </a:lnTo>
                      <a:lnTo>
                        <a:pt x="19" y="8"/>
                      </a:lnTo>
                      <a:lnTo>
                        <a:pt x="13" y="7"/>
                      </a:lnTo>
                      <a:lnTo>
                        <a:pt x="9" y="6"/>
                      </a:lnTo>
                      <a:lnTo>
                        <a:pt x="4" y="4"/>
                      </a:lnTo>
                      <a:lnTo>
                        <a:pt x="0" y="0"/>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2" name="Freeform 906"/>
                <p:cNvSpPr>
                  <a:spLocks/>
                </p:cNvSpPr>
                <p:nvPr/>
              </p:nvSpPr>
              <p:spPr bwMode="auto">
                <a:xfrm>
                  <a:off x="3176807" y="3176969"/>
                  <a:ext cx="35517" cy="62155"/>
                </a:xfrm>
                <a:custGeom>
                  <a:avLst/>
                  <a:gdLst>
                    <a:gd name="T0" fmla="*/ 2147483647 w 26"/>
                    <a:gd name="T1" fmla="*/ 2147483647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2147483647 h 42"/>
                    <a:gd name="T12" fmla="*/ 2147483647 w 26"/>
                    <a:gd name="T13" fmla="*/ 2147483647 h 42"/>
                    <a:gd name="T14" fmla="*/ 2147483647 w 26"/>
                    <a:gd name="T15" fmla="*/ 2147483647 h 42"/>
                    <a:gd name="T16" fmla="*/ 2147483647 w 26"/>
                    <a:gd name="T17" fmla="*/ 2147483647 h 42"/>
                    <a:gd name="T18" fmla="*/ 2147483647 w 26"/>
                    <a:gd name="T19" fmla="*/ 2147483647 h 42"/>
                    <a:gd name="T20" fmla="*/ 2147483647 w 26"/>
                    <a:gd name="T21" fmla="*/ 2147483647 h 42"/>
                    <a:gd name="T22" fmla="*/ 2147483647 w 26"/>
                    <a:gd name="T23" fmla="*/ 2147483647 h 42"/>
                    <a:gd name="T24" fmla="*/ 2147483647 w 26"/>
                    <a:gd name="T25" fmla="*/ 2147483647 h 42"/>
                    <a:gd name="T26" fmla="*/ 2147483647 w 26"/>
                    <a:gd name="T27" fmla="*/ 2147483647 h 42"/>
                    <a:gd name="T28" fmla="*/ 2147483647 w 26"/>
                    <a:gd name="T29" fmla="*/ 2147483647 h 42"/>
                    <a:gd name="T30" fmla="*/ 2147483647 w 26"/>
                    <a:gd name="T31" fmla="*/ 2147483647 h 42"/>
                    <a:gd name="T32" fmla="*/ 2147483647 w 26"/>
                    <a:gd name="T33" fmla="*/ 2147483647 h 42"/>
                    <a:gd name="T34" fmla="*/ 2147483647 w 26"/>
                    <a:gd name="T35" fmla="*/ 2147483647 h 42"/>
                    <a:gd name="T36" fmla="*/ 2147483647 w 26"/>
                    <a:gd name="T37" fmla="*/ 2147483647 h 42"/>
                    <a:gd name="T38" fmla="*/ 2147483647 w 26"/>
                    <a:gd name="T39" fmla="*/ 2147483647 h 42"/>
                    <a:gd name="T40" fmla="*/ 2147483647 w 26"/>
                    <a:gd name="T41" fmla="*/ 2147483647 h 42"/>
                    <a:gd name="T42" fmla="*/ 2147483647 w 26"/>
                    <a:gd name="T43" fmla="*/ 2147483647 h 42"/>
                    <a:gd name="T44" fmla="*/ 2147483647 w 26"/>
                    <a:gd name="T45" fmla="*/ 2147483647 h 42"/>
                    <a:gd name="T46" fmla="*/ 2147483647 w 26"/>
                    <a:gd name="T47" fmla="*/ 2147483647 h 42"/>
                    <a:gd name="T48" fmla="*/ 2147483647 w 26"/>
                    <a:gd name="T49" fmla="*/ 2147483647 h 42"/>
                    <a:gd name="T50" fmla="*/ 0 w 26"/>
                    <a:gd name="T51" fmla="*/ 2147483647 h 42"/>
                    <a:gd name="T52" fmla="*/ 0 w 26"/>
                    <a:gd name="T53" fmla="*/ 2147483647 h 42"/>
                    <a:gd name="T54" fmla="*/ 0 w 26"/>
                    <a:gd name="T55" fmla="*/ 2147483647 h 42"/>
                    <a:gd name="T56" fmla="*/ 0 w 26"/>
                    <a:gd name="T57" fmla="*/ 2147483647 h 42"/>
                    <a:gd name="T58" fmla="*/ 0 w 26"/>
                    <a:gd name="T59" fmla="*/ 2147483647 h 42"/>
                    <a:gd name="T60" fmla="*/ 0 w 26"/>
                    <a:gd name="T61" fmla="*/ 2147483647 h 42"/>
                    <a:gd name="T62" fmla="*/ 2147483647 w 26"/>
                    <a:gd name="T63" fmla="*/ 2147483647 h 42"/>
                    <a:gd name="T64" fmla="*/ 2147483647 w 26"/>
                    <a:gd name="T65" fmla="*/ 2147483647 h 42"/>
                    <a:gd name="T66" fmla="*/ 2147483647 w 26"/>
                    <a:gd name="T67" fmla="*/ 2147483647 h 42"/>
                    <a:gd name="T68" fmla="*/ 2147483647 w 26"/>
                    <a:gd name="T69" fmla="*/ 2147483647 h 42"/>
                    <a:gd name="T70" fmla="*/ 2147483647 w 26"/>
                    <a:gd name="T71" fmla="*/ 2147483647 h 42"/>
                    <a:gd name="T72" fmla="*/ 2147483647 w 26"/>
                    <a:gd name="T73" fmla="*/ 2147483647 h 42"/>
                    <a:gd name="T74" fmla="*/ 2147483647 w 26"/>
                    <a:gd name="T75" fmla="*/ 2147483647 h 42"/>
                    <a:gd name="T76" fmla="*/ 2147483647 w 26"/>
                    <a:gd name="T77" fmla="*/ 0 h 42"/>
                    <a:gd name="T78" fmla="*/ 2147483647 w 26"/>
                    <a:gd name="T79" fmla="*/ 2147483647 h 42"/>
                    <a:gd name="T80" fmla="*/ 2147483647 w 26"/>
                    <a:gd name="T81" fmla="*/ 2147483647 h 42"/>
                    <a:gd name="T82" fmla="*/ 2147483647 w 26"/>
                    <a:gd name="T83" fmla="*/ 2147483647 h 42"/>
                    <a:gd name="T84" fmla="*/ 2147483647 w 26"/>
                    <a:gd name="T85" fmla="*/ 2147483647 h 42"/>
                    <a:gd name="T86" fmla="*/ 2147483647 w 26"/>
                    <a:gd name="T87" fmla="*/ 2147483647 h 42"/>
                    <a:gd name="T88" fmla="*/ 2147483647 w 26"/>
                    <a:gd name="T89" fmla="*/ 2147483647 h 42"/>
                    <a:gd name="T90" fmla="*/ 2147483647 w 26"/>
                    <a:gd name="T91" fmla="*/ 2147483647 h 4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
                    <a:gd name="T139" fmla="*/ 0 h 42"/>
                    <a:gd name="T140" fmla="*/ 26 w 26"/>
                    <a:gd name="T141" fmla="*/ 42 h 4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 h="42">
                      <a:moveTo>
                        <a:pt x="12" y="17"/>
                      </a:moveTo>
                      <a:lnTo>
                        <a:pt x="12" y="17"/>
                      </a:lnTo>
                      <a:lnTo>
                        <a:pt x="10" y="19"/>
                      </a:lnTo>
                      <a:lnTo>
                        <a:pt x="10" y="24"/>
                      </a:lnTo>
                      <a:lnTo>
                        <a:pt x="9" y="27"/>
                      </a:lnTo>
                      <a:lnTo>
                        <a:pt x="10" y="30"/>
                      </a:lnTo>
                      <a:lnTo>
                        <a:pt x="13" y="30"/>
                      </a:lnTo>
                      <a:lnTo>
                        <a:pt x="14" y="29"/>
                      </a:lnTo>
                      <a:lnTo>
                        <a:pt x="17" y="26"/>
                      </a:lnTo>
                      <a:lnTo>
                        <a:pt x="19" y="24"/>
                      </a:lnTo>
                      <a:lnTo>
                        <a:pt x="20" y="23"/>
                      </a:lnTo>
                      <a:lnTo>
                        <a:pt x="22" y="24"/>
                      </a:lnTo>
                      <a:lnTo>
                        <a:pt x="24" y="26"/>
                      </a:lnTo>
                      <a:lnTo>
                        <a:pt x="26" y="29"/>
                      </a:lnTo>
                      <a:lnTo>
                        <a:pt x="26" y="32"/>
                      </a:lnTo>
                      <a:lnTo>
                        <a:pt x="24" y="35"/>
                      </a:lnTo>
                      <a:lnTo>
                        <a:pt x="18" y="41"/>
                      </a:lnTo>
                      <a:lnTo>
                        <a:pt x="13" y="42"/>
                      </a:lnTo>
                      <a:lnTo>
                        <a:pt x="9" y="42"/>
                      </a:lnTo>
                      <a:lnTo>
                        <a:pt x="4" y="41"/>
                      </a:lnTo>
                      <a:lnTo>
                        <a:pt x="1" y="38"/>
                      </a:lnTo>
                      <a:lnTo>
                        <a:pt x="0" y="36"/>
                      </a:lnTo>
                      <a:lnTo>
                        <a:pt x="0" y="32"/>
                      </a:lnTo>
                      <a:lnTo>
                        <a:pt x="0" y="25"/>
                      </a:lnTo>
                      <a:lnTo>
                        <a:pt x="0" y="18"/>
                      </a:lnTo>
                      <a:lnTo>
                        <a:pt x="0" y="16"/>
                      </a:lnTo>
                      <a:lnTo>
                        <a:pt x="1" y="12"/>
                      </a:lnTo>
                      <a:lnTo>
                        <a:pt x="3" y="7"/>
                      </a:lnTo>
                      <a:lnTo>
                        <a:pt x="5" y="7"/>
                      </a:lnTo>
                      <a:lnTo>
                        <a:pt x="6" y="4"/>
                      </a:lnTo>
                      <a:lnTo>
                        <a:pt x="9" y="1"/>
                      </a:lnTo>
                      <a:lnTo>
                        <a:pt x="12" y="0"/>
                      </a:lnTo>
                      <a:lnTo>
                        <a:pt x="14" y="1"/>
                      </a:lnTo>
                      <a:lnTo>
                        <a:pt x="15" y="5"/>
                      </a:lnTo>
                      <a:lnTo>
                        <a:pt x="17" y="10"/>
                      </a:lnTo>
                      <a:lnTo>
                        <a:pt x="15" y="14"/>
                      </a:lnTo>
                      <a:lnTo>
                        <a:pt x="12"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3" name="Freeform 907"/>
                <p:cNvSpPr>
                  <a:spLocks/>
                </p:cNvSpPr>
                <p:nvPr/>
              </p:nvSpPr>
              <p:spPr bwMode="auto">
                <a:xfrm>
                  <a:off x="3225643" y="3024542"/>
                  <a:ext cx="161306" cy="186464"/>
                </a:xfrm>
                <a:custGeom>
                  <a:avLst/>
                  <a:gdLst>
                    <a:gd name="T0" fmla="*/ 2147483647 w 118"/>
                    <a:gd name="T1" fmla="*/ 2147483647 h 126"/>
                    <a:gd name="T2" fmla="*/ 2147483647 w 118"/>
                    <a:gd name="T3" fmla="*/ 2147483647 h 126"/>
                    <a:gd name="T4" fmla="*/ 2147483647 w 118"/>
                    <a:gd name="T5" fmla="*/ 2147483647 h 126"/>
                    <a:gd name="T6" fmla="*/ 2147483647 w 118"/>
                    <a:gd name="T7" fmla="*/ 2147483647 h 126"/>
                    <a:gd name="T8" fmla="*/ 2147483647 w 118"/>
                    <a:gd name="T9" fmla="*/ 2147483647 h 126"/>
                    <a:gd name="T10" fmla="*/ 2147483647 w 118"/>
                    <a:gd name="T11" fmla="*/ 2147483647 h 126"/>
                    <a:gd name="T12" fmla="*/ 2147483647 w 118"/>
                    <a:gd name="T13" fmla="*/ 2147483647 h 126"/>
                    <a:gd name="T14" fmla="*/ 2147483647 w 118"/>
                    <a:gd name="T15" fmla="*/ 2147483647 h 126"/>
                    <a:gd name="T16" fmla="*/ 2147483647 w 118"/>
                    <a:gd name="T17" fmla="*/ 2147483647 h 126"/>
                    <a:gd name="T18" fmla="*/ 2147483647 w 118"/>
                    <a:gd name="T19" fmla="*/ 2147483647 h 126"/>
                    <a:gd name="T20" fmla="*/ 2147483647 w 118"/>
                    <a:gd name="T21" fmla="*/ 2147483647 h 126"/>
                    <a:gd name="T22" fmla="*/ 2147483647 w 118"/>
                    <a:gd name="T23" fmla="*/ 2147483647 h 126"/>
                    <a:gd name="T24" fmla="*/ 2147483647 w 118"/>
                    <a:gd name="T25" fmla="*/ 2147483647 h 126"/>
                    <a:gd name="T26" fmla="*/ 2147483647 w 118"/>
                    <a:gd name="T27" fmla="*/ 2147483647 h 126"/>
                    <a:gd name="T28" fmla="*/ 2147483647 w 118"/>
                    <a:gd name="T29" fmla="*/ 2147483647 h 126"/>
                    <a:gd name="T30" fmla="*/ 2147483647 w 118"/>
                    <a:gd name="T31" fmla="*/ 2147483647 h 126"/>
                    <a:gd name="T32" fmla="*/ 2147483647 w 118"/>
                    <a:gd name="T33" fmla="*/ 2147483647 h 126"/>
                    <a:gd name="T34" fmla="*/ 2147483647 w 118"/>
                    <a:gd name="T35" fmla="*/ 2147483647 h 126"/>
                    <a:gd name="T36" fmla="*/ 2147483647 w 118"/>
                    <a:gd name="T37" fmla="*/ 2147483647 h 126"/>
                    <a:gd name="T38" fmla="*/ 2147483647 w 118"/>
                    <a:gd name="T39" fmla="*/ 2147483647 h 126"/>
                    <a:gd name="T40" fmla="*/ 2147483647 w 118"/>
                    <a:gd name="T41" fmla="*/ 2147483647 h 126"/>
                    <a:gd name="T42" fmla="*/ 2147483647 w 118"/>
                    <a:gd name="T43" fmla="*/ 2147483647 h 126"/>
                    <a:gd name="T44" fmla="*/ 2147483647 w 118"/>
                    <a:gd name="T45" fmla="*/ 2147483647 h 126"/>
                    <a:gd name="T46" fmla="*/ 2147483647 w 118"/>
                    <a:gd name="T47" fmla="*/ 2147483647 h 126"/>
                    <a:gd name="T48" fmla="*/ 2147483647 w 118"/>
                    <a:gd name="T49" fmla="*/ 2147483647 h 126"/>
                    <a:gd name="T50" fmla="*/ 2147483647 w 118"/>
                    <a:gd name="T51" fmla="*/ 2147483647 h 126"/>
                    <a:gd name="T52" fmla="*/ 2147483647 w 118"/>
                    <a:gd name="T53" fmla="*/ 2147483647 h 126"/>
                    <a:gd name="T54" fmla="*/ 2147483647 w 118"/>
                    <a:gd name="T55" fmla="*/ 2147483647 h 126"/>
                    <a:gd name="T56" fmla="*/ 2147483647 w 118"/>
                    <a:gd name="T57" fmla="*/ 2147483647 h 126"/>
                    <a:gd name="T58" fmla="*/ 2147483647 w 118"/>
                    <a:gd name="T59" fmla="*/ 2147483647 h 126"/>
                    <a:gd name="T60" fmla="*/ 2147483647 w 118"/>
                    <a:gd name="T61" fmla="*/ 2147483647 h 126"/>
                    <a:gd name="T62" fmla="*/ 2147483647 w 118"/>
                    <a:gd name="T63" fmla="*/ 2147483647 h 126"/>
                    <a:gd name="T64" fmla="*/ 2147483647 w 118"/>
                    <a:gd name="T65" fmla="*/ 2147483647 h 126"/>
                    <a:gd name="T66" fmla="*/ 2147483647 w 118"/>
                    <a:gd name="T67" fmla="*/ 2147483647 h 126"/>
                    <a:gd name="T68" fmla="*/ 2147483647 w 118"/>
                    <a:gd name="T69" fmla="*/ 2147483647 h 126"/>
                    <a:gd name="T70" fmla="*/ 2147483647 w 118"/>
                    <a:gd name="T71" fmla="*/ 2147483647 h 126"/>
                    <a:gd name="T72" fmla="*/ 2147483647 w 118"/>
                    <a:gd name="T73" fmla="*/ 2147483647 h 126"/>
                    <a:gd name="T74" fmla="*/ 2147483647 w 118"/>
                    <a:gd name="T75" fmla="*/ 2147483647 h 126"/>
                    <a:gd name="T76" fmla="*/ 0 w 118"/>
                    <a:gd name="T77" fmla="*/ 2147483647 h 126"/>
                    <a:gd name="T78" fmla="*/ 2147483647 w 118"/>
                    <a:gd name="T79" fmla="*/ 2147483647 h 126"/>
                    <a:gd name="T80" fmla="*/ 2147483647 w 118"/>
                    <a:gd name="T81" fmla="*/ 2147483647 h 126"/>
                    <a:gd name="T82" fmla="*/ 2147483647 w 118"/>
                    <a:gd name="T83" fmla="*/ 2147483647 h 126"/>
                    <a:gd name="T84" fmla="*/ 2147483647 w 118"/>
                    <a:gd name="T85" fmla="*/ 2147483647 h 126"/>
                    <a:gd name="T86" fmla="*/ 2147483647 w 118"/>
                    <a:gd name="T87" fmla="*/ 2147483647 h 126"/>
                    <a:gd name="T88" fmla="*/ 2147483647 w 118"/>
                    <a:gd name="T89" fmla="*/ 2147483647 h 126"/>
                    <a:gd name="T90" fmla="*/ 2147483647 w 118"/>
                    <a:gd name="T91" fmla="*/ 2147483647 h 126"/>
                    <a:gd name="T92" fmla="*/ 2147483647 w 118"/>
                    <a:gd name="T93" fmla="*/ 2147483647 h 126"/>
                    <a:gd name="T94" fmla="*/ 2147483647 w 118"/>
                    <a:gd name="T95" fmla="*/ 2147483647 h 126"/>
                    <a:gd name="T96" fmla="*/ 2147483647 w 118"/>
                    <a:gd name="T97" fmla="*/ 2147483647 h 126"/>
                    <a:gd name="T98" fmla="*/ 2147483647 w 118"/>
                    <a:gd name="T99" fmla="*/ 2147483647 h 126"/>
                    <a:gd name="T100" fmla="*/ 2147483647 w 118"/>
                    <a:gd name="T101" fmla="*/ 2147483647 h 126"/>
                    <a:gd name="T102" fmla="*/ 2147483647 w 118"/>
                    <a:gd name="T103" fmla="*/ 2147483647 h 126"/>
                    <a:gd name="T104" fmla="*/ 2147483647 w 118"/>
                    <a:gd name="T105" fmla="*/ 2147483647 h 126"/>
                    <a:gd name="T106" fmla="*/ 2147483647 w 118"/>
                    <a:gd name="T107" fmla="*/ 2147483647 h 126"/>
                    <a:gd name="T108" fmla="*/ 2147483647 w 118"/>
                    <a:gd name="T109" fmla="*/ 2147483647 h 126"/>
                    <a:gd name="T110" fmla="*/ 2147483647 w 118"/>
                    <a:gd name="T111" fmla="*/ 2147483647 h 126"/>
                    <a:gd name="T112" fmla="*/ 2147483647 w 118"/>
                    <a:gd name="T113" fmla="*/ 2147483647 h 126"/>
                    <a:gd name="T114" fmla="*/ 2147483647 w 118"/>
                    <a:gd name="T115" fmla="*/ 2147483647 h 126"/>
                    <a:gd name="T116" fmla="*/ 2147483647 w 118"/>
                    <a:gd name="T117" fmla="*/ 2147483647 h 1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8"/>
                    <a:gd name="T178" fmla="*/ 0 h 126"/>
                    <a:gd name="T179" fmla="*/ 118 w 118"/>
                    <a:gd name="T180" fmla="*/ 126 h 1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8" h="126">
                      <a:moveTo>
                        <a:pt x="96" y="121"/>
                      </a:moveTo>
                      <a:lnTo>
                        <a:pt x="97" y="125"/>
                      </a:lnTo>
                      <a:lnTo>
                        <a:pt x="99" y="126"/>
                      </a:lnTo>
                      <a:lnTo>
                        <a:pt x="100" y="126"/>
                      </a:lnTo>
                      <a:lnTo>
                        <a:pt x="103" y="125"/>
                      </a:lnTo>
                      <a:lnTo>
                        <a:pt x="104" y="121"/>
                      </a:lnTo>
                      <a:lnTo>
                        <a:pt x="105" y="115"/>
                      </a:lnTo>
                      <a:lnTo>
                        <a:pt x="109" y="109"/>
                      </a:lnTo>
                      <a:lnTo>
                        <a:pt x="113" y="103"/>
                      </a:lnTo>
                      <a:lnTo>
                        <a:pt x="118" y="98"/>
                      </a:lnTo>
                      <a:lnTo>
                        <a:pt x="113" y="95"/>
                      </a:lnTo>
                      <a:lnTo>
                        <a:pt x="111" y="94"/>
                      </a:lnTo>
                      <a:lnTo>
                        <a:pt x="113" y="90"/>
                      </a:lnTo>
                      <a:lnTo>
                        <a:pt x="116" y="84"/>
                      </a:lnTo>
                      <a:lnTo>
                        <a:pt x="116" y="81"/>
                      </a:lnTo>
                      <a:lnTo>
                        <a:pt x="116" y="80"/>
                      </a:lnTo>
                      <a:lnTo>
                        <a:pt x="115" y="78"/>
                      </a:lnTo>
                      <a:lnTo>
                        <a:pt x="113" y="77"/>
                      </a:lnTo>
                      <a:lnTo>
                        <a:pt x="109" y="78"/>
                      </a:lnTo>
                      <a:lnTo>
                        <a:pt x="104" y="83"/>
                      </a:lnTo>
                      <a:lnTo>
                        <a:pt x="103" y="83"/>
                      </a:lnTo>
                      <a:lnTo>
                        <a:pt x="101" y="82"/>
                      </a:lnTo>
                      <a:lnTo>
                        <a:pt x="103" y="78"/>
                      </a:lnTo>
                      <a:lnTo>
                        <a:pt x="104" y="76"/>
                      </a:lnTo>
                      <a:lnTo>
                        <a:pt x="101" y="75"/>
                      </a:lnTo>
                      <a:lnTo>
                        <a:pt x="100" y="75"/>
                      </a:lnTo>
                      <a:lnTo>
                        <a:pt x="99" y="75"/>
                      </a:lnTo>
                      <a:lnTo>
                        <a:pt x="97" y="76"/>
                      </a:lnTo>
                      <a:lnTo>
                        <a:pt x="95" y="76"/>
                      </a:lnTo>
                      <a:lnTo>
                        <a:pt x="94" y="75"/>
                      </a:lnTo>
                      <a:lnTo>
                        <a:pt x="92" y="72"/>
                      </a:lnTo>
                      <a:lnTo>
                        <a:pt x="92" y="69"/>
                      </a:lnTo>
                      <a:lnTo>
                        <a:pt x="92" y="65"/>
                      </a:lnTo>
                      <a:lnTo>
                        <a:pt x="92" y="62"/>
                      </a:lnTo>
                      <a:lnTo>
                        <a:pt x="90" y="59"/>
                      </a:lnTo>
                      <a:lnTo>
                        <a:pt x="89" y="59"/>
                      </a:lnTo>
                      <a:lnTo>
                        <a:pt x="89" y="58"/>
                      </a:lnTo>
                      <a:lnTo>
                        <a:pt x="89" y="56"/>
                      </a:lnTo>
                      <a:lnTo>
                        <a:pt x="90" y="53"/>
                      </a:lnTo>
                      <a:lnTo>
                        <a:pt x="91" y="51"/>
                      </a:lnTo>
                      <a:lnTo>
                        <a:pt x="90" y="50"/>
                      </a:lnTo>
                      <a:lnTo>
                        <a:pt x="87" y="50"/>
                      </a:lnTo>
                      <a:lnTo>
                        <a:pt x="85" y="51"/>
                      </a:lnTo>
                      <a:lnTo>
                        <a:pt x="83" y="52"/>
                      </a:lnTo>
                      <a:lnTo>
                        <a:pt x="81" y="52"/>
                      </a:lnTo>
                      <a:lnTo>
                        <a:pt x="80" y="51"/>
                      </a:lnTo>
                      <a:lnTo>
                        <a:pt x="78" y="50"/>
                      </a:lnTo>
                      <a:lnTo>
                        <a:pt x="75" y="55"/>
                      </a:lnTo>
                      <a:lnTo>
                        <a:pt x="73" y="57"/>
                      </a:lnTo>
                      <a:lnTo>
                        <a:pt x="72" y="58"/>
                      </a:lnTo>
                      <a:lnTo>
                        <a:pt x="70" y="58"/>
                      </a:lnTo>
                      <a:lnTo>
                        <a:pt x="68" y="58"/>
                      </a:lnTo>
                      <a:lnTo>
                        <a:pt x="64" y="56"/>
                      </a:lnTo>
                      <a:lnTo>
                        <a:pt x="63" y="56"/>
                      </a:lnTo>
                      <a:lnTo>
                        <a:pt x="61" y="57"/>
                      </a:lnTo>
                      <a:lnTo>
                        <a:pt x="58" y="57"/>
                      </a:lnTo>
                      <a:lnTo>
                        <a:pt x="57" y="56"/>
                      </a:lnTo>
                      <a:lnTo>
                        <a:pt x="56" y="55"/>
                      </a:lnTo>
                      <a:lnTo>
                        <a:pt x="57" y="52"/>
                      </a:lnTo>
                      <a:lnTo>
                        <a:pt x="59" y="50"/>
                      </a:lnTo>
                      <a:lnTo>
                        <a:pt x="61" y="46"/>
                      </a:lnTo>
                      <a:lnTo>
                        <a:pt x="61" y="44"/>
                      </a:lnTo>
                      <a:lnTo>
                        <a:pt x="59" y="42"/>
                      </a:lnTo>
                      <a:lnTo>
                        <a:pt x="56" y="39"/>
                      </a:lnTo>
                      <a:lnTo>
                        <a:pt x="54" y="40"/>
                      </a:lnTo>
                      <a:lnTo>
                        <a:pt x="52" y="40"/>
                      </a:lnTo>
                      <a:lnTo>
                        <a:pt x="48" y="44"/>
                      </a:lnTo>
                      <a:lnTo>
                        <a:pt x="44" y="48"/>
                      </a:lnTo>
                      <a:lnTo>
                        <a:pt x="43" y="48"/>
                      </a:lnTo>
                      <a:lnTo>
                        <a:pt x="42" y="46"/>
                      </a:lnTo>
                      <a:lnTo>
                        <a:pt x="40" y="42"/>
                      </a:lnTo>
                      <a:lnTo>
                        <a:pt x="39" y="37"/>
                      </a:lnTo>
                      <a:lnTo>
                        <a:pt x="40" y="32"/>
                      </a:lnTo>
                      <a:lnTo>
                        <a:pt x="43" y="31"/>
                      </a:lnTo>
                      <a:lnTo>
                        <a:pt x="44" y="30"/>
                      </a:lnTo>
                      <a:lnTo>
                        <a:pt x="49" y="27"/>
                      </a:lnTo>
                      <a:lnTo>
                        <a:pt x="53" y="24"/>
                      </a:lnTo>
                      <a:lnTo>
                        <a:pt x="56" y="19"/>
                      </a:lnTo>
                      <a:lnTo>
                        <a:pt x="56" y="14"/>
                      </a:lnTo>
                      <a:lnTo>
                        <a:pt x="57" y="13"/>
                      </a:lnTo>
                      <a:lnTo>
                        <a:pt x="58" y="12"/>
                      </a:lnTo>
                      <a:lnTo>
                        <a:pt x="61" y="11"/>
                      </a:lnTo>
                      <a:lnTo>
                        <a:pt x="63" y="10"/>
                      </a:lnTo>
                      <a:lnTo>
                        <a:pt x="66" y="8"/>
                      </a:lnTo>
                      <a:lnTo>
                        <a:pt x="67" y="6"/>
                      </a:lnTo>
                      <a:lnTo>
                        <a:pt x="68" y="4"/>
                      </a:lnTo>
                      <a:lnTo>
                        <a:pt x="70" y="2"/>
                      </a:lnTo>
                      <a:lnTo>
                        <a:pt x="68" y="0"/>
                      </a:lnTo>
                      <a:lnTo>
                        <a:pt x="66" y="1"/>
                      </a:lnTo>
                      <a:lnTo>
                        <a:pt x="61" y="2"/>
                      </a:lnTo>
                      <a:lnTo>
                        <a:pt x="57" y="1"/>
                      </a:lnTo>
                      <a:lnTo>
                        <a:pt x="53" y="1"/>
                      </a:lnTo>
                      <a:lnTo>
                        <a:pt x="49" y="5"/>
                      </a:lnTo>
                      <a:lnTo>
                        <a:pt x="45" y="7"/>
                      </a:lnTo>
                      <a:lnTo>
                        <a:pt x="40" y="8"/>
                      </a:lnTo>
                      <a:lnTo>
                        <a:pt x="36" y="10"/>
                      </a:lnTo>
                      <a:lnTo>
                        <a:pt x="31" y="15"/>
                      </a:lnTo>
                      <a:lnTo>
                        <a:pt x="28" y="24"/>
                      </a:lnTo>
                      <a:lnTo>
                        <a:pt x="25" y="34"/>
                      </a:lnTo>
                      <a:lnTo>
                        <a:pt x="24" y="44"/>
                      </a:lnTo>
                      <a:lnTo>
                        <a:pt x="23" y="46"/>
                      </a:lnTo>
                      <a:lnTo>
                        <a:pt x="21" y="48"/>
                      </a:lnTo>
                      <a:lnTo>
                        <a:pt x="19" y="49"/>
                      </a:lnTo>
                      <a:lnTo>
                        <a:pt x="17" y="50"/>
                      </a:lnTo>
                      <a:lnTo>
                        <a:pt x="17" y="53"/>
                      </a:lnTo>
                      <a:lnTo>
                        <a:pt x="16" y="57"/>
                      </a:lnTo>
                      <a:lnTo>
                        <a:pt x="12" y="63"/>
                      </a:lnTo>
                      <a:lnTo>
                        <a:pt x="7" y="68"/>
                      </a:lnTo>
                      <a:lnTo>
                        <a:pt x="1" y="71"/>
                      </a:lnTo>
                      <a:lnTo>
                        <a:pt x="1" y="72"/>
                      </a:lnTo>
                      <a:lnTo>
                        <a:pt x="2" y="74"/>
                      </a:lnTo>
                      <a:lnTo>
                        <a:pt x="6" y="76"/>
                      </a:lnTo>
                      <a:lnTo>
                        <a:pt x="7" y="77"/>
                      </a:lnTo>
                      <a:lnTo>
                        <a:pt x="6" y="80"/>
                      </a:lnTo>
                      <a:lnTo>
                        <a:pt x="3" y="83"/>
                      </a:lnTo>
                      <a:lnTo>
                        <a:pt x="0" y="88"/>
                      </a:lnTo>
                      <a:lnTo>
                        <a:pt x="0" y="93"/>
                      </a:lnTo>
                      <a:lnTo>
                        <a:pt x="0" y="97"/>
                      </a:lnTo>
                      <a:lnTo>
                        <a:pt x="2" y="98"/>
                      </a:lnTo>
                      <a:lnTo>
                        <a:pt x="3" y="98"/>
                      </a:lnTo>
                      <a:lnTo>
                        <a:pt x="10" y="95"/>
                      </a:lnTo>
                      <a:lnTo>
                        <a:pt x="14" y="93"/>
                      </a:lnTo>
                      <a:lnTo>
                        <a:pt x="17" y="93"/>
                      </a:lnTo>
                      <a:lnTo>
                        <a:pt x="24" y="93"/>
                      </a:lnTo>
                      <a:lnTo>
                        <a:pt x="30" y="94"/>
                      </a:lnTo>
                      <a:lnTo>
                        <a:pt x="38" y="95"/>
                      </a:lnTo>
                      <a:lnTo>
                        <a:pt x="44" y="95"/>
                      </a:lnTo>
                      <a:lnTo>
                        <a:pt x="47" y="94"/>
                      </a:lnTo>
                      <a:lnTo>
                        <a:pt x="49" y="93"/>
                      </a:lnTo>
                      <a:lnTo>
                        <a:pt x="54" y="90"/>
                      </a:lnTo>
                      <a:lnTo>
                        <a:pt x="56" y="90"/>
                      </a:lnTo>
                      <a:lnTo>
                        <a:pt x="56" y="91"/>
                      </a:lnTo>
                      <a:lnTo>
                        <a:pt x="57" y="94"/>
                      </a:lnTo>
                      <a:lnTo>
                        <a:pt x="58" y="96"/>
                      </a:lnTo>
                      <a:lnTo>
                        <a:pt x="59" y="98"/>
                      </a:lnTo>
                      <a:lnTo>
                        <a:pt x="62" y="98"/>
                      </a:lnTo>
                      <a:lnTo>
                        <a:pt x="64" y="97"/>
                      </a:lnTo>
                      <a:lnTo>
                        <a:pt x="70" y="94"/>
                      </a:lnTo>
                      <a:lnTo>
                        <a:pt x="72" y="93"/>
                      </a:lnTo>
                      <a:lnTo>
                        <a:pt x="75" y="94"/>
                      </a:lnTo>
                      <a:lnTo>
                        <a:pt x="76" y="95"/>
                      </a:lnTo>
                      <a:lnTo>
                        <a:pt x="76" y="96"/>
                      </a:lnTo>
                      <a:lnTo>
                        <a:pt x="73" y="97"/>
                      </a:lnTo>
                      <a:lnTo>
                        <a:pt x="70" y="101"/>
                      </a:lnTo>
                      <a:lnTo>
                        <a:pt x="67" y="104"/>
                      </a:lnTo>
                      <a:lnTo>
                        <a:pt x="63" y="108"/>
                      </a:lnTo>
                      <a:lnTo>
                        <a:pt x="61" y="112"/>
                      </a:lnTo>
                      <a:lnTo>
                        <a:pt x="57" y="112"/>
                      </a:lnTo>
                      <a:lnTo>
                        <a:pt x="53" y="113"/>
                      </a:lnTo>
                      <a:lnTo>
                        <a:pt x="50" y="114"/>
                      </a:lnTo>
                      <a:lnTo>
                        <a:pt x="50" y="115"/>
                      </a:lnTo>
                      <a:lnTo>
                        <a:pt x="50" y="116"/>
                      </a:lnTo>
                      <a:lnTo>
                        <a:pt x="53" y="119"/>
                      </a:lnTo>
                      <a:lnTo>
                        <a:pt x="56" y="119"/>
                      </a:lnTo>
                      <a:lnTo>
                        <a:pt x="62" y="117"/>
                      </a:lnTo>
                      <a:lnTo>
                        <a:pt x="67" y="115"/>
                      </a:lnTo>
                      <a:lnTo>
                        <a:pt x="71" y="112"/>
                      </a:lnTo>
                      <a:lnTo>
                        <a:pt x="76" y="106"/>
                      </a:lnTo>
                      <a:lnTo>
                        <a:pt x="80" y="100"/>
                      </a:lnTo>
                      <a:lnTo>
                        <a:pt x="85" y="95"/>
                      </a:lnTo>
                      <a:lnTo>
                        <a:pt x="87" y="93"/>
                      </a:lnTo>
                      <a:lnTo>
                        <a:pt x="91" y="93"/>
                      </a:lnTo>
                      <a:lnTo>
                        <a:pt x="92" y="93"/>
                      </a:lnTo>
                      <a:lnTo>
                        <a:pt x="92" y="94"/>
                      </a:lnTo>
                      <a:lnTo>
                        <a:pt x="92" y="96"/>
                      </a:lnTo>
                      <a:lnTo>
                        <a:pt x="90" y="101"/>
                      </a:lnTo>
                      <a:lnTo>
                        <a:pt x="86" y="106"/>
                      </a:lnTo>
                      <a:lnTo>
                        <a:pt x="83" y="109"/>
                      </a:lnTo>
                      <a:lnTo>
                        <a:pt x="85" y="112"/>
                      </a:lnTo>
                      <a:lnTo>
                        <a:pt x="86" y="114"/>
                      </a:lnTo>
                      <a:lnTo>
                        <a:pt x="87" y="114"/>
                      </a:lnTo>
                      <a:lnTo>
                        <a:pt x="89" y="114"/>
                      </a:lnTo>
                      <a:lnTo>
                        <a:pt x="90" y="112"/>
                      </a:lnTo>
                      <a:lnTo>
                        <a:pt x="92" y="109"/>
                      </a:lnTo>
                      <a:lnTo>
                        <a:pt x="94" y="109"/>
                      </a:lnTo>
                      <a:lnTo>
                        <a:pt x="95" y="110"/>
                      </a:lnTo>
                      <a:lnTo>
                        <a:pt x="97" y="112"/>
                      </a:lnTo>
                      <a:lnTo>
                        <a:pt x="97" y="115"/>
                      </a:lnTo>
                      <a:lnTo>
                        <a:pt x="96" y="12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4" name="Freeform 908"/>
                <p:cNvSpPr>
                  <a:spLocks/>
                </p:cNvSpPr>
                <p:nvPr/>
              </p:nvSpPr>
              <p:spPr bwMode="auto">
                <a:xfrm>
                  <a:off x="2475349" y="1671939"/>
                  <a:ext cx="691101" cy="361089"/>
                </a:xfrm>
                <a:custGeom>
                  <a:avLst/>
                  <a:gdLst>
                    <a:gd name="T0" fmla="*/ 2147483647 w 505"/>
                    <a:gd name="T1" fmla="*/ 2147483647 h 244"/>
                    <a:gd name="T2" fmla="*/ 2147483647 w 505"/>
                    <a:gd name="T3" fmla="*/ 2147483647 h 244"/>
                    <a:gd name="T4" fmla="*/ 2147483647 w 505"/>
                    <a:gd name="T5" fmla="*/ 2147483647 h 244"/>
                    <a:gd name="T6" fmla="*/ 2147483647 w 505"/>
                    <a:gd name="T7" fmla="*/ 2147483647 h 244"/>
                    <a:gd name="T8" fmla="*/ 2147483647 w 505"/>
                    <a:gd name="T9" fmla="*/ 2147483647 h 244"/>
                    <a:gd name="T10" fmla="*/ 2147483647 w 505"/>
                    <a:gd name="T11" fmla="*/ 2147483647 h 244"/>
                    <a:gd name="T12" fmla="*/ 2147483647 w 505"/>
                    <a:gd name="T13" fmla="*/ 2147483647 h 244"/>
                    <a:gd name="T14" fmla="*/ 2147483647 w 505"/>
                    <a:gd name="T15" fmla="*/ 2147483647 h 244"/>
                    <a:gd name="T16" fmla="*/ 2147483647 w 505"/>
                    <a:gd name="T17" fmla="*/ 2147483647 h 244"/>
                    <a:gd name="T18" fmla="*/ 2147483647 w 505"/>
                    <a:gd name="T19" fmla="*/ 2147483647 h 244"/>
                    <a:gd name="T20" fmla="*/ 2147483647 w 505"/>
                    <a:gd name="T21" fmla="*/ 2147483647 h 244"/>
                    <a:gd name="T22" fmla="*/ 2147483647 w 505"/>
                    <a:gd name="T23" fmla="*/ 2147483647 h 244"/>
                    <a:gd name="T24" fmla="*/ 2147483647 w 505"/>
                    <a:gd name="T25" fmla="*/ 2147483647 h 244"/>
                    <a:gd name="T26" fmla="*/ 2147483647 w 505"/>
                    <a:gd name="T27" fmla="*/ 2147483647 h 244"/>
                    <a:gd name="T28" fmla="*/ 2147483647 w 505"/>
                    <a:gd name="T29" fmla="*/ 2147483647 h 244"/>
                    <a:gd name="T30" fmla="*/ 2147483647 w 505"/>
                    <a:gd name="T31" fmla="*/ 2147483647 h 244"/>
                    <a:gd name="T32" fmla="*/ 2147483647 w 505"/>
                    <a:gd name="T33" fmla="*/ 2147483647 h 244"/>
                    <a:gd name="T34" fmla="*/ 2147483647 w 505"/>
                    <a:gd name="T35" fmla="*/ 2147483647 h 244"/>
                    <a:gd name="T36" fmla="*/ 2147483647 w 505"/>
                    <a:gd name="T37" fmla="*/ 2147483647 h 244"/>
                    <a:gd name="T38" fmla="*/ 2147483647 w 505"/>
                    <a:gd name="T39" fmla="*/ 2147483647 h 244"/>
                    <a:gd name="T40" fmla="*/ 2147483647 w 505"/>
                    <a:gd name="T41" fmla="*/ 2147483647 h 244"/>
                    <a:gd name="T42" fmla="*/ 2147483647 w 505"/>
                    <a:gd name="T43" fmla="*/ 2147483647 h 244"/>
                    <a:gd name="T44" fmla="*/ 2147483647 w 505"/>
                    <a:gd name="T45" fmla="*/ 2147483647 h 244"/>
                    <a:gd name="T46" fmla="*/ 2147483647 w 505"/>
                    <a:gd name="T47" fmla="*/ 2147483647 h 244"/>
                    <a:gd name="T48" fmla="*/ 2147483647 w 505"/>
                    <a:gd name="T49" fmla="*/ 2147483647 h 244"/>
                    <a:gd name="T50" fmla="*/ 2147483647 w 505"/>
                    <a:gd name="T51" fmla="*/ 2147483647 h 244"/>
                    <a:gd name="T52" fmla="*/ 2147483647 w 505"/>
                    <a:gd name="T53" fmla="*/ 2147483647 h 244"/>
                    <a:gd name="T54" fmla="*/ 2147483647 w 505"/>
                    <a:gd name="T55" fmla="*/ 2147483647 h 244"/>
                    <a:gd name="T56" fmla="*/ 2147483647 w 505"/>
                    <a:gd name="T57" fmla="*/ 2147483647 h 244"/>
                    <a:gd name="T58" fmla="*/ 2147483647 w 505"/>
                    <a:gd name="T59" fmla="*/ 2147483647 h 244"/>
                    <a:gd name="T60" fmla="*/ 2147483647 w 505"/>
                    <a:gd name="T61" fmla="*/ 2147483647 h 244"/>
                    <a:gd name="T62" fmla="*/ 2147483647 w 505"/>
                    <a:gd name="T63" fmla="*/ 2147483647 h 244"/>
                    <a:gd name="T64" fmla="*/ 2147483647 w 505"/>
                    <a:gd name="T65" fmla="*/ 2147483647 h 244"/>
                    <a:gd name="T66" fmla="*/ 2147483647 w 505"/>
                    <a:gd name="T67" fmla="*/ 2147483647 h 244"/>
                    <a:gd name="T68" fmla="*/ 2147483647 w 505"/>
                    <a:gd name="T69" fmla="*/ 2147483647 h 244"/>
                    <a:gd name="T70" fmla="*/ 2147483647 w 505"/>
                    <a:gd name="T71" fmla="*/ 2147483647 h 244"/>
                    <a:gd name="T72" fmla="*/ 2147483647 w 505"/>
                    <a:gd name="T73" fmla="*/ 2147483647 h 244"/>
                    <a:gd name="T74" fmla="*/ 2147483647 w 505"/>
                    <a:gd name="T75" fmla="*/ 2147483647 h 244"/>
                    <a:gd name="T76" fmla="*/ 2147483647 w 505"/>
                    <a:gd name="T77" fmla="*/ 2147483647 h 244"/>
                    <a:gd name="T78" fmla="*/ 2147483647 w 505"/>
                    <a:gd name="T79" fmla="*/ 2147483647 h 244"/>
                    <a:gd name="T80" fmla="*/ 2147483647 w 505"/>
                    <a:gd name="T81" fmla="*/ 2147483647 h 244"/>
                    <a:gd name="T82" fmla="*/ 2147483647 w 505"/>
                    <a:gd name="T83" fmla="*/ 2147483647 h 244"/>
                    <a:gd name="T84" fmla="*/ 2147483647 w 505"/>
                    <a:gd name="T85" fmla="*/ 2147483647 h 244"/>
                    <a:gd name="T86" fmla="*/ 2147483647 w 505"/>
                    <a:gd name="T87" fmla="*/ 2147483647 h 244"/>
                    <a:gd name="T88" fmla="*/ 2147483647 w 505"/>
                    <a:gd name="T89" fmla="*/ 2147483647 h 244"/>
                    <a:gd name="T90" fmla="*/ 2147483647 w 505"/>
                    <a:gd name="T91" fmla="*/ 2147483647 h 244"/>
                    <a:gd name="T92" fmla="*/ 2147483647 w 505"/>
                    <a:gd name="T93" fmla="*/ 2147483647 h 244"/>
                    <a:gd name="T94" fmla="*/ 2147483647 w 505"/>
                    <a:gd name="T95" fmla="*/ 2147483647 h 244"/>
                    <a:gd name="T96" fmla="*/ 2147483647 w 505"/>
                    <a:gd name="T97" fmla="*/ 2147483647 h 244"/>
                    <a:gd name="T98" fmla="*/ 2147483647 w 505"/>
                    <a:gd name="T99" fmla="*/ 2147483647 h 244"/>
                    <a:gd name="T100" fmla="*/ 2147483647 w 505"/>
                    <a:gd name="T101" fmla="*/ 2147483647 h 244"/>
                    <a:gd name="T102" fmla="*/ 2147483647 w 505"/>
                    <a:gd name="T103" fmla="*/ 2147483647 h 244"/>
                    <a:gd name="T104" fmla="*/ 2147483647 w 505"/>
                    <a:gd name="T105" fmla="*/ 2147483647 h 244"/>
                    <a:gd name="T106" fmla="*/ 2147483647 w 505"/>
                    <a:gd name="T107" fmla="*/ 2147483647 h 244"/>
                    <a:gd name="T108" fmla="*/ 2147483647 w 505"/>
                    <a:gd name="T109" fmla="*/ 2147483647 h 244"/>
                    <a:gd name="T110" fmla="*/ 2147483647 w 505"/>
                    <a:gd name="T111" fmla="*/ 2147483647 h 244"/>
                    <a:gd name="T112" fmla="*/ 2147483647 w 505"/>
                    <a:gd name="T113" fmla="*/ 2147483647 h 244"/>
                    <a:gd name="T114" fmla="*/ 2147483647 w 505"/>
                    <a:gd name="T115" fmla="*/ 2147483647 h 244"/>
                    <a:gd name="T116" fmla="*/ 2147483647 w 505"/>
                    <a:gd name="T117" fmla="*/ 2147483647 h 2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05"/>
                    <a:gd name="T178" fmla="*/ 0 h 244"/>
                    <a:gd name="T179" fmla="*/ 505 w 505"/>
                    <a:gd name="T180" fmla="*/ 244 h 24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05" h="244">
                      <a:moveTo>
                        <a:pt x="465" y="69"/>
                      </a:moveTo>
                      <a:lnTo>
                        <a:pt x="459" y="71"/>
                      </a:lnTo>
                      <a:lnTo>
                        <a:pt x="451" y="72"/>
                      </a:lnTo>
                      <a:lnTo>
                        <a:pt x="443" y="74"/>
                      </a:lnTo>
                      <a:lnTo>
                        <a:pt x="436" y="77"/>
                      </a:lnTo>
                      <a:lnTo>
                        <a:pt x="433" y="77"/>
                      </a:lnTo>
                      <a:lnTo>
                        <a:pt x="429" y="77"/>
                      </a:lnTo>
                      <a:lnTo>
                        <a:pt x="427" y="77"/>
                      </a:lnTo>
                      <a:lnTo>
                        <a:pt x="423" y="78"/>
                      </a:lnTo>
                      <a:lnTo>
                        <a:pt x="420" y="82"/>
                      </a:lnTo>
                      <a:lnTo>
                        <a:pt x="418" y="85"/>
                      </a:lnTo>
                      <a:lnTo>
                        <a:pt x="414" y="89"/>
                      </a:lnTo>
                      <a:lnTo>
                        <a:pt x="413" y="89"/>
                      </a:lnTo>
                      <a:lnTo>
                        <a:pt x="410" y="89"/>
                      </a:lnTo>
                      <a:lnTo>
                        <a:pt x="406" y="88"/>
                      </a:lnTo>
                      <a:lnTo>
                        <a:pt x="405" y="88"/>
                      </a:lnTo>
                      <a:lnTo>
                        <a:pt x="403" y="88"/>
                      </a:lnTo>
                      <a:lnTo>
                        <a:pt x="398" y="90"/>
                      </a:lnTo>
                      <a:lnTo>
                        <a:pt x="391" y="91"/>
                      </a:lnTo>
                      <a:lnTo>
                        <a:pt x="386" y="92"/>
                      </a:lnTo>
                      <a:lnTo>
                        <a:pt x="381" y="94"/>
                      </a:lnTo>
                      <a:lnTo>
                        <a:pt x="377" y="95"/>
                      </a:lnTo>
                      <a:lnTo>
                        <a:pt x="373" y="96"/>
                      </a:lnTo>
                      <a:lnTo>
                        <a:pt x="371" y="95"/>
                      </a:lnTo>
                      <a:lnTo>
                        <a:pt x="367" y="94"/>
                      </a:lnTo>
                      <a:lnTo>
                        <a:pt x="365" y="94"/>
                      </a:lnTo>
                      <a:lnTo>
                        <a:pt x="363" y="94"/>
                      </a:lnTo>
                      <a:lnTo>
                        <a:pt x="361" y="98"/>
                      </a:lnTo>
                      <a:lnTo>
                        <a:pt x="358" y="101"/>
                      </a:lnTo>
                      <a:lnTo>
                        <a:pt x="354" y="103"/>
                      </a:lnTo>
                      <a:lnTo>
                        <a:pt x="349" y="103"/>
                      </a:lnTo>
                      <a:lnTo>
                        <a:pt x="353" y="107"/>
                      </a:lnTo>
                      <a:lnTo>
                        <a:pt x="354" y="109"/>
                      </a:lnTo>
                      <a:lnTo>
                        <a:pt x="353" y="111"/>
                      </a:lnTo>
                      <a:lnTo>
                        <a:pt x="353" y="113"/>
                      </a:lnTo>
                      <a:lnTo>
                        <a:pt x="351" y="113"/>
                      </a:lnTo>
                      <a:lnTo>
                        <a:pt x="347" y="113"/>
                      </a:lnTo>
                      <a:lnTo>
                        <a:pt x="345" y="110"/>
                      </a:lnTo>
                      <a:lnTo>
                        <a:pt x="344" y="110"/>
                      </a:lnTo>
                      <a:lnTo>
                        <a:pt x="342" y="111"/>
                      </a:lnTo>
                      <a:lnTo>
                        <a:pt x="339" y="111"/>
                      </a:lnTo>
                      <a:lnTo>
                        <a:pt x="334" y="111"/>
                      </a:lnTo>
                      <a:lnTo>
                        <a:pt x="334" y="113"/>
                      </a:lnTo>
                      <a:lnTo>
                        <a:pt x="333" y="113"/>
                      </a:lnTo>
                      <a:lnTo>
                        <a:pt x="335" y="117"/>
                      </a:lnTo>
                      <a:lnTo>
                        <a:pt x="335" y="120"/>
                      </a:lnTo>
                      <a:lnTo>
                        <a:pt x="335" y="121"/>
                      </a:lnTo>
                      <a:lnTo>
                        <a:pt x="330" y="122"/>
                      </a:lnTo>
                      <a:lnTo>
                        <a:pt x="326" y="122"/>
                      </a:lnTo>
                      <a:lnTo>
                        <a:pt x="321" y="123"/>
                      </a:lnTo>
                      <a:lnTo>
                        <a:pt x="318" y="126"/>
                      </a:lnTo>
                      <a:lnTo>
                        <a:pt x="315" y="126"/>
                      </a:lnTo>
                      <a:lnTo>
                        <a:pt x="311" y="122"/>
                      </a:lnTo>
                      <a:lnTo>
                        <a:pt x="306" y="121"/>
                      </a:lnTo>
                      <a:lnTo>
                        <a:pt x="301" y="120"/>
                      </a:lnTo>
                      <a:lnTo>
                        <a:pt x="296" y="117"/>
                      </a:lnTo>
                      <a:lnTo>
                        <a:pt x="295" y="117"/>
                      </a:lnTo>
                      <a:lnTo>
                        <a:pt x="293" y="117"/>
                      </a:lnTo>
                      <a:lnTo>
                        <a:pt x="292" y="119"/>
                      </a:lnTo>
                      <a:lnTo>
                        <a:pt x="293" y="120"/>
                      </a:lnTo>
                      <a:lnTo>
                        <a:pt x="295" y="121"/>
                      </a:lnTo>
                      <a:lnTo>
                        <a:pt x="297" y="122"/>
                      </a:lnTo>
                      <a:lnTo>
                        <a:pt x="300" y="122"/>
                      </a:lnTo>
                      <a:lnTo>
                        <a:pt x="302" y="123"/>
                      </a:lnTo>
                      <a:lnTo>
                        <a:pt x="304" y="126"/>
                      </a:lnTo>
                      <a:lnTo>
                        <a:pt x="304" y="127"/>
                      </a:lnTo>
                      <a:lnTo>
                        <a:pt x="302" y="128"/>
                      </a:lnTo>
                      <a:lnTo>
                        <a:pt x="300" y="128"/>
                      </a:lnTo>
                      <a:lnTo>
                        <a:pt x="299" y="127"/>
                      </a:lnTo>
                      <a:lnTo>
                        <a:pt x="297" y="127"/>
                      </a:lnTo>
                      <a:lnTo>
                        <a:pt x="295" y="127"/>
                      </a:lnTo>
                      <a:lnTo>
                        <a:pt x="291" y="129"/>
                      </a:lnTo>
                      <a:lnTo>
                        <a:pt x="286" y="130"/>
                      </a:lnTo>
                      <a:lnTo>
                        <a:pt x="276" y="130"/>
                      </a:lnTo>
                      <a:lnTo>
                        <a:pt x="265" y="129"/>
                      </a:lnTo>
                      <a:lnTo>
                        <a:pt x="257" y="126"/>
                      </a:lnTo>
                      <a:lnTo>
                        <a:pt x="252" y="126"/>
                      </a:lnTo>
                      <a:lnTo>
                        <a:pt x="246" y="124"/>
                      </a:lnTo>
                      <a:lnTo>
                        <a:pt x="243" y="123"/>
                      </a:lnTo>
                      <a:lnTo>
                        <a:pt x="240" y="123"/>
                      </a:lnTo>
                      <a:lnTo>
                        <a:pt x="239" y="123"/>
                      </a:lnTo>
                      <a:lnTo>
                        <a:pt x="239" y="126"/>
                      </a:lnTo>
                      <a:lnTo>
                        <a:pt x="239" y="127"/>
                      </a:lnTo>
                      <a:lnTo>
                        <a:pt x="243" y="129"/>
                      </a:lnTo>
                      <a:lnTo>
                        <a:pt x="246" y="130"/>
                      </a:lnTo>
                      <a:lnTo>
                        <a:pt x="250" y="132"/>
                      </a:lnTo>
                      <a:lnTo>
                        <a:pt x="254" y="134"/>
                      </a:lnTo>
                      <a:lnTo>
                        <a:pt x="259" y="136"/>
                      </a:lnTo>
                      <a:lnTo>
                        <a:pt x="265" y="138"/>
                      </a:lnTo>
                      <a:lnTo>
                        <a:pt x="271" y="139"/>
                      </a:lnTo>
                      <a:lnTo>
                        <a:pt x="276" y="140"/>
                      </a:lnTo>
                      <a:lnTo>
                        <a:pt x="278" y="141"/>
                      </a:lnTo>
                      <a:lnTo>
                        <a:pt x="278" y="143"/>
                      </a:lnTo>
                      <a:lnTo>
                        <a:pt x="268" y="142"/>
                      </a:lnTo>
                      <a:lnTo>
                        <a:pt x="258" y="141"/>
                      </a:lnTo>
                      <a:lnTo>
                        <a:pt x="248" y="140"/>
                      </a:lnTo>
                      <a:lnTo>
                        <a:pt x="239" y="138"/>
                      </a:lnTo>
                      <a:lnTo>
                        <a:pt x="235" y="135"/>
                      </a:lnTo>
                      <a:lnTo>
                        <a:pt x="232" y="133"/>
                      </a:lnTo>
                      <a:lnTo>
                        <a:pt x="230" y="133"/>
                      </a:lnTo>
                      <a:lnTo>
                        <a:pt x="229" y="133"/>
                      </a:lnTo>
                      <a:lnTo>
                        <a:pt x="226" y="136"/>
                      </a:lnTo>
                      <a:lnTo>
                        <a:pt x="226" y="139"/>
                      </a:lnTo>
                      <a:lnTo>
                        <a:pt x="227" y="141"/>
                      </a:lnTo>
                      <a:lnTo>
                        <a:pt x="231" y="143"/>
                      </a:lnTo>
                      <a:lnTo>
                        <a:pt x="235" y="146"/>
                      </a:lnTo>
                      <a:lnTo>
                        <a:pt x="243" y="146"/>
                      </a:lnTo>
                      <a:lnTo>
                        <a:pt x="241" y="148"/>
                      </a:lnTo>
                      <a:lnTo>
                        <a:pt x="239" y="149"/>
                      </a:lnTo>
                      <a:lnTo>
                        <a:pt x="235" y="151"/>
                      </a:lnTo>
                      <a:lnTo>
                        <a:pt x="232" y="152"/>
                      </a:lnTo>
                      <a:lnTo>
                        <a:pt x="231" y="154"/>
                      </a:lnTo>
                      <a:lnTo>
                        <a:pt x="231" y="155"/>
                      </a:lnTo>
                      <a:lnTo>
                        <a:pt x="234" y="157"/>
                      </a:lnTo>
                      <a:lnTo>
                        <a:pt x="239" y="158"/>
                      </a:lnTo>
                      <a:lnTo>
                        <a:pt x="243" y="158"/>
                      </a:lnTo>
                      <a:lnTo>
                        <a:pt x="252" y="155"/>
                      </a:lnTo>
                      <a:lnTo>
                        <a:pt x="254" y="157"/>
                      </a:lnTo>
                      <a:lnTo>
                        <a:pt x="255" y="157"/>
                      </a:lnTo>
                      <a:lnTo>
                        <a:pt x="259" y="153"/>
                      </a:lnTo>
                      <a:lnTo>
                        <a:pt x="262" y="153"/>
                      </a:lnTo>
                      <a:lnTo>
                        <a:pt x="263" y="153"/>
                      </a:lnTo>
                      <a:lnTo>
                        <a:pt x="271" y="157"/>
                      </a:lnTo>
                      <a:lnTo>
                        <a:pt x="276" y="158"/>
                      </a:lnTo>
                      <a:lnTo>
                        <a:pt x="279" y="159"/>
                      </a:lnTo>
                      <a:lnTo>
                        <a:pt x="281" y="159"/>
                      </a:lnTo>
                      <a:lnTo>
                        <a:pt x="281" y="160"/>
                      </a:lnTo>
                      <a:lnTo>
                        <a:pt x="279" y="162"/>
                      </a:lnTo>
                      <a:lnTo>
                        <a:pt x="278" y="162"/>
                      </a:lnTo>
                      <a:lnTo>
                        <a:pt x="277" y="162"/>
                      </a:lnTo>
                      <a:lnTo>
                        <a:pt x="274" y="162"/>
                      </a:lnTo>
                      <a:lnTo>
                        <a:pt x="271" y="165"/>
                      </a:lnTo>
                      <a:lnTo>
                        <a:pt x="267" y="166"/>
                      </a:lnTo>
                      <a:lnTo>
                        <a:pt x="259" y="168"/>
                      </a:lnTo>
                      <a:lnTo>
                        <a:pt x="258" y="170"/>
                      </a:lnTo>
                      <a:lnTo>
                        <a:pt x="255" y="172"/>
                      </a:lnTo>
                      <a:lnTo>
                        <a:pt x="254" y="173"/>
                      </a:lnTo>
                      <a:lnTo>
                        <a:pt x="250" y="173"/>
                      </a:lnTo>
                      <a:lnTo>
                        <a:pt x="248" y="173"/>
                      </a:lnTo>
                      <a:lnTo>
                        <a:pt x="246" y="173"/>
                      </a:lnTo>
                      <a:lnTo>
                        <a:pt x="243" y="174"/>
                      </a:lnTo>
                      <a:lnTo>
                        <a:pt x="239" y="174"/>
                      </a:lnTo>
                      <a:lnTo>
                        <a:pt x="235" y="173"/>
                      </a:lnTo>
                      <a:lnTo>
                        <a:pt x="232" y="172"/>
                      </a:lnTo>
                      <a:lnTo>
                        <a:pt x="229" y="172"/>
                      </a:lnTo>
                      <a:lnTo>
                        <a:pt x="227" y="172"/>
                      </a:lnTo>
                      <a:lnTo>
                        <a:pt x="227" y="184"/>
                      </a:lnTo>
                      <a:lnTo>
                        <a:pt x="226" y="190"/>
                      </a:lnTo>
                      <a:lnTo>
                        <a:pt x="224" y="194"/>
                      </a:lnTo>
                      <a:lnTo>
                        <a:pt x="222" y="196"/>
                      </a:lnTo>
                      <a:lnTo>
                        <a:pt x="219" y="196"/>
                      </a:lnTo>
                      <a:lnTo>
                        <a:pt x="211" y="196"/>
                      </a:lnTo>
                      <a:lnTo>
                        <a:pt x="203" y="196"/>
                      </a:lnTo>
                      <a:lnTo>
                        <a:pt x="196" y="198"/>
                      </a:lnTo>
                      <a:lnTo>
                        <a:pt x="187" y="198"/>
                      </a:lnTo>
                      <a:lnTo>
                        <a:pt x="183" y="197"/>
                      </a:lnTo>
                      <a:lnTo>
                        <a:pt x="179" y="196"/>
                      </a:lnTo>
                      <a:lnTo>
                        <a:pt x="172" y="190"/>
                      </a:lnTo>
                      <a:lnTo>
                        <a:pt x="168" y="187"/>
                      </a:lnTo>
                      <a:lnTo>
                        <a:pt x="163" y="186"/>
                      </a:lnTo>
                      <a:lnTo>
                        <a:pt x="163" y="189"/>
                      </a:lnTo>
                      <a:lnTo>
                        <a:pt x="164" y="189"/>
                      </a:lnTo>
                      <a:lnTo>
                        <a:pt x="164" y="190"/>
                      </a:lnTo>
                      <a:lnTo>
                        <a:pt x="168" y="196"/>
                      </a:lnTo>
                      <a:lnTo>
                        <a:pt x="170" y="202"/>
                      </a:lnTo>
                      <a:lnTo>
                        <a:pt x="173" y="204"/>
                      </a:lnTo>
                      <a:lnTo>
                        <a:pt x="175" y="205"/>
                      </a:lnTo>
                      <a:lnTo>
                        <a:pt x="179" y="206"/>
                      </a:lnTo>
                      <a:lnTo>
                        <a:pt x="183" y="205"/>
                      </a:lnTo>
                      <a:lnTo>
                        <a:pt x="194" y="204"/>
                      </a:lnTo>
                      <a:lnTo>
                        <a:pt x="199" y="204"/>
                      </a:lnTo>
                      <a:lnTo>
                        <a:pt x="205" y="206"/>
                      </a:lnTo>
                      <a:lnTo>
                        <a:pt x="216" y="216"/>
                      </a:lnTo>
                      <a:lnTo>
                        <a:pt x="222" y="221"/>
                      </a:lnTo>
                      <a:lnTo>
                        <a:pt x="229" y="223"/>
                      </a:lnTo>
                      <a:lnTo>
                        <a:pt x="229" y="224"/>
                      </a:lnTo>
                      <a:lnTo>
                        <a:pt x="227" y="225"/>
                      </a:lnTo>
                      <a:lnTo>
                        <a:pt x="217" y="228"/>
                      </a:lnTo>
                      <a:lnTo>
                        <a:pt x="210" y="232"/>
                      </a:lnTo>
                      <a:lnTo>
                        <a:pt x="201" y="237"/>
                      </a:lnTo>
                      <a:lnTo>
                        <a:pt x="193" y="241"/>
                      </a:lnTo>
                      <a:lnTo>
                        <a:pt x="188" y="243"/>
                      </a:lnTo>
                      <a:lnTo>
                        <a:pt x="185" y="244"/>
                      </a:lnTo>
                      <a:lnTo>
                        <a:pt x="183" y="243"/>
                      </a:lnTo>
                      <a:lnTo>
                        <a:pt x="182" y="242"/>
                      </a:lnTo>
                      <a:lnTo>
                        <a:pt x="180" y="239"/>
                      </a:lnTo>
                      <a:lnTo>
                        <a:pt x="180" y="236"/>
                      </a:lnTo>
                      <a:lnTo>
                        <a:pt x="179" y="232"/>
                      </a:lnTo>
                      <a:lnTo>
                        <a:pt x="178" y="232"/>
                      </a:lnTo>
                      <a:lnTo>
                        <a:pt x="175" y="231"/>
                      </a:lnTo>
                      <a:lnTo>
                        <a:pt x="172" y="232"/>
                      </a:lnTo>
                      <a:lnTo>
                        <a:pt x="168" y="231"/>
                      </a:lnTo>
                      <a:lnTo>
                        <a:pt x="155" y="229"/>
                      </a:lnTo>
                      <a:lnTo>
                        <a:pt x="150" y="229"/>
                      </a:lnTo>
                      <a:lnTo>
                        <a:pt x="146" y="230"/>
                      </a:lnTo>
                      <a:lnTo>
                        <a:pt x="144" y="232"/>
                      </a:lnTo>
                      <a:lnTo>
                        <a:pt x="141" y="232"/>
                      </a:lnTo>
                      <a:lnTo>
                        <a:pt x="141" y="234"/>
                      </a:lnTo>
                      <a:lnTo>
                        <a:pt x="140" y="234"/>
                      </a:lnTo>
                      <a:lnTo>
                        <a:pt x="137" y="234"/>
                      </a:lnTo>
                      <a:lnTo>
                        <a:pt x="136" y="231"/>
                      </a:lnTo>
                      <a:lnTo>
                        <a:pt x="135" y="230"/>
                      </a:lnTo>
                      <a:lnTo>
                        <a:pt x="130" y="230"/>
                      </a:lnTo>
                      <a:lnTo>
                        <a:pt x="123" y="230"/>
                      </a:lnTo>
                      <a:lnTo>
                        <a:pt x="118" y="230"/>
                      </a:lnTo>
                      <a:lnTo>
                        <a:pt x="117" y="229"/>
                      </a:lnTo>
                      <a:lnTo>
                        <a:pt x="116" y="228"/>
                      </a:lnTo>
                      <a:lnTo>
                        <a:pt x="114" y="224"/>
                      </a:lnTo>
                      <a:lnTo>
                        <a:pt x="111" y="223"/>
                      </a:lnTo>
                      <a:lnTo>
                        <a:pt x="108" y="224"/>
                      </a:lnTo>
                      <a:lnTo>
                        <a:pt x="104" y="225"/>
                      </a:lnTo>
                      <a:lnTo>
                        <a:pt x="102" y="228"/>
                      </a:lnTo>
                      <a:lnTo>
                        <a:pt x="102" y="229"/>
                      </a:lnTo>
                      <a:lnTo>
                        <a:pt x="103" y="230"/>
                      </a:lnTo>
                      <a:lnTo>
                        <a:pt x="104" y="232"/>
                      </a:lnTo>
                      <a:lnTo>
                        <a:pt x="105" y="234"/>
                      </a:lnTo>
                      <a:lnTo>
                        <a:pt x="104" y="236"/>
                      </a:lnTo>
                      <a:lnTo>
                        <a:pt x="103" y="237"/>
                      </a:lnTo>
                      <a:lnTo>
                        <a:pt x="102" y="237"/>
                      </a:lnTo>
                      <a:lnTo>
                        <a:pt x="100" y="237"/>
                      </a:lnTo>
                      <a:lnTo>
                        <a:pt x="93" y="235"/>
                      </a:lnTo>
                      <a:lnTo>
                        <a:pt x="85" y="235"/>
                      </a:lnTo>
                      <a:lnTo>
                        <a:pt x="71" y="237"/>
                      </a:lnTo>
                      <a:lnTo>
                        <a:pt x="70" y="236"/>
                      </a:lnTo>
                      <a:lnTo>
                        <a:pt x="69" y="235"/>
                      </a:lnTo>
                      <a:lnTo>
                        <a:pt x="66" y="232"/>
                      </a:lnTo>
                      <a:lnTo>
                        <a:pt x="64" y="232"/>
                      </a:lnTo>
                      <a:lnTo>
                        <a:pt x="61" y="234"/>
                      </a:lnTo>
                      <a:lnTo>
                        <a:pt x="59" y="235"/>
                      </a:lnTo>
                      <a:lnTo>
                        <a:pt x="55" y="235"/>
                      </a:lnTo>
                      <a:lnTo>
                        <a:pt x="51" y="234"/>
                      </a:lnTo>
                      <a:lnTo>
                        <a:pt x="48" y="235"/>
                      </a:lnTo>
                      <a:lnTo>
                        <a:pt x="45" y="235"/>
                      </a:lnTo>
                      <a:lnTo>
                        <a:pt x="41" y="234"/>
                      </a:lnTo>
                      <a:lnTo>
                        <a:pt x="38" y="231"/>
                      </a:lnTo>
                      <a:lnTo>
                        <a:pt x="38" y="228"/>
                      </a:lnTo>
                      <a:lnTo>
                        <a:pt x="38" y="224"/>
                      </a:lnTo>
                      <a:lnTo>
                        <a:pt x="39" y="221"/>
                      </a:lnTo>
                      <a:lnTo>
                        <a:pt x="41" y="221"/>
                      </a:lnTo>
                      <a:lnTo>
                        <a:pt x="43" y="223"/>
                      </a:lnTo>
                      <a:lnTo>
                        <a:pt x="47" y="219"/>
                      </a:lnTo>
                      <a:lnTo>
                        <a:pt x="50" y="215"/>
                      </a:lnTo>
                      <a:lnTo>
                        <a:pt x="51" y="215"/>
                      </a:lnTo>
                      <a:lnTo>
                        <a:pt x="55" y="215"/>
                      </a:lnTo>
                      <a:lnTo>
                        <a:pt x="59" y="215"/>
                      </a:lnTo>
                      <a:lnTo>
                        <a:pt x="62" y="213"/>
                      </a:lnTo>
                      <a:lnTo>
                        <a:pt x="64" y="210"/>
                      </a:lnTo>
                      <a:lnTo>
                        <a:pt x="57" y="207"/>
                      </a:lnTo>
                      <a:lnTo>
                        <a:pt x="52" y="204"/>
                      </a:lnTo>
                      <a:lnTo>
                        <a:pt x="50" y="199"/>
                      </a:lnTo>
                      <a:lnTo>
                        <a:pt x="48" y="197"/>
                      </a:lnTo>
                      <a:lnTo>
                        <a:pt x="50" y="193"/>
                      </a:lnTo>
                      <a:lnTo>
                        <a:pt x="51" y="191"/>
                      </a:lnTo>
                      <a:lnTo>
                        <a:pt x="55" y="190"/>
                      </a:lnTo>
                      <a:lnTo>
                        <a:pt x="62" y="187"/>
                      </a:lnTo>
                      <a:lnTo>
                        <a:pt x="65" y="186"/>
                      </a:lnTo>
                      <a:lnTo>
                        <a:pt x="69" y="187"/>
                      </a:lnTo>
                      <a:lnTo>
                        <a:pt x="74" y="189"/>
                      </a:lnTo>
                      <a:lnTo>
                        <a:pt x="80" y="192"/>
                      </a:lnTo>
                      <a:lnTo>
                        <a:pt x="85" y="196"/>
                      </a:lnTo>
                      <a:lnTo>
                        <a:pt x="90" y="199"/>
                      </a:lnTo>
                      <a:lnTo>
                        <a:pt x="93" y="199"/>
                      </a:lnTo>
                      <a:lnTo>
                        <a:pt x="95" y="199"/>
                      </a:lnTo>
                      <a:lnTo>
                        <a:pt x="99" y="198"/>
                      </a:lnTo>
                      <a:lnTo>
                        <a:pt x="103" y="198"/>
                      </a:lnTo>
                      <a:lnTo>
                        <a:pt x="108" y="198"/>
                      </a:lnTo>
                      <a:lnTo>
                        <a:pt x="116" y="197"/>
                      </a:lnTo>
                      <a:lnTo>
                        <a:pt x="122" y="194"/>
                      </a:lnTo>
                      <a:lnTo>
                        <a:pt x="123" y="192"/>
                      </a:lnTo>
                      <a:lnTo>
                        <a:pt x="125" y="190"/>
                      </a:lnTo>
                      <a:lnTo>
                        <a:pt x="125" y="187"/>
                      </a:lnTo>
                      <a:lnTo>
                        <a:pt x="126" y="184"/>
                      </a:lnTo>
                      <a:lnTo>
                        <a:pt x="130" y="178"/>
                      </a:lnTo>
                      <a:lnTo>
                        <a:pt x="132" y="174"/>
                      </a:lnTo>
                      <a:lnTo>
                        <a:pt x="133" y="173"/>
                      </a:lnTo>
                      <a:lnTo>
                        <a:pt x="132" y="173"/>
                      </a:lnTo>
                      <a:lnTo>
                        <a:pt x="122" y="177"/>
                      </a:lnTo>
                      <a:lnTo>
                        <a:pt x="117" y="183"/>
                      </a:lnTo>
                      <a:lnTo>
                        <a:pt x="113" y="185"/>
                      </a:lnTo>
                      <a:lnTo>
                        <a:pt x="107" y="185"/>
                      </a:lnTo>
                      <a:lnTo>
                        <a:pt x="100" y="184"/>
                      </a:lnTo>
                      <a:lnTo>
                        <a:pt x="95" y="181"/>
                      </a:lnTo>
                      <a:lnTo>
                        <a:pt x="92" y="179"/>
                      </a:lnTo>
                      <a:lnTo>
                        <a:pt x="92" y="175"/>
                      </a:lnTo>
                      <a:lnTo>
                        <a:pt x="93" y="171"/>
                      </a:lnTo>
                      <a:lnTo>
                        <a:pt x="92" y="170"/>
                      </a:lnTo>
                      <a:lnTo>
                        <a:pt x="90" y="171"/>
                      </a:lnTo>
                      <a:lnTo>
                        <a:pt x="86" y="174"/>
                      </a:lnTo>
                      <a:lnTo>
                        <a:pt x="83" y="177"/>
                      </a:lnTo>
                      <a:lnTo>
                        <a:pt x="79" y="178"/>
                      </a:lnTo>
                      <a:lnTo>
                        <a:pt x="75" y="178"/>
                      </a:lnTo>
                      <a:lnTo>
                        <a:pt x="71" y="178"/>
                      </a:lnTo>
                      <a:lnTo>
                        <a:pt x="67" y="179"/>
                      </a:lnTo>
                      <a:lnTo>
                        <a:pt x="60" y="181"/>
                      </a:lnTo>
                      <a:lnTo>
                        <a:pt x="56" y="183"/>
                      </a:lnTo>
                      <a:lnTo>
                        <a:pt x="52" y="181"/>
                      </a:lnTo>
                      <a:lnTo>
                        <a:pt x="50" y="180"/>
                      </a:lnTo>
                      <a:lnTo>
                        <a:pt x="48" y="179"/>
                      </a:lnTo>
                      <a:lnTo>
                        <a:pt x="48" y="177"/>
                      </a:lnTo>
                      <a:lnTo>
                        <a:pt x="48" y="174"/>
                      </a:lnTo>
                      <a:lnTo>
                        <a:pt x="56" y="165"/>
                      </a:lnTo>
                      <a:lnTo>
                        <a:pt x="57" y="164"/>
                      </a:lnTo>
                      <a:lnTo>
                        <a:pt x="60" y="162"/>
                      </a:lnTo>
                      <a:lnTo>
                        <a:pt x="65" y="161"/>
                      </a:lnTo>
                      <a:lnTo>
                        <a:pt x="66" y="160"/>
                      </a:lnTo>
                      <a:lnTo>
                        <a:pt x="67" y="158"/>
                      </a:lnTo>
                      <a:lnTo>
                        <a:pt x="70" y="154"/>
                      </a:lnTo>
                      <a:lnTo>
                        <a:pt x="71" y="152"/>
                      </a:lnTo>
                      <a:lnTo>
                        <a:pt x="74" y="152"/>
                      </a:lnTo>
                      <a:lnTo>
                        <a:pt x="78" y="155"/>
                      </a:lnTo>
                      <a:lnTo>
                        <a:pt x="80" y="157"/>
                      </a:lnTo>
                      <a:lnTo>
                        <a:pt x="83" y="157"/>
                      </a:lnTo>
                      <a:lnTo>
                        <a:pt x="85" y="155"/>
                      </a:lnTo>
                      <a:lnTo>
                        <a:pt x="86" y="153"/>
                      </a:lnTo>
                      <a:lnTo>
                        <a:pt x="89" y="153"/>
                      </a:lnTo>
                      <a:lnTo>
                        <a:pt x="92" y="154"/>
                      </a:lnTo>
                      <a:lnTo>
                        <a:pt x="94" y="155"/>
                      </a:lnTo>
                      <a:lnTo>
                        <a:pt x="97" y="155"/>
                      </a:lnTo>
                      <a:lnTo>
                        <a:pt x="100" y="154"/>
                      </a:lnTo>
                      <a:lnTo>
                        <a:pt x="104" y="154"/>
                      </a:lnTo>
                      <a:lnTo>
                        <a:pt x="107" y="154"/>
                      </a:lnTo>
                      <a:lnTo>
                        <a:pt x="111" y="154"/>
                      </a:lnTo>
                      <a:lnTo>
                        <a:pt x="112" y="153"/>
                      </a:lnTo>
                      <a:lnTo>
                        <a:pt x="113" y="151"/>
                      </a:lnTo>
                      <a:lnTo>
                        <a:pt x="116" y="151"/>
                      </a:lnTo>
                      <a:lnTo>
                        <a:pt x="119" y="152"/>
                      </a:lnTo>
                      <a:lnTo>
                        <a:pt x="121" y="152"/>
                      </a:lnTo>
                      <a:lnTo>
                        <a:pt x="123" y="151"/>
                      </a:lnTo>
                      <a:lnTo>
                        <a:pt x="128" y="147"/>
                      </a:lnTo>
                      <a:lnTo>
                        <a:pt x="130" y="145"/>
                      </a:lnTo>
                      <a:lnTo>
                        <a:pt x="130" y="142"/>
                      </a:lnTo>
                      <a:lnTo>
                        <a:pt x="128" y="141"/>
                      </a:lnTo>
                      <a:lnTo>
                        <a:pt x="122" y="145"/>
                      </a:lnTo>
                      <a:lnTo>
                        <a:pt x="116" y="147"/>
                      </a:lnTo>
                      <a:lnTo>
                        <a:pt x="109" y="147"/>
                      </a:lnTo>
                      <a:lnTo>
                        <a:pt x="103" y="146"/>
                      </a:lnTo>
                      <a:lnTo>
                        <a:pt x="98" y="145"/>
                      </a:lnTo>
                      <a:lnTo>
                        <a:pt x="93" y="145"/>
                      </a:lnTo>
                      <a:lnTo>
                        <a:pt x="88" y="146"/>
                      </a:lnTo>
                      <a:lnTo>
                        <a:pt x="84" y="145"/>
                      </a:lnTo>
                      <a:lnTo>
                        <a:pt x="83" y="143"/>
                      </a:lnTo>
                      <a:lnTo>
                        <a:pt x="81" y="142"/>
                      </a:lnTo>
                      <a:lnTo>
                        <a:pt x="81" y="139"/>
                      </a:lnTo>
                      <a:lnTo>
                        <a:pt x="83" y="134"/>
                      </a:lnTo>
                      <a:lnTo>
                        <a:pt x="83" y="130"/>
                      </a:lnTo>
                      <a:lnTo>
                        <a:pt x="79" y="128"/>
                      </a:lnTo>
                      <a:lnTo>
                        <a:pt x="76" y="128"/>
                      </a:lnTo>
                      <a:lnTo>
                        <a:pt x="72" y="128"/>
                      </a:lnTo>
                      <a:lnTo>
                        <a:pt x="69" y="128"/>
                      </a:lnTo>
                      <a:lnTo>
                        <a:pt x="67" y="126"/>
                      </a:lnTo>
                      <a:lnTo>
                        <a:pt x="65" y="123"/>
                      </a:lnTo>
                      <a:lnTo>
                        <a:pt x="64" y="117"/>
                      </a:lnTo>
                      <a:lnTo>
                        <a:pt x="64" y="111"/>
                      </a:lnTo>
                      <a:lnTo>
                        <a:pt x="65" y="107"/>
                      </a:lnTo>
                      <a:lnTo>
                        <a:pt x="67" y="104"/>
                      </a:lnTo>
                      <a:lnTo>
                        <a:pt x="71" y="102"/>
                      </a:lnTo>
                      <a:lnTo>
                        <a:pt x="76" y="102"/>
                      </a:lnTo>
                      <a:lnTo>
                        <a:pt x="81" y="103"/>
                      </a:lnTo>
                      <a:lnTo>
                        <a:pt x="92" y="104"/>
                      </a:lnTo>
                      <a:lnTo>
                        <a:pt x="98" y="106"/>
                      </a:lnTo>
                      <a:lnTo>
                        <a:pt x="103" y="104"/>
                      </a:lnTo>
                      <a:lnTo>
                        <a:pt x="114" y="103"/>
                      </a:lnTo>
                      <a:lnTo>
                        <a:pt x="119" y="103"/>
                      </a:lnTo>
                      <a:lnTo>
                        <a:pt x="126" y="104"/>
                      </a:lnTo>
                      <a:lnTo>
                        <a:pt x="128" y="106"/>
                      </a:lnTo>
                      <a:lnTo>
                        <a:pt x="131" y="108"/>
                      </a:lnTo>
                      <a:lnTo>
                        <a:pt x="133" y="114"/>
                      </a:lnTo>
                      <a:lnTo>
                        <a:pt x="136" y="119"/>
                      </a:lnTo>
                      <a:lnTo>
                        <a:pt x="137" y="121"/>
                      </a:lnTo>
                      <a:lnTo>
                        <a:pt x="140" y="123"/>
                      </a:lnTo>
                      <a:lnTo>
                        <a:pt x="144" y="123"/>
                      </a:lnTo>
                      <a:lnTo>
                        <a:pt x="147" y="124"/>
                      </a:lnTo>
                      <a:lnTo>
                        <a:pt x="151" y="129"/>
                      </a:lnTo>
                      <a:lnTo>
                        <a:pt x="154" y="132"/>
                      </a:lnTo>
                      <a:lnTo>
                        <a:pt x="158" y="133"/>
                      </a:lnTo>
                      <a:lnTo>
                        <a:pt x="164" y="133"/>
                      </a:lnTo>
                      <a:lnTo>
                        <a:pt x="170" y="133"/>
                      </a:lnTo>
                      <a:lnTo>
                        <a:pt x="177" y="130"/>
                      </a:lnTo>
                      <a:lnTo>
                        <a:pt x="182" y="127"/>
                      </a:lnTo>
                      <a:lnTo>
                        <a:pt x="174" y="124"/>
                      </a:lnTo>
                      <a:lnTo>
                        <a:pt x="165" y="122"/>
                      </a:lnTo>
                      <a:lnTo>
                        <a:pt x="161" y="121"/>
                      </a:lnTo>
                      <a:lnTo>
                        <a:pt x="159" y="117"/>
                      </a:lnTo>
                      <a:lnTo>
                        <a:pt x="156" y="115"/>
                      </a:lnTo>
                      <a:lnTo>
                        <a:pt x="156" y="110"/>
                      </a:lnTo>
                      <a:lnTo>
                        <a:pt x="156" y="109"/>
                      </a:lnTo>
                      <a:lnTo>
                        <a:pt x="154" y="108"/>
                      </a:lnTo>
                      <a:lnTo>
                        <a:pt x="151" y="107"/>
                      </a:lnTo>
                      <a:lnTo>
                        <a:pt x="150" y="106"/>
                      </a:lnTo>
                      <a:lnTo>
                        <a:pt x="151" y="102"/>
                      </a:lnTo>
                      <a:lnTo>
                        <a:pt x="152" y="101"/>
                      </a:lnTo>
                      <a:lnTo>
                        <a:pt x="155" y="100"/>
                      </a:lnTo>
                      <a:lnTo>
                        <a:pt x="159" y="100"/>
                      </a:lnTo>
                      <a:lnTo>
                        <a:pt x="163" y="100"/>
                      </a:lnTo>
                      <a:lnTo>
                        <a:pt x="170" y="97"/>
                      </a:lnTo>
                      <a:lnTo>
                        <a:pt x="179" y="96"/>
                      </a:lnTo>
                      <a:lnTo>
                        <a:pt x="194" y="96"/>
                      </a:lnTo>
                      <a:lnTo>
                        <a:pt x="198" y="95"/>
                      </a:lnTo>
                      <a:lnTo>
                        <a:pt x="202" y="92"/>
                      </a:lnTo>
                      <a:lnTo>
                        <a:pt x="206" y="90"/>
                      </a:lnTo>
                      <a:lnTo>
                        <a:pt x="208" y="88"/>
                      </a:lnTo>
                      <a:lnTo>
                        <a:pt x="215" y="87"/>
                      </a:lnTo>
                      <a:lnTo>
                        <a:pt x="221" y="87"/>
                      </a:lnTo>
                      <a:lnTo>
                        <a:pt x="227" y="87"/>
                      </a:lnTo>
                      <a:lnTo>
                        <a:pt x="234" y="84"/>
                      </a:lnTo>
                      <a:lnTo>
                        <a:pt x="235" y="83"/>
                      </a:lnTo>
                      <a:lnTo>
                        <a:pt x="235" y="82"/>
                      </a:lnTo>
                      <a:lnTo>
                        <a:pt x="235" y="79"/>
                      </a:lnTo>
                      <a:lnTo>
                        <a:pt x="234" y="79"/>
                      </a:lnTo>
                      <a:lnTo>
                        <a:pt x="227" y="78"/>
                      </a:lnTo>
                      <a:lnTo>
                        <a:pt x="220" y="79"/>
                      </a:lnTo>
                      <a:lnTo>
                        <a:pt x="213" y="81"/>
                      </a:lnTo>
                      <a:lnTo>
                        <a:pt x="210" y="81"/>
                      </a:lnTo>
                      <a:lnTo>
                        <a:pt x="207" y="79"/>
                      </a:lnTo>
                      <a:lnTo>
                        <a:pt x="208" y="77"/>
                      </a:lnTo>
                      <a:lnTo>
                        <a:pt x="221" y="72"/>
                      </a:lnTo>
                      <a:lnTo>
                        <a:pt x="226" y="70"/>
                      </a:lnTo>
                      <a:lnTo>
                        <a:pt x="226" y="69"/>
                      </a:lnTo>
                      <a:lnTo>
                        <a:pt x="221" y="66"/>
                      </a:lnTo>
                      <a:lnTo>
                        <a:pt x="216" y="65"/>
                      </a:lnTo>
                      <a:lnTo>
                        <a:pt x="211" y="66"/>
                      </a:lnTo>
                      <a:lnTo>
                        <a:pt x="206" y="69"/>
                      </a:lnTo>
                      <a:lnTo>
                        <a:pt x="196" y="76"/>
                      </a:lnTo>
                      <a:lnTo>
                        <a:pt x="187" y="84"/>
                      </a:lnTo>
                      <a:lnTo>
                        <a:pt x="183" y="85"/>
                      </a:lnTo>
                      <a:lnTo>
                        <a:pt x="178" y="87"/>
                      </a:lnTo>
                      <a:lnTo>
                        <a:pt x="147" y="90"/>
                      </a:lnTo>
                      <a:lnTo>
                        <a:pt x="117" y="92"/>
                      </a:lnTo>
                      <a:lnTo>
                        <a:pt x="89" y="92"/>
                      </a:lnTo>
                      <a:lnTo>
                        <a:pt x="75" y="92"/>
                      </a:lnTo>
                      <a:lnTo>
                        <a:pt x="61" y="91"/>
                      </a:lnTo>
                      <a:lnTo>
                        <a:pt x="55" y="89"/>
                      </a:lnTo>
                      <a:lnTo>
                        <a:pt x="52" y="88"/>
                      </a:lnTo>
                      <a:lnTo>
                        <a:pt x="52" y="87"/>
                      </a:lnTo>
                      <a:lnTo>
                        <a:pt x="52" y="85"/>
                      </a:lnTo>
                      <a:lnTo>
                        <a:pt x="56" y="82"/>
                      </a:lnTo>
                      <a:lnTo>
                        <a:pt x="61" y="79"/>
                      </a:lnTo>
                      <a:lnTo>
                        <a:pt x="66" y="76"/>
                      </a:lnTo>
                      <a:lnTo>
                        <a:pt x="70" y="71"/>
                      </a:lnTo>
                      <a:lnTo>
                        <a:pt x="69" y="71"/>
                      </a:lnTo>
                      <a:lnTo>
                        <a:pt x="66" y="71"/>
                      </a:lnTo>
                      <a:lnTo>
                        <a:pt x="64" y="72"/>
                      </a:lnTo>
                      <a:lnTo>
                        <a:pt x="62" y="74"/>
                      </a:lnTo>
                      <a:lnTo>
                        <a:pt x="55" y="75"/>
                      </a:lnTo>
                      <a:lnTo>
                        <a:pt x="48" y="77"/>
                      </a:lnTo>
                      <a:lnTo>
                        <a:pt x="43" y="79"/>
                      </a:lnTo>
                      <a:lnTo>
                        <a:pt x="36" y="82"/>
                      </a:lnTo>
                      <a:lnTo>
                        <a:pt x="33" y="82"/>
                      </a:lnTo>
                      <a:lnTo>
                        <a:pt x="29" y="79"/>
                      </a:lnTo>
                      <a:lnTo>
                        <a:pt x="25" y="77"/>
                      </a:lnTo>
                      <a:lnTo>
                        <a:pt x="23" y="74"/>
                      </a:lnTo>
                      <a:lnTo>
                        <a:pt x="27" y="71"/>
                      </a:lnTo>
                      <a:lnTo>
                        <a:pt x="31" y="69"/>
                      </a:lnTo>
                      <a:lnTo>
                        <a:pt x="37" y="62"/>
                      </a:lnTo>
                      <a:lnTo>
                        <a:pt x="36" y="60"/>
                      </a:lnTo>
                      <a:lnTo>
                        <a:pt x="34" y="60"/>
                      </a:lnTo>
                      <a:lnTo>
                        <a:pt x="32" y="62"/>
                      </a:lnTo>
                      <a:lnTo>
                        <a:pt x="29" y="64"/>
                      </a:lnTo>
                      <a:lnTo>
                        <a:pt x="25" y="65"/>
                      </a:lnTo>
                      <a:lnTo>
                        <a:pt x="23" y="65"/>
                      </a:lnTo>
                      <a:lnTo>
                        <a:pt x="18" y="63"/>
                      </a:lnTo>
                      <a:lnTo>
                        <a:pt x="15" y="63"/>
                      </a:lnTo>
                      <a:lnTo>
                        <a:pt x="13" y="64"/>
                      </a:lnTo>
                      <a:lnTo>
                        <a:pt x="9" y="64"/>
                      </a:lnTo>
                      <a:lnTo>
                        <a:pt x="5" y="64"/>
                      </a:lnTo>
                      <a:lnTo>
                        <a:pt x="4" y="64"/>
                      </a:lnTo>
                      <a:lnTo>
                        <a:pt x="3" y="64"/>
                      </a:lnTo>
                      <a:lnTo>
                        <a:pt x="1" y="60"/>
                      </a:lnTo>
                      <a:lnTo>
                        <a:pt x="0" y="53"/>
                      </a:lnTo>
                      <a:lnTo>
                        <a:pt x="1" y="50"/>
                      </a:lnTo>
                      <a:lnTo>
                        <a:pt x="4" y="47"/>
                      </a:lnTo>
                      <a:lnTo>
                        <a:pt x="8" y="46"/>
                      </a:lnTo>
                      <a:lnTo>
                        <a:pt x="12" y="45"/>
                      </a:lnTo>
                      <a:lnTo>
                        <a:pt x="15" y="46"/>
                      </a:lnTo>
                      <a:lnTo>
                        <a:pt x="18" y="45"/>
                      </a:lnTo>
                      <a:lnTo>
                        <a:pt x="33" y="43"/>
                      </a:lnTo>
                      <a:lnTo>
                        <a:pt x="47" y="43"/>
                      </a:lnTo>
                      <a:lnTo>
                        <a:pt x="52" y="43"/>
                      </a:lnTo>
                      <a:lnTo>
                        <a:pt x="56" y="42"/>
                      </a:lnTo>
                      <a:lnTo>
                        <a:pt x="65" y="40"/>
                      </a:lnTo>
                      <a:lnTo>
                        <a:pt x="72" y="39"/>
                      </a:lnTo>
                      <a:lnTo>
                        <a:pt x="81" y="37"/>
                      </a:lnTo>
                      <a:lnTo>
                        <a:pt x="89" y="37"/>
                      </a:lnTo>
                      <a:lnTo>
                        <a:pt x="100" y="38"/>
                      </a:lnTo>
                      <a:lnTo>
                        <a:pt x="111" y="38"/>
                      </a:lnTo>
                      <a:lnTo>
                        <a:pt x="122" y="37"/>
                      </a:lnTo>
                      <a:lnTo>
                        <a:pt x="131" y="34"/>
                      </a:lnTo>
                      <a:lnTo>
                        <a:pt x="136" y="31"/>
                      </a:lnTo>
                      <a:lnTo>
                        <a:pt x="141" y="26"/>
                      </a:lnTo>
                      <a:lnTo>
                        <a:pt x="146" y="25"/>
                      </a:lnTo>
                      <a:lnTo>
                        <a:pt x="151" y="24"/>
                      </a:lnTo>
                      <a:lnTo>
                        <a:pt x="161" y="21"/>
                      </a:lnTo>
                      <a:lnTo>
                        <a:pt x="168" y="20"/>
                      </a:lnTo>
                      <a:lnTo>
                        <a:pt x="173" y="20"/>
                      </a:lnTo>
                      <a:lnTo>
                        <a:pt x="179" y="19"/>
                      </a:lnTo>
                      <a:lnTo>
                        <a:pt x="185" y="18"/>
                      </a:lnTo>
                      <a:lnTo>
                        <a:pt x="194" y="17"/>
                      </a:lnTo>
                      <a:lnTo>
                        <a:pt x="205" y="17"/>
                      </a:lnTo>
                      <a:lnTo>
                        <a:pt x="213" y="17"/>
                      </a:lnTo>
                      <a:lnTo>
                        <a:pt x="224" y="17"/>
                      </a:lnTo>
                      <a:lnTo>
                        <a:pt x="238" y="15"/>
                      </a:lnTo>
                      <a:lnTo>
                        <a:pt x="252" y="13"/>
                      </a:lnTo>
                      <a:lnTo>
                        <a:pt x="265" y="12"/>
                      </a:lnTo>
                      <a:lnTo>
                        <a:pt x="279" y="12"/>
                      </a:lnTo>
                      <a:lnTo>
                        <a:pt x="290" y="12"/>
                      </a:lnTo>
                      <a:lnTo>
                        <a:pt x="295" y="12"/>
                      </a:lnTo>
                      <a:lnTo>
                        <a:pt x="300" y="11"/>
                      </a:lnTo>
                      <a:lnTo>
                        <a:pt x="306" y="8"/>
                      </a:lnTo>
                      <a:lnTo>
                        <a:pt x="312" y="7"/>
                      </a:lnTo>
                      <a:lnTo>
                        <a:pt x="326" y="4"/>
                      </a:lnTo>
                      <a:lnTo>
                        <a:pt x="328" y="4"/>
                      </a:lnTo>
                      <a:lnTo>
                        <a:pt x="329" y="4"/>
                      </a:lnTo>
                      <a:lnTo>
                        <a:pt x="334" y="9"/>
                      </a:lnTo>
                      <a:lnTo>
                        <a:pt x="337" y="11"/>
                      </a:lnTo>
                      <a:lnTo>
                        <a:pt x="338" y="11"/>
                      </a:lnTo>
                      <a:lnTo>
                        <a:pt x="339" y="9"/>
                      </a:lnTo>
                      <a:lnTo>
                        <a:pt x="348" y="4"/>
                      </a:lnTo>
                      <a:lnTo>
                        <a:pt x="352" y="1"/>
                      </a:lnTo>
                      <a:lnTo>
                        <a:pt x="354" y="0"/>
                      </a:lnTo>
                      <a:lnTo>
                        <a:pt x="372" y="4"/>
                      </a:lnTo>
                      <a:lnTo>
                        <a:pt x="387" y="7"/>
                      </a:lnTo>
                      <a:lnTo>
                        <a:pt x="404" y="8"/>
                      </a:lnTo>
                      <a:lnTo>
                        <a:pt x="423" y="8"/>
                      </a:lnTo>
                      <a:lnTo>
                        <a:pt x="423" y="11"/>
                      </a:lnTo>
                      <a:lnTo>
                        <a:pt x="422" y="11"/>
                      </a:lnTo>
                      <a:lnTo>
                        <a:pt x="418" y="12"/>
                      </a:lnTo>
                      <a:lnTo>
                        <a:pt x="413" y="13"/>
                      </a:lnTo>
                      <a:lnTo>
                        <a:pt x="412" y="14"/>
                      </a:lnTo>
                      <a:lnTo>
                        <a:pt x="410" y="15"/>
                      </a:lnTo>
                      <a:lnTo>
                        <a:pt x="418" y="17"/>
                      </a:lnTo>
                      <a:lnTo>
                        <a:pt x="424" y="15"/>
                      </a:lnTo>
                      <a:lnTo>
                        <a:pt x="439" y="13"/>
                      </a:lnTo>
                      <a:lnTo>
                        <a:pt x="446" y="11"/>
                      </a:lnTo>
                      <a:lnTo>
                        <a:pt x="450" y="11"/>
                      </a:lnTo>
                      <a:lnTo>
                        <a:pt x="452" y="12"/>
                      </a:lnTo>
                      <a:lnTo>
                        <a:pt x="455" y="14"/>
                      </a:lnTo>
                      <a:lnTo>
                        <a:pt x="459" y="17"/>
                      </a:lnTo>
                      <a:lnTo>
                        <a:pt x="462" y="17"/>
                      </a:lnTo>
                      <a:lnTo>
                        <a:pt x="465" y="15"/>
                      </a:lnTo>
                      <a:lnTo>
                        <a:pt x="474" y="14"/>
                      </a:lnTo>
                      <a:lnTo>
                        <a:pt x="478" y="15"/>
                      </a:lnTo>
                      <a:lnTo>
                        <a:pt x="483" y="19"/>
                      </a:lnTo>
                      <a:lnTo>
                        <a:pt x="484" y="19"/>
                      </a:lnTo>
                      <a:lnTo>
                        <a:pt x="485" y="19"/>
                      </a:lnTo>
                      <a:lnTo>
                        <a:pt x="486" y="23"/>
                      </a:lnTo>
                      <a:lnTo>
                        <a:pt x="489" y="25"/>
                      </a:lnTo>
                      <a:lnTo>
                        <a:pt x="493" y="28"/>
                      </a:lnTo>
                      <a:lnTo>
                        <a:pt x="499" y="30"/>
                      </a:lnTo>
                      <a:lnTo>
                        <a:pt x="505" y="31"/>
                      </a:lnTo>
                      <a:lnTo>
                        <a:pt x="505" y="32"/>
                      </a:lnTo>
                      <a:lnTo>
                        <a:pt x="505" y="33"/>
                      </a:lnTo>
                      <a:lnTo>
                        <a:pt x="500" y="36"/>
                      </a:lnTo>
                      <a:lnTo>
                        <a:pt x="497" y="38"/>
                      </a:lnTo>
                      <a:lnTo>
                        <a:pt x="489" y="44"/>
                      </a:lnTo>
                      <a:lnTo>
                        <a:pt x="483" y="46"/>
                      </a:lnTo>
                      <a:lnTo>
                        <a:pt x="476" y="47"/>
                      </a:lnTo>
                      <a:lnTo>
                        <a:pt x="470" y="50"/>
                      </a:lnTo>
                      <a:lnTo>
                        <a:pt x="465" y="52"/>
                      </a:lnTo>
                      <a:lnTo>
                        <a:pt x="461" y="52"/>
                      </a:lnTo>
                      <a:lnTo>
                        <a:pt x="457" y="51"/>
                      </a:lnTo>
                      <a:lnTo>
                        <a:pt x="451" y="49"/>
                      </a:lnTo>
                      <a:lnTo>
                        <a:pt x="446" y="47"/>
                      </a:lnTo>
                      <a:lnTo>
                        <a:pt x="442" y="49"/>
                      </a:lnTo>
                      <a:lnTo>
                        <a:pt x="437" y="50"/>
                      </a:lnTo>
                      <a:lnTo>
                        <a:pt x="432" y="52"/>
                      </a:lnTo>
                      <a:lnTo>
                        <a:pt x="427" y="53"/>
                      </a:lnTo>
                      <a:lnTo>
                        <a:pt x="422" y="55"/>
                      </a:lnTo>
                      <a:lnTo>
                        <a:pt x="410" y="53"/>
                      </a:lnTo>
                      <a:lnTo>
                        <a:pt x="399" y="53"/>
                      </a:lnTo>
                      <a:lnTo>
                        <a:pt x="394" y="55"/>
                      </a:lnTo>
                      <a:lnTo>
                        <a:pt x="389" y="57"/>
                      </a:lnTo>
                      <a:lnTo>
                        <a:pt x="392" y="58"/>
                      </a:lnTo>
                      <a:lnTo>
                        <a:pt x="396" y="59"/>
                      </a:lnTo>
                      <a:lnTo>
                        <a:pt x="404" y="60"/>
                      </a:lnTo>
                      <a:lnTo>
                        <a:pt x="413" y="60"/>
                      </a:lnTo>
                      <a:lnTo>
                        <a:pt x="420" y="62"/>
                      </a:lnTo>
                      <a:lnTo>
                        <a:pt x="419" y="63"/>
                      </a:lnTo>
                      <a:lnTo>
                        <a:pt x="396" y="63"/>
                      </a:lnTo>
                      <a:lnTo>
                        <a:pt x="385" y="65"/>
                      </a:lnTo>
                      <a:lnTo>
                        <a:pt x="380" y="66"/>
                      </a:lnTo>
                      <a:lnTo>
                        <a:pt x="375" y="70"/>
                      </a:lnTo>
                      <a:lnTo>
                        <a:pt x="376" y="72"/>
                      </a:lnTo>
                      <a:lnTo>
                        <a:pt x="377" y="74"/>
                      </a:lnTo>
                      <a:lnTo>
                        <a:pt x="380" y="74"/>
                      </a:lnTo>
                      <a:lnTo>
                        <a:pt x="391" y="75"/>
                      </a:lnTo>
                      <a:lnTo>
                        <a:pt x="410" y="74"/>
                      </a:lnTo>
                      <a:lnTo>
                        <a:pt x="428" y="70"/>
                      </a:lnTo>
                      <a:lnTo>
                        <a:pt x="438" y="68"/>
                      </a:lnTo>
                      <a:lnTo>
                        <a:pt x="448" y="64"/>
                      </a:lnTo>
                      <a:lnTo>
                        <a:pt x="455" y="63"/>
                      </a:lnTo>
                      <a:lnTo>
                        <a:pt x="461" y="63"/>
                      </a:lnTo>
                      <a:lnTo>
                        <a:pt x="462" y="62"/>
                      </a:lnTo>
                      <a:lnTo>
                        <a:pt x="465" y="62"/>
                      </a:lnTo>
                      <a:lnTo>
                        <a:pt x="466" y="60"/>
                      </a:lnTo>
                      <a:lnTo>
                        <a:pt x="469" y="62"/>
                      </a:lnTo>
                      <a:lnTo>
                        <a:pt x="470" y="64"/>
                      </a:lnTo>
                      <a:lnTo>
                        <a:pt x="470" y="66"/>
                      </a:lnTo>
                      <a:lnTo>
                        <a:pt x="469" y="68"/>
                      </a:lnTo>
                      <a:lnTo>
                        <a:pt x="465" y="6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5" name="Freeform 909"/>
                <p:cNvSpPr>
                  <a:spLocks/>
                </p:cNvSpPr>
                <p:nvPr/>
              </p:nvSpPr>
              <p:spPr bwMode="auto">
                <a:xfrm>
                  <a:off x="3222684" y="3023061"/>
                  <a:ext cx="161306" cy="186464"/>
                </a:xfrm>
                <a:custGeom>
                  <a:avLst/>
                  <a:gdLst>
                    <a:gd name="T0" fmla="*/ 2147483647 w 118"/>
                    <a:gd name="T1" fmla="*/ 2147483647 h 126"/>
                    <a:gd name="T2" fmla="*/ 2147483647 w 118"/>
                    <a:gd name="T3" fmla="*/ 2147483647 h 126"/>
                    <a:gd name="T4" fmla="*/ 2147483647 w 118"/>
                    <a:gd name="T5" fmla="*/ 2147483647 h 126"/>
                    <a:gd name="T6" fmla="*/ 2147483647 w 118"/>
                    <a:gd name="T7" fmla="*/ 2147483647 h 126"/>
                    <a:gd name="T8" fmla="*/ 2147483647 w 118"/>
                    <a:gd name="T9" fmla="*/ 2147483647 h 126"/>
                    <a:gd name="T10" fmla="*/ 2147483647 w 118"/>
                    <a:gd name="T11" fmla="*/ 2147483647 h 126"/>
                    <a:gd name="T12" fmla="*/ 2147483647 w 118"/>
                    <a:gd name="T13" fmla="*/ 2147483647 h 126"/>
                    <a:gd name="T14" fmla="*/ 2147483647 w 118"/>
                    <a:gd name="T15" fmla="*/ 2147483647 h 126"/>
                    <a:gd name="T16" fmla="*/ 2147483647 w 118"/>
                    <a:gd name="T17" fmla="*/ 2147483647 h 126"/>
                    <a:gd name="T18" fmla="*/ 2147483647 w 118"/>
                    <a:gd name="T19" fmla="*/ 2147483647 h 126"/>
                    <a:gd name="T20" fmla="*/ 2147483647 w 118"/>
                    <a:gd name="T21" fmla="*/ 2147483647 h 126"/>
                    <a:gd name="T22" fmla="*/ 2147483647 w 118"/>
                    <a:gd name="T23" fmla="*/ 2147483647 h 126"/>
                    <a:gd name="T24" fmla="*/ 2147483647 w 118"/>
                    <a:gd name="T25" fmla="*/ 2147483647 h 126"/>
                    <a:gd name="T26" fmla="*/ 2147483647 w 118"/>
                    <a:gd name="T27" fmla="*/ 2147483647 h 126"/>
                    <a:gd name="T28" fmla="*/ 2147483647 w 118"/>
                    <a:gd name="T29" fmla="*/ 2147483647 h 126"/>
                    <a:gd name="T30" fmla="*/ 2147483647 w 118"/>
                    <a:gd name="T31" fmla="*/ 2147483647 h 126"/>
                    <a:gd name="T32" fmla="*/ 2147483647 w 118"/>
                    <a:gd name="T33" fmla="*/ 2147483647 h 126"/>
                    <a:gd name="T34" fmla="*/ 2147483647 w 118"/>
                    <a:gd name="T35" fmla="*/ 2147483647 h 126"/>
                    <a:gd name="T36" fmla="*/ 2147483647 w 118"/>
                    <a:gd name="T37" fmla="*/ 2147483647 h 126"/>
                    <a:gd name="T38" fmla="*/ 2147483647 w 118"/>
                    <a:gd name="T39" fmla="*/ 2147483647 h 126"/>
                    <a:gd name="T40" fmla="*/ 2147483647 w 118"/>
                    <a:gd name="T41" fmla="*/ 2147483647 h 126"/>
                    <a:gd name="T42" fmla="*/ 2147483647 w 118"/>
                    <a:gd name="T43" fmla="*/ 2147483647 h 126"/>
                    <a:gd name="T44" fmla="*/ 2147483647 w 118"/>
                    <a:gd name="T45" fmla="*/ 2147483647 h 126"/>
                    <a:gd name="T46" fmla="*/ 2147483647 w 118"/>
                    <a:gd name="T47" fmla="*/ 2147483647 h 126"/>
                    <a:gd name="T48" fmla="*/ 2147483647 w 118"/>
                    <a:gd name="T49" fmla="*/ 2147483647 h 126"/>
                    <a:gd name="T50" fmla="*/ 2147483647 w 118"/>
                    <a:gd name="T51" fmla="*/ 2147483647 h 126"/>
                    <a:gd name="T52" fmla="*/ 2147483647 w 118"/>
                    <a:gd name="T53" fmla="*/ 2147483647 h 126"/>
                    <a:gd name="T54" fmla="*/ 2147483647 w 118"/>
                    <a:gd name="T55" fmla="*/ 2147483647 h 126"/>
                    <a:gd name="T56" fmla="*/ 2147483647 w 118"/>
                    <a:gd name="T57" fmla="*/ 2147483647 h 126"/>
                    <a:gd name="T58" fmla="*/ 2147483647 w 118"/>
                    <a:gd name="T59" fmla="*/ 2147483647 h 126"/>
                    <a:gd name="T60" fmla="*/ 2147483647 w 118"/>
                    <a:gd name="T61" fmla="*/ 2147483647 h 126"/>
                    <a:gd name="T62" fmla="*/ 2147483647 w 118"/>
                    <a:gd name="T63" fmla="*/ 2147483647 h 126"/>
                    <a:gd name="T64" fmla="*/ 2147483647 w 118"/>
                    <a:gd name="T65" fmla="*/ 2147483647 h 126"/>
                    <a:gd name="T66" fmla="*/ 2147483647 w 118"/>
                    <a:gd name="T67" fmla="*/ 2147483647 h 126"/>
                    <a:gd name="T68" fmla="*/ 2147483647 w 118"/>
                    <a:gd name="T69" fmla="*/ 2147483647 h 126"/>
                    <a:gd name="T70" fmla="*/ 2147483647 w 118"/>
                    <a:gd name="T71" fmla="*/ 2147483647 h 126"/>
                    <a:gd name="T72" fmla="*/ 2147483647 w 118"/>
                    <a:gd name="T73" fmla="*/ 2147483647 h 126"/>
                    <a:gd name="T74" fmla="*/ 0 w 118"/>
                    <a:gd name="T75" fmla="*/ 2147483647 h 126"/>
                    <a:gd name="T76" fmla="*/ 2147483647 w 118"/>
                    <a:gd name="T77" fmla="*/ 2147483647 h 126"/>
                    <a:gd name="T78" fmla="*/ 2147483647 w 118"/>
                    <a:gd name="T79" fmla="*/ 2147483647 h 126"/>
                    <a:gd name="T80" fmla="*/ 2147483647 w 118"/>
                    <a:gd name="T81" fmla="*/ 2147483647 h 126"/>
                    <a:gd name="T82" fmla="*/ 2147483647 w 118"/>
                    <a:gd name="T83" fmla="*/ 2147483647 h 126"/>
                    <a:gd name="T84" fmla="*/ 2147483647 w 118"/>
                    <a:gd name="T85" fmla="*/ 2147483647 h 126"/>
                    <a:gd name="T86" fmla="*/ 2147483647 w 118"/>
                    <a:gd name="T87" fmla="*/ 2147483647 h 126"/>
                    <a:gd name="T88" fmla="*/ 2147483647 w 118"/>
                    <a:gd name="T89" fmla="*/ 2147483647 h 126"/>
                    <a:gd name="T90" fmla="*/ 2147483647 w 118"/>
                    <a:gd name="T91" fmla="*/ 2147483647 h 126"/>
                    <a:gd name="T92" fmla="*/ 2147483647 w 118"/>
                    <a:gd name="T93" fmla="*/ 2147483647 h 126"/>
                    <a:gd name="T94" fmla="*/ 2147483647 w 118"/>
                    <a:gd name="T95" fmla="*/ 2147483647 h 126"/>
                    <a:gd name="T96" fmla="*/ 2147483647 w 118"/>
                    <a:gd name="T97" fmla="*/ 2147483647 h 126"/>
                    <a:gd name="T98" fmla="*/ 2147483647 w 118"/>
                    <a:gd name="T99" fmla="*/ 2147483647 h 126"/>
                    <a:gd name="T100" fmla="*/ 2147483647 w 118"/>
                    <a:gd name="T101" fmla="*/ 2147483647 h 126"/>
                    <a:gd name="T102" fmla="*/ 2147483647 w 118"/>
                    <a:gd name="T103" fmla="*/ 2147483647 h 126"/>
                    <a:gd name="T104" fmla="*/ 2147483647 w 118"/>
                    <a:gd name="T105" fmla="*/ 2147483647 h 126"/>
                    <a:gd name="T106" fmla="*/ 2147483647 w 118"/>
                    <a:gd name="T107" fmla="*/ 2147483647 h 126"/>
                    <a:gd name="T108" fmla="*/ 2147483647 w 118"/>
                    <a:gd name="T109" fmla="*/ 2147483647 h 126"/>
                    <a:gd name="T110" fmla="*/ 2147483647 w 118"/>
                    <a:gd name="T111" fmla="*/ 2147483647 h 126"/>
                    <a:gd name="T112" fmla="*/ 2147483647 w 118"/>
                    <a:gd name="T113" fmla="*/ 2147483647 h 126"/>
                    <a:gd name="T114" fmla="*/ 2147483647 w 118"/>
                    <a:gd name="T115" fmla="*/ 2147483647 h 1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
                    <a:gd name="T175" fmla="*/ 0 h 126"/>
                    <a:gd name="T176" fmla="*/ 118 w 118"/>
                    <a:gd name="T177" fmla="*/ 126 h 1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 h="126">
                      <a:moveTo>
                        <a:pt x="97" y="121"/>
                      </a:moveTo>
                      <a:lnTo>
                        <a:pt x="97" y="121"/>
                      </a:lnTo>
                      <a:lnTo>
                        <a:pt x="98" y="124"/>
                      </a:lnTo>
                      <a:lnTo>
                        <a:pt x="99" y="126"/>
                      </a:lnTo>
                      <a:lnTo>
                        <a:pt x="101" y="126"/>
                      </a:lnTo>
                      <a:lnTo>
                        <a:pt x="103" y="124"/>
                      </a:lnTo>
                      <a:lnTo>
                        <a:pt x="105" y="121"/>
                      </a:lnTo>
                      <a:lnTo>
                        <a:pt x="106" y="115"/>
                      </a:lnTo>
                      <a:lnTo>
                        <a:pt x="110" y="109"/>
                      </a:lnTo>
                      <a:lnTo>
                        <a:pt x="113" y="103"/>
                      </a:lnTo>
                      <a:lnTo>
                        <a:pt x="118" y="98"/>
                      </a:lnTo>
                      <a:lnTo>
                        <a:pt x="113" y="95"/>
                      </a:lnTo>
                      <a:lnTo>
                        <a:pt x="112" y="94"/>
                      </a:lnTo>
                      <a:lnTo>
                        <a:pt x="113" y="90"/>
                      </a:lnTo>
                      <a:lnTo>
                        <a:pt x="117" y="84"/>
                      </a:lnTo>
                      <a:lnTo>
                        <a:pt x="117" y="81"/>
                      </a:lnTo>
                      <a:lnTo>
                        <a:pt x="117" y="79"/>
                      </a:lnTo>
                      <a:lnTo>
                        <a:pt x="116" y="78"/>
                      </a:lnTo>
                      <a:lnTo>
                        <a:pt x="113" y="77"/>
                      </a:lnTo>
                      <a:lnTo>
                        <a:pt x="110" y="78"/>
                      </a:lnTo>
                      <a:lnTo>
                        <a:pt x="105" y="83"/>
                      </a:lnTo>
                      <a:lnTo>
                        <a:pt x="103" y="83"/>
                      </a:lnTo>
                      <a:lnTo>
                        <a:pt x="102" y="82"/>
                      </a:lnTo>
                      <a:lnTo>
                        <a:pt x="103" y="78"/>
                      </a:lnTo>
                      <a:lnTo>
                        <a:pt x="105" y="76"/>
                      </a:lnTo>
                      <a:lnTo>
                        <a:pt x="102" y="75"/>
                      </a:lnTo>
                      <a:lnTo>
                        <a:pt x="101" y="75"/>
                      </a:lnTo>
                      <a:lnTo>
                        <a:pt x="99" y="75"/>
                      </a:lnTo>
                      <a:lnTo>
                        <a:pt x="98" y="76"/>
                      </a:lnTo>
                      <a:lnTo>
                        <a:pt x="96" y="76"/>
                      </a:lnTo>
                      <a:lnTo>
                        <a:pt x="94" y="75"/>
                      </a:lnTo>
                      <a:lnTo>
                        <a:pt x="93" y="72"/>
                      </a:lnTo>
                      <a:lnTo>
                        <a:pt x="93" y="69"/>
                      </a:lnTo>
                      <a:lnTo>
                        <a:pt x="93" y="65"/>
                      </a:lnTo>
                      <a:lnTo>
                        <a:pt x="93" y="62"/>
                      </a:lnTo>
                      <a:lnTo>
                        <a:pt x="91" y="59"/>
                      </a:lnTo>
                      <a:lnTo>
                        <a:pt x="89" y="59"/>
                      </a:lnTo>
                      <a:lnTo>
                        <a:pt x="89" y="58"/>
                      </a:lnTo>
                      <a:lnTo>
                        <a:pt x="89" y="56"/>
                      </a:lnTo>
                      <a:lnTo>
                        <a:pt x="91" y="53"/>
                      </a:lnTo>
                      <a:lnTo>
                        <a:pt x="92" y="51"/>
                      </a:lnTo>
                      <a:lnTo>
                        <a:pt x="91" y="50"/>
                      </a:lnTo>
                      <a:lnTo>
                        <a:pt x="88" y="50"/>
                      </a:lnTo>
                      <a:lnTo>
                        <a:pt x="85" y="51"/>
                      </a:lnTo>
                      <a:lnTo>
                        <a:pt x="84" y="52"/>
                      </a:lnTo>
                      <a:lnTo>
                        <a:pt x="82" y="52"/>
                      </a:lnTo>
                      <a:lnTo>
                        <a:pt x="80" y="51"/>
                      </a:lnTo>
                      <a:lnTo>
                        <a:pt x="79" y="50"/>
                      </a:lnTo>
                      <a:lnTo>
                        <a:pt x="75" y="54"/>
                      </a:lnTo>
                      <a:lnTo>
                        <a:pt x="74" y="57"/>
                      </a:lnTo>
                      <a:lnTo>
                        <a:pt x="73" y="58"/>
                      </a:lnTo>
                      <a:lnTo>
                        <a:pt x="70" y="58"/>
                      </a:lnTo>
                      <a:lnTo>
                        <a:pt x="69" y="58"/>
                      </a:lnTo>
                      <a:lnTo>
                        <a:pt x="65" y="56"/>
                      </a:lnTo>
                      <a:lnTo>
                        <a:pt x="64" y="56"/>
                      </a:lnTo>
                      <a:lnTo>
                        <a:pt x="61" y="57"/>
                      </a:lnTo>
                      <a:lnTo>
                        <a:pt x="59" y="57"/>
                      </a:lnTo>
                      <a:lnTo>
                        <a:pt x="58" y="56"/>
                      </a:lnTo>
                      <a:lnTo>
                        <a:pt x="56" y="54"/>
                      </a:lnTo>
                      <a:lnTo>
                        <a:pt x="58" y="52"/>
                      </a:lnTo>
                      <a:lnTo>
                        <a:pt x="60" y="50"/>
                      </a:lnTo>
                      <a:lnTo>
                        <a:pt x="61" y="46"/>
                      </a:lnTo>
                      <a:lnTo>
                        <a:pt x="61" y="44"/>
                      </a:lnTo>
                      <a:lnTo>
                        <a:pt x="60" y="41"/>
                      </a:lnTo>
                      <a:lnTo>
                        <a:pt x="56" y="39"/>
                      </a:lnTo>
                      <a:lnTo>
                        <a:pt x="55" y="40"/>
                      </a:lnTo>
                      <a:lnTo>
                        <a:pt x="52" y="40"/>
                      </a:lnTo>
                      <a:lnTo>
                        <a:pt x="49" y="44"/>
                      </a:lnTo>
                      <a:lnTo>
                        <a:pt x="45" y="47"/>
                      </a:lnTo>
                      <a:lnTo>
                        <a:pt x="44" y="47"/>
                      </a:lnTo>
                      <a:lnTo>
                        <a:pt x="42" y="46"/>
                      </a:lnTo>
                      <a:lnTo>
                        <a:pt x="41" y="41"/>
                      </a:lnTo>
                      <a:lnTo>
                        <a:pt x="40" y="37"/>
                      </a:lnTo>
                      <a:lnTo>
                        <a:pt x="41" y="32"/>
                      </a:lnTo>
                      <a:lnTo>
                        <a:pt x="44" y="31"/>
                      </a:lnTo>
                      <a:lnTo>
                        <a:pt x="45" y="30"/>
                      </a:lnTo>
                      <a:lnTo>
                        <a:pt x="50" y="27"/>
                      </a:lnTo>
                      <a:lnTo>
                        <a:pt x="54" y="24"/>
                      </a:lnTo>
                      <a:lnTo>
                        <a:pt x="56" y="19"/>
                      </a:lnTo>
                      <a:lnTo>
                        <a:pt x="56" y="14"/>
                      </a:lnTo>
                      <a:lnTo>
                        <a:pt x="58" y="13"/>
                      </a:lnTo>
                      <a:lnTo>
                        <a:pt x="59" y="12"/>
                      </a:lnTo>
                      <a:lnTo>
                        <a:pt x="61" y="11"/>
                      </a:lnTo>
                      <a:lnTo>
                        <a:pt x="64" y="9"/>
                      </a:lnTo>
                      <a:lnTo>
                        <a:pt x="66" y="8"/>
                      </a:lnTo>
                      <a:lnTo>
                        <a:pt x="68" y="6"/>
                      </a:lnTo>
                      <a:lnTo>
                        <a:pt x="69" y="3"/>
                      </a:lnTo>
                      <a:lnTo>
                        <a:pt x="70" y="2"/>
                      </a:lnTo>
                      <a:lnTo>
                        <a:pt x="69" y="0"/>
                      </a:lnTo>
                      <a:lnTo>
                        <a:pt x="66" y="1"/>
                      </a:lnTo>
                      <a:lnTo>
                        <a:pt x="61" y="2"/>
                      </a:lnTo>
                      <a:lnTo>
                        <a:pt x="58" y="1"/>
                      </a:lnTo>
                      <a:lnTo>
                        <a:pt x="54" y="1"/>
                      </a:lnTo>
                      <a:lnTo>
                        <a:pt x="50" y="5"/>
                      </a:lnTo>
                      <a:lnTo>
                        <a:pt x="46" y="7"/>
                      </a:lnTo>
                      <a:lnTo>
                        <a:pt x="41" y="8"/>
                      </a:lnTo>
                      <a:lnTo>
                        <a:pt x="37" y="9"/>
                      </a:lnTo>
                      <a:lnTo>
                        <a:pt x="32" y="15"/>
                      </a:lnTo>
                      <a:lnTo>
                        <a:pt x="28" y="24"/>
                      </a:lnTo>
                      <a:lnTo>
                        <a:pt x="26" y="34"/>
                      </a:lnTo>
                      <a:lnTo>
                        <a:pt x="25" y="44"/>
                      </a:lnTo>
                      <a:lnTo>
                        <a:pt x="23" y="46"/>
                      </a:lnTo>
                      <a:lnTo>
                        <a:pt x="22" y="47"/>
                      </a:lnTo>
                      <a:lnTo>
                        <a:pt x="19" y="49"/>
                      </a:lnTo>
                      <a:lnTo>
                        <a:pt x="18" y="50"/>
                      </a:lnTo>
                      <a:lnTo>
                        <a:pt x="18" y="53"/>
                      </a:lnTo>
                      <a:lnTo>
                        <a:pt x="17" y="57"/>
                      </a:lnTo>
                      <a:lnTo>
                        <a:pt x="13" y="63"/>
                      </a:lnTo>
                      <a:lnTo>
                        <a:pt x="8" y="67"/>
                      </a:lnTo>
                      <a:lnTo>
                        <a:pt x="2" y="71"/>
                      </a:lnTo>
                      <a:lnTo>
                        <a:pt x="2" y="72"/>
                      </a:lnTo>
                      <a:lnTo>
                        <a:pt x="3" y="73"/>
                      </a:lnTo>
                      <a:lnTo>
                        <a:pt x="7" y="76"/>
                      </a:lnTo>
                      <a:lnTo>
                        <a:pt x="8" y="77"/>
                      </a:lnTo>
                      <a:lnTo>
                        <a:pt x="7" y="79"/>
                      </a:lnTo>
                      <a:lnTo>
                        <a:pt x="4" y="83"/>
                      </a:lnTo>
                      <a:lnTo>
                        <a:pt x="0" y="88"/>
                      </a:lnTo>
                      <a:lnTo>
                        <a:pt x="0" y="92"/>
                      </a:lnTo>
                      <a:lnTo>
                        <a:pt x="0" y="97"/>
                      </a:lnTo>
                      <a:lnTo>
                        <a:pt x="3" y="98"/>
                      </a:lnTo>
                      <a:lnTo>
                        <a:pt x="4" y="98"/>
                      </a:lnTo>
                      <a:lnTo>
                        <a:pt x="11" y="95"/>
                      </a:lnTo>
                      <a:lnTo>
                        <a:pt x="14" y="92"/>
                      </a:lnTo>
                      <a:lnTo>
                        <a:pt x="18" y="92"/>
                      </a:lnTo>
                      <a:lnTo>
                        <a:pt x="25" y="92"/>
                      </a:lnTo>
                      <a:lnTo>
                        <a:pt x="31" y="94"/>
                      </a:lnTo>
                      <a:lnTo>
                        <a:pt x="38" y="95"/>
                      </a:lnTo>
                      <a:lnTo>
                        <a:pt x="45" y="95"/>
                      </a:lnTo>
                      <a:lnTo>
                        <a:pt x="47" y="94"/>
                      </a:lnTo>
                      <a:lnTo>
                        <a:pt x="50" y="92"/>
                      </a:lnTo>
                      <a:lnTo>
                        <a:pt x="55" y="90"/>
                      </a:lnTo>
                      <a:lnTo>
                        <a:pt x="56" y="90"/>
                      </a:lnTo>
                      <a:lnTo>
                        <a:pt x="56" y="91"/>
                      </a:lnTo>
                      <a:lnTo>
                        <a:pt x="58" y="94"/>
                      </a:lnTo>
                      <a:lnTo>
                        <a:pt x="59" y="96"/>
                      </a:lnTo>
                      <a:lnTo>
                        <a:pt x="60" y="98"/>
                      </a:lnTo>
                      <a:lnTo>
                        <a:pt x="63" y="98"/>
                      </a:lnTo>
                      <a:lnTo>
                        <a:pt x="65" y="97"/>
                      </a:lnTo>
                      <a:lnTo>
                        <a:pt x="70" y="94"/>
                      </a:lnTo>
                      <a:lnTo>
                        <a:pt x="73" y="92"/>
                      </a:lnTo>
                      <a:lnTo>
                        <a:pt x="75" y="94"/>
                      </a:lnTo>
                      <a:lnTo>
                        <a:pt x="77" y="95"/>
                      </a:lnTo>
                      <a:lnTo>
                        <a:pt x="77" y="96"/>
                      </a:lnTo>
                      <a:lnTo>
                        <a:pt x="74" y="97"/>
                      </a:lnTo>
                      <a:lnTo>
                        <a:pt x="70" y="101"/>
                      </a:lnTo>
                      <a:lnTo>
                        <a:pt x="68" y="104"/>
                      </a:lnTo>
                      <a:lnTo>
                        <a:pt x="64" y="108"/>
                      </a:lnTo>
                      <a:lnTo>
                        <a:pt x="61" y="111"/>
                      </a:lnTo>
                      <a:lnTo>
                        <a:pt x="58" y="111"/>
                      </a:lnTo>
                      <a:lnTo>
                        <a:pt x="54" y="113"/>
                      </a:lnTo>
                      <a:lnTo>
                        <a:pt x="51" y="114"/>
                      </a:lnTo>
                      <a:lnTo>
                        <a:pt x="51" y="115"/>
                      </a:lnTo>
                      <a:lnTo>
                        <a:pt x="51" y="116"/>
                      </a:lnTo>
                      <a:lnTo>
                        <a:pt x="54" y="118"/>
                      </a:lnTo>
                      <a:lnTo>
                        <a:pt x="56" y="118"/>
                      </a:lnTo>
                      <a:lnTo>
                        <a:pt x="63" y="117"/>
                      </a:lnTo>
                      <a:lnTo>
                        <a:pt x="68" y="115"/>
                      </a:lnTo>
                      <a:lnTo>
                        <a:pt x="72" y="111"/>
                      </a:lnTo>
                      <a:lnTo>
                        <a:pt x="77" y="105"/>
                      </a:lnTo>
                      <a:lnTo>
                        <a:pt x="80" y="99"/>
                      </a:lnTo>
                      <a:lnTo>
                        <a:pt x="85" y="95"/>
                      </a:lnTo>
                      <a:lnTo>
                        <a:pt x="88" y="92"/>
                      </a:lnTo>
                      <a:lnTo>
                        <a:pt x="92" y="92"/>
                      </a:lnTo>
                      <a:lnTo>
                        <a:pt x="93" y="92"/>
                      </a:lnTo>
                      <a:lnTo>
                        <a:pt x="93" y="94"/>
                      </a:lnTo>
                      <a:lnTo>
                        <a:pt x="93" y="96"/>
                      </a:lnTo>
                      <a:lnTo>
                        <a:pt x="91" y="101"/>
                      </a:lnTo>
                      <a:lnTo>
                        <a:pt x="87" y="105"/>
                      </a:lnTo>
                      <a:lnTo>
                        <a:pt x="84" y="109"/>
                      </a:lnTo>
                      <a:lnTo>
                        <a:pt x="85" y="111"/>
                      </a:lnTo>
                      <a:lnTo>
                        <a:pt x="87" y="114"/>
                      </a:lnTo>
                      <a:lnTo>
                        <a:pt x="88" y="114"/>
                      </a:lnTo>
                      <a:lnTo>
                        <a:pt x="89" y="114"/>
                      </a:lnTo>
                      <a:lnTo>
                        <a:pt x="91" y="111"/>
                      </a:lnTo>
                      <a:lnTo>
                        <a:pt x="93" y="109"/>
                      </a:lnTo>
                      <a:lnTo>
                        <a:pt x="94" y="109"/>
                      </a:lnTo>
                      <a:lnTo>
                        <a:pt x="96" y="110"/>
                      </a:lnTo>
                      <a:lnTo>
                        <a:pt x="98" y="111"/>
                      </a:lnTo>
                      <a:lnTo>
                        <a:pt x="98" y="115"/>
                      </a:lnTo>
                      <a:lnTo>
                        <a:pt x="97" y="12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6" name="Freeform 910"/>
                <p:cNvSpPr>
                  <a:spLocks/>
                </p:cNvSpPr>
                <p:nvPr/>
              </p:nvSpPr>
              <p:spPr bwMode="auto">
                <a:xfrm>
                  <a:off x="2475348" y="1670458"/>
                  <a:ext cx="689620" cy="361089"/>
                </a:xfrm>
                <a:custGeom>
                  <a:avLst/>
                  <a:gdLst>
                    <a:gd name="T0" fmla="*/ 2147483647 w 505"/>
                    <a:gd name="T1" fmla="*/ 2147483647 h 244"/>
                    <a:gd name="T2" fmla="*/ 2147483647 w 505"/>
                    <a:gd name="T3" fmla="*/ 2147483647 h 244"/>
                    <a:gd name="T4" fmla="*/ 2147483647 w 505"/>
                    <a:gd name="T5" fmla="*/ 2147483647 h 244"/>
                    <a:gd name="T6" fmla="*/ 2147483647 w 505"/>
                    <a:gd name="T7" fmla="*/ 2147483647 h 244"/>
                    <a:gd name="T8" fmla="*/ 2147483647 w 505"/>
                    <a:gd name="T9" fmla="*/ 2147483647 h 244"/>
                    <a:gd name="T10" fmla="*/ 2147483647 w 505"/>
                    <a:gd name="T11" fmla="*/ 2147483647 h 244"/>
                    <a:gd name="T12" fmla="*/ 2147483647 w 505"/>
                    <a:gd name="T13" fmla="*/ 2147483647 h 244"/>
                    <a:gd name="T14" fmla="*/ 2147483647 w 505"/>
                    <a:gd name="T15" fmla="*/ 2147483647 h 244"/>
                    <a:gd name="T16" fmla="*/ 2147483647 w 505"/>
                    <a:gd name="T17" fmla="*/ 2147483647 h 244"/>
                    <a:gd name="T18" fmla="*/ 2147483647 w 505"/>
                    <a:gd name="T19" fmla="*/ 2147483647 h 244"/>
                    <a:gd name="T20" fmla="*/ 2147483647 w 505"/>
                    <a:gd name="T21" fmla="*/ 2147483647 h 244"/>
                    <a:gd name="T22" fmla="*/ 2147483647 w 505"/>
                    <a:gd name="T23" fmla="*/ 2147483647 h 244"/>
                    <a:gd name="T24" fmla="*/ 2147483647 w 505"/>
                    <a:gd name="T25" fmla="*/ 2147483647 h 244"/>
                    <a:gd name="T26" fmla="*/ 2147483647 w 505"/>
                    <a:gd name="T27" fmla="*/ 2147483647 h 244"/>
                    <a:gd name="T28" fmla="*/ 2147483647 w 505"/>
                    <a:gd name="T29" fmla="*/ 2147483647 h 244"/>
                    <a:gd name="T30" fmla="*/ 2147483647 w 505"/>
                    <a:gd name="T31" fmla="*/ 2147483647 h 244"/>
                    <a:gd name="T32" fmla="*/ 2147483647 w 505"/>
                    <a:gd name="T33" fmla="*/ 2147483647 h 244"/>
                    <a:gd name="T34" fmla="*/ 2147483647 w 505"/>
                    <a:gd name="T35" fmla="*/ 2147483647 h 244"/>
                    <a:gd name="T36" fmla="*/ 2147483647 w 505"/>
                    <a:gd name="T37" fmla="*/ 2147483647 h 244"/>
                    <a:gd name="T38" fmla="*/ 2147483647 w 505"/>
                    <a:gd name="T39" fmla="*/ 2147483647 h 244"/>
                    <a:gd name="T40" fmla="*/ 2147483647 w 505"/>
                    <a:gd name="T41" fmla="*/ 2147483647 h 244"/>
                    <a:gd name="T42" fmla="*/ 2147483647 w 505"/>
                    <a:gd name="T43" fmla="*/ 2147483647 h 244"/>
                    <a:gd name="T44" fmla="*/ 2147483647 w 505"/>
                    <a:gd name="T45" fmla="*/ 2147483647 h 244"/>
                    <a:gd name="T46" fmla="*/ 2147483647 w 505"/>
                    <a:gd name="T47" fmla="*/ 2147483647 h 244"/>
                    <a:gd name="T48" fmla="*/ 2147483647 w 505"/>
                    <a:gd name="T49" fmla="*/ 2147483647 h 244"/>
                    <a:gd name="T50" fmla="*/ 2147483647 w 505"/>
                    <a:gd name="T51" fmla="*/ 2147483647 h 244"/>
                    <a:gd name="T52" fmla="*/ 2147483647 w 505"/>
                    <a:gd name="T53" fmla="*/ 2147483647 h 244"/>
                    <a:gd name="T54" fmla="*/ 2147483647 w 505"/>
                    <a:gd name="T55" fmla="*/ 2147483647 h 244"/>
                    <a:gd name="T56" fmla="*/ 2147483647 w 505"/>
                    <a:gd name="T57" fmla="*/ 2147483647 h 244"/>
                    <a:gd name="T58" fmla="*/ 2147483647 w 505"/>
                    <a:gd name="T59" fmla="*/ 2147483647 h 244"/>
                    <a:gd name="T60" fmla="*/ 2147483647 w 505"/>
                    <a:gd name="T61" fmla="*/ 2147483647 h 244"/>
                    <a:gd name="T62" fmla="*/ 2147483647 w 505"/>
                    <a:gd name="T63" fmla="*/ 2147483647 h 244"/>
                    <a:gd name="T64" fmla="*/ 2147483647 w 505"/>
                    <a:gd name="T65" fmla="*/ 2147483647 h 244"/>
                    <a:gd name="T66" fmla="*/ 2147483647 w 505"/>
                    <a:gd name="T67" fmla="*/ 2147483647 h 244"/>
                    <a:gd name="T68" fmla="*/ 2147483647 w 505"/>
                    <a:gd name="T69" fmla="*/ 2147483647 h 244"/>
                    <a:gd name="T70" fmla="*/ 2147483647 w 505"/>
                    <a:gd name="T71" fmla="*/ 2147483647 h 244"/>
                    <a:gd name="T72" fmla="*/ 2147483647 w 505"/>
                    <a:gd name="T73" fmla="*/ 2147483647 h 244"/>
                    <a:gd name="T74" fmla="*/ 2147483647 w 505"/>
                    <a:gd name="T75" fmla="*/ 2147483647 h 244"/>
                    <a:gd name="T76" fmla="*/ 2147483647 w 505"/>
                    <a:gd name="T77" fmla="*/ 2147483647 h 244"/>
                    <a:gd name="T78" fmla="*/ 2147483647 w 505"/>
                    <a:gd name="T79" fmla="*/ 2147483647 h 244"/>
                    <a:gd name="T80" fmla="*/ 2147483647 w 505"/>
                    <a:gd name="T81" fmla="*/ 2147483647 h 244"/>
                    <a:gd name="T82" fmla="*/ 2147483647 w 505"/>
                    <a:gd name="T83" fmla="*/ 2147483647 h 244"/>
                    <a:gd name="T84" fmla="*/ 2147483647 w 505"/>
                    <a:gd name="T85" fmla="*/ 2147483647 h 244"/>
                    <a:gd name="T86" fmla="*/ 2147483647 w 505"/>
                    <a:gd name="T87" fmla="*/ 2147483647 h 244"/>
                    <a:gd name="T88" fmla="*/ 2147483647 w 505"/>
                    <a:gd name="T89" fmla="*/ 2147483647 h 244"/>
                    <a:gd name="T90" fmla="*/ 2147483647 w 505"/>
                    <a:gd name="T91" fmla="*/ 2147483647 h 244"/>
                    <a:gd name="T92" fmla="*/ 2147483647 w 505"/>
                    <a:gd name="T93" fmla="*/ 2147483647 h 244"/>
                    <a:gd name="T94" fmla="*/ 2147483647 w 505"/>
                    <a:gd name="T95" fmla="*/ 2147483647 h 244"/>
                    <a:gd name="T96" fmla="*/ 2147483647 w 505"/>
                    <a:gd name="T97" fmla="*/ 2147483647 h 244"/>
                    <a:gd name="T98" fmla="*/ 2147483647 w 505"/>
                    <a:gd name="T99" fmla="*/ 2147483647 h 244"/>
                    <a:gd name="T100" fmla="*/ 2147483647 w 505"/>
                    <a:gd name="T101" fmla="*/ 2147483647 h 244"/>
                    <a:gd name="T102" fmla="*/ 2147483647 w 505"/>
                    <a:gd name="T103" fmla="*/ 2147483647 h 244"/>
                    <a:gd name="T104" fmla="*/ 2147483647 w 505"/>
                    <a:gd name="T105" fmla="*/ 2147483647 h 244"/>
                    <a:gd name="T106" fmla="*/ 2147483647 w 505"/>
                    <a:gd name="T107" fmla="*/ 2147483647 h 244"/>
                    <a:gd name="T108" fmla="*/ 2147483647 w 505"/>
                    <a:gd name="T109" fmla="*/ 2147483647 h 244"/>
                    <a:gd name="T110" fmla="*/ 2147483647 w 505"/>
                    <a:gd name="T111" fmla="*/ 2147483647 h 244"/>
                    <a:gd name="T112" fmla="*/ 2147483647 w 505"/>
                    <a:gd name="T113" fmla="*/ 2147483647 h 244"/>
                    <a:gd name="T114" fmla="*/ 2147483647 w 505"/>
                    <a:gd name="T115" fmla="*/ 2147483647 h 244"/>
                    <a:gd name="T116" fmla="*/ 2147483647 w 505"/>
                    <a:gd name="T117" fmla="*/ 2147483647 h 244"/>
                    <a:gd name="T118" fmla="*/ 2147483647 w 505"/>
                    <a:gd name="T119" fmla="*/ 2147483647 h 244"/>
                    <a:gd name="T120" fmla="*/ 2147483647 w 505"/>
                    <a:gd name="T121" fmla="*/ 2147483647 h 2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5"/>
                    <a:gd name="T184" fmla="*/ 0 h 244"/>
                    <a:gd name="T185" fmla="*/ 505 w 505"/>
                    <a:gd name="T186" fmla="*/ 244 h 2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5" h="244">
                      <a:moveTo>
                        <a:pt x="465" y="69"/>
                      </a:moveTo>
                      <a:lnTo>
                        <a:pt x="465" y="69"/>
                      </a:lnTo>
                      <a:lnTo>
                        <a:pt x="458" y="71"/>
                      </a:lnTo>
                      <a:lnTo>
                        <a:pt x="451" y="72"/>
                      </a:lnTo>
                      <a:lnTo>
                        <a:pt x="443" y="73"/>
                      </a:lnTo>
                      <a:lnTo>
                        <a:pt x="435" y="77"/>
                      </a:lnTo>
                      <a:lnTo>
                        <a:pt x="433" y="77"/>
                      </a:lnTo>
                      <a:lnTo>
                        <a:pt x="429" y="77"/>
                      </a:lnTo>
                      <a:lnTo>
                        <a:pt x="426" y="77"/>
                      </a:lnTo>
                      <a:lnTo>
                        <a:pt x="423" y="78"/>
                      </a:lnTo>
                      <a:lnTo>
                        <a:pt x="420" y="82"/>
                      </a:lnTo>
                      <a:lnTo>
                        <a:pt x="418" y="85"/>
                      </a:lnTo>
                      <a:lnTo>
                        <a:pt x="414" y="89"/>
                      </a:lnTo>
                      <a:lnTo>
                        <a:pt x="413" y="89"/>
                      </a:lnTo>
                      <a:lnTo>
                        <a:pt x="410" y="89"/>
                      </a:lnTo>
                      <a:lnTo>
                        <a:pt x="406" y="88"/>
                      </a:lnTo>
                      <a:lnTo>
                        <a:pt x="405" y="88"/>
                      </a:lnTo>
                      <a:lnTo>
                        <a:pt x="402" y="88"/>
                      </a:lnTo>
                      <a:lnTo>
                        <a:pt x="397" y="90"/>
                      </a:lnTo>
                      <a:lnTo>
                        <a:pt x="391" y="91"/>
                      </a:lnTo>
                      <a:lnTo>
                        <a:pt x="386" y="92"/>
                      </a:lnTo>
                      <a:lnTo>
                        <a:pt x="381" y="93"/>
                      </a:lnTo>
                      <a:lnTo>
                        <a:pt x="377" y="95"/>
                      </a:lnTo>
                      <a:lnTo>
                        <a:pt x="373" y="96"/>
                      </a:lnTo>
                      <a:lnTo>
                        <a:pt x="371" y="95"/>
                      </a:lnTo>
                      <a:lnTo>
                        <a:pt x="367" y="93"/>
                      </a:lnTo>
                      <a:lnTo>
                        <a:pt x="364" y="93"/>
                      </a:lnTo>
                      <a:lnTo>
                        <a:pt x="363" y="93"/>
                      </a:lnTo>
                      <a:lnTo>
                        <a:pt x="360" y="98"/>
                      </a:lnTo>
                      <a:lnTo>
                        <a:pt x="358" y="101"/>
                      </a:lnTo>
                      <a:lnTo>
                        <a:pt x="354" y="103"/>
                      </a:lnTo>
                      <a:lnTo>
                        <a:pt x="349" y="103"/>
                      </a:lnTo>
                      <a:lnTo>
                        <a:pt x="353" y="107"/>
                      </a:lnTo>
                      <a:lnTo>
                        <a:pt x="354" y="109"/>
                      </a:lnTo>
                      <a:lnTo>
                        <a:pt x="353" y="111"/>
                      </a:lnTo>
                      <a:lnTo>
                        <a:pt x="353" y="112"/>
                      </a:lnTo>
                      <a:lnTo>
                        <a:pt x="350" y="112"/>
                      </a:lnTo>
                      <a:lnTo>
                        <a:pt x="346" y="112"/>
                      </a:lnTo>
                      <a:lnTo>
                        <a:pt x="345" y="110"/>
                      </a:lnTo>
                      <a:lnTo>
                        <a:pt x="344" y="110"/>
                      </a:lnTo>
                      <a:lnTo>
                        <a:pt x="341" y="111"/>
                      </a:lnTo>
                      <a:lnTo>
                        <a:pt x="339" y="111"/>
                      </a:lnTo>
                      <a:lnTo>
                        <a:pt x="334" y="111"/>
                      </a:lnTo>
                      <a:lnTo>
                        <a:pt x="334" y="112"/>
                      </a:lnTo>
                      <a:lnTo>
                        <a:pt x="333" y="112"/>
                      </a:lnTo>
                      <a:lnTo>
                        <a:pt x="335" y="117"/>
                      </a:lnTo>
                      <a:lnTo>
                        <a:pt x="335" y="120"/>
                      </a:lnTo>
                      <a:lnTo>
                        <a:pt x="335" y="121"/>
                      </a:lnTo>
                      <a:lnTo>
                        <a:pt x="330" y="122"/>
                      </a:lnTo>
                      <a:lnTo>
                        <a:pt x="326" y="122"/>
                      </a:lnTo>
                      <a:lnTo>
                        <a:pt x="321" y="123"/>
                      </a:lnTo>
                      <a:lnTo>
                        <a:pt x="317" y="125"/>
                      </a:lnTo>
                      <a:lnTo>
                        <a:pt x="315" y="125"/>
                      </a:lnTo>
                      <a:lnTo>
                        <a:pt x="311" y="122"/>
                      </a:lnTo>
                      <a:lnTo>
                        <a:pt x="306" y="121"/>
                      </a:lnTo>
                      <a:lnTo>
                        <a:pt x="301" y="120"/>
                      </a:lnTo>
                      <a:lnTo>
                        <a:pt x="296" y="117"/>
                      </a:lnTo>
                      <a:lnTo>
                        <a:pt x="294" y="117"/>
                      </a:lnTo>
                      <a:lnTo>
                        <a:pt x="293" y="117"/>
                      </a:lnTo>
                      <a:lnTo>
                        <a:pt x="292" y="118"/>
                      </a:lnTo>
                      <a:lnTo>
                        <a:pt x="293" y="120"/>
                      </a:lnTo>
                      <a:lnTo>
                        <a:pt x="294" y="121"/>
                      </a:lnTo>
                      <a:lnTo>
                        <a:pt x="297" y="122"/>
                      </a:lnTo>
                      <a:lnTo>
                        <a:pt x="300" y="122"/>
                      </a:lnTo>
                      <a:lnTo>
                        <a:pt x="302" y="123"/>
                      </a:lnTo>
                      <a:lnTo>
                        <a:pt x="303" y="125"/>
                      </a:lnTo>
                      <a:lnTo>
                        <a:pt x="303" y="127"/>
                      </a:lnTo>
                      <a:lnTo>
                        <a:pt x="302" y="128"/>
                      </a:lnTo>
                      <a:lnTo>
                        <a:pt x="300" y="128"/>
                      </a:lnTo>
                      <a:lnTo>
                        <a:pt x="298" y="127"/>
                      </a:lnTo>
                      <a:lnTo>
                        <a:pt x="297" y="127"/>
                      </a:lnTo>
                      <a:lnTo>
                        <a:pt x="294" y="127"/>
                      </a:lnTo>
                      <a:lnTo>
                        <a:pt x="291" y="129"/>
                      </a:lnTo>
                      <a:lnTo>
                        <a:pt x="286" y="130"/>
                      </a:lnTo>
                      <a:lnTo>
                        <a:pt x="275" y="130"/>
                      </a:lnTo>
                      <a:lnTo>
                        <a:pt x="265" y="129"/>
                      </a:lnTo>
                      <a:lnTo>
                        <a:pt x="256" y="125"/>
                      </a:lnTo>
                      <a:lnTo>
                        <a:pt x="251" y="125"/>
                      </a:lnTo>
                      <a:lnTo>
                        <a:pt x="246" y="124"/>
                      </a:lnTo>
                      <a:lnTo>
                        <a:pt x="242" y="123"/>
                      </a:lnTo>
                      <a:lnTo>
                        <a:pt x="240" y="123"/>
                      </a:lnTo>
                      <a:lnTo>
                        <a:pt x="239" y="123"/>
                      </a:lnTo>
                      <a:lnTo>
                        <a:pt x="239" y="125"/>
                      </a:lnTo>
                      <a:lnTo>
                        <a:pt x="239" y="127"/>
                      </a:lnTo>
                      <a:lnTo>
                        <a:pt x="242" y="129"/>
                      </a:lnTo>
                      <a:lnTo>
                        <a:pt x="246" y="130"/>
                      </a:lnTo>
                      <a:lnTo>
                        <a:pt x="250" y="131"/>
                      </a:lnTo>
                      <a:lnTo>
                        <a:pt x="254" y="134"/>
                      </a:lnTo>
                      <a:lnTo>
                        <a:pt x="259" y="136"/>
                      </a:lnTo>
                      <a:lnTo>
                        <a:pt x="265" y="137"/>
                      </a:lnTo>
                      <a:lnTo>
                        <a:pt x="270" y="139"/>
                      </a:lnTo>
                      <a:lnTo>
                        <a:pt x="275" y="140"/>
                      </a:lnTo>
                      <a:lnTo>
                        <a:pt x="278" y="141"/>
                      </a:lnTo>
                      <a:lnTo>
                        <a:pt x="278" y="143"/>
                      </a:lnTo>
                      <a:lnTo>
                        <a:pt x="268" y="142"/>
                      </a:lnTo>
                      <a:lnTo>
                        <a:pt x="258" y="141"/>
                      </a:lnTo>
                      <a:lnTo>
                        <a:pt x="247" y="140"/>
                      </a:lnTo>
                      <a:lnTo>
                        <a:pt x="239" y="137"/>
                      </a:lnTo>
                      <a:lnTo>
                        <a:pt x="235" y="135"/>
                      </a:lnTo>
                      <a:lnTo>
                        <a:pt x="232" y="133"/>
                      </a:lnTo>
                      <a:lnTo>
                        <a:pt x="230" y="133"/>
                      </a:lnTo>
                      <a:lnTo>
                        <a:pt x="228" y="133"/>
                      </a:lnTo>
                      <a:lnTo>
                        <a:pt x="226" y="136"/>
                      </a:lnTo>
                      <a:lnTo>
                        <a:pt x="226" y="139"/>
                      </a:lnTo>
                      <a:lnTo>
                        <a:pt x="227" y="141"/>
                      </a:lnTo>
                      <a:lnTo>
                        <a:pt x="231" y="143"/>
                      </a:lnTo>
                      <a:lnTo>
                        <a:pt x="235" y="146"/>
                      </a:lnTo>
                      <a:lnTo>
                        <a:pt x="242" y="146"/>
                      </a:lnTo>
                      <a:lnTo>
                        <a:pt x="241" y="148"/>
                      </a:lnTo>
                      <a:lnTo>
                        <a:pt x="239" y="149"/>
                      </a:lnTo>
                      <a:lnTo>
                        <a:pt x="235" y="150"/>
                      </a:lnTo>
                      <a:lnTo>
                        <a:pt x="232" y="152"/>
                      </a:lnTo>
                      <a:lnTo>
                        <a:pt x="231" y="154"/>
                      </a:lnTo>
                      <a:lnTo>
                        <a:pt x="231" y="155"/>
                      </a:lnTo>
                      <a:lnTo>
                        <a:pt x="233" y="156"/>
                      </a:lnTo>
                      <a:lnTo>
                        <a:pt x="239" y="158"/>
                      </a:lnTo>
                      <a:lnTo>
                        <a:pt x="242" y="158"/>
                      </a:lnTo>
                      <a:lnTo>
                        <a:pt x="251" y="155"/>
                      </a:lnTo>
                      <a:lnTo>
                        <a:pt x="254" y="156"/>
                      </a:lnTo>
                      <a:lnTo>
                        <a:pt x="255" y="156"/>
                      </a:lnTo>
                      <a:lnTo>
                        <a:pt x="259" y="153"/>
                      </a:lnTo>
                      <a:lnTo>
                        <a:pt x="261" y="153"/>
                      </a:lnTo>
                      <a:lnTo>
                        <a:pt x="263" y="153"/>
                      </a:lnTo>
                      <a:lnTo>
                        <a:pt x="270" y="156"/>
                      </a:lnTo>
                      <a:lnTo>
                        <a:pt x="275" y="158"/>
                      </a:lnTo>
                      <a:lnTo>
                        <a:pt x="279" y="159"/>
                      </a:lnTo>
                      <a:lnTo>
                        <a:pt x="280" y="159"/>
                      </a:lnTo>
                      <a:lnTo>
                        <a:pt x="280" y="160"/>
                      </a:lnTo>
                      <a:lnTo>
                        <a:pt x="279" y="162"/>
                      </a:lnTo>
                      <a:lnTo>
                        <a:pt x="278" y="162"/>
                      </a:lnTo>
                      <a:lnTo>
                        <a:pt x="277" y="162"/>
                      </a:lnTo>
                      <a:lnTo>
                        <a:pt x="274" y="162"/>
                      </a:lnTo>
                      <a:lnTo>
                        <a:pt x="270" y="165"/>
                      </a:lnTo>
                      <a:lnTo>
                        <a:pt x="266" y="166"/>
                      </a:lnTo>
                      <a:lnTo>
                        <a:pt x="259" y="168"/>
                      </a:lnTo>
                      <a:lnTo>
                        <a:pt x="258" y="169"/>
                      </a:lnTo>
                      <a:lnTo>
                        <a:pt x="255" y="172"/>
                      </a:lnTo>
                      <a:lnTo>
                        <a:pt x="254" y="173"/>
                      </a:lnTo>
                      <a:lnTo>
                        <a:pt x="250" y="173"/>
                      </a:lnTo>
                      <a:lnTo>
                        <a:pt x="247" y="173"/>
                      </a:lnTo>
                      <a:lnTo>
                        <a:pt x="246" y="173"/>
                      </a:lnTo>
                      <a:lnTo>
                        <a:pt x="242" y="174"/>
                      </a:lnTo>
                      <a:lnTo>
                        <a:pt x="239" y="174"/>
                      </a:lnTo>
                      <a:lnTo>
                        <a:pt x="235" y="173"/>
                      </a:lnTo>
                      <a:lnTo>
                        <a:pt x="232" y="172"/>
                      </a:lnTo>
                      <a:lnTo>
                        <a:pt x="228" y="172"/>
                      </a:lnTo>
                      <a:lnTo>
                        <a:pt x="227" y="172"/>
                      </a:lnTo>
                      <a:lnTo>
                        <a:pt x="227" y="184"/>
                      </a:lnTo>
                      <a:lnTo>
                        <a:pt x="226" y="190"/>
                      </a:lnTo>
                      <a:lnTo>
                        <a:pt x="223" y="194"/>
                      </a:lnTo>
                      <a:lnTo>
                        <a:pt x="222" y="195"/>
                      </a:lnTo>
                      <a:lnTo>
                        <a:pt x="218" y="195"/>
                      </a:lnTo>
                      <a:lnTo>
                        <a:pt x="211" y="195"/>
                      </a:lnTo>
                      <a:lnTo>
                        <a:pt x="203" y="195"/>
                      </a:lnTo>
                      <a:lnTo>
                        <a:pt x="195" y="198"/>
                      </a:lnTo>
                      <a:lnTo>
                        <a:pt x="186" y="198"/>
                      </a:lnTo>
                      <a:lnTo>
                        <a:pt x="183" y="197"/>
                      </a:lnTo>
                      <a:lnTo>
                        <a:pt x="179" y="195"/>
                      </a:lnTo>
                      <a:lnTo>
                        <a:pt x="171" y="190"/>
                      </a:lnTo>
                      <a:lnTo>
                        <a:pt x="167" y="187"/>
                      </a:lnTo>
                      <a:lnTo>
                        <a:pt x="162" y="186"/>
                      </a:lnTo>
                      <a:lnTo>
                        <a:pt x="162" y="188"/>
                      </a:lnTo>
                      <a:lnTo>
                        <a:pt x="164" y="188"/>
                      </a:lnTo>
                      <a:lnTo>
                        <a:pt x="164" y="190"/>
                      </a:lnTo>
                      <a:lnTo>
                        <a:pt x="167" y="195"/>
                      </a:lnTo>
                      <a:lnTo>
                        <a:pt x="170" y="201"/>
                      </a:lnTo>
                      <a:lnTo>
                        <a:pt x="173" y="204"/>
                      </a:lnTo>
                      <a:lnTo>
                        <a:pt x="175" y="205"/>
                      </a:lnTo>
                      <a:lnTo>
                        <a:pt x="179" y="206"/>
                      </a:lnTo>
                      <a:lnTo>
                        <a:pt x="183" y="205"/>
                      </a:lnTo>
                      <a:lnTo>
                        <a:pt x="194" y="204"/>
                      </a:lnTo>
                      <a:lnTo>
                        <a:pt x="199" y="204"/>
                      </a:lnTo>
                      <a:lnTo>
                        <a:pt x="204" y="206"/>
                      </a:lnTo>
                      <a:lnTo>
                        <a:pt x="216" y="216"/>
                      </a:lnTo>
                      <a:lnTo>
                        <a:pt x="222" y="220"/>
                      </a:lnTo>
                      <a:lnTo>
                        <a:pt x="228" y="223"/>
                      </a:lnTo>
                      <a:lnTo>
                        <a:pt x="228" y="224"/>
                      </a:lnTo>
                      <a:lnTo>
                        <a:pt x="227" y="225"/>
                      </a:lnTo>
                      <a:lnTo>
                        <a:pt x="217" y="227"/>
                      </a:lnTo>
                      <a:lnTo>
                        <a:pt x="209" y="232"/>
                      </a:lnTo>
                      <a:lnTo>
                        <a:pt x="200" y="237"/>
                      </a:lnTo>
                      <a:lnTo>
                        <a:pt x="193" y="240"/>
                      </a:lnTo>
                      <a:lnTo>
                        <a:pt x="188" y="243"/>
                      </a:lnTo>
                      <a:lnTo>
                        <a:pt x="185" y="244"/>
                      </a:lnTo>
                      <a:lnTo>
                        <a:pt x="183" y="243"/>
                      </a:lnTo>
                      <a:lnTo>
                        <a:pt x="181" y="242"/>
                      </a:lnTo>
                      <a:lnTo>
                        <a:pt x="180" y="239"/>
                      </a:lnTo>
                      <a:lnTo>
                        <a:pt x="180" y="236"/>
                      </a:lnTo>
                      <a:lnTo>
                        <a:pt x="179" y="232"/>
                      </a:lnTo>
                      <a:lnTo>
                        <a:pt x="178" y="232"/>
                      </a:lnTo>
                      <a:lnTo>
                        <a:pt x="175" y="231"/>
                      </a:lnTo>
                      <a:lnTo>
                        <a:pt x="171" y="232"/>
                      </a:lnTo>
                      <a:lnTo>
                        <a:pt x="167" y="231"/>
                      </a:lnTo>
                      <a:lnTo>
                        <a:pt x="155" y="229"/>
                      </a:lnTo>
                      <a:lnTo>
                        <a:pt x="150" y="229"/>
                      </a:lnTo>
                      <a:lnTo>
                        <a:pt x="146" y="230"/>
                      </a:lnTo>
                      <a:lnTo>
                        <a:pt x="143" y="232"/>
                      </a:lnTo>
                      <a:lnTo>
                        <a:pt x="141" y="232"/>
                      </a:lnTo>
                      <a:lnTo>
                        <a:pt x="141" y="233"/>
                      </a:lnTo>
                      <a:lnTo>
                        <a:pt x="140" y="233"/>
                      </a:lnTo>
                      <a:lnTo>
                        <a:pt x="137" y="233"/>
                      </a:lnTo>
                      <a:lnTo>
                        <a:pt x="136" y="231"/>
                      </a:lnTo>
                      <a:lnTo>
                        <a:pt x="134" y="230"/>
                      </a:lnTo>
                      <a:lnTo>
                        <a:pt x="129" y="230"/>
                      </a:lnTo>
                      <a:lnTo>
                        <a:pt x="123" y="230"/>
                      </a:lnTo>
                      <a:lnTo>
                        <a:pt x="118" y="230"/>
                      </a:lnTo>
                      <a:lnTo>
                        <a:pt x="117" y="229"/>
                      </a:lnTo>
                      <a:lnTo>
                        <a:pt x="115" y="227"/>
                      </a:lnTo>
                      <a:lnTo>
                        <a:pt x="114" y="224"/>
                      </a:lnTo>
                      <a:lnTo>
                        <a:pt x="110" y="223"/>
                      </a:lnTo>
                      <a:lnTo>
                        <a:pt x="108" y="224"/>
                      </a:lnTo>
                      <a:lnTo>
                        <a:pt x="104" y="225"/>
                      </a:lnTo>
                      <a:lnTo>
                        <a:pt x="101" y="227"/>
                      </a:lnTo>
                      <a:lnTo>
                        <a:pt x="101" y="229"/>
                      </a:lnTo>
                      <a:lnTo>
                        <a:pt x="103" y="230"/>
                      </a:lnTo>
                      <a:lnTo>
                        <a:pt x="104" y="232"/>
                      </a:lnTo>
                      <a:lnTo>
                        <a:pt x="105" y="233"/>
                      </a:lnTo>
                      <a:lnTo>
                        <a:pt x="104" y="236"/>
                      </a:lnTo>
                      <a:lnTo>
                        <a:pt x="103" y="237"/>
                      </a:lnTo>
                      <a:lnTo>
                        <a:pt x="101" y="237"/>
                      </a:lnTo>
                      <a:lnTo>
                        <a:pt x="100" y="237"/>
                      </a:lnTo>
                      <a:lnTo>
                        <a:pt x="93" y="235"/>
                      </a:lnTo>
                      <a:lnTo>
                        <a:pt x="85" y="235"/>
                      </a:lnTo>
                      <a:lnTo>
                        <a:pt x="71" y="237"/>
                      </a:lnTo>
                      <a:lnTo>
                        <a:pt x="70" y="236"/>
                      </a:lnTo>
                      <a:lnTo>
                        <a:pt x="68" y="235"/>
                      </a:lnTo>
                      <a:lnTo>
                        <a:pt x="66" y="232"/>
                      </a:lnTo>
                      <a:lnTo>
                        <a:pt x="63" y="232"/>
                      </a:lnTo>
                      <a:lnTo>
                        <a:pt x="61" y="233"/>
                      </a:lnTo>
                      <a:lnTo>
                        <a:pt x="58" y="235"/>
                      </a:lnTo>
                      <a:lnTo>
                        <a:pt x="54" y="235"/>
                      </a:lnTo>
                      <a:lnTo>
                        <a:pt x="51" y="233"/>
                      </a:lnTo>
                      <a:lnTo>
                        <a:pt x="48" y="235"/>
                      </a:lnTo>
                      <a:lnTo>
                        <a:pt x="44" y="235"/>
                      </a:lnTo>
                      <a:lnTo>
                        <a:pt x="40" y="233"/>
                      </a:lnTo>
                      <a:lnTo>
                        <a:pt x="38" y="231"/>
                      </a:lnTo>
                      <a:lnTo>
                        <a:pt x="38" y="227"/>
                      </a:lnTo>
                      <a:lnTo>
                        <a:pt x="38" y="224"/>
                      </a:lnTo>
                      <a:lnTo>
                        <a:pt x="39" y="220"/>
                      </a:lnTo>
                      <a:lnTo>
                        <a:pt x="40" y="220"/>
                      </a:lnTo>
                      <a:lnTo>
                        <a:pt x="43" y="223"/>
                      </a:lnTo>
                      <a:lnTo>
                        <a:pt x="47" y="219"/>
                      </a:lnTo>
                      <a:lnTo>
                        <a:pt x="49" y="214"/>
                      </a:lnTo>
                      <a:lnTo>
                        <a:pt x="51" y="214"/>
                      </a:lnTo>
                      <a:lnTo>
                        <a:pt x="54" y="214"/>
                      </a:lnTo>
                      <a:lnTo>
                        <a:pt x="58" y="214"/>
                      </a:lnTo>
                      <a:lnTo>
                        <a:pt x="62" y="213"/>
                      </a:lnTo>
                      <a:lnTo>
                        <a:pt x="63" y="210"/>
                      </a:lnTo>
                      <a:lnTo>
                        <a:pt x="57" y="207"/>
                      </a:lnTo>
                      <a:lnTo>
                        <a:pt x="52" y="204"/>
                      </a:lnTo>
                      <a:lnTo>
                        <a:pt x="49" y="199"/>
                      </a:lnTo>
                      <a:lnTo>
                        <a:pt x="48" y="197"/>
                      </a:lnTo>
                      <a:lnTo>
                        <a:pt x="49" y="193"/>
                      </a:lnTo>
                      <a:lnTo>
                        <a:pt x="51" y="191"/>
                      </a:lnTo>
                      <a:lnTo>
                        <a:pt x="54" y="190"/>
                      </a:lnTo>
                      <a:lnTo>
                        <a:pt x="62" y="187"/>
                      </a:lnTo>
                      <a:lnTo>
                        <a:pt x="65" y="186"/>
                      </a:lnTo>
                      <a:lnTo>
                        <a:pt x="68" y="187"/>
                      </a:lnTo>
                      <a:lnTo>
                        <a:pt x="73" y="188"/>
                      </a:lnTo>
                      <a:lnTo>
                        <a:pt x="80" y="192"/>
                      </a:lnTo>
                      <a:lnTo>
                        <a:pt x="85" y="195"/>
                      </a:lnTo>
                      <a:lnTo>
                        <a:pt x="90" y="199"/>
                      </a:lnTo>
                      <a:lnTo>
                        <a:pt x="93" y="199"/>
                      </a:lnTo>
                      <a:lnTo>
                        <a:pt x="95" y="199"/>
                      </a:lnTo>
                      <a:lnTo>
                        <a:pt x="99" y="198"/>
                      </a:lnTo>
                      <a:lnTo>
                        <a:pt x="103" y="198"/>
                      </a:lnTo>
                      <a:lnTo>
                        <a:pt x="108" y="198"/>
                      </a:lnTo>
                      <a:lnTo>
                        <a:pt x="115" y="197"/>
                      </a:lnTo>
                      <a:lnTo>
                        <a:pt x="122" y="194"/>
                      </a:lnTo>
                      <a:lnTo>
                        <a:pt x="123" y="192"/>
                      </a:lnTo>
                      <a:lnTo>
                        <a:pt x="124" y="190"/>
                      </a:lnTo>
                      <a:lnTo>
                        <a:pt x="124" y="187"/>
                      </a:lnTo>
                      <a:lnTo>
                        <a:pt x="126" y="184"/>
                      </a:lnTo>
                      <a:lnTo>
                        <a:pt x="129" y="178"/>
                      </a:lnTo>
                      <a:lnTo>
                        <a:pt x="132" y="174"/>
                      </a:lnTo>
                      <a:lnTo>
                        <a:pt x="133" y="173"/>
                      </a:lnTo>
                      <a:lnTo>
                        <a:pt x="132" y="173"/>
                      </a:lnTo>
                      <a:lnTo>
                        <a:pt x="122" y="176"/>
                      </a:lnTo>
                      <a:lnTo>
                        <a:pt x="117" y="182"/>
                      </a:lnTo>
                      <a:lnTo>
                        <a:pt x="113" y="185"/>
                      </a:lnTo>
                      <a:lnTo>
                        <a:pt x="106" y="185"/>
                      </a:lnTo>
                      <a:lnTo>
                        <a:pt x="100" y="184"/>
                      </a:lnTo>
                      <a:lnTo>
                        <a:pt x="95" y="181"/>
                      </a:lnTo>
                      <a:lnTo>
                        <a:pt x="91" y="179"/>
                      </a:lnTo>
                      <a:lnTo>
                        <a:pt x="91" y="175"/>
                      </a:lnTo>
                      <a:lnTo>
                        <a:pt x="93" y="171"/>
                      </a:lnTo>
                      <a:lnTo>
                        <a:pt x="91" y="169"/>
                      </a:lnTo>
                      <a:lnTo>
                        <a:pt x="90" y="171"/>
                      </a:lnTo>
                      <a:lnTo>
                        <a:pt x="86" y="174"/>
                      </a:lnTo>
                      <a:lnTo>
                        <a:pt x="82" y="176"/>
                      </a:lnTo>
                      <a:lnTo>
                        <a:pt x="79" y="178"/>
                      </a:lnTo>
                      <a:lnTo>
                        <a:pt x="75" y="178"/>
                      </a:lnTo>
                      <a:lnTo>
                        <a:pt x="71" y="178"/>
                      </a:lnTo>
                      <a:lnTo>
                        <a:pt x="67" y="179"/>
                      </a:lnTo>
                      <a:lnTo>
                        <a:pt x="60" y="181"/>
                      </a:lnTo>
                      <a:lnTo>
                        <a:pt x="56" y="182"/>
                      </a:lnTo>
                      <a:lnTo>
                        <a:pt x="52" y="181"/>
                      </a:lnTo>
                      <a:lnTo>
                        <a:pt x="49" y="180"/>
                      </a:lnTo>
                      <a:lnTo>
                        <a:pt x="48" y="179"/>
                      </a:lnTo>
                      <a:lnTo>
                        <a:pt x="48" y="176"/>
                      </a:lnTo>
                      <a:lnTo>
                        <a:pt x="48" y="174"/>
                      </a:lnTo>
                      <a:lnTo>
                        <a:pt x="56" y="165"/>
                      </a:lnTo>
                      <a:lnTo>
                        <a:pt x="57" y="163"/>
                      </a:lnTo>
                      <a:lnTo>
                        <a:pt x="60" y="162"/>
                      </a:lnTo>
                      <a:lnTo>
                        <a:pt x="65" y="161"/>
                      </a:lnTo>
                      <a:lnTo>
                        <a:pt x="66" y="160"/>
                      </a:lnTo>
                      <a:lnTo>
                        <a:pt x="67" y="158"/>
                      </a:lnTo>
                      <a:lnTo>
                        <a:pt x="70" y="154"/>
                      </a:lnTo>
                      <a:lnTo>
                        <a:pt x="71" y="152"/>
                      </a:lnTo>
                      <a:lnTo>
                        <a:pt x="73" y="152"/>
                      </a:lnTo>
                      <a:lnTo>
                        <a:pt x="77" y="155"/>
                      </a:lnTo>
                      <a:lnTo>
                        <a:pt x="80" y="156"/>
                      </a:lnTo>
                      <a:lnTo>
                        <a:pt x="82" y="156"/>
                      </a:lnTo>
                      <a:lnTo>
                        <a:pt x="85" y="155"/>
                      </a:lnTo>
                      <a:lnTo>
                        <a:pt x="86" y="153"/>
                      </a:lnTo>
                      <a:lnTo>
                        <a:pt x="89" y="153"/>
                      </a:lnTo>
                      <a:lnTo>
                        <a:pt x="91" y="154"/>
                      </a:lnTo>
                      <a:lnTo>
                        <a:pt x="94" y="155"/>
                      </a:lnTo>
                      <a:lnTo>
                        <a:pt x="96" y="155"/>
                      </a:lnTo>
                      <a:lnTo>
                        <a:pt x="100" y="154"/>
                      </a:lnTo>
                      <a:lnTo>
                        <a:pt x="104" y="154"/>
                      </a:lnTo>
                      <a:lnTo>
                        <a:pt x="106" y="154"/>
                      </a:lnTo>
                      <a:lnTo>
                        <a:pt x="110" y="154"/>
                      </a:lnTo>
                      <a:lnTo>
                        <a:pt x="112" y="153"/>
                      </a:lnTo>
                      <a:lnTo>
                        <a:pt x="113" y="150"/>
                      </a:lnTo>
                      <a:lnTo>
                        <a:pt x="115" y="150"/>
                      </a:lnTo>
                      <a:lnTo>
                        <a:pt x="119" y="152"/>
                      </a:lnTo>
                      <a:lnTo>
                        <a:pt x="120" y="152"/>
                      </a:lnTo>
                      <a:lnTo>
                        <a:pt x="123" y="150"/>
                      </a:lnTo>
                      <a:lnTo>
                        <a:pt x="128" y="147"/>
                      </a:lnTo>
                      <a:lnTo>
                        <a:pt x="129" y="144"/>
                      </a:lnTo>
                      <a:lnTo>
                        <a:pt x="129" y="142"/>
                      </a:lnTo>
                      <a:lnTo>
                        <a:pt x="128" y="141"/>
                      </a:lnTo>
                      <a:lnTo>
                        <a:pt x="122" y="144"/>
                      </a:lnTo>
                      <a:lnTo>
                        <a:pt x="115" y="147"/>
                      </a:lnTo>
                      <a:lnTo>
                        <a:pt x="109" y="147"/>
                      </a:lnTo>
                      <a:lnTo>
                        <a:pt x="103" y="146"/>
                      </a:lnTo>
                      <a:lnTo>
                        <a:pt x="98" y="144"/>
                      </a:lnTo>
                      <a:lnTo>
                        <a:pt x="93" y="144"/>
                      </a:lnTo>
                      <a:lnTo>
                        <a:pt x="87" y="146"/>
                      </a:lnTo>
                      <a:lnTo>
                        <a:pt x="84" y="144"/>
                      </a:lnTo>
                      <a:lnTo>
                        <a:pt x="82" y="143"/>
                      </a:lnTo>
                      <a:lnTo>
                        <a:pt x="81" y="142"/>
                      </a:lnTo>
                      <a:lnTo>
                        <a:pt x="81" y="139"/>
                      </a:lnTo>
                      <a:lnTo>
                        <a:pt x="82" y="134"/>
                      </a:lnTo>
                      <a:lnTo>
                        <a:pt x="82" y="130"/>
                      </a:lnTo>
                      <a:lnTo>
                        <a:pt x="79" y="128"/>
                      </a:lnTo>
                      <a:lnTo>
                        <a:pt x="76" y="128"/>
                      </a:lnTo>
                      <a:lnTo>
                        <a:pt x="72" y="128"/>
                      </a:lnTo>
                      <a:lnTo>
                        <a:pt x="68" y="128"/>
                      </a:lnTo>
                      <a:lnTo>
                        <a:pt x="67" y="125"/>
                      </a:lnTo>
                      <a:lnTo>
                        <a:pt x="65" y="123"/>
                      </a:lnTo>
                      <a:lnTo>
                        <a:pt x="63" y="117"/>
                      </a:lnTo>
                      <a:lnTo>
                        <a:pt x="63" y="111"/>
                      </a:lnTo>
                      <a:lnTo>
                        <a:pt x="65" y="107"/>
                      </a:lnTo>
                      <a:lnTo>
                        <a:pt x="67" y="104"/>
                      </a:lnTo>
                      <a:lnTo>
                        <a:pt x="71" y="102"/>
                      </a:lnTo>
                      <a:lnTo>
                        <a:pt x="76" y="102"/>
                      </a:lnTo>
                      <a:lnTo>
                        <a:pt x="81" y="103"/>
                      </a:lnTo>
                      <a:lnTo>
                        <a:pt x="91" y="104"/>
                      </a:lnTo>
                      <a:lnTo>
                        <a:pt x="98" y="105"/>
                      </a:lnTo>
                      <a:lnTo>
                        <a:pt x="103" y="104"/>
                      </a:lnTo>
                      <a:lnTo>
                        <a:pt x="114" y="103"/>
                      </a:lnTo>
                      <a:lnTo>
                        <a:pt x="119" y="103"/>
                      </a:lnTo>
                      <a:lnTo>
                        <a:pt x="126" y="104"/>
                      </a:lnTo>
                      <a:lnTo>
                        <a:pt x="128" y="105"/>
                      </a:lnTo>
                      <a:lnTo>
                        <a:pt x="131" y="108"/>
                      </a:lnTo>
                      <a:lnTo>
                        <a:pt x="133" y="114"/>
                      </a:lnTo>
                      <a:lnTo>
                        <a:pt x="136" y="118"/>
                      </a:lnTo>
                      <a:lnTo>
                        <a:pt x="137" y="121"/>
                      </a:lnTo>
                      <a:lnTo>
                        <a:pt x="140" y="123"/>
                      </a:lnTo>
                      <a:lnTo>
                        <a:pt x="143" y="123"/>
                      </a:lnTo>
                      <a:lnTo>
                        <a:pt x="147" y="124"/>
                      </a:lnTo>
                      <a:lnTo>
                        <a:pt x="151" y="129"/>
                      </a:lnTo>
                      <a:lnTo>
                        <a:pt x="153" y="131"/>
                      </a:lnTo>
                      <a:lnTo>
                        <a:pt x="157" y="133"/>
                      </a:lnTo>
                      <a:lnTo>
                        <a:pt x="164" y="133"/>
                      </a:lnTo>
                      <a:lnTo>
                        <a:pt x="170" y="133"/>
                      </a:lnTo>
                      <a:lnTo>
                        <a:pt x="176" y="130"/>
                      </a:lnTo>
                      <a:lnTo>
                        <a:pt x="181" y="127"/>
                      </a:lnTo>
                      <a:lnTo>
                        <a:pt x="174" y="124"/>
                      </a:lnTo>
                      <a:lnTo>
                        <a:pt x="165" y="122"/>
                      </a:lnTo>
                      <a:lnTo>
                        <a:pt x="161" y="121"/>
                      </a:lnTo>
                      <a:lnTo>
                        <a:pt x="159" y="117"/>
                      </a:lnTo>
                      <a:lnTo>
                        <a:pt x="156" y="115"/>
                      </a:lnTo>
                      <a:lnTo>
                        <a:pt x="156" y="110"/>
                      </a:lnTo>
                      <a:lnTo>
                        <a:pt x="156" y="109"/>
                      </a:lnTo>
                      <a:lnTo>
                        <a:pt x="153" y="108"/>
                      </a:lnTo>
                      <a:lnTo>
                        <a:pt x="151" y="107"/>
                      </a:lnTo>
                      <a:lnTo>
                        <a:pt x="150" y="105"/>
                      </a:lnTo>
                      <a:lnTo>
                        <a:pt x="151" y="102"/>
                      </a:lnTo>
                      <a:lnTo>
                        <a:pt x="152" y="101"/>
                      </a:lnTo>
                      <a:lnTo>
                        <a:pt x="155" y="99"/>
                      </a:lnTo>
                      <a:lnTo>
                        <a:pt x="159" y="99"/>
                      </a:lnTo>
                      <a:lnTo>
                        <a:pt x="162" y="99"/>
                      </a:lnTo>
                      <a:lnTo>
                        <a:pt x="170" y="97"/>
                      </a:lnTo>
                      <a:lnTo>
                        <a:pt x="179" y="96"/>
                      </a:lnTo>
                      <a:lnTo>
                        <a:pt x="194" y="96"/>
                      </a:lnTo>
                      <a:lnTo>
                        <a:pt x="198" y="95"/>
                      </a:lnTo>
                      <a:lnTo>
                        <a:pt x="202" y="92"/>
                      </a:lnTo>
                      <a:lnTo>
                        <a:pt x="206" y="90"/>
                      </a:lnTo>
                      <a:lnTo>
                        <a:pt x="208" y="88"/>
                      </a:lnTo>
                      <a:lnTo>
                        <a:pt x="214" y="86"/>
                      </a:lnTo>
                      <a:lnTo>
                        <a:pt x="221" y="86"/>
                      </a:lnTo>
                      <a:lnTo>
                        <a:pt x="227" y="86"/>
                      </a:lnTo>
                      <a:lnTo>
                        <a:pt x="233" y="84"/>
                      </a:lnTo>
                      <a:lnTo>
                        <a:pt x="235" y="83"/>
                      </a:lnTo>
                      <a:lnTo>
                        <a:pt x="235" y="82"/>
                      </a:lnTo>
                      <a:lnTo>
                        <a:pt x="235" y="79"/>
                      </a:lnTo>
                      <a:lnTo>
                        <a:pt x="233" y="79"/>
                      </a:lnTo>
                      <a:lnTo>
                        <a:pt x="227" y="78"/>
                      </a:lnTo>
                      <a:lnTo>
                        <a:pt x="220" y="79"/>
                      </a:lnTo>
                      <a:lnTo>
                        <a:pt x="213" y="80"/>
                      </a:lnTo>
                      <a:lnTo>
                        <a:pt x="209" y="80"/>
                      </a:lnTo>
                      <a:lnTo>
                        <a:pt x="207" y="79"/>
                      </a:lnTo>
                      <a:lnTo>
                        <a:pt x="208" y="77"/>
                      </a:lnTo>
                      <a:lnTo>
                        <a:pt x="221" y="72"/>
                      </a:lnTo>
                      <a:lnTo>
                        <a:pt x="226" y="70"/>
                      </a:lnTo>
                      <a:lnTo>
                        <a:pt x="226" y="69"/>
                      </a:lnTo>
                      <a:lnTo>
                        <a:pt x="221" y="66"/>
                      </a:lnTo>
                      <a:lnTo>
                        <a:pt x="216" y="65"/>
                      </a:lnTo>
                      <a:lnTo>
                        <a:pt x="211" y="66"/>
                      </a:lnTo>
                      <a:lnTo>
                        <a:pt x="206" y="69"/>
                      </a:lnTo>
                      <a:lnTo>
                        <a:pt x="195" y="76"/>
                      </a:lnTo>
                      <a:lnTo>
                        <a:pt x="186" y="84"/>
                      </a:lnTo>
                      <a:lnTo>
                        <a:pt x="183" y="85"/>
                      </a:lnTo>
                      <a:lnTo>
                        <a:pt x="178" y="86"/>
                      </a:lnTo>
                      <a:lnTo>
                        <a:pt x="147" y="90"/>
                      </a:lnTo>
                      <a:lnTo>
                        <a:pt x="117" y="92"/>
                      </a:lnTo>
                      <a:lnTo>
                        <a:pt x="89" y="92"/>
                      </a:lnTo>
                      <a:lnTo>
                        <a:pt x="75" y="92"/>
                      </a:lnTo>
                      <a:lnTo>
                        <a:pt x="61" y="91"/>
                      </a:lnTo>
                      <a:lnTo>
                        <a:pt x="54" y="89"/>
                      </a:lnTo>
                      <a:lnTo>
                        <a:pt x="52" y="88"/>
                      </a:lnTo>
                      <a:lnTo>
                        <a:pt x="52" y="86"/>
                      </a:lnTo>
                      <a:lnTo>
                        <a:pt x="52" y="85"/>
                      </a:lnTo>
                      <a:lnTo>
                        <a:pt x="56" y="82"/>
                      </a:lnTo>
                      <a:lnTo>
                        <a:pt x="61" y="79"/>
                      </a:lnTo>
                      <a:lnTo>
                        <a:pt x="66" y="76"/>
                      </a:lnTo>
                      <a:lnTo>
                        <a:pt x="70" y="71"/>
                      </a:lnTo>
                      <a:lnTo>
                        <a:pt x="68" y="71"/>
                      </a:lnTo>
                      <a:lnTo>
                        <a:pt x="66" y="71"/>
                      </a:lnTo>
                      <a:lnTo>
                        <a:pt x="63" y="72"/>
                      </a:lnTo>
                      <a:lnTo>
                        <a:pt x="62" y="73"/>
                      </a:lnTo>
                      <a:lnTo>
                        <a:pt x="54" y="75"/>
                      </a:lnTo>
                      <a:lnTo>
                        <a:pt x="48" y="77"/>
                      </a:lnTo>
                      <a:lnTo>
                        <a:pt x="43" y="79"/>
                      </a:lnTo>
                      <a:lnTo>
                        <a:pt x="35" y="82"/>
                      </a:lnTo>
                      <a:lnTo>
                        <a:pt x="33" y="82"/>
                      </a:lnTo>
                      <a:lnTo>
                        <a:pt x="29" y="79"/>
                      </a:lnTo>
                      <a:lnTo>
                        <a:pt x="25" y="77"/>
                      </a:lnTo>
                      <a:lnTo>
                        <a:pt x="23" y="73"/>
                      </a:lnTo>
                      <a:lnTo>
                        <a:pt x="26" y="71"/>
                      </a:lnTo>
                      <a:lnTo>
                        <a:pt x="30" y="69"/>
                      </a:lnTo>
                      <a:lnTo>
                        <a:pt x="37" y="61"/>
                      </a:lnTo>
                      <a:lnTo>
                        <a:pt x="35" y="60"/>
                      </a:lnTo>
                      <a:lnTo>
                        <a:pt x="34" y="60"/>
                      </a:lnTo>
                      <a:lnTo>
                        <a:pt x="32" y="61"/>
                      </a:lnTo>
                      <a:lnTo>
                        <a:pt x="29" y="64"/>
                      </a:lnTo>
                      <a:lnTo>
                        <a:pt x="25" y="65"/>
                      </a:lnTo>
                      <a:lnTo>
                        <a:pt x="23" y="65"/>
                      </a:lnTo>
                      <a:lnTo>
                        <a:pt x="18" y="63"/>
                      </a:lnTo>
                      <a:lnTo>
                        <a:pt x="15" y="63"/>
                      </a:lnTo>
                      <a:lnTo>
                        <a:pt x="13" y="64"/>
                      </a:lnTo>
                      <a:lnTo>
                        <a:pt x="9" y="64"/>
                      </a:lnTo>
                      <a:lnTo>
                        <a:pt x="5" y="64"/>
                      </a:lnTo>
                      <a:lnTo>
                        <a:pt x="4" y="64"/>
                      </a:lnTo>
                      <a:lnTo>
                        <a:pt x="2" y="64"/>
                      </a:lnTo>
                      <a:lnTo>
                        <a:pt x="1" y="60"/>
                      </a:lnTo>
                      <a:lnTo>
                        <a:pt x="0" y="53"/>
                      </a:lnTo>
                      <a:lnTo>
                        <a:pt x="1" y="50"/>
                      </a:lnTo>
                      <a:lnTo>
                        <a:pt x="4" y="47"/>
                      </a:lnTo>
                      <a:lnTo>
                        <a:pt x="7" y="46"/>
                      </a:lnTo>
                      <a:lnTo>
                        <a:pt x="11" y="45"/>
                      </a:lnTo>
                      <a:lnTo>
                        <a:pt x="15" y="46"/>
                      </a:lnTo>
                      <a:lnTo>
                        <a:pt x="18" y="45"/>
                      </a:lnTo>
                      <a:lnTo>
                        <a:pt x="33" y="43"/>
                      </a:lnTo>
                      <a:lnTo>
                        <a:pt x="47" y="43"/>
                      </a:lnTo>
                      <a:lnTo>
                        <a:pt x="52" y="43"/>
                      </a:lnTo>
                      <a:lnTo>
                        <a:pt x="56" y="41"/>
                      </a:lnTo>
                      <a:lnTo>
                        <a:pt x="65" y="40"/>
                      </a:lnTo>
                      <a:lnTo>
                        <a:pt x="72" y="39"/>
                      </a:lnTo>
                      <a:lnTo>
                        <a:pt x="81" y="37"/>
                      </a:lnTo>
                      <a:lnTo>
                        <a:pt x="89" y="37"/>
                      </a:lnTo>
                      <a:lnTo>
                        <a:pt x="100" y="38"/>
                      </a:lnTo>
                      <a:lnTo>
                        <a:pt x="110" y="38"/>
                      </a:lnTo>
                      <a:lnTo>
                        <a:pt x="122" y="37"/>
                      </a:lnTo>
                      <a:lnTo>
                        <a:pt x="131" y="34"/>
                      </a:lnTo>
                      <a:lnTo>
                        <a:pt x="136" y="31"/>
                      </a:lnTo>
                      <a:lnTo>
                        <a:pt x="141" y="26"/>
                      </a:lnTo>
                      <a:lnTo>
                        <a:pt x="146" y="25"/>
                      </a:lnTo>
                      <a:lnTo>
                        <a:pt x="151" y="24"/>
                      </a:lnTo>
                      <a:lnTo>
                        <a:pt x="161" y="21"/>
                      </a:lnTo>
                      <a:lnTo>
                        <a:pt x="167" y="20"/>
                      </a:lnTo>
                      <a:lnTo>
                        <a:pt x="173" y="20"/>
                      </a:lnTo>
                      <a:lnTo>
                        <a:pt x="179" y="19"/>
                      </a:lnTo>
                      <a:lnTo>
                        <a:pt x="185" y="18"/>
                      </a:lnTo>
                      <a:lnTo>
                        <a:pt x="194" y="16"/>
                      </a:lnTo>
                      <a:lnTo>
                        <a:pt x="204" y="16"/>
                      </a:lnTo>
                      <a:lnTo>
                        <a:pt x="213" y="16"/>
                      </a:lnTo>
                      <a:lnTo>
                        <a:pt x="223" y="16"/>
                      </a:lnTo>
                      <a:lnTo>
                        <a:pt x="237" y="15"/>
                      </a:lnTo>
                      <a:lnTo>
                        <a:pt x="251" y="13"/>
                      </a:lnTo>
                      <a:lnTo>
                        <a:pt x="265" y="12"/>
                      </a:lnTo>
                      <a:lnTo>
                        <a:pt x="279" y="12"/>
                      </a:lnTo>
                      <a:lnTo>
                        <a:pt x="289" y="12"/>
                      </a:lnTo>
                      <a:lnTo>
                        <a:pt x="294" y="12"/>
                      </a:lnTo>
                      <a:lnTo>
                        <a:pt x="300" y="10"/>
                      </a:lnTo>
                      <a:lnTo>
                        <a:pt x="306" y="8"/>
                      </a:lnTo>
                      <a:lnTo>
                        <a:pt x="312" y="7"/>
                      </a:lnTo>
                      <a:lnTo>
                        <a:pt x="326" y="3"/>
                      </a:lnTo>
                      <a:lnTo>
                        <a:pt x="327" y="3"/>
                      </a:lnTo>
                      <a:lnTo>
                        <a:pt x="329" y="3"/>
                      </a:lnTo>
                      <a:lnTo>
                        <a:pt x="334" y="9"/>
                      </a:lnTo>
                      <a:lnTo>
                        <a:pt x="336" y="10"/>
                      </a:lnTo>
                      <a:lnTo>
                        <a:pt x="338" y="10"/>
                      </a:lnTo>
                      <a:lnTo>
                        <a:pt x="339" y="9"/>
                      </a:lnTo>
                      <a:lnTo>
                        <a:pt x="348" y="3"/>
                      </a:lnTo>
                      <a:lnTo>
                        <a:pt x="352" y="1"/>
                      </a:lnTo>
                      <a:lnTo>
                        <a:pt x="354" y="0"/>
                      </a:lnTo>
                      <a:lnTo>
                        <a:pt x="372" y="3"/>
                      </a:lnTo>
                      <a:lnTo>
                        <a:pt x="387" y="7"/>
                      </a:lnTo>
                      <a:lnTo>
                        <a:pt x="404" y="8"/>
                      </a:lnTo>
                      <a:lnTo>
                        <a:pt x="423" y="8"/>
                      </a:lnTo>
                      <a:lnTo>
                        <a:pt x="423" y="10"/>
                      </a:lnTo>
                      <a:lnTo>
                        <a:pt x="421" y="10"/>
                      </a:lnTo>
                      <a:lnTo>
                        <a:pt x="418" y="12"/>
                      </a:lnTo>
                      <a:lnTo>
                        <a:pt x="413" y="13"/>
                      </a:lnTo>
                      <a:lnTo>
                        <a:pt x="411" y="14"/>
                      </a:lnTo>
                      <a:lnTo>
                        <a:pt x="410" y="15"/>
                      </a:lnTo>
                      <a:lnTo>
                        <a:pt x="418" y="16"/>
                      </a:lnTo>
                      <a:lnTo>
                        <a:pt x="424" y="15"/>
                      </a:lnTo>
                      <a:lnTo>
                        <a:pt x="439" y="13"/>
                      </a:lnTo>
                      <a:lnTo>
                        <a:pt x="446" y="10"/>
                      </a:lnTo>
                      <a:lnTo>
                        <a:pt x="449" y="10"/>
                      </a:lnTo>
                      <a:lnTo>
                        <a:pt x="452" y="12"/>
                      </a:lnTo>
                      <a:lnTo>
                        <a:pt x="454" y="14"/>
                      </a:lnTo>
                      <a:lnTo>
                        <a:pt x="458" y="16"/>
                      </a:lnTo>
                      <a:lnTo>
                        <a:pt x="462" y="16"/>
                      </a:lnTo>
                      <a:lnTo>
                        <a:pt x="465" y="15"/>
                      </a:lnTo>
                      <a:lnTo>
                        <a:pt x="473" y="14"/>
                      </a:lnTo>
                      <a:lnTo>
                        <a:pt x="477" y="15"/>
                      </a:lnTo>
                      <a:lnTo>
                        <a:pt x="482" y="19"/>
                      </a:lnTo>
                      <a:lnTo>
                        <a:pt x="484" y="19"/>
                      </a:lnTo>
                      <a:lnTo>
                        <a:pt x="485" y="19"/>
                      </a:lnTo>
                      <a:lnTo>
                        <a:pt x="486" y="22"/>
                      </a:lnTo>
                      <a:lnTo>
                        <a:pt x="489" y="25"/>
                      </a:lnTo>
                      <a:lnTo>
                        <a:pt x="493" y="28"/>
                      </a:lnTo>
                      <a:lnTo>
                        <a:pt x="499" y="29"/>
                      </a:lnTo>
                      <a:lnTo>
                        <a:pt x="505" y="31"/>
                      </a:lnTo>
                      <a:lnTo>
                        <a:pt x="505" y="32"/>
                      </a:lnTo>
                      <a:lnTo>
                        <a:pt x="505" y="33"/>
                      </a:lnTo>
                      <a:lnTo>
                        <a:pt x="500" y="35"/>
                      </a:lnTo>
                      <a:lnTo>
                        <a:pt x="496" y="38"/>
                      </a:lnTo>
                      <a:lnTo>
                        <a:pt x="489" y="44"/>
                      </a:lnTo>
                      <a:lnTo>
                        <a:pt x="482" y="46"/>
                      </a:lnTo>
                      <a:lnTo>
                        <a:pt x="476" y="47"/>
                      </a:lnTo>
                      <a:lnTo>
                        <a:pt x="470" y="50"/>
                      </a:lnTo>
                      <a:lnTo>
                        <a:pt x="465" y="52"/>
                      </a:lnTo>
                      <a:lnTo>
                        <a:pt x="461" y="52"/>
                      </a:lnTo>
                      <a:lnTo>
                        <a:pt x="457" y="51"/>
                      </a:lnTo>
                      <a:lnTo>
                        <a:pt x="451" y="48"/>
                      </a:lnTo>
                      <a:lnTo>
                        <a:pt x="446" y="47"/>
                      </a:lnTo>
                      <a:lnTo>
                        <a:pt x="442" y="48"/>
                      </a:lnTo>
                      <a:lnTo>
                        <a:pt x="437" y="50"/>
                      </a:lnTo>
                      <a:lnTo>
                        <a:pt x="432" y="52"/>
                      </a:lnTo>
                      <a:lnTo>
                        <a:pt x="426" y="53"/>
                      </a:lnTo>
                      <a:lnTo>
                        <a:pt x="421" y="54"/>
                      </a:lnTo>
                      <a:lnTo>
                        <a:pt x="410" y="53"/>
                      </a:lnTo>
                      <a:lnTo>
                        <a:pt x="399" y="53"/>
                      </a:lnTo>
                      <a:lnTo>
                        <a:pt x="393" y="54"/>
                      </a:lnTo>
                      <a:lnTo>
                        <a:pt x="388" y="57"/>
                      </a:lnTo>
                      <a:lnTo>
                        <a:pt x="392" y="58"/>
                      </a:lnTo>
                      <a:lnTo>
                        <a:pt x="396" y="59"/>
                      </a:lnTo>
                      <a:lnTo>
                        <a:pt x="404" y="60"/>
                      </a:lnTo>
                      <a:lnTo>
                        <a:pt x="413" y="60"/>
                      </a:lnTo>
                      <a:lnTo>
                        <a:pt x="420" y="61"/>
                      </a:lnTo>
                      <a:lnTo>
                        <a:pt x="419" y="63"/>
                      </a:lnTo>
                      <a:lnTo>
                        <a:pt x="396" y="63"/>
                      </a:lnTo>
                      <a:lnTo>
                        <a:pt x="385" y="65"/>
                      </a:lnTo>
                      <a:lnTo>
                        <a:pt x="380" y="66"/>
                      </a:lnTo>
                      <a:lnTo>
                        <a:pt x="374" y="70"/>
                      </a:lnTo>
                      <a:lnTo>
                        <a:pt x="376" y="72"/>
                      </a:lnTo>
                      <a:lnTo>
                        <a:pt x="377" y="73"/>
                      </a:lnTo>
                      <a:lnTo>
                        <a:pt x="380" y="73"/>
                      </a:lnTo>
                      <a:lnTo>
                        <a:pt x="391" y="75"/>
                      </a:lnTo>
                      <a:lnTo>
                        <a:pt x="410" y="73"/>
                      </a:lnTo>
                      <a:lnTo>
                        <a:pt x="428" y="70"/>
                      </a:lnTo>
                      <a:lnTo>
                        <a:pt x="438" y="67"/>
                      </a:lnTo>
                      <a:lnTo>
                        <a:pt x="448" y="64"/>
                      </a:lnTo>
                      <a:lnTo>
                        <a:pt x="454" y="63"/>
                      </a:lnTo>
                      <a:lnTo>
                        <a:pt x="461" y="63"/>
                      </a:lnTo>
                      <a:lnTo>
                        <a:pt x="462" y="61"/>
                      </a:lnTo>
                      <a:lnTo>
                        <a:pt x="465" y="61"/>
                      </a:lnTo>
                      <a:lnTo>
                        <a:pt x="466" y="60"/>
                      </a:lnTo>
                      <a:lnTo>
                        <a:pt x="468" y="61"/>
                      </a:lnTo>
                      <a:lnTo>
                        <a:pt x="470" y="64"/>
                      </a:lnTo>
                      <a:lnTo>
                        <a:pt x="470" y="66"/>
                      </a:lnTo>
                      <a:lnTo>
                        <a:pt x="468" y="67"/>
                      </a:lnTo>
                      <a:lnTo>
                        <a:pt x="465" y="6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7" name="Freeform 911"/>
                <p:cNvSpPr>
                  <a:spLocks/>
                </p:cNvSpPr>
                <p:nvPr/>
              </p:nvSpPr>
              <p:spPr bwMode="auto">
                <a:xfrm>
                  <a:off x="2793522" y="1973833"/>
                  <a:ext cx="2960" cy="2960"/>
                </a:xfrm>
                <a:custGeom>
                  <a:avLst/>
                  <a:gdLst>
                    <a:gd name="T0" fmla="*/ 2147483647 w 3"/>
                    <a:gd name="T1" fmla="*/ 2147483647 h 2"/>
                    <a:gd name="T2" fmla="*/ 2147483647 w 3"/>
                    <a:gd name="T3" fmla="*/ 2147483647 h 2"/>
                    <a:gd name="T4" fmla="*/ 2147483647 w 3"/>
                    <a:gd name="T5" fmla="*/ 2147483647 h 2"/>
                    <a:gd name="T6" fmla="*/ 0 w 3"/>
                    <a:gd name="T7" fmla="*/ 2147483647 h 2"/>
                    <a:gd name="T8" fmla="*/ 0 w 3"/>
                    <a:gd name="T9" fmla="*/ 2147483647 h 2"/>
                    <a:gd name="T10" fmla="*/ 2147483647 w 3"/>
                    <a:gd name="T11" fmla="*/ 0 h 2"/>
                    <a:gd name="T12" fmla="*/ 2147483647 w 3"/>
                    <a:gd name="T13" fmla="*/ 2147483647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3" y="1"/>
                      </a:moveTo>
                      <a:lnTo>
                        <a:pt x="3" y="2"/>
                      </a:lnTo>
                      <a:lnTo>
                        <a:pt x="2" y="2"/>
                      </a:lnTo>
                      <a:lnTo>
                        <a:pt x="0" y="2"/>
                      </a:lnTo>
                      <a:lnTo>
                        <a:pt x="0" y="1"/>
                      </a:lnTo>
                      <a:lnTo>
                        <a:pt x="2" y="0"/>
                      </a:lnTo>
                      <a:lnTo>
                        <a:pt x="3"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8" name="Freeform 912"/>
                <p:cNvSpPr>
                  <a:spLocks/>
                </p:cNvSpPr>
                <p:nvPr/>
              </p:nvSpPr>
              <p:spPr bwMode="auto">
                <a:xfrm>
                  <a:off x="2392473" y="1765169"/>
                  <a:ext cx="171665" cy="173145"/>
                </a:xfrm>
                <a:custGeom>
                  <a:avLst/>
                  <a:gdLst>
                    <a:gd name="T0" fmla="*/ 2147483647 w 125"/>
                    <a:gd name="T1" fmla="*/ 2147483647 h 117"/>
                    <a:gd name="T2" fmla="*/ 2147483647 w 125"/>
                    <a:gd name="T3" fmla="*/ 2147483647 h 117"/>
                    <a:gd name="T4" fmla="*/ 2147483647 w 125"/>
                    <a:gd name="T5" fmla="*/ 2147483647 h 117"/>
                    <a:gd name="T6" fmla="*/ 2147483647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2147483647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0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w 125"/>
                    <a:gd name="T67" fmla="*/ 2147483647 h 117"/>
                    <a:gd name="T68" fmla="*/ 2147483647 w 125"/>
                    <a:gd name="T69" fmla="*/ 2147483647 h 117"/>
                    <a:gd name="T70" fmla="*/ 2147483647 w 125"/>
                    <a:gd name="T71" fmla="*/ 2147483647 h 117"/>
                    <a:gd name="T72" fmla="*/ 2147483647 w 125"/>
                    <a:gd name="T73" fmla="*/ 2147483647 h 117"/>
                    <a:gd name="T74" fmla="*/ 2147483647 w 125"/>
                    <a:gd name="T75" fmla="*/ 2147483647 h 117"/>
                    <a:gd name="T76" fmla="*/ 2147483647 w 125"/>
                    <a:gd name="T77" fmla="*/ 2147483647 h 117"/>
                    <a:gd name="T78" fmla="*/ 2147483647 w 125"/>
                    <a:gd name="T79" fmla="*/ 2147483647 h 117"/>
                    <a:gd name="T80" fmla="*/ 2147483647 w 125"/>
                    <a:gd name="T81" fmla="*/ 2147483647 h 117"/>
                    <a:gd name="T82" fmla="*/ 2147483647 w 125"/>
                    <a:gd name="T83" fmla="*/ 2147483647 h 117"/>
                    <a:gd name="T84" fmla="*/ 2147483647 w 125"/>
                    <a:gd name="T85" fmla="*/ 2147483647 h 117"/>
                    <a:gd name="T86" fmla="*/ 2147483647 w 125"/>
                    <a:gd name="T87" fmla="*/ 2147483647 h 117"/>
                    <a:gd name="T88" fmla="*/ 2147483647 w 125"/>
                    <a:gd name="T89" fmla="*/ 2147483647 h 117"/>
                    <a:gd name="T90" fmla="*/ 2147483647 w 125"/>
                    <a:gd name="T91" fmla="*/ 2147483647 h 117"/>
                    <a:gd name="T92" fmla="*/ 2147483647 w 125"/>
                    <a:gd name="T93" fmla="*/ 2147483647 h 117"/>
                    <a:gd name="T94" fmla="*/ 2147483647 w 125"/>
                    <a:gd name="T95" fmla="*/ 2147483647 h 1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117"/>
                    <a:gd name="T146" fmla="*/ 125 w 125"/>
                    <a:gd name="T147" fmla="*/ 117 h 1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117">
                      <a:moveTo>
                        <a:pt x="57" y="114"/>
                      </a:moveTo>
                      <a:lnTo>
                        <a:pt x="61" y="115"/>
                      </a:lnTo>
                      <a:lnTo>
                        <a:pt x="66" y="115"/>
                      </a:lnTo>
                      <a:lnTo>
                        <a:pt x="69" y="114"/>
                      </a:lnTo>
                      <a:lnTo>
                        <a:pt x="73" y="111"/>
                      </a:lnTo>
                      <a:lnTo>
                        <a:pt x="76" y="107"/>
                      </a:lnTo>
                      <a:lnTo>
                        <a:pt x="80" y="98"/>
                      </a:lnTo>
                      <a:lnTo>
                        <a:pt x="81" y="97"/>
                      </a:lnTo>
                      <a:lnTo>
                        <a:pt x="84" y="101"/>
                      </a:lnTo>
                      <a:lnTo>
                        <a:pt x="85" y="104"/>
                      </a:lnTo>
                      <a:lnTo>
                        <a:pt x="88" y="108"/>
                      </a:lnTo>
                      <a:lnTo>
                        <a:pt x="90" y="108"/>
                      </a:lnTo>
                      <a:lnTo>
                        <a:pt x="92" y="107"/>
                      </a:lnTo>
                      <a:lnTo>
                        <a:pt x="94" y="104"/>
                      </a:lnTo>
                      <a:lnTo>
                        <a:pt x="99" y="103"/>
                      </a:lnTo>
                      <a:lnTo>
                        <a:pt x="102" y="103"/>
                      </a:lnTo>
                      <a:lnTo>
                        <a:pt x="103" y="101"/>
                      </a:lnTo>
                      <a:lnTo>
                        <a:pt x="107" y="96"/>
                      </a:lnTo>
                      <a:lnTo>
                        <a:pt x="111" y="91"/>
                      </a:lnTo>
                      <a:lnTo>
                        <a:pt x="117" y="88"/>
                      </a:lnTo>
                      <a:lnTo>
                        <a:pt x="123" y="85"/>
                      </a:lnTo>
                      <a:lnTo>
                        <a:pt x="125" y="85"/>
                      </a:lnTo>
                      <a:lnTo>
                        <a:pt x="125" y="84"/>
                      </a:lnTo>
                      <a:lnTo>
                        <a:pt x="123" y="80"/>
                      </a:lnTo>
                      <a:lnTo>
                        <a:pt x="120" y="75"/>
                      </a:lnTo>
                      <a:lnTo>
                        <a:pt x="116" y="69"/>
                      </a:lnTo>
                      <a:lnTo>
                        <a:pt x="112" y="63"/>
                      </a:lnTo>
                      <a:lnTo>
                        <a:pt x="111" y="60"/>
                      </a:lnTo>
                      <a:lnTo>
                        <a:pt x="108" y="61"/>
                      </a:lnTo>
                      <a:lnTo>
                        <a:pt x="104" y="63"/>
                      </a:lnTo>
                      <a:lnTo>
                        <a:pt x="102" y="63"/>
                      </a:lnTo>
                      <a:lnTo>
                        <a:pt x="99" y="61"/>
                      </a:lnTo>
                      <a:lnTo>
                        <a:pt x="98" y="60"/>
                      </a:lnTo>
                      <a:lnTo>
                        <a:pt x="98" y="59"/>
                      </a:lnTo>
                      <a:lnTo>
                        <a:pt x="102" y="57"/>
                      </a:lnTo>
                      <a:lnTo>
                        <a:pt x="103" y="53"/>
                      </a:lnTo>
                      <a:lnTo>
                        <a:pt x="103" y="50"/>
                      </a:lnTo>
                      <a:lnTo>
                        <a:pt x="102" y="46"/>
                      </a:lnTo>
                      <a:lnTo>
                        <a:pt x="98" y="39"/>
                      </a:lnTo>
                      <a:lnTo>
                        <a:pt x="93" y="32"/>
                      </a:lnTo>
                      <a:lnTo>
                        <a:pt x="92" y="32"/>
                      </a:lnTo>
                      <a:lnTo>
                        <a:pt x="89" y="33"/>
                      </a:lnTo>
                      <a:lnTo>
                        <a:pt x="86" y="35"/>
                      </a:lnTo>
                      <a:lnTo>
                        <a:pt x="84" y="37"/>
                      </a:lnTo>
                      <a:lnTo>
                        <a:pt x="83" y="35"/>
                      </a:lnTo>
                      <a:lnTo>
                        <a:pt x="81" y="34"/>
                      </a:lnTo>
                      <a:lnTo>
                        <a:pt x="81" y="29"/>
                      </a:lnTo>
                      <a:lnTo>
                        <a:pt x="75" y="31"/>
                      </a:lnTo>
                      <a:lnTo>
                        <a:pt x="70" y="31"/>
                      </a:lnTo>
                      <a:lnTo>
                        <a:pt x="65" y="28"/>
                      </a:lnTo>
                      <a:lnTo>
                        <a:pt x="60" y="24"/>
                      </a:lnTo>
                      <a:lnTo>
                        <a:pt x="52" y="14"/>
                      </a:lnTo>
                      <a:lnTo>
                        <a:pt x="45" y="3"/>
                      </a:lnTo>
                      <a:lnTo>
                        <a:pt x="43" y="2"/>
                      </a:lnTo>
                      <a:lnTo>
                        <a:pt x="42" y="3"/>
                      </a:lnTo>
                      <a:lnTo>
                        <a:pt x="40" y="3"/>
                      </a:lnTo>
                      <a:lnTo>
                        <a:pt x="36" y="2"/>
                      </a:lnTo>
                      <a:lnTo>
                        <a:pt x="32" y="0"/>
                      </a:lnTo>
                      <a:lnTo>
                        <a:pt x="31" y="0"/>
                      </a:lnTo>
                      <a:lnTo>
                        <a:pt x="28" y="0"/>
                      </a:lnTo>
                      <a:lnTo>
                        <a:pt x="28" y="1"/>
                      </a:lnTo>
                      <a:lnTo>
                        <a:pt x="27" y="1"/>
                      </a:lnTo>
                      <a:lnTo>
                        <a:pt x="29" y="7"/>
                      </a:lnTo>
                      <a:lnTo>
                        <a:pt x="29" y="9"/>
                      </a:lnTo>
                      <a:lnTo>
                        <a:pt x="28" y="11"/>
                      </a:lnTo>
                      <a:lnTo>
                        <a:pt x="23" y="13"/>
                      </a:lnTo>
                      <a:lnTo>
                        <a:pt x="18" y="16"/>
                      </a:lnTo>
                      <a:lnTo>
                        <a:pt x="15" y="21"/>
                      </a:lnTo>
                      <a:lnTo>
                        <a:pt x="15" y="26"/>
                      </a:lnTo>
                      <a:lnTo>
                        <a:pt x="17" y="27"/>
                      </a:lnTo>
                      <a:lnTo>
                        <a:pt x="19" y="28"/>
                      </a:lnTo>
                      <a:lnTo>
                        <a:pt x="23" y="28"/>
                      </a:lnTo>
                      <a:lnTo>
                        <a:pt x="24" y="29"/>
                      </a:lnTo>
                      <a:lnTo>
                        <a:pt x="26" y="32"/>
                      </a:lnTo>
                      <a:lnTo>
                        <a:pt x="27" y="34"/>
                      </a:lnTo>
                      <a:lnTo>
                        <a:pt x="26" y="35"/>
                      </a:lnTo>
                      <a:lnTo>
                        <a:pt x="23" y="37"/>
                      </a:lnTo>
                      <a:lnTo>
                        <a:pt x="20" y="37"/>
                      </a:lnTo>
                      <a:lnTo>
                        <a:pt x="15" y="37"/>
                      </a:lnTo>
                      <a:lnTo>
                        <a:pt x="13" y="37"/>
                      </a:lnTo>
                      <a:lnTo>
                        <a:pt x="10" y="35"/>
                      </a:lnTo>
                      <a:lnTo>
                        <a:pt x="6" y="35"/>
                      </a:lnTo>
                      <a:lnTo>
                        <a:pt x="4" y="35"/>
                      </a:lnTo>
                      <a:lnTo>
                        <a:pt x="3" y="37"/>
                      </a:lnTo>
                      <a:lnTo>
                        <a:pt x="3" y="38"/>
                      </a:lnTo>
                      <a:lnTo>
                        <a:pt x="4" y="41"/>
                      </a:lnTo>
                      <a:lnTo>
                        <a:pt x="6" y="43"/>
                      </a:lnTo>
                      <a:lnTo>
                        <a:pt x="9" y="43"/>
                      </a:lnTo>
                      <a:lnTo>
                        <a:pt x="13" y="43"/>
                      </a:lnTo>
                      <a:lnTo>
                        <a:pt x="15" y="41"/>
                      </a:lnTo>
                      <a:lnTo>
                        <a:pt x="17" y="43"/>
                      </a:lnTo>
                      <a:lnTo>
                        <a:pt x="18" y="43"/>
                      </a:lnTo>
                      <a:lnTo>
                        <a:pt x="18" y="46"/>
                      </a:lnTo>
                      <a:lnTo>
                        <a:pt x="18" y="48"/>
                      </a:lnTo>
                      <a:lnTo>
                        <a:pt x="15" y="51"/>
                      </a:lnTo>
                      <a:lnTo>
                        <a:pt x="13" y="52"/>
                      </a:lnTo>
                      <a:lnTo>
                        <a:pt x="9" y="53"/>
                      </a:lnTo>
                      <a:lnTo>
                        <a:pt x="4" y="53"/>
                      </a:lnTo>
                      <a:lnTo>
                        <a:pt x="3" y="52"/>
                      </a:lnTo>
                      <a:lnTo>
                        <a:pt x="1" y="51"/>
                      </a:lnTo>
                      <a:lnTo>
                        <a:pt x="0" y="52"/>
                      </a:lnTo>
                      <a:lnTo>
                        <a:pt x="0" y="54"/>
                      </a:lnTo>
                      <a:lnTo>
                        <a:pt x="4" y="63"/>
                      </a:lnTo>
                      <a:lnTo>
                        <a:pt x="6" y="67"/>
                      </a:lnTo>
                      <a:lnTo>
                        <a:pt x="5" y="72"/>
                      </a:lnTo>
                      <a:lnTo>
                        <a:pt x="8" y="72"/>
                      </a:lnTo>
                      <a:lnTo>
                        <a:pt x="9" y="72"/>
                      </a:lnTo>
                      <a:lnTo>
                        <a:pt x="15" y="70"/>
                      </a:lnTo>
                      <a:lnTo>
                        <a:pt x="18" y="69"/>
                      </a:lnTo>
                      <a:lnTo>
                        <a:pt x="20" y="69"/>
                      </a:lnTo>
                      <a:lnTo>
                        <a:pt x="23" y="70"/>
                      </a:lnTo>
                      <a:lnTo>
                        <a:pt x="24" y="72"/>
                      </a:lnTo>
                      <a:lnTo>
                        <a:pt x="26" y="73"/>
                      </a:lnTo>
                      <a:lnTo>
                        <a:pt x="28" y="75"/>
                      </a:lnTo>
                      <a:lnTo>
                        <a:pt x="40" y="75"/>
                      </a:lnTo>
                      <a:lnTo>
                        <a:pt x="42" y="75"/>
                      </a:lnTo>
                      <a:lnTo>
                        <a:pt x="45" y="76"/>
                      </a:lnTo>
                      <a:lnTo>
                        <a:pt x="45" y="78"/>
                      </a:lnTo>
                      <a:lnTo>
                        <a:pt x="45" y="80"/>
                      </a:lnTo>
                      <a:lnTo>
                        <a:pt x="42" y="83"/>
                      </a:lnTo>
                      <a:lnTo>
                        <a:pt x="40" y="84"/>
                      </a:lnTo>
                      <a:lnTo>
                        <a:pt x="33" y="84"/>
                      </a:lnTo>
                      <a:lnTo>
                        <a:pt x="26" y="84"/>
                      </a:lnTo>
                      <a:lnTo>
                        <a:pt x="18" y="86"/>
                      </a:lnTo>
                      <a:lnTo>
                        <a:pt x="17" y="86"/>
                      </a:lnTo>
                      <a:lnTo>
                        <a:pt x="17" y="89"/>
                      </a:lnTo>
                      <a:lnTo>
                        <a:pt x="20" y="94"/>
                      </a:lnTo>
                      <a:lnTo>
                        <a:pt x="22" y="98"/>
                      </a:lnTo>
                      <a:lnTo>
                        <a:pt x="24" y="101"/>
                      </a:lnTo>
                      <a:lnTo>
                        <a:pt x="28" y="101"/>
                      </a:lnTo>
                      <a:lnTo>
                        <a:pt x="28" y="102"/>
                      </a:lnTo>
                      <a:lnTo>
                        <a:pt x="34" y="102"/>
                      </a:lnTo>
                      <a:lnTo>
                        <a:pt x="36" y="103"/>
                      </a:lnTo>
                      <a:lnTo>
                        <a:pt x="33" y="105"/>
                      </a:lnTo>
                      <a:lnTo>
                        <a:pt x="32" y="108"/>
                      </a:lnTo>
                      <a:lnTo>
                        <a:pt x="33" y="111"/>
                      </a:lnTo>
                      <a:lnTo>
                        <a:pt x="37" y="116"/>
                      </a:lnTo>
                      <a:lnTo>
                        <a:pt x="41" y="117"/>
                      </a:lnTo>
                      <a:lnTo>
                        <a:pt x="43" y="117"/>
                      </a:lnTo>
                      <a:lnTo>
                        <a:pt x="46" y="117"/>
                      </a:lnTo>
                      <a:lnTo>
                        <a:pt x="46" y="116"/>
                      </a:lnTo>
                      <a:lnTo>
                        <a:pt x="48" y="115"/>
                      </a:lnTo>
                      <a:lnTo>
                        <a:pt x="51" y="115"/>
                      </a:lnTo>
                      <a:lnTo>
                        <a:pt x="55" y="115"/>
                      </a:lnTo>
                      <a:lnTo>
                        <a:pt x="57" y="1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39" name="Freeform 913"/>
                <p:cNvSpPr>
                  <a:spLocks/>
                </p:cNvSpPr>
                <p:nvPr/>
              </p:nvSpPr>
              <p:spPr bwMode="auto">
                <a:xfrm>
                  <a:off x="2792041" y="1972353"/>
                  <a:ext cx="2960" cy="2960"/>
                </a:xfrm>
                <a:custGeom>
                  <a:avLst/>
                  <a:gdLst>
                    <a:gd name="T0" fmla="*/ 2147483647 w 3"/>
                    <a:gd name="T1" fmla="*/ 2147483647 h 2"/>
                    <a:gd name="T2" fmla="*/ 2147483647 w 3"/>
                    <a:gd name="T3" fmla="*/ 2147483647 h 2"/>
                    <a:gd name="T4" fmla="*/ 2147483647 w 3"/>
                    <a:gd name="T5" fmla="*/ 2147483647 h 2"/>
                    <a:gd name="T6" fmla="*/ 2147483647 w 3"/>
                    <a:gd name="T7" fmla="*/ 2147483647 h 2"/>
                    <a:gd name="T8" fmla="*/ 2147483647 w 3"/>
                    <a:gd name="T9" fmla="*/ 2147483647 h 2"/>
                    <a:gd name="T10" fmla="*/ 0 w 3"/>
                    <a:gd name="T11" fmla="*/ 2147483647 h 2"/>
                    <a:gd name="T12" fmla="*/ 0 w 3"/>
                    <a:gd name="T13" fmla="*/ 2147483647 h 2"/>
                    <a:gd name="T14" fmla="*/ 0 w 3"/>
                    <a:gd name="T15" fmla="*/ 2147483647 h 2"/>
                    <a:gd name="T16" fmla="*/ 2147483647 w 3"/>
                    <a:gd name="T17" fmla="*/ 0 h 2"/>
                    <a:gd name="T18" fmla="*/ 2147483647 w 3"/>
                    <a:gd name="T19" fmla="*/ 2147483647 h 2"/>
                    <a:gd name="T20" fmla="*/ 2147483647 w 3"/>
                    <a:gd name="T21" fmla="*/ 2147483647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2"/>
                    <a:gd name="T35" fmla="*/ 3 w 3"/>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2">
                      <a:moveTo>
                        <a:pt x="3" y="1"/>
                      </a:moveTo>
                      <a:lnTo>
                        <a:pt x="3" y="1"/>
                      </a:lnTo>
                      <a:lnTo>
                        <a:pt x="3" y="2"/>
                      </a:lnTo>
                      <a:lnTo>
                        <a:pt x="1" y="2"/>
                      </a:lnTo>
                      <a:lnTo>
                        <a:pt x="0" y="2"/>
                      </a:lnTo>
                      <a:lnTo>
                        <a:pt x="0" y="1"/>
                      </a:lnTo>
                      <a:lnTo>
                        <a:pt x="1" y="0"/>
                      </a:lnTo>
                      <a:lnTo>
                        <a:pt x="3"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0" name="Freeform 914"/>
                <p:cNvSpPr>
                  <a:spLocks/>
                </p:cNvSpPr>
                <p:nvPr/>
              </p:nvSpPr>
              <p:spPr bwMode="auto">
                <a:xfrm>
                  <a:off x="2390994" y="1763691"/>
                  <a:ext cx="170185" cy="173145"/>
                </a:xfrm>
                <a:custGeom>
                  <a:avLst/>
                  <a:gdLst>
                    <a:gd name="T0" fmla="*/ 2147483647 w 124"/>
                    <a:gd name="T1" fmla="*/ 2147483647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0 h 117"/>
                    <a:gd name="T38" fmla="*/ 2147483647 w 124"/>
                    <a:gd name="T39" fmla="*/ 2147483647 h 117"/>
                    <a:gd name="T40" fmla="*/ 2147483647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0 w 124"/>
                    <a:gd name="T65" fmla="*/ 2147483647 h 117"/>
                    <a:gd name="T66" fmla="*/ 2147483647 w 124"/>
                    <a:gd name="T67" fmla="*/ 2147483647 h 117"/>
                    <a:gd name="T68" fmla="*/ 2147483647 w 124"/>
                    <a:gd name="T69" fmla="*/ 2147483647 h 117"/>
                    <a:gd name="T70" fmla="*/ 2147483647 w 124"/>
                    <a:gd name="T71" fmla="*/ 2147483647 h 117"/>
                    <a:gd name="T72" fmla="*/ 2147483647 w 124"/>
                    <a:gd name="T73" fmla="*/ 2147483647 h 117"/>
                    <a:gd name="T74" fmla="*/ 2147483647 w 124"/>
                    <a:gd name="T75" fmla="*/ 2147483647 h 117"/>
                    <a:gd name="T76" fmla="*/ 2147483647 w 124"/>
                    <a:gd name="T77" fmla="*/ 2147483647 h 117"/>
                    <a:gd name="T78" fmla="*/ 2147483647 w 124"/>
                    <a:gd name="T79" fmla="*/ 2147483647 h 117"/>
                    <a:gd name="T80" fmla="*/ 2147483647 w 124"/>
                    <a:gd name="T81" fmla="*/ 2147483647 h 117"/>
                    <a:gd name="T82" fmla="*/ 2147483647 w 124"/>
                    <a:gd name="T83" fmla="*/ 2147483647 h 117"/>
                    <a:gd name="T84" fmla="*/ 2147483647 w 124"/>
                    <a:gd name="T85" fmla="*/ 2147483647 h 117"/>
                    <a:gd name="T86" fmla="*/ 2147483647 w 124"/>
                    <a:gd name="T87" fmla="*/ 2147483647 h 117"/>
                    <a:gd name="T88" fmla="*/ 2147483647 w 124"/>
                    <a:gd name="T89" fmla="*/ 2147483647 h 117"/>
                    <a:gd name="T90" fmla="*/ 2147483647 w 124"/>
                    <a:gd name="T91" fmla="*/ 2147483647 h 117"/>
                    <a:gd name="T92" fmla="*/ 2147483647 w 124"/>
                    <a:gd name="T93" fmla="*/ 2147483647 h 117"/>
                    <a:gd name="T94" fmla="*/ 2147483647 w 124"/>
                    <a:gd name="T95" fmla="*/ 2147483647 h 1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4"/>
                    <a:gd name="T145" fmla="*/ 0 h 117"/>
                    <a:gd name="T146" fmla="*/ 124 w 124"/>
                    <a:gd name="T147" fmla="*/ 117 h 11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4" h="117">
                      <a:moveTo>
                        <a:pt x="57" y="113"/>
                      </a:moveTo>
                      <a:lnTo>
                        <a:pt x="57" y="113"/>
                      </a:lnTo>
                      <a:lnTo>
                        <a:pt x="61" y="115"/>
                      </a:lnTo>
                      <a:lnTo>
                        <a:pt x="66" y="115"/>
                      </a:lnTo>
                      <a:lnTo>
                        <a:pt x="68" y="113"/>
                      </a:lnTo>
                      <a:lnTo>
                        <a:pt x="72" y="111"/>
                      </a:lnTo>
                      <a:lnTo>
                        <a:pt x="76" y="106"/>
                      </a:lnTo>
                      <a:lnTo>
                        <a:pt x="80" y="98"/>
                      </a:lnTo>
                      <a:lnTo>
                        <a:pt x="81" y="97"/>
                      </a:lnTo>
                      <a:lnTo>
                        <a:pt x="84" y="100"/>
                      </a:lnTo>
                      <a:lnTo>
                        <a:pt x="85" y="104"/>
                      </a:lnTo>
                      <a:lnTo>
                        <a:pt x="87" y="108"/>
                      </a:lnTo>
                      <a:lnTo>
                        <a:pt x="90" y="108"/>
                      </a:lnTo>
                      <a:lnTo>
                        <a:pt x="91" y="106"/>
                      </a:lnTo>
                      <a:lnTo>
                        <a:pt x="94" y="104"/>
                      </a:lnTo>
                      <a:lnTo>
                        <a:pt x="99" y="103"/>
                      </a:lnTo>
                      <a:lnTo>
                        <a:pt x="101" y="103"/>
                      </a:lnTo>
                      <a:lnTo>
                        <a:pt x="103" y="100"/>
                      </a:lnTo>
                      <a:lnTo>
                        <a:pt x="107" y="96"/>
                      </a:lnTo>
                      <a:lnTo>
                        <a:pt x="110" y="91"/>
                      </a:lnTo>
                      <a:lnTo>
                        <a:pt x="117" y="87"/>
                      </a:lnTo>
                      <a:lnTo>
                        <a:pt x="123" y="85"/>
                      </a:lnTo>
                      <a:lnTo>
                        <a:pt x="124" y="85"/>
                      </a:lnTo>
                      <a:lnTo>
                        <a:pt x="124" y="84"/>
                      </a:lnTo>
                      <a:lnTo>
                        <a:pt x="123" y="80"/>
                      </a:lnTo>
                      <a:lnTo>
                        <a:pt x="119" y="74"/>
                      </a:lnTo>
                      <a:lnTo>
                        <a:pt x="115" y="68"/>
                      </a:lnTo>
                      <a:lnTo>
                        <a:pt x="112" y="62"/>
                      </a:lnTo>
                      <a:lnTo>
                        <a:pt x="110" y="60"/>
                      </a:lnTo>
                      <a:lnTo>
                        <a:pt x="108" y="61"/>
                      </a:lnTo>
                      <a:lnTo>
                        <a:pt x="104" y="62"/>
                      </a:lnTo>
                      <a:lnTo>
                        <a:pt x="101" y="62"/>
                      </a:lnTo>
                      <a:lnTo>
                        <a:pt x="99" y="61"/>
                      </a:lnTo>
                      <a:lnTo>
                        <a:pt x="98" y="60"/>
                      </a:lnTo>
                      <a:lnTo>
                        <a:pt x="98" y="59"/>
                      </a:lnTo>
                      <a:lnTo>
                        <a:pt x="101" y="57"/>
                      </a:lnTo>
                      <a:lnTo>
                        <a:pt x="103" y="53"/>
                      </a:lnTo>
                      <a:lnTo>
                        <a:pt x="103" y="49"/>
                      </a:lnTo>
                      <a:lnTo>
                        <a:pt x="101" y="46"/>
                      </a:lnTo>
                      <a:lnTo>
                        <a:pt x="98" y="39"/>
                      </a:lnTo>
                      <a:lnTo>
                        <a:pt x="93" y="32"/>
                      </a:lnTo>
                      <a:lnTo>
                        <a:pt x="91" y="32"/>
                      </a:lnTo>
                      <a:lnTo>
                        <a:pt x="89" y="33"/>
                      </a:lnTo>
                      <a:lnTo>
                        <a:pt x="86" y="35"/>
                      </a:lnTo>
                      <a:lnTo>
                        <a:pt x="84" y="36"/>
                      </a:lnTo>
                      <a:lnTo>
                        <a:pt x="82" y="35"/>
                      </a:lnTo>
                      <a:lnTo>
                        <a:pt x="81" y="34"/>
                      </a:lnTo>
                      <a:lnTo>
                        <a:pt x="81" y="29"/>
                      </a:lnTo>
                      <a:lnTo>
                        <a:pt x="75" y="30"/>
                      </a:lnTo>
                      <a:lnTo>
                        <a:pt x="70" y="30"/>
                      </a:lnTo>
                      <a:lnTo>
                        <a:pt x="65" y="28"/>
                      </a:lnTo>
                      <a:lnTo>
                        <a:pt x="60" y="23"/>
                      </a:lnTo>
                      <a:lnTo>
                        <a:pt x="52" y="14"/>
                      </a:lnTo>
                      <a:lnTo>
                        <a:pt x="44" y="3"/>
                      </a:lnTo>
                      <a:lnTo>
                        <a:pt x="43" y="2"/>
                      </a:lnTo>
                      <a:lnTo>
                        <a:pt x="42" y="3"/>
                      </a:lnTo>
                      <a:lnTo>
                        <a:pt x="39" y="3"/>
                      </a:lnTo>
                      <a:lnTo>
                        <a:pt x="35" y="2"/>
                      </a:lnTo>
                      <a:lnTo>
                        <a:pt x="32" y="0"/>
                      </a:lnTo>
                      <a:lnTo>
                        <a:pt x="30" y="0"/>
                      </a:lnTo>
                      <a:lnTo>
                        <a:pt x="28" y="0"/>
                      </a:lnTo>
                      <a:lnTo>
                        <a:pt x="28" y="1"/>
                      </a:lnTo>
                      <a:lnTo>
                        <a:pt x="27" y="1"/>
                      </a:lnTo>
                      <a:lnTo>
                        <a:pt x="29" y="7"/>
                      </a:lnTo>
                      <a:lnTo>
                        <a:pt x="29" y="9"/>
                      </a:lnTo>
                      <a:lnTo>
                        <a:pt x="28" y="10"/>
                      </a:lnTo>
                      <a:lnTo>
                        <a:pt x="23" y="13"/>
                      </a:lnTo>
                      <a:lnTo>
                        <a:pt x="18" y="16"/>
                      </a:lnTo>
                      <a:lnTo>
                        <a:pt x="15" y="21"/>
                      </a:lnTo>
                      <a:lnTo>
                        <a:pt x="15" y="26"/>
                      </a:lnTo>
                      <a:lnTo>
                        <a:pt x="16" y="27"/>
                      </a:lnTo>
                      <a:lnTo>
                        <a:pt x="19" y="28"/>
                      </a:lnTo>
                      <a:lnTo>
                        <a:pt x="23" y="28"/>
                      </a:lnTo>
                      <a:lnTo>
                        <a:pt x="24" y="29"/>
                      </a:lnTo>
                      <a:lnTo>
                        <a:pt x="25" y="32"/>
                      </a:lnTo>
                      <a:lnTo>
                        <a:pt x="27" y="34"/>
                      </a:lnTo>
                      <a:lnTo>
                        <a:pt x="25" y="35"/>
                      </a:lnTo>
                      <a:lnTo>
                        <a:pt x="23" y="36"/>
                      </a:lnTo>
                      <a:lnTo>
                        <a:pt x="20" y="36"/>
                      </a:lnTo>
                      <a:lnTo>
                        <a:pt x="15" y="36"/>
                      </a:lnTo>
                      <a:lnTo>
                        <a:pt x="13" y="36"/>
                      </a:lnTo>
                      <a:lnTo>
                        <a:pt x="10" y="35"/>
                      </a:lnTo>
                      <a:lnTo>
                        <a:pt x="6" y="35"/>
                      </a:lnTo>
                      <a:lnTo>
                        <a:pt x="4" y="35"/>
                      </a:lnTo>
                      <a:lnTo>
                        <a:pt x="2" y="36"/>
                      </a:lnTo>
                      <a:lnTo>
                        <a:pt x="2" y="38"/>
                      </a:lnTo>
                      <a:lnTo>
                        <a:pt x="4" y="41"/>
                      </a:lnTo>
                      <a:lnTo>
                        <a:pt x="6" y="42"/>
                      </a:lnTo>
                      <a:lnTo>
                        <a:pt x="9" y="42"/>
                      </a:lnTo>
                      <a:lnTo>
                        <a:pt x="13" y="42"/>
                      </a:lnTo>
                      <a:lnTo>
                        <a:pt x="15" y="41"/>
                      </a:lnTo>
                      <a:lnTo>
                        <a:pt x="16" y="42"/>
                      </a:lnTo>
                      <a:lnTo>
                        <a:pt x="18" y="42"/>
                      </a:lnTo>
                      <a:lnTo>
                        <a:pt x="18" y="46"/>
                      </a:lnTo>
                      <a:lnTo>
                        <a:pt x="18" y="48"/>
                      </a:lnTo>
                      <a:lnTo>
                        <a:pt x="15" y="51"/>
                      </a:lnTo>
                      <a:lnTo>
                        <a:pt x="13" y="52"/>
                      </a:lnTo>
                      <a:lnTo>
                        <a:pt x="9" y="53"/>
                      </a:lnTo>
                      <a:lnTo>
                        <a:pt x="4" y="53"/>
                      </a:lnTo>
                      <a:lnTo>
                        <a:pt x="2" y="52"/>
                      </a:lnTo>
                      <a:lnTo>
                        <a:pt x="1" y="51"/>
                      </a:lnTo>
                      <a:lnTo>
                        <a:pt x="0" y="52"/>
                      </a:lnTo>
                      <a:lnTo>
                        <a:pt x="0" y="54"/>
                      </a:lnTo>
                      <a:lnTo>
                        <a:pt x="4" y="62"/>
                      </a:lnTo>
                      <a:lnTo>
                        <a:pt x="6" y="67"/>
                      </a:lnTo>
                      <a:lnTo>
                        <a:pt x="5" y="72"/>
                      </a:lnTo>
                      <a:lnTo>
                        <a:pt x="7" y="72"/>
                      </a:lnTo>
                      <a:lnTo>
                        <a:pt x="9" y="72"/>
                      </a:lnTo>
                      <a:lnTo>
                        <a:pt x="15" y="70"/>
                      </a:lnTo>
                      <a:lnTo>
                        <a:pt x="18" y="68"/>
                      </a:lnTo>
                      <a:lnTo>
                        <a:pt x="20" y="68"/>
                      </a:lnTo>
                      <a:lnTo>
                        <a:pt x="23" y="70"/>
                      </a:lnTo>
                      <a:lnTo>
                        <a:pt x="24" y="72"/>
                      </a:lnTo>
                      <a:lnTo>
                        <a:pt x="25" y="73"/>
                      </a:lnTo>
                      <a:lnTo>
                        <a:pt x="28" y="74"/>
                      </a:lnTo>
                      <a:lnTo>
                        <a:pt x="39" y="74"/>
                      </a:lnTo>
                      <a:lnTo>
                        <a:pt x="42" y="74"/>
                      </a:lnTo>
                      <a:lnTo>
                        <a:pt x="44" y="76"/>
                      </a:lnTo>
                      <a:lnTo>
                        <a:pt x="44" y="78"/>
                      </a:lnTo>
                      <a:lnTo>
                        <a:pt x="44" y="80"/>
                      </a:lnTo>
                      <a:lnTo>
                        <a:pt x="42" y="83"/>
                      </a:lnTo>
                      <a:lnTo>
                        <a:pt x="39" y="84"/>
                      </a:lnTo>
                      <a:lnTo>
                        <a:pt x="33" y="84"/>
                      </a:lnTo>
                      <a:lnTo>
                        <a:pt x="25" y="84"/>
                      </a:lnTo>
                      <a:lnTo>
                        <a:pt x="18" y="86"/>
                      </a:lnTo>
                      <a:lnTo>
                        <a:pt x="16" y="86"/>
                      </a:lnTo>
                      <a:lnTo>
                        <a:pt x="16" y="89"/>
                      </a:lnTo>
                      <a:lnTo>
                        <a:pt x="20" y="93"/>
                      </a:lnTo>
                      <a:lnTo>
                        <a:pt x="21" y="98"/>
                      </a:lnTo>
                      <a:lnTo>
                        <a:pt x="24" y="100"/>
                      </a:lnTo>
                      <a:lnTo>
                        <a:pt x="28" y="100"/>
                      </a:lnTo>
                      <a:lnTo>
                        <a:pt x="28" y="102"/>
                      </a:lnTo>
                      <a:lnTo>
                        <a:pt x="34" y="102"/>
                      </a:lnTo>
                      <a:lnTo>
                        <a:pt x="35" y="103"/>
                      </a:lnTo>
                      <a:lnTo>
                        <a:pt x="33" y="105"/>
                      </a:lnTo>
                      <a:lnTo>
                        <a:pt x="32" y="108"/>
                      </a:lnTo>
                      <a:lnTo>
                        <a:pt x="33" y="111"/>
                      </a:lnTo>
                      <a:lnTo>
                        <a:pt x="37" y="116"/>
                      </a:lnTo>
                      <a:lnTo>
                        <a:pt x="41" y="117"/>
                      </a:lnTo>
                      <a:lnTo>
                        <a:pt x="43" y="117"/>
                      </a:lnTo>
                      <a:lnTo>
                        <a:pt x="46" y="117"/>
                      </a:lnTo>
                      <a:lnTo>
                        <a:pt x="46" y="116"/>
                      </a:lnTo>
                      <a:lnTo>
                        <a:pt x="48" y="115"/>
                      </a:lnTo>
                      <a:lnTo>
                        <a:pt x="51" y="115"/>
                      </a:lnTo>
                      <a:lnTo>
                        <a:pt x="54" y="115"/>
                      </a:lnTo>
                      <a:lnTo>
                        <a:pt x="57" y="1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1" name="Freeform 915"/>
                <p:cNvSpPr>
                  <a:spLocks/>
                </p:cNvSpPr>
                <p:nvPr/>
              </p:nvSpPr>
              <p:spPr bwMode="auto">
                <a:xfrm>
                  <a:off x="2476825" y="1957556"/>
                  <a:ext cx="32557" cy="20718"/>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0 h 14"/>
                    <a:gd name="T16" fmla="*/ 2147483647 w 23"/>
                    <a:gd name="T17" fmla="*/ 0 h 14"/>
                    <a:gd name="T18" fmla="*/ 2147483647 w 23"/>
                    <a:gd name="T19" fmla="*/ 2147483647 h 14"/>
                    <a:gd name="T20" fmla="*/ 2147483647 w 23"/>
                    <a:gd name="T21" fmla="*/ 2147483647 h 14"/>
                    <a:gd name="T22" fmla="*/ 0 w 23"/>
                    <a:gd name="T23" fmla="*/ 2147483647 h 14"/>
                    <a:gd name="T24" fmla="*/ 2147483647 w 23"/>
                    <a:gd name="T25" fmla="*/ 2147483647 h 14"/>
                    <a:gd name="T26" fmla="*/ 2147483647 w 23"/>
                    <a:gd name="T27" fmla="*/ 2147483647 h 14"/>
                    <a:gd name="T28" fmla="*/ 2147483647 w 23"/>
                    <a:gd name="T29" fmla="*/ 2147483647 h 14"/>
                    <a:gd name="T30" fmla="*/ 2147483647 w 23"/>
                    <a:gd name="T31" fmla="*/ 2147483647 h 14"/>
                    <a:gd name="T32" fmla="*/ 2147483647 w 23"/>
                    <a:gd name="T33" fmla="*/ 2147483647 h 14"/>
                    <a:gd name="T34" fmla="*/ 2147483647 w 23"/>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4"/>
                    <a:gd name="T56" fmla="*/ 23 w 23"/>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4">
                      <a:moveTo>
                        <a:pt x="17" y="14"/>
                      </a:moveTo>
                      <a:lnTo>
                        <a:pt x="19" y="13"/>
                      </a:lnTo>
                      <a:lnTo>
                        <a:pt x="22" y="12"/>
                      </a:lnTo>
                      <a:lnTo>
                        <a:pt x="23" y="10"/>
                      </a:lnTo>
                      <a:lnTo>
                        <a:pt x="22" y="9"/>
                      </a:lnTo>
                      <a:lnTo>
                        <a:pt x="16" y="5"/>
                      </a:lnTo>
                      <a:lnTo>
                        <a:pt x="12" y="3"/>
                      </a:lnTo>
                      <a:lnTo>
                        <a:pt x="8" y="0"/>
                      </a:lnTo>
                      <a:lnTo>
                        <a:pt x="7" y="0"/>
                      </a:lnTo>
                      <a:lnTo>
                        <a:pt x="3" y="1"/>
                      </a:lnTo>
                      <a:lnTo>
                        <a:pt x="2" y="3"/>
                      </a:lnTo>
                      <a:lnTo>
                        <a:pt x="0" y="4"/>
                      </a:lnTo>
                      <a:lnTo>
                        <a:pt x="2" y="5"/>
                      </a:lnTo>
                      <a:lnTo>
                        <a:pt x="4" y="10"/>
                      </a:lnTo>
                      <a:lnTo>
                        <a:pt x="8" y="14"/>
                      </a:lnTo>
                      <a:lnTo>
                        <a:pt x="11" y="14"/>
                      </a:lnTo>
                      <a:lnTo>
                        <a:pt x="12" y="14"/>
                      </a:lnTo>
                      <a:lnTo>
                        <a:pt x="17"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2" name="Freeform 916"/>
                <p:cNvSpPr>
                  <a:spLocks/>
                </p:cNvSpPr>
                <p:nvPr/>
              </p:nvSpPr>
              <p:spPr bwMode="auto">
                <a:xfrm>
                  <a:off x="2351040" y="1953115"/>
                  <a:ext cx="57715" cy="20718"/>
                </a:xfrm>
                <a:custGeom>
                  <a:avLst/>
                  <a:gdLst>
                    <a:gd name="T0" fmla="*/ 2147483647 w 42"/>
                    <a:gd name="T1" fmla="*/ 2147483647 h 14"/>
                    <a:gd name="T2" fmla="*/ 2147483647 w 42"/>
                    <a:gd name="T3" fmla="*/ 2147483647 h 14"/>
                    <a:gd name="T4" fmla="*/ 2147483647 w 42"/>
                    <a:gd name="T5" fmla="*/ 2147483647 h 14"/>
                    <a:gd name="T6" fmla="*/ 2147483647 w 42"/>
                    <a:gd name="T7" fmla="*/ 2147483647 h 14"/>
                    <a:gd name="T8" fmla="*/ 2147483647 w 42"/>
                    <a:gd name="T9" fmla="*/ 2147483647 h 14"/>
                    <a:gd name="T10" fmla="*/ 2147483647 w 42"/>
                    <a:gd name="T11" fmla="*/ 0 h 14"/>
                    <a:gd name="T12" fmla="*/ 2147483647 w 42"/>
                    <a:gd name="T13" fmla="*/ 2147483647 h 14"/>
                    <a:gd name="T14" fmla="*/ 2147483647 w 42"/>
                    <a:gd name="T15" fmla="*/ 2147483647 h 14"/>
                    <a:gd name="T16" fmla="*/ 2147483647 w 42"/>
                    <a:gd name="T17" fmla="*/ 2147483647 h 14"/>
                    <a:gd name="T18" fmla="*/ 2147483647 w 42"/>
                    <a:gd name="T19" fmla="*/ 2147483647 h 14"/>
                    <a:gd name="T20" fmla="*/ 2147483647 w 42"/>
                    <a:gd name="T21" fmla="*/ 2147483647 h 14"/>
                    <a:gd name="T22" fmla="*/ 2147483647 w 42"/>
                    <a:gd name="T23" fmla="*/ 0 h 14"/>
                    <a:gd name="T24" fmla="*/ 2147483647 w 42"/>
                    <a:gd name="T25" fmla="*/ 0 h 14"/>
                    <a:gd name="T26" fmla="*/ 2147483647 w 42"/>
                    <a:gd name="T27" fmla="*/ 2147483647 h 14"/>
                    <a:gd name="T28" fmla="*/ 0 w 42"/>
                    <a:gd name="T29" fmla="*/ 2147483647 h 14"/>
                    <a:gd name="T30" fmla="*/ 0 w 42"/>
                    <a:gd name="T31" fmla="*/ 2147483647 h 14"/>
                    <a:gd name="T32" fmla="*/ 0 w 42"/>
                    <a:gd name="T33" fmla="*/ 2147483647 h 14"/>
                    <a:gd name="T34" fmla="*/ 2147483647 w 42"/>
                    <a:gd name="T35" fmla="*/ 2147483647 h 14"/>
                    <a:gd name="T36" fmla="*/ 2147483647 w 42"/>
                    <a:gd name="T37" fmla="*/ 2147483647 h 14"/>
                    <a:gd name="T38" fmla="*/ 2147483647 w 42"/>
                    <a:gd name="T39" fmla="*/ 2147483647 h 14"/>
                    <a:gd name="T40" fmla="*/ 2147483647 w 42"/>
                    <a:gd name="T41" fmla="*/ 2147483647 h 14"/>
                    <a:gd name="T42" fmla="*/ 2147483647 w 42"/>
                    <a:gd name="T43" fmla="*/ 2147483647 h 14"/>
                    <a:gd name="T44" fmla="*/ 2147483647 w 42"/>
                    <a:gd name="T45" fmla="*/ 2147483647 h 14"/>
                    <a:gd name="T46" fmla="*/ 2147483647 w 42"/>
                    <a:gd name="T47" fmla="*/ 2147483647 h 14"/>
                    <a:gd name="T48" fmla="*/ 2147483647 w 42"/>
                    <a:gd name="T49" fmla="*/ 2147483647 h 14"/>
                    <a:gd name="T50" fmla="*/ 2147483647 w 42"/>
                    <a:gd name="T51" fmla="*/ 2147483647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14"/>
                    <a:gd name="T80" fmla="*/ 42 w 42"/>
                    <a:gd name="T81" fmla="*/ 14 h 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14">
                      <a:moveTo>
                        <a:pt x="40" y="8"/>
                      </a:moveTo>
                      <a:lnTo>
                        <a:pt x="42" y="6"/>
                      </a:lnTo>
                      <a:lnTo>
                        <a:pt x="42" y="4"/>
                      </a:lnTo>
                      <a:lnTo>
                        <a:pt x="42" y="3"/>
                      </a:lnTo>
                      <a:lnTo>
                        <a:pt x="40" y="1"/>
                      </a:lnTo>
                      <a:lnTo>
                        <a:pt x="38" y="0"/>
                      </a:lnTo>
                      <a:lnTo>
                        <a:pt x="34" y="1"/>
                      </a:lnTo>
                      <a:lnTo>
                        <a:pt x="29" y="2"/>
                      </a:lnTo>
                      <a:lnTo>
                        <a:pt x="25" y="3"/>
                      </a:lnTo>
                      <a:lnTo>
                        <a:pt x="23" y="2"/>
                      </a:lnTo>
                      <a:lnTo>
                        <a:pt x="20" y="1"/>
                      </a:lnTo>
                      <a:lnTo>
                        <a:pt x="17" y="0"/>
                      </a:lnTo>
                      <a:lnTo>
                        <a:pt x="15" y="0"/>
                      </a:lnTo>
                      <a:lnTo>
                        <a:pt x="1" y="9"/>
                      </a:lnTo>
                      <a:lnTo>
                        <a:pt x="0" y="10"/>
                      </a:lnTo>
                      <a:lnTo>
                        <a:pt x="0" y="12"/>
                      </a:lnTo>
                      <a:lnTo>
                        <a:pt x="0" y="13"/>
                      </a:lnTo>
                      <a:lnTo>
                        <a:pt x="2" y="14"/>
                      </a:lnTo>
                      <a:lnTo>
                        <a:pt x="10" y="13"/>
                      </a:lnTo>
                      <a:lnTo>
                        <a:pt x="19" y="12"/>
                      </a:lnTo>
                      <a:lnTo>
                        <a:pt x="26" y="10"/>
                      </a:lnTo>
                      <a:lnTo>
                        <a:pt x="30" y="10"/>
                      </a:lnTo>
                      <a:lnTo>
                        <a:pt x="34" y="12"/>
                      </a:lnTo>
                      <a:lnTo>
                        <a:pt x="35" y="12"/>
                      </a:lnTo>
                      <a:lnTo>
                        <a:pt x="36" y="10"/>
                      </a:lnTo>
                      <a:lnTo>
                        <a:pt x="40"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3" name="Freeform 917"/>
                <p:cNvSpPr>
                  <a:spLocks/>
                </p:cNvSpPr>
                <p:nvPr/>
              </p:nvSpPr>
              <p:spPr bwMode="auto">
                <a:xfrm>
                  <a:off x="2475345" y="1956075"/>
                  <a:ext cx="32557" cy="20718"/>
                </a:xfrm>
                <a:custGeom>
                  <a:avLst/>
                  <a:gdLst>
                    <a:gd name="T0" fmla="*/ 2147483647 w 23"/>
                    <a:gd name="T1" fmla="*/ 2147483647 h 14"/>
                    <a:gd name="T2" fmla="*/ 2147483647 w 23"/>
                    <a:gd name="T3" fmla="*/ 2147483647 h 14"/>
                    <a:gd name="T4" fmla="*/ 2147483647 w 23"/>
                    <a:gd name="T5" fmla="*/ 2147483647 h 14"/>
                    <a:gd name="T6" fmla="*/ 2147483647 w 23"/>
                    <a:gd name="T7" fmla="*/ 2147483647 h 14"/>
                    <a:gd name="T8" fmla="*/ 2147483647 w 23"/>
                    <a:gd name="T9" fmla="*/ 2147483647 h 14"/>
                    <a:gd name="T10" fmla="*/ 2147483647 w 23"/>
                    <a:gd name="T11" fmla="*/ 2147483647 h 14"/>
                    <a:gd name="T12" fmla="*/ 2147483647 w 23"/>
                    <a:gd name="T13" fmla="*/ 2147483647 h 14"/>
                    <a:gd name="T14" fmla="*/ 2147483647 w 23"/>
                    <a:gd name="T15" fmla="*/ 2147483647 h 14"/>
                    <a:gd name="T16" fmla="*/ 2147483647 w 23"/>
                    <a:gd name="T17" fmla="*/ 2147483647 h 14"/>
                    <a:gd name="T18" fmla="*/ 2147483647 w 23"/>
                    <a:gd name="T19" fmla="*/ 0 h 14"/>
                    <a:gd name="T20" fmla="*/ 2147483647 w 23"/>
                    <a:gd name="T21" fmla="*/ 0 h 14"/>
                    <a:gd name="T22" fmla="*/ 2147483647 w 23"/>
                    <a:gd name="T23" fmla="*/ 0 h 14"/>
                    <a:gd name="T24" fmla="*/ 2147483647 w 23"/>
                    <a:gd name="T25" fmla="*/ 2147483647 h 14"/>
                    <a:gd name="T26" fmla="*/ 2147483647 w 23"/>
                    <a:gd name="T27" fmla="*/ 2147483647 h 14"/>
                    <a:gd name="T28" fmla="*/ 0 w 23"/>
                    <a:gd name="T29" fmla="*/ 2147483647 h 14"/>
                    <a:gd name="T30" fmla="*/ 2147483647 w 23"/>
                    <a:gd name="T31" fmla="*/ 2147483647 h 14"/>
                    <a:gd name="T32" fmla="*/ 2147483647 w 23"/>
                    <a:gd name="T33" fmla="*/ 2147483647 h 14"/>
                    <a:gd name="T34" fmla="*/ 2147483647 w 23"/>
                    <a:gd name="T35" fmla="*/ 2147483647 h 14"/>
                    <a:gd name="T36" fmla="*/ 2147483647 w 23"/>
                    <a:gd name="T37" fmla="*/ 2147483647 h 14"/>
                    <a:gd name="T38" fmla="*/ 2147483647 w 23"/>
                    <a:gd name="T39" fmla="*/ 2147483647 h 14"/>
                    <a:gd name="T40" fmla="*/ 2147483647 w 23"/>
                    <a:gd name="T41" fmla="*/ 2147483647 h 14"/>
                    <a:gd name="T42" fmla="*/ 2147483647 w 23"/>
                    <a:gd name="T43" fmla="*/ 2147483647 h 14"/>
                    <a:gd name="T44" fmla="*/ 2147483647 w 23"/>
                    <a:gd name="T45" fmla="*/ 2147483647 h 14"/>
                    <a:gd name="T46" fmla="*/ 2147483647 w 23"/>
                    <a:gd name="T47" fmla="*/ 2147483647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14"/>
                    <a:gd name="T74" fmla="*/ 23 w 23"/>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14">
                      <a:moveTo>
                        <a:pt x="17" y="14"/>
                      </a:moveTo>
                      <a:lnTo>
                        <a:pt x="17" y="14"/>
                      </a:lnTo>
                      <a:lnTo>
                        <a:pt x="19" y="13"/>
                      </a:lnTo>
                      <a:lnTo>
                        <a:pt x="22" y="12"/>
                      </a:lnTo>
                      <a:lnTo>
                        <a:pt x="23" y="10"/>
                      </a:lnTo>
                      <a:lnTo>
                        <a:pt x="22" y="8"/>
                      </a:lnTo>
                      <a:lnTo>
                        <a:pt x="15" y="5"/>
                      </a:lnTo>
                      <a:lnTo>
                        <a:pt x="12" y="2"/>
                      </a:lnTo>
                      <a:lnTo>
                        <a:pt x="8" y="0"/>
                      </a:lnTo>
                      <a:lnTo>
                        <a:pt x="6" y="0"/>
                      </a:lnTo>
                      <a:lnTo>
                        <a:pt x="3" y="1"/>
                      </a:lnTo>
                      <a:lnTo>
                        <a:pt x="1" y="2"/>
                      </a:lnTo>
                      <a:lnTo>
                        <a:pt x="0" y="4"/>
                      </a:lnTo>
                      <a:lnTo>
                        <a:pt x="1" y="5"/>
                      </a:lnTo>
                      <a:lnTo>
                        <a:pt x="4" y="10"/>
                      </a:lnTo>
                      <a:lnTo>
                        <a:pt x="8" y="14"/>
                      </a:lnTo>
                      <a:lnTo>
                        <a:pt x="10" y="14"/>
                      </a:lnTo>
                      <a:lnTo>
                        <a:pt x="12" y="14"/>
                      </a:lnTo>
                      <a:lnTo>
                        <a:pt x="17"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4" name="Freeform 918"/>
                <p:cNvSpPr>
                  <a:spLocks/>
                </p:cNvSpPr>
                <p:nvPr/>
              </p:nvSpPr>
              <p:spPr bwMode="auto">
                <a:xfrm>
                  <a:off x="2349557" y="1951636"/>
                  <a:ext cx="56235" cy="20718"/>
                </a:xfrm>
                <a:custGeom>
                  <a:avLst/>
                  <a:gdLst>
                    <a:gd name="T0" fmla="*/ 2147483647 w 42"/>
                    <a:gd name="T1" fmla="*/ 2147483647 h 14"/>
                    <a:gd name="T2" fmla="*/ 2147483647 w 42"/>
                    <a:gd name="T3" fmla="*/ 2147483647 h 14"/>
                    <a:gd name="T4" fmla="*/ 2147483647 w 42"/>
                    <a:gd name="T5" fmla="*/ 2147483647 h 14"/>
                    <a:gd name="T6" fmla="*/ 2147483647 w 42"/>
                    <a:gd name="T7" fmla="*/ 2147483647 h 14"/>
                    <a:gd name="T8" fmla="*/ 2147483647 w 42"/>
                    <a:gd name="T9" fmla="*/ 2147483647 h 14"/>
                    <a:gd name="T10" fmla="*/ 2147483647 w 42"/>
                    <a:gd name="T11" fmla="*/ 2147483647 h 14"/>
                    <a:gd name="T12" fmla="*/ 2147483647 w 42"/>
                    <a:gd name="T13" fmla="*/ 2147483647 h 14"/>
                    <a:gd name="T14" fmla="*/ 2147483647 w 42"/>
                    <a:gd name="T15" fmla="*/ 0 h 14"/>
                    <a:gd name="T16" fmla="*/ 2147483647 w 42"/>
                    <a:gd name="T17" fmla="*/ 2147483647 h 14"/>
                    <a:gd name="T18" fmla="*/ 2147483647 w 42"/>
                    <a:gd name="T19" fmla="*/ 2147483647 h 14"/>
                    <a:gd name="T20" fmla="*/ 2147483647 w 42"/>
                    <a:gd name="T21" fmla="*/ 2147483647 h 14"/>
                    <a:gd name="T22" fmla="*/ 2147483647 w 42"/>
                    <a:gd name="T23" fmla="*/ 2147483647 h 14"/>
                    <a:gd name="T24" fmla="*/ 2147483647 w 42"/>
                    <a:gd name="T25" fmla="*/ 2147483647 h 14"/>
                    <a:gd name="T26" fmla="*/ 2147483647 w 42"/>
                    <a:gd name="T27" fmla="*/ 2147483647 h 14"/>
                    <a:gd name="T28" fmla="*/ 2147483647 w 42"/>
                    <a:gd name="T29" fmla="*/ 0 h 14"/>
                    <a:gd name="T30" fmla="*/ 2147483647 w 42"/>
                    <a:gd name="T31" fmla="*/ 0 h 14"/>
                    <a:gd name="T32" fmla="*/ 2147483647 w 42"/>
                    <a:gd name="T33" fmla="*/ 0 h 14"/>
                    <a:gd name="T34" fmla="*/ 2147483647 w 42"/>
                    <a:gd name="T35" fmla="*/ 2147483647 h 14"/>
                    <a:gd name="T36" fmla="*/ 2147483647 w 42"/>
                    <a:gd name="T37" fmla="*/ 2147483647 h 14"/>
                    <a:gd name="T38" fmla="*/ 0 w 42"/>
                    <a:gd name="T39" fmla="*/ 2147483647 h 14"/>
                    <a:gd name="T40" fmla="*/ 0 w 42"/>
                    <a:gd name="T41" fmla="*/ 2147483647 h 14"/>
                    <a:gd name="T42" fmla="*/ 0 w 42"/>
                    <a:gd name="T43" fmla="*/ 2147483647 h 14"/>
                    <a:gd name="T44" fmla="*/ 2147483647 w 42"/>
                    <a:gd name="T45" fmla="*/ 2147483647 h 14"/>
                    <a:gd name="T46" fmla="*/ 2147483647 w 42"/>
                    <a:gd name="T47" fmla="*/ 2147483647 h 14"/>
                    <a:gd name="T48" fmla="*/ 2147483647 w 42"/>
                    <a:gd name="T49" fmla="*/ 2147483647 h 14"/>
                    <a:gd name="T50" fmla="*/ 2147483647 w 42"/>
                    <a:gd name="T51" fmla="*/ 2147483647 h 14"/>
                    <a:gd name="T52" fmla="*/ 2147483647 w 42"/>
                    <a:gd name="T53" fmla="*/ 2147483647 h 14"/>
                    <a:gd name="T54" fmla="*/ 2147483647 w 42"/>
                    <a:gd name="T55" fmla="*/ 2147483647 h 14"/>
                    <a:gd name="T56" fmla="*/ 2147483647 w 42"/>
                    <a:gd name="T57" fmla="*/ 2147483647 h 14"/>
                    <a:gd name="T58" fmla="*/ 2147483647 w 42"/>
                    <a:gd name="T59" fmla="*/ 2147483647 h 14"/>
                    <a:gd name="T60" fmla="*/ 2147483647 w 42"/>
                    <a:gd name="T61" fmla="*/ 2147483647 h 14"/>
                    <a:gd name="T62" fmla="*/ 2147483647 w 42"/>
                    <a:gd name="T63" fmla="*/ 2147483647 h 14"/>
                    <a:gd name="T64" fmla="*/ 2147483647 w 42"/>
                    <a:gd name="T65" fmla="*/ 2147483647 h 14"/>
                    <a:gd name="T66" fmla="*/ 2147483647 w 42"/>
                    <a:gd name="T67" fmla="*/ 2147483647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14"/>
                    <a:gd name="T104" fmla="*/ 42 w 42"/>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14">
                      <a:moveTo>
                        <a:pt x="41" y="8"/>
                      </a:moveTo>
                      <a:lnTo>
                        <a:pt x="41" y="8"/>
                      </a:lnTo>
                      <a:lnTo>
                        <a:pt x="42" y="5"/>
                      </a:lnTo>
                      <a:lnTo>
                        <a:pt x="42" y="4"/>
                      </a:lnTo>
                      <a:lnTo>
                        <a:pt x="42" y="3"/>
                      </a:lnTo>
                      <a:lnTo>
                        <a:pt x="41" y="1"/>
                      </a:lnTo>
                      <a:lnTo>
                        <a:pt x="38" y="0"/>
                      </a:lnTo>
                      <a:lnTo>
                        <a:pt x="35" y="1"/>
                      </a:lnTo>
                      <a:lnTo>
                        <a:pt x="30" y="2"/>
                      </a:lnTo>
                      <a:lnTo>
                        <a:pt x="26" y="3"/>
                      </a:lnTo>
                      <a:lnTo>
                        <a:pt x="23" y="2"/>
                      </a:lnTo>
                      <a:lnTo>
                        <a:pt x="21" y="1"/>
                      </a:lnTo>
                      <a:lnTo>
                        <a:pt x="18" y="0"/>
                      </a:lnTo>
                      <a:lnTo>
                        <a:pt x="16" y="0"/>
                      </a:lnTo>
                      <a:lnTo>
                        <a:pt x="2" y="9"/>
                      </a:lnTo>
                      <a:lnTo>
                        <a:pt x="0" y="10"/>
                      </a:lnTo>
                      <a:lnTo>
                        <a:pt x="0" y="11"/>
                      </a:lnTo>
                      <a:lnTo>
                        <a:pt x="0" y="13"/>
                      </a:lnTo>
                      <a:lnTo>
                        <a:pt x="3" y="14"/>
                      </a:lnTo>
                      <a:lnTo>
                        <a:pt x="11" y="13"/>
                      </a:lnTo>
                      <a:lnTo>
                        <a:pt x="19" y="11"/>
                      </a:lnTo>
                      <a:lnTo>
                        <a:pt x="27" y="10"/>
                      </a:lnTo>
                      <a:lnTo>
                        <a:pt x="31" y="10"/>
                      </a:lnTo>
                      <a:lnTo>
                        <a:pt x="35" y="11"/>
                      </a:lnTo>
                      <a:lnTo>
                        <a:pt x="36" y="11"/>
                      </a:lnTo>
                      <a:lnTo>
                        <a:pt x="37" y="10"/>
                      </a:lnTo>
                      <a:lnTo>
                        <a:pt x="41"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5" name="Freeform 919"/>
                <p:cNvSpPr>
                  <a:spLocks/>
                </p:cNvSpPr>
                <p:nvPr/>
              </p:nvSpPr>
              <p:spPr bwMode="auto">
                <a:xfrm>
                  <a:off x="2275563" y="1833242"/>
                  <a:ext cx="23678" cy="29598"/>
                </a:xfrm>
                <a:custGeom>
                  <a:avLst/>
                  <a:gdLst>
                    <a:gd name="T0" fmla="*/ 2147483647 w 18"/>
                    <a:gd name="T1" fmla="*/ 2147483647 h 20"/>
                    <a:gd name="T2" fmla="*/ 2147483647 w 18"/>
                    <a:gd name="T3" fmla="*/ 2147483647 h 20"/>
                    <a:gd name="T4" fmla="*/ 0 w 18"/>
                    <a:gd name="T5" fmla="*/ 2147483647 h 20"/>
                    <a:gd name="T6" fmla="*/ 0 w 18"/>
                    <a:gd name="T7" fmla="*/ 2147483647 h 20"/>
                    <a:gd name="T8" fmla="*/ 2147483647 w 18"/>
                    <a:gd name="T9" fmla="*/ 0 h 20"/>
                    <a:gd name="T10" fmla="*/ 2147483647 w 18"/>
                    <a:gd name="T11" fmla="*/ 0 h 20"/>
                    <a:gd name="T12" fmla="*/ 2147483647 w 18"/>
                    <a:gd name="T13" fmla="*/ 0 h 20"/>
                    <a:gd name="T14" fmla="*/ 2147483647 w 18"/>
                    <a:gd name="T15" fmla="*/ 2147483647 h 20"/>
                    <a:gd name="T16" fmla="*/ 2147483647 w 18"/>
                    <a:gd name="T17" fmla="*/ 2147483647 h 20"/>
                    <a:gd name="T18" fmla="*/ 2147483647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2" y="10"/>
                      </a:moveTo>
                      <a:lnTo>
                        <a:pt x="1" y="7"/>
                      </a:lnTo>
                      <a:lnTo>
                        <a:pt x="0" y="5"/>
                      </a:lnTo>
                      <a:lnTo>
                        <a:pt x="0" y="2"/>
                      </a:lnTo>
                      <a:lnTo>
                        <a:pt x="2" y="0"/>
                      </a:lnTo>
                      <a:lnTo>
                        <a:pt x="9" y="0"/>
                      </a:lnTo>
                      <a:lnTo>
                        <a:pt x="12" y="0"/>
                      </a:lnTo>
                      <a:lnTo>
                        <a:pt x="14" y="2"/>
                      </a:lnTo>
                      <a:lnTo>
                        <a:pt x="16" y="7"/>
                      </a:lnTo>
                      <a:lnTo>
                        <a:pt x="18" y="13"/>
                      </a:lnTo>
                      <a:lnTo>
                        <a:pt x="16" y="17"/>
                      </a:lnTo>
                      <a:lnTo>
                        <a:pt x="14" y="19"/>
                      </a:lnTo>
                      <a:lnTo>
                        <a:pt x="11" y="19"/>
                      </a:lnTo>
                      <a:lnTo>
                        <a:pt x="10" y="20"/>
                      </a:lnTo>
                      <a:lnTo>
                        <a:pt x="7" y="19"/>
                      </a:lnTo>
                      <a:lnTo>
                        <a:pt x="6" y="17"/>
                      </a:lnTo>
                      <a:lnTo>
                        <a:pt x="2"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6" name="Freeform 920"/>
                <p:cNvSpPr>
                  <a:spLocks/>
                </p:cNvSpPr>
                <p:nvPr/>
              </p:nvSpPr>
              <p:spPr bwMode="auto">
                <a:xfrm>
                  <a:off x="2182330" y="1947192"/>
                  <a:ext cx="42917" cy="26638"/>
                </a:xfrm>
                <a:custGeom>
                  <a:avLst/>
                  <a:gdLst>
                    <a:gd name="T0" fmla="*/ 2147483647 w 31"/>
                    <a:gd name="T1" fmla="*/ 2147483647 h 18"/>
                    <a:gd name="T2" fmla="*/ 2147483647 w 31"/>
                    <a:gd name="T3" fmla="*/ 2147483647 h 18"/>
                    <a:gd name="T4" fmla="*/ 2147483647 w 31"/>
                    <a:gd name="T5" fmla="*/ 2147483647 h 18"/>
                    <a:gd name="T6" fmla="*/ 2147483647 w 31"/>
                    <a:gd name="T7" fmla="*/ 2147483647 h 18"/>
                    <a:gd name="T8" fmla="*/ 0 w 31"/>
                    <a:gd name="T9" fmla="*/ 2147483647 h 18"/>
                    <a:gd name="T10" fmla="*/ 0 w 31"/>
                    <a:gd name="T11" fmla="*/ 2147483647 h 18"/>
                    <a:gd name="T12" fmla="*/ 2147483647 w 31"/>
                    <a:gd name="T13" fmla="*/ 2147483647 h 18"/>
                    <a:gd name="T14" fmla="*/ 2147483647 w 31"/>
                    <a:gd name="T15" fmla="*/ 2147483647 h 18"/>
                    <a:gd name="T16" fmla="*/ 2147483647 w 31"/>
                    <a:gd name="T17" fmla="*/ 2147483647 h 18"/>
                    <a:gd name="T18" fmla="*/ 2147483647 w 31"/>
                    <a:gd name="T19" fmla="*/ 0 h 18"/>
                    <a:gd name="T20" fmla="*/ 2147483647 w 31"/>
                    <a:gd name="T21" fmla="*/ 2147483647 h 18"/>
                    <a:gd name="T22" fmla="*/ 2147483647 w 31"/>
                    <a:gd name="T23" fmla="*/ 2147483647 h 18"/>
                    <a:gd name="T24" fmla="*/ 2147483647 w 31"/>
                    <a:gd name="T25" fmla="*/ 2147483647 h 18"/>
                    <a:gd name="T26" fmla="*/ 2147483647 w 31"/>
                    <a:gd name="T27" fmla="*/ 2147483647 h 18"/>
                    <a:gd name="T28" fmla="*/ 2147483647 w 31"/>
                    <a:gd name="T29" fmla="*/ 2147483647 h 18"/>
                    <a:gd name="T30" fmla="*/ 2147483647 w 31"/>
                    <a:gd name="T31" fmla="*/ 2147483647 h 18"/>
                    <a:gd name="T32" fmla="*/ 2147483647 w 31"/>
                    <a:gd name="T33" fmla="*/ 2147483647 h 18"/>
                    <a:gd name="T34" fmla="*/ 2147483647 w 31"/>
                    <a:gd name="T35" fmla="*/ 2147483647 h 18"/>
                    <a:gd name="T36" fmla="*/ 2147483647 w 31"/>
                    <a:gd name="T37" fmla="*/ 214748364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18"/>
                    <a:gd name="T59" fmla="*/ 31 w 31"/>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18">
                      <a:moveTo>
                        <a:pt x="16" y="18"/>
                      </a:moveTo>
                      <a:lnTo>
                        <a:pt x="11" y="18"/>
                      </a:lnTo>
                      <a:lnTo>
                        <a:pt x="7" y="17"/>
                      </a:lnTo>
                      <a:lnTo>
                        <a:pt x="3" y="14"/>
                      </a:lnTo>
                      <a:lnTo>
                        <a:pt x="0" y="11"/>
                      </a:lnTo>
                      <a:lnTo>
                        <a:pt x="0" y="7"/>
                      </a:lnTo>
                      <a:lnTo>
                        <a:pt x="2" y="5"/>
                      </a:lnTo>
                      <a:lnTo>
                        <a:pt x="3" y="3"/>
                      </a:lnTo>
                      <a:lnTo>
                        <a:pt x="6" y="1"/>
                      </a:lnTo>
                      <a:lnTo>
                        <a:pt x="13" y="0"/>
                      </a:lnTo>
                      <a:lnTo>
                        <a:pt x="20" y="1"/>
                      </a:lnTo>
                      <a:lnTo>
                        <a:pt x="26" y="5"/>
                      </a:lnTo>
                      <a:lnTo>
                        <a:pt x="30" y="10"/>
                      </a:lnTo>
                      <a:lnTo>
                        <a:pt x="31" y="12"/>
                      </a:lnTo>
                      <a:lnTo>
                        <a:pt x="31" y="14"/>
                      </a:lnTo>
                      <a:lnTo>
                        <a:pt x="30" y="16"/>
                      </a:lnTo>
                      <a:lnTo>
                        <a:pt x="27" y="17"/>
                      </a:lnTo>
                      <a:lnTo>
                        <a:pt x="22" y="18"/>
                      </a:lnTo>
                      <a:lnTo>
                        <a:pt x="16" y="1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7" name="Freeform 921"/>
                <p:cNvSpPr>
                  <a:spLocks/>
                </p:cNvSpPr>
                <p:nvPr/>
              </p:nvSpPr>
              <p:spPr bwMode="auto">
                <a:xfrm>
                  <a:off x="2274082" y="1831761"/>
                  <a:ext cx="23678" cy="29598"/>
                </a:xfrm>
                <a:custGeom>
                  <a:avLst/>
                  <a:gdLst>
                    <a:gd name="T0" fmla="*/ 2147483647 w 17"/>
                    <a:gd name="T1" fmla="*/ 2147483647 h 20"/>
                    <a:gd name="T2" fmla="*/ 2147483647 w 17"/>
                    <a:gd name="T3" fmla="*/ 2147483647 h 20"/>
                    <a:gd name="T4" fmla="*/ 2147483647 w 17"/>
                    <a:gd name="T5" fmla="*/ 2147483647 h 20"/>
                    <a:gd name="T6" fmla="*/ 0 w 17"/>
                    <a:gd name="T7" fmla="*/ 2147483647 h 20"/>
                    <a:gd name="T8" fmla="*/ 0 w 17"/>
                    <a:gd name="T9" fmla="*/ 2147483647 h 20"/>
                    <a:gd name="T10" fmla="*/ 2147483647 w 17"/>
                    <a:gd name="T11" fmla="*/ 0 h 20"/>
                    <a:gd name="T12" fmla="*/ 2147483647 w 17"/>
                    <a:gd name="T13" fmla="*/ 0 h 20"/>
                    <a:gd name="T14" fmla="*/ 2147483647 w 17"/>
                    <a:gd name="T15" fmla="*/ 0 h 20"/>
                    <a:gd name="T16" fmla="*/ 2147483647 w 17"/>
                    <a:gd name="T17" fmla="*/ 0 h 20"/>
                    <a:gd name="T18" fmla="*/ 2147483647 w 17"/>
                    <a:gd name="T19" fmla="*/ 2147483647 h 20"/>
                    <a:gd name="T20" fmla="*/ 2147483647 w 17"/>
                    <a:gd name="T21" fmla="*/ 2147483647 h 20"/>
                    <a:gd name="T22" fmla="*/ 2147483647 w 17"/>
                    <a:gd name="T23" fmla="*/ 2147483647 h 20"/>
                    <a:gd name="T24" fmla="*/ 2147483647 w 17"/>
                    <a:gd name="T25" fmla="*/ 2147483647 h 20"/>
                    <a:gd name="T26" fmla="*/ 2147483647 w 17"/>
                    <a:gd name="T27" fmla="*/ 2147483647 h 20"/>
                    <a:gd name="T28" fmla="*/ 2147483647 w 17"/>
                    <a:gd name="T29" fmla="*/ 2147483647 h 20"/>
                    <a:gd name="T30" fmla="*/ 2147483647 w 17"/>
                    <a:gd name="T31" fmla="*/ 2147483647 h 20"/>
                    <a:gd name="T32" fmla="*/ 2147483647 w 17"/>
                    <a:gd name="T33" fmla="*/ 2147483647 h 20"/>
                    <a:gd name="T34" fmla="*/ 2147483647 w 17"/>
                    <a:gd name="T35" fmla="*/ 2147483647 h 20"/>
                    <a:gd name="T36" fmla="*/ 2147483647 w 17"/>
                    <a:gd name="T37" fmla="*/ 2147483647 h 20"/>
                    <a:gd name="T38" fmla="*/ 2147483647 w 17"/>
                    <a:gd name="T39" fmla="*/ 2147483647 h 20"/>
                    <a:gd name="T40" fmla="*/ 2147483647 w 17"/>
                    <a:gd name="T41" fmla="*/ 2147483647 h 20"/>
                    <a:gd name="T42" fmla="*/ 2147483647 w 17"/>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
                    <a:gd name="T67" fmla="*/ 0 h 20"/>
                    <a:gd name="T68" fmla="*/ 17 w 17"/>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 h="20">
                      <a:moveTo>
                        <a:pt x="2" y="9"/>
                      </a:moveTo>
                      <a:lnTo>
                        <a:pt x="2" y="9"/>
                      </a:lnTo>
                      <a:lnTo>
                        <a:pt x="1" y="7"/>
                      </a:lnTo>
                      <a:lnTo>
                        <a:pt x="0" y="5"/>
                      </a:lnTo>
                      <a:lnTo>
                        <a:pt x="0" y="2"/>
                      </a:lnTo>
                      <a:lnTo>
                        <a:pt x="2" y="0"/>
                      </a:lnTo>
                      <a:lnTo>
                        <a:pt x="8" y="0"/>
                      </a:lnTo>
                      <a:lnTo>
                        <a:pt x="12" y="0"/>
                      </a:lnTo>
                      <a:lnTo>
                        <a:pt x="13" y="2"/>
                      </a:lnTo>
                      <a:lnTo>
                        <a:pt x="16" y="7"/>
                      </a:lnTo>
                      <a:lnTo>
                        <a:pt x="17" y="13"/>
                      </a:lnTo>
                      <a:lnTo>
                        <a:pt x="16" y="16"/>
                      </a:lnTo>
                      <a:lnTo>
                        <a:pt x="13" y="19"/>
                      </a:lnTo>
                      <a:lnTo>
                        <a:pt x="11" y="19"/>
                      </a:lnTo>
                      <a:lnTo>
                        <a:pt x="10" y="20"/>
                      </a:lnTo>
                      <a:lnTo>
                        <a:pt x="7" y="19"/>
                      </a:lnTo>
                      <a:lnTo>
                        <a:pt x="6" y="16"/>
                      </a:lnTo>
                      <a:lnTo>
                        <a:pt x="2"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8" name="Freeform 922"/>
                <p:cNvSpPr>
                  <a:spLocks/>
                </p:cNvSpPr>
                <p:nvPr/>
              </p:nvSpPr>
              <p:spPr bwMode="auto">
                <a:xfrm>
                  <a:off x="2180851" y="1945716"/>
                  <a:ext cx="42916" cy="26638"/>
                </a:xfrm>
                <a:custGeom>
                  <a:avLst/>
                  <a:gdLst>
                    <a:gd name="T0" fmla="*/ 2147483647 w 31"/>
                    <a:gd name="T1" fmla="*/ 2147483647 h 18"/>
                    <a:gd name="T2" fmla="*/ 2147483647 w 31"/>
                    <a:gd name="T3" fmla="*/ 2147483647 h 18"/>
                    <a:gd name="T4" fmla="*/ 2147483647 w 31"/>
                    <a:gd name="T5" fmla="*/ 2147483647 h 18"/>
                    <a:gd name="T6" fmla="*/ 2147483647 w 31"/>
                    <a:gd name="T7" fmla="*/ 2147483647 h 18"/>
                    <a:gd name="T8" fmla="*/ 2147483647 w 31"/>
                    <a:gd name="T9" fmla="*/ 2147483647 h 18"/>
                    <a:gd name="T10" fmla="*/ 0 w 31"/>
                    <a:gd name="T11" fmla="*/ 2147483647 h 18"/>
                    <a:gd name="T12" fmla="*/ 0 w 31"/>
                    <a:gd name="T13" fmla="*/ 2147483647 h 18"/>
                    <a:gd name="T14" fmla="*/ 0 w 31"/>
                    <a:gd name="T15" fmla="*/ 2147483647 h 18"/>
                    <a:gd name="T16" fmla="*/ 2147483647 w 31"/>
                    <a:gd name="T17" fmla="*/ 2147483647 h 18"/>
                    <a:gd name="T18" fmla="*/ 2147483647 w 31"/>
                    <a:gd name="T19" fmla="*/ 2147483647 h 18"/>
                    <a:gd name="T20" fmla="*/ 2147483647 w 31"/>
                    <a:gd name="T21" fmla="*/ 2147483647 h 18"/>
                    <a:gd name="T22" fmla="*/ 2147483647 w 31"/>
                    <a:gd name="T23" fmla="*/ 2147483647 h 18"/>
                    <a:gd name="T24" fmla="*/ 2147483647 w 31"/>
                    <a:gd name="T25" fmla="*/ 0 h 18"/>
                    <a:gd name="T26" fmla="*/ 2147483647 w 31"/>
                    <a:gd name="T27" fmla="*/ 2147483647 h 18"/>
                    <a:gd name="T28" fmla="*/ 2147483647 w 31"/>
                    <a:gd name="T29" fmla="*/ 2147483647 h 18"/>
                    <a:gd name="T30" fmla="*/ 2147483647 w 31"/>
                    <a:gd name="T31" fmla="*/ 2147483647 h 18"/>
                    <a:gd name="T32" fmla="*/ 2147483647 w 31"/>
                    <a:gd name="T33" fmla="*/ 2147483647 h 18"/>
                    <a:gd name="T34" fmla="*/ 2147483647 w 31"/>
                    <a:gd name="T35" fmla="*/ 2147483647 h 18"/>
                    <a:gd name="T36" fmla="*/ 2147483647 w 31"/>
                    <a:gd name="T37" fmla="*/ 2147483647 h 18"/>
                    <a:gd name="T38" fmla="*/ 2147483647 w 31"/>
                    <a:gd name="T39" fmla="*/ 2147483647 h 18"/>
                    <a:gd name="T40" fmla="*/ 2147483647 w 31"/>
                    <a:gd name="T41" fmla="*/ 2147483647 h 18"/>
                    <a:gd name="T42" fmla="*/ 2147483647 w 31"/>
                    <a:gd name="T43" fmla="*/ 2147483647 h 18"/>
                    <a:gd name="T44" fmla="*/ 2147483647 w 31"/>
                    <a:gd name="T45" fmla="*/ 2147483647 h 18"/>
                    <a:gd name="T46" fmla="*/ 2147483647 w 31"/>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18"/>
                    <a:gd name="T74" fmla="*/ 31 w 31"/>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18">
                      <a:moveTo>
                        <a:pt x="15" y="18"/>
                      </a:moveTo>
                      <a:lnTo>
                        <a:pt x="15" y="18"/>
                      </a:lnTo>
                      <a:lnTo>
                        <a:pt x="10" y="18"/>
                      </a:lnTo>
                      <a:lnTo>
                        <a:pt x="7" y="17"/>
                      </a:lnTo>
                      <a:lnTo>
                        <a:pt x="3" y="14"/>
                      </a:lnTo>
                      <a:lnTo>
                        <a:pt x="0" y="11"/>
                      </a:lnTo>
                      <a:lnTo>
                        <a:pt x="0" y="7"/>
                      </a:lnTo>
                      <a:lnTo>
                        <a:pt x="1" y="5"/>
                      </a:lnTo>
                      <a:lnTo>
                        <a:pt x="3" y="2"/>
                      </a:lnTo>
                      <a:lnTo>
                        <a:pt x="5" y="1"/>
                      </a:lnTo>
                      <a:lnTo>
                        <a:pt x="13" y="0"/>
                      </a:lnTo>
                      <a:lnTo>
                        <a:pt x="19" y="1"/>
                      </a:lnTo>
                      <a:lnTo>
                        <a:pt x="26" y="5"/>
                      </a:lnTo>
                      <a:lnTo>
                        <a:pt x="29" y="9"/>
                      </a:lnTo>
                      <a:lnTo>
                        <a:pt x="31" y="12"/>
                      </a:lnTo>
                      <a:lnTo>
                        <a:pt x="31" y="14"/>
                      </a:lnTo>
                      <a:lnTo>
                        <a:pt x="29" y="15"/>
                      </a:lnTo>
                      <a:lnTo>
                        <a:pt x="27" y="17"/>
                      </a:lnTo>
                      <a:lnTo>
                        <a:pt x="22" y="18"/>
                      </a:lnTo>
                      <a:lnTo>
                        <a:pt x="15" y="1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49" name="Freeform 923"/>
                <p:cNvSpPr>
                  <a:spLocks/>
                </p:cNvSpPr>
                <p:nvPr/>
              </p:nvSpPr>
              <p:spPr bwMode="auto">
                <a:xfrm>
                  <a:off x="2328842" y="2046349"/>
                  <a:ext cx="20718" cy="20718"/>
                </a:xfrm>
                <a:custGeom>
                  <a:avLst/>
                  <a:gdLst>
                    <a:gd name="T0" fmla="*/ 2147483647 w 15"/>
                    <a:gd name="T1" fmla="*/ 2147483647 h 14"/>
                    <a:gd name="T2" fmla="*/ 2147483647 w 15"/>
                    <a:gd name="T3" fmla="*/ 2147483647 h 14"/>
                    <a:gd name="T4" fmla="*/ 2147483647 w 15"/>
                    <a:gd name="T5" fmla="*/ 2147483647 h 14"/>
                    <a:gd name="T6" fmla="*/ 2147483647 w 15"/>
                    <a:gd name="T7" fmla="*/ 2147483647 h 14"/>
                    <a:gd name="T8" fmla="*/ 2147483647 w 15"/>
                    <a:gd name="T9" fmla="*/ 2147483647 h 14"/>
                    <a:gd name="T10" fmla="*/ 2147483647 w 15"/>
                    <a:gd name="T11" fmla="*/ 2147483647 h 14"/>
                    <a:gd name="T12" fmla="*/ 0 w 15"/>
                    <a:gd name="T13" fmla="*/ 2147483647 h 14"/>
                    <a:gd name="T14" fmla="*/ 0 w 15"/>
                    <a:gd name="T15" fmla="*/ 2147483647 h 14"/>
                    <a:gd name="T16" fmla="*/ 2147483647 w 15"/>
                    <a:gd name="T17" fmla="*/ 2147483647 h 14"/>
                    <a:gd name="T18" fmla="*/ 2147483647 w 15"/>
                    <a:gd name="T19" fmla="*/ 2147483647 h 14"/>
                    <a:gd name="T20" fmla="*/ 2147483647 w 15"/>
                    <a:gd name="T21" fmla="*/ 0 h 14"/>
                    <a:gd name="T22" fmla="*/ 2147483647 w 15"/>
                    <a:gd name="T23" fmla="*/ 0 h 14"/>
                    <a:gd name="T24" fmla="*/ 2147483647 w 15"/>
                    <a:gd name="T25" fmla="*/ 2147483647 h 14"/>
                    <a:gd name="T26" fmla="*/ 2147483647 w 15"/>
                    <a:gd name="T27" fmla="*/ 2147483647 h 14"/>
                    <a:gd name="T28" fmla="*/ 2147483647 w 15"/>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4"/>
                    <a:gd name="T47" fmla="*/ 15 w 15"/>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4">
                      <a:moveTo>
                        <a:pt x="12" y="9"/>
                      </a:moveTo>
                      <a:lnTo>
                        <a:pt x="10" y="13"/>
                      </a:lnTo>
                      <a:lnTo>
                        <a:pt x="9" y="14"/>
                      </a:lnTo>
                      <a:lnTo>
                        <a:pt x="8" y="14"/>
                      </a:lnTo>
                      <a:lnTo>
                        <a:pt x="5" y="14"/>
                      </a:lnTo>
                      <a:lnTo>
                        <a:pt x="1" y="13"/>
                      </a:lnTo>
                      <a:lnTo>
                        <a:pt x="0" y="10"/>
                      </a:lnTo>
                      <a:lnTo>
                        <a:pt x="0" y="8"/>
                      </a:lnTo>
                      <a:lnTo>
                        <a:pt x="1" y="4"/>
                      </a:lnTo>
                      <a:lnTo>
                        <a:pt x="5" y="2"/>
                      </a:lnTo>
                      <a:lnTo>
                        <a:pt x="9" y="0"/>
                      </a:lnTo>
                      <a:lnTo>
                        <a:pt x="13" y="0"/>
                      </a:lnTo>
                      <a:lnTo>
                        <a:pt x="15" y="2"/>
                      </a:lnTo>
                      <a:lnTo>
                        <a:pt x="15" y="4"/>
                      </a:lnTo>
                      <a:lnTo>
                        <a:pt x="12"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0" name="Freeform 924"/>
                <p:cNvSpPr>
                  <a:spLocks/>
                </p:cNvSpPr>
                <p:nvPr/>
              </p:nvSpPr>
              <p:spPr bwMode="auto">
                <a:xfrm>
                  <a:off x="2173455" y="2040426"/>
                  <a:ext cx="20718" cy="17758"/>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0 w 16"/>
                    <a:gd name="T13" fmla="*/ 2147483647 h 12"/>
                    <a:gd name="T14" fmla="*/ 0 w 16"/>
                    <a:gd name="T15" fmla="*/ 2147483647 h 12"/>
                    <a:gd name="T16" fmla="*/ 2147483647 w 16"/>
                    <a:gd name="T17" fmla="*/ 2147483647 h 12"/>
                    <a:gd name="T18" fmla="*/ 2147483647 w 16"/>
                    <a:gd name="T19" fmla="*/ 2147483647 h 12"/>
                    <a:gd name="T20" fmla="*/ 2147483647 w 16"/>
                    <a:gd name="T21" fmla="*/ 0 h 12"/>
                    <a:gd name="T22" fmla="*/ 2147483647 w 16"/>
                    <a:gd name="T23" fmla="*/ 0 h 12"/>
                    <a:gd name="T24" fmla="*/ 2147483647 w 16"/>
                    <a:gd name="T25" fmla="*/ 0 h 12"/>
                    <a:gd name="T26" fmla="*/ 2147483647 w 16"/>
                    <a:gd name="T27" fmla="*/ 0 h 12"/>
                    <a:gd name="T28" fmla="*/ 2147483647 w 16"/>
                    <a:gd name="T29" fmla="*/ 2147483647 h 12"/>
                    <a:gd name="T30" fmla="*/ 2147483647 w 16"/>
                    <a:gd name="T31" fmla="*/ 2147483647 h 12"/>
                    <a:gd name="T32" fmla="*/ 2147483647 w 16"/>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2"/>
                    <a:gd name="T53" fmla="*/ 16 w 16"/>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2">
                      <a:moveTo>
                        <a:pt x="10" y="8"/>
                      </a:moveTo>
                      <a:lnTo>
                        <a:pt x="9" y="9"/>
                      </a:lnTo>
                      <a:lnTo>
                        <a:pt x="7" y="11"/>
                      </a:lnTo>
                      <a:lnTo>
                        <a:pt x="6" y="12"/>
                      </a:lnTo>
                      <a:lnTo>
                        <a:pt x="4" y="11"/>
                      </a:lnTo>
                      <a:lnTo>
                        <a:pt x="1" y="9"/>
                      </a:lnTo>
                      <a:lnTo>
                        <a:pt x="0" y="8"/>
                      </a:lnTo>
                      <a:lnTo>
                        <a:pt x="0" y="6"/>
                      </a:lnTo>
                      <a:lnTo>
                        <a:pt x="2" y="4"/>
                      </a:lnTo>
                      <a:lnTo>
                        <a:pt x="6" y="1"/>
                      </a:lnTo>
                      <a:lnTo>
                        <a:pt x="10" y="0"/>
                      </a:lnTo>
                      <a:lnTo>
                        <a:pt x="14" y="0"/>
                      </a:lnTo>
                      <a:lnTo>
                        <a:pt x="15" y="0"/>
                      </a:lnTo>
                      <a:lnTo>
                        <a:pt x="16" y="0"/>
                      </a:lnTo>
                      <a:lnTo>
                        <a:pt x="14" y="2"/>
                      </a:lnTo>
                      <a:lnTo>
                        <a:pt x="11" y="6"/>
                      </a:lnTo>
                      <a:lnTo>
                        <a:pt x="10"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1" name="Freeform 925"/>
                <p:cNvSpPr>
                  <a:spLocks/>
                </p:cNvSpPr>
                <p:nvPr/>
              </p:nvSpPr>
              <p:spPr bwMode="auto">
                <a:xfrm>
                  <a:off x="2327362" y="2043387"/>
                  <a:ext cx="20718" cy="22198"/>
                </a:xfrm>
                <a:custGeom>
                  <a:avLst/>
                  <a:gdLst>
                    <a:gd name="T0" fmla="*/ 2147483647 w 15"/>
                    <a:gd name="T1" fmla="*/ 2147483647 h 15"/>
                    <a:gd name="T2" fmla="*/ 2147483647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2147483647 w 15"/>
                    <a:gd name="T13" fmla="*/ 2147483647 h 15"/>
                    <a:gd name="T14" fmla="*/ 2147483647 w 15"/>
                    <a:gd name="T15" fmla="*/ 2147483647 h 15"/>
                    <a:gd name="T16" fmla="*/ 0 w 15"/>
                    <a:gd name="T17" fmla="*/ 2147483647 h 15"/>
                    <a:gd name="T18" fmla="*/ 0 w 15"/>
                    <a:gd name="T19" fmla="*/ 2147483647 h 15"/>
                    <a:gd name="T20" fmla="*/ 0 w 15"/>
                    <a:gd name="T21" fmla="*/ 2147483647 h 15"/>
                    <a:gd name="T22" fmla="*/ 2147483647 w 15"/>
                    <a:gd name="T23" fmla="*/ 2147483647 h 15"/>
                    <a:gd name="T24" fmla="*/ 2147483647 w 15"/>
                    <a:gd name="T25" fmla="*/ 2147483647 h 15"/>
                    <a:gd name="T26" fmla="*/ 2147483647 w 15"/>
                    <a:gd name="T27" fmla="*/ 0 h 15"/>
                    <a:gd name="T28" fmla="*/ 2147483647 w 15"/>
                    <a:gd name="T29" fmla="*/ 0 h 15"/>
                    <a:gd name="T30" fmla="*/ 2147483647 w 15"/>
                    <a:gd name="T31" fmla="*/ 0 h 15"/>
                    <a:gd name="T32" fmla="*/ 2147483647 w 15"/>
                    <a:gd name="T33" fmla="*/ 2147483647 h 15"/>
                    <a:gd name="T34" fmla="*/ 2147483647 w 15"/>
                    <a:gd name="T35" fmla="*/ 2147483647 h 15"/>
                    <a:gd name="T36" fmla="*/ 2147483647 w 15"/>
                    <a:gd name="T37" fmla="*/ 2147483647 h 15"/>
                    <a:gd name="T38" fmla="*/ 2147483647 w 15"/>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15"/>
                    <a:gd name="T62" fmla="*/ 15 w 15"/>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15">
                      <a:moveTo>
                        <a:pt x="11" y="10"/>
                      </a:moveTo>
                      <a:lnTo>
                        <a:pt x="11" y="10"/>
                      </a:lnTo>
                      <a:lnTo>
                        <a:pt x="10" y="13"/>
                      </a:lnTo>
                      <a:lnTo>
                        <a:pt x="9" y="15"/>
                      </a:lnTo>
                      <a:lnTo>
                        <a:pt x="8" y="15"/>
                      </a:lnTo>
                      <a:lnTo>
                        <a:pt x="5" y="15"/>
                      </a:lnTo>
                      <a:lnTo>
                        <a:pt x="1" y="13"/>
                      </a:lnTo>
                      <a:lnTo>
                        <a:pt x="0" y="11"/>
                      </a:lnTo>
                      <a:lnTo>
                        <a:pt x="0" y="9"/>
                      </a:lnTo>
                      <a:lnTo>
                        <a:pt x="1" y="5"/>
                      </a:lnTo>
                      <a:lnTo>
                        <a:pt x="5" y="3"/>
                      </a:lnTo>
                      <a:lnTo>
                        <a:pt x="9" y="0"/>
                      </a:lnTo>
                      <a:lnTo>
                        <a:pt x="13" y="0"/>
                      </a:lnTo>
                      <a:lnTo>
                        <a:pt x="15" y="3"/>
                      </a:lnTo>
                      <a:lnTo>
                        <a:pt x="15" y="5"/>
                      </a:lnTo>
                      <a:lnTo>
                        <a:pt x="11"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2" name="Freeform 926"/>
                <p:cNvSpPr>
                  <a:spLocks/>
                </p:cNvSpPr>
                <p:nvPr/>
              </p:nvSpPr>
              <p:spPr bwMode="auto">
                <a:xfrm>
                  <a:off x="2171975" y="2038947"/>
                  <a:ext cx="20718" cy="17758"/>
                </a:xfrm>
                <a:custGeom>
                  <a:avLst/>
                  <a:gdLst>
                    <a:gd name="T0" fmla="*/ 2147483647 w 16"/>
                    <a:gd name="T1" fmla="*/ 2147483647 h 12"/>
                    <a:gd name="T2" fmla="*/ 2147483647 w 16"/>
                    <a:gd name="T3" fmla="*/ 2147483647 h 12"/>
                    <a:gd name="T4" fmla="*/ 2147483647 w 16"/>
                    <a:gd name="T5" fmla="*/ 2147483647 h 12"/>
                    <a:gd name="T6" fmla="*/ 2147483647 w 16"/>
                    <a:gd name="T7" fmla="*/ 2147483647 h 12"/>
                    <a:gd name="T8" fmla="*/ 2147483647 w 16"/>
                    <a:gd name="T9" fmla="*/ 2147483647 h 12"/>
                    <a:gd name="T10" fmla="*/ 2147483647 w 16"/>
                    <a:gd name="T11" fmla="*/ 2147483647 h 12"/>
                    <a:gd name="T12" fmla="*/ 2147483647 w 16"/>
                    <a:gd name="T13" fmla="*/ 2147483647 h 12"/>
                    <a:gd name="T14" fmla="*/ 2147483647 w 16"/>
                    <a:gd name="T15" fmla="*/ 2147483647 h 12"/>
                    <a:gd name="T16" fmla="*/ 0 w 16"/>
                    <a:gd name="T17" fmla="*/ 2147483647 h 12"/>
                    <a:gd name="T18" fmla="*/ 0 w 16"/>
                    <a:gd name="T19" fmla="*/ 2147483647 h 12"/>
                    <a:gd name="T20" fmla="*/ 0 w 16"/>
                    <a:gd name="T21" fmla="*/ 2147483647 h 12"/>
                    <a:gd name="T22" fmla="*/ 2147483647 w 16"/>
                    <a:gd name="T23" fmla="*/ 2147483647 h 12"/>
                    <a:gd name="T24" fmla="*/ 2147483647 w 16"/>
                    <a:gd name="T25" fmla="*/ 2147483647 h 12"/>
                    <a:gd name="T26" fmla="*/ 2147483647 w 16"/>
                    <a:gd name="T27" fmla="*/ 0 h 12"/>
                    <a:gd name="T28" fmla="*/ 2147483647 w 16"/>
                    <a:gd name="T29" fmla="*/ 0 h 12"/>
                    <a:gd name="T30" fmla="*/ 2147483647 w 16"/>
                    <a:gd name="T31" fmla="*/ 0 h 12"/>
                    <a:gd name="T32" fmla="*/ 2147483647 w 16"/>
                    <a:gd name="T33" fmla="*/ 0 h 12"/>
                    <a:gd name="T34" fmla="*/ 2147483647 w 16"/>
                    <a:gd name="T35" fmla="*/ 0 h 12"/>
                    <a:gd name="T36" fmla="*/ 2147483647 w 16"/>
                    <a:gd name="T37" fmla="*/ 2147483647 h 12"/>
                    <a:gd name="T38" fmla="*/ 2147483647 w 16"/>
                    <a:gd name="T39" fmla="*/ 2147483647 h 12"/>
                    <a:gd name="T40" fmla="*/ 2147483647 w 16"/>
                    <a:gd name="T41" fmla="*/ 2147483647 h 12"/>
                    <a:gd name="T42" fmla="*/ 2147483647 w 16"/>
                    <a:gd name="T43" fmla="*/ 2147483647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12"/>
                    <a:gd name="T68" fmla="*/ 16 w 16"/>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12">
                      <a:moveTo>
                        <a:pt x="10" y="8"/>
                      </a:moveTo>
                      <a:lnTo>
                        <a:pt x="10" y="8"/>
                      </a:lnTo>
                      <a:lnTo>
                        <a:pt x="8" y="9"/>
                      </a:lnTo>
                      <a:lnTo>
                        <a:pt x="7" y="10"/>
                      </a:lnTo>
                      <a:lnTo>
                        <a:pt x="6" y="12"/>
                      </a:lnTo>
                      <a:lnTo>
                        <a:pt x="3" y="10"/>
                      </a:lnTo>
                      <a:lnTo>
                        <a:pt x="1" y="9"/>
                      </a:lnTo>
                      <a:lnTo>
                        <a:pt x="0" y="8"/>
                      </a:lnTo>
                      <a:lnTo>
                        <a:pt x="0" y="6"/>
                      </a:lnTo>
                      <a:lnTo>
                        <a:pt x="2" y="3"/>
                      </a:lnTo>
                      <a:lnTo>
                        <a:pt x="6" y="1"/>
                      </a:lnTo>
                      <a:lnTo>
                        <a:pt x="10" y="0"/>
                      </a:lnTo>
                      <a:lnTo>
                        <a:pt x="14" y="0"/>
                      </a:lnTo>
                      <a:lnTo>
                        <a:pt x="15" y="0"/>
                      </a:lnTo>
                      <a:lnTo>
                        <a:pt x="16" y="0"/>
                      </a:lnTo>
                      <a:lnTo>
                        <a:pt x="14" y="2"/>
                      </a:lnTo>
                      <a:lnTo>
                        <a:pt x="11" y="6"/>
                      </a:lnTo>
                      <a:lnTo>
                        <a:pt x="10"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3" name="Freeform 927"/>
                <p:cNvSpPr>
                  <a:spLocks/>
                </p:cNvSpPr>
                <p:nvPr/>
              </p:nvSpPr>
              <p:spPr bwMode="auto">
                <a:xfrm>
                  <a:off x="2145335" y="2006388"/>
                  <a:ext cx="34037" cy="25158"/>
                </a:xfrm>
                <a:custGeom>
                  <a:avLst/>
                  <a:gdLst>
                    <a:gd name="T0" fmla="*/ 2147483647 w 25"/>
                    <a:gd name="T1" fmla="*/ 2147483647 h 17"/>
                    <a:gd name="T2" fmla="*/ 2147483647 w 25"/>
                    <a:gd name="T3" fmla="*/ 2147483647 h 17"/>
                    <a:gd name="T4" fmla="*/ 2147483647 w 25"/>
                    <a:gd name="T5" fmla="*/ 2147483647 h 17"/>
                    <a:gd name="T6" fmla="*/ 2147483647 w 25"/>
                    <a:gd name="T7" fmla="*/ 2147483647 h 17"/>
                    <a:gd name="T8" fmla="*/ 0 w 25"/>
                    <a:gd name="T9" fmla="*/ 2147483647 h 17"/>
                    <a:gd name="T10" fmla="*/ 0 w 25"/>
                    <a:gd name="T11" fmla="*/ 2147483647 h 17"/>
                    <a:gd name="T12" fmla="*/ 0 w 25"/>
                    <a:gd name="T13" fmla="*/ 2147483647 h 17"/>
                    <a:gd name="T14" fmla="*/ 2147483647 w 25"/>
                    <a:gd name="T15" fmla="*/ 2147483647 h 17"/>
                    <a:gd name="T16" fmla="*/ 2147483647 w 25"/>
                    <a:gd name="T17" fmla="*/ 2147483647 h 17"/>
                    <a:gd name="T18" fmla="*/ 2147483647 w 25"/>
                    <a:gd name="T19" fmla="*/ 2147483647 h 17"/>
                    <a:gd name="T20" fmla="*/ 2147483647 w 25"/>
                    <a:gd name="T21" fmla="*/ 0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17"/>
                    <a:gd name="T53" fmla="*/ 25 w 25"/>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17">
                      <a:moveTo>
                        <a:pt x="12" y="13"/>
                      </a:moveTo>
                      <a:lnTo>
                        <a:pt x="7" y="17"/>
                      </a:lnTo>
                      <a:lnTo>
                        <a:pt x="5" y="17"/>
                      </a:lnTo>
                      <a:lnTo>
                        <a:pt x="2" y="16"/>
                      </a:lnTo>
                      <a:lnTo>
                        <a:pt x="0" y="15"/>
                      </a:lnTo>
                      <a:lnTo>
                        <a:pt x="0" y="12"/>
                      </a:lnTo>
                      <a:lnTo>
                        <a:pt x="0" y="10"/>
                      </a:lnTo>
                      <a:lnTo>
                        <a:pt x="1" y="8"/>
                      </a:lnTo>
                      <a:lnTo>
                        <a:pt x="6" y="4"/>
                      </a:lnTo>
                      <a:lnTo>
                        <a:pt x="11" y="2"/>
                      </a:lnTo>
                      <a:lnTo>
                        <a:pt x="17" y="0"/>
                      </a:lnTo>
                      <a:lnTo>
                        <a:pt x="22" y="2"/>
                      </a:lnTo>
                      <a:lnTo>
                        <a:pt x="25" y="4"/>
                      </a:lnTo>
                      <a:lnTo>
                        <a:pt x="25" y="5"/>
                      </a:lnTo>
                      <a:lnTo>
                        <a:pt x="25" y="8"/>
                      </a:lnTo>
                      <a:lnTo>
                        <a:pt x="22" y="9"/>
                      </a:lnTo>
                      <a:lnTo>
                        <a:pt x="12"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4" name="Freeform 928"/>
                <p:cNvSpPr>
                  <a:spLocks/>
                </p:cNvSpPr>
                <p:nvPr/>
              </p:nvSpPr>
              <p:spPr bwMode="auto">
                <a:xfrm>
                  <a:off x="2134974" y="1982713"/>
                  <a:ext cx="23678" cy="26638"/>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0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0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2147483647 h 18"/>
                    <a:gd name="T36" fmla="*/ 2147483647 w 18"/>
                    <a:gd name="T37" fmla="*/ 214748364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18"/>
                    <a:gd name="T59" fmla="*/ 18 w 18"/>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18">
                      <a:moveTo>
                        <a:pt x="10" y="16"/>
                      </a:moveTo>
                      <a:lnTo>
                        <a:pt x="8" y="18"/>
                      </a:lnTo>
                      <a:lnTo>
                        <a:pt x="5" y="16"/>
                      </a:lnTo>
                      <a:lnTo>
                        <a:pt x="2" y="15"/>
                      </a:lnTo>
                      <a:lnTo>
                        <a:pt x="1" y="13"/>
                      </a:lnTo>
                      <a:lnTo>
                        <a:pt x="0" y="9"/>
                      </a:lnTo>
                      <a:lnTo>
                        <a:pt x="1" y="7"/>
                      </a:lnTo>
                      <a:lnTo>
                        <a:pt x="2" y="3"/>
                      </a:lnTo>
                      <a:lnTo>
                        <a:pt x="5" y="1"/>
                      </a:lnTo>
                      <a:lnTo>
                        <a:pt x="8" y="0"/>
                      </a:lnTo>
                      <a:lnTo>
                        <a:pt x="11" y="1"/>
                      </a:lnTo>
                      <a:lnTo>
                        <a:pt x="14" y="2"/>
                      </a:lnTo>
                      <a:lnTo>
                        <a:pt x="15" y="3"/>
                      </a:lnTo>
                      <a:lnTo>
                        <a:pt x="16" y="6"/>
                      </a:lnTo>
                      <a:lnTo>
                        <a:pt x="18" y="8"/>
                      </a:lnTo>
                      <a:lnTo>
                        <a:pt x="16" y="11"/>
                      </a:lnTo>
                      <a:lnTo>
                        <a:pt x="15" y="13"/>
                      </a:lnTo>
                      <a:lnTo>
                        <a:pt x="14" y="15"/>
                      </a:lnTo>
                      <a:lnTo>
                        <a:pt x="10"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5" name="Freeform 929"/>
                <p:cNvSpPr>
                  <a:spLocks/>
                </p:cNvSpPr>
                <p:nvPr/>
              </p:nvSpPr>
              <p:spPr bwMode="auto">
                <a:xfrm>
                  <a:off x="2142374" y="2004911"/>
                  <a:ext cx="35517" cy="25157"/>
                </a:xfrm>
                <a:custGeom>
                  <a:avLst/>
                  <a:gdLst>
                    <a:gd name="T0" fmla="*/ 2147483647 w 26"/>
                    <a:gd name="T1" fmla="*/ 2147483647 h 17"/>
                    <a:gd name="T2" fmla="*/ 2147483647 w 26"/>
                    <a:gd name="T3" fmla="*/ 2147483647 h 17"/>
                    <a:gd name="T4" fmla="*/ 2147483647 w 26"/>
                    <a:gd name="T5" fmla="*/ 2147483647 h 17"/>
                    <a:gd name="T6" fmla="*/ 2147483647 w 26"/>
                    <a:gd name="T7" fmla="*/ 2147483647 h 17"/>
                    <a:gd name="T8" fmla="*/ 2147483647 w 26"/>
                    <a:gd name="T9" fmla="*/ 2147483647 h 17"/>
                    <a:gd name="T10" fmla="*/ 2147483647 w 26"/>
                    <a:gd name="T11" fmla="*/ 2147483647 h 17"/>
                    <a:gd name="T12" fmla="*/ 0 w 26"/>
                    <a:gd name="T13" fmla="*/ 2147483647 h 17"/>
                    <a:gd name="T14" fmla="*/ 0 w 26"/>
                    <a:gd name="T15" fmla="*/ 2147483647 h 17"/>
                    <a:gd name="T16" fmla="*/ 0 w 26"/>
                    <a:gd name="T17" fmla="*/ 2147483647 h 17"/>
                    <a:gd name="T18" fmla="*/ 2147483647 w 26"/>
                    <a:gd name="T19" fmla="*/ 2147483647 h 17"/>
                    <a:gd name="T20" fmla="*/ 2147483647 w 26"/>
                    <a:gd name="T21" fmla="*/ 2147483647 h 17"/>
                    <a:gd name="T22" fmla="*/ 2147483647 w 26"/>
                    <a:gd name="T23" fmla="*/ 2147483647 h 17"/>
                    <a:gd name="T24" fmla="*/ 2147483647 w 26"/>
                    <a:gd name="T25" fmla="*/ 2147483647 h 17"/>
                    <a:gd name="T26" fmla="*/ 2147483647 w 26"/>
                    <a:gd name="T27" fmla="*/ 0 h 17"/>
                    <a:gd name="T28" fmla="*/ 2147483647 w 26"/>
                    <a:gd name="T29" fmla="*/ 2147483647 h 17"/>
                    <a:gd name="T30" fmla="*/ 2147483647 w 26"/>
                    <a:gd name="T31" fmla="*/ 2147483647 h 17"/>
                    <a:gd name="T32" fmla="*/ 2147483647 w 26"/>
                    <a:gd name="T33" fmla="*/ 2147483647 h 17"/>
                    <a:gd name="T34" fmla="*/ 2147483647 w 26"/>
                    <a:gd name="T35" fmla="*/ 2147483647 h 17"/>
                    <a:gd name="T36" fmla="*/ 2147483647 w 26"/>
                    <a:gd name="T37" fmla="*/ 2147483647 h 17"/>
                    <a:gd name="T38" fmla="*/ 2147483647 w 26"/>
                    <a:gd name="T39" fmla="*/ 2147483647 h 17"/>
                    <a:gd name="T40" fmla="*/ 2147483647 w 26"/>
                    <a:gd name="T41" fmla="*/ 2147483647 h 17"/>
                    <a:gd name="T42" fmla="*/ 2147483647 w 26"/>
                    <a:gd name="T43" fmla="*/ 2147483647 h 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
                    <a:gd name="T67" fmla="*/ 0 h 17"/>
                    <a:gd name="T68" fmla="*/ 26 w 26"/>
                    <a:gd name="T69" fmla="*/ 17 h 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 h="17">
                      <a:moveTo>
                        <a:pt x="13" y="13"/>
                      </a:moveTo>
                      <a:lnTo>
                        <a:pt x="13" y="13"/>
                      </a:lnTo>
                      <a:lnTo>
                        <a:pt x="8" y="17"/>
                      </a:lnTo>
                      <a:lnTo>
                        <a:pt x="5" y="17"/>
                      </a:lnTo>
                      <a:lnTo>
                        <a:pt x="3" y="16"/>
                      </a:lnTo>
                      <a:lnTo>
                        <a:pt x="0" y="14"/>
                      </a:lnTo>
                      <a:lnTo>
                        <a:pt x="0" y="12"/>
                      </a:lnTo>
                      <a:lnTo>
                        <a:pt x="0" y="10"/>
                      </a:lnTo>
                      <a:lnTo>
                        <a:pt x="2" y="7"/>
                      </a:lnTo>
                      <a:lnTo>
                        <a:pt x="7" y="4"/>
                      </a:lnTo>
                      <a:lnTo>
                        <a:pt x="12" y="1"/>
                      </a:lnTo>
                      <a:lnTo>
                        <a:pt x="18" y="0"/>
                      </a:lnTo>
                      <a:lnTo>
                        <a:pt x="23" y="1"/>
                      </a:lnTo>
                      <a:lnTo>
                        <a:pt x="26" y="4"/>
                      </a:lnTo>
                      <a:lnTo>
                        <a:pt x="26" y="5"/>
                      </a:lnTo>
                      <a:lnTo>
                        <a:pt x="26" y="7"/>
                      </a:lnTo>
                      <a:lnTo>
                        <a:pt x="23" y="9"/>
                      </a:lnTo>
                      <a:lnTo>
                        <a:pt x="13"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6" name="Freeform 930"/>
                <p:cNvSpPr>
                  <a:spLocks/>
                </p:cNvSpPr>
                <p:nvPr/>
              </p:nvSpPr>
              <p:spPr bwMode="auto">
                <a:xfrm>
                  <a:off x="2133496" y="1981233"/>
                  <a:ext cx="22198" cy="25157"/>
                </a:xfrm>
                <a:custGeom>
                  <a:avLst/>
                  <a:gdLst>
                    <a:gd name="T0" fmla="*/ 2147483647 w 17"/>
                    <a:gd name="T1" fmla="*/ 2147483647 h 17"/>
                    <a:gd name="T2" fmla="*/ 2147483647 w 17"/>
                    <a:gd name="T3" fmla="*/ 2147483647 h 17"/>
                    <a:gd name="T4" fmla="*/ 2147483647 w 17"/>
                    <a:gd name="T5" fmla="*/ 2147483647 h 17"/>
                    <a:gd name="T6" fmla="*/ 2147483647 w 17"/>
                    <a:gd name="T7" fmla="*/ 2147483647 h 17"/>
                    <a:gd name="T8" fmla="*/ 2147483647 w 17"/>
                    <a:gd name="T9" fmla="*/ 2147483647 h 17"/>
                    <a:gd name="T10" fmla="*/ 2147483647 w 17"/>
                    <a:gd name="T11" fmla="*/ 2147483647 h 17"/>
                    <a:gd name="T12" fmla="*/ 2147483647 w 17"/>
                    <a:gd name="T13" fmla="*/ 2147483647 h 17"/>
                    <a:gd name="T14" fmla="*/ 0 w 17"/>
                    <a:gd name="T15" fmla="*/ 2147483647 h 17"/>
                    <a:gd name="T16" fmla="*/ 2147483647 w 17"/>
                    <a:gd name="T17" fmla="*/ 2147483647 h 17"/>
                    <a:gd name="T18" fmla="*/ 2147483647 w 17"/>
                    <a:gd name="T19" fmla="*/ 2147483647 h 17"/>
                    <a:gd name="T20" fmla="*/ 2147483647 w 17"/>
                    <a:gd name="T21" fmla="*/ 2147483647 h 17"/>
                    <a:gd name="T22" fmla="*/ 2147483647 w 17"/>
                    <a:gd name="T23" fmla="*/ 2147483647 h 17"/>
                    <a:gd name="T24" fmla="*/ 2147483647 w 17"/>
                    <a:gd name="T25" fmla="*/ 0 h 17"/>
                    <a:gd name="T26" fmla="*/ 2147483647 w 17"/>
                    <a:gd name="T27" fmla="*/ 2147483647 h 17"/>
                    <a:gd name="T28" fmla="*/ 2147483647 w 17"/>
                    <a:gd name="T29" fmla="*/ 2147483647 h 17"/>
                    <a:gd name="T30" fmla="*/ 2147483647 w 17"/>
                    <a:gd name="T31" fmla="*/ 2147483647 h 17"/>
                    <a:gd name="T32" fmla="*/ 2147483647 w 17"/>
                    <a:gd name="T33" fmla="*/ 2147483647 h 17"/>
                    <a:gd name="T34" fmla="*/ 2147483647 w 17"/>
                    <a:gd name="T35" fmla="*/ 2147483647 h 17"/>
                    <a:gd name="T36" fmla="*/ 2147483647 w 17"/>
                    <a:gd name="T37" fmla="*/ 2147483647 h 17"/>
                    <a:gd name="T38" fmla="*/ 2147483647 w 17"/>
                    <a:gd name="T39" fmla="*/ 2147483647 h 17"/>
                    <a:gd name="T40" fmla="*/ 2147483647 w 17"/>
                    <a:gd name="T41" fmla="*/ 2147483647 h 17"/>
                    <a:gd name="T42" fmla="*/ 2147483647 w 17"/>
                    <a:gd name="T43" fmla="*/ 2147483647 h 17"/>
                    <a:gd name="T44" fmla="*/ 2147483647 w 17"/>
                    <a:gd name="T45" fmla="*/ 2147483647 h 17"/>
                    <a:gd name="T46" fmla="*/ 2147483647 w 17"/>
                    <a:gd name="T47" fmla="*/ 2147483647 h 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7"/>
                    <a:gd name="T74" fmla="*/ 17 w 17"/>
                    <a:gd name="T75" fmla="*/ 17 h 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7">
                      <a:moveTo>
                        <a:pt x="10" y="16"/>
                      </a:moveTo>
                      <a:lnTo>
                        <a:pt x="10" y="16"/>
                      </a:lnTo>
                      <a:lnTo>
                        <a:pt x="7" y="17"/>
                      </a:lnTo>
                      <a:lnTo>
                        <a:pt x="5" y="16"/>
                      </a:lnTo>
                      <a:lnTo>
                        <a:pt x="2" y="15"/>
                      </a:lnTo>
                      <a:lnTo>
                        <a:pt x="1" y="13"/>
                      </a:lnTo>
                      <a:lnTo>
                        <a:pt x="0" y="9"/>
                      </a:lnTo>
                      <a:lnTo>
                        <a:pt x="1" y="7"/>
                      </a:lnTo>
                      <a:lnTo>
                        <a:pt x="2" y="3"/>
                      </a:lnTo>
                      <a:lnTo>
                        <a:pt x="5" y="1"/>
                      </a:lnTo>
                      <a:lnTo>
                        <a:pt x="7" y="0"/>
                      </a:lnTo>
                      <a:lnTo>
                        <a:pt x="11" y="1"/>
                      </a:lnTo>
                      <a:lnTo>
                        <a:pt x="14" y="2"/>
                      </a:lnTo>
                      <a:lnTo>
                        <a:pt x="15" y="3"/>
                      </a:lnTo>
                      <a:lnTo>
                        <a:pt x="16" y="6"/>
                      </a:lnTo>
                      <a:lnTo>
                        <a:pt x="17" y="8"/>
                      </a:lnTo>
                      <a:lnTo>
                        <a:pt x="16" y="10"/>
                      </a:lnTo>
                      <a:lnTo>
                        <a:pt x="15" y="13"/>
                      </a:lnTo>
                      <a:lnTo>
                        <a:pt x="14" y="15"/>
                      </a:lnTo>
                      <a:lnTo>
                        <a:pt x="10"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7" name="Freeform 931"/>
                <p:cNvSpPr>
                  <a:spLocks/>
                </p:cNvSpPr>
                <p:nvPr/>
              </p:nvSpPr>
              <p:spPr bwMode="auto">
                <a:xfrm>
                  <a:off x="2291845" y="1896878"/>
                  <a:ext cx="79913" cy="60675"/>
                </a:xfrm>
                <a:custGeom>
                  <a:avLst/>
                  <a:gdLst>
                    <a:gd name="T0" fmla="*/ 2147483647 w 59"/>
                    <a:gd name="T1" fmla="*/ 2147483647 h 41"/>
                    <a:gd name="T2" fmla="*/ 2147483647 w 59"/>
                    <a:gd name="T3" fmla="*/ 2147483647 h 41"/>
                    <a:gd name="T4" fmla="*/ 2147483647 w 59"/>
                    <a:gd name="T5" fmla="*/ 2147483647 h 41"/>
                    <a:gd name="T6" fmla="*/ 2147483647 w 59"/>
                    <a:gd name="T7" fmla="*/ 2147483647 h 41"/>
                    <a:gd name="T8" fmla="*/ 2147483647 w 59"/>
                    <a:gd name="T9" fmla="*/ 2147483647 h 41"/>
                    <a:gd name="T10" fmla="*/ 2147483647 w 59"/>
                    <a:gd name="T11" fmla="*/ 2147483647 h 41"/>
                    <a:gd name="T12" fmla="*/ 2147483647 w 59"/>
                    <a:gd name="T13" fmla="*/ 0 h 41"/>
                    <a:gd name="T14" fmla="*/ 2147483647 w 59"/>
                    <a:gd name="T15" fmla="*/ 2147483647 h 41"/>
                    <a:gd name="T16" fmla="*/ 2147483647 w 59"/>
                    <a:gd name="T17" fmla="*/ 2147483647 h 41"/>
                    <a:gd name="T18" fmla="*/ 2147483647 w 59"/>
                    <a:gd name="T19" fmla="*/ 2147483647 h 41"/>
                    <a:gd name="T20" fmla="*/ 0 w 59"/>
                    <a:gd name="T21" fmla="*/ 2147483647 h 41"/>
                    <a:gd name="T22" fmla="*/ 0 w 59"/>
                    <a:gd name="T23" fmla="*/ 2147483647 h 41"/>
                    <a:gd name="T24" fmla="*/ 2147483647 w 59"/>
                    <a:gd name="T25" fmla="*/ 2147483647 h 41"/>
                    <a:gd name="T26" fmla="*/ 2147483647 w 59"/>
                    <a:gd name="T27" fmla="*/ 2147483647 h 41"/>
                    <a:gd name="T28" fmla="*/ 2147483647 w 59"/>
                    <a:gd name="T29" fmla="*/ 2147483647 h 41"/>
                    <a:gd name="T30" fmla="*/ 2147483647 w 59"/>
                    <a:gd name="T31" fmla="*/ 2147483647 h 41"/>
                    <a:gd name="T32" fmla="*/ 2147483647 w 59"/>
                    <a:gd name="T33" fmla="*/ 2147483647 h 41"/>
                    <a:gd name="T34" fmla="*/ 2147483647 w 59"/>
                    <a:gd name="T35" fmla="*/ 2147483647 h 41"/>
                    <a:gd name="T36" fmla="*/ 2147483647 w 59"/>
                    <a:gd name="T37" fmla="*/ 2147483647 h 41"/>
                    <a:gd name="T38" fmla="*/ 2147483647 w 59"/>
                    <a:gd name="T39" fmla="*/ 2147483647 h 41"/>
                    <a:gd name="T40" fmla="*/ 2147483647 w 59"/>
                    <a:gd name="T41" fmla="*/ 2147483647 h 41"/>
                    <a:gd name="T42" fmla="*/ 2147483647 w 59"/>
                    <a:gd name="T43" fmla="*/ 2147483647 h 41"/>
                    <a:gd name="T44" fmla="*/ 2147483647 w 59"/>
                    <a:gd name="T45" fmla="*/ 2147483647 h 41"/>
                    <a:gd name="T46" fmla="*/ 2147483647 w 59"/>
                    <a:gd name="T47" fmla="*/ 2147483647 h 41"/>
                    <a:gd name="T48" fmla="*/ 2147483647 w 59"/>
                    <a:gd name="T49" fmla="*/ 2147483647 h 41"/>
                    <a:gd name="T50" fmla="*/ 2147483647 w 59"/>
                    <a:gd name="T51" fmla="*/ 2147483647 h 41"/>
                    <a:gd name="T52" fmla="*/ 2147483647 w 59"/>
                    <a:gd name="T53" fmla="*/ 2147483647 h 41"/>
                    <a:gd name="T54" fmla="*/ 2147483647 w 59"/>
                    <a:gd name="T55" fmla="*/ 2147483647 h 41"/>
                    <a:gd name="T56" fmla="*/ 2147483647 w 59"/>
                    <a:gd name="T57" fmla="*/ 2147483647 h 41"/>
                    <a:gd name="T58" fmla="*/ 2147483647 w 59"/>
                    <a:gd name="T59" fmla="*/ 2147483647 h 41"/>
                    <a:gd name="T60" fmla="*/ 2147483647 w 59"/>
                    <a:gd name="T61" fmla="*/ 2147483647 h 41"/>
                    <a:gd name="T62" fmla="*/ 2147483647 w 59"/>
                    <a:gd name="T63" fmla="*/ 2147483647 h 41"/>
                    <a:gd name="T64" fmla="*/ 2147483647 w 59"/>
                    <a:gd name="T65" fmla="*/ 2147483647 h 41"/>
                    <a:gd name="T66" fmla="*/ 2147483647 w 59"/>
                    <a:gd name="T67" fmla="*/ 2147483647 h 41"/>
                    <a:gd name="T68" fmla="*/ 2147483647 w 59"/>
                    <a:gd name="T69" fmla="*/ 2147483647 h 41"/>
                    <a:gd name="T70" fmla="*/ 2147483647 w 59"/>
                    <a:gd name="T71" fmla="*/ 2147483647 h 41"/>
                    <a:gd name="T72" fmla="*/ 2147483647 w 59"/>
                    <a:gd name="T73" fmla="*/ 2147483647 h 41"/>
                    <a:gd name="T74" fmla="*/ 2147483647 w 59"/>
                    <a:gd name="T75" fmla="*/ 2147483647 h 41"/>
                    <a:gd name="T76" fmla="*/ 2147483647 w 59"/>
                    <a:gd name="T77" fmla="*/ 2147483647 h 41"/>
                    <a:gd name="T78" fmla="*/ 2147483647 w 59"/>
                    <a:gd name="T79" fmla="*/ 2147483647 h 41"/>
                    <a:gd name="T80" fmla="*/ 2147483647 w 59"/>
                    <a:gd name="T81" fmla="*/ 2147483647 h 41"/>
                    <a:gd name="T82" fmla="*/ 2147483647 w 59"/>
                    <a:gd name="T83" fmla="*/ 2147483647 h 41"/>
                    <a:gd name="T84" fmla="*/ 2147483647 w 59"/>
                    <a:gd name="T85" fmla="*/ 2147483647 h 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
                    <a:gd name="T130" fmla="*/ 0 h 41"/>
                    <a:gd name="T131" fmla="*/ 59 w 59"/>
                    <a:gd name="T132" fmla="*/ 41 h 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 h="41">
                      <a:moveTo>
                        <a:pt x="44" y="13"/>
                      </a:moveTo>
                      <a:lnTo>
                        <a:pt x="37" y="10"/>
                      </a:lnTo>
                      <a:lnTo>
                        <a:pt x="32" y="7"/>
                      </a:lnTo>
                      <a:lnTo>
                        <a:pt x="23" y="6"/>
                      </a:lnTo>
                      <a:lnTo>
                        <a:pt x="20" y="5"/>
                      </a:lnTo>
                      <a:lnTo>
                        <a:pt x="14" y="2"/>
                      </a:lnTo>
                      <a:lnTo>
                        <a:pt x="12" y="0"/>
                      </a:lnTo>
                      <a:lnTo>
                        <a:pt x="7" y="1"/>
                      </a:lnTo>
                      <a:lnTo>
                        <a:pt x="4" y="2"/>
                      </a:lnTo>
                      <a:lnTo>
                        <a:pt x="2" y="5"/>
                      </a:lnTo>
                      <a:lnTo>
                        <a:pt x="0" y="12"/>
                      </a:lnTo>
                      <a:lnTo>
                        <a:pt x="0" y="15"/>
                      </a:lnTo>
                      <a:lnTo>
                        <a:pt x="2" y="19"/>
                      </a:lnTo>
                      <a:lnTo>
                        <a:pt x="6" y="21"/>
                      </a:lnTo>
                      <a:lnTo>
                        <a:pt x="8" y="25"/>
                      </a:lnTo>
                      <a:lnTo>
                        <a:pt x="9" y="28"/>
                      </a:lnTo>
                      <a:lnTo>
                        <a:pt x="9" y="31"/>
                      </a:lnTo>
                      <a:lnTo>
                        <a:pt x="11" y="34"/>
                      </a:lnTo>
                      <a:lnTo>
                        <a:pt x="13" y="38"/>
                      </a:lnTo>
                      <a:lnTo>
                        <a:pt x="17" y="39"/>
                      </a:lnTo>
                      <a:lnTo>
                        <a:pt x="21" y="40"/>
                      </a:lnTo>
                      <a:lnTo>
                        <a:pt x="25" y="41"/>
                      </a:lnTo>
                      <a:lnTo>
                        <a:pt x="30" y="41"/>
                      </a:lnTo>
                      <a:lnTo>
                        <a:pt x="34" y="40"/>
                      </a:lnTo>
                      <a:lnTo>
                        <a:pt x="37" y="38"/>
                      </a:lnTo>
                      <a:lnTo>
                        <a:pt x="39" y="38"/>
                      </a:lnTo>
                      <a:lnTo>
                        <a:pt x="40" y="38"/>
                      </a:lnTo>
                      <a:lnTo>
                        <a:pt x="44" y="40"/>
                      </a:lnTo>
                      <a:lnTo>
                        <a:pt x="45" y="40"/>
                      </a:lnTo>
                      <a:lnTo>
                        <a:pt x="46" y="38"/>
                      </a:lnTo>
                      <a:lnTo>
                        <a:pt x="47" y="35"/>
                      </a:lnTo>
                      <a:lnTo>
                        <a:pt x="53" y="33"/>
                      </a:lnTo>
                      <a:lnTo>
                        <a:pt x="56" y="32"/>
                      </a:lnTo>
                      <a:lnTo>
                        <a:pt x="58" y="31"/>
                      </a:lnTo>
                      <a:lnTo>
                        <a:pt x="59" y="28"/>
                      </a:lnTo>
                      <a:lnTo>
                        <a:pt x="59" y="25"/>
                      </a:lnTo>
                      <a:lnTo>
                        <a:pt x="56" y="21"/>
                      </a:lnTo>
                      <a:lnTo>
                        <a:pt x="55" y="16"/>
                      </a:lnTo>
                      <a:lnTo>
                        <a:pt x="56" y="13"/>
                      </a:lnTo>
                      <a:lnTo>
                        <a:pt x="53" y="12"/>
                      </a:lnTo>
                      <a:lnTo>
                        <a:pt x="47" y="13"/>
                      </a:lnTo>
                      <a:lnTo>
                        <a:pt x="46" y="14"/>
                      </a:lnTo>
                      <a:lnTo>
                        <a:pt x="44"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8" name="Freeform 932"/>
                <p:cNvSpPr>
                  <a:spLocks/>
                </p:cNvSpPr>
                <p:nvPr/>
              </p:nvSpPr>
              <p:spPr bwMode="auto">
                <a:xfrm>
                  <a:off x="2134974" y="1848045"/>
                  <a:ext cx="153907" cy="109511"/>
                </a:xfrm>
                <a:custGeom>
                  <a:avLst/>
                  <a:gdLst>
                    <a:gd name="T0" fmla="*/ 2147483647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0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2147483647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2147483647 w 113"/>
                    <a:gd name="T51" fmla="*/ 2147483647 h 74"/>
                    <a:gd name="T52" fmla="*/ 2147483647 w 113"/>
                    <a:gd name="T53" fmla="*/ 2147483647 h 74"/>
                    <a:gd name="T54" fmla="*/ 2147483647 w 113"/>
                    <a:gd name="T55" fmla="*/ 2147483647 h 74"/>
                    <a:gd name="T56" fmla="*/ 2147483647 w 113"/>
                    <a:gd name="T57" fmla="*/ 2147483647 h 74"/>
                    <a:gd name="T58" fmla="*/ 2147483647 w 113"/>
                    <a:gd name="T59" fmla="*/ 2147483647 h 74"/>
                    <a:gd name="T60" fmla="*/ 2147483647 w 113"/>
                    <a:gd name="T61" fmla="*/ 2147483647 h 74"/>
                    <a:gd name="T62" fmla="*/ 2147483647 w 113"/>
                    <a:gd name="T63" fmla="*/ 2147483647 h 74"/>
                    <a:gd name="T64" fmla="*/ 2147483647 w 113"/>
                    <a:gd name="T65" fmla="*/ 2147483647 h 74"/>
                    <a:gd name="T66" fmla="*/ 2147483647 w 113"/>
                    <a:gd name="T67" fmla="*/ 2147483647 h 74"/>
                    <a:gd name="T68" fmla="*/ 2147483647 w 113"/>
                    <a:gd name="T69" fmla="*/ 2147483647 h 74"/>
                    <a:gd name="T70" fmla="*/ 2147483647 w 113"/>
                    <a:gd name="T71" fmla="*/ 2147483647 h 74"/>
                    <a:gd name="T72" fmla="*/ 2147483647 w 113"/>
                    <a:gd name="T73" fmla="*/ 2147483647 h 74"/>
                    <a:gd name="T74" fmla="*/ 2147483647 w 113"/>
                    <a:gd name="T75" fmla="*/ 2147483647 h 74"/>
                    <a:gd name="T76" fmla="*/ 2147483647 w 113"/>
                    <a:gd name="T77" fmla="*/ 2147483647 h 74"/>
                    <a:gd name="T78" fmla="*/ 2147483647 w 113"/>
                    <a:gd name="T79" fmla="*/ 2147483647 h 74"/>
                    <a:gd name="T80" fmla="*/ 2147483647 w 113"/>
                    <a:gd name="T81" fmla="*/ 2147483647 h 74"/>
                    <a:gd name="T82" fmla="*/ 2147483647 w 113"/>
                    <a:gd name="T83" fmla="*/ 2147483647 h 74"/>
                    <a:gd name="T84" fmla="*/ 2147483647 w 113"/>
                    <a:gd name="T85" fmla="*/ 2147483647 h 74"/>
                    <a:gd name="T86" fmla="*/ 2147483647 w 113"/>
                    <a:gd name="T87" fmla="*/ 2147483647 h 74"/>
                    <a:gd name="T88" fmla="*/ 2147483647 w 113"/>
                    <a:gd name="T89" fmla="*/ 2147483647 h 74"/>
                    <a:gd name="T90" fmla="*/ 2147483647 w 113"/>
                    <a:gd name="T91" fmla="*/ 2147483647 h 74"/>
                    <a:gd name="T92" fmla="*/ 2147483647 w 113"/>
                    <a:gd name="T93" fmla="*/ 2147483647 h 74"/>
                    <a:gd name="T94" fmla="*/ 2147483647 w 113"/>
                    <a:gd name="T95" fmla="*/ 2147483647 h 7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3"/>
                    <a:gd name="T145" fmla="*/ 0 h 74"/>
                    <a:gd name="T146" fmla="*/ 113 w 113"/>
                    <a:gd name="T147" fmla="*/ 74 h 7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3" h="74">
                      <a:moveTo>
                        <a:pt x="47" y="17"/>
                      </a:moveTo>
                      <a:lnTo>
                        <a:pt x="44" y="17"/>
                      </a:lnTo>
                      <a:lnTo>
                        <a:pt x="42" y="17"/>
                      </a:lnTo>
                      <a:lnTo>
                        <a:pt x="37" y="15"/>
                      </a:lnTo>
                      <a:lnTo>
                        <a:pt x="32" y="13"/>
                      </a:lnTo>
                      <a:lnTo>
                        <a:pt x="27" y="10"/>
                      </a:lnTo>
                      <a:lnTo>
                        <a:pt x="20" y="7"/>
                      </a:lnTo>
                      <a:lnTo>
                        <a:pt x="15" y="2"/>
                      </a:lnTo>
                      <a:lnTo>
                        <a:pt x="13" y="1"/>
                      </a:lnTo>
                      <a:lnTo>
                        <a:pt x="10" y="0"/>
                      </a:lnTo>
                      <a:lnTo>
                        <a:pt x="9" y="1"/>
                      </a:lnTo>
                      <a:lnTo>
                        <a:pt x="8" y="4"/>
                      </a:lnTo>
                      <a:lnTo>
                        <a:pt x="8" y="5"/>
                      </a:lnTo>
                      <a:lnTo>
                        <a:pt x="4" y="8"/>
                      </a:lnTo>
                      <a:lnTo>
                        <a:pt x="2" y="9"/>
                      </a:lnTo>
                      <a:lnTo>
                        <a:pt x="1" y="11"/>
                      </a:lnTo>
                      <a:lnTo>
                        <a:pt x="0" y="14"/>
                      </a:lnTo>
                      <a:lnTo>
                        <a:pt x="1" y="19"/>
                      </a:lnTo>
                      <a:lnTo>
                        <a:pt x="2" y="24"/>
                      </a:lnTo>
                      <a:lnTo>
                        <a:pt x="4" y="26"/>
                      </a:lnTo>
                      <a:lnTo>
                        <a:pt x="6" y="27"/>
                      </a:lnTo>
                      <a:lnTo>
                        <a:pt x="10" y="28"/>
                      </a:lnTo>
                      <a:lnTo>
                        <a:pt x="22" y="27"/>
                      </a:lnTo>
                      <a:lnTo>
                        <a:pt x="20" y="32"/>
                      </a:lnTo>
                      <a:lnTo>
                        <a:pt x="22" y="33"/>
                      </a:lnTo>
                      <a:lnTo>
                        <a:pt x="23" y="35"/>
                      </a:lnTo>
                      <a:lnTo>
                        <a:pt x="23" y="36"/>
                      </a:lnTo>
                      <a:lnTo>
                        <a:pt x="22" y="38"/>
                      </a:lnTo>
                      <a:lnTo>
                        <a:pt x="18" y="36"/>
                      </a:lnTo>
                      <a:lnTo>
                        <a:pt x="13" y="36"/>
                      </a:lnTo>
                      <a:lnTo>
                        <a:pt x="11" y="36"/>
                      </a:lnTo>
                      <a:lnTo>
                        <a:pt x="10" y="38"/>
                      </a:lnTo>
                      <a:lnTo>
                        <a:pt x="10" y="40"/>
                      </a:lnTo>
                      <a:lnTo>
                        <a:pt x="10" y="42"/>
                      </a:lnTo>
                      <a:lnTo>
                        <a:pt x="14" y="46"/>
                      </a:lnTo>
                      <a:lnTo>
                        <a:pt x="18" y="49"/>
                      </a:lnTo>
                      <a:lnTo>
                        <a:pt x="22" y="52"/>
                      </a:lnTo>
                      <a:lnTo>
                        <a:pt x="23" y="52"/>
                      </a:lnTo>
                      <a:lnTo>
                        <a:pt x="25" y="52"/>
                      </a:lnTo>
                      <a:lnTo>
                        <a:pt x="30" y="48"/>
                      </a:lnTo>
                      <a:lnTo>
                        <a:pt x="35" y="47"/>
                      </a:lnTo>
                      <a:lnTo>
                        <a:pt x="41" y="46"/>
                      </a:lnTo>
                      <a:lnTo>
                        <a:pt x="43" y="47"/>
                      </a:lnTo>
                      <a:lnTo>
                        <a:pt x="46" y="49"/>
                      </a:lnTo>
                      <a:lnTo>
                        <a:pt x="47" y="48"/>
                      </a:lnTo>
                      <a:lnTo>
                        <a:pt x="48" y="47"/>
                      </a:lnTo>
                      <a:lnTo>
                        <a:pt x="49" y="48"/>
                      </a:lnTo>
                      <a:lnTo>
                        <a:pt x="52" y="51"/>
                      </a:lnTo>
                      <a:lnTo>
                        <a:pt x="56" y="52"/>
                      </a:lnTo>
                      <a:lnTo>
                        <a:pt x="62" y="49"/>
                      </a:lnTo>
                      <a:lnTo>
                        <a:pt x="65" y="49"/>
                      </a:lnTo>
                      <a:lnTo>
                        <a:pt x="67" y="51"/>
                      </a:lnTo>
                      <a:lnTo>
                        <a:pt x="70" y="52"/>
                      </a:lnTo>
                      <a:lnTo>
                        <a:pt x="71" y="55"/>
                      </a:lnTo>
                      <a:lnTo>
                        <a:pt x="74" y="66"/>
                      </a:lnTo>
                      <a:lnTo>
                        <a:pt x="76" y="67"/>
                      </a:lnTo>
                      <a:lnTo>
                        <a:pt x="81" y="66"/>
                      </a:lnTo>
                      <a:lnTo>
                        <a:pt x="85" y="65"/>
                      </a:lnTo>
                      <a:lnTo>
                        <a:pt x="89" y="64"/>
                      </a:lnTo>
                      <a:lnTo>
                        <a:pt x="93" y="65"/>
                      </a:lnTo>
                      <a:lnTo>
                        <a:pt x="99" y="72"/>
                      </a:lnTo>
                      <a:lnTo>
                        <a:pt x="104" y="74"/>
                      </a:lnTo>
                      <a:lnTo>
                        <a:pt x="107" y="74"/>
                      </a:lnTo>
                      <a:lnTo>
                        <a:pt x="109" y="73"/>
                      </a:lnTo>
                      <a:lnTo>
                        <a:pt x="112" y="71"/>
                      </a:lnTo>
                      <a:lnTo>
                        <a:pt x="113" y="70"/>
                      </a:lnTo>
                      <a:lnTo>
                        <a:pt x="112" y="68"/>
                      </a:lnTo>
                      <a:lnTo>
                        <a:pt x="107" y="67"/>
                      </a:lnTo>
                      <a:lnTo>
                        <a:pt x="104" y="65"/>
                      </a:lnTo>
                      <a:lnTo>
                        <a:pt x="103" y="61"/>
                      </a:lnTo>
                      <a:lnTo>
                        <a:pt x="102" y="58"/>
                      </a:lnTo>
                      <a:lnTo>
                        <a:pt x="103" y="49"/>
                      </a:lnTo>
                      <a:lnTo>
                        <a:pt x="103" y="46"/>
                      </a:lnTo>
                      <a:lnTo>
                        <a:pt x="103" y="42"/>
                      </a:lnTo>
                      <a:lnTo>
                        <a:pt x="100" y="39"/>
                      </a:lnTo>
                      <a:lnTo>
                        <a:pt x="96" y="36"/>
                      </a:lnTo>
                      <a:lnTo>
                        <a:pt x="93" y="34"/>
                      </a:lnTo>
                      <a:lnTo>
                        <a:pt x="89" y="30"/>
                      </a:lnTo>
                      <a:lnTo>
                        <a:pt x="88" y="29"/>
                      </a:lnTo>
                      <a:lnTo>
                        <a:pt x="85" y="29"/>
                      </a:lnTo>
                      <a:lnTo>
                        <a:pt x="81" y="32"/>
                      </a:lnTo>
                      <a:lnTo>
                        <a:pt x="77" y="32"/>
                      </a:lnTo>
                      <a:lnTo>
                        <a:pt x="75" y="30"/>
                      </a:lnTo>
                      <a:lnTo>
                        <a:pt x="71" y="27"/>
                      </a:lnTo>
                      <a:lnTo>
                        <a:pt x="70" y="27"/>
                      </a:lnTo>
                      <a:lnTo>
                        <a:pt x="69" y="28"/>
                      </a:lnTo>
                      <a:lnTo>
                        <a:pt x="67" y="29"/>
                      </a:lnTo>
                      <a:lnTo>
                        <a:pt x="65" y="29"/>
                      </a:lnTo>
                      <a:lnTo>
                        <a:pt x="62" y="27"/>
                      </a:lnTo>
                      <a:lnTo>
                        <a:pt x="61" y="24"/>
                      </a:lnTo>
                      <a:lnTo>
                        <a:pt x="58" y="19"/>
                      </a:lnTo>
                      <a:lnTo>
                        <a:pt x="57" y="17"/>
                      </a:lnTo>
                      <a:lnTo>
                        <a:pt x="55" y="16"/>
                      </a:lnTo>
                      <a:lnTo>
                        <a:pt x="51" y="16"/>
                      </a:lnTo>
                      <a:lnTo>
                        <a:pt x="44" y="17"/>
                      </a:lnTo>
                      <a:lnTo>
                        <a:pt x="47" y="1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59" name="Freeform 933"/>
                <p:cNvSpPr>
                  <a:spLocks/>
                </p:cNvSpPr>
                <p:nvPr/>
              </p:nvSpPr>
              <p:spPr bwMode="auto">
                <a:xfrm>
                  <a:off x="2290365" y="1895402"/>
                  <a:ext cx="79913" cy="60674"/>
                </a:xfrm>
                <a:custGeom>
                  <a:avLst/>
                  <a:gdLst>
                    <a:gd name="T0" fmla="*/ 2147483647 w 59"/>
                    <a:gd name="T1" fmla="*/ 2147483647 h 41"/>
                    <a:gd name="T2" fmla="*/ 2147483647 w 59"/>
                    <a:gd name="T3" fmla="*/ 2147483647 h 41"/>
                    <a:gd name="T4" fmla="*/ 2147483647 w 59"/>
                    <a:gd name="T5" fmla="*/ 2147483647 h 41"/>
                    <a:gd name="T6" fmla="*/ 2147483647 w 59"/>
                    <a:gd name="T7" fmla="*/ 2147483647 h 41"/>
                    <a:gd name="T8" fmla="*/ 2147483647 w 59"/>
                    <a:gd name="T9" fmla="*/ 2147483647 h 41"/>
                    <a:gd name="T10" fmla="*/ 2147483647 w 59"/>
                    <a:gd name="T11" fmla="*/ 2147483647 h 41"/>
                    <a:gd name="T12" fmla="*/ 2147483647 w 59"/>
                    <a:gd name="T13" fmla="*/ 2147483647 h 41"/>
                    <a:gd name="T14" fmla="*/ 2147483647 w 59"/>
                    <a:gd name="T15" fmla="*/ 2147483647 h 41"/>
                    <a:gd name="T16" fmla="*/ 2147483647 w 59"/>
                    <a:gd name="T17" fmla="*/ 2147483647 h 41"/>
                    <a:gd name="T18" fmla="*/ 2147483647 w 59"/>
                    <a:gd name="T19" fmla="*/ 0 h 41"/>
                    <a:gd name="T20" fmla="*/ 2147483647 w 59"/>
                    <a:gd name="T21" fmla="*/ 2147483647 h 41"/>
                    <a:gd name="T22" fmla="*/ 2147483647 w 59"/>
                    <a:gd name="T23" fmla="*/ 2147483647 h 41"/>
                    <a:gd name="T24" fmla="*/ 2147483647 w 59"/>
                    <a:gd name="T25" fmla="*/ 2147483647 h 41"/>
                    <a:gd name="T26" fmla="*/ 2147483647 w 59"/>
                    <a:gd name="T27" fmla="*/ 2147483647 h 41"/>
                    <a:gd name="T28" fmla="*/ 0 w 59"/>
                    <a:gd name="T29" fmla="*/ 2147483647 h 41"/>
                    <a:gd name="T30" fmla="*/ 0 w 59"/>
                    <a:gd name="T31" fmla="*/ 2147483647 h 41"/>
                    <a:gd name="T32" fmla="*/ 2147483647 w 59"/>
                    <a:gd name="T33" fmla="*/ 2147483647 h 41"/>
                    <a:gd name="T34" fmla="*/ 2147483647 w 59"/>
                    <a:gd name="T35" fmla="*/ 2147483647 h 41"/>
                    <a:gd name="T36" fmla="*/ 2147483647 w 59"/>
                    <a:gd name="T37" fmla="*/ 2147483647 h 41"/>
                    <a:gd name="T38" fmla="*/ 2147483647 w 59"/>
                    <a:gd name="T39" fmla="*/ 2147483647 h 41"/>
                    <a:gd name="T40" fmla="*/ 2147483647 w 59"/>
                    <a:gd name="T41" fmla="*/ 2147483647 h 41"/>
                    <a:gd name="T42" fmla="*/ 2147483647 w 59"/>
                    <a:gd name="T43" fmla="*/ 2147483647 h 41"/>
                    <a:gd name="T44" fmla="*/ 2147483647 w 59"/>
                    <a:gd name="T45" fmla="*/ 2147483647 h 41"/>
                    <a:gd name="T46" fmla="*/ 2147483647 w 59"/>
                    <a:gd name="T47" fmla="*/ 2147483647 h 41"/>
                    <a:gd name="T48" fmla="*/ 2147483647 w 59"/>
                    <a:gd name="T49" fmla="*/ 2147483647 h 41"/>
                    <a:gd name="T50" fmla="*/ 2147483647 w 59"/>
                    <a:gd name="T51" fmla="*/ 2147483647 h 41"/>
                    <a:gd name="T52" fmla="*/ 2147483647 w 59"/>
                    <a:gd name="T53" fmla="*/ 2147483647 h 41"/>
                    <a:gd name="T54" fmla="*/ 2147483647 w 59"/>
                    <a:gd name="T55" fmla="*/ 2147483647 h 41"/>
                    <a:gd name="T56" fmla="*/ 2147483647 w 59"/>
                    <a:gd name="T57" fmla="*/ 2147483647 h 41"/>
                    <a:gd name="T58" fmla="*/ 2147483647 w 59"/>
                    <a:gd name="T59" fmla="*/ 2147483647 h 41"/>
                    <a:gd name="T60" fmla="*/ 2147483647 w 59"/>
                    <a:gd name="T61" fmla="*/ 2147483647 h 41"/>
                    <a:gd name="T62" fmla="*/ 2147483647 w 59"/>
                    <a:gd name="T63" fmla="*/ 2147483647 h 41"/>
                    <a:gd name="T64" fmla="*/ 2147483647 w 59"/>
                    <a:gd name="T65" fmla="*/ 2147483647 h 41"/>
                    <a:gd name="T66" fmla="*/ 2147483647 w 59"/>
                    <a:gd name="T67" fmla="*/ 2147483647 h 41"/>
                    <a:gd name="T68" fmla="*/ 2147483647 w 59"/>
                    <a:gd name="T69" fmla="*/ 2147483647 h 41"/>
                    <a:gd name="T70" fmla="*/ 2147483647 w 59"/>
                    <a:gd name="T71" fmla="*/ 2147483647 h 41"/>
                    <a:gd name="T72" fmla="*/ 2147483647 w 59"/>
                    <a:gd name="T73" fmla="*/ 2147483647 h 41"/>
                    <a:gd name="T74" fmla="*/ 2147483647 w 59"/>
                    <a:gd name="T75" fmla="*/ 2147483647 h 41"/>
                    <a:gd name="T76" fmla="*/ 2147483647 w 59"/>
                    <a:gd name="T77" fmla="*/ 2147483647 h 41"/>
                    <a:gd name="T78" fmla="*/ 2147483647 w 59"/>
                    <a:gd name="T79" fmla="*/ 2147483647 h 41"/>
                    <a:gd name="T80" fmla="*/ 2147483647 w 59"/>
                    <a:gd name="T81" fmla="*/ 2147483647 h 41"/>
                    <a:gd name="T82" fmla="*/ 2147483647 w 59"/>
                    <a:gd name="T83" fmla="*/ 2147483647 h 41"/>
                    <a:gd name="T84" fmla="*/ 2147483647 w 59"/>
                    <a:gd name="T85" fmla="*/ 2147483647 h 41"/>
                    <a:gd name="T86" fmla="*/ 2147483647 w 59"/>
                    <a:gd name="T87" fmla="*/ 2147483647 h 41"/>
                    <a:gd name="T88" fmla="*/ 2147483647 w 59"/>
                    <a:gd name="T89" fmla="*/ 2147483647 h 41"/>
                    <a:gd name="T90" fmla="*/ 2147483647 w 59"/>
                    <a:gd name="T91" fmla="*/ 2147483647 h 41"/>
                    <a:gd name="T92" fmla="*/ 2147483647 w 59"/>
                    <a:gd name="T93" fmla="*/ 2147483647 h 41"/>
                    <a:gd name="T94" fmla="*/ 2147483647 w 59"/>
                    <a:gd name="T95" fmla="*/ 2147483647 h 41"/>
                    <a:gd name="T96" fmla="*/ 2147483647 w 59"/>
                    <a:gd name="T97" fmla="*/ 2147483647 h 41"/>
                    <a:gd name="T98" fmla="*/ 2147483647 w 59"/>
                    <a:gd name="T99" fmla="*/ 2147483647 h 41"/>
                    <a:gd name="T100" fmla="*/ 2147483647 w 59"/>
                    <a:gd name="T101" fmla="*/ 2147483647 h 41"/>
                    <a:gd name="T102" fmla="*/ 2147483647 w 59"/>
                    <a:gd name="T103" fmla="*/ 2147483647 h 41"/>
                    <a:gd name="T104" fmla="*/ 2147483647 w 59"/>
                    <a:gd name="T105" fmla="*/ 2147483647 h 41"/>
                    <a:gd name="T106" fmla="*/ 2147483647 w 59"/>
                    <a:gd name="T107" fmla="*/ 2147483647 h 41"/>
                    <a:gd name="T108" fmla="*/ 2147483647 w 59"/>
                    <a:gd name="T109" fmla="*/ 2147483647 h 41"/>
                    <a:gd name="T110" fmla="*/ 2147483647 w 59"/>
                    <a:gd name="T111" fmla="*/ 2147483647 h 4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
                    <a:gd name="T169" fmla="*/ 0 h 41"/>
                    <a:gd name="T170" fmla="*/ 59 w 59"/>
                    <a:gd name="T171" fmla="*/ 41 h 4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 h="41">
                      <a:moveTo>
                        <a:pt x="43" y="13"/>
                      </a:moveTo>
                      <a:lnTo>
                        <a:pt x="43" y="13"/>
                      </a:lnTo>
                      <a:lnTo>
                        <a:pt x="37" y="10"/>
                      </a:lnTo>
                      <a:lnTo>
                        <a:pt x="32" y="7"/>
                      </a:lnTo>
                      <a:lnTo>
                        <a:pt x="23" y="6"/>
                      </a:lnTo>
                      <a:lnTo>
                        <a:pt x="19" y="4"/>
                      </a:lnTo>
                      <a:lnTo>
                        <a:pt x="14" y="2"/>
                      </a:lnTo>
                      <a:lnTo>
                        <a:pt x="12" y="0"/>
                      </a:lnTo>
                      <a:lnTo>
                        <a:pt x="7" y="1"/>
                      </a:lnTo>
                      <a:lnTo>
                        <a:pt x="4" y="2"/>
                      </a:lnTo>
                      <a:lnTo>
                        <a:pt x="1" y="4"/>
                      </a:lnTo>
                      <a:lnTo>
                        <a:pt x="0" y="11"/>
                      </a:lnTo>
                      <a:lnTo>
                        <a:pt x="0" y="15"/>
                      </a:lnTo>
                      <a:lnTo>
                        <a:pt x="1" y="19"/>
                      </a:lnTo>
                      <a:lnTo>
                        <a:pt x="5" y="21"/>
                      </a:lnTo>
                      <a:lnTo>
                        <a:pt x="8" y="24"/>
                      </a:lnTo>
                      <a:lnTo>
                        <a:pt x="9" y="28"/>
                      </a:lnTo>
                      <a:lnTo>
                        <a:pt x="9" y="30"/>
                      </a:lnTo>
                      <a:lnTo>
                        <a:pt x="10" y="34"/>
                      </a:lnTo>
                      <a:lnTo>
                        <a:pt x="13" y="38"/>
                      </a:lnTo>
                      <a:lnTo>
                        <a:pt x="17" y="39"/>
                      </a:lnTo>
                      <a:lnTo>
                        <a:pt x="21" y="40"/>
                      </a:lnTo>
                      <a:lnTo>
                        <a:pt x="24" y="41"/>
                      </a:lnTo>
                      <a:lnTo>
                        <a:pt x="29" y="41"/>
                      </a:lnTo>
                      <a:lnTo>
                        <a:pt x="33" y="40"/>
                      </a:lnTo>
                      <a:lnTo>
                        <a:pt x="37" y="38"/>
                      </a:lnTo>
                      <a:lnTo>
                        <a:pt x="38" y="38"/>
                      </a:lnTo>
                      <a:lnTo>
                        <a:pt x="40" y="38"/>
                      </a:lnTo>
                      <a:lnTo>
                        <a:pt x="43" y="40"/>
                      </a:lnTo>
                      <a:lnTo>
                        <a:pt x="45" y="40"/>
                      </a:lnTo>
                      <a:lnTo>
                        <a:pt x="46" y="38"/>
                      </a:lnTo>
                      <a:lnTo>
                        <a:pt x="47" y="35"/>
                      </a:lnTo>
                      <a:lnTo>
                        <a:pt x="52" y="33"/>
                      </a:lnTo>
                      <a:lnTo>
                        <a:pt x="56" y="32"/>
                      </a:lnTo>
                      <a:lnTo>
                        <a:pt x="57" y="30"/>
                      </a:lnTo>
                      <a:lnTo>
                        <a:pt x="59" y="28"/>
                      </a:lnTo>
                      <a:lnTo>
                        <a:pt x="59" y="24"/>
                      </a:lnTo>
                      <a:lnTo>
                        <a:pt x="56" y="21"/>
                      </a:lnTo>
                      <a:lnTo>
                        <a:pt x="55" y="16"/>
                      </a:lnTo>
                      <a:lnTo>
                        <a:pt x="56" y="13"/>
                      </a:lnTo>
                      <a:lnTo>
                        <a:pt x="52" y="11"/>
                      </a:lnTo>
                      <a:lnTo>
                        <a:pt x="47" y="13"/>
                      </a:lnTo>
                      <a:lnTo>
                        <a:pt x="46" y="14"/>
                      </a:lnTo>
                      <a:lnTo>
                        <a:pt x="43"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0" name="Freeform 934"/>
                <p:cNvSpPr>
                  <a:spLocks/>
                </p:cNvSpPr>
                <p:nvPr/>
              </p:nvSpPr>
              <p:spPr bwMode="auto">
                <a:xfrm>
                  <a:off x="2133495" y="1845082"/>
                  <a:ext cx="153907" cy="110990"/>
                </a:xfrm>
                <a:custGeom>
                  <a:avLst/>
                  <a:gdLst>
                    <a:gd name="T0" fmla="*/ 2147483647 w 113"/>
                    <a:gd name="T1" fmla="*/ 2147483647 h 75"/>
                    <a:gd name="T2" fmla="*/ 2147483647 w 113"/>
                    <a:gd name="T3" fmla="*/ 2147483647 h 75"/>
                    <a:gd name="T4" fmla="*/ 2147483647 w 113"/>
                    <a:gd name="T5" fmla="*/ 2147483647 h 75"/>
                    <a:gd name="T6" fmla="*/ 2147483647 w 113"/>
                    <a:gd name="T7" fmla="*/ 2147483647 h 75"/>
                    <a:gd name="T8" fmla="*/ 2147483647 w 113"/>
                    <a:gd name="T9" fmla="*/ 2147483647 h 75"/>
                    <a:gd name="T10" fmla="*/ 2147483647 w 113"/>
                    <a:gd name="T11" fmla="*/ 2147483647 h 75"/>
                    <a:gd name="T12" fmla="*/ 2147483647 w 113"/>
                    <a:gd name="T13" fmla="*/ 2147483647 h 75"/>
                    <a:gd name="T14" fmla="*/ 2147483647 w 113"/>
                    <a:gd name="T15" fmla="*/ 2147483647 h 75"/>
                    <a:gd name="T16" fmla="*/ 2147483647 w 113"/>
                    <a:gd name="T17" fmla="*/ 2147483647 h 75"/>
                    <a:gd name="T18" fmla="*/ 2147483647 w 113"/>
                    <a:gd name="T19" fmla="*/ 2147483647 h 75"/>
                    <a:gd name="T20" fmla="*/ 0 w 113"/>
                    <a:gd name="T21" fmla="*/ 2147483647 h 75"/>
                    <a:gd name="T22" fmla="*/ 2147483647 w 113"/>
                    <a:gd name="T23" fmla="*/ 2147483647 h 75"/>
                    <a:gd name="T24" fmla="*/ 2147483647 w 113"/>
                    <a:gd name="T25" fmla="*/ 2147483647 h 75"/>
                    <a:gd name="T26" fmla="*/ 2147483647 w 113"/>
                    <a:gd name="T27" fmla="*/ 2147483647 h 75"/>
                    <a:gd name="T28" fmla="*/ 2147483647 w 113"/>
                    <a:gd name="T29" fmla="*/ 2147483647 h 75"/>
                    <a:gd name="T30" fmla="*/ 2147483647 w 113"/>
                    <a:gd name="T31" fmla="*/ 2147483647 h 75"/>
                    <a:gd name="T32" fmla="*/ 2147483647 w 113"/>
                    <a:gd name="T33" fmla="*/ 2147483647 h 75"/>
                    <a:gd name="T34" fmla="*/ 2147483647 w 113"/>
                    <a:gd name="T35" fmla="*/ 2147483647 h 75"/>
                    <a:gd name="T36" fmla="*/ 2147483647 w 113"/>
                    <a:gd name="T37" fmla="*/ 2147483647 h 75"/>
                    <a:gd name="T38" fmla="*/ 2147483647 w 113"/>
                    <a:gd name="T39" fmla="*/ 2147483647 h 75"/>
                    <a:gd name="T40" fmla="*/ 2147483647 w 113"/>
                    <a:gd name="T41" fmla="*/ 2147483647 h 75"/>
                    <a:gd name="T42" fmla="*/ 2147483647 w 113"/>
                    <a:gd name="T43" fmla="*/ 2147483647 h 75"/>
                    <a:gd name="T44" fmla="*/ 2147483647 w 113"/>
                    <a:gd name="T45" fmla="*/ 2147483647 h 75"/>
                    <a:gd name="T46" fmla="*/ 2147483647 w 113"/>
                    <a:gd name="T47" fmla="*/ 2147483647 h 75"/>
                    <a:gd name="T48" fmla="*/ 2147483647 w 113"/>
                    <a:gd name="T49" fmla="*/ 2147483647 h 75"/>
                    <a:gd name="T50" fmla="*/ 2147483647 w 113"/>
                    <a:gd name="T51" fmla="*/ 2147483647 h 75"/>
                    <a:gd name="T52" fmla="*/ 2147483647 w 113"/>
                    <a:gd name="T53" fmla="*/ 2147483647 h 75"/>
                    <a:gd name="T54" fmla="*/ 2147483647 w 113"/>
                    <a:gd name="T55" fmla="*/ 2147483647 h 75"/>
                    <a:gd name="T56" fmla="*/ 2147483647 w 113"/>
                    <a:gd name="T57" fmla="*/ 2147483647 h 75"/>
                    <a:gd name="T58" fmla="*/ 2147483647 w 113"/>
                    <a:gd name="T59" fmla="*/ 2147483647 h 75"/>
                    <a:gd name="T60" fmla="*/ 2147483647 w 113"/>
                    <a:gd name="T61" fmla="*/ 2147483647 h 75"/>
                    <a:gd name="T62" fmla="*/ 2147483647 w 113"/>
                    <a:gd name="T63" fmla="*/ 2147483647 h 75"/>
                    <a:gd name="T64" fmla="*/ 2147483647 w 113"/>
                    <a:gd name="T65" fmla="*/ 2147483647 h 75"/>
                    <a:gd name="T66" fmla="*/ 2147483647 w 113"/>
                    <a:gd name="T67" fmla="*/ 2147483647 h 75"/>
                    <a:gd name="T68" fmla="*/ 2147483647 w 113"/>
                    <a:gd name="T69" fmla="*/ 2147483647 h 75"/>
                    <a:gd name="T70" fmla="*/ 2147483647 w 113"/>
                    <a:gd name="T71" fmla="*/ 2147483647 h 75"/>
                    <a:gd name="T72" fmla="*/ 2147483647 w 113"/>
                    <a:gd name="T73" fmla="*/ 2147483647 h 75"/>
                    <a:gd name="T74" fmla="*/ 2147483647 w 113"/>
                    <a:gd name="T75" fmla="*/ 2147483647 h 75"/>
                    <a:gd name="T76" fmla="*/ 2147483647 w 113"/>
                    <a:gd name="T77" fmla="*/ 2147483647 h 75"/>
                    <a:gd name="T78" fmla="*/ 2147483647 w 113"/>
                    <a:gd name="T79" fmla="*/ 2147483647 h 75"/>
                    <a:gd name="T80" fmla="*/ 2147483647 w 113"/>
                    <a:gd name="T81" fmla="*/ 2147483647 h 75"/>
                    <a:gd name="T82" fmla="*/ 2147483647 w 113"/>
                    <a:gd name="T83" fmla="*/ 2147483647 h 75"/>
                    <a:gd name="T84" fmla="*/ 2147483647 w 113"/>
                    <a:gd name="T85" fmla="*/ 2147483647 h 75"/>
                    <a:gd name="T86" fmla="*/ 2147483647 w 113"/>
                    <a:gd name="T87" fmla="*/ 2147483647 h 75"/>
                    <a:gd name="T88" fmla="*/ 2147483647 w 113"/>
                    <a:gd name="T89" fmla="*/ 2147483647 h 75"/>
                    <a:gd name="T90" fmla="*/ 2147483647 w 113"/>
                    <a:gd name="T91" fmla="*/ 2147483647 h 75"/>
                    <a:gd name="T92" fmla="*/ 2147483647 w 113"/>
                    <a:gd name="T93" fmla="*/ 2147483647 h 75"/>
                    <a:gd name="T94" fmla="*/ 2147483647 w 113"/>
                    <a:gd name="T95" fmla="*/ 2147483647 h 75"/>
                    <a:gd name="T96" fmla="*/ 2147483647 w 113"/>
                    <a:gd name="T97" fmla="*/ 2147483647 h 75"/>
                    <a:gd name="T98" fmla="*/ 2147483647 w 113"/>
                    <a:gd name="T99" fmla="*/ 2147483647 h 75"/>
                    <a:gd name="T100" fmla="*/ 2147483647 w 113"/>
                    <a:gd name="T101" fmla="*/ 2147483647 h 75"/>
                    <a:gd name="T102" fmla="*/ 2147483647 w 113"/>
                    <a:gd name="T103" fmla="*/ 2147483647 h 75"/>
                    <a:gd name="T104" fmla="*/ 2147483647 w 113"/>
                    <a:gd name="T105" fmla="*/ 2147483647 h 75"/>
                    <a:gd name="T106" fmla="*/ 2147483647 w 113"/>
                    <a:gd name="T107" fmla="*/ 2147483647 h 75"/>
                    <a:gd name="T108" fmla="*/ 2147483647 w 113"/>
                    <a:gd name="T109" fmla="*/ 2147483647 h 75"/>
                    <a:gd name="T110" fmla="*/ 2147483647 w 113"/>
                    <a:gd name="T111" fmla="*/ 2147483647 h 75"/>
                    <a:gd name="T112" fmla="*/ 2147483647 w 113"/>
                    <a:gd name="T113" fmla="*/ 2147483647 h 75"/>
                    <a:gd name="T114" fmla="*/ 2147483647 w 113"/>
                    <a:gd name="T115" fmla="*/ 2147483647 h 75"/>
                    <a:gd name="T116" fmla="*/ 2147483647 w 113"/>
                    <a:gd name="T117" fmla="*/ 2147483647 h 75"/>
                    <a:gd name="T118" fmla="*/ 2147483647 w 113"/>
                    <a:gd name="T119" fmla="*/ 2147483647 h 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3"/>
                    <a:gd name="T181" fmla="*/ 0 h 75"/>
                    <a:gd name="T182" fmla="*/ 113 w 113"/>
                    <a:gd name="T183" fmla="*/ 75 h 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3" h="75">
                      <a:moveTo>
                        <a:pt x="47" y="18"/>
                      </a:moveTo>
                      <a:lnTo>
                        <a:pt x="47" y="18"/>
                      </a:lnTo>
                      <a:lnTo>
                        <a:pt x="44" y="18"/>
                      </a:lnTo>
                      <a:lnTo>
                        <a:pt x="42" y="18"/>
                      </a:lnTo>
                      <a:lnTo>
                        <a:pt x="36" y="16"/>
                      </a:lnTo>
                      <a:lnTo>
                        <a:pt x="31" y="13"/>
                      </a:lnTo>
                      <a:lnTo>
                        <a:pt x="26" y="11"/>
                      </a:lnTo>
                      <a:lnTo>
                        <a:pt x="20" y="7"/>
                      </a:lnTo>
                      <a:lnTo>
                        <a:pt x="15" y="3"/>
                      </a:lnTo>
                      <a:lnTo>
                        <a:pt x="12" y="2"/>
                      </a:lnTo>
                      <a:lnTo>
                        <a:pt x="10" y="0"/>
                      </a:lnTo>
                      <a:lnTo>
                        <a:pt x="9" y="2"/>
                      </a:lnTo>
                      <a:lnTo>
                        <a:pt x="7" y="5"/>
                      </a:lnTo>
                      <a:lnTo>
                        <a:pt x="7" y="6"/>
                      </a:lnTo>
                      <a:lnTo>
                        <a:pt x="3" y="9"/>
                      </a:lnTo>
                      <a:lnTo>
                        <a:pt x="2" y="10"/>
                      </a:lnTo>
                      <a:lnTo>
                        <a:pt x="1" y="12"/>
                      </a:lnTo>
                      <a:lnTo>
                        <a:pt x="0" y="15"/>
                      </a:lnTo>
                      <a:lnTo>
                        <a:pt x="1" y="19"/>
                      </a:lnTo>
                      <a:lnTo>
                        <a:pt x="2" y="25"/>
                      </a:lnTo>
                      <a:lnTo>
                        <a:pt x="3" y="26"/>
                      </a:lnTo>
                      <a:lnTo>
                        <a:pt x="6" y="28"/>
                      </a:lnTo>
                      <a:lnTo>
                        <a:pt x="10" y="29"/>
                      </a:lnTo>
                      <a:lnTo>
                        <a:pt x="21" y="28"/>
                      </a:lnTo>
                      <a:lnTo>
                        <a:pt x="20" y="32"/>
                      </a:lnTo>
                      <a:lnTo>
                        <a:pt x="21" y="34"/>
                      </a:lnTo>
                      <a:lnTo>
                        <a:pt x="23" y="36"/>
                      </a:lnTo>
                      <a:lnTo>
                        <a:pt x="23" y="37"/>
                      </a:lnTo>
                      <a:lnTo>
                        <a:pt x="21" y="38"/>
                      </a:lnTo>
                      <a:lnTo>
                        <a:pt x="17" y="37"/>
                      </a:lnTo>
                      <a:lnTo>
                        <a:pt x="12" y="37"/>
                      </a:lnTo>
                      <a:lnTo>
                        <a:pt x="11" y="37"/>
                      </a:lnTo>
                      <a:lnTo>
                        <a:pt x="10" y="38"/>
                      </a:lnTo>
                      <a:lnTo>
                        <a:pt x="10" y="41"/>
                      </a:lnTo>
                      <a:lnTo>
                        <a:pt x="10" y="43"/>
                      </a:lnTo>
                      <a:lnTo>
                        <a:pt x="14" y="47"/>
                      </a:lnTo>
                      <a:lnTo>
                        <a:pt x="17" y="50"/>
                      </a:lnTo>
                      <a:lnTo>
                        <a:pt x="21" y="53"/>
                      </a:lnTo>
                      <a:lnTo>
                        <a:pt x="23" y="53"/>
                      </a:lnTo>
                      <a:lnTo>
                        <a:pt x="25" y="53"/>
                      </a:lnTo>
                      <a:lnTo>
                        <a:pt x="30" y="49"/>
                      </a:lnTo>
                      <a:lnTo>
                        <a:pt x="35" y="48"/>
                      </a:lnTo>
                      <a:lnTo>
                        <a:pt x="40" y="47"/>
                      </a:lnTo>
                      <a:lnTo>
                        <a:pt x="43" y="48"/>
                      </a:lnTo>
                      <a:lnTo>
                        <a:pt x="45" y="50"/>
                      </a:lnTo>
                      <a:lnTo>
                        <a:pt x="47" y="49"/>
                      </a:lnTo>
                      <a:lnTo>
                        <a:pt x="48" y="48"/>
                      </a:lnTo>
                      <a:lnTo>
                        <a:pt x="49" y="49"/>
                      </a:lnTo>
                      <a:lnTo>
                        <a:pt x="52" y="51"/>
                      </a:lnTo>
                      <a:lnTo>
                        <a:pt x="56" y="53"/>
                      </a:lnTo>
                      <a:lnTo>
                        <a:pt x="62" y="50"/>
                      </a:lnTo>
                      <a:lnTo>
                        <a:pt x="64" y="50"/>
                      </a:lnTo>
                      <a:lnTo>
                        <a:pt x="67" y="51"/>
                      </a:lnTo>
                      <a:lnTo>
                        <a:pt x="70" y="53"/>
                      </a:lnTo>
                      <a:lnTo>
                        <a:pt x="71" y="56"/>
                      </a:lnTo>
                      <a:lnTo>
                        <a:pt x="73" y="67"/>
                      </a:lnTo>
                      <a:lnTo>
                        <a:pt x="76" y="68"/>
                      </a:lnTo>
                      <a:lnTo>
                        <a:pt x="81" y="67"/>
                      </a:lnTo>
                      <a:lnTo>
                        <a:pt x="85" y="66"/>
                      </a:lnTo>
                      <a:lnTo>
                        <a:pt x="89" y="64"/>
                      </a:lnTo>
                      <a:lnTo>
                        <a:pt x="92" y="66"/>
                      </a:lnTo>
                      <a:lnTo>
                        <a:pt x="99" y="73"/>
                      </a:lnTo>
                      <a:lnTo>
                        <a:pt x="104" y="75"/>
                      </a:lnTo>
                      <a:lnTo>
                        <a:pt x="106" y="75"/>
                      </a:lnTo>
                      <a:lnTo>
                        <a:pt x="109" y="74"/>
                      </a:lnTo>
                      <a:lnTo>
                        <a:pt x="111" y="72"/>
                      </a:lnTo>
                      <a:lnTo>
                        <a:pt x="113" y="70"/>
                      </a:lnTo>
                      <a:lnTo>
                        <a:pt x="111" y="69"/>
                      </a:lnTo>
                      <a:lnTo>
                        <a:pt x="106" y="68"/>
                      </a:lnTo>
                      <a:lnTo>
                        <a:pt x="104" y="66"/>
                      </a:lnTo>
                      <a:lnTo>
                        <a:pt x="103" y="62"/>
                      </a:lnTo>
                      <a:lnTo>
                        <a:pt x="101" y="58"/>
                      </a:lnTo>
                      <a:lnTo>
                        <a:pt x="103" y="50"/>
                      </a:lnTo>
                      <a:lnTo>
                        <a:pt x="103" y="47"/>
                      </a:lnTo>
                      <a:lnTo>
                        <a:pt x="103" y="43"/>
                      </a:lnTo>
                      <a:lnTo>
                        <a:pt x="100" y="40"/>
                      </a:lnTo>
                      <a:lnTo>
                        <a:pt x="96" y="37"/>
                      </a:lnTo>
                      <a:lnTo>
                        <a:pt x="92" y="35"/>
                      </a:lnTo>
                      <a:lnTo>
                        <a:pt x="89" y="31"/>
                      </a:lnTo>
                      <a:lnTo>
                        <a:pt x="87" y="30"/>
                      </a:lnTo>
                      <a:lnTo>
                        <a:pt x="85" y="30"/>
                      </a:lnTo>
                      <a:lnTo>
                        <a:pt x="81" y="32"/>
                      </a:lnTo>
                      <a:lnTo>
                        <a:pt x="77" y="32"/>
                      </a:lnTo>
                      <a:lnTo>
                        <a:pt x="75" y="31"/>
                      </a:lnTo>
                      <a:lnTo>
                        <a:pt x="71" y="28"/>
                      </a:lnTo>
                      <a:lnTo>
                        <a:pt x="70" y="28"/>
                      </a:lnTo>
                      <a:lnTo>
                        <a:pt x="68" y="29"/>
                      </a:lnTo>
                      <a:lnTo>
                        <a:pt x="67" y="30"/>
                      </a:lnTo>
                      <a:lnTo>
                        <a:pt x="64" y="30"/>
                      </a:lnTo>
                      <a:lnTo>
                        <a:pt x="62" y="28"/>
                      </a:lnTo>
                      <a:lnTo>
                        <a:pt x="61" y="25"/>
                      </a:lnTo>
                      <a:lnTo>
                        <a:pt x="58" y="19"/>
                      </a:lnTo>
                      <a:lnTo>
                        <a:pt x="57" y="18"/>
                      </a:lnTo>
                      <a:lnTo>
                        <a:pt x="54" y="17"/>
                      </a:lnTo>
                      <a:lnTo>
                        <a:pt x="50" y="17"/>
                      </a:lnTo>
                      <a:lnTo>
                        <a:pt x="44" y="18"/>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1" name="Freeform 935"/>
                <p:cNvSpPr>
                  <a:spLocks/>
                </p:cNvSpPr>
                <p:nvPr/>
              </p:nvSpPr>
              <p:spPr bwMode="auto">
                <a:xfrm>
                  <a:off x="2103898" y="1926474"/>
                  <a:ext cx="29597" cy="48836"/>
                </a:xfrm>
                <a:custGeom>
                  <a:avLst/>
                  <a:gdLst>
                    <a:gd name="T0" fmla="*/ 2147483647 w 21"/>
                    <a:gd name="T1" fmla="*/ 2147483647 h 33"/>
                    <a:gd name="T2" fmla="*/ 2147483647 w 21"/>
                    <a:gd name="T3" fmla="*/ 2147483647 h 33"/>
                    <a:gd name="T4" fmla="*/ 2147483647 w 21"/>
                    <a:gd name="T5" fmla="*/ 2147483647 h 33"/>
                    <a:gd name="T6" fmla="*/ 2147483647 w 21"/>
                    <a:gd name="T7" fmla="*/ 2147483647 h 33"/>
                    <a:gd name="T8" fmla="*/ 2147483647 w 21"/>
                    <a:gd name="T9" fmla="*/ 2147483647 h 33"/>
                    <a:gd name="T10" fmla="*/ 2147483647 w 21"/>
                    <a:gd name="T11" fmla="*/ 2147483647 h 33"/>
                    <a:gd name="T12" fmla="*/ 2147483647 w 21"/>
                    <a:gd name="T13" fmla="*/ 2147483647 h 33"/>
                    <a:gd name="T14" fmla="*/ 2147483647 w 21"/>
                    <a:gd name="T15" fmla="*/ 2147483647 h 33"/>
                    <a:gd name="T16" fmla="*/ 2147483647 w 21"/>
                    <a:gd name="T17" fmla="*/ 2147483647 h 33"/>
                    <a:gd name="T18" fmla="*/ 2147483647 w 21"/>
                    <a:gd name="T19" fmla="*/ 2147483647 h 33"/>
                    <a:gd name="T20" fmla="*/ 0 w 21"/>
                    <a:gd name="T21" fmla="*/ 2147483647 h 33"/>
                    <a:gd name="T22" fmla="*/ 0 w 21"/>
                    <a:gd name="T23" fmla="*/ 2147483647 h 33"/>
                    <a:gd name="T24" fmla="*/ 2147483647 w 21"/>
                    <a:gd name="T25" fmla="*/ 2147483647 h 33"/>
                    <a:gd name="T26" fmla="*/ 2147483647 w 21"/>
                    <a:gd name="T27" fmla="*/ 2147483647 h 33"/>
                    <a:gd name="T28" fmla="*/ 2147483647 w 21"/>
                    <a:gd name="T29" fmla="*/ 0 h 33"/>
                    <a:gd name="T30" fmla="*/ 2147483647 w 21"/>
                    <a:gd name="T31" fmla="*/ 0 h 33"/>
                    <a:gd name="T32" fmla="*/ 2147483647 w 21"/>
                    <a:gd name="T33" fmla="*/ 0 h 33"/>
                    <a:gd name="T34" fmla="*/ 2147483647 w 21"/>
                    <a:gd name="T35" fmla="*/ 2147483647 h 33"/>
                    <a:gd name="T36" fmla="*/ 2147483647 w 21"/>
                    <a:gd name="T37" fmla="*/ 2147483647 h 33"/>
                    <a:gd name="T38" fmla="*/ 2147483647 w 21"/>
                    <a:gd name="T39" fmla="*/ 2147483647 h 33"/>
                    <a:gd name="T40" fmla="*/ 2147483647 w 21"/>
                    <a:gd name="T41" fmla="*/ 2147483647 h 33"/>
                    <a:gd name="T42" fmla="*/ 2147483647 w 21"/>
                    <a:gd name="T43" fmla="*/ 2147483647 h 3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
                    <a:gd name="T67" fmla="*/ 0 h 33"/>
                    <a:gd name="T68" fmla="*/ 21 w 21"/>
                    <a:gd name="T69" fmla="*/ 33 h 3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 h="33">
                      <a:moveTo>
                        <a:pt x="16" y="14"/>
                      </a:moveTo>
                      <a:lnTo>
                        <a:pt x="19" y="17"/>
                      </a:lnTo>
                      <a:lnTo>
                        <a:pt x="21" y="19"/>
                      </a:lnTo>
                      <a:lnTo>
                        <a:pt x="21" y="24"/>
                      </a:lnTo>
                      <a:lnTo>
                        <a:pt x="19" y="30"/>
                      </a:lnTo>
                      <a:lnTo>
                        <a:pt x="16" y="32"/>
                      </a:lnTo>
                      <a:lnTo>
                        <a:pt x="14" y="33"/>
                      </a:lnTo>
                      <a:lnTo>
                        <a:pt x="12" y="32"/>
                      </a:lnTo>
                      <a:lnTo>
                        <a:pt x="5" y="27"/>
                      </a:lnTo>
                      <a:lnTo>
                        <a:pt x="2" y="19"/>
                      </a:lnTo>
                      <a:lnTo>
                        <a:pt x="0" y="15"/>
                      </a:lnTo>
                      <a:lnTo>
                        <a:pt x="0" y="11"/>
                      </a:lnTo>
                      <a:lnTo>
                        <a:pt x="2" y="6"/>
                      </a:lnTo>
                      <a:lnTo>
                        <a:pt x="3" y="2"/>
                      </a:lnTo>
                      <a:lnTo>
                        <a:pt x="5" y="0"/>
                      </a:lnTo>
                      <a:lnTo>
                        <a:pt x="7" y="0"/>
                      </a:lnTo>
                      <a:lnTo>
                        <a:pt x="8" y="0"/>
                      </a:lnTo>
                      <a:lnTo>
                        <a:pt x="11" y="1"/>
                      </a:lnTo>
                      <a:lnTo>
                        <a:pt x="12" y="3"/>
                      </a:lnTo>
                      <a:lnTo>
                        <a:pt x="13" y="11"/>
                      </a:lnTo>
                      <a:lnTo>
                        <a:pt x="14" y="12"/>
                      </a:lnTo>
                      <a:lnTo>
                        <a:pt x="16"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2" name="Freeform 936"/>
                <p:cNvSpPr>
                  <a:spLocks/>
                </p:cNvSpPr>
                <p:nvPr/>
              </p:nvSpPr>
              <p:spPr bwMode="auto">
                <a:xfrm>
                  <a:off x="1911518" y="1904277"/>
                  <a:ext cx="31077" cy="35517"/>
                </a:xfrm>
                <a:custGeom>
                  <a:avLst/>
                  <a:gdLst>
                    <a:gd name="T0" fmla="*/ 2147483647 w 22"/>
                    <a:gd name="T1" fmla="*/ 2147483647 h 24"/>
                    <a:gd name="T2" fmla="*/ 2147483647 w 22"/>
                    <a:gd name="T3" fmla="*/ 2147483647 h 24"/>
                    <a:gd name="T4" fmla="*/ 2147483647 w 22"/>
                    <a:gd name="T5" fmla="*/ 2147483647 h 24"/>
                    <a:gd name="T6" fmla="*/ 2147483647 w 22"/>
                    <a:gd name="T7" fmla="*/ 2147483647 h 24"/>
                    <a:gd name="T8" fmla="*/ 2147483647 w 22"/>
                    <a:gd name="T9" fmla="*/ 2147483647 h 24"/>
                    <a:gd name="T10" fmla="*/ 2147483647 w 22"/>
                    <a:gd name="T11" fmla="*/ 2147483647 h 24"/>
                    <a:gd name="T12" fmla="*/ 2147483647 w 22"/>
                    <a:gd name="T13" fmla="*/ 2147483647 h 24"/>
                    <a:gd name="T14" fmla="*/ 2147483647 w 22"/>
                    <a:gd name="T15" fmla="*/ 2147483647 h 24"/>
                    <a:gd name="T16" fmla="*/ 2147483647 w 22"/>
                    <a:gd name="T17" fmla="*/ 2147483647 h 24"/>
                    <a:gd name="T18" fmla="*/ 2147483647 w 22"/>
                    <a:gd name="T19" fmla="*/ 2147483647 h 24"/>
                    <a:gd name="T20" fmla="*/ 0 w 22"/>
                    <a:gd name="T21" fmla="*/ 2147483647 h 24"/>
                    <a:gd name="T22" fmla="*/ 2147483647 w 22"/>
                    <a:gd name="T23" fmla="*/ 2147483647 h 24"/>
                    <a:gd name="T24" fmla="*/ 2147483647 w 22"/>
                    <a:gd name="T25" fmla="*/ 2147483647 h 24"/>
                    <a:gd name="T26" fmla="*/ 2147483647 w 22"/>
                    <a:gd name="T27" fmla="*/ 2147483647 h 24"/>
                    <a:gd name="T28" fmla="*/ 2147483647 w 22"/>
                    <a:gd name="T29" fmla="*/ 0 h 24"/>
                    <a:gd name="T30" fmla="*/ 2147483647 w 22"/>
                    <a:gd name="T31" fmla="*/ 2147483647 h 24"/>
                    <a:gd name="T32" fmla="*/ 2147483647 w 22"/>
                    <a:gd name="T33" fmla="*/ 2147483647 h 24"/>
                    <a:gd name="T34" fmla="*/ 2147483647 w 22"/>
                    <a:gd name="T35" fmla="*/ 2147483647 h 24"/>
                    <a:gd name="T36" fmla="*/ 2147483647 w 22"/>
                    <a:gd name="T37" fmla="*/ 2147483647 h 24"/>
                    <a:gd name="T38" fmla="*/ 2147483647 w 22"/>
                    <a:gd name="T39" fmla="*/ 2147483647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24"/>
                    <a:gd name="T62" fmla="*/ 22 w 22"/>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24">
                      <a:moveTo>
                        <a:pt x="19" y="9"/>
                      </a:moveTo>
                      <a:lnTo>
                        <a:pt x="22" y="11"/>
                      </a:lnTo>
                      <a:lnTo>
                        <a:pt x="22" y="15"/>
                      </a:lnTo>
                      <a:lnTo>
                        <a:pt x="21" y="18"/>
                      </a:lnTo>
                      <a:lnTo>
                        <a:pt x="18" y="21"/>
                      </a:lnTo>
                      <a:lnTo>
                        <a:pt x="14" y="23"/>
                      </a:lnTo>
                      <a:lnTo>
                        <a:pt x="9" y="24"/>
                      </a:lnTo>
                      <a:lnTo>
                        <a:pt x="5" y="23"/>
                      </a:lnTo>
                      <a:lnTo>
                        <a:pt x="4" y="22"/>
                      </a:lnTo>
                      <a:lnTo>
                        <a:pt x="3" y="21"/>
                      </a:lnTo>
                      <a:lnTo>
                        <a:pt x="0" y="14"/>
                      </a:lnTo>
                      <a:lnTo>
                        <a:pt x="2" y="7"/>
                      </a:lnTo>
                      <a:lnTo>
                        <a:pt x="3" y="3"/>
                      </a:lnTo>
                      <a:lnTo>
                        <a:pt x="5" y="1"/>
                      </a:lnTo>
                      <a:lnTo>
                        <a:pt x="8" y="0"/>
                      </a:lnTo>
                      <a:lnTo>
                        <a:pt x="13" y="1"/>
                      </a:lnTo>
                      <a:lnTo>
                        <a:pt x="16" y="2"/>
                      </a:lnTo>
                      <a:lnTo>
                        <a:pt x="17" y="4"/>
                      </a:lnTo>
                      <a:lnTo>
                        <a:pt x="18" y="7"/>
                      </a:lnTo>
                      <a:lnTo>
                        <a:pt x="1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3" name="Freeform 937"/>
                <p:cNvSpPr>
                  <a:spLocks/>
                </p:cNvSpPr>
                <p:nvPr/>
              </p:nvSpPr>
              <p:spPr bwMode="auto">
                <a:xfrm>
                  <a:off x="2102421" y="1924997"/>
                  <a:ext cx="28118" cy="48835"/>
                </a:xfrm>
                <a:custGeom>
                  <a:avLst/>
                  <a:gdLst>
                    <a:gd name="T0" fmla="*/ 2147483647 w 20"/>
                    <a:gd name="T1" fmla="*/ 2147483647 h 33"/>
                    <a:gd name="T2" fmla="*/ 2147483647 w 20"/>
                    <a:gd name="T3" fmla="*/ 2147483647 h 33"/>
                    <a:gd name="T4" fmla="*/ 2147483647 w 20"/>
                    <a:gd name="T5" fmla="*/ 2147483647 h 33"/>
                    <a:gd name="T6" fmla="*/ 2147483647 w 20"/>
                    <a:gd name="T7" fmla="*/ 2147483647 h 33"/>
                    <a:gd name="T8" fmla="*/ 2147483647 w 20"/>
                    <a:gd name="T9" fmla="*/ 2147483647 h 33"/>
                    <a:gd name="T10" fmla="*/ 2147483647 w 20"/>
                    <a:gd name="T11" fmla="*/ 2147483647 h 33"/>
                    <a:gd name="T12" fmla="*/ 2147483647 w 20"/>
                    <a:gd name="T13" fmla="*/ 2147483647 h 33"/>
                    <a:gd name="T14" fmla="*/ 2147483647 w 20"/>
                    <a:gd name="T15" fmla="*/ 2147483647 h 33"/>
                    <a:gd name="T16" fmla="*/ 2147483647 w 20"/>
                    <a:gd name="T17" fmla="*/ 2147483647 h 33"/>
                    <a:gd name="T18" fmla="*/ 2147483647 w 20"/>
                    <a:gd name="T19" fmla="*/ 2147483647 h 33"/>
                    <a:gd name="T20" fmla="*/ 2147483647 w 20"/>
                    <a:gd name="T21" fmla="*/ 2147483647 h 33"/>
                    <a:gd name="T22" fmla="*/ 2147483647 w 20"/>
                    <a:gd name="T23" fmla="*/ 2147483647 h 33"/>
                    <a:gd name="T24" fmla="*/ 2147483647 w 20"/>
                    <a:gd name="T25" fmla="*/ 2147483647 h 33"/>
                    <a:gd name="T26" fmla="*/ 0 w 20"/>
                    <a:gd name="T27" fmla="*/ 2147483647 h 33"/>
                    <a:gd name="T28" fmla="*/ 0 w 20"/>
                    <a:gd name="T29" fmla="*/ 2147483647 h 33"/>
                    <a:gd name="T30" fmla="*/ 2147483647 w 20"/>
                    <a:gd name="T31" fmla="*/ 2147483647 h 33"/>
                    <a:gd name="T32" fmla="*/ 2147483647 w 20"/>
                    <a:gd name="T33" fmla="*/ 2147483647 h 33"/>
                    <a:gd name="T34" fmla="*/ 2147483647 w 20"/>
                    <a:gd name="T35" fmla="*/ 2147483647 h 33"/>
                    <a:gd name="T36" fmla="*/ 2147483647 w 20"/>
                    <a:gd name="T37" fmla="*/ 0 h 33"/>
                    <a:gd name="T38" fmla="*/ 2147483647 w 20"/>
                    <a:gd name="T39" fmla="*/ 0 h 33"/>
                    <a:gd name="T40" fmla="*/ 2147483647 w 20"/>
                    <a:gd name="T41" fmla="*/ 0 h 33"/>
                    <a:gd name="T42" fmla="*/ 2147483647 w 20"/>
                    <a:gd name="T43" fmla="*/ 0 h 33"/>
                    <a:gd name="T44" fmla="*/ 2147483647 w 20"/>
                    <a:gd name="T45" fmla="*/ 2147483647 h 33"/>
                    <a:gd name="T46" fmla="*/ 2147483647 w 20"/>
                    <a:gd name="T47" fmla="*/ 2147483647 h 33"/>
                    <a:gd name="T48" fmla="*/ 2147483647 w 20"/>
                    <a:gd name="T49" fmla="*/ 2147483647 h 33"/>
                    <a:gd name="T50" fmla="*/ 2147483647 w 20"/>
                    <a:gd name="T51" fmla="*/ 2147483647 h 33"/>
                    <a:gd name="T52" fmla="*/ 2147483647 w 20"/>
                    <a:gd name="T53" fmla="*/ 2147483647 h 33"/>
                    <a:gd name="T54" fmla="*/ 2147483647 w 20"/>
                    <a:gd name="T55" fmla="*/ 2147483647 h 33"/>
                    <a:gd name="T56" fmla="*/ 2147483647 w 20"/>
                    <a:gd name="T57" fmla="*/ 2147483647 h 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33"/>
                    <a:gd name="T89" fmla="*/ 20 w 20"/>
                    <a:gd name="T90" fmla="*/ 33 h 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33">
                      <a:moveTo>
                        <a:pt x="15" y="14"/>
                      </a:moveTo>
                      <a:lnTo>
                        <a:pt x="15" y="14"/>
                      </a:lnTo>
                      <a:lnTo>
                        <a:pt x="19" y="16"/>
                      </a:lnTo>
                      <a:lnTo>
                        <a:pt x="20" y="19"/>
                      </a:lnTo>
                      <a:lnTo>
                        <a:pt x="20" y="23"/>
                      </a:lnTo>
                      <a:lnTo>
                        <a:pt x="19" y="29"/>
                      </a:lnTo>
                      <a:lnTo>
                        <a:pt x="15" y="32"/>
                      </a:lnTo>
                      <a:lnTo>
                        <a:pt x="14" y="33"/>
                      </a:lnTo>
                      <a:lnTo>
                        <a:pt x="12" y="32"/>
                      </a:lnTo>
                      <a:lnTo>
                        <a:pt x="5" y="27"/>
                      </a:lnTo>
                      <a:lnTo>
                        <a:pt x="1" y="19"/>
                      </a:lnTo>
                      <a:lnTo>
                        <a:pt x="0" y="15"/>
                      </a:lnTo>
                      <a:lnTo>
                        <a:pt x="0" y="10"/>
                      </a:lnTo>
                      <a:lnTo>
                        <a:pt x="1" y="6"/>
                      </a:lnTo>
                      <a:lnTo>
                        <a:pt x="3" y="2"/>
                      </a:lnTo>
                      <a:lnTo>
                        <a:pt x="5" y="0"/>
                      </a:lnTo>
                      <a:lnTo>
                        <a:pt x="6" y="0"/>
                      </a:lnTo>
                      <a:lnTo>
                        <a:pt x="8" y="0"/>
                      </a:lnTo>
                      <a:lnTo>
                        <a:pt x="10" y="1"/>
                      </a:lnTo>
                      <a:lnTo>
                        <a:pt x="12" y="3"/>
                      </a:lnTo>
                      <a:lnTo>
                        <a:pt x="13" y="10"/>
                      </a:lnTo>
                      <a:lnTo>
                        <a:pt x="14" y="12"/>
                      </a:lnTo>
                      <a:lnTo>
                        <a:pt x="15"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4" name="Freeform 938"/>
                <p:cNvSpPr>
                  <a:spLocks/>
                </p:cNvSpPr>
                <p:nvPr/>
              </p:nvSpPr>
              <p:spPr bwMode="auto">
                <a:xfrm>
                  <a:off x="1910034" y="1901321"/>
                  <a:ext cx="31078" cy="36996"/>
                </a:xfrm>
                <a:custGeom>
                  <a:avLst/>
                  <a:gdLst>
                    <a:gd name="T0" fmla="*/ 2147483647 w 22"/>
                    <a:gd name="T1" fmla="*/ 2147483647 h 25"/>
                    <a:gd name="T2" fmla="*/ 2147483647 w 22"/>
                    <a:gd name="T3" fmla="*/ 2147483647 h 25"/>
                    <a:gd name="T4" fmla="*/ 2147483647 w 22"/>
                    <a:gd name="T5" fmla="*/ 2147483647 h 25"/>
                    <a:gd name="T6" fmla="*/ 2147483647 w 22"/>
                    <a:gd name="T7" fmla="*/ 2147483647 h 25"/>
                    <a:gd name="T8" fmla="*/ 2147483647 w 22"/>
                    <a:gd name="T9" fmla="*/ 2147483647 h 25"/>
                    <a:gd name="T10" fmla="*/ 2147483647 w 22"/>
                    <a:gd name="T11" fmla="*/ 2147483647 h 25"/>
                    <a:gd name="T12" fmla="*/ 2147483647 w 22"/>
                    <a:gd name="T13" fmla="*/ 2147483647 h 25"/>
                    <a:gd name="T14" fmla="*/ 2147483647 w 22"/>
                    <a:gd name="T15" fmla="*/ 2147483647 h 25"/>
                    <a:gd name="T16" fmla="*/ 2147483647 w 22"/>
                    <a:gd name="T17" fmla="*/ 2147483647 h 25"/>
                    <a:gd name="T18" fmla="*/ 2147483647 w 22"/>
                    <a:gd name="T19" fmla="*/ 2147483647 h 25"/>
                    <a:gd name="T20" fmla="*/ 2147483647 w 22"/>
                    <a:gd name="T21" fmla="*/ 2147483647 h 25"/>
                    <a:gd name="T22" fmla="*/ 2147483647 w 22"/>
                    <a:gd name="T23" fmla="*/ 2147483647 h 25"/>
                    <a:gd name="T24" fmla="*/ 2147483647 w 22"/>
                    <a:gd name="T25" fmla="*/ 2147483647 h 25"/>
                    <a:gd name="T26" fmla="*/ 0 w 22"/>
                    <a:gd name="T27" fmla="*/ 2147483647 h 25"/>
                    <a:gd name="T28" fmla="*/ 2147483647 w 22"/>
                    <a:gd name="T29" fmla="*/ 2147483647 h 25"/>
                    <a:gd name="T30" fmla="*/ 2147483647 w 22"/>
                    <a:gd name="T31" fmla="*/ 2147483647 h 25"/>
                    <a:gd name="T32" fmla="*/ 2147483647 w 22"/>
                    <a:gd name="T33" fmla="*/ 2147483647 h 25"/>
                    <a:gd name="T34" fmla="*/ 2147483647 w 22"/>
                    <a:gd name="T35" fmla="*/ 0 h 25"/>
                    <a:gd name="T36" fmla="*/ 2147483647 w 22"/>
                    <a:gd name="T37" fmla="*/ 2147483647 h 25"/>
                    <a:gd name="T38" fmla="*/ 2147483647 w 22"/>
                    <a:gd name="T39" fmla="*/ 2147483647 h 25"/>
                    <a:gd name="T40" fmla="*/ 2147483647 w 22"/>
                    <a:gd name="T41" fmla="*/ 2147483647 h 25"/>
                    <a:gd name="T42" fmla="*/ 2147483647 w 22"/>
                    <a:gd name="T43" fmla="*/ 2147483647 h 25"/>
                    <a:gd name="T44" fmla="*/ 2147483647 w 22"/>
                    <a:gd name="T45" fmla="*/ 2147483647 h 25"/>
                    <a:gd name="T46" fmla="*/ 2147483647 w 22"/>
                    <a:gd name="T47" fmla="*/ 2147483647 h 25"/>
                    <a:gd name="T48" fmla="*/ 2147483647 w 22"/>
                    <a:gd name="T49" fmla="*/ 2147483647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25"/>
                    <a:gd name="T77" fmla="*/ 22 w 22"/>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25">
                      <a:moveTo>
                        <a:pt x="19" y="10"/>
                      </a:moveTo>
                      <a:lnTo>
                        <a:pt x="19" y="10"/>
                      </a:lnTo>
                      <a:lnTo>
                        <a:pt x="22" y="12"/>
                      </a:lnTo>
                      <a:lnTo>
                        <a:pt x="22" y="16"/>
                      </a:lnTo>
                      <a:lnTo>
                        <a:pt x="20" y="19"/>
                      </a:lnTo>
                      <a:lnTo>
                        <a:pt x="18" y="22"/>
                      </a:lnTo>
                      <a:lnTo>
                        <a:pt x="14" y="24"/>
                      </a:lnTo>
                      <a:lnTo>
                        <a:pt x="9" y="25"/>
                      </a:lnTo>
                      <a:lnTo>
                        <a:pt x="5" y="24"/>
                      </a:lnTo>
                      <a:lnTo>
                        <a:pt x="4" y="23"/>
                      </a:lnTo>
                      <a:lnTo>
                        <a:pt x="3" y="22"/>
                      </a:lnTo>
                      <a:lnTo>
                        <a:pt x="0" y="15"/>
                      </a:lnTo>
                      <a:lnTo>
                        <a:pt x="1" y="7"/>
                      </a:lnTo>
                      <a:lnTo>
                        <a:pt x="3" y="4"/>
                      </a:lnTo>
                      <a:lnTo>
                        <a:pt x="5" y="2"/>
                      </a:lnTo>
                      <a:lnTo>
                        <a:pt x="8" y="0"/>
                      </a:lnTo>
                      <a:lnTo>
                        <a:pt x="13" y="2"/>
                      </a:lnTo>
                      <a:lnTo>
                        <a:pt x="15" y="3"/>
                      </a:lnTo>
                      <a:lnTo>
                        <a:pt x="17" y="5"/>
                      </a:lnTo>
                      <a:lnTo>
                        <a:pt x="18" y="7"/>
                      </a:lnTo>
                      <a:lnTo>
                        <a:pt x="19"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5" name="Freeform 939"/>
                <p:cNvSpPr>
                  <a:spLocks/>
                </p:cNvSpPr>
                <p:nvPr/>
              </p:nvSpPr>
              <p:spPr bwMode="auto">
                <a:xfrm>
                  <a:off x="1963309" y="1868761"/>
                  <a:ext cx="94712" cy="42916"/>
                </a:xfrm>
                <a:custGeom>
                  <a:avLst/>
                  <a:gdLst>
                    <a:gd name="T0" fmla="*/ 2147483647 w 69"/>
                    <a:gd name="T1" fmla="*/ 2147483647 h 29"/>
                    <a:gd name="T2" fmla="*/ 2147483647 w 69"/>
                    <a:gd name="T3" fmla="*/ 2147483647 h 29"/>
                    <a:gd name="T4" fmla="*/ 2147483647 w 69"/>
                    <a:gd name="T5" fmla="*/ 2147483647 h 29"/>
                    <a:gd name="T6" fmla="*/ 2147483647 w 69"/>
                    <a:gd name="T7" fmla="*/ 2147483647 h 29"/>
                    <a:gd name="T8" fmla="*/ 2147483647 w 69"/>
                    <a:gd name="T9" fmla="*/ 2147483647 h 29"/>
                    <a:gd name="T10" fmla="*/ 2147483647 w 69"/>
                    <a:gd name="T11" fmla="*/ 2147483647 h 29"/>
                    <a:gd name="T12" fmla="*/ 2147483647 w 69"/>
                    <a:gd name="T13" fmla="*/ 2147483647 h 29"/>
                    <a:gd name="T14" fmla="*/ 2147483647 w 69"/>
                    <a:gd name="T15" fmla="*/ 0 h 29"/>
                    <a:gd name="T16" fmla="*/ 2147483647 w 69"/>
                    <a:gd name="T17" fmla="*/ 0 h 29"/>
                    <a:gd name="T18" fmla="*/ 2147483647 w 69"/>
                    <a:gd name="T19" fmla="*/ 2147483647 h 29"/>
                    <a:gd name="T20" fmla="*/ 2147483647 w 69"/>
                    <a:gd name="T21" fmla="*/ 2147483647 h 29"/>
                    <a:gd name="T22" fmla="*/ 2147483647 w 69"/>
                    <a:gd name="T23" fmla="*/ 2147483647 h 29"/>
                    <a:gd name="T24" fmla="*/ 2147483647 w 69"/>
                    <a:gd name="T25" fmla="*/ 2147483647 h 29"/>
                    <a:gd name="T26" fmla="*/ 2147483647 w 69"/>
                    <a:gd name="T27" fmla="*/ 2147483647 h 29"/>
                    <a:gd name="T28" fmla="*/ 2147483647 w 69"/>
                    <a:gd name="T29" fmla="*/ 2147483647 h 29"/>
                    <a:gd name="T30" fmla="*/ 2147483647 w 69"/>
                    <a:gd name="T31" fmla="*/ 2147483647 h 29"/>
                    <a:gd name="T32" fmla="*/ 0 w 69"/>
                    <a:gd name="T33" fmla="*/ 2147483647 h 29"/>
                    <a:gd name="T34" fmla="*/ 0 w 69"/>
                    <a:gd name="T35" fmla="*/ 2147483647 h 29"/>
                    <a:gd name="T36" fmla="*/ 2147483647 w 69"/>
                    <a:gd name="T37" fmla="*/ 2147483647 h 29"/>
                    <a:gd name="T38" fmla="*/ 2147483647 w 69"/>
                    <a:gd name="T39" fmla="*/ 2147483647 h 29"/>
                    <a:gd name="T40" fmla="*/ 2147483647 w 69"/>
                    <a:gd name="T41" fmla="*/ 2147483647 h 29"/>
                    <a:gd name="T42" fmla="*/ 2147483647 w 69"/>
                    <a:gd name="T43" fmla="*/ 2147483647 h 29"/>
                    <a:gd name="T44" fmla="*/ 2147483647 w 69"/>
                    <a:gd name="T45" fmla="*/ 2147483647 h 29"/>
                    <a:gd name="T46" fmla="*/ 2147483647 w 69"/>
                    <a:gd name="T47" fmla="*/ 2147483647 h 29"/>
                    <a:gd name="T48" fmla="*/ 2147483647 w 69"/>
                    <a:gd name="T49" fmla="*/ 2147483647 h 29"/>
                    <a:gd name="T50" fmla="*/ 2147483647 w 69"/>
                    <a:gd name="T51" fmla="*/ 2147483647 h 29"/>
                    <a:gd name="T52" fmla="*/ 2147483647 w 69"/>
                    <a:gd name="T53" fmla="*/ 2147483647 h 29"/>
                    <a:gd name="T54" fmla="*/ 2147483647 w 69"/>
                    <a:gd name="T55" fmla="*/ 2147483647 h 29"/>
                    <a:gd name="T56" fmla="*/ 2147483647 w 69"/>
                    <a:gd name="T57" fmla="*/ 2147483647 h 29"/>
                    <a:gd name="T58" fmla="*/ 2147483647 w 69"/>
                    <a:gd name="T59" fmla="*/ 2147483647 h 29"/>
                    <a:gd name="T60" fmla="*/ 2147483647 w 69"/>
                    <a:gd name="T61" fmla="*/ 2147483647 h 29"/>
                    <a:gd name="T62" fmla="*/ 2147483647 w 69"/>
                    <a:gd name="T63" fmla="*/ 2147483647 h 29"/>
                    <a:gd name="T64" fmla="*/ 2147483647 w 69"/>
                    <a:gd name="T65" fmla="*/ 2147483647 h 29"/>
                    <a:gd name="T66" fmla="*/ 2147483647 w 69"/>
                    <a:gd name="T67" fmla="*/ 2147483647 h 29"/>
                    <a:gd name="T68" fmla="*/ 2147483647 w 69"/>
                    <a:gd name="T69" fmla="*/ 2147483647 h 29"/>
                    <a:gd name="T70" fmla="*/ 2147483647 w 69"/>
                    <a:gd name="T71" fmla="*/ 2147483647 h 29"/>
                    <a:gd name="T72" fmla="*/ 2147483647 w 69"/>
                    <a:gd name="T73" fmla="*/ 2147483647 h 29"/>
                    <a:gd name="T74" fmla="*/ 2147483647 w 69"/>
                    <a:gd name="T75" fmla="*/ 2147483647 h 29"/>
                    <a:gd name="T76" fmla="*/ 2147483647 w 69"/>
                    <a:gd name="T77" fmla="*/ 2147483647 h 29"/>
                    <a:gd name="T78" fmla="*/ 2147483647 w 69"/>
                    <a:gd name="T79" fmla="*/ 2147483647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29"/>
                    <a:gd name="T122" fmla="*/ 69 w 69"/>
                    <a:gd name="T123" fmla="*/ 29 h 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29">
                      <a:moveTo>
                        <a:pt x="68" y="22"/>
                      </a:moveTo>
                      <a:lnTo>
                        <a:pt x="69" y="18"/>
                      </a:lnTo>
                      <a:lnTo>
                        <a:pt x="69" y="15"/>
                      </a:lnTo>
                      <a:lnTo>
                        <a:pt x="68" y="14"/>
                      </a:lnTo>
                      <a:lnTo>
                        <a:pt x="59" y="9"/>
                      </a:lnTo>
                      <a:lnTo>
                        <a:pt x="54" y="6"/>
                      </a:lnTo>
                      <a:lnTo>
                        <a:pt x="50" y="2"/>
                      </a:lnTo>
                      <a:lnTo>
                        <a:pt x="46" y="0"/>
                      </a:lnTo>
                      <a:lnTo>
                        <a:pt x="44" y="0"/>
                      </a:lnTo>
                      <a:lnTo>
                        <a:pt x="42" y="1"/>
                      </a:lnTo>
                      <a:lnTo>
                        <a:pt x="39" y="5"/>
                      </a:lnTo>
                      <a:lnTo>
                        <a:pt x="36" y="6"/>
                      </a:lnTo>
                      <a:lnTo>
                        <a:pt x="28" y="7"/>
                      </a:lnTo>
                      <a:lnTo>
                        <a:pt x="22" y="8"/>
                      </a:lnTo>
                      <a:lnTo>
                        <a:pt x="16" y="12"/>
                      </a:lnTo>
                      <a:lnTo>
                        <a:pt x="3" y="18"/>
                      </a:lnTo>
                      <a:lnTo>
                        <a:pt x="0" y="20"/>
                      </a:lnTo>
                      <a:lnTo>
                        <a:pt x="0" y="22"/>
                      </a:lnTo>
                      <a:lnTo>
                        <a:pt x="2" y="24"/>
                      </a:lnTo>
                      <a:lnTo>
                        <a:pt x="4" y="24"/>
                      </a:lnTo>
                      <a:lnTo>
                        <a:pt x="11" y="20"/>
                      </a:lnTo>
                      <a:lnTo>
                        <a:pt x="14" y="19"/>
                      </a:lnTo>
                      <a:lnTo>
                        <a:pt x="18" y="21"/>
                      </a:lnTo>
                      <a:lnTo>
                        <a:pt x="21" y="25"/>
                      </a:lnTo>
                      <a:lnTo>
                        <a:pt x="22" y="26"/>
                      </a:lnTo>
                      <a:lnTo>
                        <a:pt x="23" y="27"/>
                      </a:lnTo>
                      <a:lnTo>
                        <a:pt x="27" y="27"/>
                      </a:lnTo>
                      <a:lnTo>
                        <a:pt x="30" y="26"/>
                      </a:lnTo>
                      <a:lnTo>
                        <a:pt x="35" y="21"/>
                      </a:lnTo>
                      <a:lnTo>
                        <a:pt x="36" y="21"/>
                      </a:lnTo>
                      <a:lnTo>
                        <a:pt x="37" y="21"/>
                      </a:lnTo>
                      <a:lnTo>
                        <a:pt x="40" y="24"/>
                      </a:lnTo>
                      <a:lnTo>
                        <a:pt x="44" y="26"/>
                      </a:lnTo>
                      <a:lnTo>
                        <a:pt x="47" y="26"/>
                      </a:lnTo>
                      <a:lnTo>
                        <a:pt x="51" y="26"/>
                      </a:lnTo>
                      <a:lnTo>
                        <a:pt x="55" y="26"/>
                      </a:lnTo>
                      <a:lnTo>
                        <a:pt x="59" y="27"/>
                      </a:lnTo>
                      <a:lnTo>
                        <a:pt x="65" y="29"/>
                      </a:lnTo>
                      <a:lnTo>
                        <a:pt x="67" y="26"/>
                      </a:lnTo>
                      <a:lnTo>
                        <a:pt x="68"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6" name="Freeform 940"/>
                <p:cNvSpPr>
                  <a:spLocks/>
                </p:cNvSpPr>
                <p:nvPr/>
              </p:nvSpPr>
              <p:spPr bwMode="auto">
                <a:xfrm>
                  <a:off x="1960353" y="1920556"/>
                  <a:ext cx="68074" cy="41436"/>
                </a:xfrm>
                <a:custGeom>
                  <a:avLst/>
                  <a:gdLst>
                    <a:gd name="T0" fmla="*/ 2147483647 w 49"/>
                    <a:gd name="T1" fmla="*/ 2147483647 h 28"/>
                    <a:gd name="T2" fmla="*/ 2147483647 w 49"/>
                    <a:gd name="T3" fmla="*/ 2147483647 h 28"/>
                    <a:gd name="T4" fmla="*/ 2147483647 w 49"/>
                    <a:gd name="T5" fmla="*/ 2147483647 h 28"/>
                    <a:gd name="T6" fmla="*/ 2147483647 w 49"/>
                    <a:gd name="T7" fmla="*/ 2147483647 h 28"/>
                    <a:gd name="T8" fmla="*/ 2147483647 w 49"/>
                    <a:gd name="T9" fmla="*/ 2147483647 h 28"/>
                    <a:gd name="T10" fmla="*/ 2147483647 w 49"/>
                    <a:gd name="T11" fmla="*/ 2147483647 h 28"/>
                    <a:gd name="T12" fmla="*/ 2147483647 w 49"/>
                    <a:gd name="T13" fmla="*/ 2147483647 h 28"/>
                    <a:gd name="T14" fmla="*/ 2147483647 w 49"/>
                    <a:gd name="T15" fmla="*/ 2147483647 h 28"/>
                    <a:gd name="T16" fmla="*/ 2147483647 w 49"/>
                    <a:gd name="T17" fmla="*/ 2147483647 h 28"/>
                    <a:gd name="T18" fmla="*/ 2147483647 w 49"/>
                    <a:gd name="T19" fmla="*/ 2147483647 h 28"/>
                    <a:gd name="T20" fmla="*/ 2147483647 w 49"/>
                    <a:gd name="T21" fmla="*/ 2147483647 h 28"/>
                    <a:gd name="T22" fmla="*/ 2147483647 w 49"/>
                    <a:gd name="T23" fmla="*/ 2147483647 h 28"/>
                    <a:gd name="T24" fmla="*/ 2147483647 w 49"/>
                    <a:gd name="T25" fmla="*/ 2147483647 h 28"/>
                    <a:gd name="T26" fmla="*/ 2147483647 w 49"/>
                    <a:gd name="T27" fmla="*/ 2147483647 h 28"/>
                    <a:gd name="T28" fmla="*/ 2147483647 w 49"/>
                    <a:gd name="T29" fmla="*/ 0 h 28"/>
                    <a:gd name="T30" fmla="*/ 2147483647 w 49"/>
                    <a:gd name="T31" fmla="*/ 0 h 28"/>
                    <a:gd name="T32" fmla="*/ 2147483647 w 49"/>
                    <a:gd name="T33" fmla="*/ 2147483647 h 28"/>
                    <a:gd name="T34" fmla="*/ 2147483647 w 49"/>
                    <a:gd name="T35" fmla="*/ 2147483647 h 28"/>
                    <a:gd name="T36" fmla="*/ 2147483647 w 49"/>
                    <a:gd name="T37" fmla="*/ 0 h 28"/>
                    <a:gd name="T38" fmla="*/ 2147483647 w 49"/>
                    <a:gd name="T39" fmla="*/ 0 h 28"/>
                    <a:gd name="T40" fmla="*/ 2147483647 w 49"/>
                    <a:gd name="T41" fmla="*/ 0 h 28"/>
                    <a:gd name="T42" fmla="*/ 2147483647 w 49"/>
                    <a:gd name="T43" fmla="*/ 2147483647 h 28"/>
                    <a:gd name="T44" fmla="*/ 2147483647 w 49"/>
                    <a:gd name="T45" fmla="*/ 2147483647 h 28"/>
                    <a:gd name="T46" fmla="*/ 0 w 49"/>
                    <a:gd name="T47" fmla="*/ 2147483647 h 28"/>
                    <a:gd name="T48" fmla="*/ 0 w 49"/>
                    <a:gd name="T49" fmla="*/ 2147483647 h 28"/>
                    <a:gd name="T50" fmla="*/ 2147483647 w 49"/>
                    <a:gd name="T51" fmla="*/ 2147483647 h 28"/>
                    <a:gd name="T52" fmla="*/ 2147483647 w 49"/>
                    <a:gd name="T53" fmla="*/ 2147483647 h 28"/>
                    <a:gd name="T54" fmla="*/ 2147483647 w 49"/>
                    <a:gd name="T55" fmla="*/ 2147483647 h 28"/>
                    <a:gd name="T56" fmla="*/ 2147483647 w 49"/>
                    <a:gd name="T57" fmla="*/ 2147483647 h 28"/>
                    <a:gd name="T58" fmla="*/ 2147483647 w 49"/>
                    <a:gd name="T59" fmla="*/ 2147483647 h 28"/>
                    <a:gd name="T60" fmla="*/ 2147483647 w 49"/>
                    <a:gd name="T61" fmla="*/ 2147483647 h 28"/>
                    <a:gd name="T62" fmla="*/ 2147483647 w 49"/>
                    <a:gd name="T63" fmla="*/ 2147483647 h 28"/>
                    <a:gd name="T64" fmla="*/ 2147483647 w 49"/>
                    <a:gd name="T65" fmla="*/ 2147483647 h 28"/>
                    <a:gd name="T66" fmla="*/ 2147483647 w 49"/>
                    <a:gd name="T67" fmla="*/ 2147483647 h 28"/>
                    <a:gd name="T68" fmla="*/ 2147483647 w 49"/>
                    <a:gd name="T69" fmla="*/ 2147483647 h 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28"/>
                    <a:gd name="T107" fmla="*/ 49 w 49"/>
                    <a:gd name="T108" fmla="*/ 28 h 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28">
                      <a:moveTo>
                        <a:pt x="44" y="24"/>
                      </a:moveTo>
                      <a:lnTo>
                        <a:pt x="47" y="22"/>
                      </a:lnTo>
                      <a:lnTo>
                        <a:pt x="47" y="21"/>
                      </a:lnTo>
                      <a:lnTo>
                        <a:pt x="47" y="17"/>
                      </a:lnTo>
                      <a:lnTo>
                        <a:pt x="44" y="12"/>
                      </a:lnTo>
                      <a:lnTo>
                        <a:pt x="42" y="10"/>
                      </a:lnTo>
                      <a:lnTo>
                        <a:pt x="42" y="9"/>
                      </a:lnTo>
                      <a:lnTo>
                        <a:pt x="42" y="7"/>
                      </a:lnTo>
                      <a:lnTo>
                        <a:pt x="44" y="7"/>
                      </a:lnTo>
                      <a:lnTo>
                        <a:pt x="47" y="7"/>
                      </a:lnTo>
                      <a:lnTo>
                        <a:pt x="48" y="7"/>
                      </a:lnTo>
                      <a:lnTo>
                        <a:pt x="49" y="6"/>
                      </a:lnTo>
                      <a:lnTo>
                        <a:pt x="48" y="3"/>
                      </a:lnTo>
                      <a:lnTo>
                        <a:pt x="46" y="2"/>
                      </a:lnTo>
                      <a:lnTo>
                        <a:pt x="42" y="0"/>
                      </a:lnTo>
                      <a:lnTo>
                        <a:pt x="38" y="0"/>
                      </a:lnTo>
                      <a:lnTo>
                        <a:pt x="33" y="2"/>
                      </a:lnTo>
                      <a:lnTo>
                        <a:pt x="28" y="3"/>
                      </a:lnTo>
                      <a:lnTo>
                        <a:pt x="19" y="0"/>
                      </a:lnTo>
                      <a:lnTo>
                        <a:pt x="10" y="0"/>
                      </a:lnTo>
                      <a:lnTo>
                        <a:pt x="6" y="0"/>
                      </a:lnTo>
                      <a:lnTo>
                        <a:pt x="4" y="2"/>
                      </a:lnTo>
                      <a:lnTo>
                        <a:pt x="1" y="4"/>
                      </a:lnTo>
                      <a:lnTo>
                        <a:pt x="0" y="7"/>
                      </a:lnTo>
                      <a:lnTo>
                        <a:pt x="0" y="18"/>
                      </a:lnTo>
                      <a:lnTo>
                        <a:pt x="2" y="23"/>
                      </a:lnTo>
                      <a:lnTo>
                        <a:pt x="4" y="26"/>
                      </a:lnTo>
                      <a:lnTo>
                        <a:pt x="6" y="28"/>
                      </a:lnTo>
                      <a:lnTo>
                        <a:pt x="9" y="28"/>
                      </a:lnTo>
                      <a:lnTo>
                        <a:pt x="14" y="26"/>
                      </a:lnTo>
                      <a:lnTo>
                        <a:pt x="20" y="25"/>
                      </a:lnTo>
                      <a:lnTo>
                        <a:pt x="28" y="25"/>
                      </a:lnTo>
                      <a:lnTo>
                        <a:pt x="42" y="28"/>
                      </a:lnTo>
                      <a:lnTo>
                        <a:pt x="43" y="26"/>
                      </a:lnTo>
                      <a:lnTo>
                        <a:pt x="44" y="2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7" name="Freeform 941"/>
                <p:cNvSpPr>
                  <a:spLocks/>
                </p:cNvSpPr>
                <p:nvPr/>
              </p:nvSpPr>
              <p:spPr bwMode="auto">
                <a:xfrm>
                  <a:off x="1961830" y="1867278"/>
                  <a:ext cx="94712" cy="42918"/>
                </a:xfrm>
                <a:custGeom>
                  <a:avLst/>
                  <a:gdLst>
                    <a:gd name="T0" fmla="*/ 2147483647 w 69"/>
                    <a:gd name="T1" fmla="*/ 2147483647 h 29"/>
                    <a:gd name="T2" fmla="*/ 2147483647 w 69"/>
                    <a:gd name="T3" fmla="*/ 2147483647 h 29"/>
                    <a:gd name="T4" fmla="*/ 2147483647 w 69"/>
                    <a:gd name="T5" fmla="*/ 2147483647 h 29"/>
                    <a:gd name="T6" fmla="*/ 2147483647 w 69"/>
                    <a:gd name="T7" fmla="*/ 2147483647 h 29"/>
                    <a:gd name="T8" fmla="*/ 2147483647 w 69"/>
                    <a:gd name="T9" fmla="*/ 2147483647 h 29"/>
                    <a:gd name="T10" fmla="*/ 2147483647 w 69"/>
                    <a:gd name="T11" fmla="*/ 2147483647 h 29"/>
                    <a:gd name="T12" fmla="*/ 2147483647 w 69"/>
                    <a:gd name="T13" fmla="*/ 2147483647 h 29"/>
                    <a:gd name="T14" fmla="*/ 2147483647 w 69"/>
                    <a:gd name="T15" fmla="*/ 2147483647 h 29"/>
                    <a:gd name="T16" fmla="*/ 2147483647 w 69"/>
                    <a:gd name="T17" fmla="*/ 2147483647 h 29"/>
                    <a:gd name="T18" fmla="*/ 2147483647 w 69"/>
                    <a:gd name="T19" fmla="*/ 2147483647 h 29"/>
                    <a:gd name="T20" fmla="*/ 2147483647 w 69"/>
                    <a:gd name="T21" fmla="*/ 0 h 29"/>
                    <a:gd name="T22" fmla="*/ 2147483647 w 69"/>
                    <a:gd name="T23" fmla="*/ 0 h 29"/>
                    <a:gd name="T24" fmla="*/ 2147483647 w 69"/>
                    <a:gd name="T25" fmla="*/ 2147483647 h 29"/>
                    <a:gd name="T26" fmla="*/ 2147483647 w 69"/>
                    <a:gd name="T27" fmla="*/ 2147483647 h 29"/>
                    <a:gd name="T28" fmla="*/ 2147483647 w 69"/>
                    <a:gd name="T29" fmla="*/ 2147483647 h 29"/>
                    <a:gd name="T30" fmla="*/ 2147483647 w 69"/>
                    <a:gd name="T31" fmla="*/ 2147483647 h 29"/>
                    <a:gd name="T32" fmla="*/ 2147483647 w 69"/>
                    <a:gd name="T33" fmla="*/ 2147483647 h 29"/>
                    <a:gd name="T34" fmla="*/ 2147483647 w 69"/>
                    <a:gd name="T35" fmla="*/ 2147483647 h 29"/>
                    <a:gd name="T36" fmla="*/ 2147483647 w 69"/>
                    <a:gd name="T37" fmla="*/ 2147483647 h 29"/>
                    <a:gd name="T38" fmla="*/ 2147483647 w 69"/>
                    <a:gd name="T39" fmla="*/ 2147483647 h 29"/>
                    <a:gd name="T40" fmla="*/ 2147483647 w 69"/>
                    <a:gd name="T41" fmla="*/ 2147483647 h 29"/>
                    <a:gd name="T42" fmla="*/ 2147483647 w 69"/>
                    <a:gd name="T43" fmla="*/ 2147483647 h 29"/>
                    <a:gd name="T44" fmla="*/ 0 w 69"/>
                    <a:gd name="T45" fmla="*/ 2147483647 h 29"/>
                    <a:gd name="T46" fmla="*/ 0 w 69"/>
                    <a:gd name="T47" fmla="*/ 2147483647 h 29"/>
                    <a:gd name="T48" fmla="*/ 2147483647 w 69"/>
                    <a:gd name="T49" fmla="*/ 2147483647 h 29"/>
                    <a:gd name="T50" fmla="*/ 2147483647 w 69"/>
                    <a:gd name="T51" fmla="*/ 2147483647 h 29"/>
                    <a:gd name="T52" fmla="*/ 2147483647 w 69"/>
                    <a:gd name="T53" fmla="*/ 2147483647 h 29"/>
                    <a:gd name="T54" fmla="*/ 2147483647 w 69"/>
                    <a:gd name="T55" fmla="*/ 2147483647 h 29"/>
                    <a:gd name="T56" fmla="*/ 2147483647 w 69"/>
                    <a:gd name="T57" fmla="*/ 2147483647 h 29"/>
                    <a:gd name="T58" fmla="*/ 2147483647 w 69"/>
                    <a:gd name="T59" fmla="*/ 2147483647 h 29"/>
                    <a:gd name="T60" fmla="*/ 2147483647 w 69"/>
                    <a:gd name="T61" fmla="*/ 2147483647 h 29"/>
                    <a:gd name="T62" fmla="*/ 2147483647 w 69"/>
                    <a:gd name="T63" fmla="*/ 2147483647 h 29"/>
                    <a:gd name="T64" fmla="*/ 2147483647 w 69"/>
                    <a:gd name="T65" fmla="*/ 2147483647 h 29"/>
                    <a:gd name="T66" fmla="*/ 2147483647 w 69"/>
                    <a:gd name="T67" fmla="*/ 2147483647 h 29"/>
                    <a:gd name="T68" fmla="*/ 2147483647 w 69"/>
                    <a:gd name="T69" fmla="*/ 2147483647 h 29"/>
                    <a:gd name="T70" fmla="*/ 2147483647 w 69"/>
                    <a:gd name="T71" fmla="*/ 2147483647 h 29"/>
                    <a:gd name="T72" fmla="*/ 2147483647 w 69"/>
                    <a:gd name="T73" fmla="*/ 2147483647 h 29"/>
                    <a:gd name="T74" fmla="*/ 2147483647 w 69"/>
                    <a:gd name="T75" fmla="*/ 2147483647 h 29"/>
                    <a:gd name="T76" fmla="*/ 2147483647 w 69"/>
                    <a:gd name="T77" fmla="*/ 2147483647 h 29"/>
                    <a:gd name="T78" fmla="*/ 2147483647 w 69"/>
                    <a:gd name="T79" fmla="*/ 2147483647 h 29"/>
                    <a:gd name="T80" fmla="*/ 2147483647 w 69"/>
                    <a:gd name="T81" fmla="*/ 2147483647 h 29"/>
                    <a:gd name="T82" fmla="*/ 2147483647 w 69"/>
                    <a:gd name="T83" fmla="*/ 2147483647 h 29"/>
                    <a:gd name="T84" fmla="*/ 2147483647 w 69"/>
                    <a:gd name="T85" fmla="*/ 2147483647 h 29"/>
                    <a:gd name="T86" fmla="*/ 2147483647 w 69"/>
                    <a:gd name="T87" fmla="*/ 2147483647 h 29"/>
                    <a:gd name="T88" fmla="*/ 2147483647 w 69"/>
                    <a:gd name="T89" fmla="*/ 2147483647 h 29"/>
                    <a:gd name="T90" fmla="*/ 2147483647 w 69"/>
                    <a:gd name="T91" fmla="*/ 2147483647 h 29"/>
                    <a:gd name="T92" fmla="*/ 2147483647 w 69"/>
                    <a:gd name="T93" fmla="*/ 2147483647 h 29"/>
                    <a:gd name="T94" fmla="*/ 2147483647 w 69"/>
                    <a:gd name="T95" fmla="*/ 2147483647 h 29"/>
                    <a:gd name="T96" fmla="*/ 2147483647 w 69"/>
                    <a:gd name="T97" fmla="*/ 2147483647 h 29"/>
                    <a:gd name="T98" fmla="*/ 2147483647 w 69"/>
                    <a:gd name="T99" fmla="*/ 2147483647 h 29"/>
                    <a:gd name="T100" fmla="*/ 2147483647 w 69"/>
                    <a:gd name="T101" fmla="*/ 2147483647 h 29"/>
                    <a:gd name="T102" fmla="*/ 2147483647 w 69"/>
                    <a:gd name="T103" fmla="*/ 2147483647 h 29"/>
                    <a:gd name="T104" fmla="*/ 2147483647 w 69"/>
                    <a:gd name="T105" fmla="*/ 2147483647 h 29"/>
                    <a:gd name="T106" fmla="*/ 2147483647 w 69"/>
                    <a:gd name="T107" fmla="*/ 2147483647 h 29"/>
                    <a:gd name="T108" fmla="*/ 2147483647 w 69"/>
                    <a:gd name="T109" fmla="*/ 2147483647 h 2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
                    <a:gd name="T166" fmla="*/ 0 h 29"/>
                    <a:gd name="T167" fmla="*/ 69 w 69"/>
                    <a:gd name="T168" fmla="*/ 29 h 2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 h="29">
                      <a:moveTo>
                        <a:pt x="68" y="22"/>
                      </a:moveTo>
                      <a:lnTo>
                        <a:pt x="68" y="22"/>
                      </a:lnTo>
                      <a:lnTo>
                        <a:pt x="69" y="17"/>
                      </a:lnTo>
                      <a:lnTo>
                        <a:pt x="69" y="15"/>
                      </a:lnTo>
                      <a:lnTo>
                        <a:pt x="68" y="14"/>
                      </a:lnTo>
                      <a:lnTo>
                        <a:pt x="59" y="9"/>
                      </a:lnTo>
                      <a:lnTo>
                        <a:pt x="54" y="6"/>
                      </a:lnTo>
                      <a:lnTo>
                        <a:pt x="50" y="2"/>
                      </a:lnTo>
                      <a:lnTo>
                        <a:pt x="46" y="0"/>
                      </a:lnTo>
                      <a:lnTo>
                        <a:pt x="43" y="0"/>
                      </a:lnTo>
                      <a:lnTo>
                        <a:pt x="42" y="1"/>
                      </a:lnTo>
                      <a:lnTo>
                        <a:pt x="38" y="4"/>
                      </a:lnTo>
                      <a:lnTo>
                        <a:pt x="36" y="6"/>
                      </a:lnTo>
                      <a:lnTo>
                        <a:pt x="28" y="7"/>
                      </a:lnTo>
                      <a:lnTo>
                        <a:pt x="22" y="8"/>
                      </a:lnTo>
                      <a:lnTo>
                        <a:pt x="15" y="11"/>
                      </a:lnTo>
                      <a:lnTo>
                        <a:pt x="3" y="17"/>
                      </a:lnTo>
                      <a:lnTo>
                        <a:pt x="0" y="20"/>
                      </a:lnTo>
                      <a:lnTo>
                        <a:pt x="0" y="22"/>
                      </a:lnTo>
                      <a:lnTo>
                        <a:pt x="1" y="23"/>
                      </a:lnTo>
                      <a:lnTo>
                        <a:pt x="4" y="23"/>
                      </a:lnTo>
                      <a:lnTo>
                        <a:pt x="10" y="20"/>
                      </a:lnTo>
                      <a:lnTo>
                        <a:pt x="14" y="19"/>
                      </a:lnTo>
                      <a:lnTo>
                        <a:pt x="18" y="21"/>
                      </a:lnTo>
                      <a:lnTo>
                        <a:pt x="21" y="25"/>
                      </a:lnTo>
                      <a:lnTo>
                        <a:pt x="22" y="26"/>
                      </a:lnTo>
                      <a:lnTo>
                        <a:pt x="23" y="27"/>
                      </a:lnTo>
                      <a:lnTo>
                        <a:pt x="27" y="27"/>
                      </a:lnTo>
                      <a:lnTo>
                        <a:pt x="29" y="26"/>
                      </a:lnTo>
                      <a:lnTo>
                        <a:pt x="35" y="21"/>
                      </a:lnTo>
                      <a:lnTo>
                        <a:pt x="36" y="21"/>
                      </a:lnTo>
                      <a:lnTo>
                        <a:pt x="37" y="21"/>
                      </a:lnTo>
                      <a:lnTo>
                        <a:pt x="40" y="23"/>
                      </a:lnTo>
                      <a:lnTo>
                        <a:pt x="43" y="26"/>
                      </a:lnTo>
                      <a:lnTo>
                        <a:pt x="47" y="26"/>
                      </a:lnTo>
                      <a:lnTo>
                        <a:pt x="51" y="26"/>
                      </a:lnTo>
                      <a:lnTo>
                        <a:pt x="55" y="26"/>
                      </a:lnTo>
                      <a:lnTo>
                        <a:pt x="59" y="27"/>
                      </a:lnTo>
                      <a:lnTo>
                        <a:pt x="65" y="29"/>
                      </a:lnTo>
                      <a:lnTo>
                        <a:pt x="66" y="26"/>
                      </a:lnTo>
                      <a:lnTo>
                        <a:pt x="68" y="2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8" name="Freeform 942"/>
                <p:cNvSpPr>
                  <a:spLocks/>
                </p:cNvSpPr>
                <p:nvPr/>
              </p:nvSpPr>
              <p:spPr bwMode="auto">
                <a:xfrm>
                  <a:off x="1960350" y="1919075"/>
                  <a:ext cx="66595" cy="39956"/>
                </a:xfrm>
                <a:custGeom>
                  <a:avLst/>
                  <a:gdLst>
                    <a:gd name="T0" fmla="*/ 2147483647 w 49"/>
                    <a:gd name="T1" fmla="*/ 2147483647 h 27"/>
                    <a:gd name="T2" fmla="*/ 2147483647 w 49"/>
                    <a:gd name="T3" fmla="*/ 2147483647 h 27"/>
                    <a:gd name="T4" fmla="*/ 2147483647 w 49"/>
                    <a:gd name="T5" fmla="*/ 2147483647 h 27"/>
                    <a:gd name="T6" fmla="*/ 2147483647 w 49"/>
                    <a:gd name="T7" fmla="*/ 2147483647 h 27"/>
                    <a:gd name="T8" fmla="*/ 2147483647 w 49"/>
                    <a:gd name="T9" fmla="*/ 2147483647 h 27"/>
                    <a:gd name="T10" fmla="*/ 2147483647 w 49"/>
                    <a:gd name="T11" fmla="*/ 2147483647 h 27"/>
                    <a:gd name="T12" fmla="*/ 2147483647 w 49"/>
                    <a:gd name="T13" fmla="*/ 2147483647 h 27"/>
                    <a:gd name="T14" fmla="*/ 2147483647 w 49"/>
                    <a:gd name="T15" fmla="*/ 2147483647 h 27"/>
                    <a:gd name="T16" fmla="*/ 2147483647 w 49"/>
                    <a:gd name="T17" fmla="*/ 2147483647 h 27"/>
                    <a:gd name="T18" fmla="*/ 2147483647 w 49"/>
                    <a:gd name="T19" fmla="*/ 2147483647 h 27"/>
                    <a:gd name="T20" fmla="*/ 2147483647 w 49"/>
                    <a:gd name="T21" fmla="*/ 2147483647 h 27"/>
                    <a:gd name="T22" fmla="*/ 2147483647 w 49"/>
                    <a:gd name="T23" fmla="*/ 2147483647 h 27"/>
                    <a:gd name="T24" fmla="*/ 2147483647 w 49"/>
                    <a:gd name="T25" fmla="*/ 2147483647 h 27"/>
                    <a:gd name="T26" fmla="*/ 2147483647 w 49"/>
                    <a:gd name="T27" fmla="*/ 2147483647 h 27"/>
                    <a:gd name="T28" fmla="*/ 2147483647 w 49"/>
                    <a:gd name="T29" fmla="*/ 2147483647 h 27"/>
                    <a:gd name="T30" fmla="*/ 2147483647 w 49"/>
                    <a:gd name="T31" fmla="*/ 2147483647 h 27"/>
                    <a:gd name="T32" fmla="*/ 2147483647 w 49"/>
                    <a:gd name="T33" fmla="*/ 2147483647 h 27"/>
                    <a:gd name="T34" fmla="*/ 2147483647 w 49"/>
                    <a:gd name="T35" fmla="*/ 2147483647 h 27"/>
                    <a:gd name="T36" fmla="*/ 2147483647 w 49"/>
                    <a:gd name="T37" fmla="*/ 0 h 27"/>
                    <a:gd name="T38" fmla="*/ 2147483647 w 49"/>
                    <a:gd name="T39" fmla="*/ 0 h 27"/>
                    <a:gd name="T40" fmla="*/ 2147483647 w 49"/>
                    <a:gd name="T41" fmla="*/ 0 h 27"/>
                    <a:gd name="T42" fmla="*/ 2147483647 w 49"/>
                    <a:gd name="T43" fmla="*/ 2147483647 h 27"/>
                    <a:gd name="T44" fmla="*/ 2147483647 w 49"/>
                    <a:gd name="T45" fmla="*/ 2147483647 h 27"/>
                    <a:gd name="T46" fmla="*/ 2147483647 w 49"/>
                    <a:gd name="T47" fmla="*/ 2147483647 h 27"/>
                    <a:gd name="T48" fmla="*/ 2147483647 w 49"/>
                    <a:gd name="T49" fmla="*/ 0 h 27"/>
                    <a:gd name="T50" fmla="*/ 2147483647 w 49"/>
                    <a:gd name="T51" fmla="*/ 0 h 27"/>
                    <a:gd name="T52" fmla="*/ 2147483647 w 49"/>
                    <a:gd name="T53" fmla="*/ 0 h 27"/>
                    <a:gd name="T54" fmla="*/ 2147483647 w 49"/>
                    <a:gd name="T55" fmla="*/ 2147483647 h 27"/>
                    <a:gd name="T56" fmla="*/ 2147483647 w 49"/>
                    <a:gd name="T57" fmla="*/ 2147483647 h 27"/>
                    <a:gd name="T58" fmla="*/ 0 w 49"/>
                    <a:gd name="T59" fmla="*/ 2147483647 h 27"/>
                    <a:gd name="T60" fmla="*/ 0 w 49"/>
                    <a:gd name="T61" fmla="*/ 2147483647 h 27"/>
                    <a:gd name="T62" fmla="*/ 0 w 49"/>
                    <a:gd name="T63" fmla="*/ 2147483647 h 27"/>
                    <a:gd name="T64" fmla="*/ 2147483647 w 49"/>
                    <a:gd name="T65" fmla="*/ 2147483647 h 27"/>
                    <a:gd name="T66" fmla="*/ 2147483647 w 49"/>
                    <a:gd name="T67" fmla="*/ 2147483647 h 27"/>
                    <a:gd name="T68" fmla="*/ 2147483647 w 49"/>
                    <a:gd name="T69" fmla="*/ 2147483647 h 27"/>
                    <a:gd name="T70" fmla="*/ 2147483647 w 49"/>
                    <a:gd name="T71" fmla="*/ 2147483647 h 27"/>
                    <a:gd name="T72" fmla="*/ 2147483647 w 49"/>
                    <a:gd name="T73" fmla="*/ 2147483647 h 27"/>
                    <a:gd name="T74" fmla="*/ 2147483647 w 49"/>
                    <a:gd name="T75" fmla="*/ 2147483647 h 27"/>
                    <a:gd name="T76" fmla="*/ 2147483647 w 49"/>
                    <a:gd name="T77" fmla="*/ 2147483647 h 27"/>
                    <a:gd name="T78" fmla="*/ 2147483647 w 49"/>
                    <a:gd name="T79" fmla="*/ 2147483647 h 27"/>
                    <a:gd name="T80" fmla="*/ 2147483647 w 49"/>
                    <a:gd name="T81" fmla="*/ 2147483647 h 27"/>
                    <a:gd name="T82" fmla="*/ 2147483647 w 49"/>
                    <a:gd name="T83" fmla="*/ 2147483647 h 27"/>
                    <a:gd name="T84" fmla="*/ 2147483647 w 49"/>
                    <a:gd name="T85" fmla="*/ 2147483647 h 27"/>
                    <a:gd name="T86" fmla="*/ 2147483647 w 49"/>
                    <a:gd name="T87" fmla="*/ 2147483647 h 27"/>
                    <a:gd name="T88" fmla="*/ 2147483647 w 49"/>
                    <a:gd name="T89" fmla="*/ 2147483647 h 27"/>
                    <a:gd name="T90" fmla="*/ 2147483647 w 49"/>
                    <a:gd name="T91" fmla="*/ 2147483647 h 2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9"/>
                    <a:gd name="T139" fmla="*/ 0 h 27"/>
                    <a:gd name="T140" fmla="*/ 49 w 49"/>
                    <a:gd name="T141" fmla="*/ 27 h 2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9" h="27">
                      <a:moveTo>
                        <a:pt x="44" y="24"/>
                      </a:moveTo>
                      <a:lnTo>
                        <a:pt x="44" y="24"/>
                      </a:lnTo>
                      <a:lnTo>
                        <a:pt x="47" y="22"/>
                      </a:lnTo>
                      <a:lnTo>
                        <a:pt x="47" y="20"/>
                      </a:lnTo>
                      <a:lnTo>
                        <a:pt x="47" y="17"/>
                      </a:lnTo>
                      <a:lnTo>
                        <a:pt x="44" y="12"/>
                      </a:lnTo>
                      <a:lnTo>
                        <a:pt x="42" y="10"/>
                      </a:lnTo>
                      <a:lnTo>
                        <a:pt x="42" y="8"/>
                      </a:lnTo>
                      <a:lnTo>
                        <a:pt x="42" y="7"/>
                      </a:lnTo>
                      <a:lnTo>
                        <a:pt x="44" y="7"/>
                      </a:lnTo>
                      <a:lnTo>
                        <a:pt x="47" y="7"/>
                      </a:lnTo>
                      <a:lnTo>
                        <a:pt x="48" y="7"/>
                      </a:lnTo>
                      <a:lnTo>
                        <a:pt x="49" y="6"/>
                      </a:lnTo>
                      <a:lnTo>
                        <a:pt x="48" y="3"/>
                      </a:lnTo>
                      <a:lnTo>
                        <a:pt x="45" y="1"/>
                      </a:lnTo>
                      <a:lnTo>
                        <a:pt x="42" y="0"/>
                      </a:lnTo>
                      <a:lnTo>
                        <a:pt x="38" y="0"/>
                      </a:lnTo>
                      <a:lnTo>
                        <a:pt x="33" y="1"/>
                      </a:lnTo>
                      <a:lnTo>
                        <a:pt x="28" y="3"/>
                      </a:lnTo>
                      <a:lnTo>
                        <a:pt x="19" y="0"/>
                      </a:lnTo>
                      <a:lnTo>
                        <a:pt x="10" y="0"/>
                      </a:lnTo>
                      <a:lnTo>
                        <a:pt x="6" y="0"/>
                      </a:lnTo>
                      <a:lnTo>
                        <a:pt x="3" y="1"/>
                      </a:lnTo>
                      <a:lnTo>
                        <a:pt x="1" y="4"/>
                      </a:lnTo>
                      <a:lnTo>
                        <a:pt x="0" y="7"/>
                      </a:lnTo>
                      <a:lnTo>
                        <a:pt x="0" y="18"/>
                      </a:lnTo>
                      <a:lnTo>
                        <a:pt x="2" y="23"/>
                      </a:lnTo>
                      <a:lnTo>
                        <a:pt x="3" y="26"/>
                      </a:lnTo>
                      <a:lnTo>
                        <a:pt x="6" y="27"/>
                      </a:lnTo>
                      <a:lnTo>
                        <a:pt x="9" y="27"/>
                      </a:lnTo>
                      <a:lnTo>
                        <a:pt x="14" y="26"/>
                      </a:lnTo>
                      <a:lnTo>
                        <a:pt x="20" y="25"/>
                      </a:lnTo>
                      <a:lnTo>
                        <a:pt x="28" y="25"/>
                      </a:lnTo>
                      <a:lnTo>
                        <a:pt x="42" y="27"/>
                      </a:lnTo>
                      <a:lnTo>
                        <a:pt x="43" y="26"/>
                      </a:lnTo>
                      <a:lnTo>
                        <a:pt x="44" y="2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69" name="Freeform 943"/>
                <p:cNvSpPr>
                  <a:spLocks/>
                </p:cNvSpPr>
                <p:nvPr/>
              </p:nvSpPr>
              <p:spPr bwMode="auto">
                <a:xfrm>
                  <a:off x="2134975" y="2059664"/>
                  <a:ext cx="26637" cy="31078"/>
                </a:xfrm>
                <a:custGeom>
                  <a:avLst/>
                  <a:gdLst>
                    <a:gd name="T0" fmla="*/ 2147483647 w 20"/>
                    <a:gd name="T1" fmla="*/ 2147483647 h 21"/>
                    <a:gd name="T2" fmla="*/ 2147483647 w 20"/>
                    <a:gd name="T3" fmla="*/ 2147483647 h 21"/>
                    <a:gd name="T4" fmla="*/ 2147483647 w 20"/>
                    <a:gd name="T5" fmla="*/ 0 h 21"/>
                    <a:gd name="T6" fmla="*/ 2147483647 w 20"/>
                    <a:gd name="T7" fmla="*/ 0 h 21"/>
                    <a:gd name="T8" fmla="*/ 2147483647 w 20"/>
                    <a:gd name="T9" fmla="*/ 2147483647 h 21"/>
                    <a:gd name="T10" fmla="*/ 2147483647 w 20"/>
                    <a:gd name="T11" fmla="*/ 2147483647 h 21"/>
                    <a:gd name="T12" fmla="*/ 2147483647 w 20"/>
                    <a:gd name="T13" fmla="*/ 2147483647 h 21"/>
                    <a:gd name="T14" fmla="*/ 0 w 20"/>
                    <a:gd name="T15" fmla="*/ 2147483647 h 21"/>
                    <a:gd name="T16" fmla="*/ 0 w 20"/>
                    <a:gd name="T17" fmla="*/ 2147483647 h 21"/>
                    <a:gd name="T18" fmla="*/ 0 w 20"/>
                    <a:gd name="T19" fmla="*/ 2147483647 h 21"/>
                    <a:gd name="T20" fmla="*/ 2147483647 w 20"/>
                    <a:gd name="T21" fmla="*/ 2147483647 h 21"/>
                    <a:gd name="T22" fmla="*/ 2147483647 w 20"/>
                    <a:gd name="T23" fmla="*/ 2147483647 h 21"/>
                    <a:gd name="T24" fmla="*/ 2147483647 w 20"/>
                    <a:gd name="T25" fmla="*/ 2147483647 h 21"/>
                    <a:gd name="T26" fmla="*/ 2147483647 w 20"/>
                    <a:gd name="T27" fmla="*/ 2147483647 h 21"/>
                    <a:gd name="T28" fmla="*/ 2147483647 w 20"/>
                    <a:gd name="T29" fmla="*/ 2147483647 h 21"/>
                    <a:gd name="T30" fmla="*/ 2147483647 w 20"/>
                    <a:gd name="T31" fmla="*/ 2147483647 h 21"/>
                    <a:gd name="T32" fmla="*/ 2147483647 w 20"/>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1"/>
                    <a:gd name="T53" fmla="*/ 20 w 20"/>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1">
                      <a:moveTo>
                        <a:pt x="16" y="7"/>
                      </a:moveTo>
                      <a:lnTo>
                        <a:pt x="11" y="1"/>
                      </a:lnTo>
                      <a:lnTo>
                        <a:pt x="8" y="0"/>
                      </a:lnTo>
                      <a:lnTo>
                        <a:pt x="6" y="0"/>
                      </a:lnTo>
                      <a:lnTo>
                        <a:pt x="5" y="1"/>
                      </a:lnTo>
                      <a:lnTo>
                        <a:pt x="2" y="6"/>
                      </a:lnTo>
                      <a:lnTo>
                        <a:pt x="1" y="12"/>
                      </a:lnTo>
                      <a:lnTo>
                        <a:pt x="0" y="14"/>
                      </a:lnTo>
                      <a:lnTo>
                        <a:pt x="0" y="18"/>
                      </a:lnTo>
                      <a:lnTo>
                        <a:pt x="0" y="20"/>
                      </a:lnTo>
                      <a:lnTo>
                        <a:pt x="1" y="21"/>
                      </a:lnTo>
                      <a:lnTo>
                        <a:pt x="2" y="21"/>
                      </a:lnTo>
                      <a:lnTo>
                        <a:pt x="18" y="17"/>
                      </a:lnTo>
                      <a:lnTo>
                        <a:pt x="20" y="15"/>
                      </a:lnTo>
                      <a:lnTo>
                        <a:pt x="20" y="13"/>
                      </a:lnTo>
                      <a:lnTo>
                        <a:pt x="19" y="10"/>
                      </a:lnTo>
                      <a:lnTo>
                        <a:pt x="1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0" name="Freeform 944"/>
                <p:cNvSpPr>
                  <a:spLocks/>
                </p:cNvSpPr>
                <p:nvPr/>
              </p:nvSpPr>
              <p:spPr bwMode="auto">
                <a:xfrm>
                  <a:off x="2349560" y="2040427"/>
                  <a:ext cx="68074" cy="56235"/>
                </a:xfrm>
                <a:custGeom>
                  <a:avLst/>
                  <a:gdLst>
                    <a:gd name="T0" fmla="*/ 2147483647 w 50"/>
                    <a:gd name="T1" fmla="*/ 2147483647 h 38"/>
                    <a:gd name="T2" fmla="*/ 2147483647 w 50"/>
                    <a:gd name="T3" fmla="*/ 2147483647 h 38"/>
                    <a:gd name="T4" fmla="*/ 2147483647 w 50"/>
                    <a:gd name="T5" fmla="*/ 2147483647 h 38"/>
                    <a:gd name="T6" fmla="*/ 2147483647 w 50"/>
                    <a:gd name="T7" fmla="*/ 2147483647 h 38"/>
                    <a:gd name="T8" fmla="*/ 2147483647 w 50"/>
                    <a:gd name="T9" fmla="*/ 0 h 38"/>
                    <a:gd name="T10" fmla="*/ 2147483647 w 50"/>
                    <a:gd name="T11" fmla="*/ 2147483647 h 38"/>
                    <a:gd name="T12" fmla="*/ 2147483647 w 50"/>
                    <a:gd name="T13" fmla="*/ 2147483647 h 38"/>
                    <a:gd name="T14" fmla="*/ 2147483647 w 50"/>
                    <a:gd name="T15" fmla="*/ 2147483647 h 38"/>
                    <a:gd name="T16" fmla="*/ 2147483647 w 50"/>
                    <a:gd name="T17" fmla="*/ 2147483647 h 38"/>
                    <a:gd name="T18" fmla="*/ 2147483647 w 50"/>
                    <a:gd name="T19" fmla="*/ 2147483647 h 38"/>
                    <a:gd name="T20" fmla="*/ 2147483647 w 50"/>
                    <a:gd name="T21" fmla="*/ 2147483647 h 38"/>
                    <a:gd name="T22" fmla="*/ 2147483647 w 50"/>
                    <a:gd name="T23" fmla="*/ 2147483647 h 38"/>
                    <a:gd name="T24" fmla="*/ 0 w 50"/>
                    <a:gd name="T25" fmla="*/ 2147483647 h 38"/>
                    <a:gd name="T26" fmla="*/ 2147483647 w 50"/>
                    <a:gd name="T27" fmla="*/ 2147483647 h 38"/>
                    <a:gd name="T28" fmla="*/ 2147483647 w 50"/>
                    <a:gd name="T29" fmla="*/ 2147483647 h 38"/>
                    <a:gd name="T30" fmla="*/ 2147483647 w 50"/>
                    <a:gd name="T31" fmla="*/ 2147483647 h 38"/>
                    <a:gd name="T32" fmla="*/ 2147483647 w 50"/>
                    <a:gd name="T33" fmla="*/ 2147483647 h 38"/>
                    <a:gd name="T34" fmla="*/ 2147483647 w 50"/>
                    <a:gd name="T35" fmla="*/ 2147483647 h 38"/>
                    <a:gd name="T36" fmla="*/ 2147483647 w 50"/>
                    <a:gd name="T37" fmla="*/ 2147483647 h 38"/>
                    <a:gd name="T38" fmla="*/ 2147483647 w 50"/>
                    <a:gd name="T39" fmla="*/ 2147483647 h 38"/>
                    <a:gd name="T40" fmla="*/ 2147483647 w 50"/>
                    <a:gd name="T41" fmla="*/ 2147483647 h 38"/>
                    <a:gd name="T42" fmla="*/ 2147483647 w 50"/>
                    <a:gd name="T43" fmla="*/ 2147483647 h 38"/>
                    <a:gd name="T44" fmla="*/ 2147483647 w 50"/>
                    <a:gd name="T45" fmla="*/ 2147483647 h 38"/>
                    <a:gd name="T46" fmla="*/ 2147483647 w 50"/>
                    <a:gd name="T47" fmla="*/ 2147483647 h 38"/>
                    <a:gd name="T48" fmla="*/ 2147483647 w 50"/>
                    <a:gd name="T49" fmla="*/ 2147483647 h 38"/>
                    <a:gd name="T50" fmla="*/ 2147483647 w 50"/>
                    <a:gd name="T51" fmla="*/ 2147483647 h 38"/>
                    <a:gd name="T52" fmla="*/ 2147483647 w 50"/>
                    <a:gd name="T53" fmla="*/ 2147483647 h 38"/>
                    <a:gd name="T54" fmla="*/ 2147483647 w 50"/>
                    <a:gd name="T55" fmla="*/ 2147483647 h 38"/>
                    <a:gd name="T56" fmla="*/ 2147483647 w 50"/>
                    <a:gd name="T57" fmla="*/ 2147483647 h 38"/>
                    <a:gd name="T58" fmla="*/ 2147483647 w 50"/>
                    <a:gd name="T59" fmla="*/ 2147483647 h 38"/>
                    <a:gd name="T60" fmla="*/ 2147483647 w 50"/>
                    <a:gd name="T61" fmla="*/ 2147483647 h 38"/>
                    <a:gd name="T62" fmla="*/ 2147483647 w 50"/>
                    <a:gd name="T63" fmla="*/ 2147483647 h 38"/>
                    <a:gd name="T64" fmla="*/ 2147483647 w 50"/>
                    <a:gd name="T65" fmla="*/ 2147483647 h 38"/>
                    <a:gd name="T66" fmla="*/ 2147483647 w 50"/>
                    <a:gd name="T67" fmla="*/ 2147483647 h 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38"/>
                    <a:gd name="T104" fmla="*/ 50 w 50"/>
                    <a:gd name="T105" fmla="*/ 38 h 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38">
                      <a:moveTo>
                        <a:pt x="35" y="12"/>
                      </a:moveTo>
                      <a:lnTo>
                        <a:pt x="30" y="6"/>
                      </a:lnTo>
                      <a:lnTo>
                        <a:pt x="27" y="2"/>
                      </a:lnTo>
                      <a:lnTo>
                        <a:pt x="23" y="1"/>
                      </a:lnTo>
                      <a:lnTo>
                        <a:pt x="19" y="0"/>
                      </a:lnTo>
                      <a:lnTo>
                        <a:pt x="17" y="1"/>
                      </a:lnTo>
                      <a:lnTo>
                        <a:pt x="14" y="2"/>
                      </a:lnTo>
                      <a:lnTo>
                        <a:pt x="13" y="5"/>
                      </a:lnTo>
                      <a:lnTo>
                        <a:pt x="12" y="9"/>
                      </a:lnTo>
                      <a:lnTo>
                        <a:pt x="9" y="13"/>
                      </a:lnTo>
                      <a:lnTo>
                        <a:pt x="3" y="21"/>
                      </a:lnTo>
                      <a:lnTo>
                        <a:pt x="2" y="24"/>
                      </a:lnTo>
                      <a:lnTo>
                        <a:pt x="0" y="27"/>
                      </a:lnTo>
                      <a:lnTo>
                        <a:pt x="2" y="30"/>
                      </a:lnTo>
                      <a:lnTo>
                        <a:pt x="4" y="31"/>
                      </a:lnTo>
                      <a:lnTo>
                        <a:pt x="12" y="32"/>
                      </a:lnTo>
                      <a:lnTo>
                        <a:pt x="16" y="32"/>
                      </a:lnTo>
                      <a:lnTo>
                        <a:pt x="19" y="33"/>
                      </a:lnTo>
                      <a:lnTo>
                        <a:pt x="21" y="33"/>
                      </a:lnTo>
                      <a:lnTo>
                        <a:pt x="22" y="33"/>
                      </a:lnTo>
                      <a:lnTo>
                        <a:pt x="25" y="32"/>
                      </a:lnTo>
                      <a:lnTo>
                        <a:pt x="26" y="32"/>
                      </a:lnTo>
                      <a:lnTo>
                        <a:pt x="32" y="36"/>
                      </a:lnTo>
                      <a:lnTo>
                        <a:pt x="40" y="38"/>
                      </a:lnTo>
                      <a:lnTo>
                        <a:pt x="44" y="38"/>
                      </a:lnTo>
                      <a:lnTo>
                        <a:pt x="46" y="37"/>
                      </a:lnTo>
                      <a:lnTo>
                        <a:pt x="49" y="36"/>
                      </a:lnTo>
                      <a:lnTo>
                        <a:pt x="50" y="33"/>
                      </a:lnTo>
                      <a:lnTo>
                        <a:pt x="49" y="28"/>
                      </a:lnTo>
                      <a:lnTo>
                        <a:pt x="47" y="25"/>
                      </a:lnTo>
                      <a:lnTo>
                        <a:pt x="42" y="17"/>
                      </a:lnTo>
                      <a:lnTo>
                        <a:pt x="41" y="15"/>
                      </a:lnTo>
                      <a:lnTo>
                        <a:pt x="38" y="14"/>
                      </a:lnTo>
                      <a:lnTo>
                        <a:pt x="35"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1" name="Freeform 945"/>
                <p:cNvSpPr>
                  <a:spLocks/>
                </p:cNvSpPr>
                <p:nvPr/>
              </p:nvSpPr>
              <p:spPr bwMode="auto">
                <a:xfrm>
                  <a:off x="2133496" y="2058187"/>
                  <a:ext cx="26637" cy="31077"/>
                </a:xfrm>
                <a:custGeom>
                  <a:avLst/>
                  <a:gdLst>
                    <a:gd name="T0" fmla="*/ 2147483647 w 20"/>
                    <a:gd name="T1" fmla="*/ 2147483647 h 21"/>
                    <a:gd name="T2" fmla="*/ 2147483647 w 20"/>
                    <a:gd name="T3" fmla="*/ 2147483647 h 21"/>
                    <a:gd name="T4" fmla="*/ 2147483647 w 20"/>
                    <a:gd name="T5" fmla="*/ 2147483647 h 21"/>
                    <a:gd name="T6" fmla="*/ 2147483647 w 20"/>
                    <a:gd name="T7" fmla="*/ 0 h 21"/>
                    <a:gd name="T8" fmla="*/ 2147483647 w 20"/>
                    <a:gd name="T9" fmla="*/ 0 h 21"/>
                    <a:gd name="T10" fmla="*/ 2147483647 w 20"/>
                    <a:gd name="T11" fmla="*/ 2147483647 h 21"/>
                    <a:gd name="T12" fmla="*/ 2147483647 w 20"/>
                    <a:gd name="T13" fmla="*/ 2147483647 h 21"/>
                    <a:gd name="T14" fmla="*/ 2147483647 w 20"/>
                    <a:gd name="T15" fmla="*/ 2147483647 h 21"/>
                    <a:gd name="T16" fmla="*/ 2147483647 w 20"/>
                    <a:gd name="T17" fmla="*/ 2147483647 h 21"/>
                    <a:gd name="T18" fmla="*/ 2147483647 w 20"/>
                    <a:gd name="T19" fmla="*/ 2147483647 h 21"/>
                    <a:gd name="T20" fmla="*/ 2147483647 w 20"/>
                    <a:gd name="T21" fmla="*/ 2147483647 h 21"/>
                    <a:gd name="T22" fmla="*/ 2147483647 w 20"/>
                    <a:gd name="T23" fmla="*/ 2147483647 h 21"/>
                    <a:gd name="T24" fmla="*/ 0 w 20"/>
                    <a:gd name="T25" fmla="*/ 2147483647 h 21"/>
                    <a:gd name="T26" fmla="*/ 0 w 20"/>
                    <a:gd name="T27" fmla="*/ 2147483647 h 21"/>
                    <a:gd name="T28" fmla="*/ 0 w 20"/>
                    <a:gd name="T29" fmla="*/ 2147483647 h 21"/>
                    <a:gd name="T30" fmla="*/ 2147483647 w 20"/>
                    <a:gd name="T31" fmla="*/ 2147483647 h 21"/>
                    <a:gd name="T32" fmla="*/ 2147483647 w 20"/>
                    <a:gd name="T33" fmla="*/ 2147483647 h 21"/>
                    <a:gd name="T34" fmla="*/ 2147483647 w 20"/>
                    <a:gd name="T35" fmla="*/ 2147483647 h 21"/>
                    <a:gd name="T36" fmla="*/ 2147483647 w 20"/>
                    <a:gd name="T37" fmla="*/ 2147483647 h 21"/>
                    <a:gd name="T38" fmla="*/ 2147483647 w 20"/>
                    <a:gd name="T39" fmla="*/ 2147483647 h 21"/>
                    <a:gd name="T40" fmla="*/ 2147483647 w 20"/>
                    <a:gd name="T41" fmla="*/ 2147483647 h 21"/>
                    <a:gd name="T42" fmla="*/ 2147483647 w 20"/>
                    <a:gd name="T43" fmla="*/ 2147483647 h 21"/>
                    <a:gd name="T44" fmla="*/ 2147483647 w 20"/>
                    <a:gd name="T45" fmla="*/ 2147483647 h 21"/>
                    <a:gd name="T46" fmla="*/ 2147483647 w 20"/>
                    <a:gd name="T47" fmla="*/ 2147483647 h 21"/>
                    <a:gd name="T48" fmla="*/ 2147483647 w 20"/>
                    <a:gd name="T49" fmla="*/ 2147483647 h 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
                    <a:gd name="T76" fmla="*/ 0 h 21"/>
                    <a:gd name="T77" fmla="*/ 20 w 20"/>
                    <a:gd name="T78" fmla="*/ 21 h 2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 h="21">
                      <a:moveTo>
                        <a:pt x="16" y="7"/>
                      </a:moveTo>
                      <a:lnTo>
                        <a:pt x="16" y="7"/>
                      </a:lnTo>
                      <a:lnTo>
                        <a:pt x="11" y="1"/>
                      </a:lnTo>
                      <a:lnTo>
                        <a:pt x="7" y="0"/>
                      </a:lnTo>
                      <a:lnTo>
                        <a:pt x="6" y="0"/>
                      </a:lnTo>
                      <a:lnTo>
                        <a:pt x="5" y="1"/>
                      </a:lnTo>
                      <a:lnTo>
                        <a:pt x="2" y="6"/>
                      </a:lnTo>
                      <a:lnTo>
                        <a:pt x="1" y="12"/>
                      </a:lnTo>
                      <a:lnTo>
                        <a:pt x="0" y="14"/>
                      </a:lnTo>
                      <a:lnTo>
                        <a:pt x="0" y="18"/>
                      </a:lnTo>
                      <a:lnTo>
                        <a:pt x="0" y="20"/>
                      </a:lnTo>
                      <a:lnTo>
                        <a:pt x="1" y="21"/>
                      </a:lnTo>
                      <a:lnTo>
                        <a:pt x="2" y="21"/>
                      </a:lnTo>
                      <a:lnTo>
                        <a:pt x="17" y="16"/>
                      </a:lnTo>
                      <a:lnTo>
                        <a:pt x="20" y="15"/>
                      </a:lnTo>
                      <a:lnTo>
                        <a:pt x="20" y="13"/>
                      </a:lnTo>
                      <a:lnTo>
                        <a:pt x="19" y="9"/>
                      </a:lnTo>
                      <a:lnTo>
                        <a:pt x="1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2" name="Freeform 946"/>
                <p:cNvSpPr>
                  <a:spLocks/>
                </p:cNvSpPr>
                <p:nvPr/>
              </p:nvSpPr>
              <p:spPr bwMode="auto">
                <a:xfrm>
                  <a:off x="2348080" y="2038948"/>
                  <a:ext cx="68074" cy="56235"/>
                </a:xfrm>
                <a:custGeom>
                  <a:avLst/>
                  <a:gdLst>
                    <a:gd name="T0" fmla="*/ 2147483647 w 50"/>
                    <a:gd name="T1" fmla="*/ 2147483647 h 38"/>
                    <a:gd name="T2" fmla="*/ 2147483647 w 50"/>
                    <a:gd name="T3" fmla="*/ 2147483647 h 38"/>
                    <a:gd name="T4" fmla="*/ 2147483647 w 50"/>
                    <a:gd name="T5" fmla="*/ 2147483647 h 38"/>
                    <a:gd name="T6" fmla="*/ 2147483647 w 50"/>
                    <a:gd name="T7" fmla="*/ 2147483647 h 38"/>
                    <a:gd name="T8" fmla="*/ 2147483647 w 50"/>
                    <a:gd name="T9" fmla="*/ 2147483647 h 38"/>
                    <a:gd name="T10" fmla="*/ 2147483647 w 50"/>
                    <a:gd name="T11" fmla="*/ 2147483647 h 38"/>
                    <a:gd name="T12" fmla="*/ 2147483647 w 50"/>
                    <a:gd name="T13" fmla="*/ 0 h 38"/>
                    <a:gd name="T14" fmla="*/ 2147483647 w 50"/>
                    <a:gd name="T15" fmla="*/ 2147483647 h 38"/>
                    <a:gd name="T16" fmla="*/ 2147483647 w 50"/>
                    <a:gd name="T17" fmla="*/ 2147483647 h 38"/>
                    <a:gd name="T18" fmla="*/ 2147483647 w 50"/>
                    <a:gd name="T19" fmla="*/ 2147483647 h 38"/>
                    <a:gd name="T20" fmla="*/ 2147483647 w 50"/>
                    <a:gd name="T21" fmla="*/ 2147483647 h 38"/>
                    <a:gd name="T22" fmla="*/ 2147483647 w 50"/>
                    <a:gd name="T23" fmla="*/ 2147483647 h 38"/>
                    <a:gd name="T24" fmla="*/ 2147483647 w 50"/>
                    <a:gd name="T25" fmla="*/ 2147483647 h 38"/>
                    <a:gd name="T26" fmla="*/ 2147483647 w 50"/>
                    <a:gd name="T27" fmla="*/ 2147483647 h 38"/>
                    <a:gd name="T28" fmla="*/ 2147483647 w 50"/>
                    <a:gd name="T29" fmla="*/ 2147483647 h 38"/>
                    <a:gd name="T30" fmla="*/ 2147483647 w 50"/>
                    <a:gd name="T31" fmla="*/ 2147483647 h 38"/>
                    <a:gd name="T32" fmla="*/ 0 w 50"/>
                    <a:gd name="T33" fmla="*/ 2147483647 h 38"/>
                    <a:gd name="T34" fmla="*/ 2147483647 w 50"/>
                    <a:gd name="T35" fmla="*/ 2147483647 h 38"/>
                    <a:gd name="T36" fmla="*/ 2147483647 w 50"/>
                    <a:gd name="T37" fmla="*/ 2147483647 h 38"/>
                    <a:gd name="T38" fmla="*/ 2147483647 w 50"/>
                    <a:gd name="T39" fmla="*/ 2147483647 h 38"/>
                    <a:gd name="T40" fmla="*/ 2147483647 w 50"/>
                    <a:gd name="T41" fmla="*/ 2147483647 h 38"/>
                    <a:gd name="T42" fmla="*/ 2147483647 w 50"/>
                    <a:gd name="T43" fmla="*/ 2147483647 h 38"/>
                    <a:gd name="T44" fmla="*/ 2147483647 w 50"/>
                    <a:gd name="T45" fmla="*/ 2147483647 h 38"/>
                    <a:gd name="T46" fmla="*/ 2147483647 w 50"/>
                    <a:gd name="T47" fmla="*/ 2147483647 h 38"/>
                    <a:gd name="T48" fmla="*/ 2147483647 w 50"/>
                    <a:gd name="T49" fmla="*/ 2147483647 h 38"/>
                    <a:gd name="T50" fmla="*/ 2147483647 w 50"/>
                    <a:gd name="T51" fmla="*/ 2147483647 h 38"/>
                    <a:gd name="T52" fmla="*/ 2147483647 w 50"/>
                    <a:gd name="T53" fmla="*/ 2147483647 h 38"/>
                    <a:gd name="T54" fmla="*/ 2147483647 w 50"/>
                    <a:gd name="T55" fmla="*/ 2147483647 h 38"/>
                    <a:gd name="T56" fmla="*/ 2147483647 w 50"/>
                    <a:gd name="T57" fmla="*/ 2147483647 h 38"/>
                    <a:gd name="T58" fmla="*/ 2147483647 w 50"/>
                    <a:gd name="T59" fmla="*/ 2147483647 h 38"/>
                    <a:gd name="T60" fmla="*/ 2147483647 w 50"/>
                    <a:gd name="T61" fmla="*/ 2147483647 h 38"/>
                    <a:gd name="T62" fmla="*/ 2147483647 w 50"/>
                    <a:gd name="T63" fmla="*/ 2147483647 h 38"/>
                    <a:gd name="T64" fmla="*/ 2147483647 w 50"/>
                    <a:gd name="T65" fmla="*/ 2147483647 h 38"/>
                    <a:gd name="T66" fmla="*/ 2147483647 w 50"/>
                    <a:gd name="T67" fmla="*/ 2147483647 h 38"/>
                    <a:gd name="T68" fmla="*/ 2147483647 w 50"/>
                    <a:gd name="T69" fmla="*/ 2147483647 h 38"/>
                    <a:gd name="T70" fmla="*/ 2147483647 w 50"/>
                    <a:gd name="T71" fmla="*/ 2147483647 h 38"/>
                    <a:gd name="T72" fmla="*/ 2147483647 w 50"/>
                    <a:gd name="T73" fmla="*/ 2147483647 h 38"/>
                    <a:gd name="T74" fmla="*/ 2147483647 w 50"/>
                    <a:gd name="T75" fmla="*/ 2147483647 h 38"/>
                    <a:gd name="T76" fmla="*/ 2147483647 w 50"/>
                    <a:gd name="T77" fmla="*/ 2147483647 h 38"/>
                    <a:gd name="T78" fmla="*/ 2147483647 w 50"/>
                    <a:gd name="T79" fmla="*/ 2147483647 h 38"/>
                    <a:gd name="T80" fmla="*/ 2147483647 w 50"/>
                    <a:gd name="T81" fmla="*/ 2147483647 h 38"/>
                    <a:gd name="T82" fmla="*/ 2147483647 w 50"/>
                    <a:gd name="T83" fmla="*/ 2147483647 h 38"/>
                    <a:gd name="T84" fmla="*/ 2147483647 w 50"/>
                    <a:gd name="T85" fmla="*/ 2147483647 h 38"/>
                    <a:gd name="T86" fmla="*/ 2147483647 w 50"/>
                    <a:gd name="T87" fmla="*/ 2147483647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0"/>
                    <a:gd name="T133" fmla="*/ 0 h 38"/>
                    <a:gd name="T134" fmla="*/ 50 w 50"/>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0" h="38">
                      <a:moveTo>
                        <a:pt x="34" y="12"/>
                      </a:moveTo>
                      <a:lnTo>
                        <a:pt x="34" y="12"/>
                      </a:lnTo>
                      <a:lnTo>
                        <a:pt x="29" y="6"/>
                      </a:lnTo>
                      <a:lnTo>
                        <a:pt x="27" y="2"/>
                      </a:lnTo>
                      <a:lnTo>
                        <a:pt x="23" y="1"/>
                      </a:lnTo>
                      <a:lnTo>
                        <a:pt x="19" y="0"/>
                      </a:lnTo>
                      <a:lnTo>
                        <a:pt x="17" y="1"/>
                      </a:lnTo>
                      <a:lnTo>
                        <a:pt x="14" y="2"/>
                      </a:lnTo>
                      <a:lnTo>
                        <a:pt x="13" y="5"/>
                      </a:lnTo>
                      <a:lnTo>
                        <a:pt x="12" y="9"/>
                      </a:lnTo>
                      <a:lnTo>
                        <a:pt x="9" y="13"/>
                      </a:lnTo>
                      <a:lnTo>
                        <a:pt x="3" y="21"/>
                      </a:lnTo>
                      <a:lnTo>
                        <a:pt x="1" y="24"/>
                      </a:lnTo>
                      <a:lnTo>
                        <a:pt x="0" y="27"/>
                      </a:lnTo>
                      <a:lnTo>
                        <a:pt x="1" y="29"/>
                      </a:lnTo>
                      <a:lnTo>
                        <a:pt x="4" y="31"/>
                      </a:lnTo>
                      <a:lnTo>
                        <a:pt x="12" y="32"/>
                      </a:lnTo>
                      <a:lnTo>
                        <a:pt x="15" y="32"/>
                      </a:lnTo>
                      <a:lnTo>
                        <a:pt x="19" y="33"/>
                      </a:lnTo>
                      <a:lnTo>
                        <a:pt x="20" y="33"/>
                      </a:lnTo>
                      <a:lnTo>
                        <a:pt x="22" y="33"/>
                      </a:lnTo>
                      <a:lnTo>
                        <a:pt x="24" y="32"/>
                      </a:lnTo>
                      <a:lnTo>
                        <a:pt x="26" y="32"/>
                      </a:lnTo>
                      <a:lnTo>
                        <a:pt x="32" y="35"/>
                      </a:lnTo>
                      <a:lnTo>
                        <a:pt x="39" y="38"/>
                      </a:lnTo>
                      <a:lnTo>
                        <a:pt x="43" y="38"/>
                      </a:lnTo>
                      <a:lnTo>
                        <a:pt x="46" y="37"/>
                      </a:lnTo>
                      <a:lnTo>
                        <a:pt x="48" y="35"/>
                      </a:lnTo>
                      <a:lnTo>
                        <a:pt x="50" y="33"/>
                      </a:lnTo>
                      <a:lnTo>
                        <a:pt x="48" y="28"/>
                      </a:lnTo>
                      <a:lnTo>
                        <a:pt x="47" y="25"/>
                      </a:lnTo>
                      <a:lnTo>
                        <a:pt x="42" y="16"/>
                      </a:lnTo>
                      <a:lnTo>
                        <a:pt x="41" y="15"/>
                      </a:lnTo>
                      <a:lnTo>
                        <a:pt x="38" y="14"/>
                      </a:lnTo>
                      <a:lnTo>
                        <a:pt x="3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3" name="Freeform 947"/>
                <p:cNvSpPr>
                  <a:spLocks/>
                </p:cNvSpPr>
                <p:nvPr/>
              </p:nvSpPr>
              <p:spPr bwMode="auto">
                <a:xfrm>
                  <a:off x="2348079" y="1978274"/>
                  <a:ext cx="395126" cy="131708"/>
                </a:xfrm>
                <a:custGeom>
                  <a:avLst/>
                  <a:gdLst>
                    <a:gd name="T0" fmla="*/ 2147483647 w 290"/>
                    <a:gd name="T1" fmla="*/ 2147483647 h 89"/>
                    <a:gd name="T2" fmla="*/ 2147483647 w 290"/>
                    <a:gd name="T3" fmla="*/ 2147483647 h 89"/>
                    <a:gd name="T4" fmla="*/ 2147483647 w 290"/>
                    <a:gd name="T5" fmla="*/ 2147483647 h 89"/>
                    <a:gd name="T6" fmla="*/ 2147483647 w 290"/>
                    <a:gd name="T7" fmla="*/ 2147483647 h 89"/>
                    <a:gd name="T8" fmla="*/ 2147483647 w 290"/>
                    <a:gd name="T9" fmla="*/ 2147483647 h 89"/>
                    <a:gd name="T10" fmla="*/ 2147483647 w 290"/>
                    <a:gd name="T11" fmla="*/ 2147483647 h 89"/>
                    <a:gd name="T12" fmla="*/ 2147483647 w 290"/>
                    <a:gd name="T13" fmla="*/ 2147483647 h 89"/>
                    <a:gd name="T14" fmla="*/ 2147483647 w 290"/>
                    <a:gd name="T15" fmla="*/ 2147483647 h 89"/>
                    <a:gd name="T16" fmla="*/ 2147483647 w 290"/>
                    <a:gd name="T17" fmla="*/ 2147483647 h 89"/>
                    <a:gd name="T18" fmla="*/ 2147483647 w 290"/>
                    <a:gd name="T19" fmla="*/ 2147483647 h 89"/>
                    <a:gd name="T20" fmla="*/ 2147483647 w 290"/>
                    <a:gd name="T21" fmla="*/ 2147483647 h 89"/>
                    <a:gd name="T22" fmla="*/ 2147483647 w 290"/>
                    <a:gd name="T23" fmla="*/ 2147483647 h 89"/>
                    <a:gd name="T24" fmla="*/ 2147483647 w 290"/>
                    <a:gd name="T25" fmla="*/ 2147483647 h 89"/>
                    <a:gd name="T26" fmla="*/ 2147483647 w 290"/>
                    <a:gd name="T27" fmla="*/ 2147483647 h 89"/>
                    <a:gd name="T28" fmla="*/ 2147483647 w 290"/>
                    <a:gd name="T29" fmla="*/ 2147483647 h 89"/>
                    <a:gd name="T30" fmla="*/ 2147483647 w 290"/>
                    <a:gd name="T31" fmla="*/ 2147483647 h 89"/>
                    <a:gd name="T32" fmla="*/ 2147483647 w 290"/>
                    <a:gd name="T33" fmla="*/ 2147483647 h 89"/>
                    <a:gd name="T34" fmla="*/ 2147483647 w 290"/>
                    <a:gd name="T35" fmla="*/ 2147483647 h 89"/>
                    <a:gd name="T36" fmla="*/ 2147483647 w 290"/>
                    <a:gd name="T37" fmla="*/ 2147483647 h 89"/>
                    <a:gd name="T38" fmla="*/ 2147483647 w 290"/>
                    <a:gd name="T39" fmla="*/ 2147483647 h 89"/>
                    <a:gd name="T40" fmla="*/ 2147483647 w 290"/>
                    <a:gd name="T41" fmla="*/ 2147483647 h 89"/>
                    <a:gd name="T42" fmla="*/ 2147483647 w 290"/>
                    <a:gd name="T43" fmla="*/ 2147483647 h 89"/>
                    <a:gd name="T44" fmla="*/ 2147483647 w 290"/>
                    <a:gd name="T45" fmla="*/ 2147483647 h 89"/>
                    <a:gd name="T46" fmla="*/ 2147483647 w 290"/>
                    <a:gd name="T47" fmla="*/ 2147483647 h 89"/>
                    <a:gd name="T48" fmla="*/ 2147483647 w 290"/>
                    <a:gd name="T49" fmla="*/ 2147483647 h 89"/>
                    <a:gd name="T50" fmla="*/ 2147483647 w 290"/>
                    <a:gd name="T51" fmla="*/ 2147483647 h 89"/>
                    <a:gd name="T52" fmla="*/ 2147483647 w 290"/>
                    <a:gd name="T53" fmla="*/ 2147483647 h 89"/>
                    <a:gd name="T54" fmla="*/ 2147483647 w 290"/>
                    <a:gd name="T55" fmla="*/ 2147483647 h 89"/>
                    <a:gd name="T56" fmla="*/ 2147483647 w 290"/>
                    <a:gd name="T57" fmla="*/ 2147483647 h 89"/>
                    <a:gd name="T58" fmla="*/ 2147483647 w 290"/>
                    <a:gd name="T59" fmla="*/ 2147483647 h 89"/>
                    <a:gd name="T60" fmla="*/ 2147483647 w 290"/>
                    <a:gd name="T61" fmla="*/ 2147483647 h 89"/>
                    <a:gd name="T62" fmla="*/ 2147483647 w 290"/>
                    <a:gd name="T63" fmla="*/ 2147483647 h 89"/>
                    <a:gd name="T64" fmla="*/ 2147483647 w 290"/>
                    <a:gd name="T65" fmla="*/ 2147483647 h 89"/>
                    <a:gd name="T66" fmla="*/ 2147483647 w 290"/>
                    <a:gd name="T67" fmla="*/ 2147483647 h 89"/>
                    <a:gd name="T68" fmla="*/ 2147483647 w 290"/>
                    <a:gd name="T69" fmla="*/ 2147483647 h 89"/>
                    <a:gd name="T70" fmla="*/ 2147483647 w 290"/>
                    <a:gd name="T71" fmla="*/ 2147483647 h 89"/>
                    <a:gd name="T72" fmla="*/ 2147483647 w 290"/>
                    <a:gd name="T73" fmla="*/ 2147483647 h 89"/>
                    <a:gd name="T74" fmla="*/ 2147483647 w 290"/>
                    <a:gd name="T75" fmla="*/ 2147483647 h 89"/>
                    <a:gd name="T76" fmla="*/ 2147483647 w 290"/>
                    <a:gd name="T77" fmla="*/ 2147483647 h 89"/>
                    <a:gd name="T78" fmla="*/ 2147483647 w 290"/>
                    <a:gd name="T79" fmla="*/ 2147483647 h 89"/>
                    <a:gd name="T80" fmla="*/ 2147483647 w 290"/>
                    <a:gd name="T81" fmla="*/ 2147483647 h 89"/>
                    <a:gd name="T82" fmla="*/ 2147483647 w 290"/>
                    <a:gd name="T83" fmla="*/ 2147483647 h 89"/>
                    <a:gd name="T84" fmla="*/ 2147483647 w 290"/>
                    <a:gd name="T85" fmla="*/ 2147483647 h 89"/>
                    <a:gd name="T86" fmla="*/ 2147483647 w 290"/>
                    <a:gd name="T87" fmla="*/ 2147483647 h 89"/>
                    <a:gd name="T88" fmla="*/ 2147483647 w 290"/>
                    <a:gd name="T89" fmla="*/ 2147483647 h 89"/>
                    <a:gd name="T90" fmla="*/ 2147483647 w 290"/>
                    <a:gd name="T91" fmla="*/ 2147483647 h 89"/>
                    <a:gd name="T92" fmla="*/ 2147483647 w 290"/>
                    <a:gd name="T93" fmla="*/ 2147483647 h 89"/>
                    <a:gd name="T94" fmla="*/ 2147483647 w 290"/>
                    <a:gd name="T95" fmla="*/ 2147483647 h 89"/>
                    <a:gd name="T96" fmla="*/ 2147483647 w 290"/>
                    <a:gd name="T97" fmla="*/ 2147483647 h 89"/>
                    <a:gd name="T98" fmla="*/ 2147483647 w 290"/>
                    <a:gd name="T99" fmla="*/ 2147483647 h 89"/>
                    <a:gd name="T100" fmla="*/ 2147483647 w 290"/>
                    <a:gd name="T101" fmla="*/ 2147483647 h 89"/>
                    <a:gd name="T102" fmla="*/ 2147483647 w 290"/>
                    <a:gd name="T103" fmla="*/ 2147483647 h 89"/>
                    <a:gd name="T104" fmla="*/ 2147483647 w 290"/>
                    <a:gd name="T105" fmla="*/ 2147483647 h 89"/>
                    <a:gd name="T106" fmla="*/ 2147483647 w 290"/>
                    <a:gd name="T107" fmla="*/ 2147483647 h 89"/>
                    <a:gd name="T108" fmla="*/ 2147483647 w 290"/>
                    <a:gd name="T109" fmla="*/ 2147483647 h 89"/>
                    <a:gd name="T110" fmla="*/ 2147483647 w 290"/>
                    <a:gd name="T111" fmla="*/ 2147483647 h 89"/>
                    <a:gd name="T112" fmla="*/ 2147483647 w 290"/>
                    <a:gd name="T113" fmla="*/ 2147483647 h 89"/>
                    <a:gd name="T114" fmla="*/ 2147483647 w 290"/>
                    <a:gd name="T115" fmla="*/ 2147483647 h 89"/>
                    <a:gd name="T116" fmla="*/ 2147483647 w 290"/>
                    <a:gd name="T117" fmla="*/ 2147483647 h 89"/>
                    <a:gd name="T118" fmla="*/ 2147483647 w 290"/>
                    <a:gd name="T119" fmla="*/ 2147483647 h 89"/>
                    <a:gd name="T120" fmla="*/ 2147483647 w 290"/>
                    <a:gd name="T121" fmla="*/ 2147483647 h 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0"/>
                    <a:gd name="T184" fmla="*/ 0 h 89"/>
                    <a:gd name="T185" fmla="*/ 290 w 290"/>
                    <a:gd name="T186" fmla="*/ 89 h 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0" h="89">
                      <a:moveTo>
                        <a:pt x="76" y="41"/>
                      </a:moveTo>
                      <a:lnTo>
                        <a:pt x="76" y="42"/>
                      </a:lnTo>
                      <a:lnTo>
                        <a:pt x="78" y="43"/>
                      </a:lnTo>
                      <a:lnTo>
                        <a:pt x="79" y="46"/>
                      </a:lnTo>
                      <a:lnTo>
                        <a:pt x="79" y="47"/>
                      </a:lnTo>
                      <a:lnTo>
                        <a:pt x="79" y="54"/>
                      </a:lnTo>
                      <a:lnTo>
                        <a:pt x="79" y="56"/>
                      </a:lnTo>
                      <a:lnTo>
                        <a:pt x="80" y="59"/>
                      </a:lnTo>
                      <a:lnTo>
                        <a:pt x="84" y="61"/>
                      </a:lnTo>
                      <a:lnTo>
                        <a:pt x="85" y="65"/>
                      </a:lnTo>
                      <a:lnTo>
                        <a:pt x="85" y="70"/>
                      </a:lnTo>
                      <a:lnTo>
                        <a:pt x="85" y="74"/>
                      </a:lnTo>
                      <a:lnTo>
                        <a:pt x="86" y="78"/>
                      </a:lnTo>
                      <a:lnTo>
                        <a:pt x="89" y="79"/>
                      </a:lnTo>
                      <a:lnTo>
                        <a:pt x="93" y="80"/>
                      </a:lnTo>
                      <a:lnTo>
                        <a:pt x="99" y="78"/>
                      </a:lnTo>
                      <a:lnTo>
                        <a:pt x="102" y="79"/>
                      </a:lnTo>
                      <a:lnTo>
                        <a:pt x="104" y="80"/>
                      </a:lnTo>
                      <a:lnTo>
                        <a:pt x="108" y="82"/>
                      </a:lnTo>
                      <a:lnTo>
                        <a:pt x="111" y="82"/>
                      </a:lnTo>
                      <a:lnTo>
                        <a:pt x="113" y="81"/>
                      </a:lnTo>
                      <a:lnTo>
                        <a:pt x="114" y="80"/>
                      </a:lnTo>
                      <a:lnTo>
                        <a:pt x="121" y="79"/>
                      </a:lnTo>
                      <a:lnTo>
                        <a:pt x="126" y="75"/>
                      </a:lnTo>
                      <a:lnTo>
                        <a:pt x="128" y="72"/>
                      </a:lnTo>
                      <a:lnTo>
                        <a:pt x="131" y="66"/>
                      </a:lnTo>
                      <a:lnTo>
                        <a:pt x="132" y="65"/>
                      </a:lnTo>
                      <a:lnTo>
                        <a:pt x="133" y="65"/>
                      </a:lnTo>
                      <a:lnTo>
                        <a:pt x="136" y="65"/>
                      </a:lnTo>
                      <a:lnTo>
                        <a:pt x="137" y="66"/>
                      </a:lnTo>
                      <a:lnTo>
                        <a:pt x="139" y="67"/>
                      </a:lnTo>
                      <a:lnTo>
                        <a:pt x="139" y="70"/>
                      </a:lnTo>
                      <a:lnTo>
                        <a:pt x="136" y="74"/>
                      </a:lnTo>
                      <a:lnTo>
                        <a:pt x="135" y="76"/>
                      </a:lnTo>
                      <a:lnTo>
                        <a:pt x="135" y="78"/>
                      </a:lnTo>
                      <a:lnTo>
                        <a:pt x="136" y="81"/>
                      </a:lnTo>
                      <a:lnTo>
                        <a:pt x="140" y="83"/>
                      </a:lnTo>
                      <a:lnTo>
                        <a:pt x="144" y="85"/>
                      </a:lnTo>
                      <a:lnTo>
                        <a:pt x="147" y="85"/>
                      </a:lnTo>
                      <a:lnTo>
                        <a:pt x="147" y="87"/>
                      </a:lnTo>
                      <a:lnTo>
                        <a:pt x="149" y="87"/>
                      </a:lnTo>
                      <a:lnTo>
                        <a:pt x="151" y="87"/>
                      </a:lnTo>
                      <a:lnTo>
                        <a:pt x="150" y="87"/>
                      </a:lnTo>
                      <a:lnTo>
                        <a:pt x="154" y="87"/>
                      </a:lnTo>
                      <a:lnTo>
                        <a:pt x="158" y="86"/>
                      </a:lnTo>
                      <a:lnTo>
                        <a:pt x="160" y="85"/>
                      </a:lnTo>
                      <a:lnTo>
                        <a:pt x="164" y="86"/>
                      </a:lnTo>
                      <a:lnTo>
                        <a:pt x="173" y="87"/>
                      </a:lnTo>
                      <a:lnTo>
                        <a:pt x="188" y="87"/>
                      </a:lnTo>
                      <a:lnTo>
                        <a:pt x="203" y="89"/>
                      </a:lnTo>
                      <a:lnTo>
                        <a:pt x="206" y="89"/>
                      </a:lnTo>
                      <a:lnTo>
                        <a:pt x="210" y="88"/>
                      </a:lnTo>
                      <a:lnTo>
                        <a:pt x="216" y="86"/>
                      </a:lnTo>
                      <a:lnTo>
                        <a:pt x="220" y="85"/>
                      </a:lnTo>
                      <a:lnTo>
                        <a:pt x="224" y="86"/>
                      </a:lnTo>
                      <a:lnTo>
                        <a:pt x="226" y="86"/>
                      </a:lnTo>
                      <a:lnTo>
                        <a:pt x="230" y="85"/>
                      </a:lnTo>
                      <a:lnTo>
                        <a:pt x="231" y="83"/>
                      </a:lnTo>
                      <a:lnTo>
                        <a:pt x="233" y="81"/>
                      </a:lnTo>
                      <a:lnTo>
                        <a:pt x="233" y="78"/>
                      </a:lnTo>
                      <a:lnTo>
                        <a:pt x="234" y="73"/>
                      </a:lnTo>
                      <a:lnTo>
                        <a:pt x="235" y="72"/>
                      </a:lnTo>
                      <a:lnTo>
                        <a:pt x="238" y="72"/>
                      </a:lnTo>
                      <a:lnTo>
                        <a:pt x="239" y="73"/>
                      </a:lnTo>
                      <a:lnTo>
                        <a:pt x="240" y="75"/>
                      </a:lnTo>
                      <a:lnTo>
                        <a:pt x="241" y="82"/>
                      </a:lnTo>
                      <a:lnTo>
                        <a:pt x="243" y="83"/>
                      </a:lnTo>
                      <a:lnTo>
                        <a:pt x="245" y="85"/>
                      </a:lnTo>
                      <a:lnTo>
                        <a:pt x="250" y="87"/>
                      </a:lnTo>
                      <a:lnTo>
                        <a:pt x="263" y="88"/>
                      </a:lnTo>
                      <a:lnTo>
                        <a:pt x="266" y="88"/>
                      </a:lnTo>
                      <a:lnTo>
                        <a:pt x="268" y="87"/>
                      </a:lnTo>
                      <a:lnTo>
                        <a:pt x="271" y="86"/>
                      </a:lnTo>
                      <a:lnTo>
                        <a:pt x="273" y="83"/>
                      </a:lnTo>
                      <a:lnTo>
                        <a:pt x="274" y="78"/>
                      </a:lnTo>
                      <a:lnTo>
                        <a:pt x="277" y="72"/>
                      </a:lnTo>
                      <a:lnTo>
                        <a:pt x="278" y="69"/>
                      </a:lnTo>
                      <a:lnTo>
                        <a:pt x="281" y="68"/>
                      </a:lnTo>
                      <a:lnTo>
                        <a:pt x="283" y="67"/>
                      </a:lnTo>
                      <a:lnTo>
                        <a:pt x="287" y="66"/>
                      </a:lnTo>
                      <a:lnTo>
                        <a:pt x="290" y="66"/>
                      </a:lnTo>
                      <a:lnTo>
                        <a:pt x="290" y="63"/>
                      </a:lnTo>
                      <a:lnTo>
                        <a:pt x="290" y="61"/>
                      </a:lnTo>
                      <a:lnTo>
                        <a:pt x="288" y="59"/>
                      </a:lnTo>
                      <a:lnTo>
                        <a:pt x="287" y="56"/>
                      </a:lnTo>
                      <a:lnTo>
                        <a:pt x="286" y="54"/>
                      </a:lnTo>
                      <a:lnTo>
                        <a:pt x="285" y="50"/>
                      </a:lnTo>
                      <a:lnTo>
                        <a:pt x="283" y="48"/>
                      </a:lnTo>
                      <a:lnTo>
                        <a:pt x="279" y="48"/>
                      </a:lnTo>
                      <a:lnTo>
                        <a:pt x="276" y="49"/>
                      </a:lnTo>
                      <a:lnTo>
                        <a:pt x="268" y="47"/>
                      </a:lnTo>
                      <a:lnTo>
                        <a:pt x="258" y="46"/>
                      </a:lnTo>
                      <a:lnTo>
                        <a:pt x="248" y="44"/>
                      </a:lnTo>
                      <a:lnTo>
                        <a:pt x="236" y="46"/>
                      </a:lnTo>
                      <a:lnTo>
                        <a:pt x="216" y="48"/>
                      </a:lnTo>
                      <a:lnTo>
                        <a:pt x="199" y="53"/>
                      </a:lnTo>
                      <a:lnTo>
                        <a:pt x="197" y="55"/>
                      </a:lnTo>
                      <a:lnTo>
                        <a:pt x="194" y="59"/>
                      </a:lnTo>
                      <a:lnTo>
                        <a:pt x="193" y="60"/>
                      </a:lnTo>
                      <a:lnTo>
                        <a:pt x="191" y="61"/>
                      </a:lnTo>
                      <a:lnTo>
                        <a:pt x="187" y="61"/>
                      </a:lnTo>
                      <a:lnTo>
                        <a:pt x="183" y="61"/>
                      </a:lnTo>
                      <a:lnTo>
                        <a:pt x="180" y="59"/>
                      </a:lnTo>
                      <a:lnTo>
                        <a:pt x="178" y="57"/>
                      </a:lnTo>
                      <a:lnTo>
                        <a:pt x="175" y="55"/>
                      </a:lnTo>
                      <a:lnTo>
                        <a:pt x="172" y="54"/>
                      </a:lnTo>
                      <a:lnTo>
                        <a:pt x="169" y="53"/>
                      </a:lnTo>
                      <a:lnTo>
                        <a:pt x="166" y="51"/>
                      </a:lnTo>
                      <a:lnTo>
                        <a:pt x="165" y="51"/>
                      </a:lnTo>
                      <a:lnTo>
                        <a:pt x="161" y="54"/>
                      </a:lnTo>
                      <a:lnTo>
                        <a:pt x="159" y="55"/>
                      </a:lnTo>
                      <a:lnTo>
                        <a:pt x="156" y="54"/>
                      </a:lnTo>
                      <a:lnTo>
                        <a:pt x="153" y="54"/>
                      </a:lnTo>
                      <a:lnTo>
                        <a:pt x="147" y="50"/>
                      </a:lnTo>
                      <a:lnTo>
                        <a:pt x="141" y="47"/>
                      </a:lnTo>
                      <a:lnTo>
                        <a:pt x="140" y="47"/>
                      </a:lnTo>
                      <a:lnTo>
                        <a:pt x="137" y="48"/>
                      </a:lnTo>
                      <a:lnTo>
                        <a:pt x="136" y="48"/>
                      </a:lnTo>
                      <a:lnTo>
                        <a:pt x="133" y="48"/>
                      </a:lnTo>
                      <a:lnTo>
                        <a:pt x="128" y="46"/>
                      </a:lnTo>
                      <a:lnTo>
                        <a:pt x="125" y="42"/>
                      </a:lnTo>
                      <a:lnTo>
                        <a:pt x="118" y="41"/>
                      </a:lnTo>
                      <a:lnTo>
                        <a:pt x="112" y="40"/>
                      </a:lnTo>
                      <a:lnTo>
                        <a:pt x="107" y="38"/>
                      </a:lnTo>
                      <a:lnTo>
                        <a:pt x="106" y="36"/>
                      </a:lnTo>
                      <a:lnTo>
                        <a:pt x="104" y="35"/>
                      </a:lnTo>
                      <a:lnTo>
                        <a:pt x="104" y="32"/>
                      </a:lnTo>
                      <a:lnTo>
                        <a:pt x="108" y="31"/>
                      </a:lnTo>
                      <a:lnTo>
                        <a:pt x="112" y="31"/>
                      </a:lnTo>
                      <a:lnTo>
                        <a:pt x="116" y="30"/>
                      </a:lnTo>
                      <a:lnTo>
                        <a:pt x="117" y="29"/>
                      </a:lnTo>
                      <a:lnTo>
                        <a:pt x="117" y="27"/>
                      </a:lnTo>
                      <a:lnTo>
                        <a:pt x="114" y="25"/>
                      </a:lnTo>
                      <a:lnTo>
                        <a:pt x="112" y="24"/>
                      </a:lnTo>
                      <a:lnTo>
                        <a:pt x="109" y="24"/>
                      </a:lnTo>
                      <a:lnTo>
                        <a:pt x="107" y="23"/>
                      </a:lnTo>
                      <a:lnTo>
                        <a:pt x="106" y="21"/>
                      </a:lnTo>
                      <a:lnTo>
                        <a:pt x="104" y="17"/>
                      </a:lnTo>
                      <a:lnTo>
                        <a:pt x="104" y="14"/>
                      </a:lnTo>
                      <a:lnTo>
                        <a:pt x="102" y="11"/>
                      </a:lnTo>
                      <a:lnTo>
                        <a:pt x="100" y="10"/>
                      </a:lnTo>
                      <a:lnTo>
                        <a:pt x="98" y="11"/>
                      </a:lnTo>
                      <a:lnTo>
                        <a:pt x="94" y="12"/>
                      </a:lnTo>
                      <a:lnTo>
                        <a:pt x="89" y="12"/>
                      </a:lnTo>
                      <a:lnTo>
                        <a:pt x="83" y="12"/>
                      </a:lnTo>
                      <a:lnTo>
                        <a:pt x="76" y="14"/>
                      </a:lnTo>
                      <a:lnTo>
                        <a:pt x="73" y="16"/>
                      </a:lnTo>
                      <a:lnTo>
                        <a:pt x="69" y="17"/>
                      </a:lnTo>
                      <a:lnTo>
                        <a:pt x="66" y="18"/>
                      </a:lnTo>
                      <a:lnTo>
                        <a:pt x="65" y="17"/>
                      </a:lnTo>
                      <a:lnTo>
                        <a:pt x="61" y="14"/>
                      </a:lnTo>
                      <a:lnTo>
                        <a:pt x="59" y="10"/>
                      </a:lnTo>
                      <a:lnTo>
                        <a:pt x="56" y="9"/>
                      </a:lnTo>
                      <a:lnTo>
                        <a:pt x="55" y="8"/>
                      </a:lnTo>
                      <a:lnTo>
                        <a:pt x="37" y="5"/>
                      </a:lnTo>
                      <a:lnTo>
                        <a:pt x="20" y="2"/>
                      </a:lnTo>
                      <a:lnTo>
                        <a:pt x="15" y="0"/>
                      </a:lnTo>
                      <a:lnTo>
                        <a:pt x="10" y="2"/>
                      </a:lnTo>
                      <a:lnTo>
                        <a:pt x="5" y="3"/>
                      </a:lnTo>
                      <a:lnTo>
                        <a:pt x="1" y="6"/>
                      </a:lnTo>
                      <a:lnTo>
                        <a:pt x="0" y="10"/>
                      </a:lnTo>
                      <a:lnTo>
                        <a:pt x="1" y="14"/>
                      </a:lnTo>
                      <a:lnTo>
                        <a:pt x="3" y="17"/>
                      </a:lnTo>
                      <a:lnTo>
                        <a:pt x="5" y="19"/>
                      </a:lnTo>
                      <a:lnTo>
                        <a:pt x="8" y="21"/>
                      </a:lnTo>
                      <a:lnTo>
                        <a:pt x="10" y="21"/>
                      </a:lnTo>
                      <a:lnTo>
                        <a:pt x="13" y="22"/>
                      </a:lnTo>
                      <a:lnTo>
                        <a:pt x="15" y="22"/>
                      </a:lnTo>
                      <a:lnTo>
                        <a:pt x="22" y="28"/>
                      </a:lnTo>
                      <a:lnTo>
                        <a:pt x="31" y="32"/>
                      </a:lnTo>
                      <a:lnTo>
                        <a:pt x="39" y="34"/>
                      </a:lnTo>
                      <a:lnTo>
                        <a:pt x="48" y="32"/>
                      </a:lnTo>
                      <a:lnTo>
                        <a:pt x="51" y="31"/>
                      </a:lnTo>
                      <a:lnTo>
                        <a:pt x="52" y="29"/>
                      </a:lnTo>
                      <a:lnTo>
                        <a:pt x="55" y="27"/>
                      </a:lnTo>
                      <a:lnTo>
                        <a:pt x="56" y="25"/>
                      </a:lnTo>
                      <a:lnTo>
                        <a:pt x="59" y="25"/>
                      </a:lnTo>
                      <a:lnTo>
                        <a:pt x="61" y="27"/>
                      </a:lnTo>
                      <a:lnTo>
                        <a:pt x="64" y="27"/>
                      </a:lnTo>
                      <a:lnTo>
                        <a:pt x="66" y="27"/>
                      </a:lnTo>
                      <a:lnTo>
                        <a:pt x="66" y="28"/>
                      </a:lnTo>
                      <a:lnTo>
                        <a:pt x="70" y="34"/>
                      </a:lnTo>
                      <a:lnTo>
                        <a:pt x="75" y="38"/>
                      </a:lnTo>
                      <a:lnTo>
                        <a:pt x="76" y="40"/>
                      </a:lnTo>
                      <a:lnTo>
                        <a:pt x="76" y="4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4" name="Freeform 948"/>
                <p:cNvSpPr>
                  <a:spLocks/>
                </p:cNvSpPr>
                <p:nvPr/>
              </p:nvSpPr>
              <p:spPr bwMode="auto">
                <a:xfrm>
                  <a:off x="2200092" y="1982709"/>
                  <a:ext cx="115430" cy="96192"/>
                </a:xfrm>
                <a:custGeom>
                  <a:avLst/>
                  <a:gdLst>
                    <a:gd name="T0" fmla="*/ 2147483647 w 84"/>
                    <a:gd name="T1" fmla="*/ 2147483647 h 65"/>
                    <a:gd name="T2" fmla="*/ 2147483647 w 84"/>
                    <a:gd name="T3" fmla="*/ 2147483647 h 65"/>
                    <a:gd name="T4" fmla="*/ 2147483647 w 84"/>
                    <a:gd name="T5" fmla="*/ 2147483647 h 65"/>
                    <a:gd name="T6" fmla="*/ 2147483647 w 84"/>
                    <a:gd name="T7" fmla="*/ 2147483647 h 65"/>
                    <a:gd name="T8" fmla="*/ 2147483647 w 84"/>
                    <a:gd name="T9" fmla="*/ 2147483647 h 65"/>
                    <a:gd name="T10" fmla="*/ 2147483647 w 84"/>
                    <a:gd name="T11" fmla="*/ 2147483647 h 65"/>
                    <a:gd name="T12" fmla="*/ 2147483647 w 84"/>
                    <a:gd name="T13" fmla="*/ 2147483647 h 65"/>
                    <a:gd name="T14" fmla="*/ 2147483647 w 84"/>
                    <a:gd name="T15" fmla="*/ 2147483647 h 65"/>
                    <a:gd name="T16" fmla="*/ 2147483647 w 84"/>
                    <a:gd name="T17" fmla="*/ 2147483647 h 65"/>
                    <a:gd name="T18" fmla="*/ 2147483647 w 84"/>
                    <a:gd name="T19" fmla="*/ 2147483647 h 65"/>
                    <a:gd name="T20" fmla="*/ 2147483647 w 84"/>
                    <a:gd name="T21" fmla="*/ 2147483647 h 65"/>
                    <a:gd name="T22" fmla="*/ 2147483647 w 84"/>
                    <a:gd name="T23" fmla="*/ 2147483647 h 65"/>
                    <a:gd name="T24" fmla="*/ 2147483647 w 84"/>
                    <a:gd name="T25" fmla="*/ 0 h 65"/>
                    <a:gd name="T26" fmla="*/ 2147483647 w 84"/>
                    <a:gd name="T27" fmla="*/ 0 h 65"/>
                    <a:gd name="T28" fmla="*/ 2147483647 w 84"/>
                    <a:gd name="T29" fmla="*/ 2147483647 h 65"/>
                    <a:gd name="T30" fmla="*/ 2147483647 w 84"/>
                    <a:gd name="T31" fmla="*/ 2147483647 h 65"/>
                    <a:gd name="T32" fmla="*/ 2147483647 w 84"/>
                    <a:gd name="T33" fmla="*/ 2147483647 h 65"/>
                    <a:gd name="T34" fmla="*/ 2147483647 w 84"/>
                    <a:gd name="T35" fmla="*/ 2147483647 h 65"/>
                    <a:gd name="T36" fmla="*/ 2147483647 w 84"/>
                    <a:gd name="T37" fmla="*/ 2147483647 h 65"/>
                    <a:gd name="T38" fmla="*/ 2147483647 w 84"/>
                    <a:gd name="T39" fmla="*/ 2147483647 h 65"/>
                    <a:gd name="T40" fmla="*/ 2147483647 w 84"/>
                    <a:gd name="T41" fmla="*/ 2147483647 h 65"/>
                    <a:gd name="T42" fmla="*/ 2147483647 w 84"/>
                    <a:gd name="T43" fmla="*/ 2147483647 h 65"/>
                    <a:gd name="T44" fmla="*/ 2147483647 w 84"/>
                    <a:gd name="T45" fmla="*/ 2147483647 h 65"/>
                    <a:gd name="T46" fmla="*/ 2147483647 w 84"/>
                    <a:gd name="T47" fmla="*/ 2147483647 h 65"/>
                    <a:gd name="T48" fmla="*/ 2147483647 w 84"/>
                    <a:gd name="T49" fmla="*/ 2147483647 h 65"/>
                    <a:gd name="T50" fmla="*/ 2147483647 w 84"/>
                    <a:gd name="T51" fmla="*/ 2147483647 h 65"/>
                    <a:gd name="T52" fmla="*/ 2147483647 w 84"/>
                    <a:gd name="T53" fmla="*/ 2147483647 h 65"/>
                    <a:gd name="T54" fmla="*/ 2147483647 w 84"/>
                    <a:gd name="T55" fmla="*/ 2147483647 h 65"/>
                    <a:gd name="T56" fmla="*/ 2147483647 w 84"/>
                    <a:gd name="T57" fmla="*/ 2147483647 h 65"/>
                    <a:gd name="T58" fmla="*/ 2147483647 w 84"/>
                    <a:gd name="T59" fmla="*/ 2147483647 h 65"/>
                    <a:gd name="T60" fmla="*/ 2147483647 w 84"/>
                    <a:gd name="T61" fmla="*/ 2147483647 h 65"/>
                    <a:gd name="T62" fmla="*/ 2147483647 w 84"/>
                    <a:gd name="T63" fmla="*/ 2147483647 h 65"/>
                    <a:gd name="T64" fmla="*/ 2147483647 w 84"/>
                    <a:gd name="T65" fmla="*/ 2147483647 h 65"/>
                    <a:gd name="T66" fmla="*/ 0 w 84"/>
                    <a:gd name="T67" fmla="*/ 2147483647 h 65"/>
                    <a:gd name="T68" fmla="*/ 2147483647 w 84"/>
                    <a:gd name="T69" fmla="*/ 2147483647 h 65"/>
                    <a:gd name="T70" fmla="*/ 2147483647 w 84"/>
                    <a:gd name="T71" fmla="*/ 2147483647 h 65"/>
                    <a:gd name="T72" fmla="*/ 2147483647 w 84"/>
                    <a:gd name="T73" fmla="*/ 2147483647 h 65"/>
                    <a:gd name="T74" fmla="*/ 2147483647 w 84"/>
                    <a:gd name="T75" fmla="*/ 2147483647 h 65"/>
                    <a:gd name="T76" fmla="*/ 2147483647 w 84"/>
                    <a:gd name="T77" fmla="*/ 2147483647 h 65"/>
                    <a:gd name="T78" fmla="*/ 2147483647 w 84"/>
                    <a:gd name="T79" fmla="*/ 2147483647 h 65"/>
                    <a:gd name="T80" fmla="*/ 2147483647 w 84"/>
                    <a:gd name="T81" fmla="*/ 2147483647 h 65"/>
                    <a:gd name="T82" fmla="*/ 2147483647 w 84"/>
                    <a:gd name="T83" fmla="*/ 2147483647 h 65"/>
                    <a:gd name="T84" fmla="*/ 2147483647 w 84"/>
                    <a:gd name="T85" fmla="*/ 2147483647 h 65"/>
                    <a:gd name="T86" fmla="*/ 2147483647 w 84"/>
                    <a:gd name="T87" fmla="*/ 2147483647 h 65"/>
                    <a:gd name="T88" fmla="*/ 2147483647 w 84"/>
                    <a:gd name="T89" fmla="*/ 2147483647 h 65"/>
                    <a:gd name="T90" fmla="*/ 2147483647 w 84"/>
                    <a:gd name="T91" fmla="*/ 2147483647 h 65"/>
                    <a:gd name="T92" fmla="*/ 2147483647 w 84"/>
                    <a:gd name="T93" fmla="*/ 2147483647 h 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4"/>
                    <a:gd name="T142" fmla="*/ 0 h 65"/>
                    <a:gd name="T143" fmla="*/ 84 w 84"/>
                    <a:gd name="T144" fmla="*/ 65 h 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4" h="65">
                      <a:moveTo>
                        <a:pt x="78" y="53"/>
                      </a:moveTo>
                      <a:lnTo>
                        <a:pt x="81" y="50"/>
                      </a:lnTo>
                      <a:lnTo>
                        <a:pt x="83" y="47"/>
                      </a:lnTo>
                      <a:lnTo>
                        <a:pt x="83" y="46"/>
                      </a:lnTo>
                      <a:lnTo>
                        <a:pt x="80" y="41"/>
                      </a:lnTo>
                      <a:lnTo>
                        <a:pt x="80" y="37"/>
                      </a:lnTo>
                      <a:lnTo>
                        <a:pt x="81" y="32"/>
                      </a:lnTo>
                      <a:lnTo>
                        <a:pt x="84" y="28"/>
                      </a:lnTo>
                      <a:lnTo>
                        <a:pt x="84" y="26"/>
                      </a:lnTo>
                      <a:lnTo>
                        <a:pt x="84" y="24"/>
                      </a:lnTo>
                      <a:lnTo>
                        <a:pt x="81" y="20"/>
                      </a:lnTo>
                      <a:lnTo>
                        <a:pt x="81" y="16"/>
                      </a:lnTo>
                      <a:lnTo>
                        <a:pt x="81" y="14"/>
                      </a:lnTo>
                      <a:lnTo>
                        <a:pt x="83" y="12"/>
                      </a:lnTo>
                      <a:lnTo>
                        <a:pt x="81" y="9"/>
                      </a:lnTo>
                      <a:lnTo>
                        <a:pt x="80" y="7"/>
                      </a:lnTo>
                      <a:lnTo>
                        <a:pt x="78" y="6"/>
                      </a:lnTo>
                      <a:lnTo>
                        <a:pt x="73" y="6"/>
                      </a:lnTo>
                      <a:lnTo>
                        <a:pt x="67" y="7"/>
                      </a:lnTo>
                      <a:lnTo>
                        <a:pt x="62" y="9"/>
                      </a:lnTo>
                      <a:lnTo>
                        <a:pt x="60" y="9"/>
                      </a:lnTo>
                      <a:lnTo>
                        <a:pt x="59" y="8"/>
                      </a:lnTo>
                      <a:lnTo>
                        <a:pt x="52" y="6"/>
                      </a:lnTo>
                      <a:lnTo>
                        <a:pt x="47" y="2"/>
                      </a:lnTo>
                      <a:lnTo>
                        <a:pt x="42" y="0"/>
                      </a:lnTo>
                      <a:lnTo>
                        <a:pt x="40" y="0"/>
                      </a:lnTo>
                      <a:lnTo>
                        <a:pt x="37" y="0"/>
                      </a:lnTo>
                      <a:lnTo>
                        <a:pt x="34" y="0"/>
                      </a:lnTo>
                      <a:lnTo>
                        <a:pt x="33" y="2"/>
                      </a:lnTo>
                      <a:lnTo>
                        <a:pt x="33" y="3"/>
                      </a:lnTo>
                      <a:lnTo>
                        <a:pt x="33" y="6"/>
                      </a:lnTo>
                      <a:lnTo>
                        <a:pt x="34" y="8"/>
                      </a:lnTo>
                      <a:lnTo>
                        <a:pt x="37" y="9"/>
                      </a:lnTo>
                      <a:lnTo>
                        <a:pt x="38" y="11"/>
                      </a:lnTo>
                      <a:lnTo>
                        <a:pt x="38" y="13"/>
                      </a:lnTo>
                      <a:lnTo>
                        <a:pt x="37" y="16"/>
                      </a:lnTo>
                      <a:lnTo>
                        <a:pt x="37" y="18"/>
                      </a:lnTo>
                      <a:lnTo>
                        <a:pt x="37" y="20"/>
                      </a:lnTo>
                      <a:lnTo>
                        <a:pt x="40" y="21"/>
                      </a:lnTo>
                      <a:lnTo>
                        <a:pt x="41" y="22"/>
                      </a:lnTo>
                      <a:lnTo>
                        <a:pt x="45" y="24"/>
                      </a:lnTo>
                      <a:lnTo>
                        <a:pt x="46" y="25"/>
                      </a:lnTo>
                      <a:lnTo>
                        <a:pt x="46" y="27"/>
                      </a:lnTo>
                      <a:lnTo>
                        <a:pt x="45" y="28"/>
                      </a:lnTo>
                      <a:lnTo>
                        <a:pt x="43" y="28"/>
                      </a:lnTo>
                      <a:lnTo>
                        <a:pt x="41" y="28"/>
                      </a:lnTo>
                      <a:lnTo>
                        <a:pt x="38" y="27"/>
                      </a:lnTo>
                      <a:lnTo>
                        <a:pt x="34" y="25"/>
                      </a:lnTo>
                      <a:lnTo>
                        <a:pt x="28" y="15"/>
                      </a:lnTo>
                      <a:lnTo>
                        <a:pt x="26" y="13"/>
                      </a:lnTo>
                      <a:lnTo>
                        <a:pt x="24" y="12"/>
                      </a:lnTo>
                      <a:lnTo>
                        <a:pt x="22" y="12"/>
                      </a:lnTo>
                      <a:lnTo>
                        <a:pt x="19" y="13"/>
                      </a:lnTo>
                      <a:lnTo>
                        <a:pt x="17" y="15"/>
                      </a:lnTo>
                      <a:lnTo>
                        <a:pt x="14" y="19"/>
                      </a:lnTo>
                      <a:lnTo>
                        <a:pt x="13" y="21"/>
                      </a:lnTo>
                      <a:lnTo>
                        <a:pt x="13" y="24"/>
                      </a:lnTo>
                      <a:lnTo>
                        <a:pt x="14" y="28"/>
                      </a:lnTo>
                      <a:lnTo>
                        <a:pt x="15" y="33"/>
                      </a:lnTo>
                      <a:lnTo>
                        <a:pt x="15" y="34"/>
                      </a:lnTo>
                      <a:lnTo>
                        <a:pt x="15" y="37"/>
                      </a:lnTo>
                      <a:lnTo>
                        <a:pt x="14" y="38"/>
                      </a:lnTo>
                      <a:lnTo>
                        <a:pt x="13" y="39"/>
                      </a:lnTo>
                      <a:lnTo>
                        <a:pt x="9" y="40"/>
                      </a:lnTo>
                      <a:lnTo>
                        <a:pt x="5" y="40"/>
                      </a:lnTo>
                      <a:lnTo>
                        <a:pt x="4" y="41"/>
                      </a:lnTo>
                      <a:lnTo>
                        <a:pt x="1" y="43"/>
                      </a:lnTo>
                      <a:lnTo>
                        <a:pt x="0" y="46"/>
                      </a:lnTo>
                      <a:lnTo>
                        <a:pt x="0" y="48"/>
                      </a:lnTo>
                      <a:lnTo>
                        <a:pt x="3" y="50"/>
                      </a:lnTo>
                      <a:lnTo>
                        <a:pt x="4" y="51"/>
                      </a:lnTo>
                      <a:lnTo>
                        <a:pt x="5" y="50"/>
                      </a:lnTo>
                      <a:lnTo>
                        <a:pt x="9" y="47"/>
                      </a:lnTo>
                      <a:lnTo>
                        <a:pt x="14" y="47"/>
                      </a:lnTo>
                      <a:lnTo>
                        <a:pt x="18" y="47"/>
                      </a:lnTo>
                      <a:lnTo>
                        <a:pt x="23" y="50"/>
                      </a:lnTo>
                      <a:lnTo>
                        <a:pt x="27" y="50"/>
                      </a:lnTo>
                      <a:lnTo>
                        <a:pt x="29" y="50"/>
                      </a:lnTo>
                      <a:lnTo>
                        <a:pt x="34" y="47"/>
                      </a:lnTo>
                      <a:lnTo>
                        <a:pt x="37" y="46"/>
                      </a:lnTo>
                      <a:lnTo>
                        <a:pt x="40" y="47"/>
                      </a:lnTo>
                      <a:lnTo>
                        <a:pt x="42" y="51"/>
                      </a:lnTo>
                      <a:lnTo>
                        <a:pt x="45" y="54"/>
                      </a:lnTo>
                      <a:lnTo>
                        <a:pt x="45" y="58"/>
                      </a:lnTo>
                      <a:lnTo>
                        <a:pt x="43" y="63"/>
                      </a:lnTo>
                      <a:lnTo>
                        <a:pt x="45" y="64"/>
                      </a:lnTo>
                      <a:lnTo>
                        <a:pt x="46" y="65"/>
                      </a:lnTo>
                      <a:lnTo>
                        <a:pt x="62" y="64"/>
                      </a:lnTo>
                      <a:lnTo>
                        <a:pt x="79" y="64"/>
                      </a:lnTo>
                      <a:lnTo>
                        <a:pt x="80" y="63"/>
                      </a:lnTo>
                      <a:lnTo>
                        <a:pt x="80" y="62"/>
                      </a:lnTo>
                      <a:lnTo>
                        <a:pt x="80" y="59"/>
                      </a:lnTo>
                      <a:lnTo>
                        <a:pt x="79" y="57"/>
                      </a:lnTo>
                      <a:lnTo>
                        <a:pt x="78" y="56"/>
                      </a:lnTo>
                      <a:lnTo>
                        <a:pt x="78" y="5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5" name="Freeform 949"/>
                <p:cNvSpPr>
                  <a:spLocks/>
                </p:cNvSpPr>
                <p:nvPr/>
              </p:nvSpPr>
              <p:spPr bwMode="auto">
                <a:xfrm>
                  <a:off x="2346599" y="1976793"/>
                  <a:ext cx="395126" cy="131708"/>
                </a:xfrm>
                <a:custGeom>
                  <a:avLst/>
                  <a:gdLst>
                    <a:gd name="T0" fmla="*/ 2147483647 w 289"/>
                    <a:gd name="T1" fmla="*/ 2147483647 h 89"/>
                    <a:gd name="T2" fmla="*/ 2147483647 w 289"/>
                    <a:gd name="T3" fmla="*/ 2147483647 h 89"/>
                    <a:gd name="T4" fmla="*/ 2147483647 w 289"/>
                    <a:gd name="T5" fmla="*/ 2147483647 h 89"/>
                    <a:gd name="T6" fmla="*/ 2147483647 w 289"/>
                    <a:gd name="T7" fmla="*/ 2147483647 h 89"/>
                    <a:gd name="T8" fmla="*/ 2147483647 w 289"/>
                    <a:gd name="T9" fmla="*/ 2147483647 h 89"/>
                    <a:gd name="T10" fmla="*/ 2147483647 w 289"/>
                    <a:gd name="T11" fmla="*/ 2147483647 h 89"/>
                    <a:gd name="T12" fmla="*/ 2147483647 w 289"/>
                    <a:gd name="T13" fmla="*/ 2147483647 h 89"/>
                    <a:gd name="T14" fmla="*/ 2147483647 w 289"/>
                    <a:gd name="T15" fmla="*/ 2147483647 h 89"/>
                    <a:gd name="T16" fmla="*/ 2147483647 w 289"/>
                    <a:gd name="T17" fmla="*/ 2147483647 h 89"/>
                    <a:gd name="T18" fmla="*/ 2147483647 w 289"/>
                    <a:gd name="T19" fmla="*/ 2147483647 h 89"/>
                    <a:gd name="T20" fmla="*/ 2147483647 w 289"/>
                    <a:gd name="T21" fmla="*/ 2147483647 h 89"/>
                    <a:gd name="T22" fmla="*/ 2147483647 w 289"/>
                    <a:gd name="T23" fmla="*/ 2147483647 h 89"/>
                    <a:gd name="T24" fmla="*/ 2147483647 w 289"/>
                    <a:gd name="T25" fmla="*/ 2147483647 h 89"/>
                    <a:gd name="T26" fmla="*/ 2147483647 w 289"/>
                    <a:gd name="T27" fmla="*/ 2147483647 h 89"/>
                    <a:gd name="T28" fmla="*/ 2147483647 w 289"/>
                    <a:gd name="T29" fmla="*/ 2147483647 h 89"/>
                    <a:gd name="T30" fmla="*/ 2147483647 w 289"/>
                    <a:gd name="T31" fmla="*/ 2147483647 h 89"/>
                    <a:gd name="T32" fmla="*/ 2147483647 w 289"/>
                    <a:gd name="T33" fmla="*/ 2147483647 h 89"/>
                    <a:gd name="T34" fmla="*/ 2147483647 w 289"/>
                    <a:gd name="T35" fmla="*/ 2147483647 h 89"/>
                    <a:gd name="T36" fmla="*/ 2147483647 w 289"/>
                    <a:gd name="T37" fmla="*/ 2147483647 h 89"/>
                    <a:gd name="T38" fmla="*/ 2147483647 w 289"/>
                    <a:gd name="T39" fmla="*/ 2147483647 h 89"/>
                    <a:gd name="T40" fmla="*/ 2147483647 w 289"/>
                    <a:gd name="T41" fmla="*/ 2147483647 h 89"/>
                    <a:gd name="T42" fmla="*/ 2147483647 w 289"/>
                    <a:gd name="T43" fmla="*/ 2147483647 h 89"/>
                    <a:gd name="T44" fmla="*/ 2147483647 w 289"/>
                    <a:gd name="T45" fmla="*/ 2147483647 h 89"/>
                    <a:gd name="T46" fmla="*/ 2147483647 w 289"/>
                    <a:gd name="T47" fmla="*/ 2147483647 h 89"/>
                    <a:gd name="T48" fmla="*/ 2147483647 w 289"/>
                    <a:gd name="T49" fmla="*/ 2147483647 h 89"/>
                    <a:gd name="T50" fmla="*/ 2147483647 w 289"/>
                    <a:gd name="T51" fmla="*/ 2147483647 h 89"/>
                    <a:gd name="T52" fmla="*/ 2147483647 w 289"/>
                    <a:gd name="T53" fmla="*/ 2147483647 h 89"/>
                    <a:gd name="T54" fmla="*/ 2147483647 w 289"/>
                    <a:gd name="T55" fmla="*/ 2147483647 h 89"/>
                    <a:gd name="T56" fmla="*/ 2147483647 w 289"/>
                    <a:gd name="T57" fmla="*/ 2147483647 h 89"/>
                    <a:gd name="T58" fmla="*/ 2147483647 w 289"/>
                    <a:gd name="T59" fmla="*/ 2147483647 h 89"/>
                    <a:gd name="T60" fmla="*/ 2147483647 w 289"/>
                    <a:gd name="T61" fmla="*/ 2147483647 h 89"/>
                    <a:gd name="T62" fmla="*/ 2147483647 w 289"/>
                    <a:gd name="T63" fmla="*/ 2147483647 h 89"/>
                    <a:gd name="T64" fmla="*/ 2147483647 w 289"/>
                    <a:gd name="T65" fmla="*/ 2147483647 h 89"/>
                    <a:gd name="T66" fmla="*/ 2147483647 w 289"/>
                    <a:gd name="T67" fmla="*/ 2147483647 h 89"/>
                    <a:gd name="T68" fmla="*/ 2147483647 w 289"/>
                    <a:gd name="T69" fmla="*/ 2147483647 h 89"/>
                    <a:gd name="T70" fmla="*/ 2147483647 w 289"/>
                    <a:gd name="T71" fmla="*/ 2147483647 h 89"/>
                    <a:gd name="T72" fmla="*/ 2147483647 w 289"/>
                    <a:gd name="T73" fmla="*/ 2147483647 h 89"/>
                    <a:gd name="T74" fmla="*/ 2147483647 w 289"/>
                    <a:gd name="T75" fmla="*/ 2147483647 h 89"/>
                    <a:gd name="T76" fmla="*/ 2147483647 w 289"/>
                    <a:gd name="T77" fmla="*/ 2147483647 h 89"/>
                    <a:gd name="T78" fmla="*/ 2147483647 w 289"/>
                    <a:gd name="T79" fmla="*/ 2147483647 h 89"/>
                    <a:gd name="T80" fmla="*/ 2147483647 w 289"/>
                    <a:gd name="T81" fmla="*/ 2147483647 h 89"/>
                    <a:gd name="T82" fmla="*/ 2147483647 w 289"/>
                    <a:gd name="T83" fmla="*/ 2147483647 h 89"/>
                    <a:gd name="T84" fmla="*/ 2147483647 w 289"/>
                    <a:gd name="T85" fmla="*/ 2147483647 h 89"/>
                    <a:gd name="T86" fmla="*/ 2147483647 w 289"/>
                    <a:gd name="T87" fmla="*/ 2147483647 h 89"/>
                    <a:gd name="T88" fmla="*/ 2147483647 w 289"/>
                    <a:gd name="T89" fmla="*/ 2147483647 h 89"/>
                    <a:gd name="T90" fmla="*/ 2147483647 w 289"/>
                    <a:gd name="T91" fmla="*/ 2147483647 h 89"/>
                    <a:gd name="T92" fmla="*/ 2147483647 w 289"/>
                    <a:gd name="T93" fmla="*/ 2147483647 h 89"/>
                    <a:gd name="T94" fmla="*/ 2147483647 w 289"/>
                    <a:gd name="T95" fmla="*/ 2147483647 h 89"/>
                    <a:gd name="T96" fmla="*/ 2147483647 w 289"/>
                    <a:gd name="T97" fmla="*/ 2147483647 h 89"/>
                    <a:gd name="T98" fmla="*/ 2147483647 w 289"/>
                    <a:gd name="T99" fmla="*/ 2147483647 h 89"/>
                    <a:gd name="T100" fmla="*/ 2147483647 w 289"/>
                    <a:gd name="T101" fmla="*/ 2147483647 h 89"/>
                    <a:gd name="T102" fmla="*/ 2147483647 w 289"/>
                    <a:gd name="T103" fmla="*/ 2147483647 h 89"/>
                    <a:gd name="T104" fmla="*/ 2147483647 w 289"/>
                    <a:gd name="T105" fmla="*/ 2147483647 h 89"/>
                    <a:gd name="T106" fmla="*/ 2147483647 w 289"/>
                    <a:gd name="T107" fmla="*/ 2147483647 h 89"/>
                    <a:gd name="T108" fmla="*/ 2147483647 w 289"/>
                    <a:gd name="T109" fmla="*/ 2147483647 h 89"/>
                    <a:gd name="T110" fmla="*/ 2147483647 w 289"/>
                    <a:gd name="T111" fmla="*/ 2147483647 h 89"/>
                    <a:gd name="T112" fmla="*/ 2147483647 w 289"/>
                    <a:gd name="T113" fmla="*/ 2147483647 h 89"/>
                    <a:gd name="T114" fmla="*/ 2147483647 w 289"/>
                    <a:gd name="T115" fmla="*/ 2147483647 h 89"/>
                    <a:gd name="T116" fmla="*/ 2147483647 w 289"/>
                    <a:gd name="T117" fmla="*/ 2147483647 h 89"/>
                    <a:gd name="T118" fmla="*/ 2147483647 w 289"/>
                    <a:gd name="T119" fmla="*/ 2147483647 h 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9"/>
                    <a:gd name="T181" fmla="*/ 0 h 89"/>
                    <a:gd name="T182" fmla="*/ 289 w 289"/>
                    <a:gd name="T183" fmla="*/ 89 h 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9" h="89">
                      <a:moveTo>
                        <a:pt x="76" y="41"/>
                      </a:moveTo>
                      <a:lnTo>
                        <a:pt x="76" y="41"/>
                      </a:lnTo>
                      <a:lnTo>
                        <a:pt x="76" y="42"/>
                      </a:lnTo>
                      <a:lnTo>
                        <a:pt x="77" y="43"/>
                      </a:lnTo>
                      <a:lnTo>
                        <a:pt x="79" y="45"/>
                      </a:lnTo>
                      <a:lnTo>
                        <a:pt x="79" y="47"/>
                      </a:lnTo>
                      <a:lnTo>
                        <a:pt x="79" y="54"/>
                      </a:lnTo>
                      <a:lnTo>
                        <a:pt x="79" y="56"/>
                      </a:lnTo>
                      <a:lnTo>
                        <a:pt x="80" y="58"/>
                      </a:lnTo>
                      <a:lnTo>
                        <a:pt x="84" y="61"/>
                      </a:lnTo>
                      <a:lnTo>
                        <a:pt x="85" y="64"/>
                      </a:lnTo>
                      <a:lnTo>
                        <a:pt x="85" y="70"/>
                      </a:lnTo>
                      <a:lnTo>
                        <a:pt x="85" y="74"/>
                      </a:lnTo>
                      <a:lnTo>
                        <a:pt x="86" y="77"/>
                      </a:lnTo>
                      <a:lnTo>
                        <a:pt x="89" y="79"/>
                      </a:lnTo>
                      <a:lnTo>
                        <a:pt x="93" y="80"/>
                      </a:lnTo>
                      <a:lnTo>
                        <a:pt x="99" y="77"/>
                      </a:lnTo>
                      <a:lnTo>
                        <a:pt x="101" y="79"/>
                      </a:lnTo>
                      <a:lnTo>
                        <a:pt x="104" y="80"/>
                      </a:lnTo>
                      <a:lnTo>
                        <a:pt x="108" y="82"/>
                      </a:lnTo>
                      <a:lnTo>
                        <a:pt x="110" y="82"/>
                      </a:lnTo>
                      <a:lnTo>
                        <a:pt x="113" y="81"/>
                      </a:lnTo>
                      <a:lnTo>
                        <a:pt x="114" y="80"/>
                      </a:lnTo>
                      <a:lnTo>
                        <a:pt x="120" y="79"/>
                      </a:lnTo>
                      <a:lnTo>
                        <a:pt x="126" y="75"/>
                      </a:lnTo>
                      <a:lnTo>
                        <a:pt x="128" y="71"/>
                      </a:lnTo>
                      <a:lnTo>
                        <a:pt x="131" y="66"/>
                      </a:lnTo>
                      <a:lnTo>
                        <a:pt x="132" y="64"/>
                      </a:lnTo>
                      <a:lnTo>
                        <a:pt x="133" y="64"/>
                      </a:lnTo>
                      <a:lnTo>
                        <a:pt x="136" y="64"/>
                      </a:lnTo>
                      <a:lnTo>
                        <a:pt x="137" y="66"/>
                      </a:lnTo>
                      <a:lnTo>
                        <a:pt x="138" y="67"/>
                      </a:lnTo>
                      <a:lnTo>
                        <a:pt x="138" y="70"/>
                      </a:lnTo>
                      <a:lnTo>
                        <a:pt x="136" y="74"/>
                      </a:lnTo>
                      <a:lnTo>
                        <a:pt x="134" y="76"/>
                      </a:lnTo>
                      <a:lnTo>
                        <a:pt x="134" y="77"/>
                      </a:lnTo>
                      <a:lnTo>
                        <a:pt x="136" y="81"/>
                      </a:lnTo>
                      <a:lnTo>
                        <a:pt x="140" y="83"/>
                      </a:lnTo>
                      <a:lnTo>
                        <a:pt x="143" y="84"/>
                      </a:lnTo>
                      <a:lnTo>
                        <a:pt x="147" y="84"/>
                      </a:lnTo>
                      <a:lnTo>
                        <a:pt x="147" y="87"/>
                      </a:lnTo>
                      <a:lnTo>
                        <a:pt x="148" y="87"/>
                      </a:lnTo>
                      <a:lnTo>
                        <a:pt x="151" y="87"/>
                      </a:lnTo>
                      <a:lnTo>
                        <a:pt x="150" y="87"/>
                      </a:lnTo>
                      <a:lnTo>
                        <a:pt x="154" y="87"/>
                      </a:lnTo>
                      <a:lnTo>
                        <a:pt x="157" y="86"/>
                      </a:lnTo>
                      <a:lnTo>
                        <a:pt x="160" y="84"/>
                      </a:lnTo>
                      <a:lnTo>
                        <a:pt x="164" y="86"/>
                      </a:lnTo>
                      <a:lnTo>
                        <a:pt x="173" y="87"/>
                      </a:lnTo>
                      <a:lnTo>
                        <a:pt x="188" y="87"/>
                      </a:lnTo>
                      <a:lnTo>
                        <a:pt x="203" y="89"/>
                      </a:lnTo>
                      <a:lnTo>
                        <a:pt x="206" y="89"/>
                      </a:lnTo>
                      <a:lnTo>
                        <a:pt x="209" y="88"/>
                      </a:lnTo>
                      <a:lnTo>
                        <a:pt x="216" y="86"/>
                      </a:lnTo>
                      <a:lnTo>
                        <a:pt x="220" y="84"/>
                      </a:lnTo>
                      <a:lnTo>
                        <a:pt x="223" y="86"/>
                      </a:lnTo>
                      <a:lnTo>
                        <a:pt x="226" y="86"/>
                      </a:lnTo>
                      <a:lnTo>
                        <a:pt x="230" y="84"/>
                      </a:lnTo>
                      <a:lnTo>
                        <a:pt x="231" y="83"/>
                      </a:lnTo>
                      <a:lnTo>
                        <a:pt x="232" y="81"/>
                      </a:lnTo>
                      <a:lnTo>
                        <a:pt x="232" y="77"/>
                      </a:lnTo>
                      <a:lnTo>
                        <a:pt x="234" y="73"/>
                      </a:lnTo>
                      <a:lnTo>
                        <a:pt x="235" y="71"/>
                      </a:lnTo>
                      <a:lnTo>
                        <a:pt x="237" y="71"/>
                      </a:lnTo>
                      <a:lnTo>
                        <a:pt x="239" y="73"/>
                      </a:lnTo>
                      <a:lnTo>
                        <a:pt x="240" y="75"/>
                      </a:lnTo>
                      <a:lnTo>
                        <a:pt x="241" y="82"/>
                      </a:lnTo>
                      <a:lnTo>
                        <a:pt x="242" y="83"/>
                      </a:lnTo>
                      <a:lnTo>
                        <a:pt x="245" y="84"/>
                      </a:lnTo>
                      <a:lnTo>
                        <a:pt x="250" y="87"/>
                      </a:lnTo>
                      <a:lnTo>
                        <a:pt x="263" y="88"/>
                      </a:lnTo>
                      <a:lnTo>
                        <a:pt x="265" y="88"/>
                      </a:lnTo>
                      <a:lnTo>
                        <a:pt x="268" y="87"/>
                      </a:lnTo>
                      <a:lnTo>
                        <a:pt x="270" y="86"/>
                      </a:lnTo>
                      <a:lnTo>
                        <a:pt x="273" y="83"/>
                      </a:lnTo>
                      <a:lnTo>
                        <a:pt x="274" y="77"/>
                      </a:lnTo>
                      <a:lnTo>
                        <a:pt x="277" y="71"/>
                      </a:lnTo>
                      <a:lnTo>
                        <a:pt x="278" y="69"/>
                      </a:lnTo>
                      <a:lnTo>
                        <a:pt x="280" y="68"/>
                      </a:lnTo>
                      <a:lnTo>
                        <a:pt x="283" y="67"/>
                      </a:lnTo>
                      <a:lnTo>
                        <a:pt x="287" y="66"/>
                      </a:lnTo>
                      <a:lnTo>
                        <a:pt x="289" y="66"/>
                      </a:lnTo>
                      <a:lnTo>
                        <a:pt x="289" y="63"/>
                      </a:lnTo>
                      <a:lnTo>
                        <a:pt x="289" y="61"/>
                      </a:lnTo>
                      <a:lnTo>
                        <a:pt x="288" y="58"/>
                      </a:lnTo>
                      <a:lnTo>
                        <a:pt x="287" y="56"/>
                      </a:lnTo>
                      <a:lnTo>
                        <a:pt x="286" y="54"/>
                      </a:lnTo>
                      <a:lnTo>
                        <a:pt x="284" y="50"/>
                      </a:lnTo>
                      <a:lnTo>
                        <a:pt x="283" y="48"/>
                      </a:lnTo>
                      <a:lnTo>
                        <a:pt x="279" y="48"/>
                      </a:lnTo>
                      <a:lnTo>
                        <a:pt x="275" y="49"/>
                      </a:lnTo>
                      <a:lnTo>
                        <a:pt x="268" y="47"/>
                      </a:lnTo>
                      <a:lnTo>
                        <a:pt x="258" y="45"/>
                      </a:lnTo>
                      <a:lnTo>
                        <a:pt x="247" y="44"/>
                      </a:lnTo>
                      <a:lnTo>
                        <a:pt x="236" y="45"/>
                      </a:lnTo>
                      <a:lnTo>
                        <a:pt x="216" y="48"/>
                      </a:lnTo>
                      <a:lnTo>
                        <a:pt x="199" y="52"/>
                      </a:lnTo>
                      <a:lnTo>
                        <a:pt x="197" y="55"/>
                      </a:lnTo>
                      <a:lnTo>
                        <a:pt x="194" y="58"/>
                      </a:lnTo>
                      <a:lnTo>
                        <a:pt x="193" y="60"/>
                      </a:lnTo>
                      <a:lnTo>
                        <a:pt x="190" y="61"/>
                      </a:lnTo>
                      <a:lnTo>
                        <a:pt x="187" y="61"/>
                      </a:lnTo>
                      <a:lnTo>
                        <a:pt x="183" y="61"/>
                      </a:lnTo>
                      <a:lnTo>
                        <a:pt x="180" y="58"/>
                      </a:lnTo>
                      <a:lnTo>
                        <a:pt x="178" y="57"/>
                      </a:lnTo>
                      <a:lnTo>
                        <a:pt x="175" y="55"/>
                      </a:lnTo>
                      <a:lnTo>
                        <a:pt x="171" y="54"/>
                      </a:lnTo>
                      <a:lnTo>
                        <a:pt x="169" y="52"/>
                      </a:lnTo>
                      <a:lnTo>
                        <a:pt x="166" y="51"/>
                      </a:lnTo>
                      <a:lnTo>
                        <a:pt x="165" y="51"/>
                      </a:lnTo>
                      <a:lnTo>
                        <a:pt x="161" y="54"/>
                      </a:lnTo>
                      <a:lnTo>
                        <a:pt x="159" y="55"/>
                      </a:lnTo>
                      <a:lnTo>
                        <a:pt x="156" y="54"/>
                      </a:lnTo>
                      <a:lnTo>
                        <a:pt x="152" y="54"/>
                      </a:lnTo>
                      <a:lnTo>
                        <a:pt x="147" y="50"/>
                      </a:lnTo>
                      <a:lnTo>
                        <a:pt x="141" y="47"/>
                      </a:lnTo>
                      <a:lnTo>
                        <a:pt x="140" y="47"/>
                      </a:lnTo>
                      <a:lnTo>
                        <a:pt x="137" y="48"/>
                      </a:lnTo>
                      <a:lnTo>
                        <a:pt x="136" y="48"/>
                      </a:lnTo>
                      <a:lnTo>
                        <a:pt x="133" y="48"/>
                      </a:lnTo>
                      <a:lnTo>
                        <a:pt x="128" y="45"/>
                      </a:lnTo>
                      <a:lnTo>
                        <a:pt x="124" y="42"/>
                      </a:lnTo>
                      <a:lnTo>
                        <a:pt x="118" y="41"/>
                      </a:lnTo>
                      <a:lnTo>
                        <a:pt x="112" y="39"/>
                      </a:lnTo>
                      <a:lnTo>
                        <a:pt x="107" y="38"/>
                      </a:lnTo>
                      <a:lnTo>
                        <a:pt x="105" y="36"/>
                      </a:lnTo>
                      <a:lnTo>
                        <a:pt x="104" y="35"/>
                      </a:lnTo>
                      <a:lnTo>
                        <a:pt x="104" y="32"/>
                      </a:lnTo>
                      <a:lnTo>
                        <a:pt x="108" y="31"/>
                      </a:lnTo>
                      <a:lnTo>
                        <a:pt x="112" y="31"/>
                      </a:lnTo>
                      <a:lnTo>
                        <a:pt x="115" y="30"/>
                      </a:lnTo>
                      <a:lnTo>
                        <a:pt x="117" y="29"/>
                      </a:lnTo>
                      <a:lnTo>
                        <a:pt x="117" y="26"/>
                      </a:lnTo>
                      <a:lnTo>
                        <a:pt x="114" y="25"/>
                      </a:lnTo>
                      <a:lnTo>
                        <a:pt x="112" y="24"/>
                      </a:lnTo>
                      <a:lnTo>
                        <a:pt x="109" y="24"/>
                      </a:lnTo>
                      <a:lnTo>
                        <a:pt x="107" y="23"/>
                      </a:lnTo>
                      <a:lnTo>
                        <a:pt x="105" y="20"/>
                      </a:lnTo>
                      <a:lnTo>
                        <a:pt x="104" y="17"/>
                      </a:lnTo>
                      <a:lnTo>
                        <a:pt x="104" y="13"/>
                      </a:lnTo>
                      <a:lnTo>
                        <a:pt x="101" y="11"/>
                      </a:lnTo>
                      <a:lnTo>
                        <a:pt x="100" y="10"/>
                      </a:lnTo>
                      <a:lnTo>
                        <a:pt x="98" y="11"/>
                      </a:lnTo>
                      <a:lnTo>
                        <a:pt x="94" y="12"/>
                      </a:lnTo>
                      <a:lnTo>
                        <a:pt x="89" y="12"/>
                      </a:lnTo>
                      <a:lnTo>
                        <a:pt x="82" y="12"/>
                      </a:lnTo>
                      <a:lnTo>
                        <a:pt x="76" y="13"/>
                      </a:lnTo>
                      <a:lnTo>
                        <a:pt x="72" y="16"/>
                      </a:lnTo>
                      <a:lnTo>
                        <a:pt x="68" y="17"/>
                      </a:lnTo>
                      <a:lnTo>
                        <a:pt x="66" y="18"/>
                      </a:lnTo>
                      <a:lnTo>
                        <a:pt x="65" y="17"/>
                      </a:lnTo>
                      <a:lnTo>
                        <a:pt x="61" y="13"/>
                      </a:lnTo>
                      <a:lnTo>
                        <a:pt x="58" y="10"/>
                      </a:lnTo>
                      <a:lnTo>
                        <a:pt x="56" y="9"/>
                      </a:lnTo>
                      <a:lnTo>
                        <a:pt x="54" y="7"/>
                      </a:lnTo>
                      <a:lnTo>
                        <a:pt x="37" y="5"/>
                      </a:lnTo>
                      <a:lnTo>
                        <a:pt x="20" y="1"/>
                      </a:lnTo>
                      <a:lnTo>
                        <a:pt x="15" y="0"/>
                      </a:lnTo>
                      <a:lnTo>
                        <a:pt x="10" y="1"/>
                      </a:lnTo>
                      <a:lnTo>
                        <a:pt x="5" y="3"/>
                      </a:lnTo>
                      <a:lnTo>
                        <a:pt x="1" y="6"/>
                      </a:lnTo>
                      <a:lnTo>
                        <a:pt x="0" y="10"/>
                      </a:lnTo>
                      <a:lnTo>
                        <a:pt x="1" y="13"/>
                      </a:lnTo>
                      <a:lnTo>
                        <a:pt x="2" y="17"/>
                      </a:lnTo>
                      <a:lnTo>
                        <a:pt x="5" y="19"/>
                      </a:lnTo>
                      <a:lnTo>
                        <a:pt x="7" y="20"/>
                      </a:lnTo>
                      <a:lnTo>
                        <a:pt x="10" y="20"/>
                      </a:lnTo>
                      <a:lnTo>
                        <a:pt x="13" y="22"/>
                      </a:lnTo>
                      <a:lnTo>
                        <a:pt x="15" y="22"/>
                      </a:lnTo>
                      <a:lnTo>
                        <a:pt x="21" y="28"/>
                      </a:lnTo>
                      <a:lnTo>
                        <a:pt x="30" y="32"/>
                      </a:lnTo>
                      <a:lnTo>
                        <a:pt x="39" y="33"/>
                      </a:lnTo>
                      <a:lnTo>
                        <a:pt x="48" y="32"/>
                      </a:lnTo>
                      <a:lnTo>
                        <a:pt x="51" y="31"/>
                      </a:lnTo>
                      <a:lnTo>
                        <a:pt x="52" y="29"/>
                      </a:lnTo>
                      <a:lnTo>
                        <a:pt x="54" y="26"/>
                      </a:lnTo>
                      <a:lnTo>
                        <a:pt x="56" y="25"/>
                      </a:lnTo>
                      <a:lnTo>
                        <a:pt x="58" y="25"/>
                      </a:lnTo>
                      <a:lnTo>
                        <a:pt x="61" y="26"/>
                      </a:lnTo>
                      <a:lnTo>
                        <a:pt x="63" y="26"/>
                      </a:lnTo>
                      <a:lnTo>
                        <a:pt x="66" y="26"/>
                      </a:lnTo>
                      <a:lnTo>
                        <a:pt x="66" y="28"/>
                      </a:lnTo>
                      <a:lnTo>
                        <a:pt x="70" y="33"/>
                      </a:lnTo>
                      <a:lnTo>
                        <a:pt x="75" y="38"/>
                      </a:lnTo>
                      <a:lnTo>
                        <a:pt x="76" y="39"/>
                      </a:lnTo>
                      <a:lnTo>
                        <a:pt x="76" y="4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6" name="Freeform 950"/>
                <p:cNvSpPr>
                  <a:spLocks/>
                </p:cNvSpPr>
                <p:nvPr/>
              </p:nvSpPr>
              <p:spPr bwMode="auto">
                <a:xfrm>
                  <a:off x="2198611" y="1981231"/>
                  <a:ext cx="115430" cy="96191"/>
                </a:xfrm>
                <a:custGeom>
                  <a:avLst/>
                  <a:gdLst>
                    <a:gd name="T0" fmla="*/ 2147483647 w 84"/>
                    <a:gd name="T1" fmla="*/ 2147483647 h 65"/>
                    <a:gd name="T2" fmla="*/ 2147483647 w 84"/>
                    <a:gd name="T3" fmla="*/ 2147483647 h 65"/>
                    <a:gd name="T4" fmla="*/ 2147483647 w 84"/>
                    <a:gd name="T5" fmla="*/ 2147483647 h 65"/>
                    <a:gd name="T6" fmla="*/ 2147483647 w 84"/>
                    <a:gd name="T7" fmla="*/ 2147483647 h 65"/>
                    <a:gd name="T8" fmla="*/ 2147483647 w 84"/>
                    <a:gd name="T9" fmla="*/ 2147483647 h 65"/>
                    <a:gd name="T10" fmla="*/ 2147483647 w 84"/>
                    <a:gd name="T11" fmla="*/ 2147483647 h 65"/>
                    <a:gd name="T12" fmla="*/ 2147483647 w 84"/>
                    <a:gd name="T13" fmla="*/ 2147483647 h 65"/>
                    <a:gd name="T14" fmla="*/ 2147483647 w 84"/>
                    <a:gd name="T15" fmla="*/ 2147483647 h 65"/>
                    <a:gd name="T16" fmla="*/ 2147483647 w 84"/>
                    <a:gd name="T17" fmla="*/ 2147483647 h 65"/>
                    <a:gd name="T18" fmla="*/ 2147483647 w 84"/>
                    <a:gd name="T19" fmla="*/ 2147483647 h 65"/>
                    <a:gd name="T20" fmla="*/ 2147483647 w 84"/>
                    <a:gd name="T21" fmla="*/ 2147483647 h 65"/>
                    <a:gd name="T22" fmla="*/ 2147483647 w 84"/>
                    <a:gd name="T23" fmla="*/ 2147483647 h 65"/>
                    <a:gd name="T24" fmla="*/ 2147483647 w 84"/>
                    <a:gd name="T25" fmla="*/ 2147483647 h 65"/>
                    <a:gd name="T26" fmla="*/ 2147483647 w 84"/>
                    <a:gd name="T27" fmla="*/ 2147483647 h 65"/>
                    <a:gd name="T28" fmla="*/ 2147483647 w 84"/>
                    <a:gd name="T29" fmla="*/ 2147483647 h 65"/>
                    <a:gd name="T30" fmla="*/ 2147483647 w 84"/>
                    <a:gd name="T31" fmla="*/ 0 h 65"/>
                    <a:gd name="T32" fmla="*/ 2147483647 w 84"/>
                    <a:gd name="T33" fmla="*/ 0 h 65"/>
                    <a:gd name="T34" fmla="*/ 2147483647 w 84"/>
                    <a:gd name="T35" fmla="*/ 0 h 65"/>
                    <a:gd name="T36" fmla="*/ 2147483647 w 84"/>
                    <a:gd name="T37" fmla="*/ 2147483647 h 65"/>
                    <a:gd name="T38" fmla="*/ 2147483647 w 84"/>
                    <a:gd name="T39" fmla="*/ 2147483647 h 65"/>
                    <a:gd name="T40" fmla="*/ 2147483647 w 84"/>
                    <a:gd name="T41" fmla="*/ 2147483647 h 65"/>
                    <a:gd name="T42" fmla="*/ 2147483647 w 84"/>
                    <a:gd name="T43" fmla="*/ 2147483647 h 65"/>
                    <a:gd name="T44" fmla="*/ 2147483647 w 84"/>
                    <a:gd name="T45" fmla="*/ 2147483647 h 65"/>
                    <a:gd name="T46" fmla="*/ 2147483647 w 84"/>
                    <a:gd name="T47" fmla="*/ 2147483647 h 65"/>
                    <a:gd name="T48" fmla="*/ 2147483647 w 84"/>
                    <a:gd name="T49" fmla="*/ 2147483647 h 65"/>
                    <a:gd name="T50" fmla="*/ 2147483647 w 84"/>
                    <a:gd name="T51" fmla="*/ 2147483647 h 65"/>
                    <a:gd name="T52" fmla="*/ 2147483647 w 84"/>
                    <a:gd name="T53" fmla="*/ 2147483647 h 65"/>
                    <a:gd name="T54" fmla="*/ 2147483647 w 84"/>
                    <a:gd name="T55" fmla="*/ 2147483647 h 65"/>
                    <a:gd name="T56" fmla="*/ 2147483647 w 84"/>
                    <a:gd name="T57" fmla="*/ 2147483647 h 65"/>
                    <a:gd name="T58" fmla="*/ 2147483647 w 84"/>
                    <a:gd name="T59" fmla="*/ 2147483647 h 65"/>
                    <a:gd name="T60" fmla="*/ 2147483647 w 84"/>
                    <a:gd name="T61" fmla="*/ 2147483647 h 65"/>
                    <a:gd name="T62" fmla="*/ 2147483647 w 84"/>
                    <a:gd name="T63" fmla="*/ 2147483647 h 65"/>
                    <a:gd name="T64" fmla="*/ 2147483647 w 84"/>
                    <a:gd name="T65" fmla="*/ 2147483647 h 65"/>
                    <a:gd name="T66" fmla="*/ 2147483647 w 84"/>
                    <a:gd name="T67" fmla="*/ 2147483647 h 65"/>
                    <a:gd name="T68" fmla="*/ 2147483647 w 84"/>
                    <a:gd name="T69" fmla="*/ 2147483647 h 65"/>
                    <a:gd name="T70" fmla="*/ 2147483647 w 84"/>
                    <a:gd name="T71" fmla="*/ 2147483647 h 65"/>
                    <a:gd name="T72" fmla="*/ 2147483647 w 84"/>
                    <a:gd name="T73" fmla="*/ 2147483647 h 65"/>
                    <a:gd name="T74" fmla="*/ 2147483647 w 84"/>
                    <a:gd name="T75" fmla="*/ 2147483647 h 65"/>
                    <a:gd name="T76" fmla="*/ 2147483647 w 84"/>
                    <a:gd name="T77" fmla="*/ 2147483647 h 65"/>
                    <a:gd name="T78" fmla="*/ 2147483647 w 84"/>
                    <a:gd name="T79" fmla="*/ 2147483647 h 65"/>
                    <a:gd name="T80" fmla="*/ 2147483647 w 84"/>
                    <a:gd name="T81" fmla="*/ 2147483647 h 65"/>
                    <a:gd name="T82" fmla="*/ 2147483647 w 84"/>
                    <a:gd name="T83" fmla="*/ 2147483647 h 65"/>
                    <a:gd name="T84" fmla="*/ 0 w 84"/>
                    <a:gd name="T85" fmla="*/ 2147483647 h 65"/>
                    <a:gd name="T86" fmla="*/ 2147483647 w 84"/>
                    <a:gd name="T87" fmla="*/ 2147483647 h 65"/>
                    <a:gd name="T88" fmla="*/ 2147483647 w 84"/>
                    <a:gd name="T89" fmla="*/ 2147483647 h 65"/>
                    <a:gd name="T90" fmla="*/ 2147483647 w 84"/>
                    <a:gd name="T91" fmla="*/ 2147483647 h 65"/>
                    <a:gd name="T92" fmla="*/ 2147483647 w 84"/>
                    <a:gd name="T93" fmla="*/ 2147483647 h 65"/>
                    <a:gd name="T94" fmla="*/ 2147483647 w 84"/>
                    <a:gd name="T95" fmla="*/ 2147483647 h 65"/>
                    <a:gd name="T96" fmla="*/ 2147483647 w 84"/>
                    <a:gd name="T97" fmla="*/ 2147483647 h 65"/>
                    <a:gd name="T98" fmla="*/ 2147483647 w 84"/>
                    <a:gd name="T99" fmla="*/ 2147483647 h 65"/>
                    <a:gd name="T100" fmla="*/ 2147483647 w 84"/>
                    <a:gd name="T101" fmla="*/ 2147483647 h 65"/>
                    <a:gd name="T102" fmla="*/ 2147483647 w 84"/>
                    <a:gd name="T103" fmla="*/ 2147483647 h 65"/>
                    <a:gd name="T104" fmla="*/ 2147483647 w 84"/>
                    <a:gd name="T105" fmla="*/ 2147483647 h 65"/>
                    <a:gd name="T106" fmla="*/ 2147483647 w 84"/>
                    <a:gd name="T107" fmla="*/ 2147483647 h 65"/>
                    <a:gd name="T108" fmla="*/ 2147483647 w 84"/>
                    <a:gd name="T109" fmla="*/ 2147483647 h 65"/>
                    <a:gd name="T110" fmla="*/ 2147483647 w 84"/>
                    <a:gd name="T111" fmla="*/ 2147483647 h 65"/>
                    <a:gd name="T112" fmla="*/ 2147483647 w 84"/>
                    <a:gd name="T113" fmla="*/ 2147483647 h 65"/>
                    <a:gd name="T114" fmla="*/ 2147483647 w 84"/>
                    <a:gd name="T115" fmla="*/ 2147483647 h 65"/>
                    <a:gd name="T116" fmla="*/ 2147483647 w 84"/>
                    <a:gd name="T117" fmla="*/ 2147483647 h 65"/>
                    <a:gd name="T118" fmla="*/ 2147483647 w 84"/>
                    <a:gd name="T119" fmla="*/ 2147483647 h 65"/>
                    <a:gd name="T120" fmla="*/ 2147483647 w 84"/>
                    <a:gd name="T121" fmla="*/ 2147483647 h 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4"/>
                    <a:gd name="T184" fmla="*/ 0 h 65"/>
                    <a:gd name="T185" fmla="*/ 84 w 84"/>
                    <a:gd name="T186" fmla="*/ 65 h 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4" h="65">
                      <a:moveTo>
                        <a:pt x="77" y="53"/>
                      </a:moveTo>
                      <a:lnTo>
                        <a:pt x="77" y="53"/>
                      </a:lnTo>
                      <a:lnTo>
                        <a:pt x="81" y="49"/>
                      </a:lnTo>
                      <a:lnTo>
                        <a:pt x="82" y="47"/>
                      </a:lnTo>
                      <a:lnTo>
                        <a:pt x="82" y="46"/>
                      </a:lnTo>
                      <a:lnTo>
                        <a:pt x="80" y="41"/>
                      </a:lnTo>
                      <a:lnTo>
                        <a:pt x="80" y="36"/>
                      </a:lnTo>
                      <a:lnTo>
                        <a:pt x="81" y="32"/>
                      </a:lnTo>
                      <a:lnTo>
                        <a:pt x="84" y="28"/>
                      </a:lnTo>
                      <a:lnTo>
                        <a:pt x="84" y="26"/>
                      </a:lnTo>
                      <a:lnTo>
                        <a:pt x="84" y="23"/>
                      </a:lnTo>
                      <a:lnTo>
                        <a:pt x="81" y="20"/>
                      </a:lnTo>
                      <a:lnTo>
                        <a:pt x="81" y="16"/>
                      </a:lnTo>
                      <a:lnTo>
                        <a:pt x="81" y="14"/>
                      </a:lnTo>
                      <a:lnTo>
                        <a:pt x="82" y="12"/>
                      </a:lnTo>
                      <a:lnTo>
                        <a:pt x="81" y="9"/>
                      </a:lnTo>
                      <a:lnTo>
                        <a:pt x="80" y="7"/>
                      </a:lnTo>
                      <a:lnTo>
                        <a:pt x="77" y="6"/>
                      </a:lnTo>
                      <a:lnTo>
                        <a:pt x="72" y="6"/>
                      </a:lnTo>
                      <a:lnTo>
                        <a:pt x="67" y="7"/>
                      </a:lnTo>
                      <a:lnTo>
                        <a:pt x="62" y="9"/>
                      </a:lnTo>
                      <a:lnTo>
                        <a:pt x="60" y="9"/>
                      </a:lnTo>
                      <a:lnTo>
                        <a:pt x="58" y="8"/>
                      </a:lnTo>
                      <a:lnTo>
                        <a:pt x="52" y="6"/>
                      </a:lnTo>
                      <a:lnTo>
                        <a:pt x="47" y="2"/>
                      </a:lnTo>
                      <a:lnTo>
                        <a:pt x="42" y="0"/>
                      </a:lnTo>
                      <a:lnTo>
                        <a:pt x="39" y="0"/>
                      </a:lnTo>
                      <a:lnTo>
                        <a:pt x="37" y="0"/>
                      </a:lnTo>
                      <a:lnTo>
                        <a:pt x="34" y="0"/>
                      </a:lnTo>
                      <a:lnTo>
                        <a:pt x="33" y="2"/>
                      </a:lnTo>
                      <a:lnTo>
                        <a:pt x="33" y="3"/>
                      </a:lnTo>
                      <a:lnTo>
                        <a:pt x="33" y="6"/>
                      </a:lnTo>
                      <a:lnTo>
                        <a:pt x="34" y="8"/>
                      </a:lnTo>
                      <a:lnTo>
                        <a:pt x="37" y="9"/>
                      </a:lnTo>
                      <a:lnTo>
                        <a:pt x="38" y="10"/>
                      </a:lnTo>
                      <a:lnTo>
                        <a:pt x="38" y="13"/>
                      </a:lnTo>
                      <a:lnTo>
                        <a:pt x="37" y="16"/>
                      </a:lnTo>
                      <a:lnTo>
                        <a:pt x="37" y="17"/>
                      </a:lnTo>
                      <a:lnTo>
                        <a:pt x="37" y="20"/>
                      </a:lnTo>
                      <a:lnTo>
                        <a:pt x="39" y="21"/>
                      </a:lnTo>
                      <a:lnTo>
                        <a:pt x="41" y="22"/>
                      </a:lnTo>
                      <a:lnTo>
                        <a:pt x="44" y="23"/>
                      </a:lnTo>
                      <a:lnTo>
                        <a:pt x="46" y="25"/>
                      </a:lnTo>
                      <a:lnTo>
                        <a:pt x="46" y="27"/>
                      </a:lnTo>
                      <a:lnTo>
                        <a:pt x="44" y="28"/>
                      </a:lnTo>
                      <a:lnTo>
                        <a:pt x="43" y="28"/>
                      </a:lnTo>
                      <a:lnTo>
                        <a:pt x="41" y="28"/>
                      </a:lnTo>
                      <a:lnTo>
                        <a:pt x="38" y="27"/>
                      </a:lnTo>
                      <a:lnTo>
                        <a:pt x="34" y="25"/>
                      </a:lnTo>
                      <a:lnTo>
                        <a:pt x="28" y="15"/>
                      </a:lnTo>
                      <a:lnTo>
                        <a:pt x="25" y="13"/>
                      </a:lnTo>
                      <a:lnTo>
                        <a:pt x="24" y="12"/>
                      </a:lnTo>
                      <a:lnTo>
                        <a:pt x="22" y="12"/>
                      </a:lnTo>
                      <a:lnTo>
                        <a:pt x="19" y="13"/>
                      </a:lnTo>
                      <a:lnTo>
                        <a:pt x="16" y="15"/>
                      </a:lnTo>
                      <a:lnTo>
                        <a:pt x="14" y="19"/>
                      </a:lnTo>
                      <a:lnTo>
                        <a:pt x="13" y="21"/>
                      </a:lnTo>
                      <a:lnTo>
                        <a:pt x="13" y="23"/>
                      </a:lnTo>
                      <a:lnTo>
                        <a:pt x="14" y="28"/>
                      </a:lnTo>
                      <a:lnTo>
                        <a:pt x="15" y="33"/>
                      </a:lnTo>
                      <a:lnTo>
                        <a:pt x="15" y="34"/>
                      </a:lnTo>
                      <a:lnTo>
                        <a:pt x="15" y="36"/>
                      </a:lnTo>
                      <a:lnTo>
                        <a:pt x="14" y="38"/>
                      </a:lnTo>
                      <a:lnTo>
                        <a:pt x="13" y="39"/>
                      </a:lnTo>
                      <a:lnTo>
                        <a:pt x="9" y="40"/>
                      </a:lnTo>
                      <a:lnTo>
                        <a:pt x="5" y="40"/>
                      </a:lnTo>
                      <a:lnTo>
                        <a:pt x="4" y="41"/>
                      </a:lnTo>
                      <a:lnTo>
                        <a:pt x="1" y="42"/>
                      </a:lnTo>
                      <a:lnTo>
                        <a:pt x="0" y="46"/>
                      </a:lnTo>
                      <a:lnTo>
                        <a:pt x="0" y="48"/>
                      </a:lnTo>
                      <a:lnTo>
                        <a:pt x="2" y="49"/>
                      </a:lnTo>
                      <a:lnTo>
                        <a:pt x="4" y="51"/>
                      </a:lnTo>
                      <a:lnTo>
                        <a:pt x="5" y="49"/>
                      </a:lnTo>
                      <a:lnTo>
                        <a:pt x="9" y="47"/>
                      </a:lnTo>
                      <a:lnTo>
                        <a:pt x="14" y="47"/>
                      </a:lnTo>
                      <a:lnTo>
                        <a:pt x="18" y="47"/>
                      </a:lnTo>
                      <a:lnTo>
                        <a:pt x="23" y="49"/>
                      </a:lnTo>
                      <a:lnTo>
                        <a:pt x="27" y="49"/>
                      </a:lnTo>
                      <a:lnTo>
                        <a:pt x="29" y="49"/>
                      </a:lnTo>
                      <a:lnTo>
                        <a:pt x="34" y="47"/>
                      </a:lnTo>
                      <a:lnTo>
                        <a:pt x="37" y="46"/>
                      </a:lnTo>
                      <a:lnTo>
                        <a:pt x="39" y="47"/>
                      </a:lnTo>
                      <a:lnTo>
                        <a:pt x="42" y="51"/>
                      </a:lnTo>
                      <a:lnTo>
                        <a:pt x="44" y="54"/>
                      </a:lnTo>
                      <a:lnTo>
                        <a:pt x="44" y="58"/>
                      </a:lnTo>
                      <a:lnTo>
                        <a:pt x="43" y="63"/>
                      </a:lnTo>
                      <a:lnTo>
                        <a:pt x="44" y="64"/>
                      </a:lnTo>
                      <a:lnTo>
                        <a:pt x="46" y="65"/>
                      </a:lnTo>
                      <a:lnTo>
                        <a:pt x="62" y="64"/>
                      </a:lnTo>
                      <a:lnTo>
                        <a:pt x="79" y="64"/>
                      </a:lnTo>
                      <a:lnTo>
                        <a:pt x="80" y="63"/>
                      </a:lnTo>
                      <a:lnTo>
                        <a:pt x="80" y="61"/>
                      </a:lnTo>
                      <a:lnTo>
                        <a:pt x="80" y="59"/>
                      </a:lnTo>
                      <a:lnTo>
                        <a:pt x="79" y="57"/>
                      </a:lnTo>
                      <a:lnTo>
                        <a:pt x="77" y="55"/>
                      </a:lnTo>
                      <a:lnTo>
                        <a:pt x="77" y="5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7" name="Freeform 951"/>
                <p:cNvSpPr>
                  <a:spLocks/>
                </p:cNvSpPr>
                <p:nvPr/>
              </p:nvSpPr>
              <p:spPr bwMode="auto">
                <a:xfrm>
                  <a:off x="2364356" y="2108500"/>
                  <a:ext cx="128748" cy="108030"/>
                </a:xfrm>
                <a:custGeom>
                  <a:avLst/>
                  <a:gdLst>
                    <a:gd name="T0" fmla="*/ 2147483647 w 95"/>
                    <a:gd name="T1" fmla="*/ 2147483647 h 73"/>
                    <a:gd name="T2" fmla="*/ 2147483647 w 95"/>
                    <a:gd name="T3" fmla="*/ 2147483647 h 73"/>
                    <a:gd name="T4" fmla="*/ 2147483647 w 95"/>
                    <a:gd name="T5" fmla="*/ 2147483647 h 73"/>
                    <a:gd name="T6" fmla="*/ 2147483647 w 95"/>
                    <a:gd name="T7" fmla="*/ 2147483647 h 73"/>
                    <a:gd name="T8" fmla="*/ 2147483647 w 95"/>
                    <a:gd name="T9" fmla="*/ 2147483647 h 73"/>
                    <a:gd name="T10" fmla="*/ 2147483647 w 95"/>
                    <a:gd name="T11" fmla="*/ 2147483647 h 73"/>
                    <a:gd name="T12" fmla="*/ 2147483647 w 95"/>
                    <a:gd name="T13" fmla="*/ 2147483647 h 73"/>
                    <a:gd name="T14" fmla="*/ 2147483647 w 95"/>
                    <a:gd name="T15" fmla="*/ 2147483647 h 73"/>
                    <a:gd name="T16" fmla="*/ 2147483647 w 95"/>
                    <a:gd name="T17" fmla="*/ 2147483647 h 73"/>
                    <a:gd name="T18" fmla="*/ 2147483647 w 95"/>
                    <a:gd name="T19" fmla="*/ 2147483647 h 73"/>
                    <a:gd name="T20" fmla="*/ 2147483647 w 95"/>
                    <a:gd name="T21" fmla="*/ 2147483647 h 73"/>
                    <a:gd name="T22" fmla="*/ 2147483647 w 95"/>
                    <a:gd name="T23" fmla="*/ 2147483647 h 73"/>
                    <a:gd name="T24" fmla="*/ 2147483647 w 95"/>
                    <a:gd name="T25" fmla="*/ 2147483647 h 73"/>
                    <a:gd name="T26" fmla="*/ 2147483647 w 95"/>
                    <a:gd name="T27" fmla="*/ 2147483647 h 73"/>
                    <a:gd name="T28" fmla="*/ 2147483647 w 95"/>
                    <a:gd name="T29" fmla="*/ 2147483647 h 73"/>
                    <a:gd name="T30" fmla="*/ 0 w 95"/>
                    <a:gd name="T31" fmla="*/ 2147483647 h 73"/>
                    <a:gd name="T32" fmla="*/ 0 w 95"/>
                    <a:gd name="T33" fmla="*/ 2147483647 h 73"/>
                    <a:gd name="T34" fmla="*/ 2147483647 w 95"/>
                    <a:gd name="T35" fmla="*/ 2147483647 h 73"/>
                    <a:gd name="T36" fmla="*/ 2147483647 w 95"/>
                    <a:gd name="T37" fmla="*/ 2147483647 h 73"/>
                    <a:gd name="T38" fmla="*/ 2147483647 w 95"/>
                    <a:gd name="T39" fmla="*/ 2147483647 h 73"/>
                    <a:gd name="T40" fmla="*/ 2147483647 w 95"/>
                    <a:gd name="T41" fmla="*/ 2147483647 h 73"/>
                    <a:gd name="T42" fmla="*/ 2147483647 w 95"/>
                    <a:gd name="T43" fmla="*/ 2147483647 h 73"/>
                    <a:gd name="T44" fmla="*/ 2147483647 w 95"/>
                    <a:gd name="T45" fmla="*/ 2147483647 h 73"/>
                    <a:gd name="T46" fmla="*/ 2147483647 w 95"/>
                    <a:gd name="T47" fmla="*/ 2147483647 h 73"/>
                    <a:gd name="T48" fmla="*/ 2147483647 w 95"/>
                    <a:gd name="T49" fmla="*/ 2147483647 h 73"/>
                    <a:gd name="T50" fmla="*/ 2147483647 w 95"/>
                    <a:gd name="T51" fmla="*/ 2147483647 h 73"/>
                    <a:gd name="T52" fmla="*/ 2147483647 w 95"/>
                    <a:gd name="T53" fmla="*/ 2147483647 h 73"/>
                    <a:gd name="T54" fmla="*/ 2147483647 w 95"/>
                    <a:gd name="T55" fmla="*/ 2147483647 h 73"/>
                    <a:gd name="T56" fmla="*/ 2147483647 w 95"/>
                    <a:gd name="T57" fmla="*/ 2147483647 h 73"/>
                    <a:gd name="T58" fmla="*/ 2147483647 w 95"/>
                    <a:gd name="T59" fmla="*/ 2147483647 h 73"/>
                    <a:gd name="T60" fmla="*/ 2147483647 w 95"/>
                    <a:gd name="T61" fmla="*/ 2147483647 h 73"/>
                    <a:gd name="T62" fmla="*/ 2147483647 w 95"/>
                    <a:gd name="T63" fmla="*/ 2147483647 h 73"/>
                    <a:gd name="T64" fmla="*/ 2147483647 w 95"/>
                    <a:gd name="T65" fmla="*/ 2147483647 h 73"/>
                    <a:gd name="T66" fmla="*/ 2147483647 w 95"/>
                    <a:gd name="T67" fmla="*/ 2147483647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5"/>
                    <a:gd name="T103" fmla="*/ 0 h 73"/>
                    <a:gd name="T104" fmla="*/ 95 w 9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5" h="73">
                      <a:moveTo>
                        <a:pt x="83" y="33"/>
                      </a:moveTo>
                      <a:lnTo>
                        <a:pt x="88" y="29"/>
                      </a:lnTo>
                      <a:lnTo>
                        <a:pt x="92" y="23"/>
                      </a:lnTo>
                      <a:lnTo>
                        <a:pt x="95" y="17"/>
                      </a:lnTo>
                      <a:lnTo>
                        <a:pt x="94" y="12"/>
                      </a:lnTo>
                      <a:lnTo>
                        <a:pt x="92" y="11"/>
                      </a:lnTo>
                      <a:lnTo>
                        <a:pt x="91" y="10"/>
                      </a:lnTo>
                      <a:lnTo>
                        <a:pt x="85" y="9"/>
                      </a:lnTo>
                      <a:lnTo>
                        <a:pt x="71" y="9"/>
                      </a:lnTo>
                      <a:lnTo>
                        <a:pt x="66" y="7"/>
                      </a:lnTo>
                      <a:lnTo>
                        <a:pt x="62" y="4"/>
                      </a:lnTo>
                      <a:lnTo>
                        <a:pt x="57" y="1"/>
                      </a:lnTo>
                      <a:lnTo>
                        <a:pt x="50" y="0"/>
                      </a:lnTo>
                      <a:lnTo>
                        <a:pt x="45" y="1"/>
                      </a:lnTo>
                      <a:lnTo>
                        <a:pt x="41" y="3"/>
                      </a:lnTo>
                      <a:lnTo>
                        <a:pt x="38" y="5"/>
                      </a:lnTo>
                      <a:lnTo>
                        <a:pt x="33" y="6"/>
                      </a:lnTo>
                      <a:lnTo>
                        <a:pt x="24" y="7"/>
                      </a:lnTo>
                      <a:lnTo>
                        <a:pt x="16" y="7"/>
                      </a:lnTo>
                      <a:lnTo>
                        <a:pt x="6" y="9"/>
                      </a:lnTo>
                      <a:lnTo>
                        <a:pt x="5" y="9"/>
                      </a:lnTo>
                      <a:lnTo>
                        <a:pt x="3" y="10"/>
                      </a:lnTo>
                      <a:lnTo>
                        <a:pt x="6" y="17"/>
                      </a:lnTo>
                      <a:lnTo>
                        <a:pt x="7" y="20"/>
                      </a:lnTo>
                      <a:lnTo>
                        <a:pt x="8" y="24"/>
                      </a:lnTo>
                      <a:lnTo>
                        <a:pt x="10" y="26"/>
                      </a:lnTo>
                      <a:lnTo>
                        <a:pt x="11" y="29"/>
                      </a:lnTo>
                      <a:lnTo>
                        <a:pt x="10" y="31"/>
                      </a:lnTo>
                      <a:lnTo>
                        <a:pt x="10" y="33"/>
                      </a:lnTo>
                      <a:lnTo>
                        <a:pt x="6" y="37"/>
                      </a:lnTo>
                      <a:lnTo>
                        <a:pt x="0" y="41"/>
                      </a:lnTo>
                      <a:lnTo>
                        <a:pt x="0" y="42"/>
                      </a:lnTo>
                      <a:lnTo>
                        <a:pt x="0" y="44"/>
                      </a:lnTo>
                      <a:lnTo>
                        <a:pt x="0" y="45"/>
                      </a:lnTo>
                      <a:lnTo>
                        <a:pt x="1" y="48"/>
                      </a:lnTo>
                      <a:lnTo>
                        <a:pt x="5" y="51"/>
                      </a:lnTo>
                      <a:lnTo>
                        <a:pt x="7" y="56"/>
                      </a:lnTo>
                      <a:lnTo>
                        <a:pt x="11" y="65"/>
                      </a:lnTo>
                      <a:lnTo>
                        <a:pt x="14" y="68"/>
                      </a:lnTo>
                      <a:lnTo>
                        <a:pt x="15" y="69"/>
                      </a:lnTo>
                      <a:lnTo>
                        <a:pt x="20" y="70"/>
                      </a:lnTo>
                      <a:lnTo>
                        <a:pt x="31" y="73"/>
                      </a:lnTo>
                      <a:lnTo>
                        <a:pt x="35" y="73"/>
                      </a:lnTo>
                      <a:lnTo>
                        <a:pt x="38" y="71"/>
                      </a:lnTo>
                      <a:lnTo>
                        <a:pt x="40" y="69"/>
                      </a:lnTo>
                      <a:lnTo>
                        <a:pt x="41" y="67"/>
                      </a:lnTo>
                      <a:lnTo>
                        <a:pt x="43" y="62"/>
                      </a:lnTo>
                      <a:lnTo>
                        <a:pt x="45" y="58"/>
                      </a:lnTo>
                      <a:lnTo>
                        <a:pt x="45" y="56"/>
                      </a:lnTo>
                      <a:lnTo>
                        <a:pt x="39" y="52"/>
                      </a:lnTo>
                      <a:lnTo>
                        <a:pt x="38" y="50"/>
                      </a:lnTo>
                      <a:lnTo>
                        <a:pt x="39" y="46"/>
                      </a:lnTo>
                      <a:lnTo>
                        <a:pt x="41" y="45"/>
                      </a:lnTo>
                      <a:lnTo>
                        <a:pt x="43" y="45"/>
                      </a:lnTo>
                      <a:lnTo>
                        <a:pt x="44" y="46"/>
                      </a:lnTo>
                      <a:lnTo>
                        <a:pt x="45" y="49"/>
                      </a:lnTo>
                      <a:lnTo>
                        <a:pt x="47" y="49"/>
                      </a:lnTo>
                      <a:lnTo>
                        <a:pt x="48" y="52"/>
                      </a:lnTo>
                      <a:lnTo>
                        <a:pt x="50" y="54"/>
                      </a:lnTo>
                      <a:lnTo>
                        <a:pt x="53" y="55"/>
                      </a:lnTo>
                      <a:lnTo>
                        <a:pt x="57" y="56"/>
                      </a:lnTo>
                      <a:lnTo>
                        <a:pt x="63" y="56"/>
                      </a:lnTo>
                      <a:lnTo>
                        <a:pt x="68" y="54"/>
                      </a:lnTo>
                      <a:lnTo>
                        <a:pt x="72" y="51"/>
                      </a:lnTo>
                      <a:lnTo>
                        <a:pt x="73" y="48"/>
                      </a:lnTo>
                      <a:lnTo>
                        <a:pt x="74" y="39"/>
                      </a:lnTo>
                      <a:lnTo>
                        <a:pt x="76" y="37"/>
                      </a:lnTo>
                      <a:lnTo>
                        <a:pt x="78" y="36"/>
                      </a:lnTo>
                      <a:lnTo>
                        <a:pt x="83" y="3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8" name="Freeform 952"/>
                <p:cNvSpPr>
                  <a:spLocks/>
                </p:cNvSpPr>
                <p:nvPr/>
              </p:nvSpPr>
              <p:spPr bwMode="auto">
                <a:xfrm>
                  <a:off x="2198609" y="2132177"/>
                  <a:ext cx="149467" cy="122829"/>
                </a:xfrm>
                <a:custGeom>
                  <a:avLst/>
                  <a:gdLst>
                    <a:gd name="T0" fmla="*/ 2147483647 w 109"/>
                    <a:gd name="T1" fmla="*/ 2147483647 h 83"/>
                    <a:gd name="T2" fmla="*/ 2147483647 w 109"/>
                    <a:gd name="T3" fmla="*/ 2147483647 h 83"/>
                    <a:gd name="T4" fmla="*/ 2147483647 w 109"/>
                    <a:gd name="T5" fmla="*/ 2147483647 h 83"/>
                    <a:gd name="T6" fmla="*/ 2147483647 w 109"/>
                    <a:gd name="T7" fmla="*/ 0 h 83"/>
                    <a:gd name="T8" fmla="*/ 2147483647 w 109"/>
                    <a:gd name="T9" fmla="*/ 2147483647 h 83"/>
                    <a:gd name="T10" fmla="*/ 2147483647 w 109"/>
                    <a:gd name="T11" fmla="*/ 2147483647 h 83"/>
                    <a:gd name="T12" fmla="*/ 2147483647 w 109"/>
                    <a:gd name="T13" fmla="*/ 2147483647 h 83"/>
                    <a:gd name="T14" fmla="*/ 2147483647 w 109"/>
                    <a:gd name="T15" fmla="*/ 2147483647 h 83"/>
                    <a:gd name="T16" fmla="*/ 2147483647 w 109"/>
                    <a:gd name="T17" fmla="*/ 2147483647 h 83"/>
                    <a:gd name="T18" fmla="*/ 2147483647 w 109"/>
                    <a:gd name="T19" fmla="*/ 2147483647 h 83"/>
                    <a:gd name="T20" fmla="*/ 2147483647 w 109"/>
                    <a:gd name="T21" fmla="*/ 2147483647 h 83"/>
                    <a:gd name="T22" fmla="*/ 2147483647 w 109"/>
                    <a:gd name="T23" fmla="*/ 2147483647 h 83"/>
                    <a:gd name="T24" fmla="*/ 2147483647 w 109"/>
                    <a:gd name="T25" fmla="*/ 2147483647 h 83"/>
                    <a:gd name="T26" fmla="*/ 2147483647 w 109"/>
                    <a:gd name="T27" fmla="*/ 2147483647 h 83"/>
                    <a:gd name="T28" fmla="*/ 2147483647 w 109"/>
                    <a:gd name="T29" fmla="*/ 2147483647 h 83"/>
                    <a:gd name="T30" fmla="*/ 2147483647 w 109"/>
                    <a:gd name="T31" fmla="*/ 2147483647 h 83"/>
                    <a:gd name="T32" fmla="*/ 2147483647 w 109"/>
                    <a:gd name="T33" fmla="*/ 2147483647 h 83"/>
                    <a:gd name="T34" fmla="*/ 2147483647 w 109"/>
                    <a:gd name="T35" fmla="*/ 2147483647 h 83"/>
                    <a:gd name="T36" fmla="*/ 2147483647 w 109"/>
                    <a:gd name="T37" fmla="*/ 2147483647 h 83"/>
                    <a:gd name="T38" fmla="*/ 2147483647 w 109"/>
                    <a:gd name="T39" fmla="*/ 2147483647 h 83"/>
                    <a:gd name="T40" fmla="*/ 2147483647 w 109"/>
                    <a:gd name="T41" fmla="*/ 2147483647 h 83"/>
                    <a:gd name="T42" fmla="*/ 2147483647 w 109"/>
                    <a:gd name="T43" fmla="*/ 2147483647 h 83"/>
                    <a:gd name="T44" fmla="*/ 2147483647 w 109"/>
                    <a:gd name="T45" fmla="*/ 2147483647 h 83"/>
                    <a:gd name="T46" fmla="*/ 2147483647 w 109"/>
                    <a:gd name="T47" fmla="*/ 2147483647 h 83"/>
                    <a:gd name="T48" fmla="*/ 2147483647 w 109"/>
                    <a:gd name="T49" fmla="*/ 2147483647 h 83"/>
                    <a:gd name="T50" fmla="*/ 2147483647 w 109"/>
                    <a:gd name="T51" fmla="*/ 2147483647 h 83"/>
                    <a:gd name="T52" fmla="*/ 2147483647 w 109"/>
                    <a:gd name="T53" fmla="*/ 2147483647 h 83"/>
                    <a:gd name="T54" fmla="*/ 2147483647 w 109"/>
                    <a:gd name="T55" fmla="*/ 2147483647 h 83"/>
                    <a:gd name="T56" fmla="*/ 2147483647 w 109"/>
                    <a:gd name="T57" fmla="*/ 2147483647 h 83"/>
                    <a:gd name="T58" fmla="*/ 2147483647 w 109"/>
                    <a:gd name="T59" fmla="*/ 2147483647 h 83"/>
                    <a:gd name="T60" fmla="*/ 2147483647 w 109"/>
                    <a:gd name="T61" fmla="*/ 2147483647 h 83"/>
                    <a:gd name="T62" fmla="*/ 2147483647 w 109"/>
                    <a:gd name="T63" fmla="*/ 2147483647 h 83"/>
                    <a:gd name="T64" fmla="*/ 2147483647 w 109"/>
                    <a:gd name="T65" fmla="*/ 2147483647 h 83"/>
                    <a:gd name="T66" fmla="*/ 2147483647 w 109"/>
                    <a:gd name="T67" fmla="*/ 2147483647 h 83"/>
                    <a:gd name="T68" fmla="*/ 2147483647 w 109"/>
                    <a:gd name="T69" fmla="*/ 2147483647 h 83"/>
                    <a:gd name="T70" fmla="*/ 2147483647 w 109"/>
                    <a:gd name="T71" fmla="*/ 2147483647 h 83"/>
                    <a:gd name="T72" fmla="*/ 2147483647 w 109"/>
                    <a:gd name="T73" fmla="*/ 2147483647 h 83"/>
                    <a:gd name="T74" fmla="*/ 2147483647 w 109"/>
                    <a:gd name="T75" fmla="*/ 2147483647 h 83"/>
                    <a:gd name="T76" fmla="*/ 2147483647 w 109"/>
                    <a:gd name="T77" fmla="*/ 2147483647 h 83"/>
                    <a:gd name="T78" fmla="*/ 2147483647 w 109"/>
                    <a:gd name="T79" fmla="*/ 2147483647 h 83"/>
                    <a:gd name="T80" fmla="*/ 2147483647 w 109"/>
                    <a:gd name="T81" fmla="*/ 2147483647 h 83"/>
                    <a:gd name="T82" fmla="*/ 2147483647 w 109"/>
                    <a:gd name="T83" fmla="*/ 2147483647 h 83"/>
                    <a:gd name="T84" fmla="*/ 2147483647 w 109"/>
                    <a:gd name="T85" fmla="*/ 2147483647 h 83"/>
                    <a:gd name="T86" fmla="*/ 2147483647 w 109"/>
                    <a:gd name="T87" fmla="*/ 2147483647 h 83"/>
                    <a:gd name="T88" fmla="*/ 2147483647 w 109"/>
                    <a:gd name="T89" fmla="*/ 2147483647 h 83"/>
                    <a:gd name="T90" fmla="*/ 2147483647 w 109"/>
                    <a:gd name="T91" fmla="*/ 2147483647 h 83"/>
                    <a:gd name="T92" fmla="*/ 2147483647 w 109"/>
                    <a:gd name="T93" fmla="*/ 2147483647 h 83"/>
                    <a:gd name="T94" fmla="*/ 2147483647 w 109"/>
                    <a:gd name="T95" fmla="*/ 2147483647 h 83"/>
                    <a:gd name="T96" fmla="*/ 2147483647 w 109"/>
                    <a:gd name="T97" fmla="*/ 2147483647 h 83"/>
                    <a:gd name="T98" fmla="*/ 2147483647 w 109"/>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9"/>
                    <a:gd name="T151" fmla="*/ 0 h 83"/>
                    <a:gd name="T152" fmla="*/ 109 w 109"/>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9" h="83">
                      <a:moveTo>
                        <a:pt x="81" y="6"/>
                      </a:moveTo>
                      <a:lnTo>
                        <a:pt x="76" y="6"/>
                      </a:lnTo>
                      <a:lnTo>
                        <a:pt x="74" y="7"/>
                      </a:lnTo>
                      <a:lnTo>
                        <a:pt x="71" y="7"/>
                      </a:lnTo>
                      <a:lnTo>
                        <a:pt x="67" y="6"/>
                      </a:lnTo>
                      <a:lnTo>
                        <a:pt x="61" y="6"/>
                      </a:lnTo>
                      <a:lnTo>
                        <a:pt x="55" y="4"/>
                      </a:lnTo>
                      <a:lnTo>
                        <a:pt x="44" y="0"/>
                      </a:lnTo>
                      <a:lnTo>
                        <a:pt x="41" y="0"/>
                      </a:lnTo>
                      <a:lnTo>
                        <a:pt x="37" y="2"/>
                      </a:lnTo>
                      <a:lnTo>
                        <a:pt x="25" y="14"/>
                      </a:lnTo>
                      <a:lnTo>
                        <a:pt x="25" y="15"/>
                      </a:lnTo>
                      <a:lnTo>
                        <a:pt x="27" y="16"/>
                      </a:lnTo>
                      <a:lnTo>
                        <a:pt x="32" y="17"/>
                      </a:lnTo>
                      <a:lnTo>
                        <a:pt x="37" y="21"/>
                      </a:lnTo>
                      <a:lnTo>
                        <a:pt x="39" y="25"/>
                      </a:lnTo>
                      <a:lnTo>
                        <a:pt x="41" y="29"/>
                      </a:lnTo>
                      <a:lnTo>
                        <a:pt x="42" y="32"/>
                      </a:lnTo>
                      <a:lnTo>
                        <a:pt x="46" y="33"/>
                      </a:lnTo>
                      <a:lnTo>
                        <a:pt x="44" y="35"/>
                      </a:lnTo>
                      <a:lnTo>
                        <a:pt x="41" y="36"/>
                      </a:lnTo>
                      <a:lnTo>
                        <a:pt x="34" y="35"/>
                      </a:lnTo>
                      <a:lnTo>
                        <a:pt x="32" y="35"/>
                      </a:lnTo>
                      <a:lnTo>
                        <a:pt x="29" y="33"/>
                      </a:lnTo>
                      <a:lnTo>
                        <a:pt x="25" y="29"/>
                      </a:lnTo>
                      <a:lnTo>
                        <a:pt x="20" y="26"/>
                      </a:lnTo>
                      <a:lnTo>
                        <a:pt x="14" y="23"/>
                      </a:lnTo>
                      <a:lnTo>
                        <a:pt x="9" y="25"/>
                      </a:lnTo>
                      <a:lnTo>
                        <a:pt x="5" y="28"/>
                      </a:lnTo>
                      <a:lnTo>
                        <a:pt x="2" y="32"/>
                      </a:lnTo>
                      <a:lnTo>
                        <a:pt x="0" y="36"/>
                      </a:lnTo>
                      <a:lnTo>
                        <a:pt x="1" y="40"/>
                      </a:lnTo>
                      <a:lnTo>
                        <a:pt x="4" y="42"/>
                      </a:lnTo>
                      <a:lnTo>
                        <a:pt x="10" y="43"/>
                      </a:lnTo>
                      <a:lnTo>
                        <a:pt x="13" y="45"/>
                      </a:lnTo>
                      <a:lnTo>
                        <a:pt x="14" y="46"/>
                      </a:lnTo>
                      <a:lnTo>
                        <a:pt x="15" y="51"/>
                      </a:lnTo>
                      <a:lnTo>
                        <a:pt x="16" y="55"/>
                      </a:lnTo>
                      <a:lnTo>
                        <a:pt x="18" y="58"/>
                      </a:lnTo>
                      <a:lnTo>
                        <a:pt x="20" y="59"/>
                      </a:lnTo>
                      <a:lnTo>
                        <a:pt x="23" y="59"/>
                      </a:lnTo>
                      <a:lnTo>
                        <a:pt x="25" y="59"/>
                      </a:lnTo>
                      <a:lnTo>
                        <a:pt x="30" y="55"/>
                      </a:lnTo>
                      <a:lnTo>
                        <a:pt x="32" y="55"/>
                      </a:lnTo>
                      <a:lnTo>
                        <a:pt x="34" y="57"/>
                      </a:lnTo>
                      <a:lnTo>
                        <a:pt x="35" y="59"/>
                      </a:lnTo>
                      <a:lnTo>
                        <a:pt x="38" y="59"/>
                      </a:lnTo>
                      <a:lnTo>
                        <a:pt x="44" y="59"/>
                      </a:lnTo>
                      <a:lnTo>
                        <a:pt x="47" y="60"/>
                      </a:lnTo>
                      <a:lnTo>
                        <a:pt x="48" y="61"/>
                      </a:lnTo>
                      <a:lnTo>
                        <a:pt x="52" y="70"/>
                      </a:lnTo>
                      <a:lnTo>
                        <a:pt x="57" y="77"/>
                      </a:lnTo>
                      <a:lnTo>
                        <a:pt x="60" y="79"/>
                      </a:lnTo>
                      <a:lnTo>
                        <a:pt x="63" y="81"/>
                      </a:lnTo>
                      <a:lnTo>
                        <a:pt x="67" y="83"/>
                      </a:lnTo>
                      <a:lnTo>
                        <a:pt x="71" y="83"/>
                      </a:lnTo>
                      <a:lnTo>
                        <a:pt x="74" y="81"/>
                      </a:lnTo>
                      <a:lnTo>
                        <a:pt x="74" y="80"/>
                      </a:lnTo>
                      <a:lnTo>
                        <a:pt x="76" y="77"/>
                      </a:lnTo>
                      <a:lnTo>
                        <a:pt x="79" y="73"/>
                      </a:lnTo>
                      <a:lnTo>
                        <a:pt x="82" y="72"/>
                      </a:lnTo>
                      <a:lnTo>
                        <a:pt x="88" y="71"/>
                      </a:lnTo>
                      <a:lnTo>
                        <a:pt x="91" y="71"/>
                      </a:lnTo>
                      <a:lnTo>
                        <a:pt x="93" y="67"/>
                      </a:lnTo>
                      <a:lnTo>
                        <a:pt x="94" y="65"/>
                      </a:lnTo>
                      <a:lnTo>
                        <a:pt x="96" y="62"/>
                      </a:lnTo>
                      <a:lnTo>
                        <a:pt x="102" y="62"/>
                      </a:lnTo>
                      <a:lnTo>
                        <a:pt x="104" y="65"/>
                      </a:lnTo>
                      <a:lnTo>
                        <a:pt x="105" y="66"/>
                      </a:lnTo>
                      <a:lnTo>
                        <a:pt x="108" y="65"/>
                      </a:lnTo>
                      <a:lnTo>
                        <a:pt x="109" y="64"/>
                      </a:lnTo>
                      <a:lnTo>
                        <a:pt x="109" y="61"/>
                      </a:lnTo>
                      <a:lnTo>
                        <a:pt x="107" y="59"/>
                      </a:lnTo>
                      <a:lnTo>
                        <a:pt x="104" y="57"/>
                      </a:lnTo>
                      <a:lnTo>
                        <a:pt x="103" y="51"/>
                      </a:lnTo>
                      <a:lnTo>
                        <a:pt x="103" y="45"/>
                      </a:lnTo>
                      <a:lnTo>
                        <a:pt x="103" y="39"/>
                      </a:lnTo>
                      <a:lnTo>
                        <a:pt x="102" y="38"/>
                      </a:lnTo>
                      <a:lnTo>
                        <a:pt x="100" y="38"/>
                      </a:lnTo>
                      <a:lnTo>
                        <a:pt x="98" y="38"/>
                      </a:lnTo>
                      <a:lnTo>
                        <a:pt x="96" y="39"/>
                      </a:lnTo>
                      <a:lnTo>
                        <a:pt x="95" y="38"/>
                      </a:lnTo>
                      <a:lnTo>
                        <a:pt x="94" y="35"/>
                      </a:lnTo>
                      <a:lnTo>
                        <a:pt x="94" y="34"/>
                      </a:lnTo>
                      <a:lnTo>
                        <a:pt x="93" y="34"/>
                      </a:lnTo>
                      <a:lnTo>
                        <a:pt x="89" y="33"/>
                      </a:lnTo>
                      <a:lnTo>
                        <a:pt x="86" y="30"/>
                      </a:lnTo>
                      <a:lnTo>
                        <a:pt x="85" y="27"/>
                      </a:lnTo>
                      <a:lnTo>
                        <a:pt x="85" y="23"/>
                      </a:lnTo>
                      <a:lnTo>
                        <a:pt x="86" y="22"/>
                      </a:lnTo>
                      <a:lnTo>
                        <a:pt x="88" y="21"/>
                      </a:lnTo>
                      <a:lnTo>
                        <a:pt x="91" y="20"/>
                      </a:lnTo>
                      <a:lnTo>
                        <a:pt x="96" y="19"/>
                      </a:lnTo>
                      <a:lnTo>
                        <a:pt x="99" y="17"/>
                      </a:lnTo>
                      <a:lnTo>
                        <a:pt x="100" y="15"/>
                      </a:lnTo>
                      <a:lnTo>
                        <a:pt x="99" y="11"/>
                      </a:lnTo>
                      <a:lnTo>
                        <a:pt x="96" y="7"/>
                      </a:lnTo>
                      <a:lnTo>
                        <a:pt x="94" y="4"/>
                      </a:lnTo>
                      <a:lnTo>
                        <a:pt x="90" y="4"/>
                      </a:lnTo>
                      <a:lnTo>
                        <a:pt x="81"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79" name="Freeform 953"/>
                <p:cNvSpPr>
                  <a:spLocks/>
                </p:cNvSpPr>
                <p:nvPr/>
              </p:nvSpPr>
              <p:spPr bwMode="auto">
                <a:xfrm>
                  <a:off x="2361399" y="2107019"/>
                  <a:ext cx="131708" cy="106551"/>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2147483647 h 72"/>
                    <a:gd name="T14" fmla="*/ 2147483647 w 96"/>
                    <a:gd name="T15" fmla="*/ 2147483647 h 72"/>
                    <a:gd name="T16" fmla="*/ 2147483647 w 96"/>
                    <a:gd name="T17" fmla="*/ 2147483647 h 72"/>
                    <a:gd name="T18" fmla="*/ 2147483647 w 96"/>
                    <a:gd name="T19" fmla="*/ 2147483647 h 72"/>
                    <a:gd name="T20" fmla="*/ 2147483647 w 96"/>
                    <a:gd name="T21" fmla="*/ 2147483647 h 72"/>
                    <a:gd name="T22" fmla="*/ 2147483647 w 96"/>
                    <a:gd name="T23" fmla="*/ 2147483647 h 72"/>
                    <a:gd name="T24" fmla="*/ 2147483647 w 96"/>
                    <a:gd name="T25" fmla="*/ 2147483647 h 72"/>
                    <a:gd name="T26" fmla="*/ 2147483647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w 96"/>
                    <a:gd name="T39" fmla="*/ 2147483647 h 72"/>
                    <a:gd name="T40" fmla="*/ 0 w 96"/>
                    <a:gd name="T41" fmla="*/ 2147483647 h 72"/>
                    <a:gd name="T42" fmla="*/ 2147483647 w 96"/>
                    <a:gd name="T43" fmla="*/ 2147483647 h 72"/>
                    <a:gd name="T44" fmla="*/ 2147483647 w 96"/>
                    <a:gd name="T45" fmla="*/ 2147483647 h 72"/>
                    <a:gd name="T46" fmla="*/ 2147483647 w 96"/>
                    <a:gd name="T47" fmla="*/ 2147483647 h 72"/>
                    <a:gd name="T48" fmla="*/ 2147483647 w 96"/>
                    <a:gd name="T49" fmla="*/ 2147483647 h 72"/>
                    <a:gd name="T50" fmla="*/ 2147483647 w 96"/>
                    <a:gd name="T51" fmla="*/ 2147483647 h 72"/>
                    <a:gd name="T52" fmla="*/ 2147483647 w 96"/>
                    <a:gd name="T53" fmla="*/ 2147483647 h 72"/>
                    <a:gd name="T54" fmla="*/ 2147483647 w 96"/>
                    <a:gd name="T55" fmla="*/ 2147483647 h 72"/>
                    <a:gd name="T56" fmla="*/ 2147483647 w 96"/>
                    <a:gd name="T57" fmla="*/ 2147483647 h 72"/>
                    <a:gd name="T58" fmla="*/ 2147483647 w 96"/>
                    <a:gd name="T59" fmla="*/ 2147483647 h 72"/>
                    <a:gd name="T60" fmla="*/ 2147483647 w 96"/>
                    <a:gd name="T61" fmla="*/ 2147483647 h 72"/>
                    <a:gd name="T62" fmla="*/ 2147483647 w 96"/>
                    <a:gd name="T63" fmla="*/ 2147483647 h 72"/>
                    <a:gd name="T64" fmla="*/ 2147483647 w 96"/>
                    <a:gd name="T65" fmla="*/ 2147483647 h 72"/>
                    <a:gd name="T66" fmla="*/ 2147483647 w 96"/>
                    <a:gd name="T67" fmla="*/ 2147483647 h 72"/>
                    <a:gd name="T68" fmla="*/ 2147483647 w 96"/>
                    <a:gd name="T69" fmla="*/ 2147483647 h 72"/>
                    <a:gd name="T70" fmla="*/ 2147483647 w 96"/>
                    <a:gd name="T71" fmla="*/ 2147483647 h 72"/>
                    <a:gd name="T72" fmla="*/ 2147483647 w 96"/>
                    <a:gd name="T73" fmla="*/ 2147483647 h 72"/>
                    <a:gd name="T74" fmla="*/ 2147483647 w 96"/>
                    <a:gd name="T75" fmla="*/ 2147483647 h 72"/>
                    <a:gd name="T76" fmla="*/ 2147483647 w 96"/>
                    <a:gd name="T77" fmla="*/ 2147483647 h 72"/>
                    <a:gd name="T78" fmla="*/ 2147483647 w 96"/>
                    <a:gd name="T79" fmla="*/ 2147483647 h 72"/>
                    <a:gd name="T80" fmla="*/ 2147483647 w 96"/>
                    <a:gd name="T81" fmla="*/ 2147483647 h 72"/>
                    <a:gd name="T82" fmla="*/ 2147483647 w 96"/>
                    <a:gd name="T83" fmla="*/ 2147483647 h 72"/>
                    <a:gd name="T84" fmla="*/ 2147483647 w 96"/>
                    <a:gd name="T85" fmla="*/ 2147483647 h 72"/>
                    <a:gd name="T86" fmla="*/ 2147483647 w 96"/>
                    <a:gd name="T87" fmla="*/ 2147483647 h 72"/>
                    <a:gd name="T88" fmla="*/ 2147483647 w 96"/>
                    <a:gd name="T89" fmla="*/ 2147483647 h 7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6"/>
                    <a:gd name="T136" fmla="*/ 0 h 72"/>
                    <a:gd name="T137" fmla="*/ 96 w 96"/>
                    <a:gd name="T138" fmla="*/ 72 h 7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6" h="72">
                      <a:moveTo>
                        <a:pt x="84" y="33"/>
                      </a:moveTo>
                      <a:lnTo>
                        <a:pt x="84" y="33"/>
                      </a:lnTo>
                      <a:lnTo>
                        <a:pt x="89" y="28"/>
                      </a:lnTo>
                      <a:lnTo>
                        <a:pt x="93" y="23"/>
                      </a:lnTo>
                      <a:lnTo>
                        <a:pt x="96" y="17"/>
                      </a:lnTo>
                      <a:lnTo>
                        <a:pt x="94" y="12"/>
                      </a:lnTo>
                      <a:lnTo>
                        <a:pt x="93" y="11"/>
                      </a:lnTo>
                      <a:lnTo>
                        <a:pt x="92" y="10"/>
                      </a:lnTo>
                      <a:lnTo>
                        <a:pt x="85" y="8"/>
                      </a:lnTo>
                      <a:lnTo>
                        <a:pt x="71" y="8"/>
                      </a:lnTo>
                      <a:lnTo>
                        <a:pt x="66" y="7"/>
                      </a:lnTo>
                      <a:lnTo>
                        <a:pt x="63" y="4"/>
                      </a:lnTo>
                      <a:lnTo>
                        <a:pt x="57" y="1"/>
                      </a:lnTo>
                      <a:lnTo>
                        <a:pt x="51" y="0"/>
                      </a:lnTo>
                      <a:lnTo>
                        <a:pt x="46" y="1"/>
                      </a:lnTo>
                      <a:lnTo>
                        <a:pt x="42" y="2"/>
                      </a:lnTo>
                      <a:lnTo>
                        <a:pt x="38" y="5"/>
                      </a:lnTo>
                      <a:lnTo>
                        <a:pt x="33" y="6"/>
                      </a:lnTo>
                      <a:lnTo>
                        <a:pt x="24" y="7"/>
                      </a:lnTo>
                      <a:lnTo>
                        <a:pt x="17" y="7"/>
                      </a:lnTo>
                      <a:lnTo>
                        <a:pt x="7" y="8"/>
                      </a:lnTo>
                      <a:lnTo>
                        <a:pt x="5" y="8"/>
                      </a:lnTo>
                      <a:lnTo>
                        <a:pt x="4" y="10"/>
                      </a:lnTo>
                      <a:lnTo>
                        <a:pt x="7" y="17"/>
                      </a:lnTo>
                      <a:lnTo>
                        <a:pt x="8" y="20"/>
                      </a:lnTo>
                      <a:lnTo>
                        <a:pt x="9" y="24"/>
                      </a:lnTo>
                      <a:lnTo>
                        <a:pt x="10" y="26"/>
                      </a:lnTo>
                      <a:lnTo>
                        <a:pt x="12" y="28"/>
                      </a:lnTo>
                      <a:lnTo>
                        <a:pt x="10" y="31"/>
                      </a:lnTo>
                      <a:lnTo>
                        <a:pt x="10" y="33"/>
                      </a:lnTo>
                      <a:lnTo>
                        <a:pt x="7" y="37"/>
                      </a:lnTo>
                      <a:lnTo>
                        <a:pt x="0" y="40"/>
                      </a:lnTo>
                      <a:lnTo>
                        <a:pt x="0" y="42"/>
                      </a:lnTo>
                      <a:lnTo>
                        <a:pt x="0" y="44"/>
                      </a:lnTo>
                      <a:lnTo>
                        <a:pt x="0" y="45"/>
                      </a:lnTo>
                      <a:lnTo>
                        <a:pt x="2" y="47"/>
                      </a:lnTo>
                      <a:lnTo>
                        <a:pt x="5" y="51"/>
                      </a:lnTo>
                      <a:lnTo>
                        <a:pt x="8" y="56"/>
                      </a:lnTo>
                      <a:lnTo>
                        <a:pt x="12" y="65"/>
                      </a:lnTo>
                      <a:lnTo>
                        <a:pt x="14" y="68"/>
                      </a:lnTo>
                      <a:lnTo>
                        <a:pt x="16" y="69"/>
                      </a:lnTo>
                      <a:lnTo>
                        <a:pt x="21" y="70"/>
                      </a:lnTo>
                      <a:lnTo>
                        <a:pt x="32" y="72"/>
                      </a:lnTo>
                      <a:lnTo>
                        <a:pt x="36" y="72"/>
                      </a:lnTo>
                      <a:lnTo>
                        <a:pt x="38" y="71"/>
                      </a:lnTo>
                      <a:lnTo>
                        <a:pt x="41" y="69"/>
                      </a:lnTo>
                      <a:lnTo>
                        <a:pt x="42" y="66"/>
                      </a:lnTo>
                      <a:lnTo>
                        <a:pt x="43" y="62"/>
                      </a:lnTo>
                      <a:lnTo>
                        <a:pt x="46" y="58"/>
                      </a:lnTo>
                      <a:lnTo>
                        <a:pt x="46" y="56"/>
                      </a:lnTo>
                      <a:lnTo>
                        <a:pt x="40" y="52"/>
                      </a:lnTo>
                      <a:lnTo>
                        <a:pt x="38" y="50"/>
                      </a:lnTo>
                      <a:lnTo>
                        <a:pt x="40" y="46"/>
                      </a:lnTo>
                      <a:lnTo>
                        <a:pt x="42" y="45"/>
                      </a:lnTo>
                      <a:lnTo>
                        <a:pt x="43" y="45"/>
                      </a:lnTo>
                      <a:lnTo>
                        <a:pt x="45" y="46"/>
                      </a:lnTo>
                      <a:lnTo>
                        <a:pt x="46" y="49"/>
                      </a:lnTo>
                      <a:lnTo>
                        <a:pt x="47" y="49"/>
                      </a:lnTo>
                      <a:lnTo>
                        <a:pt x="49" y="52"/>
                      </a:lnTo>
                      <a:lnTo>
                        <a:pt x="51" y="53"/>
                      </a:lnTo>
                      <a:lnTo>
                        <a:pt x="54" y="55"/>
                      </a:lnTo>
                      <a:lnTo>
                        <a:pt x="57" y="56"/>
                      </a:lnTo>
                      <a:lnTo>
                        <a:pt x="64" y="56"/>
                      </a:lnTo>
                      <a:lnTo>
                        <a:pt x="69" y="53"/>
                      </a:lnTo>
                      <a:lnTo>
                        <a:pt x="73" y="51"/>
                      </a:lnTo>
                      <a:lnTo>
                        <a:pt x="74" y="47"/>
                      </a:lnTo>
                      <a:lnTo>
                        <a:pt x="75" y="39"/>
                      </a:lnTo>
                      <a:lnTo>
                        <a:pt x="76" y="37"/>
                      </a:lnTo>
                      <a:lnTo>
                        <a:pt x="79" y="36"/>
                      </a:lnTo>
                      <a:lnTo>
                        <a:pt x="84" y="3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0" name="Freeform 954"/>
                <p:cNvSpPr>
                  <a:spLocks/>
                </p:cNvSpPr>
                <p:nvPr/>
              </p:nvSpPr>
              <p:spPr bwMode="auto">
                <a:xfrm>
                  <a:off x="2197129" y="2129217"/>
                  <a:ext cx="149468" cy="122829"/>
                </a:xfrm>
                <a:custGeom>
                  <a:avLst/>
                  <a:gdLst>
                    <a:gd name="T0" fmla="*/ 2147483647 w 109"/>
                    <a:gd name="T1" fmla="*/ 2147483647 h 83"/>
                    <a:gd name="T2" fmla="*/ 2147483647 w 109"/>
                    <a:gd name="T3" fmla="*/ 2147483647 h 83"/>
                    <a:gd name="T4" fmla="*/ 2147483647 w 109"/>
                    <a:gd name="T5" fmla="*/ 2147483647 h 83"/>
                    <a:gd name="T6" fmla="*/ 2147483647 w 109"/>
                    <a:gd name="T7" fmla="*/ 0 h 83"/>
                    <a:gd name="T8" fmla="*/ 2147483647 w 109"/>
                    <a:gd name="T9" fmla="*/ 2147483647 h 83"/>
                    <a:gd name="T10" fmla="*/ 2147483647 w 109"/>
                    <a:gd name="T11" fmla="*/ 2147483647 h 83"/>
                    <a:gd name="T12" fmla="*/ 2147483647 w 109"/>
                    <a:gd name="T13" fmla="*/ 2147483647 h 83"/>
                    <a:gd name="T14" fmla="*/ 2147483647 w 109"/>
                    <a:gd name="T15" fmla="*/ 2147483647 h 83"/>
                    <a:gd name="T16" fmla="*/ 2147483647 w 109"/>
                    <a:gd name="T17" fmla="*/ 2147483647 h 83"/>
                    <a:gd name="T18" fmla="*/ 2147483647 w 109"/>
                    <a:gd name="T19" fmla="*/ 2147483647 h 83"/>
                    <a:gd name="T20" fmla="*/ 2147483647 w 109"/>
                    <a:gd name="T21" fmla="*/ 2147483647 h 83"/>
                    <a:gd name="T22" fmla="*/ 2147483647 w 109"/>
                    <a:gd name="T23" fmla="*/ 2147483647 h 83"/>
                    <a:gd name="T24" fmla="*/ 2147483647 w 109"/>
                    <a:gd name="T25" fmla="*/ 2147483647 h 83"/>
                    <a:gd name="T26" fmla="*/ 2147483647 w 109"/>
                    <a:gd name="T27" fmla="*/ 2147483647 h 83"/>
                    <a:gd name="T28" fmla="*/ 2147483647 w 109"/>
                    <a:gd name="T29" fmla="*/ 2147483647 h 83"/>
                    <a:gd name="T30" fmla="*/ 2147483647 w 109"/>
                    <a:gd name="T31" fmla="*/ 2147483647 h 83"/>
                    <a:gd name="T32" fmla="*/ 2147483647 w 109"/>
                    <a:gd name="T33" fmla="*/ 2147483647 h 83"/>
                    <a:gd name="T34" fmla="*/ 2147483647 w 109"/>
                    <a:gd name="T35" fmla="*/ 2147483647 h 83"/>
                    <a:gd name="T36" fmla="*/ 2147483647 w 109"/>
                    <a:gd name="T37" fmla="*/ 2147483647 h 83"/>
                    <a:gd name="T38" fmla="*/ 2147483647 w 109"/>
                    <a:gd name="T39" fmla="*/ 2147483647 h 83"/>
                    <a:gd name="T40" fmla="*/ 2147483647 w 109"/>
                    <a:gd name="T41" fmla="*/ 2147483647 h 83"/>
                    <a:gd name="T42" fmla="*/ 2147483647 w 109"/>
                    <a:gd name="T43" fmla="*/ 2147483647 h 83"/>
                    <a:gd name="T44" fmla="*/ 2147483647 w 109"/>
                    <a:gd name="T45" fmla="*/ 2147483647 h 83"/>
                    <a:gd name="T46" fmla="*/ 2147483647 w 109"/>
                    <a:gd name="T47" fmla="*/ 2147483647 h 83"/>
                    <a:gd name="T48" fmla="*/ 2147483647 w 109"/>
                    <a:gd name="T49" fmla="*/ 2147483647 h 83"/>
                    <a:gd name="T50" fmla="*/ 2147483647 w 109"/>
                    <a:gd name="T51" fmla="*/ 2147483647 h 83"/>
                    <a:gd name="T52" fmla="*/ 2147483647 w 109"/>
                    <a:gd name="T53" fmla="*/ 2147483647 h 83"/>
                    <a:gd name="T54" fmla="*/ 2147483647 w 109"/>
                    <a:gd name="T55" fmla="*/ 2147483647 h 83"/>
                    <a:gd name="T56" fmla="*/ 2147483647 w 109"/>
                    <a:gd name="T57" fmla="*/ 2147483647 h 83"/>
                    <a:gd name="T58" fmla="*/ 2147483647 w 109"/>
                    <a:gd name="T59" fmla="*/ 2147483647 h 83"/>
                    <a:gd name="T60" fmla="*/ 2147483647 w 109"/>
                    <a:gd name="T61" fmla="*/ 2147483647 h 83"/>
                    <a:gd name="T62" fmla="*/ 2147483647 w 109"/>
                    <a:gd name="T63" fmla="*/ 2147483647 h 83"/>
                    <a:gd name="T64" fmla="*/ 2147483647 w 109"/>
                    <a:gd name="T65" fmla="*/ 2147483647 h 83"/>
                    <a:gd name="T66" fmla="*/ 2147483647 w 109"/>
                    <a:gd name="T67" fmla="*/ 2147483647 h 83"/>
                    <a:gd name="T68" fmla="*/ 2147483647 w 109"/>
                    <a:gd name="T69" fmla="*/ 2147483647 h 83"/>
                    <a:gd name="T70" fmla="*/ 2147483647 w 109"/>
                    <a:gd name="T71" fmla="*/ 2147483647 h 83"/>
                    <a:gd name="T72" fmla="*/ 2147483647 w 109"/>
                    <a:gd name="T73" fmla="*/ 2147483647 h 83"/>
                    <a:gd name="T74" fmla="*/ 2147483647 w 109"/>
                    <a:gd name="T75" fmla="*/ 2147483647 h 83"/>
                    <a:gd name="T76" fmla="*/ 2147483647 w 109"/>
                    <a:gd name="T77" fmla="*/ 2147483647 h 83"/>
                    <a:gd name="T78" fmla="*/ 2147483647 w 109"/>
                    <a:gd name="T79" fmla="*/ 2147483647 h 83"/>
                    <a:gd name="T80" fmla="*/ 2147483647 w 109"/>
                    <a:gd name="T81" fmla="*/ 2147483647 h 83"/>
                    <a:gd name="T82" fmla="*/ 2147483647 w 109"/>
                    <a:gd name="T83" fmla="*/ 2147483647 h 83"/>
                    <a:gd name="T84" fmla="*/ 2147483647 w 109"/>
                    <a:gd name="T85" fmla="*/ 2147483647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83"/>
                    <a:gd name="T131" fmla="*/ 109 w 109"/>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83">
                      <a:moveTo>
                        <a:pt x="81" y="6"/>
                      </a:moveTo>
                      <a:lnTo>
                        <a:pt x="81" y="6"/>
                      </a:lnTo>
                      <a:lnTo>
                        <a:pt x="76" y="6"/>
                      </a:lnTo>
                      <a:lnTo>
                        <a:pt x="73" y="8"/>
                      </a:lnTo>
                      <a:lnTo>
                        <a:pt x="71" y="8"/>
                      </a:lnTo>
                      <a:lnTo>
                        <a:pt x="67" y="6"/>
                      </a:lnTo>
                      <a:lnTo>
                        <a:pt x="61" y="6"/>
                      </a:lnTo>
                      <a:lnTo>
                        <a:pt x="54" y="5"/>
                      </a:lnTo>
                      <a:lnTo>
                        <a:pt x="44" y="0"/>
                      </a:lnTo>
                      <a:lnTo>
                        <a:pt x="40" y="0"/>
                      </a:lnTo>
                      <a:lnTo>
                        <a:pt x="36" y="3"/>
                      </a:lnTo>
                      <a:lnTo>
                        <a:pt x="25" y="15"/>
                      </a:lnTo>
                      <a:lnTo>
                        <a:pt x="25" y="16"/>
                      </a:lnTo>
                      <a:lnTo>
                        <a:pt x="26" y="17"/>
                      </a:lnTo>
                      <a:lnTo>
                        <a:pt x="31" y="18"/>
                      </a:lnTo>
                      <a:lnTo>
                        <a:pt x="36" y="22"/>
                      </a:lnTo>
                      <a:lnTo>
                        <a:pt x="39" y="25"/>
                      </a:lnTo>
                      <a:lnTo>
                        <a:pt x="40" y="30"/>
                      </a:lnTo>
                      <a:lnTo>
                        <a:pt x="42" y="32"/>
                      </a:lnTo>
                      <a:lnTo>
                        <a:pt x="45" y="34"/>
                      </a:lnTo>
                      <a:lnTo>
                        <a:pt x="44" y="36"/>
                      </a:lnTo>
                      <a:lnTo>
                        <a:pt x="40" y="37"/>
                      </a:lnTo>
                      <a:lnTo>
                        <a:pt x="34" y="36"/>
                      </a:lnTo>
                      <a:lnTo>
                        <a:pt x="31" y="36"/>
                      </a:lnTo>
                      <a:lnTo>
                        <a:pt x="29" y="34"/>
                      </a:lnTo>
                      <a:lnTo>
                        <a:pt x="25" y="30"/>
                      </a:lnTo>
                      <a:lnTo>
                        <a:pt x="20" y="27"/>
                      </a:lnTo>
                      <a:lnTo>
                        <a:pt x="14" y="24"/>
                      </a:lnTo>
                      <a:lnTo>
                        <a:pt x="9" y="25"/>
                      </a:lnTo>
                      <a:lnTo>
                        <a:pt x="5" y="29"/>
                      </a:lnTo>
                      <a:lnTo>
                        <a:pt x="2" y="32"/>
                      </a:lnTo>
                      <a:lnTo>
                        <a:pt x="0" y="37"/>
                      </a:lnTo>
                      <a:lnTo>
                        <a:pt x="1" y="41"/>
                      </a:lnTo>
                      <a:lnTo>
                        <a:pt x="3" y="43"/>
                      </a:lnTo>
                      <a:lnTo>
                        <a:pt x="10" y="44"/>
                      </a:lnTo>
                      <a:lnTo>
                        <a:pt x="12" y="45"/>
                      </a:lnTo>
                      <a:lnTo>
                        <a:pt x="14" y="47"/>
                      </a:lnTo>
                      <a:lnTo>
                        <a:pt x="15" y="51"/>
                      </a:lnTo>
                      <a:lnTo>
                        <a:pt x="16" y="56"/>
                      </a:lnTo>
                      <a:lnTo>
                        <a:pt x="17" y="59"/>
                      </a:lnTo>
                      <a:lnTo>
                        <a:pt x="20" y="60"/>
                      </a:lnTo>
                      <a:lnTo>
                        <a:pt x="23" y="60"/>
                      </a:lnTo>
                      <a:lnTo>
                        <a:pt x="25" y="60"/>
                      </a:lnTo>
                      <a:lnTo>
                        <a:pt x="30" y="56"/>
                      </a:lnTo>
                      <a:lnTo>
                        <a:pt x="31" y="56"/>
                      </a:lnTo>
                      <a:lnTo>
                        <a:pt x="34" y="57"/>
                      </a:lnTo>
                      <a:lnTo>
                        <a:pt x="35" y="60"/>
                      </a:lnTo>
                      <a:lnTo>
                        <a:pt x="38" y="60"/>
                      </a:lnTo>
                      <a:lnTo>
                        <a:pt x="44" y="60"/>
                      </a:lnTo>
                      <a:lnTo>
                        <a:pt x="47" y="61"/>
                      </a:lnTo>
                      <a:lnTo>
                        <a:pt x="48" y="62"/>
                      </a:lnTo>
                      <a:lnTo>
                        <a:pt x="52" y="70"/>
                      </a:lnTo>
                      <a:lnTo>
                        <a:pt x="57" y="78"/>
                      </a:lnTo>
                      <a:lnTo>
                        <a:pt x="59" y="80"/>
                      </a:lnTo>
                      <a:lnTo>
                        <a:pt x="63" y="82"/>
                      </a:lnTo>
                      <a:lnTo>
                        <a:pt x="67" y="83"/>
                      </a:lnTo>
                      <a:lnTo>
                        <a:pt x="71" y="83"/>
                      </a:lnTo>
                      <a:lnTo>
                        <a:pt x="73" y="82"/>
                      </a:lnTo>
                      <a:lnTo>
                        <a:pt x="73" y="81"/>
                      </a:lnTo>
                      <a:lnTo>
                        <a:pt x="76" y="78"/>
                      </a:lnTo>
                      <a:lnTo>
                        <a:pt x="78" y="74"/>
                      </a:lnTo>
                      <a:lnTo>
                        <a:pt x="82" y="73"/>
                      </a:lnTo>
                      <a:lnTo>
                        <a:pt x="87" y="72"/>
                      </a:lnTo>
                      <a:lnTo>
                        <a:pt x="91" y="72"/>
                      </a:lnTo>
                      <a:lnTo>
                        <a:pt x="92" y="68"/>
                      </a:lnTo>
                      <a:lnTo>
                        <a:pt x="94" y="66"/>
                      </a:lnTo>
                      <a:lnTo>
                        <a:pt x="96" y="63"/>
                      </a:lnTo>
                      <a:lnTo>
                        <a:pt x="101" y="63"/>
                      </a:lnTo>
                      <a:lnTo>
                        <a:pt x="104" y="66"/>
                      </a:lnTo>
                      <a:lnTo>
                        <a:pt x="105" y="67"/>
                      </a:lnTo>
                      <a:lnTo>
                        <a:pt x="108" y="66"/>
                      </a:lnTo>
                      <a:lnTo>
                        <a:pt x="109" y="64"/>
                      </a:lnTo>
                      <a:lnTo>
                        <a:pt x="109" y="62"/>
                      </a:lnTo>
                      <a:lnTo>
                        <a:pt x="106" y="60"/>
                      </a:lnTo>
                      <a:lnTo>
                        <a:pt x="104" y="57"/>
                      </a:lnTo>
                      <a:lnTo>
                        <a:pt x="103" y="51"/>
                      </a:lnTo>
                      <a:lnTo>
                        <a:pt x="103" y="45"/>
                      </a:lnTo>
                      <a:lnTo>
                        <a:pt x="103" y="40"/>
                      </a:lnTo>
                      <a:lnTo>
                        <a:pt x="101" y="38"/>
                      </a:lnTo>
                      <a:lnTo>
                        <a:pt x="100" y="38"/>
                      </a:lnTo>
                      <a:lnTo>
                        <a:pt x="97" y="38"/>
                      </a:lnTo>
                      <a:lnTo>
                        <a:pt x="96" y="40"/>
                      </a:lnTo>
                      <a:lnTo>
                        <a:pt x="95" y="38"/>
                      </a:lnTo>
                      <a:lnTo>
                        <a:pt x="94" y="36"/>
                      </a:lnTo>
                      <a:lnTo>
                        <a:pt x="94" y="35"/>
                      </a:lnTo>
                      <a:lnTo>
                        <a:pt x="92" y="35"/>
                      </a:lnTo>
                      <a:lnTo>
                        <a:pt x="89" y="34"/>
                      </a:lnTo>
                      <a:lnTo>
                        <a:pt x="86" y="31"/>
                      </a:lnTo>
                      <a:lnTo>
                        <a:pt x="85" y="28"/>
                      </a:lnTo>
                      <a:lnTo>
                        <a:pt x="85" y="24"/>
                      </a:lnTo>
                      <a:lnTo>
                        <a:pt x="86" y="23"/>
                      </a:lnTo>
                      <a:lnTo>
                        <a:pt x="87" y="22"/>
                      </a:lnTo>
                      <a:lnTo>
                        <a:pt x="91" y="21"/>
                      </a:lnTo>
                      <a:lnTo>
                        <a:pt x="96" y="19"/>
                      </a:lnTo>
                      <a:lnTo>
                        <a:pt x="99" y="18"/>
                      </a:lnTo>
                      <a:lnTo>
                        <a:pt x="100" y="16"/>
                      </a:lnTo>
                      <a:lnTo>
                        <a:pt x="99" y="12"/>
                      </a:lnTo>
                      <a:lnTo>
                        <a:pt x="96" y="8"/>
                      </a:lnTo>
                      <a:lnTo>
                        <a:pt x="94" y="5"/>
                      </a:lnTo>
                      <a:lnTo>
                        <a:pt x="90" y="5"/>
                      </a:lnTo>
                      <a:lnTo>
                        <a:pt x="8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1" name="Freeform 955"/>
                <p:cNvSpPr>
                  <a:spLocks/>
                </p:cNvSpPr>
                <p:nvPr/>
              </p:nvSpPr>
              <p:spPr bwMode="auto">
                <a:xfrm>
                  <a:off x="2269643" y="2312725"/>
                  <a:ext cx="110990" cy="57714"/>
                </a:xfrm>
                <a:custGeom>
                  <a:avLst/>
                  <a:gdLst>
                    <a:gd name="T0" fmla="*/ 2147483647 w 81"/>
                    <a:gd name="T1" fmla="*/ 2147483647 h 39"/>
                    <a:gd name="T2" fmla="*/ 2147483647 w 81"/>
                    <a:gd name="T3" fmla="*/ 2147483647 h 39"/>
                    <a:gd name="T4" fmla="*/ 2147483647 w 81"/>
                    <a:gd name="T5" fmla="*/ 2147483647 h 39"/>
                    <a:gd name="T6" fmla="*/ 2147483647 w 81"/>
                    <a:gd name="T7" fmla="*/ 2147483647 h 39"/>
                    <a:gd name="T8" fmla="*/ 2147483647 w 81"/>
                    <a:gd name="T9" fmla="*/ 2147483647 h 39"/>
                    <a:gd name="T10" fmla="*/ 2147483647 w 81"/>
                    <a:gd name="T11" fmla="*/ 2147483647 h 39"/>
                    <a:gd name="T12" fmla="*/ 2147483647 w 81"/>
                    <a:gd name="T13" fmla="*/ 2147483647 h 39"/>
                    <a:gd name="T14" fmla="*/ 2147483647 w 81"/>
                    <a:gd name="T15" fmla="*/ 2147483647 h 39"/>
                    <a:gd name="T16" fmla="*/ 2147483647 w 81"/>
                    <a:gd name="T17" fmla="*/ 2147483647 h 39"/>
                    <a:gd name="T18" fmla="*/ 2147483647 w 81"/>
                    <a:gd name="T19" fmla="*/ 2147483647 h 39"/>
                    <a:gd name="T20" fmla="*/ 2147483647 w 81"/>
                    <a:gd name="T21" fmla="*/ 2147483647 h 39"/>
                    <a:gd name="T22" fmla="*/ 2147483647 w 81"/>
                    <a:gd name="T23" fmla="*/ 2147483647 h 39"/>
                    <a:gd name="T24" fmla="*/ 2147483647 w 81"/>
                    <a:gd name="T25" fmla="*/ 2147483647 h 39"/>
                    <a:gd name="T26" fmla="*/ 2147483647 w 81"/>
                    <a:gd name="T27" fmla="*/ 2147483647 h 39"/>
                    <a:gd name="T28" fmla="*/ 2147483647 w 81"/>
                    <a:gd name="T29" fmla="*/ 2147483647 h 39"/>
                    <a:gd name="T30" fmla="*/ 0 w 81"/>
                    <a:gd name="T31" fmla="*/ 2147483647 h 39"/>
                    <a:gd name="T32" fmla="*/ 0 w 81"/>
                    <a:gd name="T33" fmla="*/ 2147483647 h 39"/>
                    <a:gd name="T34" fmla="*/ 0 w 81"/>
                    <a:gd name="T35" fmla="*/ 2147483647 h 39"/>
                    <a:gd name="T36" fmla="*/ 2147483647 w 81"/>
                    <a:gd name="T37" fmla="*/ 2147483647 h 39"/>
                    <a:gd name="T38" fmla="*/ 2147483647 w 81"/>
                    <a:gd name="T39" fmla="*/ 2147483647 h 39"/>
                    <a:gd name="T40" fmla="*/ 2147483647 w 81"/>
                    <a:gd name="T41" fmla="*/ 2147483647 h 39"/>
                    <a:gd name="T42" fmla="*/ 2147483647 w 81"/>
                    <a:gd name="T43" fmla="*/ 2147483647 h 39"/>
                    <a:gd name="T44" fmla="*/ 2147483647 w 81"/>
                    <a:gd name="T45" fmla="*/ 2147483647 h 39"/>
                    <a:gd name="T46" fmla="*/ 2147483647 w 81"/>
                    <a:gd name="T47" fmla="*/ 2147483647 h 39"/>
                    <a:gd name="T48" fmla="*/ 2147483647 w 81"/>
                    <a:gd name="T49" fmla="*/ 2147483647 h 39"/>
                    <a:gd name="T50" fmla="*/ 2147483647 w 81"/>
                    <a:gd name="T51" fmla="*/ 2147483647 h 39"/>
                    <a:gd name="T52" fmla="*/ 2147483647 w 81"/>
                    <a:gd name="T53" fmla="*/ 2147483647 h 39"/>
                    <a:gd name="T54" fmla="*/ 2147483647 w 81"/>
                    <a:gd name="T55" fmla="*/ 0 h 39"/>
                    <a:gd name="T56" fmla="*/ 2147483647 w 81"/>
                    <a:gd name="T57" fmla="*/ 0 h 39"/>
                    <a:gd name="T58" fmla="*/ 2147483647 w 81"/>
                    <a:gd name="T59" fmla="*/ 2147483647 h 39"/>
                    <a:gd name="T60" fmla="*/ 2147483647 w 81"/>
                    <a:gd name="T61" fmla="*/ 2147483647 h 39"/>
                    <a:gd name="T62" fmla="*/ 2147483647 w 81"/>
                    <a:gd name="T63" fmla="*/ 2147483647 h 39"/>
                    <a:gd name="T64" fmla="*/ 2147483647 w 81"/>
                    <a:gd name="T65" fmla="*/ 2147483647 h 39"/>
                    <a:gd name="T66" fmla="*/ 2147483647 w 81"/>
                    <a:gd name="T67" fmla="*/ 2147483647 h 39"/>
                    <a:gd name="T68" fmla="*/ 2147483647 w 81"/>
                    <a:gd name="T69" fmla="*/ 2147483647 h 39"/>
                    <a:gd name="T70" fmla="*/ 2147483647 w 81"/>
                    <a:gd name="T71" fmla="*/ 2147483647 h 39"/>
                    <a:gd name="T72" fmla="*/ 2147483647 w 81"/>
                    <a:gd name="T73" fmla="*/ 2147483647 h 39"/>
                    <a:gd name="T74" fmla="*/ 2147483647 w 81"/>
                    <a:gd name="T75" fmla="*/ 2147483647 h 39"/>
                    <a:gd name="T76" fmla="*/ 2147483647 w 81"/>
                    <a:gd name="T77" fmla="*/ 2147483647 h 39"/>
                    <a:gd name="T78" fmla="*/ 2147483647 w 81"/>
                    <a:gd name="T79" fmla="*/ 2147483647 h 39"/>
                    <a:gd name="T80" fmla="*/ 2147483647 w 81"/>
                    <a:gd name="T81" fmla="*/ 2147483647 h 39"/>
                    <a:gd name="T82" fmla="*/ 2147483647 w 81"/>
                    <a:gd name="T83" fmla="*/ 2147483647 h 39"/>
                    <a:gd name="T84" fmla="*/ 2147483647 w 81"/>
                    <a:gd name="T85" fmla="*/ 2147483647 h 39"/>
                    <a:gd name="T86" fmla="*/ 2147483647 w 81"/>
                    <a:gd name="T87" fmla="*/ 2147483647 h 39"/>
                    <a:gd name="T88" fmla="*/ 2147483647 w 81"/>
                    <a:gd name="T89" fmla="*/ 2147483647 h 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1"/>
                    <a:gd name="T136" fmla="*/ 0 h 39"/>
                    <a:gd name="T137" fmla="*/ 81 w 81"/>
                    <a:gd name="T138" fmla="*/ 39 h 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1" h="39">
                      <a:moveTo>
                        <a:pt x="76" y="26"/>
                      </a:moveTo>
                      <a:lnTo>
                        <a:pt x="74" y="29"/>
                      </a:lnTo>
                      <a:lnTo>
                        <a:pt x="71" y="34"/>
                      </a:lnTo>
                      <a:lnTo>
                        <a:pt x="69" y="38"/>
                      </a:lnTo>
                      <a:lnTo>
                        <a:pt x="67" y="39"/>
                      </a:lnTo>
                      <a:lnTo>
                        <a:pt x="65" y="39"/>
                      </a:lnTo>
                      <a:lnTo>
                        <a:pt x="52" y="39"/>
                      </a:lnTo>
                      <a:lnTo>
                        <a:pt x="41" y="38"/>
                      </a:lnTo>
                      <a:lnTo>
                        <a:pt x="28" y="34"/>
                      </a:lnTo>
                      <a:lnTo>
                        <a:pt x="16" y="29"/>
                      </a:lnTo>
                      <a:lnTo>
                        <a:pt x="13" y="28"/>
                      </a:lnTo>
                      <a:lnTo>
                        <a:pt x="10" y="28"/>
                      </a:lnTo>
                      <a:lnTo>
                        <a:pt x="9" y="28"/>
                      </a:lnTo>
                      <a:lnTo>
                        <a:pt x="4" y="25"/>
                      </a:lnTo>
                      <a:lnTo>
                        <a:pt x="1" y="23"/>
                      </a:lnTo>
                      <a:lnTo>
                        <a:pt x="0" y="21"/>
                      </a:lnTo>
                      <a:lnTo>
                        <a:pt x="0" y="20"/>
                      </a:lnTo>
                      <a:lnTo>
                        <a:pt x="0" y="18"/>
                      </a:lnTo>
                      <a:lnTo>
                        <a:pt x="3" y="16"/>
                      </a:lnTo>
                      <a:lnTo>
                        <a:pt x="4" y="16"/>
                      </a:lnTo>
                      <a:lnTo>
                        <a:pt x="15" y="15"/>
                      </a:lnTo>
                      <a:lnTo>
                        <a:pt x="16" y="15"/>
                      </a:lnTo>
                      <a:lnTo>
                        <a:pt x="16" y="13"/>
                      </a:lnTo>
                      <a:lnTo>
                        <a:pt x="16" y="8"/>
                      </a:lnTo>
                      <a:lnTo>
                        <a:pt x="16" y="7"/>
                      </a:lnTo>
                      <a:lnTo>
                        <a:pt x="19" y="6"/>
                      </a:lnTo>
                      <a:lnTo>
                        <a:pt x="24" y="3"/>
                      </a:lnTo>
                      <a:lnTo>
                        <a:pt x="28" y="0"/>
                      </a:lnTo>
                      <a:lnTo>
                        <a:pt x="29" y="0"/>
                      </a:lnTo>
                      <a:lnTo>
                        <a:pt x="30" y="1"/>
                      </a:lnTo>
                      <a:lnTo>
                        <a:pt x="32" y="2"/>
                      </a:lnTo>
                      <a:lnTo>
                        <a:pt x="36" y="3"/>
                      </a:lnTo>
                      <a:lnTo>
                        <a:pt x="39" y="3"/>
                      </a:lnTo>
                      <a:lnTo>
                        <a:pt x="51" y="9"/>
                      </a:lnTo>
                      <a:lnTo>
                        <a:pt x="57" y="13"/>
                      </a:lnTo>
                      <a:lnTo>
                        <a:pt x="63" y="14"/>
                      </a:lnTo>
                      <a:lnTo>
                        <a:pt x="66" y="13"/>
                      </a:lnTo>
                      <a:lnTo>
                        <a:pt x="67" y="12"/>
                      </a:lnTo>
                      <a:lnTo>
                        <a:pt x="70" y="10"/>
                      </a:lnTo>
                      <a:lnTo>
                        <a:pt x="72" y="9"/>
                      </a:lnTo>
                      <a:lnTo>
                        <a:pt x="79" y="13"/>
                      </a:lnTo>
                      <a:lnTo>
                        <a:pt x="81" y="14"/>
                      </a:lnTo>
                      <a:lnTo>
                        <a:pt x="81" y="16"/>
                      </a:lnTo>
                      <a:lnTo>
                        <a:pt x="80" y="21"/>
                      </a:lnTo>
                      <a:lnTo>
                        <a:pt x="76"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2" name="Freeform 956"/>
                <p:cNvSpPr>
                  <a:spLocks/>
                </p:cNvSpPr>
                <p:nvPr/>
              </p:nvSpPr>
              <p:spPr bwMode="auto">
                <a:xfrm>
                  <a:off x="2842357" y="2370436"/>
                  <a:ext cx="20718" cy="19239"/>
                </a:xfrm>
                <a:custGeom>
                  <a:avLst/>
                  <a:gdLst>
                    <a:gd name="T0" fmla="*/ 2147483647 w 15"/>
                    <a:gd name="T1" fmla="*/ 2147483647 h 13"/>
                    <a:gd name="T2" fmla="*/ 2147483647 w 15"/>
                    <a:gd name="T3" fmla="*/ 2147483647 h 13"/>
                    <a:gd name="T4" fmla="*/ 2147483647 w 15"/>
                    <a:gd name="T5" fmla="*/ 2147483647 h 13"/>
                    <a:gd name="T6" fmla="*/ 2147483647 w 15"/>
                    <a:gd name="T7" fmla="*/ 0 h 13"/>
                    <a:gd name="T8" fmla="*/ 2147483647 w 15"/>
                    <a:gd name="T9" fmla="*/ 0 h 13"/>
                    <a:gd name="T10" fmla="*/ 2147483647 w 15"/>
                    <a:gd name="T11" fmla="*/ 2147483647 h 13"/>
                    <a:gd name="T12" fmla="*/ 2147483647 w 15"/>
                    <a:gd name="T13" fmla="*/ 2147483647 h 13"/>
                    <a:gd name="T14" fmla="*/ 0 w 15"/>
                    <a:gd name="T15" fmla="*/ 2147483647 h 13"/>
                    <a:gd name="T16" fmla="*/ 0 w 15"/>
                    <a:gd name="T17" fmla="*/ 2147483647 h 13"/>
                    <a:gd name="T18" fmla="*/ 2147483647 w 15"/>
                    <a:gd name="T19" fmla="*/ 2147483647 h 13"/>
                    <a:gd name="T20" fmla="*/ 2147483647 w 15"/>
                    <a:gd name="T21" fmla="*/ 2147483647 h 13"/>
                    <a:gd name="T22" fmla="*/ 2147483647 w 15"/>
                    <a:gd name="T23" fmla="*/ 2147483647 h 13"/>
                    <a:gd name="T24" fmla="*/ 2147483647 w 15"/>
                    <a:gd name="T25" fmla="*/ 2147483647 h 13"/>
                    <a:gd name="T26" fmla="*/ 2147483647 w 15"/>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15" y="7"/>
                      </a:moveTo>
                      <a:lnTo>
                        <a:pt x="15" y="3"/>
                      </a:lnTo>
                      <a:lnTo>
                        <a:pt x="14" y="1"/>
                      </a:lnTo>
                      <a:lnTo>
                        <a:pt x="11" y="0"/>
                      </a:lnTo>
                      <a:lnTo>
                        <a:pt x="10" y="0"/>
                      </a:lnTo>
                      <a:lnTo>
                        <a:pt x="5" y="1"/>
                      </a:lnTo>
                      <a:lnTo>
                        <a:pt x="3" y="5"/>
                      </a:lnTo>
                      <a:lnTo>
                        <a:pt x="0" y="9"/>
                      </a:lnTo>
                      <a:lnTo>
                        <a:pt x="0" y="11"/>
                      </a:lnTo>
                      <a:lnTo>
                        <a:pt x="1" y="12"/>
                      </a:lnTo>
                      <a:lnTo>
                        <a:pt x="5" y="13"/>
                      </a:lnTo>
                      <a:lnTo>
                        <a:pt x="9" y="12"/>
                      </a:lnTo>
                      <a:lnTo>
                        <a:pt x="13" y="11"/>
                      </a:lnTo>
                      <a:lnTo>
                        <a:pt x="1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3" name="Freeform 957"/>
                <p:cNvSpPr>
                  <a:spLocks/>
                </p:cNvSpPr>
                <p:nvPr/>
              </p:nvSpPr>
              <p:spPr bwMode="auto">
                <a:xfrm>
                  <a:off x="2268165" y="2311244"/>
                  <a:ext cx="110991" cy="57715"/>
                </a:xfrm>
                <a:custGeom>
                  <a:avLst/>
                  <a:gdLst>
                    <a:gd name="T0" fmla="*/ 2147483647 w 81"/>
                    <a:gd name="T1" fmla="*/ 2147483647 h 39"/>
                    <a:gd name="T2" fmla="*/ 2147483647 w 81"/>
                    <a:gd name="T3" fmla="*/ 2147483647 h 39"/>
                    <a:gd name="T4" fmla="*/ 2147483647 w 81"/>
                    <a:gd name="T5" fmla="*/ 2147483647 h 39"/>
                    <a:gd name="T6" fmla="*/ 2147483647 w 81"/>
                    <a:gd name="T7" fmla="*/ 2147483647 h 39"/>
                    <a:gd name="T8" fmla="*/ 2147483647 w 81"/>
                    <a:gd name="T9" fmla="*/ 2147483647 h 39"/>
                    <a:gd name="T10" fmla="*/ 2147483647 w 81"/>
                    <a:gd name="T11" fmla="*/ 2147483647 h 39"/>
                    <a:gd name="T12" fmla="*/ 2147483647 w 81"/>
                    <a:gd name="T13" fmla="*/ 2147483647 h 39"/>
                    <a:gd name="T14" fmla="*/ 2147483647 w 81"/>
                    <a:gd name="T15" fmla="*/ 2147483647 h 39"/>
                    <a:gd name="T16" fmla="*/ 2147483647 w 81"/>
                    <a:gd name="T17" fmla="*/ 2147483647 h 39"/>
                    <a:gd name="T18" fmla="*/ 2147483647 w 81"/>
                    <a:gd name="T19" fmla="*/ 2147483647 h 39"/>
                    <a:gd name="T20" fmla="*/ 2147483647 w 81"/>
                    <a:gd name="T21" fmla="*/ 2147483647 h 39"/>
                    <a:gd name="T22" fmla="*/ 2147483647 w 81"/>
                    <a:gd name="T23" fmla="*/ 2147483647 h 39"/>
                    <a:gd name="T24" fmla="*/ 2147483647 w 81"/>
                    <a:gd name="T25" fmla="*/ 2147483647 h 39"/>
                    <a:gd name="T26" fmla="*/ 2147483647 w 81"/>
                    <a:gd name="T27" fmla="*/ 2147483647 h 39"/>
                    <a:gd name="T28" fmla="*/ 2147483647 w 81"/>
                    <a:gd name="T29" fmla="*/ 2147483647 h 39"/>
                    <a:gd name="T30" fmla="*/ 2147483647 w 81"/>
                    <a:gd name="T31" fmla="*/ 2147483647 h 39"/>
                    <a:gd name="T32" fmla="*/ 2147483647 w 81"/>
                    <a:gd name="T33" fmla="*/ 2147483647 h 39"/>
                    <a:gd name="T34" fmla="*/ 2147483647 w 81"/>
                    <a:gd name="T35" fmla="*/ 2147483647 h 39"/>
                    <a:gd name="T36" fmla="*/ 2147483647 w 81"/>
                    <a:gd name="T37" fmla="*/ 2147483647 h 39"/>
                    <a:gd name="T38" fmla="*/ 0 w 81"/>
                    <a:gd name="T39" fmla="*/ 2147483647 h 39"/>
                    <a:gd name="T40" fmla="*/ 0 w 81"/>
                    <a:gd name="T41" fmla="*/ 2147483647 h 39"/>
                    <a:gd name="T42" fmla="*/ 0 w 81"/>
                    <a:gd name="T43" fmla="*/ 2147483647 h 39"/>
                    <a:gd name="T44" fmla="*/ 0 w 81"/>
                    <a:gd name="T45" fmla="*/ 2147483647 h 39"/>
                    <a:gd name="T46" fmla="*/ 2147483647 w 81"/>
                    <a:gd name="T47" fmla="*/ 2147483647 h 39"/>
                    <a:gd name="T48" fmla="*/ 2147483647 w 81"/>
                    <a:gd name="T49" fmla="*/ 2147483647 h 39"/>
                    <a:gd name="T50" fmla="*/ 2147483647 w 81"/>
                    <a:gd name="T51" fmla="*/ 2147483647 h 39"/>
                    <a:gd name="T52" fmla="*/ 2147483647 w 81"/>
                    <a:gd name="T53" fmla="*/ 2147483647 h 39"/>
                    <a:gd name="T54" fmla="*/ 2147483647 w 81"/>
                    <a:gd name="T55" fmla="*/ 2147483647 h 39"/>
                    <a:gd name="T56" fmla="*/ 2147483647 w 81"/>
                    <a:gd name="T57" fmla="*/ 2147483647 h 39"/>
                    <a:gd name="T58" fmla="*/ 2147483647 w 81"/>
                    <a:gd name="T59" fmla="*/ 2147483647 h 39"/>
                    <a:gd name="T60" fmla="*/ 2147483647 w 81"/>
                    <a:gd name="T61" fmla="*/ 2147483647 h 39"/>
                    <a:gd name="T62" fmla="*/ 2147483647 w 81"/>
                    <a:gd name="T63" fmla="*/ 2147483647 h 39"/>
                    <a:gd name="T64" fmla="*/ 2147483647 w 81"/>
                    <a:gd name="T65" fmla="*/ 2147483647 h 39"/>
                    <a:gd name="T66" fmla="*/ 2147483647 w 81"/>
                    <a:gd name="T67" fmla="*/ 2147483647 h 39"/>
                    <a:gd name="T68" fmla="*/ 2147483647 w 81"/>
                    <a:gd name="T69" fmla="*/ 2147483647 h 39"/>
                    <a:gd name="T70" fmla="*/ 2147483647 w 81"/>
                    <a:gd name="T71" fmla="*/ 0 h 39"/>
                    <a:gd name="T72" fmla="*/ 2147483647 w 81"/>
                    <a:gd name="T73" fmla="*/ 0 h 39"/>
                    <a:gd name="T74" fmla="*/ 2147483647 w 81"/>
                    <a:gd name="T75" fmla="*/ 0 h 39"/>
                    <a:gd name="T76" fmla="*/ 2147483647 w 81"/>
                    <a:gd name="T77" fmla="*/ 2147483647 h 39"/>
                    <a:gd name="T78" fmla="*/ 2147483647 w 81"/>
                    <a:gd name="T79" fmla="*/ 2147483647 h 39"/>
                    <a:gd name="T80" fmla="*/ 2147483647 w 81"/>
                    <a:gd name="T81" fmla="*/ 2147483647 h 39"/>
                    <a:gd name="T82" fmla="*/ 2147483647 w 81"/>
                    <a:gd name="T83" fmla="*/ 2147483647 h 39"/>
                    <a:gd name="T84" fmla="*/ 2147483647 w 81"/>
                    <a:gd name="T85" fmla="*/ 2147483647 h 39"/>
                    <a:gd name="T86" fmla="*/ 2147483647 w 81"/>
                    <a:gd name="T87" fmla="*/ 2147483647 h 39"/>
                    <a:gd name="T88" fmla="*/ 2147483647 w 81"/>
                    <a:gd name="T89" fmla="*/ 2147483647 h 39"/>
                    <a:gd name="T90" fmla="*/ 2147483647 w 81"/>
                    <a:gd name="T91" fmla="*/ 2147483647 h 39"/>
                    <a:gd name="T92" fmla="*/ 2147483647 w 81"/>
                    <a:gd name="T93" fmla="*/ 2147483647 h 39"/>
                    <a:gd name="T94" fmla="*/ 2147483647 w 81"/>
                    <a:gd name="T95" fmla="*/ 2147483647 h 39"/>
                    <a:gd name="T96" fmla="*/ 2147483647 w 81"/>
                    <a:gd name="T97" fmla="*/ 2147483647 h 39"/>
                    <a:gd name="T98" fmla="*/ 2147483647 w 81"/>
                    <a:gd name="T99" fmla="*/ 2147483647 h 39"/>
                    <a:gd name="T100" fmla="*/ 2147483647 w 81"/>
                    <a:gd name="T101" fmla="*/ 2147483647 h 39"/>
                    <a:gd name="T102" fmla="*/ 2147483647 w 81"/>
                    <a:gd name="T103" fmla="*/ 2147483647 h 39"/>
                    <a:gd name="T104" fmla="*/ 2147483647 w 81"/>
                    <a:gd name="T105" fmla="*/ 2147483647 h 39"/>
                    <a:gd name="T106" fmla="*/ 2147483647 w 81"/>
                    <a:gd name="T107" fmla="*/ 2147483647 h 39"/>
                    <a:gd name="T108" fmla="*/ 2147483647 w 81"/>
                    <a:gd name="T109" fmla="*/ 2147483647 h 39"/>
                    <a:gd name="T110" fmla="*/ 2147483647 w 81"/>
                    <a:gd name="T111" fmla="*/ 2147483647 h 39"/>
                    <a:gd name="T112" fmla="*/ 2147483647 w 81"/>
                    <a:gd name="T113" fmla="*/ 2147483647 h 39"/>
                    <a:gd name="T114" fmla="*/ 2147483647 w 81"/>
                    <a:gd name="T115" fmla="*/ 2147483647 h 39"/>
                    <a:gd name="T116" fmla="*/ 2147483647 w 81"/>
                    <a:gd name="T117" fmla="*/ 2147483647 h 3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1"/>
                    <a:gd name="T178" fmla="*/ 0 h 39"/>
                    <a:gd name="T179" fmla="*/ 81 w 81"/>
                    <a:gd name="T180" fmla="*/ 39 h 3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1" h="39">
                      <a:moveTo>
                        <a:pt x="76" y="26"/>
                      </a:moveTo>
                      <a:lnTo>
                        <a:pt x="76" y="26"/>
                      </a:lnTo>
                      <a:lnTo>
                        <a:pt x="73" y="29"/>
                      </a:lnTo>
                      <a:lnTo>
                        <a:pt x="71" y="34"/>
                      </a:lnTo>
                      <a:lnTo>
                        <a:pt x="68" y="37"/>
                      </a:lnTo>
                      <a:lnTo>
                        <a:pt x="67" y="39"/>
                      </a:lnTo>
                      <a:lnTo>
                        <a:pt x="64" y="39"/>
                      </a:lnTo>
                      <a:lnTo>
                        <a:pt x="52" y="39"/>
                      </a:lnTo>
                      <a:lnTo>
                        <a:pt x="40" y="37"/>
                      </a:lnTo>
                      <a:lnTo>
                        <a:pt x="28" y="34"/>
                      </a:lnTo>
                      <a:lnTo>
                        <a:pt x="16" y="29"/>
                      </a:lnTo>
                      <a:lnTo>
                        <a:pt x="12" y="28"/>
                      </a:lnTo>
                      <a:lnTo>
                        <a:pt x="10" y="28"/>
                      </a:lnTo>
                      <a:lnTo>
                        <a:pt x="9" y="28"/>
                      </a:lnTo>
                      <a:lnTo>
                        <a:pt x="4" y="24"/>
                      </a:lnTo>
                      <a:lnTo>
                        <a:pt x="1" y="23"/>
                      </a:lnTo>
                      <a:lnTo>
                        <a:pt x="0" y="21"/>
                      </a:lnTo>
                      <a:lnTo>
                        <a:pt x="0" y="20"/>
                      </a:lnTo>
                      <a:lnTo>
                        <a:pt x="0" y="17"/>
                      </a:lnTo>
                      <a:lnTo>
                        <a:pt x="2" y="16"/>
                      </a:lnTo>
                      <a:lnTo>
                        <a:pt x="4" y="16"/>
                      </a:lnTo>
                      <a:lnTo>
                        <a:pt x="15" y="15"/>
                      </a:lnTo>
                      <a:lnTo>
                        <a:pt x="16" y="15"/>
                      </a:lnTo>
                      <a:lnTo>
                        <a:pt x="16" y="13"/>
                      </a:lnTo>
                      <a:lnTo>
                        <a:pt x="16" y="8"/>
                      </a:lnTo>
                      <a:lnTo>
                        <a:pt x="16" y="7"/>
                      </a:lnTo>
                      <a:lnTo>
                        <a:pt x="19" y="5"/>
                      </a:lnTo>
                      <a:lnTo>
                        <a:pt x="24" y="3"/>
                      </a:lnTo>
                      <a:lnTo>
                        <a:pt x="28" y="0"/>
                      </a:lnTo>
                      <a:lnTo>
                        <a:pt x="29" y="0"/>
                      </a:lnTo>
                      <a:lnTo>
                        <a:pt x="30" y="1"/>
                      </a:lnTo>
                      <a:lnTo>
                        <a:pt x="31" y="2"/>
                      </a:lnTo>
                      <a:lnTo>
                        <a:pt x="35" y="3"/>
                      </a:lnTo>
                      <a:lnTo>
                        <a:pt x="39" y="3"/>
                      </a:lnTo>
                      <a:lnTo>
                        <a:pt x="51" y="9"/>
                      </a:lnTo>
                      <a:lnTo>
                        <a:pt x="57" y="13"/>
                      </a:lnTo>
                      <a:lnTo>
                        <a:pt x="63" y="14"/>
                      </a:lnTo>
                      <a:lnTo>
                        <a:pt x="66" y="13"/>
                      </a:lnTo>
                      <a:lnTo>
                        <a:pt x="67" y="11"/>
                      </a:lnTo>
                      <a:lnTo>
                        <a:pt x="70" y="10"/>
                      </a:lnTo>
                      <a:lnTo>
                        <a:pt x="72" y="9"/>
                      </a:lnTo>
                      <a:lnTo>
                        <a:pt x="78" y="13"/>
                      </a:lnTo>
                      <a:lnTo>
                        <a:pt x="81" y="14"/>
                      </a:lnTo>
                      <a:lnTo>
                        <a:pt x="81" y="16"/>
                      </a:lnTo>
                      <a:lnTo>
                        <a:pt x="80" y="21"/>
                      </a:lnTo>
                      <a:lnTo>
                        <a:pt x="76" y="2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4" name="Freeform 958"/>
                <p:cNvSpPr>
                  <a:spLocks/>
                </p:cNvSpPr>
                <p:nvPr/>
              </p:nvSpPr>
              <p:spPr bwMode="auto">
                <a:xfrm>
                  <a:off x="2840878" y="2368957"/>
                  <a:ext cx="20718" cy="19238"/>
                </a:xfrm>
                <a:custGeom>
                  <a:avLst/>
                  <a:gdLst>
                    <a:gd name="T0" fmla="*/ 2147483647 w 15"/>
                    <a:gd name="T1" fmla="*/ 2147483647 h 13"/>
                    <a:gd name="T2" fmla="*/ 2147483647 w 15"/>
                    <a:gd name="T3" fmla="*/ 2147483647 h 13"/>
                    <a:gd name="T4" fmla="*/ 2147483647 w 15"/>
                    <a:gd name="T5" fmla="*/ 2147483647 h 13"/>
                    <a:gd name="T6" fmla="*/ 2147483647 w 15"/>
                    <a:gd name="T7" fmla="*/ 2147483647 h 13"/>
                    <a:gd name="T8" fmla="*/ 2147483647 w 15"/>
                    <a:gd name="T9" fmla="*/ 2147483647 h 13"/>
                    <a:gd name="T10" fmla="*/ 2147483647 w 15"/>
                    <a:gd name="T11" fmla="*/ 0 h 13"/>
                    <a:gd name="T12" fmla="*/ 2147483647 w 15"/>
                    <a:gd name="T13" fmla="*/ 0 h 13"/>
                    <a:gd name="T14" fmla="*/ 2147483647 w 15"/>
                    <a:gd name="T15" fmla="*/ 2147483647 h 13"/>
                    <a:gd name="T16" fmla="*/ 2147483647 w 15"/>
                    <a:gd name="T17" fmla="*/ 2147483647 h 13"/>
                    <a:gd name="T18" fmla="*/ 0 w 15"/>
                    <a:gd name="T19" fmla="*/ 2147483647 h 13"/>
                    <a:gd name="T20" fmla="*/ 0 w 15"/>
                    <a:gd name="T21" fmla="*/ 2147483647 h 13"/>
                    <a:gd name="T22" fmla="*/ 0 w 15"/>
                    <a:gd name="T23" fmla="*/ 2147483647 h 13"/>
                    <a:gd name="T24" fmla="*/ 2147483647 w 15"/>
                    <a:gd name="T25" fmla="*/ 2147483647 h 13"/>
                    <a:gd name="T26" fmla="*/ 2147483647 w 15"/>
                    <a:gd name="T27" fmla="*/ 2147483647 h 13"/>
                    <a:gd name="T28" fmla="*/ 2147483647 w 15"/>
                    <a:gd name="T29" fmla="*/ 2147483647 h 13"/>
                    <a:gd name="T30" fmla="*/ 2147483647 w 15"/>
                    <a:gd name="T31" fmla="*/ 2147483647 h 13"/>
                    <a:gd name="T32" fmla="*/ 2147483647 w 15"/>
                    <a:gd name="T33" fmla="*/ 2147483647 h 13"/>
                    <a:gd name="T34" fmla="*/ 2147483647 w 15"/>
                    <a:gd name="T35" fmla="*/ 2147483647 h 13"/>
                    <a:gd name="T36" fmla="*/ 2147483647 w 15"/>
                    <a:gd name="T37" fmla="*/ 2147483647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3"/>
                    <a:gd name="T59" fmla="*/ 15 w 15"/>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3">
                      <a:moveTo>
                        <a:pt x="15" y="7"/>
                      </a:moveTo>
                      <a:lnTo>
                        <a:pt x="15" y="7"/>
                      </a:lnTo>
                      <a:lnTo>
                        <a:pt x="15" y="3"/>
                      </a:lnTo>
                      <a:lnTo>
                        <a:pt x="14" y="1"/>
                      </a:lnTo>
                      <a:lnTo>
                        <a:pt x="11" y="0"/>
                      </a:lnTo>
                      <a:lnTo>
                        <a:pt x="10" y="0"/>
                      </a:lnTo>
                      <a:lnTo>
                        <a:pt x="5" y="1"/>
                      </a:lnTo>
                      <a:lnTo>
                        <a:pt x="2" y="4"/>
                      </a:lnTo>
                      <a:lnTo>
                        <a:pt x="0" y="9"/>
                      </a:lnTo>
                      <a:lnTo>
                        <a:pt x="0" y="10"/>
                      </a:lnTo>
                      <a:lnTo>
                        <a:pt x="1" y="12"/>
                      </a:lnTo>
                      <a:lnTo>
                        <a:pt x="5" y="13"/>
                      </a:lnTo>
                      <a:lnTo>
                        <a:pt x="9" y="12"/>
                      </a:lnTo>
                      <a:lnTo>
                        <a:pt x="12" y="10"/>
                      </a:lnTo>
                      <a:lnTo>
                        <a:pt x="15"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5" name="Freeform 959"/>
                <p:cNvSpPr>
                  <a:spLocks/>
                </p:cNvSpPr>
                <p:nvPr/>
              </p:nvSpPr>
              <p:spPr bwMode="auto">
                <a:xfrm>
                  <a:off x="2795001" y="2368957"/>
                  <a:ext cx="38477" cy="47356"/>
                </a:xfrm>
                <a:custGeom>
                  <a:avLst/>
                  <a:gdLst>
                    <a:gd name="T0" fmla="*/ 2147483647 w 28"/>
                    <a:gd name="T1" fmla="*/ 2147483647 h 32"/>
                    <a:gd name="T2" fmla="*/ 2147483647 w 28"/>
                    <a:gd name="T3" fmla="*/ 2147483647 h 32"/>
                    <a:gd name="T4" fmla="*/ 2147483647 w 28"/>
                    <a:gd name="T5" fmla="*/ 2147483647 h 32"/>
                    <a:gd name="T6" fmla="*/ 2147483647 w 28"/>
                    <a:gd name="T7" fmla="*/ 2147483647 h 32"/>
                    <a:gd name="T8" fmla="*/ 2147483647 w 28"/>
                    <a:gd name="T9" fmla="*/ 2147483647 h 32"/>
                    <a:gd name="T10" fmla="*/ 2147483647 w 28"/>
                    <a:gd name="T11" fmla="*/ 2147483647 h 32"/>
                    <a:gd name="T12" fmla="*/ 2147483647 w 28"/>
                    <a:gd name="T13" fmla="*/ 2147483647 h 32"/>
                    <a:gd name="T14" fmla="*/ 2147483647 w 28"/>
                    <a:gd name="T15" fmla="*/ 2147483647 h 32"/>
                    <a:gd name="T16" fmla="*/ 2147483647 w 28"/>
                    <a:gd name="T17" fmla="*/ 2147483647 h 32"/>
                    <a:gd name="T18" fmla="*/ 2147483647 w 28"/>
                    <a:gd name="T19" fmla="*/ 0 h 32"/>
                    <a:gd name="T20" fmla="*/ 2147483647 w 28"/>
                    <a:gd name="T21" fmla="*/ 0 h 32"/>
                    <a:gd name="T22" fmla="*/ 2147483647 w 28"/>
                    <a:gd name="T23" fmla="*/ 2147483647 h 32"/>
                    <a:gd name="T24" fmla="*/ 2147483647 w 28"/>
                    <a:gd name="T25" fmla="*/ 2147483647 h 32"/>
                    <a:gd name="T26" fmla="*/ 2147483647 w 28"/>
                    <a:gd name="T27" fmla="*/ 0 h 32"/>
                    <a:gd name="T28" fmla="*/ 2147483647 w 28"/>
                    <a:gd name="T29" fmla="*/ 2147483647 h 32"/>
                    <a:gd name="T30" fmla="*/ 2147483647 w 28"/>
                    <a:gd name="T31" fmla="*/ 2147483647 h 32"/>
                    <a:gd name="T32" fmla="*/ 2147483647 w 28"/>
                    <a:gd name="T33" fmla="*/ 2147483647 h 32"/>
                    <a:gd name="T34" fmla="*/ 0 w 28"/>
                    <a:gd name="T35" fmla="*/ 2147483647 h 32"/>
                    <a:gd name="T36" fmla="*/ 0 w 28"/>
                    <a:gd name="T37" fmla="*/ 2147483647 h 32"/>
                    <a:gd name="T38" fmla="*/ 2147483647 w 28"/>
                    <a:gd name="T39" fmla="*/ 2147483647 h 32"/>
                    <a:gd name="T40" fmla="*/ 2147483647 w 28"/>
                    <a:gd name="T41" fmla="*/ 2147483647 h 32"/>
                    <a:gd name="T42" fmla="*/ 2147483647 w 28"/>
                    <a:gd name="T43" fmla="*/ 2147483647 h 32"/>
                    <a:gd name="T44" fmla="*/ 2147483647 w 28"/>
                    <a:gd name="T45" fmla="*/ 2147483647 h 32"/>
                    <a:gd name="T46" fmla="*/ 2147483647 w 28"/>
                    <a:gd name="T47" fmla="*/ 2147483647 h 32"/>
                    <a:gd name="T48" fmla="*/ 2147483647 w 28"/>
                    <a:gd name="T49" fmla="*/ 2147483647 h 32"/>
                    <a:gd name="T50" fmla="*/ 2147483647 w 28"/>
                    <a:gd name="T51" fmla="*/ 2147483647 h 32"/>
                    <a:gd name="T52" fmla="*/ 2147483647 w 28"/>
                    <a:gd name="T53" fmla="*/ 2147483647 h 32"/>
                    <a:gd name="T54" fmla="*/ 2147483647 w 28"/>
                    <a:gd name="T55" fmla="*/ 2147483647 h 32"/>
                    <a:gd name="T56" fmla="*/ 2147483647 w 28"/>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
                    <a:gd name="T88" fmla="*/ 0 h 32"/>
                    <a:gd name="T89" fmla="*/ 28 w 28"/>
                    <a:gd name="T90" fmla="*/ 32 h 3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 h="32">
                      <a:moveTo>
                        <a:pt x="24" y="26"/>
                      </a:moveTo>
                      <a:lnTo>
                        <a:pt x="26" y="22"/>
                      </a:lnTo>
                      <a:lnTo>
                        <a:pt x="28" y="20"/>
                      </a:lnTo>
                      <a:lnTo>
                        <a:pt x="26" y="19"/>
                      </a:lnTo>
                      <a:lnTo>
                        <a:pt x="24" y="12"/>
                      </a:lnTo>
                      <a:lnTo>
                        <a:pt x="23" y="8"/>
                      </a:lnTo>
                      <a:lnTo>
                        <a:pt x="24" y="3"/>
                      </a:lnTo>
                      <a:lnTo>
                        <a:pt x="24" y="2"/>
                      </a:lnTo>
                      <a:lnTo>
                        <a:pt x="24" y="1"/>
                      </a:lnTo>
                      <a:lnTo>
                        <a:pt x="21" y="0"/>
                      </a:lnTo>
                      <a:lnTo>
                        <a:pt x="19" y="0"/>
                      </a:lnTo>
                      <a:lnTo>
                        <a:pt x="16" y="1"/>
                      </a:lnTo>
                      <a:lnTo>
                        <a:pt x="15" y="1"/>
                      </a:lnTo>
                      <a:lnTo>
                        <a:pt x="11" y="0"/>
                      </a:lnTo>
                      <a:lnTo>
                        <a:pt x="9" y="1"/>
                      </a:lnTo>
                      <a:lnTo>
                        <a:pt x="5" y="4"/>
                      </a:lnTo>
                      <a:lnTo>
                        <a:pt x="1" y="8"/>
                      </a:lnTo>
                      <a:lnTo>
                        <a:pt x="0" y="10"/>
                      </a:lnTo>
                      <a:lnTo>
                        <a:pt x="0" y="12"/>
                      </a:lnTo>
                      <a:lnTo>
                        <a:pt x="4" y="19"/>
                      </a:lnTo>
                      <a:lnTo>
                        <a:pt x="5" y="27"/>
                      </a:lnTo>
                      <a:lnTo>
                        <a:pt x="6" y="28"/>
                      </a:lnTo>
                      <a:lnTo>
                        <a:pt x="10" y="28"/>
                      </a:lnTo>
                      <a:lnTo>
                        <a:pt x="12" y="29"/>
                      </a:lnTo>
                      <a:lnTo>
                        <a:pt x="18" y="32"/>
                      </a:lnTo>
                      <a:lnTo>
                        <a:pt x="20" y="32"/>
                      </a:lnTo>
                      <a:lnTo>
                        <a:pt x="21" y="31"/>
                      </a:lnTo>
                      <a:lnTo>
                        <a:pt x="23" y="28"/>
                      </a:lnTo>
                      <a:lnTo>
                        <a:pt x="24"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6" name="Freeform 960"/>
                <p:cNvSpPr>
                  <a:spLocks/>
                </p:cNvSpPr>
                <p:nvPr/>
              </p:nvSpPr>
              <p:spPr bwMode="auto">
                <a:xfrm>
                  <a:off x="2509384" y="2127741"/>
                  <a:ext cx="673341" cy="519436"/>
                </a:xfrm>
                <a:custGeom>
                  <a:avLst/>
                  <a:gdLst>
                    <a:gd name="T0" fmla="*/ 2147483647 w 493"/>
                    <a:gd name="T1" fmla="*/ 2147483647 h 351"/>
                    <a:gd name="T2" fmla="*/ 2147483647 w 493"/>
                    <a:gd name="T3" fmla="*/ 2147483647 h 351"/>
                    <a:gd name="T4" fmla="*/ 2147483647 w 493"/>
                    <a:gd name="T5" fmla="*/ 2147483647 h 351"/>
                    <a:gd name="T6" fmla="*/ 2147483647 w 493"/>
                    <a:gd name="T7" fmla="*/ 2147483647 h 351"/>
                    <a:gd name="T8" fmla="*/ 2147483647 w 493"/>
                    <a:gd name="T9" fmla="*/ 2147483647 h 351"/>
                    <a:gd name="T10" fmla="*/ 2147483647 w 493"/>
                    <a:gd name="T11" fmla="*/ 2147483647 h 351"/>
                    <a:gd name="T12" fmla="*/ 2147483647 w 493"/>
                    <a:gd name="T13" fmla="*/ 2147483647 h 351"/>
                    <a:gd name="T14" fmla="*/ 2147483647 w 493"/>
                    <a:gd name="T15" fmla="*/ 2147483647 h 351"/>
                    <a:gd name="T16" fmla="*/ 2147483647 w 493"/>
                    <a:gd name="T17" fmla="*/ 2147483647 h 351"/>
                    <a:gd name="T18" fmla="*/ 2147483647 w 493"/>
                    <a:gd name="T19" fmla="*/ 2147483647 h 351"/>
                    <a:gd name="T20" fmla="*/ 2147483647 w 493"/>
                    <a:gd name="T21" fmla="*/ 2147483647 h 351"/>
                    <a:gd name="T22" fmla="*/ 2147483647 w 493"/>
                    <a:gd name="T23" fmla="*/ 2147483647 h 351"/>
                    <a:gd name="T24" fmla="*/ 2147483647 w 493"/>
                    <a:gd name="T25" fmla="*/ 2147483647 h 351"/>
                    <a:gd name="T26" fmla="*/ 2147483647 w 493"/>
                    <a:gd name="T27" fmla="*/ 2147483647 h 351"/>
                    <a:gd name="T28" fmla="*/ 2147483647 w 493"/>
                    <a:gd name="T29" fmla="*/ 2147483647 h 351"/>
                    <a:gd name="T30" fmla="*/ 2147483647 w 493"/>
                    <a:gd name="T31" fmla="*/ 2147483647 h 351"/>
                    <a:gd name="T32" fmla="*/ 2147483647 w 493"/>
                    <a:gd name="T33" fmla="*/ 2147483647 h 351"/>
                    <a:gd name="T34" fmla="*/ 2147483647 w 493"/>
                    <a:gd name="T35" fmla="*/ 2147483647 h 351"/>
                    <a:gd name="T36" fmla="*/ 2147483647 w 493"/>
                    <a:gd name="T37" fmla="*/ 2147483647 h 351"/>
                    <a:gd name="T38" fmla="*/ 2147483647 w 493"/>
                    <a:gd name="T39" fmla="*/ 2147483647 h 351"/>
                    <a:gd name="T40" fmla="*/ 2147483647 w 493"/>
                    <a:gd name="T41" fmla="*/ 2147483647 h 351"/>
                    <a:gd name="T42" fmla="*/ 2147483647 w 493"/>
                    <a:gd name="T43" fmla="*/ 2147483647 h 351"/>
                    <a:gd name="T44" fmla="*/ 2147483647 w 493"/>
                    <a:gd name="T45" fmla="*/ 2147483647 h 351"/>
                    <a:gd name="T46" fmla="*/ 2147483647 w 493"/>
                    <a:gd name="T47" fmla="*/ 2147483647 h 351"/>
                    <a:gd name="T48" fmla="*/ 2147483647 w 493"/>
                    <a:gd name="T49" fmla="*/ 2147483647 h 351"/>
                    <a:gd name="T50" fmla="*/ 2147483647 w 493"/>
                    <a:gd name="T51" fmla="*/ 2147483647 h 351"/>
                    <a:gd name="T52" fmla="*/ 2147483647 w 493"/>
                    <a:gd name="T53" fmla="*/ 2147483647 h 351"/>
                    <a:gd name="T54" fmla="*/ 2147483647 w 493"/>
                    <a:gd name="T55" fmla="*/ 2147483647 h 351"/>
                    <a:gd name="T56" fmla="*/ 2147483647 w 493"/>
                    <a:gd name="T57" fmla="*/ 2147483647 h 351"/>
                    <a:gd name="T58" fmla="*/ 0 w 493"/>
                    <a:gd name="T59" fmla="*/ 2147483647 h 351"/>
                    <a:gd name="T60" fmla="*/ 2147483647 w 493"/>
                    <a:gd name="T61" fmla="*/ 2147483647 h 351"/>
                    <a:gd name="T62" fmla="*/ 2147483647 w 493"/>
                    <a:gd name="T63" fmla="*/ 2147483647 h 351"/>
                    <a:gd name="T64" fmla="*/ 2147483647 w 493"/>
                    <a:gd name="T65" fmla="*/ 2147483647 h 351"/>
                    <a:gd name="T66" fmla="*/ 2147483647 w 493"/>
                    <a:gd name="T67" fmla="*/ 2147483647 h 351"/>
                    <a:gd name="T68" fmla="*/ 2147483647 w 493"/>
                    <a:gd name="T69" fmla="*/ 2147483647 h 351"/>
                    <a:gd name="T70" fmla="*/ 2147483647 w 493"/>
                    <a:gd name="T71" fmla="*/ 2147483647 h 351"/>
                    <a:gd name="T72" fmla="*/ 2147483647 w 493"/>
                    <a:gd name="T73" fmla="*/ 2147483647 h 351"/>
                    <a:gd name="T74" fmla="*/ 2147483647 w 493"/>
                    <a:gd name="T75" fmla="*/ 2147483647 h 351"/>
                    <a:gd name="T76" fmla="*/ 2147483647 w 493"/>
                    <a:gd name="T77" fmla="*/ 2147483647 h 351"/>
                    <a:gd name="T78" fmla="*/ 2147483647 w 493"/>
                    <a:gd name="T79" fmla="*/ 2147483647 h 351"/>
                    <a:gd name="T80" fmla="*/ 2147483647 w 493"/>
                    <a:gd name="T81" fmla="*/ 2147483647 h 351"/>
                    <a:gd name="T82" fmla="*/ 2147483647 w 493"/>
                    <a:gd name="T83" fmla="*/ 2147483647 h 351"/>
                    <a:gd name="T84" fmla="*/ 2147483647 w 493"/>
                    <a:gd name="T85" fmla="*/ 2147483647 h 351"/>
                    <a:gd name="T86" fmla="*/ 2147483647 w 493"/>
                    <a:gd name="T87" fmla="*/ 2147483647 h 351"/>
                    <a:gd name="T88" fmla="*/ 2147483647 w 493"/>
                    <a:gd name="T89" fmla="*/ 2147483647 h 351"/>
                    <a:gd name="T90" fmla="*/ 2147483647 w 493"/>
                    <a:gd name="T91" fmla="*/ 2147483647 h 351"/>
                    <a:gd name="T92" fmla="*/ 2147483647 w 493"/>
                    <a:gd name="T93" fmla="*/ 2147483647 h 351"/>
                    <a:gd name="T94" fmla="*/ 2147483647 w 493"/>
                    <a:gd name="T95" fmla="*/ 2147483647 h 351"/>
                    <a:gd name="T96" fmla="*/ 2147483647 w 493"/>
                    <a:gd name="T97" fmla="*/ 2147483647 h 351"/>
                    <a:gd name="T98" fmla="*/ 2147483647 w 493"/>
                    <a:gd name="T99" fmla="*/ 2147483647 h 351"/>
                    <a:gd name="T100" fmla="*/ 2147483647 w 493"/>
                    <a:gd name="T101" fmla="*/ 2147483647 h 351"/>
                    <a:gd name="T102" fmla="*/ 2147483647 w 493"/>
                    <a:gd name="T103" fmla="*/ 2147483647 h 351"/>
                    <a:gd name="T104" fmla="*/ 2147483647 w 493"/>
                    <a:gd name="T105" fmla="*/ 2147483647 h 351"/>
                    <a:gd name="T106" fmla="*/ 2147483647 w 493"/>
                    <a:gd name="T107" fmla="*/ 2147483647 h 351"/>
                    <a:gd name="T108" fmla="*/ 2147483647 w 493"/>
                    <a:gd name="T109" fmla="*/ 2147483647 h 351"/>
                    <a:gd name="T110" fmla="*/ 2147483647 w 493"/>
                    <a:gd name="T111" fmla="*/ 2147483647 h 351"/>
                    <a:gd name="T112" fmla="*/ 2147483647 w 493"/>
                    <a:gd name="T113" fmla="*/ 2147483647 h 351"/>
                    <a:gd name="T114" fmla="*/ 2147483647 w 493"/>
                    <a:gd name="T115" fmla="*/ 2147483647 h 351"/>
                    <a:gd name="T116" fmla="*/ 2147483647 w 493"/>
                    <a:gd name="T117" fmla="*/ 2147483647 h 351"/>
                    <a:gd name="T118" fmla="*/ 2147483647 w 493"/>
                    <a:gd name="T119" fmla="*/ 2147483647 h 351"/>
                    <a:gd name="T120" fmla="*/ 2147483647 w 493"/>
                    <a:gd name="T121" fmla="*/ 2147483647 h 351"/>
                    <a:gd name="T122" fmla="*/ 2147483647 w 493"/>
                    <a:gd name="T123" fmla="*/ 2147483647 h 3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3"/>
                    <a:gd name="T187" fmla="*/ 0 h 351"/>
                    <a:gd name="T188" fmla="*/ 493 w 493"/>
                    <a:gd name="T189" fmla="*/ 351 h 3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3" h="351">
                      <a:moveTo>
                        <a:pt x="441" y="306"/>
                      </a:moveTo>
                      <a:lnTo>
                        <a:pt x="436" y="298"/>
                      </a:lnTo>
                      <a:lnTo>
                        <a:pt x="432" y="295"/>
                      </a:lnTo>
                      <a:lnTo>
                        <a:pt x="428" y="293"/>
                      </a:lnTo>
                      <a:lnTo>
                        <a:pt x="427" y="292"/>
                      </a:lnTo>
                      <a:lnTo>
                        <a:pt x="426" y="292"/>
                      </a:lnTo>
                      <a:lnTo>
                        <a:pt x="424" y="292"/>
                      </a:lnTo>
                      <a:lnTo>
                        <a:pt x="423" y="294"/>
                      </a:lnTo>
                      <a:lnTo>
                        <a:pt x="424" y="297"/>
                      </a:lnTo>
                      <a:lnTo>
                        <a:pt x="426" y="299"/>
                      </a:lnTo>
                      <a:lnTo>
                        <a:pt x="427" y="300"/>
                      </a:lnTo>
                      <a:lnTo>
                        <a:pt x="428" y="303"/>
                      </a:lnTo>
                      <a:lnTo>
                        <a:pt x="429" y="306"/>
                      </a:lnTo>
                      <a:lnTo>
                        <a:pt x="431" y="310"/>
                      </a:lnTo>
                      <a:lnTo>
                        <a:pt x="435" y="317"/>
                      </a:lnTo>
                      <a:lnTo>
                        <a:pt x="435" y="319"/>
                      </a:lnTo>
                      <a:lnTo>
                        <a:pt x="433" y="323"/>
                      </a:lnTo>
                      <a:lnTo>
                        <a:pt x="432" y="325"/>
                      </a:lnTo>
                      <a:lnTo>
                        <a:pt x="431" y="329"/>
                      </a:lnTo>
                      <a:lnTo>
                        <a:pt x="431" y="330"/>
                      </a:lnTo>
                      <a:lnTo>
                        <a:pt x="428" y="331"/>
                      </a:lnTo>
                      <a:lnTo>
                        <a:pt x="427" y="330"/>
                      </a:lnTo>
                      <a:lnTo>
                        <a:pt x="424" y="330"/>
                      </a:lnTo>
                      <a:lnTo>
                        <a:pt x="422" y="325"/>
                      </a:lnTo>
                      <a:lnTo>
                        <a:pt x="421" y="322"/>
                      </a:lnTo>
                      <a:lnTo>
                        <a:pt x="418" y="317"/>
                      </a:lnTo>
                      <a:lnTo>
                        <a:pt x="415" y="313"/>
                      </a:lnTo>
                      <a:lnTo>
                        <a:pt x="413" y="312"/>
                      </a:lnTo>
                      <a:lnTo>
                        <a:pt x="412" y="312"/>
                      </a:lnTo>
                      <a:lnTo>
                        <a:pt x="407" y="314"/>
                      </a:lnTo>
                      <a:lnTo>
                        <a:pt x="405" y="314"/>
                      </a:lnTo>
                      <a:lnTo>
                        <a:pt x="399" y="307"/>
                      </a:lnTo>
                      <a:lnTo>
                        <a:pt x="391" y="303"/>
                      </a:lnTo>
                      <a:lnTo>
                        <a:pt x="384" y="299"/>
                      </a:lnTo>
                      <a:lnTo>
                        <a:pt x="375" y="297"/>
                      </a:lnTo>
                      <a:lnTo>
                        <a:pt x="374" y="295"/>
                      </a:lnTo>
                      <a:lnTo>
                        <a:pt x="372" y="294"/>
                      </a:lnTo>
                      <a:lnTo>
                        <a:pt x="370" y="293"/>
                      </a:lnTo>
                      <a:lnTo>
                        <a:pt x="368" y="292"/>
                      </a:lnTo>
                      <a:lnTo>
                        <a:pt x="365" y="294"/>
                      </a:lnTo>
                      <a:lnTo>
                        <a:pt x="365" y="295"/>
                      </a:lnTo>
                      <a:lnTo>
                        <a:pt x="366" y="297"/>
                      </a:lnTo>
                      <a:lnTo>
                        <a:pt x="368" y="300"/>
                      </a:lnTo>
                      <a:lnTo>
                        <a:pt x="371" y="303"/>
                      </a:lnTo>
                      <a:lnTo>
                        <a:pt x="372" y="306"/>
                      </a:lnTo>
                      <a:lnTo>
                        <a:pt x="374" y="311"/>
                      </a:lnTo>
                      <a:lnTo>
                        <a:pt x="374" y="312"/>
                      </a:lnTo>
                      <a:lnTo>
                        <a:pt x="375" y="313"/>
                      </a:lnTo>
                      <a:lnTo>
                        <a:pt x="377" y="314"/>
                      </a:lnTo>
                      <a:lnTo>
                        <a:pt x="381" y="314"/>
                      </a:lnTo>
                      <a:lnTo>
                        <a:pt x="382" y="317"/>
                      </a:lnTo>
                      <a:lnTo>
                        <a:pt x="385" y="319"/>
                      </a:lnTo>
                      <a:lnTo>
                        <a:pt x="386" y="322"/>
                      </a:lnTo>
                      <a:lnTo>
                        <a:pt x="391" y="324"/>
                      </a:lnTo>
                      <a:lnTo>
                        <a:pt x="398" y="326"/>
                      </a:lnTo>
                      <a:lnTo>
                        <a:pt x="403" y="329"/>
                      </a:lnTo>
                      <a:lnTo>
                        <a:pt x="405" y="332"/>
                      </a:lnTo>
                      <a:lnTo>
                        <a:pt x="410" y="336"/>
                      </a:lnTo>
                      <a:lnTo>
                        <a:pt x="413" y="342"/>
                      </a:lnTo>
                      <a:lnTo>
                        <a:pt x="414" y="344"/>
                      </a:lnTo>
                      <a:lnTo>
                        <a:pt x="414" y="346"/>
                      </a:lnTo>
                      <a:lnTo>
                        <a:pt x="414" y="349"/>
                      </a:lnTo>
                      <a:lnTo>
                        <a:pt x="412" y="351"/>
                      </a:lnTo>
                      <a:lnTo>
                        <a:pt x="410" y="350"/>
                      </a:lnTo>
                      <a:lnTo>
                        <a:pt x="410" y="349"/>
                      </a:lnTo>
                      <a:lnTo>
                        <a:pt x="410" y="346"/>
                      </a:lnTo>
                      <a:lnTo>
                        <a:pt x="409" y="345"/>
                      </a:lnTo>
                      <a:lnTo>
                        <a:pt x="407" y="345"/>
                      </a:lnTo>
                      <a:lnTo>
                        <a:pt x="403" y="345"/>
                      </a:lnTo>
                      <a:lnTo>
                        <a:pt x="400" y="345"/>
                      </a:lnTo>
                      <a:lnTo>
                        <a:pt x="399" y="344"/>
                      </a:lnTo>
                      <a:lnTo>
                        <a:pt x="394" y="339"/>
                      </a:lnTo>
                      <a:lnTo>
                        <a:pt x="391" y="337"/>
                      </a:lnTo>
                      <a:lnTo>
                        <a:pt x="389" y="336"/>
                      </a:lnTo>
                      <a:lnTo>
                        <a:pt x="386" y="336"/>
                      </a:lnTo>
                      <a:lnTo>
                        <a:pt x="385" y="336"/>
                      </a:lnTo>
                      <a:lnTo>
                        <a:pt x="382" y="336"/>
                      </a:lnTo>
                      <a:lnTo>
                        <a:pt x="380" y="336"/>
                      </a:lnTo>
                      <a:lnTo>
                        <a:pt x="377" y="333"/>
                      </a:lnTo>
                      <a:lnTo>
                        <a:pt x="375" y="331"/>
                      </a:lnTo>
                      <a:lnTo>
                        <a:pt x="371" y="331"/>
                      </a:lnTo>
                      <a:lnTo>
                        <a:pt x="368" y="332"/>
                      </a:lnTo>
                      <a:lnTo>
                        <a:pt x="365" y="333"/>
                      </a:lnTo>
                      <a:lnTo>
                        <a:pt x="362" y="333"/>
                      </a:lnTo>
                      <a:lnTo>
                        <a:pt x="356" y="330"/>
                      </a:lnTo>
                      <a:lnTo>
                        <a:pt x="352" y="327"/>
                      </a:lnTo>
                      <a:lnTo>
                        <a:pt x="349" y="325"/>
                      </a:lnTo>
                      <a:lnTo>
                        <a:pt x="348" y="324"/>
                      </a:lnTo>
                      <a:lnTo>
                        <a:pt x="346" y="324"/>
                      </a:lnTo>
                      <a:lnTo>
                        <a:pt x="333" y="323"/>
                      </a:lnTo>
                      <a:lnTo>
                        <a:pt x="332" y="322"/>
                      </a:lnTo>
                      <a:lnTo>
                        <a:pt x="329" y="319"/>
                      </a:lnTo>
                      <a:lnTo>
                        <a:pt x="328" y="317"/>
                      </a:lnTo>
                      <a:lnTo>
                        <a:pt x="325" y="316"/>
                      </a:lnTo>
                      <a:lnTo>
                        <a:pt x="321" y="314"/>
                      </a:lnTo>
                      <a:lnTo>
                        <a:pt x="316" y="313"/>
                      </a:lnTo>
                      <a:lnTo>
                        <a:pt x="314" y="313"/>
                      </a:lnTo>
                      <a:lnTo>
                        <a:pt x="313" y="311"/>
                      </a:lnTo>
                      <a:lnTo>
                        <a:pt x="313" y="310"/>
                      </a:lnTo>
                      <a:lnTo>
                        <a:pt x="314" y="307"/>
                      </a:lnTo>
                      <a:lnTo>
                        <a:pt x="319" y="305"/>
                      </a:lnTo>
                      <a:lnTo>
                        <a:pt x="321" y="303"/>
                      </a:lnTo>
                      <a:lnTo>
                        <a:pt x="320" y="301"/>
                      </a:lnTo>
                      <a:lnTo>
                        <a:pt x="315" y="299"/>
                      </a:lnTo>
                      <a:lnTo>
                        <a:pt x="310" y="295"/>
                      </a:lnTo>
                      <a:lnTo>
                        <a:pt x="308" y="294"/>
                      </a:lnTo>
                      <a:lnTo>
                        <a:pt x="305" y="295"/>
                      </a:lnTo>
                      <a:lnTo>
                        <a:pt x="302" y="299"/>
                      </a:lnTo>
                      <a:lnTo>
                        <a:pt x="301" y="299"/>
                      </a:lnTo>
                      <a:lnTo>
                        <a:pt x="299" y="299"/>
                      </a:lnTo>
                      <a:lnTo>
                        <a:pt x="296" y="298"/>
                      </a:lnTo>
                      <a:lnTo>
                        <a:pt x="294" y="297"/>
                      </a:lnTo>
                      <a:lnTo>
                        <a:pt x="291" y="292"/>
                      </a:lnTo>
                      <a:lnTo>
                        <a:pt x="288" y="285"/>
                      </a:lnTo>
                      <a:lnTo>
                        <a:pt x="285" y="279"/>
                      </a:lnTo>
                      <a:lnTo>
                        <a:pt x="282" y="276"/>
                      </a:lnTo>
                      <a:lnTo>
                        <a:pt x="278" y="274"/>
                      </a:lnTo>
                      <a:lnTo>
                        <a:pt x="275" y="273"/>
                      </a:lnTo>
                      <a:lnTo>
                        <a:pt x="271" y="274"/>
                      </a:lnTo>
                      <a:lnTo>
                        <a:pt x="268" y="273"/>
                      </a:lnTo>
                      <a:lnTo>
                        <a:pt x="267" y="272"/>
                      </a:lnTo>
                      <a:lnTo>
                        <a:pt x="264" y="266"/>
                      </a:lnTo>
                      <a:lnTo>
                        <a:pt x="263" y="266"/>
                      </a:lnTo>
                      <a:lnTo>
                        <a:pt x="255" y="269"/>
                      </a:lnTo>
                      <a:lnTo>
                        <a:pt x="249" y="272"/>
                      </a:lnTo>
                      <a:lnTo>
                        <a:pt x="239" y="274"/>
                      </a:lnTo>
                      <a:lnTo>
                        <a:pt x="234" y="274"/>
                      </a:lnTo>
                      <a:lnTo>
                        <a:pt x="229" y="273"/>
                      </a:lnTo>
                      <a:lnTo>
                        <a:pt x="226" y="273"/>
                      </a:lnTo>
                      <a:lnTo>
                        <a:pt x="225" y="275"/>
                      </a:lnTo>
                      <a:lnTo>
                        <a:pt x="225" y="281"/>
                      </a:lnTo>
                      <a:lnTo>
                        <a:pt x="224" y="282"/>
                      </a:lnTo>
                      <a:lnTo>
                        <a:pt x="219" y="282"/>
                      </a:lnTo>
                      <a:lnTo>
                        <a:pt x="215" y="281"/>
                      </a:lnTo>
                      <a:lnTo>
                        <a:pt x="207" y="275"/>
                      </a:lnTo>
                      <a:lnTo>
                        <a:pt x="202" y="271"/>
                      </a:lnTo>
                      <a:lnTo>
                        <a:pt x="200" y="263"/>
                      </a:lnTo>
                      <a:lnTo>
                        <a:pt x="198" y="261"/>
                      </a:lnTo>
                      <a:lnTo>
                        <a:pt x="198" y="259"/>
                      </a:lnTo>
                      <a:lnTo>
                        <a:pt x="200" y="255"/>
                      </a:lnTo>
                      <a:lnTo>
                        <a:pt x="201" y="254"/>
                      </a:lnTo>
                      <a:lnTo>
                        <a:pt x="206" y="249"/>
                      </a:lnTo>
                      <a:lnTo>
                        <a:pt x="212" y="247"/>
                      </a:lnTo>
                      <a:lnTo>
                        <a:pt x="211" y="244"/>
                      </a:lnTo>
                      <a:lnTo>
                        <a:pt x="208" y="242"/>
                      </a:lnTo>
                      <a:lnTo>
                        <a:pt x="206" y="240"/>
                      </a:lnTo>
                      <a:lnTo>
                        <a:pt x="203" y="239"/>
                      </a:lnTo>
                      <a:lnTo>
                        <a:pt x="202" y="237"/>
                      </a:lnTo>
                      <a:lnTo>
                        <a:pt x="203" y="235"/>
                      </a:lnTo>
                      <a:lnTo>
                        <a:pt x="205" y="234"/>
                      </a:lnTo>
                      <a:lnTo>
                        <a:pt x="206" y="233"/>
                      </a:lnTo>
                      <a:lnTo>
                        <a:pt x="210" y="233"/>
                      </a:lnTo>
                      <a:lnTo>
                        <a:pt x="214" y="234"/>
                      </a:lnTo>
                      <a:lnTo>
                        <a:pt x="217" y="236"/>
                      </a:lnTo>
                      <a:lnTo>
                        <a:pt x="221" y="241"/>
                      </a:lnTo>
                      <a:lnTo>
                        <a:pt x="226" y="244"/>
                      </a:lnTo>
                      <a:lnTo>
                        <a:pt x="231" y="246"/>
                      </a:lnTo>
                      <a:lnTo>
                        <a:pt x="239" y="246"/>
                      </a:lnTo>
                      <a:lnTo>
                        <a:pt x="247" y="244"/>
                      </a:lnTo>
                      <a:lnTo>
                        <a:pt x="255" y="244"/>
                      </a:lnTo>
                      <a:lnTo>
                        <a:pt x="259" y="244"/>
                      </a:lnTo>
                      <a:lnTo>
                        <a:pt x="263" y="243"/>
                      </a:lnTo>
                      <a:lnTo>
                        <a:pt x="266" y="241"/>
                      </a:lnTo>
                      <a:lnTo>
                        <a:pt x="267" y="239"/>
                      </a:lnTo>
                      <a:lnTo>
                        <a:pt x="266" y="236"/>
                      </a:lnTo>
                      <a:lnTo>
                        <a:pt x="263" y="234"/>
                      </a:lnTo>
                      <a:lnTo>
                        <a:pt x="259" y="230"/>
                      </a:lnTo>
                      <a:lnTo>
                        <a:pt x="257" y="227"/>
                      </a:lnTo>
                      <a:lnTo>
                        <a:pt x="254" y="224"/>
                      </a:lnTo>
                      <a:lnTo>
                        <a:pt x="252" y="222"/>
                      </a:lnTo>
                      <a:lnTo>
                        <a:pt x="250" y="221"/>
                      </a:lnTo>
                      <a:lnTo>
                        <a:pt x="250" y="220"/>
                      </a:lnTo>
                      <a:lnTo>
                        <a:pt x="259" y="214"/>
                      </a:lnTo>
                      <a:lnTo>
                        <a:pt x="263" y="210"/>
                      </a:lnTo>
                      <a:lnTo>
                        <a:pt x="267" y="207"/>
                      </a:lnTo>
                      <a:lnTo>
                        <a:pt x="269" y="205"/>
                      </a:lnTo>
                      <a:lnTo>
                        <a:pt x="271" y="205"/>
                      </a:lnTo>
                      <a:lnTo>
                        <a:pt x="275" y="208"/>
                      </a:lnTo>
                      <a:lnTo>
                        <a:pt x="278" y="208"/>
                      </a:lnTo>
                      <a:lnTo>
                        <a:pt x="282" y="209"/>
                      </a:lnTo>
                      <a:lnTo>
                        <a:pt x="286" y="210"/>
                      </a:lnTo>
                      <a:lnTo>
                        <a:pt x="288" y="211"/>
                      </a:lnTo>
                      <a:lnTo>
                        <a:pt x="292" y="212"/>
                      </a:lnTo>
                      <a:lnTo>
                        <a:pt x="300" y="212"/>
                      </a:lnTo>
                      <a:lnTo>
                        <a:pt x="302" y="214"/>
                      </a:lnTo>
                      <a:lnTo>
                        <a:pt x="304" y="215"/>
                      </a:lnTo>
                      <a:lnTo>
                        <a:pt x="304" y="218"/>
                      </a:lnTo>
                      <a:lnTo>
                        <a:pt x="305" y="222"/>
                      </a:lnTo>
                      <a:lnTo>
                        <a:pt x="305" y="223"/>
                      </a:lnTo>
                      <a:lnTo>
                        <a:pt x="306" y="223"/>
                      </a:lnTo>
                      <a:lnTo>
                        <a:pt x="311" y="223"/>
                      </a:lnTo>
                      <a:lnTo>
                        <a:pt x="316" y="222"/>
                      </a:lnTo>
                      <a:lnTo>
                        <a:pt x="320" y="220"/>
                      </a:lnTo>
                      <a:lnTo>
                        <a:pt x="325" y="217"/>
                      </a:lnTo>
                      <a:lnTo>
                        <a:pt x="330" y="216"/>
                      </a:lnTo>
                      <a:lnTo>
                        <a:pt x="335" y="214"/>
                      </a:lnTo>
                      <a:lnTo>
                        <a:pt x="339" y="210"/>
                      </a:lnTo>
                      <a:lnTo>
                        <a:pt x="339" y="208"/>
                      </a:lnTo>
                      <a:lnTo>
                        <a:pt x="338" y="207"/>
                      </a:lnTo>
                      <a:lnTo>
                        <a:pt x="329" y="201"/>
                      </a:lnTo>
                      <a:lnTo>
                        <a:pt x="324" y="199"/>
                      </a:lnTo>
                      <a:lnTo>
                        <a:pt x="319" y="198"/>
                      </a:lnTo>
                      <a:lnTo>
                        <a:pt x="316" y="197"/>
                      </a:lnTo>
                      <a:lnTo>
                        <a:pt x="314" y="196"/>
                      </a:lnTo>
                      <a:lnTo>
                        <a:pt x="310" y="191"/>
                      </a:lnTo>
                      <a:lnTo>
                        <a:pt x="306" y="186"/>
                      </a:lnTo>
                      <a:lnTo>
                        <a:pt x="302" y="183"/>
                      </a:lnTo>
                      <a:lnTo>
                        <a:pt x="301" y="183"/>
                      </a:lnTo>
                      <a:lnTo>
                        <a:pt x="299" y="183"/>
                      </a:lnTo>
                      <a:lnTo>
                        <a:pt x="295" y="185"/>
                      </a:lnTo>
                      <a:lnTo>
                        <a:pt x="295" y="188"/>
                      </a:lnTo>
                      <a:lnTo>
                        <a:pt x="296" y="190"/>
                      </a:lnTo>
                      <a:lnTo>
                        <a:pt x="297" y="194"/>
                      </a:lnTo>
                      <a:lnTo>
                        <a:pt x="297" y="196"/>
                      </a:lnTo>
                      <a:lnTo>
                        <a:pt x="296" y="199"/>
                      </a:lnTo>
                      <a:lnTo>
                        <a:pt x="292" y="201"/>
                      </a:lnTo>
                      <a:lnTo>
                        <a:pt x="282" y="199"/>
                      </a:lnTo>
                      <a:lnTo>
                        <a:pt x="271" y="198"/>
                      </a:lnTo>
                      <a:lnTo>
                        <a:pt x="268" y="198"/>
                      </a:lnTo>
                      <a:lnTo>
                        <a:pt x="267" y="196"/>
                      </a:lnTo>
                      <a:lnTo>
                        <a:pt x="266" y="194"/>
                      </a:lnTo>
                      <a:lnTo>
                        <a:pt x="267" y="191"/>
                      </a:lnTo>
                      <a:lnTo>
                        <a:pt x="271" y="186"/>
                      </a:lnTo>
                      <a:lnTo>
                        <a:pt x="272" y="182"/>
                      </a:lnTo>
                      <a:lnTo>
                        <a:pt x="272" y="177"/>
                      </a:lnTo>
                      <a:lnTo>
                        <a:pt x="271" y="173"/>
                      </a:lnTo>
                      <a:lnTo>
                        <a:pt x="268" y="169"/>
                      </a:lnTo>
                      <a:lnTo>
                        <a:pt x="264" y="165"/>
                      </a:lnTo>
                      <a:lnTo>
                        <a:pt x="257" y="159"/>
                      </a:lnTo>
                      <a:lnTo>
                        <a:pt x="254" y="157"/>
                      </a:lnTo>
                      <a:lnTo>
                        <a:pt x="253" y="154"/>
                      </a:lnTo>
                      <a:lnTo>
                        <a:pt x="250" y="153"/>
                      </a:lnTo>
                      <a:lnTo>
                        <a:pt x="248" y="153"/>
                      </a:lnTo>
                      <a:lnTo>
                        <a:pt x="245" y="153"/>
                      </a:lnTo>
                      <a:lnTo>
                        <a:pt x="244" y="153"/>
                      </a:lnTo>
                      <a:lnTo>
                        <a:pt x="244" y="151"/>
                      </a:lnTo>
                      <a:lnTo>
                        <a:pt x="244" y="150"/>
                      </a:lnTo>
                      <a:lnTo>
                        <a:pt x="247" y="146"/>
                      </a:lnTo>
                      <a:lnTo>
                        <a:pt x="247" y="145"/>
                      </a:lnTo>
                      <a:lnTo>
                        <a:pt x="240" y="146"/>
                      </a:lnTo>
                      <a:lnTo>
                        <a:pt x="235" y="147"/>
                      </a:lnTo>
                      <a:lnTo>
                        <a:pt x="229" y="150"/>
                      </a:lnTo>
                      <a:lnTo>
                        <a:pt x="224" y="153"/>
                      </a:lnTo>
                      <a:lnTo>
                        <a:pt x="222" y="153"/>
                      </a:lnTo>
                      <a:lnTo>
                        <a:pt x="220" y="153"/>
                      </a:lnTo>
                      <a:lnTo>
                        <a:pt x="219" y="152"/>
                      </a:lnTo>
                      <a:lnTo>
                        <a:pt x="219" y="150"/>
                      </a:lnTo>
                      <a:lnTo>
                        <a:pt x="224" y="145"/>
                      </a:lnTo>
                      <a:lnTo>
                        <a:pt x="225" y="143"/>
                      </a:lnTo>
                      <a:lnTo>
                        <a:pt x="224" y="141"/>
                      </a:lnTo>
                      <a:lnTo>
                        <a:pt x="222" y="140"/>
                      </a:lnTo>
                      <a:lnTo>
                        <a:pt x="217" y="139"/>
                      </a:lnTo>
                      <a:lnTo>
                        <a:pt x="212" y="137"/>
                      </a:lnTo>
                      <a:lnTo>
                        <a:pt x="208" y="134"/>
                      </a:lnTo>
                      <a:lnTo>
                        <a:pt x="206" y="131"/>
                      </a:lnTo>
                      <a:lnTo>
                        <a:pt x="201" y="122"/>
                      </a:lnTo>
                      <a:lnTo>
                        <a:pt x="197" y="114"/>
                      </a:lnTo>
                      <a:lnTo>
                        <a:pt x="196" y="113"/>
                      </a:lnTo>
                      <a:lnTo>
                        <a:pt x="193" y="112"/>
                      </a:lnTo>
                      <a:lnTo>
                        <a:pt x="187" y="111"/>
                      </a:lnTo>
                      <a:lnTo>
                        <a:pt x="183" y="107"/>
                      </a:lnTo>
                      <a:lnTo>
                        <a:pt x="181" y="103"/>
                      </a:lnTo>
                      <a:lnTo>
                        <a:pt x="178" y="100"/>
                      </a:lnTo>
                      <a:lnTo>
                        <a:pt x="177" y="100"/>
                      </a:lnTo>
                      <a:lnTo>
                        <a:pt x="174" y="101"/>
                      </a:lnTo>
                      <a:lnTo>
                        <a:pt x="173" y="103"/>
                      </a:lnTo>
                      <a:lnTo>
                        <a:pt x="173" y="106"/>
                      </a:lnTo>
                      <a:lnTo>
                        <a:pt x="175" y="111"/>
                      </a:lnTo>
                      <a:lnTo>
                        <a:pt x="179" y="115"/>
                      </a:lnTo>
                      <a:lnTo>
                        <a:pt x="182" y="120"/>
                      </a:lnTo>
                      <a:lnTo>
                        <a:pt x="182" y="122"/>
                      </a:lnTo>
                      <a:lnTo>
                        <a:pt x="181" y="124"/>
                      </a:lnTo>
                      <a:lnTo>
                        <a:pt x="175" y="124"/>
                      </a:lnTo>
                      <a:lnTo>
                        <a:pt x="168" y="122"/>
                      </a:lnTo>
                      <a:lnTo>
                        <a:pt x="165" y="122"/>
                      </a:lnTo>
                      <a:lnTo>
                        <a:pt x="163" y="124"/>
                      </a:lnTo>
                      <a:lnTo>
                        <a:pt x="160" y="126"/>
                      </a:lnTo>
                      <a:lnTo>
                        <a:pt x="158" y="128"/>
                      </a:lnTo>
                      <a:lnTo>
                        <a:pt x="154" y="128"/>
                      </a:lnTo>
                      <a:lnTo>
                        <a:pt x="151" y="128"/>
                      </a:lnTo>
                      <a:lnTo>
                        <a:pt x="149" y="127"/>
                      </a:lnTo>
                      <a:lnTo>
                        <a:pt x="148" y="125"/>
                      </a:lnTo>
                      <a:lnTo>
                        <a:pt x="144" y="121"/>
                      </a:lnTo>
                      <a:lnTo>
                        <a:pt x="140" y="120"/>
                      </a:lnTo>
                      <a:lnTo>
                        <a:pt x="136" y="119"/>
                      </a:lnTo>
                      <a:lnTo>
                        <a:pt x="132" y="120"/>
                      </a:lnTo>
                      <a:lnTo>
                        <a:pt x="130" y="122"/>
                      </a:lnTo>
                      <a:lnTo>
                        <a:pt x="127" y="124"/>
                      </a:lnTo>
                      <a:lnTo>
                        <a:pt x="121" y="124"/>
                      </a:lnTo>
                      <a:lnTo>
                        <a:pt x="115" y="121"/>
                      </a:lnTo>
                      <a:lnTo>
                        <a:pt x="108" y="119"/>
                      </a:lnTo>
                      <a:lnTo>
                        <a:pt x="102" y="118"/>
                      </a:lnTo>
                      <a:lnTo>
                        <a:pt x="97" y="115"/>
                      </a:lnTo>
                      <a:lnTo>
                        <a:pt x="93" y="115"/>
                      </a:lnTo>
                      <a:lnTo>
                        <a:pt x="83" y="111"/>
                      </a:lnTo>
                      <a:lnTo>
                        <a:pt x="80" y="111"/>
                      </a:lnTo>
                      <a:lnTo>
                        <a:pt x="78" y="112"/>
                      </a:lnTo>
                      <a:lnTo>
                        <a:pt x="74" y="115"/>
                      </a:lnTo>
                      <a:lnTo>
                        <a:pt x="69" y="118"/>
                      </a:lnTo>
                      <a:lnTo>
                        <a:pt x="65" y="116"/>
                      </a:lnTo>
                      <a:lnTo>
                        <a:pt x="60" y="114"/>
                      </a:lnTo>
                      <a:lnTo>
                        <a:pt x="51" y="108"/>
                      </a:lnTo>
                      <a:lnTo>
                        <a:pt x="46" y="105"/>
                      </a:lnTo>
                      <a:lnTo>
                        <a:pt x="42" y="102"/>
                      </a:lnTo>
                      <a:lnTo>
                        <a:pt x="37" y="101"/>
                      </a:lnTo>
                      <a:lnTo>
                        <a:pt x="33" y="102"/>
                      </a:lnTo>
                      <a:lnTo>
                        <a:pt x="28" y="102"/>
                      </a:lnTo>
                      <a:lnTo>
                        <a:pt x="23" y="100"/>
                      </a:lnTo>
                      <a:lnTo>
                        <a:pt x="15" y="94"/>
                      </a:lnTo>
                      <a:lnTo>
                        <a:pt x="12" y="92"/>
                      </a:lnTo>
                      <a:lnTo>
                        <a:pt x="7" y="89"/>
                      </a:lnTo>
                      <a:lnTo>
                        <a:pt x="4" y="88"/>
                      </a:lnTo>
                      <a:lnTo>
                        <a:pt x="3" y="86"/>
                      </a:lnTo>
                      <a:lnTo>
                        <a:pt x="1" y="83"/>
                      </a:lnTo>
                      <a:lnTo>
                        <a:pt x="1" y="80"/>
                      </a:lnTo>
                      <a:lnTo>
                        <a:pt x="12" y="82"/>
                      </a:lnTo>
                      <a:lnTo>
                        <a:pt x="22" y="83"/>
                      </a:lnTo>
                      <a:lnTo>
                        <a:pt x="31" y="82"/>
                      </a:lnTo>
                      <a:lnTo>
                        <a:pt x="41" y="80"/>
                      </a:lnTo>
                      <a:lnTo>
                        <a:pt x="36" y="75"/>
                      </a:lnTo>
                      <a:lnTo>
                        <a:pt x="32" y="74"/>
                      </a:lnTo>
                      <a:lnTo>
                        <a:pt x="29" y="73"/>
                      </a:lnTo>
                      <a:lnTo>
                        <a:pt x="22" y="74"/>
                      </a:lnTo>
                      <a:lnTo>
                        <a:pt x="14" y="75"/>
                      </a:lnTo>
                      <a:lnTo>
                        <a:pt x="8" y="73"/>
                      </a:lnTo>
                      <a:lnTo>
                        <a:pt x="5" y="71"/>
                      </a:lnTo>
                      <a:lnTo>
                        <a:pt x="3" y="69"/>
                      </a:lnTo>
                      <a:lnTo>
                        <a:pt x="1" y="65"/>
                      </a:lnTo>
                      <a:lnTo>
                        <a:pt x="0" y="62"/>
                      </a:lnTo>
                      <a:lnTo>
                        <a:pt x="0" y="55"/>
                      </a:lnTo>
                      <a:lnTo>
                        <a:pt x="3" y="48"/>
                      </a:lnTo>
                      <a:lnTo>
                        <a:pt x="7" y="41"/>
                      </a:lnTo>
                      <a:lnTo>
                        <a:pt x="7" y="37"/>
                      </a:lnTo>
                      <a:lnTo>
                        <a:pt x="5" y="35"/>
                      </a:lnTo>
                      <a:lnTo>
                        <a:pt x="5" y="32"/>
                      </a:lnTo>
                      <a:lnTo>
                        <a:pt x="5" y="30"/>
                      </a:lnTo>
                      <a:lnTo>
                        <a:pt x="10" y="23"/>
                      </a:lnTo>
                      <a:lnTo>
                        <a:pt x="13" y="18"/>
                      </a:lnTo>
                      <a:lnTo>
                        <a:pt x="14" y="14"/>
                      </a:lnTo>
                      <a:lnTo>
                        <a:pt x="17" y="12"/>
                      </a:lnTo>
                      <a:lnTo>
                        <a:pt x="19" y="11"/>
                      </a:lnTo>
                      <a:lnTo>
                        <a:pt x="23" y="11"/>
                      </a:lnTo>
                      <a:lnTo>
                        <a:pt x="28" y="10"/>
                      </a:lnTo>
                      <a:lnTo>
                        <a:pt x="32" y="10"/>
                      </a:lnTo>
                      <a:lnTo>
                        <a:pt x="37" y="9"/>
                      </a:lnTo>
                      <a:lnTo>
                        <a:pt x="50" y="3"/>
                      </a:lnTo>
                      <a:lnTo>
                        <a:pt x="56" y="1"/>
                      </a:lnTo>
                      <a:lnTo>
                        <a:pt x="62" y="0"/>
                      </a:lnTo>
                      <a:lnTo>
                        <a:pt x="69" y="0"/>
                      </a:lnTo>
                      <a:lnTo>
                        <a:pt x="75" y="1"/>
                      </a:lnTo>
                      <a:lnTo>
                        <a:pt x="80" y="4"/>
                      </a:lnTo>
                      <a:lnTo>
                        <a:pt x="85" y="6"/>
                      </a:lnTo>
                      <a:lnTo>
                        <a:pt x="87" y="7"/>
                      </a:lnTo>
                      <a:lnTo>
                        <a:pt x="85" y="9"/>
                      </a:lnTo>
                      <a:lnTo>
                        <a:pt x="83" y="11"/>
                      </a:lnTo>
                      <a:lnTo>
                        <a:pt x="78" y="13"/>
                      </a:lnTo>
                      <a:lnTo>
                        <a:pt x="74" y="17"/>
                      </a:lnTo>
                      <a:lnTo>
                        <a:pt x="73" y="20"/>
                      </a:lnTo>
                      <a:lnTo>
                        <a:pt x="73" y="24"/>
                      </a:lnTo>
                      <a:lnTo>
                        <a:pt x="74" y="26"/>
                      </a:lnTo>
                      <a:lnTo>
                        <a:pt x="73" y="29"/>
                      </a:lnTo>
                      <a:lnTo>
                        <a:pt x="70" y="35"/>
                      </a:lnTo>
                      <a:lnTo>
                        <a:pt x="69" y="39"/>
                      </a:lnTo>
                      <a:lnTo>
                        <a:pt x="70" y="44"/>
                      </a:lnTo>
                      <a:lnTo>
                        <a:pt x="74" y="48"/>
                      </a:lnTo>
                      <a:lnTo>
                        <a:pt x="71" y="52"/>
                      </a:lnTo>
                      <a:lnTo>
                        <a:pt x="71" y="54"/>
                      </a:lnTo>
                      <a:lnTo>
                        <a:pt x="71" y="56"/>
                      </a:lnTo>
                      <a:lnTo>
                        <a:pt x="71" y="63"/>
                      </a:lnTo>
                      <a:lnTo>
                        <a:pt x="74" y="69"/>
                      </a:lnTo>
                      <a:lnTo>
                        <a:pt x="76" y="75"/>
                      </a:lnTo>
                      <a:lnTo>
                        <a:pt x="79" y="75"/>
                      </a:lnTo>
                      <a:lnTo>
                        <a:pt x="81" y="75"/>
                      </a:lnTo>
                      <a:lnTo>
                        <a:pt x="83" y="74"/>
                      </a:lnTo>
                      <a:lnTo>
                        <a:pt x="84" y="73"/>
                      </a:lnTo>
                      <a:lnTo>
                        <a:pt x="84" y="65"/>
                      </a:lnTo>
                      <a:lnTo>
                        <a:pt x="84" y="58"/>
                      </a:lnTo>
                      <a:lnTo>
                        <a:pt x="84" y="55"/>
                      </a:lnTo>
                      <a:lnTo>
                        <a:pt x="85" y="52"/>
                      </a:lnTo>
                      <a:lnTo>
                        <a:pt x="88" y="51"/>
                      </a:lnTo>
                      <a:lnTo>
                        <a:pt x="90" y="52"/>
                      </a:lnTo>
                      <a:lnTo>
                        <a:pt x="93" y="52"/>
                      </a:lnTo>
                      <a:lnTo>
                        <a:pt x="94" y="51"/>
                      </a:lnTo>
                      <a:lnTo>
                        <a:pt x="89" y="39"/>
                      </a:lnTo>
                      <a:lnTo>
                        <a:pt x="88" y="33"/>
                      </a:lnTo>
                      <a:lnTo>
                        <a:pt x="88" y="28"/>
                      </a:lnTo>
                      <a:lnTo>
                        <a:pt x="90" y="24"/>
                      </a:lnTo>
                      <a:lnTo>
                        <a:pt x="94" y="22"/>
                      </a:lnTo>
                      <a:lnTo>
                        <a:pt x="102" y="18"/>
                      </a:lnTo>
                      <a:lnTo>
                        <a:pt x="102" y="17"/>
                      </a:lnTo>
                      <a:lnTo>
                        <a:pt x="103" y="14"/>
                      </a:lnTo>
                      <a:lnTo>
                        <a:pt x="103" y="11"/>
                      </a:lnTo>
                      <a:lnTo>
                        <a:pt x="107" y="9"/>
                      </a:lnTo>
                      <a:lnTo>
                        <a:pt x="112" y="6"/>
                      </a:lnTo>
                      <a:lnTo>
                        <a:pt x="123" y="4"/>
                      </a:lnTo>
                      <a:lnTo>
                        <a:pt x="134" y="4"/>
                      </a:lnTo>
                      <a:lnTo>
                        <a:pt x="145" y="4"/>
                      </a:lnTo>
                      <a:lnTo>
                        <a:pt x="146" y="5"/>
                      </a:lnTo>
                      <a:lnTo>
                        <a:pt x="148" y="6"/>
                      </a:lnTo>
                      <a:lnTo>
                        <a:pt x="148" y="10"/>
                      </a:lnTo>
                      <a:lnTo>
                        <a:pt x="146" y="13"/>
                      </a:lnTo>
                      <a:lnTo>
                        <a:pt x="144" y="17"/>
                      </a:lnTo>
                      <a:lnTo>
                        <a:pt x="144" y="18"/>
                      </a:lnTo>
                      <a:lnTo>
                        <a:pt x="144" y="19"/>
                      </a:lnTo>
                      <a:lnTo>
                        <a:pt x="149" y="20"/>
                      </a:lnTo>
                      <a:lnTo>
                        <a:pt x="150" y="22"/>
                      </a:lnTo>
                      <a:lnTo>
                        <a:pt x="151" y="24"/>
                      </a:lnTo>
                      <a:lnTo>
                        <a:pt x="150" y="31"/>
                      </a:lnTo>
                      <a:lnTo>
                        <a:pt x="150" y="37"/>
                      </a:lnTo>
                      <a:lnTo>
                        <a:pt x="149" y="43"/>
                      </a:lnTo>
                      <a:lnTo>
                        <a:pt x="148" y="46"/>
                      </a:lnTo>
                      <a:lnTo>
                        <a:pt x="145" y="49"/>
                      </a:lnTo>
                      <a:lnTo>
                        <a:pt x="144" y="51"/>
                      </a:lnTo>
                      <a:lnTo>
                        <a:pt x="145" y="54"/>
                      </a:lnTo>
                      <a:lnTo>
                        <a:pt x="148" y="56"/>
                      </a:lnTo>
                      <a:lnTo>
                        <a:pt x="151" y="56"/>
                      </a:lnTo>
                      <a:lnTo>
                        <a:pt x="154" y="55"/>
                      </a:lnTo>
                      <a:lnTo>
                        <a:pt x="156" y="54"/>
                      </a:lnTo>
                      <a:lnTo>
                        <a:pt x="160" y="49"/>
                      </a:lnTo>
                      <a:lnTo>
                        <a:pt x="165" y="39"/>
                      </a:lnTo>
                      <a:lnTo>
                        <a:pt x="167" y="39"/>
                      </a:lnTo>
                      <a:lnTo>
                        <a:pt x="170" y="44"/>
                      </a:lnTo>
                      <a:lnTo>
                        <a:pt x="174" y="48"/>
                      </a:lnTo>
                      <a:lnTo>
                        <a:pt x="175" y="50"/>
                      </a:lnTo>
                      <a:lnTo>
                        <a:pt x="178" y="50"/>
                      </a:lnTo>
                      <a:lnTo>
                        <a:pt x="182" y="50"/>
                      </a:lnTo>
                      <a:lnTo>
                        <a:pt x="184" y="50"/>
                      </a:lnTo>
                      <a:lnTo>
                        <a:pt x="187" y="51"/>
                      </a:lnTo>
                      <a:lnTo>
                        <a:pt x="189" y="52"/>
                      </a:lnTo>
                      <a:lnTo>
                        <a:pt x="191" y="52"/>
                      </a:lnTo>
                      <a:lnTo>
                        <a:pt x="192" y="51"/>
                      </a:lnTo>
                      <a:lnTo>
                        <a:pt x="193" y="45"/>
                      </a:lnTo>
                      <a:lnTo>
                        <a:pt x="195" y="43"/>
                      </a:lnTo>
                      <a:lnTo>
                        <a:pt x="196" y="41"/>
                      </a:lnTo>
                      <a:lnTo>
                        <a:pt x="208" y="39"/>
                      </a:lnTo>
                      <a:lnTo>
                        <a:pt x="220" y="41"/>
                      </a:lnTo>
                      <a:lnTo>
                        <a:pt x="233" y="43"/>
                      </a:lnTo>
                      <a:lnTo>
                        <a:pt x="244" y="46"/>
                      </a:lnTo>
                      <a:lnTo>
                        <a:pt x="249" y="46"/>
                      </a:lnTo>
                      <a:lnTo>
                        <a:pt x="250" y="46"/>
                      </a:lnTo>
                      <a:lnTo>
                        <a:pt x="253" y="48"/>
                      </a:lnTo>
                      <a:lnTo>
                        <a:pt x="258" y="51"/>
                      </a:lnTo>
                      <a:lnTo>
                        <a:pt x="263" y="54"/>
                      </a:lnTo>
                      <a:lnTo>
                        <a:pt x="266" y="56"/>
                      </a:lnTo>
                      <a:lnTo>
                        <a:pt x="268" y="60"/>
                      </a:lnTo>
                      <a:lnTo>
                        <a:pt x="273" y="68"/>
                      </a:lnTo>
                      <a:lnTo>
                        <a:pt x="275" y="69"/>
                      </a:lnTo>
                      <a:lnTo>
                        <a:pt x="277" y="70"/>
                      </a:lnTo>
                      <a:lnTo>
                        <a:pt x="281" y="71"/>
                      </a:lnTo>
                      <a:lnTo>
                        <a:pt x="286" y="73"/>
                      </a:lnTo>
                      <a:lnTo>
                        <a:pt x="291" y="75"/>
                      </a:lnTo>
                      <a:lnTo>
                        <a:pt x="296" y="76"/>
                      </a:lnTo>
                      <a:lnTo>
                        <a:pt x="301" y="77"/>
                      </a:lnTo>
                      <a:lnTo>
                        <a:pt x="310" y="77"/>
                      </a:lnTo>
                      <a:lnTo>
                        <a:pt x="319" y="75"/>
                      </a:lnTo>
                      <a:lnTo>
                        <a:pt x="323" y="75"/>
                      </a:lnTo>
                      <a:lnTo>
                        <a:pt x="325" y="77"/>
                      </a:lnTo>
                      <a:lnTo>
                        <a:pt x="328" y="81"/>
                      </a:lnTo>
                      <a:lnTo>
                        <a:pt x="328" y="82"/>
                      </a:lnTo>
                      <a:lnTo>
                        <a:pt x="327" y="84"/>
                      </a:lnTo>
                      <a:lnTo>
                        <a:pt x="324" y="86"/>
                      </a:lnTo>
                      <a:lnTo>
                        <a:pt x="320" y="87"/>
                      </a:lnTo>
                      <a:lnTo>
                        <a:pt x="313" y="88"/>
                      </a:lnTo>
                      <a:lnTo>
                        <a:pt x="310" y="90"/>
                      </a:lnTo>
                      <a:lnTo>
                        <a:pt x="309" y="94"/>
                      </a:lnTo>
                      <a:lnTo>
                        <a:pt x="309" y="97"/>
                      </a:lnTo>
                      <a:lnTo>
                        <a:pt x="310" y="99"/>
                      </a:lnTo>
                      <a:lnTo>
                        <a:pt x="313" y="99"/>
                      </a:lnTo>
                      <a:lnTo>
                        <a:pt x="318" y="97"/>
                      </a:lnTo>
                      <a:lnTo>
                        <a:pt x="323" y="95"/>
                      </a:lnTo>
                      <a:lnTo>
                        <a:pt x="327" y="93"/>
                      </a:lnTo>
                      <a:lnTo>
                        <a:pt x="332" y="90"/>
                      </a:lnTo>
                      <a:lnTo>
                        <a:pt x="334" y="92"/>
                      </a:lnTo>
                      <a:lnTo>
                        <a:pt x="335" y="94"/>
                      </a:lnTo>
                      <a:lnTo>
                        <a:pt x="338" y="100"/>
                      </a:lnTo>
                      <a:lnTo>
                        <a:pt x="333" y="100"/>
                      </a:lnTo>
                      <a:lnTo>
                        <a:pt x="327" y="100"/>
                      </a:lnTo>
                      <a:lnTo>
                        <a:pt x="327" y="101"/>
                      </a:lnTo>
                      <a:lnTo>
                        <a:pt x="327" y="102"/>
                      </a:lnTo>
                      <a:lnTo>
                        <a:pt x="327" y="106"/>
                      </a:lnTo>
                      <a:lnTo>
                        <a:pt x="330" y="107"/>
                      </a:lnTo>
                      <a:lnTo>
                        <a:pt x="337" y="107"/>
                      </a:lnTo>
                      <a:lnTo>
                        <a:pt x="343" y="107"/>
                      </a:lnTo>
                      <a:lnTo>
                        <a:pt x="355" y="102"/>
                      </a:lnTo>
                      <a:lnTo>
                        <a:pt x="357" y="101"/>
                      </a:lnTo>
                      <a:lnTo>
                        <a:pt x="360" y="103"/>
                      </a:lnTo>
                      <a:lnTo>
                        <a:pt x="362" y="108"/>
                      </a:lnTo>
                      <a:lnTo>
                        <a:pt x="357" y="109"/>
                      </a:lnTo>
                      <a:lnTo>
                        <a:pt x="353" y="109"/>
                      </a:lnTo>
                      <a:lnTo>
                        <a:pt x="348" y="111"/>
                      </a:lnTo>
                      <a:lnTo>
                        <a:pt x="344" y="112"/>
                      </a:lnTo>
                      <a:lnTo>
                        <a:pt x="348" y="114"/>
                      </a:lnTo>
                      <a:lnTo>
                        <a:pt x="353" y="115"/>
                      </a:lnTo>
                      <a:lnTo>
                        <a:pt x="358" y="114"/>
                      </a:lnTo>
                      <a:lnTo>
                        <a:pt x="362" y="113"/>
                      </a:lnTo>
                      <a:lnTo>
                        <a:pt x="371" y="108"/>
                      </a:lnTo>
                      <a:lnTo>
                        <a:pt x="376" y="107"/>
                      </a:lnTo>
                      <a:lnTo>
                        <a:pt x="380" y="107"/>
                      </a:lnTo>
                      <a:lnTo>
                        <a:pt x="382" y="108"/>
                      </a:lnTo>
                      <a:lnTo>
                        <a:pt x="385" y="112"/>
                      </a:lnTo>
                      <a:lnTo>
                        <a:pt x="389" y="120"/>
                      </a:lnTo>
                      <a:lnTo>
                        <a:pt x="389" y="121"/>
                      </a:lnTo>
                      <a:lnTo>
                        <a:pt x="388" y="121"/>
                      </a:lnTo>
                      <a:lnTo>
                        <a:pt x="384" y="122"/>
                      </a:lnTo>
                      <a:lnTo>
                        <a:pt x="375" y="124"/>
                      </a:lnTo>
                      <a:lnTo>
                        <a:pt x="372" y="126"/>
                      </a:lnTo>
                      <a:lnTo>
                        <a:pt x="368" y="128"/>
                      </a:lnTo>
                      <a:lnTo>
                        <a:pt x="370" y="129"/>
                      </a:lnTo>
                      <a:lnTo>
                        <a:pt x="371" y="131"/>
                      </a:lnTo>
                      <a:lnTo>
                        <a:pt x="372" y="131"/>
                      </a:lnTo>
                      <a:lnTo>
                        <a:pt x="374" y="131"/>
                      </a:lnTo>
                      <a:lnTo>
                        <a:pt x="376" y="128"/>
                      </a:lnTo>
                      <a:lnTo>
                        <a:pt x="377" y="128"/>
                      </a:lnTo>
                      <a:lnTo>
                        <a:pt x="380" y="128"/>
                      </a:lnTo>
                      <a:lnTo>
                        <a:pt x="384" y="129"/>
                      </a:lnTo>
                      <a:lnTo>
                        <a:pt x="386" y="132"/>
                      </a:lnTo>
                      <a:lnTo>
                        <a:pt x="393" y="138"/>
                      </a:lnTo>
                      <a:lnTo>
                        <a:pt x="389" y="139"/>
                      </a:lnTo>
                      <a:lnTo>
                        <a:pt x="384" y="140"/>
                      </a:lnTo>
                      <a:lnTo>
                        <a:pt x="379" y="140"/>
                      </a:lnTo>
                      <a:lnTo>
                        <a:pt x="375" y="141"/>
                      </a:lnTo>
                      <a:lnTo>
                        <a:pt x="374" y="144"/>
                      </a:lnTo>
                      <a:lnTo>
                        <a:pt x="374" y="147"/>
                      </a:lnTo>
                      <a:lnTo>
                        <a:pt x="372" y="154"/>
                      </a:lnTo>
                      <a:lnTo>
                        <a:pt x="372" y="157"/>
                      </a:lnTo>
                      <a:lnTo>
                        <a:pt x="374" y="159"/>
                      </a:lnTo>
                      <a:lnTo>
                        <a:pt x="376" y="160"/>
                      </a:lnTo>
                      <a:lnTo>
                        <a:pt x="380" y="161"/>
                      </a:lnTo>
                      <a:lnTo>
                        <a:pt x="386" y="163"/>
                      </a:lnTo>
                      <a:lnTo>
                        <a:pt x="394" y="164"/>
                      </a:lnTo>
                      <a:lnTo>
                        <a:pt x="395" y="164"/>
                      </a:lnTo>
                      <a:lnTo>
                        <a:pt x="396" y="164"/>
                      </a:lnTo>
                      <a:lnTo>
                        <a:pt x="394" y="167"/>
                      </a:lnTo>
                      <a:lnTo>
                        <a:pt x="393" y="170"/>
                      </a:lnTo>
                      <a:lnTo>
                        <a:pt x="393" y="173"/>
                      </a:lnTo>
                      <a:lnTo>
                        <a:pt x="394" y="175"/>
                      </a:lnTo>
                      <a:lnTo>
                        <a:pt x="396" y="175"/>
                      </a:lnTo>
                      <a:lnTo>
                        <a:pt x="403" y="176"/>
                      </a:lnTo>
                      <a:lnTo>
                        <a:pt x="407" y="177"/>
                      </a:lnTo>
                      <a:lnTo>
                        <a:pt x="409" y="179"/>
                      </a:lnTo>
                      <a:lnTo>
                        <a:pt x="412" y="180"/>
                      </a:lnTo>
                      <a:lnTo>
                        <a:pt x="413" y="180"/>
                      </a:lnTo>
                      <a:lnTo>
                        <a:pt x="417" y="179"/>
                      </a:lnTo>
                      <a:lnTo>
                        <a:pt x="419" y="177"/>
                      </a:lnTo>
                      <a:lnTo>
                        <a:pt x="423" y="177"/>
                      </a:lnTo>
                      <a:lnTo>
                        <a:pt x="429" y="178"/>
                      </a:lnTo>
                      <a:lnTo>
                        <a:pt x="436" y="182"/>
                      </a:lnTo>
                      <a:lnTo>
                        <a:pt x="437" y="184"/>
                      </a:lnTo>
                      <a:lnTo>
                        <a:pt x="438" y="186"/>
                      </a:lnTo>
                      <a:lnTo>
                        <a:pt x="438" y="189"/>
                      </a:lnTo>
                      <a:lnTo>
                        <a:pt x="438" y="192"/>
                      </a:lnTo>
                      <a:lnTo>
                        <a:pt x="440" y="194"/>
                      </a:lnTo>
                      <a:lnTo>
                        <a:pt x="441" y="196"/>
                      </a:lnTo>
                      <a:lnTo>
                        <a:pt x="443" y="197"/>
                      </a:lnTo>
                      <a:lnTo>
                        <a:pt x="447" y="197"/>
                      </a:lnTo>
                      <a:lnTo>
                        <a:pt x="450" y="196"/>
                      </a:lnTo>
                      <a:lnTo>
                        <a:pt x="452" y="196"/>
                      </a:lnTo>
                      <a:lnTo>
                        <a:pt x="454" y="197"/>
                      </a:lnTo>
                      <a:lnTo>
                        <a:pt x="452" y="199"/>
                      </a:lnTo>
                      <a:lnTo>
                        <a:pt x="451" y="201"/>
                      </a:lnTo>
                      <a:lnTo>
                        <a:pt x="450" y="203"/>
                      </a:lnTo>
                      <a:lnTo>
                        <a:pt x="451" y="205"/>
                      </a:lnTo>
                      <a:lnTo>
                        <a:pt x="451" y="207"/>
                      </a:lnTo>
                      <a:lnTo>
                        <a:pt x="452" y="207"/>
                      </a:lnTo>
                      <a:lnTo>
                        <a:pt x="460" y="205"/>
                      </a:lnTo>
                      <a:lnTo>
                        <a:pt x="464" y="207"/>
                      </a:lnTo>
                      <a:lnTo>
                        <a:pt x="466" y="207"/>
                      </a:lnTo>
                      <a:lnTo>
                        <a:pt x="469" y="208"/>
                      </a:lnTo>
                      <a:lnTo>
                        <a:pt x="471" y="208"/>
                      </a:lnTo>
                      <a:lnTo>
                        <a:pt x="480" y="202"/>
                      </a:lnTo>
                      <a:lnTo>
                        <a:pt x="484" y="201"/>
                      </a:lnTo>
                      <a:lnTo>
                        <a:pt x="488" y="201"/>
                      </a:lnTo>
                      <a:lnTo>
                        <a:pt x="489" y="203"/>
                      </a:lnTo>
                      <a:lnTo>
                        <a:pt x="490" y="205"/>
                      </a:lnTo>
                      <a:lnTo>
                        <a:pt x="493" y="211"/>
                      </a:lnTo>
                      <a:lnTo>
                        <a:pt x="493" y="214"/>
                      </a:lnTo>
                      <a:lnTo>
                        <a:pt x="492" y="215"/>
                      </a:lnTo>
                      <a:lnTo>
                        <a:pt x="488" y="216"/>
                      </a:lnTo>
                      <a:lnTo>
                        <a:pt x="483" y="217"/>
                      </a:lnTo>
                      <a:lnTo>
                        <a:pt x="479" y="218"/>
                      </a:lnTo>
                      <a:lnTo>
                        <a:pt x="478" y="220"/>
                      </a:lnTo>
                      <a:lnTo>
                        <a:pt x="479" y="222"/>
                      </a:lnTo>
                      <a:lnTo>
                        <a:pt x="480" y="224"/>
                      </a:lnTo>
                      <a:lnTo>
                        <a:pt x="479" y="227"/>
                      </a:lnTo>
                      <a:lnTo>
                        <a:pt x="476" y="228"/>
                      </a:lnTo>
                      <a:lnTo>
                        <a:pt x="475" y="229"/>
                      </a:lnTo>
                      <a:lnTo>
                        <a:pt x="475" y="230"/>
                      </a:lnTo>
                      <a:lnTo>
                        <a:pt x="476" y="233"/>
                      </a:lnTo>
                      <a:lnTo>
                        <a:pt x="479" y="234"/>
                      </a:lnTo>
                      <a:lnTo>
                        <a:pt x="480" y="235"/>
                      </a:lnTo>
                      <a:lnTo>
                        <a:pt x="480" y="237"/>
                      </a:lnTo>
                      <a:lnTo>
                        <a:pt x="476" y="240"/>
                      </a:lnTo>
                      <a:lnTo>
                        <a:pt x="473" y="240"/>
                      </a:lnTo>
                      <a:lnTo>
                        <a:pt x="468" y="240"/>
                      </a:lnTo>
                      <a:lnTo>
                        <a:pt x="462" y="237"/>
                      </a:lnTo>
                      <a:lnTo>
                        <a:pt x="461" y="237"/>
                      </a:lnTo>
                      <a:lnTo>
                        <a:pt x="460" y="237"/>
                      </a:lnTo>
                      <a:lnTo>
                        <a:pt x="460" y="239"/>
                      </a:lnTo>
                      <a:lnTo>
                        <a:pt x="461" y="241"/>
                      </a:lnTo>
                      <a:lnTo>
                        <a:pt x="462" y="242"/>
                      </a:lnTo>
                      <a:lnTo>
                        <a:pt x="464" y="243"/>
                      </a:lnTo>
                      <a:lnTo>
                        <a:pt x="464" y="244"/>
                      </a:lnTo>
                      <a:lnTo>
                        <a:pt x="462" y="246"/>
                      </a:lnTo>
                      <a:lnTo>
                        <a:pt x="461" y="247"/>
                      </a:lnTo>
                      <a:lnTo>
                        <a:pt x="459" y="248"/>
                      </a:lnTo>
                      <a:lnTo>
                        <a:pt x="459" y="249"/>
                      </a:lnTo>
                      <a:lnTo>
                        <a:pt x="461" y="252"/>
                      </a:lnTo>
                      <a:lnTo>
                        <a:pt x="462" y="254"/>
                      </a:lnTo>
                      <a:lnTo>
                        <a:pt x="462" y="256"/>
                      </a:lnTo>
                      <a:lnTo>
                        <a:pt x="461" y="258"/>
                      </a:lnTo>
                      <a:lnTo>
                        <a:pt x="459" y="260"/>
                      </a:lnTo>
                      <a:lnTo>
                        <a:pt x="459" y="263"/>
                      </a:lnTo>
                      <a:lnTo>
                        <a:pt x="459" y="265"/>
                      </a:lnTo>
                      <a:lnTo>
                        <a:pt x="457" y="265"/>
                      </a:lnTo>
                      <a:lnTo>
                        <a:pt x="456" y="265"/>
                      </a:lnTo>
                      <a:lnTo>
                        <a:pt x="455" y="265"/>
                      </a:lnTo>
                      <a:lnTo>
                        <a:pt x="452" y="262"/>
                      </a:lnTo>
                      <a:lnTo>
                        <a:pt x="451" y="259"/>
                      </a:lnTo>
                      <a:lnTo>
                        <a:pt x="448" y="256"/>
                      </a:lnTo>
                      <a:lnTo>
                        <a:pt x="447" y="255"/>
                      </a:lnTo>
                      <a:lnTo>
                        <a:pt x="443" y="254"/>
                      </a:lnTo>
                      <a:lnTo>
                        <a:pt x="442" y="254"/>
                      </a:lnTo>
                      <a:lnTo>
                        <a:pt x="440" y="254"/>
                      </a:lnTo>
                      <a:lnTo>
                        <a:pt x="438" y="254"/>
                      </a:lnTo>
                      <a:lnTo>
                        <a:pt x="437" y="253"/>
                      </a:lnTo>
                      <a:lnTo>
                        <a:pt x="435" y="249"/>
                      </a:lnTo>
                      <a:lnTo>
                        <a:pt x="432" y="246"/>
                      </a:lnTo>
                      <a:lnTo>
                        <a:pt x="431" y="242"/>
                      </a:lnTo>
                      <a:lnTo>
                        <a:pt x="429" y="237"/>
                      </a:lnTo>
                      <a:lnTo>
                        <a:pt x="429" y="234"/>
                      </a:lnTo>
                      <a:lnTo>
                        <a:pt x="431" y="229"/>
                      </a:lnTo>
                      <a:lnTo>
                        <a:pt x="433" y="226"/>
                      </a:lnTo>
                      <a:lnTo>
                        <a:pt x="436" y="221"/>
                      </a:lnTo>
                      <a:lnTo>
                        <a:pt x="431" y="223"/>
                      </a:lnTo>
                      <a:lnTo>
                        <a:pt x="427" y="226"/>
                      </a:lnTo>
                      <a:lnTo>
                        <a:pt x="422" y="229"/>
                      </a:lnTo>
                      <a:lnTo>
                        <a:pt x="418" y="231"/>
                      </a:lnTo>
                      <a:lnTo>
                        <a:pt x="417" y="231"/>
                      </a:lnTo>
                      <a:lnTo>
                        <a:pt x="415" y="231"/>
                      </a:lnTo>
                      <a:lnTo>
                        <a:pt x="413" y="229"/>
                      </a:lnTo>
                      <a:lnTo>
                        <a:pt x="413" y="226"/>
                      </a:lnTo>
                      <a:lnTo>
                        <a:pt x="415" y="221"/>
                      </a:lnTo>
                      <a:lnTo>
                        <a:pt x="414" y="221"/>
                      </a:lnTo>
                      <a:lnTo>
                        <a:pt x="414" y="220"/>
                      </a:lnTo>
                      <a:lnTo>
                        <a:pt x="409" y="220"/>
                      </a:lnTo>
                      <a:lnTo>
                        <a:pt x="403" y="220"/>
                      </a:lnTo>
                      <a:lnTo>
                        <a:pt x="398" y="217"/>
                      </a:lnTo>
                      <a:lnTo>
                        <a:pt x="393" y="215"/>
                      </a:lnTo>
                      <a:lnTo>
                        <a:pt x="389" y="214"/>
                      </a:lnTo>
                      <a:lnTo>
                        <a:pt x="385" y="214"/>
                      </a:lnTo>
                      <a:lnTo>
                        <a:pt x="382" y="216"/>
                      </a:lnTo>
                      <a:lnTo>
                        <a:pt x="380" y="218"/>
                      </a:lnTo>
                      <a:lnTo>
                        <a:pt x="380" y="222"/>
                      </a:lnTo>
                      <a:lnTo>
                        <a:pt x="381" y="224"/>
                      </a:lnTo>
                      <a:lnTo>
                        <a:pt x="382" y="227"/>
                      </a:lnTo>
                      <a:lnTo>
                        <a:pt x="381" y="229"/>
                      </a:lnTo>
                      <a:lnTo>
                        <a:pt x="380" y="234"/>
                      </a:lnTo>
                      <a:lnTo>
                        <a:pt x="380" y="237"/>
                      </a:lnTo>
                      <a:lnTo>
                        <a:pt x="381" y="241"/>
                      </a:lnTo>
                      <a:lnTo>
                        <a:pt x="382" y="242"/>
                      </a:lnTo>
                      <a:lnTo>
                        <a:pt x="385" y="242"/>
                      </a:lnTo>
                      <a:lnTo>
                        <a:pt x="389" y="242"/>
                      </a:lnTo>
                      <a:lnTo>
                        <a:pt x="390" y="243"/>
                      </a:lnTo>
                      <a:lnTo>
                        <a:pt x="391" y="244"/>
                      </a:lnTo>
                      <a:lnTo>
                        <a:pt x="395" y="250"/>
                      </a:lnTo>
                      <a:lnTo>
                        <a:pt x="400" y="256"/>
                      </a:lnTo>
                      <a:lnTo>
                        <a:pt x="405" y="261"/>
                      </a:lnTo>
                      <a:lnTo>
                        <a:pt x="412" y="265"/>
                      </a:lnTo>
                      <a:lnTo>
                        <a:pt x="415" y="266"/>
                      </a:lnTo>
                      <a:lnTo>
                        <a:pt x="421" y="265"/>
                      </a:lnTo>
                      <a:lnTo>
                        <a:pt x="424" y="265"/>
                      </a:lnTo>
                      <a:lnTo>
                        <a:pt x="428" y="266"/>
                      </a:lnTo>
                      <a:lnTo>
                        <a:pt x="429" y="267"/>
                      </a:lnTo>
                      <a:lnTo>
                        <a:pt x="428" y="269"/>
                      </a:lnTo>
                      <a:lnTo>
                        <a:pt x="427" y="273"/>
                      </a:lnTo>
                      <a:lnTo>
                        <a:pt x="427" y="275"/>
                      </a:lnTo>
                      <a:lnTo>
                        <a:pt x="427" y="278"/>
                      </a:lnTo>
                      <a:lnTo>
                        <a:pt x="428" y="280"/>
                      </a:lnTo>
                      <a:lnTo>
                        <a:pt x="436" y="290"/>
                      </a:lnTo>
                      <a:lnTo>
                        <a:pt x="441" y="292"/>
                      </a:lnTo>
                      <a:lnTo>
                        <a:pt x="441" y="294"/>
                      </a:lnTo>
                      <a:lnTo>
                        <a:pt x="441" y="297"/>
                      </a:lnTo>
                      <a:lnTo>
                        <a:pt x="445" y="301"/>
                      </a:lnTo>
                      <a:lnTo>
                        <a:pt x="447" y="305"/>
                      </a:lnTo>
                      <a:lnTo>
                        <a:pt x="448" y="310"/>
                      </a:lnTo>
                      <a:lnTo>
                        <a:pt x="448" y="311"/>
                      </a:lnTo>
                      <a:lnTo>
                        <a:pt x="446" y="310"/>
                      </a:lnTo>
                      <a:lnTo>
                        <a:pt x="441" y="30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7" name="Freeform 961"/>
                <p:cNvSpPr>
                  <a:spLocks/>
                </p:cNvSpPr>
                <p:nvPr/>
              </p:nvSpPr>
              <p:spPr bwMode="auto">
                <a:xfrm>
                  <a:off x="2793520" y="2366000"/>
                  <a:ext cx="36996" cy="48835"/>
                </a:xfrm>
                <a:custGeom>
                  <a:avLst/>
                  <a:gdLst>
                    <a:gd name="T0" fmla="*/ 2147483647 w 28"/>
                    <a:gd name="T1" fmla="*/ 2147483647 h 33"/>
                    <a:gd name="T2" fmla="*/ 2147483647 w 28"/>
                    <a:gd name="T3" fmla="*/ 2147483647 h 33"/>
                    <a:gd name="T4" fmla="*/ 2147483647 w 28"/>
                    <a:gd name="T5" fmla="*/ 2147483647 h 33"/>
                    <a:gd name="T6" fmla="*/ 2147483647 w 28"/>
                    <a:gd name="T7" fmla="*/ 2147483647 h 33"/>
                    <a:gd name="T8" fmla="*/ 2147483647 w 28"/>
                    <a:gd name="T9" fmla="*/ 2147483647 h 33"/>
                    <a:gd name="T10" fmla="*/ 2147483647 w 28"/>
                    <a:gd name="T11" fmla="*/ 2147483647 h 33"/>
                    <a:gd name="T12" fmla="*/ 2147483647 w 28"/>
                    <a:gd name="T13" fmla="*/ 2147483647 h 33"/>
                    <a:gd name="T14" fmla="*/ 2147483647 w 28"/>
                    <a:gd name="T15" fmla="*/ 2147483647 h 33"/>
                    <a:gd name="T16" fmla="*/ 2147483647 w 28"/>
                    <a:gd name="T17" fmla="*/ 2147483647 h 33"/>
                    <a:gd name="T18" fmla="*/ 2147483647 w 28"/>
                    <a:gd name="T19" fmla="*/ 2147483647 h 33"/>
                    <a:gd name="T20" fmla="*/ 2147483647 w 28"/>
                    <a:gd name="T21" fmla="*/ 2147483647 h 33"/>
                    <a:gd name="T22" fmla="*/ 2147483647 w 28"/>
                    <a:gd name="T23" fmla="*/ 2147483647 h 33"/>
                    <a:gd name="T24" fmla="*/ 2147483647 w 28"/>
                    <a:gd name="T25" fmla="*/ 2147483647 h 33"/>
                    <a:gd name="T26" fmla="*/ 2147483647 w 28"/>
                    <a:gd name="T27" fmla="*/ 0 h 33"/>
                    <a:gd name="T28" fmla="*/ 2147483647 w 28"/>
                    <a:gd name="T29" fmla="*/ 0 h 33"/>
                    <a:gd name="T30" fmla="*/ 2147483647 w 28"/>
                    <a:gd name="T31" fmla="*/ 2147483647 h 33"/>
                    <a:gd name="T32" fmla="*/ 2147483647 w 28"/>
                    <a:gd name="T33" fmla="*/ 2147483647 h 33"/>
                    <a:gd name="T34" fmla="*/ 2147483647 w 28"/>
                    <a:gd name="T35" fmla="*/ 2147483647 h 33"/>
                    <a:gd name="T36" fmla="*/ 2147483647 w 28"/>
                    <a:gd name="T37" fmla="*/ 0 h 33"/>
                    <a:gd name="T38" fmla="*/ 2147483647 w 28"/>
                    <a:gd name="T39" fmla="*/ 2147483647 h 33"/>
                    <a:gd name="T40" fmla="*/ 2147483647 w 28"/>
                    <a:gd name="T41" fmla="*/ 2147483647 h 33"/>
                    <a:gd name="T42" fmla="*/ 2147483647 w 28"/>
                    <a:gd name="T43" fmla="*/ 2147483647 h 33"/>
                    <a:gd name="T44" fmla="*/ 2147483647 w 28"/>
                    <a:gd name="T45" fmla="*/ 2147483647 h 33"/>
                    <a:gd name="T46" fmla="*/ 2147483647 w 28"/>
                    <a:gd name="T47" fmla="*/ 2147483647 h 33"/>
                    <a:gd name="T48" fmla="*/ 0 w 28"/>
                    <a:gd name="T49" fmla="*/ 2147483647 h 33"/>
                    <a:gd name="T50" fmla="*/ 0 w 28"/>
                    <a:gd name="T51" fmla="*/ 2147483647 h 33"/>
                    <a:gd name="T52" fmla="*/ 0 w 28"/>
                    <a:gd name="T53" fmla="*/ 2147483647 h 33"/>
                    <a:gd name="T54" fmla="*/ 2147483647 w 28"/>
                    <a:gd name="T55" fmla="*/ 2147483647 h 33"/>
                    <a:gd name="T56" fmla="*/ 2147483647 w 28"/>
                    <a:gd name="T57" fmla="*/ 2147483647 h 33"/>
                    <a:gd name="T58" fmla="*/ 2147483647 w 28"/>
                    <a:gd name="T59" fmla="*/ 2147483647 h 33"/>
                    <a:gd name="T60" fmla="*/ 2147483647 w 28"/>
                    <a:gd name="T61" fmla="*/ 2147483647 h 33"/>
                    <a:gd name="T62" fmla="*/ 2147483647 w 28"/>
                    <a:gd name="T63" fmla="*/ 2147483647 h 33"/>
                    <a:gd name="T64" fmla="*/ 2147483647 w 28"/>
                    <a:gd name="T65" fmla="*/ 2147483647 h 33"/>
                    <a:gd name="T66" fmla="*/ 2147483647 w 28"/>
                    <a:gd name="T67" fmla="*/ 2147483647 h 33"/>
                    <a:gd name="T68" fmla="*/ 2147483647 w 28"/>
                    <a:gd name="T69" fmla="*/ 2147483647 h 33"/>
                    <a:gd name="T70" fmla="*/ 2147483647 w 28"/>
                    <a:gd name="T71" fmla="*/ 2147483647 h 33"/>
                    <a:gd name="T72" fmla="*/ 2147483647 w 28"/>
                    <a:gd name="T73" fmla="*/ 2147483647 h 33"/>
                    <a:gd name="T74" fmla="*/ 2147483647 w 28"/>
                    <a:gd name="T75" fmla="*/ 2147483647 h 33"/>
                    <a:gd name="T76" fmla="*/ 2147483647 w 28"/>
                    <a:gd name="T77" fmla="*/ 2147483647 h 33"/>
                    <a:gd name="T78" fmla="*/ 2147483647 w 28"/>
                    <a:gd name="T79" fmla="*/ 2147483647 h 33"/>
                    <a:gd name="T80" fmla="*/ 2147483647 w 28"/>
                    <a:gd name="T81" fmla="*/ 2147483647 h 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
                    <a:gd name="T124" fmla="*/ 0 h 33"/>
                    <a:gd name="T125" fmla="*/ 28 w 28"/>
                    <a:gd name="T126" fmla="*/ 33 h 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 h="33">
                      <a:moveTo>
                        <a:pt x="25" y="27"/>
                      </a:moveTo>
                      <a:lnTo>
                        <a:pt x="25" y="27"/>
                      </a:lnTo>
                      <a:lnTo>
                        <a:pt x="27" y="23"/>
                      </a:lnTo>
                      <a:lnTo>
                        <a:pt x="28" y="21"/>
                      </a:lnTo>
                      <a:lnTo>
                        <a:pt x="27" y="19"/>
                      </a:lnTo>
                      <a:lnTo>
                        <a:pt x="25" y="12"/>
                      </a:lnTo>
                      <a:lnTo>
                        <a:pt x="23" y="9"/>
                      </a:lnTo>
                      <a:lnTo>
                        <a:pt x="25" y="4"/>
                      </a:lnTo>
                      <a:lnTo>
                        <a:pt x="25" y="3"/>
                      </a:lnTo>
                      <a:lnTo>
                        <a:pt x="25" y="2"/>
                      </a:lnTo>
                      <a:lnTo>
                        <a:pt x="22" y="0"/>
                      </a:lnTo>
                      <a:lnTo>
                        <a:pt x="20" y="0"/>
                      </a:lnTo>
                      <a:lnTo>
                        <a:pt x="17" y="2"/>
                      </a:lnTo>
                      <a:lnTo>
                        <a:pt x="16" y="2"/>
                      </a:lnTo>
                      <a:lnTo>
                        <a:pt x="12" y="0"/>
                      </a:lnTo>
                      <a:lnTo>
                        <a:pt x="9" y="2"/>
                      </a:lnTo>
                      <a:lnTo>
                        <a:pt x="6" y="5"/>
                      </a:lnTo>
                      <a:lnTo>
                        <a:pt x="2" y="9"/>
                      </a:lnTo>
                      <a:lnTo>
                        <a:pt x="0" y="11"/>
                      </a:lnTo>
                      <a:lnTo>
                        <a:pt x="0" y="12"/>
                      </a:lnTo>
                      <a:lnTo>
                        <a:pt x="4" y="19"/>
                      </a:lnTo>
                      <a:lnTo>
                        <a:pt x="6" y="28"/>
                      </a:lnTo>
                      <a:lnTo>
                        <a:pt x="7" y="29"/>
                      </a:lnTo>
                      <a:lnTo>
                        <a:pt x="11" y="29"/>
                      </a:lnTo>
                      <a:lnTo>
                        <a:pt x="13" y="30"/>
                      </a:lnTo>
                      <a:lnTo>
                        <a:pt x="18" y="33"/>
                      </a:lnTo>
                      <a:lnTo>
                        <a:pt x="21" y="33"/>
                      </a:lnTo>
                      <a:lnTo>
                        <a:pt x="22" y="31"/>
                      </a:lnTo>
                      <a:lnTo>
                        <a:pt x="23" y="29"/>
                      </a:lnTo>
                      <a:lnTo>
                        <a:pt x="25" y="2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8" name="Freeform 962"/>
                <p:cNvSpPr>
                  <a:spLocks/>
                </p:cNvSpPr>
                <p:nvPr/>
              </p:nvSpPr>
              <p:spPr bwMode="auto">
                <a:xfrm>
                  <a:off x="2507906" y="2126257"/>
                  <a:ext cx="673342" cy="519435"/>
                </a:xfrm>
                <a:custGeom>
                  <a:avLst/>
                  <a:gdLst>
                    <a:gd name="T0" fmla="*/ 2147483647 w 493"/>
                    <a:gd name="T1" fmla="*/ 2147483647 h 351"/>
                    <a:gd name="T2" fmla="*/ 2147483647 w 493"/>
                    <a:gd name="T3" fmla="*/ 2147483647 h 351"/>
                    <a:gd name="T4" fmla="*/ 2147483647 w 493"/>
                    <a:gd name="T5" fmla="*/ 2147483647 h 351"/>
                    <a:gd name="T6" fmla="*/ 2147483647 w 493"/>
                    <a:gd name="T7" fmla="*/ 2147483647 h 351"/>
                    <a:gd name="T8" fmla="*/ 2147483647 w 493"/>
                    <a:gd name="T9" fmla="*/ 2147483647 h 351"/>
                    <a:gd name="T10" fmla="*/ 2147483647 w 493"/>
                    <a:gd name="T11" fmla="*/ 2147483647 h 351"/>
                    <a:gd name="T12" fmla="*/ 2147483647 w 493"/>
                    <a:gd name="T13" fmla="*/ 2147483647 h 351"/>
                    <a:gd name="T14" fmla="*/ 2147483647 w 493"/>
                    <a:gd name="T15" fmla="*/ 2147483647 h 351"/>
                    <a:gd name="T16" fmla="*/ 2147483647 w 493"/>
                    <a:gd name="T17" fmla="*/ 2147483647 h 351"/>
                    <a:gd name="T18" fmla="*/ 2147483647 w 493"/>
                    <a:gd name="T19" fmla="*/ 2147483647 h 351"/>
                    <a:gd name="T20" fmla="*/ 2147483647 w 493"/>
                    <a:gd name="T21" fmla="*/ 2147483647 h 351"/>
                    <a:gd name="T22" fmla="*/ 2147483647 w 493"/>
                    <a:gd name="T23" fmla="*/ 2147483647 h 351"/>
                    <a:gd name="T24" fmla="*/ 2147483647 w 493"/>
                    <a:gd name="T25" fmla="*/ 2147483647 h 351"/>
                    <a:gd name="T26" fmla="*/ 2147483647 w 493"/>
                    <a:gd name="T27" fmla="*/ 2147483647 h 351"/>
                    <a:gd name="T28" fmla="*/ 2147483647 w 493"/>
                    <a:gd name="T29" fmla="*/ 2147483647 h 351"/>
                    <a:gd name="T30" fmla="*/ 2147483647 w 493"/>
                    <a:gd name="T31" fmla="*/ 2147483647 h 351"/>
                    <a:gd name="T32" fmla="*/ 2147483647 w 493"/>
                    <a:gd name="T33" fmla="*/ 2147483647 h 351"/>
                    <a:gd name="T34" fmla="*/ 2147483647 w 493"/>
                    <a:gd name="T35" fmla="*/ 2147483647 h 351"/>
                    <a:gd name="T36" fmla="*/ 2147483647 w 493"/>
                    <a:gd name="T37" fmla="*/ 2147483647 h 351"/>
                    <a:gd name="T38" fmla="*/ 2147483647 w 493"/>
                    <a:gd name="T39" fmla="*/ 2147483647 h 351"/>
                    <a:gd name="T40" fmla="*/ 2147483647 w 493"/>
                    <a:gd name="T41" fmla="*/ 2147483647 h 351"/>
                    <a:gd name="T42" fmla="*/ 2147483647 w 493"/>
                    <a:gd name="T43" fmla="*/ 2147483647 h 351"/>
                    <a:gd name="T44" fmla="*/ 2147483647 w 493"/>
                    <a:gd name="T45" fmla="*/ 2147483647 h 351"/>
                    <a:gd name="T46" fmla="*/ 2147483647 w 493"/>
                    <a:gd name="T47" fmla="*/ 2147483647 h 351"/>
                    <a:gd name="T48" fmla="*/ 2147483647 w 493"/>
                    <a:gd name="T49" fmla="*/ 2147483647 h 351"/>
                    <a:gd name="T50" fmla="*/ 2147483647 w 493"/>
                    <a:gd name="T51" fmla="*/ 2147483647 h 351"/>
                    <a:gd name="T52" fmla="*/ 2147483647 w 493"/>
                    <a:gd name="T53" fmla="*/ 2147483647 h 351"/>
                    <a:gd name="T54" fmla="*/ 2147483647 w 493"/>
                    <a:gd name="T55" fmla="*/ 2147483647 h 351"/>
                    <a:gd name="T56" fmla="*/ 2147483647 w 493"/>
                    <a:gd name="T57" fmla="*/ 2147483647 h 351"/>
                    <a:gd name="T58" fmla="*/ 2147483647 w 493"/>
                    <a:gd name="T59" fmla="*/ 2147483647 h 351"/>
                    <a:gd name="T60" fmla="*/ 2147483647 w 493"/>
                    <a:gd name="T61" fmla="*/ 2147483647 h 351"/>
                    <a:gd name="T62" fmla="*/ 2147483647 w 493"/>
                    <a:gd name="T63" fmla="*/ 2147483647 h 351"/>
                    <a:gd name="T64" fmla="*/ 2147483647 w 493"/>
                    <a:gd name="T65" fmla="*/ 2147483647 h 351"/>
                    <a:gd name="T66" fmla="*/ 2147483647 w 493"/>
                    <a:gd name="T67" fmla="*/ 2147483647 h 351"/>
                    <a:gd name="T68" fmla="*/ 2147483647 w 493"/>
                    <a:gd name="T69" fmla="*/ 2147483647 h 351"/>
                    <a:gd name="T70" fmla="*/ 2147483647 w 493"/>
                    <a:gd name="T71" fmla="*/ 2147483647 h 351"/>
                    <a:gd name="T72" fmla="*/ 2147483647 w 493"/>
                    <a:gd name="T73" fmla="*/ 2147483647 h 351"/>
                    <a:gd name="T74" fmla="*/ 2147483647 w 493"/>
                    <a:gd name="T75" fmla="*/ 2147483647 h 351"/>
                    <a:gd name="T76" fmla="*/ 2147483647 w 493"/>
                    <a:gd name="T77" fmla="*/ 2147483647 h 351"/>
                    <a:gd name="T78" fmla="*/ 2147483647 w 493"/>
                    <a:gd name="T79" fmla="*/ 2147483647 h 351"/>
                    <a:gd name="T80" fmla="*/ 2147483647 w 493"/>
                    <a:gd name="T81" fmla="*/ 2147483647 h 351"/>
                    <a:gd name="T82" fmla="*/ 2147483647 w 493"/>
                    <a:gd name="T83" fmla="*/ 2147483647 h 351"/>
                    <a:gd name="T84" fmla="*/ 2147483647 w 493"/>
                    <a:gd name="T85" fmla="*/ 2147483647 h 351"/>
                    <a:gd name="T86" fmla="*/ 2147483647 w 493"/>
                    <a:gd name="T87" fmla="*/ 2147483647 h 351"/>
                    <a:gd name="T88" fmla="*/ 2147483647 w 493"/>
                    <a:gd name="T89" fmla="*/ 2147483647 h 351"/>
                    <a:gd name="T90" fmla="*/ 2147483647 w 493"/>
                    <a:gd name="T91" fmla="*/ 2147483647 h 351"/>
                    <a:gd name="T92" fmla="*/ 2147483647 w 493"/>
                    <a:gd name="T93" fmla="*/ 2147483647 h 351"/>
                    <a:gd name="T94" fmla="*/ 2147483647 w 493"/>
                    <a:gd name="T95" fmla="*/ 2147483647 h 351"/>
                    <a:gd name="T96" fmla="*/ 2147483647 w 493"/>
                    <a:gd name="T97" fmla="*/ 2147483647 h 351"/>
                    <a:gd name="T98" fmla="*/ 2147483647 w 493"/>
                    <a:gd name="T99" fmla="*/ 2147483647 h 351"/>
                    <a:gd name="T100" fmla="*/ 2147483647 w 493"/>
                    <a:gd name="T101" fmla="*/ 2147483647 h 351"/>
                    <a:gd name="T102" fmla="*/ 2147483647 w 493"/>
                    <a:gd name="T103" fmla="*/ 2147483647 h 351"/>
                    <a:gd name="T104" fmla="*/ 2147483647 w 493"/>
                    <a:gd name="T105" fmla="*/ 2147483647 h 351"/>
                    <a:gd name="T106" fmla="*/ 2147483647 w 493"/>
                    <a:gd name="T107" fmla="*/ 2147483647 h 351"/>
                    <a:gd name="T108" fmla="*/ 2147483647 w 493"/>
                    <a:gd name="T109" fmla="*/ 2147483647 h 351"/>
                    <a:gd name="T110" fmla="*/ 2147483647 w 493"/>
                    <a:gd name="T111" fmla="*/ 2147483647 h 351"/>
                    <a:gd name="T112" fmla="*/ 2147483647 w 493"/>
                    <a:gd name="T113" fmla="*/ 2147483647 h 351"/>
                    <a:gd name="T114" fmla="*/ 2147483647 w 493"/>
                    <a:gd name="T115" fmla="*/ 2147483647 h 351"/>
                    <a:gd name="T116" fmla="*/ 2147483647 w 493"/>
                    <a:gd name="T117" fmla="*/ 2147483647 h 351"/>
                    <a:gd name="T118" fmla="*/ 2147483647 w 493"/>
                    <a:gd name="T119" fmla="*/ 2147483647 h 351"/>
                    <a:gd name="T120" fmla="*/ 2147483647 w 493"/>
                    <a:gd name="T121" fmla="*/ 2147483647 h 351"/>
                    <a:gd name="T122" fmla="*/ 2147483647 w 493"/>
                    <a:gd name="T123" fmla="*/ 2147483647 h 351"/>
                    <a:gd name="T124" fmla="*/ 2147483647 w 493"/>
                    <a:gd name="T125" fmla="*/ 2147483647 h 35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93"/>
                    <a:gd name="T190" fmla="*/ 0 h 351"/>
                    <a:gd name="T191" fmla="*/ 493 w 493"/>
                    <a:gd name="T192" fmla="*/ 351 h 35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93" h="351">
                      <a:moveTo>
                        <a:pt x="441" y="306"/>
                      </a:moveTo>
                      <a:lnTo>
                        <a:pt x="441" y="306"/>
                      </a:lnTo>
                      <a:lnTo>
                        <a:pt x="436" y="298"/>
                      </a:lnTo>
                      <a:lnTo>
                        <a:pt x="432" y="295"/>
                      </a:lnTo>
                      <a:lnTo>
                        <a:pt x="428" y="293"/>
                      </a:lnTo>
                      <a:lnTo>
                        <a:pt x="427" y="292"/>
                      </a:lnTo>
                      <a:lnTo>
                        <a:pt x="425" y="292"/>
                      </a:lnTo>
                      <a:lnTo>
                        <a:pt x="424" y="292"/>
                      </a:lnTo>
                      <a:lnTo>
                        <a:pt x="423" y="294"/>
                      </a:lnTo>
                      <a:lnTo>
                        <a:pt x="424" y="296"/>
                      </a:lnTo>
                      <a:lnTo>
                        <a:pt x="425" y="299"/>
                      </a:lnTo>
                      <a:lnTo>
                        <a:pt x="427" y="300"/>
                      </a:lnTo>
                      <a:lnTo>
                        <a:pt x="428" y="302"/>
                      </a:lnTo>
                      <a:lnTo>
                        <a:pt x="429" y="306"/>
                      </a:lnTo>
                      <a:lnTo>
                        <a:pt x="430" y="310"/>
                      </a:lnTo>
                      <a:lnTo>
                        <a:pt x="434" y="317"/>
                      </a:lnTo>
                      <a:lnTo>
                        <a:pt x="434" y="319"/>
                      </a:lnTo>
                      <a:lnTo>
                        <a:pt x="433" y="323"/>
                      </a:lnTo>
                      <a:lnTo>
                        <a:pt x="432" y="325"/>
                      </a:lnTo>
                      <a:lnTo>
                        <a:pt x="430" y="328"/>
                      </a:lnTo>
                      <a:lnTo>
                        <a:pt x="430" y="330"/>
                      </a:lnTo>
                      <a:lnTo>
                        <a:pt x="428" y="331"/>
                      </a:lnTo>
                      <a:lnTo>
                        <a:pt x="427" y="330"/>
                      </a:lnTo>
                      <a:lnTo>
                        <a:pt x="424" y="330"/>
                      </a:lnTo>
                      <a:lnTo>
                        <a:pt x="422" y="325"/>
                      </a:lnTo>
                      <a:lnTo>
                        <a:pt x="420" y="321"/>
                      </a:lnTo>
                      <a:lnTo>
                        <a:pt x="418" y="317"/>
                      </a:lnTo>
                      <a:lnTo>
                        <a:pt x="415" y="313"/>
                      </a:lnTo>
                      <a:lnTo>
                        <a:pt x="413" y="312"/>
                      </a:lnTo>
                      <a:lnTo>
                        <a:pt x="411" y="312"/>
                      </a:lnTo>
                      <a:lnTo>
                        <a:pt x="406" y="314"/>
                      </a:lnTo>
                      <a:lnTo>
                        <a:pt x="405" y="314"/>
                      </a:lnTo>
                      <a:lnTo>
                        <a:pt x="399" y="307"/>
                      </a:lnTo>
                      <a:lnTo>
                        <a:pt x="391" y="302"/>
                      </a:lnTo>
                      <a:lnTo>
                        <a:pt x="383" y="299"/>
                      </a:lnTo>
                      <a:lnTo>
                        <a:pt x="375" y="296"/>
                      </a:lnTo>
                      <a:lnTo>
                        <a:pt x="373" y="295"/>
                      </a:lnTo>
                      <a:lnTo>
                        <a:pt x="372" y="294"/>
                      </a:lnTo>
                      <a:lnTo>
                        <a:pt x="369" y="293"/>
                      </a:lnTo>
                      <a:lnTo>
                        <a:pt x="368" y="292"/>
                      </a:lnTo>
                      <a:lnTo>
                        <a:pt x="364" y="294"/>
                      </a:lnTo>
                      <a:lnTo>
                        <a:pt x="364" y="295"/>
                      </a:lnTo>
                      <a:lnTo>
                        <a:pt x="366" y="296"/>
                      </a:lnTo>
                      <a:lnTo>
                        <a:pt x="368" y="300"/>
                      </a:lnTo>
                      <a:lnTo>
                        <a:pt x="371" y="302"/>
                      </a:lnTo>
                      <a:lnTo>
                        <a:pt x="372" y="306"/>
                      </a:lnTo>
                      <a:lnTo>
                        <a:pt x="373" y="311"/>
                      </a:lnTo>
                      <a:lnTo>
                        <a:pt x="373" y="312"/>
                      </a:lnTo>
                      <a:lnTo>
                        <a:pt x="375" y="313"/>
                      </a:lnTo>
                      <a:lnTo>
                        <a:pt x="377" y="314"/>
                      </a:lnTo>
                      <a:lnTo>
                        <a:pt x="381" y="314"/>
                      </a:lnTo>
                      <a:lnTo>
                        <a:pt x="382" y="317"/>
                      </a:lnTo>
                      <a:lnTo>
                        <a:pt x="385" y="319"/>
                      </a:lnTo>
                      <a:lnTo>
                        <a:pt x="386" y="321"/>
                      </a:lnTo>
                      <a:lnTo>
                        <a:pt x="391" y="324"/>
                      </a:lnTo>
                      <a:lnTo>
                        <a:pt x="397" y="326"/>
                      </a:lnTo>
                      <a:lnTo>
                        <a:pt x="402" y="328"/>
                      </a:lnTo>
                      <a:lnTo>
                        <a:pt x="405" y="332"/>
                      </a:lnTo>
                      <a:lnTo>
                        <a:pt x="410" y="336"/>
                      </a:lnTo>
                      <a:lnTo>
                        <a:pt x="413" y="342"/>
                      </a:lnTo>
                      <a:lnTo>
                        <a:pt x="414" y="344"/>
                      </a:lnTo>
                      <a:lnTo>
                        <a:pt x="414" y="346"/>
                      </a:lnTo>
                      <a:lnTo>
                        <a:pt x="414" y="349"/>
                      </a:lnTo>
                      <a:lnTo>
                        <a:pt x="411" y="351"/>
                      </a:lnTo>
                      <a:lnTo>
                        <a:pt x="410" y="350"/>
                      </a:lnTo>
                      <a:lnTo>
                        <a:pt x="410" y="349"/>
                      </a:lnTo>
                      <a:lnTo>
                        <a:pt x="410" y="346"/>
                      </a:lnTo>
                      <a:lnTo>
                        <a:pt x="409" y="345"/>
                      </a:lnTo>
                      <a:lnTo>
                        <a:pt x="406" y="345"/>
                      </a:lnTo>
                      <a:lnTo>
                        <a:pt x="402" y="345"/>
                      </a:lnTo>
                      <a:lnTo>
                        <a:pt x="400" y="345"/>
                      </a:lnTo>
                      <a:lnTo>
                        <a:pt x="399" y="344"/>
                      </a:lnTo>
                      <a:lnTo>
                        <a:pt x="394" y="339"/>
                      </a:lnTo>
                      <a:lnTo>
                        <a:pt x="391" y="337"/>
                      </a:lnTo>
                      <a:lnTo>
                        <a:pt x="389" y="336"/>
                      </a:lnTo>
                      <a:lnTo>
                        <a:pt x="386" y="336"/>
                      </a:lnTo>
                      <a:lnTo>
                        <a:pt x="385" y="336"/>
                      </a:lnTo>
                      <a:lnTo>
                        <a:pt x="382" y="336"/>
                      </a:lnTo>
                      <a:lnTo>
                        <a:pt x="380" y="336"/>
                      </a:lnTo>
                      <a:lnTo>
                        <a:pt x="377" y="333"/>
                      </a:lnTo>
                      <a:lnTo>
                        <a:pt x="375" y="331"/>
                      </a:lnTo>
                      <a:lnTo>
                        <a:pt x="371" y="331"/>
                      </a:lnTo>
                      <a:lnTo>
                        <a:pt x="368" y="332"/>
                      </a:lnTo>
                      <a:lnTo>
                        <a:pt x="364" y="333"/>
                      </a:lnTo>
                      <a:lnTo>
                        <a:pt x="362" y="333"/>
                      </a:lnTo>
                      <a:lnTo>
                        <a:pt x="356" y="330"/>
                      </a:lnTo>
                      <a:lnTo>
                        <a:pt x="352" y="327"/>
                      </a:lnTo>
                      <a:lnTo>
                        <a:pt x="349" y="325"/>
                      </a:lnTo>
                      <a:lnTo>
                        <a:pt x="348" y="324"/>
                      </a:lnTo>
                      <a:lnTo>
                        <a:pt x="345" y="324"/>
                      </a:lnTo>
                      <a:lnTo>
                        <a:pt x="333" y="323"/>
                      </a:lnTo>
                      <a:lnTo>
                        <a:pt x="331" y="321"/>
                      </a:lnTo>
                      <a:lnTo>
                        <a:pt x="329" y="319"/>
                      </a:lnTo>
                      <a:lnTo>
                        <a:pt x="328" y="317"/>
                      </a:lnTo>
                      <a:lnTo>
                        <a:pt x="325" y="315"/>
                      </a:lnTo>
                      <a:lnTo>
                        <a:pt x="321" y="314"/>
                      </a:lnTo>
                      <a:lnTo>
                        <a:pt x="316" y="313"/>
                      </a:lnTo>
                      <a:lnTo>
                        <a:pt x="314" y="313"/>
                      </a:lnTo>
                      <a:lnTo>
                        <a:pt x="312" y="311"/>
                      </a:lnTo>
                      <a:lnTo>
                        <a:pt x="312" y="310"/>
                      </a:lnTo>
                      <a:lnTo>
                        <a:pt x="314" y="307"/>
                      </a:lnTo>
                      <a:lnTo>
                        <a:pt x="319" y="305"/>
                      </a:lnTo>
                      <a:lnTo>
                        <a:pt x="321" y="302"/>
                      </a:lnTo>
                      <a:lnTo>
                        <a:pt x="320" y="301"/>
                      </a:lnTo>
                      <a:lnTo>
                        <a:pt x="315" y="299"/>
                      </a:lnTo>
                      <a:lnTo>
                        <a:pt x="310" y="295"/>
                      </a:lnTo>
                      <a:lnTo>
                        <a:pt x="307" y="294"/>
                      </a:lnTo>
                      <a:lnTo>
                        <a:pt x="305" y="295"/>
                      </a:lnTo>
                      <a:lnTo>
                        <a:pt x="302" y="299"/>
                      </a:lnTo>
                      <a:lnTo>
                        <a:pt x="301" y="299"/>
                      </a:lnTo>
                      <a:lnTo>
                        <a:pt x="298" y="299"/>
                      </a:lnTo>
                      <a:lnTo>
                        <a:pt x="296" y="298"/>
                      </a:lnTo>
                      <a:lnTo>
                        <a:pt x="293" y="296"/>
                      </a:lnTo>
                      <a:lnTo>
                        <a:pt x="291" y="292"/>
                      </a:lnTo>
                      <a:lnTo>
                        <a:pt x="288" y="285"/>
                      </a:lnTo>
                      <a:lnTo>
                        <a:pt x="284" y="279"/>
                      </a:lnTo>
                      <a:lnTo>
                        <a:pt x="282" y="276"/>
                      </a:lnTo>
                      <a:lnTo>
                        <a:pt x="278" y="274"/>
                      </a:lnTo>
                      <a:lnTo>
                        <a:pt x="274" y="273"/>
                      </a:lnTo>
                      <a:lnTo>
                        <a:pt x="270" y="274"/>
                      </a:lnTo>
                      <a:lnTo>
                        <a:pt x="268" y="273"/>
                      </a:lnTo>
                      <a:lnTo>
                        <a:pt x="267" y="272"/>
                      </a:lnTo>
                      <a:lnTo>
                        <a:pt x="264" y="266"/>
                      </a:lnTo>
                      <a:lnTo>
                        <a:pt x="263" y="266"/>
                      </a:lnTo>
                      <a:lnTo>
                        <a:pt x="255" y="269"/>
                      </a:lnTo>
                      <a:lnTo>
                        <a:pt x="249" y="272"/>
                      </a:lnTo>
                      <a:lnTo>
                        <a:pt x="239" y="274"/>
                      </a:lnTo>
                      <a:lnTo>
                        <a:pt x="234" y="274"/>
                      </a:lnTo>
                      <a:lnTo>
                        <a:pt x="229" y="273"/>
                      </a:lnTo>
                      <a:lnTo>
                        <a:pt x="226" y="273"/>
                      </a:lnTo>
                      <a:lnTo>
                        <a:pt x="225" y="275"/>
                      </a:lnTo>
                      <a:lnTo>
                        <a:pt x="225" y="281"/>
                      </a:lnTo>
                      <a:lnTo>
                        <a:pt x="223" y="282"/>
                      </a:lnTo>
                      <a:lnTo>
                        <a:pt x="218" y="282"/>
                      </a:lnTo>
                      <a:lnTo>
                        <a:pt x="215" y="281"/>
                      </a:lnTo>
                      <a:lnTo>
                        <a:pt x="207" y="275"/>
                      </a:lnTo>
                      <a:lnTo>
                        <a:pt x="202" y="270"/>
                      </a:lnTo>
                      <a:lnTo>
                        <a:pt x="199" y="263"/>
                      </a:lnTo>
                      <a:lnTo>
                        <a:pt x="198" y="261"/>
                      </a:lnTo>
                      <a:lnTo>
                        <a:pt x="198" y="259"/>
                      </a:lnTo>
                      <a:lnTo>
                        <a:pt x="199" y="255"/>
                      </a:lnTo>
                      <a:lnTo>
                        <a:pt x="201" y="254"/>
                      </a:lnTo>
                      <a:lnTo>
                        <a:pt x="206" y="249"/>
                      </a:lnTo>
                      <a:lnTo>
                        <a:pt x="212" y="247"/>
                      </a:lnTo>
                      <a:lnTo>
                        <a:pt x="211" y="244"/>
                      </a:lnTo>
                      <a:lnTo>
                        <a:pt x="208" y="242"/>
                      </a:lnTo>
                      <a:lnTo>
                        <a:pt x="206" y="240"/>
                      </a:lnTo>
                      <a:lnTo>
                        <a:pt x="203" y="238"/>
                      </a:lnTo>
                      <a:lnTo>
                        <a:pt x="202" y="237"/>
                      </a:lnTo>
                      <a:lnTo>
                        <a:pt x="203" y="235"/>
                      </a:lnTo>
                      <a:lnTo>
                        <a:pt x="204" y="234"/>
                      </a:lnTo>
                      <a:lnTo>
                        <a:pt x="206" y="232"/>
                      </a:lnTo>
                      <a:lnTo>
                        <a:pt x="209" y="232"/>
                      </a:lnTo>
                      <a:lnTo>
                        <a:pt x="213" y="234"/>
                      </a:lnTo>
                      <a:lnTo>
                        <a:pt x="217" y="236"/>
                      </a:lnTo>
                      <a:lnTo>
                        <a:pt x="221" y="241"/>
                      </a:lnTo>
                      <a:lnTo>
                        <a:pt x="226" y="244"/>
                      </a:lnTo>
                      <a:lnTo>
                        <a:pt x="231" y="245"/>
                      </a:lnTo>
                      <a:lnTo>
                        <a:pt x="239" y="245"/>
                      </a:lnTo>
                      <a:lnTo>
                        <a:pt x="246" y="244"/>
                      </a:lnTo>
                      <a:lnTo>
                        <a:pt x="255" y="244"/>
                      </a:lnTo>
                      <a:lnTo>
                        <a:pt x="259" y="244"/>
                      </a:lnTo>
                      <a:lnTo>
                        <a:pt x="263" y="243"/>
                      </a:lnTo>
                      <a:lnTo>
                        <a:pt x="265" y="241"/>
                      </a:lnTo>
                      <a:lnTo>
                        <a:pt x="267" y="238"/>
                      </a:lnTo>
                      <a:lnTo>
                        <a:pt x="265" y="236"/>
                      </a:lnTo>
                      <a:lnTo>
                        <a:pt x="263" y="234"/>
                      </a:lnTo>
                      <a:lnTo>
                        <a:pt x="259" y="230"/>
                      </a:lnTo>
                      <a:lnTo>
                        <a:pt x="256" y="227"/>
                      </a:lnTo>
                      <a:lnTo>
                        <a:pt x="254" y="224"/>
                      </a:lnTo>
                      <a:lnTo>
                        <a:pt x="251" y="222"/>
                      </a:lnTo>
                      <a:lnTo>
                        <a:pt x="250" y="221"/>
                      </a:lnTo>
                      <a:lnTo>
                        <a:pt x="250" y="219"/>
                      </a:lnTo>
                      <a:lnTo>
                        <a:pt x="259" y="213"/>
                      </a:lnTo>
                      <a:lnTo>
                        <a:pt x="263" y="210"/>
                      </a:lnTo>
                      <a:lnTo>
                        <a:pt x="267" y="206"/>
                      </a:lnTo>
                      <a:lnTo>
                        <a:pt x="269" y="205"/>
                      </a:lnTo>
                      <a:lnTo>
                        <a:pt x="270" y="205"/>
                      </a:lnTo>
                      <a:lnTo>
                        <a:pt x="274" y="208"/>
                      </a:lnTo>
                      <a:lnTo>
                        <a:pt x="278" y="208"/>
                      </a:lnTo>
                      <a:lnTo>
                        <a:pt x="282" y="209"/>
                      </a:lnTo>
                      <a:lnTo>
                        <a:pt x="286" y="210"/>
                      </a:lnTo>
                      <a:lnTo>
                        <a:pt x="288" y="211"/>
                      </a:lnTo>
                      <a:lnTo>
                        <a:pt x="292" y="212"/>
                      </a:lnTo>
                      <a:lnTo>
                        <a:pt x="300" y="212"/>
                      </a:lnTo>
                      <a:lnTo>
                        <a:pt x="302" y="213"/>
                      </a:lnTo>
                      <a:lnTo>
                        <a:pt x="303" y="215"/>
                      </a:lnTo>
                      <a:lnTo>
                        <a:pt x="303" y="218"/>
                      </a:lnTo>
                      <a:lnTo>
                        <a:pt x="305" y="222"/>
                      </a:lnTo>
                      <a:lnTo>
                        <a:pt x="305" y="223"/>
                      </a:lnTo>
                      <a:lnTo>
                        <a:pt x="306" y="223"/>
                      </a:lnTo>
                      <a:lnTo>
                        <a:pt x="311" y="223"/>
                      </a:lnTo>
                      <a:lnTo>
                        <a:pt x="316" y="222"/>
                      </a:lnTo>
                      <a:lnTo>
                        <a:pt x="320" y="219"/>
                      </a:lnTo>
                      <a:lnTo>
                        <a:pt x="325" y="217"/>
                      </a:lnTo>
                      <a:lnTo>
                        <a:pt x="330" y="216"/>
                      </a:lnTo>
                      <a:lnTo>
                        <a:pt x="335" y="213"/>
                      </a:lnTo>
                      <a:lnTo>
                        <a:pt x="339" y="210"/>
                      </a:lnTo>
                      <a:lnTo>
                        <a:pt x="339" y="208"/>
                      </a:lnTo>
                      <a:lnTo>
                        <a:pt x="338" y="206"/>
                      </a:lnTo>
                      <a:lnTo>
                        <a:pt x="329" y="200"/>
                      </a:lnTo>
                      <a:lnTo>
                        <a:pt x="324" y="199"/>
                      </a:lnTo>
                      <a:lnTo>
                        <a:pt x="319" y="198"/>
                      </a:lnTo>
                      <a:lnTo>
                        <a:pt x="316" y="197"/>
                      </a:lnTo>
                      <a:lnTo>
                        <a:pt x="314" y="196"/>
                      </a:lnTo>
                      <a:lnTo>
                        <a:pt x="310" y="191"/>
                      </a:lnTo>
                      <a:lnTo>
                        <a:pt x="306" y="186"/>
                      </a:lnTo>
                      <a:lnTo>
                        <a:pt x="302" y="183"/>
                      </a:lnTo>
                      <a:lnTo>
                        <a:pt x="301" y="183"/>
                      </a:lnTo>
                      <a:lnTo>
                        <a:pt x="298" y="183"/>
                      </a:lnTo>
                      <a:lnTo>
                        <a:pt x="295" y="185"/>
                      </a:lnTo>
                      <a:lnTo>
                        <a:pt x="295" y="187"/>
                      </a:lnTo>
                      <a:lnTo>
                        <a:pt x="296" y="190"/>
                      </a:lnTo>
                      <a:lnTo>
                        <a:pt x="297" y="193"/>
                      </a:lnTo>
                      <a:lnTo>
                        <a:pt x="297" y="196"/>
                      </a:lnTo>
                      <a:lnTo>
                        <a:pt x="296" y="199"/>
                      </a:lnTo>
                      <a:lnTo>
                        <a:pt x="292" y="200"/>
                      </a:lnTo>
                      <a:lnTo>
                        <a:pt x="282" y="199"/>
                      </a:lnTo>
                      <a:lnTo>
                        <a:pt x="270" y="198"/>
                      </a:lnTo>
                      <a:lnTo>
                        <a:pt x="268" y="198"/>
                      </a:lnTo>
                      <a:lnTo>
                        <a:pt x="267" y="196"/>
                      </a:lnTo>
                      <a:lnTo>
                        <a:pt x="265" y="193"/>
                      </a:lnTo>
                      <a:lnTo>
                        <a:pt x="267" y="191"/>
                      </a:lnTo>
                      <a:lnTo>
                        <a:pt x="270" y="186"/>
                      </a:lnTo>
                      <a:lnTo>
                        <a:pt x="272" y="181"/>
                      </a:lnTo>
                      <a:lnTo>
                        <a:pt x="272" y="177"/>
                      </a:lnTo>
                      <a:lnTo>
                        <a:pt x="270" y="173"/>
                      </a:lnTo>
                      <a:lnTo>
                        <a:pt x="268" y="168"/>
                      </a:lnTo>
                      <a:lnTo>
                        <a:pt x="264" y="165"/>
                      </a:lnTo>
                      <a:lnTo>
                        <a:pt x="256" y="159"/>
                      </a:lnTo>
                      <a:lnTo>
                        <a:pt x="254" y="157"/>
                      </a:lnTo>
                      <a:lnTo>
                        <a:pt x="253" y="154"/>
                      </a:lnTo>
                      <a:lnTo>
                        <a:pt x="250" y="153"/>
                      </a:lnTo>
                      <a:lnTo>
                        <a:pt x="248" y="153"/>
                      </a:lnTo>
                      <a:lnTo>
                        <a:pt x="245" y="153"/>
                      </a:lnTo>
                      <a:lnTo>
                        <a:pt x="244" y="153"/>
                      </a:lnTo>
                      <a:lnTo>
                        <a:pt x="244" y="151"/>
                      </a:lnTo>
                      <a:lnTo>
                        <a:pt x="244" y="149"/>
                      </a:lnTo>
                      <a:lnTo>
                        <a:pt x="246" y="146"/>
                      </a:lnTo>
                      <a:lnTo>
                        <a:pt x="246" y="145"/>
                      </a:lnTo>
                      <a:lnTo>
                        <a:pt x="240" y="146"/>
                      </a:lnTo>
                      <a:lnTo>
                        <a:pt x="235" y="147"/>
                      </a:lnTo>
                      <a:lnTo>
                        <a:pt x="229" y="149"/>
                      </a:lnTo>
                      <a:lnTo>
                        <a:pt x="223" y="153"/>
                      </a:lnTo>
                      <a:lnTo>
                        <a:pt x="222" y="153"/>
                      </a:lnTo>
                      <a:lnTo>
                        <a:pt x="220" y="153"/>
                      </a:lnTo>
                      <a:lnTo>
                        <a:pt x="218" y="152"/>
                      </a:lnTo>
                      <a:lnTo>
                        <a:pt x="218" y="149"/>
                      </a:lnTo>
                      <a:lnTo>
                        <a:pt x="223" y="145"/>
                      </a:lnTo>
                      <a:lnTo>
                        <a:pt x="225" y="142"/>
                      </a:lnTo>
                      <a:lnTo>
                        <a:pt x="223" y="141"/>
                      </a:lnTo>
                      <a:lnTo>
                        <a:pt x="222" y="140"/>
                      </a:lnTo>
                      <a:lnTo>
                        <a:pt x="217" y="139"/>
                      </a:lnTo>
                      <a:lnTo>
                        <a:pt x="212" y="136"/>
                      </a:lnTo>
                      <a:lnTo>
                        <a:pt x="208" y="134"/>
                      </a:lnTo>
                      <a:lnTo>
                        <a:pt x="206" y="130"/>
                      </a:lnTo>
                      <a:lnTo>
                        <a:pt x="201" y="122"/>
                      </a:lnTo>
                      <a:lnTo>
                        <a:pt x="197" y="114"/>
                      </a:lnTo>
                      <a:lnTo>
                        <a:pt x="196" y="113"/>
                      </a:lnTo>
                      <a:lnTo>
                        <a:pt x="193" y="112"/>
                      </a:lnTo>
                      <a:lnTo>
                        <a:pt x="187" y="110"/>
                      </a:lnTo>
                      <a:lnTo>
                        <a:pt x="183" y="107"/>
                      </a:lnTo>
                      <a:lnTo>
                        <a:pt x="180" y="103"/>
                      </a:lnTo>
                      <a:lnTo>
                        <a:pt x="178" y="100"/>
                      </a:lnTo>
                      <a:lnTo>
                        <a:pt x="176" y="100"/>
                      </a:lnTo>
                      <a:lnTo>
                        <a:pt x="174" y="101"/>
                      </a:lnTo>
                      <a:lnTo>
                        <a:pt x="173" y="103"/>
                      </a:lnTo>
                      <a:lnTo>
                        <a:pt x="173" y="106"/>
                      </a:lnTo>
                      <a:lnTo>
                        <a:pt x="175" y="110"/>
                      </a:lnTo>
                      <a:lnTo>
                        <a:pt x="179" y="115"/>
                      </a:lnTo>
                      <a:lnTo>
                        <a:pt x="182" y="120"/>
                      </a:lnTo>
                      <a:lnTo>
                        <a:pt x="182" y="122"/>
                      </a:lnTo>
                      <a:lnTo>
                        <a:pt x="180" y="123"/>
                      </a:lnTo>
                      <a:lnTo>
                        <a:pt x="175" y="123"/>
                      </a:lnTo>
                      <a:lnTo>
                        <a:pt x="168" y="122"/>
                      </a:lnTo>
                      <a:lnTo>
                        <a:pt x="165" y="122"/>
                      </a:lnTo>
                      <a:lnTo>
                        <a:pt x="162" y="123"/>
                      </a:lnTo>
                      <a:lnTo>
                        <a:pt x="160" y="126"/>
                      </a:lnTo>
                      <a:lnTo>
                        <a:pt x="157" y="128"/>
                      </a:lnTo>
                      <a:lnTo>
                        <a:pt x="154" y="128"/>
                      </a:lnTo>
                      <a:lnTo>
                        <a:pt x="151" y="128"/>
                      </a:lnTo>
                      <a:lnTo>
                        <a:pt x="149" y="127"/>
                      </a:lnTo>
                      <a:lnTo>
                        <a:pt x="147" y="125"/>
                      </a:lnTo>
                      <a:lnTo>
                        <a:pt x="143" y="121"/>
                      </a:lnTo>
                      <a:lnTo>
                        <a:pt x="140" y="120"/>
                      </a:lnTo>
                      <a:lnTo>
                        <a:pt x="136" y="119"/>
                      </a:lnTo>
                      <a:lnTo>
                        <a:pt x="132" y="120"/>
                      </a:lnTo>
                      <a:lnTo>
                        <a:pt x="129" y="122"/>
                      </a:lnTo>
                      <a:lnTo>
                        <a:pt x="127" y="123"/>
                      </a:lnTo>
                      <a:lnTo>
                        <a:pt x="121" y="123"/>
                      </a:lnTo>
                      <a:lnTo>
                        <a:pt x="114" y="121"/>
                      </a:lnTo>
                      <a:lnTo>
                        <a:pt x="108" y="119"/>
                      </a:lnTo>
                      <a:lnTo>
                        <a:pt x="102" y="117"/>
                      </a:lnTo>
                      <a:lnTo>
                        <a:pt x="96" y="115"/>
                      </a:lnTo>
                      <a:lnTo>
                        <a:pt x="93" y="115"/>
                      </a:lnTo>
                      <a:lnTo>
                        <a:pt x="82" y="110"/>
                      </a:lnTo>
                      <a:lnTo>
                        <a:pt x="80" y="110"/>
                      </a:lnTo>
                      <a:lnTo>
                        <a:pt x="77" y="112"/>
                      </a:lnTo>
                      <a:lnTo>
                        <a:pt x="74" y="115"/>
                      </a:lnTo>
                      <a:lnTo>
                        <a:pt x="69" y="117"/>
                      </a:lnTo>
                      <a:lnTo>
                        <a:pt x="65" y="116"/>
                      </a:lnTo>
                      <a:lnTo>
                        <a:pt x="60" y="114"/>
                      </a:lnTo>
                      <a:lnTo>
                        <a:pt x="51" y="108"/>
                      </a:lnTo>
                      <a:lnTo>
                        <a:pt x="46" y="104"/>
                      </a:lnTo>
                      <a:lnTo>
                        <a:pt x="42" y="102"/>
                      </a:lnTo>
                      <a:lnTo>
                        <a:pt x="37" y="101"/>
                      </a:lnTo>
                      <a:lnTo>
                        <a:pt x="33" y="102"/>
                      </a:lnTo>
                      <a:lnTo>
                        <a:pt x="28" y="102"/>
                      </a:lnTo>
                      <a:lnTo>
                        <a:pt x="23" y="100"/>
                      </a:lnTo>
                      <a:lnTo>
                        <a:pt x="15" y="94"/>
                      </a:lnTo>
                      <a:lnTo>
                        <a:pt x="11" y="91"/>
                      </a:lnTo>
                      <a:lnTo>
                        <a:pt x="6" y="89"/>
                      </a:lnTo>
                      <a:lnTo>
                        <a:pt x="4" y="88"/>
                      </a:lnTo>
                      <a:lnTo>
                        <a:pt x="2" y="85"/>
                      </a:lnTo>
                      <a:lnTo>
                        <a:pt x="1" y="83"/>
                      </a:lnTo>
                      <a:lnTo>
                        <a:pt x="1" y="80"/>
                      </a:lnTo>
                      <a:lnTo>
                        <a:pt x="11" y="82"/>
                      </a:lnTo>
                      <a:lnTo>
                        <a:pt x="22" y="83"/>
                      </a:lnTo>
                      <a:lnTo>
                        <a:pt x="30" y="82"/>
                      </a:lnTo>
                      <a:lnTo>
                        <a:pt x="41" y="80"/>
                      </a:lnTo>
                      <a:lnTo>
                        <a:pt x="36" y="75"/>
                      </a:lnTo>
                      <a:lnTo>
                        <a:pt x="32" y="74"/>
                      </a:lnTo>
                      <a:lnTo>
                        <a:pt x="29" y="72"/>
                      </a:lnTo>
                      <a:lnTo>
                        <a:pt x="22" y="74"/>
                      </a:lnTo>
                      <a:lnTo>
                        <a:pt x="14" y="75"/>
                      </a:lnTo>
                      <a:lnTo>
                        <a:pt x="8" y="72"/>
                      </a:lnTo>
                      <a:lnTo>
                        <a:pt x="5" y="71"/>
                      </a:lnTo>
                      <a:lnTo>
                        <a:pt x="2" y="69"/>
                      </a:lnTo>
                      <a:lnTo>
                        <a:pt x="1" y="65"/>
                      </a:lnTo>
                      <a:lnTo>
                        <a:pt x="0" y="62"/>
                      </a:lnTo>
                      <a:lnTo>
                        <a:pt x="0" y="55"/>
                      </a:lnTo>
                      <a:lnTo>
                        <a:pt x="2" y="47"/>
                      </a:lnTo>
                      <a:lnTo>
                        <a:pt x="6" y="40"/>
                      </a:lnTo>
                      <a:lnTo>
                        <a:pt x="6" y="37"/>
                      </a:lnTo>
                      <a:lnTo>
                        <a:pt x="5" y="34"/>
                      </a:lnTo>
                      <a:lnTo>
                        <a:pt x="5" y="32"/>
                      </a:lnTo>
                      <a:lnTo>
                        <a:pt x="5" y="30"/>
                      </a:lnTo>
                      <a:lnTo>
                        <a:pt x="10" y="23"/>
                      </a:lnTo>
                      <a:lnTo>
                        <a:pt x="13" y="18"/>
                      </a:lnTo>
                      <a:lnTo>
                        <a:pt x="14" y="14"/>
                      </a:lnTo>
                      <a:lnTo>
                        <a:pt x="16" y="12"/>
                      </a:lnTo>
                      <a:lnTo>
                        <a:pt x="19" y="11"/>
                      </a:lnTo>
                      <a:lnTo>
                        <a:pt x="23" y="11"/>
                      </a:lnTo>
                      <a:lnTo>
                        <a:pt x="28" y="10"/>
                      </a:lnTo>
                      <a:lnTo>
                        <a:pt x="32" y="10"/>
                      </a:lnTo>
                      <a:lnTo>
                        <a:pt x="37" y="8"/>
                      </a:lnTo>
                      <a:lnTo>
                        <a:pt x="49" y="2"/>
                      </a:lnTo>
                      <a:lnTo>
                        <a:pt x="56" y="1"/>
                      </a:lnTo>
                      <a:lnTo>
                        <a:pt x="62" y="0"/>
                      </a:lnTo>
                      <a:lnTo>
                        <a:pt x="69" y="0"/>
                      </a:lnTo>
                      <a:lnTo>
                        <a:pt x="75" y="1"/>
                      </a:lnTo>
                      <a:lnTo>
                        <a:pt x="80" y="4"/>
                      </a:lnTo>
                      <a:lnTo>
                        <a:pt x="85" y="6"/>
                      </a:lnTo>
                      <a:lnTo>
                        <a:pt x="86" y="7"/>
                      </a:lnTo>
                      <a:lnTo>
                        <a:pt x="85" y="8"/>
                      </a:lnTo>
                      <a:lnTo>
                        <a:pt x="82" y="11"/>
                      </a:lnTo>
                      <a:lnTo>
                        <a:pt x="77" y="13"/>
                      </a:lnTo>
                      <a:lnTo>
                        <a:pt x="74" y="17"/>
                      </a:lnTo>
                      <a:lnTo>
                        <a:pt x="72" y="20"/>
                      </a:lnTo>
                      <a:lnTo>
                        <a:pt x="72" y="24"/>
                      </a:lnTo>
                      <a:lnTo>
                        <a:pt x="74" y="26"/>
                      </a:lnTo>
                      <a:lnTo>
                        <a:pt x="72" y="29"/>
                      </a:lnTo>
                      <a:lnTo>
                        <a:pt x="70" y="34"/>
                      </a:lnTo>
                      <a:lnTo>
                        <a:pt x="69" y="39"/>
                      </a:lnTo>
                      <a:lnTo>
                        <a:pt x="70" y="44"/>
                      </a:lnTo>
                      <a:lnTo>
                        <a:pt x="74" y="47"/>
                      </a:lnTo>
                      <a:lnTo>
                        <a:pt x="71" y="52"/>
                      </a:lnTo>
                      <a:lnTo>
                        <a:pt x="71" y="53"/>
                      </a:lnTo>
                      <a:lnTo>
                        <a:pt x="71" y="56"/>
                      </a:lnTo>
                      <a:lnTo>
                        <a:pt x="71" y="63"/>
                      </a:lnTo>
                      <a:lnTo>
                        <a:pt x="74" y="69"/>
                      </a:lnTo>
                      <a:lnTo>
                        <a:pt x="76" y="75"/>
                      </a:lnTo>
                      <a:lnTo>
                        <a:pt x="79" y="75"/>
                      </a:lnTo>
                      <a:lnTo>
                        <a:pt x="81" y="75"/>
                      </a:lnTo>
                      <a:lnTo>
                        <a:pt x="82" y="74"/>
                      </a:lnTo>
                      <a:lnTo>
                        <a:pt x="84" y="72"/>
                      </a:lnTo>
                      <a:lnTo>
                        <a:pt x="84" y="65"/>
                      </a:lnTo>
                      <a:lnTo>
                        <a:pt x="84" y="58"/>
                      </a:lnTo>
                      <a:lnTo>
                        <a:pt x="84" y="55"/>
                      </a:lnTo>
                      <a:lnTo>
                        <a:pt x="85" y="52"/>
                      </a:lnTo>
                      <a:lnTo>
                        <a:pt x="88" y="51"/>
                      </a:lnTo>
                      <a:lnTo>
                        <a:pt x="90" y="52"/>
                      </a:lnTo>
                      <a:lnTo>
                        <a:pt x="93" y="52"/>
                      </a:lnTo>
                      <a:lnTo>
                        <a:pt x="94" y="51"/>
                      </a:lnTo>
                      <a:lnTo>
                        <a:pt x="89" y="39"/>
                      </a:lnTo>
                      <a:lnTo>
                        <a:pt x="88" y="33"/>
                      </a:lnTo>
                      <a:lnTo>
                        <a:pt x="88" y="27"/>
                      </a:lnTo>
                      <a:lnTo>
                        <a:pt x="90" y="24"/>
                      </a:lnTo>
                      <a:lnTo>
                        <a:pt x="94" y="21"/>
                      </a:lnTo>
                      <a:lnTo>
                        <a:pt x="102" y="18"/>
                      </a:lnTo>
                      <a:lnTo>
                        <a:pt x="102" y="17"/>
                      </a:lnTo>
                      <a:lnTo>
                        <a:pt x="103" y="14"/>
                      </a:lnTo>
                      <a:lnTo>
                        <a:pt x="103" y="11"/>
                      </a:lnTo>
                      <a:lnTo>
                        <a:pt x="107" y="8"/>
                      </a:lnTo>
                      <a:lnTo>
                        <a:pt x="112" y="6"/>
                      </a:lnTo>
                      <a:lnTo>
                        <a:pt x="123" y="4"/>
                      </a:lnTo>
                      <a:lnTo>
                        <a:pt x="133" y="4"/>
                      </a:lnTo>
                      <a:lnTo>
                        <a:pt x="145" y="4"/>
                      </a:lnTo>
                      <a:lnTo>
                        <a:pt x="146" y="5"/>
                      </a:lnTo>
                      <a:lnTo>
                        <a:pt x="147" y="6"/>
                      </a:lnTo>
                      <a:lnTo>
                        <a:pt x="147" y="10"/>
                      </a:lnTo>
                      <a:lnTo>
                        <a:pt x="146" y="13"/>
                      </a:lnTo>
                      <a:lnTo>
                        <a:pt x="143" y="17"/>
                      </a:lnTo>
                      <a:lnTo>
                        <a:pt x="143" y="18"/>
                      </a:lnTo>
                      <a:lnTo>
                        <a:pt x="143" y="19"/>
                      </a:lnTo>
                      <a:lnTo>
                        <a:pt x="149" y="20"/>
                      </a:lnTo>
                      <a:lnTo>
                        <a:pt x="150" y="21"/>
                      </a:lnTo>
                      <a:lnTo>
                        <a:pt x="151" y="24"/>
                      </a:lnTo>
                      <a:lnTo>
                        <a:pt x="150" y="31"/>
                      </a:lnTo>
                      <a:lnTo>
                        <a:pt x="150" y="37"/>
                      </a:lnTo>
                      <a:lnTo>
                        <a:pt x="149" y="43"/>
                      </a:lnTo>
                      <a:lnTo>
                        <a:pt x="147" y="46"/>
                      </a:lnTo>
                      <a:lnTo>
                        <a:pt x="145" y="49"/>
                      </a:lnTo>
                      <a:lnTo>
                        <a:pt x="143" y="51"/>
                      </a:lnTo>
                      <a:lnTo>
                        <a:pt x="145" y="53"/>
                      </a:lnTo>
                      <a:lnTo>
                        <a:pt x="147" y="56"/>
                      </a:lnTo>
                      <a:lnTo>
                        <a:pt x="151" y="56"/>
                      </a:lnTo>
                      <a:lnTo>
                        <a:pt x="154" y="55"/>
                      </a:lnTo>
                      <a:lnTo>
                        <a:pt x="156" y="53"/>
                      </a:lnTo>
                      <a:lnTo>
                        <a:pt x="160" y="49"/>
                      </a:lnTo>
                      <a:lnTo>
                        <a:pt x="165" y="39"/>
                      </a:lnTo>
                      <a:lnTo>
                        <a:pt x="166" y="39"/>
                      </a:lnTo>
                      <a:lnTo>
                        <a:pt x="170" y="44"/>
                      </a:lnTo>
                      <a:lnTo>
                        <a:pt x="174" y="47"/>
                      </a:lnTo>
                      <a:lnTo>
                        <a:pt x="175" y="50"/>
                      </a:lnTo>
                      <a:lnTo>
                        <a:pt x="178" y="50"/>
                      </a:lnTo>
                      <a:lnTo>
                        <a:pt x="182" y="50"/>
                      </a:lnTo>
                      <a:lnTo>
                        <a:pt x="184" y="50"/>
                      </a:lnTo>
                      <a:lnTo>
                        <a:pt x="187" y="51"/>
                      </a:lnTo>
                      <a:lnTo>
                        <a:pt x="189" y="52"/>
                      </a:lnTo>
                      <a:lnTo>
                        <a:pt x="190" y="52"/>
                      </a:lnTo>
                      <a:lnTo>
                        <a:pt x="192" y="51"/>
                      </a:lnTo>
                      <a:lnTo>
                        <a:pt x="193" y="45"/>
                      </a:lnTo>
                      <a:lnTo>
                        <a:pt x="194" y="43"/>
                      </a:lnTo>
                      <a:lnTo>
                        <a:pt x="196" y="40"/>
                      </a:lnTo>
                      <a:lnTo>
                        <a:pt x="208" y="39"/>
                      </a:lnTo>
                      <a:lnTo>
                        <a:pt x="220" y="40"/>
                      </a:lnTo>
                      <a:lnTo>
                        <a:pt x="232" y="43"/>
                      </a:lnTo>
                      <a:lnTo>
                        <a:pt x="244" y="46"/>
                      </a:lnTo>
                      <a:lnTo>
                        <a:pt x="249" y="46"/>
                      </a:lnTo>
                      <a:lnTo>
                        <a:pt x="250" y="46"/>
                      </a:lnTo>
                      <a:lnTo>
                        <a:pt x="253" y="47"/>
                      </a:lnTo>
                      <a:lnTo>
                        <a:pt x="258" y="51"/>
                      </a:lnTo>
                      <a:lnTo>
                        <a:pt x="263" y="53"/>
                      </a:lnTo>
                      <a:lnTo>
                        <a:pt x="265" y="56"/>
                      </a:lnTo>
                      <a:lnTo>
                        <a:pt x="268" y="59"/>
                      </a:lnTo>
                      <a:lnTo>
                        <a:pt x="273" y="68"/>
                      </a:lnTo>
                      <a:lnTo>
                        <a:pt x="274" y="69"/>
                      </a:lnTo>
                      <a:lnTo>
                        <a:pt x="277" y="70"/>
                      </a:lnTo>
                      <a:lnTo>
                        <a:pt x="281" y="71"/>
                      </a:lnTo>
                      <a:lnTo>
                        <a:pt x="286" y="72"/>
                      </a:lnTo>
                      <a:lnTo>
                        <a:pt x="291" y="75"/>
                      </a:lnTo>
                      <a:lnTo>
                        <a:pt x="296" y="76"/>
                      </a:lnTo>
                      <a:lnTo>
                        <a:pt x="301" y="77"/>
                      </a:lnTo>
                      <a:lnTo>
                        <a:pt x="310" y="77"/>
                      </a:lnTo>
                      <a:lnTo>
                        <a:pt x="319" y="75"/>
                      </a:lnTo>
                      <a:lnTo>
                        <a:pt x="322" y="75"/>
                      </a:lnTo>
                      <a:lnTo>
                        <a:pt x="325" y="77"/>
                      </a:lnTo>
                      <a:lnTo>
                        <a:pt x="328" y="81"/>
                      </a:lnTo>
                      <a:lnTo>
                        <a:pt x="328" y="82"/>
                      </a:lnTo>
                      <a:lnTo>
                        <a:pt x="326" y="84"/>
                      </a:lnTo>
                      <a:lnTo>
                        <a:pt x="324" y="85"/>
                      </a:lnTo>
                      <a:lnTo>
                        <a:pt x="320" y="87"/>
                      </a:lnTo>
                      <a:lnTo>
                        <a:pt x="312" y="88"/>
                      </a:lnTo>
                      <a:lnTo>
                        <a:pt x="310" y="90"/>
                      </a:lnTo>
                      <a:lnTo>
                        <a:pt x="309" y="94"/>
                      </a:lnTo>
                      <a:lnTo>
                        <a:pt x="309" y="97"/>
                      </a:lnTo>
                      <a:lnTo>
                        <a:pt x="310" y="98"/>
                      </a:lnTo>
                      <a:lnTo>
                        <a:pt x="312" y="98"/>
                      </a:lnTo>
                      <a:lnTo>
                        <a:pt x="317" y="97"/>
                      </a:lnTo>
                      <a:lnTo>
                        <a:pt x="322" y="95"/>
                      </a:lnTo>
                      <a:lnTo>
                        <a:pt x="326" y="93"/>
                      </a:lnTo>
                      <a:lnTo>
                        <a:pt x="331" y="90"/>
                      </a:lnTo>
                      <a:lnTo>
                        <a:pt x="334" y="91"/>
                      </a:lnTo>
                      <a:lnTo>
                        <a:pt x="335" y="94"/>
                      </a:lnTo>
                      <a:lnTo>
                        <a:pt x="338" y="100"/>
                      </a:lnTo>
                      <a:lnTo>
                        <a:pt x="333" y="100"/>
                      </a:lnTo>
                      <a:lnTo>
                        <a:pt x="326" y="100"/>
                      </a:lnTo>
                      <a:lnTo>
                        <a:pt x="326" y="101"/>
                      </a:lnTo>
                      <a:lnTo>
                        <a:pt x="326" y="102"/>
                      </a:lnTo>
                      <a:lnTo>
                        <a:pt x="326" y="106"/>
                      </a:lnTo>
                      <a:lnTo>
                        <a:pt x="330" y="107"/>
                      </a:lnTo>
                      <a:lnTo>
                        <a:pt x="336" y="107"/>
                      </a:lnTo>
                      <a:lnTo>
                        <a:pt x="343" y="107"/>
                      </a:lnTo>
                      <a:lnTo>
                        <a:pt x="354" y="102"/>
                      </a:lnTo>
                      <a:lnTo>
                        <a:pt x="357" y="101"/>
                      </a:lnTo>
                      <a:lnTo>
                        <a:pt x="359" y="103"/>
                      </a:lnTo>
                      <a:lnTo>
                        <a:pt x="362" y="108"/>
                      </a:lnTo>
                      <a:lnTo>
                        <a:pt x="357" y="109"/>
                      </a:lnTo>
                      <a:lnTo>
                        <a:pt x="353" y="109"/>
                      </a:lnTo>
                      <a:lnTo>
                        <a:pt x="348" y="110"/>
                      </a:lnTo>
                      <a:lnTo>
                        <a:pt x="344" y="112"/>
                      </a:lnTo>
                      <a:lnTo>
                        <a:pt x="348" y="114"/>
                      </a:lnTo>
                      <a:lnTo>
                        <a:pt x="353" y="115"/>
                      </a:lnTo>
                      <a:lnTo>
                        <a:pt x="358" y="114"/>
                      </a:lnTo>
                      <a:lnTo>
                        <a:pt x="362" y="113"/>
                      </a:lnTo>
                      <a:lnTo>
                        <a:pt x="371" y="108"/>
                      </a:lnTo>
                      <a:lnTo>
                        <a:pt x="376" y="107"/>
                      </a:lnTo>
                      <a:lnTo>
                        <a:pt x="380" y="107"/>
                      </a:lnTo>
                      <a:lnTo>
                        <a:pt x="382" y="108"/>
                      </a:lnTo>
                      <a:lnTo>
                        <a:pt x="385" y="112"/>
                      </a:lnTo>
                      <a:lnTo>
                        <a:pt x="389" y="120"/>
                      </a:lnTo>
                      <a:lnTo>
                        <a:pt x="389" y="121"/>
                      </a:lnTo>
                      <a:lnTo>
                        <a:pt x="387" y="121"/>
                      </a:lnTo>
                      <a:lnTo>
                        <a:pt x="383" y="122"/>
                      </a:lnTo>
                      <a:lnTo>
                        <a:pt x="375" y="123"/>
                      </a:lnTo>
                      <a:lnTo>
                        <a:pt x="372" y="126"/>
                      </a:lnTo>
                      <a:lnTo>
                        <a:pt x="368" y="128"/>
                      </a:lnTo>
                      <a:lnTo>
                        <a:pt x="369" y="129"/>
                      </a:lnTo>
                      <a:lnTo>
                        <a:pt x="371" y="130"/>
                      </a:lnTo>
                      <a:lnTo>
                        <a:pt x="372" y="130"/>
                      </a:lnTo>
                      <a:lnTo>
                        <a:pt x="373" y="130"/>
                      </a:lnTo>
                      <a:lnTo>
                        <a:pt x="376" y="128"/>
                      </a:lnTo>
                      <a:lnTo>
                        <a:pt x="377" y="128"/>
                      </a:lnTo>
                      <a:lnTo>
                        <a:pt x="380" y="128"/>
                      </a:lnTo>
                      <a:lnTo>
                        <a:pt x="383" y="129"/>
                      </a:lnTo>
                      <a:lnTo>
                        <a:pt x="386" y="132"/>
                      </a:lnTo>
                      <a:lnTo>
                        <a:pt x="392" y="138"/>
                      </a:lnTo>
                      <a:lnTo>
                        <a:pt x="389" y="139"/>
                      </a:lnTo>
                      <a:lnTo>
                        <a:pt x="383" y="140"/>
                      </a:lnTo>
                      <a:lnTo>
                        <a:pt x="378" y="140"/>
                      </a:lnTo>
                      <a:lnTo>
                        <a:pt x="375" y="141"/>
                      </a:lnTo>
                      <a:lnTo>
                        <a:pt x="373" y="144"/>
                      </a:lnTo>
                      <a:lnTo>
                        <a:pt x="373" y="147"/>
                      </a:lnTo>
                      <a:lnTo>
                        <a:pt x="372" y="154"/>
                      </a:lnTo>
                      <a:lnTo>
                        <a:pt x="372" y="157"/>
                      </a:lnTo>
                      <a:lnTo>
                        <a:pt x="373" y="159"/>
                      </a:lnTo>
                      <a:lnTo>
                        <a:pt x="376" y="160"/>
                      </a:lnTo>
                      <a:lnTo>
                        <a:pt x="380" y="161"/>
                      </a:lnTo>
                      <a:lnTo>
                        <a:pt x="386" y="162"/>
                      </a:lnTo>
                      <a:lnTo>
                        <a:pt x="394" y="164"/>
                      </a:lnTo>
                      <a:lnTo>
                        <a:pt x="395" y="164"/>
                      </a:lnTo>
                      <a:lnTo>
                        <a:pt x="396" y="164"/>
                      </a:lnTo>
                      <a:lnTo>
                        <a:pt x="394" y="167"/>
                      </a:lnTo>
                      <a:lnTo>
                        <a:pt x="392" y="170"/>
                      </a:lnTo>
                      <a:lnTo>
                        <a:pt x="392" y="173"/>
                      </a:lnTo>
                      <a:lnTo>
                        <a:pt x="394" y="174"/>
                      </a:lnTo>
                      <a:lnTo>
                        <a:pt x="396" y="174"/>
                      </a:lnTo>
                      <a:lnTo>
                        <a:pt x="402" y="176"/>
                      </a:lnTo>
                      <a:lnTo>
                        <a:pt x="406" y="177"/>
                      </a:lnTo>
                      <a:lnTo>
                        <a:pt x="409" y="179"/>
                      </a:lnTo>
                      <a:lnTo>
                        <a:pt x="411" y="180"/>
                      </a:lnTo>
                      <a:lnTo>
                        <a:pt x="413" y="180"/>
                      </a:lnTo>
                      <a:lnTo>
                        <a:pt x="416" y="179"/>
                      </a:lnTo>
                      <a:lnTo>
                        <a:pt x="419" y="177"/>
                      </a:lnTo>
                      <a:lnTo>
                        <a:pt x="423" y="177"/>
                      </a:lnTo>
                      <a:lnTo>
                        <a:pt x="429" y="178"/>
                      </a:lnTo>
                      <a:lnTo>
                        <a:pt x="436" y="181"/>
                      </a:lnTo>
                      <a:lnTo>
                        <a:pt x="437" y="184"/>
                      </a:lnTo>
                      <a:lnTo>
                        <a:pt x="438" y="186"/>
                      </a:lnTo>
                      <a:lnTo>
                        <a:pt x="438" y="189"/>
                      </a:lnTo>
                      <a:lnTo>
                        <a:pt x="438" y="192"/>
                      </a:lnTo>
                      <a:lnTo>
                        <a:pt x="439" y="193"/>
                      </a:lnTo>
                      <a:lnTo>
                        <a:pt x="441" y="196"/>
                      </a:lnTo>
                      <a:lnTo>
                        <a:pt x="443" y="197"/>
                      </a:lnTo>
                      <a:lnTo>
                        <a:pt x="447" y="197"/>
                      </a:lnTo>
                      <a:lnTo>
                        <a:pt x="449" y="196"/>
                      </a:lnTo>
                      <a:lnTo>
                        <a:pt x="452" y="196"/>
                      </a:lnTo>
                      <a:lnTo>
                        <a:pt x="453" y="197"/>
                      </a:lnTo>
                      <a:lnTo>
                        <a:pt x="452" y="199"/>
                      </a:lnTo>
                      <a:lnTo>
                        <a:pt x="451" y="200"/>
                      </a:lnTo>
                      <a:lnTo>
                        <a:pt x="449" y="203"/>
                      </a:lnTo>
                      <a:lnTo>
                        <a:pt x="451" y="205"/>
                      </a:lnTo>
                      <a:lnTo>
                        <a:pt x="451" y="206"/>
                      </a:lnTo>
                      <a:lnTo>
                        <a:pt x="452" y="206"/>
                      </a:lnTo>
                      <a:lnTo>
                        <a:pt x="460" y="205"/>
                      </a:lnTo>
                      <a:lnTo>
                        <a:pt x="463" y="206"/>
                      </a:lnTo>
                      <a:lnTo>
                        <a:pt x="466" y="206"/>
                      </a:lnTo>
                      <a:lnTo>
                        <a:pt x="469" y="208"/>
                      </a:lnTo>
                      <a:lnTo>
                        <a:pt x="471" y="208"/>
                      </a:lnTo>
                      <a:lnTo>
                        <a:pt x="480" y="202"/>
                      </a:lnTo>
                      <a:lnTo>
                        <a:pt x="484" y="200"/>
                      </a:lnTo>
                      <a:lnTo>
                        <a:pt x="488" y="200"/>
                      </a:lnTo>
                      <a:lnTo>
                        <a:pt x="489" y="203"/>
                      </a:lnTo>
                      <a:lnTo>
                        <a:pt x="490" y="205"/>
                      </a:lnTo>
                      <a:lnTo>
                        <a:pt x="493" y="211"/>
                      </a:lnTo>
                      <a:lnTo>
                        <a:pt x="493" y="213"/>
                      </a:lnTo>
                      <a:lnTo>
                        <a:pt x="491" y="215"/>
                      </a:lnTo>
                      <a:lnTo>
                        <a:pt x="488" y="216"/>
                      </a:lnTo>
                      <a:lnTo>
                        <a:pt x="482" y="217"/>
                      </a:lnTo>
                      <a:lnTo>
                        <a:pt x="479" y="218"/>
                      </a:lnTo>
                      <a:lnTo>
                        <a:pt x="477" y="219"/>
                      </a:lnTo>
                      <a:lnTo>
                        <a:pt x="479" y="222"/>
                      </a:lnTo>
                      <a:lnTo>
                        <a:pt x="480" y="224"/>
                      </a:lnTo>
                      <a:lnTo>
                        <a:pt x="479" y="227"/>
                      </a:lnTo>
                      <a:lnTo>
                        <a:pt x="476" y="228"/>
                      </a:lnTo>
                      <a:lnTo>
                        <a:pt x="475" y="229"/>
                      </a:lnTo>
                      <a:lnTo>
                        <a:pt x="475" y="230"/>
                      </a:lnTo>
                      <a:lnTo>
                        <a:pt x="476" y="232"/>
                      </a:lnTo>
                      <a:lnTo>
                        <a:pt x="479" y="234"/>
                      </a:lnTo>
                      <a:lnTo>
                        <a:pt x="480" y="235"/>
                      </a:lnTo>
                      <a:lnTo>
                        <a:pt x="480" y="237"/>
                      </a:lnTo>
                      <a:lnTo>
                        <a:pt x="476" y="240"/>
                      </a:lnTo>
                      <a:lnTo>
                        <a:pt x="472" y="240"/>
                      </a:lnTo>
                      <a:lnTo>
                        <a:pt x="467" y="240"/>
                      </a:lnTo>
                      <a:lnTo>
                        <a:pt x="462" y="237"/>
                      </a:lnTo>
                      <a:lnTo>
                        <a:pt x="461" y="237"/>
                      </a:lnTo>
                      <a:lnTo>
                        <a:pt x="460" y="237"/>
                      </a:lnTo>
                      <a:lnTo>
                        <a:pt x="460" y="238"/>
                      </a:lnTo>
                      <a:lnTo>
                        <a:pt x="461" y="241"/>
                      </a:lnTo>
                      <a:lnTo>
                        <a:pt x="462" y="242"/>
                      </a:lnTo>
                      <a:lnTo>
                        <a:pt x="463" y="243"/>
                      </a:lnTo>
                      <a:lnTo>
                        <a:pt x="463" y="244"/>
                      </a:lnTo>
                      <a:lnTo>
                        <a:pt x="462" y="245"/>
                      </a:lnTo>
                      <a:lnTo>
                        <a:pt x="461" y="247"/>
                      </a:lnTo>
                      <a:lnTo>
                        <a:pt x="458" y="248"/>
                      </a:lnTo>
                      <a:lnTo>
                        <a:pt x="458" y="249"/>
                      </a:lnTo>
                      <a:lnTo>
                        <a:pt x="461" y="251"/>
                      </a:lnTo>
                      <a:lnTo>
                        <a:pt x="462" y="254"/>
                      </a:lnTo>
                      <a:lnTo>
                        <a:pt x="462" y="256"/>
                      </a:lnTo>
                      <a:lnTo>
                        <a:pt x="461" y="257"/>
                      </a:lnTo>
                      <a:lnTo>
                        <a:pt x="458" y="260"/>
                      </a:lnTo>
                      <a:lnTo>
                        <a:pt x="458" y="263"/>
                      </a:lnTo>
                      <a:lnTo>
                        <a:pt x="458" y="264"/>
                      </a:lnTo>
                      <a:lnTo>
                        <a:pt x="457" y="264"/>
                      </a:lnTo>
                      <a:lnTo>
                        <a:pt x="456" y="264"/>
                      </a:lnTo>
                      <a:lnTo>
                        <a:pt x="455" y="264"/>
                      </a:lnTo>
                      <a:lnTo>
                        <a:pt x="452" y="262"/>
                      </a:lnTo>
                      <a:lnTo>
                        <a:pt x="451" y="259"/>
                      </a:lnTo>
                      <a:lnTo>
                        <a:pt x="448" y="256"/>
                      </a:lnTo>
                      <a:lnTo>
                        <a:pt x="447" y="255"/>
                      </a:lnTo>
                      <a:lnTo>
                        <a:pt x="443" y="254"/>
                      </a:lnTo>
                      <a:lnTo>
                        <a:pt x="442" y="254"/>
                      </a:lnTo>
                      <a:lnTo>
                        <a:pt x="439" y="254"/>
                      </a:lnTo>
                      <a:lnTo>
                        <a:pt x="438" y="254"/>
                      </a:lnTo>
                      <a:lnTo>
                        <a:pt x="437" y="253"/>
                      </a:lnTo>
                      <a:lnTo>
                        <a:pt x="434" y="249"/>
                      </a:lnTo>
                      <a:lnTo>
                        <a:pt x="432" y="245"/>
                      </a:lnTo>
                      <a:lnTo>
                        <a:pt x="430" y="242"/>
                      </a:lnTo>
                      <a:lnTo>
                        <a:pt x="429" y="237"/>
                      </a:lnTo>
                      <a:lnTo>
                        <a:pt x="429" y="234"/>
                      </a:lnTo>
                      <a:lnTo>
                        <a:pt x="430" y="229"/>
                      </a:lnTo>
                      <a:lnTo>
                        <a:pt x="433" y="225"/>
                      </a:lnTo>
                      <a:lnTo>
                        <a:pt x="436" y="221"/>
                      </a:lnTo>
                      <a:lnTo>
                        <a:pt x="430" y="223"/>
                      </a:lnTo>
                      <a:lnTo>
                        <a:pt x="427" y="225"/>
                      </a:lnTo>
                      <a:lnTo>
                        <a:pt x="422" y="229"/>
                      </a:lnTo>
                      <a:lnTo>
                        <a:pt x="418" y="231"/>
                      </a:lnTo>
                      <a:lnTo>
                        <a:pt x="416" y="231"/>
                      </a:lnTo>
                      <a:lnTo>
                        <a:pt x="415" y="231"/>
                      </a:lnTo>
                      <a:lnTo>
                        <a:pt x="413" y="229"/>
                      </a:lnTo>
                      <a:lnTo>
                        <a:pt x="413" y="225"/>
                      </a:lnTo>
                      <a:lnTo>
                        <a:pt x="415" y="221"/>
                      </a:lnTo>
                      <a:lnTo>
                        <a:pt x="414" y="221"/>
                      </a:lnTo>
                      <a:lnTo>
                        <a:pt x="414" y="219"/>
                      </a:lnTo>
                      <a:lnTo>
                        <a:pt x="409" y="219"/>
                      </a:lnTo>
                      <a:lnTo>
                        <a:pt x="402" y="219"/>
                      </a:lnTo>
                      <a:lnTo>
                        <a:pt x="397" y="217"/>
                      </a:lnTo>
                      <a:lnTo>
                        <a:pt x="392" y="215"/>
                      </a:lnTo>
                      <a:lnTo>
                        <a:pt x="389" y="213"/>
                      </a:lnTo>
                      <a:lnTo>
                        <a:pt x="385" y="213"/>
                      </a:lnTo>
                      <a:lnTo>
                        <a:pt x="382" y="216"/>
                      </a:lnTo>
                      <a:lnTo>
                        <a:pt x="380" y="218"/>
                      </a:lnTo>
                      <a:lnTo>
                        <a:pt x="380" y="222"/>
                      </a:lnTo>
                      <a:lnTo>
                        <a:pt x="381" y="224"/>
                      </a:lnTo>
                      <a:lnTo>
                        <a:pt x="382" y="227"/>
                      </a:lnTo>
                      <a:lnTo>
                        <a:pt x="381" y="229"/>
                      </a:lnTo>
                      <a:lnTo>
                        <a:pt x="380" y="234"/>
                      </a:lnTo>
                      <a:lnTo>
                        <a:pt x="380" y="237"/>
                      </a:lnTo>
                      <a:lnTo>
                        <a:pt x="381" y="241"/>
                      </a:lnTo>
                      <a:lnTo>
                        <a:pt x="382" y="242"/>
                      </a:lnTo>
                      <a:lnTo>
                        <a:pt x="385" y="242"/>
                      </a:lnTo>
                      <a:lnTo>
                        <a:pt x="389" y="242"/>
                      </a:lnTo>
                      <a:lnTo>
                        <a:pt x="390" y="243"/>
                      </a:lnTo>
                      <a:lnTo>
                        <a:pt x="391" y="244"/>
                      </a:lnTo>
                      <a:lnTo>
                        <a:pt x="395" y="250"/>
                      </a:lnTo>
                      <a:lnTo>
                        <a:pt x="400" y="256"/>
                      </a:lnTo>
                      <a:lnTo>
                        <a:pt x="405" y="261"/>
                      </a:lnTo>
                      <a:lnTo>
                        <a:pt x="411" y="264"/>
                      </a:lnTo>
                      <a:lnTo>
                        <a:pt x="415" y="266"/>
                      </a:lnTo>
                      <a:lnTo>
                        <a:pt x="420" y="264"/>
                      </a:lnTo>
                      <a:lnTo>
                        <a:pt x="424" y="264"/>
                      </a:lnTo>
                      <a:lnTo>
                        <a:pt x="428" y="266"/>
                      </a:lnTo>
                      <a:lnTo>
                        <a:pt x="429" y="267"/>
                      </a:lnTo>
                      <a:lnTo>
                        <a:pt x="428" y="269"/>
                      </a:lnTo>
                      <a:lnTo>
                        <a:pt x="427" y="273"/>
                      </a:lnTo>
                      <a:lnTo>
                        <a:pt x="427" y="275"/>
                      </a:lnTo>
                      <a:lnTo>
                        <a:pt x="427" y="277"/>
                      </a:lnTo>
                      <a:lnTo>
                        <a:pt x="428" y="280"/>
                      </a:lnTo>
                      <a:lnTo>
                        <a:pt x="436" y="289"/>
                      </a:lnTo>
                      <a:lnTo>
                        <a:pt x="441" y="292"/>
                      </a:lnTo>
                      <a:lnTo>
                        <a:pt x="441" y="294"/>
                      </a:lnTo>
                      <a:lnTo>
                        <a:pt x="441" y="296"/>
                      </a:lnTo>
                      <a:lnTo>
                        <a:pt x="444" y="301"/>
                      </a:lnTo>
                      <a:lnTo>
                        <a:pt x="447" y="305"/>
                      </a:lnTo>
                      <a:lnTo>
                        <a:pt x="448" y="310"/>
                      </a:lnTo>
                      <a:lnTo>
                        <a:pt x="448" y="311"/>
                      </a:lnTo>
                      <a:lnTo>
                        <a:pt x="446" y="310"/>
                      </a:lnTo>
                      <a:lnTo>
                        <a:pt x="441" y="30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89" name="Freeform 963"/>
                <p:cNvSpPr>
                  <a:spLocks/>
                </p:cNvSpPr>
                <p:nvPr/>
              </p:nvSpPr>
              <p:spPr bwMode="auto">
                <a:xfrm>
                  <a:off x="3090976" y="2654573"/>
                  <a:ext cx="20718" cy="17758"/>
                </a:xfrm>
                <a:custGeom>
                  <a:avLst/>
                  <a:gdLst>
                    <a:gd name="T0" fmla="*/ 2147483647 w 15"/>
                    <a:gd name="T1" fmla="*/ 2147483647 h 12"/>
                    <a:gd name="T2" fmla="*/ 2147483647 w 15"/>
                    <a:gd name="T3" fmla="*/ 2147483647 h 12"/>
                    <a:gd name="T4" fmla="*/ 0 w 15"/>
                    <a:gd name="T5" fmla="*/ 2147483647 h 12"/>
                    <a:gd name="T6" fmla="*/ 2147483647 w 15"/>
                    <a:gd name="T7" fmla="*/ 2147483647 h 12"/>
                    <a:gd name="T8" fmla="*/ 2147483647 w 15"/>
                    <a:gd name="T9" fmla="*/ 0 h 12"/>
                    <a:gd name="T10" fmla="*/ 2147483647 w 15"/>
                    <a:gd name="T11" fmla="*/ 0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2"/>
                    <a:gd name="T47" fmla="*/ 15 w 15"/>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2">
                      <a:moveTo>
                        <a:pt x="3" y="8"/>
                      </a:moveTo>
                      <a:lnTo>
                        <a:pt x="1" y="6"/>
                      </a:lnTo>
                      <a:lnTo>
                        <a:pt x="0" y="3"/>
                      </a:lnTo>
                      <a:lnTo>
                        <a:pt x="1" y="1"/>
                      </a:lnTo>
                      <a:lnTo>
                        <a:pt x="3" y="0"/>
                      </a:lnTo>
                      <a:lnTo>
                        <a:pt x="10" y="0"/>
                      </a:lnTo>
                      <a:lnTo>
                        <a:pt x="12" y="1"/>
                      </a:lnTo>
                      <a:lnTo>
                        <a:pt x="15" y="3"/>
                      </a:lnTo>
                      <a:lnTo>
                        <a:pt x="15" y="6"/>
                      </a:lnTo>
                      <a:lnTo>
                        <a:pt x="15" y="8"/>
                      </a:lnTo>
                      <a:lnTo>
                        <a:pt x="14" y="11"/>
                      </a:lnTo>
                      <a:lnTo>
                        <a:pt x="11" y="12"/>
                      </a:lnTo>
                      <a:lnTo>
                        <a:pt x="10" y="12"/>
                      </a:lnTo>
                      <a:lnTo>
                        <a:pt x="7" y="11"/>
                      </a:lnTo>
                      <a:lnTo>
                        <a:pt x="3"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0" name="Freeform 964"/>
                <p:cNvSpPr>
                  <a:spLocks/>
                </p:cNvSpPr>
                <p:nvPr/>
              </p:nvSpPr>
              <p:spPr bwMode="auto">
                <a:xfrm>
                  <a:off x="2805358" y="2561340"/>
                  <a:ext cx="23678" cy="19238"/>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0 w 17"/>
                    <a:gd name="T9" fmla="*/ 2147483647 h 13"/>
                    <a:gd name="T10" fmla="*/ 2147483647 w 17"/>
                    <a:gd name="T11" fmla="*/ 2147483647 h 13"/>
                    <a:gd name="T12" fmla="*/ 2147483647 w 17"/>
                    <a:gd name="T13" fmla="*/ 2147483647 h 13"/>
                    <a:gd name="T14" fmla="*/ 2147483647 w 17"/>
                    <a:gd name="T15" fmla="*/ 0 h 13"/>
                    <a:gd name="T16" fmla="*/ 2147483647 w 17"/>
                    <a:gd name="T17" fmla="*/ 2147483647 h 13"/>
                    <a:gd name="T18" fmla="*/ 2147483647 w 17"/>
                    <a:gd name="T19" fmla="*/ 2147483647 h 13"/>
                    <a:gd name="T20" fmla="*/ 2147483647 w 17"/>
                    <a:gd name="T21" fmla="*/ 2147483647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3"/>
                    <a:gd name="T47" fmla="*/ 17 w 17"/>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3">
                      <a:moveTo>
                        <a:pt x="7" y="11"/>
                      </a:moveTo>
                      <a:lnTo>
                        <a:pt x="3" y="11"/>
                      </a:lnTo>
                      <a:lnTo>
                        <a:pt x="2" y="10"/>
                      </a:lnTo>
                      <a:lnTo>
                        <a:pt x="2" y="8"/>
                      </a:lnTo>
                      <a:lnTo>
                        <a:pt x="0" y="6"/>
                      </a:lnTo>
                      <a:lnTo>
                        <a:pt x="2" y="4"/>
                      </a:lnTo>
                      <a:lnTo>
                        <a:pt x="3" y="1"/>
                      </a:lnTo>
                      <a:lnTo>
                        <a:pt x="5" y="0"/>
                      </a:lnTo>
                      <a:lnTo>
                        <a:pt x="11" y="1"/>
                      </a:lnTo>
                      <a:lnTo>
                        <a:pt x="14" y="2"/>
                      </a:lnTo>
                      <a:lnTo>
                        <a:pt x="17" y="6"/>
                      </a:lnTo>
                      <a:lnTo>
                        <a:pt x="17" y="11"/>
                      </a:lnTo>
                      <a:lnTo>
                        <a:pt x="16" y="13"/>
                      </a:lnTo>
                      <a:lnTo>
                        <a:pt x="13" y="13"/>
                      </a:lnTo>
                      <a:lnTo>
                        <a:pt x="7"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1" name="Freeform 965"/>
                <p:cNvSpPr>
                  <a:spLocks/>
                </p:cNvSpPr>
                <p:nvPr/>
              </p:nvSpPr>
              <p:spPr bwMode="auto">
                <a:xfrm>
                  <a:off x="3088014" y="2653092"/>
                  <a:ext cx="22199" cy="17758"/>
                </a:xfrm>
                <a:custGeom>
                  <a:avLst/>
                  <a:gdLst>
                    <a:gd name="T0" fmla="*/ 2147483647 w 16"/>
                    <a:gd name="T1" fmla="*/ 2147483647 h 12"/>
                    <a:gd name="T2" fmla="*/ 2147483647 w 16"/>
                    <a:gd name="T3" fmla="*/ 2147483647 h 12"/>
                    <a:gd name="T4" fmla="*/ 2147483647 w 16"/>
                    <a:gd name="T5" fmla="*/ 2147483647 h 12"/>
                    <a:gd name="T6" fmla="*/ 0 w 16"/>
                    <a:gd name="T7" fmla="*/ 2147483647 h 12"/>
                    <a:gd name="T8" fmla="*/ 2147483647 w 16"/>
                    <a:gd name="T9" fmla="*/ 2147483647 h 12"/>
                    <a:gd name="T10" fmla="*/ 2147483647 w 16"/>
                    <a:gd name="T11" fmla="*/ 0 h 12"/>
                    <a:gd name="T12" fmla="*/ 2147483647 w 16"/>
                    <a:gd name="T13" fmla="*/ 0 h 12"/>
                    <a:gd name="T14" fmla="*/ 2147483647 w 16"/>
                    <a:gd name="T15" fmla="*/ 0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2147483647 w 16"/>
                    <a:gd name="T25" fmla="*/ 2147483647 h 12"/>
                    <a:gd name="T26" fmla="*/ 2147483647 w 16"/>
                    <a:gd name="T27" fmla="*/ 2147483647 h 12"/>
                    <a:gd name="T28" fmla="*/ 2147483647 w 16"/>
                    <a:gd name="T29" fmla="*/ 2147483647 h 12"/>
                    <a:gd name="T30" fmla="*/ 2147483647 w 16"/>
                    <a:gd name="T31" fmla="*/ 2147483647 h 12"/>
                    <a:gd name="T32" fmla="*/ 2147483647 w 16"/>
                    <a:gd name="T33" fmla="*/ 2147483647 h 12"/>
                    <a:gd name="T34" fmla="*/ 2147483647 w 16"/>
                    <a:gd name="T35" fmla="*/ 2147483647 h 12"/>
                    <a:gd name="T36" fmla="*/ 2147483647 w 16"/>
                    <a:gd name="T37" fmla="*/ 2147483647 h 12"/>
                    <a:gd name="T38" fmla="*/ 2147483647 w 16"/>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
                    <a:gd name="T61" fmla="*/ 0 h 12"/>
                    <a:gd name="T62" fmla="*/ 16 w 16"/>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 h="12">
                      <a:moveTo>
                        <a:pt x="4" y="8"/>
                      </a:moveTo>
                      <a:lnTo>
                        <a:pt x="4" y="8"/>
                      </a:lnTo>
                      <a:lnTo>
                        <a:pt x="2" y="6"/>
                      </a:lnTo>
                      <a:lnTo>
                        <a:pt x="0" y="3"/>
                      </a:lnTo>
                      <a:lnTo>
                        <a:pt x="2" y="1"/>
                      </a:lnTo>
                      <a:lnTo>
                        <a:pt x="4" y="0"/>
                      </a:lnTo>
                      <a:lnTo>
                        <a:pt x="11" y="0"/>
                      </a:lnTo>
                      <a:lnTo>
                        <a:pt x="13" y="1"/>
                      </a:lnTo>
                      <a:lnTo>
                        <a:pt x="16" y="3"/>
                      </a:lnTo>
                      <a:lnTo>
                        <a:pt x="16" y="6"/>
                      </a:lnTo>
                      <a:lnTo>
                        <a:pt x="16" y="8"/>
                      </a:lnTo>
                      <a:lnTo>
                        <a:pt x="14" y="10"/>
                      </a:lnTo>
                      <a:lnTo>
                        <a:pt x="12" y="12"/>
                      </a:lnTo>
                      <a:lnTo>
                        <a:pt x="11" y="12"/>
                      </a:lnTo>
                      <a:lnTo>
                        <a:pt x="8" y="10"/>
                      </a:lnTo>
                      <a:lnTo>
                        <a:pt x="4"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2" name="Freeform 966"/>
                <p:cNvSpPr>
                  <a:spLocks/>
                </p:cNvSpPr>
                <p:nvPr/>
              </p:nvSpPr>
              <p:spPr bwMode="auto">
                <a:xfrm>
                  <a:off x="2803877" y="2559861"/>
                  <a:ext cx="23678" cy="19239"/>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2147483647 w 17"/>
                    <a:gd name="T9" fmla="*/ 2147483647 h 13"/>
                    <a:gd name="T10" fmla="*/ 2147483647 w 17"/>
                    <a:gd name="T11" fmla="*/ 2147483647 h 13"/>
                    <a:gd name="T12" fmla="*/ 0 w 17"/>
                    <a:gd name="T13" fmla="*/ 2147483647 h 13"/>
                    <a:gd name="T14" fmla="*/ 2147483647 w 17"/>
                    <a:gd name="T15" fmla="*/ 2147483647 h 13"/>
                    <a:gd name="T16" fmla="*/ 2147483647 w 17"/>
                    <a:gd name="T17" fmla="*/ 2147483647 h 13"/>
                    <a:gd name="T18" fmla="*/ 2147483647 w 17"/>
                    <a:gd name="T19" fmla="*/ 0 h 13"/>
                    <a:gd name="T20" fmla="*/ 2147483647 w 17"/>
                    <a:gd name="T21" fmla="*/ 0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2147483647 w 17"/>
                    <a:gd name="T31" fmla="*/ 2147483647 h 13"/>
                    <a:gd name="T32" fmla="*/ 2147483647 w 17"/>
                    <a:gd name="T33" fmla="*/ 2147483647 h 13"/>
                    <a:gd name="T34" fmla="*/ 2147483647 w 17"/>
                    <a:gd name="T35" fmla="*/ 2147483647 h 13"/>
                    <a:gd name="T36" fmla="*/ 2147483647 w 17"/>
                    <a:gd name="T37" fmla="*/ 2147483647 h 13"/>
                    <a:gd name="T38" fmla="*/ 2147483647 w 17"/>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3"/>
                    <a:gd name="T62" fmla="*/ 17 w 17"/>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3">
                      <a:moveTo>
                        <a:pt x="6" y="11"/>
                      </a:moveTo>
                      <a:lnTo>
                        <a:pt x="6" y="11"/>
                      </a:lnTo>
                      <a:lnTo>
                        <a:pt x="3" y="11"/>
                      </a:lnTo>
                      <a:lnTo>
                        <a:pt x="1" y="9"/>
                      </a:lnTo>
                      <a:lnTo>
                        <a:pt x="1" y="8"/>
                      </a:lnTo>
                      <a:lnTo>
                        <a:pt x="0" y="6"/>
                      </a:lnTo>
                      <a:lnTo>
                        <a:pt x="1" y="3"/>
                      </a:lnTo>
                      <a:lnTo>
                        <a:pt x="3" y="1"/>
                      </a:lnTo>
                      <a:lnTo>
                        <a:pt x="5" y="0"/>
                      </a:lnTo>
                      <a:lnTo>
                        <a:pt x="10" y="1"/>
                      </a:lnTo>
                      <a:lnTo>
                        <a:pt x="14" y="2"/>
                      </a:lnTo>
                      <a:lnTo>
                        <a:pt x="17" y="6"/>
                      </a:lnTo>
                      <a:lnTo>
                        <a:pt x="17" y="11"/>
                      </a:lnTo>
                      <a:lnTo>
                        <a:pt x="15" y="13"/>
                      </a:lnTo>
                      <a:lnTo>
                        <a:pt x="13" y="13"/>
                      </a:lnTo>
                      <a:lnTo>
                        <a:pt x="6"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3" name="Freeform 967"/>
                <p:cNvSpPr>
                  <a:spLocks/>
                </p:cNvSpPr>
                <p:nvPr/>
              </p:nvSpPr>
              <p:spPr bwMode="auto">
                <a:xfrm>
                  <a:off x="2775760" y="2568742"/>
                  <a:ext cx="22198" cy="20718"/>
                </a:xfrm>
                <a:custGeom>
                  <a:avLst/>
                  <a:gdLst>
                    <a:gd name="T0" fmla="*/ 2147483647 w 17"/>
                    <a:gd name="T1" fmla="*/ 0 h 14"/>
                    <a:gd name="T2" fmla="*/ 2147483647 w 17"/>
                    <a:gd name="T3" fmla="*/ 2147483647 h 14"/>
                    <a:gd name="T4" fmla="*/ 2147483647 w 17"/>
                    <a:gd name="T5" fmla="*/ 2147483647 h 14"/>
                    <a:gd name="T6" fmla="*/ 2147483647 w 17"/>
                    <a:gd name="T7" fmla="*/ 2147483647 h 14"/>
                    <a:gd name="T8" fmla="*/ 2147483647 w 17"/>
                    <a:gd name="T9" fmla="*/ 2147483647 h 14"/>
                    <a:gd name="T10" fmla="*/ 2147483647 w 17"/>
                    <a:gd name="T11" fmla="*/ 2147483647 h 14"/>
                    <a:gd name="T12" fmla="*/ 2147483647 w 17"/>
                    <a:gd name="T13" fmla="*/ 2147483647 h 14"/>
                    <a:gd name="T14" fmla="*/ 2147483647 w 17"/>
                    <a:gd name="T15" fmla="*/ 2147483647 h 14"/>
                    <a:gd name="T16" fmla="*/ 2147483647 w 17"/>
                    <a:gd name="T17" fmla="*/ 2147483647 h 14"/>
                    <a:gd name="T18" fmla="*/ 0 w 17"/>
                    <a:gd name="T19" fmla="*/ 2147483647 h 14"/>
                    <a:gd name="T20" fmla="*/ 0 w 17"/>
                    <a:gd name="T21" fmla="*/ 2147483647 h 14"/>
                    <a:gd name="T22" fmla="*/ 0 w 17"/>
                    <a:gd name="T23" fmla="*/ 2147483647 h 14"/>
                    <a:gd name="T24" fmla="*/ 2147483647 w 17"/>
                    <a:gd name="T25" fmla="*/ 2147483647 h 14"/>
                    <a:gd name="T26" fmla="*/ 2147483647 w 17"/>
                    <a:gd name="T27" fmla="*/ 0 h 14"/>
                    <a:gd name="T28" fmla="*/ 2147483647 w 17"/>
                    <a:gd name="T29" fmla="*/ 0 h 14"/>
                    <a:gd name="T30" fmla="*/ 2147483647 w 17"/>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4"/>
                    <a:gd name="T50" fmla="*/ 17 w 17"/>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4">
                      <a:moveTo>
                        <a:pt x="10" y="0"/>
                      </a:moveTo>
                      <a:lnTo>
                        <a:pt x="13" y="2"/>
                      </a:lnTo>
                      <a:lnTo>
                        <a:pt x="16" y="3"/>
                      </a:lnTo>
                      <a:lnTo>
                        <a:pt x="17" y="7"/>
                      </a:lnTo>
                      <a:lnTo>
                        <a:pt x="17" y="11"/>
                      </a:lnTo>
                      <a:lnTo>
                        <a:pt x="16" y="13"/>
                      </a:lnTo>
                      <a:lnTo>
                        <a:pt x="13" y="14"/>
                      </a:lnTo>
                      <a:lnTo>
                        <a:pt x="8" y="13"/>
                      </a:lnTo>
                      <a:lnTo>
                        <a:pt x="3" y="12"/>
                      </a:lnTo>
                      <a:lnTo>
                        <a:pt x="0" y="8"/>
                      </a:lnTo>
                      <a:lnTo>
                        <a:pt x="0" y="6"/>
                      </a:lnTo>
                      <a:lnTo>
                        <a:pt x="0" y="3"/>
                      </a:lnTo>
                      <a:lnTo>
                        <a:pt x="1" y="1"/>
                      </a:lnTo>
                      <a:lnTo>
                        <a:pt x="3" y="0"/>
                      </a:lnTo>
                      <a:lnTo>
                        <a:pt x="6" y="0"/>
                      </a:lnTo>
                      <a:lnTo>
                        <a:pt x="10"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4" name="Freeform 968"/>
                <p:cNvSpPr>
                  <a:spLocks/>
                </p:cNvSpPr>
                <p:nvPr/>
              </p:nvSpPr>
              <p:spPr bwMode="auto">
                <a:xfrm>
                  <a:off x="2731366" y="2610176"/>
                  <a:ext cx="19238" cy="41436"/>
                </a:xfrm>
                <a:custGeom>
                  <a:avLst/>
                  <a:gdLst>
                    <a:gd name="T0" fmla="*/ 2147483647 w 14"/>
                    <a:gd name="T1" fmla="*/ 2147483647 h 28"/>
                    <a:gd name="T2" fmla="*/ 2147483647 w 14"/>
                    <a:gd name="T3" fmla="*/ 2147483647 h 28"/>
                    <a:gd name="T4" fmla="*/ 2147483647 w 14"/>
                    <a:gd name="T5" fmla="*/ 2147483647 h 28"/>
                    <a:gd name="T6" fmla="*/ 2147483647 w 14"/>
                    <a:gd name="T7" fmla="*/ 2147483647 h 28"/>
                    <a:gd name="T8" fmla="*/ 2147483647 w 14"/>
                    <a:gd name="T9" fmla="*/ 0 h 28"/>
                    <a:gd name="T10" fmla="*/ 2147483647 w 14"/>
                    <a:gd name="T11" fmla="*/ 0 h 28"/>
                    <a:gd name="T12" fmla="*/ 2147483647 w 14"/>
                    <a:gd name="T13" fmla="*/ 0 h 28"/>
                    <a:gd name="T14" fmla="*/ 2147483647 w 14"/>
                    <a:gd name="T15" fmla="*/ 2147483647 h 28"/>
                    <a:gd name="T16" fmla="*/ 0 w 14"/>
                    <a:gd name="T17" fmla="*/ 2147483647 h 28"/>
                    <a:gd name="T18" fmla="*/ 0 w 14"/>
                    <a:gd name="T19" fmla="*/ 2147483647 h 28"/>
                    <a:gd name="T20" fmla="*/ 2147483647 w 14"/>
                    <a:gd name="T21" fmla="*/ 2147483647 h 28"/>
                    <a:gd name="T22" fmla="*/ 2147483647 w 14"/>
                    <a:gd name="T23" fmla="*/ 2147483647 h 28"/>
                    <a:gd name="T24" fmla="*/ 2147483647 w 14"/>
                    <a:gd name="T25" fmla="*/ 2147483647 h 28"/>
                    <a:gd name="T26" fmla="*/ 2147483647 w 14"/>
                    <a:gd name="T27" fmla="*/ 2147483647 h 28"/>
                    <a:gd name="T28" fmla="*/ 2147483647 w 14"/>
                    <a:gd name="T29" fmla="*/ 2147483647 h 28"/>
                    <a:gd name="T30" fmla="*/ 2147483647 w 14"/>
                    <a:gd name="T31" fmla="*/ 2147483647 h 28"/>
                    <a:gd name="T32" fmla="*/ 2147483647 w 14"/>
                    <a:gd name="T33" fmla="*/ 2147483647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8"/>
                    <a:gd name="T53" fmla="*/ 14 w 14"/>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8">
                      <a:moveTo>
                        <a:pt x="11" y="13"/>
                      </a:moveTo>
                      <a:lnTo>
                        <a:pt x="12" y="7"/>
                      </a:lnTo>
                      <a:lnTo>
                        <a:pt x="14" y="5"/>
                      </a:lnTo>
                      <a:lnTo>
                        <a:pt x="14" y="1"/>
                      </a:lnTo>
                      <a:lnTo>
                        <a:pt x="12" y="0"/>
                      </a:lnTo>
                      <a:lnTo>
                        <a:pt x="11" y="0"/>
                      </a:lnTo>
                      <a:lnTo>
                        <a:pt x="7" y="0"/>
                      </a:lnTo>
                      <a:lnTo>
                        <a:pt x="2" y="5"/>
                      </a:lnTo>
                      <a:lnTo>
                        <a:pt x="0" y="9"/>
                      </a:lnTo>
                      <a:lnTo>
                        <a:pt x="0" y="11"/>
                      </a:lnTo>
                      <a:lnTo>
                        <a:pt x="1" y="16"/>
                      </a:lnTo>
                      <a:lnTo>
                        <a:pt x="4" y="19"/>
                      </a:lnTo>
                      <a:lnTo>
                        <a:pt x="6" y="23"/>
                      </a:lnTo>
                      <a:lnTo>
                        <a:pt x="9" y="28"/>
                      </a:lnTo>
                      <a:lnTo>
                        <a:pt x="10" y="25"/>
                      </a:lnTo>
                      <a:lnTo>
                        <a:pt x="11" y="22"/>
                      </a:lnTo>
                      <a:lnTo>
                        <a:pt x="11"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5" name="Freeform 969"/>
                <p:cNvSpPr>
                  <a:spLocks/>
                </p:cNvSpPr>
                <p:nvPr/>
              </p:nvSpPr>
              <p:spPr bwMode="auto">
                <a:xfrm>
                  <a:off x="2772801" y="2567263"/>
                  <a:ext cx="23678" cy="20718"/>
                </a:xfrm>
                <a:custGeom>
                  <a:avLst/>
                  <a:gdLst>
                    <a:gd name="T0" fmla="*/ 2147483647 w 18"/>
                    <a:gd name="T1" fmla="*/ 0 h 14"/>
                    <a:gd name="T2" fmla="*/ 2147483647 w 18"/>
                    <a:gd name="T3" fmla="*/ 0 h 14"/>
                    <a:gd name="T4" fmla="*/ 2147483647 w 18"/>
                    <a:gd name="T5" fmla="*/ 2147483647 h 14"/>
                    <a:gd name="T6" fmla="*/ 2147483647 w 18"/>
                    <a:gd name="T7" fmla="*/ 2147483647 h 14"/>
                    <a:gd name="T8" fmla="*/ 2147483647 w 18"/>
                    <a:gd name="T9" fmla="*/ 2147483647 h 14"/>
                    <a:gd name="T10" fmla="*/ 2147483647 w 18"/>
                    <a:gd name="T11" fmla="*/ 2147483647 h 14"/>
                    <a:gd name="T12" fmla="*/ 2147483647 w 18"/>
                    <a:gd name="T13" fmla="*/ 2147483647 h 14"/>
                    <a:gd name="T14" fmla="*/ 2147483647 w 18"/>
                    <a:gd name="T15" fmla="*/ 2147483647 h 14"/>
                    <a:gd name="T16" fmla="*/ 2147483647 w 18"/>
                    <a:gd name="T17" fmla="*/ 2147483647 h 14"/>
                    <a:gd name="T18" fmla="*/ 2147483647 w 18"/>
                    <a:gd name="T19" fmla="*/ 2147483647 h 14"/>
                    <a:gd name="T20" fmla="*/ 2147483647 w 18"/>
                    <a:gd name="T21" fmla="*/ 2147483647 h 14"/>
                    <a:gd name="T22" fmla="*/ 2147483647 w 18"/>
                    <a:gd name="T23" fmla="*/ 2147483647 h 14"/>
                    <a:gd name="T24" fmla="*/ 0 w 18"/>
                    <a:gd name="T25" fmla="*/ 2147483647 h 14"/>
                    <a:gd name="T26" fmla="*/ 0 w 18"/>
                    <a:gd name="T27" fmla="*/ 2147483647 h 14"/>
                    <a:gd name="T28" fmla="*/ 0 w 18"/>
                    <a:gd name="T29" fmla="*/ 2147483647 h 14"/>
                    <a:gd name="T30" fmla="*/ 0 w 18"/>
                    <a:gd name="T31" fmla="*/ 2147483647 h 14"/>
                    <a:gd name="T32" fmla="*/ 2147483647 w 18"/>
                    <a:gd name="T33" fmla="*/ 2147483647 h 14"/>
                    <a:gd name="T34" fmla="*/ 2147483647 w 18"/>
                    <a:gd name="T35" fmla="*/ 0 h 14"/>
                    <a:gd name="T36" fmla="*/ 2147483647 w 18"/>
                    <a:gd name="T37" fmla="*/ 0 h 14"/>
                    <a:gd name="T38" fmla="*/ 2147483647 w 18"/>
                    <a:gd name="T39" fmla="*/ 0 h 14"/>
                    <a:gd name="T40" fmla="*/ 2147483647 w 18"/>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4"/>
                    <a:gd name="T65" fmla="*/ 18 w 18"/>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4">
                      <a:moveTo>
                        <a:pt x="10" y="0"/>
                      </a:moveTo>
                      <a:lnTo>
                        <a:pt x="10" y="0"/>
                      </a:lnTo>
                      <a:lnTo>
                        <a:pt x="14" y="2"/>
                      </a:lnTo>
                      <a:lnTo>
                        <a:pt x="17" y="3"/>
                      </a:lnTo>
                      <a:lnTo>
                        <a:pt x="18" y="7"/>
                      </a:lnTo>
                      <a:lnTo>
                        <a:pt x="18" y="10"/>
                      </a:lnTo>
                      <a:lnTo>
                        <a:pt x="17" y="13"/>
                      </a:lnTo>
                      <a:lnTo>
                        <a:pt x="14" y="14"/>
                      </a:lnTo>
                      <a:lnTo>
                        <a:pt x="9" y="13"/>
                      </a:lnTo>
                      <a:lnTo>
                        <a:pt x="4" y="12"/>
                      </a:lnTo>
                      <a:lnTo>
                        <a:pt x="0" y="8"/>
                      </a:lnTo>
                      <a:lnTo>
                        <a:pt x="0" y="6"/>
                      </a:lnTo>
                      <a:lnTo>
                        <a:pt x="0" y="3"/>
                      </a:lnTo>
                      <a:lnTo>
                        <a:pt x="2" y="1"/>
                      </a:lnTo>
                      <a:lnTo>
                        <a:pt x="4" y="0"/>
                      </a:lnTo>
                      <a:lnTo>
                        <a:pt x="7" y="0"/>
                      </a:lnTo>
                      <a:lnTo>
                        <a:pt x="10"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6" name="Freeform 970"/>
                <p:cNvSpPr>
                  <a:spLocks/>
                </p:cNvSpPr>
                <p:nvPr/>
              </p:nvSpPr>
              <p:spPr bwMode="auto">
                <a:xfrm>
                  <a:off x="2728406" y="2608695"/>
                  <a:ext cx="19238" cy="39956"/>
                </a:xfrm>
                <a:custGeom>
                  <a:avLst/>
                  <a:gdLst>
                    <a:gd name="T0" fmla="*/ 2147483647 w 14"/>
                    <a:gd name="T1" fmla="*/ 2147483647 h 27"/>
                    <a:gd name="T2" fmla="*/ 2147483647 w 14"/>
                    <a:gd name="T3" fmla="*/ 2147483647 h 27"/>
                    <a:gd name="T4" fmla="*/ 2147483647 w 14"/>
                    <a:gd name="T5" fmla="*/ 2147483647 h 27"/>
                    <a:gd name="T6" fmla="*/ 2147483647 w 14"/>
                    <a:gd name="T7" fmla="*/ 2147483647 h 27"/>
                    <a:gd name="T8" fmla="*/ 2147483647 w 14"/>
                    <a:gd name="T9" fmla="*/ 2147483647 h 27"/>
                    <a:gd name="T10" fmla="*/ 2147483647 w 14"/>
                    <a:gd name="T11" fmla="*/ 2147483647 h 27"/>
                    <a:gd name="T12" fmla="*/ 2147483647 w 14"/>
                    <a:gd name="T13" fmla="*/ 0 h 27"/>
                    <a:gd name="T14" fmla="*/ 2147483647 w 14"/>
                    <a:gd name="T15" fmla="*/ 0 h 27"/>
                    <a:gd name="T16" fmla="*/ 2147483647 w 14"/>
                    <a:gd name="T17" fmla="*/ 0 h 27"/>
                    <a:gd name="T18" fmla="*/ 2147483647 w 14"/>
                    <a:gd name="T19" fmla="*/ 0 h 27"/>
                    <a:gd name="T20" fmla="*/ 2147483647 w 14"/>
                    <a:gd name="T21" fmla="*/ 2147483647 h 27"/>
                    <a:gd name="T22" fmla="*/ 0 w 14"/>
                    <a:gd name="T23" fmla="*/ 2147483647 h 27"/>
                    <a:gd name="T24" fmla="*/ 0 w 14"/>
                    <a:gd name="T25" fmla="*/ 2147483647 h 27"/>
                    <a:gd name="T26" fmla="*/ 0 w 14"/>
                    <a:gd name="T27" fmla="*/ 2147483647 h 27"/>
                    <a:gd name="T28" fmla="*/ 2147483647 w 14"/>
                    <a:gd name="T29" fmla="*/ 2147483647 h 27"/>
                    <a:gd name="T30" fmla="*/ 2147483647 w 14"/>
                    <a:gd name="T31" fmla="*/ 2147483647 h 27"/>
                    <a:gd name="T32" fmla="*/ 2147483647 w 14"/>
                    <a:gd name="T33" fmla="*/ 2147483647 h 27"/>
                    <a:gd name="T34" fmla="*/ 2147483647 w 14"/>
                    <a:gd name="T35" fmla="*/ 2147483647 h 27"/>
                    <a:gd name="T36" fmla="*/ 2147483647 w 14"/>
                    <a:gd name="T37" fmla="*/ 2147483647 h 27"/>
                    <a:gd name="T38" fmla="*/ 2147483647 w 14"/>
                    <a:gd name="T39" fmla="*/ 2147483647 h 27"/>
                    <a:gd name="T40" fmla="*/ 2147483647 w 14"/>
                    <a:gd name="T41" fmla="*/ 2147483647 h 27"/>
                    <a:gd name="T42" fmla="*/ 2147483647 w 14"/>
                    <a:gd name="T43" fmla="*/ 2147483647 h 27"/>
                    <a:gd name="T44" fmla="*/ 2147483647 w 14"/>
                    <a:gd name="T45" fmla="*/ 214748364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
                    <a:gd name="T70" fmla="*/ 0 h 27"/>
                    <a:gd name="T71" fmla="*/ 14 w 14"/>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 h="27">
                      <a:moveTo>
                        <a:pt x="12" y="13"/>
                      </a:moveTo>
                      <a:lnTo>
                        <a:pt x="12" y="13"/>
                      </a:lnTo>
                      <a:lnTo>
                        <a:pt x="13" y="7"/>
                      </a:lnTo>
                      <a:lnTo>
                        <a:pt x="14" y="5"/>
                      </a:lnTo>
                      <a:lnTo>
                        <a:pt x="14" y="1"/>
                      </a:lnTo>
                      <a:lnTo>
                        <a:pt x="13" y="0"/>
                      </a:lnTo>
                      <a:lnTo>
                        <a:pt x="12" y="0"/>
                      </a:lnTo>
                      <a:lnTo>
                        <a:pt x="8" y="0"/>
                      </a:lnTo>
                      <a:lnTo>
                        <a:pt x="3" y="5"/>
                      </a:lnTo>
                      <a:lnTo>
                        <a:pt x="0" y="8"/>
                      </a:lnTo>
                      <a:lnTo>
                        <a:pt x="0" y="11"/>
                      </a:lnTo>
                      <a:lnTo>
                        <a:pt x="2" y="16"/>
                      </a:lnTo>
                      <a:lnTo>
                        <a:pt x="4" y="19"/>
                      </a:lnTo>
                      <a:lnTo>
                        <a:pt x="7" y="23"/>
                      </a:lnTo>
                      <a:lnTo>
                        <a:pt x="9" y="27"/>
                      </a:lnTo>
                      <a:lnTo>
                        <a:pt x="11" y="25"/>
                      </a:lnTo>
                      <a:lnTo>
                        <a:pt x="12" y="21"/>
                      </a:lnTo>
                      <a:lnTo>
                        <a:pt x="12"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7" name="Freeform 971"/>
                <p:cNvSpPr>
                  <a:spLocks/>
                </p:cNvSpPr>
                <p:nvPr/>
              </p:nvSpPr>
              <p:spPr bwMode="auto">
                <a:xfrm>
                  <a:off x="2647010" y="2601296"/>
                  <a:ext cx="48836" cy="36997"/>
                </a:xfrm>
                <a:custGeom>
                  <a:avLst/>
                  <a:gdLst>
                    <a:gd name="T0" fmla="*/ 2147483647 w 36"/>
                    <a:gd name="T1" fmla="*/ 2147483647 h 25"/>
                    <a:gd name="T2" fmla="*/ 2147483647 w 36"/>
                    <a:gd name="T3" fmla="*/ 2147483647 h 25"/>
                    <a:gd name="T4" fmla="*/ 2147483647 w 36"/>
                    <a:gd name="T5" fmla="*/ 2147483647 h 25"/>
                    <a:gd name="T6" fmla="*/ 2147483647 w 36"/>
                    <a:gd name="T7" fmla="*/ 2147483647 h 25"/>
                    <a:gd name="T8" fmla="*/ 2147483647 w 36"/>
                    <a:gd name="T9" fmla="*/ 2147483647 h 25"/>
                    <a:gd name="T10" fmla="*/ 2147483647 w 36"/>
                    <a:gd name="T11" fmla="*/ 2147483647 h 25"/>
                    <a:gd name="T12" fmla="*/ 2147483647 w 36"/>
                    <a:gd name="T13" fmla="*/ 0 h 25"/>
                    <a:gd name="T14" fmla="*/ 2147483647 w 36"/>
                    <a:gd name="T15" fmla="*/ 2147483647 h 25"/>
                    <a:gd name="T16" fmla="*/ 2147483647 w 36"/>
                    <a:gd name="T17" fmla="*/ 2147483647 h 25"/>
                    <a:gd name="T18" fmla="*/ 2147483647 w 36"/>
                    <a:gd name="T19" fmla="*/ 2147483647 h 25"/>
                    <a:gd name="T20" fmla="*/ 2147483647 w 36"/>
                    <a:gd name="T21" fmla="*/ 2147483647 h 25"/>
                    <a:gd name="T22" fmla="*/ 2147483647 w 36"/>
                    <a:gd name="T23" fmla="*/ 2147483647 h 25"/>
                    <a:gd name="T24" fmla="*/ 0 w 36"/>
                    <a:gd name="T25" fmla="*/ 2147483647 h 25"/>
                    <a:gd name="T26" fmla="*/ 0 w 36"/>
                    <a:gd name="T27" fmla="*/ 2147483647 h 25"/>
                    <a:gd name="T28" fmla="*/ 2147483647 w 36"/>
                    <a:gd name="T29" fmla="*/ 2147483647 h 25"/>
                    <a:gd name="T30" fmla="*/ 2147483647 w 36"/>
                    <a:gd name="T31" fmla="*/ 2147483647 h 25"/>
                    <a:gd name="T32" fmla="*/ 2147483647 w 36"/>
                    <a:gd name="T33" fmla="*/ 2147483647 h 25"/>
                    <a:gd name="T34" fmla="*/ 2147483647 w 36"/>
                    <a:gd name="T35" fmla="*/ 2147483647 h 25"/>
                    <a:gd name="T36" fmla="*/ 2147483647 w 36"/>
                    <a:gd name="T37" fmla="*/ 2147483647 h 25"/>
                    <a:gd name="T38" fmla="*/ 2147483647 w 36"/>
                    <a:gd name="T39" fmla="*/ 2147483647 h 25"/>
                    <a:gd name="T40" fmla="*/ 2147483647 w 36"/>
                    <a:gd name="T41" fmla="*/ 2147483647 h 25"/>
                    <a:gd name="T42" fmla="*/ 2147483647 w 36"/>
                    <a:gd name="T43" fmla="*/ 2147483647 h 25"/>
                    <a:gd name="T44" fmla="*/ 2147483647 w 36"/>
                    <a:gd name="T45" fmla="*/ 2147483647 h 25"/>
                    <a:gd name="T46" fmla="*/ 2147483647 w 36"/>
                    <a:gd name="T47" fmla="*/ 2147483647 h 25"/>
                    <a:gd name="T48" fmla="*/ 2147483647 w 36"/>
                    <a:gd name="T49" fmla="*/ 2147483647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25"/>
                    <a:gd name="T77" fmla="*/ 36 w 36"/>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25">
                      <a:moveTo>
                        <a:pt x="30" y="15"/>
                      </a:moveTo>
                      <a:lnTo>
                        <a:pt x="33" y="11"/>
                      </a:lnTo>
                      <a:lnTo>
                        <a:pt x="35" y="7"/>
                      </a:lnTo>
                      <a:lnTo>
                        <a:pt x="36" y="4"/>
                      </a:lnTo>
                      <a:lnTo>
                        <a:pt x="35" y="2"/>
                      </a:lnTo>
                      <a:lnTo>
                        <a:pt x="33" y="2"/>
                      </a:lnTo>
                      <a:lnTo>
                        <a:pt x="29" y="0"/>
                      </a:lnTo>
                      <a:lnTo>
                        <a:pt x="24" y="2"/>
                      </a:lnTo>
                      <a:lnTo>
                        <a:pt x="15" y="4"/>
                      </a:lnTo>
                      <a:lnTo>
                        <a:pt x="11" y="5"/>
                      </a:lnTo>
                      <a:lnTo>
                        <a:pt x="7" y="9"/>
                      </a:lnTo>
                      <a:lnTo>
                        <a:pt x="3" y="11"/>
                      </a:lnTo>
                      <a:lnTo>
                        <a:pt x="0" y="15"/>
                      </a:lnTo>
                      <a:lnTo>
                        <a:pt x="0" y="16"/>
                      </a:lnTo>
                      <a:lnTo>
                        <a:pt x="3" y="19"/>
                      </a:lnTo>
                      <a:lnTo>
                        <a:pt x="6" y="23"/>
                      </a:lnTo>
                      <a:lnTo>
                        <a:pt x="10" y="25"/>
                      </a:lnTo>
                      <a:lnTo>
                        <a:pt x="14" y="25"/>
                      </a:lnTo>
                      <a:lnTo>
                        <a:pt x="17" y="24"/>
                      </a:lnTo>
                      <a:lnTo>
                        <a:pt x="19" y="23"/>
                      </a:lnTo>
                      <a:lnTo>
                        <a:pt x="20" y="21"/>
                      </a:lnTo>
                      <a:lnTo>
                        <a:pt x="22" y="18"/>
                      </a:lnTo>
                      <a:lnTo>
                        <a:pt x="24" y="17"/>
                      </a:lnTo>
                      <a:lnTo>
                        <a:pt x="27" y="17"/>
                      </a:lnTo>
                      <a:lnTo>
                        <a:pt x="30"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8" name="Freeform 972"/>
                <p:cNvSpPr>
                  <a:spLocks/>
                </p:cNvSpPr>
                <p:nvPr/>
              </p:nvSpPr>
              <p:spPr bwMode="auto">
                <a:xfrm>
                  <a:off x="1673258" y="2095179"/>
                  <a:ext cx="210142" cy="171665"/>
                </a:xfrm>
                <a:custGeom>
                  <a:avLst/>
                  <a:gdLst>
                    <a:gd name="T0" fmla="*/ 2147483647 w 154"/>
                    <a:gd name="T1" fmla="*/ 2147483647 h 116"/>
                    <a:gd name="T2" fmla="*/ 2147483647 w 154"/>
                    <a:gd name="T3" fmla="*/ 2147483647 h 116"/>
                    <a:gd name="T4" fmla="*/ 2147483647 w 154"/>
                    <a:gd name="T5" fmla="*/ 2147483647 h 116"/>
                    <a:gd name="T6" fmla="*/ 2147483647 w 154"/>
                    <a:gd name="T7" fmla="*/ 2147483647 h 116"/>
                    <a:gd name="T8" fmla="*/ 2147483647 w 154"/>
                    <a:gd name="T9" fmla="*/ 2147483647 h 116"/>
                    <a:gd name="T10" fmla="*/ 2147483647 w 154"/>
                    <a:gd name="T11" fmla="*/ 2147483647 h 116"/>
                    <a:gd name="T12" fmla="*/ 2147483647 w 154"/>
                    <a:gd name="T13" fmla="*/ 2147483647 h 116"/>
                    <a:gd name="T14" fmla="*/ 2147483647 w 154"/>
                    <a:gd name="T15" fmla="*/ 2147483647 h 116"/>
                    <a:gd name="T16" fmla="*/ 2147483647 w 154"/>
                    <a:gd name="T17" fmla="*/ 2147483647 h 116"/>
                    <a:gd name="T18" fmla="*/ 2147483647 w 154"/>
                    <a:gd name="T19" fmla="*/ 0 h 116"/>
                    <a:gd name="T20" fmla="*/ 2147483647 w 154"/>
                    <a:gd name="T21" fmla="*/ 2147483647 h 116"/>
                    <a:gd name="T22" fmla="*/ 2147483647 w 154"/>
                    <a:gd name="T23" fmla="*/ 2147483647 h 116"/>
                    <a:gd name="T24" fmla="*/ 2147483647 w 154"/>
                    <a:gd name="T25" fmla="*/ 2147483647 h 116"/>
                    <a:gd name="T26" fmla="*/ 2147483647 w 154"/>
                    <a:gd name="T27" fmla="*/ 2147483647 h 116"/>
                    <a:gd name="T28" fmla="*/ 2147483647 w 154"/>
                    <a:gd name="T29" fmla="*/ 2147483647 h 116"/>
                    <a:gd name="T30" fmla="*/ 2147483647 w 154"/>
                    <a:gd name="T31" fmla="*/ 2147483647 h 116"/>
                    <a:gd name="T32" fmla="*/ 2147483647 w 154"/>
                    <a:gd name="T33" fmla="*/ 2147483647 h 116"/>
                    <a:gd name="T34" fmla="*/ 2147483647 w 154"/>
                    <a:gd name="T35" fmla="*/ 2147483647 h 116"/>
                    <a:gd name="T36" fmla="*/ 2147483647 w 154"/>
                    <a:gd name="T37" fmla="*/ 2147483647 h 116"/>
                    <a:gd name="T38" fmla="*/ 2147483647 w 154"/>
                    <a:gd name="T39" fmla="*/ 2147483647 h 116"/>
                    <a:gd name="T40" fmla="*/ 2147483647 w 154"/>
                    <a:gd name="T41" fmla="*/ 2147483647 h 116"/>
                    <a:gd name="T42" fmla="*/ 2147483647 w 154"/>
                    <a:gd name="T43" fmla="*/ 2147483647 h 116"/>
                    <a:gd name="T44" fmla="*/ 0 w 154"/>
                    <a:gd name="T45" fmla="*/ 2147483647 h 116"/>
                    <a:gd name="T46" fmla="*/ 2147483647 w 154"/>
                    <a:gd name="T47" fmla="*/ 2147483647 h 116"/>
                    <a:gd name="T48" fmla="*/ 2147483647 w 154"/>
                    <a:gd name="T49" fmla="*/ 2147483647 h 116"/>
                    <a:gd name="T50" fmla="*/ 2147483647 w 154"/>
                    <a:gd name="T51" fmla="*/ 2147483647 h 116"/>
                    <a:gd name="T52" fmla="*/ 2147483647 w 154"/>
                    <a:gd name="T53" fmla="*/ 2147483647 h 116"/>
                    <a:gd name="T54" fmla="*/ 2147483647 w 154"/>
                    <a:gd name="T55" fmla="*/ 2147483647 h 116"/>
                    <a:gd name="T56" fmla="*/ 2147483647 w 154"/>
                    <a:gd name="T57" fmla="*/ 2147483647 h 116"/>
                    <a:gd name="T58" fmla="*/ 2147483647 w 154"/>
                    <a:gd name="T59" fmla="*/ 2147483647 h 116"/>
                    <a:gd name="T60" fmla="*/ 2147483647 w 154"/>
                    <a:gd name="T61" fmla="*/ 2147483647 h 116"/>
                    <a:gd name="T62" fmla="*/ 2147483647 w 154"/>
                    <a:gd name="T63" fmla="*/ 2147483647 h 116"/>
                    <a:gd name="T64" fmla="*/ 2147483647 w 154"/>
                    <a:gd name="T65" fmla="*/ 2147483647 h 116"/>
                    <a:gd name="T66" fmla="*/ 2147483647 w 154"/>
                    <a:gd name="T67" fmla="*/ 2147483647 h 116"/>
                    <a:gd name="T68" fmla="*/ 2147483647 w 154"/>
                    <a:gd name="T69" fmla="*/ 2147483647 h 116"/>
                    <a:gd name="T70" fmla="*/ 2147483647 w 154"/>
                    <a:gd name="T71" fmla="*/ 2147483647 h 116"/>
                    <a:gd name="T72" fmla="*/ 2147483647 w 154"/>
                    <a:gd name="T73" fmla="*/ 2147483647 h 116"/>
                    <a:gd name="T74" fmla="*/ 2147483647 w 154"/>
                    <a:gd name="T75" fmla="*/ 2147483647 h 116"/>
                    <a:gd name="T76" fmla="*/ 2147483647 w 154"/>
                    <a:gd name="T77" fmla="*/ 2147483647 h 116"/>
                    <a:gd name="T78" fmla="*/ 2147483647 w 154"/>
                    <a:gd name="T79" fmla="*/ 2147483647 h 116"/>
                    <a:gd name="T80" fmla="*/ 2147483647 w 154"/>
                    <a:gd name="T81" fmla="*/ 2147483647 h 116"/>
                    <a:gd name="T82" fmla="*/ 2147483647 w 154"/>
                    <a:gd name="T83" fmla="*/ 2147483647 h 116"/>
                    <a:gd name="T84" fmla="*/ 2147483647 w 154"/>
                    <a:gd name="T85" fmla="*/ 2147483647 h 116"/>
                    <a:gd name="T86" fmla="*/ 2147483647 w 154"/>
                    <a:gd name="T87" fmla="*/ 2147483647 h 116"/>
                    <a:gd name="T88" fmla="*/ 2147483647 w 154"/>
                    <a:gd name="T89" fmla="*/ 2147483647 h 116"/>
                    <a:gd name="T90" fmla="*/ 2147483647 w 154"/>
                    <a:gd name="T91" fmla="*/ 2147483647 h 116"/>
                    <a:gd name="T92" fmla="*/ 2147483647 w 154"/>
                    <a:gd name="T93" fmla="*/ 2147483647 h 116"/>
                    <a:gd name="T94" fmla="*/ 2147483647 w 154"/>
                    <a:gd name="T95" fmla="*/ 2147483647 h 116"/>
                    <a:gd name="T96" fmla="*/ 2147483647 w 154"/>
                    <a:gd name="T97" fmla="*/ 2147483647 h 116"/>
                    <a:gd name="T98" fmla="*/ 2147483647 w 154"/>
                    <a:gd name="T99" fmla="*/ 2147483647 h 116"/>
                    <a:gd name="T100" fmla="*/ 2147483647 w 154"/>
                    <a:gd name="T101" fmla="*/ 2147483647 h 116"/>
                    <a:gd name="T102" fmla="*/ 2147483647 w 154"/>
                    <a:gd name="T103" fmla="*/ 2147483647 h 1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4"/>
                    <a:gd name="T157" fmla="*/ 0 h 116"/>
                    <a:gd name="T158" fmla="*/ 154 w 154"/>
                    <a:gd name="T159" fmla="*/ 116 h 1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4" h="116">
                      <a:moveTo>
                        <a:pt x="137" y="22"/>
                      </a:moveTo>
                      <a:lnTo>
                        <a:pt x="132" y="20"/>
                      </a:lnTo>
                      <a:lnTo>
                        <a:pt x="128" y="18"/>
                      </a:lnTo>
                      <a:lnTo>
                        <a:pt x="125" y="14"/>
                      </a:lnTo>
                      <a:lnTo>
                        <a:pt x="121" y="13"/>
                      </a:lnTo>
                      <a:lnTo>
                        <a:pt x="118" y="12"/>
                      </a:lnTo>
                      <a:lnTo>
                        <a:pt x="117" y="13"/>
                      </a:lnTo>
                      <a:lnTo>
                        <a:pt x="113" y="16"/>
                      </a:lnTo>
                      <a:lnTo>
                        <a:pt x="112" y="20"/>
                      </a:lnTo>
                      <a:lnTo>
                        <a:pt x="109" y="25"/>
                      </a:lnTo>
                      <a:lnTo>
                        <a:pt x="107" y="26"/>
                      </a:lnTo>
                      <a:lnTo>
                        <a:pt x="104" y="26"/>
                      </a:lnTo>
                      <a:lnTo>
                        <a:pt x="100" y="22"/>
                      </a:lnTo>
                      <a:lnTo>
                        <a:pt x="97" y="19"/>
                      </a:lnTo>
                      <a:lnTo>
                        <a:pt x="94" y="16"/>
                      </a:lnTo>
                      <a:lnTo>
                        <a:pt x="89" y="14"/>
                      </a:lnTo>
                      <a:lnTo>
                        <a:pt x="76" y="8"/>
                      </a:lnTo>
                      <a:lnTo>
                        <a:pt x="70" y="4"/>
                      </a:lnTo>
                      <a:lnTo>
                        <a:pt x="64" y="1"/>
                      </a:lnTo>
                      <a:lnTo>
                        <a:pt x="61" y="0"/>
                      </a:lnTo>
                      <a:lnTo>
                        <a:pt x="59" y="1"/>
                      </a:lnTo>
                      <a:lnTo>
                        <a:pt x="56" y="3"/>
                      </a:lnTo>
                      <a:lnTo>
                        <a:pt x="52" y="6"/>
                      </a:lnTo>
                      <a:lnTo>
                        <a:pt x="40" y="9"/>
                      </a:lnTo>
                      <a:lnTo>
                        <a:pt x="26" y="14"/>
                      </a:lnTo>
                      <a:lnTo>
                        <a:pt x="24" y="15"/>
                      </a:lnTo>
                      <a:lnTo>
                        <a:pt x="26" y="19"/>
                      </a:lnTo>
                      <a:lnTo>
                        <a:pt x="29" y="26"/>
                      </a:lnTo>
                      <a:lnTo>
                        <a:pt x="31" y="29"/>
                      </a:lnTo>
                      <a:lnTo>
                        <a:pt x="31" y="33"/>
                      </a:lnTo>
                      <a:lnTo>
                        <a:pt x="27" y="36"/>
                      </a:lnTo>
                      <a:lnTo>
                        <a:pt x="23" y="41"/>
                      </a:lnTo>
                      <a:lnTo>
                        <a:pt x="19" y="45"/>
                      </a:lnTo>
                      <a:lnTo>
                        <a:pt x="15" y="50"/>
                      </a:lnTo>
                      <a:lnTo>
                        <a:pt x="14" y="52"/>
                      </a:lnTo>
                      <a:lnTo>
                        <a:pt x="12" y="52"/>
                      </a:lnTo>
                      <a:lnTo>
                        <a:pt x="9" y="52"/>
                      </a:lnTo>
                      <a:lnTo>
                        <a:pt x="7" y="53"/>
                      </a:lnTo>
                      <a:lnTo>
                        <a:pt x="4" y="55"/>
                      </a:lnTo>
                      <a:lnTo>
                        <a:pt x="4" y="58"/>
                      </a:lnTo>
                      <a:lnTo>
                        <a:pt x="4" y="64"/>
                      </a:lnTo>
                      <a:lnTo>
                        <a:pt x="5" y="71"/>
                      </a:lnTo>
                      <a:lnTo>
                        <a:pt x="5" y="77"/>
                      </a:lnTo>
                      <a:lnTo>
                        <a:pt x="3" y="82"/>
                      </a:lnTo>
                      <a:lnTo>
                        <a:pt x="0" y="86"/>
                      </a:lnTo>
                      <a:lnTo>
                        <a:pt x="0" y="89"/>
                      </a:lnTo>
                      <a:lnTo>
                        <a:pt x="1" y="90"/>
                      </a:lnTo>
                      <a:lnTo>
                        <a:pt x="10" y="92"/>
                      </a:lnTo>
                      <a:lnTo>
                        <a:pt x="18" y="95"/>
                      </a:lnTo>
                      <a:lnTo>
                        <a:pt x="26" y="98"/>
                      </a:lnTo>
                      <a:lnTo>
                        <a:pt x="32" y="103"/>
                      </a:lnTo>
                      <a:lnTo>
                        <a:pt x="33" y="105"/>
                      </a:lnTo>
                      <a:lnTo>
                        <a:pt x="33" y="108"/>
                      </a:lnTo>
                      <a:lnTo>
                        <a:pt x="33" y="110"/>
                      </a:lnTo>
                      <a:lnTo>
                        <a:pt x="34" y="112"/>
                      </a:lnTo>
                      <a:lnTo>
                        <a:pt x="37" y="114"/>
                      </a:lnTo>
                      <a:lnTo>
                        <a:pt x="41" y="115"/>
                      </a:lnTo>
                      <a:lnTo>
                        <a:pt x="43" y="115"/>
                      </a:lnTo>
                      <a:lnTo>
                        <a:pt x="47" y="116"/>
                      </a:lnTo>
                      <a:lnTo>
                        <a:pt x="48" y="116"/>
                      </a:lnTo>
                      <a:lnTo>
                        <a:pt x="50" y="115"/>
                      </a:lnTo>
                      <a:lnTo>
                        <a:pt x="51" y="112"/>
                      </a:lnTo>
                      <a:lnTo>
                        <a:pt x="53" y="111"/>
                      </a:lnTo>
                      <a:lnTo>
                        <a:pt x="57" y="110"/>
                      </a:lnTo>
                      <a:lnTo>
                        <a:pt x="60" y="109"/>
                      </a:lnTo>
                      <a:lnTo>
                        <a:pt x="65" y="105"/>
                      </a:lnTo>
                      <a:lnTo>
                        <a:pt x="66" y="105"/>
                      </a:lnTo>
                      <a:lnTo>
                        <a:pt x="67" y="105"/>
                      </a:lnTo>
                      <a:lnTo>
                        <a:pt x="69" y="106"/>
                      </a:lnTo>
                      <a:lnTo>
                        <a:pt x="70" y="106"/>
                      </a:lnTo>
                      <a:lnTo>
                        <a:pt x="79" y="102"/>
                      </a:lnTo>
                      <a:lnTo>
                        <a:pt x="83" y="99"/>
                      </a:lnTo>
                      <a:lnTo>
                        <a:pt x="87" y="97"/>
                      </a:lnTo>
                      <a:lnTo>
                        <a:pt x="87" y="95"/>
                      </a:lnTo>
                      <a:lnTo>
                        <a:pt x="87" y="93"/>
                      </a:lnTo>
                      <a:lnTo>
                        <a:pt x="85" y="90"/>
                      </a:lnTo>
                      <a:lnTo>
                        <a:pt x="85" y="87"/>
                      </a:lnTo>
                      <a:lnTo>
                        <a:pt x="87" y="86"/>
                      </a:lnTo>
                      <a:lnTo>
                        <a:pt x="90" y="85"/>
                      </a:lnTo>
                      <a:lnTo>
                        <a:pt x="93" y="84"/>
                      </a:lnTo>
                      <a:lnTo>
                        <a:pt x="95" y="76"/>
                      </a:lnTo>
                      <a:lnTo>
                        <a:pt x="100" y="68"/>
                      </a:lnTo>
                      <a:lnTo>
                        <a:pt x="103" y="66"/>
                      </a:lnTo>
                      <a:lnTo>
                        <a:pt x="106" y="64"/>
                      </a:lnTo>
                      <a:lnTo>
                        <a:pt x="109" y="61"/>
                      </a:lnTo>
                      <a:lnTo>
                        <a:pt x="113" y="61"/>
                      </a:lnTo>
                      <a:lnTo>
                        <a:pt x="117" y="63"/>
                      </a:lnTo>
                      <a:lnTo>
                        <a:pt x="118" y="63"/>
                      </a:lnTo>
                      <a:lnTo>
                        <a:pt x="121" y="61"/>
                      </a:lnTo>
                      <a:lnTo>
                        <a:pt x="122" y="60"/>
                      </a:lnTo>
                      <a:lnTo>
                        <a:pt x="125" y="58"/>
                      </a:lnTo>
                      <a:lnTo>
                        <a:pt x="126" y="55"/>
                      </a:lnTo>
                      <a:lnTo>
                        <a:pt x="128" y="54"/>
                      </a:lnTo>
                      <a:lnTo>
                        <a:pt x="132" y="54"/>
                      </a:lnTo>
                      <a:lnTo>
                        <a:pt x="135" y="53"/>
                      </a:lnTo>
                      <a:lnTo>
                        <a:pt x="139" y="50"/>
                      </a:lnTo>
                      <a:lnTo>
                        <a:pt x="142" y="46"/>
                      </a:lnTo>
                      <a:lnTo>
                        <a:pt x="150" y="42"/>
                      </a:lnTo>
                      <a:lnTo>
                        <a:pt x="153" y="40"/>
                      </a:lnTo>
                      <a:lnTo>
                        <a:pt x="154" y="38"/>
                      </a:lnTo>
                      <a:lnTo>
                        <a:pt x="153" y="36"/>
                      </a:lnTo>
                      <a:lnTo>
                        <a:pt x="150" y="32"/>
                      </a:lnTo>
                      <a:lnTo>
                        <a:pt x="145" y="28"/>
                      </a:lnTo>
                      <a:lnTo>
                        <a:pt x="133" y="21"/>
                      </a:lnTo>
                      <a:lnTo>
                        <a:pt x="137"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99" name="Freeform 973"/>
                <p:cNvSpPr>
                  <a:spLocks/>
                </p:cNvSpPr>
                <p:nvPr/>
              </p:nvSpPr>
              <p:spPr bwMode="auto">
                <a:xfrm>
                  <a:off x="2644052" y="2599821"/>
                  <a:ext cx="50316" cy="36996"/>
                </a:xfrm>
                <a:custGeom>
                  <a:avLst/>
                  <a:gdLst>
                    <a:gd name="T0" fmla="*/ 2147483647 w 37"/>
                    <a:gd name="T1" fmla="*/ 2147483647 h 25"/>
                    <a:gd name="T2" fmla="*/ 2147483647 w 37"/>
                    <a:gd name="T3" fmla="*/ 2147483647 h 25"/>
                    <a:gd name="T4" fmla="*/ 2147483647 w 37"/>
                    <a:gd name="T5" fmla="*/ 2147483647 h 25"/>
                    <a:gd name="T6" fmla="*/ 2147483647 w 37"/>
                    <a:gd name="T7" fmla="*/ 2147483647 h 25"/>
                    <a:gd name="T8" fmla="*/ 2147483647 w 37"/>
                    <a:gd name="T9" fmla="*/ 2147483647 h 25"/>
                    <a:gd name="T10" fmla="*/ 2147483647 w 37"/>
                    <a:gd name="T11" fmla="*/ 2147483647 h 25"/>
                    <a:gd name="T12" fmla="*/ 2147483647 w 37"/>
                    <a:gd name="T13" fmla="*/ 2147483647 h 25"/>
                    <a:gd name="T14" fmla="*/ 2147483647 w 37"/>
                    <a:gd name="T15" fmla="*/ 2147483647 h 25"/>
                    <a:gd name="T16" fmla="*/ 2147483647 w 37"/>
                    <a:gd name="T17" fmla="*/ 0 h 25"/>
                    <a:gd name="T18" fmla="*/ 2147483647 w 37"/>
                    <a:gd name="T19" fmla="*/ 2147483647 h 25"/>
                    <a:gd name="T20" fmla="*/ 2147483647 w 37"/>
                    <a:gd name="T21" fmla="*/ 2147483647 h 25"/>
                    <a:gd name="T22" fmla="*/ 2147483647 w 37"/>
                    <a:gd name="T23" fmla="*/ 2147483647 h 25"/>
                    <a:gd name="T24" fmla="*/ 2147483647 w 37"/>
                    <a:gd name="T25" fmla="*/ 2147483647 h 25"/>
                    <a:gd name="T26" fmla="*/ 2147483647 w 37"/>
                    <a:gd name="T27" fmla="*/ 2147483647 h 25"/>
                    <a:gd name="T28" fmla="*/ 2147483647 w 37"/>
                    <a:gd name="T29" fmla="*/ 2147483647 h 25"/>
                    <a:gd name="T30" fmla="*/ 0 w 37"/>
                    <a:gd name="T31" fmla="*/ 2147483647 h 25"/>
                    <a:gd name="T32" fmla="*/ 0 w 37"/>
                    <a:gd name="T33" fmla="*/ 2147483647 h 25"/>
                    <a:gd name="T34" fmla="*/ 0 w 37"/>
                    <a:gd name="T35" fmla="*/ 2147483647 h 25"/>
                    <a:gd name="T36" fmla="*/ 0 w 37"/>
                    <a:gd name="T37" fmla="*/ 2147483647 h 25"/>
                    <a:gd name="T38" fmla="*/ 2147483647 w 37"/>
                    <a:gd name="T39" fmla="*/ 2147483647 h 25"/>
                    <a:gd name="T40" fmla="*/ 2147483647 w 37"/>
                    <a:gd name="T41" fmla="*/ 2147483647 h 25"/>
                    <a:gd name="T42" fmla="*/ 2147483647 w 37"/>
                    <a:gd name="T43" fmla="*/ 2147483647 h 25"/>
                    <a:gd name="T44" fmla="*/ 2147483647 w 37"/>
                    <a:gd name="T45" fmla="*/ 2147483647 h 25"/>
                    <a:gd name="T46" fmla="*/ 2147483647 w 37"/>
                    <a:gd name="T47" fmla="*/ 2147483647 h 25"/>
                    <a:gd name="T48" fmla="*/ 2147483647 w 37"/>
                    <a:gd name="T49" fmla="*/ 2147483647 h 25"/>
                    <a:gd name="T50" fmla="*/ 2147483647 w 37"/>
                    <a:gd name="T51" fmla="*/ 2147483647 h 25"/>
                    <a:gd name="T52" fmla="*/ 2147483647 w 37"/>
                    <a:gd name="T53" fmla="*/ 2147483647 h 25"/>
                    <a:gd name="T54" fmla="*/ 2147483647 w 37"/>
                    <a:gd name="T55" fmla="*/ 2147483647 h 25"/>
                    <a:gd name="T56" fmla="*/ 2147483647 w 37"/>
                    <a:gd name="T57" fmla="*/ 2147483647 h 25"/>
                    <a:gd name="T58" fmla="*/ 2147483647 w 37"/>
                    <a:gd name="T59" fmla="*/ 2147483647 h 25"/>
                    <a:gd name="T60" fmla="*/ 2147483647 w 37"/>
                    <a:gd name="T61" fmla="*/ 2147483647 h 25"/>
                    <a:gd name="T62" fmla="*/ 2147483647 w 37"/>
                    <a:gd name="T63" fmla="*/ 2147483647 h 25"/>
                    <a:gd name="T64" fmla="*/ 2147483647 w 37"/>
                    <a:gd name="T65" fmla="*/ 2147483647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7"/>
                    <a:gd name="T100" fmla="*/ 0 h 25"/>
                    <a:gd name="T101" fmla="*/ 37 w 37"/>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7" h="25">
                      <a:moveTo>
                        <a:pt x="31" y="14"/>
                      </a:moveTo>
                      <a:lnTo>
                        <a:pt x="31" y="14"/>
                      </a:lnTo>
                      <a:lnTo>
                        <a:pt x="33" y="11"/>
                      </a:lnTo>
                      <a:lnTo>
                        <a:pt x="36" y="7"/>
                      </a:lnTo>
                      <a:lnTo>
                        <a:pt x="37" y="4"/>
                      </a:lnTo>
                      <a:lnTo>
                        <a:pt x="36" y="1"/>
                      </a:lnTo>
                      <a:lnTo>
                        <a:pt x="33" y="1"/>
                      </a:lnTo>
                      <a:lnTo>
                        <a:pt x="29" y="0"/>
                      </a:lnTo>
                      <a:lnTo>
                        <a:pt x="24" y="1"/>
                      </a:lnTo>
                      <a:lnTo>
                        <a:pt x="16" y="4"/>
                      </a:lnTo>
                      <a:lnTo>
                        <a:pt x="12" y="5"/>
                      </a:lnTo>
                      <a:lnTo>
                        <a:pt x="8" y="8"/>
                      </a:lnTo>
                      <a:lnTo>
                        <a:pt x="4" y="11"/>
                      </a:lnTo>
                      <a:lnTo>
                        <a:pt x="0" y="14"/>
                      </a:lnTo>
                      <a:lnTo>
                        <a:pt x="0" y="16"/>
                      </a:lnTo>
                      <a:lnTo>
                        <a:pt x="4" y="19"/>
                      </a:lnTo>
                      <a:lnTo>
                        <a:pt x="7" y="23"/>
                      </a:lnTo>
                      <a:lnTo>
                        <a:pt x="10" y="25"/>
                      </a:lnTo>
                      <a:lnTo>
                        <a:pt x="14" y="25"/>
                      </a:lnTo>
                      <a:lnTo>
                        <a:pt x="18" y="24"/>
                      </a:lnTo>
                      <a:lnTo>
                        <a:pt x="19" y="23"/>
                      </a:lnTo>
                      <a:lnTo>
                        <a:pt x="21" y="20"/>
                      </a:lnTo>
                      <a:lnTo>
                        <a:pt x="23" y="18"/>
                      </a:lnTo>
                      <a:lnTo>
                        <a:pt x="24" y="17"/>
                      </a:lnTo>
                      <a:lnTo>
                        <a:pt x="28" y="17"/>
                      </a:lnTo>
                      <a:lnTo>
                        <a:pt x="31"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0" name="Freeform 974"/>
                <p:cNvSpPr>
                  <a:spLocks/>
                </p:cNvSpPr>
                <p:nvPr/>
              </p:nvSpPr>
              <p:spPr bwMode="auto">
                <a:xfrm>
                  <a:off x="1671779" y="2093700"/>
                  <a:ext cx="210142" cy="171665"/>
                </a:xfrm>
                <a:custGeom>
                  <a:avLst/>
                  <a:gdLst>
                    <a:gd name="T0" fmla="*/ 2147483647 w 154"/>
                    <a:gd name="T1" fmla="*/ 2147483647 h 116"/>
                    <a:gd name="T2" fmla="*/ 2147483647 w 154"/>
                    <a:gd name="T3" fmla="*/ 2147483647 h 116"/>
                    <a:gd name="T4" fmla="*/ 2147483647 w 154"/>
                    <a:gd name="T5" fmla="*/ 2147483647 h 116"/>
                    <a:gd name="T6" fmla="*/ 2147483647 w 154"/>
                    <a:gd name="T7" fmla="*/ 2147483647 h 116"/>
                    <a:gd name="T8" fmla="*/ 2147483647 w 154"/>
                    <a:gd name="T9" fmla="*/ 2147483647 h 116"/>
                    <a:gd name="T10" fmla="*/ 2147483647 w 154"/>
                    <a:gd name="T11" fmla="*/ 2147483647 h 116"/>
                    <a:gd name="T12" fmla="*/ 2147483647 w 154"/>
                    <a:gd name="T13" fmla="*/ 2147483647 h 116"/>
                    <a:gd name="T14" fmla="*/ 2147483647 w 154"/>
                    <a:gd name="T15" fmla="*/ 2147483647 h 116"/>
                    <a:gd name="T16" fmla="*/ 2147483647 w 154"/>
                    <a:gd name="T17" fmla="*/ 2147483647 h 116"/>
                    <a:gd name="T18" fmla="*/ 2147483647 w 154"/>
                    <a:gd name="T19" fmla="*/ 2147483647 h 116"/>
                    <a:gd name="T20" fmla="*/ 2147483647 w 154"/>
                    <a:gd name="T21" fmla="*/ 2147483647 h 116"/>
                    <a:gd name="T22" fmla="*/ 2147483647 w 154"/>
                    <a:gd name="T23" fmla="*/ 2147483647 h 116"/>
                    <a:gd name="T24" fmla="*/ 2147483647 w 154"/>
                    <a:gd name="T25" fmla="*/ 2147483647 h 116"/>
                    <a:gd name="T26" fmla="*/ 2147483647 w 154"/>
                    <a:gd name="T27" fmla="*/ 2147483647 h 116"/>
                    <a:gd name="T28" fmla="*/ 2147483647 w 154"/>
                    <a:gd name="T29" fmla="*/ 2147483647 h 116"/>
                    <a:gd name="T30" fmla="*/ 2147483647 w 154"/>
                    <a:gd name="T31" fmla="*/ 2147483647 h 116"/>
                    <a:gd name="T32" fmla="*/ 2147483647 w 154"/>
                    <a:gd name="T33" fmla="*/ 2147483647 h 116"/>
                    <a:gd name="T34" fmla="*/ 2147483647 w 154"/>
                    <a:gd name="T35" fmla="*/ 2147483647 h 116"/>
                    <a:gd name="T36" fmla="*/ 2147483647 w 154"/>
                    <a:gd name="T37" fmla="*/ 2147483647 h 116"/>
                    <a:gd name="T38" fmla="*/ 0 w 154"/>
                    <a:gd name="T39" fmla="*/ 2147483647 h 116"/>
                    <a:gd name="T40" fmla="*/ 2147483647 w 154"/>
                    <a:gd name="T41" fmla="*/ 2147483647 h 116"/>
                    <a:gd name="T42" fmla="*/ 2147483647 w 154"/>
                    <a:gd name="T43" fmla="*/ 2147483647 h 116"/>
                    <a:gd name="T44" fmla="*/ 2147483647 w 154"/>
                    <a:gd name="T45" fmla="*/ 2147483647 h 116"/>
                    <a:gd name="T46" fmla="*/ 2147483647 w 154"/>
                    <a:gd name="T47" fmla="*/ 2147483647 h 116"/>
                    <a:gd name="T48" fmla="*/ 2147483647 w 154"/>
                    <a:gd name="T49" fmla="*/ 2147483647 h 116"/>
                    <a:gd name="T50" fmla="*/ 2147483647 w 154"/>
                    <a:gd name="T51" fmla="*/ 2147483647 h 116"/>
                    <a:gd name="T52" fmla="*/ 2147483647 w 154"/>
                    <a:gd name="T53" fmla="*/ 2147483647 h 116"/>
                    <a:gd name="T54" fmla="*/ 2147483647 w 154"/>
                    <a:gd name="T55" fmla="*/ 2147483647 h 116"/>
                    <a:gd name="T56" fmla="*/ 2147483647 w 154"/>
                    <a:gd name="T57" fmla="*/ 2147483647 h 116"/>
                    <a:gd name="T58" fmla="*/ 2147483647 w 154"/>
                    <a:gd name="T59" fmla="*/ 2147483647 h 116"/>
                    <a:gd name="T60" fmla="*/ 2147483647 w 154"/>
                    <a:gd name="T61" fmla="*/ 2147483647 h 116"/>
                    <a:gd name="T62" fmla="*/ 2147483647 w 154"/>
                    <a:gd name="T63" fmla="*/ 2147483647 h 116"/>
                    <a:gd name="T64" fmla="*/ 2147483647 w 154"/>
                    <a:gd name="T65" fmla="*/ 2147483647 h 116"/>
                    <a:gd name="T66" fmla="*/ 2147483647 w 154"/>
                    <a:gd name="T67" fmla="*/ 2147483647 h 116"/>
                    <a:gd name="T68" fmla="*/ 2147483647 w 154"/>
                    <a:gd name="T69" fmla="*/ 2147483647 h 116"/>
                    <a:gd name="T70" fmla="*/ 2147483647 w 154"/>
                    <a:gd name="T71" fmla="*/ 2147483647 h 116"/>
                    <a:gd name="T72" fmla="*/ 2147483647 w 154"/>
                    <a:gd name="T73" fmla="*/ 2147483647 h 116"/>
                    <a:gd name="T74" fmla="*/ 2147483647 w 154"/>
                    <a:gd name="T75" fmla="*/ 2147483647 h 116"/>
                    <a:gd name="T76" fmla="*/ 2147483647 w 154"/>
                    <a:gd name="T77" fmla="*/ 2147483647 h 116"/>
                    <a:gd name="T78" fmla="*/ 2147483647 w 154"/>
                    <a:gd name="T79" fmla="*/ 2147483647 h 116"/>
                    <a:gd name="T80" fmla="*/ 2147483647 w 154"/>
                    <a:gd name="T81" fmla="*/ 2147483647 h 116"/>
                    <a:gd name="T82" fmla="*/ 2147483647 w 154"/>
                    <a:gd name="T83" fmla="*/ 2147483647 h 116"/>
                    <a:gd name="T84" fmla="*/ 2147483647 w 154"/>
                    <a:gd name="T85" fmla="*/ 2147483647 h 116"/>
                    <a:gd name="T86" fmla="*/ 2147483647 w 154"/>
                    <a:gd name="T87" fmla="*/ 2147483647 h 116"/>
                    <a:gd name="T88" fmla="*/ 2147483647 w 154"/>
                    <a:gd name="T89" fmla="*/ 2147483647 h 116"/>
                    <a:gd name="T90" fmla="*/ 2147483647 w 154"/>
                    <a:gd name="T91" fmla="*/ 2147483647 h 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4"/>
                    <a:gd name="T139" fmla="*/ 0 h 116"/>
                    <a:gd name="T140" fmla="*/ 154 w 154"/>
                    <a:gd name="T141" fmla="*/ 116 h 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4" h="116">
                      <a:moveTo>
                        <a:pt x="137" y="22"/>
                      </a:moveTo>
                      <a:lnTo>
                        <a:pt x="137" y="22"/>
                      </a:lnTo>
                      <a:lnTo>
                        <a:pt x="132" y="20"/>
                      </a:lnTo>
                      <a:lnTo>
                        <a:pt x="128" y="17"/>
                      </a:lnTo>
                      <a:lnTo>
                        <a:pt x="124" y="14"/>
                      </a:lnTo>
                      <a:lnTo>
                        <a:pt x="121" y="13"/>
                      </a:lnTo>
                      <a:lnTo>
                        <a:pt x="118" y="11"/>
                      </a:lnTo>
                      <a:lnTo>
                        <a:pt x="117" y="13"/>
                      </a:lnTo>
                      <a:lnTo>
                        <a:pt x="113" y="16"/>
                      </a:lnTo>
                      <a:lnTo>
                        <a:pt x="112" y="20"/>
                      </a:lnTo>
                      <a:lnTo>
                        <a:pt x="109" y="24"/>
                      </a:lnTo>
                      <a:lnTo>
                        <a:pt x="107" y="26"/>
                      </a:lnTo>
                      <a:lnTo>
                        <a:pt x="104" y="26"/>
                      </a:lnTo>
                      <a:lnTo>
                        <a:pt x="100" y="22"/>
                      </a:lnTo>
                      <a:lnTo>
                        <a:pt x="96" y="19"/>
                      </a:lnTo>
                      <a:lnTo>
                        <a:pt x="94" y="16"/>
                      </a:lnTo>
                      <a:lnTo>
                        <a:pt x="89" y="14"/>
                      </a:lnTo>
                      <a:lnTo>
                        <a:pt x="76" y="8"/>
                      </a:lnTo>
                      <a:lnTo>
                        <a:pt x="70" y="4"/>
                      </a:lnTo>
                      <a:lnTo>
                        <a:pt x="63" y="1"/>
                      </a:lnTo>
                      <a:lnTo>
                        <a:pt x="61" y="0"/>
                      </a:lnTo>
                      <a:lnTo>
                        <a:pt x="58" y="1"/>
                      </a:lnTo>
                      <a:lnTo>
                        <a:pt x="56" y="3"/>
                      </a:lnTo>
                      <a:lnTo>
                        <a:pt x="52" y="5"/>
                      </a:lnTo>
                      <a:lnTo>
                        <a:pt x="39" y="9"/>
                      </a:lnTo>
                      <a:lnTo>
                        <a:pt x="25" y="14"/>
                      </a:lnTo>
                      <a:lnTo>
                        <a:pt x="24" y="15"/>
                      </a:lnTo>
                      <a:lnTo>
                        <a:pt x="25" y="19"/>
                      </a:lnTo>
                      <a:lnTo>
                        <a:pt x="29" y="26"/>
                      </a:lnTo>
                      <a:lnTo>
                        <a:pt x="30" y="29"/>
                      </a:lnTo>
                      <a:lnTo>
                        <a:pt x="30" y="33"/>
                      </a:lnTo>
                      <a:lnTo>
                        <a:pt x="27" y="36"/>
                      </a:lnTo>
                      <a:lnTo>
                        <a:pt x="23" y="41"/>
                      </a:lnTo>
                      <a:lnTo>
                        <a:pt x="19" y="45"/>
                      </a:lnTo>
                      <a:lnTo>
                        <a:pt x="15" y="49"/>
                      </a:lnTo>
                      <a:lnTo>
                        <a:pt x="14" y="52"/>
                      </a:lnTo>
                      <a:lnTo>
                        <a:pt x="11" y="52"/>
                      </a:lnTo>
                      <a:lnTo>
                        <a:pt x="9" y="52"/>
                      </a:lnTo>
                      <a:lnTo>
                        <a:pt x="6" y="53"/>
                      </a:lnTo>
                      <a:lnTo>
                        <a:pt x="4" y="55"/>
                      </a:lnTo>
                      <a:lnTo>
                        <a:pt x="4" y="58"/>
                      </a:lnTo>
                      <a:lnTo>
                        <a:pt x="4" y="64"/>
                      </a:lnTo>
                      <a:lnTo>
                        <a:pt x="5" y="71"/>
                      </a:lnTo>
                      <a:lnTo>
                        <a:pt x="5" y="77"/>
                      </a:lnTo>
                      <a:lnTo>
                        <a:pt x="2" y="81"/>
                      </a:lnTo>
                      <a:lnTo>
                        <a:pt x="0" y="86"/>
                      </a:lnTo>
                      <a:lnTo>
                        <a:pt x="0" y="88"/>
                      </a:lnTo>
                      <a:lnTo>
                        <a:pt x="1" y="90"/>
                      </a:lnTo>
                      <a:lnTo>
                        <a:pt x="10" y="92"/>
                      </a:lnTo>
                      <a:lnTo>
                        <a:pt x="18" y="94"/>
                      </a:lnTo>
                      <a:lnTo>
                        <a:pt x="25" y="98"/>
                      </a:lnTo>
                      <a:lnTo>
                        <a:pt x="32" y="103"/>
                      </a:lnTo>
                      <a:lnTo>
                        <a:pt x="33" y="105"/>
                      </a:lnTo>
                      <a:lnTo>
                        <a:pt x="33" y="107"/>
                      </a:lnTo>
                      <a:lnTo>
                        <a:pt x="33" y="110"/>
                      </a:lnTo>
                      <a:lnTo>
                        <a:pt x="34" y="112"/>
                      </a:lnTo>
                      <a:lnTo>
                        <a:pt x="37" y="113"/>
                      </a:lnTo>
                      <a:lnTo>
                        <a:pt x="41" y="115"/>
                      </a:lnTo>
                      <a:lnTo>
                        <a:pt x="43" y="115"/>
                      </a:lnTo>
                      <a:lnTo>
                        <a:pt x="47" y="116"/>
                      </a:lnTo>
                      <a:lnTo>
                        <a:pt x="48" y="116"/>
                      </a:lnTo>
                      <a:lnTo>
                        <a:pt x="49" y="115"/>
                      </a:lnTo>
                      <a:lnTo>
                        <a:pt x="51" y="112"/>
                      </a:lnTo>
                      <a:lnTo>
                        <a:pt x="53" y="111"/>
                      </a:lnTo>
                      <a:lnTo>
                        <a:pt x="57" y="110"/>
                      </a:lnTo>
                      <a:lnTo>
                        <a:pt x="60" y="109"/>
                      </a:lnTo>
                      <a:lnTo>
                        <a:pt x="65" y="105"/>
                      </a:lnTo>
                      <a:lnTo>
                        <a:pt x="66" y="105"/>
                      </a:lnTo>
                      <a:lnTo>
                        <a:pt x="67" y="105"/>
                      </a:lnTo>
                      <a:lnTo>
                        <a:pt x="68" y="106"/>
                      </a:lnTo>
                      <a:lnTo>
                        <a:pt x="70" y="106"/>
                      </a:lnTo>
                      <a:lnTo>
                        <a:pt x="79" y="102"/>
                      </a:lnTo>
                      <a:lnTo>
                        <a:pt x="82" y="99"/>
                      </a:lnTo>
                      <a:lnTo>
                        <a:pt x="86" y="97"/>
                      </a:lnTo>
                      <a:lnTo>
                        <a:pt x="86" y="94"/>
                      </a:lnTo>
                      <a:lnTo>
                        <a:pt x="86" y="93"/>
                      </a:lnTo>
                      <a:lnTo>
                        <a:pt x="85" y="90"/>
                      </a:lnTo>
                      <a:lnTo>
                        <a:pt x="85" y="87"/>
                      </a:lnTo>
                      <a:lnTo>
                        <a:pt x="86" y="86"/>
                      </a:lnTo>
                      <a:lnTo>
                        <a:pt x="90" y="85"/>
                      </a:lnTo>
                      <a:lnTo>
                        <a:pt x="93" y="84"/>
                      </a:lnTo>
                      <a:lnTo>
                        <a:pt x="95" y="75"/>
                      </a:lnTo>
                      <a:lnTo>
                        <a:pt x="100" y="68"/>
                      </a:lnTo>
                      <a:lnTo>
                        <a:pt x="103" y="66"/>
                      </a:lnTo>
                      <a:lnTo>
                        <a:pt x="105" y="64"/>
                      </a:lnTo>
                      <a:lnTo>
                        <a:pt x="109" y="61"/>
                      </a:lnTo>
                      <a:lnTo>
                        <a:pt x="113" y="61"/>
                      </a:lnTo>
                      <a:lnTo>
                        <a:pt x="117" y="62"/>
                      </a:lnTo>
                      <a:lnTo>
                        <a:pt x="118" y="62"/>
                      </a:lnTo>
                      <a:lnTo>
                        <a:pt x="121" y="61"/>
                      </a:lnTo>
                      <a:lnTo>
                        <a:pt x="122" y="60"/>
                      </a:lnTo>
                      <a:lnTo>
                        <a:pt x="124" y="58"/>
                      </a:lnTo>
                      <a:lnTo>
                        <a:pt x="126" y="55"/>
                      </a:lnTo>
                      <a:lnTo>
                        <a:pt x="128" y="54"/>
                      </a:lnTo>
                      <a:lnTo>
                        <a:pt x="132" y="54"/>
                      </a:lnTo>
                      <a:lnTo>
                        <a:pt x="134" y="53"/>
                      </a:lnTo>
                      <a:lnTo>
                        <a:pt x="138" y="49"/>
                      </a:lnTo>
                      <a:lnTo>
                        <a:pt x="142" y="46"/>
                      </a:lnTo>
                      <a:lnTo>
                        <a:pt x="150" y="42"/>
                      </a:lnTo>
                      <a:lnTo>
                        <a:pt x="152" y="40"/>
                      </a:lnTo>
                      <a:lnTo>
                        <a:pt x="154" y="37"/>
                      </a:lnTo>
                      <a:lnTo>
                        <a:pt x="152" y="36"/>
                      </a:lnTo>
                      <a:lnTo>
                        <a:pt x="150" y="32"/>
                      </a:lnTo>
                      <a:lnTo>
                        <a:pt x="145" y="28"/>
                      </a:lnTo>
                      <a:lnTo>
                        <a:pt x="133" y="21"/>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1" name="Freeform 975"/>
                <p:cNvSpPr>
                  <a:spLocks/>
                </p:cNvSpPr>
                <p:nvPr/>
              </p:nvSpPr>
              <p:spPr bwMode="auto">
                <a:xfrm>
                  <a:off x="1819765" y="2160297"/>
                  <a:ext cx="423243" cy="211622"/>
                </a:xfrm>
                <a:custGeom>
                  <a:avLst/>
                  <a:gdLst>
                    <a:gd name="T0" fmla="*/ 2147483647 w 309"/>
                    <a:gd name="T1" fmla="*/ 2147483647 h 143"/>
                    <a:gd name="T2" fmla="*/ 2147483647 w 309"/>
                    <a:gd name="T3" fmla="*/ 2147483647 h 143"/>
                    <a:gd name="T4" fmla="*/ 2147483647 w 309"/>
                    <a:gd name="T5" fmla="*/ 2147483647 h 143"/>
                    <a:gd name="T6" fmla="*/ 2147483647 w 309"/>
                    <a:gd name="T7" fmla="*/ 2147483647 h 143"/>
                    <a:gd name="T8" fmla="*/ 2147483647 w 309"/>
                    <a:gd name="T9" fmla="*/ 2147483647 h 143"/>
                    <a:gd name="T10" fmla="*/ 2147483647 w 309"/>
                    <a:gd name="T11" fmla="*/ 2147483647 h 143"/>
                    <a:gd name="T12" fmla="*/ 2147483647 w 309"/>
                    <a:gd name="T13" fmla="*/ 2147483647 h 143"/>
                    <a:gd name="T14" fmla="*/ 2147483647 w 309"/>
                    <a:gd name="T15" fmla="*/ 2147483647 h 143"/>
                    <a:gd name="T16" fmla="*/ 2147483647 w 309"/>
                    <a:gd name="T17" fmla="*/ 2147483647 h 143"/>
                    <a:gd name="T18" fmla="*/ 2147483647 w 309"/>
                    <a:gd name="T19" fmla="*/ 2147483647 h 143"/>
                    <a:gd name="T20" fmla="*/ 2147483647 w 309"/>
                    <a:gd name="T21" fmla="*/ 2147483647 h 143"/>
                    <a:gd name="T22" fmla="*/ 2147483647 w 309"/>
                    <a:gd name="T23" fmla="*/ 2147483647 h 143"/>
                    <a:gd name="T24" fmla="*/ 2147483647 w 309"/>
                    <a:gd name="T25" fmla="*/ 2147483647 h 143"/>
                    <a:gd name="T26" fmla="*/ 2147483647 w 309"/>
                    <a:gd name="T27" fmla="*/ 2147483647 h 143"/>
                    <a:gd name="T28" fmla="*/ 2147483647 w 309"/>
                    <a:gd name="T29" fmla="*/ 2147483647 h 143"/>
                    <a:gd name="T30" fmla="*/ 2147483647 w 309"/>
                    <a:gd name="T31" fmla="*/ 2147483647 h 143"/>
                    <a:gd name="T32" fmla="*/ 2147483647 w 309"/>
                    <a:gd name="T33" fmla="*/ 2147483647 h 143"/>
                    <a:gd name="T34" fmla="*/ 2147483647 w 309"/>
                    <a:gd name="T35" fmla="*/ 2147483647 h 143"/>
                    <a:gd name="T36" fmla="*/ 2147483647 w 309"/>
                    <a:gd name="T37" fmla="*/ 2147483647 h 143"/>
                    <a:gd name="T38" fmla="*/ 2147483647 w 309"/>
                    <a:gd name="T39" fmla="*/ 2147483647 h 143"/>
                    <a:gd name="T40" fmla="*/ 2147483647 w 309"/>
                    <a:gd name="T41" fmla="*/ 2147483647 h 143"/>
                    <a:gd name="T42" fmla="*/ 2147483647 w 309"/>
                    <a:gd name="T43" fmla="*/ 2147483647 h 143"/>
                    <a:gd name="T44" fmla="*/ 2147483647 w 309"/>
                    <a:gd name="T45" fmla="*/ 2147483647 h 143"/>
                    <a:gd name="T46" fmla="*/ 2147483647 w 309"/>
                    <a:gd name="T47" fmla="*/ 2147483647 h 143"/>
                    <a:gd name="T48" fmla="*/ 2147483647 w 309"/>
                    <a:gd name="T49" fmla="*/ 2147483647 h 143"/>
                    <a:gd name="T50" fmla="*/ 2147483647 w 309"/>
                    <a:gd name="T51" fmla="*/ 2147483647 h 143"/>
                    <a:gd name="T52" fmla="*/ 2147483647 w 309"/>
                    <a:gd name="T53" fmla="*/ 2147483647 h 143"/>
                    <a:gd name="T54" fmla="*/ 2147483647 w 309"/>
                    <a:gd name="T55" fmla="*/ 2147483647 h 143"/>
                    <a:gd name="T56" fmla="*/ 2147483647 w 309"/>
                    <a:gd name="T57" fmla="*/ 2147483647 h 143"/>
                    <a:gd name="T58" fmla="*/ 2147483647 w 309"/>
                    <a:gd name="T59" fmla="*/ 2147483647 h 143"/>
                    <a:gd name="T60" fmla="*/ 2147483647 w 309"/>
                    <a:gd name="T61" fmla="*/ 2147483647 h 143"/>
                    <a:gd name="T62" fmla="*/ 2147483647 w 309"/>
                    <a:gd name="T63" fmla="*/ 2147483647 h 143"/>
                    <a:gd name="T64" fmla="*/ 2147483647 w 309"/>
                    <a:gd name="T65" fmla="*/ 2147483647 h 143"/>
                    <a:gd name="T66" fmla="*/ 2147483647 w 309"/>
                    <a:gd name="T67" fmla="*/ 0 h 143"/>
                    <a:gd name="T68" fmla="*/ 2147483647 w 309"/>
                    <a:gd name="T69" fmla="*/ 2147483647 h 143"/>
                    <a:gd name="T70" fmla="*/ 2147483647 w 309"/>
                    <a:gd name="T71" fmla="*/ 2147483647 h 143"/>
                    <a:gd name="T72" fmla="*/ 2147483647 w 309"/>
                    <a:gd name="T73" fmla="*/ 2147483647 h 143"/>
                    <a:gd name="T74" fmla="*/ 2147483647 w 309"/>
                    <a:gd name="T75" fmla="*/ 2147483647 h 143"/>
                    <a:gd name="T76" fmla="*/ 2147483647 w 309"/>
                    <a:gd name="T77" fmla="*/ 2147483647 h 143"/>
                    <a:gd name="T78" fmla="*/ 2147483647 w 309"/>
                    <a:gd name="T79" fmla="*/ 2147483647 h 143"/>
                    <a:gd name="T80" fmla="*/ 2147483647 w 309"/>
                    <a:gd name="T81" fmla="*/ 2147483647 h 143"/>
                    <a:gd name="T82" fmla="*/ 2147483647 w 309"/>
                    <a:gd name="T83" fmla="*/ 2147483647 h 143"/>
                    <a:gd name="T84" fmla="*/ 2147483647 w 309"/>
                    <a:gd name="T85" fmla="*/ 2147483647 h 143"/>
                    <a:gd name="T86" fmla="*/ 2147483647 w 309"/>
                    <a:gd name="T87" fmla="*/ 2147483647 h 143"/>
                    <a:gd name="T88" fmla="*/ 2147483647 w 309"/>
                    <a:gd name="T89" fmla="*/ 2147483647 h 143"/>
                    <a:gd name="T90" fmla="*/ 2147483647 w 309"/>
                    <a:gd name="T91" fmla="*/ 2147483647 h 143"/>
                    <a:gd name="T92" fmla="*/ 2147483647 w 309"/>
                    <a:gd name="T93" fmla="*/ 2147483647 h 143"/>
                    <a:gd name="T94" fmla="*/ 2147483647 w 309"/>
                    <a:gd name="T95" fmla="*/ 2147483647 h 143"/>
                    <a:gd name="T96" fmla="*/ 2147483647 w 309"/>
                    <a:gd name="T97" fmla="*/ 2147483647 h 143"/>
                    <a:gd name="T98" fmla="*/ 2147483647 w 309"/>
                    <a:gd name="T99" fmla="*/ 2147483647 h 143"/>
                    <a:gd name="T100" fmla="*/ 2147483647 w 309"/>
                    <a:gd name="T101" fmla="*/ 2147483647 h 143"/>
                    <a:gd name="T102" fmla="*/ 2147483647 w 309"/>
                    <a:gd name="T103" fmla="*/ 2147483647 h 143"/>
                    <a:gd name="T104" fmla="*/ 2147483647 w 309"/>
                    <a:gd name="T105" fmla="*/ 2147483647 h 143"/>
                    <a:gd name="T106" fmla="*/ 2147483647 w 309"/>
                    <a:gd name="T107" fmla="*/ 2147483647 h 143"/>
                    <a:gd name="T108" fmla="*/ 2147483647 w 309"/>
                    <a:gd name="T109" fmla="*/ 2147483647 h 143"/>
                    <a:gd name="T110" fmla="*/ 2147483647 w 309"/>
                    <a:gd name="T111" fmla="*/ 2147483647 h 1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9"/>
                    <a:gd name="T169" fmla="*/ 0 h 143"/>
                    <a:gd name="T170" fmla="*/ 309 w 309"/>
                    <a:gd name="T171" fmla="*/ 143 h 1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9" h="143">
                      <a:moveTo>
                        <a:pt x="128" y="142"/>
                      </a:moveTo>
                      <a:lnTo>
                        <a:pt x="139" y="137"/>
                      </a:lnTo>
                      <a:lnTo>
                        <a:pt x="142" y="136"/>
                      </a:lnTo>
                      <a:lnTo>
                        <a:pt x="147" y="136"/>
                      </a:lnTo>
                      <a:lnTo>
                        <a:pt x="156" y="137"/>
                      </a:lnTo>
                      <a:lnTo>
                        <a:pt x="164" y="137"/>
                      </a:lnTo>
                      <a:lnTo>
                        <a:pt x="172" y="134"/>
                      </a:lnTo>
                      <a:lnTo>
                        <a:pt x="179" y="129"/>
                      </a:lnTo>
                      <a:lnTo>
                        <a:pt x="184" y="126"/>
                      </a:lnTo>
                      <a:lnTo>
                        <a:pt x="189" y="125"/>
                      </a:lnTo>
                      <a:lnTo>
                        <a:pt x="196" y="124"/>
                      </a:lnTo>
                      <a:lnTo>
                        <a:pt x="201" y="122"/>
                      </a:lnTo>
                      <a:lnTo>
                        <a:pt x="203" y="121"/>
                      </a:lnTo>
                      <a:lnTo>
                        <a:pt x="206" y="121"/>
                      </a:lnTo>
                      <a:lnTo>
                        <a:pt x="212" y="121"/>
                      </a:lnTo>
                      <a:lnTo>
                        <a:pt x="221" y="122"/>
                      </a:lnTo>
                      <a:lnTo>
                        <a:pt x="231" y="123"/>
                      </a:lnTo>
                      <a:lnTo>
                        <a:pt x="232" y="124"/>
                      </a:lnTo>
                      <a:lnTo>
                        <a:pt x="234" y="126"/>
                      </a:lnTo>
                      <a:lnTo>
                        <a:pt x="235" y="129"/>
                      </a:lnTo>
                      <a:lnTo>
                        <a:pt x="236" y="130"/>
                      </a:lnTo>
                      <a:lnTo>
                        <a:pt x="246" y="134"/>
                      </a:lnTo>
                      <a:lnTo>
                        <a:pt x="255" y="135"/>
                      </a:lnTo>
                      <a:lnTo>
                        <a:pt x="265" y="134"/>
                      </a:lnTo>
                      <a:lnTo>
                        <a:pt x="274" y="131"/>
                      </a:lnTo>
                      <a:lnTo>
                        <a:pt x="279" y="128"/>
                      </a:lnTo>
                      <a:lnTo>
                        <a:pt x="285" y="122"/>
                      </a:lnTo>
                      <a:lnTo>
                        <a:pt x="285" y="119"/>
                      </a:lnTo>
                      <a:lnTo>
                        <a:pt x="285" y="118"/>
                      </a:lnTo>
                      <a:lnTo>
                        <a:pt x="281" y="115"/>
                      </a:lnTo>
                      <a:lnTo>
                        <a:pt x="276" y="113"/>
                      </a:lnTo>
                      <a:lnTo>
                        <a:pt x="271" y="112"/>
                      </a:lnTo>
                      <a:lnTo>
                        <a:pt x="264" y="111"/>
                      </a:lnTo>
                      <a:lnTo>
                        <a:pt x="263" y="111"/>
                      </a:lnTo>
                      <a:lnTo>
                        <a:pt x="262" y="110"/>
                      </a:lnTo>
                      <a:lnTo>
                        <a:pt x="260" y="109"/>
                      </a:lnTo>
                      <a:lnTo>
                        <a:pt x="260" y="106"/>
                      </a:lnTo>
                      <a:lnTo>
                        <a:pt x="262" y="105"/>
                      </a:lnTo>
                      <a:lnTo>
                        <a:pt x="263" y="104"/>
                      </a:lnTo>
                      <a:lnTo>
                        <a:pt x="264" y="105"/>
                      </a:lnTo>
                      <a:lnTo>
                        <a:pt x="269" y="106"/>
                      </a:lnTo>
                      <a:lnTo>
                        <a:pt x="273" y="106"/>
                      </a:lnTo>
                      <a:lnTo>
                        <a:pt x="277" y="105"/>
                      </a:lnTo>
                      <a:lnTo>
                        <a:pt x="281" y="103"/>
                      </a:lnTo>
                      <a:lnTo>
                        <a:pt x="283" y="102"/>
                      </a:lnTo>
                      <a:lnTo>
                        <a:pt x="285" y="103"/>
                      </a:lnTo>
                      <a:lnTo>
                        <a:pt x="291" y="105"/>
                      </a:lnTo>
                      <a:lnTo>
                        <a:pt x="297" y="107"/>
                      </a:lnTo>
                      <a:lnTo>
                        <a:pt x="300" y="110"/>
                      </a:lnTo>
                      <a:lnTo>
                        <a:pt x="304" y="111"/>
                      </a:lnTo>
                      <a:lnTo>
                        <a:pt x="304" y="103"/>
                      </a:lnTo>
                      <a:lnTo>
                        <a:pt x="305" y="99"/>
                      </a:lnTo>
                      <a:lnTo>
                        <a:pt x="307" y="94"/>
                      </a:lnTo>
                      <a:lnTo>
                        <a:pt x="309" y="93"/>
                      </a:lnTo>
                      <a:lnTo>
                        <a:pt x="309" y="92"/>
                      </a:lnTo>
                      <a:lnTo>
                        <a:pt x="307" y="91"/>
                      </a:lnTo>
                      <a:lnTo>
                        <a:pt x="306" y="91"/>
                      </a:lnTo>
                      <a:lnTo>
                        <a:pt x="296" y="92"/>
                      </a:lnTo>
                      <a:lnTo>
                        <a:pt x="292" y="91"/>
                      </a:lnTo>
                      <a:lnTo>
                        <a:pt x="288" y="90"/>
                      </a:lnTo>
                      <a:lnTo>
                        <a:pt x="285" y="86"/>
                      </a:lnTo>
                      <a:lnTo>
                        <a:pt x="282" y="83"/>
                      </a:lnTo>
                      <a:lnTo>
                        <a:pt x="279" y="79"/>
                      </a:lnTo>
                      <a:lnTo>
                        <a:pt x="277" y="75"/>
                      </a:lnTo>
                      <a:lnTo>
                        <a:pt x="274" y="74"/>
                      </a:lnTo>
                      <a:lnTo>
                        <a:pt x="272" y="74"/>
                      </a:lnTo>
                      <a:lnTo>
                        <a:pt x="267" y="73"/>
                      </a:lnTo>
                      <a:lnTo>
                        <a:pt x="260" y="70"/>
                      </a:lnTo>
                      <a:lnTo>
                        <a:pt x="255" y="66"/>
                      </a:lnTo>
                      <a:lnTo>
                        <a:pt x="254" y="65"/>
                      </a:lnTo>
                      <a:lnTo>
                        <a:pt x="253" y="65"/>
                      </a:lnTo>
                      <a:lnTo>
                        <a:pt x="250" y="66"/>
                      </a:lnTo>
                      <a:lnTo>
                        <a:pt x="248" y="65"/>
                      </a:lnTo>
                      <a:lnTo>
                        <a:pt x="246" y="64"/>
                      </a:lnTo>
                      <a:lnTo>
                        <a:pt x="246" y="59"/>
                      </a:lnTo>
                      <a:lnTo>
                        <a:pt x="245" y="55"/>
                      </a:lnTo>
                      <a:lnTo>
                        <a:pt x="244" y="54"/>
                      </a:lnTo>
                      <a:lnTo>
                        <a:pt x="241" y="52"/>
                      </a:lnTo>
                      <a:lnTo>
                        <a:pt x="239" y="51"/>
                      </a:lnTo>
                      <a:lnTo>
                        <a:pt x="238" y="49"/>
                      </a:lnTo>
                      <a:lnTo>
                        <a:pt x="238" y="47"/>
                      </a:lnTo>
                      <a:lnTo>
                        <a:pt x="239" y="46"/>
                      </a:lnTo>
                      <a:lnTo>
                        <a:pt x="239" y="43"/>
                      </a:lnTo>
                      <a:lnTo>
                        <a:pt x="239" y="42"/>
                      </a:lnTo>
                      <a:lnTo>
                        <a:pt x="234" y="36"/>
                      </a:lnTo>
                      <a:lnTo>
                        <a:pt x="231" y="34"/>
                      </a:lnTo>
                      <a:lnTo>
                        <a:pt x="229" y="32"/>
                      </a:lnTo>
                      <a:lnTo>
                        <a:pt x="224" y="30"/>
                      </a:lnTo>
                      <a:lnTo>
                        <a:pt x="221" y="28"/>
                      </a:lnTo>
                      <a:lnTo>
                        <a:pt x="220" y="27"/>
                      </a:lnTo>
                      <a:lnTo>
                        <a:pt x="220" y="24"/>
                      </a:lnTo>
                      <a:lnTo>
                        <a:pt x="220" y="21"/>
                      </a:lnTo>
                      <a:lnTo>
                        <a:pt x="220" y="17"/>
                      </a:lnTo>
                      <a:lnTo>
                        <a:pt x="220" y="15"/>
                      </a:lnTo>
                      <a:lnTo>
                        <a:pt x="216" y="13"/>
                      </a:lnTo>
                      <a:lnTo>
                        <a:pt x="210" y="10"/>
                      </a:lnTo>
                      <a:lnTo>
                        <a:pt x="203" y="10"/>
                      </a:lnTo>
                      <a:lnTo>
                        <a:pt x="199" y="11"/>
                      </a:lnTo>
                      <a:lnTo>
                        <a:pt x="197" y="13"/>
                      </a:lnTo>
                      <a:lnTo>
                        <a:pt x="196" y="15"/>
                      </a:lnTo>
                      <a:lnTo>
                        <a:pt x="194" y="19"/>
                      </a:lnTo>
                      <a:lnTo>
                        <a:pt x="196" y="26"/>
                      </a:lnTo>
                      <a:lnTo>
                        <a:pt x="201" y="42"/>
                      </a:lnTo>
                      <a:lnTo>
                        <a:pt x="203" y="51"/>
                      </a:lnTo>
                      <a:lnTo>
                        <a:pt x="202" y="55"/>
                      </a:lnTo>
                      <a:lnTo>
                        <a:pt x="201" y="59"/>
                      </a:lnTo>
                      <a:lnTo>
                        <a:pt x="201" y="61"/>
                      </a:lnTo>
                      <a:lnTo>
                        <a:pt x="198" y="62"/>
                      </a:lnTo>
                      <a:lnTo>
                        <a:pt x="196" y="62"/>
                      </a:lnTo>
                      <a:lnTo>
                        <a:pt x="194" y="62"/>
                      </a:lnTo>
                      <a:lnTo>
                        <a:pt x="192" y="60"/>
                      </a:lnTo>
                      <a:lnTo>
                        <a:pt x="189" y="58"/>
                      </a:lnTo>
                      <a:lnTo>
                        <a:pt x="189" y="51"/>
                      </a:lnTo>
                      <a:lnTo>
                        <a:pt x="189" y="45"/>
                      </a:lnTo>
                      <a:lnTo>
                        <a:pt x="188" y="41"/>
                      </a:lnTo>
                      <a:lnTo>
                        <a:pt x="187" y="39"/>
                      </a:lnTo>
                      <a:lnTo>
                        <a:pt x="179" y="30"/>
                      </a:lnTo>
                      <a:lnTo>
                        <a:pt x="175" y="27"/>
                      </a:lnTo>
                      <a:lnTo>
                        <a:pt x="173" y="23"/>
                      </a:lnTo>
                      <a:lnTo>
                        <a:pt x="170" y="21"/>
                      </a:lnTo>
                      <a:lnTo>
                        <a:pt x="168" y="21"/>
                      </a:lnTo>
                      <a:lnTo>
                        <a:pt x="165" y="21"/>
                      </a:lnTo>
                      <a:lnTo>
                        <a:pt x="164" y="23"/>
                      </a:lnTo>
                      <a:lnTo>
                        <a:pt x="163" y="29"/>
                      </a:lnTo>
                      <a:lnTo>
                        <a:pt x="161" y="30"/>
                      </a:lnTo>
                      <a:lnTo>
                        <a:pt x="159" y="32"/>
                      </a:lnTo>
                      <a:lnTo>
                        <a:pt x="150" y="32"/>
                      </a:lnTo>
                      <a:lnTo>
                        <a:pt x="142" y="34"/>
                      </a:lnTo>
                      <a:lnTo>
                        <a:pt x="139" y="34"/>
                      </a:lnTo>
                      <a:lnTo>
                        <a:pt x="135" y="34"/>
                      </a:lnTo>
                      <a:lnTo>
                        <a:pt x="131" y="33"/>
                      </a:lnTo>
                      <a:lnTo>
                        <a:pt x="130" y="32"/>
                      </a:lnTo>
                      <a:lnTo>
                        <a:pt x="130" y="30"/>
                      </a:lnTo>
                      <a:lnTo>
                        <a:pt x="131" y="28"/>
                      </a:lnTo>
                      <a:lnTo>
                        <a:pt x="133" y="26"/>
                      </a:lnTo>
                      <a:lnTo>
                        <a:pt x="136" y="23"/>
                      </a:lnTo>
                      <a:lnTo>
                        <a:pt x="137" y="22"/>
                      </a:lnTo>
                      <a:lnTo>
                        <a:pt x="136" y="21"/>
                      </a:lnTo>
                      <a:lnTo>
                        <a:pt x="133" y="19"/>
                      </a:lnTo>
                      <a:lnTo>
                        <a:pt x="130" y="15"/>
                      </a:lnTo>
                      <a:lnTo>
                        <a:pt x="122" y="10"/>
                      </a:lnTo>
                      <a:lnTo>
                        <a:pt x="119" y="9"/>
                      </a:lnTo>
                      <a:lnTo>
                        <a:pt x="117" y="9"/>
                      </a:lnTo>
                      <a:lnTo>
                        <a:pt x="111" y="8"/>
                      </a:lnTo>
                      <a:lnTo>
                        <a:pt x="108" y="7"/>
                      </a:lnTo>
                      <a:lnTo>
                        <a:pt x="107" y="6"/>
                      </a:lnTo>
                      <a:lnTo>
                        <a:pt x="104" y="3"/>
                      </a:lnTo>
                      <a:lnTo>
                        <a:pt x="100" y="3"/>
                      </a:lnTo>
                      <a:lnTo>
                        <a:pt x="98" y="3"/>
                      </a:lnTo>
                      <a:lnTo>
                        <a:pt x="92" y="4"/>
                      </a:lnTo>
                      <a:lnTo>
                        <a:pt x="90" y="6"/>
                      </a:lnTo>
                      <a:lnTo>
                        <a:pt x="89" y="8"/>
                      </a:lnTo>
                      <a:lnTo>
                        <a:pt x="89" y="13"/>
                      </a:lnTo>
                      <a:lnTo>
                        <a:pt x="89" y="17"/>
                      </a:lnTo>
                      <a:lnTo>
                        <a:pt x="88" y="19"/>
                      </a:lnTo>
                      <a:lnTo>
                        <a:pt x="85" y="21"/>
                      </a:lnTo>
                      <a:lnTo>
                        <a:pt x="84" y="20"/>
                      </a:lnTo>
                      <a:lnTo>
                        <a:pt x="80" y="19"/>
                      </a:lnTo>
                      <a:lnTo>
                        <a:pt x="76" y="20"/>
                      </a:lnTo>
                      <a:lnTo>
                        <a:pt x="74" y="20"/>
                      </a:lnTo>
                      <a:lnTo>
                        <a:pt x="71" y="20"/>
                      </a:lnTo>
                      <a:lnTo>
                        <a:pt x="71" y="19"/>
                      </a:lnTo>
                      <a:lnTo>
                        <a:pt x="71" y="17"/>
                      </a:lnTo>
                      <a:lnTo>
                        <a:pt x="74" y="15"/>
                      </a:lnTo>
                      <a:lnTo>
                        <a:pt x="75" y="11"/>
                      </a:lnTo>
                      <a:lnTo>
                        <a:pt x="75" y="8"/>
                      </a:lnTo>
                      <a:lnTo>
                        <a:pt x="74" y="6"/>
                      </a:lnTo>
                      <a:lnTo>
                        <a:pt x="69" y="1"/>
                      </a:lnTo>
                      <a:lnTo>
                        <a:pt x="66" y="0"/>
                      </a:lnTo>
                      <a:lnTo>
                        <a:pt x="64" y="0"/>
                      </a:lnTo>
                      <a:lnTo>
                        <a:pt x="61" y="1"/>
                      </a:lnTo>
                      <a:lnTo>
                        <a:pt x="59" y="3"/>
                      </a:lnTo>
                      <a:lnTo>
                        <a:pt x="56" y="4"/>
                      </a:lnTo>
                      <a:lnTo>
                        <a:pt x="53" y="6"/>
                      </a:lnTo>
                      <a:lnTo>
                        <a:pt x="45" y="8"/>
                      </a:lnTo>
                      <a:lnTo>
                        <a:pt x="37" y="10"/>
                      </a:lnTo>
                      <a:lnTo>
                        <a:pt x="28" y="14"/>
                      </a:lnTo>
                      <a:lnTo>
                        <a:pt x="22" y="20"/>
                      </a:lnTo>
                      <a:lnTo>
                        <a:pt x="18" y="24"/>
                      </a:lnTo>
                      <a:lnTo>
                        <a:pt x="15" y="30"/>
                      </a:lnTo>
                      <a:lnTo>
                        <a:pt x="12" y="36"/>
                      </a:lnTo>
                      <a:lnTo>
                        <a:pt x="9" y="38"/>
                      </a:lnTo>
                      <a:lnTo>
                        <a:pt x="5" y="40"/>
                      </a:lnTo>
                      <a:lnTo>
                        <a:pt x="3" y="41"/>
                      </a:lnTo>
                      <a:lnTo>
                        <a:pt x="1" y="43"/>
                      </a:lnTo>
                      <a:lnTo>
                        <a:pt x="0" y="46"/>
                      </a:lnTo>
                      <a:lnTo>
                        <a:pt x="1" y="48"/>
                      </a:lnTo>
                      <a:lnTo>
                        <a:pt x="3" y="49"/>
                      </a:lnTo>
                      <a:lnTo>
                        <a:pt x="4" y="49"/>
                      </a:lnTo>
                      <a:lnTo>
                        <a:pt x="8" y="49"/>
                      </a:lnTo>
                      <a:lnTo>
                        <a:pt x="13" y="49"/>
                      </a:lnTo>
                      <a:lnTo>
                        <a:pt x="14" y="49"/>
                      </a:lnTo>
                      <a:lnTo>
                        <a:pt x="15" y="51"/>
                      </a:lnTo>
                      <a:lnTo>
                        <a:pt x="18" y="52"/>
                      </a:lnTo>
                      <a:lnTo>
                        <a:pt x="20" y="53"/>
                      </a:lnTo>
                      <a:lnTo>
                        <a:pt x="25" y="52"/>
                      </a:lnTo>
                      <a:lnTo>
                        <a:pt x="39" y="52"/>
                      </a:lnTo>
                      <a:lnTo>
                        <a:pt x="52" y="52"/>
                      </a:lnTo>
                      <a:lnTo>
                        <a:pt x="56" y="53"/>
                      </a:lnTo>
                      <a:lnTo>
                        <a:pt x="60" y="55"/>
                      </a:lnTo>
                      <a:lnTo>
                        <a:pt x="61" y="59"/>
                      </a:lnTo>
                      <a:lnTo>
                        <a:pt x="62" y="61"/>
                      </a:lnTo>
                      <a:lnTo>
                        <a:pt x="61" y="64"/>
                      </a:lnTo>
                      <a:lnTo>
                        <a:pt x="60" y="64"/>
                      </a:lnTo>
                      <a:lnTo>
                        <a:pt x="59" y="65"/>
                      </a:lnTo>
                      <a:lnTo>
                        <a:pt x="56" y="64"/>
                      </a:lnTo>
                      <a:lnTo>
                        <a:pt x="51" y="61"/>
                      </a:lnTo>
                      <a:lnTo>
                        <a:pt x="48" y="60"/>
                      </a:lnTo>
                      <a:lnTo>
                        <a:pt x="46" y="61"/>
                      </a:lnTo>
                      <a:lnTo>
                        <a:pt x="34" y="65"/>
                      </a:lnTo>
                      <a:lnTo>
                        <a:pt x="29" y="66"/>
                      </a:lnTo>
                      <a:lnTo>
                        <a:pt x="24" y="65"/>
                      </a:lnTo>
                      <a:lnTo>
                        <a:pt x="23" y="62"/>
                      </a:lnTo>
                      <a:lnTo>
                        <a:pt x="20" y="62"/>
                      </a:lnTo>
                      <a:lnTo>
                        <a:pt x="18" y="62"/>
                      </a:lnTo>
                      <a:lnTo>
                        <a:pt x="17" y="62"/>
                      </a:lnTo>
                      <a:lnTo>
                        <a:pt x="15" y="65"/>
                      </a:lnTo>
                      <a:lnTo>
                        <a:pt x="15" y="67"/>
                      </a:lnTo>
                      <a:lnTo>
                        <a:pt x="15" y="70"/>
                      </a:lnTo>
                      <a:lnTo>
                        <a:pt x="25" y="75"/>
                      </a:lnTo>
                      <a:lnTo>
                        <a:pt x="34" y="81"/>
                      </a:lnTo>
                      <a:lnTo>
                        <a:pt x="45" y="80"/>
                      </a:lnTo>
                      <a:lnTo>
                        <a:pt x="62" y="79"/>
                      </a:lnTo>
                      <a:lnTo>
                        <a:pt x="86" y="75"/>
                      </a:lnTo>
                      <a:lnTo>
                        <a:pt x="92" y="75"/>
                      </a:lnTo>
                      <a:lnTo>
                        <a:pt x="95" y="75"/>
                      </a:lnTo>
                      <a:lnTo>
                        <a:pt x="104" y="78"/>
                      </a:lnTo>
                      <a:lnTo>
                        <a:pt x="112" y="81"/>
                      </a:lnTo>
                      <a:lnTo>
                        <a:pt x="121" y="84"/>
                      </a:lnTo>
                      <a:lnTo>
                        <a:pt x="126" y="84"/>
                      </a:lnTo>
                      <a:lnTo>
                        <a:pt x="128" y="84"/>
                      </a:lnTo>
                      <a:lnTo>
                        <a:pt x="131" y="85"/>
                      </a:lnTo>
                      <a:lnTo>
                        <a:pt x="133" y="86"/>
                      </a:lnTo>
                      <a:lnTo>
                        <a:pt x="133" y="87"/>
                      </a:lnTo>
                      <a:lnTo>
                        <a:pt x="133" y="89"/>
                      </a:lnTo>
                      <a:lnTo>
                        <a:pt x="122" y="91"/>
                      </a:lnTo>
                      <a:lnTo>
                        <a:pt x="117" y="93"/>
                      </a:lnTo>
                      <a:lnTo>
                        <a:pt x="112" y="97"/>
                      </a:lnTo>
                      <a:lnTo>
                        <a:pt x="111" y="97"/>
                      </a:lnTo>
                      <a:lnTo>
                        <a:pt x="109" y="97"/>
                      </a:lnTo>
                      <a:lnTo>
                        <a:pt x="105" y="94"/>
                      </a:lnTo>
                      <a:lnTo>
                        <a:pt x="100" y="92"/>
                      </a:lnTo>
                      <a:lnTo>
                        <a:pt x="90" y="92"/>
                      </a:lnTo>
                      <a:lnTo>
                        <a:pt x="79" y="92"/>
                      </a:lnTo>
                      <a:lnTo>
                        <a:pt x="75" y="93"/>
                      </a:lnTo>
                      <a:lnTo>
                        <a:pt x="70" y="93"/>
                      </a:lnTo>
                      <a:lnTo>
                        <a:pt x="66" y="93"/>
                      </a:lnTo>
                      <a:lnTo>
                        <a:pt x="61" y="92"/>
                      </a:lnTo>
                      <a:lnTo>
                        <a:pt x="56" y="93"/>
                      </a:lnTo>
                      <a:lnTo>
                        <a:pt x="50" y="96"/>
                      </a:lnTo>
                      <a:lnTo>
                        <a:pt x="46" y="96"/>
                      </a:lnTo>
                      <a:lnTo>
                        <a:pt x="41" y="94"/>
                      </a:lnTo>
                      <a:lnTo>
                        <a:pt x="37" y="94"/>
                      </a:lnTo>
                      <a:lnTo>
                        <a:pt x="36" y="96"/>
                      </a:lnTo>
                      <a:lnTo>
                        <a:pt x="34" y="97"/>
                      </a:lnTo>
                      <a:lnTo>
                        <a:pt x="33" y="98"/>
                      </a:lnTo>
                      <a:lnTo>
                        <a:pt x="34" y="100"/>
                      </a:lnTo>
                      <a:lnTo>
                        <a:pt x="37" y="104"/>
                      </a:lnTo>
                      <a:lnTo>
                        <a:pt x="38" y="106"/>
                      </a:lnTo>
                      <a:lnTo>
                        <a:pt x="42" y="107"/>
                      </a:lnTo>
                      <a:lnTo>
                        <a:pt x="45" y="107"/>
                      </a:lnTo>
                      <a:lnTo>
                        <a:pt x="46" y="109"/>
                      </a:lnTo>
                      <a:lnTo>
                        <a:pt x="51" y="115"/>
                      </a:lnTo>
                      <a:lnTo>
                        <a:pt x="57" y="119"/>
                      </a:lnTo>
                      <a:lnTo>
                        <a:pt x="65" y="121"/>
                      </a:lnTo>
                      <a:lnTo>
                        <a:pt x="72" y="121"/>
                      </a:lnTo>
                      <a:lnTo>
                        <a:pt x="78" y="123"/>
                      </a:lnTo>
                      <a:lnTo>
                        <a:pt x="86" y="124"/>
                      </a:lnTo>
                      <a:lnTo>
                        <a:pt x="90" y="124"/>
                      </a:lnTo>
                      <a:lnTo>
                        <a:pt x="94" y="126"/>
                      </a:lnTo>
                      <a:lnTo>
                        <a:pt x="95" y="128"/>
                      </a:lnTo>
                      <a:lnTo>
                        <a:pt x="95" y="130"/>
                      </a:lnTo>
                      <a:lnTo>
                        <a:pt x="93" y="135"/>
                      </a:lnTo>
                      <a:lnTo>
                        <a:pt x="92" y="137"/>
                      </a:lnTo>
                      <a:lnTo>
                        <a:pt x="93" y="138"/>
                      </a:lnTo>
                      <a:lnTo>
                        <a:pt x="93" y="139"/>
                      </a:lnTo>
                      <a:lnTo>
                        <a:pt x="94" y="141"/>
                      </a:lnTo>
                      <a:lnTo>
                        <a:pt x="108" y="142"/>
                      </a:lnTo>
                      <a:lnTo>
                        <a:pt x="121" y="143"/>
                      </a:lnTo>
                      <a:lnTo>
                        <a:pt x="125" y="143"/>
                      </a:lnTo>
                      <a:lnTo>
                        <a:pt x="128" y="14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2" name="Freeform 976"/>
                <p:cNvSpPr>
                  <a:spLocks/>
                </p:cNvSpPr>
                <p:nvPr/>
              </p:nvSpPr>
              <p:spPr bwMode="auto">
                <a:xfrm>
                  <a:off x="1853799" y="1987150"/>
                  <a:ext cx="256018" cy="122829"/>
                </a:xfrm>
                <a:custGeom>
                  <a:avLst/>
                  <a:gdLst>
                    <a:gd name="T0" fmla="*/ 2147483647 w 187"/>
                    <a:gd name="T1" fmla="*/ 2147483647 h 83"/>
                    <a:gd name="T2" fmla="*/ 2147483647 w 187"/>
                    <a:gd name="T3" fmla="*/ 2147483647 h 83"/>
                    <a:gd name="T4" fmla="*/ 2147483647 w 187"/>
                    <a:gd name="T5" fmla="*/ 2147483647 h 83"/>
                    <a:gd name="T6" fmla="*/ 2147483647 w 187"/>
                    <a:gd name="T7" fmla="*/ 2147483647 h 83"/>
                    <a:gd name="T8" fmla="*/ 2147483647 w 187"/>
                    <a:gd name="T9" fmla="*/ 2147483647 h 83"/>
                    <a:gd name="T10" fmla="*/ 2147483647 w 187"/>
                    <a:gd name="T11" fmla="*/ 2147483647 h 83"/>
                    <a:gd name="T12" fmla="*/ 2147483647 w 187"/>
                    <a:gd name="T13" fmla="*/ 2147483647 h 83"/>
                    <a:gd name="T14" fmla="*/ 2147483647 w 187"/>
                    <a:gd name="T15" fmla="*/ 2147483647 h 83"/>
                    <a:gd name="T16" fmla="*/ 2147483647 w 187"/>
                    <a:gd name="T17" fmla="*/ 2147483647 h 83"/>
                    <a:gd name="T18" fmla="*/ 2147483647 w 187"/>
                    <a:gd name="T19" fmla="*/ 2147483647 h 83"/>
                    <a:gd name="T20" fmla="*/ 2147483647 w 187"/>
                    <a:gd name="T21" fmla="*/ 2147483647 h 83"/>
                    <a:gd name="T22" fmla="*/ 2147483647 w 187"/>
                    <a:gd name="T23" fmla="*/ 2147483647 h 83"/>
                    <a:gd name="T24" fmla="*/ 2147483647 w 187"/>
                    <a:gd name="T25" fmla="*/ 2147483647 h 83"/>
                    <a:gd name="T26" fmla="*/ 2147483647 w 187"/>
                    <a:gd name="T27" fmla="*/ 2147483647 h 83"/>
                    <a:gd name="T28" fmla="*/ 2147483647 w 187"/>
                    <a:gd name="T29" fmla="*/ 2147483647 h 83"/>
                    <a:gd name="T30" fmla="*/ 2147483647 w 187"/>
                    <a:gd name="T31" fmla="*/ 2147483647 h 83"/>
                    <a:gd name="T32" fmla="*/ 2147483647 w 187"/>
                    <a:gd name="T33" fmla="*/ 2147483647 h 83"/>
                    <a:gd name="T34" fmla="*/ 2147483647 w 187"/>
                    <a:gd name="T35" fmla="*/ 2147483647 h 83"/>
                    <a:gd name="T36" fmla="*/ 2147483647 w 187"/>
                    <a:gd name="T37" fmla="*/ 2147483647 h 83"/>
                    <a:gd name="T38" fmla="*/ 2147483647 w 187"/>
                    <a:gd name="T39" fmla="*/ 2147483647 h 83"/>
                    <a:gd name="T40" fmla="*/ 2147483647 w 187"/>
                    <a:gd name="T41" fmla="*/ 2147483647 h 83"/>
                    <a:gd name="T42" fmla="*/ 2147483647 w 187"/>
                    <a:gd name="T43" fmla="*/ 2147483647 h 83"/>
                    <a:gd name="T44" fmla="*/ 2147483647 w 187"/>
                    <a:gd name="T45" fmla="*/ 2147483647 h 83"/>
                    <a:gd name="T46" fmla="*/ 0 w 187"/>
                    <a:gd name="T47" fmla="*/ 2147483647 h 83"/>
                    <a:gd name="T48" fmla="*/ 2147483647 w 187"/>
                    <a:gd name="T49" fmla="*/ 2147483647 h 83"/>
                    <a:gd name="T50" fmla="*/ 2147483647 w 187"/>
                    <a:gd name="T51" fmla="*/ 2147483647 h 83"/>
                    <a:gd name="T52" fmla="*/ 2147483647 w 187"/>
                    <a:gd name="T53" fmla="*/ 2147483647 h 83"/>
                    <a:gd name="T54" fmla="*/ 2147483647 w 187"/>
                    <a:gd name="T55" fmla="*/ 2147483647 h 83"/>
                    <a:gd name="T56" fmla="*/ 2147483647 w 187"/>
                    <a:gd name="T57" fmla="*/ 2147483647 h 83"/>
                    <a:gd name="T58" fmla="*/ 2147483647 w 187"/>
                    <a:gd name="T59" fmla="*/ 2147483647 h 83"/>
                    <a:gd name="T60" fmla="*/ 2147483647 w 187"/>
                    <a:gd name="T61" fmla="*/ 2147483647 h 83"/>
                    <a:gd name="T62" fmla="*/ 2147483647 w 187"/>
                    <a:gd name="T63" fmla="*/ 2147483647 h 83"/>
                    <a:gd name="T64" fmla="*/ 2147483647 w 187"/>
                    <a:gd name="T65" fmla="*/ 2147483647 h 83"/>
                    <a:gd name="T66" fmla="*/ 2147483647 w 187"/>
                    <a:gd name="T67" fmla="*/ 2147483647 h 83"/>
                    <a:gd name="T68" fmla="*/ 2147483647 w 187"/>
                    <a:gd name="T69" fmla="*/ 2147483647 h 83"/>
                    <a:gd name="T70" fmla="*/ 2147483647 w 187"/>
                    <a:gd name="T71" fmla="*/ 2147483647 h 83"/>
                    <a:gd name="T72" fmla="*/ 2147483647 w 187"/>
                    <a:gd name="T73" fmla="*/ 2147483647 h 83"/>
                    <a:gd name="T74" fmla="*/ 2147483647 w 187"/>
                    <a:gd name="T75" fmla="*/ 2147483647 h 83"/>
                    <a:gd name="T76" fmla="*/ 2147483647 w 187"/>
                    <a:gd name="T77" fmla="*/ 2147483647 h 83"/>
                    <a:gd name="T78" fmla="*/ 2147483647 w 187"/>
                    <a:gd name="T79" fmla="*/ 2147483647 h 83"/>
                    <a:gd name="T80" fmla="*/ 2147483647 w 187"/>
                    <a:gd name="T81" fmla="*/ 2147483647 h 83"/>
                    <a:gd name="T82" fmla="*/ 2147483647 w 187"/>
                    <a:gd name="T83" fmla="*/ 2147483647 h 83"/>
                    <a:gd name="T84" fmla="*/ 2147483647 w 187"/>
                    <a:gd name="T85" fmla="*/ 2147483647 h 83"/>
                    <a:gd name="T86" fmla="*/ 2147483647 w 187"/>
                    <a:gd name="T87" fmla="*/ 0 h 83"/>
                    <a:gd name="T88" fmla="*/ 2147483647 w 187"/>
                    <a:gd name="T89" fmla="*/ 2147483647 h 83"/>
                    <a:gd name="T90" fmla="*/ 2147483647 w 187"/>
                    <a:gd name="T91" fmla="*/ 2147483647 h 83"/>
                    <a:gd name="T92" fmla="*/ 2147483647 w 187"/>
                    <a:gd name="T93" fmla="*/ 2147483647 h 83"/>
                    <a:gd name="T94" fmla="*/ 2147483647 w 187"/>
                    <a:gd name="T95" fmla="*/ 2147483647 h 83"/>
                    <a:gd name="T96" fmla="*/ 2147483647 w 187"/>
                    <a:gd name="T97" fmla="*/ 2147483647 h 83"/>
                    <a:gd name="T98" fmla="*/ 2147483647 w 187"/>
                    <a:gd name="T99" fmla="*/ 2147483647 h 83"/>
                    <a:gd name="T100" fmla="*/ 2147483647 w 187"/>
                    <a:gd name="T101" fmla="*/ 2147483647 h 83"/>
                    <a:gd name="T102" fmla="*/ 2147483647 w 187"/>
                    <a:gd name="T103" fmla="*/ 2147483647 h 83"/>
                    <a:gd name="T104" fmla="*/ 2147483647 w 187"/>
                    <a:gd name="T105" fmla="*/ 2147483647 h 83"/>
                    <a:gd name="T106" fmla="*/ 2147483647 w 187"/>
                    <a:gd name="T107" fmla="*/ 2147483647 h 83"/>
                    <a:gd name="T108" fmla="*/ 2147483647 w 187"/>
                    <a:gd name="T109" fmla="*/ 2147483647 h 83"/>
                    <a:gd name="T110" fmla="*/ 2147483647 w 187"/>
                    <a:gd name="T111" fmla="*/ 2147483647 h 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7"/>
                    <a:gd name="T169" fmla="*/ 0 h 83"/>
                    <a:gd name="T170" fmla="*/ 187 w 187"/>
                    <a:gd name="T171" fmla="*/ 83 h 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7" h="83">
                      <a:moveTo>
                        <a:pt x="177" y="69"/>
                      </a:moveTo>
                      <a:lnTo>
                        <a:pt x="174" y="72"/>
                      </a:lnTo>
                      <a:lnTo>
                        <a:pt x="172" y="73"/>
                      </a:lnTo>
                      <a:lnTo>
                        <a:pt x="162" y="70"/>
                      </a:lnTo>
                      <a:lnTo>
                        <a:pt x="152" y="69"/>
                      </a:lnTo>
                      <a:lnTo>
                        <a:pt x="141" y="70"/>
                      </a:lnTo>
                      <a:lnTo>
                        <a:pt x="138" y="72"/>
                      </a:lnTo>
                      <a:lnTo>
                        <a:pt x="133" y="74"/>
                      </a:lnTo>
                      <a:lnTo>
                        <a:pt x="129" y="75"/>
                      </a:lnTo>
                      <a:lnTo>
                        <a:pt x="124" y="76"/>
                      </a:lnTo>
                      <a:lnTo>
                        <a:pt x="120" y="77"/>
                      </a:lnTo>
                      <a:lnTo>
                        <a:pt x="115" y="75"/>
                      </a:lnTo>
                      <a:lnTo>
                        <a:pt x="112" y="74"/>
                      </a:lnTo>
                      <a:lnTo>
                        <a:pt x="110" y="74"/>
                      </a:lnTo>
                      <a:lnTo>
                        <a:pt x="105" y="75"/>
                      </a:lnTo>
                      <a:lnTo>
                        <a:pt x="101" y="77"/>
                      </a:lnTo>
                      <a:lnTo>
                        <a:pt x="97" y="81"/>
                      </a:lnTo>
                      <a:lnTo>
                        <a:pt x="93" y="83"/>
                      </a:lnTo>
                      <a:lnTo>
                        <a:pt x="89" y="83"/>
                      </a:lnTo>
                      <a:lnTo>
                        <a:pt x="75" y="81"/>
                      </a:lnTo>
                      <a:lnTo>
                        <a:pt x="69" y="80"/>
                      </a:lnTo>
                      <a:lnTo>
                        <a:pt x="61" y="79"/>
                      </a:lnTo>
                      <a:lnTo>
                        <a:pt x="60" y="79"/>
                      </a:lnTo>
                      <a:lnTo>
                        <a:pt x="60" y="76"/>
                      </a:lnTo>
                      <a:lnTo>
                        <a:pt x="60" y="73"/>
                      </a:lnTo>
                      <a:lnTo>
                        <a:pt x="61" y="70"/>
                      </a:lnTo>
                      <a:lnTo>
                        <a:pt x="63" y="70"/>
                      </a:lnTo>
                      <a:lnTo>
                        <a:pt x="64" y="70"/>
                      </a:lnTo>
                      <a:lnTo>
                        <a:pt x="68" y="72"/>
                      </a:lnTo>
                      <a:lnTo>
                        <a:pt x="73" y="72"/>
                      </a:lnTo>
                      <a:lnTo>
                        <a:pt x="77" y="70"/>
                      </a:lnTo>
                      <a:lnTo>
                        <a:pt x="86" y="63"/>
                      </a:lnTo>
                      <a:lnTo>
                        <a:pt x="91" y="61"/>
                      </a:lnTo>
                      <a:lnTo>
                        <a:pt x="96" y="59"/>
                      </a:lnTo>
                      <a:lnTo>
                        <a:pt x="97" y="57"/>
                      </a:lnTo>
                      <a:lnTo>
                        <a:pt x="97" y="56"/>
                      </a:lnTo>
                      <a:lnTo>
                        <a:pt x="97" y="55"/>
                      </a:lnTo>
                      <a:lnTo>
                        <a:pt x="96" y="54"/>
                      </a:lnTo>
                      <a:lnTo>
                        <a:pt x="92" y="55"/>
                      </a:lnTo>
                      <a:lnTo>
                        <a:pt x="88" y="56"/>
                      </a:lnTo>
                      <a:lnTo>
                        <a:pt x="78" y="59"/>
                      </a:lnTo>
                      <a:lnTo>
                        <a:pt x="73" y="60"/>
                      </a:lnTo>
                      <a:lnTo>
                        <a:pt x="68" y="61"/>
                      </a:lnTo>
                      <a:lnTo>
                        <a:pt x="67" y="61"/>
                      </a:lnTo>
                      <a:lnTo>
                        <a:pt x="64" y="61"/>
                      </a:lnTo>
                      <a:lnTo>
                        <a:pt x="61" y="60"/>
                      </a:lnTo>
                      <a:lnTo>
                        <a:pt x="60" y="59"/>
                      </a:lnTo>
                      <a:lnTo>
                        <a:pt x="59" y="55"/>
                      </a:lnTo>
                      <a:lnTo>
                        <a:pt x="58" y="53"/>
                      </a:lnTo>
                      <a:lnTo>
                        <a:pt x="56" y="53"/>
                      </a:lnTo>
                      <a:lnTo>
                        <a:pt x="54" y="54"/>
                      </a:lnTo>
                      <a:lnTo>
                        <a:pt x="53" y="56"/>
                      </a:lnTo>
                      <a:lnTo>
                        <a:pt x="49" y="61"/>
                      </a:lnTo>
                      <a:lnTo>
                        <a:pt x="47" y="63"/>
                      </a:lnTo>
                      <a:lnTo>
                        <a:pt x="46" y="66"/>
                      </a:lnTo>
                      <a:lnTo>
                        <a:pt x="44" y="66"/>
                      </a:lnTo>
                      <a:lnTo>
                        <a:pt x="41" y="64"/>
                      </a:lnTo>
                      <a:lnTo>
                        <a:pt x="39" y="63"/>
                      </a:lnTo>
                      <a:lnTo>
                        <a:pt x="36" y="62"/>
                      </a:lnTo>
                      <a:lnTo>
                        <a:pt x="32" y="63"/>
                      </a:lnTo>
                      <a:lnTo>
                        <a:pt x="28" y="64"/>
                      </a:lnTo>
                      <a:lnTo>
                        <a:pt x="23" y="64"/>
                      </a:lnTo>
                      <a:lnTo>
                        <a:pt x="22" y="64"/>
                      </a:lnTo>
                      <a:lnTo>
                        <a:pt x="22" y="63"/>
                      </a:lnTo>
                      <a:lnTo>
                        <a:pt x="20" y="61"/>
                      </a:lnTo>
                      <a:lnTo>
                        <a:pt x="18" y="60"/>
                      </a:lnTo>
                      <a:lnTo>
                        <a:pt x="16" y="60"/>
                      </a:lnTo>
                      <a:lnTo>
                        <a:pt x="12" y="61"/>
                      </a:lnTo>
                      <a:lnTo>
                        <a:pt x="7" y="62"/>
                      </a:lnTo>
                      <a:lnTo>
                        <a:pt x="3" y="62"/>
                      </a:lnTo>
                      <a:lnTo>
                        <a:pt x="2" y="61"/>
                      </a:lnTo>
                      <a:lnTo>
                        <a:pt x="0" y="59"/>
                      </a:lnTo>
                      <a:lnTo>
                        <a:pt x="0" y="57"/>
                      </a:lnTo>
                      <a:lnTo>
                        <a:pt x="0" y="55"/>
                      </a:lnTo>
                      <a:lnTo>
                        <a:pt x="3" y="51"/>
                      </a:lnTo>
                      <a:lnTo>
                        <a:pt x="6" y="50"/>
                      </a:lnTo>
                      <a:lnTo>
                        <a:pt x="8" y="50"/>
                      </a:lnTo>
                      <a:lnTo>
                        <a:pt x="8" y="45"/>
                      </a:lnTo>
                      <a:lnTo>
                        <a:pt x="11" y="43"/>
                      </a:lnTo>
                      <a:lnTo>
                        <a:pt x="18" y="40"/>
                      </a:lnTo>
                      <a:lnTo>
                        <a:pt x="18" y="38"/>
                      </a:lnTo>
                      <a:lnTo>
                        <a:pt x="18" y="36"/>
                      </a:lnTo>
                      <a:lnTo>
                        <a:pt x="17" y="34"/>
                      </a:lnTo>
                      <a:lnTo>
                        <a:pt x="16" y="32"/>
                      </a:lnTo>
                      <a:lnTo>
                        <a:pt x="17" y="30"/>
                      </a:lnTo>
                      <a:lnTo>
                        <a:pt x="20" y="26"/>
                      </a:lnTo>
                      <a:lnTo>
                        <a:pt x="28" y="22"/>
                      </a:lnTo>
                      <a:lnTo>
                        <a:pt x="37" y="17"/>
                      </a:lnTo>
                      <a:lnTo>
                        <a:pt x="44" y="16"/>
                      </a:lnTo>
                      <a:lnTo>
                        <a:pt x="50" y="17"/>
                      </a:lnTo>
                      <a:lnTo>
                        <a:pt x="55" y="19"/>
                      </a:lnTo>
                      <a:lnTo>
                        <a:pt x="67" y="25"/>
                      </a:lnTo>
                      <a:lnTo>
                        <a:pt x="72" y="29"/>
                      </a:lnTo>
                      <a:lnTo>
                        <a:pt x="77" y="34"/>
                      </a:lnTo>
                      <a:lnTo>
                        <a:pt x="79" y="37"/>
                      </a:lnTo>
                      <a:lnTo>
                        <a:pt x="83" y="38"/>
                      </a:lnTo>
                      <a:lnTo>
                        <a:pt x="86" y="38"/>
                      </a:lnTo>
                      <a:lnTo>
                        <a:pt x="88" y="38"/>
                      </a:lnTo>
                      <a:lnTo>
                        <a:pt x="91" y="38"/>
                      </a:lnTo>
                      <a:lnTo>
                        <a:pt x="92" y="40"/>
                      </a:lnTo>
                      <a:lnTo>
                        <a:pt x="97" y="44"/>
                      </a:lnTo>
                      <a:lnTo>
                        <a:pt x="101" y="48"/>
                      </a:lnTo>
                      <a:lnTo>
                        <a:pt x="106" y="49"/>
                      </a:lnTo>
                      <a:lnTo>
                        <a:pt x="108" y="49"/>
                      </a:lnTo>
                      <a:lnTo>
                        <a:pt x="112" y="49"/>
                      </a:lnTo>
                      <a:lnTo>
                        <a:pt x="117" y="47"/>
                      </a:lnTo>
                      <a:lnTo>
                        <a:pt x="122" y="48"/>
                      </a:lnTo>
                      <a:lnTo>
                        <a:pt x="127" y="49"/>
                      </a:lnTo>
                      <a:lnTo>
                        <a:pt x="133" y="50"/>
                      </a:lnTo>
                      <a:lnTo>
                        <a:pt x="135" y="50"/>
                      </a:lnTo>
                      <a:lnTo>
                        <a:pt x="138" y="50"/>
                      </a:lnTo>
                      <a:lnTo>
                        <a:pt x="139" y="49"/>
                      </a:lnTo>
                      <a:lnTo>
                        <a:pt x="139" y="47"/>
                      </a:lnTo>
                      <a:lnTo>
                        <a:pt x="139" y="44"/>
                      </a:lnTo>
                      <a:lnTo>
                        <a:pt x="138" y="42"/>
                      </a:lnTo>
                      <a:lnTo>
                        <a:pt x="134" y="40"/>
                      </a:lnTo>
                      <a:lnTo>
                        <a:pt x="133" y="38"/>
                      </a:lnTo>
                      <a:lnTo>
                        <a:pt x="131" y="37"/>
                      </a:lnTo>
                      <a:lnTo>
                        <a:pt x="131" y="35"/>
                      </a:lnTo>
                      <a:lnTo>
                        <a:pt x="135" y="32"/>
                      </a:lnTo>
                      <a:lnTo>
                        <a:pt x="135" y="31"/>
                      </a:lnTo>
                      <a:lnTo>
                        <a:pt x="135" y="29"/>
                      </a:lnTo>
                      <a:lnTo>
                        <a:pt x="133" y="26"/>
                      </a:lnTo>
                      <a:lnTo>
                        <a:pt x="130" y="24"/>
                      </a:lnTo>
                      <a:lnTo>
                        <a:pt x="124" y="21"/>
                      </a:lnTo>
                      <a:lnTo>
                        <a:pt x="124" y="19"/>
                      </a:lnTo>
                      <a:lnTo>
                        <a:pt x="122" y="19"/>
                      </a:lnTo>
                      <a:lnTo>
                        <a:pt x="133" y="12"/>
                      </a:lnTo>
                      <a:lnTo>
                        <a:pt x="135" y="9"/>
                      </a:lnTo>
                      <a:lnTo>
                        <a:pt x="138" y="3"/>
                      </a:lnTo>
                      <a:lnTo>
                        <a:pt x="139" y="0"/>
                      </a:lnTo>
                      <a:lnTo>
                        <a:pt x="140" y="0"/>
                      </a:lnTo>
                      <a:lnTo>
                        <a:pt x="141" y="0"/>
                      </a:lnTo>
                      <a:lnTo>
                        <a:pt x="144" y="4"/>
                      </a:lnTo>
                      <a:lnTo>
                        <a:pt x="145" y="9"/>
                      </a:lnTo>
                      <a:lnTo>
                        <a:pt x="148" y="15"/>
                      </a:lnTo>
                      <a:lnTo>
                        <a:pt x="148" y="18"/>
                      </a:lnTo>
                      <a:lnTo>
                        <a:pt x="147" y="22"/>
                      </a:lnTo>
                      <a:lnTo>
                        <a:pt x="147" y="24"/>
                      </a:lnTo>
                      <a:lnTo>
                        <a:pt x="148" y="25"/>
                      </a:lnTo>
                      <a:lnTo>
                        <a:pt x="152" y="29"/>
                      </a:lnTo>
                      <a:lnTo>
                        <a:pt x="152" y="30"/>
                      </a:lnTo>
                      <a:lnTo>
                        <a:pt x="150" y="31"/>
                      </a:lnTo>
                      <a:lnTo>
                        <a:pt x="149" y="35"/>
                      </a:lnTo>
                      <a:lnTo>
                        <a:pt x="149" y="36"/>
                      </a:lnTo>
                      <a:lnTo>
                        <a:pt x="150" y="37"/>
                      </a:lnTo>
                      <a:lnTo>
                        <a:pt x="152" y="40"/>
                      </a:lnTo>
                      <a:lnTo>
                        <a:pt x="159" y="34"/>
                      </a:lnTo>
                      <a:lnTo>
                        <a:pt x="163" y="31"/>
                      </a:lnTo>
                      <a:lnTo>
                        <a:pt x="164" y="31"/>
                      </a:lnTo>
                      <a:lnTo>
                        <a:pt x="167" y="31"/>
                      </a:lnTo>
                      <a:lnTo>
                        <a:pt x="168" y="32"/>
                      </a:lnTo>
                      <a:lnTo>
                        <a:pt x="167" y="35"/>
                      </a:lnTo>
                      <a:lnTo>
                        <a:pt x="164" y="40"/>
                      </a:lnTo>
                      <a:lnTo>
                        <a:pt x="166" y="41"/>
                      </a:lnTo>
                      <a:lnTo>
                        <a:pt x="167" y="43"/>
                      </a:lnTo>
                      <a:lnTo>
                        <a:pt x="168" y="44"/>
                      </a:lnTo>
                      <a:lnTo>
                        <a:pt x="169" y="43"/>
                      </a:lnTo>
                      <a:lnTo>
                        <a:pt x="173" y="40"/>
                      </a:lnTo>
                      <a:lnTo>
                        <a:pt x="174" y="35"/>
                      </a:lnTo>
                      <a:lnTo>
                        <a:pt x="174" y="31"/>
                      </a:lnTo>
                      <a:lnTo>
                        <a:pt x="177" y="30"/>
                      </a:lnTo>
                      <a:lnTo>
                        <a:pt x="181" y="30"/>
                      </a:lnTo>
                      <a:lnTo>
                        <a:pt x="183" y="31"/>
                      </a:lnTo>
                      <a:lnTo>
                        <a:pt x="186" y="35"/>
                      </a:lnTo>
                      <a:lnTo>
                        <a:pt x="187" y="38"/>
                      </a:lnTo>
                      <a:lnTo>
                        <a:pt x="186" y="47"/>
                      </a:lnTo>
                      <a:lnTo>
                        <a:pt x="185" y="56"/>
                      </a:lnTo>
                      <a:lnTo>
                        <a:pt x="181" y="62"/>
                      </a:lnTo>
                      <a:lnTo>
                        <a:pt x="177" y="6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3" name="Freeform 977"/>
                <p:cNvSpPr>
                  <a:spLocks/>
                </p:cNvSpPr>
                <p:nvPr/>
              </p:nvSpPr>
              <p:spPr bwMode="auto">
                <a:xfrm>
                  <a:off x="1818282" y="2157334"/>
                  <a:ext cx="421764" cy="213102"/>
                </a:xfrm>
                <a:custGeom>
                  <a:avLst/>
                  <a:gdLst>
                    <a:gd name="T0" fmla="*/ 2147483647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2147483647 h 144"/>
                    <a:gd name="T70" fmla="*/ 2147483647 w 308"/>
                    <a:gd name="T71" fmla="*/ 2147483647 h 144"/>
                    <a:gd name="T72" fmla="*/ 2147483647 w 308"/>
                    <a:gd name="T73" fmla="*/ 0 h 144"/>
                    <a:gd name="T74" fmla="*/ 2147483647 w 308"/>
                    <a:gd name="T75" fmla="*/ 2147483647 h 144"/>
                    <a:gd name="T76" fmla="*/ 2147483647 w 308"/>
                    <a:gd name="T77" fmla="*/ 2147483647 h 144"/>
                    <a:gd name="T78" fmla="*/ 2147483647 w 308"/>
                    <a:gd name="T79" fmla="*/ 2147483647 h 144"/>
                    <a:gd name="T80" fmla="*/ 2147483647 w 308"/>
                    <a:gd name="T81" fmla="*/ 2147483647 h 144"/>
                    <a:gd name="T82" fmla="*/ 2147483647 w 308"/>
                    <a:gd name="T83" fmla="*/ 2147483647 h 144"/>
                    <a:gd name="T84" fmla="*/ 2147483647 w 308"/>
                    <a:gd name="T85" fmla="*/ 2147483647 h 144"/>
                    <a:gd name="T86" fmla="*/ 2147483647 w 308"/>
                    <a:gd name="T87" fmla="*/ 2147483647 h 144"/>
                    <a:gd name="T88" fmla="*/ 2147483647 w 308"/>
                    <a:gd name="T89" fmla="*/ 2147483647 h 144"/>
                    <a:gd name="T90" fmla="*/ 2147483647 w 308"/>
                    <a:gd name="T91" fmla="*/ 2147483647 h 144"/>
                    <a:gd name="T92" fmla="*/ 2147483647 w 308"/>
                    <a:gd name="T93" fmla="*/ 2147483647 h 144"/>
                    <a:gd name="T94" fmla="*/ 2147483647 w 308"/>
                    <a:gd name="T95" fmla="*/ 2147483647 h 144"/>
                    <a:gd name="T96" fmla="*/ 2147483647 w 308"/>
                    <a:gd name="T97" fmla="*/ 2147483647 h 144"/>
                    <a:gd name="T98" fmla="*/ 2147483647 w 308"/>
                    <a:gd name="T99" fmla="*/ 2147483647 h 144"/>
                    <a:gd name="T100" fmla="*/ 2147483647 w 308"/>
                    <a:gd name="T101" fmla="*/ 2147483647 h 144"/>
                    <a:gd name="T102" fmla="*/ 2147483647 w 308"/>
                    <a:gd name="T103" fmla="*/ 2147483647 h 144"/>
                    <a:gd name="T104" fmla="*/ 2147483647 w 308"/>
                    <a:gd name="T105" fmla="*/ 2147483647 h 144"/>
                    <a:gd name="T106" fmla="*/ 2147483647 w 308"/>
                    <a:gd name="T107" fmla="*/ 2147483647 h 144"/>
                    <a:gd name="T108" fmla="*/ 2147483647 w 308"/>
                    <a:gd name="T109" fmla="*/ 2147483647 h 144"/>
                    <a:gd name="T110" fmla="*/ 2147483647 w 308"/>
                    <a:gd name="T111" fmla="*/ 2147483647 h 144"/>
                    <a:gd name="T112" fmla="*/ 2147483647 w 308"/>
                    <a:gd name="T113" fmla="*/ 2147483647 h 144"/>
                    <a:gd name="T114" fmla="*/ 2147483647 w 308"/>
                    <a:gd name="T115" fmla="*/ 2147483647 h 144"/>
                    <a:gd name="T116" fmla="*/ 2147483647 w 308"/>
                    <a:gd name="T117" fmla="*/ 2147483647 h 144"/>
                    <a:gd name="T118" fmla="*/ 2147483647 w 308"/>
                    <a:gd name="T119" fmla="*/ 2147483647 h 144"/>
                    <a:gd name="T120" fmla="*/ 2147483647 w 308"/>
                    <a:gd name="T121" fmla="*/ 2147483647 h 1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8"/>
                    <a:gd name="T184" fmla="*/ 0 h 144"/>
                    <a:gd name="T185" fmla="*/ 308 w 308"/>
                    <a:gd name="T186" fmla="*/ 144 h 1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8" h="144">
                      <a:moveTo>
                        <a:pt x="128" y="143"/>
                      </a:moveTo>
                      <a:lnTo>
                        <a:pt x="128" y="143"/>
                      </a:lnTo>
                      <a:lnTo>
                        <a:pt x="138" y="138"/>
                      </a:lnTo>
                      <a:lnTo>
                        <a:pt x="142" y="137"/>
                      </a:lnTo>
                      <a:lnTo>
                        <a:pt x="147" y="137"/>
                      </a:lnTo>
                      <a:lnTo>
                        <a:pt x="156" y="138"/>
                      </a:lnTo>
                      <a:lnTo>
                        <a:pt x="164" y="138"/>
                      </a:lnTo>
                      <a:lnTo>
                        <a:pt x="171" y="134"/>
                      </a:lnTo>
                      <a:lnTo>
                        <a:pt x="179" y="130"/>
                      </a:lnTo>
                      <a:lnTo>
                        <a:pt x="184" y="127"/>
                      </a:lnTo>
                      <a:lnTo>
                        <a:pt x="189" y="126"/>
                      </a:lnTo>
                      <a:lnTo>
                        <a:pt x="195" y="125"/>
                      </a:lnTo>
                      <a:lnTo>
                        <a:pt x="200" y="123"/>
                      </a:lnTo>
                      <a:lnTo>
                        <a:pt x="203" y="121"/>
                      </a:lnTo>
                      <a:lnTo>
                        <a:pt x="206" y="121"/>
                      </a:lnTo>
                      <a:lnTo>
                        <a:pt x="212" y="121"/>
                      </a:lnTo>
                      <a:lnTo>
                        <a:pt x="221" y="123"/>
                      </a:lnTo>
                      <a:lnTo>
                        <a:pt x="231" y="124"/>
                      </a:lnTo>
                      <a:lnTo>
                        <a:pt x="232" y="125"/>
                      </a:lnTo>
                      <a:lnTo>
                        <a:pt x="233" y="127"/>
                      </a:lnTo>
                      <a:lnTo>
                        <a:pt x="235" y="130"/>
                      </a:lnTo>
                      <a:lnTo>
                        <a:pt x="236" y="131"/>
                      </a:lnTo>
                      <a:lnTo>
                        <a:pt x="246" y="134"/>
                      </a:lnTo>
                      <a:lnTo>
                        <a:pt x="255" y="136"/>
                      </a:lnTo>
                      <a:lnTo>
                        <a:pt x="265" y="134"/>
                      </a:lnTo>
                      <a:lnTo>
                        <a:pt x="274" y="132"/>
                      </a:lnTo>
                      <a:lnTo>
                        <a:pt x="279" y="128"/>
                      </a:lnTo>
                      <a:lnTo>
                        <a:pt x="284" y="123"/>
                      </a:lnTo>
                      <a:lnTo>
                        <a:pt x="284" y="120"/>
                      </a:lnTo>
                      <a:lnTo>
                        <a:pt x="284" y="119"/>
                      </a:lnTo>
                      <a:lnTo>
                        <a:pt x="280" y="115"/>
                      </a:lnTo>
                      <a:lnTo>
                        <a:pt x="275" y="114"/>
                      </a:lnTo>
                      <a:lnTo>
                        <a:pt x="270" y="113"/>
                      </a:lnTo>
                      <a:lnTo>
                        <a:pt x="264" y="112"/>
                      </a:lnTo>
                      <a:lnTo>
                        <a:pt x="263" y="112"/>
                      </a:lnTo>
                      <a:lnTo>
                        <a:pt x="261" y="111"/>
                      </a:lnTo>
                      <a:lnTo>
                        <a:pt x="260" y="109"/>
                      </a:lnTo>
                      <a:lnTo>
                        <a:pt x="260" y="107"/>
                      </a:lnTo>
                      <a:lnTo>
                        <a:pt x="261" y="106"/>
                      </a:lnTo>
                      <a:lnTo>
                        <a:pt x="263" y="105"/>
                      </a:lnTo>
                      <a:lnTo>
                        <a:pt x="264" y="106"/>
                      </a:lnTo>
                      <a:lnTo>
                        <a:pt x="269" y="107"/>
                      </a:lnTo>
                      <a:lnTo>
                        <a:pt x="273" y="107"/>
                      </a:lnTo>
                      <a:lnTo>
                        <a:pt x="277" y="106"/>
                      </a:lnTo>
                      <a:lnTo>
                        <a:pt x="280" y="104"/>
                      </a:lnTo>
                      <a:lnTo>
                        <a:pt x="283" y="102"/>
                      </a:lnTo>
                      <a:lnTo>
                        <a:pt x="284" y="104"/>
                      </a:lnTo>
                      <a:lnTo>
                        <a:pt x="291" y="106"/>
                      </a:lnTo>
                      <a:lnTo>
                        <a:pt x="297" y="108"/>
                      </a:lnTo>
                      <a:lnTo>
                        <a:pt x="300" y="111"/>
                      </a:lnTo>
                      <a:lnTo>
                        <a:pt x="303" y="112"/>
                      </a:lnTo>
                      <a:lnTo>
                        <a:pt x="303" y="104"/>
                      </a:lnTo>
                      <a:lnTo>
                        <a:pt x="305" y="100"/>
                      </a:lnTo>
                      <a:lnTo>
                        <a:pt x="307" y="95"/>
                      </a:lnTo>
                      <a:lnTo>
                        <a:pt x="308" y="94"/>
                      </a:lnTo>
                      <a:lnTo>
                        <a:pt x="308" y="93"/>
                      </a:lnTo>
                      <a:lnTo>
                        <a:pt x="307" y="92"/>
                      </a:lnTo>
                      <a:lnTo>
                        <a:pt x="306" y="92"/>
                      </a:lnTo>
                      <a:lnTo>
                        <a:pt x="296" y="93"/>
                      </a:lnTo>
                      <a:lnTo>
                        <a:pt x="292" y="92"/>
                      </a:lnTo>
                      <a:lnTo>
                        <a:pt x="288" y="91"/>
                      </a:lnTo>
                      <a:lnTo>
                        <a:pt x="284" y="87"/>
                      </a:lnTo>
                      <a:lnTo>
                        <a:pt x="282" y="83"/>
                      </a:lnTo>
                      <a:lnTo>
                        <a:pt x="279" y="80"/>
                      </a:lnTo>
                      <a:lnTo>
                        <a:pt x="277" y="76"/>
                      </a:lnTo>
                      <a:lnTo>
                        <a:pt x="274" y="75"/>
                      </a:lnTo>
                      <a:lnTo>
                        <a:pt x="272" y="75"/>
                      </a:lnTo>
                      <a:lnTo>
                        <a:pt x="266" y="74"/>
                      </a:lnTo>
                      <a:lnTo>
                        <a:pt x="260" y="70"/>
                      </a:lnTo>
                      <a:lnTo>
                        <a:pt x="255" y="67"/>
                      </a:lnTo>
                      <a:lnTo>
                        <a:pt x="254" y="66"/>
                      </a:lnTo>
                      <a:lnTo>
                        <a:pt x="253" y="66"/>
                      </a:lnTo>
                      <a:lnTo>
                        <a:pt x="250" y="67"/>
                      </a:lnTo>
                      <a:lnTo>
                        <a:pt x="247" y="66"/>
                      </a:lnTo>
                      <a:lnTo>
                        <a:pt x="246" y="64"/>
                      </a:lnTo>
                      <a:lnTo>
                        <a:pt x="246" y="60"/>
                      </a:lnTo>
                      <a:lnTo>
                        <a:pt x="245" y="56"/>
                      </a:lnTo>
                      <a:lnTo>
                        <a:pt x="244" y="55"/>
                      </a:lnTo>
                      <a:lnTo>
                        <a:pt x="241" y="53"/>
                      </a:lnTo>
                      <a:lnTo>
                        <a:pt x="239" y="51"/>
                      </a:lnTo>
                      <a:lnTo>
                        <a:pt x="237" y="50"/>
                      </a:lnTo>
                      <a:lnTo>
                        <a:pt x="237" y="48"/>
                      </a:lnTo>
                      <a:lnTo>
                        <a:pt x="239" y="47"/>
                      </a:lnTo>
                      <a:lnTo>
                        <a:pt x="239" y="44"/>
                      </a:lnTo>
                      <a:lnTo>
                        <a:pt x="239" y="43"/>
                      </a:lnTo>
                      <a:lnTo>
                        <a:pt x="233" y="37"/>
                      </a:lnTo>
                      <a:lnTo>
                        <a:pt x="231" y="35"/>
                      </a:lnTo>
                      <a:lnTo>
                        <a:pt x="228" y="32"/>
                      </a:lnTo>
                      <a:lnTo>
                        <a:pt x="223" y="31"/>
                      </a:lnTo>
                      <a:lnTo>
                        <a:pt x="221" y="29"/>
                      </a:lnTo>
                      <a:lnTo>
                        <a:pt x="220" y="28"/>
                      </a:lnTo>
                      <a:lnTo>
                        <a:pt x="220" y="25"/>
                      </a:lnTo>
                      <a:lnTo>
                        <a:pt x="220" y="22"/>
                      </a:lnTo>
                      <a:lnTo>
                        <a:pt x="220" y="18"/>
                      </a:lnTo>
                      <a:lnTo>
                        <a:pt x="220" y="16"/>
                      </a:lnTo>
                      <a:lnTo>
                        <a:pt x="216" y="13"/>
                      </a:lnTo>
                      <a:lnTo>
                        <a:pt x="209" y="11"/>
                      </a:lnTo>
                      <a:lnTo>
                        <a:pt x="203" y="11"/>
                      </a:lnTo>
                      <a:lnTo>
                        <a:pt x="199" y="12"/>
                      </a:lnTo>
                      <a:lnTo>
                        <a:pt x="197" y="13"/>
                      </a:lnTo>
                      <a:lnTo>
                        <a:pt x="195" y="16"/>
                      </a:lnTo>
                      <a:lnTo>
                        <a:pt x="194" y="19"/>
                      </a:lnTo>
                      <a:lnTo>
                        <a:pt x="195" y="26"/>
                      </a:lnTo>
                      <a:lnTo>
                        <a:pt x="200" y="43"/>
                      </a:lnTo>
                      <a:lnTo>
                        <a:pt x="203" y="51"/>
                      </a:lnTo>
                      <a:lnTo>
                        <a:pt x="202" y="56"/>
                      </a:lnTo>
                      <a:lnTo>
                        <a:pt x="200" y="60"/>
                      </a:lnTo>
                      <a:lnTo>
                        <a:pt x="200" y="62"/>
                      </a:lnTo>
                      <a:lnTo>
                        <a:pt x="198" y="63"/>
                      </a:lnTo>
                      <a:lnTo>
                        <a:pt x="195" y="63"/>
                      </a:lnTo>
                      <a:lnTo>
                        <a:pt x="194" y="63"/>
                      </a:lnTo>
                      <a:lnTo>
                        <a:pt x="192" y="61"/>
                      </a:lnTo>
                      <a:lnTo>
                        <a:pt x="189" y="59"/>
                      </a:lnTo>
                      <a:lnTo>
                        <a:pt x="189" y="51"/>
                      </a:lnTo>
                      <a:lnTo>
                        <a:pt x="189" y="45"/>
                      </a:lnTo>
                      <a:lnTo>
                        <a:pt x="188" y="42"/>
                      </a:lnTo>
                      <a:lnTo>
                        <a:pt x="186" y="40"/>
                      </a:lnTo>
                      <a:lnTo>
                        <a:pt x="179" y="31"/>
                      </a:lnTo>
                      <a:lnTo>
                        <a:pt x="175" y="28"/>
                      </a:lnTo>
                      <a:lnTo>
                        <a:pt x="173" y="24"/>
                      </a:lnTo>
                      <a:lnTo>
                        <a:pt x="170" y="22"/>
                      </a:lnTo>
                      <a:lnTo>
                        <a:pt x="167" y="22"/>
                      </a:lnTo>
                      <a:lnTo>
                        <a:pt x="165" y="22"/>
                      </a:lnTo>
                      <a:lnTo>
                        <a:pt x="164" y="24"/>
                      </a:lnTo>
                      <a:lnTo>
                        <a:pt x="162" y="30"/>
                      </a:lnTo>
                      <a:lnTo>
                        <a:pt x="161" y="31"/>
                      </a:lnTo>
                      <a:lnTo>
                        <a:pt x="159" y="32"/>
                      </a:lnTo>
                      <a:lnTo>
                        <a:pt x="150" y="32"/>
                      </a:lnTo>
                      <a:lnTo>
                        <a:pt x="142" y="35"/>
                      </a:lnTo>
                      <a:lnTo>
                        <a:pt x="138" y="35"/>
                      </a:lnTo>
                      <a:lnTo>
                        <a:pt x="134" y="35"/>
                      </a:lnTo>
                      <a:lnTo>
                        <a:pt x="131" y="34"/>
                      </a:lnTo>
                      <a:lnTo>
                        <a:pt x="129" y="32"/>
                      </a:lnTo>
                      <a:lnTo>
                        <a:pt x="129" y="31"/>
                      </a:lnTo>
                      <a:lnTo>
                        <a:pt x="131" y="29"/>
                      </a:lnTo>
                      <a:lnTo>
                        <a:pt x="133" y="26"/>
                      </a:lnTo>
                      <a:lnTo>
                        <a:pt x="136" y="24"/>
                      </a:lnTo>
                      <a:lnTo>
                        <a:pt x="137" y="23"/>
                      </a:lnTo>
                      <a:lnTo>
                        <a:pt x="136" y="22"/>
                      </a:lnTo>
                      <a:lnTo>
                        <a:pt x="133" y="19"/>
                      </a:lnTo>
                      <a:lnTo>
                        <a:pt x="129" y="16"/>
                      </a:lnTo>
                      <a:lnTo>
                        <a:pt x="122" y="11"/>
                      </a:lnTo>
                      <a:lnTo>
                        <a:pt x="119" y="10"/>
                      </a:lnTo>
                      <a:lnTo>
                        <a:pt x="117" y="10"/>
                      </a:lnTo>
                      <a:lnTo>
                        <a:pt x="110" y="9"/>
                      </a:lnTo>
                      <a:lnTo>
                        <a:pt x="108" y="8"/>
                      </a:lnTo>
                      <a:lnTo>
                        <a:pt x="106" y="6"/>
                      </a:lnTo>
                      <a:lnTo>
                        <a:pt x="104" y="4"/>
                      </a:lnTo>
                      <a:lnTo>
                        <a:pt x="100" y="4"/>
                      </a:lnTo>
                      <a:lnTo>
                        <a:pt x="98" y="4"/>
                      </a:lnTo>
                      <a:lnTo>
                        <a:pt x="91" y="5"/>
                      </a:lnTo>
                      <a:lnTo>
                        <a:pt x="90" y="6"/>
                      </a:lnTo>
                      <a:lnTo>
                        <a:pt x="89" y="9"/>
                      </a:lnTo>
                      <a:lnTo>
                        <a:pt x="89" y="13"/>
                      </a:lnTo>
                      <a:lnTo>
                        <a:pt x="89" y="18"/>
                      </a:lnTo>
                      <a:lnTo>
                        <a:pt x="87" y="19"/>
                      </a:lnTo>
                      <a:lnTo>
                        <a:pt x="85" y="22"/>
                      </a:lnTo>
                      <a:lnTo>
                        <a:pt x="84" y="21"/>
                      </a:lnTo>
                      <a:lnTo>
                        <a:pt x="80" y="19"/>
                      </a:lnTo>
                      <a:lnTo>
                        <a:pt x="76" y="21"/>
                      </a:lnTo>
                      <a:lnTo>
                        <a:pt x="73" y="21"/>
                      </a:lnTo>
                      <a:lnTo>
                        <a:pt x="71" y="21"/>
                      </a:lnTo>
                      <a:lnTo>
                        <a:pt x="71" y="19"/>
                      </a:lnTo>
                      <a:lnTo>
                        <a:pt x="71" y="18"/>
                      </a:lnTo>
                      <a:lnTo>
                        <a:pt x="73" y="16"/>
                      </a:lnTo>
                      <a:lnTo>
                        <a:pt x="75" y="12"/>
                      </a:lnTo>
                      <a:lnTo>
                        <a:pt x="75" y="9"/>
                      </a:lnTo>
                      <a:lnTo>
                        <a:pt x="73" y="6"/>
                      </a:lnTo>
                      <a:lnTo>
                        <a:pt x="68" y="2"/>
                      </a:lnTo>
                      <a:lnTo>
                        <a:pt x="66" y="0"/>
                      </a:lnTo>
                      <a:lnTo>
                        <a:pt x="63" y="0"/>
                      </a:lnTo>
                      <a:lnTo>
                        <a:pt x="61" y="2"/>
                      </a:lnTo>
                      <a:lnTo>
                        <a:pt x="58" y="4"/>
                      </a:lnTo>
                      <a:lnTo>
                        <a:pt x="56" y="5"/>
                      </a:lnTo>
                      <a:lnTo>
                        <a:pt x="53" y="6"/>
                      </a:lnTo>
                      <a:lnTo>
                        <a:pt x="44" y="9"/>
                      </a:lnTo>
                      <a:lnTo>
                        <a:pt x="37" y="11"/>
                      </a:lnTo>
                      <a:lnTo>
                        <a:pt x="28" y="15"/>
                      </a:lnTo>
                      <a:lnTo>
                        <a:pt x="21" y="21"/>
                      </a:lnTo>
                      <a:lnTo>
                        <a:pt x="18" y="25"/>
                      </a:lnTo>
                      <a:lnTo>
                        <a:pt x="15" y="31"/>
                      </a:lnTo>
                      <a:lnTo>
                        <a:pt x="11" y="37"/>
                      </a:lnTo>
                      <a:lnTo>
                        <a:pt x="9" y="38"/>
                      </a:lnTo>
                      <a:lnTo>
                        <a:pt x="5" y="41"/>
                      </a:lnTo>
                      <a:lnTo>
                        <a:pt x="2" y="42"/>
                      </a:lnTo>
                      <a:lnTo>
                        <a:pt x="1" y="44"/>
                      </a:lnTo>
                      <a:lnTo>
                        <a:pt x="0" y="47"/>
                      </a:lnTo>
                      <a:lnTo>
                        <a:pt x="1" y="49"/>
                      </a:lnTo>
                      <a:lnTo>
                        <a:pt x="2" y="50"/>
                      </a:lnTo>
                      <a:lnTo>
                        <a:pt x="4" y="50"/>
                      </a:lnTo>
                      <a:lnTo>
                        <a:pt x="7" y="50"/>
                      </a:lnTo>
                      <a:lnTo>
                        <a:pt x="13" y="50"/>
                      </a:lnTo>
                      <a:lnTo>
                        <a:pt x="14" y="50"/>
                      </a:lnTo>
                      <a:lnTo>
                        <a:pt x="15" y="51"/>
                      </a:lnTo>
                      <a:lnTo>
                        <a:pt x="18" y="53"/>
                      </a:lnTo>
                      <a:lnTo>
                        <a:pt x="20" y="54"/>
                      </a:lnTo>
                      <a:lnTo>
                        <a:pt x="25" y="53"/>
                      </a:lnTo>
                      <a:lnTo>
                        <a:pt x="39" y="53"/>
                      </a:lnTo>
                      <a:lnTo>
                        <a:pt x="52" y="53"/>
                      </a:lnTo>
                      <a:lnTo>
                        <a:pt x="56" y="54"/>
                      </a:lnTo>
                      <a:lnTo>
                        <a:pt x="60" y="56"/>
                      </a:lnTo>
                      <a:lnTo>
                        <a:pt x="61" y="60"/>
                      </a:lnTo>
                      <a:lnTo>
                        <a:pt x="62" y="62"/>
                      </a:lnTo>
                      <a:lnTo>
                        <a:pt x="61" y="64"/>
                      </a:lnTo>
                      <a:lnTo>
                        <a:pt x="60" y="64"/>
                      </a:lnTo>
                      <a:lnTo>
                        <a:pt x="58" y="66"/>
                      </a:lnTo>
                      <a:lnTo>
                        <a:pt x="56" y="64"/>
                      </a:lnTo>
                      <a:lnTo>
                        <a:pt x="51" y="62"/>
                      </a:lnTo>
                      <a:lnTo>
                        <a:pt x="48" y="61"/>
                      </a:lnTo>
                      <a:lnTo>
                        <a:pt x="46" y="62"/>
                      </a:lnTo>
                      <a:lnTo>
                        <a:pt x="34" y="66"/>
                      </a:lnTo>
                      <a:lnTo>
                        <a:pt x="29" y="67"/>
                      </a:lnTo>
                      <a:lnTo>
                        <a:pt x="24" y="66"/>
                      </a:lnTo>
                      <a:lnTo>
                        <a:pt x="23" y="63"/>
                      </a:lnTo>
                      <a:lnTo>
                        <a:pt x="20" y="63"/>
                      </a:lnTo>
                      <a:lnTo>
                        <a:pt x="18" y="63"/>
                      </a:lnTo>
                      <a:lnTo>
                        <a:pt x="16" y="63"/>
                      </a:lnTo>
                      <a:lnTo>
                        <a:pt x="15" y="66"/>
                      </a:lnTo>
                      <a:lnTo>
                        <a:pt x="15" y="68"/>
                      </a:lnTo>
                      <a:lnTo>
                        <a:pt x="15" y="70"/>
                      </a:lnTo>
                      <a:lnTo>
                        <a:pt x="25" y="76"/>
                      </a:lnTo>
                      <a:lnTo>
                        <a:pt x="34" y="82"/>
                      </a:lnTo>
                      <a:lnTo>
                        <a:pt x="44" y="81"/>
                      </a:lnTo>
                      <a:lnTo>
                        <a:pt x="62" y="80"/>
                      </a:lnTo>
                      <a:lnTo>
                        <a:pt x="86" y="76"/>
                      </a:lnTo>
                      <a:lnTo>
                        <a:pt x="91" y="76"/>
                      </a:lnTo>
                      <a:lnTo>
                        <a:pt x="95" y="76"/>
                      </a:lnTo>
                      <a:lnTo>
                        <a:pt x="104" y="79"/>
                      </a:lnTo>
                      <a:lnTo>
                        <a:pt x="112" y="82"/>
                      </a:lnTo>
                      <a:lnTo>
                        <a:pt x="120" y="85"/>
                      </a:lnTo>
                      <a:lnTo>
                        <a:pt x="126" y="85"/>
                      </a:lnTo>
                      <a:lnTo>
                        <a:pt x="128" y="85"/>
                      </a:lnTo>
                      <a:lnTo>
                        <a:pt x="131" y="86"/>
                      </a:lnTo>
                      <a:lnTo>
                        <a:pt x="133" y="87"/>
                      </a:lnTo>
                      <a:lnTo>
                        <a:pt x="133" y="88"/>
                      </a:lnTo>
                      <a:lnTo>
                        <a:pt x="133" y="89"/>
                      </a:lnTo>
                      <a:lnTo>
                        <a:pt x="122" y="92"/>
                      </a:lnTo>
                      <a:lnTo>
                        <a:pt x="117" y="94"/>
                      </a:lnTo>
                      <a:lnTo>
                        <a:pt x="112" y="98"/>
                      </a:lnTo>
                      <a:lnTo>
                        <a:pt x="110" y="98"/>
                      </a:lnTo>
                      <a:lnTo>
                        <a:pt x="109" y="98"/>
                      </a:lnTo>
                      <a:lnTo>
                        <a:pt x="105" y="95"/>
                      </a:lnTo>
                      <a:lnTo>
                        <a:pt x="100" y="93"/>
                      </a:lnTo>
                      <a:lnTo>
                        <a:pt x="90" y="93"/>
                      </a:lnTo>
                      <a:lnTo>
                        <a:pt x="79" y="93"/>
                      </a:lnTo>
                      <a:lnTo>
                        <a:pt x="75" y="94"/>
                      </a:lnTo>
                      <a:lnTo>
                        <a:pt x="70" y="94"/>
                      </a:lnTo>
                      <a:lnTo>
                        <a:pt x="66" y="94"/>
                      </a:lnTo>
                      <a:lnTo>
                        <a:pt x="61" y="93"/>
                      </a:lnTo>
                      <a:lnTo>
                        <a:pt x="56" y="94"/>
                      </a:lnTo>
                      <a:lnTo>
                        <a:pt x="49" y="96"/>
                      </a:lnTo>
                      <a:lnTo>
                        <a:pt x="46" y="96"/>
                      </a:lnTo>
                      <a:lnTo>
                        <a:pt x="40" y="95"/>
                      </a:lnTo>
                      <a:lnTo>
                        <a:pt x="37" y="95"/>
                      </a:lnTo>
                      <a:lnTo>
                        <a:pt x="35" y="96"/>
                      </a:lnTo>
                      <a:lnTo>
                        <a:pt x="34" y="98"/>
                      </a:lnTo>
                      <a:lnTo>
                        <a:pt x="33" y="99"/>
                      </a:lnTo>
                      <a:lnTo>
                        <a:pt x="34" y="101"/>
                      </a:lnTo>
                      <a:lnTo>
                        <a:pt x="37" y="105"/>
                      </a:lnTo>
                      <a:lnTo>
                        <a:pt x="38" y="107"/>
                      </a:lnTo>
                      <a:lnTo>
                        <a:pt x="42" y="108"/>
                      </a:lnTo>
                      <a:lnTo>
                        <a:pt x="44" y="108"/>
                      </a:lnTo>
                      <a:lnTo>
                        <a:pt x="46" y="109"/>
                      </a:lnTo>
                      <a:lnTo>
                        <a:pt x="51" y="115"/>
                      </a:lnTo>
                      <a:lnTo>
                        <a:pt x="57" y="120"/>
                      </a:lnTo>
                      <a:lnTo>
                        <a:pt x="65" y="121"/>
                      </a:lnTo>
                      <a:lnTo>
                        <a:pt x="72" y="121"/>
                      </a:lnTo>
                      <a:lnTo>
                        <a:pt x="77" y="124"/>
                      </a:lnTo>
                      <a:lnTo>
                        <a:pt x="86" y="125"/>
                      </a:lnTo>
                      <a:lnTo>
                        <a:pt x="90" y="125"/>
                      </a:lnTo>
                      <a:lnTo>
                        <a:pt x="94" y="127"/>
                      </a:lnTo>
                      <a:lnTo>
                        <a:pt x="95" y="128"/>
                      </a:lnTo>
                      <a:lnTo>
                        <a:pt x="95" y="131"/>
                      </a:lnTo>
                      <a:lnTo>
                        <a:pt x="93" y="136"/>
                      </a:lnTo>
                      <a:lnTo>
                        <a:pt x="91" y="138"/>
                      </a:lnTo>
                      <a:lnTo>
                        <a:pt x="93" y="139"/>
                      </a:lnTo>
                      <a:lnTo>
                        <a:pt x="93" y="140"/>
                      </a:lnTo>
                      <a:lnTo>
                        <a:pt x="94" y="141"/>
                      </a:lnTo>
                      <a:lnTo>
                        <a:pt x="108" y="143"/>
                      </a:lnTo>
                      <a:lnTo>
                        <a:pt x="120" y="144"/>
                      </a:lnTo>
                      <a:lnTo>
                        <a:pt x="124" y="144"/>
                      </a:lnTo>
                      <a:lnTo>
                        <a:pt x="128" y="14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4" name="Freeform 978"/>
                <p:cNvSpPr>
                  <a:spLocks/>
                </p:cNvSpPr>
                <p:nvPr/>
              </p:nvSpPr>
              <p:spPr bwMode="auto">
                <a:xfrm>
                  <a:off x="1853803" y="1985673"/>
                  <a:ext cx="254537" cy="122830"/>
                </a:xfrm>
                <a:custGeom>
                  <a:avLst/>
                  <a:gdLst>
                    <a:gd name="T0" fmla="*/ 2147483647 w 187"/>
                    <a:gd name="T1" fmla="*/ 2147483647 h 83"/>
                    <a:gd name="T2" fmla="*/ 2147483647 w 187"/>
                    <a:gd name="T3" fmla="*/ 2147483647 h 83"/>
                    <a:gd name="T4" fmla="*/ 2147483647 w 187"/>
                    <a:gd name="T5" fmla="*/ 2147483647 h 83"/>
                    <a:gd name="T6" fmla="*/ 2147483647 w 187"/>
                    <a:gd name="T7" fmla="*/ 2147483647 h 83"/>
                    <a:gd name="T8" fmla="*/ 2147483647 w 187"/>
                    <a:gd name="T9" fmla="*/ 2147483647 h 83"/>
                    <a:gd name="T10" fmla="*/ 2147483647 w 187"/>
                    <a:gd name="T11" fmla="*/ 2147483647 h 83"/>
                    <a:gd name="T12" fmla="*/ 2147483647 w 187"/>
                    <a:gd name="T13" fmla="*/ 2147483647 h 83"/>
                    <a:gd name="T14" fmla="*/ 2147483647 w 187"/>
                    <a:gd name="T15" fmla="*/ 2147483647 h 83"/>
                    <a:gd name="T16" fmla="*/ 2147483647 w 187"/>
                    <a:gd name="T17" fmla="*/ 2147483647 h 83"/>
                    <a:gd name="T18" fmla="*/ 2147483647 w 187"/>
                    <a:gd name="T19" fmla="*/ 2147483647 h 83"/>
                    <a:gd name="T20" fmla="*/ 2147483647 w 187"/>
                    <a:gd name="T21" fmla="*/ 2147483647 h 83"/>
                    <a:gd name="T22" fmla="*/ 2147483647 w 187"/>
                    <a:gd name="T23" fmla="*/ 2147483647 h 83"/>
                    <a:gd name="T24" fmla="*/ 2147483647 w 187"/>
                    <a:gd name="T25" fmla="*/ 2147483647 h 83"/>
                    <a:gd name="T26" fmla="*/ 2147483647 w 187"/>
                    <a:gd name="T27" fmla="*/ 2147483647 h 83"/>
                    <a:gd name="T28" fmla="*/ 2147483647 w 187"/>
                    <a:gd name="T29" fmla="*/ 2147483647 h 83"/>
                    <a:gd name="T30" fmla="*/ 2147483647 w 187"/>
                    <a:gd name="T31" fmla="*/ 2147483647 h 83"/>
                    <a:gd name="T32" fmla="*/ 2147483647 w 187"/>
                    <a:gd name="T33" fmla="*/ 2147483647 h 83"/>
                    <a:gd name="T34" fmla="*/ 2147483647 w 187"/>
                    <a:gd name="T35" fmla="*/ 2147483647 h 83"/>
                    <a:gd name="T36" fmla="*/ 2147483647 w 187"/>
                    <a:gd name="T37" fmla="*/ 2147483647 h 83"/>
                    <a:gd name="T38" fmla="*/ 2147483647 w 187"/>
                    <a:gd name="T39" fmla="*/ 2147483647 h 83"/>
                    <a:gd name="T40" fmla="*/ 2147483647 w 187"/>
                    <a:gd name="T41" fmla="*/ 2147483647 h 83"/>
                    <a:gd name="T42" fmla="*/ 2147483647 w 187"/>
                    <a:gd name="T43" fmla="*/ 2147483647 h 83"/>
                    <a:gd name="T44" fmla="*/ 0 w 187"/>
                    <a:gd name="T45" fmla="*/ 2147483647 h 83"/>
                    <a:gd name="T46" fmla="*/ 2147483647 w 187"/>
                    <a:gd name="T47" fmla="*/ 2147483647 h 83"/>
                    <a:gd name="T48" fmla="*/ 2147483647 w 187"/>
                    <a:gd name="T49" fmla="*/ 2147483647 h 83"/>
                    <a:gd name="T50" fmla="*/ 2147483647 w 187"/>
                    <a:gd name="T51" fmla="*/ 2147483647 h 83"/>
                    <a:gd name="T52" fmla="*/ 2147483647 w 187"/>
                    <a:gd name="T53" fmla="*/ 2147483647 h 83"/>
                    <a:gd name="T54" fmla="*/ 2147483647 w 187"/>
                    <a:gd name="T55" fmla="*/ 2147483647 h 83"/>
                    <a:gd name="T56" fmla="*/ 2147483647 w 187"/>
                    <a:gd name="T57" fmla="*/ 2147483647 h 83"/>
                    <a:gd name="T58" fmla="*/ 2147483647 w 187"/>
                    <a:gd name="T59" fmla="*/ 2147483647 h 83"/>
                    <a:gd name="T60" fmla="*/ 2147483647 w 187"/>
                    <a:gd name="T61" fmla="*/ 2147483647 h 83"/>
                    <a:gd name="T62" fmla="*/ 2147483647 w 187"/>
                    <a:gd name="T63" fmla="*/ 2147483647 h 83"/>
                    <a:gd name="T64" fmla="*/ 2147483647 w 187"/>
                    <a:gd name="T65" fmla="*/ 2147483647 h 83"/>
                    <a:gd name="T66" fmla="*/ 2147483647 w 187"/>
                    <a:gd name="T67" fmla="*/ 2147483647 h 83"/>
                    <a:gd name="T68" fmla="*/ 2147483647 w 187"/>
                    <a:gd name="T69" fmla="*/ 2147483647 h 83"/>
                    <a:gd name="T70" fmla="*/ 2147483647 w 187"/>
                    <a:gd name="T71" fmla="*/ 2147483647 h 83"/>
                    <a:gd name="T72" fmla="*/ 2147483647 w 187"/>
                    <a:gd name="T73" fmla="*/ 2147483647 h 83"/>
                    <a:gd name="T74" fmla="*/ 2147483647 w 187"/>
                    <a:gd name="T75" fmla="*/ 2147483647 h 83"/>
                    <a:gd name="T76" fmla="*/ 2147483647 w 187"/>
                    <a:gd name="T77" fmla="*/ 2147483647 h 83"/>
                    <a:gd name="T78" fmla="*/ 2147483647 w 187"/>
                    <a:gd name="T79" fmla="*/ 2147483647 h 83"/>
                    <a:gd name="T80" fmla="*/ 2147483647 w 187"/>
                    <a:gd name="T81" fmla="*/ 2147483647 h 83"/>
                    <a:gd name="T82" fmla="*/ 2147483647 w 187"/>
                    <a:gd name="T83" fmla="*/ 2147483647 h 83"/>
                    <a:gd name="T84" fmla="*/ 2147483647 w 187"/>
                    <a:gd name="T85" fmla="*/ 0 h 83"/>
                    <a:gd name="T86" fmla="*/ 2147483647 w 187"/>
                    <a:gd name="T87" fmla="*/ 2147483647 h 83"/>
                    <a:gd name="T88" fmla="*/ 2147483647 w 187"/>
                    <a:gd name="T89" fmla="*/ 2147483647 h 83"/>
                    <a:gd name="T90" fmla="*/ 2147483647 w 187"/>
                    <a:gd name="T91" fmla="*/ 2147483647 h 83"/>
                    <a:gd name="T92" fmla="*/ 2147483647 w 187"/>
                    <a:gd name="T93" fmla="*/ 2147483647 h 83"/>
                    <a:gd name="T94" fmla="*/ 2147483647 w 187"/>
                    <a:gd name="T95" fmla="*/ 2147483647 h 83"/>
                    <a:gd name="T96" fmla="*/ 2147483647 w 187"/>
                    <a:gd name="T97" fmla="*/ 2147483647 h 83"/>
                    <a:gd name="T98" fmla="*/ 2147483647 w 187"/>
                    <a:gd name="T99" fmla="*/ 2147483647 h 83"/>
                    <a:gd name="T100" fmla="*/ 2147483647 w 187"/>
                    <a:gd name="T101" fmla="*/ 2147483647 h 83"/>
                    <a:gd name="T102" fmla="*/ 2147483647 w 187"/>
                    <a:gd name="T103" fmla="*/ 2147483647 h 83"/>
                    <a:gd name="T104" fmla="*/ 2147483647 w 187"/>
                    <a:gd name="T105" fmla="*/ 2147483647 h 83"/>
                    <a:gd name="T106" fmla="*/ 2147483647 w 187"/>
                    <a:gd name="T107" fmla="*/ 2147483647 h 83"/>
                    <a:gd name="T108" fmla="*/ 2147483647 w 187"/>
                    <a:gd name="T109" fmla="*/ 2147483647 h 8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7"/>
                    <a:gd name="T166" fmla="*/ 0 h 83"/>
                    <a:gd name="T167" fmla="*/ 187 w 187"/>
                    <a:gd name="T168" fmla="*/ 83 h 8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7" h="83">
                      <a:moveTo>
                        <a:pt x="177" y="69"/>
                      </a:moveTo>
                      <a:lnTo>
                        <a:pt x="177" y="69"/>
                      </a:lnTo>
                      <a:lnTo>
                        <a:pt x="174" y="71"/>
                      </a:lnTo>
                      <a:lnTo>
                        <a:pt x="172" y="73"/>
                      </a:lnTo>
                      <a:lnTo>
                        <a:pt x="161" y="70"/>
                      </a:lnTo>
                      <a:lnTo>
                        <a:pt x="151" y="69"/>
                      </a:lnTo>
                      <a:lnTo>
                        <a:pt x="141" y="70"/>
                      </a:lnTo>
                      <a:lnTo>
                        <a:pt x="137" y="71"/>
                      </a:lnTo>
                      <a:lnTo>
                        <a:pt x="132" y="74"/>
                      </a:lnTo>
                      <a:lnTo>
                        <a:pt x="128" y="75"/>
                      </a:lnTo>
                      <a:lnTo>
                        <a:pt x="123" y="76"/>
                      </a:lnTo>
                      <a:lnTo>
                        <a:pt x="120" y="77"/>
                      </a:lnTo>
                      <a:lnTo>
                        <a:pt x="115" y="75"/>
                      </a:lnTo>
                      <a:lnTo>
                        <a:pt x="112" y="74"/>
                      </a:lnTo>
                      <a:lnTo>
                        <a:pt x="109" y="74"/>
                      </a:lnTo>
                      <a:lnTo>
                        <a:pt x="104" y="75"/>
                      </a:lnTo>
                      <a:lnTo>
                        <a:pt x="101" y="77"/>
                      </a:lnTo>
                      <a:lnTo>
                        <a:pt x="97" y="81"/>
                      </a:lnTo>
                      <a:lnTo>
                        <a:pt x="93" y="83"/>
                      </a:lnTo>
                      <a:lnTo>
                        <a:pt x="89" y="83"/>
                      </a:lnTo>
                      <a:lnTo>
                        <a:pt x="75" y="81"/>
                      </a:lnTo>
                      <a:lnTo>
                        <a:pt x="69" y="80"/>
                      </a:lnTo>
                      <a:lnTo>
                        <a:pt x="61" y="78"/>
                      </a:lnTo>
                      <a:lnTo>
                        <a:pt x="60" y="78"/>
                      </a:lnTo>
                      <a:lnTo>
                        <a:pt x="60" y="76"/>
                      </a:lnTo>
                      <a:lnTo>
                        <a:pt x="60" y="73"/>
                      </a:lnTo>
                      <a:lnTo>
                        <a:pt x="61" y="70"/>
                      </a:lnTo>
                      <a:lnTo>
                        <a:pt x="62" y="70"/>
                      </a:lnTo>
                      <a:lnTo>
                        <a:pt x="64" y="70"/>
                      </a:lnTo>
                      <a:lnTo>
                        <a:pt x="68" y="71"/>
                      </a:lnTo>
                      <a:lnTo>
                        <a:pt x="73" y="71"/>
                      </a:lnTo>
                      <a:lnTo>
                        <a:pt x="76" y="70"/>
                      </a:lnTo>
                      <a:lnTo>
                        <a:pt x="85" y="63"/>
                      </a:lnTo>
                      <a:lnTo>
                        <a:pt x="90" y="61"/>
                      </a:lnTo>
                      <a:lnTo>
                        <a:pt x="95" y="58"/>
                      </a:lnTo>
                      <a:lnTo>
                        <a:pt x="97" y="57"/>
                      </a:lnTo>
                      <a:lnTo>
                        <a:pt x="97" y="56"/>
                      </a:lnTo>
                      <a:lnTo>
                        <a:pt x="97" y="55"/>
                      </a:lnTo>
                      <a:lnTo>
                        <a:pt x="95" y="54"/>
                      </a:lnTo>
                      <a:lnTo>
                        <a:pt x="92" y="55"/>
                      </a:lnTo>
                      <a:lnTo>
                        <a:pt x="88" y="56"/>
                      </a:lnTo>
                      <a:lnTo>
                        <a:pt x="78" y="58"/>
                      </a:lnTo>
                      <a:lnTo>
                        <a:pt x="73" y="60"/>
                      </a:lnTo>
                      <a:lnTo>
                        <a:pt x="68" y="61"/>
                      </a:lnTo>
                      <a:lnTo>
                        <a:pt x="66" y="61"/>
                      </a:lnTo>
                      <a:lnTo>
                        <a:pt x="64" y="61"/>
                      </a:lnTo>
                      <a:lnTo>
                        <a:pt x="61" y="60"/>
                      </a:lnTo>
                      <a:lnTo>
                        <a:pt x="60" y="58"/>
                      </a:lnTo>
                      <a:lnTo>
                        <a:pt x="59" y="55"/>
                      </a:lnTo>
                      <a:lnTo>
                        <a:pt x="57" y="52"/>
                      </a:lnTo>
                      <a:lnTo>
                        <a:pt x="56" y="52"/>
                      </a:lnTo>
                      <a:lnTo>
                        <a:pt x="54" y="54"/>
                      </a:lnTo>
                      <a:lnTo>
                        <a:pt x="52" y="56"/>
                      </a:lnTo>
                      <a:lnTo>
                        <a:pt x="48" y="61"/>
                      </a:lnTo>
                      <a:lnTo>
                        <a:pt x="47" y="63"/>
                      </a:lnTo>
                      <a:lnTo>
                        <a:pt x="46" y="65"/>
                      </a:lnTo>
                      <a:lnTo>
                        <a:pt x="43" y="65"/>
                      </a:lnTo>
                      <a:lnTo>
                        <a:pt x="41" y="64"/>
                      </a:lnTo>
                      <a:lnTo>
                        <a:pt x="38" y="63"/>
                      </a:lnTo>
                      <a:lnTo>
                        <a:pt x="36" y="62"/>
                      </a:lnTo>
                      <a:lnTo>
                        <a:pt x="32" y="63"/>
                      </a:lnTo>
                      <a:lnTo>
                        <a:pt x="28" y="64"/>
                      </a:lnTo>
                      <a:lnTo>
                        <a:pt x="23" y="64"/>
                      </a:lnTo>
                      <a:lnTo>
                        <a:pt x="22" y="64"/>
                      </a:lnTo>
                      <a:lnTo>
                        <a:pt x="22" y="63"/>
                      </a:lnTo>
                      <a:lnTo>
                        <a:pt x="19" y="61"/>
                      </a:lnTo>
                      <a:lnTo>
                        <a:pt x="18" y="60"/>
                      </a:lnTo>
                      <a:lnTo>
                        <a:pt x="15" y="60"/>
                      </a:lnTo>
                      <a:lnTo>
                        <a:pt x="12" y="61"/>
                      </a:lnTo>
                      <a:lnTo>
                        <a:pt x="7" y="62"/>
                      </a:lnTo>
                      <a:lnTo>
                        <a:pt x="3" y="62"/>
                      </a:lnTo>
                      <a:lnTo>
                        <a:pt x="1" y="61"/>
                      </a:lnTo>
                      <a:lnTo>
                        <a:pt x="0" y="58"/>
                      </a:lnTo>
                      <a:lnTo>
                        <a:pt x="0" y="57"/>
                      </a:lnTo>
                      <a:lnTo>
                        <a:pt x="0" y="55"/>
                      </a:lnTo>
                      <a:lnTo>
                        <a:pt x="3" y="51"/>
                      </a:lnTo>
                      <a:lnTo>
                        <a:pt x="5" y="50"/>
                      </a:lnTo>
                      <a:lnTo>
                        <a:pt x="8" y="50"/>
                      </a:lnTo>
                      <a:lnTo>
                        <a:pt x="8" y="45"/>
                      </a:lnTo>
                      <a:lnTo>
                        <a:pt x="10" y="43"/>
                      </a:lnTo>
                      <a:lnTo>
                        <a:pt x="18" y="39"/>
                      </a:lnTo>
                      <a:lnTo>
                        <a:pt x="18" y="38"/>
                      </a:lnTo>
                      <a:lnTo>
                        <a:pt x="18" y="36"/>
                      </a:lnTo>
                      <a:lnTo>
                        <a:pt x="17" y="33"/>
                      </a:lnTo>
                      <a:lnTo>
                        <a:pt x="15" y="32"/>
                      </a:lnTo>
                      <a:lnTo>
                        <a:pt x="17" y="30"/>
                      </a:lnTo>
                      <a:lnTo>
                        <a:pt x="19" y="26"/>
                      </a:lnTo>
                      <a:lnTo>
                        <a:pt x="28" y="22"/>
                      </a:lnTo>
                      <a:lnTo>
                        <a:pt x="37" y="17"/>
                      </a:lnTo>
                      <a:lnTo>
                        <a:pt x="43" y="16"/>
                      </a:lnTo>
                      <a:lnTo>
                        <a:pt x="50" y="17"/>
                      </a:lnTo>
                      <a:lnTo>
                        <a:pt x="55" y="19"/>
                      </a:lnTo>
                      <a:lnTo>
                        <a:pt x="66" y="25"/>
                      </a:lnTo>
                      <a:lnTo>
                        <a:pt x="71" y="29"/>
                      </a:lnTo>
                      <a:lnTo>
                        <a:pt x="76" y="33"/>
                      </a:lnTo>
                      <a:lnTo>
                        <a:pt x="79" y="37"/>
                      </a:lnTo>
                      <a:lnTo>
                        <a:pt x="83" y="38"/>
                      </a:lnTo>
                      <a:lnTo>
                        <a:pt x="85" y="38"/>
                      </a:lnTo>
                      <a:lnTo>
                        <a:pt x="88" y="38"/>
                      </a:lnTo>
                      <a:lnTo>
                        <a:pt x="90" y="38"/>
                      </a:lnTo>
                      <a:lnTo>
                        <a:pt x="92" y="39"/>
                      </a:lnTo>
                      <a:lnTo>
                        <a:pt x="97" y="44"/>
                      </a:lnTo>
                      <a:lnTo>
                        <a:pt x="101" y="48"/>
                      </a:lnTo>
                      <a:lnTo>
                        <a:pt x="106" y="49"/>
                      </a:lnTo>
                      <a:lnTo>
                        <a:pt x="108" y="49"/>
                      </a:lnTo>
                      <a:lnTo>
                        <a:pt x="112" y="49"/>
                      </a:lnTo>
                      <a:lnTo>
                        <a:pt x="117" y="46"/>
                      </a:lnTo>
                      <a:lnTo>
                        <a:pt x="122" y="48"/>
                      </a:lnTo>
                      <a:lnTo>
                        <a:pt x="127" y="49"/>
                      </a:lnTo>
                      <a:lnTo>
                        <a:pt x="132" y="50"/>
                      </a:lnTo>
                      <a:lnTo>
                        <a:pt x="135" y="50"/>
                      </a:lnTo>
                      <a:lnTo>
                        <a:pt x="137" y="50"/>
                      </a:lnTo>
                      <a:lnTo>
                        <a:pt x="139" y="49"/>
                      </a:lnTo>
                      <a:lnTo>
                        <a:pt x="139" y="46"/>
                      </a:lnTo>
                      <a:lnTo>
                        <a:pt x="139" y="44"/>
                      </a:lnTo>
                      <a:lnTo>
                        <a:pt x="137" y="42"/>
                      </a:lnTo>
                      <a:lnTo>
                        <a:pt x="134" y="39"/>
                      </a:lnTo>
                      <a:lnTo>
                        <a:pt x="132" y="38"/>
                      </a:lnTo>
                      <a:lnTo>
                        <a:pt x="131" y="37"/>
                      </a:lnTo>
                      <a:lnTo>
                        <a:pt x="131" y="35"/>
                      </a:lnTo>
                      <a:lnTo>
                        <a:pt x="135" y="32"/>
                      </a:lnTo>
                      <a:lnTo>
                        <a:pt x="135" y="31"/>
                      </a:lnTo>
                      <a:lnTo>
                        <a:pt x="135" y="29"/>
                      </a:lnTo>
                      <a:lnTo>
                        <a:pt x="132" y="26"/>
                      </a:lnTo>
                      <a:lnTo>
                        <a:pt x="130" y="24"/>
                      </a:lnTo>
                      <a:lnTo>
                        <a:pt x="123" y="20"/>
                      </a:lnTo>
                      <a:lnTo>
                        <a:pt x="123" y="19"/>
                      </a:lnTo>
                      <a:lnTo>
                        <a:pt x="122" y="19"/>
                      </a:lnTo>
                      <a:lnTo>
                        <a:pt x="132" y="12"/>
                      </a:lnTo>
                      <a:lnTo>
                        <a:pt x="135" y="9"/>
                      </a:lnTo>
                      <a:lnTo>
                        <a:pt x="137" y="3"/>
                      </a:lnTo>
                      <a:lnTo>
                        <a:pt x="139" y="0"/>
                      </a:lnTo>
                      <a:lnTo>
                        <a:pt x="140" y="0"/>
                      </a:lnTo>
                      <a:lnTo>
                        <a:pt x="141" y="0"/>
                      </a:lnTo>
                      <a:lnTo>
                        <a:pt x="144" y="4"/>
                      </a:lnTo>
                      <a:lnTo>
                        <a:pt x="145" y="9"/>
                      </a:lnTo>
                      <a:lnTo>
                        <a:pt x="148" y="14"/>
                      </a:lnTo>
                      <a:lnTo>
                        <a:pt x="148" y="18"/>
                      </a:lnTo>
                      <a:lnTo>
                        <a:pt x="146" y="22"/>
                      </a:lnTo>
                      <a:lnTo>
                        <a:pt x="146" y="24"/>
                      </a:lnTo>
                      <a:lnTo>
                        <a:pt x="148" y="25"/>
                      </a:lnTo>
                      <a:lnTo>
                        <a:pt x="151" y="29"/>
                      </a:lnTo>
                      <a:lnTo>
                        <a:pt x="151" y="30"/>
                      </a:lnTo>
                      <a:lnTo>
                        <a:pt x="150" y="31"/>
                      </a:lnTo>
                      <a:lnTo>
                        <a:pt x="149" y="35"/>
                      </a:lnTo>
                      <a:lnTo>
                        <a:pt x="149" y="36"/>
                      </a:lnTo>
                      <a:lnTo>
                        <a:pt x="150" y="37"/>
                      </a:lnTo>
                      <a:lnTo>
                        <a:pt x="151" y="39"/>
                      </a:lnTo>
                      <a:lnTo>
                        <a:pt x="159" y="33"/>
                      </a:lnTo>
                      <a:lnTo>
                        <a:pt x="163" y="31"/>
                      </a:lnTo>
                      <a:lnTo>
                        <a:pt x="164" y="31"/>
                      </a:lnTo>
                      <a:lnTo>
                        <a:pt x="167" y="31"/>
                      </a:lnTo>
                      <a:lnTo>
                        <a:pt x="168" y="32"/>
                      </a:lnTo>
                      <a:lnTo>
                        <a:pt x="167" y="35"/>
                      </a:lnTo>
                      <a:lnTo>
                        <a:pt x="164" y="39"/>
                      </a:lnTo>
                      <a:lnTo>
                        <a:pt x="165" y="41"/>
                      </a:lnTo>
                      <a:lnTo>
                        <a:pt x="167" y="43"/>
                      </a:lnTo>
                      <a:lnTo>
                        <a:pt x="168" y="44"/>
                      </a:lnTo>
                      <a:lnTo>
                        <a:pt x="169" y="43"/>
                      </a:lnTo>
                      <a:lnTo>
                        <a:pt x="173" y="39"/>
                      </a:lnTo>
                      <a:lnTo>
                        <a:pt x="174" y="35"/>
                      </a:lnTo>
                      <a:lnTo>
                        <a:pt x="174" y="31"/>
                      </a:lnTo>
                      <a:lnTo>
                        <a:pt x="177" y="30"/>
                      </a:lnTo>
                      <a:lnTo>
                        <a:pt x="181" y="30"/>
                      </a:lnTo>
                      <a:lnTo>
                        <a:pt x="183" y="31"/>
                      </a:lnTo>
                      <a:lnTo>
                        <a:pt x="186" y="35"/>
                      </a:lnTo>
                      <a:lnTo>
                        <a:pt x="187" y="38"/>
                      </a:lnTo>
                      <a:lnTo>
                        <a:pt x="186" y="46"/>
                      </a:lnTo>
                      <a:lnTo>
                        <a:pt x="184" y="56"/>
                      </a:lnTo>
                      <a:lnTo>
                        <a:pt x="181" y="62"/>
                      </a:lnTo>
                      <a:lnTo>
                        <a:pt x="177" y="6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5" name="Freeform 979"/>
                <p:cNvSpPr>
                  <a:spLocks/>
                </p:cNvSpPr>
                <p:nvPr/>
              </p:nvSpPr>
              <p:spPr bwMode="auto">
                <a:xfrm>
                  <a:off x="1812363" y="2037468"/>
                  <a:ext cx="23678" cy="25157"/>
                </a:xfrm>
                <a:custGeom>
                  <a:avLst/>
                  <a:gdLst>
                    <a:gd name="T0" fmla="*/ 2147483647 w 18"/>
                    <a:gd name="T1" fmla="*/ 2147483647 h 17"/>
                    <a:gd name="T2" fmla="*/ 2147483647 w 18"/>
                    <a:gd name="T3" fmla="*/ 2147483647 h 17"/>
                    <a:gd name="T4" fmla="*/ 0 w 18"/>
                    <a:gd name="T5" fmla="*/ 2147483647 h 17"/>
                    <a:gd name="T6" fmla="*/ 0 w 18"/>
                    <a:gd name="T7" fmla="*/ 2147483647 h 17"/>
                    <a:gd name="T8" fmla="*/ 2147483647 w 18"/>
                    <a:gd name="T9" fmla="*/ 2147483647 h 17"/>
                    <a:gd name="T10" fmla="*/ 2147483647 w 18"/>
                    <a:gd name="T11" fmla="*/ 2147483647 h 17"/>
                    <a:gd name="T12" fmla="*/ 2147483647 w 18"/>
                    <a:gd name="T13" fmla="*/ 2147483647 h 17"/>
                    <a:gd name="T14" fmla="*/ 2147483647 w 18"/>
                    <a:gd name="T15" fmla="*/ 2147483647 h 17"/>
                    <a:gd name="T16" fmla="*/ 2147483647 w 18"/>
                    <a:gd name="T17" fmla="*/ 2147483647 h 17"/>
                    <a:gd name="T18" fmla="*/ 2147483647 w 18"/>
                    <a:gd name="T19" fmla="*/ 2147483647 h 17"/>
                    <a:gd name="T20" fmla="*/ 2147483647 w 18"/>
                    <a:gd name="T21" fmla="*/ 2147483647 h 17"/>
                    <a:gd name="T22" fmla="*/ 2147483647 w 18"/>
                    <a:gd name="T23" fmla="*/ 2147483647 h 17"/>
                    <a:gd name="T24" fmla="*/ 2147483647 w 18"/>
                    <a:gd name="T25" fmla="*/ 2147483647 h 17"/>
                    <a:gd name="T26" fmla="*/ 2147483647 w 18"/>
                    <a:gd name="T27" fmla="*/ 0 h 17"/>
                    <a:gd name="T28" fmla="*/ 2147483647 w 18"/>
                    <a:gd name="T29" fmla="*/ 2147483647 h 17"/>
                    <a:gd name="T30" fmla="*/ 2147483647 w 18"/>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7"/>
                    <a:gd name="T50" fmla="*/ 18 w 18"/>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7">
                      <a:moveTo>
                        <a:pt x="9" y="4"/>
                      </a:moveTo>
                      <a:lnTo>
                        <a:pt x="2" y="7"/>
                      </a:lnTo>
                      <a:lnTo>
                        <a:pt x="0" y="9"/>
                      </a:lnTo>
                      <a:lnTo>
                        <a:pt x="0" y="10"/>
                      </a:lnTo>
                      <a:lnTo>
                        <a:pt x="1" y="13"/>
                      </a:lnTo>
                      <a:lnTo>
                        <a:pt x="2" y="15"/>
                      </a:lnTo>
                      <a:lnTo>
                        <a:pt x="5" y="17"/>
                      </a:lnTo>
                      <a:lnTo>
                        <a:pt x="7" y="17"/>
                      </a:lnTo>
                      <a:lnTo>
                        <a:pt x="10" y="17"/>
                      </a:lnTo>
                      <a:lnTo>
                        <a:pt x="14" y="11"/>
                      </a:lnTo>
                      <a:lnTo>
                        <a:pt x="18" y="6"/>
                      </a:lnTo>
                      <a:lnTo>
                        <a:pt x="18" y="3"/>
                      </a:lnTo>
                      <a:lnTo>
                        <a:pt x="18" y="1"/>
                      </a:lnTo>
                      <a:lnTo>
                        <a:pt x="15" y="0"/>
                      </a:lnTo>
                      <a:lnTo>
                        <a:pt x="12" y="1"/>
                      </a:lnTo>
                      <a:lnTo>
                        <a:pt x="9"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6" name="Freeform 980"/>
                <p:cNvSpPr>
                  <a:spLocks/>
                </p:cNvSpPr>
                <p:nvPr/>
              </p:nvSpPr>
              <p:spPr bwMode="auto">
                <a:xfrm>
                  <a:off x="1702852" y="1944233"/>
                  <a:ext cx="180544" cy="105071"/>
                </a:xfrm>
                <a:custGeom>
                  <a:avLst/>
                  <a:gdLst>
                    <a:gd name="T0" fmla="*/ 2147483647 w 132"/>
                    <a:gd name="T1" fmla="*/ 2147483647 h 71"/>
                    <a:gd name="T2" fmla="*/ 2147483647 w 132"/>
                    <a:gd name="T3" fmla="*/ 2147483647 h 71"/>
                    <a:gd name="T4" fmla="*/ 2147483647 w 132"/>
                    <a:gd name="T5" fmla="*/ 0 h 71"/>
                    <a:gd name="T6" fmla="*/ 2147483647 w 132"/>
                    <a:gd name="T7" fmla="*/ 2147483647 h 71"/>
                    <a:gd name="T8" fmla="*/ 2147483647 w 132"/>
                    <a:gd name="T9" fmla="*/ 2147483647 h 71"/>
                    <a:gd name="T10" fmla="*/ 2147483647 w 132"/>
                    <a:gd name="T11" fmla="*/ 2147483647 h 71"/>
                    <a:gd name="T12" fmla="*/ 2147483647 w 132"/>
                    <a:gd name="T13" fmla="*/ 2147483647 h 71"/>
                    <a:gd name="T14" fmla="*/ 2147483647 w 132"/>
                    <a:gd name="T15" fmla="*/ 2147483647 h 71"/>
                    <a:gd name="T16" fmla="*/ 2147483647 w 132"/>
                    <a:gd name="T17" fmla="*/ 2147483647 h 71"/>
                    <a:gd name="T18" fmla="*/ 2147483647 w 132"/>
                    <a:gd name="T19" fmla="*/ 2147483647 h 71"/>
                    <a:gd name="T20" fmla="*/ 2147483647 w 132"/>
                    <a:gd name="T21" fmla="*/ 2147483647 h 71"/>
                    <a:gd name="T22" fmla="*/ 2147483647 w 132"/>
                    <a:gd name="T23" fmla="*/ 2147483647 h 71"/>
                    <a:gd name="T24" fmla="*/ 2147483647 w 132"/>
                    <a:gd name="T25" fmla="*/ 2147483647 h 71"/>
                    <a:gd name="T26" fmla="*/ 2147483647 w 132"/>
                    <a:gd name="T27" fmla="*/ 2147483647 h 71"/>
                    <a:gd name="T28" fmla="*/ 2147483647 w 132"/>
                    <a:gd name="T29" fmla="*/ 2147483647 h 71"/>
                    <a:gd name="T30" fmla="*/ 2147483647 w 132"/>
                    <a:gd name="T31" fmla="*/ 2147483647 h 71"/>
                    <a:gd name="T32" fmla="*/ 2147483647 w 132"/>
                    <a:gd name="T33" fmla="*/ 2147483647 h 71"/>
                    <a:gd name="T34" fmla="*/ 2147483647 w 132"/>
                    <a:gd name="T35" fmla="*/ 2147483647 h 71"/>
                    <a:gd name="T36" fmla="*/ 2147483647 w 132"/>
                    <a:gd name="T37" fmla="*/ 2147483647 h 71"/>
                    <a:gd name="T38" fmla="*/ 2147483647 w 132"/>
                    <a:gd name="T39" fmla="*/ 2147483647 h 71"/>
                    <a:gd name="T40" fmla="*/ 2147483647 w 132"/>
                    <a:gd name="T41" fmla="*/ 2147483647 h 71"/>
                    <a:gd name="T42" fmla="*/ 2147483647 w 132"/>
                    <a:gd name="T43" fmla="*/ 2147483647 h 71"/>
                    <a:gd name="T44" fmla="*/ 2147483647 w 132"/>
                    <a:gd name="T45" fmla="*/ 2147483647 h 71"/>
                    <a:gd name="T46" fmla="*/ 2147483647 w 132"/>
                    <a:gd name="T47" fmla="*/ 2147483647 h 71"/>
                    <a:gd name="T48" fmla="*/ 0 w 132"/>
                    <a:gd name="T49" fmla="*/ 2147483647 h 71"/>
                    <a:gd name="T50" fmla="*/ 2147483647 w 132"/>
                    <a:gd name="T51" fmla="*/ 2147483647 h 71"/>
                    <a:gd name="T52" fmla="*/ 2147483647 w 132"/>
                    <a:gd name="T53" fmla="*/ 2147483647 h 71"/>
                    <a:gd name="T54" fmla="*/ 2147483647 w 132"/>
                    <a:gd name="T55" fmla="*/ 2147483647 h 71"/>
                    <a:gd name="T56" fmla="*/ 2147483647 w 132"/>
                    <a:gd name="T57" fmla="*/ 2147483647 h 71"/>
                    <a:gd name="T58" fmla="*/ 2147483647 w 132"/>
                    <a:gd name="T59" fmla="*/ 2147483647 h 71"/>
                    <a:gd name="T60" fmla="*/ 2147483647 w 132"/>
                    <a:gd name="T61" fmla="*/ 2147483647 h 71"/>
                    <a:gd name="T62" fmla="*/ 2147483647 w 132"/>
                    <a:gd name="T63" fmla="*/ 2147483647 h 71"/>
                    <a:gd name="T64" fmla="*/ 2147483647 w 132"/>
                    <a:gd name="T65" fmla="*/ 2147483647 h 71"/>
                    <a:gd name="T66" fmla="*/ 2147483647 w 132"/>
                    <a:gd name="T67" fmla="*/ 2147483647 h 71"/>
                    <a:gd name="T68" fmla="*/ 2147483647 w 132"/>
                    <a:gd name="T69" fmla="*/ 2147483647 h 71"/>
                    <a:gd name="T70" fmla="*/ 2147483647 w 132"/>
                    <a:gd name="T71" fmla="*/ 2147483647 h 71"/>
                    <a:gd name="T72" fmla="*/ 2147483647 w 132"/>
                    <a:gd name="T73" fmla="*/ 2147483647 h 71"/>
                    <a:gd name="T74" fmla="*/ 2147483647 w 132"/>
                    <a:gd name="T75" fmla="*/ 2147483647 h 71"/>
                    <a:gd name="T76" fmla="*/ 2147483647 w 132"/>
                    <a:gd name="T77" fmla="*/ 2147483647 h 71"/>
                    <a:gd name="T78" fmla="*/ 2147483647 w 132"/>
                    <a:gd name="T79" fmla="*/ 2147483647 h 71"/>
                    <a:gd name="T80" fmla="*/ 2147483647 w 132"/>
                    <a:gd name="T81" fmla="*/ 2147483647 h 71"/>
                    <a:gd name="T82" fmla="*/ 2147483647 w 132"/>
                    <a:gd name="T83" fmla="*/ 2147483647 h 71"/>
                    <a:gd name="T84" fmla="*/ 2147483647 w 132"/>
                    <a:gd name="T85" fmla="*/ 2147483647 h 71"/>
                    <a:gd name="T86" fmla="*/ 2147483647 w 132"/>
                    <a:gd name="T87" fmla="*/ 2147483647 h 71"/>
                    <a:gd name="T88" fmla="*/ 2147483647 w 132"/>
                    <a:gd name="T89" fmla="*/ 2147483647 h 71"/>
                    <a:gd name="T90" fmla="*/ 2147483647 w 132"/>
                    <a:gd name="T91" fmla="*/ 2147483647 h 71"/>
                    <a:gd name="T92" fmla="*/ 2147483647 w 132"/>
                    <a:gd name="T93" fmla="*/ 2147483647 h 71"/>
                    <a:gd name="T94" fmla="*/ 2147483647 w 132"/>
                    <a:gd name="T95" fmla="*/ 2147483647 h 71"/>
                    <a:gd name="T96" fmla="*/ 2147483647 w 132"/>
                    <a:gd name="T97" fmla="*/ 2147483647 h 71"/>
                    <a:gd name="T98" fmla="*/ 2147483647 w 132"/>
                    <a:gd name="T99" fmla="*/ 2147483647 h 71"/>
                    <a:gd name="T100" fmla="*/ 2147483647 w 132"/>
                    <a:gd name="T101" fmla="*/ 2147483647 h 71"/>
                    <a:gd name="T102" fmla="*/ 2147483647 w 132"/>
                    <a:gd name="T103" fmla="*/ 2147483647 h 71"/>
                    <a:gd name="T104" fmla="*/ 2147483647 w 132"/>
                    <a:gd name="T105" fmla="*/ 2147483647 h 71"/>
                    <a:gd name="T106" fmla="*/ 2147483647 w 132"/>
                    <a:gd name="T107" fmla="*/ 2147483647 h 71"/>
                    <a:gd name="T108" fmla="*/ 2147483647 w 132"/>
                    <a:gd name="T109" fmla="*/ 2147483647 h 71"/>
                    <a:gd name="T110" fmla="*/ 2147483647 w 132"/>
                    <a:gd name="T111" fmla="*/ 2147483647 h 71"/>
                    <a:gd name="T112" fmla="*/ 2147483647 w 132"/>
                    <a:gd name="T113" fmla="*/ 2147483647 h 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71"/>
                    <a:gd name="T173" fmla="*/ 132 w 132"/>
                    <a:gd name="T174" fmla="*/ 71 h 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71">
                      <a:moveTo>
                        <a:pt x="127" y="19"/>
                      </a:moveTo>
                      <a:lnTo>
                        <a:pt x="125" y="12"/>
                      </a:lnTo>
                      <a:lnTo>
                        <a:pt x="123" y="6"/>
                      </a:lnTo>
                      <a:lnTo>
                        <a:pt x="122" y="3"/>
                      </a:lnTo>
                      <a:lnTo>
                        <a:pt x="119" y="1"/>
                      </a:lnTo>
                      <a:lnTo>
                        <a:pt x="117" y="0"/>
                      </a:lnTo>
                      <a:lnTo>
                        <a:pt x="114" y="1"/>
                      </a:lnTo>
                      <a:lnTo>
                        <a:pt x="114" y="2"/>
                      </a:lnTo>
                      <a:lnTo>
                        <a:pt x="115" y="5"/>
                      </a:lnTo>
                      <a:lnTo>
                        <a:pt x="117" y="7"/>
                      </a:lnTo>
                      <a:lnTo>
                        <a:pt x="117" y="9"/>
                      </a:lnTo>
                      <a:lnTo>
                        <a:pt x="115" y="10"/>
                      </a:lnTo>
                      <a:lnTo>
                        <a:pt x="111" y="10"/>
                      </a:lnTo>
                      <a:lnTo>
                        <a:pt x="110" y="9"/>
                      </a:lnTo>
                      <a:lnTo>
                        <a:pt x="109" y="7"/>
                      </a:lnTo>
                      <a:lnTo>
                        <a:pt x="106" y="5"/>
                      </a:lnTo>
                      <a:lnTo>
                        <a:pt x="104" y="5"/>
                      </a:lnTo>
                      <a:lnTo>
                        <a:pt x="101" y="5"/>
                      </a:lnTo>
                      <a:lnTo>
                        <a:pt x="100" y="7"/>
                      </a:lnTo>
                      <a:lnTo>
                        <a:pt x="99" y="8"/>
                      </a:lnTo>
                      <a:lnTo>
                        <a:pt x="99" y="10"/>
                      </a:lnTo>
                      <a:lnTo>
                        <a:pt x="98" y="12"/>
                      </a:lnTo>
                      <a:lnTo>
                        <a:pt x="92" y="12"/>
                      </a:lnTo>
                      <a:lnTo>
                        <a:pt x="87" y="10"/>
                      </a:lnTo>
                      <a:lnTo>
                        <a:pt x="82" y="9"/>
                      </a:lnTo>
                      <a:lnTo>
                        <a:pt x="80" y="10"/>
                      </a:lnTo>
                      <a:lnTo>
                        <a:pt x="77" y="12"/>
                      </a:lnTo>
                      <a:lnTo>
                        <a:pt x="76" y="14"/>
                      </a:lnTo>
                      <a:lnTo>
                        <a:pt x="68" y="18"/>
                      </a:lnTo>
                      <a:lnTo>
                        <a:pt x="62" y="21"/>
                      </a:lnTo>
                      <a:lnTo>
                        <a:pt x="56" y="25"/>
                      </a:lnTo>
                      <a:lnTo>
                        <a:pt x="54" y="27"/>
                      </a:lnTo>
                      <a:lnTo>
                        <a:pt x="53" y="31"/>
                      </a:lnTo>
                      <a:lnTo>
                        <a:pt x="51" y="33"/>
                      </a:lnTo>
                      <a:lnTo>
                        <a:pt x="47" y="33"/>
                      </a:lnTo>
                      <a:lnTo>
                        <a:pt x="45" y="33"/>
                      </a:lnTo>
                      <a:lnTo>
                        <a:pt x="44" y="34"/>
                      </a:lnTo>
                      <a:lnTo>
                        <a:pt x="38" y="39"/>
                      </a:lnTo>
                      <a:lnTo>
                        <a:pt x="34" y="41"/>
                      </a:lnTo>
                      <a:lnTo>
                        <a:pt x="29" y="42"/>
                      </a:lnTo>
                      <a:lnTo>
                        <a:pt x="28" y="44"/>
                      </a:lnTo>
                      <a:lnTo>
                        <a:pt x="28" y="45"/>
                      </a:lnTo>
                      <a:lnTo>
                        <a:pt x="26" y="47"/>
                      </a:lnTo>
                      <a:lnTo>
                        <a:pt x="25" y="48"/>
                      </a:lnTo>
                      <a:lnTo>
                        <a:pt x="19" y="48"/>
                      </a:lnTo>
                      <a:lnTo>
                        <a:pt x="14" y="48"/>
                      </a:lnTo>
                      <a:lnTo>
                        <a:pt x="9" y="48"/>
                      </a:lnTo>
                      <a:lnTo>
                        <a:pt x="5" y="51"/>
                      </a:lnTo>
                      <a:lnTo>
                        <a:pt x="1" y="54"/>
                      </a:lnTo>
                      <a:lnTo>
                        <a:pt x="0" y="57"/>
                      </a:lnTo>
                      <a:lnTo>
                        <a:pt x="2" y="58"/>
                      </a:lnTo>
                      <a:lnTo>
                        <a:pt x="5" y="59"/>
                      </a:lnTo>
                      <a:lnTo>
                        <a:pt x="7" y="59"/>
                      </a:lnTo>
                      <a:lnTo>
                        <a:pt x="9" y="60"/>
                      </a:lnTo>
                      <a:lnTo>
                        <a:pt x="9" y="64"/>
                      </a:lnTo>
                      <a:lnTo>
                        <a:pt x="9" y="69"/>
                      </a:lnTo>
                      <a:lnTo>
                        <a:pt x="9" y="70"/>
                      </a:lnTo>
                      <a:lnTo>
                        <a:pt x="10" y="71"/>
                      </a:lnTo>
                      <a:lnTo>
                        <a:pt x="12" y="71"/>
                      </a:lnTo>
                      <a:lnTo>
                        <a:pt x="14" y="71"/>
                      </a:lnTo>
                      <a:lnTo>
                        <a:pt x="21" y="67"/>
                      </a:lnTo>
                      <a:lnTo>
                        <a:pt x="24" y="66"/>
                      </a:lnTo>
                      <a:lnTo>
                        <a:pt x="28" y="66"/>
                      </a:lnTo>
                      <a:lnTo>
                        <a:pt x="33" y="69"/>
                      </a:lnTo>
                      <a:lnTo>
                        <a:pt x="35" y="69"/>
                      </a:lnTo>
                      <a:lnTo>
                        <a:pt x="38" y="67"/>
                      </a:lnTo>
                      <a:lnTo>
                        <a:pt x="38" y="65"/>
                      </a:lnTo>
                      <a:lnTo>
                        <a:pt x="39" y="63"/>
                      </a:lnTo>
                      <a:lnTo>
                        <a:pt x="38" y="60"/>
                      </a:lnTo>
                      <a:lnTo>
                        <a:pt x="39" y="58"/>
                      </a:lnTo>
                      <a:lnTo>
                        <a:pt x="42" y="58"/>
                      </a:lnTo>
                      <a:lnTo>
                        <a:pt x="43" y="58"/>
                      </a:lnTo>
                      <a:lnTo>
                        <a:pt x="45" y="55"/>
                      </a:lnTo>
                      <a:lnTo>
                        <a:pt x="48" y="52"/>
                      </a:lnTo>
                      <a:lnTo>
                        <a:pt x="51" y="48"/>
                      </a:lnTo>
                      <a:lnTo>
                        <a:pt x="52" y="50"/>
                      </a:lnTo>
                      <a:lnTo>
                        <a:pt x="52" y="52"/>
                      </a:lnTo>
                      <a:lnTo>
                        <a:pt x="52" y="58"/>
                      </a:lnTo>
                      <a:lnTo>
                        <a:pt x="53" y="64"/>
                      </a:lnTo>
                      <a:lnTo>
                        <a:pt x="56" y="66"/>
                      </a:lnTo>
                      <a:lnTo>
                        <a:pt x="58" y="69"/>
                      </a:lnTo>
                      <a:lnTo>
                        <a:pt x="61" y="70"/>
                      </a:lnTo>
                      <a:lnTo>
                        <a:pt x="65" y="70"/>
                      </a:lnTo>
                      <a:lnTo>
                        <a:pt x="67" y="70"/>
                      </a:lnTo>
                      <a:lnTo>
                        <a:pt x="68" y="69"/>
                      </a:lnTo>
                      <a:lnTo>
                        <a:pt x="71" y="66"/>
                      </a:lnTo>
                      <a:lnTo>
                        <a:pt x="71" y="64"/>
                      </a:lnTo>
                      <a:lnTo>
                        <a:pt x="70" y="60"/>
                      </a:lnTo>
                      <a:lnTo>
                        <a:pt x="70" y="58"/>
                      </a:lnTo>
                      <a:lnTo>
                        <a:pt x="70" y="57"/>
                      </a:lnTo>
                      <a:lnTo>
                        <a:pt x="84" y="41"/>
                      </a:lnTo>
                      <a:lnTo>
                        <a:pt x="98" y="27"/>
                      </a:lnTo>
                      <a:lnTo>
                        <a:pt x="99" y="29"/>
                      </a:lnTo>
                      <a:lnTo>
                        <a:pt x="99" y="33"/>
                      </a:lnTo>
                      <a:lnTo>
                        <a:pt x="96" y="38"/>
                      </a:lnTo>
                      <a:lnTo>
                        <a:pt x="96" y="42"/>
                      </a:lnTo>
                      <a:lnTo>
                        <a:pt x="98" y="53"/>
                      </a:lnTo>
                      <a:lnTo>
                        <a:pt x="99" y="55"/>
                      </a:lnTo>
                      <a:lnTo>
                        <a:pt x="100" y="57"/>
                      </a:lnTo>
                      <a:lnTo>
                        <a:pt x="103" y="58"/>
                      </a:lnTo>
                      <a:lnTo>
                        <a:pt x="104" y="57"/>
                      </a:lnTo>
                      <a:lnTo>
                        <a:pt x="106" y="52"/>
                      </a:lnTo>
                      <a:lnTo>
                        <a:pt x="111" y="48"/>
                      </a:lnTo>
                      <a:lnTo>
                        <a:pt x="117" y="45"/>
                      </a:lnTo>
                      <a:lnTo>
                        <a:pt x="122" y="40"/>
                      </a:lnTo>
                      <a:lnTo>
                        <a:pt x="122" y="39"/>
                      </a:lnTo>
                      <a:lnTo>
                        <a:pt x="122" y="35"/>
                      </a:lnTo>
                      <a:lnTo>
                        <a:pt x="122" y="37"/>
                      </a:lnTo>
                      <a:lnTo>
                        <a:pt x="122" y="33"/>
                      </a:lnTo>
                      <a:lnTo>
                        <a:pt x="124" y="31"/>
                      </a:lnTo>
                      <a:lnTo>
                        <a:pt x="129" y="27"/>
                      </a:lnTo>
                      <a:lnTo>
                        <a:pt x="132" y="25"/>
                      </a:lnTo>
                      <a:lnTo>
                        <a:pt x="131" y="22"/>
                      </a:lnTo>
                      <a:lnTo>
                        <a:pt x="128" y="21"/>
                      </a:lnTo>
                      <a:lnTo>
                        <a:pt x="127" y="1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7" name="Freeform 981"/>
                <p:cNvSpPr>
                  <a:spLocks/>
                </p:cNvSpPr>
                <p:nvPr/>
              </p:nvSpPr>
              <p:spPr bwMode="auto">
                <a:xfrm>
                  <a:off x="1809403" y="2034506"/>
                  <a:ext cx="25158" cy="26638"/>
                </a:xfrm>
                <a:custGeom>
                  <a:avLst/>
                  <a:gdLst>
                    <a:gd name="T0" fmla="*/ 2147483647 w 18"/>
                    <a:gd name="T1" fmla="*/ 2147483647 h 18"/>
                    <a:gd name="T2" fmla="*/ 2147483647 w 18"/>
                    <a:gd name="T3" fmla="*/ 2147483647 h 18"/>
                    <a:gd name="T4" fmla="*/ 2147483647 w 18"/>
                    <a:gd name="T5" fmla="*/ 2147483647 h 18"/>
                    <a:gd name="T6" fmla="*/ 0 w 18"/>
                    <a:gd name="T7" fmla="*/ 2147483647 h 18"/>
                    <a:gd name="T8" fmla="*/ 0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2147483647 w 18"/>
                    <a:gd name="T23" fmla="*/ 2147483647 h 18"/>
                    <a:gd name="T24" fmla="*/ 2147483647 w 18"/>
                    <a:gd name="T25" fmla="*/ 2147483647 h 18"/>
                    <a:gd name="T26" fmla="*/ 2147483647 w 18"/>
                    <a:gd name="T27" fmla="*/ 2147483647 h 18"/>
                    <a:gd name="T28" fmla="*/ 2147483647 w 18"/>
                    <a:gd name="T29" fmla="*/ 2147483647 h 18"/>
                    <a:gd name="T30" fmla="*/ 2147483647 w 18"/>
                    <a:gd name="T31" fmla="*/ 2147483647 h 18"/>
                    <a:gd name="T32" fmla="*/ 2147483647 w 18"/>
                    <a:gd name="T33" fmla="*/ 2147483647 h 18"/>
                    <a:gd name="T34" fmla="*/ 2147483647 w 18"/>
                    <a:gd name="T35" fmla="*/ 2147483647 h 18"/>
                    <a:gd name="T36" fmla="*/ 2147483647 w 18"/>
                    <a:gd name="T37" fmla="*/ 0 h 18"/>
                    <a:gd name="T38" fmla="*/ 2147483647 w 18"/>
                    <a:gd name="T39" fmla="*/ 2147483647 h 18"/>
                    <a:gd name="T40" fmla="*/ 2147483647 w 18"/>
                    <a:gd name="T41" fmla="*/ 2147483647 h 18"/>
                    <a:gd name="T42" fmla="*/ 2147483647 w 18"/>
                    <a:gd name="T43" fmla="*/ 2147483647 h 18"/>
                    <a:gd name="T44" fmla="*/ 2147483647 w 18"/>
                    <a:gd name="T45" fmla="*/ 2147483647 h 18"/>
                    <a:gd name="T46" fmla="*/ 2147483647 w 18"/>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
                    <a:gd name="T73" fmla="*/ 0 h 18"/>
                    <a:gd name="T74" fmla="*/ 18 w 18"/>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 h="18">
                      <a:moveTo>
                        <a:pt x="9" y="5"/>
                      </a:moveTo>
                      <a:lnTo>
                        <a:pt x="9" y="5"/>
                      </a:lnTo>
                      <a:lnTo>
                        <a:pt x="3" y="8"/>
                      </a:lnTo>
                      <a:lnTo>
                        <a:pt x="0" y="10"/>
                      </a:lnTo>
                      <a:lnTo>
                        <a:pt x="0" y="11"/>
                      </a:lnTo>
                      <a:lnTo>
                        <a:pt x="2" y="13"/>
                      </a:lnTo>
                      <a:lnTo>
                        <a:pt x="3" y="16"/>
                      </a:lnTo>
                      <a:lnTo>
                        <a:pt x="6" y="18"/>
                      </a:lnTo>
                      <a:lnTo>
                        <a:pt x="8" y="18"/>
                      </a:lnTo>
                      <a:lnTo>
                        <a:pt x="11" y="18"/>
                      </a:lnTo>
                      <a:lnTo>
                        <a:pt x="14" y="12"/>
                      </a:lnTo>
                      <a:lnTo>
                        <a:pt x="18" y="6"/>
                      </a:lnTo>
                      <a:lnTo>
                        <a:pt x="18" y="4"/>
                      </a:lnTo>
                      <a:lnTo>
                        <a:pt x="18" y="2"/>
                      </a:lnTo>
                      <a:lnTo>
                        <a:pt x="16" y="0"/>
                      </a:lnTo>
                      <a:lnTo>
                        <a:pt x="13" y="2"/>
                      </a:lnTo>
                      <a:lnTo>
                        <a:pt x="9"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8" name="Freeform 982"/>
                <p:cNvSpPr>
                  <a:spLocks/>
                </p:cNvSpPr>
                <p:nvPr/>
              </p:nvSpPr>
              <p:spPr bwMode="auto">
                <a:xfrm>
                  <a:off x="1699896" y="1942756"/>
                  <a:ext cx="182025" cy="105070"/>
                </a:xfrm>
                <a:custGeom>
                  <a:avLst/>
                  <a:gdLst>
                    <a:gd name="T0" fmla="*/ 2147483647 w 133"/>
                    <a:gd name="T1" fmla="*/ 2147483647 h 71"/>
                    <a:gd name="T2" fmla="*/ 2147483647 w 133"/>
                    <a:gd name="T3" fmla="*/ 2147483647 h 71"/>
                    <a:gd name="T4" fmla="*/ 2147483647 w 133"/>
                    <a:gd name="T5" fmla="*/ 2147483647 h 71"/>
                    <a:gd name="T6" fmla="*/ 2147483647 w 133"/>
                    <a:gd name="T7" fmla="*/ 2147483647 h 71"/>
                    <a:gd name="T8" fmla="*/ 2147483647 w 133"/>
                    <a:gd name="T9" fmla="*/ 2147483647 h 71"/>
                    <a:gd name="T10" fmla="*/ 2147483647 w 133"/>
                    <a:gd name="T11" fmla="*/ 2147483647 h 71"/>
                    <a:gd name="T12" fmla="*/ 2147483647 w 133"/>
                    <a:gd name="T13" fmla="*/ 2147483647 h 71"/>
                    <a:gd name="T14" fmla="*/ 2147483647 w 133"/>
                    <a:gd name="T15" fmla="*/ 2147483647 h 71"/>
                    <a:gd name="T16" fmla="*/ 2147483647 w 133"/>
                    <a:gd name="T17" fmla="*/ 2147483647 h 71"/>
                    <a:gd name="T18" fmla="*/ 2147483647 w 133"/>
                    <a:gd name="T19" fmla="*/ 2147483647 h 71"/>
                    <a:gd name="T20" fmla="*/ 2147483647 w 133"/>
                    <a:gd name="T21" fmla="*/ 2147483647 h 71"/>
                    <a:gd name="T22" fmla="*/ 2147483647 w 133"/>
                    <a:gd name="T23" fmla="*/ 2147483647 h 71"/>
                    <a:gd name="T24" fmla="*/ 2147483647 w 133"/>
                    <a:gd name="T25" fmla="*/ 2147483647 h 71"/>
                    <a:gd name="T26" fmla="*/ 2147483647 w 133"/>
                    <a:gd name="T27" fmla="*/ 2147483647 h 71"/>
                    <a:gd name="T28" fmla="*/ 2147483647 w 133"/>
                    <a:gd name="T29" fmla="*/ 2147483647 h 71"/>
                    <a:gd name="T30" fmla="*/ 2147483647 w 133"/>
                    <a:gd name="T31" fmla="*/ 2147483647 h 71"/>
                    <a:gd name="T32" fmla="*/ 2147483647 w 133"/>
                    <a:gd name="T33" fmla="*/ 2147483647 h 71"/>
                    <a:gd name="T34" fmla="*/ 2147483647 w 133"/>
                    <a:gd name="T35" fmla="*/ 2147483647 h 71"/>
                    <a:gd name="T36" fmla="*/ 2147483647 w 133"/>
                    <a:gd name="T37" fmla="*/ 2147483647 h 71"/>
                    <a:gd name="T38" fmla="*/ 2147483647 w 133"/>
                    <a:gd name="T39" fmla="*/ 2147483647 h 71"/>
                    <a:gd name="T40" fmla="*/ 2147483647 w 133"/>
                    <a:gd name="T41" fmla="*/ 2147483647 h 71"/>
                    <a:gd name="T42" fmla="*/ 2147483647 w 133"/>
                    <a:gd name="T43" fmla="*/ 2147483647 h 71"/>
                    <a:gd name="T44" fmla="*/ 2147483647 w 133"/>
                    <a:gd name="T45" fmla="*/ 2147483647 h 71"/>
                    <a:gd name="T46" fmla="*/ 2147483647 w 133"/>
                    <a:gd name="T47" fmla="*/ 2147483647 h 71"/>
                    <a:gd name="T48" fmla="*/ 2147483647 w 133"/>
                    <a:gd name="T49" fmla="*/ 2147483647 h 71"/>
                    <a:gd name="T50" fmla="*/ 2147483647 w 133"/>
                    <a:gd name="T51" fmla="*/ 2147483647 h 71"/>
                    <a:gd name="T52" fmla="*/ 2147483647 w 133"/>
                    <a:gd name="T53" fmla="*/ 2147483647 h 71"/>
                    <a:gd name="T54" fmla="*/ 2147483647 w 133"/>
                    <a:gd name="T55" fmla="*/ 2147483647 h 71"/>
                    <a:gd name="T56" fmla="*/ 2147483647 w 133"/>
                    <a:gd name="T57" fmla="*/ 2147483647 h 71"/>
                    <a:gd name="T58" fmla="*/ 2147483647 w 133"/>
                    <a:gd name="T59" fmla="*/ 2147483647 h 71"/>
                    <a:gd name="T60" fmla="*/ 2147483647 w 133"/>
                    <a:gd name="T61" fmla="*/ 2147483647 h 71"/>
                    <a:gd name="T62" fmla="*/ 2147483647 w 133"/>
                    <a:gd name="T63" fmla="*/ 2147483647 h 71"/>
                    <a:gd name="T64" fmla="*/ 2147483647 w 133"/>
                    <a:gd name="T65" fmla="*/ 2147483647 h 71"/>
                    <a:gd name="T66" fmla="*/ 2147483647 w 133"/>
                    <a:gd name="T67" fmla="*/ 2147483647 h 71"/>
                    <a:gd name="T68" fmla="*/ 2147483647 w 133"/>
                    <a:gd name="T69" fmla="*/ 2147483647 h 71"/>
                    <a:gd name="T70" fmla="*/ 2147483647 w 133"/>
                    <a:gd name="T71" fmla="*/ 2147483647 h 71"/>
                    <a:gd name="T72" fmla="*/ 2147483647 w 133"/>
                    <a:gd name="T73" fmla="*/ 2147483647 h 71"/>
                    <a:gd name="T74" fmla="*/ 2147483647 w 133"/>
                    <a:gd name="T75" fmla="*/ 2147483647 h 71"/>
                    <a:gd name="T76" fmla="*/ 2147483647 w 133"/>
                    <a:gd name="T77" fmla="*/ 2147483647 h 71"/>
                    <a:gd name="T78" fmla="*/ 2147483647 w 133"/>
                    <a:gd name="T79" fmla="*/ 2147483647 h 71"/>
                    <a:gd name="T80" fmla="*/ 2147483647 w 133"/>
                    <a:gd name="T81" fmla="*/ 2147483647 h 71"/>
                    <a:gd name="T82" fmla="*/ 2147483647 w 133"/>
                    <a:gd name="T83" fmla="*/ 2147483647 h 71"/>
                    <a:gd name="T84" fmla="*/ 2147483647 w 133"/>
                    <a:gd name="T85" fmla="*/ 2147483647 h 71"/>
                    <a:gd name="T86" fmla="*/ 2147483647 w 133"/>
                    <a:gd name="T87" fmla="*/ 2147483647 h 71"/>
                    <a:gd name="T88" fmla="*/ 2147483647 w 133"/>
                    <a:gd name="T89" fmla="*/ 2147483647 h 71"/>
                    <a:gd name="T90" fmla="*/ 2147483647 w 133"/>
                    <a:gd name="T91" fmla="*/ 2147483647 h 71"/>
                    <a:gd name="T92" fmla="*/ 2147483647 w 133"/>
                    <a:gd name="T93" fmla="*/ 2147483647 h 71"/>
                    <a:gd name="T94" fmla="*/ 2147483647 w 133"/>
                    <a:gd name="T95" fmla="*/ 2147483647 h 71"/>
                    <a:gd name="T96" fmla="*/ 2147483647 w 133"/>
                    <a:gd name="T97" fmla="*/ 2147483647 h 71"/>
                    <a:gd name="T98" fmla="*/ 2147483647 w 133"/>
                    <a:gd name="T99" fmla="*/ 2147483647 h 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3"/>
                    <a:gd name="T151" fmla="*/ 0 h 71"/>
                    <a:gd name="T152" fmla="*/ 133 w 133"/>
                    <a:gd name="T153" fmla="*/ 71 h 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3" h="71">
                      <a:moveTo>
                        <a:pt x="127" y="19"/>
                      </a:moveTo>
                      <a:lnTo>
                        <a:pt x="127" y="19"/>
                      </a:lnTo>
                      <a:lnTo>
                        <a:pt x="126" y="11"/>
                      </a:lnTo>
                      <a:lnTo>
                        <a:pt x="124" y="6"/>
                      </a:lnTo>
                      <a:lnTo>
                        <a:pt x="122" y="3"/>
                      </a:lnTo>
                      <a:lnTo>
                        <a:pt x="120" y="1"/>
                      </a:lnTo>
                      <a:lnTo>
                        <a:pt x="117" y="0"/>
                      </a:lnTo>
                      <a:lnTo>
                        <a:pt x="115" y="1"/>
                      </a:lnTo>
                      <a:lnTo>
                        <a:pt x="115" y="2"/>
                      </a:lnTo>
                      <a:lnTo>
                        <a:pt x="116" y="4"/>
                      </a:lnTo>
                      <a:lnTo>
                        <a:pt x="117" y="7"/>
                      </a:lnTo>
                      <a:lnTo>
                        <a:pt x="117" y="9"/>
                      </a:lnTo>
                      <a:lnTo>
                        <a:pt x="116" y="10"/>
                      </a:lnTo>
                      <a:lnTo>
                        <a:pt x="112" y="10"/>
                      </a:lnTo>
                      <a:lnTo>
                        <a:pt x="111" y="9"/>
                      </a:lnTo>
                      <a:lnTo>
                        <a:pt x="110" y="7"/>
                      </a:lnTo>
                      <a:lnTo>
                        <a:pt x="107" y="4"/>
                      </a:lnTo>
                      <a:lnTo>
                        <a:pt x="105" y="4"/>
                      </a:lnTo>
                      <a:lnTo>
                        <a:pt x="102" y="4"/>
                      </a:lnTo>
                      <a:lnTo>
                        <a:pt x="101" y="7"/>
                      </a:lnTo>
                      <a:lnTo>
                        <a:pt x="100" y="8"/>
                      </a:lnTo>
                      <a:lnTo>
                        <a:pt x="100" y="10"/>
                      </a:lnTo>
                      <a:lnTo>
                        <a:pt x="98" y="11"/>
                      </a:lnTo>
                      <a:lnTo>
                        <a:pt x="93" y="11"/>
                      </a:lnTo>
                      <a:lnTo>
                        <a:pt x="88" y="10"/>
                      </a:lnTo>
                      <a:lnTo>
                        <a:pt x="83" y="9"/>
                      </a:lnTo>
                      <a:lnTo>
                        <a:pt x="80" y="10"/>
                      </a:lnTo>
                      <a:lnTo>
                        <a:pt x="78" y="11"/>
                      </a:lnTo>
                      <a:lnTo>
                        <a:pt x="77" y="14"/>
                      </a:lnTo>
                      <a:lnTo>
                        <a:pt x="69" y="17"/>
                      </a:lnTo>
                      <a:lnTo>
                        <a:pt x="63" y="21"/>
                      </a:lnTo>
                      <a:lnTo>
                        <a:pt x="56" y="24"/>
                      </a:lnTo>
                      <a:lnTo>
                        <a:pt x="55" y="27"/>
                      </a:lnTo>
                      <a:lnTo>
                        <a:pt x="54" y="30"/>
                      </a:lnTo>
                      <a:lnTo>
                        <a:pt x="51" y="33"/>
                      </a:lnTo>
                      <a:lnTo>
                        <a:pt x="47" y="33"/>
                      </a:lnTo>
                      <a:lnTo>
                        <a:pt x="46" y="33"/>
                      </a:lnTo>
                      <a:lnTo>
                        <a:pt x="45" y="34"/>
                      </a:lnTo>
                      <a:lnTo>
                        <a:pt x="39" y="39"/>
                      </a:lnTo>
                      <a:lnTo>
                        <a:pt x="35" y="41"/>
                      </a:lnTo>
                      <a:lnTo>
                        <a:pt x="30" y="42"/>
                      </a:lnTo>
                      <a:lnTo>
                        <a:pt x="28" y="43"/>
                      </a:lnTo>
                      <a:lnTo>
                        <a:pt x="28" y="45"/>
                      </a:lnTo>
                      <a:lnTo>
                        <a:pt x="27" y="47"/>
                      </a:lnTo>
                      <a:lnTo>
                        <a:pt x="26" y="48"/>
                      </a:lnTo>
                      <a:lnTo>
                        <a:pt x="20" y="48"/>
                      </a:lnTo>
                      <a:lnTo>
                        <a:pt x="14" y="48"/>
                      </a:lnTo>
                      <a:lnTo>
                        <a:pt x="9" y="48"/>
                      </a:lnTo>
                      <a:lnTo>
                        <a:pt x="6" y="51"/>
                      </a:lnTo>
                      <a:lnTo>
                        <a:pt x="2" y="54"/>
                      </a:lnTo>
                      <a:lnTo>
                        <a:pt x="0" y="56"/>
                      </a:lnTo>
                      <a:lnTo>
                        <a:pt x="3" y="58"/>
                      </a:lnTo>
                      <a:lnTo>
                        <a:pt x="6" y="59"/>
                      </a:lnTo>
                      <a:lnTo>
                        <a:pt x="8" y="59"/>
                      </a:lnTo>
                      <a:lnTo>
                        <a:pt x="9" y="60"/>
                      </a:lnTo>
                      <a:lnTo>
                        <a:pt x="9" y="64"/>
                      </a:lnTo>
                      <a:lnTo>
                        <a:pt x="9" y="68"/>
                      </a:lnTo>
                      <a:lnTo>
                        <a:pt x="9" y="70"/>
                      </a:lnTo>
                      <a:lnTo>
                        <a:pt x="11" y="71"/>
                      </a:lnTo>
                      <a:lnTo>
                        <a:pt x="13" y="71"/>
                      </a:lnTo>
                      <a:lnTo>
                        <a:pt x="14" y="71"/>
                      </a:lnTo>
                      <a:lnTo>
                        <a:pt x="22" y="67"/>
                      </a:lnTo>
                      <a:lnTo>
                        <a:pt x="25" y="66"/>
                      </a:lnTo>
                      <a:lnTo>
                        <a:pt x="28" y="66"/>
                      </a:lnTo>
                      <a:lnTo>
                        <a:pt x="33" y="68"/>
                      </a:lnTo>
                      <a:lnTo>
                        <a:pt x="36" y="68"/>
                      </a:lnTo>
                      <a:lnTo>
                        <a:pt x="39" y="67"/>
                      </a:lnTo>
                      <a:lnTo>
                        <a:pt x="39" y="65"/>
                      </a:lnTo>
                      <a:lnTo>
                        <a:pt x="40" y="62"/>
                      </a:lnTo>
                      <a:lnTo>
                        <a:pt x="39" y="60"/>
                      </a:lnTo>
                      <a:lnTo>
                        <a:pt x="40" y="58"/>
                      </a:lnTo>
                      <a:lnTo>
                        <a:pt x="42" y="58"/>
                      </a:lnTo>
                      <a:lnTo>
                        <a:pt x="44" y="58"/>
                      </a:lnTo>
                      <a:lnTo>
                        <a:pt x="46" y="55"/>
                      </a:lnTo>
                      <a:lnTo>
                        <a:pt x="49" y="52"/>
                      </a:lnTo>
                      <a:lnTo>
                        <a:pt x="51" y="48"/>
                      </a:lnTo>
                      <a:lnTo>
                        <a:pt x="53" y="49"/>
                      </a:lnTo>
                      <a:lnTo>
                        <a:pt x="53" y="52"/>
                      </a:lnTo>
                      <a:lnTo>
                        <a:pt x="53" y="58"/>
                      </a:lnTo>
                      <a:lnTo>
                        <a:pt x="54" y="64"/>
                      </a:lnTo>
                      <a:lnTo>
                        <a:pt x="56" y="66"/>
                      </a:lnTo>
                      <a:lnTo>
                        <a:pt x="59" y="68"/>
                      </a:lnTo>
                      <a:lnTo>
                        <a:pt x="61" y="70"/>
                      </a:lnTo>
                      <a:lnTo>
                        <a:pt x="65" y="70"/>
                      </a:lnTo>
                      <a:lnTo>
                        <a:pt x="68" y="70"/>
                      </a:lnTo>
                      <a:lnTo>
                        <a:pt x="69" y="68"/>
                      </a:lnTo>
                      <a:lnTo>
                        <a:pt x="72" y="66"/>
                      </a:lnTo>
                      <a:lnTo>
                        <a:pt x="72" y="64"/>
                      </a:lnTo>
                      <a:lnTo>
                        <a:pt x="70" y="60"/>
                      </a:lnTo>
                      <a:lnTo>
                        <a:pt x="70" y="58"/>
                      </a:lnTo>
                      <a:lnTo>
                        <a:pt x="70" y="56"/>
                      </a:lnTo>
                      <a:lnTo>
                        <a:pt x="84" y="41"/>
                      </a:lnTo>
                      <a:lnTo>
                        <a:pt x="98" y="27"/>
                      </a:lnTo>
                      <a:lnTo>
                        <a:pt x="100" y="29"/>
                      </a:lnTo>
                      <a:lnTo>
                        <a:pt x="100" y="33"/>
                      </a:lnTo>
                      <a:lnTo>
                        <a:pt x="97" y="38"/>
                      </a:lnTo>
                      <a:lnTo>
                        <a:pt x="97" y="42"/>
                      </a:lnTo>
                      <a:lnTo>
                        <a:pt x="98" y="53"/>
                      </a:lnTo>
                      <a:lnTo>
                        <a:pt x="100" y="55"/>
                      </a:lnTo>
                      <a:lnTo>
                        <a:pt x="101" y="56"/>
                      </a:lnTo>
                      <a:lnTo>
                        <a:pt x="103" y="58"/>
                      </a:lnTo>
                      <a:lnTo>
                        <a:pt x="105" y="56"/>
                      </a:lnTo>
                      <a:lnTo>
                        <a:pt x="107" y="52"/>
                      </a:lnTo>
                      <a:lnTo>
                        <a:pt x="112" y="48"/>
                      </a:lnTo>
                      <a:lnTo>
                        <a:pt x="117" y="45"/>
                      </a:lnTo>
                      <a:lnTo>
                        <a:pt x="122" y="40"/>
                      </a:lnTo>
                      <a:lnTo>
                        <a:pt x="122" y="39"/>
                      </a:lnTo>
                      <a:lnTo>
                        <a:pt x="122" y="35"/>
                      </a:lnTo>
                      <a:lnTo>
                        <a:pt x="122" y="36"/>
                      </a:lnTo>
                      <a:lnTo>
                        <a:pt x="122" y="33"/>
                      </a:lnTo>
                      <a:lnTo>
                        <a:pt x="125" y="30"/>
                      </a:lnTo>
                      <a:lnTo>
                        <a:pt x="130" y="27"/>
                      </a:lnTo>
                      <a:lnTo>
                        <a:pt x="133" y="24"/>
                      </a:lnTo>
                      <a:lnTo>
                        <a:pt x="131" y="22"/>
                      </a:lnTo>
                      <a:lnTo>
                        <a:pt x="129" y="21"/>
                      </a:lnTo>
                      <a:lnTo>
                        <a:pt x="127" y="1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09" name="Freeform 983"/>
                <p:cNvSpPr>
                  <a:spLocks/>
                </p:cNvSpPr>
                <p:nvPr/>
              </p:nvSpPr>
              <p:spPr bwMode="auto">
                <a:xfrm>
                  <a:off x="2102420" y="2145495"/>
                  <a:ext cx="51796" cy="36997"/>
                </a:xfrm>
                <a:custGeom>
                  <a:avLst/>
                  <a:gdLst>
                    <a:gd name="T0" fmla="*/ 2147483647 w 38"/>
                    <a:gd name="T1" fmla="*/ 2147483647 h 25"/>
                    <a:gd name="T2" fmla="*/ 2147483647 w 38"/>
                    <a:gd name="T3" fmla="*/ 2147483647 h 25"/>
                    <a:gd name="T4" fmla="*/ 2147483647 w 38"/>
                    <a:gd name="T5" fmla="*/ 2147483647 h 25"/>
                    <a:gd name="T6" fmla="*/ 2147483647 w 38"/>
                    <a:gd name="T7" fmla="*/ 2147483647 h 25"/>
                    <a:gd name="T8" fmla="*/ 2147483647 w 38"/>
                    <a:gd name="T9" fmla="*/ 2147483647 h 25"/>
                    <a:gd name="T10" fmla="*/ 2147483647 w 38"/>
                    <a:gd name="T11" fmla="*/ 2147483647 h 25"/>
                    <a:gd name="T12" fmla="*/ 2147483647 w 38"/>
                    <a:gd name="T13" fmla="*/ 0 h 25"/>
                    <a:gd name="T14" fmla="*/ 2147483647 w 38"/>
                    <a:gd name="T15" fmla="*/ 0 h 25"/>
                    <a:gd name="T16" fmla="*/ 2147483647 w 38"/>
                    <a:gd name="T17" fmla="*/ 0 h 25"/>
                    <a:gd name="T18" fmla="*/ 2147483647 w 38"/>
                    <a:gd name="T19" fmla="*/ 0 h 25"/>
                    <a:gd name="T20" fmla="*/ 0 w 38"/>
                    <a:gd name="T21" fmla="*/ 2147483647 h 25"/>
                    <a:gd name="T22" fmla="*/ 0 w 38"/>
                    <a:gd name="T23" fmla="*/ 2147483647 h 25"/>
                    <a:gd name="T24" fmla="*/ 2147483647 w 38"/>
                    <a:gd name="T25" fmla="*/ 2147483647 h 25"/>
                    <a:gd name="T26" fmla="*/ 2147483647 w 38"/>
                    <a:gd name="T27" fmla="*/ 2147483647 h 25"/>
                    <a:gd name="T28" fmla="*/ 2147483647 w 38"/>
                    <a:gd name="T29" fmla="*/ 2147483647 h 25"/>
                    <a:gd name="T30" fmla="*/ 2147483647 w 38"/>
                    <a:gd name="T31" fmla="*/ 2147483647 h 25"/>
                    <a:gd name="T32" fmla="*/ 2147483647 w 38"/>
                    <a:gd name="T33" fmla="*/ 2147483647 h 25"/>
                    <a:gd name="T34" fmla="*/ 2147483647 w 38"/>
                    <a:gd name="T35" fmla="*/ 2147483647 h 25"/>
                    <a:gd name="T36" fmla="*/ 2147483647 w 38"/>
                    <a:gd name="T37" fmla="*/ 2147483647 h 25"/>
                    <a:gd name="T38" fmla="*/ 2147483647 w 38"/>
                    <a:gd name="T39" fmla="*/ 2147483647 h 25"/>
                    <a:gd name="T40" fmla="*/ 2147483647 w 38"/>
                    <a:gd name="T41" fmla="*/ 2147483647 h 25"/>
                    <a:gd name="T42" fmla="*/ 2147483647 w 38"/>
                    <a:gd name="T43" fmla="*/ 2147483647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25"/>
                    <a:gd name="T68" fmla="*/ 38 w 38"/>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25">
                      <a:moveTo>
                        <a:pt x="32" y="16"/>
                      </a:moveTo>
                      <a:lnTo>
                        <a:pt x="34" y="11"/>
                      </a:lnTo>
                      <a:lnTo>
                        <a:pt x="37" y="7"/>
                      </a:lnTo>
                      <a:lnTo>
                        <a:pt x="38" y="6"/>
                      </a:lnTo>
                      <a:lnTo>
                        <a:pt x="37" y="5"/>
                      </a:lnTo>
                      <a:lnTo>
                        <a:pt x="33" y="2"/>
                      </a:lnTo>
                      <a:lnTo>
                        <a:pt x="29" y="0"/>
                      </a:lnTo>
                      <a:lnTo>
                        <a:pt x="24" y="0"/>
                      </a:lnTo>
                      <a:lnTo>
                        <a:pt x="20" y="0"/>
                      </a:lnTo>
                      <a:lnTo>
                        <a:pt x="10" y="0"/>
                      </a:lnTo>
                      <a:lnTo>
                        <a:pt x="0" y="1"/>
                      </a:lnTo>
                      <a:lnTo>
                        <a:pt x="0" y="4"/>
                      </a:lnTo>
                      <a:lnTo>
                        <a:pt x="1" y="5"/>
                      </a:lnTo>
                      <a:lnTo>
                        <a:pt x="5" y="6"/>
                      </a:lnTo>
                      <a:lnTo>
                        <a:pt x="9" y="8"/>
                      </a:lnTo>
                      <a:lnTo>
                        <a:pt x="14" y="13"/>
                      </a:lnTo>
                      <a:lnTo>
                        <a:pt x="19" y="19"/>
                      </a:lnTo>
                      <a:lnTo>
                        <a:pt x="24" y="24"/>
                      </a:lnTo>
                      <a:lnTo>
                        <a:pt x="25" y="25"/>
                      </a:lnTo>
                      <a:lnTo>
                        <a:pt x="26" y="24"/>
                      </a:lnTo>
                      <a:lnTo>
                        <a:pt x="28" y="21"/>
                      </a:lnTo>
                      <a:lnTo>
                        <a:pt x="32"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0" name="Freeform 984"/>
                <p:cNvSpPr>
                  <a:spLocks/>
                </p:cNvSpPr>
                <p:nvPr/>
              </p:nvSpPr>
              <p:spPr bwMode="auto">
                <a:xfrm>
                  <a:off x="2573018" y="2475508"/>
                  <a:ext cx="167226" cy="124309"/>
                </a:xfrm>
                <a:custGeom>
                  <a:avLst/>
                  <a:gdLst>
                    <a:gd name="T0" fmla="*/ 2147483647 w 122"/>
                    <a:gd name="T1" fmla="*/ 2147483647 h 84"/>
                    <a:gd name="T2" fmla="*/ 2147483647 w 122"/>
                    <a:gd name="T3" fmla="*/ 2147483647 h 84"/>
                    <a:gd name="T4" fmla="*/ 2147483647 w 122"/>
                    <a:gd name="T5" fmla="*/ 2147483647 h 84"/>
                    <a:gd name="T6" fmla="*/ 2147483647 w 122"/>
                    <a:gd name="T7" fmla="*/ 2147483647 h 84"/>
                    <a:gd name="T8" fmla="*/ 2147483647 w 122"/>
                    <a:gd name="T9" fmla="*/ 2147483647 h 84"/>
                    <a:gd name="T10" fmla="*/ 2147483647 w 122"/>
                    <a:gd name="T11" fmla="*/ 2147483647 h 84"/>
                    <a:gd name="T12" fmla="*/ 2147483647 w 122"/>
                    <a:gd name="T13" fmla="*/ 2147483647 h 84"/>
                    <a:gd name="T14" fmla="*/ 2147483647 w 122"/>
                    <a:gd name="T15" fmla="*/ 2147483647 h 84"/>
                    <a:gd name="T16" fmla="*/ 2147483647 w 122"/>
                    <a:gd name="T17" fmla="*/ 2147483647 h 84"/>
                    <a:gd name="T18" fmla="*/ 2147483647 w 122"/>
                    <a:gd name="T19" fmla="*/ 2147483647 h 84"/>
                    <a:gd name="T20" fmla="*/ 2147483647 w 122"/>
                    <a:gd name="T21" fmla="*/ 2147483647 h 84"/>
                    <a:gd name="T22" fmla="*/ 2147483647 w 122"/>
                    <a:gd name="T23" fmla="*/ 0 h 84"/>
                    <a:gd name="T24" fmla="*/ 2147483647 w 122"/>
                    <a:gd name="T25" fmla="*/ 2147483647 h 84"/>
                    <a:gd name="T26" fmla="*/ 2147483647 w 122"/>
                    <a:gd name="T27" fmla="*/ 2147483647 h 84"/>
                    <a:gd name="T28" fmla="*/ 2147483647 w 122"/>
                    <a:gd name="T29" fmla="*/ 2147483647 h 84"/>
                    <a:gd name="T30" fmla="*/ 2147483647 w 122"/>
                    <a:gd name="T31" fmla="*/ 2147483647 h 84"/>
                    <a:gd name="T32" fmla="*/ 0 w 122"/>
                    <a:gd name="T33" fmla="*/ 2147483647 h 84"/>
                    <a:gd name="T34" fmla="*/ 2147483647 w 122"/>
                    <a:gd name="T35" fmla="*/ 2147483647 h 84"/>
                    <a:gd name="T36" fmla="*/ 2147483647 w 122"/>
                    <a:gd name="T37" fmla="*/ 2147483647 h 84"/>
                    <a:gd name="T38" fmla="*/ 2147483647 w 122"/>
                    <a:gd name="T39" fmla="*/ 2147483647 h 84"/>
                    <a:gd name="T40" fmla="*/ 2147483647 w 122"/>
                    <a:gd name="T41" fmla="*/ 2147483647 h 84"/>
                    <a:gd name="T42" fmla="*/ 2147483647 w 122"/>
                    <a:gd name="T43" fmla="*/ 2147483647 h 84"/>
                    <a:gd name="T44" fmla="*/ 2147483647 w 122"/>
                    <a:gd name="T45" fmla="*/ 2147483647 h 84"/>
                    <a:gd name="T46" fmla="*/ 2147483647 w 122"/>
                    <a:gd name="T47" fmla="*/ 2147483647 h 84"/>
                    <a:gd name="T48" fmla="*/ 2147483647 w 122"/>
                    <a:gd name="T49" fmla="*/ 2147483647 h 84"/>
                    <a:gd name="T50" fmla="*/ 2147483647 w 122"/>
                    <a:gd name="T51" fmla="*/ 2147483647 h 84"/>
                    <a:gd name="T52" fmla="*/ 2147483647 w 122"/>
                    <a:gd name="T53" fmla="*/ 2147483647 h 84"/>
                    <a:gd name="T54" fmla="*/ 2147483647 w 122"/>
                    <a:gd name="T55" fmla="*/ 2147483647 h 84"/>
                    <a:gd name="T56" fmla="*/ 2147483647 w 122"/>
                    <a:gd name="T57" fmla="*/ 2147483647 h 84"/>
                    <a:gd name="T58" fmla="*/ 2147483647 w 122"/>
                    <a:gd name="T59" fmla="*/ 2147483647 h 84"/>
                    <a:gd name="T60" fmla="*/ 2147483647 w 122"/>
                    <a:gd name="T61" fmla="*/ 2147483647 h 84"/>
                    <a:gd name="T62" fmla="*/ 2147483647 w 122"/>
                    <a:gd name="T63" fmla="*/ 2147483647 h 84"/>
                    <a:gd name="T64" fmla="*/ 2147483647 w 122"/>
                    <a:gd name="T65" fmla="*/ 2147483647 h 84"/>
                    <a:gd name="T66" fmla="*/ 2147483647 w 122"/>
                    <a:gd name="T67" fmla="*/ 2147483647 h 84"/>
                    <a:gd name="T68" fmla="*/ 2147483647 w 122"/>
                    <a:gd name="T69" fmla="*/ 2147483647 h 84"/>
                    <a:gd name="T70" fmla="*/ 2147483647 w 122"/>
                    <a:gd name="T71" fmla="*/ 2147483647 h 84"/>
                    <a:gd name="T72" fmla="*/ 2147483647 w 122"/>
                    <a:gd name="T73" fmla="*/ 2147483647 h 84"/>
                    <a:gd name="T74" fmla="*/ 2147483647 w 122"/>
                    <a:gd name="T75" fmla="*/ 2147483647 h 84"/>
                    <a:gd name="T76" fmla="*/ 2147483647 w 122"/>
                    <a:gd name="T77" fmla="*/ 2147483647 h 84"/>
                    <a:gd name="T78" fmla="*/ 2147483647 w 122"/>
                    <a:gd name="T79" fmla="*/ 2147483647 h 84"/>
                    <a:gd name="T80" fmla="*/ 2147483647 w 122"/>
                    <a:gd name="T81" fmla="*/ 2147483647 h 84"/>
                    <a:gd name="T82" fmla="*/ 2147483647 w 122"/>
                    <a:gd name="T83" fmla="*/ 2147483647 h 84"/>
                    <a:gd name="T84" fmla="*/ 2147483647 w 122"/>
                    <a:gd name="T85" fmla="*/ 2147483647 h 84"/>
                    <a:gd name="T86" fmla="*/ 2147483647 w 122"/>
                    <a:gd name="T87" fmla="*/ 2147483647 h 84"/>
                    <a:gd name="T88" fmla="*/ 2147483647 w 122"/>
                    <a:gd name="T89" fmla="*/ 2147483647 h 84"/>
                    <a:gd name="T90" fmla="*/ 2147483647 w 122"/>
                    <a:gd name="T91" fmla="*/ 2147483647 h 84"/>
                    <a:gd name="T92" fmla="*/ 2147483647 w 122"/>
                    <a:gd name="T93" fmla="*/ 2147483647 h 84"/>
                    <a:gd name="T94" fmla="*/ 2147483647 w 122"/>
                    <a:gd name="T95" fmla="*/ 2147483647 h 84"/>
                    <a:gd name="T96" fmla="*/ 2147483647 w 122"/>
                    <a:gd name="T97" fmla="*/ 2147483647 h 84"/>
                    <a:gd name="T98" fmla="*/ 2147483647 w 122"/>
                    <a:gd name="T99" fmla="*/ 2147483647 h 84"/>
                    <a:gd name="T100" fmla="*/ 2147483647 w 122"/>
                    <a:gd name="T101" fmla="*/ 2147483647 h 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
                    <a:gd name="T154" fmla="*/ 0 h 84"/>
                    <a:gd name="T155" fmla="*/ 122 w 122"/>
                    <a:gd name="T156" fmla="*/ 84 h 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 h="84">
                      <a:moveTo>
                        <a:pt x="69" y="26"/>
                      </a:moveTo>
                      <a:lnTo>
                        <a:pt x="65" y="25"/>
                      </a:lnTo>
                      <a:lnTo>
                        <a:pt x="62" y="26"/>
                      </a:lnTo>
                      <a:lnTo>
                        <a:pt x="60" y="27"/>
                      </a:lnTo>
                      <a:lnTo>
                        <a:pt x="56" y="26"/>
                      </a:lnTo>
                      <a:lnTo>
                        <a:pt x="54" y="25"/>
                      </a:lnTo>
                      <a:lnTo>
                        <a:pt x="52" y="23"/>
                      </a:lnTo>
                      <a:lnTo>
                        <a:pt x="48" y="18"/>
                      </a:lnTo>
                      <a:lnTo>
                        <a:pt x="47" y="18"/>
                      </a:lnTo>
                      <a:lnTo>
                        <a:pt x="46" y="18"/>
                      </a:lnTo>
                      <a:lnTo>
                        <a:pt x="42" y="20"/>
                      </a:lnTo>
                      <a:lnTo>
                        <a:pt x="41" y="21"/>
                      </a:lnTo>
                      <a:lnTo>
                        <a:pt x="38" y="23"/>
                      </a:lnTo>
                      <a:lnTo>
                        <a:pt x="36" y="21"/>
                      </a:lnTo>
                      <a:lnTo>
                        <a:pt x="34" y="19"/>
                      </a:lnTo>
                      <a:lnTo>
                        <a:pt x="34" y="17"/>
                      </a:lnTo>
                      <a:lnTo>
                        <a:pt x="36" y="14"/>
                      </a:lnTo>
                      <a:lnTo>
                        <a:pt x="38" y="11"/>
                      </a:lnTo>
                      <a:lnTo>
                        <a:pt x="40" y="9"/>
                      </a:lnTo>
                      <a:lnTo>
                        <a:pt x="38" y="7"/>
                      </a:lnTo>
                      <a:lnTo>
                        <a:pt x="36" y="4"/>
                      </a:lnTo>
                      <a:lnTo>
                        <a:pt x="33" y="1"/>
                      </a:lnTo>
                      <a:lnTo>
                        <a:pt x="31" y="0"/>
                      </a:lnTo>
                      <a:lnTo>
                        <a:pt x="29" y="0"/>
                      </a:lnTo>
                      <a:lnTo>
                        <a:pt x="27" y="1"/>
                      </a:lnTo>
                      <a:lnTo>
                        <a:pt x="26" y="2"/>
                      </a:lnTo>
                      <a:lnTo>
                        <a:pt x="21" y="13"/>
                      </a:lnTo>
                      <a:lnTo>
                        <a:pt x="17" y="24"/>
                      </a:lnTo>
                      <a:lnTo>
                        <a:pt x="14" y="34"/>
                      </a:lnTo>
                      <a:lnTo>
                        <a:pt x="12" y="45"/>
                      </a:lnTo>
                      <a:lnTo>
                        <a:pt x="9" y="51"/>
                      </a:lnTo>
                      <a:lnTo>
                        <a:pt x="5" y="56"/>
                      </a:lnTo>
                      <a:lnTo>
                        <a:pt x="1" y="60"/>
                      </a:lnTo>
                      <a:lnTo>
                        <a:pt x="0" y="65"/>
                      </a:lnTo>
                      <a:lnTo>
                        <a:pt x="0" y="66"/>
                      </a:lnTo>
                      <a:lnTo>
                        <a:pt x="1" y="68"/>
                      </a:lnTo>
                      <a:lnTo>
                        <a:pt x="5" y="69"/>
                      </a:lnTo>
                      <a:lnTo>
                        <a:pt x="7" y="70"/>
                      </a:lnTo>
                      <a:lnTo>
                        <a:pt x="14" y="69"/>
                      </a:lnTo>
                      <a:lnTo>
                        <a:pt x="18" y="68"/>
                      </a:lnTo>
                      <a:lnTo>
                        <a:pt x="22" y="69"/>
                      </a:lnTo>
                      <a:lnTo>
                        <a:pt x="23" y="71"/>
                      </a:lnTo>
                      <a:lnTo>
                        <a:pt x="22" y="72"/>
                      </a:lnTo>
                      <a:lnTo>
                        <a:pt x="21" y="74"/>
                      </a:lnTo>
                      <a:lnTo>
                        <a:pt x="21" y="76"/>
                      </a:lnTo>
                      <a:lnTo>
                        <a:pt x="23" y="77"/>
                      </a:lnTo>
                      <a:lnTo>
                        <a:pt x="23" y="79"/>
                      </a:lnTo>
                      <a:lnTo>
                        <a:pt x="24" y="82"/>
                      </a:lnTo>
                      <a:lnTo>
                        <a:pt x="26" y="84"/>
                      </a:lnTo>
                      <a:lnTo>
                        <a:pt x="28" y="83"/>
                      </a:lnTo>
                      <a:lnTo>
                        <a:pt x="31" y="83"/>
                      </a:lnTo>
                      <a:lnTo>
                        <a:pt x="32" y="83"/>
                      </a:lnTo>
                      <a:lnTo>
                        <a:pt x="33" y="84"/>
                      </a:lnTo>
                      <a:lnTo>
                        <a:pt x="34" y="84"/>
                      </a:lnTo>
                      <a:lnTo>
                        <a:pt x="40" y="81"/>
                      </a:lnTo>
                      <a:lnTo>
                        <a:pt x="47" y="78"/>
                      </a:lnTo>
                      <a:lnTo>
                        <a:pt x="50" y="77"/>
                      </a:lnTo>
                      <a:lnTo>
                        <a:pt x="52" y="75"/>
                      </a:lnTo>
                      <a:lnTo>
                        <a:pt x="55" y="72"/>
                      </a:lnTo>
                      <a:lnTo>
                        <a:pt x="56" y="69"/>
                      </a:lnTo>
                      <a:lnTo>
                        <a:pt x="57" y="55"/>
                      </a:lnTo>
                      <a:lnTo>
                        <a:pt x="60" y="52"/>
                      </a:lnTo>
                      <a:lnTo>
                        <a:pt x="62" y="51"/>
                      </a:lnTo>
                      <a:lnTo>
                        <a:pt x="66" y="50"/>
                      </a:lnTo>
                      <a:lnTo>
                        <a:pt x="70" y="50"/>
                      </a:lnTo>
                      <a:lnTo>
                        <a:pt x="73" y="51"/>
                      </a:lnTo>
                      <a:lnTo>
                        <a:pt x="74" y="53"/>
                      </a:lnTo>
                      <a:lnTo>
                        <a:pt x="76" y="58"/>
                      </a:lnTo>
                      <a:lnTo>
                        <a:pt x="79" y="63"/>
                      </a:lnTo>
                      <a:lnTo>
                        <a:pt x="81" y="68"/>
                      </a:lnTo>
                      <a:lnTo>
                        <a:pt x="83" y="69"/>
                      </a:lnTo>
                      <a:lnTo>
                        <a:pt x="84" y="70"/>
                      </a:lnTo>
                      <a:lnTo>
                        <a:pt x="87" y="69"/>
                      </a:lnTo>
                      <a:lnTo>
                        <a:pt x="89" y="70"/>
                      </a:lnTo>
                      <a:lnTo>
                        <a:pt x="94" y="72"/>
                      </a:lnTo>
                      <a:lnTo>
                        <a:pt x="97" y="74"/>
                      </a:lnTo>
                      <a:lnTo>
                        <a:pt x="101" y="75"/>
                      </a:lnTo>
                      <a:lnTo>
                        <a:pt x="102" y="76"/>
                      </a:lnTo>
                      <a:lnTo>
                        <a:pt x="103" y="76"/>
                      </a:lnTo>
                      <a:lnTo>
                        <a:pt x="104" y="75"/>
                      </a:lnTo>
                      <a:lnTo>
                        <a:pt x="113" y="70"/>
                      </a:lnTo>
                      <a:lnTo>
                        <a:pt x="121" y="64"/>
                      </a:lnTo>
                      <a:lnTo>
                        <a:pt x="122" y="63"/>
                      </a:lnTo>
                      <a:lnTo>
                        <a:pt x="122" y="62"/>
                      </a:lnTo>
                      <a:lnTo>
                        <a:pt x="112" y="55"/>
                      </a:lnTo>
                      <a:lnTo>
                        <a:pt x="106" y="52"/>
                      </a:lnTo>
                      <a:lnTo>
                        <a:pt x="103" y="52"/>
                      </a:lnTo>
                      <a:lnTo>
                        <a:pt x="101" y="53"/>
                      </a:lnTo>
                      <a:lnTo>
                        <a:pt x="98" y="55"/>
                      </a:lnTo>
                      <a:lnTo>
                        <a:pt x="97" y="56"/>
                      </a:lnTo>
                      <a:lnTo>
                        <a:pt x="95" y="56"/>
                      </a:lnTo>
                      <a:lnTo>
                        <a:pt x="93" y="52"/>
                      </a:lnTo>
                      <a:lnTo>
                        <a:pt x="92" y="49"/>
                      </a:lnTo>
                      <a:lnTo>
                        <a:pt x="92" y="45"/>
                      </a:lnTo>
                      <a:lnTo>
                        <a:pt x="95" y="43"/>
                      </a:lnTo>
                      <a:lnTo>
                        <a:pt x="95" y="41"/>
                      </a:lnTo>
                      <a:lnTo>
                        <a:pt x="95" y="40"/>
                      </a:lnTo>
                      <a:lnTo>
                        <a:pt x="93" y="39"/>
                      </a:lnTo>
                      <a:lnTo>
                        <a:pt x="89" y="38"/>
                      </a:lnTo>
                      <a:lnTo>
                        <a:pt x="87" y="37"/>
                      </a:lnTo>
                      <a:lnTo>
                        <a:pt x="78" y="31"/>
                      </a:lnTo>
                      <a:lnTo>
                        <a:pt x="69"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1" name="Freeform 985"/>
                <p:cNvSpPr>
                  <a:spLocks/>
                </p:cNvSpPr>
                <p:nvPr/>
              </p:nvSpPr>
              <p:spPr bwMode="auto">
                <a:xfrm>
                  <a:off x="2100938" y="2144019"/>
                  <a:ext cx="51795" cy="36996"/>
                </a:xfrm>
                <a:custGeom>
                  <a:avLst/>
                  <a:gdLst>
                    <a:gd name="T0" fmla="*/ 2147483647 w 38"/>
                    <a:gd name="T1" fmla="*/ 2147483647 h 25"/>
                    <a:gd name="T2" fmla="*/ 2147483647 w 38"/>
                    <a:gd name="T3" fmla="*/ 2147483647 h 25"/>
                    <a:gd name="T4" fmla="*/ 2147483647 w 38"/>
                    <a:gd name="T5" fmla="*/ 2147483647 h 25"/>
                    <a:gd name="T6" fmla="*/ 2147483647 w 38"/>
                    <a:gd name="T7" fmla="*/ 2147483647 h 25"/>
                    <a:gd name="T8" fmla="*/ 2147483647 w 38"/>
                    <a:gd name="T9" fmla="*/ 2147483647 h 25"/>
                    <a:gd name="T10" fmla="*/ 2147483647 w 38"/>
                    <a:gd name="T11" fmla="*/ 2147483647 h 25"/>
                    <a:gd name="T12" fmla="*/ 2147483647 w 38"/>
                    <a:gd name="T13" fmla="*/ 2147483647 h 25"/>
                    <a:gd name="T14" fmla="*/ 2147483647 w 38"/>
                    <a:gd name="T15" fmla="*/ 2147483647 h 25"/>
                    <a:gd name="T16" fmla="*/ 2147483647 w 38"/>
                    <a:gd name="T17" fmla="*/ 2147483647 h 25"/>
                    <a:gd name="T18" fmla="*/ 2147483647 w 38"/>
                    <a:gd name="T19" fmla="*/ 0 h 25"/>
                    <a:gd name="T20" fmla="*/ 2147483647 w 38"/>
                    <a:gd name="T21" fmla="*/ 0 h 25"/>
                    <a:gd name="T22" fmla="*/ 2147483647 w 38"/>
                    <a:gd name="T23" fmla="*/ 0 h 25"/>
                    <a:gd name="T24" fmla="*/ 2147483647 w 38"/>
                    <a:gd name="T25" fmla="*/ 0 h 25"/>
                    <a:gd name="T26" fmla="*/ 0 w 38"/>
                    <a:gd name="T27" fmla="*/ 2147483647 h 25"/>
                    <a:gd name="T28" fmla="*/ 0 w 38"/>
                    <a:gd name="T29" fmla="*/ 2147483647 h 25"/>
                    <a:gd name="T30" fmla="*/ 0 w 38"/>
                    <a:gd name="T31" fmla="*/ 2147483647 h 25"/>
                    <a:gd name="T32" fmla="*/ 2147483647 w 38"/>
                    <a:gd name="T33" fmla="*/ 2147483647 h 25"/>
                    <a:gd name="T34" fmla="*/ 2147483647 w 38"/>
                    <a:gd name="T35" fmla="*/ 2147483647 h 25"/>
                    <a:gd name="T36" fmla="*/ 2147483647 w 38"/>
                    <a:gd name="T37" fmla="*/ 2147483647 h 25"/>
                    <a:gd name="T38" fmla="*/ 2147483647 w 38"/>
                    <a:gd name="T39" fmla="*/ 2147483647 h 25"/>
                    <a:gd name="T40" fmla="*/ 2147483647 w 38"/>
                    <a:gd name="T41" fmla="*/ 2147483647 h 25"/>
                    <a:gd name="T42" fmla="*/ 2147483647 w 38"/>
                    <a:gd name="T43" fmla="*/ 2147483647 h 25"/>
                    <a:gd name="T44" fmla="*/ 2147483647 w 38"/>
                    <a:gd name="T45" fmla="*/ 2147483647 h 25"/>
                    <a:gd name="T46" fmla="*/ 2147483647 w 38"/>
                    <a:gd name="T47" fmla="*/ 2147483647 h 25"/>
                    <a:gd name="T48" fmla="*/ 2147483647 w 38"/>
                    <a:gd name="T49" fmla="*/ 2147483647 h 25"/>
                    <a:gd name="T50" fmla="*/ 2147483647 w 38"/>
                    <a:gd name="T51" fmla="*/ 2147483647 h 25"/>
                    <a:gd name="T52" fmla="*/ 2147483647 w 38"/>
                    <a:gd name="T53" fmla="*/ 2147483647 h 25"/>
                    <a:gd name="T54" fmla="*/ 2147483647 w 38"/>
                    <a:gd name="T55" fmla="*/ 2147483647 h 25"/>
                    <a:gd name="T56" fmla="*/ 2147483647 w 38"/>
                    <a:gd name="T57" fmla="*/ 2147483647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8"/>
                    <a:gd name="T88" fmla="*/ 0 h 25"/>
                    <a:gd name="T89" fmla="*/ 38 w 38"/>
                    <a:gd name="T90" fmla="*/ 25 h 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8" h="25">
                      <a:moveTo>
                        <a:pt x="31" y="15"/>
                      </a:moveTo>
                      <a:lnTo>
                        <a:pt x="31" y="15"/>
                      </a:lnTo>
                      <a:lnTo>
                        <a:pt x="34" y="11"/>
                      </a:lnTo>
                      <a:lnTo>
                        <a:pt x="36" y="7"/>
                      </a:lnTo>
                      <a:lnTo>
                        <a:pt x="38" y="6"/>
                      </a:lnTo>
                      <a:lnTo>
                        <a:pt x="36" y="5"/>
                      </a:lnTo>
                      <a:lnTo>
                        <a:pt x="33" y="2"/>
                      </a:lnTo>
                      <a:lnTo>
                        <a:pt x="29" y="0"/>
                      </a:lnTo>
                      <a:lnTo>
                        <a:pt x="24" y="0"/>
                      </a:lnTo>
                      <a:lnTo>
                        <a:pt x="20" y="0"/>
                      </a:lnTo>
                      <a:lnTo>
                        <a:pt x="10" y="0"/>
                      </a:lnTo>
                      <a:lnTo>
                        <a:pt x="0" y="1"/>
                      </a:lnTo>
                      <a:lnTo>
                        <a:pt x="0" y="3"/>
                      </a:lnTo>
                      <a:lnTo>
                        <a:pt x="1" y="5"/>
                      </a:lnTo>
                      <a:lnTo>
                        <a:pt x="5" y="6"/>
                      </a:lnTo>
                      <a:lnTo>
                        <a:pt x="8" y="8"/>
                      </a:lnTo>
                      <a:lnTo>
                        <a:pt x="14" y="13"/>
                      </a:lnTo>
                      <a:lnTo>
                        <a:pt x="19" y="19"/>
                      </a:lnTo>
                      <a:lnTo>
                        <a:pt x="24" y="24"/>
                      </a:lnTo>
                      <a:lnTo>
                        <a:pt x="25" y="25"/>
                      </a:lnTo>
                      <a:lnTo>
                        <a:pt x="26" y="24"/>
                      </a:lnTo>
                      <a:lnTo>
                        <a:pt x="27" y="21"/>
                      </a:lnTo>
                      <a:lnTo>
                        <a:pt x="31"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2" name="Freeform 986"/>
                <p:cNvSpPr>
                  <a:spLocks/>
                </p:cNvSpPr>
                <p:nvPr/>
              </p:nvSpPr>
              <p:spPr bwMode="auto">
                <a:xfrm>
                  <a:off x="2571538" y="2474029"/>
                  <a:ext cx="167224" cy="124309"/>
                </a:xfrm>
                <a:custGeom>
                  <a:avLst/>
                  <a:gdLst>
                    <a:gd name="T0" fmla="*/ 2147483647 w 122"/>
                    <a:gd name="T1" fmla="*/ 2147483647 h 84"/>
                    <a:gd name="T2" fmla="*/ 2147483647 w 122"/>
                    <a:gd name="T3" fmla="*/ 2147483647 h 84"/>
                    <a:gd name="T4" fmla="*/ 2147483647 w 122"/>
                    <a:gd name="T5" fmla="*/ 2147483647 h 84"/>
                    <a:gd name="T6" fmla="*/ 2147483647 w 122"/>
                    <a:gd name="T7" fmla="*/ 2147483647 h 84"/>
                    <a:gd name="T8" fmla="*/ 2147483647 w 122"/>
                    <a:gd name="T9" fmla="*/ 2147483647 h 84"/>
                    <a:gd name="T10" fmla="*/ 2147483647 w 122"/>
                    <a:gd name="T11" fmla="*/ 2147483647 h 84"/>
                    <a:gd name="T12" fmla="*/ 2147483647 w 122"/>
                    <a:gd name="T13" fmla="*/ 2147483647 h 84"/>
                    <a:gd name="T14" fmla="*/ 2147483647 w 122"/>
                    <a:gd name="T15" fmla="*/ 2147483647 h 84"/>
                    <a:gd name="T16" fmla="*/ 2147483647 w 122"/>
                    <a:gd name="T17" fmla="*/ 2147483647 h 84"/>
                    <a:gd name="T18" fmla="*/ 2147483647 w 122"/>
                    <a:gd name="T19" fmla="*/ 0 h 84"/>
                    <a:gd name="T20" fmla="*/ 2147483647 w 122"/>
                    <a:gd name="T21" fmla="*/ 2147483647 h 84"/>
                    <a:gd name="T22" fmla="*/ 2147483647 w 122"/>
                    <a:gd name="T23" fmla="*/ 2147483647 h 84"/>
                    <a:gd name="T24" fmla="*/ 2147483647 w 122"/>
                    <a:gd name="T25" fmla="*/ 2147483647 h 84"/>
                    <a:gd name="T26" fmla="*/ 2147483647 w 122"/>
                    <a:gd name="T27" fmla="*/ 2147483647 h 84"/>
                    <a:gd name="T28" fmla="*/ 0 w 122"/>
                    <a:gd name="T29" fmla="*/ 2147483647 h 84"/>
                    <a:gd name="T30" fmla="*/ 2147483647 w 122"/>
                    <a:gd name="T31" fmla="*/ 2147483647 h 84"/>
                    <a:gd name="T32" fmla="*/ 2147483647 w 122"/>
                    <a:gd name="T33" fmla="*/ 2147483647 h 84"/>
                    <a:gd name="T34" fmla="*/ 2147483647 w 122"/>
                    <a:gd name="T35" fmla="*/ 2147483647 h 84"/>
                    <a:gd name="T36" fmla="*/ 2147483647 w 122"/>
                    <a:gd name="T37" fmla="*/ 2147483647 h 84"/>
                    <a:gd name="T38" fmla="*/ 2147483647 w 122"/>
                    <a:gd name="T39" fmla="*/ 2147483647 h 84"/>
                    <a:gd name="T40" fmla="*/ 2147483647 w 122"/>
                    <a:gd name="T41" fmla="*/ 2147483647 h 84"/>
                    <a:gd name="T42" fmla="*/ 2147483647 w 122"/>
                    <a:gd name="T43" fmla="*/ 2147483647 h 84"/>
                    <a:gd name="T44" fmla="*/ 2147483647 w 122"/>
                    <a:gd name="T45" fmla="*/ 2147483647 h 84"/>
                    <a:gd name="T46" fmla="*/ 2147483647 w 122"/>
                    <a:gd name="T47" fmla="*/ 2147483647 h 84"/>
                    <a:gd name="T48" fmla="*/ 2147483647 w 122"/>
                    <a:gd name="T49" fmla="*/ 2147483647 h 84"/>
                    <a:gd name="T50" fmla="*/ 2147483647 w 122"/>
                    <a:gd name="T51" fmla="*/ 2147483647 h 84"/>
                    <a:gd name="T52" fmla="*/ 2147483647 w 122"/>
                    <a:gd name="T53" fmla="*/ 2147483647 h 84"/>
                    <a:gd name="T54" fmla="*/ 2147483647 w 122"/>
                    <a:gd name="T55" fmla="*/ 2147483647 h 84"/>
                    <a:gd name="T56" fmla="*/ 2147483647 w 122"/>
                    <a:gd name="T57" fmla="*/ 2147483647 h 84"/>
                    <a:gd name="T58" fmla="*/ 2147483647 w 122"/>
                    <a:gd name="T59" fmla="*/ 2147483647 h 84"/>
                    <a:gd name="T60" fmla="*/ 2147483647 w 122"/>
                    <a:gd name="T61" fmla="*/ 2147483647 h 84"/>
                    <a:gd name="T62" fmla="*/ 2147483647 w 122"/>
                    <a:gd name="T63" fmla="*/ 2147483647 h 84"/>
                    <a:gd name="T64" fmla="*/ 2147483647 w 122"/>
                    <a:gd name="T65" fmla="*/ 2147483647 h 84"/>
                    <a:gd name="T66" fmla="*/ 2147483647 w 122"/>
                    <a:gd name="T67" fmla="*/ 2147483647 h 84"/>
                    <a:gd name="T68" fmla="*/ 2147483647 w 122"/>
                    <a:gd name="T69" fmla="*/ 2147483647 h 84"/>
                    <a:gd name="T70" fmla="*/ 2147483647 w 122"/>
                    <a:gd name="T71" fmla="*/ 2147483647 h 84"/>
                    <a:gd name="T72" fmla="*/ 2147483647 w 122"/>
                    <a:gd name="T73" fmla="*/ 2147483647 h 84"/>
                    <a:gd name="T74" fmla="*/ 2147483647 w 122"/>
                    <a:gd name="T75" fmla="*/ 2147483647 h 84"/>
                    <a:gd name="T76" fmla="*/ 2147483647 w 122"/>
                    <a:gd name="T77" fmla="*/ 2147483647 h 84"/>
                    <a:gd name="T78" fmla="*/ 2147483647 w 122"/>
                    <a:gd name="T79" fmla="*/ 2147483647 h 84"/>
                    <a:gd name="T80" fmla="*/ 2147483647 w 122"/>
                    <a:gd name="T81" fmla="*/ 2147483647 h 84"/>
                    <a:gd name="T82" fmla="*/ 2147483647 w 122"/>
                    <a:gd name="T83" fmla="*/ 2147483647 h 84"/>
                    <a:gd name="T84" fmla="*/ 2147483647 w 122"/>
                    <a:gd name="T85" fmla="*/ 2147483647 h 84"/>
                    <a:gd name="T86" fmla="*/ 2147483647 w 122"/>
                    <a:gd name="T87" fmla="*/ 2147483647 h 84"/>
                    <a:gd name="T88" fmla="*/ 2147483647 w 122"/>
                    <a:gd name="T89" fmla="*/ 2147483647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2"/>
                    <a:gd name="T136" fmla="*/ 0 h 84"/>
                    <a:gd name="T137" fmla="*/ 122 w 122"/>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2" h="84">
                      <a:moveTo>
                        <a:pt x="69" y="26"/>
                      </a:moveTo>
                      <a:lnTo>
                        <a:pt x="69" y="26"/>
                      </a:lnTo>
                      <a:lnTo>
                        <a:pt x="65" y="25"/>
                      </a:lnTo>
                      <a:lnTo>
                        <a:pt x="62" y="26"/>
                      </a:lnTo>
                      <a:lnTo>
                        <a:pt x="60" y="27"/>
                      </a:lnTo>
                      <a:lnTo>
                        <a:pt x="56" y="26"/>
                      </a:lnTo>
                      <a:lnTo>
                        <a:pt x="53" y="25"/>
                      </a:lnTo>
                      <a:lnTo>
                        <a:pt x="52" y="22"/>
                      </a:lnTo>
                      <a:lnTo>
                        <a:pt x="48" y="18"/>
                      </a:lnTo>
                      <a:lnTo>
                        <a:pt x="47" y="18"/>
                      </a:lnTo>
                      <a:lnTo>
                        <a:pt x="46" y="18"/>
                      </a:lnTo>
                      <a:lnTo>
                        <a:pt x="42" y="20"/>
                      </a:lnTo>
                      <a:lnTo>
                        <a:pt x="41" y="21"/>
                      </a:lnTo>
                      <a:lnTo>
                        <a:pt x="38" y="22"/>
                      </a:lnTo>
                      <a:lnTo>
                        <a:pt x="35" y="21"/>
                      </a:lnTo>
                      <a:lnTo>
                        <a:pt x="34" y="19"/>
                      </a:lnTo>
                      <a:lnTo>
                        <a:pt x="34" y="16"/>
                      </a:lnTo>
                      <a:lnTo>
                        <a:pt x="35" y="14"/>
                      </a:lnTo>
                      <a:lnTo>
                        <a:pt x="38" y="10"/>
                      </a:lnTo>
                      <a:lnTo>
                        <a:pt x="39" y="9"/>
                      </a:lnTo>
                      <a:lnTo>
                        <a:pt x="38" y="7"/>
                      </a:lnTo>
                      <a:lnTo>
                        <a:pt x="35" y="3"/>
                      </a:lnTo>
                      <a:lnTo>
                        <a:pt x="33" y="1"/>
                      </a:lnTo>
                      <a:lnTo>
                        <a:pt x="30" y="0"/>
                      </a:lnTo>
                      <a:lnTo>
                        <a:pt x="29" y="0"/>
                      </a:lnTo>
                      <a:lnTo>
                        <a:pt x="27" y="1"/>
                      </a:lnTo>
                      <a:lnTo>
                        <a:pt x="25" y="2"/>
                      </a:lnTo>
                      <a:lnTo>
                        <a:pt x="20" y="13"/>
                      </a:lnTo>
                      <a:lnTo>
                        <a:pt x="16" y="24"/>
                      </a:lnTo>
                      <a:lnTo>
                        <a:pt x="14" y="34"/>
                      </a:lnTo>
                      <a:lnTo>
                        <a:pt x="11" y="45"/>
                      </a:lnTo>
                      <a:lnTo>
                        <a:pt x="9" y="51"/>
                      </a:lnTo>
                      <a:lnTo>
                        <a:pt x="5" y="56"/>
                      </a:lnTo>
                      <a:lnTo>
                        <a:pt x="1" y="60"/>
                      </a:lnTo>
                      <a:lnTo>
                        <a:pt x="0" y="65"/>
                      </a:lnTo>
                      <a:lnTo>
                        <a:pt x="0" y="66"/>
                      </a:lnTo>
                      <a:lnTo>
                        <a:pt x="1" y="67"/>
                      </a:lnTo>
                      <a:lnTo>
                        <a:pt x="5" y="69"/>
                      </a:lnTo>
                      <a:lnTo>
                        <a:pt x="6" y="70"/>
                      </a:lnTo>
                      <a:lnTo>
                        <a:pt x="14" y="69"/>
                      </a:lnTo>
                      <a:lnTo>
                        <a:pt x="18" y="67"/>
                      </a:lnTo>
                      <a:lnTo>
                        <a:pt x="22" y="69"/>
                      </a:lnTo>
                      <a:lnTo>
                        <a:pt x="23" y="71"/>
                      </a:lnTo>
                      <a:lnTo>
                        <a:pt x="22" y="72"/>
                      </a:lnTo>
                      <a:lnTo>
                        <a:pt x="20" y="73"/>
                      </a:lnTo>
                      <a:lnTo>
                        <a:pt x="20" y="76"/>
                      </a:lnTo>
                      <a:lnTo>
                        <a:pt x="23" y="77"/>
                      </a:lnTo>
                      <a:lnTo>
                        <a:pt x="23" y="79"/>
                      </a:lnTo>
                      <a:lnTo>
                        <a:pt x="24" y="82"/>
                      </a:lnTo>
                      <a:lnTo>
                        <a:pt x="25" y="84"/>
                      </a:lnTo>
                      <a:lnTo>
                        <a:pt x="28" y="83"/>
                      </a:lnTo>
                      <a:lnTo>
                        <a:pt x="30" y="83"/>
                      </a:lnTo>
                      <a:lnTo>
                        <a:pt x="32" y="83"/>
                      </a:lnTo>
                      <a:lnTo>
                        <a:pt x="33" y="84"/>
                      </a:lnTo>
                      <a:lnTo>
                        <a:pt x="34" y="84"/>
                      </a:lnTo>
                      <a:lnTo>
                        <a:pt x="39" y="80"/>
                      </a:lnTo>
                      <a:lnTo>
                        <a:pt x="47" y="78"/>
                      </a:lnTo>
                      <a:lnTo>
                        <a:pt x="49" y="77"/>
                      </a:lnTo>
                      <a:lnTo>
                        <a:pt x="52" y="75"/>
                      </a:lnTo>
                      <a:lnTo>
                        <a:pt x="55" y="72"/>
                      </a:lnTo>
                      <a:lnTo>
                        <a:pt x="56" y="69"/>
                      </a:lnTo>
                      <a:lnTo>
                        <a:pt x="57" y="54"/>
                      </a:lnTo>
                      <a:lnTo>
                        <a:pt x="60" y="52"/>
                      </a:lnTo>
                      <a:lnTo>
                        <a:pt x="62" y="51"/>
                      </a:lnTo>
                      <a:lnTo>
                        <a:pt x="66" y="50"/>
                      </a:lnTo>
                      <a:lnTo>
                        <a:pt x="70" y="50"/>
                      </a:lnTo>
                      <a:lnTo>
                        <a:pt x="72" y="51"/>
                      </a:lnTo>
                      <a:lnTo>
                        <a:pt x="74" y="53"/>
                      </a:lnTo>
                      <a:lnTo>
                        <a:pt x="76" y="58"/>
                      </a:lnTo>
                      <a:lnTo>
                        <a:pt x="79" y="63"/>
                      </a:lnTo>
                      <a:lnTo>
                        <a:pt x="81" y="67"/>
                      </a:lnTo>
                      <a:lnTo>
                        <a:pt x="82" y="69"/>
                      </a:lnTo>
                      <a:lnTo>
                        <a:pt x="84" y="70"/>
                      </a:lnTo>
                      <a:lnTo>
                        <a:pt x="86" y="69"/>
                      </a:lnTo>
                      <a:lnTo>
                        <a:pt x="89" y="70"/>
                      </a:lnTo>
                      <a:lnTo>
                        <a:pt x="94" y="72"/>
                      </a:lnTo>
                      <a:lnTo>
                        <a:pt x="96" y="73"/>
                      </a:lnTo>
                      <a:lnTo>
                        <a:pt x="100" y="75"/>
                      </a:lnTo>
                      <a:lnTo>
                        <a:pt x="102" y="76"/>
                      </a:lnTo>
                      <a:lnTo>
                        <a:pt x="103" y="76"/>
                      </a:lnTo>
                      <a:lnTo>
                        <a:pt x="104" y="75"/>
                      </a:lnTo>
                      <a:lnTo>
                        <a:pt x="113" y="70"/>
                      </a:lnTo>
                      <a:lnTo>
                        <a:pt x="121" y="64"/>
                      </a:lnTo>
                      <a:lnTo>
                        <a:pt x="122" y="63"/>
                      </a:lnTo>
                      <a:lnTo>
                        <a:pt x="122" y="61"/>
                      </a:lnTo>
                      <a:lnTo>
                        <a:pt x="112" y="54"/>
                      </a:lnTo>
                      <a:lnTo>
                        <a:pt x="105" y="52"/>
                      </a:lnTo>
                      <a:lnTo>
                        <a:pt x="103" y="52"/>
                      </a:lnTo>
                      <a:lnTo>
                        <a:pt x="100" y="53"/>
                      </a:lnTo>
                      <a:lnTo>
                        <a:pt x="98" y="54"/>
                      </a:lnTo>
                      <a:lnTo>
                        <a:pt x="96" y="56"/>
                      </a:lnTo>
                      <a:lnTo>
                        <a:pt x="95" y="56"/>
                      </a:lnTo>
                      <a:lnTo>
                        <a:pt x="93" y="52"/>
                      </a:lnTo>
                      <a:lnTo>
                        <a:pt x="91" y="48"/>
                      </a:lnTo>
                      <a:lnTo>
                        <a:pt x="91" y="45"/>
                      </a:lnTo>
                      <a:lnTo>
                        <a:pt x="95" y="42"/>
                      </a:lnTo>
                      <a:lnTo>
                        <a:pt x="95" y="41"/>
                      </a:lnTo>
                      <a:lnTo>
                        <a:pt x="95" y="40"/>
                      </a:lnTo>
                      <a:lnTo>
                        <a:pt x="93" y="39"/>
                      </a:lnTo>
                      <a:lnTo>
                        <a:pt x="89" y="38"/>
                      </a:lnTo>
                      <a:lnTo>
                        <a:pt x="86" y="37"/>
                      </a:lnTo>
                      <a:lnTo>
                        <a:pt x="77" y="31"/>
                      </a:lnTo>
                      <a:lnTo>
                        <a:pt x="69" y="2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3" name="Freeform 987"/>
                <p:cNvSpPr>
                  <a:spLocks/>
                </p:cNvSpPr>
                <p:nvPr/>
              </p:nvSpPr>
              <p:spPr bwMode="auto">
                <a:xfrm>
                  <a:off x="2698807" y="2963865"/>
                  <a:ext cx="29597" cy="19238"/>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0 h 13"/>
                    <a:gd name="T14" fmla="*/ 2147483647 w 22"/>
                    <a:gd name="T15" fmla="*/ 0 h 13"/>
                    <a:gd name="T16" fmla="*/ 2147483647 w 22"/>
                    <a:gd name="T17" fmla="*/ 2147483647 h 13"/>
                    <a:gd name="T18" fmla="*/ 0 w 22"/>
                    <a:gd name="T19" fmla="*/ 2147483647 h 13"/>
                    <a:gd name="T20" fmla="*/ 0 w 22"/>
                    <a:gd name="T21" fmla="*/ 2147483647 h 13"/>
                    <a:gd name="T22" fmla="*/ 2147483647 w 22"/>
                    <a:gd name="T23" fmla="*/ 2147483647 h 13"/>
                    <a:gd name="T24" fmla="*/ 2147483647 w 22"/>
                    <a:gd name="T25" fmla="*/ 2147483647 h 13"/>
                    <a:gd name="T26" fmla="*/ 2147483647 w 22"/>
                    <a:gd name="T27" fmla="*/ 2147483647 h 13"/>
                    <a:gd name="T28" fmla="*/ 2147483647 w 22"/>
                    <a:gd name="T29" fmla="*/ 2147483647 h 13"/>
                    <a:gd name="T30" fmla="*/ 2147483647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
                    <a:gd name="T64" fmla="*/ 0 h 13"/>
                    <a:gd name="T65" fmla="*/ 22 w 22"/>
                    <a:gd name="T66" fmla="*/ 13 h 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 h="13">
                      <a:moveTo>
                        <a:pt x="21" y="7"/>
                      </a:moveTo>
                      <a:lnTo>
                        <a:pt x="20" y="6"/>
                      </a:lnTo>
                      <a:lnTo>
                        <a:pt x="20" y="4"/>
                      </a:lnTo>
                      <a:lnTo>
                        <a:pt x="20" y="3"/>
                      </a:lnTo>
                      <a:lnTo>
                        <a:pt x="19" y="2"/>
                      </a:lnTo>
                      <a:lnTo>
                        <a:pt x="11" y="1"/>
                      </a:lnTo>
                      <a:lnTo>
                        <a:pt x="5" y="0"/>
                      </a:lnTo>
                      <a:lnTo>
                        <a:pt x="2" y="0"/>
                      </a:lnTo>
                      <a:lnTo>
                        <a:pt x="1" y="1"/>
                      </a:lnTo>
                      <a:lnTo>
                        <a:pt x="0" y="4"/>
                      </a:lnTo>
                      <a:lnTo>
                        <a:pt x="0" y="7"/>
                      </a:lnTo>
                      <a:lnTo>
                        <a:pt x="2" y="9"/>
                      </a:lnTo>
                      <a:lnTo>
                        <a:pt x="10" y="9"/>
                      </a:lnTo>
                      <a:lnTo>
                        <a:pt x="14" y="9"/>
                      </a:lnTo>
                      <a:lnTo>
                        <a:pt x="17" y="11"/>
                      </a:lnTo>
                      <a:lnTo>
                        <a:pt x="20" y="13"/>
                      </a:lnTo>
                      <a:lnTo>
                        <a:pt x="21" y="11"/>
                      </a:lnTo>
                      <a:lnTo>
                        <a:pt x="22" y="10"/>
                      </a:lnTo>
                      <a:lnTo>
                        <a:pt x="22" y="9"/>
                      </a:lnTo>
                      <a:lnTo>
                        <a:pt x="22" y="8"/>
                      </a:lnTo>
                      <a:lnTo>
                        <a:pt x="21"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4" name="Freeform 988"/>
                <p:cNvSpPr>
                  <a:spLocks/>
                </p:cNvSpPr>
                <p:nvPr/>
              </p:nvSpPr>
              <p:spPr bwMode="auto">
                <a:xfrm>
                  <a:off x="3107252" y="3185846"/>
                  <a:ext cx="4439" cy="16278"/>
                </a:xfrm>
                <a:custGeom>
                  <a:avLst/>
                  <a:gdLst>
                    <a:gd name="T0" fmla="*/ 2147483647 w 3"/>
                    <a:gd name="T1" fmla="*/ 0 h 11"/>
                    <a:gd name="T2" fmla="*/ 0 w 3"/>
                    <a:gd name="T3" fmla="*/ 2147483647 h 11"/>
                    <a:gd name="T4" fmla="*/ 0 w 3"/>
                    <a:gd name="T5" fmla="*/ 2147483647 h 11"/>
                    <a:gd name="T6" fmla="*/ 0 w 3"/>
                    <a:gd name="T7" fmla="*/ 2147483647 h 11"/>
                    <a:gd name="T8" fmla="*/ 2147483647 w 3"/>
                    <a:gd name="T9" fmla="*/ 2147483647 h 11"/>
                    <a:gd name="T10" fmla="*/ 2147483647 w 3"/>
                    <a:gd name="T11" fmla="*/ 2147483647 h 11"/>
                    <a:gd name="T12" fmla="*/ 2147483647 w 3"/>
                    <a:gd name="T13" fmla="*/ 0 h 11"/>
                    <a:gd name="T14" fmla="*/ 0 60000 65536"/>
                    <a:gd name="T15" fmla="*/ 0 60000 65536"/>
                    <a:gd name="T16" fmla="*/ 0 60000 65536"/>
                    <a:gd name="T17" fmla="*/ 0 60000 65536"/>
                    <a:gd name="T18" fmla="*/ 0 60000 65536"/>
                    <a:gd name="T19" fmla="*/ 0 60000 65536"/>
                    <a:gd name="T20" fmla="*/ 0 60000 65536"/>
                    <a:gd name="T21" fmla="*/ 0 w 3"/>
                    <a:gd name="T22" fmla="*/ 0 h 11"/>
                    <a:gd name="T23" fmla="*/ 3 w 3"/>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1">
                      <a:moveTo>
                        <a:pt x="3" y="0"/>
                      </a:moveTo>
                      <a:lnTo>
                        <a:pt x="0" y="3"/>
                      </a:lnTo>
                      <a:lnTo>
                        <a:pt x="0" y="5"/>
                      </a:lnTo>
                      <a:lnTo>
                        <a:pt x="0" y="8"/>
                      </a:lnTo>
                      <a:lnTo>
                        <a:pt x="2" y="10"/>
                      </a:lnTo>
                      <a:lnTo>
                        <a:pt x="3" y="11"/>
                      </a:lnTo>
                      <a:lnTo>
                        <a:pt x="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5" name="Freeform 989"/>
                <p:cNvSpPr>
                  <a:spLocks/>
                </p:cNvSpPr>
                <p:nvPr/>
              </p:nvSpPr>
              <p:spPr bwMode="auto">
                <a:xfrm>
                  <a:off x="2695850" y="2960908"/>
                  <a:ext cx="31077" cy="19238"/>
                </a:xfrm>
                <a:custGeom>
                  <a:avLst/>
                  <a:gdLst>
                    <a:gd name="T0" fmla="*/ 2147483647 w 23"/>
                    <a:gd name="T1" fmla="*/ 2147483647 h 13"/>
                    <a:gd name="T2" fmla="*/ 2147483647 w 23"/>
                    <a:gd name="T3" fmla="*/ 2147483647 h 13"/>
                    <a:gd name="T4" fmla="*/ 2147483647 w 23"/>
                    <a:gd name="T5" fmla="*/ 2147483647 h 13"/>
                    <a:gd name="T6" fmla="*/ 2147483647 w 23"/>
                    <a:gd name="T7" fmla="*/ 2147483647 h 13"/>
                    <a:gd name="T8" fmla="*/ 2147483647 w 23"/>
                    <a:gd name="T9" fmla="*/ 2147483647 h 13"/>
                    <a:gd name="T10" fmla="*/ 2147483647 w 23"/>
                    <a:gd name="T11" fmla="*/ 2147483647 h 13"/>
                    <a:gd name="T12" fmla="*/ 2147483647 w 23"/>
                    <a:gd name="T13" fmla="*/ 2147483647 h 13"/>
                    <a:gd name="T14" fmla="*/ 2147483647 w 23"/>
                    <a:gd name="T15" fmla="*/ 2147483647 h 13"/>
                    <a:gd name="T16" fmla="*/ 2147483647 w 23"/>
                    <a:gd name="T17" fmla="*/ 0 h 13"/>
                    <a:gd name="T18" fmla="*/ 2147483647 w 23"/>
                    <a:gd name="T19" fmla="*/ 0 h 13"/>
                    <a:gd name="T20" fmla="*/ 2147483647 w 23"/>
                    <a:gd name="T21" fmla="*/ 0 h 13"/>
                    <a:gd name="T22" fmla="*/ 2147483647 w 23"/>
                    <a:gd name="T23" fmla="*/ 2147483647 h 13"/>
                    <a:gd name="T24" fmla="*/ 0 w 23"/>
                    <a:gd name="T25" fmla="*/ 2147483647 h 13"/>
                    <a:gd name="T26" fmla="*/ 0 w 23"/>
                    <a:gd name="T27" fmla="*/ 2147483647 h 13"/>
                    <a:gd name="T28" fmla="*/ 0 w 23"/>
                    <a:gd name="T29" fmla="*/ 2147483647 h 13"/>
                    <a:gd name="T30" fmla="*/ 2147483647 w 23"/>
                    <a:gd name="T31" fmla="*/ 2147483647 h 13"/>
                    <a:gd name="T32" fmla="*/ 2147483647 w 23"/>
                    <a:gd name="T33" fmla="*/ 2147483647 h 13"/>
                    <a:gd name="T34" fmla="*/ 2147483647 w 23"/>
                    <a:gd name="T35" fmla="*/ 2147483647 h 13"/>
                    <a:gd name="T36" fmla="*/ 2147483647 w 23"/>
                    <a:gd name="T37" fmla="*/ 2147483647 h 13"/>
                    <a:gd name="T38" fmla="*/ 2147483647 w 23"/>
                    <a:gd name="T39" fmla="*/ 2147483647 h 13"/>
                    <a:gd name="T40" fmla="*/ 2147483647 w 23"/>
                    <a:gd name="T41" fmla="*/ 2147483647 h 13"/>
                    <a:gd name="T42" fmla="*/ 2147483647 w 23"/>
                    <a:gd name="T43" fmla="*/ 2147483647 h 13"/>
                    <a:gd name="T44" fmla="*/ 2147483647 w 23"/>
                    <a:gd name="T45" fmla="*/ 2147483647 h 13"/>
                    <a:gd name="T46" fmla="*/ 2147483647 w 23"/>
                    <a:gd name="T47" fmla="*/ 2147483647 h 13"/>
                    <a:gd name="T48" fmla="*/ 2147483647 w 23"/>
                    <a:gd name="T49" fmla="*/ 2147483647 h 13"/>
                    <a:gd name="T50" fmla="*/ 2147483647 w 23"/>
                    <a:gd name="T51" fmla="*/ 2147483647 h 13"/>
                    <a:gd name="T52" fmla="*/ 2147483647 w 23"/>
                    <a:gd name="T53" fmla="*/ 2147483647 h 13"/>
                    <a:gd name="T54" fmla="*/ 2147483647 w 23"/>
                    <a:gd name="T55" fmla="*/ 2147483647 h 13"/>
                    <a:gd name="T56" fmla="*/ 2147483647 w 23"/>
                    <a:gd name="T57" fmla="*/ 2147483647 h 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13"/>
                    <a:gd name="T89" fmla="*/ 23 w 23"/>
                    <a:gd name="T90" fmla="*/ 13 h 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13">
                      <a:moveTo>
                        <a:pt x="22" y="8"/>
                      </a:moveTo>
                      <a:lnTo>
                        <a:pt x="22" y="8"/>
                      </a:lnTo>
                      <a:lnTo>
                        <a:pt x="21" y="6"/>
                      </a:lnTo>
                      <a:lnTo>
                        <a:pt x="21" y="5"/>
                      </a:lnTo>
                      <a:lnTo>
                        <a:pt x="21" y="4"/>
                      </a:lnTo>
                      <a:lnTo>
                        <a:pt x="19" y="3"/>
                      </a:lnTo>
                      <a:lnTo>
                        <a:pt x="12" y="2"/>
                      </a:lnTo>
                      <a:lnTo>
                        <a:pt x="5" y="0"/>
                      </a:lnTo>
                      <a:lnTo>
                        <a:pt x="3" y="0"/>
                      </a:lnTo>
                      <a:lnTo>
                        <a:pt x="2" y="2"/>
                      </a:lnTo>
                      <a:lnTo>
                        <a:pt x="0" y="5"/>
                      </a:lnTo>
                      <a:lnTo>
                        <a:pt x="0" y="8"/>
                      </a:lnTo>
                      <a:lnTo>
                        <a:pt x="3" y="10"/>
                      </a:lnTo>
                      <a:lnTo>
                        <a:pt x="11" y="10"/>
                      </a:lnTo>
                      <a:lnTo>
                        <a:pt x="14" y="10"/>
                      </a:lnTo>
                      <a:lnTo>
                        <a:pt x="18" y="12"/>
                      </a:lnTo>
                      <a:lnTo>
                        <a:pt x="21" y="13"/>
                      </a:lnTo>
                      <a:lnTo>
                        <a:pt x="22" y="12"/>
                      </a:lnTo>
                      <a:lnTo>
                        <a:pt x="23" y="11"/>
                      </a:lnTo>
                      <a:lnTo>
                        <a:pt x="23" y="10"/>
                      </a:lnTo>
                      <a:lnTo>
                        <a:pt x="23" y="9"/>
                      </a:lnTo>
                      <a:lnTo>
                        <a:pt x="22"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6" name="Freeform 990"/>
                <p:cNvSpPr>
                  <a:spLocks/>
                </p:cNvSpPr>
                <p:nvPr/>
              </p:nvSpPr>
              <p:spPr bwMode="auto">
                <a:xfrm>
                  <a:off x="3105772" y="3184369"/>
                  <a:ext cx="4440" cy="16279"/>
                </a:xfrm>
                <a:custGeom>
                  <a:avLst/>
                  <a:gdLst>
                    <a:gd name="T0" fmla="*/ 2147483647 w 3"/>
                    <a:gd name="T1" fmla="*/ 0 h 11"/>
                    <a:gd name="T2" fmla="*/ 2147483647 w 3"/>
                    <a:gd name="T3" fmla="*/ 0 h 11"/>
                    <a:gd name="T4" fmla="*/ 0 w 3"/>
                    <a:gd name="T5" fmla="*/ 2147483647 h 11"/>
                    <a:gd name="T6" fmla="*/ 0 w 3"/>
                    <a:gd name="T7" fmla="*/ 2147483647 h 11"/>
                    <a:gd name="T8" fmla="*/ 0 w 3"/>
                    <a:gd name="T9" fmla="*/ 2147483647 h 11"/>
                    <a:gd name="T10" fmla="*/ 0 w 3"/>
                    <a:gd name="T11" fmla="*/ 2147483647 h 11"/>
                    <a:gd name="T12" fmla="*/ 2147483647 w 3"/>
                    <a:gd name="T13" fmla="*/ 2147483647 h 11"/>
                    <a:gd name="T14" fmla="*/ 2147483647 w 3"/>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1"/>
                    <a:gd name="T26" fmla="*/ 3 w 3"/>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1">
                      <a:moveTo>
                        <a:pt x="3" y="0"/>
                      </a:moveTo>
                      <a:lnTo>
                        <a:pt x="3" y="0"/>
                      </a:lnTo>
                      <a:lnTo>
                        <a:pt x="0" y="2"/>
                      </a:lnTo>
                      <a:lnTo>
                        <a:pt x="0" y="5"/>
                      </a:lnTo>
                      <a:lnTo>
                        <a:pt x="0" y="8"/>
                      </a:lnTo>
                      <a:lnTo>
                        <a:pt x="1" y="9"/>
                      </a:lnTo>
                      <a:lnTo>
                        <a:pt x="3" y="11"/>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7" name="Freeform 991"/>
                <p:cNvSpPr>
                  <a:spLocks/>
                </p:cNvSpPr>
                <p:nvPr/>
              </p:nvSpPr>
              <p:spPr bwMode="auto">
                <a:xfrm>
                  <a:off x="3096892" y="3083738"/>
                  <a:ext cx="71034" cy="44396"/>
                </a:xfrm>
                <a:custGeom>
                  <a:avLst/>
                  <a:gdLst>
                    <a:gd name="T0" fmla="*/ 2147483647 w 52"/>
                    <a:gd name="T1" fmla="*/ 2147483647 h 30"/>
                    <a:gd name="T2" fmla="*/ 2147483647 w 52"/>
                    <a:gd name="T3" fmla="*/ 2147483647 h 30"/>
                    <a:gd name="T4" fmla="*/ 2147483647 w 52"/>
                    <a:gd name="T5" fmla="*/ 2147483647 h 30"/>
                    <a:gd name="T6" fmla="*/ 0 w 52"/>
                    <a:gd name="T7" fmla="*/ 2147483647 h 30"/>
                    <a:gd name="T8" fmla="*/ 2147483647 w 52"/>
                    <a:gd name="T9" fmla="*/ 2147483647 h 30"/>
                    <a:gd name="T10" fmla="*/ 2147483647 w 52"/>
                    <a:gd name="T11" fmla="*/ 0 h 30"/>
                    <a:gd name="T12" fmla="*/ 2147483647 w 52"/>
                    <a:gd name="T13" fmla="*/ 2147483647 h 30"/>
                    <a:gd name="T14" fmla="*/ 2147483647 w 52"/>
                    <a:gd name="T15" fmla="*/ 2147483647 h 30"/>
                    <a:gd name="T16" fmla="*/ 2147483647 w 52"/>
                    <a:gd name="T17" fmla="*/ 2147483647 h 30"/>
                    <a:gd name="T18" fmla="*/ 2147483647 w 52"/>
                    <a:gd name="T19" fmla="*/ 2147483647 h 30"/>
                    <a:gd name="T20" fmla="*/ 2147483647 w 52"/>
                    <a:gd name="T21" fmla="*/ 2147483647 h 30"/>
                    <a:gd name="T22" fmla="*/ 2147483647 w 52"/>
                    <a:gd name="T23" fmla="*/ 2147483647 h 30"/>
                    <a:gd name="T24" fmla="*/ 2147483647 w 52"/>
                    <a:gd name="T25" fmla="*/ 2147483647 h 30"/>
                    <a:gd name="T26" fmla="*/ 2147483647 w 52"/>
                    <a:gd name="T27" fmla="*/ 2147483647 h 30"/>
                    <a:gd name="T28" fmla="*/ 2147483647 w 52"/>
                    <a:gd name="T29" fmla="*/ 2147483647 h 30"/>
                    <a:gd name="T30" fmla="*/ 2147483647 w 52"/>
                    <a:gd name="T31" fmla="*/ 2147483647 h 30"/>
                    <a:gd name="T32" fmla="*/ 2147483647 w 52"/>
                    <a:gd name="T33" fmla="*/ 2147483647 h 30"/>
                    <a:gd name="T34" fmla="*/ 2147483647 w 52"/>
                    <a:gd name="T35" fmla="*/ 2147483647 h 30"/>
                    <a:gd name="T36" fmla="*/ 2147483647 w 52"/>
                    <a:gd name="T37" fmla="*/ 2147483647 h 30"/>
                    <a:gd name="T38" fmla="*/ 2147483647 w 52"/>
                    <a:gd name="T39" fmla="*/ 2147483647 h 30"/>
                    <a:gd name="T40" fmla="*/ 2147483647 w 52"/>
                    <a:gd name="T41" fmla="*/ 2147483647 h 30"/>
                    <a:gd name="T42" fmla="*/ 2147483647 w 52"/>
                    <a:gd name="T43" fmla="*/ 2147483647 h 30"/>
                    <a:gd name="T44" fmla="*/ 2147483647 w 52"/>
                    <a:gd name="T45" fmla="*/ 2147483647 h 30"/>
                    <a:gd name="T46" fmla="*/ 2147483647 w 52"/>
                    <a:gd name="T47" fmla="*/ 2147483647 h 30"/>
                    <a:gd name="T48" fmla="*/ 2147483647 w 52"/>
                    <a:gd name="T49" fmla="*/ 2147483647 h 30"/>
                    <a:gd name="T50" fmla="*/ 2147483647 w 52"/>
                    <a:gd name="T51" fmla="*/ 2147483647 h 30"/>
                    <a:gd name="T52" fmla="*/ 2147483647 w 52"/>
                    <a:gd name="T53" fmla="*/ 2147483647 h 30"/>
                    <a:gd name="T54" fmla="*/ 2147483647 w 52"/>
                    <a:gd name="T55" fmla="*/ 2147483647 h 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2"/>
                    <a:gd name="T85" fmla="*/ 0 h 30"/>
                    <a:gd name="T86" fmla="*/ 52 w 52"/>
                    <a:gd name="T87" fmla="*/ 30 h 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2" h="30">
                      <a:moveTo>
                        <a:pt x="9" y="9"/>
                      </a:moveTo>
                      <a:lnTo>
                        <a:pt x="7" y="6"/>
                      </a:lnTo>
                      <a:lnTo>
                        <a:pt x="5" y="5"/>
                      </a:lnTo>
                      <a:lnTo>
                        <a:pt x="0" y="3"/>
                      </a:lnTo>
                      <a:lnTo>
                        <a:pt x="5" y="2"/>
                      </a:lnTo>
                      <a:lnTo>
                        <a:pt x="10" y="0"/>
                      </a:lnTo>
                      <a:lnTo>
                        <a:pt x="12" y="3"/>
                      </a:lnTo>
                      <a:lnTo>
                        <a:pt x="15" y="3"/>
                      </a:lnTo>
                      <a:lnTo>
                        <a:pt x="21" y="2"/>
                      </a:lnTo>
                      <a:lnTo>
                        <a:pt x="25" y="2"/>
                      </a:lnTo>
                      <a:lnTo>
                        <a:pt x="26" y="3"/>
                      </a:lnTo>
                      <a:lnTo>
                        <a:pt x="31" y="5"/>
                      </a:lnTo>
                      <a:lnTo>
                        <a:pt x="38" y="12"/>
                      </a:lnTo>
                      <a:lnTo>
                        <a:pt x="47" y="19"/>
                      </a:lnTo>
                      <a:lnTo>
                        <a:pt x="50" y="24"/>
                      </a:lnTo>
                      <a:lnTo>
                        <a:pt x="52" y="29"/>
                      </a:lnTo>
                      <a:lnTo>
                        <a:pt x="50" y="29"/>
                      </a:lnTo>
                      <a:lnTo>
                        <a:pt x="49" y="30"/>
                      </a:lnTo>
                      <a:lnTo>
                        <a:pt x="37" y="25"/>
                      </a:lnTo>
                      <a:lnTo>
                        <a:pt x="30" y="24"/>
                      </a:lnTo>
                      <a:lnTo>
                        <a:pt x="24" y="24"/>
                      </a:lnTo>
                      <a:lnTo>
                        <a:pt x="20" y="23"/>
                      </a:lnTo>
                      <a:lnTo>
                        <a:pt x="19" y="22"/>
                      </a:lnTo>
                      <a:lnTo>
                        <a:pt x="17" y="21"/>
                      </a:lnTo>
                      <a:lnTo>
                        <a:pt x="16" y="16"/>
                      </a:lnTo>
                      <a:lnTo>
                        <a:pt x="15" y="13"/>
                      </a:lnTo>
                      <a:lnTo>
                        <a:pt x="11" y="11"/>
                      </a:lnTo>
                      <a:lnTo>
                        <a:pt x="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8" name="Freeform 992"/>
                <p:cNvSpPr>
                  <a:spLocks/>
                </p:cNvSpPr>
                <p:nvPr/>
              </p:nvSpPr>
              <p:spPr bwMode="auto">
                <a:xfrm>
                  <a:off x="2666250" y="3224326"/>
                  <a:ext cx="22198" cy="13319"/>
                </a:xfrm>
                <a:custGeom>
                  <a:avLst/>
                  <a:gdLst>
                    <a:gd name="T0" fmla="*/ 2147483647 w 16"/>
                    <a:gd name="T1" fmla="*/ 2147483647 h 9"/>
                    <a:gd name="T2" fmla="*/ 2147483647 w 16"/>
                    <a:gd name="T3" fmla="*/ 2147483647 h 9"/>
                    <a:gd name="T4" fmla="*/ 2147483647 w 16"/>
                    <a:gd name="T5" fmla="*/ 2147483647 h 9"/>
                    <a:gd name="T6" fmla="*/ 2147483647 w 16"/>
                    <a:gd name="T7" fmla="*/ 2147483647 h 9"/>
                    <a:gd name="T8" fmla="*/ 2147483647 w 16"/>
                    <a:gd name="T9" fmla="*/ 2147483647 h 9"/>
                    <a:gd name="T10" fmla="*/ 2147483647 w 16"/>
                    <a:gd name="T11" fmla="*/ 2147483647 h 9"/>
                    <a:gd name="T12" fmla="*/ 2147483647 w 16"/>
                    <a:gd name="T13" fmla="*/ 2147483647 h 9"/>
                    <a:gd name="T14" fmla="*/ 0 w 16"/>
                    <a:gd name="T15" fmla="*/ 2147483647 h 9"/>
                    <a:gd name="T16" fmla="*/ 0 w 16"/>
                    <a:gd name="T17" fmla="*/ 2147483647 h 9"/>
                    <a:gd name="T18" fmla="*/ 0 w 16"/>
                    <a:gd name="T19" fmla="*/ 0 h 9"/>
                    <a:gd name="T20" fmla="*/ 2147483647 w 16"/>
                    <a:gd name="T21" fmla="*/ 2147483647 h 9"/>
                    <a:gd name="T22" fmla="*/ 2147483647 w 16"/>
                    <a:gd name="T23" fmla="*/ 2147483647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9"/>
                    <a:gd name="T38" fmla="*/ 16 w 16"/>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9">
                      <a:moveTo>
                        <a:pt x="11" y="3"/>
                      </a:moveTo>
                      <a:lnTo>
                        <a:pt x="15" y="5"/>
                      </a:lnTo>
                      <a:lnTo>
                        <a:pt x="16" y="6"/>
                      </a:lnTo>
                      <a:lnTo>
                        <a:pt x="16" y="7"/>
                      </a:lnTo>
                      <a:lnTo>
                        <a:pt x="13" y="9"/>
                      </a:lnTo>
                      <a:lnTo>
                        <a:pt x="11" y="9"/>
                      </a:lnTo>
                      <a:lnTo>
                        <a:pt x="5" y="6"/>
                      </a:lnTo>
                      <a:lnTo>
                        <a:pt x="0" y="3"/>
                      </a:lnTo>
                      <a:lnTo>
                        <a:pt x="0" y="1"/>
                      </a:lnTo>
                      <a:lnTo>
                        <a:pt x="0" y="0"/>
                      </a:lnTo>
                      <a:lnTo>
                        <a:pt x="6" y="1"/>
                      </a:lnTo>
                      <a:lnTo>
                        <a:pt x="11"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19" name="Freeform 993"/>
                <p:cNvSpPr>
                  <a:spLocks/>
                </p:cNvSpPr>
                <p:nvPr/>
              </p:nvSpPr>
              <p:spPr bwMode="auto">
                <a:xfrm>
                  <a:off x="3095412" y="3082259"/>
                  <a:ext cx="71034" cy="44396"/>
                </a:xfrm>
                <a:custGeom>
                  <a:avLst/>
                  <a:gdLst>
                    <a:gd name="T0" fmla="*/ 2147483647 w 52"/>
                    <a:gd name="T1" fmla="*/ 2147483647 h 30"/>
                    <a:gd name="T2" fmla="*/ 2147483647 w 52"/>
                    <a:gd name="T3" fmla="*/ 2147483647 h 30"/>
                    <a:gd name="T4" fmla="*/ 2147483647 w 52"/>
                    <a:gd name="T5" fmla="*/ 2147483647 h 30"/>
                    <a:gd name="T6" fmla="*/ 2147483647 w 52"/>
                    <a:gd name="T7" fmla="*/ 2147483647 h 30"/>
                    <a:gd name="T8" fmla="*/ 0 w 52"/>
                    <a:gd name="T9" fmla="*/ 2147483647 h 30"/>
                    <a:gd name="T10" fmla="*/ 0 w 52"/>
                    <a:gd name="T11" fmla="*/ 2147483647 h 30"/>
                    <a:gd name="T12" fmla="*/ 2147483647 w 52"/>
                    <a:gd name="T13" fmla="*/ 2147483647 h 30"/>
                    <a:gd name="T14" fmla="*/ 2147483647 w 52"/>
                    <a:gd name="T15" fmla="*/ 0 h 30"/>
                    <a:gd name="T16" fmla="*/ 2147483647 w 52"/>
                    <a:gd name="T17" fmla="*/ 0 h 30"/>
                    <a:gd name="T18" fmla="*/ 2147483647 w 52"/>
                    <a:gd name="T19" fmla="*/ 2147483647 h 30"/>
                    <a:gd name="T20" fmla="*/ 2147483647 w 52"/>
                    <a:gd name="T21" fmla="*/ 2147483647 h 30"/>
                    <a:gd name="T22" fmla="*/ 2147483647 w 52"/>
                    <a:gd name="T23" fmla="*/ 2147483647 h 30"/>
                    <a:gd name="T24" fmla="*/ 2147483647 w 52"/>
                    <a:gd name="T25" fmla="*/ 2147483647 h 30"/>
                    <a:gd name="T26" fmla="*/ 2147483647 w 52"/>
                    <a:gd name="T27" fmla="*/ 2147483647 h 30"/>
                    <a:gd name="T28" fmla="*/ 2147483647 w 52"/>
                    <a:gd name="T29" fmla="*/ 2147483647 h 30"/>
                    <a:gd name="T30" fmla="*/ 2147483647 w 52"/>
                    <a:gd name="T31" fmla="*/ 2147483647 h 30"/>
                    <a:gd name="T32" fmla="*/ 2147483647 w 52"/>
                    <a:gd name="T33" fmla="*/ 2147483647 h 30"/>
                    <a:gd name="T34" fmla="*/ 2147483647 w 52"/>
                    <a:gd name="T35" fmla="*/ 2147483647 h 30"/>
                    <a:gd name="T36" fmla="*/ 2147483647 w 52"/>
                    <a:gd name="T37" fmla="*/ 2147483647 h 30"/>
                    <a:gd name="T38" fmla="*/ 2147483647 w 52"/>
                    <a:gd name="T39" fmla="*/ 2147483647 h 30"/>
                    <a:gd name="T40" fmla="*/ 2147483647 w 52"/>
                    <a:gd name="T41" fmla="*/ 2147483647 h 30"/>
                    <a:gd name="T42" fmla="*/ 2147483647 w 52"/>
                    <a:gd name="T43" fmla="*/ 2147483647 h 30"/>
                    <a:gd name="T44" fmla="*/ 2147483647 w 52"/>
                    <a:gd name="T45" fmla="*/ 2147483647 h 30"/>
                    <a:gd name="T46" fmla="*/ 2147483647 w 52"/>
                    <a:gd name="T47" fmla="*/ 2147483647 h 30"/>
                    <a:gd name="T48" fmla="*/ 2147483647 w 52"/>
                    <a:gd name="T49" fmla="*/ 2147483647 h 30"/>
                    <a:gd name="T50" fmla="*/ 2147483647 w 52"/>
                    <a:gd name="T51" fmla="*/ 2147483647 h 30"/>
                    <a:gd name="T52" fmla="*/ 2147483647 w 52"/>
                    <a:gd name="T53" fmla="*/ 2147483647 h 30"/>
                    <a:gd name="T54" fmla="*/ 2147483647 w 52"/>
                    <a:gd name="T55" fmla="*/ 2147483647 h 30"/>
                    <a:gd name="T56" fmla="*/ 2147483647 w 52"/>
                    <a:gd name="T57" fmla="*/ 2147483647 h 30"/>
                    <a:gd name="T58" fmla="*/ 2147483647 w 52"/>
                    <a:gd name="T59" fmla="*/ 2147483647 h 30"/>
                    <a:gd name="T60" fmla="*/ 2147483647 w 52"/>
                    <a:gd name="T61" fmla="*/ 2147483647 h 30"/>
                    <a:gd name="T62" fmla="*/ 2147483647 w 52"/>
                    <a:gd name="T63" fmla="*/ 2147483647 h 30"/>
                    <a:gd name="T64" fmla="*/ 2147483647 w 52"/>
                    <a:gd name="T65" fmla="*/ 2147483647 h 30"/>
                    <a:gd name="T66" fmla="*/ 2147483647 w 52"/>
                    <a:gd name="T67" fmla="*/ 2147483647 h 30"/>
                    <a:gd name="T68" fmla="*/ 2147483647 w 52"/>
                    <a:gd name="T69" fmla="*/ 2147483647 h 30"/>
                    <a:gd name="T70" fmla="*/ 2147483647 w 52"/>
                    <a:gd name="T71" fmla="*/ 2147483647 h 30"/>
                    <a:gd name="T72" fmla="*/ 2147483647 w 52"/>
                    <a:gd name="T73" fmla="*/ 2147483647 h 30"/>
                    <a:gd name="T74" fmla="*/ 2147483647 w 52"/>
                    <a:gd name="T75" fmla="*/ 2147483647 h 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30"/>
                    <a:gd name="T116" fmla="*/ 52 w 52"/>
                    <a:gd name="T117" fmla="*/ 30 h 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30">
                      <a:moveTo>
                        <a:pt x="9" y="9"/>
                      </a:moveTo>
                      <a:lnTo>
                        <a:pt x="9" y="9"/>
                      </a:lnTo>
                      <a:lnTo>
                        <a:pt x="8" y="6"/>
                      </a:lnTo>
                      <a:lnTo>
                        <a:pt x="6" y="5"/>
                      </a:lnTo>
                      <a:lnTo>
                        <a:pt x="0" y="3"/>
                      </a:lnTo>
                      <a:lnTo>
                        <a:pt x="6" y="1"/>
                      </a:lnTo>
                      <a:lnTo>
                        <a:pt x="11" y="0"/>
                      </a:lnTo>
                      <a:lnTo>
                        <a:pt x="13" y="3"/>
                      </a:lnTo>
                      <a:lnTo>
                        <a:pt x="16" y="3"/>
                      </a:lnTo>
                      <a:lnTo>
                        <a:pt x="22" y="1"/>
                      </a:lnTo>
                      <a:lnTo>
                        <a:pt x="26" y="1"/>
                      </a:lnTo>
                      <a:lnTo>
                        <a:pt x="27" y="3"/>
                      </a:lnTo>
                      <a:lnTo>
                        <a:pt x="32" y="5"/>
                      </a:lnTo>
                      <a:lnTo>
                        <a:pt x="39" y="12"/>
                      </a:lnTo>
                      <a:lnTo>
                        <a:pt x="47" y="19"/>
                      </a:lnTo>
                      <a:lnTo>
                        <a:pt x="51" y="24"/>
                      </a:lnTo>
                      <a:lnTo>
                        <a:pt x="52" y="29"/>
                      </a:lnTo>
                      <a:lnTo>
                        <a:pt x="51" y="29"/>
                      </a:lnTo>
                      <a:lnTo>
                        <a:pt x="50" y="30"/>
                      </a:lnTo>
                      <a:lnTo>
                        <a:pt x="37" y="25"/>
                      </a:lnTo>
                      <a:lnTo>
                        <a:pt x="31" y="24"/>
                      </a:lnTo>
                      <a:lnTo>
                        <a:pt x="25" y="24"/>
                      </a:lnTo>
                      <a:lnTo>
                        <a:pt x="21" y="23"/>
                      </a:lnTo>
                      <a:lnTo>
                        <a:pt x="19" y="22"/>
                      </a:lnTo>
                      <a:lnTo>
                        <a:pt x="18" y="20"/>
                      </a:lnTo>
                      <a:lnTo>
                        <a:pt x="17" y="16"/>
                      </a:lnTo>
                      <a:lnTo>
                        <a:pt x="16" y="13"/>
                      </a:lnTo>
                      <a:lnTo>
                        <a:pt x="12" y="11"/>
                      </a:lnTo>
                      <a:lnTo>
                        <a:pt x="9"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0" name="Freeform 994"/>
                <p:cNvSpPr>
                  <a:spLocks/>
                </p:cNvSpPr>
                <p:nvPr/>
              </p:nvSpPr>
              <p:spPr bwMode="auto">
                <a:xfrm>
                  <a:off x="2663289" y="3222842"/>
                  <a:ext cx="23678" cy="11839"/>
                </a:xfrm>
                <a:custGeom>
                  <a:avLst/>
                  <a:gdLst>
                    <a:gd name="T0" fmla="*/ 2147483647 w 17"/>
                    <a:gd name="T1" fmla="*/ 2147483647 h 8"/>
                    <a:gd name="T2" fmla="*/ 2147483647 w 17"/>
                    <a:gd name="T3" fmla="*/ 2147483647 h 8"/>
                    <a:gd name="T4" fmla="*/ 2147483647 w 17"/>
                    <a:gd name="T5" fmla="*/ 2147483647 h 8"/>
                    <a:gd name="T6" fmla="*/ 2147483647 w 17"/>
                    <a:gd name="T7" fmla="*/ 2147483647 h 8"/>
                    <a:gd name="T8" fmla="*/ 2147483647 w 17"/>
                    <a:gd name="T9" fmla="*/ 2147483647 h 8"/>
                    <a:gd name="T10" fmla="*/ 2147483647 w 17"/>
                    <a:gd name="T11" fmla="*/ 2147483647 h 8"/>
                    <a:gd name="T12" fmla="*/ 2147483647 w 17"/>
                    <a:gd name="T13" fmla="*/ 2147483647 h 8"/>
                    <a:gd name="T14" fmla="*/ 2147483647 w 17"/>
                    <a:gd name="T15" fmla="*/ 2147483647 h 8"/>
                    <a:gd name="T16" fmla="*/ 2147483647 w 17"/>
                    <a:gd name="T17" fmla="*/ 2147483647 h 8"/>
                    <a:gd name="T18" fmla="*/ 0 w 17"/>
                    <a:gd name="T19" fmla="*/ 2147483647 h 8"/>
                    <a:gd name="T20" fmla="*/ 0 w 17"/>
                    <a:gd name="T21" fmla="*/ 2147483647 h 8"/>
                    <a:gd name="T22" fmla="*/ 0 w 17"/>
                    <a:gd name="T23" fmla="*/ 0 h 8"/>
                    <a:gd name="T24" fmla="*/ 0 w 17"/>
                    <a:gd name="T25" fmla="*/ 0 h 8"/>
                    <a:gd name="T26" fmla="*/ 2147483647 w 17"/>
                    <a:gd name="T27" fmla="*/ 2147483647 h 8"/>
                    <a:gd name="T28" fmla="*/ 2147483647 w 17"/>
                    <a:gd name="T29" fmla="*/ 2147483647 h 8"/>
                    <a:gd name="T30" fmla="*/ 2147483647 w 17"/>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8"/>
                    <a:gd name="T50" fmla="*/ 17 w 17"/>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8">
                      <a:moveTo>
                        <a:pt x="12" y="2"/>
                      </a:moveTo>
                      <a:lnTo>
                        <a:pt x="12" y="2"/>
                      </a:lnTo>
                      <a:lnTo>
                        <a:pt x="15" y="5"/>
                      </a:lnTo>
                      <a:lnTo>
                        <a:pt x="17" y="6"/>
                      </a:lnTo>
                      <a:lnTo>
                        <a:pt x="17" y="7"/>
                      </a:lnTo>
                      <a:lnTo>
                        <a:pt x="14" y="8"/>
                      </a:lnTo>
                      <a:lnTo>
                        <a:pt x="12" y="8"/>
                      </a:lnTo>
                      <a:lnTo>
                        <a:pt x="5" y="6"/>
                      </a:lnTo>
                      <a:lnTo>
                        <a:pt x="0" y="2"/>
                      </a:lnTo>
                      <a:lnTo>
                        <a:pt x="0" y="1"/>
                      </a:lnTo>
                      <a:lnTo>
                        <a:pt x="0" y="0"/>
                      </a:lnTo>
                      <a:lnTo>
                        <a:pt x="7" y="1"/>
                      </a:lnTo>
                      <a:lnTo>
                        <a:pt x="12"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1" name="Freeform 995"/>
                <p:cNvSpPr>
                  <a:spLocks/>
                </p:cNvSpPr>
                <p:nvPr/>
              </p:nvSpPr>
              <p:spPr bwMode="auto">
                <a:xfrm>
                  <a:off x="2652932" y="3332353"/>
                  <a:ext cx="105071" cy="38477"/>
                </a:xfrm>
                <a:custGeom>
                  <a:avLst/>
                  <a:gdLst>
                    <a:gd name="T0" fmla="*/ 2147483647 w 76"/>
                    <a:gd name="T1" fmla="*/ 2147483647 h 26"/>
                    <a:gd name="T2" fmla="*/ 2147483647 w 76"/>
                    <a:gd name="T3" fmla="*/ 2147483647 h 26"/>
                    <a:gd name="T4" fmla="*/ 2147483647 w 76"/>
                    <a:gd name="T5" fmla="*/ 2147483647 h 26"/>
                    <a:gd name="T6" fmla="*/ 2147483647 w 76"/>
                    <a:gd name="T7" fmla="*/ 2147483647 h 26"/>
                    <a:gd name="T8" fmla="*/ 2147483647 w 76"/>
                    <a:gd name="T9" fmla="*/ 2147483647 h 26"/>
                    <a:gd name="T10" fmla="*/ 2147483647 w 76"/>
                    <a:gd name="T11" fmla="*/ 2147483647 h 26"/>
                    <a:gd name="T12" fmla="*/ 2147483647 w 76"/>
                    <a:gd name="T13" fmla="*/ 2147483647 h 26"/>
                    <a:gd name="T14" fmla="*/ 2147483647 w 76"/>
                    <a:gd name="T15" fmla="*/ 2147483647 h 26"/>
                    <a:gd name="T16" fmla="*/ 2147483647 w 76"/>
                    <a:gd name="T17" fmla="*/ 2147483647 h 26"/>
                    <a:gd name="T18" fmla="*/ 2147483647 w 76"/>
                    <a:gd name="T19" fmla="*/ 2147483647 h 26"/>
                    <a:gd name="T20" fmla="*/ 0 w 76"/>
                    <a:gd name="T21" fmla="*/ 2147483647 h 26"/>
                    <a:gd name="T22" fmla="*/ 2147483647 w 76"/>
                    <a:gd name="T23" fmla="*/ 2147483647 h 26"/>
                    <a:gd name="T24" fmla="*/ 2147483647 w 76"/>
                    <a:gd name="T25" fmla="*/ 2147483647 h 26"/>
                    <a:gd name="T26" fmla="*/ 2147483647 w 76"/>
                    <a:gd name="T27" fmla="*/ 2147483647 h 26"/>
                    <a:gd name="T28" fmla="*/ 2147483647 w 76"/>
                    <a:gd name="T29" fmla="*/ 2147483647 h 26"/>
                    <a:gd name="T30" fmla="*/ 2147483647 w 76"/>
                    <a:gd name="T31" fmla="*/ 2147483647 h 26"/>
                    <a:gd name="T32" fmla="*/ 2147483647 w 76"/>
                    <a:gd name="T33" fmla="*/ 2147483647 h 26"/>
                    <a:gd name="T34" fmla="*/ 2147483647 w 76"/>
                    <a:gd name="T35" fmla="*/ 2147483647 h 26"/>
                    <a:gd name="T36" fmla="*/ 2147483647 w 76"/>
                    <a:gd name="T37" fmla="*/ 0 h 26"/>
                    <a:gd name="T38" fmla="*/ 2147483647 w 76"/>
                    <a:gd name="T39" fmla="*/ 0 h 26"/>
                    <a:gd name="T40" fmla="*/ 2147483647 w 76"/>
                    <a:gd name="T41" fmla="*/ 0 h 26"/>
                    <a:gd name="T42" fmla="*/ 2147483647 w 76"/>
                    <a:gd name="T43" fmla="*/ 2147483647 h 26"/>
                    <a:gd name="T44" fmla="*/ 2147483647 w 76"/>
                    <a:gd name="T45" fmla="*/ 2147483647 h 26"/>
                    <a:gd name="T46" fmla="*/ 2147483647 w 76"/>
                    <a:gd name="T47" fmla="*/ 2147483647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6"/>
                    <a:gd name="T73" fmla="*/ 0 h 26"/>
                    <a:gd name="T74" fmla="*/ 76 w 76"/>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6" h="26">
                      <a:moveTo>
                        <a:pt x="67" y="8"/>
                      </a:moveTo>
                      <a:lnTo>
                        <a:pt x="61" y="13"/>
                      </a:lnTo>
                      <a:lnTo>
                        <a:pt x="53" y="17"/>
                      </a:lnTo>
                      <a:lnTo>
                        <a:pt x="45" y="20"/>
                      </a:lnTo>
                      <a:lnTo>
                        <a:pt x="36" y="21"/>
                      </a:lnTo>
                      <a:lnTo>
                        <a:pt x="34" y="22"/>
                      </a:lnTo>
                      <a:lnTo>
                        <a:pt x="30" y="24"/>
                      </a:lnTo>
                      <a:lnTo>
                        <a:pt x="21" y="24"/>
                      </a:lnTo>
                      <a:lnTo>
                        <a:pt x="14" y="26"/>
                      </a:lnTo>
                      <a:lnTo>
                        <a:pt x="7" y="24"/>
                      </a:lnTo>
                      <a:lnTo>
                        <a:pt x="0" y="20"/>
                      </a:lnTo>
                      <a:lnTo>
                        <a:pt x="6" y="16"/>
                      </a:lnTo>
                      <a:lnTo>
                        <a:pt x="12" y="13"/>
                      </a:lnTo>
                      <a:lnTo>
                        <a:pt x="19" y="10"/>
                      </a:lnTo>
                      <a:lnTo>
                        <a:pt x="25" y="9"/>
                      </a:lnTo>
                      <a:lnTo>
                        <a:pt x="40" y="7"/>
                      </a:lnTo>
                      <a:lnTo>
                        <a:pt x="54" y="4"/>
                      </a:lnTo>
                      <a:lnTo>
                        <a:pt x="63" y="2"/>
                      </a:lnTo>
                      <a:lnTo>
                        <a:pt x="71" y="0"/>
                      </a:lnTo>
                      <a:lnTo>
                        <a:pt x="75" y="0"/>
                      </a:lnTo>
                      <a:lnTo>
                        <a:pt x="76" y="0"/>
                      </a:lnTo>
                      <a:lnTo>
                        <a:pt x="75" y="2"/>
                      </a:lnTo>
                      <a:lnTo>
                        <a:pt x="73" y="4"/>
                      </a:lnTo>
                      <a:lnTo>
                        <a:pt x="67"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2" name="Freeform 996"/>
                <p:cNvSpPr>
                  <a:spLocks/>
                </p:cNvSpPr>
                <p:nvPr/>
              </p:nvSpPr>
              <p:spPr bwMode="auto">
                <a:xfrm>
                  <a:off x="2747642" y="3279078"/>
                  <a:ext cx="90273" cy="38477"/>
                </a:xfrm>
                <a:custGeom>
                  <a:avLst/>
                  <a:gdLst>
                    <a:gd name="T0" fmla="*/ 2147483647 w 66"/>
                    <a:gd name="T1" fmla="*/ 0 h 26"/>
                    <a:gd name="T2" fmla="*/ 2147483647 w 66"/>
                    <a:gd name="T3" fmla="*/ 2147483647 h 26"/>
                    <a:gd name="T4" fmla="*/ 2147483647 w 66"/>
                    <a:gd name="T5" fmla="*/ 2147483647 h 26"/>
                    <a:gd name="T6" fmla="*/ 2147483647 w 66"/>
                    <a:gd name="T7" fmla="*/ 2147483647 h 26"/>
                    <a:gd name="T8" fmla="*/ 2147483647 w 66"/>
                    <a:gd name="T9" fmla="*/ 2147483647 h 26"/>
                    <a:gd name="T10" fmla="*/ 2147483647 w 66"/>
                    <a:gd name="T11" fmla="*/ 2147483647 h 26"/>
                    <a:gd name="T12" fmla="*/ 2147483647 w 66"/>
                    <a:gd name="T13" fmla="*/ 2147483647 h 26"/>
                    <a:gd name="T14" fmla="*/ 2147483647 w 66"/>
                    <a:gd name="T15" fmla="*/ 2147483647 h 26"/>
                    <a:gd name="T16" fmla="*/ 2147483647 w 66"/>
                    <a:gd name="T17" fmla="*/ 2147483647 h 26"/>
                    <a:gd name="T18" fmla="*/ 2147483647 w 66"/>
                    <a:gd name="T19" fmla="*/ 2147483647 h 26"/>
                    <a:gd name="T20" fmla="*/ 2147483647 w 66"/>
                    <a:gd name="T21" fmla="*/ 2147483647 h 26"/>
                    <a:gd name="T22" fmla="*/ 2147483647 w 66"/>
                    <a:gd name="T23" fmla="*/ 2147483647 h 26"/>
                    <a:gd name="T24" fmla="*/ 2147483647 w 66"/>
                    <a:gd name="T25" fmla="*/ 2147483647 h 26"/>
                    <a:gd name="T26" fmla="*/ 2147483647 w 66"/>
                    <a:gd name="T27" fmla="*/ 2147483647 h 26"/>
                    <a:gd name="T28" fmla="*/ 0 w 66"/>
                    <a:gd name="T29" fmla="*/ 2147483647 h 26"/>
                    <a:gd name="T30" fmla="*/ 0 w 66"/>
                    <a:gd name="T31" fmla="*/ 2147483647 h 26"/>
                    <a:gd name="T32" fmla="*/ 0 w 66"/>
                    <a:gd name="T33" fmla="*/ 2147483647 h 26"/>
                    <a:gd name="T34" fmla="*/ 2147483647 w 66"/>
                    <a:gd name="T35" fmla="*/ 2147483647 h 26"/>
                    <a:gd name="T36" fmla="*/ 2147483647 w 66"/>
                    <a:gd name="T37" fmla="*/ 2147483647 h 26"/>
                    <a:gd name="T38" fmla="*/ 2147483647 w 66"/>
                    <a:gd name="T39" fmla="*/ 2147483647 h 26"/>
                    <a:gd name="T40" fmla="*/ 2147483647 w 66"/>
                    <a:gd name="T41" fmla="*/ 2147483647 h 26"/>
                    <a:gd name="T42" fmla="*/ 2147483647 w 66"/>
                    <a:gd name="T43" fmla="*/ 2147483647 h 26"/>
                    <a:gd name="T44" fmla="*/ 2147483647 w 66"/>
                    <a:gd name="T45" fmla="*/ 2147483647 h 26"/>
                    <a:gd name="T46" fmla="*/ 2147483647 w 66"/>
                    <a:gd name="T47" fmla="*/ 2147483647 h 26"/>
                    <a:gd name="T48" fmla="*/ 2147483647 w 66"/>
                    <a:gd name="T49" fmla="*/ 2147483647 h 26"/>
                    <a:gd name="T50" fmla="*/ 2147483647 w 66"/>
                    <a:gd name="T51" fmla="*/ 2147483647 h 26"/>
                    <a:gd name="T52" fmla="*/ 2147483647 w 66"/>
                    <a:gd name="T53" fmla="*/ 2147483647 h 26"/>
                    <a:gd name="T54" fmla="*/ 2147483647 w 66"/>
                    <a:gd name="T55" fmla="*/ 2147483647 h 26"/>
                    <a:gd name="T56" fmla="*/ 2147483647 w 66"/>
                    <a:gd name="T57" fmla="*/ 2147483647 h 26"/>
                    <a:gd name="T58" fmla="*/ 2147483647 w 66"/>
                    <a:gd name="T59" fmla="*/ 2147483647 h 26"/>
                    <a:gd name="T60" fmla="*/ 2147483647 w 66"/>
                    <a:gd name="T61" fmla="*/ 2147483647 h 26"/>
                    <a:gd name="T62" fmla="*/ 2147483647 w 66"/>
                    <a:gd name="T63" fmla="*/ 2147483647 h 26"/>
                    <a:gd name="T64" fmla="*/ 2147483647 w 66"/>
                    <a:gd name="T65" fmla="*/ 2147483647 h 26"/>
                    <a:gd name="T66" fmla="*/ 2147483647 w 66"/>
                    <a:gd name="T67" fmla="*/ 2147483647 h 26"/>
                    <a:gd name="T68" fmla="*/ 2147483647 w 66"/>
                    <a:gd name="T69" fmla="*/ 2147483647 h 26"/>
                    <a:gd name="T70" fmla="*/ 2147483647 w 66"/>
                    <a:gd name="T71" fmla="*/ 2147483647 h 26"/>
                    <a:gd name="T72" fmla="*/ 2147483647 w 66"/>
                    <a:gd name="T73" fmla="*/ 0 h 26"/>
                    <a:gd name="T74" fmla="*/ 2147483647 w 66"/>
                    <a:gd name="T75" fmla="*/ 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26"/>
                    <a:gd name="T116" fmla="*/ 66 w 66"/>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26">
                      <a:moveTo>
                        <a:pt x="54" y="0"/>
                      </a:moveTo>
                      <a:lnTo>
                        <a:pt x="47" y="1"/>
                      </a:lnTo>
                      <a:lnTo>
                        <a:pt x="44" y="2"/>
                      </a:lnTo>
                      <a:lnTo>
                        <a:pt x="42" y="5"/>
                      </a:lnTo>
                      <a:lnTo>
                        <a:pt x="44" y="8"/>
                      </a:lnTo>
                      <a:lnTo>
                        <a:pt x="44" y="9"/>
                      </a:lnTo>
                      <a:lnTo>
                        <a:pt x="44" y="11"/>
                      </a:lnTo>
                      <a:lnTo>
                        <a:pt x="41" y="12"/>
                      </a:lnTo>
                      <a:lnTo>
                        <a:pt x="30" y="9"/>
                      </a:lnTo>
                      <a:lnTo>
                        <a:pt x="25" y="8"/>
                      </a:lnTo>
                      <a:lnTo>
                        <a:pt x="20" y="9"/>
                      </a:lnTo>
                      <a:lnTo>
                        <a:pt x="14" y="11"/>
                      </a:lnTo>
                      <a:lnTo>
                        <a:pt x="9" y="12"/>
                      </a:lnTo>
                      <a:lnTo>
                        <a:pt x="4" y="15"/>
                      </a:lnTo>
                      <a:lnTo>
                        <a:pt x="0" y="19"/>
                      </a:lnTo>
                      <a:lnTo>
                        <a:pt x="0" y="20"/>
                      </a:lnTo>
                      <a:lnTo>
                        <a:pt x="0" y="21"/>
                      </a:lnTo>
                      <a:lnTo>
                        <a:pt x="3" y="23"/>
                      </a:lnTo>
                      <a:lnTo>
                        <a:pt x="14" y="26"/>
                      </a:lnTo>
                      <a:lnTo>
                        <a:pt x="21" y="26"/>
                      </a:lnTo>
                      <a:lnTo>
                        <a:pt x="27" y="25"/>
                      </a:lnTo>
                      <a:lnTo>
                        <a:pt x="30" y="25"/>
                      </a:lnTo>
                      <a:lnTo>
                        <a:pt x="33" y="25"/>
                      </a:lnTo>
                      <a:lnTo>
                        <a:pt x="37" y="25"/>
                      </a:lnTo>
                      <a:lnTo>
                        <a:pt x="42" y="24"/>
                      </a:lnTo>
                      <a:lnTo>
                        <a:pt x="50" y="24"/>
                      </a:lnTo>
                      <a:lnTo>
                        <a:pt x="54" y="23"/>
                      </a:lnTo>
                      <a:lnTo>
                        <a:pt x="56" y="20"/>
                      </a:lnTo>
                      <a:lnTo>
                        <a:pt x="59" y="18"/>
                      </a:lnTo>
                      <a:lnTo>
                        <a:pt x="59" y="15"/>
                      </a:lnTo>
                      <a:lnTo>
                        <a:pt x="60" y="12"/>
                      </a:lnTo>
                      <a:lnTo>
                        <a:pt x="61" y="9"/>
                      </a:lnTo>
                      <a:lnTo>
                        <a:pt x="63" y="6"/>
                      </a:lnTo>
                      <a:lnTo>
                        <a:pt x="66" y="4"/>
                      </a:lnTo>
                      <a:lnTo>
                        <a:pt x="66" y="2"/>
                      </a:lnTo>
                      <a:lnTo>
                        <a:pt x="64" y="1"/>
                      </a:lnTo>
                      <a:lnTo>
                        <a:pt x="61" y="0"/>
                      </a:lnTo>
                      <a:lnTo>
                        <a:pt x="54"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3" name="Freeform 997"/>
                <p:cNvSpPr>
                  <a:spLocks/>
                </p:cNvSpPr>
                <p:nvPr/>
              </p:nvSpPr>
              <p:spPr bwMode="auto">
                <a:xfrm>
                  <a:off x="2651450" y="3329395"/>
                  <a:ext cx="105070" cy="38477"/>
                </a:xfrm>
                <a:custGeom>
                  <a:avLst/>
                  <a:gdLst>
                    <a:gd name="T0" fmla="*/ 2147483647 w 77"/>
                    <a:gd name="T1" fmla="*/ 2147483647 h 26"/>
                    <a:gd name="T2" fmla="*/ 2147483647 w 77"/>
                    <a:gd name="T3" fmla="*/ 2147483647 h 26"/>
                    <a:gd name="T4" fmla="*/ 2147483647 w 77"/>
                    <a:gd name="T5" fmla="*/ 2147483647 h 26"/>
                    <a:gd name="T6" fmla="*/ 2147483647 w 77"/>
                    <a:gd name="T7" fmla="*/ 2147483647 h 26"/>
                    <a:gd name="T8" fmla="*/ 2147483647 w 77"/>
                    <a:gd name="T9" fmla="*/ 2147483647 h 26"/>
                    <a:gd name="T10" fmla="*/ 2147483647 w 77"/>
                    <a:gd name="T11" fmla="*/ 2147483647 h 26"/>
                    <a:gd name="T12" fmla="*/ 2147483647 w 77"/>
                    <a:gd name="T13" fmla="*/ 2147483647 h 26"/>
                    <a:gd name="T14" fmla="*/ 2147483647 w 77"/>
                    <a:gd name="T15" fmla="*/ 2147483647 h 26"/>
                    <a:gd name="T16" fmla="*/ 2147483647 w 77"/>
                    <a:gd name="T17" fmla="*/ 2147483647 h 26"/>
                    <a:gd name="T18" fmla="*/ 2147483647 w 77"/>
                    <a:gd name="T19" fmla="*/ 2147483647 h 26"/>
                    <a:gd name="T20" fmla="*/ 2147483647 w 77"/>
                    <a:gd name="T21" fmla="*/ 2147483647 h 26"/>
                    <a:gd name="T22" fmla="*/ 2147483647 w 77"/>
                    <a:gd name="T23" fmla="*/ 2147483647 h 26"/>
                    <a:gd name="T24" fmla="*/ 2147483647 w 77"/>
                    <a:gd name="T25" fmla="*/ 2147483647 h 26"/>
                    <a:gd name="T26" fmla="*/ 0 w 77"/>
                    <a:gd name="T27" fmla="*/ 2147483647 h 26"/>
                    <a:gd name="T28" fmla="*/ 0 w 77"/>
                    <a:gd name="T29" fmla="*/ 2147483647 h 26"/>
                    <a:gd name="T30" fmla="*/ 2147483647 w 77"/>
                    <a:gd name="T31" fmla="*/ 2147483647 h 26"/>
                    <a:gd name="T32" fmla="*/ 2147483647 w 77"/>
                    <a:gd name="T33" fmla="*/ 2147483647 h 26"/>
                    <a:gd name="T34" fmla="*/ 2147483647 w 77"/>
                    <a:gd name="T35" fmla="*/ 2147483647 h 26"/>
                    <a:gd name="T36" fmla="*/ 2147483647 w 77"/>
                    <a:gd name="T37" fmla="*/ 2147483647 h 26"/>
                    <a:gd name="T38" fmla="*/ 2147483647 w 77"/>
                    <a:gd name="T39" fmla="*/ 2147483647 h 26"/>
                    <a:gd name="T40" fmla="*/ 2147483647 w 77"/>
                    <a:gd name="T41" fmla="*/ 2147483647 h 26"/>
                    <a:gd name="T42" fmla="*/ 2147483647 w 77"/>
                    <a:gd name="T43" fmla="*/ 2147483647 h 26"/>
                    <a:gd name="T44" fmla="*/ 2147483647 w 77"/>
                    <a:gd name="T45" fmla="*/ 2147483647 h 26"/>
                    <a:gd name="T46" fmla="*/ 2147483647 w 77"/>
                    <a:gd name="T47" fmla="*/ 0 h 26"/>
                    <a:gd name="T48" fmla="*/ 2147483647 w 77"/>
                    <a:gd name="T49" fmla="*/ 0 h 26"/>
                    <a:gd name="T50" fmla="*/ 2147483647 w 77"/>
                    <a:gd name="T51" fmla="*/ 0 h 26"/>
                    <a:gd name="T52" fmla="*/ 2147483647 w 77"/>
                    <a:gd name="T53" fmla="*/ 0 h 26"/>
                    <a:gd name="T54" fmla="*/ 2147483647 w 77"/>
                    <a:gd name="T55" fmla="*/ 0 h 26"/>
                    <a:gd name="T56" fmla="*/ 2147483647 w 77"/>
                    <a:gd name="T57" fmla="*/ 2147483647 h 26"/>
                    <a:gd name="T58" fmla="*/ 2147483647 w 77"/>
                    <a:gd name="T59" fmla="*/ 2147483647 h 26"/>
                    <a:gd name="T60" fmla="*/ 2147483647 w 77"/>
                    <a:gd name="T61" fmla="*/ 2147483647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26"/>
                    <a:gd name="T95" fmla="*/ 77 w 77"/>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26">
                      <a:moveTo>
                        <a:pt x="68" y="9"/>
                      </a:moveTo>
                      <a:lnTo>
                        <a:pt x="68" y="9"/>
                      </a:lnTo>
                      <a:lnTo>
                        <a:pt x="61" y="13"/>
                      </a:lnTo>
                      <a:lnTo>
                        <a:pt x="54" y="18"/>
                      </a:lnTo>
                      <a:lnTo>
                        <a:pt x="46" y="21"/>
                      </a:lnTo>
                      <a:lnTo>
                        <a:pt x="37" y="22"/>
                      </a:lnTo>
                      <a:lnTo>
                        <a:pt x="35" y="23"/>
                      </a:lnTo>
                      <a:lnTo>
                        <a:pt x="31" y="25"/>
                      </a:lnTo>
                      <a:lnTo>
                        <a:pt x="22" y="25"/>
                      </a:lnTo>
                      <a:lnTo>
                        <a:pt x="14" y="26"/>
                      </a:lnTo>
                      <a:lnTo>
                        <a:pt x="8" y="25"/>
                      </a:lnTo>
                      <a:lnTo>
                        <a:pt x="0" y="21"/>
                      </a:lnTo>
                      <a:lnTo>
                        <a:pt x="7" y="17"/>
                      </a:lnTo>
                      <a:lnTo>
                        <a:pt x="13" y="13"/>
                      </a:lnTo>
                      <a:lnTo>
                        <a:pt x="19" y="11"/>
                      </a:lnTo>
                      <a:lnTo>
                        <a:pt x="26" y="10"/>
                      </a:lnTo>
                      <a:lnTo>
                        <a:pt x="41" y="7"/>
                      </a:lnTo>
                      <a:lnTo>
                        <a:pt x="55" y="5"/>
                      </a:lnTo>
                      <a:lnTo>
                        <a:pt x="64" y="3"/>
                      </a:lnTo>
                      <a:lnTo>
                        <a:pt x="71" y="0"/>
                      </a:lnTo>
                      <a:lnTo>
                        <a:pt x="75" y="0"/>
                      </a:lnTo>
                      <a:lnTo>
                        <a:pt x="77" y="0"/>
                      </a:lnTo>
                      <a:lnTo>
                        <a:pt x="75" y="3"/>
                      </a:lnTo>
                      <a:lnTo>
                        <a:pt x="74" y="5"/>
                      </a:lnTo>
                      <a:lnTo>
                        <a:pt x="68"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4" name="Freeform 998"/>
                <p:cNvSpPr>
                  <a:spLocks/>
                </p:cNvSpPr>
                <p:nvPr/>
              </p:nvSpPr>
              <p:spPr bwMode="auto">
                <a:xfrm>
                  <a:off x="2746166" y="3277601"/>
                  <a:ext cx="90272" cy="38477"/>
                </a:xfrm>
                <a:custGeom>
                  <a:avLst/>
                  <a:gdLst>
                    <a:gd name="T0" fmla="*/ 2147483647 w 66"/>
                    <a:gd name="T1" fmla="*/ 0 h 26"/>
                    <a:gd name="T2" fmla="*/ 2147483647 w 66"/>
                    <a:gd name="T3" fmla="*/ 0 h 26"/>
                    <a:gd name="T4" fmla="*/ 2147483647 w 66"/>
                    <a:gd name="T5" fmla="*/ 2147483647 h 26"/>
                    <a:gd name="T6" fmla="*/ 2147483647 w 66"/>
                    <a:gd name="T7" fmla="*/ 2147483647 h 26"/>
                    <a:gd name="T8" fmla="*/ 2147483647 w 66"/>
                    <a:gd name="T9" fmla="*/ 2147483647 h 26"/>
                    <a:gd name="T10" fmla="*/ 2147483647 w 66"/>
                    <a:gd name="T11" fmla="*/ 2147483647 h 26"/>
                    <a:gd name="T12" fmla="*/ 2147483647 w 66"/>
                    <a:gd name="T13" fmla="*/ 2147483647 h 26"/>
                    <a:gd name="T14" fmla="*/ 2147483647 w 66"/>
                    <a:gd name="T15" fmla="*/ 2147483647 h 26"/>
                    <a:gd name="T16" fmla="*/ 2147483647 w 66"/>
                    <a:gd name="T17" fmla="*/ 2147483647 h 26"/>
                    <a:gd name="T18" fmla="*/ 2147483647 w 66"/>
                    <a:gd name="T19" fmla="*/ 2147483647 h 26"/>
                    <a:gd name="T20" fmla="*/ 2147483647 w 66"/>
                    <a:gd name="T21" fmla="*/ 2147483647 h 26"/>
                    <a:gd name="T22" fmla="*/ 2147483647 w 66"/>
                    <a:gd name="T23" fmla="*/ 2147483647 h 26"/>
                    <a:gd name="T24" fmla="*/ 2147483647 w 66"/>
                    <a:gd name="T25" fmla="*/ 2147483647 h 26"/>
                    <a:gd name="T26" fmla="*/ 2147483647 w 66"/>
                    <a:gd name="T27" fmla="*/ 2147483647 h 26"/>
                    <a:gd name="T28" fmla="*/ 2147483647 w 66"/>
                    <a:gd name="T29" fmla="*/ 2147483647 h 26"/>
                    <a:gd name="T30" fmla="*/ 2147483647 w 66"/>
                    <a:gd name="T31" fmla="*/ 2147483647 h 26"/>
                    <a:gd name="T32" fmla="*/ 2147483647 w 66"/>
                    <a:gd name="T33" fmla="*/ 2147483647 h 26"/>
                    <a:gd name="T34" fmla="*/ 2147483647 w 66"/>
                    <a:gd name="T35" fmla="*/ 2147483647 h 26"/>
                    <a:gd name="T36" fmla="*/ 0 w 66"/>
                    <a:gd name="T37" fmla="*/ 2147483647 h 26"/>
                    <a:gd name="T38" fmla="*/ 0 w 66"/>
                    <a:gd name="T39" fmla="*/ 2147483647 h 26"/>
                    <a:gd name="T40" fmla="*/ 0 w 66"/>
                    <a:gd name="T41" fmla="*/ 2147483647 h 26"/>
                    <a:gd name="T42" fmla="*/ 0 w 66"/>
                    <a:gd name="T43" fmla="*/ 2147483647 h 26"/>
                    <a:gd name="T44" fmla="*/ 2147483647 w 66"/>
                    <a:gd name="T45" fmla="*/ 2147483647 h 26"/>
                    <a:gd name="T46" fmla="*/ 2147483647 w 66"/>
                    <a:gd name="T47" fmla="*/ 2147483647 h 26"/>
                    <a:gd name="T48" fmla="*/ 2147483647 w 66"/>
                    <a:gd name="T49" fmla="*/ 2147483647 h 26"/>
                    <a:gd name="T50" fmla="*/ 2147483647 w 66"/>
                    <a:gd name="T51" fmla="*/ 2147483647 h 26"/>
                    <a:gd name="T52" fmla="*/ 2147483647 w 66"/>
                    <a:gd name="T53" fmla="*/ 2147483647 h 26"/>
                    <a:gd name="T54" fmla="*/ 2147483647 w 66"/>
                    <a:gd name="T55" fmla="*/ 2147483647 h 26"/>
                    <a:gd name="T56" fmla="*/ 2147483647 w 66"/>
                    <a:gd name="T57" fmla="*/ 2147483647 h 26"/>
                    <a:gd name="T58" fmla="*/ 2147483647 w 66"/>
                    <a:gd name="T59" fmla="*/ 2147483647 h 26"/>
                    <a:gd name="T60" fmla="*/ 2147483647 w 66"/>
                    <a:gd name="T61" fmla="*/ 2147483647 h 26"/>
                    <a:gd name="T62" fmla="*/ 2147483647 w 66"/>
                    <a:gd name="T63" fmla="*/ 2147483647 h 26"/>
                    <a:gd name="T64" fmla="*/ 2147483647 w 66"/>
                    <a:gd name="T65" fmla="*/ 2147483647 h 26"/>
                    <a:gd name="T66" fmla="*/ 2147483647 w 66"/>
                    <a:gd name="T67" fmla="*/ 2147483647 h 26"/>
                    <a:gd name="T68" fmla="*/ 2147483647 w 66"/>
                    <a:gd name="T69" fmla="*/ 2147483647 h 26"/>
                    <a:gd name="T70" fmla="*/ 2147483647 w 66"/>
                    <a:gd name="T71" fmla="*/ 2147483647 h 26"/>
                    <a:gd name="T72" fmla="*/ 2147483647 w 66"/>
                    <a:gd name="T73" fmla="*/ 2147483647 h 26"/>
                    <a:gd name="T74" fmla="*/ 2147483647 w 66"/>
                    <a:gd name="T75" fmla="*/ 2147483647 h 26"/>
                    <a:gd name="T76" fmla="*/ 2147483647 w 66"/>
                    <a:gd name="T77" fmla="*/ 2147483647 h 26"/>
                    <a:gd name="T78" fmla="*/ 2147483647 w 66"/>
                    <a:gd name="T79" fmla="*/ 2147483647 h 26"/>
                    <a:gd name="T80" fmla="*/ 2147483647 w 66"/>
                    <a:gd name="T81" fmla="*/ 2147483647 h 26"/>
                    <a:gd name="T82" fmla="*/ 2147483647 w 66"/>
                    <a:gd name="T83" fmla="*/ 2147483647 h 26"/>
                    <a:gd name="T84" fmla="*/ 2147483647 w 66"/>
                    <a:gd name="T85" fmla="*/ 2147483647 h 26"/>
                    <a:gd name="T86" fmla="*/ 2147483647 w 66"/>
                    <a:gd name="T87" fmla="*/ 2147483647 h 26"/>
                    <a:gd name="T88" fmla="*/ 2147483647 w 66"/>
                    <a:gd name="T89" fmla="*/ 2147483647 h 26"/>
                    <a:gd name="T90" fmla="*/ 2147483647 w 66"/>
                    <a:gd name="T91" fmla="*/ 2147483647 h 26"/>
                    <a:gd name="T92" fmla="*/ 2147483647 w 66"/>
                    <a:gd name="T93" fmla="*/ 2147483647 h 26"/>
                    <a:gd name="T94" fmla="*/ 2147483647 w 66"/>
                    <a:gd name="T95" fmla="*/ 2147483647 h 26"/>
                    <a:gd name="T96" fmla="*/ 2147483647 w 66"/>
                    <a:gd name="T97" fmla="*/ 2147483647 h 26"/>
                    <a:gd name="T98" fmla="*/ 2147483647 w 66"/>
                    <a:gd name="T99" fmla="*/ 0 h 26"/>
                    <a:gd name="T100" fmla="*/ 2147483647 w 66"/>
                    <a:gd name="T101" fmla="*/ 0 h 26"/>
                    <a:gd name="T102" fmla="*/ 2147483647 w 66"/>
                    <a:gd name="T103" fmla="*/ 0 h 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
                    <a:gd name="T157" fmla="*/ 0 h 26"/>
                    <a:gd name="T158" fmla="*/ 66 w 66"/>
                    <a:gd name="T159" fmla="*/ 26 h 2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 h="26">
                      <a:moveTo>
                        <a:pt x="54" y="0"/>
                      </a:moveTo>
                      <a:lnTo>
                        <a:pt x="54" y="0"/>
                      </a:lnTo>
                      <a:lnTo>
                        <a:pt x="47" y="1"/>
                      </a:lnTo>
                      <a:lnTo>
                        <a:pt x="43" y="2"/>
                      </a:lnTo>
                      <a:lnTo>
                        <a:pt x="42" y="5"/>
                      </a:lnTo>
                      <a:lnTo>
                        <a:pt x="43" y="8"/>
                      </a:lnTo>
                      <a:lnTo>
                        <a:pt x="43" y="9"/>
                      </a:lnTo>
                      <a:lnTo>
                        <a:pt x="43" y="10"/>
                      </a:lnTo>
                      <a:lnTo>
                        <a:pt x="41" y="12"/>
                      </a:lnTo>
                      <a:lnTo>
                        <a:pt x="29" y="9"/>
                      </a:lnTo>
                      <a:lnTo>
                        <a:pt x="24" y="8"/>
                      </a:lnTo>
                      <a:lnTo>
                        <a:pt x="19" y="9"/>
                      </a:lnTo>
                      <a:lnTo>
                        <a:pt x="14" y="10"/>
                      </a:lnTo>
                      <a:lnTo>
                        <a:pt x="9" y="12"/>
                      </a:lnTo>
                      <a:lnTo>
                        <a:pt x="4" y="15"/>
                      </a:lnTo>
                      <a:lnTo>
                        <a:pt x="0" y="19"/>
                      </a:lnTo>
                      <a:lnTo>
                        <a:pt x="0" y="20"/>
                      </a:lnTo>
                      <a:lnTo>
                        <a:pt x="0" y="21"/>
                      </a:lnTo>
                      <a:lnTo>
                        <a:pt x="3" y="22"/>
                      </a:lnTo>
                      <a:lnTo>
                        <a:pt x="14" y="26"/>
                      </a:lnTo>
                      <a:lnTo>
                        <a:pt x="21" y="26"/>
                      </a:lnTo>
                      <a:lnTo>
                        <a:pt x="27" y="25"/>
                      </a:lnTo>
                      <a:lnTo>
                        <a:pt x="29" y="25"/>
                      </a:lnTo>
                      <a:lnTo>
                        <a:pt x="33" y="25"/>
                      </a:lnTo>
                      <a:lnTo>
                        <a:pt x="37" y="25"/>
                      </a:lnTo>
                      <a:lnTo>
                        <a:pt x="42" y="24"/>
                      </a:lnTo>
                      <a:lnTo>
                        <a:pt x="50" y="24"/>
                      </a:lnTo>
                      <a:lnTo>
                        <a:pt x="54" y="22"/>
                      </a:lnTo>
                      <a:lnTo>
                        <a:pt x="56" y="20"/>
                      </a:lnTo>
                      <a:lnTo>
                        <a:pt x="59" y="18"/>
                      </a:lnTo>
                      <a:lnTo>
                        <a:pt x="59" y="15"/>
                      </a:lnTo>
                      <a:lnTo>
                        <a:pt x="60" y="12"/>
                      </a:lnTo>
                      <a:lnTo>
                        <a:pt x="61" y="9"/>
                      </a:lnTo>
                      <a:lnTo>
                        <a:pt x="62" y="6"/>
                      </a:lnTo>
                      <a:lnTo>
                        <a:pt x="66" y="3"/>
                      </a:lnTo>
                      <a:lnTo>
                        <a:pt x="66" y="2"/>
                      </a:lnTo>
                      <a:lnTo>
                        <a:pt x="64" y="1"/>
                      </a:lnTo>
                      <a:lnTo>
                        <a:pt x="61" y="0"/>
                      </a:lnTo>
                      <a:lnTo>
                        <a:pt x="54"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5" name="Freeform 999"/>
                <p:cNvSpPr>
                  <a:spLocks/>
                </p:cNvSpPr>
                <p:nvPr/>
              </p:nvSpPr>
              <p:spPr bwMode="auto">
                <a:xfrm>
                  <a:off x="1593345" y="3054136"/>
                  <a:ext cx="116910" cy="90273"/>
                </a:xfrm>
                <a:custGeom>
                  <a:avLst/>
                  <a:gdLst>
                    <a:gd name="T0" fmla="*/ 2147483647 w 85"/>
                    <a:gd name="T1" fmla="*/ 2147483647 h 61"/>
                    <a:gd name="T2" fmla="*/ 2147483647 w 85"/>
                    <a:gd name="T3" fmla="*/ 2147483647 h 61"/>
                    <a:gd name="T4" fmla="*/ 2147483647 w 85"/>
                    <a:gd name="T5" fmla="*/ 2147483647 h 61"/>
                    <a:gd name="T6" fmla="*/ 2147483647 w 85"/>
                    <a:gd name="T7" fmla="*/ 2147483647 h 61"/>
                    <a:gd name="T8" fmla="*/ 2147483647 w 85"/>
                    <a:gd name="T9" fmla="*/ 2147483647 h 61"/>
                    <a:gd name="T10" fmla="*/ 2147483647 w 85"/>
                    <a:gd name="T11" fmla="*/ 2147483647 h 61"/>
                    <a:gd name="T12" fmla="*/ 2147483647 w 85"/>
                    <a:gd name="T13" fmla="*/ 2147483647 h 61"/>
                    <a:gd name="T14" fmla="*/ 0 w 85"/>
                    <a:gd name="T15" fmla="*/ 2147483647 h 61"/>
                    <a:gd name="T16" fmla="*/ 2147483647 w 85"/>
                    <a:gd name="T17" fmla="*/ 2147483647 h 61"/>
                    <a:gd name="T18" fmla="*/ 2147483647 w 85"/>
                    <a:gd name="T19" fmla="*/ 2147483647 h 61"/>
                    <a:gd name="T20" fmla="*/ 2147483647 w 85"/>
                    <a:gd name="T21" fmla="*/ 0 h 61"/>
                    <a:gd name="T22" fmla="*/ 2147483647 w 85"/>
                    <a:gd name="T23" fmla="*/ 2147483647 h 61"/>
                    <a:gd name="T24" fmla="*/ 2147483647 w 85"/>
                    <a:gd name="T25" fmla="*/ 2147483647 h 61"/>
                    <a:gd name="T26" fmla="*/ 2147483647 w 85"/>
                    <a:gd name="T27" fmla="*/ 2147483647 h 61"/>
                    <a:gd name="T28" fmla="*/ 2147483647 w 85"/>
                    <a:gd name="T29" fmla="*/ 2147483647 h 61"/>
                    <a:gd name="T30" fmla="*/ 2147483647 w 85"/>
                    <a:gd name="T31" fmla="*/ 2147483647 h 61"/>
                    <a:gd name="T32" fmla="*/ 2147483647 w 85"/>
                    <a:gd name="T33" fmla="*/ 2147483647 h 61"/>
                    <a:gd name="T34" fmla="*/ 2147483647 w 85"/>
                    <a:gd name="T35" fmla="*/ 2147483647 h 61"/>
                    <a:gd name="T36" fmla="*/ 2147483647 w 85"/>
                    <a:gd name="T37" fmla="*/ 2147483647 h 61"/>
                    <a:gd name="T38" fmla="*/ 2147483647 w 85"/>
                    <a:gd name="T39" fmla="*/ 2147483647 h 61"/>
                    <a:gd name="T40" fmla="*/ 2147483647 w 85"/>
                    <a:gd name="T41" fmla="*/ 2147483647 h 61"/>
                    <a:gd name="T42" fmla="*/ 2147483647 w 85"/>
                    <a:gd name="T43" fmla="*/ 2147483647 h 61"/>
                    <a:gd name="T44" fmla="*/ 2147483647 w 85"/>
                    <a:gd name="T45" fmla="*/ 2147483647 h 61"/>
                    <a:gd name="T46" fmla="*/ 2147483647 w 85"/>
                    <a:gd name="T47" fmla="*/ 2147483647 h 61"/>
                    <a:gd name="T48" fmla="*/ 2147483647 w 85"/>
                    <a:gd name="T49" fmla="*/ 2147483647 h 61"/>
                    <a:gd name="T50" fmla="*/ 2147483647 w 85"/>
                    <a:gd name="T51" fmla="*/ 2147483647 h 61"/>
                    <a:gd name="T52" fmla="*/ 2147483647 w 85"/>
                    <a:gd name="T53" fmla="*/ 2147483647 h 61"/>
                    <a:gd name="T54" fmla="*/ 2147483647 w 85"/>
                    <a:gd name="T55" fmla="*/ 2147483647 h 61"/>
                    <a:gd name="T56" fmla="*/ 2147483647 w 85"/>
                    <a:gd name="T57" fmla="*/ 2147483647 h 61"/>
                    <a:gd name="T58" fmla="*/ 2147483647 w 85"/>
                    <a:gd name="T59" fmla="*/ 2147483647 h 61"/>
                    <a:gd name="T60" fmla="*/ 2147483647 w 85"/>
                    <a:gd name="T61" fmla="*/ 2147483647 h 61"/>
                    <a:gd name="T62" fmla="*/ 2147483647 w 85"/>
                    <a:gd name="T63" fmla="*/ 2147483647 h 61"/>
                    <a:gd name="T64" fmla="*/ 2147483647 w 85"/>
                    <a:gd name="T65" fmla="*/ 2147483647 h 61"/>
                    <a:gd name="T66" fmla="*/ 2147483647 w 85"/>
                    <a:gd name="T67" fmla="*/ 2147483647 h 61"/>
                    <a:gd name="T68" fmla="*/ 2147483647 w 85"/>
                    <a:gd name="T69" fmla="*/ 2147483647 h 61"/>
                    <a:gd name="T70" fmla="*/ 2147483647 w 85"/>
                    <a:gd name="T71" fmla="*/ 2147483647 h 61"/>
                    <a:gd name="T72" fmla="*/ 2147483647 w 85"/>
                    <a:gd name="T73" fmla="*/ 2147483647 h 61"/>
                    <a:gd name="T74" fmla="*/ 2147483647 w 85"/>
                    <a:gd name="T75" fmla="*/ 2147483647 h 61"/>
                    <a:gd name="T76" fmla="*/ 2147483647 w 85"/>
                    <a:gd name="T77" fmla="*/ 2147483647 h 61"/>
                    <a:gd name="T78" fmla="*/ 2147483647 w 85"/>
                    <a:gd name="T79" fmla="*/ 2147483647 h 61"/>
                    <a:gd name="T80" fmla="*/ 2147483647 w 85"/>
                    <a:gd name="T81" fmla="*/ 2147483647 h 61"/>
                    <a:gd name="T82" fmla="*/ 2147483647 w 85"/>
                    <a:gd name="T83" fmla="*/ 2147483647 h 61"/>
                    <a:gd name="T84" fmla="*/ 2147483647 w 85"/>
                    <a:gd name="T85" fmla="*/ 2147483647 h 61"/>
                    <a:gd name="T86" fmla="*/ 2147483647 w 85"/>
                    <a:gd name="T87" fmla="*/ 2147483647 h 61"/>
                    <a:gd name="T88" fmla="*/ 2147483647 w 85"/>
                    <a:gd name="T89" fmla="*/ 2147483647 h 61"/>
                    <a:gd name="T90" fmla="*/ 2147483647 w 85"/>
                    <a:gd name="T91" fmla="*/ 2147483647 h 61"/>
                    <a:gd name="T92" fmla="*/ 2147483647 w 85"/>
                    <a:gd name="T93" fmla="*/ 2147483647 h 61"/>
                    <a:gd name="T94" fmla="*/ 2147483647 w 85"/>
                    <a:gd name="T95" fmla="*/ 2147483647 h 61"/>
                    <a:gd name="T96" fmla="*/ 2147483647 w 85"/>
                    <a:gd name="T97" fmla="*/ 2147483647 h 61"/>
                    <a:gd name="T98" fmla="*/ 2147483647 w 85"/>
                    <a:gd name="T99" fmla="*/ 2147483647 h 61"/>
                    <a:gd name="T100" fmla="*/ 2147483647 w 85"/>
                    <a:gd name="T101" fmla="*/ 2147483647 h 6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5"/>
                    <a:gd name="T154" fmla="*/ 0 h 61"/>
                    <a:gd name="T155" fmla="*/ 85 w 85"/>
                    <a:gd name="T156" fmla="*/ 61 h 6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5" h="61">
                      <a:moveTo>
                        <a:pt x="30" y="37"/>
                      </a:moveTo>
                      <a:lnTo>
                        <a:pt x="24" y="36"/>
                      </a:lnTo>
                      <a:lnTo>
                        <a:pt x="19" y="32"/>
                      </a:lnTo>
                      <a:lnTo>
                        <a:pt x="18" y="28"/>
                      </a:lnTo>
                      <a:lnTo>
                        <a:pt x="15" y="24"/>
                      </a:lnTo>
                      <a:lnTo>
                        <a:pt x="5" y="14"/>
                      </a:lnTo>
                      <a:lnTo>
                        <a:pt x="1" y="9"/>
                      </a:lnTo>
                      <a:lnTo>
                        <a:pt x="0" y="5"/>
                      </a:lnTo>
                      <a:lnTo>
                        <a:pt x="1" y="3"/>
                      </a:lnTo>
                      <a:lnTo>
                        <a:pt x="1" y="1"/>
                      </a:lnTo>
                      <a:lnTo>
                        <a:pt x="2" y="0"/>
                      </a:lnTo>
                      <a:lnTo>
                        <a:pt x="6" y="1"/>
                      </a:lnTo>
                      <a:lnTo>
                        <a:pt x="12" y="4"/>
                      </a:lnTo>
                      <a:lnTo>
                        <a:pt x="16" y="5"/>
                      </a:lnTo>
                      <a:lnTo>
                        <a:pt x="19" y="7"/>
                      </a:lnTo>
                      <a:lnTo>
                        <a:pt x="21" y="11"/>
                      </a:lnTo>
                      <a:lnTo>
                        <a:pt x="24" y="13"/>
                      </a:lnTo>
                      <a:lnTo>
                        <a:pt x="26" y="13"/>
                      </a:lnTo>
                      <a:lnTo>
                        <a:pt x="29" y="13"/>
                      </a:lnTo>
                      <a:lnTo>
                        <a:pt x="33" y="14"/>
                      </a:lnTo>
                      <a:lnTo>
                        <a:pt x="38" y="14"/>
                      </a:lnTo>
                      <a:lnTo>
                        <a:pt x="42" y="14"/>
                      </a:lnTo>
                      <a:lnTo>
                        <a:pt x="44" y="14"/>
                      </a:lnTo>
                      <a:lnTo>
                        <a:pt x="44" y="16"/>
                      </a:lnTo>
                      <a:lnTo>
                        <a:pt x="51" y="25"/>
                      </a:lnTo>
                      <a:lnTo>
                        <a:pt x="58" y="33"/>
                      </a:lnTo>
                      <a:lnTo>
                        <a:pt x="67" y="39"/>
                      </a:lnTo>
                      <a:lnTo>
                        <a:pt x="72" y="42"/>
                      </a:lnTo>
                      <a:lnTo>
                        <a:pt x="77" y="43"/>
                      </a:lnTo>
                      <a:lnTo>
                        <a:pt x="80" y="44"/>
                      </a:lnTo>
                      <a:lnTo>
                        <a:pt x="82" y="45"/>
                      </a:lnTo>
                      <a:lnTo>
                        <a:pt x="85" y="50"/>
                      </a:lnTo>
                      <a:lnTo>
                        <a:pt x="85" y="55"/>
                      </a:lnTo>
                      <a:lnTo>
                        <a:pt x="84" y="60"/>
                      </a:lnTo>
                      <a:lnTo>
                        <a:pt x="82" y="61"/>
                      </a:lnTo>
                      <a:lnTo>
                        <a:pt x="80" y="61"/>
                      </a:lnTo>
                      <a:lnTo>
                        <a:pt x="76" y="58"/>
                      </a:lnTo>
                      <a:lnTo>
                        <a:pt x="71" y="56"/>
                      </a:lnTo>
                      <a:lnTo>
                        <a:pt x="68" y="55"/>
                      </a:lnTo>
                      <a:lnTo>
                        <a:pt x="66" y="54"/>
                      </a:lnTo>
                      <a:lnTo>
                        <a:pt x="59" y="54"/>
                      </a:lnTo>
                      <a:lnTo>
                        <a:pt x="56" y="52"/>
                      </a:lnTo>
                      <a:lnTo>
                        <a:pt x="54" y="50"/>
                      </a:lnTo>
                      <a:lnTo>
                        <a:pt x="53" y="46"/>
                      </a:lnTo>
                      <a:lnTo>
                        <a:pt x="52" y="45"/>
                      </a:lnTo>
                      <a:lnTo>
                        <a:pt x="51" y="44"/>
                      </a:lnTo>
                      <a:lnTo>
                        <a:pt x="48" y="45"/>
                      </a:lnTo>
                      <a:lnTo>
                        <a:pt x="44" y="46"/>
                      </a:lnTo>
                      <a:lnTo>
                        <a:pt x="39" y="45"/>
                      </a:lnTo>
                      <a:lnTo>
                        <a:pt x="34" y="42"/>
                      </a:lnTo>
                      <a:lnTo>
                        <a:pt x="30" y="3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6" name="Freeform 1000"/>
                <p:cNvSpPr>
                  <a:spLocks/>
                </p:cNvSpPr>
                <p:nvPr/>
              </p:nvSpPr>
              <p:spPr bwMode="auto">
                <a:xfrm>
                  <a:off x="1500110" y="2975705"/>
                  <a:ext cx="29597" cy="39956"/>
                </a:xfrm>
                <a:custGeom>
                  <a:avLst/>
                  <a:gdLst>
                    <a:gd name="T0" fmla="*/ 2147483647 w 21"/>
                    <a:gd name="T1" fmla="*/ 2147483647 h 27"/>
                    <a:gd name="T2" fmla="*/ 2147483647 w 21"/>
                    <a:gd name="T3" fmla="*/ 2147483647 h 27"/>
                    <a:gd name="T4" fmla="*/ 2147483647 w 21"/>
                    <a:gd name="T5" fmla="*/ 2147483647 h 27"/>
                    <a:gd name="T6" fmla="*/ 2147483647 w 21"/>
                    <a:gd name="T7" fmla="*/ 2147483647 h 27"/>
                    <a:gd name="T8" fmla="*/ 2147483647 w 21"/>
                    <a:gd name="T9" fmla="*/ 2147483647 h 27"/>
                    <a:gd name="T10" fmla="*/ 2147483647 w 21"/>
                    <a:gd name="T11" fmla="*/ 2147483647 h 27"/>
                    <a:gd name="T12" fmla="*/ 2147483647 w 21"/>
                    <a:gd name="T13" fmla="*/ 0 h 27"/>
                    <a:gd name="T14" fmla="*/ 0 w 21"/>
                    <a:gd name="T15" fmla="*/ 2147483647 h 27"/>
                    <a:gd name="T16" fmla="*/ 0 w 21"/>
                    <a:gd name="T17" fmla="*/ 2147483647 h 27"/>
                    <a:gd name="T18" fmla="*/ 0 w 21"/>
                    <a:gd name="T19" fmla="*/ 2147483647 h 27"/>
                    <a:gd name="T20" fmla="*/ 0 w 21"/>
                    <a:gd name="T21" fmla="*/ 2147483647 h 27"/>
                    <a:gd name="T22" fmla="*/ 2147483647 w 21"/>
                    <a:gd name="T23" fmla="*/ 2147483647 h 27"/>
                    <a:gd name="T24" fmla="*/ 2147483647 w 21"/>
                    <a:gd name="T25" fmla="*/ 2147483647 h 27"/>
                    <a:gd name="T26" fmla="*/ 2147483647 w 21"/>
                    <a:gd name="T27" fmla="*/ 2147483647 h 27"/>
                    <a:gd name="T28" fmla="*/ 2147483647 w 21"/>
                    <a:gd name="T29" fmla="*/ 2147483647 h 27"/>
                    <a:gd name="T30" fmla="*/ 2147483647 w 21"/>
                    <a:gd name="T31" fmla="*/ 2147483647 h 27"/>
                    <a:gd name="T32" fmla="*/ 2147483647 w 21"/>
                    <a:gd name="T33" fmla="*/ 2147483647 h 27"/>
                    <a:gd name="T34" fmla="*/ 2147483647 w 21"/>
                    <a:gd name="T35" fmla="*/ 2147483647 h 27"/>
                    <a:gd name="T36" fmla="*/ 2147483647 w 21"/>
                    <a:gd name="T37" fmla="*/ 2147483647 h 27"/>
                    <a:gd name="T38" fmla="*/ 2147483647 w 21"/>
                    <a:gd name="T39" fmla="*/ 2147483647 h 27"/>
                    <a:gd name="T40" fmla="*/ 2147483647 w 21"/>
                    <a:gd name="T41" fmla="*/ 2147483647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7"/>
                    <a:gd name="T65" fmla="*/ 21 w 21"/>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7">
                      <a:moveTo>
                        <a:pt x="19" y="20"/>
                      </a:moveTo>
                      <a:lnTo>
                        <a:pt x="18" y="16"/>
                      </a:lnTo>
                      <a:lnTo>
                        <a:pt x="16" y="13"/>
                      </a:lnTo>
                      <a:lnTo>
                        <a:pt x="14" y="9"/>
                      </a:lnTo>
                      <a:lnTo>
                        <a:pt x="11" y="2"/>
                      </a:lnTo>
                      <a:lnTo>
                        <a:pt x="8" y="1"/>
                      </a:lnTo>
                      <a:lnTo>
                        <a:pt x="4" y="0"/>
                      </a:lnTo>
                      <a:lnTo>
                        <a:pt x="0" y="2"/>
                      </a:lnTo>
                      <a:lnTo>
                        <a:pt x="0" y="3"/>
                      </a:lnTo>
                      <a:lnTo>
                        <a:pt x="0" y="6"/>
                      </a:lnTo>
                      <a:lnTo>
                        <a:pt x="0" y="8"/>
                      </a:lnTo>
                      <a:lnTo>
                        <a:pt x="3" y="11"/>
                      </a:lnTo>
                      <a:lnTo>
                        <a:pt x="7" y="15"/>
                      </a:lnTo>
                      <a:lnTo>
                        <a:pt x="8" y="19"/>
                      </a:lnTo>
                      <a:lnTo>
                        <a:pt x="13" y="25"/>
                      </a:lnTo>
                      <a:lnTo>
                        <a:pt x="16" y="26"/>
                      </a:lnTo>
                      <a:lnTo>
                        <a:pt x="18" y="27"/>
                      </a:lnTo>
                      <a:lnTo>
                        <a:pt x="19" y="27"/>
                      </a:lnTo>
                      <a:lnTo>
                        <a:pt x="21" y="27"/>
                      </a:lnTo>
                      <a:lnTo>
                        <a:pt x="21" y="25"/>
                      </a:lnTo>
                      <a:lnTo>
                        <a:pt x="19" y="2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7" name="Freeform 1001"/>
                <p:cNvSpPr>
                  <a:spLocks/>
                </p:cNvSpPr>
                <p:nvPr/>
              </p:nvSpPr>
              <p:spPr bwMode="auto">
                <a:xfrm>
                  <a:off x="1590382" y="3052661"/>
                  <a:ext cx="118390" cy="90272"/>
                </a:xfrm>
                <a:custGeom>
                  <a:avLst/>
                  <a:gdLst>
                    <a:gd name="T0" fmla="*/ 2147483647 w 86"/>
                    <a:gd name="T1" fmla="*/ 2147483647 h 61"/>
                    <a:gd name="T2" fmla="*/ 2147483647 w 86"/>
                    <a:gd name="T3" fmla="*/ 2147483647 h 61"/>
                    <a:gd name="T4" fmla="*/ 2147483647 w 86"/>
                    <a:gd name="T5" fmla="*/ 2147483647 h 61"/>
                    <a:gd name="T6" fmla="*/ 2147483647 w 86"/>
                    <a:gd name="T7" fmla="*/ 2147483647 h 61"/>
                    <a:gd name="T8" fmla="*/ 2147483647 w 86"/>
                    <a:gd name="T9" fmla="*/ 2147483647 h 61"/>
                    <a:gd name="T10" fmla="*/ 2147483647 w 86"/>
                    <a:gd name="T11" fmla="*/ 2147483647 h 61"/>
                    <a:gd name="T12" fmla="*/ 2147483647 w 86"/>
                    <a:gd name="T13" fmla="*/ 2147483647 h 61"/>
                    <a:gd name="T14" fmla="*/ 2147483647 w 86"/>
                    <a:gd name="T15" fmla="*/ 2147483647 h 61"/>
                    <a:gd name="T16" fmla="*/ 2147483647 w 86"/>
                    <a:gd name="T17" fmla="*/ 2147483647 h 61"/>
                    <a:gd name="T18" fmla="*/ 2147483647 w 86"/>
                    <a:gd name="T19" fmla="*/ 2147483647 h 61"/>
                    <a:gd name="T20" fmla="*/ 2147483647 w 86"/>
                    <a:gd name="T21" fmla="*/ 2147483647 h 61"/>
                    <a:gd name="T22" fmla="*/ 2147483647 w 86"/>
                    <a:gd name="T23" fmla="*/ 2147483647 h 61"/>
                    <a:gd name="T24" fmla="*/ 2147483647 w 86"/>
                    <a:gd name="T25" fmla="*/ 2147483647 h 61"/>
                    <a:gd name="T26" fmla="*/ 2147483647 w 86"/>
                    <a:gd name="T27" fmla="*/ 2147483647 h 61"/>
                    <a:gd name="T28" fmla="*/ 2147483647 w 86"/>
                    <a:gd name="T29" fmla="*/ 2147483647 h 61"/>
                    <a:gd name="T30" fmla="*/ 2147483647 w 86"/>
                    <a:gd name="T31" fmla="*/ 2147483647 h 61"/>
                    <a:gd name="T32" fmla="*/ 2147483647 w 86"/>
                    <a:gd name="T33" fmla="*/ 2147483647 h 61"/>
                    <a:gd name="T34" fmla="*/ 2147483647 w 86"/>
                    <a:gd name="T35" fmla="*/ 2147483647 h 61"/>
                    <a:gd name="T36" fmla="*/ 2147483647 w 86"/>
                    <a:gd name="T37" fmla="*/ 2147483647 h 61"/>
                    <a:gd name="T38" fmla="*/ 2147483647 w 86"/>
                    <a:gd name="T39" fmla="*/ 2147483647 h 61"/>
                    <a:gd name="T40" fmla="*/ 2147483647 w 86"/>
                    <a:gd name="T41" fmla="*/ 2147483647 h 61"/>
                    <a:gd name="T42" fmla="*/ 2147483647 w 86"/>
                    <a:gd name="T43" fmla="*/ 2147483647 h 61"/>
                    <a:gd name="T44" fmla="*/ 2147483647 w 86"/>
                    <a:gd name="T45" fmla="*/ 2147483647 h 61"/>
                    <a:gd name="T46" fmla="*/ 2147483647 w 86"/>
                    <a:gd name="T47" fmla="*/ 2147483647 h 61"/>
                    <a:gd name="T48" fmla="*/ 2147483647 w 86"/>
                    <a:gd name="T49" fmla="*/ 2147483647 h 61"/>
                    <a:gd name="T50" fmla="*/ 2147483647 w 86"/>
                    <a:gd name="T51" fmla="*/ 2147483647 h 61"/>
                    <a:gd name="T52" fmla="*/ 2147483647 w 86"/>
                    <a:gd name="T53" fmla="*/ 2147483647 h 61"/>
                    <a:gd name="T54" fmla="*/ 2147483647 w 86"/>
                    <a:gd name="T55" fmla="*/ 2147483647 h 61"/>
                    <a:gd name="T56" fmla="*/ 2147483647 w 86"/>
                    <a:gd name="T57" fmla="*/ 2147483647 h 61"/>
                    <a:gd name="T58" fmla="*/ 2147483647 w 86"/>
                    <a:gd name="T59" fmla="*/ 2147483647 h 61"/>
                    <a:gd name="T60" fmla="*/ 2147483647 w 86"/>
                    <a:gd name="T61" fmla="*/ 2147483647 h 61"/>
                    <a:gd name="T62" fmla="*/ 2147483647 w 86"/>
                    <a:gd name="T63" fmla="*/ 2147483647 h 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6"/>
                    <a:gd name="T97" fmla="*/ 0 h 61"/>
                    <a:gd name="T98" fmla="*/ 86 w 86"/>
                    <a:gd name="T99" fmla="*/ 61 h 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6" h="61">
                      <a:moveTo>
                        <a:pt x="31" y="37"/>
                      </a:moveTo>
                      <a:lnTo>
                        <a:pt x="31" y="37"/>
                      </a:lnTo>
                      <a:lnTo>
                        <a:pt x="25" y="36"/>
                      </a:lnTo>
                      <a:lnTo>
                        <a:pt x="20" y="32"/>
                      </a:lnTo>
                      <a:lnTo>
                        <a:pt x="18" y="27"/>
                      </a:lnTo>
                      <a:lnTo>
                        <a:pt x="16" y="24"/>
                      </a:lnTo>
                      <a:lnTo>
                        <a:pt x="6" y="14"/>
                      </a:lnTo>
                      <a:lnTo>
                        <a:pt x="2" y="8"/>
                      </a:lnTo>
                      <a:lnTo>
                        <a:pt x="0" y="5"/>
                      </a:lnTo>
                      <a:lnTo>
                        <a:pt x="2" y="2"/>
                      </a:lnTo>
                      <a:lnTo>
                        <a:pt x="2" y="1"/>
                      </a:lnTo>
                      <a:lnTo>
                        <a:pt x="3" y="0"/>
                      </a:lnTo>
                      <a:lnTo>
                        <a:pt x="7" y="1"/>
                      </a:lnTo>
                      <a:lnTo>
                        <a:pt x="13" y="4"/>
                      </a:lnTo>
                      <a:lnTo>
                        <a:pt x="17" y="5"/>
                      </a:lnTo>
                      <a:lnTo>
                        <a:pt x="20" y="7"/>
                      </a:lnTo>
                      <a:lnTo>
                        <a:pt x="22" y="11"/>
                      </a:lnTo>
                      <a:lnTo>
                        <a:pt x="25" y="13"/>
                      </a:lnTo>
                      <a:lnTo>
                        <a:pt x="27" y="13"/>
                      </a:lnTo>
                      <a:lnTo>
                        <a:pt x="30" y="13"/>
                      </a:lnTo>
                      <a:lnTo>
                        <a:pt x="33" y="14"/>
                      </a:lnTo>
                      <a:lnTo>
                        <a:pt x="39" y="14"/>
                      </a:lnTo>
                      <a:lnTo>
                        <a:pt x="42" y="14"/>
                      </a:lnTo>
                      <a:lnTo>
                        <a:pt x="45" y="14"/>
                      </a:lnTo>
                      <a:lnTo>
                        <a:pt x="45" y="15"/>
                      </a:lnTo>
                      <a:lnTo>
                        <a:pt x="51" y="25"/>
                      </a:lnTo>
                      <a:lnTo>
                        <a:pt x="59" y="33"/>
                      </a:lnTo>
                      <a:lnTo>
                        <a:pt x="68" y="39"/>
                      </a:lnTo>
                      <a:lnTo>
                        <a:pt x="73" y="42"/>
                      </a:lnTo>
                      <a:lnTo>
                        <a:pt x="78" y="43"/>
                      </a:lnTo>
                      <a:lnTo>
                        <a:pt x="80" y="44"/>
                      </a:lnTo>
                      <a:lnTo>
                        <a:pt x="83" y="45"/>
                      </a:lnTo>
                      <a:lnTo>
                        <a:pt x="86" y="50"/>
                      </a:lnTo>
                      <a:lnTo>
                        <a:pt x="86" y="55"/>
                      </a:lnTo>
                      <a:lnTo>
                        <a:pt x="84" y="59"/>
                      </a:lnTo>
                      <a:lnTo>
                        <a:pt x="83" y="61"/>
                      </a:lnTo>
                      <a:lnTo>
                        <a:pt x="80" y="61"/>
                      </a:lnTo>
                      <a:lnTo>
                        <a:pt x="77" y="58"/>
                      </a:lnTo>
                      <a:lnTo>
                        <a:pt x="72" y="56"/>
                      </a:lnTo>
                      <a:lnTo>
                        <a:pt x="69" y="55"/>
                      </a:lnTo>
                      <a:lnTo>
                        <a:pt x="67" y="53"/>
                      </a:lnTo>
                      <a:lnTo>
                        <a:pt x="60" y="53"/>
                      </a:lnTo>
                      <a:lnTo>
                        <a:pt x="56" y="52"/>
                      </a:lnTo>
                      <a:lnTo>
                        <a:pt x="55" y="50"/>
                      </a:lnTo>
                      <a:lnTo>
                        <a:pt x="54" y="46"/>
                      </a:lnTo>
                      <a:lnTo>
                        <a:pt x="53" y="45"/>
                      </a:lnTo>
                      <a:lnTo>
                        <a:pt x="51" y="44"/>
                      </a:lnTo>
                      <a:lnTo>
                        <a:pt x="49" y="45"/>
                      </a:lnTo>
                      <a:lnTo>
                        <a:pt x="45" y="46"/>
                      </a:lnTo>
                      <a:lnTo>
                        <a:pt x="40" y="45"/>
                      </a:lnTo>
                      <a:lnTo>
                        <a:pt x="35" y="42"/>
                      </a:lnTo>
                      <a:lnTo>
                        <a:pt x="31" y="3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8" name="Freeform 1002"/>
                <p:cNvSpPr>
                  <a:spLocks/>
                </p:cNvSpPr>
                <p:nvPr/>
              </p:nvSpPr>
              <p:spPr bwMode="auto">
                <a:xfrm>
                  <a:off x="1498633" y="2974228"/>
                  <a:ext cx="28118" cy="39957"/>
                </a:xfrm>
                <a:custGeom>
                  <a:avLst/>
                  <a:gdLst>
                    <a:gd name="T0" fmla="*/ 2147483647 w 20"/>
                    <a:gd name="T1" fmla="*/ 2147483647 h 27"/>
                    <a:gd name="T2" fmla="*/ 2147483647 w 20"/>
                    <a:gd name="T3" fmla="*/ 2147483647 h 27"/>
                    <a:gd name="T4" fmla="*/ 2147483647 w 20"/>
                    <a:gd name="T5" fmla="*/ 2147483647 h 27"/>
                    <a:gd name="T6" fmla="*/ 2147483647 w 20"/>
                    <a:gd name="T7" fmla="*/ 2147483647 h 27"/>
                    <a:gd name="T8" fmla="*/ 2147483647 w 20"/>
                    <a:gd name="T9" fmla="*/ 2147483647 h 27"/>
                    <a:gd name="T10" fmla="*/ 2147483647 w 20"/>
                    <a:gd name="T11" fmla="*/ 2147483647 h 27"/>
                    <a:gd name="T12" fmla="*/ 2147483647 w 20"/>
                    <a:gd name="T13" fmla="*/ 2147483647 h 27"/>
                    <a:gd name="T14" fmla="*/ 2147483647 w 20"/>
                    <a:gd name="T15" fmla="*/ 2147483647 h 27"/>
                    <a:gd name="T16" fmla="*/ 2147483647 w 20"/>
                    <a:gd name="T17" fmla="*/ 2147483647 h 27"/>
                    <a:gd name="T18" fmla="*/ 2147483647 w 20"/>
                    <a:gd name="T19" fmla="*/ 0 h 27"/>
                    <a:gd name="T20" fmla="*/ 0 w 20"/>
                    <a:gd name="T21" fmla="*/ 2147483647 h 27"/>
                    <a:gd name="T22" fmla="*/ 0 w 20"/>
                    <a:gd name="T23" fmla="*/ 2147483647 h 27"/>
                    <a:gd name="T24" fmla="*/ 0 w 20"/>
                    <a:gd name="T25" fmla="*/ 2147483647 h 27"/>
                    <a:gd name="T26" fmla="*/ 0 w 20"/>
                    <a:gd name="T27" fmla="*/ 2147483647 h 27"/>
                    <a:gd name="T28" fmla="*/ 0 w 20"/>
                    <a:gd name="T29" fmla="*/ 2147483647 h 27"/>
                    <a:gd name="T30" fmla="*/ 2147483647 w 20"/>
                    <a:gd name="T31" fmla="*/ 2147483647 h 27"/>
                    <a:gd name="T32" fmla="*/ 2147483647 w 20"/>
                    <a:gd name="T33" fmla="*/ 2147483647 h 27"/>
                    <a:gd name="T34" fmla="*/ 2147483647 w 20"/>
                    <a:gd name="T35" fmla="*/ 2147483647 h 27"/>
                    <a:gd name="T36" fmla="*/ 2147483647 w 20"/>
                    <a:gd name="T37" fmla="*/ 2147483647 h 27"/>
                    <a:gd name="T38" fmla="*/ 2147483647 w 20"/>
                    <a:gd name="T39" fmla="*/ 2147483647 h 27"/>
                    <a:gd name="T40" fmla="*/ 2147483647 w 20"/>
                    <a:gd name="T41" fmla="*/ 2147483647 h 27"/>
                    <a:gd name="T42" fmla="*/ 2147483647 w 20"/>
                    <a:gd name="T43" fmla="*/ 2147483647 h 27"/>
                    <a:gd name="T44" fmla="*/ 2147483647 w 20"/>
                    <a:gd name="T45" fmla="*/ 2147483647 h 27"/>
                    <a:gd name="T46" fmla="*/ 2147483647 w 20"/>
                    <a:gd name="T47" fmla="*/ 2147483647 h 27"/>
                    <a:gd name="T48" fmla="*/ 2147483647 w 20"/>
                    <a:gd name="T49" fmla="*/ 2147483647 h 27"/>
                    <a:gd name="T50" fmla="*/ 2147483647 w 20"/>
                    <a:gd name="T51" fmla="*/ 2147483647 h 27"/>
                    <a:gd name="T52" fmla="*/ 2147483647 w 20"/>
                    <a:gd name="T53" fmla="*/ 2147483647 h 27"/>
                    <a:gd name="T54" fmla="*/ 2147483647 w 20"/>
                    <a:gd name="T55" fmla="*/ 2147483647 h 27"/>
                    <a:gd name="T56" fmla="*/ 2147483647 w 2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7"/>
                    <a:gd name="T89" fmla="*/ 20 w 20"/>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7">
                      <a:moveTo>
                        <a:pt x="19" y="20"/>
                      </a:moveTo>
                      <a:lnTo>
                        <a:pt x="19" y="20"/>
                      </a:lnTo>
                      <a:lnTo>
                        <a:pt x="18" y="16"/>
                      </a:lnTo>
                      <a:lnTo>
                        <a:pt x="15" y="13"/>
                      </a:lnTo>
                      <a:lnTo>
                        <a:pt x="14" y="9"/>
                      </a:lnTo>
                      <a:lnTo>
                        <a:pt x="10" y="2"/>
                      </a:lnTo>
                      <a:lnTo>
                        <a:pt x="8" y="1"/>
                      </a:lnTo>
                      <a:lnTo>
                        <a:pt x="4" y="0"/>
                      </a:lnTo>
                      <a:lnTo>
                        <a:pt x="0" y="2"/>
                      </a:lnTo>
                      <a:lnTo>
                        <a:pt x="0" y="3"/>
                      </a:lnTo>
                      <a:lnTo>
                        <a:pt x="0" y="6"/>
                      </a:lnTo>
                      <a:lnTo>
                        <a:pt x="0" y="8"/>
                      </a:lnTo>
                      <a:lnTo>
                        <a:pt x="3" y="10"/>
                      </a:lnTo>
                      <a:lnTo>
                        <a:pt x="7" y="15"/>
                      </a:lnTo>
                      <a:lnTo>
                        <a:pt x="8" y="19"/>
                      </a:lnTo>
                      <a:lnTo>
                        <a:pt x="13" y="25"/>
                      </a:lnTo>
                      <a:lnTo>
                        <a:pt x="15" y="26"/>
                      </a:lnTo>
                      <a:lnTo>
                        <a:pt x="18" y="27"/>
                      </a:lnTo>
                      <a:lnTo>
                        <a:pt x="19" y="27"/>
                      </a:lnTo>
                      <a:lnTo>
                        <a:pt x="20" y="27"/>
                      </a:lnTo>
                      <a:lnTo>
                        <a:pt x="20" y="25"/>
                      </a:lnTo>
                      <a:lnTo>
                        <a:pt x="19" y="2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29" name="Freeform 1003"/>
                <p:cNvSpPr>
                  <a:spLocks/>
                </p:cNvSpPr>
                <p:nvPr/>
              </p:nvSpPr>
              <p:spPr bwMode="auto">
                <a:xfrm>
                  <a:off x="1292930" y="2231330"/>
                  <a:ext cx="2011146" cy="1124703"/>
                </a:xfrm>
                <a:custGeom>
                  <a:avLst/>
                  <a:gdLst>
                    <a:gd name="T0" fmla="*/ 2147483647 w 1472"/>
                    <a:gd name="T1" fmla="*/ 2147483647 h 760"/>
                    <a:gd name="T2" fmla="*/ 2147483647 w 1472"/>
                    <a:gd name="T3" fmla="*/ 2147483647 h 760"/>
                    <a:gd name="T4" fmla="*/ 2147483647 w 1472"/>
                    <a:gd name="T5" fmla="*/ 2147483647 h 760"/>
                    <a:gd name="T6" fmla="*/ 2147483647 w 1472"/>
                    <a:gd name="T7" fmla="*/ 2147483647 h 760"/>
                    <a:gd name="T8" fmla="*/ 2147483647 w 1472"/>
                    <a:gd name="T9" fmla="*/ 2147483647 h 760"/>
                    <a:gd name="T10" fmla="*/ 2147483647 w 1472"/>
                    <a:gd name="T11" fmla="*/ 2147483647 h 760"/>
                    <a:gd name="T12" fmla="*/ 2147483647 w 1472"/>
                    <a:gd name="T13" fmla="*/ 2147483647 h 760"/>
                    <a:gd name="T14" fmla="*/ 2147483647 w 1472"/>
                    <a:gd name="T15" fmla="*/ 2147483647 h 760"/>
                    <a:gd name="T16" fmla="*/ 2147483647 w 1472"/>
                    <a:gd name="T17" fmla="*/ 2147483647 h 760"/>
                    <a:gd name="T18" fmla="*/ 2147483647 w 1472"/>
                    <a:gd name="T19" fmla="*/ 2147483647 h 760"/>
                    <a:gd name="T20" fmla="*/ 2147483647 w 1472"/>
                    <a:gd name="T21" fmla="*/ 2147483647 h 760"/>
                    <a:gd name="T22" fmla="*/ 2147483647 w 1472"/>
                    <a:gd name="T23" fmla="*/ 2147483647 h 760"/>
                    <a:gd name="T24" fmla="*/ 2147483647 w 1472"/>
                    <a:gd name="T25" fmla="*/ 2147483647 h 760"/>
                    <a:gd name="T26" fmla="*/ 2147483647 w 1472"/>
                    <a:gd name="T27" fmla="*/ 2147483647 h 760"/>
                    <a:gd name="T28" fmla="*/ 2147483647 w 1472"/>
                    <a:gd name="T29" fmla="*/ 2147483647 h 760"/>
                    <a:gd name="T30" fmla="*/ 2147483647 w 1472"/>
                    <a:gd name="T31" fmla="*/ 2147483647 h 760"/>
                    <a:gd name="T32" fmla="*/ 2147483647 w 1472"/>
                    <a:gd name="T33" fmla="*/ 2147483647 h 760"/>
                    <a:gd name="T34" fmla="*/ 2147483647 w 1472"/>
                    <a:gd name="T35" fmla="*/ 2147483647 h 760"/>
                    <a:gd name="T36" fmla="*/ 2147483647 w 1472"/>
                    <a:gd name="T37" fmla="*/ 2147483647 h 760"/>
                    <a:gd name="T38" fmla="*/ 2147483647 w 1472"/>
                    <a:gd name="T39" fmla="*/ 2147483647 h 760"/>
                    <a:gd name="T40" fmla="*/ 2147483647 w 1472"/>
                    <a:gd name="T41" fmla="*/ 2147483647 h 760"/>
                    <a:gd name="T42" fmla="*/ 2147483647 w 1472"/>
                    <a:gd name="T43" fmla="*/ 2147483647 h 760"/>
                    <a:gd name="T44" fmla="*/ 2147483647 w 1472"/>
                    <a:gd name="T45" fmla="*/ 2147483647 h 760"/>
                    <a:gd name="T46" fmla="*/ 2147483647 w 1472"/>
                    <a:gd name="T47" fmla="*/ 2147483647 h 760"/>
                    <a:gd name="T48" fmla="*/ 2147483647 w 1472"/>
                    <a:gd name="T49" fmla="*/ 2147483647 h 760"/>
                    <a:gd name="T50" fmla="*/ 2147483647 w 1472"/>
                    <a:gd name="T51" fmla="*/ 2147483647 h 760"/>
                    <a:gd name="T52" fmla="*/ 2147483647 w 1472"/>
                    <a:gd name="T53" fmla="*/ 2147483647 h 760"/>
                    <a:gd name="T54" fmla="*/ 2147483647 w 1472"/>
                    <a:gd name="T55" fmla="*/ 2147483647 h 760"/>
                    <a:gd name="T56" fmla="*/ 2147483647 w 1472"/>
                    <a:gd name="T57" fmla="*/ 2147483647 h 760"/>
                    <a:gd name="T58" fmla="*/ 2147483647 w 1472"/>
                    <a:gd name="T59" fmla="*/ 2147483647 h 760"/>
                    <a:gd name="T60" fmla="*/ 2147483647 w 1472"/>
                    <a:gd name="T61" fmla="*/ 2147483647 h 760"/>
                    <a:gd name="T62" fmla="*/ 2147483647 w 1472"/>
                    <a:gd name="T63" fmla="*/ 2147483647 h 760"/>
                    <a:gd name="T64" fmla="*/ 2147483647 w 1472"/>
                    <a:gd name="T65" fmla="*/ 2147483647 h 760"/>
                    <a:gd name="T66" fmla="*/ 2147483647 w 1472"/>
                    <a:gd name="T67" fmla="*/ 2147483647 h 760"/>
                    <a:gd name="T68" fmla="*/ 2147483647 w 1472"/>
                    <a:gd name="T69" fmla="*/ 2147483647 h 760"/>
                    <a:gd name="T70" fmla="*/ 2147483647 w 1472"/>
                    <a:gd name="T71" fmla="*/ 2147483647 h 760"/>
                    <a:gd name="T72" fmla="*/ 2147483647 w 1472"/>
                    <a:gd name="T73" fmla="*/ 2147483647 h 760"/>
                    <a:gd name="T74" fmla="*/ 2147483647 w 1472"/>
                    <a:gd name="T75" fmla="*/ 2147483647 h 760"/>
                    <a:gd name="T76" fmla="*/ 2147483647 w 1472"/>
                    <a:gd name="T77" fmla="*/ 2147483647 h 760"/>
                    <a:gd name="T78" fmla="*/ 2147483647 w 1472"/>
                    <a:gd name="T79" fmla="*/ 2147483647 h 760"/>
                    <a:gd name="T80" fmla="*/ 2147483647 w 1472"/>
                    <a:gd name="T81" fmla="*/ 2147483647 h 760"/>
                    <a:gd name="T82" fmla="*/ 2147483647 w 1472"/>
                    <a:gd name="T83" fmla="*/ 2147483647 h 760"/>
                    <a:gd name="T84" fmla="*/ 2147483647 w 1472"/>
                    <a:gd name="T85" fmla="*/ 2147483647 h 760"/>
                    <a:gd name="T86" fmla="*/ 2147483647 w 1472"/>
                    <a:gd name="T87" fmla="*/ 2147483647 h 760"/>
                    <a:gd name="T88" fmla="*/ 2147483647 w 1472"/>
                    <a:gd name="T89" fmla="*/ 2147483647 h 760"/>
                    <a:gd name="T90" fmla="*/ 2147483647 w 1472"/>
                    <a:gd name="T91" fmla="*/ 2147483647 h 760"/>
                    <a:gd name="T92" fmla="*/ 2147483647 w 1472"/>
                    <a:gd name="T93" fmla="*/ 2147483647 h 760"/>
                    <a:gd name="T94" fmla="*/ 2147483647 w 1472"/>
                    <a:gd name="T95" fmla="*/ 2147483647 h 760"/>
                    <a:gd name="T96" fmla="*/ 2147483647 w 1472"/>
                    <a:gd name="T97" fmla="*/ 2147483647 h 760"/>
                    <a:gd name="T98" fmla="*/ 2147483647 w 1472"/>
                    <a:gd name="T99" fmla="*/ 2147483647 h 760"/>
                    <a:gd name="T100" fmla="*/ 2147483647 w 1472"/>
                    <a:gd name="T101" fmla="*/ 2147483647 h 760"/>
                    <a:gd name="T102" fmla="*/ 2147483647 w 1472"/>
                    <a:gd name="T103" fmla="*/ 2147483647 h 760"/>
                    <a:gd name="T104" fmla="*/ 2147483647 w 1472"/>
                    <a:gd name="T105" fmla="*/ 2147483647 h 760"/>
                    <a:gd name="T106" fmla="*/ 2147483647 w 1472"/>
                    <a:gd name="T107" fmla="*/ 2147483647 h 760"/>
                    <a:gd name="T108" fmla="*/ 2147483647 w 1472"/>
                    <a:gd name="T109" fmla="*/ 2147483647 h 760"/>
                    <a:gd name="T110" fmla="*/ 2147483647 w 1472"/>
                    <a:gd name="T111" fmla="*/ 2147483647 h 760"/>
                    <a:gd name="T112" fmla="*/ 2147483647 w 1472"/>
                    <a:gd name="T113" fmla="*/ 2147483647 h 760"/>
                    <a:gd name="T114" fmla="*/ 2147483647 w 1472"/>
                    <a:gd name="T115" fmla="*/ 2147483647 h 760"/>
                    <a:gd name="T116" fmla="*/ 2147483647 w 1472"/>
                    <a:gd name="T117" fmla="*/ 2147483647 h 760"/>
                    <a:gd name="T118" fmla="*/ 2147483647 w 1472"/>
                    <a:gd name="T119" fmla="*/ 2147483647 h 760"/>
                    <a:gd name="T120" fmla="*/ 2147483647 w 1472"/>
                    <a:gd name="T121" fmla="*/ 2147483647 h 760"/>
                    <a:gd name="T122" fmla="*/ 2147483647 w 1472"/>
                    <a:gd name="T123" fmla="*/ 2147483647 h 7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72"/>
                    <a:gd name="T187" fmla="*/ 0 h 760"/>
                    <a:gd name="T188" fmla="*/ 1472 w 1472"/>
                    <a:gd name="T189" fmla="*/ 760 h 7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72" h="760">
                      <a:moveTo>
                        <a:pt x="184" y="458"/>
                      </a:moveTo>
                      <a:lnTo>
                        <a:pt x="184" y="460"/>
                      </a:lnTo>
                      <a:lnTo>
                        <a:pt x="185" y="463"/>
                      </a:lnTo>
                      <a:lnTo>
                        <a:pt x="185" y="469"/>
                      </a:lnTo>
                      <a:lnTo>
                        <a:pt x="188" y="473"/>
                      </a:lnTo>
                      <a:lnTo>
                        <a:pt x="189" y="478"/>
                      </a:lnTo>
                      <a:lnTo>
                        <a:pt x="191" y="486"/>
                      </a:lnTo>
                      <a:lnTo>
                        <a:pt x="192" y="490"/>
                      </a:lnTo>
                      <a:lnTo>
                        <a:pt x="194" y="493"/>
                      </a:lnTo>
                      <a:lnTo>
                        <a:pt x="197" y="496"/>
                      </a:lnTo>
                      <a:lnTo>
                        <a:pt x="201" y="501"/>
                      </a:lnTo>
                      <a:lnTo>
                        <a:pt x="202" y="504"/>
                      </a:lnTo>
                      <a:lnTo>
                        <a:pt x="203" y="508"/>
                      </a:lnTo>
                      <a:lnTo>
                        <a:pt x="203" y="509"/>
                      </a:lnTo>
                      <a:lnTo>
                        <a:pt x="201" y="509"/>
                      </a:lnTo>
                      <a:lnTo>
                        <a:pt x="198" y="509"/>
                      </a:lnTo>
                      <a:lnTo>
                        <a:pt x="198" y="510"/>
                      </a:lnTo>
                      <a:lnTo>
                        <a:pt x="201" y="515"/>
                      </a:lnTo>
                      <a:lnTo>
                        <a:pt x="205" y="519"/>
                      </a:lnTo>
                      <a:lnTo>
                        <a:pt x="206" y="518"/>
                      </a:lnTo>
                      <a:lnTo>
                        <a:pt x="208" y="515"/>
                      </a:lnTo>
                      <a:lnTo>
                        <a:pt x="210" y="512"/>
                      </a:lnTo>
                      <a:lnTo>
                        <a:pt x="211" y="511"/>
                      </a:lnTo>
                      <a:lnTo>
                        <a:pt x="213" y="512"/>
                      </a:lnTo>
                      <a:lnTo>
                        <a:pt x="215" y="515"/>
                      </a:lnTo>
                      <a:lnTo>
                        <a:pt x="217" y="517"/>
                      </a:lnTo>
                      <a:lnTo>
                        <a:pt x="222" y="523"/>
                      </a:lnTo>
                      <a:lnTo>
                        <a:pt x="227" y="530"/>
                      </a:lnTo>
                      <a:lnTo>
                        <a:pt x="231" y="538"/>
                      </a:lnTo>
                      <a:lnTo>
                        <a:pt x="234" y="546"/>
                      </a:lnTo>
                      <a:lnTo>
                        <a:pt x="235" y="550"/>
                      </a:lnTo>
                      <a:lnTo>
                        <a:pt x="239" y="555"/>
                      </a:lnTo>
                      <a:lnTo>
                        <a:pt x="244" y="557"/>
                      </a:lnTo>
                      <a:lnTo>
                        <a:pt x="249" y="557"/>
                      </a:lnTo>
                      <a:lnTo>
                        <a:pt x="257" y="561"/>
                      </a:lnTo>
                      <a:lnTo>
                        <a:pt x="264" y="563"/>
                      </a:lnTo>
                      <a:lnTo>
                        <a:pt x="272" y="565"/>
                      </a:lnTo>
                      <a:lnTo>
                        <a:pt x="278" y="567"/>
                      </a:lnTo>
                      <a:lnTo>
                        <a:pt x="282" y="570"/>
                      </a:lnTo>
                      <a:lnTo>
                        <a:pt x="285" y="573"/>
                      </a:lnTo>
                      <a:lnTo>
                        <a:pt x="291" y="581"/>
                      </a:lnTo>
                      <a:lnTo>
                        <a:pt x="295" y="585"/>
                      </a:lnTo>
                      <a:lnTo>
                        <a:pt x="298" y="587"/>
                      </a:lnTo>
                      <a:lnTo>
                        <a:pt x="304" y="588"/>
                      </a:lnTo>
                      <a:lnTo>
                        <a:pt x="309" y="588"/>
                      </a:lnTo>
                      <a:lnTo>
                        <a:pt x="310" y="588"/>
                      </a:lnTo>
                      <a:lnTo>
                        <a:pt x="310" y="591"/>
                      </a:lnTo>
                      <a:lnTo>
                        <a:pt x="310" y="595"/>
                      </a:lnTo>
                      <a:lnTo>
                        <a:pt x="310" y="597"/>
                      </a:lnTo>
                      <a:lnTo>
                        <a:pt x="310" y="598"/>
                      </a:lnTo>
                      <a:lnTo>
                        <a:pt x="312" y="600"/>
                      </a:lnTo>
                      <a:lnTo>
                        <a:pt x="318" y="602"/>
                      </a:lnTo>
                      <a:lnTo>
                        <a:pt x="796" y="598"/>
                      </a:lnTo>
                      <a:lnTo>
                        <a:pt x="806" y="606"/>
                      </a:lnTo>
                      <a:lnTo>
                        <a:pt x="814" y="611"/>
                      </a:lnTo>
                      <a:lnTo>
                        <a:pt x="817" y="612"/>
                      </a:lnTo>
                      <a:lnTo>
                        <a:pt x="819" y="613"/>
                      </a:lnTo>
                      <a:lnTo>
                        <a:pt x="833" y="610"/>
                      </a:lnTo>
                      <a:lnTo>
                        <a:pt x="839" y="608"/>
                      </a:lnTo>
                      <a:lnTo>
                        <a:pt x="842" y="608"/>
                      </a:lnTo>
                      <a:lnTo>
                        <a:pt x="845" y="610"/>
                      </a:lnTo>
                      <a:lnTo>
                        <a:pt x="848" y="613"/>
                      </a:lnTo>
                      <a:lnTo>
                        <a:pt x="852" y="616"/>
                      </a:lnTo>
                      <a:lnTo>
                        <a:pt x="856" y="616"/>
                      </a:lnTo>
                      <a:lnTo>
                        <a:pt x="865" y="616"/>
                      </a:lnTo>
                      <a:lnTo>
                        <a:pt x="875" y="616"/>
                      </a:lnTo>
                      <a:lnTo>
                        <a:pt x="884" y="618"/>
                      </a:lnTo>
                      <a:lnTo>
                        <a:pt x="894" y="620"/>
                      </a:lnTo>
                      <a:lnTo>
                        <a:pt x="897" y="620"/>
                      </a:lnTo>
                      <a:lnTo>
                        <a:pt x="898" y="619"/>
                      </a:lnTo>
                      <a:lnTo>
                        <a:pt x="900" y="618"/>
                      </a:lnTo>
                      <a:lnTo>
                        <a:pt x="903" y="616"/>
                      </a:lnTo>
                      <a:lnTo>
                        <a:pt x="911" y="616"/>
                      </a:lnTo>
                      <a:lnTo>
                        <a:pt x="914" y="617"/>
                      </a:lnTo>
                      <a:lnTo>
                        <a:pt x="917" y="618"/>
                      </a:lnTo>
                      <a:lnTo>
                        <a:pt x="931" y="629"/>
                      </a:lnTo>
                      <a:lnTo>
                        <a:pt x="946" y="638"/>
                      </a:lnTo>
                      <a:lnTo>
                        <a:pt x="961" y="645"/>
                      </a:lnTo>
                      <a:lnTo>
                        <a:pt x="978" y="651"/>
                      </a:lnTo>
                      <a:lnTo>
                        <a:pt x="980" y="653"/>
                      </a:lnTo>
                      <a:lnTo>
                        <a:pt x="983" y="657"/>
                      </a:lnTo>
                      <a:lnTo>
                        <a:pt x="988" y="669"/>
                      </a:lnTo>
                      <a:lnTo>
                        <a:pt x="991" y="674"/>
                      </a:lnTo>
                      <a:lnTo>
                        <a:pt x="994" y="678"/>
                      </a:lnTo>
                      <a:lnTo>
                        <a:pt x="999" y="682"/>
                      </a:lnTo>
                      <a:lnTo>
                        <a:pt x="1003" y="687"/>
                      </a:lnTo>
                      <a:lnTo>
                        <a:pt x="1012" y="699"/>
                      </a:lnTo>
                      <a:lnTo>
                        <a:pt x="1017" y="710"/>
                      </a:lnTo>
                      <a:lnTo>
                        <a:pt x="1021" y="722"/>
                      </a:lnTo>
                      <a:lnTo>
                        <a:pt x="1021" y="727"/>
                      </a:lnTo>
                      <a:lnTo>
                        <a:pt x="1020" y="731"/>
                      </a:lnTo>
                      <a:lnTo>
                        <a:pt x="1015" y="739"/>
                      </a:lnTo>
                      <a:lnTo>
                        <a:pt x="1003" y="753"/>
                      </a:lnTo>
                      <a:lnTo>
                        <a:pt x="1003" y="754"/>
                      </a:lnTo>
                      <a:lnTo>
                        <a:pt x="1003" y="755"/>
                      </a:lnTo>
                      <a:lnTo>
                        <a:pt x="1006" y="758"/>
                      </a:lnTo>
                      <a:lnTo>
                        <a:pt x="1012" y="760"/>
                      </a:lnTo>
                      <a:lnTo>
                        <a:pt x="1020" y="760"/>
                      </a:lnTo>
                      <a:lnTo>
                        <a:pt x="1029" y="759"/>
                      </a:lnTo>
                      <a:lnTo>
                        <a:pt x="1039" y="757"/>
                      </a:lnTo>
                      <a:lnTo>
                        <a:pt x="1058" y="751"/>
                      </a:lnTo>
                      <a:lnTo>
                        <a:pt x="1076" y="742"/>
                      </a:lnTo>
                      <a:lnTo>
                        <a:pt x="1078" y="740"/>
                      </a:lnTo>
                      <a:lnTo>
                        <a:pt x="1081" y="736"/>
                      </a:lnTo>
                      <a:lnTo>
                        <a:pt x="1082" y="734"/>
                      </a:lnTo>
                      <a:lnTo>
                        <a:pt x="1086" y="732"/>
                      </a:lnTo>
                      <a:lnTo>
                        <a:pt x="1090" y="729"/>
                      </a:lnTo>
                      <a:lnTo>
                        <a:pt x="1093" y="727"/>
                      </a:lnTo>
                      <a:lnTo>
                        <a:pt x="1101" y="722"/>
                      </a:lnTo>
                      <a:lnTo>
                        <a:pt x="1104" y="722"/>
                      </a:lnTo>
                      <a:lnTo>
                        <a:pt x="1105" y="722"/>
                      </a:lnTo>
                      <a:lnTo>
                        <a:pt x="1109" y="723"/>
                      </a:lnTo>
                      <a:lnTo>
                        <a:pt x="1112" y="722"/>
                      </a:lnTo>
                      <a:lnTo>
                        <a:pt x="1118" y="721"/>
                      </a:lnTo>
                      <a:lnTo>
                        <a:pt x="1121" y="720"/>
                      </a:lnTo>
                      <a:lnTo>
                        <a:pt x="1124" y="716"/>
                      </a:lnTo>
                      <a:lnTo>
                        <a:pt x="1137" y="701"/>
                      </a:lnTo>
                      <a:lnTo>
                        <a:pt x="1140" y="697"/>
                      </a:lnTo>
                      <a:lnTo>
                        <a:pt x="1144" y="694"/>
                      </a:lnTo>
                      <a:lnTo>
                        <a:pt x="1149" y="693"/>
                      </a:lnTo>
                      <a:lnTo>
                        <a:pt x="1154" y="691"/>
                      </a:lnTo>
                      <a:lnTo>
                        <a:pt x="1166" y="693"/>
                      </a:lnTo>
                      <a:lnTo>
                        <a:pt x="1177" y="694"/>
                      </a:lnTo>
                      <a:lnTo>
                        <a:pt x="1187" y="694"/>
                      </a:lnTo>
                      <a:lnTo>
                        <a:pt x="1192" y="693"/>
                      </a:lnTo>
                      <a:lnTo>
                        <a:pt x="1198" y="691"/>
                      </a:lnTo>
                      <a:lnTo>
                        <a:pt x="1208" y="684"/>
                      </a:lnTo>
                      <a:lnTo>
                        <a:pt x="1217" y="676"/>
                      </a:lnTo>
                      <a:lnTo>
                        <a:pt x="1224" y="666"/>
                      </a:lnTo>
                      <a:lnTo>
                        <a:pt x="1231" y="658"/>
                      </a:lnTo>
                      <a:lnTo>
                        <a:pt x="1236" y="651"/>
                      </a:lnTo>
                      <a:lnTo>
                        <a:pt x="1238" y="648"/>
                      </a:lnTo>
                      <a:lnTo>
                        <a:pt x="1241" y="645"/>
                      </a:lnTo>
                      <a:lnTo>
                        <a:pt x="1247" y="643"/>
                      </a:lnTo>
                      <a:lnTo>
                        <a:pt x="1253" y="643"/>
                      </a:lnTo>
                      <a:lnTo>
                        <a:pt x="1260" y="643"/>
                      </a:lnTo>
                      <a:lnTo>
                        <a:pt x="1266" y="643"/>
                      </a:lnTo>
                      <a:lnTo>
                        <a:pt x="1266" y="650"/>
                      </a:lnTo>
                      <a:lnTo>
                        <a:pt x="1267" y="658"/>
                      </a:lnTo>
                      <a:lnTo>
                        <a:pt x="1270" y="668"/>
                      </a:lnTo>
                      <a:lnTo>
                        <a:pt x="1272" y="677"/>
                      </a:lnTo>
                      <a:lnTo>
                        <a:pt x="1275" y="684"/>
                      </a:lnTo>
                      <a:lnTo>
                        <a:pt x="1278" y="687"/>
                      </a:lnTo>
                      <a:lnTo>
                        <a:pt x="1280" y="689"/>
                      </a:lnTo>
                      <a:lnTo>
                        <a:pt x="1284" y="685"/>
                      </a:lnTo>
                      <a:lnTo>
                        <a:pt x="1289" y="683"/>
                      </a:lnTo>
                      <a:lnTo>
                        <a:pt x="1300" y="682"/>
                      </a:lnTo>
                      <a:lnTo>
                        <a:pt x="1303" y="681"/>
                      </a:lnTo>
                      <a:lnTo>
                        <a:pt x="1304" y="680"/>
                      </a:lnTo>
                      <a:lnTo>
                        <a:pt x="1307" y="678"/>
                      </a:lnTo>
                      <a:lnTo>
                        <a:pt x="1309" y="678"/>
                      </a:lnTo>
                      <a:lnTo>
                        <a:pt x="1312" y="677"/>
                      </a:lnTo>
                      <a:lnTo>
                        <a:pt x="1317" y="674"/>
                      </a:lnTo>
                      <a:lnTo>
                        <a:pt x="1321" y="674"/>
                      </a:lnTo>
                      <a:lnTo>
                        <a:pt x="1322" y="674"/>
                      </a:lnTo>
                      <a:lnTo>
                        <a:pt x="1323" y="675"/>
                      </a:lnTo>
                      <a:lnTo>
                        <a:pt x="1322" y="676"/>
                      </a:lnTo>
                      <a:lnTo>
                        <a:pt x="1322" y="677"/>
                      </a:lnTo>
                      <a:lnTo>
                        <a:pt x="1319" y="681"/>
                      </a:lnTo>
                      <a:lnTo>
                        <a:pt x="1317" y="683"/>
                      </a:lnTo>
                      <a:lnTo>
                        <a:pt x="1317" y="684"/>
                      </a:lnTo>
                      <a:lnTo>
                        <a:pt x="1318" y="685"/>
                      </a:lnTo>
                      <a:lnTo>
                        <a:pt x="1321" y="688"/>
                      </a:lnTo>
                      <a:lnTo>
                        <a:pt x="1323" y="689"/>
                      </a:lnTo>
                      <a:lnTo>
                        <a:pt x="1328" y="689"/>
                      </a:lnTo>
                      <a:lnTo>
                        <a:pt x="1335" y="688"/>
                      </a:lnTo>
                      <a:lnTo>
                        <a:pt x="1340" y="684"/>
                      </a:lnTo>
                      <a:lnTo>
                        <a:pt x="1342" y="684"/>
                      </a:lnTo>
                      <a:lnTo>
                        <a:pt x="1341" y="688"/>
                      </a:lnTo>
                      <a:lnTo>
                        <a:pt x="1338" y="690"/>
                      </a:lnTo>
                      <a:lnTo>
                        <a:pt x="1336" y="691"/>
                      </a:lnTo>
                      <a:lnTo>
                        <a:pt x="1332" y="693"/>
                      </a:lnTo>
                      <a:lnTo>
                        <a:pt x="1326" y="694"/>
                      </a:lnTo>
                      <a:lnTo>
                        <a:pt x="1319" y="695"/>
                      </a:lnTo>
                      <a:lnTo>
                        <a:pt x="1313" y="699"/>
                      </a:lnTo>
                      <a:lnTo>
                        <a:pt x="1307" y="703"/>
                      </a:lnTo>
                      <a:lnTo>
                        <a:pt x="1303" y="704"/>
                      </a:lnTo>
                      <a:lnTo>
                        <a:pt x="1299" y="704"/>
                      </a:lnTo>
                      <a:lnTo>
                        <a:pt x="1297" y="704"/>
                      </a:lnTo>
                      <a:lnTo>
                        <a:pt x="1295" y="707"/>
                      </a:lnTo>
                      <a:lnTo>
                        <a:pt x="1295" y="712"/>
                      </a:lnTo>
                      <a:lnTo>
                        <a:pt x="1295" y="715"/>
                      </a:lnTo>
                      <a:lnTo>
                        <a:pt x="1295" y="719"/>
                      </a:lnTo>
                      <a:lnTo>
                        <a:pt x="1294" y="721"/>
                      </a:lnTo>
                      <a:lnTo>
                        <a:pt x="1291" y="722"/>
                      </a:lnTo>
                      <a:lnTo>
                        <a:pt x="1291" y="725"/>
                      </a:lnTo>
                      <a:lnTo>
                        <a:pt x="1294" y="726"/>
                      </a:lnTo>
                      <a:lnTo>
                        <a:pt x="1298" y="727"/>
                      </a:lnTo>
                      <a:lnTo>
                        <a:pt x="1299" y="729"/>
                      </a:lnTo>
                      <a:lnTo>
                        <a:pt x="1300" y="732"/>
                      </a:lnTo>
                      <a:lnTo>
                        <a:pt x="1300" y="735"/>
                      </a:lnTo>
                      <a:lnTo>
                        <a:pt x="1302" y="736"/>
                      </a:lnTo>
                      <a:lnTo>
                        <a:pt x="1307" y="734"/>
                      </a:lnTo>
                      <a:lnTo>
                        <a:pt x="1309" y="732"/>
                      </a:lnTo>
                      <a:lnTo>
                        <a:pt x="1316" y="725"/>
                      </a:lnTo>
                      <a:lnTo>
                        <a:pt x="1318" y="723"/>
                      </a:lnTo>
                      <a:lnTo>
                        <a:pt x="1319" y="722"/>
                      </a:lnTo>
                      <a:lnTo>
                        <a:pt x="1321" y="719"/>
                      </a:lnTo>
                      <a:lnTo>
                        <a:pt x="1323" y="715"/>
                      </a:lnTo>
                      <a:lnTo>
                        <a:pt x="1330" y="709"/>
                      </a:lnTo>
                      <a:lnTo>
                        <a:pt x="1336" y="704"/>
                      </a:lnTo>
                      <a:lnTo>
                        <a:pt x="1345" y="701"/>
                      </a:lnTo>
                      <a:lnTo>
                        <a:pt x="1352" y="700"/>
                      </a:lnTo>
                      <a:lnTo>
                        <a:pt x="1360" y="696"/>
                      </a:lnTo>
                      <a:lnTo>
                        <a:pt x="1374" y="689"/>
                      </a:lnTo>
                      <a:lnTo>
                        <a:pt x="1375" y="689"/>
                      </a:lnTo>
                      <a:lnTo>
                        <a:pt x="1377" y="689"/>
                      </a:lnTo>
                      <a:lnTo>
                        <a:pt x="1378" y="690"/>
                      </a:lnTo>
                      <a:lnTo>
                        <a:pt x="1379" y="689"/>
                      </a:lnTo>
                      <a:lnTo>
                        <a:pt x="1379" y="685"/>
                      </a:lnTo>
                      <a:lnTo>
                        <a:pt x="1378" y="682"/>
                      </a:lnTo>
                      <a:lnTo>
                        <a:pt x="1374" y="678"/>
                      </a:lnTo>
                      <a:lnTo>
                        <a:pt x="1370" y="677"/>
                      </a:lnTo>
                      <a:lnTo>
                        <a:pt x="1364" y="677"/>
                      </a:lnTo>
                      <a:lnTo>
                        <a:pt x="1358" y="677"/>
                      </a:lnTo>
                      <a:lnTo>
                        <a:pt x="1351" y="677"/>
                      </a:lnTo>
                      <a:lnTo>
                        <a:pt x="1344" y="676"/>
                      </a:lnTo>
                      <a:lnTo>
                        <a:pt x="1338" y="674"/>
                      </a:lnTo>
                      <a:lnTo>
                        <a:pt x="1333" y="669"/>
                      </a:lnTo>
                      <a:lnTo>
                        <a:pt x="1328" y="664"/>
                      </a:lnTo>
                      <a:lnTo>
                        <a:pt x="1326" y="657"/>
                      </a:lnTo>
                      <a:lnTo>
                        <a:pt x="1323" y="652"/>
                      </a:lnTo>
                      <a:lnTo>
                        <a:pt x="1319" y="649"/>
                      </a:lnTo>
                      <a:lnTo>
                        <a:pt x="1316" y="646"/>
                      </a:lnTo>
                      <a:lnTo>
                        <a:pt x="1311" y="644"/>
                      </a:lnTo>
                      <a:lnTo>
                        <a:pt x="1311" y="642"/>
                      </a:lnTo>
                      <a:lnTo>
                        <a:pt x="1317" y="638"/>
                      </a:lnTo>
                      <a:lnTo>
                        <a:pt x="1325" y="633"/>
                      </a:lnTo>
                      <a:lnTo>
                        <a:pt x="1327" y="631"/>
                      </a:lnTo>
                      <a:lnTo>
                        <a:pt x="1328" y="629"/>
                      </a:lnTo>
                      <a:lnTo>
                        <a:pt x="1328" y="627"/>
                      </a:lnTo>
                      <a:lnTo>
                        <a:pt x="1327" y="625"/>
                      </a:lnTo>
                      <a:lnTo>
                        <a:pt x="1323" y="624"/>
                      </a:lnTo>
                      <a:lnTo>
                        <a:pt x="1319" y="623"/>
                      </a:lnTo>
                      <a:lnTo>
                        <a:pt x="1311" y="625"/>
                      </a:lnTo>
                      <a:lnTo>
                        <a:pt x="1302" y="626"/>
                      </a:lnTo>
                      <a:lnTo>
                        <a:pt x="1297" y="626"/>
                      </a:lnTo>
                      <a:lnTo>
                        <a:pt x="1293" y="626"/>
                      </a:lnTo>
                      <a:lnTo>
                        <a:pt x="1288" y="625"/>
                      </a:lnTo>
                      <a:lnTo>
                        <a:pt x="1283" y="624"/>
                      </a:lnTo>
                      <a:lnTo>
                        <a:pt x="1285" y="621"/>
                      </a:lnTo>
                      <a:lnTo>
                        <a:pt x="1288" y="620"/>
                      </a:lnTo>
                      <a:lnTo>
                        <a:pt x="1295" y="619"/>
                      </a:lnTo>
                      <a:lnTo>
                        <a:pt x="1309" y="619"/>
                      </a:lnTo>
                      <a:lnTo>
                        <a:pt x="1314" y="618"/>
                      </a:lnTo>
                      <a:lnTo>
                        <a:pt x="1318" y="617"/>
                      </a:lnTo>
                      <a:lnTo>
                        <a:pt x="1322" y="614"/>
                      </a:lnTo>
                      <a:lnTo>
                        <a:pt x="1326" y="611"/>
                      </a:lnTo>
                      <a:lnTo>
                        <a:pt x="1327" y="607"/>
                      </a:lnTo>
                      <a:lnTo>
                        <a:pt x="1328" y="605"/>
                      </a:lnTo>
                      <a:lnTo>
                        <a:pt x="1328" y="601"/>
                      </a:lnTo>
                      <a:lnTo>
                        <a:pt x="1327" y="599"/>
                      </a:lnTo>
                      <a:lnTo>
                        <a:pt x="1321" y="595"/>
                      </a:lnTo>
                      <a:lnTo>
                        <a:pt x="1314" y="593"/>
                      </a:lnTo>
                      <a:lnTo>
                        <a:pt x="1307" y="592"/>
                      </a:lnTo>
                      <a:lnTo>
                        <a:pt x="1299" y="593"/>
                      </a:lnTo>
                      <a:lnTo>
                        <a:pt x="1290" y="594"/>
                      </a:lnTo>
                      <a:lnTo>
                        <a:pt x="1284" y="598"/>
                      </a:lnTo>
                      <a:lnTo>
                        <a:pt x="1276" y="601"/>
                      </a:lnTo>
                      <a:lnTo>
                        <a:pt x="1271" y="607"/>
                      </a:lnTo>
                      <a:lnTo>
                        <a:pt x="1258" y="617"/>
                      </a:lnTo>
                      <a:lnTo>
                        <a:pt x="1253" y="623"/>
                      </a:lnTo>
                      <a:lnTo>
                        <a:pt x="1248" y="629"/>
                      </a:lnTo>
                      <a:lnTo>
                        <a:pt x="1243" y="632"/>
                      </a:lnTo>
                      <a:lnTo>
                        <a:pt x="1239" y="636"/>
                      </a:lnTo>
                      <a:lnTo>
                        <a:pt x="1236" y="640"/>
                      </a:lnTo>
                      <a:lnTo>
                        <a:pt x="1229" y="643"/>
                      </a:lnTo>
                      <a:lnTo>
                        <a:pt x="1224" y="644"/>
                      </a:lnTo>
                      <a:lnTo>
                        <a:pt x="1219" y="644"/>
                      </a:lnTo>
                      <a:lnTo>
                        <a:pt x="1219" y="643"/>
                      </a:lnTo>
                      <a:lnTo>
                        <a:pt x="1219" y="640"/>
                      </a:lnTo>
                      <a:lnTo>
                        <a:pt x="1224" y="633"/>
                      </a:lnTo>
                      <a:lnTo>
                        <a:pt x="1227" y="627"/>
                      </a:lnTo>
                      <a:lnTo>
                        <a:pt x="1228" y="621"/>
                      </a:lnTo>
                      <a:lnTo>
                        <a:pt x="1231" y="618"/>
                      </a:lnTo>
                      <a:lnTo>
                        <a:pt x="1234" y="614"/>
                      </a:lnTo>
                      <a:lnTo>
                        <a:pt x="1239" y="611"/>
                      </a:lnTo>
                      <a:lnTo>
                        <a:pt x="1243" y="607"/>
                      </a:lnTo>
                      <a:lnTo>
                        <a:pt x="1247" y="604"/>
                      </a:lnTo>
                      <a:lnTo>
                        <a:pt x="1252" y="599"/>
                      </a:lnTo>
                      <a:lnTo>
                        <a:pt x="1262" y="591"/>
                      </a:lnTo>
                      <a:lnTo>
                        <a:pt x="1267" y="589"/>
                      </a:lnTo>
                      <a:lnTo>
                        <a:pt x="1271" y="589"/>
                      </a:lnTo>
                      <a:lnTo>
                        <a:pt x="1276" y="589"/>
                      </a:lnTo>
                      <a:lnTo>
                        <a:pt x="1278" y="588"/>
                      </a:lnTo>
                      <a:lnTo>
                        <a:pt x="1278" y="587"/>
                      </a:lnTo>
                      <a:lnTo>
                        <a:pt x="1278" y="582"/>
                      </a:lnTo>
                      <a:lnTo>
                        <a:pt x="1279" y="578"/>
                      </a:lnTo>
                      <a:lnTo>
                        <a:pt x="1280" y="576"/>
                      </a:lnTo>
                      <a:lnTo>
                        <a:pt x="1281" y="575"/>
                      </a:lnTo>
                      <a:lnTo>
                        <a:pt x="1285" y="574"/>
                      </a:lnTo>
                      <a:lnTo>
                        <a:pt x="1290" y="568"/>
                      </a:lnTo>
                      <a:lnTo>
                        <a:pt x="1293" y="567"/>
                      </a:lnTo>
                      <a:lnTo>
                        <a:pt x="1297" y="566"/>
                      </a:lnTo>
                      <a:lnTo>
                        <a:pt x="1305" y="568"/>
                      </a:lnTo>
                      <a:lnTo>
                        <a:pt x="1312" y="569"/>
                      </a:lnTo>
                      <a:lnTo>
                        <a:pt x="1318" y="568"/>
                      </a:lnTo>
                      <a:lnTo>
                        <a:pt x="1330" y="565"/>
                      </a:lnTo>
                      <a:lnTo>
                        <a:pt x="1335" y="562"/>
                      </a:lnTo>
                      <a:lnTo>
                        <a:pt x="1337" y="562"/>
                      </a:lnTo>
                      <a:lnTo>
                        <a:pt x="1338" y="562"/>
                      </a:lnTo>
                      <a:lnTo>
                        <a:pt x="1345" y="566"/>
                      </a:lnTo>
                      <a:lnTo>
                        <a:pt x="1351" y="567"/>
                      </a:lnTo>
                      <a:lnTo>
                        <a:pt x="1358" y="568"/>
                      </a:lnTo>
                      <a:lnTo>
                        <a:pt x="1364" y="567"/>
                      </a:lnTo>
                      <a:lnTo>
                        <a:pt x="1375" y="565"/>
                      </a:lnTo>
                      <a:lnTo>
                        <a:pt x="1380" y="565"/>
                      </a:lnTo>
                      <a:lnTo>
                        <a:pt x="1385" y="566"/>
                      </a:lnTo>
                      <a:lnTo>
                        <a:pt x="1391" y="567"/>
                      </a:lnTo>
                      <a:lnTo>
                        <a:pt x="1396" y="566"/>
                      </a:lnTo>
                      <a:lnTo>
                        <a:pt x="1415" y="555"/>
                      </a:lnTo>
                      <a:lnTo>
                        <a:pt x="1416" y="554"/>
                      </a:lnTo>
                      <a:lnTo>
                        <a:pt x="1417" y="553"/>
                      </a:lnTo>
                      <a:lnTo>
                        <a:pt x="1420" y="546"/>
                      </a:lnTo>
                      <a:lnTo>
                        <a:pt x="1421" y="542"/>
                      </a:lnTo>
                      <a:lnTo>
                        <a:pt x="1425" y="538"/>
                      </a:lnTo>
                      <a:lnTo>
                        <a:pt x="1427" y="537"/>
                      </a:lnTo>
                      <a:lnTo>
                        <a:pt x="1430" y="537"/>
                      </a:lnTo>
                      <a:lnTo>
                        <a:pt x="1435" y="538"/>
                      </a:lnTo>
                      <a:lnTo>
                        <a:pt x="1439" y="541"/>
                      </a:lnTo>
                      <a:lnTo>
                        <a:pt x="1441" y="542"/>
                      </a:lnTo>
                      <a:lnTo>
                        <a:pt x="1444" y="542"/>
                      </a:lnTo>
                      <a:lnTo>
                        <a:pt x="1450" y="541"/>
                      </a:lnTo>
                      <a:lnTo>
                        <a:pt x="1457" y="537"/>
                      </a:lnTo>
                      <a:lnTo>
                        <a:pt x="1462" y="534"/>
                      </a:lnTo>
                      <a:lnTo>
                        <a:pt x="1467" y="530"/>
                      </a:lnTo>
                      <a:lnTo>
                        <a:pt x="1471" y="525"/>
                      </a:lnTo>
                      <a:lnTo>
                        <a:pt x="1472" y="519"/>
                      </a:lnTo>
                      <a:lnTo>
                        <a:pt x="1472" y="514"/>
                      </a:lnTo>
                      <a:lnTo>
                        <a:pt x="1468" y="506"/>
                      </a:lnTo>
                      <a:lnTo>
                        <a:pt x="1468" y="503"/>
                      </a:lnTo>
                      <a:lnTo>
                        <a:pt x="1468" y="501"/>
                      </a:lnTo>
                      <a:lnTo>
                        <a:pt x="1467" y="498"/>
                      </a:lnTo>
                      <a:lnTo>
                        <a:pt x="1467" y="495"/>
                      </a:lnTo>
                      <a:lnTo>
                        <a:pt x="1467" y="492"/>
                      </a:lnTo>
                      <a:lnTo>
                        <a:pt x="1467" y="490"/>
                      </a:lnTo>
                      <a:lnTo>
                        <a:pt x="1465" y="487"/>
                      </a:lnTo>
                      <a:lnTo>
                        <a:pt x="1464" y="486"/>
                      </a:lnTo>
                      <a:lnTo>
                        <a:pt x="1459" y="486"/>
                      </a:lnTo>
                      <a:lnTo>
                        <a:pt x="1459" y="487"/>
                      </a:lnTo>
                      <a:lnTo>
                        <a:pt x="1454" y="487"/>
                      </a:lnTo>
                      <a:lnTo>
                        <a:pt x="1450" y="487"/>
                      </a:lnTo>
                      <a:lnTo>
                        <a:pt x="1449" y="487"/>
                      </a:lnTo>
                      <a:lnTo>
                        <a:pt x="1448" y="484"/>
                      </a:lnTo>
                      <a:lnTo>
                        <a:pt x="1450" y="478"/>
                      </a:lnTo>
                      <a:lnTo>
                        <a:pt x="1450" y="473"/>
                      </a:lnTo>
                      <a:lnTo>
                        <a:pt x="1448" y="469"/>
                      </a:lnTo>
                      <a:lnTo>
                        <a:pt x="1444" y="466"/>
                      </a:lnTo>
                      <a:lnTo>
                        <a:pt x="1441" y="466"/>
                      </a:lnTo>
                      <a:lnTo>
                        <a:pt x="1439" y="466"/>
                      </a:lnTo>
                      <a:lnTo>
                        <a:pt x="1431" y="470"/>
                      </a:lnTo>
                      <a:lnTo>
                        <a:pt x="1424" y="476"/>
                      </a:lnTo>
                      <a:lnTo>
                        <a:pt x="1410" y="487"/>
                      </a:lnTo>
                      <a:lnTo>
                        <a:pt x="1408" y="489"/>
                      </a:lnTo>
                      <a:lnTo>
                        <a:pt x="1406" y="489"/>
                      </a:lnTo>
                      <a:lnTo>
                        <a:pt x="1405" y="487"/>
                      </a:lnTo>
                      <a:lnTo>
                        <a:pt x="1403" y="486"/>
                      </a:lnTo>
                      <a:lnTo>
                        <a:pt x="1402" y="483"/>
                      </a:lnTo>
                      <a:lnTo>
                        <a:pt x="1402" y="480"/>
                      </a:lnTo>
                      <a:lnTo>
                        <a:pt x="1403" y="477"/>
                      </a:lnTo>
                      <a:lnTo>
                        <a:pt x="1406" y="474"/>
                      </a:lnTo>
                      <a:lnTo>
                        <a:pt x="1413" y="471"/>
                      </a:lnTo>
                      <a:lnTo>
                        <a:pt x="1421" y="466"/>
                      </a:lnTo>
                      <a:lnTo>
                        <a:pt x="1426" y="464"/>
                      </a:lnTo>
                      <a:lnTo>
                        <a:pt x="1432" y="463"/>
                      </a:lnTo>
                      <a:lnTo>
                        <a:pt x="1438" y="461"/>
                      </a:lnTo>
                      <a:lnTo>
                        <a:pt x="1444" y="459"/>
                      </a:lnTo>
                      <a:lnTo>
                        <a:pt x="1446" y="457"/>
                      </a:lnTo>
                      <a:lnTo>
                        <a:pt x="1446" y="455"/>
                      </a:lnTo>
                      <a:lnTo>
                        <a:pt x="1445" y="452"/>
                      </a:lnTo>
                      <a:lnTo>
                        <a:pt x="1443" y="451"/>
                      </a:lnTo>
                      <a:lnTo>
                        <a:pt x="1436" y="450"/>
                      </a:lnTo>
                      <a:lnTo>
                        <a:pt x="1431" y="451"/>
                      </a:lnTo>
                      <a:lnTo>
                        <a:pt x="1425" y="453"/>
                      </a:lnTo>
                      <a:lnTo>
                        <a:pt x="1424" y="453"/>
                      </a:lnTo>
                      <a:lnTo>
                        <a:pt x="1422" y="453"/>
                      </a:lnTo>
                      <a:lnTo>
                        <a:pt x="1420" y="451"/>
                      </a:lnTo>
                      <a:lnTo>
                        <a:pt x="1417" y="450"/>
                      </a:lnTo>
                      <a:lnTo>
                        <a:pt x="1412" y="448"/>
                      </a:lnTo>
                      <a:lnTo>
                        <a:pt x="1411" y="447"/>
                      </a:lnTo>
                      <a:lnTo>
                        <a:pt x="1410" y="446"/>
                      </a:lnTo>
                      <a:lnTo>
                        <a:pt x="1410" y="445"/>
                      </a:lnTo>
                      <a:lnTo>
                        <a:pt x="1407" y="444"/>
                      </a:lnTo>
                      <a:lnTo>
                        <a:pt x="1405" y="442"/>
                      </a:lnTo>
                      <a:lnTo>
                        <a:pt x="1401" y="445"/>
                      </a:lnTo>
                      <a:lnTo>
                        <a:pt x="1398" y="446"/>
                      </a:lnTo>
                      <a:lnTo>
                        <a:pt x="1396" y="446"/>
                      </a:lnTo>
                      <a:lnTo>
                        <a:pt x="1393" y="445"/>
                      </a:lnTo>
                      <a:lnTo>
                        <a:pt x="1392" y="441"/>
                      </a:lnTo>
                      <a:lnTo>
                        <a:pt x="1392" y="438"/>
                      </a:lnTo>
                      <a:lnTo>
                        <a:pt x="1391" y="434"/>
                      </a:lnTo>
                      <a:lnTo>
                        <a:pt x="1389" y="433"/>
                      </a:lnTo>
                      <a:lnTo>
                        <a:pt x="1388" y="432"/>
                      </a:lnTo>
                      <a:lnTo>
                        <a:pt x="1384" y="433"/>
                      </a:lnTo>
                      <a:lnTo>
                        <a:pt x="1383" y="433"/>
                      </a:lnTo>
                      <a:lnTo>
                        <a:pt x="1382" y="433"/>
                      </a:lnTo>
                      <a:lnTo>
                        <a:pt x="1379" y="428"/>
                      </a:lnTo>
                      <a:lnTo>
                        <a:pt x="1375" y="425"/>
                      </a:lnTo>
                      <a:lnTo>
                        <a:pt x="1374" y="422"/>
                      </a:lnTo>
                      <a:lnTo>
                        <a:pt x="1374" y="420"/>
                      </a:lnTo>
                      <a:lnTo>
                        <a:pt x="1374" y="415"/>
                      </a:lnTo>
                      <a:lnTo>
                        <a:pt x="1373" y="414"/>
                      </a:lnTo>
                      <a:lnTo>
                        <a:pt x="1373" y="410"/>
                      </a:lnTo>
                      <a:lnTo>
                        <a:pt x="1373" y="408"/>
                      </a:lnTo>
                      <a:lnTo>
                        <a:pt x="1370" y="403"/>
                      </a:lnTo>
                      <a:lnTo>
                        <a:pt x="1370" y="401"/>
                      </a:lnTo>
                      <a:lnTo>
                        <a:pt x="1370" y="400"/>
                      </a:lnTo>
                      <a:lnTo>
                        <a:pt x="1373" y="396"/>
                      </a:lnTo>
                      <a:lnTo>
                        <a:pt x="1377" y="393"/>
                      </a:lnTo>
                      <a:lnTo>
                        <a:pt x="1380" y="389"/>
                      </a:lnTo>
                      <a:lnTo>
                        <a:pt x="1380" y="387"/>
                      </a:lnTo>
                      <a:lnTo>
                        <a:pt x="1380" y="384"/>
                      </a:lnTo>
                      <a:lnTo>
                        <a:pt x="1379" y="383"/>
                      </a:lnTo>
                      <a:lnTo>
                        <a:pt x="1378" y="382"/>
                      </a:lnTo>
                      <a:lnTo>
                        <a:pt x="1375" y="383"/>
                      </a:lnTo>
                      <a:lnTo>
                        <a:pt x="1374" y="384"/>
                      </a:lnTo>
                      <a:lnTo>
                        <a:pt x="1371" y="388"/>
                      </a:lnTo>
                      <a:lnTo>
                        <a:pt x="1369" y="389"/>
                      </a:lnTo>
                      <a:lnTo>
                        <a:pt x="1368" y="388"/>
                      </a:lnTo>
                      <a:lnTo>
                        <a:pt x="1365" y="388"/>
                      </a:lnTo>
                      <a:lnTo>
                        <a:pt x="1365" y="387"/>
                      </a:lnTo>
                      <a:lnTo>
                        <a:pt x="1364" y="382"/>
                      </a:lnTo>
                      <a:lnTo>
                        <a:pt x="1363" y="378"/>
                      </a:lnTo>
                      <a:lnTo>
                        <a:pt x="1359" y="372"/>
                      </a:lnTo>
                      <a:lnTo>
                        <a:pt x="1354" y="368"/>
                      </a:lnTo>
                      <a:lnTo>
                        <a:pt x="1347" y="363"/>
                      </a:lnTo>
                      <a:lnTo>
                        <a:pt x="1345" y="361"/>
                      </a:lnTo>
                      <a:lnTo>
                        <a:pt x="1344" y="358"/>
                      </a:lnTo>
                      <a:lnTo>
                        <a:pt x="1342" y="351"/>
                      </a:lnTo>
                      <a:lnTo>
                        <a:pt x="1338" y="344"/>
                      </a:lnTo>
                      <a:lnTo>
                        <a:pt x="1336" y="337"/>
                      </a:lnTo>
                      <a:lnTo>
                        <a:pt x="1332" y="330"/>
                      </a:lnTo>
                      <a:lnTo>
                        <a:pt x="1332" y="324"/>
                      </a:lnTo>
                      <a:lnTo>
                        <a:pt x="1333" y="319"/>
                      </a:lnTo>
                      <a:lnTo>
                        <a:pt x="1332" y="317"/>
                      </a:lnTo>
                      <a:lnTo>
                        <a:pt x="1330" y="314"/>
                      </a:lnTo>
                      <a:lnTo>
                        <a:pt x="1326" y="316"/>
                      </a:lnTo>
                      <a:lnTo>
                        <a:pt x="1323" y="316"/>
                      </a:lnTo>
                      <a:lnTo>
                        <a:pt x="1322" y="316"/>
                      </a:lnTo>
                      <a:lnTo>
                        <a:pt x="1317" y="320"/>
                      </a:lnTo>
                      <a:lnTo>
                        <a:pt x="1313" y="325"/>
                      </a:lnTo>
                      <a:lnTo>
                        <a:pt x="1309" y="330"/>
                      </a:lnTo>
                      <a:lnTo>
                        <a:pt x="1304" y="335"/>
                      </a:lnTo>
                      <a:lnTo>
                        <a:pt x="1300" y="339"/>
                      </a:lnTo>
                      <a:lnTo>
                        <a:pt x="1298" y="345"/>
                      </a:lnTo>
                      <a:lnTo>
                        <a:pt x="1295" y="349"/>
                      </a:lnTo>
                      <a:lnTo>
                        <a:pt x="1293" y="351"/>
                      </a:lnTo>
                      <a:lnTo>
                        <a:pt x="1286" y="356"/>
                      </a:lnTo>
                      <a:lnTo>
                        <a:pt x="1283" y="359"/>
                      </a:lnTo>
                      <a:lnTo>
                        <a:pt x="1279" y="364"/>
                      </a:lnTo>
                      <a:lnTo>
                        <a:pt x="1276" y="365"/>
                      </a:lnTo>
                      <a:lnTo>
                        <a:pt x="1274" y="365"/>
                      </a:lnTo>
                      <a:lnTo>
                        <a:pt x="1271" y="364"/>
                      </a:lnTo>
                      <a:lnTo>
                        <a:pt x="1266" y="363"/>
                      </a:lnTo>
                      <a:lnTo>
                        <a:pt x="1264" y="362"/>
                      </a:lnTo>
                      <a:lnTo>
                        <a:pt x="1260" y="359"/>
                      </a:lnTo>
                      <a:lnTo>
                        <a:pt x="1257" y="356"/>
                      </a:lnTo>
                      <a:lnTo>
                        <a:pt x="1256" y="356"/>
                      </a:lnTo>
                      <a:lnTo>
                        <a:pt x="1255" y="356"/>
                      </a:lnTo>
                      <a:lnTo>
                        <a:pt x="1252" y="359"/>
                      </a:lnTo>
                      <a:lnTo>
                        <a:pt x="1248" y="361"/>
                      </a:lnTo>
                      <a:lnTo>
                        <a:pt x="1245" y="362"/>
                      </a:lnTo>
                      <a:lnTo>
                        <a:pt x="1242" y="359"/>
                      </a:lnTo>
                      <a:lnTo>
                        <a:pt x="1241" y="357"/>
                      </a:lnTo>
                      <a:lnTo>
                        <a:pt x="1242" y="355"/>
                      </a:lnTo>
                      <a:lnTo>
                        <a:pt x="1243" y="352"/>
                      </a:lnTo>
                      <a:lnTo>
                        <a:pt x="1243" y="351"/>
                      </a:lnTo>
                      <a:lnTo>
                        <a:pt x="1241" y="349"/>
                      </a:lnTo>
                      <a:lnTo>
                        <a:pt x="1236" y="346"/>
                      </a:lnTo>
                      <a:lnTo>
                        <a:pt x="1233" y="344"/>
                      </a:lnTo>
                      <a:lnTo>
                        <a:pt x="1233" y="343"/>
                      </a:lnTo>
                      <a:lnTo>
                        <a:pt x="1233" y="340"/>
                      </a:lnTo>
                      <a:lnTo>
                        <a:pt x="1236" y="336"/>
                      </a:lnTo>
                      <a:lnTo>
                        <a:pt x="1236" y="333"/>
                      </a:lnTo>
                      <a:lnTo>
                        <a:pt x="1237" y="331"/>
                      </a:lnTo>
                      <a:lnTo>
                        <a:pt x="1234" y="321"/>
                      </a:lnTo>
                      <a:lnTo>
                        <a:pt x="1234" y="317"/>
                      </a:lnTo>
                      <a:lnTo>
                        <a:pt x="1236" y="311"/>
                      </a:lnTo>
                      <a:lnTo>
                        <a:pt x="1236" y="307"/>
                      </a:lnTo>
                      <a:lnTo>
                        <a:pt x="1237" y="305"/>
                      </a:lnTo>
                      <a:lnTo>
                        <a:pt x="1238" y="304"/>
                      </a:lnTo>
                      <a:lnTo>
                        <a:pt x="1239" y="301"/>
                      </a:lnTo>
                      <a:lnTo>
                        <a:pt x="1241" y="299"/>
                      </a:lnTo>
                      <a:lnTo>
                        <a:pt x="1236" y="301"/>
                      </a:lnTo>
                      <a:lnTo>
                        <a:pt x="1233" y="301"/>
                      </a:lnTo>
                      <a:lnTo>
                        <a:pt x="1232" y="301"/>
                      </a:lnTo>
                      <a:lnTo>
                        <a:pt x="1223" y="299"/>
                      </a:lnTo>
                      <a:lnTo>
                        <a:pt x="1214" y="299"/>
                      </a:lnTo>
                      <a:lnTo>
                        <a:pt x="1210" y="299"/>
                      </a:lnTo>
                      <a:lnTo>
                        <a:pt x="1206" y="298"/>
                      </a:lnTo>
                      <a:lnTo>
                        <a:pt x="1204" y="295"/>
                      </a:lnTo>
                      <a:lnTo>
                        <a:pt x="1201" y="293"/>
                      </a:lnTo>
                      <a:lnTo>
                        <a:pt x="1196" y="287"/>
                      </a:lnTo>
                      <a:lnTo>
                        <a:pt x="1191" y="280"/>
                      </a:lnTo>
                      <a:lnTo>
                        <a:pt x="1190" y="279"/>
                      </a:lnTo>
                      <a:lnTo>
                        <a:pt x="1189" y="279"/>
                      </a:lnTo>
                      <a:lnTo>
                        <a:pt x="1185" y="278"/>
                      </a:lnTo>
                      <a:lnTo>
                        <a:pt x="1181" y="278"/>
                      </a:lnTo>
                      <a:lnTo>
                        <a:pt x="1178" y="278"/>
                      </a:lnTo>
                      <a:lnTo>
                        <a:pt x="1177" y="275"/>
                      </a:lnTo>
                      <a:lnTo>
                        <a:pt x="1172" y="269"/>
                      </a:lnTo>
                      <a:lnTo>
                        <a:pt x="1170" y="267"/>
                      </a:lnTo>
                      <a:lnTo>
                        <a:pt x="1166" y="267"/>
                      </a:lnTo>
                      <a:lnTo>
                        <a:pt x="1156" y="266"/>
                      </a:lnTo>
                      <a:lnTo>
                        <a:pt x="1145" y="265"/>
                      </a:lnTo>
                      <a:lnTo>
                        <a:pt x="1137" y="262"/>
                      </a:lnTo>
                      <a:lnTo>
                        <a:pt x="1126" y="262"/>
                      </a:lnTo>
                      <a:lnTo>
                        <a:pt x="1120" y="263"/>
                      </a:lnTo>
                      <a:lnTo>
                        <a:pt x="1118" y="263"/>
                      </a:lnTo>
                      <a:lnTo>
                        <a:pt x="1114" y="263"/>
                      </a:lnTo>
                      <a:lnTo>
                        <a:pt x="1109" y="261"/>
                      </a:lnTo>
                      <a:lnTo>
                        <a:pt x="1104" y="259"/>
                      </a:lnTo>
                      <a:lnTo>
                        <a:pt x="1098" y="256"/>
                      </a:lnTo>
                      <a:lnTo>
                        <a:pt x="1095" y="252"/>
                      </a:lnTo>
                      <a:lnTo>
                        <a:pt x="1095" y="253"/>
                      </a:lnTo>
                      <a:lnTo>
                        <a:pt x="1093" y="253"/>
                      </a:lnTo>
                      <a:lnTo>
                        <a:pt x="1095" y="259"/>
                      </a:lnTo>
                      <a:lnTo>
                        <a:pt x="1095" y="262"/>
                      </a:lnTo>
                      <a:lnTo>
                        <a:pt x="1095" y="265"/>
                      </a:lnTo>
                      <a:lnTo>
                        <a:pt x="1092" y="273"/>
                      </a:lnTo>
                      <a:lnTo>
                        <a:pt x="1090" y="280"/>
                      </a:lnTo>
                      <a:lnTo>
                        <a:pt x="1088" y="295"/>
                      </a:lnTo>
                      <a:lnTo>
                        <a:pt x="1088" y="298"/>
                      </a:lnTo>
                      <a:lnTo>
                        <a:pt x="1086" y="301"/>
                      </a:lnTo>
                      <a:lnTo>
                        <a:pt x="1085" y="304"/>
                      </a:lnTo>
                      <a:lnTo>
                        <a:pt x="1086" y="306"/>
                      </a:lnTo>
                      <a:lnTo>
                        <a:pt x="1091" y="317"/>
                      </a:lnTo>
                      <a:lnTo>
                        <a:pt x="1093" y="319"/>
                      </a:lnTo>
                      <a:lnTo>
                        <a:pt x="1096" y="320"/>
                      </a:lnTo>
                      <a:lnTo>
                        <a:pt x="1101" y="323"/>
                      </a:lnTo>
                      <a:lnTo>
                        <a:pt x="1104" y="324"/>
                      </a:lnTo>
                      <a:lnTo>
                        <a:pt x="1105" y="326"/>
                      </a:lnTo>
                      <a:lnTo>
                        <a:pt x="1104" y="330"/>
                      </a:lnTo>
                      <a:lnTo>
                        <a:pt x="1102" y="335"/>
                      </a:lnTo>
                      <a:lnTo>
                        <a:pt x="1098" y="338"/>
                      </a:lnTo>
                      <a:lnTo>
                        <a:pt x="1085" y="349"/>
                      </a:lnTo>
                      <a:lnTo>
                        <a:pt x="1079" y="355"/>
                      </a:lnTo>
                      <a:lnTo>
                        <a:pt x="1078" y="358"/>
                      </a:lnTo>
                      <a:lnTo>
                        <a:pt x="1077" y="362"/>
                      </a:lnTo>
                      <a:lnTo>
                        <a:pt x="1078" y="364"/>
                      </a:lnTo>
                      <a:lnTo>
                        <a:pt x="1081" y="364"/>
                      </a:lnTo>
                      <a:lnTo>
                        <a:pt x="1086" y="365"/>
                      </a:lnTo>
                      <a:lnTo>
                        <a:pt x="1090" y="368"/>
                      </a:lnTo>
                      <a:lnTo>
                        <a:pt x="1091" y="370"/>
                      </a:lnTo>
                      <a:lnTo>
                        <a:pt x="1095" y="378"/>
                      </a:lnTo>
                      <a:lnTo>
                        <a:pt x="1101" y="387"/>
                      </a:lnTo>
                      <a:lnTo>
                        <a:pt x="1104" y="391"/>
                      </a:lnTo>
                      <a:lnTo>
                        <a:pt x="1105" y="397"/>
                      </a:lnTo>
                      <a:lnTo>
                        <a:pt x="1106" y="402"/>
                      </a:lnTo>
                      <a:lnTo>
                        <a:pt x="1109" y="408"/>
                      </a:lnTo>
                      <a:lnTo>
                        <a:pt x="1109" y="410"/>
                      </a:lnTo>
                      <a:lnTo>
                        <a:pt x="1109" y="413"/>
                      </a:lnTo>
                      <a:lnTo>
                        <a:pt x="1109" y="415"/>
                      </a:lnTo>
                      <a:lnTo>
                        <a:pt x="1107" y="419"/>
                      </a:lnTo>
                      <a:lnTo>
                        <a:pt x="1102" y="427"/>
                      </a:lnTo>
                      <a:lnTo>
                        <a:pt x="1097" y="435"/>
                      </a:lnTo>
                      <a:lnTo>
                        <a:pt x="1096" y="439"/>
                      </a:lnTo>
                      <a:lnTo>
                        <a:pt x="1092" y="440"/>
                      </a:lnTo>
                      <a:lnTo>
                        <a:pt x="1083" y="445"/>
                      </a:lnTo>
                      <a:lnTo>
                        <a:pt x="1076" y="448"/>
                      </a:lnTo>
                      <a:lnTo>
                        <a:pt x="1068" y="454"/>
                      </a:lnTo>
                      <a:lnTo>
                        <a:pt x="1065" y="458"/>
                      </a:lnTo>
                      <a:lnTo>
                        <a:pt x="1064" y="461"/>
                      </a:lnTo>
                      <a:lnTo>
                        <a:pt x="1065" y="464"/>
                      </a:lnTo>
                      <a:lnTo>
                        <a:pt x="1069" y="467"/>
                      </a:lnTo>
                      <a:lnTo>
                        <a:pt x="1082" y="492"/>
                      </a:lnTo>
                      <a:lnTo>
                        <a:pt x="1082" y="496"/>
                      </a:lnTo>
                      <a:lnTo>
                        <a:pt x="1082" y="501"/>
                      </a:lnTo>
                      <a:lnTo>
                        <a:pt x="1083" y="504"/>
                      </a:lnTo>
                      <a:lnTo>
                        <a:pt x="1085" y="508"/>
                      </a:lnTo>
                      <a:lnTo>
                        <a:pt x="1087" y="515"/>
                      </a:lnTo>
                      <a:lnTo>
                        <a:pt x="1090" y="522"/>
                      </a:lnTo>
                      <a:lnTo>
                        <a:pt x="1090" y="529"/>
                      </a:lnTo>
                      <a:lnTo>
                        <a:pt x="1088" y="536"/>
                      </a:lnTo>
                      <a:lnTo>
                        <a:pt x="1086" y="540"/>
                      </a:lnTo>
                      <a:lnTo>
                        <a:pt x="1083" y="543"/>
                      </a:lnTo>
                      <a:lnTo>
                        <a:pt x="1079" y="546"/>
                      </a:lnTo>
                      <a:lnTo>
                        <a:pt x="1076" y="547"/>
                      </a:lnTo>
                      <a:lnTo>
                        <a:pt x="1076" y="544"/>
                      </a:lnTo>
                      <a:lnTo>
                        <a:pt x="1074" y="541"/>
                      </a:lnTo>
                      <a:lnTo>
                        <a:pt x="1073" y="540"/>
                      </a:lnTo>
                      <a:lnTo>
                        <a:pt x="1071" y="540"/>
                      </a:lnTo>
                      <a:lnTo>
                        <a:pt x="1068" y="541"/>
                      </a:lnTo>
                      <a:lnTo>
                        <a:pt x="1068" y="542"/>
                      </a:lnTo>
                      <a:lnTo>
                        <a:pt x="1067" y="547"/>
                      </a:lnTo>
                      <a:lnTo>
                        <a:pt x="1064" y="550"/>
                      </a:lnTo>
                      <a:lnTo>
                        <a:pt x="1063" y="550"/>
                      </a:lnTo>
                      <a:lnTo>
                        <a:pt x="1060" y="550"/>
                      </a:lnTo>
                      <a:lnTo>
                        <a:pt x="1054" y="547"/>
                      </a:lnTo>
                      <a:lnTo>
                        <a:pt x="1050" y="546"/>
                      </a:lnTo>
                      <a:lnTo>
                        <a:pt x="1046" y="546"/>
                      </a:lnTo>
                      <a:lnTo>
                        <a:pt x="1045" y="544"/>
                      </a:lnTo>
                      <a:lnTo>
                        <a:pt x="1045" y="543"/>
                      </a:lnTo>
                      <a:lnTo>
                        <a:pt x="1045" y="541"/>
                      </a:lnTo>
                      <a:lnTo>
                        <a:pt x="1046" y="540"/>
                      </a:lnTo>
                      <a:lnTo>
                        <a:pt x="1046" y="538"/>
                      </a:lnTo>
                      <a:lnTo>
                        <a:pt x="1046" y="537"/>
                      </a:lnTo>
                      <a:lnTo>
                        <a:pt x="1036" y="528"/>
                      </a:lnTo>
                      <a:lnTo>
                        <a:pt x="1032" y="524"/>
                      </a:lnTo>
                      <a:lnTo>
                        <a:pt x="1027" y="518"/>
                      </a:lnTo>
                      <a:lnTo>
                        <a:pt x="1026" y="517"/>
                      </a:lnTo>
                      <a:lnTo>
                        <a:pt x="1024" y="517"/>
                      </a:lnTo>
                      <a:lnTo>
                        <a:pt x="1021" y="516"/>
                      </a:lnTo>
                      <a:lnTo>
                        <a:pt x="1018" y="515"/>
                      </a:lnTo>
                      <a:lnTo>
                        <a:pt x="1017" y="511"/>
                      </a:lnTo>
                      <a:lnTo>
                        <a:pt x="1017" y="509"/>
                      </a:lnTo>
                      <a:lnTo>
                        <a:pt x="1017" y="498"/>
                      </a:lnTo>
                      <a:lnTo>
                        <a:pt x="1017" y="487"/>
                      </a:lnTo>
                      <a:lnTo>
                        <a:pt x="1018" y="483"/>
                      </a:lnTo>
                      <a:lnTo>
                        <a:pt x="1018" y="480"/>
                      </a:lnTo>
                      <a:lnTo>
                        <a:pt x="1017" y="478"/>
                      </a:lnTo>
                      <a:lnTo>
                        <a:pt x="1015" y="476"/>
                      </a:lnTo>
                      <a:lnTo>
                        <a:pt x="1012" y="472"/>
                      </a:lnTo>
                      <a:lnTo>
                        <a:pt x="1011" y="466"/>
                      </a:lnTo>
                      <a:lnTo>
                        <a:pt x="1011" y="454"/>
                      </a:lnTo>
                      <a:lnTo>
                        <a:pt x="1011" y="453"/>
                      </a:lnTo>
                      <a:lnTo>
                        <a:pt x="1008" y="452"/>
                      </a:lnTo>
                      <a:lnTo>
                        <a:pt x="1005" y="452"/>
                      </a:lnTo>
                      <a:lnTo>
                        <a:pt x="998" y="453"/>
                      </a:lnTo>
                      <a:lnTo>
                        <a:pt x="994" y="453"/>
                      </a:lnTo>
                      <a:lnTo>
                        <a:pt x="988" y="451"/>
                      </a:lnTo>
                      <a:lnTo>
                        <a:pt x="983" y="448"/>
                      </a:lnTo>
                      <a:lnTo>
                        <a:pt x="980" y="448"/>
                      </a:lnTo>
                      <a:lnTo>
                        <a:pt x="978" y="448"/>
                      </a:lnTo>
                      <a:lnTo>
                        <a:pt x="975" y="450"/>
                      </a:lnTo>
                      <a:lnTo>
                        <a:pt x="973" y="448"/>
                      </a:lnTo>
                      <a:lnTo>
                        <a:pt x="971" y="448"/>
                      </a:lnTo>
                      <a:lnTo>
                        <a:pt x="970" y="446"/>
                      </a:lnTo>
                      <a:lnTo>
                        <a:pt x="968" y="444"/>
                      </a:lnTo>
                      <a:lnTo>
                        <a:pt x="963" y="441"/>
                      </a:lnTo>
                      <a:lnTo>
                        <a:pt x="959" y="439"/>
                      </a:lnTo>
                      <a:lnTo>
                        <a:pt x="955" y="435"/>
                      </a:lnTo>
                      <a:lnTo>
                        <a:pt x="951" y="432"/>
                      </a:lnTo>
                      <a:lnTo>
                        <a:pt x="949" y="432"/>
                      </a:lnTo>
                      <a:lnTo>
                        <a:pt x="946" y="432"/>
                      </a:lnTo>
                      <a:lnTo>
                        <a:pt x="944" y="431"/>
                      </a:lnTo>
                      <a:lnTo>
                        <a:pt x="940" y="429"/>
                      </a:lnTo>
                      <a:lnTo>
                        <a:pt x="936" y="426"/>
                      </a:lnTo>
                      <a:lnTo>
                        <a:pt x="933" y="425"/>
                      </a:lnTo>
                      <a:lnTo>
                        <a:pt x="931" y="423"/>
                      </a:lnTo>
                      <a:lnTo>
                        <a:pt x="927" y="418"/>
                      </a:lnTo>
                      <a:lnTo>
                        <a:pt x="925" y="413"/>
                      </a:lnTo>
                      <a:lnTo>
                        <a:pt x="922" y="412"/>
                      </a:lnTo>
                      <a:lnTo>
                        <a:pt x="921" y="413"/>
                      </a:lnTo>
                      <a:lnTo>
                        <a:pt x="918" y="413"/>
                      </a:lnTo>
                      <a:lnTo>
                        <a:pt x="916" y="413"/>
                      </a:lnTo>
                      <a:lnTo>
                        <a:pt x="913" y="410"/>
                      </a:lnTo>
                      <a:lnTo>
                        <a:pt x="911" y="408"/>
                      </a:lnTo>
                      <a:lnTo>
                        <a:pt x="908" y="407"/>
                      </a:lnTo>
                      <a:lnTo>
                        <a:pt x="904" y="406"/>
                      </a:lnTo>
                      <a:lnTo>
                        <a:pt x="898" y="402"/>
                      </a:lnTo>
                      <a:lnTo>
                        <a:pt x="893" y="401"/>
                      </a:lnTo>
                      <a:lnTo>
                        <a:pt x="886" y="400"/>
                      </a:lnTo>
                      <a:lnTo>
                        <a:pt x="880" y="400"/>
                      </a:lnTo>
                      <a:lnTo>
                        <a:pt x="872" y="399"/>
                      </a:lnTo>
                      <a:lnTo>
                        <a:pt x="869" y="397"/>
                      </a:lnTo>
                      <a:lnTo>
                        <a:pt x="865" y="396"/>
                      </a:lnTo>
                      <a:lnTo>
                        <a:pt x="852" y="395"/>
                      </a:lnTo>
                      <a:lnTo>
                        <a:pt x="848" y="396"/>
                      </a:lnTo>
                      <a:lnTo>
                        <a:pt x="843" y="397"/>
                      </a:lnTo>
                      <a:lnTo>
                        <a:pt x="839" y="399"/>
                      </a:lnTo>
                      <a:lnTo>
                        <a:pt x="838" y="399"/>
                      </a:lnTo>
                      <a:lnTo>
                        <a:pt x="836" y="397"/>
                      </a:lnTo>
                      <a:lnTo>
                        <a:pt x="836" y="396"/>
                      </a:lnTo>
                      <a:lnTo>
                        <a:pt x="836" y="394"/>
                      </a:lnTo>
                      <a:lnTo>
                        <a:pt x="837" y="390"/>
                      </a:lnTo>
                      <a:lnTo>
                        <a:pt x="837" y="388"/>
                      </a:lnTo>
                      <a:lnTo>
                        <a:pt x="836" y="386"/>
                      </a:lnTo>
                      <a:lnTo>
                        <a:pt x="834" y="384"/>
                      </a:lnTo>
                      <a:lnTo>
                        <a:pt x="833" y="382"/>
                      </a:lnTo>
                      <a:lnTo>
                        <a:pt x="833" y="378"/>
                      </a:lnTo>
                      <a:lnTo>
                        <a:pt x="834" y="376"/>
                      </a:lnTo>
                      <a:lnTo>
                        <a:pt x="836" y="374"/>
                      </a:lnTo>
                      <a:lnTo>
                        <a:pt x="836" y="370"/>
                      </a:lnTo>
                      <a:lnTo>
                        <a:pt x="834" y="369"/>
                      </a:lnTo>
                      <a:lnTo>
                        <a:pt x="833" y="368"/>
                      </a:lnTo>
                      <a:lnTo>
                        <a:pt x="832" y="365"/>
                      </a:lnTo>
                      <a:lnTo>
                        <a:pt x="832" y="364"/>
                      </a:lnTo>
                      <a:lnTo>
                        <a:pt x="833" y="363"/>
                      </a:lnTo>
                      <a:lnTo>
                        <a:pt x="834" y="359"/>
                      </a:lnTo>
                      <a:lnTo>
                        <a:pt x="836" y="357"/>
                      </a:lnTo>
                      <a:lnTo>
                        <a:pt x="833" y="356"/>
                      </a:lnTo>
                      <a:lnTo>
                        <a:pt x="827" y="356"/>
                      </a:lnTo>
                      <a:lnTo>
                        <a:pt x="820" y="358"/>
                      </a:lnTo>
                      <a:lnTo>
                        <a:pt x="813" y="361"/>
                      </a:lnTo>
                      <a:lnTo>
                        <a:pt x="810" y="362"/>
                      </a:lnTo>
                      <a:lnTo>
                        <a:pt x="809" y="364"/>
                      </a:lnTo>
                      <a:lnTo>
                        <a:pt x="808" y="364"/>
                      </a:lnTo>
                      <a:lnTo>
                        <a:pt x="806" y="363"/>
                      </a:lnTo>
                      <a:lnTo>
                        <a:pt x="805" y="358"/>
                      </a:lnTo>
                      <a:lnTo>
                        <a:pt x="805" y="355"/>
                      </a:lnTo>
                      <a:lnTo>
                        <a:pt x="808" y="348"/>
                      </a:lnTo>
                      <a:lnTo>
                        <a:pt x="809" y="343"/>
                      </a:lnTo>
                      <a:lnTo>
                        <a:pt x="809" y="337"/>
                      </a:lnTo>
                      <a:lnTo>
                        <a:pt x="806" y="326"/>
                      </a:lnTo>
                      <a:lnTo>
                        <a:pt x="805" y="317"/>
                      </a:lnTo>
                      <a:lnTo>
                        <a:pt x="805" y="311"/>
                      </a:lnTo>
                      <a:lnTo>
                        <a:pt x="805" y="307"/>
                      </a:lnTo>
                      <a:lnTo>
                        <a:pt x="808" y="305"/>
                      </a:lnTo>
                      <a:lnTo>
                        <a:pt x="809" y="303"/>
                      </a:lnTo>
                      <a:lnTo>
                        <a:pt x="811" y="300"/>
                      </a:lnTo>
                      <a:lnTo>
                        <a:pt x="813" y="298"/>
                      </a:lnTo>
                      <a:lnTo>
                        <a:pt x="815" y="291"/>
                      </a:lnTo>
                      <a:lnTo>
                        <a:pt x="817" y="282"/>
                      </a:lnTo>
                      <a:lnTo>
                        <a:pt x="818" y="280"/>
                      </a:lnTo>
                      <a:lnTo>
                        <a:pt x="820" y="279"/>
                      </a:lnTo>
                      <a:lnTo>
                        <a:pt x="828" y="278"/>
                      </a:lnTo>
                      <a:lnTo>
                        <a:pt x="829" y="276"/>
                      </a:lnTo>
                      <a:lnTo>
                        <a:pt x="832" y="274"/>
                      </a:lnTo>
                      <a:lnTo>
                        <a:pt x="834" y="269"/>
                      </a:lnTo>
                      <a:lnTo>
                        <a:pt x="837" y="267"/>
                      </a:lnTo>
                      <a:lnTo>
                        <a:pt x="839" y="266"/>
                      </a:lnTo>
                      <a:lnTo>
                        <a:pt x="842" y="263"/>
                      </a:lnTo>
                      <a:lnTo>
                        <a:pt x="845" y="261"/>
                      </a:lnTo>
                      <a:lnTo>
                        <a:pt x="846" y="257"/>
                      </a:lnTo>
                      <a:lnTo>
                        <a:pt x="846" y="255"/>
                      </a:lnTo>
                      <a:lnTo>
                        <a:pt x="845" y="253"/>
                      </a:lnTo>
                      <a:lnTo>
                        <a:pt x="843" y="250"/>
                      </a:lnTo>
                      <a:lnTo>
                        <a:pt x="838" y="246"/>
                      </a:lnTo>
                      <a:lnTo>
                        <a:pt x="833" y="242"/>
                      </a:lnTo>
                      <a:lnTo>
                        <a:pt x="834" y="241"/>
                      </a:lnTo>
                      <a:lnTo>
                        <a:pt x="837" y="241"/>
                      </a:lnTo>
                      <a:lnTo>
                        <a:pt x="839" y="242"/>
                      </a:lnTo>
                      <a:lnTo>
                        <a:pt x="843" y="243"/>
                      </a:lnTo>
                      <a:lnTo>
                        <a:pt x="847" y="243"/>
                      </a:lnTo>
                      <a:lnTo>
                        <a:pt x="851" y="244"/>
                      </a:lnTo>
                      <a:lnTo>
                        <a:pt x="860" y="248"/>
                      </a:lnTo>
                      <a:lnTo>
                        <a:pt x="862" y="249"/>
                      </a:lnTo>
                      <a:lnTo>
                        <a:pt x="864" y="249"/>
                      </a:lnTo>
                      <a:lnTo>
                        <a:pt x="865" y="248"/>
                      </a:lnTo>
                      <a:lnTo>
                        <a:pt x="866" y="246"/>
                      </a:lnTo>
                      <a:lnTo>
                        <a:pt x="865" y="244"/>
                      </a:lnTo>
                      <a:lnTo>
                        <a:pt x="855" y="239"/>
                      </a:lnTo>
                      <a:lnTo>
                        <a:pt x="850" y="236"/>
                      </a:lnTo>
                      <a:lnTo>
                        <a:pt x="845" y="235"/>
                      </a:lnTo>
                      <a:lnTo>
                        <a:pt x="827" y="230"/>
                      </a:lnTo>
                      <a:lnTo>
                        <a:pt x="819" y="227"/>
                      </a:lnTo>
                      <a:lnTo>
                        <a:pt x="810" y="222"/>
                      </a:lnTo>
                      <a:lnTo>
                        <a:pt x="804" y="220"/>
                      </a:lnTo>
                      <a:lnTo>
                        <a:pt x="798" y="216"/>
                      </a:lnTo>
                      <a:lnTo>
                        <a:pt x="794" y="216"/>
                      </a:lnTo>
                      <a:lnTo>
                        <a:pt x="791" y="217"/>
                      </a:lnTo>
                      <a:lnTo>
                        <a:pt x="784" y="221"/>
                      </a:lnTo>
                      <a:lnTo>
                        <a:pt x="781" y="221"/>
                      </a:lnTo>
                      <a:lnTo>
                        <a:pt x="780" y="218"/>
                      </a:lnTo>
                      <a:lnTo>
                        <a:pt x="777" y="216"/>
                      </a:lnTo>
                      <a:lnTo>
                        <a:pt x="775" y="212"/>
                      </a:lnTo>
                      <a:lnTo>
                        <a:pt x="770" y="208"/>
                      </a:lnTo>
                      <a:lnTo>
                        <a:pt x="770" y="206"/>
                      </a:lnTo>
                      <a:lnTo>
                        <a:pt x="772" y="206"/>
                      </a:lnTo>
                      <a:lnTo>
                        <a:pt x="775" y="208"/>
                      </a:lnTo>
                      <a:lnTo>
                        <a:pt x="778" y="206"/>
                      </a:lnTo>
                      <a:lnTo>
                        <a:pt x="782" y="206"/>
                      </a:lnTo>
                      <a:lnTo>
                        <a:pt x="785" y="208"/>
                      </a:lnTo>
                      <a:lnTo>
                        <a:pt x="808" y="215"/>
                      </a:lnTo>
                      <a:lnTo>
                        <a:pt x="818" y="218"/>
                      </a:lnTo>
                      <a:lnTo>
                        <a:pt x="831" y="222"/>
                      </a:lnTo>
                      <a:lnTo>
                        <a:pt x="833" y="223"/>
                      </a:lnTo>
                      <a:lnTo>
                        <a:pt x="837" y="224"/>
                      </a:lnTo>
                      <a:lnTo>
                        <a:pt x="841" y="224"/>
                      </a:lnTo>
                      <a:lnTo>
                        <a:pt x="846" y="224"/>
                      </a:lnTo>
                      <a:lnTo>
                        <a:pt x="855" y="228"/>
                      </a:lnTo>
                      <a:lnTo>
                        <a:pt x="864" y="233"/>
                      </a:lnTo>
                      <a:lnTo>
                        <a:pt x="871" y="239"/>
                      </a:lnTo>
                      <a:lnTo>
                        <a:pt x="876" y="241"/>
                      </a:lnTo>
                      <a:lnTo>
                        <a:pt x="879" y="241"/>
                      </a:lnTo>
                      <a:lnTo>
                        <a:pt x="881" y="240"/>
                      </a:lnTo>
                      <a:lnTo>
                        <a:pt x="884" y="239"/>
                      </a:lnTo>
                      <a:lnTo>
                        <a:pt x="885" y="237"/>
                      </a:lnTo>
                      <a:lnTo>
                        <a:pt x="884" y="236"/>
                      </a:lnTo>
                      <a:lnTo>
                        <a:pt x="881" y="231"/>
                      </a:lnTo>
                      <a:lnTo>
                        <a:pt x="878" y="228"/>
                      </a:lnTo>
                      <a:lnTo>
                        <a:pt x="878" y="227"/>
                      </a:lnTo>
                      <a:lnTo>
                        <a:pt x="876" y="225"/>
                      </a:lnTo>
                      <a:lnTo>
                        <a:pt x="879" y="224"/>
                      </a:lnTo>
                      <a:lnTo>
                        <a:pt x="881" y="222"/>
                      </a:lnTo>
                      <a:lnTo>
                        <a:pt x="884" y="222"/>
                      </a:lnTo>
                      <a:lnTo>
                        <a:pt x="890" y="221"/>
                      </a:lnTo>
                      <a:lnTo>
                        <a:pt x="895" y="220"/>
                      </a:lnTo>
                      <a:lnTo>
                        <a:pt x="902" y="218"/>
                      </a:lnTo>
                      <a:lnTo>
                        <a:pt x="907" y="217"/>
                      </a:lnTo>
                      <a:lnTo>
                        <a:pt x="911" y="214"/>
                      </a:lnTo>
                      <a:lnTo>
                        <a:pt x="916" y="211"/>
                      </a:lnTo>
                      <a:lnTo>
                        <a:pt x="922" y="203"/>
                      </a:lnTo>
                      <a:lnTo>
                        <a:pt x="927" y="193"/>
                      </a:lnTo>
                      <a:lnTo>
                        <a:pt x="927" y="192"/>
                      </a:lnTo>
                      <a:lnTo>
                        <a:pt x="925" y="191"/>
                      </a:lnTo>
                      <a:lnTo>
                        <a:pt x="919" y="190"/>
                      </a:lnTo>
                      <a:lnTo>
                        <a:pt x="918" y="190"/>
                      </a:lnTo>
                      <a:lnTo>
                        <a:pt x="916" y="190"/>
                      </a:lnTo>
                      <a:lnTo>
                        <a:pt x="912" y="188"/>
                      </a:lnTo>
                      <a:lnTo>
                        <a:pt x="907" y="186"/>
                      </a:lnTo>
                      <a:lnTo>
                        <a:pt x="898" y="186"/>
                      </a:lnTo>
                      <a:lnTo>
                        <a:pt x="897" y="186"/>
                      </a:lnTo>
                      <a:lnTo>
                        <a:pt x="894" y="184"/>
                      </a:lnTo>
                      <a:lnTo>
                        <a:pt x="894" y="182"/>
                      </a:lnTo>
                      <a:lnTo>
                        <a:pt x="893" y="179"/>
                      </a:lnTo>
                      <a:lnTo>
                        <a:pt x="886" y="174"/>
                      </a:lnTo>
                      <a:lnTo>
                        <a:pt x="885" y="173"/>
                      </a:lnTo>
                      <a:lnTo>
                        <a:pt x="884" y="172"/>
                      </a:lnTo>
                      <a:lnTo>
                        <a:pt x="885" y="171"/>
                      </a:lnTo>
                      <a:lnTo>
                        <a:pt x="886" y="170"/>
                      </a:lnTo>
                      <a:lnTo>
                        <a:pt x="888" y="169"/>
                      </a:lnTo>
                      <a:lnTo>
                        <a:pt x="893" y="170"/>
                      </a:lnTo>
                      <a:lnTo>
                        <a:pt x="897" y="173"/>
                      </a:lnTo>
                      <a:lnTo>
                        <a:pt x="902" y="174"/>
                      </a:lnTo>
                      <a:lnTo>
                        <a:pt x="916" y="177"/>
                      </a:lnTo>
                      <a:lnTo>
                        <a:pt x="930" y="180"/>
                      </a:lnTo>
                      <a:lnTo>
                        <a:pt x="931" y="178"/>
                      </a:lnTo>
                      <a:lnTo>
                        <a:pt x="932" y="177"/>
                      </a:lnTo>
                      <a:lnTo>
                        <a:pt x="933" y="174"/>
                      </a:lnTo>
                      <a:lnTo>
                        <a:pt x="938" y="173"/>
                      </a:lnTo>
                      <a:lnTo>
                        <a:pt x="941" y="173"/>
                      </a:lnTo>
                      <a:lnTo>
                        <a:pt x="942" y="171"/>
                      </a:lnTo>
                      <a:lnTo>
                        <a:pt x="944" y="167"/>
                      </a:lnTo>
                      <a:lnTo>
                        <a:pt x="944" y="165"/>
                      </a:lnTo>
                      <a:lnTo>
                        <a:pt x="944" y="158"/>
                      </a:lnTo>
                      <a:lnTo>
                        <a:pt x="942" y="151"/>
                      </a:lnTo>
                      <a:lnTo>
                        <a:pt x="944" y="147"/>
                      </a:lnTo>
                      <a:lnTo>
                        <a:pt x="946" y="146"/>
                      </a:lnTo>
                      <a:lnTo>
                        <a:pt x="952" y="145"/>
                      </a:lnTo>
                      <a:lnTo>
                        <a:pt x="955" y="145"/>
                      </a:lnTo>
                      <a:lnTo>
                        <a:pt x="958" y="142"/>
                      </a:lnTo>
                      <a:lnTo>
                        <a:pt x="959" y="142"/>
                      </a:lnTo>
                      <a:lnTo>
                        <a:pt x="960" y="144"/>
                      </a:lnTo>
                      <a:lnTo>
                        <a:pt x="960" y="151"/>
                      </a:lnTo>
                      <a:lnTo>
                        <a:pt x="961" y="153"/>
                      </a:lnTo>
                      <a:lnTo>
                        <a:pt x="963" y="154"/>
                      </a:lnTo>
                      <a:lnTo>
                        <a:pt x="965" y="154"/>
                      </a:lnTo>
                      <a:lnTo>
                        <a:pt x="977" y="153"/>
                      </a:lnTo>
                      <a:lnTo>
                        <a:pt x="982" y="154"/>
                      </a:lnTo>
                      <a:lnTo>
                        <a:pt x="987" y="156"/>
                      </a:lnTo>
                      <a:lnTo>
                        <a:pt x="987" y="152"/>
                      </a:lnTo>
                      <a:lnTo>
                        <a:pt x="984" y="148"/>
                      </a:lnTo>
                      <a:lnTo>
                        <a:pt x="979" y="145"/>
                      </a:lnTo>
                      <a:lnTo>
                        <a:pt x="975" y="141"/>
                      </a:lnTo>
                      <a:lnTo>
                        <a:pt x="973" y="137"/>
                      </a:lnTo>
                      <a:lnTo>
                        <a:pt x="973" y="135"/>
                      </a:lnTo>
                      <a:lnTo>
                        <a:pt x="973" y="133"/>
                      </a:lnTo>
                      <a:lnTo>
                        <a:pt x="975" y="132"/>
                      </a:lnTo>
                      <a:lnTo>
                        <a:pt x="978" y="133"/>
                      </a:lnTo>
                      <a:lnTo>
                        <a:pt x="983" y="137"/>
                      </a:lnTo>
                      <a:lnTo>
                        <a:pt x="987" y="138"/>
                      </a:lnTo>
                      <a:lnTo>
                        <a:pt x="988" y="140"/>
                      </a:lnTo>
                      <a:lnTo>
                        <a:pt x="993" y="147"/>
                      </a:lnTo>
                      <a:lnTo>
                        <a:pt x="997" y="150"/>
                      </a:lnTo>
                      <a:lnTo>
                        <a:pt x="1001" y="152"/>
                      </a:lnTo>
                      <a:lnTo>
                        <a:pt x="1003" y="153"/>
                      </a:lnTo>
                      <a:lnTo>
                        <a:pt x="1006" y="156"/>
                      </a:lnTo>
                      <a:lnTo>
                        <a:pt x="1008" y="158"/>
                      </a:lnTo>
                      <a:lnTo>
                        <a:pt x="1011" y="158"/>
                      </a:lnTo>
                      <a:lnTo>
                        <a:pt x="1012" y="157"/>
                      </a:lnTo>
                      <a:lnTo>
                        <a:pt x="1013" y="154"/>
                      </a:lnTo>
                      <a:lnTo>
                        <a:pt x="1012" y="152"/>
                      </a:lnTo>
                      <a:lnTo>
                        <a:pt x="1011" y="150"/>
                      </a:lnTo>
                      <a:lnTo>
                        <a:pt x="1010" y="147"/>
                      </a:lnTo>
                      <a:lnTo>
                        <a:pt x="1010" y="145"/>
                      </a:lnTo>
                      <a:lnTo>
                        <a:pt x="1011" y="142"/>
                      </a:lnTo>
                      <a:lnTo>
                        <a:pt x="1013" y="140"/>
                      </a:lnTo>
                      <a:lnTo>
                        <a:pt x="1020" y="138"/>
                      </a:lnTo>
                      <a:lnTo>
                        <a:pt x="1022" y="135"/>
                      </a:lnTo>
                      <a:lnTo>
                        <a:pt x="1024" y="133"/>
                      </a:lnTo>
                      <a:lnTo>
                        <a:pt x="1026" y="132"/>
                      </a:lnTo>
                      <a:lnTo>
                        <a:pt x="1029" y="131"/>
                      </a:lnTo>
                      <a:lnTo>
                        <a:pt x="1031" y="131"/>
                      </a:lnTo>
                      <a:lnTo>
                        <a:pt x="1034" y="129"/>
                      </a:lnTo>
                      <a:lnTo>
                        <a:pt x="1036" y="127"/>
                      </a:lnTo>
                      <a:lnTo>
                        <a:pt x="1038" y="126"/>
                      </a:lnTo>
                      <a:lnTo>
                        <a:pt x="1038" y="125"/>
                      </a:lnTo>
                      <a:lnTo>
                        <a:pt x="1036" y="124"/>
                      </a:lnTo>
                      <a:lnTo>
                        <a:pt x="1035" y="125"/>
                      </a:lnTo>
                      <a:lnTo>
                        <a:pt x="1031" y="126"/>
                      </a:lnTo>
                      <a:lnTo>
                        <a:pt x="1030" y="126"/>
                      </a:lnTo>
                      <a:lnTo>
                        <a:pt x="1029" y="126"/>
                      </a:lnTo>
                      <a:lnTo>
                        <a:pt x="1026" y="124"/>
                      </a:lnTo>
                      <a:lnTo>
                        <a:pt x="1024" y="118"/>
                      </a:lnTo>
                      <a:lnTo>
                        <a:pt x="1021" y="110"/>
                      </a:lnTo>
                      <a:lnTo>
                        <a:pt x="1018" y="105"/>
                      </a:lnTo>
                      <a:lnTo>
                        <a:pt x="1016" y="101"/>
                      </a:lnTo>
                      <a:lnTo>
                        <a:pt x="1013" y="99"/>
                      </a:lnTo>
                      <a:lnTo>
                        <a:pt x="1012" y="97"/>
                      </a:lnTo>
                      <a:lnTo>
                        <a:pt x="1012" y="95"/>
                      </a:lnTo>
                      <a:lnTo>
                        <a:pt x="1013" y="94"/>
                      </a:lnTo>
                      <a:lnTo>
                        <a:pt x="1016" y="94"/>
                      </a:lnTo>
                      <a:lnTo>
                        <a:pt x="1021" y="94"/>
                      </a:lnTo>
                      <a:lnTo>
                        <a:pt x="1025" y="95"/>
                      </a:lnTo>
                      <a:lnTo>
                        <a:pt x="1030" y="96"/>
                      </a:lnTo>
                      <a:lnTo>
                        <a:pt x="1031" y="95"/>
                      </a:lnTo>
                      <a:lnTo>
                        <a:pt x="1034" y="93"/>
                      </a:lnTo>
                      <a:lnTo>
                        <a:pt x="1034" y="90"/>
                      </a:lnTo>
                      <a:lnTo>
                        <a:pt x="1034" y="88"/>
                      </a:lnTo>
                      <a:lnTo>
                        <a:pt x="1034" y="82"/>
                      </a:lnTo>
                      <a:lnTo>
                        <a:pt x="1036" y="77"/>
                      </a:lnTo>
                      <a:lnTo>
                        <a:pt x="1036" y="76"/>
                      </a:lnTo>
                      <a:lnTo>
                        <a:pt x="1036" y="75"/>
                      </a:lnTo>
                      <a:lnTo>
                        <a:pt x="1030" y="75"/>
                      </a:lnTo>
                      <a:lnTo>
                        <a:pt x="1024" y="74"/>
                      </a:lnTo>
                      <a:lnTo>
                        <a:pt x="1018" y="71"/>
                      </a:lnTo>
                      <a:lnTo>
                        <a:pt x="1016" y="70"/>
                      </a:lnTo>
                      <a:lnTo>
                        <a:pt x="1015" y="68"/>
                      </a:lnTo>
                      <a:lnTo>
                        <a:pt x="1016" y="65"/>
                      </a:lnTo>
                      <a:lnTo>
                        <a:pt x="1016" y="63"/>
                      </a:lnTo>
                      <a:lnTo>
                        <a:pt x="1003" y="63"/>
                      </a:lnTo>
                      <a:lnTo>
                        <a:pt x="992" y="63"/>
                      </a:lnTo>
                      <a:lnTo>
                        <a:pt x="985" y="63"/>
                      </a:lnTo>
                      <a:lnTo>
                        <a:pt x="980" y="62"/>
                      </a:lnTo>
                      <a:lnTo>
                        <a:pt x="975" y="59"/>
                      </a:lnTo>
                      <a:lnTo>
                        <a:pt x="970" y="56"/>
                      </a:lnTo>
                      <a:lnTo>
                        <a:pt x="968" y="55"/>
                      </a:lnTo>
                      <a:lnTo>
                        <a:pt x="966" y="55"/>
                      </a:lnTo>
                      <a:lnTo>
                        <a:pt x="964" y="56"/>
                      </a:lnTo>
                      <a:lnTo>
                        <a:pt x="964" y="58"/>
                      </a:lnTo>
                      <a:lnTo>
                        <a:pt x="963" y="62"/>
                      </a:lnTo>
                      <a:lnTo>
                        <a:pt x="964" y="65"/>
                      </a:lnTo>
                      <a:lnTo>
                        <a:pt x="966" y="71"/>
                      </a:lnTo>
                      <a:lnTo>
                        <a:pt x="970" y="76"/>
                      </a:lnTo>
                      <a:lnTo>
                        <a:pt x="975" y="81"/>
                      </a:lnTo>
                      <a:lnTo>
                        <a:pt x="975" y="82"/>
                      </a:lnTo>
                      <a:lnTo>
                        <a:pt x="975" y="83"/>
                      </a:lnTo>
                      <a:lnTo>
                        <a:pt x="968" y="87"/>
                      </a:lnTo>
                      <a:lnTo>
                        <a:pt x="961" y="91"/>
                      </a:lnTo>
                      <a:lnTo>
                        <a:pt x="956" y="97"/>
                      </a:lnTo>
                      <a:lnTo>
                        <a:pt x="952" y="105"/>
                      </a:lnTo>
                      <a:lnTo>
                        <a:pt x="952" y="109"/>
                      </a:lnTo>
                      <a:lnTo>
                        <a:pt x="951" y="114"/>
                      </a:lnTo>
                      <a:lnTo>
                        <a:pt x="951" y="119"/>
                      </a:lnTo>
                      <a:lnTo>
                        <a:pt x="949" y="122"/>
                      </a:lnTo>
                      <a:lnTo>
                        <a:pt x="942" y="126"/>
                      </a:lnTo>
                      <a:lnTo>
                        <a:pt x="937" y="132"/>
                      </a:lnTo>
                      <a:lnTo>
                        <a:pt x="936" y="133"/>
                      </a:lnTo>
                      <a:lnTo>
                        <a:pt x="935" y="133"/>
                      </a:lnTo>
                      <a:lnTo>
                        <a:pt x="932" y="132"/>
                      </a:lnTo>
                      <a:lnTo>
                        <a:pt x="930" y="128"/>
                      </a:lnTo>
                      <a:lnTo>
                        <a:pt x="927" y="126"/>
                      </a:lnTo>
                      <a:lnTo>
                        <a:pt x="923" y="125"/>
                      </a:lnTo>
                      <a:lnTo>
                        <a:pt x="919" y="121"/>
                      </a:lnTo>
                      <a:lnTo>
                        <a:pt x="916" y="113"/>
                      </a:lnTo>
                      <a:lnTo>
                        <a:pt x="914" y="103"/>
                      </a:lnTo>
                      <a:lnTo>
                        <a:pt x="914" y="95"/>
                      </a:lnTo>
                      <a:lnTo>
                        <a:pt x="916" y="86"/>
                      </a:lnTo>
                      <a:lnTo>
                        <a:pt x="917" y="82"/>
                      </a:lnTo>
                      <a:lnTo>
                        <a:pt x="917" y="80"/>
                      </a:lnTo>
                      <a:lnTo>
                        <a:pt x="916" y="77"/>
                      </a:lnTo>
                      <a:lnTo>
                        <a:pt x="908" y="70"/>
                      </a:lnTo>
                      <a:lnTo>
                        <a:pt x="905" y="67"/>
                      </a:lnTo>
                      <a:lnTo>
                        <a:pt x="903" y="63"/>
                      </a:lnTo>
                      <a:lnTo>
                        <a:pt x="902" y="63"/>
                      </a:lnTo>
                      <a:lnTo>
                        <a:pt x="899" y="65"/>
                      </a:lnTo>
                      <a:lnTo>
                        <a:pt x="897" y="68"/>
                      </a:lnTo>
                      <a:lnTo>
                        <a:pt x="893" y="69"/>
                      </a:lnTo>
                      <a:lnTo>
                        <a:pt x="891" y="73"/>
                      </a:lnTo>
                      <a:lnTo>
                        <a:pt x="891" y="75"/>
                      </a:lnTo>
                      <a:lnTo>
                        <a:pt x="893" y="77"/>
                      </a:lnTo>
                      <a:lnTo>
                        <a:pt x="894" y="80"/>
                      </a:lnTo>
                      <a:lnTo>
                        <a:pt x="894" y="82"/>
                      </a:lnTo>
                      <a:lnTo>
                        <a:pt x="889" y="88"/>
                      </a:lnTo>
                      <a:lnTo>
                        <a:pt x="883" y="95"/>
                      </a:lnTo>
                      <a:lnTo>
                        <a:pt x="880" y="96"/>
                      </a:lnTo>
                      <a:lnTo>
                        <a:pt x="876" y="97"/>
                      </a:lnTo>
                      <a:lnTo>
                        <a:pt x="874" y="96"/>
                      </a:lnTo>
                      <a:lnTo>
                        <a:pt x="871" y="95"/>
                      </a:lnTo>
                      <a:lnTo>
                        <a:pt x="869" y="93"/>
                      </a:lnTo>
                      <a:lnTo>
                        <a:pt x="869" y="89"/>
                      </a:lnTo>
                      <a:lnTo>
                        <a:pt x="869" y="86"/>
                      </a:lnTo>
                      <a:lnTo>
                        <a:pt x="870" y="82"/>
                      </a:lnTo>
                      <a:lnTo>
                        <a:pt x="870" y="81"/>
                      </a:lnTo>
                      <a:lnTo>
                        <a:pt x="869" y="78"/>
                      </a:lnTo>
                      <a:lnTo>
                        <a:pt x="865" y="76"/>
                      </a:lnTo>
                      <a:lnTo>
                        <a:pt x="862" y="75"/>
                      </a:lnTo>
                      <a:lnTo>
                        <a:pt x="861" y="74"/>
                      </a:lnTo>
                      <a:lnTo>
                        <a:pt x="861" y="71"/>
                      </a:lnTo>
                      <a:lnTo>
                        <a:pt x="862" y="69"/>
                      </a:lnTo>
                      <a:lnTo>
                        <a:pt x="864" y="68"/>
                      </a:lnTo>
                      <a:lnTo>
                        <a:pt x="862" y="65"/>
                      </a:lnTo>
                      <a:lnTo>
                        <a:pt x="860" y="63"/>
                      </a:lnTo>
                      <a:lnTo>
                        <a:pt x="858" y="62"/>
                      </a:lnTo>
                      <a:lnTo>
                        <a:pt x="857" y="62"/>
                      </a:lnTo>
                      <a:lnTo>
                        <a:pt x="855" y="65"/>
                      </a:lnTo>
                      <a:lnTo>
                        <a:pt x="853" y="68"/>
                      </a:lnTo>
                      <a:lnTo>
                        <a:pt x="853" y="75"/>
                      </a:lnTo>
                      <a:lnTo>
                        <a:pt x="848" y="74"/>
                      </a:lnTo>
                      <a:lnTo>
                        <a:pt x="846" y="70"/>
                      </a:lnTo>
                      <a:lnTo>
                        <a:pt x="845" y="68"/>
                      </a:lnTo>
                      <a:lnTo>
                        <a:pt x="842" y="65"/>
                      </a:lnTo>
                      <a:lnTo>
                        <a:pt x="838" y="62"/>
                      </a:lnTo>
                      <a:lnTo>
                        <a:pt x="838" y="59"/>
                      </a:lnTo>
                      <a:lnTo>
                        <a:pt x="838" y="58"/>
                      </a:lnTo>
                      <a:lnTo>
                        <a:pt x="842" y="55"/>
                      </a:lnTo>
                      <a:lnTo>
                        <a:pt x="852" y="50"/>
                      </a:lnTo>
                      <a:lnTo>
                        <a:pt x="858" y="45"/>
                      </a:lnTo>
                      <a:lnTo>
                        <a:pt x="861" y="42"/>
                      </a:lnTo>
                      <a:lnTo>
                        <a:pt x="861" y="41"/>
                      </a:lnTo>
                      <a:lnTo>
                        <a:pt x="861" y="39"/>
                      </a:lnTo>
                      <a:lnTo>
                        <a:pt x="856" y="35"/>
                      </a:lnTo>
                      <a:lnTo>
                        <a:pt x="850" y="31"/>
                      </a:lnTo>
                      <a:lnTo>
                        <a:pt x="843" y="26"/>
                      </a:lnTo>
                      <a:lnTo>
                        <a:pt x="838" y="22"/>
                      </a:lnTo>
                      <a:lnTo>
                        <a:pt x="832" y="18"/>
                      </a:lnTo>
                      <a:lnTo>
                        <a:pt x="825" y="16"/>
                      </a:lnTo>
                      <a:lnTo>
                        <a:pt x="823" y="14"/>
                      </a:lnTo>
                      <a:lnTo>
                        <a:pt x="823" y="12"/>
                      </a:lnTo>
                      <a:lnTo>
                        <a:pt x="820" y="6"/>
                      </a:lnTo>
                      <a:lnTo>
                        <a:pt x="818" y="3"/>
                      </a:lnTo>
                      <a:lnTo>
                        <a:pt x="814" y="0"/>
                      </a:lnTo>
                      <a:lnTo>
                        <a:pt x="810" y="0"/>
                      </a:lnTo>
                      <a:lnTo>
                        <a:pt x="806" y="0"/>
                      </a:lnTo>
                      <a:lnTo>
                        <a:pt x="798" y="0"/>
                      </a:lnTo>
                      <a:lnTo>
                        <a:pt x="789" y="0"/>
                      </a:lnTo>
                      <a:lnTo>
                        <a:pt x="789" y="4"/>
                      </a:lnTo>
                      <a:lnTo>
                        <a:pt x="790" y="6"/>
                      </a:lnTo>
                      <a:lnTo>
                        <a:pt x="791" y="10"/>
                      </a:lnTo>
                      <a:lnTo>
                        <a:pt x="790" y="12"/>
                      </a:lnTo>
                      <a:lnTo>
                        <a:pt x="787" y="17"/>
                      </a:lnTo>
                      <a:lnTo>
                        <a:pt x="787" y="22"/>
                      </a:lnTo>
                      <a:lnTo>
                        <a:pt x="785" y="19"/>
                      </a:lnTo>
                      <a:lnTo>
                        <a:pt x="785" y="18"/>
                      </a:lnTo>
                      <a:lnTo>
                        <a:pt x="784" y="16"/>
                      </a:lnTo>
                      <a:lnTo>
                        <a:pt x="782" y="14"/>
                      </a:lnTo>
                      <a:lnTo>
                        <a:pt x="780" y="14"/>
                      </a:lnTo>
                      <a:lnTo>
                        <a:pt x="777" y="14"/>
                      </a:lnTo>
                      <a:lnTo>
                        <a:pt x="776" y="17"/>
                      </a:lnTo>
                      <a:lnTo>
                        <a:pt x="775" y="19"/>
                      </a:lnTo>
                      <a:lnTo>
                        <a:pt x="773" y="30"/>
                      </a:lnTo>
                      <a:lnTo>
                        <a:pt x="770" y="37"/>
                      </a:lnTo>
                      <a:lnTo>
                        <a:pt x="768" y="41"/>
                      </a:lnTo>
                      <a:lnTo>
                        <a:pt x="770" y="44"/>
                      </a:lnTo>
                      <a:lnTo>
                        <a:pt x="773" y="46"/>
                      </a:lnTo>
                      <a:lnTo>
                        <a:pt x="780" y="49"/>
                      </a:lnTo>
                      <a:lnTo>
                        <a:pt x="785" y="51"/>
                      </a:lnTo>
                      <a:lnTo>
                        <a:pt x="787" y="52"/>
                      </a:lnTo>
                      <a:lnTo>
                        <a:pt x="790" y="55"/>
                      </a:lnTo>
                      <a:lnTo>
                        <a:pt x="792" y="57"/>
                      </a:lnTo>
                      <a:lnTo>
                        <a:pt x="795" y="57"/>
                      </a:lnTo>
                      <a:lnTo>
                        <a:pt x="799" y="57"/>
                      </a:lnTo>
                      <a:lnTo>
                        <a:pt x="801" y="58"/>
                      </a:lnTo>
                      <a:lnTo>
                        <a:pt x="808" y="63"/>
                      </a:lnTo>
                      <a:lnTo>
                        <a:pt x="814" y="69"/>
                      </a:lnTo>
                      <a:lnTo>
                        <a:pt x="820" y="75"/>
                      </a:lnTo>
                      <a:lnTo>
                        <a:pt x="822" y="78"/>
                      </a:lnTo>
                      <a:lnTo>
                        <a:pt x="823" y="82"/>
                      </a:lnTo>
                      <a:lnTo>
                        <a:pt x="823" y="86"/>
                      </a:lnTo>
                      <a:lnTo>
                        <a:pt x="822" y="89"/>
                      </a:lnTo>
                      <a:lnTo>
                        <a:pt x="817" y="95"/>
                      </a:lnTo>
                      <a:lnTo>
                        <a:pt x="810" y="101"/>
                      </a:lnTo>
                      <a:lnTo>
                        <a:pt x="804" y="105"/>
                      </a:lnTo>
                      <a:lnTo>
                        <a:pt x="796" y="108"/>
                      </a:lnTo>
                      <a:lnTo>
                        <a:pt x="792" y="110"/>
                      </a:lnTo>
                      <a:lnTo>
                        <a:pt x="787" y="115"/>
                      </a:lnTo>
                      <a:lnTo>
                        <a:pt x="787" y="116"/>
                      </a:lnTo>
                      <a:lnTo>
                        <a:pt x="787" y="119"/>
                      </a:lnTo>
                      <a:lnTo>
                        <a:pt x="790" y="121"/>
                      </a:lnTo>
                      <a:lnTo>
                        <a:pt x="792" y="124"/>
                      </a:lnTo>
                      <a:lnTo>
                        <a:pt x="794" y="127"/>
                      </a:lnTo>
                      <a:lnTo>
                        <a:pt x="794" y="129"/>
                      </a:lnTo>
                      <a:lnTo>
                        <a:pt x="792" y="133"/>
                      </a:lnTo>
                      <a:lnTo>
                        <a:pt x="791" y="135"/>
                      </a:lnTo>
                      <a:lnTo>
                        <a:pt x="787" y="137"/>
                      </a:lnTo>
                      <a:lnTo>
                        <a:pt x="786" y="137"/>
                      </a:lnTo>
                      <a:lnTo>
                        <a:pt x="785" y="137"/>
                      </a:lnTo>
                      <a:lnTo>
                        <a:pt x="784" y="134"/>
                      </a:lnTo>
                      <a:lnTo>
                        <a:pt x="784" y="132"/>
                      </a:lnTo>
                      <a:lnTo>
                        <a:pt x="782" y="131"/>
                      </a:lnTo>
                      <a:lnTo>
                        <a:pt x="781" y="129"/>
                      </a:lnTo>
                      <a:lnTo>
                        <a:pt x="776" y="129"/>
                      </a:lnTo>
                      <a:lnTo>
                        <a:pt x="772" y="127"/>
                      </a:lnTo>
                      <a:lnTo>
                        <a:pt x="768" y="124"/>
                      </a:lnTo>
                      <a:lnTo>
                        <a:pt x="767" y="120"/>
                      </a:lnTo>
                      <a:lnTo>
                        <a:pt x="770" y="116"/>
                      </a:lnTo>
                      <a:lnTo>
                        <a:pt x="772" y="113"/>
                      </a:lnTo>
                      <a:lnTo>
                        <a:pt x="773" y="110"/>
                      </a:lnTo>
                      <a:lnTo>
                        <a:pt x="773" y="109"/>
                      </a:lnTo>
                      <a:lnTo>
                        <a:pt x="772" y="108"/>
                      </a:lnTo>
                      <a:lnTo>
                        <a:pt x="761" y="106"/>
                      </a:lnTo>
                      <a:lnTo>
                        <a:pt x="748" y="102"/>
                      </a:lnTo>
                      <a:lnTo>
                        <a:pt x="744" y="102"/>
                      </a:lnTo>
                      <a:lnTo>
                        <a:pt x="740" y="103"/>
                      </a:lnTo>
                      <a:lnTo>
                        <a:pt x="739" y="105"/>
                      </a:lnTo>
                      <a:lnTo>
                        <a:pt x="738" y="107"/>
                      </a:lnTo>
                      <a:lnTo>
                        <a:pt x="739" y="108"/>
                      </a:lnTo>
                      <a:lnTo>
                        <a:pt x="742" y="115"/>
                      </a:lnTo>
                      <a:lnTo>
                        <a:pt x="744" y="119"/>
                      </a:lnTo>
                      <a:lnTo>
                        <a:pt x="744" y="122"/>
                      </a:lnTo>
                      <a:lnTo>
                        <a:pt x="737" y="121"/>
                      </a:lnTo>
                      <a:lnTo>
                        <a:pt x="734" y="120"/>
                      </a:lnTo>
                      <a:lnTo>
                        <a:pt x="730" y="121"/>
                      </a:lnTo>
                      <a:lnTo>
                        <a:pt x="729" y="121"/>
                      </a:lnTo>
                      <a:lnTo>
                        <a:pt x="728" y="120"/>
                      </a:lnTo>
                      <a:lnTo>
                        <a:pt x="725" y="119"/>
                      </a:lnTo>
                      <a:lnTo>
                        <a:pt x="723" y="119"/>
                      </a:lnTo>
                      <a:lnTo>
                        <a:pt x="720" y="120"/>
                      </a:lnTo>
                      <a:lnTo>
                        <a:pt x="719" y="120"/>
                      </a:lnTo>
                      <a:lnTo>
                        <a:pt x="716" y="120"/>
                      </a:lnTo>
                      <a:lnTo>
                        <a:pt x="711" y="119"/>
                      </a:lnTo>
                      <a:lnTo>
                        <a:pt x="709" y="119"/>
                      </a:lnTo>
                      <a:lnTo>
                        <a:pt x="706" y="120"/>
                      </a:lnTo>
                      <a:lnTo>
                        <a:pt x="700" y="119"/>
                      </a:lnTo>
                      <a:lnTo>
                        <a:pt x="693" y="119"/>
                      </a:lnTo>
                      <a:lnTo>
                        <a:pt x="682" y="120"/>
                      </a:lnTo>
                      <a:lnTo>
                        <a:pt x="678" y="120"/>
                      </a:lnTo>
                      <a:lnTo>
                        <a:pt x="676" y="119"/>
                      </a:lnTo>
                      <a:lnTo>
                        <a:pt x="668" y="114"/>
                      </a:lnTo>
                      <a:lnTo>
                        <a:pt x="663" y="113"/>
                      </a:lnTo>
                      <a:lnTo>
                        <a:pt x="659" y="113"/>
                      </a:lnTo>
                      <a:lnTo>
                        <a:pt x="657" y="112"/>
                      </a:lnTo>
                      <a:lnTo>
                        <a:pt x="654" y="110"/>
                      </a:lnTo>
                      <a:lnTo>
                        <a:pt x="653" y="108"/>
                      </a:lnTo>
                      <a:lnTo>
                        <a:pt x="650" y="106"/>
                      </a:lnTo>
                      <a:lnTo>
                        <a:pt x="645" y="105"/>
                      </a:lnTo>
                      <a:lnTo>
                        <a:pt x="640" y="103"/>
                      </a:lnTo>
                      <a:lnTo>
                        <a:pt x="629" y="102"/>
                      </a:lnTo>
                      <a:lnTo>
                        <a:pt x="617" y="102"/>
                      </a:lnTo>
                      <a:lnTo>
                        <a:pt x="612" y="101"/>
                      </a:lnTo>
                      <a:lnTo>
                        <a:pt x="607" y="99"/>
                      </a:lnTo>
                      <a:lnTo>
                        <a:pt x="605" y="97"/>
                      </a:lnTo>
                      <a:lnTo>
                        <a:pt x="603" y="94"/>
                      </a:lnTo>
                      <a:lnTo>
                        <a:pt x="601" y="88"/>
                      </a:lnTo>
                      <a:lnTo>
                        <a:pt x="598" y="83"/>
                      </a:lnTo>
                      <a:lnTo>
                        <a:pt x="596" y="82"/>
                      </a:lnTo>
                      <a:lnTo>
                        <a:pt x="593" y="82"/>
                      </a:lnTo>
                      <a:lnTo>
                        <a:pt x="587" y="83"/>
                      </a:lnTo>
                      <a:lnTo>
                        <a:pt x="582" y="83"/>
                      </a:lnTo>
                      <a:lnTo>
                        <a:pt x="575" y="84"/>
                      </a:lnTo>
                      <a:lnTo>
                        <a:pt x="570" y="86"/>
                      </a:lnTo>
                      <a:lnTo>
                        <a:pt x="565" y="88"/>
                      </a:lnTo>
                      <a:lnTo>
                        <a:pt x="563" y="91"/>
                      </a:lnTo>
                      <a:lnTo>
                        <a:pt x="560" y="95"/>
                      </a:lnTo>
                      <a:lnTo>
                        <a:pt x="560" y="100"/>
                      </a:lnTo>
                      <a:lnTo>
                        <a:pt x="563" y="102"/>
                      </a:lnTo>
                      <a:lnTo>
                        <a:pt x="564" y="103"/>
                      </a:lnTo>
                      <a:lnTo>
                        <a:pt x="565" y="102"/>
                      </a:lnTo>
                      <a:lnTo>
                        <a:pt x="568" y="100"/>
                      </a:lnTo>
                      <a:lnTo>
                        <a:pt x="570" y="99"/>
                      </a:lnTo>
                      <a:lnTo>
                        <a:pt x="577" y="97"/>
                      </a:lnTo>
                      <a:lnTo>
                        <a:pt x="583" y="97"/>
                      </a:lnTo>
                      <a:lnTo>
                        <a:pt x="589" y="97"/>
                      </a:lnTo>
                      <a:lnTo>
                        <a:pt x="589" y="100"/>
                      </a:lnTo>
                      <a:lnTo>
                        <a:pt x="585" y="102"/>
                      </a:lnTo>
                      <a:lnTo>
                        <a:pt x="584" y="105"/>
                      </a:lnTo>
                      <a:lnTo>
                        <a:pt x="583" y="107"/>
                      </a:lnTo>
                      <a:lnTo>
                        <a:pt x="582" y="109"/>
                      </a:lnTo>
                      <a:lnTo>
                        <a:pt x="579" y="110"/>
                      </a:lnTo>
                      <a:lnTo>
                        <a:pt x="573" y="113"/>
                      </a:lnTo>
                      <a:lnTo>
                        <a:pt x="570" y="113"/>
                      </a:lnTo>
                      <a:lnTo>
                        <a:pt x="569" y="115"/>
                      </a:lnTo>
                      <a:lnTo>
                        <a:pt x="568" y="118"/>
                      </a:lnTo>
                      <a:lnTo>
                        <a:pt x="568" y="121"/>
                      </a:lnTo>
                      <a:lnTo>
                        <a:pt x="570" y="127"/>
                      </a:lnTo>
                      <a:lnTo>
                        <a:pt x="574" y="132"/>
                      </a:lnTo>
                      <a:lnTo>
                        <a:pt x="577" y="138"/>
                      </a:lnTo>
                      <a:lnTo>
                        <a:pt x="577" y="139"/>
                      </a:lnTo>
                      <a:lnTo>
                        <a:pt x="575" y="139"/>
                      </a:lnTo>
                      <a:lnTo>
                        <a:pt x="573" y="138"/>
                      </a:lnTo>
                      <a:lnTo>
                        <a:pt x="570" y="138"/>
                      </a:lnTo>
                      <a:lnTo>
                        <a:pt x="568" y="138"/>
                      </a:lnTo>
                      <a:lnTo>
                        <a:pt x="565" y="140"/>
                      </a:lnTo>
                      <a:lnTo>
                        <a:pt x="565" y="142"/>
                      </a:lnTo>
                      <a:lnTo>
                        <a:pt x="566" y="144"/>
                      </a:lnTo>
                      <a:lnTo>
                        <a:pt x="569" y="145"/>
                      </a:lnTo>
                      <a:lnTo>
                        <a:pt x="571" y="147"/>
                      </a:lnTo>
                      <a:lnTo>
                        <a:pt x="571" y="150"/>
                      </a:lnTo>
                      <a:lnTo>
                        <a:pt x="566" y="150"/>
                      </a:lnTo>
                      <a:lnTo>
                        <a:pt x="563" y="148"/>
                      </a:lnTo>
                      <a:lnTo>
                        <a:pt x="560" y="146"/>
                      </a:lnTo>
                      <a:lnTo>
                        <a:pt x="556" y="144"/>
                      </a:lnTo>
                      <a:lnTo>
                        <a:pt x="545" y="129"/>
                      </a:lnTo>
                      <a:lnTo>
                        <a:pt x="544" y="128"/>
                      </a:lnTo>
                      <a:lnTo>
                        <a:pt x="541" y="128"/>
                      </a:lnTo>
                      <a:lnTo>
                        <a:pt x="540" y="128"/>
                      </a:lnTo>
                      <a:lnTo>
                        <a:pt x="537" y="127"/>
                      </a:lnTo>
                      <a:lnTo>
                        <a:pt x="536" y="127"/>
                      </a:lnTo>
                      <a:lnTo>
                        <a:pt x="535" y="126"/>
                      </a:lnTo>
                      <a:lnTo>
                        <a:pt x="533" y="122"/>
                      </a:lnTo>
                      <a:lnTo>
                        <a:pt x="532" y="120"/>
                      </a:lnTo>
                      <a:lnTo>
                        <a:pt x="528" y="115"/>
                      </a:lnTo>
                      <a:lnTo>
                        <a:pt x="527" y="114"/>
                      </a:lnTo>
                      <a:lnTo>
                        <a:pt x="528" y="113"/>
                      </a:lnTo>
                      <a:lnTo>
                        <a:pt x="528" y="109"/>
                      </a:lnTo>
                      <a:lnTo>
                        <a:pt x="528" y="108"/>
                      </a:lnTo>
                      <a:lnTo>
                        <a:pt x="527" y="108"/>
                      </a:lnTo>
                      <a:lnTo>
                        <a:pt x="525" y="109"/>
                      </a:lnTo>
                      <a:lnTo>
                        <a:pt x="519" y="118"/>
                      </a:lnTo>
                      <a:lnTo>
                        <a:pt x="518" y="121"/>
                      </a:lnTo>
                      <a:lnTo>
                        <a:pt x="514" y="124"/>
                      </a:lnTo>
                      <a:lnTo>
                        <a:pt x="511" y="125"/>
                      </a:lnTo>
                      <a:lnTo>
                        <a:pt x="505" y="125"/>
                      </a:lnTo>
                      <a:lnTo>
                        <a:pt x="500" y="124"/>
                      </a:lnTo>
                      <a:lnTo>
                        <a:pt x="495" y="124"/>
                      </a:lnTo>
                      <a:lnTo>
                        <a:pt x="472" y="125"/>
                      </a:lnTo>
                      <a:lnTo>
                        <a:pt x="461" y="124"/>
                      </a:lnTo>
                      <a:lnTo>
                        <a:pt x="450" y="122"/>
                      </a:lnTo>
                      <a:lnTo>
                        <a:pt x="446" y="120"/>
                      </a:lnTo>
                      <a:lnTo>
                        <a:pt x="441" y="118"/>
                      </a:lnTo>
                      <a:lnTo>
                        <a:pt x="438" y="114"/>
                      </a:lnTo>
                      <a:lnTo>
                        <a:pt x="439" y="112"/>
                      </a:lnTo>
                      <a:lnTo>
                        <a:pt x="441" y="110"/>
                      </a:lnTo>
                      <a:lnTo>
                        <a:pt x="446" y="107"/>
                      </a:lnTo>
                      <a:lnTo>
                        <a:pt x="452" y="103"/>
                      </a:lnTo>
                      <a:lnTo>
                        <a:pt x="460" y="101"/>
                      </a:lnTo>
                      <a:lnTo>
                        <a:pt x="467" y="101"/>
                      </a:lnTo>
                      <a:lnTo>
                        <a:pt x="469" y="100"/>
                      </a:lnTo>
                      <a:lnTo>
                        <a:pt x="467" y="99"/>
                      </a:lnTo>
                      <a:lnTo>
                        <a:pt x="466" y="96"/>
                      </a:lnTo>
                      <a:lnTo>
                        <a:pt x="464" y="95"/>
                      </a:lnTo>
                      <a:lnTo>
                        <a:pt x="458" y="93"/>
                      </a:lnTo>
                      <a:lnTo>
                        <a:pt x="453" y="90"/>
                      </a:lnTo>
                      <a:lnTo>
                        <a:pt x="451" y="88"/>
                      </a:lnTo>
                      <a:lnTo>
                        <a:pt x="451" y="86"/>
                      </a:lnTo>
                      <a:lnTo>
                        <a:pt x="448" y="84"/>
                      </a:lnTo>
                      <a:lnTo>
                        <a:pt x="447" y="83"/>
                      </a:lnTo>
                      <a:lnTo>
                        <a:pt x="441" y="88"/>
                      </a:lnTo>
                      <a:lnTo>
                        <a:pt x="436" y="89"/>
                      </a:lnTo>
                      <a:lnTo>
                        <a:pt x="432" y="89"/>
                      </a:lnTo>
                      <a:lnTo>
                        <a:pt x="424" y="87"/>
                      </a:lnTo>
                      <a:lnTo>
                        <a:pt x="418" y="83"/>
                      </a:lnTo>
                      <a:lnTo>
                        <a:pt x="411" y="81"/>
                      </a:lnTo>
                      <a:lnTo>
                        <a:pt x="404" y="80"/>
                      </a:lnTo>
                      <a:lnTo>
                        <a:pt x="401" y="78"/>
                      </a:lnTo>
                      <a:lnTo>
                        <a:pt x="399" y="77"/>
                      </a:lnTo>
                      <a:lnTo>
                        <a:pt x="394" y="76"/>
                      </a:lnTo>
                      <a:lnTo>
                        <a:pt x="389" y="76"/>
                      </a:lnTo>
                      <a:lnTo>
                        <a:pt x="372" y="71"/>
                      </a:lnTo>
                      <a:lnTo>
                        <a:pt x="357" y="67"/>
                      </a:lnTo>
                      <a:lnTo>
                        <a:pt x="354" y="65"/>
                      </a:lnTo>
                      <a:lnTo>
                        <a:pt x="352" y="64"/>
                      </a:lnTo>
                      <a:lnTo>
                        <a:pt x="348" y="63"/>
                      </a:lnTo>
                      <a:lnTo>
                        <a:pt x="344" y="62"/>
                      </a:lnTo>
                      <a:lnTo>
                        <a:pt x="338" y="59"/>
                      </a:lnTo>
                      <a:lnTo>
                        <a:pt x="334" y="58"/>
                      </a:lnTo>
                      <a:lnTo>
                        <a:pt x="331" y="58"/>
                      </a:lnTo>
                      <a:lnTo>
                        <a:pt x="328" y="58"/>
                      </a:lnTo>
                      <a:lnTo>
                        <a:pt x="325" y="59"/>
                      </a:lnTo>
                      <a:lnTo>
                        <a:pt x="320" y="64"/>
                      </a:lnTo>
                      <a:lnTo>
                        <a:pt x="315" y="69"/>
                      </a:lnTo>
                      <a:lnTo>
                        <a:pt x="312" y="70"/>
                      </a:lnTo>
                      <a:lnTo>
                        <a:pt x="311" y="69"/>
                      </a:lnTo>
                      <a:lnTo>
                        <a:pt x="306" y="59"/>
                      </a:lnTo>
                      <a:lnTo>
                        <a:pt x="304" y="54"/>
                      </a:lnTo>
                      <a:lnTo>
                        <a:pt x="302" y="48"/>
                      </a:lnTo>
                      <a:lnTo>
                        <a:pt x="300" y="48"/>
                      </a:lnTo>
                      <a:lnTo>
                        <a:pt x="298" y="48"/>
                      </a:lnTo>
                      <a:lnTo>
                        <a:pt x="295" y="54"/>
                      </a:lnTo>
                      <a:lnTo>
                        <a:pt x="292" y="61"/>
                      </a:lnTo>
                      <a:lnTo>
                        <a:pt x="291" y="63"/>
                      </a:lnTo>
                      <a:lnTo>
                        <a:pt x="290" y="65"/>
                      </a:lnTo>
                      <a:lnTo>
                        <a:pt x="286" y="67"/>
                      </a:lnTo>
                      <a:lnTo>
                        <a:pt x="282" y="67"/>
                      </a:lnTo>
                      <a:lnTo>
                        <a:pt x="277" y="65"/>
                      </a:lnTo>
                      <a:lnTo>
                        <a:pt x="272" y="63"/>
                      </a:lnTo>
                      <a:lnTo>
                        <a:pt x="263" y="58"/>
                      </a:lnTo>
                      <a:lnTo>
                        <a:pt x="255" y="50"/>
                      </a:lnTo>
                      <a:lnTo>
                        <a:pt x="249" y="43"/>
                      </a:lnTo>
                      <a:lnTo>
                        <a:pt x="245" y="41"/>
                      </a:lnTo>
                      <a:lnTo>
                        <a:pt x="243" y="37"/>
                      </a:lnTo>
                      <a:lnTo>
                        <a:pt x="239" y="35"/>
                      </a:lnTo>
                      <a:lnTo>
                        <a:pt x="234" y="33"/>
                      </a:lnTo>
                      <a:lnTo>
                        <a:pt x="232" y="33"/>
                      </a:lnTo>
                      <a:lnTo>
                        <a:pt x="230" y="33"/>
                      </a:lnTo>
                      <a:lnTo>
                        <a:pt x="230" y="36"/>
                      </a:lnTo>
                      <a:lnTo>
                        <a:pt x="230" y="37"/>
                      </a:lnTo>
                      <a:lnTo>
                        <a:pt x="232" y="42"/>
                      </a:lnTo>
                      <a:lnTo>
                        <a:pt x="235" y="45"/>
                      </a:lnTo>
                      <a:lnTo>
                        <a:pt x="238" y="49"/>
                      </a:lnTo>
                      <a:lnTo>
                        <a:pt x="236" y="52"/>
                      </a:lnTo>
                      <a:lnTo>
                        <a:pt x="234" y="56"/>
                      </a:lnTo>
                      <a:lnTo>
                        <a:pt x="230" y="59"/>
                      </a:lnTo>
                      <a:lnTo>
                        <a:pt x="225" y="63"/>
                      </a:lnTo>
                      <a:lnTo>
                        <a:pt x="220" y="65"/>
                      </a:lnTo>
                      <a:lnTo>
                        <a:pt x="217" y="64"/>
                      </a:lnTo>
                      <a:lnTo>
                        <a:pt x="216" y="63"/>
                      </a:lnTo>
                      <a:lnTo>
                        <a:pt x="215" y="57"/>
                      </a:lnTo>
                      <a:lnTo>
                        <a:pt x="212" y="57"/>
                      </a:lnTo>
                      <a:lnTo>
                        <a:pt x="210" y="57"/>
                      </a:lnTo>
                      <a:lnTo>
                        <a:pt x="202" y="61"/>
                      </a:lnTo>
                      <a:lnTo>
                        <a:pt x="194" y="63"/>
                      </a:lnTo>
                      <a:lnTo>
                        <a:pt x="192" y="64"/>
                      </a:lnTo>
                      <a:lnTo>
                        <a:pt x="191" y="67"/>
                      </a:lnTo>
                      <a:lnTo>
                        <a:pt x="188" y="68"/>
                      </a:lnTo>
                      <a:lnTo>
                        <a:pt x="185" y="69"/>
                      </a:lnTo>
                      <a:lnTo>
                        <a:pt x="185" y="68"/>
                      </a:lnTo>
                      <a:lnTo>
                        <a:pt x="185" y="67"/>
                      </a:lnTo>
                      <a:lnTo>
                        <a:pt x="185" y="64"/>
                      </a:lnTo>
                      <a:lnTo>
                        <a:pt x="197" y="57"/>
                      </a:lnTo>
                      <a:lnTo>
                        <a:pt x="201" y="52"/>
                      </a:lnTo>
                      <a:lnTo>
                        <a:pt x="203" y="50"/>
                      </a:lnTo>
                      <a:lnTo>
                        <a:pt x="203" y="46"/>
                      </a:lnTo>
                      <a:lnTo>
                        <a:pt x="193" y="48"/>
                      </a:lnTo>
                      <a:lnTo>
                        <a:pt x="188" y="49"/>
                      </a:lnTo>
                      <a:lnTo>
                        <a:pt x="184" y="52"/>
                      </a:lnTo>
                      <a:lnTo>
                        <a:pt x="180" y="58"/>
                      </a:lnTo>
                      <a:lnTo>
                        <a:pt x="178" y="59"/>
                      </a:lnTo>
                      <a:lnTo>
                        <a:pt x="174" y="61"/>
                      </a:lnTo>
                      <a:lnTo>
                        <a:pt x="166" y="63"/>
                      </a:lnTo>
                      <a:lnTo>
                        <a:pt x="165" y="64"/>
                      </a:lnTo>
                      <a:lnTo>
                        <a:pt x="164" y="65"/>
                      </a:lnTo>
                      <a:lnTo>
                        <a:pt x="164" y="67"/>
                      </a:lnTo>
                      <a:lnTo>
                        <a:pt x="163" y="67"/>
                      </a:lnTo>
                      <a:lnTo>
                        <a:pt x="158" y="65"/>
                      </a:lnTo>
                      <a:lnTo>
                        <a:pt x="152" y="65"/>
                      </a:lnTo>
                      <a:lnTo>
                        <a:pt x="149" y="67"/>
                      </a:lnTo>
                      <a:lnTo>
                        <a:pt x="144" y="69"/>
                      </a:lnTo>
                      <a:lnTo>
                        <a:pt x="136" y="73"/>
                      </a:lnTo>
                      <a:lnTo>
                        <a:pt x="132" y="74"/>
                      </a:lnTo>
                      <a:lnTo>
                        <a:pt x="127" y="75"/>
                      </a:lnTo>
                      <a:lnTo>
                        <a:pt x="127" y="74"/>
                      </a:lnTo>
                      <a:lnTo>
                        <a:pt x="126" y="74"/>
                      </a:lnTo>
                      <a:lnTo>
                        <a:pt x="127" y="71"/>
                      </a:lnTo>
                      <a:lnTo>
                        <a:pt x="128" y="69"/>
                      </a:lnTo>
                      <a:lnTo>
                        <a:pt x="128" y="67"/>
                      </a:lnTo>
                      <a:lnTo>
                        <a:pt x="126" y="64"/>
                      </a:lnTo>
                      <a:lnTo>
                        <a:pt x="122" y="62"/>
                      </a:lnTo>
                      <a:lnTo>
                        <a:pt x="118" y="61"/>
                      </a:lnTo>
                      <a:lnTo>
                        <a:pt x="114" y="62"/>
                      </a:lnTo>
                      <a:lnTo>
                        <a:pt x="112" y="63"/>
                      </a:lnTo>
                      <a:lnTo>
                        <a:pt x="109" y="65"/>
                      </a:lnTo>
                      <a:lnTo>
                        <a:pt x="107" y="71"/>
                      </a:lnTo>
                      <a:lnTo>
                        <a:pt x="105" y="77"/>
                      </a:lnTo>
                      <a:lnTo>
                        <a:pt x="102" y="83"/>
                      </a:lnTo>
                      <a:lnTo>
                        <a:pt x="98" y="86"/>
                      </a:lnTo>
                      <a:lnTo>
                        <a:pt x="94" y="88"/>
                      </a:lnTo>
                      <a:lnTo>
                        <a:pt x="89" y="89"/>
                      </a:lnTo>
                      <a:lnTo>
                        <a:pt x="84" y="89"/>
                      </a:lnTo>
                      <a:lnTo>
                        <a:pt x="79" y="89"/>
                      </a:lnTo>
                      <a:lnTo>
                        <a:pt x="74" y="87"/>
                      </a:lnTo>
                      <a:lnTo>
                        <a:pt x="70" y="84"/>
                      </a:lnTo>
                      <a:lnTo>
                        <a:pt x="66" y="81"/>
                      </a:lnTo>
                      <a:lnTo>
                        <a:pt x="65" y="80"/>
                      </a:lnTo>
                      <a:lnTo>
                        <a:pt x="62" y="80"/>
                      </a:lnTo>
                      <a:lnTo>
                        <a:pt x="58" y="78"/>
                      </a:lnTo>
                      <a:lnTo>
                        <a:pt x="38" y="70"/>
                      </a:lnTo>
                      <a:lnTo>
                        <a:pt x="28" y="67"/>
                      </a:lnTo>
                      <a:lnTo>
                        <a:pt x="18" y="62"/>
                      </a:lnTo>
                      <a:lnTo>
                        <a:pt x="13" y="59"/>
                      </a:lnTo>
                      <a:lnTo>
                        <a:pt x="6" y="59"/>
                      </a:lnTo>
                      <a:lnTo>
                        <a:pt x="0" y="59"/>
                      </a:lnTo>
                      <a:lnTo>
                        <a:pt x="3" y="318"/>
                      </a:lnTo>
                      <a:lnTo>
                        <a:pt x="10" y="316"/>
                      </a:lnTo>
                      <a:lnTo>
                        <a:pt x="17" y="314"/>
                      </a:lnTo>
                      <a:lnTo>
                        <a:pt x="20" y="316"/>
                      </a:lnTo>
                      <a:lnTo>
                        <a:pt x="23" y="317"/>
                      </a:lnTo>
                      <a:lnTo>
                        <a:pt x="31" y="325"/>
                      </a:lnTo>
                      <a:lnTo>
                        <a:pt x="42" y="337"/>
                      </a:lnTo>
                      <a:lnTo>
                        <a:pt x="48" y="344"/>
                      </a:lnTo>
                      <a:lnTo>
                        <a:pt x="55" y="349"/>
                      </a:lnTo>
                      <a:lnTo>
                        <a:pt x="60" y="352"/>
                      </a:lnTo>
                      <a:lnTo>
                        <a:pt x="65" y="352"/>
                      </a:lnTo>
                      <a:lnTo>
                        <a:pt x="69" y="351"/>
                      </a:lnTo>
                      <a:lnTo>
                        <a:pt x="72" y="349"/>
                      </a:lnTo>
                      <a:lnTo>
                        <a:pt x="79" y="343"/>
                      </a:lnTo>
                      <a:lnTo>
                        <a:pt x="86" y="336"/>
                      </a:lnTo>
                      <a:lnTo>
                        <a:pt x="88" y="333"/>
                      </a:lnTo>
                      <a:lnTo>
                        <a:pt x="90" y="333"/>
                      </a:lnTo>
                      <a:lnTo>
                        <a:pt x="93" y="335"/>
                      </a:lnTo>
                      <a:lnTo>
                        <a:pt x="102" y="342"/>
                      </a:lnTo>
                      <a:lnTo>
                        <a:pt x="109" y="346"/>
                      </a:lnTo>
                      <a:lnTo>
                        <a:pt x="113" y="349"/>
                      </a:lnTo>
                      <a:lnTo>
                        <a:pt x="118" y="354"/>
                      </a:lnTo>
                      <a:lnTo>
                        <a:pt x="125" y="361"/>
                      </a:lnTo>
                      <a:lnTo>
                        <a:pt x="131" y="367"/>
                      </a:lnTo>
                      <a:lnTo>
                        <a:pt x="140" y="376"/>
                      </a:lnTo>
                      <a:lnTo>
                        <a:pt x="149" y="390"/>
                      </a:lnTo>
                      <a:lnTo>
                        <a:pt x="156" y="400"/>
                      </a:lnTo>
                      <a:lnTo>
                        <a:pt x="165" y="407"/>
                      </a:lnTo>
                      <a:lnTo>
                        <a:pt x="174" y="414"/>
                      </a:lnTo>
                      <a:lnTo>
                        <a:pt x="179" y="419"/>
                      </a:lnTo>
                      <a:lnTo>
                        <a:pt x="182" y="423"/>
                      </a:lnTo>
                      <a:lnTo>
                        <a:pt x="184" y="429"/>
                      </a:lnTo>
                      <a:lnTo>
                        <a:pt x="185" y="438"/>
                      </a:lnTo>
                      <a:lnTo>
                        <a:pt x="185" y="446"/>
                      </a:lnTo>
                      <a:lnTo>
                        <a:pt x="184" y="45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0" name="Freeform 1004"/>
                <p:cNvSpPr>
                  <a:spLocks/>
                </p:cNvSpPr>
                <p:nvPr/>
              </p:nvSpPr>
              <p:spPr bwMode="auto">
                <a:xfrm>
                  <a:off x="2880834" y="3390069"/>
                  <a:ext cx="44396" cy="23678"/>
                </a:xfrm>
                <a:custGeom>
                  <a:avLst/>
                  <a:gdLst>
                    <a:gd name="T0" fmla="*/ 2147483647 w 33"/>
                    <a:gd name="T1" fmla="*/ 2147483647 h 16"/>
                    <a:gd name="T2" fmla="*/ 2147483647 w 33"/>
                    <a:gd name="T3" fmla="*/ 2147483647 h 16"/>
                    <a:gd name="T4" fmla="*/ 2147483647 w 33"/>
                    <a:gd name="T5" fmla="*/ 2147483647 h 16"/>
                    <a:gd name="T6" fmla="*/ 2147483647 w 33"/>
                    <a:gd name="T7" fmla="*/ 2147483647 h 16"/>
                    <a:gd name="T8" fmla="*/ 2147483647 w 33"/>
                    <a:gd name="T9" fmla="*/ 2147483647 h 16"/>
                    <a:gd name="T10" fmla="*/ 2147483647 w 33"/>
                    <a:gd name="T11" fmla="*/ 0 h 16"/>
                    <a:gd name="T12" fmla="*/ 2147483647 w 33"/>
                    <a:gd name="T13" fmla="*/ 0 h 16"/>
                    <a:gd name="T14" fmla="*/ 2147483647 w 33"/>
                    <a:gd name="T15" fmla="*/ 2147483647 h 16"/>
                    <a:gd name="T16" fmla="*/ 2147483647 w 33"/>
                    <a:gd name="T17" fmla="*/ 2147483647 h 16"/>
                    <a:gd name="T18" fmla="*/ 2147483647 w 33"/>
                    <a:gd name="T19" fmla="*/ 2147483647 h 16"/>
                    <a:gd name="T20" fmla="*/ 2147483647 w 33"/>
                    <a:gd name="T21" fmla="*/ 2147483647 h 16"/>
                    <a:gd name="T22" fmla="*/ 2147483647 w 33"/>
                    <a:gd name="T23" fmla="*/ 2147483647 h 16"/>
                    <a:gd name="T24" fmla="*/ 2147483647 w 33"/>
                    <a:gd name="T25" fmla="*/ 2147483647 h 16"/>
                    <a:gd name="T26" fmla="*/ 0 w 33"/>
                    <a:gd name="T27" fmla="*/ 2147483647 h 16"/>
                    <a:gd name="T28" fmla="*/ 2147483647 w 33"/>
                    <a:gd name="T29" fmla="*/ 2147483647 h 16"/>
                    <a:gd name="T30" fmla="*/ 2147483647 w 33"/>
                    <a:gd name="T31" fmla="*/ 2147483647 h 16"/>
                    <a:gd name="T32" fmla="*/ 2147483647 w 33"/>
                    <a:gd name="T33" fmla="*/ 2147483647 h 16"/>
                    <a:gd name="T34" fmla="*/ 2147483647 w 33"/>
                    <a:gd name="T35" fmla="*/ 2147483647 h 16"/>
                    <a:gd name="T36" fmla="*/ 2147483647 w 33"/>
                    <a:gd name="T37" fmla="*/ 2147483647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
                    <a:gd name="T58" fmla="*/ 0 h 16"/>
                    <a:gd name="T59" fmla="*/ 33 w 33"/>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 h="16">
                      <a:moveTo>
                        <a:pt x="27" y="6"/>
                      </a:moveTo>
                      <a:lnTo>
                        <a:pt x="29" y="4"/>
                      </a:lnTo>
                      <a:lnTo>
                        <a:pt x="30" y="3"/>
                      </a:lnTo>
                      <a:lnTo>
                        <a:pt x="33" y="2"/>
                      </a:lnTo>
                      <a:lnTo>
                        <a:pt x="33" y="1"/>
                      </a:lnTo>
                      <a:lnTo>
                        <a:pt x="32" y="0"/>
                      </a:lnTo>
                      <a:lnTo>
                        <a:pt x="28" y="0"/>
                      </a:lnTo>
                      <a:lnTo>
                        <a:pt x="23" y="3"/>
                      </a:lnTo>
                      <a:lnTo>
                        <a:pt x="16" y="6"/>
                      </a:lnTo>
                      <a:lnTo>
                        <a:pt x="9" y="7"/>
                      </a:lnTo>
                      <a:lnTo>
                        <a:pt x="6" y="8"/>
                      </a:lnTo>
                      <a:lnTo>
                        <a:pt x="3" y="10"/>
                      </a:lnTo>
                      <a:lnTo>
                        <a:pt x="1" y="13"/>
                      </a:lnTo>
                      <a:lnTo>
                        <a:pt x="0" y="16"/>
                      </a:lnTo>
                      <a:lnTo>
                        <a:pt x="8" y="15"/>
                      </a:lnTo>
                      <a:lnTo>
                        <a:pt x="15" y="14"/>
                      </a:lnTo>
                      <a:lnTo>
                        <a:pt x="23" y="10"/>
                      </a:lnTo>
                      <a:lnTo>
                        <a:pt x="25" y="8"/>
                      </a:lnTo>
                      <a:lnTo>
                        <a:pt x="27"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1" name="Freeform 1005"/>
                <p:cNvSpPr>
                  <a:spLocks/>
                </p:cNvSpPr>
                <p:nvPr/>
              </p:nvSpPr>
              <p:spPr bwMode="auto">
                <a:xfrm>
                  <a:off x="1291450" y="2229849"/>
                  <a:ext cx="2011147" cy="1124703"/>
                </a:xfrm>
                <a:custGeom>
                  <a:avLst/>
                  <a:gdLst>
                    <a:gd name="T0" fmla="*/ 2147483647 w 1472"/>
                    <a:gd name="T1" fmla="*/ 2147483647 h 760"/>
                    <a:gd name="T2" fmla="*/ 2147483647 w 1472"/>
                    <a:gd name="T3" fmla="*/ 2147483647 h 760"/>
                    <a:gd name="T4" fmla="*/ 2147483647 w 1472"/>
                    <a:gd name="T5" fmla="*/ 2147483647 h 760"/>
                    <a:gd name="T6" fmla="*/ 2147483647 w 1472"/>
                    <a:gd name="T7" fmla="*/ 2147483647 h 760"/>
                    <a:gd name="T8" fmla="*/ 2147483647 w 1472"/>
                    <a:gd name="T9" fmla="*/ 2147483647 h 760"/>
                    <a:gd name="T10" fmla="*/ 2147483647 w 1472"/>
                    <a:gd name="T11" fmla="*/ 2147483647 h 760"/>
                    <a:gd name="T12" fmla="*/ 2147483647 w 1472"/>
                    <a:gd name="T13" fmla="*/ 2147483647 h 760"/>
                    <a:gd name="T14" fmla="*/ 2147483647 w 1472"/>
                    <a:gd name="T15" fmla="*/ 2147483647 h 760"/>
                    <a:gd name="T16" fmla="*/ 2147483647 w 1472"/>
                    <a:gd name="T17" fmla="*/ 2147483647 h 760"/>
                    <a:gd name="T18" fmla="*/ 2147483647 w 1472"/>
                    <a:gd name="T19" fmla="*/ 2147483647 h 760"/>
                    <a:gd name="T20" fmla="*/ 2147483647 w 1472"/>
                    <a:gd name="T21" fmla="*/ 2147483647 h 760"/>
                    <a:gd name="T22" fmla="*/ 2147483647 w 1472"/>
                    <a:gd name="T23" fmla="*/ 2147483647 h 760"/>
                    <a:gd name="T24" fmla="*/ 2147483647 w 1472"/>
                    <a:gd name="T25" fmla="*/ 2147483647 h 760"/>
                    <a:gd name="T26" fmla="*/ 2147483647 w 1472"/>
                    <a:gd name="T27" fmla="*/ 2147483647 h 760"/>
                    <a:gd name="T28" fmla="*/ 2147483647 w 1472"/>
                    <a:gd name="T29" fmla="*/ 2147483647 h 760"/>
                    <a:gd name="T30" fmla="*/ 2147483647 w 1472"/>
                    <a:gd name="T31" fmla="*/ 2147483647 h 760"/>
                    <a:gd name="T32" fmla="*/ 2147483647 w 1472"/>
                    <a:gd name="T33" fmla="*/ 2147483647 h 760"/>
                    <a:gd name="T34" fmla="*/ 2147483647 w 1472"/>
                    <a:gd name="T35" fmla="*/ 2147483647 h 760"/>
                    <a:gd name="T36" fmla="*/ 2147483647 w 1472"/>
                    <a:gd name="T37" fmla="*/ 2147483647 h 760"/>
                    <a:gd name="T38" fmla="*/ 2147483647 w 1472"/>
                    <a:gd name="T39" fmla="*/ 2147483647 h 760"/>
                    <a:gd name="T40" fmla="*/ 2147483647 w 1472"/>
                    <a:gd name="T41" fmla="*/ 2147483647 h 760"/>
                    <a:gd name="T42" fmla="*/ 2147483647 w 1472"/>
                    <a:gd name="T43" fmla="*/ 2147483647 h 760"/>
                    <a:gd name="T44" fmla="*/ 2147483647 w 1472"/>
                    <a:gd name="T45" fmla="*/ 2147483647 h 760"/>
                    <a:gd name="T46" fmla="*/ 2147483647 w 1472"/>
                    <a:gd name="T47" fmla="*/ 2147483647 h 760"/>
                    <a:gd name="T48" fmla="*/ 2147483647 w 1472"/>
                    <a:gd name="T49" fmla="*/ 2147483647 h 760"/>
                    <a:gd name="T50" fmla="*/ 2147483647 w 1472"/>
                    <a:gd name="T51" fmla="*/ 2147483647 h 760"/>
                    <a:gd name="T52" fmla="*/ 2147483647 w 1472"/>
                    <a:gd name="T53" fmla="*/ 2147483647 h 760"/>
                    <a:gd name="T54" fmla="*/ 2147483647 w 1472"/>
                    <a:gd name="T55" fmla="*/ 2147483647 h 760"/>
                    <a:gd name="T56" fmla="*/ 2147483647 w 1472"/>
                    <a:gd name="T57" fmla="*/ 2147483647 h 760"/>
                    <a:gd name="T58" fmla="*/ 2147483647 w 1472"/>
                    <a:gd name="T59" fmla="*/ 2147483647 h 760"/>
                    <a:gd name="T60" fmla="*/ 2147483647 w 1472"/>
                    <a:gd name="T61" fmla="*/ 2147483647 h 760"/>
                    <a:gd name="T62" fmla="*/ 2147483647 w 1472"/>
                    <a:gd name="T63" fmla="*/ 2147483647 h 760"/>
                    <a:gd name="T64" fmla="*/ 2147483647 w 1472"/>
                    <a:gd name="T65" fmla="*/ 2147483647 h 760"/>
                    <a:gd name="T66" fmla="*/ 2147483647 w 1472"/>
                    <a:gd name="T67" fmla="*/ 2147483647 h 760"/>
                    <a:gd name="T68" fmla="*/ 2147483647 w 1472"/>
                    <a:gd name="T69" fmla="*/ 2147483647 h 760"/>
                    <a:gd name="T70" fmla="*/ 2147483647 w 1472"/>
                    <a:gd name="T71" fmla="*/ 2147483647 h 760"/>
                    <a:gd name="T72" fmla="*/ 2147483647 w 1472"/>
                    <a:gd name="T73" fmla="*/ 2147483647 h 760"/>
                    <a:gd name="T74" fmla="*/ 2147483647 w 1472"/>
                    <a:gd name="T75" fmla="*/ 2147483647 h 760"/>
                    <a:gd name="T76" fmla="*/ 2147483647 w 1472"/>
                    <a:gd name="T77" fmla="*/ 2147483647 h 760"/>
                    <a:gd name="T78" fmla="*/ 2147483647 w 1472"/>
                    <a:gd name="T79" fmla="*/ 2147483647 h 760"/>
                    <a:gd name="T80" fmla="*/ 2147483647 w 1472"/>
                    <a:gd name="T81" fmla="*/ 2147483647 h 760"/>
                    <a:gd name="T82" fmla="*/ 2147483647 w 1472"/>
                    <a:gd name="T83" fmla="*/ 2147483647 h 760"/>
                    <a:gd name="T84" fmla="*/ 2147483647 w 1472"/>
                    <a:gd name="T85" fmla="*/ 2147483647 h 760"/>
                    <a:gd name="T86" fmla="*/ 2147483647 w 1472"/>
                    <a:gd name="T87" fmla="*/ 2147483647 h 760"/>
                    <a:gd name="T88" fmla="*/ 2147483647 w 1472"/>
                    <a:gd name="T89" fmla="*/ 2147483647 h 760"/>
                    <a:gd name="T90" fmla="*/ 2147483647 w 1472"/>
                    <a:gd name="T91" fmla="*/ 2147483647 h 760"/>
                    <a:gd name="T92" fmla="*/ 2147483647 w 1472"/>
                    <a:gd name="T93" fmla="*/ 2147483647 h 760"/>
                    <a:gd name="T94" fmla="*/ 2147483647 w 1472"/>
                    <a:gd name="T95" fmla="*/ 2147483647 h 760"/>
                    <a:gd name="T96" fmla="*/ 2147483647 w 1472"/>
                    <a:gd name="T97" fmla="*/ 2147483647 h 760"/>
                    <a:gd name="T98" fmla="*/ 2147483647 w 1472"/>
                    <a:gd name="T99" fmla="*/ 2147483647 h 760"/>
                    <a:gd name="T100" fmla="*/ 2147483647 w 1472"/>
                    <a:gd name="T101" fmla="*/ 2147483647 h 760"/>
                    <a:gd name="T102" fmla="*/ 2147483647 w 1472"/>
                    <a:gd name="T103" fmla="*/ 2147483647 h 760"/>
                    <a:gd name="T104" fmla="*/ 2147483647 w 1472"/>
                    <a:gd name="T105" fmla="*/ 2147483647 h 760"/>
                    <a:gd name="T106" fmla="*/ 2147483647 w 1472"/>
                    <a:gd name="T107" fmla="*/ 2147483647 h 760"/>
                    <a:gd name="T108" fmla="*/ 2147483647 w 1472"/>
                    <a:gd name="T109" fmla="*/ 2147483647 h 760"/>
                    <a:gd name="T110" fmla="*/ 2147483647 w 1472"/>
                    <a:gd name="T111" fmla="*/ 2147483647 h 760"/>
                    <a:gd name="T112" fmla="*/ 2147483647 w 1472"/>
                    <a:gd name="T113" fmla="*/ 2147483647 h 760"/>
                    <a:gd name="T114" fmla="*/ 2147483647 w 1472"/>
                    <a:gd name="T115" fmla="*/ 2147483647 h 760"/>
                    <a:gd name="T116" fmla="*/ 2147483647 w 1472"/>
                    <a:gd name="T117" fmla="*/ 2147483647 h 760"/>
                    <a:gd name="T118" fmla="*/ 2147483647 w 1472"/>
                    <a:gd name="T119" fmla="*/ 2147483647 h 760"/>
                    <a:gd name="T120" fmla="*/ 2147483647 w 1472"/>
                    <a:gd name="T121" fmla="*/ 2147483647 h 760"/>
                    <a:gd name="T122" fmla="*/ 2147483647 w 1472"/>
                    <a:gd name="T123" fmla="*/ 2147483647 h 760"/>
                    <a:gd name="T124" fmla="*/ 2147483647 w 1472"/>
                    <a:gd name="T125" fmla="*/ 2147483647 h 7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2"/>
                    <a:gd name="T190" fmla="*/ 0 h 760"/>
                    <a:gd name="T191" fmla="*/ 1472 w 1472"/>
                    <a:gd name="T192" fmla="*/ 760 h 7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2" h="760">
                      <a:moveTo>
                        <a:pt x="184" y="458"/>
                      </a:moveTo>
                      <a:lnTo>
                        <a:pt x="184" y="458"/>
                      </a:lnTo>
                      <a:lnTo>
                        <a:pt x="184" y="460"/>
                      </a:lnTo>
                      <a:lnTo>
                        <a:pt x="185" y="462"/>
                      </a:lnTo>
                      <a:lnTo>
                        <a:pt x="185" y="468"/>
                      </a:lnTo>
                      <a:lnTo>
                        <a:pt x="188" y="473"/>
                      </a:lnTo>
                      <a:lnTo>
                        <a:pt x="189" y="478"/>
                      </a:lnTo>
                      <a:lnTo>
                        <a:pt x="190" y="486"/>
                      </a:lnTo>
                      <a:lnTo>
                        <a:pt x="192" y="490"/>
                      </a:lnTo>
                      <a:lnTo>
                        <a:pt x="194" y="493"/>
                      </a:lnTo>
                      <a:lnTo>
                        <a:pt x="197" y="496"/>
                      </a:lnTo>
                      <a:lnTo>
                        <a:pt x="200" y="500"/>
                      </a:lnTo>
                      <a:lnTo>
                        <a:pt x="202" y="504"/>
                      </a:lnTo>
                      <a:lnTo>
                        <a:pt x="203" y="507"/>
                      </a:lnTo>
                      <a:lnTo>
                        <a:pt x="203" y="509"/>
                      </a:lnTo>
                      <a:lnTo>
                        <a:pt x="200" y="509"/>
                      </a:lnTo>
                      <a:lnTo>
                        <a:pt x="198" y="509"/>
                      </a:lnTo>
                      <a:lnTo>
                        <a:pt x="198" y="510"/>
                      </a:lnTo>
                      <a:lnTo>
                        <a:pt x="200" y="515"/>
                      </a:lnTo>
                      <a:lnTo>
                        <a:pt x="204" y="519"/>
                      </a:lnTo>
                      <a:lnTo>
                        <a:pt x="206" y="518"/>
                      </a:lnTo>
                      <a:lnTo>
                        <a:pt x="208" y="515"/>
                      </a:lnTo>
                      <a:lnTo>
                        <a:pt x="209" y="512"/>
                      </a:lnTo>
                      <a:lnTo>
                        <a:pt x="211" y="511"/>
                      </a:lnTo>
                      <a:lnTo>
                        <a:pt x="213" y="512"/>
                      </a:lnTo>
                      <a:lnTo>
                        <a:pt x="214" y="515"/>
                      </a:lnTo>
                      <a:lnTo>
                        <a:pt x="217" y="517"/>
                      </a:lnTo>
                      <a:lnTo>
                        <a:pt x="222" y="523"/>
                      </a:lnTo>
                      <a:lnTo>
                        <a:pt x="227" y="530"/>
                      </a:lnTo>
                      <a:lnTo>
                        <a:pt x="231" y="538"/>
                      </a:lnTo>
                      <a:lnTo>
                        <a:pt x="233" y="545"/>
                      </a:lnTo>
                      <a:lnTo>
                        <a:pt x="235" y="550"/>
                      </a:lnTo>
                      <a:lnTo>
                        <a:pt x="239" y="555"/>
                      </a:lnTo>
                      <a:lnTo>
                        <a:pt x="244" y="557"/>
                      </a:lnTo>
                      <a:lnTo>
                        <a:pt x="249" y="557"/>
                      </a:lnTo>
                      <a:lnTo>
                        <a:pt x="256" y="561"/>
                      </a:lnTo>
                      <a:lnTo>
                        <a:pt x="264" y="563"/>
                      </a:lnTo>
                      <a:lnTo>
                        <a:pt x="272" y="564"/>
                      </a:lnTo>
                      <a:lnTo>
                        <a:pt x="278" y="567"/>
                      </a:lnTo>
                      <a:lnTo>
                        <a:pt x="282" y="570"/>
                      </a:lnTo>
                      <a:lnTo>
                        <a:pt x="284" y="573"/>
                      </a:lnTo>
                      <a:lnTo>
                        <a:pt x="291" y="581"/>
                      </a:lnTo>
                      <a:lnTo>
                        <a:pt x="294" y="585"/>
                      </a:lnTo>
                      <a:lnTo>
                        <a:pt x="298" y="587"/>
                      </a:lnTo>
                      <a:lnTo>
                        <a:pt x="303" y="588"/>
                      </a:lnTo>
                      <a:lnTo>
                        <a:pt x="308" y="588"/>
                      </a:lnTo>
                      <a:lnTo>
                        <a:pt x="310" y="588"/>
                      </a:lnTo>
                      <a:lnTo>
                        <a:pt x="310" y="590"/>
                      </a:lnTo>
                      <a:lnTo>
                        <a:pt x="310" y="595"/>
                      </a:lnTo>
                      <a:lnTo>
                        <a:pt x="310" y="596"/>
                      </a:lnTo>
                      <a:lnTo>
                        <a:pt x="310" y="598"/>
                      </a:lnTo>
                      <a:lnTo>
                        <a:pt x="312" y="600"/>
                      </a:lnTo>
                      <a:lnTo>
                        <a:pt x="317" y="602"/>
                      </a:lnTo>
                      <a:lnTo>
                        <a:pt x="796" y="598"/>
                      </a:lnTo>
                      <a:lnTo>
                        <a:pt x="806" y="606"/>
                      </a:lnTo>
                      <a:lnTo>
                        <a:pt x="814" y="611"/>
                      </a:lnTo>
                      <a:lnTo>
                        <a:pt x="816" y="612"/>
                      </a:lnTo>
                      <a:lnTo>
                        <a:pt x="819" y="613"/>
                      </a:lnTo>
                      <a:lnTo>
                        <a:pt x="833" y="609"/>
                      </a:lnTo>
                      <a:lnTo>
                        <a:pt x="839" y="608"/>
                      </a:lnTo>
                      <a:lnTo>
                        <a:pt x="842" y="608"/>
                      </a:lnTo>
                      <a:lnTo>
                        <a:pt x="844" y="609"/>
                      </a:lnTo>
                      <a:lnTo>
                        <a:pt x="848" y="613"/>
                      </a:lnTo>
                      <a:lnTo>
                        <a:pt x="852" y="615"/>
                      </a:lnTo>
                      <a:lnTo>
                        <a:pt x="856" y="615"/>
                      </a:lnTo>
                      <a:lnTo>
                        <a:pt x="865" y="615"/>
                      </a:lnTo>
                      <a:lnTo>
                        <a:pt x="875" y="615"/>
                      </a:lnTo>
                      <a:lnTo>
                        <a:pt x="884" y="618"/>
                      </a:lnTo>
                      <a:lnTo>
                        <a:pt x="894" y="620"/>
                      </a:lnTo>
                      <a:lnTo>
                        <a:pt x="896" y="620"/>
                      </a:lnTo>
                      <a:lnTo>
                        <a:pt x="898" y="619"/>
                      </a:lnTo>
                      <a:lnTo>
                        <a:pt x="900" y="618"/>
                      </a:lnTo>
                      <a:lnTo>
                        <a:pt x="903" y="615"/>
                      </a:lnTo>
                      <a:lnTo>
                        <a:pt x="910" y="615"/>
                      </a:lnTo>
                      <a:lnTo>
                        <a:pt x="914" y="617"/>
                      </a:lnTo>
                      <a:lnTo>
                        <a:pt x="917" y="618"/>
                      </a:lnTo>
                      <a:lnTo>
                        <a:pt x="931" y="628"/>
                      </a:lnTo>
                      <a:lnTo>
                        <a:pt x="946" y="638"/>
                      </a:lnTo>
                      <a:lnTo>
                        <a:pt x="961" y="645"/>
                      </a:lnTo>
                      <a:lnTo>
                        <a:pt x="978" y="651"/>
                      </a:lnTo>
                      <a:lnTo>
                        <a:pt x="980" y="653"/>
                      </a:lnTo>
                      <a:lnTo>
                        <a:pt x="983" y="657"/>
                      </a:lnTo>
                      <a:lnTo>
                        <a:pt x="988" y="669"/>
                      </a:lnTo>
                      <a:lnTo>
                        <a:pt x="990" y="673"/>
                      </a:lnTo>
                      <a:lnTo>
                        <a:pt x="994" y="678"/>
                      </a:lnTo>
                      <a:lnTo>
                        <a:pt x="999" y="682"/>
                      </a:lnTo>
                      <a:lnTo>
                        <a:pt x="1003" y="686"/>
                      </a:lnTo>
                      <a:lnTo>
                        <a:pt x="1012" y="698"/>
                      </a:lnTo>
                      <a:lnTo>
                        <a:pt x="1017" y="710"/>
                      </a:lnTo>
                      <a:lnTo>
                        <a:pt x="1021" y="722"/>
                      </a:lnTo>
                      <a:lnTo>
                        <a:pt x="1021" y="727"/>
                      </a:lnTo>
                      <a:lnTo>
                        <a:pt x="1019" y="730"/>
                      </a:lnTo>
                      <a:lnTo>
                        <a:pt x="1014" y="739"/>
                      </a:lnTo>
                      <a:lnTo>
                        <a:pt x="1003" y="753"/>
                      </a:lnTo>
                      <a:lnTo>
                        <a:pt x="1003" y="754"/>
                      </a:lnTo>
                      <a:lnTo>
                        <a:pt x="1003" y="755"/>
                      </a:lnTo>
                      <a:lnTo>
                        <a:pt x="1006" y="758"/>
                      </a:lnTo>
                      <a:lnTo>
                        <a:pt x="1012" y="760"/>
                      </a:lnTo>
                      <a:lnTo>
                        <a:pt x="1019" y="760"/>
                      </a:lnTo>
                      <a:lnTo>
                        <a:pt x="1028" y="759"/>
                      </a:lnTo>
                      <a:lnTo>
                        <a:pt x="1039" y="756"/>
                      </a:lnTo>
                      <a:lnTo>
                        <a:pt x="1058" y="750"/>
                      </a:lnTo>
                      <a:lnTo>
                        <a:pt x="1075" y="742"/>
                      </a:lnTo>
                      <a:lnTo>
                        <a:pt x="1078" y="740"/>
                      </a:lnTo>
                      <a:lnTo>
                        <a:pt x="1080" y="736"/>
                      </a:lnTo>
                      <a:lnTo>
                        <a:pt x="1082" y="734"/>
                      </a:lnTo>
                      <a:lnTo>
                        <a:pt x="1086" y="732"/>
                      </a:lnTo>
                      <a:lnTo>
                        <a:pt x="1089" y="729"/>
                      </a:lnTo>
                      <a:lnTo>
                        <a:pt x="1093" y="727"/>
                      </a:lnTo>
                      <a:lnTo>
                        <a:pt x="1101" y="722"/>
                      </a:lnTo>
                      <a:lnTo>
                        <a:pt x="1103" y="722"/>
                      </a:lnTo>
                      <a:lnTo>
                        <a:pt x="1105" y="722"/>
                      </a:lnTo>
                      <a:lnTo>
                        <a:pt x="1108" y="723"/>
                      </a:lnTo>
                      <a:lnTo>
                        <a:pt x="1112" y="722"/>
                      </a:lnTo>
                      <a:lnTo>
                        <a:pt x="1117" y="721"/>
                      </a:lnTo>
                      <a:lnTo>
                        <a:pt x="1121" y="720"/>
                      </a:lnTo>
                      <a:lnTo>
                        <a:pt x="1124" y="716"/>
                      </a:lnTo>
                      <a:lnTo>
                        <a:pt x="1136" y="701"/>
                      </a:lnTo>
                      <a:lnTo>
                        <a:pt x="1140" y="697"/>
                      </a:lnTo>
                      <a:lnTo>
                        <a:pt x="1144" y="694"/>
                      </a:lnTo>
                      <a:lnTo>
                        <a:pt x="1149" y="692"/>
                      </a:lnTo>
                      <a:lnTo>
                        <a:pt x="1154" y="691"/>
                      </a:lnTo>
                      <a:lnTo>
                        <a:pt x="1166" y="692"/>
                      </a:lnTo>
                      <a:lnTo>
                        <a:pt x="1177" y="694"/>
                      </a:lnTo>
                      <a:lnTo>
                        <a:pt x="1187" y="694"/>
                      </a:lnTo>
                      <a:lnTo>
                        <a:pt x="1192" y="692"/>
                      </a:lnTo>
                      <a:lnTo>
                        <a:pt x="1197" y="691"/>
                      </a:lnTo>
                      <a:lnTo>
                        <a:pt x="1207" y="684"/>
                      </a:lnTo>
                      <a:lnTo>
                        <a:pt x="1216" y="676"/>
                      </a:lnTo>
                      <a:lnTo>
                        <a:pt x="1224" y="666"/>
                      </a:lnTo>
                      <a:lnTo>
                        <a:pt x="1230" y="658"/>
                      </a:lnTo>
                      <a:lnTo>
                        <a:pt x="1235" y="651"/>
                      </a:lnTo>
                      <a:lnTo>
                        <a:pt x="1238" y="647"/>
                      </a:lnTo>
                      <a:lnTo>
                        <a:pt x="1240" y="645"/>
                      </a:lnTo>
                      <a:lnTo>
                        <a:pt x="1247" y="643"/>
                      </a:lnTo>
                      <a:lnTo>
                        <a:pt x="1253" y="643"/>
                      </a:lnTo>
                      <a:lnTo>
                        <a:pt x="1259" y="643"/>
                      </a:lnTo>
                      <a:lnTo>
                        <a:pt x="1266" y="643"/>
                      </a:lnTo>
                      <a:lnTo>
                        <a:pt x="1266" y="650"/>
                      </a:lnTo>
                      <a:lnTo>
                        <a:pt x="1267" y="658"/>
                      </a:lnTo>
                      <a:lnTo>
                        <a:pt x="1270" y="667"/>
                      </a:lnTo>
                      <a:lnTo>
                        <a:pt x="1272" y="677"/>
                      </a:lnTo>
                      <a:lnTo>
                        <a:pt x="1275" y="684"/>
                      </a:lnTo>
                      <a:lnTo>
                        <a:pt x="1277" y="686"/>
                      </a:lnTo>
                      <a:lnTo>
                        <a:pt x="1280" y="689"/>
                      </a:lnTo>
                      <a:lnTo>
                        <a:pt x="1284" y="685"/>
                      </a:lnTo>
                      <a:lnTo>
                        <a:pt x="1289" y="683"/>
                      </a:lnTo>
                      <a:lnTo>
                        <a:pt x="1300" y="682"/>
                      </a:lnTo>
                      <a:lnTo>
                        <a:pt x="1303" y="681"/>
                      </a:lnTo>
                      <a:lnTo>
                        <a:pt x="1304" y="679"/>
                      </a:lnTo>
                      <a:lnTo>
                        <a:pt x="1306" y="678"/>
                      </a:lnTo>
                      <a:lnTo>
                        <a:pt x="1309" y="678"/>
                      </a:lnTo>
                      <a:lnTo>
                        <a:pt x="1312" y="677"/>
                      </a:lnTo>
                      <a:lnTo>
                        <a:pt x="1317" y="673"/>
                      </a:lnTo>
                      <a:lnTo>
                        <a:pt x="1320" y="673"/>
                      </a:lnTo>
                      <a:lnTo>
                        <a:pt x="1322" y="673"/>
                      </a:lnTo>
                      <a:lnTo>
                        <a:pt x="1323" y="675"/>
                      </a:lnTo>
                      <a:lnTo>
                        <a:pt x="1322" y="676"/>
                      </a:lnTo>
                      <a:lnTo>
                        <a:pt x="1322" y="677"/>
                      </a:lnTo>
                      <a:lnTo>
                        <a:pt x="1319" y="681"/>
                      </a:lnTo>
                      <a:lnTo>
                        <a:pt x="1317" y="683"/>
                      </a:lnTo>
                      <a:lnTo>
                        <a:pt x="1317" y="684"/>
                      </a:lnTo>
                      <a:lnTo>
                        <a:pt x="1318" y="685"/>
                      </a:lnTo>
                      <a:lnTo>
                        <a:pt x="1320" y="688"/>
                      </a:lnTo>
                      <a:lnTo>
                        <a:pt x="1323" y="689"/>
                      </a:lnTo>
                      <a:lnTo>
                        <a:pt x="1328" y="689"/>
                      </a:lnTo>
                      <a:lnTo>
                        <a:pt x="1334" y="688"/>
                      </a:lnTo>
                      <a:lnTo>
                        <a:pt x="1339" y="684"/>
                      </a:lnTo>
                      <a:lnTo>
                        <a:pt x="1342" y="684"/>
                      </a:lnTo>
                      <a:lnTo>
                        <a:pt x="1341" y="688"/>
                      </a:lnTo>
                      <a:lnTo>
                        <a:pt x="1338" y="690"/>
                      </a:lnTo>
                      <a:lnTo>
                        <a:pt x="1336" y="691"/>
                      </a:lnTo>
                      <a:lnTo>
                        <a:pt x="1332" y="692"/>
                      </a:lnTo>
                      <a:lnTo>
                        <a:pt x="1326" y="694"/>
                      </a:lnTo>
                      <a:lnTo>
                        <a:pt x="1319" y="695"/>
                      </a:lnTo>
                      <a:lnTo>
                        <a:pt x="1313" y="698"/>
                      </a:lnTo>
                      <a:lnTo>
                        <a:pt x="1306" y="703"/>
                      </a:lnTo>
                      <a:lnTo>
                        <a:pt x="1303" y="704"/>
                      </a:lnTo>
                      <a:lnTo>
                        <a:pt x="1299" y="704"/>
                      </a:lnTo>
                      <a:lnTo>
                        <a:pt x="1296" y="704"/>
                      </a:lnTo>
                      <a:lnTo>
                        <a:pt x="1295" y="707"/>
                      </a:lnTo>
                      <a:lnTo>
                        <a:pt x="1295" y="711"/>
                      </a:lnTo>
                      <a:lnTo>
                        <a:pt x="1295" y="715"/>
                      </a:lnTo>
                      <a:lnTo>
                        <a:pt x="1295" y="718"/>
                      </a:lnTo>
                      <a:lnTo>
                        <a:pt x="1294" y="721"/>
                      </a:lnTo>
                      <a:lnTo>
                        <a:pt x="1291" y="722"/>
                      </a:lnTo>
                      <a:lnTo>
                        <a:pt x="1291" y="724"/>
                      </a:lnTo>
                      <a:lnTo>
                        <a:pt x="1294" y="726"/>
                      </a:lnTo>
                      <a:lnTo>
                        <a:pt x="1298" y="727"/>
                      </a:lnTo>
                      <a:lnTo>
                        <a:pt x="1299" y="729"/>
                      </a:lnTo>
                      <a:lnTo>
                        <a:pt x="1300" y="732"/>
                      </a:lnTo>
                      <a:lnTo>
                        <a:pt x="1300" y="735"/>
                      </a:lnTo>
                      <a:lnTo>
                        <a:pt x="1301" y="736"/>
                      </a:lnTo>
                      <a:lnTo>
                        <a:pt x="1306" y="734"/>
                      </a:lnTo>
                      <a:lnTo>
                        <a:pt x="1309" y="732"/>
                      </a:lnTo>
                      <a:lnTo>
                        <a:pt x="1315" y="724"/>
                      </a:lnTo>
                      <a:lnTo>
                        <a:pt x="1318" y="723"/>
                      </a:lnTo>
                      <a:lnTo>
                        <a:pt x="1319" y="722"/>
                      </a:lnTo>
                      <a:lnTo>
                        <a:pt x="1320" y="718"/>
                      </a:lnTo>
                      <a:lnTo>
                        <a:pt x="1323" y="715"/>
                      </a:lnTo>
                      <a:lnTo>
                        <a:pt x="1329" y="709"/>
                      </a:lnTo>
                      <a:lnTo>
                        <a:pt x="1336" y="704"/>
                      </a:lnTo>
                      <a:lnTo>
                        <a:pt x="1345" y="701"/>
                      </a:lnTo>
                      <a:lnTo>
                        <a:pt x="1352" y="700"/>
                      </a:lnTo>
                      <a:lnTo>
                        <a:pt x="1360" y="696"/>
                      </a:lnTo>
                      <a:lnTo>
                        <a:pt x="1374" y="689"/>
                      </a:lnTo>
                      <a:lnTo>
                        <a:pt x="1375" y="689"/>
                      </a:lnTo>
                      <a:lnTo>
                        <a:pt x="1376" y="689"/>
                      </a:lnTo>
                      <a:lnTo>
                        <a:pt x="1378" y="690"/>
                      </a:lnTo>
                      <a:lnTo>
                        <a:pt x="1379" y="689"/>
                      </a:lnTo>
                      <a:lnTo>
                        <a:pt x="1379" y="685"/>
                      </a:lnTo>
                      <a:lnTo>
                        <a:pt x="1378" y="682"/>
                      </a:lnTo>
                      <a:lnTo>
                        <a:pt x="1374" y="678"/>
                      </a:lnTo>
                      <a:lnTo>
                        <a:pt x="1370" y="677"/>
                      </a:lnTo>
                      <a:lnTo>
                        <a:pt x="1364" y="677"/>
                      </a:lnTo>
                      <a:lnTo>
                        <a:pt x="1357" y="677"/>
                      </a:lnTo>
                      <a:lnTo>
                        <a:pt x="1351" y="677"/>
                      </a:lnTo>
                      <a:lnTo>
                        <a:pt x="1343" y="676"/>
                      </a:lnTo>
                      <a:lnTo>
                        <a:pt x="1338" y="673"/>
                      </a:lnTo>
                      <a:lnTo>
                        <a:pt x="1333" y="669"/>
                      </a:lnTo>
                      <a:lnTo>
                        <a:pt x="1328" y="664"/>
                      </a:lnTo>
                      <a:lnTo>
                        <a:pt x="1326" y="657"/>
                      </a:lnTo>
                      <a:lnTo>
                        <a:pt x="1323" y="652"/>
                      </a:lnTo>
                      <a:lnTo>
                        <a:pt x="1319" y="649"/>
                      </a:lnTo>
                      <a:lnTo>
                        <a:pt x="1315" y="646"/>
                      </a:lnTo>
                      <a:lnTo>
                        <a:pt x="1310" y="644"/>
                      </a:lnTo>
                      <a:lnTo>
                        <a:pt x="1310" y="641"/>
                      </a:lnTo>
                      <a:lnTo>
                        <a:pt x="1317" y="638"/>
                      </a:lnTo>
                      <a:lnTo>
                        <a:pt x="1324" y="633"/>
                      </a:lnTo>
                      <a:lnTo>
                        <a:pt x="1327" y="631"/>
                      </a:lnTo>
                      <a:lnTo>
                        <a:pt x="1328" y="628"/>
                      </a:lnTo>
                      <a:lnTo>
                        <a:pt x="1328" y="627"/>
                      </a:lnTo>
                      <a:lnTo>
                        <a:pt x="1327" y="625"/>
                      </a:lnTo>
                      <a:lnTo>
                        <a:pt x="1323" y="624"/>
                      </a:lnTo>
                      <a:lnTo>
                        <a:pt x="1319" y="622"/>
                      </a:lnTo>
                      <a:lnTo>
                        <a:pt x="1310" y="625"/>
                      </a:lnTo>
                      <a:lnTo>
                        <a:pt x="1301" y="626"/>
                      </a:lnTo>
                      <a:lnTo>
                        <a:pt x="1296" y="626"/>
                      </a:lnTo>
                      <a:lnTo>
                        <a:pt x="1292" y="626"/>
                      </a:lnTo>
                      <a:lnTo>
                        <a:pt x="1287" y="625"/>
                      </a:lnTo>
                      <a:lnTo>
                        <a:pt x="1282" y="624"/>
                      </a:lnTo>
                      <a:lnTo>
                        <a:pt x="1285" y="621"/>
                      </a:lnTo>
                      <a:lnTo>
                        <a:pt x="1287" y="620"/>
                      </a:lnTo>
                      <a:lnTo>
                        <a:pt x="1295" y="619"/>
                      </a:lnTo>
                      <a:lnTo>
                        <a:pt x="1309" y="619"/>
                      </a:lnTo>
                      <a:lnTo>
                        <a:pt x="1314" y="618"/>
                      </a:lnTo>
                      <a:lnTo>
                        <a:pt x="1318" y="617"/>
                      </a:lnTo>
                      <a:lnTo>
                        <a:pt x="1322" y="614"/>
                      </a:lnTo>
                      <a:lnTo>
                        <a:pt x="1326" y="611"/>
                      </a:lnTo>
                      <a:lnTo>
                        <a:pt x="1327" y="607"/>
                      </a:lnTo>
                      <a:lnTo>
                        <a:pt x="1328" y="605"/>
                      </a:lnTo>
                      <a:lnTo>
                        <a:pt x="1328" y="601"/>
                      </a:lnTo>
                      <a:lnTo>
                        <a:pt x="1327" y="599"/>
                      </a:lnTo>
                      <a:lnTo>
                        <a:pt x="1320" y="595"/>
                      </a:lnTo>
                      <a:lnTo>
                        <a:pt x="1314" y="593"/>
                      </a:lnTo>
                      <a:lnTo>
                        <a:pt x="1306" y="592"/>
                      </a:lnTo>
                      <a:lnTo>
                        <a:pt x="1299" y="593"/>
                      </a:lnTo>
                      <a:lnTo>
                        <a:pt x="1290" y="594"/>
                      </a:lnTo>
                      <a:lnTo>
                        <a:pt x="1284" y="598"/>
                      </a:lnTo>
                      <a:lnTo>
                        <a:pt x="1276" y="601"/>
                      </a:lnTo>
                      <a:lnTo>
                        <a:pt x="1271" y="607"/>
                      </a:lnTo>
                      <a:lnTo>
                        <a:pt x="1258" y="617"/>
                      </a:lnTo>
                      <a:lnTo>
                        <a:pt x="1253" y="622"/>
                      </a:lnTo>
                      <a:lnTo>
                        <a:pt x="1248" y="628"/>
                      </a:lnTo>
                      <a:lnTo>
                        <a:pt x="1243" y="632"/>
                      </a:lnTo>
                      <a:lnTo>
                        <a:pt x="1239" y="635"/>
                      </a:lnTo>
                      <a:lnTo>
                        <a:pt x="1235" y="640"/>
                      </a:lnTo>
                      <a:lnTo>
                        <a:pt x="1229" y="643"/>
                      </a:lnTo>
                      <a:lnTo>
                        <a:pt x="1224" y="644"/>
                      </a:lnTo>
                      <a:lnTo>
                        <a:pt x="1219" y="644"/>
                      </a:lnTo>
                      <a:lnTo>
                        <a:pt x="1219" y="643"/>
                      </a:lnTo>
                      <a:lnTo>
                        <a:pt x="1219" y="640"/>
                      </a:lnTo>
                      <a:lnTo>
                        <a:pt x="1224" y="633"/>
                      </a:lnTo>
                      <a:lnTo>
                        <a:pt x="1226" y="627"/>
                      </a:lnTo>
                      <a:lnTo>
                        <a:pt x="1228" y="621"/>
                      </a:lnTo>
                      <a:lnTo>
                        <a:pt x="1230" y="618"/>
                      </a:lnTo>
                      <a:lnTo>
                        <a:pt x="1234" y="614"/>
                      </a:lnTo>
                      <a:lnTo>
                        <a:pt x="1239" y="611"/>
                      </a:lnTo>
                      <a:lnTo>
                        <a:pt x="1243" y="607"/>
                      </a:lnTo>
                      <a:lnTo>
                        <a:pt x="1247" y="603"/>
                      </a:lnTo>
                      <a:lnTo>
                        <a:pt x="1252" y="599"/>
                      </a:lnTo>
                      <a:lnTo>
                        <a:pt x="1262" y="590"/>
                      </a:lnTo>
                      <a:lnTo>
                        <a:pt x="1267" y="589"/>
                      </a:lnTo>
                      <a:lnTo>
                        <a:pt x="1271" y="589"/>
                      </a:lnTo>
                      <a:lnTo>
                        <a:pt x="1276" y="589"/>
                      </a:lnTo>
                      <a:lnTo>
                        <a:pt x="1277" y="588"/>
                      </a:lnTo>
                      <a:lnTo>
                        <a:pt x="1277" y="587"/>
                      </a:lnTo>
                      <a:lnTo>
                        <a:pt x="1277" y="582"/>
                      </a:lnTo>
                      <a:lnTo>
                        <a:pt x="1279" y="577"/>
                      </a:lnTo>
                      <a:lnTo>
                        <a:pt x="1280" y="576"/>
                      </a:lnTo>
                      <a:lnTo>
                        <a:pt x="1281" y="575"/>
                      </a:lnTo>
                      <a:lnTo>
                        <a:pt x="1285" y="574"/>
                      </a:lnTo>
                      <a:lnTo>
                        <a:pt x="1290" y="568"/>
                      </a:lnTo>
                      <a:lnTo>
                        <a:pt x="1292" y="567"/>
                      </a:lnTo>
                      <a:lnTo>
                        <a:pt x="1296" y="566"/>
                      </a:lnTo>
                      <a:lnTo>
                        <a:pt x="1305" y="568"/>
                      </a:lnTo>
                      <a:lnTo>
                        <a:pt x="1312" y="569"/>
                      </a:lnTo>
                      <a:lnTo>
                        <a:pt x="1318" y="568"/>
                      </a:lnTo>
                      <a:lnTo>
                        <a:pt x="1329" y="564"/>
                      </a:lnTo>
                      <a:lnTo>
                        <a:pt x="1334" y="562"/>
                      </a:lnTo>
                      <a:lnTo>
                        <a:pt x="1337" y="562"/>
                      </a:lnTo>
                      <a:lnTo>
                        <a:pt x="1338" y="562"/>
                      </a:lnTo>
                      <a:lnTo>
                        <a:pt x="1345" y="566"/>
                      </a:lnTo>
                      <a:lnTo>
                        <a:pt x="1351" y="567"/>
                      </a:lnTo>
                      <a:lnTo>
                        <a:pt x="1357" y="568"/>
                      </a:lnTo>
                      <a:lnTo>
                        <a:pt x="1364" y="567"/>
                      </a:lnTo>
                      <a:lnTo>
                        <a:pt x="1375" y="564"/>
                      </a:lnTo>
                      <a:lnTo>
                        <a:pt x="1380" y="564"/>
                      </a:lnTo>
                      <a:lnTo>
                        <a:pt x="1385" y="566"/>
                      </a:lnTo>
                      <a:lnTo>
                        <a:pt x="1390" y="567"/>
                      </a:lnTo>
                      <a:lnTo>
                        <a:pt x="1395" y="566"/>
                      </a:lnTo>
                      <a:lnTo>
                        <a:pt x="1414" y="555"/>
                      </a:lnTo>
                      <a:lnTo>
                        <a:pt x="1416" y="554"/>
                      </a:lnTo>
                      <a:lnTo>
                        <a:pt x="1417" y="552"/>
                      </a:lnTo>
                      <a:lnTo>
                        <a:pt x="1419" y="545"/>
                      </a:lnTo>
                      <a:lnTo>
                        <a:pt x="1421" y="542"/>
                      </a:lnTo>
                      <a:lnTo>
                        <a:pt x="1425" y="538"/>
                      </a:lnTo>
                      <a:lnTo>
                        <a:pt x="1427" y="537"/>
                      </a:lnTo>
                      <a:lnTo>
                        <a:pt x="1430" y="537"/>
                      </a:lnTo>
                      <a:lnTo>
                        <a:pt x="1435" y="538"/>
                      </a:lnTo>
                      <a:lnTo>
                        <a:pt x="1439" y="541"/>
                      </a:lnTo>
                      <a:lnTo>
                        <a:pt x="1441" y="542"/>
                      </a:lnTo>
                      <a:lnTo>
                        <a:pt x="1444" y="542"/>
                      </a:lnTo>
                      <a:lnTo>
                        <a:pt x="1450" y="541"/>
                      </a:lnTo>
                      <a:lnTo>
                        <a:pt x="1456" y="537"/>
                      </a:lnTo>
                      <a:lnTo>
                        <a:pt x="1461" y="534"/>
                      </a:lnTo>
                      <a:lnTo>
                        <a:pt x="1466" y="530"/>
                      </a:lnTo>
                      <a:lnTo>
                        <a:pt x="1470" y="525"/>
                      </a:lnTo>
                      <a:lnTo>
                        <a:pt x="1472" y="519"/>
                      </a:lnTo>
                      <a:lnTo>
                        <a:pt x="1472" y="513"/>
                      </a:lnTo>
                      <a:lnTo>
                        <a:pt x="1468" y="506"/>
                      </a:lnTo>
                      <a:lnTo>
                        <a:pt x="1468" y="503"/>
                      </a:lnTo>
                      <a:lnTo>
                        <a:pt x="1468" y="500"/>
                      </a:lnTo>
                      <a:lnTo>
                        <a:pt x="1466" y="498"/>
                      </a:lnTo>
                      <a:lnTo>
                        <a:pt x="1466" y="494"/>
                      </a:lnTo>
                      <a:lnTo>
                        <a:pt x="1466" y="492"/>
                      </a:lnTo>
                      <a:lnTo>
                        <a:pt x="1466" y="490"/>
                      </a:lnTo>
                      <a:lnTo>
                        <a:pt x="1465" y="487"/>
                      </a:lnTo>
                      <a:lnTo>
                        <a:pt x="1464" y="486"/>
                      </a:lnTo>
                      <a:lnTo>
                        <a:pt x="1459" y="486"/>
                      </a:lnTo>
                      <a:lnTo>
                        <a:pt x="1459" y="487"/>
                      </a:lnTo>
                      <a:lnTo>
                        <a:pt x="1454" y="487"/>
                      </a:lnTo>
                      <a:lnTo>
                        <a:pt x="1450" y="487"/>
                      </a:lnTo>
                      <a:lnTo>
                        <a:pt x="1449" y="487"/>
                      </a:lnTo>
                      <a:lnTo>
                        <a:pt x="1447" y="484"/>
                      </a:lnTo>
                      <a:lnTo>
                        <a:pt x="1450" y="478"/>
                      </a:lnTo>
                      <a:lnTo>
                        <a:pt x="1450" y="473"/>
                      </a:lnTo>
                      <a:lnTo>
                        <a:pt x="1447" y="468"/>
                      </a:lnTo>
                      <a:lnTo>
                        <a:pt x="1444" y="466"/>
                      </a:lnTo>
                      <a:lnTo>
                        <a:pt x="1441" y="466"/>
                      </a:lnTo>
                      <a:lnTo>
                        <a:pt x="1439" y="466"/>
                      </a:lnTo>
                      <a:lnTo>
                        <a:pt x="1431" y="470"/>
                      </a:lnTo>
                      <a:lnTo>
                        <a:pt x="1423" y="475"/>
                      </a:lnTo>
                      <a:lnTo>
                        <a:pt x="1409" y="487"/>
                      </a:lnTo>
                      <a:lnTo>
                        <a:pt x="1408" y="488"/>
                      </a:lnTo>
                      <a:lnTo>
                        <a:pt x="1406" y="488"/>
                      </a:lnTo>
                      <a:lnTo>
                        <a:pt x="1404" y="487"/>
                      </a:lnTo>
                      <a:lnTo>
                        <a:pt x="1403" y="486"/>
                      </a:lnTo>
                      <a:lnTo>
                        <a:pt x="1402" y="483"/>
                      </a:lnTo>
                      <a:lnTo>
                        <a:pt x="1402" y="480"/>
                      </a:lnTo>
                      <a:lnTo>
                        <a:pt x="1403" y="477"/>
                      </a:lnTo>
                      <a:lnTo>
                        <a:pt x="1406" y="474"/>
                      </a:lnTo>
                      <a:lnTo>
                        <a:pt x="1413" y="471"/>
                      </a:lnTo>
                      <a:lnTo>
                        <a:pt x="1421" y="466"/>
                      </a:lnTo>
                      <a:lnTo>
                        <a:pt x="1426" y="464"/>
                      </a:lnTo>
                      <a:lnTo>
                        <a:pt x="1432" y="462"/>
                      </a:lnTo>
                      <a:lnTo>
                        <a:pt x="1437" y="461"/>
                      </a:lnTo>
                      <a:lnTo>
                        <a:pt x="1444" y="459"/>
                      </a:lnTo>
                      <a:lnTo>
                        <a:pt x="1446" y="456"/>
                      </a:lnTo>
                      <a:lnTo>
                        <a:pt x="1446" y="455"/>
                      </a:lnTo>
                      <a:lnTo>
                        <a:pt x="1445" y="452"/>
                      </a:lnTo>
                      <a:lnTo>
                        <a:pt x="1442" y="451"/>
                      </a:lnTo>
                      <a:lnTo>
                        <a:pt x="1436" y="449"/>
                      </a:lnTo>
                      <a:lnTo>
                        <a:pt x="1431" y="451"/>
                      </a:lnTo>
                      <a:lnTo>
                        <a:pt x="1425" y="453"/>
                      </a:lnTo>
                      <a:lnTo>
                        <a:pt x="1423" y="453"/>
                      </a:lnTo>
                      <a:lnTo>
                        <a:pt x="1422" y="453"/>
                      </a:lnTo>
                      <a:lnTo>
                        <a:pt x="1419" y="451"/>
                      </a:lnTo>
                      <a:lnTo>
                        <a:pt x="1417" y="449"/>
                      </a:lnTo>
                      <a:lnTo>
                        <a:pt x="1412" y="448"/>
                      </a:lnTo>
                      <a:lnTo>
                        <a:pt x="1411" y="447"/>
                      </a:lnTo>
                      <a:lnTo>
                        <a:pt x="1409" y="446"/>
                      </a:lnTo>
                      <a:lnTo>
                        <a:pt x="1409" y="445"/>
                      </a:lnTo>
                      <a:lnTo>
                        <a:pt x="1407" y="443"/>
                      </a:lnTo>
                      <a:lnTo>
                        <a:pt x="1404" y="442"/>
                      </a:lnTo>
                      <a:lnTo>
                        <a:pt x="1400" y="445"/>
                      </a:lnTo>
                      <a:lnTo>
                        <a:pt x="1398" y="446"/>
                      </a:lnTo>
                      <a:lnTo>
                        <a:pt x="1395" y="446"/>
                      </a:lnTo>
                      <a:lnTo>
                        <a:pt x="1393" y="445"/>
                      </a:lnTo>
                      <a:lnTo>
                        <a:pt x="1392" y="441"/>
                      </a:lnTo>
                      <a:lnTo>
                        <a:pt x="1392" y="437"/>
                      </a:lnTo>
                      <a:lnTo>
                        <a:pt x="1390" y="434"/>
                      </a:lnTo>
                      <a:lnTo>
                        <a:pt x="1389" y="433"/>
                      </a:lnTo>
                      <a:lnTo>
                        <a:pt x="1388" y="432"/>
                      </a:lnTo>
                      <a:lnTo>
                        <a:pt x="1384" y="433"/>
                      </a:lnTo>
                      <a:lnTo>
                        <a:pt x="1383" y="433"/>
                      </a:lnTo>
                      <a:lnTo>
                        <a:pt x="1381" y="433"/>
                      </a:lnTo>
                      <a:lnTo>
                        <a:pt x="1379" y="428"/>
                      </a:lnTo>
                      <a:lnTo>
                        <a:pt x="1375" y="424"/>
                      </a:lnTo>
                      <a:lnTo>
                        <a:pt x="1374" y="422"/>
                      </a:lnTo>
                      <a:lnTo>
                        <a:pt x="1374" y="420"/>
                      </a:lnTo>
                      <a:lnTo>
                        <a:pt x="1374" y="415"/>
                      </a:lnTo>
                      <a:lnTo>
                        <a:pt x="1372" y="414"/>
                      </a:lnTo>
                      <a:lnTo>
                        <a:pt x="1372" y="410"/>
                      </a:lnTo>
                      <a:lnTo>
                        <a:pt x="1372" y="408"/>
                      </a:lnTo>
                      <a:lnTo>
                        <a:pt x="1370" y="403"/>
                      </a:lnTo>
                      <a:lnTo>
                        <a:pt x="1370" y="401"/>
                      </a:lnTo>
                      <a:lnTo>
                        <a:pt x="1370" y="400"/>
                      </a:lnTo>
                      <a:lnTo>
                        <a:pt x="1372" y="396"/>
                      </a:lnTo>
                      <a:lnTo>
                        <a:pt x="1376" y="392"/>
                      </a:lnTo>
                      <a:lnTo>
                        <a:pt x="1380" y="389"/>
                      </a:lnTo>
                      <a:lnTo>
                        <a:pt x="1380" y="387"/>
                      </a:lnTo>
                      <a:lnTo>
                        <a:pt x="1380" y="384"/>
                      </a:lnTo>
                      <a:lnTo>
                        <a:pt x="1379" y="383"/>
                      </a:lnTo>
                      <a:lnTo>
                        <a:pt x="1378" y="382"/>
                      </a:lnTo>
                      <a:lnTo>
                        <a:pt x="1375" y="383"/>
                      </a:lnTo>
                      <a:lnTo>
                        <a:pt x="1374" y="384"/>
                      </a:lnTo>
                      <a:lnTo>
                        <a:pt x="1371" y="388"/>
                      </a:lnTo>
                      <a:lnTo>
                        <a:pt x="1369" y="389"/>
                      </a:lnTo>
                      <a:lnTo>
                        <a:pt x="1367" y="388"/>
                      </a:lnTo>
                      <a:lnTo>
                        <a:pt x="1365" y="388"/>
                      </a:lnTo>
                      <a:lnTo>
                        <a:pt x="1365" y="387"/>
                      </a:lnTo>
                      <a:lnTo>
                        <a:pt x="1364" y="382"/>
                      </a:lnTo>
                      <a:lnTo>
                        <a:pt x="1362" y="378"/>
                      </a:lnTo>
                      <a:lnTo>
                        <a:pt x="1359" y="372"/>
                      </a:lnTo>
                      <a:lnTo>
                        <a:pt x="1353" y="368"/>
                      </a:lnTo>
                      <a:lnTo>
                        <a:pt x="1347" y="363"/>
                      </a:lnTo>
                      <a:lnTo>
                        <a:pt x="1345" y="360"/>
                      </a:lnTo>
                      <a:lnTo>
                        <a:pt x="1343" y="358"/>
                      </a:lnTo>
                      <a:lnTo>
                        <a:pt x="1342" y="351"/>
                      </a:lnTo>
                      <a:lnTo>
                        <a:pt x="1338" y="344"/>
                      </a:lnTo>
                      <a:lnTo>
                        <a:pt x="1336" y="337"/>
                      </a:lnTo>
                      <a:lnTo>
                        <a:pt x="1332" y="330"/>
                      </a:lnTo>
                      <a:lnTo>
                        <a:pt x="1332" y="324"/>
                      </a:lnTo>
                      <a:lnTo>
                        <a:pt x="1333" y="319"/>
                      </a:lnTo>
                      <a:lnTo>
                        <a:pt x="1332" y="317"/>
                      </a:lnTo>
                      <a:lnTo>
                        <a:pt x="1329" y="314"/>
                      </a:lnTo>
                      <a:lnTo>
                        <a:pt x="1326" y="315"/>
                      </a:lnTo>
                      <a:lnTo>
                        <a:pt x="1323" y="315"/>
                      </a:lnTo>
                      <a:lnTo>
                        <a:pt x="1322" y="315"/>
                      </a:lnTo>
                      <a:lnTo>
                        <a:pt x="1317" y="320"/>
                      </a:lnTo>
                      <a:lnTo>
                        <a:pt x="1313" y="325"/>
                      </a:lnTo>
                      <a:lnTo>
                        <a:pt x="1309" y="330"/>
                      </a:lnTo>
                      <a:lnTo>
                        <a:pt x="1304" y="334"/>
                      </a:lnTo>
                      <a:lnTo>
                        <a:pt x="1300" y="339"/>
                      </a:lnTo>
                      <a:lnTo>
                        <a:pt x="1298" y="345"/>
                      </a:lnTo>
                      <a:lnTo>
                        <a:pt x="1295" y="349"/>
                      </a:lnTo>
                      <a:lnTo>
                        <a:pt x="1292" y="351"/>
                      </a:lnTo>
                      <a:lnTo>
                        <a:pt x="1286" y="356"/>
                      </a:lnTo>
                      <a:lnTo>
                        <a:pt x="1282" y="359"/>
                      </a:lnTo>
                      <a:lnTo>
                        <a:pt x="1279" y="364"/>
                      </a:lnTo>
                      <a:lnTo>
                        <a:pt x="1276" y="365"/>
                      </a:lnTo>
                      <a:lnTo>
                        <a:pt x="1273" y="365"/>
                      </a:lnTo>
                      <a:lnTo>
                        <a:pt x="1271" y="364"/>
                      </a:lnTo>
                      <a:lnTo>
                        <a:pt x="1266" y="363"/>
                      </a:lnTo>
                      <a:lnTo>
                        <a:pt x="1263" y="362"/>
                      </a:lnTo>
                      <a:lnTo>
                        <a:pt x="1259" y="359"/>
                      </a:lnTo>
                      <a:lnTo>
                        <a:pt x="1257" y="356"/>
                      </a:lnTo>
                      <a:lnTo>
                        <a:pt x="1256" y="356"/>
                      </a:lnTo>
                      <a:lnTo>
                        <a:pt x="1254" y="356"/>
                      </a:lnTo>
                      <a:lnTo>
                        <a:pt x="1252" y="359"/>
                      </a:lnTo>
                      <a:lnTo>
                        <a:pt x="1248" y="360"/>
                      </a:lnTo>
                      <a:lnTo>
                        <a:pt x="1244" y="362"/>
                      </a:lnTo>
                      <a:lnTo>
                        <a:pt x="1242" y="359"/>
                      </a:lnTo>
                      <a:lnTo>
                        <a:pt x="1240" y="357"/>
                      </a:lnTo>
                      <a:lnTo>
                        <a:pt x="1242" y="355"/>
                      </a:lnTo>
                      <a:lnTo>
                        <a:pt x="1243" y="352"/>
                      </a:lnTo>
                      <a:lnTo>
                        <a:pt x="1243" y="351"/>
                      </a:lnTo>
                      <a:lnTo>
                        <a:pt x="1240" y="349"/>
                      </a:lnTo>
                      <a:lnTo>
                        <a:pt x="1235" y="346"/>
                      </a:lnTo>
                      <a:lnTo>
                        <a:pt x="1233" y="344"/>
                      </a:lnTo>
                      <a:lnTo>
                        <a:pt x="1233" y="343"/>
                      </a:lnTo>
                      <a:lnTo>
                        <a:pt x="1233" y="340"/>
                      </a:lnTo>
                      <a:lnTo>
                        <a:pt x="1235" y="336"/>
                      </a:lnTo>
                      <a:lnTo>
                        <a:pt x="1235" y="333"/>
                      </a:lnTo>
                      <a:lnTo>
                        <a:pt x="1237" y="331"/>
                      </a:lnTo>
                      <a:lnTo>
                        <a:pt x="1234" y="321"/>
                      </a:lnTo>
                      <a:lnTo>
                        <a:pt x="1234" y="317"/>
                      </a:lnTo>
                      <a:lnTo>
                        <a:pt x="1235" y="311"/>
                      </a:lnTo>
                      <a:lnTo>
                        <a:pt x="1235" y="307"/>
                      </a:lnTo>
                      <a:lnTo>
                        <a:pt x="1237" y="305"/>
                      </a:lnTo>
                      <a:lnTo>
                        <a:pt x="1238" y="304"/>
                      </a:lnTo>
                      <a:lnTo>
                        <a:pt x="1239" y="301"/>
                      </a:lnTo>
                      <a:lnTo>
                        <a:pt x="1240" y="299"/>
                      </a:lnTo>
                      <a:lnTo>
                        <a:pt x="1235" y="301"/>
                      </a:lnTo>
                      <a:lnTo>
                        <a:pt x="1233" y="301"/>
                      </a:lnTo>
                      <a:lnTo>
                        <a:pt x="1232" y="301"/>
                      </a:lnTo>
                      <a:lnTo>
                        <a:pt x="1223" y="299"/>
                      </a:lnTo>
                      <a:lnTo>
                        <a:pt x="1214" y="299"/>
                      </a:lnTo>
                      <a:lnTo>
                        <a:pt x="1210" y="299"/>
                      </a:lnTo>
                      <a:lnTo>
                        <a:pt x="1206" y="298"/>
                      </a:lnTo>
                      <a:lnTo>
                        <a:pt x="1204" y="295"/>
                      </a:lnTo>
                      <a:lnTo>
                        <a:pt x="1201" y="293"/>
                      </a:lnTo>
                      <a:lnTo>
                        <a:pt x="1196" y="287"/>
                      </a:lnTo>
                      <a:lnTo>
                        <a:pt x="1191" y="280"/>
                      </a:lnTo>
                      <a:lnTo>
                        <a:pt x="1190" y="279"/>
                      </a:lnTo>
                      <a:lnTo>
                        <a:pt x="1188" y="279"/>
                      </a:lnTo>
                      <a:lnTo>
                        <a:pt x="1185" y="277"/>
                      </a:lnTo>
                      <a:lnTo>
                        <a:pt x="1181" y="277"/>
                      </a:lnTo>
                      <a:lnTo>
                        <a:pt x="1178" y="277"/>
                      </a:lnTo>
                      <a:lnTo>
                        <a:pt x="1177" y="275"/>
                      </a:lnTo>
                      <a:lnTo>
                        <a:pt x="1172" y="269"/>
                      </a:lnTo>
                      <a:lnTo>
                        <a:pt x="1169" y="267"/>
                      </a:lnTo>
                      <a:lnTo>
                        <a:pt x="1166" y="267"/>
                      </a:lnTo>
                      <a:lnTo>
                        <a:pt x="1155" y="266"/>
                      </a:lnTo>
                      <a:lnTo>
                        <a:pt x="1145" y="264"/>
                      </a:lnTo>
                      <a:lnTo>
                        <a:pt x="1136" y="262"/>
                      </a:lnTo>
                      <a:lnTo>
                        <a:pt x="1126" y="262"/>
                      </a:lnTo>
                      <a:lnTo>
                        <a:pt x="1120" y="263"/>
                      </a:lnTo>
                      <a:lnTo>
                        <a:pt x="1117" y="263"/>
                      </a:lnTo>
                      <a:lnTo>
                        <a:pt x="1113" y="263"/>
                      </a:lnTo>
                      <a:lnTo>
                        <a:pt x="1108" y="261"/>
                      </a:lnTo>
                      <a:lnTo>
                        <a:pt x="1103" y="258"/>
                      </a:lnTo>
                      <a:lnTo>
                        <a:pt x="1098" y="256"/>
                      </a:lnTo>
                      <a:lnTo>
                        <a:pt x="1094" y="251"/>
                      </a:lnTo>
                      <a:lnTo>
                        <a:pt x="1094" y="253"/>
                      </a:lnTo>
                      <a:lnTo>
                        <a:pt x="1093" y="253"/>
                      </a:lnTo>
                      <a:lnTo>
                        <a:pt x="1094" y="258"/>
                      </a:lnTo>
                      <a:lnTo>
                        <a:pt x="1094" y="262"/>
                      </a:lnTo>
                      <a:lnTo>
                        <a:pt x="1094" y="264"/>
                      </a:lnTo>
                      <a:lnTo>
                        <a:pt x="1092" y="273"/>
                      </a:lnTo>
                      <a:lnTo>
                        <a:pt x="1089" y="280"/>
                      </a:lnTo>
                      <a:lnTo>
                        <a:pt x="1088" y="295"/>
                      </a:lnTo>
                      <a:lnTo>
                        <a:pt x="1088" y="298"/>
                      </a:lnTo>
                      <a:lnTo>
                        <a:pt x="1086" y="301"/>
                      </a:lnTo>
                      <a:lnTo>
                        <a:pt x="1084" y="304"/>
                      </a:lnTo>
                      <a:lnTo>
                        <a:pt x="1086" y="306"/>
                      </a:lnTo>
                      <a:lnTo>
                        <a:pt x="1091" y="317"/>
                      </a:lnTo>
                      <a:lnTo>
                        <a:pt x="1093" y="319"/>
                      </a:lnTo>
                      <a:lnTo>
                        <a:pt x="1096" y="320"/>
                      </a:lnTo>
                      <a:lnTo>
                        <a:pt x="1101" y="322"/>
                      </a:lnTo>
                      <a:lnTo>
                        <a:pt x="1103" y="324"/>
                      </a:lnTo>
                      <a:lnTo>
                        <a:pt x="1105" y="326"/>
                      </a:lnTo>
                      <a:lnTo>
                        <a:pt x="1103" y="330"/>
                      </a:lnTo>
                      <a:lnTo>
                        <a:pt x="1102" y="334"/>
                      </a:lnTo>
                      <a:lnTo>
                        <a:pt x="1098" y="338"/>
                      </a:lnTo>
                      <a:lnTo>
                        <a:pt x="1084" y="349"/>
                      </a:lnTo>
                      <a:lnTo>
                        <a:pt x="1079" y="355"/>
                      </a:lnTo>
                      <a:lnTo>
                        <a:pt x="1078" y="358"/>
                      </a:lnTo>
                      <a:lnTo>
                        <a:pt x="1077" y="362"/>
                      </a:lnTo>
                      <a:lnTo>
                        <a:pt x="1078" y="364"/>
                      </a:lnTo>
                      <a:lnTo>
                        <a:pt x="1080" y="364"/>
                      </a:lnTo>
                      <a:lnTo>
                        <a:pt x="1086" y="365"/>
                      </a:lnTo>
                      <a:lnTo>
                        <a:pt x="1089" y="368"/>
                      </a:lnTo>
                      <a:lnTo>
                        <a:pt x="1091" y="370"/>
                      </a:lnTo>
                      <a:lnTo>
                        <a:pt x="1094" y="378"/>
                      </a:lnTo>
                      <a:lnTo>
                        <a:pt x="1101" y="387"/>
                      </a:lnTo>
                      <a:lnTo>
                        <a:pt x="1103" y="391"/>
                      </a:lnTo>
                      <a:lnTo>
                        <a:pt x="1105" y="397"/>
                      </a:lnTo>
                      <a:lnTo>
                        <a:pt x="1106" y="402"/>
                      </a:lnTo>
                      <a:lnTo>
                        <a:pt x="1108" y="408"/>
                      </a:lnTo>
                      <a:lnTo>
                        <a:pt x="1108" y="410"/>
                      </a:lnTo>
                      <a:lnTo>
                        <a:pt x="1108" y="413"/>
                      </a:lnTo>
                      <a:lnTo>
                        <a:pt x="1108" y="415"/>
                      </a:lnTo>
                      <a:lnTo>
                        <a:pt x="1107" y="419"/>
                      </a:lnTo>
                      <a:lnTo>
                        <a:pt x="1102" y="427"/>
                      </a:lnTo>
                      <a:lnTo>
                        <a:pt x="1097" y="435"/>
                      </a:lnTo>
                      <a:lnTo>
                        <a:pt x="1096" y="439"/>
                      </a:lnTo>
                      <a:lnTo>
                        <a:pt x="1092" y="440"/>
                      </a:lnTo>
                      <a:lnTo>
                        <a:pt x="1083" y="445"/>
                      </a:lnTo>
                      <a:lnTo>
                        <a:pt x="1075" y="448"/>
                      </a:lnTo>
                      <a:lnTo>
                        <a:pt x="1068" y="454"/>
                      </a:lnTo>
                      <a:lnTo>
                        <a:pt x="1065" y="458"/>
                      </a:lnTo>
                      <a:lnTo>
                        <a:pt x="1064" y="461"/>
                      </a:lnTo>
                      <a:lnTo>
                        <a:pt x="1065" y="464"/>
                      </a:lnTo>
                      <a:lnTo>
                        <a:pt x="1069" y="467"/>
                      </a:lnTo>
                      <a:lnTo>
                        <a:pt x="1082" y="492"/>
                      </a:lnTo>
                      <a:lnTo>
                        <a:pt x="1082" y="496"/>
                      </a:lnTo>
                      <a:lnTo>
                        <a:pt x="1082" y="500"/>
                      </a:lnTo>
                      <a:lnTo>
                        <a:pt x="1083" y="504"/>
                      </a:lnTo>
                      <a:lnTo>
                        <a:pt x="1084" y="507"/>
                      </a:lnTo>
                      <a:lnTo>
                        <a:pt x="1087" y="515"/>
                      </a:lnTo>
                      <a:lnTo>
                        <a:pt x="1089" y="522"/>
                      </a:lnTo>
                      <a:lnTo>
                        <a:pt x="1089" y="529"/>
                      </a:lnTo>
                      <a:lnTo>
                        <a:pt x="1088" y="536"/>
                      </a:lnTo>
                      <a:lnTo>
                        <a:pt x="1086" y="539"/>
                      </a:lnTo>
                      <a:lnTo>
                        <a:pt x="1083" y="543"/>
                      </a:lnTo>
                      <a:lnTo>
                        <a:pt x="1079" y="545"/>
                      </a:lnTo>
                      <a:lnTo>
                        <a:pt x="1075" y="547"/>
                      </a:lnTo>
                      <a:lnTo>
                        <a:pt x="1075" y="544"/>
                      </a:lnTo>
                      <a:lnTo>
                        <a:pt x="1074" y="541"/>
                      </a:lnTo>
                      <a:lnTo>
                        <a:pt x="1073" y="539"/>
                      </a:lnTo>
                      <a:lnTo>
                        <a:pt x="1070" y="539"/>
                      </a:lnTo>
                      <a:lnTo>
                        <a:pt x="1068" y="541"/>
                      </a:lnTo>
                      <a:lnTo>
                        <a:pt x="1068" y="542"/>
                      </a:lnTo>
                      <a:lnTo>
                        <a:pt x="1066" y="547"/>
                      </a:lnTo>
                      <a:lnTo>
                        <a:pt x="1064" y="550"/>
                      </a:lnTo>
                      <a:lnTo>
                        <a:pt x="1063" y="550"/>
                      </a:lnTo>
                      <a:lnTo>
                        <a:pt x="1060" y="550"/>
                      </a:lnTo>
                      <a:lnTo>
                        <a:pt x="1054" y="547"/>
                      </a:lnTo>
                      <a:lnTo>
                        <a:pt x="1050" y="545"/>
                      </a:lnTo>
                      <a:lnTo>
                        <a:pt x="1046" y="545"/>
                      </a:lnTo>
                      <a:lnTo>
                        <a:pt x="1045" y="544"/>
                      </a:lnTo>
                      <a:lnTo>
                        <a:pt x="1045" y="543"/>
                      </a:lnTo>
                      <a:lnTo>
                        <a:pt x="1045" y="541"/>
                      </a:lnTo>
                      <a:lnTo>
                        <a:pt x="1046" y="539"/>
                      </a:lnTo>
                      <a:lnTo>
                        <a:pt x="1046" y="538"/>
                      </a:lnTo>
                      <a:lnTo>
                        <a:pt x="1046" y="537"/>
                      </a:lnTo>
                      <a:lnTo>
                        <a:pt x="1036" y="528"/>
                      </a:lnTo>
                      <a:lnTo>
                        <a:pt x="1032" y="524"/>
                      </a:lnTo>
                      <a:lnTo>
                        <a:pt x="1027" y="518"/>
                      </a:lnTo>
                      <a:lnTo>
                        <a:pt x="1026" y="517"/>
                      </a:lnTo>
                      <a:lnTo>
                        <a:pt x="1023" y="517"/>
                      </a:lnTo>
                      <a:lnTo>
                        <a:pt x="1021" y="516"/>
                      </a:lnTo>
                      <a:lnTo>
                        <a:pt x="1018" y="515"/>
                      </a:lnTo>
                      <a:lnTo>
                        <a:pt x="1017" y="511"/>
                      </a:lnTo>
                      <a:lnTo>
                        <a:pt x="1017" y="509"/>
                      </a:lnTo>
                      <a:lnTo>
                        <a:pt x="1017" y="498"/>
                      </a:lnTo>
                      <a:lnTo>
                        <a:pt x="1017" y="487"/>
                      </a:lnTo>
                      <a:lnTo>
                        <a:pt x="1018" y="483"/>
                      </a:lnTo>
                      <a:lnTo>
                        <a:pt x="1018" y="480"/>
                      </a:lnTo>
                      <a:lnTo>
                        <a:pt x="1017" y="478"/>
                      </a:lnTo>
                      <a:lnTo>
                        <a:pt x="1014" y="475"/>
                      </a:lnTo>
                      <a:lnTo>
                        <a:pt x="1012" y="472"/>
                      </a:lnTo>
                      <a:lnTo>
                        <a:pt x="1011" y="466"/>
                      </a:lnTo>
                      <a:lnTo>
                        <a:pt x="1011" y="454"/>
                      </a:lnTo>
                      <a:lnTo>
                        <a:pt x="1011" y="453"/>
                      </a:lnTo>
                      <a:lnTo>
                        <a:pt x="1008" y="452"/>
                      </a:lnTo>
                      <a:lnTo>
                        <a:pt x="1004" y="452"/>
                      </a:lnTo>
                      <a:lnTo>
                        <a:pt x="998" y="453"/>
                      </a:lnTo>
                      <a:lnTo>
                        <a:pt x="994" y="453"/>
                      </a:lnTo>
                      <a:lnTo>
                        <a:pt x="988" y="451"/>
                      </a:lnTo>
                      <a:lnTo>
                        <a:pt x="983" y="448"/>
                      </a:lnTo>
                      <a:lnTo>
                        <a:pt x="980" y="448"/>
                      </a:lnTo>
                      <a:lnTo>
                        <a:pt x="978" y="448"/>
                      </a:lnTo>
                      <a:lnTo>
                        <a:pt x="975" y="449"/>
                      </a:lnTo>
                      <a:lnTo>
                        <a:pt x="972" y="448"/>
                      </a:lnTo>
                      <a:lnTo>
                        <a:pt x="971" y="448"/>
                      </a:lnTo>
                      <a:lnTo>
                        <a:pt x="970" y="446"/>
                      </a:lnTo>
                      <a:lnTo>
                        <a:pt x="967" y="443"/>
                      </a:lnTo>
                      <a:lnTo>
                        <a:pt x="962" y="441"/>
                      </a:lnTo>
                      <a:lnTo>
                        <a:pt x="959" y="439"/>
                      </a:lnTo>
                      <a:lnTo>
                        <a:pt x="955" y="435"/>
                      </a:lnTo>
                      <a:lnTo>
                        <a:pt x="951" y="432"/>
                      </a:lnTo>
                      <a:lnTo>
                        <a:pt x="948" y="432"/>
                      </a:lnTo>
                      <a:lnTo>
                        <a:pt x="946" y="432"/>
                      </a:lnTo>
                      <a:lnTo>
                        <a:pt x="943" y="430"/>
                      </a:lnTo>
                      <a:lnTo>
                        <a:pt x="939" y="429"/>
                      </a:lnTo>
                      <a:lnTo>
                        <a:pt x="936" y="426"/>
                      </a:lnTo>
                      <a:lnTo>
                        <a:pt x="933" y="424"/>
                      </a:lnTo>
                      <a:lnTo>
                        <a:pt x="931" y="423"/>
                      </a:lnTo>
                      <a:lnTo>
                        <a:pt x="927" y="417"/>
                      </a:lnTo>
                      <a:lnTo>
                        <a:pt x="924" y="413"/>
                      </a:lnTo>
                      <a:lnTo>
                        <a:pt x="922" y="411"/>
                      </a:lnTo>
                      <a:lnTo>
                        <a:pt x="920" y="413"/>
                      </a:lnTo>
                      <a:lnTo>
                        <a:pt x="918" y="413"/>
                      </a:lnTo>
                      <a:lnTo>
                        <a:pt x="915" y="413"/>
                      </a:lnTo>
                      <a:lnTo>
                        <a:pt x="913" y="410"/>
                      </a:lnTo>
                      <a:lnTo>
                        <a:pt x="910" y="408"/>
                      </a:lnTo>
                      <a:lnTo>
                        <a:pt x="908" y="407"/>
                      </a:lnTo>
                      <a:lnTo>
                        <a:pt x="904" y="405"/>
                      </a:lnTo>
                      <a:lnTo>
                        <a:pt x="898" y="402"/>
                      </a:lnTo>
                      <a:lnTo>
                        <a:pt x="892" y="401"/>
                      </a:lnTo>
                      <a:lnTo>
                        <a:pt x="886" y="400"/>
                      </a:lnTo>
                      <a:lnTo>
                        <a:pt x="880" y="400"/>
                      </a:lnTo>
                      <a:lnTo>
                        <a:pt x="872" y="398"/>
                      </a:lnTo>
                      <a:lnTo>
                        <a:pt x="868" y="397"/>
                      </a:lnTo>
                      <a:lnTo>
                        <a:pt x="865" y="396"/>
                      </a:lnTo>
                      <a:lnTo>
                        <a:pt x="852" y="395"/>
                      </a:lnTo>
                      <a:lnTo>
                        <a:pt x="848" y="396"/>
                      </a:lnTo>
                      <a:lnTo>
                        <a:pt x="843" y="397"/>
                      </a:lnTo>
                      <a:lnTo>
                        <a:pt x="839" y="398"/>
                      </a:lnTo>
                      <a:lnTo>
                        <a:pt x="838" y="398"/>
                      </a:lnTo>
                      <a:lnTo>
                        <a:pt x="835" y="397"/>
                      </a:lnTo>
                      <a:lnTo>
                        <a:pt x="835" y="396"/>
                      </a:lnTo>
                      <a:lnTo>
                        <a:pt x="835" y="394"/>
                      </a:lnTo>
                      <a:lnTo>
                        <a:pt x="837" y="390"/>
                      </a:lnTo>
                      <a:lnTo>
                        <a:pt x="837" y="388"/>
                      </a:lnTo>
                      <a:lnTo>
                        <a:pt x="835" y="385"/>
                      </a:lnTo>
                      <a:lnTo>
                        <a:pt x="834" y="384"/>
                      </a:lnTo>
                      <a:lnTo>
                        <a:pt x="833" y="382"/>
                      </a:lnTo>
                      <a:lnTo>
                        <a:pt x="833" y="378"/>
                      </a:lnTo>
                      <a:lnTo>
                        <a:pt x="834" y="376"/>
                      </a:lnTo>
                      <a:lnTo>
                        <a:pt x="835" y="373"/>
                      </a:lnTo>
                      <a:lnTo>
                        <a:pt x="835" y="370"/>
                      </a:lnTo>
                      <a:lnTo>
                        <a:pt x="834" y="369"/>
                      </a:lnTo>
                      <a:lnTo>
                        <a:pt x="833" y="368"/>
                      </a:lnTo>
                      <a:lnTo>
                        <a:pt x="832" y="365"/>
                      </a:lnTo>
                      <a:lnTo>
                        <a:pt x="832" y="364"/>
                      </a:lnTo>
                      <a:lnTo>
                        <a:pt x="833" y="363"/>
                      </a:lnTo>
                      <a:lnTo>
                        <a:pt x="834" y="359"/>
                      </a:lnTo>
                      <a:lnTo>
                        <a:pt x="835" y="357"/>
                      </a:lnTo>
                      <a:lnTo>
                        <a:pt x="833" y="356"/>
                      </a:lnTo>
                      <a:lnTo>
                        <a:pt x="826" y="356"/>
                      </a:lnTo>
                      <a:lnTo>
                        <a:pt x="820" y="358"/>
                      </a:lnTo>
                      <a:lnTo>
                        <a:pt x="812" y="360"/>
                      </a:lnTo>
                      <a:lnTo>
                        <a:pt x="810" y="362"/>
                      </a:lnTo>
                      <a:lnTo>
                        <a:pt x="809" y="364"/>
                      </a:lnTo>
                      <a:lnTo>
                        <a:pt x="807" y="364"/>
                      </a:lnTo>
                      <a:lnTo>
                        <a:pt x="806" y="363"/>
                      </a:lnTo>
                      <a:lnTo>
                        <a:pt x="805" y="358"/>
                      </a:lnTo>
                      <a:lnTo>
                        <a:pt x="805" y="355"/>
                      </a:lnTo>
                      <a:lnTo>
                        <a:pt x="807" y="347"/>
                      </a:lnTo>
                      <a:lnTo>
                        <a:pt x="809" y="343"/>
                      </a:lnTo>
                      <a:lnTo>
                        <a:pt x="809" y="337"/>
                      </a:lnTo>
                      <a:lnTo>
                        <a:pt x="806" y="326"/>
                      </a:lnTo>
                      <a:lnTo>
                        <a:pt x="805" y="317"/>
                      </a:lnTo>
                      <a:lnTo>
                        <a:pt x="805" y="311"/>
                      </a:lnTo>
                      <a:lnTo>
                        <a:pt x="805" y="307"/>
                      </a:lnTo>
                      <a:lnTo>
                        <a:pt x="807" y="305"/>
                      </a:lnTo>
                      <a:lnTo>
                        <a:pt x="809" y="302"/>
                      </a:lnTo>
                      <a:lnTo>
                        <a:pt x="811" y="300"/>
                      </a:lnTo>
                      <a:lnTo>
                        <a:pt x="812" y="298"/>
                      </a:lnTo>
                      <a:lnTo>
                        <a:pt x="815" y="290"/>
                      </a:lnTo>
                      <a:lnTo>
                        <a:pt x="816" y="282"/>
                      </a:lnTo>
                      <a:lnTo>
                        <a:pt x="818" y="280"/>
                      </a:lnTo>
                      <a:lnTo>
                        <a:pt x="820" y="279"/>
                      </a:lnTo>
                      <a:lnTo>
                        <a:pt x="828" y="277"/>
                      </a:lnTo>
                      <a:lnTo>
                        <a:pt x="829" y="276"/>
                      </a:lnTo>
                      <a:lnTo>
                        <a:pt x="832" y="274"/>
                      </a:lnTo>
                      <a:lnTo>
                        <a:pt x="834" y="269"/>
                      </a:lnTo>
                      <a:lnTo>
                        <a:pt x="837" y="267"/>
                      </a:lnTo>
                      <a:lnTo>
                        <a:pt x="839" y="266"/>
                      </a:lnTo>
                      <a:lnTo>
                        <a:pt x="842" y="263"/>
                      </a:lnTo>
                      <a:lnTo>
                        <a:pt x="844" y="261"/>
                      </a:lnTo>
                      <a:lnTo>
                        <a:pt x="846" y="257"/>
                      </a:lnTo>
                      <a:lnTo>
                        <a:pt x="846" y="255"/>
                      </a:lnTo>
                      <a:lnTo>
                        <a:pt x="844" y="253"/>
                      </a:lnTo>
                      <a:lnTo>
                        <a:pt x="843" y="250"/>
                      </a:lnTo>
                      <a:lnTo>
                        <a:pt x="838" y="245"/>
                      </a:lnTo>
                      <a:lnTo>
                        <a:pt x="833" y="242"/>
                      </a:lnTo>
                      <a:lnTo>
                        <a:pt x="834" y="241"/>
                      </a:lnTo>
                      <a:lnTo>
                        <a:pt x="837" y="241"/>
                      </a:lnTo>
                      <a:lnTo>
                        <a:pt x="839" y="242"/>
                      </a:lnTo>
                      <a:lnTo>
                        <a:pt x="843" y="243"/>
                      </a:lnTo>
                      <a:lnTo>
                        <a:pt x="847" y="243"/>
                      </a:lnTo>
                      <a:lnTo>
                        <a:pt x="851" y="244"/>
                      </a:lnTo>
                      <a:lnTo>
                        <a:pt x="859" y="248"/>
                      </a:lnTo>
                      <a:lnTo>
                        <a:pt x="862" y="249"/>
                      </a:lnTo>
                      <a:lnTo>
                        <a:pt x="863" y="249"/>
                      </a:lnTo>
                      <a:lnTo>
                        <a:pt x="865" y="248"/>
                      </a:lnTo>
                      <a:lnTo>
                        <a:pt x="866" y="245"/>
                      </a:lnTo>
                      <a:lnTo>
                        <a:pt x="865" y="244"/>
                      </a:lnTo>
                      <a:lnTo>
                        <a:pt x="854" y="238"/>
                      </a:lnTo>
                      <a:lnTo>
                        <a:pt x="849" y="236"/>
                      </a:lnTo>
                      <a:lnTo>
                        <a:pt x="844" y="235"/>
                      </a:lnTo>
                      <a:lnTo>
                        <a:pt x="826" y="230"/>
                      </a:lnTo>
                      <a:lnTo>
                        <a:pt x="819" y="226"/>
                      </a:lnTo>
                      <a:lnTo>
                        <a:pt x="810" y="222"/>
                      </a:lnTo>
                      <a:lnTo>
                        <a:pt x="804" y="219"/>
                      </a:lnTo>
                      <a:lnTo>
                        <a:pt x="797" y="216"/>
                      </a:lnTo>
                      <a:lnTo>
                        <a:pt x="793" y="216"/>
                      </a:lnTo>
                      <a:lnTo>
                        <a:pt x="791" y="217"/>
                      </a:lnTo>
                      <a:lnTo>
                        <a:pt x="783" y="221"/>
                      </a:lnTo>
                      <a:lnTo>
                        <a:pt x="781" y="221"/>
                      </a:lnTo>
                      <a:lnTo>
                        <a:pt x="779" y="218"/>
                      </a:lnTo>
                      <a:lnTo>
                        <a:pt x="777" y="216"/>
                      </a:lnTo>
                      <a:lnTo>
                        <a:pt x="774" y="212"/>
                      </a:lnTo>
                      <a:lnTo>
                        <a:pt x="769" y="207"/>
                      </a:lnTo>
                      <a:lnTo>
                        <a:pt x="769" y="206"/>
                      </a:lnTo>
                      <a:lnTo>
                        <a:pt x="772" y="206"/>
                      </a:lnTo>
                      <a:lnTo>
                        <a:pt x="774" y="207"/>
                      </a:lnTo>
                      <a:lnTo>
                        <a:pt x="778" y="206"/>
                      </a:lnTo>
                      <a:lnTo>
                        <a:pt x="782" y="206"/>
                      </a:lnTo>
                      <a:lnTo>
                        <a:pt x="785" y="207"/>
                      </a:lnTo>
                      <a:lnTo>
                        <a:pt x="807" y="215"/>
                      </a:lnTo>
                      <a:lnTo>
                        <a:pt x="818" y="218"/>
                      </a:lnTo>
                      <a:lnTo>
                        <a:pt x="830" y="222"/>
                      </a:lnTo>
                      <a:lnTo>
                        <a:pt x="833" y="223"/>
                      </a:lnTo>
                      <a:lnTo>
                        <a:pt x="837" y="224"/>
                      </a:lnTo>
                      <a:lnTo>
                        <a:pt x="840" y="224"/>
                      </a:lnTo>
                      <a:lnTo>
                        <a:pt x="846" y="224"/>
                      </a:lnTo>
                      <a:lnTo>
                        <a:pt x="854" y="228"/>
                      </a:lnTo>
                      <a:lnTo>
                        <a:pt x="863" y="232"/>
                      </a:lnTo>
                      <a:lnTo>
                        <a:pt x="871" y="238"/>
                      </a:lnTo>
                      <a:lnTo>
                        <a:pt x="876" y="241"/>
                      </a:lnTo>
                      <a:lnTo>
                        <a:pt x="879" y="241"/>
                      </a:lnTo>
                      <a:lnTo>
                        <a:pt x="881" y="240"/>
                      </a:lnTo>
                      <a:lnTo>
                        <a:pt x="884" y="238"/>
                      </a:lnTo>
                      <a:lnTo>
                        <a:pt x="885" y="237"/>
                      </a:lnTo>
                      <a:lnTo>
                        <a:pt x="884" y="236"/>
                      </a:lnTo>
                      <a:lnTo>
                        <a:pt x="881" y="231"/>
                      </a:lnTo>
                      <a:lnTo>
                        <a:pt x="877" y="228"/>
                      </a:lnTo>
                      <a:lnTo>
                        <a:pt x="877" y="226"/>
                      </a:lnTo>
                      <a:lnTo>
                        <a:pt x="876" y="225"/>
                      </a:lnTo>
                      <a:lnTo>
                        <a:pt x="879" y="224"/>
                      </a:lnTo>
                      <a:lnTo>
                        <a:pt x="881" y="222"/>
                      </a:lnTo>
                      <a:lnTo>
                        <a:pt x="884" y="222"/>
                      </a:lnTo>
                      <a:lnTo>
                        <a:pt x="890" y="221"/>
                      </a:lnTo>
                      <a:lnTo>
                        <a:pt x="895" y="219"/>
                      </a:lnTo>
                      <a:lnTo>
                        <a:pt x="901" y="218"/>
                      </a:lnTo>
                      <a:lnTo>
                        <a:pt x="906" y="217"/>
                      </a:lnTo>
                      <a:lnTo>
                        <a:pt x="910" y="213"/>
                      </a:lnTo>
                      <a:lnTo>
                        <a:pt x="915" y="211"/>
                      </a:lnTo>
                      <a:lnTo>
                        <a:pt x="922" y="203"/>
                      </a:lnTo>
                      <a:lnTo>
                        <a:pt x="927" y="193"/>
                      </a:lnTo>
                      <a:lnTo>
                        <a:pt x="927" y="192"/>
                      </a:lnTo>
                      <a:lnTo>
                        <a:pt x="924" y="191"/>
                      </a:lnTo>
                      <a:lnTo>
                        <a:pt x="919" y="190"/>
                      </a:lnTo>
                      <a:lnTo>
                        <a:pt x="918" y="190"/>
                      </a:lnTo>
                      <a:lnTo>
                        <a:pt x="915" y="190"/>
                      </a:lnTo>
                      <a:lnTo>
                        <a:pt x="912" y="187"/>
                      </a:lnTo>
                      <a:lnTo>
                        <a:pt x="906" y="186"/>
                      </a:lnTo>
                      <a:lnTo>
                        <a:pt x="898" y="186"/>
                      </a:lnTo>
                      <a:lnTo>
                        <a:pt x="896" y="186"/>
                      </a:lnTo>
                      <a:lnTo>
                        <a:pt x="894" y="184"/>
                      </a:lnTo>
                      <a:lnTo>
                        <a:pt x="894" y="181"/>
                      </a:lnTo>
                      <a:lnTo>
                        <a:pt x="892" y="179"/>
                      </a:lnTo>
                      <a:lnTo>
                        <a:pt x="886" y="174"/>
                      </a:lnTo>
                      <a:lnTo>
                        <a:pt x="885" y="173"/>
                      </a:lnTo>
                      <a:lnTo>
                        <a:pt x="884" y="172"/>
                      </a:lnTo>
                      <a:lnTo>
                        <a:pt x="885" y="171"/>
                      </a:lnTo>
                      <a:lnTo>
                        <a:pt x="886" y="170"/>
                      </a:lnTo>
                      <a:lnTo>
                        <a:pt x="887" y="168"/>
                      </a:lnTo>
                      <a:lnTo>
                        <a:pt x="892" y="170"/>
                      </a:lnTo>
                      <a:lnTo>
                        <a:pt x="896" y="173"/>
                      </a:lnTo>
                      <a:lnTo>
                        <a:pt x="901" y="174"/>
                      </a:lnTo>
                      <a:lnTo>
                        <a:pt x="915" y="177"/>
                      </a:lnTo>
                      <a:lnTo>
                        <a:pt x="929" y="180"/>
                      </a:lnTo>
                      <a:lnTo>
                        <a:pt x="931" y="178"/>
                      </a:lnTo>
                      <a:lnTo>
                        <a:pt x="932" y="177"/>
                      </a:lnTo>
                      <a:lnTo>
                        <a:pt x="933" y="174"/>
                      </a:lnTo>
                      <a:lnTo>
                        <a:pt x="938" y="173"/>
                      </a:lnTo>
                      <a:lnTo>
                        <a:pt x="941" y="173"/>
                      </a:lnTo>
                      <a:lnTo>
                        <a:pt x="942" y="171"/>
                      </a:lnTo>
                      <a:lnTo>
                        <a:pt x="943" y="167"/>
                      </a:lnTo>
                      <a:lnTo>
                        <a:pt x="943" y="165"/>
                      </a:lnTo>
                      <a:lnTo>
                        <a:pt x="943" y="158"/>
                      </a:lnTo>
                      <a:lnTo>
                        <a:pt x="942" y="151"/>
                      </a:lnTo>
                      <a:lnTo>
                        <a:pt x="943" y="147"/>
                      </a:lnTo>
                      <a:lnTo>
                        <a:pt x="946" y="146"/>
                      </a:lnTo>
                      <a:lnTo>
                        <a:pt x="952" y="145"/>
                      </a:lnTo>
                      <a:lnTo>
                        <a:pt x="955" y="145"/>
                      </a:lnTo>
                      <a:lnTo>
                        <a:pt x="957" y="142"/>
                      </a:lnTo>
                      <a:lnTo>
                        <a:pt x="959" y="142"/>
                      </a:lnTo>
                      <a:lnTo>
                        <a:pt x="960" y="143"/>
                      </a:lnTo>
                      <a:lnTo>
                        <a:pt x="960" y="151"/>
                      </a:lnTo>
                      <a:lnTo>
                        <a:pt x="961" y="153"/>
                      </a:lnTo>
                      <a:lnTo>
                        <a:pt x="962" y="154"/>
                      </a:lnTo>
                      <a:lnTo>
                        <a:pt x="965" y="154"/>
                      </a:lnTo>
                      <a:lnTo>
                        <a:pt x="976" y="153"/>
                      </a:lnTo>
                      <a:lnTo>
                        <a:pt x="981" y="154"/>
                      </a:lnTo>
                      <a:lnTo>
                        <a:pt x="986" y="155"/>
                      </a:lnTo>
                      <a:lnTo>
                        <a:pt x="986" y="152"/>
                      </a:lnTo>
                      <a:lnTo>
                        <a:pt x="984" y="148"/>
                      </a:lnTo>
                      <a:lnTo>
                        <a:pt x="979" y="145"/>
                      </a:lnTo>
                      <a:lnTo>
                        <a:pt x="975" y="141"/>
                      </a:lnTo>
                      <a:lnTo>
                        <a:pt x="972" y="136"/>
                      </a:lnTo>
                      <a:lnTo>
                        <a:pt x="972" y="135"/>
                      </a:lnTo>
                      <a:lnTo>
                        <a:pt x="972" y="133"/>
                      </a:lnTo>
                      <a:lnTo>
                        <a:pt x="975" y="132"/>
                      </a:lnTo>
                      <a:lnTo>
                        <a:pt x="978" y="133"/>
                      </a:lnTo>
                      <a:lnTo>
                        <a:pt x="983" y="136"/>
                      </a:lnTo>
                      <a:lnTo>
                        <a:pt x="986" y="138"/>
                      </a:lnTo>
                      <a:lnTo>
                        <a:pt x="988" y="140"/>
                      </a:lnTo>
                      <a:lnTo>
                        <a:pt x="993" y="147"/>
                      </a:lnTo>
                      <a:lnTo>
                        <a:pt x="997" y="149"/>
                      </a:lnTo>
                      <a:lnTo>
                        <a:pt x="1000" y="152"/>
                      </a:lnTo>
                      <a:lnTo>
                        <a:pt x="1003" y="153"/>
                      </a:lnTo>
                      <a:lnTo>
                        <a:pt x="1006" y="155"/>
                      </a:lnTo>
                      <a:lnTo>
                        <a:pt x="1008" y="158"/>
                      </a:lnTo>
                      <a:lnTo>
                        <a:pt x="1011" y="158"/>
                      </a:lnTo>
                      <a:lnTo>
                        <a:pt x="1012" y="157"/>
                      </a:lnTo>
                      <a:lnTo>
                        <a:pt x="1013" y="154"/>
                      </a:lnTo>
                      <a:lnTo>
                        <a:pt x="1012" y="152"/>
                      </a:lnTo>
                      <a:lnTo>
                        <a:pt x="1011" y="149"/>
                      </a:lnTo>
                      <a:lnTo>
                        <a:pt x="1009" y="147"/>
                      </a:lnTo>
                      <a:lnTo>
                        <a:pt x="1009" y="145"/>
                      </a:lnTo>
                      <a:lnTo>
                        <a:pt x="1011" y="142"/>
                      </a:lnTo>
                      <a:lnTo>
                        <a:pt x="1013" y="140"/>
                      </a:lnTo>
                      <a:lnTo>
                        <a:pt x="1019" y="138"/>
                      </a:lnTo>
                      <a:lnTo>
                        <a:pt x="1022" y="135"/>
                      </a:lnTo>
                      <a:lnTo>
                        <a:pt x="1023" y="133"/>
                      </a:lnTo>
                      <a:lnTo>
                        <a:pt x="1026" y="132"/>
                      </a:lnTo>
                      <a:lnTo>
                        <a:pt x="1028" y="130"/>
                      </a:lnTo>
                      <a:lnTo>
                        <a:pt x="1031" y="130"/>
                      </a:lnTo>
                      <a:lnTo>
                        <a:pt x="1033" y="129"/>
                      </a:lnTo>
                      <a:lnTo>
                        <a:pt x="1036" y="127"/>
                      </a:lnTo>
                      <a:lnTo>
                        <a:pt x="1037" y="126"/>
                      </a:lnTo>
                      <a:lnTo>
                        <a:pt x="1037" y="125"/>
                      </a:lnTo>
                      <a:lnTo>
                        <a:pt x="1036" y="123"/>
                      </a:lnTo>
                      <a:lnTo>
                        <a:pt x="1035" y="125"/>
                      </a:lnTo>
                      <a:lnTo>
                        <a:pt x="1031" y="126"/>
                      </a:lnTo>
                      <a:lnTo>
                        <a:pt x="1030" y="126"/>
                      </a:lnTo>
                      <a:lnTo>
                        <a:pt x="1028" y="126"/>
                      </a:lnTo>
                      <a:lnTo>
                        <a:pt x="1026" y="123"/>
                      </a:lnTo>
                      <a:lnTo>
                        <a:pt x="1023" y="117"/>
                      </a:lnTo>
                      <a:lnTo>
                        <a:pt x="1021" y="110"/>
                      </a:lnTo>
                      <a:lnTo>
                        <a:pt x="1018" y="104"/>
                      </a:lnTo>
                      <a:lnTo>
                        <a:pt x="1016" y="101"/>
                      </a:lnTo>
                      <a:lnTo>
                        <a:pt x="1013" y="98"/>
                      </a:lnTo>
                      <a:lnTo>
                        <a:pt x="1012" y="97"/>
                      </a:lnTo>
                      <a:lnTo>
                        <a:pt x="1012" y="95"/>
                      </a:lnTo>
                      <a:lnTo>
                        <a:pt x="1013" y="94"/>
                      </a:lnTo>
                      <a:lnTo>
                        <a:pt x="1016" y="94"/>
                      </a:lnTo>
                      <a:lnTo>
                        <a:pt x="1021" y="94"/>
                      </a:lnTo>
                      <a:lnTo>
                        <a:pt x="1025" y="95"/>
                      </a:lnTo>
                      <a:lnTo>
                        <a:pt x="1030" y="96"/>
                      </a:lnTo>
                      <a:lnTo>
                        <a:pt x="1031" y="95"/>
                      </a:lnTo>
                      <a:lnTo>
                        <a:pt x="1033" y="92"/>
                      </a:lnTo>
                      <a:lnTo>
                        <a:pt x="1033" y="90"/>
                      </a:lnTo>
                      <a:lnTo>
                        <a:pt x="1033" y="88"/>
                      </a:lnTo>
                      <a:lnTo>
                        <a:pt x="1033" y="82"/>
                      </a:lnTo>
                      <a:lnTo>
                        <a:pt x="1036" y="77"/>
                      </a:lnTo>
                      <a:lnTo>
                        <a:pt x="1036" y="76"/>
                      </a:lnTo>
                      <a:lnTo>
                        <a:pt x="1036" y="75"/>
                      </a:lnTo>
                      <a:lnTo>
                        <a:pt x="1030" y="75"/>
                      </a:lnTo>
                      <a:lnTo>
                        <a:pt x="1023" y="74"/>
                      </a:lnTo>
                      <a:lnTo>
                        <a:pt x="1018" y="71"/>
                      </a:lnTo>
                      <a:lnTo>
                        <a:pt x="1016" y="70"/>
                      </a:lnTo>
                      <a:lnTo>
                        <a:pt x="1014" y="68"/>
                      </a:lnTo>
                      <a:lnTo>
                        <a:pt x="1016" y="65"/>
                      </a:lnTo>
                      <a:lnTo>
                        <a:pt x="1016" y="63"/>
                      </a:lnTo>
                      <a:lnTo>
                        <a:pt x="1003" y="63"/>
                      </a:lnTo>
                      <a:lnTo>
                        <a:pt x="992" y="63"/>
                      </a:lnTo>
                      <a:lnTo>
                        <a:pt x="985" y="63"/>
                      </a:lnTo>
                      <a:lnTo>
                        <a:pt x="980" y="62"/>
                      </a:lnTo>
                      <a:lnTo>
                        <a:pt x="975" y="59"/>
                      </a:lnTo>
                      <a:lnTo>
                        <a:pt x="970" y="56"/>
                      </a:lnTo>
                      <a:lnTo>
                        <a:pt x="967" y="55"/>
                      </a:lnTo>
                      <a:lnTo>
                        <a:pt x="966" y="55"/>
                      </a:lnTo>
                      <a:lnTo>
                        <a:pt x="964" y="56"/>
                      </a:lnTo>
                      <a:lnTo>
                        <a:pt x="964" y="58"/>
                      </a:lnTo>
                      <a:lnTo>
                        <a:pt x="962" y="62"/>
                      </a:lnTo>
                      <a:lnTo>
                        <a:pt x="964" y="65"/>
                      </a:lnTo>
                      <a:lnTo>
                        <a:pt x="966" y="71"/>
                      </a:lnTo>
                      <a:lnTo>
                        <a:pt x="970" y="76"/>
                      </a:lnTo>
                      <a:lnTo>
                        <a:pt x="975" y="81"/>
                      </a:lnTo>
                      <a:lnTo>
                        <a:pt x="975" y="82"/>
                      </a:lnTo>
                      <a:lnTo>
                        <a:pt x="975" y="83"/>
                      </a:lnTo>
                      <a:lnTo>
                        <a:pt x="967" y="87"/>
                      </a:lnTo>
                      <a:lnTo>
                        <a:pt x="961" y="91"/>
                      </a:lnTo>
                      <a:lnTo>
                        <a:pt x="956" y="97"/>
                      </a:lnTo>
                      <a:lnTo>
                        <a:pt x="952" y="104"/>
                      </a:lnTo>
                      <a:lnTo>
                        <a:pt x="952" y="109"/>
                      </a:lnTo>
                      <a:lnTo>
                        <a:pt x="951" y="114"/>
                      </a:lnTo>
                      <a:lnTo>
                        <a:pt x="951" y="119"/>
                      </a:lnTo>
                      <a:lnTo>
                        <a:pt x="948" y="122"/>
                      </a:lnTo>
                      <a:lnTo>
                        <a:pt x="942" y="126"/>
                      </a:lnTo>
                      <a:lnTo>
                        <a:pt x="937" y="132"/>
                      </a:lnTo>
                      <a:lnTo>
                        <a:pt x="936" y="133"/>
                      </a:lnTo>
                      <a:lnTo>
                        <a:pt x="934" y="133"/>
                      </a:lnTo>
                      <a:lnTo>
                        <a:pt x="932" y="132"/>
                      </a:lnTo>
                      <a:lnTo>
                        <a:pt x="929" y="128"/>
                      </a:lnTo>
                      <a:lnTo>
                        <a:pt x="927" y="126"/>
                      </a:lnTo>
                      <a:lnTo>
                        <a:pt x="923" y="125"/>
                      </a:lnTo>
                      <a:lnTo>
                        <a:pt x="919" y="121"/>
                      </a:lnTo>
                      <a:lnTo>
                        <a:pt x="915" y="113"/>
                      </a:lnTo>
                      <a:lnTo>
                        <a:pt x="914" y="103"/>
                      </a:lnTo>
                      <a:lnTo>
                        <a:pt x="914" y="95"/>
                      </a:lnTo>
                      <a:lnTo>
                        <a:pt x="915" y="85"/>
                      </a:lnTo>
                      <a:lnTo>
                        <a:pt x="917" y="82"/>
                      </a:lnTo>
                      <a:lnTo>
                        <a:pt x="917" y="79"/>
                      </a:lnTo>
                      <a:lnTo>
                        <a:pt x="915" y="77"/>
                      </a:lnTo>
                      <a:lnTo>
                        <a:pt x="908" y="70"/>
                      </a:lnTo>
                      <a:lnTo>
                        <a:pt x="905" y="66"/>
                      </a:lnTo>
                      <a:lnTo>
                        <a:pt x="903" y="63"/>
                      </a:lnTo>
                      <a:lnTo>
                        <a:pt x="901" y="63"/>
                      </a:lnTo>
                      <a:lnTo>
                        <a:pt x="899" y="65"/>
                      </a:lnTo>
                      <a:lnTo>
                        <a:pt x="896" y="68"/>
                      </a:lnTo>
                      <a:lnTo>
                        <a:pt x="892" y="69"/>
                      </a:lnTo>
                      <a:lnTo>
                        <a:pt x="891" y="72"/>
                      </a:lnTo>
                      <a:lnTo>
                        <a:pt x="891" y="75"/>
                      </a:lnTo>
                      <a:lnTo>
                        <a:pt x="892" y="77"/>
                      </a:lnTo>
                      <a:lnTo>
                        <a:pt x="894" y="79"/>
                      </a:lnTo>
                      <a:lnTo>
                        <a:pt x="894" y="82"/>
                      </a:lnTo>
                      <a:lnTo>
                        <a:pt x="889" y="88"/>
                      </a:lnTo>
                      <a:lnTo>
                        <a:pt x="882" y="95"/>
                      </a:lnTo>
                      <a:lnTo>
                        <a:pt x="880" y="96"/>
                      </a:lnTo>
                      <a:lnTo>
                        <a:pt x="876" y="97"/>
                      </a:lnTo>
                      <a:lnTo>
                        <a:pt x="873" y="96"/>
                      </a:lnTo>
                      <a:lnTo>
                        <a:pt x="871" y="95"/>
                      </a:lnTo>
                      <a:lnTo>
                        <a:pt x="868" y="92"/>
                      </a:lnTo>
                      <a:lnTo>
                        <a:pt x="868" y="89"/>
                      </a:lnTo>
                      <a:lnTo>
                        <a:pt x="868" y="85"/>
                      </a:lnTo>
                      <a:lnTo>
                        <a:pt x="870" y="82"/>
                      </a:lnTo>
                      <a:lnTo>
                        <a:pt x="870" y="81"/>
                      </a:lnTo>
                      <a:lnTo>
                        <a:pt x="868" y="78"/>
                      </a:lnTo>
                      <a:lnTo>
                        <a:pt x="865" y="76"/>
                      </a:lnTo>
                      <a:lnTo>
                        <a:pt x="862" y="75"/>
                      </a:lnTo>
                      <a:lnTo>
                        <a:pt x="861" y="74"/>
                      </a:lnTo>
                      <a:lnTo>
                        <a:pt x="861" y="71"/>
                      </a:lnTo>
                      <a:lnTo>
                        <a:pt x="862" y="69"/>
                      </a:lnTo>
                      <a:lnTo>
                        <a:pt x="863" y="68"/>
                      </a:lnTo>
                      <a:lnTo>
                        <a:pt x="862" y="65"/>
                      </a:lnTo>
                      <a:lnTo>
                        <a:pt x="859" y="63"/>
                      </a:lnTo>
                      <a:lnTo>
                        <a:pt x="858" y="62"/>
                      </a:lnTo>
                      <a:lnTo>
                        <a:pt x="857" y="62"/>
                      </a:lnTo>
                      <a:lnTo>
                        <a:pt x="854" y="65"/>
                      </a:lnTo>
                      <a:lnTo>
                        <a:pt x="853" y="68"/>
                      </a:lnTo>
                      <a:lnTo>
                        <a:pt x="853" y="75"/>
                      </a:lnTo>
                      <a:lnTo>
                        <a:pt x="848" y="74"/>
                      </a:lnTo>
                      <a:lnTo>
                        <a:pt x="846" y="70"/>
                      </a:lnTo>
                      <a:lnTo>
                        <a:pt x="844" y="68"/>
                      </a:lnTo>
                      <a:lnTo>
                        <a:pt x="842" y="65"/>
                      </a:lnTo>
                      <a:lnTo>
                        <a:pt x="838" y="62"/>
                      </a:lnTo>
                      <a:lnTo>
                        <a:pt x="838" y="59"/>
                      </a:lnTo>
                      <a:lnTo>
                        <a:pt x="838" y="58"/>
                      </a:lnTo>
                      <a:lnTo>
                        <a:pt x="842" y="55"/>
                      </a:lnTo>
                      <a:lnTo>
                        <a:pt x="852" y="50"/>
                      </a:lnTo>
                      <a:lnTo>
                        <a:pt x="858" y="45"/>
                      </a:lnTo>
                      <a:lnTo>
                        <a:pt x="861" y="42"/>
                      </a:lnTo>
                      <a:lnTo>
                        <a:pt x="861" y="40"/>
                      </a:lnTo>
                      <a:lnTo>
                        <a:pt x="861" y="39"/>
                      </a:lnTo>
                      <a:lnTo>
                        <a:pt x="856" y="34"/>
                      </a:lnTo>
                      <a:lnTo>
                        <a:pt x="849" y="31"/>
                      </a:lnTo>
                      <a:lnTo>
                        <a:pt x="843" y="26"/>
                      </a:lnTo>
                      <a:lnTo>
                        <a:pt x="838" y="21"/>
                      </a:lnTo>
                      <a:lnTo>
                        <a:pt x="832" y="18"/>
                      </a:lnTo>
                      <a:lnTo>
                        <a:pt x="825" y="15"/>
                      </a:lnTo>
                      <a:lnTo>
                        <a:pt x="823" y="14"/>
                      </a:lnTo>
                      <a:lnTo>
                        <a:pt x="823" y="12"/>
                      </a:lnTo>
                      <a:lnTo>
                        <a:pt x="820" y="6"/>
                      </a:lnTo>
                      <a:lnTo>
                        <a:pt x="818" y="2"/>
                      </a:lnTo>
                      <a:lnTo>
                        <a:pt x="814" y="0"/>
                      </a:lnTo>
                      <a:lnTo>
                        <a:pt x="810" y="0"/>
                      </a:lnTo>
                      <a:lnTo>
                        <a:pt x="806" y="0"/>
                      </a:lnTo>
                      <a:lnTo>
                        <a:pt x="797" y="0"/>
                      </a:lnTo>
                      <a:lnTo>
                        <a:pt x="788" y="0"/>
                      </a:lnTo>
                      <a:lnTo>
                        <a:pt x="788" y="4"/>
                      </a:lnTo>
                      <a:lnTo>
                        <a:pt x="790" y="6"/>
                      </a:lnTo>
                      <a:lnTo>
                        <a:pt x="791" y="10"/>
                      </a:lnTo>
                      <a:lnTo>
                        <a:pt x="790" y="12"/>
                      </a:lnTo>
                      <a:lnTo>
                        <a:pt x="787" y="17"/>
                      </a:lnTo>
                      <a:lnTo>
                        <a:pt x="787" y="21"/>
                      </a:lnTo>
                      <a:lnTo>
                        <a:pt x="785" y="19"/>
                      </a:lnTo>
                      <a:lnTo>
                        <a:pt x="785" y="18"/>
                      </a:lnTo>
                      <a:lnTo>
                        <a:pt x="783" y="15"/>
                      </a:lnTo>
                      <a:lnTo>
                        <a:pt x="782" y="14"/>
                      </a:lnTo>
                      <a:lnTo>
                        <a:pt x="779" y="14"/>
                      </a:lnTo>
                      <a:lnTo>
                        <a:pt x="777" y="14"/>
                      </a:lnTo>
                      <a:lnTo>
                        <a:pt x="776" y="17"/>
                      </a:lnTo>
                      <a:lnTo>
                        <a:pt x="774" y="19"/>
                      </a:lnTo>
                      <a:lnTo>
                        <a:pt x="773" y="30"/>
                      </a:lnTo>
                      <a:lnTo>
                        <a:pt x="769" y="37"/>
                      </a:lnTo>
                      <a:lnTo>
                        <a:pt x="768" y="40"/>
                      </a:lnTo>
                      <a:lnTo>
                        <a:pt x="769" y="44"/>
                      </a:lnTo>
                      <a:lnTo>
                        <a:pt x="773" y="46"/>
                      </a:lnTo>
                      <a:lnTo>
                        <a:pt x="779" y="49"/>
                      </a:lnTo>
                      <a:lnTo>
                        <a:pt x="785" y="51"/>
                      </a:lnTo>
                      <a:lnTo>
                        <a:pt x="787" y="52"/>
                      </a:lnTo>
                      <a:lnTo>
                        <a:pt x="790" y="55"/>
                      </a:lnTo>
                      <a:lnTo>
                        <a:pt x="792" y="57"/>
                      </a:lnTo>
                      <a:lnTo>
                        <a:pt x="795" y="57"/>
                      </a:lnTo>
                      <a:lnTo>
                        <a:pt x="799" y="57"/>
                      </a:lnTo>
                      <a:lnTo>
                        <a:pt x="801" y="58"/>
                      </a:lnTo>
                      <a:lnTo>
                        <a:pt x="807" y="63"/>
                      </a:lnTo>
                      <a:lnTo>
                        <a:pt x="814" y="69"/>
                      </a:lnTo>
                      <a:lnTo>
                        <a:pt x="820" y="75"/>
                      </a:lnTo>
                      <a:lnTo>
                        <a:pt x="821" y="78"/>
                      </a:lnTo>
                      <a:lnTo>
                        <a:pt x="823" y="82"/>
                      </a:lnTo>
                      <a:lnTo>
                        <a:pt x="823" y="85"/>
                      </a:lnTo>
                      <a:lnTo>
                        <a:pt x="821" y="89"/>
                      </a:lnTo>
                      <a:lnTo>
                        <a:pt x="816" y="95"/>
                      </a:lnTo>
                      <a:lnTo>
                        <a:pt x="810" y="101"/>
                      </a:lnTo>
                      <a:lnTo>
                        <a:pt x="804" y="104"/>
                      </a:lnTo>
                      <a:lnTo>
                        <a:pt x="796" y="108"/>
                      </a:lnTo>
                      <a:lnTo>
                        <a:pt x="792" y="110"/>
                      </a:lnTo>
                      <a:lnTo>
                        <a:pt x="787" y="115"/>
                      </a:lnTo>
                      <a:lnTo>
                        <a:pt x="787" y="116"/>
                      </a:lnTo>
                      <a:lnTo>
                        <a:pt x="787" y="119"/>
                      </a:lnTo>
                      <a:lnTo>
                        <a:pt x="790" y="121"/>
                      </a:lnTo>
                      <a:lnTo>
                        <a:pt x="792" y="123"/>
                      </a:lnTo>
                      <a:lnTo>
                        <a:pt x="793" y="127"/>
                      </a:lnTo>
                      <a:lnTo>
                        <a:pt x="793" y="129"/>
                      </a:lnTo>
                      <a:lnTo>
                        <a:pt x="792" y="133"/>
                      </a:lnTo>
                      <a:lnTo>
                        <a:pt x="791" y="135"/>
                      </a:lnTo>
                      <a:lnTo>
                        <a:pt x="787" y="136"/>
                      </a:lnTo>
                      <a:lnTo>
                        <a:pt x="786" y="136"/>
                      </a:lnTo>
                      <a:lnTo>
                        <a:pt x="785" y="136"/>
                      </a:lnTo>
                      <a:lnTo>
                        <a:pt x="783" y="134"/>
                      </a:lnTo>
                      <a:lnTo>
                        <a:pt x="783" y="132"/>
                      </a:lnTo>
                      <a:lnTo>
                        <a:pt x="782" y="130"/>
                      </a:lnTo>
                      <a:lnTo>
                        <a:pt x="781" y="129"/>
                      </a:lnTo>
                      <a:lnTo>
                        <a:pt x="776" y="129"/>
                      </a:lnTo>
                      <a:lnTo>
                        <a:pt x="772" y="127"/>
                      </a:lnTo>
                      <a:lnTo>
                        <a:pt x="768" y="123"/>
                      </a:lnTo>
                      <a:lnTo>
                        <a:pt x="767" y="120"/>
                      </a:lnTo>
                      <a:lnTo>
                        <a:pt x="769" y="116"/>
                      </a:lnTo>
                      <a:lnTo>
                        <a:pt x="772" y="113"/>
                      </a:lnTo>
                      <a:lnTo>
                        <a:pt x="773" y="110"/>
                      </a:lnTo>
                      <a:lnTo>
                        <a:pt x="773" y="109"/>
                      </a:lnTo>
                      <a:lnTo>
                        <a:pt x="772" y="108"/>
                      </a:lnTo>
                      <a:lnTo>
                        <a:pt x="760" y="106"/>
                      </a:lnTo>
                      <a:lnTo>
                        <a:pt x="748" y="102"/>
                      </a:lnTo>
                      <a:lnTo>
                        <a:pt x="744" y="102"/>
                      </a:lnTo>
                      <a:lnTo>
                        <a:pt x="740" y="103"/>
                      </a:lnTo>
                      <a:lnTo>
                        <a:pt x="739" y="104"/>
                      </a:lnTo>
                      <a:lnTo>
                        <a:pt x="738" y="107"/>
                      </a:lnTo>
                      <a:lnTo>
                        <a:pt x="739" y="108"/>
                      </a:lnTo>
                      <a:lnTo>
                        <a:pt x="741" y="115"/>
                      </a:lnTo>
                      <a:lnTo>
                        <a:pt x="744" y="119"/>
                      </a:lnTo>
                      <a:lnTo>
                        <a:pt x="744" y="122"/>
                      </a:lnTo>
                      <a:lnTo>
                        <a:pt x="736" y="121"/>
                      </a:lnTo>
                      <a:lnTo>
                        <a:pt x="734" y="120"/>
                      </a:lnTo>
                      <a:lnTo>
                        <a:pt x="730" y="121"/>
                      </a:lnTo>
                      <a:lnTo>
                        <a:pt x="729" y="121"/>
                      </a:lnTo>
                      <a:lnTo>
                        <a:pt x="727" y="120"/>
                      </a:lnTo>
                      <a:lnTo>
                        <a:pt x="725" y="119"/>
                      </a:lnTo>
                      <a:lnTo>
                        <a:pt x="722" y="119"/>
                      </a:lnTo>
                      <a:lnTo>
                        <a:pt x="720" y="120"/>
                      </a:lnTo>
                      <a:lnTo>
                        <a:pt x="719" y="120"/>
                      </a:lnTo>
                      <a:lnTo>
                        <a:pt x="716" y="120"/>
                      </a:lnTo>
                      <a:lnTo>
                        <a:pt x="711" y="119"/>
                      </a:lnTo>
                      <a:lnTo>
                        <a:pt x="708" y="119"/>
                      </a:lnTo>
                      <a:lnTo>
                        <a:pt x="706" y="120"/>
                      </a:lnTo>
                      <a:lnTo>
                        <a:pt x="699" y="119"/>
                      </a:lnTo>
                      <a:lnTo>
                        <a:pt x="693" y="119"/>
                      </a:lnTo>
                      <a:lnTo>
                        <a:pt x="682" y="120"/>
                      </a:lnTo>
                      <a:lnTo>
                        <a:pt x="678" y="120"/>
                      </a:lnTo>
                      <a:lnTo>
                        <a:pt x="675" y="119"/>
                      </a:lnTo>
                      <a:lnTo>
                        <a:pt x="668" y="114"/>
                      </a:lnTo>
                      <a:lnTo>
                        <a:pt x="663" y="113"/>
                      </a:lnTo>
                      <a:lnTo>
                        <a:pt x="659" y="113"/>
                      </a:lnTo>
                      <a:lnTo>
                        <a:pt x="656" y="111"/>
                      </a:lnTo>
                      <a:lnTo>
                        <a:pt x="654" y="110"/>
                      </a:lnTo>
                      <a:lnTo>
                        <a:pt x="652" y="108"/>
                      </a:lnTo>
                      <a:lnTo>
                        <a:pt x="650" y="106"/>
                      </a:lnTo>
                      <a:lnTo>
                        <a:pt x="645" y="104"/>
                      </a:lnTo>
                      <a:lnTo>
                        <a:pt x="640" y="103"/>
                      </a:lnTo>
                      <a:lnTo>
                        <a:pt x="628" y="102"/>
                      </a:lnTo>
                      <a:lnTo>
                        <a:pt x="617" y="102"/>
                      </a:lnTo>
                      <a:lnTo>
                        <a:pt x="612" y="101"/>
                      </a:lnTo>
                      <a:lnTo>
                        <a:pt x="607" y="98"/>
                      </a:lnTo>
                      <a:lnTo>
                        <a:pt x="604" y="97"/>
                      </a:lnTo>
                      <a:lnTo>
                        <a:pt x="603" y="94"/>
                      </a:lnTo>
                      <a:lnTo>
                        <a:pt x="600" y="88"/>
                      </a:lnTo>
                      <a:lnTo>
                        <a:pt x="598" y="83"/>
                      </a:lnTo>
                      <a:lnTo>
                        <a:pt x="595" y="82"/>
                      </a:lnTo>
                      <a:lnTo>
                        <a:pt x="593" y="82"/>
                      </a:lnTo>
                      <a:lnTo>
                        <a:pt x="586" y="83"/>
                      </a:lnTo>
                      <a:lnTo>
                        <a:pt x="581" y="83"/>
                      </a:lnTo>
                      <a:lnTo>
                        <a:pt x="575" y="84"/>
                      </a:lnTo>
                      <a:lnTo>
                        <a:pt x="570" y="85"/>
                      </a:lnTo>
                      <a:lnTo>
                        <a:pt x="565" y="88"/>
                      </a:lnTo>
                      <a:lnTo>
                        <a:pt x="562" y="91"/>
                      </a:lnTo>
                      <a:lnTo>
                        <a:pt x="560" y="95"/>
                      </a:lnTo>
                      <a:lnTo>
                        <a:pt x="560" y="100"/>
                      </a:lnTo>
                      <a:lnTo>
                        <a:pt x="562" y="102"/>
                      </a:lnTo>
                      <a:lnTo>
                        <a:pt x="564" y="103"/>
                      </a:lnTo>
                      <a:lnTo>
                        <a:pt x="565" y="102"/>
                      </a:lnTo>
                      <a:lnTo>
                        <a:pt x="567" y="100"/>
                      </a:lnTo>
                      <a:lnTo>
                        <a:pt x="570" y="98"/>
                      </a:lnTo>
                      <a:lnTo>
                        <a:pt x="576" y="97"/>
                      </a:lnTo>
                      <a:lnTo>
                        <a:pt x="583" y="97"/>
                      </a:lnTo>
                      <a:lnTo>
                        <a:pt x="589" y="97"/>
                      </a:lnTo>
                      <a:lnTo>
                        <a:pt x="589" y="100"/>
                      </a:lnTo>
                      <a:lnTo>
                        <a:pt x="585" y="102"/>
                      </a:lnTo>
                      <a:lnTo>
                        <a:pt x="584" y="104"/>
                      </a:lnTo>
                      <a:lnTo>
                        <a:pt x="583" y="107"/>
                      </a:lnTo>
                      <a:lnTo>
                        <a:pt x="581" y="109"/>
                      </a:lnTo>
                      <a:lnTo>
                        <a:pt x="579" y="110"/>
                      </a:lnTo>
                      <a:lnTo>
                        <a:pt x="572" y="113"/>
                      </a:lnTo>
                      <a:lnTo>
                        <a:pt x="570" y="113"/>
                      </a:lnTo>
                      <a:lnTo>
                        <a:pt x="569" y="115"/>
                      </a:lnTo>
                      <a:lnTo>
                        <a:pt x="567" y="117"/>
                      </a:lnTo>
                      <a:lnTo>
                        <a:pt x="567" y="121"/>
                      </a:lnTo>
                      <a:lnTo>
                        <a:pt x="570" y="127"/>
                      </a:lnTo>
                      <a:lnTo>
                        <a:pt x="574" y="132"/>
                      </a:lnTo>
                      <a:lnTo>
                        <a:pt x="576" y="138"/>
                      </a:lnTo>
                      <a:lnTo>
                        <a:pt x="576" y="139"/>
                      </a:lnTo>
                      <a:lnTo>
                        <a:pt x="575" y="139"/>
                      </a:lnTo>
                      <a:lnTo>
                        <a:pt x="572" y="138"/>
                      </a:lnTo>
                      <a:lnTo>
                        <a:pt x="570" y="138"/>
                      </a:lnTo>
                      <a:lnTo>
                        <a:pt x="567" y="138"/>
                      </a:lnTo>
                      <a:lnTo>
                        <a:pt x="565" y="140"/>
                      </a:lnTo>
                      <a:lnTo>
                        <a:pt x="565" y="142"/>
                      </a:lnTo>
                      <a:lnTo>
                        <a:pt x="566" y="143"/>
                      </a:lnTo>
                      <a:lnTo>
                        <a:pt x="569" y="145"/>
                      </a:lnTo>
                      <a:lnTo>
                        <a:pt x="571" y="147"/>
                      </a:lnTo>
                      <a:lnTo>
                        <a:pt x="571" y="149"/>
                      </a:lnTo>
                      <a:lnTo>
                        <a:pt x="566" y="149"/>
                      </a:lnTo>
                      <a:lnTo>
                        <a:pt x="562" y="148"/>
                      </a:lnTo>
                      <a:lnTo>
                        <a:pt x="560" y="146"/>
                      </a:lnTo>
                      <a:lnTo>
                        <a:pt x="556" y="143"/>
                      </a:lnTo>
                      <a:lnTo>
                        <a:pt x="545" y="129"/>
                      </a:lnTo>
                      <a:lnTo>
                        <a:pt x="543" y="128"/>
                      </a:lnTo>
                      <a:lnTo>
                        <a:pt x="541" y="128"/>
                      </a:lnTo>
                      <a:lnTo>
                        <a:pt x="539" y="128"/>
                      </a:lnTo>
                      <a:lnTo>
                        <a:pt x="537" y="127"/>
                      </a:lnTo>
                      <a:lnTo>
                        <a:pt x="536" y="127"/>
                      </a:lnTo>
                      <a:lnTo>
                        <a:pt x="534" y="126"/>
                      </a:lnTo>
                      <a:lnTo>
                        <a:pt x="533" y="122"/>
                      </a:lnTo>
                      <a:lnTo>
                        <a:pt x="532" y="120"/>
                      </a:lnTo>
                      <a:lnTo>
                        <a:pt x="528" y="115"/>
                      </a:lnTo>
                      <a:lnTo>
                        <a:pt x="527" y="114"/>
                      </a:lnTo>
                      <a:lnTo>
                        <a:pt x="528" y="113"/>
                      </a:lnTo>
                      <a:lnTo>
                        <a:pt x="528" y="109"/>
                      </a:lnTo>
                      <a:lnTo>
                        <a:pt x="528" y="108"/>
                      </a:lnTo>
                      <a:lnTo>
                        <a:pt x="527" y="108"/>
                      </a:lnTo>
                      <a:lnTo>
                        <a:pt x="524" y="109"/>
                      </a:lnTo>
                      <a:lnTo>
                        <a:pt x="519" y="117"/>
                      </a:lnTo>
                      <a:lnTo>
                        <a:pt x="518" y="121"/>
                      </a:lnTo>
                      <a:lnTo>
                        <a:pt x="514" y="123"/>
                      </a:lnTo>
                      <a:lnTo>
                        <a:pt x="510" y="125"/>
                      </a:lnTo>
                      <a:lnTo>
                        <a:pt x="505" y="125"/>
                      </a:lnTo>
                      <a:lnTo>
                        <a:pt x="500" y="123"/>
                      </a:lnTo>
                      <a:lnTo>
                        <a:pt x="495" y="123"/>
                      </a:lnTo>
                      <a:lnTo>
                        <a:pt x="472" y="125"/>
                      </a:lnTo>
                      <a:lnTo>
                        <a:pt x="461" y="123"/>
                      </a:lnTo>
                      <a:lnTo>
                        <a:pt x="449" y="122"/>
                      </a:lnTo>
                      <a:lnTo>
                        <a:pt x="446" y="120"/>
                      </a:lnTo>
                      <a:lnTo>
                        <a:pt x="440" y="117"/>
                      </a:lnTo>
                      <a:lnTo>
                        <a:pt x="438" y="114"/>
                      </a:lnTo>
                      <a:lnTo>
                        <a:pt x="439" y="111"/>
                      </a:lnTo>
                      <a:lnTo>
                        <a:pt x="440" y="110"/>
                      </a:lnTo>
                      <a:lnTo>
                        <a:pt x="446" y="107"/>
                      </a:lnTo>
                      <a:lnTo>
                        <a:pt x="452" y="103"/>
                      </a:lnTo>
                      <a:lnTo>
                        <a:pt x="459" y="101"/>
                      </a:lnTo>
                      <a:lnTo>
                        <a:pt x="467" y="101"/>
                      </a:lnTo>
                      <a:lnTo>
                        <a:pt x="468" y="100"/>
                      </a:lnTo>
                      <a:lnTo>
                        <a:pt x="467" y="98"/>
                      </a:lnTo>
                      <a:lnTo>
                        <a:pt x="466" y="96"/>
                      </a:lnTo>
                      <a:lnTo>
                        <a:pt x="463" y="95"/>
                      </a:lnTo>
                      <a:lnTo>
                        <a:pt x="458" y="92"/>
                      </a:lnTo>
                      <a:lnTo>
                        <a:pt x="453" y="90"/>
                      </a:lnTo>
                      <a:lnTo>
                        <a:pt x="451" y="88"/>
                      </a:lnTo>
                      <a:lnTo>
                        <a:pt x="451" y="85"/>
                      </a:lnTo>
                      <a:lnTo>
                        <a:pt x="448" y="84"/>
                      </a:lnTo>
                      <a:lnTo>
                        <a:pt x="447" y="83"/>
                      </a:lnTo>
                      <a:lnTo>
                        <a:pt x="440" y="88"/>
                      </a:lnTo>
                      <a:lnTo>
                        <a:pt x="435" y="89"/>
                      </a:lnTo>
                      <a:lnTo>
                        <a:pt x="432" y="89"/>
                      </a:lnTo>
                      <a:lnTo>
                        <a:pt x="424" y="87"/>
                      </a:lnTo>
                      <a:lnTo>
                        <a:pt x="418" y="83"/>
                      </a:lnTo>
                      <a:lnTo>
                        <a:pt x="411" y="81"/>
                      </a:lnTo>
                      <a:lnTo>
                        <a:pt x="404" y="79"/>
                      </a:lnTo>
                      <a:lnTo>
                        <a:pt x="401" y="78"/>
                      </a:lnTo>
                      <a:lnTo>
                        <a:pt x="399" y="77"/>
                      </a:lnTo>
                      <a:lnTo>
                        <a:pt x="393" y="76"/>
                      </a:lnTo>
                      <a:lnTo>
                        <a:pt x="388" y="76"/>
                      </a:lnTo>
                      <a:lnTo>
                        <a:pt x="372" y="71"/>
                      </a:lnTo>
                      <a:lnTo>
                        <a:pt x="357" y="66"/>
                      </a:lnTo>
                      <a:lnTo>
                        <a:pt x="354" y="65"/>
                      </a:lnTo>
                      <a:lnTo>
                        <a:pt x="352" y="64"/>
                      </a:lnTo>
                      <a:lnTo>
                        <a:pt x="348" y="63"/>
                      </a:lnTo>
                      <a:lnTo>
                        <a:pt x="344" y="62"/>
                      </a:lnTo>
                      <a:lnTo>
                        <a:pt x="338" y="59"/>
                      </a:lnTo>
                      <a:lnTo>
                        <a:pt x="334" y="58"/>
                      </a:lnTo>
                      <a:lnTo>
                        <a:pt x="331" y="58"/>
                      </a:lnTo>
                      <a:lnTo>
                        <a:pt x="327" y="58"/>
                      </a:lnTo>
                      <a:lnTo>
                        <a:pt x="325" y="59"/>
                      </a:lnTo>
                      <a:lnTo>
                        <a:pt x="320" y="64"/>
                      </a:lnTo>
                      <a:lnTo>
                        <a:pt x="315" y="69"/>
                      </a:lnTo>
                      <a:lnTo>
                        <a:pt x="312" y="70"/>
                      </a:lnTo>
                      <a:lnTo>
                        <a:pt x="311" y="69"/>
                      </a:lnTo>
                      <a:lnTo>
                        <a:pt x="306" y="59"/>
                      </a:lnTo>
                      <a:lnTo>
                        <a:pt x="303" y="53"/>
                      </a:lnTo>
                      <a:lnTo>
                        <a:pt x="302" y="47"/>
                      </a:lnTo>
                      <a:lnTo>
                        <a:pt x="299" y="47"/>
                      </a:lnTo>
                      <a:lnTo>
                        <a:pt x="298" y="47"/>
                      </a:lnTo>
                      <a:lnTo>
                        <a:pt x="294" y="53"/>
                      </a:lnTo>
                      <a:lnTo>
                        <a:pt x="292" y="60"/>
                      </a:lnTo>
                      <a:lnTo>
                        <a:pt x="291" y="63"/>
                      </a:lnTo>
                      <a:lnTo>
                        <a:pt x="289" y="65"/>
                      </a:lnTo>
                      <a:lnTo>
                        <a:pt x="286" y="66"/>
                      </a:lnTo>
                      <a:lnTo>
                        <a:pt x="282" y="66"/>
                      </a:lnTo>
                      <a:lnTo>
                        <a:pt x="277" y="65"/>
                      </a:lnTo>
                      <a:lnTo>
                        <a:pt x="272" y="63"/>
                      </a:lnTo>
                      <a:lnTo>
                        <a:pt x="263" y="58"/>
                      </a:lnTo>
                      <a:lnTo>
                        <a:pt x="255" y="50"/>
                      </a:lnTo>
                      <a:lnTo>
                        <a:pt x="249" y="43"/>
                      </a:lnTo>
                      <a:lnTo>
                        <a:pt x="245" y="40"/>
                      </a:lnTo>
                      <a:lnTo>
                        <a:pt x="242" y="37"/>
                      </a:lnTo>
                      <a:lnTo>
                        <a:pt x="239" y="34"/>
                      </a:lnTo>
                      <a:lnTo>
                        <a:pt x="233" y="33"/>
                      </a:lnTo>
                      <a:lnTo>
                        <a:pt x="232" y="33"/>
                      </a:lnTo>
                      <a:lnTo>
                        <a:pt x="230" y="33"/>
                      </a:lnTo>
                      <a:lnTo>
                        <a:pt x="230" y="36"/>
                      </a:lnTo>
                      <a:lnTo>
                        <a:pt x="230" y="37"/>
                      </a:lnTo>
                      <a:lnTo>
                        <a:pt x="232" y="42"/>
                      </a:lnTo>
                      <a:lnTo>
                        <a:pt x="235" y="45"/>
                      </a:lnTo>
                      <a:lnTo>
                        <a:pt x="237" y="49"/>
                      </a:lnTo>
                      <a:lnTo>
                        <a:pt x="236" y="52"/>
                      </a:lnTo>
                      <a:lnTo>
                        <a:pt x="233" y="56"/>
                      </a:lnTo>
                      <a:lnTo>
                        <a:pt x="230" y="59"/>
                      </a:lnTo>
                      <a:lnTo>
                        <a:pt x="225" y="63"/>
                      </a:lnTo>
                      <a:lnTo>
                        <a:pt x="219" y="65"/>
                      </a:lnTo>
                      <a:lnTo>
                        <a:pt x="217" y="64"/>
                      </a:lnTo>
                      <a:lnTo>
                        <a:pt x="216" y="63"/>
                      </a:lnTo>
                      <a:lnTo>
                        <a:pt x="214" y="57"/>
                      </a:lnTo>
                      <a:lnTo>
                        <a:pt x="212" y="57"/>
                      </a:lnTo>
                      <a:lnTo>
                        <a:pt x="209" y="57"/>
                      </a:lnTo>
                      <a:lnTo>
                        <a:pt x="202" y="60"/>
                      </a:lnTo>
                      <a:lnTo>
                        <a:pt x="194" y="63"/>
                      </a:lnTo>
                      <a:lnTo>
                        <a:pt x="192" y="64"/>
                      </a:lnTo>
                      <a:lnTo>
                        <a:pt x="190" y="66"/>
                      </a:lnTo>
                      <a:lnTo>
                        <a:pt x="188" y="68"/>
                      </a:lnTo>
                      <a:lnTo>
                        <a:pt x="185" y="69"/>
                      </a:lnTo>
                      <a:lnTo>
                        <a:pt x="185" y="68"/>
                      </a:lnTo>
                      <a:lnTo>
                        <a:pt x="185" y="66"/>
                      </a:lnTo>
                      <a:lnTo>
                        <a:pt x="185" y="64"/>
                      </a:lnTo>
                      <a:lnTo>
                        <a:pt x="197" y="57"/>
                      </a:lnTo>
                      <a:lnTo>
                        <a:pt x="200" y="52"/>
                      </a:lnTo>
                      <a:lnTo>
                        <a:pt x="203" y="50"/>
                      </a:lnTo>
                      <a:lnTo>
                        <a:pt x="203" y="46"/>
                      </a:lnTo>
                      <a:lnTo>
                        <a:pt x="193" y="47"/>
                      </a:lnTo>
                      <a:lnTo>
                        <a:pt x="188" y="49"/>
                      </a:lnTo>
                      <a:lnTo>
                        <a:pt x="184" y="52"/>
                      </a:lnTo>
                      <a:lnTo>
                        <a:pt x="180" y="58"/>
                      </a:lnTo>
                      <a:lnTo>
                        <a:pt x="178" y="59"/>
                      </a:lnTo>
                      <a:lnTo>
                        <a:pt x="174" y="60"/>
                      </a:lnTo>
                      <a:lnTo>
                        <a:pt x="166" y="63"/>
                      </a:lnTo>
                      <a:lnTo>
                        <a:pt x="165" y="64"/>
                      </a:lnTo>
                      <a:lnTo>
                        <a:pt x="164" y="65"/>
                      </a:lnTo>
                      <a:lnTo>
                        <a:pt x="164" y="66"/>
                      </a:lnTo>
                      <a:lnTo>
                        <a:pt x="162" y="66"/>
                      </a:lnTo>
                      <a:lnTo>
                        <a:pt x="157" y="65"/>
                      </a:lnTo>
                      <a:lnTo>
                        <a:pt x="152" y="65"/>
                      </a:lnTo>
                      <a:lnTo>
                        <a:pt x="148" y="66"/>
                      </a:lnTo>
                      <a:lnTo>
                        <a:pt x="143" y="69"/>
                      </a:lnTo>
                      <a:lnTo>
                        <a:pt x="136" y="72"/>
                      </a:lnTo>
                      <a:lnTo>
                        <a:pt x="132" y="74"/>
                      </a:lnTo>
                      <a:lnTo>
                        <a:pt x="127" y="75"/>
                      </a:lnTo>
                      <a:lnTo>
                        <a:pt x="127" y="74"/>
                      </a:lnTo>
                      <a:lnTo>
                        <a:pt x="126" y="74"/>
                      </a:lnTo>
                      <a:lnTo>
                        <a:pt x="127" y="71"/>
                      </a:lnTo>
                      <a:lnTo>
                        <a:pt x="128" y="69"/>
                      </a:lnTo>
                      <a:lnTo>
                        <a:pt x="128" y="66"/>
                      </a:lnTo>
                      <a:lnTo>
                        <a:pt x="126" y="64"/>
                      </a:lnTo>
                      <a:lnTo>
                        <a:pt x="122" y="62"/>
                      </a:lnTo>
                      <a:lnTo>
                        <a:pt x="118" y="60"/>
                      </a:lnTo>
                      <a:lnTo>
                        <a:pt x="114" y="62"/>
                      </a:lnTo>
                      <a:lnTo>
                        <a:pt x="112" y="63"/>
                      </a:lnTo>
                      <a:lnTo>
                        <a:pt x="109" y="65"/>
                      </a:lnTo>
                      <a:lnTo>
                        <a:pt x="106" y="71"/>
                      </a:lnTo>
                      <a:lnTo>
                        <a:pt x="105" y="77"/>
                      </a:lnTo>
                      <a:lnTo>
                        <a:pt x="101" y="83"/>
                      </a:lnTo>
                      <a:lnTo>
                        <a:pt x="98" y="85"/>
                      </a:lnTo>
                      <a:lnTo>
                        <a:pt x="94" y="88"/>
                      </a:lnTo>
                      <a:lnTo>
                        <a:pt x="89" y="89"/>
                      </a:lnTo>
                      <a:lnTo>
                        <a:pt x="84" y="89"/>
                      </a:lnTo>
                      <a:lnTo>
                        <a:pt x="79" y="89"/>
                      </a:lnTo>
                      <a:lnTo>
                        <a:pt x="73" y="87"/>
                      </a:lnTo>
                      <a:lnTo>
                        <a:pt x="70" y="84"/>
                      </a:lnTo>
                      <a:lnTo>
                        <a:pt x="66" y="81"/>
                      </a:lnTo>
                      <a:lnTo>
                        <a:pt x="65" y="79"/>
                      </a:lnTo>
                      <a:lnTo>
                        <a:pt x="62" y="79"/>
                      </a:lnTo>
                      <a:lnTo>
                        <a:pt x="58" y="78"/>
                      </a:lnTo>
                      <a:lnTo>
                        <a:pt x="38" y="70"/>
                      </a:lnTo>
                      <a:lnTo>
                        <a:pt x="28" y="66"/>
                      </a:lnTo>
                      <a:lnTo>
                        <a:pt x="18" y="62"/>
                      </a:lnTo>
                      <a:lnTo>
                        <a:pt x="12" y="59"/>
                      </a:lnTo>
                      <a:lnTo>
                        <a:pt x="6" y="59"/>
                      </a:lnTo>
                      <a:lnTo>
                        <a:pt x="0" y="59"/>
                      </a:lnTo>
                      <a:lnTo>
                        <a:pt x="2" y="318"/>
                      </a:lnTo>
                      <a:lnTo>
                        <a:pt x="10" y="315"/>
                      </a:lnTo>
                      <a:lnTo>
                        <a:pt x="16" y="314"/>
                      </a:lnTo>
                      <a:lnTo>
                        <a:pt x="20" y="315"/>
                      </a:lnTo>
                      <a:lnTo>
                        <a:pt x="23" y="317"/>
                      </a:lnTo>
                      <a:lnTo>
                        <a:pt x="30" y="325"/>
                      </a:lnTo>
                      <a:lnTo>
                        <a:pt x="42" y="337"/>
                      </a:lnTo>
                      <a:lnTo>
                        <a:pt x="48" y="344"/>
                      </a:lnTo>
                      <a:lnTo>
                        <a:pt x="54" y="349"/>
                      </a:lnTo>
                      <a:lnTo>
                        <a:pt x="59" y="352"/>
                      </a:lnTo>
                      <a:lnTo>
                        <a:pt x="65" y="352"/>
                      </a:lnTo>
                      <a:lnTo>
                        <a:pt x="68" y="351"/>
                      </a:lnTo>
                      <a:lnTo>
                        <a:pt x="72" y="349"/>
                      </a:lnTo>
                      <a:lnTo>
                        <a:pt x="79" y="343"/>
                      </a:lnTo>
                      <a:lnTo>
                        <a:pt x="86" y="336"/>
                      </a:lnTo>
                      <a:lnTo>
                        <a:pt x="87" y="333"/>
                      </a:lnTo>
                      <a:lnTo>
                        <a:pt x="90" y="333"/>
                      </a:lnTo>
                      <a:lnTo>
                        <a:pt x="92" y="334"/>
                      </a:lnTo>
                      <a:lnTo>
                        <a:pt x="101" y="341"/>
                      </a:lnTo>
                      <a:lnTo>
                        <a:pt x="109" y="346"/>
                      </a:lnTo>
                      <a:lnTo>
                        <a:pt x="113" y="349"/>
                      </a:lnTo>
                      <a:lnTo>
                        <a:pt x="118" y="353"/>
                      </a:lnTo>
                      <a:lnTo>
                        <a:pt x="124" y="360"/>
                      </a:lnTo>
                      <a:lnTo>
                        <a:pt x="131" y="366"/>
                      </a:lnTo>
                      <a:lnTo>
                        <a:pt x="139" y="376"/>
                      </a:lnTo>
                      <a:lnTo>
                        <a:pt x="148" y="390"/>
                      </a:lnTo>
                      <a:lnTo>
                        <a:pt x="156" y="400"/>
                      </a:lnTo>
                      <a:lnTo>
                        <a:pt x="165" y="407"/>
                      </a:lnTo>
                      <a:lnTo>
                        <a:pt x="174" y="414"/>
                      </a:lnTo>
                      <a:lnTo>
                        <a:pt x="179" y="419"/>
                      </a:lnTo>
                      <a:lnTo>
                        <a:pt x="181" y="423"/>
                      </a:lnTo>
                      <a:lnTo>
                        <a:pt x="184" y="429"/>
                      </a:lnTo>
                      <a:lnTo>
                        <a:pt x="185" y="437"/>
                      </a:lnTo>
                      <a:lnTo>
                        <a:pt x="185" y="446"/>
                      </a:lnTo>
                      <a:lnTo>
                        <a:pt x="184" y="45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2" name="Freeform 1006"/>
                <p:cNvSpPr>
                  <a:spLocks/>
                </p:cNvSpPr>
                <p:nvPr/>
              </p:nvSpPr>
              <p:spPr bwMode="auto">
                <a:xfrm>
                  <a:off x="2879354" y="3387112"/>
                  <a:ext cx="44396" cy="25157"/>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2147483647 w 33"/>
                    <a:gd name="T13" fmla="*/ 2147483647 h 17"/>
                    <a:gd name="T14" fmla="*/ 2147483647 w 33"/>
                    <a:gd name="T15" fmla="*/ 0 h 17"/>
                    <a:gd name="T16" fmla="*/ 2147483647 w 33"/>
                    <a:gd name="T17" fmla="*/ 0 h 17"/>
                    <a:gd name="T18" fmla="*/ 2147483647 w 33"/>
                    <a:gd name="T19" fmla="*/ 0 h 17"/>
                    <a:gd name="T20" fmla="*/ 2147483647 w 33"/>
                    <a:gd name="T21" fmla="*/ 2147483647 h 17"/>
                    <a:gd name="T22" fmla="*/ 2147483647 w 33"/>
                    <a:gd name="T23" fmla="*/ 2147483647 h 17"/>
                    <a:gd name="T24" fmla="*/ 2147483647 w 33"/>
                    <a:gd name="T25" fmla="*/ 2147483647 h 17"/>
                    <a:gd name="T26" fmla="*/ 2147483647 w 33"/>
                    <a:gd name="T27" fmla="*/ 2147483647 h 17"/>
                    <a:gd name="T28" fmla="*/ 2147483647 w 33"/>
                    <a:gd name="T29" fmla="*/ 2147483647 h 17"/>
                    <a:gd name="T30" fmla="*/ 2147483647 w 33"/>
                    <a:gd name="T31" fmla="*/ 2147483647 h 17"/>
                    <a:gd name="T32" fmla="*/ 2147483647 w 33"/>
                    <a:gd name="T33" fmla="*/ 2147483647 h 17"/>
                    <a:gd name="T34" fmla="*/ 0 w 33"/>
                    <a:gd name="T35" fmla="*/ 2147483647 h 17"/>
                    <a:gd name="T36" fmla="*/ 0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2147483647 w 33"/>
                    <a:gd name="T49" fmla="*/ 2147483647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3"/>
                    <a:gd name="T76" fmla="*/ 0 h 17"/>
                    <a:gd name="T77" fmla="*/ 33 w 33"/>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3" h="17">
                      <a:moveTo>
                        <a:pt x="26" y="6"/>
                      </a:moveTo>
                      <a:lnTo>
                        <a:pt x="26" y="6"/>
                      </a:lnTo>
                      <a:lnTo>
                        <a:pt x="29" y="5"/>
                      </a:lnTo>
                      <a:lnTo>
                        <a:pt x="30" y="4"/>
                      </a:lnTo>
                      <a:lnTo>
                        <a:pt x="33" y="3"/>
                      </a:lnTo>
                      <a:lnTo>
                        <a:pt x="33" y="2"/>
                      </a:lnTo>
                      <a:lnTo>
                        <a:pt x="31" y="0"/>
                      </a:lnTo>
                      <a:lnTo>
                        <a:pt x="28" y="0"/>
                      </a:lnTo>
                      <a:lnTo>
                        <a:pt x="23" y="4"/>
                      </a:lnTo>
                      <a:lnTo>
                        <a:pt x="16" y="6"/>
                      </a:lnTo>
                      <a:lnTo>
                        <a:pt x="9" y="8"/>
                      </a:lnTo>
                      <a:lnTo>
                        <a:pt x="6" y="9"/>
                      </a:lnTo>
                      <a:lnTo>
                        <a:pt x="2" y="11"/>
                      </a:lnTo>
                      <a:lnTo>
                        <a:pt x="1" y="14"/>
                      </a:lnTo>
                      <a:lnTo>
                        <a:pt x="0" y="17"/>
                      </a:lnTo>
                      <a:lnTo>
                        <a:pt x="7" y="16"/>
                      </a:lnTo>
                      <a:lnTo>
                        <a:pt x="15" y="15"/>
                      </a:lnTo>
                      <a:lnTo>
                        <a:pt x="23" y="11"/>
                      </a:lnTo>
                      <a:lnTo>
                        <a:pt x="25" y="9"/>
                      </a:lnTo>
                      <a:lnTo>
                        <a:pt x="2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3" name="Freeform 1008"/>
                <p:cNvSpPr>
                  <a:spLocks/>
                </p:cNvSpPr>
                <p:nvPr/>
              </p:nvSpPr>
              <p:spPr bwMode="auto">
                <a:xfrm>
                  <a:off x="1535630" y="2937227"/>
                  <a:ext cx="8879" cy="19238"/>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0 w 6"/>
                    <a:gd name="T11" fmla="*/ 2147483647 h 13"/>
                    <a:gd name="T12" fmla="*/ 0 w 6"/>
                    <a:gd name="T13" fmla="*/ 2147483647 h 13"/>
                    <a:gd name="T14" fmla="*/ 2147483647 w 6"/>
                    <a:gd name="T15" fmla="*/ 0 h 13"/>
                    <a:gd name="T16" fmla="*/ 2147483647 w 6"/>
                    <a:gd name="T17" fmla="*/ 0 h 13"/>
                    <a:gd name="T18" fmla="*/ 2147483647 w 6"/>
                    <a:gd name="T19" fmla="*/ 2147483647 h 13"/>
                    <a:gd name="T20" fmla="*/ 2147483647 w 6"/>
                    <a:gd name="T21" fmla="*/ 2147483647 h 13"/>
                    <a:gd name="T22" fmla="*/ 2147483647 w 6"/>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3"/>
                    <a:gd name="T38" fmla="*/ 6 w 6"/>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3">
                      <a:moveTo>
                        <a:pt x="6" y="8"/>
                      </a:moveTo>
                      <a:lnTo>
                        <a:pt x="6" y="10"/>
                      </a:lnTo>
                      <a:lnTo>
                        <a:pt x="5" y="13"/>
                      </a:lnTo>
                      <a:lnTo>
                        <a:pt x="4" y="13"/>
                      </a:lnTo>
                      <a:lnTo>
                        <a:pt x="1" y="12"/>
                      </a:lnTo>
                      <a:lnTo>
                        <a:pt x="0" y="8"/>
                      </a:lnTo>
                      <a:lnTo>
                        <a:pt x="0" y="3"/>
                      </a:lnTo>
                      <a:lnTo>
                        <a:pt x="1" y="0"/>
                      </a:lnTo>
                      <a:lnTo>
                        <a:pt x="4" y="0"/>
                      </a:lnTo>
                      <a:lnTo>
                        <a:pt x="5" y="1"/>
                      </a:lnTo>
                      <a:lnTo>
                        <a:pt x="5" y="3"/>
                      </a:lnTo>
                      <a:lnTo>
                        <a:pt x="6"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4" name="Freeform 1009"/>
                <p:cNvSpPr>
                  <a:spLocks/>
                </p:cNvSpPr>
                <p:nvPr/>
              </p:nvSpPr>
              <p:spPr bwMode="auto">
                <a:xfrm>
                  <a:off x="1673254" y="3114813"/>
                  <a:ext cx="1367402" cy="766574"/>
                </a:xfrm>
                <a:custGeom>
                  <a:avLst/>
                  <a:gdLst>
                    <a:gd name="T0" fmla="*/ 2147483647 w 1001"/>
                    <a:gd name="T1" fmla="*/ 2147483647 h 518"/>
                    <a:gd name="T2" fmla="*/ 2147483647 w 1001"/>
                    <a:gd name="T3" fmla="*/ 2147483647 h 518"/>
                    <a:gd name="T4" fmla="*/ 2147483647 w 1001"/>
                    <a:gd name="T5" fmla="*/ 2147483647 h 518"/>
                    <a:gd name="T6" fmla="*/ 2147483647 w 1001"/>
                    <a:gd name="T7" fmla="*/ 2147483647 h 518"/>
                    <a:gd name="T8" fmla="*/ 2147483647 w 1001"/>
                    <a:gd name="T9" fmla="*/ 2147483647 h 518"/>
                    <a:gd name="T10" fmla="*/ 2147483647 w 1001"/>
                    <a:gd name="T11" fmla="*/ 2147483647 h 518"/>
                    <a:gd name="T12" fmla="*/ 2147483647 w 1001"/>
                    <a:gd name="T13" fmla="*/ 2147483647 h 518"/>
                    <a:gd name="T14" fmla="*/ 2147483647 w 1001"/>
                    <a:gd name="T15" fmla="*/ 2147483647 h 518"/>
                    <a:gd name="T16" fmla="*/ 2147483647 w 1001"/>
                    <a:gd name="T17" fmla="*/ 2147483647 h 518"/>
                    <a:gd name="T18" fmla="*/ 2147483647 w 1001"/>
                    <a:gd name="T19" fmla="*/ 2147483647 h 518"/>
                    <a:gd name="T20" fmla="*/ 2147483647 w 1001"/>
                    <a:gd name="T21" fmla="*/ 2147483647 h 518"/>
                    <a:gd name="T22" fmla="*/ 2147483647 w 1001"/>
                    <a:gd name="T23" fmla="*/ 2147483647 h 518"/>
                    <a:gd name="T24" fmla="*/ 2147483647 w 1001"/>
                    <a:gd name="T25" fmla="*/ 2147483647 h 518"/>
                    <a:gd name="T26" fmla="*/ 2147483647 w 1001"/>
                    <a:gd name="T27" fmla="*/ 2147483647 h 518"/>
                    <a:gd name="T28" fmla="*/ 2147483647 w 1001"/>
                    <a:gd name="T29" fmla="*/ 2147483647 h 518"/>
                    <a:gd name="T30" fmla="*/ 2147483647 w 1001"/>
                    <a:gd name="T31" fmla="*/ 2147483647 h 518"/>
                    <a:gd name="T32" fmla="*/ 2147483647 w 1001"/>
                    <a:gd name="T33" fmla="*/ 2147483647 h 518"/>
                    <a:gd name="T34" fmla="*/ 2147483647 w 1001"/>
                    <a:gd name="T35" fmla="*/ 2147483647 h 518"/>
                    <a:gd name="T36" fmla="*/ 2147483647 w 1001"/>
                    <a:gd name="T37" fmla="*/ 0 h 518"/>
                    <a:gd name="T38" fmla="*/ 2147483647 w 1001"/>
                    <a:gd name="T39" fmla="*/ 2147483647 h 518"/>
                    <a:gd name="T40" fmla="*/ 2147483647 w 1001"/>
                    <a:gd name="T41" fmla="*/ 2147483647 h 518"/>
                    <a:gd name="T42" fmla="*/ 2147483647 w 1001"/>
                    <a:gd name="T43" fmla="*/ 2147483647 h 518"/>
                    <a:gd name="T44" fmla="*/ 2147483647 w 1001"/>
                    <a:gd name="T45" fmla="*/ 2147483647 h 518"/>
                    <a:gd name="T46" fmla="*/ 2147483647 w 1001"/>
                    <a:gd name="T47" fmla="*/ 2147483647 h 518"/>
                    <a:gd name="T48" fmla="*/ 2147483647 w 1001"/>
                    <a:gd name="T49" fmla="*/ 2147483647 h 518"/>
                    <a:gd name="T50" fmla="*/ 2147483647 w 1001"/>
                    <a:gd name="T51" fmla="*/ 2147483647 h 518"/>
                    <a:gd name="T52" fmla="*/ 2147483647 w 1001"/>
                    <a:gd name="T53" fmla="*/ 2147483647 h 518"/>
                    <a:gd name="T54" fmla="*/ 2147483647 w 1001"/>
                    <a:gd name="T55" fmla="*/ 2147483647 h 518"/>
                    <a:gd name="T56" fmla="*/ 2147483647 w 1001"/>
                    <a:gd name="T57" fmla="*/ 2147483647 h 518"/>
                    <a:gd name="T58" fmla="*/ 2147483647 w 1001"/>
                    <a:gd name="T59" fmla="*/ 2147483647 h 518"/>
                    <a:gd name="T60" fmla="*/ 2147483647 w 1001"/>
                    <a:gd name="T61" fmla="*/ 2147483647 h 518"/>
                    <a:gd name="T62" fmla="*/ 2147483647 w 1001"/>
                    <a:gd name="T63" fmla="*/ 2147483647 h 518"/>
                    <a:gd name="T64" fmla="*/ 2147483647 w 1001"/>
                    <a:gd name="T65" fmla="*/ 2147483647 h 518"/>
                    <a:gd name="T66" fmla="*/ 2147483647 w 1001"/>
                    <a:gd name="T67" fmla="*/ 2147483647 h 518"/>
                    <a:gd name="T68" fmla="*/ 2147483647 w 1001"/>
                    <a:gd name="T69" fmla="*/ 2147483647 h 518"/>
                    <a:gd name="T70" fmla="*/ 2147483647 w 1001"/>
                    <a:gd name="T71" fmla="*/ 2147483647 h 518"/>
                    <a:gd name="T72" fmla="*/ 2147483647 w 1001"/>
                    <a:gd name="T73" fmla="*/ 2147483647 h 518"/>
                    <a:gd name="T74" fmla="*/ 2147483647 w 1001"/>
                    <a:gd name="T75" fmla="*/ 2147483647 h 518"/>
                    <a:gd name="T76" fmla="*/ 2147483647 w 1001"/>
                    <a:gd name="T77" fmla="*/ 2147483647 h 518"/>
                    <a:gd name="T78" fmla="*/ 2147483647 w 1001"/>
                    <a:gd name="T79" fmla="*/ 2147483647 h 518"/>
                    <a:gd name="T80" fmla="*/ 2147483647 w 1001"/>
                    <a:gd name="T81" fmla="*/ 2147483647 h 518"/>
                    <a:gd name="T82" fmla="*/ 2147483647 w 1001"/>
                    <a:gd name="T83" fmla="*/ 2147483647 h 518"/>
                    <a:gd name="T84" fmla="*/ 2147483647 w 1001"/>
                    <a:gd name="T85" fmla="*/ 2147483647 h 518"/>
                    <a:gd name="T86" fmla="*/ 2147483647 w 1001"/>
                    <a:gd name="T87" fmla="*/ 2147483647 h 518"/>
                    <a:gd name="T88" fmla="*/ 2147483647 w 1001"/>
                    <a:gd name="T89" fmla="*/ 2147483647 h 518"/>
                    <a:gd name="T90" fmla="*/ 2147483647 w 1001"/>
                    <a:gd name="T91" fmla="*/ 2147483647 h 518"/>
                    <a:gd name="T92" fmla="*/ 2147483647 w 1001"/>
                    <a:gd name="T93" fmla="*/ 2147483647 h 518"/>
                    <a:gd name="T94" fmla="*/ 2147483647 w 1001"/>
                    <a:gd name="T95" fmla="*/ 2147483647 h 518"/>
                    <a:gd name="T96" fmla="*/ 2147483647 w 1001"/>
                    <a:gd name="T97" fmla="*/ 2147483647 h 518"/>
                    <a:gd name="T98" fmla="*/ 2147483647 w 1001"/>
                    <a:gd name="T99" fmla="*/ 2147483647 h 518"/>
                    <a:gd name="T100" fmla="*/ 2147483647 w 1001"/>
                    <a:gd name="T101" fmla="*/ 2147483647 h 518"/>
                    <a:gd name="T102" fmla="*/ 2147483647 w 1001"/>
                    <a:gd name="T103" fmla="*/ 2147483647 h 518"/>
                    <a:gd name="T104" fmla="*/ 2147483647 w 1001"/>
                    <a:gd name="T105" fmla="*/ 2147483647 h 518"/>
                    <a:gd name="T106" fmla="*/ 2147483647 w 1001"/>
                    <a:gd name="T107" fmla="*/ 2147483647 h 518"/>
                    <a:gd name="T108" fmla="*/ 2147483647 w 1001"/>
                    <a:gd name="T109" fmla="*/ 2147483647 h 518"/>
                    <a:gd name="T110" fmla="*/ 2147483647 w 1001"/>
                    <a:gd name="T111" fmla="*/ 2147483647 h 518"/>
                    <a:gd name="T112" fmla="*/ 2147483647 w 1001"/>
                    <a:gd name="T113" fmla="*/ 2147483647 h 518"/>
                    <a:gd name="T114" fmla="*/ 2147483647 w 1001"/>
                    <a:gd name="T115" fmla="*/ 2147483647 h 518"/>
                    <a:gd name="T116" fmla="*/ 2147483647 w 1001"/>
                    <a:gd name="T117" fmla="*/ 2147483647 h 518"/>
                    <a:gd name="T118" fmla="*/ 2147483647 w 1001"/>
                    <a:gd name="T119" fmla="*/ 2147483647 h 518"/>
                    <a:gd name="T120" fmla="*/ 2147483647 w 1001"/>
                    <a:gd name="T121" fmla="*/ 2147483647 h 518"/>
                    <a:gd name="T122" fmla="*/ 2147483647 w 1001"/>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1"/>
                    <a:gd name="T187" fmla="*/ 0 h 518"/>
                    <a:gd name="T188" fmla="*/ 1001 w 1001"/>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1" h="518">
                      <a:moveTo>
                        <a:pt x="474" y="501"/>
                      </a:moveTo>
                      <a:lnTo>
                        <a:pt x="474" y="501"/>
                      </a:lnTo>
                      <a:lnTo>
                        <a:pt x="465" y="497"/>
                      </a:lnTo>
                      <a:lnTo>
                        <a:pt x="456" y="495"/>
                      </a:lnTo>
                      <a:lnTo>
                        <a:pt x="450" y="494"/>
                      </a:lnTo>
                      <a:lnTo>
                        <a:pt x="443" y="493"/>
                      </a:lnTo>
                      <a:lnTo>
                        <a:pt x="441" y="492"/>
                      </a:lnTo>
                      <a:lnTo>
                        <a:pt x="438" y="488"/>
                      </a:lnTo>
                      <a:lnTo>
                        <a:pt x="437" y="486"/>
                      </a:lnTo>
                      <a:lnTo>
                        <a:pt x="432" y="473"/>
                      </a:lnTo>
                      <a:lnTo>
                        <a:pt x="429" y="464"/>
                      </a:lnTo>
                      <a:lnTo>
                        <a:pt x="426" y="461"/>
                      </a:lnTo>
                      <a:lnTo>
                        <a:pt x="423" y="457"/>
                      </a:lnTo>
                      <a:lnTo>
                        <a:pt x="420" y="451"/>
                      </a:lnTo>
                      <a:lnTo>
                        <a:pt x="418" y="445"/>
                      </a:lnTo>
                      <a:lnTo>
                        <a:pt x="418" y="441"/>
                      </a:lnTo>
                      <a:lnTo>
                        <a:pt x="417" y="436"/>
                      </a:lnTo>
                      <a:lnTo>
                        <a:pt x="413" y="431"/>
                      </a:lnTo>
                      <a:lnTo>
                        <a:pt x="409" y="429"/>
                      </a:lnTo>
                      <a:lnTo>
                        <a:pt x="407" y="428"/>
                      </a:lnTo>
                      <a:lnTo>
                        <a:pt x="399" y="425"/>
                      </a:lnTo>
                      <a:lnTo>
                        <a:pt x="395" y="424"/>
                      </a:lnTo>
                      <a:lnTo>
                        <a:pt x="393" y="423"/>
                      </a:lnTo>
                      <a:lnTo>
                        <a:pt x="390" y="422"/>
                      </a:lnTo>
                      <a:lnTo>
                        <a:pt x="387" y="422"/>
                      </a:lnTo>
                      <a:lnTo>
                        <a:pt x="384" y="423"/>
                      </a:lnTo>
                      <a:lnTo>
                        <a:pt x="381" y="425"/>
                      </a:lnTo>
                      <a:lnTo>
                        <a:pt x="379" y="430"/>
                      </a:lnTo>
                      <a:lnTo>
                        <a:pt x="376" y="433"/>
                      </a:lnTo>
                      <a:lnTo>
                        <a:pt x="373" y="435"/>
                      </a:lnTo>
                      <a:lnTo>
                        <a:pt x="371" y="435"/>
                      </a:lnTo>
                      <a:lnTo>
                        <a:pt x="367" y="433"/>
                      </a:lnTo>
                      <a:lnTo>
                        <a:pt x="363" y="430"/>
                      </a:lnTo>
                      <a:lnTo>
                        <a:pt x="352" y="419"/>
                      </a:lnTo>
                      <a:lnTo>
                        <a:pt x="340" y="404"/>
                      </a:lnTo>
                      <a:lnTo>
                        <a:pt x="325" y="384"/>
                      </a:lnTo>
                      <a:lnTo>
                        <a:pt x="323" y="380"/>
                      </a:lnTo>
                      <a:lnTo>
                        <a:pt x="321" y="379"/>
                      </a:lnTo>
                      <a:lnTo>
                        <a:pt x="319" y="379"/>
                      </a:lnTo>
                      <a:lnTo>
                        <a:pt x="278" y="380"/>
                      </a:lnTo>
                      <a:lnTo>
                        <a:pt x="277" y="381"/>
                      </a:lnTo>
                      <a:lnTo>
                        <a:pt x="276" y="382"/>
                      </a:lnTo>
                      <a:lnTo>
                        <a:pt x="274" y="385"/>
                      </a:lnTo>
                      <a:lnTo>
                        <a:pt x="274" y="388"/>
                      </a:lnTo>
                      <a:lnTo>
                        <a:pt x="273" y="391"/>
                      </a:lnTo>
                      <a:lnTo>
                        <a:pt x="272" y="391"/>
                      </a:lnTo>
                      <a:lnTo>
                        <a:pt x="269" y="392"/>
                      </a:lnTo>
                      <a:lnTo>
                        <a:pt x="259" y="391"/>
                      </a:lnTo>
                      <a:lnTo>
                        <a:pt x="250" y="392"/>
                      </a:lnTo>
                      <a:lnTo>
                        <a:pt x="248" y="392"/>
                      </a:lnTo>
                      <a:lnTo>
                        <a:pt x="243" y="392"/>
                      </a:lnTo>
                      <a:lnTo>
                        <a:pt x="233" y="388"/>
                      </a:lnTo>
                      <a:lnTo>
                        <a:pt x="222" y="385"/>
                      </a:lnTo>
                      <a:lnTo>
                        <a:pt x="207" y="379"/>
                      </a:lnTo>
                      <a:lnTo>
                        <a:pt x="191" y="374"/>
                      </a:lnTo>
                      <a:lnTo>
                        <a:pt x="180" y="373"/>
                      </a:lnTo>
                      <a:lnTo>
                        <a:pt x="177" y="372"/>
                      </a:lnTo>
                      <a:lnTo>
                        <a:pt x="175" y="369"/>
                      </a:lnTo>
                      <a:lnTo>
                        <a:pt x="175" y="368"/>
                      </a:lnTo>
                      <a:lnTo>
                        <a:pt x="177" y="367"/>
                      </a:lnTo>
                      <a:lnTo>
                        <a:pt x="179" y="365"/>
                      </a:lnTo>
                      <a:lnTo>
                        <a:pt x="179" y="362"/>
                      </a:lnTo>
                      <a:lnTo>
                        <a:pt x="177" y="361"/>
                      </a:lnTo>
                      <a:lnTo>
                        <a:pt x="174" y="360"/>
                      </a:lnTo>
                      <a:lnTo>
                        <a:pt x="133" y="361"/>
                      </a:lnTo>
                      <a:lnTo>
                        <a:pt x="128" y="353"/>
                      </a:lnTo>
                      <a:lnTo>
                        <a:pt x="123" y="346"/>
                      </a:lnTo>
                      <a:lnTo>
                        <a:pt x="116" y="341"/>
                      </a:lnTo>
                      <a:lnTo>
                        <a:pt x="112" y="340"/>
                      </a:lnTo>
                      <a:lnTo>
                        <a:pt x="107" y="339"/>
                      </a:lnTo>
                      <a:lnTo>
                        <a:pt x="103" y="339"/>
                      </a:lnTo>
                      <a:lnTo>
                        <a:pt x="99" y="337"/>
                      </a:lnTo>
                      <a:lnTo>
                        <a:pt x="87" y="339"/>
                      </a:lnTo>
                      <a:lnTo>
                        <a:pt x="84" y="339"/>
                      </a:lnTo>
                      <a:lnTo>
                        <a:pt x="81" y="337"/>
                      </a:lnTo>
                      <a:lnTo>
                        <a:pt x="79" y="335"/>
                      </a:lnTo>
                      <a:lnTo>
                        <a:pt x="78" y="333"/>
                      </a:lnTo>
                      <a:lnTo>
                        <a:pt x="75" y="327"/>
                      </a:lnTo>
                      <a:lnTo>
                        <a:pt x="71" y="321"/>
                      </a:lnTo>
                      <a:lnTo>
                        <a:pt x="69" y="320"/>
                      </a:lnTo>
                      <a:lnTo>
                        <a:pt x="67" y="318"/>
                      </a:lnTo>
                      <a:lnTo>
                        <a:pt x="66" y="317"/>
                      </a:lnTo>
                      <a:lnTo>
                        <a:pt x="64" y="310"/>
                      </a:lnTo>
                      <a:lnTo>
                        <a:pt x="60" y="303"/>
                      </a:lnTo>
                      <a:lnTo>
                        <a:pt x="55" y="298"/>
                      </a:lnTo>
                      <a:lnTo>
                        <a:pt x="51" y="292"/>
                      </a:lnTo>
                      <a:lnTo>
                        <a:pt x="45" y="279"/>
                      </a:lnTo>
                      <a:lnTo>
                        <a:pt x="41" y="271"/>
                      </a:lnTo>
                      <a:lnTo>
                        <a:pt x="40" y="266"/>
                      </a:lnTo>
                      <a:lnTo>
                        <a:pt x="38" y="264"/>
                      </a:lnTo>
                      <a:lnTo>
                        <a:pt x="41" y="258"/>
                      </a:lnTo>
                      <a:lnTo>
                        <a:pt x="41" y="254"/>
                      </a:lnTo>
                      <a:lnTo>
                        <a:pt x="41" y="251"/>
                      </a:lnTo>
                      <a:lnTo>
                        <a:pt x="38" y="252"/>
                      </a:lnTo>
                      <a:lnTo>
                        <a:pt x="36" y="252"/>
                      </a:lnTo>
                      <a:lnTo>
                        <a:pt x="33" y="251"/>
                      </a:lnTo>
                      <a:lnTo>
                        <a:pt x="31" y="250"/>
                      </a:lnTo>
                      <a:lnTo>
                        <a:pt x="27" y="245"/>
                      </a:lnTo>
                      <a:lnTo>
                        <a:pt x="23" y="239"/>
                      </a:lnTo>
                      <a:lnTo>
                        <a:pt x="20" y="237"/>
                      </a:lnTo>
                      <a:lnTo>
                        <a:pt x="19" y="232"/>
                      </a:lnTo>
                      <a:lnTo>
                        <a:pt x="15" y="222"/>
                      </a:lnTo>
                      <a:lnTo>
                        <a:pt x="13" y="213"/>
                      </a:lnTo>
                      <a:lnTo>
                        <a:pt x="10" y="203"/>
                      </a:lnTo>
                      <a:lnTo>
                        <a:pt x="8" y="200"/>
                      </a:lnTo>
                      <a:lnTo>
                        <a:pt x="7" y="198"/>
                      </a:lnTo>
                      <a:lnTo>
                        <a:pt x="7" y="193"/>
                      </a:lnTo>
                      <a:lnTo>
                        <a:pt x="8" y="189"/>
                      </a:lnTo>
                      <a:lnTo>
                        <a:pt x="9" y="187"/>
                      </a:lnTo>
                      <a:lnTo>
                        <a:pt x="10" y="183"/>
                      </a:lnTo>
                      <a:lnTo>
                        <a:pt x="10" y="175"/>
                      </a:lnTo>
                      <a:lnTo>
                        <a:pt x="9" y="170"/>
                      </a:lnTo>
                      <a:lnTo>
                        <a:pt x="8" y="167"/>
                      </a:lnTo>
                      <a:lnTo>
                        <a:pt x="8" y="164"/>
                      </a:lnTo>
                      <a:lnTo>
                        <a:pt x="8" y="162"/>
                      </a:lnTo>
                      <a:lnTo>
                        <a:pt x="8" y="160"/>
                      </a:lnTo>
                      <a:lnTo>
                        <a:pt x="8" y="157"/>
                      </a:lnTo>
                      <a:lnTo>
                        <a:pt x="7" y="154"/>
                      </a:lnTo>
                      <a:lnTo>
                        <a:pt x="5" y="149"/>
                      </a:lnTo>
                      <a:lnTo>
                        <a:pt x="7" y="141"/>
                      </a:lnTo>
                      <a:lnTo>
                        <a:pt x="9" y="132"/>
                      </a:lnTo>
                      <a:lnTo>
                        <a:pt x="12" y="124"/>
                      </a:lnTo>
                      <a:lnTo>
                        <a:pt x="13" y="119"/>
                      </a:lnTo>
                      <a:lnTo>
                        <a:pt x="12" y="116"/>
                      </a:lnTo>
                      <a:lnTo>
                        <a:pt x="12" y="113"/>
                      </a:lnTo>
                      <a:lnTo>
                        <a:pt x="12" y="111"/>
                      </a:lnTo>
                      <a:lnTo>
                        <a:pt x="14" y="107"/>
                      </a:lnTo>
                      <a:lnTo>
                        <a:pt x="14" y="103"/>
                      </a:lnTo>
                      <a:lnTo>
                        <a:pt x="14" y="99"/>
                      </a:lnTo>
                      <a:lnTo>
                        <a:pt x="13" y="94"/>
                      </a:lnTo>
                      <a:lnTo>
                        <a:pt x="14" y="91"/>
                      </a:lnTo>
                      <a:lnTo>
                        <a:pt x="15" y="84"/>
                      </a:lnTo>
                      <a:lnTo>
                        <a:pt x="15" y="78"/>
                      </a:lnTo>
                      <a:lnTo>
                        <a:pt x="15" y="72"/>
                      </a:lnTo>
                      <a:lnTo>
                        <a:pt x="13" y="66"/>
                      </a:lnTo>
                      <a:lnTo>
                        <a:pt x="13" y="62"/>
                      </a:lnTo>
                      <a:lnTo>
                        <a:pt x="13" y="59"/>
                      </a:lnTo>
                      <a:lnTo>
                        <a:pt x="13" y="48"/>
                      </a:lnTo>
                      <a:lnTo>
                        <a:pt x="12" y="43"/>
                      </a:lnTo>
                      <a:lnTo>
                        <a:pt x="9" y="39"/>
                      </a:lnTo>
                      <a:lnTo>
                        <a:pt x="3" y="30"/>
                      </a:lnTo>
                      <a:lnTo>
                        <a:pt x="0" y="27"/>
                      </a:lnTo>
                      <a:lnTo>
                        <a:pt x="0" y="24"/>
                      </a:lnTo>
                      <a:lnTo>
                        <a:pt x="1" y="23"/>
                      </a:lnTo>
                      <a:lnTo>
                        <a:pt x="7" y="22"/>
                      </a:lnTo>
                      <a:lnTo>
                        <a:pt x="13" y="22"/>
                      </a:lnTo>
                      <a:lnTo>
                        <a:pt x="24" y="24"/>
                      </a:lnTo>
                      <a:lnTo>
                        <a:pt x="27" y="23"/>
                      </a:lnTo>
                      <a:lnTo>
                        <a:pt x="28" y="22"/>
                      </a:lnTo>
                      <a:lnTo>
                        <a:pt x="31" y="22"/>
                      </a:lnTo>
                      <a:lnTo>
                        <a:pt x="32" y="23"/>
                      </a:lnTo>
                      <a:lnTo>
                        <a:pt x="38" y="35"/>
                      </a:lnTo>
                      <a:lnTo>
                        <a:pt x="42" y="40"/>
                      </a:lnTo>
                      <a:lnTo>
                        <a:pt x="43" y="40"/>
                      </a:lnTo>
                      <a:lnTo>
                        <a:pt x="46" y="40"/>
                      </a:lnTo>
                      <a:lnTo>
                        <a:pt x="47" y="36"/>
                      </a:lnTo>
                      <a:lnTo>
                        <a:pt x="47" y="32"/>
                      </a:lnTo>
                      <a:lnTo>
                        <a:pt x="45" y="21"/>
                      </a:lnTo>
                      <a:lnTo>
                        <a:pt x="41" y="10"/>
                      </a:lnTo>
                      <a:lnTo>
                        <a:pt x="38" y="4"/>
                      </a:lnTo>
                      <a:lnTo>
                        <a:pt x="517" y="0"/>
                      </a:lnTo>
                      <a:lnTo>
                        <a:pt x="527" y="8"/>
                      </a:lnTo>
                      <a:lnTo>
                        <a:pt x="535" y="13"/>
                      </a:lnTo>
                      <a:lnTo>
                        <a:pt x="537" y="14"/>
                      </a:lnTo>
                      <a:lnTo>
                        <a:pt x="540" y="15"/>
                      </a:lnTo>
                      <a:lnTo>
                        <a:pt x="554" y="11"/>
                      </a:lnTo>
                      <a:lnTo>
                        <a:pt x="560" y="10"/>
                      </a:lnTo>
                      <a:lnTo>
                        <a:pt x="563" y="10"/>
                      </a:lnTo>
                      <a:lnTo>
                        <a:pt x="565" y="11"/>
                      </a:lnTo>
                      <a:lnTo>
                        <a:pt x="569" y="15"/>
                      </a:lnTo>
                      <a:lnTo>
                        <a:pt x="573" y="17"/>
                      </a:lnTo>
                      <a:lnTo>
                        <a:pt x="577" y="17"/>
                      </a:lnTo>
                      <a:lnTo>
                        <a:pt x="586" y="17"/>
                      </a:lnTo>
                      <a:lnTo>
                        <a:pt x="596" y="17"/>
                      </a:lnTo>
                      <a:lnTo>
                        <a:pt x="605" y="20"/>
                      </a:lnTo>
                      <a:lnTo>
                        <a:pt x="615" y="22"/>
                      </a:lnTo>
                      <a:lnTo>
                        <a:pt x="617" y="22"/>
                      </a:lnTo>
                      <a:lnTo>
                        <a:pt x="619" y="21"/>
                      </a:lnTo>
                      <a:lnTo>
                        <a:pt x="621" y="20"/>
                      </a:lnTo>
                      <a:lnTo>
                        <a:pt x="624" y="17"/>
                      </a:lnTo>
                      <a:lnTo>
                        <a:pt x="631" y="17"/>
                      </a:lnTo>
                      <a:lnTo>
                        <a:pt x="635" y="19"/>
                      </a:lnTo>
                      <a:lnTo>
                        <a:pt x="638" y="20"/>
                      </a:lnTo>
                      <a:lnTo>
                        <a:pt x="652" y="30"/>
                      </a:lnTo>
                      <a:lnTo>
                        <a:pt x="667" y="40"/>
                      </a:lnTo>
                      <a:lnTo>
                        <a:pt x="682" y="47"/>
                      </a:lnTo>
                      <a:lnTo>
                        <a:pt x="699" y="53"/>
                      </a:lnTo>
                      <a:lnTo>
                        <a:pt x="701" y="55"/>
                      </a:lnTo>
                      <a:lnTo>
                        <a:pt x="704" y="59"/>
                      </a:lnTo>
                      <a:lnTo>
                        <a:pt x="709" y="71"/>
                      </a:lnTo>
                      <a:lnTo>
                        <a:pt x="711" y="75"/>
                      </a:lnTo>
                      <a:lnTo>
                        <a:pt x="715" y="80"/>
                      </a:lnTo>
                      <a:lnTo>
                        <a:pt x="720" y="84"/>
                      </a:lnTo>
                      <a:lnTo>
                        <a:pt x="724" y="88"/>
                      </a:lnTo>
                      <a:lnTo>
                        <a:pt x="733" y="100"/>
                      </a:lnTo>
                      <a:lnTo>
                        <a:pt x="738" y="112"/>
                      </a:lnTo>
                      <a:lnTo>
                        <a:pt x="742" y="124"/>
                      </a:lnTo>
                      <a:lnTo>
                        <a:pt x="742" y="129"/>
                      </a:lnTo>
                      <a:lnTo>
                        <a:pt x="740" y="132"/>
                      </a:lnTo>
                      <a:lnTo>
                        <a:pt x="735" y="141"/>
                      </a:lnTo>
                      <a:lnTo>
                        <a:pt x="724" y="155"/>
                      </a:lnTo>
                      <a:lnTo>
                        <a:pt x="724" y="156"/>
                      </a:lnTo>
                      <a:lnTo>
                        <a:pt x="724" y="157"/>
                      </a:lnTo>
                      <a:lnTo>
                        <a:pt x="727" y="160"/>
                      </a:lnTo>
                      <a:lnTo>
                        <a:pt x="733" y="162"/>
                      </a:lnTo>
                      <a:lnTo>
                        <a:pt x="740" y="162"/>
                      </a:lnTo>
                      <a:lnTo>
                        <a:pt x="749" y="161"/>
                      </a:lnTo>
                      <a:lnTo>
                        <a:pt x="760" y="158"/>
                      </a:lnTo>
                      <a:lnTo>
                        <a:pt x="779" y="152"/>
                      </a:lnTo>
                      <a:lnTo>
                        <a:pt x="796" y="144"/>
                      </a:lnTo>
                      <a:lnTo>
                        <a:pt x="799" y="142"/>
                      </a:lnTo>
                      <a:lnTo>
                        <a:pt x="801" y="138"/>
                      </a:lnTo>
                      <a:lnTo>
                        <a:pt x="803" y="136"/>
                      </a:lnTo>
                      <a:lnTo>
                        <a:pt x="807" y="134"/>
                      </a:lnTo>
                      <a:lnTo>
                        <a:pt x="810" y="131"/>
                      </a:lnTo>
                      <a:lnTo>
                        <a:pt x="814" y="129"/>
                      </a:lnTo>
                      <a:lnTo>
                        <a:pt x="822" y="124"/>
                      </a:lnTo>
                      <a:lnTo>
                        <a:pt x="824" y="124"/>
                      </a:lnTo>
                      <a:lnTo>
                        <a:pt x="826" y="124"/>
                      </a:lnTo>
                      <a:lnTo>
                        <a:pt x="829" y="125"/>
                      </a:lnTo>
                      <a:lnTo>
                        <a:pt x="833" y="124"/>
                      </a:lnTo>
                      <a:lnTo>
                        <a:pt x="838" y="123"/>
                      </a:lnTo>
                      <a:lnTo>
                        <a:pt x="842" y="122"/>
                      </a:lnTo>
                      <a:lnTo>
                        <a:pt x="845" y="118"/>
                      </a:lnTo>
                      <a:lnTo>
                        <a:pt x="857" y="103"/>
                      </a:lnTo>
                      <a:lnTo>
                        <a:pt x="861" y="99"/>
                      </a:lnTo>
                      <a:lnTo>
                        <a:pt x="865" y="96"/>
                      </a:lnTo>
                      <a:lnTo>
                        <a:pt x="870" y="94"/>
                      </a:lnTo>
                      <a:lnTo>
                        <a:pt x="875" y="93"/>
                      </a:lnTo>
                      <a:lnTo>
                        <a:pt x="887" y="94"/>
                      </a:lnTo>
                      <a:lnTo>
                        <a:pt x="898" y="96"/>
                      </a:lnTo>
                      <a:lnTo>
                        <a:pt x="908" y="96"/>
                      </a:lnTo>
                      <a:lnTo>
                        <a:pt x="913" y="94"/>
                      </a:lnTo>
                      <a:lnTo>
                        <a:pt x="918" y="93"/>
                      </a:lnTo>
                      <a:lnTo>
                        <a:pt x="928" y="86"/>
                      </a:lnTo>
                      <a:lnTo>
                        <a:pt x="937" y="78"/>
                      </a:lnTo>
                      <a:lnTo>
                        <a:pt x="945" y="68"/>
                      </a:lnTo>
                      <a:lnTo>
                        <a:pt x="951" y="60"/>
                      </a:lnTo>
                      <a:lnTo>
                        <a:pt x="956" y="53"/>
                      </a:lnTo>
                      <a:lnTo>
                        <a:pt x="959" y="49"/>
                      </a:lnTo>
                      <a:lnTo>
                        <a:pt x="961" y="47"/>
                      </a:lnTo>
                      <a:lnTo>
                        <a:pt x="968" y="45"/>
                      </a:lnTo>
                      <a:lnTo>
                        <a:pt x="974" y="45"/>
                      </a:lnTo>
                      <a:lnTo>
                        <a:pt x="980" y="45"/>
                      </a:lnTo>
                      <a:lnTo>
                        <a:pt x="987" y="45"/>
                      </a:lnTo>
                      <a:lnTo>
                        <a:pt x="987" y="52"/>
                      </a:lnTo>
                      <a:lnTo>
                        <a:pt x="988" y="60"/>
                      </a:lnTo>
                      <a:lnTo>
                        <a:pt x="991" y="69"/>
                      </a:lnTo>
                      <a:lnTo>
                        <a:pt x="993" y="79"/>
                      </a:lnTo>
                      <a:lnTo>
                        <a:pt x="996" y="86"/>
                      </a:lnTo>
                      <a:lnTo>
                        <a:pt x="998" y="88"/>
                      </a:lnTo>
                      <a:lnTo>
                        <a:pt x="1001" y="91"/>
                      </a:lnTo>
                      <a:lnTo>
                        <a:pt x="1000" y="93"/>
                      </a:lnTo>
                      <a:lnTo>
                        <a:pt x="1000" y="96"/>
                      </a:lnTo>
                      <a:lnTo>
                        <a:pt x="1000" y="100"/>
                      </a:lnTo>
                      <a:lnTo>
                        <a:pt x="998" y="103"/>
                      </a:lnTo>
                      <a:lnTo>
                        <a:pt x="996" y="105"/>
                      </a:lnTo>
                      <a:lnTo>
                        <a:pt x="989" y="107"/>
                      </a:lnTo>
                      <a:lnTo>
                        <a:pt x="983" y="107"/>
                      </a:lnTo>
                      <a:lnTo>
                        <a:pt x="975" y="107"/>
                      </a:lnTo>
                      <a:lnTo>
                        <a:pt x="973" y="106"/>
                      </a:lnTo>
                      <a:lnTo>
                        <a:pt x="972" y="106"/>
                      </a:lnTo>
                      <a:lnTo>
                        <a:pt x="967" y="107"/>
                      </a:lnTo>
                      <a:lnTo>
                        <a:pt x="963" y="110"/>
                      </a:lnTo>
                      <a:lnTo>
                        <a:pt x="960" y="115"/>
                      </a:lnTo>
                      <a:lnTo>
                        <a:pt x="958" y="118"/>
                      </a:lnTo>
                      <a:lnTo>
                        <a:pt x="956" y="119"/>
                      </a:lnTo>
                      <a:lnTo>
                        <a:pt x="955" y="120"/>
                      </a:lnTo>
                      <a:lnTo>
                        <a:pt x="953" y="120"/>
                      </a:lnTo>
                      <a:lnTo>
                        <a:pt x="951" y="122"/>
                      </a:lnTo>
                      <a:lnTo>
                        <a:pt x="946" y="129"/>
                      </a:lnTo>
                      <a:lnTo>
                        <a:pt x="941" y="135"/>
                      </a:lnTo>
                      <a:lnTo>
                        <a:pt x="939" y="138"/>
                      </a:lnTo>
                      <a:lnTo>
                        <a:pt x="937" y="143"/>
                      </a:lnTo>
                      <a:lnTo>
                        <a:pt x="937" y="151"/>
                      </a:lnTo>
                      <a:lnTo>
                        <a:pt x="939" y="161"/>
                      </a:lnTo>
                      <a:lnTo>
                        <a:pt x="942" y="169"/>
                      </a:lnTo>
                      <a:lnTo>
                        <a:pt x="944" y="170"/>
                      </a:lnTo>
                      <a:lnTo>
                        <a:pt x="946" y="170"/>
                      </a:lnTo>
                      <a:lnTo>
                        <a:pt x="950" y="168"/>
                      </a:lnTo>
                      <a:lnTo>
                        <a:pt x="953" y="167"/>
                      </a:lnTo>
                      <a:lnTo>
                        <a:pt x="953" y="168"/>
                      </a:lnTo>
                      <a:lnTo>
                        <a:pt x="951" y="170"/>
                      </a:lnTo>
                      <a:lnTo>
                        <a:pt x="949" y="173"/>
                      </a:lnTo>
                      <a:lnTo>
                        <a:pt x="940" y="177"/>
                      </a:lnTo>
                      <a:lnTo>
                        <a:pt x="936" y="179"/>
                      </a:lnTo>
                      <a:lnTo>
                        <a:pt x="932" y="177"/>
                      </a:lnTo>
                      <a:lnTo>
                        <a:pt x="925" y="174"/>
                      </a:lnTo>
                      <a:lnTo>
                        <a:pt x="921" y="174"/>
                      </a:lnTo>
                      <a:lnTo>
                        <a:pt x="908" y="179"/>
                      </a:lnTo>
                      <a:lnTo>
                        <a:pt x="895" y="182"/>
                      </a:lnTo>
                      <a:lnTo>
                        <a:pt x="889" y="184"/>
                      </a:lnTo>
                      <a:lnTo>
                        <a:pt x="885" y="187"/>
                      </a:lnTo>
                      <a:lnTo>
                        <a:pt x="881" y="192"/>
                      </a:lnTo>
                      <a:lnTo>
                        <a:pt x="878" y="196"/>
                      </a:lnTo>
                      <a:lnTo>
                        <a:pt x="876" y="201"/>
                      </a:lnTo>
                      <a:lnTo>
                        <a:pt x="876" y="205"/>
                      </a:lnTo>
                      <a:lnTo>
                        <a:pt x="880" y="212"/>
                      </a:lnTo>
                      <a:lnTo>
                        <a:pt x="881" y="213"/>
                      </a:lnTo>
                      <a:lnTo>
                        <a:pt x="880" y="214"/>
                      </a:lnTo>
                      <a:lnTo>
                        <a:pt x="879" y="218"/>
                      </a:lnTo>
                      <a:lnTo>
                        <a:pt x="878" y="222"/>
                      </a:lnTo>
                      <a:lnTo>
                        <a:pt x="876" y="225"/>
                      </a:lnTo>
                      <a:lnTo>
                        <a:pt x="875" y="226"/>
                      </a:lnTo>
                      <a:lnTo>
                        <a:pt x="871" y="226"/>
                      </a:lnTo>
                      <a:lnTo>
                        <a:pt x="867" y="225"/>
                      </a:lnTo>
                      <a:lnTo>
                        <a:pt x="864" y="221"/>
                      </a:lnTo>
                      <a:lnTo>
                        <a:pt x="861" y="218"/>
                      </a:lnTo>
                      <a:lnTo>
                        <a:pt x="861" y="217"/>
                      </a:lnTo>
                      <a:lnTo>
                        <a:pt x="860" y="217"/>
                      </a:lnTo>
                      <a:lnTo>
                        <a:pt x="860" y="224"/>
                      </a:lnTo>
                      <a:lnTo>
                        <a:pt x="861" y="230"/>
                      </a:lnTo>
                      <a:lnTo>
                        <a:pt x="862" y="235"/>
                      </a:lnTo>
                      <a:lnTo>
                        <a:pt x="864" y="241"/>
                      </a:lnTo>
                      <a:lnTo>
                        <a:pt x="864" y="245"/>
                      </a:lnTo>
                      <a:lnTo>
                        <a:pt x="864" y="247"/>
                      </a:lnTo>
                      <a:lnTo>
                        <a:pt x="860" y="253"/>
                      </a:lnTo>
                      <a:lnTo>
                        <a:pt x="857" y="258"/>
                      </a:lnTo>
                      <a:lnTo>
                        <a:pt x="853" y="267"/>
                      </a:lnTo>
                      <a:lnTo>
                        <a:pt x="851" y="267"/>
                      </a:lnTo>
                      <a:lnTo>
                        <a:pt x="848" y="267"/>
                      </a:lnTo>
                      <a:lnTo>
                        <a:pt x="848" y="265"/>
                      </a:lnTo>
                      <a:lnTo>
                        <a:pt x="847" y="250"/>
                      </a:lnTo>
                      <a:lnTo>
                        <a:pt x="845" y="243"/>
                      </a:lnTo>
                      <a:lnTo>
                        <a:pt x="842" y="240"/>
                      </a:lnTo>
                      <a:lnTo>
                        <a:pt x="840" y="237"/>
                      </a:lnTo>
                      <a:lnTo>
                        <a:pt x="838" y="235"/>
                      </a:lnTo>
                      <a:lnTo>
                        <a:pt x="838" y="233"/>
                      </a:lnTo>
                      <a:lnTo>
                        <a:pt x="840" y="227"/>
                      </a:lnTo>
                      <a:lnTo>
                        <a:pt x="840" y="226"/>
                      </a:lnTo>
                      <a:lnTo>
                        <a:pt x="838" y="226"/>
                      </a:lnTo>
                      <a:lnTo>
                        <a:pt x="836" y="226"/>
                      </a:lnTo>
                      <a:lnTo>
                        <a:pt x="833" y="226"/>
                      </a:lnTo>
                      <a:lnTo>
                        <a:pt x="832" y="228"/>
                      </a:lnTo>
                      <a:lnTo>
                        <a:pt x="833" y="230"/>
                      </a:lnTo>
                      <a:lnTo>
                        <a:pt x="834" y="234"/>
                      </a:lnTo>
                      <a:lnTo>
                        <a:pt x="834" y="238"/>
                      </a:lnTo>
                      <a:lnTo>
                        <a:pt x="834" y="243"/>
                      </a:lnTo>
                      <a:lnTo>
                        <a:pt x="836" y="246"/>
                      </a:lnTo>
                      <a:lnTo>
                        <a:pt x="840" y="251"/>
                      </a:lnTo>
                      <a:lnTo>
                        <a:pt x="841" y="254"/>
                      </a:lnTo>
                      <a:lnTo>
                        <a:pt x="841" y="257"/>
                      </a:lnTo>
                      <a:lnTo>
                        <a:pt x="840" y="263"/>
                      </a:lnTo>
                      <a:lnTo>
                        <a:pt x="838" y="265"/>
                      </a:lnTo>
                      <a:lnTo>
                        <a:pt x="838" y="269"/>
                      </a:lnTo>
                      <a:lnTo>
                        <a:pt x="841" y="273"/>
                      </a:lnTo>
                      <a:lnTo>
                        <a:pt x="845" y="278"/>
                      </a:lnTo>
                      <a:lnTo>
                        <a:pt x="847" y="284"/>
                      </a:lnTo>
                      <a:lnTo>
                        <a:pt x="848" y="286"/>
                      </a:lnTo>
                      <a:lnTo>
                        <a:pt x="847" y="290"/>
                      </a:lnTo>
                      <a:lnTo>
                        <a:pt x="846" y="292"/>
                      </a:lnTo>
                      <a:lnTo>
                        <a:pt x="842" y="292"/>
                      </a:lnTo>
                      <a:lnTo>
                        <a:pt x="840" y="292"/>
                      </a:lnTo>
                      <a:lnTo>
                        <a:pt x="838" y="294"/>
                      </a:lnTo>
                      <a:lnTo>
                        <a:pt x="837" y="296"/>
                      </a:lnTo>
                      <a:lnTo>
                        <a:pt x="838" y="297"/>
                      </a:lnTo>
                      <a:lnTo>
                        <a:pt x="840" y="298"/>
                      </a:lnTo>
                      <a:lnTo>
                        <a:pt x="842" y="298"/>
                      </a:lnTo>
                      <a:lnTo>
                        <a:pt x="847" y="298"/>
                      </a:lnTo>
                      <a:lnTo>
                        <a:pt x="852" y="297"/>
                      </a:lnTo>
                      <a:lnTo>
                        <a:pt x="853" y="298"/>
                      </a:lnTo>
                      <a:lnTo>
                        <a:pt x="853" y="301"/>
                      </a:lnTo>
                      <a:lnTo>
                        <a:pt x="852" y="305"/>
                      </a:lnTo>
                      <a:lnTo>
                        <a:pt x="851" y="307"/>
                      </a:lnTo>
                      <a:lnTo>
                        <a:pt x="848" y="308"/>
                      </a:lnTo>
                      <a:lnTo>
                        <a:pt x="845" y="308"/>
                      </a:lnTo>
                      <a:lnTo>
                        <a:pt x="841" y="308"/>
                      </a:lnTo>
                      <a:lnTo>
                        <a:pt x="836" y="308"/>
                      </a:lnTo>
                      <a:lnTo>
                        <a:pt x="836" y="309"/>
                      </a:lnTo>
                      <a:lnTo>
                        <a:pt x="836" y="310"/>
                      </a:lnTo>
                      <a:lnTo>
                        <a:pt x="837" y="313"/>
                      </a:lnTo>
                      <a:lnTo>
                        <a:pt x="840" y="315"/>
                      </a:lnTo>
                      <a:lnTo>
                        <a:pt x="842" y="316"/>
                      </a:lnTo>
                      <a:lnTo>
                        <a:pt x="843" y="318"/>
                      </a:lnTo>
                      <a:lnTo>
                        <a:pt x="843" y="321"/>
                      </a:lnTo>
                      <a:lnTo>
                        <a:pt x="842" y="323"/>
                      </a:lnTo>
                      <a:lnTo>
                        <a:pt x="840" y="324"/>
                      </a:lnTo>
                      <a:lnTo>
                        <a:pt x="831" y="323"/>
                      </a:lnTo>
                      <a:lnTo>
                        <a:pt x="827" y="323"/>
                      </a:lnTo>
                      <a:lnTo>
                        <a:pt x="824" y="324"/>
                      </a:lnTo>
                      <a:lnTo>
                        <a:pt x="819" y="329"/>
                      </a:lnTo>
                      <a:lnTo>
                        <a:pt x="812" y="336"/>
                      </a:lnTo>
                      <a:lnTo>
                        <a:pt x="808" y="339"/>
                      </a:lnTo>
                      <a:lnTo>
                        <a:pt x="803" y="341"/>
                      </a:lnTo>
                      <a:lnTo>
                        <a:pt x="794" y="346"/>
                      </a:lnTo>
                      <a:lnTo>
                        <a:pt x="791" y="348"/>
                      </a:lnTo>
                      <a:lnTo>
                        <a:pt x="789" y="353"/>
                      </a:lnTo>
                      <a:lnTo>
                        <a:pt x="786" y="355"/>
                      </a:lnTo>
                      <a:lnTo>
                        <a:pt x="784" y="359"/>
                      </a:lnTo>
                      <a:lnTo>
                        <a:pt x="776" y="365"/>
                      </a:lnTo>
                      <a:lnTo>
                        <a:pt x="773" y="366"/>
                      </a:lnTo>
                      <a:lnTo>
                        <a:pt x="771" y="367"/>
                      </a:lnTo>
                      <a:lnTo>
                        <a:pt x="768" y="368"/>
                      </a:lnTo>
                      <a:lnTo>
                        <a:pt x="767" y="369"/>
                      </a:lnTo>
                      <a:lnTo>
                        <a:pt x="763" y="373"/>
                      </a:lnTo>
                      <a:lnTo>
                        <a:pt x="761" y="377"/>
                      </a:lnTo>
                      <a:lnTo>
                        <a:pt x="758" y="377"/>
                      </a:lnTo>
                      <a:lnTo>
                        <a:pt x="756" y="378"/>
                      </a:lnTo>
                      <a:lnTo>
                        <a:pt x="752" y="378"/>
                      </a:lnTo>
                      <a:lnTo>
                        <a:pt x="751" y="381"/>
                      </a:lnTo>
                      <a:lnTo>
                        <a:pt x="749" y="386"/>
                      </a:lnTo>
                      <a:lnTo>
                        <a:pt x="749" y="393"/>
                      </a:lnTo>
                      <a:lnTo>
                        <a:pt x="751" y="406"/>
                      </a:lnTo>
                      <a:lnTo>
                        <a:pt x="754" y="419"/>
                      </a:lnTo>
                      <a:lnTo>
                        <a:pt x="758" y="432"/>
                      </a:lnTo>
                      <a:lnTo>
                        <a:pt x="763" y="441"/>
                      </a:lnTo>
                      <a:lnTo>
                        <a:pt x="765" y="445"/>
                      </a:lnTo>
                      <a:lnTo>
                        <a:pt x="766" y="450"/>
                      </a:lnTo>
                      <a:lnTo>
                        <a:pt x="765" y="456"/>
                      </a:lnTo>
                      <a:lnTo>
                        <a:pt x="765" y="461"/>
                      </a:lnTo>
                      <a:lnTo>
                        <a:pt x="767" y="467"/>
                      </a:lnTo>
                      <a:lnTo>
                        <a:pt x="768" y="469"/>
                      </a:lnTo>
                      <a:lnTo>
                        <a:pt x="771" y="471"/>
                      </a:lnTo>
                      <a:lnTo>
                        <a:pt x="772" y="473"/>
                      </a:lnTo>
                      <a:lnTo>
                        <a:pt x="772" y="476"/>
                      </a:lnTo>
                      <a:lnTo>
                        <a:pt x="772" y="479"/>
                      </a:lnTo>
                      <a:lnTo>
                        <a:pt x="772" y="481"/>
                      </a:lnTo>
                      <a:lnTo>
                        <a:pt x="775" y="488"/>
                      </a:lnTo>
                      <a:lnTo>
                        <a:pt x="775" y="494"/>
                      </a:lnTo>
                      <a:lnTo>
                        <a:pt x="773" y="495"/>
                      </a:lnTo>
                      <a:lnTo>
                        <a:pt x="773" y="501"/>
                      </a:lnTo>
                      <a:lnTo>
                        <a:pt x="772" y="506"/>
                      </a:lnTo>
                      <a:lnTo>
                        <a:pt x="771" y="509"/>
                      </a:lnTo>
                      <a:lnTo>
                        <a:pt x="767" y="513"/>
                      </a:lnTo>
                      <a:lnTo>
                        <a:pt x="765" y="515"/>
                      </a:lnTo>
                      <a:lnTo>
                        <a:pt x="760" y="518"/>
                      </a:lnTo>
                      <a:lnTo>
                        <a:pt x="754" y="518"/>
                      </a:lnTo>
                      <a:lnTo>
                        <a:pt x="749" y="516"/>
                      </a:lnTo>
                      <a:lnTo>
                        <a:pt x="751" y="515"/>
                      </a:lnTo>
                      <a:lnTo>
                        <a:pt x="753" y="514"/>
                      </a:lnTo>
                      <a:lnTo>
                        <a:pt x="754" y="512"/>
                      </a:lnTo>
                      <a:lnTo>
                        <a:pt x="754" y="511"/>
                      </a:lnTo>
                      <a:lnTo>
                        <a:pt x="752" y="506"/>
                      </a:lnTo>
                      <a:lnTo>
                        <a:pt x="747" y="501"/>
                      </a:lnTo>
                      <a:lnTo>
                        <a:pt x="738" y="495"/>
                      </a:lnTo>
                      <a:lnTo>
                        <a:pt x="737" y="493"/>
                      </a:lnTo>
                      <a:lnTo>
                        <a:pt x="737" y="492"/>
                      </a:lnTo>
                      <a:lnTo>
                        <a:pt x="737" y="487"/>
                      </a:lnTo>
                      <a:lnTo>
                        <a:pt x="729" y="476"/>
                      </a:lnTo>
                      <a:lnTo>
                        <a:pt x="728" y="471"/>
                      </a:lnTo>
                      <a:lnTo>
                        <a:pt x="727" y="469"/>
                      </a:lnTo>
                      <a:lnTo>
                        <a:pt x="728" y="465"/>
                      </a:lnTo>
                      <a:lnTo>
                        <a:pt x="729" y="460"/>
                      </a:lnTo>
                      <a:lnTo>
                        <a:pt x="729" y="452"/>
                      </a:lnTo>
                      <a:lnTo>
                        <a:pt x="729" y="447"/>
                      </a:lnTo>
                      <a:lnTo>
                        <a:pt x="725" y="442"/>
                      </a:lnTo>
                      <a:lnTo>
                        <a:pt x="723" y="438"/>
                      </a:lnTo>
                      <a:lnTo>
                        <a:pt x="718" y="436"/>
                      </a:lnTo>
                      <a:lnTo>
                        <a:pt x="715" y="433"/>
                      </a:lnTo>
                      <a:lnTo>
                        <a:pt x="713" y="431"/>
                      </a:lnTo>
                      <a:lnTo>
                        <a:pt x="713" y="426"/>
                      </a:lnTo>
                      <a:lnTo>
                        <a:pt x="709" y="424"/>
                      </a:lnTo>
                      <a:lnTo>
                        <a:pt x="704" y="419"/>
                      </a:lnTo>
                      <a:lnTo>
                        <a:pt x="701" y="418"/>
                      </a:lnTo>
                      <a:lnTo>
                        <a:pt x="700" y="418"/>
                      </a:lnTo>
                      <a:lnTo>
                        <a:pt x="695" y="419"/>
                      </a:lnTo>
                      <a:lnTo>
                        <a:pt x="686" y="424"/>
                      </a:lnTo>
                      <a:lnTo>
                        <a:pt x="682" y="424"/>
                      </a:lnTo>
                      <a:lnTo>
                        <a:pt x="680" y="423"/>
                      </a:lnTo>
                      <a:lnTo>
                        <a:pt x="677" y="420"/>
                      </a:lnTo>
                      <a:lnTo>
                        <a:pt x="674" y="419"/>
                      </a:lnTo>
                      <a:lnTo>
                        <a:pt x="669" y="416"/>
                      </a:lnTo>
                      <a:lnTo>
                        <a:pt x="667" y="411"/>
                      </a:lnTo>
                      <a:lnTo>
                        <a:pt x="666" y="411"/>
                      </a:lnTo>
                      <a:lnTo>
                        <a:pt x="664" y="411"/>
                      </a:lnTo>
                      <a:lnTo>
                        <a:pt x="659" y="414"/>
                      </a:lnTo>
                      <a:lnTo>
                        <a:pt x="653" y="417"/>
                      </a:lnTo>
                      <a:lnTo>
                        <a:pt x="647" y="417"/>
                      </a:lnTo>
                      <a:lnTo>
                        <a:pt x="639" y="416"/>
                      </a:lnTo>
                      <a:lnTo>
                        <a:pt x="638" y="416"/>
                      </a:lnTo>
                      <a:lnTo>
                        <a:pt x="635" y="417"/>
                      </a:lnTo>
                      <a:lnTo>
                        <a:pt x="631" y="419"/>
                      </a:lnTo>
                      <a:lnTo>
                        <a:pt x="626" y="419"/>
                      </a:lnTo>
                      <a:lnTo>
                        <a:pt x="622" y="418"/>
                      </a:lnTo>
                      <a:lnTo>
                        <a:pt x="617" y="416"/>
                      </a:lnTo>
                      <a:lnTo>
                        <a:pt x="613" y="416"/>
                      </a:lnTo>
                      <a:lnTo>
                        <a:pt x="610" y="416"/>
                      </a:lnTo>
                      <a:lnTo>
                        <a:pt x="608" y="418"/>
                      </a:lnTo>
                      <a:lnTo>
                        <a:pt x="607" y="419"/>
                      </a:lnTo>
                      <a:lnTo>
                        <a:pt x="607" y="422"/>
                      </a:lnTo>
                      <a:lnTo>
                        <a:pt x="610" y="424"/>
                      </a:lnTo>
                      <a:lnTo>
                        <a:pt x="612" y="428"/>
                      </a:lnTo>
                      <a:lnTo>
                        <a:pt x="612" y="433"/>
                      </a:lnTo>
                      <a:lnTo>
                        <a:pt x="612" y="436"/>
                      </a:lnTo>
                      <a:lnTo>
                        <a:pt x="615" y="438"/>
                      </a:lnTo>
                      <a:lnTo>
                        <a:pt x="616" y="441"/>
                      </a:lnTo>
                      <a:lnTo>
                        <a:pt x="616" y="443"/>
                      </a:lnTo>
                      <a:lnTo>
                        <a:pt x="615" y="444"/>
                      </a:lnTo>
                      <a:lnTo>
                        <a:pt x="612" y="443"/>
                      </a:lnTo>
                      <a:lnTo>
                        <a:pt x="610" y="442"/>
                      </a:lnTo>
                      <a:lnTo>
                        <a:pt x="607" y="441"/>
                      </a:lnTo>
                      <a:lnTo>
                        <a:pt x="606" y="438"/>
                      </a:lnTo>
                      <a:lnTo>
                        <a:pt x="603" y="437"/>
                      </a:lnTo>
                      <a:lnTo>
                        <a:pt x="602" y="437"/>
                      </a:lnTo>
                      <a:lnTo>
                        <a:pt x="601" y="438"/>
                      </a:lnTo>
                      <a:lnTo>
                        <a:pt x="598" y="438"/>
                      </a:lnTo>
                      <a:lnTo>
                        <a:pt x="597" y="438"/>
                      </a:lnTo>
                      <a:lnTo>
                        <a:pt x="594" y="437"/>
                      </a:lnTo>
                      <a:lnTo>
                        <a:pt x="591" y="437"/>
                      </a:lnTo>
                      <a:lnTo>
                        <a:pt x="588" y="438"/>
                      </a:lnTo>
                      <a:lnTo>
                        <a:pt x="587" y="438"/>
                      </a:lnTo>
                      <a:lnTo>
                        <a:pt x="584" y="433"/>
                      </a:lnTo>
                      <a:lnTo>
                        <a:pt x="582" y="432"/>
                      </a:lnTo>
                      <a:lnTo>
                        <a:pt x="574" y="429"/>
                      </a:lnTo>
                      <a:lnTo>
                        <a:pt x="570" y="426"/>
                      </a:lnTo>
                      <a:lnTo>
                        <a:pt x="565" y="426"/>
                      </a:lnTo>
                      <a:lnTo>
                        <a:pt x="560" y="425"/>
                      </a:lnTo>
                      <a:lnTo>
                        <a:pt x="550" y="422"/>
                      </a:lnTo>
                      <a:lnTo>
                        <a:pt x="546" y="422"/>
                      </a:lnTo>
                      <a:lnTo>
                        <a:pt x="542" y="422"/>
                      </a:lnTo>
                      <a:lnTo>
                        <a:pt x="536" y="424"/>
                      </a:lnTo>
                      <a:lnTo>
                        <a:pt x="531" y="425"/>
                      </a:lnTo>
                      <a:lnTo>
                        <a:pt x="526" y="426"/>
                      </a:lnTo>
                      <a:lnTo>
                        <a:pt x="521" y="426"/>
                      </a:lnTo>
                      <a:lnTo>
                        <a:pt x="517" y="429"/>
                      </a:lnTo>
                      <a:lnTo>
                        <a:pt x="507" y="438"/>
                      </a:lnTo>
                      <a:lnTo>
                        <a:pt x="503" y="443"/>
                      </a:lnTo>
                      <a:lnTo>
                        <a:pt x="500" y="449"/>
                      </a:lnTo>
                      <a:lnTo>
                        <a:pt x="498" y="452"/>
                      </a:lnTo>
                      <a:lnTo>
                        <a:pt x="494" y="454"/>
                      </a:lnTo>
                      <a:lnTo>
                        <a:pt x="493" y="452"/>
                      </a:lnTo>
                      <a:lnTo>
                        <a:pt x="490" y="452"/>
                      </a:lnTo>
                      <a:lnTo>
                        <a:pt x="488" y="452"/>
                      </a:lnTo>
                      <a:lnTo>
                        <a:pt x="485" y="452"/>
                      </a:lnTo>
                      <a:lnTo>
                        <a:pt x="480" y="456"/>
                      </a:lnTo>
                      <a:lnTo>
                        <a:pt x="476" y="462"/>
                      </a:lnTo>
                      <a:lnTo>
                        <a:pt x="474" y="467"/>
                      </a:lnTo>
                      <a:lnTo>
                        <a:pt x="471" y="474"/>
                      </a:lnTo>
                      <a:lnTo>
                        <a:pt x="470" y="481"/>
                      </a:lnTo>
                      <a:lnTo>
                        <a:pt x="471" y="488"/>
                      </a:lnTo>
                      <a:lnTo>
                        <a:pt x="473" y="495"/>
                      </a:lnTo>
                      <a:lnTo>
                        <a:pt x="474" y="497"/>
                      </a:lnTo>
                      <a:lnTo>
                        <a:pt x="474" y="50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5" name="Freeform 1010"/>
                <p:cNvSpPr>
                  <a:spLocks/>
                </p:cNvSpPr>
                <p:nvPr/>
              </p:nvSpPr>
              <p:spPr bwMode="auto">
                <a:xfrm>
                  <a:off x="1534149" y="2935748"/>
                  <a:ext cx="8879" cy="19239"/>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2147483647 w 6"/>
                    <a:gd name="T11" fmla="*/ 2147483647 h 13"/>
                    <a:gd name="T12" fmla="*/ 2147483647 w 6"/>
                    <a:gd name="T13" fmla="*/ 2147483647 h 13"/>
                    <a:gd name="T14" fmla="*/ 0 w 6"/>
                    <a:gd name="T15" fmla="*/ 2147483647 h 13"/>
                    <a:gd name="T16" fmla="*/ 0 w 6"/>
                    <a:gd name="T17" fmla="*/ 2147483647 h 13"/>
                    <a:gd name="T18" fmla="*/ 2147483647 w 6"/>
                    <a:gd name="T19" fmla="*/ 0 h 13"/>
                    <a:gd name="T20" fmla="*/ 2147483647 w 6"/>
                    <a:gd name="T21" fmla="*/ 0 h 13"/>
                    <a:gd name="T22" fmla="*/ 2147483647 w 6"/>
                    <a:gd name="T23" fmla="*/ 0 h 13"/>
                    <a:gd name="T24" fmla="*/ 2147483647 w 6"/>
                    <a:gd name="T25" fmla="*/ 0 h 13"/>
                    <a:gd name="T26" fmla="*/ 2147483647 w 6"/>
                    <a:gd name="T27" fmla="*/ 2147483647 h 13"/>
                    <a:gd name="T28" fmla="*/ 2147483647 w 6"/>
                    <a:gd name="T29" fmla="*/ 2147483647 h 13"/>
                    <a:gd name="T30" fmla="*/ 2147483647 w 6"/>
                    <a:gd name="T31" fmla="*/ 2147483647 h 13"/>
                    <a:gd name="T32" fmla="*/ 2147483647 w 6"/>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13"/>
                    <a:gd name="T53" fmla="*/ 6 w 6"/>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13">
                      <a:moveTo>
                        <a:pt x="6" y="8"/>
                      </a:moveTo>
                      <a:lnTo>
                        <a:pt x="6" y="8"/>
                      </a:lnTo>
                      <a:lnTo>
                        <a:pt x="6" y="10"/>
                      </a:lnTo>
                      <a:lnTo>
                        <a:pt x="5" y="13"/>
                      </a:lnTo>
                      <a:lnTo>
                        <a:pt x="3" y="13"/>
                      </a:lnTo>
                      <a:lnTo>
                        <a:pt x="1" y="11"/>
                      </a:lnTo>
                      <a:lnTo>
                        <a:pt x="0" y="8"/>
                      </a:lnTo>
                      <a:lnTo>
                        <a:pt x="0" y="3"/>
                      </a:lnTo>
                      <a:lnTo>
                        <a:pt x="1" y="0"/>
                      </a:lnTo>
                      <a:lnTo>
                        <a:pt x="3" y="0"/>
                      </a:lnTo>
                      <a:lnTo>
                        <a:pt x="5" y="1"/>
                      </a:lnTo>
                      <a:lnTo>
                        <a:pt x="5" y="3"/>
                      </a:lnTo>
                      <a:lnTo>
                        <a:pt x="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6" name="Freeform 1011"/>
                <p:cNvSpPr>
                  <a:spLocks/>
                </p:cNvSpPr>
                <p:nvPr/>
              </p:nvSpPr>
              <p:spPr bwMode="auto">
                <a:xfrm>
                  <a:off x="1503071" y="2879512"/>
                  <a:ext cx="16278" cy="11839"/>
                </a:xfrm>
                <a:custGeom>
                  <a:avLst/>
                  <a:gdLst>
                    <a:gd name="T0" fmla="*/ 2147483647 w 12"/>
                    <a:gd name="T1" fmla="*/ 2147483647 h 8"/>
                    <a:gd name="T2" fmla="*/ 2147483647 w 12"/>
                    <a:gd name="T3" fmla="*/ 2147483647 h 8"/>
                    <a:gd name="T4" fmla="*/ 0 w 12"/>
                    <a:gd name="T5" fmla="*/ 2147483647 h 8"/>
                    <a:gd name="T6" fmla="*/ 2147483647 w 12"/>
                    <a:gd name="T7" fmla="*/ 2147483647 h 8"/>
                    <a:gd name="T8" fmla="*/ 2147483647 w 12"/>
                    <a:gd name="T9" fmla="*/ 0 h 8"/>
                    <a:gd name="T10" fmla="*/ 2147483647 w 12"/>
                    <a:gd name="T11" fmla="*/ 2147483647 h 8"/>
                    <a:gd name="T12" fmla="*/ 2147483647 w 12"/>
                    <a:gd name="T13" fmla="*/ 2147483647 h 8"/>
                    <a:gd name="T14" fmla="*/ 2147483647 w 12"/>
                    <a:gd name="T15" fmla="*/ 2147483647 h 8"/>
                    <a:gd name="T16" fmla="*/ 2147483647 w 12"/>
                    <a:gd name="T17" fmla="*/ 2147483647 h 8"/>
                    <a:gd name="T18" fmla="*/ 2147483647 w 12"/>
                    <a:gd name="T19" fmla="*/ 2147483647 h 8"/>
                    <a:gd name="T20" fmla="*/ 2147483647 w 12"/>
                    <a:gd name="T21" fmla="*/ 2147483647 h 8"/>
                    <a:gd name="T22" fmla="*/ 2147483647 w 12"/>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8"/>
                    <a:gd name="T38" fmla="*/ 12 w 12"/>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8">
                      <a:moveTo>
                        <a:pt x="5" y="6"/>
                      </a:moveTo>
                      <a:lnTo>
                        <a:pt x="1" y="4"/>
                      </a:lnTo>
                      <a:lnTo>
                        <a:pt x="0" y="2"/>
                      </a:lnTo>
                      <a:lnTo>
                        <a:pt x="1" y="1"/>
                      </a:lnTo>
                      <a:lnTo>
                        <a:pt x="4" y="0"/>
                      </a:lnTo>
                      <a:lnTo>
                        <a:pt x="7" y="1"/>
                      </a:lnTo>
                      <a:lnTo>
                        <a:pt x="10" y="2"/>
                      </a:lnTo>
                      <a:lnTo>
                        <a:pt x="11" y="6"/>
                      </a:lnTo>
                      <a:lnTo>
                        <a:pt x="12" y="7"/>
                      </a:lnTo>
                      <a:lnTo>
                        <a:pt x="11" y="8"/>
                      </a:lnTo>
                      <a:lnTo>
                        <a:pt x="7" y="8"/>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7" name="Freeform 1012"/>
                <p:cNvSpPr>
                  <a:spLocks/>
                </p:cNvSpPr>
                <p:nvPr/>
              </p:nvSpPr>
              <p:spPr bwMode="auto">
                <a:xfrm>
                  <a:off x="1483833" y="2935750"/>
                  <a:ext cx="26637" cy="32557"/>
                </a:xfrm>
                <a:custGeom>
                  <a:avLst/>
                  <a:gdLst>
                    <a:gd name="T0" fmla="*/ 2147483647 w 19"/>
                    <a:gd name="T1" fmla="*/ 2147483647 h 22"/>
                    <a:gd name="T2" fmla="*/ 2147483647 w 19"/>
                    <a:gd name="T3" fmla="*/ 2147483647 h 22"/>
                    <a:gd name="T4" fmla="*/ 2147483647 w 19"/>
                    <a:gd name="T5" fmla="*/ 2147483647 h 22"/>
                    <a:gd name="T6" fmla="*/ 2147483647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2147483647 h 22"/>
                    <a:gd name="T16" fmla="*/ 2147483647 w 19"/>
                    <a:gd name="T17" fmla="*/ 2147483647 h 22"/>
                    <a:gd name="T18" fmla="*/ 2147483647 w 19"/>
                    <a:gd name="T19" fmla="*/ 0 h 22"/>
                    <a:gd name="T20" fmla="*/ 2147483647 w 19"/>
                    <a:gd name="T21" fmla="*/ 0 h 22"/>
                    <a:gd name="T22" fmla="*/ 0 w 19"/>
                    <a:gd name="T23" fmla="*/ 2147483647 h 22"/>
                    <a:gd name="T24" fmla="*/ 0 w 19"/>
                    <a:gd name="T25" fmla="*/ 2147483647 h 22"/>
                    <a:gd name="T26" fmla="*/ 0 w 19"/>
                    <a:gd name="T27" fmla="*/ 2147483647 h 22"/>
                    <a:gd name="T28" fmla="*/ 2147483647 w 19"/>
                    <a:gd name="T29" fmla="*/ 2147483647 h 22"/>
                    <a:gd name="T30" fmla="*/ 2147483647 w 19"/>
                    <a:gd name="T31" fmla="*/ 2147483647 h 22"/>
                    <a:gd name="T32" fmla="*/ 2147483647 w 19"/>
                    <a:gd name="T33" fmla="*/ 2147483647 h 22"/>
                    <a:gd name="T34" fmla="*/ 2147483647 w 19"/>
                    <a:gd name="T35" fmla="*/ 2147483647 h 22"/>
                    <a:gd name="T36" fmla="*/ 2147483647 w 19"/>
                    <a:gd name="T37" fmla="*/ 2147483647 h 22"/>
                    <a:gd name="T38" fmla="*/ 2147483647 w 19"/>
                    <a:gd name="T39" fmla="*/ 2147483647 h 22"/>
                    <a:gd name="T40" fmla="*/ 2147483647 w 19"/>
                    <a:gd name="T41" fmla="*/ 2147483647 h 22"/>
                    <a:gd name="T42" fmla="*/ 2147483647 w 19"/>
                    <a:gd name="T43" fmla="*/ 2147483647 h 22"/>
                    <a:gd name="T44" fmla="*/ 2147483647 w 19"/>
                    <a:gd name="T45" fmla="*/ 2147483647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22"/>
                    <a:gd name="T71" fmla="*/ 19 w 19"/>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22">
                      <a:moveTo>
                        <a:pt x="16" y="16"/>
                      </a:moveTo>
                      <a:lnTo>
                        <a:pt x="16" y="13"/>
                      </a:lnTo>
                      <a:lnTo>
                        <a:pt x="18" y="9"/>
                      </a:lnTo>
                      <a:lnTo>
                        <a:pt x="19" y="7"/>
                      </a:lnTo>
                      <a:lnTo>
                        <a:pt x="18" y="3"/>
                      </a:lnTo>
                      <a:lnTo>
                        <a:pt x="16" y="2"/>
                      </a:lnTo>
                      <a:lnTo>
                        <a:pt x="14" y="2"/>
                      </a:lnTo>
                      <a:lnTo>
                        <a:pt x="10" y="2"/>
                      </a:lnTo>
                      <a:lnTo>
                        <a:pt x="6" y="1"/>
                      </a:lnTo>
                      <a:lnTo>
                        <a:pt x="5" y="0"/>
                      </a:lnTo>
                      <a:lnTo>
                        <a:pt x="2" y="0"/>
                      </a:lnTo>
                      <a:lnTo>
                        <a:pt x="0" y="3"/>
                      </a:lnTo>
                      <a:lnTo>
                        <a:pt x="0" y="7"/>
                      </a:lnTo>
                      <a:lnTo>
                        <a:pt x="0" y="9"/>
                      </a:lnTo>
                      <a:lnTo>
                        <a:pt x="1" y="13"/>
                      </a:lnTo>
                      <a:lnTo>
                        <a:pt x="4" y="16"/>
                      </a:lnTo>
                      <a:lnTo>
                        <a:pt x="6" y="19"/>
                      </a:lnTo>
                      <a:lnTo>
                        <a:pt x="9" y="21"/>
                      </a:lnTo>
                      <a:lnTo>
                        <a:pt x="12" y="22"/>
                      </a:lnTo>
                      <a:lnTo>
                        <a:pt x="15" y="22"/>
                      </a:lnTo>
                      <a:lnTo>
                        <a:pt x="16" y="20"/>
                      </a:lnTo>
                      <a:lnTo>
                        <a:pt x="18" y="19"/>
                      </a:lnTo>
                      <a:lnTo>
                        <a:pt x="16"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8" name="Freeform 1013"/>
                <p:cNvSpPr>
                  <a:spLocks/>
                </p:cNvSpPr>
                <p:nvPr/>
              </p:nvSpPr>
              <p:spPr bwMode="auto">
                <a:xfrm>
                  <a:off x="1500110" y="2876555"/>
                  <a:ext cx="17758" cy="13319"/>
                </a:xfrm>
                <a:custGeom>
                  <a:avLst/>
                  <a:gdLst>
                    <a:gd name="T0" fmla="*/ 2147483647 w 13"/>
                    <a:gd name="T1" fmla="*/ 2147483647 h 9"/>
                    <a:gd name="T2" fmla="*/ 2147483647 w 13"/>
                    <a:gd name="T3" fmla="*/ 2147483647 h 9"/>
                    <a:gd name="T4" fmla="*/ 2147483647 w 13"/>
                    <a:gd name="T5" fmla="*/ 2147483647 h 9"/>
                    <a:gd name="T6" fmla="*/ 0 w 13"/>
                    <a:gd name="T7" fmla="*/ 2147483647 h 9"/>
                    <a:gd name="T8" fmla="*/ 2147483647 w 13"/>
                    <a:gd name="T9" fmla="*/ 2147483647 h 9"/>
                    <a:gd name="T10" fmla="*/ 2147483647 w 13"/>
                    <a:gd name="T11" fmla="*/ 2147483647 h 9"/>
                    <a:gd name="T12" fmla="*/ 2147483647 w 13"/>
                    <a:gd name="T13" fmla="*/ 0 h 9"/>
                    <a:gd name="T14" fmla="*/ 2147483647 w 13"/>
                    <a:gd name="T15" fmla="*/ 2147483647 h 9"/>
                    <a:gd name="T16" fmla="*/ 2147483647 w 13"/>
                    <a:gd name="T17" fmla="*/ 2147483647 h 9"/>
                    <a:gd name="T18" fmla="*/ 2147483647 w 13"/>
                    <a:gd name="T19" fmla="*/ 2147483647 h 9"/>
                    <a:gd name="T20" fmla="*/ 2147483647 w 13"/>
                    <a:gd name="T21" fmla="*/ 2147483647 h 9"/>
                    <a:gd name="T22" fmla="*/ 2147483647 w 13"/>
                    <a:gd name="T23" fmla="*/ 2147483647 h 9"/>
                    <a:gd name="T24" fmla="*/ 2147483647 w 13"/>
                    <a:gd name="T25" fmla="*/ 2147483647 h 9"/>
                    <a:gd name="T26" fmla="*/ 2147483647 w 13"/>
                    <a:gd name="T27" fmla="*/ 2147483647 h 9"/>
                    <a:gd name="T28" fmla="*/ 2147483647 w 13"/>
                    <a:gd name="T29" fmla="*/ 2147483647 h 9"/>
                    <a:gd name="T30" fmla="*/ 2147483647 w 13"/>
                    <a:gd name="T31" fmla="*/ 2147483647 h 9"/>
                    <a:gd name="T32" fmla="*/ 2147483647 w 13"/>
                    <a:gd name="T33" fmla="*/ 2147483647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9"/>
                    <a:gd name="T53" fmla="*/ 13 w 13"/>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9">
                      <a:moveTo>
                        <a:pt x="6" y="6"/>
                      </a:moveTo>
                      <a:lnTo>
                        <a:pt x="6" y="6"/>
                      </a:lnTo>
                      <a:lnTo>
                        <a:pt x="2" y="5"/>
                      </a:lnTo>
                      <a:lnTo>
                        <a:pt x="0" y="3"/>
                      </a:lnTo>
                      <a:lnTo>
                        <a:pt x="2" y="2"/>
                      </a:lnTo>
                      <a:lnTo>
                        <a:pt x="4" y="0"/>
                      </a:lnTo>
                      <a:lnTo>
                        <a:pt x="8" y="2"/>
                      </a:lnTo>
                      <a:lnTo>
                        <a:pt x="11" y="3"/>
                      </a:lnTo>
                      <a:lnTo>
                        <a:pt x="12" y="6"/>
                      </a:lnTo>
                      <a:lnTo>
                        <a:pt x="13" y="8"/>
                      </a:lnTo>
                      <a:lnTo>
                        <a:pt x="12" y="9"/>
                      </a:lnTo>
                      <a:lnTo>
                        <a:pt x="8" y="9"/>
                      </a:lnTo>
                      <a:lnTo>
                        <a:pt x="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39" name="Freeform 1014"/>
                <p:cNvSpPr>
                  <a:spLocks/>
                </p:cNvSpPr>
                <p:nvPr/>
              </p:nvSpPr>
              <p:spPr bwMode="auto">
                <a:xfrm>
                  <a:off x="1480875" y="2932791"/>
                  <a:ext cx="28118" cy="34038"/>
                </a:xfrm>
                <a:custGeom>
                  <a:avLst/>
                  <a:gdLst>
                    <a:gd name="T0" fmla="*/ 2147483647 w 20"/>
                    <a:gd name="T1" fmla="*/ 2147483647 h 23"/>
                    <a:gd name="T2" fmla="*/ 2147483647 w 20"/>
                    <a:gd name="T3" fmla="*/ 2147483647 h 23"/>
                    <a:gd name="T4" fmla="*/ 2147483647 w 20"/>
                    <a:gd name="T5" fmla="*/ 2147483647 h 23"/>
                    <a:gd name="T6" fmla="*/ 2147483647 w 20"/>
                    <a:gd name="T7" fmla="*/ 2147483647 h 23"/>
                    <a:gd name="T8" fmla="*/ 2147483647 w 20"/>
                    <a:gd name="T9" fmla="*/ 2147483647 h 23"/>
                    <a:gd name="T10" fmla="*/ 2147483647 w 20"/>
                    <a:gd name="T11" fmla="*/ 2147483647 h 23"/>
                    <a:gd name="T12" fmla="*/ 2147483647 w 20"/>
                    <a:gd name="T13" fmla="*/ 2147483647 h 23"/>
                    <a:gd name="T14" fmla="*/ 2147483647 w 20"/>
                    <a:gd name="T15" fmla="*/ 2147483647 h 23"/>
                    <a:gd name="T16" fmla="*/ 2147483647 w 20"/>
                    <a:gd name="T17" fmla="*/ 2147483647 h 23"/>
                    <a:gd name="T18" fmla="*/ 2147483647 w 20"/>
                    <a:gd name="T19" fmla="*/ 2147483647 h 23"/>
                    <a:gd name="T20" fmla="*/ 2147483647 w 20"/>
                    <a:gd name="T21" fmla="*/ 2147483647 h 23"/>
                    <a:gd name="T22" fmla="*/ 2147483647 w 20"/>
                    <a:gd name="T23" fmla="*/ 2147483647 h 23"/>
                    <a:gd name="T24" fmla="*/ 2147483647 w 20"/>
                    <a:gd name="T25" fmla="*/ 0 h 23"/>
                    <a:gd name="T26" fmla="*/ 2147483647 w 20"/>
                    <a:gd name="T27" fmla="*/ 0 h 23"/>
                    <a:gd name="T28" fmla="*/ 2147483647 w 20"/>
                    <a:gd name="T29" fmla="*/ 0 h 23"/>
                    <a:gd name="T30" fmla="*/ 0 w 20"/>
                    <a:gd name="T31" fmla="*/ 2147483647 h 23"/>
                    <a:gd name="T32" fmla="*/ 0 w 20"/>
                    <a:gd name="T33" fmla="*/ 2147483647 h 23"/>
                    <a:gd name="T34" fmla="*/ 0 w 20"/>
                    <a:gd name="T35" fmla="*/ 2147483647 h 23"/>
                    <a:gd name="T36" fmla="*/ 2147483647 w 20"/>
                    <a:gd name="T37" fmla="*/ 2147483647 h 23"/>
                    <a:gd name="T38" fmla="*/ 2147483647 w 20"/>
                    <a:gd name="T39" fmla="*/ 2147483647 h 23"/>
                    <a:gd name="T40" fmla="*/ 2147483647 w 20"/>
                    <a:gd name="T41" fmla="*/ 2147483647 h 23"/>
                    <a:gd name="T42" fmla="*/ 2147483647 w 20"/>
                    <a:gd name="T43" fmla="*/ 2147483647 h 23"/>
                    <a:gd name="T44" fmla="*/ 2147483647 w 20"/>
                    <a:gd name="T45" fmla="*/ 2147483647 h 23"/>
                    <a:gd name="T46" fmla="*/ 2147483647 w 20"/>
                    <a:gd name="T47" fmla="*/ 2147483647 h 23"/>
                    <a:gd name="T48" fmla="*/ 2147483647 w 20"/>
                    <a:gd name="T49" fmla="*/ 2147483647 h 23"/>
                    <a:gd name="T50" fmla="*/ 2147483647 w 20"/>
                    <a:gd name="T51" fmla="*/ 2147483647 h 23"/>
                    <a:gd name="T52" fmla="*/ 2147483647 w 20"/>
                    <a:gd name="T53" fmla="*/ 2147483647 h 23"/>
                    <a:gd name="T54" fmla="*/ 2147483647 w 20"/>
                    <a:gd name="T55" fmla="*/ 2147483647 h 23"/>
                    <a:gd name="T56" fmla="*/ 2147483647 w 20"/>
                    <a:gd name="T57" fmla="*/ 2147483647 h 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
                    <a:gd name="T88" fmla="*/ 0 h 23"/>
                    <a:gd name="T89" fmla="*/ 20 w 20"/>
                    <a:gd name="T90" fmla="*/ 23 h 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 h="23">
                      <a:moveTo>
                        <a:pt x="17" y="17"/>
                      </a:moveTo>
                      <a:lnTo>
                        <a:pt x="17" y="17"/>
                      </a:lnTo>
                      <a:lnTo>
                        <a:pt x="17" y="13"/>
                      </a:lnTo>
                      <a:lnTo>
                        <a:pt x="18" y="10"/>
                      </a:lnTo>
                      <a:lnTo>
                        <a:pt x="20" y="8"/>
                      </a:lnTo>
                      <a:lnTo>
                        <a:pt x="18" y="4"/>
                      </a:lnTo>
                      <a:lnTo>
                        <a:pt x="17" y="3"/>
                      </a:lnTo>
                      <a:lnTo>
                        <a:pt x="14" y="3"/>
                      </a:lnTo>
                      <a:lnTo>
                        <a:pt x="11" y="3"/>
                      </a:lnTo>
                      <a:lnTo>
                        <a:pt x="7" y="2"/>
                      </a:lnTo>
                      <a:lnTo>
                        <a:pt x="6" y="0"/>
                      </a:lnTo>
                      <a:lnTo>
                        <a:pt x="3" y="0"/>
                      </a:lnTo>
                      <a:lnTo>
                        <a:pt x="0" y="4"/>
                      </a:lnTo>
                      <a:lnTo>
                        <a:pt x="0" y="8"/>
                      </a:lnTo>
                      <a:lnTo>
                        <a:pt x="0" y="10"/>
                      </a:lnTo>
                      <a:lnTo>
                        <a:pt x="2" y="13"/>
                      </a:lnTo>
                      <a:lnTo>
                        <a:pt x="4" y="17"/>
                      </a:lnTo>
                      <a:lnTo>
                        <a:pt x="7" y="19"/>
                      </a:lnTo>
                      <a:lnTo>
                        <a:pt x="9" y="22"/>
                      </a:lnTo>
                      <a:lnTo>
                        <a:pt x="13" y="23"/>
                      </a:lnTo>
                      <a:lnTo>
                        <a:pt x="16" y="23"/>
                      </a:lnTo>
                      <a:lnTo>
                        <a:pt x="17" y="21"/>
                      </a:lnTo>
                      <a:lnTo>
                        <a:pt x="18" y="19"/>
                      </a:lnTo>
                      <a:lnTo>
                        <a:pt x="17" y="1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0" name="Freeform 1015"/>
                <p:cNvSpPr>
                  <a:spLocks/>
                </p:cNvSpPr>
                <p:nvPr/>
              </p:nvSpPr>
              <p:spPr bwMode="auto">
                <a:xfrm>
                  <a:off x="1452757" y="2842516"/>
                  <a:ext cx="44396" cy="69554"/>
                </a:xfrm>
                <a:custGeom>
                  <a:avLst/>
                  <a:gdLst>
                    <a:gd name="T0" fmla="*/ 2147483647 w 32"/>
                    <a:gd name="T1" fmla="*/ 2147483647 h 47"/>
                    <a:gd name="T2" fmla="*/ 2147483647 w 32"/>
                    <a:gd name="T3" fmla="*/ 2147483647 h 47"/>
                    <a:gd name="T4" fmla="*/ 2147483647 w 32"/>
                    <a:gd name="T5" fmla="*/ 2147483647 h 47"/>
                    <a:gd name="T6" fmla="*/ 2147483647 w 32"/>
                    <a:gd name="T7" fmla="*/ 2147483647 h 47"/>
                    <a:gd name="T8" fmla="*/ 2147483647 w 32"/>
                    <a:gd name="T9" fmla="*/ 2147483647 h 47"/>
                    <a:gd name="T10" fmla="*/ 2147483647 w 32"/>
                    <a:gd name="T11" fmla="*/ 2147483647 h 47"/>
                    <a:gd name="T12" fmla="*/ 2147483647 w 32"/>
                    <a:gd name="T13" fmla="*/ 2147483647 h 47"/>
                    <a:gd name="T14" fmla="*/ 2147483647 w 32"/>
                    <a:gd name="T15" fmla="*/ 2147483647 h 47"/>
                    <a:gd name="T16" fmla="*/ 2147483647 w 32"/>
                    <a:gd name="T17" fmla="*/ 0 h 47"/>
                    <a:gd name="T18" fmla="*/ 2147483647 w 32"/>
                    <a:gd name="T19" fmla="*/ 0 h 47"/>
                    <a:gd name="T20" fmla="*/ 0 w 32"/>
                    <a:gd name="T21" fmla="*/ 2147483647 h 47"/>
                    <a:gd name="T22" fmla="*/ 0 w 32"/>
                    <a:gd name="T23" fmla="*/ 2147483647 h 47"/>
                    <a:gd name="T24" fmla="*/ 0 w 32"/>
                    <a:gd name="T25" fmla="*/ 2147483647 h 47"/>
                    <a:gd name="T26" fmla="*/ 2147483647 w 32"/>
                    <a:gd name="T27" fmla="*/ 2147483647 h 47"/>
                    <a:gd name="T28" fmla="*/ 2147483647 w 32"/>
                    <a:gd name="T29" fmla="*/ 2147483647 h 47"/>
                    <a:gd name="T30" fmla="*/ 2147483647 w 32"/>
                    <a:gd name="T31" fmla="*/ 2147483647 h 47"/>
                    <a:gd name="T32" fmla="*/ 2147483647 w 32"/>
                    <a:gd name="T33" fmla="*/ 2147483647 h 47"/>
                    <a:gd name="T34" fmla="*/ 2147483647 w 32"/>
                    <a:gd name="T35" fmla="*/ 2147483647 h 47"/>
                    <a:gd name="T36" fmla="*/ 2147483647 w 32"/>
                    <a:gd name="T37" fmla="*/ 2147483647 h 47"/>
                    <a:gd name="T38" fmla="*/ 2147483647 w 32"/>
                    <a:gd name="T39" fmla="*/ 2147483647 h 47"/>
                    <a:gd name="T40" fmla="*/ 2147483647 w 32"/>
                    <a:gd name="T41" fmla="*/ 2147483647 h 47"/>
                    <a:gd name="T42" fmla="*/ 2147483647 w 32"/>
                    <a:gd name="T43" fmla="*/ 2147483647 h 47"/>
                    <a:gd name="T44" fmla="*/ 2147483647 w 32"/>
                    <a:gd name="T45" fmla="*/ 2147483647 h 47"/>
                    <a:gd name="T46" fmla="*/ 2147483647 w 32"/>
                    <a:gd name="T47" fmla="*/ 2147483647 h 47"/>
                    <a:gd name="T48" fmla="*/ 2147483647 w 32"/>
                    <a:gd name="T49" fmla="*/ 2147483647 h 4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
                    <a:gd name="T76" fmla="*/ 0 h 47"/>
                    <a:gd name="T77" fmla="*/ 32 w 32"/>
                    <a:gd name="T78" fmla="*/ 47 h 4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 h="47">
                      <a:moveTo>
                        <a:pt x="30" y="41"/>
                      </a:moveTo>
                      <a:lnTo>
                        <a:pt x="29" y="39"/>
                      </a:lnTo>
                      <a:lnTo>
                        <a:pt x="28" y="37"/>
                      </a:lnTo>
                      <a:lnTo>
                        <a:pt x="28" y="33"/>
                      </a:lnTo>
                      <a:lnTo>
                        <a:pt x="28" y="29"/>
                      </a:lnTo>
                      <a:lnTo>
                        <a:pt x="28" y="26"/>
                      </a:lnTo>
                      <a:lnTo>
                        <a:pt x="27" y="23"/>
                      </a:lnTo>
                      <a:lnTo>
                        <a:pt x="14" y="12"/>
                      </a:lnTo>
                      <a:lnTo>
                        <a:pt x="2" y="0"/>
                      </a:lnTo>
                      <a:lnTo>
                        <a:pt x="1" y="0"/>
                      </a:lnTo>
                      <a:lnTo>
                        <a:pt x="0" y="1"/>
                      </a:lnTo>
                      <a:lnTo>
                        <a:pt x="0" y="2"/>
                      </a:lnTo>
                      <a:lnTo>
                        <a:pt x="0" y="5"/>
                      </a:lnTo>
                      <a:lnTo>
                        <a:pt x="4" y="9"/>
                      </a:lnTo>
                      <a:lnTo>
                        <a:pt x="5" y="13"/>
                      </a:lnTo>
                      <a:lnTo>
                        <a:pt x="6" y="16"/>
                      </a:lnTo>
                      <a:lnTo>
                        <a:pt x="10" y="20"/>
                      </a:lnTo>
                      <a:lnTo>
                        <a:pt x="14" y="25"/>
                      </a:lnTo>
                      <a:lnTo>
                        <a:pt x="19" y="35"/>
                      </a:lnTo>
                      <a:lnTo>
                        <a:pt x="27" y="46"/>
                      </a:lnTo>
                      <a:lnTo>
                        <a:pt x="28" y="47"/>
                      </a:lnTo>
                      <a:lnTo>
                        <a:pt x="29" y="47"/>
                      </a:lnTo>
                      <a:lnTo>
                        <a:pt x="32" y="45"/>
                      </a:lnTo>
                      <a:lnTo>
                        <a:pt x="32" y="42"/>
                      </a:lnTo>
                      <a:lnTo>
                        <a:pt x="30" y="4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1" name="Freeform 1016"/>
                <p:cNvSpPr>
                  <a:spLocks/>
                </p:cNvSpPr>
                <p:nvPr/>
              </p:nvSpPr>
              <p:spPr bwMode="auto">
                <a:xfrm>
                  <a:off x="1463113" y="2833636"/>
                  <a:ext cx="22199" cy="19238"/>
                </a:xfrm>
                <a:custGeom>
                  <a:avLst/>
                  <a:gdLst>
                    <a:gd name="T0" fmla="*/ 2147483647 w 16"/>
                    <a:gd name="T1" fmla="*/ 2147483647 h 13"/>
                    <a:gd name="T2" fmla="*/ 2147483647 w 16"/>
                    <a:gd name="T3" fmla="*/ 2147483647 h 13"/>
                    <a:gd name="T4" fmla="*/ 2147483647 w 16"/>
                    <a:gd name="T5" fmla="*/ 2147483647 h 13"/>
                    <a:gd name="T6" fmla="*/ 2147483647 w 16"/>
                    <a:gd name="T7" fmla="*/ 0 h 13"/>
                    <a:gd name="T8" fmla="*/ 2147483647 w 16"/>
                    <a:gd name="T9" fmla="*/ 0 h 13"/>
                    <a:gd name="T10" fmla="*/ 2147483647 w 16"/>
                    <a:gd name="T11" fmla="*/ 2147483647 h 13"/>
                    <a:gd name="T12" fmla="*/ 0 w 16"/>
                    <a:gd name="T13" fmla="*/ 2147483647 h 13"/>
                    <a:gd name="T14" fmla="*/ 2147483647 w 16"/>
                    <a:gd name="T15" fmla="*/ 2147483647 h 13"/>
                    <a:gd name="T16" fmla="*/ 2147483647 w 16"/>
                    <a:gd name="T17" fmla="*/ 2147483647 h 13"/>
                    <a:gd name="T18" fmla="*/ 2147483647 w 16"/>
                    <a:gd name="T19" fmla="*/ 2147483647 h 13"/>
                    <a:gd name="T20" fmla="*/ 2147483647 w 16"/>
                    <a:gd name="T21" fmla="*/ 2147483647 h 13"/>
                    <a:gd name="T22" fmla="*/ 2147483647 w 16"/>
                    <a:gd name="T23" fmla="*/ 2147483647 h 13"/>
                    <a:gd name="T24" fmla="*/ 2147483647 w 16"/>
                    <a:gd name="T25" fmla="*/ 2147483647 h 13"/>
                    <a:gd name="T26" fmla="*/ 2147483647 w 16"/>
                    <a:gd name="T27" fmla="*/ 2147483647 h 13"/>
                    <a:gd name="T28" fmla="*/ 2147483647 w 16"/>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3"/>
                    <a:gd name="T47" fmla="*/ 16 w 1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3">
                      <a:moveTo>
                        <a:pt x="13" y="8"/>
                      </a:moveTo>
                      <a:lnTo>
                        <a:pt x="10" y="6"/>
                      </a:lnTo>
                      <a:lnTo>
                        <a:pt x="7" y="2"/>
                      </a:lnTo>
                      <a:lnTo>
                        <a:pt x="3" y="0"/>
                      </a:lnTo>
                      <a:lnTo>
                        <a:pt x="2" y="0"/>
                      </a:lnTo>
                      <a:lnTo>
                        <a:pt x="1" y="1"/>
                      </a:lnTo>
                      <a:lnTo>
                        <a:pt x="0" y="3"/>
                      </a:lnTo>
                      <a:lnTo>
                        <a:pt x="1" y="6"/>
                      </a:lnTo>
                      <a:lnTo>
                        <a:pt x="3" y="12"/>
                      </a:lnTo>
                      <a:lnTo>
                        <a:pt x="6" y="13"/>
                      </a:lnTo>
                      <a:lnTo>
                        <a:pt x="10" y="13"/>
                      </a:lnTo>
                      <a:lnTo>
                        <a:pt x="15" y="12"/>
                      </a:lnTo>
                      <a:lnTo>
                        <a:pt x="16" y="11"/>
                      </a:lnTo>
                      <a:lnTo>
                        <a:pt x="15" y="9"/>
                      </a:lnTo>
                      <a:lnTo>
                        <a:pt x="13"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2" name="Freeform 1017"/>
                <p:cNvSpPr>
                  <a:spLocks/>
                </p:cNvSpPr>
                <p:nvPr/>
              </p:nvSpPr>
              <p:spPr bwMode="auto">
                <a:xfrm>
                  <a:off x="1451274" y="2841040"/>
                  <a:ext cx="42917" cy="69554"/>
                </a:xfrm>
                <a:custGeom>
                  <a:avLst/>
                  <a:gdLst>
                    <a:gd name="T0" fmla="*/ 2147483647 w 31"/>
                    <a:gd name="T1" fmla="*/ 2147483647 h 47"/>
                    <a:gd name="T2" fmla="*/ 2147483647 w 31"/>
                    <a:gd name="T3" fmla="*/ 2147483647 h 47"/>
                    <a:gd name="T4" fmla="*/ 2147483647 w 31"/>
                    <a:gd name="T5" fmla="*/ 2147483647 h 47"/>
                    <a:gd name="T6" fmla="*/ 2147483647 w 31"/>
                    <a:gd name="T7" fmla="*/ 2147483647 h 47"/>
                    <a:gd name="T8" fmla="*/ 2147483647 w 31"/>
                    <a:gd name="T9" fmla="*/ 2147483647 h 47"/>
                    <a:gd name="T10" fmla="*/ 2147483647 w 31"/>
                    <a:gd name="T11" fmla="*/ 2147483647 h 47"/>
                    <a:gd name="T12" fmla="*/ 2147483647 w 31"/>
                    <a:gd name="T13" fmla="*/ 2147483647 h 47"/>
                    <a:gd name="T14" fmla="*/ 2147483647 w 31"/>
                    <a:gd name="T15" fmla="*/ 2147483647 h 47"/>
                    <a:gd name="T16" fmla="*/ 2147483647 w 31"/>
                    <a:gd name="T17" fmla="*/ 2147483647 h 47"/>
                    <a:gd name="T18" fmla="*/ 2147483647 w 31"/>
                    <a:gd name="T19" fmla="*/ 2147483647 h 47"/>
                    <a:gd name="T20" fmla="*/ 2147483647 w 31"/>
                    <a:gd name="T21" fmla="*/ 2147483647 h 47"/>
                    <a:gd name="T22" fmla="*/ 2147483647 w 31"/>
                    <a:gd name="T23" fmla="*/ 0 h 47"/>
                    <a:gd name="T24" fmla="*/ 2147483647 w 31"/>
                    <a:gd name="T25" fmla="*/ 0 h 47"/>
                    <a:gd name="T26" fmla="*/ 2147483647 w 31"/>
                    <a:gd name="T27" fmla="*/ 0 h 47"/>
                    <a:gd name="T28" fmla="*/ 0 w 31"/>
                    <a:gd name="T29" fmla="*/ 2147483647 h 47"/>
                    <a:gd name="T30" fmla="*/ 0 w 31"/>
                    <a:gd name="T31" fmla="*/ 2147483647 h 47"/>
                    <a:gd name="T32" fmla="*/ 0 w 31"/>
                    <a:gd name="T33" fmla="*/ 2147483647 h 47"/>
                    <a:gd name="T34" fmla="*/ 0 w 31"/>
                    <a:gd name="T35" fmla="*/ 2147483647 h 47"/>
                    <a:gd name="T36" fmla="*/ 2147483647 w 31"/>
                    <a:gd name="T37" fmla="*/ 2147483647 h 47"/>
                    <a:gd name="T38" fmla="*/ 2147483647 w 31"/>
                    <a:gd name="T39" fmla="*/ 2147483647 h 47"/>
                    <a:gd name="T40" fmla="*/ 2147483647 w 31"/>
                    <a:gd name="T41" fmla="*/ 2147483647 h 47"/>
                    <a:gd name="T42" fmla="*/ 2147483647 w 31"/>
                    <a:gd name="T43" fmla="*/ 2147483647 h 47"/>
                    <a:gd name="T44" fmla="*/ 2147483647 w 31"/>
                    <a:gd name="T45" fmla="*/ 2147483647 h 47"/>
                    <a:gd name="T46" fmla="*/ 2147483647 w 31"/>
                    <a:gd name="T47" fmla="*/ 2147483647 h 47"/>
                    <a:gd name="T48" fmla="*/ 2147483647 w 31"/>
                    <a:gd name="T49" fmla="*/ 2147483647 h 47"/>
                    <a:gd name="T50" fmla="*/ 2147483647 w 31"/>
                    <a:gd name="T51" fmla="*/ 2147483647 h 47"/>
                    <a:gd name="T52" fmla="*/ 2147483647 w 31"/>
                    <a:gd name="T53" fmla="*/ 2147483647 h 47"/>
                    <a:gd name="T54" fmla="*/ 2147483647 w 31"/>
                    <a:gd name="T55" fmla="*/ 2147483647 h 47"/>
                    <a:gd name="T56" fmla="*/ 2147483647 w 31"/>
                    <a:gd name="T57" fmla="*/ 2147483647 h 47"/>
                    <a:gd name="T58" fmla="*/ 2147483647 w 31"/>
                    <a:gd name="T59" fmla="*/ 2147483647 h 47"/>
                    <a:gd name="T60" fmla="*/ 2147483647 w 31"/>
                    <a:gd name="T61" fmla="*/ 2147483647 h 47"/>
                    <a:gd name="T62" fmla="*/ 2147483647 w 31"/>
                    <a:gd name="T63" fmla="*/ 2147483647 h 47"/>
                    <a:gd name="T64" fmla="*/ 2147483647 w 31"/>
                    <a:gd name="T65" fmla="*/ 2147483647 h 47"/>
                    <a:gd name="T66" fmla="*/ 2147483647 w 31"/>
                    <a:gd name="T67" fmla="*/ 2147483647 h 47"/>
                    <a:gd name="T68" fmla="*/ 2147483647 w 31"/>
                    <a:gd name="T69" fmla="*/ 2147483647 h 47"/>
                    <a:gd name="T70" fmla="*/ 2147483647 w 31"/>
                    <a:gd name="T71" fmla="*/ 2147483647 h 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1"/>
                    <a:gd name="T109" fmla="*/ 0 h 47"/>
                    <a:gd name="T110" fmla="*/ 31 w 31"/>
                    <a:gd name="T111" fmla="*/ 47 h 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1" h="47">
                      <a:moveTo>
                        <a:pt x="30" y="41"/>
                      </a:moveTo>
                      <a:lnTo>
                        <a:pt x="30" y="41"/>
                      </a:lnTo>
                      <a:lnTo>
                        <a:pt x="29" y="39"/>
                      </a:lnTo>
                      <a:lnTo>
                        <a:pt x="28" y="36"/>
                      </a:lnTo>
                      <a:lnTo>
                        <a:pt x="28" y="33"/>
                      </a:lnTo>
                      <a:lnTo>
                        <a:pt x="28" y="29"/>
                      </a:lnTo>
                      <a:lnTo>
                        <a:pt x="28" y="26"/>
                      </a:lnTo>
                      <a:lnTo>
                        <a:pt x="26" y="23"/>
                      </a:lnTo>
                      <a:lnTo>
                        <a:pt x="14" y="11"/>
                      </a:lnTo>
                      <a:lnTo>
                        <a:pt x="2" y="0"/>
                      </a:lnTo>
                      <a:lnTo>
                        <a:pt x="1" y="0"/>
                      </a:lnTo>
                      <a:lnTo>
                        <a:pt x="0" y="1"/>
                      </a:lnTo>
                      <a:lnTo>
                        <a:pt x="0" y="2"/>
                      </a:lnTo>
                      <a:lnTo>
                        <a:pt x="0" y="4"/>
                      </a:lnTo>
                      <a:lnTo>
                        <a:pt x="3" y="9"/>
                      </a:lnTo>
                      <a:lnTo>
                        <a:pt x="5" y="13"/>
                      </a:lnTo>
                      <a:lnTo>
                        <a:pt x="6" y="16"/>
                      </a:lnTo>
                      <a:lnTo>
                        <a:pt x="10" y="20"/>
                      </a:lnTo>
                      <a:lnTo>
                        <a:pt x="14" y="24"/>
                      </a:lnTo>
                      <a:lnTo>
                        <a:pt x="19" y="35"/>
                      </a:lnTo>
                      <a:lnTo>
                        <a:pt x="26" y="46"/>
                      </a:lnTo>
                      <a:lnTo>
                        <a:pt x="28" y="47"/>
                      </a:lnTo>
                      <a:lnTo>
                        <a:pt x="29" y="47"/>
                      </a:lnTo>
                      <a:lnTo>
                        <a:pt x="31" y="45"/>
                      </a:lnTo>
                      <a:lnTo>
                        <a:pt x="31" y="42"/>
                      </a:lnTo>
                      <a:lnTo>
                        <a:pt x="30" y="4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3" name="Freeform 1018"/>
                <p:cNvSpPr>
                  <a:spLocks/>
                </p:cNvSpPr>
                <p:nvPr/>
              </p:nvSpPr>
              <p:spPr bwMode="auto">
                <a:xfrm>
                  <a:off x="1461633" y="2832156"/>
                  <a:ext cx="22198" cy="19239"/>
                </a:xfrm>
                <a:custGeom>
                  <a:avLst/>
                  <a:gdLst>
                    <a:gd name="T0" fmla="*/ 2147483647 w 17"/>
                    <a:gd name="T1" fmla="*/ 2147483647 h 13"/>
                    <a:gd name="T2" fmla="*/ 2147483647 w 17"/>
                    <a:gd name="T3" fmla="*/ 2147483647 h 13"/>
                    <a:gd name="T4" fmla="*/ 2147483647 w 17"/>
                    <a:gd name="T5" fmla="*/ 2147483647 h 13"/>
                    <a:gd name="T6" fmla="*/ 2147483647 w 17"/>
                    <a:gd name="T7" fmla="*/ 2147483647 h 13"/>
                    <a:gd name="T8" fmla="*/ 2147483647 w 17"/>
                    <a:gd name="T9" fmla="*/ 0 h 13"/>
                    <a:gd name="T10" fmla="*/ 2147483647 w 17"/>
                    <a:gd name="T11" fmla="*/ 0 h 13"/>
                    <a:gd name="T12" fmla="*/ 2147483647 w 17"/>
                    <a:gd name="T13" fmla="*/ 2147483647 h 13"/>
                    <a:gd name="T14" fmla="*/ 2147483647 w 17"/>
                    <a:gd name="T15" fmla="*/ 2147483647 h 13"/>
                    <a:gd name="T16" fmla="*/ 0 w 17"/>
                    <a:gd name="T17" fmla="*/ 2147483647 h 13"/>
                    <a:gd name="T18" fmla="*/ 2147483647 w 17"/>
                    <a:gd name="T19" fmla="*/ 2147483647 h 13"/>
                    <a:gd name="T20" fmla="*/ 2147483647 w 17"/>
                    <a:gd name="T21" fmla="*/ 2147483647 h 13"/>
                    <a:gd name="T22" fmla="*/ 2147483647 w 17"/>
                    <a:gd name="T23" fmla="*/ 2147483647 h 13"/>
                    <a:gd name="T24" fmla="*/ 2147483647 w 17"/>
                    <a:gd name="T25" fmla="*/ 2147483647 h 13"/>
                    <a:gd name="T26" fmla="*/ 2147483647 w 17"/>
                    <a:gd name="T27" fmla="*/ 2147483647 h 13"/>
                    <a:gd name="T28" fmla="*/ 2147483647 w 17"/>
                    <a:gd name="T29" fmla="*/ 2147483647 h 13"/>
                    <a:gd name="T30" fmla="*/ 2147483647 w 17"/>
                    <a:gd name="T31" fmla="*/ 2147483647 h 13"/>
                    <a:gd name="T32" fmla="*/ 2147483647 w 17"/>
                    <a:gd name="T33" fmla="*/ 2147483647 h 13"/>
                    <a:gd name="T34" fmla="*/ 2147483647 w 17"/>
                    <a:gd name="T35" fmla="*/ 2147483647 h 13"/>
                    <a:gd name="T36" fmla="*/ 2147483647 w 17"/>
                    <a:gd name="T37" fmla="*/ 2147483647 h 13"/>
                    <a:gd name="T38" fmla="*/ 2147483647 w 17"/>
                    <a:gd name="T39" fmla="*/ 2147483647 h 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3"/>
                    <a:gd name="T62" fmla="*/ 17 w 17"/>
                    <a:gd name="T63" fmla="*/ 13 h 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3">
                      <a:moveTo>
                        <a:pt x="14" y="8"/>
                      </a:moveTo>
                      <a:lnTo>
                        <a:pt x="14" y="8"/>
                      </a:lnTo>
                      <a:lnTo>
                        <a:pt x="10" y="6"/>
                      </a:lnTo>
                      <a:lnTo>
                        <a:pt x="8" y="2"/>
                      </a:lnTo>
                      <a:lnTo>
                        <a:pt x="4" y="0"/>
                      </a:lnTo>
                      <a:lnTo>
                        <a:pt x="3" y="0"/>
                      </a:lnTo>
                      <a:lnTo>
                        <a:pt x="2" y="1"/>
                      </a:lnTo>
                      <a:lnTo>
                        <a:pt x="0" y="3"/>
                      </a:lnTo>
                      <a:lnTo>
                        <a:pt x="2" y="6"/>
                      </a:lnTo>
                      <a:lnTo>
                        <a:pt x="4" y="12"/>
                      </a:lnTo>
                      <a:lnTo>
                        <a:pt x="7" y="13"/>
                      </a:lnTo>
                      <a:lnTo>
                        <a:pt x="10" y="13"/>
                      </a:lnTo>
                      <a:lnTo>
                        <a:pt x="15" y="12"/>
                      </a:lnTo>
                      <a:lnTo>
                        <a:pt x="17" y="10"/>
                      </a:lnTo>
                      <a:lnTo>
                        <a:pt x="15" y="9"/>
                      </a:lnTo>
                      <a:lnTo>
                        <a:pt x="14"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4" name="Freeform 1019"/>
                <p:cNvSpPr>
                  <a:spLocks/>
                </p:cNvSpPr>
                <p:nvPr/>
              </p:nvSpPr>
              <p:spPr bwMode="auto">
                <a:xfrm>
                  <a:off x="1442398" y="2790719"/>
                  <a:ext cx="20718" cy="41436"/>
                </a:xfrm>
                <a:custGeom>
                  <a:avLst/>
                  <a:gdLst>
                    <a:gd name="T0" fmla="*/ 2147483647 w 16"/>
                    <a:gd name="T1" fmla="*/ 2147483647 h 28"/>
                    <a:gd name="T2" fmla="*/ 2147483647 w 16"/>
                    <a:gd name="T3" fmla="*/ 2147483647 h 28"/>
                    <a:gd name="T4" fmla="*/ 2147483647 w 16"/>
                    <a:gd name="T5" fmla="*/ 2147483647 h 28"/>
                    <a:gd name="T6" fmla="*/ 2147483647 w 16"/>
                    <a:gd name="T7" fmla="*/ 2147483647 h 28"/>
                    <a:gd name="T8" fmla="*/ 2147483647 w 16"/>
                    <a:gd name="T9" fmla="*/ 2147483647 h 28"/>
                    <a:gd name="T10" fmla="*/ 2147483647 w 16"/>
                    <a:gd name="T11" fmla="*/ 2147483647 h 28"/>
                    <a:gd name="T12" fmla="*/ 2147483647 w 16"/>
                    <a:gd name="T13" fmla="*/ 0 h 28"/>
                    <a:gd name="T14" fmla="*/ 0 w 16"/>
                    <a:gd name="T15" fmla="*/ 0 h 28"/>
                    <a:gd name="T16" fmla="*/ 0 w 16"/>
                    <a:gd name="T17" fmla="*/ 2147483647 h 28"/>
                    <a:gd name="T18" fmla="*/ 0 w 16"/>
                    <a:gd name="T19" fmla="*/ 2147483647 h 28"/>
                    <a:gd name="T20" fmla="*/ 2147483647 w 16"/>
                    <a:gd name="T21" fmla="*/ 2147483647 h 28"/>
                    <a:gd name="T22" fmla="*/ 2147483647 w 16"/>
                    <a:gd name="T23" fmla="*/ 2147483647 h 28"/>
                    <a:gd name="T24" fmla="*/ 2147483647 w 16"/>
                    <a:gd name="T25" fmla="*/ 2147483647 h 28"/>
                    <a:gd name="T26" fmla="*/ 2147483647 w 16"/>
                    <a:gd name="T27" fmla="*/ 2147483647 h 28"/>
                    <a:gd name="T28" fmla="*/ 2147483647 w 16"/>
                    <a:gd name="T29" fmla="*/ 2147483647 h 28"/>
                    <a:gd name="T30" fmla="*/ 2147483647 w 16"/>
                    <a:gd name="T31" fmla="*/ 2147483647 h 28"/>
                    <a:gd name="T32" fmla="*/ 2147483647 w 16"/>
                    <a:gd name="T33" fmla="*/ 2147483647 h 28"/>
                    <a:gd name="T34" fmla="*/ 2147483647 w 16"/>
                    <a:gd name="T35" fmla="*/ 2147483647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28"/>
                    <a:gd name="T56" fmla="*/ 16 w 16"/>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28">
                      <a:moveTo>
                        <a:pt x="12" y="16"/>
                      </a:moveTo>
                      <a:lnTo>
                        <a:pt x="9" y="15"/>
                      </a:lnTo>
                      <a:lnTo>
                        <a:pt x="8" y="13"/>
                      </a:lnTo>
                      <a:lnTo>
                        <a:pt x="8" y="10"/>
                      </a:lnTo>
                      <a:lnTo>
                        <a:pt x="7" y="5"/>
                      </a:lnTo>
                      <a:lnTo>
                        <a:pt x="5" y="2"/>
                      </a:lnTo>
                      <a:lnTo>
                        <a:pt x="2" y="0"/>
                      </a:lnTo>
                      <a:lnTo>
                        <a:pt x="0" y="0"/>
                      </a:lnTo>
                      <a:lnTo>
                        <a:pt x="0" y="2"/>
                      </a:lnTo>
                      <a:lnTo>
                        <a:pt x="0" y="15"/>
                      </a:lnTo>
                      <a:lnTo>
                        <a:pt x="2" y="28"/>
                      </a:lnTo>
                      <a:lnTo>
                        <a:pt x="5" y="26"/>
                      </a:lnTo>
                      <a:lnTo>
                        <a:pt x="8" y="25"/>
                      </a:lnTo>
                      <a:lnTo>
                        <a:pt x="13" y="23"/>
                      </a:lnTo>
                      <a:lnTo>
                        <a:pt x="16" y="22"/>
                      </a:lnTo>
                      <a:lnTo>
                        <a:pt x="16" y="19"/>
                      </a:lnTo>
                      <a:lnTo>
                        <a:pt x="14" y="17"/>
                      </a:lnTo>
                      <a:lnTo>
                        <a:pt x="12"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5" name="Freeform 1020"/>
                <p:cNvSpPr>
                  <a:spLocks/>
                </p:cNvSpPr>
                <p:nvPr/>
              </p:nvSpPr>
              <p:spPr bwMode="auto">
                <a:xfrm>
                  <a:off x="1400958" y="2787763"/>
                  <a:ext cx="31078" cy="22199"/>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0 h 15"/>
                    <a:gd name="T10" fmla="*/ 2147483647 w 23"/>
                    <a:gd name="T11" fmla="*/ 0 h 15"/>
                    <a:gd name="T12" fmla="*/ 2147483647 w 23"/>
                    <a:gd name="T13" fmla="*/ 2147483647 h 15"/>
                    <a:gd name="T14" fmla="*/ 0 w 23"/>
                    <a:gd name="T15" fmla="*/ 2147483647 h 15"/>
                    <a:gd name="T16" fmla="*/ 0 w 23"/>
                    <a:gd name="T17" fmla="*/ 2147483647 h 15"/>
                    <a:gd name="T18" fmla="*/ 2147483647 w 23"/>
                    <a:gd name="T19" fmla="*/ 2147483647 h 15"/>
                    <a:gd name="T20" fmla="*/ 2147483647 w 23"/>
                    <a:gd name="T21" fmla="*/ 2147483647 h 15"/>
                    <a:gd name="T22" fmla="*/ 2147483647 w 23"/>
                    <a:gd name="T23" fmla="*/ 2147483647 h 15"/>
                    <a:gd name="T24" fmla="*/ 2147483647 w 23"/>
                    <a:gd name="T25" fmla="*/ 2147483647 h 15"/>
                    <a:gd name="T26" fmla="*/ 2147483647 w 23"/>
                    <a:gd name="T27" fmla="*/ 2147483647 h 15"/>
                    <a:gd name="T28" fmla="*/ 2147483647 w 23"/>
                    <a:gd name="T29" fmla="*/ 2147483647 h 15"/>
                    <a:gd name="T30" fmla="*/ 2147483647 w 23"/>
                    <a:gd name="T31" fmla="*/ 2147483647 h 15"/>
                    <a:gd name="T32" fmla="*/ 2147483647 w 23"/>
                    <a:gd name="T33" fmla="*/ 2147483647 h 15"/>
                    <a:gd name="T34" fmla="*/ 2147483647 w 23"/>
                    <a:gd name="T35" fmla="*/ 2147483647 h 15"/>
                    <a:gd name="T36" fmla="*/ 2147483647 w 23"/>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15"/>
                    <a:gd name="T59" fmla="*/ 23 w 23"/>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15">
                      <a:moveTo>
                        <a:pt x="20" y="8"/>
                      </a:moveTo>
                      <a:lnTo>
                        <a:pt x="20" y="6"/>
                      </a:lnTo>
                      <a:lnTo>
                        <a:pt x="19" y="4"/>
                      </a:lnTo>
                      <a:lnTo>
                        <a:pt x="16" y="1"/>
                      </a:lnTo>
                      <a:lnTo>
                        <a:pt x="14" y="0"/>
                      </a:lnTo>
                      <a:lnTo>
                        <a:pt x="7" y="0"/>
                      </a:lnTo>
                      <a:lnTo>
                        <a:pt x="2" y="1"/>
                      </a:lnTo>
                      <a:lnTo>
                        <a:pt x="0" y="4"/>
                      </a:lnTo>
                      <a:lnTo>
                        <a:pt x="0" y="6"/>
                      </a:lnTo>
                      <a:lnTo>
                        <a:pt x="2" y="10"/>
                      </a:lnTo>
                      <a:lnTo>
                        <a:pt x="5" y="12"/>
                      </a:lnTo>
                      <a:lnTo>
                        <a:pt x="6" y="14"/>
                      </a:lnTo>
                      <a:lnTo>
                        <a:pt x="15" y="15"/>
                      </a:lnTo>
                      <a:lnTo>
                        <a:pt x="19" y="15"/>
                      </a:lnTo>
                      <a:lnTo>
                        <a:pt x="23" y="14"/>
                      </a:lnTo>
                      <a:lnTo>
                        <a:pt x="23" y="13"/>
                      </a:lnTo>
                      <a:lnTo>
                        <a:pt x="23" y="12"/>
                      </a:lnTo>
                      <a:lnTo>
                        <a:pt x="21" y="11"/>
                      </a:lnTo>
                      <a:lnTo>
                        <a:pt x="20"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6" name="Freeform 1021"/>
                <p:cNvSpPr>
                  <a:spLocks/>
                </p:cNvSpPr>
                <p:nvPr/>
              </p:nvSpPr>
              <p:spPr bwMode="auto">
                <a:xfrm>
                  <a:off x="1440919" y="2789241"/>
                  <a:ext cx="20718" cy="39956"/>
                </a:xfrm>
                <a:custGeom>
                  <a:avLst/>
                  <a:gdLst>
                    <a:gd name="T0" fmla="*/ 2147483647 w 15"/>
                    <a:gd name="T1" fmla="*/ 2147483647 h 27"/>
                    <a:gd name="T2" fmla="*/ 2147483647 w 15"/>
                    <a:gd name="T3" fmla="*/ 2147483647 h 27"/>
                    <a:gd name="T4" fmla="*/ 2147483647 w 15"/>
                    <a:gd name="T5" fmla="*/ 2147483647 h 27"/>
                    <a:gd name="T6" fmla="*/ 2147483647 w 15"/>
                    <a:gd name="T7" fmla="*/ 2147483647 h 27"/>
                    <a:gd name="T8" fmla="*/ 2147483647 w 15"/>
                    <a:gd name="T9" fmla="*/ 2147483647 h 27"/>
                    <a:gd name="T10" fmla="*/ 2147483647 w 15"/>
                    <a:gd name="T11" fmla="*/ 2147483647 h 27"/>
                    <a:gd name="T12" fmla="*/ 2147483647 w 15"/>
                    <a:gd name="T13" fmla="*/ 2147483647 h 27"/>
                    <a:gd name="T14" fmla="*/ 2147483647 w 15"/>
                    <a:gd name="T15" fmla="*/ 2147483647 h 27"/>
                    <a:gd name="T16" fmla="*/ 2147483647 w 15"/>
                    <a:gd name="T17" fmla="*/ 0 h 27"/>
                    <a:gd name="T18" fmla="*/ 0 w 15"/>
                    <a:gd name="T19" fmla="*/ 0 h 27"/>
                    <a:gd name="T20" fmla="*/ 0 w 15"/>
                    <a:gd name="T21" fmla="*/ 2147483647 h 27"/>
                    <a:gd name="T22" fmla="*/ 0 w 15"/>
                    <a:gd name="T23" fmla="*/ 2147483647 h 27"/>
                    <a:gd name="T24" fmla="*/ 0 w 15"/>
                    <a:gd name="T25" fmla="*/ 2147483647 h 27"/>
                    <a:gd name="T26" fmla="*/ 2147483647 w 15"/>
                    <a:gd name="T27" fmla="*/ 2147483647 h 27"/>
                    <a:gd name="T28" fmla="*/ 2147483647 w 15"/>
                    <a:gd name="T29" fmla="*/ 2147483647 h 27"/>
                    <a:gd name="T30" fmla="*/ 2147483647 w 15"/>
                    <a:gd name="T31" fmla="*/ 2147483647 h 27"/>
                    <a:gd name="T32" fmla="*/ 2147483647 w 15"/>
                    <a:gd name="T33" fmla="*/ 2147483647 h 27"/>
                    <a:gd name="T34" fmla="*/ 2147483647 w 15"/>
                    <a:gd name="T35" fmla="*/ 2147483647 h 27"/>
                    <a:gd name="T36" fmla="*/ 2147483647 w 15"/>
                    <a:gd name="T37" fmla="*/ 2147483647 h 27"/>
                    <a:gd name="T38" fmla="*/ 2147483647 w 15"/>
                    <a:gd name="T39" fmla="*/ 2147483647 h 27"/>
                    <a:gd name="T40" fmla="*/ 2147483647 w 15"/>
                    <a:gd name="T41" fmla="*/ 2147483647 h 27"/>
                    <a:gd name="T42" fmla="*/ 2147483647 w 15"/>
                    <a:gd name="T43" fmla="*/ 2147483647 h 27"/>
                    <a:gd name="T44" fmla="*/ 2147483647 w 15"/>
                    <a:gd name="T45" fmla="*/ 2147483647 h 27"/>
                    <a:gd name="T46" fmla="*/ 2147483647 w 15"/>
                    <a:gd name="T47" fmla="*/ 2147483647 h 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
                    <a:gd name="T73" fmla="*/ 0 h 27"/>
                    <a:gd name="T74" fmla="*/ 15 w 15"/>
                    <a:gd name="T75" fmla="*/ 27 h 2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 h="27">
                      <a:moveTo>
                        <a:pt x="11" y="16"/>
                      </a:moveTo>
                      <a:lnTo>
                        <a:pt x="11" y="16"/>
                      </a:lnTo>
                      <a:lnTo>
                        <a:pt x="9" y="14"/>
                      </a:lnTo>
                      <a:lnTo>
                        <a:pt x="8" y="13"/>
                      </a:lnTo>
                      <a:lnTo>
                        <a:pt x="8" y="10"/>
                      </a:lnTo>
                      <a:lnTo>
                        <a:pt x="6" y="5"/>
                      </a:lnTo>
                      <a:lnTo>
                        <a:pt x="5" y="1"/>
                      </a:lnTo>
                      <a:lnTo>
                        <a:pt x="1" y="0"/>
                      </a:lnTo>
                      <a:lnTo>
                        <a:pt x="0" y="0"/>
                      </a:lnTo>
                      <a:lnTo>
                        <a:pt x="0" y="1"/>
                      </a:lnTo>
                      <a:lnTo>
                        <a:pt x="0" y="14"/>
                      </a:lnTo>
                      <a:lnTo>
                        <a:pt x="1" y="27"/>
                      </a:lnTo>
                      <a:lnTo>
                        <a:pt x="5" y="26"/>
                      </a:lnTo>
                      <a:lnTo>
                        <a:pt x="8" y="25"/>
                      </a:lnTo>
                      <a:lnTo>
                        <a:pt x="13" y="23"/>
                      </a:lnTo>
                      <a:lnTo>
                        <a:pt x="15" y="22"/>
                      </a:lnTo>
                      <a:lnTo>
                        <a:pt x="15" y="19"/>
                      </a:lnTo>
                      <a:lnTo>
                        <a:pt x="14" y="17"/>
                      </a:lnTo>
                      <a:lnTo>
                        <a:pt x="11"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7" name="Freeform 1022"/>
                <p:cNvSpPr>
                  <a:spLocks/>
                </p:cNvSpPr>
                <p:nvPr/>
              </p:nvSpPr>
              <p:spPr bwMode="auto">
                <a:xfrm>
                  <a:off x="1399480" y="2786283"/>
                  <a:ext cx="29597" cy="22198"/>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2147483647 w 22"/>
                    <a:gd name="T9" fmla="*/ 2147483647 h 15"/>
                    <a:gd name="T10" fmla="*/ 2147483647 w 22"/>
                    <a:gd name="T11" fmla="*/ 0 h 15"/>
                    <a:gd name="T12" fmla="*/ 2147483647 w 22"/>
                    <a:gd name="T13" fmla="*/ 0 h 15"/>
                    <a:gd name="T14" fmla="*/ 2147483647 w 22"/>
                    <a:gd name="T15" fmla="*/ 2147483647 h 15"/>
                    <a:gd name="T16" fmla="*/ 2147483647 w 22"/>
                    <a:gd name="T17" fmla="*/ 2147483647 h 15"/>
                    <a:gd name="T18" fmla="*/ 0 w 22"/>
                    <a:gd name="T19" fmla="*/ 2147483647 h 15"/>
                    <a:gd name="T20" fmla="*/ 0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2147483647 w 22"/>
                    <a:gd name="T31" fmla="*/ 2147483647 h 15"/>
                    <a:gd name="T32" fmla="*/ 2147483647 w 22"/>
                    <a:gd name="T33" fmla="*/ 2147483647 h 15"/>
                    <a:gd name="T34" fmla="*/ 2147483647 w 22"/>
                    <a:gd name="T35" fmla="*/ 2147483647 h 15"/>
                    <a:gd name="T36" fmla="*/ 2147483647 w 22"/>
                    <a:gd name="T37" fmla="*/ 2147483647 h 15"/>
                    <a:gd name="T38" fmla="*/ 2147483647 w 22"/>
                    <a:gd name="T39" fmla="*/ 2147483647 h 15"/>
                    <a:gd name="T40" fmla="*/ 2147483647 w 22"/>
                    <a:gd name="T41" fmla="*/ 2147483647 h 15"/>
                    <a:gd name="T42" fmla="*/ 2147483647 w 22"/>
                    <a:gd name="T43" fmla="*/ 2147483647 h 15"/>
                    <a:gd name="T44" fmla="*/ 2147483647 w 22"/>
                    <a:gd name="T45" fmla="*/ 2147483647 h 15"/>
                    <a:gd name="T46" fmla="*/ 2147483647 w 22"/>
                    <a:gd name="T47" fmla="*/ 2147483647 h 15"/>
                    <a:gd name="T48" fmla="*/ 2147483647 w 22"/>
                    <a:gd name="T49" fmla="*/ 2147483647 h 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15"/>
                    <a:gd name="T77" fmla="*/ 22 w 22"/>
                    <a:gd name="T78" fmla="*/ 15 h 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15">
                      <a:moveTo>
                        <a:pt x="20" y="8"/>
                      </a:moveTo>
                      <a:lnTo>
                        <a:pt x="20" y="8"/>
                      </a:lnTo>
                      <a:lnTo>
                        <a:pt x="20" y="6"/>
                      </a:lnTo>
                      <a:lnTo>
                        <a:pt x="19" y="3"/>
                      </a:lnTo>
                      <a:lnTo>
                        <a:pt x="16" y="1"/>
                      </a:lnTo>
                      <a:lnTo>
                        <a:pt x="13" y="0"/>
                      </a:lnTo>
                      <a:lnTo>
                        <a:pt x="7" y="0"/>
                      </a:lnTo>
                      <a:lnTo>
                        <a:pt x="2" y="1"/>
                      </a:lnTo>
                      <a:lnTo>
                        <a:pt x="0" y="3"/>
                      </a:lnTo>
                      <a:lnTo>
                        <a:pt x="0" y="6"/>
                      </a:lnTo>
                      <a:lnTo>
                        <a:pt x="2" y="9"/>
                      </a:lnTo>
                      <a:lnTo>
                        <a:pt x="5" y="12"/>
                      </a:lnTo>
                      <a:lnTo>
                        <a:pt x="6" y="14"/>
                      </a:lnTo>
                      <a:lnTo>
                        <a:pt x="15" y="15"/>
                      </a:lnTo>
                      <a:lnTo>
                        <a:pt x="19" y="15"/>
                      </a:lnTo>
                      <a:lnTo>
                        <a:pt x="22" y="14"/>
                      </a:lnTo>
                      <a:lnTo>
                        <a:pt x="22" y="13"/>
                      </a:lnTo>
                      <a:lnTo>
                        <a:pt x="22" y="12"/>
                      </a:lnTo>
                      <a:lnTo>
                        <a:pt x="21" y="11"/>
                      </a:lnTo>
                      <a:lnTo>
                        <a:pt x="20"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8" name="Freeform 1023"/>
                <p:cNvSpPr>
                  <a:spLocks/>
                </p:cNvSpPr>
                <p:nvPr/>
              </p:nvSpPr>
              <p:spPr bwMode="auto">
                <a:xfrm>
                  <a:off x="1415758" y="2817361"/>
                  <a:ext cx="26637" cy="39957"/>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0 h 27"/>
                    <a:gd name="T10" fmla="*/ 2147483647 w 19"/>
                    <a:gd name="T11" fmla="*/ 2147483647 h 27"/>
                    <a:gd name="T12" fmla="*/ 2147483647 w 19"/>
                    <a:gd name="T13" fmla="*/ 2147483647 h 27"/>
                    <a:gd name="T14" fmla="*/ 0 w 19"/>
                    <a:gd name="T15" fmla="*/ 2147483647 h 27"/>
                    <a:gd name="T16" fmla="*/ 0 w 19"/>
                    <a:gd name="T17" fmla="*/ 2147483647 h 27"/>
                    <a:gd name="T18" fmla="*/ 0 w 19"/>
                    <a:gd name="T19" fmla="*/ 2147483647 h 27"/>
                    <a:gd name="T20" fmla="*/ 2147483647 w 19"/>
                    <a:gd name="T21" fmla="*/ 2147483647 h 27"/>
                    <a:gd name="T22" fmla="*/ 2147483647 w 19"/>
                    <a:gd name="T23" fmla="*/ 2147483647 h 27"/>
                    <a:gd name="T24" fmla="*/ 2147483647 w 19"/>
                    <a:gd name="T25" fmla="*/ 2147483647 h 27"/>
                    <a:gd name="T26" fmla="*/ 2147483647 w 19"/>
                    <a:gd name="T27" fmla="*/ 2147483647 h 27"/>
                    <a:gd name="T28" fmla="*/ 2147483647 w 19"/>
                    <a:gd name="T29" fmla="*/ 2147483647 h 27"/>
                    <a:gd name="T30" fmla="*/ 2147483647 w 19"/>
                    <a:gd name="T31" fmla="*/ 2147483647 h 27"/>
                    <a:gd name="T32" fmla="*/ 2147483647 w 19"/>
                    <a:gd name="T33" fmla="*/ 2147483647 h 27"/>
                    <a:gd name="T34" fmla="*/ 2147483647 w 19"/>
                    <a:gd name="T35" fmla="*/ 2147483647 h 27"/>
                    <a:gd name="T36" fmla="*/ 2147483647 w 19"/>
                    <a:gd name="T37" fmla="*/ 2147483647 h 27"/>
                    <a:gd name="T38" fmla="*/ 2147483647 w 19"/>
                    <a:gd name="T39" fmla="*/ 2147483647 h 27"/>
                    <a:gd name="T40" fmla="*/ 2147483647 w 19"/>
                    <a:gd name="T41" fmla="*/ 2147483647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27"/>
                    <a:gd name="T65" fmla="*/ 19 w 19"/>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27">
                      <a:moveTo>
                        <a:pt x="17" y="16"/>
                      </a:moveTo>
                      <a:lnTo>
                        <a:pt x="14" y="10"/>
                      </a:lnTo>
                      <a:lnTo>
                        <a:pt x="10" y="3"/>
                      </a:lnTo>
                      <a:lnTo>
                        <a:pt x="9" y="1"/>
                      </a:lnTo>
                      <a:lnTo>
                        <a:pt x="7" y="0"/>
                      </a:lnTo>
                      <a:lnTo>
                        <a:pt x="4" y="1"/>
                      </a:lnTo>
                      <a:lnTo>
                        <a:pt x="1" y="3"/>
                      </a:lnTo>
                      <a:lnTo>
                        <a:pt x="0" y="4"/>
                      </a:lnTo>
                      <a:lnTo>
                        <a:pt x="0" y="6"/>
                      </a:lnTo>
                      <a:lnTo>
                        <a:pt x="0" y="7"/>
                      </a:lnTo>
                      <a:lnTo>
                        <a:pt x="1" y="8"/>
                      </a:lnTo>
                      <a:lnTo>
                        <a:pt x="4" y="10"/>
                      </a:lnTo>
                      <a:lnTo>
                        <a:pt x="7" y="11"/>
                      </a:lnTo>
                      <a:lnTo>
                        <a:pt x="10" y="16"/>
                      </a:lnTo>
                      <a:lnTo>
                        <a:pt x="14" y="22"/>
                      </a:lnTo>
                      <a:lnTo>
                        <a:pt x="15" y="26"/>
                      </a:lnTo>
                      <a:lnTo>
                        <a:pt x="17" y="27"/>
                      </a:lnTo>
                      <a:lnTo>
                        <a:pt x="18" y="26"/>
                      </a:lnTo>
                      <a:lnTo>
                        <a:pt x="19" y="24"/>
                      </a:lnTo>
                      <a:lnTo>
                        <a:pt x="19" y="19"/>
                      </a:lnTo>
                      <a:lnTo>
                        <a:pt x="17"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49" name="Freeform 1024"/>
                <p:cNvSpPr>
                  <a:spLocks/>
                </p:cNvSpPr>
                <p:nvPr/>
              </p:nvSpPr>
              <p:spPr bwMode="auto">
                <a:xfrm>
                  <a:off x="1125705" y="2698971"/>
                  <a:ext cx="26637" cy="28118"/>
                </a:xfrm>
                <a:custGeom>
                  <a:avLst/>
                  <a:gdLst>
                    <a:gd name="T0" fmla="*/ 2147483647 w 20"/>
                    <a:gd name="T1" fmla="*/ 2147483647 h 19"/>
                    <a:gd name="T2" fmla="*/ 2147483647 w 20"/>
                    <a:gd name="T3" fmla="*/ 0 h 19"/>
                    <a:gd name="T4" fmla="*/ 2147483647 w 20"/>
                    <a:gd name="T5" fmla="*/ 0 h 19"/>
                    <a:gd name="T6" fmla="*/ 2147483647 w 20"/>
                    <a:gd name="T7" fmla="*/ 2147483647 h 19"/>
                    <a:gd name="T8" fmla="*/ 2147483647 w 20"/>
                    <a:gd name="T9" fmla="*/ 2147483647 h 19"/>
                    <a:gd name="T10" fmla="*/ 2147483647 w 20"/>
                    <a:gd name="T11" fmla="*/ 2147483647 h 19"/>
                    <a:gd name="T12" fmla="*/ 2147483647 w 20"/>
                    <a:gd name="T13" fmla="*/ 2147483647 h 19"/>
                    <a:gd name="T14" fmla="*/ 2147483647 w 20"/>
                    <a:gd name="T15" fmla="*/ 2147483647 h 19"/>
                    <a:gd name="T16" fmla="*/ 2147483647 w 20"/>
                    <a:gd name="T17" fmla="*/ 2147483647 h 19"/>
                    <a:gd name="T18" fmla="*/ 2147483647 w 20"/>
                    <a:gd name="T19" fmla="*/ 2147483647 h 19"/>
                    <a:gd name="T20" fmla="*/ 2147483647 w 20"/>
                    <a:gd name="T21" fmla="*/ 2147483647 h 19"/>
                    <a:gd name="T22" fmla="*/ 0 w 20"/>
                    <a:gd name="T23" fmla="*/ 2147483647 h 19"/>
                    <a:gd name="T24" fmla="*/ 0 w 20"/>
                    <a:gd name="T25" fmla="*/ 2147483647 h 19"/>
                    <a:gd name="T26" fmla="*/ 2147483647 w 20"/>
                    <a:gd name="T27" fmla="*/ 2147483647 h 19"/>
                    <a:gd name="T28" fmla="*/ 2147483647 w 20"/>
                    <a:gd name="T29" fmla="*/ 2147483647 h 19"/>
                    <a:gd name="T30" fmla="*/ 2147483647 w 20"/>
                    <a:gd name="T31" fmla="*/ 2147483647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9"/>
                    <a:gd name="T50" fmla="*/ 20 w 20"/>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9">
                      <a:moveTo>
                        <a:pt x="6" y="4"/>
                      </a:moveTo>
                      <a:lnTo>
                        <a:pt x="13" y="0"/>
                      </a:lnTo>
                      <a:lnTo>
                        <a:pt x="15" y="0"/>
                      </a:lnTo>
                      <a:lnTo>
                        <a:pt x="18" y="1"/>
                      </a:lnTo>
                      <a:lnTo>
                        <a:pt x="20" y="4"/>
                      </a:lnTo>
                      <a:lnTo>
                        <a:pt x="20" y="8"/>
                      </a:lnTo>
                      <a:lnTo>
                        <a:pt x="18" y="10"/>
                      </a:lnTo>
                      <a:lnTo>
                        <a:pt x="15" y="14"/>
                      </a:lnTo>
                      <a:lnTo>
                        <a:pt x="6" y="17"/>
                      </a:lnTo>
                      <a:lnTo>
                        <a:pt x="2" y="19"/>
                      </a:lnTo>
                      <a:lnTo>
                        <a:pt x="1" y="17"/>
                      </a:lnTo>
                      <a:lnTo>
                        <a:pt x="0" y="16"/>
                      </a:lnTo>
                      <a:lnTo>
                        <a:pt x="0" y="13"/>
                      </a:lnTo>
                      <a:lnTo>
                        <a:pt x="1" y="9"/>
                      </a:lnTo>
                      <a:lnTo>
                        <a:pt x="4" y="7"/>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0" name="Freeform 1025"/>
                <p:cNvSpPr>
                  <a:spLocks/>
                </p:cNvSpPr>
                <p:nvPr/>
              </p:nvSpPr>
              <p:spPr bwMode="auto">
                <a:xfrm>
                  <a:off x="1414278" y="2815878"/>
                  <a:ext cx="26637" cy="39956"/>
                </a:xfrm>
                <a:custGeom>
                  <a:avLst/>
                  <a:gdLst>
                    <a:gd name="T0" fmla="*/ 2147483647 w 19"/>
                    <a:gd name="T1" fmla="*/ 2147483647 h 27"/>
                    <a:gd name="T2" fmla="*/ 2147483647 w 19"/>
                    <a:gd name="T3" fmla="*/ 2147483647 h 27"/>
                    <a:gd name="T4" fmla="*/ 2147483647 w 19"/>
                    <a:gd name="T5" fmla="*/ 2147483647 h 27"/>
                    <a:gd name="T6" fmla="*/ 2147483647 w 19"/>
                    <a:gd name="T7" fmla="*/ 2147483647 h 27"/>
                    <a:gd name="T8" fmla="*/ 2147483647 w 19"/>
                    <a:gd name="T9" fmla="*/ 2147483647 h 27"/>
                    <a:gd name="T10" fmla="*/ 2147483647 w 19"/>
                    <a:gd name="T11" fmla="*/ 2147483647 h 27"/>
                    <a:gd name="T12" fmla="*/ 2147483647 w 19"/>
                    <a:gd name="T13" fmla="*/ 2147483647 h 27"/>
                    <a:gd name="T14" fmla="*/ 2147483647 w 19"/>
                    <a:gd name="T15" fmla="*/ 2147483647 h 27"/>
                    <a:gd name="T16" fmla="*/ 2147483647 w 19"/>
                    <a:gd name="T17" fmla="*/ 0 h 27"/>
                    <a:gd name="T18" fmla="*/ 2147483647 w 19"/>
                    <a:gd name="T19" fmla="*/ 2147483647 h 27"/>
                    <a:gd name="T20" fmla="*/ 2147483647 w 19"/>
                    <a:gd name="T21" fmla="*/ 2147483647 h 27"/>
                    <a:gd name="T22" fmla="*/ 2147483647 w 19"/>
                    <a:gd name="T23" fmla="*/ 2147483647 h 27"/>
                    <a:gd name="T24" fmla="*/ 0 w 19"/>
                    <a:gd name="T25" fmla="*/ 2147483647 h 27"/>
                    <a:gd name="T26" fmla="*/ 0 w 19"/>
                    <a:gd name="T27" fmla="*/ 2147483647 h 27"/>
                    <a:gd name="T28" fmla="*/ 0 w 19"/>
                    <a:gd name="T29" fmla="*/ 2147483647 h 27"/>
                    <a:gd name="T30" fmla="*/ 2147483647 w 19"/>
                    <a:gd name="T31" fmla="*/ 2147483647 h 27"/>
                    <a:gd name="T32" fmla="*/ 2147483647 w 19"/>
                    <a:gd name="T33" fmla="*/ 2147483647 h 27"/>
                    <a:gd name="T34" fmla="*/ 2147483647 w 19"/>
                    <a:gd name="T35" fmla="*/ 2147483647 h 27"/>
                    <a:gd name="T36" fmla="*/ 2147483647 w 19"/>
                    <a:gd name="T37" fmla="*/ 2147483647 h 27"/>
                    <a:gd name="T38" fmla="*/ 2147483647 w 19"/>
                    <a:gd name="T39" fmla="*/ 2147483647 h 27"/>
                    <a:gd name="T40" fmla="*/ 2147483647 w 19"/>
                    <a:gd name="T41" fmla="*/ 2147483647 h 27"/>
                    <a:gd name="T42" fmla="*/ 2147483647 w 19"/>
                    <a:gd name="T43" fmla="*/ 2147483647 h 27"/>
                    <a:gd name="T44" fmla="*/ 2147483647 w 19"/>
                    <a:gd name="T45" fmla="*/ 2147483647 h 27"/>
                    <a:gd name="T46" fmla="*/ 2147483647 w 19"/>
                    <a:gd name="T47" fmla="*/ 2147483647 h 27"/>
                    <a:gd name="T48" fmla="*/ 2147483647 w 19"/>
                    <a:gd name="T49" fmla="*/ 2147483647 h 27"/>
                    <a:gd name="T50" fmla="*/ 2147483647 w 19"/>
                    <a:gd name="T51" fmla="*/ 2147483647 h 27"/>
                    <a:gd name="T52" fmla="*/ 2147483647 w 19"/>
                    <a:gd name="T53" fmla="*/ 2147483647 h 27"/>
                    <a:gd name="T54" fmla="*/ 2147483647 w 19"/>
                    <a:gd name="T55" fmla="*/ 2147483647 h 27"/>
                    <a:gd name="T56" fmla="*/ 2147483647 w 19"/>
                    <a:gd name="T57" fmla="*/ 2147483647 h 27"/>
                    <a:gd name="T58" fmla="*/ 2147483647 w 19"/>
                    <a:gd name="T59" fmla="*/ 2147483647 h 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
                    <a:gd name="T91" fmla="*/ 0 h 27"/>
                    <a:gd name="T92" fmla="*/ 19 w 19"/>
                    <a:gd name="T93" fmla="*/ 27 h 2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 h="27">
                      <a:moveTo>
                        <a:pt x="16" y="15"/>
                      </a:moveTo>
                      <a:lnTo>
                        <a:pt x="16" y="15"/>
                      </a:lnTo>
                      <a:lnTo>
                        <a:pt x="14" y="9"/>
                      </a:lnTo>
                      <a:lnTo>
                        <a:pt x="10" y="2"/>
                      </a:lnTo>
                      <a:lnTo>
                        <a:pt x="9" y="1"/>
                      </a:lnTo>
                      <a:lnTo>
                        <a:pt x="6" y="0"/>
                      </a:lnTo>
                      <a:lnTo>
                        <a:pt x="4" y="1"/>
                      </a:lnTo>
                      <a:lnTo>
                        <a:pt x="1" y="2"/>
                      </a:lnTo>
                      <a:lnTo>
                        <a:pt x="0" y="4"/>
                      </a:lnTo>
                      <a:lnTo>
                        <a:pt x="0" y="6"/>
                      </a:lnTo>
                      <a:lnTo>
                        <a:pt x="0" y="7"/>
                      </a:lnTo>
                      <a:lnTo>
                        <a:pt x="1" y="8"/>
                      </a:lnTo>
                      <a:lnTo>
                        <a:pt x="4" y="9"/>
                      </a:lnTo>
                      <a:lnTo>
                        <a:pt x="6" y="11"/>
                      </a:lnTo>
                      <a:lnTo>
                        <a:pt x="10" y="15"/>
                      </a:lnTo>
                      <a:lnTo>
                        <a:pt x="14" y="21"/>
                      </a:lnTo>
                      <a:lnTo>
                        <a:pt x="15" y="26"/>
                      </a:lnTo>
                      <a:lnTo>
                        <a:pt x="16" y="27"/>
                      </a:lnTo>
                      <a:lnTo>
                        <a:pt x="18" y="26"/>
                      </a:lnTo>
                      <a:lnTo>
                        <a:pt x="19" y="24"/>
                      </a:lnTo>
                      <a:lnTo>
                        <a:pt x="19" y="19"/>
                      </a:lnTo>
                      <a:lnTo>
                        <a:pt x="16" y="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1" name="Freeform 1026"/>
                <p:cNvSpPr>
                  <a:spLocks/>
                </p:cNvSpPr>
                <p:nvPr/>
              </p:nvSpPr>
              <p:spPr bwMode="auto">
                <a:xfrm>
                  <a:off x="1124224" y="2696012"/>
                  <a:ext cx="26637" cy="28118"/>
                </a:xfrm>
                <a:custGeom>
                  <a:avLst/>
                  <a:gdLst>
                    <a:gd name="T0" fmla="*/ 2147483647 w 20"/>
                    <a:gd name="T1" fmla="*/ 2147483647 h 19"/>
                    <a:gd name="T2" fmla="*/ 2147483647 w 20"/>
                    <a:gd name="T3" fmla="*/ 2147483647 h 19"/>
                    <a:gd name="T4" fmla="*/ 2147483647 w 20"/>
                    <a:gd name="T5" fmla="*/ 0 h 19"/>
                    <a:gd name="T6" fmla="*/ 2147483647 w 20"/>
                    <a:gd name="T7" fmla="*/ 0 h 19"/>
                    <a:gd name="T8" fmla="*/ 2147483647 w 20"/>
                    <a:gd name="T9" fmla="*/ 2147483647 h 19"/>
                    <a:gd name="T10" fmla="*/ 2147483647 w 20"/>
                    <a:gd name="T11" fmla="*/ 2147483647 h 19"/>
                    <a:gd name="T12" fmla="*/ 2147483647 w 20"/>
                    <a:gd name="T13" fmla="*/ 2147483647 h 19"/>
                    <a:gd name="T14" fmla="*/ 2147483647 w 20"/>
                    <a:gd name="T15" fmla="*/ 2147483647 h 19"/>
                    <a:gd name="T16" fmla="*/ 2147483647 w 20"/>
                    <a:gd name="T17" fmla="*/ 2147483647 h 19"/>
                    <a:gd name="T18" fmla="*/ 2147483647 w 20"/>
                    <a:gd name="T19" fmla="*/ 2147483647 h 19"/>
                    <a:gd name="T20" fmla="*/ 2147483647 w 20"/>
                    <a:gd name="T21" fmla="*/ 2147483647 h 19"/>
                    <a:gd name="T22" fmla="*/ 2147483647 w 20"/>
                    <a:gd name="T23" fmla="*/ 2147483647 h 19"/>
                    <a:gd name="T24" fmla="*/ 2147483647 w 20"/>
                    <a:gd name="T25" fmla="*/ 2147483647 h 19"/>
                    <a:gd name="T26" fmla="*/ 2147483647 w 20"/>
                    <a:gd name="T27" fmla="*/ 2147483647 h 19"/>
                    <a:gd name="T28" fmla="*/ 0 w 20"/>
                    <a:gd name="T29" fmla="*/ 2147483647 h 19"/>
                    <a:gd name="T30" fmla="*/ 0 w 20"/>
                    <a:gd name="T31" fmla="*/ 2147483647 h 19"/>
                    <a:gd name="T32" fmla="*/ 0 w 20"/>
                    <a:gd name="T33" fmla="*/ 2147483647 h 19"/>
                    <a:gd name="T34" fmla="*/ 2147483647 w 20"/>
                    <a:gd name="T35" fmla="*/ 2147483647 h 19"/>
                    <a:gd name="T36" fmla="*/ 2147483647 w 20"/>
                    <a:gd name="T37" fmla="*/ 2147483647 h 19"/>
                    <a:gd name="T38" fmla="*/ 2147483647 w 20"/>
                    <a:gd name="T39" fmla="*/ 2147483647 h 19"/>
                    <a:gd name="T40" fmla="*/ 2147483647 w 20"/>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9"/>
                    <a:gd name="T65" fmla="*/ 20 w 20"/>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9">
                      <a:moveTo>
                        <a:pt x="6" y="5"/>
                      </a:moveTo>
                      <a:lnTo>
                        <a:pt x="6" y="5"/>
                      </a:lnTo>
                      <a:lnTo>
                        <a:pt x="12" y="0"/>
                      </a:lnTo>
                      <a:lnTo>
                        <a:pt x="15" y="0"/>
                      </a:lnTo>
                      <a:lnTo>
                        <a:pt x="17" y="2"/>
                      </a:lnTo>
                      <a:lnTo>
                        <a:pt x="20" y="5"/>
                      </a:lnTo>
                      <a:lnTo>
                        <a:pt x="20" y="9"/>
                      </a:lnTo>
                      <a:lnTo>
                        <a:pt x="17" y="11"/>
                      </a:lnTo>
                      <a:lnTo>
                        <a:pt x="15" y="15"/>
                      </a:lnTo>
                      <a:lnTo>
                        <a:pt x="6" y="18"/>
                      </a:lnTo>
                      <a:lnTo>
                        <a:pt x="2" y="19"/>
                      </a:lnTo>
                      <a:lnTo>
                        <a:pt x="1" y="18"/>
                      </a:lnTo>
                      <a:lnTo>
                        <a:pt x="0" y="17"/>
                      </a:lnTo>
                      <a:lnTo>
                        <a:pt x="0" y="13"/>
                      </a:lnTo>
                      <a:lnTo>
                        <a:pt x="1" y="10"/>
                      </a:lnTo>
                      <a:lnTo>
                        <a:pt x="3" y="7"/>
                      </a:lnTo>
                      <a:lnTo>
                        <a:pt x="6"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2" name="Freeform 1027"/>
                <p:cNvSpPr>
                  <a:spLocks/>
                </p:cNvSpPr>
                <p:nvPr/>
              </p:nvSpPr>
              <p:spPr bwMode="auto">
                <a:xfrm>
                  <a:off x="996953" y="2774445"/>
                  <a:ext cx="32557" cy="20718"/>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0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0 h 14"/>
                    <a:gd name="T20" fmla="*/ 2147483647 w 24"/>
                    <a:gd name="T21" fmla="*/ 0 h 14"/>
                    <a:gd name="T22" fmla="*/ 2147483647 w 24"/>
                    <a:gd name="T23" fmla="*/ 2147483647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2147483647 w 24"/>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14"/>
                    <a:gd name="T59" fmla="*/ 24 w 24"/>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14">
                      <a:moveTo>
                        <a:pt x="10" y="11"/>
                      </a:moveTo>
                      <a:lnTo>
                        <a:pt x="6" y="13"/>
                      </a:lnTo>
                      <a:lnTo>
                        <a:pt x="5" y="14"/>
                      </a:lnTo>
                      <a:lnTo>
                        <a:pt x="2" y="14"/>
                      </a:lnTo>
                      <a:lnTo>
                        <a:pt x="1" y="13"/>
                      </a:lnTo>
                      <a:lnTo>
                        <a:pt x="0" y="11"/>
                      </a:lnTo>
                      <a:lnTo>
                        <a:pt x="1" y="8"/>
                      </a:lnTo>
                      <a:lnTo>
                        <a:pt x="2" y="5"/>
                      </a:lnTo>
                      <a:lnTo>
                        <a:pt x="5" y="3"/>
                      </a:lnTo>
                      <a:lnTo>
                        <a:pt x="10" y="0"/>
                      </a:lnTo>
                      <a:lnTo>
                        <a:pt x="15" y="0"/>
                      </a:lnTo>
                      <a:lnTo>
                        <a:pt x="20" y="2"/>
                      </a:lnTo>
                      <a:lnTo>
                        <a:pt x="22" y="3"/>
                      </a:lnTo>
                      <a:lnTo>
                        <a:pt x="23" y="7"/>
                      </a:lnTo>
                      <a:lnTo>
                        <a:pt x="24" y="8"/>
                      </a:lnTo>
                      <a:lnTo>
                        <a:pt x="23" y="9"/>
                      </a:lnTo>
                      <a:lnTo>
                        <a:pt x="19" y="10"/>
                      </a:lnTo>
                      <a:lnTo>
                        <a:pt x="15" y="10"/>
                      </a:lnTo>
                      <a:lnTo>
                        <a:pt x="10"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3" name="Freeform 1028"/>
                <p:cNvSpPr>
                  <a:spLocks/>
                </p:cNvSpPr>
                <p:nvPr/>
              </p:nvSpPr>
              <p:spPr bwMode="auto">
                <a:xfrm>
                  <a:off x="964400" y="2798120"/>
                  <a:ext cx="54755" cy="39956"/>
                </a:xfrm>
                <a:custGeom>
                  <a:avLst/>
                  <a:gdLst>
                    <a:gd name="T0" fmla="*/ 2147483647 w 40"/>
                    <a:gd name="T1" fmla="*/ 2147483647 h 27"/>
                    <a:gd name="T2" fmla="*/ 2147483647 w 40"/>
                    <a:gd name="T3" fmla="*/ 2147483647 h 27"/>
                    <a:gd name="T4" fmla="*/ 2147483647 w 40"/>
                    <a:gd name="T5" fmla="*/ 2147483647 h 27"/>
                    <a:gd name="T6" fmla="*/ 2147483647 w 40"/>
                    <a:gd name="T7" fmla="*/ 2147483647 h 27"/>
                    <a:gd name="T8" fmla="*/ 2147483647 w 40"/>
                    <a:gd name="T9" fmla="*/ 2147483647 h 27"/>
                    <a:gd name="T10" fmla="*/ 2147483647 w 40"/>
                    <a:gd name="T11" fmla="*/ 2147483647 h 27"/>
                    <a:gd name="T12" fmla="*/ 2147483647 w 40"/>
                    <a:gd name="T13" fmla="*/ 2147483647 h 27"/>
                    <a:gd name="T14" fmla="*/ 2147483647 w 40"/>
                    <a:gd name="T15" fmla="*/ 2147483647 h 27"/>
                    <a:gd name="T16" fmla="*/ 2147483647 w 40"/>
                    <a:gd name="T17" fmla="*/ 2147483647 h 27"/>
                    <a:gd name="T18" fmla="*/ 2147483647 w 40"/>
                    <a:gd name="T19" fmla="*/ 2147483647 h 27"/>
                    <a:gd name="T20" fmla="*/ 2147483647 w 40"/>
                    <a:gd name="T21" fmla="*/ 2147483647 h 27"/>
                    <a:gd name="T22" fmla="*/ 2147483647 w 40"/>
                    <a:gd name="T23" fmla="*/ 2147483647 h 27"/>
                    <a:gd name="T24" fmla="*/ 2147483647 w 40"/>
                    <a:gd name="T25" fmla="*/ 0 h 27"/>
                    <a:gd name="T26" fmla="*/ 2147483647 w 40"/>
                    <a:gd name="T27" fmla="*/ 0 h 27"/>
                    <a:gd name="T28" fmla="*/ 2147483647 w 40"/>
                    <a:gd name="T29" fmla="*/ 2147483647 h 27"/>
                    <a:gd name="T30" fmla="*/ 2147483647 w 40"/>
                    <a:gd name="T31" fmla="*/ 2147483647 h 27"/>
                    <a:gd name="T32" fmla="*/ 2147483647 w 40"/>
                    <a:gd name="T33" fmla="*/ 2147483647 h 27"/>
                    <a:gd name="T34" fmla="*/ 2147483647 w 40"/>
                    <a:gd name="T35" fmla="*/ 2147483647 h 27"/>
                    <a:gd name="T36" fmla="*/ 2147483647 w 40"/>
                    <a:gd name="T37" fmla="*/ 2147483647 h 27"/>
                    <a:gd name="T38" fmla="*/ 2147483647 w 40"/>
                    <a:gd name="T39" fmla="*/ 2147483647 h 27"/>
                    <a:gd name="T40" fmla="*/ 2147483647 w 40"/>
                    <a:gd name="T41" fmla="*/ 2147483647 h 27"/>
                    <a:gd name="T42" fmla="*/ 2147483647 w 40"/>
                    <a:gd name="T43" fmla="*/ 2147483647 h 27"/>
                    <a:gd name="T44" fmla="*/ 2147483647 w 40"/>
                    <a:gd name="T45" fmla="*/ 2147483647 h 27"/>
                    <a:gd name="T46" fmla="*/ 0 w 40"/>
                    <a:gd name="T47" fmla="*/ 2147483647 h 27"/>
                    <a:gd name="T48" fmla="*/ 0 w 40"/>
                    <a:gd name="T49" fmla="*/ 2147483647 h 27"/>
                    <a:gd name="T50" fmla="*/ 2147483647 w 40"/>
                    <a:gd name="T51" fmla="*/ 2147483647 h 27"/>
                    <a:gd name="T52" fmla="*/ 2147483647 w 40"/>
                    <a:gd name="T53" fmla="*/ 2147483647 h 27"/>
                    <a:gd name="T54" fmla="*/ 2147483647 w 40"/>
                    <a:gd name="T55" fmla="*/ 2147483647 h 27"/>
                    <a:gd name="T56" fmla="*/ 2147483647 w 40"/>
                    <a:gd name="T57" fmla="*/ 2147483647 h 27"/>
                    <a:gd name="T58" fmla="*/ 2147483647 w 40"/>
                    <a:gd name="T59" fmla="*/ 2147483647 h 27"/>
                    <a:gd name="T60" fmla="*/ 2147483647 w 40"/>
                    <a:gd name="T61" fmla="*/ 2147483647 h 27"/>
                    <a:gd name="T62" fmla="*/ 2147483647 w 40"/>
                    <a:gd name="T63" fmla="*/ 2147483647 h 27"/>
                    <a:gd name="T64" fmla="*/ 2147483647 w 40"/>
                    <a:gd name="T65" fmla="*/ 2147483647 h 27"/>
                    <a:gd name="T66" fmla="*/ 2147483647 w 40"/>
                    <a:gd name="T67" fmla="*/ 2147483647 h 27"/>
                    <a:gd name="T68" fmla="*/ 2147483647 w 40"/>
                    <a:gd name="T69" fmla="*/ 2147483647 h 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27"/>
                    <a:gd name="T107" fmla="*/ 40 w 40"/>
                    <a:gd name="T108" fmla="*/ 27 h 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27">
                      <a:moveTo>
                        <a:pt x="29" y="24"/>
                      </a:moveTo>
                      <a:lnTo>
                        <a:pt x="29" y="21"/>
                      </a:lnTo>
                      <a:lnTo>
                        <a:pt x="32" y="19"/>
                      </a:lnTo>
                      <a:lnTo>
                        <a:pt x="33" y="18"/>
                      </a:lnTo>
                      <a:lnTo>
                        <a:pt x="37" y="17"/>
                      </a:lnTo>
                      <a:lnTo>
                        <a:pt x="39" y="14"/>
                      </a:lnTo>
                      <a:lnTo>
                        <a:pt x="40" y="11"/>
                      </a:lnTo>
                      <a:lnTo>
                        <a:pt x="40" y="8"/>
                      </a:lnTo>
                      <a:lnTo>
                        <a:pt x="39" y="6"/>
                      </a:lnTo>
                      <a:lnTo>
                        <a:pt x="34" y="4"/>
                      </a:lnTo>
                      <a:lnTo>
                        <a:pt x="29" y="4"/>
                      </a:lnTo>
                      <a:lnTo>
                        <a:pt x="23" y="3"/>
                      </a:lnTo>
                      <a:lnTo>
                        <a:pt x="18" y="0"/>
                      </a:lnTo>
                      <a:lnTo>
                        <a:pt x="15" y="0"/>
                      </a:lnTo>
                      <a:lnTo>
                        <a:pt x="12" y="1"/>
                      </a:lnTo>
                      <a:lnTo>
                        <a:pt x="12" y="5"/>
                      </a:lnTo>
                      <a:lnTo>
                        <a:pt x="12" y="7"/>
                      </a:lnTo>
                      <a:lnTo>
                        <a:pt x="14" y="10"/>
                      </a:lnTo>
                      <a:lnTo>
                        <a:pt x="12" y="12"/>
                      </a:lnTo>
                      <a:lnTo>
                        <a:pt x="9" y="12"/>
                      </a:lnTo>
                      <a:lnTo>
                        <a:pt x="6" y="12"/>
                      </a:lnTo>
                      <a:lnTo>
                        <a:pt x="2" y="12"/>
                      </a:lnTo>
                      <a:lnTo>
                        <a:pt x="1" y="13"/>
                      </a:lnTo>
                      <a:lnTo>
                        <a:pt x="0" y="16"/>
                      </a:lnTo>
                      <a:lnTo>
                        <a:pt x="0" y="20"/>
                      </a:lnTo>
                      <a:lnTo>
                        <a:pt x="1" y="23"/>
                      </a:lnTo>
                      <a:lnTo>
                        <a:pt x="2" y="24"/>
                      </a:lnTo>
                      <a:lnTo>
                        <a:pt x="12" y="27"/>
                      </a:lnTo>
                      <a:lnTo>
                        <a:pt x="15" y="27"/>
                      </a:lnTo>
                      <a:lnTo>
                        <a:pt x="18" y="27"/>
                      </a:lnTo>
                      <a:lnTo>
                        <a:pt x="21" y="26"/>
                      </a:lnTo>
                      <a:lnTo>
                        <a:pt x="24" y="27"/>
                      </a:lnTo>
                      <a:lnTo>
                        <a:pt x="26" y="26"/>
                      </a:lnTo>
                      <a:lnTo>
                        <a:pt x="28" y="26"/>
                      </a:lnTo>
                      <a:lnTo>
                        <a:pt x="29" y="2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4" name="Freeform 1029"/>
                <p:cNvSpPr>
                  <a:spLocks/>
                </p:cNvSpPr>
                <p:nvPr/>
              </p:nvSpPr>
              <p:spPr bwMode="auto">
                <a:xfrm>
                  <a:off x="995474" y="2771481"/>
                  <a:ext cx="32557" cy="22198"/>
                </a:xfrm>
                <a:custGeom>
                  <a:avLst/>
                  <a:gdLst>
                    <a:gd name="T0" fmla="*/ 2147483647 w 24"/>
                    <a:gd name="T1" fmla="*/ 2147483647 h 15"/>
                    <a:gd name="T2" fmla="*/ 2147483647 w 24"/>
                    <a:gd name="T3" fmla="*/ 2147483647 h 15"/>
                    <a:gd name="T4" fmla="*/ 2147483647 w 24"/>
                    <a:gd name="T5" fmla="*/ 2147483647 h 15"/>
                    <a:gd name="T6" fmla="*/ 2147483647 w 24"/>
                    <a:gd name="T7" fmla="*/ 2147483647 h 15"/>
                    <a:gd name="T8" fmla="*/ 2147483647 w 24"/>
                    <a:gd name="T9" fmla="*/ 2147483647 h 15"/>
                    <a:gd name="T10" fmla="*/ 2147483647 w 24"/>
                    <a:gd name="T11" fmla="*/ 2147483647 h 15"/>
                    <a:gd name="T12" fmla="*/ 2147483647 w 24"/>
                    <a:gd name="T13" fmla="*/ 2147483647 h 15"/>
                    <a:gd name="T14" fmla="*/ 0 w 24"/>
                    <a:gd name="T15" fmla="*/ 2147483647 h 15"/>
                    <a:gd name="T16" fmla="*/ 2147483647 w 24"/>
                    <a:gd name="T17" fmla="*/ 2147483647 h 15"/>
                    <a:gd name="T18" fmla="*/ 2147483647 w 24"/>
                    <a:gd name="T19" fmla="*/ 2147483647 h 15"/>
                    <a:gd name="T20" fmla="*/ 2147483647 w 24"/>
                    <a:gd name="T21" fmla="*/ 2147483647 h 15"/>
                    <a:gd name="T22" fmla="*/ 2147483647 w 24"/>
                    <a:gd name="T23" fmla="*/ 2147483647 h 15"/>
                    <a:gd name="T24" fmla="*/ 2147483647 w 24"/>
                    <a:gd name="T25" fmla="*/ 0 h 15"/>
                    <a:gd name="T26" fmla="*/ 2147483647 w 24"/>
                    <a:gd name="T27" fmla="*/ 0 h 15"/>
                    <a:gd name="T28" fmla="*/ 2147483647 w 24"/>
                    <a:gd name="T29" fmla="*/ 2147483647 h 15"/>
                    <a:gd name="T30" fmla="*/ 2147483647 w 24"/>
                    <a:gd name="T31" fmla="*/ 2147483647 h 15"/>
                    <a:gd name="T32" fmla="*/ 2147483647 w 24"/>
                    <a:gd name="T33" fmla="*/ 2147483647 h 15"/>
                    <a:gd name="T34" fmla="*/ 2147483647 w 24"/>
                    <a:gd name="T35" fmla="*/ 2147483647 h 15"/>
                    <a:gd name="T36" fmla="*/ 2147483647 w 24"/>
                    <a:gd name="T37" fmla="*/ 2147483647 h 15"/>
                    <a:gd name="T38" fmla="*/ 2147483647 w 24"/>
                    <a:gd name="T39" fmla="*/ 2147483647 h 15"/>
                    <a:gd name="T40" fmla="*/ 2147483647 w 24"/>
                    <a:gd name="T41" fmla="*/ 2147483647 h 15"/>
                    <a:gd name="T42" fmla="*/ 2147483647 w 24"/>
                    <a:gd name="T43" fmla="*/ 2147483647 h 15"/>
                    <a:gd name="T44" fmla="*/ 2147483647 w 24"/>
                    <a:gd name="T45" fmla="*/ 2147483647 h 15"/>
                    <a:gd name="T46" fmla="*/ 2147483647 w 24"/>
                    <a:gd name="T47" fmla="*/ 2147483647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15"/>
                    <a:gd name="T74" fmla="*/ 24 w 24"/>
                    <a:gd name="T75" fmla="*/ 15 h 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15">
                      <a:moveTo>
                        <a:pt x="10" y="12"/>
                      </a:moveTo>
                      <a:lnTo>
                        <a:pt x="10" y="12"/>
                      </a:lnTo>
                      <a:lnTo>
                        <a:pt x="6" y="13"/>
                      </a:lnTo>
                      <a:lnTo>
                        <a:pt x="5" y="15"/>
                      </a:lnTo>
                      <a:lnTo>
                        <a:pt x="2" y="15"/>
                      </a:lnTo>
                      <a:lnTo>
                        <a:pt x="1" y="13"/>
                      </a:lnTo>
                      <a:lnTo>
                        <a:pt x="0" y="12"/>
                      </a:lnTo>
                      <a:lnTo>
                        <a:pt x="1" y="9"/>
                      </a:lnTo>
                      <a:lnTo>
                        <a:pt x="2" y="6"/>
                      </a:lnTo>
                      <a:lnTo>
                        <a:pt x="5" y="4"/>
                      </a:lnTo>
                      <a:lnTo>
                        <a:pt x="10" y="0"/>
                      </a:lnTo>
                      <a:lnTo>
                        <a:pt x="15" y="0"/>
                      </a:lnTo>
                      <a:lnTo>
                        <a:pt x="20" y="3"/>
                      </a:lnTo>
                      <a:lnTo>
                        <a:pt x="21" y="4"/>
                      </a:lnTo>
                      <a:lnTo>
                        <a:pt x="23" y="7"/>
                      </a:lnTo>
                      <a:lnTo>
                        <a:pt x="24" y="9"/>
                      </a:lnTo>
                      <a:lnTo>
                        <a:pt x="23" y="10"/>
                      </a:lnTo>
                      <a:lnTo>
                        <a:pt x="19" y="11"/>
                      </a:lnTo>
                      <a:lnTo>
                        <a:pt x="15" y="11"/>
                      </a:lnTo>
                      <a:lnTo>
                        <a:pt x="10"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5" name="Freeform 1030"/>
                <p:cNvSpPr>
                  <a:spLocks/>
                </p:cNvSpPr>
                <p:nvPr/>
              </p:nvSpPr>
              <p:spPr bwMode="auto">
                <a:xfrm>
                  <a:off x="962917" y="2796642"/>
                  <a:ext cx="54756" cy="39957"/>
                </a:xfrm>
                <a:custGeom>
                  <a:avLst/>
                  <a:gdLst>
                    <a:gd name="T0" fmla="*/ 2147483647 w 40"/>
                    <a:gd name="T1" fmla="*/ 2147483647 h 27"/>
                    <a:gd name="T2" fmla="*/ 2147483647 w 40"/>
                    <a:gd name="T3" fmla="*/ 2147483647 h 27"/>
                    <a:gd name="T4" fmla="*/ 2147483647 w 40"/>
                    <a:gd name="T5" fmla="*/ 2147483647 h 27"/>
                    <a:gd name="T6" fmla="*/ 2147483647 w 40"/>
                    <a:gd name="T7" fmla="*/ 2147483647 h 27"/>
                    <a:gd name="T8" fmla="*/ 2147483647 w 40"/>
                    <a:gd name="T9" fmla="*/ 2147483647 h 27"/>
                    <a:gd name="T10" fmla="*/ 2147483647 w 40"/>
                    <a:gd name="T11" fmla="*/ 2147483647 h 27"/>
                    <a:gd name="T12" fmla="*/ 2147483647 w 40"/>
                    <a:gd name="T13" fmla="*/ 2147483647 h 27"/>
                    <a:gd name="T14" fmla="*/ 2147483647 w 40"/>
                    <a:gd name="T15" fmla="*/ 2147483647 h 27"/>
                    <a:gd name="T16" fmla="*/ 2147483647 w 40"/>
                    <a:gd name="T17" fmla="*/ 2147483647 h 27"/>
                    <a:gd name="T18" fmla="*/ 2147483647 w 40"/>
                    <a:gd name="T19" fmla="*/ 2147483647 h 27"/>
                    <a:gd name="T20" fmla="*/ 2147483647 w 40"/>
                    <a:gd name="T21" fmla="*/ 2147483647 h 27"/>
                    <a:gd name="T22" fmla="*/ 2147483647 w 40"/>
                    <a:gd name="T23" fmla="*/ 2147483647 h 27"/>
                    <a:gd name="T24" fmla="*/ 2147483647 w 40"/>
                    <a:gd name="T25" fmla="*/ 2147483647 h 27"/>
                    <a:gd name="T26" fmla="*/ 2147483647 w 40"/>
                    <a:gd name="T27" fmla="*/ 2147483647 h 27"/>
                    <a:gd name="T28" fmla="*/ 2147483647 w 40"/>
                    <a:gd name="T29" fmla="*/ 2147483647 h 27"/>
                    <a:gd name="T30" fmla="*/ 2147483647 w 40"/>
                    <a:gd name="T31" fmla="*/ 0 h 27"/>
                    <a:gd name="T32" fmla="*/ 2147483647 w 40"/>
                    <a:gd name="T33" fmla="*/ 0 h 27"/>
                    <a:gd name="T34" fmla="*/ 2147483647 w 40"/>
                    <a:gd name="T35" fmla="*/ 0 h 27"/>
                    <a:gd name="T36" fmla="*/ 2147483647 w 40"/>
                    <a:gd name="T37" fmla="*/ 2147483647 h 27"/>
                    <a:gd name="T38" fmla="*/ 2147483647 w 40"/>
                    <a:gd name="T39" fmla="*/ 2147483647 h 27"/>
                    <a:gd name="T40" fmla="*/ 2147483647 w 40"/>
                    <a:gd name="T41" fmla="*/ 2147483647 h 27"/>
                    <a:gd name="T42" fmla="*/ 2147483647 w 40"/>
                    <a:gd name="T43" fmla="*/ 2147483647 h 27"/>
                    <a:gd name="T44" fmla="*/ 2147483647 w 40"/>
                    <a:gd name="T45" fmla="*/ 2147483647 h 27"/>
                    <a:gd name="T46" fmla="*/ 2147483647 w 40"/>
                    <a:gd name="T47" fmla="*/ 2147483647 h 27"/>
                    <a:gd name="T48" fmla="*/ 2147483647 w 40"/>
                    <a:gd name="T49" fmla="*/ 2147483647 h 27"/>
                    <a:gd name="T50" fmla="*/ 2147483647 w 40"/>
                    <a:gd name="T51" fmla="*/ 2147483647 h 27"/>
                    <a:gd name="T52" fmla="*/ 2147483647 w 40"/>
                    <a:gd name="T53" fmla="*/ 2147483647 h 27"/>
                    <a:gd name="T54" fmla="*/ 2147483647 w 40"/>
                    <a:gd name="T55" fmla="*/ 2147483647 h 27"/>
                    <a:gd name="T56" fmla="*/ 2147483647 w 40"/>
                    <a:gd name="T57" fmla="*/ 2147483647 h 27"/>
                    <a:gd name="T58" fmla="*/ 0 w 40"/>
                    <a:gd name="T59" fmla="*/ 2147483647 h 27"/>
                    <a:gd name="T60" fmla="*/ 0 w 40"/>
                    <a:gd name="T61" fmla="*/ 2147483647 h 27"/>
                    <a:gd name="T62" fmla="*/ 0 w 40"/>
                    <a:gd name="T63" fmla="*/ 2147483647 h 27"/>
                    <a:gd name="T64" fmla="*/ 2147483647 w 40"/>
                    <a:gd name="T65" fmla="*/ 2147483647 h 27"/>
                    <a:gd name="T66" fmla="*/ 2147483647 w 40"/>
                    <a:gd name="T67" fmla="*/ 2147483647 h 27"/>
                    <a:gd name="T68" fmla="*/ 2147483647 w 40"/>
                    <a:gd name="T69" fmla="*/ 2147483647 h 27"/>
                    <a:gd name="T70" fmla="*/ 2147483647 w 40"/>
                    <a:gd name="T71" fmla="*/ 2147483647 h 27"/>
                    <a:gd name="T72" fmla="*/ 2147483647 w 40"/>
                    <a:gd name="T73" fmla="*/ 2147483647 h 27"/>
                    <a:gd name="T74" fmla="*/ 2147483647 w 40"/>
                    <a:gd name="T75" fmla="*/ 2147483647 h 27"/>
                    <a:gd name="T76" fmla="*/ 2147483647 w 40"/>
                    <a:gd name="T77" fmla="*/ 2147483647 h 27"/>
                    <a:gd name="T78" fmla="*/ 2147483647 w 40"/>
                    <a:gd name="T79" fmla="*/ 2147483647 h 27"/>
                    <a:gd name="T80" fmla="*/ 2147483647 w 40"/>
                    <a:gd name="T81" fmla="*/ 2147483647 h 27"/>
                    <a:gd name="T82" fmla="*/ 2147483647 w 40"/>
                    <a:gd name="T83" fmla="*/ 2147483647 h 27"/>
                    <a:gd name="T84" fmla="*/ 2147483647 w 40"/>
                    <a:gd name="T85" fmla="*/ 2147483647 h 27"/>
                    <a:gd name="T86" fmla="*/ 2147483647 w 40"/>
                    <a:gd name="T87" fmla="*/ 2147483647 h 27"/>
                    <a:gd name="T88" fmla="*/ 2147483647 w 40"/>
                    <a:gd name="T89" fmla="*/ 2147483647 h 27"/>
                    <a:gd name="T90" fmla="*/ 2147483647 w 40"/>
                    <a:gd name="T91" fmla="*/ 2147483647 h 2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
                    <a:gd name="T139" fmla="*/ 0 h 27"/>
                    <a:gd name="T140" fmla="*/ 40 w 40"/>
                    <a:gd name="T141" fmla="*/ 27 h 2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 h="27">
                      <a:moveTo>
                        <a:pt x="29" y="24"/>
                      </a:moveTo>
                      <a:lnTo>
                        <a:pt x="29" y="24"/>
                      </a:lnTo>
                      <a:lnTo>
                        <a:pt x="29" y="21"/>
                      </a:lnTo>
                      <a:lnTo>
                        <a:pt x="31" y="19"/>
                      </a:lnTo>
                      <a:lnTo>
                        <a:pt x="33" y="18"/>
                      </a:lnTo>
                      <a:lnTo>
                        <a:pt x="36" y="17"/>
                      </a:lnTo>
                      <a:lnTo>
                        <a:pt x="39" y="14"/>
                      </a:lnTo>
                      <a:lnTo>
                        <a:pt x="40" y="11"/>
                      </a:lnTo>
                      <a:lnTo>
                        <a:pt x="40" y="8"/>
                      </a:lnTo>
                      <a:lnTo>
                        <a:pt x="39" y="6"/>
                      </a:lnTo>
                      <a:lnTo>
                        <a:pt x="34" y="4"/>
                      </a:lnTo>
                      <a:lnTo>
                        <a:pt x="29" y="4"/>
                      </a:lnTo>
                      <a:lnTo>
                        <a:pt x="22" y="2"/>
                      </a:lnTo>
                      <a:lnTo>
                        <a:pt x="17" y="0"/>
                      </a:lnTo>
                      <a:lnTo>
                        <a:pt x="15" y="0"/>
                      </a:lnTo>
                      <a:lnTo>
                        <a:pt x="12" y="1"/>
                      </a:lnTo>
                      <a:lnTo>
                        <a:pt x="12" y="5"/>
                      </a:lnTo>
                      <a:lnTo>
                        <a:pt x="12" y="7"/>
                      </a:lnTo>
                      <a:lnTo>
                        <a:pt x="13" y="9"/>
                      </a:lnTo>
                      <a:lnTo>
                        <a:pt x="12" y="12"/>
                      </a:lnTo>
                      <a:lnTo>
                        <a:pt x="8" y="12"/>
                      </a:lnTo>
                      <a:lnTo>
                        <a:pt x="6" y="12"/>
                      </a:lnTo>
                      <a:lnTo>
                        <a:pt x="2" y="12"/>
                      </a:lnTo>
                      <a:lnTo>
                        <a:pt x="1" y="13"/>
                      </a:lnTo>
                      <a:lnTo>
                        <a:pt x="0" y="15"/>
                      </a:lnTo>
                      <a:lnTo>
                        <a:pt x="0" y="20"/>
                      </a:lnTo>
                      <a:lnTo>
                        <a:pt x="1" y="22"/>
                      </a:lnTo>
                      <a:lnTo>
                        <a:pt x="2" y="24"/>
                      </a:lnTo>
                      <a:lnTo>
                        <a:pt x="12" y="27"/>
                      </a:lnTo>
                      <a:lnTo>
                        <a:pt x="15" y="27"/>
                      </a:lnTo>
                      <a:lnTo>
                        <a:pt x="17" y="27"/>
                      </a:lnTo>
                      <a:lnTo>
                        <a:pt x="21" y="26"/>
                      </a:lnTo>
                      <a:lnTo>
                        <a:pt x="24" y="27"/>
                      </a:lnTo>
                      <a:lnTo>
                        <a:pt x="26" y="26"/>
                      </a:lnTo>
                      <a:lnTo>
                        <a:pt x="27" y="26"/>
                      </a:lnTo>
                      <a:lnTo>
                        <a:pt x="29" y="2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6" name="Freeform 1031"/>
                <p:cNvSpPr>
                  <a:spLocks/>
                </p:cNvSpPr>
                <p:nvPr/>
              </p:nvSpPr>
              <p:spPr bwMode="auto">
                <a:xfrm>
                  <a:off x="831208" y="2898751"/>
                  <a:ext cx="28117" cy="26638"/>
                </a:xfrm>
                <a:custGeom>
                  <a:avLst/>
                  <a:gdLst>
                    <a:gd name="T0" fmla="*/ 2147483647 w 21"/>
                    <a:gd name="T1" fmla="*/ 2147483647 h 18"/>
                    <a:gd name="T2" fmla="*/ 2147483647 w 21"/>
                    <a:gd name="T3" fmla="*/ 2147483647 h 18"/>
                    <a:gd name="T4" fmla="*/ 2147483647 w 21"/>
                    <a:gd name="T5" fmla="*/ 2147483647 h 18"/>
                    <a:gd name="T6" fmla="*/ 2147483647 w 21"/>
                    <a:gd name="T7" fmla="*/ 0 h 18"/>
                    <a:gd name="T8" fmla="*/ 2147483647 w 21"/>
                    <a:gd name="T9" fmla="*/ 2147483647 h 18"/>
                    <a:gd name="T10" fmla="*/ 2147483647 w 21"/>
                    <a:gd name="T11" fmla="*/ 2147483647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0 w 21"/>
                    <a:gd name="T25" fmla="*/ 2147483647 h 18"/>
                    <a:gd name="T26" fmla="*/ 0 w 21"/>
                    <a:gd name="T27" fmla="*/ 2147483647 h 18"/>
                    <a:gd name="T28" fmla="*/ 2147483647 w 21"/>
                    <a:gd name="T29" fmla="*/ 2147483647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
                    <a:gd name="T46" fmla="*/ 0 h 18"/>
                    <a:gd name="T47" fmla="*/ 21 w 21"/>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 h="18">
                      <a:moveTo>
                        <a:pt x="4" y="7"/>
                      </a:moveTo>
                      <a:lnTo>
                        <a:pt x="7" y="3"/>
                      </a:lnTo>
                      <a:lnTo>
                        <a:pt x="9" y="2"/>
                      </a:lnTo>
                      <a:lnTo>
                        <a:pt x="16" y="0"/>
                      </a:lnTo>
                      <a:lnTo>
                        <a:pt x="17" y="3"/>
                      </a:lnTo>
                      <a:lnTo>
                        <a:pt x="19" y="8"/>
                      </a:lnTo>
                      <a:lnTo>
                        <a:pt x="21" y="10"/>
                      </a:lnTo>
                      <a:lnTo>
                        <a:pt x="21" y="12"/>
                      </a:lnTo>
                      <a:lnTo>
                        <a:pt x="19" y="13"/>
                      </a:lnTo>
                      <a:lnTo>
                        <a:pt x="12" y="16"/>
                      </a:lnTo>
                      <a:lnTo>
                        <a:pt x="7" y="18"/>
                      </a:lnTo>
                      <a:lnTo>
                        <a:pt x="3" y="18"/>
                      </a:lnTo>
                      <a:lnTo>
                        <a:pt x="0" y="15"/>
                      </a:lnTo>
                      <a:lnTo>
                        <a:pt x="0" y="13"/>
                      </a:lnTo>
                      <a:lnTo>
                        <a:pt x="4"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7" name="Freeform 1032"/>
                <p:cNvSpPr>
                  <a:spLocks/>
                </p:cNvSpPr>
                <p:nvPr/>
              </p:nvSpPr>
              <p:spPr bwMode="auto">
                <a:xfrm>
                  <a:off x="668425" y="2700448"/>
                  <a:ext cx="36996" cy="26638"/>
                </a:xfrm>
                <a:custGeom>
                  <a:avLst/>
                  <a:gdLst>
                    <a:gd name="T0" fmla="*/ 2147483647 w 27"/>
                    <a:gd name="T1" fmla="*/ 2147483647 h 18"/>
                    <a:gd name="T2" fmla="*/ 2147483647 w 27"/>
                    <a:gd name="T3" fmla="*/ 0 h 18"/>
                    <a:gd name="T4" fmla="*/ 2147483647 w 27"/>
                    <a:gd name="T5" fmla="*/ 0 h 18"/>
                    <a:gd name="T6" fmla="*/ 2147483647 w 27"/>
                    <a:gd name="T7" fmla="*/ 0 h 18"/>
                    <a:gd name="T8" fmla="*/ 2147483647 w 27"/>
                    <a:gd name="T9" fmla="*/ 2147483647 h 18"/>
                    <a:gd name="T10" fmla="*/ 2147483647 w 27"/>
                    <a:gd name="T11" fmla="*/ 2147483647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2147483647 w 27"/>
                    <a:gd name="T21" fmla="*/ 2147483647 h 18"/>
                    <a:gd name="T22" fmla="*/ 2147483647 w 27"/>
                    <a:gd name="T23" fmla="*/ 2147483647 h 18"/>
                    <a:gd name="T24" fmla="*/ 2147483647 w 27"/>
                    <a:gd name="T25" fmla="*/ 2147483647 h 18"/>
                    <a:gd name="T26" fmla="*/ 2147483647 w 27"/>
                    <a:gd name="T27" fmla="*/ 2147483647 h 18"/>
                    <a:gd name="T28" fmla="*/ 2147483647 w 27"/>
                    <a:gd name="T29" fmla="*/ 2147483647 h 18"/>
                    <a:gd name="T30" fmla="*/ 2147483647 w 27"/>
                    <a:gd name="T31" fmla="*/ 2147483647 h 18"/>
                    <a:gd name="T32" fmla="*/ 2147483647 w 27"/>
                    <a:gd name="T33" fmla="*/ 2147483647 h 18"/>
                    <a:gd name="T34" fmla="*/ 0 w 27"/>
                    <a:gd name="T35" fmla="*/ 2147483647 h 18"/>
                    <a:gd name="T36" fmla="*/ 0 w 27"/>
                    <a:gd name="T37" fmla="*/ 2147483647 h 18"/>
                    <a:gd name="T38" fmla="*/ 2147483647 w 27"/>
                    <a:gd name="T39" fmla="*/ 2147483647 h 18"/>
                    <a:gd name="T40" fmla="*/ 2147483647 w 27"/>
                    <a:gd name="T41" fmla="*/ 2147483647 h 18"/>
                    <a:gd name="T42" fmla="*/ 2147483647 w 27"/>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18"/>
                    <a:gd name="T68" fmla="*/ 27 w 27"/>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18">
                      <a:moveTo>
                        <a:pt x="9" y="3"/>
                      </a:moveTo>
                      <a:lnTo>
                        <a:pt x="13" y="0"/>
                      </a:lnTo>
                      <a:lnTo>
                        <a:pt x="15" y="0"/>
                      </a:lnTo>
                      <a:lnTo>
                        <a:pt x="18" y="0"/>
                      </a:lnTo>
                      <a:lnTo>
                        <a:pt x="22" y="2"/>
                      </a:lnTo>
                      <a:lnTo>
                        <a:pt x="25" y="4"/>
                      </a:lnTo>
                      <a:lnTo>
                        <a:pt x="27" y="8"/>
                      </a:lnTo>
                      <a:lnTo>
                        <a:pt x="27" y="10"/>
                      </a:lnTo>
                      <a:lnTo>
                        <a:pt x="27" y="12"/>
                      </a:lnTo>
                      <a:lnTo>
                        <a:pt x="24" y="14"/>
                      </a:lnTo>
                      <a:lnTo>
                        <a:pt x="22" y="16"/>
                      </a:lnTo>
                      <a:lnTo>
                        <a:pt x="18" y="18"/>
                      </a:lnTo>
                      <a:lnTo>
                        <a:pt x="14" y="18"/>
                      </a:lnTo>
                      <a:lnTo>
                        <a:pt x="10" y="18"/>
                      </a:lnTo>
                      <a:lnTo>
                        <a:pt x="6" y="16"/>
                      </a:lnTo>
                      <a:lnTo>
                        <a:pt x="4" y="14"/>
                      </a:lnTo>
                      <a:lnTo>
                        <a:pt x="1" y="10"/>
                      </a:lnTo>
                      <a:lnTo>
                        <a:pt x="0" y="9"/>
                      </a:lnTo>
                      <a:lnTo>
                        <a:pt x="0" y="8"/>
                      </a:lnTo>
                      <a:lnTo>
                        <a:pt x="2" y="6"/>
                      </a:lnTo>
                      <a:lnTo>
                        <a:pt x="6" y="4"/>
                      </a:lnTo>
                      <a:lnTo>
                        <a:pt x="9"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8" name="Freeform 1033"/>
                <p:cNvSpPr>
                  <a:spLocks/>
                </p:cNvSpPr>
                <p:nvPr/>
              </p:nvSpPr>
              <p:spPr bwMode="auto">
                <a:xfrm>
                  <a:off x="829731" y="2897271"/>
                  <a:ext cx="28118" cy="25158"/>
                </a:xfrm>
                <a:custGeom>
                  <a:avLst/>
                  <a:gdLst>
                    <a:gd name="T0" fmla="*/ 2147483647 w 20"/>
                    <a:gd name="T1" fmla="*/ 2147483647 h 17"/>
                    <a:gd name="T2" fmla="*/ 2147483647 w 20"/>
                    <a:gd name="T3" fmla="*/ 2147483647 h 17"/>
                    <a:gd name="T4" fmla="*/ 2147483647 w 20"/>
                    <a:gd name="T5" fmla="*/ 2147483647 h 17"/>
                    <a:gd name="T6" fmla="*/ 2147483647 w 20"/>
                    <a:gd name="T7" fmla="*/ 2147483647 h 17"/>
                    <a:gd name="T8" fmla="*/ 2147483647 w 20"/>
                    <a:gd name="T9" fmla="*/ 0 h 17"/>
                    <a:gd name="T10" fmla="*/ 2147483647 w 20"/>
                    <a:gd name="T11" fmla="*/ 0 h 17"/>
                    <a:gd name="T12" fmla="*/ 2147483647 w 20"/>
                    <a:gd name="T13" fmla="*/ 2147483647 h 17"/>
                    <a:gd name="T14" fmla="*/ 2147483647 w 20"/>
                    <a:gd name="T15" fmla="*/ 2147483647 h 17"/>
                    <a:gd name="T16" fmla="*/ 2147483647 w 20"/>
                    <a:gd name="T17" fmla="*/ 2147483647 h 17"/>
                    <a:gd name="T18" fmla="*/ 2147483647 w 20"/>
                    <a:gd name="T19" fmla="*/ 2147483647 h 17"/>
                    <a:gd name="T20" fmla="*/ 2147483647 w 20"/>
                    <a:gd name="T21" fmla="*/ 2147483647 h 17"/>
                    <a:gd name="T22" fmla="*/ 2147483647 w 20"/>
                    <a:gd name="T23" fmla="*/ 2147483647 h 17"/>
                    <a:gd name="T24" fmla="*/ 2147483647 w 20"/>
                    <a:gd name="T25" fmla="*/ 2147483647 h 17"/>
                    <a:gd name="T26" fmla="*/ 2147483647 w 20"/>
                    <a:gd name="T27" fmla="*/ 2147483647 h 17"/>
                    <a:gd name="T28" fmla="*/ 2147483647 w 20"/>
                    <a:gd name="T29" fmla="*/ 2147483647 h 17"/>
                    <a:gd name="T30" fmla="*/ 2147483647 w 20"/>
                    <a:gd name="T31" fmla="*/ 2147483647 h 17"/>
                    <a:gd name="T32" fmla="*/ 0 w 20"/>
                    <a:gd name="T33" fmla="*/ 2147483647 h 17"/>
                    <a:gd name="T34" fmla="*/ 0 w 20"/>
                    <a:gd name="T35" fmla="*/ 2147483647 h 17"/>
                    <a:gd name="T36" fmla="*/ 2147483647 w 20"/>
                    <a:gd name="T37" fmla="*/ 2147483647 h 17"/>
                    <a:gd name="T38" fmla="*/ 2147483647 w 20"/>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7"/>
                    <a:gd name="T62" fmla="*/ 20 w 20"/>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7">
                      <a:moveTo>
                        <a:pt x="4" y="7"/>
                      </a:moveTo>
                      <a:lnTo>
                        <a:pt x="4" y="7"/>
                      </a:lnTo>
                      <a:lnTo>
                        <a:pt x="6" y="3"/>
                      </a:lnTo>
                      <a:lnTo>
                        <a:pt x="9" y="2"/>
                      </a:lnTo>
                      <a:lnTo>
                        <a:pt x="15" y="0"/>
                      </a:lnTo>
                      <a:lnTo>
                        <a:pt x="17" y="3"/>
                      </a:lnTo>
                      <a:lnTo>
                        <a:pt x="19" y="8"/>
                      </a:lnTo>
                      <a:lnTo>
                        <a:pt x="20" y="10"/>
                      </a:lnTo>
                      <a:lnTo>
                        <a:pt x="20" y="11"/>
                      </a:lnTo>
                      <a:lnTo>
                        <a:pt x="19" y="13"/>
                      </a:lnTo>
                      <a:lnTo>
                        <a:pt x="11" y="16"/>
                      </a:lnTo>
                      <a:lnTo>
                        <a:pt x="6" y="17"/>
                      </a:lnTo>
                      <a:lnTo>
                        <a:pt x="3" y="17"/>
                      </a:lnTo>
                      <a:lnTo>
                        <a:pt x="0" y="15"/>
                      </a:lnTo>
                      <a:lnTo>
                        <a:pt x="0" y="13"/>
                      </a:lnTo>
                      <a:lnTo>
                        <a:pt x="4"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59" name="Freeform 1034"/>
                <p:cNvSpPr>
                  <a:spLocks/>
                </p:cNvSpPr>
                <p:nvPr/>
              </p:nvSpPr>
              <p:spPr bwMode="auto">
                <a:xfrm>
                  <a:off x="666944" y="2698968"/>
                  <a:ext cx="35517" cy="25158"/>
                </a:xfrm>
                <a:custGeom>
                  <a:avLst/>
                  <a:gdLst>
                    <a:gd name="T0" fmla="*/ 2147483647 w 26"/>
                    <a:gd name="T1" fmla="*/ 2147483647 h 17"/>
                    <a:gd name="T2" fmla="*/ 2147483647 w 26"/>
                    <a:gd name="T3" fmla="*/ 2147483647 h 17"/>
                    <a:gd name="T4" fmla="*/ 2147483647 w 26"/>
                    <a:gd name="T5" fmla="*/ 0 h 17"/>
                    <a:gd name="T6" fmla="*/ 2147483647 w 26"/>
                    <a:gd name="T7" fmla="*/ 0 h 17"/>
                    <a:gd name="T8" fmla="*/ 2147483647 w 26"/>
                    <a:gd name="T9" fmla="*/ 0 h 17"/>
                    <a:gd name="T10" fmla="*/ 2147483647 w 26"/>
                    <a:gd name="T11" fmla="*/ 0 h 17"/>
                    <a:gd name="T12" fmla="*/ 2147483647 w 26"/>
                    <a:gd name="T13" fmla="*/ 2147483647 h 17"/>
                    <a:gd name="T14" fmla="*/ 2147483647 w 26"/>
                    <a:gd name="T15" fmla="*/ 2147483647 h 17"/>
                    <a:gd name="T16" fmla="*/ 2147483647 w 26"/>
                    <a:gd name="T17" fmla="*/ 2147483647 h 17"/>
                    <a:gd name="T18" fmla="*/ 2147483647 w 26"/>
                    <a:gd name="T19" fmla="*/ 2147483647 h 17"/>
                    <a:gd name="T20" fmla="*/ 2147483647 w 26"/>
                    <a:gd name="T21" fmla="*/ 2147483647 h 17"/>
                    <a:gd name="T22" fmla="*/ 2147483647 w 26"/>
                    <a:gd name="T23" fmla="*/ 2147483647 h 17"/>
                    <a:gd name="T24" fmla="*/ 2147483647 w 26"/>
                    <a:gd name="T25" fmla="*/ 2147483647 h 17"/>
                    <a:gd name="T26" fmla="*/ 2147483647 w 26"/>
                    <a:gd name="T27" fmla="*/ 2147483647 h 17"/>
                    <a:gd name="T28" fmla="*/ 2147483647 w 26"/>
                    <a:gd name="T29" fmla="*/ 2147483647 h 17"/>
                    <a:gd name="T30" fmla="*/ 2147483647 w 26"/>
                    <a:gd name="T31" fmla="*/ 2147483647 h 17"/>
                    <a:gd name="T32" fmla="*/ 2147483647 w 26"/>
                    <a:gd name="T33" fmla="*/ 2147483647 h 17"/>
                    <a:gd name="T34" fmla="*/ 2147483647 w 26"/>
                    <a:gd name="T35" fmla="*/ 2147483647 h 17"/>
                    <a:gd name="T36" fmla="*/ 2147483647 w 26"/>
                    <a:gd name="T37" fmla="*/ 2147483647 h 17"/>
                    <a:gd name="T38" fmla="*/ 2147483647 w 26"/>
                    <a:gd name="T39" fmla="*/ 2147483647 h 17"/>
                    <a:gd name="T40" fmla="*/ 2147483647 w 26"/>
                    <a:gd name="T41" fmla="*/ 2147483647 h 17"/>
                    <a:gd name="T42" fmla="*/ 0 w 26"/>
                    <a:gd name="T43" fmla="*/ 2147483647 h 17"/>
                    <a:gd name="T44" fmla="*/ 0 w 26"/>
                    <a:gd name="T45" fmla="*/ 2147483647 h 17"/>
                    <a:gd name="T46" fmla="*/ 2147483647 w 26"/>
                    <a:gd name="T47" fmla="*/ 2147483647 h 17"/>
                    <a:gd name="T48" fmla="*/ 2147483647 w 26"/>
                    <a:gd name="T49" fmla="*/ 2147483647 h 17"/>
                    <a:gd name="T50" fmla="*/ 2147483647 w 26"/>
                    <a:gd name="T51" fmla="*/ 2147483647 h 17"/>
                    <a:gd name="T52" fmla="*/ 2147483647 w 26"/>
                    <a:gd name="T53" fmla="*/ 2147483647 h 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6"/>
                    <a:gd name="T82" fmla="*/ 0 h 17"/>
                    <a:gd name="T83" fmla="*/ 26 w 26"/>
                    <a:gd name="T84" fmla="*/ 17 h 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6" h="17">
                      <a:moveTo>
                        <a:pt x="9" y="3"/>
                      </a:moveTo>
                      <a:lnTo>
                        <a:pt x="9" y="3"/>
                      </a:lnTo>
                      <a:lnTo>
                        <a:pt x="12" y="0"/>
                      </a:lnTo>
                      <a:lnTo>
                        <a:pt x="15" y="0"/>
                      </a:lnTo>
                      <a:lnTo>
                        <a:pt x="17" y="0"/>
                      </a:lnTo>
                      <a:lnTo>
                        <a:pt x="21" y="2"/>
                      </a:lnTo>
                      <a:lnTo>
                        <a:pt x="25" y="4"/>
                      </a:lnTo>
                      <a:lnTo>
                        <a:pt x="26" y="8"/>
                      </a:lnTo>
                      <a:lnTo>
                        <a:pt x="26" y="10"/>
                      </a:lnTo>
                      <a:lnTo>
                        <a:pt x="26" y="11"/>
                      </a:lnTo>
                      <a:lnTo>
                        <a:pt x="24" y="14"/>
                      </a:lnTo>
                      <a:lnTo>
                        <a:pt x="21" y="16"/>
                      </a:lnTo>
                      <a:lnTo>
                        <a:pt x="17" y="17"/>
                      </a:lnTo>
                      <a:lnTo>
                        <a:pt x="14" y="17"/>
                      </a:lnTo>
                      <a:lnTo>
                        <a:pt x="10" y="17"/>
                      </a:lnTo>
                      <a:lnTo>
                        <a:pt x="6" y="16"/>
                      </a:lnTo>
                      <a:lnTo>
                        <a:pt x="3" y="14"/>
                      </a:lnTo>
                      <a:lnTo>
                        <a:pt x="1" y="10"/>
                      </a:lnTo>
                      <a:lnTo>
                        <a:pt x="0" y="9"/>
                      </a:lnTo>
                      <a:lnTo>
                        <a:pt x="0" y="8"/>
                      </a:lnTo>
                      <a:lnTo>
                        <a:pt x="2" y="5"/>
                      </a:lnTo>
                      <a:lnTo>
                        <a:pt x="6" y="4"/>
                      </a:lnTo>
                      <a:lnTo>
                        <a:pt x="9"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0" name="Freeform 1035"/>
                <p:cNvSpPr>
                  <a:spLocks/>
                </p:cNvSpPr>
                <p:nvPr/>
              </p:nvSpPr>
              <p:spPr bwMode="auto">
                <a:xfrm>
                  <a:off x="669901" y="2259446"/>
                  <a:ext cx="876084" cy="679261"/>
                </a:xfrm>
                <a:custGeom>
                  <a:avLst/>
                  <a:gdLst>
                    <a:gd name="T0" fmla="*/ 2147483647 w 641"/>
                    <a:gd name="T1" fmla="*/ 2147483647 h 459"/>
                    <a:gd name="T2" fmla="*/ 2147483647 w 641"/>
                    <a:gd name="T3" fmla="*/ 2147483647 h 459"/>
                    <a:gd name="T4" fmla="*/ 2147483647 w 641"/>
                    <a:gd name="T5" fmla="*/ 2147483647 h 459"/>
                    <a:gd name="T6" fmla="*/ 2147483647 w 641"/>
                    <a:gd name="T7" fmla="*/ 2147483647 h 459"/>
                    <a:gd name="T8" fmla="*/ 2147483647 w 641"/>
                    <a:gd name="T9" fmla="*/ 2147483647 h 459"/>
                    <a:gd name="T10" fmla="*/ 2147483647 w 641"/>
                    <a:gd name="T11" fmla="*/ 2147483647 h 459"/>
                    <a:gd name="T12" fmla="*/ 2147483647 w 641"/>
                    <a:gd name="T13" fmla="*/ 2147483647 h 459"/>
                    <a:gd name="T14" fmla="*/ 2147483647 w 641"/>
                    <a:gd name="T15" fmla="*/ 2147483647 h 459"/>
                    <a:gd name="T16" fmla="*/ 2147483647 w 641"/>
                    <a:gd name="T17" fmla="*/ 2147483647 h 459"/>
                    <a:gd name="T18" fmla="*/ 2147483647 w 641"/>
                    <a:gd name="T19" fmla="*/ 2147483647 h 459"/>
                    <a:gd name="T20" fmla="*/ 2147483647 w 641"/>
                    <a:gd name="T21" fmla="*/ 2147483647 h 459"/>
                    <a:gd name="T22" fmla="*/ 2147483647 w 641"/>
                    <a:gd name="T23" fmla="*/ 2147483647 h 459"/>
                    <a:gd name="T24" fmla="*/ 2147483647 w 641"/>
                    <a:gd name="T25" fmla="*/ 2147483647 h 459"/>
                    <a:gd name="T26" fmla="*/ 2147483647 w 641"/>
                    <a:gd name="T27" fmla="*/ 2147483647 h 459"/>
                    <a:gd name="T28" fmla="*/ 2147483647 w 641"/>
                    <a:gd name="T29" fmla="*/ 2147483647 h 459"/>
                    <a:gd name="T30" fmla="*/ 2147483647 w 641"/>
                    <a:gd name="T31" fmla="*/ 2147483647 h 459"/>
                    <a:gd name="T32" fmla="*/ 2147483647 w 641"/>
                    <a:gd name="T33" fmla="*/ 2147483647 h 459"/>
                    <a:gd name="T34" fmla="*/ 2147483647 w 641"/>
                    <a:gd name="T35" fmla="*/ 2147483647 h 459"/>
                    <a:gd name="T36" fmla="*/ 2147483647 w 641"/>
                    <a:gd name="T37" fmla="*/ 2147483647 h 459"/>
                    <a:gd name="T38" fmla="*/ 2147483647 w 641"/>
                    <a:gd name="T39" fmla="*/ 2147483647 h 459"/>
                    <a:gd name="T40" fmla="*/ 2147483647 w 641"/>
                    <a:gd name="T41" fmla="*/ 2147483647 h 459"/>
                    <a:gd name="T42" fmla="*/ 2147483647 w 641"/>
                    <a:gd name="T43" fmla="*/ 2147483647 h 459"/>
                    <a:gd name="T44" fmla="*/ 2147483647 w 641"/>
                    <a:gd name="T45" fmla="*/ 2147483647 h 459"/>
                    <a:gd name="T46" fmla="*/ 2147483647 w 641"/>
                    <a:gd name="T47" fmla="*/ 2147483647 h 459"/>
                    <a:gd name="T48" fmla="*/ 2147483647 w 641"/>
                    <a:gd name="T49" fmla="*/ 2147483647 h 459"/>
                    <a:gd name="T50" fmla="*/ 2147483647 w 641"/>
                    <a:gd name="T51" fmla="*/ 2147483647 h 459"/>
                    <a:gd name="T52" fmla="*/ 2147483647 w 641"/>
                    <a:gd name="T53" fmla="*/ 2147483647 h 459"/>
                    <a:gd name="T54" fmla="*/ 2147483647 w 641"/>
                    <a:gd name="T55" fmla="*/ 2147483647 h 459"/>
                    <a:gd name="T56" fmla="*/ 2147483647 w 641"/>
                    <a:gd name="T57" fmla="*/ 2147483647 h 459"/>
                    <a:gd name="T58" fmla="*/ 2147483647 w 641"/>
                    <a:gd name="T59" fmla="*/ 2147483647 h 459"/>
                    <a:gd name="T60" fmla="*/ 2147483647 w 641"/>
                    <a:gd name="T61" fmla="*/ 2147483647 h 459"/>
                    <a:gd name="T62" fmla="*/ 2147483647 w 641"/>
                    <a:gd name="T63" fmla="*/ 2147483647 h 459"/>
                    <a:gd name="T64" fmla="*/ 2147483647 w 641"/>
                    <a:gd name="T65" fmla="*/ 2147483647 h 459"/>
                    <a:gd name="T66" fmla="*/ 2147483647 w 641"/>
                    <a:gd name="T67" fmla="*/ 2147483647 h 459"/>
                    <a:gd name="T68" fmla="*/ 2147483647 w 641"/>
                    <a:gd name="T69" fmla="*/ 2147483647 h 459"/>
                    <a:gd name="T70" fmla="*/ 2147483647 w 641"/>
                    <a:gd name="T71" fmla="*/ 2147483647 h 459"/>
                    <a:gd name="T72" fmla="*/ 2147483647 w 641"/>
                    <a:gd name="T73" fmla="*/ 2147483647 h 459"/>
                    <a:gd name="T74" fmla="*/ 2147483647 w 641"/>
                    <a:gd name="T75" fmla="*/ 2147483647 h 459"/>
                    <a:gd name="T76" fmla="*/ 2147483647 w 641"/>
                    <a:gd name="T77" fmla="*/ 2147483647 h 459"/>
                    <a:gd name="T78" fmla="*/ 2147483647 w 641"/>
                    <a:gd name="T79" fmla="*/ 2147483647 h 459"/>
                    <a:gd name="T80" fmla="*/ 2147483647 w 641"/>
                    <a:gd name="T81" fmla="*/ 2147483647 h 459"/>
                    <a:gd name="T82" fmla="*/ 2147483647 w 641"/>
                    <a:gd name="T83" fmla="*/ 2147483647 h 459"/>
                    <a:gd name="T84" fmla="*/ 2147483647 w 641"/>
                    <a:gd name="T85" fmla="*/ 2147483647 h 459"/>
                    <a:gd name="T86" fmla="*/ 2147483647 w 641"/>
                    <a:gd name="T87" fmla="*/ 2147483647 h 459"/>
                    <a:gd name="T88" fmla="*/ 2147483647 w 641"/>
                    <a:gd name="T89" fmla="*/ 2147483647 h 459"/>
                    <a:gd name="T90" fmla="*/ 2147483647 w 641"/>
                    <a:gd name="T91" fmla="*/ 2147483647 h 459"/>
                    <a:gd name="T92" fmla="*/ 2147483647 w 641"/>
                    <a:gd name="T93" fmla="*/ 2147483647 h 459"/>
                    <a:gd name="T94" fmla="*/ 2147483647 w 641"/>
                    <a:gd name="T95" fmla="*/ 2147483647 h 459"/>
                    <a:gd name="T96" fmla="*/ 2147483647 w 641"/>
                    <a:gd name="T97" fmla="*/ 2147483647 h 459"/>
                    <a:gd name="T98" fmla="*/ 2147483647 w 641"/>
                    <a:gd name="T99" fmla="*/ 2147483647 h 459"/>
                    <a:gd name="T100" fmla="*/ 2147483647 w 641"/>
                    <a:gd name="T101" fmla="*/ 2147483647 h 459"/>
                    <a:gd name="T102" fmla="*/ 2147483647 w 641"/>
                    <a:gd name="T103" fmla="*/ 2147483647 h 459"/>
                    <a:gd name="T104" fmla="*/ 2147483647 w 641"/>
                    <a:gd name="T105" fmla="*/ 2147483647 h 459"/>
                    <a:gd name="T106" fmla="*/ 2147483647 w 641"/>
                    <a:gd name="T107" fmla="*/ 2147483647 h 459"/>
                    <a:gd name="T108" fmla="*/ 2147483647 w 641"/>
                    <a:gd name="T109" fmla="*/ 2147483647 h 459"/>
                    <a:gd name="T110" fmla="*/ 2147483647 w 641"/>
                    <a:gd name="T111" fmla="*/ 2147483647 h 459"/>
                    <a:gd name="T112" fmla="*/ 2147483647 w 641"/>
                    <a:gd name="T113" fmla="*/ 2147483647 h 459"/>
                    <a:gd name="T114" fmla="*/ 2147483647 w 641"/>
                    <a:gd name="T115" fmla="*/ 2147483647 h 459"/>
                    <a:gd name="T116" fmla="*/ 2147483647 w 641"/>
                    <a:gd name="T117" fmla="*/ 2147483647 h 459"/>
                    <a:gd name="T118" fmla="*/ 2147483647 w 641"/>
                    <a:gd name="T119" fmla="*/ 2147483647 h 4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1"/>
                    <a:gd name="T181" fmla="*/ 0 h 459"/>
                    <a:gd name="T182" fmla="*/ 641 w 641"/>
                    <a:gd name="T183" fmla="*/ 459 h 4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1" h="459">
                      <a:moveTo>
                        <a:pt x="456" y="40"/>
                      </a:moveTo>
                      <a:lnTo>
                        <a:pt x="459" y="299"/>
                      </a:lnTo>
                      <a:lnTo>
                        <a:pt x="466" y="297"/>
                      </a:lnTo>
                      <a:lnTo>
                        <a:pt x="473" y="295"/>
                      </a:lnTo>
                      <a:lnTo>
                        <a:pt x="476" y="297"/>
                      </a:lnTo>
                      <a:lnTo>
                        <a:pt x="479" y="298"/>
                      </a:lnTo>
                      <a:lnTo>
                        <a:pt x="487" y="306"/>
                      </a:lnTo>
                      <a:lnTo>
                        <a:pt x="498" y="318"/>
                      </a:lnTo>
                      <a:lnTo>
                        <a:pt x="504" y="325"/>
                      </a:lnTo>
                      <a:lnTo>
                        <a:pt x="511" y="330"/>
                      </a:lnTo>
                      <a:lnTo>
                        <a:pt x="516" y="333"/>
                      </a:lnTo>
                      <a:lnTo>
                        <a:pt x="521" y="333"/>
                      </a:lnTo>
                      <a:lnTo>
                        <a:pt x="525" y="332"/>
                      </a:lnTo>
                      <a:lnTo>
                        <a:pt x="528" y="330"/>
                      </a:lnTo>
                      <a:lnTo>
                        <a:pt x="535" y="324"/>
                      </a:lnTo>
                      <a:lnTo>
                        <a:pt x="542" y="317"/>
                      </a:lnTo>
                      <a:lnTo>
                        <a:pt x="544" y="314"/>
                      </a:lnTo>
                      <a:lnTo>
                        <a:pt x="546" y="314"/>
                      </a:lnTo>
                      <a:lnTo>
                        <a:pt x="549" y="316"/>
                      </a:lnTo>
                      <a:lnTo>
                        <a:pt x="558" y="323"/>
                      </a:lnTo>
                      <a:lnTo>
                        <a:pt x="565" y="327"/>
                      </a:lnTo>
                      <a:lnTo>
                        <a:pt x="569" y="330"/>
                      </a:lnTo>
                      <a:lnTo>
                        <a:pt x="574" y="335"/>
                      </a:lnTo>
                      <a:lnTo>
                        <a:pt x="581" y="342"/>
                      </a:lnTo>
                      <a:lnTo>
                        <a:pt x="587" y="348"/>
                      </a:lnTo>
                      <a:lnTo>
                        <a:pt x="596" y="357"/>
                      </a:lnTo>
                      <a:lnTo>
                        <a:pt x="605" y="371"/>
                      </a:lnTo>
                      <a:lnTo>
                        <a:pt x="612" y="381"/>
                      </a:lnTo>
                      <a:lnTo>
                        <a:pt x="621" y="388"/>
                      </a:lnTo>
                      <a:lnTo>
                        <a:pt x="630" y="395"/>
                      </a:lnTo>
                      <a:lnTo>
                        <a:pt x="635" y="400"/>
                      </a:lnTo>
                      <a:lnTo>
                        <a:pt x="638" y="404"/>
                      </a:lnTo>
                      <a:lnTo>
                        <a:pt x="640" y="410"/>
                      </a:lnTo>
                      <a:lnTo>
                        <a:pt x="641" y="419"/>
                      </a:lnTo>
                      <a:lnTo>
                        <a:pt x="641" y="427"/>
                      </a:lnTo>
                      <a:lnTo>
                        <a:pt x="640" y="439"/>
                      </a:lnTo>
                      <a:lnTo>
                        <a:pt x="636" y="436"/>
                      </a:lnTo>
                      <a:lnTo>
                        <a:pt x="634" y="435"/>
                      </a:lnTo>
                      <a:lnTo>
                        <a:pt x="630" y="423"/>
                      </a:lnTo>
                      <a:lnTo>
                        <a:pt x="629" y="420"/>
                      </a:lnTo>
                      <a:lnTo>
                        <a:pt x="626" y="416"/>
                      </a:lnTo>
                      <a:lnTo>
                        <a:pt x="622" y="415"/>
                      </a:lnTo>
                      <a:lnTo>
                        <a:pt x="619" y="413"/>
                      </a:lnTo>
                      <a:lnTo>
                        <a:pt x="606" y="412"/>
                      </a:lnTo>
                      <a:lnTo>
                        <a:pt x="605" y="412"/>
                      </a:lnTo>
                      <a:lnTo>
                        <a:pt x="605" y="410"/>
                      </a:lnTo>
                      <a:lnTo>
                        <a:pt x="606" y="406"/>
                      </a:lnTo>
                      <a:lnTo>
                        <a:pt x="606" y="401"/>
                      </a:lnTo>
                      <a:lnTo>
                        <a:pt x="606" y="399"/>
                      </a:lnTo>
                      <a:lnTo>
                        <a:pt x="605" y="396"/>
                      </a:lnTo>
                      <a:lnTo>
                        <a:pt x="598" y="389"/>
                      </a:lnTo>
                      <a:lnTo>
                        <a:pt x="593" y="381"/>
                      </a:lnTo>
                      <a:lnTo>
                        <a:pt x="582" y="365"/>
                      </a:lnTo>
                      <a:lnTo>
                        <a:pt x="570" y="351"/>
                      </a:lnTo>
                      <a:lnTo>
                        <a:pt x="565" y="343"/>
                      </a:lnTo>
                      <a:lnTo>
                        <a:pt x="563" y="339"/>
                      </a:lnTo>
                      <a:lnTo>
                        <a:pt x="559" y="338"/>
                      </a:lnTo>
                      <a:lnTo>
                        <a:pt x="558" y="337"/>
                      </a:lnTo>
                      <a:lnTo>
                        <a:pt x="556" y="338"/>
                      </a:lnTo>
                      <a:lnTo>
                        <a:pt x="555" y="342"/>
                      </a:lnTo>
                      <a:lnTo>
                        <a:pt x="554" y="345"/>
                      </a:lnTo>
                      <a:lnTo>
                        <a:pt x="553" y="349"/>
                      </a:lnTo>
                      <a:lnTo>
                        <a:pt x="551" y="349"/>
                      </a:lnTo>
                      <a:lnTo>
                        <a:pt x="550" y="348"/>
                      </a:lnTo>
                      <a:lnTo>
                        <a:pt x="545" y="344"/>
                      </a:lnTo>
                      <a:lnTo>
                        <a:pt x="542" y="342"/>
                      </a:lnTo>
                      <a:lnTo>
                        <a:pt x="540" y="342"/>
                      </a:lnTo>
                      <a:lnTo>
                        <a:pt x="537" y="344"/>
                      </a:lnTo>
                      <a:lnTo>
                        <a:pt x="536" y="345"/>
                      </a:lnTo>
                      <a:lnTo>
                        <a:pt x="535" y="349"/>
                      </a:lnTo>
                      <a:lnTo>
                        <a:pt x="534" y="350"/>
                      </a:lnTo>
                      <a:lnTo>
                        <a:pt x="531" y="351"/>
                      </a:lnTo>
                      <a:lnTo>
                        <a:pt x="528" y="351"/>
                      </a:lnTo>
                      <a:lnTo>
                        <a:pt x="525" y="349"/>
                      </a:lnTo>
                      <a:lnTo>
                        <a:pt x="521" y="346"/>
                      </a:lnTo>
                      <a:lnTo>
                        <a:pt x="518" y="343"/>
                      </a:lnTo>
                      <a:lnTo>
                        <a:pt x="494" y="330"/>
                      </a:lnTo>
                      <a:lnTo>
                        <a:pt x="484" y="321"/>
                      </a:lnTo>
                      <a:lnTo>
                        <a:pt x="473" y="313"/>
                      </a:lnTo>
                      <a:lnTo>
                        <a:pt x="470" y="312"/>
                      </a:lnTo>
                      <a:lnTo>
                        <a:pt x="466" y="312"/>
                      </a:lnTo>
                      <a:lnTo>
                        <a:pt x="459" y="312"/>
                      </a:lnTo>
                      <a:lnTo>
                        <a:pt x="452" y="311"/>
                      </a:lnTo>
                      <a:lnTo>
                        <a:pt x="447" y="312"/>
                      </a:lnTo>
                      <a:lnTo>
                        <a:pt x="436" y="313"/>
                      </a:lnTo>
                      <a:lnTo>
                        <a:pt x="424" y="314"/>
                      </a:lnTo>
                      <a:lnTo>
                        <a:pt x="419" y="313"/>
                      </a:lnTo>
                      <a:lnTo>
                        <a:pt x="414" y="312"/>
                      </a:lnTo>
                      <a:lnTo>
                        <a:pt x="400" y="306"/>
                      </a:lnTo>
                      <a:lnTo>
                        <a:pt x="395" y="304"/>
                      </a:lnTo>
                      <a:lnTo>
                        <a:pt x="387" y="301"/>
                      </a:lnTo>
                      <a:lnTo>
                        <a:pt x="379" y="300"/>
                      </a:lnTo>
                      <a:lnTo>
                        <a:pt x="374" y="300"/>
                      </a:lnTo>
                      <a:lnTo>
                        <a:pt x="368" y="299"/>
                      </a:lnTo>
                      <a:lnTo>
                        <a:pt x="366" y="297"/>
                      </a:lnTo>
                      <a:lnTo>
                        <a:pt x="365" y="294"/>
                      </a:lnTo>
                      <a:lnTo>
                        <a:pt x="365" y="288"/>
                      </a:lnTo>
                      <a:lnTo>
                        <a:pt x="363" y="286"/>
                      </a:lnTo>
                      <a:lnTo>
                        <a:pt x="363" y="284"/>
                      </a:lnTo>
                      <a:lnTo>
                        <a:pt x="361" y="282"/>
                      </a:lnTo>
                      <a:lnTo>
                        <a:pt x="357" y="282"/>
                      </a:lnTo>
                      <a:lnTo>
                        <a:pt x="354" y="284"/>
                      </a:lnTo>
                      <a:lnTo>
                        <a:pt x="353" y="286"/>
                      </a:lnTo>
                      <a:lnTo>
                        <a:pt x="351" y="288"/>
                      </a:lnTo>
                      <a:lnTo>
                        <a:pt x="348" y="288"/>
                      </a:lnTo>
                      <a:lnTo>
                        <a:pt x="342" y="287"/>
                      </a:lnTo>
                      <a:lnTo>
                        <a:pt x="335" y="286"/>
                      </a:lnTo>
                      <a:lnTo>
                        <a:pt x="329" y="285"/>
                      </a:lnTo>
                      <a:lnTo>
                        <a:pt x="325" y="286"/>
                      </a:lnTo>
                      <a:lnTo>
                        <a:pt x="323" y="288"/>
                      </a:lnTo>
                      <a:lnTo>
                        <a:pt x="321" y="289"/>
                      </a:lnTo>
                      <a:lnTo>
                        <a:pt x="321" y="291"/>
                      </a:lnTo>
                      <a:lnTo>
                        <a:pt x="324" y="294"/>
                      </a:lnTo>
                      <a:lnTo>
                        <a:pt x="328" y="297"/>
                      </a:lnTo>
                      <a:lnTo>
                        <a:pt x="330" y="300"/>
                      </a:lnTo>
                      <a:lnTo>
                        <a:pt x="329" y="304"/>
                      </a:lnTo>
                      <a:lnTo>
                        <a:pt x="327" y="307"/>
                      </a:lnTo>
                      <a:lnTo>
                        <a:pt x="324" y="312"/>
                      </a:lnTo>
                      <a:lnTo>
                        <a:pt x="323" y="313"/>
                      </a:lnTo>
                      <a:lnTo>
                        <a:pt x="319" y="313"/>
                      </a:lnTo>
                      <a:lnTo>
                        <a:pt x="320" y="313"/>
                      </a:lnTo>
                      <a:lnTo>
                        <a:pt x="311" y="314"/>
                      </a:lnTo>
                      <a:lnTo>
                        <a:pt x="307" y="316"/>
                      </a:lnTo>
                      <a:lnTo>
                        <a:pt x="304" y="317"/>
                      </a:lnTo>
                      <a:lnTo>
                        <a:pt x="300" y="320"/>
                      </a:lnTo>
                      <a:lnTo>
                        <a:pt x="297" y="323"/>
                      </a:lnTo>
                      <a:lnTo>
                        <a:pt x="281" y="330"/>
                      </a:lnTo>
                      <a:lnTo>
                        <a:pt x="264" y="338"/>
                      </a:lnTo>
                      <a:lnTo>
                        <a:pt x="261" y="338"/>
                      </a:lnTo>
                      <a:lnTo>
                        <a:pt x="259" y="338"/>
                      </a:lnTo>
                      <a:lnTo>
                        <a:pt x="258" y="336"/>
                      </a:lnTo>
                      <a:lnTo>
                        <a:pt x="259" y="331"/>
                      </a:lnTo>
                      <a:lnTo>
                        <a:pt x="262" y="327"/>
                      </a:lnTo>
                      <a:lnTo>
                        <a:pt x="266" y="324"/>
                      </a:lnTo>
                      <a:lnTo>
                        <a:pt x="268" y="319"/>
                      </a:lnTo>
                      <a:lnTo>
                        <a:pt x="268" y="318"/>
                      </a:lnTo>
                      <a:lnTo>
                        <a:pt x="268" y="317"/>
                      </a:lnTo>
                      <a:lnTo>
                        <a:pt x="266" y="312"/>
                      </a:lnTo>
                      <a:lnTo>
                        <a:pt x="267" y="308"/>
                      </a:lnTo>
                      <a:lnTo>
                        <a:pt x="268" y="304"/>
                      </a:lnTo>
                      <a:lnTo>
                        <a:pt x="271" y="300"/>
                      </a:lnTo>
                      <a:lnTo>
                        <a:pt x="278" y="293"/>
                      </a:lnTo>
                      <a:lnTo>
                        <a:pt x="286" y="287"/>
                      </a:lnTo>
                      <a:lnTo>
                        <a:pt x="288" y="286"/>
                      </a:lnTo>
                      <a:lnTo>
                        <a:pt x="292" y="285"/>
                      </a:lnTo>
                      <a:lnTo>
                        <a:pt x="296" y="285"/>
                      </a:lnTo>
                      <a:lnTo>
                        <a:pt x="300" y="282"/>
                      </a:lnTo>
                      <a:lnTo>
                        <a:pt x="301" y="281"/>
                      </a:lnTo>
                      <a:lnTo>
                        <a:pt x="301" y="280"/>
                      </a:lnTo>
                      <a:lnTo>
                        <a:pt x="299" y="278"/>
                      </a:lnTo>
                      <a:lnTo>
                        <a:pt x="295" y="275"/>
                      </a:lnTo>
                      <a:lnTo>
                        <a:pt x="292" y="275"/>
                      </a:lnTo>
                      <a:lnTo>
                        <a:pt x="288" y="275"/>
                      </a:lnTo>
                      <a:lnTo>
                        <a:pt x="285" y="278"/>
                      </a:lnTo>
                      <a:lnTo>
                        <a:pt x="277" y="281"/>
                      </a:lnTo>
                      <a:lnTo>
                        <a:pt x="267" y="286"/>
                      </a:lnTo>
                      <a:lnTo>
                        <a:pt x="262" y="288"/>
                      </a:lnTo>
                      <a:lnTo>
                        <a:pt x="258" y="292"/>
                      </a:lnTo>
                      <a:lnTo>
                        <a:pt x="255" y="295"/>
                      </a:lnTo>
                      <a:lnTo>
                        <a:pt x="254" y="300"/>
                      </a:lnTo>
                      <a:lnTo>
                        <a:pt x="252" y="310"/>
                      </a:lnTo>
                      <a:lnTo>
                        <a:pt x="249" y="314"/>
                      </a:lnTo>
                      <a:lnTo>
                        <a:pt x="247" y="317"/>
                      </a:lnTo>
                      <a:lnTo>
                        <a:pt x="241" y="319"/>
                      </a:lnTo>
                      <a:lnTo>
                        <a:pt x="234" y="320"/>
                      </a:lnTo>
                      <a:lnTo>
                        <a:pt x="233" y="321"/>
                      </a:lnTo>
                      <a:lnTo>
                        <a:pt x="231" y="323"/>
                      </a:lnTo>
                      <a:lnTo>
                        <a:pt x="230" y="326"/>
                      </a:lnTo>
                      <a:lnTo>
                        <a:pt x="229" y="331"/>
                      </a:lnTo>
                      <a:lnTo>
                        <a:pt x="230" y="335"/>
                      </a:lnTo>
                      <a:lnTo>
                        <a:pt x="233" y="337"/>
                      </a:lnTo>
                      <a:lnTo>
                        <a:pt x="238" y="339"/>
                      </a:lnTo>
                      <a:lnTo>
                        <a:pt x="240" y="342"/>
                      </a:lnTo>
                      <a:lnTo>
                        <a:pt x="240" y="344"/>
                      </a:lnTo>
                      <a:lnTo>
                        <a:pt x="239" y="346"/>
                      </a:lnTo>
                      <a:lnTo>
                        <a:pt x="234" y="350"/>
                      </a:lnTo>
                      <a:lnTo>
                        <a:pt x="217" y="362"/>
                      </a:lnTo>
                      <a:lnTo>
                        <a:pt x="201" y="374"/>
                      </a:lnTo>
                      <a:lnTo>
                        <a:pt x="189" y="380"/>
                      </a:lnTo>
                      <a:lnTo>
                        <a:pt x="184" y="383"/>
                      </a:lnTo>
                      <a:lnTo>
                        <a:pt x="179" y="388"/>
                      </a:lnTo>
                      <a:lnTo>
                        <a:pt x="175" y="390"/>
                      </a:lnTo>
                      <a:lnTo>
                        <a:pt x="173" y="391"/>
                      </a:lnTo>
                      <a:lnTo>
                        <a:pt x="165" y="393"/>
                      </a:lnTo>
                      <a:lnTo>
                        <a:pt x="163" y="394"/>
                      </a:lnTo>
                      <a:lnTo>
                        <a:pt x="161" y="396"/>
                      </a:lnTo>
                      <a:lnTo>
                        <a:pt x="159" y="401"/>
                      </a:lnTo>
                      <a:lnTo>
                        <a:pt x="154" y="404"/>
                      </a:lnTo>
                      <a:lnTo>
                        <a:pt x="146" y="412"/>
                      </a:lnTo>
                      <a:lnTo>
                        <a:pt x="141" y="417"/>
                      </a:lnTo>
                      <a:lnTo>
                        <a:pt x="140" y="421"/>
                      </a:lnTo>
                      <a:lnTo>
                        <a:pt x="136" y="423"/>
                      </a:lnTo>
                      <a:lnTo>
                        <a:pt x="134" y="423"/>
                      </a:lnTo>
                      <a:lnTo>
                        <a:pt x="131" y="423"/>
                      </a:lnTo>
                      <a:lnTo>
                        <a:pt x="126" y="422"/>
                      </a:lnTo>
                      <a:lnTo>
                        <a:pt x="122" y="423"/>
                      </a:lnTo>
                      <a:lnTo>
                        <a:pt x="120" y="426"/>
                      </a:lnTo>
                      <a:lnTo>
                        <a:pt x="114" y="429"/>
                      </a:lnTo>
                      <a:lnTo>
                        <a:pt x="112" y="431"/>
                      </a:lnTo>
                      <a:lnTo>
                        <a:pt x="108" y="431"/>
                      </a:lnTo>
                      <a:lnTo>
                        <a:pt x="102" y="431"/>
                      </a:lnTo>
                      <a:lnTo>
                        <a:pt x="101" y="431"/>
                      </a:lnTo>
                      <a:lnTo>
                        <a:pt x="99" y="432"/>
                      </a:lnTo>
                      <a:lnTo>
                        <a:pt x="97" y="434"/>
                      </a:lnTo>
                      <a:lnTo>
                        <a:pt x="94" y="438"/>
                      </a:lnTo>
                      <a:lnTo>
                        <a:pt x="90" y="439"/>
                      </a:lnTo>
                      <a:lnTo>
                        <a:pt x="75" y="442"/>
                      </a:lnTo>
                      <a:lnTo>
                        <a:pt x="69" y="445"/>
                      </a:lnTo>
                      <a:lnTo>
                        <a:pt x="61" y="450"/>
                      </a:lnTo>
                      <a:lnTo>
                        <a:pt x="52" y="457"/>
                      </a:lnTo>
                      <a:lnTo>
                        <a:pt x="47" y="458"/>
                      </a:lnTo>
                      <a:lnTo>
                        <a:pt x="46" y="459"/>
                      </a:lnTo>
                      <a:lnTo>
                        <a:pt x="45" y="458"/>
                      </a:lnTo>
                      <a:lnTo>
                        <a:pt x="43" y="454"/>
                      </a:lnTo>
                      <a:lnTo>
                        <a:pt x="45" y="451"/>
                      </a:lnTo>
                      <a:lnTo>
                        <a:pt x="46" y="447"/>
                      </a:lnTo>
                      <a:lnTo>
                        <a:pt x="48" y="444"/>
                      </a:lnTo>
                      <a:lnTo>
                        <a:pt x="57" y="439"/>
                      </a:lnTo>
                      <a:lnTo>
                        <a:pt x="66" y="435"/>
                      </a:lnTo>
                      <a:lnTo>
                        <a:pt x="71" y="434"/>
                      </a:lnTo>
                      <a:lnTo>
                        <a:pt x="74" y="434"/>
                      </a:lnTo>
                      <a:lnTo>
                        <a:pt x="75" y="432"/>
                      </a:lnTo>
                      <a:lnTo>
                        <a:pt x="81" y="425"/>
                      </a:lnTo>
                      <a:lnTo>
                        <a:pt x="85" y="421"/>
                      </a:lnTo>
                      <a:lnTo>
                        <a:pt x="88" y="419"/>
                      </a:lnTo>
                      <a:lnTo>
                        <a:pt x="95" y="416"/>
                      </a:lnTo>
                      <a:lnTo>
                        <a:pt x="103" y="414"/>
                      </a:lnTo>
                      <a:lnTo>
                        <a:pt x="109" y="412"/>
                      </a:lnTo>
                      <a:lnTo>
                        <a:pt x="116" y="407"/>
                      </a:lnTo>
                      <a:lnTo>
                        <a:pt x="127" y="399"/>
                      </a:lnTo>
                      <a:lnTo>
                        <a:pt x="132" y="396"/>
                      </a:lnTo>
                      <a:lnTo>
                        <a:pt x="135" y="396"/>
                      </a:lnTo>
                      <a:lnTo>
                        <a:pt x="137" y="395"/>
                      </a:lnTo>
                      <a:lnTo>
                        <a:pt x="140" y="394"/>
                      </a:lnTo>
                      <a:lnTo>
                        <a:pt x="141" y="394"/>
                      </a:lnTo>
                      <a:lnTo>
                        <a:pt x="142" y="393"/>
                      </a:lnTo>
                      <a:lnTo>
                        <a:pt x="145" y="389"/>
                      </a:lnTo>
                      <a:lnTo>
                        <a:pt x="145" y="387"/>
                      </a:lnTo>
                      <a:lnTo>
                        <a:pt x="146" y="385"/>
                      </a:lnTo>
                      <a:lnTo>
                        <a:pt x="150" y="383"/>
                      </a:lnTo>
                      <a:lnTo>
                        <a:pt x="153" y="381"/>
                      </a:lnTo>
                      <a:lnTo>
                        <a:pt x="155" y="377"/>
                      </a:lnTo>
                      <a:lnTo>
                        <a:pt x="155" y="372"/>
                      </a:lnTo>
                      <a:lnTo>
                        <a:pt x="156" y="369"/>
                      </a:lnTo>
                      <a:lnTo>
                        <a:pt x="160" y="361"/>
                      </a:lnTo>
                      <a:lnTo>
                        <a:pt x="167" y="355"/>
                      </a:lnTo>
                      <a:lnTo>
                        <a:pt x="174" y="349"/>
                      </a:lnTo>
                      <a:lnTo>
                        <a:pt x="177" y="346"/>
                      </a:lnTo>
                      <a:lnTo>
                        <a:pt x="178" y="343"/>
                      </a:lnTo>
                      <a:lnTo>
                        <a:pt x="178" y="339"/>
                      </a:lnTo>
                      <a:lnTo>
                        <a:pt x="177" y="338"/>
                      </a:lnTo>
                      <a:lnTo>
                        <a:pt x="175" y="337"/>
                      </a:lnTo>
                      <a:lnTo>
                        <a:pt x="173" y="337"/>
                      </a:lnTo>
                      <a:lnTo>
                        <a:pt x="170" y="338"/>
                      </a:lnTo>
                      <a:lnTo>
                        <a:pt x="165" y="342"/>
                      </a:lnTo>
                      <a:lnTo>
                        <a:pt x="161" y="343"/>
                      </a:lnTo>
                      <a:lnTo>
                        <a:pt x="158" y="342"/>
                      </a:lnTo>
                      <a:lnTo>
                        <a:pt x="154" y="340"/>
                      </a:lnTo>
                      <a:lnTo>
                        <a:pt x="150" y="339"/>
                      </a:lnTo>
                      <a:lnTo>
                        <a:pt x="147" y="339"/>
                      </a:lnTo>
                      <a:lnTo>
                        <a:pt x="146" y="340"/>
                      </a:lnTo>
                      <a:lnTo>
                        <a:pt x="144" y="343"/>
                      </a:lnTo>
                      <a:lnTo>
                        <a:pt x="141" y="346"/>
                      </a:lnTo>
                      <a:lnTo>
                        <a:pt x="140" y="346"/>
                      </a:lnTo>
                      <a:lnTo>
                        <a:pt x="137" y="346"/>
                      </a:lnTo>
                      <a:lnTo>
                        <a:pt x="135" y="345"/>
                      </a:lnTo>
                      <a:lnTo>
                        <a:pt x="134" y="344"/>
                      </a:lnTo>
                      <a:lnTo>
                        <a:pt x="128" y="338"/>
                      </a:lnTo>
                      <a:lnTo>
                        <a:pt x="126" y="336"/>
                      </a:lnTo>
                      <a:lnTo>
                        <a:pt x="123" y="335"/>
                      </a:lnTo>
                      <a:lnTo>
                        <a:pt x="121" y="335"/>
                      </a:lnTo>
                      <a:lnTo>
                        <a:pt x="118" y="336"/>
                      </a:lnTo>
                      <a:lnTo>
                        <a:pt x="117" y="337"/>
                      </a:lnTo>
                      <a:lnTo>
                        <a:pt x="116" y="338"/>
                      </a:lnTo>
                      <a:lnTo>
                        <a:pt x="116" y="343"/>
                      </a:lnTo>
                      <a:lnTo>
                        <a:pt x="116" y="346"/>
                      </a:lnTo>
                      <a:lnTo>
                        <a:pt x="114" y="348"/>
                      </a:lnTo>
                      <a:lnTo>
                        <a:pt x="113" y="349"/>
                      </a:lnTo>
                      <a:lnTo>
                        <a:pt x="107" y="350"/>
                      </a:lnTo>
                      <a:lnTo>
                        <a:pt x="101" y="349"/>
                      </a:lnTo>
                      <a:lnTo>
                        <a:pt x="95" y="346"/>
                      </a:lnTo>
                      <a:lnTo>
                        <a:pt x="93" y="345"/>
                      </a:lnTo>
                      <a:lnTo>
                        <a:pt x="92" y="343"/>
                      </a:lnTo>
                      <a:lnTo>
                        <a:pt x="92" y="340"/>
                      </a:lnTo>
                      <a:lnTo>
                        <a:pt x="93" y="337"/>
                      </a:lnTo>
                      <a:lnTo>
                        <a:pt x="94" y="333"/>
                      </a:lnTo>
                      <a:lnTo>
                        <a:pt x="94" y="329"/>
                      </a:lnTo>
                      <a:lnTo>
                        <a:pt x="93" y="326"/>
                      </a:lnTo>
                      <a:lnTo>
                        <a:pt x="92" y="323"/>
                      </a:lnTo>
                      <a:lnTo>
                        <a:pt x="90" y="319"/>
                      </a:lnTo>
                      <a:lnTo>
                        <a:pt x="88" y="313"/>
                      </a:lnTo>
                      <a:lnTo>
                        <a:pt x="85" y="307"/>
                      </a:lnTo>
                      <a:lnTo>
                        <a:pt x="84" y="301"/>
                      </a:lnTo>
                      <a:lnTo>
                        <a:pt x="84" y="295"/>
                      </a:lnTo>
                      <a:lnTo>
                        <a:pt x="81" y="298"/>
                      </a:lnTo>
                      <a:lnTo>
                        <a:pt x="80" y="301"/>
                      </a:lnTo>
                      <a:lnTo>
                        <a:pt x="76" y="307"/>
                      </a:lnTo>
                      <a:lnTo>
                        <a:pt x="74" y="314"/>
                      </a:lnTo>
                      <a:lnTo>
                        <a:pt x="71" y="317"/>
                      </a:lnTo>
                      <a:lnTo>
                        <a:pt x="69" y="319"/>
                      </a:lnTo>
                      <a:lnTo>
                        <a:pt x="65" y="320"/>
                      </a:lnTo>
                      <a:lnTo>
                        <a:pt x="60" y="319"/>
                      </a:lnTo>
                      <a:lnTo>
                        <a:pt x="55" y="318"/>
                      </a:lnTo>
                      <a:lnTo>
                        <a:pt x="52" y="317"/>
                      </a:lnTo>
                      <a:lnTo>
                        <a:pt x="51" y="314"/>
                      </a:lnTo>
                      <a:lnTo>
                        <a:pt x="51" y="312"/>
                      </a:lnTo>
                      <a:lnTo>
                        <a:pt x="51" y="310"/>
                      </a:lnTo>
                      <a:lnTo>
                        <a:pt x="54" y="305"/>
                      </a:lnTo>
                      <a:lnTo>
                        <a:pt x="57" y="301"/>
                      </a:lnTo>
                      <a:lnTo>
                        <a:pt x="61" y="298"/>
                      </a:lnTo>
                      <a:lnTo>
                        <a:pt x="62" y="295"/>
                      </a:lnTo>
                      <a:lnTo>
                        <a:pt x="62" y="294"/>
                      </a:lnTo>
                      <a:lnTo>
                        <a:pt x="61" y="294"/>
                      </a:lnTo>
                      <a:lnTo>
                        <a:pt x="56" y="294"/>
                      </a:lnTo>
                      <a:lnTo>
                        <a:pt x="52" y="295"/>
                      </a:lnTo>
                      <a:lnTo>
                        <a:pt x="48" y="297"/>
                      </a:lnTo>
                      <a:lnTo>
                        <a:pt x="43" y="299"/>
                      </a:lnTo>
                      <a:lnTo>
                        <a:pt x="42" y="299"/>
                      </a:lnTo>
                      <a:lnTo>
                        <a:pt x="40" y="298"/>
                      </a:lnTo>
                      <a:lnTo>
                        <a:pt x="38" y="295"/>
                      </a:lnTo>
                      <a:lnTo>
                        <a:pt x="38" y="294"/>
                      </a:lnTo>
                      <a:lnTo>
                        <a:pt x="40" y="289"/>
                      </a:lnTo>
                      <a:lnTo>
                        <a:pt x="42" y="285"/>
                      </a:lnTo>
                      <a:lnTo>
                        <a:pt x="43" y="282"/>
                      </a:lnTo>
                      <a:lnTo>
                        <a:pt x="46" y="280"/>
                      </a:lnTo>
                      <a:lnTo>
                        <a:pt x="45" y="279"/>
                      </a:lnTo>
                      <a:lnTo>
                        <a:pt x="43" y="278"/>
                      </a:lnTo>
                      <a:lnTo>
                        <a:pt x="37" y="278"/>
                      </a:lnTo>
                      <a:lnTo>
                        <a:pt x="29" y="278"/>
                      </a:lnTo>
                      <a:lnTo>
                        <a:pt x="23" y="278"/>
                      </a:lnTo>
                      <a:lnTo>
                        <a:pt x="22" y="278"/>
                      </a:lnTo>
                      <a:lnTo>
                        <a:pt x="21" y="276"/>
                      </a:lnTo>
                      <a:lnTo>
                        <a:pt x="19" y="275"/>
                      </a:lnTo>
                      <a:lnTo>
                        <a:pt x="19" y="274"/>
                      </a:lnTo>
                      <a:lnTo>
                        <a:pt x="19" y="272"/>
                      </a:lnTo>
                      <a:lnTo>
                        <a:pt x="19" y="270"/>
                      </a:lnTo>
                      <a:lnTo>
                        <a:pt x="14" y="269"/>
                      </a:lnTo>
                      <a:lnTo>
                        <a:pt x="13" y="269"/>
                      </a:lnTo>
                      <a:lnTo>
                        <a:pt x="12" y="268"/>
                      </a:lnTo>
                      <a:lnTo>
                        <a:pt x="12" y="263"/>
                      </a:lnTo>
                      <a:lnTo>
                        <a:pt x="14" y="260"/>
                      </a:lnTo>
                      <a:lnTo>
                        <a:pt x="18" y="256"/>
                      </a:lnTo>
                      <a:lnTo>
                        <a:pt x="23" y="253"/>
                      </a:lnTo>
                      <a:lnTo>
                        <a:pt x="33" y="247"/>
                      </a:lnTo>
                      <a:lnTo>
                        <a:pt x="37" y="243"/>
                      </a:lnTo>
                      <a:lnTo>
                        <a:pt x="41" y="240"/>
                      </a:lnTo>
                      <a:lnTo>
                        <a:pt x="42" y="237"/>
                      </a:lnTo>
                      <a:lnTo>
                        <a:pt x="42" y="233"/>
                      </a:lnTo>
                      <a:lnTo>
                        <a:pt x="42" y="229"/>
                      </a:lnTo>
                      <a:lnTo>
                        <a:pt x="43" y="228"/>
                      </a:lnTo>
                      <a:lnTo>
                        <a:pt x="46" y="227"/>
                      </a:lnTo>
                      <a:lnTo>
                        <a:pt x="50" y="227"/>
                      </a:lnTo>
                      <a:lnTo>
                        <a:pt x="52" y="227"/>
                      </a:lnTo>
                      <a:lnTo>
                        <a:pt x="59" y="229"/>
                      </a:lnTo>
                      <a:lnTo>
                        <a:pt x="70" y="230"/>
                      </a:lnTo>
                      <a:lnTo>
                        <a:pt x="75" y="230"/>
                      </a:lnTo>
                      <a:lnTo>
                        <a:pt x="80" y="228"/>
                      </a:lnTo>
                      <a:lnTo>
                        <a:pt x="81" y="224"/>
                      </a:lnTo>
                      <a:lnTo>
                        <a:pt x="83" y="223"/>
                      </a:lnTo>
                      <a:lnTo>
                        <a:pt x="84" y="222"/>
                      </a:lnTo>
                      <a:lnTo>
                        <a:pt x="87" y="221"/>
                      </a:lnTo>
                      <a:lnTo>
                        <a:pt x="89" y="222"/>
                      </a:lnTo>
                      <a:lnTo>
                        <a:pt x="93" y="222"/>
                      </a:lnTo>
                      <a:lnTo>
                        <a:pt x="95" y="222"/>
                      </a:lnTo>
                      <a:lnTo>
                        <a:pt x="98" y="220"/>
                      </a:lnTo>
                      <a:lnTo>
                        <a:pt x="98" y="218"/>
                      </a:lnTo>
                      <a:lnTo>
                        <a:pt x="99" y="216"/>
                      </a:lnTo>
                      <a:lnTo>
                        <a:pt x="101" y="215"/>
                      </a:lnTo>
                      <a:lnTo>
                        <a:pt x="108" y="212"/>
                      </a:lnTo>
                      <a:lnTo>
                        <a:pt x="111" y="209"/>
                      </a:lnTo>
                      <a:lnTo>
                        <a:pt x="111" y="205"/>
                      </a:lnTo>
                      <a:lnTo>
                        <a:pt x="109" y="202"/>
                      </a:lnTo>
                      <a:lnTo>
                        <a:pt x="107" y="198"/>
                      </a:lnTo>
                      <a:lnTo>
                        <a:pt x="104" y="196"/>
                      </a:lnTo>
                      <a:lnTo>
                        <a:pt x="102" y="193"/>
                      </a:lnTo>
                      <a:lnTo>
                        <a:pt x="102" y="191"/>
                      </a:lnTo>
                      <a:lnTo>
                        <a:pt x="102" y="189"/>
                      </a:lnTo>
                      <a:lnTo>
                        <a:pt x="106" y="186"/>
                      </a:lnTo>
                      <a:lnTo>
                        <a:pt x="109" y="184"/>
                      </a:lnTo>
                      <a:lnTo>
                        <a:pt x="113" y="182"/>
                      </a:lnTo>
                      <a:lnTo>
                        <a:pt x="113" y="179"/>
                      </a:lnTo>
                      <a:lnTo>
                        <a:pt x="113" y="177"/>
                      </a:lnTo>
                      <a:lnTo>
                        <a:pt x="113" y="176"/>
                      </a:lnTo>
                      <a:lnTo>
                        <a:pt x="111" y="176"/>
                      </a:lnTo>
                      <a:lnTo>
                        <a:pt x="104" y="180"/>
                      </a:lnTo>
                      <a:lnTo>
                        <a:pt x="98" y="184"/>
                      </a:lnTo>
                      <a:lnTo>
                        <a:pt x="84" y="189"/>
                      </a:lnTo>
                      <a:lnTo>
                        <a:pt x="80" y="191"/>
                      </a:lnTo>
                      <a:lnTo>
                        <a:pt x="76" y="193"/>
                      </a:lnTo>
                      <a:lnTo>
                        <a:pt x="75" y="193"/>
                      </a:lnTo>
                      <a:lnTo>
                        <a:pt x="73" y="193"/>
                      </a:lnTo>
                      <a:lnTo>
                        <a:pt x="69" y="192"/>
                      </a:lnTo>
                      <a:lnTo>
                        <a:pt x="65" y="191"/>
                      </a:lnTo>
                      <a:lnTo>
                        <a:pt x="56" y="192"/>
                      </a:lnTo>
                      <a:lnTo>
                        <a:pt x="43" y="192"/>
                      </a:lnTo>
                      <a:lnTo>
                        <a:pt x="32" y="191"/>
                      </a:lnTo>
                      <a:lnTo>
                        <a:pt x="26" y="189"/>
                      </a:lnTo>
                      <a:lnTo>
                        <a:pt x="21" y="186"/>
                      </a:lnTo>
                      <a:lnTo>
                        <a:pt x="15" y="183"/>
                      </a:lnTo>
                      <a:lnTo>
                        <a:pt x="10" y="178"/>
                      </a:lnTo>
                      <a:lnTo>
                        <a:pt x="10" y="176"/>
                      </a:lnTo>
                      <a:lnTo>
                        <a:pt x="10" y="173"/>
                      </a:lnTo>
                      <a:lnTo>
                        <a:pt x="14" y="169"/>
                      </a:lnTo>
                      <a:lnTo>
                        <a:pt x="14" y="166"/>
                      </a:lnTo>
                      <a:lnTo>
                        <a:pt x="13" y="165"/>
                      </a:lnTo>
                      <a:lnTo>
                        <a:pt x="8" y="161"/>
                      </a:lnTo>
                      <a:lnTo>
                        <a:pt x="3" y="159"/>
                      </a:lnTo>
                      <a:lnTo>
                        <a:pt x="0" y="158"/>
                      </a:lnTo>
                      <a:lnTo>
                        <a:pt x="0" y="157"/>
                      </a:lnTo>
                      <a:lnTo>
                        <a:pt x="1" y="153"/>
                      </a:lnTo>
                      <a:lnTo>
                        <a:pt x="4" y="151"/>
                      </a:lnTo>
                      <a:lnTo>
                        <a:pt x="12" y="147"/>
                      </a:lnTo>
                      <a:lnTo>
                        <a:pt x="18" y="144"/>
                      </a:lnTo>
                      <a:lnTo>
                        <a:pt x="24" y="141"/>
                      </a:lnTo>
                      <a:lnTo>
                        <a:pt x="31" y="140"/>
                      </a:lnTo>
                      <a:lnTo>
                        <a:pt x="34" y="139"/>
                      </a:lnTo>
                      <a:lnTo>
                        <a:pt x="42" y="135"/>
                      </a:lnTo>
                      <a:lnTo>
                        <a:pt x="46" y="134"/>
                      </a:lnTo>
                      <a:lnTo>
                        <a:pt x="50" y="133"/>
                      </a:lnTo>
                      <a:lnTo>
                        <a:pt x="52" y="134"/>
                      </a:lnTo>
                      <a:lnTo>
                        <a:pt x="54" y="137"/>
                      </a:lnTo>
                      <a:lnTo>
                        <a:pt x="55" y="142"/>
                      </a:lnTo>
                      <a:lnTo>
                        <a:pt x="55" y="144"/>
                      </a:lnTo>
                      <a:lnTo>
                        <a:pt x="56" y="145"/>
                      </a:lnTo>
                      <a:lnTo>
                        <a:pt x="60" y="145"/>
                      </a:lnTo>
                      <a:lnTo>
                        <a:pt x="64" y="142"/>
                      </a:lnTo>
                      <a:lnTo>
                        <a:pt x="66" y="141"/>
                      </a:lnTo>
                      <a:lnTo>
                        <a:pt x="69" y="141"/>
                      </a:lnTo>
                      <a:lnTo>
                        <a:pt x="71" y="144"/>
                      </a:lnTo>
                      <a:lnTo>
                        <a:pt x="74" y="145"/>
                      </a:lnTo>
                      <a:lnTo>
                        <a:pt x="75" y="145"/>
                      </a:lnTo>
                      <a:lnTo>
                        <a:pt x="79" y="144"/>
                      </a:lnTo>
                      <a:lnTo>
                        <a:pt x="83" y="145"/>
                      </a:lnTo>
                      <a:lnTo>
                        <a:pt x="89" y="146"/>
                      </a:lnTo>
                      <a:lnTo>
                        <a:pt x="95" y="150"/>
                      </a:lnTo>
                      <a:lnTo>
                        <a:pt x="103" y="151"/>
                      </a:lnTo>
                      <a:lnTo>
                        <a:pt x="104" y="150"/>
                      </a:lnTo>
                      <a:lnTo>
                        <a:pt x="106" y="150"/>
                      </a:lnTo>
                      <a:lnTo>
                        <a:pt x="106" y="145"/>
                      </a:lnTo>
                      <a:lnTo>
                        <a:pt x="104" y="142"/>
                      </a:lnTo>
                      <a:lnTo>
                        <a:pt x="102" y="139"/>
                      </a:lnTo>
                      <a:lnTo>
                        <a:pt x="98" y="138"/>
                      </a:lnTo>
                      <a:lnTo>
                        <a:pt x="92" y="135"/>
                      </a:lnTo>
                      <a:lnTo>
                        <a:pt x="89" y="134"/>
                      </a:lnTo>
                      <a:lnTo>
                        <a:pt x="88" y="132"/>
                      </a:lnTo>
                      <a:lnTo>
                        <a:pt x="87" y="129"/>
                      </a:lnTo>
                      <a:lnTo>
                        <a:pt x="88" y="128"/>
                      </a:lnTo>
                      <a:lnTo>
                        <a:pt x="93" y="125"/>
                      </a:lnTo>
                      <a:lnTo>
                        <a:pt x="93" y="123"/>
                      </a:lnTo>
                      <a:lnTo>
                        <a:pt x="93" y="122"/>
                      </a:lnTo>
                      <a:lnTo>
                        <a:pt x="92" y="121"/>
                      </a:lnTo>
                      <a:lnTo>
                        <a:pt x="90" y="121"/>
                      </a:lnTo>
                      <a:lnTo>
                        <a:pt x="84" y="123"/>
                      </a:lnTo>
                      <a:lnTo>
                        <a:pt x="78" y="125"/>
                      </a:lnTo>
                      <a:lnTo>
                        <a:pt x="75" y="126"/>
                      </a:lnTo>
                      <a:lnTo>
                        <a:pt x="73" y="125"/>
                      </a:lnTo>
                      <a:lnTo>
                        <a:pt x="70" y="123"/>
                      </a:lnTo>
                      <a:lnTo>
                        <a:pt x="67" y="121"/>
                      </a:lnTo>
                      <a:lnTo>
                        <a:pt x="60" y="109"/>
                      </a:lnTo>
                      <a:lnTo>
                        <a:pt x="55" y="105"/>
                      </a:lnTo>
                      <a:lnTo>
                        <a:pt x="50" y="101"/>
                      </a:lnTo>
                      <a:lnTo>
                        <a:pt x="41" y="97"/>
                      </a:lnTo>
                      <a:lnTo>
                        <a:pt x="32" y="95"/>
                      </a:lnTo>
                      <a:lnTo>
                        <a:pt x="23" y="90"/>
                      </a:lnTo>
                      <a:lnTo>
                        <a:pt x="19" y="88"/>
                      </a:lnTo>
                      <a:lnTo>
                        <a:pt x="17" y="84"/>
                      </a:lnTo>
                      <a:lnTo>
                        <a:pt x="15" y="80"/>
                      </a:lnTo>
                      <a:lnTo>
                        <a:pt x="15" y="74"/>
                      </a:lnTo>
                      <a:lnTo>
                        <a:pt x="18" y="69"/>
                      </a:lnTo>
                      <a:lnTo>
                        <a:pt x="19" y="68"/>
                      </a:lnTo>
                      <a:lnTo>
                        <a:pt x="21" y="67"/>
                      </a:lnTo>
                      <a:lnTo>
                        <a:pt x="33" y="68"/>
                      </a:lnTo>
                      <a:lnTo>
                        <a:pt x="45" y="68"/>
                      </a:lnTo>
                      <a:lnTo>
                        <a:pt x="51" y="68"/>
                      </a:lnTo>
                      <a:lnTo>
                        <a:pt x="56" y="67"/>
                      </a:lnTo>
                      <a:lnTo>
                        <a:pt x="61" y="64"/>
                      </a:lnTo>
                      <a:lnTo>
                        <a:pt x="65" y="61"/>
                      </a:lnTo>
                      <a:lnTo>
                        <a:pt x="74" y="51"/>
                      </a:lnTo>
                      <a:lnTo>
                        <a:pt x="83" y="42"/>
                      </a:lnTo>
                      <a:lnTo>
                        <a:pt x="84" y="39"/>
                      </a:lnTo>
                      <a:lnTo>
                        <a:pt x="85" y="36"/>
                      </a:lnTo>
                      <a:lnTo>
                        <a:pt x="90" y="32"/>
                      </a:lnTo>
                      <a:lnTo>
                        <a:pt x="95" y="30"/>
                      </a:lnTo>
                      <a:lnTo>
                        <a:pt x="106" y="27"/>
                      </a:lnTo>
                      <a:lnTo>
                        <a:pt x="111" y="24"/>
                      </a:lnTo>
                      <a:lnTo>
                        <a:pt x="117" y="20"/>
                      </a:lnTo>
                      <a:lnTo>
                        <a:pt x="125" y="17"/>
                      </a:lnTo>
                      <a:lnTo>
                        <a:pt x="130" y="14"/>
                      </a:lnTo>
                      <a:lnTo>
                        <a:pt x="134" y="14"/>
                      </a:lnTo>
                      <a:lnTo>
                        <a:pt x="141" y="16"/>
                      </a:lnTo>
                      <a:lnTo>
                        <a:pt x="145" y="16"/>
                      </a:lnTo>
                      <a:lnTo>
                        <a:pt x="149" y="16"/>
                      </a:lnTo>
                      <a:lnTo>
                        <a:pt x="160" y="13"/>
                      </a:lnTo>
                      <a:lnTo>
                        <a:pt x="173" y="10"/>
                      </a:lnTo>
                      <a:lnTo>
                        <a:pt x="174" y="10"/>
                      </a:lnTo>
                      <a:lnTo>
                        <a:pt x="177" y="7"/>
                      </a:lnTo>
                      <a:lnTo>
                        <a:pt x="179" y="5"/>
                      </a:lnTo>
                      <a:lnTo>
                        <a:pt x="186" y="1"/>
                      </a:lnTo>
                      <a:lnTo>
                        <a:pt x="192" y="0"/>
                      </a:lnTo>
                      <a:lnTo>
                        <a:pt x="194" y="0"/>
                      </a:lnTo>
                      <a:lnTo>
                        <a:pt x="198" y="0"/>
                      </a:lnTo>
                      <a:lnTo>
                        <a:pt x="201" y="3"/>
                      </a:lnTo>
                      <a:lnTo>
                        <a:pt x="202" y="4"/>
                      </a:lnTo>
                      <a:lnTo>
                        <a:pt x="206" y="8"/>
                      </a:lnTo>
                      <a:lnTo>
                        <a:pt x="208" y="10"/>
                      </a:lnTo>
                      <a:lnTo>
                        <a:pt x="210" y="10"/>
                      </a:lnTo>
                      <a:lnTo>
                        <a:pt x="216" y="4"/>
                      </a:lnTo>
                      <a:lnTo>
                        <a:pt x="219" y="3"/>
                      </a:lnTo>
                      <a:lnTo>
                        <a:pt x="224" y="4"/>
                      </a:lnTo>
                      <a:lnTo>
                        <a:pt x="226" y="5"/>
                      </a:lnTo>
                      <a:lnTo>
                        <a:pt x="227" y="7"/>
                      </a:lnTo>
                      <a:lnTo>
                        <a:pt x="229" y="13"/>
                      </a:lnTo>
                      <a:lnTo>
                        <a:pt x="230" y="14"/>
                      </a:lnTo>
                      <a:lnTo>
                        <a:pt x="231" y="16"/>
                      </a:lnTo>
                      <a:lnTo>
                        <a:pt x="244" y="12"/>
                      </a:lnTo>
                      <a:lnTo>
                        <a:pt x="249" y="13"/>
                      </a:lnTo>
                      <a:lnTo>
                        <a:pt x="253" y="14"/>
                      </a:lnTo>
                      <a:lnTo>
                        <a:pt x="259" y="19"/>
                      </a:lnTo>
                      <a:lnTo>
                        <a:pt x="268" y="26"/>
                      </a:lnTo>
                      <a:lnTo>
                        <a:pt x="271" y="27"/>
                      </a:lnTo>
                      <a:lnTo>
                        <a:pt x="274" y="29"/>
                      </a:lnTo>
                      <a:lnTo>
                        <a:pt x="282" y="27"/>
                      </a:lnTo>
                      <a:lnTo>
                        <a:pt x="290" y="26"/>
                      </a:lnTo>
                      <a:lnTo>
                        <a:pt x="297" y="25"/>
                      </a:lnTo>
                      <a:lnTo>
                        <a:pt x="304" y="25"/>
                      </a:lnTo>
                      <a:lnTo>
                        <a:pt x="307" y="26"/>
                      </a:lnTo>
                      <a:lnTo>
                        <a:pt x="311" y="29"/>
                      </a:lnTo>
                      <a:lnTo>
                        <a:pt x="314" y="30"/>
                      </a:lnTo>
                      <a:lnTo>
                        <a:pt x="321" y="30"/>
                      </a:lnTo>
                      <a:lnTo>
                        <a:pt x="328" y="29"/>
                      </a:lnTo>
                      <a:lnTo>
                        <a:pt x="335" y="29"/>
                      </a:lnTo>
                      <a:lnTo>
                        <a:pt x="361" y="32"/>
                      </a:lnTo>
                      <a:lnTo>
                        <a:pt x="375" y="33"/>
                      </a:lnTo>
                      <a:lnTo>
                        <a:pt x="387" y="33"/>
                      </a:lnTo>
                      <a:lnTo>
                        <a:pt x="396" y="33"/>
                      </a:lnTo>
                      <a:lnTo>
                        <a:pt x="405" y="36"/>
                      </a:lnTo>
                      <a:lnTo>
                        <a:pt x="412" y="37"/>
                      </a:lnTo>
                      <a:lnTo>
                        <a:pt x="417" y="36"/>
                      </a:lnTo>
                      <a:lnTo>
                        <a:pt x="423" y="36"/>
                      </a:lnTo>
                      <a:lnTo>
                        <a:pt x="429" y="36"/>
                      </a:lnTo>
                      <a:lnTo>
                        <a:pt x="441" y="40"/>
                      </a:lnTo>
                      <a:lnTo>
                        <a:pt x="445" y="40"/>
                      </a:lnTo>
                      <a:lnTo>
                        <a:pt x="452" y="39"/>
                      </a:lnTo>
                      <a:lnTo>
                        <a:pt x="456" y="4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1" name="Freeform 1036"/>
                <p:cNvSpPr>
                  <a:spLocks/>
                </p:cNvSpPr>
                <p:nvPr/>
              </p:nvSpPr>
              <p:spPr bwMode="auto">
                <a:xfrm>
                  <a:off x="567790" y="2556900"/>
                  <a:ext cx="71034" cy="35517"/>
                </a:xfrm>
                <a:custGeom>
                  <a:avLst/>
                  <a:gdLst>
                    <a:gd name="T0" fmla="*/ 2147483647 w 52"/>
                    <a:gd name="T1" fmla="*/ 2147483647 h 24"/>
                    <a:gd name="T2" fmla="*/ 2147483647 w 52"/>
                    <a:gd name="T3" fmla="*/ 2147483647 h 24"/>
                    <a:gd name="T4" fmla="*/ 2147483647 w 52"/>
                    <a:gd name="T5" fmla="*/ 2147483647 h 24"/>
                    <a:gd name="T6" fmla="*/ 2147483647 w 52"/>
                    <a:gd name="T7" fmla="*/ 2147483647 h 24"/>
                    <a:gd name="T8" fmla="*/ 2147483647 w 52"/>
                    <a:gd name="T9" fmla="*/ 2147483647 h 24"/>
                    <a:gd name="T10" fmla="*/ 2147483647 w 52"/>
                    <a:gd name="T11" fmla="*/ 2147483647 h 24"/>
                    <a:gd name="T12" fmla="*/ 2147483647 w 52"/>
                    <a:gd name="T13" fmla="*/ 2147483647 h 24"/>
                    <a:gd name="T14" fmla="*/ 2147483647 w 52"/>
                    <a:gd name="T15" fmla="*/ 2147483647 h 24"/>
                    <a:gd name="T16" fmla="*/ 2147483647 w 52"/>
                    <a:gd name="T17" fmla="*/ 2147483647 h 24"/>
                    <a:gd name="T18" fmla="*/ 2147483647 w 52"/>
                    <a:gd name="T19" fmla="*/ 2147483647 h 24"/>
                    <a:gd name="T20" fmla="*/ 2147483647 w 52"/>
                    <a:gd name="T21" fmla="*/ 2147483647 h 24"/>
                    <a:gd name="T22" fmla="*/ 2147483647 w 52"/>
                    <a:gd name="T23" fmla="*/ 2147483647 h 24"/>
                    <a:gd name="T24" fmla="*/ 2147483647 w 52"/>
                    <a:gd name="T25" fmla="*/ 2147483647 h 24"/>
                    <a:gd name="T26" fmla="*/ 2147483647 w 52"/>
                    <a:gd name="T27" fmla="*/ 2147483647 h 24"/>
                    <a:gd name="T28" fmla="*/ 2147483647 w 52"/>
                    <a:gd name="T29" fmla="*/ 2147483647 h 24"/>
                    <a:gd name="T30" fmla="*/ 2147483647 w 52"/>
                    <a:gd name="T31" fmla="*/ 0 h 24"/>
                    <a:gd name="T32" fmla="*/ 2147483647 w 52"/>
                    <a:gd name="T33" fmla="*/ 2147483647 h 24"/>
                    <a:gd name="T34" fmla="*/ 0 w 52"/>
                    <a:gd name="T35" fmla="*/ 2147483647 h 24"/>
                    <a:gd name="T36" fmla="*/ 2147483647 w 52"/>
                    <a:gd name="T37" fmla="*/ 2147483647 h 24"/>
                    <a:gd name="T38" fmla="*/ 2147483647 w 52"/>
                    <a:gd name="T39" fmla="*/ 2147483647 h 24"/>
                    <a:gd name="T40" fmla="*/ 2147483647 w 52"/>
                    <a:gd name="T41" fmla="*/ 2147483647 h 24"/>
                    <a:gd name="T42" fmla="*/ 2147483647 w 52"/>
                    <a:gd name="T43" fmla="*/ 2147483647 h 24"/>
                    <a:gd name="T44" fmla="*/ 2147483647 w 52"/>
                    <a:gd name="T45" fmla="*/ 2147483647 h 24"/>
                    <a:gd name="T46" fmla="*/ 2147483647 w 52"/>
                    <a:gd name="T47" fmla="*/ 2147483647 h 24"/>
                    <a:gd name="T48" fmla="*/ 2147483647 w 52"/>
                    <a:gd name="T49" fmla="*/ 2147483647 h 24"/>
                    <a:gd name="T50" fmla="*/ 2147483647 w 52"/>
                    <a:gd name="T51" fmla="*/ 2147483647 h 24"/>
                    <a:gd name="T52" fmla="*/ 2147483647 w 52"/>
                    <a:gd name="T53" fmla="*/ 2147483647 h 24"/>
                    <a:gd name="T54" fmla="*/ 2147483647 w 52"/>
                    <a:gd name="T55" fmla="*/ 2147483647 h 2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2"/>
                    <a:gd name="T85" fmla="*/ 0 h 24"/>
                    <a:gd name="T86" fmla="*/ 52 w 52"/>
                    <a:gd name="T87" fmla="*/ 24 h 2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2" h="24">
                      <a:moveTo>
                        <a:pt x="47" y="22"/>
                      </a:moveTo>
                      <a:lnTo>
                        <a:pt x="51" y="19"/>
                      </a:lnTo>
                      <a:lnTo>
                        <a:pt x="52" y="16"/>
                      </a:lnTo>
                      <a:lnTo>
                        <a:pt x="51" y="15"/>
                      </a:lnTo>
                      <a:lnTo>
                        <a:pt x="45" y="11"/>
                      </a:lnTo>
                      <a:lnTo>
                        <a:pt x="41" y="10"/>
                      </a:lnTo>
                      <a:lnTo>
                        <a:pt x="38" y="7"/>
                      </a:lnTo>
                      <a:lnTo>
                        <a:pt x="36" y="4"/>
                      </a:lnTo>
                      <a:lnTo>
                        <a:pt x="32" y="3"/>
                      </a:lnTo>
                      <a:lnTo>
                        <a:pt x="28" y="2"/>
                      </a:lnTo>
                      <a:lnTo>
                        <a:pt x="24" y="3"/>
                      </a:lnTo>
                      <a:lnTo>
                        <a:pt x="16" y="3"/>
                      </a:lnTo>
                      <a:lnTo>
                        <a:pt x="12" y="3"/>
                      </a:lnTo>
                      <a:lnTo>
                        <a:pt x="8" y="2"/>
                      </a:lnTo>
                      <a:lnTo>
                        <a:pt x="5" y="2"/>
                      </a:lnTo>
                      <a:lnTo>
                        <a:pt x="3" y="0"/>
                      </a:lnTo>
                      <a:lnTo>
                        <a:pt x="2" y="3"/>
                      </a:lnTo>
                      <a:lnTo>
                        <a:pt x="0" y="8"/>
                      </a:lnTo>
                      <a:lnTo>
                        <a:pt x="2" y="11"/>
                      </a:lnTo>
                      <a:lnTo>
                        <a:pt x="3" y="11"/>
                      </a:lnTo>
                      <a:lnTo>
                        <a:pt x="4" y="13"/>
                      </a:lnTo>
                      <a:lnTo>
                        <a:pt x="13" y="14"/>
                      </a:lnTo>
                      <a:lnTo>
                        <a:pt x="21" y="16"/>
                      </a:lnTo>
                      <a:lnTo>
                        <a:pt x="28" y="20"/>
                      </a:lnTo>
                      <a:lnTo>
                        <a:pt x="36" y="23"/>
                      </a:lnTo>
                      <a:lnTo>
                        <a:pt x="38" y="24"/>
                      </a:lnTo>
                      <a:lnTo>
                        <a:pt x="41" y="24"/>
                      </a:lnTo>
                      <a:lnTo>
                        <a:pt x="47" y="2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2" name="Freeform 1037"/>
                <p:cNvSpPr>
                  <a:spLocks/>
                </p:cNvSpPr>
                <p:nvPr/>
              </p:nvSpPr>
              <p:spPr bwMode="auto">
                <a:xfrm>
                  <a:off x="668423" y="2257966"/>
                  <a:ext cx="876084" cy="679262"/>
                </a:xfrm>
                <a:custGeom>
                  <a:avLst/>
                  <a:gdLst>
                    <a:gd name="T0" fmla="*/ 2147483647 w 641"/>
                    <a:gd name="T1" fmla="*/ 2147483647 h 459"/>
                    <a:gd name="T2" fmla="*/ 2147483647 w 641"/>
                    <a:gd name="T3" fmla="*/ 2147483647 h 459"/>
                    <a:gd name="T4" fmla="*/ 2147483647 w 641"/>
                    <a:gd name="T5" fmla="*/ 2147483647 h 459"/>
                    <a:gd name="T6" fmla="*/ 2147483647 w 641"/>
                    <a:gd name="T7" fmla="*/ 2147483647 h 459"/>
                    <a:gd name="T8" fmla="*/ 2147483647 w 641"/>
                    <a:gd name="T9" fmla="*/ 2147483647 h 459"/>
                    <a:gd name="T10" fmla="*/ 2147483647 w 641"/>
                    <a:gd name="T11" fmla="*/ 2147483647 h 459"/>
                    <a:gd name="T12" fmla="*/ 2147483647 w 641"/>
                    <a:gd name="T13" fmla="*/ 2147483647 h 459"/>
                    <a:gd name="T14" fmla="*/ 2147483647 w 641"/>
                    <a:gd name="T15" fmla="*/ 2147483647 h 459"/>
                    <a:gd name="T16" fmla="*/ 2147483647 w 641"/>
                    <a:gd name="T17" fmla="*/ 2147483647 h 459"/>
                    <a:gd name="T18" fmla="*/ 2147483647 w 641"/>
                    <a:gd name="T19" fmla="*/ 2147483647 h 459"/>
                    <a:gd name="T20" fmla="*/ 2147483647 w 641"/>
                    <a:gd name="T21" fmla="*/ 2147483647 h 459"/>
                    <a:gd name="T22" fmla="*/ 2147483647 w 641"/>
                    <a:gd name="T23" fmla="*/ 2147483647 h 459"/>
                    <a:gd name="T24" fmla="*/ 2147483647 w 641"/>
                    <a:gd name="T25" fmla="*/ 2147483647 h 459"/>
                    <a:gd name="T26" fmla="*/ 2147483647 w 641"/>
                    <a:gd name="T27" fmla="*/ 2147483647 h 459"/>
                    <a:gd name="T28" fmla="*/ 2147483647 w 641"/>
                    <a:gd name="T29" fmla="*/ 2147483647 h 459"/>
                    <a:gd name="T30" fmla="*/ 2147483647 w 641"/>
                    <a:gd name="T31" fmla="*/ 2147483647 h 459"/>
                    <a:gd name="T32" fmla="*/ 2147483647 w 641"/>
                    <a:gd name="T33" fmla="*/ 2147483647 h 459"/>
                    <a:gd name="T34" fmla="*/ 2147483647 w 641"/>
                    <a:gd name="T35" fmla="*/ 2147483647 h 459"/>
                    <a:gd name="T36" fmla="*/ 2147483647 w 641"/>
                    <a:gd name="T37" fmla="*/ 2147483647 h 459"/>
                    <a:gd name="T38" fmla="*/ 2147483647 w 641"/>
                    <a:gd name="T39" fmla="*/ 2147483647 h 459"/>
                    <a:gd name="T40" fmla="*/ 2147483647 w 641"/>
                    <a:gd name="T41" fmla="*/ 2147483647 h 459"/>
                    <a:gd name="T42" fmla="*/ 2147483647 w 641"/>
                    <a:gd name="T43" fmla="*/ 2147483647 h 459"/>
                    <a:gd name="T44" fmla="*/ 2147483647 w 641"/>
                    <a:gd name="T45" fmla="*/ 2147483647 h 459"/>
                    <a:gd name="T46" fmla="*/ 2147483647 w 641"/>
                    <a:gd name="T47" fmla="*/ 2147483647 h 459"/>
                    <a:gd name="T48" fmla="*/ 2147483647 w 641"/>
                    <a:gd name="T49" fmla="*/ 2147483647 h 459"/>
                    <a:gd name="T50" fmla="*/ 2147483647 w 641"/>
                    <a:gd name="T51" fmla="*/ 2147483647 h 459"/>
                    <a:gd name="T52" fmla="*/ 2147483647 w 641"/>
                    <a:gd name="T53" fmla="*/ 2147483647 h 459"/>
                    <a:gd name="T54" fmla="*/ 2147483647 w 641"/>
                    <a:gd name="T55" fmla="*/ 2147483647 h 459"/>
                    <a:gd name="T56" fmla="*/ 2147483647 w 641"/>
                    <a:gd name="T57" fmla="*/ 2147483647 h 459"/>
                    <a:gd name="T58" fmla="*/ 2147483647 w 641"/>
                    <a:gd name="T59" fmla="*/ 2147483647 h 459"/>
                    <a:gd name="T60" fmla="*/ 2147483647 w 641"/>
                    <a:gd name="T61" fmla="*/ 2147483647 h 459"/>
                    <a:gd name="T62" fmla="*/ 2147483647 w 641"/>
                    <a:gd name="T63" fmla="*/ 2147483647 h 459"/>
                    <a:gd name="T64" fmla="*/ 2147483647 w 641"/>
                    <a:gd name="T65" fmla="*/ 2147483647 h 459"/>
                    <a:gd name="T66" fmla="*/ 2147483647 w 641"/>
                    <a:gd name="T67" fmla="*/ 2147483647 h 459"/>
                    <a:gd name="T68" fmla="*/ 2147483647 w 641"/>
                    <a:gd name="T69" fmla="*/ 2147483647 h 459"/>
                    <a:gd name="T70" fmla="*/ 2147483647 w 641"/>
                    <a:gd name="T71" fmla="*/ 2147483647 h 459"/>
                    <a:gd name="T72" fmla="*/ 2147483647 w 641"/>
                    <a:gd name="T73" fmla="*/ 2147483647 h 459"/>
                    <a:gd name="T74" fmla="*/ 2147483647 w 641"/>
                    <a:gd name="T75" fmla="*/ 2147483647 h 459"/>
                    <a:gd name="T76" fmla="*/ 2147483647 w 641"/>
                    <a:gd name="T77" fmla="*/ 2147483647 h 459"/>
                    <a:gd name="T78" fmla="*/ 2147483647 w 641"/>
                    <a:gd name="T79" fmla="*/ 2147483647 h 459"/>
                    <a:gd name="T80" fmla="*/ 2147483647 w 641"/>
                    <a:gd name="T81" fmla="*/ 2147483647 h 459"/>
                    <a:gd name="T82" fmla="*/ 2147483647 w 641"/>
                    <a:gd name="T83" fmla="*/ 2147483647 h 459"/>
                    <a:gd name="T84" fmla="*/ 2147483647 w 641"/>
                    <a:gd name="T85" fmla="*/ 2147483647 h 459"/>
                    <a:gd name="T86" fmla="*/ 2147483647 w 641"/>
                    <a:gd name="T87" fmla="*/ 2147483647 h 459"/>
                    <a:gd name="T88" fmla="*/ 2147483647 w 641"/>
                    <a:gd name="T89" fmla="*/ 2147483647 h 459"/>
                    <a:gd name="T90" fmla="*/ 2147483647 w 641"/>
                    <a:gd name="T91" fmla="*/ 2147483647 h 459"/>
                    <a:gd name="T92" fmla="*/ 2147483647 w 641"/>
                    <a:gd name="T93" fmla="*/ 2147483647 h 459"/>
                    <a:gd name="T94" fmla="*/ 2147483647 w 641"/>
                    <a:gd name="T95" fmla="*/ 2147483647 h 459"/>
                    <a:gd name="T96" fmla="*/ 2147483647 w 641"/>
                    <a:gd name="T97" fmla="*/ 2147483647 h 459"/>
                    <a:gd name="T98" fmla="*/ 2147483647 w 641"/>
                    <a:gd name="T99" fmla="*/ 2147483647 h 459"/>
                    <a:gd name="T100" fmla="*/ 2147483647 w 641"/>
                    <a:gd name="T101" fmla="*/ 2147483647 h 459"/>
                    <a:gd name="T102" fmla="*/ 2147483647 w 641"/>
                    <a:gd name="T103" fmla="*/ 2147483647 h 459"/>
                    <a:gd name="T104" fmla="*/ 2147483647 w 641"/>
                    <a:gd name="T105" fmla="*/ 2147483647 h 459"/>
                    <a:gd name="T106" fmla="*/ 2147483647 w 641"/>
                    <a:gd name="T107" fmla="*/ 2147483647 h 459"/>
                    <a:gd name="T108" fmla="*/ 2147483647 w 641"/>
                    <a:gd name="T109" fmla="*/ 2147483647 h 459"/>
                    <a:gd name="T110" fmla="*/ 2147483647 w 641"/>
                    <a:gd name="T111" fmla="*/ 2147483647 h 459"/>
                    <a:gd name="T112" fmla="*/ 2147483647 w 641"/>
                    <a:gd name="T113" fmla="*/ 2147483647 h 459"/>
                    <a:gd name="T114" fmla="*/ 2147483647 w 641"/>
                    <a:gd name="T115" fmla="*/ 0 h 459"/>
                    <a:gd name="T116" fmla="*/ 2147483647 w 641"/>
                    <a:gd name="T117" fmla="*/ 2147483647 h 459"/>
                    <a:gd name="T118" fmla="*/ 2147483647 w 641"/>
                    <a:gd name="T119" fmla="*/ 2147483647 h 459"/>
                    <a:gd name="T120" fmla="*/ 2147483647 w 641"/>
                    <a:gd name="T121" fmla="*/ 2147483647 h 459"/>
                    <a:gd name="T122" fmla="*/ 2147483647 w 641"/>
                    <a:gd name="T123" fmla="*/ 2147483647 h 459"/>
                    <a:gd name="T124" fmla="*/ 2147483647 w 641"/>
                    <a:gd name="T125" fmla="*/ 2147483647 h 4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41"/>
                    <a:gd name="T190" fmla="*/ 0 h 459"/>
                    <a:gd name="T191" fmla="*/ 641 w 641"/>
                    <a:gd name="T192" fmla="*/ 459 h 4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41" h="459">
                      <a:moveTo>
                        <a:pt x="456" y="40"/>
                      </a:moveTo>
                      <a:lnTo>
                        <a:pt x="458" y="299"/>
                      </a:lnTo>
                      <a:lnTo>
                        <a:pt x="466" y="296"/>
                      </a:lnTo>
                      <a:lnTo>
                        <a:pt x="472" y="295"/>
                      </a:lnTo>
                      <a:lnTo>
                        <a:pt x="476" y="296"/>
                      </a:lnTo>
                      <a:lnTo>
                        <a:pt x="479" y="298"/>
                      </a:lnTo>
                      <a:lnTo>
                        <a:pt x="486" y="306"/>
                      </a:lnTo>
                      <a:lnTo>
                        <a:pt x="498" y="318"/>
                      </a:lnTo>
                      <a:lnTo>
                        <a:pt x="504" y="325"/>
                      </a:lnTo>
                      <a:lnTo>
                        <a:pt x="510" y="330"/>
                      </a:lnTo>
                      <a:lnTo>
                        <a:pt x="515" y="333"/>
                      </a:lnTo>
                      <a:lnTo>
                        <a:pt x="521" y="333"/>
                      </a:lnTo>
                      <a:lnTo>
                        <a:pt x="524" y="332"/>
                      </a:lnTo>
                      <a:lnTo>
                        <a:pt x="528" y="330"/>
                      </a:lnTo>
                      <a:lnTo>
                        <a:pt x="535" y="324"/>
                      </a:lnTo>
                      <a:lnTo>
                        <a:pt x="542" y="317"/>
                      </a:lnTo>
                      <a:lnTo>
                        <a:pt x="543" y="314"/>
                      </a:lnTo>
                      <a:lnTo>
                        <a:pt x="546" y="314"/>
                      </a:lnTo>
                      <a:lnTo>
                        <a:pt x="548" y="315"/>
                      </a:lnTo>
                      <a:lnTo>
                        <a:pt x="557" y="322"/>
                      </a:lnTo>
                      <a:lnTo>
                        <a:pt x="565" y="327"/>
                      </a:lnTo>
                      <a:lnTo>
                        <a:pt x="569" y="330"/>
                      </a:lnTo>
                      <a:lnTo>
                        <a:pt x="574" y="334"/>
                      </a:lnTo>
                      <a:lnTo>
                        <a:pt x="580" y="341"/>
                      </a:lnTo>
                      <a:lnTo>
                        <a:pt x="587" y="347"/>
                      </a:lnTo>
                      <a:lnTo>
                        <a:pt x="595" y="357"/>
                      </a:lnTo>
                      <a:lnTo>
                        <a:pt x="604" y="371"/>
                      </a:lnTo>
                      <a:lnTo>
                        <a:pt x="612" y="381"/>
                      </a:lnTo>
                      <a:lnTo>
                        <a:pt x="621" y="388"/>
                      </a:lnTo>
                      <a:lnTo>
                        <a:pt x="630" y="395"/>
                      </a:lnTo>
                      <a:lnTo>
                        <a:pt x="635" y="400"/>
                      </a:lnTo>
                      <a:lnTo>
                        <a:pt x="637" y="404"/>
                      </a:lnTo>
                      <a:lnTo>
                        <a:pt x="640" y="410"/>
                      </a:lnTo>
                      <a:lnTo>
                        <a:pt x="641" y="418"/>
                      </a:lnTo>
                      <a:lnTo>
                        <a:pt x="641" y="427"/>
                      </a:lnTo>
                      <a:lnTo>
                        <a:pt x="640" y="439"/>
                      </a:lnTo>
                      <a:lnTo>
                        <a:pt x="636" y="436"/>
                      </a:lnTo>
                      <a:lnTo>
                        <a:pt x="634" y="435"/>
                      </a:lnTo>
                      <a:lnTo>
                        <a:pt x="630" y="423"/>
                      </a:lnTo>
                      <a:lnTo>
                        <a:pt x="628" y="420"/>
                      </a:lnTo>
                      <a:lnTo>
                        <a:pt x="626" y="416"/>
                      </a:lnTo>
                      <a:lnTo>
                        <a:pt x="622" y="415"/>
                      </a:lnTo>
                      <a:lnTo>
                        <a:pt x="618" y="413"/>
                      </a:lnTo>
                      <a:lnTo>
                        <a:pt x="606" y="411"/>
                      </a:lnTo>
                      <a:lnTo>
                        <a:pt x="604" y="411"/>
                      </a:lnTo>
                      <a:lnTo>
                        <a:pt x="604" y="410"/>
                      </a:lnTo>
                      <a:lnTo>
                        <a:pt x="606" y="405"/>
                      </a:lnTo>
                      <a:lnTo>
                        <a:pt x="606" y="401"/>
                      </a:lnTo>
                      <a:lnTo>
                        <a:pt x="606" y="398"/>
                      </a:lnTo>
                      <a:lnTo>
                        <a:pt x="604" y="396"/>
                      </a:lnTo>
                      <a:lnTo>
                        <a:pt x="598" y="389"/>
                      </a:lnTo>
                      <a:lnTo>
                        <a:pt x="593" y="381"/>
                      </a:lnTo>
                      <a:lnTo>
                        <a:pt x="582" y="365"/>
                      </a:lnTo>
                      <a:lnTo>
                        <a:pt x="570" y="351"/>
                      </a:lnTo>
                      <a:lnTo>
                        <a:pt x="565" y="343"/>
                      </a:lnTo>
                      <a:lnTo>
                        <a:pt x="562" y="339"/>
                      </a:lnTo>
                      <a:lnTo>
                        <a:pt x="559" y="338"/>
                      </a:lnTo>
                      <a:lnTo>
                        <a:pt x="557" y="337"/>
                      </a:lnTo>
                      <a:lnTo>
                        <a:pt x="556" y="338"/>
                      </a:lnTo>
                      <a:lnTo>
                        <a:pt x="555" y="341"/>
                      </a:lnTo>
                      <a:lnTo>
                        <a:pt x="554" y="345"/>
                      </a:lnTo>
                      <a:lnTo>
                        <a:pt x="552" y="349"/>
                      </a:lnTo>
                      <a:lnTo>
                        <a:pt x="551" y="349"/>
                      </a:lnTo>
                      <a:lnTo>
                        <a:pt x="550" y="347"/>
                      </a:lnTo>
                      <a:lnTo>
                        <a:pt x="545" y="344"/>
                      </a:lnTo>
                      <a:lnTo>
                        <a:pt x="542" y="341"/>
                      </a:lnTo>
                      <a:lnTo>
                        <a:pt x="540" y="341"/>
                      </a:lnTo>
                      <a:lnTo>
                        <a:pt x="537" y="344"/>
                      </a:lnTo>
                      <a:lnTo>
                        <a:pt x="536" y="345"/>
                      </a:lnTo>
                      <a:lnTo>
                        <a:pt x="535" y="349"/>
                      </a:lnTo>
                      <a:lnTo>
                        <a:pt x="533" y="350"/>
                      </a:lnTo>
                      <a:lnTo>
                        <a:pt x="531" y="351"/>
                      </a:lnTo>
                      <a:lnTo>
                        <a:pt x="528" y="351"/>
                      </a:lnTo>
                      <a:lnTo>
                        <a:pt x="524" y="349"/>
                      </a:lnTo>
                      <a:lnTo>
                        <a:pt x="521" y="346"/>
                      </a:lnTo>
                      <a:lnTo>
                        <a:pt x="518" y="343"/>
                      </a:lnTo>
                      <a:lnTo>
                        <a:pt x="494" y="330"/>
                      </a:lnTo>
                      <a:lnTo>
                        <a:pt x="484" y="321"/>
                      </a:lnTo>
                      <a:lnTo>
                        <a:pt x="472" y="313"/>
                      </a:lnTo>
                      <a:lnTo>
                        <a:pt x="470" y="312"/>
                      </a:lnTo>
                      <a:lnTo>
                        <a:pt x="466" y="312"/>
                      </a:lnTo>
                      <a:lnTo>
                        <a:pt x="458" y="312"/>
                      </a:lnTo>
                      <a:lnTo>
                        <a:pt x="452" y="311"/>
                      </a:lnTo>
                      <a:lnTo>
                        <a:pt x="447" y="312"/>
                      </a:lnTo>
                      <a:lnTo>
                        <a:pt x="435" y="313"/>
                      </a:lnTo>
                      <a:lnTo>
                        <a:pt x="424" y="314"/>
                      </a:lnTo>
                      <a:lnTo>
                        <a:pt x="419" y="313"/>
                      </a:lnTo>
                      <a:lnTo>
                        <a:pt x="414" y="312"/>
                      </a:lnTo>
                      <a:lnTo>
                        <a:pt x="400" y="306"/>
                      </a:lnTo>
                      <a:lnTo>
                        <a:pt x="395" y="303"/>
                      </a:lnTo>
                      <a:lnTo>
                        <a:pt x="387" y="301"/>
                      </a:lnTo>
                      <a:lnTo>
                        <a:pt x="378" y="300"/>
                      </a:lnTo>
                      <a:lnTo>
                        <a:pt x="373" y="300"/>
                      </a:lnTo>
                      <a:lnTo>
                        <a:pt x="368" y="299"/>
                      </a:lnTo>
                      <a:lnTo>
                        <a:pt x="366" y="296"/>
                      </a:lnTo>
                      <a:lnTo>
                        <a:pt x="364" y="294"/>
                      </a:lnTo>
                      <a:lnTo>
                        <a:pt x="364" y="288"/>
                      </a:lnTo>
                      <a:lnTo>
                        <a:pt x="363" y="286"/>
                      </a:lnTo>
                      <a:lnTo>
                        <a:pt x="363" y="283"/>
                      </a:lnTo>
                      <a:lnTo>
                        <a:pt x="361" y="282"/>
                      </a:lnTo>
                      <a:lnTo>
                        <a:pt x="357" y="282"/>
                      </a:lnTo>
                      <a:lnTo>
                        <a:pt x="354" y="283"/>
                      </a:lnTo>
                      <a:lnTo>
                        <a:pt x="353" y="286"/>
                      </a:lnTo>
                      <a:lnTo>
                        <a:pt x="350" y="288"/>
                      </a:lnTo>
                      <a:lnTo>
                        <a:pt x="348" y="288"/>
                      </a:lnTo>
                      <a:lnTo>
                        <a:pt x="342" y="287"/>
                      </a:lnTo>
                      <a:lnTo>
                        <a:pt x="335" y="286"/>
                      </a:lnTo>
                      <a:lnTo>
                        <a:pt x="329" y="285"/>
                      </a:lnTo>
                      <a:lnTo>
                        <a:pt x="325" y="286"/>
                      </a:lnTo>
                      <a:lnTo>
                        <a:pt x="322" y="288"/>
                      </a:lnTo>
                      <a:lnTo>
                        <a:pt x="321" y="289"/>
                      </a:lnTo>
                      <a:lnTo>
                        <a:pt x="321" y="290"/>
                      </a:lnTo>
                      <a:lnTo>
                        <a:pt x="324" y="294"/>
                      </a:lnTo>
                      <a:lnTo>
                        <a:pt x="328" y="296"/>
                      </a:lnTo>
                      <a:lnTo>
                        <a:pt x="330" y="300"/>
                      </a:lnTo>
                      <a:lnTo>
                        <a:pt x="329" y="303"/>
                      </a:lnTo>
                      <a:lnTo>
                        <a:pt x="326" y="307"/>
                      </a:lnTo>
                      <a:lnTo>
                        <a:pt x="324" y="312"/>
                      </a:lnTo>
                      <a:lnTo>
                        <a:pt x="322" y="313"/>
                      </a:lnTo>
                      <a:lnTo>
                        <a:pt x="319" y="313"/>
                      </a:lnTo>
                      <a:lnTo>
                        <a:pt x="320" y="313"/>
                      </a:lnTo>
                      <a:lnTo>
                        <a:pt x="311" y="314"/>
                      </a:lnTo>
                      <a:lnTo>
                        <a:pt x="307" y="315"/>
                      </a:lnTo>
                      <a:lnTo>
                        <a:pt x="303" y="317"/>
                      </a:lnTo>
                      <a:lnTo>
                        <a:pt x="300" y="320"/>
                      </a:lnTo>
                      <a:lnTo>
                        <a:pt x="297" y="322"/>
                      </a:lnTo>
                      <a:lnTo>
                        <a:pt x="281" y="330"/>
                      </a:lnTo>
                      <a:lnTo>
                        <a:pt x="264" y="338"/>
                      </a:lnTo>
                      <a:lnTo>
                        <a:pt x="260" y="338"/>
                      </a:lnTo>
                      <a:lnTo>
                        <a:pt x="259" y="338"/>
                      </a:lnTo>
                      <a:lnTo>
                        <a:pt x="258" y="336"/>
                      </a:lnTo>
                      <a:lnTo>
                        <a:pt x="259" y="331"/>
                      </a:lnTo>
                      <a:lnTo>
                        <a:pt x="262" y="327"/>
                      </a:lnTo>
                      <a:lnTo>
                        <a:pt x="265" y="324"/>
                      </a:lnTo>
                      <a:lnTo>
                        <a:pt x="268" y="319"/>
                      </a:lnTo>
                      <a:lnTo>
                        <a:pt x="268" y="318"/>
                      </a:lnTo>
                      <a:lnTo>
                        <a:pt x="268" y="317"/>
                      </a:lnTo>
                      <a:lnTo>
                        <a:pt x="265" y="312"/>
                      </a:lnTo>
                      <a:lnTo>
                        <a:pt x="267" y="308"/>
                      </a:lnTo>
                      <a:lnTo>
                        <a:pt x="268" y="303"/>
                      </a:lnTo>
                      <a:lnTo>
                        <a:pt x="270" y="300"/>
                      </a:lnTo>
                      <a:lnTo>
                        <a:pt x="278" y="293"/>
                      </a:lnTo>
                      <a:lnTo>
                        <a:pt x="286" y="287"/>
                      </a:lnTo>
                      <a:lnTo>
                        <a:pt x="288" y="286"/>
                      </a:lnTo>
                      <a:lnTo>
                        <a:pt x="292" y="285"/>
                      </a:lnTo>
                      <a:lnTo>
                        <a:pt x="296" y="285"/>
                      </a:lnTo>
                      <a:lnTo>
                        <a:pt x="300" y="282"/>
                      </a:lnTo>
                      <a:lnTo>
                        <a:pt x="301" y="281"/>
                      </a:lnTo>
                      <a:lnTo>
                        <a:pt x="301" y="280"/>
                      </a:lnTo>
                      <a:lnTo>
                        <a:pt x="298" y="277"/>
                      </a:lnTo>
                      <a:lnTo>
                        <a:pt x="295" y="275"/>
                      </a:lnTo>
                      <a:lnTo>
                        <a:pt x="292" y="275"/>
                      </a:lnTo>
                      <a:lnTo>
                        <a:pt x="288" y="275"/>
                      </a:lnTo>
                      <a:lnTo>
                        <a:pt x="284" y="277"/>
                      </a:lnTo>
                      <a:lnTo>
                        <a:pt x="277" y="281"/>
                      </a:lnTo>
                      <a:lnTo>
                        <a:pt x="267" y="286"/>
                      </a:lnTo>
                      <a:lnTo>
                        <a:pt x="262" y="288"/>
                      </a:lnTo>
                      <a:lnTo>
                        <a:pt x="258" y="292"/>
                      </a:lnTo>
                      <a:lnTo>
                        <a:pt x="255" y="295"/>
                      </a:lnTo>
                      <a:lnTo>
                        <a:pt x="254" y="300"/>
                      </a:lnTo>
                      <a:lnTo>
                        <a:pt x="251" y="309"/>
                      </a:lnTo>
                      <a:lnTo>
                        <a:pt x="249" y="314"/>
                      </a:lnTo>
                      <a:lnTo>
                        <a:pt x="246" y="317"/>
                      </a:lnTo>
                      <a:lnTo>
                        <a:pt x="241" y="319"/>
                      </a:lnTo>
                      <a:lnTo>
                        <a:pt x="234" y="320"/>
                      </a:lnTo>
                      <a:lnTo>
                        <a:pt x="232" y="321"/>
                      </a:lnTo>
                      <a:lnTo>
                        <a:pt x="231" y="322"/>
                      </a:lnTo>
                      <a:lnTo>
                        <a:pt x="230" y="326"/>
                      </a:lnTo>
                      <a:lnTo>
                        <a:pt x="228" y="331"/>
                      </a:lnTo>
                      <a:lnTo>
                        <a:pt x="230" y="334"/>
                      </a:lnTo>
                      <a:lnTo>
                        <a:pt x="232" y="337"/>
                      </a:lnTo>
                      <a:lnTo>
                        <a:pt x="237" y="339"/>
                      </a:lnTo>
                      <a:lnTo>
                        <a:pt x="240" y="341"/>
                      </a:lnTo>
                      <a:lnTo>
                        <a:pt x="240" y="344"/>
                      </a:lnTo>
                      <a:lnTo>
                        <a:pt x="239" y="346"/>
                      </a:lnTo>
                      <a:lnTo>
                        <a:pt x="234" y="350"/>
                      </a:lnTo>
                      <a:lnTo>
                        <a:pt x="217" y="362"/>
                      </a:lnTo>
                      <a:lnTo>
                        <a:pt x="201" y="373"/>
                      </a:lnTo>
                      <a:lnTo>
                        <a:pt x="189" y="379"/>
                      </a:lnTo>
                      <a:lnTo>
                        <a:pt x="184" y="383"/>
                      </a:lnTo>
                      <a:lnTo>
                        <a:pt x="179" y="388"/>
                      </a:lnTo>
                      <a:lnTo>
                        <a:pt x="175" y="390"/>
                      </a:lnTo>
                      <a:lnTo>
                        <a:pt x="173" y="391"/>
                      </a:lnTo>
                      <a:lnTo>
                        <a:pt x="165" y="392"/>
                      </a:lnTo>
                      <a:lnTo>
                        <a:pt x="162" y="394"/>
                      </a:lnTo>
                      <a:lnTo>
                        <a:pt x="161" y="396"/>
                      </a:lnTo>
                      <a:lnTo>
                        <a:pt x="159" y="401"/>
                      </a:lnTo>
                      <a:lnTo>
                        <a:pt x="154" y="404"/>
                      </a:lnTo>
                      <a:lnTo>
                        <a:pt x="146" y="411"/>
                      </a:lnTo>
                      <a:lnTo>
                        <a:pt x="141" y="417"/>
                      </a:lnTo>
                      <a:lnTo>
                        <a:pt x="140" y="421"/>
                      </a:lnTo>
                      <a:lnTo>
                        <a:pt x="136" y="423"/>
                      </a:lnTo>
                      <a:lnTo>
                        <a:pt x="133" y="423"/>
                      </a:lnTo>
                      <a:lnTo>
                        <a:pt x="131" y="423"/>
                      </a:lnTo>
                      <a:lnTo>
                        <a:pt x="126" y="422"/>
                      </a:lnTo>
                      <a:lnTo>
                        <a:pt x="122" y="423"/>
                      </a:lnTo>
                      <a:lnTo>
                        <a:pt x="119" y="426"/>
                      </a:lnTo>
                      <a:lnTo>
                        <a:pt x="114" y="429"/>
                      </a:lnTo>
                      <a:lnTo>
                        <a:pt x="112" y="430"/>
                      </a:lnTo>
                      <a:lnTo>
                        <a:pt x="108" y="430"/>
                      </a:lnTo>
                      <a:lnTo>
                        <a:pt x="102" y="430"/>
                      </a:lnTo>
                      <a:lnTo>
                        <a:pt x="100" y="430"/>
                      </a:lnTo>
                      <a:lnTo>
                        <a:pt x="99" y="432"/>
                      </a:lnTo>
                      <a:lnTo>
                        <a:pt x="96" y="434"/>
                      </a:lnTo>
                      <a:lnTo>
                        <a:pt x="94" y="437"/>
                      </a:lnTo>
                      <a:lnTo>
                        <a:pt x="90" y="439"/>
                      </a:lnTo>
                      <a:lnTo>
                        <a:pt x="75" y="442"/>
                      </a:lnTo>
                      <a:lnTo>
                        <a:pt x="68" y="445"/>
                      </a:lnTo>
                      <a:lnTo>
                        <a:pt x="61" y="449"/>
                      </a:lnTo>
                      <a:lnTo>
                        <a:pt x="52" y="456"/>
                      </a:lnTo>
                      <a:lnTo>
                        <a:pt x="47" y="458"/>
                      </a:lnTo>
                      <a:lnTo>
                        <a:pt x="46" y="459"/>
                      </a:lnTo>
                      <a:lnTo>
                        <a:pt x="44" y="458"/>
                      </a:lnTo>
                      <a:lnTo>
                        <a:pt x="43" y="454"/>
                      </a:lnTo>
                      <a:lnTo>
                        <a:pt x="44" y="451"/>
                      </a:lnTo>
                      <a:lnTo>
                        <a:pt x="46" y="447"/>
                      </a:lnTo>
                      <a:lnTo>
                        <a:pt x="48" y="443"/>
                      </a:lnTo>
                      <a:lnTo>
                        <a:pt x="57" y="439"/>
                      </a:lnTo>
                      <a:lnTo>
                        <a:pt x="66" y="435"/>
                      </a:lnTo>
                      <a:lnTo>
                        <a:pt x="71" y="434"/>
                      </a:lnTo>
                      <a:lnTo>
                        <a:pt x="74" y="434"/>
                      </a:lnTo>
                      <a:lnTo>
                        <a:pt x="75" y="432"/>
                      </a:lnTo>
                      <a:lnTo>
                        <a:pt x="81" y="424"/>
                      </a:lnTo>
                      <a:lnTo>
                        <a:pt x="85" y="421"/>
                      </a:lnTo>
                      <a:lnTo>
                        <a:pt x="88" y="418"/>
                      </a:lnTo>
                      <a:lnTo>
                        <a:pt x="95" y="416"/>
                      </a:lnTo>
                      <a:lnTo>
                        <a:pt x="103" y="414"/>
                      </a:lnTo>
                      <a:lnTo>
                        <a:pt x="109" y="411"/>
                      </a:lnTo>
                      <a:lnTo>
                        <a:pt x="115" y="407"/>
                      </a:lnTo>
                      <a:lnTo>
                        <a:pt x="127" y="398"/>
                      </a:lnTo>
                      <a:lnTo>
                        <a:pt x="132" y="396"/>
                      </a:lnTo>
                      <a:lnTo>
                        <a:pt x="135" y="396"/>
                      </a:lnTo>
                      <a:lnTo>
                        <a:pt x="137" y="395"/>
                      </a:lnTo>
                      <a:lnTo>
                        <a:pt x="140" y="394"/>
                      </a:lnTo>
                      <a:lnTo>
                        <a:pt x="141" y="394"/>
                      </a:lnTo>
                      <a:lnTo>
                        <a:pt x="142" y="392"/>
                      </a:lnTo>
                      <a:lnTo>
                        <a:pt x="145" y="389"/>
                      </a:lnTo>
                      <a:lnTo>
                        <a:pt x="145" y="386"/>
                      </a:lnTo>
                      <a:lnTo>
                        <a:pt x="146" y="385"/>
                      </a:lnTo>
                      <a:lnTo>
                        <a:pt x="150" y="383"/>
                      </a:lnTo>
                      <a:lnTo>
                        <a:pt x="152" y="381"/>
                      </a:lnTo>
                      <a:lnTo>
                        <a:pt x="155" y="377"/>
                      </a:lnTo>
                      <a:lnTo>
                        <a:pt x="155" y="372"/>
                      </a:lnTo>
                      <a:lnTo>
                        <a:pt x="156" y="369"/>
                      </a:lnTo>
                      <a:lnTo>
                        <a:pt x="160" y="360"/>
                      </a:lnTo>
                      <a:lnTo>
                        <a:pt x="166" y="354"/>
                      </a:lnTo>
                      <a:lnTo>
                        <a:pt x="174" y="349"/>
                      </a:lnTo>
                      <a:lnTo>
                        <a:pt x="176" y="346"/>
                      </a:lnTo>
                      <a:lnTo>
                        <a:pt x="178" y="343"/>
                      </a:lnTo>
                      <a:lnTo>
                        <a:pt x="178" y="339"/>
                      </a:lnTo>
                      <a:lnTo>
                        <a:pt x="176" y="338"/>
                      </a:lnTo>
                      <a:lnTo>
                        <a:pt x="175" y="337"/>
                      </a:lnTo>
                      <a:lnTo>
                        <a:pt x="173" y="337"/>
                      </a:lnTo>
                      <a:lnTo>
                        <a:pt x="170" y="338"/>
                      </a:lnTo>
                      <a:lnTo>
                        <a:pt x="165" y="341"/>
                      </a:lnTo>
                      <a:lnTo>
                        <a:pt x="161" y="343"/>
                      </a:lnTo>
                      <a:lnTo>
                        <a:pt x="157" y="341"/>
                      </a:lnTo>
                      <a:lnTo>
                        <a:pt x="154" y="340"/>
                      </a:lnTo>
                      <a:lnTo>
                        <a:pt x="150" y="339"/>
                      </a:lnTo>
                      <a:lnTo>
                        <a:pt x="147" y="339"/>
                      </a:lnTo>
                      <a:lnTo>
                        <a:pt x="146" y="340"/>
                      </a:lnTo>
                      <a:lnTo>
                        <a:pt x="143" y="343"/>
                      </a:lnTo>
                      <a:lnTo>
                        <a:pt x="141" y="346"/>
                      </a:lnTo>
                      <a:lnTo>
                        <a:pt x="140" y="346"/>
                      </a:lnTo>
                      <a:lnTo>
                        <a:pt x="137" y="346"/>
                      </a:lnTo>
                      <a:lnTo>
                        <a:pt x="135" y="345"/>
                      </a:lnTo>
                      <a:lnTo>
                        <a:pt x="133" y="344"/>
                      </a:lnTo>
                      <a:lnTo>
                        <a:pt x="128" y="338"/>
                      </a:lnTo>
                      <a:lnTo>
                        <a:pt x="126" y="336"/>
                      </a:lnTo>
                      <a:lnTo>
                        <a:pt x="123" y="334"/>
                      </a:lnTo>
                      <a:lnTo>
                        <a:pt x="121" y="334"/>
                      </a:lnTo>
                      <a:lnTo>
                        <a:pt x="118" y="336"/>
                      </a:lnTo>
                      <a:lnTo>
                        <a:pt x="117" y="337"/>
                      </a:lnTo>
                      <a:lnTo>
                        <a:pt x="115" y="338"/>
                      </a:lnTo>
                      <a:lnTo>
                        <a:pt x="115" y="343"/>
                      </a:lnTo>
                      <a:lnTo>
                        <a:pt x="115" y="346"/>
                      </a:lnTo>
                      <a:lnTo>
                        <a:pt x="114" y="347"/>
                      </a:lnTo>
                      <a:lnTo>
                        <a:pt x="113" y="349"/>
                      </a:lnTo>
                      <a:lnTo>
                        <a:pt x="107" y="350"/>
                      </a:lnTo>
                      <a:lnTo>
                        <a:pt x="100" y="349"/>
                      </a:lnTo>
                      <a:lnTo>
                        <a:pt x="95" y="346"/>
                      </a:lnTo>
                      <a:lnTo>
                        <a:pt x="93" y="345"/>
                      </a:lnTo>
                      <a:lnTo>
                        <a:pt x="91" y="343"/>
                      </a:lnTo>
                      <a:lnTo>
                        <a:pt x="91" y="340"/>
                      </a:lnTo>
                      <a:lnTo>
                        <a:pt x="93" y="337"/>
                      </a:lnTo>
                      <a:lnTo>
                        <a:pt x="94" y="333"/>
                      </a:lnTo>
                      <a:lnTo>
                        <a:pt x="94" y="328"/>
                      </a:lnTo>
                      <a:lnTo>
                        <a:pt x="93" y="326"/>
                      </a:lnTo>
                      <a:lnTo>
                        <a:pt x="91" y="322"/>
                      </a:lnTo>
                      <a:lnTo>
                        <a:pt x="90" y="319"/>
                      </a:lnTo>
                      <a:lnTo>
                        <a:pt x="88" y="313"/>
                      </a:lnTo>
                      <a:lnTo>
                        <a:pt x="85" y="307"/>
                      </a:lnTo>
                      <a:lnTo>
                        <a:pt x="84" y="301"/>
                      </a:lnTo>
                      <a:lnTo>
                        <a:pt x="84" y="295"/>
                      </a:lnTo>
                      <a:lnTo>
                        <a:pt x="81" y="298"/>
                      </a:lnTo>
                      <a:lnTo>
                        <a:pt x="80" y="301"/>
                      </a:lnTo>
                      <a:lnTo>
                        <a:pt x="76" y="307"/>
                      </a:lnTo>
                      <a:lnTo>
                        <a:pt x="74" y="314"/>
                      </a:lnTo>
                      <a:lnTo>
                        <a:pt x="71" y="317"/>
                      </a:lnTo>
                      <a:lnTo>
                        <a:pt x="68" y="319"/>
                      </a:lnTo>
                      <a:lnTo>
                        <a:pt x="65" y="320"/>
                      </a:lnTo>
                      <a:lnTo>
                        <a:pt x="60" y="319"/>
                      </a:lnTo>
                      <a:lnTo>
                        <a:pt x="55" y="318"/>
                      </a:lnTo>
                      <a:lnTo>
                        <a:pt x="52" y="317"/>
                      </a:lnTo>
                      <a:lnTo>
                        <a:pt x="51" y="314"/>
                      </a:lnTo>
                      <a:lnTo>
                        <a:pt x="51" y="312"/>
                      </a:lnTo>
                      <a:lnTo>
                        <a:pt x="51" y="309"/>
                      </a:lnTo>
                      <a:lnTo>
                        <a:pt x="53" y="305"/>
                      </a:lnTo>
                      <a:lnTo>
                        <a:pt x="57" y="301"/>
                      </a:lnTo>
                      <a:lnTo>
                        <a:pt x="61" y="298"/>
                      </a:lnTo>
                      <a:lnTo>
                        <a:pt x="62" y="295"/>
                      </a:lnTo>
                      <a:lnTo>
                        <a:pt x="62" y="294"/>
                      </a:lnTo>
                      <a:lnTo>
                        <a:pt x="61" y="294"/>
                      </a:lnTo>
                      <a:lnTo>
                        <a:pt x="56" y="294"/>
                      </a:lnTo>
                      <a:lnTo>
                        <a:pt x="52" y="295"/>
                      </a:lnTo>
                      <a:lnTo>
                        <a:pt x="48" y="296"/>
                      </a:lnTo>
                      <a:lnTo>
                        <a:pt x="43" y="299"/>
                      </a:lnTo>
                      <a:lnTo>
                        <a:pt x="42" y="299"/>
                      </a:lnTo>
                      <a:lnTo>
                        <a:pt x="39" y="298"/>
                      </a:lnTo>
                      <a:lnTo>
                        <a:pt x="38" y="295"/>
                      </a:lnTo>
                      <a:lnTo>
                        <a:pt x="38" y="294"/>
                      </a:lnTo>
                      <a:lnTo>
                        <a:pt x="39" y="289"/>
                      </a:lnTo>
                      <a:lnTo>
                        <a:pt x="42" y="285"/>
                      </a:lnTo>
                      <a:lnTo>
                        <a:pt x="43" y="282"/>
                      </a:lnTo>
                      <a:lnTo>
                        <a:pt x="46" y="280"/>
                      </a:lnTo>
                      <a:lnTo>
                        <a:pt x="44" y="279"/>
                      </a:lnTo>
                      <a:lnTo>
                        <a:pt x="43" y="277"/>
                      </a:lnTo>
                      <a:lnTo>
                        <a:pt x="37" y="277"/>
                      </a:lnTo>
                      <a:lnTo>
                        <a:pt x="29" y="277"/>
                      </a:lnTo>
                      <a:lnTo>
                        <a:pt x="23" y="277"/>
                      </a:lnTo>
                      <a:lnTo>
                        <a:pt x="22" y="277"/>
                      </a:lnTo>
                      <a:lnTo>
                        <a:pt x="20" y="276"/>
                      </a:lnTo>
                      <a:lnTo>
                        <a:pt x="19" y="275"/>
                      </a:lnTo>
                      <a:lnTo>
                        <a:pt x="19" y="274"/>
                      </a:lnTo>
                      <a:lnTo>
                        <a:pt x="19" y="271"/>
                      </a:lnTo>
                      <a:lnTo>
                        <a:pt x="19" y="270"/>
                      </a:lnTo>
                      <a:lnTo>
                        <a:pt x="14" y="269"/>
                      </a:lnTo>
                      <a:lnTo>
                        <a:pt x="13" y="269"/>
                      </a:lnTo>
                      <a:lnTo>
                        <a:pt x="11" y="268"/>
                      </a:lnTo>
                      <a:lnTo>
                        <a:pt x="11" y="263"/>
                      </a:lnTo>
                      <a:lnTo>
                        <a:pt x="14" y="260"/>
                      </a:lnTo>
                      <a:lnTo>
                        <a:pt x="18" y="256"/>
                      </a:lnTo>
                      <a:lnTo>
                        <a:pt x="23" y="253"/>
                      </a:lnTo>
                      <a:lnTo>
                        <a:pt x="33" y="247"/>
                      </a:lnTo>
                      <a:lnTo>
                        <a:pt x="37" y="243"/>
                      </a:lnTo>
                      <a:lnTo>
                        <a:pt x="41" y="239"/>
                      </a:lnTo>
                      <a:lnTo>
                        <a:pt x="42" y="237"/>
                      </a:lnTo>
                      <a:lnTo>
                        <a:pt x="42" y="232"/>
                      </a:lnTo>
                      <a:lnTo>
                        <a:pt x="42" y="229"/>
                      </a:lnTo>
                      <a:lnTo>
                        <a:pt x="43" y="228"/>
                      </a:lnTo>
                      <a:lnTo>
                        <a:pt x="46" y="226"/>
                      </a:lnTo>
                      <a:lnTo>
                        <a:pt x="49" y="226"/>
                      </a:lnTo>
                      <a:lnTo>
                        <a:pt x="52" y="226"/>
                      </a:lnTo>
                      <a:lnTo>
                        <a:pt x="58" y="229"/>
                      </a:lnTo>
                      <a:lnTo>
                        <a:pt x="70" y="230"/>
                      </a:lnTo>
                      <a:lnTo>
                        <a:pt x="75" y="230"/>
                      </a:lnTo>
                      <a:lnTo>
                        <a:pt x="80" y="228"/>
                      </a:lnTo>
                      <a:lnTo>
                        <a:pt x="81" y="224"/>
                      </a:lnTo>
                      <a:lnTo>
                        <a:pt x="82" y="223"/>
                      </a:lnTo>
                      <a:lnTo>
                        <a:pt x="84" y="222"/>
                      </a:lnTo>
                      <a:lnTo>
                        <a:pt x="86" y="221"/>
                      </a:lnTo>
                      <a:lnTo>
                        <a:pt x="89" y="222"/>
                      </a:lnTo>
                      <a:lnTo>
                        <a:pt x="93" y="222"/>
                      </a:lnTo>
                      <a:lnTo>
                        <a:pt x="95" y="222"/>
                      </a:lnTo>
                      <a:lnTo>
                        <a:pt x="98" y="219"/>
                      </a:lnTo>
                      <a:lnTo>
                        <a:pt x="98" y="218"/>
                      </a:lnTo>
                      <a:lnTo>
                        <a:pt x="99" y="216"/>
                      </a:lnTo>
                      <a:lnTo>
                        <a:pt x="100" y="215"/>
                      </a:lnTo>
                      <a:lnTo>
                        <a:pt x="108" y="212"/>
                      </a:lnTo>
                      <a:lnTo>
                        <a:pt x="110" y="209"/>
                      </a:lnTo>
                      <a:lnTo>
                        <a:pt x="110" y="205"/>
                      </a:lnTo>
                      <a:lnTo>
                        <a:pt x="109" y="202"/>
                      </a:lnTo>
                      <a:lnTo>
                        <a:pt x="107" y="198"/>
                      </a:lnTo>
                      <a:lnTo>
                        <a:pt x="104" y="196"/>
                      </a:lnTo>
                      <a:lnTo>
                        <a:pt x="102" y="193"/>
                      </a:lnTo>
                      <a:lnTo>
                        <a:pt x="102" y="191"/>
                      </a:lnTo>
                      <a:lnTo>
                        <a:pt x="102" y="188"/>
                      </a:lnTo>
                      <a:lnTo>
                        <a:pt x="105" y="186"/>
                      </a:lnTo>
                      <a:lnTo>
                        <a:pt x="109" y="184"/>
                      </a:lnTo>
                      <a:lnTo>
                        <a:pt x="113" y="181"/>
                      </a:lnTo>
                      <a:lnTo>
                        <a:pt x="113" y="179"/>
                      </a:lnTo>
                      <a:lnTo>
                        <a:pt x="113" y="177"/>
                      </a:lnTo>
                      <a:lnTo>
                        <a:pt x="113" y="175"/>
                      </a:lnTo>
                      <a:lnTo>
                        <a:pt x="110" y="175"/>
                      </a:lnTo>
                      <a:lnTo>
                        <a:pt x="104" y="180"/>
                      </a:lnTo>
                      <a:lnTo>
                        <a:pt x="98" y="184"/>
                      </a:lnTo>
                      <a:lnTo>
                        <a:pt x="84" y="188"/>
                      </a:lnTo>
                      <a:lnTo>
                        <a:pt x="80" y="191"/>
                      </a:lnTo>
                      <a:lnTo>
                        <a:pt x="76" y="193"/>
                      </a:lnTo>
                      <a:lnTo>
                        <a:pt x="75" y="193"/>
                      </a:lnTo>
                      <a:lnTo>
                        <a:pt x="72" y="193"/>
                      </a:lnTo>
                      <a:lnTo>
                        <a:pt x="68" y="192"/>
                      </a:lnTo>
                      <a:lnTo>
                        <a:pt x="65" y="191"/>
                      </a:lnTo>
                      <a:lnTo>
                        <a:pt x="56" y="192"/>
                      </a:lnTo>
                      <a:lnTo>
                        <a:pt x="43" y="192"/>
                      </a:lnTo>
                      <a:lnTo>
                        <a:pt x="32" y="191"/>
                      </a:lnTo>
                      <a:lnTo>
                        <a:pt x="25" y="188"/>
                      </a:lnTo>
                      <a:lnTo>
                        <a:pt x="20" y="186"/>
                      </a:lnTo>
                      <a:lnTo>
                        <a:pt x="15" y="183"/>
                      </a:lnTo>
                      <a:lnTo>
                        <a:pt x="10" y="178"/>
                      </a:lnTo>
                      <a:lnTo>
                        <a:pt x="10" y="175"/>
                      </a:lnTo>
                      <a:lnTo>
                        <a:pt x="10" y="173"/>
                      </a:lnTo>
                      <a:lnTo>
                        <a:pt x="14" y="168"/>
                      </a:lnTo>
                      <a:lnTo>
                        <a:pt x="14" y="166"/>
                      </a:lnTo>
                      <a:lnTo>
                        <a:pt x="13" y="165"/>
                      </a:lnTo>
                      <a:lnTo>
                        <a:pt x="8" y="161"/>
                      </a:lnTo>
                      <a:lnTo>
                        <a:pt x="2" y="159"/>
                      </a:lnTo>
                      <a:lnTo>
                        <a:pt x="0" y="158"/>
                      </a:lnTo>
                      <a:lnTo>
                        <a:pt x="0" y="156"/>
                      </a:lnTo>
                      <a:lnTo>
                        <a:pt x="1" y="153"/>
                      </a:lnTo>
                      <a:lnTo>
                        <a:pt x="4" y="151"/>
                      </a:lnTo>
                      <a:lnTo>
                        <a:pt x="11" y="147"/>
                      </a:lnTo>
                      <a:lnTo>
                        <a:pt x="18" y="143"/>
                      </a:lnTo>
                      <a:lnTo>
                        <a:pt x="24" y="141"/>
                      </a:lnTo>
                      <a:lnTo>
                        <a:pt x="30" y="140"/>
                      </a:lnTo>
                      <a:lnTo>
                        <a:pt x="34" y="139"/>
                      </a:lnTo>
                      <a:lnTo>
                        <a:pt x="42" y="135"/>
                      </a:lnTo>
                      <a:lnTo>
                        <a:pt x="46" y="134"/>
                      </a:lnTo>
                      <a:lnTo>
                        <a:pt x="49" y="133"/>
                      </a:lnTo>
                      <a:lnTo>
                        <a:pt x="52" y="134"/>
                      </a:lnTo>
                      <a:lnTo>
                        <a:pt x="53" y="136"/>
                      </a:lnTo>
                      <a:lnTo>
                        <a:pt x="55" y="142"/>
                      </a:lnTo>
                      <a:lnTo>
                        <a:pt x="55" y="143"/>
                      </a:lnTo>
                      <a:lnTo>
                        <a:pt x="56" y="145"/>
                      </a:lnTo>
                      <a:lnTo>
                        <a:pt x="60" y="145"/>
                      </a:lnTo>
                      <a:lnTo>
                        <a:pt x="63" y="142"/>
                      </a:lnTo>
                      <a:lnTo>
                        <a:pt x="66" y="141"/>
                      </a:lnTo>
                      <a:lnTo>
                        <a:pt x="68" y="141"/>
                      </a:lnTo>
                      <a:lnTo>
                        <a:pt x="71" y="143"/>
                      </a:lnTo>
                      <a:lnTo>
                        <a:pt x="74" y="145"/>
                      </a:lnTo>
                      <a:lnTo>
                        <a:pt x="75" y="145"/>
                      </a:lnTo>
                      <a:lnTo>
                        <a:pt x="79" y="143"/>
                      </a:lnTo>
                      <a:lnTo>
                        <a:pt x="82" y="145"/>
                      </a:lnTo>
                      <a:lnTo>
                        <a:pt x="89" y="146"/>
                      </a:lnTo>
                      <a:lnTo>
                        <a:pt x="95" y="149"/>
                      </a:lnTo>
                      <a:lnTo>
                        <a:pt x="103" y="151"/>
                      </a:lnTo>
                      <a:lnTo>
                        <a:pt x="104" y="149"/>
                      </a:lnTo>
                      <a:lnTo>
                        <a:pt x="105" y="149"/>
                      </a:lnTo>
                      <a:lnTo>
                        <a:pt x="105" y="145"/>
                      </a:lnTo>
                      <a:lnTo>
                        <a:pt x="104" y="142"/>
                      </a:lnTo>
                      <a:lnTo>
                        <a:pt x="102" y="139"/>
                      </a:lnTo>
                      <a:lnTo>
                        <a:pt x="98" y="138"/>
                      </a:lnTo>
                      <a:lnTo>
                        <a:pt x="91" y="135"/>
                      </a:lnTo>
                      <a:lnTo>
                        <a:pt x="89" y="134"/>
                      </a:lnTo>
                      <a:lnTo>
                        <a:pt x="88" y="132"/>
                      </a:lnTo>
                      <a:lnTo>
                        <a:pt x="86" y="129"/>
                      </a:lnTo>
                      <a:lnTo>
                        <a:pt x="88" y="128"/>
                      </a:lnTo>
                      <a:lnTo>
                        <a:pt x="93" y="124"/>
                      </a:lnTo>
                      <a:lnTo>
                        <a:pt x="93" y="123"/>
                      </a:lnTo>
                      <a:lnTo>
                        <a:pt x="93" y="122"/>
                      </a:lnTo>
                      <a:lnTo>
                        <a:pt x="91" y="121"/>
                      </a:lnTo>
                      <a:lnTo>
                        <a:pt x="90" y="121"/>
                      </a:lnTo>
                      <a:lnTo>
                        <a:pt x="84" y="123"/>
                      </a:lnTo>
                      <a:lnTo>
                        <a:pt x="77" y="124"/>
                      </a:lnTo>
                      <a:lnTo>
                        <a:pt x="75" y="126"/>
                      </a:lnTo>
                      <a:lnTo>
                        <a:pt x="72" y="124"/>
                      </a:lnTo>
                      <a:lnTo>
                        <a:pt x="70" y="123"/>
                      </a:lnTo>
                      <a:lnTo>
                        <a:pt x="67" y="121"/>
                      </a:lnTo>
                      <a:lnTo>
                        <a:pt x="60" y="109"/>
                      </a:lnTo>
                      <a:lnTo>
                        <a:pt x="55" y="104"/>
                      </a:lnTo>
                      <a:lnTo>
                        <a:pt x="49" y="101"/>
                      </a:lnTo>
                      <a:lnTo>
                        <a:pt x="41" y="97"/>
                      </a:lnTo>
                      <a:lnTo>
                        <a:pt x="32" y="95"/>
                      </a:lnTo>
                      <a:lnTo>
                        <a:pt x="23" y="90"/>
                      </a:lnTo>
                      <a:lnTo>
                        <a:pt x="19" y="88"/>
                      </a:lnTo>
                      <a:lnTo>
                        <a:pt x="16" y="84"/>
                      </a:lnTo>
                      <a:lnTo>
                        <a:pt x="15" y="79"/>
                      </a:lnTo>
                      <a:lnTo>
                        <a:pt x="15" y="73"/>
                      </a:lnTo>
                      <a:lnTo>
                        <a:pt x="18" y="69"/>
                      </a:lnTo>
                      <a:lnTo>
                        <a:pt x="19" y="68"/>
                      </a:lnTo>
                      <a:lnTo>
                        <a:pt x="20" y="66"/>
                      </a:lnTo>
                      <a:lnTo>
                        <a:pt x="33" y="68"/>
                      </a:lnTo>
                      <a:lnTo>
                        <a:pt x="44" y="68"/>
                      </a:lnTo>
                      <a:lnTo>
                        <a:pt x="51" y="68"/>
                      </a:lnTo>
                      <a:lnTo>
                        <a:pt x="56" y="66"/>
                      </a:lnTo>
                      <a:lnTo>
                        <a:pt x="61" y="64"/>
                      </a:lnTo>
                      <a:lnTo>
                        <a:pt x="65" y="60"/>
                      </a:lnTo>
                      <a:lnTo>
                        <a:pt x="74" y="51"/>
                      </a:lnTo>
                      <a:lnTo>
                        <a:pt x="82" y="41"/>
                      </a:lnTo>
                      <a:lnTo>
                        <a:pt x="84" y="39"/>
                      </a:lnTo>
                      <a:lnTo>
                        <a:pt x="85" y="36"/>
                      </a:lnTo>
                      <a:lnTo>
                        <a:pt x="90" y="32"/>
                      </a:lnTo>
                      <a:lnTo>
                        <a:pt x="95" y="30"/>
                      </a:lnTo>
                      <a:lnTo>
                        <a:pt x="105" y="27"/>
                      </a:lnTo>
                      <a:lnTo>
                        <a:pt x="110" y="24"/>
                      </a:lnTo>
                      <a:lnTo>
                        <a:pt x="117" y="20"/>
                      </a:lnTo>
                      <a:lnTo>
                        <a:pt x="124" y="17"/>
                      </a:lnTo>
                      <a:lnTo>
                        <a:pt x="129" y="14"/>
                      </a:lnTo>
                      <a:lnTo>
                        <a:pt x="133" y="14"/>
                      </a:lnTo>
                      <a:lnTo>
                        <a:pt x="141" y="15"/>
                      </a:lnTo>
                      <a:lnTo>
                        <a:pt x="145" y="15"/>
                      </a:lnTo>
                      <a:lnTo>
                        <a:pt x="148" y="15"/>
                      </a:lnTo>
                      <a:lnTo>
                        <a:pt x="160" y="13"/>
                      </a:lnTo>
                      <a:lnTo>
                        <a:pt x="173" y="9"/>
                      </a:lnTo>
                      <a:lnTo>
                        <a:pt x="174" y="9"/>
                      </a:lnTo>
                      <a:lnTo>
                        <a:pt x="176" y="7"/>
                      </a:lnTo>
                      <a:lnTo>
                        <a:pt x="179" y="5"/>
                      </a:lnTo>
                      <a:lnTo>
                        <a:pt x="185" y="1"/>
                      </a:lnTo>
                      <a:lnTo>
                        <a:pt x="192" y="0"/>
                      </a:lnTo>
                      <a:lnTo>
                        <a:pt x="194" y="0"/>
                      </a:lnTo>
                      <a:lnTo>
                        <a:pt x="198" y="0"/>
                      </a:lnTo>
                      <a:lnTo>
                        <a:pt x="201" y="2"/>
                      </a:lnTo>
                      <a:lnTo>
                        <a:pt x="202" y="4"/>
                      </a:lnTo>
                      <a:lnTo>
                        <a:pt x="206" y="8"/>
                      </a:lnTo>
                      <a:lnTo>
                        <a:pt x="208" y="9"/>
                      </a:lnTo>
                      <a:lnTo>
                        <a:pt x="209" y="9"/>
                      </a:lnTo>
                      <a:lnTo>
                        <a:pt x="216" y="4"/>
                      </a:lnTo>
                      <a:lnTo>
                        <a:pt x="218" y="2"/>
                      </a:lnTo>
                      <a:lnTo>
                        <a:pt x="223" y="4"/>
                      </a:lnTo>
                      <a:lnTo>
                        <a:pt x="226" y="5"/>
                      </a:lnTo>
                      <a:lnTo>
                        <a:pt x="227" y="7"/>
                      </a:lnTo>
                      <a:lnTo>
                        <a:pt x="228" y="13"/>
                      </a:lnTo>
                      <a:lnTo>
                        <a:pt x="230" y="14"/>
                      </a:lnTo>
                      <a:lnTo>
                        <a:pt x="231" y="15"/>
                      </a:lnTo>
                      <a:lnTo>
                        <a:pt x="244" y="12"/>
                      </a:lnTo>
                      <a:lnTo>
                        <a:pt x="249" y="13"/>
                      </a:lnTo>
                      <a:lnTo>
                        <a:pt x="253" y="14"/>
                      </a:lnTo>
                      <a:lnTo>
                        <a:pt x="259" y="19"/>
                      </a:lnTo>
                      <a:lnTo>
                        <a:pt x="268" y="26"/>
                      </a:lnTo>
                      <a:lnTo>
                        <a:pt x="270" y="27"/>
                      </a:lnTo>
                      <a:lnTo>
                        <a:pt x="274" y="28"/>
                      </a:lnTo>
                      <a:lnTo>
                        <a:pt x="282" y="27"/>
                      </a:lnTo>
                      <a:lnTo>
                        <a:pt x="289" y="26"/>
                      </a:lnTo>
                      <a:lnTo>
                        <a:pt x="297" y="25"/>
                      </a:lnTo>
                      <a:lnTo>
                        <a:pt x="303" y="25"/>
                      </a:lnTo>
                      <a:lnTo>
                        <a:pt x="307" y="26"/>
                      </a:lnTo>
                      <a:lnTo>
                        <a:pt x="311" y="28"/>
                      </a:lnTo>
                      <a:lnTo>
                        <a:pt x="314" y="30"/>
                      </a:lnTo>
                      <a:lnTo>
                        <a:pt x="321" y="30"/>
                      </a:lnTo>
                      <a:lnTo>
                        <a:pt x="328" y="28"/>
                      </a:lnTo>
                      <a:lnTo>
                        <a:pt x="335" y="28"/>
                      </a:lnTo>
                      <a:lnTo>
                        <a:pt x="361" y="32"/>
                      </a:lnTo>
                      <a:lnTo>
                        <a:pt x="375" y="33"/>
                      </a:lnTo>
                      <a:lnTo>
                        <a:pt x="387" y="33"/>
                      </a:lnTo>
                      <a:lnTo>
                        <a:pt x="396" y="33"/>
                      </a:lnTo>
                      <a:lnTo>
                        <a:pt x="405" y="36"/>
                      </a:lnTo>
                      <a:lnTo>
                        <a:pt x="411" y="37"/>
                      </a:lnTo>
                      <a:lnTo>
                        <a:pt x="416" y="36"/>
                      </a:lnTo>
                      <a:lnTo>
                        <a:pt x="423" y="36"/>
                      </a:lnTo>
                      <a:lnTo>
                        <a:pt x="429" y="36"/>
                      </a:lnTo>
                      <a:lnTo>
                        <a:pt x="441" y="40"/>
                      </a:lnTo>
                      <a:lnTo>
                        <a:pt x="444" y="40"/>
                      </a:lnTo>
                      <a:lnTo>
                        <a:pt x="452" y="39"/>
                      </a:lnTo>
                      <a:lnTo>
                        <a:pt x="456" y="4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3" name="Freeform 1038"/>
                <p:cNvSpPr>
                  <a:spLocks/>
                </p:cNvSpPr>
                <p:nvPr/>
              </p:nvSpPr>
              <p:spPr bwMode="auto">
                <a:xfrm>
                  <a:off x="566311" y="2553940"/>
                  <a:ext cx="71034" cy="36997"/>
                </a:xfrm>
                <a:custGeom>
                  <a:avLst/>
                  <a:gdLst>
                    <a:gd name="T0" fmla="*/ 2147483647 w 52"/>
                    <a:gd name="T1" fmla="*/ 2147483647 h 25"/>
                    <a:gd name="T2" fmla="*/ 2147483647 w 52"/>
                    <a:gd name="T3" fmla="*/ 2147483647 h 25"/>
                    <a:gd name="T4" fmla="*/ 2147483647 w 52"/>
                    <a:gd name="T5" fmla="*/ 2147483647 h 25"/>
                    <a:gd name="T6" fmla="*/ 2147483647 w 52"/>
                    <a:gd name="T7" fmla="*/ 2147483647 h 25"/>
                    <a:gd name="T8" fmla="*/ 2147483647 w 52"/>
                    <a:gd name="T9" fmla="*/ 2147483647 h 25"/>
                    <a:gd name="T10" fmla="*/ 2147483647 w 52"/>
                    <a:gd name="T11" fmla="*/ 2147483647 h 25"/>
                    <a:gd name="T12" fmla="*/ 2147483647 w 52"/>
                    <a:gd name="T13" fmla="*/ 2147483647 h 25"/>
                    <a:gd name="T14" fmla="*/ 2147483647 w 52"/>
                    <a:gd name="T15" fmla="*/ 2147483647 h 25"/>
                    <a:gd name="T16" fmla="*/ 2147483647 w 52"/>
                    <a:gd name="T17" fmla="*/ 2147483647 h 25"/>
                    <a:gd name="T18" fmla="*/ 2147483647 w 52"/>
                    <a:gd name="T19" fmla="*/ 2147483647 h 25"/>
                    <a:gd name="T20" fmla="*/ 2147483647 w 52"/>
                    <a:gd name="T21" fmla="*/ 2147483647 h 25"/>
                    <a:gd name="T22" fmla="*/ 2147483647 w 52"/>
                    <a:gd name="T23" fmla="*/ 2147483647 h 25"/>
                    <a:gd name="T24" fmla="*/ 2147483647 w 52"/>
                    <a:gd name="T25" fmla="*/ 2147483647 h 25"/>
                    <a:gd name="T26" fmla="*/ 2147483647 w 52"/>
                    <a:gd name="T27" fmla="*/ 2147483647 h 25"/>
                    <a:gd name="T28" fmla="*/ 2147483647 w 52"/>
                    <a:gd name="T29" fmla="*/ 2147483647 h 25"/>
                    <a:gd name="T30" fmla="*/ 2147483647 w 52"/>
                    <a:gd name="T31" fmla="*/ 2147483647 h 25"/>
                    <a:gd name="T32" fmla="*/ 2147483647 w 52"/>
                    <a:gd name="T33" fmla="*/ 2147483647 h 25"/>
                    <a:gd name="T34" fmla="*/ 2147483647 w 52"/>
                    <a:gd name="T35" fmla="*/ 2147483647 h 25"/>
                    <a:gd name="T36" fmla="*/ 2147483647 w 52"/>
                    <a:gd name="T37" fmla="*/ 2147483647 h 25"/>
                    <a:gd name="T38" fmla="*/ 2147483647 w 52"/>
                    <a:gd name="T39" fmla="*/ 0 h 25"/>
                    <a:gd name="T40" fmla="*/ 2147483647 w 52"/>
                    <a:gd name="T41" fmla="*/ 0 h 25"/>
                    <a:gd name="T42" fmla="*/ 2147483647 w 52"/>
                    <a:gd name="T43" fmla="*/ 2147483647 h 25"/>
                    <a:gd name="T44" fmla="*/ 0 w 52"/>
                    <a:gd name="T45" fmla="*/ 2147483647 h 25"/>
                    <a:gd name="T46" fmla="*/ 2147483647 w 52"/>
                    <a:gd name="T47" fmla="*/ 2147483647 h 25"/>
                    <a:gd name="T48" fmla="*/ 2147483647 w 52"/>
                    <a:gd name="T49" fmla="*/ 2147483647 h 25"/>
                    <a:gd name="T50" fmla="*/ 2147483647 w 52"/>
                    <a:gd name="T51" fmla="*/ 2147483647 h 25"/>
                    <a:gd name="T52" fmla="*/ 2147483647 w 52"/>
                    <a:gd name="T53" fmla="*/ 2147483647 h 25"/>
                    <a:gd name="T54" fmla="*/ 2147483647 w 52"/>
                    <a:gd name="T55" fmla="*/ 2147483647 h 25"/>
                    <a:gd name="T56" fmla="*/ 2147483647 w 52"/>
                    <a:gd name="T57" fmla="*/ 2147483647 h 25"/>
                    <a:gd name="T58" fmla="*/ 2147483647 w 52"/>
                    <a:gd name="T59" fmla="*/ 2147483647 h 25"/>
                    <a:gd name="T60" fmla="*/ 2147483647 w 52"/>
                    <a:gd name="T61" fmla="*/ 2147483647 h 25"/>
                    <a:gd name="T62" fmla="*/ 2147483647 w 52"/>
                    <a:gd name="T63" fmla="*/ 2147483647 h 25"/>
                    <a:gd name="T64" fmla="*/ 2147483647 w 52"/>
                    <a:gd name="T65" fmla="*/ 2147483647 h 25"/>
                    <a:gd name="T66" fmla="*/ 2147483647 w 52"/>
                    <a:gd name="T67" fmla="*/ 2147483647 h 25"/>
                    <a:gd name="T68" fmla="*/ 2147483647 w 52"/>
                    <a:gd name="T69" fmla="*/ 2147483647 h 25"/>
                    <a:gd name="T70" fmla="*/ 2147483647 w 52"/>
                    <a:gd name="T71" fmla="*/ 2147483647 h 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25"/>
                    <a:gd name="T110" fmla="*/ 52 w 52"/>
                    <a:gd name="T111" fmla="*/ 25 h 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25">
                      <a:moveTo>
                        <a:pt x="47" y="23"/>
                      </a:moveTo>
                      <a:lnTo>
                        <a:pt x="47" y="23"/>
                      </a:lnTo>
                      <a:lnTo>
                        <a:pt x="51" y="19"/>
                      </a:lnTo>
                      <a:lnTo>
                        <a:pt x="52" y="17"/>
                      </a:lnTo>
                      <a:lnTo>
                        <a:pt x="51" y="16"/>
                      </a:lnTo>
                      <a:lnTo>
                        <a:pt x="44" y="12"/>
                      </a:lnTo>
                      <a:lnTo>
                        <a:pt x="41" y="11"/>
                      </a:lnTo>
                      <a:lnTo>
                        <a:pt x="38" y="7"/>
                      </a:lnTo>
                      <a:lnTo>
                        <a:pt x="36" y="5"/>
                      </a:lnTo>
                      <a:lnTo>
                        <a:pt x="32" y="4"/>
                      </a:lnTo>
                      <a:lnTo>
                        <a:pt x="28" y="3"/>
                      </a:lnTo>
                      <a:lnTo>
                        <a:pt x="24" y="4"/>
                      </a:lnTo>
                      <a:lnTo>
                        <a:pt x="15" y="4"/>
                      </a:lnTo>
                      <a:lnTo>
                        <a:pt x="11" y="4"/>
                      </a:lnTo>
                      <a:lnTo>
                        <a:pt x="8" y="3"/>
                      </a:lnTo>
                      <a:lnTo>
                        <a:pt x="5" y="3"/>
                      </a:lnTo>
                      <a:lnTo>
                        <a:pt x="3" y="0"/>
                      </a:lnTo>
                      <a:lnTo>
                        <a:pt x="1" y="4"/>
                      </a:lnTo>
                      <a:lnTo>
                        <a:pt x="0" y="9"/>
                      </a:lnTo>
                      <a:lnTo>
                        <a:pt x="1" y="12"/>
                      </a:lnTo>
                      <a:lnTo>
                        <a:pt x="3" y="12"/>
                      </a:lnTo>
                      <a:lnTo>
                        <a:pt x="4" y="13"/>
                      </a:lnTo>
                      <a:lnTo>
                        <a:pt x="13" y="15"/>
                      </a:lnTo>
                      <a:lnTo>
                        <a:pt x="20" y="17"/>
                      </a:lnTo>
                      <a:lnTo>
                        <a:pt x="28" y="21"/>
                      </a:lnTo>
                      <a:lnTo>
                        <a:pt x="36" y="24"/>
                      </a:lnTo>
                      <a:lnTo>
                        <a:pt x="38" y="25"/>
                      </a:lnTo>
                      <a:lnTo>
                        <a:pt x="41" y="25"/>
                      </a:lnTo>
                      <a:lnTo>
                        <a:pt x="47" y="2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4" name="Freeform 1041"/>
                <p:cNvSpPr>
                  <a:spLocks/>
                </p:cNvSpPr>
                <p:nvPr/>
              </p:nvSpPr>
              <p:spPr bwMode="auto">
                <a:xfrm>
                  <a:off x="2914868" y="6269902"/>
                  <a:ext cx="14799" cy="14799"/>
                </a:xfrm>
                <a:custGeom>
                  <a:avLst/>
                  <a:gdLst>
                    <a:gd name="T0" fmla="*/ 2147483647 w 11"/>
                    <a:gd name="T1" fmla="*/ 2147483647 h 10"/>
                    <a:gd name="T2" fmla="*/ 2147483647 w 11"/>
                    <a:gd name="T3" fmla="*/ 2147483647 h 10"/>
                    <a:gd name="T4" fmla="*/ 2147483647 w 11"/>
                    <a:gd name="T5" fmla="*/ 2147483647 h 10"/>
                    <a:gd name="T6" fmla="*/ 2147483647 w 11"/>
                    <a:gd name="T7" fmla="*/ 2147483647 h 10"/>
                    <a:gd name="T8" fmla="*/ 2147483647 w 11"/>
                    <a:gd name="T9" fmla="*/ 2147483647 h 10"/>
                    <a:gd name="T10" fmla="*/ 2147483647 w 11"/>
                    <a:gd name="T11" fmla="*/ 2147483647 h 10"/>
                    <a:gd name="T12" fmla="*/ 2147483647 w 11"/>
                    <a:gd name="T13" fmla="*/ 2147483647 h 10"/>
                    <a:gd name="T14" fmla="*/ 0 w 11"/>
                    <a:gd name="T15" fmla="*/ 2147483647 h 10"/>
                    <a:gd name="T16" fmla="*/ 0 w 11"/>
                    <a:gd name="T17" fmla="*/ 2147483647 h 10"/>
                    <a:gd name="T18" fmla="*/ 2147483647 w 11"/>
                    <a:gd name="T19" fmla="*/ 2147483647 h 10"/>
                    <a:gd name="T20" fmla="*/ 2147483647 w 11"/>
                    <a:gd name="T21" fmla="*/ 0 h 10"/>
                    <a:gd name="T22" fmla="*/ 2147483647 w 11"/>
                    <a:gd name="T23" fmla="*/ 0 h 10"/>
                    <a:gd name="T24" fmla="*/ 2147483647 w 11"/>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0"/>
                    <a:gd name="T41" fmla="*/ 11 w 11"/>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0">
                      <a:moveTo>
                        <a:pt x="9" y="2"/>
                      </a:moveTo>
                      <a:lnTo>
                        <a:pt x="11" y="5"/>
                      </a:lnTo>
                      <a:lnTo>
                        <a:pt x="11" y="7"/>
                      </a:lnTo>
                      <a:lnTo>
                        <a:pt x="8" y="9"/>
                      </a:lnTo>
                      <a:lnTo>
                        <a:pt x="5" y="10"/>
                      </a:lnTo>
                      <a:lnTo>
                        <a:pt x="3" y="9"/>
                      </a:lnTo>
                      <a:lnTo>
                        <a:pt x="2" y="7"/>
                      </a:lnTo>
                      <a:lnTo>
                        <a:pt x="0" y="5"/>
                      </a:lnTo>
                      <a:lnTo>
                        <a:pt x="0" y="4"/>
                      </a:lnTo>
                      <a:lnTo>
                        <a:pt x="3" y="2"/>
                      </a:lnTo>
                      <a:lnTo>
                        <a:pt x="5" y="0"/>
                      </a:lnTo>
                      <a:lnTo>
                        <a:pt x="8" y="0"/>
                      </a:lnTo>
                      <a:lnTo>
                        <a:pt x="9"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5" name="Freeform 1043"/>
                <p:cNvSpPr>
                  <a:spLocks/>
                </p:cNvSpPr>
                <p:nvPr/>
              </p:nvSpPr>
              <p:spPr bwMode="auto">
                <a:xfrm>
                  <a:off x="2913388" y="6268419"/>
                  <a:ext cx="13319" cy="14799"/>
                </a:xfrm>
                <a:custGeom>
                  <a:avLst/>
                  <a:gdLst>
                    <a:gd name="T0" fmla="*/ 2147483647 w 10"/>
                    <a:gd name="T1" fmla="*/ 2147483647 h 10"/>
                    <a:gd name="T2" fmla="*/ 2147483647 w 10"/>
                    <a:gd name="T3" fmla="*/ 2147483647 h 10"/>
                    <a:gd name="T4" fmla="*/ 2147483647 w 10"/>
                    <a:gd name="T5" fmla="*/ 2147483647 h 10"/>
                    <a:gd name="T6" fmla="*/ 2147483647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2147483647 w 10"/>
                    <a:gd name="T17" fmla="*/ 2147483647 h 10"/>
                    <a:gd name="T18" fmla="*/ 2147483647 w 10"/>
                    <a:gd name="T19" fmla="*/ 2147483647 h 10"/>
                    <a:gd name="T20" fmla="*/ 0 w 10"/>
                    <a:gd name="T21" fmla="*/ 2147483647 h 10"/>
                    <a:gd name="T22" fmla="*/ 0 w 10"/>
                    <a:gd name="T23" fmla="*/ 2147483647 h 10"/>
                    <a:gd name="T24" fmla="*/ 2147483647 w 10"/>
                    <a:gd name="T25" fmla="*/ 2147483647 h 10"/>
                    <a:gd name="T26" fmla="*/ 2147483647 w 10"/>
                    <a:gd name="T27" fmla="*/ 0 h 10"/>
                    <a:gd name="T28" fmla="*/ 2147483647 w 10"/>
                    <a:gd name="T29" fmla="*/ 0 h 10"/>
                    <a:gd name="T30" fmla="*/ 2147483647 w 10"/>
                    <a:gd name="T31" fmla="*/ 2147483647 h 10"/>
                    <a:gd name="T32" fmla="*/ 2147483647 w 10"/>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0"/>
                    <a:gd name="T53" fmla="*/ 10 w 10"/>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0">
                      <a:moveTo>
                        <a:pt x="9" y="1"/>
                      </a:moveTo>
                      <a:lnTo>
                        <a:pt x="9" y="1"/>
                      </a:lnTo>
                      <a:lnTo>
                        <a:pt x="10" y="5"/>
                      </a:lnTo>
                      <a:lnTo>
                        <a:pt x="10" y="7"/>
                      </a:lnTo>
                      <a:lnTo>
                        <a:pt x="8" y="8"/>
                      </a:lnTo>
                      <a:lnTo>
                        <a:pt x="5" y="10"/>
                      </a:lnTo>
                      <a:lnTo>
                        <a:pt x="3" y="8"/>
                      </a:lnTo>
                      <a:lnTo>
                        <a:pt x="1" y="7"/>
                      </a:lnTo>
                      <a:lnTo>
                        <a:pt x="0" y="5"/>
                      </a:lnTo>
                      <a:lnTo>
                        <a:pt x="0" y="4"/>
                      </a:lnTo>
                      <a:lnTo>
                        <a:pt x="3" y="1"/>
                      </a:lnTo>
                      <a:lnTo>
                        <a:pt x="5" y="0"/>
                      </a:lnTo>
                      <a:lnTo>
                        <a:pt x="8" y="0"/>
                      </a:lnTo>
                      <a:lnTo>
                        <a:pt x="9"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6" name="Freeform 1053"/>
                <p:cNvSpPr>
                  <a:spLocks/>
                </p:cNvSpPr>
                <p:nvPr/>
              </p:nvSpPr>
              <p:spPr bwMode="auto">
                <a:xfrm>
                  <a:off x="2855673" y="6269899"/>
                  <a:ext cx="29597" cy="22198"/>
                </a:xfrm>
                <a:custGeom>
                  <a:avLst/>
                  <a:gdLst>
                    <a:gd name="T0" fmla="*/ 2147483647 w 22"/>
                    <a:gd name="T1" fmla="*/ 2147483647 h 15"/>
                    <a:gd name="T2" fmla="*/ 2147483647 w 22"/>
                    <a:gd name="T3" fmla="*/ 2147483647 h 15"/>
                    <a:gd name="T4" fmla="*/ 2147483647 w 22"/>
                    <a:gd name="T5" fmla="*/ 2147483647 h 15"/>
                    <a:gd name="T6" fmla="*/ 2147483647 w 22"/>
                    <a:gd name="T7" fmla="*/ 2147483647 h 15"/>
                    <a:gd name="T8" fmla="*/ 2147483647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2147483647 h 15"/>
                    <a:gd name="T18" fmla="*/ 0 w 22"/>
                    <a:gd name="T19" fmla="*/ 2147483647 h 15"/>
                    <a:gd name="T20" fmla="*/ 2147483647 w 22"/>
                    <a:gd name="T21" fmla="*/ 2147483647 h 15"/>
                    <a:gd name="T22" fmla="*/ 2147483647 w 22"/>
                    <a:gd name="T23" fmla="*/ 0 h 15"/>
                    <a:gd name="T24" fmla="*/ 2147483647 w 22"/>
                    <a:gd name="T25" fmla="*/ 0 h 15"/>
                    <a:gd name="T26" fmla="*/ 2147483647 w 22"/>
                    <a:gd name="T27" fmla="*/ 2147483647 h 15"/>
                    <a:gd name="T28" fmla="*/ 2147483647 w 22"/>
                    <a:gd name="T29" fmla="*/ 2147483647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15"/>
                    <a:gd name="T47" fmla="*/ 22 w 22"/>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15">
                      <a:moveTo>
                        <a:pt x="17" y="6"/>
                      </a:moveTo>
                      <a:lnTo>
                        <a:pt x="21" y="11"/>
                      </a:lnTo>
                      <a:lnTo>
                        <a:pt x="22" y="12"/>
                      </a:lnTo>
                      <a:lnTo>
                        <a:pt x="21" y="13"/>
                      </a:lnTo>
                      <a:lnTo>
                        <a:pt x="18" y="15"/>
                      </a:lnTo>
                      <a:lnTo>
                        <a:pt x="14" y="13"/>
                      </a:lnTo>
                      <a:lnTo>
                        <a:pt x="7" y="11"/>
                      </a:lnTo>
                      <a:lnTo>
                        <a:pt x="4" y="9"/>
                      </a:lnTo>
                      <a:lnTo>
                        <a:pt x="1" y="6"/>
                      </a:lnTo>
                      <a:lnTo>
                        <a:pt x="0" y="4"/>
                      </a:lnTo>
                      <a:lnTo>
                        <a:pt x="1" y="2"/>
                      </a:lnTo>
                      <a:lnTo>
                        <a:pt x="3" y="0"/>
                      </a:lnTo>
                      <a:lnTo>
                        <a:pt x="4" y="0"/>
                      </a:lnTo>
                      <a:lnTo>
                        <a:pt x="8" y="2"/>
                      </a:lnTo>
                      <a:lnTo>
                        <a:pt x="17"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7" name="Freeform 1055"/>
                <p:cNvSpPr>
                  <a:spLocks/>
                </p:cNvSpPr>
                <p:nvPr/>
              </p:nvSpPr>
              <p:spPr bwMode="auto">
                <a:xfrm>
                  <a:off x="2854192" y="6268422"/>
                  <a:ext cx="29597" cy="20718"/>
                </a:xfrm>
                <a:custGeom>
                  <a:avLst/>
                  <a:gdLst>
                    <a:gd name="T0" fmla="*/ 2147483647 w 22"/>
                    <a:gd name="T1" fmla="*/ 2147483647 h 14"/>
                    <a:gd name="T2" fmla="*/ 2147483647 w 22"/>
                    <a:gd name="T3" fmla="*/ 2147483647 h 14"/>
                    <a:gd name="T4" fmla="*/ 2147483647 w 22"/>
                    <a:gd name="T5" fmla="*/ 2147483647 h 14"/>
                    <a:gd name="T6" fmla="*/ 2147483647 w 22"/>
                    <a:gd name="T7" fmla="*/ 2147483647 h 14"/>
                    <a:gd name="T8" fmla="*/ 2147483647 w 22"/>
                    <a:gd name="T9" fmla="*/ 2147483647 h 14"/>
                    <a:gd name="T10" fmla="*/ 2147483647 w 22"/>
                    <a:gd name="T11" fmla="*/ 2147483647 h 14"/>
                    <a:gd name="T12" fmla="*/ 2147483647 w 22"/>
                    <a:gd name="T13" fmla="*/ 2147483647 h 14"/>
                    <a:gd name="T14" fmla="*/ 2147483647 w 22"/>
                    <a:gd name="T15" fmla="*/ 2147483647 h 14"/>
                    <a:gd name="T16" fmla="*/ 2147483647 w 22"/>
                    <a:gd name="T17" fmla="*/ 2147483647 h 14"/>
                    <a:gd name="T18" fmla="*/ 2147483647 w 22"/>
                    <a:gd name="T19" fmla="*/ 2147483647 h 14"/>
                    <a:gd name="T20" fmla="*/ 2147483647 w 22"/>
                    <a:gd name="T21" fmla="*/ 2147483647 h 14"/>
                    <a:gd name="T22" fmla="*/ 0 w 22"/>
                    <a:gd name="T23" fmla="*/ 2147483647 h 14"/>
                    <a:gd name="T24" fmla="*/ 2147483647 w 22"/>
                    <a:gd name="T25" fmla="*/ 2147483647 h 14"/>
                    <a:gd name="T26" fmla="*/ 2147483647 w 22"/>
                    <a:gd name="T27" fmla="*/ 2147483647 h 14"/>
                    <a:gd name="T28" fmla="*/ 2147483647 w 22"/>
                    <a:gd name="T29" fmla="*/ 0 h 14"/>
                    <a:gd name="T30" fmla="*/ 2147483647 w 22"/>
                    <a:gd name="T31" fmla="*/ 0 h 14"/>
                    <a:gd name="T32" fmla="*/ 2147483647 w 22"/>
                    <a:gd name="T33" fmla="*/ 2147483647 h 14"/>
                    <a:gd name="T34" fmla="*/ 2147483647 w 22"/>
                    <a:gd name="T35" fmla="*/ 2147483647 h 14"/>
                    <a:gd name="T36" fmla="*/ 2147483647 w 22"/>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14"/>
                    <a:gd name="T59" fmla="*/ 22 w 22"/>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14">
                      <a:moveTo>
                        <a:pt x="16" y="6"/>
                      </a:moveTo>
                      <a:lnTo>
                        <a:pt x="16" y="6"/>
                      </a:lnTo>
                      <a:lnTo>
                        <a:pt x="20" y="11"/>
                      </a:lnTo>
                      <a:lnTo>
                        <a:pt x="22" y="12"/>
                      </a:lnTo>
                      <a:lnTo>
                        <a:pt x="20" y="13"/>
                      </a:lnTo>
                      <a:lnTo>
                        <a:pt x="18" y="14"/>
                      </a:lnTo>
                      <a:lnTo>
                        <a:pt x="14" y="13"/>
                      </a:lnTo>
                      <a:lnTo>
                        <a:pt x="6" y="11"/>
                      </a:lnTo>
                      <a:lnTo>
                        <a:pt x="4" y="8"/>
                      </a:lnTo>
                      <a:lnTo>
                        <a:pt x="1" y="6"/>
                      </a:lnTo>
                      <a:lnTo>
                        <a:pt x="0" y="4"/>
                      </a:lnTo>
                      <a:lnTo>
                        <a:pt x="1" y="1"/>
                      </a:lnTo>
                      <a:lnTo>
                        <a:pt x="2" y="0"/>
                      </a:lnTo>
                      <a:lnTo>
                        <a:pt x="4" y="0"/>
                      </a:lnTo>
                      <a:lnTo>
                        <a:pt x="8" y="1"/>
                      </a:lnTo>
                      <a:lnTo>
                        <a:pt x="1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8" name="Freeform 1056"/>
                <p:cNvSpPr>
                  <a:spLocks/>
                </p:cNvSpPr>
                <p:nvPr/>
              </p:nvSpPr>
              <p:spPr bwMode="auto">
                <a:xfrm>
                  <a:off x="2879351" y="6296539"/>
                  <a:ext cx="28117" cy="26638"/>
                </a:xfrm>
                <a:custGeom>
                  <a:avLst/>
                  <a:gdLst>
                    <a:gd name="T0" fmla="*/ 2147483647 w 21"/>
                    <a:gd name="T1" fmla="*/ 2147483647 h 18"/>
                    <a:gd name="T2" fmla="*/ 0 w 21"/>
                    <a:gd name="T3" fmla="*/ 2147483647 h 18"/>
                    <a:gd name="T4" fmla="*/ 0 w 21"/>
                    <a:gd name="T5" fmla="*/ 2147483647 h 18"/>
                    <a:gd name="T6" fmla="*/ 0 w 21"/>
                    <a:gd name="T7" fmla="*/ 2147483647 h 18"/>
                    <a:gd name="T8" fmla="*/ 2147483647 w 21"/>
                    <a:gd name="T9" fmla="*/ 0 h 18"/>
                    <a:gd name="T10" fmla="*/ 2147483647 w 21"/>
                    <a:gd name="T11" fmla="*/ 0 h 18"/>
                    <a:gd name="T12" fmla="*/ 2147483647 w 21"/>
                    <a:gd name="T13" fmla="*/ 2147483647 h 18"/>
                    <a:gd name="T14" fmla="*/ 2147483647 w 21"/>
                    <a:gd name="T15" fmla="*/ 2147483647 h 18"/>
                    <a:gd name="T16" fmla="*/ 2147483647 w 21"/>
                    <a:gd name="T17" fmla="*/ 2147483647 h 18"/>
                    <a:gd name="T18" fmla="*/ 2147483647 w 21"/>
                    <a:gd name="T19" fmla="*/ 2147483647 h 18"/>
                    <a:gd name="T20" fmla="*/ 2147483647 w 21"/>
                    <a:gd name="T21" fmla="*/ 2147483647 h 18"/>
                    <a:gd name="T22" fmla="*/ 2147483647 w 21"/>
                    <a:gd name="T23" fmla="*/ 2147483647 h 18"/>
                    <a:gd name="T24" fmla="*/ 2147483647 w 21"/>
                    <a:gd name="T25" fmla="*/ 2147483647 h 18"/>
                    <a:gd name="T26" fmla="*/ 2147483647 w 21"/>
                    <a:gd name="T27" fmla="*/ 2147483647 h 18"/>
                    <a:gd name="T28" fmla="*/ 2147483647 w 21"/>
                    <a:gd name="T29" fmla="*/ 2147483647 h 18"/>
                    <a:gd name="T30" fmla="*/ 2147483647 w 21"/>
                    <a:gd name="T31" fmla="*/ 2147483647 h 18"/>
                    <a:gd name="T32" fmla="*/ 2147483647 w 21"/>
                    <a:gd name="T33" fmla="*/ 2147483647 h 18"/>
                    <a:gd name="T34" fmla="*/ 2147483647 w 21"/>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18"/>
                    <a:gd name="T56" fmla="*/ 21 w 21"/>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18">
                      <a:moveTo>
                        <a:pt x="1" y="7"/>
                      </a:moveTo>
                      <a:lnTo>
                        <a:pt x="0" y="5"/>
                      </a:lnTo>
                      <a:lnTo>
                        <a:pt x="0" y="4"/>
                      </a:lnTo>
                      <a:lnTo>
                        <a:pt x="0" y="3"/>
                      </a:lnTo>
                      <a:lnTo>
                        <a:pt x="4" y="0"/>
                      </a:lnTo>
                      <a:lnTo>
                        <a:pt x="6" y="0"/>
                      </a:lnTo>
                      <a:lnTo>
                        <a:pt x="9" y="1"/>
                      </a:lnTo>
                      <a:lnTo>
                        <a:pt x="12" y="3"/>
                      </a:lnTo>
                      <a:lnTo>
                        <a:pt x="17" y="7"/>
                      </a:lnTo>
                      <a:lnTo>
                        <a:pt x="20" y="13"/>
                      </a:lnTo>
                      <a:lnTo>
                        <a:pt x="21" y="14"/>
                      </a:lnTo>
                      <a:lnTo>
                        <a:pt x="20" y="17"/>
                      </a:lnTo>
                      <a:lnTo>
                        <a:pt x="20" y="18"/>
                      </a:lnTo>
                      <a:lnTo>
                        <a:pt x="19" y="18"/>
                      </a:lnTo>
                      <a:lnTo>
                        <a:pt x="12" y="18"/>
                      </a:lnTo>
                      <a:lnTo>
                        <a:pt x="7" y="16"/>
                      </a:lnTo>
                      <a:lnTo>
                        <a:pt x="4" y="13"/>
                      </a:lnTo>
                      <a:lnTo>
                        <a:pt x="1"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69" name="Freeform 1058"/>
                <p:cNvSpPr>
                  <a:spLocks/>
                </p:cNvSpPr>
                <p:nvPr/>
              </p:nvSpPr>
              <p:spPr bwMode="auto">
                <a:xfrm>
                  <a:off x="2876391" y="6295057"/>
                  <a:ext cx="29597" cy="26638"/>
                </a:xfrm>
                <a:custGeom>
                  <a:avLst/>
                  <a:gdLst>
                    <a:gd name="T0" fmla="*/ 2147483647 w 22"/>
                    <a:gd name="T1" fmla="*/ 2147483647 h 18"/>
                    <a:gd name="T2" fmla="*/ 2147483647 w 22"/>
                    <a:gd name="T3" fmla="*/ 2147483647 h 18"/>
                    <a:gd name="T4" fmla="*/ 0 w 22"/>
                    <a:gd name="T5" fmla="*/ 2147483647 h 18"/>
                    <a:gd name="T6" fmla="*/ 0 w 22"/>
                    <a:gd name="T7" fmla="*/ 2147483647 h 18"/>
                    <a:gd name="T8" fmla="*/ 0 w 22"/>
                    <a:gd name="T9" fmla="*/ 2147483647 h 18"/>
                    <a:gd name="T10" fmla="*/ 0 w 22"/>
                    <a:gd name="T11" fmla="*/ 2147483647 h 18"/>
                    <a:gd name="T12" fmla="*/ 2147483647 w 22"/>
                    <a:gd name="T13" fmla="*/ 0 h 18"/>
                    <a:gd name="T14" fmla="*/ 2147483647 w 22"/>
                    <a:gd name="T15" fmla="*/ 0 h 18"/>
                    <a:gd name="T16" fmla="*/ 2147483647 w 22"/>
                    <a:gd name="T17" fmla="*/ 2147483647 h 18"/>
                    <a:gd name="T18" fmla="*/ 2147483647 w 22"/>
                    <a:gd name="T19" fmla="*/ 2147483647 h 18"/>
                    <a:gd name="T20" fmla="*/ 2147483647 w 22"/>
                    <a:gd name="T21" fmla="*/ 2147483647 h 18"/>
                    <a:gd name="T22" fmla="*/ 2147483647 w 22"/>
                    <a:gd name="T23" fmla="*/ 2147483647 h 18"/>
                    <a:gd name="T24" fmla="*/ 2147483647 w 22"/>
                    <a:gd name="T25" fmla="*/ 2147483647 h 18"/>
                    <a:gd name="T26" fmla="*/ 2147483647 w 22"/>
                    <a:gd name="T27" fmla="*/ 2147483647 h 18"/>
                    <a:gd name="T28" fmla="*/ 2147483647 w 22"/>
                    <a:gd name="T29" fmla="*/ 2147483647 h 18"/>
                    <a:gd name="T30" fmla="*/ 2147483647 w 22"/>
                    <a:gd name="T31" fmla="*/ 2147483647 h 18"/>
                    <a:gd name="T32" fmla="*/ 2147483647 w 22"/>
                    <a:gd name="T33" fmla="*/ 2147483647 h 18"/>
                    <a:gd name="T34" fmla="*/ 2147483647 w 22"/>
                    <a:gd name="T35" fmla="*/ 2147483647 h 18"/>
                    <a:gd name="T36" fmla="*/ 2147483647 w 22"/>
                    <a:gd name="T37" fmla="*/ 2147483647 h 18"/>
                    <a:gd name="T38" fmla="*/ 2147483647 w 22"/>
                    <a:gd name="T39" fmla="*/ 2147483647 h 18"/>
                    <a:gd name="T40" fmla="*/ 2147483647 w 22"/>
                    <a:gd name="T41" fmla="*/ 2147483647 h 18"/>
                    <a:gd name="T42" fmla="*/ 2147483647 w 22"/>
                    <a:gd name="T43" fmla="*/ 2147483647 h 18"/>
                    <a:gd name="T44" fmla="*/ 2147483647 w 22"/>
                    <a:gd name="T45" fmla="*/ 2147483647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
                    <a:gd name="T70" fmla="*/ 0 h 18"/>
                    <a:gd name="T71" fmla="*/ 22 w 22"/>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 h="18">
                      <a:moveTo>
                        <a:pt x="2" y="7"/>
                      </a:moveTo>
                      <a:lnTo>
                        <a:pt x="2" y="7"/>
                      </a:lnTo>
                      <a:lnTo>
                        <a:pt x="0" y="5"/>
                      </a:lnTo>
                      <a:lnTo>
                        <a:pt x="0" y="4"/>
                      </a:lnTo>
                      <a:lnTo>
                        <a:pt x="0" y="2"/>
                      </a:lnTo>
                      <a:lnTo>
                        <a:pt x="4" y="0"/>
                      </a:lnTo>
                      <a:lnTo>
                        <a:pt x="7" y="0"/>
                      </a:lnTo>
                      <a:lnTo>
                        <a:pt x="9" y="1"/>
                      </a:lnTo>
                      <a:lnTo>
                        <a:pt x="13" y="2"/>
                      </a:lnTo>
                      <a:lnTo>
                        <a:pt x="18" y="7"/>
                      </a:lnTo>
                      <a:lnTo>
                        <a:pt x="21" y="13"/>
                      </a:lnTo>
                      <a:lnTo>
                        <a:pt x="22" y="14"/>
                      </a:lnTo>
                      <a:lnTo>
                        <a:pt x="21" y="17"/>
                      </a:lnTo>
                      <a:lnTo>
                        <a:pt x="21" y="18"/>
                      </a:lnTo>
                      <a:lnTo>
                        <a:pt x="19" y="18"/>
                      </a:lnTo>
                      <a:lnTo>
                        <a:pt x="13" y="18"/>
                      </a:lnTo>
                      <a:lnTo>
                        <a:pt x="8" y="15"/>
                      </a:lnTo>
                      <a:lnTo>
                        <a:pt x="4" y="13"/>
                      </a:lnTo>
                      <a:lnTo>
                        <a:pt x="2"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0" name="Freeform 1060"/>
                <p:cNvSpPr>
                  <a:spLocks/>
                </p:cNvSpPr>
                <p:nvPr/>
              </p:nvSpPr>
              <p:spPr bwMode="auto">
                <a:xfrm>
                  <a:off x="2840874" y="6172232"/>
                  <a:ext cx="11839" cy="20718"/>
                </a:xfrm>
                <a:custGeom>
                  <a:avLst/>
                  <a:gdLst>
                    <a:gd name="T0" fmla="*/ 2147483647 w 9"/>
                    <a:gd name="T1" fmla="*/ 2147483647 h 14"/>
                    <a:gd name="T2" fmla="*/ 2147483647 w 9"/>
                    <a:gd name="T3" fmla="*/ 2147483647 h 14"/>
                    <a:gd name="T4" fmla="*/ 2147483647 w 9"/>
                    <a:gd name="T5" fmla="*/ 0 h 14"/>
                    <a:gd name="T6" fmla="*/ 2147483647 w 9"/>
                    <a:gd name="T7" fmla="*/ 0 h 14"/>
                    <a:gd name="T8" fmla="*/ 2147483647 w 9"/>
                    <a:gd name="T9" fmla="*/ 0 h 14"/>
                    <a:gd name="T10" fmla="*/ 0 w 9"/>
                    <a:gd name="T11" fmla="*/ 2147483647 h 14"/>
                    <a:gd name="T12" fmla="*/ 0 w 9"/>
                    <a:gd name="T13" fmla="*/ 2147483647 h 14"/>
                    <a:gd name="T14" fmla="*/ 0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4"/>
                    <a:gd name="T44" fmla="*/ 9 w 9"/>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4">
                      <a:moveTo>
                        <a:pt x="7" y="7"/>
                      </a:moveTo>
                      <a:lnTo>
                        <a:pt x="6" y="2"/>
                      </a:lnTo>
                      <a:lnTo>
                        <a:pt x="5" y="0"/>
                      </a:lnTo>
                      <a:lnTo>
                        <a:pt x="4" y="0"/>
                      </a:lnTo>
                      <a:lnTo>
                        <a:pt x="1" y="0"/>
                      </a:lnTo>
                      <a:lnTo>
                        <a:pt x="0" y="1"/>
                      </a:lnTo>
                      <a:lnTo>
                        <a:pt x="0" y="5"/>
                      </a:lnTo>
                      <a:lnTo>
                        <a:pt x="0" y="9"/>
                      </a:lnTo>
                      <a:lnTo>
                        <a:pt x="1" y="13"/>
                      </a:lnTo>
                      <a:lnTo>
                        <a:pt x="2" y="14"/>
                      </a:lnTo>
                      <a:lnTo>
                        <a:pt x="5" y="14"/>
                      </a:lnTo>
                      <a:lnTo>
                        <a:pt x="7" y="12"/>
                      </a:lnTo>
                      <a:lnTo>
                        <a:pt x="9" y="9"/>
                      </a:lnTo>
                      <a:lnTo>
                        <a:pt x="7"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1" name="Freeform 1061"/>
                <p:cNvSpPr>
                  <a:spLocks/>
                </p:cNvSpPr>
                <p:nvPr/>
              </p:nvSpPr>
              <p:spPr bwMode="auto">
                <a:xfrm>
                  <a:off x="2860112" y="6189989"/>
                  <a:ext cx="11839" cy="20718"/>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2147483647 h 14"/>
                    <a:gd name="T12" fmla="*/ 2147483647 w 9"/>
                    <a:gd name="T13" fmla="*/ 2147483647 h 14"/>
                    <a:gd name="T14" fmla="*/ 0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4"/>
                    <a:gd name="T47" fmla="*/ 9 w 9"/>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4">
                      <a:moveTo>
                        <a:pt x="7" y="8"/>
                      </a:moveTo>
                      <a:lnTo>
                        <a:pt x="7" y="6"/>
                      </a:lnTo>
                      <a:lnTo>
                        <a:pt x="7" y="2"/>
                      </a:lnTo>
                      <a:lnTo>
                        <a:pt x="6" y="0"/>
                      </a:lnTo>
                      <a:lnTo>
                        <a:pt x="5" y="0"/>
                      </a:lnTo>
                      <a:lnTo>
                        <a:pt x="2" y="2"/>
                      </a:lnTo>
                      <a:lnTo>
                        <a:pt x="1" y="5"/>
                      </a:lnTo>
                      <a:lnTo>
                        <a:pt x="0" y="8"/>
                      </a:lnTo>
                      <a:lnTo>
                        <a:pt x="1" y="12"/>
                      </a:lnTo>
                      <a:lnTo>
                        <a:pt x="2" y="13"/>
                      </a:lnTo>
                      <a:lnTo>
                        <a:pt x="5" y="14"/>
                      </a:lnTo>
                      <a:lnTo>
                        <a:pt x="7" y="13"/>
                      </a:lnTo>
                      <a:lnTo>
                        <a:pt x="9" y="12"/>
                      </a:lnTo>
                      <a:lnTo>
                        <a:pt x="9" y="11"/>
                      </a:lnTo>
                      <a:lnTo>
                        <a:pt x="7"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2" name="Freeform 1062"/>
                <p:cNvSpPr>
                  <a:spLocks/>
                </p:cNvSpPr>
                <p:nvPr/>
              </p:nvSpPr>
              <p:spPr bwMode="auto">
                <a:xfrm>
                  <a:off x="2837916" y="6170750"/>
                  <a:ext cx="11839" cy="20718"/>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0 h 14"/>
                    <a:gd name="T12" fmla="*/ 2147483647 w 9"/>
                    <a:gd name="T13" fmla="*/ 0 h 14"/>
                    <a:gd name="T14" fmla="*/ 0 w 9"/>
                    <a:gd name="T15" fmla="*/ 2147483647 h 14"/>
                    <a:gd name="T16" fmla="*/ 0 w 9"/>
                    <a:gd name="T17" fmla="*/ 2147483647 h 14"/>
                    <a:gd name="T18" fmla="*/ 0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2147483647 w 9"/>
                    <a:gd name="T33" fmla="*/ 2147483647 h 14"/>
                    <a:gd name="T34" fmla="*/ 2147483647 w 9"/>
                    <a:gd name="T35" fmla="*/ 2147483647 h 14"/>
                    <a:gd name="T36" fmla="*/ 2147483647 w 9"/>
                    <a:gd name="T37" fmla="*/ 2147483647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4"/>
                    <a:gd name="T59" fmla="*/ 9 w 9"/>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4">
                      <a:moveTo>
                        <a:pt x="8" y="7"/>
                      </a:moveTo>
                      <a:lnTo>
                        <a:pt x="8" y="7"/>
                      </a:lnTo>
                      <a:lnTo>
                        <a:pt x="7" y="2"/>
                      </a:lnTo>
                      <a:lnTo>
                        <a:pt x="6" y="0"/>
                      </a:lnTo>
                      <a:lnTo>
                        <a:pt x="4" y="0"/>
                      </a:lnTo>
                      <a:lnTo>
                        <a:pt x="2" y="0"/>
                      </a:lnTo>
                      <a:lnTo>
                        <a:pt x="0" y="1"/>
                      </a:lnTo>
                      <a:lnTo>
                        <a:pt x="0" y="5"/>
                      </a:lnTo>
                      <a:lnTo>
                        <a:pt x="0" y="9"/>
                      </a:lnTo>
                      <a:lnTo>
                        <a:pt x="2" y="13"/>
                      </a:lnTo>
                      <a:lnTo>
                        <a:pt x="3" y="14"/>
                      </a:lnTo>
                      <a:lnTo>
                        <a:pt x="6" y="14"/>
                      </a:lnTo>
                      <a:lnTo>
                        <a:pt x="8" y="12"/>
                      </a:lnTo>
                      <a:lnTo>
                        <a:pt x="9" y="9"/>
                      </a:lnTo>
                      <a:lnTo>
                        <a:pt x="8"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3" name="Freeform 1063"/>
                <p:cNvSpPr>
                  <a:spLocks/>
                </p:cNvSpPr>
                <p:nvPr/>
              </p:nvSpPr>
              <p:spPr bwMode="auto">
                <a:xfrm>
                  <a:off x="2857154" y="6188510"/>
                  <a:ext cx="11839" cy="20718"/>
                </a:xfrm>
                <a:custGeom>
                  <a:avLst/>
                  <a:gdLst>
                    <a:gd name="T0" fmla="*/ 2147483647 w 9"/>
                    <a:gd name="T1" fmla="*/ 2147483647 h 14"/>
                    <a:gd name="T2" fmla="*/ 2147483647 w 9"/>
                    <a:gd name="T3" fmla="*/ 2147483647 h 14"/>
                    <a:gd name="T4" fmla="*/ 2147483647 w 9"/>
                    <a:gd name="T5" fmla="*/ 2147483647 h 14"/>
                    <a:gd name="T6" fmla="*/ 2147483647 w 9"/>
                    <a:gd name="T7" fmla="*/ 2147483647 h 14"/>
                    <a:gd name="T8" fmla="*/ 2147483647 w 9"/>
                    <a:gd name="T9" fmla="*/ 0 h 14"/>
                    <a:gd name="T10" fmla="*/ 2147483647 w 9"/>
                    <a:gd name="T11" fmla="*/ 0 h 14"/>
                    <a:gd name="T12" fmla="*/ 2147483647 w 9"/>
                    <a:gd name="T13" fmla="*/ 0 h 14"/>
                    <a:gd name="T14" fmla="*/ 2147483647 w 9"/>
                    <a:gd name="T15" fmla="*/ 0 h 14"/>
                    <a:gd name="T16" fmla="*/ 2147483647 w 9"/>
                    <a:gd name="T17" fmla="*/ 2147483647 h 14"/>
                    <a:gd name="T18" fmla="*/ 2147483647 w 9"/>
                    <a:gd name="T19" fmla="*/ 2147483647 h 14"/>
                    <a:gd name="T20" fmla="*/ 0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2147483647 w 9"/>
                    <a:gd name="T33" fmla="*/ 2147483647 h 14"/>
                    <a:gd name="T34" fmla="*/ 2147483647 w 9"/>
                    <a:gd name="T35" fmla="*/ 2147483647 h 14"/>
                    <a:gd name="T36" fmla="*/ 2147483647 w 9"/>
                    <a:gd name="T37" fmla="*/ 2147483647 h 14"/>
                    <a:gd name="T38" fmla="*/ 2147483647 w 9"/>
                    <a:gd name="T39" fmla="*/ 2147483647 h 14"/>
                    <a:gd name="T40" fmla="*/ 2147483647 w 9"/>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4"/>
                    <a:gd name="T65" fmla="*/ 9 w 9"/>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4">
                      <a:moveTo>
                        <a:pt x="8" y="8"/>
                      </a:moveTo>
                      <a:lnTo>
                        <a:pt x="8" y="8"/>
                      </a:lnTo>
                      <a:lnTo>
                        <a:pt x="8" y="6"/>
                      </a:lnTo>
                      <a:lnTo>
                        <a:pt x="8" y="2"/>
                      </a:lnTo>
                      <a:lnTo>
                        <a:pt x="7" y="0"/>
                      </a:lnTo>
                      <a:lnTo>
                        <a:pt x="6" y="0"/>
                      </a:lnTo>
                      <a:lnTo>
                        <a:pt x="3" y="2"/>
                      </a:lnTo>
                      <a:lnTo>
                        <a:pt x="2" y="4"/>
                      </a:lnTo>
                      <a:lnTo>
                        <a:pt x="0" y="8"/>
                      </a:lnTo>
                      <a:lnTo>
                        <a:pt x="2" y="12"/>
                      </a:lnTo>
                      <a:lnTo>
                        <a:pt x="3" y="13"/>
                      </a:lnTo>
                      <a:lnTo>
                        <a:pt x="6" y="14"/>
                      </a:lnTo>
                      <a:lnTo>
                        <a:pt x="8" y="13"/>
                      </a:lnTo>
                      <a:lnTo>
                        <a:pt x="9" y="12"/>
                      </a:lnTo>
                      <a:lnTo>
                        <a:pt x="9" y="10"/>
                      </a:lnTo>
                      <a:lnTo>
                        <a:pt x="8"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4" name="Freeform 1064"/>
                <p:cNvSpPr>
                  <a:spLocks/>
                </p:cNvSpPr>
                <p:nvPr/>
              </p:nvSpPr>
              <p:spPr bwMode="auto">
                <a:xfrm>
                  <a:off x="2848274" y="6212183"/>
                  <a:ext cx="8879" cy="19239"/>
                </a:xfrm>
                <a:custGeom>
                  <a:avLst/>
                  <a:gdLst>
                    <a:gd name="T0" fmla="*/ 2147483647 w 6"/>
                    <a:gd name="T1" fmla="*/ 2147483647 h 13"/>
                    <a:gd name="T2" fmla="*/ 2147483647 w 6"/>
                    <a:gd name="T3" fmla="*/ 2147483647 h 13"/>
                    <a:gd name="T4" fmla="*/ 2147483647 w 6"/>
                    <a:gd name="T5" fmla="*/ 2147483647 h 13"/>
                    <a:gd name="T6" fmla="*/ 2147483647 w 6"/>
                    <a:gd name="T7" fmla="*/ 0 h 13"/>
                    <a:gd name="T8" fmla="*/ 2147483647 w 6"/>
                    <a:gd name="T9" fmla="*/ 2147483647 h 13"/>
                    <a:gd name="T10" fmla="*/ 0 w 6"/>
                    <a:gd name="T11" fmla="*/ 2147483647 h 13"/>
                    <a:gd name="T12" fmla="*/ 0 w 6"/>
                    <a:gd name="T13" fmla="*/ 2147483647 h 13"/>
                    <a:gd name="T14" fmla="*/ 0 w 6"/>
                    <a:gd name="T15" fmla="*/ 2147483647 h 13"/>
                    <a:gd name="T16" fmla="*/ 2147483647 w 6"/>
                    <a:gd name="T17" fmla="*/ 2147483647 h 13"/>
                    <a:gd name="T18" fmla="*/ 2147483647 w 6"/>
                    <a:gd name="T19" fmla="*/ 2147483647 h 13"/>
                    <a:gd name="T20" fmla="*/ 2147483647 w 6"/>
                    <a:gd name="T21" fmla="*/ 2147483647 h 13"/>
                    <a:gd name="T22" fmla="*/ 2147483647 w 6"/>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3"/>
                    <a:gd name="T38" fmla="*/ 6 w 6"/>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3">
                      <a:moveTo>
                        <a:pt x="5" y="9"/>
                      </a:moveTo>
                      <a:lnTo>
                        <a:pt x="6" y="4"/>
                      </a:lnTo>
                      <a:lnTo>
                        <a:pt x="6" y="1"/>
                      </a:lnTo>
                      <a:lnTo>
                        <a:pt x="4" y="0"/>
                      </a:lnTo>
                      <a:lnTo>
                        <a:pt x="1" y="3"/>
                      </a:lnTo>
                      <a:lnTo>
                        <a:pt x="0" y="6"/>
                      </a:lnTo>
                      <a:lnTo>
                        <a:pt x="0" y="10"/>
                      </a:lnTo>
                      <a:lnTo>
                        <a:pt x="0" y="11"/>
                      </a:lnTo>
                      <a:lnTo>
                        <a:pt x="3" y="13"/>
                      </a:lnTo>
                      <a:lnTo>
                        <a:pt x="4" y="13"/>
                      </a:lnTo>
                      <a:lnTo>
                        <a:pt x="5" y="12"/>
                      </a:lnTo>
                      <a:lnTo>
                        <a:pt x="5"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5" name="Freeform 1065"/>
                <p:cNvSpPr>
                  <a:spLocks/>
                </p:cNvSpPr>
                <p:nvPr/>
              </p:nvSpPr>
              <p:spPr bwMode="auto">
                <a:xfrm>
                  <a:off x="2919308" y="6314297"/>
                  <a:ext cx="14799" cy="10359"/>
                </a:xfrm>
                <a:custGeom>
                  <a:avLst/>
                  <a:gdLst>
                    <a:gd name="T0" fmla="*/ 2147483647 w 11"/>
                    <a:gd name="T1" fmla="*/ 2147483647 h 7"/>
                    <a:gd name="T2" fmla="*/ 2147483647 w 11"/>
                    <a:gd name="T3" fmla="*/ 0 h 7"/>
                    <a:gd name="T4" fmla="*/ 2147483647 w 11"/>
                    <a:gd name="T5" fmla="*/ 0 h 7"/>
                    <a:gd name="T6" fmla="*/ 0 w 11"/>
                    <a:gd name="T7" fmla="*/ 0 h 7"/>
                    <a:gd name="T8" fmla="*/ 0 w 11"/>
                    <a:gd name="T9" fmla="*/ 2147483647 h 7"/>
                    <a:gd name="T10" fmla="*/ 0 w 11"/>
                    <a:gd name="T11" fmla="*/ 2147483647 h 7"/>
                    <a:gd name="T12" fmla="*/ 2147483647 w 11"/>
                    <a:gd name="T13" fmla="*/ 2147483647 h 7"/>
                    <a:gd name="T14" fmla="*/ 2147483647 w 11"/>
                    <a:gd name="T15" fmla="*/ 2147483647 h 7"/>
                    <a:gd name="T16" fmla="*/ 2147483647 w 11"/>
                    <a:gd name="T17" fmla="*/ 2147483647 h 7"/>
                    <a:gd name="T18" fmla="*/ 2147483647 w 11"/>
                    <a:gd name="T19" fmla="*/ 2147483647 h 7"/>
                    <a:gd name="T20" fmla="*/ 2147483647 w 11"/>
                    <a:gd name="T21" fmla="*/ 2147483647 h 7"/>
                    <a:gd name="T22" fmla="*/ 2147483647 w 11"/>
                    <a:gd name="T23" fmla="*/ 2147483647 h 7"/>
                    <a:gd name="T24" fmla="*/ 2147483647 w 11"/>
                    <a:gd name="T25" fmla="*/ 2147483647 h 7"/>
                    <a:gd name="T26" fmla="*/ 2147483647 w 11"/>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7"/>
                    <a:gd name="T44" fmla="*/ 11 w 11"/>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7">
                      <a:moveTo>
                        <a:pt x="9" y="2"/>
                      </a:moveTo>
                      <a:lnTo>
                        <a:pt x="5" y="0"/>
                      </a:lnTo>
                      <a:lnTo>
                        <a:pt x="2" y="0"/>
                      </a:lnTo>
                      <a:lnTo>
                        <a:pt x="0" y="0"/>
                      </a:lnTo>
                      <a:lnTo>
                        <a:pt x="0" y="2"/>
                      </a:lnTo>
                      <a:lnTo>
                        <a:pt x="0" y="4"/>
                      </a:lnTo>
                      <a:lnTo>
                        <a:pt x="1" y="6"/>
                      </a:lnTo>
                      <a:lnTo>
                        <a:pt x="2" y="6"/>
                      </a:lnTo>
                      <a:lnTo>
                        <a:pt x="6" y="7"/>
                      </a:lnTo>
                      <a:lnTo>
                        <a:pt x="9" y="7"/>
                      </a:lnTo>
                      <a:lnTo>
                        <a:pt x="11" y="6"/>
                      </a:lnTo>
                      <a:lnTo>
                        <a:pt x="11" y="4"/>
                      </a:lnTo>
                      <a:lnTo>
                        <a:pt x="11" y="2"/>
                      </a:lnTo>
                      <a:lnTo>
                        <a:pt x="9"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6" name="Freeform 1066"/>
                <p:cNvSpPr>
                  <a:spLocks/>
                </p:cNvSpPr>
                <p:nvPr/>
              </p:nvSpPr>
              <p:spPr bwMode="auto">
                <a:xfrm>
                  <a:off x="2848273" y="6210706"/>
                  <a:ext cx="7400" cy="19238"/>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0 h 13"/>
                    <a:gd name="T10" fmla="*/ 2147483647 w 6"/>
                    <a:gd name="T11" fmla="*/ 0 h 13"/>
                    <a:gd name="T12" fmla="*/ 2147483647 w 6"/>
                    <a:gd name="T13" fmla="*/ 2147483647 h 13"/>
                    <a:gd name="T14" fmla="*/ 0 w 6"/>
                    <a:gd name="T15" fmla="*/ 2147483647 h 13"/>
                    <a:gd name="T16" fmla="*/ 0 w 6"/>
                    <a:gd name="T17" fmla="*/ 2147483647 h 13"/>
                    <a:gd name="T18" fmla="*/ 0 w 6"/>
                    <a:gd name="T19" fmla="*/ 2147483647 h 13"/>
                    <a:gd name="T20" fmla="*/ 2147483647 w 6"/>
                    <a:gd name="T21" fmla="*/ 2147483647 h 13"/>
                    <a:gd name="T22" fmla="*/ 2147483647 w 6"/>
                    <a:gd name="T23" fmla="*/ 2147483647 h 13"/>
                    <a:gd name="T24" fmla="*/ 2147483647 w 6"/>
                    <a:gd name="T25" fmla="*/ 2147483647 h 13"/>
                    <a:gd name="T26" fmla="*/ 2147483647 w 6"/>
                    <a:gd name="T27" fmla="*/ 2147483647 h 13"/>
                    <a:gd name="T28" fmla="*/ 2147483647 w 6"/>
                    <a:gd name="T29" fmla="*/ 2147483647 h 13"/>
                    <a:gd name="T30" fmla="*/ 2147483647 w 6"/>
                    <a:gd name="T31" fmla="*/ 2147483647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3"/>
                    <a:gd name="T50" fmla="*/ 6 w 6"/>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3">
                      <a:moveTo>
                        <a:pt x="5" y="8"/>
                      </a:moveTo>
                      <a:lnTo>
                        <a:pt x="5" y="8"/>
                      </a:lnTo>
                      <a:lnTo>
                        <a:pt x="6" y="4"/>
                      </a:lnTo>
                      <a:lnTo>
                        <a:pt x="6" y="1"/>
                      </a:lnTo>
                      <a:lnTo>
                        <a:pt x="4" y="0"/>
                      </a:lnTo>
                      <a:lnTo>
                        <a:pt x="1" y="2"/>
                      </a:lnTo>
                      <a:lnTo>
                        <a:pt x="0" y="6"/>
                      </a:lnTo>
                      <a:lnTo>
                        <a:pt x="0" y="10"/>
                      </a:lnTo>
                      <a:lnTo>
                        <a:pt x="0" y="11"/>
                      </a:lnTo>
                      <a:lnTo>
                        <a:pt x="2" y="13"/>
                      </a:lnTo>
                      <a:lnTo>
                        <a:pt x="4" y="13"/>
                      </a:lnTo>
                      <a:lnTo>
                        <a:pt x="5" y="12"/>
                      </a:lnTo>
                      <a:lnTo>
                        <a:pt x="5"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7" name="Freeform 1067"/>
                <p:cNvSpPr>
                  <a:spLocks/>
                </p:cNvSpPr>
                <p:nvPr/>
              </p:nvSpPr>
              <p:spPr bwMode="auto">
                <a:xfrm>
                  <a:off x="2917827" y="6312817"/>
                  <a:ext cx="14799" cy="10360"/>
                </a:xfrm>
                <a:custGeom>
                  <a:avLst/>
                  <a:gdLst>
                    <a:gd name="T0" fmla="*/ 2147483647 w 11"/>
                    <a:gd name="T1" fmla="*/ 2147483647 h 7"/>
                    <a:gd name="T2" fmla="*/ 2147483647 w 11"/>
                    <a:gd name="T3" fmla="*/ 2147483647 h 7"/>
                    <a:gd name="T4" fmla="*/ 2147483647 w 11"/>
                    <a:gd name="T5" fmla="*/ 0 h 7"/>
                    <a:gd name="T6" fmla="*/ 2147483647 w 11"/>
                    <a:gd name="T7" fmla="*/ 0 h 7"/>
                    <a:gd name="T8" fmla="*/ 0 w 11"/>
                    <a:gd name="T9" fmla="*/ 0 h 7"/>
                    <a:gd name="T10" fmla="*/ 0 w 11"/>
                    <a:gd name="T11" fmla="*/ 0 h 7"/>
                    <a:gd name="T12" fmla="*/ 0 w 11"/>
                    <a:gd name="T13" fmla="*/ 2147483647 h 7"/>
                    <a:gd name="T14" fmla="*/ 0 w 11"/>
                    <a:gd name="T15" fmla="*/ 2147483647 h 7"/>
                    <a:gd name="T16" fmla="*/ 2147483647 w 11"/>
                    <a:gd name="T17" fmla="*/ 2147483647 h 7"/>
                    <a:gd name="T18" fmla="*/ 2147483647 w 11"/>
                    <a:gd name="T19" fmla="*/ 2147483647 h 7"/>
                    <a:gd name="T20" fmla="*/ 2147483647 w 11"/>
                    <a:gd name="T21" fmla="*/ 2147483647 h 7"/>
                    <a:gd name="T22" fmla="*/ 2147483647 w 11"/>
                    <a:gd name="T23" fmla="*/ 2147483647 h 7"/>
                    <a:gd name="T24" fmla="*/ 2147483647 w 11"/>
                    <a:gd name="T25" fmla="*/ 2147483647 h 7"/>
                    <a:gd name="T26" fmla="*/ 2147483647 w 11"/>
                    <a:gd name="T27" fmla="*/ 2147483647 h 7"/>
                    <a:gd name="T28" fmla="*/ 2147483647 w 11"/>
                    <a:gd name="T29" fmla="*/ 2147483647 h 7"/>
                    <a:gd name="T30" fmla="*/ 2147483647 w 11"/>
                    <a:gd name="T31" fmla="*/ 2147483647 h 7"/>
                    <a:gd name="T32" fmla="*/ 2147483647 w 11"/>
                    <a:gd name="T33" fmla="*/ 2147483647 h 7"/>
                    <a:gd name="T34" fmla="*/ 2147483647 w 11"/>
                    <a:gd name="T35" fmla="*/ 2147483647 h 7"/>
                    <a:gd name="T36" fmla="*/ 2147483647 w 11"/>
                    <a:gd name="T37" fmla="*/ 2147483647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7"/>
                    <a:gd name="T59" fmla="*/ 11 w 11"/>
                    <a:gd name="T60" fmla="*/ 7 h 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7">
                      <a:moveTo>
                        <a:pt x="9" y="2"/>
                      </a:moveTo>
                      <a:lnTo>
                        <a:pt x="9" y="2"/>
                      </a:lnTo>
                      <a:lnTo>
                        <a:pt x="5" y="0"/>
                      </a:lnTo>
                      <a:lnTo>
                        <a:pt x="2" y="0"/>
                      </a:lnTo>
                      <a:lnTo>
                        <a:pt x="0" y="0"/>
                      </a:lnTo>
                      <a:lnTo>
                        <a:pt x="0" y="2"/>
                      </a:lnTo>
                      <a:lnTo>
                        <a:pt x="0" y="3"/>
                      </a:lnTo>
                      <a:lnTo>
                        <a:pt x="1" y="6"/>
                      </a:lnTo>
                      <a:lnTo>
                        <a:pt x="2" y="6"/>
                      </a:lnTo>
                      <a:lnTo>
                        <a:pt x="6" y="7"/>
                      </a:lnTo>
                      <a:lnTo>
                        <a:pt x="9" y="7"/>
                      </a:lnTo>
                      <a:lnTo>
                        <a:pt x="11" y="6"/>
                      </a:lnTo>
                      <a:lnTo>
                        <a:pt x="11" y="3"/>
                      </a:lnTo>
                      <a:lnTo>
                        <a:pt x="11" y="2"/>
                      </a:lnTo>
                      <a:lnTo>
                        <a:pt x="9"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8" name="Freeform 1068"/>
                <p:cNvSpPr>
                  <a:spLocks/>
                </p:cNvSpPr>
                <p:nvPr/>
              </p:nvSpPr>
              <p:spPr bwMode="auto">
                <a:xfrm>
                  <a:off x="2944469" y="6300980"/>
                  <a:ext cx="13318" cy="20718"/>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2147483647 w 10"/>
                    <a:gd name="T9" fmla="*/ 0 h 14"/>
                    <a:gd name="T10" fmla="*/ 2147483647 w 10"/>
                    <a:gd name="T11" fmla="*/ 0 h 14"/>
                    <a:gd name="T12" fmla="*/ 2147483647 w 10"/>
                    <a:gd name="T13" fmla="*/ 2147483647 h 14"/>
                    <a:gd name="T14" fmla="*/ 0 w 10"/>
                    <a:gd name="T15" fmla="*/ 2147483647 h 14"/>
                    <a:gd name="T16" fmla="*/ 0 w 10"/>
                    <a:gd name="T17" fmla="*/ 2147483647 h 14"/>
                    <a:gd name="T18" fmla="*/ 2147483647 w 10"/>
                    <a:gd name="T19" fmla="*/ 2147483647 h 14"/>
                    <a:gd name="T20" fmla="*/ 2147483647 w 10"/>
                    <a:gd name="T21" fmla="*/ 2147483647 h 14"/>
                    <a:gd name="T22" fmla="*/ 2147483647 w 10"/>
                    <a:gd name="T23" fmla="*/ 2147483647 h 14"/>
                    <a:gd name="T24" fmla="*/ 2147483647 w 10"/>
                    <a:gd name="T25" fmla="*/ 2147483647 h 14"/>
                    <a:gd name="T26" fmla="*/ 2147483647 w 10"/>
                    <a:gd name="T27" fmla="*/ 2147483647 h 14"/>
                    <a:gd name="T28" fmla="*/ 2147483647 w 10"/>
                    <a:gd name="T29" fmla="*/ 2147483647 h 14"/>
                    <a:gd name="T30" fmla="*/ 2147483647 w 10"/>
                    <a:gd name="T31" fmla="*/ 2147483647 h 14"/>
                    <a:gd name="T32" fmla="*/ 2147483647 w 10"/>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4"/>
                    <a:gd name="T53" fmla="*/ 10 w 10"/>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4">
                      <a:moveTo>
                        <a:pt x="8" y="8"/>
                      </a:moveTo>
                      <a:lnTo>
                        <a:pt x="6" y="5"/>
                      </a:lnTo>
                      <a:lnTo>
                        <a:pt x="5" y="2"/>
                      </a:lnTo>
                      <a:lnTo>
                        <a:pt x="4" y="1"/>
                      </a:lnTo>
                      <a:lnTo>
                        <a:pt x="4" y="0"/>
                      </a:lnTo>
                      <a:lnTo>
                        <a:pt x="2" y="0"/>
                      </a:lnTo>
                      <a:lnTo>
                        <a:pt x="1" y="2"/>
                      </a:lnTo>
                      <a:lnTo>
                        <a:pt x="0" y="4"/>
                      </a:lnTo>
                      <a:lnTo>
                        <a:pt x="0" y="7"/>
                      </a:lnTo>
                      <a:lnTo>
                        <a:pt x="1" y="9"/>
                      </a:lnTo>
                      <a:lnTo>
                        <a:pt x="2" y="11"/>
                      </a:lnTo>
                      <a:lnTo>
                        <a:pt x="5" y="13"/>
                      </a:lnTo>
                      <a:lnTo>
                        <a:pt x="8" y="14"/>
                      </a:lnTo>
                      <a:lnTo>
                        <a:pt x="10" y="14"/>
                      </a:lnTo>
                      <a:lnTo>
                        <a:pt x="10" y="13"/>
                      </a:lnTo>
                      <a:lnTo>
                        <a:pt x="10" y="11"/>
                      </a:lnTo>
                      <a:lnTo>
                        <a:pt x="8"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79" name="Freeform 1069"/>
                <p:cNvSpPr>
                  <a:spLocks/>
                </p:cNvSpPr>
                <p:nvPr/>
              </p:nvSpPr>
              <p:spPr bwMode="auto">
                <a:xfrm>
                  <a:off x="3016979" y="6342412"/>
                  <a:ext cx="22199" cy="13319"/>
                </a:xfrm>
                <a:custGeom>
                  <a:avLst/>
                  <a:gdLst>
                    <a:gd name="T0" fmla="*/ 2147483647 w 16"/>
                    <a:gd name="T1" fmla="*/ 2147483647 h 9"/>
                    <a:gd name="T2" fmla="*/ 2147483647 w 16"/>
                    <a:gd name="T3" fmla="*/ 2147483647 h 9"/>
                    <a:gd name="T4" fmla="*/ 2147483647 w 16"/>
                    <a:gd name="T5" fmla="*/ 2147483647 h 9"/>
                    <a:gd name="T6" fmla="*/ 2147483647 w 16"/>
                    <a:gd name="T7" fmla="*/ 2147483647 h 9"/>
                    <a:gd name="T8" fmla="*/ 2147483647 w 16"/>
                    <a:gd name="T9" fmla="*/ 2147483647 h 9"/>
                    <a:gd name="T10" fmla="*/ 2147483647 w 16"/>
                    <a:gd name="T11" fmla="*/ 2147483647 h 9"/>
                    <a:gd name="T12" fmla="*/ 2147483647 w 16"/>
                    <a:gd name="T13" fmla="*/ 0 h 9"/>
                    <a:gd name="T14" fmla="*/ 2147483647 w 16"/>
                    <a:gd name="T15" fmla="*/ 2147483647 h 9"/>
                    <a:gd name="T16" fmla="*/ 2147483647 w 16"/>
                    <a:gd name="T17" fmla="*/ 2147483647 h 9"/>
                    <a:gd name="T18" fmla="*/ 0 w 16"/>
                    <a:gd name="T19" fmla="*/ 2147483647 h 9"/>
                    <a:gd name="T20" fmla="*/ 0 w 16"/>
                    <a:gd name="T21" fmla="*/ 2147483647 h 9"/>
                    <a:gd name="T22" fmla="*/ 2147483647 w 16"/>
                    <a:gd name="T23" fmla="*/ 2147483647 h 9"/>
                    <a:gd name="T24" fmla="*/ 2147483647 w 16"/>
                    <a:gd name="T25" fmla="*/ 2147483647 h 9"/>
                    <a:gd name="T26" fmla="*/ 2147483647 w 16"/>
                    <a:gd name="T27" fmla="*/ 2147483647 h 9"/>
                    <a:gd name="T28" fmla="*/ 2147483647 w 16"/>
                    <a:gd name="T29" fmla="*/ 2147483647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9"/>
                    <a:gd name="T47" fmla="*/ 16 w 16"/>
                    <a:gd name="T48" fmla="*/ 9 h 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9">
                      <a:moveTo>
                        <a:pt x="9" y="9"/>
                      </a:moveTo>
                      <a:lnTo>
                        <a:pt x="14" y="8"/>
                      </a:lnTo>
                      <a:lnTo>
                        <a:pt x="16" y="8"/>
                      </a:lnTo>
                      <a:lnTo>
                        <a:pt x="16" y="6"/>
                      </a:lnTo>
                      <a:lnTo>
                        <a:pt x="13" y="2"/>
                      </a:lnTo>
                      <a:lnTo>
                        <a:pt x="8" y="1"/>
                      </a:lnTo>
                      <a:lnTo>
                        <a:pt x="5" y="0"/>
                      </a:lnTo>
                      <a:lnTo>
                        <a:pt x="3" y="1"/>
                      </a:lnTo>
                      <a:lnTo>
                        <a:pt x="2" y="2"/>
                      </a:lnTo>
                      <a:lnTo>
                        <a:pt x="0" y="5"/>
                      </a:lnTo>
                      <a:lnTo>
                        <a:pt x="0" y="7"/>
                      </a:lnTo>
                      <a:lnTo>
                        <a:pt x="3" y="8"/>
                      </a:lnTo>
                      <a:lnTo>
                        <a:pt x="7" y="9"/>
                      </a:lnTo>
                      <a:lnTo>
                        <a:pt x="10" y="9"/>
                      </a:lnTo>
                      <a:lnTo>
                        <a:pt x="9"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0" name="Freeform 1070"/>
                <p:cNvSpPr>
                  <a:spLocks/>
                </p:cNvSpPr>
                <p:nvPr/>
              </p:nvSpPr>
              <p:spPr bwMode="auto">
                <a:xfrm>
                  <a:off x="2942985" y="6298017"/>
                  <a:ext cx="13319" cy="22199"/>
                </a:xfrm>
                <a:custGeom>
                  <a:avLst/>
                  <a:gdLst>
                    <a:gd name="T0" fmla="*/ 2147483647 w 10"/>
                    <a:gd name="T1" fmla="*/ 2147483647 h 15"/>
                    <a:gd name="T2" fmla="*/ 2147483647 w 10"/>
                    <a:gd name="T3" fmla="*/ 2147483647 h 15"/>
                    <a:gd name="T4" fmla="*/ 2147483647 w 10"/>
                    <a:gd name="T5" fmla="*/ 2147483647 h 15"/>
                    <a:gd name="T6" fmla="*/ 2147483647 w 10"/>
                    <a:gd name="T7" fmla="*/ 2147483647 h 15"/>
                    <a:gd name="T8" fmla="*/ 2147483647 w 10"/>
                    <a:gd name="T9" fmla="*/ 2147483647 h 15"/>
                    <a:gd name="T10" fmla="*/ 2147483647 w 10"/>
                    <a:gd name="T11" fmla="*/ 0 h 15"/>
                    <a:gd name="T12" fmla="*/ 2147483647 w 10"/>
                    <a:gd name="T13" fmla="*/ 0 h 15"/>
                    <a:gd name="T14" fmla="*/ 2147483647 w 10"/>
                    <a:gd name="T15" fmla="*/ 0 h 15"/>
                    <a:gd name="T16" fmla="*/ 2147483647 w 10"/>
                    <a:gd name="T17" fmla="*/ 2147483647 h 15"/>
                    <a:gd name="T18" fmla="*/ 0 w 10"/>
                    <a:gd name="T19" fmla="*/ 2147483647 h 15"/>
                    <a:gd name="T20" fmla="*/ 0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2147483647 w 10"/>
                    <a:gd name="T41" fmla="*/ 2147483647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
                    <a:gd name="T64" fmla="*/ 0 h 15"/>
                    <a:gd name="T65" fmla="*/ 10 w 10"/>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 h="15">
                      <a:moveTo>
                        <a:pt x="7" y="9"/>
                      </a:moveTo>
                      <a:lnTo>
                        <a:pt x="7" y="9"/>
                      </a:lnTo>
                      <a:lnTo>
                        <a:pt x="6" y="6"/>
                      </a:lnTo>
                      <a:lnTo>
                        <a:pt x="5" y="3"/>
                      </a:lnTo>
                      <a:lnTo>
                        <a:pt x="3" y="2"/>
                      </a:lnTo>
                      <a:lnTo>
                        <a:pt x="3" y="0"/>
                      </a:lnTo>
                      <a:lnTo>
                        <a:pt x="2" y="0"/>
                      </a:lnTo>
                      <a:lnTo>
                        <a:pt x="1" y="3"/>
                      </a:lnTo>
                      <a:lnTo>
                        <a:pt x="0" y="5"/>
                      </a:lnTo>
                      <a:lnTo>
                        <a:pt x="0" y="7"/>
                      </a:lnTo>
                      <a:lnTo>
                        <a:pt x="1" y="10"/>
                      </a:lnTo>
                      <a:lnTo>
                        <a:pt x="2" y="12"/>
                      </a:lnTo>
                      <a:lnTo>
                        <a:pt x="5" y="13"/>
                      </a:lnTo>
                      <a:lnTo>
                        <a:pt x="7" y="15"/>
                      </a:lnTo>
                      <a:lnTo>
                        <a:pt x="10" y="15"/>
                      </a:lnTo>
                      <a:lnTo>
                        <a:pt x="10" y="13"/>
                      </a:lnTo>
                      <a:lnTo>
                        <a:pt x="10" y="12"/>
                      </a:lnTo>
                      <a:lnTo>
                        <a:pt x="7"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1" name="Freeform 1071"/>
                <p:cNvSpPr>
                  <a:spLocks/>
                </p:cNvSpPr>
                <p:nvPr/>
              </p:nvSpPr>
              <p:spPr bwMode="auto">
                <a:xfrm>
                  <a:off x="3015503" y="6340936"/>
                  <a:ext cx="20718" cy="13319"/>
                </a:xfrm>
                <a:custGeom>
                  <a:avLst/>
                  <a:gdLst>
                    <a:gd name="T0" fmla="*/ 2147483647 w 15"/>
                    <a:gd name="T1" fmla="*/ 2147483647 h 9"/>
                    <a:gd name="T2" fmla="*/ 2147483647 w 15"/>
                    <a:gd name="T3" fmla="*/ 2147483647 h 9"/>
                    <a:gd name="T4" fmla="*/ 2147483647 w 15"/>
                    <a:gd name="T5" fmla="*/ 2147483647 h 9"/>
                    <a:gd name="T6" fmla="*/ 2147483647 w 15"/>
                    <a:gd name="T7" fmla="*/ 2147483647 h 9"/>
                    <a:gd name="T8" fmla="*/ 2147483647 w 15"/>
                    <a:gd name="T9" fmla="*/ 2147483647 h 9"/>
                    <a:gd name="T10" fmla="*/ 2147483647 w 15"/>
                    <a:gd name="T11" fmla="*/ 2147483647 h 9"/>
                    <a:gd name="T12" fmla="*/ 2147483647 w 15"/>
                    <a:gd name="T13" fmla="*/ 2147483647 h 9"/>
                    <a:gd name="T14" fmla="*/ 2147483647 w 15"/>
                    <a:gd name="T15" fmla="*/ 2147483647 h 9"/>
                    <a:gd name="T16" fmla="*/ 2147483647 w 15"/>
                    <a:gd name="T17" fmla="*/ 0 h 9"/>
                    <a:gd name="T18" fmla="*/ 2147483647 w 15"/>
                    <a:gd name="T19" fmla="*/ 2147483647 h 9"/>
                    <a:gd name="T20" fmla="*/ 2147483647 w 15"/>
                    <a:gd name="T21" fmla="*/ 2147483647 h 9"/>
                    <a:gd name="T22" fmla="*/ 0 w 15"/>
                    <a:gd name="T23" fmla="*/ 2147483647 h 9"/>
                    <a:gd name="T24" fmla="*/ 0 w 15"/>
                    <a:gd name="T25" fmla="*/ 2147483647 h 9"/>
                    <a:gd name="T26" fmla="*/ 0 w 15"/>
                    <a:gd name="T27" fmla="*/ 2147483647 h 9"/>
                    <a:gd name="T28" fmla="*/ 2147483647 w 15"/>
                    <a:gd name="T29" fmla="*/ 2147483647 h 9"/>
                    <a:gd name="T30" fmla="*/ 2147483647 w 15"/>
                    <a:gd name="T31" fmla="*/ 2147483647 h 9"/>
                    <a:gd name="T32" fmla="*/ 2147483647 w 15"/>
                    <a:gd name="T33" fmla="*/ 2147483647 h 9"/>
                    <a:gd name="T34" fmla="*/ 2147483647 w 15"/>
                    <a:gd name="T35" fmla="*/ 2147483647 h 9"/>
                    <a:gd name="T36" fmla="*/ 2147483647 w 15"/>
                    <a:gd name="T37" fmla="*/ 2147483647 h 9"/>
                    <a:gd name="T38" fmla="*/ 2147483647 w 15"/>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
                    <a:gd name="T61" fmla="*/ 0 h 9"/>
                    <a:gd name="T62" fmla="*/ 15 w 15"/>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 h="9">
                      <a:moveTo>
                        <a:pt x="9" y="9"/>
                      </a:moveTo>
                      <a:lnTo>
                        <a:pt x="9" y="9"/>
                      </a:lnTo>
                      <a:lnTo>
                        <a:pt x="14" y="8"/>
                      </a:lnTo>
                      <a:lnTo>
                        <a:pt x="15" y="8"/>
                      </a:lnTo>
                      <a:lnTo>
                        <a:pt x="15" y="6"/>
                      </a:lnTo>
                      <a:lnTo>
                        <a:pt x="13" y="2"/>
                      </a:lnTo>
                      <a:lnTo>
                        <a:pt x="8" y="1"/>
                      </a:lnTo>
                      <a:lnTo>
                        <a:pt x="5" y="0"/>
                      </a:lnTo>
                      <a:lnTo>
                        <a:pt x="3" y="1"/>
                      </a:lnTo>
                      <a:lnTo>
                        <a:pt x="1" y="2"/>
                      </a:lnTo>
                      <a:lnTo>
                        <a:pt x="0" y="5"/>
                      </a:lnTo>
                      <a:lnTo>
                        <a:pt x="0" y="7"/>
                      </a:lnTo>
                      <a:lnTo>
                        <a:pt x="3" y="8"/>
                      </a:lnTo>
                      <a:lnTo>
                        <a:pt x="6" y="9"/>
                      </a:lnTo>
                      <a:lnTo>
                        <a:pt x="10" y="9"/>
                      </a:lnTo>
                      <a:lnTo>
                        <a:pt x="9"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2" name="Freeform 1072"/>
                <p:cNvSpPr>
                  <a:spLocks/>
                </p:cNvSpPr>
                <p:nvPr/>
              </p:nvSpPr>
              <p:spPr bwMode="auto">
                <a:xfrm>
                  <a:off x="3040657" y="6376453"/>
                  <a:ext cx="8879" cy="7399"/>
                </a:xfrm>
                <a:custGeom>
                  <a:avLst/>
                  <a:gdLst>
                    <a:gd name="T0" fmla="*/ 2147483647 w 7"/>
                    <a:gd name="T1" fmla="*/ 2147483647 h 5"/>
                    <a:gd name="T2" fmla="*/ 0 w 7"/>
                    <a:gd name="T3" fmla="*/ 2147483647 h 5"/>
                    <a:gd name="T4" fmla="*/ 0 w 7"/>
                    <a:gd name="T5" fmla="*/ 2147483647 h 5"/>
                    <a:gd name="T6" fmla="*/ 2147483647 w 7"/>
                    <a:gd name="T7" fmla="*/ 0 h 5"/>
                    <a:gd name="T8" fmla="*/ 2147483647 w 7"/>
                    <a:gd name="T9" fmla="*/ 0 h 5"/>
                    <a:gd name="T10" fmla="*/ 2147483647 w 7"/>
                    <a:gd name="T11" fmla="*/ 2147483647 h 5"/>
                    <a:gd name="T12" fmla="*/ 2147483647 w 7"/>
                    <a:gd name="T13" fmla="*/ 2147483647 h 5"/>
                    <a:gd name="T14" fmla="*/ 2147483647 w 7"/>
                    <a:gd name="T15" fmla="*/ 2147483647 h 5"/>
                    <a:gd name="T16" fmla="*/ 2147483647 w 7"/>
                    <a:gd name="T17" fmla="*/ 2147483647 h 5"/>
                    <a:gd name="T18" fmla="*/ 2147483647 w 7"/>
                    <a:gd name="T19" fmla="*/ 2147483647 h 5"/>
                    <a:gd name="T20" fmla="*/ 2147483647 w 7"/>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5"/>
                    <a:gd name="T35" fmla="*/ 7 w 7"/>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5">
                      <a:moveTo>
                        <a:pt x="1" y="4"/>
                      </a:moveTo>
                      <a:lnTo>
                        <a:pt x="0" y="3"/>
                      </a:lnTo>
                      <a:lnTo>
                        <a:pt x="0" y="2"/>
                      </a:lnTo>
                      <a:lnTo>
                        <a:pt x="1" y="0"/>
                      </a:lnTo>
                      <a:lnTo>
                        <a:pt x="4" y="0"/>
                      </a:lnTo>
                      <a:lnTo>
                        <a:pt x="5" y="1"/>
                      </a:lnTo>
                      <a:lnTo>
                        <a:pt x="7" y="2"/>
                      </a:lnTo>
                      <a:lnTo>
                        <a:pt x="7" y="4"/>
                      </a:lnTo>
                      <a:lnTo>
                        <a:pt x="6" y="5"/>
                      </a:lnTo>
                      <a:lnTo>
                        <a:pt x="4" y="5"/>
                      </a:lnTo>
                      <a:lnTo>
                        <a:pt x="1"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3" name="Freeform 1073"/>
                <p:cNvSpPr>
                  <a:spLocks/>
                </p:cNvSpPr>
                <p:nvPr/>
              </p:nvSpPr>
              <p:spPr bwMode="auto">
                <a:xfrm>
                  <a:off x="3011061" y="6364614"/>
                  <a:ext cx="14799" cy="8879"/>
                </a:xfrm>
                <a:custGeom>
                  <a:avLst/>
                  <a:gdLst>
                    <a:gd name="T0" fmla="*/ 2147483647 w 11"/>
                    <a:gd name="T1" fmla="*/ 2147483647 h 6"/>
                    <a:gd name="T2" fmla="*/ 2147483647 w 11"/>
                    <a:gd name="T3" fmla="*/ 2147483647 h 6"/>
                    <a:gd name="T4" fmla="*/ 2147483647 w 11"/>
                    <a:gd name="T5" fmla="*/ 2147483647 h 6"/>
                    <a:gd name="T6" fmla="*/ 2147483647 w 11"/>
                    <a:gd name="T7" fmla="*/ 2147483647 h 6"/>
                    <a:gd name="T8" fmla="*/ 2147483647 w 11"/>
                    <a:gd name="T9" fmla="*/ 2147483647 h 6"/>
                    <a:gd name="T10" fmla="*/ 2147483647 w 11"/>
                    <a:gd name="T11" fmla="*/ 2147483647 h 6"/>
                    <a:gd name="T12" fmla="*/ 2147483647 w 11"/>
                    <a:gd name="T13" fmla="*/ 2147483647 h 6"/>
                    <a:gd name="T14" fmla="*/ 0 w 11"/>
                    <a:gd name="T15" fmla="*/ 0 h 6"/>
                    <a:gd name="T16" fmla="*/ 2147483647 w 11"/>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
                    <a:gd name="T29" fmla="*/ 11 w 11"/>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
                      <a:moveTo>
                        <a:pt x="8" y="3"/>
                      </a:moveTo>
                      <a:lnTo>
                        <a:pt x="11" y="4"/>
                      </a:lnTo>
                      <a:lnTo>
                        <a:pt x="11" y="5"/>
                      </a:lnTo>
                      <a:lnTo>
                        <a:pt x="11" y="6"/>
                      </a:lnTo>
                      <a:lnTo>
                        <a:pt x="7" y="6"/>
                      </a:lnTo>
                      <a:lnTo>
                        <a:pt x="4" y="6"/>
                      </a:lnTo>
                      <a:lnTo>
                        <a:pt x="2" y="4"/>
                      </a:lnTo>
                      <a:lnTo>
                        <a:pt x="0" y="0"/>
                      </a:lnTo>
                      <a:lnTo>
                        <a:pt x="8"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4" name="Freeform 1074"/>
                <p:cNvSpPr>
                  <a:spLocks/>
                </p:cNvSpPr>
                <p:nvPr/>
              </p:nvSpPr>
              <p:spPr bwMode="auto">
                <a:xfrm>
                  <a:off x="3039180" y="6373493"/>
                  <a:ext cx="8879" cy="8879"/>
                </a:xfrm>
                <a:custGeom>
                  <a:avLst/>
                  <a:gdLst>
                    <a:gd name="T0" fmla="*/ 2147483647 w 7"/>
                    <a:gd name="T1" fmla="*/ 2147483647 h 6"/>
                    <a:gd name="T2" fmla="*/ 2147483647 w 7"/>
                    <a:gd name="T3" fmla="*/ 2147483647 h 6"/>
                    <a:gd name="T4" fmla="*/ 0 w 7"/>
                    <a:gd name="T5" fmla="*/ 2147483647 h 6"/>
                    <a:gd name="T6" fmla="*/ 0 w 7"/>
                    <a:gd name="T7" fmla="*/ 2147483647 h 6"/>
                    <a:gd name="T8" fmla="*/ 0 w 7"/>
                    <a:gd name="T9" fmla="*/ 2147483647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6"/>
                    <a:gd name="T47" fmla="*/ 7 w 7"/>
                    <a:gd name="T48" fmla="*/ 6 h 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6">
                      <a:moveTo>
                        <a:pt x="1" y="5"/>
                      </a:moveTo>
                      <a:lnTo>
                        <a:pt x="1" y="5"/>
                      </a:lnTo>
                      <a:lnTo>
                        <a:pt x="0" y="4"/>
                      </a:lnTo>
                      <a:lnTo>
                        <a:pt x="0" y="3"/>
                      </a:lnTo>
                      <a:lnTo>
                        <a:pt x="1" y="0"/>
                      </a:lnTo>
                      <a:lnTo>
                        <a:pt x="3" y="0"/>
                      </a:lnTo>
                      <a:lnTo>
                        <a:pt x="5" y="2"/>
                      </a:lnTo>
                      <a:lnTo>
                        <a:pt x="7" y="3"/>
                      </a:lnTo>
                      <a:lnTo>
                        <a:pt x="7" y="5"/>
                      </a:lnTo>
                      <a:lnTo>
                        <a:pt x="6" y="6"/>
                      </a:lnTo>
                      <a:lnTo>
                        <a:pt x="3" y="6"/>
                      </a:lnTo>
                      <a:lnTo>
                        <a:pt x="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5" name="Freeform 1075"/>
                <p:cNvSpPr>
                  <a:spLocks/>
                </p:cNvSpPr>
                <p:nvPr/>
              </p:nvSpPr>
              <p:spPr bwMode="auto">
                <a:xfrm>
                  <a:off x="3009580" y="6363134"/>
                  <a:ext cx="14799" cy="8879"/>
                </a:xfrm>
                <a:custGeom>
                  <a:avLst/>
                  <a:gdLst>
                    <a:gd name="T0" fmla="*/ 2147483647 w 10"/>
                    <a:gd name="T1" fmla="*/ 2147483647 h 6"/>
                    <a:gd name="T2" fmla="*/ 2147483647 w 10"/>
                    <a:gd name="T3" fmla="*/ 2147483647 h 6"/>
                    <a:gd name="T4" fmla="*/ 2147483647 w 10"/>
                    <a:gd name="T5" fmla="*/ 2147483647 h 6"/>
                    <a:gd name="T6" fmla="*/ 2147483647 w 10"/>
                    <a:gd name="T7" fmla="*/ 2147483647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0 w 10"/>
                    <a:gd name="T19" fmla="*/ 0 h 6"/>
                    <a:gd name="T20" fmla="*/ 0 w 10"/>
                    <a:gd name="T21" fmla="*/ 0 h 6"/>
                    <a:gd name="T22" fmla="*/ 2147483647 w 10"/>
                    <a:gd name="T23" fmla="*/ 2147483647 h 6"/>
                    <a:gd name="T24" fmla="*/ 2147483647 w 10"/>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8" y="3"/>
                      </a:moveTo>
                      <a:lnTo>
                        <a:pt x="8" y="3"/>
                      </a:lnTo>
                      <a:lnTo>
                        <a:pt x="10" y="4"/>
                      </a:lnTo>
                      <a:lnTo>
                        <a:pt x="10" y="5"/>
                      </a:lnTo>
                      <a:lnTo>
                        <a:pt x="10" y="6"/>
                      </a:lnTo>
                      <a:lnTo>
                        <a:pt x="7" y="6"/>
                      </a:lnTo>
                      <a:lnTo>
                        <a:pt x="4" y="6"/>
                      </a:lnTo>
                      <a:lnTo>
                        <a:pt x="1" y="4"/>
                      </a:lnTo>
                      <a:lnTo>
                        <a:pt x="0" y="0"/>
                      </a:lnTo>
                      <a:lnTo>
                        <a:pt x="8"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6" name="Freeform 1076"/>
                <p:cNvSpPr>
                  <a:spLocks/>
                </p:cNvSpPr>
                <p:nvPr/>
              </p:nvSpPr>
              <p:spPr bwMode="auto">
                <a:xfrm>
                  <a:off x="2985901" y="6360174"/>
                  <a:ext cx="10359" cy="8879"/>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0 w 8"/>
                    <a:gd name="T11" fmla="*/ 2147483647 h 6"/>
                    <a:gd name="T12" fmla="*/ 2147483647 w 8"/>
                    <a:gd name="T13" fmla="*/ 2147483647 h 6"/>
                    <a:gd name="T14" fmla="*/ 2147483647 w 8"/>
                    <a:gd name="T15" fmla="*/ 0 h 6"/>
                    <a:gd name="T16" fmla="*/ 2147483647 w 8"/>
                    <a:gd name="T17" fmla="*/ 2147483647 h 6"/>
                    <a:gd name="T18" fmla="*/ 2147483647 w 8"/>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7" y="2"/>
                      </a:moveTo>
                      <a:lnTo>
                        <a:pt x="8" y="3"/>
                      </a:lnTo>
                      <a:lnTo>
                        <a:pt x="8" y="5"/>
                      </a:lnTo>
                      <a:lnTo>
                        <a:pt x="6" y="6"/>
                      </a:lnTo>
                      <a:lnTo>
                        <a:pt x="3" y="5"/>
                      </a:lnTo>
                      <a:lnTo>
                        <a:pt x="0" y="3"/>
                      </a:lnTo>
                      <a:lnTo>
                        <a:pt x="2" y="1"/>
                      </a:lnTo>
                      <a:lnTo>
                        <a:pt x="3" y="0"/>
                      </a:lnTo>
                      <a:lnTo>
                        <a:pt x="4" y="1"/>
                      </a:lnTo>
                      <a:lnTo>
                        <a:pt x="7"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7" name="Freeform 1077"/>
                <p:cNvSpPr>
                  <a:spLocks/>
                </p:cNvSpPr>
                <p:nvPr/>
              </p:nvSpPr>
              <p:spPr bwMode="auto">
                <a:xfrm>
                  <a:off x="2953344" y="6352775"/>
                  <a:ext cx="10359" cy="7399"/>
                </a:xfrm>
                <a:custGeom>
                  <a:avLst/>
                  <a:gdLst>
                    <a:gd name="T0" fmla="*/ 2147483647 w 8"/>
                    <a:gd name="T1" fmla="*/ 2147483647 h 5"/>
                    <a:gd name="T2" fmla="*/ 2147483647 w 8"/>
                    <a:gd name="T3" fmla="*/ 2147483647 h 5"/>
                    <a:gd name="T4" fmla="*/ 0 w 8"/>
                    <a:gd name="T5" fmla="*/ 2147483647 h 5"/>
                    <a:gd name="T6" fmla="*/ 2147483647 w 8"/>
                    <a:gd name="T7" fmla="*/ 0 h 5"/>
                    <a:gd name="T8" fmla="*/ 2147483647 w 8"/>
                    <a:gd name="T9" fmla="*/ 0 h 5"/>
                    <a:gd name="T10" fmla="*/ 2147483647 w 8"/>
                    <a:gd name="T11" fmla="*/ 0 h 5"/>
                    <a:gd name="T12" fmla="*/ 2147483647 w 8"/>
                    <a:gd name="T13" fmla="*/ 2147483647 h 5"/>
                    <a:gd name="T14" fmla="*/ 2147483647 w 8"/>
                    <a:gd name="T15" fmla="*/ 2147483647 h 5"/>
                    <a:gd name="T16" fmla="*/ 2147483647 w 8"/>
                    <a:gd name="T17" fmla="*/ 2147483647 h 5"/>
                    <a:gd name="T18" fmla="*/ 2147483647 w 8"/>
                    <a:gd name="T19" fmla="*/ 2147483647 h 5"/>
                    <a:gd name="T20" fmla="*/ 2147483647 w 8"/>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5"/>
                    <a:gd name="T35" fmla="*/ 8 w 8"/>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5">
                      <a:moveTo>
                        <a:pt x="4" y="4"/>
                      </a:moveTo>
                      <a:lnTo>
                        <a:pt x="2" y="2"/>
                      </a:lnTo>
                      <a:lnTo>
                        <a:pt x="0" y="1"/>
                      </a:lnTo>
                      <a:lnTo>
                        <a:pt x="2" y="0"/>
                      </a:lnTo>
                      <a:lnTo>
                        <a:pt x="3" y="0"/>
                      </a:lnTo>
                      <a:lnTo>
                        <a:pt x="5" y="0"/>
                      </a:lnTo>
                      <a:lnTo>
                        <a:pt x="8" y="1"/>
                      </a:lnTo>
                      <a:lnTo>
                        <a:pt x="8" y="2"/>
                      </a:lnTo>
                      <a:lnTo>
                        <a:pt x="7" y="5"/>
                      </a:lnTo>
                      <a:lnTo>
                        <a:pt x="5" y="5"/>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8" name="Freeform 1078"/>
                <p:cNvSpPr>
                  <a:spLocks/>
                </p:cNvSpPr>
                <p:nvPr/>
              </p:nvSpPr>
              <p:spPr bwMode="auto">
                <a:xfrm>
                  <a:off x="2984425" y="6358695"/>
                  <a:ext cx="10360" cy="8879"/>
                </a:xfrm>
                <a:custGeom>
                  <a:avLst/>
                  <a:gdLst>
                    <a:gd name="T0" fmla="*/ 2147483647 w 8"/>
                    <a:gd name="T1" fmla="*/ 2147483647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0 w 8"/>
                    <a:gd name="T15" fmla="*/ 2147483647 h 6"/>
                    <a:gd name="T16" fmla="*/ 2147483647 w 8"/>
                    <a:gd name="T17" fmla="*/ 2147483647 h 6"/>
                    <a:gd name="T18" fmla="*/ 2147483647 w 8"/>
                    <a:gd name="T19" fmla="*/ 2147483647 h 6"/>
                    <a:gd name="T20" fmla="*/ 2147483647 w 8"/>
                    <a:gd name="T21" fmla="*/ 0 h 6"/>
                    <a:gd name="T22" fmla="*/ 2147483647 w 8"/>
                    <a:gd name="T23" fmla="*/ 2147483647 h 6"/>
                    <a:gd name="T24" fmla="*/ 2147483647 w 8"/>
                    <a:gd name="T25" fmla="*/ 2147483647 h 6"/>
                    <a:gd name="T26" fmla="*/ 2147483647 w 8"/>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6"/>
                    <a:gd name="T44" fmla="*/ 8 w 8"/>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6">
                      <a:moveTo>
                        <a:pt x="7" y="2"/>
                      </a:moveTo>
                      <a:lnTo>
                        <a:pt x="7" y="2"/>
                      </a:lnTo>
                      <a:lnTo>
                        <a:pt x="8" y="3"/>
                      </a:lnTo>
                      <a:lnTo>
                        <a:pt x="8" y="4"/>
                      </a:lnTo>
                      <a:lnTo>
                        <a:pt x="5" y="6"/>
                      </a:lnTo>
                      <a:lnTo>
                        <a:pt x="3" y="4"/>
                      </a:lnTo>
                      <a:lnTo>
                        <a:pt x="0" y="3"/>
                      </a:lnTo>
                      <a:lnTo>
                        <a:pt x="1" y="1"/>
                      </a:lnTo>
                      <a:lnTo>
                        <a:pt x="3" y="0"/>
                      </a:lnTo>
                      <a:lnTo>
                        <a:pt x="4" y="1"/>
                      </a:lnTo>
                      <a:lnTo>
                        <a:pt x="7"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89" name="Freeform 1079"/>
                <p:cNvSpPr>
                  <a:spLocks/>
                </p:cNvSpPr>
                <p:nvPr/>
              </p:nvSpPr>
              <p:spPr bwMode="auto">
                <a:xfrm>
                  <a:off x="2951868" y="6351291"/>
                  <a:ext cx="10360" cy="7400"/>
                </a:xfrm>
                <a:custGeom>
                  <a:avLst/>
                  <a:gdLst>
                    <a:gd name="T0" fmla="*/ 2147483647 w 8"/>
                    <a:gd name="T1" fmla="*/ 2147483647 h 5"/>
                    <a:gd name="T2" fmla="*/ 2147483647 w 8"/>
                    <a:gd name="T3" fmla="*/ 2147483647 h 5"/>
                    <a:gd name="T4" fmla="*/ 2147483647 w 8"/>
                    <a:gd name="T5" fmla="*/ 2147483647 h 5"/>
                    <a:gd name="T6" fmla="*/ 0 w 8"/>
                    <a:gd name="T7" fmla="*/ 2147483647 h 5"/>
                    <a:gd name="T8" fmla="*/ 2147483647 w 8"/>
                    <a:gd name="T9" fmla="*/ 0 h 5"/>
                    <a:gd name="T10" fmla="*/ 2147483647 w 8"/>
                    <a:gd name="T11" fmla="*/ 0 h 5"/>
                    <a:gd name="T12" fmla="*/ 2147483647 w 8"/>
                    <a:gd name="T13" fmla="*/ 0 h 5"/>
                    <a:gd name="T14" fmla="*/ 2147483647 w 8"/>
                    <a:gd name="T15" fmla="*/ 0 h 5"/>
                    <a:gd name="T16" fmla="*/ 2147483647 w 8"/>
                    <a:gd name="T17" fmla="*/ 2147483647 h 5"/>
                    <a:gd name="T18" fmla="*/ 2147483647 w 8"/>
                    <a:gd name="T19" fmla="*/ 2147483647 h 5"/>
                    <a:gd name="T20" fmla="*/ 2147483647 w 8"/>
                    <a:gd name="T21" fmla="*/ 2147483647 h 5"/>
                    <a:gd name="T22" fmla="*/ 2147483647 w 8"/>
                    <a:gd name="T23" fmla="*/ 2147483647 h 5"/>
                    <a:gd name="T24" fmla="*/ 2147483647 w 8"/>
                    <a:gd name="T25" fmla="*/ 2147483647 h 5"/>
                    <a:gd name="T26" fmla="*/ 2147483647 w 8"/>
                    <a:gd name="T27" fmla="*/ 2147483647 h 5"/>
                    <a:gd name="T28" fmla="*/ 2147483647 w 8"/>
                    <a:gd name="T29" fmla="*/ 2147483647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5"/>
                    <a:gd name="T47" fmla="*/ 8 w 8"/>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5">
                      <a:moveTo>
                        <a:pt x="4" y="3"/>
                      </a:moveTo>
                      <a:lnTo>
                        <a:pt x="4" y="3"/>
                      </a:lnTo>
                      <a:lnTo>
                        <a:pt x="1" y="2"/>
                      </a:lnTo>
                      <a:lnTo>
                        <a:pt x="0" y="1"/>
                      </a:lnTo>
                      <a:lnTo>
                        <a:pt x="1" y="0"/>
                      </a:lnTo>
                      <a:lnTo>
                        <a:pt x="3" y="0"/>
                      </a:lnTo>
                      <a:lnTo>
                        <a:pt x="5" y="0"/>
                      </a:lnTo>
                      <a:lnTo>
                        <a:pt x="8" y="1"/>
                      </a:lnTo>
                      <a:lnTo>
                        <a:pt x="8" y="2"/>
                      </a:lnTo>
                      <a:lnTo>
                        <a:pt x="6" y="5"/>
                      </a:lnTo>
                      <a:lnTo>
                        <a:pt x="5" y="5"/>
                      </a:lnTo>
                      <a:lnTo>
                        <a:pt x="4"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0" name="Freeform 1081"/>
                <p:cNvSpPr>
                  <a:spLocks/>
                </p:cNvSpPr>
                <p:nvPr/>
              </p:nvSpPr>
              <p:spPr bwMode="auto">
                <a:xfrm>
                  <a:off x="2923748" y="6268423"/>
                  <a:ext cx="84352" cy="81393"/>
                </a:xfrm>
                <a:custGeom>
                  <a:avLst/>
                  <a:gdLst>
                    <a:gd name="T0" fmla="*/ 2147483647 w 61"/>
                    <a:gd name="T1" fmla="*/ 2147483647 h 55"/>
                    <a:gd name="T2" fmla="*/ 2147483647 w 61"/>
                    <a:gd name="T3" fmla="*/ 2147483647 h 55"/>
                    <a:gd name="T4" fmla="*/ 2147483647 w 61"/>
                    <a:gd name="T5" fmla="*/ 2147483647 h 55"/>
                    <a:gd name="T6" fmla="*/ 2147483647 w 61"/>
                    <a:gd name="T7" fmla="*/ 2147483647 h 55"/>
                    <a:gd name="T8" fmla="*/ 2147483647 w 61"/>
                    <a:gd name="T9" fmla="*/ 2147483647 h 55"/>
                    <a:gd name="T10" fmla="*/ 2147483647 w 61"/>
                    <a:gd name="T11" fmla="*/ 0 h 55"/>
                    <a:gd name="T12" fmla="*/ 2147483647 w 61"/>
                    <a:gd name="T13" fmla="*/ 2147483647 h 55"/>
                    <a:gd name="T14" fmla="*/ 2147483647 w 61"/>
                    <a:gd name="T15" fmla="*/ 2147483647 h 55"/>
                    <a:gd name="T16" fmla="*/ 2147483647 w 61"/>
                    <a:gd name="T17" fmla="*/ 0 h 55"/>
                    <a:gd name="T18" fmla="*/ 2147483647 w 61"/>
                    <a:gd name="T19" fmla="*/ 2147483647 h 55"/>
                    <a:gd name="T20" fmla="*/ 2147483647 w 61"/>
                    <a:gd name="T21" fmla="*/ 2147483647 h 55"/>
                    <a:gd name="T22" fmla="*/ 2147483647 w 61"/>
                    <a:gd name="T23" fmla="*/ 2147483647 h 55"/>
                    <a:gd name="T24" fmla="*/ 2147483647 w 61"/>
                    <a:gd name="T25" fmla="*/ 2147483647 h 55"/>
                    <a:gd name="T26" fmla="*/ 2147483647 w 61"/>
                    <a:gd name="T27" fmla="*/ 2147483647 h 55"/>
                    <a:gd name="T28" fmla="*/ 2147483647 w 61"/>
                    <a:gd name="T29" fmla="*/ 2147483647 h 55"/>
                    <a:gd name="T30" fmla="*/ 2147483647 w 61"/>
                    <a:gd name="T31" fmla="*/ 2147483647 h 55"/>
                    <a:gd name="T32" fmla="*/ 2147483647 w 61"/>
                    <a:gd name="T33" fmla="*/ 2147483647 h 55"/>
                    <a:gd name="T34" fmla="*/ 2147483647 w 61"/>
                    <a:gd name="T35" fmla="*/ 2147483647 h 55"/>
                    <a:gd name="T36" fmla="*/ 2147483647 w 61"/>
                    <a:gd name="T37" fmla="*/ 2147483647 h 55"/>
                    <a:gd name="T38" fmla="*/ 2147483647 w 61"/>
                    <a:gd name="T39" fmla="*/ 2147483647 h 55"/>
                    <a:gd name="T40" fmla="*/ 2147483647 w 61"/>
                    <a:gd name="T41" fmla="*/ 2147483647 h 55"/>
                    <a:gd name="T42" fmla="*/ 2147483647 w 61"/>
                    <a:gd name="T43" fmla="*/ 2147483647 h 55"/>
                    <a:gd name="T44" fmla="*/ 2147483647 w 61"/>
                    <a:gd name="T45" fmla="*/ 2147483647 h 55"/>
                    <a:gd name="T46" fmla="*/ 2147483647 w 61"/>
                    <a:gd name="T47" fmla="*/ 2147483647 h 55"/>
                    <a:gd name="T48" fmla="*/ 2147483647 w 61"/>
                    <a:gd name="T49" fmla="*/ 2147483647 h 55"/>
                    <a:gd name="T50" fmla="*/ 2147483647 w 61"/>
                    <a:gd name="T51" fmla="*/ 2147483647 h 55"/>
                    <a:gd name="T52" fmla="*/ 2147483647 w 61"/>
                    <a:gd name="T53" fmla="*/ 2147483647 h 55"/>
                    <a:gd name="T54" fmla="*/ 2147483647 w 61"/>
                    <a:gd name="T55" fmla="*/ 2147483647 h 55"/>
                    <a:gd name="T56" fmla="*/ 2147483647 w 61"/>
                    <a:gd name="T57" fmla="*/ 2147483647 h 55"/>
                    <a:gd name="T58" fmla="*/ 2147483647 w 61"/>
                    <a:gd name="T59" fmla="*/ 2147483647 h 55"/>
                    <a:gd name="T60" fmla="*/ 2147483647 w 61"/>
                    <a:gd name="T61" fmla="*/ 2147483647 h 55"/>
                    <a:gd name="T62" fmla="*/ 2147483647 w 61"/>
                    <a:gd name="T63" fmla="*/ 2147483647 h 55"/>
                    <a:gd name="T64" fmla="*/ 2147483647 w 61"/>
                    <a:gd name="T65" fmla="*/ 2147483647 h 55"/>
                    <a:gd name="T66" fmla="*/ 2147483647 w 61"/>
                    <a:gd name="T67" fmla="*/ 2147483647 h 55"/>
                    <a:gd name="T68" fmla="*/ 2147483647 w 61"/>
                    <a:gd name="T69" fmla="*/ 2147483647 h 55"/>
                    <a:gd name="T70" fmla="*/ 2147483647 w 61"/>
                    <a:gd name="T71" fmla="*/ 2147483647 h 55"/>
                    <a:gd name="T72" fmla="*/ 2147483647 w 61"/>
                    <a:gd name="T73" fmla="*/ 2147483647 h 55"/>
                    <a:gd name="T74" fmla="*/ 2147483647 w 61"/>
                    <a:gd name="T75" fmla="*/ 2147483647 h 55"/>
                    <a:gd name="T76" fmla="*/ 2147483647 w 61"/>
                    <a:gd name="T77" fmla="*/ 2147483647 h 55"/>
                    <a:gd name="T78" fmla="*/ 2147483647 w 61"/>
                    <a:gd name="T79" fmla="*/ 2147483647 h 55"/>
                    <a:gd name="T80" fmla="*/ 2147483647 w 61"/>
                    <a:gd name="T81" fmla="*/ 2147483647 h 55"/>
                    <a:gd name="T82" fmla="*/ 2147483647 w 61"/>
                    <a:gd name="T83" fmla="*/ 2147483647 h 55"/>
                    <a:gd name="T84" fmla="*/ 0 w 61"/>
                    <a:gd name="T85" fmla="*/ 2147483647 h 55"/>
                    <a:gd name="T86" fmla="*/ 2147483647 w 61"/>
                    <a:gd name="T87" fmla="*/ 2147483647 h 55"/>
                    <a:gd name="T88" fmla="*/ 2147483647 w 61"/>
                    <a:gd name="T89" fmla="*/ 2147483647 h 55"/>
                    <a:gd name="T90" fmla="*/ 2147483647 w 61"/>
                    <a:gd name="T91" fmla="*/ 2147483647 h 55"/>
                    <a:gd name="T92" fmla="*/ 2147483647 w 61"/>
                    <a:gd name="T93" fmla="*/ 2147483647 h 55"/>
                    <a:gd name="T94" fmla="*/ 2147483647 w 61"/>
                    <a:gd name="T95" fmla="*/ 2147483647 h 55"/>
                    <a:gd name="T96" fmla="*/ 2147483647 w 61"/>
                    <a:gd name="T97" fmla="*/ 2147483647 h 55"/>
                    <a:gd name="T98" fmla="*/ 2147483647 w 61"/>
                    <a:gd name="T99" fmla="*/ 2147483647 h 55"/>
                    <a:gd name="T100" fmla="*/ 2147483647 w 61"/>
                    <a:gd name="T101" fmla="*/ 2147483647 h 55"/>
                    <a:gd name="T102" fmla="*/ 2147483647 w 61"/>
                    <a:gd name="T103" fmla="*/ 2147483647 h 55"/>
                    <a:gd name="T104" fmla="*/ 2147483647 w 61"/>
                    <a:gd name="T105" fmla="*/ 2147483647 h 55"/>
                    <a:gd name="T106" fmla="*/ 2147483647 w 61"/>
                    <a:gd name="T107" fmla="*/ 2147483647 h 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
                    <a:gd name="T163" fmla="*/ 0 h 55"/>
                    <a:gd name="T164" fmla="*/ 61 w 61"/>
                    <a:gd name="T165" fmla="*/ 55 h 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 h="55">
                      <a:moveTo>
                        <a:pt x="61" y="49"/>
                      </a:moveTo>
                      <a:lnTo>
                        <a:pt x="61" y="14"/>
                      </a:lnTo>
                      <a:lnTo>
                        <a:pt x="59" y="8"/>
                      </a:lnTo>
                      <a:lnTo>
                        <a:pt x="56" y="3"/>
                      </a:lnTo>
                      <a:lnTo>
                        <a:pt x="54" y="1"/>
                      </a:lnTo>
                      <a:lnTo>
                        <a:pt x="51" y="0"/>
                      </a:lnTo>
                      <a:lnTo>
                        <a:pt x="44" y="1"/>
                      </a:lnTo>
                      <a:lnTo>
                        <a:pt x="43" y="1"/>
                      </a:lnTo>
                      <a:lnTo>
                        <a:pt x="40" y="0"/>
                      </a:lnTo>
                      <a:lnTo>
                        <a:pt x="33" y="1"/>
                      </a:lnTo>
                      <a:lnTo>
                        <a:pt x="30" y="3"/>
                      </a:lnTo>
                      <a:lnTo>
                        <a:pt x="28" y="4"/>
                      </a:lnTo>
                      <a:lnTo>
                        <a:pt x="26" y="6"/>
                      </a:lnTo>
                      <a:lnTo>
                        <a:pt x="25" y="10"/>
                      </a:lnTo>
                      <a:lnTo>
                        <a:pt x="24" y="14"/>
                      </a:lnTo>
                      <a:lnTo>
                        <a:pt x="25" y="16"/>
                      </a:lnTo>
                      <a:lnTo>
                        <a:pt x="26" y="16"/>
                      </a:lnTo>
                      <a:lnTo>
                        <a:pt x="30" y="12"/>
                      </a:lnTo>
                      <a:lnTo>
                        <a:pt x="37" y="10"/>
                      </a:lnTo>
                      <a:lnTo>
                        <a:pt x="39" y="10"/>
                      </a:lnTo>
                      <a:lnTo>
                        <a:pt x="40" y="11"/>
                      </a:lnTo>
                      <a:lnTo>
                        <a:pt x="40" y="13"/>
                      </a:lnTo>
                      <a:lnTo>
                        <a:pt x="39" y="14"/>
                      </a:lnTo>
                      <a:lnTo>
                        <a:pt x="37" y="19"/>
                      </a:lnTo>
                      <a:lnTo>
                        <a:pt x="34" y="23"/>
                      </a:lnTo>
                      <a:lnTo>
                        <a:pt x="34" y="26"/>
                      </a:lnTo>
                      <a:lnTo>
                        <a:pt x="35" y="30"/>
                      </a:lnTo>
                      <a:lnTo>
                        <a:pt x="38" y="32"/>
                      </a:lnTo>
                      <a:lnTo>
                        <a:pt x="40" y="36"/>
                      </a:lnTo>
                      <a:lnTo>
                        <a:pt x="48" y="42"/>
                      </a:lnTo>
                      <a:lnTo>
                        <a:pt x="48" y="43"/>
                      </a:lnTo>
                      <a:lnTo>
                        <a:pt x="44" y="44"/>
                      </a:lnTo>
                      <a:lnTo>
                        <a:pt x="40" y="44"/>
                      </a:lnTo>
                      <a:lnTo>
                        <a:pt x="37" y="44"/>
                      </a:lnTo>
                      <a:lnTo>
                        <a:pt x="29" y="41"/>
                      </a:lnTo>
                      <a:lnTo>
                        <a:pt x="26" y="39"/>
                      </a:lnTo>
                      <a:lnTo>
                        <a:pt x="24" y="39"/>
                      </a:lnTo>
                      <a:lnTo>
                        <a:pt x="17" y="41"/>
                      </a:lnTo>
                      <a:lnTo>
                        <a:pt x="11" y="41"/>
                      </a:lnTo>
                      <a:lnTo>
                        <a:pt x="5" y="42"/>
                      </a:lnTo>
                      <a:lnTo>
                        <a:pt x="2" y="42"/>
                      </a:lnTo>
                      <a:lnTo>
                        <a:pt x="1" y="43"/>
                      </a:lnTo>
                      <a:lnTo>
                        <a:pt x="0" y="45"/>
                      </a:lnTo>
                      <a:lnTo>
                        <a:pt x="1" y="48"/>
                      </a:lnTo>
                      <a:lnTo>
                        <a:pt x="4" y="49"/>
                      </a:lnTo>
                      <a:lnTo>
                        <a:pt x="7" y="50"/>
                      </a:lnTo>
                      <a:lnTo>
                        <a:pt x="17" y="51"/>
                      </a:lnTo>
                      <a:lnTo>
                        <a:pt x="25" y="51"/>
                      </a:lnTo>
                      <a:lnTo>
                        <a:pt x="29" y="52"/>
                      </a:lnTo>
                      <a:lnTo>
                        <a:pt x="34" y="54"/>
                      </a:lnTo>
                      <a:lnTo>
                        <a:pt x="38" y="54"/>
                      </a:lnTo>
                      <a:lnTo>
                        <a:pt x="42" y="55"/>
                      </a:lnTo>
                      <a:lnTo>
                        <a:pt x="51" y="52"/>
                      </a:lnTo>
                      <a:lnTo>
                        <a:pt x="61" y="4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1" name="Freeform 1082"/>
                <p:cNvSpPr>
                  <a:spLocks/>
                </p:cNvSpPr>
                <p:nvPr/>
              </p:nvSpPr>
              <p:spPr bwMode="auto">
                <a:xfrm>
                  <a:off x="2836435" y="5151115"/>
                  <a:ext cx="204222" cy="1154300"/>
                </a:xfrm>
                <a:custGeom>
                  <a:avLst/>
                  <a:gdLst>
                    <a:gd name="T0" fmla="*/ 2147483647 w 149"/>
                    <a:gd name="T1" fmla="*/ 2147483647 h 780"/>
                    <a:gd name="T2" fmla="*/ 2147483647 w 149"/>
                    <a:gd name="T3" fmla="*/ 2147483647 h 780"/>
                    <a:gd name="T4" fmla="*/ 2147483647 w 149"/>
                    <a:gd name="T5" fmla="*/ 2147483647 h 780"/>
                    <a:gd name="T6" fmla="*/ 2147483647 w 149"/>
                    <a:gd name="T7" fmla="*/ 2147483647 h 780"/>
                    <a:gd name="T8" fmla="*/ 2147483647 w 149"/>
                    <a:gd name="T9" fmla="*/ 2147483647 h 780"/>
                    <a:gd name="T10" fmla="*/ 2147483647 w 149"/>
                    <a:gd name="T11" fmla="*/ 2147483647 h 780"/>
                    <a:gd name="T12" fmla="*/ 2147483647 w 149"/>
                    <a:gd name="T13" fmla="*/ 2147483647 h 780"/>
                    <a:gd name="T14" fmla="*/ 2147483647 w 149"/>
                    <a:gd name="T15" fmla="*/ 2147483647 h 780"/>
                    <a:gd name="T16" fmla="*/ 2147483647 w 149"/>
                    <a:gd name="T17" fmla="*/ 2147483647 h 780"/>
                    <a:gd name="T18" fmla="*/ 2147483647 w 149"/>
                    <a:gd name="T19" fmla="*/ 2147483647 h 780"/>
                    <a:gd name="T20" fmla="*/ 2147483647 w 149"/>
                    <a:gd name="T21" fmla="*/ 2147483647 h 780"/>
                    <a:gd name="T22" fmla="*/ 2147483647 w 149"/>
                    <a:gd name="T23" fmla="*/ 2147483647 h 780"/>
                    <a:gd name="T24" fmla="*/ 2147483647 w 149"/>
                    <a:gd name="T25" fmla="*/ 2147483647 h 780"/>
                    <a:gd name="T26" fmla="*/ 2147483647 w 149"/>
                    <a:gd name="T27" fmla="*/ 2147483647 h 780"/>
                    <a:gd name="T28" fmla="*/ 2147483647 w 149"/>
                    <a:gd name="T29" fmla="*/ 2147483647 h 780"/>
                    <a:gd name="T30" fmla="*/ 2147483647 w 149"/>
                    <a:gd name="T31" fmla="*/ 2147483647 h 780"/>
                    <a:gd name="T32" fmla="*/ 2147483647 w 149"/>
                    <a:gd name="T33" fmla="*/ 2147483647 h 780"/>
                    <a:gd name="T34" fmla="*/ 2147483647 w 149"/>
                    <a:gd name="T35" fmla="*/ 2147483647 h 780"/>
                    <a:gd name="T36" fmla="*/ 2147483647 w 149"/>
                    <a:gd name="T37" fmla="*/ 2147483647 h 780"/>
                    <a:gd name="T38" fmla="*/ 2147483647 w 149"/>
                    <a:gd name="T39" fmla="*/ 2147483647 h 780"/>
                    <a:gd name="T40" fmla="*/ 2147483647 w 149"/>
                    <a:gd name="T41" fmla="*/ 2147483647 h 780"/>
                    <a:gd name="T42" fmla="*/ 2147483647 w 149"/>
                    <a:gd name="T43" fmla="*/ 2147483647 h 780"/>
                    <a:gd name="T44" fmla="*/ 2147483647 w 149"/>
                    <a:gd name="T45" fmla="*/ 2147483647 h 780"/>
                    <a:gd name="T46" fmla="*/ 2147483647 w 149"/>
                    <a:gd name="T47" fmla="*/ 2147483647 h 780"/>
                    <a:gd name="T48" fmla="*/ 2147483647 w 149"/>
                    <a:gd name="T49" fmla="*/ 2147483647 h 780"/>
                    <a:gd name="T50" fmla="*/ 2147483647 w 149"/>
                    <a:gd name="T51" fmla="*/ 2147483647 h 780"/>
                    <a:gd name="T52" fmla="*/ 2147483647 w 149"/>
                    <a:gd name="T53" fmla="*/ 2147483647 h 780"/>
                    <a:gd name="T54" fmla="*/ 2147483647 w 149"/>
                    <a:gd name="T55" fmla="*/ 2147483647 h 780"/>
                    <a:gd name="T56" fmla="*/ 2147483647 w 149"/>
                    <a:gd name="T57" fmla="*/ 2147483647 h 780"/>
                    <a:gd name="T58" fmla="*/ 2147483647 w 149"/>
                    <a:gd name="T59" fmla="*/ 2147483647 h 780"/>
                    <a:gd name="T60" fmla="*/ 2147483647 w 149"/>
                    <a:gd name="T61" fmla="*/ 2147483647 h 780"/>
                    <a:gd name="T62" fmla="*/ 2147483647 w 149"/>
                    <a:gd name="T63" fmla="*/ 2147483647 h 780"/>
                    <a:gd name="T64" fmla="*/ 2147483647 w 149"/>
                    <a:gd name="T65" fmla="*/ 2147483647 h 780"/>
                    <a:gd name="T66" fmla="*/ 2147483647 w 149"/>
                    <a:gd name="T67" fmla="*/ 2147483647 h 780"/>
                    <a:gd name="T68" fmla="*/ 0 w 149"/>
                    <a:gd name="T69" fmla="*/ 2147483647 h 780"/>
                    <a:gd name="T70" fmla="*/ 2147483647 w 149"/>
                    <a:gd name="T71" fmla="*/ 2147483647 h 780"/>
                    <a:gd name="T72" fmla="*/ 2147483647 w 149"/>
                    <a:gd name="T73" fmla="*/ 2147483647 h 780"/>
                    <a:gd name="T74" fmla="*/ 2147483647 w 149"/>
                    <a:gd name="T75" fmla="*/ 2147483647 h 780"/>
                    <a:gd name="T76" fmla="*/ 2147483647 w 149"/>
                    <a:gd name="T77" fmla="*/ 2147483647 h 780"/>
                    <a:gd name="T78" fmla="*/ 2147483647 w 149"/>
                    <a:gd name="T79" fmla="*/ 2147483647 h 780"/>
                    <a:gd name="T80" fmla="*/ 2147483647 w 149"/>
                    <a:gd name="T81" fmla="*/ 2147483647 h 780"/>
                    <a:gd name="T82" fmla="*/ 2147483647 w 149"/>
                    <a:gd name="T83" fmla="*/ 2147483647 h 780"/>
                    <a:gd name="T84" fmla="*/ 2147483647 w 149"/>
                    <a:gd name="T85" fmla="*/ 2147483647 h 780"/>
                    <a:gd name="T86" fmla="*/ 2147483647 w 149"/>
                    <a:gd name="T87" fmla="*/ 2147483647 h 780"/>
                    <a:gd name="T88" fmla="*/ 2147483647 w 149"/>
                    <a:gd name="T89" fmla="*/ 2147483647 h 780"/>
                    <a:gd name="T90" fmla="*/ 2147483647 w 149"/>
                    <a:gd name="T91" fmla="*/ 2147483647 h 780"/>
                    <a:gd name="T92" fmla="*/ 2147483647 w 149"/>
                    <a:gd name="T93" fmla="*/ 2147483647 h 780"/>
                    <a:gd name="T94" fmla="*/ 2147483647 w 149"/>
                    <a:gd name="T95" fmla="*/ 2147483647 h 780"/>
                    <a:gd name="T96" fmla="*/ 2147483647 w 149"/>
                    <a:gd name="T97" fmla="*/ 2147483647 h 780"/>
                    <a:gd name="T98" fmla="*/ 2147483647 w 149"/>
                    <a:gd name="T99" fmla="*/ 2147483647 h 780"/>
                    <a:gd name="T100" fmla="*/ 2147483647 w 149"/>
                    <a:gd name="T101" fmla="*/ 2147483647 h 780"/>
                    <a:gd name="T102" fmla="*/ 2147483647 w 149"/>
                    <a:gd name="T103" fmla="*/ 2147483647 h 780"/>
                    <a:gd name="T104" fmla="*/ 2147483647 w 149"/>
                    <a:gd name="T105" fmla="*/ 2147483647 h 780"/>
                    <a:gd name="T106" fmla="*/ 2147483647 w 149"/>
                    <a:gd name="T107" fmla="*/ 2147483647 h 780"/>
                    <a:gd name="T108" fmla="*/ 2147483647 w 149"/>
                    <a:gd name="T109" fmla="*/ 2147483647 h 780"/>
                    <a:gd name="T110" fmla="*/ 2147483647 w 149"/>
                    <a:gd name="T111" fmla="*/ 2147483647 h 780"/>
                    <a:gd name="T112" fmla="*/ 2147483647 w 149"/>
                    <a:gd name="T113" fmla="*/ 2147483647 h 780"/>
                    <a:gd name="T114" fmla="*/ 2147483647 w 149"/>
                    <a:gd name="T115" fmla="*/ 2147483647 h 780"/>
                    <a:gd name="T116" fmla="*/ 2147483647 w 149"/>
                    <a:gd name="T117" fmla="*/ 2147483647 h 7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9"/>
                    <a:gd name="T178" fmla="*/ 0 h 780"/>
                    <a:gd name="T179" fmla="*/ 149 w 149"/>
                    <a:gd name="T180" fmla="*/ 780 h 7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9" h="780">
                      <a:moveTo>
                        <a:pt x="145" y="90"/>
                      </a:moveTo>
                      <a:lnTo>
                        <a:pt x="145" y="90"/>
                      </a:lnTo>
                      <a:lnTo>
                        <a:pt x="148" y="97"/>
                      </a:lnTo>
                      <a:lnTo>
                        <a:pt x="149" y="106"/>
                      </a:lnTo>
                      <a:lnTo>
                        <a:pt x="149" y="109"/>
                      </a:lnTo>
                      <a:lnTo>
                        <a:pt x="148" y="113"/>
                      </a:lnTo>
                      <a:lnTo>
                        <a:pt x="146" y="116"/>
                      </a:lnTo>
                      <a:lnTo>
                        <a:pt x="144" y="119"/>
                      </a:lnTo>
                      <a:lnTo>
                        <a:pt x="134" y="127"/>
                      </a:lnTo>
                      <a:lnTo>
                        <a:pt x="126" y="135"/>
                      </a:lnTo>
                      <a:lnTo>
                        <a:pt x="120" y="146"/>
                      </a:lnTo>
                      <a:lnTo>
                        <a:pt x="117" y="156"/>
                      </a:lnTo>
                      <a:lnTo>
                        <a:pt x="113" y="172"/>
                      </a:lnTo>
                      <a:lnTo>
                        <a:pt x="108" y="187"/>
                      </a:lnTo>
                      <a:lnTo>
                        <a:pt x="98" y="216"/>
                      </a:lnTo>
                      <a:lnTo>
                        <a:pt x="95" y="225"/>
                      </a:lnTo>
                      <a:lnTo>
                        <a:pt x="93" y="234"/>
                      </a:lnTo>
                      <a:lnTo>
                        <a:pt x="92" y="251"/>
                      </a:lnTo>
                      <a:lnTo>
                        <a:pt x="88" y="266"/>
                      </a:lnTo>
                      <a:lnTo>
                        <a:pt x="87" y="273"/>
                      </a:lnTo>
                      <a:lnTo>
                        <a:pt x="85" y="280"/>
                      </a:lnTo>
                      <a:lnTo>
                        <a:pt x="85" y="287"/>
                      </a:lnTo>
                      <a:lnTo>
                        <a:pt x="87" y="294"/>
                      </a:lnTo>
                      <a:lnTo>
                        <a:pt x="89" y="307"/>
                      </a:lnTo>
                      <a:lnTo>
                        <a:pt x="92" y="320"/>
                      </a:lnTo>
                      <a:lnTo>
                        <a:pt x="92" y="327"/>
                      </a:lnTo>
                      <a:lnTo>
                        <a:pt x="90" y="334"/>
                      </a:lnTo>
                      <a:lnTo>
                        <a:pt x="87" y="345"/>
                      </a:lnTo>
                      <a:lnTo>
                        <a:pt x="85" y="351"/>
                      </a:lnTo>
                      <a:lnTo>
                        <a:pt x="84" y="358"/>
                      </a:lnTo>
                      <a:lnTo>
                        <a:pt x="84" y="363"/>
                      </a:lnTo>
                      <a:lnTo>
                        <a:pt x="84" y="368"/>
                      </a:lnTo>
                      <a:lnTo>
                        <a:pt x="85" y="371"/>
                      </a:lnTo>
                      <a:lnTo>
                        <a:pt x="84" y="375"/>
                      </a:lnTo>
                      <a:lnTo>
                        <a:pt x="83" y="379"/>
                      </a:lnTo>
                      <a:lnTo>
                        <a:pt x="80" y="382"/>
                      </a:lnTo>
                      <a:lnTo>
                        <a:pt x="76" y="384"/>
                      </a:lnTo>
                      <a:lnTo>
                        <a:pt x="75" y="386"/>
                      </a:lnTo>
                      <a:lnTo>
                        <a:pt x="73" y="391"/>
                      </a:lnTo>
                      <a:lnTo>
                        <a:pt x="73" y="398"/>
                      </a:lnTo>
                      <a:lnTo>
                        <a:pt x="73" y="407"/>
                      </a:lnTo>
                      <a:lnTo>
                        <a:pt x="76" y="420"/>
                      </a:lnTo>
                      <a:lnTo>
                        <a:pt x="76" y="423"/>
                      </a:lnTo>
                      <a:lnTo>
                        <a:pt x="76" y="426"/>
                      </a:lnTo>
                      <a:lnTo>
                        <a:pt x="75" y="428"/>
                      </a:lnTo>
                      <a:lnTo>
                        <a:pt x="73" y="432"/>
                      </a:lnTo>
                      <a:lnTo>
                        <a:pt x="69" y="437"/>
                      </a:lnTo>
                      <a:lnTo>
                        <a:pt x="65" y="446"/>
                      </a:lnTo>
                      <a:lnTo>
                        <a:pt x="60" y="461"/>
                      </a:lnTo>
                      <a:lnTo>
                        <a:pt x="59" y="469"/>
                      </a:lnTo>
                      <a:lnTo>
                        <a:pt x="57" y="479"/>
                      </a:lnTo>
                      <a:lnTo>
                        <a:pt x="57" y="498"/>
                      </a:lnTo>
                      <a:lnTo>
                        <a:pt x="60" y="517"/>
                      </a:lnTo>
                      <a:lnTo>
                        <a:pt x="62" y="536"/>
                      </a:lnTo>
                      <a:lnTo>
                        <a:pt x="62" y="542"/>
                      </a:lnTo>
                      <a:lnTo>
                        <a:pt x="62" y="548"/>
                      </a:lnTo>
                      <a:lnTo>
                        <a:pt x="64" y="550"/>
                      </a:lnTo>
                      <a:lnTo>
                        <a:pt x="66" y="552"/>
                      </a:lnTo>
                      <a:lnTo>
                        <a:pt x="70" y="556"/>
                      </a:lnTo>
                      <a:lnTo>
                        <a:pt x="71" y="560"/>
                      </a:lnTo>
                      <a:lnTo>
                        <a:pt x="70" y="561"/>
                      </a:lnTo>
                      <a:lnTo>
                        <a:pt x="65" y="564"/>
                      </a:lnTo>
                      <a:lnTo>
                        <a:pt x="64" y="567"/>
                      </a:lnTo>
                      <a:lnTo>
                        <a:pt x="65" y="568"/>
                      </a:lnTo>
                      <a:lnTo>
                        <a:pt x="68" y="571"/>
                      </a:lnTo>
                      <a:lnTo>
                        <a:pt x="69" y="574"/>
                      </a:lnTo>
                      <a:lnTo>
                        <a:pt x="69" y="576"/>
                      </a:lnTo>
                      <a:lnTo>
                        <a:pt x="66" y="581"/>
                      </a:lnTo>
                      <a:lnTo>
                        <a:pt x="65" y="586"/>
                      </a:lnTo>
                      <a:lnTo>
                        <a:pt x="65" y="592"/>
                      </a:lnTo>
                      <a:lnTo>
                        <a:pt x="65" y="596"/>
                      </a:lnTo>
                      <a:lnTo>
                        <a:pt x="65" y="605"/>
                      </a:lnTo>
                      <a:lnTo>
                        <a:pt x="61" y="619"/>
                      </a:lnTo>
                      <a:lnTo>
                        <a:pt x="55" y="632"/>
                      </a:lnTo>
                      <a:lnTo>
                        <a:pt x="54" y="635"/>
                      </a:lnTo>
                      <a:lnTo>
                        <a:pt x="55" y="638"/>
                      </a:lnTo>
                      <a:lnTo>
                        <a:pt x="56" y="643"/>
                      </a:lnTo>
                      <a:lnTo>
                        <a:pt x="56" y="646"/>
                      </a:lnTo>
                      <a:lnTo>
                        <a:pt x="54" y="651"/>
                      </a:lnTo>
                      <a:lnTo>
                        <a:pt x="51" y="654"/>
                      </a:lnTo>
                      <a:lnTo>
                        <a:pt x="48" y="658"/>
                      </a:lnTo>
                      <a:lnTo>
                        <a:pt x="46" y="662"/>
                      </a:lnTo>
                      <a:lnTo>
                        <a:pt x="43" y="670"/>
                      </a:lnTo>
                      <a:lnTo>
                        <a:pt x="40" y="677"/>
                      </a:lnTo>
                      <a:lnTo>
                        <a:pt x="37" y="683"/>
                      </a:lnTo>
                      <a:lnTo>
                        <a:pt x="35" y="689"/>
                      </a:lnTo>
                      <a:lnTo>
                        <a:pt x="36" y="695"/>
                      </a:lnTo>
                      <a:lnTo>
                        <a:pt x="36" y="698"/>
                      </a:lnTo>
                      <a:lnTo>
                        <a:pt x="38" y="699"/>
                      </a:lnTo>
                      <a:lnTo>
                        <a:pt x="43" y="704"/>
                      </a:lnTo>
                      <a:lnTo>
                        <a:pt x="47" y="708"/>
                      </a:lnTo>
                      <a:lnTo>
                        <a:pt x="50" y="713"/>
                      </a:lnTo>
                      <a:lnTo>
                        <a:pt x="51" y="718"/>
                      </a:lnTo>
                      <a:lnTo>
                        <a:pt x="52" y="723"/>
                      </a:lnTo>
                      <a:lnTo>
                        <a:pt x="54" y="728"/>
                      </a:lnTo>
                      <a:lnTo>
                        <a:pt x="55" y="731"/>
                      </a:lnTo>
                      <a:lnTo>
                        <a:pt x="57" y="733"/>
                      </a:lnTo>
                      <a:lnTo>
                        <a:pt x="62" y="735"/>
                      </a:lnTo>
                      <a:lnTo>
                        <a:pt x="69" y="736"/>
                      </a:lnTo>
                      <a:lnTo>
                        <a:pt x="75" y="736"/>
                      </a:lnTo>
                      <a:lnTo>
                        <a:pt x="76" y="737"/>
                      </a:lnTo>
                      <a:lnTo>
                        <a:pt x="95" y="737"/>
                      </a:lnTo>
                      <a:lnTo>
                        <a:pt x="116" y="737"/>
                      </a:lnTo>
                      <a:lnTo>
                        <a:pt x="116" y="740"/>
                      </a:lnTo>
                      <a:lnTo>
                        <a:pt x="117" y="742"/>
                      </a:lnTo>
                      <a:lnTo>
                        <a:pt x="116" y="743"/>
                      </a:lnTo>
                      <a:lnTo>
                        <a:pt x="115" y="743"/>
                      </a:lnTo>
                      <a:lnTo>
                        <a:pt x="111" y="743"/>
                      </a:lnTo>
                      <a:lnTo>
                        <a:pt x="107" y="743"/>
                      </a:lnTo>
                      <a:lnTo>
                        <a:pt x="103" y="743"/>
                      </a:lnTo>
                      <a:lnTo>
                        <a:pt x="94" y="747"/>
                      </a:lnTo>
                      <a:lnTo>
                        <a:pt x="85" y="752"/>
                      </a:lnTo>
                      <a:lnTo>
                        <a:pt x="80" y="756"/>
                      </a:lnTo>
                      <a:lnTo>
                        <a:pt x="76" y="763"/>
                      </a:lnTo>
                      <a:lnTo>
                        <a:pt x="73" y="771"/>
                      </a:lnTo>
                      <a:lnTo>
                        <a:pt x="69" y="778"/>
                      </a:lnTo>
                      <a:lnTo>
                        <a:pt x="66" y="780"/>
                      </a:lnTo>
                      <a:lnTo>
                        <a:pt x="64" y="779"/>
                      </a:lnTo>
                      <a:lnTo>
                        <a:pt x="59" y="777"/>
                      </a:lnTo>
                      <a:lnTo>
                        <a:pt x="57" y="774"/>
                      </a:lnTo>
                      <a:lnTo>
                        <a:pt x="59" y="772"/>
                      </a:lnTo>
                      <a:lnTo>
                        <a:pt x="60" y="771"/>
                      </a:lnTo>
                      <a:lnTo>
                        <a:pt x="62" y="769"/>
                      </a:lnTo>
                      <a:lnTo>
                        <a:pt x="65" y="769"/>
                      </a:lnTo>
                      <a:lnTo>
                        <a:pt x="66" y="768"/>
                      </a:lnTo>
                      <a:lnTo>
                        <a:pt x="70" y="766"/>
                      </a:lnTo>
                      <a:lnTo>
                        <a:pt x="71" y="762"/>
                      </a:lnTo>
                      <a:lnTo>
                        <a:pt x="73" y="759"/>
                      </a:lnTo>
                      <a:lnTo>
                        <a:pt x="71" y="756"/>
                      </a:lnTo>
                      <a:lnTo>
                        <a:pt x="65" y="750"/>
                      </a:lnTo>
                      <a:lnTo>
                        <a:pt x="62" y="749"/>
                      </a:lnTo>
                      <a:lnTo>
                        <a:pt x="60" y="749"/>
                      </a:lnTo>
                      <a:lnTo>
                        <a:pt x="57" y="749"/>
                      </a:lnTo>
                      <a:lnTo>
                        <a:pt x="55" y="750"/>
                      </a:lnTo>
                      <a:lnTo>
                        <a:pt x="52" y="754"/>
                      </a:lnTo>
                      <a:lnTo>
                        <a:pt x="51" y="759"/>
                      </a:lnTo>
                      <a:lnTo>
                        <a:pt x="48" y="763"/>
                      </a:lnTo>
                      <a:lnTo>
                        <a:pt x="47" y="763"/>
                      </a:lnTo>
                      <a:lnTo>
                        <a:pt x="46" y="763"/>
                      </a:lnTo>
                      <a:lnTo>
                        <a:pt x="41" y="760"/>
                      </a:lnTo>
                      <a:lnTo>
                        <a:pt x="36" y="755"/>
                      </a:lnTo>
                      <a:lnTo>
                        <a:pt x="35" y="753"/>
                      </a:lnTo>
                      <a:lnTo>
                        <a:pt x="33" y="750"/>
                      </a:lnTo>
                      <a:lnTo>
                        <a:pt x="33" y="747"/>
                      </a:lnTo>
                      <a:lnTo>
                        <a:pt x="35" y="745"/>
                      </a:lnTo>
                      <a:lnTo>
                        <a:pt x="38" y="743"/>
                      </a:lnTo>
                      <a:lnTo>
                        <a:pt x="42" y="741"/>
                      </a:lnTo>
                      <a:lnTo>
                        <a:pt x="45" y="739"/>
                      </a:lnTo>
                      <a:lnTo>
                        <a:pt x="46" y="737"/>
                      </a:lnTo>
                      <a:lnTo>
                        <a:pt x="46" y="735"/>
                      </a:lnTo>
                      <a:lnTo>
                        <a:pt x="42" y="735"/>
                      </a:lnTo>
                      <a:lnTo>
                        <a:pt x="38" y="734"/>
                      </a:lnTo>
                      <a:lnTo>
                        <a:pt x="36" y="733"/>
                      </a:lnTo>
                      <a:lnTo>
                        <a:pt x="33" y="729"/>
                      </a:lnTo>
                      <a:lnTo>
                        <a:pt x="31" y="723"/>
                      </a:lnTo>
                      <a:lnTo>
                        <a:pt x="31" y="717"/>
                      </a:lnTo>
                      <a:lnTo>
                        <a:pt x="32" y="710"/>
                      </a:lnTo>
                      <a:lnTo>
                        <a:pt x="29" y="703"/>
                      </a:lnTo>
                      <a:lnTo>
                        <a:pt x="26" y="696"/>
                      </a:lnTo>
                      <a:lnTo>
                        <a:pt x="21" y="691"/>
                      </a:lnTo>
                      <a:lnTo>
                        <a:pt x="19" y="689"/>
                      </a:lnTo>
                      <a:lnTo>
                        <a:pt x="21" y="686"/>
                      </a:lnTo>
                      <a:lnTo>
                        <a:pt x="23" y="682"/>
                      </a:lnTo>
                      <a:lnTo>
                        <a:pt x="26" y="675"/>
                      </a:lnTo>
                      <a:lnTo>
                        <a:pt x="27" y="666"/>
                      </a:lnTo>
                      <a:lnTo>
                        <a:pt x="27" y="659"/>
                      </a:lnTo>
                      <a:lnTo>
                        <a:pt x="26" y="651"/>
                      </a:lnTo>
                      <a:lnTo>
                        <a:pt x="24" y="650"/>
                      </a:lnTo>
                      <a:lnTo>
                        <a:pt x="26" y="648"/>
                      </a:lnTo>
                      <a:lnTo>
                        <a:pt x="28" y="646"/>
                      </a:lnTo>
                      <a:lnTo>
                        <a:pt x="32" y="646"/>
                      </a:lnTo>
                      <a:lnTo>
                        <a:pt x="33" y="645"/>
                      </a:lnTo>
                      <a:lnTo>
                        <a:pt x="33" y="644"/>
                      </a:lnTo>
                      <a:lnTo>
                        <a:pt x="33" y="643"/>
                      </a:lnTo>
                      <a:lnTo>
                        <a:pt x="29" y="640"/>
                      </a:lnTo>
                      <a:lnTo>
                        <a:pt x="26" y="639"/>
                      </a:lnTo>
                      <a:lnTo>
                        <a:pt x="23" y="637"/>
                      </a:lnTo>
                      <a:lnTo>
                        <a:pt x="21" y="634"/>
                      </a:lnTo>
                      <a:lnTo>
                        <a:pt x="21" y="632"/>
                      </a:lnTo>
                      <a:lnTo>
                        <a:pt x="21" y="631"/>
                      </a:lnTo>
                      <a:lnTo>
                        <a:pt x="26" y="622"/>
                      </a:lnTo>
                      <a:lnTo>
                        <a:pt x="27" y="619"/>
                      </a:lnTo>
                      <a:lnTo>
                        <a:pt x="27" y="614"/>
                      </a:lnTo>
                      <a:lnTo>
                        <a:pt x="26" y="613"/>
                      </a:lnTo>
                      <a:lnTo>
                        <a:pt x="24" y="613"/>
                      </a:lnTo>
                      <a:lnTo>
                        <a:pt x="22" y="613"/>
                      </a:lnTo>
                      <a:lnTo>
                        <a:pt x="19" y="614"/>
                      </a:lnTo>
                      <a:lnTo>
                        <a:pt x="9" y="614"/>
                      </a:lnTo>
                      <a:lnTo>
                        <a:pt x="5" y="615"/>
                      </a:lnTo>
                      <a:lnTo>
                        <a:pt x="0" y="618"/>
                      </a:lnTo>
                      <a:lnTo>
                        <a:pt x="0" y="615"/>
                      </a:lnTo>
                      <a:lnTo>
                        <a:pt x="0" y="612"/>
                      </a:lnTo>
                      <a:lnTo>
                        <a:pt x="5" y="606"/>
                      </a:lnTo>
                      <a:lnTo>
                        <a:pt x="8" y="601"/>
                      </a:lnTo>
                      <a:lnTo>
                        <a:pt x="10" y="595"/>
                      </a:lnTo>
                      <a:lnTo>
                        <a:pt x="12" y="593"/>
                      </a:lnTo>
                      <a:lnTo>
                        <a:pt x="15" y="593"/>
                      </a:lnTo>
                      <a:lnTo>
                        <a:pt x="18" y="593"/>
                      </a:lnTo>
                      <a:lnTo>
                        <a:pt x="21" y="595"/>
                      </a:lnTo>
                      <a:lnTo>
                        <a:pt x="23" y="601"/>
                      </a:lnTo>
                      <a:lnTo>
                        <a:pt x="24" y="603"/>
                      </a:lnTo>
                      <a:lnTo>
                        <a:pt x="27" y="606"/>
                      </a:lnTo>
                      <a:lnTo>
                        <a:pt x="29" y="607"/>
                      </a:lnTo>
                      <a:lnTo>
                        <a:pt x="32" y="607"/>
                      </a:lnTo>
                      <a:lnTo>
                        <a:pt x="35" y="606"/>
                      </a:lnTo>
                      <a:lnTo>
                        <a:pt x="35" y="605"/>
                      </a:lnTo>
                      <a:lnTo>
                        <a:pt x="37" y="586"/>
                      </a:lnTo>
                      <a:lnTo>
                        <a:pt x="38" y="579"/>
                      </a:lnTo>
                      <a:lnTo>
                        <a:pt x="40" y="577"/>
                      </a:lnTo>
                      <a:lnTo>
                        <a:pt x="42" y="576"/>
                      </a:lnTo>
                      <a:lnTo>
                        <a:pt x="48" y="575"/>
                      </a:lnTo>
                      <a:lnTo>
                        <a:pt x="52" y="573"/>
                      </a:lnTo>
                      <a:lnTo>
                        <a:pt x="55" y="569"/>
                      </a:lnTo>
                      <a:lnTo>
                        <a:pt x="56" y="566"/>
                      </a:lnTo>
                      <a:lnTo>
                        <a:pt x="59" y="562"/>
                      </a:lnTo>
                      <a:lnTo>
                        <a:pt x="57" y="560"/>
                      </a:lnTo>
                      <a:lnTo>
                        <a:pt x="55" y="558"/>
                      </a:lnTo>
                      <a:lnTo>
                        <a:pt x="51" y="556"/>
                      </a:lnTo>
                      <a:lnTo>
                        <a:pt x="45" y="555"/>
                      </a:lnTo>
                      <a:lnTo>
                        <a:pt x="48" y="549"/>
                      </a:lnTo>
                      <a:lnTo>
                        <a:pt x="50" y="542"/>
                      </a:lnTo>
                      <a:lnTo>
                        <a:pt x="51" y="535"/>
                      </a:lnTo>
                      <a:lnTo>
                        <a:pt x="51" y="526"/>
                      </a:lnTo>
                      <a:lnTo>
                        <a:pt x="50" y="509"/>
                      </a:lnTo>
                      <a:lnTo>
                        <a:pt x="47" y="494"/>
                      </a:lnTo>
                      <a:lnTo>
                        <a:pt x="47" y="493"/>
                      </a:lnTo>
                      <a:lnTo>
                        <a:pt x="46" y="493"/>
                      </a:lnTo>
                      <a:lnTo>
                        <a:pt x="43" y="494"/>
                      </a:lnTo>
                      <a:lnTo>
                        <a:pt x="42" y="497"/>
                      </a:lnTo>
                      <a:lnTo>
                        <a:pt x="40" y="498"/>
                      </a:lnTo>
                      <a:lnTo>
                        <a:pt x="37" y="498"/>
                      </a:lnTo>
                      <a:lnTo>
                        <a:pt x="35" y="497"/>
                      </a:lnTo>
                      <a:lnTo>
                        <a:pt x="32" y="494"/>
                      </a:lnTo>
                      <a:lnTo>
                        <a:pt x="31" y="491"/>
                      </a:lnTo>
                      <a:lnTo>
                        <a:pt x="29" y="487"/>
                      </a:lnTo>
                      <a:lnTo>
                        <a:pt x="31" y="479"/>
                      </a:lnTo>
                      <a:lnTo>
                        <a:pt x="33" y="472"/>
                      </a:lnTo>
                      <a:lnTo>
                        <a:pt x="36" y="462"/>
                      </a:lnTo>
                      <a:lnTo>
                        <a:pt x="38" y="456"/>
                      </a:lnTo>
                      <a:lnTo>
                        <a:pt x="38" y="452"/>
                      </a:lnTo>
                      <a:lnTo>
                        <a:pt x="40" y="433"/>
                      </a:lnTo>
                      <a:lnTo>
                        <a:pt x="41" y="414"/>
                      </a:lnTo>
                      <a:lnTo>
                        <a:pt x="40" y="413"/>
                      </a:lnTo>
                      <a:lnTo>
                        <a:pt x="38" y="411"/>
                      </a:lnTo>
                      <a:lnTo>
                        <a:pt x="37" y="409"/>
                      </a:lnTo>
                      <a:lnTo>
                        <a:pt x="37" y="407"/>
                      </a:lnTo>
                      <a:lnTo>
                        <a:pt x="40" y="400"/>
                      </a:lnTo>
                      <a:lnTo>
                        <a:pt x="41" y="391"/>
                      </a:lnTo>
                      <a:lnTo>
                        <a:pt x="42" y="391"/>
                      </a:lnTo>
                      <a:lnTo>
                        <a:pt x="45" y="381"/>
                      </a:lnTo>
                      <a:lnTo>
                        <a:pt x="47" y="371"/>
                      </a:lnTo>
                      <a:lnTo>
                        <a:pt x="56" y="351"/>
                      </a:lnTo>
                      <a:lnTo>
                        <a:pt x="59" y="345"/>
                      </a:lnTo>
                      <a:lnTo>
                        <a:pt x="59" y="341"/>
                      </a:lnTo>
                      <a:lnTo>
                        <a:pt x="61" y="333"/>
                      </a:lnTo>
                      <a:lnTo>
                        <a:pt x="65" y="325"/>
                      </a:lnTo>
                      <a:lnTo>
                        <a:pt x="66" y="313"/>
                      </a:lnTo>
                      <a:lnTo>
                        <a:pt x="69" y="307"/>
                      </a:lnTo>
                      <a:lnTo>
                        <a:pt x="70" y="302"/>
                      </a:lnTo>
                      <a:lnTo>
                        <a:pt x="73" y="296"/>
                      </a:lnTo>
                      <a:lnTo>
                        <a:pt x="73" y="293"/>
                      </a:lnTo>
                      <a:lnTo>
                        <a:pt x="71" y="289"/>
                      </a:lnTo>
                      <a:lnTo>
                        <a:pt x="71" y="287"/>
                      </a:lnTo>
                      <a:lnTo>
                        <a:pt x="71" y="285"/>
                      </a:lnTo>
                      <a:lnTo>
                        <a:pt x="71" y="280"/>
                      </a:lnTo>
                      <a:lnTo>
                        <a:pt x="69" y="267"/>
                      </a:lnTo>
                      <a:lnTo>
                        <a:pt x="68" y="255"/>
                      </a:lnTo>
                      <a:lnTo>
                        <a:pt x="69" y="243"/>
                      </a:lnTo>
                      <a:lnTo>
                        <a:pt x="70" y="231"/>
                      </a:lnTo>
                      <a:lnTo>
                        <a:pt x="69" y="230"/>
                      </a:lnTo>
                      <a:lnTo>
                        <a:pt x="68" y="228"/>
                      </a:lnTo>
                      <a:lnTo>
                        <a:pt x="66" y="223"/>
                      </a:lnTo>
                      <a:lnTo>
                        <a:pt x="69" y="217"/>
                      </a:lnTo>
                      <a:lnTo>
                        <a:pt x="73" y="210"/>
                      </a:lnTo>
                      <a:lnTo>
                        <a:pt x="75" y="206"/>
                      </a:lnTo>
                      <a:lnTo>
                        <a:pt x="76" y="203"/>
                      </a:lnTo>
                      <a:lnTo>
                        <a:pt x="79" y="193"/>
                      </a:lnTo>
                      <a:lnTo>
                        <a:pt x="80" y="187"/>
                      </a:lnTo>
                      <a:lnTo>
                        <a:pt x="80" y="184"/>
                      </a:lnTo>
                      <a:lnTo>
                        <a:pt x="80" y="180"/>
                      </a:lnTo>
                      <a:lnTo>
                        <a:pt x="81" y="174"/>
                      </a:lnTo>
                      <a:lnTo>
                        <a:pt x="81" y="168"/>
                      </a:lnTo>
                      <a:lnTo>
                        <a:pt x="81" y="162"/>
                      </a:lnTo>
                      <a:lnTo>
                        <a:pt x="81" y="158"/>
                      </a:lnTo>
                      <a:lnTo>
                        <a:pt x="85" y="151"/>
                      </a:lnTo>
                      <a:lnTo>
                        <a:pt x="87" y="147"/>
                      </a:lnTo>
                      <a:lnTo>
                        <a:pt x="85" y="145"/>
                      </a:lnTo>
                      <a:lnTo>
                        <a:pt x="83" y="138"/>
                      </a:lnTo>
                      <a:lnTo>
                        <a:pt x="83" y="135"/>
                      </a:lnTo>
                      <a:lnTo>
                        <a:pt x="83" y="134"/>
                      </a:lnTo>
                      <a:lnTo>
                        <a:pt x="84" y="129"/>
                      </a:lnTo>
                      <a:lnTo>
                        <a:pt x="84" y="124"/>
                      </a:lnTo>
                      <a:lnTo>
                        <a:pt x="84" y="120"/>
                      </a:lnTo>
                      <a:lnTo>
                        <a:pt x="85" y="116"/>
                      </a:lnTo>
                      <a:lnTo>
                        <a:pt x="88" y="113"/>
                      </a:lnTo>
                      <a:lnTo>
                        <a:pt x="88" y="109"/>
                      </a:lnTo>
                      <a:lnTo>
                        <a:pt x="87" y="107"/>
                      </a:lnTo>
                      <a:lnTo>
                        <a:pt x="85" y="104"/>
                      </a:lnTo>
                      <a:lnTo>
                        <a:pt x="85" y="102"/>
                      </a:lnTo>
                      <a:lnTo>
                        <a:pt x="85" y="98"/>
                      </a:lnTo>
                      <a:lnTo>
                        <a:pt x="88" y="94"/>
                      </a:lnTo>
                      <a:lnTo>
                        <a:pt x="90" y="84"/>
                      </a:lnTo>
                      <a:lnTo>
                        <a:pt x="92" y="69"/>
                      </a:lnTo>
                      <a:lnTo>
                        <a:pt x="90" y="45"/>
                      </a:lnTo>
                      <a:lnTo>
                        <a:pt x="89" y="20"/>
                      </a:lnTo>
                      <a:lnTo>
                        <a:pt x="87" y="4"/>
                      </a:lnTo>
                      <a:lnTo>
                        <a:pt x="93" y="4"/>
                      </a:lnTo>
                      <a:lnTo>
                        <a:pt x="98" y="2"/>
                      </a:lnTo>
                      <a:lnTo>
                        <a:pt x="108" y="0"/>
                      </a:lnTo>
                      <a:lnTo>
                        <a:pt x="115" y="7"/>
                      </a:lnTo>
                      <a:lnTo>
                        <a:pt x="118" y="15"/>
                      </a:lnTo>
                      <a:lnTo>
                        <a:pt x="122" y="25"/>
                      </a:lnTo>
                      <a:lnTo>
                        <a:pt x="123" y="34"/>
                      </a:lnTo>
                      <a:lnTo>
                        <a:pt x="123" y="41"/>
                      </a:lnTo>
                      <a:lnTo>
                        <a:pt x="126" y="49"/>
                      </a:lnTo>
                      <a:lnTo>
                        <a:pt x="130" y="60"/>
                      </a:lnTo>
                      <a:lnTo>
                        <a:pt x="134" y="72"/>
                      </a:lnTo>
                      <a:lnTo>
                        <a:pt x="137" y="81"/>
                      </a:lnTo>
                      <a:lnTo>
                        <a:pt x="140" y="88"/>
                      </a:lnTo>
                      <a:lnTo>
                        <a:pt x="142" y="90"/>
                      </a:lnTo>
                      <a:lnTo>
                        <a:pt x="145" y="9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2" name="Freeform 1083"/>
                <p:cNvSpPr>
                  <a:spLocks/>
                </p:cNvSpPr>
                <p:nvPr/>
              </p:nvSpPr>
              <p:spPr bwMode="auto">
                <a:xfrm>
                  <a:off x="2920787" y="6266939"/>
                  <a:ext cx="84352" cy="81392"/>
                </a:xfrm>
                <a:custGeom>
                  <a:avLst/>
                  <a:gdLst>
                    <a:gd name="T0" fmla="*/ 2147483647 w 61"/>
                    <a:gd name="T1" fmla="*/ 2147483647 h 55"/>
                    <a:gd name="T2" fmla="*/ 2147483647 w 61"/>
                    <a:gd name="T3" fmla="*/ 2147483647 h 55"/>
                    <a:gd name="T4" fmla="*/ 2147483647 w 61"/>
                    <a:gd name="T5" fmla="*/ 2147483647 h 55"/>
                    <a:gd name="T6" fmla="*/ 2147483647 w 61"/>
                    <a:gd name="T7" fmla="*/ 0 h 55"/>
                    <a:gd name="T8" fmla="*/ 2147483647 w 61"/>
                    <a:gd name="T9" fmla="*/ 2147483647 h 55"/>
                    <a:gd name="T10" fmla="*/ 2147483647 w 61"/>
                    <a:gd name="T11" fmla="*/ 0 h 55"/>
                    <a:gd name="T12" fmla="*/ 2147483647 w 61"/>
                    <a:gd name="T13" fmla="*/ 2147483647 h 55"/>
                    <a:gd name="T14" fmla="*/ 2147483647 w 61"/>
                    <a:gd name="T15" fmla="*/ 2147483647 h 55"/>
                    <a:gd name="T16" fmla="*/ 2147483647 w 61"/>
                    <a:gd name="T17" fmla="*/ 2147483647 h 55"/>
                    <a:gd name="T18" fmla="*/ 2147483647 w 61"/>
                    <a:gd name="T19" fmla="*/ 2147483647 h 55"/>
                    <a:gd name="T20" fmla="*/ 2147483647 w 61"/>
                    <a:gd name="T21" fmla="*/ 2147483647 h 55"/>
                    <a:gd name="T22" fmla="*/ 2147483647 w 61"/>
                    <a:gd name="T23" fmla="*/ 2147483647 h 55"/>
                    <a:gd name="T24" fmla="*/ 2147483647 w 61"/>
                    <a:gd name="T25" fmla="*/ 2147483647 h 55"/>
                    <a:gd name="T26" fmla="*/ 2147483647 w 61"/>
                    <a:gd name="T27" fmla="*/ 2147483647 h 55"/>
                    <a:gd name="T28" fmla="*/ 2147483647 w 61"/>
                    <a:gd name="T29" fmla="*/ 2147483647 h 55"/>
                    <a:gd name="T30" fmla="*/ 2147483647 w 61"/>
                    <a:gd name="T31" fmla="*/ 2147483647 h 55"/>
                    <a:gd name="T32" fmla="*/ 2147483647 w 61"/>
                    <a:gd name="T33" fmla="*/ 2147483647 h 55"/>
                    <a:gd name="T34" fmla="*/ 2147483647 w 61"/>
                    <a:gd name="T35" fmla="*/ 2147483647 h 55"/>
                    <a:gd name="T36" fmla="*/ 2147483647 w 61"/>
                    <a:gd name="T37" fmla="*/ 2147483647 h 55"/>
                    <a:gd name="T38" fmla="*/ 2147483647 w 61"/>
                    <a:gd name="T39" fmla="*/ 2147483647 h 55"/>
                    <a:gd name="T40" fmla="*/ 2147483647 w 61"/>
                    <a:gd name="T41" fmla="*/ 2147483647 h 55"/>
                    <a:gd name="T42" fmla="*/ 2147483647 w 61"/>
                    <a:gd name="T43" fmla="*/ 2147483647 h 55"/>
                    <a:gd name="T44" fmla="*/ 2147483647 w 61"/>
                    <a:gd name="T45" fmla="*/ 2147483647 h 55"/>
                    <a:gd name="T46" fmla="*/ 2147483647 w 61"/>
                    <a:gd name="T47" fmla="*/ 2147483647 h 55"/>
                    <a:gd name="T48" fmla="*/ 2147483647 w 61"/>
                    <a:gd name="T49" fmla="*/ 2147483647 h 55"/>
                    <a:gd name="T50" fmla="*/ 2147483647 w 61"/>
                    <a:gd name="T51" fmla="*/ 2147483647 h 55"/>
                    <a:gd name="T52" fmla="*/ 2147483647 w 61"/>
                    <a:gd name="T53" fmla="*/ 2147483647 h 55"/>
                    <a:gd name="T54" fmla="*/ 2147483647 w 61"/>
                    <a:gd name="T55" fmla="*/ 2147483647 h 55"/>
                    <a:gd name="T56" fmla="*/ 0 w 61"/>
                    <a:gd name="T57" fmla="*/ 2147483647 h 55"/>
                    <a:gd name="T58" fmla="*/ 2147483647 w 61"/>
                    <a:gd name="T59" fmla="*/ 2147483647 h 55"/>
                    <a:gd name="T60" fmla="*/ 2147483647 w 61"/>
                    <a:gd name="T61" fmla="*/ 2147483647 h 55"/>
                    <a:gd name="T62" fmla="*/ 2147483647 w 61"/>
                    <a:gd name="T63" fmla="*/ 2147483647 h 55"/>
                    <a:gd name="T64" fmla="*/ 2147483647 w 61"/>
                    <a:gd name="T65" fmla="*/ 2147483647 h 55"/>
                    <a:gd name="T66" fmla="*/ 2147483647 w 61"/>
                    <a:gd name="T67" fmla="*/ 2147483647 h 55"/>
                    <a:gd name="T68" fmla="*/ 2147483647 w 61"/>
                    <a:gd name="T69" fmla="*/ 2147483647 h 55"/>
                    <a:gd name="T70" fmla="*/ 2147483647 w 61"/>
                    <a:gd name="T71" fmla="*/ 2147483647 h 5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
                    <a:gd name="T109" fmla="*/ 0 h 55"/>
                    <a:gd name="T110" fmla="*/ 61 w 61"/>
                    <a:gd name="T111" fmla="*/ 55 h 5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 h="55">
                      <a:moveTo>
                        <a:pt x="61" y="49"/>
                      </a:moveTo>
                      <a:lnTo>
                        <a:pt x="61" y="14"/>
                      </a:lnTo>
                      <a:lnTo>
                        <a:pt x="60" y="8"/>
                      </a:lnTo>
                      <a:lnTo>
                        <a:pt x="56" y="2"/>
                      </a:lnTo>
                      <a:lnTo>
                        <a:pt x="55" y="1"/>
                      </a:lnTo>
                      <a:lnTo>
                        <a:pt x="51" y="0"/>
                      </a:lnTo>
                      <a:lnTo>
                        <a:pt x="45" y="1"/>
                      </a:lnTo>
                      <a:lnTo>
                        <a:pt x="44" y="1"/>
                      </a:lnTo>
                      <a:lnTo>
                        <a:pt x="41" y="0"/>
                      </a:lnTo>
                      <a:lnTo>
                        <a:pt x="33" y="1"/>
                      </a:lnTo>
                      <a:lnTo>
                        <a:pt x="31" y="2"/>
                      </a:lnTo>
                      <a:lnTo>
                        <a:pt x="28" y="4"/>
                      </a:lnTo>
                      <a:lnTo>
                        <a:pt x="27" y="6"/>
                      </a:lnTo>
                      <a:lnTo>
                        <a:pt x="26" y="9"/>
                      </a:lnTo>
                      <a:lnTo>
                        <a:pt x="25" y="14"/>
                      </a:lnTo>
                      <a:lnTo>
                        <a:pt x="26" y="15"/>
                      </a:lnTo>
                      <a:lnTo>
                        <a:pt x="27" y="15"/>
                      </a:lnTo>
                      <a:lnTo>
                        <a:pt x="31" y="12"/>
                      </a:lnTo>
                      <a:lnTo>
                        <a:pt x="37" y="9"/>
                      </a:lnTo>
                      <a:lnTo>
                        <a:pt x="40" y="9"/>
                      </a:lnTo>
                      <a:lnTo>
                        <a:pt x="41" y="11"/>
                      </a:lnTo>
                      <a:lnTo>
                        <a:pt x="41" y="13"/>
                      </a:lnTo>
                      <a:lnTo>
                        <a:pt x="40" y="14"/>
                      </a:lnTo>
                      <a:lnTo>
                        <a:pt x="37" y="19"/>
                      </a:lnTo>
                      <a:lnTo>
                        <a:pt x="35" y="23"/>
                      </a:lnTo>
                      <a:lnTo>
                        <a:pt x="35" y="26"/>
                      </a:lnTo>
                      <a:lnTo>
                        <a:pt x="36" y="30"/>
                      </a:lnTo>
                      <a:lnTo>
                        <a:pt x="39" y="32"/>
                      </a:lnTo>
                      <a:lnTo>
                        <a:pt x="41" y="36"/>
                      </a:lnTo>
                      <a:lnTo>
                        <a:pt x="49" y="42"/>
                      </a:lnTo>
                      <a:lnTo>
                        <a:pt x="49" y="43"/>
                      </a:lnTo>
                      <a:lnTo>
                        <a:pt x="45" y="44"/>
                      </a:lnTo>
                      <a:lnTo>
                        <a:pt x="41" y="44"/>
                      </a:lnTo>
                      <a:lnTo>
                        <a:pt x="37" y="44"/>
                      </a:lnTo>
                      <a:lnTo>
                        <a:pt x="30" y="40"/>
                      </a:lnTo>
                      <a:lnTo>
                        <a:pt x="27" y="39"/>
                      </a:lnTo>
                      <a:lnTo>
                        <a:pt x="25" y="39"/>
                      </a:lnTo>
                      <a:lnTo>
                        <a:pt x="18" y="40"/>
                      </a:lnTo>
                      <a:lnTo>
                        <a:pt x="12" y="40"/>
                      </a:lnTo>
                      <a:lnTo>
                        <a:pt x="6" y="42"/>
                      </a:lnTo>
                      <a:lnTo>
                        <a:pt x="3" y="42"/>
                      </a:lnTo>
                      <a:lnTo>
                        <a:pt x="2" y="43"/>
                      </a:lnTo>
                      <a:lnTo>
                        <a:pt x="0" y="45"/>
                      </a:lnTo>
                      <a:lnTo>
                        <a:pt x="2" y="47"/>
                      </a:lnTo>
                      <a:lnTo>
                        <a:pt x="4" y="49"/>
                      </a:lnTo>
                      <a:lnTo>
                        <a:pt x="8" y="50"/>
                      </a:lnTo>
                      <a:lnTo>
                        <a:pt x="18" y="51"/>
                      </a:lnTo>
                      <a:lnTo>
                        <a:pt x="26" y="51"/>
                      </a:lnTo>
                      <a:lnTo>
                        <a:pt x="30" y="52"/>
                      </a:lnTo>
                      <a:lnTo>
                        <a:pt x="35" y="53"/>
                      </a:lnTo>
                      <a:lnTo>
                        <a:pt x="39" y="53"/>
                      </a:lnTo>
                      <a:lnTo>
                        <a:pt x="42" y="55"/>
                      </a:lnTo>
                      <a:lnTo>
                        <a:pt x="51" y="52"/>
                      </a:lnTo>
                      <a:lnTo>
                        <a:pt x="61" y="4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3" name="Freeform 1085"/>
                <p:cNvSpPr>
                  <a:spLocks/>
                </p:cNvSpPr>
                <p:nvPr/>
              </p:nvSpPr>
              <p:spPr bwMode="auto">
                <a:xfrm>
                  <a:off x="3008100" y="6289136"/>
                  <a:ext cx="72514" cy="54756"/>
                </a:xfrm>
                <a:custGeom>
                  <a:avLst/>
                  <a:gdLst>
                    <a:gd name="T0" fmla="*/ 0 w 54"/>
                    <a:gd name="T1" fmla="*/ 2147483647 h 37"/>
                    <a:gd name="T2" fmla="*/ 0 w 54"/>
                    <a:gd name="T3" fmla="*/ 0 h 37"/>
                    <a:gd name="T4" fmla="*/ 2147483647 w 54"/>
                    <a:gd name="T5" fmla="*/ 2147483647 h 37"/>
                    <a:gd name="T6" fmla="*/ 2147483647 w 54"/>
                    <a:gd name="T7" fmla="*/ 2147483647 h 37"/>
                    <a:gd name="T8" fmla="*/ 2147483647 w 54"/>
                    <a:gd name="T9" fmla="*/ 2147483647 h 37"/>
                    <a:gd name="T10" fmla="*/ 2147483647 w 54"/>
                    <a:gd name="T11" fmla="*/ 2147483647 h 37"/>
                    <a:gd name="T12" fmla="*/ 2147483647 w 54"/>
                    <a:gd name="T13" fmla="*/ 2147483647 h 37"/>
                    <a:gd name="T14" fmla="*/ 2147483647 w 54"/>
                    <a:gd name="T15" fmla="*/ 2147483647 h 37"/>
                    <a:gd name="T16" fmla="*/ 2147483647 w 54"/>
                    <a:gd name="T17" fmla="*/ 2147483647 h 37"/>
                    <a:gd name="T18" fmla="*/ 2147483647 w 54"/>
                    <a:gd name="T19" fmla="*/ 2147483647 h 37"/>
                    <a:gd name="T20" fmla="*/ 2147483647 w 54"/>
                    <a:gd name="T21" fmla="*/ 2147483647 h 37"/>
                    <a:gd name="T22" fmla="*/ 2147483647 w 54"/>
                    <a:gd name="T23" fmla="*/ 2147483647 h 37"/>
                    <a:gd name="T24" fmla="*/ 2147483647 w 54"/>
                    <a:gd name="T25" fmla="*/ 2147483647 h 37"/>
                    <a:gd name="T26" fmla="*/ 2147483647 w 54"/>
                    <a:gd name="T27" fmla="*/ 2147483647 h 37"/>
                    <a:gd name="T28" fmla="*/ 2147483647 w 54"/>
                    <a:gd name="T29" fmla="*/ 2147483647 h 37"/>
                    <a:gd name="T30" fmla="*/ 2147483647 w 54"/>
                    <a:gd name="T31" fmla="*/ 2147483647 h 37"/>
                    <a:gd name="T32" fmla="*/ 2147483647 w 54"/>
                    <a:gd name="T33" fmla="*/ 2147483647 h 37"/>
                    <a:gd name="T34" fmla="*/ 2147483647 w 54"/>
                    <a:gd name="T35" fmla="*/ 2147483647 h 37"/>
                    <a:gd name="T36" fmla="*/ 2147483647 w 54"/>
                    <a:gd name="T37" fmla="*/ 2147483647 h 37"/>
                    <a:gd name="T38" fmla="*/ 2147483647 w 54"/>
                    <a:gd name="T39" fmla="*/ 2147483647 h 37"/>
                    <a:gd name="T40" fmla="*/ 2147483647 w 54"/>
                    <a:gd name="T41" fmla="*/ 2147483647 h 37"/>
                    <a:gd name="T42" fmla="*/ 2147483647 w 54"/>
                    <a:gd name="T43" fmla="*/ 2147483647 h 37"/>
                    <a:gd name="T44" fmla="*/ 2147483647 w 54"/>
                    <a:gd name="T45" fmla="*/ 2147483647 h 37"/>
                    <a:gd name="T46" fmla="*/ 2147483647 w 54"/>
                    <a:gd name="T47" fmla="*/ 2147483647 h 37"/>
                    <a:gd name="T48" fmla="*/ 2147483647 w 54"/>
                    <a:gd name="T49" fmla="*/ 2147483647 h 37"/>
                    <a:gd name="T50" fmla="*/ 2147483647 w 54"/>
                    <a:gd name="T51" fmla="*/ 2147483647 h 37"/>
                    <a:gd name="T52" fmla="*/ 2147483647 w 54"/>
                    <a:gd name="T53" fmla="*/ 2147483647 h 37"/>
                    <a:gd name="T54" fmla="*/ 0 w 54"/>
                    <a:gd name="T55" fmla="*/ 2147483647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37"/>
                    <a:gd name="T86" fmla="*/ 54 w 54"/>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37">
                      <a:moveTo>
                        <a:pt x="0" y="35"/>
                      </a:moveTo>
                      <a:lnTo>
                        <a:pt x="0" y="0"/>
                      </a:lnTo>
                      <a:lnTo>
                        <a:pt x="2" y="5"/>
                      </a:lnTo>
                      <a:lnTo>
                        <a:pt x="3" y="6"/>
                      </a:lnTo>
                      <a:lnTo>
                        <a:pt x="5" y="6"/>
                      </a:lnTo>
                      <a:lnTo>
                        <a:pt x="6" y="8"/>
                      </a:lnTo>
                      <a:lnTo>
                        <a:pt x="7" y="9"/>
                      </a:lnTo>
                      <a:lnTo>
                        <a:pt x="11" y="12"/>
                      </a:lnTo>
                      <a:lnTo>
                        <a:pt x="15" y="17"/>
                      </a:lnTo>
                      <a:lnTo>
                        <a:pt x="24" y="22"/>
                      </a:lnTo>
                      <a:lnTo>
                        <a:pt x="34" y="27"/>
                      </a:lnTo>
                      <a:lnTo>
                        <a:pt x="44" y="30"/>
                      </a:lnTo>
                      <a:lnTo>
                        <a:pt x="50" y="30"/>
                      </a:lnTo>
                      <a:lnTo>
                        <a:pt x="53" y="30"/>
                      </a:lnTo>
                      <a:lnTo>
                        <a:pt x="54" y="32"/>
                      </a:lnTo>
                      <a:lnTo>
                        <a:pt x="49" y="35"/>
                      </a:lnTo>
                      <a:lnTo>
                        <a:pt x="44" y="36"/>
                      </a:lnTo>
                      <a:lnTo>
                        <a:pt x="39" y="37"/>
                      </a:lnTo>
                      <a:lnTo>
                        <a:pt x="34" y="37"/>
                      </a:lnTo>
                      <a:lnTo>
                        <a:pt x="29" y="37"/>
                      </a:lnTo>
                      <a:lnTo>
                        <a:pt x="24" y="36"/>
                      </a:lnTo>
                      <a:lnTo>
                        <a:pt x="19" y="34"/>
                      </a:lnTo>
                      <a:lnTo>
                        <a:pt x="14" y="31"/>
                      </a:lnTo>
                      <a:lnTo>
                        <a:pt x="12" y="31"/>
                      </a:lnTo>
                      <a:lnTo>
                        <a:pt x="10" y="31"/>
                      </a:lnTo>
                      <a:lnTo>
                        <a:pt x="7" y="34"/>
                      </a:lnTo>
                      <a:lnTo>
                        <a:pt x="5" y="35"/>
                      </a:lnTo>
                      <a:lnTo>
                        <a:pt x="0" y="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4" name="Freeform 1087"/>
                <p:cNvSpPr>
                  <a:spLocks/>
                </p:cNvSpPr>
                <p:nvPr/>
              </p:nvSpPr>
              <p:spPr bwMode="auto">
                <a:xfrm>
                  <a:off x="3005142" y="6287658"/>
                  <a:ext cx="73994" cy="54755"/>
                </a:xfrm>
                <a:custGeom>
                  <a:avLst/>
                  <a:gdLst>
                    <a:gd name="T0" fmla="*/ 0 w 55"/>
                    <a:gd name="T1" fmla="*/ 2147483647 h 37"/>
                    <a:gd name="T2" fmla="*/ 0 w 55"/>
                    <a:gd name="T3" fmla="*/ 0 h 37"/>
                    <a:gd name="T4" fmla="*/ 0 w 55"/>
                    <a:gd name="T5" fmla="*/ 0 h 37"/>
                    <a:gd name="T6" fmla="*/ 2147483647 w 55"/>
                    <a:gd name="T7" fmla="*/ 2147483647 h 37"/>
                    <a:gd name="T8" fmla="*/ 2147483647 w 55"/>
                    <a:gd name="T9" fmla="*/ 2147483647 h 37"/>
                    <a:gd name="T10" fmla="*/ 2147483647 w 55"/>
                    <a:gd name="T11" fmla="*/ 2147483647 h 37"/>
                    <a:gd name="T12" fmla="*/ 2147483647 w 55"/>
                    <a:gd name="T13" fmla="*/ 2147483647 h 37"/>
                    <a:gd name="T14" fmla="*/ 2147483647 w 55"/>
                    <a:gd name="T15" fmla="*/ 2147483647 h 37"/>
                    <a:gd name="T16" fmla="*/ 2147483647 w 55"/>
                    <a:gd name="T17" fmla="*/ 2147483647 h 37"/>
                    <a:gd name="T18" fmla="*/ 2147483647 w 55"/>
                    <a:gd name="T19" fmla="*/ 2147483647 h 37"/>
                    <a:gd name="T20" fmla="*/ 2147483647 w 55"/>
                    <a:gd name="T21" fmla="*/ 2147483647 h 37"/>
                    <a:gd name="T22" fmla="*/ 2147483647 w 55"/>
                    <a:gd name="T23" fmla="*/ 2147483647 h 37"/>
                    <a:gd name="T24" fmla="*/ 2147483647 w 55"/>
                    <a:gd name="T25" fmla="*/ 2147483647 h 37"/>
                    <a:gd name="T26" fmla="*/ 2147483647 w 55"/>
                    <a:gd name="T27" fmla="*/ 2147483647 h 37"/>
                    <a:gd name="T28" fmla="*/ 2147483647 w 55"/>
                    <a:gd name="T29" fmla="*/ 2147483647 h 37"/>
                    <a:gd name="T30" fmla="*/ 2147483647 w 55"/>
                    <a:gd name="T31" fmla="*/ 2147483647 h 37"/>
                    <a:gd name="T32" fmla="*/ 2147483647 w 55"/>
                    <a:gd name="T33" fmla="*/ 2147483647 h 37"/>
                    <a:gd name="T34" fmla="*/ 2147483647 w 55"/>
                    <a:gd name="T35" fmla="*/ 2147483647 h 37"/>
                    <a:gd name="T36" fmla="*/ 2147483647 w 55"/>
                    <a:gd name="T37" fmla="*/ 2147483647 h 37"/>
                    <a:gd name="T38" fmla="*/ 2147483647 w 55"/>
                    <a:gd name="T39" fmla="*/ 2147483647 h 37"/>
                    <a:gd name="T40" fmla="*/ 2147483647 w 55"/>
                    <a:gd name="T41" fmla="*/ 2147483647 h 37"/>
                    <a:gd name="T42" fmla="*/ 2147483647 w 55"/>
                    <a:gd name="T43" fmla="*/ 2147483647 h 37"/>
                    <a:gd name="T44" fmla="*/ 2147483647 w 55"/>
                    <a:gd name="T45" fmla="*/ 2147483647 h 37"/>
                    <a:gd name="T46" fmla="*/ 2147483647 w 55"/>
                    <a:gd name="T47" fmla="*/ 2147483647 h 37"/>
                    <a:gd name="T48" fmla="*/ 2147483647 w 55"/>
                    <a:gd name="T49" fmla="*/ 2147483647 h 37"/>
                    <a:gd name="T50" fmla="*/ 2147483647 w 55"/>
                    <a:gd name="T51" fmla="*/ 2147483647 h 37"/>
                    <a:gd name="T52" fmla="*/ 2147483647 w 55"/>
                    <a:gd name="T53" fmla="*/ 2147483647 h 37"/>
                    <a:gd name="T54" fmla="*/ 2147483647 w 55"/>
                    <a:gd name="T55" fmla="*/ 2147483647 h 37"/>
                    <a:gd name="T56" fmla="*/ 2147483647 w 55"/>
                    <a:gd name="T57" fmla="*/ 2147483647 h 37"/>
                    <a:gd name="T58" fmla="*/ 2147483647 w 55"/>
                    <a:gd name="T59" fmla="*/ 2147483647 h 37"/>
                    <a:gd name="T60" fmla="*/ 2147483647 w 55"/>
                    <a:gd name="T61" fmla="*/ 2147483647 h 37"/>
                    <a:gd name="T62" fmla="*/ 2147483647 w 55"/>
                    <a:gd name="T63" fmla="*/ 2147483647 h 37"/>
                    <a:gd name="T64" fmla="*/ 2147483647 w 55"/>
                    <a:gd name="T65" fmla="*/ 2147483647 h 37"/>
                    <a:gd name="T66" fmla="*/ 2147483647 w 55"/>
                    <a:gd name="T67" fmla="*/ 2147483647 h 37"/>
                    <a:gd name="T68" fmla="*/ 2147483647 w 55"/>
                    <a:gd name="T69" fmla="*/ 2147483647 h 37"/>
                    <a:gd name="T70" fmla="*/ 0 w 55"/>
                    <a:gd name="T71" fmla="*/ 2147483647 h 37"/>
                    <a:gd name="T72" fmla="*/ 0 w 55"/>
                    <a:gd name="T73" fmla="*/ 2147483647 h 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5"/>
                    <a:gd name="T112" fmla="*/ 0 h 37"/>
                    <a:gd name="T113" fmla="*/ 55 w 55"/>
                    <a:gd name="T114" fmla="*/ 37 h 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5" h="37">
                      <a:moveTo>
                        <a:pt x="0" y="35"/>
                      </a:moveTo>
                      <a:lnTo>
                        <a:pt x="0" y="0"/>
                      </a:lnTo>
                      <a:lnTo>
                        <a:pt x="3" y="5"/>
                      </a:lnTo>
                      <a:lnTo>
                        <a:pt x="4" y="6"/>
                      </a:lnTo>
                      <a:lnTo>
                        <a:pt x="5" y="6"/>
                      </a:lnTo>
                      <a:lnTo>
                        <a:pt x="7" y="7"/>
                      </a:lnTo>
                      <a:lnTo>
                        <a:pt x="8" y="9"/>
                      </a:lnTo>
                      <a:lnTo>
                        <a:pt x="12" y="12"/>
                      </a:lnTo>
                      <a:lnTo>
                        <a:pt x="16" y="17"/>
                      </a:lnTo>
                      <a:lnTo>
                        <a:pt x="25" y="22"/>
                      </a:lnTo>
                      <a:lnTo>
                        <a:pt x="35" y="26"/>
                      </a:lnTo>
                      <a:lnTo>
                        <a:pt x="45" y="30"/>
                      </a:lnTo>
                      <a:lnTo>
                        <a:pt x="51" y="30"/>
                      </a:lnTo>
                      <a:lnTo>
                        <a:pt x="54" y="30"/>
                      </a:lnTo>
                      <a:lnTo>
                        <a:pt x="55" y="32"/>
                      </a:lnTo>
                      <a:lnTo>
                        <a:pt x="50" y="35"/>
                      </a:lnTo>
                      <a:lnTo>
                        <a:pt x="45" y="36"/>
                      </a:lnTo>
                      <a:lnTo>
                        <a:pt x="40" y="37"/>
                      </a:lnTo>
                      <a:lnTo>
                        <a:pt x="35" y="37"/>
                      </a:lnTo>
                      <a:lnTo>
                        <a:pt x="30" y="37"/>
                      </a:lnTo>
                      <a:lnTo>
                        <a:pt x="25" y="36"/>
                      </a:lnTo>
                      <a:lnTo>
                        <a:pt x="19" y="33"/>
                      </a:lnTo>
                      <a:lnTo>
                        <a:pt x="14" y="31"/>
                      </a:lnTo>
                      <a:lnTo>
                        <a:pt x="13" y="31"/>
                      </a:lnTo>
                      <a:lnTo>
                        <a:pt x="11" y="31"/>
                      </a:lnTo>
                      <a:lnTo>
                        <a:pt x="8" y="33"/>
                      </a:lnTo>
                      <a:lnTo>
                        <a:pt x="5" y="35"/>
                      </a:lnTo>
                      <a:lnTo>
                        <a:pt x="0" y="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5" name="Freeform 1088"/>
                <p:cNvSpPr>
                  <a:spLocks/>
                </p:cNvSpPr>
                <p:nvPr/>
              </p:nvSpPr>
              <p:spPr bwMode="auto">
                <a:xfrm>
                  <a:off x="3102815" y="6339452"/>
                  <a:ext cx="16279" cy="5919"/>
                </a:xfrm>
                <a:custGeom>
                  <a:avLst/>
                  <a:gdLst>
                    <a:gd name="T0" fmla="*/ 2147483647 w 12"/>
                    <a:gd name="T1" fmla="*/ 0 h 4"/>
                    <a:gd name="T2" fmla="*/ 2147483647 w 12"/>
                    <a:gd name="T3" fmla="*/ 0 h 4"/>
                    <a:gd name="T4" fmla="*/ 2147483647 w 12"/>
                    <a:gd name="T5" fmla="*/ 2147483647 h 4"/>
                    <a:gd name="T6" fmla="*/ 2147483647 w 12"/>
                    <a:gd name="T7" fmla="*/ 2147483647 h 4"/>
                    <a:gd name="T8" fmla="*/ 0 w 12"/>
                    <a:gd name="T9" fmla="*/ 2147483647 h 4"/>
                    <a:gd name="T10" fmla="*/ 0 w 12"/>
                    <a:gd name="T11" fmla="*/ 2147483647 h 4"/>
                    <a:gd name="T12" fmla="*/ 2147483647 w 12"/>
                    <a:gd name="T13" fmla="*/ 2147483647 h 4"/>
                    <a:gd name="T14" fmla="*/ 2147483647 w 12"/>
                    <a:gd name="T15" fmla="*/ 2147483647 h 4"/>
                    <a:gd name="T16" fmla="*/ 2147483647 w 12"/>
                    <a:gd name="T17" fmla="*/ 2147483647 h 4"/>
                    <a:gd name="T18" fmla="*/ 2147483647 w 12"/>
                    <a:gd name="T19" fmla="*/ 2147483647 h 4"/>
                    <a:gd name="T20" fmla="*/ 2147483647 w 12"/>
                    <a:gd name="T21" fmla="*/ 0 h 4"/>
                    <a:gd name="T22" fmla="*/ 2147483647 w 12"/>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4"/>
                    <a:gd name="T38" fmla="*/ 12 w 12"/>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4">
                      <a:moveTo>
                        <a:pt x="11" y="0"/>
                      </a:moveTo>
                      <a:lnTo>
                        <a:pt x="7" y="0"/>
                      </a:lnTo>
                      <a:lnTo>
                        <a:pt x="5" y="1"/>
                      </a:lnTo>
                      <a:lnTo>
                        <a:pt x="2" y="1"/>
                      </a:lnTo>
                      <a:lnTo>
                        <a:pt x="0" y="2"/>
                      </a:lnTo>
                      <a:lnTo>
                        <a:pt x="0" y="3"/>
                      </a:lnTo>
                      <a:lnTo>
                        <a:pt x="1" y="4"/>
                      </a:lnTo>
                      <a:lnTo>
                        <a:pt x="5" y="4"/>
                      </a:lnTo>
                      <a:lnTo>
                        <a:pt x="8" y="3"/>
                      </a:lnTo>
                      <a:lnTo>
                        <a:pt x="12" y="1"/>
                      </a:lnTo>
                      <a:lnTo>
                        <a:pt x="12" y="0"/>
                      </a:lnTo>
                      <a:lnTo>
                        <a:pt x="11"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6" name="Freeform 1090"/>
                <p:cNvSpPr>
                  <a:spLocks/>
                </p:cNvSpPr>
                <p:nvPr/>
              </p:nvSpPr>
              <p:spPr bwMode="auto">
                <a:xfrm>
                  <a:off x="3099851" y="6336492"/>
                  <a:ext cx="17758" cy="7400"/>
                </a:xfrm>
                <a:custGeom>
                  <a:avLst/>
                  <a:gdLst>
                    <a:gd name="T0" fmla="*/ 2147483647 w 13"/>
                    <a:gd name="T1" fmla="*/ 0 h 5"/>
                    <a:gd name="T2" fmla="*/ 2147483647 w 13"/>
                    <a:gd name="T3" fmla="*/ 0 h 5"/>
                    <a:gd name="T4" fmla="*/ 2147483647 w 13"/>
                    <a:gd name="T5" fmla="*/ 0 h 5"/>
                    <a:gd name="T6" fmla="*/ 2147483647 w 13"/>
                    <a:gd name="T7" fmla="*/ 2147483647 h 5"/>
                    <a:gd name="T8" fmla="*/ 2147483647 w 13"/>
                    <a:gd name="T9" fmla="*/ 2147483647 h 5"/>
                    <a:gd name="T10" fmla="*/ 0 w 13"/>
                    <a:gd name="T11" fmla="*/ 2147483647 h 5"/>
                    <a:gd name="T12" fmla="*/ 0 w 13"/>
                    <a:gd name="T13" fmla="*/ 2147483647 h 5"/>
                    <a:gd name="T14" fmla="*/ 0 w 13"/>
                    <a:gd name="T15" fmla="*/ 2147483647 h 5"/>
                    <a:gd name="T16" fmla="*/ 2147483647 w 13"/>
                    <a:gd name="T17" fmla="*/ 2147483647 h 5"/>
                    <a:gd name="T18" fmla="*/ 2147483647 w 13"/>
                    <a:gd name="T19" fmla="*/ 2147483647 h 5"/>
                    <a:gd name="T20" fmla="*/ 2147483647 w 13"/>
                    <a:gd name="T21" fmla="*/ 2147483647 h 5"/>
                    <a:gd name="T22" fmla="*/ 2147483647 w 13"/>
                    <a:gd name="T23" fmla="*/ 2147483647 h 5"/>
                    <a:gd name="T24" fmla="*/ 2147483647 w 13"/>
                    <a:gd name="T25" fmla="*/ 2147483647 h 5"/>
                    <a:gd name="T26" fmla="*/ 2147483647 w 13"/>
                    <a:gd name="T27" fmla="*/ 2147483647 h 5"/>
                    <a:gd name="T28" fmla="*/ 2147483647 w 13"/>
                    <a:gd name="T29" fmla="*/ 0 h 5"/>
                    <a:gd name="T30" fmla="*/ 2147483647 w 13"/>
                    <a:gd name="T31" fmla="*/ 0 h 5"/>
                    <a:gd name="T32" fmla="*/ 2147483647 w 13"/>
                    <a:gd name="T33" fmla="*/ 0 h 5"/>
                    <a:gd name="T34" fmla="*/ 2147483647 w 13"/>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5"/>
                    <a:gd name="T56" fmla="*/ 13 w 13"/>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5">
                      <a:moveTo>
                        <a:pt x="12" y="0"/>
                      </a:moveTo>
                      <a:lnTo>
                        <a:pt x="12" y="0"/>
                      </a:lnTo>
                      <a:lnTo>
                        <a:pt x="8" y="0"/>
                      </a:lnTo>
                      <a:lnTo>
                        <a:pt x="5" y="2"/>
                      </a:lnTo>
                      <a:lnTo>
                        <a:pt x="3" y="2"/>
                      </a:lnTo>
                      <a:lnTo>
                        <a:pt x="0" y="3"/>
                      </a:lnTo>
                      <a:lnTo>
                        <a:pt x="0" y="4"/>
                      </a:lnTo>
                      <a:lnTo>
                        <a:pt x="2" y="5"/>
                      </a:lnTo>
                      <a:lnTo>
                        <a:pt x="5" y="5"/>
                      </a:lnTo>
                      <a:lnTo>
                        <a:pt x="9" y="4"/>
                      </a:lnTo>
                      <a:lnTo>
                        <a:pt x="13" y="2"/>
                      </a:lnTo>
                      <a:lnTo>
                        <a:pt x="13" y="0"/>
                      </a:lnTo>
                      <a:lnTo>
                        <a:pt x="12"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7" name="Freeform 1291"/>
                <p:cNvSpPr>
                  <a:spLocks/>
                </p:cNvSpPr>
                <p:nvPr/>
              </p:nvSpPr>
              <p:spPr bwMode="auto">
                <a:xfrm>
                  <a:off x="1676218" y="2426671"/>
                  <a:ext cx="174625" cy="108031"/>
                </a:xfrm>
                <a:custGeom>
                  <a:avLst/>
                  <a:gdLst>
                    <a:gd name="T0" fmla="*/ 2147483647 w 127"/>
                    <a:gd name="T1" fmla="*/ 2147483647 h 73"/>
                    <a:gd name="T2" fmla="*/ 2147483647 w 127"/>
                    <a:gd name="T3" fmla="*/ 2147483647 h 73"/>
                    <a:gd name="T4" fmla="*/ 2147483647 w 127"/>
                    <a:gd name="T5" fmla="*/ 2147483647 h 73"/>
                    <a:gd name="T6" fmla="*/ 2147483647 w 127"/>
                    <a:gd name="T7" fmla="*/ 2147483647 h 73"/>
                    <a:gd name="T8" fmla="*/ 2147483647 w 127"/>
                    <a:gd name="T9" fmla="*/ 2147483647 h 73"/>
                    <a:gd name="T10" fmla="*/ 2147483647 w 127"/>
                    <a:gd name="T11" fmla="*/ 2147483647 h 73"/>
                    <a:gd name="T12" fmla="*/ 2147483647 w 127"/>
                    <a:gd name="T13" fmla="*/ 2147483647 h 73"/>
                    <a:gd name="T14" fmla="*/ 2147483647 w 127"/>
                    <a:gd name="T15" fmla="*/ 2147483647 h 73"/>
                    <a:gd name="T16" fmla="*/ 2147483647 w 127"/>
                    <a:gd name="T17" fmla="*/ 2147483647 h 73"/>
                    <a:gd name="T18" fmla="*/ 2147483647 w 127"/>
                    <a:gd name="T19" fmla="*/ 2147483647 h 73"/>
                    <a:gd name="T20" fmla="*/ 2147483647 w 127"/>
                    <a:gd name="T21" fmla="*/ 2147483647 h 73"/>
                    <a:gd name="T22" fmla="*/ 2147483647 w 127"/>
                    <a:gd name="T23" fmla="*/ 2147483647 h 73"/>
                    <a:gd name="T24" fmla="*/ 2147483647 w 127"/>
                    <a:gd name="T25" fmla="*/ 2147483647 h 73"/>
                    <a:gd name="T26" fmla="*/ 2147483647 w 127"/>
                    <a:gd name="T27" fmla="*/ 2147483647 h 73"/>
                    <a:gd name="T28" fmla="*/ 2147483647 w 127"/>
                    <a:gd name="T29" fmla="*/ 2147483647 h 73"/>
                    <a:gd name="T30" fmla="*/ 2147483647 w 127"/>
                    <a:gd name="T31" fmla="*/ 2147483647 h 73"/>
                    <a:gd name="T32" fmla="*/ 2147483647 w 127"/>
                    <a:gd name="T33" fmla="*/ 2147483647 h 73"/>
                    <a:gd name="T34" fmla="*/ 2147483647 w 127"/>
                    <a:gd name="T35" fmla="*/ 2147483647 h 73"/>
                    <a:gd name="T36" fmla="*/ 2147483647 w 127"/>
                    <a:gd name="T37" fmla="*/ 2147483647 h 73"/>
                    <a:gd name="T38" fmla="*/ 2147483647 w 127"/>
                    <a:gd name="T39" fmla="*/ 2147483647 h 73"/>
                    <a:gd name="T40" fmla="*/ 2147483647 w 127"/>
                    <a:gd name="T41" fmla="*/ 2147483647 h 73"/>
                    <a:gd name="T42" fmla="*/ 2147483647 w 127"/>
                    <a:gd name="T43" fmla="*/ 2147483647 h 73"/>
                    <a:gd name="T44" fmla="*/ 2147483647 w 127"/>
                    <a:gd name="T45" fmla="*/ 2147483647 h 73"/>
                    <a:gd name="T46" fmla="*/ 2147483647 w 127"/>
                    <a:gd name="T47" fmla="*/ 2147483647 h 73"/>
                    <a:gd name="T48" fmla="*/ 2147483647 w 127"/>
                    <a:gd name="T49" fmla="*/ 2147483647 h 73"/>
                    <a:gd name="T50" fmla="*/ 2147483647 w 127"/>
                    <a:gd name="T51" fmla="*/ 2147483647 h 73"/>
                    <a:gd name="T52" fmla="*/ 2147483647 w 127"/>
                    <a:gd name="T53" fmla="*/ 2147483647 h 73"/>
                    <a:gd name="T54" fmla="*/ 2147483647 w 127"/>
                    <a:gd name="T55" fmla="*/ 2147483647 h 73"/>
                    <a:gd name="T56" fmla="*/ 2147483647 w 127"/>
                    <a:gd name="T57" fmla="*/ 2147483647 h 73"/>
                    <a:gd name="T58" fmla="*/ 2147483647 w 127"/>
                    <a:gd name="T59" fmla="*/ 2147483647 h 73"/>
                    <a:gd name="T60" fmla="*/ 2147483647 w 127"/>
                    <a:gd name="T61" fmla="*/ 2147483647 h 73"/>
                    <a:gd name="T62" fmla="*/ 2147483647 w 127"/>
                    <a:gd name="T63" fmla="*/ 2147483647 h 73"/>
                    <a:gd name="T64" fmla="*/ 2147483647 w 127"/>
                    <a:gd name="T65" fmla="*/ 2147483647 h 73"/>
                    <a:gd name="T66" fmla="*/ 2147483647 w 127"/>
                    <a:gd name="T67" fmla="*/ 2147483647 h 73"/>
                    <a:gd name="T68" fmla="*/ 2147483647 w 127"/>
                    <a:gd name="T69" fmla="*/ 2147483647 h 73"/>
                    <a:gd name="T70" fmla="*/ 2147483647 w 127"/>
                    <a:gd name="T71" fmla="*/ 2147483647 h 73"/>
                    <a:gd name="T72" fmla="*/ 2147483647 w 127"/>
                    <a:gd name="T73" fmla="*/ 2147483647 h 73"/>
                    <a:gd name="T74" fmla="*/ 2147483647 w 127"/>
                    <a:gd name="T75" fmla="*/ 2147483647 h 73"/>
                    <a:gd name="T76" fmla="*/ 2147483647 w 127"/>
                    <a:gd name="T77" fmla="*/ 2147483647 h 73"/>
                    <a:gd name="T78" fmla="*/ 2147483647 w 127"/>
                    <a:gd name="T79" fmla="*/ 2147483647 h 73"/>
                    <a:gd name="T80" fmla="*/ 2147483647 w 127"/>
                    <a:gd name="T81" fmla="*/ 0 h 73"/>
                    <a:gd name="T82" fmla="*/ 2147483647 w 127"/>
                    <a:gd name="T83" fmla="*/ 0 h 73"/>
                    <a:gd name="T84" fmla="*/ 2147483647 w 127"/>
                    <a:gd name="T85" fmla="*/ 2147483647 h 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7"/>
                    <a:gd name="T130" fmla="*/ 0 h 73"/>
                    <a:gd name="T131" fmla="*/ 127 w 127"/>
                    <a:gd name="T132" fmla="*/ 73 h 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7" h="73">
                      <a:moveTo>
                        <a:pt x="67" y="5"/>
                      </a:moveTo>
                      <a:lnTo>
                        <a:pt x="57" y="8"/>
                      </a:lnTo>
                      <a:lnTo>
                        <a:pt x="47" y="12"/>
                      </a:lnTo>
                      <a:lnTo>
                        <a:pt x="35" y="12"/>
                      </a:lnTo>
                      <a:lnTo>
                        <a:pt x="25" y="13"/>
                      </a:lnTo>
                      <a:lnTo>
                        <a:pt x="21" y="13"/>
                      </a:lnTo>
                      <a:lnTo>
                        <a:pt x="19" y="13"/>
                      </a:lnTo>
                      <a:lnTo>
                        <a:pt x="17" y="10"/>
                      </a:lnTo>
                      <a:lnTo>
                        <a:pt x="12" y="12"/>
                      </a:lnTo>
                      <a:lnTo>
                        <a:pt x="7" y="13"/>
                      </a:lnTo>
                      <a:lnTo>
                        <a:pt x="2" y="15"/>
                      </a:lnTo>
                      <a:lnTo>
                        <a:pt x="1" y="16"/>
                      </a:lnTo>
                      <a:lnTo>
                        <a:pt x="0" y="18"/>
                      </a:lnTo>
                      <a:lnTo>
                        <a:pt x="0" y="20"/>
                      </a:lnTo>
                      <a:lnTo>
                        <a:pt x="1" y="22"/>
                      </a:lnTo>
                      <a:lnTo>
                        <a:pt x="4" y="25"/>
                      </a:lnTo>
                      <a:lnTo>
                        <a:pt x="6" y="26"/>
                      </a:lnTo>
                      <a:lnTo>
                        <a:pt x="16" y="25"/>
                      </a:lnTo>
                      <a:lnTo>
                        <a:pt x="21" y="25"/>
                      </a:lnTo>
                      <a:lnTo>
                        <a:pt x="26" y="26"/>
                      </a:lnTo>
                      <a:lnTo>
                        <a:pt x="30" y="26"/>
                      </a:lnTo>
                      <a:lnTo>
                        <a:pt x="33" y="25"/>
                      </a:lnTo>
                      <a:lnTo>
                        <a:pt x="37" y="22"/>
                      </a:lnTo>
                      <a:lnTo>
                        <a:pt x="40" y="22"/>
                      </a:lnTo>
                      <a:lnTo>
                        <a:pt x="44" y="22"/>
                      </a:lnTo>
                      <a:lnTo>
                        <a:pt x="47" y="24"/>
                      </a:lnTo>
                      <a:lnTo>
                        <a:pt x="59" y="31"/>
                      </a:lnTo>
                      <a:lnTo>
                        <a:pt x="62" y="32"/>
                      </a:lnTo>
                      <a:lnTo>
                        <a:pt x="62" y="34"/>
                      </a:lnTo>
                      <a:lnTo>
                        <a:pt x="62" y="37"/>
                      </a:lnTo>
                      <a:lnTo>
                        <a:pt x="61" y="39"/>
                      </a:lnTo>
                      <a:lnTo>
                        <a:pt x="59" y="39"/>
                      </a:lnTo>
                      <a:lnTo>
                        <a:pt x="57" y="38"/>
                      </a:lnTo>
                      <a:lnTo>
                        <a:pt x="56" y="37"/>
                      </a:lnTo>
                      <a:lnTo>
                        <a:pt x="53" y="37"/>
                      </a:lnTo>
                      <a:lnTo>
                        <a:pt x="50" y="37"/>
                      </a:lnTo>
                      <a:lnTo>
                        <a:pt x="49" y="35"/>
                      </a:lnTo>
                      <a:lnTo>
                        <a:pt x="45" y="35"/>
                      </a:lnTo>
                      <a:lnTo>
                        <a:pt x="44" y="37"/>
                      </a:lnTo>
                      <a:lnTo>
                        <a:pt x="45" y="39"/>
                      </a:lnTo>
                      <a:lnTo>
                        <a:pt x="45" y="40"/>
                      </a:lnTo>
                      <a:lnTo>
                        <a:pt x="45" y="41"/>
                      </a:lnTo>
                      <a:lnTo>
                        <a:pt x="39" y="46"/>
                      </a:lnTo>
                      <a:lnTo>
                        <a:pt x="38" y="48"/>
                      </a:lnTo>
                      <a:lnTo>
                        <a:pt x="37" y="52"/>
                      </a:lnTo>
                      <a:lnTo>
                        <a:pt x="37" y="54"/>
                      </a:lnTo>
                      <a:lnTo>
                        <a:pt x="35" y="57"/>
                      </a:lnTo>
                      <a:lnTo>
                        <a:pt x="30" y="59"/>
                      </a:lnTo>
                      <a:lnTo>
                        <a:pt x="30" y="60"/>
                      </a:lnTo>
                      <a:lnTo>
                        <a:pt x="30" y="61"/>
                      </a:lnTo>
                      <a:lnTo>
                        <a:pt x="34" y="64"/>
                      </a:lnTo>
                      <a:lnTo>
                        <a:pt x="37" y="66"/>
                      </a:lnTo>
                      <a:lnTo>
                        <a:pt x="43" y="71"/>
                      </a:lnTo>
                      <a:lnTo>
                        <a:pt x="45" y="71"/>
                      </a:lnTo>
                      <a:lnTo>
                        <a:pt x="48" y="70"/>
                      </a:lnTo>
                      <a:lnTo>
                        <a:pt x="49" y="66"/>
                      </a:lnTo>
                      <a:lnTo>
                        <a:pt x="52" y="64"/>
                      </a:lnTo>
                      <a:lnTo>
                        <a:pt x="57" y="60"/>
                      </a:lnTo>
                      <a:lnTo>
                        <a:pt x="61" y="57"/>
                      </a:lnTo>
                      <a:lnTo>
                        <a:pt x="63" y="54"/>
                      </a:lnTo>
                      <a:lnTo>
                        <a:pt x="66" y="53"/>
                      </a:lnTo>
                      <a:lnTo>
                        <a:pt x="75" y="50"/>
                      </a:lnTo>
                      <a:lnTo>
                        <a:pt x="78" y="50"/>
                      </a:lnTo>
                      <a:lnTo>
                        <a:pt x="84" y="50"/>
                      </a:lnTo>
                      <a:lnTo>
                        <a:pt x="85" y="51"/>
                      </a:lnTo>
                      <a:lnTo>
                        <a:pt x="86" y="53"/>
                      </a:lnTo>
                      <a:lnTo>
                        <a:pt x="85" y="56"/>
                      </a:lnTo>
                      <a:lnTo>
                        <a:pt x="82" y="59"/>
                      </a:lnTo>
                      <a:lnTo>
                        <a:pt x="78" y="61"/>
                      </a:lnTo>
                      <a:lnTo>
                        <a:pt x="75" y="64"/>
                      </a:lnTo>
                      <a:lnTo>
                        <a:pt x="68" y="69"/>
                      </a:lnTo>
                      <a:lnTo>
                        <a:pt x="63" y="73"/>
                      </a:lnTo>
                      <a:lnTo>
                        <a:pt x="73" y="72"/>
                      </a:lnTo>
                      <a:lnTo>
                        <a:pt x="85" y="70"/>
                      </a:lnTo>
                      <a:lnTo>
                        <a:pt x="94" y="66"/>
                      </a:lnTo>
                      <a:lnTo>
                        <a:pt x="103" y="60"/>
                      </a:lnTo>
                      <a:lnTo>
                        <a:pt x="99" y="57"/>
                      </a:lnTo>
                      <a:lnTo>
                        <a:pt x="95" y="52"/>
                      </a:lnTo>
                      <a:lnTo>
                        <a:pt x="94" y="47"/>
                      </a:lnTo>
                      <a:lnTo>
                        <a:pt x="94" y="45"/>
                      </a:lnTo>
                      <a:lnTo>
                        <a:pt x="95" y="44"/>
                      </a:lnTo>
                      <a:lnTo>
                        <a:pt x="96" y="41"/>
                      </a:lnTo>
                      <a:lnTo>
                        <a:pt x="97" y="41"/>
                      </a:lnTo>
                      <a:lnTo>
                        <a:pt x="103" y="42"/>
                      </a:lnTo>
                      <a:lnTo>
                        <a:pt x="110" y="47"/>
                      </a:lnTo>
                      <a:lnTo>
                        <a:pt x="113" y="48"/>
                      </a:lnTo>
                      <a:lnTo>
                        <a:pt x="115" y="50"/>
                      </a:lnTo>
                      <a:lnTo>
                        <a:pt x="119" y="50"/>
                      </a:lnTo>
                      <a:lnTo>
                        <a:pt x="120" y="47"/>
                      </a:lnTo>
                      <a:lnTo>
                        <a:pt x="122" y="46"/>
                      </a:lnTo>
                      <a:lnTo>
                        <a:pt x="120" y="44"/>
                      </a:lnTo>
                      <a:lnTo>
                        <a:pt x="119" y="42"/>
                      </a:lnTo>
                      <a:lnTo>
                        <a:pt x="118" y="40"/>
                      </a:lnTo>
                      <a:lnTo>
                        <a:pt x="118" y="38"/>
                      </a:lnTo>
                      <a:lnTo>
                        <a:pt x="119" y="37"/>
                      </a:lnTo>
                      <a:lnTo>
                        <a:pt x="123" y="34"/>
                      </a:lnTo>
                      <a:lnTo>
                        <a:pt x="124" y="33"/>
                      </a:lnTo>
                      <a:lnTo>
                        <a:pt x="124" y="32"/>
                      </a:lnTo>
                      <a:lnTo>
                        <a:pt x="122" y="29"/>
                      </a:lnTo>
                      <a:lnTo>
                        <a:pt x="120" y="28"/>
                      </a:lnTo>
                      <a:lnTo>
                        <a:pt x="120" y="26"/>
                      </a:lnTo>
                      <a:lnTo>
                        <a:pt x="124" y="24"/>
                      </a:lnTo>
                      <a:lnTo>
                        <a:pt x="125" y="21"/>
                      </a:lnTo>
                      <a:lnTo>
                        <a:pt x="127" y="19"/>
                      </a:lnTo>
                      <a:lnTo>
                        <a:pt x="119" y="20"/>
                      </a:lnTo>
                      <a:lnTo>
                        <a:pt x="111" y="22"/>
                      </a:lnTo>
                      <a:lnTo>
                        <a:pt x="109" y="22"/>
                      </a:lnTo>
                      <a:lnTo>
                        <a:pt x="106" y="21"/>
                      </a:lnTo>
                      <a:lnTo>
                        <a:pt x="103" y="20"/>
                      </a:lnTo>
                      <a:lnTo>
                        <a:pt x="100" y="21"/>
                      </a:lnTo>
                      <a:lnTo>
                        <a:pt x="95" y="21"/>
                      </a:lnTo>
                      <a:lnTo>
                        <a:pt x="90" y="20"/>
                      </a:lnTo>
                      <a:lnTo>
                        <a:pt x="86" y="18"/>
                      </a:lnTo>
                      <a:lnTo>
                        <a:pt x="85" y="14"/>
                      </a:lnTo>
                      <a:lnTo>
                        <a:pt x="85" y="13"/>
                      </a:lnTo>
                      <a:lnTo>
                        <a:pt x="86" y="12"/>
                      </a:lnTo>
                      <a:lnTo>
                        <a:pt x="90" y="9"/>
                      </a:lnTo>
                      <a:lnTo>
                        <a:pt x="95" y="8"/>
                      </a:lnTo>
                      <a:lnTo>
                        <a:pt x="99" y="6"/>
                      </a:lnTo>
                      <a:lnTo>
                        <a:pt x="101" y="2"/>
                      </a:lnTo>
                      <a:lnTo>
                        <a:pt x="101" y="1"/>
                      </a:lnTo>
                      <a:lnTo>
                        <a:pt x="100" y="0"/>
                      </a:lnTo>
                      <a:lnTo>
                        <a:pt x="97" y="0"/>
                      </a:lnTo>
                      <a:lnTo>
                        <a:pt x="94" y="0"/>
                      </a:lnTo>
                      <a:lnTo>
                        <a:pt x="91" y="0"/>
                      </a:lnTo>
                      <a:lnTo>
                        <a:pt x="87" y="0"/>
                      </a:lnTo>
                      <a:lnTo>
                        <a:pt x="82" y="0"/>
                      </a:lnTo>
                      <a:lnTo>
                        <a:pt x="77" y="0"/>
                      </a:lnTo>
                      <a:lnTo>
                        <a:pt x="72" y="2"/>
                      </a:lnTo>
                      <a:lnTo>
                        <a:pt x="67"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8" name="Freeform 1293"/>
                <p:cNvSpPr>
                  <a:spLocks/>
                </p:cNvSpPr>
                <p:nvPr/>
              </p:nvSpPr>
              <p:spPr bwMode="auto">
                <a:xfrm>
                  <a:off x="1674736" y="2425192"/>
                  <a:ext cx="173145" cy="108030"/>
                </a:xfrm>
                <a:custGeom>
                  <a:avLst/>
                  <a:gdLst>
                    <a:gd name="T0" fmla="*/ 2147483647 w 127"/>
                    <a:gd name="T1" fmla="*/ 2147483647 h 73"/>
                    <a:gd name="T2" fmla="*/ 2147483647 w 127"/>
                    <a:gd name="T3" fmla="*/ 2147483647 h 73"/>
                    <a:gd name="T4" fmla="*/ 2147483647 w 127"/>
                    <a:gd name="T5" fmla="*/ 2147483647 h 73"/>
                    <a:gd name="T6" fmla="*/ 2147483647 w 127"/>
                    <a:gd name="T7" fmla="*/ 2147483647 h 73"/>
                    <a:gd name="T8" fmla="*/ 2147483647 w 127"/>
                    <a:gd name="T9" fmla="*/ 2147483647 h 73"/>
                    <a:gd name="T10" fmla="*/ 0 w 127"/>
                    <a:gd name="T11" fmla="*/ 2147483647 h 73"/>
                    <a:gd name="T12" fmla="*/ 2147483647 w 127"/>
                    <a:gd name="T13" fmla="*/ 2147483647 h 73"/>
                    <a:gd name="T14" fmla="*/ 2147483647 w 127"/>
                    <a:gd name="T15" fmla="*/ 2147483647 h 73"/>
                    <a:gd name="T16" fmla="*/ 2147483647 w 127"/>
                    <a:gd name="T17" fmla="*/ 2147483647 h 73"/>
                    <a:gd name="T18" fmla="*/ 2147483647 w 127"/>
                    <a:gd name="T19" fmla="*/ 2147483647 h 73"/>
                    <a:gd name="T20" fmla="*/ 2147483647 w 127"/>
                    <a:gd name="T21" fmla="*/ 2147483647 h 73"/>
                    <a:gd name="T22" fmla="*/ 2147483647 w 127"/>
                    <a:gd name="T23" fmla="*/ 2147483647 h 73"/>
                    <a:gd name="T24" fmla="*/ 2147483647 w 127"/>
                    <a:gd name="T25" fmla="*/ 2147483647 h 73"/>
                    <a:gd name="T26" fmla="*/ 2147483647 w 127"/>
                    <a:gd name="T27" fmla="*/ 2147483647 h 73"/>
                    <a:gd name="T28" fmla="*/ 2147483647 w 127"/>
                    <a:gd name="T29" fmla="*/ 2147483647 h 73"/>
                    <a:gd name="T30" fmla="*/ 2147483647 w 127"/>
                    <a:gd name="T31" fmla="*/ 2147483647 h 73"/>
                    <a:gd name="T32" fmla="*/ 2147483647 w 127"/>
                    <a:gd name="T33" fmla="*/ 2147483647 h 73"/>
                    <a:gd name="T34" fmla="*/ 2147483647 w 127"/>
                    <a:gd name="T35" fmla="*/ 2147483647 h 73"/>
                    <a:gd name="T36" fmla="*/ 2147483647 w 127"/>
                    <a:gd name="T37" fmla="*/ 2147483647 h 73"/>
                    <a:gd name="T38" fmla="*/ 2147483647 w 127"/>
                    <a:gd name="T39" fmla="*/ 2147483647 h 73"/>
                    <a:gd name="T40" fmla="*/ 2147483647 w 127"/>
                    <a:gd name="T41" fmla="*/ 2147483647 h 73"/>
                    <a:gd name="T42" fmla="*/ 2147483647 w 127"/>
                    <a:gd name="T43" fmla="*/ 2147483647 h 73"/>
                    <a:gd name="T44" fmla="*/ 2147483647 w 127"/>
                    <a:gd name="T45" fmla="*/ 2147483647 h 73"/>
                    <a:gd name="T46" fmla="*/ 2147483647 w 127"/>
                    <a:gd name="T47" fmla="*/ 2147483647 h 73"/>
                    <a:gd name="T48" fmla="*/ 2147483647 w 127"/>
                    <a:gd name="T49" fmla="*/ 2147483647 h 73"/>
                    <a:gd name="T50" fmla="*/ 2147483647 w 127"/>
                    <a:gd name="T51" fmla="*/ 2147483647 h 73"/>
                    <a:gd name="T52" fmla="*/ 2147483647 w 127"/>
                    <a:gd name="T53" fmla="*/ 2147483647 h 73"/>
                    <a:gd name="T54" fmla="*/ 2147483647 w 127"/>
                    <a:gd name="T55" fmla="*/ 2147483647 h 73"/>
                    <a:gd name="T56" fmla="*/ 2147483647 w 127"/>
                    <a:gd name="T57" fmla="*/ 2147483647 h 73"/>
                    <a:gd name="T58" fmla="*/ 2147483647 w 127"/>
                    <a:gd name="T59" fmla="*/ 2147483647 h 73"/>
                    <a:gd name="T60" fmla="*/ 2147483647 w 127"/>
                    <a:gd name="T61" fmla="*/ 2147483647 h 73"/>
                    <a:gd name="T62" fmla="*/ 2147483647 w 127"/>
                    <a:gd name="T63" fmla="*/ 2147483647 h 73"/>
                    <a:gd name="T64" fmla="*/ 2147483647 w 127"/>
                    <a:gd name="T65" fmla="*/ 2147483647 h 73"/>
                    <a:gd name="T66" fmla="*/ 2147483647 w 127"/>
                    <a:gd name="T67" fmla="*/ 2147483647 h 73"/>
                    <a:gd name="T68" fmla="*/ 2147483647 w 127"/>
                    <a:gd name="T69" fmla="*/ 2147483647 h 73"/>
                    <a:gd name="T70" fmla="*/ 2147483647 w 127"/>
                    <a:gd name="T71" fmla="*/ 2147483647 h 73"/>
                    <a:gd name="T72" fmla="*/ 2147483647 w 127"/>
                    <a:gd name="T73" fmla="*/ 2147483647 h 73"/>
                    <a:gd name="T74" fmla="*/ 2147483647 w 127"/>
                    <a:gd name="T75" fmla="*/ 2147483647 h 73"/>
                    <a:gd name="T76" fmla="*/ 2147483647 w 127"/>
                    <a:gd name="T77" fmla="*/ 2147483647 h 73"/>
                    <a:gd name="T78" fmla="*/ 2147483647 w 127"/>
                    <a:gd name="T79" fmla="*/ 2147483647 h 73"/>
                    <a:gd name="T80" fmla="*/ 2147483647 w 127"/>
                    <a:gd name="T81" fmla="*/ 2147483647 h 73"/>
                    <a:gd name="T82" fmla="*/ 2147483647 w 127"/>
                    <a:gd name="T83" fmla="*/ 2147483647 h 73"/>
                    <a:gd name="T84" fmla="*/ 2147483647 w 127"/>
                    <a:gd name="T85" fmla="*/ 2147483647 h 73"/>
                    <a:gd name="T86" fmla="*/ 2147483647 w 127"/>
                    <a:gd name="T87" fmla="*/ 2147483647 h 73"/>
                    <a:gd name="T88" fmla="*/ 2147483647 w 127"/>
                    <a:gd name="T89" fmla="*/ 2147483647 h 73"/>
                    <a:gd name="T90" fmla="*/ 2147483647 w 127"/>
                    <a:gd name="T91" fmla="*/ 2147483647 h 73"/>
                    <a:gd name="T92" fmla="*/ 2147483647 w 127"/>
                    <a:gd name="T93" fmla="*/ 2147483647 h 73"/>
                    <a:gd name="T94" fmla="*/ 2147483647 w 127"/>
                    <a:gd name="T95" fmla="*/ 2147483647 h 73"/>
                    <a:gd name="T96" fmla="*/ 2147483647 w 127"/>
                    <a:gd name="T97" fmla="*/ 2147483647 h 73"/>
                    <a:gd name="T98" fmla="*/ 2147483647 w 127"/>
                    <a:gd name="T99" fmla="*/ 2147483647 h 73"/>
                    <a:gd name="T100" fmla="*/ 2147483647 w 127"/>
                    <a:gd name="T101" fmla="*/ 2147483647 h 73"/>
                    <a:gd name="T102" fmla="*/ 2147483647 w 127"/>
                    <a:gd name="T103" fmla="*/ 2147483647 h 73"/>
                    <a:gd name="T104" fmla="*/ 2147483647 w 127"/>
                    <a:gd name="T105" fmla="*/ 2147483647 h 73"/>
                    <a:gd name="T106" fmla="*/ 2147483647 w 127"/>
                    <a:gd name="T107" fmla="*/ 0 h 73"/>
                    <a:gd name="T108" fmla="*/ 2147483647 w 127"/>
                    <a:gd name="T109" fmla="*/ 0 h 73"/>
                    <a:gd name="T110" fmla="*/ 2147483647 w 127"/>
                    <a:gd name="T111" fmla="*/ 0 h 73"/>
                    <a:gd name="T112" fmla="*/ 2147483647 w 127"/>
                    <a:gd name="T113" fmla="*/ 2147483647 h 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7"/>
                    <a:gd name="T172" fmla="*/ 0 h 73"/>
                    <a:gd name="T173" fmla="*/ 127 w 127"/>
                    <a:gd name="T174" fmla="*/ 73 h 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7" h="73">
                      <a:moveTo>
                        <a:pt x="68" y="4"/>
                      </a:moveTo>
                      <a:lnTo>
                        <a:pt x="68" y="4"/>
                      </a:lnTo>
                      <a:lnTo>
                        <a:pt x="58" y="8"/>
                      </a:lnTo>
                      <a:lnTo>
                        <a:pt x="47" y="11"/>
                      </a:lnTo>
                      <a:lnTo>
                        <a:pt x="36" y="11"/>
                      </a:lnTo>
                      <a:lnTo>
                        <a:pt x="26" y="13"/>
                      </a:lnTo>
                      <a:lnTo>
                        <a:pt x="22" y="13"/>
                      </a:lnTo>
                      <a:lnTo>
                        <a:pt x="19" y="13"/>
                      </a:lnTo>
                      <a:lnTo>
                        <a:pt x="18" y="10"/>
                      </a:lnTo>
                      <a:lnTo>
                        <a:pt x="13" y="11"/>
                      </a:lnTo>
                      <a:lnTo>
                        <a:pt x="8" y="13"/>
                      </a:lnTo>
                      <a:lnTo>
                        <a:pt x="3" y="15"/>
                      </a:lnTo>
                      <a:lnTo>
                        <a:pt x="2" y="16"/>
                      </a:lnTo>
                      <a:lnTo>
                        <a:pt x="0" y="17"/>
                      </a:lnTo>
                      <a:lnTo>
                        <a:pt x="0" y="20"/>
                      </a:lnTo>
                      <a:lnTo>
                        <a:pt x="2" y="22"/>
                      </a:lnTo>
                      <a:lnTo>
                        <a:pt x="4" y="25"/>
                      </a:lnTo>
                      <a:lnTo>
                        <a:pt x="7" y="26"/>
                      </a:lnTo>
                      <a:lnTo>
                        <a:pt x="17" y="25"/>
                      </a:lnTo>
                      <a:lnTo>
                        <a:pt x="22" y="25"/>
                      </a:lnTo>
                      <a:lnTo>
                        <a:pt x="27" y="26"/>
                      </a:lnTo>
                      <a:lnTo>
                        <a:pt x="31" y="26"/>
                      </a:lnTo>
                      <a:lnTo>
                        <a:pt x="33" y="25"/>
                      </a:lnTo>
                      <a:lnTo>
                        <a:pt x="37" y="22"/>
                      </a:lnTo>
                      <a:lnTo>
                        <a:pt x="41" y="22"/>
                      </a:lnTo>
                      <a:lnTo>
                        <a:pt x="45" y="22"/>
                      </a:lnTo>
                      <a:lnTo>
                        <a:pt x="47" y="23"/>
                      </a:lnTo>
                      <a:lnTo>
                        <a:pt x="60" y="30"/>
                      </a:lnTo>
                      <a:lnTo>
                        <a:pt x="63" y="32"/>
                      </a:lnTo>
                      <a:lnTo>
                        <a:pt x="63" y="34"/>
                      </a:lnTo>
                      <a:lnTo>
                        <a:pt x="63" y="36"/>
                      </a:lnTo>
                      <a:lnTo>
                        <a:pt x="61" y="39"/>
                      </a:lnTo>
                      <a:lnTo>
                        <a:pt x="60" y="39"/>
                      </a:lnTo>
                      <a:lnTo>
                        <a:pt x="58" y="38"/>
                      </a:lnTo>
                      <a:lnTo>
                        <a:pt x="56" y="36"/>
                      </a:lnTo>
                      <a:lnTo>
                        <a:pt x="54" y="36"/>
                      </a:lnTo>
                      <a:lnTo>
                        <a:pt x="51" y="36"/>
                      </a:lnTo>
                      <a:lnTo>
                        <a:pt x="50" y="35"/>
                      </a:lnTo>
                      <a:lnTo>
                        <a:pt x="46" y="35"/>
                      </a:lnTo>
                      <a:lnTo>
                        <a:pt x="45" y="36"/>
                      </a:lnTo>
                      <a:lnTo>
                        <a:pt x="46" y="39"/>
                      </a:lnTo>
                      <a:lnTo>
                        <a:pt x="46" y="40"/>
                      </a:lnTo>
                      <a:lnTo>
                        <a:pt x="46" y="41"/>
                      </a:lnTo>
                      <a:lnTo>
                        <a:pt x="40" y="46"/>
                      </a:lnTo>
                      <a:lnTo>
                        <a:pt x="39" y="48"/>
                      </a:lnTo>
                      <a:lnTo>
                        <a:pt x="37" y="52"/>
                      </a:lnTo>
                      <a:lnTo>
                        <a:pt x="37" y="54"/>
                      </a:lnTo>
                      <a:lnTo>
                        <a:pt x="36" y="57"/>
                      </a:lnTo>
                      <a:lnTo>
                        <a:pt x="31" y="59"/>
                      </a:lnTo>
                      <a:lnTo>
                        <a:pt x="31" y="60"/>
                      </a:lnTo>
                      <a:lnTo>
                        <a:pt x="31" y="61"/>
                      </a:lnTo>
                      <a:lnTo>
                        <a:pt x="35" y="64"/>
                      </a:lnTo>
                      <a:lnTo>
                        <a:pt x="37" y="66"/>
                      </a:lnTo>
                      <a:lnTo>
                        <a:pt x="44" y="71"/>
                      </a:lnTo>
                      <a:lnTo>
                        <a:pt x="46" y="71"/>
                      </a:lnTo>
                      <a:lnTo>
                        <a:pt x="49" y="70"/>
                      </a:lnTo>
                      <a:lnTo>
                        <a:pt x="50" y="66"/>
                      </a:lnTo>
                      <a:lnTo>
                        <a:pt x="52" y="64"/>
                      </a:lnTo>
                      <a:lnTo>
                        <a:pt x="58" y="60"/>
                      </a:lnTo>
                      <a:lnTo>
                        <a:pt x="61" y="57"/>
                      </a:lnTo>
                      <a:lnTo>
                        <a:pt x="64" y="54"/>
                      </a:lnTo>
                      <a:lnTo>
                        <a:pt x="66" y="53"/>
                      </a:lnTo>
                      <a:lnTo>
                        <a:pt x="75" y="49"/>
                      </a:lnTo>
                      <a:lnTo>
                        <a:pt x="79" y="49"/>
                      </a:lnTo>
                      <a:lnTo>
                        <a:pt x="84" y="49"/>
                      </a:lnTo>
                      <a:lnTo>
                        <a:pt x="86" y="51"/>
                      </a:lnTo>
                      <a:lnTo>
                        <a:pt x="87" y="53"/>
                      </a:lnTo>
                      <a:lnTo>
                        <a:pt x="86" y="55"/>
                      </a:lnTo>
                      <a:lnTo>
                        <a:pt x="83" y="59"/>
                      </a:lnTo>
                      <a:lnTo>
                        <a:pt x="79" y="61"/>
                      </a:lnTo>
                      <a:lnTo>
                        <a:pt x="75" y="64"/>
                      </a:lnTo>
                      <a:lnTo>
                        <a:pt x="69" y="68"/>
                      </a:lnTo>
                      <a:lnTo>
                        <a:pt x="64" y="73"/>
                      </a:lnTo>
                      <a:lnTo>
                        <a:pt x="74" y="72"/>
                      </a:lnTo>
                      <a:lnTo>
                        <a:pt x="86" y="70"/>
                      </a:lnTo>
                      <a:lnTo>
                        <a:pt x="94" y="66"/>
                      </a:lnTo>
                      <a:lnTo>
                        <a:pt x="103" y="60"/>
                      </a:lnTo>
                      <a:lnTo>
                        <a:pt x="99" y="57"/>
                      </a:lnTo>
                      <a:lnTo>
                        <a:pt x="96" y="52"/>
                      </a:lnTo>
                      <a:lnTo>
                        <a:pt x="94" y="47"/>
                      </a:lnTo>
                      <a:lnTo>
                        <a:pt x="94" y="45"/>
                      </a:lnTo>
                      <a:lnTo>
                        <a:pt x="96" y="43"/>
                      </a:lnTo>
                      <a:lnTo>
                        <a:pt x="97" y="41"/>
                      </a:lnTo>
                      <a:lnTo>
                        <a:pt x="98" y="41"/>
                      </a:lnTo>
                      <a:lnTo>
                        <a:pt x="103" y="42"/>
                      </a:lnTo>
                      <a:lnTo>
                        <a:pt x="111" y="47"/>
                      </a:lnTo>
                      <a:lnTo>
                        <a:pt x="113" y="48"/>
                      </a:lnTo>
                      <a:lnTo>
                        <a:pt x="116" y="49"/>
                      </a:lnTo>
                      <a:lnTo>
                        <a:pt x="120" y="49"/>
                      </a:lnTo>
                      <a:lnTo>
                        <a:pt x="121" y="47"/>
                      </a:lnTo>
                      <a:lnTo>
                        <a:pt x="122" y="46"/>
                      </a:lnTo>
                      <a:lnTo>
                        <a:pt x="121" y="43"/>
                      </a:lnTo>
                      <a:lnTo>
                        <a:pt x="120" y="42"/>
                      </a:lnTo>
                      <a:lnTo>
                        <a:pt x="119" y="40"/>
                      </a:lnTo>
                      <a:lnTo>
                        <a:pt x="119" y="38"/>
                      </a:lnTo>
                      <a:lnTo>
                        <a:pt x="120" y="36"/>
                      </a:lnTo>
                      <a:lnTo>
                        <a:pt x="124" y="34"/>
                      </a:lnTo>
                      <a:lnTo>
                        <a:pt x="125" y="33"/>
                      </a:lnTo>
                      <a:lnTo>
                        <a:pt x="125" y="32"/>
                      </a:lnTo>
                      <a:lnTo>
                        <a:pt x="122" y="29"/>
                      </a:lnTo>
                      <a:lnTo>
                        <a:pt x="121" y="28"/>
                      </a:lnTo>
                      <a:lnTo>
                        <a:pt x="121" y="26"/>
                      </a:lnTo>
                      <a:lnTo>
                        <a:pt x="125" y="23"/>
                      </a:lnTo>
                      <a:lnTo>
                        <a:pt x="126" y="21"/>
                      </a:lnTo>
                      <a:lnTo>
                        <a:pt x="127" y="19"/>
                      </a:lnTo>
                      <a:lnTo>
                        <a:pt x="120" y="20"/>
                      </a:lnTo>
                      <a:lnTo>
                        <a:pt x="112" y="22"/>
                      </a:lnTo>
                      <a:lnTo>
                        <a:pt x="110" y="22"/>
                      </a:lnTo>
                      <a:lnTo>
                        <a:pt x="107" y="21"/>
                      </a:lnTo>
                      <a:lnTo>
                        <a:pt x="103" y="20"/>
                      </a:lnTo>
                      <a:lnTo>
                        <a:pt x="101" y="21"/>
                      </a:lnTo>
                      <a:lnTo>
                        <a:pt x="96" y="21"/>
                      </a:lnTo>
                      <a:lnTo>
                        <a:pt x="91" y="20"/>
                      </a:lnTo>
                      <a:lnTo>
                        <a:pt x="87" y="17"/>
                      </a:lnTo>
                      <a:lnTo>
                        <a:pt x="86" y="14"/>
                      </a:lnTo>
                      <a:lnTo>
                        <a:pt x="86" y="13"/>
                      </a:lnTo>
                      <a:lnTo>
                        <a:pt x="87" y="11"/>
                      </a:lnTo>
                      <a:lnTo>
                        <a:pt x="91" y="9"/>
                      </a:lnTo>
                      <a:lnTo>
                        <a:pt x="96" y="8"/>
                      </a:lnTo>
                      <a:lnTo>
                        <a:pt x="99" y="6"/>
                      </a:lnTo>
                      <a:lnTo>
                        <a:pt x="102" y="2"/>
                      </a:lnTo>
                      <a:lnTo>
                        <a:pt x="102" y="1"/>
                      </a:lnTo>
                      <a:lnTo>
                        <a:pt x="101" y="0"/>
                      </a:lnTo>
                      <a:lnTo>
                        <a:pt x="98" y="0"/>
                      </a:lnTo>
                      <a:lnTo>
                        <a:pt x="94" y="0"/>
                      </a:lnTo>
                      <a:lnTo>
                        <a:pt x="92" y="0"/>
                      </a:lnTo>
                      <a:lnTo>
                        <a:pt x="88" y="0"/>
                      </a:lnTo>
                      <a:lnTo>
                        <a:pt x="83" y="0"/>
                      </a:lnTo>
                      <a:lnTo>
                        <a:pt x="78" y="0"/>
                      </a:lnTo>
                      <a:lnTo>
                        <a:pt x="73" y="2"/>
                      </a:lnTo>
                      <a:lnTo>
                        <a:pt x="68"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299" name="Freeform 1294"/>
                <p:cNvSpPr>
                  <a:spLocks/>
                </p:cNvSpPr>
                <p:nvPr/>
              </p:nvSpPr>
              <p:spPr bwMode="auto">
                <a:xfrm>
                  <a:off x="1862679" y="2579102"/>
                  <a:ext cx="195343" cy="113950"/>
                </a:xfrm>
                <a:custGeom>
                  <a:avLst/>
                  <a:gdLst>
                    <a:gd name="T0" fmla="*/ 2147483647 w 143"/>
                    <a:gd name="T1" fmla="*/ 2147483647 h 77"/>
                    <a:gd name="T2" fmla="*/ 2147483647 w 143"/>
                    <a:gd name="T3" fmla="*/ 2147483647 h 77"/>
                    <a:gd name="T4" fmla="*/ 2147483647 w 143"/>
                    <a:gd name="T5" fmla="*/ 2147483647 h 77"/>
                    <a:gd name="T6" fmla="*/ 2147483647 w 143"/>
                    <a:gd name="T7" fmla="*/ 2147483647 h 77"/>
                    <a:gd name="T8" fmla="*/ 2147483647 w 143"/>
                    <a:gd name="T9" fmla="*/ 2147483647 h 77"/>
                    <a:gd name="T10" fmla="*/ 2147483647 w 143"/>
                    <a:gd name="T11" fmla="*/ 2147483647 h 77"/>
                    <a:gd name="T12" fmla="*/ 2147483647 w 143"/>
                    <a:gd name="T13" fmla="*/ 2147483647 h 77"/>
                    <a:gd name="T14" fmla="*/ 2147483647 w 143"/>
                    <a:gd name="T15" fmla="*/ 0 h 77"/>
                    <a:gd name="T16" fmla="*/ 2147483647 w 143"/>
                    <a:gd name="T17" fmla="*/ 2147483647 h 77"/>
                    <a:gd name="T18" fmla="*/ 2147483647 w 143"/>
                    <a:gd name="T19" fmla="*/ 2147483647 h 77"/>
                    <a:gd name="T20" fmla="*/ 2147483647 w 143"/>
                    <a:gd name="T21" fmla="*/ 2147483647 h 77"/>
                    <a:gd name="T22" fmla="*/ 2147483647 w 143"/>
                    <a:gd name="T23" fmla="*/ 2147483647 h 77"/>
                    <a:gd name="T24" fmla="*/ 2147483647 w 143"/>
                    <a:gd name="T25" fmla="*/ 2147483647 h 77"/>
                    <a:gd name="T26" fmla="*/ 2147483647 w 143"/>
                    <a:gd name="T27" fmla="*/ 2147483647 h 77"/>
                    <a:gd name="T28" fmla="*/ 2147483647 w 143"/>
                    <a:gd name="T29" fmla="*/ 2147483647 h 77"/>
                    <a:gd name="T30" fmla="*/ 2147483647 w 143"/>
                    <a:gd name="T31" fmla="*/ 2147483647 h 77"/>
                    <a:gd name="T32" fmla="*/ 2147483647 w 143"/>
                    <a:gd name="T33" fmla="*/ 2147483647 h 77"/>
                    <a:gd name="T34" fmla="*/ 2147483647 w 143"/>
                    <a:gd name="T35" fmla="*/ 2147483647 h 77"/>
                    <a:gd name="T36" fmla="*/ 2147483647 w 143"/>
                    <a:gd name="T37" fmla="*/ 2147483647 h 77"/>
                    <a:gd name="T38" fmla="*/ 2147483647 w 143"/>
                    <a:gd name="T39" fmla="*/ 2147483647 h 77"/>
                    <a:gd name="T40" fmla="*/ 2147483647 w 143"/>
                    <a:gd name="T41" fmla="*/ 2147483647 h 77"/>
                    <a:gd name="T42" fmla="*/ 0 w 143"/>
                    <a:gd name="T43" fmla="*/ 2147483647 h 77"/>
                    <a:gd name="T44" fmla="*/ 2147483647 w 143"/>
                    <a:gd name="T45" fmla="*/ 2147483647 h 77"/>
                    <a:gd name="T46" fmla="*/ 2147483647 w 143"/>
                    <a:gd name="T47" fmla="*/ 2147483647 h 77"/>
                    <a:gd name="T48" fmla="*/ 2147483647 w 143"/>
                    <a:gd name="T49" fmla="*/ 2147483647 h 77"/>
                    <a:gd name="T50" fmla="*/ 2147483647 w 143"/>
                    <a:gd name="T51" fmla="*/ 2147483647 h 77"/>
                    <a:gd name="T52" fmla="*/ 2147483647 w 143"/>
                    <a:gd name="T53" fmla="*/ 2147483647 h 77"/>
                    <a:gd name="T54" fmla="*/ 2147483647 w 143"/>
                    <a:gd name="T55" fmla="*/ 2147483647 h 77"/>
                    <a:gd name="T56" fmla="*/ 2147483647 w 143"/>
                    <a:gd name="T57" fmla="*/ 2147483647 h 77"/>
                    <a:gd name="T58" fmla="*/ 2147483647 w 143"/>
                    <a:gd name="T59" fmla="*/ 2147483647 h 77"/>
                    <a:gd name="T60" fmla="*/ 2147483647 w 143"/>
                    <a:gd name="T61" fmla="*/ 2147483647 h 77"/>
                    <a:gd name="T62" fmla="*/ 2147483647 w 143"/>
                    <a:gd name="T63" fmla="*/ 2147483647 h 77"/>
                    <a:gd name="T64" fmla="*/ 2147483647 w 143"/>
                    <a:gd name="T65" fmla="*/ 2147483647 h 77"/>
                    <a:gd name="T66" fmla="*/ 2147483647 w 143"/>
                    <a:gd name="T67" fmla="*/ 2147483647 h 77"/>
                    <a:gd name="T68" fmla="*/ 2147483647 w 143"/>
                    <a:gd name="T69" fmla="*/ 2147483647 h 77"/>
                    <a:gd name="T70" fmla="*/ 2147483647 w 143"/>
                    <a:gd name="T71" fmla="*/ 2147483647 h 77"/>
                    <a:gd name="T72" fmla="*/ 2147483647 w 143"/>
                    <a:gd name="T73" fmla="*/ 2147483647 h 77"/>
                    <a:gd name="T74" fmla="*/ 2147483647 w 143"/>
                    <a:gd name="T75" fmla="*/ 2147483647 h 77"/>
                    <a:gd name="T76" fmla="*/ 2147483647 w 143"/>
                    <a:gd name="T77" fmla="*/ 2147483647 h 77"/>
                    <a:gd name="T78" fmla="*/ 2147483647 w 143"/>
                    <a:gd name="T79" fmla="*/ 2147483647 h 77"/>
                    <a:gd name="T80" fmla="*/ 2147483647 w 143"/>
                    <a:gd name="T81" fmla="*/ 2147483647 h 77"/>
                    <a:gd name="T82" fmla="*/ 2147483647 w 143"/>
                    <a:gd name="T83" fmla="*/ 2147483647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77"/>
                    <a:gd name="T128" fmla="*/ 143 w 143"/>
                    <a:gd name="T129" fmla="*/ 77 h 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77">
                      <a:moveTo>
                        <a:pt x="92" y="13"/>
                      </a:moveTo>
                      <a:lnTo>
                        <a:pt x="87" y="15"/>
                      </a:lnTo>
                      <a:lnTo>
                        <a:pt x="82" y="17"/>
                      </a:lnTo>
                      <a:lnTo>
                        <a:pt x="78" y="18"/>
                      </a:lnTo>
                      <a:lnTo>
                        <a:pt x="73" y="20"/>
                      </a:lnTo>
                      <a:lnTo>
                        <a:pt x="66" y="27"/>
                      </a:lnTo>
                      <a:lnTo>
                        <a:pt x="61" y="31"/>
                      </a:lnTo>
                      <a:lnTo>
                        <a:pt x="58" y="31"/>
                      </a:lnTo>
                      <a:lnTo>
                        <a:pt x="55" y="31"/>
                      </a:lnTo>
                      <a:lnTo>
                        <a:pt x="54" y="30"/>
                      </a:lnTo>
                      <a:lnTo>
                        <a:pt x="53" y="27"/>
                      </a:lnTo>
                      <a:lnTo>
                        <a:pt x="53" y="25"/>
                      </a:lnTo>
                      <a:lnTo>
                        <a:pt x="50" y="22"/>
                      </a:lnTo>
                      <a:lnTo>
                        <a:pt x="43" y="19"/>
                      </a:lnTo>
                      <a:lnTo>
                        <a:pt x="36" y="13"/>
                      </a:lnTo>
                      <a:lnTo>
                        <a:pt x="25" y="0"/>
                      </a:lnTo>
                      <a:lnTo>
                        <a:pt x="22" y="0"/>
                      </a:lnTo>
                      <a:lnTo>
                        <a:pt x="20" y="1"/>
                      </a:lnTo>
                      <a:lnTo>
                        <a:pt x="19" y="4"/>
                      </a:lnTo>
                      <a:lnTo>
                        <a:pt x="16" y="6"/>
                      </a:lnTo>
                      <a:lnTo>
                        <a:pt x="19" y="7"/>
                      </a:lnTo>
                      <a:lnTo>
                        <a:pt x="20" y="8"/>
                      </a:lnTo>
                      <a:lnTo>
                        <a:pt x="21" y="13"/>
                      </a:lnTo>
                      <a:lnTo>
                        <a:pt x="25" y="17"/>
                      </a:lnTo>
                      <a:lnTo>
                        <a:pt x="31" y="22"/>
                      </a:lnTo>
                      <a:lnTo>
                        <a:pt x="36" y="28"/>
                      </a:lnTo>
                      <a:lnTo>
                        <a:pt x="39" y="32"/>
                      </a:lnTo>
                      <a:lnTo>
                        <a:pt x="40" y="36"/>
                      </a:lnTo>
                      <a:lnTo>
                        <a:pt x="39" y="39"/>
                      </a:lnTo>
                      <a:lnTo>
                        <a:pt x="38" y="41"/>
                      </a:lnTo>
                      <a:lnTo>
                        <a:pt x="35" y="44"/>
                      </a:lnTo>
                      <a:lnTo>
                        <a:pt x="31" y="45"/>
                      </a:lnTo>
                      <a:lnTo>
                        <a:pt x="22" y="49"/>
                      </a:lnTo>
                      <a:lnTo>
                        <a:pt x="19" y="50"/>
                      </a:lnTo>
                      <a:lnTo>
                        <a:pt x="15" y="52"/>
                      </a:lnTo>
                      <a:lnTo>
                        <a:pt x="15" y="53"/>
                      </a:lnTo>
                      <a:lnTo>
                        <a:pt x="16" y="54"/>
                      </a:lnTo>
                      <a:lnTo>
                        <a:pt x="16" y="57"/>
                      </a:lnTo>
                      <a:lnTo>
                        <a:pt x="15" y="59"/>
                      </a:lnTo>
                      <a:lnTo>
                        <a:pt x="14" y="60"/>
                      </a:lnTo>
                      <a:lnTo>
                        <a:pt x="12" y="59"/>
                      </a:lnTo>
                      <a:lnTo>
                        <a:pt x="8" y="59"/>
                      </a:lnTo>
                      <a:lnTo>
                        <a:pt x="6" y="59"/>
                      </a:lnTo>
                      <a:lnTo>
                        <a:pt x="0" y="62"/>
                      </a:lnTo>
                      <a:lnTo>
                        <a:pt x="0" y="63"/>
                      </a:lnTo>
                      <a:lnTo>
                        <a:pt x="7" y="71"/>
                      </a:lnTo>
                      <a:lnTo>
                        <a:pt x="11" y="75"/>
                      </a:lnTo>
                      <a:lnTo>
                        <a:pt x="16" y="76"/>
                      </a:lnTo>
                      <a:lnTo>
                        <a:pt x="28" y="77"/>
                      </a:lnTo>
                      <a:lnTo>
                        <a:pt x="39" y="76"/>
                      </a:lnTo>
                      <a:lnTo>
                        <a:pt x="44" y="75"/>
                      </a:lnTo>
                      <a:lnTo>
                        <a:pt x="49" y="72"/>
                      </a:lnTo>
                      <a:lnTo>
                        <a:pt x="53" y="69"/>
                      </a:lnTo>
                      <a:lnTo>
                        <a:pt x="55" y="63"/>
                      </a:lnTo>
                      <a:lnTo>
                        <a:pt x="55" y="62"/>
                      </a:lnTo>
                      <a:lnTo>
                        <a:pt x="58" y="62"/>
                      </a:lnTo>
                      <a:lnTo>
                        <a:pt x="62" y="59"/>
                      </a:lnTo>
                      <a:lnTo>
                        <a:pt x="63" y="58"/>
                      </a:lnTo>
                      <a:lnTo>
                        <a:pt x="64" y="56"/>
                      </a:lnTo>
                      <a:lnTo>
                        <a:pt x="64" y="51"/>
                      </a:lnTo>
                      <a:lnTo>
                        <a:pt x="66" y="49"/>
                      </a:lnTo>
                      <a:lnTo>
                        <a:pt x="68" y="46"/>
                      </a:lnTo>
                      <a:lnTo>
                        <a:pt x="87" y="37"/>
                      </a:lnTo>
                      <a:lnTo>
                        <a:pt x="97" y="31"/>
                      </a:lnTo>
                      <a:lnTo>
                        <a:pt x="101" y="27"/>
                      </a:lnTo>
                      <a:lnTo>
                        <a:pt x="105" y="22"/>
                      </a:lnTo>
                      <a:lnTo>
                        <a:pt x="109" y="20"/>
                      </a:lnTo>
                      <a:lnTo>
                        <a:pt x="113" y="18"/>
                      </a:lnTo>
                      <a:lnTo>
                        <a:pt x="116" y="17"/>
                      </a:lnTo>
                      <a:lnTo>
                        <a:pt x="121" y="17"/>
                      </a:lnTo>
                      <a:lnTo>
                        <a:pt x="130" y="17"/>
                      </a:lnTo>
                      <a:lnTo>
                        <a:pt x="141" y="18"/>
                      </a:lnTo>
                      <a:lnTo>
                        <a:pt x="142" y="17"/>
                      </a:lnTo>
                      <a:lnTo>
                        <a:pt x="143" y="17"/>
                      </a:lnTo>
                      <a:lnTo>
                        <a:pt x="133" y="12"/>
                      </a:lnTo>
                      <a:lnTo>
                        <a:pt x="124" y="7"/>
                      </a:lnTo>
                      <a:lnTo>
                        <a:pt x="119" y="5"/>
                      </a:lnTo>
                      <a:lnTo>
                        <a:pt x="114" y="5"/>
                      </a:lnTo>
                      <a:lnTo>
                        <a:pt x="109" y="5"/>
                      </a:lnTo>
                      <a:lnTo>
                        <a:pt x="104" y="6"/>
                      </a:lnTo>
                      <a:lnTo>
                        <a:pt x="99" y="8"/>
                      </a:lnTo>
                      <a:lnTo>
                        <a:pt x="95" y="11"/>
                      </a:lnTo>
                      <a:lnTo>
                        <a:pt x="90" y="14"/>
                      </a:lnTo>
                      <a:lnTo>
                        <a:pt x="83" y="15"/>
                      </a:lnTo>
                      <a:lnTo>
                        <a:pt x="92"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0" name="Freeform 1295"/>
                <p:cNvSpPr>
                  <a:spLocks/>
                </p:cNvSpPr>
                <p:nvPr/>
              </p:nvSpPr>
              <p:spPr bwMode="auto">
                <a:xfrm>
                  <a:off x="2280002" y="2940188"/>
                  <a:ext cx="71034" cy="122829"/>
                </a:xfrm>
                <a:custGeom>
                  <a:avLst/>
                  <a:gdLst>
                    <a:gd name="T0" fmla="*/ 2147483647 w 52"/>
                    <a:gd name="T1" fmla="*/ 2147483647 h 83"/>
                    <a:gd name="T2" fmla="*/ 2147483647 w 52"/>
                    <a:gd name="T3" fmla="*/ 2147483647 h 83"/>
                    <a:gd name="T4" fmla="*/ 2147483647 w 52"/>
                    <a:gd name="T5" fmla="*/ 2147483647 h 83"/>
                    <a:gd name="T6" fmla="*/ 2147483647 w 52"/>
                    <a:gd name="T7" fmla="*/ 2147483647 h 83"/>
                    <a:gd name="T8" fmla="*/ 2147483647 w 52"/>
                    <a:gd name="T9" fmla="*/ 2147483647 h 83"/>
                    <a:gd name="T10" fmla="*/ 2147483647 w 52"/>
                    <a:gd name="T11" fmla="*/ 2147483647 h 83"/>
                    <a:gd name="T12" fmla="*/ 2147483647 w 52"/>
                    <a:gd name="T13" fmla="*/ 2147483647 h 83"/>
                    <a:gd name="T14" fmla="*/ 2147483647 w 52"/>
                    <a:gd name="T15" fmla="*/ 2147483647 h 83"/>
                    <a:gd name="T16" fmla="*/ 2147483647 w 52"/>
                    <a:gd name="T17" fmla="*/ 2147483647 h 83"/>
                    <a:gd name="T18" fmla="*/ 2147483647 w 52"/>
                    <a:gd name="T19" fmla="*/ 2147483647 h 83"/>
                    <a:gd name="T20" fmla="*/ 2147483647 w 52"/>
                    <a:gd name="T21" fmla="*/ 2147483647 h 83"/>
                    <a:gd name="T22" fmla="*/ 2147483647 w 52"/>
                    <a:gd name="T23" fmla="*/ 0 h 83"/>
                    <a:gd name="T24" fmla="*/ 2147483647 w 52"/>
                    <a:gd name="T25" fmla="*/ 0 h 83"/>
                    <a:gd name="T26" fmla="*/ 2147483647 w 52"/>
                    <a:gd name="T27" fmla="*/ 0 h 83"/>
                    <a:gd name="T28" fmla="*/ 2147483647 w 52"/>
                    <a:gd name="T29" fmla="*/ 2147483647 h 83"/>
                    <a:gd name="T30" fmla="*/ 2147483647 w 52"/>
                    <a:gd name="T31" fmla="*/ 2147483647 h 83"/>
                    <a:gd name="T32" fmla="*/ 2147483647 w 52"/>
                    <a:gd name="T33" fmla="*/ 2147483647 h 83"/>
                    <a:gd name="T34" fmla="*/ 2147483647 w 52"/>
                    <a:gd name="T35" fmla="*/ 2147483647 h 83"/>
                    <a:gd name="T36" fmla="*/ 2147483647 w 52"/>
                    <a:gd name="T37" fmla="*/ 2147483647 h 83"/>
                    <a:gd name="T38" fmla="*/ 0 w 52"/>
                    <a:gd name="T39" fmla="*/ 2147483647 h 83"/>
                    <a:gd name="T40" fmla="*/ 0 w 52"/>
                    <a:gd name="T41" fmla="*/ 2147483647 h 83"/>
                    <a:gd name="T42" fmla="*/ 2147483647 w 52"/>
                    <a:gd name="T43" fmla="*/ 2147483647 h 83"/>
                    <a:gd name="T44" fmla="*/ 2147483647 w 52"/>
                    <a:gd name="T45" fmla="*/ 2147483647 h 83"/>
                    <a:gd name="T46" fmla="*/ 2147483647 w 52"/>
                    <a:gd name="T47" fmla="*/ 2147483647 h 83"/>
                    <a:gd name="T48" fmla="*/ 2147483647 w 52"/>
                    <a:gd name="T49" fmla="*/ 2147483647 h 83"/>
                    <a:gd name="T50" fmla="*/ 2147483647 w 52"/>
                    <a:gd name="T51" fmla="*/ 2147483647 h 83"/>
                    <a:gd name="T52" fmla="*/ 2147483647 w 52"/>
                    <a:gd name="T53" fmla="*/ 2147483647 h 83"/>
                    <a:gd name="T54" fmla="*/ 2147483647 w 52"/>
                    <a:gd name="T55" fmla="*/ 2147483647 h 83"/>
                    <a:gd name="T56" fmla="*/ 2147483647 w 52"/>
                    <a:gd name="T57" fmla="*/ 2147483647 h 83"/>
                    <a:gd name="T58" fmla="*/ 2147483647 w 52"/>
                    <a:gd name="T59" fmla="*/ 2147483647 h 83"/>
                    <a:gd name="T60" fmla="*/ 2147483647 w 52"/>
                    <a:gd name="T61" fmla="*/ 2147483647 h 83"/>
                    <a:gd name="T62" fmla="*/ 2147483647 w 52"/>
                    <a:gd name="T63" fmla="*/ 2147483647 h 83"/>
                    <a:gd name="T64" fmla="*/ 2147483647 w 52"/>
                    <a:gd name="T65" fmla="*/ 2147483647 h 83"/>
                    <a:gd name="T66" fmla="*/ 2147483647 w 52"/>
                    <a:gd name="T67" fmla="*/ 2147483647 h 83"/>
                    <a:gd name="T68" fmla="*/ 2147483647 w 52"/>
                    <a:gd name="T69" fmla="*/ 2147483647 h 83"/>
                    <a:gd name="T70" fmla="*/ 2147483647 w 52"/>
                    <a:gd name="T71" fmla="*/ 2147483647 h 83"/>
                    <a:gd name="T72" fmla="*/ 2147483647 w 52"/>
                    <a:gd name="T73" fmla="*/ 2147483647 h 83"/>
                    <a:gd name="T74" fmla="*/ 2147483647 w 52"/>
                    <a:gd name="T75" fmla="*/ 2147483647 h 83"/>
                    <a:gd name="T76" fmla="*/ 2147483647 w 52"/>
                    <a:gd name="T77" fmla="*/ 2147483647 h 83"/>
                    <a:gd name="T78" fmla="*/ 2147483647 w 52"/>
                    <a:gd name="T79" fmla="*/ 2147483647 h 83"/>
                    <a:gd name="T80" fmla="*/ 2147483647 w 52"/>
                    <a:gd name="T81" fmla="*/ 2147483647 h 83"/>
                    <a:gd name="T82" fmla="*/ 2147483647 w 52"/>
                    <a:gd name="T83" fmla="*/ 2147483647 h 83"/>
                    <a:gd name="T84" fmla="*/ 2147483647 w 52"/>
                    <a:gd name="T85" fmla="*/ 2147483647 h 83"/>
                    <a:gd name="T86" fmla="*/ 2147483647 w 52"/>
                    <a:gd name="T87" fmla="*/ 2147483647 h 83"/>
                    <a:gd name="T88" fmla="*/ 2147483647 w 52"/>
                    <a:gd name="T89" fmla="*/ 2147483647 h 83"/>
                    <a:gd name="T90" fmla="*/ 2147483647 w 52"/>
                    <a:gd name="T91" fmla="*/ 2147483647 h 83"/>
                    <a:gd name="T92" fmla="*/ 2147483647 w 52"/>
                    <a:gd name="T93" fmla="*/ 2147483647 h 83"/>
                    <a:gd name="T94" fmla="*/ 2147483647 w 52"/>
                    <a:gd name="T95" fmla="*/ 2147483647 h 83"/>
                    <a:gd name="T96" fmla="*/ 2147483647 w 52"/>
                    <a:gd name="T97" fmla="*/ 2147483647 h 83"/>
                    <a:gd name="T98" fmla="*/ 2147483647 w 52"/>
                    <a:gd name="T99" fmla="*/ 2147483647 h 83"/>
                    <a:gd name="T100" fmla="*/ 2147483647 w 52"/>
                    <a:gd name="T101" fmla="*/ 2147483647 h 83"/>
                    <a:gd name="T102" fmla="*/ 2147483647 w 52"/>
                    <a:gd name="T103" fmla="*/ 2147483647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
                    <a:gd name="T157" fmla="*/ 0 h 83"/>
                    <a:gd name="T158" fmla="*/ 52 w 52"/>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 h="83">
                      <a:moveTo>
                        <a:pt x="39" y="50"/>
                      </a:moveTo>
                      <a:lnTo>
                        <a:pt x="38" y="46"/>
                      </a:lnTo>
                      <a:lnTo>
                        <a:pt x="35" y="44"/>
                      </a:lnTo>
                      <a:lnTo>
                        <a:pt x="28" y="30"/>
                      </a:lnTo>
                      <a:lnTo>
                        <a:pt x="21" y="17"/>
                      </a:lnTo>
                      <a:lnTo>
                        <a:pt x="20" y="13"/>
                      </a:lnTo>
                      <a:lnTo>
                        <a:pt x="19" y="10"/>
                      </a:lnTo>
                      <a:lnTo>
                        <a:pt x="19" y="6"/>
                      </a:lnTo>
                      <a:lnTo>
                        <a:pt x="17" y="3"/>
                      </a:lnTo>
                      <a:lnTo>
                        <a:pt x="16" y="3"/>
                      </a:lnTo>
                      <a:lnTo>
                        <a:pt x="15" y="3"/>
                      </a:lnTo>
                      <a:lnTo>
                        <a:pt x="12" y="0"/>
                      </a:lnTo>
                      <a:lnTo>
                        <a:pt x="11" y="0"/>
                      </a:lnTo>
                      <a:lnTo>
                        <a:pt x="10" y="0"/>
                      </a:lnTo>
                      <a:lnTo>
                        <a:pt x="6" y="1"/>
                      </a:lnTo>
                      <a:lnTo>
                        <a:pt x="6" y="4"/>
                      </a:lnTo>
                      <a:lnTo>
                        <a:pt x="5" y="6"/>
                      </a:lnTo>
                      <a:lnTo>
                        <a:pt x="3" y="8"/>
                      </a:lnTo>
                      <a:lnTo>
                        <a:pt x="1" y="14"/>
                      </a:lnTo>
                      <a:lnTo>
                        <a:pt x="0" y="17"/>
                      </a:lnTo>
                      <a:lnTo>
                        <a:pt x="0" y="18"/>
                      </a:lnTo>
                      <a:lnTo>
                        <a:pt x="2" y="19"/>
                      </a:lnTo>
                      <a:lnTo>
                        <a:pt x="7" y="19"/>
                      </a:lnTo>
                      <a:lnTo>
                        <a:pt x="10" y="20"/>
                      </a:lnTo>
                      <a:lnTo>
                        <a:pt x="11" y="22"/>
                      </a:lnTo>
                      <a:lnTo>
                        <a:pt x="11" y="24"/>
                      </a:lnTo>
                      <a:lnTo>
                        <a:pt x="10" y="26"/>
                      </a:lnTo>
                      <a:lnTo>
                        <a:pt x="8" y="29"/>
                      </a:lnTo>
                      <a:lnTo>
                        <a:pt x="7" y="31"/>
                      </a:lnTo>
                      <a:lnTo>
                        <a:pt x="7" y="33"/>
                      </a:lnTo>
                      <a:lnTo>
                        <a:pt x="11" y="42"/>
                      </a:lnTo>
                      <a:lnTo>
                        <a:pt x="15" y="45"/>
                      </a:lnTo>
                      <a:lnTo>
                        <a:pt x="16" y="45"/>
                      </a:lnTo>
                      <a:lnTo>
                        <a:pt x="19" y="45"/>
                      </a:lnTo>
                      <a:lnTo>
                        <a:pt x="22" y="44"/>
                      </a:lnTo>
                      <a:lnTo>
                        <a:pt x="24" y="44"/>
                      </a:lnTo>
                      <a:lnTo>
                        <a:pt x="25" y="44"/>
                      </a:lnTo>
                      <a:lnTo>
                        <a:pt x="29" y="49"/>
                      </a:lnTo>
                      <a:lnTo>
                        <a:pt x="31" y="54"/>
                      </a:lnTo>
                      <a:lnTo>
                        <a:pt x="34" y="58"/>
                      </a:lnTo>
                      <a:lnTo>
                        <a:pt x="38" y="63"/>
                      </a:lnTo>
                      <a:lnTo>
                        <a:pt x="40" y="65"/>
                      </a:lnTo>
                      <a:lnTo>
                        <a:pt x="40" y="67"/>
                      </a:lnTo>
                      <a:lnTo>
                        <a:pt x="42" y="72"/>
                      </a:lnTo>
                      <a:lnTo>
                        <a:pt x="40" y="83"/>
                      </a:lnTo>
                      <a:lnTo>
                        <a:pt x="47" y="78"/>
                      </a:lnTo>
                      <a:lnTo>
                        <a:pt x="50" y="75"/>
                      </a:lnTo>
                      <a:lnTo>
                        <a:pt x="52" y="69"/>
                      </a:lnTo>
                      <a:lnTo>
                        <a:pt x="52" y="62"/>
                      </a:lnTo>
                      <a:lnTo>
                        <a:pt x="49" y="58"/>
                      </a:lnTo>
                      <a:lnTo>
                        <a:pt x="47" y="55"/>
                      </a:lnTo>
                      <a:lnTo>
                        <a:pt x="39" y="5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1" name="Freeform 1296"/>
                <p:cNvSpPr>
                  <a:spLocks/>
                </p:cNvSpPr>
                <p:nvPr/>
              </p:nvSpPr>
              <p:spPr bwMode="auto">
                <a:xfrm>
                  <a:off x="1859719" y="2577619"/>
                  <a:ext cx="196823" cy="113951"/>
                </a:xfrm>
                <a:custGeom>
                  <a:avLst/>
                  <a:gdLst>
                    <a:gd name="T0" fmla="*/ 2147483647 w 144"/>
                    <a:gd name="T1" fmla="*/ 2147483647 h 77"/>
                    <a:gd name="T2" fmla="*/ 2147483647 w 144"/>
                    <a:gd name="T3" fmla="*/ 2147483647 h 77"/>
                    <a:gd name="T4" fmla="*/ 2147483647 w 144"/>
                    <a:gd name="T5" fmla="*/ 2147483647 h 77"/>
                    <a:gd name="T6" fmla="*/ 2147483647 w 144"/>
                    <a:gd name="T7" fmla="*/ 2147483647 h 77"/>
                    <a:gd name="T8" fmla="*/ 2147483647 w 144"/>
                    <a:gd name="T9" fmla="*/ 2147483647 h 77"/>
                    <a:gd name="T10" fmla="*/ 2147483647 w 144"/>
                    <a:gd name="T11" fmla="*/ 2147483647 h 77"/>
                    <a:gd name="T12" fmla="*/ 2147483647 w 144"/>
                    <a:gd name="T13" fmla="*/ 2147483647 h 77"/>
                    <a:gd name="T14" fmla="*/ 2147483647 w 144"/>
                    <a:gd name="T15" fmla="*/ 2147483647 h 77"/>
                    <a:gd name="T16" fmla="*/ 2147483647 w 144"/>
                    <a:gd name="T17" fmla="*/ 2147483647 h 77"/>
                    <a:gd name="T18" fmla="*/ 2147483647 w 144"/>
                    <a:gd name="T19" fmla="*/ 0 h 77"/>
                    <a:gd name="T20" fmla="*/ 2147483647 w 144"/>
                    <a:gd name="T21" fmla="*/ 0 h 77"/>
                    <a:gd name="T22" fmla="*/ 2147483647 w 144"/>
                    <a:gd name="T23" fmla="*/ 2147483647 h 77"/>
                    <a:gd name="T24" fmla="*/ 2147483647 w 144"/>
                    <a:gd name="T25" fmla="*/ 2147483647 h 77"/>
                    <a:gd name="T26" fmla="*/ 2147483647 w 144"/>
                    <a:gd name="T27" fmla="*/ 2147483647 h 77"/>
                    <a:gd name="T28" fmla="*/ 2147483647 w 144"/>
                    <a:gd name="T29" fmla="*/ 2147483647 h 77"/>
                    <a:gd name="T30" fmla="*/ 2147483647 w 144"/>
                    <a:gd name="T31" fmla="*/ 2147483647 h 77"/>
                    <a:gd name="T32" fmla="*/ 2147483647 w 144"/>
                    <a:gd name="T33" fmla="*/ 2147483647 h 77"/>
                    <a:gd name="T34" fmla="*/ 2147483647 w 144"/>
                    <a:gd name="T35" fmla="*/ 2147483647 h 77"/>
                    <a:gd name="T36" fmla="*/ 2147483647 w 144"/>
                    <a:gd name="T37" fmla="*/ 2147483647 h 77"/>
                    <a:gd name="T38" fmla="*/ 2147483647 w 144"/>
                    <a:gd name="T39" fmla="*/ 2147483647 h 77"/>
                    <a:gd name="T40" fmla="*/ 2147483647 w 144"/>
                    <a:gd name="T41" fmla="*/ 2147483647 h 77"/>
                    <a:gd name="T42" fmla="*/ 2147483647 w 144"/>
                    <a:gd name="T43" fmla="*/ 2147483647 h 77"/>
                    <a:gd name="T44" fmla="*/ 2147483647 w 144"/>
                    <a:gd name="T45" fmla="*/ 2147483647 h 77"/>
                    <a:gd name="T46" fmla="*/ 2147483647 w 144"/>
                    <a:gd name="T47" fmla="*/ 2147483647 h 77"/>
                    <a:gd name="T48" fmla="*/ 2147483647 w 144"/>
                    <a:gd name="T49" fmla="*/ 2147483647 h 77"/>
                    <a:gd name="T50" fmla="*/ 2147483647 w 144"/>
                    <a:gd name="T51" fmla="*/ 2147483647 h 77"/>
                    <a:gd name="T52" fmla="*/ 2147483647 w 144"/>
                    <a:gd name="T53" fmla="*/ 2147483647 h 77"/>
                    <a:gd name="T54" fmla="*/ 0 w 144"/>
                    <a:gd name="T55" fmla="*/ 2147483647 h 77"/>
                    <a:gd name="T56" fmla="*/ 0 w 144"/>
                    <a:gd name="T57" fmla="*/ 2147483647 h 77"/>
                    <a:gd name="T58" fmla="*/ 2147483647 w 144"/>
                    <a:gd name="T59" fmla="*/ 2147483647 h 77"/>
                    <a:gd name="T60" fmla="*/ 2147483647 w 144"/>
                    <a:gd name="T61" fmla="*/ 2147483647 h 77"/>
                    <a:gd name="T62" fmla="*/ 2147483647 w 144"/>
                    <a:gd name="T63" fmla="*/ 2147483647 h 77"/>
                    <a:gd name="T64" fmla="*/ 2147483647 w 144"/>
                    <a:gd name="T65" fmla="*/ 2147483647 h 77"/>
                    <a:gd name="T66" fmla="*/ 2147483647 w 144"/>
                    <a:gd name="T67" fmla="*/ 2147483647 h 77"/>
                    <a:gd name="T68" fmla="*/ 2147483647 w 144"/>
                    <a:gd name="T69" fmla="*/ 2147483647 h 77"/>
                    <a:gd name="T70" fmla="*/ 2147483647 w 144"/>
                    <a:gd name="T71" fmla="*/ 2147483647 h 77"/>
                    <a:gd name="T72" fmla="*/ 2147483647 w 144"/>
                    <a:gd name="T73" fmla="*/ 2147483647 h 77"/>
                    <a:gd name="T74" fmla="*/ 2147483647 w 144"/>
                    <a:gd name="T75" fmla="*/ 2147483647 h 77"/>
                    <a:gd name="T76" fmla="*/ 2147483647 w 144"/>
                    <a:gd name="T77" fmla="*/ 2147483647 h 77"/>
                    <a:gd name="T78" fmla="*/ 2147483647 w 144"/>
                    <a:gd name="T79" fmla="*/ 2147483647 h 77"/>
                    <a:gd name="T80" fmla="*/ 2147483647 w 144"/>
                    <a:gd name="T81" fmla="*/ 2147483647 h 77"/>
                    <a:gd name="T82" fmla="*/ 2147483647 w 144"/>
                    <a:gd name="T83" fmla="*/ 2147483647 h 77"/>
                    <a:gd name="T84" fmla="*/ 2147483647 w 144"/>
                    <a:gd name="T85" fmla="*/ 2147483647 h 77"/>
                    <a:gd name="T86" fmla="*/ 2147483647 w 144"/>
                    <a:gd name="T87" fmla="*/ 2147483647 h 77"/>
                    <a:gd name="T88" fmla="*/ 2147483647 w 144"/>
                    <a:gd name="T89" fmla="*/ 2147483647 h 77"/>
                    <a:gd name="T90" fmla="*/ 2147483647 w 144"/>
                    <a:gd name="T91" fmla="*/ 2147483647 h 77"/>
                    <a:gd name="T92" fmla="*/ 2147483647 w 144"/>
                    <a:gd name="T93" fmla="*/ 2147483647 h 77"/>
                    <a:gd name="T94" fmla="*/ 2147483647 w 144"/>
                    <a:gd name="T95" fmla="*/ 2147483647 h 77"/>
                    <a:gd name="T96" fmla="*/ 2147483647 w 144"/>
                    <a:gd name="T97" fmla="*/ 2147483647 h 77"/>
                    <a:gd name="T98" fmla="*/ 2147483647 w 144"/>
                    <a:gd name="T99" fmla="*/ 2147483647 h 77"/>
                    <a:gd name="T100" fmla="*/ 2147483647 w 144"/>
                    <a:gd name="T101" fmla="*/ 2147483647 h 77"/>
                    <a:gd name="T102" fmla="*/ 2147483647 w 144"/>
                    <a:gd name="T103" fmla="*/ 2147483647 h 77"/>
                    <a:gd name="T104" fmla="*/ 2147483647 w 144"/>
                    <a:gd name="T105" fmla="*/ 2147483647 h 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4"/>
                    <a:gd name="T160" fmla="*/ 0 h 77"/>
                    <a:gd name="T161" fmla="*/ 144 w 144"/>
                    <a:gd name="T162" fmla="*/ 77 h 7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4" h="77">
                      <a:moveTo>
                        <a:pt x="93" y="13"/>
                      </a:moveTo>
                      <a:lnTo>
                        <a:pt x="93" y="13"/>
                      </a:lnTo>
                      <a:lnTo>
                        <a:pt x="88" y="15"/>
                      </a:lnTo>
                      <a:lnTo>
                        <a:pt x="83" y="16"/>
                      </a:lnTo>
                      <a:lnTo>
                        <a:pt x="79" y="18"/>
                      </a:lnTo>
                      <a:lnTo>
                        <a:pt x="74" y="20"/>
                      </a:lnTo>
                      <a:lnTo>
                        <a:pt x="66" y="27"/>
                      </a:lnTo>
                      <a:lnTo>
                        <a:pt x="61" y="31"/>
                      </a:lnTo>
                      <a:lnTo>
                        <a:pt x="59" y="31"/>
                      </a:lnTo>
                      <a:lnTo>
                        <a:pt x="56" y="31"/>
                      </a:lnTo>
                      <a:lnTo>
                        <a:pt x="55" y="29"/>
                      </a:lnTo>
                      <a:lnTo>
                        <a:pt x="54" y="27"/>
                      </a:lnTo>
                      <a:lnTo>
                        <a:pt x="54" y="25"/>
                      </a:lnTo>
                      <a:lnTo>
                        <a:pt x="51" y="22"/>
                      </a:lnTo>
                      <a:lnTo>
                        <a:pt x="43" y="19"/>
                      </a:lnTo>
                      <a:lnTo>
                        <a:pt x="37" y="13"/>
                      </a:lnTo>
                      <a:lnTo>
                        <a:pt x="26" y="0"/>
                      </a:lnTo>
                      <a:lnTo>
                        <a:pt x="23" y="0"/>
                      </a:lnTo>
                      <a:lnTo>
                        <a:pt x="21" y="1"/>
                      </a:lnTo>
                      <a:lnTo>
                        <a:pt x="19" y="3"/>
                      </a:lnTo>
                      <a:lnTo>
                        <a:pt x="17" y="6"/>
                      </a:lnTo>
                      <a:lnTo>
                        <a:pt x="19" y="7"/>
                      </a:lnTo>
                      <a:lnTo>
                        <a:pt x="21" y="8"/>
                      </a:lnTo>
                      <a:lnTo>
                        <a:pt x="22" y="13"/>
                      </a:lnTo>
                      <a:lnTo>
                        <a:pt x="26" y="16"/>
                      </a:lnTo>
                      <a:lnTo>
                        <a:pt x="32" y="22"/>
                      </a:lnTo>
                      <a:lnTo>
                        <a:pt x="37" y="28"/>
                      </a:lnTo>
                      <a:lnTo>
                        <a:pt x="40" y="32"/>
                      </a:lnTo>
                      <a:lnTo>
                        <a:pt x="41" y="35"/>
                      </a:lnTo>
                      <a:lnTo>
                        <a:pt x="40" y="39"/>
                      </a:lnTo>
                      <a:lnTo>
                        <a:pt x="38" y="41"/>
                      </a:lnTo>
                      <a:lnTo>
                        <a:pt x="36" y="44"/>
                      </a:lnTo>
                      <a:lnTo>
                        <a:pt x="32" y="45"/>
                      </a:lnTo>
                      <a:lnTo>
                        <a:pt x="23" y="48"/>
                      </a:lnTo>
                      <a:lnTo>
                        <a:pt x="19" y="50"/>
                      </a:lnTo>
                      <a:lnTo>
                        <a:pt x="16" y="52"/>
                      </a:lnTo>
                      <a:lnTo>
                        <a:pt x="16" y="53"/>
                      </a:lnTo>
                      <a:lnTo>
                        <a:pt x="17" y="54"/>
                      </a:lnTo>
                      <a:lnTo>
                        <a:pt x="17" y="57"/>
                      </a:lnTo>
                      <a:lnTo>
                        <a:pt x="16" y="59"/>
                      </a:lnTo>
                      <a:lnTo>
                        <a:pt x="14" y="60"/>
                      </a:lnTo>
                      <a:lnTo>
                        <a:pt x="13" y="59"/>
                      </a:lnTo>
                      <a:lnTo>
                        <a:pt x="9" y="59"/>
                      </a:lnTo>
                      <a:lnTo>
                        <a:pt x="7" y="59"/>
                      </a:lnTo>
                      <a:lnTo>
                        <a:pt x="0" y="61"/>
                      </a:lnTo>
                      <a:lnTo>
                        <a:pt x="0" y="63"/>
                      </a:lnTo>
                      <a:lnTo>
                        <a:pt x="8" y="71"/>
                      </a:lnTo>
                      <a:lnTo>
                        <a:pt x="12" y="74"/>
                      </a:lnTo>
                      <a:lnTo>
                        <a:pt x="17" y="76"/>
                      </a:lnTo>
                      <a:lnTo>
                        <a:pt x="28" y="77"/>
                      </a:lnTo>
                      <a:lnTo>
                        <a:pt x="40" y="76"/>
                      </a:lnTo>
                      <a:lnTo>
                        <a:pt x="45" y="74"/>
                      </a:lnTo>
                      <a:lnTo>
                        <a:pt x="50" y="72"/>
                      </a:lnTo>
                      <a:lnTo>
                        <a:pt x="54" y="69"/>
                      </a:lnTo>
                      <a:lnTo>
                        <a:pt x="56" y="63"/>
                      </a:lnTo>
                      <a:lnTo>
                        <a:pt x="56" y="61"/>
                      </a:lnTo>
                      <a:lnTo>
                        <a:pt x="59" y="61"/>
                      </a:lnTo>
                      <a:lnTo>
                        <a:pt x="63" y="59"/>
                      </a:lnTo>
                      <a:lnTo>
                        <a:pt x="64" y="58"/>
                      </a:lnTo>
                      <a:lnTo>
                        <a:pt x="65" y="55"/>
                      </a:lnTo>
                      <a:lnTo>
                        <a:pt x="65" y="51"/>
                      </a:lnTo>
                      <a:lnTo>
                        <a:pt x="66" y="48"/>
                      </a:lnTo>
                      <a:lnTo>
                        <a:pt x="69" y="46"/>
                      </a:lnTo>
                      <a:lnTo>
                        <a:pt x="88" y="37"/>
                      </a:lnTo>
                      <a:lnTo>
                        <a:pt x="98" y="31"/>
                      </a:lnTo>
                      <a:lnTo>
                        <a:pt x="102" y="27"/>
                      </a:lnTo>
                      <a:lnTo>
                        <a:pt x="106" y="22"/>
                      </a:lnTo>
                      <a:lnTo>
                        <a:pt x="110" y="20"/>
                      </a:lnTo>
                      <a:lnTo>
                        <a:pt x="113" y="18"/>
                      </a:lnTo>
                      <a:lnTo>
                        <a:pt x="117" y="16"/>
                      </a:lnTo>
                      <a:lnTo>
                        <a:pt x="122" y="16"/>
                      </a:lnTo>
                      <a:lnTo>
                        <a:pt x="131" y="16"/>
                      </a:lnTo>
                      <a:lnTo>
                        <a:pt x="141" y="18"/>
                      </a:lnTo>
                      <a:lnTo>
                        <a:pt x="143" y="16"/>
                      </a:lnTo>
                      <a:lnTo>
                        <a:pt x="144" y="16"/>
                      </a:lnTo>
                      <a:lnTo>
                        <a:pt x="134" y="12"/>
                      </a:lnTo>
                      <a:lnTo>
                        <a:pt x="125" y="7"/>
                      </a:lnTo>
                      <a:lnTo>
                        <a:pt x="120" y="5"/>
                      </a:lnTo>
                      <a:lnTo>
                        <a:pt x="115" y="5"/>
                      </a:lnTo>
                      <a:lnTo>
                        <a:pt x="110" y="5"/>
                      </a:lnTo>
                      <a:lnTo>
                        <a:pt x="104" y="6"/>
                      </a:lnTo>
                      <a:lnTo>
                        <a:pt x="99" y="8"/>
                      </a:lnTo>
                      <a:lnTo>
                        <a:pt x="96" y="10"/>
                      </a:lnTo>
                      <a:lnTo>
                        <a:pt x="90" y="14"/>
                      </a:lnTo>
                      <a:lnTo>
                        <a:pt x="84" y="15"/>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2" name="Freeform 1297"/>
                <p:cNvSpPr>
                  <a:spLocks/>
                </p:cNvSpPr>
                <p:nvPr/>
              </p:nvSpPr>
              <p:spPr bwMode="auto">
                <a:xfrm>
                  <a:off x="2278524" y="2938709"/>
                  <a:ext cx="71034" cy="122830"/>
                </a:xfrm>
                <a:custGeom>
                  <a:avLst/>
                  <a:gdLst>
                    <a:gd name="T0" fmla="*/ 2147483647 w 52"/>
                    <a:gd name="T1" fmla="*/ 2147483647 h 83"/>
                    <a:gd name="T2" fmla="*/ 2147483647 w 52"/>
                    <a:gd name="T3" fmla="*/ 2147483647 h 83"/>
                    <a:gd name="T4" fmla="*/ 2147483647 w 52"/>
                    <a:gd name="T5" fmla="*/ 2147483647 h 83"/>
                    <a:gd name="T6" fmla="*/ 2147483647 w 52"/>
                    <a:gd name="T7" fmla="*/ 2147483647 h 83"/>
                    <a:gd name="T8" fmla="*/ 2147483647 w 52"/>
                    <a:gd name="T9" fmla="*/ 2147483647 h 83"/>
                    <a:gd name="T10" fmla="*/ 2147483647 w 52"/>
                    <a:gd name="T11" fmla="*/ 2147483647 h 83"/>
                    <a:gd name="T12" fmla="*/ 2147483647 w 52"/>
                    <a:gd name="T13" fmla="*/ 2147483647 h 83"/>
                    <a:gd name="T14" fmla="*/ 2147483647 w 52"/>
                    <a:gd name="T15" fmla="*/ 2147483647 h 83"/>
                    <a:gd name="T16" fmla="*/ 2147483647 w 52"/>
                    <a:gd name="T17" fmla="*/ 0 h 83"/>
                    <a:gd name="T18" fmla="*/ 2147483647 w 52"/>
                    <a:gd name="T19" fmla="*/ 0 h 83"/>
                    <a:gd name="T20" fmla="*/ 2147483647 w 52"/>
                    <a:gd name="T21" fmla="*/ 2147483647 h 83"/>
                    <a:gd name="T22" fmla="*/ 2147483647 w 52"/>
                    <a:gd name="T23" fmla="*/ 2147483647 h 83"/>
                    <a:gd name="T24" fmla="*/ 2147483647 w 52"/>
                    <a:gd name="T25" fmla="*/ 2147483647 h 83"/>
                    <a:gd name="T26" fmla="*/ 0 w 52"/>
                    <a:gd name="T27" fmla="*/ 2147483647 h 83"/>
                    <a:gd name="T28" fmla="*/ 2147483647 w 52"/>
                    <a:gd name="T29" fmla="*/ 2147483647 h 83"/>
                    <a:gd name="T30" fmla="*/ 2147483647 w 52"/>
                    <a:gd name="T31" fmla="*/ 2147483647 h 83"/>
                    <a:gd name="T32" fmla="*/ 2147483647 w 52"/>
                    <a:gd name="T33" fmla="*/ 2147483647 h 83"/>
                    <a:gd name="T34" fmla="*/ 2147483647 w 52"/>
                    <a:gd name="T35" fmla="*/ 2147483647 h 83"/>
                    <a:gd name="T36" fmla="*/ 2147483647 w 52"/>
                    <a:gd name="T37" fmla="*/ 2147483647 h 83"/>
                    <a:gd name="T38" fmla="*/ 2147483647 w 52"/>
                    <a:gd name="T39" fmla="*/ 2147483647 h 83"/>
                    <a:gd name="T40" fmla="*/ 2147483647 w 52"/>
                    <a:gd name="T41" fmla="*/ 2147483647 h 83"/>
                    <a:gd name="T42" fmla="*/ 2147483647 w 52"/>
                    <a:gd name="T43" fmla="*/ 2147483647 h 83"/>
                    <a:gd name="T44" fmla="*/ 2147483647 w 52"/>
                    <a:gd name="T45" fmla="*/ 2147483647 h 83"/>
                    <a:gd name="T46" fmla="*/ 2147483647 w 52"/>
                    <a:gd name="T47" fmla="*/ 2147483647 h 83"/>
                    <a:gd name="T48" fmla="*/ 2147483647 w 52"/>
                    <a:gd name="T49" fmla="*/ 2147483647 h 83"/>
                    <a:gd name="T50" fmla="*/ 2147483647 w 52"/>
                    <a:gd name="T51" fmla="*/ 2147483647 h 83"/>
                    <a:gd name="T52" fmla="*/ 2147483647 w 52"/>
                    <a:gd name="T53" fmla="*/ 2147483647 h 83"/>
                    <a:gd name="T54" fmla="*/ 2147483647 w 52"/>
                    <a:gd name="T55" fmla="*/ 2147483647 h 83"/>
                    <a:gd name="T56" fmla="*/ 2147483647 w 52"/>
                    <a:gd name="T57" fmla="*/ 2147483647 h 83"/>
                    <a:gd name="T58" fmla="*/ 2147483647 w 52"/>
                    <a:gd name="T59" fmla="*/ 2147483647 h 83"/>
                    <a:gd name="T60" fmla="*/ 2147483647 w 52"/>
                    <a:gd name="T61" fmla="*/ 2147483647 h 83"/>
                    <a:gd name="T62" fmla="*/ 2147483647 w 52"/>
                    <a:gd name="T63" fmla="*/ 2147483647 h 83"/>
                    <a:gd name="T64" fmla="*/ 2147483647 w 52"/>
                    <a:gd name="T65" fmla="*/ 2147483647 h 83"/>
                    <a:gd name="T66" fmla="*/ 2147483647 w 52"/>
                    <a:gd name="T67" fmla="*/ 2147483647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83"/>
                    <a:gd name="T104" fmla="*/ 52 w 52"/>
                    <a:gd name="T105" fmla="*/ 83 h 8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83">
                      <a:moveTo>
                        <a:pt x="40" y="50"/>
                      </a:moveTo>
                      <a:lnTo>
                        <a:pt x="40" y="50"/>
                      </a:lnTo>
                      <a:lnTo>
                        <a:pt x="38" y="46"/>
                      </a:lnTo>
                      <a:lnTo>
                        <a:pt x="36" y="44"/>
                      </a:lnTo>
                      <a:lnTo>
                        <a:pt x="28" y="30"/>
                      </a:lnTo>
                      <a:lnTo>
                        <a:pt x="22" y="17"/>
                      </a:lnTo>
                      <a:lnTo>
                        <a:pt x="21" y="13"/>
                      </a:lnTo>
                      <a:lnTo>
                        <a:pt x="19" y="9"/>
                      </a:lnTo>
                      <a:lnTo>
                        <a:pt x="19" y="6"/>
                      </a:lnTo>
                      <a:lnTo>
                        <a:pt x="18" y="2"/>
                      </a:lnTo>
                      <a:lnTo>
                        <a:pt x="17" y="2"/>
                      </a:lnTo>
                      <a:lnTo>
                        <a:pt x="16" y="2"/>
                      </a:lnTo>
                      <a:lnTo>
                        <a:pt x="13" y="0"/>
                      </a:lnTo>
                      <a:lnTo>
                        <a:pt x="12" y="0"/>
                      </a:lnTo>
                      <a:lnTo>
                        <a:pt x="10" y="0"/>
                      </a:lnTo>
                      <a:lnTo>
                        <a:pt x="7" y="1"/>
                      </a:lnTo>
                      <a:lnTo>
                        <a:pt x="7" y="4"/>
                      </a:lnTo>
                      <a:lnTo>
                        <a:pt x="5" y="6"/>
                      </a:lnTo>
                      <a:lnTo>
                        <a:pt x="4" y="8"/>
                      </a:lnTo>
                      <a:lnTo>
                        <a:pt x="2" y="14"/>
                      </a:lnTo>
                      <a:lnTo>
                        <a:pt x="0" y="17"/>
                      </a:lnTo>
                      <a:lnTo>
                        <a:pt x="0" y="18"/>
                      </a:lnTo>
                      <a:lnTo>
                        <a:pt x="3" y="19"/>
                      </a:lnTo>
                      <a:lnTo>
                        <a:pt x="8" y="19"/>
                      </a:lnTo>
                      <a:lnTo>
                        <a:pt x="10" y="20"/>
                      </a:lnTo>
                      <a:lnTo>
                        <a:pt x="12" y="21"/>
                      </a:lnTo>
                      <a:lnTo>
                        <a:pt x="12" y="24"/>
                      </a:lnTo>
                      <a:lnTo>
                        <a:pt x="10" y="26"/>
                      </a:lnTo>
                      <a:lnTo>
                        <a:pt x="9" y="28"/>
                      </a:lnTo>
                      <a:lnTo>
                        <a:pt x="8" y="31"/>
                      </a:lnTo>
                      <a:lnTo>
                        <a:pt x="8" y="33"/>
                      </a:lnTo>
                      <a:lnTo>
                        <a:pt x="12" y="41"/>
                      </a:lnTo>
                      <a:lnTo>
                        <a:pt x="16" y="45"/>
                      </a:lnTo>
                      <a:lnTo>
                        <a:pt x="17" y="45"/>
                      </a:lnTo>
                      <a:lnTo>
                        <a:pt x="19" y="45"/>
                      </a:lnTo>
                      <a:lnTo>
                        <a:pt x="23" y="44"/>
                      </a:lnTo>
                      <a:lnTo>
                        <a:pt x="24" y="44"/>
                      </a:lnTo>
                      <a:lnTo>
                        <a:pt x="26" y="44"/>
                      </a:lnTo>
                      <a:lnTo>
                        <a:pt x="30" y="49"/>
                      </a:lnTo>
                      <a:lnTo>
                        <a:pt x="32" y="53"/>
                      </a:lnTo>
                      <a:lnTo>
                        <a:pt x="35" y="58"/>
                      </a:lnTo>
                      <a:lnTo>
                        <a:pt x="38" y="63"/>
                      </a:lnTo>
                      <a:lnTo>
                        <a:pt x="41" y="65"/>
                      </a:lnTo>
                      <a:lnTo>
                        <a:pt x="41" y="66"/>
                      </a:lnTo>
                      <a:lnTo>
                        <a:pt x="42" y="72"/>
                      </a:lnTo>
                      <a:lnTo>
                        <a:pt x="41" y="83"/>
                      </a:lnTo>
                      <a:lnTo>
                        <a:pt x="47" y="78"/>
                      </a:lnTo>
                      <a:lnTo>
                        <a:pt x="51" y="75"/>
                      </a:lnTo>
                      <a:lnTo>
                        <a:pt x="52" y="69"/>
                      </a:lnTo>
                      <a:lnTo>
                        <a:pt x="52" y="62"/>
                      </a:lnTo>
                      <a:lnTo>
                        <a:pt x="50" y="58"/>
                      </a:lnTo>
                      <a:lnTo>
                        <a:pt x="47" y="55"/>
                      </a:lnTo>
                      <a:lnTo>
                        <a:pt x="40" y="5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3" name="Freeform 1298"/>
                <p:cNvSpPr>
                  <a:spLocks/>
                </p:cNvSpPr>
                <p:nvPr/>
              </p:nvSpPr>
              <p:spPr bwMode="auto">
                <a:xfrm>
                  <a:off x="2457590" y="3110375"/>
                  <a:ext cx="282656" cy="253059"/>
                </a:xfrm>
                <a:custGeom>
                  <a:avLst/>
                  <a:gdLst>
                    <a:gd name="T0" fmla="*/ 2147483647 w 207"/>
                    <a:gd name="T1" fmla="*/ 2147483647 h 171"/>
                    <a:gd name="T2" fmla="*/ 2147483647 w 207"/>
                    <a:gd name="T3" fmla="*/ 2147483647 h 171"/>
                    <a:gd name="T4" fmla="*/ 2147483647 w 207"/>
                    <a:gd name="T5" fmla="*/ 2147483647 h 171"/>
                    <a:gd name="T6" fmla="*/ 2147483647 w 207"/>
                    <a:gd name="T7" fmla="*/ 2147483647 h 171"/>
                    <a:gd name="T8" fmla="*/ 2147483647 w 207"/>
                    <a:gd name="T9" fmla="*/ 2147483647 h 171"/>
                    <a:gd name="T10" fmla="*/ 2147483647 w 207"/>
                    <a:gd name="T11" fmla="*/ 2147483647 h 171"/>
                    <a:gd name="T12" fmla="*/ 2147483647 w 207"/>
                    <a:gd name="T13" fmla="*/ 2147483647 h 171"/>
                    <a:gd name="T14" fmla="*/ 2147483647 w 207"/>
                    <a:gd name="T15" fmla="*/ 2147483647 h 171"/>
                    <a:gd name="T16" fmla="*/ 2147483647 w 207"/>
                    <a:gd name="T17" fmla="*/ 2147483647 h 171"/>
                    <a:gd name="T18" fmla="*/ 2147483647 w 207"/>
                    <a:gd name="T19" fmla="*/ 2147483647 h 171"/>
                    <a:gd name="T20" fmla="*/ 2147483647 w 207"/>
                    <a:gd name="T21" fmla="*/ 2147483647 h 171"/>
                    <a:gd name="T22" fmla="*/ 2147483647 w 207"/>
                    <a:gd name="T23" fmla="*/ 2147483647 h 171"/>
                    <a:gd name="T24" fmla="*/ 2147483647 w 207"/>
                    <a:gd name="T25" fmla="*/ 2147483647 h 171"/>
                    <a:gd name="T26" fmla="*/ 2147483647 w 207"/>
                    <a:gd name="T27" fmla="*/ 2147483647 h 171"/>
                    <a:gd name="T28" fmla="*/ 2147483647 w 207"/>
                    <a:gd name="T29" fmla="*/ 2147483647 h 171"/>
                    <a:gd name="T30" fmla="*/ 2147483647 w 207"/>
                    <a:gd name="T31" fmla="*/ 2147483647 h 171"/>
                    <a:gd name="T32" fmla="*/ 2147483647 w 207"/>
                    <a:gd name="T33" fmla="*/ 2147483647 h 171"/>
                    <a:gd name="T34" fmla="*/ 2147483647 w 207"/>
                    <a:gd name="T35" fmla="*/ 2147483647 h 171"/>
                    <a:gd name="T36" fmla="*/ 2147483647 w 207"/>
                    <a:gd name="T37" fmla="*/ 2147483647 h 171"/>
                    <a:gd name="T38" fmla="*/ 2147483647 w 207"/>
                    <a:gd name="T39" fmla="*/ 2147483647 h 171"/>
                    <a:gd name="T40" fmla="*/ 2147483647 w 207"/>
                    <a:gd name="T41" fmla="*/ 2147483647 h 171"/>
                    <a:gd name="T42" fmla="*/ 2147483647 w 207"/>
                    <a:gd name="T43" fmla="*/ 2147483647 h 171"/>
                    <a:gd name="T44" fmla="*/ 2147483647 w 207"/>
                    <a:gd name="T45" fmla="*/ 2147483647 h 171"/>
                    <a:gd name="T46" fmla="*/ 2147483647 w 207"/>
                    <a:gd name="T47" fmla="*/ 2147483647 h 171"/>
                    <a:gd name="T48" fmla="*/ 2147483647 w 207"/>
                    <a:gd name="T49" fmla="*/ 2147483647 h 171"/>
                    <a:gd name="T50" fmla="*/ 2147483647 w 207"/>
                    <a:gd name="T51" fmla="*/ 2147483647 h 171"/>
                    <a:gd name="T52" fmla="*/ 2147483647 w 207"/>
                    <a:gd name="T53" fmla="*/ 2147483647 h 171"/>
                    <a:gd name="T54" fmla="*/ 2147483647 w 207"/>
                    <a:gd name="T55" fmla="*/ 2147483647 h 171"/>
                    <a:gd name="T56" fmla="*/ 2147483647 w 207"/>
                    <a:gd name="T57" fmla="*/ 2147483647 h 171"/>
                    <a:gd name="T58" fmla="*/ 2147483647 w 207"/>
                    <a:gd name="T59" fmla="*/ 2147483647 h 171"/>
                    <a:gd name="T60" fmla="*/ 2147483647 w 207"/>
                    <a:gd name="T61" fmla="*/ 2147483647 h 171"/>
                    <a:gd name="T62" fmla="*/ 2147483647 w 207"/>
                    <a:gd name="T63" fmla="*/ 2147483647 h 171"/>
                    <a:gd name="T64" fmla="*/ 2147483647 w 207"/>
                    <a:gd name="T65" fmla="*/ 2147483647 h 171"/>
                    <a:gd name="T66" fmla="*/ 2147483647 w 207"/>
                    <a:gd name="T67" fmla="*/ 2147483647 h 171"/>
                    <a:gd name="T68" fmla="*/ 2147483647 w 207"/>
                    <a:gd name="T69" fmla="*/ 2147483647 h 171"/>
                    <a:gd name="T70" fmla="*/ 2147483647 w 207"/>
                    <a:gd name="T71" fmla="*/ 2147483647 h 171"/>
                    <a:gd name="T72" fmla="*/ 2147483647 w 207"/>
                    <a:gd name="T73" fmla="*/ 2147483647 h 171"/>
                    <a:gd name="T74" fmla="*/ 2147483647 w 207"/>
                    <a:gd name="T75" fmla="*/ 2147483647 h 171"/>
                    <a:gd name="T76" fmla="*/ 2147483647 w 207"/>
                    <a:gd name="T77" fmla="*/ 2147483647 h 171"/>
                    <a:gd name="T78" fmla="*/ 2147483647 w 207"/>
                    <a:gd name="T79" fmla="*/ 2147483647 h 171"/>
                    <a:gd name="T80" fmla="*/ 2147483647 w 207"/>
                    <a:gd name="T81" fmla="*/ 2147483647 h 171"/>
                    <a:gd name="T82" fmla="*/ 2147483647 w 207"/>
                    <a:gd name="T83" fmla="*/ 2147483647 h 171"/>
                    <a:gd name="T84" fmla="*/ 2147483647 w 207"/>
                    <a:gd name="T85" fmla="*/ 2147483647 h 171"/>
                    <a:gd name="T86" fmla="*/ 2147483647 w 207"/>
                    <a:gd name="T87" fmla="*/ 2147483647 h 171"/>
                    <a:gd name="T88" fmla="*/ 2147483647 w 207"/>
                    <a:gd name="T89" fmla="*/ 2147483647 h 171"/>
                    <a:gd name="T90" fmla="*/ 2147483647 w 207"/>
                    <a:gd name="T91" fmla="*/ 2147483647 h 171"/>
                    <a:gd name="T92" fmla="*/ 2147483647 w 207"/>
                    <a:gd name="T93" fmla="*/ 2147483647 h 171"/>
                    <a:gd name="T94" fmla="*/ 2147483647 w 207"/>
                    <a:gd name="T95" fmla="*/ 2147483647 h 171"/>
                    <a:gd name="T96" fmla="*/ 2147483647 w 207"/>
                    <a:gd name="T97" fmla="*/ 2147483647 h 171"/>
                    <a:gd name="T98" fmla="*/ 2147483647 w 207"/>
                    <a:gd name="T99" fmla="*/ 2147483647 h 171"/>
                    <a:gd name="T100" fmla="*/ 2147483647 w 207"/>
                    <a:gd name="T101" fmla="*/ 2147483647 h 171"/>
                    <a:gd name="T102" fmla="*/ 0 w 207"/>
                    <a:gd name="T103" fmla="*/ 2147483647 h 171"/>
                    <a:gd name="T104" fmla="*/ 2147483647 w 207"/>
                    <a:gd name="T105" fmla="*/ 2147483647 h 171"/>
                    <a:gd name="T106" fmla="*/ 2147483647 w 207"/>
                    <a:gd name="T107" fmla="*/ 2147483647 h 171"/>
                    <a:gd name="T108" fmla="*/ 2147483647 w 207"/>
                    <a:gd name="T109" fmla="*/ 2147483647 h 171"/>
                    <a:gd name="T110" fmla="*/ 2147483647 w 207"/>
                    <a:gd name="T111" fmla="*/ 2147483647 h 171"/>
                    <a:gd name="T112" fmla="*/ 2147483647 w 207"/>
                    <a:gd name="T113" fmla="*/ 2147483647 h 171"/>
                    <a:gd name="T114" fmla="*/ 2147483647 w 207"/>
                    <a:gd name="T115" fmla="*/ 2147483647 h 171"/>
                    <a:gd name="T116" fmla="*/ 2147483647 w 207"/>
                    <a:gd name="T117" fmla="*/ 2147483647 h 171"/>
                    <a:gd name="T118" fmla="*/ 2147483647 w 207"/>
                    <a:gd name="T119" fmla="*/ 2147483647 h 1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7"/>
                    <a:gd name="T181" fmla="*/ 0 h 171"/>
                    <a:gd name="T182" fmla="*/ 207 w 207"/>
                    <a:gd name="T183" fmla="*/ 171 h 1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7" h="171">
                      <a:moveTo>
                        <a:pt x="121" y="63"/>
                      </a:moveTo>
                      <a:lnTo>
                        <a:pt x="125" y="69"/>
                      </a:lnTo>
                      <a:lnTo>
                        <a:pt x="126" y="70"/>
                      </a:lnTo>
                      <a:lnTo>
                        <a:pt x="126" y="71"/>
                      </a:lnTo>
                      <a:lnTo>
                        <a:pt x="116" y="74"/>
                      </a:lnTo>
                      <a:lnTo>
                        <a:pt x="106" y="75"/>
                      </a:lnTo>
                      <a:lnTo>
                        <a:pt x="95" y="77"/>
                      </a:lnTo>
                      <a:lnTo>
                        <a:pt x="90" y="80"/>
                      </a:lnTo>
                      <a:lnTo>
                        <a:pt x="85" y="83"/>
                      </a:lnTo>
                      <a:lnTo>
                        <a:pt x="84" y="84"/>
                      </a:lnTo>
                      <a:lnTo>
                        <a:pt x="81" y="84"/>
                      </a:lnTo>
                      <a:lnTo>
                        <a:pt x="76" y="86"/>
                      </a:lnTo>
                      <a:lnTo>
                        <a:pt x="73" y="88"/>
                      </a:lnTo>
                      <a:lnTo>
                        <a:pt x="70" y="90"/>
                      </a:lnTo>
                      <a:lnTo>
                        <a:pt x="69" y="94"/>
                      </a:lnTo>
                      <a:lnTo>
                        <a:pt x="67" y="97"/>
                      </a:lnTo>
                      <a:lnTo>
                        <a:pt x="70" y="100"/>
                      </a:lnTo>
                      <a:lnTo>
                        <a:pt x="73" y="102"/>
                      </a:lnTo>
                      <a:lnTo>
                        <a:pt x="74" y="102"/>
                      </a:lnTo>
                      <a:lnTo>
                        <a:pt x="76" y="101"/>
                      </a:lnTo>
                      <a:lnTo>
                        <a:pt x="78" y="100"/>
                      </a:lnTo>
                      <a:lnTo>
                        <a:pt x="80" y="96"/>
                      </a:lnTo>
                      <a:lnTo>
                        <a:pt x="83" y="95"/>
                      </a:lnTo>
                      <a:lnTo>
                        <a:pt x="81" y="99"/>
                      </a:lnTo>
                      <a:lnTo>
                        <a:pt x="74" y="107"/>
                      </a:lnTo>
                      <a:lnTo>
                        <a:pt x="67" y="115"/>
                      </a:lnTo>
                      <a:lnTo>
                        <a:pt x="65" y="126"/>
                      </a:lnTo>
                      <a:lnTo>
                        <a:pt x="64" y="137"/>
                      </a:lnTo>
                      <a:lnTo>
                        <a:pt x="65" y="146"/>
                      </a:lnTo>
                      <a:lnTo>
                        <a:pt x="67" y="158"/>
                      </a:lnTo>
                      <a:lnTo>
                        <a:pt x="71" y="167"/>
                      </a:lnTo>
                      <a:lnTo>
                        <a:pt x="74" y="171"/>
                      </a:lnTo>
                      <a:lnTo>
                        <a:pt x="76" y="171"/>
                      </a:lnTo>
                      <a:lnTo>
                        <a:pt x="83" y="170"/>
                      </a:lnTo>
                      <a:lnTo>
                        <a:pt x="86" y="166"/>
                      </a:lnTo>
                      <a:lnTo>
                        <a:pt x="90" y="161"/>
                      </a:lnTo>
                      <a:lnTo>
                        <a:pt x="92" y="157"/>
                      </a:lnTo>
                      <a:lnTo>
                        <a:pt x="93" y="152"/>
                      </a:lnTo>
                      <a:lnTo>
                        <a:pt x="93" y="147"/>
                      </a:lnTo>
                      <a:lnTo>
                        <a:pt x="92" y="142"/>
                      </a:lnTo>
                      <a:lnTo>
                        <a:pt x="90" y="139"/>
                      </a:lnTo>
                      <a:lnTo>
                        <a:pt x="86" y="135"/>
                      </a:lnTo>
                      <a:lnTo>
                        <a:pt x="85" y="133"/>
                      </a:lnTo>
                      <a:lnTo>
                        <a:pt x="86" y="131"/>
                      </a:lnTo>
                      <a:lnTo>
                        <a:pt x="88" y="126"/>
                      </a:lnTo>
                      <a:lnTo>
                        <a:pt x="88" y="121"/>
                      </a:lnTo>
                      <a:lnTo>
                        <a:pt x="88" y="116"/>
                      </a:lnTo>
                      <a:lnTo>
                        <a:pt x="89" y="113"/>
                      </a:lnTo>
                      <a:lnTo>
                        <a:pt x="95" y="107"/>
                      </a:lnTo>
                      <a:lnTo>
                        <a:pt x="98" y="105"/>
                      </a:lnTo>
                      <a:lnTo>
                        <a:pt x="99" y="101"/>
                      </a:lnTo>
                      <a:lnTo>
                        <a:pt x="102" y="99"/>
                      </a:lnTo>
                      <a:lnTo>
                        <a:pt x="104" y="97"/>
                      </a:lnTo>
                      <a:lnTo>
                        <a:pt x="109" y="96"/>
                      </a:lnTo>
                      <a:lnTo>
                        <a:pt x="113" y="91"/>
                      </a:lnTo>
                      <a:lnTo>
                        <a:pt x="116" y="88"/>
                      </a:lnTo>
                      <a:lnTo>
                        <a:pt x="118" y="84"/>
                      </a:lnTo>
                      <a:lnTo>
                        <a:pt x="119" y="83"/>
                      </a:lnTo>
                      <a:lnTo>
                        <a:pt x="121" y="82"/>
                      </a:lnTo>
                      <a:lnTo>
                        <a:pt x="123" y="82"/>
                      </a:lnTo>
                      <a:lnTo>
                        <a:pt x="126" y="83"/>
                      </a:lnTo>
                      <a:lnTo>
                        <a:pt x="131" y="87"/>
                      </a:lnTo>
                      <a:lnTo>
                        <a:pt x="136" y="89"/>
                      </a:lnTo>
                      <a:lnTo>
                        <a:pt x="140" y="94"/>
                      </a:lnTo>
                      <a:lnTo>
                        <a:pt x="141" y="97"/>
                      </a:lnTo>
                      <a:lnTo>
                        <a:pt x="142" y="101"/>
                      </a:lnTo>
                      <a:lnTo>
                        <a:pt x="144" y="109"/>
                      </a:lnTo>
                      <a:lnTo>
                        <a:pt x="145" y="113"/>
                      </a:lnTo>
                      <a:lnTo>
                        <a:pt x="147" y="115"/>
                      </a:lnTo>
                      <a:lnTo>
                        <a:pt x="155" y="119"/>
                      </a:lnTo>
                      <a:lnTo>
                        <a:pt x="156" y="120"/>
                      </a:lnTo>
                      <a:lnTo>
                        <a:pt x="156" y="121"/>
                      </a:lnTo>
                      <a:lnTo>
                        <a:pt x="159" y="129"/>
                      </a:lnTo>
                      <a:lnTo>
                        <a:pt x="160" y="133"/>
                      </a:lnTo>
                      <a:lnTo>
                        <a:pt x="164" y="135"/>
                      </a:lnTo>
                      <a:lnTo>
                        <a:pt x="166" y="135"/>
                      </a:lnTo>
                      <a:lnTo>
                        <a:pt x="169" y="135"/>
                      </a:lnTo>
                      <a:lnTo>
                        <a:pt x="172" y="134"/>
                      </a:lnTo>
                      <a:lnTo>
                        <a:pt x="173" y="132"/>
                      </a:lnTo>
                      <a:lnTo>
                        <a:pt x="174" y="122"/>
                      </a:lnTo>
                      <a:lnTo>
                        <a:pt x="175" y="119"/>
                      </a:lnTo>
                      <a:lnTo>
                        <a:pt x="178" y="114"/>
                      </a:lnTo>
                      <a:lnTo>
                        <a:pt x="179" y="112"/>
                      </a:lnTo>
                      <a:lnTo>
                        <a:pt x="180" y="107"/>
                      </a:lnTo>
                      <a:lnTo>
                        <a:pt x="180" y="103"/>
                      </a:lnTo>
                      <a:lnTo>
                        <a:pt x="178" y="99"/>
                      </a:lnTo>
                      <a:lnTo>
                        <a:pt x="180" y="97"/>
                      </a:lnTo>
                      <a:lnTo>
                        <a:pt x="183" y="100"/>
                      </a:lnTo>
                      <a:lnTo>
                        <a:pt x="188" y="106"/>
                      </a:lnTo>
                      <a:lnTo>
                        <a:pt x="193" y="109"/>
                      </a:lnTo>
                      <a:lnTo>
                        <a:pt x="198" y="112"/>
                      </a:lnTo>
                      <a:lnTo>
                        <a:pt x="201" y="112"/>
                      </a:lnTo>
                      <a:lnTo>
                        <a:pt x="203" y="110"/>
                      </a:lnTo>
                      <a:lnTo>
                        <a:pt x="206" y="109"/>
                      </a:lnTo>
                      <a:lnTo>
                        <a:pt x="207" y="106"/>
                      </a:lnTo>
                      <a:lnTo>
                        <a:pt x="207" y="103"/>
                      </a:lnTo>
                      <a:lnTo>
                        <a:pt x="206" y="101"/>
                      </a:lnTo>
                      <a:lnTo>
                        <a:pt x="202" y="95"/>
                      </a:lnTo>
                      <a:lnTo>
                        <a:pt x="198" y="90"/>
                      </a:lnTo>
                      <a:lnTo>
                        <a:pt x="197" y="88"/>
                      </a:lnTo>
                      <a:lnTo>
                        <a:pt x="197" y="84"/>
                      </a:lnTo>
                      <a:lnTo>
                        <a:pt x="197" y="82"/>
                      </a:lnTo>
                      <a:lnTo>
                        <a:pt x="199" y="80"/>
                      </a:lnTo>
                      <a:lnTo>
                        <a:pt x="202" y="78"/>
                      </a:lnTo>
                      <a:lnTo>
                        <a:pt x="205" y="77"/>
                      </a:lnTo>
                      <a:lnTo>
                        <a:pt x="205" y="76"/>
                      </a:lnTo>
                      <a:lnTo>
                        <a:pt x="206" y="74"/>
                      </a:lnTo>
                      <a:lnTo>
                        <a:pt x="205" y="71"/>
                      </a:lnTo>
                      <a:lnTo>
                        <a:pt x="202" y="71"/>
                      </a:lnTo>
                      <a:lnTo>
                        <a:pt x="199" y="70"/>
                      </a:lnTo>
                      <a:lnTo>
                        <a:pt x="192" y="71"/>
                      </a:lnTo>
                      <a:lnTo>
                        <a:pt x="183" y="71"/>
                      </a:lnTo>
                      <a:lnTo>
                        <a:pt x="175" y="71"/>
                      </a:lnTo>
                      <a:lnTo>
                        <a:pt x="168" y="70"/>
                      </a:lnTo>
                      <a:lnTo>
                        <a:pt x="161" y="69"/>
                      </a:lnTo>
                      <a:lnTo>
                        <a:pt x="154" y="69"/>
                      </a:lnTo>
                      <a:lnTo>
                        <a:pt x="147" y="68"/>
                      </a:lnTo>
                      <a:lnTo>
                        <a:pt x="145" y="67"/>
                      </a:lnTo>
                      <a:lnTo>
                        <a:pt x="142" y="64"/>
                      </a:lnTo>
                      <a:lnTo>
                        <a:pt x="139" y="62"/>
                      </a:lnTo>
                      <a:lnTo>
                        <a:pt x="135" y="59"/>
                      </a:lnTo>
                      <a:lnTo>
                        <a:pt x="130" y="52"/>
                      </a:lnTo>
                      <a:lnTo>
                        <a:pt x="126" y="44"/>
                      </a:lnTo>
                      <a:lnTo>
                        <a:pt x="122" y="37"/>
                      </a:lnTo>
                      <a:lnTo>
                        <a:pt x="119" y="35"/>
                      </a:lnTo>
                      <a:lnTo>
                        <a:pt x="116" y="32"/>
                      </a:lnTo>
                      <a:lnTo>
                        <a:pt x="111" y="31"/>
                      </a:lnTo>
                      <a:lnTo>
                        <a:pt x="108" y="29"/>
                      </a:lnTo>
                      <a:lnTo>
                        <a:pt x="100" y="24"/>
                      </a:lnTo>
                      <a:lnTo>
                        <a:pt x="97" y="22"/>
                      </a:lnTo>
                      <a:lnTo>
                        <a:pt x="93" y="18"/>
                      </a:lnTo>
                      <a:lnTo>
                        <a:pt x="90" y="16"/>
                      </a:lnTo>
                      <a:lnTo>
                        <a:pt x="90" y="12"/>
                      </a:lnTo>
                      <a:lnTo>
                        <a:pt x="89" y="10"/>
                      </a:lnTo>
                      <a:lnTo>
                        <a:pt x="86" y="7"/>
                      </a:lnTo>
                      <a:lnTo>
                        <a:pt x="84" y="5"/>
                      </a:lnTo>
                      <a:lnTo>
                        <a:pt x="81" y="5"/>
                      </a:lnTo>
                      <a:lnTo>
                        <a:pt x="78" y="4"/>
                      </a:lnTo>
                      <a:lnTo>
                        <a:pt x="75" y="1"/>
                      </a:lnTo>
                      <a:lnTo>
                        <a:pt x="73" y="0"/>
                      </a:lnTo>
                      <a:lnTo>
                        <a:pt x="70" y="1"/>
                      </a:lnTo>
                      <a:lnTo>
                        <a:pt x="67" y="3"/>
                      </a:lnTo>
                      <a:lnTo>
                        <a:pt x="66" y="5"/>
                      </a:lnTo>
                      <a:lnTo>
                        <a:pt x="64" y="10"/>
                      </a:lnTo>
                      <a:lnTo>
                        <a:pt x="60" y="14"/>
                      </a:lnTo>
                      <a:lnTo>
                        <a:pt x="57" y="17"/>
                      </a:lnTo>
                      <a:lnTo>
                        <a:pt x="55" y="17"/>
                      </a:lnTo>
                      <a:lnTo>
                        <a:pt x="50" y="19"/>
                      </a:lnTo>
                      <a:lnTo>
                        <a:pt x="46" y="22"/>
                      </a:lnTo>
                      <a:lnTo>
                        <a:pt x="39" y="29"/>
                      </a:lnTo>
                      <a:lnTo>
                        <a:pt x="36" y="31"/>
                      </a:lnTo>
                      <a:lnTo>
                        <a:pt x="31" y="33"/>
                      </a:lnTo>
                      <a:lnTo>
                        <a:pt x="20" y="38"/>
                      </a:lnTo>
                      <a:lnTo>
                        <a:pt x="10" y="42"/>
                      </a:lnTo>
                      <a:lnTo>
                        <a:pt x="5" y="44"/>
                      </a:lnTo>
                      <a:lnTo>
                        <a:pt x="0" y="48"/>
                      </a:lnTo>
                      <a:lnTo>
                        <a:pt x="0" y="50"/>
                      </a:lnTo>
                      <a:lnTo>
                        <a:pt x="0" y="51"/>
                      </a:lnTo>
                      <a:lnTo>
                        <a:pt x="3" y="55"/>
                      </a:lnTo>
                      <a:lnTo>
                        <a:pt x="6" y="56"/>
                      </a:lnTo>
                      <a:lnTo>
                        <a:pt x="9" y="55"/>
                      </a:lnTo>
                      <a:lnTo>
                        <a:pt x="12" y="54"/>
                      </a:lnTo>
                      <a:lnTo>
                        <a:pt x="14" y="54"/>
                      </a:lnTo>
                      <a:lnTo>
                        <a:pt x="17" y="57"/>
                      </a:lnTo>
                      <a:lnTo>
                        <a:pt x="19" y="58"/>
                      </a:lnTo>
                      <a:lnTo>
                        <a:pt x="20" y="59"/>
                      </a:lnTo>
                      <a:lnTo>
                        <a:pt x="32" y="58"/>
                      </a:lnTo>
                      <a:lnTo>
                        <a:pt x="43" y="55"/>
                      </a:lnTo>
                      <a:lnTo>
                        <a:pt x="50" y="54"/>
                      </a:lnTo>
                      <a:lnTo>
                        <a:pt x="59" y="54"/>
                      </a:lnTo>
                      <a:lnTo>
                        <a:pt x="66" y="56"/>
                      </a:lnTo>
                      <a:lnTo>
                        <a:pt x="74" y="58"/>
                      </a:lnTo>
                      <a:lnTo>
                        <a:pt x="80" y="59"/>
                      </a:lnTo>
                      <a:lnTo>
                        <a:pt x="86" y="59"/>
                      </a:lnTo>
                      <a:lnTo>
                        <a:pt x="93" y="59"/>
                      </a:lnTo>
                      <a:lnTo>
                        <a:pt x="99" y="61"/>
                      </a:lnTo>
                      <a:lnTo>
                        <a:pt x="104" y="62"/>
                      </a:lnTo>
                      <a:lnTo>
                        <a:pt x="109" y="61"/>
                      </a:lnTo>
                      <a:lnTo>
                        <a:pt x="114" y="61"/>
                      </a:lnTo>
                      <a:lnTo>
                        <a:pt x="119" y="61"/>
                      </a:lnTo>
                      <a:lnTo>
                        <a:pt x="121" y="6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304" name="Freeform 1300"/>
                <p:cNvSpPr>
                  <a:spLocks/>
                </p:cNvSpPr>
                <p:nvPr/>
              </p:nvSpPr>
              <p:spPr bwMode="auto">
                <a:xfrm>
                  <a:off x="2456107" y="3108892"/>
                  <a:ext cx="282655" cy="253058"/>
                </a:xfrm>
                <a:custGeom>
                  <a:avLst/>
                  <a:gdLst>
                    <a:gd name="T0" fmla="*/ 2147483647 w 207"/>
                    <a:gd name="T1" fmla="*/ 2147483647 h 171"/>
                    <a:gd name="T2" fmla="*/ 2147483647 w 207"/>
                    <a:gd name="T3" fmla="*/ 2147483647 h 171"/>
                    <a:gd name="T4" fmla="*/ 2147483647 w 207"/>
                    <a:gd name="T5" fmla="*/ 2147483647 h 171"/>
                    <a:gd name="T6" fmla="*/ 2147483647 w 207"/>
                    <a:gd name="T7" fmla="*/ 2147483647 h 171"/>
                    <a:gd name="T8" fmla="*/ 2147483647 w 207"/>
                    <a:gd name="T9" fmla="*/ 2147483647 h 171"/>
                    <a:gd name="T10" fmla="*/ 2147483647 w 207"/>
                    <a:gd name="T11" fmla="*/ 2147483647 h 171"/>
                    <a:gd name="T12" fmla="*/ 2147483647 w 207"/>
                    <a:gd name="T13" fmla="*/ 2147483647 h 171"/>
                    <a:gd name="T14" fmla="*/ 2147483647 w 207"/>
                    <a:gd name="T15" fmla="*/ 2147483647 h 171"/>
                    <a:gd name="T16" fmla="*/ 2147483647 w 207"/>
                    <a:gd name="T17" fmla="*/ 2147483647 h 171"/>
                    <a:gd name="T18" fmla="*/ 2147483647 w 207"/>
                    <a:gd name="T19" fmla="*/ 2147483647 h 171"/>
                    <a:gd name="T20" fmla="*/ 2147483647 w 207"/>
                    <a:gd name="T21" fmla="*/ 2147483647 h 171"/>
                    <a:gd name="T22" fmla="*/ 2147483647 w 207"/>
                    <a:gd name="T23" fmla="*/ 2147483647 h 171"/>
                    <a:gd name="T24" fmla="*/ 2147483647 w 207"/>
                    <a:gd name="T25" fmla="*/ 2147483647 h 171"/>
                    <a:gd name="T26" fmla="*/ 2147483647 w 207"/>
                    <a:gd name="T27" fmla="*/ 2147483647 h 171"/>
                    <a:gd name="T28" fmla="*/ 2147483647 w 207"/>
                    <a:gd name="T29" fmla="*/ 2147483647 h 171"/>
                    <a:gd name="T30" fmla="*/ 2147483647 w 207"/>
                    <a:gd name="T31" fmla="*/ 2147483647 h 171"/>
                    <a:gd name="T32" fmla="*/ 2147483647 w 207"/>
                    <a:gd name="T33" fmla="*/ 2147483647 h 171"/>
                    <a:gd name="T34" fmla="*/ 2147483647 w 207"/>
                    <a:gd name="T35" fmla="*/ 2147483647 h 171"/>
                    <a:gd name="T36" fmla="*/ 2147483647 w 207"/>
                    <a:gd name="T37" fmla="*/ 2147483647 h 171"/>
                    <a:gd name="T38" fmla="*/ 2147483647 w 207"/>
                    <a:gd name="T39" fmla="*/ 2147483647 h 171"/>
                    <a:gd name="T40" fmla="*/ 2147483647 w 207"/>
                    <a:gd name="T41" fmla="*/ 2147483647 h 171"/>
                    <a:gd name="T42" fmla="*/ 2147483647 w 207"/>
                    <a:gd name="T43" fmla="*/ 2147483647 h 171"/>
                    <a:gd name="T44" fmla="*/ 2147483647 w 207"/>
                    <a:gd name="T45" fmla="*/ 2147483647 h 171"/>
                    <a:gd name="T46" fmla="*/ 2147483647 w 207"/>
                    <a:gd name="T47" fmla="*/ 2147483647 h 171"/>
                    <a:gd name="T48" fmla="*/ 2147483647 w 207"/>
                    <a:gd name="T49" fmla="*/ 2147483647 h 171"/>
                    <a:gd name="T50" fmla="*/ 2147483647 w 207"/>
                    <a:gd name="T51" fmla="*/ 2147483647 h 171"/>
                    <a:gd name="T52" fmla="*/ 2147483647 w 207"/>
                    <a:gd name="T53" fmla="*/ 2147483647 h 171"/>
                    <a:gd name="T54" fmla="*/ 2147483647 w 207"/>
                    <a:gd name="T55" fmla="*/ 2147483647 h 171"/>
                    <a:gd name="T56" fmla="*/ 2147483647 w 207"/>
                    <a:gd name="T57" fmla="*/ 2147483647 h 171"/>
                    <a:gd name="T58" fmla="*/ 2147483647 w 207"/>
                    <a:gd name="T59" fmla="*/ 2147483647 h 171"/>
                    <a:gd name="T60" fmla="*/ 2147483647 w 207"/>
                    <a:gd name="T61" fmla="*/ 2147483647 h 171"/>
                    <a:gd name="T62" fmla="*/ 2147483647 w 207"/>
                    <a:gd name="T63" fmla="*/ 2147483647 h 171"/>
                    <a:gd name="T64" fmla="*/ 2147483647 w 207"/>
                    <a:gd name="T65" fmla="*/ 2147483647 h 171"/>
                    <a:gd name="T66" fmla="*/ 2147483647 w 207"/>
                    <a:gd name="T67" fmla="*/ 2147483647 h 171"/>
                    <a:gd name="T68" fmla="*/ 2147483647 w 207"/>
                    <a:gd name="T69" fmla="*/ 2147483647 h 171"/>
                    <a:gd name="T70" fmla="*/ 2147483647 w 207"/>
                    <a:gd name="T71" fmla="*/ 2147483647 h 171"/>
                    <a:gd name="T72" fmla="*/ 2147483647 w 207"/>
                    <a:gd name="T73" fmla="*/ 2147483647 h 171"/>
                    <a:gd name="T74" fmla="*/ 2147483647 w 207"/>
                    <a:gd name="T75" fmla="*/ 2147483647 h 171"/>
                    <a:gd name="T76" fmla="*/ 2147483647 w 207"/>
                    <a:gd name="T77" fmla="*/ 2147483647 h 171"/>
                    <a:gd name="T78" fmla="*/ 2147483647 w 207"/>
                    <a:gd name="T79" fmla="*/ 2147483647 h 171"/>
                    <a:gd name="T80" fmla="*/ 2147483647 w 207"/>
                    <a:gd name="T81" fmla="*/ 2147483647 h 171"/>
                    <a:gd name="T82" fmla="*/ 2147483647 w 207"/>
                    <a:gd name="T83" fmla="*/ 2147483647 h 171"/>
                    <a:gd name="T84" fmla="*/ 2147483647 w 207"/>
                    <a:gd name="T85" fmla="*/ 2147483647 h 171"/>
                    <a:gd name="T86" fmla="*/ 2147483647 w 207"/>
                    <a:gd name="T87" fmla="*/ 2147483647 h 171"/>
                    <a:gd name="T88" fmla="*/ 2147483647 w 207"/>
                    <a:gd name="T89" fmla="*/ 2147483647 h 171"/>
                    <a:gd name="T90" fmla="*/ 2147483647 w 207"/>
                    <a:gd name="T91" fmla="*/ 2147483647 h 171"/>
                    <a:gd name="T92" fmla="*/ 2147483647 w 207"/>
                    <a:gd name="T93" fmla="*/ 2147483647 h 171"/>
                    <a:gd name="T94" fmla="*/ 2147483647 w 207"/>
                    <a:gd name="T95" fmla="*/ 2147483647 h 171"/>
                    <a:gd name="T96" fmla="*/ 2147483647 w 207"/>
                    <a:gd name="T97" fmla="*/ 2147483647 h 171"/>
                    <a:gd name="T98" fmla="*/ 0 w 207"/>
                    <a:gd name="T99" fmla="*/ 2147483647 h 171"/>
                    <a:gd name="T100" fmla="*/ 2147483647 w 207"/>
                    <a:gd name="T101" fmla="*/ 2147483647 h 171"/>
                    <a:gd name="T102" fmla="*/ 2147483647 w 207"/>
                    <a:gd name="T103" fmla="*/ 2147483647 h 171"/>
                    <a:gd name="T104" fmla="*/ 2147483647 w 207"/>
                    <a:gd name="T105" fmla="*/ 2147483647 h 171"/>
                    <a:gd name="T106" fmla="*/ 2147483647 w 207"/>
                    <a:gd name="T107" fmla="*/ 2147483647 h 171"/>
                    <a:gd name="T108" fmla="*/ 2147483647 w 207"/>
                    <a:gd name="T109" fmla="*/ 2147483647 h 171"/>
                    <a:gd name="T110" fmla="*/ 2147483647 w 207"/>
                    <a:gd name="T111" fmla="*/ 2147483647 h 171"/>
                    <a:gd name="T112" fmla="*/ 2147483647 w 207"/>
                    <a:gd name="T113" fmla="*/ 2147483647 h 1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7"/>
                    <a:gd name="T172" fmla="*/ 0 h 171"/>
                    <a:gd name="T173" fmla="*/ 207 w 207"/>
                    <a:gd name="T174" fmla="*/ 171 h 1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7" h="171">
                      <a:moveTo>
                        <a:pt x="120" y="63"/>
                      </a:moveTo>
                      <a:lnTo>
                        <a:pt x="120" y="63"/>
                      </a:lnTo>
                      <a:lnTo>
                        <a:pt x="124" y="69"/>
                      </a:lnTo>
                      <a:lnTo>
                        <a:pt x="126" y="70"/>
                      </a:lnTo>
                      <a:lnTo>
                        <a:pt x="126" y="71"/>
                      </a:lnTo>
                      <a:lnTo>
                        <a:pt x="115" y="73"/>
                      </a:lnTo>
                      <a:lnTo>
                        <a:pt x="105" y="75"/>
                      </a:lnTo>
                      <a:lnTo>
                        <a:pt x="95" y="77"/>
                      </a:lnTo>
                      <a:lnTo>
                        <a:pt x="90" y="79"/>
                      </a:lnTo>
                      <a:lnTo>
                        <a:pt x="85" y="83"/>
                      </a:lnTo>
                      <a:lnTo>
                        <a:pt x="84" y="84"/>
                      </a:lnTo>
                      <a:lnTo>
                        <a:pt x="81" y="84"/>
                      </a:lnTo>
                      <a:lnTo>
                        <a:pt x="76" y="85"/>
                      </a:lnTo>
                      <a:lnTo>
                        <a:pt x="72" y="88"/>
                      </a:lnTo>
                      <a:lnTo>
                        <a:pt x="70" y="90"/>
                      </a:lnTo>
                      <a:lnTo>
                        <a:pt x="68" y="94"/>
                      </a:lnTo>
                      <a:lnTo>
                        <a:pt x="67" y="97"/>
                      </a:lnTo>
                      <a:lnTo>
                        <a:pt x="70" y="100"/>
                      </a:lnTo>
                      <a:lnTo>
                        <a:pt x="72" y="102"/>
                      </a:lnTo>
                      <a:lnTo>
                        <a:pt x="74" y="102"/>
                      </a:lnTo>
                      <a:lnTo>
                        <a:pt x="76" y="101"/>
                      </a:lnTo>
                      <a:lnTo>
                        <a:pt x="77" y="100"/>
                      </a:lnTo>
                      <a:lnTo>
                        <a:pt x="80" y="96"/>
                      </a:lnTo>
                      <a:lnTo>
                        <a:pt x="82" y="95"/>
                      </a:lnTo>
                      <a:lnTo>
                        <a:pt x="81" y="98"/>
                      </a:lnTo>
                      <a:lnTo>
                        <a:pt x="74" y="107"/>
                      </a:lnTo>
                      <a:lnTo>
                        <a:pt x="67" y="115"/>
                      </a:lnTo>
                      <a:lnTo>
                        <a:pt x="65" y="126"/>
                      </a:lnTo>
                      <a:lnTo>
                        <a:pt x="63" y="136"/>
                      </a:lnTo>
                      <a:lnTo>
                        <a:pt x="65" y="146"/>
                      </a:lnTo>
                      <a:lnTo>
                        <a:pt x="67" y="158"/>
                      </a:lnTo>
                      <a:lnTo>
                        <a:pt x="71" y="167"/>
                      </a:lnTo>
                      <a:lnTo>
                        <a:pt x="74" y="171"/>
                      </a:lnTo>
                      <a:lnTo>
                        <a:pt x="76" y="171"/>
                      </a:lnTo>
                      <a:lnTo>
                        <a:pt x="82" y="170"/>
                      </a:lnTo>
                      <a:lnTo>
                        <a:pt x="86" y="166"/>
                      </a:lnTo>
                      <a:lnTo>
                        <a:pt x="90" y="161"/>
                      </a:lnTo>
                      <a:lnTo>
                        <a:pt x="91" y="156"/>
                      </a:lnTo>
                      <a:lnTo>
                        <a:pt x="93" y="152"/>
                      </a:lnTo>
                      <a:lnTo>
                        <a:pt x="93" y="147"/>
                      </a:lnTo>
                      <a:lnTo>
                        <a:pt x="91" y="142"/>
                      </a:lnTo>
                      <a:lnTo>
                        <a:pt x="90" y="139"/>
                      </a:lnTo>
                      <a:lnTo>
                        <a:pt x="86" y="135"/>
                      </a:lnTo>
                      <a:lnTo>
                        <a:pt x="85" y="133"/>
                      </a:lnTo>
                      <a:lnTo>
                        <a:pt x="86" y="130"/>
                      </a:lnTo>
                      <a:lnTo>
                        <a:pt x="87" y="126"/>
                      </a:lnTo>
                      <a:lnTo>
                        <a:pt x="87" y="121"/>
                      </a:lnTo>
                      <a:lnTo>
                        <a:pt x="87" y="116"/>
                      </a:lnTo>
                      <a:lnTo>
                        <a:pt x="89" y="113"/>
                      </a:lnTo>
                      <a:lnTo>
                        <a:pt x="95" y="107"/>
                      </a:lnTo>
                      <a:lnTo>
                        <a:pt x="98" y="104"/>
                      </a:lnTo>
                      <a:lnTo>
                        <a:pt x="99" y="101"/>
                      </a:lnTo>
                      <a:lnTo>
                        <a:pt x="101" y="98"/>
                      </a:lnTo>
                      <a:lnTo>
                        <a:pt x="104" y="97"/>
                      </a:lnTo>
                      <a:lnTo>
                        <a:pt x="109" y="96"/>
                      </a:lnTo>
                      <a:lnTo>
                        <a:pt x="113" y="91"/>
                      </a:lnTo>
                      <a:lnTo>
                        <a:pt x="115" y="88"/>
                      </a:lnTo>
                      <a:lnTo>
                        <a:pt x="118" y="84"/>
                      </a:lnTo>
                      <a:lnTo>
                        <a:pt x="119" y="83"/>
                      </a:lnTo>
                      <a:lnTo>
                        <a:pt x="120" y="82"/>
                      </a:lnTo>
                      <a:lnTo>
                        <a:pt x="123" y="82"/>
                      </a:lnTo>
                      <a:lnTo>
                        <a:pt x="126" y="83"/>
                      </a:lnTo>
                      <a:lnTo>
                        <a:pt x="131" y="87"/>
                      </a:lnTo>
                      <a:lnTo>
                        <a:pt x="136" y="89"/>
                      </a:lnTo>
                      <a:lnTo>
                        <a:pt x="140" y="94"/>
                      </a:lnTo>
                      <a:lnTo>
                        <a:pt x="141" y="97"/>
                      </a:lnTo>
                      <a:lnTo>
                        <a:pt x="142" y="101"/>
                      </a:lnTo>
                      <a:lnTo>
                        <a:pt x="143" y="109"/>
                      </a:lnTo>
                      <a:lnTo>
                        <a:pt x="145" y="113"/>
                      </a:lnTo>
                      <a:lnTo>
                        <a:pt x="147" y="115"/>
                      </a:lnTo>
                      <a:lnTo>
                        <a:pt x="155" y="119"/>
                      </a:lnTo>
                      <a:lnTo>
                        <a:pt x="156" y="120"/>
                      </a:lnTo>
                      <a:lnTo>
                        <a:pt x="156" y="121"/>
                      </a:lnTo>
                      <a:lnTo>
                        <a:pt x="159" y="129"/>
                      </a:lnTo>
                      <a:lnTo>
                        <a:pt x="160" y="133"/>
                      </a:lnTo>
                      <a:lnTo>
                        <a:pt x="164" y="135"/>
                      </a:lnTo>
                      <a:lnTo>
                        <a:pt x="166" y="135"/>
                      </a:lnTo>
                      <a:lnTo>
                        <a:pt x="169" y="135"/>
                      </a:lnTo>
                      <a:lnTo>
                        <a:pt x="171" y="134"/>
                      </a:lnTo>
                      <a:lnTo>
                        <a:pt x="173" y="132"/>
                      </a:lnTo>
                      <a:lnTo>
                        <a:pt x="174" y="122"/>
                      </a:lnTo>
                      <a:lnTo>
                        <a:pt x="175" y="119"/>
                      </a:lnTo>
                      <a:lnTo>
                        <a:pt x="178" y="114"/>
                      </a:lnTo>
                      <a:lnTo>
                        <a:pt x="179" y="111"/>
                      </a:lnTo>
                      <a:lnTo>
                        <a:pt x="180" y="107"/>
                      </a:lnTo>
                      <a:lnTo>
                        <a:pt x="180" y="103"/>
                      </a:lnTo>
                      <a:lnTo>
                        <a:pt x="178" y="98"/>
                      </a:lnTo>
                      <a:lnTo>
                        <a:pt x="180" y="97"/>
                      </a:lnTo>
                      <a:lnTo>
                        <a:pt x="183" y="100"/>
                      </a:lnTo>
                      <a:lnTo>
                        <a:pt x="188" y="106"/>
                      </a:lnTo>
                      <a:lnTo>
                        <a:pt x="193" y="109"/>
                      </a:lnTo>
                      <a:lnTo>
                        <a:pt x="198" y="111"/>
                      </a:lnTo>
                      <a:lnTo>
                        <a:pt x="200" y="111"/>
                      </a:lnTo>
                      <a:lnTo>
                        <a:pt x="203" y="110"/>
                      </a:lnTo>
                      <a:lnTo>
                        <a:pt x="206" y="109"/>
                      </a:lnTo>
                      <a:lnTo>
                        <a:pt x="207" y="106"/>
                      </a:lnTo>
                      <a:lnTo>
                        <a:pt x="207" y="103"/>
                      </a:lnTo>
                      <a:lnTo>
                        <a:pt x="206" y="101"/>
                      </a:lnTo>
                      <a:lnTo>
                        <a:pt x="202" y="95"/>
                      </a:lnTo>
                      <a:lnTo>
                        <a:pt x="198" y="90"/>
                      </a:lnTo>
                      <a:lnTo>
                        <a:pt x="197" y="88"/>
                      </a:lnTo>
                      <a:lnTo>
                        <a:pt x="197" y="84"/>
                      </a:lnTo>
                      <a:lnTo>
                        <a:pt x="197" y="82"/>
                      </a:lnTo>
                      <a:lnTo>
                        <a:pt x="199" y="79"/>
                      </a:lnTo>
                      <a:lnTo>
                        <a:pt x="202" y="78"/>
                      </a:lnTo>
                      <a:lnTo>
                        <a:pt x="204" y="77"/>
                      </a:lnTo>
                      <a:lnTo>
                        <a:pt x="204" y="76"/>
                      </a:lnTo>
                      <a:lnTo>
                        <a:pt x="206" y="73"/>
                      </a:lnTo>
                      <a:lnTo>
                        <a:pt x="204" y="71"/>
                      </a:lnTo>
                      <a:lnTo>
                        <a:pt x="202" y="71"/>
                      </a:lnTo>
                      <a:lnTo>
                        <a:pt x="199" y="70"/>
                      </a:lnTo>
                      <a:lnTo>
                        <a:pt x="192" y="71"/>
                      </a:lnTo>
                      <a:lnTo>
                        <a:pt x="183" y="71"/>
                      </a:lnTo>
                      <a:lnTo>
                        <a:pt x="175" y="71"/>
                      </a:lnTo>
                      <a:lnTo>
                        <a:pt x="167" y="70"/>
                      </a:lnTo>
                      <a:lnTo>
                        <a:pt x="161" y="69"/>
                      </a:lnTo>
                      <a:lnTo>
                        <a:pt x="154" y="69"/>
                      </a:lnTo>
                      <a:lnTo>
                        <a:pt x="147" y="68"/>
                      </a:lnTo>
                      <a:lnTo>
                        <a:pt x="145" y="66"/>
                      </a:lnTo>
                      <a:lnTo>
                        <a:pt x="142" y="64"/>
                      </a:lnTo>
                      <a:lnTo>
                        <a:pt x="138" y="62"/>
                      </a:lnTo>
                      <a:lnTo>
                        <a:pt x="134" y="59"/>
                      </a:lnTo>
                      <a:lnTo>
                        <a:pt x="129" y="52"/>
                      </a:lnTo>
                      <a:lnTo>
                        <a:pt x="126" y="44"/>
                      </a:lnTo>
                      <a:lnTo>
                        <a:pt x="122" y="37"/>
                      </a:lnTo>
                      <a:lnTo>
                        <a:pt x="119" y="34"/>
                      </a:lnTo>
                      <a:lnTo>
                        <a:pt x="115" y="32"/>
                      </a:lnTo>
                      <a:lnTo>
                        <a:pt x="110" y="31"/>
                      </a:lnTo>
                      <a:lnTo>
                        <a:pt x="108" y="28"/>
                      </a:lnTo>
                      <a:lnTo>
                        <a:pt x="100" y="24"/>
                      </a:lnTo>
                      <a:lnTo>
                        <a:pt x="96" y="21"/>
                      </a:lnTo>
                      <a:lnTo>
                        <a:pt x="93" y="18"/>
                      </a:lnTo>
                      <a:lnTo>
                        <a:pt x="90" y="15"/>
                      </a:lnTo>
                      <a:lnTo>
                        <a:pt x="90" y="12"/>
                      </a:lnTo>
                      <a:lnTo>
                        <a:pt x="89" y="9"/>
                      </a:lnTo>
                      <a:lnTo>
                        <a:pt x="86" y="7"/>
                      </a:lnTo>
                      <a:lnTo>
                        <a:pt x="84" y="5"/>
                      </a:lnTo>
                      <a:lnTo>
                        <a:pt x="81" y="5"/>
                      </a:lnTo>
                      <a:lnTo>
                        <a:pt x="77" y="4"/>
                      </a:lnTo>
                      <a:lnTo>
                        <a:pt x="75" y="1"/>
                      </a:lnTo>
                      <a:lnTo>
                        <a:pt x="72" y="0"/>
                      </a:lnTo>
                      <a:lnTo>
                        <a:pt x="70" y="1"/>
                      </a:lnTo>
                      <a:lnTo>
                        <a:pt x="67" y="2"/>
                      </a:lnTo>
                      <a:lnTo>
                        <a:pt x="66" y="5"/>
                      </a:lnTo>
                      <a:lnTo>
                        <a:pt x="63" y="9"/>
                      </a:lnTo>
                      <a:lnTo>
                        <a:pt x="60" y="14"/>
                      </a:lnTo>
                      <a:lnTo>
                        <a:pt x="57" y="17"/>
                      </a:lnTo>
                      <a:lnTo>
                        <a:pt x="54" y="17"/>
                      </a:lnTo>
                      <a:lnTo>
                        <a:pt x="49" y="19"/>
                      </a:lnTo>
                      <a:lnTo>
                        <a:pt x="46" y="21"/>
                      </a:lnTo>
                      <a:lnTo>
                        <a:pt x="39" y="28"/>
                      </a:lnTo>
                      <a:lnTo>
                        <a:pt x="35" y="31"/>
                      </a:lnTo>
                      <a:lnTo>
                        <a:pt x="30" y="33"/>
                      </a:lnTo>
                      <a:lnTo>
                        <a:pt x="20" y="38"/>
                      </a:lnTo>
                      <a:lnTo>
                        <a:pt x="10" y="41"/>
                      </a:lnTo>
                      <a:lnTo>
                        <a:pt x="5" y="44"/>
                      </a:lnTo>
                      <a:lnTo>
                        <a:pt x="0" y="47"/>
                      </a:lnTo>
                      <a:lnTo>
                        <a:pt x="0" y="50"/>
                      </a:lnTo>
                      <a:lnTo>
                        <a:pt x="0" y="51"/>
                      </a:lnTo>
                      <a:lnTo>
                        <a:pt x="2" y="55"/>
                      </a:lnTo>
                      <a:lnTo>
                        <a:pt x="6" y="56"/>
                      </a:lnTo>
                      <a:lnTo>
                        <a:pt x="9" y="55"/>
                      </a:lnTo>
                      <a:lnTo>
                        <a:pt x="11" y="53"/>
                      </a:lnTo>
                      <a:lnTo>
                        <a:pt x="14" y="53"/>
                      </a:lnTo>
                      <a:lnTo>
                        <a:pt x="16" y="57"/>
                      </a:lnTo>
                      <a:lnTo>
                        <a:pt x="19" y="58"/>
                      </a:lnTo>
                      <a:lnTo>
                        <a:pt x="20" y="59"/>
                      </a:lnTo>
                      <a:lnTo>
                        <a:pt x="32" y="58"/>
                      </a:lnTo>
                      <a:lnTo>
                        <a:pt x="43" y="55"/>
                      </a:lnTo>
                      <a:lnTo>
                        <a:pt x="49" y="53"/>
                      </a:lnTo>
                      <a:lnTo>
                        <a:pt x="58" y="53"/>
                      </a:lnTo>
                      <a:lnTo>
                        <a:pt x="66" y="56"/>
                      </a:lnTo>
                      <a:lnTo>
                        <a:pt x="74" y="58"/>
                      </a:lnTo>
                      <a:lnTo>
                        <a:pt x="80" y="59"/>
                      </a:lnTo>
                      <a:lnTo>
                        <a:pt x="86" y="59"/>
                      </a:lnTo>
                      <a:lnTo>
                        <a:pt x="93" y="59"/>
                      </a:lnTo>
                      <a:lnTo>
                        <a:pt x="99" y="60"/>
                      </a:lnTo>
                      <a:lnTo>
                        <a:pt x="104" y="62"/>
                      </a:lnTo>
                      <a:lnTo>
                        <a:pt x="109" y="60"/>
                      </a:lnTo>
                      <a:lnTo>
                        <a:pt x="114" y="60"/>
                      </a:lnTo>
                      <a:lnTo>
                        <a:pt x="119" y="60"/>
                      </a:lnTo>
                      <a:lnTo>
                        <a:pt x="120" y="6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grpSp>
          <p:grpSp>
            <p:nvGrpSpPr>
              <p:cNvPr id="5925" name="Group 5924"/>
              <p:cNvGrpSpPr/>
              <p:nvPr/>
            </p:nvGrpSpPr>
            <p:grpSpPr>
              <a:xfrm>
                <a:off x="563222" y="2438512"/>
                <a:ext cx="4901336" cy="3809188"/>
                <a:chOff x="4042533" y="2438512"/>
                <a:chExt cx="4901336" cy="3809188"/>
              </a:xfrm>
              <a:grpFill/>
            </p:grpSpPr>
            <p:sp>
              <p:nvSpPr>
                <p:cNvPr id="5926" name="Freeform 326"/>
                <p:cNvSpPr>
                  <a:spLocks/>
                </p:cNvSpPr>
                <p:nvPr/>
              </p:nvSpPr>
              <p:spPr bwMode="auto">
                <a:xfrm>
                  <a:off x="7426997" y="3863628"/>
                  <a:ext cx="54756" cy="115429"/>
                </a:xfrm>
                <a:custGeom>
                  <a:avLst/>
                  <a:gdLst>
                    <a:gd name="T0" fmla="*/ 2147483647 w 40"/>
                    <a:gd name="T1" fmla="*/ 2147483647 h 78"/>
                    <a:gd name="T2" fmla="*/ 2147483647 w 40"/>
                    <a:gd name="T3" fmla="*/ 2147483647 h 78"/>
                    <a:gd name="T4" fmla="*/ 2147483647 w 40"/>
                    <a:gd name="T5" fmla="*/ 2147483647 h 78"/>
                    <a:gd name="T6" fmla="*/ 2147483647 w 40"/>
                    <a:gd name="T7" fmla="*/ 2147483647 h 78"/>
                    <a:gd name="T8" fmla="*/ 2147483647 w 40"/>
                    <a:gd name="T9" fmla="*/ 2147483647 h 78"/>
                    <a:gd name="T10" fmla="*/ 2147483647 w 40"/>
                    <a:gd name="T11" fmla="*/ 2147483647 h 78"/>
                    <a:gd name="T12" fmla="*/ 2147483647 w 40"/>
                    <a:gd name="T13" fmla="*/ 0 h 78"/>
                    <a:gd name="T14" fmla="*/ 2147483647 w 40"/>
                    <a:gd name="T15" fmla="*/ 0 h 78"/>
                    <a:gd name="T16" fmla="*/ 2147483647 w 40"/>
                    <a:gd name="T17" fmla="*/ 0 h 78"/>
                    <a:gd name="T18" fmla="*/ 2147483647 w 40"/>
                    <a:gd name="T19" fmla="*/ 2147483647 h 78"/>
                    <a:gd name="T20" fmla="*/ 2147483647 w 40"/>
                    <a:gd name="T21" fmla="*/ 2147483647 h 78"/>
                    <a:gd name="T22" fmla="*/ 2147483647 w 40"/>
                    <a:gd name="T23" fmla="*/ 2147483647 h 78"/>
                    <a:gd name="T24" fmla="*/ 2147483647 w 40"/>
                    <a:gd name="T25" fmla="*/ 2147483647 h 78"/>
                    <a:gd name="T26" fmla="*/ 2147483647 w 40"/>
                    <a:gd name="T27" fmla="*/ 2147483647 h 78"/>
                    <a:gd name="T28" fmla="*/ 2147483647 w 40"/>
                    <a:gd name="T29" fmla="*/ 2147483647 h 78"/>
                    <a:gd name="T30" fmla="*/ 2147483647 w 40"/>
                    <a:gd name="T31" fmla="*/ 2147483647 h 78"/>
                    <a:gd name="T32" fmla="*/ 2147483647 w 40"/>
                    <a:gd name="T33" fmla="*/ 2147483647 h 78"/>
                    <a:gd name="T34" fmla="*/ 0 w 40"/>
                    <a:gd name="T35" fmla="*/ 2147483647 h 78"/>
                    <a:gd name="T36" fmla="*/ 2147483647 w 40"/>
                    <a:gd name="T37" fmla="*/ 2147483647 h 78"/>
                    <a:gd name="T38" fmla="*/ 2147483647 w 40"/>
                    <a:gd name="T39" fmla="*/ 2147483647 h 78"/>
                    <a:gd name="T40" fmla="*/ 2147483647 w 40"/>
                    <a:gd name="T41" fmla="*/ 2147483647 h 78"/>
                    <a:gd name="T42" fmla="*/ 2147483647 w 40"/>
                    <a:gd name="T43" fmla="*/ 2147483647 h 78"/>
                    <a:gd name="T44" fmla="*/ 2147483647 w 40"/>
                    <a:gd name="T45" fmla="*/ 2147483647 h 78"/>
                    <a:gd name="T46" fmla="*/ 2147483647 w 40"/>
                    <a:gd name="T47" fmla="*/ 2147483647 h 78"/>
                    <a:gd name="T48" fmla="*/ 2147483647 w 40"/>
                    <a:gd name="T49" fmla="*/ 2147483647 h 78"/>
                    <a:gd name="T50" fmla="*/ 2147483647 w 40"/>
                    <a:gd name="T51" fmla="*/ 2147483647 h 78"/>
                    <a:gd name="T52" fmla="*/ 2147483647 w 40"/>
                    <a:gd name="T53" fmla="*/ 2147483647 h 78"/>
                    <a:gd name="T54" fmla="*/ 2147483647 w 40"/>
                    <a:gd name="T55" fmla="*/ 2147483647 h 78"/>
                    <a:gd name="T56" fmla="*/ 2147483647 w 40"/>
                    <a:gd name="T57" fmla="*/ 2147483647 h 78"/>
                    <a:gd name="T58" fmla="*/ 2147483647 w 40"/>
                    <a:gd name="T59" fmla="*/ 2147483647 h 78"/>
                    <a:gd name="T60" fmla="*/ 2147483647 w 40"/>
                    <a:gd name="T61" fmla="*/ 2147483647 h 78"/>
                    <a:gd name="T62" fmla="*/ 2147483647 w 40"/>
                    <a:gd name="T63" fmla="*/ 2147483647 h 78"/>
                    <a:gd name="T64" fmla="*/ 2147483647 w 40"/>
                    <a:gd name="T65" fmla="*/ 2147483647 h 78"/>
                    <a:gd name="T66" fmla="*/ 2147483647 w 40"/>
                    <a:gd name="T67" fmla="*/ 2147483647 h 78"/>
                    <a:gd name="T68" fmla="*/ 2147483647 w 40"/>
                    <a:gd name="T69" fmla="*/ 2147483647 h 78"/>
                    <a:gd name="T70" fmla="*/ 2147483647 w 40"/>
                    <a:gd name="T71" fmla="*/ 2147483647 h 78"/>
                    <a:gd name="T72" fmla="*/ 2147483647 w 40"/>
                    <a:gd name="T73" fmla="*/ 2147483647 h 78"/>
                    <a:gd name="T74" fmla="*/ 2147483647 w 40"/>
                    <a:gd name="T75" fmla="*/ 2147483647 h 78"/>
                    <a:gd name="T76" fmla="*/ 2147483647 w 40"/>
                    <a:gd name="T77" fmla="*/ 2147483647 h 78"/>
                    <a:gd name="T78" fmla="*/ 2147483647 w 40"/>
                    <a:gd name="T79" fmla="*/ 2147483647 h 78"/>
                    <a:gd name="T80" fmla="*/ 2147483647 w 40"/>
                    <a:gd name="T81" fmla="*/ 2147483647 h 78"/>
                    <a:gd name="T82" fmla="*/ 2147483647 w 40"/>
                    <a:gd name="T83" fmla="*/ 2147483647 h 78"/>
                    <a:gd name="T84" fmla="*/ 2147483647 w 40"/>
                    <a:gd name="T85" fmla="*/ 2147483647 h 78"/>
                    <a:gd name="T86" fmla="*/ 2147483647 w 40"/>
                    <a:gd name="T87" fmla="*/ 2147483647 h 78"/>
                    <a:gd name="T88" fmla="*/ 2147483647 w 40"/>
                    <a:gd name="T89" fmla="*/ 2147483647 h 78"/>
                    <a:gd name="T90" fmla="*/ 2147483647 w 40"/>
                    <a:gd name="T91" fmla="*/ 2147483647 h 78"/>
                    <a:gd name="T92" fmla="*/ 2147483647 w 40"/>
                    <a:gd name="T93" fmla="*/ 2147483647 h 78"/>
                    <a:gd name="T94" fmla="*/ 2147483647 w 40"/>
                    <a:gd name="T95" fmla="*/ 2147483647 h 78"/>
                    <a:gd name="T96" fmla="*/ 2147483647 w 40"/>
                    <a:gd name="T97" fmla="*/ 2147483647 h 78"/>
                    <a:gd name="T98" fmla="*/ 2147483647 w 40"/>
                    <a:gd name="T99" fmla="*/ 2147483647 h 78"/>
                    <a:gd name="T100" fmla="*/ 2147483647 w 40"/>
                    <a:gd name="T101" fmla="*/ 2147483647 h 78"/>
                    <a:gd name="T102" fmla="*/ 2147483647 w 40"/>
                    <a:gd name="T103" fmla="*/ 2147483647 h 78"/>
                    <a:gd name="T104" fmla="*/ 2147483647 w 40"/>
                    <a:gd name="T105" fmla="*/ 2147483647 h 78"/>
                    <a:gd name="T106" fmla="*/ 2147483647 w 40"/>
                    <a:gd name="T107" fmla="*/ 2147483647 h 78"/>
                    <a:gd name="T108" fmla="*/ 2147483647 w 40"/>
                    <a:gd name="T109" fmla="*/ 2147483647 h 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
                    <a:gd name="T166" fmla="*/ 0 h 78"/>
                    <a:gd name="T167" fmla="*/ 40 w 40"/>
                    <a:gd name="T168" fmla="*/ 78 h 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 h="78">
                      <a:moveTo>
                        <a:pt x="37" y="12"/>
                      </a:moveTo>
                      <a:lnTo>
                        <a:pt x="37" y="12"/>
                      </a:lnTo>
                      <a:lnTo>
                        <a:pt x="40" y="6"/>
                      </a:lnTo>
                      <a:lnTo>
                        <a:pt x="40" y="3"/>
                      </a:lnTo>
                      <a:lnTo>
                        <a:pt x="38" y="1"/>
                      </a:lnTo>
                      <a:lnTo>
                        <a:pt x="36" y="0"/>
                      </a:lnTo>
                      <a:lnTo>
                        <a:pt x="33" y="0"/>
                      </a:lnTo>
                      <a:lnTo>
                        <a:pt x="27" y="0"/>
                      </a:lnTo>
                      <a:lnTo>
                        <a:pt x="22" y="2"/>
                      </a:lnTo>
                      <a:lnTo>
                        <a:pt x="18" y="6"/>
                      </a:lnTo>
                      <a:lnTo>
                        <a:pt x="14" y="13"/>
                      </a:lnTo>
                      <a:lnTo>
                        <a:pt x="10" y="20"/>
                      </a:lnTo>
                      <a:lnTo>
                        <a:pt x="5" y="34"/>
                      </a:lnTo>
                      <a:lnTo>
                        <a:pt x="1" y="40"/>
                      </a:lnTo>
                      <a:lnTo>
                        <a:pt x="0" y="44"/>
                      </a:lnTo>
                      <a:lnTo>
                        <a:pt x="1" y="46"/>
                      </a:lnTo>
                      <a:lnTo>
                        <a:pt x="4" y="52"/>
                      </a:lnTo>
                      <a:lnTo>
                        <a:pt x="5" y="56"/>
                      </a:lnTo>
                      <a:lnTo>
                        <a:pt x="5" y="59"/>
                      </a:lnTo>
                      <a:lnTo>
                        <a:pt x="7" y="60"/>
                      </a:lnTo>
                      <a:lnTo>
                        <a:pt x="8" y="61"/>
                      </a:lnTo>
                      <a:lnTo>
                        <a:pt x="9" y="63"/>
                      </a:lnTo>
                      <a:lnTo>
                        <a:pt x="10" y="65"/>
                      </a:lnTo>
                      <a:lnTo>
                        <a:pt x="12" y="66"/>
                      </a:lnTo>
                      <a:lnTo>
                        <a:pt x="10" y="69"/>
                      </a:lnTo>
                      <a:lnTo>
                        <a:pt x="9" y="72"/>
                      </a:lnTo>
                      <a:lnTo>
                        <a:pt x="10" y="76"/>
                      </a:lnTo>
                      <a:lnTo>
                        <a:pt x="12" y="77"/>
                      </a:lnTo>
                      <a:lnTo>
                        <a:pt x="13" y="78"/>
                      </a:lnTo>
                      <a:lnTo>
                        <a:pt x="14" y="77"/>
                      </a:lnTo>
                      <a:lnTo>
                        <a:pt x="17" y="74"/>
                      </a:lnTo>
                      <a:lnTo>
                        <a:pt x="17" y="71"/>
                      </a:lnTo>
                      <a:lnTo>
                        <a:pt x="17" y="69"/>
                      </a:lnTo>
                      <a:lnTo>
                        <a:pt x="18" y="65"/>
                      </a:lnTo>
                      <a:lnTo>
                        <a:pt x="23" y="58"/>
                      </a:lnTo>
                      <a:lnTo>
                        <a:pt x="27" y="51"/>
                      </a:lnTo>
                      <a:lnTo>
                        <a:pt x="32" y="34"/>
                      </a:lnTo>
                      <a:lnTo>
                        <a:pt x="33" y="29"/>
                      </a:lnTo>
                      <a:lnTo>
                        <a:pt x="35" y="25"/>
                      </a:lnTo>
                      <a:lnTo>
                        <a:pt x="33" y="14"/>
                      </a:lnTo>
                      <a:lnTo>
                        <a:pt x="35" y="13"/>
                      </a:lnTo>
                      <a:lnTo>
                        <a:pt x="37"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27" name="Freeform 821"/>
                <p:cNvSpPr>
                  <a:spLocks/>
                </p:cNvSpPr>
                <p:nvPr/>
              </p:nvSpPr>
              <p:spPr bwMode="auto">
                <a:xfrm>
                  <a:off x="7333766" y="4716033"/>
                  <a:ext cx="14799" cy="22198"/>
                </a:xfrm>
                <a:custGeom>
                  <a:avLst/>
                  <a:gdLst>
                    <a:gd name="T0" fmla="*/ 2147483647 w 11"/>
                    <a:gd name="T1" fmla="*/ 2147483647 h 15"/>
                    <a:gd name="T2" fmla="*/ 2147483647 w 11"/>
                    <a:gd name="T3" fmla="*/ 2147483647 h 15"/>
                    <a:gd name="T4" fmla="*/ 2147483647 w 11"/>
                    <a:gd name="T5" fmla="*/ 2147483647 h 15"/>
                    <a:gd name="T6" fmla="*/ 2147483647 w 11"/>
                    <a:gd name="T7" fmla="*/ 2147483647 h 15"/>
                    <a:gd name="T8" fmla="*/ 2147483647 w 11"/>
                    <a:gd name="T9" fmla="*/ 2147483647 h 15"/>
                    <a:gd name="T10" fmla="*/ 0 w 11"/>
                    <a:gd name="T11" fmla="*/ 2147483647 h 15"/>
                    <a:gd name="T12" fmla="*/ 0 w 11"/>
                    <a:gd name="T13" fmla="*/ 2147483647 h 15"/>
                    <a:gd name="T14" fmla="*/ 0 w 11"/>
                    <a:gd name="T15" fmla="*/ 2147483647 h 15"/>
                    <a:gd name="T16" fmla="*/ 2147483647 w 11"/>
                    <a:gd name="T17" fmla="*/ 2147483647 h 15"/>
                    <a:gd name="T18" fmla="*/ 2147483647 w 11"/>
                    <a:gd name="T19" fmla="*/ 2147483647 h 15"/>
                    <a:gd name="T20" fmla="*/ 2147483647 w 11"/>
                    <a:gd name="T21" fmla="*/ 0 h 15"/>
                    <a:gd name="T22" fmla="*/ 2147483647 w 11"/>
                    <a:gd name="T23" fmla="*/ 2147483647 h 15"/>
                    <a:gd name="T24" fmla="*/ 2147483647 w 11"/>
                    <a:gd name="T25" fmla="*/ 2147483647 h 15"/>
                    <a:gd name="T26" fmla="*/ 2147483647 w 11"/>
                    <a:gd name="T27" fmla="*/ 2147483647 h 15"/>
                    <a:gd name="T28" fmla="*/ 2147483647 w 11"/>
                    <a:gd name="T29" fmla="*/ 2147483647 h 15"/>
                    <a:gd name="T30" fmla="*/ 2147483647 w 11"/>
                    <a:gd name="T31" fmla="*/ 2147483647 h 15"/>
                    <a:gd name="T32" fmla="*/ 2147483647 w 11"/>
                    <a:gd name="T33" fmla="*/ 2147483647 h 15"/>
                    <a:gd name="T34" fmla="*/ 2147483647 w 11"/>
                    <a:gd name="T35" fmla="*/ 2147483647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5"/>
                    <a:gd name="T56" fmla="*/ 11 w 11"/>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5">
                      <a:moveTo>
                        <a:pt x="7" y="13"/>
                      </a:moveTo>
                      <a:lnTo>
                        <a:pt x="7" y="13"/>
                      </a:lnTo>
                      <a:lnTo>
                        <a:pt x="5" y="14"/>
                      </a:lnTo>
                      <a:lnTo>
                        <a:pt x="2" y="15"/>
                      </a:lnTo>
                      <a:lnTo>
                        <a:pt x="1" y="14"/>
                      </a:lnTo>
                      <a:lnTo>
                        <a:pt x="0" y="13"/>
                      </a:lnTo>
                      <a:lnTo>
                        <a:pt x="0" y="8"/>
                      </a:lnTo>
                      <a:lnTo>
                        <a:pt x="1" y="4"/>
                      </a:lnTo>
                      <a:lnTo>
                        <a:pt x="5" y="1"/>
                      </a:lnTo>
                      <a:lnTo>
                        <a:pt x="7" y="0"/>
                      </a:lnTo>
                      <a:lnTo>
                        <a:pt x="10" y="1"/>
                      </a:lnTo>
                      <a:lnTo>
                        <a:pt x="11" y="2"/>
                      </a:lnTo>
                      <a:lnTo>
                        <a:pt x="11" y="6"/>
                      </a:lnTo>
                      <a:lnTo>
                        <a:pt x="10" y="9"/>
                      </a:lnTo>
                      <a:lnTo>
                        <a:pt x="7"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28" name="Freeform 831"/>
                <p:cNvSpPr>
                  <a:spLocks/>
                </p:cNvSpPr>
                <p:nvPr/>
              </p:nvSpPr>
              <p:spPr bwMode="auto">
                <a:xfrm>
                  <a:off x="7270131" y="4818146"/>
                  <a:ext cx="31078" cy="10360"/>
                </a:xfrm>
                <a:custGeom>
                  <a:avLst/>
                  <a:gdLst>
                    <a:gd name="T0" fmla="*/ 2147483647 w 23"/>
                    <a:gd name="T1" fmla="*/ 0 h 7"/>
                    <a:gd name="T2" fmla="*/ 2147483647 w 23"/>
                    <a:gd name="T3" fmla="*/ 0 h 7"/>
                    <a:gd name="T4" fmla="*/ 2147483647 w 23"/>
                    <a:gd name="T5" fmla="*/ 0 h 7"/>
                    <a:gd name="T6" fmla="*/ 2147483647 w 23"/>
                    <a:gd name="T7" fmla="*/ 2147483647 h 7"/>
                    <a:gd name="T8" fmla="*/ 2147483647 w 23"/>
                    <a:gd name="T9" fmla="*/ 2147483647 h 7"/>
                    <a:gd name="T10" fmla="*/ 2147483647 w 23"/>
                    <a:gd name="T11" fmla="*/ 2147483647 h 7"/>
                    <a:gd name="T12" fmla="*/ 2147483647 w 23"/>
                    <a:gd name="T13" fmla="*/ 2147483647 h 7"/>
                    <a:gd name="T14" fmla="*/ 2147483647 w 23"/>
                    <a:gd name="T15" fmla="*/ 2147483647 h 7"/>
                    <a:gd name="T16" fmla="*/ 2147483647 w 23"/>
                    <a:gd name="T17" fmla="*/ 2147483647 h 7"/>
                    <a:gd name="T18" fmla="*/ 2147483647 w 23"/>
                    <a:gd name="T19" fmla="*/ 2147483647 h 7"/>
                    <a:gd name="T20" fmla="*/ 2147483647 w 23"/>
                    <a:gd name="T21" fmla="*/ 2147483647 h 7"/>
                    <a:gd name="T22" fmla="*/ 0 w 23"/>
                    <a:gd name="T23" fmla="*/ 2147483647 h 7"/>
                    <a:gd name="T24" fmla="*/ 2147483647 w 23"/>
                    <a:gd name="T25" fmla="*/ 2147483647 h 7"/>
                    <a:gd name="T26" fmla="*/ 2147483647 w 23"/>
                    <a:gd name="T27" fmla="*/ 0 h 7"/>
                    <a:gd name="T28" fmla="*/ 2147483647 w 23"/>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7"/>
                    <a:gd name="T47" fmla="*/ 23 w 2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7">
                      <a:moveTo>
                        <a:pt x="9" y="0"/>
                      </a:moveTo>
                      <a:lnTo>
                        <a:pt x="14" y="0"/>
                      </a:lnTo>
                      <a:lnTo>
                        <a:pt x="19" y="0"/>
                      </a:lnTo>
                      <a:lnTo>
                        <a:pt x="21" y="1"/>
                      </a:lnTo>
                      <a:lnTo>
                        <a:pt x="23" y="2"/>
                      </a:lnTo>
                      <a:lnTo>
                        <a:pt x="21" y="3"/>
                      </a:lnTo>
                      <a:lnTo>
                        <a:pt x="20" y="6"/>
                      </a:lnTo>
                      <a:lnTo>
                        <a:pt x="16" y="7"/>
                      </a:lnTo>
                      <a:lnTo>
                        <a:pt x="11" y="7"/>
                      </a:lnTo>
                      <a:lnTo>
                        <a:pt x="2" y="7"/>
                      </a:lnTo>
                      <a:lnTo>
                        <a:pt x="1" y="6"/>
                      </a:lnTo>
                      <a:lnTo>
                        <a:pt x="0" y="4"/>
                      </a:lnTo>
                      <a:lnTo>
                        <a:pt x="2" y="2"/>
                      </a:lnTo>
                      <a:lnTo>
                        <a:pt x="5" y="0"/>
                      </a:lnTo>
                      <a:lnTo>
                        <a:pt x="9"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29" name="Freeform 832"/>
                <p:cNvSpPr>
                  <a:spLocks/>
                </p:cNvSpPr>
                <p:nvPr/>
              </p:nvSpPr>
              <p:spPr bwMode="auto">
                <a:xfrm>
                  <a:off x="7341168" y="4856625"/>
                  <a:ext cx="16279" cy="20718"/>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0 w 11"/>
                    <a:gd name="T9" fmla="*/ 2147483647 h 14"/>
                    <a:gd name="T10" fmla="*/ 0 w 11"/>
                    <a:gd name="T11" fmla="*/ 2147483647 h 14"/>
                    <a:gd name="T12" fmla="*/ 2147483647 w 11"/>
                    <a:gd name="T13" fmla="*/ 2147483647 h 14"/>
                    <a:gd name="T14" fmla="*/ 2147483647 w 11"/>
                    <a:gd name="T15" fmla="*/ 2147483647 h 14"/>
                    <a:gd name="T16" fmla="*/ 2147483647 w 11"/>
                    <a:gd name="T17" fmla="*/ 0 h 14"/>
                    <a:gd name="T18" fmla="*/ 2147483647 w 11"/>
                    <a:gd name="T19" fmla="*/ 0 h 14"/>
                    <a:gd name="T20" fmla="*/ 2147483647 w 11"/>
                    <a:gd name="T21" fmla="*/ 0 h 14"/>
                    <a:gd name="T22" fmla="*/ 2147483647 w 11"/>
                    <a:gd name="T23" fmla="*/ 2147483647 h 14"/>
                    <a:gd name="T24" fmla="*/ 2147483647 w 11"/>
                    <a:gd name="T25" fmla="*/ 2147483647 h 14"/>
                    <a:gd name="T26" fmla="*/ 2147483647 w 11"/>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4"/>
                    <a:gd name="T44" fmla="*/ 11 w 11"/>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4">
                      <a:moveTo>
                        <a:pt x="10" y="9"/>
                      </a:moveTo>
                      <a:lnTo>
                        <a:pt x="8" y="13"/>
                      </a:lnTo>
                      <a:lnTo>
                        <a:pt x="5" y="14"/>
                      </a:lnTo>
                      <a:lnTo>
                        <a:pt x="3" y="14"/>
                      </a:lnTo>
                      <a:lnTo>
                        <a:pt x="0" y="13"/>
                      </a:lnTo>
                      <a:lnTo>
                        <a:pt x="0" y="8"/>
                      </a:lnTo>
                      <a:lnTo>
                        <a:pt x="1" y="3"/>
                      </a:lnTo>
                      <a:lnTo>
                        <a:pt x="3" y="1"/>
                      </a:lnTo>
                      <a:lnTo>
                        <a:pt x="5" y="0"/>
                      </a:lnTo>
                      <a:lnTo>
                        <a:pt x="8" y="0"/>
                      </a:lnTo>
                      <a:lnTo>
                        <a:pt x="10" y="0"/>
                      </a:lnTo>
                      <a:lnTo>
                        <a:pt x="11" y="1"/>
                      </a:lnTo>
                      <a:lnTo>
                        <a:pt x="11" y="3"/>
                      </a:lnTo>
                      <a:lnTo>
                        <a:pt x="10"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0" name="Freeform 834"/>
                <p:cNvSpPr>
                  <a:spLocks/>
                </p:cNvSpPr>
                <p:nvPr/>
              </p:nvSpPr>
              <p:spPr bwMode="auto">
                <a:xfrm>
                  <a:off x="7341166" y="4855145"/>
                  <a:ext cx="14799" cy="20718"/>
                </a:xfrm>
                <a:custGeom>
                  <a:avLst/>
                  <a:gdLst>
                    <a:gd name="T0" fmla="*/ 2147483647 w 11"/>
                    <a:gd name="T1" fmla="*/ 2147483647 h 14"/>
                    <a:gd name="T2" fmla="*/ 2147483647 w 11"/>
                    <a:gd name="T3" fmla="*/ 2147483647 h 14"/>
                    <a:gd name="T4" fmla="*/ 2147483647 w 11"/>
                    <a:gd name="T5" fmla="*/ 2147483647 h 14"/>
                    <a:gd name="T6" fmla="*/ 2147483647 w 11"/>
                    <a:gd name="T7" fmla="*/ 2147483647 h 14"/>
                    <a:gd name="T8" fmla="*/ 2147483647 w 11"/>
                    <a:gd name="T9" fmla="*/ 2147483647 h 14"/>
                    <a:gd name="T10" fmla="*/ 0 w 11"/>
                    <a:gd name="T11" fmla="*/ 2147483647 h 14"/>
                    <a:gd name="T12" fmla="*/ 0 w 11"/>
                    <a:gd name="T13" fmla="*/ 2147483647 h 14"/>
                    <a:gd name="T14" fmla="*/ 0 w 11"/>
                    <a:gd name="T15" fmla="*/ 2147483647 h 14"/>
                    <a:gd name="T16" fmla="*/ 2147483647 w 11"/>
                    <a:gd name="T17" fmla="*/ 2147483647 h 14"/>
                    <a:gd name="T18" fmla="*/ 2147483647 w 11"/>
                    <a:gd name="T19" fmla="*/ 2147483647 h 14"/>
                    <a:gd name="T20" fmla="*/ 2147483647 w 11"/>
                    <a:gd name="T21" fmla="*/ 0 h 14"/>
                    <a:gd name="T22" fmla="*/ 2147483647 w 11"/>
                    <a:gd name="T23" fmla="*/ 0 h 14"/>
                    <a:gd name="T24" fmla="*/ 2147483647 w 11"/>
                    <a:gd name="T25" fmla="*/ 0 h 14"/>
                    <a:gd name="T26" fmla="*/ 2147483647 w 11"/>
                    <a:gd name="T27" fmla="*/ 0 h 14"/>
                    <a:gd name="T28" fmla="*/ 2147483647 w 11"/>
                    <a:gd name="T29" fmla="*/ 2147483647 h 14"/>
                    <a:gd name="T30" fmla="*/ 2147483647 w 11"/>
                    <a:gd name="T31" fmla="*/ 2147483647 h 14"/>
                    <a:gd name="T32" fmla="*/ 2147483647 w 11"/>
                    <a:gd name="T33" fmla="*/ 2147483647 h 14"/>
                    <a:gd name="T34" fmla="*/ 2147483647 w 11"/>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4"/>
                    <a:gd name="T56" fmla="*/ 11 w 11"/>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4">
                      <a:moveTo>
                        <a:pt x="10" y="9"/>
                      </a:moveTo>
                      <a:lnTo>
                        <a:pt x="10" y="9"/>
                      </a:lnTo>
                      <a:lnTo>
                        <a:pt x="7" y="13"/>
                      </a:lnTo>
                      <a:lnTo>
                        <a:pt x="5" y="14"/>
                      </a:lnTo>
                      <a:lnTo>
                        <a:pt x="2" y="14"/>
                      </a:lnTo>
                      <a:lnTo>
                        <a:pt x="0" y="13"/>
                      </a:lnTo>
                      <a:lnTo>
                        <a:pt x="0" y="8"/>
                      </a:lnTo>
                      <a:lnTo>
                        <a:pt x="1" y="3"/>
                      </a:lnTo>
                      <a:lnTo>
                        <a:pt x="2" y="1"/>
                      </a:lnTo>
                      <a:lnTo>
                        <a:pt x="5" y="0"/>
                      </a:lnTo>
                      <a:lnTo>
                        <a:pt x="7" y="0"/>
                      </a:lnTo>
                      <a:lnTo>
                        <a:pt x="10" y="0"/>
                      </a:lnTo>
                      <a:lnTo>
                        <a:pt x="11" y="1"/>
                      </a:lnTo>
                      <a:lnTo>
                        <a:pt x="11" y="3"/>
                      </a:lnTo>
                      <a:lnTo>
                        <a:pt x="10"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1" name="Freeform 839"/>
                <p:cNvSpPr>
                  <a:spLocks/>
                </p:cNvSpPr>
                <p:nvPr/>
              </p:nvSpPr>
              <p:spPr bwMode="auto">
                <a:xfrm>
                  <a:off x="7302689" y="4855142"/>
                  <a:ext cx="31078" cy="19238"/>
                </a:xfrm>
                <a:custGeom>
                  <a:avLst/>
                  <a:gdLst>
                    <a:gd name="T0" fmla="*/ 2147483647 w 23"/>
                    <a:gd name="T1" fmla="*/ 2147483647 h 13"/>
                    <a:gd name="T2" fmla="*/ 2147483647 w 23"/>
                    <a:gd name="T3" fmla="*/ 2147483647 h 13"/>
                    <a:gd name="T4" fmla="*/ 2147483647 w 23"/>
                    <a:gd name="T5" fmla="*/ 2147483647 h 13"/>
                    <a:gd name="T6" fmla="*/ 2147483647 w 23"/>
                    <a:gd name="T7" fmla="*/ 2147483647 h 13"/>
                    <a:gd name="T8" fmla="*/ 2147483647 w 23"/>
                    <a:gd name="T9" fmla="*/ 2147483647 h 13"/>
                    <a:gd name="T10" fmla="*/ 2147483647 w 23"/>
                    <a:gd name="T11" fmla="*/ 0 h 13"/>
                    <a:gd name="T12" fmla="*/ 2147483647 w 23"/>
                    <a:gd name="T13" fmla="*/ 0 h 13"/>
                    <a:gd name="T14" fmla="*/ 2147483647 w 23"/>
                    <a:gd name="T15" fmla="*/ 0 h 13"/>
                    <a:gd name="T16" fmla="*/ 2147483647 w 23"/>
                    <a:gd name="T17" fmla="*/ 2147483647 h 13"/>
                    <a:gd name="T18" fmla="*/ 0 w 23"/>
                    <a:gd name="T19" fmla="*/ 2147483647 h 13"/>
                    <a:gd name="T20" fmla="*/ 0 w 23"/>
                    <a:gd name="T21" fmla="*/ 2147483647 h 13"/>
                    <a:gd name="T22" fmla="*/ 2147483647 w 23"/>
                    <a:gd name="T23" fmla="*/ 2147483647 h 13"/>
                    <a:gd name="T24" fmla="*/ 2147483647 w 23"/>
                    <a:gd name="T25" fmla="*/ 2147483647 h 13"/>
                    <a:gd name="T26" fmla="*/ 2147483647 w 23"/>
                    <a:gd name="T27" fmla="*/ 2147483647 h 13"/>
                    <a:gd name="T28" fmla="*/ 2147483647 w 23"/>
                    <a:gd name="T29" fmla="*/ 2147483647 h 13"/>
                    <a:gd name="T30" fmla="*/ 2147483647 w 23"/>
                    <a:gd name="T31" fmla="*/ 2147483647 h 13"/>
                    <a:gd name="T32" fmla="*/ 2147483647 w 23"/>
                    <a:gd name="T33" fmla="*/ 2147483647 h 13"/>
                    <a:gd name="T34" fmla="*/ 2147483647 w 23"/>
                    <a:gd name="T35" fmla="*/ 2147483647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13"/>
                    <a:gd name="T56" fmla="*/ 23 w 23"/>
                    <a:gd name="T57" fmla="*/ 13 h 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13">
                      <a:moveTo>
                        <a:pt x="15" y="11"/>
                      </a:moveTo>
                      <a:lnTo>
                        <a:pt x="19" y="10"/>
                      </a:lnTo>
                      <a:lnTo>
                        <a:pt x="21" y="8"/>
                      </a:lnTo>
                      <a:lnTo>
                        <a:pt x="23" y="4"/>
                      </a:lnTo>
                      <a:lnTo>
                        <a:pt x="21" y="1"/>
                      </a:lnTo>
                      <a:lnTo>
                        <a:pt x="20" y="0"/>
                      </a:lnTo>
                      <a:lnTo>
                        <a:pt x="18" y="0"/>
                      </a:lnTo>
                      <a:lnTo>
                        <a:pt x="12" y="0"/>
                      </a:lnTo>
                      <a:lnTo>
                        <a:pt x="1" y="3"/>
                      </a:lnTo>
                      <a:lnTo>
                        <a:pt x="0" y="4"/>
                      </a:lnTo>
                      <a:lnTo>
                        <a:pt x="0" y="6"/>
                      </a:lnTo>
                      <a:lnTo>
                        <a:pt x="1" y="7"/>
                      </a:lnTo>
                      <a:lnTo>
                        <a:pt x="2" y="7"/>
                      </a:lnTo>
                      <a:lnTo>
                        <a:pt x="5" y="7"/>
                      </a:lnTo>
                      <a:lnTo>
                        <a:pt x="7" y="8"/>
                      </a:lnTo>
                      <a:lnTo>
                        <a:pt x="11" y="13"/>
                      </a:lnTo>
                      <a:lnTo>
                        <a:pt x="12" y="13"/>
                      </a:lnTo>
                      <a:lnTo>
                        <a:pt x="15"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2" name="Freeform 841"/>
                <p:cNvSpPr>
                  <a:spLocks/>
                </p:cNvSpPr>
                <p:nvPr/>
              </p:nvSpPr>
              <p:spPr bwMode="auto">
                <a:xfrm>
                  <a:off x="7301208" y="4852185"/>
                  <a:ext cx="29597" cy="19238"/>
                </a:xfrm>
                <a:custGeom>
                  <a:avLst/>
                  <a:gdLst>
                    <a:gd name="T0" fmla="*/ 2147483647 w 22"/>
                    <a:gd name="T1" fmla="*/ 2147483647 h 13"/>
                    <a:gd name="T2" fmla="*/ 2147483647 w 22"/>
                    <a:gd name="T3" fmla="*/ 2147483647 h 13"/>
                    <a:gd name="T4" fmla="*/ 2147483647 w 22"/>
                    <a:gd name="T5" fmla="*/ 2147483647 h 13"/>
                    <a:gd name="T6" fmla="*/ 2147483647 w 22"/>
                    <a:gd name="T7" fmla="*/ 2147483647 h 13"/>
                    <a:gd name="T8" fmla="*/ 2147483647 w 22"/>
                    <a:gd name="T9" fmla="*/ 2147483647 h 13"/>
                    <a:gd name="T10" fmla="*/ 2147483647 w 22"/>
                    <a:gd name="T11" fmla="*/ 2147483647 h 13"/>
                    <a:gd name="T12" fmla="*/ 2147483647 w 22"/>
                    <a:gd name="T13" fmla="*/ 2147483647 h 13"/>
                    <a:gd name="T14" fmla="*/ 2147483647 w 22"/>
                    <a:gd name="T15" fmla="*/ 0 h 13"/>
                    <a:gd name="T16" fmla="*/ 2147483647 w 22"/>
                    <a:gd name="T17" fmla="*/ 0 h 13"/>
                    <a:gd name="T18" fmla="*/ 2147483647 w 22"/>
                    <a:gd name="T19" fmla="*/ 0 h 13"/>
                    <a:gd name="T20" fmla="*/ 2147483647 w 22"/>
                    <a:gd name="T21" fmla="*/ 0 h 13"/>
                    <a:gd name="T22" fmla="*/ 2147483647 w 22"/>
                    <a:gd name="T23" fmla="*/ 2147483647 h 13"/>
                    <a:gd name="T24" fmla="*/ 2147483647 w 22"/>
                    <a:gd name="T25" fmla="*/ 2147483647 h 13"/>
                    <a:gd name="T26" fmla="*/ 0 w 22"/>
                    <a:gd name="T27" fmla="*/ 2147483647 h 13"/>
                    <a:gd name="T28" fmla="*/ 0 w 22"/>
                    <a:gd name="T29" fmla="*/ 2147483647 h 13"/>
                    <a:gd name="T30" fmla="*/ 2147483647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2147483647 w 22"/>
                    <a:gd name="T43" fmla="*/ 2147483647 h 13"/>
                    <a:gd name="T44" fmla="*/ 2147483647 w 22"/>
                    <a:gd name="T45" fmla="*/ 2147483647 h 13"/>
                    <a:gd name="T46" fmla="*/ 2147483647 w 22"/>
                    <a:gd name="T47" fmla="*/ 2147483647 h 13"/>
                    <a:gd name="T48" fmla="*/ 2147483647 w 22"/>
                    <a:gd name="T49" fmla="*/ 2147483647 h 13"/>
                    <a:gd name="T50" fmla="*/ 2147483647 w 22"/>
                    <a:gd name="T51" fmla="*/ 2147483647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13"/>
                    <a:gd name="T80" fmla="*/ 22 w 22"/>
                    <a:gd name="T81" fmla="*/ 13 h 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13">
                      <a:moveTo>
                        <a:pt x="15" y="12"/>
                      </a:moveTo>
                      <a:lnTo>
                        <a:pt x="15" y="12"/>
                      </a:lnTo>
                      <a:lnTo>
                        <a:pt x="19" y="11"/>
                      </a:lnTo>
                      <a:lnTo>
                        <a:pt x="21" y="9"/>
                      </a:lnTo>
                      <a:lnTo>
                        <a:pt x="22" y="5"/>
                      </a:lnTo>
                      <a:lnTo>
                        <a:pt x="21" y="2"/>
                      </a:lnTo>
                      <a:lnTo>
                        <a:pt x="20" y="0"/>
                      </a:lnTo>
                      <a:lnTo>
                        <a:pt x="17" y="0"/>
                      </a:lnTo>
                      <a:lnTo>
                        <a:pt x="12" y="0"/>
                      </a:lnTo>
                      <a:lnTo>
                        <a:pt x="1" y="4"/>
                      </a:lnTo>
                      <a:lnTo>
                        <a:pt x="0" y="5"/>
                      </a:lnTo>
                      <a:lnTo>
                        <a:pt x="0" y="6"/>
                      </a:lnTo>
                      <a:lnTo>
                        <a:pt x="1" y="8"/>
                      </a:lnTo>
                      <a:lnTo>
                        <a:pt x="2" y="8"/>
                      </a:lnTo>
                      <a:lnTo>
                        <a:pt x="5" y="8"/>
                      </a:lnTo>
                      <a:lnTo>
                        <a:pt x="7" y="9"/>
                      </a:lnTo>
                      <a:lnTo>
                        <a:pt x="11" y="13"/>
                      </a:lnTo>
                      <a:lnTo>
                        <a:pt x="12" y="13"/>
                      </a:lnTo>
                      <a:lnTo>
                        <a:pt x="15"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3" name="Freeform 1095"/>
                <p:cNvSpPr>
                  <a:spLocks/>
                </p:cNvSpPr>
                <p:nvPr/>
              </p:nvSpPr>
              <p:spPr bwMode="auto">
                <a:xfrm>
                  <a:off x="7182819" y="4402301"/>
                  <a:ext cx="241219" cy="183504"/>
                </a:xfrm>
                <a:custGeom>
                  <a:avLst/>
                  <a:gdLst>
                    <a:gd name="T0" fmla="*/ 2147483647 w 176"/>
                    <a:gd name="T1" fmla="*/ 2147483647 h 124"/>
                    <a:gd name="T2" fmla="*/ 2147483647 w 176"/>
                    <a:gd name="T3" fmla="*/ 2147483647 h 124"/>
                    <a:gd name="T4" fmla="*/ 2147483647 w 176"/>
                    <a:gd name="T5" fmla="*/ 2147483647 h 124"/>
                    <a:gd name="T6" fmla="*/ 2147483647 w 176"/>
                    <a:gd name="T7" fmla="*/ 2147483647 h 124"/>
                    <a:gd name="T8" fmla="*/ 2147483647 w 176"/>
                    <a:gd name="T9" fmla="*/ 2147483647 h 124"/>
                    <a:gd name="T10" fmla="*/ 2147483647 w 176"/>
                    <a:gd name="T11" fmla="*/ 2147483647 h 124"/>
                    <a:gd name="T12" fmla="*/ 2147483647 w 176"/>
                    <a:gd name="T13" fmla="*/ 2147483647 h 124"/>
                    <a:gd name="T14" fmla="*/ 2147483647 w 176"/>
                    <a:gd name="T15" fmla="*/ 2147483647 h 124"/>
                    <a:gd name="T16" fmla="*/ 2147483647 w 176"/>
                    <a:gd name="T17" fmla="*/ 2147483647 h 124"/>
                    <a:gd name="T18" fmla="*/ 2147483647 w 176"/>
                    <a:gd name="T19" fmla="*/ 2147483647 h 124"/>
                    <a:gd name="T20" fmla="*/ 2147483647 w 176"/>
                    <a:gd name="T21" fmla="*/ 2147483647 h 124"/>
                    <a:gd name="T22" fmla="*/ 2147483647 w 176"/>
                    <a:gd name="T23" fmla="*/ 2147483647 h 124"/>
                    <a:gd name="T24" fmla="*/ 2147483647 w 176"/>
                    <a:gd name="T25" fmla="*/ 2147483647 h 124"/>
                    <a:gd name="T26" fmla="*/ 2147483647 w 176"/>
                    <a:gd name="T27" fmla="*/ 2147483647 h 124"/>
                    <a:gd name="T28" fmla="*/ 2147483647 w 176"/>
                    <a:gd name="T29" fmla="*/ 2147483647 h 124"/>
                    <a:gd name="T30" fmla="*/ 2147483647 w 176"/>
                    <a:gd name="T31" fmla="*/ 2147483647 h 124"/>
                    <a:gd name="T32" fmla="*/ 2147483647 w 176"/>
                    <a:gd name="T33" fmla="*/ 2147483647 h 124"/>
                    <a:gd name="T34" fmla="*/ 2147483647 w 176"/>
                    <a:gd name="T35" fmla="*/ 0 h 124"/>
                    <a:gd name="T36" fmla="*/ 2147483647 w 176"/>
                    <a:gd name="T37" fmla="*/ 2147483647 h 124"/>
                    <a:gd name="T38" fmla="*/ 2147483647 w 176"/>
                    <a:gd name="T39" fmla="*/ 2147483647 h 124"/>
                    <a:gd name="T40" fmla="*/ 2147483647 w 176"/>
                    <a:gd name="T41" fmla="*/ 2147483647 h 124"/>
                    <a:gd name="T42" fmla="*/ 2147483647 w 176"/>
                    <a:gd name="T43" fmla="*/ 2147483647 h 124"/>
                    <a:gd name="T44" fmla="*/ 2147483647 w 176"/>
                    <a:gd name="T45" fmla="*/ 2147483647 h 124"/>
                    <a:gd name="T46" fmla="*/ 2147483647 w 176"/>
                    <a:gd name="T47" fmla="*/ 2147483647 h 124"/>
                    <a:gd name="T48" fmla="*/ 2147483647 w 176"/>
                    <a:gd name="T49" fmla="*/ 2147483647 h 124"/>
                    <a:gd name="T50" fmla="*/ 2147483647 w 176"/>
                    <a:gd name="T51" fmla="*/ 2147483647 h 124"/>
                    <a:gd name="T52" fmla="*/ 2147483647 w 176"/>
                    <a:gd name="T53" fmla="*/ 2147483647 h 124"/>
                    <a:gd name="T54" fmla="*/ 2147483647 w 176"/>
                    <a:gd name="T55" fmla="*/ 2147483647 h 124"/>
                    <a:gd name="T56" fmla="*/ 2147483647 w 176"/>
                    <a:gd name="T57" fmla="*/ 2147483647 h 124"/>
                    <a:gd name="T58" fmla="*/ 2147483647 w 176"/>
                    <a:gd name="T59" fmla="*/ 2147483647 h 124"/>
                    <a:gd name="T60" fmla="*/ 2147483647 w 176"/>
                    <a:gd name="T61" fmla="*/ 2147483647 h 124"/>
                    <a:gd name="T62" fmla="*/ 2147483647 w 176"/>
                    <a:gd name="T63" fmla="*/ 2147483647 h 124"/>
                    <a:gd name="T64" fmla="*/ 2147483647 w 176"/>
                    <a:gd name="T65" fmla="*/ 2147483647 h 124"/>
                    <a:gd name="T66" fmla="*/ 2147483647 w 176"/>
                    <a:gd name="T67" fmla="*/ 2147483647 h 124"/>
                    <a:gd name="T68" fmla="*/ 2147483647 w 176"/>
                    <a:gd name="T69" fmla="*/ 2147483647 h 124"/>
                    <a:gd name="T70" fmla="*/ 2147483647 w 176"/>
                    <a:gd name="T71" fmla="*/ 2147483647 h 124"/>
                    <a:gd name="T72" fmla="*/ 2147483647 w 176"/>
                    <a:gd name="T73" fmla="*/ 2147483647 h 124"/>
                    <a:gd name="T74" fmla="*/ 2147483647 w 176"/>
                    <a:gd name="T75" fmla="*/ 2147483647 h 124"/>
                    <a:gd name="T76" fmla="*/ 2147483647 w 176"/>
                    <a:gd name="T77" fmla="*/ 2147483647 h 124"/>
                    <a:gd name="T78" fmla="*/ 2147483647 w 176"/>
                    <a:gd name="T79" fmla="*/ 2147483647 h 124"/>
                    <a:gd name="T80" fmla="*/ 2147483647 w 176"/>
                    <a:gd name="T81" fmla="*/ 2147483647 h 124"/>
                    <a:gd name="T82" fmla="*/ 2147483647 w 176"/>
                    <a:gd name="T83" fmla="*/ 2147483647 h 124"/>
                    <a:gd name="T84" fmla="*/ 2147483647 w 176"/>
                    <a:gd name="T85" fmla="*/ 2147483647 h 124"/>
                    <a:gd name="T86" fmla="*/ 2147483647 w 176"/>
                    <a:gd name="T87" fmla="*/ 2147483647 h 124"/>
                    <a:gd name="T88" fmla="*/ 2147483647 w 176"/>
                    <a:gd name="T89" fmla="*/ 2147483647 h 124"/>
                    <a:gd name="T90" fmla="*/ 0 w 176"/>
                    <a:gd name="T91" fmla="*/ 2147483647 h 124"/>
                    <a:gd name="T92" fmla="*/ 2147483647 w 176"/>
                    <a:gd name="T93" fmla="*/ 2147483647 h 124"/>
                    <a:gd name="T94" fmla="*/ 2147483647 w 176"/>
                    <a:gd name="T95" fmla="*/ 2147483647 h 124"/>
                    <a:gd name="T96" fmla="*/ 2147483647 w 176"/>
                    <a:gd name="T97" fmla="*/ 2147483647 h 124"/>
                    <a:gd name="T98" fmla="*/ 2147483647 w 176"/>
                    <a:gd name="T99" fmla="*/ 2147483647 h 124"/>
                    <a:gd name="T100" fmla="*/ 2147483647 w 176"/>
                    <a:gd name="T101" fmla="*/ 2147483647 h 1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6"/>
                    <a:gd name="T154" fmla="*/ 0 h 124"/>
                    <a:gd name="T155" fmla="*/ 176 w 176"/>
                    <a:gd name="T156" fmla="*/ 124 h 1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6" h="124">
                      <a:moveTo>
                        <a:pt x="74" y="60"/>
                      </a:moveTo>
                      <a:lnTo>
                        <a:pt x="74" y="60"/>
                      </a:lnTo>
                      <a:lnTo>
                        <a:pt x="77" y="61"/>
                      </a:lnTo>
                      <a:lnTo>
                        <a:pt x="77" y="63"/>
                      </a:lnTo>
                      <a:lnTo>
                        <a:pt x="78" y="66"/>
                      </a:lnTo>
                      <a:lnTo>
                        <a:pt x="79" y="69"/>
                      </a:lnTo>
                      <a:lnTo>
                        <a:pt x="82" y="69"/>
                      </a:lnTo>
                      <a:lnTo>
                        <a:pt x="83" y="67"/>
                      </a:lnTo>
                      <a:lnTo>
                        <a:pt x="84" y="66"/>
                      </a:lnTo>
                      <a:lnTo>
                        <a:pt x="87" y="64"/>
                      </a:lnTo>
                      <a:lnTo>
                        <a:pt x="88" y="64"/>
                      </a:lnTo>
                      <a:lnTo>
                        <a:pt x="91" y="66"/>
                      </a:lnTo>
                      <a:lnTo>
                        <a:pt x="92" y="67"/>
                      </a:lnTo>
                      <a:lnTo>
                        <a:pt x="93" y="65"/>
                      </a:lnTo>
                      <a:lnTo>
                        <a:pt x="93" y="61"/>
                      </a:lnTo>
                      <a:lnTo>
                        <a:pt x="89" y="55"/>
                      </a:lnTo>
                      <a:lnTo>
                        <a:pt x="91" y="53"/>
                      </a:lnTo>
                      <a:lnTo>
                        <a:pt x="91" y="51"/>
                      </a:lnTo>
                      <a:lnTo>
                        <a:pt x="93" y="50"/>
                      </a:lnTo>
                      <a:lnTo>
                        <a:pt x="94" y="50"/>
                      </a:lnTo>
                      <a:lnTo>
                        <a:pt x="97" y="51"/>
                      </a:lnTo>
                      <a:lnTo>
                        <a:pt x="98" y="52"/>
                      </a:lnTo>
                      <a:lnTo>
                        <a:pt x="98" y="47"/>
                      </a:lnTo>
                      <a:lnTo>
                        <a:pt x="101" y="44"/>
                      </a:lnTo>
                      <a:lnTo>
                        <a:pt x="103" y="41"/>
                      </a:lnTo>
                      <a:lnTo>
                        <a:pt x="106" y="38"/>
                      </a:lnTo>
                      <a:lnTo>
                        <a:pt x="106" y="37"/>
                      </a:lnTo>
                      <a:lnTo>
                        <a:pt x="105" y="34"/>
                      </a:lnTo>
                      <a:lnTo>
                        <a:pt x="103" y="33"/>
                      </a:lnTo>
                      <a:lnTo>
                        <a:pt x="103" y="31"/>
                      </a:lnTo>
                      <a:lnTo>
                        <a:pt x="106" y="29"/>
                      </a:lnTo>
                      <a:lnTo>
                        <a:pt x="110" y="28"/>
                      </a:lnTo>
                      <a:lnTo>
                        <a:pt x="112" y="27"/>
                      </a:lnTo>
                      <a:lnTo>
                        <a:pt x="112" y="25"/>
                      </a:lnTo>
                      <a:lnTo>
                        <a:pt x="113" y="20"/>
                      </a:lnTo>
                      <a:lnTo>
                        <a:pt x="115" y="16"/>
                      </a:lnTo>
                      <a:lnTo>
                        <a:pt x="120" y="10"/>
                      </a:lnTo>
                      <a:lnTo>
                        <a:pt x="121" y="7"/>
                      </a:lnTo>
                      <a:lnTo>
                        <a:pt x="122" y="3"/>
                      </a:lnTo>
                      <a:lnTo>
                        <a:pt x="124" y="0"/>
                      </a:lnTo>
                      <a:lnTo>
                        <a:pt x="125" y="0"/>
                      </a:lnTo>
                      <a:lnTo>
                        <a:pt x="127" y="0"/>
                      </a:lnTo>
                      <a:lnTo>
                        <a:pt x="127" y="2"/>
                      </a:lnTo>
                      <a:lnTo>
                        <a:pt x="127" y="4"/>
                      </a:lnTo>
                      <a:lnTo>
                        <a:pt x="127" y="7"/>
                      </a:lnTo>
                      <a:lnTo>
                        <a:pt x="129" y="7"/>
                      </a:lnTo>
                      <a:lnTo>
                        <a:pt x="131" y="6"/>
                      </a:lnTo>
                      <a:lnTo>
                        <a:pt x="134" y="3"/>
                      </a:lnTo>
                      <a:lnTo>
                        <a:pt x="136" y="2"/>
                      </a:lnTo>
                      <a:lnTo>
                        <a:pt x="138" y="1"/>
                      </a:lnTo>
                      <a:lnTo>
                        <a:pt x="139" y="2"/>
                      </a:lnTo>
                      <a:lnTo>
                        <a:pt x="141" y="3"/>
                      </a:lnTo>
                      <a:lnTo>
                        <a:pt x="141" y="6"/>
                      </a:lnTo>
                      <a:lnTo>
                        <a:pt x="141" y="10"/>
                      </a:lnTo>
                      <a:lnTo>
                        <a:pt x="143" y="14"/>
                      </a:lnTo>
                      <a:lnTo>
                        <a:pt x="145" y="15"/>
                      </a:lnTo>
                      <a:lnTo>
                        <a:pt x="148" y="16"/>
                      </a:lnTo>
                      <a:lnTo>
                        <a:pt x="150" y="18"/>
                      </a:lnTo>
                      <a:lnTo>
                        <a:pt x="152" y="22"/>
                      </a:lnTo>
                      <a:lnTo>
                        <a:pt x="154" y="25"/>
                      </a:lnTo>
                      <a:lnTo>
                        <a:pt x="160" y="29"/>
                      </a:lnTo>
                      <a:lnTo>
                        <a:pt x="168" y="33"/>
                      </a:lnTo>
                      <a:lnTo>
                        <a:pt x="176" y="37"/>
                      </a:lnTo>
                      <a:lnTo>
                        <a:pt x="176" y="39"/>
                      </a:lnTo>
                      <a:lnTo>
                        <a:pt x="174" y="40"/>
                      </a:lnTo>
                      <a:lnTo>
                        <a:pt x="168" y="41"/>
                      </a:lnTo>
                      <a:lnTo>
                        <a:pt x="163" y="44"/>
                      </a:lnTo>
                      <a:lnTo>
                        <a:pt x="159" y="45"/>
                      </a:lnTo>
                      <a:lnTo>
                        <a:pt x="158" y="45"/>
                      </a:lnTo>
                      <a:lnTo>
                        <a:pt x="157" y="46"/>
                      </a:lnTo>
                      <a:lnTo>
                        <a:pt x="158" y="50"/>
                      </a:lnTo>
                      <a:lnTo>
                        <a:pt x="160" y="52"/>
                      </a:lnTo>
                      <a:lnTo>
                        <a:pt x="162" y="55"/>
                      </a:lnTo>
                      <a:lnTo>
                        <a:pt x="160" y="57"/>
                      </a:lnTo>
                      <a:lnTo>
                        <a:pt x="155" y="58"/>
                      </a:lnTo>
                      <a:lnTo>
                        <a:pt x="149" y="57"/>
                      </a:lnTo>
                      <a:lnTo>
                        <a:pt x="136" y="54"/>
                      </a:lnTo>
                      <a:lnTo>
                        <a:pt x="135" y="55"/>
                      </a:lnTo>
                      <a:lnTo>
                        <a:pt x="135" y="57"/>
                      </a:lnTo>
                      <a:lnTo>
                        <a:pt x="127" y="54"/>
                      </a:lnTo>
                      <a:lnTo>
                        <a:pt x="120" y="54"/>
                      </a:lnTo>
                      <a:lnTo>
                        <a:pt x="117" y="54"/>
                      </a:lnTo>
                      <a:lnTo>
                        <a:pt x="113" y="55"/>
                      </a:lnTo>
                      <a:lnTo>
                        <a:pt x="111" y="57"/>
                      </a:lnTo>
                      <a:lnTo>
                        <a:pt x="108" y="60"/>
                      </a:lnTo>
                      <a:lnTo>
                        <a:pt x="105" y="66"/>
                      </a:lnTo>
                      <a:lnTo>
                        <a:pt x="102" y="74"/>
                      </a:lnTo>
                      <a:lnTo>
                        <a:pt x="97" y="80"/>
                      </a:lnTo>
                      <a:lnTo>
                        <a:pt x="94" y="84"/>
                      </a:lnTo>
                      <a:lnTo>
                        <a:pt x="92" y="86"/>
                      </a:lnTo>
                      <a:lnTo>
                        <a:pt x="84" y="96"/>
                      </a:lnTo>
                      <a:lnTo>
                        <a:pt x="78" y="103"/>
                      </a:lnTo>
                      <a:lnTo>
                        <a:pt x="75" y="104"/>
                      </a:lnTo>
                      <a:lnTo>
                        <a:pt x="73" y="105"/>
                      </a:lnTo>
                      <a:lnTo>
                        <a:pt x="58" y="105"/>
                      </a:lnTo>
                      <a:lnTo>
                        <a:pt x="54" y="106"/>
                      </a:lnTo>
                      <a:lnTo>
                        <a:pt x="51" y="106"/>
                      </a:lnTo>
                      <a:lnTo>
                        <a:pt x="45" y="111"/>
                      </a:lnTo>
                      <a:lnTo>
                        <a:pt x="33" y="118"/>
                      </a:lnTo>
                      <a:lnTo>
                        <a:pt x="25" y="123"/>
                      </a:lnTo>
                      <a:lnTo>
                        <a:pt x="21" y="124"/>
                      </a:lnTo>
                      <a:lnTo>
                        <a:pt x="17" y="124"/>
                      </a:lnTo>
                      <a:lnTo>
                        <a:pt x="14" y="123"/>
                      </a:lnTo>
                      <a:lnTo>
                        <a:pt x="11" y="122"/>
                      </a:lnTo>
                      <a:lnTo>
                        <a:pt x="7" y="117"/>
                      </a:lnTo>
                      <a:lnTo>
                        <a:pt x="0" y="106"/>
                      </a:lnTo>
                      <a:lnTo>
                        <a:pt x="6" y="108"/>
                      </a:lnTo>
                      <a:lnTo>
                        <a:pt x="11" y="109"/>
                      </a:lnTo>
                      <a:lnTo>
                        <a:pt x="16" y="110"/>
                      </a:lnTo>
                      <a:lnTo>
                        <a:pt x="18" y="110"/>
                      </a:lnTo>
                      <a:lnTo>
                        <a:pt x="19" y="109"/>
                      </a:lnTo>
                      <a:lnTo>
                        <a:pt x="31" y="101"/>
                      </a:lnTo>
                      <a:lnTo>
                        <a:pt x="40" y="91"/>
                      </a:lnTo>
                      <a:lnTo>
                        <a:pt x="50" y="83"/>
                      </a:lnTo>
                      <a:lnTo>
                        <a:pt x="61" y="76"/>
                      </a:lnTo>
                      <a:lnTo>
                        <a:pt x="65" y="73"/>
                      </a:lnTo>
                      <a:lnTo>
                        <a:pt x="69" y="69"/>
                      </a:lnTo>
                      <a:lnTo>
                        <a:pt x="73" y="65"/>
                      </a:lnTo>
                      <a:lnTo>
                        <a:pt x="74" y="6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4" name="Freeform 1290"/>
                <p:cNvSpPr>
                  <a:spLocks/>
                </p:cNvSpPr>
                <p:nvPr/>
              </p:nvSpPr>
              <p:spPr bwMode="auto">
                <a:xfrm>
                  <a:off x="4755830" y="2910590"/>
                  <a:ext cx="177585" cy="256017"/>
                </a:xfrm>
                <a:custGeom>
                  <a:avLst/>
                  <a:gdLst>
                    <a:gd name="T0" fmla="*/ 2147483647 w 130"/>
                    <a:gd name="T1" fmla="*/ 2147483647 h 173"/>
                    <a:gd name="T2" fmla="*/ 2147483647 w 130"/>
                    <a:gd name="T3" fmla="*/ 2147483647 h 173"/>
                    <a:gd name="T4" fmla="*/ 2147483647 w 130"/>
                    <a:gd name="T5" fmla="*/ 2147483647 h 173"/>
                    <a:gd name="T6" fmla="*/ 2147483647 w 130"/>
                    <a:gd name="T7" fmla="*/ 2147483647 h 173"/>
                    <a:gd name="T8" fmla="*/ 2147483647 w 130"/>
                    <a:gd name="T9" fmla="*/ 2147483647 h 173"/>
                    <a:gd name="T10" fmla="*/ 2147483647 w 130"/>
                    <a:gd name="T11" fmla="*/ 2147483647 h 173"/>
                    <a:gd name="T12" fmla="*/ 2147483647 w 130"/>
                    <a:gd name="T13" fmla="*/ 2147483647 h 173"/>
                    <a:gd name="T14" fmla="*/ 2147483647 w 130"/>
                    <a:gd name="T15" fmla="*/ 2147483647 h 173"/>
                    <a:gd name="T16" fmla="*/ 2147483647 w 130"/>
                    <a:gd name="T17" fmla="*/ 2147483647 h 173"/>
                    <a:gd name="T18" fmla="*/ 2147483647 w 130"/>
                    <a:gd name="T19" fmla="*/ 2147483647 h 173"/>
                    <a:gd name="T20" fmla="*/ 2147483647 w 130"/>
                    <a:gd name="T21" fmla="*/ 2147483647 h 173"/>
                    <a:gd name="T22" fmla="*/ 2147483647 w 130"/>
                    <a:gd name="T23" fmla="*/ 2147483647 h 173"/>
                    <a:gd name="T24" fmla="*/ 2147483647 w 130"/>
                    <a:gd name="T25" fmla="*/ 2147483647 h 173"/>
                    <a:gd name="T26" fmla="*/ 2147483647 w 130"/>
                    <a:gd name="T27" fmla="*/ 2147483647 h 173"/>
                    <a:gd name="T28" fmla="*/ 2147483647 w 130"/>
                    <a:gd name="T29" fmla="*/ 2147483647 h 173"/>
                    <a:gd name="T30" fmla="*/ 2147483647 w 130"/>
                    <a:gd name="T31" fmla="*/ 2147483647 h 173"/>
                    <a:gd name="T32" fmla="*/ 0 w 130"/>
                    <a:gd name="T33" fmla="*/ 2147483647 h 173"/>
                    <a:gd name="T34" fmla="*/ 2147483647 w 130"/>
                    <a:gd name="T35" fmla="*/ 2147483647 h 173"/>
                    <a:gd name="T36" fmla="*/ 2147483647 w 130"/>
                    <a:gd name="T37" fmla="*/ 2147483647 h 173"/>
                    <a:gd name="T38" fmla="*/ 2147483647 w 130"/>
                    <a:gd name="T39" fmla="*/ 2147483647 h 173"/>
                    <a:gd name="T40" fmla="*/ 2147483647 w 130"/>
                    <a:gd name="T41" fmla="*/ 2147483647 h 173"/>
                    <a:gd name="T42" fmla="*/ 2147483647 w 130"/>
                    <a:gd name="T43" fmla="*/ 2147483647 h 173"/>
                    <a:gd name="T44" fmla="*/ 2147483647 w 130"/>
                    <a:gd name="T45" fmla="*/ 2147483647 h 173"/>
                    <a:gd name="T46" fmla="*/ 2147483647 w 130"/>
                    <a:gd name="T47" fmla="*/ 2147483647 h 173"/>
                    <a:gd name="T48" fmla="*/ 2147483647 w 130"/>
                    <a:gd name="T49" fmla="*/ 2147483647 h 173"/>
                    <a:gd name="T50" fmla="*/ 2147483647 w 130"/>
                    <a:gd name="T51" fmla="*/ 2147483647 h 173"/>
                    <a:gd name="T52" fmla="*/ 2147483647 w 130"/>
                    <a:gd name="T53" fmla="*/ 2147483647 h 173"/>
                    <a:gd name="T54" fmla="*/ 2147483647 w 130"/>
                    <a:gd name="T55" fmla="*/ 2147483647 h 173"/>
                    <a:gd name="T56" fmla="*/ 2147483647 w 130"/>
                    <a:gd name="T57" fmla="*/ 2147483647 h 173"/>
                    <a:gd name="T58" fmla="*/ 2147483647 w 130"/>
                    <a:gd name="T59" fmla="*/ 2147483647 h 173"/>
                    <a:gd name="T60" fmla="*/ 2147483647 w 130"/>
                    <a:gd name="T61" fmla="*/ 2147483647 h 173"/>
                    <a:gd name="T62" fmla="*/ 2147483647 w 130"/>
                    <a:gd name="T63" fmla="*/ 2147483647 h 173"/>
                    <a:gd name="T64" fmla="*/ 2147483647 w 130"/>
                    <a:gd name="T65" fmla="*/ 2147483647 h 173"/>
                    <a:gd name="T66" fmla="*/ 2147483647 w 130"/>
                    <a:gd name="T67" fmla="*/ 2147483647 h 173"/>
                    <a:gd name="T68" fmla="*/ 2147483647 w 130"/>
                    <a:gd name="T69" fmla="*/ 2147483647 h 173"/>
                    <a:gd name="T70" fmla="*/ 2147483647 w 130"/>
                    <a:gd name="T71" fmla="*/ 2147483647 h 173"/>
                    <a:gd name="T72" fmla="*/ 2147483647 w 130"/>
                    <a:gd name="T73" fmla="*/ 2147483647 h 173"/>
                    <a:gd name="T74" fmla="*/ 2147483647 w 130"/>
                    <a:gd name="T75" fmla="*/ 2147483647 h 173"/>
                    <a:gd name="T76" fmla="*/ 2147483647 w 130"/>
                    <a:gd name="T77" fmla="*/ 2147483647 h 173"/>
                    <a:gd name="T78" fmla="*/ 2147483647 w 130"/>
                    <a:gd name="T79" fmla="*/ 2147483647 h 173"/>
                    <a:gd name="T80" fmla="*/ 2147483647 w 130"/>
                    <a:gd name="T81" fmla="*/ 2147483647 h 173"/>
                    <a:gd name="T82" fmla="*/ 2147483647 w 130"/>
                    <a:gd name="T83" fmla="*/ 2147483647 h 173"/>
                    <a:gd name="T84" fmla="*/ 2147483647 w 130"/>
                    <a:gd name="T85" fmla="*/ 2147483647 h 173"/>
                    <a:gd name="T86" fmla="*/ 2147483647 w 130"/>
                    <a:gd name="T87" fmla="*/ 2147483647 h 173"/>
                    <a:gd name="T88" fmla="*/ 2147483647 w 130"/>
                    <a:gd name="T89" fmla="*/ 2147483647 h 173"/>
                    <a:gd name="T90" fmla="*/ 2147483647 w 130"/>
                    <a:gd name="T91" fmla="*/ 2147483647 h 173"/>
                    <a:gd name="T92" fmla="*/ 2147483647 w 130"/>
                    <a:gd name="T93" fmla="*/ 0 h 1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0"/>
                    <a:gd name="T142" fmla="*/ 0 h 173"/>
                    <a:gd name="T143" fmla="*/ 130 w 130"/>
                    <a:gd name="T144" fmla="*/ 173 h 1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0" h="173">
                      <a:moveTo>
                        <a:pt x="66" y="0"/>
                      </a:moveTo>
                      <a:lnTo>
                        <a:pt x="63" y="1"/>
                      </a:lnTo>
                      <a:lnTo>
                        <a:pt x="58" y="1"/>
                      </a:lnTo>
                      <a:lnTo>
                        <a:pt x="53" y="2"/>
                      </a:lnTo>
                      <a:lnTo>
                        <a:pt x="54" y="4"/>
                      </a:lnTo>
                      <a:lnTo>
                        <a:pt x="53" y="6"/>
                      </a:lnTo>
                      <a:lnTo>
                        <a:pt x="49" y="8"/>
                      </a:lnTo>
                      <a:lnTo>
                        <a:pt x="49" y="11"/>
                      </a:lnTo>
                      <a:lnTo>
                        <a:pt x="49" y="13"/>
                      </a:lnTo>
                      <a:lnTo>
                        <a:pt x="48" y="15"/>
                      </a:lnTo>
                      <a:lnTo>
                        <a:pt x="47" y="18"/>
                      </a:lnTo>
                      <a:lnTo>
                        <a:pt x="45" y="20"/>
                      </a:lnTo>
                      <a:lnTo>
                        <a:pt x="39" y="24"/>
                      </a:lnTo>
                      <a:lnTo>
                        <a:pt x="33" y="24"/>
                      </a:lnTo>
                      <a:lnTo>
                        <a:pt x="29" y="23"/>
                      </a:lnTo>
                      <a:lnTo>
                        <a:pt x="28" y="23"/>
                      </a:lnTo>
                      <a:lnTo>
                        <a:pt x="26" y="24"/>
                      </a:lnTo>
                      <a:lnTo>
                        <a:pt x="24" y="28"/>
                      </a:lnTo>
                      <a:lnTo>
                        <a:pt x="23" y="32"/>
                      </a:lnTo>
                      <a:lnTo>
                        <a:pt x="21" y="32"/>
                      </a:lnTo>
                      <a:lnTo>
                        <a:pt x="19" y="37"/>
                      </a:lnTo>
                      <a:lnTo>
                        <a:pt x="16" y="45"/>
                      </a:lnTo>
                      <a:lnTo>
                        <a:pt x="15" y="55"/>
                      </a:lnTo>
                      <a:lnTo>
                        <a:pt x="14" y="59"/>
                      </a:lnTo>
                      <a:lnTo>
                        <a:pt x="11" y="63"/>
                      </a:lnTo>
                      <a:lnTo>
                        <a:pt x="7" y="68"/>
                      </a:lnTo>
                      <a:lnTo>
                        <a:pt x="3" y="70"/>
                      </a:lnTo>
                      <a:lnTo>
                        <a:pt x="2" y="71"/>
                      </a:lnTo>
                      <a:lnTo>
                        <a:pt x="2" y="74"/>
                      </a:lnTo>
                      <a:lnTo>
                        <a:pt x="2" y="76"/>
                      </a:lnTo>
                      <a:lnTo>
                        <a:pt x="2" y="81"/>
                      </a:lnTo>
                      <a:lnTo>
                        <a:pt x="2" y="84"/>
                      </a:lnTo>
                      <a:lnTo>
                        <a:pt x="1" y="92"/>
                      </a:lnTo>
                      <a:lnTo>
                        <a:pt x="0" y="102"/>
                      </a:lnTo>
                      <a:lnTo>
                        <a:pt x="0" y="110"/>
                      </a:lnTo>
                      <a:lnTo>
                        <a:pt x="2" y="114"/>
                      </a:lnTo>
                      <a:lnTo>
                        <a:pt x="3" y="119"/>
                      </a:lnTo>
                      <a:lnTo>
                        <a:pt x="5" y="129"/>
                      </a:lnTo>
                      <a:lnTo>
                        <a:pt x="14" y="132"/>
                      </a:lnTo>
                      <a:lnTo>
                        <a:pt x="23" y="135"/>
                      </a:lnTo>
                      <a:lnTo>
                        <a:pt x="28" y="136"/>
                      </a:lnTo>
                      <a:lnTo>
                        <a:pt x="31" y="138"/>
                      </a:lnTo>
                      <a:lnTo>
                        <a:pt x="42" y="136"/>
                      </a:lnTo>
                      <a:lnTo>
                        <a:pt x="39" y="143"/>
                      </a:lnTo>
                      <a:lnTo>
                        <a:pt x="36" y="149"/>
                      </a:lnTo>
                      <a:lnTo>
                        <a:pt x="34" y="155"/>
                      </a:lnTo>
                      <a:lnTo>
                        <a:pt x="34" y="162"/>
                      </a:lnTo>
                      <a:lnTo>
                        <a:pt x="42" y="164"/>
                      </a:lnTo>
                      <a:lnTo>
                        <a:pt x="49" y="166"/>
                      </a:lnTo>
                      <a:lnTo>
                        <a:pt x="56" y="168"/>
                      </a:lnTo>
                      <a:lnTo>
                        <a:pt x="61" y="173"/>
                      </a:lnTo>
                      <a:lnTo>
                        <a:pt x="71" y="173"/>
                      </a:lnTo>
                      <a:lnTo>
                        <a:pt x="80" y="172"/>
                      </a:lnTo>
                      <a:lnTo>
                        <a:pt x="90" y="168"/>
                      </a:lnTo>
                      <a:lnTo>
                        <a:pt x="99" y="164"/>
                      </a:lnTo>
                      <a:lnTo>
                        <a:pt x="100" y="164"/>
                      </a:lnTo>
                      <a:lnTo>
                        <a:pt x="101" y="164"/>
                      </a:lnTo>
                      <a:lnTo>
                        <a:pt x="105" y="165"/>
                      </a:lnTo>
                      <a:lnTo>
                        <a:pt x="113" y="170"/>
                      </a:lnTo>
                      <a:lnTo>
                        <a:pt x="114" y="170"/>
                      </a:lnTo>
                      <a:lnTo>
                        <a:pt x="115" y="170"/>
                      </a:lnTo>
                      <a:lnTo>
                        <a:pt x="116" y="168"/>
                      </a:lnTo>
                      <a:lnTo>
                        <a:pt x="116" y="162"/>
                      </a:lnTo>
                      <a:lnTo>
                        <a:pt x="114" y="158"/>
                      </a:lnTo>
                      <a:lnTo>
                        <a:pt x="116" y="157"/>
                      </a:lnTo>
                      <a:lnTo>
                        <a:pt x="118" y="155"/>
                      </a:lnTo>
                      <a:lnTo>
                        <a:pt x="124" y="148"/>
                      </a:lnTo>
                      <a:lnTo>
                        <a:pt x="130" y="145"/>
                      </a:lnTo>
                      <a:lnTo>
                        <a:pt x="120" y="133"/>
                      </a:lnTo>
                      <a:lnTo>
                        <a:pt x="109" y="122"/>
                      </a:lnTo>
                      <a:lnTo>
                        <a:pt x="108" y="120"/>
                      </a:lnTo>
                      <a:lnTo>
                        <a:pt x="106" y="116"/>
                      </a:lnTo>
                      <a:lnTo>
                        <a:pt x="101" y="109"/>
                      </a:lnTo>
                      <a:lnTo>
                        <a:pt x="100" y="106"/>
                      </a:lnTo>
                      <a:lnTo>
                        <a:pt x="99" y="101"/>
                      </a:lnTo>
                      <a:lnTo>
                        <a:pt x="95" y="97"/>
                      </a:lnTo>
                      <a:lnTo>
                        <a:pt x="91" y="95"/>
                      </a:lnTo>
                      <a:lnTo>
                        <a:pt x="87" y="95"/>
                      </a:lnTo>
                      <a:lnTo>
                        <a:pt x="82" y="95"/>
                      </a:lnTo>
                      <a:lnTo>
                        <a:pt x="80" y="95"/>
                      </a:lnTo>
                      <a:lnTo>
                        <a:pt x="78" y="94"/>
                      </a:lnTo>
                      <a:lnTo>
                        <a:pt x="77" y="91"/>
                      </a:lnTo>
                      <a:lnTo>
                        <a:pt x="76" y="87"/>
                      </a:lnTo>
                      <a:lnTo>
                        <a:pt x="77" y="84"/>
                      </a:lnTo>
                      <a:lnTo>
                        <a:pt x="81" y="64"/>
                      </a:lnTo>
                      <a:lnTo>
                        <a:pt x="85" y="45"/>
                      </a:lnTo>
                      <a:lnTo>
                        <a:pt x="85" y="34"/>
                      </a:lnTo>
                      <a:lnTo>
                        <a:pt x="85" y="25"/>
                      </a:lnTo>
                      <a:lnTo>
                        <a:pt x="82" y="15"/>
                      </a:lnTo>
                      <a:lnTo>
                        <a:pt x="78" y="6"/>
                      </a:lnTo>
                      <a:lnTo>
                        <a:pt x="73" y="6"/>
                      </a:lnTo>
                      <a:lnTo>
                        <a:pt x="72" y="5"/>
                      </a:lnTo>
                      <a:lnTo>
                        <a:pt x="70" y="2"/>
                      </a:lnTo>
                      <a:lnTo>
                        <a:pt x="6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5" name="Freeform 260"/>
                <p:cNvSpPr>
                  <a:spLocks/>
                </p:cNvSpPr>
                <p:nvPr/>
              </p:nvSpPr>
              <p:spPr bwMode="auto">
                <a:xfrm>
                  <a:off x="8581297" y="6235861"/>
                  <a:ext cx="11839" cy="11839"/>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2147483647 w 9"/>
                    <a:gd name="T13" fmla="*/ 2147483647 h 8"/>
                    <a:gd name="T14" fmla="*/ 0 w 9"/>
                    <a:gd name="T15" fmla="*/ 2147483647 h 8"/>
                    <a:gd name="T16" fmla="*/ 0 w 9"/>
                    <a:gd name="T17" fmla="*/ 2147483647 h 8"/>
                    <a:gd name="T18" fmla="*/ 2147483647 w 9"/>
                    <a:gd name="T19" fmla="*/ 2147483647 h 8"/>
                    <a:gd name="T20" fmla="*/ 2147483647 w 9"/>
                    <a:gd name="T21" fmla="*/ 0 h 8"/>
                    <a:gd name="T22" fmla="*/ 2147483647 w 9"/>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8"/>
                    <a:gd name="T38" fmla="*/ 9 w 9"/>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8">
                      <a:moveTo>
                        <a:pt x="7" y="1"/>
                      </a:moveTo>
                      <a:lnTo>
                        <a:pt x="9" y="2"/>
                      </a:lnTo>
                      <a:lnTo>
                        <a:pt x="9" y="3"/>
                      </a:lnTo>
                      <a:lnTo>
                        <a:pt x="9" y="6"/>
                      </a:lnTo>
                      <a:lnTo>
                        <a:pt x="6" y="7"/>
                      </a:lnTo>
                      <a:lnTo>
                        <a:pt x="5" y="8"/>
                      </a:lnTo>
                      <a:lnTo>
                        <a:pt x="2" y="8"/>
                      </a:lnTo>
                      <a:lnTo>
                        <a:pt x="0" y="6"/>
                      </a:lnTo>
                      <a:lnTo>
                        <a:pt x="0" y="2"/>
                      </a:lnTo>
                      <a:lnTo>
                        <a:pt x="1" y="1"/>
                      </a:lnTo>
                      <a:lnTo>
                        <a:pt x="3" y="0"/>
                      </a:lnTo>
                      <a:lnTo>
                        <a:pt x="7"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6" name="Freeform 261"/>
                <p:cNvSpPr>
                  <a:spLocks/>
                </p:cNvSpPr>
                <p:nvPr/>
              </p:nvSpPr>
              <p:spPr bwMode="auto">
                <a:xfrm>
                  <a:off x="8516186" y="6169270"/>
                  <a:ext cx="16279" cy="22198"/>
                </a:xfrm>
                <a:custGeom>
                  <a:avLst/>
                  <a:gdLst>
                    <a:gd name="T0" fmla="*/ 2147483647 w 12"/>
                    <a:gd name="T1" fmla="*/ 2147483647 h 15"/>
                    <a:gd name="T2" fmla="*/ 2147483647 w 12"/>
                    <a:gd name="T3" fmla="*/ 2147483647 h 15"/>
                    <a:gd name="T4" fmla="*/ 2147483647 w 12"/>
                    <a:gd name="T5" fmla="*/ 2147483647 h 15"/>
                    <a:gd name="T6" fmla="*/ 2147483647 w 12"/>
                    <a:gd name="T7" fmla="*/ 2147483647 h 15"/>
                    <a:gd name="T8" fmla="*/ 2147483647 w 12"/>
                    <a:gd name="T9" fmla="*/ 2147483647 h 15"/>
                    <a:gd name="T10" fmla="*/ 2147483647 w 12"/>
                    <a:gd name="T11" fmla="*/ 2147483647 h 15"/>
                    <a:gd name="T12" fmla="*/ 2147483647 w 12"/>
                    <a:gd name="T13" fmla="*/ 2147483647 h 15"/>
                    <a:gd name="T14" fmla="*/ 2147483647 w 12"/>
                    <a:gd name="T15" fmla="*/ 2147483647 h 15"/>
                    <a:gd name="T16" fmla="*/ 0 w 12"/>
                    <a:gd name="T17" fmla="*/ 2147483647 h 15"/>
                    <a:gd name="T18" fmla="*/ 0 w 12"/>
                    <a:gd name="T19" fmla="*/ 2147483647 h 15"/>
                    <a:gd name="T20" fmla="*/ 2147483647 w 12"/>
                    <a:gd name="T21" fmla="*/ 2147483647 h 15"/>
                    <a:gd name="T22" fmla="*/ 2147483647 w 12"/>
                    <a:gd name="T23" fmla="*/ 2147483647 h 15"/>
                    <a:gd name="T24" fmla="*/ 2147483647 w 12"/>
                    <a:gd name="T25" fmla="*/ 0 h 15"/>
                    <a:gd name="T26" fmla="*/ 2147483647 w 12"/>
                    <a:gd name="T27" fmla="*/ 0 h 15"/>
                    <a:gd name="T28" fmla="*/ 2147483647 w 12"/>
                    <a:gd name="T29" fmla="*/ 2147483647 h 15"/>
                    <a:gd name="T30" fmla="*/ 2147483647 w 12"/>
                    <a:gd name="T31" fmla="*/ 2147483647 h 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5"/>
                    <a:gd name="T50" fmla="*/ 12 w 12"/>
                    <a:gd name="T51" fmla="*/ 15 h 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5">
                      <a:moveTo>
                        <a:pt x="10" y="6"/>
                      </a:moveTo>
                      <a:lnTo>
                        <a:pt x="11" y="8"/>
                      </a:lnTo>
                      <a:lnTo>
                        <a:pt x="12" y="9"/>
                      </a:lnTo>
                      <a:lnTo>
                        <a:pt x="12" y="11"/>
                      </a:lnTo>
                      <a:lnTo>
                        <a:pt x="11" y="14"/>
                      </a:lnTo>
                      <a:lnTo>
                        <a:pt x="9" y="15"/>
                      </a:lnTo>
                      <a:lnTo>
                        <a:pt x="5" y="15"/>
                      </a:lnTo>
                      <a:lnTo>
                        <a:pt x="2" y="14"/>
                      </a:lnTo>
                      <a:lnTo>
                        <a:pt x="0" y="11"/>
                      </a:lnTo>
                      <a:lnTo>
                        <a:pt x="0" y="8"/>
                      </a:lnTo>
                      <a:lnTo>
                        <a:pt x="1" y="4"/>
                      </a:lnTo>
                      <a:lnTo>
                        <a:pt x="3" y="1"/>
                      </a:lnTo>
                      <a:lnTo>
                        <a:pt x="7" y="0"/>
                      </a:lnTo>
                      <a:lnTo>
                        <a:pt x="9" y="0"/>
                      </a:lnTo>
                      <a:lnTo>
                        <a:pt x="10" y="1"/>
                      </a:lnTo>
                      <a:lnTo>
                        <a:pt x="1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7" name="Freeform 262"/>
                <p:cNvSpPr>
                  <a:spLocks/>
                </p:cNvSpPr>
                <p:nvPr/>
              </p:nvSpPr>
              <p:spPr bwMode="auto">
                <a:xfrm>
                  <a:off x="8578338" y="6232904"/>
                  <a:ext cx="11839" cy="13319"/>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2147483647 w 9"/>
                    <a:gd name="T17" fmla="*/ 2147483647 h 9"/>
                    <a:gd name="T18" fmla="*/ 0 w 9"/>
                    <a:gd name="T19" fmla="*/ 2147483647 h 9"/>
                    <a:gd name="T20" fmla="*/ 0 w 9"/>
                    <a:gd name="T21" fmla="*/ 2147483647 h 9"/>
                    <a:gd name="T22" fmla="*/ 0 w 9"/>
                    <a:gd name="T23" fmla="*/ 2147483647 h 9"/>
                    <a:gd name="T24" fmla="*/ 2147483647 w 9"/>
                    <a:gd name="T25" fmla="*/ 2147483647 h 9"/>
                    <a:gd name="T26" fmla="*/ 2147483647 w 9"/>
                    <a:gd name="T27" fmla="*/ 0 h 9"/>
                    <a:gd name="T28" fmla="*/ 2147483647 w 9"/>
                    <a:gd name="T29" fmla="*/ 2147483647 h 9"/>
                    <a:gd name="T30" fmla="*/ 2147483647 w 9"/>
                    <a:gd name="T31" fmla="*/ 2147483647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9"/>
                    <a:gd name="T50" fmla="*/ 9 w 9"/>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9">
                      <a:moveTo>
                        <a:pt x="8" y="2"/>
                      </a:moveTo>
                      <a:lnTo>
                        <a:pt x="8" y="2"/>
                      </a:lnTo>
                      <a:lnTo>
                        <a:pt x="9" y="3"/>
                      </a:lnTo>
                      <a:lnTo>
                        <a:pt x="9" y="4"/>
                      </a:lnTo>
                      <a:lnTo>
                        <a:pt x="9" y="6"/>
                      </a:lnTo>
                      <a:lnTo>
                        <a:pt x="7" y="8"/>
                      </a:lnTo>
                      <a:lnTo>
                        <a:pt x="5" y="9"/>
                      </a:lnTo>
                      <a:lnTo>
                        <a:pt x="3" y="9"/>
                      </a:lnTo>
                      <a:lnTo>
                        <a:pt x="0" y="6"/>
                      </a:lnTo>
                      <a:lnTo>
                        <a:pt x="0" y="3"/>
                      </a:lnTo>
                      <a:lnTo>
                        <a:pt x="2" y="2"/>
                      </a:lnTo>
                      <a:lnTo>
                        <a:pt x="4" y="0"/>
                      </a:lnTo>
                      <a:lnTo>
                        <a:pt x="8"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8" name="Freeform 263"/>
                <p:cNvSpPr>
                  <a:spLocks/>
                </p:cNvSpPr>
                <p:nvPr/>
              </p:nvSpPr>
              <p:spPr bwMode="auto">
                <a:xfrm>
                  <a:off x="8513223" y="6166308"/>
                  <a:ext cx="17758" cy="23678"/>
                </a:xfrm>
                <a:custGeom>
                  <a:avLst/>
                  <a:gdLst>
                    <a:gd name="T0" fmla="*/ 2147483647 w 13"/>
                    <a:gd name="T1" fmla="*/ 2147483647 h 16"/>
                    <a:gd name="T2" fmla="*/ 2147483647 w 13"/>
                    <a:gd name="T3" fmla="*/ 2147483647 h 16"/>
                    <a:gd name="T4" fmla="*/ 2147483647 w 13"/>
                    <a:gd name="T5" fmla="*/ 2147483647 h 16"/>
                    <a:gd name="T6" fmla="*/ 2147483647 w 13"/>
                    <a:gd name="T7" fmla="*/ 2147483647 h 16"/>
                    <a:gd name="T8" fmla="*/ 2147483647 w 13"/>
                    <a:gd name="T9" fmla="*/ 2147483647 h 16"/>
                    <a:gd name="T10" fmla="*/ 2147483647 w 13"/>
                    <a:gd name="T11" fmla="*/ 2147483647 h 16"/>
                    <a:gd name="T12" fmla="*/ 2147483647 w 13"/>
                    <a:gd name="T13" fmla="*/ 2147483647 h 16"/>
                    <a:gd name="T14" fmla="*/ 2147483647 w 13"/>
                    <a:gd name="T15" fmla="*/ 2147483647 h 16"/>
                    <a:gd name="T16" fmla="*/ 2147483647 w 13"/>
                    <a:gd name="T17" fmla="*/ 2147483647 h 16"/>
                    <a:gd name="T18" fmla="*/ 2147483647 w 13"/>
                    <a:gd name="T19" fmla="*/ 2147483647 h 16"/>
                    <a:gd name="T20" fmla="*/ 2147483647 w 13"/>
                    <a:gd name="T21" fmla="*/ 2147483647 h 16"/>
                    <a:gd name="T22" fmla="*/ 0 w 13"/>
                    <a:gd name="T23" fmla="*/ 2147483647 h 16"/>
                    <a:gd name="T24" fmla="*/ 0 w 13"/>
                    <a:gd name="T25" fmla="*/ 2147483647 h 16"/>
                    <a:gd name="T26" fmla="*/ 0 w 13"/>
                    <a:gd name="T27" fmla="*/ 2147483647 h 16"/>
                    <a:gd name="T28" fmla="*/ 2147483647 w 13"/>
                    <a:gd name="T29" fmla="*/ 2147483647 h 16"/>
                    <a:gd name="T30" fmla="*/ 2147483647 w 13"/>
                    <a:gd name="T31" fmla="*/ 2147483647 h 16"/>
                    <a:gd name="T32" fmla="*/ 2147483647 w 13"/>
                    <a:gd name="T33" fmla="*/ 0 h 16"/>
                    <a:gd name="T34" fmla="*/ 2147483647 w 13"/>
                    <a:gd name="T35" fmla="*/ 0 h 16"/>
                    <a:gd name="T36" fmla="*/ 2147483647 w 13"/>
                    <a:gd name="T37" fmla="*/ 0 h 16"/>
                    <a:gd name="T38" fmla="*/ 2147483647 w 13"/>
                    <a:gd name="T39" fmla="*/ 2147483647 h 16"/>
                    <a:gd name="T40" fmla="*/ 2147483647 w 13"/>
                    <a:gd name="T41" fmla="*/ 2147483647 h 16"/>
                    <a:gd name="T42" fmla="*/ 2147483647 w 13"/>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16"/>
                    <a:gd name="T68" fmla="*/ 13 w 13"/>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16">
                      <a:moveTo>
                        <a:pt x="11" y="6"/>
                      </a:moveTo>
                      <a:lnTo>
                        <a:pt x="11" y="6"/>
                      </a:lnTo>
                      <a:lnTo>
                        <a:pt x="12" y="9"/>
                      </a:lnTo>
                      <a:lnTo>
                        <a:pt x="13" y="10"/>
                      </a:lnTo>
                      <a:lnTo>
                        <a:pt x="13" y="12"/>
                      </a:lnTo>
                      <a:lnTo>
                        <a:pt x="12" y="15"/>
                      </a:lnTo>
                      <a:lnTo>
                        <a:pt x="9" y="16"/>
                      </a:lnTo>
                      <a:lnTo>
                        <a:pt x="5" y="16"/>
                      </a:lnTo>
                      <a:lnTo>
                        <a:pt x="3" y="15"/>
                      </a:lnTo>
                      <a:lnTo>
                        <a:pt x="0" y="12"/>
                      </a:lnTo>
                      <a:lnTo>
                        <a:pt x="0" y="9"/>
                      </a:lnTo>
                      <a:lnTo>
                        <a:pt x="2" y="5"/>
                      </a:lnTo>
                      <a:lnTo>
                        <a:pt x="4" y="2"/>
                      </a:lnTo>
                      <a:lnTo>
                        <a:pt x="8" y="0"/>
                      </a:lnTo>
                      <a:lnTo>
                        <a:pt x="9" y="0"/>
                      </a:lnTo>
                      <a:lnTo>
                        <a:pt x="11" y="2"/>
                      </a:lnTo>
                      <a:lnTo>
                        <a:pt x="11"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39" name="Freeform 264"/>
                <p:cNvSpPr>
                  <a:spLocks/>
                </p:cNvSpPr>
                <p:nvPr/>
              </p:nvSpPr>
              <p:spPr bwMode="auto">
                <a:xfrm>
                  <a:off x="8554661" y="6037562"/>
                  <a:ext cx="22199" cy="20718"/>
                </a:xfrm>
                <a:custGeom>
                  <a:avLst/>
                  <a:gdLst>
                    <a:gd name="T0" fmla="*/ 2147483647 w 16"/>
                    <a:gd name="T1" fmla="*/ 2147483647 h 14"/>
                    <a:gd name="T2" fmla="*/ 2147483647 w 16"/>
                    <a:gd name="T3" fmla="*/ 2147483647 h 14"/>
                    <a:gd name="T4" fmla="*/ 2147483647 w 16"/>
                    <a:gd name="T5" fmla="*/ 2147483647 h 14"/>
                    <a:gd name="T6" fmla="*/ 2147483647 w 16"/>
                    <a:gd name="T7" fmla="*/ 0 h 14"/>
                    <a:gd name="T8" fmla="*/ 2147483647 w 16"/>
                    <a:gd name="T9" fmla="*/ 2147483647 h 14"/>
                    <a:gd name="T10" fmla="*/ 2147483647 w 16"/>
                    <a:gd name="T11" fmla="*/ 2147483647 h 14"/>
                    <a:gd name="T12" fmla="*/ 2147483647 w 16"/>
                    <a:gd name="T13" fmla="*/ 2147483647 h 14"/>
                    <a:gd name="T14" fmla="*/ 0 w 16"/>
                    <a:gd name="T15" fmla="*/ 2147483647 h 14"/>
                    <a:gd name="T16" fmla="*/ 2147483647 w 16"/>
                    <a:gd name="T17" fmla="*/ 2147483647 h 14"/>
                    <a:gd name="T18" fmla="*/ 2147483647 w 16"/>
                    <a:gd name="T19" fmla="*/ 2147483647 h 14"/>
                    <a:gd name="T20" fmla="*/ 2147483647 w 16"/>
                    <a:gd name="T21" fmla="*/ 2147483647 h 14"/>
                    <a:gd name="T22" fmla="*/ 2147483647 w 16"/>
                    <a:gd name="T23" fmla="*/ 2147483647 h 14"/>
                    <a:gd name="T24" fmla="*/ 2147483647 w 16"/>
                    <a:gd name="T25" fmla="*/ 2147483647 h 14"/>
                    <a:gd name="T26" fmla="*/ 2147483647 w 16"/>
                    <a:gd name="T27" fmla="*/ 2147483647 h 14"/>
                    <a:gd name="T28" fmla="*/ 2147483647 w 16"/>
                    <a:gd name="T29" fmla="*/ 2147483647 h 14"/>
                    <a:gd name="T30" fmla="*/ 2147483647 w 16"/>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4"/>
                    <a:gd name="T50" fmla="*/ 16 w 16"/>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4">
                      <a:moveTo>
                        <a:pt x="16" y="7"/>
                      </a:moveTo>
                      <a:lnTo>
                        <a:pt x="11" y="2"/>
                      </a:lnTo>
                      <a:lnTo>
                        <a:pt x="10" y="1"/>
                      </a:lnTo>
                      <a:lnTo>
                        <a:pt x="9" y="0"/>
                      </a:lnTo>
                      <a:lnTo>
                        <a:pt x="9" y="1"/>
                      </a:lnTo>
                      <a:lnTo>
                        <a:pt x="5" y="6"/>
                      </a:lnTo>
                      <a:lnTo>
                        <a:pt x="1" y="10"/>
                      </a:lnTo>
                      <a:lnTo>
                        <a:pt x="0" y="13"/>
                      </a:lnTo>
                      <a:lnTo>
                        <a:pt x="1" y="14"/>
                      </a:lnTo>
                      <a:lnTo>
                        <a:pt x="2" y="14"/>
                      </a:lnTo>
                      <a:lnTo>
                        <a:pt x="3" y="14"/>
                      </a:lnTo>
                      <a:lnTo>
                        <a:pt x="9" y="12"/>
                      </a:lnTo>
                      <a:lnTo>
                        <a:pt x="14" y="10"/>
                      </a:lnTo>
                      <a:lnTo>
                        <a:pt x="16" y="9"/>
                      </a:lnTo>
                      <a:lnTo>
                        <a:pt x="16" y="8"/>
                      </a:lnTo>
                      <a:lnTo>
                        <a:pt x="1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0" name="Freeform 265"/>
                <p:cNvSpPr>
                  <a:spLocks/>
                </p:cNvSpPr>
                <p:nvPr/>
              </p:nvSpPr>
              <p:spPr bwMode="auto">
                <a:xfrm>
                  <a:off x="8530984" y="5830376"/>
                  <a:ext cx="187944" cy="208662"/>
                </a:xfrm>
                <a:custGeom>
                  <a:avLst/>
                  <a:gdLst>
                    <a:gd name="T0" fmla="*/ 2147483647 w 137"/>
                    <a:gd name="T1" fmla="*/ 2147483647 h 141"/>
                    <a:gd name="T2" fmla="*/ 2147483647 w 137"/>
                    <a:gd name="T3" fmla="*/ 2147483647 h 141"/>
                    <a:gd name="T4" fmla="*/ 2147483647 w 137"/>
                    <a:gd name="T5" fmla="*/ 2147483647 h 141"/>
                    <a:gd name="T6" fmla="*/ 2147483647 w 137"/>
                    <a:gd name="T7" fmla="*/ 2147483647 h 141"/>
                    <a:gd name="T8" fmla="*/ 2147483647 w 137"/>
                    <a:gd name="T9" fmla="*/ 2147483647 h 141"/>
                    <a:gd name="T10" fmla="*/ 2147483647 w 137"/>
                    <a:gd name="T11" fmla="*/ 2147483647 h 141"/>
                    <a:gd name="T12" fmla="*/ 2147483647 w 137"/>
                    <a:gd name="T13" fmla="*/ 2147483647 h 141"/>
                    <a:gd name="T14" fmla="*/ 2147483647 w 137"/>
                    <a:gd name="T15" fmla="*/ 2147483647 h 141"/>
                    <a:gd name="T16" fmla="*/ 2147483647 w 137"/>
                    <a:gd name="T17" fmla="*/ 2147483647 h 141"/>
                    <a:gd name="T18" fmla="*/ 2147483647 w 137"/>
                    <a:gd name="T19" fmla="*/ 2147483647 h 141"/>
                    <a:gd name="T20" fmla="*/ 2147483647 w 137"/>
                    <a:gd name="T21" fmla="*/ 2147483647 h 141"/>
                    <a:gd name="T22" fmla="*/ 2147483647 w 137"/>
                    <a:gd name="T23" fmla="*/ 2147483647 h 141"/>
                    <a:gd name="T24" fmla="*/ 2147483647 w 137"/>
                    <a:gd name="T25" fmla="*/ 2147483647 h 141"/>
                    <a:gd name="T26" fmla="*/ 2147483647 w 137"/>
                    <a:gd name="T27" fmla="*/ 2147483647 h 141"/>
                    <a:gd name="T28" fmla="*/ 2147483647 w 137"/>
                    <a:gd name="T29" fmla="*/ 2147483647 h 141"/>
                    <a:gd name="T30" fmla="*/ 2147483647 w 137"/>
                    <a:gd name="T31" fmla="*/ 2147483647 h 141"/>
                    <a:gd name="T32" fmla="*/ 2147483647 w 137"/>
                    <a:gd name="T33" fmla="*/ 2147483647 h 141"/>
                    <a:gd name="T34" fmla="*/ 2147483647 w 137"/>
                    <a:gd name="T35" fmla="*/ 2147483647 h 141"/>
                    <a:gd name="T36" fmla="*/ 2147483647 w 137"/>
                    <a:gd name="T37" fmla="*/ 2147483647 h 141"/>
                    <a:gd name="T38" fmla="*/ 0 w 137"/>
                    <a:gd name="T39" fmla="*/ 2147483647 h 141"/>
                    <a:gd name="T40" fmla="*/ 2147483647 w 137"/>
                    <a:gd name="T41" fmla="*/ 2147483647 h 141"/>
                    <a:gd name="T42" fmla="*/ 2147483647 w 137"/>
                    <a:gd name="T43" fmla="*/ 2147483647 h 141"/>
                    <a:gd name="T44" fmla="*/ 2147483647 w 137"/>
                    <a:gd name="T45" fmla="*/ 2147483647 h 141"/>
                    <a:gd name="T46" fmla="*/ 2147483647 w 137"/>
                    <a:gd name="T47" fmla="*/ 2147483647 h 141"/>
                    <a:gd name="T48" fmla="*/ 2147483647 w 137"/>
                    <a:gd name="T49" fmla="*/ 2147483647 h 141"/>
                    <a:gd name="T50" fmla="*/ 2147483647 w 137"/>
                    <a:gd name="T51" fmla="*/ 2147483647 h 141"/>
                    <a:gd name="T52" fmla="*/ 2147483647 w 137"/>
                    <a:gd name="T53" fmla="*/ 2147483647 h 141"/>
                    <a:gd name="T54" fmla="*/ 2147483647 w 137"/>
                    <a:gd name="T55" fmla="*/ 2147483647 h 141"/>
                    <a:gd name="T56" fmla="*/ 2147483647 w 137"/>
                    <a:gd name="T57" fmla="*/ 2147483647 h 141"/>
                    <a:gd name="T58" fmla="*/ 2147483647 w 137"/>
                    <a:gd name="T59" fmla="*/ 2147483647 h 141"/>
                    <a:gd name="T60" fmla="*/ 2147483647 w 137"/>
                    <a:gd name="T61" fmla="*/ 2147483647 h 141"/>
                    <a:gd name="T62" fmla="*/ 2147483647 w 137"/>
                    <a:gd name="T63" fmla="*/ 2147483647 h 141"/>
                    <a:gd name="T64" fmla="*/ 2147483647 w 137"/>
                    <a:gd name="T65" fmla="*/ 2147483647 h 141"/>
                    <a:gd name="T66" fmla="*/ 2147483647 w 137"/>
                    <a:gd name="T67" fmla="*/ 2147483647 h 141"/>
                    <a:gd name="T68" fmla="*/ 2147483647 w 137"/>
                    <a:gd name="T69" fmla="*/ 2147483647 h 141"/>
                    <a:gd name="T70" fmla="*/ 2147483647 w 137"/>
                    <a:gd name="T71" fmla="*/ 2147483647 h 141"/>
                    <a:gd name="T72" fmla="*/ 2147483647 w 137"/>
                    <a:gd name="T73" fmla="*/ 2147483647 h 141"/>
                    <a:gd name="T74" fmla="*/ 2147483647 w 137"/>
                    <a:gd name="T75" fmla="*/ 2147483647 h 141"/>
                    <a:gd name="T76" fmla="*/ 2147483647 w 137"/>
                    <a:gd name="T77" fmla="*/ 2147483647 h 141"/>
                    <a:gd name="T78" fmla="*/ 2147483647 w 137"/>
                    <a:gd name="T79" fmla="*/ 2147483647 h 141"/>
                    <a:gd name="T80" fmla="*/ 2147483647 w 137"/>
                    <a:gd name="T81" fmla="*/ 2147483647 h 141"/>
                    <a:gd name="T82" fmla="*/ 2147483647 w 137"/>
                    <a:gd name="T83" fmla="*/ 2147483647 h 141"/>
                    <a:gd name="T84" fmla="*/ 2147483647 w 137"/>
                    <a:gd name="T85" fmla="*/ 2147483647 h 141"/>
                    <a:gd name="T86" fmla="*/ 2147483647 w 137"/>
                    <a:gd name="T87" fmla="*/ 2147483647 h 1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7"/>
                    <a:gd name="T133" fmla="*/ 0 h 141"/>
                    <a:gd name="T134" fmla="*/ 137 w 137"/>
                    <a:gd name="T135" fmla="*/ 141 h 1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7" h="141">
                      <a:moveTo>
                        <a:pt x="136" y="26"/>
                      </a:moveTo>
                      <a:lnTo>
                        <a:pt x="131" y="31"/>
                      </a:lnTo>
                      <a:lnTo>
                        <a:pt x="128" y="35"/>
                      </a:lnTo>
                      <a:lnTo>
                        <a:pt x="125" y="46"/>
                      </a:lnTo>
                      <a:lnTo>
                        <a:pt x="122" y="51"/>
                      </a:lnTo>
                      <a:lnTo>
                        <a:pt x="118" y="56"/>
                      </a:lnTo>
                      <a:lnTo>
                        <a:pt x="116" y="59"/>
                      </a:lnTo>
                      <a:lnTo>
                        <a:pt x="113" y="64"/>
                      </a:lnTo>
                      <a:lnTo>
                        <a:pt x="113" y="66"/>
                      </a:lnTo>
                      <a:lnTo>
                        <a:pt x="113" y="69"/>
                      </a:lnTo>
                      <a:lnTo>
                        <a:pt x="114" y="71"/>
                      </a:lnTo>
                      <a:lnTo>
                        <a:pt x="116" y="74"/>
                      </a:lnTo>
                      <a:lnTo>
                        <a:pt x="114" y="76"/>
                      </a:lnTo>
                      <a:lnTo>
                        <a:pt x="113" y="77"/>
                      </a:lnTo>
                      <a:lnTo>
                        <a:pt x="107" y="76"/>
                      </a:lnTo>
                      <a:lnTo>
                        <a:pt x="104" y="77"/>
                      </a:lnTo>
                      <a:lnTo>
                        <a:pt x="100" y="78"/>
                      </a:lnTo>
                      <a:lnTo>
                        <a:pt x="97" y="82"/>
                      </a:lnTo>
                      <a:lnTo>
                        <a:pt x="92" y="85"/>
                      </a:lnTo>
                      <a:lnTo>
                        <a:pt x="88" y="90"/>
                      </a:lnTo>
                      <a:lnTo>
                        <a:pt x="85" y="91"/>
                      </a:lnTo>
                      <a:lnTo>
                        <a:pt x="85" y="92"/>
                      </a:lnTo>
                      <a:lnTo>
                        <a:pt x="84" y="99"/>
                      </a:lnTo>
                      <a:lnTo>
                        <a:pt x="81" y="107"/>
                      </a:lnTo>
                      <a:lnTo>
                        <a:pt x="78" y="112"/>
                      </a:lnTo>
                      <a:lnTo>
                        <a:pt x="74" y="118"/>
                      </a:lnTo>
                      <a:lnTo>
                        <a:pt x="65" y="128"/>
                      </a:lnTo>
                      <a:lnTo>
                        <a:pt x="56" y="137"/>
                      </a:lnTo>
                      <a:lnTo>
                        <a:pt x="52" y="140"/>
                      </a:lnTo>
                      <a:lnTo>
                        <a:pt x="48" y="141"/>
                      </a:lnTo>
                      <a:lnTo>
                        <a:pt x="43" y="141"/>
                      </a:lnTo>
                      <a:lnTo>
                        <a:pt x="39" y="141"/>
                      </a:lnTo>
                      <a:lnTo>
                        <a:pt x="29" y="135"/>
                      </a:lnTo>
                      <a:lnTo>
                        <a:pt x="18" y="129"/>
                      </a:lnTo>
                      <a:lnTo>
                        <a:pt x="14" y="129"/>
                      </a:lnTo>
                      <a:lnTo>
                        <a:pt x="10" y="129"/>
                      </a:lnTo>
                      <a:lnTo>
                        <a:pt x="6" y="128"/>
                      </a:lnTo>
                      <a:lnTo>
                        <a:pt x="3" y="125"/>
                      </a:lnTo>
                      <a:lnTo>
                        <a:pt x="1" y="123"/>
                      </a:lnTo>
                      <a:lnTo>
                        <a:pt x="0" y="122"/>
                      </a:lnTo>
                      <a:lnTo>
                        <a:pt x="1" y="117"/>
                      </a:lnTo>
                      <a:lnTo>
                        <a:pt x="4" y="112"/>
                      </a:lnTo>
                      <a:lnTo>
                        <a:pt x="8" y="109"/>
                      </a:lnTo>
                      <a:lnTo>
                        <a:pt x="19" y="97"/>
                      </a:lnTo>
                      <a:lnTo>
                        <a:pt x="26" y="91"/>
                      </a:lnTo>
                      <a:lnTo>
                        <a:pt x="31" y="84"/>
                      </a:lnTo>
                      <a:lnTo>
                        <a:pt x="33" y="80"/>
                      </a:lnTo>
                      <a:lnTo>
                        <a:pt x="37" y="78"/>
                      </a:lnTo>
                      <a:lnTo>
                        <a:pt x="45" y="76"/>
                      </a:lnTo>
                      <a:lnTo>
                        <a:pt x="53" y="74"/>
                      </a:lnTo>
                      <a:lnTo>
                        <a:pt x="57" y="73"/>
                      </a:lnTo>
                      <a:lnTo>
                        <a:pt x="62" y="70"/>
                      </a:lnTo>
                      <a:lnTo>
                        <a:pt x="67" y="66"/>
                      </a:lnTo>
                      <a:lnTo>
                        <a:pt x="72" y="60"/>
                      </a:lnTo>
                      <a:lnTo>
                        <a:pt x="78" y="54"/>
                      </a:lnTo>
                      <a:lnTo>
                        <a:pt x="80" y="47"/>
                      </a:lnTo>
                      <a:lnTo>
                        <a:pt x="83" y="41"/>
                      </a:lnTo>
                      <a:lnTo>
                        <a:pt x="86" y="37"/>
                      </a:lnTo>
                      <a:lnTo>
                        <a:pt x="97" y="27"/>
                      </a:lnTo>
                      <a:lnTo>
                        <a:pt x="98" y="25"/>
                      </a:lnTo>
                      <a:lnTo>
                        <a:pt x="98" y="22"/>
                      </a:lnTo>
                      <a:lnTo>
                        <a:pt x="99" y="15"/>
                      </a:lnTo>
                      <a:lnTo>
                        <a:pt x="100" y="12"/>
                      </a:lnTo>
                      <a:lnTo>
                        <a:pt x="103" y="9"/>
                      </a:lnTo>
                      <a:lnTo>
                        <a:pt x="111" y="3"/>
                      </a:lnTo>
                      <a:lnTo>
                        <a:pt x="114" y="1"/>
                      </a:lnTo>
                      <a:lnTo>
                        <a:pt x="117" y="0"/>
                      </a:lnTo>
                      <a:lnTo>
                        <a:pt x="118" y="1"/>
                      </a:lnTo>
                      <a:lnTo>
                        <a:pt x="118" y="3"/>
                      </a:lnTo>
                      <a:lnTo>
                        <a:pt x="116" y="5"/>
                      </a:lnTo>
                      <a:lnTo>
                        <a:pt x="114" y="6"/>
                      </a:lnTo>
                      <a:lnTo>
                        <a:pt x="112" y="7"/>
                      </a:lnTo>
                      <a:lnTo>
                        <a:pt x="112" y="8"/>
                      </a:lnTo>
                      <a:lnTo>
                        <a:pt x="114" y="13"/>
                      </a:lnTo>
                      <a:lnTo>
                        <a:pt x="114" y="16"/>
                      </a:lnTo>
                      <a:lnTo>
                        <a:pt x="116" y="19"/>
                      </a:lnTo>
                      <a:lnTo>
                        <a:pt x="119" y="18"/>
                      </a:lnTo>
                      <a:lnTo>
                        <a:pt x="122" y="16"/>
                      </a:lnTo>
                      <a:lnTo>
                        <a:pt x="125" y="14"/>
                      </a:lnTo>
                      <a:lnTo>
                        <a:pt x="128" y="13"/>
                      </a:lnTo>
                      <a:lnTo>
                        <a:pt x="131" y="13"/>
                      </a:lnTo>
                      <a:lnTo>
                        <a:pt x="135" y="14"/>
                      </a:lnTo>
                      <a:lnTo>
                        <a:pt x="137" y="16"/>
                      </a:lnTo>
                      <a:lnTo>
                        <a:pt x="137" y="18"/>
                      </a:lnTo>
                      <a:lnTo>
                        <a:pt x="137" y="19"/>
                      </a:lnTo>
                      <a:lnTo>
                        <a:pt x="137" y="22"/>
                      </a:lnTo>
                      <a:lnTo>
                        <a:pt x="137" y="25"/>
                      </a:lnTo>
                      <a:lnTo>
                        <a:pt x="136" y="2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1" name="Freeform 266"/>
                <p:cNvSpPr>
                  <a:spLocks/>
                </p:cNvSpPr>
                <p:nvPr/>
              </p:nvSpPr>
              <p:spPr bwMode="auto">
                <a:xfrm>
                  <a:off x="8551701" y="6036083"/>
                  <a:ext cx="23678" cy="20718"/>
                </a:xfrm>
                <a:custGeom>
                  <a:avLst/>
                  <a:gdLst>
                    <a:gd name="T0" fmla="*/ 2147483647 w 17"/>
                    <a:gd name="T1" fmla="*/ 2147483647 h 14"/>
                    <a:gd name="T2" fmla="*/ 2147483647 w 17"/>
                    <a:gd name="T3" fmla="*/ 2147483647 h 14"/>
                    <a:gd name="T4" fmla="*/ 2147483647 w 17"/>
                    <a:gd name="T5" fmla="*/ 2147483647 h 14"/>
                    <a:gd name="T6" fmla="*/ 2147483647 w 17"/>
                    <a:gd name="T7" fmla="*/ 2147483647 h 14"/>
                    <a:gd name="T8" fmla="*/ 2147483647 w 17"/>
                    <a:gd name="T9" fmla="*/ 0 h 14"/>
                    <a:gd name="T10" fmla="*/ 2147483647 w 17"/>
                    <a:gd name="T11" fmla="*/ 2147483647 h 14"/>
                    <a:gd name="T12" fmla="*/ 2147483647 w 17"/>
                    <a:gd name="T13" fmla="*/ 2147483647 h 14"/>
                    <a:gd name="T14" fmla="*/ 2147483647 w 17"/>
                    <a:gd name="T15" fmla="*/ 2147483647 h 14"/>
                    <a:gd name="T16" fmla="*/ 2147483647 w 17"/>
                    <a:gd name="T17" fmla="*/ 2147483647 h 14"/>
                    <a:gd name="T18" fmla="*/ 2147483647 w 17"/>
                    <a:gd name="T19" fmla="*/ 2147483647 h 14"/>
                    <a:gd name="T20" fmla="*/ 0 w 17"/>
                    <a:gd name="T21" fmla="*/ 2147483647 h 14"/>
                    <a:gd name="T22" fmla="*/ 2147483647 w 17"/>
                    <a:gd name="T23" fmla="*/ 2147483647 h 14"/>
                    <a:gd name="T24" fmla="*/ 2147483647 w 17"/>
                    <a:gd name="T25" fmla="*/ 2147483647 h 14"/>
                    <a:gd name="T26" fmla="*/ 2147483647 w 17"/>
                    <a:gd name="T27" fmla="*/ 2147483647 h 14"/>
                    <a:gd name="T28" fmla="*/ 2147483647 w 17"/>
                    <a:gd name="T29" fmla="*/ 2147483647 h 14"/>
                    <a:gd name="T30" fmla="*/ 2147483647 w 17"/>
                    <a:gd name="T31" fmla="*/ 2147483647 h 14"/>
                    <a:gd name="T32" fmla="*/ 2147483647 w 17"/>
                    <a:gd name="T33" fmla="*/ 2147483647 h 14"/>
                    <a:gd name="T34" fmla="*/ 2147483647 w 17"/>
                    <a:gd name="T35" fmla="*/ 2147483647 h 14"/>
                    <a:gd name="T36" fmla="*/ 2147483647 w 17"/>
                    <a:gd name="T37" fmla="*/ 2147483647 h 14"/>
                    <a:gd name="T38" fmla="*/ 2147483647 w 17"/>
                    <a:gd name="T39" fmla="*/ 2147483647 h 14"/>
                    <a:gd name="T40" fmla="*/ 2147483647 w 17"/>
                    <a:gd name="T41" fmla="*/ 2147483647 h 14"/>
                    <a:gd name="T42" fmla="*/ 2147483647 w 17"/>
                    <a:gd name="T43" fmla="*/ 2147483647 h 14"/>
                    <a:gd name="T44" fmla="*/ 2147483647 w 17"/>
                    <a:gd name="T45" fmla="*/ 2147483647 h 14"/>
                    <a:gd name="T46" fmla="*/ 2147483647 w 17"/>
                    <a:gd name="T47" fmla="*/ 2147483647 h 14"/>
                    <a:gd name="T48" fmla="*/ 2147483647 w 17"/>
                    <a:gd name="T49" fmla="*/ 2147483647 h 1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
                    <a:gd name="T76" fmla="*/ 0 h 14"/>
                    <a:gd name="T77" fmla="*/ 17 w 17"/>
                    <a:gd name="T78" fmla="*/ 14 h 1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 h="14">
                      <a:moveTo>
                        <a:pt x="17" y="7"/>
                      </a:moveTo>
                      <a:lnTo>
                        <a:pt x="17" y="7"/>
                      </a:lnTo>
                      <a:lnTo>
                        <a:pt x="12" y="2"/>
                      </a:lnTo>
                      <a:lnTo>
                        <a:pt x="11" y="1"/>
                      </a:lnTo>
                      <a:lnTo>
                        <a:pt x="9" y="0"/>
                      </a:lnTo>
                      <a:lnTo>
                        <a:pt x="9" y="1"/>
                      </a:lnTo>
                      <a:lnTo>
                        <a:pt x="5" y="5"/>
                      </a:lnTo>
                      <a:lnTo>
                        <a:pt x="2" y="10"/>
                      </a:lnTo>
                      <a:lnTo>
                        <a:pt x="0" y="13"/>
                      </a:lnTo>
                      <a:lnTo>
                        <a:pt x="2" y="14"/>
                      </a:lnTo>
                      <a:lnTo>
                        <a:pt x="3" y="14"/>
                      </a:lnTo>
                      <a:lnTo>
                        <a:pt x="4" y="14"/>
                      </a:lnTo>
                      <a:lnTo>
                        <a:pt x="9" y="11"/>
                      </a:lnTo>
                      <a:lnTo>
                        <a:pt x="14" y="10"/>
                      </a:lnTo>
                      <a:lnTo>
                        <a:pt x="17" y="9"/>
                      </a:lnTo>
                      <a:lnTo>
                        <a:pt x="17" y="8"/>
                      </a:lnTo>
                      <a:lnTo>
                        <a:pt x="17"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2" name="Freeform 267"/>
                <p:cNvSpPr>
                  <a:spLocks/>
                </p:cNvSpPr>
                <p:nvPr/>
              </p:nvSpPr>
              <p:spPr bwMode="auto">
                <a:xfrm>
                  <a:off x="8530985" y="5828901"/>
                  <a:ext cx="186464" cy="208661"/>
                </a:xfrm>
                <a:custGeom>
                  <a:avLst/>
                  <a:gdLst>
                    <a:gd name="T0" fmla="*/ 2147483647 w 137"/>
                    <a:gd name="T1" fmla="*/ 2147483647 h 141"/>
                    <a:gd name="T2" fmla="*/ 2147483647 w 137"/>
                    <a:gd name="T3" fmla="*/ 2147483647 h 141"/>
                    <a:gd name="T4" fmla="*/ 2147483647 w 137"/>
                    <a:gd name="T5" fmla="*/ 2147483647 h 141"/>
                    <a:gd name="T6" fmla="*/ 2147483647 w 137"/>
                    <a:gd name="T7" fmla="*/ 2147483647 h 141"/>
                    <a:gd name="T8" fmla="*/ 2147483647 w 137"/>
                    <a:gd name="T9" fmla="*/ 2147483647 h 141"/>
                    <a:gd name="T10" fmla="*/ 2147483647 w 137"/>
                    <a:gd name="T11" fmla="*/ 2147483647 h 141"/>
                    <a:gd name="T12" fmla="*/ 2147483647 w 137"/>
                    <a:gd name="T13" fmla="*/ 2147483647 h 141"/>
                    <a:gd name="T14" fmla="*/ 2147483647 w 137"/>
                    <a:gd name="T15" fmla="*/ 2147483647 h 141"/>
                    <a:gd name="T16" fmla="*/ 2147483647 w 137"/>
                    <a:gd name="T17" fmla="*/ 2147483647 h 141"/>
                    <a:gd name="T18" fmla="*/ 2147483647 w 137"/>
                    <a:gd name="T19" fmla="*/ 2147483647 h 141"/>
                    <a:gd name="T20" fmla="*/ 2147483647 w 137"/>
                    <a:gd name="T21" fmla="*/ 2147483647 h 141"/>
                    <a:gd name="T22" fmla="*/ 2147483647 w 137"/>
                    <a:gd name="T23" fmla="*/ 2147483647 h 141"/>
                    <a:gd name="T24" fmla="*/ 2147483647 w 137"/>
                    <a:gd name="T25" fmla="*/ 2147483647 h 141"/>
                    <a:gd name="T26" fmla="*/ 2147483647 w 137"/>
                    <a:gd name="T27" fmla="*/ 2147483647 h 141"/>
                    <a:gd name="T28" fmla="*/ 2147483647 w 137"/>
                    <a:gd name="T29" fmla="*/ 2147483647 h 141"/>
                    <a:gd name="T30" fmla="*/ 2147483647 w 137"/>
                    <a:gd name="T31" fmla="*/ 2147483647 h 141"/>
                    <a:gd name="T32" fmla="*/ 2147483647 w 137"/>
                    <a:gd name="T33" fmla="*/ 2147483647 h 141"/>
                    <a:gd name="T34" fmla="*/ 2147483647 w 137"/>
                    <a:gd name="T35" fmla="*/ 2147483647 h 141"/>
                    <a:gd name="T36" fmla="*/ 2147483647 w 137"/>
                    <a:gd name="T37" fmla="*/ 2147483647 h 141"/>
                    <a:gd name="T38" fmla="*/ 2147483647 w 137"/>
                    <a:gd name="T39" fmla="*/ 2147483647 h 141"/>
                    <a:gd name="T40" fmla="*/ 2147483647 w 137"/>
                    <a:gd name="T41" fmla="*/ 2147483647 h 141"/>
                    <a:gd name="T42" fmla="*/ 2147483647 w 137"/>
                    <a:gd name="T43" fmla="*/ 2147483647 h 141"/>
                    <a:gd name="T44" fmla="*/ 2147483647 w 137"/>
                    <a:gd name="T45" fmla="*/ 2147483647 h 141"/>
                    <a:gd name="T46" fmla="*/ 2147483647 w 137"/>
                    <a:gd name="T47" fmla="*/ 2147483647 h 141"/>
                    <a:gd name="T48" fmla="*/ 2147483647 w 137"/>
                    <a:gd name="T49" fmla="*/ 2147483647 h 141"/>
                    <a:gd name="T50" fmla="*/ 0 w 137"/>
                    <a:gd name="T51" fmla="*/ 2147483647 h 141"/>
                    <a:gd name="T52" fmla="*/ 2147483647 w 137"/>
                    <a:gd name="T53" fmla="*/ 2147483647 h 141"/>
                    <a:gd name="T54" fmla="*/ 2147483647 w 137"/>
                    <a:gd name="T55" fmla="*/ 2147483647 h 141"/>
                    <a:gd name="T56" fmla="*/ 2147483647 w 137"/>
                    <a:gd name="T57" fmla="*/ 2147483647 h 141"/>
                    <a:gd name="T58" fmla="*/ 2147483647 w 137"/>
                    <a:gd name="T59" fmla="*/ 2147483647 h 141"/>
                    <a:gd name="T60" fmla="*/ 2147483647 w 137"/>
                    <a:gd name="T61" fmla="*/ 2147483647 h 141"/>
                    <a:gd name="T62" fmla="*/ 2147483647 w 137"/>
                    <a:gd name="T63" fmla="*/ 2147483647 h 141"/>
                    <a:gd name="T64" fmla="*/ 2147483647 w 137"/>
                    <a:gd name="T65" fmla="*/ 2147483647 h 141"/>
                    <a:gd name="T66" fmla="*/ 2147483647 w 137"/>
                    <a:gd name="T67" fmla="*/ 2147483647 h 141"/>
                    <a:gd name="T68" fmla="*/ 2147483647 w 137"/>
                    <a:gd name="T69" fmla="*/ 2147483647 h 141"/>
                    <a:gd name="T70" fmla="*/ 2147483647 w 137"/>
                    <a:gd name="T71" fmla="*/ 2147483647 h 141"/>
                    <a:gd name="T72" fmla="*/ 2147483647 w 137"/>
                    <a:gd name="T73" fmla="*/ 2147483647 h 141"/>
                    <a:gd name="T74" fmla="*/ 2147483647 w 137"/>
                    <a:gd name="T75" fmla="*/ 2147483647 h 141"/>
                    <a:gd name="T76" fmla="*/ 2147483647 w 137"/>
                    <a:gd name="T77" fmla="*/ 2147483647 h 141"/>
                    <a:gd name="T78" fmla="*/ 2147483647 w 137"/>
                    <a:gd name="T79" fmla="*/ 2147483647 h 141"/>
                    <a:gd name="T80" fmla="*/ 2147483647 w 137"/>
                    <a:gd name="T81" fmla="*/ 2147483647 h 141"/>
                    <a:gd name="T82" fmla="*/ 2147483647 w 137"/>
                    <a:gd name="T83" fmla="*/ 2147483647 h 141"/>
                    <a:gd name="T84" fmla="*/ 2147483647 w 137"/>
                    <a:gd name="T85" fmla="*/ 2147483647 h 141"/>
                    <a:gd name="T86" fmla="*/ 2147483647 w 137"/>
                    <a:gd name="T87" fmla="*/ 2147483647 h 141"/>
                    <a:gd name="T88" fmla="*/ 2147483647 w 137"/>
                    <a:gd name="T89" fmla="*/ 2147483647 h 141"/>
                    <a:gd name="T90" fmla="*/ 2147483647 w 137"/>
                    <a:gd name="T91" fmla="*/ 2147483647 h 141"/>
                    <a:gd name="T92" fmla="*/ 2147483647 w 137"/>
                    <a:gd name="T93" fmla="*/ 2147483647 h 141"/>
                    <a:gd name="T94" fmla="*/ 2147483647 w 137"/>
                    <a:gd name="T95" fmla="*/ 2147483647 h 141"/>
                    <a:gd name="T96" fmla="*/ 2147483647 w 137"/>
                    <a:gd name="T97" fmla="*/ 2147483647 h 141"/>
                    <a:gd name="T98" fmla="*/ 2147483647 w 137"/>
                    <a:gd name="T99" fmla="*/ 2147483647 h 141"/>
                    <a:gd name="T100" fmla="*/ 2147483647 w 137"/>
                    <a:gd name="T101" fmla="*/ 2147483647 h 141"/>
                    <a:gd name="T102" fmla="*/ 2147483647 w 137"/>
                    <a:gd name="T103" fmla="*/ 2147483647 h 141"/>
                    <a:gd name="T104" fmla="*/ 2147483647 w 137"/>
                    <a:gd name="T105" fmla="*/ 2147483647 h 141"/>
                    <a:gd name="T106" fmla="*/ 2147483647 w 137"/>
                    <a:gd name="T107" fmla="*/ 2147483647 h 141"/>
                    <a:gd name="T108" fmla="*/ 2147483647 w 137"/>
                    <a:gd name="T109" fmla="*/ 2147483647 h 141"/>
                    <a:gd name="T110" fmla="*/ 2147483647 w 137"/>
                    <a:gd name="T111" fmla="*/ 2147483647 h 141"/>
                    <a:gd name="T112" fmla="*/ 2147483647 w 137"/>
                    <a:gd name="T113" fmla="*/ 2147483647 h 141"/>
                    <a:gd name="T114" fmla="*/ 2147483647 w 137"/>
                    <a:gd name="T115" fmla="*/ 2147483647 h 14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7"/>
                    <a:gd name="T175" fmla="*/ 0 h 141"/>
                    <a:gd name="T176" fmla="*/ 137 w 137"/>
                    <a:gd name="T177" fmla="*/ 141 h 14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7" h="141">
                      <a:moveTo>
                        <a:pt x="136" y="26"/>
                      </a:moveTo>
                      <a:lnTo>
                        <a:pt x="136" y="26"/>
                      </a:lnTo>
                      <a:lnTo>
                        <a:pt x="131" y="30"/>
                      </a:lnTo>
                      <a:lnTo>
                        <a:pt x="128" y="35"/>
                      </a:lnTo>
                      <a:lnTo>
                        <a:pt x="124" y="46"/>
                      </a:lnTo>
                      <a:lnTo>
                        <a:pt x="122" y="51"/>
                      </a:lnTo>
                      <a:lnTo>
                        <a:pt x="118" y="55"/>
                      </a:lnTo>
                      <a:lnTo>
                        <a:pt x="115" y="59"/>
                      </a:lnTo>
                      <a:lnTo>
                        <a:pt x="113" y="64"/>
                      </a:lnTo>
                      <a:lnTo>
                        <a:pt x="113" y="66"/>
                      </a:lnTo>
                      <a:lnTo>
                        <a:pt x="113" y="68"/>
                      </a:lnTo>
                      <a:lnTo>
                        <a:pt x="114" y="71"/>
                      </a:lnTo>
                      <a:lnTo>
                        <a:pt x="115" y="74"/>
                      </a:lnTo>
                      <a:lnTo>
                        <a:pt x="114" y="75"/>
                      </a:lnTo>
                      <a:lnTo>
                        <a:pt x="113" y="77"/>
                      </a:lnTo>
                      <a:lnTo>
                        <a:pt x="107" y="75"/>
                      </a:lnTo>
                      <a:lnTo>
                        <a:pt x="104" y="77"/>
                      </a:lnTo>
                      <a:lnTo>
                        <a:pt x="100" y="78"/>
                      </a:lnTo>
                      <a:lnTo>
                        <a:pt x="96" y="81"/>
                      </a:lnTo>
                      <a:lnTo>
                        <a:pt x="91" y="85"/>
                      </a:lnTo>
                      <a:lnTo>
                        <a:pt x="87" y="90"/>
                      </a:lnTo>
                      <a:lnTo>
                        <a:pt x="85" y="91"/>
                      </a:lnTo>
                      <a:lnTo>
                        <a:pt x="85" y="92"/>
                      </a:lnTo>
                      <a:lnTo>
                        <a:pt x="84" y="99"/>
                      </a:lnTo>
                      <a:lnTo>
                        <a:pt x="81" y="106"/>
                      </a:lnTo>
                      <a:lnTo>
                        <a:pt x="77" y="112"/>
                      </a:lnTo>
                      <a:lnTo>
                        <a:pt x="73" y="118"/>
                      </a:lnTo>
                      <a:lnTo>
                        <a:pt x="65" y="128"/>
                      </a:lnTo>
                      <a:lnTo>
                        <a:pt x="56" y="137"/>
                      </a:lnTo>
                      <a:lnTo>
                        <a:pt x="52" y="140"/>
                      </a:lnTo>
                      <a:lnTo>
                        <a:pt x="48" y="141"/>
                      </a:lnTo>
                      <a:lnTo>
                        <a:pt x="43" y="141"/>
                      </a:lnTo>
                      <a:lnTo>
                        <a:pt x="39" y="141"/>
                      </a:lnTo>
                      <a:lnTo>
                        <a:pt x="29" y="135"/>
                      </a:lnTo>
                      <a:lnTo>
                        <a:pt x="18" y="129"/>
                      </a:lnTo>
                      <a:lnTo>
                        <a:pt x="14" y="129"/>
                      </a:lnTo>
                      <a:lnTo>
                        <a:pt x="10" y="129"/>
                      </a:lnTo>
                      <a:lnTo>
                        <a:pt x="6" y="128"/>
                      </a:lnTo>
                      <a:lnTo>
                        <a:pt x="2" y="125"/>
                      </a:lnTo>
                      <a:lnTo>
                        <a:pt x="1" y="123"/>
                      </a:lnTo>
                      <a:lnTo>
                        <a:pt x="0" y="122"/>
                      </a:lnTo>
                      <a:lnTo>
                        <a:pt x="1" y="117"/>
                      </a:lnTo>
                      <a:lnTo>
                        <a:pt x="4" y="112"/>
                      </a:lnTo>
                      <a:lnTo>
                        <a:pt x="7" y="109"/>
                      </a:lnTo>
                      <a:lnTo>
                        <a:pt x="19" y="97"/>
                      </a:lnTo>
                      <a:lnTo>
                        <a:pt x="25" y="91"/>
                      </a:lnTo>
                      <a:lnTo>
                        <a:pt x="30" y="84"/>
                      </a:lnTo>
                      <a:lnTo>
                        <a:pt x="33" y="80"/>
                      </a:lnTo>
                      <a:lnTo>
                        <a:pt x="37" y="78"/>
                      </a:lnTo>
                      <a:lnTo>
                        <a:pt x="44" y="75"/>
                      </a:lnTo>
                      <a:lnTo>
                        <a:pt x="53" y="74"/>
                      </a:lnTo>
                      <a:lnTo>
                        <a:pt x="57" y="73"/>
                      </a:lnTo>
                      <a:lnTo>
                        <a:pt x="62" y="70"/>
                      </a:lnTo>
                      <a:lnTo>
                        <a:pt x="67" y="66"/>
                      </a:lnTo>
                      <a:lnTo>
                        <a:pt x="72" y="60"/>
                      </a:lnTo>
                      <a:lnTo>
                        <a:pt x="77" y="54"/>
                      </a:lnTo>
                      <a:lnTo>
                        <a:pt x="80" y="47"/>
                      </a:lnTo>
                      <a:lnTo>
                        <a:pt x="82" y="41"/>
                      </a:lnTo>
                      <a:lnTo>
                        <a:pt x="86" y="36"/>
                      </a:lnTo>
                      <a:lnTo>
                        <a:pt x="96" y="27"/>
                      </a:lnTo>
                      <a:lnTo>
                        <a:pt x="98" y="25"/>
                      </a:lnTo>
                      <a:lnTo>
                        <a:pt x="98" y="22"/>
                      </a:lnTo>
                      <a:lnTo>
                        <a:pt x="99" y="15"/>
                      </a:lnTo>
                      <a:lnTo>
                        <a:pt x="100" y="11"/>
                      </a:lnTo>
                      <a:lnTo>
                        <a:pt x="103" y="9"/>
                      </a:lnTo>
                      <a:lnTo>
                        <a:pt x="110" y="3"/>
                      </a:lnTo>
                      <a:lnTo>
                        <a:pt x="114" y="1"/>
                      </a:lnTo>
                      <a:lnTo>
                        <a:pt x="117" y="0"/>
                      </a:lnTo>
                      <a:lnTo>
                        <a:pt x="118" y="1"/>
                      </a:lnTo>
                      <a:lnTo>
                        <a:pt x="118" y="3"/>
                      </a:lnTo>
                      <a:lnTo>
                        <a:pt x="115" y="4"/>
                      </a:lnTo>
                      <a:lnTo>
                        <a:pt x="114" y="6"/>
                      </a:lnTo>
                      <a:lnTo>
                        <a:pt x="112" y="7"/>
                      </a:lnTo>
                      <a:lnTo>
                        <a:pt x="112" y="8"/>
                      </a:lnTo>
                      <a:lnTo>
                        <a:pt x="114" y="13"/>
                      </a:lnTo>
                      <a:lnTo>
                        <a:pt x="114" y="16"/>
                      </a:lnTo>
                      <a:lnTo>
                        <a:pt x="115" y="19"/>
                      </a:lnTo>
                      <a:lnTo>
                        <a:pt x="119" y="17"/>
                      </a:lnTo>
                      <a:lnTo>
                        <a:pt x="122" y="16"/>
                      </a:lnTo>
                      <a:lnTo>
                        <a:pt x="124" y="14"/>
                      </a:lnTo>
                      <a:lnTo>
                        <a:pt x="128" y="13"/>
                      </a:lnTo>
                      <a:lnTo>
                        <a:pt x="131" y="13"/>
                      </a:lnTo>
                      <a:lnTo>
                        <a:pt x="134" y="14"/>
                      </a:lnTo>
                      <a:lnTo>
                        <a:pt x="137" y="16"/>
                      </a:lnTo>
                      <a:lnTo>
                        <a:pt x="137" y="17"/>
                      </a:lnTo>
                      <a:lnTo>
                        <a:pt x="137" y="19"/>
                      </a:lnTo>
                      <a:lnTo>
                        <a:pt x="137" y="22"/>
                      </a:lnTo>
                      <a:lnTo>
                        <a:pt x="137" y="25"/>
                      </a:lnTo>
                      <a:lnTo>
                        <a:pt x="136" y="2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3" name="Freeform 268"/>
                <p:cNvSpPr>
                  <a:spLocks/>
                </p:cNvSpPr>
                <p:nvPr/>
              </p:nvSpPr>
              <p:spPr bwMode="auto">
                <a:xfrm>
                  <a:off x="8680453" y="5632076"/>
                  <a:ext cx="145027" cy="226421"/>
                </a:xfrm>
                <a:custGeom>
                  <a:avLst/>
                  <a:gdLst>
                    <a:gd name="T0" fmla="*/ 2147483647 w 106"/>
                    <a:gd name="T1" fmla="*/ 2147483647 h 153"/>
                    <a:gd name="T2" fmla="*/ 2147483647 w 106"/>
                    <a:gd name="T3" fmla="*/ 2147483647 h 153"/>
                    <a:gd name="T4" fmla="*/ 2147483647 w 106"/>
                    <a:gd name="T5" fmla="*/ 2147483647 h 153"/>
                    <a:gd name="T6" fmla="*/ 2147483647 w 106"/>
                    <a:gd name="T7" fmla="*/ 2147483647 h 153"/>
                    <a:gd name="T8" fmla="*/ 2147483647 w 106"/>
                    <a:gd name="T9" fmla="*/ 2147483647 h 153"/>
                    <a:gd name="T10" fmla="*/ 2147483647 w 106"/>
                    <a:gd name="T11" fmla="*/ 2147483647 h 153"/>
                    <a:gd name="T12" fmla="*/ 2147483647 w 106"/>
                    <a:gd name="T13" fmla="*/ 2147483647 h 153"/>
                    <a:gd name="T14" fmla="*/ 2147483647 w 106"/>
                    <a:gd name="T15" fmla="*/ 2147483647 h 153"/>
                    <a:gd name="T16" fmla="*/ 2147483647 w 106"/>
                    <a:gd name="T17" fmla="*/ 2147483647 h 153"/>
                    <a:gd name="T18" fmla="*/ 2147483647 w 106"/>
                    <a:gd name="T19" fmla="*/ 2147483647 h 153"/>
                    <a:gd name="T20" fmla="*/ 2147483647 w 106"/>
                    <a:gd name="T21" fmla="*/ 2147483647 h 153"/>
                    <a:gd name="T22" fmla="*/ 2147483647 w 106"/>
                    <a:gd name="T23" fmla="*/ 2147483647 h 153"/>
                    <a:gd name="T24" fmla="*/ 2147483647 w 106"/>
                    <a:gd name="T25" fmla="*/ 2147483647 h 153"/>
                    <a:gd name="T26" fmla="*/ 2147483647 w 106"/>
                    <a:gd name="T27" fmla="*/ 2147483647 h 153"/>
                    <a:gd name="T28" fmla="*/ 2147483647 w 106"/>
                    <a:gd name="T29" fmla="*/ 2147483647 h 153"/>
                    <a:gd name="T30" fmla="*/ 2147483647 w 106"/>
                    <a:gd name="T31" fmla="*/ 2147483647 h 153"/>
                    <a:gd name="T32" fmla="*/ 2147483647 w 106"/>
                    <a:gd name="T33" fmla="*/ 2147483647 h 153"/>
                    <a:gd name="T34" fmla="*/ 2147483647 w 106"/>
                    <a:gd name="T35" fmla="*/ 2147483647 h 153"/>
                    <a:gd name="T36" fmla="*/ 2147483647 w 106"/>
                    <a:gd name="T37" fmla="*/ 2147483647 h 153"/>
                    <a:gd name="T38" fmla="*/ 2147483647 w 106"/>
                    <a:gd name="T39" fmla="*/ 2147483647 h 153"/>
                    <a:gd name="T40" fmla="*/ 2147483647 w 106"/>
                    <a:gd name="T41" fmla="*/ 2147483647 h 153"/>
                    <a:gd name="T42" fmla="*/ 2147483647 w 106"/>
                    <a:gd name="T43" fmla="*/ 0 h 153"/>
                    <a:gd name="T44" fmla="*/ 0 w 106"/>
                    <a:gd name="T45" fmla="*/ 2147483647 h 153"/>
                    <a:gd name="T46" fmla="*/ 2147483647 w 106"/>
                    <a:gd name="T47" fmla="*/ 2147483647 h 153"/>
                    <a:gd name="T48" fmla="*/ 2147483647 w 106"/>
                    <a:gd name="T49" fmla="*/ 2147483647 h 153"/>
                    <a:gd name="T50" fmla="*/ 2147483647 w 106"/>
                    <a:gd name="T51" fmla="*/ 2147483647 h 153"/>
                    <a:gd name="T52" fmla="*/ 2147483647 w 106"/>
                    <a:gd name="T53" fmla="*/ 2147483647 h 153"/>
                    <a:gd name="T54" fmla="*/ 2147483647 w 106"/>
                    <a:gd name="T55" fmla="*/ 2147483647 h 153"/>
                    <a:gd name="T56" fmla="*/ 2147483647 w 106"/>
                    <a:gd name="T57" fmla="*/ 2147483647 h 153"/>
                    <a:gd name="T58" fmla="*/ 2147483647 w 106"/>
                    <a:gd name="T59" fmla="*/ 2147483647 h 153"/>
                    <a:gd name="T60" fmla="*/ 2147483647 w 106"/>
                    <a:gd name="T61" fmla="*/ 2147483647 h 153"/>
                    <a:gd name="T62" fmla="*/ 2147483647 w 106"/>
                    <a:gd name="T63" fmla="*/ 2147483647 h 153"/>
                    <a:gd name="T64" fmla="*/ 2147483647 w 106"/>
                    <a:gd name="T65" fmla="*/ 2147483647 h 153"/>
                    <a:gd name="T66" fmla="*/ 2147483647 w 106"/>
                    <a:gd name="T67" fmla="*/ 2147483647 h 153"/>
                    <a:gd name="T68" fmla="*/ 2147483647 w 106"/>
                    <a:gd name="T69" fmla="*/ 2147483647 h 153"/>
                    <a:gd name="T70" fmla="*/ 2147483647 w 106"/>
                    <a:gd name="T71" fmla="*/ 2147483647 h 153"/>
                    <a:gd name="T72" fmla="*/ 2147483647 w 106"/>
                    <a:gd name="T73" fmla="*/ 2147483647 h 153"/>
                    <a:gd name="T74" fmla="*/ 2147483647 w 106"/>
                    <a:gd name="T75" fmla="*/ 2147483647 h 153"/>
                    <a:gd name="T76" fmla="*/ 2147483647 w 106"/>
                    <a:gd name="T77" fmla="*/ 2147483647 h 153"/>
                    <a:gd name="T78" fmla="*/ 2147483647 w 106"/>
                    <a:gd name="T79" fmla="*/ 2147483647 h 153"/>
                    <a:gd name="T80" fmla="*/ 2147483647 w 106"/>
                    <a:gd name="T81" fmla="*/ 2147483647 h 153"/>
                    <a:gd name="T82" fmla="*/ 2147483647 w 106"/>
                    <a:gd name="T83" fmla="*/ 2147483647 h 153"/>
                    <a:gd name="T84" fmla="*/ 2147483647 w 106"/>
                    <a:gd name="T85" fmla="*/ 2147483647 h 153"/>
                    <a:gd name="T86" fmla="*/ 2147483647 w 106"/>
                    <a:gd name="T87" fmla="*/ 2147483647 h 153"/>
                    <a:gd name="T88" fmla="*/ 2147483647 w 106"/>
                    <a:gd name="T89" fmla="*/ 2147483647 h 153"/>
                    <a:gd name="T90" fmla="*/ 2147483647 w 106"/>
                    <a:gd name="T91" fmla="*/ 2147483647 h 153"/>
                    <a:gd name="T92" fmla="*/ 2147483647 w 106"/>
                    <a:gd name="T93" fmla="*/ 2147483647 h 153"/>
                    <a:gd name="T94" fmla="*/ 2147483647 w 106"/>
                    <a:gd name="T95" fmla="*/ 2147483647 h 153"/>
                    <a:gd name="T96" fmla="*/ 2147483647 w 106"/>
                    <a:gd name="T97" fmla="*/ 2147483647 h 153"/>
                    <a:gd name="T98" fmla="*/ 2147483647 w 106"/>
                    <a:gd name="T99" fmla="*/ 2147483647 h 153"/>
                    <a:gd name="T100" fmla="*/ 2147483647 w 106"/>
                    <a:gd name="T101" fmla="*/ 2147483647 h 153"/>
                    <a:gd name="T102" fmla="*/ 2147483647 w 106"/>
                    <a:gd name="T103" fmla="*/ 2147483647 h 153"/>
                    <a:gd name="T104" fmla="*/ 2147483647 w 106"/>
                    <a:gd name="T105" fmla="*/ 2147483647 h 153"/>
                    <a:gd name="T106" fmla="*/ 2147483647 w 106"/>
                    <a:gd name="T107" fmla="*/ 2147483647 h 153"/>
                    <a:gd name="T108" fmla="*/ 2147483647 w 106"/>
                    <a:gd name="T109" fmla="*/ 2147483647 h 153"/>
                    <a:gd name="T110" fmla="*/ 2147483647 w 106"/>
                    <a:gd name="T111" fmla="*/ 2147483647 h 153"/>
                    <a:gd name="T112" fmla="*/ 2147483647 w 106"/>
                    <a:gd name="T113" fmla="*/ 2147483647 h 153"/>
                    <a:gd name="T114" fmla="*/ 2147483647 w 106"/>
                    <a:gd name="T115" fmla="*/ 2147483647 h 153"/>
                    <a:gd name="T116" fmla="*/ 2147483647 w 106"/>
                    <a:gd name="T117" fmla="*/ 2147483647 h 153"/>
                    <a:gd name="T118" fmla="*/ 2147483647 w 106"/>
                    <a:gd name="T119" fmla="*/ 2147483647 h 153"/>
                    <a:gd name="T120" fmla="*/ 2147483647 w 106"/>
                    <a:gd name="T121" fmla="*/ 2147483647 h 1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6"/>
                    <a:gd name="T184" fmla="*/ 0 h 153"/>
                    <a:gd name="T185" fmla="*/ 106 w 106"/>
                    <a:gd name="T186" fmla="*/ 153 h 1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6" h="153">
                      <a:moveTo>
                        <a:pt x="104" y="76"/>
                      </a:moveTo>
                      <a:lnTo>
                        <a:pt x="106" y="75"/>
                      </a:lnTo>
                      <a:lnTo>
                        <a:pt x="106" y="73"/>
                      </a:lnTo>
                      <a:lnTo>
                        <a:pt x="104" y="72"/>
                      </a:lnTo>
                      <a:lnTo>
                        <a:pt x="103" y="71"/>
                      </a:lnTo>
                      <a:lnTo>
                        <a:pt x="97" y="71"/>
                      </a:lnTo>
                      <a:lnTo>
                        <a:pt x="93" y="72"/>
                      </a:lnTo>
                      <a:lnTo>
                        <a:pt x="90" y="73"/>
                      </a:lnTo>
                      <a:lnTo>
                        <a:pt x="88" y="78"/>
                      </a:lnTo>
                      <a:lnTo>
                        <a:pt x="87" y="79"/>
                      </a:lnTo>
                      <a:lnTo>
                        <a:pt x="84" y="80"/>
                      </a:lnTo>
                      <a:lnTo>
                        <a:pt x="78" y="80"/>
                      </a:lnTo>
                      <a:lnTo>
                        <a:pt x="70" y="79"/>
                      </a:lnTo>
                      <a:lnTo>
                        <a:pt x="65" y="77"/>
                      </a:lnTo>
                      <a:lnTo>
                        <a:pt x="63" y="75"/>
                      </a:lnTo>
                      <a:lnTo>
                        <a:pt x="61" y="72"/>
                      </a:lnTo>
                      <a:lnTo>
                        <a:pt x="56" y="61"/>
                      </a:lnTo>
                      <a:lnTo>
                        <a:pt x="50" y="51"/>
                      </a:lnTo>
                      <a:lnTo>
                        <a:pt x="50" y="46"/>
                      </a:lnTo>
                      <a:lnTo>
                        <a:pt x="50" y="44"/>
                      </a:lnTo>
                      <a:lnTo>
                        <a:pt x="49" y="43"/>
                      </a:lnTo>
                      <a:lnTo>
                        <a:pt x="47" y="44"/>
                      </a:lnTo>
                      <a:lnTo>
                        <a:pt x="47" y="45"/>
                      </a:lnTo>
                      <a:lnTo>
                        <a:pt x="46" y="47"/>
                      </a:lnTo>
                      <a:lnTo>
                        <a:pt x="46" y="50"/>
                      </a:lnTo>
                      <a:lnTo>
                        <a:pt x="45" y="50"/>
                      </a:lnTo>
                      <a:lnTo>
                        <a:pt x="43" y="50"/>
                      </a:lnTo>
                      <a:lnTo>
                        <a:pt x="42" y="47"/>
                      </a:lnTo>
                      <a:lnTo>
                        <a:pt x="41" y="43"/>
                      </a:lnTo>
                      <a:lnTo>
                        <a:pt x="40" y="38"/>
                      </a:lnTo>
                      <a:lnTo>
                        <a:pt x="33" y="28"/>
                      </a:lnTo>
                      <a:lnTo>
                        <a:pt x="32" y="26"/>
                      </a:lnTo>
                      <a:lnTo>
                        <a:pt x="32" y="25"/>
                      </a:lnTo>
                      <a:lnTo>
                        <a:pt x="32" y="22"/>
                      </a:lnTo>
                      <a:lnTo>
                        <a:pt x="31" y="21"/>
                      </a:lnTo>
                      <a:lnTo>
                        <a:pt x="28" y="20"/>
                      </a:lnTo>
                      <a:lnTo>
                        <a:pt x="24" y="19"/>
                      </a:lnTo>
                      <a:lnTo>
                        <a:pt x="22" y="18"/>
                      </a:lnTo>
                      <a:lnTo>
                        <a:pt x="19" y="15"/>
                      </a:lnTo>
                      <a:lnTo>
                        <a:pt x="17" y="9"/>
                      </a:lnTo>
                      <a:lnTo>
                        <a:pt x="12" y="3"/>
                      </a:lnTo>
                      <a:lnTo>
                        <a:pt x="10" y="1"/>
                      </a:lnTo>
                      <a:lnTo>
                        <a:pt x="7" y="0"/>
                      </a:lnTo>
                      <a:lnTo>
                        <a:pt x="4" y="0"/>
                      </a:lnTo>
                      <a:lnTo>
                        <a:pt x="0" y="0"/>
                      </a:lnTo>
                      <a:lnTo>
                        <a:pt x="0" y="2"/>
                      </a:lnTo>
                      <a:lnTo>
                        <a:pt x="2" y="5"/>
                      </a:lnTo>
                      <a:lnTo>
                        <a:pt x="8" y="8"/>
                      </a:lnTo>
                      <a:lnTo>
                        <a:pt x="9" y="9"/>
                      </a:lnTo>
                      <a:lnTo>
                        <a:pt x="8" y="12"/>
                      </a:lnTo>
                      <a:lnTo>
                        <a:pt x="8" y="19"/>
                      </a:lnTo>
                      <a:lnTo>
                        <a:pt x="9" y="24"/>
                      </a:lnTo>
                      <a:lnTo>
                        <a:pt x="14" y="28"/>
                      </a:lnTo>
                      <a:lnTo>
                        <a:pt x="18" y="32"/>
                      </a:lnTo>
                      <a:lnTo>
                        <a:pt x="21" y="34"/>
                      </a:lnTo>
                      <a:lnTo>
                        <a:pt x="22" y="33"/>
                      </a:lnTo>
                      <a:lnTo>
                        <a:pt x="23" y="33"/>
                      </a:lnTo>
                      <a:lnTo>
                        <a:pt x="24" y="31"/>
                      </a:lnTo>
                      <a:lnTo>
                        <a:pt x="24" y="29"/>
                      </a:lnTo>
                      <a:lnTo>
                        <a:pt x="26" y="31"/>
                      </a:lnTo>
                      <a:lnTo>
                        <a:pt x="30" y="35"/>
                      </a:lnTo>
                      <a:lnTo>
                        <a:pt x="31" y="38"/>
                      </a:lnTo>
                      <a:lnTo>
                        <a:pt x="32" y="41"/>
                      </a:lnTo>
                      <a:lnTo>
                        <a:pt x="32" y="48"/>
                      </a:lnTo>
                      <a:lnTo>
                        <a:pt x="32" y="56"/>
                      </a:lnTo>
                      <a:lnTo>
                        <a:pt x="32" y="58"/>
                      </a:lnTo>
                      <a:lnTo>
                        <a:pt x="33" y="61"/>
                      </a:lnTo>
                      <a:lnTo>
                        <a:pt x="36" y="66"/>
                      </a:lnTo>
                      <a:lnTo>
                        <a:pt x="37" y="71"/>
                      </a:lnTo>
                      <a:lnTo>
                        <a:pt x="37" y="82"/>
                      </a:lnTo>
                      <a:lnTo>
                        <a:pt x="37" y="85"/>
                      </a:lnTo>
                      <a:lnTo>
                        <a:pt x="37" y="89"/>
                      </a:lnTo>
                      <a:lnTo>
                        <a:pt x="37" y="92"/>
                      </a:lnTo>
                      <a:lnTo>
                        <a:pt x="36" y="95"/>
                      </a:lnTo>
                      <a:lnTo>
                        <a:pt x="33" y="97"/>
                      </a:lnTo>
                      <a:lnTo>
                        <a:pt x="28" y="101"/>
                      </a:lnTo>
                      <a:lnTo>
                        <a:pt x="23" y="103"/>
                      </a:lnTo>
                      <a:lnTo>
                        <a:pt x="22" y="104"/>
                      </a:lnTo>
                      <a:lnTo>
                        <a:pt x="22" y="107"/>
                      </a:lnTo>
                      <a:lnTo>
                        <a:pt x="22" y="109"/>
                      </a:lnTo>
                      <a:lnTo>
                        <a:pt x="23" y="112"/>
                      </a:lnTo>
                      <a:lnTo>
                        <a:pt x="24" y="114"/>
                      </a:lnTo>
                      <a:lnTo>
                        <a:pt x="26" y="114"/>
                      </a:lnTo>
                      <a:lnTo>
                        <a:pt x="28" y="115"/>
                      </a:lnTo>
                      <a:lnTo>
                        <a:pt x="28" y="116"/>
                      </a:lnTo>
                      <a:lnTo>
                        <a:pt x="31" y="118"/>
                      </a:lnTo>
                      <a:lnTo>
                        <a:pt x="37" y="123"/>
                      </a:lnTo>
                      <a:lnTo>
                        <a:pt x="42" y="129"/>
                      </a:lnTo>
                      <a:lnTo>
                        <a:pt x="43" y="131"/>
                      </a:lnTo>
                      <a:lnTo>
                        <a:pt x="43" y="135"/>
                      </a:lnTo>
                      <a:lnTo>
                        <a:pt x="43" y="139"/>
                      </a:lnTo>
                      <a:lnTo>
                        <a:pt x="40" y="143"/>
                      </a:lnTo>
                      <a:lnTo>
                        <a:pt x="40" y="144"/>
                      </a:lnTo>
                      <a:lnTo>
                        <a:pt x="40" y="147"/>
                      </a:lnTo>
                      <a:lnTo>
                        <a:pt x="42" y="150"/>
                      </a:lnTo>
                      <a:lnTo>
                        <a:pt x="47" y="153"/>
                      </a:lnTo>
                      <a:lnTo>
                        <a:pt x="51" y="153"/>
                      </a:lnTo>
                      <a:lnTo>
                        <a:pt x="57" y="150"/>
                      </a:lnTo>
                      <a:lnTo>
                        <a:pt x="63" y="147"/>
                      </a:lnTo>
                      <a:lnTo>
                        <a:pt x="66" y="142"/>
                      </a:lnTo>
                      <a:lnTo>
                        <a:pt x="70" y="137"/>
                      </a:lnTo>
                      <a:lnTo>
                        <a:pt x="77" y="128"/>
                      </a:lnTo>
                      <a:lnTo>
                        <a:pt x="79" y="116"/>
                      </a:lnTo>
                      <a:lnTo>
                        <a:pt x="79" y="110"/>
                      </a:lnTo>
                      <a:lnTo>
                        <a:pt x="79" y="107"/>
                      </a:lnTo>
                      <a:lnTo>
                        <a:pt x="82" y="104"/>
                      </a:lnTo>
                      <a:lnTo>
                        <a:pt x="84" y="104"/>
                      </a:lnTo>
                      <a:lnTo>
                        <a:pt x="87" y="105"/>
                      </a:lnTo>
                      <a:lnTo>
                        <a:pt x="88" y="107"/>
                      </a:lnTo>
                      <a:lnTo>
                        <a:pt x="90" y="107"/>
                      </a:lnTo>
                      <a:lnTo>
                        <a:pt x="92" y="104"/>
                      </a:lnTo>
                      <a:lnTo>
                        <a:pt x="92" y="102"/>
                      </a:lnTo>
                      <a:lnTo>
                        <a:pt x="92" y="99"/>
                      </a:lnTo>
                      <a:lnTo>
                        <a:pt x="93" y="97"/>
                      </a:lnTo>
                      <a:lnTo>
                        <a:pt x="99" y="91"/>
                      </a:lnTo>
                      <a:lnTo>
                        <a:pt x="102" y="88"/>
                      </a:lnTo>
                      <a:lnTo>
                        <a:pt x="103" y="84"/>
                      </a:lnTo>
                      <a:lnTo>
                        <a:pt x="102" y="83"/>
                      </a:lnTo>
                      <a:lnTo>
                        <a:pt x="101" y="82"/>
                      </a:lnTo>
                      <a:lnTo>
                        <a:pt x="99" y="80"/>
                      </a:lnTo>
                      <a:lnTo>
                        <a:pt x="99" y="79"/>
                      </a:lnTo>
                      <a:lnTo>
                        <a:pt x="101" y="77"/>
                      </a:lnTo>
                      <a:lnTo>
                        <a:pt x="104" y="7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4" name="Freeform 269"/>
                <p:cNvSpPr>
                  <a:spLocks/>
                </p:cNvSpPr>
                <p:nvPr/>
              </p:nvSpPr>
              <p:spPr bwMode="auto">
                <a:xfrm>
                  <a:off x="8927590" y="5932488"/>
                  <a:ext cx="16279" cy="28117"/>
                </a:xfrm>
                <a:custGeom>
                  <a:avLst/>
                  <a:gdLst>
                    <a:gd name="T0" fmla="*/ 2147483647 w 12"/>
                    <a:gd name="T1" fmla="*/ 2147483647 h 19"/>
                    <a:gd name="T2" fmla="*/ 2147483647 w 12"/>
                    <a:gd name="T3" fmla="*/ 2147483647 h 19"/>
                    <a:gd name="T4" fmla="*/ 2147483647 w 12"/>
                    <a:gd name="T5" fmla="*/ 2147483647 h 19"/>
                    <a:gd name="T6" fmla="*/ 2147483647 w 12"/>
                    <a:gd name="T7" fmla="*/ 2147483647 h 19"/>
                    <a:gd name="T8" fmla="*/ 2147483647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0 w 12"/>
                    <a:gd name="T19" fmla="*/ 2147483647 h 19"/>
                    <a:gd name="T20" fmla="*/ 2147483647 w 12"/>
                    <a:gd name="T21" fmla="*/ 2147483647 h 19"/>
                    <a:gd name="T22" fmla="*/ 2147483647 w 12"/>
                    <a:gd name="T23" fmla="*/ 2147483647 h 19"/>
                    <a:gd name="T24" fmla="*/ 2147483647 w 12"/>
                    <a:gd name="T25" fmla="*/ 0 h 19"/>
                    <a:gd name="T26" fmla="*/ 2147483647 w 12"/>
                    <a:gd name="T27" fmla="*/ 2147483647 h 19"/>
                    <a:gd name="T28" fmla="*/ 2147483647 w 12"/>
                    <a:gd name="T29" fmla="*/ 2147483647 h 19"/>
                    <a:gd name="T30" fmla="*/ 2147483647 w 12"/>
                    <a:gd name="T31" fmla="*/ 2147483647 h 19"/>
                    <a:gd name="T32" fmla="*/ 2147483647 w 12"/>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9"/>
                    <a:gd name="T53" fmla="*/ 12 w 12"/>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9">
                      <a:moveTo>
                        <a:pt x="11" y="7"/>
                      </a:moveTo>
                      <a:lnTo>
                        <a:pt x="11" y="9"/>
                      </a:lnTo>
                      <a:lnTo>
                        <a:pt x="11" y="10"/>
                      </a:lnTo>
                      <a:lnTo>
                        <a:pt x="12" y="15"/>
                      </a:lnTo>
                      <a:lnTo>
                        <a:pt x="12" y="17"/>
                      </a:lnTo>
                      <a:lnTo>
                        <a:pt x="12" y="19"/>
                      </a:lnTo>
                      <a:lnTo>
                        <a:pt x="10" y="19"/>
                      </a:lnTo>
                      <a:lnTo>
                        <a:pt x="6" y="17"/>
                      </a:lnTo>
                      <a:lnTo>
                        <a:pt x="2" y="13"/>
                      </a:lnTo>
                      <a:lnTo>
                        <a:pt x="0" y="8"/>
                      </a:lnTo>
                      <a:lnTo>
                        <a:pt x="1" y="3"/>
                      </a:lnTo>
                      <a:lnTo>
                        <a:pt x="2" y="1"/>
                      </a:lnTo>
                      <a:lnTo>
                        <a:pt x="5" y="0"/>
                      </a:lnTo>
                      <a:lnTo>
                        <a:pt x="9" y="1"/>
                      </a:lnTo>
                      <a:lnTo>
                        <a:pt x="12" y="3"/>
                      </a:lnTo>
                      <a:lnTo>
                        <a:pt x="12" y="4"/>
                      </a:lnTo>
                      <a:lnTo>
                        <a:pt x="11"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5" name="Freeform 270"/>
                <p:cNvSpPr>
                  <a:spLocks/>
                </p:cNvSpPr>
                <p:nvPr/>
              </p:nvSpPr>
              <p:spPr bwMode="auto">
                <a:xfrm>
                  <a:off x="8678969" y="5630597"/>
                  <a:ext cx="143548" cy="226420"/>
                </a:xfrm>
                <a:custGeom>
                  <a:avLst/>
                  <a:gdLst>
                    <a:gd name="T0" fmla="*/ 2147483647 w 105"/>
                    <a:gd name="T1" fmla="*/ 2147483647 h 153"/>
                    <a:gd name="T2" fmla="*/ 2147483647 w 105"/>
                    <a:gd name="T3" fmla="*/ 2147483647 h 153"/>
                    <a:gd name="T4" fmla="*/ 2147483647 w 105"/>
                    <a:gd name="T5" fmla="*/ 2147483647 h 153"/>
                    <a:gd name="T6" fmla="*/ 2147483647 w 105"/>
                    <a:gd name="T7" fmla="*/ 2147483647 h 153"/>
                    <a:gd name="T8" fmla="*/ 2147483647 w 105"/>
                    <a:gd name="T9" fmla="*/ 2147483647 h 153"/>
                    <a:gd name="T10" fmla="*/ 2147483647 w 105"/>
                    <a:gd name="T11" fmla="*/ 2147483647 h 153"/>
                    <a:gd name="T12" fmla="*/ 2147483647 w 105"/>
                    <a:gd name="T13" fmla="*/ 2147483647 h 153"/>
                    <a:gd name="T14" fmla="*/ 2147483647 w 105"/>
                    <a:gd name="T15" fmla="*/ 2147483647 h 153"/>
                    <a:gd name="T16" fmla="*/ 2147483647 w 105"/>
                    <a:gd name="T17" fmla="*/ 2147483647 h 153"/>
                    <a:gd name="T18" fmla="*/ 2147483647 w 105"/>
                    <a:gd name="T19" fmla="*/ 2147483647 h 153"/>
                    <a:gd name="T20" fmla="*/ 2147483647 w 105"/>
                    <a:gd name="T21" fmla="*/ 2147483647 h 153"/>
                    <a:gd name="T22" fmla="*/ 2147483647 w 105"/>
                    <a:gd name="T23" fmla="*/ 2147483647 h 153"/>
                    <a:gd name="T24" fmla="*/ 2147483647 w 105"/>
                    <a:gd name="T25" fmla="*/ 2147483647 h 153"/>
                    <a:gd name="T26" fmla="*/ 2147483647 w 105"/>
                    <a:gd name="T27" fmla="*/ 2147483647 h 153"/>
                    <a:gd name="T28" fmla="*/ 2147483647 w 105"/>
                    <a:gd name="T29" fmla="*/ 2147483647 h 153"/>
                    <a:gd name="T30" fmla="*/ 2147483647 w 105"/>
                    <a:gd name="T31" fmla="*/ 2147483647 h 153"/>
                    <a:gd name="T32" fmla="*/ 2147483647 w 105"/>
                    <a:gd name="T33" fmla="*/ 2147483647 h 153"/>
                    <a:gd name="T34" fmla="*/ 2147483647 w 105"/>
                    <a:gd name="T35" fmla="*/ 2147483647 h 153"/>
                    <a:gd name="T36" fmla="*/ 0 w 105"/>
                    <a:gd name="T37" fmla="*/ 0 h 153"/>
                    <a:gd name="T38" fmla="*/ 2147483647 w 105"/>
                    <a:gd name="T39" fmla="*/ 2147483647 h 153"/>
                    <a:gd name="T40" fmla="*/ 2147483647 w 105"/>
                    <a:gd name="T41" fmla="*/ 2147483647 h 153"/>
                    <a:gd name="T42" fmla="*/ 2147483647 w 105"/>
                    <a:gd name="T43" fmla="*/ 2147483647 h 153"/>
                    <a:gd name="T44" fmla="*/ 2147483647 w 105"/>
                    <a:gd name="T45" fmla="*/ 2147483647 h 153"/>
                    <a:gd name="T46" fmla="*/ 2147483647 w 105"/>
                    <a:gd name="T47" fmla="*/ 2147483647 h 153"/>
                    <a:gd name="T48" fmla="*/ 2147483647 w 105"/>
                    <a:gd name="T49" fmla="*/ 2147483647 h 153"/>
                    <a:gd name="T50" fmla="*/ 2147483647 w 105"/>
                    <a:gd name="T51" fmla="*/ 2147483647 h 153"/>
                    <a:gd name="T52" fmla="*/ 2147483647 w 105"/>
                    <a:gd name="T53" fmla="*/ 2147483647 h 153"/>
                    <a:gd name="T54" fmla="*/ 2147483647 w 105"/>
                    <a:gd name="T55" fmla="*/ 2147483647 h 153"/>
                    <a:gd name="T56" fmla="*/ 2147483647 w 105"/>
                    <a:gd name="T57" fmla="*/ 2147483647 h 153"/>
                    <a:gd name="T58" fmla="*/ 2147483647 w 105"/>
                    <a:gd name="T59" fmla="*/ 2147483647 h 153"/>
                    <a:gd name="T60" fmla="*/ 2147483647 w 105"/>
                    <a:gd name="T61" fmla="*/ 2147483647 h 153"/>
                    <a:gd name="T62" fmla="*/ 2147483647 w 105"/>
                    <a:gd name="T63" fmla="*/ 2147483647 h 153"/>
                    <a:gd name="T64" fmla="*/ 2147483647 w 105"/>
                    <a:gd name="T65" fmla="*/ 2147483647 h 153"/>
                    <a:gd name="T66" fmla="*/ 2147483647 w 105"/>
                    <a:gd name="T67" fmla="*/ 2147483647 h 153"/>
                    <a:gd name="T68" fmla="*/ 2147483647 w 105"/>
                    <a:gd name="T69" fmla="*/ 2147483647 h 153"/>
                    <a:gd name="T70" fmla="*/ 2147483647 w 105"/>
                    <a:gd name="T71" fmla="*/ 2147483647 h 153"/>
                    <a:gd name="T72" fmla="*/ 2147483647 w 105"/>
                    <a:gd name="T73" fmla="*/ 2147483647 h 153"/>
                    <a:gd name="T74" fmla="*/ 2147483647 w 105"/>
                    <a:gd name="T75" fmla="*/ 2147483647 h 153"/>
                    <a:gd name="T76" fmla="*/ 2147483647 w 105"/>
                    <a:gd name="T77" fmla="*/ 2147483647 h 153"/>
                    <a:gd name="T78" fmla="*/ 2147483647 w 105"/>
                    <a:gd name="T79" fmla="*/ 2147483647 h 153"/>
                    <a:gd name="T80" fmla="*/ 2147483647 w 105"/>
                    <a:gd name="T81" fmla="*/ 2147483647 h 153"/>
                    <a:gd name="T82" fmla="*/ 2147483647 w 105"/>
                    <a:gd name="T83" fmla="*/ 2147483647 h 153"/>
                    <a:gd name="T84" fmla="*/ 2147483647 w 105"/>
                    <a:gd name="T85" fmla="*/ 2147483647 h 153"/>
                    <a:gd name="T86" fmla="*/ 2147483647 w 105"/>
                    <a:gd name="T87" fmla="*/ 2147483647 h 153"/>
                    <a:gd name="T88" fmla="*/ 2147483647 w 105"/>
                    <a:gd name="T89" fmla="*/ 2147483647 h 153"/>
                    <a:gd name="T90" fmla="*/ 2147483647 w 105"/>
                    <a:gd name="T91" fmla="*/ 2147483647 h 153"/>
                    <a:gd name="T92" fmla="*/ 2147483647 w 105"/>
                    <a:gd name="T93" fmla="*/ 2147483647 h 153"/>
                    <a:gd name="T94" fmla="*/ 2147483647 w 105"/>
                    <a:gd name="T95" fmla="*/ 2147483647 h 153"/>
                    <a:gd name="T96" fmla="*/ 2147483647 w 105"/>
                    <a:gd name="T97" fmla="*/ 2147483647 h 153"/>
                    <a:gd name="T98" fmla="*/ 2147483647 w 105"/>
                    <a:gd name="T99" fmla="*/ 2147483647 h 153"/>
                    <a:gd name="T100" fmla="*/ 2147483647 w 105"/>
                    <a:gd name="T101" fmla="*/ 2147483647 h 153"/>
                    <a:gd name="T102" fmla="*/ 2147483647 w 105"/>
                    <a:gd name="T103" fmla="*/ 2147483647 h 1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5"/>
                    <a:gd name="T157" fmla="*/ 0 h 153"/>
                    <a:gd name="T158" fmla="*/ 105 w 105"/>
                    <a:gd name="T159" fmla="*/ 153 h 1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5" h="153">
                      <a:moveTo>
                        <a:pt x="104" y="76"/>
                      </a:moveTo>
                      <a:lnTo>
                        <a:pt x="104" y="76"/>
                      </a:lnTo>
                      <a:lnTo>
                        <a:pt x="105" y="74"/>
                      </a:lnTo>
                      <a:lnTo>
                        <a:pt x="105" y="73"/>
                      </a:lnTo>
                      <a:lnTo>
                        <a:pt x="104" y="72"/>
                      </a:lnTo>
                      <a:lnTo>
                        <a:pt x="103" y="71"/>
                      </a:lnTo>
                      <a:lnTo>
                        <a:pt x="97" y="71"/>
                      </a:lnTo>
                      <a:lnTo>
                        <a:pt x="93" y="72"/>
                      </a:lnTo>
                      <a:lnTo>
                        <a:pt x="90" y="73"/>
                      </a:lnTo>
                      <a:lnTo>
                        <a:pt x="88" y="78"/>
                      </a:lnTo>
                      <a:lnTo>
                        <a:pt x="86" y="79"/>
                      </a:lnTo>
                      <a:lnTo>
                        <a:pt x="84" y="80"/>
                      </a:lnTo>
                      <a:lnTo>
                        <a:pt x="78" y="80"/>
                      </a:lnTo>
                      <a:lnTo>
                        <a:pt x="70" y="79"/>
                      </a:lnTo>
                      <a:lnTo>
                        <a:pt x="65" y="77"/>
                      </a:lnTo>
                      <a:lnTo>
                        <a:pt x="62" y="74"/>
                      </a:lnTo>
                      <a:lnTo>
                        <a:pt x="61" y="72"/>
                      </a:lnTo>
                      <a:lnTo>
                        <a:pt x="56" y="61"/>
                      </a:lnTo>
                      <a:lnTo>
                        <a:pt x="50" y="51"/>
                      </a:lnTo>
                      <a:lnTo>
                        <a:pt x="50" y="46"/>
                      </a:lnTo>
                      <a:lnTo>
                        <a:pt x="50" y="44"/>
                      </a:lnTo>
                      <a:lnTo>
                        <a:pt x="48" y="42"/>
                      </a:lnTo>
                      <a:lnTo>
                        <a:pt x="47" y="44"/>
                      </a:lnTo>
                      <a:lnTo>
                        <a:pt x="47" y="45"/>
                      </a:lnTo>
                      <a:lnTo>
                        <a:pt x="46" y="47"/>
                      </a:lnTo>
                      <a:lnTo>
                        <a:pt x="46" y="49"/>
                      </a:lnTo>
                      <a:lnTo>
                        <a:pt x="44" y="49"/>
                      </a:lnTo>
                      <a:lnTo>
                        <a:pt x="43" y="49"/>
                      </a:lnTo>
                      <a:lnTo>
                        <a:pt x="42" y="47"/>
                      </a:lnTo>
                      <a:lnTo>
                        <a:pt x="41" y="42"/>
                      </a:lnTo>
                      <a:lnTo>
                        <a:pt x="39" y="38"/>
                      </a:lnTo>
                      <a:lnTo>
                        <a:pt x="33" y="28"/>
                      </a:lnTo>
                      <a:lnTo>
                        <a:pt x="32" y="26"/>
                      </a:lnTo>
                      <a:lnTo>
                        <a:pt x="32" y="25"/>
                      </a:lnTo>
                      <a:lnTo>
                        <a:pt x="32" y="22"/>
                      </a:lnTo>
                      <a:lnTo>
                        <a:pt x="31" y="21"/>
                      </a:lnTo>
                      <a:lnTo>
                        <a:pt x="28" y="20"/>
                      </a:lnTo>
                      <a:lnTo>
                        <a:pt x="24" y="19"/>
                      </a:lnTo>
                      <a:lnTo>
                        <a:pt x="22" y="17"/>
                      </a:lnTo>
                      <a:lnTo>
                        <a:pt x="19" y="15"/>
                      </a:lnTo>
                      <a:lnTo>
                        <a:pt x="17" y="9"/>
                      </a:lnTo>
                      <a:lnTo>
                        <a:pt x="11" y="3"/>
                      </a:lnTo>
                      <a:lnTo>
                        <a:pt x="10" y="1"/>
                      </a:lnTo>
                      <a:lnTo>
                        <a:pt x="6" y="0"/>
                      </a:lnTo>
                      <a:lnTo>
                        <a:pt x="4" y="0"/>
                      </a:lnTo>
                      <a:lnTo>
                        <a:pt x="0" y="0"/>
                      </a:lnTo>
                      <a:lnTo>
                        <a:pt x="0" y="2"/>
                      </a:lnTo>
                      <a:lnTo>
                        <a:pt x="1" y="4"/>
                      </a:lnTo>
                      <a:lnTo>
                        <a:pt x="8" y="8"/>
                      </a:lnTo>
                      <a:lnTo>
                        <a:pt x="9" y="9"/>
                      </a:lnTo>
                      <a:lnTo>
                        <a:pt x="8" y="12"/>
                      </a:lnTo>
                      <a:lnTo>
                        <a:pt x="8" y="19"/>
                      </a:lnTo>
                      <a:lnTo>
                        <a:pt x="9" y="23"/>
                      </a:lnTo>
                      <a:lnTo>
                        <a:pt x="14" y="28"/>
                      </a:lnTo>
                      <a:lnTo>
                        <a:pt x="18" y="32"/>
                      </a:lnTo>
                      <a:lnTo>
                        <a:pt x="20" y="34"/>
                      </a:lnTo>
                      <a:lnTo>
                        <a:pt x="22" y="33"/>
                      </a:lnTo>
                      <a:lnTo>
                        <a:pt x="23" y="33"/>
                      </a:lnTo>
                      <a:lnTo>
                        <a:pt x="24" y="30"/>
                      </a:lnTo>
                      <a:lnTo>
                        <a:pt x="24" y="29"/>
                      </a:lnTo>
                      <a:lnTo>
                        <a:pt x="25" y="30"/>
                      </a:lnTo>
                      <a:lnTo>
                        <a:pt x="29" y="35"/>
                      </a:lnTo>
                      <a:lnTo>
                        <a:pt x="31" y="38"/>
                      </a:lnTo>
                      <a:lnTo>
                        <a:pt x="32" y="41"/>
                      </a:lnTo>
                      <a:lnTo>
                        <a:pt x="32" y="48"/>
                      </a:lnTo>
                      <a:lnTo>
                        <a:pt x="32" y="55"/>
                      </a:lnTo>
                      <a:lnTo>
                        <a:pt x="32" y="58"/>
                      </a:lnTo>
                      <a:lnTo>
                        <a:pt x="33" y="61"/>
                      </a:lnTo>
                      <a:lnTo>
                        <a:pt x="36" y="66"/>
                      </a:lnTo>
                      <a:lnTo>
                        <a:pt x="37" y="71"/>
                      </a:lnTo>
                      <a:lnTo>
                        <a:pt x="37" y="81"/>
                      </a:lnTo>
                      <a:lnTo>
                        <a:pt x="37" y="85"/>
                      </a:lnTo>
                      <a:lnTo>
                        <a:pt x="37" y="89"/>
                      </a:lnTo>
                      <a:lnTo>
                        <a:pt x="37" y="92"/>
                      </a:lnTo>
                      <a:lnTo>
                        <a:pt x="36" y="94"/>
                      </a:lnTo>
                      <a:lnTo>
                        <a:pt x="33" y="97"/>
                      </a:lnTo>
                      <a:lnTo>
                        <a:pt x="28" y="100"/>
                      </a:lnTo>
                      <a:lnTo>
                        <a:pt x="23" y="103"/>
                      </a:lnTo>
                      <a:lnTo>
                        <a:pt x="22" y="104"/>
                      </a:lnTo>
                      <a:lnTo>
                        <a:pt x="22" y="106"/>
                      </a:lnTo>
                      <a:lnTo>
                        <a:pt x="22" y="109"/>
                      </a:lnTo>
                      <a:lnTo>
                        <a:pt x="23" y="112"/>
                      </a:lnTo>
                      <a:lnTo>
                        <a:pt x="24" y="113"/>
                      </a:lnTo>
                      <a:lnTo>
                        <a:pt x="25" y="113"/>
                      </a:lnTo>
                      <a:lnTo>
                        <a:pt x="28" y="115"/>
                      </a:lnTo>
                      <a:lnTo>
                        <a:pt x="28" y="116"/>
                      </a:lnTo>
                      <a:lnTo>
                        <a:pt x="31" y="118"/>
                      </a:lnTo>
                      <a:lnTo>
                        <a:pt x="37" y="123"/>
                      </a:lnTo>
                      <a:lnTo>
                        <a:pt x="42" y="129"/>
                      </a:lnTo>
                      <a:lnTo>
                        <a:pt x="43" y="131"/>
                      </a:lnTo>
                      <a:lnTo>
                        <a:pt x="43" y="135"/>
                      </a:lnTo>
                      <a:lnTo>
                        <a:pt x="43" y="138"/>
                      </a:lnTo>
                      <a:lnTo>
                        <a:pt x="39" y="143"/>
                      </a:lnTo>
                      <a:lnTo>
                        <a:pt x="39" y="144"/>
                      </a:lnTo>
                      <a:lnTo>
                        <a:pt x="39" y="147"/>
                      </a:lnTo>
                      <a:lnTo>
                        <a:pt x="42" y="150"/>
                      </a:lnTo>
                      <a:lnTo>
                        <a:pt x="47" y="153"/>
                      </a:lnTo>
                      <a:lnTo>
                        <a:pt x="51" y="153"/>
                      </a:lnTo>
                      <a:lnTo>
                        <a:pt x="57" y="150"/>
                      </a:lnTo>
                      <a:lnTo>
                        <a:pt x="62" y="147"/>
                      </a:lnTo>
                      <a:lnTo>
                        <a:pt x="66" y="142"/>
                      </a:lnTo>
                      <a:lnTo>
                        <a:pt x="70" y="137"/>
                      </a:lnTo>
                      <a:lnTo>
                        <a:pt x="76" y="128"/>
                      </a:lnTo>
                      <a:lnTo>
                        <a:pt x="79" y="116"/>
                      </a:lnTo>
                      <a:lnTo>
                        <a:pt x="79" y="110"/>
                      </a:lnTo>
                      <a:lnTo>
                        <a:pt x="79" y="106"/>
                      </a:lnTo>
                      <a:lnTo>
                        <a:pt x="81" y="104"/>
                      </a:lnTo>
                      <a:lnTo>
                        <a:pt x="84" y="104"/>
                      </a:lnTo>
                      <a:lnTo>
                        <a:pt x="86" y="105"/>
                      </a:lnTo>
                      <a:lnTo>
                        <a:pt x="88" y="106"/>
                      </a:lnTo>
                      <a:lnTo>
                        <a:pt x="90" y="106"/>
                      </a:lnTo>
                      <a:lnTo>
                        <a:pt x="91" y="104"/>
                      </a:lnTo>
                      <a:lnTo>
                        <a:pt x="91" y="102"/>
                      </a:lnTo>
                      <a:lnTo>
                        <a:pt x="91" y="99"/>
                      </a:lnTo>
                      <a:lnTo>
                        <a:pt x="93" y="97"/>
                      </a:lnTo>
                      <a:lnTo>
                        <a:pt x="99" y="91"/>
                      </a:lnTo>
                      <a:lnTo>
                        <a:pt x="102" y="87"/>
                      </a:lnTo>
                      <a:lnTo>
                        <a:pt x="103" y="84"/>
                      </a:lnTo>
                      <a:lnTo>
                        <a:pt x="102" y="83"/>
                      </a:lnTo>
                      <a:lnTo>
                        <a:pt x="100" y="81"/>
                      </a:lnTo>
                      <a:lnTo>
                        <a:pt x="99" y="80"/>
                      </a:lnTo>
                      <a:lnTo>
                        <a:pt x="99" y="79"/>
                      </a:lnTo>
                      <a:lnTo>
                        <a:pt x="100" y="77"/>
                      </a:lnTo>
                      <a:lnTo>
                        <a:pt x="104" y="7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6" name="Freeform 271"/>
                <p:cNvSpPr>
                  <a:spLocks/>
                </p:cNvSpPr>
                <p:nvPr/>
              </p:nvSpPr>
              <p:spPr bwMode="auto">
                <a:xfrm>
                  <a:off x="8924628" y="5929528"/>
                  <a:ext cx="17758" cy="28117"/>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2147483647 h 19"/>
                    <a:gd name="T14" fmla="*/ 2147483647 w 13"/>
                    <a:gd name="T15" fmla="*/ 2147483647 h 19"/>
                    <a:gd name="T16" fmla="*/ 2147483647 w 13"/>
                    <a:gd name="T17" fmla="*/ 2147483647 h 19"/>
                    <a:gd name="T18" fmla="*/ 2147483647 w 13"/>
                    <a:gd name="T19" fmla="*/ 2147483647 h 19"/>
                    <a:gd name="T20" fmla="*/ 2147483647 w 13"/>
                    <a:gd name="T21" fmla="*/ 2147483647 h 19"/>
                    <a:gd name="T22" fmla="*/ 0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0 h 19"/>
                    <a:gd name="T32" fmla="*/ 2147483647 w 13"/>
                    <a:gd name="T33" fmla="*/ 2147483647 h 19"/>
                    <a:gd name="T34" fmla="*/ 2147483647 w 13"/>
                    <a:gd name="T35" fmla="*/ 2147483647 h 19"/>
                    <a:gd name="T36" fmla="*/ 2147483647 w 13"/>
                    <a:gd name="T37" fmla="*/ 2147483647 h 19"/>
                    <a:gd name="T38" fmla="*/ 2147483647 w 13"/>
                    <a:gd name="T39" fmla="*/ 2147483647 h 19"/>
                    <a:gd name="T40" fmla="*/ 2147483647 w 13"/>
                    <a:gd name="T41" fmla="*/ 2147483647 h 19"/>
                    <a:gd name="T42" fmla="*/ 2147483647 w 13"/>
                    <a:gd name="T43" fmla="*/ 2147483647 h 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19"/>
                    <a:gd name="T68" fmla="*/ 13 w 13"/>
                    <a:gd name="T69" fmla="*/ 19 h 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19">
                      <a:moveTo>
                        <a:pt x="12" y="7"/>
                      </a:moveTo>
                      <a:lnTo>
                        <a:pt x="12" y="7"/>
                      </a:lnTo>
                      <a:lnTo>
                        <a:pt x="12" y="10"/>
                      </a:lnTo>
                      <a:lnTo>
                        <a:pt x="12" y="11"/>
                      </a:lnTo>
                      <a:lnTo>
                        <a:pt x="13" y="16"/>
                      </a:lnTo>
                      <a:lnTo>
                        <a:pt x="13" y="18"/>
                      </a:lnTo>
                      <a:lnTo>
                        <a:pt x="13" y="19"/>
                      </a:lnTo>
                      <a:lnTo>
                        <a:pt x="11" y="19"/>
                      </a:lnTo>
                      <a:lnTo>
                        <a:pt x="7" y="18"/>
                      </a:lnTo>
                      <a:lnTo>
                        <a:pt x="3" y="13"/>
                      </a:lnTo>
                      <a:lnTo>
                        <a:pt x="0" y="9"/>
                      </a:lnTo>
                      <a:lnTo>
                        <a:pt x="2" y="4"/>
                      </a:lnTo>
                      <a:lnTo>
                        <a:pt x="3" y="2"/>
                      </a:lnTo>
                      <a:lnTo>
                        <a:pt x="5" y="0"/>
                      </a:lnTo>
                      <a:lnTo>
                        <a:pt x="9" y="2"/>
                      </a:lnTo>
                      <a:lnTo>
                        <a:pt x="13" y="4"/>
                      </a:lnTo>
                      <a:lnTo>
                        <a:pt x="13" y="5"/>
                      </a:lnTo>
                      <a:lnTo>
                        <a:pt x="12"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7" name="Freeform 281"/>
                <p:cNvSpPr>
                  <a:spLocks/>
                </p:cNvSpPr>
                <p:nvPr/>
              </p:nvSpPr>
              <p:spPr bwMode="auto">
                <a:xfrm>
                  <a:off x="6795093" y="4227676"/>
                  <a:ext cx="11839" cy="34037"/>
                </a:xfrm>
                <a:custGeom>
                  <a:avLst/>
                  <a:gdLst>
                    <a:gd name="T0" fmla="*/ 2147483647 w 8"/>
                    <a:gd name="T1" fmla="*/ 2147483647 h 23"/>
                    <a:gd name="T2" fmla="*/ 2147483647 w 8"/>
                    <a:gd name="T3" fmla="*/ 2147483647 h 23"/>
                    <a:gd name="T4" fmla="*/ 2147483647 w 8"/>
                    <a:gd name="T5" fmla="*/ 2147483647 h 23"/>
                    <a:gd name="T6" fmla="*/ 2147483647 w 8"/>
                    <a:gd name="T7" fmla="*/ 2147483647 h 23"/>
                    <a:gd name="T8" fmla="*/ 2147483647 w 8"/>
                    <a:gd name="T9" fmla="*/ 2147483647 h 23"/>
                    <a:gd name="T10" fmla="*/ 2147483647 w 8"/>
                    <a:gd name="T11" fmla="*/ 2147483647 h 23"/>
                    <a:gd name="T12" fmla="*/ 2147483647 w 8"/>
                    <a:gd name="T13" fmla="*/ 2147483647 h 23"/>
                    <a:gd name="T14" fmla="*/ 0 w 8"/>
                    <a:gd name="T15" fmla="*/ 2147483647 h 23"/>
                    <a:gd name="T16" fmla="*/ 2147483647 w 8"/>
                    <a:gd name="T17" fmla="*/ 2147483647 h 23"/>
                    <a:gd name="T18" fmla="*/ 2147483647 w 8"/>
                    <a:gd name="T19" fmla="*/ 2147483647 h 23"/>
                    <a:gd name="T20" fmla="*/ 2147483647 w 8"/>
                    <a:gd name="T21" fmla="*/ 0 h 23"/>
                    <a:gd name="T22" fmla="*/ 2147483647 w 8"/>
                    <a:gd name="T23" fmla="*/ 0 h 23"/>
                    <a:gd name="T24" fmla="*/ 2147483647 w 8"/>
                    <a:gd name="T25" fmla="*/ 2147483647 h 23"/>
                    <a:gd name="T26" fmla="*/ 2147483647 w 8"/>
                    <a:gd name="T27" fmla="*/ 2147483647 h 23"/>
                    <a:gd name="T28" fmla="*/ 2147483647 w 8"/>
                    <a:gd name="T29" fmla="*/ 2147483647 h 23"/>
                    <a:gd name="T30" fmla="*/ 2147483647 w 8"/>
                    <a:gd name="T31" fmla="*/ 2147483647 h 23"/>
                    <a:gd name="T32" fmla="*/ 2147483647 w 8"/>
                    <a:gd name="T33" fmla="*/ 2147483647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23"/>
                    <a:gd name="T53" fmla="*/ 8 w 8"/>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23">
                      <a:moveTo>
                        <a:pt x="6" y="16"/>
                      </a:moveTo>
                      <a:lnTo>
                        <a:pt x="8" y="19"/>
                      </a:lnTo>
                      <a:lnTo>
                        <a:pt x="8" y="22"/>
                      </a:lnTo>
                      <a:lnTo>
                        <a:pt x="6" y="23"/>
                      </a:lnTo>
                      <a:lnTo>
                        <a:pt x="4" y="23"/>
                      </a:lnTo>
                      <a:lnTo>
                        <a:pt x="3" y="22"/>
                      </a:lnTo>
                      <a:lnTo>
                        <a:pt x="1" y="16"/>
                      </a:lnTo>
                      <a:lnTo>
                        <a:pt x="0" y="9"/>
                      </a:lnTo>
                      <a:lnTo>
                        <a:pt x="1" y="3"/>
                      </a:lnTo>
                      <a:lnTo>
                        <a:pt x="3" y="2"/>
                      </a:lnTo>
                      <a:lnTo>
                        <a:pt x="5" y="0"/>
                      </a:lnTo>
                      <a:lnTo>
                        <a:pt x="6" y="0"/>
                      </a:lnTo>
                      <a:lnTo>
                        <a:pt x="8" y="2"/>
                      </a:lnTo>
                      <a:lnTo>
                        <a:pt x="8" y="5"/>
                      </a:lnTo>
                      <a:lnTo>
                        <a:pt x="6" y="11"/>
                      </a:lnTo>
                      <a:lnTo>
                        <a:pt x="5" y="13"/>
                      </a:lnTo>
                      <a:lnTo>
                        <a:pt x="6"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8" name="Freeform 283"/>
                <p:cNvSpPr>
                  <a:spLocks/>
                </p:cNvSpPr>
                <p:nvPr/>
              </p:nvSpPr>
              <p:spPr bwMode="auto">
                <a:xfrm>
                  <a:off x="6793616" y="4226197"/>
                  <a:ext cx="10360" cy="34038"/>
                </a:xfrm>
                <a:custGeom>
                  <a:avLst/>
                  <a:gdLst>
                    <a:gd name="T0" fmla="*/ 2147483647 w 7"/>
                    <a:gd name="T1" fmla="*/ 2147483647 h 23"/>
                    <a:gd name="T2" fmla="*/ 2147483647 w 7"/>
                    <a:gd name="T3" fmla="*/ 2147483647 h 23"/>
                    <a:gd name="T4" fmla="*/ 2147483647 w 7"/>
                    <a:gd name="T5" fmla="*/ 2147483647 h 23"/>
                    <a:gd name="T6" fmla="*/ 2147483647 w 7"/>
                    <a:gd name="T7" fmla="*/ 2147483647 h 23"/>
                    <a:gd name="T8" fmla="*/ 2147483647 w 7"/>
                    <a:gd name="T9" fmla="*/ 2147483647 h 23"/>
                    <a:gd name="T10" fmla="*/ 2147483647 w 7"/>
                    <a:gd name="T11" fmla="*/ 2147483647 h 23"/>
                    <a:gd name="T12" fmla="*/ 2147483647 w 7"/>
                    <a:gd name="T13" fmla="*/ 2147483647 h 23"/>
                    <a:gd name="T14" fmla="*/ 2147483647 w 7"/>
                    <a:gd name="T15" fmla="*/ 2147483647 h 23"/>
                    <a:gd name="T16" fmla="*/ 2147483647 w 7"/>
                    <a:gd name="T17" fmla="*/ 2147483647 h 23"/>
                    <a:gd name="T18" fmla="*/ 2147483647 w 7"/>
                    <a:gd name="T19" fmla="*/ 2147483647 h 23"/>
                    <a:gd name="T20" fmla="*/ 2147483647 w 7"/>
                    <a:gd name="T21" fmla="*/ 2147483647 h 23"/>
                    <a:gd name="T22" fmla="*/ 0 w 7"/>
                    <a:gd name="T23" fmla="*/ 2147483647 h 23"/>
                    <a:gd name="T24" fmla="*/ 2147483647 w 7"/>
                    <a:gd name="T25" fmla="*/ 2147483647 h 23"/>
                    <a:gd name="T26" fmla="*/ 2147483647 w 7"/>
                    <a:gd name="T27" fmla="*/ 2147483647 h 23"/>
                    <a:gd name="T28" fmla="*/ 2147483647 w 7"/>
                    <a:gd name="T29" fmla="*/ 0 h 23"/>
                    <a:gd name="T30" fmla="*/ 2147483647 w 7"/>
                    <a:gd name="T31" fmla="*/ 0 h 23"/>
                    <a:gd name="T32" fmla="*/ 2147483647 w 7"/>
                    <a:gd name="T33" fmla="*/ 0 h 23"/>
                    <a:gd name="T34" fmla="*/ 2147483647 w 7"/>
                    <a:gd name="T35" fmla="*/ 2147483647 h 23"/>
                    <a:gd name="T36" fmla="*/ 2147483647 w 7"/>
                    <a:gd name="T37" fmla="*/ 2147483647 h 23"/>
                    <a:gd name="T38" fmla="*/ 2147483647 w 7"/>
                    <a:gd name="T39" fmla="*/ 2147483647 h 23"/>
                    <a:gd name="T40" fmla="*/ 2147483647 w 7"/>
                    <a:gd name="T41" fmla="*/ 2147483647 h 23"/>
                    <a:gd name="T42" fmla="*/ 2147483647 w 7"/>
                    <a:gd name="T43" fmla="*/ 2147483647 h 23"/>
                    <a:gd name="T44" fmla="*/ 2147483647 w 7"/>
                    <a:gd name="T45" fmla="*/ 2147483647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
                    <a:gd name="T70" fmla="*/ 0 h 23"/>
                    <a:gd name="T71" fmla="*/ 7 w 7"/>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 h="23">
                      <a:moveTo>
                        <a:pt x="6" y="16"/>
                      </a:moveTo>
                      <a:lnTo>
                        <a:pt x="6" y="16"/>
                      </a:lnTo>
                      <a:lnTo>
                        <a:pt x="7" y="19"/>
                      </a:lnTo>
                      <a:lnTo>
                        <a:pt x="7" y="22"/>
                      </a:lnTo>
                      <a:lnTo>
                        <a:pt x="6" y="23"/>
                      </a:lnTo>
                      <a:lnTo>
                        <a:pt x="4" y="23"/>
                      </a:lnTo>
                      <a:lnTo>
                        <a:pt x="2" y="22"/>
                      </a:lnTo>
                      <a:lnTo>
                        <a:pt x="1" y="16"/>
                      </a:lnTo>
                      <a:lnTo>
                        <a:pt x="0" y="8"/>
                      </a:lnTo>
                      <a:lnTo>
                        <a:pt x="1" y="3"/>
                      </a:lnTo>
                      <a:lnTo>
                        <a:pt x="2" y="1"/>
                      </a:lnTo>
                      <a:lnTo>
                        <a:pt x="5" y="0"/>
                      </a:lnTo>
                      <a:lnTo>
                        <a:pt x="6" y="0"/>
                      </a:lnTo>
                      <a:lnTo>
                        <a:pt x="7" y="1"/>
                      </a:lnTo>
                      <a:lnTo>
                        <a:pt x="7" y="5"/>
                      </a:lnTo>
                      <a:lnTo>
                        <a:pt x="6" y="11"/>
                      </a:lnTo>
                      <a:lnTo>
                        <a:pt x="5" y="13"/>
                      </a:lnTo>
                      <a:lnTo>
                        <a:pt x="6"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49" name="Freeform 284"/>
                <p:cNvSpPr>
                  <a:spLocks/>
                </p:cNvSpPr>
                <p:nvPr/>
              </p:nvSpPr>
              <p:spPr bwMode="auto">
                <a:xfrm>
                  <a:off x="6793612" y="4272074"/>
                  <a:ext cx="7400" cy="19238"/>
                </a:xfrm>
                <a:custGeom>
                  <a:avLst/>
                  <a:gdLst>
                    <a:gd name="T0" fmla="*/ 2147483647 w 5"/>
                    <a:gd name="T1" fmla="*/ 2147483647 h 13"/>
                    <a:gd name="T2" fmla="*/ 2147483647 w 5"/>
                    <a:gd name="T3" fmla="*/ 2147483647 h 13"/>
                    <a:gd name="T4" fmla="*/ 2147483647 w 5"/>
                    <a:gd name="T5" fmla="*/ 2147483647 h 13"/>
                    <a:gd name="T6" fmla="*/ 2147483647 w 5"/>
                    <a:gd name="T7" fmla="*/ 2147483647 h 13"/>
                    <a:gd name="T8" fmla="*/ 0 w 5"/>
                    <a:gd name="T9" fmla="*/ 2147483647 h 13"/>
                    <a:gd name="T10" fmla="*/ 0 w 5"/>
                    <a:gd name="T11" fmla="*/ 2147483647 h 13"/>
                    <a:gd name="T12" fmla="*/ 2147483647 w 5"/>
                    <a:gd name="T13" fmla="*/ 2147483647 h 13"/>
                    <a:gd name="T14" fmla="*/ 2147483647 w 5"/>
                    <a:gd name="T15" fmla="*/ 2147483647 h 13"/>
                    <a:gd name="T16" fmla="*/ 2147483647 w 5"/>
                    <a:gd name="T17" fmla="*/ 0 h 13"/>
                    <a:gd name="T18" fmla="*/ 2147483647 w 5"/>
                    <a:gd name="T19" fmla="*/ 2147483647 h 13"/>
                    <a:gd name="T20" fmla="*/ 2147483647 w 5"/>
                    <a:gd name="T21" fmla="*/ 2147483647 h 13"/>
                    <a:gd name="T22" fmla="*/ 2147483647 w 5"/>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13"/>
                    <a:gd name="T38" fmla="*/ 5 w 5"/>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13">
                      <a:moveTo>
                        <a:pt x="5" y="7"/>
                      </a:moveTo>
                      <a:lnTo>
                        <a:pt x="5" y="11"/>
                      </a:lnTo>
                      <a:lnTo>
                        <a:pt x="2" y="13"/>
                      </a:lnTo>
                      <a:lnTo>
                        <a:pt x="1" y="13"/>
                      </a:lnTo>
                      <a:lnTo>
                        <a:pt x="0" y="12"/>
                      </a:lnTo>
                      <a:lnTo>
                        <a:pt x="0" y="5"/>
                      </a:lnTo>
                      <a:lnTo>
                        <a:pt x="1" y="1"/>
                      </a:lnTo>
                      <a:lnTo>
                        <a:pt x="2" y="1"/>
                      </a:lnTo>
                      <a:lnTo>
                        <a:pt x="4" y="0"/>
                      </a:lnTo>
                      <a:lnTo>
                        <a:pt x="5" y="1"/>
                      </a:lnTo>
                      <a:lnTo>
                        <a:pt x="5" y="2"/>
                      </a:lnTo>
                      <a:lnTo>
                        <a:pt x="5"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0" name="Freeform 285"/>
                <p:cNvSpPr>
                  <a:spLocks/>
                </p:cNvSpPr>
                <p:nvPr/>
              </p:nvSpPr>
              <p:spPr bwMode="auto">
                <a:xfrm>
                  <a:off x="6790653" y="4301669"/>
                  <a:ext cx="8879" cy="17758"/>
                </a:xfrm>
                <a:custGeom>
                  <a:avLst/>
                  <a:gdLst>
                    <a:gd name="T0" fmla="*/ 2147483647 w 7"/>
                    <a:gd name="T1" fmla="*/ 2147483647 h 12"/>
                    <a:gd name="T2" fmla="*/ 2147483647 w 7"/>
                    <a:gd name="T3" fmla="*/ 2147483647 h 12"/>
                    <a:gd name="T4" fmla="*/ 2147483647 w 7"/>
                    <a:gd name="T5" fmla="*/ 2147483647 h 12"/>
                    <a:gd name="T6" fmla="*/ 0 w 7"/>
                    <a:gd name="T7" fmla="*/ 2147483647 h 12"/>
                    <a:gd name="T8" fmla="*/ 0 w 7"/>
                    <a:gd name="T9" fmla="*/ 2147483647 h 12"/>
                    <a:gd name="T10" fmla="*/ 2147483647 w 7"/>
                    <a:gd name="T11" fmla="*/ 2147483647 h 12"/>
                    <a:gd name="T12" fmla="*/ 2147483647 w 7"/>
                    <a:gd name="T13" fmla="*/ 0 h 12"/>
                    <a:gd name="T14" fmla="*/ 2147483647 w 7"/>
                    <a:gd name="T15" fmla="*/ 0 h 12"/>
                    <a:gd name="T16" fmla="*/ 2147483647 w 7"/>
                    <a:gd name="T17" fmla="*/ 2147483647 h 12"/>
                    <a:gd name="T18" fmla="*/ 2147483647 w 7"/>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12"/>
                    <a:gd name="T32" fmla="*/ 7 w 7"/>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12">
                      <a:moveTo>
                        <a:pt x="7" y="6"/>
                      </a:moveTo>
                      <a:lnTo>
                        <a:pt x="5" y="10"/>
                      </a:lnTo>
                      <a:lnTo>
                        <a:pt x="3" y="12"/>
                      </a:lnTo>
                      <a:lnTo>
                        <a:pt x="0" y="8"/>
                      </a:lnTo>
                      <a:lnTo>
                        <a:pt x="0" y="6"/>
                      </a:lnTo>
                      <a:lnTo>
                        <a:pt x="1" y="3"/>
                      </a:lnTo>
                      <a:lnTo>
                        <a:pt x="3" y="0"/>
                      </a:lnTo>
                      <a:lnTo>
                        <a:pt x="5" y="0"/>
                      </a:lnTo>
                      <a:lnTo>
                        <a:pt x="7" y="3"/>
                      </a:lnTo>
                      <a:lnTo>
                        <a:pt x="7"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1" name="Freeform 286"/>
                <p:cNvSpPr>
                  <a:spLocks/>
                </p:cNvSpPr>
                <p:nvPr/>
              </p:nvSpPr>
              <p:spPr bwMode="auto">
                <a:xfrm>
                  <a:off x="6790653" y="4270594"/>
                  <a:ext cx="8879" cy="19239"/>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2147483647 w 6"/>
                    <a:gd name="T9" fmla="*/ 2147483647 h 13"/>
                    <a:gd name="T10" fmla="*/ 2147483647 w 6"/>
                    <a:gd name="T11" fmla="*/ 2147483647 h 13"/>
                    <a:gd name="T12" fmla="*/ 0 w 6"/>
                    <a:gd name="T13" fmla="*/ 2147483647 h 13"/>
                    <a:gd name="T14" fmla="*/ 0 w 6"/>
                    <a:gd name="T15" fmla="*/ 2147483647 h 13"/>
                    <a:gd name="T16" fmla="*/ 0 w 6"/>
                    <a:gd name="T17" fmla="*/ 2147483647 h 13"/>
                    <a:gd name="T18" fmla="*/ 2147483647 w 6"/>
                    <a:gd name="T19" fmla="*/ 2147483647 h 13"/>
                    <a:gd name="T20" fmla="*/ 2147483647 w 6"/>
                    <a:gd name="T21" fmla="*/ 2147483647 h 13"/>
                    <a:gd name="T22" fmla="*/ 2147483647 w 6"/>
                    <a:gd name="T23" fmla="*/ 0 h 13"/>
                    <a:gd name="T24" fmla="*/ 2147483647 w 6"/>
                    <a:gd name="T25" fmla="*/ 0 h 13"/>
                    <a:gd name="T26" fmla="*/ 2147483647 w 6"/>
                    <a:gd name="T27" fmla="*/ 2147483647 h 13"/>
                    <a:gd name="T28" fmla="*/ 2147483647 w 6"/>
                    <a:gd name="T29" fmla="*/ 2147483647 h 13"/>
                    <a:gd name="T30" fmla="*/ 2147483647 w 6"/>
                    <a:gd name="T31" fmla="*/ 2147483647 h 13"/>
                    <a:gd name="T32" fmla="*/ 2147483647 w 6"/>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13"/>
                    <a:gd name="T53" fmla="*/ 6 w 6"/>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13">
                      <a:moveTo>
                        <a:pt x="6" y="7"/>
                      </a:moveTo>
                      <a:lnTo>
                        <a:pt x="6" y="7"/>
                      </a:lnTo>
                      <a:lnTo>
                        <a:pt x="6" y="11"/>
                      </a:lnTo>
                      <a:lnTo>
                        <a:pt x="3" y="13"/>
                      </a:lnTo>
                      <a:lnTo>
                        <a:pt x="2" y="13"/>
                      </a:lnTo>
                      <a:lnTo>
                        <a:pt x="0" y="12"/>
                      </a:lnTo>
                      <a:lnTo>
                        <a:pt x="0" y="5"/>
                      </a:lnTo>
                      <a:lnTo>
                        <a:pt x="2" y="1"/>
                      </a:lnTo>
                      <a:lnTo>
                        <a:pt x="3" y="1"/>
                      </a:lnTo>
                      <a:lnTo>
                        <a:pt x="4" y="0"/>
                      </a:lnTo>
                      <a:lnTo>
                        <a:pt x="6" y="1"/>
                      </a:lnTo>
                      <a:lnTo>
                        <a:pt x="6" y="2"/>
                      </a:lnTo>
                      <a:lnTo>
                        <a:pt x="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2" name="Freeform 287"/>
                <p:cNvSpPr>
                  <a:spLocks/>
                </p:cNvSpPr>
                <p:nvPr/>
              </p:nvSpPr>
              <p:spPr bwMode="auto">
                <a:xfrm>
                  <a:off x="6789176" y="4300192"/>
                  <a:ext cx="7399" cy="17758"/>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0 w 6"/>
                    <a:gd name="T11" fmla="*/ 2147483647 h 12"/>
                    <a:gd name="T12" fmla="*/ 0 w 6"/>
                    <a:gd name="T13" fmla="*/ 2147483647 h 12"/>
                    <a:gd name="T14" fmla="*/ 2147483647 w 6"/>
                    <a:gd name="T15" fmla="*/ 2147483647 h 12"/>
                    <a:gd name="T16" fmla="*/ 2147483647 w 6"/>
                    <a:gd name="T17" fmla="*/ 0 h 12"/>
                    <a:gd name="T18" fmla="*/ 2147483647 w 6"/>
                    <a:gd name="T19" fmla="*/ 0 h 12"/>
                    <a:gd name="T20" fmla="*/ 2147483647 w 6"/>
                    <a:gd name="T21" fmla="*/ 0 h 12"/>
                    <a:gd name="T22" fmla="*/ 2147483647 w 6"/>
                    <a:gd name="T23" fmla="*/ 0 h 12"/>
                    <a:gd name="T24" fmla="*/ 2147483647 w 6"/>
                    <a:gd name="T25" fmla="*/ 2147483647 h 12"/>
                    <a:gd name="T26" fmla="*/ 2147483647 w 6"/>
                    <a:gd name="T27" fmla="*/ 2147483647 h 12"/>
                    <a:gd name="T28" fmla="*/ 2147483647 w 6"/>
                    <a:gd name="T29" fmla="*/ 2147483647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12"/>
                    <a:gd name="T47" fmla="*/ 6 w 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12">
                      <a:moveTo>
                        <a:pt x="6" y="6"/>
                      </a:moveTo>
                      <a:lnTo>
                        <a:pt x="6" y="6"/>
                      </a:lnTo>
                      <a:lnTo>
                        <a:pt x="5" y="9"/>
                      </a:lnTo>
                      <a:lnTo>
                        <a:pt x="2" y="12"/>
                      </a:lnTo>
                      <a:lnTo>
                        <a:pt x="0" y="8"/>
                      </a:lnTo>
                      <a:lnTo>
                        <a:pt x="0" y="6"/>
                      </a:lnTo>
                      <a:lnTo>
                        <a:pt x="1" y="2"/>
                      </a:lnTo>
                      <a:lnTo>
                        <a:pt x="2" y="0"/>
                      </a:lnTo>
                      <a:lnTo>
                        <a:pt x="5" y="0"/>
                      </a:lnTo>
                      <a:lnTo>
                        <a:pt x="6" y="2"/>
                      </a:lnTo>
                      <a:lnTo>
                        <a:pt x="6"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3" name="Freeform 288"/>
                <p:cNvSpPr>
                  <a:spLocks/>
                </p:cNvSpPr>
                <p:nvPr/>
              </p:nvSpPr>
              <p:spPr bwMode="auto">
                <a:xfrm>
                  <a:off x="6815811" y="4374182"/>
                  <a:ext cx="5919" cy="11839"/>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0 w 4"/>
                    <a:gd name="T9" fmla="*/ 2147483647 h 8"/>
                    <a:gd name="T10" fmla="*/ 0 w 4"/>
                    <a:gd name="T11" fmla="*/ 2147483647 h 8"/>
                    <a:gd name="T12" fmla="*/ 0 w 4"/>
                    <a:gd name="T13" fmla="*/ 0 h 8"/>
                    <a:gd name="T14" fmla="*/ 2147483647 w 4"/>
                    <a:gd name="T15" fmla="*/ 0 h 8"/>
                    <a:gd name="T16" fmla="*/ 2147483647 w 4"/>
                    <a:gd name="T17" fmla="*/ 2147483647 h 8"/>
                    <a:gd name="T18" fmla="*/ 2147483647 w 4"/>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4" y="5"/>
                      </a:moveTo>
                      <a:lnTo>
                        <a:pt x="4" y="7"/>
                      </a:lnTo>
                      <a:lnTo>
                        <a:pt x="4" y="8"/>
                      </a:lnTo>
                      <a:lnTo>
                        <a:pt x="3" y="7"/>
                      </a:lnTo>
                      <a:lnTo>
                        <a:pt x="0" y="6"/>
                      </a:lnTo>
                      <a:lnTo>
                        <a:pt x="0" y="5"/>
                      </a:lnTo>
                      <a:lnTo>
                        <a:pt x="0" y="0"/>
                      </a:lnTo>
                      <a:lnTo>
                        <a:pt x="2" y="0"/>
                      </a:lnTo>
                      <a:lnTo>
                        <a:pt x="3" y="1"/>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4" name="Freeform 289"/>
                <p:cNvSpPr>
                  <a:spLocks/>
                </p:cNvSpPr>
                <p:nvPr/>
              </p:nvSpPr>
              <p:spPr bwMode="auto">
                <a:xfrm>
                  <a:off x="6820250" y="4411183"/>
                  <a:ext cx="11839" cy="14799"/>
                </a:xfrm>
                <a:custGeom>
                  <a:avLst/>
                  <a:gdLst>
                    <a:gd name="T0" fmla="*/ 2147483647 w 9"/>
                    <a:gd name="T1" fmla="*/ 2147483647 h 10"/>
                    <a:gd name="T2" fmla="*/ 2147483647 w 9"/>
                    <a:gd name="T3" fmla="*/ 2147483647 h 10"/>
                    <a:gd name="T4" fmla="*/ 2147483647 w 9"/>
                    <a:gd name="T5" fmla="*/ 2147483647 h 10"/>
                    <a:gd name="T6" fmla="*/ 2147483647 w 9"/>
                    <a:gd name="T7" fmla="*/ 2147483647 h 10"/>
                    <a:gd name="T8" fmla="*/ 2147483647 w 9"/>
                    <a:gd name="T9" fmla="*/ 2147483647 h 10"/>
                    <a:gd name="T10" fmla="*/ 0 w 9"/>
                    <a:gd name="T11" fmla="*/ 2147483647 h 10"/>
                    <a:gd name="T12" fmla="*/ 0 w 9"/>
                    <a:gd name="T13" fmla="*/ 2147483647 h 10"/>
                    <a:gd name="T14" fmla="*/ 2147483647 w 9"/>
                    <a:gd name="T15" fmla="*/ 2147483647 h 10"/>
                    <a:gd name="T16" fmla="*/ 2147483647 w 9"/>
                    <a:gd name="T17" fmla="*/ 0 h 10"/>
                    <a:gd name="T18" fmla="*/ 2147483647 w 9"/>
                    <a:gd name="T19" fmla="*/ 0 h 10"/>
                    <a:gd name="T20" fmla="*/ 2147483647 w 9"/>
                    <a:gd name="T21" fmla="*/ 2147483647 h 10"/>
                    <a:gd name="T22" fmla="*/ 2147483647 w 9"/>
                    <a:gd name="T23" fmla="*/ 2147483647 h 10"/>
                    <a:gd name="T24" fmla="*/ 2147483647 w 9"/>
                    <a:gd name="T25" fmla="*/ 2147483647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10"/>
                    <a:gd name="T41" fmla="*/ 9 w 9"/>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10">
                      <a:moveTo>
                        <a:pt x="9" y="7"/>
                      </a:moveTo>
                      <a:lnTo>
                        <a:pt x="9" y="9"/>
                      </a:lnTo>
                      <a:lnTo>
                        <a:pt x="7" y="10"/>
                      </a:lnTo>
                      <a:lnTo>
                        <a:pt x="5" y="9"/>
                      </a:lnTo>
                      <a:lnTo>
                        <a:pt x="2" y="9"/>
                      </a:lnTo>
                      <a:lnTo>
                        <a:pt x="0" y="6"/>
                      </a:lnTo>
                      <a:lnTo>
                        <a:pt x="0" y="3"/>
                      </a:lnTo>
                      <a:lnTo>
                        <a:pt x="2" y="1"/>
                      </a:lnTo>
                      <a:lnTo>
                        <a:pt x="4" y="0"/>
                      </a:lnTo>
                      <a:lnTo>
                        <a:pt x="6" y="0"/>
                      </a:lnTo>
                      <a:lnTo>
                        <a:pt x="7" y="1"/>
                      </a:lnTo>
                      <a:lnTo>
                        <a:pt x="7" y="3"/>
                      </a:lnTo>
                      <a:lnTo>
                        <a:pt x="9"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5" name="Freeform 290"/>
                <p:cNvSpPr>
                  <a:spLocks/>
                </p:cNvSpPr>
                <p:nvPr/>
              </p:nvSpPr>
              <p:spPr bwMode="auto">
                <a:xfrm>
                  <a:off x="6814331" y="4372704"/>
                  <a:ext cx="5919" cy="11839"/>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0 w 4"/>
                    <a:gd name="T13" fmla="*/ 2147483647 h 8"/>
                    <a:gd name="T14" fmla="*/ 0 w 4"/>
                    <a:gd name="T15" fmla="*/ 2147483647 h 8"/>
                    <a:gd name="T16" fmla="*/ 0 w 4"/>
                    <a:gd name="T17" fmla="*/ 0 h 8"/>
                    <a:gd name="T18" fmla="*/ 0 w 4"/>
                    <a:gd name="T19" fmla="*/ 0 h 8"/>
                    <a:gd name="T20" fmla="*/ 2147483647 w 4"/>
                    <a:gd name="T21" fmla="*/ 0 h 8"/>
                    <a:gd name="T22" fmla="*/ 2147483647 w 4"/>
                    <a:gd name="T23" fmla="*/ 2147483647 h 8"/>
                    <a:gd name="T24" fmla="*/ 2147483647 w 4"/>
                    <a:gd name="T25" fmla="*/ 2147483647 h 8"/>
                    <a:gd name="T26" fmla="*/ 2147483647 w 4"/>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8"/>
                    <a:gd name="T44" fmla="*/ 4 w 4"/>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8">
                      <a:moveTo>
                        <a:pt x="4" y="4"/>
                      </a:moveTo>
                      <a:lnTo>
                        <a:pt x="4" y="4"/>
                      </a:lnTo>
                      <a:lnTo>
                        <a:pt x="4" y="7"/>
                      </a:lnTo>
                      <a:lnTo>
                        <a:pt x="4" y="8"/>
                      </a:lnTo>
                      <a:lnTo>
                        <a:pt x="3" y="7"/>
                      </a:lnTo>
                      <a:lnTo>
                        <a:pt x="0" y="6"/>
                      </a:lnTo>
                      <a:lnTo>
                        <a:pt x="0" y="4"/>
                      </a:lnTo>
                      <a:lnTo>
                        <a:pt x="0" y="0"/>
                      </a:lnTo>
                      <a:lnTo>
                        <a:pt x="1" y="0"/>
                      </a:lnTo>
                      <a:lnTo>
                        <a:pt x="3" y="1"/>
                      </a:lnTo>
                      <a:lnTo>
                        <a:pt x="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6" name="Freeform 291"/>
                <p:cNvSpPr>
                  <a:spLocks/>
                </p:cNvSpPr>
                <p:nvPr/>
              </p:nvSpPr>
              <p:spPr bwMode="auto">
                <a:xfrm>
                  <a:off x="6818770" y="4408220"/>
                  <a:ext cx="10359" cy="16278"/>
                </a:xfrm>
                <a:custGeom>
                  <a:avLst/>
                  <a:gdLst>
                    <a:gd name="T0" fmla="*/ 2147483647 w 8"/>
                    <a:gd name="T1" fmla="*/ 2147483647 h 11"/>
                    <a:gd name="T2" fmla="*/ 2147483647 w 8"/>
                    <a:gd name="T3" fmla="*/ 2147483647 h 11"/>
                    <a:gd name="T4" fmla="*/ 2147483647 w 8"/>
                    <a:gd name="T5" fmla="*/ 2147483647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0 w 8"/>
                    <a:gd name="T19" fmla="*/ 2147483647 h 11"/>
                    <a:gd name="T20" fmla="*/ 2147483647 w 8"/>
                    <a:gd name="T21" fmla="*/ 2147483647 h 11"/>
                    <a:gd name="T22" fmla="*/ 2147483647 w 8"/>
                    <a:gd name="T23" fmla="*/ 0 h 11"/>
                    <a:gd name="T24" fmla="*/ 2147483647 w 8"/>
                    <a:gd name="T25" fmla="*/ 0 h 11"/>
                    <a:gd name="T26" fmla="*/ 2147483647 w 8"/>
                    <a:gd name="T27" fmla="*/ 0 h 11"/>
                    <a:gd name="T28" fmla="*/ 2147483647 w 8"/>
                    <a:gd name="T29" fmla="*/ 2147483647 h 11"/>
                    <a:gd name="T30" fmla="*/ 2147483647 w 8"/>
                    <a:gd name="T31" fmla="*/ 2147483647 h 11"/>
                    <a:gd name="T32" fmla="*/ 2147483647 w 8"/>
                    <a:gd name="T33" fmla="*/ 2147483647 h 11"/>
                    <a:gd name="T34" fmla="*/ 2147483647 w 8"/>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11"/>
                    <a:gd name="T56" fmla="*/ 8 w 8"/>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11">
                      <a:moveTo>
                        <a:pt x="8" y="8"/>
                      </a:moveTo>
                      <a:lnTo>
                        <a:pt x="8" y="8"/>
                      </a:lnTo>
                      <a:lnTo>
                        <a:pt x="8" y="10"/>
                      </a:lnTo>
                      <a:lnTo>
                        <a:pt x="7" y="11"/>
                      </a:lnTo>
                      <a:lnTo>
                        <a:pt x="5" y="10"/>
                      </a:lnTo>
                      <a:lnTo>
                        <a:pt x="2" y="10"/>
                      </a:lnTo>
                      <a:lnTo>
                        <a:pt x="0" y="6"/>
                      </a:lnTo>
                      <a:lnTo>
                        <a:pt x="0" y="4"/>
                      </a:lnTo>
                      <a:lnTo>
                        <a:pt x="2" y="2"/>
                      </a:lnTo>
                      <a:lnTo>
                        <a:pt x="3" y="0"/>
                      </a:lnTo>
                      <a:lnTo>
                        <a:pt x="6" y="0"/>
                      </a:lnTo>
                      <a:lnTo>
                        <a:pt x="7" y="2"/>
                      </a:lnTo>
                      <a:lnTo>
                        <a:pt x="7" y="4"/>
                      </a:lnTo>
                      <a:lnTo>
                        <a:pt x="8"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7" name="Freeform 292"/>
                <p:cNvSpPr>
                  <a:spLocks/>
                </p:cNvSpPr>
                <p:nvPr/>
              </p:nvSpPr>
              <p:spPr bwMode="auto">
                <a:xfrm>
                  <a:off x="7062950" y="4582846"/>
                  <a:ext cx="13319" cy="10359"/>
                </a:xfrm>
                <a:custGeom>
                  <a:avLst/>
                  <a:gdLst>
                    <a:gd name="T0" fmla="*/ 2147483647 w 10"/>
                    <a:gd name="T1" fmla="*/ 2147483647 h 7"/>
                    <a:gd name="T2" fmla="*/ 2147483647 w 10"/>
                    <a:gd name="T3" fmla="*/ 2147483647 h 7"/>
                    <a:gd name="T4" fmla="*/ 2147483647 w 10"/>
                    <a:gd name="T5" fmla="*/ 2147483647 h 7"/>
                    <a:gd name="T6" fmla="*/ 0 w 10"/>
                    <a:gd name="T7" fmla="*/ 2147483647 h 7"/>
                    <a:gd name="T8" fmla="*/ 0 w 10"/>
                    <a:gd name="T9" fmla="*/ 2147483647 h 7"/>
                    <a:gd name="T10" fmla="*/ 2147483647 w 10"/>
                    <a:gd name="T11" fmla="*/ 2147483647 h 7"/>
                    <a:gd name="T12" fmla="*/ 2147483647 w 10"/>
                    <a:gd name="T13" fmla="*/ 0 h 7"/>
                    <a:gd name="T14" fmla="*/ 2147483647 w 10"/>
                    <a:gd name="T15" fmla="*/ 0 h 7"/>
                    <a:gd name="T16" fmla="*/ 2147483647 w 10"/>
                    <a:gd name="T17" fmla="*/ 2147483647 h 7"/>
                    <a:gd name="T18" fmla="*/ 2147483647 w 10"/>
                    <a:gd name="T19" fmla="*/ 2147483647 h 7"/>
                    <a:gd name="T20" fmla="*/ 2147483647 w 10"/>
                    <a:gd name="T21" fmla="*/ 2147483647 h 7"/>
                    <a:gd name="T22" fmla="*/ 2147483647 w 10"/>
                    <a:gd name="T23" fmla="*/ 214748364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7"/>
                    <a:gd name="T38" fmla="*/ 10 w 10"/>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7">
                      <a:moveTo>
                        <a:pt x="6" y="6"/>
                      </a:moveTo>
                      <a:lnTo>
                        <a:pt x="3" y="7"/>
                      </a:lnTo>
                      <a:lnTo>
                        <a:pt x="2" y="7"/>
                      </a:lnTo>
                      <a:lnTo>
                        <a:pt x="0" y="5"/>
                      </a:lnTo>
                      <a:lnTo>
                        <a:pt x="0" y="2"/>
                      </a:lnTo>
                      <a:lnTo>
                        <a:pt x="1" y="1"/>
                      </a:lnTo>
                      <a:lnTo>
                        <a:pt x="5" y="0"/>
                      </a:lnTo>
                      <a:lnTo>
                        <a:pt x="7" y="0"/>
                      </a:lnTo>
                      <a:lnTo>
                        <a:pt x="8" y="2"/>
                      </a:lnTo>
                      <a:lnTo>
                        <a:pt x="10" y="3"/>
                      </a:lnTo>
                      <a:lnTo>
                        <a:pt x="8" y="5"/>
                      </a:lnTo>
                      <a:lnTo>
                        <a:pt x="6"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8" name="Freeform 294"/>
                <p:cNvSpPr>
                  <a:spLocks/>
                </p:cNvSpPr>
                <p:nvPr/>
              </p:nvSpPr>
              <p:spPr bwMode="auto">
                <a:xfrm>
                  <a:off x="7059990" y="4581365"/>
                  <a:ext cx="14799" cy="10360"/>
                </a:xfrm>
                <a:custGeom>
                  <a:avLst/>
                  <a:gdLst>
                    <a:gd name="T0" fmla="*/ 2147483647 w 10"/>
                    <a:gd name="T1" fmla="*/ 2147483647 h 7"/>
                    <a:gd name="T2" fmla="*/ 2147483647 w 10"/>
                    <a:gd name="T3" fmla="*/ 2147483647 h 7"/>
                    <a:gd name="T4" fmla="*/ 2147483647 w 10"/>
                    <a:gd name="T5" fmla="*/ 2147483647 h 7"/>
                    <a:gd name="T6" fmla="*/ 2147483647 w 10"/>
                    <a:gd name="T7" fmla="*/ 2147483647 h 7"/>
                    <a:gd name="T8" fmla="*/ 2147483647 w 10"/>
                    <a:gd name="T9" fmla="*/ 2147483647 h 7"/>
                    <a:gd name="T10" fmla="*/ 0 w 10"/>
                    <a:gd name="T11" fmla="*/ 2147483647 h 7"/>
                    <a:gd name="T12" fmla="*/ 0 w 10"/>
                    <a:gd name="T13" fmla="*/ 2147483647 h 7"/>
                    <a:gd name="T14" fmla="*/ 2147483647 w 10"/>
                    <a:gd name="T15" fmla="*/ 2147483647 h 7"/>
                    <a:gd name="T16" fmla="*/ 2147483647 w 10"/>
                    <a:gd name="T17" fmla="*/ 2147483647 h 7"/>
                    <a:gd name="T18" fmla="*/ 2147483647 w 10"/>
                    <a:gd name="T19" fmla="*/ 0 h 7"/>
                    <a:gd name="T20" fmla="*/ 2147483647 w 10"/>
                    <a:gd name="T21" fmla="*/ 0 h 7"/>
                    <a:gd name="T22" fmla="*/ 2147483647 w 10"/>
                    <a:gd name="T23" fmla="*/ 2147483647 h 7"/>
                    <a:gd name="T24" fmla="*/ 2147483647 w 10"/>
                    <a:gd name="T25" fmla="*/ 2147483647 h 7"/>
                    <a:gd name="T26" fmla="*/ 2147483647 w 10"/>
                    <a:gd name="T27" fmla="*/ 2147483647 h 7"/>
                    <a:gd name="T28" fmla="*/ 2147483647 w 10"/>
                    <a:gd name="T29" fmla="*/ 2147483647 h 7"/>
                    <a:gd name="T30" fmla="*/ 2147483647 w 10"/>
                    <a:gd name="T31" fmla="*/ 2147483647 h 7"/>
                    <a:gd name="T32" fmla="*/ 2147483647 w 10"/>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7"/>
                    <a:gd name="T53" fmla="*/ 10 w 10"/>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7">
                      <a:moveTo>
                        <a:pt x="7" y="6"/>
                      </a:moveTo>
                      <a:lnTo>
                        <a:pt x="7" y="6"/>
                      </a:lnTo>
                      <a:lnTo>
                        <a:pt x="4" y="7"/>
                      </a:lnTo>
                      <a:lnTo>
                        <a:pt x="3" y="7"/>
                      </a:lnTo>
                      <a:lnTo>
                        <a:pt x="0" y="4"/>
                      </a:lnTo>
                      <a:lnTo>
                        <a:pt x="0" y="2"/>
                      </a:lnTo>
                      <a:lnTo>
                        <a:pt x="2" y="1"/>
                      </a:lnTo>
                      <a:lnTo>
                        <a:pt x="5" y="0"/>
                      </a:lnTo>
                      <a:lnTo>
                        <a:pt x="8" y="0"/>
                      </a:lnTo>
                      <a:lnTo>
                        <a:pt x="9" y="2"/>
                      </a:lnTo>
                      <a:lnTo>
                        <a:pt x="10" y="3"/>
                      </a:lnTo>
                      <a:lnTo>
                        <a:pt x="9" y="4"/>
                      </a:lnTo>
                      <a:lnTo>
                        <a:pt x="7"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59" name="Freeform 325"/>
                <p:cNvSpPr>
                  <a:spLocks/>
                </p:cNvSpPr>
                <p:nvPr/>
              </p:nvSpPr>
              <p:spPr bwMode="auto">
                <a:xfrm>
                  <a:off x="7822127" y="5014968"/>
                  <a:ext cx="13318" cy="11839"/>
                </a:xfrm>
                <a:custGeom>
                  <a:avLst/>
                  <a:gdLst>
                    <a:gd name="T0" fmla="*/ 2147483647 w 9"/>
                    <a:gd name="T1" fmla="*/ 2147483647 h 8"/>
                    <a:gd name="T2" fmla="*/ 2147483647 w 9"/>
                    <a:gd name="T3" fmla="*/ 2147483647 h 8"/>
                    <a:gd name="T4" fmla="*/ 2147483647 w 9"/>
                    <a:gd name="T5" fmla="*/ 2147483647 h 8"/>
                    <a:gd name="T6" fmla="*/ 2147483647 w 9"/>
                    <a:gd name="T7" fmla="*/ 2147483647 h 8"/>
                    <a:gd name="T8" fmla="*/ 2147483647 w 9"/>
                    <a:gd name="T9" fmla="*/ 2147483647 h 8"/>
                    <a:gd name="T10" fmla="*/ 2147483647 w 9"/>
                    <a:gd name="T11" fmla="*/ 2147483647 h 8"/>
                    <a:gd name="T12" fmla="*/ 0 w 9"/>
                    <a:gd name="T13" fmla="*/ 2147483647 h 8"/>
                    <a:gd name="T14" fmla="*/ 0 w 9"/>
                    <a:gd name="T15" fmla="*/ 2147483647 h 8"/>
                    <a:gd name="T16" fmla="*/ 2147483647 w 9"/>
                    <a:gd name="T17" fmla="*/ 2147483647 h 8"/>
                    <a:gd name="T18" fmla="*/ 2147483647 w 9"/>
                    <a:gd name="T19" fmla="*/ 0 h 8"/>
                    <a:gd name="T20" fmla="*/ 2147483647 w 9"/>
                    <a:gd name="T21" fmla="*/ 0 h 8"/>
                    <a:gd name="T22" fmla="*/ 2147483647 w 9"/>
                    <a:gd name="T23" fmla="*/ 2147483647 h 8"/>
                    <a:gd name="T24" fmla="*/ 2147483647 w 9"/>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8"/>
                    <a:gd name="T41" fmla="*/ 9 w 9"/>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8">
                      <a:moveTo>
                        <a:pt x="9" y="4"/>
                      </a:moveTo>
                      <a:lnTo>
                        <a:pt x="9" y="7"/>
                      </a:lnTo>
                      <a:lnTo>
                        <a:pt x="9" y="8"/>
                      </a:lnTo>
                      <a:lnTo>
                        <a:pt x="7" y="8"/>
                      </a:lnTo>
                      <a:lnTo>
                        <a:pt x="4" y="8"/>
                      </a:lnTo>
                      <a:lnTo>
                        <a:pt x="1" y="7"/>
                      </a:lnTo>
                      <a:lnTo>
                        <a:pt x="0" y="5"/>
                      </a:lnTo>
                      <a:lnTo>
                        <a:pt x="0" y="3"/>
                      </a:lnTo>
                      <a:lnTo>
                        <a:pt x="1" y="2"/>
                      </a:lnTo>
                      <a:lnTo>
                        <a:pt x="5" y="0"/>
                      </a:lnTo>
                      <a:lnTo>
                        <a:pt x="6" y="0"/>
                      </a:lnTo>
                      <a:lnTo>
                        <a:pt x="7" y="1"/>
                      </a:lnTo>
                      <a:lnTo>
                        <a:pt x="9"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0" name="Freeform 327"/>
                <p:cNvSpPr>
                  <a:spLocks/>
                </p:cNvSpPr>
                <p:nvPr/>
              </p:nvSpPr>
              <p:spPr bwMode="auto">
                <a:xfrm>
                  <a:off x="7820644" y="5012008"/>
                  <a:ext cx="11839" cy="13319"/>
                </a:xfrm>
                <a:custGeom>
                  <a:avLst/>
                  <a:gdLst>
                    <a:gd name="T0" fmla="*/ 2147483647 w 9"/>
                    <a:gd name="T1" fmla="*/ 2147483647 h 9"/>
                    <a:gd name="T2" fmla="*/ 2147483647 w 9"/>
                    <a:gd name="T3" fmla="*/ 2147483647 h 9"/>
                    <a:gd name="T4" fmla="*/ 2147483647 w 9"/>
                    <a:gd name="T5" fmla="*/ 2147483647 h 9"/>
                    <a:gd name="T6" fmla="*/ 2147483647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0 w 9"/>
                    <a:gd name="T17" fmla="*/ 2147483647 h 9"/>
                    <a:gd name="T18" fmla="*/ 0 w 9"/>
                    <a:gd name="T19" fmla="*/ 2147483647 h 9"/>
                    <a:gd name="T20" fmla="*/ 0 w 9"/>
                    <a:gd name="T21" fmla="*/ 2147483647 h 9"/>
                    <a:gd name="T22" fmla="*/ 2147483647 w 9"/>
                    <a:gd name="T23" fmla="*/ 2147483647 h 9"/>
                    <a:gd name="T24" fmla="*/ 2147483647 w 9"/>
                    <a:gd name="T25" fmla="*/ 0 h 9"/>
                    <a:gd name="T26" fmla="*/ 2147483647 w 9"/>
                    <a:gd name="T27" fmla="*/ 0 h 9"/>
                    <a:gd name="T28" fmla="*/ 2147483647 w 9"/>
                    <a:gd name="T29" fmla="*/ 0 h 9"/>
                    <a:gd name="T30" fmla="*/ 2147483647 w 9"/>
                    <a:gd name="T31" fmla="*/ 2147483647 h 9"/>
                    <a:gd name="T32" fmla="*/ 2147483647 w 9"/>
                    <a:gd name="T33" fmla="*/ 2147483647 h 9"/>
                    <a:gd name="T34" fmla="*/ 2147483647 w 9"/>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9"/>
                    <a:gd name="T56" fmla="*/ 9 w 9"/>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9">
                      <a:moveTo>
                        <a:pt x="9" y="5"/>
                      </a:moveTo>
                      <a:lnTo>
                        <a:pt x="9" y="5"/>
                      </a:lnTo>
                      <a:lnTo>
                        <a:pt x="9" y="7"/>
                      </a:lnTo>
                      <a:lnTo>
                        <a:pt x="9" y="9"/>
                      </a:lnTo>
                      <a:lnTo>
                        <a:pt x="8" y="9"/>
                      </a:lnTo>
                      <a:lnTo>
                        <a:pt x="4" y="9"/>
                      </a:lnTo>
                      <a:lnTo>
                        <a:pt x="2" y="7"/>
                      </a:lnTo>
                      <a:lnTo>
                        <a:pt x="0" y="6"/>
                      </a:lnTo>
                      <a:lnTo>
                        <a:pt x="0" y="4"/>
                      </a:lnTo>
                      <a:lnTo>
                        <a:pt x="2" y="3"/>
                      </a:lnTo>
                      <a:lnTo>
                        <a:pt x="6" y="0"/>
                      </a:lnTo>
                      <a:lnTo>
                        <a:pt x="7" y="0"/>
                      </a:lnTo>
                      <a:lnTo>
                        <a:pt x="8" y="2"/>
                      </a:lnTo>
                      <a:lnTo>
                        <a:pt x="9"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1" name="Freeform 328"/>
                <p:cNvSpPr>
                  <a:spLocks/>
                </p:cNvSpPr>
                <p:nvPr/>
              </p:nvSpPr>
              <p:spPr bwMode="auto">
                <a:xfrm>
                  <a:off x="7668220" y="4936534"/>
                  <a:ext cx="38477" cy="23678"/>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2147483647 w 28"/>
                    <a:gd name="T13" fmla="*/ 2147483647 h 16"/>
                    <a:gd name="T14" fmla="*/ 2147483647 w 28"/>
                    <a:gd name="T15" fmla="*/ 2147483647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w 28"/>
                    <a:gd name="T25" fmla="*/ 2147483647 h 16"/>
                    <a:gd name="T26" fmla="*/ 0 w 28"/>
                    <a:gd name="T27" fmla="*/ 2147483647 h 16"/>
                    <a:gd name="T28" fmla="*/ 2147483647 w 28"/>
                    <a:gd name="T29" fmla="*/ 2147483647 h 16"/>
                    <a:gd name="T30" fmla="*/ 2147483647 w 28"/>
                    <a:gd name="T31" fmla="*/ 2147483647 h 16"/>
                    <a:gd name="T32" fmla="*/ 2147483647 w 28"/>
                    <a:gd name="T33" fmla="*/ 2147483647 h 16"/>
                    <a:gd name="T34" fmla="*/ 2147483647 w 28"/>
                    <a:gd name="T35" fmla="*/ 0 h 16"/>
                    <a:gd name="T36" fmla="*/ 2147483647 w 28"/>
                    <a:gd name="T37" fmla="*/ 0 h 16"/>
                    <a:gd name="T38" fmla="*/ 2147483647 w 28"/>
                    <a:gd name="T39" fmla="*/ 2147483647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
                    <a:gd name="T61" fmla="*/ 0 h 16"/>
                    <a:gd name="T62" fmla="*/ 28 w 28"/>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 h="16">
                      <a:moveTo>
                        <a:pt x="24" y="4"/>
                      </a:moveTo>
                      <a:lnTo>
                        <a:pt x="26" y="5"/>
                      </a:lnTo>
                      <a:lnTo>
                        <a:pt x="28" y="6"/>
                      </a:lnTo>
                      <a:lnTo>
                        <a:pt x="28" y="9"/>
                      </a:lnTo>
                      <a:lnTo>
                        <a:pt x="26" y="10"/>
                      </a:lnTo>
                      <a:lnTo>
                        <a:pt x="23" y="11"/>
                      </a:lnTo>
                      <a:lnTo>
                        <a:pt x="20" y="11"/>
                      </a:lnTo>
                      <a:lnTo>
                        <a:pt x="18" y="11"/>
                      </a:lnTo>
                      <a:lnTo>
                        <a:pt x="14" y="11"/>
                      </a:lnTo>
                      <a:lnTo>
                        <a:pt x="7" y="15"/>
                      </a:lnTo>
                      <a:lnTo>
                        <a:pt x="5" y="16"/>
                      </a:lnTo>
                      <a:lnTo>
                        <a:pt x="2" y="15"/>
                      </a:lnTo>
                      <a:lnTo>
                        <a:pt x="0" y="13"/>
                      </a:lnTo>
                      <a:lnTo>
                        <a:pt x="0" y="10"/>
                      </a:lnTo>
                      <a:lnTo>
                        <a:pt x="1" y="6"/>
                      </a:lnTo>
                      <a:lnTo>
                        <a:pt x="2" y="3"/>
                      </a:lnTo>
                      <a:lnTo>
                        <a:pt x="5" y="2"/>
                      </a:lnTo>
                      <a:lnTo>
                        <a:pt x="7" y="0"/>
                      </a:lnTo>
                      <a:lnTo>
                        <a:pt x="12" y="0"/>
                      </a:lnTo>
                      <a:lnTo>
                        <a:pt x="2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2" name="Freeform 329"/>
                <p:cNvSpPr>
                  <a:spLocks/>
                </p:cNvSpPr>
                <p:nvPr/>
              </p:nvSpPr>
              <p:spPr bwMode="auto">
                <a:xfrm>
                  <a:off x="8013028" y="5837777"/>
                  <a:ext cx="91752" cy="96191"/>
                </a:xfrm>
                <a:custGeom>
                  <a:avLst/>
                  <a:gdLst>
                    <a:gd name="T0" fmla="*/ 2147483647 w 68"/>
                    <a:gd name="T1" fmla="*/ 2147483647 h 65"/>
                    <a:gd name="T2" fmla="*/ 2147483647 w 68"/>
                    <a:gd name="T3" fmla="*/ 2147483647 h 65"/>
                    <a:gd name="T4" fmla="*/ 2147483647 w 68"/>
                    <a:gd name="T5" fmla="*/ 2147483647 h 65"/>
                    <a:gd name="T6" fmla="*/ 2147483647 w 68"/>
                    <a:gd name="T7" fmla="*/ 2147483647 h 65"/>
                    <a:gd name="T8" fmla="*/ 2147483647 w 68"/>
                    <a:gd name="T9" fmla="*/ 2147483647 h 65"/>
                    <a:gd name="T10" fmla="*/ 2147483647 w 68"/>
                    <a:gd name="T11" fmla="*/ 2147483647 h 65"/>
                    <a:gd name="T12" fmla="*/ 2147483647 w 68"/>
                    <a:gd name="T13" fmla="*/ 2147483647 h 65"/>
                    <a:gd name="T14" fmla="*/ 2147483647 w 68"/>
                    <a:gd name="T15" fmla="*/ 2147483647 h 65"/>
                    <a:gd name="T16" fmla="*/ 2147483647 w 68"/>
                    <a:gd name="T17" fmla="*/ 2147483647 h 65"/>
                    <a:gd name="T18" fmla="*/ 2147483647 w 68"/>
                    <a:gd name="T19" fmla="*/ 0 h 65"/>
                    <a:gd name="T20" fmla="*/ 2147483647 w 68"/>
                    <a:gd name="T21" fmla="*/ 0 h 65"/>
                    <a:gd name="T22" fmla="*/ 0 w 68"/>
                    <a:gd name="T23" fmla="*/ 2147483647 h 65"/>
                    <a:gd name="T24" fmla="*/ 0 w 68"/>
                    <a:gd name="T25" fmla="*/ 2147483647 h 65"/>
                    <a:gd name="T26" fmla="*/ 0 w 68"/>
                    <a:gd name="T27" fmla="*/ 2147483647 h 65"/>
                    <a:gd name="T28" fmla="*/ 2147483647 w 68"/>
                    <a:gd name="T29" fmla="*/ 2147483647 h 65"/>
                    <a:gd name="T30" fmla="*/ 2147483647 w 68"/>
                    <a:gd name="T31" fmla="*/ 2147483647 h 65"/>
                    <a:gd name="T32" fmla="*/ 2147483647 w 68"/>
                    <a:gd name="T33" fmla="*/ 2147483647 h 65"/>
                    <a:gd name="T34" fmla="*/ 2147483647 w 68"/>
                    <a:gd name="T35" fmla="*/ 2147483647 h 65"/>
                    <a:gd name="T36" fmla="*/ 2147483647 w 68"/>
                    <a:gd name="T37" fmla="*/ 2147483647 h 65"/>
                    <a:gd name="T38" fmla="*/ 2147483647 w 68"/>
                    <a:gd name="T39" fmla="*/ 2147483647 h 65"/>
                    <a:gd name="T40" fmla="*/ 2147483647 w 68"/>
                    <a:gd name="T41" fmla="*/ 2147483647 h 65"/>
                    <a:gd name="T42" fmla="*/ 2147483647 w 68"/>
                    <a:gd name="T43" fmla="*/ 2147483647 h 65"/>
                    <a:gd name="T44" fmla="*/ 2147483647 w 68"/>
                    <a:gd name="T45" fmla="*/ 2147483647 h 65"/>
                    <a:gd name="T46" fmla="*/ 2147483647 w 68"/>
                    <a:gd name="T47" fmla="*/ 2147483647 h 65"/>
                    <a:gd name="T48" fmla="*/ 2147483647 w 68"/>
                    <a:gd name="T49" fmla="*/ 2147483647 h 65"/>
                    <a:gd name="T50" fmla="*/ 2147483647 w 68"/>
                    <a:gd name="T51" fmla="*/ 2147483647 h 65"/>
                    <a:gd name="T52" fmla="*/ 2147483647 w 68"/>
                    <a:gd name="T53" fmla="*/ 2147483647 h 65"/>
                    <a:gd name="T54" fmla="*/ 2147483647 w 68"/>
                    <a:gd name="T55" fmla="*/ 2147483647 h 65"/>
                    <a:gd name="T56" fmla="*/ 2147483647 w 68"/>
                    <a:gd name="T57" fmla="*/ 2147483647 h 65"/>
                    <a:gd name="T58" fmla="*/ 2147483647 w 68"/>
                    <a:gd name="T59" fmla="*/ 2147483647 h 65"/>
                    <a:gd name="T60" fmla="*/ 2147483647 w 68"/>
                    <a:gd name="T61" fmla="*/ 2147483647 h 65"/>
                    <a:gd name="T62" fmla="*/ 2147483647 w 68"/>
                    <a:gd name="T63" fmla="*/ 2147483647 h 65"/>
                    <a:gd name="T64" fmla="*/ 2147483647 w 68"/>
                    <a:gd name="T65" fmla="*/ 2147483647 h 65"/>
                    <a:gd name="T66" fmla="*/ 2147483647 w 68"/>
                    <a:gd name="T67" fmla="*/ 2147483647 h 65"/>
                    <a:gd name="T68" fmla="*/ 2147483647 w 68"/>
                    <a:gd name="T69" fmla="*/ 2147483647 h 65"/>
                    <a:gd name="T70" fmla="*/ 2147483647 w 68"/>
                    <a:gd name="T71" fmla="*/ 2147483647 h 65"/>
                    <a:gd name="T72" fmla="*/ 2147483647 w 68"/>
                    <a:gd name="T73" fmla="*/ 2147483647 h 65"/>
                    <a:gd name="T74" fmla="*/ 2147483647 w 68"/>
                    <a:gd name="T75" fmla="*/ 2147483647 h 65"/>
                    <a:gd name="T76" fmla="*/ 2147483647 w 68"/>
                    <a:gd name="T77" fmla="*/ 2147483647 h 65"/>
                    <a:gd name="T78" fmla="*/ 2147483647 w 68"/>
                    <a:gd name="T79" fmla="*/ 2147483647 h 65"/>
                    <a:gd name="T80" fmla="*/ 2147483647 w 68"/>
                    <a:gd name="T81" fmla="*/ 2147483647 h 65"/>
                    <a:gd name="T82" fmla="*/ 2147483647 w 68"/>
                    <a:gd name="T83" fmla="*/ 2147483647 h 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8"/>
                    <a:gd name="T127" fmla="*/ 0 h 65"/>
                    <a:gd name="T128" fmla="*/ 68 w 68"/>
                    <a:gd name="T129" fmla="*/ 65 h 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8" h="65">
                      <a:moveTo>
                        <a:pt x="61" y="4"/>
                      </a:moveTo>
                      <a:lnTo>
                        <a:pt x="55" y="5"/>
                      </a:lnTo>
                      <a:lnTo>
                        <a:pt x="50" y="7"/>
                      </a:lnTo>
                      <a:lnTo>
                        <a:pt x="46" y="8"/>
                      </a:lnTo>
                      <a:lnTo>
                        <a:pt x="40" y="11"/>
                      </a:lnTo>
                      <a:lnTo>
                        <a:pt x="35" y="13"/>
                      </a:lnTo>
                      <a:lnTo>
                        <a:pt x="30" y="13"/>
                      </a:lnTo>
                      <a:lnTo>
                        <a:pt x="25" y="11"/>
                      </a:lnTo>
                      <a:lnTo>
                        <a:pt x="16" y="5"/>
                      </a:lnTo>
                      <a:lnTo>
                        <a:pt x="3" y="0"/>
                      </a:lnTo>
                      <a:lnTo>
                        <a:pt x="2" y="0"/>
                      </a:lnTo>
                      <a:lnTo>
                        <a:pt x="0" y="1"/>
                      </a:lnTo>
                      <a:lnTo>
                        <a:pt x="0" y="4"/>
                      </a:lnTo>
                      <a:lnTo>
                        <a:pt x="0" y="9"/>
                      </a:lnTo>
                      <a:lnTo>
                        <a:pt x="2" y="13"/>
                      </a:lnTo>
                      <a:lnTo>
                        <a:pt x="11" y="29"/>
                      </a:lnTo>
                      <a:lnTo>
                        <a:pt x="17" y="46"/>
                      </a:lnTo>
                      <a:lnTo>
                        <a:pt x="19" y="52"/>
                      </a:lnTo>
                      <a:lnTo>
                        <a:pt x="25" y="59"/>
                      </a:lnTo>
                      <a:lnTo>
                        <a:pt x="27" y="61"/>
                      </a:lnTo>
                      <a:lnTo>
                        <a:pt x="30" y="64"/>
                      </a:lnTo>
                      <a:lnTo>
                        <a:pt x="33" y="65"/>
                      </a:lnTo>
                      <a:lnTo>
                        <a:pt x="37" y="65"/>
                      </a:lnTo>
                      <a:lnTo>
                        <a:pt x="40" y="64"/>
                      </a:lnTo>
                      <a:lnTo>
                        <a:pt x="42" y="61"/>
                      </a:lnTo>
                      <a:lnTo>
                        <a:pt x="47" y="55"/>
                      </a:lnTo>
                      <a:lnTo>
                        <a:pt x="52" y="49"/>
                      </a:lnTo>
                      <a:lnTo>
                        <a:pt x="56" y="46"/>
                      </a:lnTo>
                      <a:lnTo>
                        <a:pt x="58" y="46"/>
                      </a:lnTo>
                      <a:lnTo>
                        <a:pt x="59" y="46"/>
                      </a:lnTo>
                      <a:lnTo>
                        <a:pt x="60" y="49"/>
                      </a:lnTo>
                      <a:lnTo>
                        <a:pt x="61" y="52"/>
                      </a:lnTo>
                      <a:lnTo>
                        <a:pt x="63" y="53"/>
                      </a:lnTo>
                      <a:lnTo>
                        <a:pt x="65" y="54"/>
                      </a:lnTo>
                      <a:lnTo>
                        <a:pt x="64" y="47"/>
                      </a:lnTo>
                      <a:lnTo>
                        <a:pt x="63" y="42"/>
                      </a:lnTo>
                      <a:lnTo>
                        <a:pt x="63" y="37"/>
                      </a:lnTo>
                      <a:lnTo>
                        <a:pt x="66" y="24"/>
                      </a:lnTo>
                      <a:lnTo>
                        <a:pt x="68" y="19"/>
                      </a:lnTo>
                      <a:lnTo>
                        <a:pt x="66" y="13"/>
                      </a:lnTo>
                      <a:lnTo>
                        <a:pt x="65" y="8"/>
                      </a:lnTo>
                      <a:lnTo>
                        <a:pt x="61"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3" name="Freeform 330"/>
                <p:cNvSpPr>
                  <a:spLocks/>
                </p:cNvSpPr>
                <p:nvPr/>
              </p:nvSpPr>
              <p:spPr bwMode="auto">
                <a:xfrm>
                  <a:off x="7665261" y="4935054"/>
                  <a:ext cx="38477" cy="23678"/>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2147483647 w 28"/>
                    <a:gd name="T13" fmla="*/ 2147483647 h 16"/>
                    <a:gd name="T14" fmla="*/ 2147483647 w 28"/>
                    <a:gd name="T15" fmla="*/ 2147483647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2147483647 w 28"/>
                    <a:gd name="T25" fmla="*/ 2147483647 h 16"/>
                    <a:gd name="T26" fmla="*/ 2147483647 w 28"/>
                    <a:gd name="T27" fmla="*/ 2147483647 h 16"/>
                    <a:gd name="T28" fmla="*/ 2147483647 w 28"/>
                    <a:gd name="T29" fmla="*/ 2147483647 h 16"/>
                    <a:gd name="T30" fmla="*/ 2147483647 w 28"/>
                    <a:gd name="T31" fmla="*/ 2147483647 h 16"/>
                    <a:gd name="T32" fmla="*/ 0 w 28"/>
                    <a:gd name="T33" fmla="*/ 2147483647 h 16"/>
                    <a:gd name="T34" fmla="*/ 0 w 28"/>
                    <a:gd name="T35" fmla="*/ 2147483647 h 16"/>
                    <a:gd name="T36" fmla="*/ 2147483647 w 28"/>
                    <a:gd name="T37" fmla="*/ 2147483647 h 16"/>
                    <a:gd name="T38" fmla="*/ 2147483647 w 28"/>
                    <a:gd name="T39" fmla="*/ 2147483647 h 16"/>
                    <a:gd name="T40" fmla="*/ 2147483647 w 28"/>
                    <a:gd name="T41" fmla="*/ 2147483647 h 16"/>
                    <a:gd name="T42" fmla="*/ 2147483647 w 28"/>
                    <a:gd name="T43" fmla="*/ 2147483647 h 16"/>
                    <a:gd name="T44" fmla="*/ 2147483647 w 28"/>
                    <a:gd name="T45" fmla="*/ 0 h 16"/>
                    <a:gd name="T46" fmla="*/ 2147483647 w 28"/>
                    <a:gd name="T47" fmla="*/ 0 h 16"/>
                    <a:gd name="T48" fmla="*/ 2147483647 w 28"/>
                    <a:gd name="T49" fmla="*/ 2147483647 h 16"/>
                    <a:gd name="T50" fmla="*/ 2147483647 w 28"/>
                    <a:gd name="T51" fmla="*/ 2147483647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
                    <a:gd name="T79" fmla="*/ 0 h 16"/>
                    <a:gd name="T80" fmla="*/ 28 w 28"/>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 h="16">
                      <a:moveTo>
                        <a:pt x="25" y="4"/>
                      </a:moveTo>
                      <a:lnTo>
                        <a:pt x="25" y="4"/>
                      </a:lnTo>
                      <a:lnTo>
                        <a:pt x="27" y="5"/>
                      </a:lnTo>
                      <a:lnTo>
                        <a:pt x="28" y="6"/>
                      </a:lnTo>
                      <a:lnTo>
                        <a:pt x="28" y="8"/>
                      </a:lnTo>
                      <a:lnTo>
                        <a:pt x="27" y="10"/>
                      </a:lnTo>
                      <a:lnTo>
                        <a:pt x="23" y="11"/>
                      </a:lnTo>
                      <a:lnTo>
                        <a:pt x="21" y="11"/>
                      </a:lnTo>
                      <a:lnTo>
                        <a:pt x="18" y="11"/>
                      </a:lnTo>
                      <a:lnTo>
                        <a:pt x="14" y="11"/>
                      </a:lnTo>
                      <a:lnTo>
                        <a:pt x="8" y="14"/>
                      </a:lnTo>
                      <a:lnTo>
                        <a:pt x="6" y="16"/>
                      </a:lnTo>
                      <a:lnTo>
                        <a:pt x="3" y="14"/>
                      </a:lnTo>
                      <a:lnTo>
                        <a:pt x="0" y="13"/>
                      </a:lnTo>
                      <a:lnTo>
                        <a:pt x="0" y="10"/>
                      </a:lnTo>
                      <a:lnTo>
                        <a:pt x="2" y="6"/>
                      </a:lnTo>
                      <a:lnTo>
                        <a:pt x="3" y="3"/>
                      </a:lnTo>
                      <a:lnTo>
                        <a:pt x="6" y="1"/>
                      </a:lnTo>
                      <a:lnTo>
                        <a:pt x="8" y="0"/>
                      </a:lnTo>
                      <a:lnTo>
                        <a:pt x="13" y="0"/>
                      </a:lnTo>
                      <a:lnTo>
                        <a:pt x="2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4" name="Freeform 331"/>
                <p:cNvSpPr>
                  <a:spLocks/>
                </p:cNvSpPr>
                <p:nvPr/>
              </p:nvSpPr>
              <p:spPr bwMode="auto">
                <a:xfrm>
                  <a:off x="8011548" y="5834820"/>
                  <a:ext cx="91752" cy="97672"/>
                </a:xfrm>
                <a:custGeom>
                  <a:avLst/>
                  <a:gdLst>
                    <a:gd name="T0" fmla="*/ 2147483647 w 67"/>
                    <a:gd name="T1" fmla="*/ 2147483647 h 66"/>
                    <a:gd name="T2" fmla="*/ 2147483647 w 67"/>
                    <a:gd name="T3" fmla="*/ 2147483647 h 66"/>
                    <a:gd name="T4" fmla="*/ 2147483647 w 67"/>
                    <a:gd name="T5" fmla="*/ 2147483647 h 66"/>
                    <a:gd name="T6" fmla="*/ 2147483647 w 67"/>
                    <a:gd name="T7" fmla="*/ 2147483647 h 66"/>
                    <a:gd name="T8" fmla="*/ 2147483647 w 67"/>
                    <a:gd name="T9" fmla="*/ 2147483647 h 66"/>
                    <a:gd name="T10" fmla="*/ 2147483647 w 67"/>
                    <a:gd name="T11" fmla="*/ 2147483647 h 66"/>
                    <a:gd name="T12" fmla="*/ 2147483647 w 67"/>
                    <a:gd name="T13" fmla="*/ 2147483647 h 66"/>
                    <a:gd name="T14" fmla="*/ 2147483647 w 67"/>
                    <a:gd name="T15" fmla="*/ 2147483647 h 66"/>
                    <a:gd name="T16" fmla="*/ 2147483647 w 67"/>
                    <a:gd name="T17" fmla="*/ 2147483647 h 66"/>
                    <a:gd name="T18" fmla="*/ 2147483647 w 67"/>
                    <a:gd name="T19" fmla="*/ 2147483647 h 66"/>
                    <a:gd name="T20" fmla="*/ 2147483647 w 67"/>
                    <a:gd name="T21" fmla="*/ 2147483647 h 66"/>
                    <a:gd name="T22" fmla="*/ 2147483647 w 67"/>
                    <a:gd name="T23" fmla="*/ 0 h 66"/>
                    <a:gd name="T24" fmla="*/ 2147483647 w 67"/>
                    <a:gd name="T25" fmla="*/ 0 h 66"/>
                    <a:gd name="T26" fmla="*/ 2147483647 w 67"/>
                    <a:gd name="T27" fmla="*/ 0 h 66"/>
                    <a:gd name="T28" fmla="*/ 0 w 67"/>
                    <a:gd name="T29" fmla="*/ 2147483647 h 66"/>
                    <a:gd name="T30" fmla="*/ 0 w 67"/>
                    <a:gd name="T31" fmla="*/ 2147483647 h 66"/>
                    <a:gd name="T32" fmla="*/ 0 w 67"/>
                    <a:gd name="T33" fmla="*/ 2147483647 h 66"/>
                    <a:gd name="T34" fmla="*/ 2147483647 w 67"/>
                    <a:gd name="T35" fmla="*/ 2147483647 h 66"/>
                    <a:gd name="T36" fmla="*/ 2147483647 w 67"/>
                    <a:gd name="T37" fmla="*/ 2147483647 h 66"/>
                    <a:gd name="T38" fmla="*/ 2147483647 w 67"/>
                    <a:gd name="T39" fmla="*/ 2147483647 h 66"/>
                    <a:gd name="T40" fmla="*/ 2147483647 w 67"/>
                    <a:gd name="T41" fmla="*/ 2147483647 h 66"/>
                    <a:gd name="T42" fmla="*/ 2147483647 w 67"/>
                    <a:gd name="T43" fmla="*/ 2147483647 h 66"/>
                    <a:gd name="T44" fmla="*/ 2147483647 w 67"/>
                    <a:gd name="T45" fmla="*/ 2147483647 h 66"/>
                    <a:gd name="T46" fmla="*/ 2147483647 w 67"/>
                    <a:gd name="T47" fmla="*/ 2147483647 h 66"/>
                    <a:gd name="T48" fmla="*/ 2147483647 w 67"/>
                    <a:gd name="T49" fmla="*/ 2147483647 h 66"/>
                    <a:gd name="T50" fmla="*/ 2147483647 w 67"/>
                    <a:gd name="T51" fmla="*/ 2147483647 h 66"/>
                    <a:gd name="T52" fmla="*/ 2147483647 w 67"/>
                    <a:gd name="T53" fmla="*/ 2147483647 h 66"/>
                    <a:gd name="T54" fmla="*/ 2147483647 w 67"/>
                    <a:gd name="T55" fmla="*/ 2147483647 h 66"/>
                    <a:gd name="T56" fmla="*/ 2147483647 w 67"/>
                    <a:gd name="T57" fmla="*/ 2147483647 h 66"/>
                    <a:gd name="T58" fmla="*/ 2147483647 w 67"/>
                    <a:gd name="T59" fmla="*/ 2147483647 h 66"/>
                    <a:gd name="T60" fmla="*/ 2147483647 w 67"/>
                    <a:gd name="T61" fmla="*/ 2147483647 h 66"/>
                    <a:gd name="T62" fmla="*/ 2147483647 w 67"/>
                    <a:gd name="T63" fmla="*/ 2147483647 h 66"/>
                    <a:gd name="T64" fmla="*/ 2147483647 w 67"/>
                    <a:gd name="T65" fmla="*/ 2147483647 h 66"/>
                    <a:gd name="T66" fmla="*/ 2147483647 w 67"/>
                    <a:gd name="T67" fmla="*/ 2147483647 h 66"/>
                    <a:gd name="T68" fmla="*/ 2147483647 w 67"/>
                    <a:gd name="T69" fmla="*/ 2147483647 h 66"/>
                    <a:gd name="T70" fmla="*/ 2147483647 w 67"/>
                    <a:gd name="T71" fmla="*/ 2147483647 h 66"/>
                    <a:gd name="T72" fmla="*/ 2147483647 w 67"/>
                    <a:gd name="T73" fmla="*/ 2147483647 h 66"/>
                    <a:gd name="T74" fmla="*/ 2147483647 w 67"/>
                    <a:gd name="T75" fmla="*/ 2147483647 h 66"/>
                    <a:gd name="T76" fmla="*/ 2147483647 w 67"/>
                    <a:gd name="T77" fmla="*/ 2147483647 h 66"/>
                    <a:gd name="T78" fmla="*/ 2147483647 w 67"/>
                    <a:gd name="T79" fmla="*/ 2147483647 h 66"/>
                    <a:gd name="T80" fmla="*/ 2147483647 w 67"/>
                    <a:gd name="T81" fmla="*/ 2147483647 h 66"/>
                    <a:gd name="T82" fmla="*/ 2147483647 w 67"/>
                    <a:gd name="T83" fmla="*/ 2147483647 h 66"/>
                    <a:gd name="T84" fmla="*/ 2147483647 w 67"/>
                    <a:gd name="T85" fmla="*/ 2147483647 h 66"/>
                    <a:gd name="T86" fmla="*/ 2147483647 w 67"/>
                    <a:gd name="T87" fmla="*/ 2147483647 h 66"/>
                    <a:gd name="T88" fmla="*/ 2147483647 w 67"/>
                    <a:gd name="T89" fmla="*/ 2147483647 h 66"/>
                    <a:gd name="T90" fmla="*/ 2147483647 w 67"/>
                    <a:gd name="T91" fmla="*/ 2147483647 h 66"/>
                    <a:gd name="T92" fmla="*/ 2147483647 w 67"/>
                    <a:gd name="T93" fmla="*/ 2147483647 h 66"/>
                    <a:gd name="T94" fmla="*/ 2147483647 w 67"/>
                    <a:gd name="T95" fmla="*/ 2147483647 h 66"/>
                    <a:gd name="T96" fmla="*/ 2147483647 w 67"/>
                    <a:gd name="T97" fmla="*/ 2147483647 h 66"/>
                    <a:gd name="T98" fmla="*/ 2147483647 w 67"/>
                    <a:gd name="T99" fmla="*/ 2147483647 h 66"/>
                    <a:gd name="T100" fmla="*/ 2147483647 w 67"/>
                    <a:gd name="T101" fmla="*/ 2147483647 h 66"/>
                    <a:gd name="T102" fmla="*/ 2147483647 w 67"/>
                    <a:gd name="T103" fmla="*/ 2147483647 h 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7"/>
                    <a:gd name="T157" fmla="*/ 0 h 66"/>
                    <a:gd name="T158" fmla="*/ 67 w 67"/>
                    <a:gd name="T159" fmla="*/ 66 h 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7" h="66">
                      <a:moveTo>
                        <a:pt x="61" y="5"/>
                      </a:moveTo>
                      <a:lnTo>
                        <a:pt x="61" y="5"/>
                      </a:lnTo>
                      <a:lnTo>
                        <a:pt x="55" y="6"/>
                      </a:lnTo>
                      <a:lnTo>
                        <a:pt x="50" y="7"/>
                      </a:lnTo>
                      <a:lnTo>
                        <a:pt x="46" y="9"/>
                      </a:lnTo>
                      <a:lnTo>
                        <a:pt x="40" y="12"/>
                      </a:lnTo>
                      <a:lnTo>
                        <a:pt x="34" y="13"/>
                      </a:lnTo>
                      <a:lnTo>
                        <a:pt x="29" y="13"/>
                      </a:lnTo>
                      <a:lnTo>
                        <a:pt x="24" y="12"/>
                      </a:lnTo>
                      <a:lnTo>
                        <a:pt x="15" y="6"/>
                      </a:lnTo>
                      <a:lnTo>
                        <a:pt x="3" y="0"/>
                      </a:lnTo>
                      <a:lnTo>
                        <a:pt x="1" y="0"/>
                      </a:lnTo>
                      <a:lnTo>
                        <a:pt x="0" y="2"/>
                      </a:lnTo>
                      <a:lnTo>
                        <a:pt x="0" y="5"/>
                      </a:lnTo>
                      <a:lnTo>
                        <a:pt x="0" y="10"/>
                      </a:lnTo>
                      <a:lnTo>
                        <a:pt x="1" y="13"/>
                      </a:lnTo>
                      <a:lnTo>
                        <a:pt x="10" y="30"/>
                      </a:lnTo>
                      <a:lnTo>
                        <a:pt x="17" y="47"/>
                      </a:lnTo>
                      <a:lnTo>
                        <a:pt x="19" y="53"/>
                      </a:lnTo>
                      <a:lnTo>
                        <a:pt x="24" y="60"/>
                      </a:lnTo>
                      <a:lnTo>
                        <a:pt x="27" y="62"/>
                      </a:lnTo>
                      <a:lnTo>
                        <a:pt x="29" y="64"/>
                      </a:lnTo>
                      <a:lnTo>
                        <a:pt x="33" y="66"/>
                      </a:lnTo>
                      <a:lnTo>
                        <a:pt x="37" y="66"/>
                      </a:lnTo>
                      <a:lnTo>
                        <a:pt x="40" y="64"/>
                      </a:lnTo>
                      <a:lnTo>
                        <a:pt x="42" y="62"/>
                      </a:lnTo>
                      <a:lnTo>
                        <a:pt x="47" y="56"/>
                      </a:lnTo>
                      <a:lnTo>
                        <a:pt x="52" y="50"/>
                      </a:lnTo>
                      <a:lnTo>
                        <a:pt x="56" y="47"/>
                      </a:lnTo>
                      <a:lnTo>
                        <a:pt x="57" y="47"/>
                      </a:lnTo>
                      <a:lnTo>
                        <a:pt x="59" y="47"/>
                      </a:lnTo>
                      <a:lnTo>
                        <a:pt x="60" y="50"/>
                      </a:lnTo>
                      <a:lnTo>
                        <a:pt x="61" y="53"/>
                      </a:lnTo>
                      <a:lnTo>
                        <a:pt x="62" y="54"/>
                      </a:lnTo>
                      <a:lnTo>
                        <a:pt x="65" y="55"/>
                      </a:lnTo>
                      <a:lnTo>
                        <a:pt x="64" y="48"/>
                      </a:lnTo>
                      <a:lnTo>
                        <a:pt x="62" y="43"/>
                      </a:lnTo>
                      <a:lnTo>
                        <a:pt x="62" y="38"/>
                      </a:lnTo>
                      <a:lnTo>
                        <a:pt x="66" y="25"/>
                      </a:lnTo>
                      <a:lnTo>
                        <a:pt x="67" y="19"/>
                      </a:lnTo>
                      <a:lnTo>
                        <a:pt x="66" y="13"/>
                      </a:lnTo>
                      <a:lnTo>
                        <a:pt x="65" y="9"/>
                      </a:lnTo>
                      <a:lnTo>
                        <a:pt x="6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5" name="Freeform 332"/>
                <p:cNvSpPr>
                  <a:spLocks/>
                </p:cNvSpPr>
                <p:nvPr/>
              </p:nvSpPr>
              <p:spPr bwMode="auto">
                <a:xfrm>
                  <a:off x="8076662" y="5919173"/>
                  <a:ext cx="11839" cy="16279"/>
                </a:xfrm>
                <a:custGeom>
                  <a:avLst/>
                  <a:gdLst>
                    <a:gd name="T0" fmla="*/ 2147483647 w 9"/>
                    <a:gd name="T1" fmla="*/ 2147483647 h 11"/>
                    <a:gd name="T2" fmla="*/ 2147483647 w 9"/>
                    <a:gd name="T3" fmla="*/ 2147483647 h 11"/>
                    <a:gd name="T4" fmla="*/ 2147483647 w 9"/>
                    <a:gd name="T5" fmla="*/ 0 h 11"/>
                    <a:gd name="T6" fmla="*/ 2147483647 w 9"/>
                    <a:gd name="T7" fmla="*/ 0 h 11"/>
                    <a:gd name="T8" fmla="*/ 2147483647 w 9"/>
                    <a:gd name="T9" fmla="*/ 2147483647 h 11"/>
                    <a:gd name="T10" fmla="*/ 2147483647 w 9"/>
                    <a:gd name="T11" fmla="*/ 2147483647 h 11"/>
                    <a:gd name="T12" fmla="*/ 0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1"/>
                    <a:gd name="T38" fmla="*/ 9 w 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1">
                      <a:moveTo>
                        <a:pt x="9" y="5"/>
                      </a:moveTo>
                      <a:lnTo>
                        <a:pt x="9" y="1"/>
                      </a:lnTo>
                      <a:lnTo>
                        <a:pt x="8" y="0"/>
                      </a:lnTo>
                      <a:lnTo>
                        <a:pt x="7" y="0"/>
                      </a:lnTo>
                      <a:lnTo>
                        <a:pt x="4" y="1"/>
                      </a:lnTo>
                      <a:lnTo>
                        <a:pt x="2" y="4"/>
                      </a:lnTo>
                      <a:lnTo>
                        <a:pt x="0" y="6"/>
                      </a:lnTo>
                      <a:lnTo>
                        <a:pt x="2" y="10"/>
                      </a:lnTo>
                      <a:lnTo>
                        <a:pt x="4" y="11"/>
                      </a:lnTo>
                      <a:lnTo>
                        <a:pt x="7" y="10"/>
                      </a:lnTo>
                      <a:lnTo>
                        <a:pt x="8" y="7"/>
                      </a:lnTo>
                      <a:lnTo>
                        <a:pt x="9"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6" name="Freeform 333"/>
                <p:cNvSpPr>
                  <a:spLocks/>
                </p:cNvSpPr>
                <p:nvPr/>
              </p:nvSpPr>
              <p:spPr bwMode="auto">
                <a:xfrm>
                  <a:off x="7992311" y="5805222"/>
                  <a:ext cx="16279" cy="25157"/>
                </a:xfrm>
                <a:custGeom>
                  <a:avLst/>
                  <a:gdLst>
                    <a:gd name="T0" fmla="*/ 2147483647 w 12"/>
                    <a:gd name="T1" fmla="*/ 2147483647 h 17"/>
                    <a:gd name="T2" fmla="*/ 2147483647 w 12"/>
                    <a:gd name="T3" fmla="*/ 2147483647 h 17"/>
                    <a:gd name="T4" fmla="*/ 2147483647 w 12"/>
                    <a:gd name="T5" fmla="*/ 2147483647 h 17"/>
                    <a:gd name="T6" fmla="*/ 2147483647 w 12"/>
                    <a:gd name="T7" fmla="*/ 2147483647 h 17"/>
                    <a:gd name="T8" fmla="*/ 2147483647 w 12"/>
                    <a:gd name="T9" fmla="*/ 2147483647 h 17"/>
                    <a:gd name="T10" fmla="*/ 2147483647 w 12"/>
                    <a:gd name="T11" fmla="*/ 2147483647 h 17"/>
                    <a:gd name="T12" fmla="*/ 2147483647 w 12"/>
                    <a:gd name="T13" fmla="*/ 2147483647 h 17"/>
                    <a:gd name="T14" fmla="*/ 0 w 12"/>
                    <a:gd name="T15" fmla="*/ 2147483647 h 17"/>
                    <a:gd name="T16" fmla="*/ 0 w 12"/>
                    <a:gd name="T17" fmla="*/ 2147483647 h 17"/>
                    <a:gd name="T18" fmla="*/ 0 w 12"/>
                    <a:gd name="T19" fmla="*/ 2147483647 h 17"/>
                    <a:gd name="T20" fmla="*/ 2147483647 w 12"/>
                    <a:gd name="T21" fmla="*/ 0 h 17"/>
                    <a:gd name="T22" fmla="*/ 2147483647 w 12"/>
                    <a:gd name="T23" fmla="*/ 0 h 17"/>
                    <a:gd name="T24" fmla="*/ 2147483647 w 12"/>
                    <a:gd name="T25" fmla="*/ 2147483647 h 17"/>
                    <a:gd name="T26" fmla="*/ 2147483647 w 12"/>
                    <a:gd name="T27" fmla="*/ 2147483647 h 17"/>
                    <a:gd name="T28" fmla="*/ 2147483647 w 12"/>
                    <a:gd name="T29" fmla="*/ 2147483647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7"/>
                    <a:gd name="T47" fmla="*/ 12 w 12"/>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7">
                      <a:moveTo>
                        <a:pt x="10" y="6"/>
                      </a:moveTo>
                      <a:lnTo>
                        <a:pt x="12" y="11"/>
                      </a:lnTo>
                      <a:lnTo>
                        <a:pt x="12" y="13"/>
                      </a:lnTo>
                      <a:lnTo>
                        <a:pt x="10" y="16"/>
                      </a:lnTo>
                      <a:lnTo>
                        <a:pt x="8" y="17"/>
                      </a:lnTo>
                      <a:lnTo>
                        <a:pt x="4" y="17"/>
                      </a:lnTo>
                      <a:lnTo>
                        <a:pt x="1" y="14"/>
                      </a:lnTo>
                      <a:lnTo>
                        <a:pt x="0" y="12"/>
                      </a:lnTo>
                      <a:lnTo>
                        <a:pt x="0" y="6"/>
                      </a:lnTo>
                      <a:lnTo>
                        <a:pt x="0" y="3"/>
                      </a:lnTo>
                      <a:lnTo>
                        <a:pt x="3" y="0"/>
                      </a:lnTo>
                      <a:lnTo>
                        <a:pt x="5" y="0"/>
                      </a:lnTo>
                      <a:lnTo>
                        <a:pt x="8" y="1"/>
                      </a:lnTo>
                      <a:lnTo>
                        <a:pt x="9" y="4"/>
                      </a:lnTo>
                      <a:lnTo>
                        <a:pt x="10"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7" name="Freeform 334"/>
                <p:cNvSpPr>
                  <a:spLocks/>
                </p:cNvSpPr>
                <p:nvPr/>
              </p:nvSpPr>
              <p:spPr bwMode="auto">
                <a:xfrm>
                  <a:off x="8075182" y="5917689"/>
                  <a:ext cx="11839" cy="16278"/>
                </a:xfrm>
                <a:custGeom>
                  <a:avLst/>
                  <a:gdLst>
                    <a:gd name="T0" fmla="*/ 2147483647 w 9"/>
                    <a:gd name="T1" fmla="*/ 2147483647 h 11"/>
                    <a:gd name="T2" fmla="*/ 2147483647 w 9"/>
                    <a:gd name="T3" fmla="*/ 2147483647 h 11"/>
                    <a:gd name="T4" fmla="*/ 2147483647 w 9"/>
                    <a:gd name="T5" fmla="*/ 2147483647 h 11"/>
                    <a:gd name="T6" fmla="*/ 2147483647 w 9"/>
                    <a:gd name="T7" fmla="*/ 0 h 11"/>
                    <a:gd name="T8" fmla="*/ 2147483647 w 9"/>
                    <a:gd name="T9" fmla="*/ 0 h 11"/>
                    <a:gd name="T10" fmla="*/ 2147483647 w 9"/>
                    <a:gd name="T11" fmla="*/ 0 h 11"/>
                    <a:gd name="T12" fmla="*/ 2147483647 w 9"/>
                    <a:gd name="T13" fmla="*/ 2147483647 h 11"/>
                    <a:gd name="T14" fmla="*/ 2147483647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1"/>
                    <a:gd name="T50" fmla="*/ 9 w 9"/>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1">
                      <a:moveTo>
                        <a:pt x="9" y="5"/>
                      </a:moveTo>
                      <a:lnTo>
                        <a:pt x="9" y="5"/>
                      </a:lnTo>
                      <a:lnTo>
                        <a:pt x="9" y="1"/>
                      </a:lnTo>
                      <a:lnTo>
                        <a:pt x="8" y="0"/>
                      </a:lnTo>
                      <a:lnTo>
                        <a:pt x="6" y="0"/>
                      </a:lnTo>
                      <a:lnTo>
                        <a:pt x="4" y="1"/>
                      </a:lnTo>
                      <a:lnTo>
                        <a:pt x="1" y="4"/>
                      </a:lnTo>
                      <a:lnTo>
                        <a:pt x="0" y="6"/>
                      </a:lnTo>
                      <a:lnTo>
                        <a:pt x="1" y="10"/>
                      </a:lnTo>
                      <a:lnTo>
                        <a:pt x="4" y="11"/>
                      </a:lnTo>
                      <a:lnTo>
                        <a:pt x="6" y="10"/>
                      </a:lnTo>
                      <a:lnTo>
                        <a:pt x="8" y="7"/>
                      </a:lnTo>
                      <a:lnTo>
                        <a:pt x="9"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8" name="Freeform 335"/>
                <p:cNvSpPr>
                  <a:spLocks/>
                </p:cNvSpPr>
                <p:nvPr/>
              </p:nvSpPr>
              <p:spPr bwMode="auto">
                <a:xfrm>
                  <a:off x="7990832" y="5803738"/>
                  <a:ext cx="14799" cy="25158"/>
                </a:xfrm>
                <a:custGeom>
                  <a:avLst/>
                  <a:gdLst>
                    <a:gd name="T0" fmla="*/ 2147483647 w 11"/>
                    <a:gd name="T1" fmla="*/ 2147483647 h 17"/>
                    <a:gd name="T2" fmla="*/ 2147483647 w 11"/>
                    <a:gd name="T3" fmla="*/ 2147483647 h 17"/>
                    <a:gd name="T4" fmla="*/ 2147483647 w 11"/>
                    <a:gd name="T5" fmla="*/ 2147483647 h 17"/>
                    <a:gd name="T6" fmla="*/ 2147483647 w 11"/>
                    <a:gd name="T7" fmla="*/ 2147483647 h 17"/>
                    <a:gd name="T8" fmla="*/ 2147483647 w 11"/>
                    <a:gd name="T9" fmla="*/ 2147483647 h 17"/>
                    <a:gd name="T10" fmla="*/ 2147483647 w 11"/>
                    <a:gd name="T11" fmla="*/ 2147483647 h 17"/>
                    <a:gd name="T12" fmla="*/ 2147483647 w 11"/>
                    <a:gd name="T13" fmla="*/ 2147483647 h 17"/>
                    <a:gd name="T14" fmla="*/ 2147483647 w 11"/>
                    <a:gd name="T15" fmla="*/ 2147483647 h 17"/>
                    <a:gd name="T16" fmla="*/ 2147483647 w 11"/>
                    <a:gd name="T17" fmla="*/ 2147483647 h 17"/>
                    <a:gd name="T18" fmla="*/ 0 w 11"/>
                    <a:gd name="T19" fmla="*/ 2147483647 h 17"/>
                    <a:gd name="T20" fmla="*/ 0 w 11"/>
                    <a:gd name="T21" fmla="*/ 2147483647 h 17"/>
                    <a:gd name="T22" fmla="*/ 0 w 11"/>
                    <a:gd name="T23" fmla="*/ 2147483647 h 17"/>
                    <a:gd name="T24" fmla="*/ 0 w 11"/>
                    <a:gd name="T25" fmla="*/ 2147483647 h 17"/>
                    <a:gd name="T26" fmla="*/ 2147483647 w 11"/>
                    <a:gd name="T27" fmla="*/ 0 h 17"/>
                    <a:gd name="T28" fmla="*/ 2147483647 w 11"/>
                    <a:gd name="T29" fmla="*/ 0 h 17"/>
                    <a:gd name="T30" fmla="*/ 2147483647 w 11"/>
                    <a:gd name="T31" fmla="*/ 0 h 17"/>
                    <a:gd name="T32" fmla="*/ 2147483647 w 11"/>
                    <a:gd name="T33" fmla="*/ 2147483647 h 17"/>
                    <a:gd name="T34" fmla="*/ 2147483647 w 11"/>
                    <a:gd name="T35" fmla="*/ 2147483647 h 17"/>
                    <a:gd name="T36" fmla="*/ 2147483647 w 11"/>
                    <a:gd name="T37" fmla="*/ 2147483647 h 17"/>
                    <a:gd name="T38" fmla="*/ 2147483647 w 11"/>
                    <a:gd name="T39" fmla="*/ 2147483647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
                    <a:gd name="T61" fmla="*/ 0 h 17"/>
                    <a:gd name="T62" fmla="*/ 11 w 11"/>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 h="17">
                      <a:moveTo>
                        <a:pt x="10" y="6"/>
                      </a:moveTo>
                      <a:lnTo>
                        <a:pt x="10" y="6"/>
                      </a:lnTo>
                      <a:lnTo>
                        <a:pt x="11" y="11"/>
                      </a:lnTo>
                      <a:lnTo>
                        <a:pt x="11" y="13"/>
                      </a:lnTo>
                      <a:lnTo>
                        <a:pt x="10" y="15"/>
                      </a:lnTo>
                      <a:lnTo>
                        <a:pt x="8" y="17"/>
                      </a:lnTo>
                      <a:lnTo>
                        <a:pt x="4" y="17"/>
                      </a:lnTo>
                      <a:lnTo>
                        <a:pt x="1" y="14"/>
                      </a:lnTo>
                      <a:lnTo>
                        <a:pt x="0" y="12"/>
                      </a:lnTo>
                      <a:lnTo>
                        <a:pt x="0" y="6"/>
                      </a:lnTo>
                      <a:lnTo>
                        <a:pt x="0" y="2"/>
                      </a:lnTo>
                      <a:lnTo>
                        <a:pt x="2" y="0"/>
                      </a:lnTo>
                      <a:lnTo>
                        <a:pt x="5" y="0"/>
                      </a:lnTo>
                      <a:lnTo>
                        <a:pt x="8" y="1"/>
                      </a:lnTo>
                      <a:lnTo>
                        <a:pt x="9" y="4"/>
                      </a:lnTo>
                      <a:lnTo>
                        <a:pt x="10"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69" name="Freeform 336"/>
                <p:cNvSpPr>
                  <a:spLocks/>
                </p:cNvSpPr>
                <p:nvPr/>
              </p:nvSpPr>
              <p:spPr bwMode="auto">
                <a:xfrm>
                  <a:off x="8094423" y="5812621"/>
                  <a:ext cx="25157" cy="26638"/>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0 w 18"/>
                    <a:gd name="T19" fmla="*/ 2147483647 h 18"/>
                    <a:gd name="T20" fmla="*/ 0 w 18"/>
                    <a:gd name="T21" fmla="*/ 2147483647 h 18"/>
                    <a:gd name="T22" fmla="*/ 2147483647 w 18"/>
                    <a:gd name="T23" fmla="*/ 2147483647 h 18"/>
                    <a:gd name="T24" fmla="*/ 2147483647 w 18"/>
                    <a:gd name="T25" fmla="*/ 0 h 18"/>
                    <a:gd name="T26" fmla="*/ 2147483647 w 18"/>
                    <a:gd name="T27" fmla="*/ 0 h 18"/>
                    <a:gd name="T28" fmla="*/ 2147483647 w 18"/>
                    <a:gd name="T29" fmla="*/ 2147483647 h 18"/>
                    <a:gd name="T30" fmla="*/ 2147483647 w 18"/>
                    <a:gd name="T31" fmla="*/ 2147483647 h 18"/>
                    <a:gd name="T32" fmla="*/ 2147483647 w 18"/>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8"/>
                    <a:gd name="T53" fmla="*/ 18 w 18"/>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8">
                      <a:moveTo>
                        <a:pt x="13" y="9"/>
                      </a:moveTo>
                      <a:lnTo>
                        <a:pt x="17" y="13"/>
                      </a:lnTo>
                      <a:lnTo>
                        <a:pt x="18" y="14"/>
                      </a:lnTo>
                      <a:lnTo>
                        <a:pt x="17" y="17"/>
                      </a:lnTo>
                      <a:lnTo>
                        <a:pt x="13" y="18"/>
                      </a:lnTo>
                      <a:lnTo>
                        <a:pt x="9" y="17"/>
                      </a:lnTo>
                      <a:lnTo>
                        <a:pt x="6" y="15"/>
                      </a:lnTo>
                      <a:lnTo>
                        <a:pt x="3" y="13"/>
                      </a:lnTo>
                      <a:lnTo>
                        <a:pt x="1" y="11"/>
                      </a:lnTo>
                      <a:lnTo>
                        <a:pt x="0" y="7"/>
                      </a:lnTo>
                      <a:lnTo>
                        <a:pt x="0" y="5"/>
                      </a:lnTo>
                      <a:lnTo>
                        <a:pt x="1" y="2"/>
                      </a:lnTo>
                      <a:lnTo>
                        <a:pt x="3" y="0"/>
                      </a:lnTo>
                      <a:lnTo>
                        <a:pt x="4" y="0"/>
                      </a:lnTo>
                      <a:lnTo>
                        <a:pt x="6" y="2"/>
                      </a:lnTo>
                      <a:lnTo>
                        <a:pt x="10" y="7"/>
                      </a:lnTo>
                      <a:lnTo>
                        <a:pt x="13"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0" name="Freeform 337"/>
                <p:cNvSpPr>
                  <a:spLocks/>
                </p:cNvSpPr>
                <p:nvPr/>
              </p:nvSpPr>
              <p:spPr bwMode="auto">
                <a:xfrm>
                  <a:off x="7825084" y="5674990"/>
                  <a:ext cx="39956" cy="16278"/>
                </a:xfrm>
                <a:custGeom>
                  <a:avLst/>
                  <a:gdLst>
                    <a:gd name="T0" fmla="*/ 2147483647 w 29"/>
                    <a:gd name="T1" fmla="*/ 0 h 11"/>
                    <a:gd name="T2" fmla="*/ 2147483647 w 29"/>
                    <a:gd name="T3" fmla="*/ 0 h 11"/>
                    <a:gd name="T4" fmla="*/ 2147483647 w 29"/>
                    <a:gd name="T5" fmla="*/ 2147483647 h 11"/>
                    <a:gd name="T6" fmla="*/ 2147483647 w 29"/>
                    <a:gd name="T7" fmla="*/ 2147483647 h 11"/>
                    <a:gd name="T8" fmla="*/ 2147483647 w 29"/>
                    <a:gd name="T9" fmla="*/ 2147483647 h 11"/>
                    <a:gd name="T10" fmla="*/ 2147483647 w 29"/>
                    <a:gd name="T11" fmla="*/ 2147483647 h 11"/>
                    <a:gd name="T12" fmla="*/ 2147483647 w 29"/>
                    <a:gd name="T13" fmla="*/ 2147483647 h 11"/>
                    <a:gd name="T14" fmla="*/ 2147483647 w 29"/>
                    <a:gd name="T15" fmla="*/ 2147483647 h 11"/>
                    <a:gd name="T16" fmla="*/ 2147483647 w 29"/>
                    <a:gd name="T17" fmla="*/ 2147483647 h 11"/>
                    <a:gd name="T18" fmla="*/ 2147483647 w 29"/>
                    <a:gd name="T19" fmla="*/ 2147483647 h 11"/>
                    <a:gd name="T20" fmla="*/ 2147483647 w 29"/>
                    <a:gd name="T21" fmla="*/ 2147483647 h 11"/>
                    <a:gd name="T22" fmla="*/ 2147483647 w 29"/>
                    <a:gd name="T23" fmla="*/ 2147483647 h 11"/>
                    <a:gd name="T24" fmla="*/ 0 w 29"/>
                    <a:gd name="T25" fmla="*/ 2147483647 h 11"/>
                    <a:gd name="T26" fmla="*/ 2147483647 w 29"/>
                    <a:gd name="T27" fmla="*/ 2147483647 h 11"/>
                    <a:gd name="T28" fmla="*/ 2147483647 w 29"/>
                    <a:gd name="T29" fmla="*/ 2147483647 h 11"/>
                    <a:gd name="T30" fmla="*/ 2147483647 w 29"/>
                    <a:gd name="T31" fmla="*/ 0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11"/>
                    <a:gd name="T50" fmla="*/ 29 w 29"/>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11">
                      <a:moveTo>
                        <a:pt x="16" y="0"/>
                      </a:moveTo>
                      <a:lnTo>
                        <a:pt x="26" y="0"/>
                      </a:lnTo>
                      <a:lnTo>
                        <a:pt x="28" y="2"/>
                      </a:lnTo>
                      <a:lnTo>
                        <a:pt x="29" y="3"/>
                      </a:lnTo>
                      <a:lnTo>
                        <a:pt x="29" y="4"/>
                      </a:lnTo>
                      <a:lnTo>
                        <a:pt x="28" y="6"/>
                      </a:lnTo>
                      <a:lnTo>
                        <a:pt x="27" y="9"/>
                      </a:lnTo>
                      <a:lnTo>
                        <a:pt x="23" y="10"/>
                      </a:lnTo>
                      <a:lnTo>
                        <a:pt x="16" y="11"/>
                      </a:lnTo>
                      <a:lnTo>
                        <a:pt x="8" y="9"/>
                      </a:lnTo>
                      <a:lnTo>
                        <a:pt x="4" y="8"/>
                      </a:lnTo>
                      <a:lnTo>
                        <a:pt x="2" y="5"/>
                      </a:lnTo>
                      <a:lnTo>
                        <a:pt x="0" y="4"/>
                      </a:lnTo>
                      <a:lnTo>
                        <a:pt x="2" y="3"/>
                      </a:lnTo>
                      <a:lnTo>
                        <a:pt x="5" y="2"/>
                      </a:lnTo>
                      <a:lnTo>
                        <a:pt x="16"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1" name="Freeform 338"/>
                <p:cNvSpPr>
                  <a:spLocks/>
                </p:cNvSpPr>
                <p:nvPr/>
              </p:nvSpPr>
              <p:spPr bwMode="auto">
                <a:xfrm>
                  <a:off x="8092940" y="5811139"/>
                  <a:ext cx="25158" cy="26638"/>
                </a:xfrm>
                <a:custGeom>
                  <a:avLst/>
                  <a:gdLst>
                    <a:gd name="T0" fmla="*/ 2147483647 w 18"/>
                    <a:gd name="T1" fmla="*/ 2147483647 h 18"/>
                    <a:gd name="T2" fmla="*/ 2147483647 w 18"/>
                    <a:gd name="T3" fmla="*/ 2147483647 h 18"/>
                    <a:gd name="T4" fmla="*/ 2147483647 w 18"/>
                    <a:gd name="T5" fmla="*/ 2147483647 h 18"/>
                    <a:gd name="T6" fmla="*/ 2147483647 w 18"/>
                    <a:gd name="T7" fmla="*/ 2147483647 h 18"/>
                    <a:gd name="T8" fmla="*/ 2147483647 w 18"/>
                    <a:gd name="T9" fmla="*/ 2147483647 h 18"/>
                    <a:gd name="T10" fmla="*/ 2147483647 w 18"/>
                    <a:gd name="T11" fmla="*/ 2147483647 h 18"/>
                    <a:gd name="T12" fmla="*/ 2147483647 w 18"/>
                    <a:gd name="T13" fmla="*/ 2147483647 h 18"/>
                    <a:gd name="T14" fmla="*/ 2147483647 w 18"/>
                    <a:gd name="T15" fmla="*/ 2147483647 h 18"/>
                    <a:gd name="T16" fmla="*/ 2147483647 w 18"/>
                    <a:gd name="T17" fmla="*/ 2147483647 h 18"/>
                    <a:gd name="T18" fmla="*/ 2147483647 w 18"/>
                    <a:gd name="T19" fmla="*/ 2147483647 h 18"/>
                    <a:gd name="T20" fmla="*/ 2147483647 w 18"/>
                    <a:gd name="T21" fmla="*/ 2147483647 h 18"/>
                    <a:gd name="T22" fmla="*/ 0 w 18"/>
                    <a:gd name="T23" fmla="*/ 2147483647 h 18"/>
                    <a:gd name="T24" fmla="*/ 0 w 18"/>
                    <a:gd name="T25" fmla="*/ 2147483647 h 18"/>
                    <a:gd name="T26" fmla="*/ 2147483647 w 18"/>
                    <a:gd name="T27" fmla="*/ 2147483647 h 18"/>
                    <a:gd name="T28" fmla="*/ 2147483647 w 18"/>
                    <a:gd name="T29" fmla="*/ 2147483647 h 18"/>
                    <a:gd name="T30" fmla="*/ 2147483647 w 18"/>
                    <a:gd name="T31" fmla="*/ 0 h 18"/>
                    <a:gd name="T32" fmla="*/ 2147483647 w 18"/>
                    <a:gd name="T33" fmla="*/ 0 h 18"/>
                    <a:gd name="T34" fmla="*/ 2147483647 w 18"/>
                    <a:gd name="T35" fmla="*/ 2147483647 h 18"/>
                    <a:gd name="T36" fmla="*/ 2147483647 w 18"/>
                    <a:gd name="T37" fmla="*/ 2147483647 h 18"/>
                    <a:gd name="T38" fmla="*/ 2147483647 w 18"/>
                    <a:gd name="T39" fmla="*/ 2147483647 h 18"/>
                    <a:gd name="T40" fmla="*/ 2147483647 w 18"/>
                    <a:gd name="T41" fmla="*/ 2147483647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8"/>
                    <a:gd name="T65" fmla="*/ 18 w 18"/>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8">
                      <a:moveTo>
                        <a:pt x="13" y="9"/>
                      </a:moveTo>
                      <a:lnTo>
                        <a:pt x="13" y="9"/>
                      </a:lnTo>
                      <a:lnTo>
                        <a:pt x="16" y="13"/>
                      </a:lnTo>
                      <a:lnTo>
                        <a:pt x="18" y="14"/>
                      </a:lnTo>
                      <a:lnTo>
                        <a:pt x="16" y="16"/>
                      </a:lnTo>
                      <a:lnTo>
                        <a:pt x="13" y="18"/>
                      </a:lnTo>
                      <a:lnTo>
                        <a:pt x="9" y="16"/>
                      </a:lnTo>
                      <a:lnTo>
                        <a:pt x="6" y="15"/>
                      </a:lnTo>
                      <a:lnTo>
                        <a:pt x="2" y="13"/>
                      </a:lnTo>
                      <a:lnTo>
                        <a:pt x="1" y="10"/>
                      </a:lnTo>
                      <a:lnTo>
                        <a:pt x="0" y="7"/>
                      </a:lnTo>
                      <a:lnTo>
                        <a:pt x="0" y="5"/>
                      </a:lnTo>
                      <a:lnTo>
                        <a:pt x="1" y="2"/>
                      </a:lnTo>
                      <a:lnTo>
                        <a:pt x="2" y="0"/>
                      </a:lnTo>
                      <a:lnTo>
                        <a:pt x="4" y="0"/>
                      </a:lnTo>
                      <a:lnTo>
                        <a:pt x="6" y="2"/>
                      </a:lnTo>
                      <a:lnTo>
                        <a:pt x="10" y="7"/>
                      </a:lnTo>
                      <a:lnTo>
                        <a:pt x="13"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2" name="Freeform 339"/>
                <p:cNvSpPr>
                  <a:spLocks/>
                </p:cNvSpPr>
                <p:nvPr/>
              </p:nvSpPr>
              <p:spPr bwMode="auto">
                <a:xfrm>
                  <a:off x="7823606" y="5673513"/>
                  <a:ext cx="39957" cy="16279"/>
                </a:xfrm>
                <a:custGeom>
                  <a:avLst/>
                  <a:gdLst>
                    <a:gd name="T0" fmla="*/ 2147483647 w 29"/>
                    <a:gd name="T1" fmla="*/ 0 h 11"/>
                    <a:gd name="T2" fmla="*/ 2147483647 w 29"/>
                    <a:gd name="T3" fmla="*/ 0 h 11"/>
                    <a:gd name="T4" fmla="*/ 2147483647 w 29"/>
                    <a:gd name="T5" fmla="*/ 0 h 11"/>
                    <a:gd name="T6" fmla="*/ 2147483647 w 29"/>
                    <a:gd name="T7" fmla="*/ 2147483647 h 11"/>
                    <a:gd name="T8" fmla="*/ 2147483647 w 29"/>
                    <a:gd name="T9" fmla="*/ 2147483647 h 11"/>
                    <a:gd name="T10" fmla="*/ 2147483647 w 29"/>
                    <a:gd name="T11" fmla="*/ 2147483647 h 11"/>
                    <a:gd name="T12" fmla="*/ 2147483647 w 29"/>
                    <a:gd name="T13" fmla="*/ 2147483647 h 11"/>
                    <a:gd name="T14" fmla="*/ 2147483647 w 29"/>
                    <a:gd name="T15" fmla="*/ 2147483647 h 11"/>
                    <a:gd name="T16" fmla="*/ 2147483647 w 29"/>
                    <a:gd name="T17" fmla="*/ 2147483647 h 11"/>
                    <a:gd name="T18" fmla="*/ 2147483647 w 29"/>
                    <a:gd name="T19" fmla="*/ 2147483647 h 11"/>
                    <a:gd name="T20" fmla="*/ 2147483647 w 29"/>
                    <a:gd name="T21" fmla="*/ 2147483647 h 11"/>
                    <a:gd name="T22" fmla="*/ 2147483647 w 29"/>
                    <a:gd name="T23" fmla="*/ 2147483647 h 11"/>
                    <a:gd name="T24" fmla="*/ 2147483647 w 29"/>
                    <a:gd name="T25" fmla="*/ 2147483647 h 11"/>
                    <a:gd name="T26" fmla="*/ 2147483647 w 29"/>
                    <a:gd name="T27" fmla="*/ 2147483647 h 11"/>
                    <a:gd name="T28" fmla="*/ 2147483647 w 29"/>
                    <a:gd name="T29" fmla="*/ 2147483647 h 11"/>
                    <a:gd name="T30" fmla="*/ 0 w 29"/>
                    <a:gd name="T31" fmla="*/ 2147483647 h 11"/>
                    <a:gd name="T32" fmla="*/ 2147483647 w 29"/>
                    <a:gd name="T33" fmla="*/ 2147483647 h 11"/>
                    <a:gd name="T34" fmla="*/ 2147483647 w 29"/>
                    <a:gd name="T35" fmla="*/ 2147483647 h 11"/>
                    <a:gd name="T36" fmla="*/ 2147483647 w 29"/>
                    <a:gd name="T37" fmla="*/ 0 h 11"/>
                    <a:gd name="T38" fmla="*/ 2147483647 w 29"/>
                    <a:gd name="T39" fmla="*/ 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
                    <a:gd name="T61" fmla="*/ 0 h 11"/>
                    <a:gd name="T62" fmla="*/ 29 w 29"/>
                    <a:gd name="T63" fmla="*/ 11 h 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 h="11">
                      <a:moveTo>
                        <a:pt x="15" y="0"/>
                      </a:moveTo>
                      <a:lnTo>
                        <a:pt x="15" y="0"/>
                      </a:lnTo>
                      <a:lnTo>
                        <a:pt x="25" y="0"/>
                      </a:lnTo>
                      <a:lnTo>
                        <a:pt x="28" y="1"/>
                      </a:lnTo>
                      <a:lnTo>
                        <a:pt x="29" y="3"/>
                      </a:lnTo>
                      <a:lnTo>
                        <a:pt x="29" y="4"/>
                      </a:lnTo>
                      <a:lnTo>
                        <a:pt x="28" y="6"/>
                      </a:lnTo>
                      <a:lnTo>
                        <a:pt x="27" y="9"/>
                      </a:lnTo>
                      <a:lnTo>
                        <a:pt x="23" y="10"/>
                      </a:lnTo>
                      <a:lnTo>
                        <a:pt x="15" y="11"/>
                      </a:lnTo>
                      <a:lnTo>
                        <a:pt x="8" y="9"/>
                      </a:lnTo>
                      <a:lnTo>
                        <a:pt x="4" y="7"/>
                      </a:lnTo>
                      <a:lnTo>
                        <a:pt x="1" y="5"/>
                      </a:lnTo>
                      <a:lnTo>
                        <a:pt x="0" y="4"/>
                      </a:lnTo>
                      <a:lnTo>
                        <a:pt x="1" y="3"/>
                      </a:lnTo>
                      <a:lnTo>
                        <a:pt x="5" y="1"/>
                      </a:lnTo>
                      <a:lnTo>
                        <a:pt x="15"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3" name="Freeform 342"/>
                <p:cNvSpPr>
                  <a:spLocks/>
                </p:cNvSpPr>
                <p:nvPr/>
              </p:nvSpPr>
              <p:spPr bwMode="auto">
                <a:xfrm>
                  <a:off x="7265692" y="4926175"/>
                  <a:ext cx="963396" cy="864245"/>
                </a:xfrm>
                <a:custGeom>
                  <a:avLst/>
                  <a:gdLst>
                    <a:gd name="T0" fmla="*/ 2147483647 w 705"/>
                    <a:gd name="T1" fmla="*/ 2147483647 h 584"/>
                    <a:gd name="T2" fmla="*/ 2147483647 w 705"/>
                    <a:gd name="T3" fmla="*/ 2147483647 h 584"/>
                    <a:gd name="T4" fmla="*/ 2147483647 w 705"/>
                    <a:gd name="T5" fmla="*/ 2147483647 h 584"/>
                    <a:gd name="T6" fmla="*/ 2147483647 w 705"/>
                    <a:gd name="T7" fmla="*/ 2147483647 h 584"/>
                    <a:gd name="T8" fmla="*/ 2147483647 w 705"/>
                    <a:gd name="T9" fmla="*/ 2147483647 h 584"/>
                    <a:gd name="T10" fmla="*/ 2147483647 w 705"/>
                    <a:gd name="T11" fmla="*/ 2147483647 h 584"/>
                    <a:gd name="T12" fmla="*/ 2147483647 w 705"/>
                    <a:gd name="T13" fmla="*/ 2147483647 h 584"/>
                    <a:gd name="T14" fmla="*/ 2147483647 w 705"/>
                    <a:gd name="T15" fmla="*/ 2147483647 h 584"/>
                    <a:gd name="T16" fmla="*/ 2147483647 w 705"/>
                    <a:gd name="T17" fmla="*/ 2147483647 h 584"/>
                    <a:gd name="T18" fmla="*/ 2147483647 w 705"/>
                    <a:gd name="T19" fmla="*/ 2147483647 h 584"/>
                    <a:gd name="T20" fmla="*/ 2147483647 w 705"/>
                    <a:gd name="T21" fmla="*/ 2147483647 h 584"/>
                    <a:gd name="T22" fmla="*/ 2147483647 w 705"/>
                    <a:gd name="T23" fmla="*/ 2147483647 h 584"/>
                    <a:gd name="T24" fmla="*/ 2147483647 w 705"/>
                    <a:gd name="T25" fmla="*/ 2147483647 h 584"/>
                    <a:gd name="T26" fmla="*/ 2147483647 w 705"/>
                    <a:gd name="T27" fmla="*/ 2147483647 h 584"/>
                    <a:gd name="T28" fmla="*/ 2147483647 w 705"/>
                    <a:gd name="T29" fmla="*/ 2147483647 h 584"/>
                    <a:gd name="T30" fmla="*/ 2147483647 w 705"/>
                    <a:gd name="T31" fmla="*/ 2147483647 h 584"/>
                    <a:gd name="T32" fmla="*/ 2147483647 w 705"/>
                    <a:gd name="T33" fmla="*/ 2147483647 h 584"/>
                    <a:gd name="T34" fmla="*/ 2147483647 w 705"/>
                    <a:gd name="T35" fmla="*/ 2147483647 h 584"/>
                    <a:gd name="T36" fmla="*/ 2147483647 w 705"/>
                    <a:gd name="T37" fmla="*/ 2147483647 h 584"/>
                    <a:gd name="T38" fmla="*/ 2147483647 w 705"/>
                    <a:gd name="T39" fmla="*/ 2147483647 h 584"/>
                    <a:gd name="T40" fmla="*/ 2147483647 w 705"/>
                    <a:gd name="T41" fmla="*/ 2147483647 h 584"/>
                    <a:gd name="T42" fmla="*/ 2147483647 w 705"/>
                    <a:gd name="T43" fmla="*/ 2147483647 h 584"/>
                    <a:gd name="T44" fmla="*/ 2147483647 w 705"/>
                    <a:gd name="T45" fmla="*/ 2147483647 h 584"/>
                    <a:gd name="T46" fmla="*/ 2147483647 w 705"/>
                    <a:gd name="T47" fmla="*/ 2147483647 h 584"/>
                    <a:gd name="T48" fmla="*/ 2147483647 w 705"/>
                    <a:gd name="T49" fmla="*/ 2147483647 h 584"/>
                    <a:gd name="T50" fmla="*/ 2147483647 w 705"/>
                    <a:gd name="T51" fmla="*/ 2147483647 h 584"/>
                    <a:gd name="T52" fmla="*/ 2147483647 w 705"/>
                    <a:gd name="T53" fmla="*/ 2147483647 h 584"/>
                    <a:gd name="T54" fmla="*/ 2147483647 w 705"/>
                    <a:gd name="T55" fmla="*/ 2147483647 h 584"/>
                    <a:gd name="T56" fmla="*/ 2147483647 w 705"/>
                    <a:gd name="T57" fmla="*/ 2147483647 h 584"/>
                    <a:gd name="T58" fmla="*/ 2147483647 w 705"/>
                    <a:gd name="T59" fmla="*/ 2147483647 h 584"/>
                    <a:gd name="T60" fmla="*/ 2147483647 w 705"/>
                    <a:gd name="T61" fmla="*/ 2147483647 h 584"/>
                    <a:gd name="T62" fmla="*/ 2147483647 w 705"/>
                    <a:gd name="T63" fmla="*/ 2147483647 h 584"/>
                    <a:gd name="T64" fmla="*/ 2147483647 w 705"/>
                    <a:gd name="T65" fmla="*/ 2147483647 h 584"/>
                    <a:gd name="T66" fmla="*/ 2147483647 w 705"/>
                    <a:gd name="T67" fmla="*/ 2147483647 h 584"/>
                    <a:gd name="T68" fmla="*/ 2147483647 w 705"/>
                    <a:gd name="T69" fmla="*/ 2147483647 h 584"/>
                    <a:gd name="T70" fmla="*/ 2147483647 w 705"/>
                    <a:gd name="T71" fmla="*/ 2147483647 h 584"/>
                    <a:gd name="T72" fmla="*/ 2147483647 w 705"/>
                    <a:gd name="T73" fmla="*/ 2147483647 h 584"/>
                    <a:gd name="T74" fmla="*/ 2147483647 w 705"/>
                    <a:gd name="T75" fmla="*/ 2147483647 h 584"/>
                    <a:gd name="T76" fmla="*/ 2147483647 w 705"/>
                    <a:gd name="T77" fmla="*/ 2147483647 h 584"/>
                    <a:gd name="T78" fmla="*/ 2147483647 w 705"/>
                    <a:gd name="T79" fmla="*/ 2147483647 h 584"/>
                    <a:gd name="T80" fmla="*/ 2147483647 w 705"/>
                    <a:gd name="T81" fmla="*/ 2147483647 h 584"/>
                    <a:gd name="T82" fmla="*/ 2147483647 w 705"/>
                    <a:gd name="T83" fmla="*/ 2147483647 h 584"/>
                    <a:gd name="T84" fmla="*/ 2147483647 w 705"/>
                    <a:gd name="T85" fmla="*/ 2147483647 h 584"/>
                    <a:gd name="T86" fmla="*/ 2147483647 w 705"/>
                    <a:gd name="T87" fmla="*/ 2147483647 h 584"/>
                    <a:gd name="T88" fmla="*/ 2147483647 w 705"/>
                    <a:gd name="T89" fmla="*/ 2147483647 h 584"/>
                    <a:gd name="T90" fmla="*/ 2147483647 w 705"/>
                    <a:gd name="T91" fmla="*/ 2147483647 h 584"/>
                    <a:gd name="T92" fmla="*/ 2147483647 w 705"/>
                    <a:gd name="T93" fmla="*/ 2147483647 h 584"/>
                    <a:gd name="T94" fmla="*/ 2147483647 w 705"/>
                    <a:gd name="T95" fmla="*/ 2147483647 h 584"/>
                    <a:gd name="T96" fmla="*/ 2147483647 w 705"/>
                    <a:gd name="T97" fmla="*/ 2147483647 h 584"/>
                    <a:gd name="T98" fmla="*/ 2147483647 w 705"/>
                    <a:gd name="T99" fmla="*/ 2147483647 h 584"/>
                    <a:gd name="T100" fmla="*/ 2147483647 w 705"/>
                    <a:gd name="T101" fmla="*/ 2147483647 h 584"/>
                    <a:gd name="T102" fmla="*/ 2147483647 w 705"/>
                    <a:gd name="T103" fmla="*/ 2147483647 h 584"/>
                    <a:gd name="T104" fmla="*/ 2147483647 w 705"/>
                    <a:gd name="T105" fmla="*/ 2147483647 h 584"/>
                    <a:gd name="T106" fmla="*/ 2147483647 w 705"/>
                    <a:gd name="T107" fmla="*/ 2147483647 h 584"/>
                    <a:gd name="T108" fmla="*/ 2147483647 w 705"/>
                    <a:gd name="T109" fmla="*/ 2147483647 h 584"/>
                    <a:gd name="T110" fmla="*/ 2147483647 w 705"/>
                    <a:gd name="T111" fmla="*/ 2147483647 h 584"/>
                    <a:gd name="T112" fmla="*/ 2147483647 w 705"/>
                    <a:gd name="T113" fmla="*/ 2147483647 h 584"/>
                    <a:gd name="T114" fmla="*/ 2147483647 w 705"/>
                    <a:gd name="T115" fmla="*/ 2147483647 h 584"/>
                    <a:gd name="T116" fmla="*/ 2147483647 w 705"/>
                    <a:gd name="T117" fmla="*/ 2147483647 h 584"/>
                    <a:gd name="T118" fmla="*/ 2147483647 w 705"/>
                    <a:gd name="T119" fmla="*/ 2147483647 h 584"/>
                    <a:gd name="T120" fmla="*/ 2147483647 w 705"/>
                    <a:gd name="T121" fmla="*/ 2147483647 h 5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05"/>
                    <a:gd name="T184" fmla="*/ 0 h 584"/>
                    <a:gd name="T185" fmla="*/ 705 w 705"/>
                    <a:gd name="T186" fmla="*/ 584 h 5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05" h="584">
                      <a:moveTo>
                        <a:pt x="216" y="440"/>
                      </a:moveTo>
                      <a:lnTo>
                        <a:pt x="216" y="440"/>
                      </a:lnTo>
                      <a:lnTo>
                        <a:pt x="212" y="444"/>
                      </a:lnTo>
                      <a:lnTo>
                        <a:pt x="208" y="447"/>
                      </a:lnTo>
                      <a:lnTo>
                        <a:pt x="203" y="448"/>
                      </a:lnTo>
                      <a:lnTo>
                        <a:pt x="197" y="448"/>
                      </a:lnTo>
                      <a:lnTo>
                        <a:pt x="193" y="450"/>
                      </a:lnTo>
                      <a:lnTo>
                        <a:pt x="191" y="451"/>
                      </a:lnTo>
                      <a:lnTo>
                        <a:pt x="188" y="452"/>
                      </a:lnTo>
                      <a:lnTo>
                        <a:pt x="187" y="454"/>
                      </a:lnTo>
                      <a:lnTo>
                        <a:pt x="186" y="460"/>
                      </a:lnTo>
                      <a:lnTo>
                        <a:pt x="183" y="466"/>
                      </a:lnTo>
                      <a:lnTo>
                        <a:pt x="180" y="469"/>
                      </a:lnTo>
                      <a:lnTo>
                        <a:pt x="175" y="470"/>
                      </a:lnTo>
                      <a:lnTo>
                        <a:pt x="165" y="472"/>
                      </a:lnTo>
                      <a:lnTo>
                        <a:pt x="163" y="472"/>
                      </a:lnTo>
                      <a:lnTo>
                        <a:pt x="160" y="471"/>
                      </a:lnTo>
                      <a:lnTo>
                        <a:pt x="156" y="469"/>
                      </a:lnTo>
                      <a:lnTo>
                        <a:pt x="151" y="469"/>
                      </a:lnTo>
                      <a:lnTo>
                        <a:pt x="147" y="471"/>
                      </a:lnTo>
                      <a:lnTo>
                        <a:pt x="142" y="472"/>
                      </a:lnTo>
                      <a:lnTo>
                        <a:pt x="139" y="472"/>
                      </a:lnTo>
                      <a:lnTo>
                        <a:pt x="132" y="471"/>
                      </a:lnTo>
                      <a:lnTo>
                        <a:pt x="125" y="471"/>
                      </a:lnTo>
                      <a:lnTo>
                        <a:pt x="117" y="473"/>
                      </a:lnTo>
                      <a:lnTo>
                        <a:pt x="111" y="476"/>
                      </a:lnTo>
                      <a:lnTo>
                        <a:pt x="109" y="478"/>
                      </a:lnTo>
                      <a:lnTo>
                        <a:pt x="108" y="482"/>
                      </a:lnTo>
                      <a:lnTo>
                        <a:pt x="108" y="484"/>
                      </a:lnTo>
                      <a:lnTo>
                        <a:pt x="106" y="485"/>
                      </a:lnTo>
                      <a:lnTo>
                        <a:pt x="103" y="486"/>
                      </a:lnTo>
                      <a:lnTo>
                        <a:pt x="100" y="486"/>
                      </a:lnTo>
                      <a:lnTo>
                        <a:pt x="98" y="490"/>
                      </a:lnTo>
                      <a:lnTo>
                        <a:pt x="94" y="492"/>
                      </a:lnTo>
                      <a:lnTo>
                        <a:pt x="90" y="493"/>
                      </a:lnTo>
                      <a:lnTo>
                        <a:pt x="86" y="493"/>
                      </a:lnTo>
                      <a:lnTo>
                        <a:pt x="78" y="492"/>
                      </a:lnTo>
                      <a:lnTo>
                        <a:pt x="70" y="490"/>
                      </a:lnTo>
                      <a:lnTo>
                        <a:pt x="66" y="490"/>
                      </a:lnTo>
                      <a:lnTo>
                        <a:pt x="64" y="491"/>
                      </a:lnTo>
                      <a:lnTo>
                        <a:pt x="60" y="491"/>
                      </a:lnTo>
                      <a:lnTo>
                        <a:pt x="56" y="491"/>
                      </a:lnTo>
                      <a:lnTo>
                        <a:pt x="51" y="490"/>
                      </a:lnTo>
                      <a:lnTo>
                        <a:pt x="47" y="488"/>
                      </a:lnTo>
                      <a:lnTo>
                        <a:pt x="41" y="480"/>
                      </a:lnTo>
                      <a:lnTo>
                        <a:pt x="39" y="480"/>
                      </a:lnTo>
                      <a:lnTo>
                        <a:pt x="37" y="479"/>
                      </a:lnTo>
                      <a:lnTo>
                        <a:pt x="36" y="479"/>
                      </a:lnTo>
                      <a:lnTo>
                        <a:pt x="34" y="479"/>
                      </a:lnTo>
                      <a:lnTo>
                        <a:pt x="34" y="477"/>
                      </a:lnTo>
                      <a:lnTo>
                        <a:pt x="34" y="476"/>
                      </a:lnTo>
                      <a:lnTo>
                        <a:pt x="37" y="473"/>
                      </a:lnTo>
                      <a:lnTo>
                        <a:pt x="37" y="470"/>
                      </a:lnTo>
                      <a:lnTo>
                        <a:pt x="37" y="467"/>
                      </a:lnTo>
                      <a:lnTo>
                        <a:pt x="37" y="464"/>
                      </a:lnTo>
                      <a:lnTo>
                        <a:pt x="37" y="461"/>
                      </a:lnTo>
                      <a:lnTo>
                        <a:pt x="39" y="460"/>
                      </a:lnTo>
                      <a:lnTo>
                        <a:pt x="41" y="461"/>
                      </a:lnTo>
                      <a:lnTo>
                        <a:pt x="43" y="461"/>
                      </a:lnTo>
                      <a:lnTo>
                        <a:pt x="46" y="461"/>
                      </a:lnTo>
                      <a:lnTo>
                        <a:pt x="47" y="461"/>
                      </a:lnTo>
                      <a:lnTo>
                        <a:pt x="48" y="459"/>
                      </a:lnTo>
                      <a:lnTo>
                        <a:pt x="47" y="452"/>
                      </a:lnTo>
                      <a:lnTo>
                        <a:pt x="48" y="445"/>
                      </a:lnTo>
                      <a:lnTo>
                        <a:pt x="47" y="438"/>
                      </a:lnTo>
                      <a:lnTo>
                        <a:pt x="46" y="433"/>
                      </a:lnTo>
                      <a:lnTo>
                        <a:pt x="45" y="429"/>
                      </a:lnTo>
                      <a:lnTo>
                        <a:pt x="43" y="427"/>
                      </a:lnTo>
                      <a:lnTo>
                        <a:pt x="45" y="425"/>
                      </a:lnTo>
                      <a:lnTo>
                        <a:pt x="46" y="421"/>
                      </a:lnTo>
                      <a:lnTo>
                        <a:pt x="46" y="419"/>
                      </a:lnTo>
                      <a:lnTo>
                        <a:pt x="43" y="414"/>
                      </a:lnTo>
                      <a:lnTo>
                        <a:pt x="39" y="410"/>
                      </a:lnTo>
                      <a:lnTo>
                        <a:pt x="37" y="406"/>
                      </a:lnTo>
                      <a:lnTo>
                        <a:pt x="36" y="400"/>
                      </a:lnTo>
                      <a:lnTo>
                        <a:pt x="34" y="390"/>
                      </a:lnTo>
                      <a:lnTo>
                        <a:pt x="36" y="381"/>
                      </a:lnTo>
                      <a:lnTo>
                        <a:pt x="36" y="377"/>
                      </a:lnTo>
                      <a:lnTo>
                        <a:pt x="33" y="374"/>
                      </a:lnTo>
                      <a:lnTo>
                        <a:pt x="31" y="370"/>
                      </a:lnTo>
                      <a:lnTo>
                        <a:pt x="29" y="367"/>
                      </a:lnTo>
                      <a:lnTo>
                        <a:pt x="29" y="364"/>
                      </a:lnTo>
                      <a:lnTo>
                        <a:pt x="29" y="362"/>
                      </a:lnTo>
                      <a:lnTo>
                        <a:pt x="29" y="359"/>
                      </a:lnTo>
                      <a:lnTo>
                        <a:pt x="29" y="357"/>
                      </a:lnTo>
                      <a:lnTo>
                        <a:pt x="27" y="355"/>
                      </a:lnTo>
                      <a:lnTo>
                        <a:pt x="24" y="352"/>
                      </a:lnTo>
                      <a:lnTo>
                        <a:pt x="24" y="350"/>
                      </a:lnTo>
                      <a:lnTo>
                        <a:pt x="22" y="345"/>
                      </a:lnTo>
                      <a:lnTo>
                        <a:pt x="19" y="342"/>
                      </a:lnTo>
                      <a:lnTo>
                        <a:pt x="17" y="332"/>
                      </a:lnTo>
                      <a:lnTo>
                        <a:pt x="13" y="324"/>
                      </a:lnTo>
                      <a:lnTo>
                        <a:pt x="6" y="317"/>
                      </a:lnTo>
                      <a:lnTo>
                        <a:pt x="1" y="310"/>
                      </a:lnTo>
                      <a:lnTo>
                        <a:pt x="0" y="308"/>
                      </a:lnTo>
                      <a:lnTo>
                        <a:pt x="0" y="307"/>
                      </a:lnTo>
                      <a:lnTo>
                        <a:pt x="1" y="307"/>
                      </a:lnTo>
                      <a:lnTo>
                        <a:pt x="4" y="308"/>
                      </a:lnTo>
                      <a:lnTo>
                        <a:pt x="5" y="310"/>
                      </a:lnTo>
                      <a:lnTo>
                        <a:pt x="9" y="314"/>
                      </a:lnTo>
                      <a:lnTo>
                        <a:pt x="12" y="316"/>
                      </a:lnTo>
                      <a:lnTo>
                        <a:pt x="13" y="314"/>
                      </a:lnTo>
                      <a:lnTo>
                        <a:pt x="14" y="312"/>
                      </a:lnTo>
                      <a:lnTo>
                        <a:pt x="13" y="310"/>
                      </a:lnTo>
                      <a:lnTo>
                        <a:pt x="10" y="305"/>
                      </a:lnTo>
                      <a:lnTo>
                        <a:pt x="10" y="304"/>
                      </a:lnTo>
                      <a:lnTo>
                        <a:pt x="14" y="306"/>
                      </a:lnTo>
                      <a:lnTo>
                        <a:pt x="17" y="310"/>
                      </a:lnTo>
                      <a:lnTo>
                        <a:pt x="19" y="312"/>
                      </a:lnTo>
                      <a:lnTo>
                        <a:pt x="20" y="311"/>
                      </a:lnTo>
                      <a:lnTo>
                        <a:pt x="23" y="310"/>
                      </a:lnTo>
                      <a:lnTo>
                        <a:pt x="23" y="307"/>
                      </a:lnTo>
                      <a:lnTo>
                        <a:pt x="23" y="301"/>
                      </a:lnTo>
                      <a:lnTo>
                        <a:pt x="19" y="291"/>
                      </a:lnTo>
                      <a:lnTo>
                        <a:pt x="17" y="290"/>
                      </a:lnTo>
                      <a:lnTo>
                        <a:pt x="12" y="279"/>
                      </a:lnTo>
                      <a:lnTo>
                        <a:pt x="12" y="278"/>
                      </a:lnTo>
                      <a:lnTo>
                        <a:pt x="12" y="276"/>
                      </a:lnTo>
                      <a:lnTo>
                        <a:pt x="13" y="275"/>
                      </a:lnTo>
                      <a:lnTo>
                        <a:pt x="13" y="274"/>
                      </a:lnTo>
                      <a:lnTo>
                        <a:pt x="10" y="272"/>
                      </a:lnTo>
                      <a:lnTo>
                        <a:pt x="10" y="268"/>
                      </a:lnTo>
                      <a:lnTo>
                        <a:pt x="10" y="265"/>
                      </a:lnTo>
                      <a:lnTo>
                        <a:pt x="13" y="258"/>
                      </a:lnTo>
                      <a:lnTo>
                        <a:pt x="15" y="252"/>
                      </a:lnTo>
                      <a:lnTo>
                        <a:pt x="17" y="248"/>
                      </a:lnTo>
                      <a:lnTo>
                        <a:pt x="13" y="241"/>
                      </a:lnTo>
                      <a:lnTo>
                        <a:pt x="12" y="234"/>
                      </a:lnTo>
                      <a:lnTo>
                        <a:pt x="13" y="227"/>
                      </a:lnTo>
                      <a:lnTo>
                        <a:pt x="15" y="223"/>
                      </a:lnTo>
                      <a:lnTo>
                        <a:pt x="18" y="220"/>
                      </a:lnTo>
                      <a:lnTo>
                        <a:pt x="19" y="220"/>
                      </a:lnTo>
                      <a:lnTo>
                        <a:pt x="20" y="221"/>
                      </a:lnTo>
                      <a:lnTo>
                        <a:pt x="22" y="223"/>
                      </a:lnTo>
                      <a:lnTo>
                        <a:pt x="23" y="224"/>
                      </a:lnTo>
                      <a:lnTo>
                        <a:pt x="24" y="225"/>
                      </a:lnTo>
                      <a:lnTo>
                        <a:pt x="27" y="225"/>
                      </a:lnTo>
                      <a:lnTo>
                        <a:pt x="29" y="224"/>
                      </a:lnTo>
                      <a:lnTo>
                        <a:pt x="31" y="222"/>
                      </a:lnTo>
                      <a:lnTo>
                        <a:pt x="33" y="217"/>
                      </a:lnTo>
                      <a:lnTo>
                        <a:pt x="39" y="211"/>
                      </a:lnTo>
                      <a:lnTo>
                        <a:pt x="47" y="207"/>
                      </a:lnTo>
                      <a:lnTo>
                        <a:pt x="61" y="197"/>
                      </a:lnTo>
                      <a:lnTo>
                        <a:pt x="64" y="195"/>
                      </a:lnTo>
                      <a:lnTo>
                        <a:pt x="67" y="193"/>
                      </a:lnTo>
                      <a:lnTo>
                        <a:pt x="75" y="195"/>
                      </a:lnTo>
                      <a:lnTo>
                        <a:pt x="79" y="195"/>
                      </a:lnTo>
                      <a:lnTo>
                        <a:pt x="83" y="192"/>
                      </a:lnTo>
                      <a:lnTo>
                        <a:pt x="92" y="188"/>
                      </a:lnTo>
                      <a:lnTo>
                        <a:pt x="100" y="184"/>
                      </a:lnTo>
                      <a:lnTo>
                        <a:pt x="111" y="183"/>
                      </a:lnTo>
                      <a:lnTo>
                        <a:pt x="121" y="183"/>
                      </a:lnTo>
                      <a:lnTo>
                        <a:pt x="123" y="182"/>
                      </a:lnTo>
                      <a:lnTo>
                        <a:pt x="126" y="180"/>
                      </a:lnTo>
                      <a:lnTo>
                        <a:pt x="131" y="176"/>
                      </a:lnTo>
                      <a:lnTo>
                        <a:pt x="136" y="175"/>
                      </a:lnTo>
                      <a:lnTo>
                        <a:pt x="141" y="173"/>
                      </a:lnTo>
                      <a:lnTo>
                        <a:pt x="142" y="172"/>
                      </a:lnTo>
                      <a:lnTo>
                        <a:pt x="144" y="171"/>
                      </a:lnTo>
                      <a:lnTo>
                        <a:pt x="145" y="164"/>
                      </a:lnTo>
                      <a:lnTo>
                        <a:pt x="147" y="158"/>
                      </a:lnTo>
                      <a:lnTo>
                        <a:pt x="149" y="156"/>
                      </a:lnTo>
                      <a:lnTo>
                        <a:pt x="151" y="153"/>
                      </a:lnTo>
                      <a:lnTo>
                        <a:pt x="155" y="152"/>
                      </a:lnTo>
                      <a:lnTo>
                        <a:pt x="159" y="152"/>
                      </a:lnTo>
                      <a:lnTo>
                        <a:pt x="160" y="151"/>
                      </a:lnTo>
                      <a:lnTo>
                        <a:pt x="161" y="150"/>
                      </a:lnTo>
                      <a:lnTo>
                        <a:pt x="163" y="147"/>
                      </a:lnTo>
                      <a:lnTo>
                        <a:pt x="163" y="138"/>
                      </a:lnTo>
                      <a:lnTo>
                        <a:pt x="164" y="126"/>
                      </a:lnTo>
                      <a:lnTo>
                        <a:pt x="165" y="118"/>
                      </a:lnTo>
                      <a:lnTo>
                        <a:pt x="166" y="114"/>
                      </a:lnTo>
                      <a:lnTo>
                        <a:pt x="169" y="113"/>
                      </a:lnTo>
                      <a:lnTo>
                        <a:pt x="172" y="114"/>
                      </a:lnTo>
                      <a:lnTo>
                        <a:pt x="174" y="115"/>
                      </a:lnTo>
                      <a:lnTo>
                        <a:pt x="175" y="116"/>
                      </a:lnTo>
                      <a:lnTo>
                        <a:pt x="177" y="119"/>
                      </a:lnTo>
                      <a:lnTo>
                        <a:pt x="178" y="125"/>
                      </a:lnTo>
                      <a:lnTo>
                        <a:pt x="179" y="129"/>
                      </a:lnTo>
                      <a:lnTo>
                        <a:pt x="182" y="132"/>
                      </a:lnTo>
                      <a:lnTo>
                        <a:pt x="183" y="132"/>
                      </a:lnTo>
                      <a:lnTo>
                        <a:pt x="184" y="131"/>
                      </a:lnTo>
                      <a:lnTo>
                        <a:pt x="183" y="125"/>
                      </a:lnTo>
                      <a:lnTo>
                        <a:pt x="183" y="119"/>
                      </a:lnTo>
                      <a:lnTo>
                        <a:pt x="183" y="116"/>
                      </a:lnTo>
                      <a:lnTo>
                        <a:pt x="183" y="114"/>
                      </a:lnTo>
                      <a:lnTo>
                        <a:pt x="184" y="112"/>
                      </a:lnTo>
                      <a:lnTo>
                        <a:pt x="188" y="110"/>
                      </a:lnTo>
                      <a:lnTo>
                        <a:pt x="189" y="110"/>
                      </a:lnTo>
                      <a:lnTo>
                        <a:pt x="192" y="112"/>
                      </a:lnTo>
                      <a:lnTo>
                        <a:pt x="193" y="112"/>
                      </a:lnTo>
                      <a:lnTo>
                        <a:pt x="194" y="113"/>
                      </a:lnTo>
                      <a:lnTo>
                        <a:pt x="198" y="110"/>
                      </a:lnTo>
                      <a:lnTo>
                        <a:pt x="199" y="107"/>
                      </a:lnTo>
                      <a:lnTo>
                        <a:pt x="201" y="102"/>
                      </a:lnTo>
                      <a:lnTo>
                        <a:pt x="201" y="99"/>
                      </a:lnTo>
                      <a:lnTo>
                        <a:pt x="198" y="97"/>
                      </a:lnTo>
                      <a:lnTo>
                        <a:pt x="196" y="96"/>
                      </a:lnTo>
                      <a:lnTo>
                        <a:pt x="194" y="95"/>
                      </a:lnTo>
                      <a:lnTo>
                        <a:pt x="196" y="94"/>
                      </a:lnTo>
                      <a:lnTo>
                        <a:pt x="197" y="93"/>
                      </a:lnTo>
                      <a:lnTo>
                        <a:pt x="201" y="92"/>
                      </a:lnTo>
                      <a:lnTo>
                        <a:pt x="206" y="92"/>
                      </a:lnTo>
                      <a:lnTo>
                        <a:pt x="210" y="90"/>
                      </a:lnTo>
                      <a:lnTo>
                        <a:pt x="211" y="89"/>
                      </a:lnTo>
                      <a:lnTo>
                        <a:pt x="212" y="87"/>
                      </a:lnTo>
                      <a:lnTo>
                        <a:pt x="212" y="83"/>
                      </a:lnTo>
                      <a:lnTo>
                        <a:pt x="212" y="78"/>
                      </a:lnTo>
                      <a:lnTo>
                        <a:pt x="212" y="75"/>
                      </a:lnTo>
                      <a:lnTo>
                        <a:pt x="215" y="74"/>
                      </a:lnTo>
                      <a:lnTo>
                        <a:pt x="217" y="73"/>
                      </a:lnTo>
                      <a:lnTo>
                        <a:pt x="219" y="74"/>
                      </a:lnTo>
                      <a:lnTo>
                        <a:pt x="220" y="75"/>
                      </a:lnTo>
                      <a:lnTo>
                        <a:pt x="221" y="77"/>
                      </a:lnTo>
                      <a:lnTo>
                        <a:pt x="222" y="77"/>
                      </a:lnTo>
                      <a:lnTo>
                        <a:pt x="225" y="76"/>
                      </a:lnTo>
                      <a:lnTo>
                        <a:pt x="226" y="74"/>
                      </a:lnTo>
                      <a:lnTo>
                        <a:pt x="227" y="69"/>
                      </a:lnTo>
                      <a:lnTo>
                        <a:pt x="227" y="64"/>
                      </a:lnTo>
                      <a:lnTo>
                        <a:pt x="226" y="58"/>
                      </a:lnTo>
                      <a:lnTo>
                        <a:pt x="227" y="58"/>
                      </a:lnTo>
                      <a:lnTo>
                        <a:pt x="229" y="58"/>
                      </a:lnTo>
                      <a:lnTo>
                        <a:pt x="230" y="60"/>
                      </a:lnTo>
                      <a:lnTo>
                        <a:pt x="230" y="62"/>
                      </a:lnTo>
                      <a:lnTo>
                        <a:pt x="231" y="63"/>
                      </a:lnTo>
                      <a:lnTo>
                        <a:pt x="233" y="64"/>
                      </a:lnTo>
                      <a:lnTo>
                        <a:pt x="234" y="64"/>
                      </a:lnTo>
                      <a:lnTo>
                        <a:pt x="236" y="63"/>
                      </a:lnTo>
                      <a:lnTo>
                        <a:pt x="238" y="63"/>
                      </a:lnTo>
                      <a:lnTo>
                        <a:pt x="239" y="63"/>
                      </a:lnTo>
                      <a:lnTo>
                        <a:pt x="245" y="65"/>
                      </a:lnTo>
                      <a:lnTo>
                        <a:pt x="252" y="65"/>
                      </a:lnTo>
                      <a:lnTo>
                        <a:pt x="252" y="67"/>
                      </a:lnTo>
                      <a:lnTo>
                        <a:pt x="253" y="67"/>
                      </a:lnTo>
                      <a:lnTo>
                        <a:pt x="253" y="71"/>
                      </a:lnTo>
                      <a:lnTo>
                        <a:pt x="255" y="75"/>
                      </a:lnTo>
                      <a:lnTo>
                        <a:pt x="258" y="78"/>
                      </a:lnTo>
                      <a:lnTo>
                        <a:pt x="260" y="82"/>
                      </a:lnTo>
                      <a:lnTo>
                        <a:pt x="260" y="84"/>
                      </a:lnTo>
                      <a:lnTo>
                        <a:pt x="260" y="87"/>
                      </a:lnTo>
                      <a:lnTo>
                        <a:pt x="257" y="92"/>
                      </a:lnTo>
                      <a:lnTo>
                        <a:pt x="255" y="94"/>
                      </a:lnTo>
                      <a:lnTo>
                        <a:pt x="255" y="96"/>
                      </a:lnTo>
                      <a:lnTo>
                        <a:pt x="257" y="97"/>
                      </a:lnTo>
                      <a:lnTo>
                        <a:pt x="258" y="97"/>
                      </a:lnTo>
                      <a:lnTo>
                        <a:pt x="263" y="93"/>
                      </a:lnTo>
                      <a:lnTo>
                        <a:pt x="267" y="88"/>
                      </a:lnTo>
                      <a:lnTo>
                        <a:pt x="269" y="83"/>
                      </a:lnTo>
                      <a:lnTo>
                        <a:pt x="273" y="78"/>
                      </a:lnTo>
                      <a:lnTo>
                        <a:pt x="274" y="77"/>
                      </a:lnTo>
                      <a:lnTo>
                        <a:pt x="277" y="77"/>
                      </a:lnTo>
                      <a:lnTo>
                        <a:pt x="279" y="78"/>
                      </a:lnTo>
                      <a:lnTo>
                        <a:pt x="285" y="80"/>
                      </a:lnTo>
                      <a:lnTo>
                        <a:pt x="288" y="81"/>
                      </a:lnTo>
                      <a:lnTo>
                        <a:pt x="288" y="78"/>
                      </a:lnTo>
                      <a:lnTo>
                        <a:pt x="288" y="77"/>
                      </a:lnTo>
                      <a:lnTo>
                        <a:pt x="286" y="74"/>
                      </a:lnTo>
                      <a:lnTo>
                        <a:pt x="285" y="70"/>
                      </a:lnTo>
                      <a:lnTo>
                        <a:pt x="286" y="67"/>
                      </a:lnTo>
                      <a:lnTo>
                        <a:pt x="286" y="64"/>
                      </a:lnTo>
                      <a:lnTo>
                        <a:pt x="290" y="58"/>
                      </a:lnTo>
                      <a:lnTo>
                        <a:pt x="296" y="54"/>
                      </a:lnTo>
                      <a:lnTo>
                        <a:pt x="299" y="51"/>
                      </a:lnTo>
                      <a:lnTo>
                        <a:pt x="299" y="48"/>
                      </a:lnTo>
                      <a:lnTo>
                        <a:pt x="297" y="43"/>
                      </a:lnTo>
                      <a:lnTo>
                        <a:pt x="297" y="39"/>
                      </a:lnTo>
                      <a:lnTo>
                        <a:pt x="300" y="38"/>
                      </a:lnTo>
                      <a:lnTo>
                        <a:pt x="305" y="35"/>
                      </a:lnTo>
                      <a:lnTo>
                        <a:pt x="310" y="31"/>
                      </a:lnTo>
                      <a:lnTo>
                        <a:pt x="316" y="29"/>
                      </a:lnTo>
                      <a:lnTo>
                        <a:pt x="321" y="28"/>
                      </a:lnTo>
                      <a:lnTo>
                        <a:pt x="328" y="28"/>
                      </a:lnTo>
                      <a:lnTo>
                        <a:pt x="332" y="28"/>
                      </a:lnTo>
                      <a:lnTo>
                        <a:pt x="335" y="25"/>
                      </a:lnTo>
                      <a:lnTo>
                        <a:pt x="338" y="22"/>
                      </a:lnTo>
                      <a:lnTo>
                        <a:pt x="338" y="18"/>
                      </a:lnTo>
                      <a:lnTo>
                        <a:pt x="335" y="16"/>
                      </a:lnTo>
                      <a:lnTo>
                        <a:pt x="333" y="13"/>
                      </a:lnTo>
                      <a:lnTo>
                        <a:pt x="333" y="11"/>
                      </a:lnTo>
                      <a:lnTo>
                        <a:pt x="335" y="10"/>
                      </a:lnTo>
                      <a:lnTo>
                        <a:pt x="338" y="10"/>
                      </a:lnTo>
                      <a:lnTo>
                        <a:pt x="340" y="11"/>
                      </a:lnTo>
                      <a:lnTo>
                        <a:pt x="348" y="16"/>
                      </a:lnTo>
                      <a:lnTo>
                        <a:pt x="356" y="18"/>
                      </a:lnTo>
                      <a:lnTo>
                        <a:pt x="372" y="22"/>
                      </a:lnTo>
                      <a:lnTo>
                        <a:pt x="398" y="26"/>
                      </a:lnTo>
                      <a:lnTo>
                        <a:pt x="399" y="29"/>
                      </a:lnTo>
                      <a:lnTo>
                        <a:pt x="400" y="29"/>
                      </a:lnTo>
                      <a:lnTo>
                        <a:pt x="401" y="29"/>
                      </a:lnTo>
                      <a:lnTo>
                        <a:pt x="404" y="28"/>
                      </a:lnTo>
                      <a:lnTo>
                        <a:pt x="405" y="26"/>
                      </a:lnTo>
                      <a:lnTo>
                        <a:pt x="406" y="24"/>
                      </a:lnTo>
                      <a:lnTo>
                        <a:pt x="408" y="23"/>
                      </a:lnTo>
                      <a:lnTo>
                        <a:pt x="410" y="23"/>
                      </a:lnTo>
                      <a:lnTo>
                        <a:pt x="413" y="24"/>
                      </a:lnTo>
                      <a:lnTo>
                        <a:pt x="413" y="26"/>
                      </a:lnTo>
                      <a:lnTo>
                        <a:pt x="413" y="29"/>
                      </a:lnTo>
                      <a:lnTo>
                        <a:pt x="410" y="35"/>
                      </a:lnTo>
                      <a:lnTo>
                        <a:pt x="409" y="41"/>
                      </a:lnTo>
                      <a:lnTo>
                        <a:pt x="408" y="42"/>
                      </a:lnTo>
                      <a:lnTo>
                        <a:pt x="406" y="43"/>
                      </a:lnTo>
                      <a:lnTo>
                        <a:pt x="401" y="43"/>
                      </a:lnTo>
                      <a:lnTo>
                        <a:pt x="401" y="44"/>
                      </a:lnTo>
                      <a:lnTo>
                        <a:pt x="401" y="45"/>
                      </a:lnTo>
                      <a:lnTo>
                        <a:pt x="405" y="49"/>
                      </a:lnTo>
                      <a:lnTo>
                        <a:pt x="406" y="50"/>
                      </a:lnTo>
                      <a:lnTo>
                        <a:pt x="405" y="54"/>
                      </a:lnTo>
                      <a:lnTo>
                        <a:pt x="401" y="56"/>
                      </a:lnTo>
                      <a:lnTo>
                        <a:pt x="399" y="57"/>
                      </a:lnTo>
                      <a:lnTo>
                        <a:pt x="399" y="60"/>
                      </a:lnTo>
                      <a:lnTo>
                        <a:pt x="398" y="64"/>
                      </a:lnTo>
                      <a:lnTo>
                        <a:pt x="396" y="69"/>
                      </a:lnTo>
                      <a:lnTo>
                        <a:pt x="395" y="74"/>
                      </a:lnTo>
                      <a:lnTo>
                        <a:pt x="395" y="78"/>
                      </a:lnTo>
                      <a:lnTo>
                        <a:pt x="398" y="84"/>
                      </a:lnTo>
                      <a:lnTo>
                        <a:pt x="400" y="89"/>
                      </a:lnTo>
                      <a:lnTo>
                        <a:pt x="405" y="93"/>
                      </a:lnTo>
                      <a:lnTo>
                        <a:pt x="408" y="94"/>
                      </a:lnTo>
                      <a:lnTo>
                        <a:pt x="410" y="94"/>
                      </a:lnTo>
                      <a:lnTo>
                        <a:pt x="413" y="93"/>
                      </a:lnTo>
                      <a:lnTo>
                        <a:pt x="415" y="92"/>
                      </a:lnTo>
                      <a:lnTo>
                        <a:pt x="417" y="93"/>
                      </a:lnTo>
                      <a:lnTo>
                        <a:pt x="418" y="93"/>
                      </a:lnTo>
                      <a:lnTo>
                        <a:pt x="422" y="100"/>
                      </a:lnTo>
                      <a:lnTo>
                        <a:pt x="427" y="106"/>
                      </a:lnTo>
                      <a:lnTo>
                        <a:pt x="433" y="110"/>
                      </a:lnTo>
                      <a:lnTo>
                        <a:pt x="439" y="114"/>
                      </a:lnTo>
                      <a:lnTo>
                        <a:pt x="445" y="115"/>
                      </a:lnTo>
                      <a:lnTo>
                        <a:pt x="446" y="116"/>
                      </a:lnTo>
                      <a:lnTo>
                        <a:pt x="447" y="118"/>
                      </a:lnTo>
                      <a:lnTo>
                        <a:pt x="448" y="121"/>
                      </a:lnTo>
                      <a:lnTo>
                        <a:pt x="450" y="122"/>
                      </a:lnTo>
                      <a:lnTo>
                        <a:pt x="455" y="124"/>
                      </a:lnTo>
                      <a:lnTo>
                        <a:pt x="457" y="125"/>
                      </a:lnTo>
                      <a:lnTo>
                        <a:pt x="462" y="129"/>
                      </a:lnTo>
                      <a:lnTo>
                        <a:pt x="466" y="134"/>
                      </a:lnTo>
                      <a:lnTo>
                        <a:pt x="469" y="137"/>
                      </a:lnTo>
                      <a:lnTo>
                        <a:pt x="471" y="138"/>
                      </a:lnTo>
                      <a:lnTo>
                        <a:pt x="474" y="138"/>
                      </a:lnTo>
                      <a:lnTo>
                        <a:pt x="475" y="138"/>
                      </a:lnTo>
                      <a:lnTo>
                        <a:pt x="479" y="134"/>
                      </a:lnTo>
                      <a:lnTo>
                        <a:pt x="484" y="124"/>
                      </a:lnTo>
                      <a:lnTo>
                        <a:pt x="495" y="93"/>
                      </a:lnTo>
                      <a:lnTo>
                        <a:pt x="495" y="87"/>
                      </a:lnTo>
                      <a:lnTo>
                        <a:pt x="495" y="81"/>
                      </a:lnTo>
                      <a:lnTo>
                        <a:pt x="493" y="76"/>
                      </a:lnTo>
                      <a:lnTo>
                        <a:pt x="493" y="73"/>
                      </a:lnTo>
                      <a:lnTo>
                        <a:pt x="493" y="70"/>
                      </a:lnTo>
                      <a:lnTo>
                        <a:pt x="495" y="64"/>
                      </a:lnTo>
                      <a:lnTo>
                        <a:pt x="495" y="62"/>
                      </a:lnTo>
                      <a:lnTo>
                        <a:pt x="495" y="58"/>
                      </a:lnTo>
                      <a:lnTo>
                        <a:pt x="495" y="54"/>
                      </a:lnTo>
                      <a:lnTo>
                        <a:pt x="495" y="49"/>
                      </a:lnTo>
                      <a:lnTo>
                        <a:pt x="497" y="38"/>
                      </a:lnTo>
                      <a:lnTo>
                        <a:pt x="497" y="28"/>
                      </a:lnTo>
                      <a:lnTo>
                        <a:pt x="498" y="24"/>
                      </a:lnTo>
                      <a:lnTo>
                        <a:pt x="500" y="22"/>
                      </a:lnTo>
                      <a:lnTo>
                        <a:pt x="504" y="19"/>
                      </a:lnTo>
                      <a:lnTo>
                        <a:pt x="506" y="19"/>
                      </a:lnTo>
                      <a:lnTo>
                        <a:pt x="507" y="18"/>
                      </a:lnTo>
                      <a:lnTo>
                        <a:pt x="507" y="12"/>
                      </a:lnTo>
                      <a:lnTo>
                        <a:pt x="506" y="5"/>
                      </a:lnTo>
                      <a:lnTo>
                        <a:pt x="506" y="3"/>
                      </a:lnTo>
                      <a:lnTo>
                        <a:pt x="507" y="0"/>
                      </a:lnTo>
                      <a:lnTo>
                        <a:pt x="508" y="0"/>
                      </a:lnTo>
                      <a:lnTo>
                        <a:pt x="511" y="0"/>
                      </a:lnTo>
                      <a:lnTo>
                        <a:pt x="514" y="3"/>
                      </a:lnTo>
                      <a:lnTo>
                        <a:pt x="516" y="5"/>
                      </a:lnTo>
                      <a:lnTo>
                        <a:pt x="518" y="12"/>
                      </a:lnTo>
                      <a:lnTo>
                        <a:pt x="519" y="22"/>
                      </a:lnTo>
                      <a:lnTo>
                        <a:pt x="522" y="29"/>
                      </a:lnTo>
                      <a:lnTo>
                        <a:pt x="527" y="38"/>
                      </a:lnTo>
                      <a:lnTo>
                        <a:pt x="528" y="43"/>
                      </a:lnTo>
                      <a:lnTo>
                        <a:pt x="530" y="49"/>
                      </a:lnTo>
                      <a:lnTo>
                        <a:pt x="531" y="55"/>
                      </a:lnTo>
                      <a:lnTo>
                        <a:pt x="531" y="61"/>
                      </a:lnTo>
                      <a:lnTo>
                        <a:pt x="532" y="65"/>
                      </a:lnTo>
                      <a:lnTo>
                        <a:pt x="535" y="71"/>
                      </a:lnTo>
                      <a:lnTo>
                        <a:pt x="536" y="71"/>
                      </a:lnTo>
                      <a:lnTo>
                        <a:pt x="537" y="73"/>
                      </a:lnTo>
                      <a:lnTo>
                        <a:pt x="541" y="71"/>
                      </a:lnTo>
                      <a:lnTo>
                        <a:pt x="544" y="69"/>
                      </a:lnTo>
                      <a:lnTo>
                        <a:pt x="546" y="69"/>
                      </a:lnTo>
                      <a:lnTo>
                        <a:pt x="550" y="70"/>
                      </a:lnTo>
                      <a:lnTo>
                        <a:pt x="553" y="74"/>
                      </a:lnTo>
                      <a:lnTo>
                        <a:pt x="556" y="83"/>
                      </a:lnTo>
                      <a:lnTo>
                        <a:pt x="566" y="106"/>
                      </a:lnTo>
                      <a:lnTo>
                        <a:pt x="577" y="128"/>
                      </a:lnTo>
                      <a:lnTo>
                        <a:pt x="578" y="132"/>
                      </a:lnTo>
                      <a:lnTo>
                        <a:pt x="578" y="135"/>
                      </a:lnTo>
                      <a:lnTo>
                        <a:pt x="575" y="143"/>
                      </a:lnTo>
                      <a:lnTo>
                        <a:pt x="575" y="148"/>
                      </a:lnTo>
                      <a:lnTo>
                        <a:pt x="577" y="154"/>
                      </a:lnTo>
                      <a:lnTo>
                        <a:pt x="580" y="160"/>
                      </a:lnTo>
                      <a:lnTo>
                        <a:pt x="584" y="165"/>
                      </a:lnTo>
                      <a:lnTo>
                        <a:pt x="589" y="170"/>
                      </a:lnTo>
                      <a:lnTo>
                        <a:pt x="596" y="173"/>
                      </a:lnTo>
                      <a:lnTo>
                        <a:pt x="602" y="175"/>
                      </a:lnTo>
                      <a:lnTo>
                        <a:pt x="610" y="177"/>
                      </a:lnTo>
                      <a:lnTo>
                        <a:pt x="612" y="178"/>
                      </a:lnTo>
                      <a:lnTo>
                        <a:pt x="616" y="180"/>
                      </a:lnTo>
                      <a:lnTo>
                        <a:pt x="619" y="184"/>
                      </a:lnTo>
                      <a:lnTo>
                        <a:pt x="620" y="188"/>
                      </a:lnTo>
                      <a:lnTo>
                        <a:pt x="620" y="196"/>
                      </a:lnTo>
                      <a:lnTo>
                        <a:pt x="621" y="197"/>
                      </a:lnTo>
                      <a:lnTo>
                        <a:pt x="621" y="198"/>
                      </a:lnTo>
                      <a:lnTo>
                        <a:pt x="625" y="201"/>
                      </a:lnTo>
                      <a:lnTo>
                        <a:pt x="629" y="204"/>
                      </a:lnTo>
                      <a:lnTo>
                        <a:pt x="633" y="211"/>
                      </a:lnTo>
                      <a:lnTo>
                        <a:pt x="638" y="217"/>
                      </a:lnTo>
                      <a:lnTo>
                        <a:pt x="639" y="221"/>
                      </a:lnTo>
                      <a:lnTo>
                        <a:pt x="641" y="222"/>
                      </a:lnTo>
                      <a:lnTo>
                        <a:pt x="649" y="228"/>
                      </a:lnTo>
                      <a:lnTo>
                        <a:pt x="654" y="234"/>
                      </a:lnTo>
                      <a:lnTo>
                        <a:pt x="655" y="241"/>
                      </a:lnTo>
                      <a:lnTo>
                        <a:pt x="655" y="249"/>
                      </a:lnTo>
                      <a:lnTo>
                        <a:pt x="657" y="254"/>
                      </a:lnTo>
                      <a:lnTo>
                        <a:pt x="659" y="259"/>
                      </a:lnTo>
                      <a:lnTo>
                        <a:pt x="663" y="262"/>
                      </a:lnTo>
                      <a:lnTo>
                        <a:pt x="668" y="266"/>
                      </a:lnTo>
                      <a:lnTo>
                        <a:pt x="669" y="266"/>
                      </a:lnTo>
                      <a:lnTo>
                        <a:pt x="669" y="267"/>
                      </a:lnTo>
                      <a:lnTo>
                        <a:pt x="671" y="268"/>
                      </a:lnTo>
                      <a:lnTo>
                        <a:pt x="676" y="269"/>
                      </a:lnTo>
                      <a:lnTo>
                        <a:pt x="681" y="273"/>
                      </a:lnTo>
                      <a:lnTo>
                        <a:pt x="683" y="276"/>
                      </a:lnTo>
                      <a:lnTo>
                        <a:pt x="686" y="281"/>
                      </a:lnTo>
                      <a:lnTo>
                        <a:pt x="695" y="301"/>
                      </a:lnTo>
                      <a:lnTo>
                        <a:pt x="696" y="308"/>
                      </a:lnTo>
                      <a:lnTo>
                        <a:pt x="697" y="313"/>
                      </a:lnTo>
                      <a:lnTo>
                        <a:pt x="700" y="316"/>
                      </a:lnTo>
                      <a:lnTo>
                        <a:pt x="701" y="319"/>
                      </a:lnTo>
                      <a:lnTo>
                        <a:pt x="702" y="322"/>
                      </a:lnTo>
                      <a:lnTo>
                        <a:pt x="705" y="364"/>
                      </a:lnTo>
                      <a:lnTo>
                        <a:pt x="704" y="376"/>
                      </a:lnTo>
                      <a:lnTo>
                        <a:pt x="701" y="388"/>
                      </a:lnTo>
                      <a:lnTo>
                        <a:pt x="693" y="413"/>
                      </a:lnTo>
                      <a:lnTo>
                        <a:pt x="690" y="421"/>
                      </a:lnTo>
                      <a:lnTo>
                        <a:pt x="683" y="432"/>
                      </a:lnTo>
                      <a:lnTo>
                        <a:pt x="671" y="448"/>
                      </a:lnTo>
                      <a:lnTo>
                        <a:pt x="668" y="453"/>
                      </a:lnTo>
                      <a:lnTo>
                        <a:pt x="666" y="457"/>
                      </a:lnTo>
                      <a:lnTo>
                        <a:pt x="664" y="460"/>
                      </a:lnTo>
                      <a:lnTo>
                        <a:pt x="664" y="463"/>
                      </a:lnTo>
                      <a:lnTo>
                        <a:pt x="657" y="476"/>
                      </a:lnTo>
                      <a:lnTo>
                        <a:pt x="652" y="490"/>
                      </a:lnTo>
                      <a:lnTo>
                        <a:pt x="650" y="492"/>
                      </a:lnTo>
                      <a:lnTo>
                        <a:pt x="646" y="495"/>
                      </a:lnTo>
                      <a:lnTo>
                        <a:pt x="645" y="496"/>
                      </a:lnTo>
                      <a:lnTo>
                        <a:pt x="645" y="497"/>
                      </a:lnTo>
                      <a:lnTo>
                        <a:pt x="649" y="503"/>
                      </a:lnTo>
                      <a:lnTo>
                        <a:pt x="649" y="506"/>
                      </a:lnTo>
                      <a:lnTo>
                        <a:pt x="648" y="509"/>
                      </a:lnTo>
                      <a:lnTo>
                        <a:pt x="645" y="520"/>
                      </a:lnTo>
                      <a:lnTo>
                        <a:pt x="644" y="524"/>
                      </a:lnTo>
                      <a:lnTo>
                        <a:pt x="645" y="530"/>
                      </a:lnTo>
                      <a:lnTo>
                        <a:pt x="646" y="534"/>
                      </a:lnTo>
                      <a:lnTo>
                        <a:pt x="646" y="536"/>
                      </a:lnTo>
                      <a:lnTo>
                        <a:pt x="645" y="537"/>
                      </a:lnTo>
                      <a:lnTo>
                        <a:pt x="643" y="542"/>
                      </a:lnTo>
                      <a:lnTo>
                        <a:pt x="640" y="547"/>
                      </a:lnTo>
                      <a:lnTo>
                        <a:pt x="638" y="550"/>
                      </a:lnTo>
                      <a:lnTo>
                        <a:pt x="634" y="554"/>
                      </a:lnTo>
                      <a:lnTo>
                        <a:pt x="629" y="556"/>
                      </a:lnTo>
                      <a:lnTo>
                        <a:pt x="622" y="557"/>
                      </a:lnTo>
                      <a:lnTo>
                        <a:pt x="610" y="557"/>
                      </a:lnTo>
                      <a:lnTo>
                        <a:pt x="610" y="559"/>
                      </a:lnTo>
                      <a:lnTo>
                        <a:pt x="603" y="560"/>
                      </a:lnTo>
                      <a:lnTo>
                        <a:pt x="598" y="562"/>
                      </a:lnTo>
                      <a:lnTo>
                        <a:pt x="593" y="567"/>
                      </a:lnTo>
                      <a:lnTo>
                        <a:pt x="589" y="570"/>
                      </a:lnTo>
                      <a:lnTo>
                        <a:pt x="587" y="572"/>
                      </a:lnTo>
                      <a:lnTo>
                        <a:pt x="583" y="573"/>
                      </a:lnTo>
                      <a:lnTo>
                        <a:pt x="579" y="573"/>
                      </a:lnTo>
                      <a:lnTo>
                        <a:pt x="577" y="575"/>
                      </a:lnTo>
                      <a:lnTo>
                        <a:pt x="577" y="576"/>
                      </a:lnTo>
                      <a:lnTo>
                        <a:pt x="578" y="579"/>
                      </a:lnTo>
                      <a:lnTo>
                        <a:pt x="579" y="581"/>
                      </a:lnTo>
                      <a:lnTo>
                        <a:pt x="579" y="582"/>
                      </a:lnTo>
                      <a:lnTo>
                        <a:pt x="578" y="584"/>
                      </a:lnTo>
                      <a:lnTo>
                        <a:pt x="577" y="582"/>
                      </a:lnTo>
                      <a:lnTo>
                        <a:pt x="575" y="580"/>
                      </a:lnTo>
                      <a:lnTo>
                        <a:pt x="570" y="576"/>
                      </a:lnTo>
                      <a:lnTo>
                        <a:pt x="566" y="572"/>
                      </a:lnTo>
                      <a:lnTo>
                        <a:pt x="563" y="570"/>
                      </a:lnTo>
                      <a:lnTo>
                        <a:pt x="556" y="570"/>
                      </a:lnTo>
                      <a:lnTo>
                        <a:pt x="561" y="567"/>
                      </a:lnTo>
                      <a:lnTo>
                        <a:pt x="563" y="565"/>
                      </a:lnTo>
                      <a:lnTo>
                        <a:pt x="564" y="562"/>
                      </a:lnTo>
                      <a:lnTo>
                        <a:pt x="563" y="559"/>
                      </a:lnTo>
                      <a:lnTo>
                        <a:pt x="560" y="556"/>
                      </a:lnTo>
                      <a:lnTo>
                        <a:pt x="556" y="555"/>
                      </a:lnTo>
                      <a:lnTo>
                        <a:pt x="553" y="554"/>
                      </a:lnTo>
                      <a:lnTo>
                        <a:pt x="551" y="555"/>
                      </a:lnTo>
                      <a:lnTo>
                        <a:pt x="550" y="557"/>
                      </a:lnTo>
                      <a:lnTo>
                        <a:pt x="549" y="560"/>
                      </a:lnTo>
                      <a:lnTo>
                        <a:pt x="550" y="562"/>
                      </a:lnTo>
                      <a:lnTo>
                        <a:pt x="551" y="565"/>
                      </a:lnTo>
                      <a:lnTo>
                        <a:pt x="551" y="566"/>
                      </a:lnTo>
                      <a:lnTo>
                        <a:pt x="551" y="567"/>
                      </a:lnTo>
                      <a:lnTo>
                        <a:pt x="550" y="567"/>
                      </a:lnTo>
                      <a:lnTo>
                        <a:pt x="549" y="567"/>
                      </a:lnTo>
                      <a:lnTo>
                        <a:pt x="546" y="566"/>
                      </a:lnTo>
                      <a:lnTo>
                        <a:pt x="540" y="567"/>
                      </a:lnTo>
                      <a:lnTo>
                        <a:pt x="535" y="568"/>
                      </a:lnTo>
                      <a:lnTo>
                        <a:pt x="531" y="569"/>
                      </a:lnTo>
                      <a:lnTo>
                        <a:pt x="528" y="572"/>
                      </a:lnTo>
                      <a:lnTo>
                        <a:pt x="525" y="573"/>
                      </a:lnTo>
                      <a:lnTo>
                        <a:pt x="522" y="573"/>
                      </a:lnTo>
                      <a:lnTo>
                        <a:pt x="519" y="573"/>
                      </a:lnTo>
                      <a:lnTo>
                        <a:pt x="514" y="569"/>
                      </a:lnTo>
                      <a:lnTo>
                        <a:pt x="508" y="566"/>
                      </a:lnTo>
                      <a:lnTo>
                        <a:pt x="506" y="566"/>
                      </a:lnTo>
                      <a:lnTo>
                        <a:pt x="503" y="565"/>
                      </a:lnTo>
                      <a:lnTo>
                        <a:pt x="500" y="566"/>
                      </a:lnTo>
                      <a:lnTo>
                        <a:pt x="497" y="568"/>
                      </a:lnTo>
                      <a:lnTo>
                        <a:pt x="495" y="568"/>
                      </a:lnTo>
                      <a:lnTo>
                        <a:pt x="494" y="568"/>
                      </a:lnTo>
                      <a:lnTo>
                        <a:pt x="492" y="567"/>
                      </a:lnTo>
                      <a:lnTo>
                        <a:pt x="490" y="566"/>
                      </a:lnTo>
                      <a:lnTo>
                        <a:pt x="489" y="563"/>
                      </a:lnTo>
                      <a:lnTo>
                        <a:pt x="488" y="563"/>
                      </a:lnTo>
                      <a:lnTo>
                        <a:pt x="483" y="562"/>
                      </a:lnTo>
                      <a:lnTo>
                        <a:pt x="480" y="562"/>
                      </a:lnTo>
                      <a:lnTo>
                        <a:pt x="479" y="560"/>
                      </a:lnTo>
                      <a:lnTo>
                        <a:pt x="469" y="543"/>
                      </a:lnTo>
                      <a:lnTo>
                        <a:pt x="466" y="534"/>
                      </a:lnTo>
                      <a:lnTo>
                        <a:pt x="465" y="529"/>
                      </a:lnTo>
                      <a:lnTo>
                        <a:pt x="465" y="524"/>
                      </a:lnTo>
                      <a:lnTo>
                        <a:pt x="465" y="521"/>
                      </a:lnTo>
                      <a:lnTo>
                        <a:pt x="462" y="517"/>
                      </a:lnTo>
                      <a:lnTo>
                        <a:pt x="457" y="509"/>
                      </a:lnTo>
                      <a:lnTo>
                        <a:pt x="450" y="503"/>
                      </a:lnTo>
                      <a:lnTo>
                        <a:pt x="441" y="498"/>
                      </a:lnTo>
                      <a:lnTo>
                        <a:pt x="441" y="497"/>
                      </a:lnTo>
                      <a:lnTo>
                        <a:pt x="441" y="496"/>
                      </a:lnTo>
                      <a:lnTo>
                        <a:pt x="442" y="492"/>
                      </a:lnTo>
                      <a:lnTo>
                        <a:pt x="443" y="488"/>
                      </a:lnTo>
                      <a:lnTo>
                        <a:pt x="443" y="485"/>
                      </a:lnTo>
                      <a:lnTo>
                        <a:pt x="442" y="483"/>
                      </a:lnTo>
                      <a:lnTo>
                        <a:pt x="438" y="478"/>
                      </a:lnTo>
                      <a:lnTo>
                        <a:pt x="437" y="476"/>
                      </a:lnTo>
                      <a:lnTo>
                        <a:pt x="434" y="476"/>
                      </a:lnTo>
                      <a:lnTo>
                        <a:pt x="433" y="478"/>
                      </a:lnTo>
                      <a:lnTo>
                        <a:pt x="432" y="479"/>
                      </a:lnTo>
                      <a:lnTo>
                        <a:pt x="431" y="484"/>
                      </a:lnTo>
                      <a:lnTo>
                        <a:pt x="431" y="488"/>
                      </a:lnTo>
                      <a:lnTo>
                        <a:pt x="429" y="492"/>
                      </a:lnTo>
                      <a:lnTo>
                        <a:pt x="426" y="493"/>
                      </a:lnTo>
                      <a:lnTo>
                        <a:pt x="420" y="495"/>
                      </a:lnTo>
                      <a:lnTo>
                        <a:pt x="417" y="495"/>
                      </a:lnTo>
                      <a:lnTo>
                        <a:pt x="415" y="495"/>
                      </a:lnTo>
                      <a:lnTo>
                        <a:pt x="415" y="493"/>
                      </a:lnTo>
                      <a:lnTo>
                        <a:pt x="422" y="488"/>
                      </a:lnTo>
                      <a:lnTo>
                        <a:pt x="424" y="480"/>
                      </a:lnTo>
                      <a:lnTo>
                        <a:pt x="426" y="473"/>
                      </a:lnTo>
                      <a:lnTo>
                        <a:pt x="426" y="466"/>
                      </a:lnTo>
                      <a:lnTo>
                        <a:pt x="426" y="464"/>
                      </a:lnTo>
                      <a:lnTo>
                        <a:pt x="427" y="463"/>
                      </a:lnTo>
                      <a:lnTo>
                        <a:pt x="431" y="459"/>
                      </a:lnTo>
                      <a:lnTo>
                        <a:pt x="433" y="453"/>
                      </a:lnTo>
                      <a:lnTo>
                        <a:pt x="433" y="448"/>
                      </a:lnTo>
                      <a:lnTo>
                        <a:pt x="432" y="442"/>
                      </a:lnTo>
                      <a:lnTo>
                        <a:pt x="431" y="438"/>
                      </a:lnTo>
                      <a:lnTo>
                        <a:pt x="429" y="437"/>
                      </a:lnTo>
                      <a:lnTo>
                        <a:pt x="428" y="438"/>
                      </a:lnTo>
                      <a:lnTo>
                        <a:pt x="426" y="439"/>
                      </a:lnTo>
                      <a:lnTo>
                        <a:pt x="418" y="454"/>
                      </a:lnTo>
                      <a:lnTo>
                        <a:pt x="413" y="461"/>
                      </a:lnTo>
                      <a:lnTo>
                        <a:pt x="409" y="464"/>
                      </a:lnTo>
                      <a:lnTo>
                        <a:pt x="405" y="466"/>
                      </a:lnTo>
                      <a:lnTo>
                        <a:pt x="403" y="467"/>
                      </a:lnTo>
                      <a:lnTo>
                        <a:pt x="401" y="470"/>
                      </a:lnTo>
                      <a:lnTo>
                        <a:pt x="399" y="476"/>
                      </a:lnTo>
                      <a:lnTo>
                        <a:pt x="399" y="482"/>
                      </a:lnTo>
                      <a:lnTo>
                        <a:pt x="400" y="488"/>
                      </a:lnTo>
                      <a:lnTo>
                        <a:pt x="396" y="488"/>
                      </a:lnTo>
                      <a:lnTo>
                        <a:pt x="393" y="486"/>
                      </a:lnTo>
                      <a:lnTo>
                        <a:pt x="390" y="484"/>
                      </a:lnTo>
                      <a:lnTo>
                        <a:pt x="389" y="480"/>
                      </a:lnTo>
                      <a:lnTo>
                        <a:pt x="387" y="472"/>
                      </a:lnTo>
                      <a:lnTo>
                        <a:pt x="384" y="465"/>
                      </a:lnTo>
                      <a:lnTo>
                        <a:pt x="380" y="458"/>
                      </a:lnTo>
                      <a:lnTo>
                        <a:pt x="375" y="451"/>
                      </a:lnTo>
                      <a:lnTo>
                        <a:pt x="370" y="444"/>
                      </a:lnTo>
                      <a:lnTo>
                        <a:pt x="363" y="437"/>
                      </a:lnTo>
                      <a:lnTo>
                        <a:pt x="361" y="434"/>
                      </a:lnTo>
                      <a:lnTo>
                        <a:pt x="358" y="434"/>
                      </a:lnTo>
                      <a:lnTo>
                        <a:pt x="351" y="433"/>
                      </a:lnTo>
                      <a:lnTo>
                        <a:pt x="342" y="431"/>
                      </a:lnTo>
                      <a:lnTo>
                        <a:pt x="332" y="427"/>
                      </a:lnTo>
                      <a:lnTo>
                        <a:pt x="321" y="421"/>
                      </a:lnTo>
                      <a:lnTo>
                        <a:pt x="316" y="420"/>
                      </a:lnTo>
                      <a:lnTo>
                        <a:pt x="311" y="418"/>
                      </a:lnTo>
                      <a:lnTo>
                        <a:pt x="306" y="418"/>
                      </a:lnTo>
                      <a:lnTo>
                        <a:pt x="300" y="418"/>
                      </a:lnTo>
                      <a:lnTo>
                        <a:pt x="287" y="421"/>
                      </a:lnTo>
                      <a:lnTo>
                        <a:pt x="279" y="422"/>
                      </a:lnTo>
                      <a:lnTo>
                        <a:pt x="274" y="425"/>
                      </a:lnTo>
                      <a:lnTo>
                        <a:pt x="259" y="433"/>
                      </a:lnTo>
                      <a:lnTo>
                        <a:pt x="254" y="434"/>
                      </a:lnTo>
                      <a:lnTo>
                        <a:pt x="249" y="434"/>
                      </a:lnTo>
                      <a:lnTo>
                        <a:pt x="236" y="433"/>
                      </a:lnTo>
                      <a:lnTo>
                        <a:pt x="231" y="433"/>
                      </a:lnTo>
                      <a:lnTo>
                        <a:pt x="225" y="434"/>
                      </a:lnTo>
                      <a:lnTo>
                        <a:pt x="220" y="437"/>
                      </a:lnTo>
                      <a:lnTo>
                        <a:pt x="216" y="44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4" name="Freeform 443"/>
                <p:cNvSpPr>
                  <a:spLocks/>
                </p:cNvSpPr>
                <p:nvPr/>
              </p:nvSpPr>
              <p:spPr bwMode="auto">
                <a:xfrm>
                  <a:off x="5642275" y="4972053"/>
                  <a:ext cx="174625" cy="402525"/>
                </a:xfrm>
                <a:custGeom>
                  <a:avLst/>
                  <a:gdLst>
                    <a:gd name="T0" fmla="*/ 2147483647 w 128"/>
                    <a:gd name="T1" fmla="*/ 2147483647 h 272"/>
                    <a:gd name="T2" fmla="*/ 2147483647 w 128"/>
                    <a:gd name="T3" fmla="*/ 2147483647 h 272"/>
                    <a:gd name="T4" fmla="*/ 2147483647 w 128"/>
                    <a:gd name="T5" fmla="*/ 2147483647 h 272"/>
                    <a:gd name="T6" fmla="*/ 2147483647 w 128"/>
                    <a:gd name="T7" fmla="*/ 2147483647 h 272"/>
                    <a:gd name="T8" fmla="*/ 2147483647 w 128"/>
                    <a:gd name="T9" fmla="*/ 2147483647 h 272"/>
                    <a:gd name="T10" fmla="*/ 2147483647 w 128"/>
                    <a:gd name="T11" fmla="*/ 2147483647 h 272"/>
                    <a:gd name="T12" fmla="*/ 2147483647 w 128"/>
                    <a:gd name="T13" fmla="*/ 2147483647 h 272"/>
                    <a:gd name="T14" fmla="*/ 2147483647 w 128"/>
                    <a:gd name="T15" fmla="*/ 2147483647 h 272"/>
                    <a:gd name="T16" fmla="*/ 2147483647 w 128"/>
                    <a:gd name="T17" fmla="*/ 2147483647 h 272"/>
                    <a:gd name="T18" fmla="*/ 2147483647 w 128"/>
                    <a:gd name="T19" fmla="*/ 2147483647 h 272"/>
                    <a:gd name="T20" fmla="*/ 2147483647 w 128"/>
                    <a:gd name="T21" fmla="*/ 2147483647 h 272"/>
                    <a:gd name="T22" fmla="*/ 2147483647 w 128"/>
                    <a:gd name="T23" fmla="*/ 0 h 272"/>
                    <a:gd name="T24" fmla="*/ 2147483647 w 128"/>
                    <a:gd name="T25" fmla="*/ 2147483647 h 272"/>
                    <a:gd name="T26" fmla="*/ 2147483647 w 128"/>
                    <a:gd name="T27" fmla="*/ 2147483647 h 272"/>
                    <a:gd name="T28" fmla="*/ 2147483647 w 128"/>
                    <a:gd name="T29" fmla="*/ 2147483647 h 272"/>
                    <a:gd name="T30" fmla="*/ 2147483647 w 128"/>
                    <a:gd name="T31" fmla="*/ 2147483647 h 272"/>
                    <a:gd name="T32" fmla="*/ 2147483647 w 128"/>
                    <a:gd name="T33" fmla="*/ 2147483647 h 272"/>
                    <a:gd name="T34" fmla="*/ 2147483647 w 128"/>
                    <a:gd name="T35" fmla="*/ 2147483647 h 272"/>
                    <a:gd name="T36" fmla="*/ 2147483647 w 128"/>
                    <a:gd name="T37" fmla="*/ 2147483647 h 272"/>
                    <a:gd name="T38" fmla="*/ 2147483647 w 128"/>
                    <a:gd name="T39" fmla="*/ 2147483647 h 272"/>
                    <a:gd name="T40" fmla="*/ 2147483647 w 128"/>
                    <a:gd name="T41" fmla="*/ 2147483647 h 272"/>
                    <a:gd name="T42" fmla="*/ 2147483647 w 128"/>
                    <a:gd name="T43" fmla="*/ 2147483647 h 272"/>
                    <a:gd name="T44" fmla="*/ 2147483647 w 128"/>
                    <a:gd name="T45" fmla="*/ 2147483647 h 272"/>
                    <a:gd name="T46" fmla="*/ 2147483647 w 128"/>
                    <a:gd name="T47" fmla="*/ 2147483647 h 272"/>
                    <a:gd name="T48" fmla="*/ 2147483647 w 128"/>
                    <a:gd name="T49" fmla="*/ 2147483647 h 272"/>
                    <a:gd name="T50" fmla="*/ 2147483647 w 128"/>
                    <a:gd name="T51" fmla="*/ 2147483647 h 272"/>
                    <a:gd name="T52" fmla="*/ 2147483647 w 128"/>
                    <a:gd name="T53" fmla="*/ 2147483647 h 272"/>
                    <a:gd name="T54" fmla="*/ 2147483647 w 128"/>
                    <a:gd name="T55" fmla="*/ 2147483647 h 272"/>
                    <a:gd name="T56" fmla="*/ 2147483647 w 128"/>
                    <a:gd name="T57" fmla="*/ 2147483647 h 272"/>
                    <a:gd name="T58" fmla="*/ 2147483647 w 128"/>
                    <a:gd name="T59" fmla="*/ 2147483647 h 272"/>
                    <a:gd name="T60" fmla="*/ 2147483647 w 128"/>
                    <a:gd name="T61" fmla="*/ 2147483647 h 272"/>
                    <a:gd name="T62" fmla="*/ 0 w 128"/>
                    <a:gd name="T63" fmla="*/ 2147483647 h 272"/>
                    <a:gd name="T64" fmla="*/ 0 w 128"/>
                    <a:gd name="T65" fmla="*/ 2147483647 h 272"/>
                    <a:gd name="T66" fmla="*/ 2147483647 w 128"/>
                    <a:gd name="T67" fmla="*/ 2147483647 h 272"/>
                    <a:gd name="T68" fmla="*/ 2147483647 w 128"/>
                    <a:gd name="T69" fmla="*/ 2147483647 h 272"/>
                    <a:gd name="T70" fmla="*/ 2147483647 w 128"/>
                    <a:gd name="T71" fmla="*/ 2147483647 h 272"/>
                    <a:gd name="T72" fmla="*/ 2147483647 w 128"/>
                    <a:gd name="T73" fmla="*/ 2147483647 h 272"/>
                    <a:gd name="T74" fmla="*/ 2147483647 w 128"/>
                    <a:gd name="T75" fmla="*/ 2147483647 h 272"/>
                    <a:gd name="T76" fmla="*/ 2147483647 w 128"/>
                    <a:gd name="T77" fmla="*/ 2147483647 h 272"/>
                    <a:gd name="T78" fmla="*/ 2147483647 w 128"/>
                    <a:gd name="T79" fmla="*/ 2147483647 h 272"/>
                    <a:gd name="T80" fmla="*/ 2147483647 w 128"/>
                    <a:gd name="T81" fmla="*/ 2147483647 h 272"/>
                    <a:gd name="T82" fmla="*/ 2147483647 w 128"/>
                    <a:gd name="T83" fmla="*/ 2147483647 h 272"/>
                    <a:gd name="T84" fmla="*/ 2147483647 w 128"/>
                    <a:gd name="T85" fmla="*/ 2147483647 h 272"/>
                    <a:gd name="T86" fmla="*/ 2147483647 w 128"/>
                    <a:gd name="T87" fmla="*/ 2147483647 h 272"/>
                    <a:gd name="T88" fmla="*/ 2147483647 w 128"/>
                    <a:gd name="T89" fmla="*/ 2147483647 h 272"/>
                    <a:gd name="T90" fmla="*/ 2147483647 w 128"/>
                    <a:gd name="T91" fmla="*/ 2147483647 h 272"/>
                    <a:gd name="T92" fmla="*/ 2147483647 w 128"/>
                    <a:gd name="T93" fmla="*/ 2147483647 h 272"/>
                    <a:gd name="T94" fmla="*/ 2147483647 w 128"/>
                    <a:gd name="T95" fmla="*/ 2147483647 h 272"/>
                    <a:gd name="T96" fmla="*/ 2147483647 w 128"/>
                    <a:gd name="T97" fmla="*/ 2147483647 h 272"/>
                    <a:gd name="T98" fmla="*/ 2147483647 w 128"/>
                    <a:gd name="T99" fmla="*/ 2147483647 h 272"/>
                    <a:gd name="T100" fmla="*/ 2147483647 w 128"/>
                    <a:gd name="T101" fmla="*/ 2147483647 h 272"/>
                    <a:gd name="T102" fmla="*/ 2147483647 w 128"/>
                    <a:gd name="T103" fmla="*/ 2147483647 h 272"/>
                    <a:gd name="T104" fmla="*/ 2147483647 w 128"/>
                    <a:gd name="T105" fmla="*/ 2147483647 h 272"/>
                    <a:gd name="T106" fmla="*/ 2147483647 w 128"/>
                    <a:gd name="T107" fmla="*/ 2147483647 h 272"/>
                    <a:gd name="T108" fmla="*/ 2147483647 w 128"/>
                    <a:gd name="T109" fmla="*/ 2147483647 h 2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8"/>
                    <a:gd name="T166" fmla="*/ 0 h 272"/>
                    <a:gd name="T167" fmla="*/ 128 w 128"/>
                    <a:gd name="T168" fmla="*/ 272 h 2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8" h="272">
                      <a:moveTo>
                        <a:pt x="110" y="95"/>
                      </a:moveTo>
                      <a:lnTo>
                        <a:pt x="110" y="95"/>
                      </a:lnTo>
                      <a:lnTo>
                        <a:pt x="113" y="91"/>
                      </a:lnTo>
                      <a:lnTo>
                        <a:pt x="113" y="88"/>
                      </a:lnTo>
                      <a:lnTo>
                        <a:pt x="113" y="82"/>
                      </a:lnTo>
                      <a:lnTo>
                        <a:pt x="109" y="69"/>
                      </a:lnTo>
                      <a:lnTo>
                        <a:pt x="109" y="64"/>
                      </a:lnTo>
                      <a:lnTo>
                        <a:pt x="109" y="62"/>
                      </a:lnTo>
                      <a:lnTo>
                        <a:pt x="111" y="63"/>
                      </a:lnTo>
                      <a:lnTo>
                        <a:pt x="113" y="65"/>
                      </a:lnTo>
                      <a:lnTo>
                        <a:pt x="114" y="69"/>
                      </a:lnTo>
                      <a:lnTo>
                        <a:pt x="115" y="76"/>
                      </a:lnTo>
                      <a:lnTo>
                        <a:pt x="116" y="78"/>
                      </a:lnTo>
                      <a:lnTo>
                        <a:pt x="119" y="79"/>
                      </a:lnTo>
                      <a:lnTo>
                        <a:pt x="121" y="78"/>
                      </a:lnTo>
                      <a:lnTo>
                        <a:pt x="123" y="77"/>
                      </a:lnTo>
                      <a:lnTo>
                        <a:pt x="127" y="68"/>
                      </a:lnTo>
                      <a:lnTo>
                        <a:pt x="128" y="58"/>
                      </a:lnTo>
                      <a:lnTo>
                        <a:pt x="127" y="49"/>
                      </a:lnTo>
                      <a:lnTo>
                        <a:pt x="123" y="39"/>
                      </a:lnTo>
                      <a:lnTo>
                        <a:pt x="116" y="27"/>
                      </a:lnTo>
                      <a:lnTo>
                        <a:pt x="111" y="15"/>
                      </a:lnTo>
                      <a:lnTo>
                        <a:pt x="109" y="13"/>
                      </a:lnTo>
                      <a:lnTo>
                        <a:pt x="109" y="10"/>
                      </a:lnTo>
                      <a:lnTo>
                        <a:pt x="109" y="7"/>
                      </a:lnTo>
                      <a:lnTo>
                        <a:pt x="110" y="4"/>
                      </a:lnTo>
                      <a:lnTo>
                        <a:pt x="109" y="1"/>
                      </a:lnTo>
                      <a:lnTo>
                        <a:pt x="106" y="0"/>
                      </a:lnTo>
                      <a:lnTo>
                        <a:pt x="104" y="2"/>
                      </a:lnTo>
                      <a:lnTo>
                        <a:pt x="102" y="5"/>
                      </a:lnTo>
                      <a:lnTo>
                        <a:pt x="101" y="7"/>
                      </a:lnTo>
                      <a:lnTo>
                        <a:pt x="99" y="15"/>
                      </a:lnTo>
                      <a:lnTo>
                        <a:pt x="96" y="24"/>
                      </a:lnTo>
                      <a:lnTo>
                        <a:pt x="92" y="30"/>
                      </a:lnTo>
                      <a:lnTo>
                        <a:pt x="90" y="33"/>
                      </a:lnTo>
                      <a:lnTo>
                        <a:pt x="86" y="34"/>
                      </a:lnTo>
                      <a:lnTo>
                        <a:pt x="85" y="36"/>
                      </a:lnTo>
                      <a:lnTo>
                        <a:pt x="85" y="38"/>
                      </a:lnTo>
                      <a:lnTo>
                        <a:pt x="85" y="42"/>
                      </a:lnTo>
                      <a:lnTo>
                        <a:pt x="85" y="43"/>
                      </a:lnTo>
                      <a:lnTo>
                        <a:pt x="78" y="52"/>
                      </a:lnTo>
                      <a:lnTo>
                        <a:pt x="72" y="59"/>
                      </a:lnTo>
                      <a:lnTo>
                        <a:pt x="57" y="74"/>
                      </a:lnTo>
                      <a:lnTo>
                        <a:pt x="54" y="75"/>
                      </a:lnTo>
                      <a:lnTo>
                        <a:pt x="50" y="75"/>
                      </a:lnTo>
                      <a:lnTo>
                        <a:pt x="47" y="75"/>
                      </a:lnTo>
                      <a:lnTo>
                        <a:pt x="41" y="75"/>
                      </a:lnTo>
                      <a:lnTo>
                        <a:pt x="36" y="78"/>
                      </a:lnTo>
                      <a:lnTo>
                        <a:pt x="26" y="81"/>
                      </a:lnTo>
                      <a:lnTo>
                        <a:pt x="22" y="83"/>
                      </a:lnTo>
                      <a:lnTo>
                        <a:pt x="20" y="87"/>
                      </a:lnTo>
                      <a:lnTo>
                        <a:pt x="16" y="95"/>
                      </a:lnTo>
                      <a:lnTo>
                        <a:pt x="11" y="102"/>
                      </a:lnTo>
                      <a:lnTo>
                        <a:pt x="10" y="104"/>
                      </a:lnTo>
                      <a:lnTo>
                        <a:pt x="10" y="106"/>
                      </a:lnTo>
                      <a:lnTo>
                        <a:pt x="12" y="110"/>
                      </a:lnTo>
                      <a:lnTo>
                        <a:pt x="14" y="114"/>
                      </a:lnTo>
                      <a:lnTo>
                        <a:pt x="15" y="116"/>
                      </a:lnTo>
                      <a:lnTo>
                        <a:pt x="14" y="117"/>
                      </a:lnTo>
                      <a:lnTo>
                        <a:pt x="14" y="122"/>
                      </a:lnTo>
                      <a:lnTo>
                        <a:pt x="14" y="126"/>
                      </a:lnTo>
                      <a:lnTo>
                        <a:pt x="15" y="133"/>
                      </a:lnTo>
                      <a:lnTo>
                        <a:pt x="19" y="140"/>
                      </a:lnTo>
                      <a:lnTo>
                        <a:pt x="22" y="147"/>
                      </a:lnTo>
                      <a:lnTo>
                        <a:pt x="24" y="151"/>
                      </a:lnTo>
                      <a:lnTo>
                        <a:pt x="24" y="154"/>
                      </a:lnTo>
                      <a:lnTo>
                        <a:pt x="24" y="158"/>
                      </a:lnTo>
                      <a:lnTo>
                        <a:pt x="21" y="161"/>
                      </a:lnTo>
                      <a:lnTo>
                        <a:pt x="15" y="168"/>
                      </a:lnTo>
                      <a:lnTo>
                        <a:pt x="10" y="176"/>
                      </a:lnTo>
                      <a:lnTo>
                        <a:pt x="10" y="178"/>
                      </a:lnTo>
                      <a:lnTo>
                        <a:pt x="8" y="181"/>
                      </a:lnTo>
                      <a:lnTo>
                        <a:pt x="3" y="189"/>
                      </a:lnTo>
                      <a:lnTo>
                        <a:pt x="1" y="192"/>
                      </a:lnTo>
                      <a:lnTo>
                        <a:pt x="0" y="198"/>
                      </a:lnTo>
                      <a:lnTo>
                        <a:pt x="0" y="200"/>
                      </a:lnTo>
                      <a:lnTo>
                        <a:pt x="0" y="203"/>
                      </a:lnTo>
                      <a:lnTo>
                        <a:pt x="6" y="216"/>
                      </a:lnTo>
                      <a:lnTo>
                        <a:pt x="7" y="218"/>
                      </a:lnTo>
                      <a:lnTo>
                        <a:pt x="6" y="221"/>
                      </a:lnTo>
                      <a:lnTo>
                        <a:pt x="5" y="223"/>
                      </a:lnTo>
                      <a:lnTo>
                        <a:pt x="5" y="225"/>
                      </a:lnTo>
                      <a:lnTo>
                        <a:pt x="3" y="231"/>
                      </a:lnTo>
                      <a:lnTo>
                        <a:pt x="5" y="241"/>
                      </a:lnTo>
                      <a:lnTo>
                        <a:pt x="6" y="247"/>
                      </a:lnTo>
                      <a:lnTo>
                        <a:pt x="10" y="251"/>
                      </a:lnTo>
                      <a:lnTo>
                        <a:pt x="14" y="256"/>
                      </a:lnTo>
                      <a:lnTo>
                        <a:pt x="19" y="260"/>
                      </a:lnTo>
                      <a:lnTo>
                        <a:pt x="24" y="263"/>
                      </a:lnTo>
                      <a:lnTo>
                        <a:pt x="27" y="268"/>
                      </a:lnTo>
                      <a:lnTo>
                        <a:pt x="30" y="270"/>
                      </a:lnTo>
                      <a:lnTo>
                        <a:pt x="34" y="272"/>
                      </a:lnTo>
                      <a:lnTo>
                        <a:pt x="36" y="272"/>
                      </a:lnTo>
                      <a:lnTo>
                        <a:pt x="40" y="270"/>
                      </a:lnTo>
                      <a:lnTo>
                        <a:pt x="47" y="267"/>
                      </a:lnTo>
                      <a:lnTo>
                        <a:pt x="52" y="262"/>
                      </a:lnTo>
                      <a:lnTo>
                        <a:pt x="54" y="261"/>
                      </a:lnTo>
                      <a:lnTo>
                        <a:pt x="55" y="261"/>
                      </a:lnTo>
                      <a:lnTo>
                        <a:pt x="58" y="262"/>
                      </a:lnTo>
                      <a:lnTo>
                        <a:pt x="61" y="261"/>
                      </a:lnTo>
                      <a:lnTo>
                        <a:pt x="68" y="256"/>
                      </a:lnTo>
                      <a:lnTo>
                        <a:pt x="72" y="254"/>
                      </a:lnTo>
                      <a:lnTo>
                        <a:pt x="74" y="250"/>
                      </a:lnTo>
                      <a:lnTo>
                        <a:pt x="74" y="247"/>
                      </a:lnTo>
                      <a:lnTo>
                        <a:pt x="73" y="243"/>
                      </a:lnTo>
                      <a:lnTo>
                        <a:pt x="73" y="241"/>
                      </a:lnTo>
                      <a:lnTo>
                        <a:pt x="73" y="238"/>
                      </a:lnTo>
                      <a:lnTo>
                        <a:pt x="77" y="235"/>
                      </a:lnTo>
                      <a:lnTo>
                        <a:pt x="80" y="231"/>
                      </a:lnTo>
                      <a:lnTo>
                        <a:pt x="82" y="223"/>
                      </a:lnTo>
                      <a:lnTo>
                        <a:pt x="85" y="206"/>
                      </a:lnTo>
                      <a:lnTo>
                        <a:pt x="87" y="202"/>
                      </a:lnTo>
                      <a:lnTo>
                        <a:pt x="86" y="198"/>
                      </a:lnTo>
                      <a:lnTo>
                        <a:pt x="86" y="197"/>
                      </a:lnTo>
                      <a:lnTo>
                        <a:pt x="90" y="192"/>
                      </a:lnTo>
                      <a:lnTo>
                        <a:pt x="92" y="189"/>
                      </a:lnTo>
                      <a:lnTo>
                        <a:pt x="92" y="184"/>
                      </a:lnTo>
                      <a:lnTo>
                        <a:pt x="92" y="178"/>
                      </a:lnTo>
                      <a:lnTo>
                        <a:pt x="92" y="168"/>
                      </a:lnTo>
                      <a:lnTo>
                        <a:pt x="92" y="162"/>
                      </a:lnTo>
                      <a:lnTo>
                        <a:pt x="94" y="159"/>
                      </a:lnTo>
                      <a:lnTo>
                        <a:pt x="99" y="151"/>
                      </a:lnTo>
                      <a:lnTo>
                        <a:pt x="101" y="142"/>
                      </a:lnTo>
                      <a:lnTo>
                        <a:pt x="105" y="132"/>
                      </a:lnTo>
                      <a:lnTo>
                        <a:pt x="106" y="121"/>
                      </a:lnTo>
                      <a:lnTo>
                        <a:pt x="106" y="113"/>
                      </a:lnTo>
                      <a:lnTo>
                        <a:pt x="106" y="108"/>
                      </a:lnTo>
                      <a:lnTo>
                        <a:pt x="107" y="104"/>
                      </a:lnTo>
                      <a:lnTo>
                        <a:pt x="109" y="100"/>
                      </a:lnTo>
                      <a:lnTo>
                        <a:pt x="110" y="97"/>
                      </a:lnTo>
                      <a:lnTo>
                        <a:pt x="111" y="96"/>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5" name="Freeform 607"/>
                <p:cNvSpPr>
                  <a:spLocks/>
                </p:cNvSpPr>
                <p:nvPr/>
              </p:nvSpPr>
              <p:spPr bwMode="auto">
                <a:xfrm>
                  <a:off x="6968238" y="4421542"/>
                  <a:ext cx="105071" cy="156866"/>
                </a:xfrm>
                <a:custGeom>
                  <a:avLst/>
                  <a:gdLst>
                    <a:gd name="T0" fmla="*/ 0 w 76"/>
                    <a:gd name="T1" fmla="*/ 2147483647 h 106"/>
                    <a:gd name="T2" fmla="*/ 2147483647 w 76"/>
                    <a:gd name="T3" fmla="*/ 2147483647 h 106"/>
                    <a:gd name="T4" fmla="*/ 2147483647 w 76"/>
                    <a:gd name="T5" fmla="*/ 2147483647 h 106"/>
                    <a:gd name="T6" fmla="*/ 2147483647 w 76"/>
                    <a:gd name="T7" fmla="*/ 2147483647 h 106"/>
                    <a:gd name="T8" fmla="*/ 2147483647 w 76"/>
                    <a:gd name="T9" fmla="*/ 2147483647 h 106"/>
                    <a:gd name="T10" fmla="*/ 2147483647 w 76"/>
                    <a:gd name="T11" fmla="*/ 2147483647 h 106"/>
                    <a:gd name="T12" fmla="*/ 2147483647 w 76"/>
                    <a:gd name="T13" fmla="*/ 2147483647 h 106"/>
                    <a:gd name="T14" fmla="*/ 2147483647 w 76"/>
                    <a:gd name="T15" fmla="*/ 2147483647 h 106"/>
                    <a:gd name="T16" fmla="*/ 2147483647 w 76"/>
                    <a:gd name="T17" fmla="*/ 2147483647 h 106"/>
                    <a:gd name="T18" fmla="*/ 2147483647 w 76"/>
                    <a:gd name="T19" fmla="*/ 2147483647 h 106"/>
                    <a:gd name="T20" fmla="*/ 2147483647 w 76"/>
                    <a:gd name="T21" fmla="*/ 2147483647 h 106"/>
                    <a:gd name="T22" fmla="*/ 2147483647 w 76"/>
                    <a:gd name="T23" fmla="*/ 2147483647 h 106"/>
                    <a:gd name="T24" fmla="*/ 2147483647 w 76"/>
                    <a:gd name="T25" fmla="*/ 2147483647 h 106"/>
                    <a:gd name="T26" fmla="*/ 2147483647 w 76"/>
                    <a:gd name="T27" fmla="*/ 2147483647 h 106"/>
                    <a:gd name="T28" fmla="*/ 2147483647 w 76"/>
                    <a:gd name="T29" fmla="*/ 2147483647 h 106"/>
                    <a:gd name="T30" fmla="*/ 2147483647 w 76"/>
                    <a:gd name="T31" fmla="*/ 2147483647 h 106"/>
                    <a:gd name="T32" fmla="*/ 2147483647 w 76"/>
                    <a:gd name="T33" fmla="*/ 2147483647 h 106"/>
                    <a:gd name="T34" fmla="*/ 2147483647 w 76"/>
                    <a:gd name="T35" fmla="*/ 2147483647 h 106"/>
                    <a:gd name="T36" fmla="*/ 2147483647 w 76"/>
                    <a:gd name="T37" fmla="*/ 2147483647 h 106"/>
                    <a:gd name="T38" fmla="*/ 2147483647 w 76"/>
                    <a:gd name="T39" fmla="*/ 2147483647 h 106"/>
                    <a:gd name="T40" fmla="*/ 2147483647 w 76"/>
                    <a:gd name="T41" fmla="*/ 2147483647 h 106"/>
                    <a:gd name="T42" fmla="*/ 2147483647 w 76"/>
                    <a:gd name="T43" fmla="*/ 2147483647 h 106"/>
                    <a:gd name="T44" fmla="*/ 2147483647 w 76"/>
                    <a:gd name="T45" fmla="*/ 2147483647 h 106"/>
                    <a:gd name="T46" fmla="*/ 2147483647 w 76"/>
                    <a:gd name="T47" fmla="*/ 2147483647 h 106"/>
                    <a:gd name="T48" fmla="*/ 2147483647 w 76"/>
                    <a:gd name="T49" fmla="*/ 2147483647 h 106"/>
                    <a:gd name="T50" fmla="*/ 2147483647 w 76"/>
                    <a:gd name="T51" fmla="*/ 2147483647 h 106"/>
                    <a:gd name="T52" fmla="*/ 2147483647 w 76"/>
                    <a:gd name="T53" fmla="*/ 2147483647 h 106"/>
                    <a:gd name="T54" fmla="*/ 2147483647 w 76"/>
                    <a:gd name="T55" fmla="*/ 2147483647 h 106"/>
                    <a:gd name="T56" fmla="*/ 2147483647 w 76"/>
                    <a:gd name="T57" fmla="*/ 2147483647 h 106"/>
                    <a:gd name="T58" fmla="*/ 2147483647 w 76"/>
                    <a:gd name="T59" fmla="*/ 2147483647 h 106"/>
                    <a:gd name="T60" fmla="*/ 2147483647 w 76"/>
                    <a:gd name="T61" fmla="*/ 2147483647 h 106"/>
                    <a:gd name="T62" fmla="*/ 2147483647 w 76"/>
                    <a:gd name="T63" fmla="*/ 2147483647 h 106"/>
                    <a:gd name="T64" fmla="*/ 2147483647 w 76"/>
                    <a:gd name="T65" fmla="*/ 2147483647 h 106"/>
                    <a:gd name="T66" fmla="*/ 2147483647 w 76"/>
                    <a:gd name="T67" fmla="*/ 2147483647 h 106"/>
                    <a:gd name="T68" fmla="*/ 2147483647 w 76"/>
                    <a:gd name="T69" fmla="*/ 2147483647 h 106"/>
                    <a:gd name="T70" fmla="*/ 2147483647 w 76"/>
                    <a:gd name="T71" fmla="*/ 2147483647 h 106"/>
                    <a:gd name="T72" fmla="*/ 2147483647 w 76"/>
                    <a:gd name="T73" fmla="*/ 2147483647 h 106"/>
                    <a:gd name="T74" fmla="*/ 2147483647 w 76"/>
                    <a:gd name="T75" fmla="*/ 2147483647 h 106"/>
                    <a:gd name="T76" fmla="*/ 2147483647 w 76"/>
                    <a:gd name="T77" fmla="*/ 2147483647 h 106"/>
                    <a:gd name="T78" fmla="*/ 2147483647 w 76"/>
                    <a:gd name="T79" fmla="*/ 2147483647 h 106"/>
                    <a:gd name="T80" fmla="*/ 2147483647 w 76"/>
                    <a:gd name="T81" fmla="*/ 2147483647 h 106"/>
                    <a:gd name="T82" fmla="*/ 2147483647 w 76"/>
                    <a:gd name="T83" fmla="*/ 2147483647 h 106"/>
                    <a:gd name="T84" fmla="*/ 2147483647 w 76"/>
                    <a:gd name="T85" fmla="*/ 2147483647 h 106"/>
                    <a:gd name="T86" fmla="*/ 2147483647 w 76"/>
                    <a:gd name="T87" fmla="*/ 2147483647 h 106"/>
                    <a:gd name="T88" fmla="*/ 2147483647 w 76"/>
                    <a:gd name="T89" fmla="*/ 2147483647 h 106"/>
                    <a:gd name="T90" fmla="*/ 2147483647 w 76"/>
                    <a:gd name="T91" fmla="*/ 2147483647 h 106"/>
                    <a:gd name="T92" fmla="*/ 2147483647 w 76"/>
                    <a:gd name="T93" fmla="*/ 2147483647 h 106"/>
                    <a:gd name="T94" fmla="*/ 2147483647 w 76"/>
                    <a:gd name="T95" fmla="*/ 2147483647 h 106"/>
                    <a:gd name="T96" fmla="*/ 2147483647 w 76"/>
                    <a:gd name="T97" fmla="*/ 2147483647 h 106"/>
                    <a:gd name="T98" fmla="*/ 2147483647 w 76"/>
                    <a:gd name="T99" fmla="*/ 2147483647 h 106"/>
                    <a:gd name="T100" fmla="*/ 2147483647 w 76"/>
                    <a:gd name="T101" fmla="*/ 2147483647 h 106"/>
                    <a:gd name="T102" fmla="*/ 2147483647 w 76"/>
                    <a:gd name="T103" fmla="*/ 2147483647 h 106"/>
                    <a:gd name="T104" fmla="*/ 2147483647 w 76"/>
                    <a:gd name="T105" fmla="*/ 2147483647 h 106"/>
                    <a:gd name="T106" fmla="*/ 2147483647 w 76"/>
                    <a:gd name="T107" fmla="*/ 2147483647 h 106"/>
                    <a:gd name="T108" fmla="*/ 2147483647 w 76"/>
                    <a:gd name="T109" fmla="*/ 2147483647 h 106"/>
                    <a:gd name="T110" fmla="*/ 2147483647 w 76"/>
                    <a:gd name="T111" fmla="*/ 2147483647 h 106"/>
                    <a:gd name="T112" fmla="*/ 2147483647 w 76"/>
                    <a:gd name="T113" fmla="*/ 2147483647 h 106"/>
                    <a:gd name="T114" fmla="*/ 2147483647 w 76"/>
                    <a:gd name="T115" fmla="*/ 0 h 106"/>
                    <a:gd name="T116" fmla="*/ 0 w 76"/>
                    <a:gd name="T117" fmla="*/ 2147483647 h 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6"/>
                    <a:gd name="T178" fmla="*/ 0 h 106"/>
                    <a:gd name="T179" fmla="*/ 76 w 76"/>
                    <a:gd name="T180" fmla="*/ 106 h 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6" h="106">
                      <a:moveTo>
                        <a:pt x="0" y="1"/>
                      </a:moveTo>
                      <a:lnTo>
                        <a:pt x="5" y="10"/>
                      </a:lnTo>
                      <a:lnTo>
                        <a:pt x="9" y="20"/>
                      </a:lnTo>
                      <a:lnTo>
                        <a:pt x="10" y="31"/>
                      </a:lnTo>
                      <a:lnTo>
                        <a:pt x="8" y="41"/>
                      </a:lnTo>
                      <a:lnTo>
                        <a:pt x="8" y="44"/>
                      </a:lnTo>
                      <a:lnTo>
                        <a:pt x="9" y="46"/>
                      </a:lnTo>
                      <a:lnTo>
                        <a:pt x="15" y="56"/>
                      </a:lnTo>
                      <a:lnTo>
                        <a:pt x="16" y="61"/>
                      </a:lnTo>
                      <a:lnTo>
                        <a:pt x="18" y="66"/>
                      </a:lnTo>
                      <a:lnTo>
                        <a:pt x="18" y="70"/>
                      </a:lnTo>
                      <a:lnTo>
                        <a:pt x="20" y="72"/>
                      </a:lnTo>
                      <a:lnTo>
                        <a:pt x="24" y="73"/>
                      </a:lnTo>
                      <a:lnTo>
                        <a:pt x="25" y="76"/>
                      </a:lnTo>
                      <a:lnTo>
                        <a:pt x="25" y="79"/>
                      </a:lnTo>
                      <a:lnTo>
                        <a:pt x="27" y="80"/>
                      </a:lnTo>
                      <a:lnTo>
                        <a:pt x="27" y="82"/>
                      </a:lnTo>
                      <a:lnTo>
                        <a:pt x="30" y="84"/>
                      </a:lnTo>
                      <a:lnTo>
                        <a:pt x="34" y="85"/>
                      </a:lnTo>
                      <a:lnTo>
                        <a:pt x="39" y="86"/>
                      </a:lnTo>
                      <a:lnTo>
                        <a:pt x="42" y="89"/>
                      </a:lnTo>
                      <a:lnTo>
                        <a:pt x="46" y="95"/>
                      </a:lnTo>
                      <a:lnTo>
                        <a:pt x="51" y="99"/>
                      </a:lnTo>
                      <a:lnTo>
                        <a:pt x="56" y="103"/>
                      </a:lnTo>
                      <a:lnTo>
                        <a:pt x="58" y="104"/>
                      </a:lnTo>
                      <a:lnTo>
                        <a:pt x="62" y="105"/>
                      </a:lnTo>
                      <a:lnTo>
                        <a:pt x="66" y="106"/>
                      </a:lnTo>
                      <a:lnTo>
                        <a:pt x="69" y="106"/>
                      </a:lnTo>
                      <a:lnTo>
                        <a:pt x="70" y="106"/>
                      </a:lnTo>
                      <a:lnTo>
                        <a:pt x="74" y="103"/>
                      </a:lnTo>
                      <a:lnTo>
                        <a:pt x="76" y="99"/>
                      </a:lnTo>
                      <a:lnTo>
                        <a:pt x="75" y="97"/>
                      </a:lnTo>
                      <a:lnTo>
                        <a:pt x="75" y="96"/>
                      </a:lnTo>
                      <a:lnTo>
                        <a:pt x="66" y="85"/>
                      </a:lnTo>
                      <a:lnTo>
                        <a:pt x="60" y="74"/>
                      </a:lnTo>
                      <a:lnTo>
                        <a:pt x="57" y="69"/>
                      </a:lnTo>
                      <a:lnTo>
                        <a:pt x="56" y="63"/>
                      </a:lnTo>
                      <a:lnTo>
                        <a:pt x="55" y="56"/>
                      </a:lnTo>
                      <a:lnTo>
                        <a:pt x="56" y="48"/>
                      </a:lnTo>
                      <a:lnTo>
                        <a:pt x="57" y="44"/>
                      </a:lnTo>
                      <a:lnTo>
                        <a:pt x="56" y="38"/>
                      </a:lnTo>
                      <a:lnTo>
                        <a:pt x="53" y="32"/>
                      </a:lnTo>
                      <a:lnTo>
                        <a:pt x="50" y="26"/>
                      </a:lnTo>
                      <a:lnTo>
                        <a:pt x="47" y="25"/>
                      </a:lnTo>
                      <a:lnTo>
                        <a:pt x="44" y="22"/>
                      </a:lnTo>
                      <a:lnTo>
                        <a:pt x="42" y="21"/>
                      </a:lnTo>
                      <a:lnTo>
                        <a:pt x="39" y="19"/>
                      </a:lnTo>
                      <a:lnTo>
                        <a:pt x="38" y="15"/>
                      </a:lnTo>
                      <a:lnTo>
                        <a:pt x="37" y="13"/>
                      </a:lnTo>
                      <a:lnTo>
                        <a:pt x="30" y="13"/>
                      </a:lnTo>
                      <a:lnTo>
                        <a:pt x="23" y="13"/>
                      </a:lnTo>
                      <a:lnTo>
                        <a:pt x="19" y="12"/>
                      </a:lnTo>
                      <a:lnTo>
                        <a:pt x="16" y="9"/>
                      </a:lnTo>
                      <a:lnTo>
                        <a:pt x="14" y="7"/>
                      </a:lnTo>
                      <a:lnTo>
                        <a:pt x="13" y="3"/>
                      </a:lnTo>
                      <a:lnTo>
                        <a:pt x="10" y="1"/>
                      </a:lnTo>
                      <a:lnTo>
                        <a:pt x="8" y="1"/>
                      </a:lnTo>
                      <a:lnTo>
                        <a:pt x="4" y="0"/>
                      </a:lnTo>
                      <a:lnTo>
                        <a:pt x="0"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6" name="Freeform 609"/>
                <p:cNvSpPr>
                  <a:spLocks/>
                </p:cNvSpPr>
                <p:nvPr/>
              </p:nvSpPr>
              <p:spPr bwMode="auto">
                <a:xfrm>
                  <a:off x="6968240" y="4420061"/>
                  <a:ext cx="103591" cy="156866"/>
                </a:xfrm>
                <a:custGeom>
                  <a:avLst/>
                  <a:gdLst>
                    <a:gd name="T0" fmla="*/ 0 w 76"/>
                    <a:gd name="T1" fmla="*/ 2147483647 h 106"/>
                    <a:gd name="T2" fmla="*/ 2147483647 w 76"/>
                    <a:gd name="T3" fmla="*/ 2147483647 h 106"/>
                    <a:gd name="T4" fmla="*/ 2147483647 w 76"/>
                    <a:gd name="T5" fmla="*/ 2147483647 h 106"/>
                    <a:gd name="T6" fmla="*/ 2147483647 w 76"/>
                    <a:gd name="T7" fmla="*/ 2147483647 h 106"/>
                    <a:gd name="T8" fmla="*/ 2147483647 w 76"/>
                    <a:gd name="T9" fmla="*/ 2147483647 h 106"/>
                    <a:gd name="T10" fmla="*/ 2147483647 w 76"/>
                    <a:gd name="T11" fmla="*/ 2147483647 h 106"/>
                    <a:gd name="T12" fmla="*/ 2147483647 w 76"/>
                    <a:gd name="T13" fmla="*/ 2147483647 h 106"/>
                    <a:gd name="T14" fmla="*/ 2147483647 w 76"/>
                    <a:gd name="T15" fmla="*/ 2147483647 h 106"/>
                    <a:gd name="T16" fmla="*/ 2147483647 w 76"/>
                    <a:gd name="T17" fmla="*/ 2147483647 h 106"/>
                    <a:gd name="T18" fmla="*/ 2147483647 w 76"/>
                    <a:gd name="T19" fmla="*/ 2147483647 h 106"/>
                    <a:gd name="T20" fmla="*/ 2147483647 w 76"/>
                    <a:gd name="T21" fmla="*/ 2147483647 h 106"/>
                    <a:gd name="T22" fmla="*/ 2147483647 w 76"/>
                    <a:gd name="T23" fmla="*/ 2147483647 h 106"/>
                    <a:gd name="T24" fmla="*/ 2147483647 w 76"/>
                    <a:gd name="T25" fmla="*/ 2147483647 h 106"/>
                    <a:gd name="T26" fmla="*/ 2147483647 w 76"/>
                    <a:gd name="T27" fmla="*/ 2147483647 h 106"/>
                    <a:gd name="T28" fmla="*/ 2147483647 w 76"/>
                    <a:gd name="T29" fmla="*/ 2147483647 h 106"/>
                    <a:gd name="T30" fmla="*/ 2147483647 w 76"/>
                    <a:gd name="T31" fmla="*/ 2147483647 h 106"/>
                    <a:gd name="T32" fmla="*/ 2147483647 w 76"/>
                    <a:gd name="T33" fmla="*/ 2147483647 h 106"/>
                    <a:gd name="T34" fmla="*/ 2147483647 w 76"/>
                    <a:gd name="T35" fmla="*/ 2147483647 h 106"/>
                    <a:gd name="T36" fmla="*/ 2147483647 w 76"/>
                    <a:gd name="T37" fmla="*/ 2147483647 h 106"/>
                    <a:gd name="T38" fmla="*/ 2147483647 w 76"/>
                    <a:gd name="T39" fmla="*/ 2147483647 h 106"/>
                    <a:gd name="T40" fmla="*/ 2147483647 w 76"/>
                    <a:gd name="T41" fmla="*/ 2147483647 h 106"/>
                    <a:gd name="T42" fmla="*/ 2147483647 w 76"/>
                    <a:gd name="T43" fmla="*/ 2147483647 h 106"/>
                    <a:gd name="T44" fmla="*/ 2147483647 w 76"/>
                    <a:gd name="T45" fmla="*/ 2147483647 h 106"/>
                    <a:gd name="T46" fmla="*/ 2147483647 w 76"/>
                    <a:gd name="T47" fmla="*/ 2147483647 h 106"/>
                    <a:gd name="T48" fmla="*/ 2147483647 w 76"/>
                    <a:gd name="T49" fmla="*/ 2147483647 h 106"/>
                    <a:gd name="T50" fmla="*/ 2147483647 w 76"/>
                    <a:gd name="T51" fmla="*/ 2147483647 h 106"/>
                    <a:gd name="T52" fmla="*/ 2147483647 w 76"/>
                    <a:gd name="T53" fmla="*/ 2147483647 h 106"/>
                    <a:gd name="T54" fmla="*/ 2147483647 w 76"/>
                    <a:gd name="T55" fmla="*/ 2147483647 h 106"/>
                    <a:gd name="T56" fmla="*/ 2147483647 w 76"/>
                    <a:gd name="T57" fmla="*/ 2147483647 h 106"/>
                    <a:gd name="T58" fmla="*/ 2147483647 w 76"/>
                    <a:gd name="T59" fmla="*/ 2147483647 h 106"/>
                    <a:gd name="T60" fmla="*/ 2147483647 w 76"/>
                    <a:gd name="T61" fmla="*/ 2147483647 h 106"/>
                    <a:gd name="T62" fmla="*/ 2147483647 w 76"/>
                    <a:gd name="T63" fmla="*/ 2147483647 h 106"/>
                    <a:gd name="T64" fmla="*/ 2147483647 w 76"/>
                    <a:gd name="T65" fmla="*/ 2147483647 h 106"/>
                    <a:gd name="T66" fmla="*/ 2147483647 w 76"/>
                    <a:gd name="T67" fmla="*/ 2147483647 h 106"/>
                    <a:gd name="T68" fmla="*/ 2147483647 w 76"/>
                    <a:gd name="T69" fmla="*/ 2147483647 h 106"/>
                    <a:gd name="T70" fmla="*/ 2147483647 w 76"/>
                    <a:gd name="T71" fmla="*/ 2147483647 h 106"/>
                    <a:gd name="T72" fmla="*/ 0 w 76"/>
                    <a:gd name="T73" fmla="*/ 2147483647 h 10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
                    <a:gd name="T112" fmla="*/ 0 h 106"/>
                    <a:gd name="T113" fmla="*/ 76 w 76"/>
                    <a:gd name="T114" fmla="*/ 106 h 10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 h="106">
                      <a:moveTo>
                        <a:pt x="0" y="1"/>
                      </a:moveTo>
                      <a:lnTo>
                        <a:pt x="0" y="1"/>
                      </a:lnTo>
                      <a:lnTo>
                        <a:pt x="5" y="10"/>
                      </a:lnTo>
                      <a:lnTo>
                        <a:pt x="9" y="20"/>
                      </a:lnTo>
                      <a:lnTo>
                        <a:pt x="10" y="30"/>
                      </a:lnTo>
                      <a:lnTo>
                        <a:pt x="7" y="41"/>
                      </a:lnTo>
                      <a:lnTo>
                        <a:pt x="7" y="43"/>
                      </a:lnTo>
                      <a:lnTo>
                        <a:pt x="9" y="46"/>
                      </a:lnTo>
                      <a:lnTo>
                        <a:pt x="15" y="55"/>
                      </a:lnTo>
                      <a:lnTo>
                        <a:pt x="16" y="61"/>
                      </a:lnTo>
                      <a:lnTo>
                        <a:pt x="17" y="66"/>
                      </a:lnTo>
                      <a:lnTo>
                        <a:pt x="17" y="70"/>
                      </a:lnTo>
                      <a:lnTo>
                        <a:pt x="20" y="72"/>
                      </a:lnTo>
                      <a:lnTo>
                        <a:pt x="24" y="73"/>
                      </a:lnTo>
                      <a:lnTo>
                        <a:pt x="25" y="75"/>
                      </a:lnTo>
                      <a:lnTo>
                        <a:pt x="25" y="79"/>
                      </a:lnTo>
                      <a:lnTo>
                        <a:pt x="26" y="80"/>
                      </a:lnTo>
                      <a:lnTo>
                        <a:pt x="26" y="81"/>
                      </a:lnTo>
                      <a:lnTo>
                        <a:pt x="30" y="84"/>
                      </a:lnTo>
                      <a:lnTo>
                        <a:pt x="34" y="85"/>
                      </a:lnTo>
                      <a:lnTo>
                        <a:pt x="39" y="86"/>
                      </a:lnTo>
                      <a:lnTo>
                        <a:pt x="42" y="89"/>
                      </a:lnTo>
                      <a:lnTo>
                        <a:pt x="45" y="94"/>
                      </a:lnTo>
                      <a:lnTo>
                        <a:pt x="51" y="99"/>
                      </a:lnTo>
                      <a:lnTo>
                        <a:pt x="56" y="103"/>
                      </a:lnTo>
                      <a:lnTo>
                        <a:pt x="58" y="104"/>
                      </a:lnTo>
                      <a:lnTo>
                        <a:pt x="62" y="105"/>
                      </a:lnTo>
                      <a:lnTo>
                        <a:pt x="66" y="106"/>
                      </a:lnTo>
                      <a:lnTo>
                        <a:pt x="68" y="106"/>
                      </a:lnTo>
                      <a:lnTo>
                        <a:pt x="70" y="106"/>
                      </a:lnTo>
                      <a:lnTo>
                        <a:pt x="73" y="103"/>
                      </a:lnTo>
                      <a:lnTo>
                        <a:pt x="76" y="99"/>
                      </a:lnTo>
                      <a:lnTo>
                        <a:pt x="75" y="97"/>
                      </a:lnTo>
                      <a:lnTo>
                        <a:pt x="75" y="96"/>
                      </a:lnTo>
                      <a:lnTo>
                        <a:pt x="66" y="85"/>
                      </a:lnTo>
                      <a:lnTo>
                        <a:pt x="59" y="74"/>
                      </a:lnTo>
                      <a:lnTo>
                        <a:pt x="57" y="68"/>
                      </a:lnTo>
                      <a:lnTo>
                        <a:pt x="56" y="62"/>
                      </a:lnTo>
                      <a:lnTo>
                        <a:pt x="54" y="55"/>
                      </a:lnTo>
                      <a:lnTo>
                        <a:pt x="56" y="48"/>
                      </a:lnTo>
                      <a:lnTo>
                        <a:pt x="57" y="43"/>
                      </a:lnTo>
                      <a:lnTo>
                        <a:pt x="56" y="38"/>
                      </a:lnTo>
                      <a:lnTo>
                        <a:pt x="53" y="32"/>
                      </a:lnTo>
                      <a:lnTo>
                        <a:pt x="49" y="26"/>
                      </a:lnTo>
                      <a:lnTo>
                        <a:pt x="47" y="25"/>
                      </a:lnTo>
                      <a:lnTo>
                        <a:pt x="44" y="22"/>
                      </a:lnTo>
                      <a:lnTo>
                        <a:pt x="42" y="21"/>
                      </a:lnTo>
                      <a:lnTo>
                        <a:pt x="39" y="19"/>
                      </a:lnTo>
                      <a:lnTo>
                        <a:pt x="38" y="15"/>
                      </a:lnTo>
                      <a:lnTo>
                        <a:pt x="37" y="13"/>
                      </a:lnTo>
                      <a:lnTo>
                        <a:pt x="30" y="13"/>
                      </a:lnTo>
                      <a:lnTo>
                        <a:pt x="23" y="13"/>
                      </a:lnTo>
                      <a:lnTo>
                        <a:pt x="19" y="11"/>
                      </a:lnTo>
                      <a:lnTo>
                        <a:pt x="16" y="9"/>
                      </a:lnTo>
                      <a:lnTo>
                        <a:pt x="14" y="7"/>
                      </a:lnTo>
                      <a:lnTo>
                        <a:pt x="12" y="3"/>
                      </a:lnTo>
                      <a:lnTo>
                        <a:pt x="10" y="1"/>
                      </a:lnTo>
                      <a:lnTo>
                        <a:pt x="7" y="1"/>
                      </a:lnTo>
                      <a:lnTo>
                        <a:pt x="4" y="0"/>
                      </a:lnTo>
                      <a:lnTo>
                        <a:pt x="0"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7" name="Freeform 612"/>
                <p:cNvSpPr>
                  <a:spLocks/>
                </p:cNvSpPr>
                <p:nvPr/>
              </p:nvSpPr>
              <p:spPr bwMode="auto">
                <a:xfrm>
                  <a:off x="6687063" y="2986063"/>
                  <a:ext cx="731057" cy="358129"/>
                </a:xfrm>
                <a:custGeom>
                  <a:avLst/>
                  <a:gdLst>
                    <a:gd name="T0" fmla="*/ 2147483647 w 535"/>
                    <a:gd name="T1" fmla="*/ 2147483647 h 242"/>
                    <a:gd name="T2" fmla="*/ 2147483647 w 535"/>
                    <a:gd name="T3" fmla="*/ 2147483647 h 242"/>
                    <a:gd name="T4" fmla="*/ 2147483647 w 535"/>
                    <a:gd name="T5" fmla="*/ 2147483647 h 242"/>
                    <a:gd name="T6" fmla="*/ 2147483647 w 535"/>
                    <a:gd name="T7" fmla="*/ 2147483647 h 242"/>
                    <a:gd name="T8" fmla="*/ 2147483647 w 535"/>
                    <a:gd name="T9" fmla="*/ 2147483647 h 242"/>
                    <a:gd name="T10" fmla="*/ 2147483647 w 535"/>
                    <a:gd name="T11" fmla="*/ 2147483647 h 242"/>
                    <a:gd name="T12" fmla="*/ 2147483647 w 535"/>
                    <a:gd name="T13" fmla="*/ 2147483647 h 242"/>
                    <a:gd name="T14" fmla="*/ 2147483647 w 535"/>
                    <a:gd name="T15" fmla="*/ 2147483647 h 242"/>
                    <a:gd name="T16" fmla="*/ 2147483647 w 535"/>
                    <a:gd name="T17" fmla="*/ 2147483647 h 242"/>
                    <a:gd name="T18" fmla="*/ 2147483647 w 535"/>
                    <a:gd name="T19" fmla="*/ 2147483647 h 242"/>
                    <a:gd name="T20" fmla="*/ 2147483647 w 535"/>
                    <a:gd name="T21" fmla="*/ 2147483647 h 242"/>
                    <a:gd name="T22" fmla="*/ 2147483647 w 535"/>
                    <a:gd name="T23" fmla="*/ 2147483647 h 242"/>
                    <a:gd name="T24" fmla="*/ 2147483647 w 535"/>
                    <a:gd name="T25" fmla="*/ 2147483647 h 242"/>
                    <a:gd name="T26" fmla="*/ 2147483647 w 535"/>
                    <a:gd name="T27" fmla="*/ 2147483647 h 242"/>
                    <a:gd name="T28" fmla="*/ 2147483647 w 535"/>
                    <a:gd name="T29" fmla="*/ 2147483647 h 242"/>
                    <a:gd name="T30" fmla="*/ 2147483647 w 535"/>
                    <a:gd name="T31" fmla="*/ 2147483647 h 242"/>
                    <a:gd name="T32" fmla="*/ 2147483647 w 535"/>
                    <a:gd name="T33" fmla="*/ 2147483647 h 242"/>
                    <a:gd name="T34" fmla="*/ 2147483647 w 535"/>
                    <a:gd name="T35" fmla="*/ 2147483647 h 242"/>
                    <a:gd name="T36" fmla="*/ 2147483647 w 535"/>
                    <a:gd name="T37" fmla="*/ 2147483647 h 242"/>
                    <a:gd name="T38" fmla="*/ 2147483647 w 535"/>
                    <a:gd name="T39" fmla="*/ 2147483647 h 242"/>
                    <a:gd name="T40" fmla="*/ 2147483647 w 535"/>
                    <a:gd name="T41" fmla="*/ 2147483647 h 242"/>
                    <a:gd name="T42" fmla="*/ 2147483647 w 535"/>
                    <a:gd name="T43" fmla="*/ 2147483647 h 242"/>
                    <a:gd name="T44" fmla="*/ 2147483647 w 535"/>
                    <a:gd name="T45" fmla="*/ 2147483647 h 242"/>
                    <a:gd name="T46" fmla="*/ 2147483647 w 535"/>
                    <a:gd name="T47" fmla="*/ 2147483647 h 242"/>
                    <a:gd name="T48" fmla="*/ 2147483647 w 535"/>
                    <a:gd name="T49" fmla="*/ 2147483647 h 242"/>
                    <a:gd name="T50" fmla="*/ 2147483647 w 535"/>
                    <a:gd name="T51" fmla="*/ 2147483647 h 242"/>
                    <a:gd name="T52" fmla="*/ 2147483647 w 535"/>
                    <a:gd name="T53" fmla="*/ 2147483647 h 242"/>
                    <a:gd name="T54" fmla="*/ 2147483647 w 535"/>
                    <a:gd name="T55" fmla="*/ 2147483647 h 242"/>
                    <a:gd name="T56" fmla="*/ 2147483647 w 535"/>
                    <a:gd name="T57" fmla="*/ 2147483647 h 242"/>
                    <a:gd name="T58" fmla="*/ 2147483647 w 535"/>
                    <a:gd name="T59" fmla="*/ 2147483647 h 242"/>
                    <a:gd name="T60" fmla="*/ 2147483647 w 535"/>
                    <a:gd name="T61" fmla="*/ 2147483647 h 242"/>
                    <a:gd name="T62" fmla="*/ 2147483647 w 535"/>
                    <a:gd name="T63" fmla="*/ 2147483647 h 242"/>
                    <a:gd name="T64" fmla="*/ 2147483647 w 535"/>
                    <a:gd name="T65" fmla="*/ 2147483647 h 242"/>
                    <a:gd name="T66" fmla="*/ 2147483647 w 535"/>
                    <a:gd name="T67" fmla="*/ 2147483647 h 242"/>
                    <a:gd name="T68" fmla="*/ 2147483647 w 535"/>
                    <a:gd name="T69" fmla="*/ 2147483647 h 242"/>
                    <a:gd name="T70" fmla="*/ 2147483647 w 535"/>
                    <a:gd name="T71" fmla="*/ 2147483647 h 242"/>
                    <a:gd name="T72" fmla="*/ 2147483647 w 535"/>
                    <a:gd name="T73" fmla="*/ 2147483647 h 242"/>
                    <a:gd name="T74" fmla="*/ 2147483647 w 535"/>
                    <a:gd name="T75" fmla="*/ 2147483647 h 242"/>
                    <a:gd name="T76" fmla="*/ 2147483647 w 535"/>
                    <a:gd name="T77" fmla="*/ 2147483647 h 242"/>
                    <a:gd name="T78" fmla="*/ 2147483647 w 535"/>
                    <a:gd name="T79" fmla="*/ 2147483647 h 242"/>
                    <a:gd name="T80" fmla="*/ 2147483647 w 535"/>
                    <a:gd name="T81" fmla="*/ 2147483647 h 242"/>
                    <a:gd name="T82" fmla="*/ 2147483647 w 535"/>
                    <a:gd name="T83" fmla="*/ 2147483647 h 242"/>
                    <a:gd name="T84" fmla="*/ 2147483647 w 535"/>
                    <a:gd name="T85" fmla="*/ 2147483647 h 242"/>
                    <a:gd name="T86" fmla="*/ 2147483647 w 535"/>
                    <a:gd name="T87" fmla="*/ 2147483647 h 242"/>
                    <a:gd name="T88" fmla="*/ 2147483647 w 535"/>
                    <a:gd name="T89" fmla="*/ 2147483647 h 242"/>
                    <a:gd name="T90" fmla="*/ 2147483647 w 535"/>
                    <a:gd name="T91" fmla="*/ 2147483647 h 242"/>
                    <a:gd name="T92" fmla="*/ 2147483647 w 535"/>
                    <a:gd name="T93" fmla="*/ 2147483647 h 242"/>
                    <a:gd name="T94" fmla="*/ 2147483647 w 535"/>
                    <a:gd name="T95" fmla="*/ 2147483647 h 242"/>
                    <a:gd name="T96" fmla="*/ 2147483647 w 535"/>
                    <a:gd name="T97" fmla="*/ 2147483647 h 242"/>
                    <a:gd name="T98" fmla="*/ 2147483647 w 535"/>
                    <a:gd name="T99" fmla="*/ 2147483647 h 242"/>
                    <a:gd name="T100" fmla="*/ 2147483647 w 535"/>
                    <a:gd name="T101" fmla="*/ 2147483647 h 242"/>
                    <a:gd name="T102" fmla="*/ 2147483647 w 535"/>
                    <a:gd name="T103" fmla="*/ 2147483647 h 242"/>
                    <a:gd name="T104" fmla="*/ 2147483647 w 535"/>
                    <a:gd name="T105" fmla="*/ 2147483647 h 242"/>
                    <a:gd name="T106" fmla="*/ 2147483647 w 535"/>
                    <a:gd name="T107" fmla="*/ 2147483647 h 242"/>
                    <a:gd name="T108" fmla="*/ 2147483647 w 535"/>
                    <a:gd name="T109" fmla="*/ 2147483647 h 242"/>
                    <a:gd name="T110" fmla="*/ 2147483647 w 535"/>
                    <a:gd name="T111" fmla="*/ 2147483647 h 242"/>
                    <a:gd name="T112" fmla="*/ 2147483647 w 535"/>
                    <a:gd name="T113" fmla="*/ 2147483647 h 242"/>
                    <a:gd name="T114" fmla="*/ 2147483647 w 535"/>
                    <a:gd name="T115" fmla="*/ 2147483647 h 242"/>
                    <a:gd name="T116" fmla="*/ 2147483647 w 535"/>
                    <a:gd name="T117" fmla="*/ 2147483647 h 242"/>
                    <a:gd name="T118" fmla="*/ 2147483647 w 535"/>
                    <a:gd name="T119" fmla="*/ 2147483647 h 242"/>
                    <a:gd name="T120" fmla="*/ 2147483647 w 535"/>
                    <a:gd name="T121" fmla="*/ 2147483647 h 242"/>
                    <a:gd name="T122" fmla="*/ 2147483647 w 535"/>
                    <a:gd name="T123" fmla="*/ 2147483647 h 242"/>
                    <a:gd name="T124" fmla="*/ 2147483647 w 535"/>
                    <a:gd name="T125" fmla="*/ 2147483647 h 2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5"/>
                    <a:gd name="T190" fmla="*/ 0 h 242"/>
                    <a:gd name="T191" fmla="*/ 535 w 535"/>
                    <a:gd name="T192" fmla="*/ 242 h 2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5" h="242">
                      <a:moveTo>
                        <a:pt x="482" y="49"/>
                      </a:moveTo>
                      <a:lnTo>
                        <a:pt x="482" y="49"/>
                      </a:lnTo>
                      <a:lnTo>
                        <a:pt x="475" y="55"/>
                      </a:lnTo>
                      <a:lnTo>
                        <a:pt x="474" y="58"/>
                      </a:lnTo>
                      <a:lnTo>
                        <a:pt x="474" y="62"/>
                      </a:lnTo>
                      <a:lnTo>
                        <a:pt x="476" y="64"/>
                      </a:lnTo>
                      <a:lnTo>
                        <a:pt x="478" y="65"/>
                      </a:lnTo>
                      <a:lnTo>
                        <a:pt x="478" y="66"/>
                      </a:lnTo>
                      <a:lnTo>
                        <a:pt x="475" y="72"/>
                      </a:lnTo>
                      <a:lnTo>
                        <a:pt x="471" y="76"/>
                      </a:lnTo>
                      <a:lnTo>
                        <a:pt x="469" y="82"/>
                      </a:lnTo>
                      <a:lnTo>
                        <a:pt x="469" y="84"/>
                      </a:lnTo>
                      <a:lnTo>
                        <a:pt x="470" y="88"/>
                      </a:lnTo>
                      <a:lnTo>
                        <a:pt x="473" y="92"/>
                      </a:lnTo>
                      <a:lnTo>
                        <a:pt x="475" y="94"/>
                      </a:lnTo>
                      <a:lnTo>
                        <a:pt x="479" y="95"/>
                      </a:lnTo>
                      <a:lnTo>
                        <a:pt x="483" y="96"/>
                      </a:lnTo>
                      <a:lnTo>
                        <a:pt x="488" y="96"/>
                      </a:lnTo>
                      <a:lnTo>
                        <a:pt x="498" y="95"/>
                      </a:lnTo>
                      <a:lnTo>
                        <a:pt x="508" y="95"/>
                      </a:lnTo>
                      <a:lnTo>
                        <a:pt x="513" y="95"/>
                      </a:lnTo>
                      <a:lnTo>
                        <a:pt x="517" y="96"/>
                      </a:lnTo>
                      <a:lnTo>
                        <a:pt x="525" y="100"/>
                      </a:lnTo>
                      <a:lnTo>
                        <a:pt x="531" y="106"/>
                      </a:lnTo>
                      <a:lnTo>
                        <a:pt x="534" y="109"/>
                      </a:lnTo>
                      <a:lnTo>
                        <a:pt x="535" y="113"/>
                      </a:lnTo>
                      <a:lnTo>
                        <a:pt x="535" y="116"/>
                      </a:lnTo>
                      <a:lnTo>
                        <a:pt x="535" y="120"/>
                      </a:lnTo>
                      <a:lnTo>
                        <a:pt x="532" y="122"/>
                      </a:lnTo>
                      <a:lnTo>
                        <a:pt x="527" y="124"/>
                      </a:lnTo>
                      <a:lnTo>
                        <a:pt x="517" y="127"/>
                      </a:lnTo>
                      <a:lnTo>
                        <a:pt x="509" y="127"/>
                      </a:lnTo>
                      <a:lnTo>
                        <a:pt x="501" y="128"/>
                      </a:lnTo>
                      <a:lnTo>
                        <a:pt x="497" y="128"/>
                      </a:lnTo>
                      <a:lnTo>
                        <a:pt x="494" y="130"/>
                      </a:lnTo>
                      <a:lnTo>
                        <a:pt x="490" y="133"/>
                      </a:lnTo>
                      <a:lnTo>
                        <a:pt x="487" y="136"/>
                      </a:lnTo>
                      <a:lnTo>
                        <a:pt x="485" y="138"/>
                      </a:lnTo>
                      <a:lnTo>
                        <a:pt x="484" y="138"/>
                      </a:lnTo>
                      <a:lnTo>
                        <a:pt x="480" y="138"/>
                      </a:lnTo>
                      <a:lnTo>
                        <a:pt x="473" y="134"/>
                      </a:lnTo>
                      <a:lnTo>
                        <a:pt x="471" y="134"/>
                      </a:lnTo>
                      <a:lnTo>
                        <a:pt x="470" y="136"/>
                      </a:lnTo>
                      <a:lnTo>
                        <a:pt x="468" y="140"/>
                      </a:lnTo>
                      <a:lnTo>
                        <a:pt x="465" y="145"/>
                      </a:lnTo>
                      <a:lnTo>
                        <a:pt x="464" y="149"/>
                      </a:lnTo>
                      <a:lnTo>
                        <a:pt x="462" y="152"/>
                      </a:lnTo>
                      <a:lnTo>
                        <a:pt x="461" y="152"/>
                      </a:lnTo>
                      <a:lnTo>
                        <a:pt x="447" y="155"/>
                      </a:lnTo>
                      <a:lnTo>
                        <a:pt x="443" y="155"/>
                      </a:lnTo>
                      <a:lnTo>
                        <a:pt x="428" y="167"/>
                      </a:lnTo>
                      <a:lnTo>
                        <a:pt x="424" y="170"/>
                      </a:lnTo>
                      <a:lnTo>
                        <a:pt x="421" y="171"/>
                      </a:lnTo>
                      <a:lnTo>
                        <a:pt x="417" y="171"/>
                      </a:lnTo>
                      <a:lnTo>
                        <a:pt x="412" y="170"/>
                      </a:lnTo>
                      <a:lnTo>
                        <a:pt x="404" y="166"/>
                      </a:lnTo>
                      <a:lnTo>
                        <a:pt x="395" y="164"/>
                      </a:lnTo>
                      <a:lnTo>
                        <a:pt x="391" y="162"/>
                      </a:lnTo>
                      <a:lnTo>
                        <a:pt x="389" y="164"/>
                      </a:lnTo>
                      <a:lnTo>
                        <a:pt x="385" y="166"/>
                      </a:lnTo>
                      <a:lnTo>
                        <a:pt x="382" y="170"/>
                      </a:lnTo>
                      <a:lnTo>
                        <a:pt x="380" y="177"/>
                      </a:lnTo>
                      <a:lnTo>
                        <a:pt x="379" y="180"/>
                      </a:lnTo>
                      <a:lnTo>
                        <a:pt x="379" y="184"/>
                      </a:lnTo>
                      <a:lnTo>
                        <a:pt x="380" y="187"/>
                      </a:lnTo>
                      <a:lnTo>
                        <a:pt x="384" y="190"/>
                      </a:lnTo>
                      <a:lnTo>
                        <a:pt x="386" y="191"/>
                      </a:lnTo>
                      <a:lnTo>
                        <a:pt x="389" y="193"/>
                      </a:lnTo>
                      <a:lnTo>
                        <a:pt x="390" y="197"/>
                      </a:lnTo>
                      <a:lnTo>
                        <a:pt x="390" y="199"/>
                      </a:lnTo>
                      <a:lnTo>
                        <a:pt x="390" y="203"/>
                      </a:lnTo>
                      <a:lnTo>
                        <a:pt x="389" y="206"/>
                      </a:lnTo>
                      <a:lnTo>
                        <a:pt x="385" y="211"/>
                      </a:lnTo>
                      <a:lnTo>
                        <a:pt x="379" y="216"/>
                      </a:lnTo>
                      <a:lnTo>
                        <a:pt x="369" y="219"/>
                      </a:lnTo>
                      <a:lnTo>
                        <a:pt x="357" y="222"/>
                      </a:lnTo>
                      <a:lnTo>
                        <a:pt x="346" y="223"/>
                      </a:lnTo>
                      <a:lnTo>
                        <a:pt x="341" y="222"/>
                      </a:lnTo>
                      <a:lnTo>
                        <a:pt x="334" y="221"/>
                      </a:lnTo>
                      <a:lnTo>
                        <a:pt x="330" y="221"/>
                      </a:lnTo>
                      <a:lnTo>
                        <a:pt x="325" y="221"/>
                      </a:lnTo>
                      <a:lnTo>
                        <a:pt x="320" y="223"/>
                      </a:lnTo>
                      <a:lnTo>
                        <a:pt x="316" y="225"/>
                      </a:lnTo>
                      <a:lnTo>
                        <a:pt x="308" y="232"/>
                      </a:lnTo>
                      <a:lnTo>
                        <a:pt x="299" y="238"/>
                      </a:lnTo>
                      <a:lnTo>
                        <a:pt x="291" y="242"/>
                      </a:lnTo>
                      <a:lnTo>
                        <a:pt x="285" y="242"/>
                      </a:lnTo>
                      <a:lnTo>
                        <a:pt x="269" y="242"/>
                      </a:lnTo>
                      <a:lnTo>
                        <a:pt x="262" y="241"/>
                      </a:lnTo>
                      <a:lnTo>
                        <a:pt x="253" y="238"/>
                      </a:lnTo>
                      <a:lnTo>
                        <a:pt x="249" y="236"/>
                      </a:lnTo>
                      <a:lnTo>
                        <a:pt x="244" y="231"/>
                      </a:lnTo>
                      <a:lnTo>
                        <a:pt x="240" y="226"/>
                      </a:lnTo>
                      <a:lnTo>
                        <a:pt x="236" y="224"/>
                      </a:lnTo>
                      <a:lnTo>
                        <a:pt x="234" y="223"/>
                      </a:lnTo>
                      <a:lnTo>
                        <a:pt x="230" y="223"/>
                      </a:lnTo>
                      <a:lnTo>
                        <a:pt x="226" y="224"/>
                      </a:lnTo>
                      <a:lnTo>
                        <a:pt x="220" y="225"/>
                      </a:lnTo>
                      <a:lnTo>
                        <a:pt x="214" y="228"/>
                      </a:lnTo>
                      <a:lnTo>
                        <a:pt x="210" y="229"/>
                      </a:lnTo>
                      <a:lnTo>
                        <a:pt x="207" y="228"/>
                      </a:lnTo>
                      <a:lnTo>
                        <a:pt x="183" y="224"/>
                      </a:lnTo>
                      <a:lnTo>
                        <a:pt x="172" y="222"/>
                      </a:lnTo>
                      <a:lnTo>
                        <a:pt x="159" y="219"/>
                      </a:lnTo>
                      <a:lnTo>
                        <a:pt x="154" y="218"/>
                      </a:lnTo>
                      <a:lnTo>
                        <a:pt x="150" y="217"/>
                      </a:lnTo>
                      <a:lnTo>
                        <a:pt x="146" y="213"/>
                      </a:lnTo>
                      <a:lnTo>
                        <a:pt x="142" y="210"/>
                      </a:lnTo>
                      <a:lnTo>
                        <a:pt x="139" y="205"/>
                      </a:lnTo>
                      <a:lnTo>
                        <a:pt x="135" y="199"/>
                      </a:lnTo>
                      <a:lnTo>
                        <a:pt x="130" y="193"/>
                      </a:lnTo>
                      <a:lnTo>
                        <a:pt x="126" y="187"/>
                      </a:lnTo>
                      <a:lnTo>
                        <a:pt x="122" y="183"/>
                      </a:lnTo>
                      <a:lnTo>
                        <a:pt x="118" y="181"/>
                      </a:lnTo>
                      <a:lnTo>
                        <a:pt x="108" y="179"/>
                      </a:lnTo>
                      <a:lnTo>
                        <a:pt x="101" y="175"/>
                      </a:lnTo>
                      <a:lnTo>
                        <a:pt x="85" y="167"/>
                      </a:lnTo>
                      <a:lnTo>
                        <a:pt x="80" y="165"/>
                      </a:lnTo>
                      <a:lnTo>
                        <a:pt x="78" y="165"/>
                      </a:lnTo>
                      <a:lnTo>
                        <a:pt x="75" y="162"/>
                      </a:lnTo>
                      <a:lnTo>
                        <a:pt x="73" y="159"/>
                      </a:lnTo>
                      <a:lnTo>
                        <a:pt x="70" y="154"/>
                      </a:lnTo>
                      <a:lnTo>
                        <a:pt x="68" y="145"/>
                      </a:lnTo>
                      <a:lnTo>
                        <a:pt x="65" y="134"/>
                      </a:lnTo>
                      <a:lnTo>
                        <a:pt x="62" y="124"/>
                      </a:lnTo>
                      <a:lnTo>
                        <a:pt x="54" y="117"/>
                      </a:lnTo>
                      <a:lnTo>
                        <a:pt x="46" y="110"/>
                      </a:lnTo>
                      <a:lnTo>
                        <a:pt x="41" y="108"/>
                      </a:lnTo>
                      <a:lnTo>
                        <a:pt x="36" y="107"/>
                      </a:lnTo>
                      <a:lnTo>
                        <a:pt x="31" y="106"/>
                      </a:lnTo>
                      <a:lnTo>
                        <a:pt x="24" y="107"/>
                      </a:lnTo>
                      <a:lnTo>
                        <a:pt x="21" y="107"/>
                      </a:lnTo>
                      <a:lnTo>
                        <a:pt x="18" y="104"/>
                      </a:lnTo>
                      <a:lnTo>
                        <a:pt x="14" y="101"/>
                      </a:lnTo>
                      <a:lnTo>
                        <a:pt x="10" y="98"/>
                      </a:lnTo>
                      <a:lnTo>
                        <a:pt x="7" y="96"/>
                      </a:lnTo>
                      <a:lnTo>
                        <a:pt x="4" y="94"/>
                      </a:lnTo>
                      <a:lnTo>
                        <a:pt x="3" y="90"/>
                      </a:lnTo>
                      <a:lnTo>
                        <a:pt x="2" y="85"/>
                      </a:lnTo>
                      <a:lnTo>
                        <a:pt x="0" y="77"/>
                      </a:lnTo>
                      <a:lnTo>
                        <a:pt x="0" y="69"/>
                      </a:lnTo>
                      <a:lnTo>
                        <a:pt x="7" y="65"/>
                      </a:lnTo>
                      <a:lnTo>
                        <a:pt x="13" y="64"/>
                      </a:lnTo>
                      <a:lnTo>
                        <a:pt x="21" y="63"/>
                      </a:lnTo>
                      <a:lnTo>
                        <a:pt x="29" y="62"/>
                      </a:lnTo>
                      <a:lnTo>
                        <a:pt x="31" y="62"/>
                      </a:lnTo>
                      <a:lnTo>
                        <a:pt x="32" y="60"/>
                      </a:lnTo>
                      <a:lnTo>
                        <a:pt x="32" y="57"/>
                      </a:lnTo>
                      <a:lnTo>
                        <a:pt x="28" y="51"/>
                      </a:lnTo>
                      <a:lnTo>
                        <a:pt x="27" y="49"/>
                      </a:lnTo>
                      <a:lnTo>
                        <a:pt x="27" y="47"/>
                      </a:lnTo>
                      <a:lnTo>
                        <a:pt x="33" y="44"/>
                      </a:lnTo>
                      <a:lnTo>
                        <a:pt x="38" y="41"/>
                      </a:lnTo>
                      <a:lnTo>
                        <a:pt x="45" y="39"/>
                      </a:lnTo>
                      <a:lnTo>
                        <a:pt x="50" y="36"/>
                      </a:lnTo>
                      <a:lnTo>
                        <a:pt x="54" y="33"/>
                      </a:lnTo>
                      <a:lnTo>
                        <a:pt x="59" y="31"/>
                      </a:lnTo>
                      <a:lnTo>
                        <a:pt x="64" y="31"/>
                      </a:lnTo>
                      <a:lnTo>
                        <a:pt x="69" y="31"/>
                      </a:lnTo>
                      <a:lnTo>
                        <a:pt x="79" y="31"/>
                      </a:lnTo>
                      <a:lnTo>
                        <a:pt x="90" y="33"/>
                      </a:lnTo>
                      <a:lnTo>
                        <a:pt x="92" y="32"/>
                      </a:lnTo>
                      <a:lnTo>
                        <a:pt x="93" y="30"/>
                      </a:lnTo>
                      <a:lnTo>
                        <a:pt x="94" y="28"/>
                      </a:lnTo>
                      <a:lnTo>
                        <a:pt x="97" y="27"/>
                      </a:lnTo>
                      <a:lnTo>
                        <a:pt x="99" y="28"/>
                      </a:lnTo>
                      <a:lnTo>
                        <a:pt x="102" y="30"/>
                      </a:lnTo>
                      <a:lnTo>
                        <a:pt x="103" y="32"/>
                      </a:lnTo>
                      <a:lnTo>
                        <a:pt x="104" y="33"/>
                      </a:lnTo>
                      <a:lnTo>
                        <a:pt x="111" y="36"/>
                      </a:lnTo>
                      <a:lnTo>
                        <a:pt x="115" y="39"/>
                      </a:lnTo>
                      <a:lnTo>
                        <a:pt x="120" y="43"/>
                      </a:lnTo>
                      <a:lnTo>
                        <a:pt x="123" y="46"/>
                      </a:lnTo>
                      <a:lnTo>
                        <a:pt x="127" y="46"/>
                      </a:lnTo>
                      <a:lnTo>
                        <a:pt x="130" y="46"/>
                      </a:lnTo>
                      <a:lnTo>
                        <a:pt x="136" y="45"/>
                      </a:lnTo>
                      <a:lnTo>
                        <a:pt x="140" y="45"/>
                      </a:lnTo>
                      <a:lnTo>
                        <a:pt x="144" y="46"/>
                      </a:lnTo>
                      <a:lnTo>
                        <a:pt x="148" y="47"/>
                      </a:lnTo>
                      <a:lnTo>
                        <a:pt x="150" y="49"/>
                      </a:lnTo>
                      <a:lnTo>
                        <a:pt x="165" y="47"/>
                      </a:lnTo>
                      <a:lnTo>
                        <a:pt x="173" y="46"/>
                      </a:lnTo>
                      <a:lnTo>
                        <a:pt x="181" y="47"/>
                      </a:lnTo>
                      <a:lnTo>
                        <a:pt x="183" y="46"/>
                      </a:lnTo>
                      <a:lnTo>
                        <a:pt x="186" y="45"/>
                      </a:lnTo>
                      <a:lnTo>
                        <a:pt x="187" y="41"/>
                      </a:lnTo>
                      <a:lnTo>
                        <a:pt x="187" y="38"/>
                      </a:lnTo>
                      <a:lnTo>
                        <a:pt x="182" y="32"/>
                      </a:lnTo>
                      <a:lnTo>
                        <a:pt x="178" y="25"/>
                      </a:lnTo>
                      <a:lnTo>
                        <a:pt x="177" y="19"/>
                      </a:lnTo>
                      <a:lnTo>
                        <a:pt x="177" y="15"/>
                      </a:lnTo>
                      <a:lnTo>
                        <a:pt x="178" y="13"/>
                      </a:lnTo>
                      <a:lnTo>
                        <a:pt x="182" y="9"/>
                      </a:lnTo>
                      <a:lnTo>
                        <a:pt x="187" y="7"/>
                      </a:lnTo>
                      <a:lnTo>
                        <a:pt x="198" y="1"/>
                      </a:lnTo>
                      <a:lnTo>
                        <a:pt x="201" y="0"/>
                      </a:lnTo>
                      <a:lnTo>
                        <a:pt x="205" y="0"/>
                      </a:lnTo>
                      <a:lnTo>
                        <a:pt x="212" y="1"/>
                      </a:lnTo>
                      <a:lnTo>
                        <a:pt x="220" y="4"/>
                      </a:lnTo>
                      <a:lnTo>
                        <a:pt x="228" y="5"/>
                      </a:lnTo>
                      <a:lnTo>
                        <a:pt x="229" y="6"/>
                      </a:lnTo>
                      <a:lnTo>
                        <a:pt x="231" y="8"/>
                      </a:lnTo>
                      <a:lnTo>
                        <a:pt x="233" y="11"/>
                      </a:lnTo>
                      <a:lnTo>
                        <a:pt x="236" y="12"/>
                      </a:lnTo>
                      <a:lnTo>
                        <a:pt x="236" y="14"/>
                      </a:lnTo>
                      <a:lnTo>
                        <a:pt x="243" y="15"/>
                      </a:lnTo>
                      <a:lnTo>
                        <a:pt x="244" y="18"/>
                      </a:lnTo>
                      <a:lnTo>
                        <a:pt x="245" y="20"/>
                      </a:lnTo>
                      <a:lnTo>
                        <a:pt x="248" y="26"/>
                      </a:lnTo>
                      <a:lnTo>
                        <a:pt x="250" y="32"/>
                      </a:lnTo>
                      <a:lnTo>
                        <a:pt x="254" y="37"/>
                      </a:lnTo>
                      <a:lnTo>
                        <a:pt x="258" y="41"/>
                      </a:lnTo>
                      <a:lnTo>
                        <a:pt x="266" y="46"/>
                      </a:lnTo>
                      <a:lnTo>
                        <a:pt x="272" y="49"/>
                      </a:lnTo>
                      <a:lnTo>
                        <a:pt x="280" y="50"/>
                      </a:lnTo>
                      <a:lnTo>
                        <a:pt x="286" y="49"/>
                      </a:lnTo>
                      <a:lnTo>
                        <a:pt x="290" y="46"/>
                      </a:lnTo>
                      <a:lnTo>
                        <a:pt x="292" y="44"/>
                      </a:lnTo>
                      <a:lnTo>
                        <a:pt x="297" y="41"/>
                      </a:lnTo>
                      <a:lnTo>
                        <a:pt x="300" y="40"/>
                      </a:lnTo>
                      <a:lnTo>
                        <a:pt x="304" y="41"/>
                      </a:lnTo>
                      <a:lnTo>
                        <a:pt x="318" y="47"/>
                      </a:lnTo>
                      <a:lnTo>
                        <a:pt x="322" y="49"/>
                      </a:lnTo>
                      <a:lnTo>
                        <a:pt x="325" y="49"/>
                      </a:lnTo>
                      <a:lnTo>
                        <a:pt x="329" y="49"/>
                      </a:lnTo>
                      <a:lnTo>
                        <a:pt x="333" y="49"/>
                      </a:lnTo>
                      <a:lnTo>
                        <a:pt x="336" y="49"/>
                      </a:lnTo>
                      <a:lnTo>
                        <a:pt x="337" y="51"/>
                      </a:lnTo>
                      <a:lnTo>
                        <a:pt x="338" y="55"/>
                      </a:lnTo>
                      <a:lnTo>
                        <a:pt x="342" y="59"/>
                      </a:lnTo>
                      <a:lnTo>
                        <a:pt x="343" y="63"/>
                      </a:lnTo>
                      <a:lnTo>
                        <a:pt x="346" y="64"/>
                      </a:lnTo>
                      <a:lnTo>
                        <a:pt x="349" y="64"/>
                      </a:lnTo>
                      <a:lnTo>
                        <a:pt x="352" y="64"/>
                      </a:lnTo>
                      <a:lnTo>
                        <a:pt x="356" y="63"/>
                      </a:lnTo>
                      <a:lnTo>
                        <a:pt x="358" y="63"/>
                      </a:lnTo>
                      <a:lnTo>
                        <a:pt x="372" y="65"/>
                      </a:lnTo>
                      <a:lnTo>
                        <a:pt x="385" y="65"/>
                      </a:lnTo>
                      <a:lnTo>
                        <a:pt x="391" y="64"/>
                      </a:lnTo>
                      <a:lnTo>
                        <a:pt x="398" y="63"/>
                      </a:lnTo>
                      <a:lnTo>
                        <a:pt x="404" y="60"/>
                      </a:lnTo>
                      <a:lnTo>
                        <a:pt x="410" y="56"/>
                      </a:lnTo>
                      <a:lnTo>
                        <a:pt x="417" y="52"/>
                      </a:lnTo>
                      <a:lnTo>
                        <a:pt x="423" y="50"/>
                      </a:lnTo>
                      <a:lnTo>
                        <a:pt x="438" y="46"/>
                      </a:lnTo>
                      <a:lnTo>
                        <a:pt x="442" y="45"/>
                      </a:lnTo>
                      <a:lnTo>
                        <a:pt x="447" y="45"/>
                      </a:lnTo>
                      <a:lnTo>
                        <a:pt x="456" y="46"/>
                      </a:lnTo>
                      <a:lnTo>
                        <a:pt x="464" y="49"/>
                      </a:lnTo>
                      <a:lnTo>
                        <a:pt x="468" y="49"/>
                      </a:lnTo>
                      <a:lnTo>
                        <a:pt x="471" y="47"/>
                      </a:lnTo>
                      <a:lnTo>
                        <a:pt x="476" y="47"/>
                      </a:lnTo>
                      <a:lnTo>
                        <a:pt x="482" y="4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8" name="Freeform 625"/>
                <p:cNvSpPr>
                  <a:spLocks/>
                </p:cNvSpPr>
                <p:nvPr/>
              </p:nvSpPr>
              <p:spPr bwMode="auto">
                <a:xfrm>
                  <a:off x="6216463" y="3523257"/>
                  <a:ext cx="689620" cy="862765"/>
                </a:xfrm>
                <a:custGeom>
                  <a:avLst/>
                  <a:gdLst>
                    <a:gd name="T0" fmla="*/ 2147483647 w 505"/>
                    <a:gd name="T1" fmla="*/ 2147483647 h 583"/>
                    <a:gd name="T2" fmla="*/ 2147483647 w 505"/>
                    <a:gd name="T3" fmla="*/ 2147483647 h 583"/>
                    <a:gd name="T4" fmla="*/ 2147483647 w 505"/>
                    <a:gd name="T5" fmla="*/ 2147483647 h 583"/>
                    <a:gd name="T6" fmla="*/ 2147483647 w 505"/>
                    <a:gd name="T7" fmla="*/ 2147483647 h 583"/>
                    <a:gd name="T8" fmla="*/ 2147483647 w 505"/>
                    <a:gd name="T9" fmla="*/ 2147483647 h 583"/>
                    <a:gd name="T10" fmla="*/ 2147483647 w 505"/>
                    <a:gd name="T11" fmla="*/ 2147483647 h 583"/>
                    <a:gd name="T12" fmla="*/ 2147483647 w 505"/>
                    <a:gd name="T13" fmla="*/ 2147483647 h 583"/>
                    <a:gd name="T14" fmla="*/ 2147483647 w 505"/>
                    <a:gd name="T15" fmla="*/ 2147483647 h 583"/>
                    <a:gd name="T16" fmla="*/ 2147483647 w 505"/>
                    <a:gd name="T17" fmla="*/ 2147483647 h 583"/>
                    <a:gd name="T18" fmla="*/ 2147483647 w 505"/>
                    <a:gd name="T19" fmla="*/ 2147483647 h 583"/>
                    <a:gd name="T20" fmla="*/ 2147483647 w 505"/>
                    <a:gd name="T21" fmla="*/ 2147483647 h 583"/>
                    <a:gd name="T22" fmla="*/ 2147483647 w 505"/>
                    <a:gd name="T23" fmla="*/ 2147483647 h 583"/>
                    <a:gd name="T24" fmla="*/ 2147483647 w 505"/>
                    <a:gd name="T25" fmla="*/ 2147483647 h 583"/>
                    <a:gd name="T26" fmla="*/ 2147483647 w 505"/>
                    <a:gd name="T27" fmla="*/ 2147483647 h 583"/>
                    <a:gd name="T28" fmla="*/ 2147483647 w 505"/>
                    <a:gd name="T29" fmla="*/ 2147483647 h 583"/>
                    <a:gd name="T30" fmla="*/ 2147483647 w 505"/>
                    <a:gd name="T31" fmla="*/ 2147483647 h 583"/>
                    <a:gd name="T32" fmla="*/ 2147483647 w 505"/>
                    <a:gd name="T33" fmla="*/ 2147483647 h 583"/>
                    <a:gd name="T34" fmla="*/ 2147483647 w 505"/>
                    <a:gd name="T35" fmla="*/ 2147483647 h 583"/>
                    <a:gd name="T36" fmla="*/ 2147483647 w 505"/>
                    <a:gd name="T37" fmla="*/ 2147483647 h 583"/>
                    <a:gd name="T38" fmla="*/ 2147483647 w 505"/>
                    <a:gd name="T39" fmla="*/ 2147483647 h 583"/>
                    <a:gd name="T40" fmla="*/ 2147483647 w 505"/>
                    <a:gd name="T41" fmla="*/ 2147483647 h 583"/>
                    <a:gd name="T42" fmla="*/ 2147483647 w 505"/>
                    <a:gd name="T43" fmla="*/ 2147483647 h 583"/>
                    <a:gd name="T44" fmla="*/ 2147483647 w 505"/>
                    <a:gd name="T45" fmla="*/ 2147483647 h 583"/>
                    <a:gd name="T46" fmla="*/ 2147483647 w 505"/>
                    <a:gd name="T47" fmla="*/ 2147483647 h 583"/>
                    <a:gd name="T48" fmla="*/ 2147483647 w 505"/>
                    <a:gd name="T49" fmla="*/ 2147483647 h 583"/>
                    <a:gd name="T50" fmla="*/ 2147483647 w 505"/>
                    <a:gd name="T51" fmla="*/ 2147483647 h 583"/>
                    <a:gd name="T52" fmla="*/ 2147483647 w 505"/>
                    <a:gd name="T53" fmla="*/ 2147483647 h 583"/>
                    <a:gd name="T54" fmla="*/ 2147483647 w 505"/>
                    <a:gd name="T55" fmla="*/ 2147483647 h 583"/>
                    <a:gd name="T56" fmla="*/ 2147483647 w 505"/>
                    <a:gd name="T57" fmla="*/ 2147483647 h 583"/>
                    <a:gd name="T58" fmla="*/ 2147483647 w 505"/>
                    <a:gd name="T59" fmla="*/ 2147483647 h 583"/>
                    <a:gd name="T60" fmla="*/ 2147483647 w 505"/>
                    <a:gd name="T61" fmla="*/ 2147483647 h 583"/>
                    <a:gd name="T62" fmla="*/ 2147483647 w 505"/>
                    <a:gd name="T63" fmla="*/ 2147483647 h 583"/>
                    <a:gd name="T64" fmla="*/ 2147483647 w 505"/>
                    <a:gd name="T65" fmla="*/ 2147483647 h 583"/>
                    <a:gd name="T66" fmla="*/ 2147483647 w 505"/>
                    <a:gd name="T67" fmla="*/ 2147483647 h 583"/>
                    <a:gd name="T68" fmla="*/ 2147483647 w 505"/>
                    <a:gd name="T69" fmla="*/ 2147483647 h 583"/>
                    <a:gd name="T70" fmla="*/ 2147483647 w 505"/>
                    <a:gd name="T71" fmla="*/ 2147483647 h 583"/>
                    <a:gd name="T72" fmla="*/ 2147483647 w 505"/>
                    <a:gd name="T73" fmla="*/ 2147483647 h 583"/>
                    <a:gd name="T74" fmla="*/ 2147483647 w 505"/>
                    <a:gd name="T75" fmla="*/ 2147483647 h 583"/>
                    <a:gd name="T76" fmla="*/ 2147483647 w 505"/>
                    <a:gd name="T77" fmla="*/ 2147483647 h 583"/>
                    <a:gd name="T78" fmla="*/ 2147483647 w 505"/>
                    <a:gd name="T79" fmla="*/ 2147483647 h 583"/>
                    <a:gd name="T80" fmla="*/ 2147483647 w 505"/>
                    <a:gd name="T81" fmla="*/ 2147483647 h 583"/>
                    <a:gd name="T82" fmla="*/ 2147483647 w 505"/>
                    <a:gd name="T83" fmla="*/ 2147483647 h 583"/>
                    <a:gd name="T84" fmla="*/ 2147483647 w 505"/>
                    <a:gd name="T85" fmla="*/ 2147483647 h 583"/>
                    <a:gd name="T86" fmla="*/ 2147483647 w 505"/>
                    <a:gd name="T87" fmla="*/ 2147483647 h 583"/>
                    <a:gd name="T88" fmla="*/ 2147483647 w 505"/>
                    <a:gd name="T89" fmla="*/ 2147483647 h 583"/>
                    <a:gd name="T90" fmla="*/ 2147483647 w 505"/>
                    <a:gd name="T91" fmla="*/ 2147483647 h 583"/>
                    <a:gd name="T92" fmla="*/ 2147483647 w 505"/>
                    <a:gd name="T93" fmla="*/ 2147483647 h 583"/>
                    <a:gd name="T94" fmla="*/ 2147483647 w 505"/>
                    <a:gd name="T95" fmla="*/ 2147483647 h 583"/>
                    <a:gd name="T96" fmla="*/ 2147483647 w 505"/>
                    <a:gd name="T97" fmla="*/ 2147483647 h 583"/>
                    <a:gd name="T98" fmla="*/ 2147483647 w 505"/>
                    <a:gd name="T99" fmla="*/ 2147483647 h 583"/>
                    <a:gd name="T100" fmla="*/ 2147483647 w 505"/>
                    <a:gd name="T101" fmla="*/ 2147483647 h 583"/>
                    <a:gd name="T102" fmla="*/ 2147483647 w 505"/>
                    <a:gd name="T103" fmla="*/ 2147483647 h 583"/>
                    <a:gd name="T104" fmla="*/ 2147483647 w 505"/>
                    <a:gd name="T105" fmla="*/ 2147483647 h 583"/>
                    <a:gd name="T106" fmla="*/ 2147483647 w 505"/>
                    <a:gd name="T107" fmla="*/ 2147483647 h 583"/>
                    <a:gd name="T108" fmla="*/ 2147483647 w 505"/>
                    <a:gd name="T109" fmla="*/ 2147483647 h 583"/>
                    <a:gd name="T110" fmla="*/ 2147483647 w 505"/>
                    <a:gd name="T111" fmla="*/ 2147483647 h 583"/>
                    <a:gd name="T112" fmla="*/ 2147483647 w 505"/>
                    <a:gd name="T113" fmla="*/ 0 h 583"/>
                    <a:gd name="T114" fmla="*/ 2147483647 w 505"/>
                    <a:gd name="T115" fmla="*/ 2147483647 h 583"/>
                    <a:gd name="T116" fmla="*/ 2147483647 w 505"/>
                    <a:gd name="T117" fmla="*/ 2147483647 h 583"/>
                    <a:gd name="T118" fmla="*/ 2147483647 w 505"/>
                    <a:gd name="T119" fmla="*/ 2147483647 h 583"/>
                    <a:gd name="T120" fmla="*/ 2147483647 w 505"/>
                    <a:gd name="T121" fmla="*/ 2147483647 h 583"/>
                    <a:gd name="T122" fmla="*/ 2147483647 w 505"/>
                    <a:gd name="T123" fmla="*/ 2147483647 h 5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5"/>
                    <a:gd name="T187" fmla="*/ 0 h 583"/>
                    <a:gd name="T188" fmla="*/ 505 w 505"/>
                    <a:gd name="T189" fmla="*/ 583 h 5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5" h="583">
                      <a:moveTo>
                        <a:pt x="227" y="134"/>
                      </a:moveTo>
                      <a:lnTo>
                        <a:pt x="227" y="134"/>
                      </a:lnTo>
                      <a:lnTo>
                        <a:pt x="230" y="135"/>
                      </a:lnTo>
                      <a:lnTo>
                        <a:pt x="234" y="135"/>
                      </a:lnTo>
                      <a:lnTo>
                        <a:pt x="240" y="133"/>
                      </a:lnTo>
                      <a:lnTo>
                        <a:pt x="242" y="131"/>
                      </a:lnTo>
                      <a:lnTo>
                        <a:pt x="245" y="131"/>
                      </a:lnTo>
                      <a:lnTo>
                        <a:pt x="251" y="135"/>
                      </a:lnTo>
                      <a:lnTo>
                        <a:pt x="258" y="140"/>
                      </a:lnTo>
                      <a:lnTo>
                        <a:pt x="263" y="144"/>
                      </a:lnTo>
                      <a:lnTo>
                        <a:pt x="264" y="147"/>
                      </a:lnTo>
                      <a:lnTo>
                        <a:pt x="267" y="149"/>
                      </a:lnTo>
                      <a:lnTo>
                        <a:pt x="270" y="150"/>
                      </a:lnTo>
                      <a:lnTo>
                        <a:pt x="274" y="150"/>
                      </a:lnTo>
                      <a:lnTo>
                        <a:pt x="279" y="152"/>
                      </a:lnTo>
                      <a:lnTo>
                        <a:pt x="281" y="153"/>
                      </a:lnTo>
                      <a:lnTo>
                        <a:pt x="282" y="154"/>
                      </a:lnTo>
                      <a:lnTo>
                        <a:pt x="281" y="157"/>
                      </a:lnTo>
                      <a:lnTo>
                        <a:pt x="281" y="159"/>
                      </a:lnTo>
                      <a:lnTo>
                        <a:pt x="283" y="159"/>
                      </a:lnTo>
                      <a:lnTo>
                        <a:pt x="286" y="159"/>
                      </a:lnTo>
                      <a:lnTo>
                        <a:pt x="289" y="159"/>
                      </a:lnTo>
                      <a:lnTo>
                        <a:pt x="293" y="160"/>
                      </a:lnTo>
                      <a:lnTo>
                        <a:pt x="298" y="165"/>
                      </a:lnTo>
                      <a:lnTo>
                        <a:pt x="302" y="171"/>
                      </a:lnTo>
                      <a:lnTo>
                        <a:pt x="307" y="174"/>
                      </a:lnTo>
                      <a:lnTo>
                        <a:pt x="314" y="178"/>
                      </a:lnTo>
                      <a:lnTo>
                        <a:pt x="316" y="178"/>
                      </a:lnTo>
                      <a:lnTo>
                        <a:pt x="319" y="178"/>
                      </a:lnTo>
                      <a:lnTo>
                        <a:pt x="322" y="175"/>
                      </a:lnTo>
                      <a:lnTo>
                        <a:pt x="326" y="173"/>
                      </a:lnTo>
                      <a:lnTo>
                        <a:pt x="327" y="173"/>
                      </a:lnTo>
                      <a:lnTo>
                        <a:pt x="330" y="173"/>
                      </a:lnTo>
                      <a:lnTo>
                        <a:pt x="339" y="178"/>
                      </a:lnTo>
                      <a:lnTo>
                        <a:pt x="343" y="179"/>
                      </a:lnTo>
                      <a:lnTo>
                        <a:pt x="348" y="180"/>
                      </a:lnTo>
                      <a:lnTo>
                        <a:pt x="350" y="179"/>
                      </a:lnTo>
                      <a:lnTo>
                        <a:pt x="353" y="178"/>
                      </a:lnTo>
                      <a:lnTo>
                        <a:pt x="354" y="176"/>
                      </a:lnTo>
                      <a:lnTo>
                        <a:pt x="357" y="178"/>
                      </a:lnTo>
                      <a:lnTo>
                        <a:pt x="362" y="181"/>
                      </a:lnTo>
                      <a:lnTo>
                        <a:pt x="366" y="186"/>
                      </a:lnTo>
                      <a:lnTo>
                        <a:pt x="368" y="182"/>
                      </a:lnTo>
                      <a:lnTo>
                        <a:pt x="369" y="180"/>
                      </a:lnTo>
                      <a:lnTo>
                        <a:pt x="371" y="178"/>
                      </a:lnTo>
                      <a:lnTo>
                        <a:pt x="373" y="178"/>
                      </a:lnTo>
                      <a:lnTo>
                        <a:pt x="385" y="176"/>
                      </a:lnTo>
                      <a:lnTo>
                        <a:pt x="395" y="174"/>
                      </a:lnTo>
                      <a:lnTo>
                        <a:pt x="399" y="174"/>
                      </a:lnTo>
                      <a:lnTo>
                        <a:pt x="402" y="175"/>
                      </a:lnTo>
                      <a:lnTo>
                        <a:pt x="405" y="176"/>
                      </a:lnTo>
                      <a:lnTo>
                        <a:pt x="407" y="178"/>
                      </a:lnTo>
                      <a:lnTo>
                        <a:pt x="413" y="178"/>
                      </a:lnTo>
                      <a:lnTo>
                        <a:pt x="419" y="175"/>
                      </a:lnTo>
                      <a:lnTo>
                        <a:pt x="434" y="167"/>
                      </a:lnTo>
                      <a:lnTo>
                        <a:pt x="451" y="159"/>
                      </a:lnTo>
                      <a:lnTo>
                        <a:pt x="463" y="154"/>
                      </a:lnTo>
                      <a:lnTo>
                        <a:pt x="472" y="152"/>
                      </a:lnTo>
                      <a:lnTo>
                        <a:pt x="481" y="152"/>
                      </a:lnTo>
                      <a:lnTo>
                        <a:pt x="489" y="153"/>
                      </a:lnTo>
                      <a:lnTo>
                        <a:pt x="493" y="154"/>
                      </a:lnTo>
                      <a:lnTo>
                        <a:pt x="496" y="156"/>
                      </a:lnTo>
                      <a:lnTo>
                        <a:pt x="498" y="159"/>
                      </a:lnTo>
                      <a:lnTo>
                        <a:pt x="496" y="162"/>
                      </a:lnTo>
                      <a:lnTo>
                        <a:pt x="495" y="165"/>
                      </a:lnTo>
                      <a:lnTo>
                        <a:pt x="495" y="167"/>
                      </a:lnTo>
                      <a:lnTo>
                        <a:pt x="496" y="169"/>
                      </a:lnTo>
                      <a:lnTo>
                        <a:pt x="499" y="171"/>
                      </a:lnTo>
                      <a:lnTo>
                        <a:pt x="505" y="169"/>
                      </a:lnTo>
                      <a:lnTo>
                        <a:pt x="505" y="172"/>
                      </a:lnTo>
                      <a:lnTo>
                        <a:pt x="504" y="173"/>
                      </a:lnTo>
                      <a:lnTo>
                        <a:pt x="503" y="175"/>
                      </a:lnTo>
                      <a:lnTo>
                        <a:pt x="501" y="176"/>
                      </a:lnTo>
                      <a:lnTo>
                        <a:pt x="500" y="182"/>
                      </a:lnTo>
                      <a:lnTo>
                        <a:pt x="496" y="187"/>
                      </a:lnTo>
                      <a:lnTo>
                        <a:pt x="493" y="191"/>
                      </a:lnTo>
                      <a:lnTo>
                        <a:pt x="486" y="193"/>
                      </a:lnTo>
                      <a:lnTo>
                        <a:pt x="484" y="194"/>
                      </a:lnTo>
                      <a:lnTo>
                        <a:pt x="482" y="198"/>
                      </a:lnTo>
                      <a:lnTo>
                        <a:pt x="481" y="204"/>
                      </a:lnTo>
                      <a:lnTo>
                        <a:pt x="479" y="210"/>
                      </a:lnTo>
                      <a:lnTo>
                        <a:pt x="476" y="216"/>
                      </a:lnTo>
                      <a:lnTo>
                        <a:pt x="474" y="221"/>
                      </a:lnTo>
                      <a:lnTo>
                        <a:pt x="465" y="232"/>
                      </a:lnTo>
                      <a:lnTo>
                        <a:pt x="456" y="240"/>
                      </a:lnTo>
                      <a:lnTo>
                        <a:pt x="453" y="244"/>
                      </a:lnTo>
                      <a:lnTo>
                        <a:pt x="452" y="246"/>
                      </a:lnTo>
                      <a:lnTo>
                        <a:pt x="452" y="255"/>
                      </a:lnTo>
                      <a:lnTo>
                        <a:pt x="451" y="261"/>
                      </a:lnTo>
                      <a:lnTo>
                        <a:pt x="449" y="263"/>
                      </a:lnTo>
                      <a:lnTo>
                        <a:pt x="447" y="264"/>
                      </a:lnTo>
                      <a:lnTo>
                        <a:pt x="443" y="267"/>
                      </a:lnTo>
                      <a:lnTo>
                        <a:pt x="438" y="268"/>
                      </a:lnTo>
                      <a:lnTo>
                        <a:pt x="435" y="268"/>
                      </a:lnTo>
                      <a:lnTo>
                        <a:pt x="434" y="269"/>
                      </a:lnTo>
                      <a:lnTo>
                        <a:pt x="430" y="274"/>
                      </a:lnTo>
                      <a:lnTo>
                        <a:pt x="429" y="280"/>
                      </a:lnTo>
                      <a:lnTo>
                        <a:pt x="428" y="284"/>
                      </a:lnTo>
                      <a:lnTo>
                        <a:pt x="428" y="290"/>
                      </a:lnTo>
                      <a:lnTo>
                        <a:pt x="427" y="296"/>
                      </a:lnTo>
                      <a:lnTo>
                        <a:pt x="425" y="299"/>
                      </a:lnTo>
                      <a:lnTo>
                        <a:pt x="423" y="300"/>
                      </a:lnTo>
                      <a:lnTo>
                        <a:pt x="420" y="302"/>
                      </a:lnTo>
                      <a:lnTo>
                        <a:pt x="416" y="302"/>
                      </a:lnTo>
                      <a:lnTo>
                        <a:pt x="416" y="301"/>
                      </a:lnTo>
                      <a:lnTo>
                        <a:pt x="419" y="295"/>
                      </a:lnTo>
                      <a:lnTo>
                        <a:pt x="419" y="288"/>
                      </a:lnTo>
                      <a:lnTo>
                        <a:pt x="418" y="282"/>
                      </a:lnTo>
                      <a:lnTo>
                        <a:pt x="416" y="276"/>
                      </a:lnTo>
                      <a:lnTo>
                        <a:pt x="413" y="274"/>
                      </a:lnTo>
                      <a:lnTo>
                        <a:pt x="409" y="272"/>
                      </a:lnTo>
                      <a:lnTo>
                        <a:pt x="406" y="271"/>
                      </a:lnTo>
                      <a:lnTo>
                        <a:pt x="405" y="269"/>
                      </a:lnTo>
                      <a:lnTo>
                        <a:pt x="406" y="267"/>
                      </a:lnTo>
                      <a:lnTo>
                        <a:pt x="407" y="264"/>
                      </a:lnTo>
                      <a:lnTo>
                        <a:pt x="410" y="261"/>
                      </a:lnTo>
                      <a:lnTo>
                        <a:pt x="416" y="257"/>
                      </a:lnTo>
                      <a:lnTo>
                        <a:pt x="423" y="252"/>
                      </a:lnTo>
                      <a:lnTo>
                        <a:pt x="425" y="249"/>
                      </a:lnTo>
                      <a:lnTo>
                        <a:pt x="427" y="246"/>
                      </a:lnTo>
                      <a:lnTo>
                        <a:pt x="428" y="242"/>
                      </a:lnTo>
                      <a:lnTo>
                        <a:pt x="429" y="237"/>
                      </a:lnTo>
                      <a:lnTo>
                        <a:pt x="428" y="232"/>
                      </a:lnTo>
                      <a:lnTo>
                        <a:pt x="427" y="231"/>
                      </a:lnTo>
                      <a:lnTo>
                        <a:pt x="424" y="231"/>
                      </a:lnTo>
                      <a:lnTo>
                        <a:pt x="409" y="231"/>
                      </a:lnTo>
                      <a:lnTo>
                        <a:pt x="400" y="231"/>
                      </a:lnTo>
                      <a:lnTo>
                        <a:pt x="392" y="230"/>
                      </a:lnTo>
                      <a:lnTo>
                        <a:pt x="386" y="227"/>
                      </a:lnTo>
                      <a:lnTo>
                        <a:pt x="380" y="223"/>
                      </a:lnTo>
                      <a:lnTo>
                        <a:pt x="374" y="218"/>
                      </a:lnTo>
                      <a:lnTo>
                        <a:pt x="372" y="210"/>
                      </a:lnTo>
                      <a:lnTo>
                        <a:pt x="369" y="208"/>
                      </a:lnTo>
                      <a:lnTo>
                        <a:pt x="362" y="210"/>
                      </a:lnTo>
                      <a:lnTo>
                        <a:pt x="359" y="208"/>
                      </a:lnTo>
                      <a:lnTo>
                        <a:pt x="355" y="207"/>
                      </a:lnTo>
                      <a:lnTo>
                        <a:pt x="354" y="207"/>
                      </a:lnTo>
                      <a:lnTo>
                        <a:pt x="353" y="208"/>
                      </a:lnTo>
                      <a:lnTo>
                        <a:pt x="349" y="214"/>
                      </a:lnTo>
                      <a:lnTo>
                        <a:pt x="348" y="218"/>
                      </a:lnTo>
                      <a:lnTo>
                        <a:pt x="344" y="220"/>
                      </a:lnTo>
                      <a:lnTo>
                        <a:pt x="345" y="221"/>
                      </a:lnTo>
                      <a:lnTo>
                        <a:pt x="349" y="223"/>
                      </a:lnTo>
                      <a:lnTo>
                        <a:pt x="353" y="223"/>
                      </a:lnTo>
                      <a:lnTo>
                        <a:pt x="355" y="224"/>
                      </a:lnTo>
                      <a:lnTo>
                        <a:pt x="355" y="225"/>
                      </a:lnTo>
                      <a:lnTo>
                        <a:pt x="355" y="226"/>
                      </a:lnTo>
                      <a:lnTo>
                        <a:pt x="350" y="232"/>
                      </a:lnTo>
                      <a:lnTo>
                        <a:pt x="347" y="238"/>
                      </a:lnTo>
                      <a:lnTo>
                        <a:pt x="345" y="242"/>
                      </a:lnTo>
                      <a:lnTo>
                        <a:pt x="344" y="245"/>
                      </a:lnTo>
                      <a:lnTo>
                        <a:pt x="345" y="249"/>
                      </a:lnTo>
                      <a:lnTo>
                        <a:pt x="347" y="253"/>
                      </a:lnTo>
                      <a:lnTo>
                        <a:pt x="348" y="257"/>
                      </a:lnTo>
                      <a:lnTo>
                        <a:pt x="348" y="262"/>
                      </a:lnTo>
                      <a:lnTo>
                        <a:pt x="348" y="271"/>
                      </a:lnTo>
                      <a:lnTo>
                        <a:pt x="347" y="280"/>
                      </a:lnTo>
                      <a:lnTo>
                        <a:pt x="347" y="289"/>
                      </a:lnTo>
                      <a:lnTo>
                        <a:pt x="345" y="293"/>
                      </a:lnTo>
                      <a:lnTo>
                        <a:pt x="344" y="296"/>
                      </a:lnTo>
                      <a:lnTo>
                        <a:pt x="343" y="303"/>
                      </a:lnTo>
                      <a:lnTo>
                        <a:pt x="341" y="310"/>
                      </a:lnTo>
                      <a:lnTo>
                        <a:pt x="335" y="315"/>
                      </a:lnTo>
                      <a:lnTo>
                        <a:pt x="331" y="318"/>
                      </a:lnTo>
                      <a:lnTo>
                        <a:pt x="327" y="319"/>
                      </a:lnTo>
                      <a:lnTo>
                        <a:pt x="326" y="320"/>
                      </a:lnTo>
                      <a:lnTo>
                        <a:pt x="325" y="321"/>
                      </a:lnTo>
                      <a:lnTo>
                        <a:pt x="324" y="323"/>
                      </a:lnTo>
                      <a:lnTo>
                        <a:pt x="324" y="326"/>
                      </a:lnTo>
                      <a:lnTo>
                        <a:pt x="322" y="332"/>
                      </a:lnTo>
                      <a:lnTo>
                        <a:pt x="320" y="339"/>
                      </a:lnTo>
                      <a:lnTo>
                        <a:pt x="317" y="345"/>
                      </a:lnTo>
                      <a:lnTo>
                        <a:pt x="312" y="348"/>
                      </a:lnTo>
                      <a:lnTo>
                        <a:pt x="308" y="352"/>
                      </a:lnTo>
                      <a:lnTo>
                        <a:pt x="303" y="354"/>
                      </a:lnTo>
                      <a:lnTo>
                        <a:pt x="300" y="357"/>
                      </a:lnTo>
                      <a:lnTo>
                        <a:pt x="291" y="368"/>
                      </a:lnTo>
                      <a:lnTo>
                        <a:pt x="281" y="379"/>
                      </a:lnTo>
                      <a:lnTo>
                        <a:pt x="270" y="390"/>
                      </a:lnTo>
                      <a:lnTo>
                        <a:pt x="264" y="393"/>
                      </a:lnTo>
                      <a:lnTo>
                        <a:pt x="258" y="397"/>
                      </a:lnTo>
                      <a:lnTo>
                        <a:pt x="254" y="401"/>
                      </a:lnTo>
                      <a:lnTo>
                        <a:pt x="253" y="404"/>
                      </a:lnTo>
                      <a:lnTo>
                        <a:pt x="253" y="409"/>
                      </a:lnTo>
                      <a:lnTo>
                        <a:pt x="255" y="412"/>
                      </a:lnTo>
                      <a:lnTo>
                        <a:pt x="256" y="415"/>
                      </a:lnTo>
                      <a:lnTo>
                        <a:pt x="256" y="417"/>
                      </a:lnTo>
                      <a:lnTo>
                        <a:pt x="255" y="418"/>
                      </a:lnTo>
                      <a:lnTo>
                        <a:pt x="254" y="419"/>
                      </a:lnTo>
                      <a:lnTo>
                        <a:pt x="241" y="427"/>
                      </a:lnTo>
                      <a:lnTo>
                        <a:pt x="228" y="434"/>
                      </a:lnTo>
                      <a:lnTo>
                        <a:pt x="226" y="435"/>
                      </a:lnTo>
                      <a:lnTo>
                        <a:pt x="222" y="436"/>
                      </a:lnTo>
                      <a:lnTo>
                        <a:pt x="218" y="437"/>
                      </a:lnTo>
                      <a:lnTo>
                        <a:pt x="216" y="440"/>
                      </a:lnTo>
                      <a:lnTo>
                        <a:pt x="214" y="442"/>
                      </a:lnTo>
                      <a:lnTo>
                        <a:pt x="214" y="443"/>
                      </a:lnTo>
                      <a:lnTo>
                        <a:pt x="216" y="447"/>
                      </a:lnTo>
                      <a:lnTo>
                        <a:pt x="214" y="453"/>
                      </a:lnTo>
                      <a:lnTo>
                        <a:pt x="213" y="459"/>
                      </a:lnTo>
                      <a:lnTo>
                        <a:pt x="212" y="465"/>
                      </a:lnTo>
                      <a:lnTo>
                        <a:pt x="213" y="470"/>
                      </a:lnTo>
                      <a:lnTo>
                        <a:pt x="212" y="472"/>
                      </a:lnTo>
                      <a:lnTo>
                        <a:pt x="211" y="473"/>
                      </a:lnTo>
                      <a:lnTo>
                        <a:pt x="212" y="476"/>
                      </a:lnTo>
                      <a:lnTo>
                        <a:pt x="213" y="480"/>
                      </a:lnTo>
                      <a:lnTo>
                        <a:pt x="214" y="483"/>
                      </a:lnTo>
                      <a:lnTo>
                        <a:pt x="214" y="487"/>
                      </a:lnTo>
                      <a:lnTo>
                        <a:pt x="213" y="493"/>
                      </a:lnTo>
                      <a:lnTo>
                        <a:pt x="209" y="499"/>
                      </a:lnTo>
                      <a:lnTo>
                        <a:pt x="204" y="512"/>
                      </a:lnTo>
                      <a:lnTo>
                        <a:pt x="203" y="518"/>
                      </a:lnTo>
                      <a:lnTo>
                        <a:pt x="202" y="524"/>
                      </a:lnTo>
                      <a:lnTo>
                        <a:pt x="203" y="530"/>
                      </a:lnTo>
                      <a:lnTo>
                        <a:pt x="206" y="537"/>
                      </a:lnTo>
                      <a:lnTo>
                        <a:pt x="206" y="538"/>
                      </a:lnTo>
                      <a:lnTo>
                        <a:pt x="206" y="539"/>
                      </a:lnTo>
                      <a:lnTo>
                        <a:pt x="202" y="540"/>
                      </a:lnTo>
                      <a:lnTo>
                        <a:pt x="198" y="542"/>
                      </a:lnTo>
                      <a:lnTo>
                        <a:pt x="194" y="543"/>
                      </a:lnTo>
                      <a:lnTo>
                        <a:pt x="193" y="545"/>
                      </a:lnTo>
                      <a:lnTo>
                        <a:pt x="192" y="549"/>
                      </a:lnTo>
                      <a:lnTo>
                        <a:pt x="190" y="555"/>
                      </a:lnTo>
                      <a:lnTo>
                        <a:pt x="188" y="562"/>
                      </a:lnTo>
                      <a:lnTo>
                        <a:pt x="187" y="563"/>
                      </a:lnTo>
                      <a:lnTo>
                        <a:pt x="184" y="563"/>
                      </a:lnTo>
                      <a:lnTo>
                        <a:pt x="181" y="563"/>
                      </a:lnTo>
                      <a:lnTo>
                        <a:pt x="179" y="565"/>
                      </a:lnTo>
                      <a:lnTo>
                        <a:pt x="176" y="569"/>
                      </a:lnTo>
                      <a:lnTo>
                        <a:pt x="174" y="574"/>
                      </a:lnTo>
                      <a:lnTo>
                        <a:pt x="171" y="578"/>
                      </a:lnTo>
                      <a:lnTo>
                        <a:pt x="166" y="582"/>
                      </a:lnTo>
                      <a:lnTo>
                        <a:pt x="162" y="583"/>
                      </a:lnTo>
                      <a:lnTo>
                        <a:pt x="160" y="582"/>
                      </a:lnTo>
                      <a:lnTo>
                        <a:pt x="156" y="580"/>
                      </a:lnTo>
                      <a:lnTo>
                        <a:pt x="154" y="577"/>
                      </a:lnTo>
                      <a:lnTo>
                        <a:pt x="151" y="572"/>
                      </a:lnTo>
                      <a:lnTo>
                        <a:pt x="148" y="566"/>
                      </a:lnTo>
                      <a:lnTo>
                        <a:pt x="146" y="562"/>
                      </a:lnTo>
                      <a:lnTo>
                        <a:pt x="143" y="557"/>
                      </a:lnTo>
                      <a:lnTo>
                        <a:pt x="143" y="552"/>
                      </a:lnTo>
                      <a:lnTo>
                        <a:pt x="143" y="548"/>
                      </a:lnTo>
                      <a:lnTo>
                        <a:pt x="142" y="542"/>
                      </a:lnTo>
                      <a:lnTo>
                        <a:pt x="141" y="537"/>
                      </a:lnTo>
                      <a:lnTo>
                        <a:pt x="127" y="505"/>
                      </a:lnTo>
                      <a:lnTo>
                        <a:pt x="121" y="488"/>
                      </a:lnTo>
                      <a:lnTo>
                        <a:pt x="114" y="470"/>
                      </a:lnTo>
                      <a:lnTo>
                        <a:pt x="112" y="462"/>
                      </a:lnTo>
                      <a:lnTo>
                        <a:pt x="107" y="455"/>
                      </a:lnTo>
                      <a:lnTo>
                        <a:pt x="104" y="450"/>
                      </a:lnTo>
                      <a:lnTo>
                        <a:pt x="101" y="446"/>
                      </a:lnTo>
                      <a:lnTo>
                        <a:pt x="99" y="434"/>
                      </a:lnTo>
                      <a:lnTo>
                        <a:pt x="98" y="423"/>
                      </a:lnTo>
                      <a:lnTo>
                        <a:pt x="96" y="411"/>
                      </a:lnTo>
                      <a:lnTo>
                        <a:pt x="94" y="405"/>
                      </a:lnTo>
                      <a:lnTo>
                        <a:pt x="91" y="399"/>
                      </a:lnTo>
                      <a:lnTo>
                        <a:pt x="91" y="397"/>
                      </a:lnTo>
                      <a:lnTo>
                        <a:pt x="91" y="392"/>
                      </a:lnTo>
                      <a:lnTo>
                        <a:pt x="85" y="376"/>
                      </a:lnTo>
                      <a:lnTo>
                        <a:pt x="82" y="359"/>
                      </a:lnTo>
                      <a:lnTo>
                        <a:pt x="82" y="351"/>
                      </a:lnTo>
                      <a:lnTo>
                        <a:pt x="82" y="342"/>
                      </a:lnTo>
                      <a:lnTo>
                        <a:pt x="84" y="334"/>
                      </a:lnTo>
                      <a:lnTo>
                        <a:pt x="86" y="326"/>
                      </a:lnTo>
                      <a:lnTo>
                        <a:pt x="86" y="322"/>
                      </a:lnTo>
                      <a:lnTo>
                        <a:pt x="85" y="320"/>
                      </a:lnTo>
                      <a:lnTo>
                        <a:pt x="80" y="315"/>
                      </a:lnTo>
                      <a:lnTo>
                        <a:pt x="80" y="313"/>
                      </a:lnTo>
                      <a:lnTo>
                        <a:pt x="80" y="310"/>
                      </a:lnTo>
                      <a:lnTo>
                        <a:pt x="82" y="303"/>
                      </a:lnTo>
                      <a:lnTo>
                        <a:pt x="84" y="300"/>
                      </a:lnTo>
                      <a:lnTo>
                        <a:pt x="84" y="296"/>
                      </a:lnTo>
                      <a:lnTo>
                        <a:pt x="81" y="297"/>
                      </a:lnTo>
                      <a:lnTo>
                        <a:pt x="80" y="299"/>
                      </a:lnTo>
                      <a:lnTo>
                        <a:pt x="77" y="308"/>
                      </a:lnTo>
                      <a:lnTo>
                        <a:pt x="72" y="318"/>
                      </a:lnTo>
                      <a:lnTo>
                        <a:pt x="68" y="321"/>
                      </a:lnTo>
                      <a:lnTo>
                        <a:pt x="66" y="323"/>
                      </a:lnTo>
                      <a:lnTo>
                        <a:pt x="61" y="326"/>
                      </a:lnTo>
                      <a:lnTo>
                        <a:pt x="56" y="327"/>
                      </a:lnTo>
                      <a:lnTo>
                        <a:pt x="47" y="327"/>
                      </a:lnTo>
                      <a:lnTo>
                        <a:pt x="41" y="326"/>
                      </a:lnTo>
                      <a:lnTo>
                        <a:pt x="37" y="325"/>
                      </a:lnTo>
                      <a:lnTo>
                        <a:pt x="34" y="321"/>
                      </a:lnTo>
                      <a:lnTo>
                        <a:pt x="32" y="319"/>
                      </a:lnTo>
                      <a:lnTo>
                        <a:pt x="30" y="314"/>
                      </a:lnTo>
                      <a:lnTo>
                        <a:pt x="29" y="313"/>
                      </a:lnTo>
                      <a:lnTo>
                        <a:pt x="27" y="313"/>
                      </a:lnTo>
                      <a:lnTo>
                        <a:pt x="25" y="310"/>
                      </a:lnTo>
                      <a:lnTo>
                        <a:pt x="23" y="308"/>
                      </a:lnTo>
                      <a:lnTo>
                        <a:pt x="21" y="306"/>
                      </a:lnTo>
                      <a:lnTo>
                        <a:pt x="21" y="303"/>
                      </a:lnTo>
                      <a:lnTo>
                        <a:pt x="23" y="300"/>
                      </a:lnTo>
                      <a:lnTo>
                        <a:pt x="25" y="299"/>
                      </a:lnTo>
                      <a:lnTo>
                        <a:pt x="29" y="297"/>
                      </a:lnTo>
                      <a:lnTo>
                        <a:pt x="34" y="297"/>
                      </a:lnTo>
                      <a:lnTo>
                        <a:pt x="38" y="295"/>
                      </a:lnTo>
                      <a:lnTo>
                        <a:pt x="46" y="293"/>
                      </a:lnTo>
                      <a:lnTo>
                        <a:pt x="48" y="290"/>
                      </a:lnTo>
                      <a:lnTo>
                        <a:pt x="51" y="287"/>
                      </a:lnTo>
                      <a:lnTo>
                        <a:pt x="48" y="287"/>
                      </a:lnTo>
                      <a:lnTo>
                        <a:pt x="46" y="286"/>
                      </a:lnTo>
                      <a:lnTo>
                        <a:pt x="41" y="287"/>
                      </a:lnTo>
                      <a:lnTo>
                        <a:pt x="34" y="288"/>
                      </a:lnTo>
                      <a:lnTo>
                        <a:pt x="28" y="289"/>
                      </a:lnTo>
                      <a:lnTo>
                        <a:pt x="25" y="288"/>
                      </a:lnTo>
                      <a:lnTo>
                        <a:pt x="21" y="286"/>
                      </a:lnTo>
                      <a:lnTo>
                        <a:pt x="18" y="283"/>
                      </a:lnTo>
                      <a:lnTo>
                        <a:pt x="15" y="282"/>
                      </a:lnTo>
                      <a:lnTo>
                        <a:pt x="9" y="282"/>
                      </a:lnTo>
                      <a:lnTo>
                        <a:pt x="4" y="282"/>
                      </a:lnTo>
                      <a:lnTo>
                        <a:pt x="1" y="281"/>
                      </a:lnTo>
                      <a:lnTo>
                        <a:pt x="0" y="278"/>
                      </a:lnTo>
                      <a:lnTo>
                        <a:pt x="5" y="276"/>
                      </a:lnTo>
                      <a:lnTo>
                        <a:pt x="10" y="274"/>
                      </a:lnTo>
                      <a:lnTo>
                        <a:pt x="15" y="270"/>
                      </a:lnTo>
                      <a:lnTo>
                        <a:pt x="18" y="265"/>
                      </a:lnTo>
                      <a:lnTo>
                        <a:pt x="19" y="262"/>
                      </a:lnTo>
                      <a:lnTo>
                        <a:pt x="20" y="259"/>
                      </a:lnTo>
                      <a:lnTo>
                        <a:pt x="23" y="257"/>
                      </a:lnTo>
                      <a:lnTo>
                        <a:pt x="25" y="256"/>
                      </a:lnTo>
                      <a:lnTo>
                        <a:pt x="32" y="256"/>
                      </a:lnTo>
                      <a:lnTo>
                        <a:pt x="39" y="257"/>
                      </a:lnTo>
                      <a:lnTo>
                        <a:pt x="53" y="258"/>
                      </a:lnTo>
                      <a:lnTo>
                        <a:pt x="54" y="251"/>
                      </a:lnTo>
                      <a:lnTo>
                        <a:pt x="57" y="245"/>
                      </a:lnTo>
                      <a:lnTo>
                        <a:pt x="57" y="238"/>
                      </a:lnTo>
                      <a:lnTo>
                        <a:pt x="56" y="236"/>
                      </a:lnTo>
                      <a:lnTo>
                        <a:pt x="53" y="233"/>
                      </a:lnTo>
                      <a:lnTo>
                        <a:pt x="48" y="229"/>
                      </a:lnTo>
                      <a:lnTo>
                        <a:pt x="47" y="226"/>
                      </a:lnTo>
                      <a:lnTo>
                        <a:pt x="44" y="224"/>
                      </a:lnTo>
                      <a:lnTo>
                        <a:pt x="44" y="218"/>
                      </a:lnTo>
                      <a:lnTo>
                        <a:pt x="43" y="214"/>
                      </a:lnTo>
                      <a:lnTo>
                        <a:pt x="42" y="212"/>
                      </a:lnTo>
                      <a:lnTo>
                        <a:pt x="41" y="210"/>
                      </a:lnTo>
                      <a:lnTo>
                        <a:pt x="38" y="208"/>
                      </a:lnTo>
                      <a:lnTo>
                        <a:pt x="35" y="207"/>
                      </a:lnTo>
                      <a:lnTo>
                        <a:pt x="33" y="206"/>
                      </a:lnTo>
                      <a:lnTo>
                        <a:pt x="33" y="204"/>
                      </a:lnTo>
                      <a:lnTo>
                        <a:pt x="33" y="203"/>
                      </a:lnTo>
                      <a:lnTo>
                        <a:pt x="35" y="200"/>
                      </a:lnTo>
                      <a:lnTo>
                        <a:pt x="38" y="198"/>
                      </a:lnTo>
                      <a:lnTo>
                        <a:pt x="41" y="195"/>
                      </a:lnTo>
                      <a:lnTo>
                        <a:pt x="44" y="192"/>
                      </a:lnTo>
                      <a:lnTo>
                        <a:pt x="47" y="188"/>
                      </a:lnTo>
                      <a:lnTo>
                        <a:pt x="51" y="187"/>
                      </a:lnTo>
                      <a:lnTo>
                        <a:pt x="54" y="187"/>
                      </a:lnTo>
                      <a:lnTo>
                        <a:pt x="60" y="188"/>
                      </a:lnTo>
                      <a:lnTo>
                        <a:pt x="65" y="187"/>
                      </a:lnTo>
                      <a:lnTo>
                        <a:pt x="67" y="186"/>
                      </a:lnTo>
                      <a:lnTo>
                        <a:pt x="70" y="182"/>
                      </a:lnTo>
                      <a:lnTo>
                        <a:pt x="76" y="173"/>
                      </a:lnTo>
                      <a:lnTo>
                        <a:pt x="82" y="166"/>
                      </a:lnTo>
                      <a:lnTo>
                        <a:pt x="90" y="157"/>
                      </a:lnTo>
                      <a:lnTo>
                        <a:pt x="95" y="149"/>
                      </a:lnTo>
                      <a:lnTo>
                        <a:pt x="101" y="138"/>
                      </a:lnTo>
                      <a:lnTo>
                        <a:pt x="109" y="128"/>
                      </a:lnTo>
                      <a:lnTo>
                        <a:pt x="113" y="124"/>
                      </a:lnTo>
                      <a:lnTo>
                        <a:pt x="115" y="121"/>
                      </a:lnTo>
                      <a:lnTo>
                        <a:pt x="118" y="117"/>
                      </a:lnTo>
                      <a:lnTo>
                        <a:pt x="117" y="112"/>
                      </a:lnTo>
                      <a:lnTo>
                        <a:pt x="115" y="109"/>
                      </a:lnTo>
                      <a:lnTo>
                        <a:pt x="115" y="105"/>
                      </a:lnTo>
                      <a:lnTo>
                        <a:pt x="117" y="102"/>
                      </a:lnTo>
                      <a:lnTo>
                        <a:pt x="119" y="98"/>
                      </a:lnTo>
                      <a:lnTo>
                        <a:pt x="119" y="96"/>
                      </a:lnTo>
                      <a:lnTo>
                        <a:pt x="119" y="93"/>
                      </a:lnTo>
                      <a:lnTo>
                        <a:pt x="114" y="89"/>
                      </a:lnTo>
                      <a:lnTo>
                        <a:pt x="114" y="86"/>
                      </a:lnTo>
                      <a:lnTo>
                        <a:pt x="114" y="83"/>
                      </a:lnTo>
                      <a:lnTo>
                        <a:pt x="117" y="77"/>
                      </a:lnTo>
                      <a:lnTo>
                        <a:pt x="117" y="71"/>
                      </a:lnTo>
                      <a:lnTo>
                        <a:pt x="117" y="65"/>
                      </a:lnTo>
                      <a:lnTo>
                        <a:pt x="114" y="58"/>
                      </a:lnTo>
                      <a:lnTo>
                        <a:pt x="113" y="57"/>
                      </a:lnTo>
                      <a:lnTo>
                        <a:pt x="113" y="54"/>
                      </a:lnTo>
                      <a:lnTo>
                        <a:pt x="114" y="50"/>
                      </a:lnTo>
                      <a:lnTo>
                        <a:pt x="118" y="45"/>
                      </a:lnTo>
                      <a:lnTo>
                        <a:pt x="122" y="41"/>
                      </a:lnTo>
                      <a:lnTo>
                        <a:pt x="124" y="40"/>
                      </a:lnTo>
                      <a:lnTo>
                        <a:pt x="127" y="40"/>
                      </a:lnTo>
                      <a:lnTo>
                        <a:pt x="133" y="41"/>
                      </a:lnTo>
                      <a:lnTo>
                        <a:pt x="138" y="45"/>
                      </a:lnTo>
                      <a:lnTo>
                        <a:pt x="142" y="48"/>
                      </a:lnTo>
                      <a:lnTo>
                        <a:pt x="147" y="51"/>
                      </a:lnTo>
                      <a:lnTo>
                        <a:pt x="152" y="52"/>
                      </a:lnTo>
                      <a:lnTo>
                        <a:pt x="157" y="51"/>
                      </a:lnTo>
                      <a:lnTo>
                        <a:pt x="161" y="48"/>
                      </a:lnTo>
                      <a:lnTo>
                        <a:pt x="167" y="40"/>
                      </a:lnTo>
                      <a:lnTo>
                        <a:pt x="170" y="35"/>
                      </a:lnTo>
                      <a:lnTo>
                        <a:pt x="171" y="31"/>
                      </a:lnTo>
                      <a:lnTo>
                        <a:pt x="173" y="26"/>
                      </a:lnTo>
                      <a:lnTo>
                        <a:pt x="173" y="21"/>
                      </a:lnTo>
                      <a:lnTo>
                        <a:pt x="170" y="18"/>
                      </a:lnTo>
                      <a:lnTo>
                        <a:pt x="166" y="14"/>
                      </a:lnTo>
                      <a:lnTo>
                        <a:pt x="160" y="10"/>
                      </a:lnTo>
                      <a:lnTo>
                        <a:pt x="156" y="7"/>
                      </a:lnTo>
                      <a:lnTo>
                        <a:pt x="154" y="3"/>
                      </a:lnTo>
                      <a:lnTo>
                        <a:pt x="151" y="0"/>
                      </a:lnTo>
                      <a:lnTo>
                        <a:pt x="162" y="5"/>
                      </a:lnTo>
                      <a:lnTo>
                        <a:pt x="174" y="7"/>
                      </a:lnTo>
                      <a:lnTo>
                        <a:pt x="198" y="9"/>
                      </a:lnTo>
                      <a:lnTo>
                        <a:pt x="207" y="9"/>
                      </a:lnTo>
                      <a:lnTo>
                        <a:pt x="209" y="12"/>
                      </a:lnTo>
                      <a:lnTo>
                        <a:pt x="212" y="14"/>
                      </a:lnTo>
                      <a:lnTo>
                        <a:pt x="213" y="19"/>
                      </a:lnTo>
                      <a:lnTo>
                        <a:pt x="213" y="23"/>
                      </a:lnTo>
                      <a:lnTo>
                        <a:pt x="211" y="27"/>
                      </a:lnTo>
                      <a:lnTo>
                        <a:pt x="208" y="32"/>
                      </a:lnTo>
                      <a:lnTo>
                        <a:pt x="202" y="39"/>
                      </a:lnTo>
                      <a:lnTo>
                        <a:pt x="195" y="47"/>
                      </a:lnTo>
                      <a:lnTo>
                        <a:pt x="194" y="52"/>
                      </a:lnTo>
                      <a:lnTo>
                        <a:pt x="194" y="54"/>
                      </a:lnTo>
                      <a:lnTo>
                        <a:pt x="195" y="57"/>
                      </a:lnTo>
                      <a:lnTo>
                        <a:pt x="201" y="64"/>
                      </a:lnTo>
                      <a:lnTo>
                        <a:pt x="203" y="70"/>
                      </a:lnTo>
                      <a:lnTo>
                        <a:pt x="203" y="77"/>
                      </a:lnTo>
                      <a:lnTo>
                        <a:pt x="202" y="84"/>
                      </a:lnTo>
                      <a:lnTo>
                        <a:pt x="201" y="88"/>
                      </a:lnTo>
                      <a:lnTo>
                        <a:pt x="198" y="90"/>
                      </a:lnTo>
                      <a:lnTo>
                        <a:pt x="194" y="92"/>
                      </a:lnTo>
                      <a:lnTo>
                        <a:pt x="192" y="96"/>
                      </a:lnTo>
                      <a:lnTo>
                        <a:pt x="190" y="99"/>
                      </a:lnTo>
                      <a:lnTo>
                        <a:pt x="189" y="103"/>
                      </a:lnTo>
                      <a:lnTo>
                        <a:pt x="190" y="109"/>
                      </a:lnTo>
                      <a:lnTo>
                        <a:pt x="192" y="112"/>
                      </a:lnTo>
                      <a:lnTo>
                        <a:pt x="193" y="115"/>
                      </a:lnTo>
                      <a:lnTo>
                        <a:pt x="195" y="116"/>
                      </a:lnTo>
                      <a:lnTo>
                        <a:pt x="199" y="117"/>
                      </a:lnTo>
                      <a:lnTo>
                        <a:pt x="208" y="120"/>
                      </a:lnTo>
                      <a:lnTo>
                        <a:pt x="216" y="122"/>
                      </a:lnTo>
                      <a:lnTo>
                        <a:pt x="218" y="124"/>
                      </a:lnTo>
                      <a:lnTo>
                        <a:pt x="221" y="128"/>
                      </a:lnTo>
                      <a:lnTo>
                        <a:pt x="223" y="131"/>
                      </a:lnTo>
                      <a:lnTo>
                        <a:pt x="227" y="13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79" name="Freeform 632"/>
                <p:cNvSpPr>
                  <a:spLocks/>
                </p:cNvSpPr>
                <p:nvPr/>
              </p:nvSpPr>
              <p:spPr bwMode="auto">
                <a:xfrm>
                  <a:off x="7154702" y="4029376"/>
                  <a:ext cx="69554" cy="60674"/>
                </a:xfrm>
                <a:custGeom>
                  <a:avLst/>
                  <a:gdLst>
                    <a:gd name="T0" fmla="*/ 2147483647 w 51"/>
                    <a:gd name="T1" fmla="*/ 2147483647 h 41"/>
                    <a:gd name="T2" fmla="*/ 2147483647 w 51"/>
                    <a:gd name="T3" fmla="*/ 2147483647 h 41"/>
                    <a:gd name="T4" fmla="*/ 2147483647 w 51"/>
                    <a:gd name="T5" fmla="*/ 2147483647 h 41"/>
                    <a:gd name="T6" fmla="*/ 2147483647 w 51"/>
                    <a:gd name="T7" fmla="*/ 2147483647 h 41"/>
                    <a:gd name="T8" fmla="*/ 2147483647 w 51"/>
                    <a:gd name="T9" fmla="*/ 2147483647 h 41"/>
                    <a:gd name="T10" fmla="*/ 2147483647 w 51"/>
                    <a:gd name="T11" fmla="*/ 2147483647 h 41"/>
                    <a:gd name="T12" fmla="*/ 2147483647 w 51"/>
                    <a:gd name="T13" fmla="*/ 0 h 41"/>
                    <a:gd name="T14" fmla="*/ 2147483647 w 51"/>
                    <a:gd name="T15" fmla="*/ 2147483647 h 41"/>
                    <a:gd name="T16" fmla="*/ 2147483647 w 51"/>
                    <a:gd name="T17" fmla="*/ 2147483647 h 41"/>
                    <a:gd name="T18" fmla="*/ 2147483647 w 51"/>
                    <a:gd name="T19" fmla="*/ 2147483647 h 41"/>
                    <a:gd name="T20" fmla="*/ 2147483647 w 51"/>
                    <a:gd name="T21" fmla="*/ 2147483647 h 41"/>
                    <a:gd name="T22" fmla="*/ 2147483647 w 51"/>
                    <a:gd name="T23" fmla="*/ 2147483647 h 41"/>
                    <a:gd name="T24" fmla="*/ 2147483647 w 51"/>
                    <a:gd name="T25" fmla="*/ 2147483647 h 41"/>
                    <a:gd name="T26" fmla="*/ 2147483647 w 51"/>
                    <a:gd name="T27" fmla="*/ 2147483647 h 41"/>
                    <a:gd name="T28" fmla="*/ 2147483647 w 51"/>
                    <a:gd name="T29" fmla="*/ 2147483647 h 41"/>
                    <a:gd name="T30" fmla="*/ 2147483647 w 51"/>
                    <a:gd name="T31" fmla="*/ 2147483647 h 41"/>
                    <a:gd name="T32" fmla="*/ 2147483647 w 51"/>
                    <a:gd name="T33" fmla="*/ 2147483647 h 41"/>
                    <a:gd name="T34" fmla="*/ 2147483647 w 51"/>
                    <a:gd name="T35" fmla="*/ 2147483647 h 41"/>
                    <a:gd name="T36" fmla="*/ 2147483647 w 51"/>
                    <a:gd name="T37" fmla="*/ 2147483647 h 41"/>
                    <a:gd name="T38" fmla="*/ 2147483647 w 51"/>
                    <a:gd name="T39" fmla="*/ 2147483647 h 41"/>
                    <a:gd name="T40" fmla="*/ 2147483647 w 51"/>
                    <a:gd name="T41" fmla="*/ 2147483647 h 41"/>
                    <a:gd name="T42" fmla="*/ 0 w 51"/>
                    <a:gd name="T43" fmla="*/ 2147483647 h 41"/>
                    <a:gd name="T44" fmla="*/ 0 w 51"/>
                    <a:gd name="T45" fmla="*/ 2147483647 h 41"/>
                    <a:gd name="T46" fmla="*/ 2147483647 w 51"/>
                    <a:gd name="T47" fmla="*/ 2147483647 h 41"/>
                    <a:gd name="T48" fmla="*/ 2147483647 w 51"/>
                    <a:gd name="T49" fmla="*/ 2147483647 h 41"/>
                    <a:gd name="T50" fmla="*/ 2147483647 w 51"/>
                    <a:gd name="T51" fmla="*/ 2147483647 h 41"/>
                    <a:gd name="T52" fmla="*/ 2147483647 w 51"/>
                    <a:gd name="T53" fmla="*/ 2147483647 h 41"/>
                    <a:gd name="T54" fmla="*/ 2147483647 w 51"/>
                    <a:gd name="T55" fmla="*/ 2147483647 h 41"/>
                    <a:gd name="T56" fmla="*/ 2147483647 w 51"/>
                    <a:gd name="T57" fmla="*/ 2147483647 h 41"/>
                    <a:gd name="T58" fmla="*/ 2147483647 w 51"/>
                    <a:gd name="T59" fmla="*/ 2147483647 h 41"/>
                    <a:gd name="T60" fmla="*/ 2147483647 w 51"/>
                    <a:gd name="T61" fmla="*/ 2147483647 h 41"/>
                    <a:gd name="T62" fmla="*/ 2147483647 w 51"/>
                    <a:gd name="T63" fmla="*/ 2147483647 h 41"/>
                    <a:gd name="T64" fmla="*/ 2147483647 w 51"/>
                    <a:gd name="T65" fmla="*/ 2147483647 h 41"/>
                    <a:gd name="T66" fmla="*/ 2147483647 w 51"/>
                    <a:gd name="T67" fmla="*/ 2147483647 h 41"/>
                    <a:gd name="T68" fmla="*/ 2147483647 w 51"/>
                    <a:gd name="T69" fmla="*/ 2147483647 h 41"/>
                    <a:gd name="T70" fmla="*/ 2147483647 w 51"/>
                    <a:gd name="T71" fmla="*/ 2147483647 h 41"/>
                    <a:gd name="T72" fmla="*/ 2147483647 w 51"/>
                    <a:gd name="T73" fmla="*/ 2147483647 h 41"/>
                    <a:gd name="T74" fmla="*/ 2147483647 w 51"/>
                    <a:gd name="T75" fmla="*/ 2147483647 h 41"/>
                    <a:gd name="T76" fmla="*/ 2147483647 w 51"/>
                    <a:gd name="T77" fmla="*/ 2147483647 h 41"/>
                    <a:gd name="T78" fmla="*/ 2147483647 w 51"/>
                    <a:gd name="T79" fmla="*/ 2147483647 h 41"/>
                    <a:gd name="T80" fmla="*/ 2147483647 w 51"/>
                    <a:gd name="T81" fmla="*/ 2147483647 h 41"/>
                    <a:gd name="T82" fmla="*/ 2147483647 w 51"/>
                    <a:gd name="T83" fmla="*/ 2147483647 h 41"/>
                    <a:gd name="T84" fmla="*/ 2147483647 w 51"/>
                    <a:gd name="T85" fmla="*/ 2147483647 h 41"/>
                    <a:gd name="T86" fmla="*/ 2147483647 w 51"/>
                    <a:gd name="T87" fmla="*/ 2147483647 h 41"/>
                    <a:gd name="T88" fmla="*/ 2147483647 w 51"/>
                    <a:gd name="T89" fmla="*/ 2147483647 h 41"/>
                    <a:gd name="T90" fmla="*/ 2147483647 w 51"/>
                    <a:gd name="T91" fmla="*/ 2147483647 h 41"/>
                    <a:gd name="T92" fmla="*/ 2147483647 w 51"/>
                    <a:gd name="T93" fmla="*/ 2147483647 h 41"/>
                    <a:gd name="T94" fmla="*/ 2147483647 w 51"/>
                    <a:gd name="T95" fmla="*/ 2147483647 h 41"/>
                    <a:gd name="T96" fmla="*/ 2147483647 w 51"/>
                    <a:gd name="T97" fmla="*/ 2147483647 h 41"/>
                    <a:gd name="T98" fmla="*/ 2147483647 w 51"/>
                    <a:gd name="T99" fmla="*/ 2147483647 h 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1"/>
                    <a:gd name="T151" fmla="*/ 0 h 41"/>
                    <a:gd name="T152" fmla="*/ 51 w 51"/>
                    <a:gd name="T153" fmla="*/ 41 h 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1" h="41">
                      <a:moveTo>
                        <a:pt x="47" y="13"/>
                      </a:moveTo>
                      <a:lnTo>
                        <a:pt x="47" y="13"/>
                      </a:lnTo>
                      <a:lnTo>
                        <a:pt x="51" y="8"/>
                      </a:lnTo>
                      <a:lnTo>
                        <a:pt x="51" y="5"/>
                      </a:lnTo>
                      <a:lnTo>
                        <a:pt x="51" y="3"/>
                      </a:lnTo>
                      <a:lnTo>
                        <a:pt x="48" y="0"/>
                      </a:lnTo>
                      <a:lnTo>
                        <a:pt x="46" y="2"/>
                      </a:lnTo>
                      <a:lnTo>
                        <a:pt x="40" y="3"/>
                      </a:lnTo>
                      <a:lnTo>
                        <a:pt x="34" y="4"/>
                      </a:lnTo>
                      <a:lnTo>
                        <a:pt x="23" y="5"/>
                      </a:lnTo>
                      <a:lnTo>
                        <a:pt x="18" y="6"/>
                      </a:lnTo>
                      <a:lnTo>
                        <a:pt x="13" y="9"/>
                      </a:lnTo>
                      <a:lnTo>
                        <a:pt x="11" y="10"/>
                      </a:lnTo>
                      <a:lnTo>
                        <a:pt x="7" y="16"/>
                      </a:lnTo>
                      <a:lnTo>
                        <a:pt x="1" y="21"/>
                      </a:lnTo>
                      <a:lnTo>
                        <a:pt x="0" y="22"/>
                      </a:lnTo>
                      <a:lnTo>
                        <a:pt x="0" y="24"/>
                      </a:lnTo>
                      <a:lnTo>
                        <a:pt x="1" y="28"/>
                      </a:lnTo>
                      <a:lnTo>
                        <a:pt x="5" y="34"/>
                      </a:lnTo>
                      <a:lnTo>
                        <a:pt x="5" y="36"/>
                      </a:lnTo>
                      <a:lnTo>
                        <a:pt x="5" y="38"/>
                      </a:lnTo>
                      <a:lnTo>
                        <a:pt x="5" y="40"/>
                      </a:lnTo>
                      <a:lnTo>
                        <a:pt x="7" y="40"/>
                      </a:lnTo>
                      <a:lnTo>
                        <a:pt x="10" y="38"/>
                      </a:lnTo>
                      <a:lnTo>
                        <a:pt x="14" y="38"/>
                      </a:lnTo>
                      <a:lnTo>
                        <a:pt x="16" y="40"/>
                      </a:lnTo>
                      <a:lnTo>
                        <a:pt x="21" y="41"/>
                      </a:lnTo>
                      <a:lnTo>
                        <a:pt x="25" y="40"/>
                      </a:lnTo>
                      <a:lnTo>
                        <a:pt x="27" y="37"/>
                      </a:lnTo>
                      <a:lnTo>
                        <a:pt x="28" y="31"/>
                      </a:lnTo>
                      <a:lnTo>
                        <a:pt x="29" y="29"/>
                      </a:lnTo>
                      <a:lnTo>
                        <a:pt x="32" y="28"/>
                      </a:lnTo>
                      <a:lnTo>
                        <a:pt x="38" y="26"/>
                      </a:lnTo>
                      <a:lnTo>
                        <a:pt x="40" y="25"/>
                      </a:lnTo>
                      <a:lnTo>
                        <a:pt x="43" y="19"/>
                      </a:lnTo>
                      <a:lnTo>
                        <a:pt x="47"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0" name="Freeform 633"/>
                <p:cNvSpPr>
                  <a:spLocks/>
                </p:cNvSpPr>
                <p:nvPr/>
              </p:nvSpPr>
              <p:spPr bwMode="auto">
                <a:xfrm>
                  <a:off x="6349654" y="2929830"/>
                  <a:ext cx="1423637" cy="1093626"/>
                </a:xfrm>
                <a:custGeom>
                  <a:avLst/>
                  <a:gdLst>
                    <a:gd name="T0" fmla="*/ 2147483647 w 1042"/>
                    <a:gd name="T1" fmla="*/ 2147483647 h 739"/>
                    <a:gd name="T2" fmla="*/ 2147483647 w 1042"/>
                    <a:gd name="T3" fmla="*/ 2147483647 h 739"/>
                    <a:gd name="T4" fmla="*/ 2147483647 w 1042"/>
                    <a:gd name="T5" fmla="*/ 2147483647 h 739"/>
                    <a:gd name="T6" fmla="*/ 2147483647 w 1042"/>
                    <a:gd name="T7" fmla="*/ 2147483647 h 739"/>
                    <a:gd name="T8" fmla="*/ 0 w 1042"/>
                    <a:gd name="T9" fmla="*/ 2147483647 h 739"/>
                    <a:gd name="T10" fmla="*/ 2147483647 w 1042"/>
                    <a:gd name="T11" fmla="*/ 2147483647 h 739"/>
                    <a:gd name="T12" fmla="*/ 2147483647 w 1042"/>
                    <a:gd name="T13" fmla="*/ 2147483647 h 739"/>
                    <a:gd name="T14" fmla="*/ 2147483647 w 1042"/>
                    <a:gd name="T15" fmla="*/ 2147483647 h 739"/>
                    <a:gd name="T16" fmla="*/ 2147483647 w 1042"/>
                    <a:gd name="T17" fmla="*/ 2147483647 h 739"/>
                    <a:gd name="T18" fmla="*/ 2147483647 w 1042"/>
                    <a:gd name="T19" fmla="*/ 2147483647 h 739"/>
                    <a:gd name="T20" fmla="*/ 2147483647 w 1042"/>
                    <a:gd name="T21" fmla="*/ 2147483647 h 739"/>
                    <a:gd name="T22" fmla="*/ 2147483647 w 1042"/>
                    <a:gd name="T23" fmla="*/ 2147483647 h 739"/>
                    <a:gd name="T24" fmla="*/ 2147483647 w 1042"/>
                    <a:gd name="T25" fmla="*/ 2147483647 h 739"/>
                    <a:gd name="T26" fmla="*/ 2147483647 w 1042"/>
                    <a:gd name="T27" fmla="*/ 2147483647 h 739"/>
                    <a:gd name="T28" fmla="*/ 2147483647 w 1042"/>
                    <a:gd name="T29" fmla="*/ 2147483647 h 739"/>
                    <a:gd name="T30" fmla="*/ 2147483647 w 1042"/>
                    <a:gd name="T31" fmla="*/ 2147483647 h 739"/>
                    <a:gd name="T32" fmla="*/ 2147483647 w 1042"/>
                    <a:gd name="T33" fmla="*/ 2147483647 h 739"/>
                    <a:gd name="T34" fmla="*/ 2147483647 w 1042"/>
                    <a:gd name="T35" fmla="*/ 2147483647 h 739"/>
                    <a:gd name="T36" fmla="*/ 2147483647 w 1042"/>
                    <a:gd name="T37" fmla="*/ 2147483647 h 739"/>
                    <a:gd name="T38" fmla="*/ 2147483647 w 1042"/>
                    <a:gd name="T39" fmla="*/ 2147483647 h 739"/>
                    <a:gd name="T40" fmla="*/ 2147483647 w 1042"/>
                    <a:gd name="T41" fmla="*/ 2147483647 h 739"/>
                    <a:gd name="T42" fmla="*/ 2147483647 w 1042"/>
                    <a:gd name="T43" fmla="*/ 2147483647 h 739"/>
                    <a:gd name="T44" fmla="*/ 2147483647 w 1042"/>
                    <a:gd name="T45" fmla="*/ 2147483647 h 739"/>
                    <a:gd name="T46" fmla="*/ 2147483647 w 1042"/>
                    <a:gd name="T47" fmla="*/ 2147483647 h 739"/>
                    <a:gd name="T48" fmla="*/ 2147483647 w 1042"/>
                    <a:gd name="T49" fmla="*/ 2147483647 h 739"/>
                    <a:gd name="T50" fmla="*/ 2147483647 w 1042"/>
                    <a:gd name="T51" fmla="*/ 2147483647 h 739"/>
                    <a:gd name="T52" fmla="*/ 2147483647 w 1042"/>
                    <a:gd name="T53" fmla="*/ 2147483647 h 739"/>
                    <a:gd name="T54" fmla="*/ 2147483647 w 1042"/>
                    <a:gd name="T55" fmla="*/ 2147483647 h 739"/>
                    <a:gd name="T56" fmla="*/ 2147483647 w 1042"/>
                    <a:gd name="T57" fmla="*/ 2147483647 h 739"/>
                    <a:gd name="T58" fmla="*/ 2147483647 w 1042"/>
                    <a:gd name="T59" fmla="*/ 2147483647 h 739"/>
                    <a:gd name="T60" fmla="*/ 2147483647 w 1042"/>
                    <a:gd name="T61" fmla="*/ 2147483647 h 739"/>
                    <a:gd name="T62" fmla="*/ 2147483647 w 1042"/>
                    <a:gd name="T63" fmla="*/ 2147483647 h 739"/>
                    <a:gd name="T64" fmla="*/ 2147483647 w 1042"/>
                    <a:gd name="T65" fmla="*/ 2147483647 h 739"/>
                    <a:gd name="T66" fmla="*/ 2147483647 w 1042"/>
                    <a:gd name="T67" fmla="*/ 2147483647 h 739"/>
                    <a:gd name="T68" fmla="*/ 2147483647 w 1042"/>
                    <a:gd name="T69" fmla="*/ 2147483647 h 739"/>
                    <a:gd name="T70" fmla="*/ 2147483647 w 1042"/>
                    <a:gd name="T71" fmla="*/ 2147483647 h 739"/>
                    <a:gd name="T72" fmla="*/ 2147483647 w 1042"/>
                    <a:gd name="T73" fmla="*/ 2147483647 h 739"/>
                    <a:gd name="T74" fmla="*/ 2147483647 w 1042"/>
                    <a:gd name="T75" fmla="*/ 2147483647 h 739"/>
                    <a:gd name="T76" fmla="*/ 2147483647 w 1042"/>
                    <a:gd name="T77" fmla="*/ 2147483647 h 739"/>
                    <a:gd name="T78" fmla="*/ 2147483647 w 1042"/>
                    <a:gd name="T79" fmla="*/ 2147483647 h 739"/>
                    <a:gd name="T80" fmla="*/ 2147483647 w 1042"/>
                    <a:gd name="T81" fmla="*/ 2147483647 h 739"/>
                    <a:gd name="T82" fmla="*/ 2147483647 w 1042"/>
                    <a:gd name="T83" fmla="*/ 2147483647 h 739"/>
                    <a:gd name="T84" fmla="*/ 2147483647 w 1042"/>
                    <a:gd name="T85" fmla="*/ 2147483647 h 739"/>
                    <a:gd name="T86" fmla="*/ 2147483647 w 1042"/>
                    <a:gd name="T87" fmla="*/ 2147483647 h 739"/>
                    <a:gd name="T88" fmla="*/ 2147483647 w 1042"/>
                    <a:gd name="T89" fmla="*/ 2147483647 h 739"/>
                    <a:gd name="T90" fmla="*/ 2147483647 w 1042"/>
                    <a:gd name="T91" fmla="*/ 2147483647 h 739"/>
                    <a:gd name="T92" fmla="*/ 2147483647 w 1042"/>
                    <a:gd name="T93" fmla="*/ 2147483647 h 739"/>
                    <a:gd name="T94" fmla="*/ 2147483647 w 1042"/>
                    <a:gd name="T95" fmla="*/ 2147483647 h 739"/>
                    <a:gd name="T96" fmla="*/ 2147483647 w 1042"/>
                    <a:gd name="T97" fmla="*/ 2147483647 h 739"/>
                    <a:gd name="T98" fmla="*/ 2147483647 w 1042"/>
                    <a:gd name="T99" fmla="*/ 2147483647 h 739"/>
                    <a:gd name="T100" fmla="*/ 2147483647 w 1042"/>
                    <a:gd name="T101" fmla="*/ 2147483647 h 739"/>
                    <a:gd name="T102" fmla="*/ 2147483647 w 1042"/>
                    <a:gd name="T103" fmla="*/ 2147483647 h 739"/>
                    <a:gd name="T104" fmla="*/ 2147483647 w 1042"/>
                    <a:gd name="T105" fmla="*/ 2147483647 h 739"/>
                    <a:gd name="T106" fmla="*/ 2147483647 w 1042"/>
                    <a:gd name="T107" fmla="*/ 2147483647 h 739"/>
                    <a:gd name="T108" fmla="*/ 2147483647 w 1042"/>
                    <a:gd name="T109" fmla="*/ 2147483647 h 739"/>
                    <a:gd name="T110" fmla="*/ 2147483647 w 1042"/>
                    <a:gd name="T111" fmla="*/ 2147483647 h 739"/>
                    <a:gd name="T112" fmla="*/ 2147483647 w 1042"/>
                    <a:gd name="T113" fmla="*/ 2147483647 h 739"/>
                    <a:gd name="T114" fmla="*/ 2147483647 w 1042"/>
                    <a:gd name="T115" fmla="*/ 2147483647 h 739"/>
                    <a:gd name="T116" fmla="*/ 2147483647 w 1042"/>
                    <a:gd name="T117" fmla="*/ 2147483647 h 739"/>
                    <a:gd name="T118" fmla="*/ 2147483647 w 1042"/>
                    <a:gd name="T119" fmla="*/ 2147483647 h 739"/>
                    <a:gd name="T120" fmla="*/ 2147483647 w 1042"/>
                    <a:gd name="T121" fmla="*/ 2147483647 h 739"/>
                    <a:gd name="T122" fmla="*/ 2147483647 w 1042"/>
                    <a:gd name="T123" fmla="*/ 2147483647 h 739"/>
                    <a:gd name="T124" fmla="*/ 2147483647 w 1042"/>
                    <a:gd name="T125" fmla="*/ 2147483647 h 7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2"/>
                    <a:gd name="T190" fmla="*/ 0 h 739"/>
                    <a:gd name="T191" fmla="*/ 1042 w 1042"/>
                    <a:gd name="T192" fmla="*/ 739 h 73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2" h="739">
                      <a:moveTo>
                        <a:pt x="129" y="535"/>
                      </a:moveTo>
                      <a:lnTo>
                        <a:pt x="129" y="535"/>
                      </a:lnTo>
                      <a:lnTo>
                        <a:pt x="125" y="532"/>
                      </a:lnTo>
                      <a:lnTo>
                        <a:pt x="123" y="529"/>
                      </a:lnTo>
                      <a:lnTo>
                        <a:pt x="120" y="525"/>
                      </a:lnTo>
                      <a:lnTo>
                        <a:pt x="118" y="523"/>
                      </a:lnTo>
                      <a:lnTo>
                        <a:pt x="110" y="521"/>
                      </a:lnTo>
                      <a:lnTo>
                        <a:pt x="101" y="518"/>
                      </a:lnTo>
                      <a:lnTo>
                        <a:pt x="97" y="517"/>
                      </a:lnTo>
                      <a:lnTo>
                        <a:pt x="95" y="516"/>
                      </a:lnTo>
                      <a:lnTo>
                        <a:pt x="94" y="513"/>
                      </a:lnTo>
                      <a:lnTo>
                        <a:pt x="92" y="510"/>
                      </a:lnTo>
                      <a:lnTo>
                        <a:pt x="91" y="504"/>
                      </a:lnTo>
                      <a:lnTo>
                        <a:pt x="92" y="500"/>
                      </a:lnTo>
                      <a:lnTo>
                        <a:pt x="94" y="497"/>
                      </a:lnTo>
                      <a:lnTo>
                        <a:pt x="96" y="493"/>
                      </a:lnTo>
                      <a:lnTo>
                        <a:pt x="100" y="491"/>
                      </a:lnTo>
                      <a:lnTo>
                        <a:pt x="103" y="489"/>
                      </a:lnTo>
                      <a:lnTo>
                        <a:pt x="104" y="485"/>
                      </a:lnTo>
                      <a:lnTo>
                        <a:pt x="105" y="478"/>
                      </a:lnTo>
                      <a:lnTo>
                        <a:pt x="105" y="471"/>
                      </a:lnTo>
                      <a:lnTo>
                        <a:pt x="103" y="465"/>
                      </a:lnTo>
                      <a:lnTo>
                        <a:pt x="97" y="458"/>
                      </a:lnTo>
                      <a:lnTo>
                        <a:pt x="96" y="455"/>
                      </a:lnTo>
                      <a:lnTo>
                        <a:pt x="96" y="453"/>
                      </a:lnTo>
                      <a:lnTo>
                        <a:pt x="97" y="448"/>
                      </a:lnTo>
                      <a:lnTo>
                        <a:pt x="104" y="440"/>
                      </a:lnTo>
                      <a:lnTo>
                        <a:pt x="110" y="433"/>
                      </a:lnTo>
                      <a:lnTo>
                        <a:pt x="113" y="428"/>
                      </a:lnTo>
                      <a:lnTo>
                        <a:pt x="115" y="424"/>
                      </a:lnTo>
                      <a:lnTo>
                        <a:pt x="115" y="420"/>
                      </a:lnTo>
                      <a:lnTo>
                        <a:pt x="114" y="415"/>
                      </a:lnTo>
                      <a:lnTo>
                        <a:pt x="111" y="413"/>
                      </a:lnTo>
                      <a:lnTo>
                        <a:pt x="109" y="410"/>
                      </a:lnTo>
                      <a:lnTo>
                        <a:pt x="100" y="410"/>
                      </a:lnTo>
                      <a:lnTo>
                        <a:pt x="76" y="408"/>
                      </a:lnTo>
                      <a:lnTo>
                        <a:pt x="64" y="406"/>
                      </a:lnTo>
                      <a:lnTo>
                        <a:pt x="53" y="401"/>
                      </a:lnTo>
                      <a:lnTo>
                        <a:pt x="50" y="395"/>
                      </a:lnTo>
                      <a:lnTo>
                        <a:pt x="49" y="392"/>
                      </a:lnTo>
                      <a:lnTo>
                        <a:pt x="47" y="390"/>
                      </a:lnTo>
                      <a:lnTo>
                        <a:pt x="44" y="388"/>
                      </a:lnTo>
                      <a:lnTo>
                        <a:pt x="40" y="388"/>
                      </a:lnTo>
                      <a:lnTo>
                        <a:pt x="33" y="389"/>
                      </a:lnTo>
                      <a:lnTo>
                        <a:pt x="25" y="391"/>
                      </a:lnTo>
                      <a:lnTo>
                        <a:pt x="17" y="392"/>
                      </a:lnTo>
                      <a:lnTo>
                        <a:pt x="19" y="390"/>
                      </a:lnTo>
                      <a:lnTo>
                        <a:pt x="20" y="387"/>
                      </a:lnTo>
                      <a:lnTo>
                        <a:pt x="20" y="383"/>
                      </a:lnTo>
                      <a:lnTo>
                        <a:pt x="20" y="379"/>
                      </a:lnTo>
                      <a:lnTo>
                        <a:pt x="23" y="378"/>
                      </a:lnTo>
                      <a:lnTo>
                        <a:pt x="23" y="377"/>
                      </a:lnTo>
                      <a:lnTo>
                        <a:pt x="23" y="376"/>
                      </a:lnTo>
                      <a:lnTo>
                        <a:pt x="19" y="370"/>
                      </a:lnTo>
                      <a:lnTo>
                        <a:pt x="17" y="366"/>
                      </a:lnTo>
                      <a:lnTo>
                        <a:pt x="17" y="364"/>
                      </a:lnTo>
                      <a:lnTo>
                        <a:pt x="21" y="359"/>
                      </a:lnTo>
                      <a:lnTo>
                        <a:pt x="21" y="358"/>
                      </a:lnTo>
                      <a:lnTo>
                        <a:pt x="21" y="356"/>
                      </a:lnTo>
                      <a:lnTo>
                        <a:pt x="19" y="353"/>
                      </a:lnTo>
                      <a:lnTo>
                        <a:pt x="16" y="351"/>
                      </a:lnTo>
                      <a:lnTo>
                        <a:pt x="12" y="351"/>
                      </a:lnTo>
                      <a:lnTo>
                        <a:pt x="10" y="352"/>
                      </a:lnTo>
                      <a:lnTo>
                        <a:pt x="7" y="353"/>
                      </a:lnTo>
                      <a:lnTo>
                        <a:pt x="5" y="353"/>
                      </a:lnTo>
                      <a:lnTo>
                        <a:pt x="2" y="350"/>
                      </a:lnTo>
                      <a:lnTo>
                        <a:pt x="0" y="346"/>
                      </a:lnTo>
                      <a:lnTo>
                        <a:pt x="0" y="343"/>
                      </a:lnTo>
                      <a:lnTo>
                        <a:pt x="0" y="338"/>
                      </a:lnTo>
                      <a:lnTo>
                        <a:pt x="2" y="328"/>
                      </a:lnTo>
                      <a:lnTo>
                        <a:pt x="7" y="320"/>
                      </a:lnTo>
                      <a:lnTo>
                        <a:pt x="9" y="319"/>
                      </a:lnTo>
                      <a:lnTo>
                        <a:pt x="11" y="318"/>
                      </a:lnTo>
                      <a:lnTo>
                        <a:pt x="16" y="317"/>
                      </a:lnTo>
                      <a:lnTo>
                        <a:pt x="23" y="313"/>
                      </a:lnTo>
                      <a:lnTo>
                        <a:pt x="25" y="312"/>
                      </a:lnTo>
                      <a:lnTo>
                        <a:pt x="29" y="311"/>
                      </a:lnTo>
                      <a:lnTo>
                        <a:pt x="30" y="312"/>
                      </a:lnTo>
                      <a:lnTo>
                        <a:pt x="31" y="313"/>
                      </a:lnTo>
                      <a:lnTo>
                        <a:pt x="31" y="315"/>
                      </a:lnTo>
                      <a:lnTo>
                        <a:pt x="33" y="317"/>
                      </a:lnTo>
                      <a:lnTo>
                        <a:pt x="35" y="318"/>
                      </a:lnTo>
                      <a:lnTo>
                        <a:pt x="38" y="318"/>
                      </a:lnTo>
                      <a:lnTo>
                        <a:pt x="42" y="317"/>
                      </a:lnTo>
                      <a:lnTo>
                        <a:pt x="47" y="315"/>
                      </a:lnTo>
                      <a:lnTo>
                        <a:pt x="52" y="313"/>
                      </a:lnTo>
                      <a:lnTo>
                        <a:pt x="52" y="311"/>
                      </a:lnTo>
                      <a:lnTo>
                        <a:pt x="52" y="308"/>
                      </a:lnTo>
                      <a:lnTo>
                        <a:pt x="52" y="306"/>
                      </a:lnTo>
                      <a:lnTo>
                        <a:pt x="52" y="304"/>
                      </a:lnTo>
                      <a:lnTo>
                        <a:pt x="52" y="302"/>
                      </a:lnTo>
                      <a:lnTo>
                        <a:pt x="53" y="301"/>
                      </a:lnTo>
                      <a:lnTo>
                        <a:pt x="64" y="302"/>
                      </a:lnTo>
                      <a:lnTo>
                        <a:pt x="69" y="301"/>
                      </a:lnTo>
                      <a:lnTo>
                        <a:pt x="73" y="299"/>
                      </a:lnTo>
                      <a:lnTo>
                        <a:pt x="80" y="293"/>
                      </a:lnTo>
                      <a:lnTo>
                        <a:pt x="87" y="289"/>
                      </a:lnTo>
                      <a:lnTo>
                        <a:pt x="95" y="286"/>
                      </a:lnTo>
                      <a:lnTo>
                        <a:pt x="103" y="283"/>
                      </a:lnTo>
                      <a:lnTo>
                        <a:pt x="106" y="282"/>
                      </a:lnTo>
                      <a:lnTo>
                        <a:pt x="110" y="280"/>
                      </a:lnTo>
                      <a:lnTo>
                        <a:pt x="111" y="276"/>
                      </a:lnTo>
                      <a:lnTo>
                        <a:pt x="113" y="272"/>
                      </a:lnTo>
                      <a:lnTo>
                        <a:pt x="113" y="269"/>
                      </a:lnTo>
                      <a:lnTo>
                        <a:pt x="110" y="267"/>
                      </a:lnTo>
                      <a:lnTo>
                        <a:pt x="109" y="266"/>
                      </a:lnTo>
                      <a:lnTo>
                        <a:pt x="109" y="263"/>
                      </a:lnTo>
                      <a:lnTo>
                        <a:pt x="119" y="249"/>
                      </a:lnTo>
                      <a:lnTo>
                        <a:pt x="122" y="245"/>
                      </a:lnTo>
                      <a:lnTo>
                        <a:pt x="123" y="241"/>
                      </a:lnTo>
                      <a:lnTo>
                        <a:pt x="123" y="237"/>
                      </a:lnTo>
                      <a:lnTo>
                        <a:pt x="122" y="232"/>
                      </a:lnTo>
                      <a:lnTo>
                        <a:pt x="120" y="230"/>
                      </a:lnTo>
                      <a:lnTo>
                        <a:pt x="118" y="229"/>
                      </a:lnTo>
                      <a:lnTo>
                        <a:pt x="116" y="227"/>
                      </a:lnTo>
                      <a:lnTo>
                        <a:pt x="115" y="224"/>
                      </a:lnTo>
                      <a:lnTo>
                        <a:pt x="114" y="221"/>
                      </a:lnTo>
                      <a:lnTo>
                        <a:pt x="111" y="217"/>
                      </a:lnTo>
                      <a:lnTo>
                        <a:pt x="110" y="213"/>
                      </a:lnTo>
                      <a:lnTo>
                        <a:pt x="109" y="210"/>
                      </a:lnTo>
                      <a:lnTo>
                        <a:pt x="110" y="208"/>
                      </a:lnTo>
                      <a:lnTo>
                        <a:pt x="113" y="206"/>
                      </a:lnTo>
                      <a:lnTo>
                        <a:pt x="124" y="204"/>
                      </a:lnTo>
                      <a:lnTo>
                        <a:pt x="137" y="203"/>
                      </a:lnTo>
                      <a:lnTo>
                        <a:pt x="152" y="202"/>
                      </a:lnTo>
                      <a:lnTo>
                        <a:pt x="156" y="199"/>
                      </a:lnTo>
                      <a:lnTo>
                        <a:pt x="157" y="198"/>
                      </a:lnTo>
                      <a:lnTo>
                        <a:pt x="157" y="197"/>
                      </a:lnTo>
                      <a:lnTo>
                        <a:pt x="156" y="194"/>
                      </a:lnTo>
                      <a:lnTo>
                        <a:pt x="153" y="192"/>
                      </a:lnTo>
                      <a:lnTo>
                        <a:pt x="152" y="190"/>
                      </a:lnTo>
                      <a:lnTo>
                        <a:pt x="152" y="181"/>
                      </a:lnTo>
                      <a:lnTo>
                        <a:pt x="155" y="172"/>
                      </a:lnTo>
                      <a:lnTo>
                        <a:pt x="156" y="168"/>
                      </a:lnTo>
                      <a:lnTo>
                        <a:pt x="158" y="165"/>
                      </a:lnTo>
                      <a:lnTo>
                        <a:pt x="162" y="162"/>
                      </a:lnTo>
                      <a:lnTo>
                        <a:pt x="167" y="161"/>
                      </a:lnTo>
                      <a:lnTo>
                        <a:pt x="180" y="161"/>
                      </a:lnTo>
                      <a:lnTo>
                        <a:pt x="190" y="162"/>
                      </a:lnTo>
                      <a:lnTo>
                        <a:pt x="193" y="161"/>
                      </a:lnTo>
                      <a:lnTo>
                        <a:pt x="195" y="159"/>
                      </a:lnTo>
                      <a:lnTo>
                        <a:pt x="198" y="152"/>
                      </a:lnTo>
                      <a:lnTo>
                        <a:pt x="199" y="144"/>
                      </a:lnTo>
                      <a:lnTo>
                        <a:pt x="202" y="134"/>
                      </a:lnTo>
                      <a:lnTo>
                        <a:pt x="203" y="133"/>
                      </a:lnTo>
                      <a:lnTo>
                        <a:pt x="204" y="130"/>
                      </a:lnTo>
                      <a:lnTo>
                        <a:pt x="217" y="125"/>
                      </a:lnTo>
                      <a:lnTo>
                        <a:pt x="223" y="120"/>
                      </a:lnTo>
                      <a:lnTo>
                        <a:pt x="228" y="115"/>
                      </a:lnTo>
                      <a:lnTo>
                        <a:pt x="232" y="113"/>
                      </a:lnTo>
                      <a:lnTo>
                        <a:pt x="235" y="113"/>
                      </a:lnTo>
                      <a:lnTo>
                        <a:pt x="240" y="112"/>
                      </a:lnTo>
                      <a:lnTo>
                        <a:pt x="242" y="110"/>
                      </a:lnTo>
                      <a:lnTo>
                        <a:pt x="247" y="107"/>
                      </a:lnTo>
                      <a:lnTo>
                        <a:pt x="247" y="115"/>
                      </a:lnTo>
                      <a:lnTo>
                        <a:pt x="249" y="123"/>
                      </a:lnTo>
                      <a:lnTo>
                        <a:pt x="250" y="128"/>
                      </a:lnTo>
                      <a:lnTo>
                        <a:pt x="251" y="132"/>
                      </a:lnTo>
                      <a:lnTo>
                        <a:pt x="254" y="134"/>
                      </a:lnTo>
                      <a:lnTo>
                        <a:pt x="257" y="136"/>
                      </a:lnTo>
                      <a:lnTo>
                        <a:pt x="261" y="139"/>
                      </a:lnTo>
                      <a:lnTo>
                        <a:pt x="265" y="142"/>
                      </a:lnTo>
                      <a:lnTo>
                        <a:pt x="268" y="145"/>
                      </a:lnTo>
                      <a:lnTo>
                        <a:pt x="271" y="145"/>
                      </a:lnTo>
                      <a:lnTo>
                        <a:pt x="278" y="144"/>
                      </a:lnTo>
                      <a:lnTo>
                        <a:pt x="283" y="145"/>
                      </a:lnTo>
                      <a:lnTo>
                        <a:pt x="288" y="146"/>
                      </a:lnTo>
                      <a:lnTo>
                        <a:pt x="293" y="148"/>
                      </a:lnTo>
                      <a:lnTo>
                        <a:pt x="301" y="155"/>
                      </a:lnTo>
                      <a:lnTo>
                        <a:pt x="309" y="162"/>
                      </a:lnTo>
                      <a:lnTo>
                        <a:pt x="312" y="172"/>
                      </a:lnTo>
                      <a:lnTo>
                        <a:pt x="315" y="183"/>
                      </a:lnTo>
                      <a:lnTo>
                        <a:pt x="317" y="192"/>
                      </a:lnTo>
                      <a:lnTo>
                        <a:pt x="320" y="197"/>
                      </a:lnTo>
                      <a:lnTo>
                        <a:pt x="322" y="200"/>
                      </a:lnTo>
                      <a:lnTo>
                        <a:pt x="325" y="203"/>
                      </a:lnTo>
                      <a:lnTo>
                        <a:pt x="327" y="203"/>
                      </a:lnTo>
                      <a:lnTo>
                        <a:pt x="332" y="205"/>
                      </a:lnTo>
                      <a:lnTo>
                        <a:pt x="348" y="213"/>
                      </a:lnTo>
                      <a:lnTo>
                        <a:pt x="355" y="217"/>
                      </a:lnTo>
                      <a:lnTo>
                        <a:pt x="365" y="219"/>
                      </a:lnTo>
                      <a:lnTo>
                        <a:pt x="369" y="221"/>
                      </a:lnTo>
                      <a:lnTo>
                        <a:pt x="373" y="225"/>
                      </a:lnTo>
                      <a:lnTo>
                        <a:pt x="377" y="231"/>
                      </a:lnTo>
                      <a:lnTo>
                        <a:pt x="382" y="237"/>
                      </a:lnTo>
                      <a:lnTo>
                        <a:pt x="386" y="243"/>
                      </a:lnTo>
                      <a:lnTo>
                        <a:pt x="389" y="248"/>
                      </a:lnTo>
                      <a:lnTo>
                        <a:pt x="393" y="251"/>
                      </a:lnTo>
                      <a:lnTo>
                        <a:pt x="397" y="255"/>
                      </a:lnTo>
                      <a:lnTo>
                        <a:pt x="401" y="256"/>
                      </a:lnTo>
                      <a:lnTo>
                        <a:pt x="406" y="257"/>
                      </a:lnTo>
                      <a:lnTo>
                        <a:pt x="419" y="260"/>
                      </a:lnTo>
                      <a:lnTo>
                        <a:pt x="430" y="262"/>
                      </a:lnTo>
                      <a:lnTo>
                        <a:pt x="454" y="266"/>
                      </a:lnTo>
                      <a:lnTo>
                        <a:pt x="457" y="267"/>
                      </a:lnTo>
                      <a:lnTo>
                        <a:pt x="461" y="266"/>
                      </a:lnTo>
                      <a:lnTo>
                        <a:pt x="467" y="263"/>
                      </a:lnTo>
                      <a:lnTo>
                        <a:pt x="473" y="262"/>
                      </a:lnTo>
                      <a:lnTo>
                        <a:pt x="477" y="261"/>
                      </a:lnTo>
                      <a:lnTo>
                        <a:pt x="481" y="261"/>
                      </a:lnTo>
                      <a:lnTo>
                        <a:pt x="483" y="262"/>
                      </a:lnTo>
                      <a:lnTo>
                        <a:pt x="487" y="264"/>
                      </a:lnTo>
                      <a:lnTo>
                        <a:pt x="491" y="269"/>
                      </a:lnTo>
                      <a:lnTo>
                        <a:pt x="496" y="274"/>
                      </a:lnTo>
                      <a:lnTo>
                        <a:pt x="500" y="276"/>
                      </a:lnTo>
                      <a:lnTo>
                        <a:pt x="509" y="279"/>
                      </a:lnTo>
                      <a:lnTo>
                        <a:pt x="516" y="280"/>
                      </a:lnTo>
                      <a:lnTo>
                        <a:pt x="532" y="280"/>
                      </a:lnTo>
                      <a:lnTo>
                        <a:pt x="538" y="280"/>
                      </a:lnTo>
                      <a:lnTo>
                        <a:pt x="546" y="276"/>
                      </a:lnTo>
                      <a:lnTo>
                        <a:pt x="555" y="270"/>
                      </a:lnTo>
                      <a:lnTo>
                        <a:pt x="563" y="263"/>
                      </a:lnTo>
                      <a:lnTo>
                        <a:pt x="567" y="261"/>
                      </a:lnTo>
                      <a:lnTo>
                        <a:pt x="572" y="259"/>
                      </a:lnTo>
                      <a:lnTo>
                        <a:pt x="577" y="259"/>
                      </a:lnTo>
                      <a:lnTo>
                        <a:pt x="581" y="259"/>
                      </a:lnTo>
                      <a:lnTo>
                        <a:pt x="588" y="260"/>
                      </a:lnTo>
                      <a:lnTo>
                        <a:pt x="593" y="261"/>
                      </a:lnTo>
                      <a:lnTo>
                        <a:pt x="604" y="260"/>
                      </a:lnTo>
                      <a:lnTo>
                        <a:pt x="616" y="257"/>
                      </a:lnTo>
                      <a:lnTo>
                        <a:pt x="626" y="254"/>
                      </a:lnTo>
                      <a:lnTo>
                        <a:pt x="632" y="249"/>
                      </a:lnTo>
                      <a:lnTo>
                        <a:pt x="636" y="244"/>
                      </a:lnTo>
                      <a:lnTo>
                        <a:pt x="637" y="241"/>
                      </a:lnTo>
                      <a:lnTo>
                        <a:pt x="637" y="237"/>
                      </a:lnTo>
                      <a:lnTo>
                        <a:pt x="637" y="235"/>
                      </a:lnTo>
                      <a:lnTo>
                        <a:pt x="636" y="231"/>
                      </a:lnTo>
                      <a:lnTo>
                        <a:pt x="633" y="229"/>
                      </a:lnTo>
                      <a:lnTo>
                        <a:pt x="631" y="228"/>
                      </a:lnTo>
                      <a:lnTo>
                        <a:pt x="627" y="225"/>
                      </a:lnTo>
                      <a:lnTo>
                        <a:pt x="626" y="222"/>
                      </a:lnTo>
                      <a:lnTo>
                        <a:pt x="626" y="218"/>
                      </a:lnTo>
                      <a:lnTo>
                        <a:pt x="627" y="215"/>
                      </a:lnTo>
                      <a:lnTo>
                        <a:pt x="629" y="208"/>
                      </a:lnTo>
                      <a:lnTo>
                        <a:pt x="632" y="204"/>
                      </a:lnTo>
                      <a:lnTo>
                        <a:pt x="636" y="202"/>
                      </a:lnTo>
                      <a:lnTo>
                        <a:pt x="638" y="200"/>
                      </a:lnTo>
                      <a:lnTo>
                        <a:pt x="642" y="202"/>
                      </a:lnTo>
                      <a:lnTo>
                        <a:pt x="651" y="204"/>
                      </a:lnTo>
                      <a:lnTo>
                        <a:pt x="659" y="208"/>
                      </a:lnTo>
                      <a:lnTo>
                        <a:pt x="664" y="209"/>
                      </a:lnTo>
                      <a:lnTo>
                        <a:pt x="668" y="209"/>
                      </a:lnTo>
                      <a:lnTo>
                        <a:pt x="671" y="208"/>
                      </a:lnTo>
                      <a:lnTo>
                        <a:pt x="675" y="205"/>
                      </a:lnTo>
                      <a:lnTo>
                        <a:pt x="690" y="193"/>
                      </a:lnTo>
                      <a:lnTo>
                        <a:pt x="694" y="193"/>
                      </a:lnTo>
                      <a:lnTo>
                        <a:pt x="708" y="190"/>
                      </a:lnTo>
                      <a:lnTo>
                        <a:pt x="709" y="190"/>
                      </a:lnTo>
                      <a:lnTo>
                        <a:pt x="711" y="187"/>
                      </a:lnTo>
                      <a:lnTo>
                        <a:pt x="712" y="183"/>
                      </a:lnTo>
                      <a:lnTo>
                        <a:pt x="715" y="178"/>
                      </a:lnTo>
                      <a:lnTo>
                        <a:pt x="717" y="174"/>
                      </a:lnTo>
                      <a:lnTo>
                        <a:pt x="718" y="172"/>
                      </a:lnTo>
                      <a:lnTo>
                        <a:pt x="720" y="172"/>
                      </a:lnTo>
                      <a:lnTo>
                        <a:pt x="727" y="176"/>
                      </a:lnTo>
                      <a:lnTo>
                        <a:pt x="731" y="176"/>
                      </a:lnTo>
                      <a:lnTo>
                        <a:pt x="732" y="176"/>
                      </a:lnTo>
                      <a:lnTo>
                        <a:pt x="734" y="174"/>
                      </a:lnTo>
                      <a:lnTo>
                        <a:pt x="737" y="171"/>
                      </a:lnTo>
                      <a:lnTo>
                        <a:pt x="741" y="168"/>
                      </a:lnTo>
                      <a:lnTo>
                        <a:pt x="744" y="166"/>
                      </a:lnTo>
                      <a:lnTo>
                        <a:pt x="748" y="166"/>
                      </a:lnTo>
                      <a:lnTo>
                        <a:pt x="756" y="165"/>
                      </a:lnTo>
                      <a:lnTo>
                        <a:pt x="764" y="165"/>
                      </a:lnTo>
                      <a:lnTo>
                        <a:pt x="774" y="162"/>
                      </a:lnTo>
                      <a:lnTo>
                        <a:pt x="779" y="160"/>
                      </a:lnTo>
                      <a:lnTo>
                        <a:pt x="782" y="158"/>
                      </a:lnTo>
                      <a:lnTo>
                        <a:pt x="782" y="154"/>
                      </a:lnTo>
                      <a:lnTo>
                        <a:pt x="782" y="151"/>
                      </a:lnTo>
                      <a:lnTo>
                        <a:pt x="781" y="147"/>
                      </a:lnTo>
                      <a:lnTo>
                        <a:pt x="778" y="144"/>
                      </a:lnTo>
                      <a:lnTo>
                        <a:pt x="772" y="138"/>
                      </a:lnTo>
                      <a:lnTo>
                        <a:pt x="764" y="134"/>
                      </a:lnTo>
                      <a:lnTo>
                        <a:pt x="760" y="133"/>
                      </a:lnTo>
                      <a:lnTo>
                        <a:pt x="755" y="133"/>
                      </a:lnTo>
                      <a:lnTo>
                        <a:pt x="745" y="133"/>
                      </a:lnTo>
                      <a:lnTo>
                        <a:pt x="735" y="134"/>
                      </a:lnTo>
                      <a:lnTo>
                        <a:pt x="730" y="134"/>
                      </a:lnTo>
                      <a:lnTo>
                        <a:pt x="726" y="133"/>
                      </a:lnTo>
                      <a:lnTo>
                        <a:pt x="722" y="132"/>
                      </a:lnTo>
                      <a:lnTo>
                        <a:pt x="720" y="130"/>
                      </a:lnTo>
                      <a:lnTo>
                        <a:pt x="717" y="126"/>
                      </a:lnTo>
                      <a:lnTo>
                        <a:pt x="716" y="122"/>
                      </a:lnTo>
                      <a:lnTo>
                        <a:pt x="716" y="120"/>
                      </a:lnTo>
                      <a:lnTo>
                        <a:pt x="718" y="114"/>
                      </a:lnTo>
                      <a:lnTo>
                        <a:pt x="722" y="110"/>
                      </a:lnTo>
                      <a:lnTo>
                        <a:pt x="725" y="104"/>
                      </a:lnTo>
                      <a:lnTo>
                        <a:pt x="725" y="103"/>
                      </a:lnTo>
                      <a:lnTo>
                        <a:pt x="723" y="102"/>
                      </a:lnTo>
                      <a:lnTo>
                        <a:pt x="721" y="100"/>
                      </a:lnTo>
                      <a:lnTo>
                        <a:pt x="721" y="96"/>
                      </a:lnTo>
                      <a:lnTo>
                        <a:pt x="722" y="93"/>
                      </a:lnTo>
                      <a:lnTo>
                        <a:pt x="729" y="87"/>
                      </a:lnTo>
                      <a:lnTo>
                        <a:pt x="734" y="89"/>
                      </a:lnTo>
                      <a:lnTo>
                        <a:pt x="739" y="93"/>
                      </a:lnTo>
                      <a:lnTo>
                        <a:pt x="744" y="95"/>
                      </a:lnTo>
                      <a:lnTo>
                        <a:pt x="749" y="96"/>
                      </a:lnTo>
                      <a:lnTo>
                        <a:pt x="753" y="95"/>
                      </a:lnTo>
                      <a:lnTo>
                        <a:pt x="756" y="94"/>
                      </a:lnTo>
                      <a:lnTo>
                        <a:pt x="760" y="91"/>
                      </a:lnTo>
                      <a:lnTo>
                        <a:pt x="768" y="85"/>
                      </a:lnTo>
                      <a:lnTo>
                        <a:pt x="774" y="77"/>
                      </a:lnTo>
                      <a:lnTo>
                        <a:pt x="779" y="68"/>
                      </a:lnTo>
                      <a:lnTo>
                        <a:pt x="789" y="51"/>
                      </a:lnTo>
                      <a:lnTo>
                        <a:pt x="798" y="37"/>
                      </a:lnTo>
                      <a:lnTo>
                        <a:pt x="803" y="30"/>
                      </a:lnTo>
                      <a:lnTo>
                        <a:pt x="805" y="23"/>
                      </a:lnTo>
                      <a:lnTo>
                        <a:pt x="805" y="20"/>
                      </a:lnTo>
                      <a:lnTo>
                        <a:pt x="803" y="20"/>
                      </a:lnTo>
                      <a:lnTo>
                        <a:pt x="800" y="20"/>
                      </a:lnTo>
                      <a:lnTo>
                        <a:pt x="796" y="20"/>
                      </a:lnTo>
                      <a:lnTo>
                        <a:pt x="791" y="20"/>
                      </a:lnTo>
                      <a:lnTo>
                        <a:pt x="797" y="10"/>
                      </a:lnTo>
                      <a:lnTo>
                        <a:pt x="802" y="5"/>
                      </a:lnTo>
                      <a:lnTo>
                        <a:pt x="809" y="2"/>
                      </a:lnTo>
                      <a:lnTo>
                        <a:pt x="817" y="0"/>
                      </a:lnTo>
                      <a:lnTo>
                        <a:pt x="828" y="0"/>
                      </a:lnTo>
                      <a:lnTo>
                        <a:pt x="839" y="0"/>
                      </a:lnTo>
                      <a:lnTo>
                        <a:pt x="850" y="1"/>
                      </a:lnTo>
                      <a:lnTo>
                        <a:pt x="871" y="5"/>
                      </a:lnTo>
                      <a:lnTo>
                        <a:pt x="880" y="7"/>
                      </a:lnTo>
                      <a:lnTo>
                        <a:pt x="887" y="11"/>
                      </a:lnTo>
                      <a:lnTo>
                        <a:pt x="891" y="11"/>
                      </a:lnTo>
                      <a:lnTo>
                        <a:pt x="892" y="13"/>
                      </a:lnTo>
                      <a:lnTo>
                        <a:pt x="895" y="19"/>
                      </a:lnTo>
                      <a:lnTo>
                        <a:pt x="896" y="26"/>
                      </a:lnTo>
                      <a:lnTo>
                        <a:pt x="899" y="33"/>
                      </a:lnTo>
                      <a:lnTo>
                        <a:pt x="903" y="42"/>
                      </a:lnTo>
                      <a:lnTo>
                        <a:pt x="906" y="50"/>
                      </a:lnTo>
                      <a:lnTo>
                        <a:pt x="911" y="58"/>
                      </a:lnTo>
                      <a:lnTo>
                        <a:pt x="914" y="68"/>
                      </a:lnTo>
                      <a:lnTo>
                        <a:pt x="916" y="72"/>
                      </a:lnTo>
                      <a:lnTo>
                        <a:pt x="922" y="77"/>
                      </a:lnTo>
                      <a:lnTo>
                        <a:pt x="924" y="78"/>
                      </a:lnTo>
                      <a:lnTo>
                        <a:pt x="928" y="79"/>
                      </a:lnTo>
                      <a:lnTo>
                        <a:pt x="932" y="79"/>
                      </a:lnTo>
                      <a:lnTo>
                        <a:pt x="934" y="78"/>
                      </a:lnTo>
                      <a:lnTo>
                        <a:pt x="937" y="77"/>
                      </a:lnTo>
                      <a:lnTo>
                        <a:pt x="938" y="78"/>
                      </a:lnTo>
                      <a:lnTo>
                        <a:pt x="939" y="81"/>
                      </a:lnTo>
                      <a:lnTo>
                        <a:pt x="944" y="82"/>
                      </a:lnTo>
                      <a:lnTo>
                        <a:pt x="949" y="83"/>
                      </a:lnTo>
                      <a:lnTo>
                        <a:pt x="958" y="83"/>
                      </a:lnTo>
                      <a:lnTo>
                        <a:pt x="962" y="84"/>
                      </a:lnTo>
                      <a:lnTo>
                        <a:pt x="965" y="87"/>
                      </a:lnTo>
                      <a:lnTo>
                        <a:pt x="965" y="89"/>
                      </a:lnTo>
                      <a:lnTo>
                        <a:pt x="965" y="91"/>
                      </a:lnTo>
                      <a:lnTo>
                        <a:pt x="965" y="94"/>
                      </a:lnTo>
                      <a:lnTo>
                        <a:pt x="966" y="96"/>
                      </a:lnTo>
                      <a:lnTo>
                        <a:pt x="971" y="101"/>
                      </a:lnTo>
                      <a:lnTo>
                        <a:pt x="974" y="107"/>
                      </a:lnTo>
                      <a:lnTo>
                        <a:pt x="975" y="114"/>
                      </a:lnTo>
                      <a:lnTo>
                        <a:pt x="975" y="121"/>
                      </a:lnTo>
                      <a:lnTo>
                        <a:pt x="976" y="128"/>
                      </a:lnTo>
                      <a:lnTo>
                        <a:pt x="977" y="132"/>
                      </a:lnTo>
                      <a:lnTo>
                        <a:pt x="980" y="134"/>
                      </a:lnTo>
                      <a:lnTo>
                        <a:pt x="983" y="136"/>
                      </a:lnTo>
                      <a:lnTo>
                        <a:pt x="988" y="139"/>
                      </a:lnTo>
                      <a:lnTo>
                        <a:pt x="993" y="140"/>
                      </a:lnTo>
                      <a:lnTo>
                        <a:pt x="998" y="140"/>
                      </a:lnTo>
                      <a:lnTo>
                        <a:pt x="1000" y="139"/>
                      </a:lnTo>
                      <a:lnTo>
                        <a:pt x="1003" y="138"/>
                      </a:lnTo>
                      <a:lnTo>
                        <a:pt x="1007" y="134"/>
                      </a:lnTo>
                      <a:lnTo>
                        <a:pt x="1013" y="125"/>
                      </a:lnTo>
                      <a:lnTo>
                        <a:pt x="1014" y="123"/>
                      </a:lnTo>
                      <a:lnTo>
                        <a:pt x="1017" y="121"/>
                      </a:lnTo>
                      <a:lnTo>
                        <a:pt x="1024" y="120"/>
                      </a:lnTo>
                      <a:lnTo>
                        <a:pt x="1032" y="121"/>
                      </a:lnTo>
                      <a:lnTo>
                        <a:pt x="1040" y="122"/>
                      </a:lnTo>
                      <a:lnTo>
                        <a:pt x="1041" y="122"/>
                      </a:lnTo>
                      <a:lnTo>
                        <a:pt x="1041" y="123"/>
                      </a:lnTo>
                      <a:lnTo>
                        <a:pt x="1041" y="127"/>
                      </a:lnTo>
                      <a:lnTo>
                        <a:pt x="1038" y="134"/>
                      </a:lnTo>
                      <a:lnTo>
                        <a:pt x="1038" y="136"/>
                      </a:lnTo>
                      <a:lnTo>
                        <a:pt x="1038" y="139"/>
                      </a:lnTo>
                      <a:lnTo>
                        <a:pt x="1042" y="142"/>
                      </a:lnTo>
                      <a:lnTo>
                        <a:pt x="1042" y="144"/>
                      </a:lnTo>
                      <a:lnTo>
                        <a:pt x="1037" y="148"/>
                      </a:lnTo>
                      <a:lnTo>
                        <a:pt x="1032" y="153"/>
                      </a:lnTo>
                      <a:lnTo>
                        <a:pt x="1031" y="155"/>
                      </a:lnTo>
                      <a:lnTo>
                        <a:pt x="1029" y="159"/>
                      </a:lnTo>
                      <a:lnTo>
                        <a:pt x="1029" y="161"/>
                      </a:lnTo>
                      <a:lnTo>
                        <a:pt x="1031" y="165"/>
                      </a:lnTo>
                      <a:lnTo>
                        <a:pt x="1031" y="166"/>
                      </a:lnTo>
                      <a:lnTo>
                        <a:pt x="1031" y="168"/>
                      </a:lnTo>
                      <a:lnTo>
                        <a:pt x="1027" y="172"/>
                      </a:lnTo>
                      <a:lnTo>
                        <a:pt x="1024" y="178"/>
                      </a:lnTo>
                      <a:lnTo>
                        <a:pt x="1022" y="185"/>
                      </a:lnTo>
                      <a:lnTo>
                        <a:pt x="1017" y="191"/>
                      </a:lnTo>
                      <a:lnTo>
                        <a:pt x="1014" y="192"/>
                      </a:lnTo>
                      <a:lnTo>
                        <a:pt x="1010" y="194"/>
                      </a:lnTo>
                      <a:lnTo>
                        <a:pt x="1005" y="196"/>
                      </a:lnTo>
                      <a:lnTo>
                        <a:pt x="1000" y="194"/>
                      </a:lnTo>
                      <a:lnTo>
                        <a:pt x="990" y="191"/>
                      </a:lnTo>
                      <a:lnTo>
                        <a:pt x="988" y="191"/>
                      </a:lnTo>
                      <a:lnTo>
                        <a:pt x="985" y="191"/>
                      </a:lnTo>
                      <a:lnTo>
                        <a:pt x="983" y="193"/>
                      </a:lnTo>
                      <a:lnTo>
                        <a:pt x="981" y="194"/>
                      </a:lnTo>
                      <a:lnTo>
                        <a:pt x="980" y="199"/>
                      </a:lnTo>
                      <a:lnTo>
                        <a:pt x="979" y="203"/>
                      </a:lnTo>
                      <a:lnTo>
                        <a:pt x="980" y="211"/>
                      </a:lnTo>
                      <a:lnTo>
                        <a:pt x="981" y="218"/>
                      </a:lnTo>
                      <a:lnTo>
                        <a:pt x="985" y="227"/>
                      </a:lnTo>
                      <a:lnTo>
                        <a:pt x="986" y="230"/>
                      </a:lnTo>
                      <a:lnTo>
                        <a:pt x="986" y="234"/>
                      </a:lnTo>
                      <a:lnTo>
                        <a:pt x="986" y="238"/>
                      </a:lnTo>
                      <a:lnTo>
                        <a:pt x="984" y="242"/>
                      </a:lnTo>
                      <a:lnTo>
                        <a:pt x="980" y="249"/>
                      </a:lnTo>
                      <a:lnTo>
                        <a:pt x="975" y="256"/>
                      </a:lnTo>
                      <a:lnTo>
                        <a:pt x="974" y="251"/>
                      </a:lnTo>
                      <a:lnTo>
                        <a:pt x="970" y="248"/>
                      </a:lnTo>
                      <a:lnTo>
                        <a:pt x="966" y="247"/>
                      </a:lnTo>
                      <a:lnTo>
                        <a:pt x="965" y="247"/>
                      </a:lnTo>
                      <a:lnTo>
                        <a:pt x="962" y="248"/>
                      </a:lnTo>
                      <a:lnTo>
                        <a:pt x="956" y="254"/>
                      </a:lnTo>
                      <a:lnTo>
                        <a:pt x="953" y="257"/>
                      </a:lnTo>
                      <a:lnTo>
                        <a:pt x="948" y="260"/>
                      </a:lnTo>
                      <a:lnTo>
                        <a:pt x="947" y="262"/>
                      </a:lnTo>
                      <a:lnTo>
                        <a:pt x="944" y="264"/>
                      </a:lnTo>
                      <a:lnTo>
                        <a:pt x="943" y="267"/>
                      </a:lnTo>
                      <a:lnTo>
                        <a:pt x="942" y="269"/>
                      </a:lnTo>
                      <a:lnTo>
                        <a:pt x="932" y="275"/>
                      </a:lnTo>
                      <a:lnTo>
                        <a:pt x="922" y="281"/>
                      </a:lnTo>
                      <a:lnTo>
                        <a:pt x="920" y="282"/>
                      </a:lnTo>
                      <a:lnTo>
                        <a:pt x="918" y="281"/>
                      </a:lnTo>
                      <a:lnTo>
                        <a:pt x="915" y="277"/>
                      </a:lnTo>
                      <a:lnTo>
                        <a:pt x="910" y="276"/>
                      </a:lnTo>
                      <a:lnTo>
                        <a:pt x="905" y="276"/>
                      </a:lnTo>
                      <a:lnTo>
                        <a:pt x="901" y="277"/>
                      </a:lnTo>
                      <a:lnTo>
                        <a:pt x="899" y="279"/>
                      </a:lnTo>
                      <a:lnTo>
                        <a:pt x="897" y="280"/>
                      </a:lnTo>
                      <a:lnTo>
                        <a:pt x="896" y="285"/>
                      </a:lnTo>
                      <a:lnTo>
                        <a:pt x="896" y="291"/>
                      </a:lnTo>
                      <a:lnTo>
                        <a:pt x="895" y="295"/>
                      </a:lnTo>
                      <a:lnTo>
                        <a:pt x="886" y="299"/>
                      </a:lnTo>
                      <a:lnTo>
                        <a:pt x="883" y="301"/>
                      </a:lnTo>
                      <a:lnTo>
                        <a:pt x="880" y="304"/>
                      </a:lnTo>
                      <a:lnTo>
                        <a:pt x="873" y="312"/>
                      </a:lnTo>
                      <a:lnTo>
                        <a:pt x="869" y="315"/>
                      </a:lnTo>
                      <a:lnTo>
                        <a:pt x="864" y="318"/>
                      </a:lnTo>
                      <a:lnTo>
                        <a:pt x="861" y="318"/>
                      </a:lnTo>
                      <a:lnTo>
                        <a:pt x="858" y="319"/>
                      </a:lnTo>
                      <a:lnTo>
                        <a:pt x="849" y="325"/>
                      </a:lnTo>
                      <a:lnTo>
                        <a:pt x="844" y="327"/>
                      </a:lnTo>
                      <a:lnTo>
                        <a:pt x="838" y="327"/>
                      </a:lnTo>
                      <a:lnTo>
                        <a:pt x="835" y="327"/>
                      </a:lnTo>
                      <a:lnTo>
                        <a:pt x="833" y="328"/>
                      </a:lnTo>
                      <a:lnTo>
                        <a:pt x="830" y="332"/>
                      </a:lnTo>
                      <a:lnTo>
                        <a:pt x="829" y="336"/>
                      </a:lnTo>
                      <a:lnTo>
                        <a:pt x="826" y="338"/>
                      </a:lnTo>
                      <a:lnTo>
                        <a:pt x="824" y="340"/>
                      </a:lnTo>
                      <a:lnTo>
                        <a:pt x="820" y="343"/>
                      </a:lnTo>
                      <a:lnTo>
                        <a:pt x="812" y="344"/>
                      </a:lnTo>
                      <a:lnTo>
                        <a:pt x="806" y="343"/>
                      </a:lnTo>
                      <a:lnTo>
                        <a:pt x="805" y="343"/>
                      </a:lnTo>
                      <a:lnTo>
                        <a:pt x="803" y="342"/>
                      </a:lnTo>
                      <a:lnTo>
                        <a:pt x="805" y="339"/>
                      </a:lnTo>
                      <a:lnTo>
                        <a:pt x="806" y="338"/>
                      </a:lnTo>
                      <a:lnTo>
                        <a:pt x="809" y="337"/>
                      </a:lnTo>
                      <a:lnTo>
                        <a:pt x="811" y="336"/>
                      </a:lnTo>
                      <a:lnTo>
                        <a:pt x="814" y="334"/>
                      </a:lnTo>
                      <a:lnTo>
                        <a:pt x="814" y="332"/>
                      </a:lnTo>
                      <a:lnTo>
                        <a:pt x="812" y="330"/>
                      </a:lnTo>
                      <a:lnTo>
                        <a:pt x="812" y="327"/>
                      </a:lnTo>
                      <a:lnTo>
                        <a:pt x="812" y="326"/>
                      </a:lnTo>
                      <a:lnTo>
                        <a:pt x="816" y="319"/>
                      </a:lnTo>
                      <a:lnTo>
                        <a:pt x="820" y="312"/>
                      </a:lnTo>
                      <a:lnTo>
                        <a:pt x="821" y="304"/>
                      </a:lnTo>
                      <a:lnTo>
                        <a:pt x="821" y="296"/>
                      </a:lnTo>
                      <a:lnTo>
                        <a:pt x="821" y="294"/>
                      </a:lnTo>
                      <a:lnTo>
                        <a:pt x="819" y="292"/>
                      </a:lnTo>
                      <a:lnTo>
                        <a:pt x="816" y="291"/>
                      </a:lnTo>
                      <a:lnTo>
                        <a:pt x="814" y="291"/>
                      </a:lnTo>
                      <a:lnTo>
                        <a:pt x="807" y="298"/>
                      </a:lnTo>
                      <a:lnTo>
                        <a:pt x="800" y="306"/>
                      </a:lnTo>
                      <a:lnTo>
                        <a:pt x="786" y="321"/>
                      </a:lnTo>
                      <a:lnTo>
                        <a:pt x="784" y="324"/>
                      </a:lnTo>
                      <a:lnTo>
                        <a:pt x="784" y="327"/>
                      </a:lnTo>
                      <a:lnTo>
                        <a:pt x="783" y="330"/>
                      </a:lnTo>
                      <a:lnTo>
                        <a:pt x="781" y="332"/>
                      </a:lnTo>
                      <a:lnTo>
                        <a:pt x="779" y="333"/>
                      </a:lnTo>
                      <a:lnTo>
                        <a:pt x="777" y="333"/>
                      </a:lnTo>
                      <a:lnTo>
                        <a:pt x="770" y="334"/>
                      </a:lnTo>
                      <a:lnTo>
                        <a:pt x="767" y="334"/>
                      </a:lnTo>
                      <a:lnTo>
                        <a:pt x="764" y="333"/>
                      </a:lnTo>
                      <a:lnTo>
                        <a:pt x="760" y="331"/>
                      </a:lnTo>
                      <a:lnTo>
                        <a:pt x="758" y="331"/>
                      </a:lnTo>
                      <a:lnTo>
                        <a:pt x="754" y="333"/>
                      </a:lnTo>
                      <a:lnTo>
                        <a:pt x="751" y="337"/>
                      </a:lnTo>
                      <a:lnTo>
                        <a:pt x="749" y="342"/>
                      </a:lnTo>
                      <a:lnTo>
                        <a:pt x="749" y="346"/>
                      </a:lnTo>
                      <a:lnTo>
                        <a:pt x="750" y="347"/>
                      </a:lnTo>
                      <a:lnTo>
                        <a:pt x="751" y="349"/>
                      </a:lnTo>
                      <a:lnTo>
                        <a:pt x="754" y="350"/>
                      </a:lnTo>
                      <a:lnTo>
                        <a:pt x="756" y="355"/>
                      </a:lnTo>
                      <a:lnTo>
                        <a:pt x="758" y="358"/>
                      </a:lnTo>
                      <a:lnTo>
                        <a:pt x="760" y="362"/>
                      </a:lnTo>
                      <a:lnTo>
                        <a:pt x="764" y="365"/>
                      </a:lnTo>
                      <a:lnTo>
                        <a:pt x="765" y="366"/>
                      </a:lnTo>
                      <a:lnTo>
                        <a:pt x="765" y="370"/>
                      </a:lnTo>
                      <a:lnTo>
                        <a:pt x="765" y="372"/>
                      </a:lnTo>
                      <a:lnTo>
                        <a:pt x="765" y="375"/>
                      </a:lnTo>
                      <a:lnTo>
                        <a:pt x="770" y="378"/>
                      </a:lnTo>
                      <a:lnTo>
                        <a:pt x="774" y="379"/>
                      </a:lnTo>
                      <a:lnTo>
                        <a:pt x="779" y="379"/>
                      </a:lnTo>
                      <a:lnTo>
                        <a:pt x="786" y="378"/>
                      </a:lnTo>
                      <a:lnTo>
                        <a:pt x="796" y="375"/>
                      </a:lnTo>
                      <a:lnTo>
                        <a:pt x="805" y="369"/>
                      </a:lnTo>
                      <a:lnTo>
                        <a:pt x="807" y="369"/>
                      </a:lnTo>
                      <a:lnTo>
                        <a:pt x="809" y="369"/>
                      </a:lnTo>
                      <a:lnTo>
                        <a:pt x="812" y="370"/>
                      </a:lnTo>
                      <a:lnTo>
                        <a:pt x="815" y="371"/>
                      </a:lnTo>
                      <a:lnTo>
                        <a:pt x="819" y="372"/>
                      </a:lnTo>
                      <a:lnTo>
                        <a:pt x="825" y="372"/>
                      </a:lnTo>
                      <a:lnTo>
                        <a:pt x="831" y="374"/>
                      </a:lnTo>
                      <a:lnTo>
                        <a:pt x="834" y="374"/>
                      </a:lnTo>
                      <a:lnTo>
                        <a:pt x="835" y="376"/>
                      </a:lnTo>
                      <a:lnTo>
                        <a:pt x="836" y="378"/>
                      </a:lnTo>
                      <a:lnTo>
                        <a:pt x="834" y="383"/>
                      </a:lnTo>
                      <a:lnTo>
                        <a:pt x="831" y="387"/>
                      </a:lnTo>
                      <a:lnTo>
                        <a:pt x="829" y="389"/>
                      </a:lnTo>
                      <a:lnTo>
                        <a:pt x="820" y="390"/>
                      </a:lnTo>
                      <a:lnTo>
                        <a:pt x="812" y="391"/>
                      </a:lnTo>
                      <a:lnTo>
                        <a:pt x="806" y="395"/>
                      </a:lnTo>
                      <a:lnTo>
                        <a:pt x="800" y="400"/>
                      </a:lnTo>
                      <a:lnTo>
                        <a:pt x="795" y="404"/>
                      </a:lnTo>
                      <a:lnTo>
                        <a:pt x="789" y="410"/>
                      </a:lnTo>
                      <a:lnTo>
                        <a:pt x="786" y="416"/>
                      </a:lnTo>
                      <a:lnTo>
                        <a:pt x="783" y="423"/>
                      </a:lnTo>
                      <a:lnTo>
                        <a:pt x="779" y="428"/>
                      </a:lnTo>
                      <a:lnTo>
                        <a:pt x="779" y="429"/>
                      </a:lnTo>
                      <a:lnTo>
                        <a:pt x="781" y="430"/>
                      </a:lnTo>
                      <a:lnTo>
                        <a:pt x="784" y="433"/>
                      </a:lnTo>
                      <a:lnTo>
                        <a:pt x="797" y="449"/>
                      </a:lnTo>
                      <a:lnTo>
                        <a:pt x="797" y="453"/>
                      </a:lnTo>
                      <a:lnTo>
                        <a:pt x="796" y="455"/>
                      </a:lnTo>
                      <a:lnTo>
                        <a:pt x="795" y="459"/>
                      </a:lnTo>
                      <a:lnTo>
                        <a:pt x="795" y="462"/>
                      </a:lnTo>
                      <a:lnTo>
                        <a:pt x="796" y="466"/>
                      </a:lnTo>
                      <a:lnTo>
                        <a:pt x="798" y="470"/>
                      </a:lnTo>
                      <a:lnTo>
                        <a:pt x="798" y="471"/>
                      </a:lnTo>
                      <a:lnTo>
                        <a:pt x="798" y="473"/>
                      </a:lnTo>
                      <a:lnTo>
                        <a:pt x="803" y="474"/>
                      </a:lnTo>
                      <a:lnTo>
                        <a:pt x="807" y="475"/>
                      </a:lnTo>
                      <a:lnTo>
                        <a:pt x="810" y="478"/>
                      </a:lnTo>
                      <a:lnTo>
                        <a:pt x="811" y="480"/>
                      </a:lnTo>
                      <a:lnTo>
                        <a:pt x="815" y="496"/>
                      </a:lnTo>
                      <a:lnTo>
                        <a:pt x="817" y="500"/>
                      </a:lnTo>
                      <a:lnTo>
                        <a:pt x="821" y="504"/>
                      </a:lnTo>
                      <a:lnTo>
                        <a:pt x="823" y="506"/>
                      </a:lnTo>
                      <a:lnTo>
                        <a:pt x="823" y="510"/>
                      </a:lnTo>
                      <a:lnTo>
                        <a:pt x="821" y="512"/>
                      </a:lnTo>
                      <a:lnTo>
                        <a:pt x="819" y="516"/>
                      </a:lnTo>
                      <a:lnTo>
                        <a:pt x="811" y="521"/>
                      </a:lnTo>
                      <a:lnTo>
                        <a:pt x="807" y="525"/>
                      </a:lnTo>
                      <a:lnTo>
                        <a:pt x="803" y="528"/>
                      </a:lnTo>
                      <a:lnTo>
                        <a:pt x="802" y="530"/>
                      </a:lnTo>
                      <a:lnTo>
                        <a:pt x="802" y="531"/>
                      </a:lnTo>
                      <a:lnTo>
                        <a:pt x="803" y="532"/>
                      </a:lnTo>
                      <a:lnTo>
                        <a:pt x="806" y="535"/>
                      </a:lnTo>
                      <a:lnTo>
                        <a:pt x="809" y="535"/>
                      </a:lnTo>
                      <a:lnTo>
                        <a:pt x="814" y="535"/>
                      </a:lnTo>
                      <a:lnTo>
                        <a:pt x="819" y="534"/>
                      </a:lnTo>
                      <a:lnTo>
                        <a:pt x="824" y="534"/>
                      </a:lnTo>
                      <a:lnTo>
                        <a:pt x="825" y="534"/>
                      </a:lnTo>
                      <a:lnTo>
                        <a:pt x="826" y="536"/>
                      </a:lnTo>
                      <a:lnTo>
                        <a:pt x="828" y="541"/>
                      </a:lnTo>
                      <a:lnTo>
                        <a:pt x="825" y="545"/>
                      </a:lnTo>
                      <a:lnTo>
                        <a:pt x="823" y="549"/>
                      </a:lnTo>
                      <a:lnTo>
                        <a:pt x="820" y="550"/>
                      </a:lnTo>
                      <a:lnTo>
                        <a:pt x="816" y="550"/>
                      </a:lnTo>
                      <a:lnTo>
                        <a:pt x="814" y="550"/>
                      </a:lnTo>
                      <a:lnTo>
                        <a:pt x="811" y="553"/>
                      </a:lnTo>
                      <a:lnTo>
                        <a:pt x="810" y="554"/>
                      </a:lnTo>
                      <a:lnTo>
                        <a:pt x="811" y="556"/>
                      </a:lnTo>
                      <a:lnTo>
                        <a:pt x="815" y="558"/>
                      </a:lnTo>
                      <a:lnTo>
                        <a:pt x="816" y="562"/>
                      </a:lnTo>
                      <a:lnTo>
                        <a:pt x="816" y="566"/>
                      </a:lnTo>
                      <a:lnTo>
                        <a:pt x="815" y="574"/>
                      </a:lnTo>
                      <a:lnTo>
                        <a:pt x="815" y="576"/>
                      </a:lnTo>
                      <a:lnTo>
                        <a:pt x="816" y="580"/>
                      </a:lnTo>
                      <a:lnTo>
                        <a:pt x="816" y="581"/>
                      </a:lnTo>
                      <a:lnTo>
                        <a:pt x="815" y="582"/>
                      </a:lnTo>
                      <a:lnTo>
                        <a:pt x="811" y="582"/>
                      </a:lnTo>
                      <a:lnTo>
                        <a:pt x="809" y="582"/>
                      </a:lnTo>
                      <a:lnTo>
                        <a:pt x="806" y="583"/>
                      </a:lnTo>
                      <a:lnTo>
                        <a:pt x="803" y="586"/>
                      </a:lnTo>
                      <a:lnTo>
                        <a:pt x="800" y="590"/>
                      </a:lnTo>
                      <a:lnTo>
                        <a:pt x="797" y="595"/>
                      </a:lnTo>
                      <a:lnTo>
                        <a:pt x="793" y="601"/>
                      </a:lnTo>
                      <a:lnTo>
                        <a:pt x="789" y="605"/>
                      </a:lnTo>
                      <a:lnTo>
                        <a:pt x="784" y="608"/>
                      </a:lnTo>
                      <a:lnTo>
                        <a:pt x="783" y="612"/>
                      </a:lnTo>
                      <a:lnTo>
                        <a:pt x="782" y="614"/>
                      </a:lnTo>
                      <a:lnTo>
                        <a:pt x="779" y="622"/>
                      </a:lnTo>
                      <a:lnTo>
                        <a:pt x="778" y="626"/>
                      </a:lnTo>
                      <a:lnTo>
                        <a:pt x="778" y="631"/>
                      </a:lnTo>
                      <a:lnTo>
                        <a:pt x="777" y="632"/>
                      </a:lnTo>
                      <a:lnTo>
                        <a:pt x="776" y="633"/>
                      </a:lnTo>
                      <a:lnTo>
                        <a:pt x="770" y="634"/>
                      </a:lnTo>
                      <a:lnTo>
                        <a:pt x="767" y="637"/>
                      </a:lnTo>
                      <a:lnTo>
                        <a:pt x="764" y="639"/>
                      </a:lnTo>
                      <a:lnTo>
                        <a:pt x="763" y="641"/>
                      </a:lnTo>
                      <a:lnTo>
                        <a:pt x="764" y="644"/>
                      </a:lnTo>
                      <a:lnTo>
                        <a:pt x="765" y="646"/>
                      </a:lnTo>
                      <a:lnTo>
                        <a:pt x="767" y="647"/>
                      </a:lnTo>
                      <a:lnTo>
                        <a:pt x="767" y="650"/>
                      </a:lnTo>
                      <a:lnTo>
                        <a:pt x="767" y="651"/>
                      </a:lnTo>
                      <a:lnTo>
                        <a:pt x="755" y="658"/>
                      </a:lnTo>
                      <a:lnTo>
                        <a:pt x="750" y="663"/>
                      </a:lnTo>
                      <a:lnTo>
                        <a:pt x="749" y="665"/>
                      </a:lnTo>
                      <a:lnTo>
                        <a:pt x="748" y="668"/>
                      </a:lnTo>
                      <a:lnTo>
                        <a:pt x="748" y="669"/>
                      </a:lnTo>
                      <a:lnTo>
                        <a:pt x="749" y="669"/>
                      </a:lnTo>
                      <a:lnTo>
                        <a:pt x="750" y="670"/>
                      </a:lnTo>
                      <a:lnTo>
                        <a:pt x="750" y="671"/>
                      </a:lnTo>
                      <a:lnTo>
                        <a:pt x="749" y="672"/>
                      </a:lnTo>
                      <a:lnTo>
                        <a:pt x="743" y="672"/>
                      </a:lnTo>
                      <a:lnTo>
                        <a:pt x="737" y="673"/>
                      </a:lnTo>
                      <a:lnTo>
                        <a:pt x="734" y="677"/>
                      </a:lnTo>
                      <a:lnTo>
                        <a:pt x="731" y="682"/>
                      </a:lnTo>
                      <a:lnTo>
                        <a:pt x="729" y="684"/>
                      </a:lnTo>
                      <a:lnTo>
                        <a:pt x="723" y="687"/>
                      </a:lnTo>
                      <a:lnTo>
                        <a:pt x="718" y="688"/>
                      </a:lnTo>
                      <a:lnTo>
                        <a:pt x="716" y="687"/>
                      </a:lnTo>
                      <a:lnTo>
                        <a:pt x="715" y="685"/>
                      </a:lnTo>
                      <a:lnTo>
                        <a:pt x="715" y="683"/>
                      </a:lnTo>
                      <a:lnTo>
                        <a:pt x="715" y="679"/>
                      </a:lnTo>
                      <a:lnTo>
                        <a:pt x="712" y="678"/>
                      </a:lnTo>
                      <a:lnTo>
                        <a:pt x="711" y="678"/>
                      </a:lnTo>
                      <a:lnTo>
                        <a:pt x="707" y="682"/>
                      </a:lnTo>
                      <a:lnTo>
                        <a:pt x="704" y="684"/>
                      </a:lnTo>
                      <a:lnTo>
                        <a:pt x="701" y="685"/>
                      </a:lnTo>
                      <a:lnTo>
                        <a:pt x="697" y="687"/>
                      </a:lnTo>
                      <a:lnTo>
                        <a:pt x="689" y="685"/>
                      </a:lnTo>
                      <a:lnTo>
                        <a:pt x="682" y="684"/>
                      </a:lnTo>
                      <a:lnTo>
                        <a:pt x="679" y="684"/>
                      </a:lnTo>
                      <a:lnTo>
                        <a:pt x="678" y="685"/>
                      </a:lnTo>
                      <a:lnTo>
                        <a:pt x="676" y="691"/>
                      </a:lnTo>
                      <a:lnTo>
                        <a:pt x="675" y="692"/>
                      </a:lnTo>
                      <a:lnTo>
                        <a:pt x="674" y="694"/>
                      </a:lnTo>
                      <a:lnTo>
                        <a:pt x="674" y="700"/>
                      </a:lnTo>
                      <a:lnTo>
                        <a:pt x="671" y="703"/>
                      </a:lnTo>
                      <a:lnTo>
                        <a:pt x="668" y="707"/>
                      </a:lnTo>
                      <a:lnTo>
                        <a:pt x="664" y="708"/>
                      </a:lnTo>
                      <a:lnTo>
                        <a:pt x="663" y="707"/>
                      </a:lnTo>
                      <a:lnTo>
                        <a:pt x="663" y="704"/>
                      </a:lnTo>
                      <a:lnTo>
                        <a:pt x="663" y="702"/>
                      </a:lnTo>
                      <a:lnTo>
                        <a:pt x="663" y="700"/>
                      </a:lnTo>
                      <a:lnTo>
                        <a:pt x="660" y="700"/>
                      </a:lnTo>
                      <a:lnTo>
                        <a:pt x="659" y="700"/>
                      </a:lnTo>
                      <a:lnTo>
                        <a:pt x="656" y="702"/>
                      </a:lnTo>
                      <a:lnTo>
                        <a:pt x="652" y="708"/>
                      </a:lnTo>
                      <a:lnTo>
                        <a:pt x="647" y="710"/>
                      </a:lnTo>
                      <a:lnTo>
                        <a:pt x="642" y="713"/>
                      </a:lnTo>
                      <a:lnTo>
                        <a:pt x="636" y="715"/>
                      </a:lnTo>
                      <a:lnTo>
                        <a:pt x="629" y="719"/>
                      </a:lnTo>
                      <a:lnTo>
                        <a:pt x="624" y="723"/>
                      </a:lnTo>
                      <a:lnTo>
                        <a:pt x="623" y="726"/>
                      </a:lnTo>
                      <a:lnTo>
                        <a:pt x="622" y="728"/>
                      </a:lnTo>
                      <a:lnTo>
                        <a:pt x="623" y="730"/>
                      </a:lnTo>
                      <a:lnTo>
                        <a:pt x="624" y="733"/>
                      </a:lnTo>
                      <a:lnTo>
                        <a:pt x="626" y="735"/>
                      </a:lnTo>
                      <a:lnTo>
                        <a:pt x="627" y="737"/>
                      </a:lnTo>
                      <a:lnTo>
                        <a:pt x="624" y="739"/>
                      </a:lnTo>
                      <a:lnTo>
                        <a:pt x="622" y="739"/>
                      </a:lnTo>
                      <a:lnTo>
                        <a:pt x="613" y="735"/>
                      </a:lnTo>
                      <a:lnTo>
                        <a:pt x="612" y="733"/>
                      </a:lnTo>
                      <a:lnTo>
                        <a:pt x="612" y="732"/>
                      </a:lnTo>
                      <a:lnTo>
                        <a:pt x="613" y="729"/>
                      </a:lnTo>
                      <a:lnTo>
                        <a:pt x="613" y="727"/>
                      </a:lnTo>
                      <a:lnTo>
                        <a:pt x="612" y="724"/>
                      </a:lnTo>
                      <a:lnTo>
                        <a:pt x="610" y="721"/>
                      </a:lnTo>
                      <a:lnTo>
                        <a:pt x="610" y="720"/>
                      </a:lnTo>
                      <a:lnTo>
                        <a:pt x="612" y="719"/>
                      </a:lnTo>
                      <a:lnTo>
                        <a:pt x="614" y="716"/>
                      </a:lnTo>
                      <a:lnTo>
                        <a:pt x="616" y="715"/>
                      </a:lnTo>
                      <a:lnTo>
                        <a:pt x="617" y="714"/>
                      </a:lnTo>
                      <a:lnTo>
                        <a:pt x="617" y="713"/>
                      </a:lnTo>
                      <a:lnTo>
                        <a:pt x="616" y="711"/>
                      </a:lnTo>
                      <a:lnTo>
                        <a:pt x="614" y="711"/>
                      </a:lnTo>
                      <a:lnTo>
                        <a:pt x="610" y="711"/>
                      </a:lnTo>
                      <a:lnTo>
                        <a:pt x="608" y="713"/>
                      </a:lnTo>
                      <a:lnTo>
                        <a:pt x="607" y="714"/>
                      </a:lnTo>
                      <a:lnTo>
                        <a:pt x="605" y="715"/>
                      </a:lnTo>
                      <a:lnTo>
                        <a:pt x="604" y="716"/>
                      </a:lnTo>
                      <a:lnTo>
                        <a:pt x="590" y="717"/>
                      </a:lnTo>
                      <a:lnTo>
                        <a:pt x="588" y="714"/>
                      </a:lnTo>
                      <a:lnTo>
                        <a:pt x="584" y="711"/>
                      </a:lnTo>
                      <a:lnTo>
                        <a:pt x="577" y="708"/>
                      </a:lnTo>
                      <a:lnTo>
                        <a:pt x="570" y="704"/>
                      </a:lnTo>
                      <a:lnTo>
                        <a:pt x="562" y="701"/>
                      </a:lnTo>
                      <a:lnTo>
                        <a:pt x="560" y="700"/>
                      </a:lnTo>
                      <a:lnTo>
                        <a:pt x="560" y="698"/>
                      </a:lnTo>
                      <a:lnTo>
                        <a:pt x="560" y="695"/>
                      </a:lnTo>
                      <a:lnTo>
                        <a:pt x="561" y="690"/>
                      </a:lnTo>
                      <a:lnTo>
                        <a:pt x="561" y="688"/>
                      </a:lnTo>
                      <a:lnTo>
                        <a:pt x="561" y="687"/>
                      </a:lnTo>
                      <a:lnTo>
                        <a:pt x="556" y="681"/>
                      </a:lnTo>
                      <a:lnTo>
                        <a:pt x="551" y="678"/>
                      </a:lnTo>
                      <a:lnTo>
                        <a:pt x="546" y="676"/>
                      </a:lnTo>
                      <a:lnTo>
                        <a:pt x="538" y="677"/>
                      </a:lnTo>
                      <a:lnTo>
                        <a:pt x="527" y="681"/>
                      </a:lnTo>
                      <a:lnTo>
                        <a:pt x="518" y="683"/>
                      </a:lnTo>
                      <a:lnTo>
                        <a:pt x="510" y="688"/>
                      </a:lnTo>
                      <a:lnTo>
                        <a:pt x="506" y="689"/>
                      </a:lnTo>
                      <a:lnTo>
                        <a:pt x="501" y="690"/>
                      </a:lnTo>
                      <a:lnTo>
                        <a:pt x="494" y="689"/>
                      </a:lnTo>
                      <a:lnTo>
                        <a:pt x="491" y="690"/>
                      </a:lnTo>
                      <a:lnTo>
                        <a:pt x="489" y="692"/>
                      </a:lnTo>
                      <a:lnTo>
                        <a:pt x="483" y="691"/>
                      </a:lnTo>
                      <a:lnTo>
                        <a:pt x="481" y="691"/>
                      </a:lnTo>
                      <a:lnTo>
                        <a:pt x="478" y="692"/>
                      </a:lnTo>
                      <a:lnTo>
                        <a:pt x="478" y="695"/>
                      </a:lnTo>
                      <a:lnTo>
                        <a:pt x="477" y="696"/>
                      </a:lnTo>
                      <a:lnTo>
                        <a:pt x="478" y="700"/>
                      </a:lnTo>
                      <a:lnTo>
                        <a:pt x="483" y="707"/>
                      </a:lnTo>
                      <a:lnTo>
                        <a:pt x="483" y="711"/>
                      </a:lnTo>
                      <a:lnTo>
                        <a:pt x="483" y="713"/>
                      </a:lnTo>
                      <a:lnTo>
                        <a:pt x="482" y="714"/>
                      </a:lnTo>
                      <a:lnTo>
                        <a:pt x="478" y="716"/>
                      </a:lnTo>
                      <a:lnTo>
                        <a:pt x="475" y="717"/>
                      </a:lnTo>
                      <a:lnTo>
                        <a:pt x="471" y="716"/>
                      </a:lnTo>
                      <a:lnTo>
                        <a:pt x="466" y="715"/>
                      </a:lnTo>
                      <a:lnTo>
                        <a:pt x="467" y="713"/>
                      </a:lnTo>
                      <a:lnTo>
                        <a:pt x="466" y="710"/>
                      </a:lnTo>
                      <a:lnTo>
                        <a:pt x="466" y="709"/>
                      </a:lnTo>
                      <a:lnTo>
                        <a:pt x="462" y="708"/>
                      </a:lnTo>
                      <a:lnTo>
                        <a:pt x="456" y="708"/>
                      </a:lnTo>
                      <a:lnTo>
                        <a:pt x="454" y="707"/>
                      </a:lnTo>
                      <a:lnTo>
                        <a:pt x="453" y="705"/>
                      </a:lnTo>
                      <a:lnTo>
                        <a:pt x="453" y="702"/>
                      </a:lnTo>
                      <a:lnTo>
                        <a:pt x="453" y="698"/>
                      </a:lnTo>
                      <a:lnTo>
                        <a:pt x="452" y="697"/>
                      </a:lnTo>
                      <a:lnTo>
                        <a:pt x="450" y="697"/>
                      </a:lnTo>
                      <a:lnTo>
                        <a:pt x="445" y="698"/>
                      </a:lnTo>
                      <a:lnTo>
                        <a:pt x="443" y="698"/>
                      </a:lnTo>
                      <a:lnTo>
                        <a:pt x="440" y="698"/>
                      </a:lnTo>
                      <a:lnTo>
                        <a:pt x="439" y="697"/>
                      </a:lnTo>
                      <a:lnTo>
                        <a:pt x="439" y="695"/>
                      </a:lnTo>
                      <a:lnTo>
                        <a:pt x="442" y="690"/>
                      </a:lnTo>
                      <a:lnTo>
                        <a:pt x="445" y="687"/>
                      </a:lnTo>
                      <a:lnTo>
                        <a:pt x="449" y="682"/>
                      </a:lnTo>
                      <a:lnTo>
                        <a:pt x="450" y="677"/>
                      </a:lnTo>
                      <a:lnTo>
                        <a:pt x="450" y="675"/>
                      </a:lnTo>
                      <a:lnTo>
                        <a:pt x="448" y="675"/>
                      </a:lnTo>
                      <a:lnTo>
                        <a:pt x="443" y="675"/>
                      </a:lnTo>
                      <a:lnTo>
                        <a:pt x="440" y="673"/>
                      </a:lnTo>
                      <a:lnTo>
                        <a:pt x="439" y="671"/>
                      </a:lnTo>
                      <a:lnTo>
                        <a:pt x="439" y="666"/>
                      </a:lnTo>
                      <a:lnTo>
                        <a:pt x="439" y="660"/>
                      </a:lnTo>
                      <a:lnTo>
                        <a:pt x="439" y="658"/>
                      </a:lnTo>
                      <a:lnTo>
                        <a:pt x="438" y="657"/>
                      </a:lnTo>
                      <a:lnTo>
                        <a:pt x="435" y="657"/>
                      </a:lnTo>
                      <a:lnTo>
                        <a:pt x="431" y="657"/>
                      </a:lnTo>
                      <a:lnTo>
                        <a:pt x="425" y="658"/>
                      </a:lnTo>
                      <a:lnTo>
                        <a:pt x="419" y="659"/>
                      </a:lnTo>
                      <a:lnTo>
                        <a:pt x="416" y="658"/>
                      </a:lnTo>
                      <a:lnTo>
                        <a:pt x="415" y="657"/>
                      </a:lnTo>
                      <a:lnTo>
                        <a:pt x="412" y="652"/>
                      </a:lnTo>
                      <a:lnTo>
                        <a:pt x="412" y="649"/>
                      </a:lnTo>
                      <a:lnTo>
                        <a:pt x="412" y="645"/>
                      </a:lnTo>
                      <a:lnTo>
                        <a:pt x="414" y="640"/>
                      </a:lnTo>
                      <a:lnTo>
                        <a:pt x="417" y="632"/>
                      </a:lnTo>
                      <a:lnTo>
                        <a:pt x="421" y="624"/>
                      </a:lnTo>
                      <a:lnTo>
                        <a:pt x="424" y="619"/>
                      </a:lnTo>
                      <a:lnTo>
                        <a:pt x="425" y="614"/>
                      </a:lnTo>
                      <a:lnTo>
                        <a:pt x="426" y="604"/>
                      </a:lnTo>
                      <a:lnTo>
                        <a:pt x="425" y="581"/>
                      </a:lnTo>
                      <a:lnTo>
                        <a:pt x="424" y="576"/>
                      </a:lnTo>
                      <a:lnTo>
                        <a:pt x="421" y="572"/>
                      </a:lnTo>
                      <a:lnTo>
                        <a:pt x="416" y="569"/>
                      </a:lnTo>
                      <a:lnTo>
                        <a:pt x="414" y="568"/>
                      </a:lnTo>
                      <a:lnTo>
                        <a:pt x="412" y="569"/>
                      </a:lnTo>
                      <a:lnTo>
                        <a:pt x="407" y="570"/>
                      </a:lnTo>
                      <a:lnTo>
                        <a:pt x="401" y="572"/>
                      </a:lnTo>
                      <a:lnTo>
                        <a:pt x="398" y="570"/>
                      </a:lnTo>
                      <a:lnTo>
                        <a:pt x="397" y="568"/>
                      </a:lnTo>
                      <a:lnTo>
                        <a:pt x="397" y="566"/>
                      </a:lnTo>
                      <a:lnTo>
                        <a:pt x="398" y="563"/>
                      </a:lnTo>
                      <a:lnTo>
                        <a:pt x="400" y="560"/>
                      </a:lnTo>
                      <a:lnTo>
                        <a:pt x="398" y="557"/>
                      </a:lnTo>
                      <a:lnTo>
                        <a:pt x="395" y="555"/>
                      </a:lnTo>
                      <a:lnTo>
                        <a:pt x="391" y="554"/>
                      </a:lnTo>
                      <a:lnTo>
                        <a:pt x="383" y="553"/>
                      </a:lnTo>
                      <a:lnTo>
                        <a:pt x="374" y="553"/>
                      </a:lnTo>
                      <a:lnTo>
                        <a:pt x="365" y="555"/>
                      </a:lnTo>
                      <a:lnTo>
                        <a:pt x="353" y="560"/>
                      </a:lnTo>
                      <a:lnTo>
                        <a:pt x="336" y="568"/>
                      </a:lnTo>
                      <a:lnTo>
                        <a:pt x="321" y="576"/>
                      </a:lnTo>
                      <a:lnTo>
                        <a:pt x="315" y="579"/>
                      </a:lnTo>
                      <a:lnTo>
                        <a:pt x="309" y="579"/>
                      </a:lnTo>
                      <a:lnTo>
                        <a:pt x="307" y="577"/>
                      </a:lnTo>
                      <a:lnTo>
                        <a:pt x="304" y="576"/>
                      </a:lnTo>
                      <a:lnTo>
                        <a:pt x="301" y="575"/>
                      </a:lnTo>
                      <a:lnTo>
                        <a:pt x="297" y="575"/>
                      </a:lnTo>
                      <a:lnTo>
                        <a:pt x="287" y="577"/>
                      </a:lnTo>
                      <a:lnTo>
                        <a:pt x="275" y="579"/>
                      </a:lnTo>
                      <a:lnTo>
                        <a:pt x="273" y="579"/>
                      </a:lnTo>
                      <a:lnTo>
                        <a:pt x="271" y="581"/>
                      </a:lnTo>
                      <a:lnTo>
                        <a:pt x="270" y="583"/>
                      </a:lnTo>
                      <a:lnTo>
                        <a:pt x="268" y="587"/>
                      </a:lnTo>
                      <a:lnTo>
                        <a:pt x="264" y="582"/>
                      </a:lnTo>
                      <a:lnTo>
                        <a:pt x="259" y="579"/>
                      </a:lnTo>
                      <a:lnTo>
                        <a:pt x="256" y="577"/>
                      </a:lnTo>
                      <a:lnTo>
                        <a:pt x="255" y="579"/>
                      </a:lnTo>
                      <a:lnTo>
                        <a:pt x="252" y="580"/>
                      </a:lnTo>
                      <a:lnTo>
                        <a:pt x="250" y="581"/>
                      </a:lnTo>
                      <a:lnTo>
                        <a:pt x="245" y="580"/>
                      </a:lnTo>
                      <a:lnTo>
                        <a:pt x="241" y="579"/>
                      </a:lnTo>
                      <a:lnTo>
                        <a:pt x="232" y="574"/>
                      </a:lnTo>
                      <a:lnTo>
                        <a:pt x="229" y="574"/>
                      </a:lnTo>
                      <a:lnTo>
                        <a:pt x="228" y="574"/>
                      </a:lnTo>
                      <a:lnTo>
                        <a:pt x="224" y="576"/>
                      </a:lnTo>
                      <a:lnTo>
                        <a:pt x="221" y="579"/>
                      </a:lnTo>
                      <a:lnTo>
                        <a:pt x="218" y="579"/>
                      </a:lnTo>
                      <a:lnTo>
                        <a:pt x="216" y="579"/>
                      </a:lnTo>
                      <a:lnTo>
                        <a:pt x="209" y="575"/>
                      </a:lnTo>
                      <a:lnTo>
                        <a:pt x="204" y="572"/>
                      </a:lnTo>
                      <a:lnTo>
                        <a:pt x="200" y="566"/>
                      </a:lnTo>
                      <a:lnTo>
                        <a:pt x="195" y="561"/>
                      </a:lnTo>
                      <a:lnTo>
                        <a:pt x="191" y="560"/>
                      </a:lnTo>
                      <a:lnTo>
                        <a:pt x="188" y="560"/>
                      </a:lnTo>
                      <a:lnTo>
                        <a:pt x="185" y="560"/>
                      </a:lnTo>
                      <a:lnTo>
                        <a:pt x="183" y="560"/>
                      </a:lnTo>
                      <a:lnTo>
                        <a:pt x="183" y="558"/>
                      </a:lnTo>
                      <a:lnTo>
                        <a:pt x="184" y="555"/>
                      </a:lnTo>
                      <a:lnTo>
                        <a:pt x="183" y="554"/>
                      </a:lnTo>
                      <a:lnTo>
                        <a:pt x="181" y="553"/>
                      </a:lnTo>
                      <a:lnTo>
                        <a:pt x="176" y="551"/>
                      </a:lnTo>
                      <a:lnTo>
                        <a:pt x="172" y="551"/>
                      </a:lnTo>
                      <a:lnTo>
                        <a:pt x="169" y="550"/>
                      </a:lnTo>
                      <a:lnTo>
                        <a:pt x="166" y="548"/>
                      </a:lnTo>
                      <a:lnTo>
                        <a:pt x="165" y="545"/>
                      </a:lnTo>
                      <a:lnTo>
                        <a:pt x="160" y="541"/>
                      </a:lnTo>
                      <a:lnTo>
                        <a:pt x="153" y="536"/>
                      </a:lnTo>
                      <a:lnTo>
                        <a:pt x="147" y="532"/>
                      </a:lnTo>
                      <a:lnTo>
                        <a:pt x="144" y="532"/>
                      </a:lnTo>
                      <a:lnTo>
                        <a:pt x="142" y="534"/>
                      </a:lnTo>
                      <a:lnTo>
                        <a:pt x="136" y="536"/>
                      </a:lnTo>
                      <a:lnTo>
                        <a:pt x="132" y="536"/>
                      </a:lnTo>
                      <a:lnTo>
                        <a:pt x="129" y="5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1" name="Freeform 656"/>
                <p:cNvSpPr>
                  <a:spLocks/>
                </p:cNvSpPr>
                <p:nvPr/>
              </p:nvSpPr>
              <p:spPr bwMode="auto">
                <a:xfrm>
                  <a:off x="5822817" y="3884346"/>
                  <a:ext cx="207182" cy="258977"/>
                </a:xfrm>
                <a:custGeom>
                  <a:avLst/>
                  <a:gdLst>
                    <a:gd name="T0" fmla="*/ 2147483647 w 152"/>
                    <a:gd name="T1" fmla="*/ 2147483647 h 175"/>
                    <a:gd name="T2" fmla="*/ 2147483647 w 152"/>
                    <a:gd name="T3" fmla="*/ 2147483647 h 175"/>
                    <a:gd name="T4" fmla="*/ 2147483647 w 152"/>
                    <a:gd name="T5" fmla="*/ 2147483647 h 175"/>
                    <a:gd name="T6" fmla="*/ 2147483647 w 152"/>
                    <a:gd name="T7" fmla="*/ 2147483647 h 175"/>
                    <a:gd name="T8" fmla="*/ 2147483647 w 152"/>
                    <a:gd name="T9" fmla="*/ 2147483647 h 175"/>
                    <a:gd name="T10" fmla="*/ 2147483647 w 152"/>
                    <a:gd name="T11" fmla="*/ 2147483647 h 175"/>
                    <a:gd name="T12" fmla="*/ 2147483647 w 152"/>
                    <a:gd name="T13" fmla="*/ 2147483647 h 175"/>
                    <a:gd name="T14" fmla="*/ 2147483647 w 152"/>
                    <a:gd name="T15" fmla="*/ 2147483647 h 175"/>
                    <a:gd name="T16" fmla="*/ 0 w 152"/>
                    <a:gd name="T17" fmla="*/ 2147483647 h 175"/>
                    <a:gd name="T18" fmla="*/ 2147483647 w 152"/>
                    <a:gd name="T19" fmla="*/ 2147483647 h 175"/>
                    <a:gd name="T20" fmla="*/ 2147483647 w 152"/>
                    <a:gd name="T21" fmla="*/ 2147483647 h 175"/>
                    <a:gd name="T22" fmla="*/ 2147483647 w 152"/>
                    <a:gd name="T23" fmla="*/ 2147483647 h 175"/>
                    <a:gd name="T24" fmla="*/ 2147483647 w 152"/>
                    <a:gd name="T25" fmla="*/ 2147483647 h 175"/>
                    <a:gd name="T26" fmla="*/ 2147483647 w 152"/>
                    <a:gd name="T27" fmla="*/ 2147483647 h 175"/>
                    <a:gd name="T28" fmla="*/ 2147483647 w 152"/>
                    <a:gd name="T29" fmla="*/ 2147483647 h 175"/>
                    <a:gd name="T30" fmla="*/ 2147483647 w 152"/>
                    <a:gd name="T31" fmla="*/ 2147483647 h 175"/>
                    <a:gd name="T32" fmla="*/ 2147483647 w 152"/>
                    <a:gd name="T33" fmla="*/ 2147483647 h 175"/>
                    <a:gd name="T34" fmla="*/ 2147483647 w 152"/>
                    <a:gd name="T35" fmla="*/ 2147483647 h 175"/>
                    <a:gd name="T36" fmla="*/ 2147483647 w 152"/>
                    <a:gd name="T37" fmla="*/ 2147483647 h 175"/>
                    <a:gd name="T38" fmla="*/ 2147483647 w 152"/>
                    <a:gd name="T39" fmla="*/ 2147483647 h 175"/>
                    <a:gd name="T40" fmla="*/ 2147483647 w 152"/>
                    <a:gd name="T41" fmla="*/ 2147483647 h 175"/>
                    <a:gd name="T42" fmla="*/ 2147483647 w 152"/>
                    <a:gd name="T43" fmla="*/ 2147483647 h 175"/>
                    <a:gd name="T44" fmla="*/ 2147483647 w 152"/>
                    <a:gd name="T45" fmla="*/ 2147483647 h 175"/>
                    <a:gd name="T46" fmla="*/ 2147483647 w 152"/>
                    <a:gd name="T47" fmla="*/ 2147483647 h 175"/>
                    <a:gd name="T48" fmla="*/ 2147483647 w 152"/>
                    <a:gd name="T49" fmla="*/ 2147483647 h 175"/>
                    <a:gd name="T50" fmla="*/ 2147483647 w 152"/>
                    <a:gd name="T51" fmla="*/ 2147483647 h 175"/>
                    <a:gd name="T52" fmla="*/ 2147483647 w 152"/>
                    <a:gd name="T53" fmla="*/ 2147483647 h 175"/>
                    <a:gd name="T54" fmla="*/ 2147483647 w 152"/>
                    <a:gd name="T55" fmla="*/ 2147483647 h 175"/>
                    <a:gd name="T56" fmla="*/ 2147483647 w 152"/>
                    <a:gd name="T57" fmla="*/ 2147483647 h 175"/>
                    <a:gd name="T58" fmla="*/ 2147483647 w 152"/>
                    <a:gd name="T59" fmla="*/ 2147483647 h 175"/>
                    <a:gd name="T60" fmla="*/ 2147483647 w 152"/>
                    <a:gd name="T61" fmla="*/ 2147483647 h 175"/>
                    <a:gd name="T62" fmla="*/ 2147483647 w 152"/>
                    <a:gd name="T63" fmla="*/ 2147483647 h 175"/>
                    <a:gd name="T64" fmla="*/ 2147483647 w 152"/>
                    <a:gd name="T65" fmla="*/ 2147483647 h 175"/>
                    <a:gd name="T66" fmla="*/ 2147483647 w 152"/>
                    <a:gd name="T67" fmla="*/ 2147483647 h 175"/>
                    <a:gd name="T68" fmla="*/ 2147483647 w 152"/>
                    <a:gd name="T69" fmla="*/ 2147483647 h 175"/>
                    <a:gd name="T70" fmla="*/ 2147483647 w 152"/>
                    <a:gd name="T71" fmla="*/ 2147483647 h 175"/>
                    <a:gd name="T72" fmla="*/ 2147483647 w 152"/>
                    <a:gd name="T73" fmla="*/ 2147483647 h 175"/>
                    <a:gd name="T74" fmla="*/ 2147483647 w 152"/>
                    <a:gd name="T75" fmla="*/ 2147483647 h 175"/>
                    <a:gd name="T76" fmla="*/ 2147483647 w 152"/>
                    <a:gd name="T77" fmla="*/ 2147483647 h 175"/>
                    <a:gd name="T78" fmla="*/ 2147483647 w 152"/>
                    <a:gd name="T79" fmla="*/ 2147483647 h 175"/>
                    <a:gd name="T80" fmla="*/ 2147483647 w 152"/>
                    <a:gd name="T81" fmla="*/ 2147483647 h 175"/>
                    <a:gd name="T82" fmla="*/ 2147483647 w 152"/>
                    <a:gd name="T83" fmla="*/ 2147483647 h 175"/>
                    <a:gd name="T84" fmla="*/ 2147483647 w 152"/>
                    <a:gd name="T85" fmla="*/ 2147483647 h 175"/>
                    <a:gd name="T86" fmla="*/ 2147483647 w 152"/>
                    <a:gd name="T87" fmla="*/ 2147483647 h 175"/>
                    <a:gd name="T88" fmla="*/ 2147483647 w 152"/>
                    <a:gd name="T89" fmla="*/ 2147483647 h 175"/>
                    <a:gd name="T90" fmla="*/ 2147483647 w 152"/>
                    <a:gd name="T91" fmla="*/ 2147483647 h 175"/>
                    <a:gd name="T92" fmla="*/ 2147483647 w 152"/>
                    <a:gd name="T93" fmla="*/ 2147483647 h 175"/>
                    <a:gd name="T94" fmla="*/ 2147483647 w 152"/>
                    <a:gd name="T95" fmla="*/ 2147483647 h 175"/>
                    <a:gd name="T96" fmla="*/ 2147483647 w 152"/>
                    <a:gd name="T97" fmla="*/ 2147483647 h 175"/>
                    <a:gd name="T98" fmla="*/ 2147483647 w 152"/>
                    <a:gd name="T99" fmla="*/ 2147483647 h 175"/>
                    <a:gd name="T100" fmla="*/ 2147483647 w 152"/>
                    <a:gd name="T101" fmla="*/ 2147483647 h 175"/>
                    <a:gd name="T102" fmla="*/ 2147483647 w 152"/>
                    <a:gd name="T103" fmla="*/ 2147483647 h 175"/>
                    <a:gd name="T104" fmla="*/ 2147483647 w 152"/>
                    <a:gd name="T105" fmla="*/ 2147483647 h 175"/>
                    <a:gd name="T106" fmla="*/ 2147483647 w 152"/>
                    <a:gd name="T107" fmla="*/ 0 h 175"/>
                    <a:gd name="T108" fmla="*/ 2147483647 w 152"/>
                    <a:gd name="T109" fmla="*/ 2147483647 h 175"/>
                    <a:gd name="T110" fmla="*/ 2147483647 w 152"/>
                    <a:gd name="T111" fmla="*/ 2147483647 h 175"/>
                    <a:gd name="T112" fmla="*/ 2147483647 w 152"/>
                    <a:gd name="T113" fmla="*/ 2147483647 h 175"/>
                    <a:gd name="T114" fmla="*/ 2147483647 w 152"/>
                    <a:gd name="T115" fmla="*/ 2147483647 h 175"/>
                    <a:gd name="T116" fmla="*/ 2147483647 w 152"/>
                    <a:gd name="T117" fmla="*/ 2147483647 h 175"/>
                    <a:gd name="T118" fmla="*/ 2147483647 w 152"/>
                    <a:gd name="T119" fmla="*/ 2147483647 h 175"/>
                    <a:gd name="T120" fmla="*/ 2147483647 w 152"/>
                    <a:gd name="T121" fmla="*/ 2147483647 h 1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2"/>
                    <a:gd name="T184" fmla="*/ 0 h 175"/>
                    <a:gd name="T185" fmla="*/ 152 w 152"/>
                    <a:gd name="T186" fmla="*/ 175 h 1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2" h="175">
                      <a:moveTo>
                        <a:pt x="77" y="45"/>
                      </a:moveTo>
                      <a:lnTo>
                        <a:pt x="77" y="45"/>
                      </a:lnTo>
                      <a:lnTo>
                        <a:pt x="80" y="51"/>
                      </a:lnTo>
                      <a:lnTo>
                        <a:pt x="81" y="57"/>
                      </a:lnTo>
                      <a:lnTo>
                        <a:pt x="81" y="64"/>
                      </a:lnTo>
                      <a:lnTo>
                        <a:pt x="81" y="70"/>
                      </a:lnTo>
                      <a:lnTo>
                        <a:pt x="77" y="83"/>
                      </a:lnTo>
                      <a:lnTo>
                        <a:pt x="71" y="95"/>
                      </a:lnTo>
                      <a:lnTo>
                        <a:pt x="68" y="101"/>
                      </a:lnTo>
                      <a:lnTo>
                        <a:pt x="67" y="104"/>
                      </a:lnTo>
                      <a:lnTo>
                        <a:pt x="66" y="107"/>
                      </a:lnTo>
                      <a:lnTo>
                        <a:pt x="53" y="114"/>
                      </a:lnTo>
                      <a:lnTo>
                        <a:pt x="36" y="122"/>
                      </a:lnTo>
                      <a:lnTo>
                        <a:pt x="19" y="129"/>
                      </a:lnTo>
                      <a:lnTo>
                        <a:pt x="0" y="136"/>
                      </a:lnTo>
                      <a:lnTo>
                        <a:pt x="14" y="157"/>
                      </a:lnTo>
                      <a:lnTo>
                        <a:pt x="20" y="167"/>
                      </a:lnTo>
                      <a:lnTo>
                        <a:pt x="29" y="175"/>
                      </a:lnTo>
                      <a:lnTo>
                        <a:pt x="33" y="174"/>
                      </a:lnTo>
                      <a:lnTo>
                        <a:pt x="36" y="173"/>
                      </a:lnTo>
                      <a:lnTo>
                        <a:pt x="45" y="171"/>
                      </a:lnTo>
                      <a:lnTo>
                        <a:pt x="50" y="170"/>
                      </a:lnTo>
                      <a:lnTo>
                        <a:pt x="52" y="168"/>
                      </a:lnTo>
                      <a:lnTo>
                        <a:pt x="54" y="165"/>
                      </a:lnTo>
                      <a:lnTo>
                        <a:pt x="58" y="164"/>
                      </a:lnTo>
                      <a:lnTo>
                        <a:pt x="63" y="164"/>
                      </a:lnTo>
                      <a:lnTo>
                        <a:pt x="67" y="164"/>
                      </a:lnTo>
                      <a:lnTo>
                        <a:pt x="71" y="162"/>
                      </a:lnTo>
                      <a:lnTo>
                        <a:pt x="76" y="159"/>
                      </a:lnTo>
                      <a:lnTo>
                        <a:pt x="78" y="155"/>
                      </a:lnTo>
                      <a:lnTo>
                        <a:pt x="78" y="151"/>
                      </a:lnTo>
                      <a:lnTo>
                        <a:pt x="81" y="149"/>
                      </a:lnTo>
                      <a:lnTo>
                        <a:pt x="83" y="148"/>
                      </a:lnTo>
                      <a:lnTo>
                        <a:pt x="89" y="147"/>
                      </a:lnTo>
                      <a:lnTo>
                        <a:pt x="95" y="147"/>
                      </a:lnTo>
                      <a:lnTo>
                        <a:pt x="97" y="147"/>
                      </a:lnTo>
                      <a:lnTo>
                        <a:pt x="99" y="146"/>
                      </a:lnTo>
                      <a:lnTo>
                        <a:pt x="100" y="140"/>
                      </a:lnTo>
                      <a:lnTo>
                        <a:pt x="100" y="136"/>
                      </a:lnTo>
                      <a:lnTo>
                        <a:pt x="101" y="133"/>
                      </a:lnTo>
                      <a:lnTo>
                        <a:pt x="106" y="129"/>
                      </a:lnTo>
                      <a:lnTo>
                        <a:pt x="110" y="128"/>
                      </a:lnTo>
                      <a:lnTo>
                        <a:pt x="113" y="128"/>
                      </a:lnTo>
                      <a:lnTo>
                        <a:pt x="115" y="127"/>
                      </a:lnTo>
                      <a:lnTo>
                        <a:pt x="116" y="126"/>
                      </a:lnTo>
                      <a:lnTo>
                        <a:pt x="116" y="123"/>
                      </a:lnTo>
                      <a:lnTo>
                        <a:pt x="116" y="115"/>
                      </a:lnTo>
                      <a:lnTo>
                        <a:pt x="115" y="108"/>
                      </a:lnTo>
                      <a:lnTo>
                        <a:pt x="115" y="104"/>
                      </a:lnTo>
                      <a:lnTo>
                        <a:pt x="115" y="101"/>
                      </a:lnTo>
                      <a:lnTo>
                        <a:pt x="118" y="97"/>
                      </a:lnTo>
                      <a:lnTo>
                        <a:pt x="120" y="95"/>
                      </a:lnTo>
                      <a:lnTo>
                        <a:pt x="122" y="94"/>
                      </a:lnTo>
                      <a:lnTo>
                        <a:pt x="123" y="94"/>
                      </a:lnTo>
                      <a:lnTo>
                        <a:pt x="125" y="96"/>
                      </a:lnTo>
                      <a:lnTo>
                        <a:pt x="128" y="98"/>
                      </a:lnTo>
                      <a:lnTo>
                        <a:pt x="132" y="101"/>
                      </a:lnTo>
                      <a:lnTo>
                        <a:pt x="134" y="101"/>
                      </a:lnTo>
                      <a:lnTo>
                        <a:pt x="137" y="100"/>
                      </a:lnTo>
                      <a:lnTo>
                        <a:pt x="137" y="97"/>
                      </a:lnTo>
                      <a:lnTo>
                        <a:pt x="137" y="95"/>
                      </a:lnTo>
                      <a:lnTo>
                        <a:pt x="137" y="87"/>
                      </a:lnTo>
                      <a:lnTo>
                        <a:pt x="138" y="83"/>
                      </a:lnTo>
                      <a:lnTo>
                        <a:pt x="142" y="78"/>
                      </a:lnTo>
                      <a:lnTo>
                        <a:pt x="148" y="70"/>
                      </a:lnTo>
                      <a:lnTo>
                        <a:pt x="149" y="68"/>
                      </a:lnTo>
                      <a:lnTo>
                        <a:pt x="149" y="65"/>
                      </a:lnTo>
                      <a:lnTo>
                        <a:pt x="149" y="63"/>
                      </a:lnTo>
                      <a:lnTo>
                        <a:pt x="151" y="60"/>
                      </a:lnTo>
                      <a:lnTo>
                        <a:pt x="152" y="57"/>
                      </a:lnTo>
                      <a:lnTo>
                        <a:pt x="151" y="55"/>
                      </a:lnTo>
                      <a:lnTo>
                        <a:pt x="146" y="50"/>
                      </a:lnTo>
                      <a:lnTo>
                        <a:pt x="139" y="45"/>
                      </a:lnTo>
                      <a:lnTo>
                        <a:pt x="135" y="39"/>
                      </a:lnTo>
                      <a:lnTo>
                        <a:pt x="132" y="34"/>
                      </a:lnTo>
                      <a:lnTo>
                        <a:pt x="129" y="27"/>
                      </a:lnTo>
                      <a:lnTo>
                        <a:pt x="128" y="26"/>
                      </a:lnTo>
                      <a:lnTo>
                        <a:pt x="127" y="26"/>
                      </a:lnTo>
                      <a:lnTo>
                        <a:pt x="124" y="25"/>
                      </a:lnTo>
                      <a:lnTo>
                        <a:pt x="115" y="24"/>
                      </a:lnTo>
                      <a:lnTo>
                        <a:pt x="106" y="20"/>
                      </a:lnTo>
                      <a:lnTo>
                        <a:pt x="102" y="18"/>
                      </a:lnTo>
                      <a:lnTo>
                        <a:pt x="99" y="15"/>
                      </a:lnTo>
                      <a:lnTo>
                        <a:pt x="96" y="12"/>
                      </a:lnTo>
                      <a:lnTo>
                        <a:pt x="95" y="7"/>
                      </a:lnTo>
                      <a:lnTo>
                        <a:pt x="95" y="4"/>
                      </a:lnTo>
                      <a:lnTo>
                        <a:pt x="95" y="0"/>
                      </a:lnTo>
                      <a:lnTo>
                        <a:pt x="91" y="1"/>
                      </a:lnTo>
                      <a:lnTo>
                        <a:pt x="89" y="2"/>
                      </a:lnTo>
                      <a:lnTo>
                        <a:pt x="85" y="6"/>
                      </a:lnTo>
                      <a:lnTo>
                        <a:pt x="83" y="8"/>
                      </a:lnTo>
                      <a:lnTo>
                        <a:pt x="82" y="12"/>
                      </a:lnTo>
                      <a:lnTo>
                        <a:pt x="83" y="18"/>
                      </a:lnTo>
                      <a:lnTo>
                        <a:pt x="86" y="23"/>
                      </a:lnTo>
                      <a:lnTo>
                        <a:pt x="86" y="28"/>
                      </a:lnTo>
                      <a:lnTo>
                        <a:pt x="85" y="34"/>
                      </a:lnTo>
                      <a:lnTo>
                        <a:pt x="77" y="4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2" name="Freeform 685"/>
                <p:cNvSpPr>
                  <a:spLocks/>
                </p:cNvSpPr>
                <p:nvPr/>
              </p:nvSpPr>
              <p:spPr bwMode="auto">
                <a:xfrm>
                  <a:off x="4255633" y="4266155"/>
                  <a:ext cx="173145" cy="145027"/>
                </a:xfrm>
                <a:custGeom>
                  <a:avLst/>
                  <a:gdLst>
                    <a:gd name="T0" fmla="*/ 2147483647 w 126"/>
                    <a:gd name="T1" fmla="*/ 2147483647 h 98"/>
                    <a:gd name="T2" fmla="*/ 2147483647 w 126"/>
                    <a:gd name="T3" fmla="*/ 2147483647 h 98"/>
                    <a:gd name="T4" fmla="*/ 2147483647 w 126"/>
                    <a:gd name="T5" fmla="*/ 2147483647 h 98"/>
                    <a:gd name="T6" fmla="*/ 2147483647 w 126"/>
                    <a:gd name="T7" fmla="*/ 2147483647 h 98"/>
                    <a:gd name="T8" fmla="*/ 2147483647 w 126"/>
                    <a:gd name="T9" fmla="*/ 0 h 98"/>
                    <a:gd name="T10" fmla="*/ 2147483647 w 126"/>
                    <a:gd name="T11" fmla="*/ 0 h 98"/>
                    <a:gd name="T12" fmla="*/ 2147483647 w 126"/>
                    <a:gd name="T13" fmla="*/ 2147483647 h 98"/>
                    <a:gd name="T14" fmla="*/ 2147483647 w 126"/>
                    <a:gd name="T15" fmla="*/ 2147483647 h 98"/>
                    <a:gd name="T16" fmla="*/ 2147483647 w 126"/>
                    <a:gd name="T17" fmla="*/ 2147483647 h 98"/>
                    <a:gd name="T18" fmla="*/ 2147483647 w 126"/>
                    <a:gd name="T19" fmla="*/ 2147483647 h 98"/>
                    <a:gd name="T20" fmla="*/ 2147483647 w 126"/>
                    <a:gd name="T21" fmla="*/ 2147483647 h 98"/>
                    <a:gd name="T22" fmla="*/ 2147483647 w 126"/>
                    <a:gd name="T23" fmla="*/ 2147483647 h 98"/>
                    <a:gd name="T24" fmla="*/ 2147483647 w 126"/>
                    <a:gd name="T25" fmla="*/ 2147483647 h 98"/>
                    <a:gd name="T26" fmla="*/ 2147483647 w 126"/>
                    <a:gd name="T27" fmla="*/ 2147483647 h 98"/>
                    <a:gd name="T28" fmla="*/ 2147483647 w 126"/>
                    <a:gd name="T29" fmla="*/ 2147483647 h 98"/>
                    <a:gd name="T30" fmla="*/ 2147483647 w 126"/>
                    <a:gd name="T31" fmla="*/ 2147483647 h 98"/>
                    <a:gd name="T32" fmla="*/ 2147483647 w 126"/>
                    <a:gd name="T33" fmla="*/ 2147483647 h 98"/>
                    <a:gd name="T34" fmla="*/ 2147483647 w 126"/>
                    <a:gd name="T35" fmla="*/ 2147483647 h 98"/>
                    <a:gd name="T36" fmla="*/ 2147483647 w 126"/>
                    <a:gd name="T37" fmla="*/ 2147483647 h 98"/>
                    <a:gd name="T38" fmla="*/ 2147483647 w 126"/>
                    <a:gd name="T39" fmla="*/ 2147483647 h 98"/>
                    <a:gd name="T40" fmla="*/ 2147483647 w 126"/>
                    <a:gd name="T41" fmla="*/ 2147483647 h 98"/>
                    <a:gd name="T42" fmla="*/ 2147483647 w 126"/>
                    <a:gd name="T43" fmla="*/ 2147483647 h 98"/>
                    <a:gd name="T44" fmla="*/ 2147483647 w 126"/>
                    <a:gd name="T45" fmla="*/ 2147483647 h 98"/>
                    <a:gd name="T46" fmla="*/ 2147483647 w 126"/>
                    <a:gd name="T47" fmla="*/ 2147483647 h 98"/>
                    <a:gd name="T48" fmla="*/ 2147483647 w 126"/>
                    <a:gd name="T49" fmla="*/ 2147483647 h 98"/>
                    <a:gd name="T50" fmla="*/ 2147483647 w 126"/>
                    <a:gd name="T51" fmla="*/ 2147483647 h 98"/>
                    <a:gd name="T52" fmla="*/ 2147483647 w 126"/>
                    <a:gd name="T53" fmla="*/ 2147483647 h 98"/>
                    <a:gd name="T54" fmla="*/ 2147483647 w 126"/>
                    <a:gd name="T55" fmla="*/ 2147483647 h 98"/>
                    <a:gd name="T56" fmla="*/ 2147483647 w 126"/>
                    <a:gd name="T57" fmla="*/ 2147483647 h 98"/>
                    <a:gd name="T58" fmla="*/ 2147483647 w 126"/>
                    <a:gd name="T59" fmla="*/ 2147483647 h 98"/>
                    <a:gd name="T60" fmla="*/ 2147483647 w 126"/>
                    <a:gd name="T61" fmla="*/ 2147483647 h 98"/>
                    <a:gd name="T62" fmla="*/ 2147483647 w 126"/>
                    <a:gd name="T63" fmla="*/ 2147483647 h 98"/>
                    <a:gd name="T64" fmla="*/ 2147483647 w 126"/>
                    <a:gd name="T65" fmla="*/ 2147483647 h 98"/>
                    <a:gd name="T66" fmla="*/ 2147483647 w 126"/>
                    <a:gd name="T67" fmla="*/ 2147483647 h 98"/>
                    <a:gd name="T68" fmla="*/ 2147483647 w 126"/>
                    <a:gd name="T69" fmla="*/ 2147483647 h 98"/>
                    <a:gd name="T70" fmla="*/ 2147483647 w 126"/>
                    <a:gd name="T71" fmla="*/ 2147483647 h 98"/>
                    <a:gd name="T72" fmla="*/ 2147483647 w 126"/>
                    <a:gd name="T73" fmla="*/ 2147483647 h 98"/>
                    <a:gd name="T74" fmla="*/ 2147483647 w 126"/>
                    <a:gd name="T75" fmla="*/ 2147483647 h 98"/>
                    <a:gd name="T76" fmla="*/ 2147483647 w 126"/>
                    <a:gd name="T77" fmla="*/ 2147483647 h 98"/>
                    <a:gd name="T78" fmla="*/ 2147483647 w 126"/>
                    <a:gd name="T79" fmla="*/ 2147483647 h 98"/>
                    <a:gd name="T80" fmla="*/ 2147483647 w 126"/>
                    <a:gd name="T81" fmla="*/ 2147483647 h 98"/>
                    <a:gd name="T82" fmla="*/ 2147483647 w 126"/>
                    <a:gd name="T83" fmla="*/ 2147483647 h 98"/>
                    <a:gd name="T84" fmla="*/ 2147483647 w 126"/>
                    <a:gd name="T85" fmla="*/ 2147483647 h 98"/>
                    <a:gd name="T86" fmla="*/ 0 w 126"/>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
                    <a:gd name="T133" fmla="*/ 0 h 98"/>
                    <a:gd name="T134" fmla="*/ 126 w 126"/>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 h="98">
                      <a:moveTo>
                        <a:pt x="0" y="32"/>
                      </a:moveTo>
                      <a:lnTo>
                        <a:pt x="0" y="32"/>
                      </a:lnTo>
                      <a:lnTo>
                        <a:pt x="5" y="29"/>
                      </a:lnTo>
                      <a:lnTo>
                        <a:pt x="11" y="24"/>
                      </a:lnTo>
                      <a:lnTo>
                        <a:pt x="24" y="18"/>
                      </a:lnTo>
                      <a:lnTo>
                        <a:pt x="22" y="15"/>
                      </a:lnTo>
                      <a:lnTo>
                        <a:pt x="20" y="10"/>
                      </a:lnTo>
                      <a:lnTo>
                        <a:pt x="20" y="2"/>
                      </a:lnTo>
                      <a:lnTo>
                        <a:pt x="27" y="3"/>
                      </a:lnTo>
                      <a:lnTo>
                        <a:pt x="33" y="4"/>
                      </a:lnTo>
                      <a:lnTo>
                        <a:pt x="39" y="4"/>
                      </a:lnTo>
                      <a:lnTo>
                        <a:pt x="53" y="0"/>
                      </a:lnTo>
                      <a:lnTo>
                        <a:pt x="56" y="0"/>
                      </a:lnTo>
                      <a:lnTo>
                        <a:pt x="60" y="2"/>
                      </a:lnTo>
                      <a:lnTo>
                        <a:pt x="63" y="3"/>
                      </a:lnTo>
                      <a:lnTo>
                        <a:pt x="70" y="4"/>
                      </a:lnTo>
                      <a:lnTo>
                        <a:pt x="75" y="3"/>
                      </a:lnTo>
                      <a:lnTo>
                        <a:pt x="80" y="3"/>
                      </a:lnTo>
                      <a:lnTo>
                        <a:pt x="86" y="4"/>
                      </a:lnTo>
                      <a:lnTo>
                        <a:pt x="89" y="4"/>
                      </a:lnTo>
                      <a:lnTo>
                        <a:pt x="91" y="6"/>
                      </a:lnTo>
                      <a:lnTo>
                        <a:pt x="94" y="10"/>
                      </a:lnTo>
                      <a:lnTo>
                        <a:pt x="95" y="14"/>
                      </a:lnTo>
                      <a:lnTo>
                        <a:pt x="95" y="16"/>
                      </a:lnTo>
                      <a:lnTo>
                        <a:pt x="94" y="21"/>
                      </a:lnTo>
                      <a:lnTo>
                        <a:pt x="93" y="23"/>
                      </a:lnTo>
                      <a:lnTo>
                        <a:pt x="94" y="25"/>
                      </a:lnTo>
                      <a:lnTo>
                        <a:pt x="96" y="28"/>
                      </a:lnTo>
                      <a:lnTo>
                        <a:pt x="100" y="29"/>
                      </a:lnTo>
                      <a:lnTo>
                        <a:pt x="100" y="30"/>
                      </a:lnTo>
                      <a:lnTo>
                        <a:pt x="100" y="31"/>
                      </a:lnTo>
                      <a:lnTo>
                        <a:pt x="98" y="35"/>
                      </a:lnTo>
                      <a:lnTo>
                        <a:pt x="94" y="37"/>
                      </a:lnTo>
                      <a:lnTo>
                        <a:pt x="93" y="38"/>
                      </a:lnTo>
                      <a:lnTo>
                        <a:pt x="91" y="40"/>
                      </a:lnTo>
                      <a:lnTo>
                        <a:pt x="91" y="43"/>
                      </a:lnTo>
                      <a:lnTo>
                        <a:pt x="94" y="44"/>
                      </a:lnTo>
                      <a:lnTo>
                        <a:pt x="98" y="46"/>
                      </a:lnTo>
                      <a:lnTo>
                        <a:pt x="103" y="47"/>
                      </a:lnTo>
                      <a:lnTo>
                        <a:pt x="113" y="47"/>
                      </a:lnTo>
                      <a:lnTo>
                        <a:pt x="114" y="47"/>
                      </a:lnTo>
                      <a:lnTo>
                        <a:pt x="116" y="48"/>
                      </a:lnTo>
                      <a:lnTo>
                        <a:pt x="117" y="53"/>
                      </a:lnTo>
                      <a:lnTo>
                        <a:pt x="118" y="56"/>
                      </a:lnTo>
                      <a:lnTo>
                        <a:pt x="119" y="57"/>
                      </a:lnTo>
                      <a:lnTo>
                        <a:pt x="121" y="57"/>
                      </a:lnTo>
                      <a:lnTo>
                        <a:pt x="123" y="57"/>
                      </a:lnTo>
                      <a:lnTo>
                        <a:pt x="126" y="59"/>
                      </a:lnTo>
                      <a:lnTo>
                        <a:pt x="123" y="67"/>
                      </a:lnTo>
                      <a:lnTo>
                        <a:pt x="122" y="76"/>
                      </a:lnTo>
                      <a:lnTo>
                        <a:pt x="121" y="76"/>
                      </a:lnTo>
                      <a:lnTo>
                        <a:pt x="119" y="76"/>
                      </a:lnTo>
                      <a:lnTo>
                        <a:pt x="117" y="76"/>
                      </a:lnTo>
                      <a:lnTo>
                        <a:pt x="116" y="76"/>
                      </a:lnTo>
                      <a:lnTo>
                        <a:pt x="114" y="78"/>
                      </a:lnTo>
                      <a:lnTo>
                        <a:pt x="114" y="80"/>
                      </a:lnTo>
                      <a:lnTo>
                        <a:pt x="116" y="82"/>
                      </a:lnTo>
                      <a:lnTo>
                        <a:pt x="118" y="86"/>
                      </a:lnTo>
                      <a:lnTo>
                        <a:pt x="118" y="87"/>
                      </a:lnTo>
                      <a:lnTo>
                        <a:pt x="117" y="88"/>
                      </a:lnTo>
                      <a:lnTo>
                        <a:pt x="114" y="92"/>
                      </a:lnTo>
                      <a:lnTo>
                        <a:pt x="109" y="94"/>
                      </a:lnTo>
                      <a:lnTo>
                        <a:pt x="109" y="92"/>
                      </a:lnTo>
                      <a:lnTo>
                        <a:pt x="107" y="92"/>
                      </a:lnTo>
                      <a:lnTo>
                        <a:pt x="104" y="94"/>
                      </a:lnTo>
                      <a:lnTo>
                        <a:pt x="102" y="96"/>
                      </a:lnTo>
                      <a:lnTo>
                        <a:pt x="100" y="98"/>
                      </a:lnTo>
                      <a:lnTo>
                        <a:pt x="98" y="98"/>
                      </a:lnTo>
                      <a:lnTo>
                        <a:pt x="95" y="96"/>
                      </a:lnTo>
                      <a:lnTo>
                        <a:pt x="94" y="94"/>
                      </a:lnTo>
                      <a:lnTo>
                        <a:pt x="93" y="89"/>
                      </a:lnTo>
                      <a:lnTo>
                        <a:pt x="93" y="83"/>
                      </a:lnTo>
                      <a:lnTo>
                        <a:pt x="93" y="81"/>
                      </a:lnTo>
                      <a:lnTo>
                        <a:pt x="91" y="80"/>
                      </a:lnTo>
                      <a:lnTo>
                        <a:pt x="89" y="80"/>
                      </a:lnTo>
                      <a:lnTo>
                        <a:pt x="86" y="81"/>
                      </a:lnTo>
                      <a:lnTo>
                        <a:pt x="82" y="82"/>
                      </a:lnTo>
                      <a:lnTo>
                        <a:pt x="80" y="82"/>
                      </a:lnTo>
                      <a:lnTo>
                        <a:pt x="79" y="82"/>
                      </a:lnTo>
                      <a:lnTo>
                        <a:pt x="76" y="80"/>
                      </a:lnTo>
                      <a:lnTo>
                        <a:pt x="70" y="67"/>
                      </a:lnTo>
                      <a:lnTo>
                        <a:pt x="67" y="61"/>
                      </a:lnTo>
                      <a:lnTo>
                        <a:pt x="62" y="56"/>
                      </a:lnTo>
                      <a:lnTo>
                        <a:pt x="58" y="53"/>
                      </a:lnTo>
                      <a:lnTo>
                        <a:pt x="55" y="51"/>
                      </a:lnTo>
                      <a:lnTo>
                        <a:pt x="51" y="50"/>
                      </a:lnTo>
                      <a:lnTo>
                        <a:pt x="46" y="51"/>
                      </a:lnTo>
                      <a:lnTo>
                        <a:pt x="42" y="53"/>
                      </a:lnTo>
                      <a:lnTo>
                        <a:pt x="37" y="54"/>
                      </a:lnTo>
                      <a:lnTo>
                        <a:pt x="30" y="60"/>
                      </a:lnTo>
                      <a:lnTo>
                        <a:pt x="25" y="59"/>
                      </a:lnTo>
                      <a:lnTo>
                        <a:pt x="20" y="56"/>
                      </a:lnTo>
                      <a:lnTo>
                        <a:pt x="16" y="51"/>
                      </a:lnTo>
                      <a:lnTo>
                        <a:pt x="15" y="50"/>
                      </a:lnTo>
                      <a:lnTo>
                        <a:pt x="13" y="49"/>
                      </a:lnTo>
                      <a:lnTo>
                        <a:pt x="9" y="47"/>
                      </a:lnTo>
                      <a:lnTo>
                        <a:pt x="6" y="46"/>
                      </a:lnTo>
                      <a:lnTo>
                        <a:pt x="4" y="41"/>
                      </a:lnTo>
                      <a:lnTo>
                        <a:pt x="4" y="37"/>
                      </a:lnTo>
                      <a:lnTo>
                        <a:pt x="1" y="34"/>
                      </a:lnTo>
                      <a:lnTo>
                        <a:pt x="0" y="3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3" name="Freeform 726"/>
                <p:cNvSpPr>
                  <a:spLocks/>
                </p:cNvSpPr>
                <p:nvPr/>
              </p:nvSpPr>
              <p:spPr bwMode="auto">
                <a:xfrm>
                  <a:off x="4889020" y="5114119"/>
                  <a:ext cx="327051" cy="358129"/>
                </a:xfrm>
                <a:custGeom>
                  <a:avLst/>
                  <a:gdLst>
                    <a:gd name="T0" fmla="*/ 2147483647 w 240"/>
                    <a:gd name="T1" fmla="*/ 2147483647 h 242"/>
                    <a:gd name="T2" fmla="*/ 2147483647 w 240"/>
                    <a:gd name="T3" fmla="*/ 2147483647 h 242"/>
                    <a:gd name="T4" fmla="*/ 2147483647 w 240"/>
                    <a:gd name="T5" fmla="*/ 2147483647 h 242"/>
                    <a:gd name="T6" fmla="*/ 2147483647 w 240"/>
                    <a:gd name="T7" fmla="*/ 2147483647 h 242"/>
                    <a:gd name="T8" fmla="*/ 2147483647 w 240"/>
                    <a:gd name="T9" fmla="*/ 0 h 242"/>
                    <a:gd name="T10" fmla="*/ 2147483647 w 240"/>
                    <a:gd name="T11" fmla="*/ 0 h 242"/>
                    <a:gd name="T12" fmla="*/ 2147483647 w 240"/>
                    <a:gd name="T13" fmla="*/ 2147483647 h 242"/>
                    <a:gd name="T14" fmla="*/ 2147483647 w 240"/>
                    <a:gd name="T15" fmla="*/ 2147483647 h 242"/>
                    <a:gd name="T16" fmla="*/ 2147483647 w 240"/>
                    <a:gd name="T17" fmla="*/ 2147483647 h 242"/>
                    <a:gd name="T18" fmla="*/ 2147483647 w 240"/>
                    <a:gd name="T19" fmla="*/ 2147483647 h 242"/>
                    <a:gd name="T20" fmla="*/ 2147483647 w 240"/>
                    <a:gd name="T21" fmla="*/ 2147483647 h 242"/>
                    <a:gd name="T22" fmla="*/ 2147483647 w 240"/>
                    <a:gd name="T23" fmla="*/ 2147483647 h 242"/>
                    <a:gd name="T24" fmla="*/ 2147483647 w 240"/>
                    <a:gd name="T25" fmla="*/ 2147483647 h 242"/>
                    <a:gd name="T26" fmla="*/ 2147483647 w 240"/>
                    <a:gd name="T27" fmla="*/ 2147483647 h 242"/>
                    <a:gd name="T28" fmla="*/ 2147483647 w 240"/>
                    <a:gd name="T29" fmla="*/ 2147483647 h 242"/>
                    <a:gd name="T30" fmla="*/ 2147483647 w 240"/>
                    <a:gd name="T31" fmla="*/ 2147483647 h 242"/>
                    <a:gd name="T32" fmla="*/ 2147483647 w 240"/>
                    <a:gd name="T33" fmla="*/ 2147483647 h 242"/>
                    <a:gd name="T34" fmla="*/ 2147483647 w 240"/>
                    <a:gd name="T35" fmla="*/ 2147483647 h 242"/>
                    <a:gd name="T36" fmla="*/ 2147483647 w 240"/>
                    <a:gd name="T37" fmla="*/ 2147483647 h 242"/>
                    <a:gd name="T38" fmla="*/ 2147483647 w 240"/>
                    <a:gd name="T39" fmla="*/ 2147483647 h 242"/>
                    <a:gd name="T40" fmla="*/ 2147483647 w 240"/>
                    <a:gd name="T41" fmla="*/ 2147483647 h 242"/>
                    <a:gd name="T42" fmla="*/ 2147483647 w 240"/>
                    <a:gd name="T43" fmla="*/ 2147483647 h 242"/>
                    <a:gd name="T44" fmla="*/ 2147483647 w 240"/>
                    <a:gd name="T45" fmla="*/ 2147483647 h 242"/>
                    <a:gd name="T46" fmla="*/ 2147483647 w 240"/>
                    <a:gd name="T47" fmla="*/ 2147483647 h 242"/>
                    <a:gd name="T48" fmla="*/ 2147483647 w 240"/>
                    <a:gd name="T49" fmla="*/ 2147483647 h 242"/>
                    <a:gd name="T50" fmla="*/ 2147483647 w 240"/>
                    <a:gd name="T51" fmla="*/ 2147483647 h 242"/>
                    <a:gd name="T52" fmla="*/ 2147483647 w 240"/>
                    <a:gd name="T53" fmla="*/ 2147483647 h 242"/>
                    <a:gd name="T54" fmla="*/ 2147483647 w 240"/>
                    <a:gd name="T55" fmla="*/ 2147483647 h 242"/>
                    <a:gd name="T56" fmla="*/ 2147483647 w 240"/>
                    <a:gd name="T57" fmla="*/ 2147483647 h 242"/>
                    <a:gd name="T58" fmla="*/ 2147483647 w 240"/>
                    <a:gd name="T59" fmla="*/ 2147483647 h 242"/>
                    <a:gd name="T60" fmla="*/ 2147483647 w 240"/>
                    <a:gd name="T61" fmla="*/ 2147483647 h 242"/>
                    <a:gd name="T62" fmla="*/ 2147483647 w 240"/>
                    <a:gd name="T63" fmla="*/ 2147483647 h 242"/>
                    <a:gd name="T64" fmla="*/ 2147483647 w 240"/>
                    <a:gd name="T65" fmla="*/ 2147483647 h 242"/>
                    <a:gd name="T66" fmla="*/ 2147483647 w 240"/>
                    <a:gd name="T67" fmla="*/ 2147483647 h 242"/>
                    <a:gd name="T68" fmla="*/ 2147483647 w 240"/>
                    <a:gd name="T69" fmla="*/ 2147483647 h 242"/>
                    <a:gd name="T70" fmla="*/ 2147483647 w 240"/>
                    <a:gd name="T71" fmla="*/ 2147483647 h 242"/>
                    <a:gd name="T72" fmla="*/ 2147483647 w 240"/>
                    <a:gd name="T73" fmla="*/ 2147483647 h 242"/>
                    <a:gd name="T74" fmla="*/ 2147483647 w 240"/>
                    <a:gd name="T75" fmla="*/ 2147483647 h 242"/>
                    <a:gd name="T76" fmla="*/ 2147483647 w 240"/>
                    <a:gd name="T77" fmla="*/ 2147483647 h 242"/>
                    <a:gd name="T78" fmla="*/ 2147483647 w 240"/>
                    <a:gd name="T79" fmla="*/ 2147483647 h 242"/>
                    <a:gd name="T80" fmla="*/ 2147483647 w 240"/>
                    <a:gd name="T81" fmla="*/ 2147483647 h 242"/>
                    <a:gd name="T82" fmla="*/ 2147483647 w 240"/>
                    <a:gd name="T83" fmla="*/ 2147483647 h 242"/>
                    <a:gd name="T84" fmla="*/ 2147483647 w 240"/>
                    <a:gd name="T85" fmla="*/ 2147483647 h 242"/>
                    <a:gd name="T86" fmla="*/ 2147483647 w 240"/>
                    <a:gd name="T87" fmla="*/ 2147483647 h 242"/>
                    <a:gd name="T88" fmla="*/ 2147483647 w 240"/>
                    <a:gd name="T89" fmla="*/ 2147483647 h 242"/>
                    <a:gd name="T90" fmla="*/ 2147483647 w 240"/>
                    <a:gd name="T91" fmla="*/ 2147483647 h 242"/>
                    <a:gd name="T92" fmla="*/ 2147483647 w 240"/>
                    <a:gd name="T93" fmla="*/ 2147483647 h 242"/>
                    <a:gd name="T94" fmla="*/ 2147483647 w 240"/>
                    <a:gd name="T95" fmla="*/ 2147483647 h 242"/>
                    <a:gd name="T96" fmla="*/ 2147483647 w 240"/>
                    <a:gd name="T97" fmla="*/ 2147483647 h 242"/>
                    <a:gd name="T98" fmla="*/ 2147483647 w 240"/>
                    <a:gd name="T99" fmla="*/ 2147483647 h 242"/>
                    <a:gd name="T100" fmla="*/ 2147483647 w 240"/>
                    <a:gd name="T101" fmla="*/ 2147483647 h 2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0"/>
                    <a:gd name="T154" fmla="*/ 0 h 242"/>
                    <a:gd name="T155" fmla="*/ 240 w 240"/>
                    <a:gd name="T156" fmla="*/ 242 h 2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0" h="242">
                      <a:moveTo>
                        <a:pt x="7" y="4"/>
                      </a:moveTo>
                      <a:lnTo>
                        <a:pt x="7" y="4"/>
                      </a:lnTo>
                      <a:lnTo>
                        <a:pt x="12" y="1"/>
                      </a:lnTo>
                      <a:lnTo>
                        <a:pt x="14" y="0"/>
                      </a:lnTo>
                      <a:lnTo>
                        <a:pt x="17" y="1"/>
                      </a:lnTo>
                      <a:lnTo>
                        <a:pt x="19" y="4"/>
                      </a:lnTo>
                      <a:lnTo>
                        <a:pt x="21" y="6"/>
                      </a:lnTo>
                      <a:lnTo>
                        <a:pt x="23" y="7"/>
                      </a:lnTo>
                      <a:lnTo>
                        <a:pt x="25" y="7"/>
                      </a:lnTo>
                      <a:lnTo>
                        <a:pt x="26" y="6"/>
                      </a:lnTo>
                      <a:lnTo>
                        <a:pt x="27" y="4"/>
                      </a:lnTo>
                      <a:lnTo>
                        <a:pt x="28" y="1"/>
                      </a:lnTo>
                      <a:lnTo>
                        <a:pt x="30" y="0"/>
                      </a:lnTo>
                      <a:lnTo>
                        <a:pt x="33" y="0"/>
                      </a:lnTo>
                      <a:lnTo>
                        <a:pt x="37" y="0"/>
                      </a:lnTo>
                      <a:lnTo>
                        <a:pt x="45" y="2"/>
                      </a:lnTo>
                      <a:lnTo>
                        <a:pt x="64" y="5"/>
                      </a:lnTo>
                      <a:lnTo>
                        <a:pt x="83" y="5"/>
                      </a:lnTo>
                      <a:lnTo>
                        <a:pt x="102" y="5"/>
                      </a:lnTo>
                      <a:lnTo>
                        <a:pt x="121" y="6"/>
                      </a:lnTo>
                      <a:lnTo>
                        <a:pt x="124" y="7"/>
                      </a:lnTo>
                      <a:lnTo>
                        <a:pt x="126" y="12"/>
                      </a:lnTo>
                      <a:lnTo>
                        <a:pt x="130" y="16"/>
                      </a:lnTo>
                      <a:lnTo>
                        <a:pt x="134" y="19"/>
                      </a:lnTo>
                      <a:lnTo>
                        <a:pt x="140" y="20"/>
                      </a:lnTo>
                      <a:lnTo>
                        <a:pt x="145" y="21"/>
                      </a:lnTo>
                      <a:lnTo>
                        <a:pt x="158" y="20"/>
                      </a:lnTo>
                      <a:lnTo>
                        <a:pt x="169" y="19"/>
                      </a:lnTo>
                      <a:lnTo>
                        <a:pt x="181" y="16"/>
                      </a:lnTo>
                      <a:lnTo>
                        <a:pt x="202" y="12"/>
                      </a:lnTo>
                      <a:lnTo>
                        <a:pt x="214" y="11"/>
                      </a:lnTo>
                      <a:lnTo>
                        <a:pt x="224" y="11"/>
                      </a:lnTo>
                      <a:lnTo>
                        <a:pt x="229" y="14"/>
                      </a:lnTo>
                      <a:lnTo>
                        <a:pt x="234" y="14"/>
                      </a:lnTo>
                      <a:lnTo>
                        <a:pt x="240" y="14"/>
                      </a:lnTo>
                      <a:lnTo>
                        <a:pt x="240" y="17"/>
                      </a:lnTo>
                      <a:lnTo>
                        <a:pt x="239" y="18"/>
                      </a:lnTo>
                      <a:lnTo>
                        <a:pt x="226" y="21"/>
                      </a:lnTo>
                      <a:lnTo>
                        <a:pt x="220" y="24"/>
                      </a:lnTo>
                      <a:lnTo>
                        <a:pt x="214" y="26"/>
                      </a:lnTo>
                      <a:lnTo>
                        <a:pt x="213" y="26"/>
                      </a:lnTo>
                      <a:lnTo>
                        <a:pt x="210" y="25"/>
                      </a:lnTo>
                      <a:lnTo>
                        <a:pt x="206" y="21"/>
                      </a:lnTo>
                      <a:lnTo>
                        <a:pt x="167" y="29"/>
                      </a:lnTo>
                      <a:lnTo>
                        <a:pt x="166" y="97"/>
                      </a:lnTo>
                      <a:lnTo>
                        <a:pt x="145" y="97"/>
                      </a:lnTo>
                      <a:lnTo>
                        <a:pt x="145" y="163"/>
                      </a:lnTo>
                      <a:lnTo>
                        <a:pt x="145" y="224"/>
                      </a:lnTo>
                      <a:lnTo>
                        <a:pt x="144" y="228"/>
                      </a:lnTo>
                      <a:lnTo>
                        <a:pt x="143" y="230"/>
                      </a:lnTo>
                      <a:lnTo>
                        <a:pt x="139" y="234"/>
                      </a:lnTo>
                      <a:lnTo>
                        <a:pt x="135" y="236"/>
                      </a:lnTo>
                      <a:lnTo>
                        <a:pt x="133" y="236"/>
                      </a:lnTo>
                      <a:lnTo>
                        <a:pt x="127" y="240"/>
                      </a:lnTo>
                      <a:lnTo>
                        <a:pt x="120" y="242"/>
                      </a:lnTo>
                      <a:lnTo>
                        <a:pt x="115" y="242"/>
                      </a:lnTo>
                      <a:lnTo>
                        <a:pt x="111" y="242"/>
                      </a:lnTo>
                      <a:lnTo>
                        <a:pt x="108" y="241"/>
                      </a:lnTo>
                      <a:lnTo>
                        <a:pt x="106" y="238"/>
                      </a:lnTo>
                      <a:lnTo>
                        <a:pt x="103" y="236"/>
                      </a:lnTo>
                      <a:lnTo>
                        <a:pt x="102" y="232"/>
                      </a:lnTo>
                      <a:lnTo>
                        <a:pt x="102" y="230"/>
                      </a:lnTo>
                      <a:lnTo>
                        <a:pt x="102" y="227"/>
                      </a:lnTo>
                      <a:lnTo>
                        <a:pt x="101" y="224"/>
                      </a:lnTo>
                      <a:lnTo>
                        <a:pt x="98" y="224"/>
                      </a:lnTo>
                      <a:lnTo>
                        <a:pt x="97" y="224"/>
                      </a:lnTo>
                      <a:lnTo>
                        <a:pt x="97" y="225"/>
                      </a:lnTo>
                      <a:lnTo>
                        <a:pt x="97" y="229"/>
                      </a:lnTo>
                      <a:lnTo>
                        <a:pt x="96" y="231"/>
                      </a:lnTo>
                      <a:lnTo>
                        <a:pt x="94" y="232"/>
                      </a:lnTo>
                      <a:lnTo>
                        <a:pt x="91" y="232"/>
                      </a:lnTo>
                      <a:lnTo>
                        <a:pt x="89" y="232"/>
                      </a:lnTo>
                      <a:lnTo>
                        <a:pt x="88" y="234"/>
                      </a:lnTo>
                      <a:lnTo>
                        <a:pt x="87" y="235"/>
                      </a:lnTo>
                      <a:lnTo>
                        <a:pt x="86" y="236"/>
                      </a:lnTo>
                      <a:lnTo>
                        <a:pt x="79" y="229"/>
                      </a:lnTo>
                      <a:lnTo>
                        <a:pt x="69" y="219"/>
                      </a:lnTo>
                      <a:lnTo>
                        <a:pt x="64" y="213"/>
                      </a:lnTo>
                      <a:lnTo>
                        <a:pt x="60" y="208"/>
                      </a:lnTo>
                      <a:lnTo>
                        <a:pt x="55" y="196"/>
                      </a:lnTo>
                      <a:lnTo>
                        <a:pt x="53" y="184"/>
                      </a:lnTo>
                      <a:lnTo>
                        <a:pt x="51" y="172"/>
                      </a:lnTo>
                      <a:lnTo>
                        <a:pt x="53" y="160"/>
                      </a:lnTo>
                      <a:lnTo>
                        <a:pt x="54" y="154"/>
                      </a:lnTo>
                      <a:lnTo>
                        <a:pt x="53" y="148"/>
                      </a:lnTo>
                      <a:lnTo>
                        <a:pt x="51" y="142"/>
                      </a:lnTo>
                      <a:lnTo>
                        <a:pt x="47" y="136"/>
                      </a:lnTo>
                      <a:lnTo>
                        <a:pt x="46" y="134"/>
                      </a:lnTo>
                      <a:lnTo>
                        <a:pt x="47" y="132"/>
                      </a:lnTo>
                      <a:lnTo>
                        <a:pt x="53" y="129"/>
                      </a:lnTo>
                      <a:lnTo>
                        <a:pt x="51" y="126"/>
                      </a:lnTo>
                      <a:lnTo>
                        <a:pt x="53" y="122"/>
                      </a:lnTo>
                      <a:lnTo>
                        <a:pt x="55" y="120"/>
                      </a:lnTo>
                      <a:lnTo>
                        <a:pt x="58" y="117"/>
                      </a:lnTo>
                      <a:lnTo>
                        <a:pt x="59" y="115"/>
                      </a:lnTo>
                      <a:lnTo>
                        <a:pt x="59" y="113"/>
                      </a:lnTo>
                      <a:lnTo>
                        <a:pt x="58" y="112"/>
                      </a:lnTo>
                      <a:lnTo>
                        <a:pt x="55" y="110"/>
                      </a:lnTo>
                      <a:lnTo>
                        <a:pt x="50" y="109"/>
                      </a:lnTo>
                      <a:lnTo>
                        <a:pt x="46" y="107"/>
                      </a:lnTo>
                      <a:lnTo>
                        <a:pt x="44" y="104"/>
                      </a:lnTo>
                      <a:lnTo>
                        <a:pt x="42" y="101"/>
                      </a:lnTo>
                      <a:lnTo>
                        <a:pt x="40" y="94"/>
                      </a:lnTo>
                      <a:lnTo>
                        <a:pt x="37" y="87"/>
                      </a:lnTo>
                      <a:lnTo>
                        <a:pt x="30" y="70"/>
                      </a:lnTo>
                      <a:lnTo>
                        <a:pt x="26" y="61"/>
                      </a:lnTo>
                      <a:lnTo>
                        <a:pt x="26" y="56"/>
                      </a:lnTo>
                      <a:lnTo>
                        <a:pt x="27" y="51"/>
                      </a:lnTo>
                      <a:lnTo>
                        <a:pt x="27" y="46"/>
                      </a:lnTo>
                      <a:lnTo>
                        <a:pt x="25" y="45"/>
                      </a:lnTo>
                      <a:lnTo>
                        <a:pt x="18" y="42"/>
                      </a:lnTo>
                      <a:lnTo>
                        <a:pt x="16" y="39"/>
                      </a:lnTo>
                      <a:lnTo>
                        <a:pt x="16" y="37"/>
                      </a:lnTo>
                      <a:lnTo>
                        <a:pt x="7" y="26"/>
                      </a:lnTo>
                      <a:lnTo>
                        <a:pt x="3" y="21"/>
                      </a:lnTo>
                      <a:lnTo>
                        <a:pt x="0" y="14"/>
                      </a:lnTo>
                      <a:lnTo>
                        <a:pt x="6" y="14"/>
                      </a:lnTo>
                      <a:lnTo>
                        <a:pt x="8" y="11"/>
                      </a:lnTo>
                      <a:lnTo>
                        <a:pt x="8" y="7"/>
                      </a:lnTo>
                      <a:lnTo>
                        <a:pt x="7"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4" name="Freeform 729"/>
                <p:cNvSpPr>
                  <a:spLocks/>
                </p:cNvSpPr>
                <p:nvPr/>
              </p:nvSpPr>
              <p:spPr bwMode="auto">
                <a:xfrm>
                  <a:off x="5005928" y="5263588"/>
                  <a:ext cx="396606" cy="399565"/>
                </a:xfrm>
                <a:custGeom>
                  <a:avLst/>
                  <a:gdLst>
                    <a:gd name="T0" fmla="*/ 2147483647 w 290"/>
                    <a:gd name="T1" fmla="*/ 2147483647 h 270"/>
                    <a:gd name="T2" fmla="*/ 2147483647 w 290"/>
                    <a:gd name="T3" fmla="*/ 2147483647 h 270"/>
                    <a:gd name="T4" fmla="*/ 2147483647 w 290"/>
                    <a:gd name="T5" fmla="*/ 2147483647 h 270"/>
                    <a:gd name="T6" fmla="*/ 2147483647 w 290"/>
                    <a:gd name="T7" fmla="*/ 2147483647 h 270"/>
                    <a:gd name="T8" fmla="*/ 2147483647 w 290"/>
                    <a:gd name="T9" fmla="*/ 2147483647 h 270"/>
                    <a:gd name="T10" fmla="*/ 2147483647 w 290"/>
                    <a:gd name="T11" fmla="*/ 2147483647 h 270"/>
                    <a:gd name="T12" fmla="*/ 2147483647 w 290"/>
                    <a:gd name="T13" fmla="*/ 2147483647 h 270"/>
                    <a:gd name="T14" fmla="*/ 2147483647 w 290"/>
                    <a:gd name="T15" fmla="*/ 2147483647 h 270"/>
                    <a:gd name="T16" fmla="*/ 2147483647 w 290"/>
                    <a:gd name="T17" fmla="*/ 2147483647 h 270"/>
                    <a:gd name="T18" fmla="*/ 2147483647 w 290"/>
                    <a:gd name="T19" fmla="*/ 2147483647 h 270"/>
                    <a:gd name="T20" fmla="*/ 2147483647 w 290"/>
                    <a:gd name="T21" fmla="*/ 2147483647 h 270"/>
                    <a:gd name="T22" fmla="*/ 2147483647 w 290"/>
                    <a:gd name="T23" fmla="*/ 2147483647 h 270"/>
                    <a:gd name="T24" fmla="*/ 2147483647 w 290"/>
                    <a:gd name="T25" fmla="*/ 2147483647 h 270"/>
                    <a:gd name="T26" fmla="*/ 2147483647 w 290"/>
                    <a:gd name="T27" fmla="*/ 2147483647 h 270"/>
                    <a:gd name="T28" fmla="*/ 2147483647 w 290"/>
                    <a:gd name="T29" fmla="*/ 2147483647 h 270"/>
                    <a:gd name="T30" fmla="*/ 2147483647 w 290"/>
                    <a:gd name="T31" fmla="*/ 2147483647 h 270"/>
                    <a:gd name="T32" fmla="*/ 2147483647 w 290"/>
                    <a:gd name="T33" fmla="*/ 2147483647 h 270"/>
                    <a:gd name="T34" fmla="*/ 2147483647 w 290"/>
                    <a:gd name="T35" fmla="*/ 2147483647 h 270"/>
                    <a:gd name="T36" fmla="*/ 2147483647 w 290"/>
                    <a:gd name="T37" fmla="*/ 2147483647 h 270"/>
                    <a:gd name="T38" fmla="*/ 2147483647 w 290"/>
                    <a:gd name="T39" fmla="*/ 2147483647 h 270"/>
                    <a:gd name="T40" fmla="*/ 2147483647 w 290"/>
                    <a:gd name="T41" fmla="*/ 2147483647 h 270"/>
                    <a:gd name="T42" fmla="*/ 2147483647 w 290"/>
                    <a:gd name="T43" fmla="*/ 2147483647 h 270"/>
                    <a:gd name="T44" fmla="*/ 2147483647 w 290"/>
                    <a:gd name="T45" fmla="*/ 2147483647 h 270"/>
                    <a:gd name="T46" fmla="*/ 2147483647 w 290"/>
                    <a:gd name="T47" fmla="*/ 2147483647 h 270"/>
                    <a:gd name="T48" fmla="*/ 2147483647 w 290"/>
                    <a:gd name="T49" fmla="*/ 2147483647 h 270"/>
                    <a:gd name="T50" fmla="*/ 2147483647 w 290"/>
                    <a:gd name="T51" fmla="*/ 2147483647 h 270"/>
                    <a:gd name="T52" fmla="*/ 2147483647 w 290"/>
                    <a:gd name="T53" fmla="*/ 2147483647 h 270"/>
                    <a:gd name="T54" fmla="*/ 2147483647 w 290"/>
                    <a:gd name="T55" fmla="*/ 2147483647 h 270"/>
                    <a:gd name="T56" fmla="*/ 2147483647 w 290"/>
                    <a:gd name="T57" fmla="*/ 2147483647 h 270"/>
                    <a:gd name="T58" fmla="*/ 2147483647 w 290"/>
                    <a:gd name="T59" fmla="*/ 2147483647 h 270"/>
                    <a:gd name="T60" fmla="*/ 2147483647 w 290"/>
                    <a:gd name="T61" fmla="*/ 2147483647 h 270"/>
                    <a:gd name="T62" fmla="*/ 2147483647 w 290"/>
                    <a:gd name="T63" fmla="*/ 2147483647 h 270"/>
                    <a:gd name="T64" fmla="*/ 2147483647 w 290"/>
                    <a:gd name="T65" fmla="*/ 2147483647 h 270"/>
                    <a:gd name="T66" fmla="*/ 2147483647 w 290"/>
                    <a:gd name="T67" fmla="*/ 2147483647 h 270"/>
                    <a:gd name="T68" fmla="*/ 2147483647 w 290"/>
                    <a:gd name="T69" fmla="*/ 2147483647 h 270"/>
                    <a:gd name="T70" fmla="*/ 2147483647 w 290"/>
                    <a:gd name="T71" fmla="*/ 2147483647 h 270"/>
                    <a:gd name="T72" fmla="*/ 2147483647 w 290"/>
                    <a:gd name="T73" fmla="*/ 2147483647 h 270"/>
                    <a:gd name="T74" fmla="*/ 2147483647 w 290"/>
                    <a:gd name="T75" fmla="*/ 2147483647 h 270"/>
                    <a:gd name="T76" fmla="*/ 2147483647 w 290"/>
                    <a:gd name="T77" fmla="*/ 2147483647 h 270"/>
                    <a:gd name="T78" fmla="*/ 2147483647 w 290"/>
                    <a:gd name="T79" fmla="*/ 2147483647 h 270"/>
                    <a:gd name="T80" fmla="*/ 2147483647 w 290"/>
                    <a:gd name="T81" fmla="*/ 2147483647 h 270"/>
                    <a:gd name="T82" fmla="*/ 2147483647 w 290"/>
                    <a:gd name="T83" fmla="*/ 2147483647 h 270"/>
                    <a:gd name="T84" fmla="*/ 2147483647 w 290"/>
                    <a:gd name="T85" fmla="*/ 2147483647 h 270"/>
                    <a:gd name="T86" fmla="*/ 2147483647 w 290"/>
                    <a:gd name="T87" fmla="*/ 2147483647 h 270"/>
                    <a:gd name="T88" fmla="*/ 2147483647 w 290"/>
                    <a:gd name="T89" fmla="*/ 2147483647 h 270"/>
                    <a:gd name="T90" fmla="*/ 2147483647 w 290"/>
                    <a:gd name="T91" fmla="*/ 2147483647 h 270"/>
                    <a:gd name="T92" fmla="*/ 2147483647 w 290"/>
                    <a:gd name="T93" fmla="*/ 2147483647 h 270"/>
                    <a:gd name="T94" fmla="*/ 2147483647 w 290"/>
                    <a:gd name="T95" fmla="*/ 2147483647 h 270"/>
                    <a:gd name="T96" fmla="*/ 2147483647 w 290"/>
                    <a:gd name="T97" fmla="*/ 2147483647 h 270"/>
                    <a:gd name="T98" fmla="*/ 2147483647 w 290"/>
                    <a:gd name="T99" fmla="*/ 2147483647 h 270"/>
                    <a:gd name="T100" fmla="*/ 2147483647 w 290"/>
                    <a:gd name="T101" fmla="*/ 2147483647 h 270"/>
                    <a:gd name="T102" fmla="*/ 2147483647 w 290"/>
                    <a:gd name="T103" fmla="*/ 2147483647 h 270"/>
                    <a:gd name="T104" fmla="*/ 2147483647 w 290"/>
                    <a:gd name="T105" fmla="*/ 2147483647 h 270"/>
                    <a:gd name="T106" fmla="*/ 2147483647 w 290"/>
                    <a:gd name="T107" fmla="*/ 2147483647 h 27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0"/>
                    <a:gd name="T163" fmla="*/ 0 h 270"/>
                    <a:gd name="T164" fmla="*/ 290 w 290"/>
                    <a:gd name="T165" fmla="*/ 270 h 27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0" h="270">
                      <a:moveTo>
                        <a:pt x="0" y="135"/>
                      </a:moveTo>
                      <a:lnTo>
                        <a:pt x="0" y="135"/>
                      </a:lnTo>
                      <a:lnTo>
                        <a:pt x="1" y="134"/>
                      </a:lnTo>
                      <a:lnTo>
                        <a:pt x="2" y="133"/>
                      </a:lnTo>
                      <a:lnTo>
                        <a:pt x="3" y="131"/>
                      </a:lnTo>
                      <a:lnTo>
                        <a:pt x="5" y="131"/>
                      </a:lnTo>
                      <a:lnTo>
                        <a:pt x="8" y="131"/>
                      </a:lnTo>
                      <a:lnTo>
                        <a:pt x="10" y="130"/>
                      </a:lnTo>
                      <a:lnTo>
                        <a:pt x="11" y="128"/>
                      </a:lnTo>
                      <a:lnTo>
                        <a:pt x="11" y="124"/>
                      </a:lnTo>
                      <a:lnTo>
                        <a:pt x="11" y="123"/>
                      </a:lnTo>
                      <a:lnTo>
                        <a:pt x="12" y="123"/>
                      </a:lnTo>
                      <a:lnTo>
                        <a:pt x="15" y="123"/>
                      </a:lnTo>
                      <a:lnTo>
                        <a:pt x="16" y="126"/>
                      </a:lnTo>
                      <a:lnTo>
                        <a:pt x="16" y="129"/>
                      </a:lnTo>
                      <a:lnTo>
                        <a:pt x="16" y="131"/>
                      </a:lnTo>
                      <a:lnTo>
                        <a:pt x="17" y="135"/>
                      </a:lnTo>
                      <a:lnTo>
                        <a:pt x="20" y="137"/>
                      </a:lnTo>
                      <a:lnTo>
                        <a:pt x="22" y="140"/>
                      </a:lnTo>
                      <a:lnTo>
                        <a:pt x="25" y="141"/>
                      </a:lnTo>
                      <a:lnTo>
                        <a:pt x="29" y="141"/>
                      </a:lnTo>
                      <a:lnTo>
                        <a:pt x="34" y="141"/>
                      </a:lnTo>
                      <a:lnTo>
                        <a:pt x="41" y="139"/>
                      </a:lnTo>
                      <a:lnTo>
                        <a:pt x="47" y="135"/>
                      </a:lnTo>
                      <a:lnTo>
                        <a:pt x="49" y="135"/>
                      </a:lnTo>
                      <a:lnTo>
                        <a:pt x="53" y="133"/>
                      </a:lnTo>
                      <a:lnTo>
                        <a:pt x="57" y="129"/>
                      </a:lnTo>
                      <a:lnTo>
                        <a:pt x="58" y="127"/>
                      </a:lnTo>
                      <a:lnTo>
                        <a:pt x="59" y="123"/>
                      </a:lnTo>
                      <a:lnTo>
                        <a:pt x="59" y="62"/>
                      </a:lnTo>
                      <a:lnTo>
                        <a:pt x="64" y="64"/>
                      </a:lnTo>
                      <a:lnTo>
                        <a:pt x="68" y="67"/>
                      </a:lnTo>
                      <a:lnTo>
                        <a:pt x="71" y="71"/>
                      </a:lnTo>
                      <a:lnTo>
                        <a:pt x="73" y="75"/>
                      </a:lnTo>
                      <a:lnTo>
                        <a:pt x="77" y="84"/>
                      </a:lnTo>
                      <a:lnTo>
                        <a:pt x="78" y="95"/>
                      </a:lnTo>
                      <a:lnTo>
                        <a:pt x="80" y="96"/>
                      </a:lnTo>
                      <a:lnTo>
                        <a:pt x="82" y="96"/>
                      </a:lnTo>
                      <a:lnTo>
                        <a:pt x="87" y="95"/>
                      </a:lnTo>
                      <a:lnTo>
                        <a:pt x="93" y="92"/>
                      </a:lnTo>
                      <a:lnTo>
                        <a:pt x="99" y="91"/>
                      </a:lnTo>
                      <a:lnTo>
                        <a:pt x="101" y="90"/>
                      </a:lnTo>
                      <a:lnTo>
                        <a:pt x="102" y="88"/>
                      </a:lnTo>
                      <a:lnTo>
                        <a:pt x="104" y="85"/>
                      </a:lnTo>
                      <a:lnTo>
                        <a:pt x="106" y="84"/>
                      </a:lnTo>
                      <a:lnTo>
                        <a:pt x="109" y="83"/>
                      </a:lnTo>
                      <a:lnTo>
                        <a:pt x="111" y="78"/>
                      </a:lnTo>
                      <a:lnTo>
                        <a:pt x="114" y="72"/>
                      </a:lnTo>
                      <a:lnTo>
                        <a:pt x="116" y="67"/>
                      </a:lnTo>
                      <a:lnTo>
                        <a:pt x="119" y="66"/>
                      </a:lnTo>
                      <a:lnTo>
                        <a:pt x="121" y="66"/>
                      </a:lnTo>
                      <a:lnTo>
                        <a:pt x="127" y="69"/>
                      </a:lnTo>
                      <a:lnTo>
                        <a:pt x="130" y="71"/>
                      </a:lnTo>
                      <a:lnTo>
                        <a:pt x="134" y="73"/>
                      </a:lnTo>
                      <a:lnTo>
                        <a:pt x="138" y="75"/>
                      </a:lnTo>
                      <a:lnTo>
                        <a:pt x="139" y="73"/>
                      </a:lnTo>
                      <a:lnTo>
                        <a:pt x="144" y="72"/>
                      </a:lnTo>
                      <a:lnTo>
                        <a:pt x="149" y="71"/>
                      </a:lnTo>
                      <a:lnTo>
                        <a:pt x="154" y="69"/>
                      </a:lnTo>
                      <a:lnTo>
                        <a:pt x="158" y="65"/>
                      </a:lnTo>
                      <a:lnTo>
                        <a:pt x="161" y="62"/>
                      </a:lnTo>
                      <a:lnTo>
                        <a:pt x="163" y="57"/>
                      </a:lnTo>
                      <a:lnTo>
                        <a:pt x="165" y="52"/>
                      </a:lnTo>
                      <a:lnTo>
                        <a:pt x="166" y="47"/>
                      </a:lnTo>
                      <a:lnTo>
                        <a:pt x="167" y="46"/>
                      </a:lnTo>
                      <a:lnTo>
                        <a:pt x="170" y="45"/>
                      </a:lnTo>
                      <a:lnTo>
                        <a:pt x="172" y="44"/>
                      </a:lnTo>
                      <a:lnTo>
                        <a:pt x="173" y="43"/>
                      </a:lnTo>
                      <a:lnTo>
                        <a:pt x="176" y="38"/>
                      </a:lnTo>
                      <a:lnTo>
                        <a:pt x="177" y="32"/>
                      </a:lnTo>
                      <a:lnTo>
                        <a:pt x="179" y="28"/>
                      </a:lnTo>
                      <a:lnTo>
                        <a:pt x="181" y="27"/>
                      </a:lnTo>
                      <a:lnTo>
                        <a:pt x="182" y="26"/>
                      </a:lnTo>
                      <a:lnTo>
                        <a:pt x="190" y="24"/>
                      </a:lnTo>
                      <a:lnTo>
                        <a:pt x="196" y="20"/>
                      </a:lnTo>
                      <a:lnTo>
                        <a:pt x="201" y="16"/>
                      </a:lnTo>
                      <a:lnTo>
                        <a:pt x="208" y="14"/>
                      </a:lnTo>
                      <a:lnTo>
                        <a:pt x="214" y="13"/>
                      </a:lnTo>
                      <a:lnTo>
                        <a:pt x="219" y="11"/>
                      </a:lnTo>
                      <a:lnTo>
                        <a:pt x="220" y="8"/>
                      </a:lnTo>
                      <a:lnTo>
                        <a:pt x="222" y="7"/>
                      </a:lnTo>
                      <a:lnTo>
                        <a:pt x="223" y="3"/>
                      </a:lnTo>
                      <a:lnTo>
                        <a:pt x="226" y="2"/>
                      </a:lnTo>
                      <a:lnTo>
                        <a:pt x="229" y="2"/>
                      </a:lnTo>
                      <a:lnTo>
                        <a:pt x="234" y="1"/>
                      </a:lnTo>
                      <a:lnTo>
                        <a:pt x="240" y="0"/>
                      </a:lnTo>
                      <a:lnTo>
                        <a:pt x="246" y="1"/>
                      </a:lnTo>
                      <a:lnTo>
                        <a:pt x="251" y="3"/>
                      </a:lnTo>
                      <a:lnTo>
                        <a:pt x="256" y="7"/>
                      </a:lnTo>
                      <a:lnTo>
                        <a:pt x="255" y="13"/>
                      </a:lnTo>
                      <a:lnTo>
                        <a:pt x="255" y="18"/>
                      </a:lnTo>
                      <a:lnTo>
                        <a:pt x="259" y="22"/>
                      </a:lnTo>
                      <a:lnTo>
                        <a:pt x="261" y="34"/>
                      </a:lnTo>
                      <a:lnTo>
                        <a:pt x="265" y="46"/>
                      </a:lnTo>
                      <a:lnTo>
                        <a:pt x="269" y="57"/>
                      </a:lnTo>
                      <a:lnTo>
                        <a:pt x="271" y="63"/>
                      </a:lnTo>
                      <a:lnTo>
                        <a:pt x="274" y="67"/>
                      </a:lnTo>
                      <a:lnTo>
                        <a:pt x="275" y="71"/>
                      </a:lnTo>
                      <a:lnTo>
                        <a:pt x="274" y="73"/>
                      </a:lnTo>
                      <a:lnTo>
                        <a:pt x="271" y="76"/>
                      </a:lnTo>
                      <a:lnTo>
                        <a:pt x="270" y="75"/>
                      </a:lnTo>
                      <a:lnTo>
                        <a:pt x="266" y="71"/>
                      </a:lnTo>
                      <a:lnTo>
                        <a:pt x="262" y="70"/>
                      </a:lnTo>
                      <a:lnTo>
                        <a:pt x="259" y="71"/>
                      </a:lnTo>
                      <a:lnTo>
                        <a:pt x="256" y="76"/>
                      </a:lnTo>
                      <a:lnTo>
                        <a:pt x="252" y="83"/>
                      </a:lnTo>
                      <a:lnTo>
                        <a:pt x="252" y="89"/>
                      </a:lnTo>
                      <a:lnTo>
                        <a:pt x="252" y="92"/>
                      </a:lnTo>
                      <a:lnTo>
                        <a:pt x="255" y="95"/>
                      </a:lnTo>
                      <a:lnTo>
                        <a:pt x="256" y="97"/>
                      </a:lnTo>
                      <a:lnTo>
                        <a:pt x="259" y="98"/>
                      </a:lnTo>
                      <a:lnTo>
                        <a:pt x="261" y="98"/>
                      </a:lnTo>
                      <a:lnTo>
                        <a:pt x="264" y="98"/>
                      </a:lnTo>
                      <a:lnTo>
                        <a:pt x="267" y="95"/>
                      </a:lnTo>
                      <a:lnTo>
                        <a:pt x="273" y="91"/>
                      </a:lnTo>
                      <a:lnTo>
                        <a:pt x="274" y="90"/>
                      </a:lnTo>
                      <a:lnTo>
                        <a:pt x="276" y="90"/>
                      </a:lnTo>
                      <a:lnTo>
                        <a:pt x="278" y="91"/>
                      </a:lnTo>
                      <a:lnTo>
                        <a:pt x="279" y="91"/>
                      </a:lnTo>
                      <a:lnTo>
                        <a:pt x="284" y="90"/>
                      </a:lnTo>
                      <a:lnTo>
                        <a:pt x="288" y="91"/>
                      </a:lnTo>
                      <a:lnTo>
                        <a:pt x="290" y="92"/>
                      </a:lnTo>
                      <a:lnTo>
                        <a:pt x="290" y="94"/>
                      </a:lnTo>
                      <a:lnTo>
                        <a:pt x="290" y="101"/>
                      </a:lnTo>
                      <a:lnTo>
                        <a:pt x="288" y="107"/>
                      </a:lnTo>
                      <a:lnTo>
                        <a:pt x="285" y="110"/>
                      </a:lnTo>
                      <a:lnTo>
                        <a:pt x="281" y="121"/>
                      </a:lnTo>
                      <a:lnTo>
                        <a:pt x="279" y="130"/>
                      </a:lnTo>
                      <a:lnTo>
                        <a:pt x="274" y="140"/>
                      </a:lnTo>
                      <a:lnTo>
                        <a:pt x="270" y="143"/>
                      </a:lnTo>
                      <a:lnTo>
                        <a:pt x="265" y="147"/>
                      </a:lnTo>
                      <a:lnTo>
                        <a:pt x="261" y="152"/>
                      </a:lnTo>
                      <a:lnTo>
                        <a:pt x="259" y="156"/>
                      </a:lnTo>
                      <a:lnTo>
                        <a:pt x="255" y="167"/>
                      </a:lnTo>
                      <a:lnTo>
                        <a:pt x="248" y="175"/>
                      </a:lnTo>
                      <a:lnTo>
                        <a:pt x="234" y="192"/>
                      </a:lnTo>
                      <a:lnTo>
                        <a:pt x="228" y="199"/>
                      </a:lnTo>
                      <a:lnTo>
                        <a:pt x="222" y="206"/>
                      </a:lnTo>
                      <a:lnTo>
                        <a:pt x="213" y="218"/>
                      </a:lnTo>
                      <a:lnTo>
                        <a:pt x="203" y="229"/>
                      </a:lnTo>
                      <a:lnTo>
                        <a:pt x="199" y="232"/>
                      </a:lnTo>
                      <a:lnTo>
                        <a:pt x="194" y="236"/>
                      </a:lnTo>
                      <a:lnTo>
                        <a:pt x="189" y="238"/>
                      </a:lnTo>
                      <a:lnTo>
                        <a:pt x="184" y="239"/>
                      </a:lnTo>
                      <a:lnTo>
                        <a:pt x="181" y="242"/>
                      </a:lnTo>
                      <a:lnTo>
                        <a:pt x="179" y="244"/>
                      </a:lnTo>
                      <a:lnTo>
                        <a:pt x="176" y="246"/>
                      </a:lnTo>
                      <a:lnTo>
                        <a:pt x="175" y="248"/>
                      </a:lnTo>
                      <a:lnTo>
                        <a:pt x="165" y="246"/>
                      </a:lnTo>
                      <a:lnTo>
                        <a:pt x="160" y="248"/>
                      </a:lnTo>
                      <a:lnTo>
                        <a:pt x="156" y="251"/>
                      </a:lnTo>
                      <a:lnTo>
                        <a:pt x="153" y="252"/>
                      </a:lnTo>
                      <a:lnTo>
                        <a:pt x="152" y="252"/>
                      </a:lnTo>
                      <a:lnTo>
                        <a:pt x="147" y="252"/>
                      </a:lnTo>
                      <a:lnTo>
                        <a:pt x="142" y="252"/>
                      </a:lnTo>
                      <a:lnTo>
                        <a:pt x="135" y="251"/>
                      </a:lnTo>
                      <a:lnTo>
                        <a:pt x="137" y="251"/>
                      </a:lnTo>
                      <a:lnTo>
                        <a:pt x="133" y="250"/>
                      </a:lnTo>
                      <a:lnTo>
                        <a:pt x="130" y="250"/>
                      </a:lnTo>
                      <a:lnTo>
                        <a:pt x="125" y="251"/>
                      </a:lnTo>
                      <a:lnTo>
                        <a:pt x="116" y="257"/>
                      </a:lnTo>
                      <a:lnTo>
                        <a:pt x="113" y="257"/>
                      </a:lnTo>
                      <a:lnTo>
                        <a:pt x="110" y="257"/>
                      </a:lnTo>
                      <a:lnTo>
                        <a:pt x="107" y="256"/>
                      </a:lnTo>
                      <a:lnTo>
                        <a:pt x="105" y="255"/>
                      </a:lnTo>
                      <a:lnTo>
                        <a:pt x="102" y="255"/>
                      </a:lnTo>
                      <a:lnTo>
                        <a:pt x="99" y="257"/>
                      </a:lnTo>
                      <a:lnTo>
                        <a:pt x="96" y="260"/>
                      </a:lnTo>
                      <a:lnTo>
                        <a:pt x="93" y="262"/>
                      </a:lnTo>
                      <a:lnTo>
                        <a:pt x="91" y="262"/>
                      </a:lnTo>
                      <a:lnTo>
                        <a:pt x="81" y="261"/>
                      </a:lnTo>
                      <a:lnTo>
                        <a:pt x="77" y="260"/>
                      </a:lnTo>
                      <a:lnTo>
                        <a:pt x="72" y="261"/>
                      </a:lnTo>
                      <a:lnTo>
                        <a:pt x="69" y="263"/>
                      </a:lnTo>
                      <a:lnTo>
                        <a:pt x="68" y="265"/>
                      </a:lnTo>
                      <a:lnTo>
                        <a:pt x="66" y="269"/>
                      </a:lnTo>
                      <a:lnTo>
                        <a:pt x="63" y="270"/>
                      </a:lnTo>
                      <a:lnTo>
                        <a:pt x="60" y="270"/>
                      </a:lnTo>
                      <a:lnTo>
                        <a:pt x="58" y="269"/>
                      </a:lnTo>
                      <a:lnTo>
                        <a:pt x="53" y="267"/>
                      </a:lnTo>
                      <a:lnTo>
                        <a:pt x="49" y="262"/>
                      </a:lnTo>
                      <a:lnTo>
                        <a:pt x="45" y="257"/>
                      </a:lnTo>
                      <a:lnTo>
                        <a:pt x="41" y="255"/>
                      </a:lnTo>
                      <a:lnTo>
                        <a:pt x="39" y="255"/>
                      </a:lnTo>
                      <a:lnTo>
                        <a:pt x="36" y="256"/>
                      </a:lnTo>
                      <a:lnTo>
                        <a:pt x="34" y="257"/>
                      </a:lnTo>
                      <a:lnTo>
                        <a:pt x="33" y="257"/>
                      </a:lnTo>
                      <a:lnTo>
                        <a:pt x="33" y="256"/>
                      </a:lnTo>
                      <a:lnTo>
                        <a:pt x="31" y="245"/>
                      </a:lnTo>
                      <a:lnTo>
                        <a:pt x="30" y="241"/>
                      </a:lnTo>
                      <a:lnTo>
                        <a:pt x="26" y="236"/>
                      </a:lnTo>
                      <a:lnTo>
                        <a:pt x="26" y="233"/>
                      </a:lnTo>
                      <a:lnTo>
                        <a:pt x="25" y="230"/>
                      </a:lnTo>
                      <a:lnTo>
                        <a:pt x="24" y="224"/>
                      </a:lnTo>
                      <a:lnTo>
                        <a:pt x="24" y="222"/>
                      </a:lnTo>
                      <a:lnTo>
                        <a:pt x="25" y="219"/>
                      </a:lnTo>
                      <a:lnTo>
                        <a:pt x="29" y="218"/>
                      </a:lnTo>
                      <a:lnTo>
                        <a:pt x="33" y="218"/>
                      </a:lnTo>
                      <a:lnTo>
                        <a:pt x="34" y="214"/>
                      </a:lnTo>
                      <a:lnTo>
                        <a:pt x="34" y="210"/>
                      </a:lnTo>
                      <a:lnTo>
                        <a:pt x="31" y="201"/>
                      </a:lnTo>
                      <a:lnTo>
                        <a:pt x="26" y="194"/>
                      </a:lnTo>
                      <a:lnTo>
                        <a:pt x="22" y="191"/>
                      </a:lnTo>
                      <a:lnTo>
                        <a:pt x="19" y="188"/>
                      </a:lnTo>
                      <a:lnTo>
                        <a:pt x="16" y="187"/>
                      </a:lnTo>
                      <a:lnTo>
                        <a:pt x="15" y="185"/>
                      </a:lnTo>
                      <a:lnTo>
                        <a:pt x="15" y="179"/>
                      </a:lnTo>
                      <a:lnTo>
                        <a:pt x="13" y="167"/>
                      </a:lnTo>
                      <a:lnTo>
                        <a:pt x="11" y="156"/>
                      </a:lnTo>
                      <a:lnTo>
                        <a:pt x="6" y="145"/>
                      </a:lnTo>
                      <a:lnTo>
                        <a:pt x="0" y="13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5" name="Freeform 733"/>
                <p:cNvSpPr>
                  <a:spLocks/>
                </p:cNvSpPr>
                <p:nvPr/>
              </p:nvSpPr>
              <p:spPr bwMode="auto">
                <a:xfrm>
                  <a:off x="5330023" y="4917298"/>
                  <a:ext cx="254537" cy="479478"/>
                </a:xfrm>
                <a:custGeom>
                  <a:avLst/>
                  <a:gdLst>
                    <a:gd name="T0" fmla="*/ 2147483647 w 187"/>
                    <a:gd name="T1" fmla="*/ 2147483647 h 324"/>
                    <a:gd name="T2" fmla="*/ 2147483647 w 187"/>
                    <a:gd name="T3" fmla="*/ 2147483647 h 324"/>
                    <a:gd name="T4" fmla="*/ 2147483647 w 187"/>
                    <a:gd name="T5" fmla="*/ 2147483647 h 324"/>
                    <a:gd name="T6" fmla="*/ 2147483647 w 187"/>
                    <a:gd name="T7" fmla="*/ 2147483647 h 324"/>
                    <a:gd name="T8" fmla="*/ 2147483647 w 187"/>
                    <a:gd name="T9" fmla="*/ 2147483647 h 324"/>
                    <a:gd name="T10" fmla="*/ 2147483647 w 187"/>
                    <a:gd name="T11" fmla="*/ 2147483647 h 324"/>
                    <a:gd name="T12" fmla="*/ 2147483647 w 187"/>
                    <a:gd name="T13" fmla="*/ 2147483647 h 324"/>
                    <a:gd name="T14" fmla="*/ 2147483647 w 187"/>
                    <a:gd name="T15" fmla="*/ 2147483647 h 324"/>
                    <a:gd name="T16" fmla="*/ 2147483647 w 187"/>
                    <a:gd name="T17" fmla="*/ 2147483647 h 324"/>
                    <a:gd name="T18" fmla="*/ 2147483647 w 187"/>
                    <a:gd name="T19" fmla="*/ 2147483647 h 324"/>
                    <a:gd name="T20" fmla="*/ 2147483647 w 187"/>
                    <a:gd name="T21" fmla="*/ 2147483647 h 324"/>
                    <a:gd name="T22" fmla="*/ 0 w 187"/>
                    <a:gd name="T23" fmla="*/ 2147483647 h 324"/>
                    <a:gd name="T24" fmla="*/ 2147483647 w 187"/>
                    <a:gd name="T25" fmla="*/ 2147483647 h 324"/>
                    <a:gd name="T26" fmla="*/ 2147483647 w 187"/>
                    <a:gd name="T27" fmla="*/ 2147483647 h 324"/>
                    <a:gd name="T28" fmla="*/ 2147483647 w 187"/>
                    <a:gd name="T29" fmla="*/ 2147483647 h 324"/>
                    <a:gd name="T30" fmla="*/ 2147483647 w 187"/>
                    <a:gd name="T31" fmla="*/ 2147483647 h 324"/>
                    <a:gd name="T32" fmla="*/ 2147483647 w 187"/>
                    <a:gd name="T33" fmla="*/ 2147483647 h 324"/>
                    <a:gd name="T34" fmla="*/ 2147483647 w 187"/>
                    <a:gd name="T35" fmla="*/ 2147483647 h 324"/>
                    <a:gd name="T36" fmla="*/ 2147483647 w 187"/>
                    <a:gd name="T37" fmla="*/ 2147483647 h 324"/>
                    <a:gd name="T38" fmla="*/ 2147483647 w 187"/>
                    <a:gd name="T39" fmla="*/ 2147483647 h 324"/>
                    <a:gd name="T40" fmla="*/ 2147483647 w 187"/>
                    <a:gd name="T41" fmla="*/ 2147483647 h 324"/>
                    <a:gd name="T42" fmla="*/ 2147483647 w 187"/>
                    <a:gd name="T43" fmla="*/ 2147483647 h 324"/>
                    <a:gd name="T44" fmla="*/ 2147483647 w 187"/>
                    <a:gd name="T45" fmla="*/ 2147483647 h 324"/>
                    <a:gd name="T46" fmla="*/ 2147483647 w 187"/>
                    <a:gd name="T47" fmla="*/ 2147483647 h 324"/>
                    <a:gd name="T48" fmla="*/ 2147483647 w 187"/>
                    <a:gd name="T49" fmla="*/ 2147483647 h 324"/>
                    <a:gd name="T50" fmla="*/ 2147483647 w 187"/>
                    <a:gd name="T51" fmla="*/ 2147483647 h 324"/>
                    <a:gd name="T52" fmla="*/ 2147483647 w 187"/>
                    <a:gd name="T53" fmla="*/ 2147483647 h 324"/>
                    <a:gd name="T54" fmla="*/ 2147483647 w 187"/>
                    <a:gd name="T55" fmla="*/ 2147483647 h 324"/>
                    <a:gd name="T56" fmla="*/ 2147483647 w 187"/>
                    <a:gd name="T57" fmla="*/ 2147483647 h 324"/>
                    <a:gd name="T58" fmla="*/ 2147483647 w 187"/>
                    <a:gd name="T59" fmla="*/ 2147483647 h 324"/>
                    <a:gd name="T60" fmla="*/ 2147483647 w 187"/>
                    <a:gd name="T61" fmla="*/ 2147483647 h 324"/>
                    <a:gd name="T62" fmla="*/ 2147483647 w 187"/>
                    <a:gd name="T63" fmla="*/ 2147483647 h 324"/>
                    <a:gd name="T64" fmla="*/ 2147483647 w 187"/>
                    <a:gd name="T65" fmla="*/ 2147483647 h 324"/>
                    <a:gd name="T66" fmla="*/ 2147483647 w 187"/>
                    <a:gd name="T67" fmla="*/ 2147483647 h 324"/>
                    <a:gd name="T68" fmla="*/ 2147483647 w 187"/>
                    <a:gd name="T69" fmla="*/ 2147483647 h 324"/>
                    <a:gd name="T70" fmla="*/ 2147483647 w 187"/>
                    <a:gd name="T71" fmla="*/ 2147483647 h 324"/>
                    <a:gd name="T72" fmla="*/ 2147483647 w 187"/>
                    <a:gd name="T73" fmla="*/ 2147483647 h 324"/>
                    <a:gd name="T74" fmla="*/ 2147483647 w 187"/>
                    <a:gd name="T75" fmla="*/ 2147483647 h 324"/>
                    <a:gd name="T76" fmla="*/ 2147483647 w 187"/>
                    <a:gd name="T77" fmla="*/ 2147483647 h 324"/>
                    <a:gd name="T78" fmla="*/ 2147483647 w 187"/>
                    <a:gd name="T79" fmla="*/ 2147483647 h 324"/>
                    <a:gd name="T80" fmla="*/ 2147483647 w 187"/>
                    <a:gd name="T81" fmla="*/ 2147483647 h 324"/>
                    <a:gd name="T82" fmla="*/ 2147483647 w 187"/>
                    <a:gd name="T83" fmla="*/ 2147483647 h 324"/>
                    <a:gd name="T84" fmla="*/ 2147483647 w 187"/>
                    <a:gd name="T85" fmla="*/ 2147483647 h 324"/>
                    <a:gd name="T86" fmla="*/ 2147483647 w 187"/>
                    <a:gd name="T87" fmla="*/ 2147483647 h 324"/>
                    <a:gd name="T88" fmla="*/ 2147483647 w 187"/>
                    <a:gd name="T89" fmla="*/ 2147483647 h 324"/>
                    <a:gd name="T90" fmla="*/ 2147483647 w 187"/>
                    <a:gd name="T91" fmla="*/ 2147483647 h 324"/>
                    <a:gd name="T92" fmla="*/ 2147483647 w 187"/>
                    <a:gd name="T93" fmla="*/ 2147483647 h 324"/>
                    <a:gd name="T94" fmla="*/ 2147483647 w 187"/>
                    <a:gd name="T95" fmla="*/ 2147483647 h 324"/>
                    <a:gd name="T96" fmla="*/ 2147483647 w 187"/>
                    <a:gd name="T97" fmla="*/ 2147483647 h 324"/>
                    <a:gd name="T98" fmla="*/ 2147483647 w 187"/>
                    <a:gd name="T99" fmla="*/ 2147483647 h 324"/>
                    <a:gd name="T100" fmla="*/ 2147483647 w 187"/>
                    <a:gd name="T101" fmla="*/ 2147483647 h 324"/>
                    <a:gd name="T102" fmla="*/ 2147483647 w 187"/>
                    <a:gd name="T103" fmla="*/ 2147483647 h 324"/>
                    <a:gd name="T104" fmla="*/ 2147483647 w 187"/>
                    <a:gd name="T105" fmla="*/ 2147483647 h 324"/>
                    <a:gd name="T106" fmla="*/ 2147483647 w 187"/>
                    <a:gd name="T107" fmla="*/ 2147483647 h 32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7"/>
                    <a:gd name="T163" fmla="*/ 0 h 324"/>
                    <a:gd name="T164" fmla="*/ 187 w 187"/>
                    <a:gd name="T165" fmla="*/ 324 h 32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7" h="324">
                      <a:moveTo>
                        <a:pt x="86" y="62"/>
                      </a:moveTo>
                      <a:lnTo>
                        <a:pt x="86" y="62"/>
                      </a:lnTo>
                      <a:lnTo>
                        <a:pt x="91" y="64"/>
                      </a:lnTo>
                      <a:lnTo>
                        <a:pt x="96" y="69"/>
                      </a:lnTo>
                      <a:lnTo>
                        <a:pt x="100" y="75"/>
                      </a:lnTo>
                      <a:lnTo>
                        <a:pt x="102" y="77"/>
                      </a:lnTo>
                      <a:lnTo>
                        <a:pt x="103" y="80"/>
                      </a:lnTo>
                      <a:lnTo>
                        <a:pt x="103" y="86"/>
                      </a:lnTo>
                      <a:lnTo>
                        <a:pt x="102" y="93"/>
                      </a:lnTo>
                      <a:lnTo>
                        <a:pt x="99" y="100"/>
                      </a:lnTo>
                      <a:lnTo>
                        <a:pt x="95" y="107"/>
                      </a:lnTo>
                      <a:lnTo>
                        <a:pt x="94" y="115"/>
                      </a:lnTo>
                      <a:lnTo>
                        <a:pt x="94" y="124"/>
                      </a:lnTo>
                      <a:lnTo>
                        <a:pt x="94" y="132"/>
                      </a:lnTo>
                      <a:lnTo>
                        <a:pt x="94" y="134"/>
                      </a:lnTo>
                      <a:lnTo>
                        <a:pt x="91" y="137"/>
                      </a:lnTo>
                      <a:lnTo>
                        <a:pt x="89" y="137"/>
                      </a:lnTo>
                      <a:lnTo>
                        <a:pt x="88" y="135"/>
                      </a:lnTo>
                      <a:lnTo>
                        <a:pt x="85" y="133"/>
                      </a:lnTo>
                      <a:lnTo>
                        <a:pt x="80" y="122"/>
                      </a:lnTo>
                      <a:lnTo>
                        <a:pt x="76" y="118"/>
                      </a:lnTo>
                      <a:lnTo>
                        <a:pt x="70" y="114"/>
                      </a:lnTo>
                      <a:lnTo>
                        <a:pt x="69" y="113"/>
                      </a:lnTo>
                      <a:lnTo>
                        <a:pt x="67" y="112"/>
                      </a:lnTo>
                      <a:lnTo>
                        <a:pt x="67" y="107"/>
                      </a:lnTo>
                      <a:lnTo>
                        <a:pt x="71" y="98"/>
                      </a:lnTo>
                      <a:lnTo>
                        <a:pt x="74" y="94"/>
                      </a:lnTo>
                      <a:lnTo>
                        <a:pt x="75" y="90"/>
                      </a:lnTo>
                      <a:lnTo>
                        <a:pt x="75" y="88"/>
                      </a:lnTo>
                      <a:lnTo>
                        <a:pt x="74" y="87"/>
                      </a:lnTo>
                      <a:lnTo>
                        <a:pt x="70" y="83"/>
                      </a:lnTo>
                      <a:lnTo>
                        <a:pt x="66" y="83"/>
                      </a:lnTo>
                      <a:lnTo>
                        <a:pt x="62" y="83"/>
                      </a:lnTo>
                      <a:lnTo>
                        <a:pt x="57" y="84"/>
                      </a:lnTo>
                      <a:lnTo>
                        <a:pt x="53" y="84"/>
                      </a:lnTo>
                      <a:lnTo>
                        <a:pt x="52" y="83"/>
                      </a:lnTo>
                      <a:lnTo>
                        <a:pt x="51" y="82"/>
                      </a:lnTo>
                      <a:lnTo>
                        <a:pt x="50" y="79"/>
                      </a:lnTo>
                      <a:lnTo>
                        <a:pt x="48" y="74"/>
                      </a:lnTo>
                      <a:lnTo>
                        <a:pt x="38" y="80"/>
                      </a:lnTo>
                      <a:lnTo>
                        <a:pt x="27" y="84"/>
                      </a:lnTo>
                      <a:lnTo>
                        <a:pt x="5" y="93"/>
                      </a:lnTo>
                      <a:lnTo>
                        <a:pt x="3" y="94"/>
                      </a:lnTo>
                      <a:lnTo>
                        <a:pt x="0" y="98"/>
                      </a:lnTo>
                      <a:lnTo>
                        <a:pt x="0" y="102"/>
                      </a:lnTo>
                      <a:lnTo>
                        <a:pt x="0" y="107"/>
                      </a:lnTo>
                      <a:lnTo>
                        <a:pt x="3" y="112"/>
                      </a:lnTo>
                      <a:lnTo>
                        <a:pt x="6" y="114"/>
                      </a:lnTo>
                      <a:lnTo>
                        <a:pt x="16" y="119"/>
                      </a:lnTo>
                      <a:lnTo>
                        <a:pt x="27" y="124"/>
                      </a:lnTo>
                      <a:lnTo>
                        <a:pt x="32" y="126"/>
                      </a:lnTo>
                      <a:lnTo>
                        <a:pt x="37" y="127"/>
                      </a:lnTo>
                      <a:lnTo>
                        <a:pt x="42" y="130"/>
                      </a:lnTo>
                      <a:lnTo>
                        <a:pt x="46" y="133"/>
                      </a:lnTo>
                      <a:lnTo>
                        <a:pt x="48" y="139"/>
                      </a:lnTo>
                      <a:lnTo>
                        <a:pt x="48" y="145"/>
                      </a:lnTo>
                      <a:lnTo>
                        <a:pt x="50" y="159"/>
                      </a:lnTo>
                      <a:lnTo>
                        <a:pt x="50" y="163"/>
                      </a:lnTo>
                      <a:lnTo>
                        <a:pt x="47" y="166"/>
                      </a:lnTo>
                      <a:lnTo>
                        <a:pt x="44" y="169"/>
                      </a:lnTo>
                      <a:lnTo>
                        <a:pt x="43" y="172"/>
                      </a:lnTo>
                      <a:lnTo>
                        <a:pt x="42" y="176"/>
                      </a:lnTo>
                      <a:lnTo>
                        <a:pt x="42" y="179"/>
                      </a:lnTo>
                      <a:lnTo>
                        <a:pt x="43" y="185"/>
                      </a:lnTo>
                      <a:lnTo>
                        <a:pt x="47" y="192"/>
                      </a:lnTo>
                      <a:lnTo>
                        <a:pt x="50" y="199"/>
                      </a:lnTo>
                      <a:lnTo>
                        <a:pt x="51" y="207"/>
                      </a:lnTo>
                      <a:lnTo>
                        <a:pt x="50" y="211"/>
                      </a:lnTo>
                      <a:lnTo>
                        <a:pt x="48" y="217"/>
                      </a:lnTo>
                      <a:lnTo>
                        <a:pt x="44" y="221"/>
                      </a:lnTo>
                      <a:lnTo>
                        <a:pt x="34" y="229"/>
                      </a:lnTo>
                      <a:lnTo>
                        <a:pt x="24" y="236"/>
                      </a:lnTo>
                      <a:lnTo>
                        <a:pt x="20" y="239"/>
                      </a:lnTo>
                      <a:lnTo>
                        <a:pt x="19" y="240"/>
                      </a:lnTo>
                      <a:lnTo>
                        <a:pt x="19" y="241"/>
                      </a:lnTo>
                      <a:lnTo>
                        <a:pt x="18" y="247"/>
                      </a:lnTo>
                      <a:lnTo>
                        <a:pt x="18" y="252"/>
                      </a:lnTo>
                      <a:lnTo>
                        <a:pt x="22" y="256"/>
                      </a:lnTo>
                      <a:lnTo>
                        <a:pt x="24" y="268"/>
                      </a:lnTo>
                      <a:lnTo>
                        <a:pt x="28" y="280"/>
                      </a:lnTo>
                      <a:lnTo>
                        <a:pt x="32" y="291"/>
                      </a:lnTo>
                      <a:lnTo>
                        <a:pt x="34" y="297"/>
                      </a:lnTo>
                      <a:lnTo>
                        <a:pt x="37" y="301"/>
                      </a:lnTo>
                      <a:lnTo>
                        <a:pt x="38" y="305"/>
                      </a:lnTo>
                      <a:lnTo>
                        <a:pt x="37" y="307"/>
                      </a:lnTo>
                      <a:lnTo>
                        <a:pt x="34" y="310"/>
                      </a:lnTo>
                      <a:lnTo>
                        <a:pt x="37" y="313"/>
                      </a:lnTo>
                      <a:lnTo>
                        <a:pt x="38" y="317"/>
                      </a:lnTo>
                      <a:lnTo>
                        <a:pt x="39" y="324"/>
                      </a:lnTo>
                      <a:lnTo>
                        <a:pt x="41" y="316"/>
                      </a:lnTo>
                      <a:lnTo>
                        <a:pt x="43" y="309"/>
                      </a:lnTo>
                      <a:lnTo>
                        <a:pt x="48" y="304"/>
                      </a:lnTo>
                      <a:lnTo>
                        <a:pt x="53" y="300"/>
                      </a:lnTo>
                      <a:lnTo>
                        <a:pt x="58" y="298"/>
                      </a:lnTo>
                      <a:lnTo>
                        <a:pt x="65" y="297"/>
                      </a:lnTo>
                      <a:lnTo>
                        <a:pt x="71" y="296"/>
                      </a:lnTo>
                      <a:lnTo>
                        <a:pt x="80" y="292"/>
                      </a:lnTo>
                      <a:lnTo>
                        <a:pt x="85" y="291"/>
                      </a:lnTo>
                      <a:lnTo>
                        <a:pt x="89" y="288"/>
                      </a:lnTo>
                      <a:lnTo>
                        <a:pt x="93" y="286"/>
                      </a:lnTo>
                      <a:lnTo>
                        <a:pt x="95" y="284"/>
                      </a:lnTo>
                      <a:lnTo>
                        <a:pt x="96" y="281"/>
                      </a:lnTo>
                      <a:lnTo>
                        <a:pt x="96" y="279"/>
                      </a:lnTo>
                      <a:lnTo>
                        <a:pt x="94" y="275"/>
                      </a:lnTo>
                      <a:lnTo>
                        <a:pt x="93" y="273"/>
                      </a:lnTo>
                      <a:lnTo>
                        <a:pt x="91" y="271"/>
                      </a:lnTo>
                      <a:lnTo>
                        <a:pt x="94" y="267"/>
                      </a:lnTo>
                      <a:lnTo>
                        <a:pt x="95" y="265"/>
                      </a:lnTo>
                      <a:lnTo>
                        <a:pt x="98" y="262"/>
                      </a:lnTo>
                      <a:lnTo>
                        <a:pt x="98" y="259"/>
                      </a:lnTo>
                      <a:lnTo>
                        <a:pt x="95" y="249"/>
                      </a:lnTo>
                      <a:lnTo>
                        <a:pt x="94" y="240"/>
                      </a:lnTo>
                      <a:lnTo>
                        <a:pt x="93" y="236"/>
                      </a:lnTo>
                      <a:lnTo>
                        <a:pt x="91" y="234"/>
                      </a:lnTo>
                      <a:lnTo>
                        <a:pt x="90" y="231"/>
                      </a:lnTo>
                      <a:lnTo>
                        <a:pt x="89" y="228"/>
                      </a:lnTo>
                      <a:lnTo>
                        <a:pt x="89" y="223"/>
                      </a:lnTo>
                      <a:lnTo>
                        <a:pt x="90" y="217"/>
                      </a:lnTo>
                      <a:lnTo>
                        <a:pt x="90" y="215"/>
                      </a:lnTo>
                      <a:lnTo>
                        <a:pt x="90" y="213"/>
                      </a:lnTo>
                      <a:lnTo>
                        <a:pt x="86" y="210"/>
                      </a:lnTo>
                      <a:lnTo>
                        <a:pt x="84" y="208"/>
                      </a:lnTo>
                      <a:lnTo>
                        <a:pt x="83" y="207"/>
                      </a:lnTo>
                      <a:lnTo>
                        <a:pt x="81" y="204"/>
                      </a:lnTo>
                      <a:lnTo>
                        <a:pt x="81" y="203"/>
                      </a:lnTo>
                      <a:lnTo>
                        <a:pt x="80" y="201"/>
                      </a:lnTo>
                      <a:lnTo>
                        <a:pt x="75" y="197"/>
                      </a:lnTo>
                      <a:lnTo>
                        <a:pt x="74" y="195"/>
                      </a:lnTo>
                      <a:lnTo>
                        <a:pt x="74" y="192"/>
                      </a:lnTo>
                      <a:lnTo>
                        <a:pt x="76" y="184"/>
                      </a:lnTo>
                      <a:lnTo>
                        <a:pt x="77" y="183"/>
                      </a:lnTo>
                      <a:lnTo>
                        <a:pt x="80" y="183"/>
                      </a:lnTo>
                      <a:lnTo>
                        <a:pt x="84" y="183"/>
                      </a:lnTo>
                      <a:lnTo>
                        <a:pt x="90" y="182"/>
                      </a:lnTo>
                      <a:lnTo>
                        <a:pt x="94" y="181"/>
                      </a:lnTo>
                      <a:lnTo>
                        <a:pt x="102" y="172"/>
                      </a:lnTo>
                      <a:lnTo>
                        <a:pt x="103" y="171"/>
                      </a:lnTo>
                      <a:lnTo>
                        <a:pt x="105" y="170"/>
                      </a:lnTo>
                      <a:lnTo>
                        <a:pt x="108" y="170"/>
                      </a:lnTo>
                      <a:lnTo>
                        <a:pt x="110" y="172"/>
                      </a:lnTo>
                      <a:lnTo>
                        <a:pt x="113" y="171"/>
                      </a:lnTo>
                      <a:lnTo>
                        <a:pt x="114" y="169"/>
                      </a:lnTo>
                      <a:lnTo>
                        <a:pt x="117" y="165"/>
                      </a:lnTo>
                      <a:lnTo>
                        <a:pt x="121" y="160"/>
                      </a:lnTo>
                      <a:lnTo>
                        <a:pt x="122" y="157"/>
                      </a:lnTo>
                      <a:lnTo>
                        <a:pt x="123" y="154"/>
                      </a:lnTo>
                      <a:lnTo>
                        <a:pt x="122" y="152"/>
                      </a:lnTo>
                      <a:lnTo>
                        <a:pt x="122" y="150"/>
                      </a:lnTo>
                      <a:lnTo>
                        <a:pt x="124" y="147"/>
                      </a:lnTo>
                      <a:lnTo>
                        <a:pt x="127" y="146"/>
                      </a:lnTo>
                      <a:lnTo>
                        <a:pt x="128" y="146"/>
                      </a:lnTo>
                      <a:lnTo>
                        <a:pt x="133" y="146"/>
                      </a:lnTo>
                      <a:lnTo>
                        <a:pt x="136" y="146"/>
                      </a:lnTo>
                      <a:lnTo>
                        <a:pt x="138" y="145"/>
                      </a:lnTo>
                      <a:lnTo>
                        <a:pt x="149" y="138"/>
                      </a:lnTo>
                      <a:lnTo>
                        <a:pt x="155" y="135"/>
                      </a:lnTo>
                      <a:lnTo>
                        <a:pt x="161" y="133"/>
                      </a:lnTo>
                      <a:lnTo>
                        <a:pt x="165" y="131"/>
                      </a:lnTo>
                      <a:lnTo>
                        <a:pt x="166" y="127"/>
                      </a:lnTo>
                      <a:lnTo>
                        <a:pt x="170" y="119"/>
                      </a:lnTo>
                      <a:lnTo>
                        <a:pt x="174" y="113"/>
                      </a:lnTo>
                      <a:lnTo>
                        <a:pt x="178" y="107"/>
                      </a:lnTo>
                      <a:lnTo>
                        <a:pt x="187" y="95"/>
                      </a:lnTo>
                      <a:lnTo>
                        <a:pt x="187" y="93"/>
                      </a:lnTo>
                      <a:lnTo>
                        <a:pt x="187" y="92"/>
                      </a:lnTo>
                      <a:lnTo>
                        <a:pt x="185" y="89"/>
                      </a:lnTo>
                      <a:lnTo>
                        <a:pt x="185" y="87"/>
                      </a:lnTo>
                      <a:lnTo>
                        <a:pt x="185" y="70"/>
                      </a:lnTo>
                      <a:lnTo>
                        <a:pt x="184" y="62"/>
                      </a:lnTo>
                      <a:lnTo>
                        <a:pt x="183" y="54"/>
                      </a:lnTo>
                      <a:lnTo>
                        <a:pt x="180" y="45"/>
                      </a:lnTo>
                      <a:lnTo>
                        <a:pt x="180" y="35"/>
                      </a:lnTo>
                      <a:lnTo>
                        <a:pt x="182" y="13"/>
                      </a:lnTo>
                      <a:lnTo>
                        <a:pt x="183" y="9"/>
                      </a:lnTo>
                      <a:lnTo>
                        <a:pt x="183" y="6"/>
                      </a:lnTo>
                      <a:lnTo>
                        <a:pt x="182" y="4"/>
                      </a:lnTo>
                      <a:lnTo>
                        <a:pt x="176" y="0"/>
                      </a:lnTo>
                      <a:lnTo>
                        <a:pt x="173" y="5"/>
                      </a:lnTo>
                      <a:lnTo>
                        <a:pt x="171" y="7"/>
                      </a:lnTo>
                      <a:lnTo>
                        <a:pt x="169" y="9"/>
                      </a:lnTo>
                      <a:lnTo>
                        <a:pt x="163" y="11"/>
                      </a:lnTo>
                      <a:lnTo>
                        <a:pt x="157" y="15"/>
                      </a:lnTo>
                      <a:lnTo>
                        <a:pt x="152" y="18"/>
                      </a:lnTo>
                      <a:lnTo>
                        <a:pt x="147" y="22"/>
                      </a:lnTo>
                      <a:lnTo>
                        <a:pt x="145" y="23"/>
                      </a:lnTo>
                      <a:lnTo>
                        <a:pt x="142" y="23"/>
                      </a:lnTo>
                      <a:lnTo>
                        <a:pt x="138" y="20"/>
                      </a:lnTo>
                      <a:lnTo>
                        <a:pt x="136" y="18"/>
                      </a:lnTo>
                      <a:lnTo>
                        <a:pt x="135" y="17"/>
                      </a:lnTo>
                      <a:lnTo>
                        <a:pt x="132" y="17"/>
                      </a:lnTo>
                      <a:lnTo>
                        <a:pt x="119" y="23"/>
                      </a:lnTo>
                      <a:lnTo>
                        <a:pt x="112" y="25"/>
                      </a:lnTo>
                      <a:lnTo>
                        <a:pt x="104" y="25"/>
                      </a:lnTo>
                      <a:lnTo>
                        <a:pt x="98" y="24"/>
                      </a:lnTo>
                      <a:lnTo>
                        <a:pt x="91" y="24"/>
                      </a:lnTo>
                      <a:lnTo>
                        <a:pt x="86" y="25"/>
                      </a:lnTo>
                      <a:lnTo>
                        <a:pt x="81" y="28"/>
                      </a:lnTo>
                      <a:lnTo>
                        <a:pt x="77" y="30"/>
                      </a:lnTo>
                      <a:lnTo>
                        <a:pt x="76" y="35"/>
                      </a:lnTo>
                      <a:lnTo>
                        <a:pt x="75" y="41"/>
                      </a:lnTo>
                      <a:lnTo>
                        <a:pt x="76" y="47"/>
                      </a:lnTo>
                      <a:lnTo>
                        <a:pt x="77" y="51"/>
                      </a:lnTo>
                      <a:lnTo>
                        <a:pt x="79" y="55"/>
                      </a:lnTo>
                      <a:lnTo>
                        <a:pt x="80" y="58"/>
                      </a:lnTo>
                      <a:lnTo>
                        <a:pt x="80" y="61"/>
                      </a:lnTo>
                      <a:lnTo>
                        <a:pt x="86" y="6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6" name="Freeform 759"/>
                <p:cNvSpPr>
                  <a:spLocks/>
                </p:cNvSpPr>
                <p:nvPr/>
              </p:nvSpPr>
              <p:spPr bwMode="auto">
                <a:xfrm>
                  <a:off x="7625304" y="4519212"/>
                  <a:ext cx="10360" cy="17758"/>
                </a:xfrm>
                <a:custGeom>
                  <a:avLst/>
                  <a:gdLst>
                    <a:gd name="T0" fmla="*/ 2147483647 w 7"/>
                    <a:gd name="T1" fmla="*/ 2147483647 h 12"/>
                    <a:gd name="T2" fmla="*/ 2147483647 w 7"/>
                    <a:gd name="T3" fmla="*/ 2147483647 h 12"/>
                    <a:gd name="T4" fmla="*/ 2147483647 w 7"/>
                    <a:gd name="T5" fmla="*/ 2147483647 h 12"/>
                    <a:gd name="T6" fmla="*/ 2147483647 w 7"/>
                    <a:gd name="T7" fmla="*/ 0 h 12"/>
                    <a:gd name="T8" fmla="*/ 2147483647 w 7"/>
                    <a:gd name="T9" fmla="*/ 2147483647 h 12"/>
                    <a:gd name="T10" fmla="*/ 2147483647 w 7"/>
                    <a:gd name="T11" fmla="*/ 2147483647 h 12"/>
                    <a:gd name="T12" fmla="*/ 0 w 7"/>
                    <a:gd name="T13" fmla="*/ 2147483647 h 12"/>
                    <a:gd name="T14" fmla="*/ 0 w 7"/>
                    <a:gd name="T15" fmla="*/ 2147483647 h 12"/>
                    <a:gd name="T16" fmla="*/ 2147483647 w 7"/>
                    <a:gd name="T17" fmla="*/ 2147483647 h 12"/>
                    <a:gd name="T18" fmla="*/ 2147483647 w 7"/>
                    <a:gd name="T19" fmla="*/ 2147483647 h 12"/>
                    <a:gd name="T20" fmla="*/ 2147483647 w 7"/>
                    <a:gd name="T21" fmla="*/ 2147483647 h 12"/>
                    <a:gd name="T22" fmla="*/ 2147483647 w 7"/>
                    <a:gd name="T23" fmla="*/ 2147483647 h 12"/>
                    <a:gd name="T24" fmla="*/ 2147483647 w 7"/>
                    <a:gd name="T25" fmla="*/ 2147483647 h 12"/>
                    <a:gd name="T26" fmla="*/ 2147483647 w 7"/>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2"/>
                    <a:gd name="T44" fmla="*/ 7 w 7"/>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2">
                      <a:moveTo>
                        <a:pt x="7" y="8"/>
                      </a:moveTo>
                      <a:lnTo>
                        <a:pt x="7" y="5"/>
                      </a:lnTo>
                      <a:lnTo>
                        <a:pt x="7" y="1"/>
                      </a:lnTo>
                      <a:lnTo>
                        <a:pt x="5" y="0"/>
                      </a:lnTo>
                      <a:lnTo>
                        <a:pt x="3" y="1"/>
                      </a:lnTo>
                      <a:lnTo>
                        <a:pt x="2" y="1"/>
                      </a:lnTo>
                      <a:lnTo>
                        <a:pt x="0" y="4"/>
                      </a:lnTo>
                      <a:lnTo>
                        <a:pt x="0" y="7"/>
                      </a:lnTo>
                      <a:lnTo>
                        <a:pt x="2" y="11"/>
                      </a:lnTo>
                      <a:lnTo>
                        <a:pt x="3" y="11"/>
                      </a:lnTo>
                      <a:lnTo>
                        <a:pt x="3" y="12"/>
                      </a:lnTo>
                      <a:lnTo>
                        <a:pt x="4" y="12"/>
                      </a:lnTo>
                      <a:lnTo>
                        <a:pt x="5" y="11"/>
                      </a:lnTo>
                      <a:lnTo>
                        <a:pt x="7"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7" name="Freeform 761"/>
                <p:cNvSpPr>
                  <a:spLocks/>
                </p:cNvSpPr>
                <p:nvPr/>
              </p:nvSpPr>
              <p:spPr bwMode="auto">
                <a:xfrm>
                  <a:off x="7625300" y="4517730"/>
                  <a:ext cx="7400" cy="17758"/>
                </a:xfrm>
                <a:custGeom>
                  <a:avLst/>
                  <a:gdLst>
                    <a:gd name="T0" fmla="*/ 2147483647 w 6"/>
                    <a:gd name="T1" fmla="*/ 2147483647 h 12"/>
                    <a:gd name="T2" fmla="*/ 2147483647 w 6"/>
                    <a:gd name="T3" fmla="*/ 2147483647 h 12"/>
                    <a:gd name="T4" fmla="*/ 2147483647 w 6"/>
                    <a:gd name="T5" fmla="*/ 2147483647 h 12"/>
                    <a:gd name="T6" fmla="*/ 2147483647 w 6"/>
                    <a:gd name="T7" fmla="*/ 2147483647 h 12"/>
                    <a:gd name="T8" fmla="*/ 2147483647 w 6"/>
                    <a:gd name="T9" fmla="*/ 2147483647 h 12"/>
                    <a:gd name="T10" fmla="*/ 2147483647 w 6"/>
                    <a:gd name="T11" fmla="*/ 0 h 12"/>
                    <a:gd name="T12" fmla="*/ 2147483647 w 6"/>
                    <a:gd name="T13" fmla="*/ 2147483647 h 12"/>
                    <a:gd name="T14" fmla="*/ 2147483647 w 6"/>
                    <a:gd name="T15" fmla="*/ 2147483647 h 12"/>
                    <a:gd name="T16" fmla="*/ 0 w 6"/>
                    <a:gd name="T17" fmla="*/ 2147483647 h 12"/>
                    <a:gd name="T18" fmla="*/ 0 w 6"/>
                    <a:gd name="T19" fmla="*/ 2147483647 h 12"/>
                    <a:gd name="T20" fmla="*/ 0 w 6"/>
                    <a:gd name="T21" fmla="*/ 2147483647 h 12"/>
                    <a:gd name="T22" fmla="*/ 2147483647 w 6"/>
                    <a:gd name="T23" fmla="*/ 2147483647 h 12"/>
                    <a:gd name="T24" fmla="*/ 2147483647 w 6"/>
                    <a:gd name="T25" fmla="*/ 2147483647 h 12"/>
                    <a:gd name="T26" fmla="*/ 2147483647 w 6"/>
                    <a:gd name="T27" fmla="*/ 2147483647 h 12"/>
                    <a:gd name="T28" fmla="*/ 2147483647 w 6"/>
                    <a:gd name="T29" fmla="*/ 2147483647 h 12"/>
                    <a:gd name="T30" fmla="*/ 2147483647 w 6"/>
                    <a:gd name="T31" fmla="*/ 2147483647 h 12"/>
                    <a:gd name="T32" fmla="*/ 2147483647 w 6"/>
                    <a:gd name="T33" fmla="*/ 2147483647 h 12"/>
                    <a:gd name="T34" fmla="*/ 2147483647 w 6"/>
                    <a:gd name="T35" fmla="*/ 2147483647 h 12"/>
                    <a:gd name="T36" fmla="*/ 2147483647 w 6"/>
                    <a:gd name="T37" fmla="*/ 2147483647 h 12"/>
                    <a:gd name="T38" fmla="*/ 2147483647 w 6"/>
                    <a:gd name="T39" fmla="*/ 2147483647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12"/>
                    <a:gd name="T62" fmla="*/ 6 w 6"/>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12">
                      <a:moveTo>
                        <a:pt x="6" y="8"/>
                      </a:moveTo>
                      <a:lnTo>
                        <a:pt x="6" y="8"/>
                      </a:lnTo>
                      <a:lnTo>
                        <a:pt x="6" y="5"/>
                      </a:lnTo>
                      <a:lnTo>
                        <a:pt x="6" y="1"/>
                      </a:lnTo>
                      <a:lnTo>
                        <a:pt x="5" y="0"/>
                      </a:lnTo>
                      <a:lnTo>
                        <a:pt x="3" y="1"/>
                      </a:lnTo>
                      <a:lnTo>
                        <a:pt x="1" y="1"/>
                      </a:lnTo>
                      <a:lnTo>
                        <a:pt x="0" y="4"/>
                      </a:lnTo>
                      <a:lnTo>
                        <a:pt x="0" y="7"/>
                      </a:lnTo>
                      <a:lnTo>
                        <a:pt x="1" y="11"/>
                      </a:lnTo>
                      <a:lnTo>
                        <a:pt x="3" y="11"/>
                      </a:lnTo>
                      <a:lnTo>
                        <a:pt x="3" y="12"/>
                      </a:lnTo>
                      <a:lnTo>
                        <a:pt x="4" y="12"/>
                      </a:lnTo>
                      <a:lnTo>
                        <a:pt x="5" y="11"/>
                      </a:lnTo>
                      <a:lnTo>
                        <a:pt x="6"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8" name="Freeform 763"/>
                <p:cNvSpPr>
                  <a:spLocks/>
                </p:cNvSpPr>
                <p:nvPr/>
              </p:nvSpPr>
              <p:spPr bwMode="auto">
                <a:xfrm>
                  <a:off x="7600143" y="4544369"/>
                  <a:ext cx="39956" cy="94712"/>
                </a:xfrm>
                <a:custGeom>
                  <a:avLst/>
                  <a:gdLst>
                    <a:gd name="T0" fmla="*/ 2147483647 w 29"/>
                    <a:gd name="T1" fmla="*/ 2147483647 h 64"/>
                    <a:gd name="T2" fmla="*/ 2147483647 w 29"/>
                    <a:gd name="T3" fmla="*/ 2147483647 h 64"/>
                    <a:gd name="T4" fmla="*/ 2147483647 w 29"/>
                    <a:gd name="T5" fmla="*/ 2147483647 h 64"/>
                    <a:gd name="T6" fmla="*/ 2147483647 w 29"/>
                    <a:gd name="T7" fmla="*/ 2147483647 h 64"/>
                    <a:gd name="T8" fmla="*/ 2147483647 w 29"/>
                    <a:gd name="T9" fmla="*/ 2147483647 h 64"/>
                    <a:gd name="T10" fmla="*/ 2147483647 w 29"/>
                    <a:gd name="T11" fmla="*/ 2147483647 h 64"/>
                    <a:gd name="T12" fmla="*/ 2147483647 w 29"/>
                    <a:gd name="T13" fmla="*/ 2147483647 h 64"/>
                    <a:gd name="T14" fmla="*/ 2147483647 w 29"/>
                    <a:gd name="T15" fmla="*/ 2147483647 h 64"/>
                    <a:gd name="T16" fmla="*/ 2147483647 w 29"/>
                    <a:gd name="T17" fmla="*/ 2147483647 h 64"/>
                    <a:gd name="T18" fmla="*/ 2147483647 w 29"/>
                    <a:gd name="T19" fmla="*/ 2147483647 h 64"/>
                    <a:gd name="T20" fmla="*/ 2147483647 w 29"/>
                    <a:gd name="T21" fmla="*/ 2147483647 h 64"/>
                    <a:gd name="T22" fmla="*/ 2147483647 w 29"/>
                    <a:gd name="T23" fmla="*/ 2147483647 h 64"/>
                    <a:gd name="T24" fmla="*/ 2147483647 w 29"/>
                    <a:gd name="T25" fmla="*/ 2147483647 h 64"/>
                    <a:gd name="T26" fmla="*/ 2147483647 w 29"/>
                    <a:gd name="T27" fmla="*/ 2147483647 h 64"/>
                    <a:gd name="T28" fmla="*/ 2147483647 w 29"/>
                    <a:gd name="T29" fmla="*/ 2147483647 h 64"/>
                    <a:gd name="T30" fmla="*/ 2147483647 w 29"/>
                    <a:gd name="T31" fmla="*/ 2147483647 h 64"/>
                    <a:gd name="T32" fmla="*/ 2147483647 w 29"/>
                    <a:gd name="T33" fmla="*/ 2147483647 h 64"/>
                    <a:gd name="T34" fmla="*/ 2147483647 w 29"/>
                    <a:gd name="T35" fmla="*/ 0 h 64"/>
                    <a:gd name="T36" fmla="*/ 2147483647 w 29"/>
                    <a:gd name="T37" fmla="*/ 0 h 64"/>
                    <a:gd name="T38" fmla="*/ 2147483647 w 29"/>
                    <a:gd name="T39" fmla="*/ 2147483647 h 64"/>
                    <a:gd name="T40" fmla="*/ 2147483647 w 29"/>
                    <a:gd name="T41" fmla="*/ 2147483647 h 64"/>
                    <a:gd name="T42" fmla="*/ 2147483647 w 29"/>
                    <a:gd name="T43" fmla="*/ 2147483647 h 64"/>
                    <a:gd name="T44" fmla="*/ 0 w 29"/>
                    <a:gd name="T45" fmla="*/ 2147483647 h 64"/>
                    <a:gd name="T46" fmla="*/ 2147483647 w 29"/>
                    <a:gd name="T47" fmla="*/ 2147483647 h 64"/>
                    <a:gd name="T48" fmla="*/ 2147483647 w 29"/>
                    <a:gd name="T49" fmla="*/ 2147483647 h 64"/>
                    <a:gd name="T50" fmla="*/ 2147483647 w 29"/>
                    <a:gd name="T51" fmla="*/ 2147483647 h 64"/>
                    <a:gd name="T52" fmla="*/ 2147483647 w 29"/>
                    <a:gd name="T53" fmla="*/ 2147483647 h 64"/>
                    <a:gd name="T54" fmla="*/ 2147483647 w 29"/>
                    <a:gd name="T55" fmla="*/ 2147483647 h 64"/>
                    <a:gd name="T56" fmla="*/ 2147483647 w 29"/>
                    <a:gd name="T57" fmla="*/ 2147483647 h 64"/>
                    <a:gd name="T58" fmla="*/ 2147483647 w 29"/>
                    <a:gd name="T59" fmla="*/ 2147483647 h 64"/>
                    <a:gd name="T60" fmla="*/ 2147483647 w 29"/>
                    <a:gd name="T61" fmla="*/ 2147483647 h 64"/>
                    <a:gd name="T62" fmla="*/ 2147483647 w 29"/>
                    <a:gd name="T63" fmla="*/ 2147483647 h 64"/>
                    <a:gd name="T64" fmla="*/ 2147483647 w 29"/>
                    <a:gd name="T65" fmla="*/ 2147483647 h 64"/>
                    <a:gd name="T66" fmla="*/ 2147483647 w 29"/>
                    <a:gd name="T67" fmla="*/ 2147483647 h 64"/>
                    <a:gd name="T68" fmla="*/ 2147483647 w 29"/>
                    <a:gd name="T69" fmla="*/ 2147483647 h 64"/>
                    <a:gd name="T70" fmla="*/ 2147483647 w 29"/>
                    <a:gd name="T71" fmla="*/ 2147483647 h 64"/>
                    <a:gd name="T72" fmla="*/ 2147483647 w 29"/>
                    <a:gd name="T73" fmla="*/ 2147483647 h 64"/>
                    <a:gd name="T74" fmla="*/ 2147483647 w 29"/>
                    <a:gd name="T75" fmla="*/ 2147483647 h 64"/>
                    <a:gd name="T76" fmla="*/ 2147483647 w 29"/>
                    <a:gd name="T77" fmla="*/ 2147483647 h 64"/>
                    <a:gd name="T78" fmla="*/ 2147483647 w 29"/>
                    <a:gd name="T79" fmla="*/ 2147483647 h 64"/>
                    <a:gd name="T80" fmla="*/ 2147483647 w 29"/>
                    <a:gd name="T81" fmla="*/ 2147483647 h 64"/>
                    <a:gd name="T82" fmla="*/ 2147483647 w 29"/>
                    <a:gd name="T83" fmla="*/ 2147483647 h 64"/>
                    <a:gd name="T84" fmla="*/ 2147483647 w 29"/>
                    <a:gd name="T85" fmla="*/ 2147483647 h 64"/>
                    <a:gd name="T86" fmla="*/ 2147483647 w 29"/>
                    <a:gd name="T87" fmla="*/ 2147483647 h 64"/>
                    <a:gd name="T88" fmla="*/ 2147483647 w 29"/>
                    <a:gd name="T89" fmla="*/ 2147483647 h 64"/>
                    <a:gd name="T90" fmla="*/ 2147483647 w 29"/>
                    <a:gd name="T91" fmla="*/ 2147483647 h 64"/>
                    <a:gd name="T92" fmla="*/ 2147483647 w 29"/>
                    <a:gd name="T93" fmla="*/ 2147483647 h 64"/>
                    <a:gd name="T94" fmla="*/ 2147483647 w 29"/>
                    <a:gd name="T95" fmla="*/ 2147483647 h 64"/>
                    <a:gd name="T96" fmla="*/ 2147483647 w 29"/>
                    <a:gd name="T97" fmla="*/ 2147483647 h 64"/>
                    <a:gd name="T98" fmla="*/ 2147483647 w 29"/>
                    <a:gd name="T99" fmla="*/ 2147483647 h 64"/>
                    <a:gd name="T100" fmla="*/ 2147483647 w 29"/>
                    <a:gd name="T101" fmla="*/ 2147483647 h 64"/>
                    <a:gd name="T102" fmla="*/ 2147483647 w 29"/>
                    <a:gd name="T103" fmla="*/ 2147483647 h 64"/>
                    <a:gd name="T104" fmla="*/ 2147483647 w 29"/>
                    <a:gd name="T105" fmla="*/ 2147483647 h 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9"/>
                    <a:gd name="T160" fmla="*/ 0 h 64"/>
                    <a:gd name="T161" fmla="*/ 29 w 29"/>
                    <a:gd name="T162" fmla="*/ 64 h 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9" h="64">
                      <a:moveTo>
                        <a:pt x="28" y="16"/>
                      </a:moveTo>
                      <a:lnTo>
                        <a:pt x="28" y="10"/>
                      </a:lnTo>
                      <a:lnTo>
                        <a:pt x="28" y="8"/>
                      </a:lnTo>
                      <a:lnTo>
                        <a:pt x="27" y="7"/>
                      </a:lnTo>
                      <a:lnTo>
                        <a:pt x="26" y="7"/>
                      </a:lnTo>
                      <a:lnTo>
                        <a:pt x="23" y="9"/>
                      </a:lnTo>
                      <a:lnTo>
                        <a:pt x="21" y="13"/>
                      </a:lnTo>
                      <a:lnTo>
                        <a:pt x="19" y="15"/>
                      </a:lnTo>
                      <a:lnTo>
                        <a:pt x="15" y="18"/>
                      </a:lnTo>
                      <a:lnTo>
                        <a:pt x="14" y="19"/>
                      </a:lnTo>
                      <a:lnTo>
                        <a:pt x="12" y="18"/>
                      </a:lnTo>
                      <a:lnTo>
                        <a:pt x="12" y="16"/>
                      </a:lnTo>
                      <a:lnTo>
                        <a:pt x="12" y="15"/>
                      </a:lnTo>
                      <a:lnTo>
                        <a:pt x="14" y="12"/>
                      </a:lnTo>
                      <a:lnTo>
                        <a:pt x="14" y="10"/>
                      </a:lnTo>
                      <a:lnTo>
                        <a:pt x="14" y="8"/>
                      </a:lnTo>
                      <a:lnTo>
                        <a:pt x="13" y="2"/>
                      </a:lnTo>
                      <a:lnTo>
                        <a:pt x="10" y="0"/>
                      </a:lnTo>
                      <a:lnTo>
                        <a:pt x="9" y="0"/>
                      </a:lnTo>
                      <a:lnTo>
                        <a:pt x="8" y="1"/>
                      </a:lnTo>
                      <a:lnTo>
                        <a:pt x="4" y="5"/>
                      </a:lnTo>
                      <a:lnTo>
                        <a:pt x="1" y="9"/>
                      </a:lnTo>
                      <a:lnTo>
                        <a:pt x="0" y="14"/>
                      </a:lnTo>
                      <a:lnTo>
                        <a:pt x="1" y="19"/>
                      </a:lnTo>
                      <a:lnTo>
                        <a:pt x="3" y="26"/>
                      </a:lnTo>
                      <a:lnTo>
                        <a:pt x="4" y="32"/>
                      </a:lnTo>
                      <a:lnTo>
                        <a:pt x="5" y="46"/>
                      </a:lnTo>
                      <a:lnTo>
                        <a:pt x="7" y="52"/>
                      </a:lnTo>
                      <a:lnTo>
                        <a:pt x="10" y="58"/>
                      </a:lnTo>
                      <a:lnTo>
                        <a:pt x="15" y="61"/>
                      </a:lnTo>
                      <a:lnTo>
                        <a:pt x="19" y="63"/>
                      </a:lnTo>
                      <a:lnTo>
                        <a:pt x="23" y="64"/>
                      </a:lnTo>
                      <a:lnTo>
                        <a:pt x="22" y="61"/>
                      </a:lnTo>
                      <a:lnTo>
                        <a:pt x="17" y="56"/>
                      </a:lnTo>
                      <a:lnTo>
                        <a:pt x="13" y="50"/>
                      </a:lnTo>
                      <a:lnTo>
                        <a:pt x="10" y="44"/>
                      </a:lnTo>
                      <a:lnTo>
                        <a:pt x="10" y="37"/>
                      </a:lnTo>
                      <a:lnTo>
                        <a:pt x="10" y="35"/>
                      </a:lnTo>
                      <a:lnTo>
                        <a:pt x="13" y="35"/>
                      </a:lnTo>
                      <a:lnTo>
                        <a:pt x="19" y="39"/>
                      </a:lnTo>
                      <a:lnTo>
                        <a:pt x="23" y="39"/>
                      </a:lnTo>
                      <a:lnTo>
                        <a:pt x="27" y="38"/>
                      </a:lnTo>
                      <a:lnTo>
                        <a:pt x="29" y="35"/>
                      </a:lnTo>
                      <a:lnTo>
                        <a:pt x="29" y="33"/>
                      </a:lnTo>
                      <a:lnTo>
                        <a:pt x="26" y="28"/>
                      </a:lnTo>
                      <a:lnTo>
                        <a:pt x="21" y="28"/>
                      </a:lnTo>
                      <a:lnTo>
                        <a:pt x="18" y="27"/>
                      </a:lnTo>
                      <a:lnTo>
                        <a:pt x="18" y="26"/>
                      </a:lnTo>
                      <a:lnTo>
                        <a:pt x="19" y="25"/>
                      </a:lnTo>
                      <a:lnTo>
                        <a:pt x="22" y="22"/>
                      </a:lnTo>
                      <a:lnTo>
                        <a:pt x="26" y="20"/>
                      </a:lnTo>
                      <a:lnTo>
                        <a:pt x="27" y="19"/>
                      </a:lnTo>
                      <a:lnTo>
                        <a:pt x="28"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89" name="Freeform 764"/>
                <p:cNvSpPr>
                  <a:spLocks/>
                </p:cNvSpPr>
                <p:nvPr/>
              </p:nvSpPr>
              <p:spPr bwMode="auto">
                <a:xfrm>
                  <a:off x="7594225" y="4621325"/>
                  <a:ext cx="16278" cy="20718"/>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0 h 14"/>
                    <a:gd name="T10" fmla="*/ 2147483647 w 12"/>
                    <a:gd name="T11" fmla="*/ 0 h 14"/>
                    <a:gd name="T12" fmla="*/ 2147483647 w 12"/>
                    <a:gd name="T13" fmla="*/ 2147483647 h 14"/>
                    <a:gd name="T14" fmla="*/ 0 w 12"/>
                    <a:gd name="T15" fmla="*/ 2147483647 h 14"/>
                    <a:gd name="T16" fmla="*/ 2147483647 w 12"/>
                    <a:gd name="T17" fmla="*/ 2147483647 h 14"/>
                    <a:gd name="T18" fmla="*/ 2147483647 w 12"/>
                    <a:gd name="T19" fmla="*/ 2147483647 h 14"/>
                    <a:gd name="T20" fmla="*/ 2147483647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4"/>
                    <a:gd name="T47" fmla="*/ 12 w 12"/>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4">
                      <a:moveTo>
                        <a:pt x="11" y="12"/>
                      </a:moveTo>
                      <a:lnTo>
                        <a:pt x="7" y="7"/>
                      </a:lnTo>
                      <a:lnTo>
                        <a:pt x="4" y="4"/>
                      </a:lnTo>
                      <a:lnTo>
                        <a:pt x="4" y="1"/>
                      </a:lnTo>
                      <a:lnTo>
                        <a:pt x="4" y="0"/>
                      </a:lnTo>
                      <a:lnTo>
                        <a:pt x="3" y="0"/>
                      </a:lnTo>
                      <a:lnTo>
                        <a:pt x="2" y="1"/>
                      </a:lnTo>
                      <a:lnTo>
                        <a:pt x="0" y="6"/>
                      </a:lnTo>
                      <a:lnTo>
                        <a:pt x="2" y="11"/>
                      </a:lnTo>
                      <a:lnTo>
                        <a:pt x="3" y="12"/>
                      </a:lnTo>
                      <a:lnTo>
                        <a:pt x="5" y="13"/>
                      </a:lnTo>
                      <a:lnTo>
                        <a:pt x="8" y="14"/>
                      </a:lnTo>
                      <a:lnTo>
                        <a:pt x="11" y="14"/>
                      </a:lnTo>
                      <a:lnTo>
                        <a:pt x="12" y="13"/>
                      </a:lnTo>
                      <a:lnTo>
                        <a:pt x="11"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0" name="Freeform 765"/>
                <p:cNvSpPr>
                  <a:spLocks/>
                </p:cNvSpPr>
                <p:nvPr/>
              </p:nvSpPr>
              <p:spPr bwMode="auto">
                <a:xfrm>
                  <a:off x="7598664" y="4542888"/>
                  <a:ext cx="39957" cy="94712"/>
                </a:xfrm>
                <a:custGeom>
                  <a:avLst/>
                  <a:gdLst>
                    <a:gd name="T0" fmla="*/ 2147483647 w 29"/>
                    <a:gd name="T1" fmla="*/ 2147483647 h 64"/>
                    <a:gd name="T2" fmla="*/ 2147483647 w 29"/>
                    <a:gd name="T3" fmla="*/ 2147483647 h 64"/>
                    <a:gd name="T4" fmla="*/ 2147483647 w 29"/>
                    <a:gd name="T5" fmla="*/ 2147483647 h 64"/>
                    <a:gd name="T6" fmla="*/ 2147483647 w 29"/>
                    <a:gd name="T7" fmla="*/ 2147483647 h 64"/>
                    <a:gd name="T8" fmla="*/ 2147483647 w 29"/>
                    <a:gd name="T9" fmla="*/ 2147483647 h 64"/>
                    <a:gd name="T10" fmla="*/ 2147483647 w 29"/>
                    <a:gd name="T11" fmla="*/ 2147483647 h 64"/>
                    <a:gd name="T12" fmla="*/ 2147483647 w 29"/>
                    <a:gd name="T13" fmla="*/ 2147483647 h 64"/>
                    <a:gd name="T14" fmla="*/ 2147483647 w 29"/>
                    <a:gd name="T15" fmla="*/ 2147483647 h 64"/>
                    <a:gd name="T16" fmla="*/ 2147483647 w 29"/>
                    <a:gd name="T17" fmla="*/ 2147483647 h 64"/>
                    <a:gd name="T18" fmla="*/ 2147483647 w 29"/>
                    <a:gd name="T19" fmla="*/ 2147483647 h 64"/>
                    <a:gd name="T20" fmla="*/ 2147483647 w 29"/>
                    <a:gd name="T21" fmla="*/ 2147483647 h 64"/>
                    <a:gd name="T22" fmla="*/ 2147483647 w 29"/>
                    <a:gd name="T23" fmla="*/ 0 h 64"/>
                    <a:gd name="T24" fmla="*/ 2147483647 w 29"/>
                    <a:gd name="T25" fmla="*/ 2147483647 h 64"/>
                    <a:gd name="T26" fmla="*/ 2147483647 w 29"/>
                    <a:gd name="T27" fmla="*/ 2147483647 h 64"/>
                    <a:gd name="T28" fmla="*/ 2147483647 w 29"/>
                    <a:gd name="T29" fmla="*/ 2147483647 h 64"/>
                    <a:gd name="T30" fmla="*/ 2147483647 w 29"/>
                    <a:gd name="T31" fmla="*/ 2147483647 h 64"/>
                    <a:gd name="T32" fmla="*/ 2147483647 w 29"/>
                    <a:gd name="T33" fmla="*/ 2147483647 h 64"/>
                    <a:gd name="T34" fmla="*/ 2147483647 w 29"/>
                    <a:gd name="T35" fmla="*/ 2147483647 h 64"/>
                    <a:gd name="T36" fmla="*/ 2147483647 w 29"/>
                    <a:gd name="T37" fmla="*/ 2147483647 h 64"/>
                    <a:gd name="T38" fmla="*/ 2147483647 w 29"/>
                    <a:gd name="T39" fmla="*/ 2147483647 h 64"/>
                    <a:gd name="T40" fmla="*/ 2147483647 w 29"/>
                    <a:gd name="T41" fmla="*/ 2147483647 h 64"/>
                    <a:gd name="T42" fmla="*/ 2147483647 w 29"/>
                    <a:gd name="T43" fmla="*/ 2147483647 h 64"/>
                    <a:gd name="T44" fmla="*/ 2147483647 w 29"/>
                    <a:gd name="T45" fmla="*/ 2147483647 h 64"/>
                    <a:gd name="T46" fmla="*/ 2147483647 w 29"/>
                    <a:gd name="T47" fmla="*/ 2147483647 h 64"/>
                    <a:gd name="T48" fmla="*/ 2147483647 w 29"/>
                    <a:gd name="T49" fmla="*/ 2147483647 h 64"/>
                    <a:gd name="T50" fmla="*/ 2147483647 w 29"/>
                    <a:gd name="T51" fmla="*/ 2147483647 h 64"/>
                    <a:gd name="T52" fmla="*/ 2147483647 w 29"/>
                    <a:gd name="T53" fmla="*/ 2147483647 h 64"/>
                    <a:gd name="T54" fmla="*/ 2147483647 w 29"/>
                    <a:gd name="T55" fmla="*/ 2147483647 h 64"/>
                    <a:gd name="T56" fmla="*/ 2147483647 w 29"/>
                    <a:gd name="T57" fmla="*/ 2147483647 h 64"/>
                    <a:gd name="T58" fmla="*/ 2147483647 w 29"/>
                    <a:gd name="T59" fmla="*/ 2147483647 h 64"/>
                    <a:gd name="T60" fmla="*/ 2147483647 w 29"/>
                    <a:gd name="T61" fmla="*/ 2147483647 h 64"/>
                    <a:gd name="T62" fmla="*/ 2147483647 w 29"/>
                    <a:gd name="T63" fmla="*/ 2147483647 h 64"/>
                    <a:gd name="T64" fmla="*/ 2147483647 w 29"/>
                    <a:gd name="T65" fmla="*/ 2147483647 h 64"/>
                    <a:gd name="T66" fmla="*/ 2147483647 w 29"/>
                    <a:gd name="T67" fmla="*/ 2147483647 h 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
                    <a:gd name="T103" fmla="*/ 0 h 64"/>
                    <a:gd name="T104" fmla="*/ 29 w 29"/>
                    <a:gd name="T105" fmla="*/ 64 h 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 h="64">
                      <a:moveTo>
                        <a:pt x="28" y="16"/>
                      </a:moveTo>
                      <a:lnTo>
                        <a:pt x="28" y="16"/>
                      </a:lnTo>
                      <a:lnTo>
                        <a:pt x="28" y="10"/>
                      </a:lnTo>
                      <a:lnTo>
                        <a:pt x="28" y="8"/>
                      </a:lnTo>
                      <a:lnTo>
                        <a:pt x="27" y="7"/>
                      </a:lnTo>
                      <a:lnTo>
                        <a:pt x="25" y="7"/>
                      </a:lnTo>
                      <a:lnTo>
                        <a:pt x="23" y="9"/>
                      </a:lnTo>
                      <a:lnTo>
                        <a:pt x="20" y="13"/>
                      </a:lnTo>
                      <a:lnTo>
                        <a:pt x="19" y="15"/>
                      </a:lnTo>
                      <a:lnTo>
                        <a:pt x="15" y="17"/>
                      </a:lnTo>
                      <a:lnTo>
                        <a:pt x="14" y="19"/>
                      </a:lnTo>
                      <a:lnTo>
                        <a:pt x="11" y="17"/>
                      </a:lnTo>
                      <a:lnTo>
                        <a:pt x="11" y="16"/>
                      </a:lnTo>
                      <a:lnTo>
                        <a:pt x="11" y="15"/>
                      </a:lnTo>
                      <a:lnTo>
                        <a:pt x="14" y="11"/>
                      </a:lnTo>
                      <a:lnTo>
                        <a:pt x="14" y="10"/>
                      </a:lnTo>
                      <a:lnTo>
                        <a:pt x="14" y="8"/>
                      </a:lnTo>
                      <a:lnTo>
                        <a:pt x="13" y="2"/>
                      </a:lnTo>
                      <a:lnTo>
                        <a:pt x="10" y="0"/>
                      </a:lnTo>
                      <a:lnTo>
                        <a:pt x="9" y="0"/>
                      </a:lnTo>
                      <a:lnTo>
                        <a:pt x="8" y="1"/>
                      </a:lnTo>
                      <a:lnTo>
                        <a:pt x="4" y="4"/>
                      </a:lnTo>
                      <a:lnTo>
                        <a:pt x="1" y="9"/>
                      </a:lnTo>
                      <a:lnTo>
                        <a:pt x="0" y="14"/>
                      </a:lnTo>
                      <a:lnTo>
                        <a:pt x="1" y="19"/>
                      </a:lnTo>
                      <a:lnTo>
                        <a:pt x="2" y="26"/>
                      </a:lnTo>
                      <a:lnTo>
                        <a:pt x="4" y="32"/>
                      </a:lnTo>
                      <a:lnTo>
                        <a:pt x="5" y="46"/>
                      </a:lnTo>
                      <a:lnTo>
                        <a:pt x="6" y="52"/>
                      </a:lnTo>
                      <a:lnTo>
                        <a:pt x="10" y="58"/>
                      </a:lnTo>
                      <a:lnTo>
                        <a:pt x="15" y="61"/>
                      </a:lnTo>
                      <a:lnTo>
                        <a:pt x="19" y="62"/>
                      </a:lnTo>
                      <a:lnTo>
                        <a:pt x="23" y="64"/>
                      </a:lnTo>
                      <a:lnTo>
                        <a:pt x="22" y="61"/>
                      </a:lnTo>
                      <a:lnTo>
                        <a:pt x="16" y="55"/>
                      </a:lnTo>
                      <a:lnTo>
                        <a:pt x="13" y="49"/>
                      </a:lnTo>
                      <a:lnTo>
                        <a:pt x="10" y="43"/>
                      </a:lnTo>
                      <a:lnTo>
                        <a:pt x="10" y="36"/>
                      </a:lnTo>
                      <a:lnTo>
                        <a:pt x="10" y="35"/>
                      </a:lnTo>
                      <a:lnTo>
                        <a:pt x="13" y="35"/>
                      </a:lnTo>
                      <a:lnTo>
                        <a:pt x="19" y="39"/>
                      </a:lnTo>
                      <a:lnTo>
                        <a:pt x="23" y="39"/>
                      </a:lnTo>
                      <a:lnTo>
                        <a:pt x="27" y="38"/>
                      </a:lnTo>
                      <a:lnTo>
                        <a:pt x="29" y="35"/>
                      </a:lnTo>
                      <a:lnTo>
                        <a:pt x="29" y="33"/>
                      </a:lnTo>
                      <a:lnTo>
                        <a:pt x="25" y="28"/>
                      </a:lnTo>
                      <a:lnTo>
                        <a:pt x="20" y="28"/>
                      </a:lnTo>
                      <a:lnTo>
                        <a:pt x="18" y="27"/>
                      </a:lnTo>
                      <a:lnTo>
                        <a:pt x="18" y="26"/>
                      </a:lnTo>
                      <a:lnTo>
                        <a:pt x="19" y="24"/>
                      </a:lnTo>
                      <a:lnTo>
                        <a:pt x="22" y="22"/>
                      </a:lnTo>
                      <a:lnTo>
                        <a:pt x="25" y="20"/>
                      </a:lnTo>
                      <a:lnTo>
                        <a:pt x="27" y="19"/>
                      </a:lnTo>
                      <a:lnTo>
                        <a:pt x="28"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1" name="Freeform 766"/>
                <p:cNvSpPr>
                  <a:spLocks/>
                </p:cNvSpPr>
                <p:nvPr/>
              </p:nvSpPr>
              <p:spPr bwMode="auto">
                <a:xfrm>
                  <a:off x="7592747" y="4619846"/>
                  <a:ext cx="16279" cy="20718"/>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0 h 14"/>
                    <a:gd name="T14" fmla="*/ 2147483647 w 12"/>
                    <a:gd name="T15" fmla="*/ 0 h 14"/>
                    <a:gd name="T16" fmla="*/ 2147483647 w 12"/>
                    <a:gd name="T17" fmla="*/ 2147483647 h 14"/>
                    <a:gd name="T18" fmla="*/ 2147483647 w 12"/>
                    <a:gd name="T19" fmla="*/ 2147483647 h 14"/>
                    <a:gd name="T20" fmla="*/ 0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2147483647 w 12"/>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0" y="12"/>
                      </a:moveTo>
                      <a:lnTo>
                        <a:pt x="10" y="12"/>
                      </a:lnTo>
                      <a:lnTo>
                        <a:pt x="6" y="7"/>
                      </a:lnTo>
                      <a:lnTo>
                        <a:pt x="4" y="3"/>
                      </a:lnTo>
                      <a:lnTo>
                        <a:pt x="4" y="1"/>
                      </a:lnTo>
                      <a:lnTo>
                        <a:pt x="4" y="0"/>
                      </a:lnTo>
                      <a:lnTo>
                        <a:pt x="3" y="0"/>
                      </a:lnTo>
                      <a:lnTo>
                        <a:pt x="1" y="1"/>
                      </a:lnTo>
                      <a:lnTo>
                        <a:pt x="0" y="6"/>
                      </a:lnTo>
                      <a:lnTo>
                        <a:pt x="1" y="10"/>
                      </a:lnTo>
                      <a:lnTo>
                        <a:pt x="3" y="12"/>
                      </a:lnTo>
                      <a:lnTo>
                        <a:pt x="5" y="13"/>
                      </a:lnTo>
                      <a:lnTo>
                        <a:pt x="8" y="14"/>
                      </a:lnTo>
                      <a:lnTo>
                        <a:pt x="10" y="14"/>
                      </a:lnTo>
                      <a:lnTo>
                        <a:pt x="12" y="13"/>
                      </a:lnTo>
                      <a:lnTo>
                        <a:pt x="10"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2" name="Freeform 767"/>
                <p:cNvSpPr>
                  <a:spLocks/>
                </p:cNvSpPr>
                <p:nvPr/>
              </p:nvSpPr>
              <p:spPr bwMode="auto">
                <a:xfrm>
                  <a:off x="7579427" y="4661277"/>
                  <a:ext cx="14799" cy="7400"/>
                </a:xfrm>
                <a:custGeom>
                  <a:avLst/>
                  <a:gdLst>
                    <a:gd name="T0" fmla="*/ 2147483647 w 11"/>
                    <a:gd name="T1" fmla="*/ 2147483647 h 5"/>
                    <a:gd name="T2" fmla="*/ 2147483647 w 11"/>
                    <a:gd name="T3" fmla="*/ 2147483647 h 5"/>
                    <a:gd name="T4" fmla="*/ 2147483647 w 11"/>
                    <a:gd name="T5" fmla="*/ 2147483647 h 5"/>
                    <a:gd name="T6" fmla="*/ 2147483647 w 11"/>
                    <a:gd name="T7" fmla="*/ 0 h 5"/>
                    <a:gd name="T8" fmla="*/ 0 w 11"/>
                    <a:gd name="T9" fmla="*/ 0 h 5"/>
                    <a:gd name="T10" fmla="*/ 2147483647 w 11"/>
                    <a:gd name="T11" fmla="*/ 2147483647 h 5"/>
                    <a:gd name="T12" fmla="*/ 2147483647 w 11"/>
                    <a:gd name="T13" fmla="*/ 2147483647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5"/>
                    <a:gd name="T35" fmla="*/ 11 w 11"/>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5">
                      <a:moveTo>
                        <a:pt x="11" y="5"/>
                      </a:moveTo>
                      <a:lnTo>
                        <a:pt x="11" y="3"/>
                      </a:lnTo>
                      <a:lnTo>
                        <a:pt x="10" y="1"/>
                      </a:lnTo>
                      <a:lnTo>
                        <a:pt x="8" y="0"/>
                      </a:lnTo>
                      <a:lnTo>
                        <a:pt x="0" y="0"/>
                      </a:lnTo>
                      <a:lnTo>
                        <a:pt x="3" y="3"/>
                      </a:lnTo>
                      <a:lnTo>
                        <a:pt x="5" y="5"/>
                      </a:lnTo>
                      <a:lnTo>
                        <a:pt x="9" y="5"/>
                      </a:lnTo>
                      <a:lnTo>
                        <a:pt x="11" y="5"/>
                      </a:lnTo>
                      <a:lnTo>
                        <a:pt x="11" y="4"/>
                      </a:lnTo>
                      <a:lnTo>
                        <a:pt x="11"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3" name="Freeform 768"/>
                <p:cNvSpPr>
                  <a:spLocks/>
                </p:cNvSpPr>
                <p:nvPr/>
              </p:nvSpPr>
              <p:spPr bwMode="auto">
                <a:xfrm>
                  <a:off x="7607545" y="4661278"/>
                  <a:ext cx="20718" cy="14799"/>
                </a:xfrm>
                <a:custGeom>
                  <a:avLst/>
                  <a:gdLst>
                    <a:gd name="T0" fmla="*/ 2147483647 w 16"/>
                    <a:gd name="T1" fmla="*/ 2147483647 h 10"/>
                    <a:gd name="T2" fmla="*/ 2147483647 w 16"/>
                    <a:gd name="T3" fmla="*/ 2147483647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2147483647 w 16"/>
                    <a:gd name="T21" fmla="*/ 2147483647 h 10"/>
                    <a:gd name="T22" fmla="*/ 2147483647 w 16"/>
                    <a:gd name="T23" fmla="*/ 2147483647 h 10"/>
                    <a:gd name="T24" fmla="*/ 2147483647 w 16"/>
                    <a:gd name="T25" fmla="*/ 2147483647 h 10"/>
                    <a:gd name="T26" fmla="*/ 2147483647 w 16"/>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0"/>
                    <a:gd name="T44" fmla="*/ 16 w 16"/>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0">
                      <a:moveTo>
                        <a:pt x="16" y="7"/>
                      </a:moveTo>
                      <a:lnTo>
                        <a:pt x="12" y="4"/>
                      </a:lnTo>
                      <a:lnTo>
                        <a:pt x="8" y="0"/>
                      </a:lnTo>
                      <a:lnTo>
                        <a:pt x="4" y="0"/>
                      </a:lnTo>
                      <a:lnTo>
                        <a:pt x="2" y="1"/>
                      </a:lnTo>
                      <a:lnTo>
                        <a:pt x="0" y="4"/>
                      </a:lnTo>
                      <a:lnTo>
                        <a:pt x="2" y="7"/>
                      </a:lnTo>
                      <a:lnTo>
                        <a:pt x="2" y="9"/>
                      </a:lnTo>
                      <a:lnTo>
                        <a:pt x="3" y="9"/>
                      </a:lnTo>
                      <a:lnTo>
                        <a:pt x="7" y="9"/>
                      </a:lnTo>
                      <a:lnTo>
                        <a:pt x="10" y="9"/>
                      </a:lnTo>
                      <a:lnTo>
                        <a:pt x="14" y="10"/>
                      </a:lnTo>
                      <a:lnTo>
                        <a:pt x="16" y="9"/>
                      </a:lnTo>
                      <a:lnTo>
                        <a:pt x="1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4" name="Freeform 769"/>
                <p:cNvSpPr>
                  <a:spLocks/>
                </p:cNvSpPr>
                <p:nvPr/>
              </p:nvSpPr>
              <p:spPr bwMode="auto">
                <a:xfrm>
                  <a:off x="7577947" y="4659802"/>
                  <a:ext cx="14799" cy="7399"/>
                </a:xfrm>
                <a:custGeom>
                  <a:avLst/>
                  <a:gdLst>
                    <a:gd name="T0" fmla="*/ 2147483647 w 11"/>
                    <a:gd name="T1" fmla="*/ 2147483647 h 5"/>
                    <a:gd name="T2" fmla="*/ 2147483647 w 11"/>
                    <a:gd name="T3" fmla="*/ 2147483647 h 5"/>
                    <a:gd name="T4" fmla="*/ 2147483647 w 11"/>
                    <a:gd name="T5" fmla="*/ 2147483647 h 5"/>
                    <a:gd name="T6" fmla="*/ 2147483647 w 11"/>
                    <a:gd name="T7" fmla="*/ 2147483647 h 5"/>
                    <a:gd name="T8" fmla="*/ 2147483647 w 11"/>
                    <a:gd name="T9" fmla="*/ 0 h 5"/>
                    <a:gd name="T10" fmla="*/ 0 w 11"/>
                    <a:gd name="T11" fmla="*/ 0 h 5"/>
                    <a:gd name="T12" fmla="*/ 0 w 11"/>
                    <a:gd name="T13" fmla="*/ 0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2147483647 w 11"/>
                    <a:gd name="T23" fmla="*/ 2147483647 h 5"/>
                    <a:gd name="T24" fmla="*/ 2147483647 w 11"/>
                    <a:gd name="T25" fmla="*/ 2147483647 h 5"/>
                    <a:gd name="T26" fmla="*/ 2147483647 w 11"/>
                    <a:gd name="T27" fmla="*/ 2147483647 h 5"/>
                    <a:gd name="T28" fmla="*/ 2147483647 w 11"/>
                    <a:gd name="T29" fmla="*/ 2147483647 h 5"/>
                    <a:gd name="T30" fmla="*/ 2147483647 w 11"/>
                    <a:gd name="T31" fmla="*/ 2147483647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5"/>
                    <a:gd name="T50" fmla="*/ 11 w 11"/>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5">
                      <a:moveTo>
                        <a:pt x="11" y="5"/>
                      </a:moveTo>
                      <a:lnTo>
                        <a:pt x="11" y="5"/>
                      </a:lnTo>
                      <a:lnTo>
                        <a:pt x="11" y="2"/>
                      </a:lnTo>
                      <a:lnTo>
                        <a:pt x="10" y="1"/>
                      </a:lnTo>
                      <a:lnTo>
                        <a:pt x="7" y="0"/>
                      </a:lnTo>
                      <a:lnTo>
                        <a:pt x="0" y="0"/>
                      </a:lnTo>
                      <a:lnTo>
                        <a:pt x="2" y="2"/>
                      </a:lnTo>
                      <a:lnTo>
                        <a:pt x="5" y="5"/>
                      </a:lnTo>
                      <a:lnTo>
                        <a:pt x="9" y="5"/>
                      </a:lnTo>
                      <a:lnTo>
                        <a:pt x="11" y="5"/>
                      </a:lnTo>
                      <a:lnTo>
                        <a:pt x="11" y="4"/>
                      </a:lnTo>
                      <a:lnTo>
                        <a:pt x="1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5" name="Freeform 770"/>
                <p:cNvSpPr>
                  <a:spLocks/>
                </p:cNvSpPr>
                <p:nvPr/>
              </p:nvSpPr>
              <p:spPr bwMode="auto">
                <a:xfrm>
                  <a:off x="7606063" y="4659802"/>
                  <a:ext cx="19238" cy="14799"/>
                </a:xfrm>
                <a:custGeom>
                  <a:avLst/>
                  <a:gdLst>
                    <a:gd name="T0" fmla="*/ 2147483647 w 15"/>
                    <a:gd name="T1" fmla="*/ 2147483647 h 10"/>
                    <a:gd name="T2" fmla="*/ 2147483647 w 15"/>
                    <a:gd name="T3" fmla="*/ 2147483647 h 10"/>
                    <a:gd name="T4" fmla="*/ 2147483647 w 15"/>
                    <a:gd name="T5" fmla="*/ 2147483647 h 10"/>
                    <a:gd name="T6" fmla="*/ 2147483647 w 15"/>
                    <a:gd name="T7" fmla="*/ 0 h 10"/>
                    <a:gd name="T8" fmla="*/ 2147483647 w 15"/>
                    <a:gd name="T9" fmla="*/ 0 h 10"/>
                    <a:gd name="T10" fmla="*/ 2147483647 w 15"/>
                    <a:gd name="T11" fmla="*/ 0 h 10"/>
                    <a:gd name="T12" fmla="*/ 2147483647 w 15"/>
                    <a:gd name="T13" fmla="*/ 2147483647 h 10"/>
                    <a:gd name="T14" fmla="*/ 0 w 15"/>
                    <a:gd name="T15" fmla="*/ 2147483647 h 10"/>
                    <a:gd name="T16" fmla="*/ 2147483647 w 15"/>
                    <a:gd name="T17" fmla="*/ 2147483647 h 10"/>
                    <a:gd name="T18" fmla="*/ 2147483647 w 15"/>
                    <a:gd name="T19" fmla="*/ 2147483647 h 10"/>
                    <a:gd name="T20" fmla="*/ 2147483647 w 15"/>
                    <a:gd name="T21" fmla="*/ 2147483647 h 10"/>
                    <a:gd name="T22" fmla="*/ 2147483647 w 15"/>
                    <a:gd name="T23" fmla="*/ 2147483647 h 10"/>
                    <a:gd name="T24" fmla="*/ 2147483647 w 15"/>
                    <a:gd name="T25" fmla="*/ 2147483647 h 10"/>
                    <a:gd name="T26" fmla="*/ 2147483647 w 15"/>
                    <a:gd name="T27" fmla="*/ 2147483647 h 10"/>
                    <a:gd name="T28" fmla="*/ 2147483647 w 15"/>
                    <a:gd name="T29" fmla="*/ 2147483647 h 10"/>
                    <a:gd name="T30" fmla="*/ 2147483647 w 15"/>
                    <a:gd name="T31" fmla="*/ 2147483647 h 10"/>
                    <a:gd name="T32" fmla="*/ 2147483647 w 15"/>
                    <a:gd name="T33" fmla="*/ 2147483647 h 10"/>
                    <a:gd name="T34" fmla="*/ 2147483647 w 15"/>
                    <a:gd name="T35" fmla="*/ 2147483647 h 10"/>
                    <a:gd name="T36" fmla="*/ 2147483647 w 15"/>
                    <a:gd name="T37" fmla="*/ 2147483647 h 10"/>
                    <a:gd name="T38" fmla="*/ 2147483647 w 15"/>
                    <a:gd name="T39" fmla="*/ 2147483647 h 10"/>
                    <a:gd name="T40" fmla="*/ 2147483647 w 15"/>
                    <a:gd name="T41" fmla="*/ 2147483647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0"/>
                    <a:gd name="T65" fmla="*/ 15 w 15"/>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0">
                      <a:moveTo>
                        <a:pt x="15" y="7"/>
                      </a:moveTo>
                      <a:lnTo>
                        <a:pt x="15" y="7"/>
                      </a:lnTo>
                      <a:lnTo>
                        <a:pt x="11" y="4"/>
                      </a:lnTo>
                      <a:lnTo>
                        <a:pt x="8" y="0"/>
                      </a:lnTo>
                      <a:lnTo>
                        <a:pt x="4" y="0"/>
                      </a:lnTo>
                      <a:lnTo>
                        <a:pt x="1" y="1"/>
                      </a:lnTo>
                      <a:lnTo>
                        <a:pt x="0" y="4"/>
                      </a:lnTo>
                      <a:lnTo>
                        <a:pt x="1" y="7"/>
                      </a:lnTo>
                      <a:lnTo>
                        <a:pt x="1" y="8"/>
                      </a:lnTo>
                      <a:lnTo>
                        <a:pt x="3" y="8"/>
                      </a:lnTo>
                      <a:lnTo>
                        <a:pt x="6" y="8"/>
                      </a:lnTo>
                      <a:lnTo>
                        <a:pt x="10" y="8"/>
                      </a:lnTo>
                      <a:lnTo>
                        <a:pt x="14" y="10"/>
                      </a:lnTo>
                      <a:lnTo>
                        <a:pt x="15" y="8"/>
                      </a:lnTo>
                      <a:lnTo>
                        <a:pt x="15"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6" name="Freeform 771"/>
                <p:cNvSpPr>
                  <a:spLocks/>
                </p:cNvSpPr>
                <p:nvPr/>
              </p:nvSpPr>
              <p:spPr bwMode="auto">
                <a:xfrm>
                  <a:off x="7656378" y="4665721"/>
                  <a:ext cx="23678" cy="13319"/>
                </a:xfrm>
                <a:custGeom>
                  <a:avLst/>
                  <a:gdLst>
                    <a:gd name="T0" fmla="*/ 2147483647 w 18"/>
                    <a:gd name="T1" fmla="*/ 2147483647 h 9"/>
                    <a:gd name="T2" fmla="*/ 2147483647 w 18"/>
                    <a:gd name="T3" fmla="*/ 2147483647 h 9"/>
                    <a:gd name="T4" fmla="*/ 2147483647 w 18"/>
                    <a:gd name="T5" fmla="*/ 2147483647 h 9"/>
                    <a:gd name="T6" fmla="*/ 2147483647 w 18"/>
                    <a:gd name="T7" fmla="*/ 0 h 9"/>
                    <a:gd name="T8" fmla="*/ 2147483647 w 18"/>
                    <a:gd name="T9" fmla="*/ 0 h 9"/>
                    <a:gd name="T10" fmla="*/ 2147483647 w 18"/>
                    <a:gd name="T11" fmla="*/ 2147483647 h 9"/>
                    <a:gd name="T12" fmla="*/ 2147483647 w 18"/>
                    <a:gd name="T13" fmla="*/ 2147483647 h 9"/>
                    <a:gd name="T14" fmla="*/ 2147483647 w 18"/>
                    <a:gd name="T15" fmla="*/ 2147483647 h 9"/>
                    <a:gd name="T16" fmla="*/ 0 w 18"/>
                    <a:gd name="T17" fmla="*/ 2147483647 h 9"/>
                    <a:gd name="T18" fmla="*/ 2147483647 w 18"/>
                    <a:gd name="T19" fmla="*/ 2147483647 h 9"/>
                    <a:gd name="T20" fmla="*/ 2147483647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2147483647 w 18"/>
                    <a:gd name="T33" fmla="*/ 2147483647 h 9"/>
                    <a:gd name="T34" fmla="*/ 2147483647 w 18"/>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9"/>
                    <a:gd name="T56" fmla="*/ 18 w 18"/>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9">
                      <a:moveTo>
                        <a:pt x="18" y="4"/>
                      </a:moveTo>
                      <a:lnTo>
                        <a:pt x="16" y="3"/>
                      </a:lnTo>
                      <a:lnTo>
                        <a:pt x="16" y="2"/>
                      </a:lnTo>
                      <a:lnTo>
                        <a:pt x="16" y="0"/>
                      </a:lnTo>
                      <a:lnTo>
                        <a:pt x="15" y="0"/>
                      </a:lnTo>
                      <a:lnTo>
                        <a:pt x="7" y="1"/>
                      </a:lnTo>
                      <a:lnTo>
                        <a:pt x="5" y="1"/>
                      </a:lnTo>
                      <a:lnTo>
                        <a:pt x="1" y="2"/>
                      </a:lnTo>
                      <a:lnTo>
                        <a:pt x="0" y="4"/>
                      </a:lnTo>
                      <a:lnTo>
                        <a:pt x="1" y="6"/>
                      </a:lnTo>
                      <a:lnTo>
                        <a:pt x="2" y="7"/>
                      </a:lnTo>
                      <a:lnTo>
                        <a:pt x="6" y="7"/>
                      </a:lnTo>
                      <a:lnTo>
                        <a:pt x="9" y="8"/>
                      </a:lnTo>
                      <a:lnTo>
                        <a:pt x="13" y="9"/>
                      </a:lnTo>
                      <a:lnTo>
                        <a:pt x="16" y="9"/>
                      </a:lnTo>
                      <a:lnTo>
                        <a:pt x="18" y="8"/>
                      </a:lnTo>
                      <a:lnTo>
                        <a:pt x="18" y="6"/>
                      </a:lnTo>
                      <a:lnTo>
                        <a:pt x="18"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7" name="Freeform 772"/>
                <p:cNvSpPr>
                  <a:spLocks/>
                </p:cNvSpPr>
                <p:nvPr/>
              </p:nvSpPr>
              <p:spPr bwMode="auto">
                <a:xfrm>
                  <a:off x="7680056" y="4637600"/>
                  <a:ext cx="16278" cy="19239"/>
                </a:xfrm>
                <a:custGeom>
                  <a:avLst/>
                  <a:gdLst>
                    <a:gd name="T0" fmla="*/ 2147483647 w 11"/>
                    <a:gd name="T1" fmla="*/ 2147483647 h 13"/>
                    <a:gd name="T2" fmla="*/ 0 w 11"/>
                    <a:gd name="T3" fmla="*/ 2147483647 h 13"/>
                    <a:gd name="T4" fmla="*/ 0 w 11"/>
                    <a:gd name="T5" fmla="*/ 2147483647 h 13"/>
                    <a:gd name="T6" fmla="*/ 0 w 11"/>
                    <a:gd name="T7" fmla="*/ 2147483647 h 13"/>
                    <a:gd name="T8" fmla="*/ 2147483647 w 11"/>
                    <a:gd name="T9" fmla="*/ 2147483647 h 13"/>
                    <a:gd name="T10" fmla="*/ 2147483647 w 11"/>
                    <a:gd name="T11" fmla="*/ 0 h 13"/>
                    <a:gd name="T12" fmla="*/ 2147483647 w 11"/>
                    <a:gd name="T13" fmla="*/ 2147483647 h 13"/>
                    <a:gd name="T14" fmla="*/ 2147483647 w 11"/>
                    <a:gd name="T15" fmla="*/ 2147483647 h 13"/>
                    <a:gd name="T16" fmla="*/ 2147483647 w 11"/>
                    <a:gd name="T17" fmla="*/ 2147483647 h 13"/>
                    <a:gd name="T18" fmla="*/ 2147483647 w 11"/>
                    <a:gd name="T19" fmla="*/ 2147483647 h 13"/>
                    <a:gd name="T20" fmla="*/ 2147483647 w 11"/>
                    <a:gd name="T21" fmla="*/ 2147483647 h 13"/>
                    <a:gd name="T22" fmla="*/ 2147483647 w 11"/>
                    <a:gd name="T23" fmla="*/ 2147483647 h 13"/>
                    <a:gd name="T24" fmla="*/ 2147483647 w 11"/>
                    <a:gd name="T25" fmla="*/ 2147483647 h 13"/>
                    <a:gd name="T26" fmla="*/ 2147483647 w 11"/>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13"/>
                    <a:gd name="T44" fmla="*/ 11 w 11"/>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13">
                      <a:moveTo>
                        <a:pt x="2" y="13"/>
                      </a:moveTo>
                      <a:lnTo>
                        <a:pt x="0" y="4"/>
                      </a:lnTo>
                      <a:lnTo>
                        <a:pt x="0" y="2"/>
                      </a:lnTo>
                      <a:lnTo>
                        <a:pt x="0" y="1"/>
                      </a:lnTo>
                      <a:lnTo>
                        <a:pt x="1" y="1"/>
                      </a:lnTo>
                      <a:lnTo>
                        <a:pt x="3" y="0"/>
                      </a:lnTo>
                      <a:lnTo>
                        <a:pt x="6" y="1"/>
                      </a:lnTo>
                      <a:lnTo>
                        <a:pt x="9" y="3"/>
                      </a:lnTo>
                      <a:lnTo>
                        <a:pt x="10" y="6"/>
                      </a:lnTo>
                      <a:lnTo>
                        <a:pt x="11" y="9"/>
                      </a:lnTo>
                      <a:lnTo>
                        <a:pt x="6" y="10"/>
                      </a:lnTo>
                      <a:lnTo>
                        <a:pt x="5" y="11"/>
                      </a:lnTo>
                      <a:lnTo>
                        <a:pt x="5" y="13"/>
                      </a:lnTo>
                      <a:lnTo>
                        <a:pt x="2"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8" name="Freeform 773"/>
                <p:cNvSpPr>
                  <a:spLocks/>
                </p:cNvSpPr>
                <p:nvPr/>
              </p:nvSpPr>
              <p:spPr bwMode="auto">
                <a:xfrm>
                  <a:off x="7654898" y="4662759"/>
                  <a:ext cx="23678" cy="14799"/>
                </a:xfrm>
                <a:custGeom>
                  <a:avLst/>
                  <a:gdLst>
                    <a:gd name="T0" fmla="*/ 2147483647 w 17"/>
                    <a:gd name="T1" fmla="*/ 2147483647 h 10"/>
                    <a:gd name="T2" fmla="*/ 2147483647 w 17"/>
                    <a:gd name="T3" fmla="*/ 2147483647 h 10"/>
                    <a:gd name="T4" fmla="*/ 2147483647 w 17"/>
                    <a:gd name="T5" fmla="*/ 2147483647 h 10"/>
                    <a:gd name="T6" fmla="*/ 2147483647 w 17"/>
                    <a:gd name="T7" fmla="*/ 2147483647 h 10"/>
                    <a:gd name="T8" fmla="*/ 2147483647 w 17"/>
                    <a:gd name="T9" fmla="*/ 0 h 10"/>
                    <a:gd name="T10" fmla="*/ 2147483647 w 17"/>
                    <a:gd name="T11" fmla="*/ 0 h 10"/>
                    <a:gd name="T12" fmla="*/ 2147483647 w 17"/>
                    <a:gd name="T13" fmla="*/ 0 h 10"/>
                    <a:gd name="T14" fmla="*/ 2147483647 w 17"/>
                    <a:gd name="T15" fmla="*/ 2147483647 h 10"/>
                    <a:gd name="T16" fmla="*/ 2147483647 w 17"/>
                    <a:gd name="T17" fmla="*/ 2147483647 h 10"/>
                    <a:gd name="T18" fmla="*/ 2147483647 w 17"/>
                    <a:gd name="T19" fmla="*/ 2147483647 h 10"/>
                    <a:gd name="T20" fmla="*/ 2147483647 w 17"/>
                    <a:gd name="T21" fmla="*/ 2147483647 h 10"/>
                    <a:gd name="T22" fmla="*/ 0 w 17"/>
                    <a:gd name="T23" fmla="*/ 2147483647 h 10"/>
                    <a:gd name="T24" fmla="*/ 2147483647 w 17"/>
                    <a:gd name="T25" fmla="*/ 2147483647 h 10"/>
                    <a:gd name="T26" fmla="*/ 2147483647 w 17"/>
                    <a:gd name="T27" fmla="*/ 2147483647 h 10"/>
                    <a:gd name="T28" fmla="*/ 2147483647 w 17"/>
                    <a:gd name="T29" fmla="*/ 2147483647 h 10"/>
                    <a:gd name="T30" fmla="*/ 2147483647 w 17"/>
                    <a:gd name="T31" fmla="*/ 2147483647 h 10"/>
                    <a:gd name="T32" fmla="*/ 2147483647 w 17"/>
                    <a:gd name="T33" fmla="*/ 2147483647 h 10"/>
                    <a:gd name="T34" fmla="*/ 2147483647 w 17"/>
                    <a:gd name="T35" fmla="*/ 2147483647 h 10"/>
                    <a:gd name="T36" fmla="*/ 2147483647 w 17"/>
                    <a:gd name="T37" fmla="*/ 2147483647 h 10"/>
                    <a:gd name="T38" fmla="*/ 2147483647 w 17"/>
                    <a:gd name="T39" fmla="*/ 2147483647 h 10"/>
                    <a:gd name="T40" fmla="*/ 2147483647 w 17"/>
                    <a:gd name="T41" fmla="*/ 2147483647 h 10"/>
                    <a:gd name="T42" fmla="*/ 2147483647 w 17"/>
                    <a:gd name="T43" fmla="*/ 2147483647 h 10"/>
                    <a:gd name="T44" fmla="*/ 2147483647 w 17"/>
                    <a:gd name="T45" fmla="*/ 2147483647 h 10"/>
                    <a:gd name="T46" fmla="*/ 2147483647 w 17"/>
                    <a:gd name="T47" fmla="*/ 2147483647 h 1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
                    <a:gd name="T73" fmla="*/ 0 h 10"/>
                    <a:gd name="T74" fmla="*/ 17 w 17"/>
                    <a:gd name="T75" fmla="*/ 10 h 1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 h="10">
                      <a:moveTo>
                        <a:pt x="17" y="5"/>
                      </a:moveTo>
                      <a:lnTo>
                        <a:pt x="17" y="5"/>
                      </a:lnTo>
                      <a:lnTo>
                        <a:pt x="16" y="4"/>
                      </a:lnTo>
                      <a:lnTo>
                        <a:pt x="16" y="3"/>
                      </a:lnTo>
                      <a:lnTo>
                        <a:pt x="16" y="0"/>
                      </a:lnTo>
                      <a:lnTo>
                        <a:pt x="15" y="0"/>
                      </a:lnTo>
                      <a:lnTo>
                        <a:pt x="7" y="2"/>
                      </a:lnTo>
                      <a:lnTo>
                        <a:pt x="5" y="2"/>
                      </a:lnTo>
                      <a:lnTo>
                        <a:pt x="1" y="3"/>
                      </a:lnTo>
                      <a:lnTo>
                        <a:pt x="0" y="5"/>
                      </a:lnTo>
                      <a:lnTo>
                        <a:pt x="1" y="6"/>
                      </a:lnTo>
                      <a:lnTo>
                        <a:pt x="2" y="8"/>
                      </a:lnTo>
                      <a:lnTo>
                        <a:pt x="6" y="8"/>
                      </a:lnTo>
                      <a:lnTo>
                        <a:pt x="8" y="9"/>
                      </a:lnTo>
                      <a:lnTo>
                        <a:pt x="12" y="10"/>
                      </a:lnTo>
                      <a:lnTo>
                        <a:pt x="16" y="10"/>
                      </a:lnTo>
                      <a:lnTo>
                        <a:pt x="17" y="9"/>
                      </a:lnTo>
                      <a:lnTo>
                        <a:pt x="17" y="6"/>
                      </a:lnTo>
                      <a:lnTo>
                        <a:pt x="17"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5999" name="Freeform 774"/>
                <p:cNvSpPr>
                  <a:spLocks/>
                </p:cNvSpPr>
                <p:nvPr/>
              </p:nvSpPr>
              <p:spPr bwMode="auto">
                <a:xfrm>
                  <a:off x="7678578" y="4634643"/>
                  <a:ext cx="16279" cy="19239"/>
                </a:xfrm>
                <a:custGeom>
                  <a:avLst/>
                  <a:gdLst>
                    <a:gd name="T0" fmla="*/ 2147483647 w 12"/>
                    <a:gd name="T1" fmla="*/ 2147483647 h 13"/>
                    <a:gd name="T2" fmla="*/ 2147483647 w 12"/>
                    <a:gd name="T3" fmla="*/ 2147483647 h 13"/>
                    <a:gd name="T4" fmla="*/ 0 w 12"/>
                    <a:gd name="T5" fmla="*/ 2147483647 h 13"/>
                    <a:gd name="T6" fmla="*/ 0 w 12"/>
                    <a:gd name="T7" fmla="*/ 2147483647 h 13"/>
                    <a:gd name="T8" fmla="*/ 0 w 12"/>
                    <a:gd name="T9" fmla="*/ 2147483647 h 13"/>
                    <a:gd name="T10" fmla="*/ 0 w 12"/>
                    <a:gd name="T11" fmla="*/ 2147483647 h 13"/>
                    <a:gd name="T12" fmla="*/ 2147483647 w 12"/>
                    <a:gd name="T13" fmla="*/ 2147483647 h 13"/>
                    <a:gd name="T14" fmla="*/ 2147483647 w 12"/>
                    <a:gd name="T15" fmla="*/ 2147483647 h 13"/>
                    <a:gd name="T16" fmla="*/ 2147483647 w 12"/>
                    <a:gd name="T17" fmla="*/ 0 h 13"/>
                    <a:gd name="T18" fmla="*/ 2147483647 w 12"/>
                    <a:gd name="T19" fmla="*/ 2147483647 h 13"/>
                    <a:gd name="T20" fmla="*/ 2147483647 w 12"/>
                    <a:gd name="T21" fmla="*/ 2147483647 h 13"/>
                    <a:gd name="T22" fmla="*/ 2147483647 w 12"/>
                    <a:gd name="T23" fmla="*/ 2147483647 h 13"/>
                    <a:gd name="T24" fmla="*/ 2147483647 w 12"/>
                    <a:gd name="T25" fmla="*/ 2147483647 h 13"/>
                    <a:gd name="T26" fmla="*/ 2147483647 w 12"/>
                    <a:gd name="T27" fmla="*/ 2147483647 h 13"/>
                    <a:gd name="T28" fmla="*/ 2147483647 w 12"/>
                    <a:gd name="T29" fmla="*/ 2147483647 h 13"/>
                    <a:gd name="T30" fmla="*/ 2147483647 w 12"/>
                    <a:gd name="T31" fmla="*/ 2147483647 h 13"/>
                    <a:gd name="T32" fmla="*/ 2147483647 w 12"/>
                    <a:gd name="T33" fmla="*/ 2147483647 h 13"/>
                    <a:gd name="T34" fmla="*/ 2147483647 w 12"/>
                    <a:gd name="T35" fmla="*/ 2147483647 h 13"/>
                    <a:gd name="T36" fmla="*/ 2147483647 w 12"/>
                    <a:gd name="T37" fmla="*/ 2147483647 h 13"/>
                    <a:gd name="T38" fmla="*/ 2147483647 w 12"/>
                    <a:gd name="T39" fmla="*/ 2147483647 h 13"/>
                    <a:gd name="T40" fmla="*/ 2147483647 w 12"/>
                    <a:gd name="T41" fmla="*/ 2147483647 h 13"/>
                    <a:gd name="T42" fmla="*/ 2147483647 w 12"/>
                    <a:gd name="T43" fmla="*/ 2147483647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
                    <a:gd name="T67" fmla="*/ 0 h 13"/>
                    <a:gd name="T68" fmla="*/ 12 w 12"/>
                    <a:gd name="T69" fmla="*/ 13 h 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 h="13">
                      <a:moveTo>
                        <a:pt x="3" y="13"/>
                      </a:moveTo>
                      <a:lnTo>
                        <a:pt x="3" y="13"/>
                      </a:lnTo>
                      <a:lnTo>
                        <a:pt x="0" y="5"/>
                      </a:lnTo>
                      <a:lnTo>
                        <a:pt x="0" y="3"/>
                      </a:lnTo>
                      <a:lnTo>
                        <a:pt x="0" y="2"/>
                      </a:lnTo>
                      <a:lnTo>
                        <a:pt x="2" y="2"/>
                      </a:lnTo>
                      <a:lnTo>
                        <a:pt x="4" y="0"/>
                      </a:lnTo>
                      <a:lnTo>
                        <a:pt x="7" y="2"/>
                      </a:lnTo>
                      <a:lnTo>
                        <a:pt x="9" y="4"/>
                      </a:lnTo>
                      <a:lnTo>
                        <a:pt x="11" y="6"/>
                      </a:lnTo>
                      <a:lnTo>
                        <a:pt x="12" y="10"/>
                      </a:lnTo>
                      <a:lnTo>
                        <a:pt x="7" y="11"/>
                      </a:lnTo>
                      <a:lnTo>
                        <a:pt x="5" y="12"/>
                      </a:lnTo>
                      <a:lnTo>
                        <a:pt x="5" y="13"/>
                      </a:lnTo>
                      <a:lnTo>
                        <a:pt x="3"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0" name="Freeform 775"/>
                <p:cNvSpPr>
                  <a:spLocks/>
                </p:cNvSpPr>
                <p:nvPr/>
              </p:nvSpPr>
              <p:spPr bwMode="auto">
                <a:xfrm>
                  <a:off x="7678579" y="4615404"/>
                  <a:ext cx="28118" cy="13319"/>
                </a:xfrm>
                <a:custGeom>
                  <a:avLst/>
                  <a:gdLst>
                    <a:gd name="T0" fmla="*/ 2147483647 w 21"/>
                    <a:gd name="T1" fmla="*/ 2147483647 h 9"/>
                    <a:gd name="T2" fmla="*/ 2147483647 w 21"/>
                    <a:gd name="T3" fmla="*/ 0 h 9"/>
                    <a:gd name="T4" fmla="*/ 2147483647 w 21"/>
                    <a:gd name="T5" fmla="*/ 2147483647 h 9"/>
                    <a:gd name="T6" fmla="*/ 2147483647 w 21"/>
                    <a:gd name="T7" fmla="*/ 2147483647 h 9"/>
                    <a:gd name="T8" fmla="*/ 2147483647 w 21"/>
                    <a:gd name="T9" fmla="*/ 2147483647 h 9"/>
                    <a:gd name="T10" fmla="*/ 2147483647 w 21"/>
                    <a:gd name="T11" fmla="*/ 2147483647 h 9"/>
                    <a:gd name="T12" fmla="*/ 2147483647 w 21"/>
                    <a:gd name="T13" fmla="*/ 2147483647 h 9"/>
                    <a:gd name="T14" fmla="*/ 2147483647 w 21"/>
                    <a:gd name="T15" fmla="*/ 0 h 9"/>
                    <a:gd name="T16" fmla="*/ 2147483647 w 21"/>
                    <a:gd name="T17" fmla="*/ 0 h 9"/>
                    <a:gd name="T18" fmla="*/ 0 w 21"/>
                    <a:gd name="T19" fmla="*/ 2147483647 h 9"/>
                    <a:gd name="T20" fmla="*/ 0 w 21"/>
                    <a:gd name="T21" fmla="*/ 2147483647 h 9"/>
                    <a:gd name="T22" fmla="*/ 2147483647 w 21"/>
                    <a:gd name="T23" fmla="*/ 2147483647 h 9"/>
                    <a:gd name="T24" fmla="*/ 2147483647 w 21"/>
                    <a:gd name="T25" fmla="*/ 2147483647 h 9"/>
                    <a:gd name="T26" fmla="*/ 2147483647 w 21"/>
                    <a:gd name="T27" fmla="*/ 2147483647 h 9"/>
                    <a:gd name="T28" fmla="*/ 2147483647 w 21"/>
                    <a:gd name="T29" fmla="*/ 2147483647 h 9"/>
                    <a:gd name="T30" fmla="*/ 2147483647 w 21"/>
                    <a:gd name="T31" fmla="*/ 2147483647 h 9"/>
                    <a:gd name="T32" fmla="*/ 2147483647 w 21"/>
                    <a:gd name="T33" fmla="*/ 2147483647 h 9"/>
                    <a:gd name="T34" fmla="*/ 2147483647 w 21"/>
                    <a:gd name="T35" fmla="*/ 2147483647 h 9"/>
                    <a:gd name="T36" fmla="*/ 2147483647 w 21"/>
                    <a:gd name="T37" fmla="*/ 2147483647 h 9"/>
                    <a:gd name="T38" fmla="*/ 2147483647 w 21"/>
                    <a:gd name="T39" fmla="*/ 2147483647 h 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9"/>
                    <a:gd name="T62" fmla="*/ 21 w 21"/>
                    <a:gd name="T63" fmla="*/ 9 h 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9">
                      <a:moveTo>
                        <a:pt x="18" y="2"/>
                      </a:moveTo>
                      <a:lnTo>
                        <a:pt x="16" y="0"/>
                      </a:lnTo>
                      <a:lnTo>
                        <a:pt x="14" y="2"/>
                      </a:lnTo>
                      <a:lnTo>
                        <a:pt x="12" y="3"/>
                      </a:lnTo>
                      <a:lnTo>
                        <a:pt x="9" y="4"/>
                      </a:lnTo>
                      <a:lnTo>
                        <a:pt x="8" y="3"/>
                      </a:lnTo>
                      <a:lnTo>
                        <a:pt x="5" y="2"/>
                      </a:lnTo>
                      <a:lnTo>
                        <a:pt x="4" y="0"/>
                      </a:lnTo>
                      <a:lnTo>
                        <a:pt x="3" y="0"/>
                      </a:lnTo>
                      <a:lnTo>
                        <a:pt x="0" y="2"/>
                      </a:lnTo>
                      <a:lnTo>
                        <a:pt x="0" y="4"/>
                      </a:lnTo>
                      <a:lnTo>
                        <a:pt x="2" y="6"/>
                      </a:lnTo>
                      <a:lnTo>
                        <a:pt x="3" y="6"/>
                      </a:lnTo>
                      <a:lnTo>
                        <a:pt x="7" y="8"/>
                      </a:lnTo>
                      <a:lnTo>
                        <a:pt x="11" y="8"/>
                      </a:lnTo>
                      <a:lnTo>
                        <a:pt x="14" y="9"/>
                      </a:lnTo>
                      <a:lnTo>
                        <a:pt x="18" y="9"/>
                      </a:lnTo>
                      <a:lnTo>
                        <a:pt x="19" y="8"/>
                      </a:lnTo>
                      <a:lnTo>
                        <a:pt x="21" y="6"/>
                      </a:lnTo>
                      <a:lnTo>
                        <a:pt x="18"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1" name="Freeform 776"/>
                <p:cNvSpPr>
                  <a:spLocks/>
                </p:cNvSpPr>
                <p:nvPr/>
              </p:nvSpPr>
              <p:spPr bwMode="auto">
                <a:xfrm>
                  <a:off x="7579425" y="4696794"/>
                  <a:ext cx="22198" cy="26638"/>
                </a:xfrm>
                <a:custGeom>
                  <a:avLst/>
                  <a:gdLst>
                    <a:gd name="T0" fmla="*/ 2147483647 w 16"/>
                    <a:gd name="T1" fmla="*/ 2147483647 h 18"/>
                    <a:gd name="T2" fmla="*/ 2147483647 w 16"/>
                    <a:gd name="T3" fmla="*/ 2147483647 h 18"/>
                    <a:gd name="T4" fmla="*/ 2147483647 w 16"/>
                    <a:gd name="T5" fmla="*/ 2147483647 h 18"/>
                    <a:gd name="T6" fmla="*/ 2147483647 w 16"/>
                    <a:gd name="T7" fmla="*/ 0 h 18"/>
                    <a:gd name="T8" fmla="*/ 2147483647 w 16"/>
                    <a:gd name="T9" fmla="*/ 0 h 18"/>
                    <a:gd name="T10" fmla="*/ 2147483647 w 16"/>
                    <a:gd name="T11" fmla="*/ 2147483647 h 18"/>
                    <a:gd name="T12" fmla="*/ 0 w 16"/>
                    <a:gd name="T13" fmla="*/ 2147483647 h 18"/>
                    <a:gd name="T14" fmla="*/ 0 w 16"/>
                    <a:gd name="T15" fmla="*/ 2147483647 h 18"/>
                    <a:gd name="T16" fmla="*/ 2147483647 w 16"/>
                    <a:gd name="T17" fmla="*/ 2147483647 h 18"/>
                    <a:gd name="T18" fmla="*/ 2147483647 w 16"/>
                    <a:gd name="T19" fmla="*/ 2147483647 h 18"/>
                    <a:gd name="T20" fmla="*/ 2147483647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2147483647 w 1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8"/>
                    <a:gd name="T50" fmla="*/ 16 w 1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8">
                      <a:moveTo>
                        <a:pt x="16" y="7"/>
                      </a:moveTo>
                      <a:lnTo>
                        <a:pt x="16" y="3"/>
                      </a:lnTo>
                      <a:lnTo>
                        <a:pt x="14" y="2"/>
                      </a:lnTo>
                      <a:lnTo>
                        <a:pt x="8" y="0"/>
                      </a:lnTo>
                      <a:lnTo>
                        <a:pt x="4" y="0"/>
                      </a:lnTo>
                      <a:lnTo>
                        <a:pt x="1" y="2"/>
                      </a:lnTo>
                      <a:lnTo>
                        <a:pt x="0" y="6"/>
                      </a:lnTo>
                      <a:lnTo>
                        <a:pt x="0" y="9"/>
                      </a:lnTo>
                      <a:lnTo>
                        <a:pt x="3" y="13"/>
                      </a:lnTo>
                      <a:lnTo>
                        <a:pt x="5" y="17"/>
                      </a:lnTo>
                      <a:lnTo>
                        <a:pt x="8" y="18"/>
                      </a:lnTo>
                      <a:lnTo>
                        <a:pt x="9" y="18"/>
                      </a:lnTo>
                      <a:lnTo>
                        <a:pt x="11" y="18"/>
                      </a:lnTo>
                      <a:lnTo>
                        <a:pt x="14" y="15"/>
                      </a:lnTo>
                      <a:lnTo>
                        <a:pt x="15" y="12"/>
                      </a:lnTo>
                      <a:lnTo>
                        <a:pt x="1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2" name="Freeform 777"/>
                <p:cNvSpPr>
                  <a:spLocks/>
                </p:cNvSpPr>
                <p:nvPr/>
              </p:nvSpPr>
              <p:spPr bwMode="auto">
                <a:xfrm>
                  <a:off x="7677097" y="4613921"/>
                  <a:ext cx="26637" cy="13319"/>
                </a:xfrm>
                <a:custGeom>
                  <a:avLst/>
                  <a:gdLst>
                    <a:gd name="T0" fmla="*/ 2147483647 w 20"/>
                    <a:gd name="T1" fmla="*/ 2147483647 h 9"/>
                    <a:gd name="T2" fmla="*/ 2147483647 w 20"/>
                    <a:gd name="T3" fmla="*/ 2147483647 h 9"/>
                    <a:gd name="T4" fmla="*/ 2147483647 w 20"/>
                    <a:gd name="T5" fmla="*/ 0 h 9"/>
                    <a:gd name="T6" fmla="*/ 2147483647 w 20"/>
                    <a:gd name="T7" fmla="*/ 2147483647 h 9"/>
                    <a:gd name="T8" fmla="*/ 2147483647 w 20"/>
                    <a:gd name="T9" fmla="*/ 2147483647 h 9"/>
                    <a:gd name="T10" fmla="*/ 2147483647 w 20"/>
                    <a:gd name="T11" fmla="*/ 2147483647 h 9"/>
                    <a:gd name="T12" fmla="*/ 2147483647 w 20"/>
                    <a:gd name="T13" fmla="*/ 2147483647 h 9"/>
                    <a:gd name="T14" fmla="*/ 2147483647 w 20"/>
                    <a:gd name="T15" fmla="*/ 2147483647 h 9"/>
                    <a:gd name="T16" fmla="*/ 2147483647 w 20"/>
                    <a:gd name="T17" fmla="*/ 2147483647 h 9"/>
                    <a:gd name="T18" fmla="*/ 2147483647 w 20"/>
                    <a:gd name="T19" fmla="*/ 0 h 9"/>
                    <a:gd name="T20" fmla="*/ 2147483647 w 20"/>
                    <a:gd name="T21" fmla="*/ 0 h 9"/>
                    <a:gd name="T22" fmla="*/ 2147483647 w 20"/>
                    <a:gd name="T23" fmla="*/ 0 h 9"/>
                    <a:gd name="T24" fmla="*/ 0 w 20"/>
                    <a:gd name="T25" fmla="*/ 2147483647 h 9"/>
                    <a:gd name="T26" fmla="*/ 0 w 20"/>
                    <a:gd name="T27" fmla="*/ 2147483647 h 9"/>
                    <a:gd name="T28" fmla="*/ 2147483647 w 20"/>
                    <a:gd name="T29" fmla="*/ 2147483647 h 9"/>
                    <a:gd name="T30" fmla="*/ 2147483647 w 20"/>
                    <a:gd name="T31" fmla="*/ 2147483647 h 9"/>
                    <a:gd name="T32" fmla="*/ 2147483647 w 20"/>
                    <a:gd name="T33" fmla="*/ 2147483647 h 9"/>
                    <a:gd name="T34" fmla="*/ 2147483647 w 20"/>
                    <a:gd name="T35" fmla="*/ 2147483647 h 9"/>
                    <a:gd name="T36" fmla="*/ 2147483647 w 20"/>
                    <a:gd name="T37" fmla="*/ 2147483647 h 9"/>
                    <a:gd name="T38" fmla="*/ 2147483647 w 20"/>
                    <a:gd name="T39" fmla="*/ 2147483647 h 9"/>
                    <a:gd name="T40" fmla="*/ 2147483647 w 20"/>
                    <a:gd name="T41" fmla="*/ 2147483647 h 9"/>
                    <a:gd name="T42" fmla="*/ 2147483647 w 20"/>
                    <a:gd name="T43" fmla="*/ 2147483647 h 9"/>
                    <a:gd name="T44" fmla="*/ 2147483647 w 20"/>
                    <a:gd name="T45" fmla="*/ 2147483647 h 9"/>
                    <a:gd name="T46" fmla="*/ 2147483647 w 20"/>
                    <a:gd name="T47" fmla="*/ 2147483647 h 9"/>
                    <a:gd name="T48" fmla="*/ 2147483647 w 20"/>
                    <a:gd name="T49" fmla="*/ 2147483647 h 9"/>
                    <a:gd name="T50" fmla="*/ 2147483647 w 20"/>
                    <a:gd name="T51" fmla="*/ 2147483647 h 9"/>
                    <a:gd name="T52" fmla="*/ 2147483647 w 20"/>
                    <a:gd name="T53" fmla="*/ 2147483647 h 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9"/>
                    <a:gd name="T83" fmla="*/ 20 w 20"/>
                    <a:gd name="T84" fmla="*/ 9 h 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9">
                      <a:moveTo>
                        <a:pt x="18" y="1"/>
                      </a:moveTo>
                      <a:lnTo>
                        <a:pt x="18" y="1"/>
                      </a:lnTo>
                      <a:lnTo>
                        <a:pt x="15" y="0"/>
                      </a:lnTo>
                      <a:lnTo>
                        <a:pt x="14" y="1"/>
                      </a:lnTo>
                      <a:lnTo>
                        <a:pt x="12" y="3"/>
                      </a:lnTo>
                      <a:lnTo>
                        <a:pt x="9" y="4"/>
                      </a:lnTo>
                      <a:lnTo>
                        <a:pt x="8" y="3"/>
                      </a:lnTo>
                      <a:lnTo>
                        <a:pt x="5" y="1"/>
                      </a:lnTo>
                      <a:lnTo>
                        <a:pt x="4" y="0"/>
                      </a:lnTo>
                      <a:lnTo>
                        <a:pt x="3" y="0"/>
                      </a:lnTo>
                      <a:lnTo>
                        <a:pt x="0" y="1"/>
                      </a:lnTo>
                      <a:lnTo>
                        <a:pt x="0" y="4"/>
                      </a:lnTo>
                      <a:lnTo>
                        <a:pt x="1" y="6"/>
                      </a:lnTo>
                      <a:lnTo>
                        <a:pt x="3" y="6"/>
                      </a:lnTo>
                      <a:lnTo>
                        <a:pt x="6" y="7"/>
                      </a:lnTo>
                      <a:lnTo>
                        <a:pt x="10" y="7"/>
                      </a:lnTo>
                      <a:lnTo>
                        <a:pt x="14" y="9"/>
                      </a:lnTo>
                      <a:lnTo>
                        <a:pt x="18" y="9"/>
                      </a:lnTo>
                      <a:lnTo>
                        <a:pt x="19" y="7"/>
                      </a:lnTo>
                      <a:lnTo>
                        <a:pt x="20" y="6"/>
                      </a:lnTo>
                      <a:lnTo>
                        <a:pt x="18"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3" name="Freeform 778"/>
                <p:cNvSpPr>
                  <a:spLocks/>
                </p:cNvSpPr>
                <p:nvPr/>
              </p:nvSpPr>
              <p:spPr bwMode="auto">
                <a:xfrm>
                  <a:off x="7577944" y="4695319"/>
                  <a:ext cx="22199" cy="26638"/>
                </a:xfrm>
                <a:custGeom>
                  <a:avLst/>
                  <a:gdLst>
                    <a:gd name="T0" fmla="*/ 2147483647 w 16"/>
                    <a:gd name="T1" fmla="*/ 2147483647 h 18"/>
                    <a:gd name="T2" fmla="*/ 2147483647 w 16"/>
                    <a:gd name="T3" fmla="*/ 2147483647 h 18"/>
                    <a:gd name="T4" fmla="*/ 2147483647 w 16"/>
                    <a:gd name="T5" fmla="*/ 2147483647 h 18"/>
                    <a:gd name="T6" fmla="*/ 2147483647 w 16"/>
                    <a:gd name="T7" fmla="*/ 2147483647 h 18"/>
                    <a:gd name="T8" fmla="*/ 2147483647 w 16"/>
                    <a:gd name="T9" fmla="*/ 2147483647 h 18"/>
                    <a:gd name="T10" fmla="*/ 2147483647 w 16"/>
                    <a:gd name="T11" fmla="*/ 0 h 18"/>
                    <a:gd name="T12" fmla="*/ 2147483647 w 16"/>
                    <a:gd name="T13" fmla="*/ 0 h 18"/>
                    <a:gd name="T14" fmla="*/ 2147483647 w 16"/>
                    <a:gd name="T15" fmla="*/ 2147483647 h 18"/>
                    <a:gd name="T16" fmla="*/ 2147483647 w 16"/>
                    <a:gd name="T17" fmla="*/ 2147483647 h 18"/>
                    <a:gd name="T18" fmla="*/ 0 w 16"/>
                    <a:gd name="T19" fmla="*/ 2147483647 h 18"/>
                    <a:gd name="T20" fmla="*/ 0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2147483647 w 16"/>
                    <a:gd name="T31" fmla="*/ 2147483647 h 18"/>
                    <a:gd name="T32" fmla="*/ 2147483647 w 16"/>
                    <a:gd name="T33" fmla="*/ 2147483647 h 18"/>
                    <a:gd name="T34" fmla="*/ 2147483647 w 16"/>
                    <a:gd name="T35" fmla="*/ 2147483647 h 18"/>
                    <a:gd name="T36" fmla="*/ 2147483647 w 16"/>
                    <a:gd name="T37" fmla="*/ 2147483647 h 18"/>
                    <a:gd name="T38" fmla="*/ 2147483647 w 16"/>
                    <a:gd name="T39" fmla="*/ 2147483647 h 18"/>
                    <a:gd name="T40" fmla="*/ 2147483647 w 16"/>
                    <a:gd name="T41" fmla="*/ 2147483647 h 18"/>
                    <a:gd name="T42" fmla="*/ 2147483647 w 16"/>
                    <a:gd name="T43" fmla="*/ 2147483647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18"/>
                    <a:gd name="T68" fmla="*/ 16 w 16"/>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18">
                      <a:moveTo>
                        <a:pt x="16" y="7"/>
                      </a:moveTo>
                      <a:lnTo>
                        <a:pt x="16" y="7"/>
                      </a:lnTo>
                      <a:lnTo>
                        <a:pt x="16" y="3"/>
                      </a:lnTo>
                      <a:lnTo>
                        <a:pt x="14" y="2"/>
                      </a:lnTo>
                      <a:lnTo>
                        <a:pt x="7" y="0"/>
                      </a:lnTo>
                      <a:lnTo>
                        <a:pt x="4" y="0"/>
                      </a:lnTo>
                      <a:lnTo>
                        <a:pt x="1" y="2"/>
                      </a:lnTo>
                      <a:lnTo>
                        <a:pt x="0" y="6"/>
                      </a:lnTo>
                      <a:lnTo>
                        <a:pt x="0" y="9"/>
                      </a:lnTo>
                      <a:lnTo>
                        <a:pt x="2" y="13"/>
                      </a:lnTo>
                      <a:lnTo>
                        <a:pt x="5" y="16"/>
                      </a:lnTo>
                      <a:lnTo>
                        <a:pt x="7" y="18"/>
                      </a:lnTo>
                      <a:lnTo>
                        <a:pt x="9" y="18"/>
                      </a:lnTo>
                      <a:lnTo>
                        <a:pt x="11" y="18"/>
                      </a:lnTo>
                      <a:lnTo>
                        <a:pt x="14" y="15"/>
                      </a:lnTo>
                      <a:lnTo>
                        <a:pt x="15" y="12"/>
                      </a:lnTo>
                      <a:lnTo>
                        <a:pt x="1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4" name="Freeform 779"/>
                <p:cNvSpPr>
                  <a:spLocks/>
                </p:cNvSpPr>
                <p:nvPr/>
              </p:nvSpPr>
              <p:spPr bwMode="auto">
                <a:xfrm>
                  <a:off x="7628260" y="4696794"/>
                  <a:ext cx="59195" cy="31078"/>
                </a:xfrm>
                <a:custGeom>
                  <a:avLst/>
                  <a:gdLst>
                    <a:gd name="T0" fmla="*/ 2147483647 w 43"/>
                    <a:gd name="T1" fmla="*/ 2147483647 h 21"/>
                    <a:gd name="T2" fmla="*/ 2147483647 w 43"/>
                    <a:gd name="T3" fmla="*/ 2147483647 h 21"/>
                    <a:gd name="T4" fmla="*/ 2147483647 w 43"/>
                    <a:gd name="T5" fmla="*/ 2147483647 h 21"/>
                    <a:gd name="T6" fmla="*/ 2147483647 w 43"/>
                    <a:gd name="T7" fmla="*/ 2147483647 h 21"/>
                    <a:gd name="T8" fmla="*/ 2147483647 w 43"/>
                    <a:gd name="T9" fmla="*/ 2147483647 h 21"/>
                    <a:gd name="T10" fmla="*/ 2147483647 w 43"/>
                    <a:gd name="T11" fmla="*/ 2147483647 h 21"/>
                    <a:gd name="T12" fmla="*/ 2147483647 w 43"/>
                    <a:gd name="T13" fmla="*/ 2147483647 h 21"/>
                    <a:gd name="T14" fmla="*/ 2147483647 w 43"/>
                    <a:gd name="T15" fmla="*/ 2147483647 h 21"/>
                    <a:gd name="T16" fmla="*/ 2147483647 w 43"/>
                    <a:gd name="T17" fmla="*/ 0 h 21"/>
                    <a:gd name="T18" fmla="*/ 2147483647 w 43"/>
                    <a:gd name="T19" fmla="*/ 2147483647 h 21"/>
                    <a:gd name="T20" fmla="*/ 2147483647 w 43"/>
                    <a:gd name="T21" fmla="*/ 2147483647 h 21"/>
                    <a:gd name="T22" fmla="*/ 2147483647 w 43"/>
                    <a:gd name="T23" fmla="*/ 2147483647 h 21"/>
                    <a:gd name="T24" fmla="*/ 2147483647 w 43"/>
                    <a:gd name="T25" fmla="*/ 2147483647 h 21"/>
                    <a:gd name="T26" fmla="*/ 2147483647 w 43"/>
                    <a:gd name="T27" fmla="*/ 2147483647 h 21"/>
                    <a:gd name="T28" fmla="*/ 0 w 43"/>
                    <a:gd name="T29" fmla="*/ 2147483647 h 21"/>
                    <a:gd name="T30" fmla="*/ 0 w 43"/>
                    <a:gd name="T31" fmla="*/ 2147483647 h 21"/>
                    <a:gd name="T32" fmla="*/ 2147483647 w 43"/>
                    <a:gd name="T33" fmla="*/ 2147483647 h 21"/>
                    <a:gd name="T34" fmla="*/ 2147483647 w 43"/>
                    <a:gd name="T35" fmla="*/ 2147483647 h 21"/>
                    <a:gd name="T36" fmla="*/ 2147483647 w 43"/>
                    <a:gd name="T37" fmla="*/ 2147483647 h 21"/>
                    <a:gd name="T38" fmla="*/ 2147483647 w 43"/>
                    <a:gd name="T39" fmla="*/ 2147483647 h 21"/>
                    <a:gd name="T40" fmla="*/ 2147483647 w 43"/>
                    <a:gd name="T41" fmla="*/ 2147483647 h 21"/>
                    <a:gd name="T42" fmla="*/ 2147483647 w 43"/>
                    <a:gd name="T43" fmla="*/ 2147483647 h 21"/>
                    <a:gd name="T44" fmla="*/ 2147483647 w 43"/>
                    <a:gd name="T45" fmla="*/ 2147483647 h 21"/>
                    <a:gd name="T46" fmla="*/ 2147483647 w 43"/>
                    <a:gd name="T47" fmla="*/ 2147483647 h 21"/>
                    <a:gd name="T48" fmla="*/ 2147483647 w 43"/>
                    <a:gd name="T49" fmla="*/ 2147483647 h 21"/>
                    <a:gd name="T50" fmla="*/ 2147483647 w 43"/>
                    <a:gd name="T51" fmla="*/ 2147483647 h 21"/>
                    <a:gd name="T52" fmla="*/ 2147483647 w 43"/>
                    <a:gd name="T53" fmla="*/ 2147483647 h 21"/>
                    <a:gd name="T54" fmla="*/ 2147483647 w 43"/>
                    <a:gd name="T55" fmla="*/ 2147483647 h 21"/>
                    <a:gd name="T56" fmla="*/ 2147483647 w 43"/>
                    <a:gd name="T57" fmla="*/ 2147483647 h 21"/>
                    <a:gd name="T58" fmla="*/ 2147483647 w 43"/>
                    <a:gd name="T59" fmla="*/ 2147483647 h 21"/>
                    <a:gd name="T60" fmla="*/ 2147483647 w 43"/>
                    <a:gd name="T61" fmla="*/ 2147483647 h 21"/>
                    <a:gd name="T62" fmla="*/ 2147483647 w 43"/>
                    <a:gd name="T63" fmla="*/ 2147483647 h 21"/>
                    <a:gd name="T64" fmla="*/ 2147483647 w 43"/>
                    <a:gd name="T65" fmla="*/ 2147483647 h 21"/>
                    <a:gd name="T66" fmla="*/ 2147483647 w 43"/>
                    <a:gd name="T67" fmla="*/ 2147483647 h 21"/>
                    <a:gd name="T68" fmla="*/ 2147483647 w 43"/>
                    <a:gd name="T69" fmla="*/ 2147483647 h 21"/>
                    <a:gd name="T70" fmla="*/ 2147483647 w 43"/>
                    <a:gd name="T71" fmla="*/ 2147483647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
                    <a:gd name="T109" fmla="*/ 0 h 21"/>
                    <a:gd name="T110" fmla="*/ 43 w 43"/>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 h="21">
                      <a:moveTo>
                        <a:pt x="43" y="19"/>
                      </a:moveTo>
                      <a:lnTo>
                        <a:pt x="43" y="15"/>
                      </a:lnTo>
                      <a:lnTo>
                        <a:pt x="41" y="12"/>
                      </a:lnTo>
                      <a:lnTo>
                        <a:pt x="40" y="9"/>
                      </a:lnTo>
                      <a:lnTo>
                        <a:pt x="38" y="7"/>
                      </a:lnTo>
                      <a:lnTo>
                        <a:pt x="33" y="3"/>
                      </a:lnTo>
                      <a:lnTo>
                        <a:pt x="25" y="2"/>
                      </a:lnTo>
                      <a:lnTo>
                        <a:pt x="22" y="1"/>
                      </a:lnTo>
                      <a:lnTo>
                        <a:pt x="21" y="0"/>
                      </a:lnTo>
                      <a:lnTo>
                        <a:pt x="17" y="1"/>
                      </a:lnTo>
                      <a:lnTo>
                        <a:pt x="13" y="1"/>
                      </a:lnTo>
                      <a:lnTo>
                        <a:pt x="6" y="1"/>
                      </a:lnTo>
                      <a:lnTo>
                        <a:pt x="3" y="1"/>
                      </a:lnTo>
                      <a:lnTo>
                        <a:pt x="1" y="3"/>
                      </a:lnTo>
                      <a:lnTo>
                        <a:pt x="0" y="6"/>
                      </a:lnTo>
                      <a:lnTo>
                        <a:pt x="0" y="8"/>
                      </a:lnTo>
                      <a:lnTo>
                        <a:pt x="1" y="9"/>
                      </a:lnTo>
                      <a:lnTo>
                        <a:pt x="1" y="11"/>
                      </a:lnTo>
                      <a:lnTo>
                        <a:pt x="3" y="9"/>
                      </a:lnTo>
                      <a:lnTo>
                        <a:pt x="6" y="8"/>
                      </a:lnTo>
                      <a:lnTo>
                        <a:pt x="8" y="7"/>
                      </a:lnTo>
                      <a:lnTo>
                        <a:pt x="10" y="7"/>
                      </a:lnTo>
                      <a:lnTo>
                        <a:pt x="11" y="9"/>
                      </a:lnTo>
                      <a:lnTo>
                        <a:pt x="12" y="12"/>
                      </a:lnTo>
                      <a:lnTo>
                        <a:pt x="13" y="12"/>
                      </a:lnTo>
                      <a:lnTo>
                        <a:pt x="16" y="12"/>
                      </a:lnTo>
                      <a:lnTo>
                        <a:pt x="20" y="11"/>
                      </a:lnTo>
                      <a:lnTo>
                        <a:pt x="24" y="11"/>
                      </a:lnTo>
                      <a:lnTo>
                        <a:pt x="25" y="11"/>
                      </a:lnTo>
                      <a:lnTo>
                        <a:pt x="26" y="12"/>
                      </a:lnTo>
                      <a:lnTo>
                        <a:pt x="31" y="17"/>
                      </a:lnTo>
                      <a:lnTo>
                        <a:pt x="36" y="20"/>
                      </a:lnTo>
                      <a:lnTo>
                        <a:pt x="39" y="21"/>
                      </a:lnTo>
                      <a:lnTo>
                        <a:pt x="40" y="21"/>
                      </a:lnTo>
                      <a:lnTo>
                        <a:pt x="41" y="20"/>
                      </a:lnTo>
                      <a:lnTo>
                        <a:pt x="43" y="1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5" name="Freeform 780"/>
                <p:cNvSpPr>
                  <a:spLocks/>
                </p:cNvSpPr>
                <p:nvPr/>
              </p:nvSpPr>
              <p:spPr bwMode="auto">
                <a:xfrm>
                  <a:off x="7804368" y="4633160"/>
                  <a:ext cx="13318" cy="16278"/>
                </a:xfrm>
                <a:custGeom>
                  <a:avLst/>
                  <a:gdLst>
                    <a:gd name="T0" fmla="*/ 2147483647 w 9"/>
                    <a:gd name="T1" fmla="*/ 2147483647 h 11"/>
                    <a:gd name="T2" fmla="*/ 2147483647 w 9"/>
                    <a:gd name="T3" fmla="*/ 2147483647 h 11"/>
                    <a:gd name="T4" fmla="*/ 2147483647 w 9"/>
                    <a:gd name="T5" fmla="*/ 0 h 11"/>
                    <a:gd name="T6" fmla="*/ 2147483647 w 9"/>
                    <a:gd name="T7" fmla="*/ 0 h 11"/>
                    <a:gd name="T8" fmla="*/ 0 w 9"/>
                    <a:gd name="T9" fmla="*/ 2147483647 h 11"/>
                    <a:gd name="T10" fmla="*/ 0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1"/>
                    <a:gd name="T35" fmla="*/ 9 w 9"/>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1">
                      <a:moveTo>
                        <a:pt x="8" y="9"/>
                      </a:moveTo>
                      <a:lnTo>
                        <a:pt x="5" y="4"/>
                      </a:lnTo>
                      <a:lnTo>
                        <a:pt x="3" y="0"/>
                      </a:lnTo>
                      <a:lnTo>
                        <a:pt x="1" y="0"/>
                      </a:lnTo>
                      <a:lnTo>
                        <a:pt x="0" y="1"/>
                      </a:lnTo>
                      <a:lnTo>
                        <a:pt x="0" y="4"/>
                      </a:lnTo>
                      <a:lnTo>
                        <a:pt x="3" y="9"/>
                      </a:lnTo>
                      <a:lnTo>
                        <a:pt x="6" y="11"/>
                      </a:lnTo>
                      <a:lnTo>
                        <a:pt x="8" y="10"/>
                      </a:lnTo>
                      <a:lnTo>
                        <a:pt x="9" y="10"/>
                      </a:lnTo>
                      <a:lnTo>
                        <a:pt x="8"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6" name="Freeform 781"/>
                <p:cNvSpPr>
                  <a:spLocks/>
                </p:cNvSpPr>
                <p:nvPr/>
              </p:nvSpPr>
              <p:spPr bwMode="auto">
                <a:xfrm>
                  <a:off x="7625300" y="4695318"/>
                  <a:ext cx="59195" cy="31077"/>
                </a:xfrm>
                <a:custGeom>
                  <a:avLst/>
                  <a:gdLst>
                    <a:gd name="T0" fmla="*/ 2147483647 w 43"/>
                    <a:gd name="T1" fmla="*/ 2147483647 h 21"/>
                    <a:gd name="T2" fmla="*/ 2147483647 w 43"/>
                    <a:gd name="T3" fmla="*/ 2147483647 h 21"/>
                    <a:gd name="T4" fmla="*/ 2147483647 w 43"/>
                    <a:gd name="T5" fmla="*/ 2147483647 h 21"/>
                    <a:gd name="T6" fmla="*/ 2147483647 w 43"/>
                    <a:gd name="T7" fmla="*/ 2147483647 h 21"/>
                    <a:gd name="T8" fmla="*/ 2147483647 w 43"/>
                    <a:gd name="T9" fmla="*/ 2147483647 h 21"/>
                    <a:gd name="T10" fmla="*/ 2147483647 w 43"/>
                    <a:gd name="T11" fmla="*/ 2147483647 h 21"/>
                    <a:gd name="T12" fmla="*/ 2147483647 w 43"/>
                    <a:gd name="T13" fmla="*/ 2147483647 h 21"/>
                    <a:gd name="T14" fmla="*/ 2147483647 w 43"/>
                    <a:gd name="T15" fmla="*/ 2147483647 h 21"/>
                    <a:gd name="T16" fmla="*/ 2147483647 w 43"/>
                    <a:gd name="T17" fmla="*/ 2147483647 h 21"/>
                    <a:gd name="T18" fmla="*/ 2147483647 w 43"/>
                    <a:gd name="T19" fmla="*/ 2147483647 h 21"/>
                    <a:gd name="T20" fmla="*/ 2147483647 w 43"/>
                    <a:gd name="T21" fmla="*/ 0 h 21"/>
                    <a:gd name="T22" fmla="*/ 2147483647 w 43"/>
                    <a:gd name="T23" fmla="*/ 0 h 21"/>
                    <a:gd name="T24" fmla="*/ 2147483647 w 43"/>
                    <a:gd name="T25" fmla="*/ 2147483647 h 21"/>
                    <a:gd name="T26" fmla="*/ 2147483647 w 43"/>
                    <a:gd name="T27" fmla="*/ 2147483647 h 21"/>
                    <a:gd name="T28" fmla="*/ 2147483647 w 43"/>
                    <a:gd name="T29" fmla="*/ 2147483647 h 21"/>
                    <a:gd name="T30" fmla="*/ 2147483647 w 43"/>
                    <a:gd name="T31" fmla="*/ 2147483647 h 21"/>
                    <a:gd name="T32" fmla="*/ 2147483647 w 43"/>
                    <a:gd name="T33" fmla="*/ 2147483647 h 21"/>
                    <a:gd name="T34" fmla="*/ 2147483647 w 43"/>
                    <a:gd name="T35" fmla="*/ 2147483647 h 21"/>
                    <a:gd name="T36" fmla="*/ 0 w 43"/>
                    <a:gd name="T37" fmla="*/ 2147483647 h 21"/>
                    <a:gd name="T38" fmla="*/ 0 w 43"/>
                    <a:gd name="T39" fmla="*/ 2147483647 h 21"/>
                    <a:gd name="T40" fmla="*/ 0 w 43"/>
                    <a:gd name="T41" fmla="*/ 2147483647 h 21"/>
                    <a:gd name="T42" fmla="*/ 2147483647 w 43"/>
                    <a:gd name="T43" fmla="*/ 2147483647 h 21"/>
                    <a:gd name="T44" fmla="*/ 2147483647 w 43"/>
                    <a:gd name="T45" fmla="*/ 2147483647 h 21"/>
                    <a:gd name="T46" fmla="*/ 2147483647 w 43"/>
                    <a:gd name="T47" fmla="*/ 2147483647 h 21"/>
                    <a:gd name="T48" fmla="*/ 2147483647 w 43"/>
                    <a:gd name="T49" fmla="*/ 2147483647 h 21"/>
                    <a:gd name="T50" fmla="*/ 2147483647 w 43"/>
                    <a:gd name="T51" fmla="*/ 2147483647 h 21"/>
                    <a:gd name="T52" fmla="*/ 2147483647 w 43"/>
                    <a:gd name="T53" fmla="*/ 2147483647 h 21"/>
                    <a:gd name="T54" fmla="*/ 2147483647 w 43"/>
                    <a:gd name="T55" fmla="*/ 2147483647 h 21"/>
                    <a:gd name="T56" fmla="*/ 2147483647 w 43"/>
                    <a:gd name="T57" fmla="*/ 2147483647 h 21"/>
                    <a:gd name="T58" fmla="*/ 2147483647 w 43"/>
                    <a:gd name="T59" fmla="*/ 2147483647 h 21"/>
                    <a:gd name="T60" fmla="*/ 2147483647 w 43"/>
                    <a:gd name="T61" fmla="*/ 2147483647 h 21"/>
                    <a:gd name="T62" fmla="*/ 2147483647 w 43"/>
                    <a:gd name="T63" fmla="*/ 2147483647 h 21"/>
                    <a:gd name="T64" fmla="*/ 2147483647 w 43"/>
                    <a:gd name="T65" fmla="*/ 2147483647 h 21"/>
                    <a:gd name="T66" fmla="*/ 2147483647 w 43"/>
                    <a:gd name="T67" fmla="*/ 2147483647 h 21"/>
                    <a:gd name="T68" fmla="*/ 2147483647 w 43"/>
                    <a:gd name="T69" fmla="*/ 2147483647 h 21"/>
                    <a:gd name="T70" fmla="*/ 2147483647 w 43"/>
                    <a:gd name="T71" fmla="*/ 2147483647 h 21"/>
                    <a:gd name="T72" fmla="*/ 2147483647 w 43"/>
                    <a:gd name="T73" fmla="*/ 2147483647 h 21"/>
                    <a:gd name="T74" fmla="*/ 2147483647 w 43"/>
                    <a:gd name="T75" fmla="*/ 2147483647 h 21"/>
                    <a:gd name="T76" fmla="*/ 2147483647 w 43"/>
                    <a:gd name="T77" fmla="*/ 2147483647 h 21"/>
                    <a:gd name="T78" fmla="*/ 2147483647 w 43"/>
                    <a:gd name="T79" fmla="*/ 2147483647 h 21"/>
                    <a:gd name="T80" fmla="*/ 2147483647 w 43"/>
                    <a:gd name="T81" fmla="*/ 2147483647 h 21"/>
                    <a:gd name="T82" fmla="*/ 2147483647 w 43"/>
                    <a:gd name="T83" fmla="*/ 2147483647 h 21"/>
                    <a:gd name="T84" fmla="*/ 2147483647 w 43"/>
                    <a:gd name="T85" fmla="*/ 2147483647 h 21"/>
                    <a:gd name="T86" fmla="*/ 2147483647 w 43"/>
                    <a:gd name="T87" fmla="*/ 2147483647 h 21"/>
                    <a:gd name="T88" fmla="*/ 2147483647 w 43"/>
                    <a:gd name="T89" fmla="*/ 2147483647 h 21"/>
                    <a:gd name="T90" fmla="*/ 2147483647 w 43"/>
                    <a:gd name="T91" fmla="*/ 2147483647 h 21"/>
                    <a:gd name="T92" fmla="*/ 2147483647 w 43"/>
                    <a:gd name="T93" fmla="*/ 2147483647 h 21"/>
                    <a:gd name="T94" fmla="*/ 2147483647 w 43"/>
                    <a:gd name="T95" fmla="*/ 2147483647 h 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3"/>
                    <a:gd name="T145" fmla="*/ 0 h 21"/>
                    <a:gd name="T146" fmla="*/ 43 w 43"/>
                    <a:gd name="T147" fmla="*/ 21 h 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3" h="21">
                      <a:moveTo>
                        <a:pt x="43" y="19"/>
                      </a:moveTo>
                      <a:lnTo>
                        <a:pt x="43" y="19"/>
                      </a:lnTo>
                      <a:lnTo>
                        <a:pt x="43" y="15"/>
                      </a:lnTo>
                      <a:lnTo>
                        <a:pt x="42" y="12"/>
                      </a:lnTo>
                      <a:lnTo>
                        <a:pt x="41" y="9"/>
                      </a:lnTo>
                      <a:lnTo>
                        <a:pt x="38" y="7"/>
                      </a:lnTo>
                      <a:lnTo>
                        <a:pt x="33" y="3"/>
                      </a:lnTo>
                      <a:lnTo>
                        <a:pt x="26" y="2"/>
                      </a:lnTo>
                      <a:lnTo>
                        <a:pt x="23" y="1"/>
                      </a:lnTo>
                      <a:lnTo>
                        <a:pt x="22" y="0"/>
                      </a:lnTo>
                      <a:lnTo>
                        <a:pt x="18" y="1"/>
                      </a:lnTo>
                      <a:lnTo>
                        <a:pt x="14" y="1"/>
                      </a:lnTo>
                      <a:lnTo>
                        <a:pt x="7" y="1"/>
                      </a:lnTo>
                      <a:lnTo>
                        <a:pt x="4" y="1"/>
                      </a:lnTo>
                      <a:lnTo>
                        <a:pt x="2" y="3"/>
                      </a:lnTo>
                      <a:lnTo>
                        <a:pt x="0" y="6"/>
                      </a:lnTo>
                      <a:lnTo>
                        <a:pt x="0" y="8"/>
                      </a:lnTo>
                      <a:lnTo>
                        <a:pt x="2" y="9"/>
                      </a:lnTo>
                      <a:lnTo>
                        <a:pt x="2" y="10"/>
                      </a:lnTo>
                      <a:lnTo>
                        <a:pt x="4" y="9"/>
                      </a:lnTo>
                      <a:lnTo>
                        <a:pt x="7" y="8"/>
                      </a:lnTo>
                      <a:lnTo>
                        <a:pt x="9" y="7"/>
                      </a:lnTo>
                      <a:lnTo>
                        <a:pt x="10" y="7"/>
                      </a:lnTo>
                      <a:lnTo>
                        <a:pt x="12" y="9"/>
                      </a:lnTo>
                      <a:lnTo>
                        <a:pt x="13" y="12"/>
                      </a:lnTo>
                      <a:lnTo>
                        <a:pt x="14" y="12"/>
                      </a:lnTo>
                      <a:lnTo>
                        <a:pt x="17" y="12"/>
                      </a:lnTo>
                      <a:lnTo>
                        <a:pt x="21" y="10"/>
                      </a:lnTo>
                      <a:lnTo>
                        <a:pt x="24" y="10"/>
                      </a:lnTo>
                      <a:lnTo>
                        <a:pt x="26" y="10"/>
                      </a:lnTo>
                      <a:lnTo>
                        <a:pt x="27" y="12"/>
                      </a:lnTo>
                      <a:lnTo>
                        <a:pt x="32" y="16"/>
                      </a:lnTo>
                      <a:lnTo>
                        <a:pt x="37" y="20"/>
                      </a:lnTo>
                      <a:lnTo>
                        <a:pt x="40" y="21"/>
                      </a:lnTo>
                      <a:lnTo>
                        <a:pt x="41" y="21"/>
                      </a:lnTo>
                      <a:lnTo>
                        <a:pt x="42" y="20"/>
                      </a:lnTo>
                      <a:lnTo>
                        <a:pt x="43" y="1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7" name="Freeform 782"/>
                <p:cNvSpPr>
                  <a:spLocks/>
                </p:cNvSpPr>
                <p:nvPr/>
              </p:nvSpPr>
              <p:spPr bwMode="auto">
                <a:xfrm>
                  <a:off x="7802885" y="4631684"/>
                  <a:ext cx="13319" cy="16279"/>
                </a:xfrm>
                <a:custGeom>
                  <a:avLst/>
                  <a:gdLst>
                    <a:gd name="T0" fmla="*/ 2147483647 w 9"/>
                    <a:gd name="T1" fmla="*/ 2147483647 h 11"/>
                    <a:gd name="T2" fmla="*/ 2147483647 w 9"/>
                    <a:gd name="T3" fmla="*/ 2147483647 h 11"/>
                    <a:gd name="T4" fmla="*/ 2147483647 w 9"/>
                    <a:gd name="T5" fmla="*/ 2147483647 h 11"/>
                    <a:gd name="T6" fmla="*/ 2147483647 w 9"/>
                    <a:gd name="T7" fmla="*/ 0 h 11"/>
                    <a:gd name="T8" fmla="*/ 2147483647 w 9"/>
                    <a:gd name="T9" fmla="*/ 0 h 11"/>
                    <a:gd name="T10" fmla="*/ 2147483647 w 9"/>
                    <a:gd name="T11" fmla="*/ 0 h 11"/>
                    <a:gd name="T12" fmla="*/ 0 w 9"/>
                    <a:gd name="T13" fmla="*/ 2147483647 h 11"/>
                    <a:gd name="T14" fmla="*/ 0 w 9"/>
                    <a:gd name="T15" fmla="*/ 2147483647 h 11"/>
                    <a:gd name="T16" fmla="*/ 0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
                    <a:gd name="T58" fmla="*/ 0 h 11"/>
                    <a:gd name="T59" fmla="*/ 9 w 9"/>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 h="11">
                      <a:moveTo>
                        <a:pt x="7" y="8"/>
                      </a:moveTo>
                      <a:lnTo>
                        <a:pt x="7" y="8"/>
                      </a:lnTo>
                      <a:lnTo>
                        <a:pt x="5" y="4"/>
                      </a:lnTo>
                      <a:lnTo>
                        <a:pt x="2" y="0"/>
                      </a:lnTo>
                      <a:lnTo>
                        <a:pt x="1" y="0"/>
                      </a:lnTo>
                      <a:lnTo>
                        <a:pt x="0" y="1"/>
                      </a:lnTo>
                      <a:lnTo>
                        <a:pt x="0" y="4"/>
                      </a:lnTo>
                      <a:lnTo>
                        <a:pt x="2" y="8"/>
                      </a:lnTo>
                      <a:lnTo>
                        <a:pt x="6" y="11"/>
                      </a:lnTo>
                      <a:lnTo>
                        <a:pt x="7" y="10"/>
                      </a:lnTo>
                      <a:lnTo>
                        <a:pt x="9" y="10"/>
                      </a:lnTo>
                      <a:lnTo>
                        <a:pt x="7"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8" name="Freeform 783"/>
                <p:cNvSpPr>
                  <a:spLocks/>
                </p:cNvSpPr>
                <p:nvPr/>
              </p:nvSpPr>
              <p:spPr bwMode="auto">
                <a:xfrm>
                  <a:off x="7802888" y="4665720"/>
                  <a:ext cx="28118" cy="5919"/>
                </a:xfrm>
                <a:custGeom>
                  <a:avLst/>
                  <a:gdLst>
                    <a:gd name="T0" fmla="*/ 2147483647 w 21"/>
                    <a:gd name="T1" fmla="*/ 2147483647 h 4"/>
                    <a:gd name="T2" fmla="*/ 2147483647 w 21"/>
                    <a:gd name="T3" fmla="*/ 2147483647 h 4"/>
                    <a:gd name="T4" fmla="*/ 2147483647 w 21"/>
                    <a:gd name="T5" fmla="*/ 2147483647 h 4"/>
                    <a:gd name="T6" fmla="*/ 2147483647 w 21"/>
                    <a:gd name="T7" fmla="*/ 0 h 4"/>
                    <a:gd name="T8" fmla="*/ 2147483647 w 21"/>
                    <a:gd name="T9" fmla="*/ 0 h 4"/>
                    <a:gd name="T10" fmla="*/ 2147483647 w 21"/>
                    <a:gd name="T11" fmla="*/ 2147483647 h 4"/>
                    <a:gd name="T12" fmla="*/ 0 w 21"/>
                    <a:gd name="T13" fmla="*/ 2147483647 h 4"/>
                    <a:gd name="T14" fmla="*/ 0 w 21"/>
                    <a:gd name="T15" fmla="*/ 2147483647 h 4"/>
                    <a:gd name="T16" fmla="*/ 2147483647 w 21"/>
                    <a:gd name="T17" fmla="*/ 2147483647 h 4"/>
                    <a:gd name="T18" fmla="*/ 2147483647 w 21"/>
                    <a:gd name="T19" fmla="*/ 2147483647 h 4"/>
                    <a:gd name="T20" fmla="*/ 2147483647 w 21"/>
                    <a:gd name="T21" fmla="*/ 2147483647 h 4"/>
                    <a:gd name="T22" fmla="*/ 2147483647 w 21"/>
                    <a:gd name="T23" fmla="*/ 2147483647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4"/>
                    <a:gd name="T38" fmla="*/ 21 w 21"/>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4">
                      <a:moveTo>
                        <a:pt x="20" y="4"/>
                      </a:moveTo>
                      <a:lnTo>
                        <a:pt x="21" y="3"/>
                      </a:lnTo>
                      <a:lnTo>
                        <a:pt x="21" y="1"/>
                      </a:lnTo>
                      <a:lnTo>
                        <a:pt x="21" y="0"/>
                      </a:lnTo>
                      <a:lnTo>
                        <a:pt x="19" y="0"/>
                      </a:lnTo>
                      <a:lnTo>
                        <a:pt x="10" y="1"/>
                      </a:lnTo>
                      <a:lnTo>
                        <a:pt x="0" y="1"/>
                      </a:lnTo>
                      <a:lnTo>
                        <a:pt x="0" y="2"/>
                      </a:lnTo>
                      <a:lnTo>
                        <a:pt x="5" y="4"/>
                      </a:lnTo>
                      <a:lnTo>
                        <a:pt x="10" y="4"/>
                      </a:lnTo>
                      <a:lnTo>
                        <a:pt x="15" y="4"/>
                      </a:lnTo>
                      <a:lnTo>
                        <a:pt x="20"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09" name="Freeform 784"/>
                <p:cNvSpPr>
                  <a:spLocks/>
                </p:cNvSpPr>
                <p:nvPr/>
              </p:nvSpPr>
              <p:spPr bwMode="auto">
                <a:xfrm>
                  <a:off x="7773287" y="4776707"/>
                  <a:ext cx="11839" cy="11839"/>
                </a:xfrm>
                <a:custGeom>
                  <a:avLst/>
                  <a:gdLst>
                    <a:gd name="T0" fmla="*/ 2147483647 w 8"/>
                    <a:gd name="T1" fmla="*/ 2147483647 h 8"/>
                    <a:gd name="T2" fmla="*/ 2147483647 w 8"/>
                    <a:gd name="T3" fmla="*/ 2147483647 h 8"/>
                    <a:gd name="T4" fmla="*/ 2147483647 w 8"/>
                    <a:gd name="T5" fmla="*/ 0 h 8"/>
                    <a:gd name="T6" fmla="*/ 2147483647 w 8"/>
                    <a:gd name="T7" fmla="*/ 0 h 8"/>
                    <a:gd name="T8" fmla="*/ 2147483647 w 8"/>
                    <a:gd name="T9" fmla="*/ 2147483647 h 8"/>
                    <a:gd name="T10" fmla="*/ 0 w 8"/>
                    <a:gd name="T11" fmla="*/ 2147483647 h 8"/>
                    <a:gd name="T12" fmla="*/ 0 w 8"/>
                    <a:gd name="T13" fmla="*/ 2147483647 h 8"/>
                    <a:gd name="T14" fmla="*/ 2147483647 w 8"/>
                    <a:gd name="T15" fmla="*/ 2147483647 h 8"/>
                    <a:gd name="T16" fmla="*/ 2147483647 w 8"/>
                    <a:gd name="T17" fmla="*/ 2147483647 h 8"/>
                    <a:gd name="T18" fmla="*/ 2147483647 w 8"/>
                    <a:gd name="T19" fmla="*/ 2147483647 h 8"/>
                    <a:gd name="T20" fmla="*/ 2147483647 w 8"/>
                    <a:gd name="T21" fmla="*/ 2147483647 h 8"/>
                    <a:gd name="T22" fmla="*/ 2147483647 w 8"/>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8" y="5"/>
                      </a:moveTo>
                      <a:lnTo>
                        <a:pt x="8" y="2"/>
                      </a:lnTo>
                      <a:lnTo>
                        <a:pt x="7" y="0"/>
                      </a:lnTo>
                      <a:lnTo>
                        <a:pt x="4" y="0"/>
                      </a:lnTo>
                      <a:lnTo>
                        <a:pt x="1" y="2"/>
                      </a:lnTo>
                      <a:lnTo>
                        <a:pt x="0" y="4"/>
                      </a:lnTo>
                      <a:lnTo>
                        <a:pt x="0" y="5"/>
                      </a:lnTo>
                      <a:lnTo>
                        <a:pt x="1" y="6"/>
                      </a:lnTo>
                      <a:lnTo>
                        <a:pt x="3" y="8"/>
                      </a:lnTo>
                      <a:lnTo>
                        <a:pt x="5" y="8"/>
                      </a:lnTo>
                      <a:lnTo>
                        <a:pt x="7" y="8"/>
                      </a:lnTo>
                      <a:lnTo>
                        <a:pt x="8"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0" name="Freeform 785"/>
                <p:cNvSpPr>
                  <a:spLocks/>
                </p:cNvSpPr>
                <p:nvPr/>
              </p:nvSpPr>
              <p:spPr bwMode="auto">
                <a:xfrm>
                  <a:off x="7799925" y="4662761"/>
                  <a:ext cx="29597" cy="7399"/>
                </a:xfrm>
                <a:custGeom>
                  <a:avLst/>
                  <a:gdLst>
                    <a:gd name="T0" fmla="*/ 2147483647 w 22"/>
                    <a:gd name="T1" fmla="*/ 2147483647 h 5"/>
                    <a:gd name="T2" fmla="*/ 2147483647 w 22"/>
                    <a:gd name="T3" fmla="*/ 2147483647 h 5"/>
                    <a:gd name="T4" fmla="*/ 2147483647 w 22"/>
                    <a:gd name="T5" fmla="*/ 2147483647 h 5"/>
                    <a:gd name="T6" fmla="*/ 2147483647 w 22"/>
                    <a:gd name="T7" fmla="*/ 2147483647 h 5"/>
                    <a:gd name="T8" fmla="*/ 2147483647 w 22"/>
                    <a:gd name="T9" fmla="*/ 0 h 5"/>
                    <a:gd name="T10" fmla="*/ 2147483647 w 22"/>
                    <a:gd name="T11" fmla="*/ 0 h 5"/>
                    <a:gd name="T12" fmla="*/ 2147483647 w 22"/>
                    <a:gd name="T13" fmla="*/ 0 h 5"/>
                    <a:gd name="T14" fmla="*/ 2147483647 w 22"/>
                    <a:gd name="T15" fmla="*/ 2147483647 h 5"/>
                    <a:gd name="T16" fmla="*/ 0 w 22"/>
                    <a:gd name="T17" fmla="*/ 2147483647 h 5"/>
                    <a:gd name="T18" fmla="*/ 0 w 22"/>
                    <a:gd name="T19" fmla="*/ 2147483647 h 5"/>
                    <a:gd name="T20" fmla="*/ 0 w 22"/>
                    <a:gd name="T21" fmla="*/ 2147483647 h 5"/>
                    <a:gd name="T22" fmla="*/ 0 w 22"/>
                    <a:gd name="T23" fmla="*/ 2147483647 h 5"/>
                    <a:gd name="T24" fmla="*/ 2147483647 w 22"/>
                    <a:gd name="T25" fmla="*/ 2147483647 h 5"/>
                    <a:gd name="T26" fmla="*/ 2147483647 w 22"/>
                    <a:gd name="T27" fmla="*/ 2147483647 h 5"/>
                    <a:gd name="T28" fmla="*/ 2147483647 w 22"/>
                    <a:gd name="T29" fmla="*/ 2147483647 h 5"/>
                    <a:gd name="T30" fmla="*/ 2147483647 w 22"/>
                    <a:gd name="T31" fmla="*/ 2147483647 h 5"/>
                    <a:gd name="T32" fmla="*/ 2147483647 w 22"/>
                    <a:gd name="T33" fmla="*/ 2147483647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5"/>
                    <a:gd name="T53" fmla="*/ 22 w 22"/>
                    <a:gd name="T54" fmla="*/ 5 h 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5">
                      <a:moveTo>
                        <a:pt x="21" y="5"/>
                      </a:moveTo>
                      <a:lnTo>
                        <a:pt x="21" y="5"/>
                      </a:lnTo>
                      <a:lnTo>
                        <a:pt x="22" y="4"/>
                      </a:lnTo>
                      <a:lnTo>
                        <a:pt x="22" y="2"/>
                      </a:lnTo>
                      <a:lnTo>
                        <a:pt x="22" y="0"/>
                      </a:lnTo>
                      <a:lnTo>
                        <a:pt x="19" y="0"/>
                      </a:lnTo>
                      <a:lnTo>
                        <a:pt x="10" y="2"/>
                      </a:lnTo>
                      <a:lnTo>
                        <a:pt x="0" y="2"/>
                      </a:lnTo>
                      <a:lnTo>
                        <a:pt x="0" y="3"/>
                      </a:lnTo>
                      <a:lnTo>
                        <a:pt x="5" y="5"/>
                      </a:lnTo>
                      <a:lnTo>
                        <a:pt x="10" y="5"/>
                      </a:lnTo>
                      <a:lnTo>
                        <a:pt x="15" y="5"/>
                      </a:lnTo>
                      <a:lnTo>
                        <a:pt x="21"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1" name="Freeform 786"/>
                <p:cNvSpPr>
                  <a:spLocks/>
                </p:cNvSpPr>
                <p:nvPr/>
              </p:nvSpPr>
              <p:spPr bwMode="auto">
                <a:xfrm>
                  <a:off x="7771810" y="4775228"/>
                  <a:ext cx="11839" cy="10359"/>
                </a:xfrm>
                <a:custGeom>
                  <a:avLst/>
                  <a:gdLst>
                    <a:gd name="T0" fmla="*/ 2147483647 w 8"/>
                    <a:gd name="T1" fmla="*/ 2147483647 h 7"/>
                    <a:gd name="T2" fmla="*/ 2147483647 w 8"/>
                    <a:gd name="T3" fmla="*/ 2147483647 h 7"/>
                    <a:gd name="T4" fmla="*/ 2147483647 w 8"/>
                    <a:gd name="T5" fmla="*/ 2147483647 h 7"/>
                    <a:gd name="T6" fmla="*/ 2147483647 w 8"/>
                    <a:gd name="T7" fmla="*/ 0 h 7"/>
                    <a:gd name="T8" fmla="*/ 2147483647 w 8"/>
                    <a:gd name="T9" fmla="*/ 0 h 7"/>
                    <a:gd name="T10" fmla="*/ 2147483647 w 8"/>
                    <a:gd name="T11" fmla="*/ 0 h 7"/>
                    <a:gd name="T12" fmla="*/ 2147483647 w 8"/>
                    <a:gd name="T13" fmla="*/ 2147483647 h 7"/>
                    <a:gd name="T14" fmla="*/ 2147483647 w 8"/>
                    <a:gd name="T15" fmla="*/ 2147483647 h 7"/>
                    <a:gd name="T16" fmla="*/ 0 w 8"/>
                    <a:gd name="T17" fmla="*/ 2147483647 h 7"/>
                    <a:gd name="T18" fmla="*/ 0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2147483647 w 8"/>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7"/>
                    <a:gd name="T53" fmla="*/ 8 w 8"/>
                    <a:gd name="T54" fmla="*/ 7 h 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7">
                      <a:moveTo>
                        <a:pt x="8" y="5"/>
                      </a:moveTo>
                      <a:lnTo>
                        <a:pt x="8" y="5"/>
                      </a:lnTo>
                      <a:lnTo>
                        <a:pt x="8" y="1"/>
                      </a:lnTo>
                      <a:lnTo>
                        <a:pt x="6" y="0"/>
                      </a:lnTo>
                      <a:lnTo>
                        <a:pt x="4" y="0"/>
                      </a:lnTo>
                      <a:lnTo>
                        <a:pt x="1" y="1"/>
                      </a:lnTo>
                      <a:lnTo>
                        <a:pt x="0" y="4"/>
                      </a:lnTo>
                      <a:lnTo>
                        <a:pt x="0" y="5"/>
                      </a:lnTo>
                      <a:lnTo>
                        <a:pt x="1" y="6"/>
                      </a:lnTo>
                      <a:lnTo>
                        <a:pt x="2" y="7"/>
                      </a:lnTo>
                      <a:lnTo>
                        <a:pt x="5" y="7"/>
                      </a:lnTo>
                      <a:lnTo>
                        <a:pt x="6" y="7"/>
                      </a:lnTo>
                      <a:lnTo>
                        <a:pt x="8"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2" name="Freeform 787"/>
                <p:cNvSpPr>
                  <a:spLocks/>
                </p:cNvSpPr>
                <p:nvPr/>
              </p:nvSpPr>
              <p:spPr bwMode="auto">
                <a:xfrm>
                  <a:off x="7739252" y="4772272"/>
                  <a:ext cx="11839" cy="20718"/>
                </a:xfrm>
                <a:custGeom>
                  <a:avLst/>
                  <a:gdLst>
                    <a:gd name="T0" fmla="*/ 2147483647 w 9"/>
                    <a:gd name="T1" fmla="*/ 2147483647 h 14"/>
                    <a:gd name="T2" fmla="*/ 2147483647 w 9"/>
                    <a:gd name="T3" fmla="*/ 2147483647 h 14"/>
                    <a:gd name="T4" fmla="*/ 2147483647 w 9"/>
                    <a:gd name="T5" fmla="*/ 2147483647 h 14"/>
                    <a:gd name="T6" fmla="*/ 2147483647 w 9"/>
                    <a:gd name="T7" fmla="*/ 0 h 14"/>
                    <a:gd name="T8" fmla="*/ 2147483647 w 9"/>
                    <a:gd name="T9" fmla="*/ 0 h 14"/>
                    <a:gd name="T10" fmla="*/ 2147483647 w 9"/>
                    <a:gd name="T11" fmla="*/ 0 h 14"/>
                    <a:gd name="T12" fmla="*/ 2147483647 w 9"/>
                    <a:gd name="T13" fmla="*/ 2147483647 h 14"/>
                    <a:gd name="T14" fmla="*/ 0 w 9"/>
                    <a:gd name="T15" fmla="*/ 2147483647 h 14"/>
                    <a:gd name="T16" fmla="*/ 0 w 9"/>
                    <a:gd name="T17" fmla="*/ 2147483647 h 14"/>
                    <a:gd name="T18" fmla="*/ 0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14"/>
                    <a:gd name="T47" fmla="*/ 9 w 9"/>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14">
                      <a:moveTo>
                        <a:pt x="6" y="7"/>
                      </a:moveTo>
                      <a:lnTo>
                        <a:pt x="9" y="3"/>
                      </a:lnTo>
                      <a:lnTo>
                        <a:pt x="9" y="1"/>
                      </a:lnTo>
                      <a:lnTo>
                        <a:pt x="7" y="0"/>
                      </a:lnTo>
                      <a:lnTo>
                        <a:pt x="6" y="0"/>
                      </a:lnTo>
                      <a:lnTo>
                        <a:pt x="5" y="0"/>
                      </a:lnTo>
                      <a:lnTo>
                        <a:pt x="2" y="2"/>
                      </a:lnTo>
                      <a:lnTo>
                        <a:pt x="0" y="7"/>
                      </a:lnTo>
                      <a:lnTo>
                        <a:pt x="0" y="11"/>
                      </a:lnTo>
                      <a:lnTo>
                        <a:pt x="0" y="13"/>
                      </a:lnTo>
                      <a:lnTo>
                        <a:pt x="1" y="14"/>
                      </a:lnTo>
                      <a:lnTo>
                        <a:pt x="2" y="14"/>
                      </a:lnTo>
                      <a:lnTo>
                        <a:pt x="4" y="13"/>
                      </a:lnTo>
                      <a:lnTo>
                        <a:pt x="5" y="12"/>
                      </a:lnTo>
                      <a:lnTo>
                        <a:pt x="6"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3" name="Freeform 788"/>
                <p:cNvSpPr>
                  <a:spLocks/>
                </p:cNvSpPr>
                <p:nvPr/>
              </p:nvSpPr>
              <p:spPr bwMode="auto">
                <a:xfrm>
                  <a:off x="7850241" y="4837383"/>
                  <a:ext cx="26637" cy="23678"/>
                </a:xfrm>
                <a:custGeom>
                  <a:avLst/>
                  <a:gdLst>
                    <a:gd name="T0" fmla="*/ 2147483647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0 w 20"/>
                    <a:gd name="T11" fmla="*/ 2147483647 h 16"/>
                    <a:gd name="T12" fmla="*/ 0 w 20"/>
                    <a:gd name="T13" fmla="*/ 2147483647 h 16"/>
                    <a:gd name="T14" fmla="*/ 0 w 20"/>
                    <a:gd name="T15" fmla="*/ 2147483647 h 16"/>
                    <a:gd name="T16" fmla="*/ 2147483647 w 20"/>
                    <a:gd name="T17" fmla="*/ 2147483647 h 16"/>
                    <a:gd name="T18" fmla="*/ 2147483647 w 20"/>
                    <a:gd name="T19" fmla="*/ 2147483647 h 16"/>
                    <a:gd name="T20" fmla="*/ 2147483647 w 20"/>
                    <a:gd name="T21" fmla="*/ 2147483647 h 16"/>
                    <a:gd name="T22" fmla="*/ 2147483647 w 20"/>
                    <a:gd name="T23" fmla="*/ 0 h 16"/>
                    <a:gd name="T24" fmla="*/ 2147483647 w 20"/>
                    <a:gd name="T25" fmla="*/ 0 h 16"/>
                    <a:gd name="T26" fmla="*/ 2147483647 w 20"/>
                    <a:gd name="T27" fmla="*/ 2147483647 h 16"/>
                    <a:gd name="T28" fmla="*/ 2147483647 w 20"/>
                    <a:gd name="T29" fmla="*/ 2147483647 h 16"/>
                    <a:gd name="T30" fmla="*/ 2147483647 w 20"/>
                    <a:gd name="T31" fmla="*/ 2147483647 h 16"/>
                    <a:gd name="T32" fmla="*/ 2147483647 w 20"/>
                    <a:gd name="T33" fmla="*/ 2147483647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16"/>
                    <a:gd name="T53" fmla="*/ 20 w 20"/>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16">
                      <a:moveTo>
                        <a:pt x="15" y="14"/>
                      </a:moveTo>
                      <a:lnTo>
                        <a:pt x="11" y="15"/>
                      </a:lnTo>
                      <a:lnTo>
                        <a:pt x="8" y="15"/>
                      </a:lnTo>
                      <a:lnTo>
                        <a:pt x="4" y="16"/>
                      </a:lnTo>
                      <a:lnTo>
                        <a:pt x="1" y="16"/>
                      </a:lnTo>
                      <a:lnTo>
                        <a:pt x="0" y="16"/>
                      </a:lnTo>
                      <a:lnTo>
                        <a:pt x="0" y="14"/>
                      </a:lnTo>
                      <a:lnTo>
                        <a:pt x="0" y="10"/>
                      </a:lnTo>
                      <a:lnTo>
                        <a:pt x="3" y="8"/>
                      </a:lnTo>
                      <a:lnTo>
                        <a:pt x="5" y="6"/>
                      </a:lnTo>
                      <a:lnTo>
                        <a:pt x="11" y="1"/>
                      </a:lnTo>
                      <a:lnTo>
                        <a:pt x="17" y="0"/>
                      </a:lnTo>
                      <a:lnTo>
                        <a:pt x="18" y="0"/>
                      </a:lnTo>
                      <a:lnTo>
                        <a:pt x="19" y="1"/>
                      </a:lnTo>
                      <a:lnTo>
                        <a:pt x="20" y="6"/>
                      </a:lnTo>
                      <a:lnTo>
                        <a:pt x="19" y="10"/>
                      </a:lnTo>
                      <a:lnTo>
                        <a:pt x="15"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4" name="Freeform 789"/>
                <p:cNvSpPr>
                  <a:spLocks/>
                </p:cNvSpPr>
                <p:nvPr/>
              </p:nvSpPr>
              <p:spPr bwMode="auto">
                <a:xfrm>
                  <a:off x="7737771" y="4770792"/>
                  <a:ext cx="11839" cy="20718"/>
                </a:xfrm>
                <a:custGeom>
                  <a:avLst/>
                  <a:gdLst>
                    <a:gd name="T0" fmla="*/ 2147483647 w 8"/>
                    <a:gd name="T1" fmla="*/ 2147483647 h 14"/>
                    <a:gd name="T2" fmla="*/ 2147483647 w 8"/>
                    <a:gd name="T3" fmla="*/ 2147483647 h 14"/>
                    <a:gd name="T4" fmla="*/ 2147483647 w 8"/>
                    <a:gd name="T5" fmla="*/ 2147483647 h 14"/>
                    <a:gd name="T6" fmla="*/ 2147483647 w 8"/>
                    <a:gd name="T7" fmla="*/ 2147483647 h 14"/>
                    <a:gd name="T8" fmla="*/ 2147483647 w 8"/>
                    <a:gd name="T9" fmla="*/ 0 h 14"/>
                    <a:gd name="T10" fmla="*/ 2147483647 w 8"/>
                    <a:gd name="T11" fmla="*/ 0 h 14"/>
                    <a:gd name="T12" fmla="*/ 2147483647 w 8"/>
                    <a:gd name="T13" fmla="*/ 0 h 14"/>
                    <a:gd name="T14" fmla="*/ 2147483647 w 8"/>
                    <a:gd name="T15" fmla="*/ 0 h 14"/>
                    <a:gd name="T16" fmla="*/ 2147483647 w 8"/>
                    <a:gd name="T17" fmla="*/ 2147483647 h 14"/>
                    <a:gd name="T18" fmla="*/ 0 w 8"/>
                    <a:gd name="T19" fmla="*/ 2147483647 h 14"/>
                    <a:gd name="T20" fmla="*/ 0 w 8"/>
                    <a:gd name="T21" fmla="*/ 2147483647 h 14"/>
                    <a:gd name="T22" fmla="*/ 0 w 8"/>
                    <a:gd name="T23" fmla="*/ 2147483647 h 14"/>
                    <a:gd name="T24" fmla="*/ 0 w 8"/>
                    <a:gd name="T25" fmla="*/ 2147483647 h 14"/>
                    <a:gd name="T26" fmla="*/ 2147483647 w 8"/>
                    <a:gd name="T27" fmla="*/ 2147483647 h 14"/>
                    <a:gd name="T28" fmla="*/ 2147483647 w 8"/>
                    <a:gd name="T29" fmla="*/ 2147483647 h 14"/>
                    <a:gd name="T30" fmla="*/ 2147483647 w 8"/>
                    <a:gd name="T31" fmla="*/ 2147483647 h 14"/>
                    <a:gd name="T32" fmla="*/ 2147483647 w 8"/>
                    <a:gd name="T33" fmla="*/ 2147483647 h 14"/>
                    <a:gd name="T34" fmla="*/ 2147483647 w 8"/>
                    <a:gd name="T35" fmla="*/ 2147483647 h 14"/>
                    <a:gd name="T36" fmla="*/ 2147483647 w 8"/>
                    <a:gd name="T37" fmla="*/ 2147483647 h 14"/>
                    <a:gd name="T38" fmla="*/ 2147483647 w 8"/>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
                    <a:gd name="T61" fmla="*/ 0 h 14"/>
                    <a:gd name="T62" fmla="*/ 8 w 8"/>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 h="14">
                      <a:moveTo>
                        <a:pt x="6" y="7"/>
                      </a:moveTo>
                      <a:lnTo>
                        <a:pt x="6" y="7"/>
                      </a:lnTo>
                      <a:lnTo>
                        <a:pt x="8" y="3"/>
                      </a:lnTo>
                      <a:lnTo>
                        <a:pt x="8" y="1"/>
                      </a:lnTo>
                      <a:lnTo>
                        <a:pt x="7" y="0"/>
                      </a:lnTo>
                      <a:lnTo>
                        <a:pt x="6" y="0"/>
                      </a:lnTo>
                      <a:lnTo>
                        <a:pt x="5" y="0"/>
                      </a:lnTo>
                      <a:lnTo>
                        <a:pt x="2" y="2"/>
                      </a:lnTo>
                      <a:lnTo>
                        <a:pt x="0" y="7"/>
                      </a:lnTo>
                      <a:lnTo>
                        <a:pt x="0" y="10"/>
                      </a:lnTo>
                      <a:lnTo>
                        <a:pt x="0" y="13"/>
                      </a:lnTo>
                      <a:lnTo>
                        <a:pt x="1" y="14"/>
                      </a:lnTo>
                      <a:lnTo>
                        <a:pt x="2" y="14"/>
                      </a:lnTo>
                      <a:lnTo>
                        <a:pt x="3" y="13"/>
                      </a:lnTo>
                      <a:lnTo>
                        <a:pt x="5" y="12"/>
                      </a:lnTo>
                      <a:lnTo>
                        <a:pt x="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5" name="Freeform 790"/>
                <p:cNvSpPr>
                  <a:spLocks/>
                </p:cNvSpPr>
                <p:nvPr/>
              </p:nvSpPr>
              <p:spPr bwMode="auto">
                <a:xfrm>
                  <a:off x="7848763" y="4835902"/>
                  <a:ext cx="26637" cy="23678"/>
                </a:xfrm>
                <a:custGeom>
                  <a:avLst/>
                  <a:gdLst>
                    <a:gd name="T0" fmla="*/ 2147483647 w 20"/>
                    <a:gd name="T1" fmla="*/ 2147483647 h 16"/>
                    <a:gd name="T2" fmla="*/ 2147483647 w 20"/>
                    <a:gd name="T3" fmla="*/ 2147483647 h 16"/>
                    <a:gd name="T4" fmla="*/ 2147483647 w 20"/>
                    <a:gd name="T5" fmla="*/ 2147483647 h 16"/>
                    <a:gd name="T6" fmla="*/ 2147483647 w 20"/>
                    <a:gd name="T7" fmla="*/ 2147483647 h 16"/>
                    <a:gd name="T8" fmla="*/ 2147483647 w 20"/>
                    <a:gd name="T9" fmla="*/ 2147483647 h 16"/>
                    <a:gd name="T10" fmla="*/ 2147483647 w 20"/>
                    <a:gd name="T11" fmla="*/ 2147483647 h 16"/>
                    <a:gd name="T12" fmla="*/ 2147483647 w 20"/>
                    <a:gd name="T13" fmla="*/ 2147483647 h 16"/>
                    <a:gd name="T14" fmla="*/ 0 w 20"/>
                    <a:gd name="T15" fmla="*/ 2147483647 h 16"/>
                    <a:gd name="T16" fmla="*/ 0 w 20"/>
                    <a:gd name="T17" fmla="*/ 2147483647 h 16"/>
                    <a:gd name="T18" fmla="*/ 0 w 20"/>
                    <a:gd name="T19" fmla="*/ 2147483647 h 16"/>
                    <a:gd name="T20" fmla="*/ 0 w 20"/>
                    <a:gd name="T21" fmla="*/ 2147483647 h 16"/>
                    <a:gd name="T22" fmla="*/ 2147483647 w 20"/>
                    <a:gd name="T23" fmla="*/ 2147483647 h 16"/>
                    <a:gd name="T24" fmla="*/ 2147483647 w 20"/>
                    <a:gd name="T25" fmla="*/ 2147483647 h 16"/>
                    <a:gd name="T26" fmla="*/ 2147483647 w 20"/>
                    <a:gd name="T27" fmla="*/ 2147483647 h 16"/>
                    <a:gd name="T28" fmla="*/ 2147483647 w 20"/>
                    <a:gd name="T29" fmla="*/ 0 h 16"/>
                    <a:gd name="T30" fmla="*/ 2147483647 w 20"/>
                    <a:gd name="T31" fmla="*/ 0 h 16"/>
                    <a:gd name="T32" fmla="*/ 2147483647 w 20"/>
                    <a:gd name="T33" fmla="*/ 0 h 16"/>
                    <a:gd name="T34" fmla="*/ 2147483647 w 20"/>
                    <a:gd name="T35" fmla="*/ 2147483647 h 16"/>
                    <a:gd name="T36" fmla="*/ 2147483647 w 20"/>
                    <a:gd name="T37" fmla="*/ 2147483647 h 16"/>
                    <a:gd name="T38" fmla="*/ 2147483647 w 20"/>
                    <a:gd name="T39" fmla="*/ 2147483647 h 16"/>
                    <a:gd name="T40" fmla="*/ 2147483647 w 20"/>
                    <a:gd name="T41" fmla="*/ 2147483647 h 16"/>
                    <a:gd name="T42" fmla="*/ 2147483647 w 20"/>
                    <a:gd name="T43" fmla="*/ 2147483647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16"/>
                    <a:gd name="T68" fmla="*/ 20 w 20"/>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16">
                      <a:moveTo>
                        <a:pt x="15" y="14"/>
                      </a:moveTo>
                      <a:lnTo>
                        <a:pt x="15" y="14"/>
                      </a:lnTo>
                      <a:lnTo>
                        <a:pt x="11" y="15"/>
                      </a:lnTo>
                      <a:lnTo>
                        <a:pt x="7" y="15"/>
                      </a:lnTo>
                      <a:lnTo>
                        <a:pt x="4" y="16"/>
                      </a:lnTo>
                      <a:lnTo>
                        <a:pt x="1" y="16"/>
                      </a:lnTo>
                      <a:lnTo>
                        <a:pt x="0" y="16"/>
                      </a:lnTo>
                      <a:lnTo>
                        <a:pt x="0" y="14"/>
                      </a:lnTo>
                      <a:lnTo>
                        <a:pt x="0" y="10"/>
                      </a:lnTo>
                      <a:lnTo>
                        <a:pt x="2" y="8"/>
                      </a:lnTo>
                      <a:lnTo>
                        <a:pt x="5" y="6"/>
                      </a:lnTo>
                      <a:lnTo>
                        <a:pt x="11" y="1"/>
                      </a:lnTo>
                      <a:lnTo>
                        <a:pt x="16" y="0"/>
                      </a:lnTo>
                      <a:lnTo>
                        <a:pt x="18" y="0"/>
                      </a:lnTo>
                      <a:lnTo>
                        <a:pt x="19" y="1"/>
                      </a:lnTo>
                      <a:lnTo>
                        <a:pt x="20" y="6"/>
                      </a:lnTo>
                      <a:lnTo>
                        <a:pt x="19" y="10"/>
                      </a:lnTo>
                      <a:lnTo>
                        <a:pt x="15"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6" name="Freeform 791"/>
                <p:cNvSpPr>
                  <a:spLocks/>
                </p:cNvSpPr>
                <p:nvPr/>
              </p:nvSpPr>
              <p:spPr bwMode="auto">
                <a:xfrm>
                  <a:off x="7573506" y="4832946"/>
                  <a:ext cx="32557" cy="17758"/>
                </a:xfrm>
                <a:custGeom>
                  <a:avLst/>
                  <a:gdLst>
                    <a:gd name="T0" fmla="*/ 2147483647 w 23"/>
                    <a:gd name="T1" fmla="*/ 2147483647 h 12"/>
                    <a:gd name="T2" fmla="*/ 2147483647 w 23"/>
                    <a:gd name="T3" fmla="*/ 0 h 12"/>
                    <a:gd name="T4" fmla="*/ 2147483647 w 23"/>
                    <a:gd name="T5" fmla="*/ 2147483647 h 12"/>
                    <a:gd name="T6" fmla="*/ 2147483647 w 23"/>
                    <a:gd name="T7" fmla="*/ 2147483647 h 12"/>
                    <a:gd name="T8" fmla="*/ 2147483647 w 23"/>
                    <a:gd name="T9" fmla="*/ 2147483647 h 12"/>
                    <a:gd name="T10" fmla="*/ 2147483647 w 23"/>
                    <a:gd name="T11" fmla="*/ 2147483647 h 12"/>
                    <a:gd name="T12" fmla="*/ 2147483647 w 23"/>
                    <a:gd name="T13" fmla="*/ 2147483647 h 12"/>
                    <a:gd name="T14" fmla="*/ 2147483647 w 23"/>
                    <a:gd name="T15" fmla="*/ 2147483647 h 12"/>
                    <a:gd name="T16" fmla="*/ 2147483647 w 23"/>
                    <a:gd name="T17" fmla="*/ 2147483647 h 12"/>
                    <a:gd name="T18" fmla="*/ 2147483647 w 23"/>
                    <a:gd name="T19" fmla="*/ 2147483647 h 12"/>
                    <a:gd name="T20" fmla="*/ 2147483647 w 23"/>
                    <a:gd name="T21" fmla="*/ 2147483647 h 12"/>
                    <a:gd name="T22" fmla="*/ 0 w 23"/>
                    <a:gd name="T23" fmla="*/ 2147483647 h 12"/>
                    <a:gd name="T24" fmla="*/ 2147483647 w 23"/>
                    <a:gd name="T25" fmla="*/ 2147483647 h 12"/>
                    <a:gd name="T26" fmla="*/ 2147483647 w 23"/>
                    <a:gd name="T27" fmla="*/ 2147483647 h 12"/>
                    <a:gd name="T28" fmla="*/ 2147483647 w 23"/>
                    <a:gd name="T29" fmla="*/ 2147483647 h 12"/>
                    <a:gd name="T30" fmla="*/ 2147483647 w 23"/>
                    <a:gd name="T31" fmla="*/ 2147483647 h 12"/>
                    <a:gd name="T32" fmla="*/ 2147483647 w 23"/>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12"/>
                    <a:gd name="T53" fmla="*/ 23 w 23"/>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12">
                      <a:moveTo>
                        <a:pt x="18" y="2"/>
                      </a:moveTo>
                      <a:lnTo>
                        <a:pt x="19" y="0"/>
                      </a:lnTo>
                      <a:lnTo>
                        <a:pt x="20" y="2"/>
                      </a:lnTo>
                      <a:lnTo>
                        <a:pt x="23" y="4"/>
                      </a:lnTo>
                      <a:lnTo>
                        <a:pt x="23" y="6"/>
                      </a:lnTo>
                      <a:lnTo>
                        <a:pt x="22" y="9"/>
                      </a:lnTo>
                      <a:lnTo>
                        <a:pt x="17" y="11"/>
                      </a:lnTo>
                      <a:lnTo>
                        <a:pt x="10" y="12"/>
                      </a:lnTo>
                      <a:lnTo>
                        <a:pt x="5" y="12"/>
                      </a:lnTo>
                      <a:lnTo>
                        <a:pt x="3" y="11"/>
                      </a:lnTo>
                      <a:lnTo>
                        <a:pt x="1" y="10"/>
                      </a:lnTo>
                      <a:lnTo>
                        <a:pt x="0" y="8"/>
                      </a:lnTo>
                      <a:lnTo>
                        <a:pt x="1" y="5"/>
                      </a:lnTo>
                      <a:lnTo>
                        <a:pt x="3" y="4"/>
                      </a:lnTo>
                      <a:lnTo>
                        <a:pt x="5" y="4"/>
                      </a:lnTo>
                      <a:lnTo>
                        <a:pt x="13" y="3"/>
                      </a:lnTo>
                      <a:lnTo>
                        <a:pt x="18"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7" name="Freeform 792"/>
                <p:cNvSpPr>
                  <a:spLocks/>
                </p:cNvSpPr>
                <p:nvPr/>
              </p:nvSpPr>
              <p:spPr bwMode="auto">
                <a:xfrm>
                  <a:off x="7657857" y="4846262"/>
                  <a:ext cx="7400"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0 w 6"/>
                    <a:gd name="T13" fmla="*/ 0 h 7"/>
                    <a:gd name="T14" fmla="*/ 2147483647 w 6"/>
                    <a:gd name="T15" fmla="*/ 0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5" y="3"/>
                      </a:moveTo>
                      <a:lnTo>
                        <a:pt x="6" y="6"/>
                      </a:lnTo>
                      <a:lnTo>
                        <a:pt x="4" y="7"/>
                      </a:lnTo>
                      <a:lnTo>
                        <a:pt x="3" y="7"/>
                      </a:lnTo>
                      <a:lnTo>
                        <a:pt x="0" y="6"/>
                      </a:lnTo>
                      <a:lnTo>
                        <a:pt x="0" y="2"/>
                      </a:lnTo>
                      <a:lnTo>
                        <a:pt x="0" y="0"/>
                      </a:lnTo>
                      <a:lnTo>
                        <a:pt x="3" y="0"/>
                      </a:lnTo>
                      <a:lnTo>
                        <a:pt x="4" y="1"/>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8" name="Freeform 793"/>
                <p:cNvSpPr>
                  <a:spLocks/>
                </p:cNvSpPr>
                <p:nvPr/>
              </p:nvSpPr>
              <p:spPr bwMode="auto">
                <a:xfrm>
                  <a:off x="7572026" y="4831466"/>
                  <a:ext cx="32557" cy="17758"/>
                </a:xfrm>
                <a:custGeom>
                  <a:avLst/>
                  <a:gdLst>
                    <a:gd name="T0" fmla="*/ 2147483647 w 23"/>
                    <a:gd name="T1" fmla="*/ 2147483647 h 12"/>
                    <a:gd name="T2" fmla="*/ 2147483647 w 23"/>
                    <a:gd name="T3" fmla="*/ 2147483647 h 12"/>
                    <a:gd name="T4" fmla="*/ 2147483647 w 23"/>
                    <a:gd name="T5" fmla="*/ 0 h 12"/>
                    <a:gd name="T6" fmla="*/ 2147483647 w 23"/>
                    <a:gd name="T7" fmla="*/ 2147483647 h 12"/>
                    <a:gd name="T8" fmla="*/ 2147483647 w 23"/>
                    <a:gd name="T9" fmla="*/ 2147483647 h 12"/>
                    <a:gd name="T10" fmla="*/ 2147483647 w 23"/>
                    <a:gd name="T11" fmla="*/ 2147483647 h 12"/>
                    <a:gd name="T12" fmla="*/ 2147483647 w 23"/>
                    <a:gd name="T13" fmla="*/ 2147483647 h 12"/>
                    <a:gd name="T14" fmla="*/ 2147483647 w 23"/>
                    <a:gd name="T15" fmla="*/ 2147483647 h 12"/>
                    <a:gd name="T16" fmla="*/ 2147483647 w 23"/>
                    <a:gd name="T17" fmla="*/ 2147483647 h 12"/>
                    <a:gd name="T18" fmla="*/ 2147483647 w 23"/>
                    <a:gd name="T19" fmla="*/ 2147483647 h 12"/>
                    <a:gd name="T20" fmla="*/ 2147483647 w 23"/>
                    <a:gd name="T21" fmla="*/ 2147483647 h 12"/>
                    <a:gd name="T22" fmla="*/ 2147483647 w 23"/>
                    <a:gd name="T23" fmla="*/ 2147483647 h 12"/>
                    <a:gd name="T24" fmla="*/ 2147483647 w 23"/>
                    <a:gd name="T25" fmla="*/ 2147483647 h 12"/>
                    <a:gd name="T26" fmla="*/ 2147483647 w 23"/>
                    <a:gd name="T27" fmla="*/ 2147483647 h 12"/>
                    <a:gd name="T28" fmla="*/ 0 w 23"/>
                    <a:gd name="T29" fmla="*/ 2147483647 h 12"/>
                    <a:gd name="T30" fmla="*/ 2147483647 w 23"/>
                    <a:gd name="T31" fmla="*/ 2147483647 h 12"/>
                    <a:gd name="T32" fmla="*/ 2147483647 w 23"/>
                    <a:gd name="T33" fmla="*/ 2147483647 h 12"/>
                    <a:gd name="T34" fmla="*/ 2147483647 w 23"/>
                    <a:gd name="T35" fmla="*/ 2147483647 h 12"/>
                    <a:gd name="T36" fmla="*/ 2147483647 w 23"/>
                    <a:gd name="T37" fmla="*/ 2147483647 h 12"/>
                    <a:gd name="T38" fmla="*/ 2147483647 w 23"/>
                    <a:gd name="T39" fmla="*/ 2147483647 h 12"/>
                    <a:gd name="T40" fmla="*/ 2147483647 w 23"/>
                    <a:gd name="T41" fmla="*/ 2147483647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
                    <a:gd name="T64" fmla="*/ 0 h 12"/>
                    <a:gd name="T65" fmla="*/ 23 w 23"/>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 h="12">
                      <a:moveTo>
                        <a:pt x="18" y="1"/>
                      </a:moveTo>
                      <a:lnTo>
                        <a:pt x="18" y="1"/>
                      </a:lnTo>
                      <a:lnTo>
                        <a:pt x="19" y="0"/>
                      </a:lnTo>
                      <a:lnTo>
                        <a:pt x="20" y="1"/>
                      </a:lnTo>
                      <a:lnTo>
                        <a:pt x="23" y="4"/>
                      </a:lnTo>
                      <a:lnTo>
                        <a:pt x="23" y="6"/>
                      </a:lnTo>
                      <a:lnTo>
                        <a:pt x="21" y="9"/>
                      </a:lnTo>
                      <a:lnTo>
                        <a:pt x="16" y="11"/>
                      </a:lnTo>
                      <a:lnTo>
                        <a:pt x="10" y="12"/>
                      </a:lnTo>
                      <a:lnTo>
                        <a:pt x="5" y="12"/>
                      </a:lnTo>
                      <a:lnTo>
                        <a:pt x="2" y="11"/>
                      </a:lnTo>
                      <a:lnTo>
                        <a:pt x="1" y="10"/>
                      </a:lnTo>
                      <a:lnTo>
                        <a:pt x="0" y="7"/>
                      </a:lnTo>
                      <a:lnTo>
                        <a:pt x="1" y="5"/>
                      </a:lnTo>
                      <a:lnTo>
                        <a:pt x="2" y="4"/>
                      </a:lnTo>
                      <a:lnTo>
                        <a:pt x="5" y="4"/>
                      </a:lnTo>
                      <a:lnTo>
                        <a:pt x="13" y="3"/>
                      </a:lnTo>
                      <a:lnTo>
                        <a:pt x="18"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19" name="Freeform 794"/>
                <p:cNvSpPr>
                  <a:spLocks/>
                </p:cNvSpPr>
                <p:nvPr/>
              </p:nvSpPr>
              <p:spPr bwMode="auto">
                <a:xfrm>
                  <a:off x="7656382" y="4844782"/>
                  <a:ext cx="739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0 w 6"/>
                    <a:gd name="T11" fmla="*/ 2147483647 h 7"/>
                    <a:gd name="T12" fmla="*/ 0 w 6"/>
                    <a:gd name="T13" fmla="*/ 2147483647 h 7"/>
                    <a:gd name="T14" fmla="*/ 0 w 6"/>
                    <a:gd name="T15" fmla="*/ 2147483647 h 7"/>
                    <a:gd name="T16" fmla="*/ 0 w 6"/>
                    <a:gd name="T17" fmla="*/ 0 h 7"/>
                    <a:gd name="T18" fmla="*/ 2147483647 w 6"/>
                    <a:gd name="T19" fmla="*/ 0 h 7"/>
                    <a:gd name="T20" fmla="*/ 2147483647 w 6"/>
                    <a:gd name="T21" fmla="*/ 0 h 7"/>
                    <a:gd name="T22" fmla="*/ 2147483647 w 6"/>
                    <a:gd name="T23" fmla="*/ 0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5" y="3"/>
                      </a:moveTo>
                      <a:lnTo>
                        <a:pt x="5" y="3"/>
                      </a:lnTo>
                      <a:lnTo>
                        <a:pt x="6" y="5"/>
                      </a:lnTo>
                      <a:lnTo>
                        <a:pt x="4" y="7"/>
                      </a:lnTo>
                      <a:lnTo>
                        <a:pt x="2" y="7"/>
                      </a:lnTo>
                      <a:lnTo>
                        <a:pt x="0" y="5"/>
                      </a:lnTo>
                      <a:lnTo>
                        <a:pt x="0" y="2"/>
                      </a:lnTo>
                      <a:lnTo>
                        <a:pt x="0" y="0"/>
                      </a:lnTo>
                      <a:lnTo>
                        <a:pt x="2" y="0"/>
                      </a:lnTo>
                      <a:lnTo>
                        <a:pt x="4" y="1"/>
                      </a:lnTo>
                      <a:lnTo>
                        <a:pt x="5"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0" name="Freeform 795"/>
                <p:cNvSpPr>
                  <a:spLocks/>
                </p:cNvSpPr>
                <p:nvPr/>
              </p:nvSpPr>
              <p:spPr bwMode="auto">
                <a:xfrm>
                  <a:off x="7690414" y="4831463"/>
                  <a:ext cx="19239" cy="23678"/>
                </a:xfrm>
                <a:custGeom>
                  <a:avLst/>
                  <a:gdLst>
                    <a:gd name="T0" fmla="*/ 2147483647 w 14"/>
                    <a:gd name="T1" fmla="*/ 2147483647 h 16"/>
                    <a:gd name="T2" fmla="*/ 2147483647 w 14"/>
                    <a:gd name="T3" fmla="*/ 2147483647 h 16"/>
                    <a:gd name="T4" fmla="*/ 0 w 14"/>
                    <a:gd name="T5" fmla="*/ 2147483647 h 16"/>
                    <a:gd name="T6" fmla="*/ 0 w 14"/>
                    <a:gd name="T7" fmla="*/ 2147483647 h 16"/>
                    <a:gd name="T8" fmla="*/ 2147483647 w 14"/>
                    <a:gd name="T9" fmla="*/ 2147483647 h 16"/>
                    <a:gd name="T10" fmla="*/ 2147483647 w 14"/>
                    <a:gd name="T11" fmla="*/ 2147483647 h 16"/>
                    <a:gd name="T12" fmla="*/ 2147483647 w 14"/>
                    <a:gd name="T13" fmla="*/ 0 h 16"/>
                    <a:gd name="T14" fmla="*/ 2147483647 w 14"/>
                    <a:gd name="T15" fmla="*/ 0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7" y="14"/>
                      </a:moveTo>
                      <a:lnTo>
                        <a:pt x="3" y="16"/>
                      </a:lnTo>
                      <a:lnTo>
                        <a:pt x="0" y="14"/>
                      </a:lnTo>
                      <a:lnTo>
                        <a:pt x="0" y="13"/>
                      </a:lnTo>
                      <a:lnTo>
                        <a:pt x="2" y="9"/>
                      </a:lnTo>
                      <a:lnTo>
                        <a:pt x="5" y="4"/>
                      </a:lnTo>
                      <a:lnTo>
                        <a:pt x="9" y="0"/>
                      </a:lnTo>
                      <a:lnTo>
                        <a:pt x="12" y="0"/>
                      </a:lnTo>
                      <a:lnTo>
                        <a:pt x="13" y="1"/>
                      </a:lnTo>
                      <a:lnTo>
                        <a:pt x="14" y="5"/>
                      </a:lnTo>
                      <a:lnTo>
                        <a:pt x="13" y="9"/>
                      </a:lnTo>
                      <a:lnTo>
                        <a:pt x="10" y="12"/>
                      </a:lnTo>
                      <a:lnTo>
                        <a:pt x="7"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1" name="Freeform 796"/>
                <p:cNvSpPr>
                  <a:spLocks/>
                </p:cNvSpPr>
                <p:nvPr/>
              </p:nvSpPr>
              <p:spPr bwMode="auto">
                <a:xfrm>
                  <a:off x="7764412" y="4804828"/>
                  <a:ext cx="10360" cy="17758"/>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0 w 8"/>
                    <a:gd name="T11" fmla="*/ 2147483647 h 12"/>
                    <a:gd name="T12" fmla="*/ 0 w 8"/>
                    <a:gd name="T13" fmla="*/ 2147483647 h 12"/>
                    <a:gd name="T14" fmla="*/ 2147483647 w 8"/>
                    <a:gd name="T15" fmla="*/ 0 h 12"/>
                    <a:gd name="T16" fmla="*/ 2147483647 w 8"/>
                    <a:gd name="T17" fmla="*/ 0 h 12"/>
                    <a:gd name="T18" fmla="*/ 2147483647 w 8"/>
                    <a:gd name="T19" fmla="*/ 2147483647 h 12"/>
                    <a:gd name="T20" fmla="*/ 2147483647 w 8"/>
                    <a:gd name="T21" fmla="*/ 2147483647 h 12"/>
                    <a:gd name="T22" fmla="*/ 2147483647 w 8"/>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8" y="9"/>
                      </a:moveTo>
                      <a:lnTo>
                        <a:pt x="7" y="11"/>
                      </a:lnTo>
                      <a:lnTo>
                        <a:pt x="6" y="12"/>
                      </a:lnTo>
                      <a:lnTo>
                        <a:pt x="3" y="12"/>
                      </a:lnTo>
                      <a:lnTo>
                        <a:pt x="2" y="11"/>
                      </a:lnTo>
                      <a:lnTo>
                        <a:pt x="0" y="8"/>
                      </a:lnTo>
                      <a:lnTo>
                        <a:pt x="0" y="3"/>
                      </a:lnTo>
                      <a:lnTo>
                        <a:pt x="1" y="0"/>
                      </a:lnTo>
                      <a:lnTo>
                        <a:pt x="3" y="0"/>
                      </a:lnTo>
                      <a:lnTo>
                        <a:pt x="6" y="2"/>
                      </a:lnTo>
                      <a:lnTo>
                        <a:pt x="7" y="5"/>
                      </a:lnTo>
                      <a:lnTo>
                        <a:pt x="8"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2" name="Freeform 797"/>
                <p:cNvSpPr>
                  <a:spLocks/>
                </p:cNvSpPr>
                <p:nvPr/>
              </p:nvSpPr>
              <p:spPr bwMode="auto">
                <a:xfrm>
                  <a:off x="7688936" y="4829986"/>
                  <a:ext cx="19238" cy="22199"/>
                </a:xfrm>
                <a:custGeom>
                  <a:avLst/>
                  <a:gdLst>
                    <a:gd name="T0" fmla="*/ 2147483647 w 14"/>
                    <a:gd name="T1" fmla="*/ 2147483647 h 15"/>
                    <a:gd name="T2" fmla="*/ 2147483647 w 14"/>
                    <a:gd name="T3" fmla="*/ 2147483647 h 15"/>
                    <a:gd name="T4" fmla="*/ 2147483647 w 14"/>
                    <a:gd name="T5" fmla="*/ 2147483647 h 15"/>
                    <a:gd name="T6" fmla="*/ 0 w 14"/>
                    <a:gd name="T7" fmla="*/ 2147483647 h 15"/>
                    <a:gd name="T8" fmla="*/ 0 w 14"/>
                    <a:gd name="T9" fmla="*/ 2147483647 h 15"/>
                    <a:gd name="T10" fmla="*/ 0 w 14"/>
                    <a:gd name="T11" fmla="*/ 2147483647 h 15"/>
                    <a:gd name="T12" fmla="*/ 2147483647 w 14"/>
                    <a:gd name="T13" fmla="*/ 2147483647 h 15"/>
                    <a:gd name="T14" fmla="*/ 2147483647 w 14"/>
                    <a:gd name="T15" fmla="*/ 2147483647 h 15"/>
                    <a:gd name="T16" fmla="*/ 2147483647 w 14"/>
                    <a:gd name="T17" fmla="*/ 0 h 15"/>
                    <a:gd name="T18" fmla="*/ 2147483647 w 14"/>
                    <a:gd name="T19" fmla="*/ 0 h 15"/>
                    <a:gd name="T20" fmla="*/ 2147483647 w 14"/>
                    <a:gd name="T21" fmla="*/ 2147483647 h 15"/>
                    <a:gd name="T22" fmla="*/ 2147483647 w 14"/>
                    <a:gd name="T23" fmla="*/ 2147483647 h 15"/>
                    <a:gd name="T24" fmla="*/ 2147483647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5"/>
                    <a:gd name="T53" fmla="*/ 14 w 1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5">
                      <a:moveTo>
                        <a:pt x="6" y="14"/>
                      </a:moveTo>
                      <a:lnTo>
                        <a:pt x="6" y="14"/>
                      </a:lnTo>
                      <a:lnTo>
                        <a:pt x="3" y="15"/>
                      </a:lnTo>
                      <a:lnTo>
                        <a:pt x="0" y="14"/>
                      </a:lnTo>
                      <a:lnTo>
                        <a:pt x="0" y="13"/>
                      </a:lnTo>
                      <a:lnTo>
                        <a:pt x="1" y="8"/>
                      </a:lnTo>
                      <a:lnTo>
                        <a:pt x="5" y="4"/>
                      </a:lnTo>
                      <a:lnTo>
                        <a:pt x="9" y="0"/>
                      </a:lnTo>
                      <a:lnTo>
                        <a:pt x="11" y="0"/>
                      </a:lnTo>
                      <a:lnTo>
                        <a:pt x="13" y="1"/>
                      </a:lnTo>
                      <a:lnTo>
                        <a:pt x="14" y="5"/>
                      </a:lnTo>
                      <a:lnTo>
                        <a:pt x="13" y="8"/>
                      </a:lnTo>
                      <a:lnTo>
                        <a:pt x="10" y="12"/>
                      </a:lnTo>
                      <a:lnTo>
                        <a:pt x="6" y="1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3" name="Freeform 798"/>
                <p:cNvSpPr>
                  <a:spLocks/>
                </p:cNvSpPr>
                <p:nvPr/>
              </p:nvSpPr>
              <p:spPr bwMode="auto">
                <a:xfrm>
                  <a:off x="7761448" y="4803346"/>
                  <a:ext cx="11839" cy="17758"/>
                </a:xfrm>
                <a:custGeom>
                  <a:avLst/>
                  <a:gdLst>
                    <a:gd name="T0" fmla="*/ 2147483647 w 9"/>
                    <a:gd name="T1" fmla="*/ 2147483647 h 12"/>
                    <a:gd name="T2" fmla="*/ 2147483647 w 9"/>
                    <a:gd name="T3" fmla="*/ 2147483647 h 12"/>
                    <a:gd name="T4" fmla="*/ 2147483647 w 9"/>
                    <a:gd name="T5" fmla="*/ 2147483647 h 12"/>
                    <a:gd name="T6" fmla="*/ 2147483647 w 9"/>
                    <a:gd name="T7" fmla="*/ 2147483647 h 12"/>
                    <a:gd name="T8" fmla="*/ 2147483647 w 9"/>
                    <a:gd name="T9" fmla="*/ 2147483647 h 12"/>
                    <a:gd name="T10" fmla="*/ 2147483647 w 9"/>
                    <a:gd name="T11" fmla="*/ 2147483647 h 12"/>
                    <a:gd name="T12" fmla="*/ 2147483647 w 9"/>
                    <a:gd name="T13" fmla="*/ 2147483647 h 12"/>
                    <a:gd name="T14" fmla="*/ 0 w 9"/>
                    <a:gd name="T15" fmla="*/ 2147483647 h 12"/>
                    <a:gd name="T16" fmla="*/ 0 w 9"/>
                    <a:gd name="T17" fmla="*/ 2147483647 h 12"/>
                    <a:gd name="T18" fmla="*/ 2147483647 w 9"/>
                    <a:gd name="T19" fmla="*/ 0 h 12"/>
                    <a:gd name="T20" fmla="*/ 2147483647 w 9"/>
                    <a:gd name="T21" fmla="*/ 0 h 12"/>
                    <a:gd name="T22" fmla="*/ 2147483647 w 9"/>
                    <a:gd name="T23" fmla="*/ 0 h 12"/>
                    <a:gd name="T24" fmla="*/ 2147483647 w 9"/>
                    <a:gd name="T25" fmla="*/ 2147483647 h 12"/>
                    <a:gd name="T26" fmla="*/ 2147483647 w 9"/>
                    <a:gd name="T27" fmla="*/ 2147483647 h 12"/>
                    <a:gd name="T28" fmla="*/ 2147483647 w 9"/>
                    <a:gd name="T29" fmla="*/ 2147483647 h 12"/>
                    <a:gd name="T30" fmla="*/ 2147483647 w 9"/>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2"/>
                    <a:gd name="T50" fmla="*/ 9 w 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2">
                      <a:moveTo>
                        <a:pt x="9" y="9"/>
                      </a:moveTo>
                      <a:lnTo>
                        <a:pt x="9" y="9"/>
                      </a:lnTo>
                      <a:lnTo>
                        <a:pt x="8" y="11"/>
                      </a:lnTo>
                      <a:lnTo>
                        <a:pt x="7" y="12"/>
                      </a:lnTo>
                      <a:lnTo>
                        <a:pt x="4" y="12"/>
                      </a:lnTo>
                      <a:lnTo>
                        <a:pt x="3" y="11"/>
                      </a:lnTo>
                      <a:lnTo>
                        <a:pt x="0" y="7"/>
                      </a:lnTo>
                      <a:lnTo>
                        <a:pt x="0" y="3"/>
                      </a:lnTo>
                      <a:lnTo>
                        <a:pt x="2" y="0"/>
                      </a:lnTo>
                      <a:lnTo>
                        <a:pt x="4" y="0"/>
                      </a:lnTo>
                      <a:lnTo>
                        <a:pt x="7" y="1"/>
                      </a:lnTo>
                      <a:lnTo>
                        <a:pt x="8" y="5"/>
                      </a:lnTo>
                      <a:lnTo>
                        <a:pt x="9"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4" name="Freeform 799"/>
                <p:cNvSpPr>
                  <a:spLocks/>
                </p:cNvSpPr>
                <p:nvPr/>
              </p:nvSpPr>
              <p:spPr bwMode="auto">
                <a:xfrm>
                  <a:off x="7773287" y="4794466"/>
                  <a:ext cx="11839" cy="10360"/>
                </a:xfrm>
                <a:custGeom>
                  <a:avLst/>
                  <a:gdLst>
                    <a:gd name="T0" fmla="*/ 2147483647 w 9"/>
                    <a:gd name="T1" fmla="*/ 2147483647 h 7"/>
                    <a:gd name="T2" fmla="*/ 2147483647 w 9"/>
                    <a:gd name="T3" fmla="*/ 2147483647 h 7"/>
                    <a:gd name="T4" fmla="*/ 2147483647 w 9"/>
                    <a:gd name="T5" fmla="*/ 2147483647 h 7"/>
                    <a:gd name="T6" fmla="*/ 0 w 9"/>
                    <a:gd name="T7" fmla="*/ 2147483647 h 7"/>
                    <a:gd name="T8" fmla="*/ 2147483647 w 9"/>
                    <a:gd name="T9" fmla="*/ 2147483647 h 7"/>
                    <a:gd name="T10" fmla="*/ 2147483647 w 9"/>
                    <a:gd name="T11" fmla="*/ 0 h 7"/>
                    <a:gd name="T12" fmla="*/ 2147483647 w 9"/>
                    <a:gd name="T13" fmla="*/ 2147483647 h 7"/>
                    <a:gd name="T14" fmla="*/ 2147483647 w 9"/>
                    <a:gd name="T15" fmla="*/ 2147483647 h 7"/>
                    <a:gd name="T16" fmla="*/ 2147483647 w 9"/>
                    <a:gd name="T17" fmla="*/ 2147483647 h 7"/>
                    <a:gd name="T18" fmla="*/ 2147483647 w 9"/>
                    <a:gd name="T19" fmla="*/ 2147483647 h 7"/>
                    <a:gd name="T20" fmla="*/ 2147483647 w 9"/>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7"/>
                    <a:gd name="T35" fmla="*/ 9 w 9"/>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7">
                      <a:moveTo>
                        <a:pt x="7" y="7"/>
                      </a:moveTo>
                      <a:lnTo>
                        <a:pt x="4" y="7"/>
                      </a:lnTo>
                      <a:lnTo>
                        <a:pt x="1" y="6"/>
                      </a:lnTo>
                      <a:lnTo>
                        <a:pt x="0" y="4"/>
                      </a:lnTo>
                      <a:lnTo>
                        <a:pt x="1" y="2"/>
                      </a:lnTo>
                      <a:lnTo>
                        <a:pt x="5" y="0"/>
                      </a:lnTo>
                      <a:lnTo>
                        <a:pt x="8" y="2"/>
                      </a:lnTo>
                      <a:lnTo>
                        <a:pt x="9" y="3"/>
                      </a:lnTo>
                      <a:lnTo>
                        <a:pt x="9" y="5"/>
                      </a:lnTo>
                      <a:lnTo>
                        <a:pt x="9" y="7"/>
                      </a:lnTo>
                      <a:lnTo>
                        <a:pt x="7"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5" name="Freeform 800"/>
                <p:cNvSpPr>
                  <a:spLocks/>
                </p:cNvSpPr>
                <p:nvPr/>
              </p:nvSpPr>
              <p:spPr bwMode="auto">
                <a:xfrm>
                  <a:off x="6872049" y="4536969"/>
                  <a:ext cx="13318" cy="11839"/>
                </a:xfrm>
                <a:custGeom>
                  <a:avLst/>
                  <a:gdLst>
                    <a:gd name="T0" fmla="*/ 2147483647 w 10"/>
                    <a:gd name="T1" fmla="*/ 2147483647 h 8"/>
                    <a:gd name="T2" fmla="*/ 2147483647 w 10"/>
                    <a:gd name="T3" fmla="*/ 2147483647 h 8"/>
                    <a:gd name="T4" fmla="*/ 2147483647 w 10"/>
                    <a:gd name="T5" fmla="*/ 2147483647 h 8"/>
                    <a:gd name="T6" fmla="*/ 2147483647 w 10"/>
                    <a:gd name="T7" fmla="*/ 2147483647 h 8"/>
                    <a:gd name="T8" fmla="*/ 2147483647 w 10"/>
                    <a:gd name="T9" fmla="*/ 2147483647 h 8"/>
                    <a:gd name="T10" fmla="*/ 2147483647 w 10"/>
                    <a:gd name="T11" fmla="*/ 2147483647 h 8"/>
                    <a:gd name="T12" fmla="*/ 2147483647 w 10"/>
                    <a:gd name="T13" fmla="*/ 2147483647 h 8"/>
                    <a:gd name="T14" fmla="*/ 0 w 10"/>
                    <a:gd name="T15" fmla="*/ 0 h 8"/>
                    <a:gd name="T16" fmla="*/ 2147483647 w 10"/>
                    <a:gd name="T17" fmla="*/ 2147483647 h 8"/>
                    <a:gd name="T18" fmla="*/ 2147483647 w 10"/>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8"/>
                    <a:gd name="T32" fmla="*/ 10 w 1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8">
                      <a:moveTo>
                        <a:pt x="6" y="4"/>
                      </a:moveTo>
                      <a:lnTo>
                        <a:pt x="10" y="6"/>
                      </a:lnTo>
                      <a:lnTo>
                        <a:pt x="10" y="7"/>
                      </a:lnTo>
                      <a:lnTo>
                        <a:pt x="9" y="8"/>
                      </a:lnTo>
                      <a:lnTo>
                        <a:pt x="6" y="8"/>
                      </a:lnTo>
                      <a:lnTo>
                        <a:pt x="4" y="7"/>
                      </a:lnTo>
                      <a:lnTo>
                        <a:pt x="1" y="4"/>
                      </a:lnTo>
                      <a:lnTo>
                        <a:pt x="0" y="0"/>
                      </a:lnTo>
                      <a:lnTo>
                        <a:pt x="4"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6" name="Freeform 801"/>
                <p:cNvSpPr>
                  <a:spLocks/>
                </p:cNvSpPr>
                <p:nvPr/>
              </p:nvSpPr>
              <p:spPr bwMode="auto">
                <a:xfrm>
                  <a:off x="7771811" y="4792986"/>
                  <a:ext cx="13318" cy="10359"/>
                </a:xfrm>
                <a:custGeom>
                  <a:avLst/>
                  <a:gdLst>
                    <a:gd name="T0" fmla="*/ 2147483647 w 9"/>
                    <a:gd name="T1" fmla="*/ 2147483647 h 7"/>
                    <a:gd name="T2" fmla="*/ 2147483647 w 9"/>
                    <a:gd name="T3" fmla="*/ 2147483647 h 7"/>
                    <a:gd name="T4" fmla="*/ 2147483647 w 9"/>
                    <a:gd name="T5" fmla="*/ 2147483647 h 7"/>
                    <a:gd name="T6" fmla="*/ 2147483647 w 9"/>
                    <a:gd name="T7" fmla="*/ 2147483647 h 7"/>
                    <a:gd name="T8" fmla="*/ 0 w 9"/>
                    <a:gd name="T9" fmla="*/ 2147483647 h 7"/>
                    <a:gd name="T10" fmla="*/ 2147483647 w 9"/>
                    <a:gd name="T11" fmla="*/ 2147483647 h 7"/>
                    <a:gd name="T12" fmla="*/ 2147483647 w 9"/>
                    <a:gd name="T13" fmla="*/ 2147483647 h 7"/>
                    <a:gd name="T14" fmla="*/ 2147483647 w 9"/>
                    <a:gd name="T15" fmla="*/ 0 h 7"/>
                    <a:gd name="T16" fmla="*/ 2147483647 w 9"/>
                    <a:gd name="T17" fmla="*/ 2147483647 h 7"/>
                    <a:gd name="T18" fmla="*/ 2147483647 w 9"/>
                    <a:gd name="T19" fmla="*/ 2147483647 h 7"/>
                    <a:gd name="T20" fmla="*/ 2147483647 w 9"/>
                    <a:gd name="T21" fmla="*/ 2147483647 h 7"/>
                    <a:gd name="T22" fmla="*/ 2147483647 w 9"/>
                    <a:gd name="T23" fmla="*/ 2147483647 h 7"/>
                    <a:gd name="T24" fmla="*/ 2147483647 w 9"/>
                    <a:gd name="T25" fmla="*/ 2147483647 h 7"/>
                    <a:gd name="T26" fmla="*/ 2147483647 w 9"/>
                    <a:gd name="T27" fmla="*/ 2147483647 h 7"/>
                    <a:gd name="T28" fmla="*/ 2147483647 w 9"/>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
                    <a:gd name="T46" fmla="*/ 0 h 7"/>
                    <a:gd name="T47" fmla="*/ 9 w 9"/>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 h="7">
                      <a:moveTo>
                        <a:pt x="6" y="7"/>
                      </a:moveTo>
                      <a:lnTo>
                        <a:pt x="6" y="7"/>
                      </a:lnTo>
                      <a:lnTo>
                        <a:pt x="4" y="7"/>
                      </a:lnTo>
                      <a:lnTo>
                        <a:pt x="1" y="6"/>
                      </a:lnTo>
                      <a:lnTo>
                        <a:pt x="0" y="4"/>
                      </a:lnTo>
                      <a:lnTo>
                        <a:pt x="1" y="1"/>
                      </a:lnTo>
                      <a:lnTo>
                        <a:pt x="5" y="0"/>
                      </a:lnTo>
                      <a:lnTo>
                        <a:pt x="8" y="1"/>
                      </a:lnTo>
                      <a:lnTo>
                        <a:pt x="9" y="3"/>
                      </a:lnTo>
                      <a:lnTo>
                        <a:pt x="9" y="5"/>
                      </a:lnTo>
                      <a:lnTo>
                        <a:pt x="9" y="7"/>
                      </a:lnTo>
                      <a:lnTo>
                        <a:pt x="6"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7" name="Freeform 802"/>
                <p:cNvSpPr>
                  <a:spLocks/>
                </p:cNvSpPr>
                <p:nvPr/>
              </p:nvSpPr>
              <p:spPr bwMode="auto">
                <a:xfrm>
                  <a:off x="6870565" y="4535489"/>
                  <a:ext cx="13319" cy="11839"/>
                </a:xfrm>
                <a:custGeom>
                  <a:avLst/>
                  <a:gdLst>
                    <a:gd name="T0" fmla="*/ 2147483647 w 10"/>
                    <a:gd name="T1" fmla="*/ 2147483647 h 8"/>
                    <a:gd name="T2" fmla="*/ 2147483647 w 10"/>
                    <a:gd name="T3" fmla="*/ 2147483647 h 8"/>
                    <a:gd name="T4" fmla="*/ 2147483647 w 10"/>
                    <a:gd name="T5" fmla="*/ 2147483647 h 8"/>
                    <a:gd name="T6" fmla="*/ 2147483647 w 10"/>
                    <a:gd name="T7" fmla="*/ 2147483647 h 8"/>
                    <a:gd name="T8" fmla="*/ 2147483647 w 10"/>
                    <a:gd name="T9" fmla="*/ 2147483647 h 8"/>
                    <a:gd name="T10" fmla="*/ 2147483647 w 10"/>
                    <a:gd name="T11" fmla="*/ 2147483647 h 8"/>
                    <a:gd name="T12" fmla="*/ 2147483647 w 10"/>
                    <a:gd name="T13" fmla="*/ 2147483647 h 8"/>
                    <a:gd name="T14" fmla="*/ 2147483647 w 10"/>
                    <a:gd name="T15" fmla="*/ 2147483647 h 8"/>
                    <a:gd name="T16" fmla="*/ 2147483647 w 10"/>
                    <a:gd name="T17" fmla="*/ 2147483647 h 8"/>
                    <a:gd name="T18" fmla="*/ 0 w 10"/>
                    <a:gd name="T19" fmla="*/ 0 h 8"/>
                    <a:gd name="T20" fmla="*/ 0 w 10"/>
                    <a:gd name="T21" fmla="*/ 0 h 8"/>
                    <a:gd name="T22" fmla="*/ 2147483647 w 10"/>
                    <a:gd name="T23" fmla="*/ 2147483647 h 8"/>
                    <a:gd name="T24" fmla="*/ 2147483647 w 10"/>
                    <a:gd name="T25" fmla="*/ 2147483647 h 8"/>
                    <a:gd name="T26" fmla="*/ 2147483647 w 10"/>
                    <a:gd name="T27" fmla="*/ 214748364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8"/>
                    <a:gd name="T44" fmla="*/ 10 w 10"/>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8">
                      <a:moveTo>
                        <a:pt x="6" y="3"/>
                      </a:moveTo>
                      <a:lnTo>
                        <a:pt x="6" y="3"/>
                      </a:lnTo>
                      <a:lnTo>
                        <a:pt x="10" y="6"/>
                      </a:lnTo>
                      <a:lnTo>
                        <a:pt x="10" y="7"/>
                      </a:lnTo>
                      <a:lnTo>
                        <a:pt x="8" y="8"/>
                      </a:lnTo>
                      <a:lnTo>
                        <a:pt x="6" y="8"/>
                      </a:lnTo>
                      <a:lnTo>
                        <a:pt x="3" y="7"/>
                      </a:lnTo>
                      <a:lnTo>
                        <a:pt x="1" y="3"/>
                      </a:lnTo>
                      <a:lnTo>
                        <a:pt x="0" y="0"/>
                      </a:lnTo>
                      <a:lnTo>
                        <a:pt x="3" y="1"/>
                      </a:lnTo>
                      <a:lnTo>
                        <a:pt x="6" y="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8" name="Freeform 803"/>
                <p:cNvSpPr>
                  <a:spLocks/>
                </p:cNvSpPr>
                <p:nvPr/>
              </p:nvSpPr>
              <p:spPr bwMode="auto">
                <a:xfrm>
                  <a:off x="6910524" y="4576927"/>
                  <a:ext cx="19238" cy="29598"/>
                </a:xfrm>
                <a:custGeom>
                  <a:avLst/>
                  <a:gdLst>
                    <a:gd name="T0" fmla="*/ 2147483647 w 14"/>
                    <a:gd name="T1" fmla="*/ 2147483647 h 20"/>
                    <a:gd name="T2" fmla="*/ 2147483647 w 14"/>
                    <a:gd name="T3" fmla="*/ 2147483647 h 20"/>
                    <a:gd name="T4" fmla="*/ 2147483647 w 14"/>
                    <a:gd name="T5" fmla="*/ 2147483647 h 20"/>
                    <a:gd name="T6" fmla="*/ 2147483647 w 14"/>
                    <a:gd name="T7" fmla="*/ 2147483647 h 20"/>
                    <a:gd name="T8" fmla="*/ 2147483647 w 14"/>
                    <a:gd name="T9" fmla="*/ 2147483647 h 20"/>
                    <a:gd name="T10" fmla="*/ 2147483647 w 14"/>
                    <a:gd name="T11" fmla="*/ 2147483647 h 20"/>
                    <a:gd name="T12" fmla="*/ 2147483647 w 14"/>
                    <a:gd name="T13" fmla="*/ 2147483647 h 20"/>
                    <a:gd name="T14" fmla="*/ 2147483647 w 14"/>
                    <a:gd name="T15" fmla="*/ 2147483647 h 20"/>
                    <a:gd name="T16" fmla="*/ 2147483647 w 14"/>
                    <a:gd name="T17" fmla="*/ 2147483647 h 20"/>
                    <a:gd name="T18" fmla="*/ 0 w 14"/>
                    <a:gd name="T19" fmla="*/ 2147483647 h 20"/>
                    <a:gd name="T20" fmla="*/ 2147483647 w 14"/>
                    <a:gd name="T21" fmla="*/ 2147483647 h 20"/>
                    <a:gd name="T22" fmla="*/ 2147483647 w 14"/>
                    <a:gd name="T23" fmla="*/ 0 h 20"/>
                    <a:gd name="T24" fmla="*/ 2147483647 w 14"/>
                    <a:gd name="T25" fmla="*/ 0 h 20"/>
                    <a:gd name="T26" fmla="*/ 2147483647 w 14"/>
                    <a:gd name="T27" fmla="*/ 2147483647 h 20"/>
                    <a:gd name="T28" fmla="*/ 2147483647 w 14"/>
                    <a:gd name="T29" fmla="*/ 2147483647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0"/>
                    <a:gd name="T47" fmla="*/ 14 w 14"/>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0">
                      <a:moveTo>
                        <a:pt x="11" y="10"/>
                      </a:moveTo>
                      <a:lnTo>
                        <a:pt x="14" y="13"/>
                      </a:lnTo>
                      <a:lnTo>
                        <a:pt x="14" y="17"/>
                      </a:lnTo>
                      <a:lnTo>
                        <a:pt x="13" y="19"/>
                      </a:lnTo>
                      <a:lnTo>
                        <a:pt x="11" y="20"/>
                      </a:lnTo>
                      <a:lnTo>
                        <a:pt x="10" y="20"/>
                      </a:lnTo>
                      <a:lnTo>
                        <a:pt x="7" y="18"/>
                      </a:lnTo>
                      <a:lnTo>
                        <a:pt x="4" y="13"/>
                      </a:lnTo>
                      <a:lnTo>
                        <a:pt x="1" y="9"/>
                      </a:lnTo>
                      <a:lnTo>
                        <a:pt x="0" y="4"/>
                      </a:lnTo>
                      <a:lnTo>
                        <a:pt x="1" y="1"/>
                      </a:lnTo>
                      <a:lnTo>
                        <a:pt x="2" y="0"/>
                      </a:lnTo>
                      <a:lnTo>
                        <a:pt x="4" y="0"/>
                      </a:lnTo>
                      <a:lnTo>
                        <a:pt x="5" y="1"/>
                      </a:lnTo>
                      <a:lnTo>
                        <a:pt x="11"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29" name="Freeform 804"/>
                <p:cNvSpPr>
                  <a:spLocks/>
                </p:cNvSpPr>
                <p:nvPr/>
              </p:nvSpPr>
              <p:spPr bwMode="auto">
                <a:xfrm>
                  <a:off x="6969721" y="4695320"/>
                  <a:ext cx="7399" cy="8879"/>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0 w 5"/>
                    <a:gd name="T9" fmla="*/ 2147483647 h 6"/>
                    <a:gd name="T10" fmla="*/ 2147483647 w 5"/>
                    <a:gd name="T11" fmla="*/ 0 h 6"/>
                    <a:gd name="T12" fmla="*/ 2147483647 w 5"/>
                    <a:gd name="T13" fmla="*/ 0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6"/>
                      </a:moveTo>
                      <a:lnTo>
                        <a:pt x="4" y="6"/>
                      </a:lnTo>
                      <a:lnTo>
                        <a:pt x="3" y="6"/>
                      </a:lnTo>
                      <a:lnTo>
                        <a:pt x="0" y="3"/>
                      </a:lnTo>
                      <a:lnTo>
                        <a:pt x="0" y="1"/>
                      </a:lnTo>
                      <a:lnTo>
                        <a:pt x="2" y="0"/>
                      </a:lnTo>
                      <a:lnTo>
                        <a:pt x="3" y="0"/>
                      </a:lnTo>
                      <a:lnTo>
                        <a:pt x="5" y="1"/>
                      </a:lnTo>
                      <a:lnTo>
                        <a:pt x="5"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0" name="Freeform 805"/>
                <p:cNvSpPr>
                  <a:spLocks/>
                </p:cNvSpPr>
                <p:nvPr/>
              </p:nvSpPr>
              <p:spPr bwMode="auto">
                <a:xfrm>
                  <a:off x="6909042" y="4575447"/>
                  <a:ext cx="19239" cy="29598"/>
                </a:xfrm>
                <a:custGeom>
                  <a:avLst/>
                  <a:gdLst>
                    <a:gd name="T0" fmla="*/ 2147483647 w 14"/>
                    <a:gd name="T1" fmla="*/ 2147483647 h 20"/>
                    <a:gd name="T2" fmla="*/ 2147483647 w 14"/>
                    <a:gd name="T3" fmla="*/ 2147483647 h 20"/>
                    <a:gd name="T4" fmla="*/ 2147483647 w 14"/>
                    <a:gd name="T5" fmla="*/ 2147483647 h 20"/>
                    <a:gd name="T6" fmla="*/ 2147483647 w 14"/>
                    <a:gd name="T7" fmla="*/ 2147483647 h 20"/>
                    <a:gd name="T8" fmla="*/ 2147483647 w 14"/>
                    <a:gd name="T9" fmla="*/ 2147483647 h 20"/>
                    <a:gd name="T10" fmla="*/ 2147483647 w 14"/>
                    <a:gd name="T11" fmla="*/ 2147483647 h 20"/>
                    <a:gd name="T12" fmla="*/ 2147483647 w 14"/>
                    <a:gd name="T13" fmla="*/ 2147483647 h 20"/>
                    <a:gd name="T14" fmla="*/ 2147483647 w 14"/>
                    <a:gd name="T15" fmla="*/ 2147483647 h 20"/>
                    <a:gd name="T16" fmla="*/ 2147483647 w 14"/>
                    <a:gd name="T17" fmla="*/ 2147483647 h 20"/>
                    <a:gd name="T18" fmla="*/ 2147483647 w 14"/>
                    <a:gd name="T19" fmla="*/ 2147483647 h 20"/>
                    <a:gd name="T20" fmla="*/ 2147483647 w 14"/>
                    <a:gd name="T21" fmla="*/ 2147483647 h 20"/>
                    <a:gd name="T22" fmla="*/ 0 w 14"/>
                    <a:gd name="T23" fmla="*/ 2147483647 h 20"/>
                    <a:gd name="T24" fmla="*/ 0 w 14"/>
                    <a:gd name="T25" fmla="*/ 2147483647 h 20"/>
                    <a:gd name="T26" fmla="*/ 2147483647 w 14"/>
                    <a:gd name="T27" fmla="*/ 2147483647 h 20"/>
                    <a:gd name="T28" fmla="*/ 2147483647 w 14"/>
                    <a:gd name="T29" fmla="*/ 0 h 20"/>
                    <a:gd name="T30" fmla="*/ 2147483647 w 14"/>
                    <a:gd name="T31" fmla="*/ 0 h 20"/>
                    <a:gd name="T32" fmla="*/ 2147483647 w 14"/>
                    <a:gd name="T33" fmla="*/ 2147483647 h 20"/>
                    <a:gd name="T34" fmla="*/ 2147483647 w 14"/>
                    <a:gd name="T35" fmla="*/ 2147483647 h 20"/>
                    <a:gd name="T36" fmla="*/ 2147483647 w 14"/>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20"/>
                    <a:gd name="T59" fmla="*/ 14 w 14"/>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20">
                      <a:moveTo>
                        <a:pt x="11" y="10"/>
                      </a:moveTo>
                      <a:lnTo>
                        <a:pt x="11" y="10"/>
                      </a:lnTo>
                      <a:lnTo>
                        <a:pt x="14" y="13"/>
                      </a:lnTo>
                      <a:lnTo>
                        <a:pt x="14" y="17"/>
                      </a:lnTo>
                      <a:lnTo>
                        <a:pt x="12" y="19"/>
                      </a:lnTo>
                      <a:lnTo>
                        <a:pt x="11" y="20"/>
                      </a:lnTo>
                      <a:lnTo>
                        <a:pt x="10" y="20"/>
                      </a:lnTo>
                      <a:lnTo>
                        <a:pt x="7" y="18"/>
                      </a:lnTo>
                      <a:lnTo>
                        <a:pt x="3" y="13"/>
                      </a:lnTo>
                      <a:lnTo>
                        <a:pt x="1" y="8"/>
                      </a:lnTo>
                      <a:lnTo>
                        <a:pt x="0" y="4"/>
                      </a:lnTo>
                      <a:lnTo>
                        <a:pt x="1" y="1"/>
                      </a:lnTo>
                      <a:lnTo>
                        <a:pt x="2" y="0"/>
                      </a:lnTo>
                      <a:lnTo>
                        <a:pt x="3" y="0"/>
                      </a:lnTo>
                      <a:lnTo>
                        <a:pt x="5" y="1"/>
                      </a:lnTo>
                      <a:lnTo>
                        <a:pt x="11"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1" name="Freeform 806"/>
                <p:cNvSpPr>
                  <a:spLocks/>
                </p:cNvSpPr>
                <p:nvPr/>
              </p:nvSpPr>
              <p:spPr bwMode="auto">
                <a:xfrm>
                  <a:off x="6968237" y="4693835"/>
                  <a:ext cx="7400" cy="7400"/>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2147483647 w 5"/>
                    <a:gd name="T9" fmla="*/ 2147483647 h 5"/>
                    <a:gd name="T10" fmla="*/ 2147483647 w 5"/>
                    <a:gd name="T11" fmla="*/ 2147483647 h 5"/>
                    <a:gd name="T12" fmla="*/ 0 w 5"/>
                    <a:gd name="T13" fmla="*/ 2147483647 h 5"/>
                    <a:gd name="T14" fmla="*/ 0 w 5"/>
                    <a:gd name="T15" fmla="*/ 2147483647 h 5"/>
                    <a:gd name="T16" fmla="*/ 2147483647 w 5"/>
                    <a:gd name="T17" fmla="*/ 0 h 5"/>
                    <a:gd name="T18" fmla="*/ 2147483647 w 5"/>
                    <a:gd name="T19" fmla="*/ 0 h 5"/>
                    <a:gd name="T20" fmla="*/ 2147483647 w 5"/>
                    <a:gd name="T21" fmla="*/ 0 h 5"/>
                    <a:gd name="T22" fmla="*/ 2147483647 w 5"/>
                    <a:gd name="T23" fmla="*/ 2147483647 h 5"/>
                    <a:gd name="T24" fmla="*/ 2147483647 w 5"/>
                    <a:gd name="T25" fmla="*/ 2147483647 h 5"/>
                    <a:gd name="T26" fmla="*/ 2147483647 w 5"/>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5"/>
                    <a:gd name="T44" fmla="*/ 5 w 5"/>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5">
                      <a:moveTo>
                        <a:pt x="5" y="5"/>
                      </a:moveTo>
                      <a:lnTo>
                        <a:pt x="5" y="5"/>
                      </a:lnTo>
                      <a:lnTo>
                        <a:pt x="4" y="5"/>
                      </a:lnTo>
                      <a:lnTo>
                        <a:pt x="3" y="5"/>
                      </a:lnTo>
                      <a:lnTo>
                        <a:pt x="0" y="3"/>
                      </a:lnTo>
                      <a:lnTo>
                        <a:pt x="0" y="1"/>
                      </a:lnTo>
                      <a:lnTo>
                        <a:pt x="1" y="0"/>
                      </a:lnTo>
                      <a:lnTo>
                        <a:pt x="3" y="0"/>
                      </a:lnTo>
                      <a:lnTo>
                        <a:pt x="5" y="1"/>
                      </a:lnTo>
                      <a:lnTo>
                        <a:pt x="5"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2" name="Freeform 807"/>
                <p:cNvSpPr>
                  <a:spLocks/>
                </p:cNvSpPr>
                <p:nvPr/>
              </p:nvSpPr>
              <p:spPr bwMode="auto">
                <a:xfrm>
                  <a:off x="6980078" y="4713076"/>
                  <a:ext cx="5919" cy="5919"/>
                </a:xfrm>
                <a:custGeom>
                  <a:avLst/>
                  <a:gdLst>
                    <a:gd name="T0" fmla="*/ 2147483647 w 5"/>
                    <a:gd name="T1" fmla="*/ 2147483647 h 4"/>
                    <a:gd name="T2" fmla="*/ 2147483647 w 5"/>
                    <a:gd name="T3" fmla="*/ 2147483647 h 4"/>
                    <a:gd name="T4" fmla="*/ 2147483647 w 5"/>
                    <a:gd name="T5" fmla="*/ 2147483647 h 4"/>
                    <a:gd name="T6" fmla="*/ 0 w 5"/>
                    <a:gd name="T7" fmla="*/ 2147483647 h 4"/>
                    <a:gd name="T8" fmla="*/ 0 w 5"/>
                    <a:gd name="T9" fmla="*/ 0 h 4"/>
                    <a:gd name="T10" fmla="*/ 2147483647 w 5"/>
                    <a:gd name="T11" fmla="*/ 0 h 4"/>
                    <a:gd name="T12" fmla="*/ 2147483647 w 5"/>
                    <a:gd name="T13" fmla="*/ 2147483647 h 4"/>
                    <a:gd name="T14" fmla="*/ 2147483647 w 5"/>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5" y="3"/>
                      </a:moveTo>
                      <a:lnTo>
                        <a:pt x="2" y="4"/>
                      </a:lnTo>
                      <a:lnTo>
                        <a:pt x="1" y="3"/>
                      </a:lnTo>
                      <a:lnTo>
                        <a:pt x="0" y="1"/>
                      </a:lnTo>
                      <a:lnTo>
                        <a:pt x="0" y="0"/>
                      </a:lnTo>
                      <a:lnTo>
                        <a:pt x="2" y="0"/>
                      </a:lnTo>
                      <a:lnTo>
                        <a:pt x="5" y="1"/>
                      </a:lnTo>
                      <a:lnTo>
                        <a:pt x="5"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3" name="Freeform 808"/>
                <p:cNvSpPr>
                  <a:spLocks/>
                </p:cNvSpPr>
                <p:nvPr/>
              </p:nvSpPr>
              <p:spPr bwMode="auto">
                <a:xfrm>
                  <a:off x="7064430" y="4633163"/>
                  <a:ext cx="8879"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6" y="4"/>
                      </a:moveTo>
                      <a:lnTo>
                        <a:pt x="6" y="6"/>
                      </a:lnTo>
                      <a:lnTo>
                        <a:pt x="5" y="7"/>
                      </a:lnTo>
                      <a:lnTo>
                        <a:pt x="2" y="7"/>
                      </a:lnTo>
                      <a:lnTo>
                        <a:pt x="0" y="5"/>
                      </a:lnTo>
                      <a:lnTo>
                        <a:pt x="0" y="3"/>
                      </a:lnTo>
                      <a:lnTo>
                        <a:pt x="1" y="0"/>
                      </a:lnTo>
                      <a:lnTo>
                        <a:pt x="2" y="0"/>
                      </a:lnTo>
                      <a:lnTo>
                        <a:pt x="4" y="1"/>
                      </a:lnTo>
                      <a:lnTo>
                        <a:pt x="6"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4" name="Freeform 809"/>
                <p:cNvSpPr>
                  <a:spLocks/>
                </p:cNvSpPr>
                <p:nvPr/>
              </p:nvSpPr>
              <p:spPr bwMode="auto">
                <a:xfrm>
                  <a:off x="6977116" y="4710118"/>
                  <a:ext cx="7400" cy="7399"/>
                </a:xfrm>
                <a:custGeom>
                  <a:avLst/>
                  <a:gdLst>
                    <a:gd name="T0" fmla="*/ 2147483647 w 5"/>
                    <a:gd name="T1" fmla="*/ 2147483647 h 5"/>
                    <a:gd name="T2" fmla="*/ 2147483647 w 5"/>
                    <a:gd name="T3" fmla="*/ 2147483647 h 5"/>
                    <a:gd name="T4" fmla="*/ 2147483647 w 5"/>
                    <a:gd name="T5" fmla="*/ 2147483647 h 5"/>
                    <a:gd name="T6" fmla="*/ 2147483647 w 5"/>
                    <a:gd name="T7" fmla="*/ 2147483647 h 5"/>
                    <a:gd name="T8" fmla="*/ 0 w 5"/>
                    <a:gd name="T9" fmla="*/ 2147483647 h 5"/>
                    <a:gd name="T10" fmla="*/ 0 w 5"/>
                    <a:gd name="T11" fmla="*/ 2147483647 h 5"/>
                    <a:gd name="T12" fmla="*/ 0 w 5"/>
                    <a:gd name="T13" fmla="*/ 0 h 5"/>
                    <a:gd name="T14" fmla="*/ 0 w 5"/>
                    <a:gd name="T15" fmla="*/ 0 h 5"/>
                    <a:gd name="T16" fmla="*/ 2147483647 w 5"/>
                    <a:gd name="T17" fmla="*/ 0 h 5"/>
                    <a:gd name="T18" fmla="*/ 2147483647 w 5"/>
                    <a:gd name="T19" fmla="*/ 2147483647 h 5"/>
                    <a:gd name="T20" fmla="*/ 2147483647 w 5"/>
                    <a:gd name="T21" fmla="*/ 2147483647 h 5"/>
                    <a:gd name="T22" fmla="*/ 2147483647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5" y="4"/>
                      </a:moveTo>
                      <a:lnTo>
                        <a:pt x="5" y="4"/>
                      </a:lnTo>
                      <a:lnTo>
                        <a:pt x="3" y="5"/>
                      </a:lnTo>
                      <a:lnTo>
                        <a:pt x="2" y="4"/>
                      </a:lnTo>
                      <a:lnTo>
                        <a:pt x="0" y="2"/>
                      </a:lnTo>
                      <a:lnTo>
                        <a:pt x="0" y="0"/>
                      </a:lnTo>
                      <a:lnTo>
                        <a:pt x="3" y="0"/>
                      </a:lnTo>
                      <a:lnTo>
                        <a:pt x="5" y="2"/>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5" name="Freeform 810"/>
                <p:cNvSpPr>
                  <a:spLocks/>
                </p:cNvSpPr>
                <p:nvPr/>
              </p:nvSpPr>
              <p:spPr bwMode="auto">
                <a:xfrm>
                  <a:off x="7062950" y="4631683"/>
                  <a:ext cx="8879" cy="10360"/>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7"/>
                    <a:gd name="T44" fmla="*/ 6 w 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7">
                      <a:moveTo>
                        <a:pt x="6" y="4"/>
                      </a:moveTo>
                      <a:lnTo>
                        <a:pt x="6" y="4"/>
                      </a:lnTo>
                      <a:lnTo>
                        <a:pt x="6" y="6"/>
                      </a:lnTo>
                      <a:lnTo>
                        <a:pt x="5" y="7"/>
                      </a:lnTo>
                      <a:lnTo>
                        <a:pt x="2" y="7"/>
                      </a:lnTo>
                      <a:lnTo>
                        <a:pt x="0" y="5"/>
                      </a:lnTo>
                      <a:lnTo>
                        <a:pt x="0" y="2"/>
                      </a:lnTo>
                      <a:lnTo>
                        <a:pt x="1" y="0"/>
                      </a:lnTo>
                      <a:lnTo>
                        <a:pt x="2" y="0"/>
                      </a:lnTo>
                      <a:lnTo>
                        <a:pt x="3" y="1"/>
                      </a:lnTo>
                      <a:lnTo>
                        <a:pt x="6"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6" name="Freeform 811"/>
                <p:cNvSpPr>
                  <a:spLocks/>
                </p:cNvSpPr>
                <p:nvPr/>
              </p:nvSpPr>
              <p:spPr bwMode="auto">
                <a:xfrm>
                  <a:off x="7064429" y="4612446"/>
                  <a:ext cx="17758" cy="20718"/>
                </a:xfrm>
                <a:custGeom>
                  <a:avLst/>
                  <a:gdLst>
                    <a:gd name="T0" fmla="*/ 2147483647 w 13"/>
                    <a:gd name="T1" fmla="*/ 2147483647 h 14"/>
                    <a:gd name="T2" fmla="*/ 2147483647 w 13"/>
                    <a:gd name="T3" fmla="*/ 2147483647 h 14"/>
                    <a:gd name="T4" fmla="*/ 2147483647 w 13"/>
                    <a:gd name="T5" fmla="*/ 2147483647 h 14"/>
                    <a:gd name="T6" fmla="*/ 2147483647 w 13"/>
                    <a:gd name="T7" fmla="*/ 2147483647 h 14"/>
                    <a:gd name="T8" fmla="*/ 2147483647 w 13"/>
                    <a:gd name="T9" fmla="*/ 0 h 14"/>
                    <a:gd name="T10" fmla="*/ 2147483647 w 13"/>
                    <a:gd name="T11" fmla="*/ 0 h 14"/>
                    <a:gd name="T12" fmla="*/ 0 w 13"/>
                    <a:gd name="T13" fmla="*/ 2147483647 h 14"/>
                    <a:gd name="T14" fmla="*/ 0 w 13"/>
                    <a:gd name="T15" fmla="*/ 2147483647 h 14"/>
                    <a:gd name="T16" fmla="*/ 0 w 13"/>
                    <a:gd name="T17" fmla="*/ 2147483647 h 14"/>
                    <a:gd name="T18" fmla="*/ 2147483647 w 13"/>
                    <a:gd name="T19" fmla="*/ 2147483647 h 14"/>
                    <a:gd name="T20" fmla="*/ 2147483647 w 13"/>
                    <a:gd name="T21" fmla="*/ 2147483647 h 14"/>
                    <a:gd name="T22" fmla="*/ 2147483647 w 13"/>
                    <a:gd name="T23" fmla="*/ 2147483647 h 14"/>
                    <a:gd name="T24" fmla="*/ 2147483647 w 13"/>
                    <a:gd name="T25" fmla="*/ 2147483647 h 14"/>
                    <a:gd name="T26" fmla="*/ 2147483647 w 13"/>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4"/>
                    <a:gd name="T44" fmla="*/ 13 w 13"/>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4">
                      <a:moveTo>
                        <a:pt x="13" y="11"/>
                      </a:moveTo>
                      <a:lnTo>
                        <a:pt x="13" y="10"/>
                      </a:lnTo>
                      <a:lnTo>
                        <a:pt x="11" y="8"/>
                      </a:lnTo>
                      <a:lnTo>
                        <a:pt x="7" y="4"/>
                      </a:lnTo>
                      <a:lnTo>
                        <a:pt x="2" y="0"/>
                      </a:lnTo>
                      <a:lnTo>
                        <a:pt x="1" y="0"/>
                      </a:lnTo>
                      <a:lnTo>
                        <a:pt x="0" y="1"/>
                      </a:lnTo>
                      <a:lnTo>
                        <a:pt x="0" y="2"/>
                      </a:lnTo>
                      <a:lnTo>
                        <a:pt x="0" y="4"/>
                      </a:lnTo>
                      <a:lnTo>
                        <a:pt x="4" y="11"/>
                      </a:lnTo>
                      <a:lnTo>
                        <a:pt x="6" y="14"/>
                      </a:lnTo>
                      <a:lnTo>
                        <a:pt x="10" y="14"/>
                      </a:lnTo>
                      <a:lnTo>
                        <a:pt x="11" y="13"/>
                      </a:lnTo>
                      <a:lnTo>
                        <a:pt x="13"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7" name="Freeform 812"/>
                <p:cNvSpPr>
                  <a:spLocks/>
                </p:cNvSpPr>
                <p:nvPr/>
              </p:nvSpPr>
              <p:spPr bwMode="auto">
                <a:xfrm>
                  <a:off x="7089590" y="4659798"/>
                  <a:ext cx="38477" cy="45876"/>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0 w 28"/>
                    <a:gd name="T9" fmla="*/ 2147483647 h 31"/>
                    <a:gd name="T10" fmla="*/ 0 w 28"/>
                    <a:gd name="T11" fmla="*/ 2147483647 h 31"/>
                    <a:gd name="T12" fmla="*/ 2147483647 w 28"/>
                    <a:gd name="T13" fmla="*/ 2147483647 h 31"/>
                    <a:gd name="T14" fmla="*/ 2147483647 w 28"/>
                    <a:gd name="T15" fmla="*/ 2147483647 h 31"/>
                    <a:gd name="T16" fmla="*/ 2147483647 w 28"/>
                    <a:gd name="T17" fmla="*/ 2147483647 h 31"/>
                    <a:gd name="T18" fmla="*/ 2147483647 w 28"/>
                    <a:gd name="T19" fmla="*/ 2147483647 h 31"/>
                    <a:gd name="T20" fmla="*/ 2147483647 w 28"/>
                    <a:gd name="T21" fmla="*/ 0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2147483647 h 31"/>
                    <a:gd name="T32" fmla="*/ 2147483647 w 28"/>
                    <a:gd name="T33" fmla="*/ 2147483647 h 31"/>
                    <a:gd name="T34" fmla="*/ 2147483647 w 28"/>
                    <a:gd name="T35" fmla="*/ 2147483647 h 31"/>
                    <a:gd name="T36" fmla="*/ 2147483647 w 28"/>
                    <a:gd name="T37" fmla="*/ 2147483647 h 31"/>
                    <a:gd name="T38" fmla="*/ 2147483647 w 28"/>
                    <a:gd name="T39" fmla="*/ 2147483647 h 31"/>
                    <a:gd name="T40" fmla="*/ 2147483647 w 28"/>
                    <a:gd name="T41" fmla="*/ 2147483647 h 31"/>
                    <a:gd name="T42" fmla="*/ 2147483647 w 28"/>
                    <a:gd name="T43" fmla="*/ 2147483647 h 31"/>
                    <a:gd name="T44" fmla="*/ 2147483647 w 28"/>
                    <a:gd name="T45" fmla="*/ 2147483647 h 31"/>
                    <a:gd name="T46" fmla="*/ 2147483647 w 28"/>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31"/>
                    <a:gd name="T74" fmla="*/ 28 w 28"/>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31">
                      <a:moveTo>
                        <a:pt x="19" y="28"/>
                      </a:moveTo>
                      <a:lnTo>
                        <a:pt x="11" y="21"/>
                      </a:lnTo>
                      <a:lnTo>
                        <a:pt x="5" y="14"/>
                      </a:lnTo>
                      <a:lnTo>
                        <a:pt x="2" y="12"/>
                      </a:lnTo>
                      <a:lnTo>
                        <a:pt x="0" y="11"/>
                      </a:lnTo>
                      <a:lnTo>
                        <a:pt x="0" y="8"/>
                      </a:lnTo>
                      <a:lnTo>
                        <a:pt x="1" y="7"/>
                      </a:lnTo>
                      <a:lnTo>
                        <a:pt x="3" y="6"/>
                      </a:lnTo>
                      <a:lnTo>
                        <a:pt x="5" y="4"/>
                      </a:lnTo>
                      <a:lnTo>
                        <a:pt x="10" y="1"/>
                      </a:lnTo>
                      <a:lnTo>
                        <a:pt x="11" y="0"/>
                      </a:lnTo>
                      <a:lnTo>
                        <a:pt x="14" y="1"/>
                      </a:lnTo>
                      <a:lnTo>
                        <a:pt x="16" y="2"/>
                      </a:lnTo>
                      <a:lnTo>
                        <a:pt x="16" y="4"/>
                      </a:lnTo>
                      <a:lnTo>
                        <a:pt x="16" y="13"/>
                      </a:lnTo>
                      <a:lnTo>
                        <a:pt x="17" y="17"/>
                      </a:lnTo>
                      <a:lnTo>
                        <a:pt x="21" y="19"/>
                      </a:lnTo>
                      <a:lnTo>
                        <a:pt x="24" y="21"/>
                      </a:lnTo>
                      <a:lnTo>
                        <a:pt x="26" y="24"/>
                      </a:lnTo>
                      <a:lnTo>
                        <a:pt x="28" y="26"/>
                      </a:lnTo>
                      <a:lnTo>
                        <a:pt x="26" y="30"/>
                      </a:lnTo>
                      <a:lnTo>
                        <a:pt x="25" y="31"/>
                      </a:lnTo>
                      <a:lnTo>
                        <a:pt x="22" y="31"/>
                      </a:lnTo>
                      <a:lnTo>
                        <a:pt x="19"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8" name="Freeform 813"/>
                <p:cNvSpPr>
                  <a:spLocks/>
                </p:cNvSpPr>
                <p:nvPr/>
              </p:nvSpPr>
              <p:spPr bwMode="auto">
                <a:xfrm>
                  <a:off x="7062952" y="4610965"/>
                  <a:ext cx="16279" cy="20718"/>
                </a:xfrm>
                <a:custGeom>
                  <a:avLst/>
                  <a:gdLst>
                    <a:gd name="T0" fmla="*/ 2147483647 w 12"/>
                    <a:gd name="T1" fmla="*/ 2147483647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0 h 14"/>
                    <a:gd name="T14" fmla="*/ 2147483647 w 12"/>
                    <a:gd name="T15" fmla="*/ 0 h 14"/>
                    <a:gd name="T16" fmla="*/ 2147483647 w 12"/>
                    <a:gd name="T17" fmla="*/ 0 h 14"/>
                    <a:gd name="T18" fmla="*/ 0 w 12"/>
                    <a:gd name="T19" fmla="*/ 2147483647 h 14"/>
                    <a:gd name="T20" fmla="*/ 0 w 12"/>
                    <a:gd name="T21" fmla="*/ 2147483647 h 14"/>
                    <a:gd name="T22" fmla="*/ 0 w 12"/>
                    <a:gd name="T23" fmla="*/ 2147483647 h 14"/>
                    <a:gd name="T24" fmla="*/ 0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2147483647 w 12"/>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4"/>
                    <a:gd name="T62" fmla="*/ 12 w 12"/>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4">
                      <a:moveTo>
                        <a:pt x="12" y="11"/>
                      </a:moveTo>
                      <a:lnTo>
                        <a:pt x="12" y="11"/>
                      </a:lnTo>
                      <a:lnTo>
                        <a:pt x="12" y="9"/>
                      </a:lnTo>
                      <a:lnTo>
                        <a:pt x="11" y="8"/>
                      </a:lnTo>
                      <a:lnTo>
                        <a:pt x="7" y="3"/>
                      </a:lnTo>
                      <a:lnTo>
                        <a:pt x="2" y="0"/>
                      </a:lnTo>
                      <a:lnTo>
                        <a:pt x="1" y="0"/>
                      </a:lnTo>
                      <a:lnTo>
                        <a:pt x="0" y="1"/>
                      </a:lnTo>
                      <a:lnTo>
                        <a:pt x="0" y="2"/>
                      </a:lnTo>
                      <a:lnTo>
                        <a:pt x="0" y="3"/>
                      </a:lnTo>
                      <a:lnTo>
                        <a:pt x="3" y="11"/>
                      </a:lnTo>
                      <a:lnTo>
                        <a:pt x="6" y="14"/>
                      </a:lnTo>
                      <a:lnTo>
                        <a:pt x="10" y="14"/>
                      </a:lnTo>
                      <a:lnTo>
                        <a:pt x="11" y="13"/>
                      </a:lnTo>
                      <a:lnTo>
                        <a:pt x="12"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39" name="Freeform 814"/>
                <p:cNvSpPr>
                  <a:spLocks/>
                </p:cNvSpPr>
                <p:nvPr/>
              </p:nvSpPr>
              <p:spPr bwMode="auto">
                <a:xfrm>
                  <a:off x="7086630" y="4658320"/>
                  <a:ext cx="38477" cy="45877"/>
                </a:xfrm>
                <a:custGeom>
                  <a:avLst/>
                  <a:gdLst>
                    <a:gd name="T0" fmla="*/ 2147483647 w 28"/>
                    <a:gd name="T1" fmla="*/ 2147483647 h 31"/>
                    <a:gd name="T2" fmla="*/ 2147483647 w 28"/>
                    <a:gd name="T3" fmla="*/ 2147483647 h 31"/>
                    <a:gd name="T4" fmla="*/ 2147483647 w 28"/>
                    <a:gd name="T5" fmla="*/ 2147483647 h 31"/>
                    <a:gd name="T6" fmla="*/ 2147483647 w 28"/>
                    <a:gd name="T7" fmla="*/ 2147483647 h 31"/>
                    <a:gd name="T8" fmla="*/ 2147483647 w 28"/>
                    <a:gd name="T9" fmla="*/ 2147483647 h 31"/>
                    <a:gd name="T10" fmla="*/ 2147483647 w 28"/>
                    <a:gd name="T11" fmla="*/ 2147483647 h 31"/>
                    <a:gd name="T12" fmla="*/ 0 w 28"/>
                    <a:gd name="T13" fmla="*/ 2147483647 h 31"/>
                    <a:gd name="T14" fmla="*/ 0 w 28"/>
                    <a:gd name="T15" fmla="*/ 2147483647 h 31"/>
                    <a:gd name="T16" fmla="*/ 0 w 28"/>
                    <a:gd name="T17" fmla="*/ 2147483647 h 31"/>
                    <a:gd name="T18" fmla="*/ 2147483647 w 28"/>
                    <a:gd name="T19" fmla="*/ 2147483647 h 31"/>
                    <a:gd name="T20" fmla="*/ 2147483647 w 28"/>
                    <a:gd name="T21" fmla="*/ 2147483647 h 31"/>
                    <a:gd name="T22" fmla="*/ 2147483647 w 28"/>
                    <a:gd name="T23" fmla="*/ 2147483647 h 31"/>
                    <a:gd name="T24" fmla="*/ 2147483647 w 28"/>
                    <a:gd name="T25" fmla="*/ 2147483647 h 31"/>
                    <a:gd name="T26" fmla="*/ 2147483647 w 28"/>
                    <a:gd name="T27" fmla="*/ 2147483647 h 31"/>
                    <a:gd name="T28" fmla="*/ 2147483647 w 28"/>
                    <a:gd name="T29" fmla="*/ 2147483647 h 31"/>
                    <a:gd name="T30" fmla="*/ 2147483647 w 28"/>
                    <a:gd name="T31" fmla="*/ 0 h 31"/>
                    <a:gd name="T32" fmla="*/ 2147483647 w 28"/>
                    <a:gd name="T33" fmla="*/ 2147483647 h 31"/>
                    <a:gd name="T34" fmla="*/ 2147483647 w 28"/>
                    <a:gd name="T35" fmla="*/ 2147483647 h 31"/>
                    <a:gd name="T36" fmla="*/ 2147483647 w 28"/>
                    <a:gd name="T37" fmla="*/ 2147483647 h 31"/>
                    <a:gd name="T38" fmla="*/ 2147483647 w 28"/>
                    <a:gd name="T39" fmla="*/ 2147483647 h 31"/>
                    <a:gd name="T40" fmla="*/ 2147483647 w 28"/>
                    <a:gd name="T41" fmla="*/ 2147483647 h 31"/>
                    <a:gd name="T42" fmla="*/ 2147483647 w 28"/>
                    <a:gd name="T43" fmla="*/ 2147483647 h 31"/>
                    <a:gd name="T44" fmla="*/ 2147483647 w 28"/>
                    <a:gd name="T45" fmla="*/ 2147483647 h 31"/>
                    <a:gd name="T46" fmla="*/ 2147483647 w 28"/>
                    <a:gd name="T47" fmla="*/ 2147483647 h 31"/>
                    <a:gd name="T48" fmla="*/ 2147483647 w 28"/>
                    <a:gd name="T49" fmla="*/ 2147483647 h 31"/>
                    <a:gd name="T50" fmla="*/ 2147483647 w 28"/>
                    <a:gd name="T51" fmla="*/ 2147483647 h 31"/>
                    <a:gd name="T52" fmla="*/ 2147483647 w 28"/>
                    <a:gd name="T53" fmla="*/ 2147483647 h 31"/>
                    <a:gd name="T54" fmla="*/ 2147483647 w 28"/>
                    <a:gd name="T55" fmla="*/ 2147483647 h 31"/>
                    <a:gd name="T56" fmla="*/ 2147483647 w 28"/>
                    <a:gd name="T57" fmla="*/ 2147483647 h 31"/>
                    <a:gd name="T58" fmla="*/ 2147483647 w 28"/>
                    <a:gd name="T59" fmla="*/ 2147483647 h 31"/>
                    <a:gd name="T60" fmla="*/ 2147483647 w 28"/>
                    <a:gd name="T61" fmla="*/ 2147483647 h 31"/>
                    <a:gd name="T62" fmla="*/ 2147483647 w 28"/>
                    <a:gd name="T63" fmla="*/ 2147483647 h 31"/>
                    <a:gd name="T64" fmla="*/ 2147483647 w 28"/>
                    <a:gd name="T65" fmla="*/ 2147483647 h 3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
                    <a:gd name="T100" fmla="*/ 0 h 31"/>
                    <a:gd name="T101" fmla="*/ 28 w 28"/>
                    <a:gd name="T102" fmla="*/ 31 h 3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 h="31">
                      <a:moveTo>
                        <a:pt x="19" y="28"/>
                      </a:moveTo>
                      <a:lnTo>
                        <a:pt x="19" y="28"/>
                      </a:lnTo>
                      <a:lnTo>
                        <a:pt x="12" y="21"/>
                      </a:lnTo>
                      <a:lnTo>
                        <a:pt x="5" y="14"/>
                      </a:lnTo>
                      <a:lnTo>
                        <a:pt x="3" y="12"/>
                      </a:lnTo>
                      <a:lnTo>
                        <a:pt x="0" y="11"/>
                      </a:lnTo>
                      <a:lnTo>
                        <a:pt x="0" y="8"/>
                      </a:lnTo>
                      <a:lnTo>
                        <a:pt x="2" y="7"/>
                      </a:lnTo>
                      <a:lnTo>
                        <a:pt x="4" y="6"/>
                      </a:lnTo>
                      <a:lnTo>
                        <a:pt x="5" y="3"/>
                      </a:lnTo>
                      <a:lnTo>
                        <a:pt x="10" y="1"/>
                      </a:lnTo>
                      <a:lnTo>
                        <a:pt x="12" y="0"/>
                      </a:lnTo>
                      <a:lnTo>
                        <a:pt x="14" y="1"/>
                      </a:lnTo>
                      <a:lnTo>
                        <a:pt x="17" y="2"/>
                      </a:lnTo>
                      <a:lnTo>
                        <a:pt x="17" y="3"/>
                      </a:lnTo>
                      <a:lnTo>
                        <a:pt x="17" y="13"/>
                      </a:lnTo>
                      <a:lnTo>
                        <a:pt x="18" y="16"/>
                      </a:lnTo>
                      <a:lnTo>
                        <a:pt x="22" y="19"/>
                      </a:lnTo>
                      <a:lnTo>
                        <a:pt x="24" y="21"/>
                      </a:lnTo>
                      <a:lnTo>
                        <a:pt x="27" y="24"/>
                      </a:lnTo>
                      <a:lnTo>
                        <a:pt x="28" y="26"/>
                      </a:lnTo>
                      <a:lnTo>
                        <a:pt x="27" y="29"/>
                      </a:lnTo>
                      <a:lnTo>
                        <a:pt x="26" y="31"/>
                      </a:lnTo>
                      <a:lnTo>
                        <a:pt x="23" y="31"/>
                      </a:lnTo>
                      <a:lnTo>
                        <a:pt x="19" y="2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0" name="Freeform 815"/>
                <p:cNvSpPr>
                  <a:spLocks/>
                </p:cNvSpPr>
                <p:nvPr/>
              </p:nvSpPr>
              <p:spPr bwMode="auto">
                <a:xfrm>
                  <a:off x="6861688" y="4457058"/>
                  <a:ext cx="242699" cy="332972"/>
                </a:xfrm>
                <a:custGeom>
                  <a:avLst/>
                  <a:gdLst>
                    <a:gd name="T0" fmla="*/ 2147483647 w 178"/>
                    <a:gd name="T1" fmla="*/ 2147483647 h 225"/>
                    <a:gd name="T2" fmla="*/ 2147483647 w 178"/>
                    <a:gd name="T3" fmla="*/ 2147483647 h 225"/>
                    <a:gd name="T4" fmla="*/ 2147483647 w 178"/>
                    <a:gd name="T5" fmla="*/ 2147483647 h 225"/>
                    <a:gd name="T6" fmla="*/ 2147483647 w 178"/>
                    <a:gd name="T7" fmla="*/ 2147483647 h 225"/>
                    <a:gd name="T8" fmla="*/ 2147483647 w 178"/>
                    <a:gd name="T9" fmla="*/ 2147483647 h 225"/>
                    <a:gd name="T10" fmla="*/ 2147483647 w 178"/>
                    <a:gd name="T11" fmla="*/ 2147483647 h 225"/>
                    <a:gd name="T12" fmla="*/ 2147483647 w 178"/>
                    <a:gd name="T13" fmla="*/ 2147483647 h 225"/>
                    <a:gd name="T14" fmla="*/ 2147483647 w 178"/>
                    <a:gd name="T15" fmla="*/ 2147483647 h 225"/>
                    <a:gd name="T16" fmla="*/ 2147483647 w 178"/>
                    <a:gd name="T17" fmla="*/ 2147483647 h 225"/>
                    <a:gd name="T18" fmla="*/ 2147483647 w 178"/>
                    <a:gd name="T19" fmla="*/ 2147483647 h 225"/>
                    <a:gd name="T20" fmla="*/ 2147483647 w 178"/>
                    <a:gd name="T21" fmla="*/ 2147483647 h 225"/>
                    <a:gd name="T22" fmla="*/ 2147483647 w 178"/>
                    <a:gd name="T23" fmla="*/ 2147483647 h 225"/>
                    <a:gd name="T24" fmla="*/ 2147483647 w 178"/>
                    <a:gd name="T25" fmla="*/ 2147483647 h 225"/>
                    <a:gd name="T26" fmla="*/ 2147483647 w 178"/>
                    <a:gd name="T27" fmla="*/ 2147483647 h 225"/>
                    <a:gd name="T28" fmla="*/ 2147483647 w 178"/>
                    <a:gd name="T29" fmla="*/ 2147483647 h 225"/>
                    <a:gd name="T30" fmla="*/ 2147483647 w 178"/>
                    <a:gd name="T31" fmla="*/ 2147483647 h 225"/>
                    <a:gd name="T32" fmla="*/ 2147483647 w 178"/>
                    <a:gd name="T33" fmla="*/ 2147483647 h 225"/>
                    <a:gd name="T34" fmla="*/ 2147483647 w 178"/>
                    <a:gd name="T35" fmla="*/ 2147483647 h 225"/>
                    <a:gd name="T36" fmla="*/ 0 w 178"/>
                    <a:gd name="T37" fmla="*/ 2147483647 h 225"/>
                    <a:gd name="T38" fmla="*/ 2147483647 w 178"/>
                    <a:gd name="T39" fmla="*/ 0 h 225"/>
                    <a:gd name="T40" fmla="*/ 2147483647 w 178"/>
                    <a:gd name="T41" fmla="*/ 2147483647 h 225"/>
                    <a:gd name="T42" fmla="*/ 2147483647 w 178"/>
                    <a:gd name="T43" fmla="*/ 2147483647 h 225"/>
                    <a:gd name="T44" fmla="*/ 2147483647 w 178"/>
                    <a:gd name="T45" fmla="*/ 2147483647 h 225"/>
                    <a:gd name="T46" fmla="*/ 2147483647 w 178"/>
                    <a:gd name="T47" fmla="*/ 2147483647 h 225"/>
                    <a:gd name="T48" fmla="*/ 2147483647 w 178"/>
                    <a:gd name="T49" fmla="*/ 2147483647 h 225"/>
                    <a:gd name="T50" fmla="*/ 2147483647 w 178"/>
                    <a:gd name="T51" fmla="*/ 2147483647 h 225"/>
                    <a:gd name="T52" fmla="*/ 2147483647 w 178"/>
                    <a:gd name="T53" fmla="*/ 2147483647 h 225"/>
                    <a:gd name="T54" fmla="*/ 2147483647 w 178"/>
                    <a:gd name="T55" fmla="*/ 2147483647 h 225"/>
                    <a:gd name="T56" fmla="*/ 2147483647 w 178"/>
                    <a:gd name="T57" fmla="*/ 2147483647 h 225"/>
                    <a:gd name="T58" fmla="*/ 2147483647 w 178"/>
                    <a:gd name="T59" fmla="*/ 2147483647 h 225"/>
                    <a:gd name="T60" fmla="*/ 2147483647 w 178"/>
                    <a:gd name="T61" fmla="*/ 2147483647 h 225"/>
                    <a:gd name="T62" fmla="*/ 2147483647 w 178"/>
                    <a:gd name="T63" fmla="*/ 2147483647 h 225"/>
                    <a:gd name="T64" fmla="*/ 2147483647 w 178"/>
                    <a:gd name="T65" fmla="*/ 2147483647 h 225"/>
                    <a:gd name="T66" fmla="*/ 2147483647 w 178"/>
                    <a:gd name="T67" fmla="*/ 2147483647 h 225"/>
                    <a:gd name="T68" fmla="*/ 2147483647 w 178"/>
                    <a:gd name="T69" fmla="*/ 2147483647 h 225"/>
                    <a:gd name="T70" fmla="*/ 2147483647 w 178"/>
                    <a:gd name="T71" fmla="*/ 2147483647 h 225"/>
                    <a:gd name="T72" fmla="*/ 2147483647 w 178"/>
                    <a:gd name="T73" fmla="*/ 2147483647 h 225"/>
                    <a:gd name="T74" fmla="*/ 2147483647 w 178"/>
                    <a:gd name="T75" fmla="*/ 2147483647 h 225"/>
                    <a:gd name="T76" fmla="*/ 2147483647 w 178"/>
                    <a:gd name="T77" fmla="*/ 2147483647 h 225"/>
                    <a:gd name="T78" fmla="*/ 2147483647 w 178"/>
                    <a:gd name="T79" fmla="*/ 2147483647 h 225"/>
                    <a:gd name="T80" fmla="*/ 2147483647 w 178"/>
                    <a:gd name="T81" fmla="*/ 2147483647 h 225"/>
                    <a:gd name="T82" fmla="*/ 2147483647 w 178"/>
                    <a:gd name="T83" fmla="*/ 2147483647 h 225"/>
                    <a:gd name="T84" fmla="*/ 2147483647 w 178"/>
                    <a:gd name="T85" fmla="*/ 2147483647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8"/>
                    <a:gd name="T130" fmla="*/ 0 h 225"/>
                    <a:gd name="T131" fmla="*/ 178 w 178"/>
                    <a:gd name="T132" fmla="*/ 225 h 2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8" h="225">
                      <a:moveTo>
                        <a:pt x="169" y="214"/>
                      </a:moveTo>
                      <a:lnTo>
                        <a:pt x="167" y="213"/>
                      </a:lnTo>
                      <a:lnTo>
                        <a:pt x="165" y="213"/>
                      </a:lnTo>
                      <a:lnTo>
                        <a:pt x="163" y="214"/>
                      </a:lnTo>
                      <a:lnTo>
                        <a:pt x="162" y="218"/>
                      </a:lnTo>
                      <a:lnTo>
                        <a:pt x="162" y="219"/>
                      </a:lnTo>
                      <a:lnTo>
                        <a:pt x="160" y="219"/>
                      </a:lnTo>
                      <a:lnTo>
                        <a:pt x="156" y="221"/>
                      </a:lnTo>
                      <a:lnTo>
                        <a:pt x="153" y="224"/>
                      </a:lnTo>
                      <a:lnTo>
                        <a:pt x="151" y="225"/>
                      </a:lnTo>
                      <a:lnTo>
                        <a:pt x="150" y="225"/>
                      </a:lnTo>
                      <a:lnTo>
                        <a:pt x="149" y="221"/>
                      </a:lnTo>
                      <a:lnTo>
                        <a:pt x="146" y="218"/>
                      </a:lnTo>
                      <a:lnTo>
                        <a:pt x="142" y="214"/>
                      </a:lnTo>
                      <a:lnTo>
                        <a:pt x="140" y="211"/>
                      </a:lnTo>
                      <a:lnTo>
                        <a:pt x="137" y="207"/>
                      </a:lnTo>
                      <a:lnTo>
                        <a:pt x="130" y="200"/>
                      </a:lnTo>
                      <a:lnTo>
                        <a:pt x="123" y="192"/>
                      </a:lnTo>
                      <a:lnTo>
                        <a:pt x="116" y="184"/>
                      </a:lnTo>
                      <a:lnTo>
                        <a:pt x="108" y="177"/>
                      </a:lnTo>
                      <a:lnTo>
                        <a:pt x="103" y="171"/>
                      </a:lnTo>
                      <a:lnTo>
                        <a:pt x="99" y="168"/>
                      </a:lnTo>
                      <a:lnTo>
                        <a:pt x="98" y="165"/>
                      </a:lnTo>
                      <a:lnTo>
                        <a:pt x="97" y="162"/>
                      </a:lnTo>
                      <a:lnTo>
                        <a:pt x="95" y="149"/>
                      </a:lnTo>
                      <a:lnTo>
                        <a:pt x="94" y="143"/>
                      </a:lnTo>
                      <a:lnTo>
                        <a:pt x="92" y="137"/>
                      </a:lnTo>
                      <a:lnTo>
                        <a:pt x="89" y="131"/>
                      </a:lnTo>
                      <a:lnTo>
                        <a:pt x="87" y="125"/>
                      </a:lnTo>
                      <a:lnTo>
                        <a:pt x="84" y="119"/>
                      </a:lnTo>
                      <a:lnTo>
                        <a:pt x="80" y="115"/>
                      </a:lnTo>
                      <a:lnTo>
                        <a:pt x="78" y="112"/>
                      </a:lnTo>
                      <a:lnTo>
                        <a:pt x="75" y="111"/>
                      </a:lnTo>
                      <a:lnTo>
                        <a:pt x="70" y="103"/>
                      </a:lnTo>
                      <a:lnTo>
                        <a:pt x="66" y="94"/>
                      </a:lnTo>
                      <a:lnTo>
                        <a:pt x="61" y="77"/>
                      </a:lnTo>
                      <a:lnTo>
                        <a:pt x="61" y="75"/>
                      </a:lnTo>
                      <a:lnTo>
                        <a:pt x="60" y="74"/>
                      </a:lnTo>
                      <a:lnTo>
                        <a:pt x="55" y="73"/>
                      </a:lnTo>
                      <a:lnTo>
                        <a:pt x="50" y="73"/>
                      </a:lnTo>
                      <a:lnTo>
                        <a:pt x="46" y="72"/>
                      </a:lnTo>
                      <a:lnTo>
                        <a:pt x="43" y="71"/>
                      </a:lnTo>
                      <a:lnTo>
                        <a:pt x="42" y="68"/>
                      </a:lnTo>
                      <a:lnTo>
                        <a:pt x="40" y="61"/>
                      </a:lnTo>
                      <a:lnTo>
                        <a:pt x="35" y="55"/>
                      </a:lnTo>
                      <a:lnTo>
                        <a:pt x="32" y="48"/>
                      </a:lnTo>
                      <a:lnTo>
                        <a:pt x="29" y="41"/>
                      </a:lnTo>
                      <a:lnTo>
                        <a:pt x="28" y="40"/>
                      </a:lnTo>
                      <a:lnTo>
                        <a:pt x="27" y="40"/>
                      </a:lnTo>
                      <a:lnTo>
                        <a:pt x="26" y="36"/>
                      </a:lnTo>
                      <a:lnTo>
                        <a:pt x="24" y="35"/>
                      </a:lnTo>
                      <a:lnTo>
                        <a:pt x="13" y="29"/>
                      </a:lnTo>
                      <a:lnTo>
                        <a:pt x="9" y="24"/>
                      </a:lnTo>
                      <a:lnTo>
                        <a:pt x="4" y="21"/>
                      </a:lnTo>
                      <a:lnTo>
                        <a:pt x="2" y="16"/>
                      </a:lnTo>
                      <a:lnTo>
                        <a:pt x="0" y="11"/>
                      </a:lnTo>
                      <a:lnTo>
                        <a:pt x="0" y="7"/>
                      </a:lnTo>
                      <a:lnTo>
                        <a:pt x="2" y="1"/>
                      </a:lnTo>
                      <a:lnTo>
                        <a:pt x="4" y="0"/>
                      </a:lnTo>
                      <a:lnTo>
                        <a:pt x="5" y="0"/>
                      </a:lnTo>
                      <a:lnTo>
                        <a:pt x="10" y="2"/>
                      </a:lnTo>
                      <a:lnTo>
                        <a:pt x="15" y="5"/>
                      </a:lnTo>
                      <a:lnTo>
                        <a:pt x="19" y="10"/>
                      </a:lnTo>
                      <a:lnTo>
                        <a:pt x="22" y="11"/>
                      </a:lnTo>
                      <a:lnTo>
                        <a:pt x="23" y="11"/>
                      </a:lnTo>
                      <a:lnTo>
                        <a:pt x="31" y="11"/>
                      </a:lnTo>
                      <a:lnTo>
                        <a:pt x="37" y="13"/>
                      </a:lnTo>
                      <a:lnTo>
                        <a:pt x="43" y="14"/>
                      </a:lnTo>
                      <a:lnTo>
                        <a:pt x="50" y="17"/>
                      </a:lnTo>
                      <a:lnTo>
                        <a:pt x="57" y="23"/>
                      </a:lnTo>
                      <a:lnTo>
                        <a:pt x="62" y="30"/>
                      </a:lnTo>
                      <a:lnTo>
                        <a:pt x="74" y="45"/>
                      </a:lnTo>
                      <a:lnTo>
                        <a:pt x="79" y="52"/>
                      </a:lnTo>
                      <a:lnTo>
                        <a:pt x="85" y="58"/>
                      </a:lnTo>
                      <a:lnTo>
                        <a:pt x="92" y="64"/>
                      </a:lnTo>
                      <a:lnTo>
                        <a:pt x="101" y="68"/>
                      </a:lnTo>
                      <a:lnTo>
                        <a:pt x="104" y="72"/>
                      </a:lnTo>
                      <a:lnTo>
                        <a:pt x="108" y="75"/>
                      </a:lnTo>
                      <a:lnTo>
                        <a:pt x="112" y="80"/>
                      </a:lnTo>
                      <a:lnTo>
                        <a:pt x="117" y="84"/>
                      </a:lnTo>
                      <a:lnTo>
                        <a:pt x="120" y="87"/>
                      </a:lnTo>
                      <a:lnTo>
                        <a:pt x="121" y="88"/>
                      </a:lnTo>
                      <a:lnTo>
                        <a:pt x="122" y="90"/>
                      </a:lnTo>
                      <a:lnTo>
                        <a:pt x="125" y="90"/>
                      </a:lnTo>
                      <a:lnTo>
                        <a:pt x="127" y="90"/>
                      </a:lnTo>
                      <a:lnTo>
                        <a:pt x="129" y="91"/>
                      </a:lnTo>
                      <a:lnTo>
                        <a:pt x="130" y="93"/>
                      </a:lnTo>
                      <a:lnTo>
                        <a:pt x="131" y="101"/>
                      </a:lnTo>
                      <a:lnTo>
                        <a:pt x="132" y="104"/>
                      </a:lnTo>
                      <a:lnTo>
                        <a:pt x="136" y="104"/>
                      </a:lnTo>
                      <a:lnTo>
                        <a:pt x="137" y="104"/>
                      </a:lnTo>
                      <a:lnTo>
                        <a:pt x="139" y="105"/>
                      </a:lnTo>
                      <a:lnTo>
                        <a:pt x="139" y="106"/>
                      </a:lnTo>
                      <a:lnTo>
                        <a:pt x="140" y="115"/>
                      </a:lnTo>
                      <a:lnTo>
                        <a:pt x="140" y="116"/>
                      </a:lnTo>
                      <a:lnTo>
                        <a:pt x="137" y="117"/>
                      </a:lnTo>
                      <a:lnTo>
                        <a:pt x="136" y="118"/>
                      </a:lnTo>
                      <a:lnTo>
                        <a:pt x="134" y="120"/>
                      </a:lnTo>
                      <a:lnTo>
                        <a:pt x="134" y="122"/>
                      </a:lnTo>
                      <a:lnTo>
                        <a:pt x="134" y="124"/>
                      </a:lnTo>
                      <a:lnTo>
                        <a:pt x="134" y="125"/>
                      </a:lnTo>
                      <a:lnTo>
                        <a:pt x="134" y="129"/>
                      </a:lnTo>
                      <a:lnTo>
                        <a:pt x="135" y="130"/>
                      </a:lnTo>
                      <a:lnTo>
                        <a:pt x="144" y="135"/>
                      </a:lnTo>
                      <a:lnTo>
                        <a:pt x="151" y="142"/>
                      </a:lnTo>
                      <a:lnTo>
                        <a:pt x="154" y="145"/>
                      </a:lnTo>
                      <a:lnTo>
                        <a:pt x="156" y="149"/>
                      </a:lnTo>
                      <a:lnTo>
                        <a:pt x="156" y="154"/>
                      </a:lnTo>
                      <a:lnTo>
                        <a:pt x="156" y="158"/>
                      </a:lnTo>
                      <a:lnTo>
                        <a:pt x="158" y="161"/>
                      </a:lnTo>
                      <a:lnTo>
                        <a:pt x="160" y="161"/>
                      </a:lnTo>
                      <a:lnTo>
                        <a:pt x="163" y="161"/>
                      </a:lnTo>
                      <a:lnTo>
                        <a:pt x="164" y="160"/>
                      </a:lnTo>
                      <a:lnTo>
                        <a:pt x="167" y="160"/>
                      </a:lnTo>
                      <a:lnTo>
                        <a:pt x="172" y="164"/>
                      </a:lnTo>
                      <a:lnTo>
                        <a:pt x="175" y="165"/>
                      </a:lnTo>
                      <a:lnTo>
                        <a:pt x="178" y="168"/>
                      </a:lnTo>
                      <a:lnTo>
                        <a:pt x="178" y="169"/>
                      </a:lnTo>
                      <a:lnTo>
                        <a:pt x="178" y="171"/>
                      </a:lnTo>
                      <a:lnTo>
                        <a:pt x="177" y="175"/>
                      </a:lnTo>
                      <a:lnTo>
                        <a:pt x="175" y="179"/>
                      </a:lnTo>
                      <a:lnTo>
                        <a:pt x="174" y="183"/>
                      </a:lnTo>
                      <a:lnTo>
                        <a:pt x="174" y="199"/>
                      </a:lnTo>
                      <a:lnTo>
                        <a:pt x="175" y="215"/>
                      </a:lnTo>
                      <a:lnTo>
                        <a:pt x="175" y="218"/>
                      </a:lnTo>
                      <a:lnTo>
                        <a:pt x="175" y="220"/>
                      </a:lnTo>
                      <a:lnTo>
                        <a:pt x="174" y="220"/>
                      </a:lnTo>
                      <a:lnTo>
                        <a:pt x="170" y="219"/>
                      </a:lnTo>
                      <a:lnTo>
                        <a:pt x="169" y="216"/>
                      </a:lnTo>
                      <a:lnTo>
                        <a:pt x="169" y="2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1" name="Freeform 816"/>
                <p:cNvSpPr>
                  <a:spLocks/>
                </p:cNvSpPr>
                <p:nvPr/>
              </p:nvSpPr>
              <p:spPr bwMode="auto">
                <a:xfrm>
                  <a:off x="6944560" y="4643523"/>
                  <a:ext cx="19239" cy="28118"/>
                </a:xfrm>
                <a:custGeom>
                  <a:avLst/>
                  <a:gdLst>
                    <a:gd name="T0" fmla="*/ 2147483647 w 14"/>
                    <a:gd name="T1" fmla="*/ 2147483647 h 19"/>
                    <a:gd name="T2" fmla="*/ 0 w 14"/>
                    <a:gd name="T3" fmla="*/ 2147483647 h 19"/>
                    <a:gd name="T4" fmla="*/ 0 w 14"/>
                    <a:gd name="T5" fmla="*/ 2147483647 h 19"/>
                    <a:gd name="T6" fmla="*/ 0 w 14"/>
                    <a:gd name="T7" fmla="*/ 2147483647 h 19"/>
                    <a:gd name="T8" fmla="*/ 2147483647 w 14"/>
                    <a:gd name="T9" fmla="*/ 0 h 19"/>
                    <a:gd name="T10" fmla="*/ 2147483647 w 14"/>
                    <a:gd name="T11" fmla="*/ 2147483647 h 19"/>
                    <a:gd name="T12" fmla="*/ 2147483647 w 14"/>
                    <a:gd name="T13" fmla="*/ 2147483647 h 19"/>
                    <a:gd name="T14" fmla="*/ 2147483647 w 14"/>
                    <a:gd name="T15" fmla="*/ 2147483647 h 19"/>
                    <a:gd name="T16" fmla="*/ 2147483647 w 14"/>
                    <a:gd name="T17" fmla="*/ 2147483647 h 19"/>
                    <a:gd name="T18" fmla="*/ 2147483647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9"/>
                    <a:gd name="T47" fmla="*/ 14 w 14"/>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9">
                      <a:moveTo>
                        <a:pt x="4" y="12"/>
                      </a:moveTo>
                      <a:lnTo>
                        <a:pt x="0" y="5"/>
                      </a:lnTo>
                      <a:lnTo>
                        <a:pt x="0" y="3"/>
                      </a:lnTo>
                      <a:lnTo>
                        <a:pt x="0" y="2"/>
                      </a:lnTo>
                      <a:lnTo>
                        <a:pt x="3" y="0"/>
                      </a:lnTo>
                      <a:lnTo>
                        <a:pt x="5" y="2"/>
                      </a:lnTo>
                      <a:lnTo>
                        <a:pt x="8" y="3"/>
                      </a:lnTo>
                      <a:lnTo>
                        <a:pt x="12" y="7"/>
                      </a:lnTo>
                      <a:lnTo>
                        <a:pt x="14" y="13"/>
                      </a:lnTo>
                      <a:lnTo>
                        <a:pt x="14" y="17"/>
                      </a:lnTo>
                      <a:lnTo>
                        <a:pt x="13" y="18"/>
                      </a:lnTo>
                      <a:lnTo>
                        <a:pt x="12" y="19"/>
                      </a:lnTo>
                      <a:lnTo>
                        <a:pt x="10" y="19"/>
                      </a:lnTo>
                      <a:lnTo>
                        <a:pt x="8" y="17"/>
                      </a:lnTo>
                      <a:lnTo>
                        <a:pt x="4" y="1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2" name="Freeform 817"/>
                <p:cNvSpPr>
                  <a:spLocks/>
                </p:cNvSpPr>
                <p:nvPr/>
              </p:nvSpPr>
              <p:spPr bwMode="auto">
                <a:xfrm>
                  <a:off x="6860207" y="4454099"/>
                  <a:ext cx="242699" cy="334451"/>
                </a:xfrm>
                <a:custGeom>
                  <a:avLst/>
                  <a:gdLst>
                    <a:gd name="T0" fmla="*/ 2147483647 w 178"/>
                    <a:gd name="T1" fmla="*/ 2147483647 h 226"/>
                    <a:gd name="T2" fmla="*/ 2147483647 w 178"/>
                    <a:gd name="T3" fmla="*/ 2147483647 h 226"/>
                    <a:gd name="T4" fmla="*/ 2147483647 w 178"/>
                    <a:gd name="T5" fmla="*/ 2147483647 h 226"/>
                    <a:gd name="T6" fmla="*/ 2147483647 w 178"/>
                    <a:gd name="T7" fmla="*/ 2147483647 h 226"/>
                    <a:gd name="T8" fmla="*/ 2147483647 w 178"/>
                    <a:gd name="T9" fmla="*/ 2147483647 h 226"/>
                    <a:gd name="T10" fmla="*/ 2147483647 w 178"/>
                    <a:gd name="T11" fmla="*/ 2147483647 h 226"/>
                    <a:gd name="T12" fmla="*/ 2147483647 w 178"/>
                    <a:gd name="T13" fmla="*/ 2147483647 h 226"/>
                    <a:gd name="T14" fmla="*/ 2147483647 w 178"/>
                    <a:gd name="T15" fmla="*/ 2147483647 h 226"/>
                    <a:gd name="T16" fmla="*/ 2147483647 w 178"/>
                    <a:gd name="T17" fmla="*/ 2147483647 h 226"/>
                    <a:gd name="T18" fmla="*/ 2147483647 w 178"/>
                    <a:gd name="T19" fmla="*/ 2147483647 h 226"/>
                    <a:gd name="T20" fmla="*/ 2147483647 w 178"/>
                    <a:gd name="T21" fmla="*/ 2147483647 h 226"/>
                    <a:gd name="T22" fmla="*/ 2147483647 w 178"/>
                    <a:gd name="T23" fmla="*/ 2147483647 h 226"/>
                    <a:gd name="T24" fmla="*/ 2147483647 w 178"/>
                    <a:gd name="T25" fmla="*/ 2147483647 h 226"/>
                    <a:gd name="T26" fmla="*/ 2147483647 w 178"/>
                    <a:gd name="T27" fmla="*/ 2147483647 h 226"/>
                    <a:gd name="T28" fmla="*/ 2147483647 w 178"/>
                    <a:gd name="T29" fmla="*/ 2147483647 h 226"/>
                    <a:gd name="T30" fmla="*/ 2147483647 w 178"/>
                    <a:gd name="T31" fmla="*/ 2147483647 h 226"/>
                    <a:gd name="T32" fmla="*/ 2147483647 w 178"/>
                    <a:gd name="T33" fmla="*/ 2147483647 h 226"/>
                    <a:gd name="T34" fmla="*/ 2147483647 w 178"/>
                    <a:gd name="T35" fmla="*/ 2147483647 h 226"/>
                    <a:gd name="T36" fmla="*/ 2147483647 w 178"/>
                    <a:gd name="T37" fmla="*/ 2147483647 h 226"/>
                    <a:gd name="T38" fmla="*/ 2147483647 w 178"/>
                    <a:gd name="T39" fmla="*/ 2147483647 h 226"/>
                    <a:gd name="T40" fmla="*/ 2147483647 w 178"/>
                    <a:gd name="T41" fmla="*/ 2147483647 h 226"/>
                    <a:gd name="T42" fmla="*/ 2147483647 w 178"/>
                    <a:gd name="T43" fmla="*/ 2147483647 h 226"/>
                    <a:gd name="T44" fmla="*/ 2147483647 w 178"/>
                    <a:gd name="T45" fmla="*/ 2147483647 h 226"/>
                    <a:gd name="T46" fmla="*/ 2147483647 w 178"/>
                    <a:gd name="T47" fmla="*/ 2147483647 h 226"/>
                    <a:gd name="T48" fmla="*/ 0 w 178"/>
                    <a:gd name="T49" fmla="*/ 2147483647 h 226"/>
                    <a:gd name="T50" fmla="*/ 2147483647 w 178"/>
                    <a:gd name="T51" fmla="*/ 2147483647 h 226"/>
                    <a:gd name="T52" fmla="*/ 2147483647 w 178"/>
                    <a:gd name="T53" fmla="*/ 2147483647 h 226"/>
                    <a:gd name="T54" fmla="*/ 2147483647 w 178"/>
                    <a:gd name="T55" fmla="*/ 2147483647 h 226"/>
                    <a:gd name="T56" fmla="*/ 2147483647 w 178"/>
                    <a:gd name="T57" fmla="*/ 2147483647 h 226"/>
                    <a:gd name="T58" fmla="*/ 2147483647 w 178"/>
                    <a:gd name="T59" fmla="*/ 2147483647 h 226"/>
                    <a:gd name="T60" fmla="*/ 2147483647 w 178"/>
                    <a:gd name="T61" fmla="*/ 2147483647 h 226"/>
                    <a:gd name="T62" fmla="*/ 2147483647 w 178"/>
                    <a:gd name="T63" fmla="*/ 2147483647 h 226"/>
                    <a:gd name="T64" fmla="*/ 2147483647 w 178"/>
                    <a:gd name="T65" fmla="*/ 2147483647 h 226"/>
                    <a:gd name="T66" fmla="*/ 2147483647 w 178"/>
                    <a:gd name="T67" fmla="*/ 2147483647 h 226"/>
                    <a:gd name="T68" fmla="*/ 2147483647 w 178"/>
                    <a:gd name="T69" fmla="*/ 2147483647 h 226"/>
                    <a:gd name="T70" fmla="*/ 2147483647 w 178"/>
                    <a:gd name="T71" fmla="*/ 2147483647 h 226"/>
                    <a:gd name="T72" fmla="*/ 2147483647 w 178"/>
                    <a:gd name="T73" fmla="*/ 2147483647 h 226"/>
                    <a:gd name="T74" fmla="*/ 2147483647 w 178"/>
                    <a:gd name="T75" fmla="*/ 2147483647 h 226"/>
                    <a:gd name="T76" fmla="*/ 2147483647 w 178"/>
                    <a:gd name="T77" fmla="*/ 2147483647 h 226"/>
                    <a:gd name="T78" fmla="*/ 2147483647 w 178"/>
                    <a:gd name="T79" fmla="*/ 2147483647 h 226"/>
                    <a:gd name="T80" fmla="*/ 2147483647 w 178"/>
                    <a:gd name="T81" fmla="*/ 2147483647 h 226"/>
                    <a:gd name="T82" fmla="*/ 2147483647 w 178"/>
                    <a:gd name="T83" fmla="*/ 2147483647 h 226"/>
                    <a:gd name="T84" fmla="*/ 2147483647 w 178"/>
                    <a:gd name="T85" fmla="*/ 2147483647 h 226"/>
                    <a:gd name="T86" fmla="*/ 2147483647 w 178"/>
                    <a:gd name="T87" fmla="*/ 2147483647 h 226"/>
                    <a:gd name="T88" fmla="*/ 2147483647 w 178"/>
                    <a:gd name="T89" fmla="*/ 2147483647 h 226"/>
                    <a:gd name="T90" fmla="*/ 2147483647 w 178"/>
                    <a:gd name="T91" fmla="*/ 2147483647 h 226"/>
                    <a:gd name="T92" fmla="*/ 2147483647 w 178"/>
                    <a:gd name="T93" fmla="*/ 2147483647 h 226"/>
                    <a:gd name="T94" fmla="*/ 2147483647 w 178"/>
                    <a:gd name="T95" fmla="*/ 2147483647 h 226"/>
                    <a:gd name="T96" fmla="*/ 2147483647 w 178"/>
                    <a:gd name="T97" fmla="*/ 2147483647 h 226"/>
                    <a:gd name="T98" fmla="*/ 2147483647 w 178"/>
                    <a:gd name="T99" fmla="*/ 2147483647 h 226"/>
                    <a:gd name="T100" fmla="*/ 2147483647 w 178"/>
                    <a:gd name="T101" fmla="*/ 2147483647 h 226"/>
                    <a:gd name="T102" fmla="*/ 2147483647 w 178"/>
                    <a:gd name="T103" fmla="*/ 2147483647 h 226"/>
                    <a:gd name="T104" fmla="*/ 2147483647 w 178"/>
                    <a:gd name="T105" fmla="*/ 2147483647 h 226"/>
                    <a:gd name="T106" fmla="*/ 2147483647 w 178"/>
                    <a:gd name="T107" fmla="*/ 2147483647 h 226"/>
                    <a:gd name="T108" fmla="*/ 2147483647 w 178"/>
                    <a:gd name="T109" fmla="*/ 2147483647 h 226"/>
                    <a:gd name="T110" fmla="*/ 2147483647 w 178"/>
                    <a:gd name="T111" fmla="*/ 2147483647 h 226"/>
                    <a:gd name="T112" fmla="*/ 2147483647 w 178"/>
                    <a:gd name="T113" fmla="*/ 2147483647 h 2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8"/>
                    <a:gd name="T172" fmla="*/ 0 h 226"/>
                    <a:gd name="T173" fmla="*/ 178 w 178"/>
                    <a:gd name="T174" fmla="*/ 226 h 2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8" h="226">
                      <a:moveTo>
                        <a:pt x="169" y="215"/>
                      </a:moveTo>
                      <a:lnTo>
                        <a:pt x="169" y="215"/>
                      </a:lnTo>
                      <a:lnTo>
                        <a:pt x="166" y="214"/>
                      </a:lnTo>
                      <a:lnTo>
                        <a:pt x="165" y="214"/>
                      </a:lnTo>
                      <a:lnTo>
                        <a:pt x="163" y="215"/>
                      </a:lnTo>
                      <a:lnTo>
                        <a:pt x="161" y="218"/>
                      </a:lnTo>
                      <a:lnTo>
                        <a:pt x="161" y="220"/>
                      </a:lnTo>
                      <a:lnTo>
                        <a:pt x="160" y="220"/>
                      </a:lnTo>
                      <a:lnTo>
                        <a:pt x="156" y="222"/>
                      </a:lnTo>
                      <a:lnTo>
                        <a:pt x="152" y="224"/>
                      </a:lnTo>
                      <a:lnTo>
                        <a:pt x="151" y="226"/>
                      </a:lnTo>
                      <a:lnTo>
                        <a:pt x="150" y="226"/>
                      </a:lnTo>
                      <a:lnTo>
                        <a:pt x="149" y="222"/>
                      </a:lnTo>
                      <a:lnTo>
                        <a:pt x="146" y="218"/>
                      </a:lnTo>
                      <a:lnTo>
                        <a:pt x="142" y="215"/>
                      </a:lnTo>
                      <a:lnTo>
                        <a:pt x="140" y="211"/>
                      </a:lnTo>
                      <a:lnTo>
                        <a:pt x="137" y="208"/>
                      </a:lnTo>
                      <a:lnTo>
                        <a:pt x="130" y="201"/>
                      </a:lnTo>
                      <a:lnTo>
                        <a:pt x="123" y="192"/>
                      </a:lnTo>
                      <a:lnTo>
                        <a:pt x="116" y="185"/>
                      </a:lnTo>
                      <a:lnTo>
                        <a:pt x="108" y="178"/>
                      </a:lnTo>
                      <a:lnTo>
                        <a:pt x="103" y="172"/>
                      </a:lnTo>
                      <a:lnTo>
                        <a:pt x="99" y="169"/>
                      </a:lnTo>
                      <a:lnTo>
                        <a:pt x="98" y="166"/>
                      </a:lnTo>
                      <a:lnTo>
                        <a:pt x="96" y="163"/>
                      </a:lnTo>
                      <a:lnTo>
                        <a:pt x="95" y="150"/>
                      </a:lnTo>
                      <a:lnTo>
                        <a:pt x="94" y="144"/>
                      </a:lnTo>
                      <a:lnTo>
                        <a:pt x="91" y="138"/>
                      </a:lnTo>
                      <a:lnTo>
                        <a:pt x="89" y="132"/>
                      </a:lnTo>
                      <a:lnTo>
                        <a:pt x="86" y="126"/>
                      </a:lnTo>
                      <a:lnTo>
                        <a:pt x="84" y="120"/>
                      </a:lnTo>
                      <a:lnTo>
                        <a:pt x="80" y="115"/>
                      </a:lnTo>
                      <a:lnTo>
                        <a:pt x="77" y="113"/>
                      </a:lnTo>
                      <a:lnTo>
                        <a:pt x="75" y="112"/>
                      </a:lnTo>
                      <a:lnTo>
                        <a:pt x="70" y="103"/>
                      </a:lnTo>
                      <a:lnTo>
                        <a:pt x="66" y="95"/>
                      </a:lnTo>
                      <a:lnTo>
                        <a:pt x="61" y="77"/>
                      </a:lnTo>
                      <a:lnTo>
                        <a:pt x="61" y="76"/>
                      </a:lnTo>
                      <a:lnTo>
                        <a:pt x="60" y="75"/>
                      </a:lnTo>
                      <a:lnTo>
                        <a:pt x="55" y="74"/>
                      </a:lnTo>
                      <a:lnTo>
                        <a:pt x="50" y="74"/>
                      </a:lnTo>
                      <a:lnTo>
                        <a:pt x="46" y="73"/>
                      </a:lnTo>
                      <a:lnTo>
                        <a:pt x="43" y="71"/>
                      </a:lnTo>
                      <a:lnTo>
                        <a:pt x="42" y="69"/>
                      </a:lnTo>
                      <a:lnTo>
                        <a:pt x="39" y="62"/>
                      </a:lnTo>
                      <a:lnTo>
                        <a:pt x="34" y="56"/>
                      </a:lnTo>
                      <a:lnTo>
                        <a:pt x="32" y="49"/>
                      </a:lnTo>
                      <a:lnTo>
                        <a:pt x="29" y="42"/>
                      </a:lnTo>
                      <a:lnTo>
                        <a:pt x="28" y="41"/>
                      </a:lnTo>
                      <a:lnTo>
                        <a:pt x="27" y="41"/>
                      </a:lnTo>
                      <a:lnTo>
                        <a:pt x="25" y="37"/>
                      </a:lnTo>
                      <a:lnTo>
                        <a:pt x="24" y="36"/>
                      </a:lnTo>
                      <a:lnTo>
                        <a:pt x="13" y="30"/>
                      </a:lnTo>
                      <a:lnTo>
                        <a:pt x="9" y="25"/>
                      </a:lnTo>
                      <a:lnTo>
                        <a:pt x="4" y="22"/>
                      </a:lnTo>
                      <a:lnTo>
                        <a:pt x="1" y="17"/>
                      </a:lnTo>
                      <a:lnTo>
                        <a:pt x="0" y="12"/>
                      </a:lnTo>
                      <a:lnTo>
                        <a:pt x="0" y="7"/>
                      </a:lnTo>
                      <a:lnTo>
                        <a:pt x="1" y="2"/>
                      </a:lnTo>
                      <a:lnTo>
                        <a:pt x="4" y="0"/>
                      </a:lnTo>
                      <a:lnTo>
                        <a:pt x="5" y="0"/>
                      </a:lnTo>
                      <a:lnTo>
                        <a:pt x="10" y="3"/>
                      </a:lnTo>
                      <a:lnTo>
                        <a:pt x="15" y="6"/>
                      </a:lnTo>
                      <a:lnTo>
                        <a:pt x="19" y="11"/>
                      </a:lnTo>
                      <a:lnTo>
                        <a:pt x="22" y="12"/>
                      </a:lnTo>
                      <a:lnTo>
                        <a:pt x="23" y="12"/>
                      </a:lnTo>
                      <a:lnTo>
                        <a:pt x="30" y="12"/>
                      </a:lnTo>
                      <a:lnTo>
                        <a:pt x="37" y="13"/>
                      </a:lnTo>
                      <a:lnTo>
                        <a:pt x="43" y="15"/>
                      </a:lnTo>
                      <a:lnTo>
                        <a:pt x="50" y="18"/>
                      </a:lnTo>
                      <a:lnTo>
                        <a:pt x="57" y="24"/>
                      </a:lnTo>
                      <a:lnTo>
                        <a:pt x="62" y="31"/>
                      </a:lnTo>
                      <a:lnTo>
                        <a:pt x="74" y="45"/>
                      </a:lnTo>
                      <a:lnTo>
                        <a:pt x="79" y="52"/>
                      </a:lnTo>
                      <a:lnTo>
                        <a:pt x="85" y="58"/>
                      </a:lnTo>
                      <a:lnTo>
                        <a:pt x="91" y="64"/>
                      </a:lnTo>
                      <a:lnTo>
                        <a:pt x="100" y="69"/>
                      </a:lnTo>
                      <a:lnTo>
                        <a:pt x="104" y="73"/>
                      </a:lnTo>
                      <a:lnTo>
                        <a:pt x="108" y="76"/>
                      </a:lnTo>
                      <a:lnTo>
                        <a:pt x="112" y="81"/>
                      </a:lnTo>
                      <a:lnTo>
                        <a:pt x="117" y="84"/>
                      </a:lnTo>
                      <a:lnTo>
                        <a:pt x="119" y="88"/>
                      </a:lnTo>
                      <a:lnTo>
                        <a:pt x="121" y="89"/>
                      </a:lnTo>
                      <a:lnTo>
                        <a:pt x="122" y="90"/>
                      </a:lnTo>
                      <a:lnTo>
                        <a:pt x="124" y="90"/>
                      </a:lnTo>
                      <a:lnTo>
                        <a:pt x="127" y="90"/>
                      </a:lnTo>
                      <a:lnTo>
                        <a:pt x="128" y="92"/>
                      </a:lnTo>
                      <a:lnTo>
                        <a:pt x="130" y="94"/>
                      </a:lnTo>
                      <a:lnTo>
                        <a:pt x="131" y="102"/>
                      </a:lnTo>
                      <a:lnTo>
                        <a:pt x="132" y="105"/>
                      </a:lnTo>
                      <a:lnTo>
                        <a:pt x="136" y="105"/>
                      </a:lnTo>
                      <a:lnTo>
                        <a:pt x="137" y="105"/>
                      </a:lnTo>
                      <a:lnTo>
                        <a:pt x="138" y="106"/>
                      </a:lnTo>
                      <a:lnTo>
                        <a:pt x="138" y="107"/>
                      </a:lnTo>
                      <a:lnTo>
                        <a:pt x="140" y="115"/>
                      </a:lnTo>
                      <a:lnTo>
                        <a:pt x="140" y="117"/>
                      </a:lnTo>
                      <a:lnTo>
                        <a:pt x="137" y="118"/>
                      </a:lnTo>
                      <a:lnTo>
                        <a:pt x="136" y="119"/>
                      </a:lnTo>
                      <a:lnTo>
                        <a:pt x="133" y="121"/>
                      </a:lnTo>
                      <a:lnTo>
                        <a:pt x="133" y="122"/>
                      </a:lnTo>
                      <a:lnTo>
                        <a:pt x="133" y="125"/>
                      </a:lnTo>
                      <a:lnTo>
                        <a:pt x="133" y="126"/>
                      </a:lnTo>
                      <a:lnTo>
                        <a:pt x="133" y="130"/>
                      </a:lnTo>
                      <a:lnTo>
                        <a:pt x="135" y="131"/>
                      </a:lnTo>
                      <a:lnTo>
                        <a:pt x="143" y="135"/>
                      </a:lnTo>
                      <a:lnTo>
                        <a:pt x="151" y="143"/>
                      </a:lnTo>
                      <a:lnTo>
                        <a:pt x="154" y="146"/>
                      </a:lnTo>
                      <a:lnTo>
                        <a:pt x="156" y="150"/>
                      </a:lnTo>
                      <a:lnTo>
                        <a:pt x="156" y="154"/>
                      </a:lnTo>
                      <a:lnTo>
                        <a:pt x="156" y="159"/>
                      </a:lnTo>
                      <a:lnTo>
                        <a:pt x="157" y="162"/>
                      </a:lnTo>
                      <a:lnTo>
                        <a:pt x="160" y="162"/>
                      </a:lnTo>
                      <a:lnTo>
                        <a:pt x="163" y="162"/>
                      </a:lnTo>
                      <a:lnTo>
                        <a:pt x="164" y="160"/>
                      </a:lnTo>
                      <a:lnTo>
                        <a:pt x="166" y="160"/>
                      </a:lnTo>
                      <a:lnTo>
                        <a:pt x="171" y="165"/>
                      </a:lnTo>
                      <a:lnTo>
                        <a:pt x="175" y="166"/>
                      </a:lnTo>
                      <a:lnTo>
                        <a:pt x="178" y="169"/>
                      </a:lnTo>
                      <a:lnTo>
                        <a:pt x="178" y="170"/>
                      </a:lnTo>
                      <a:lnTo>
                        <a:pt x="178" y="172"/>
                      </a:lnTo>
                      <a:lnTo>
                        <a:pt x="176" y="176"/>
                      </a:lnTo>
                      <a:lnTo>
                        <a:pt x="175" y="179"/>
                      </a:lnTo>
                      <a:lnTo>
                        <a:pt x="174" y="184"/>
                      </a:lnTo>
                      <a:lnTo>
                        <a:pt x="174" y="199"/>
                      </a:lnTo>
                      <a:lnTo>
                        <a:pt x="175" y="216"/>
                      </a:lnTo>
                      <a:lnTo>
                        <a:pt x="175" y="218"/>
                      </a:lnTo>
                      <a:lnTo>
                        <a:pt x="175" y="221"/>
                      </a:lnTo>
                      <a:lnTo>
                        <a:pt x="174" y="221"/>
                      </a:lnTo>
                      <a:lnTo>
                        <a:pt x="170" y="220"/>
                      </a:lnTo>
                      <a:lnTo>
                        <a:pt x="169" y="217"/>
                      </a:lnTo>
                      <a:lnTo>
                        <a:pt x="169" y="21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3" name="Freeform 818"/>
                <p:cNvSpPr>
                  <a:spLocks/>
                </p:cNvSpPr>
                <p:nvPr/>
              </p:nvSpPr>
              <p:spPr bwMode="auto">
                <a:xfrm>
                  <a:off x="6943081" y="4642039"/>
                  <a:ext cx="19238" cy="28117"/>
                </a:xfrm>
                <a:custGeom>
                  <a:avLst/>
                  <a:gdLst>
                    <a:gd name="T0" fmla="*/ 2147483647 w 14"/>
                    <a:gd name="T1" fmla="*/ 2147483647 h 19"/>
                    <a:gd name="T2" fmla="*/ 2147483647 w 14"/>
                    <a:gd name="T3" fmla="*/ 2147483647 h 19"/>
                    <a:gd name="T4" fmla="*/ 0 w 14"/>
                    <a:gd name="T5" fmla="*/ 2147483647 h 19"/>
                    <a:gd name="T6" fmla="*/ 0 w 14"/>
                    <a:gd name="T7" fmla="*/ 2147483647 h 19"/>
                    <a:gd name="T8" fmla="*/ 0 w 14"/>
                    <a:gd name="T9" fmla="*/ 2147483647 h 19"/>
                    <a:gd name="T10" fmla="*/ 2147483647 w 14"/>
                    <a:gd name="T11" fmla="*/ 0 h 19"/>
                    <a:gd name="T12" fmla="*/ 2147483647 w 14"/>
                    <a:gd name="T13" fmla="*/ 0 h 19"/>
                    <a:gd name="T14" fmla="*/ 2147483647 w 14"/>
                    <a:gd name="T15" fmla="*/ 2147483647 h 19"/>
                    <a:gd name="T16" fmla="*/ 2147483647 w 14"/>
                    <a:gd name="T17" fmla="*/ 2147483647 h 19"/>
                    <a:gd name="T18" fmla="*/ 2147483647 w 14"/>
                    <a:gd name="T19" fmla="*/ 2147483647 h 19"/>
                    <a:gd name="T20" fmla="*/ 2147483647 w 14"/>
                    <a:gd name="T21" fmla="*/ 2147483647 h 19"/>
                    <a:gd name="T22" fmla="*/ 2147483647 w 14"/>
                    <a:gd name="T23" fmla="*/ 2147483647 h 19"/>
                    <a:gd name="T24" fmla="*/ 2147483647 w 14"/>
                    <a:gd name="T25" fmla="*/ 2147483647 h 19"/>
                    <a:gd name="T26" fmla="*/ 2147483647 w 14"/>
                    <a:gd name="T27" fmla="*/ 2147483647 h 19"/>
                    <a:gd name="T28" fmla="*/ 2147483647 w 14"/>
                    <a:gd name="T29" fmla="*/ 2147483647 h 19"/>
                    <a:gd name="T30" fmla="*/ 2147483647 w 14"/>
                    <a:gd name="T31" fmla="*/ 2147483647 h 19"/>
                    <a:gd name="T32" fmla="*/ 2147483647 w 14"/>
                    <a:gd name="T33" fmla="*/ 2147483647 h 19"/>
                    <a:gd name="T34" fmla="*/ 2147483647 w 14"/>
                    <a:gd name="T35" fmla="*/ 2147483647 h 19"/>
                    <a:gd name="T36" fmla="*/ 2147483647 w 14"/>
                    <a:gd name="T37" fmla="*/ 2147483647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9"/>
                    <a:gd name="T59" fmla="*/ 14 w 14"/>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9">
                      <a:moveTo>
                        <a:pt x="4" y="12"/>
                      </a:moveTo>
                      <a:lnTo>
                        <a:pt x="4" y="12"/>
                      </a:lnTo>
                      <a:lnTo>
                        <a:pt x="0" y="5"/>
                      </a:lnTo>
                      <a:lnTo>
                        <a:pt x="0" y="3"/>
                      </a:lnTo>
                      <a:lnTo>
                        <a:pt x="0" y="1"/>
                      </a:lnTo>
                      <a:lnTo>
                        <a:pt x="2" y="0"/>
                      </a:lnTo>
                      <a:lnTo>
                        <a:pt x="5" y="1"/>
                      </a:lnTo>
                      <a:lnTo>
                        <a:pt x="8" y="3"/>
                      </a:lnTo>
                      <a:lnTo>
                        <a:pt x="11" y="7"/>
                      </a:lnTo>
                      <a:lnTo>
                        <a:pt x="14" y="13"/>
                      </a:lnTo>
                      <a:lnTo>
                        <a:pt x="14" y="17"/>
                      </a:lnTo>
                      <a:lnTo>
                        <a:pt x="13" y="18"/>
                      </a:lnTo>
                      <a:lnTo>
                        <a:pt x="11" y="19"/>
                      </a:lnTo>
                      <a:lnTo>
                        <a:pt x="10" y="19"/>
                      </a:lnTo>
                      <a:lnTo>
                        <a:pt x="8" y="17"/>
                      </a:lnTo>
                      <a:lnTo>
                        <a:pt x="4" y="1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4" name="Freeform 820"/>
                <p:cNvSpPr>
                  <a:spLocks/>
                </p:cNvSpPr>
                <p:nvPr/>
              </p:nvSpPr>
              <p:spPr bwMode="auto">
                <a:xfrm>
                  <a:off x="7540948" y="4658321"/>
                  <a:ext cx="28117" cy="16279"/>
                </a:xfrm>
                <a:custGeom>
                  <a:avLst/>
                  <a:gdLst>
                    <a:gd name="T0" fmla="*/ 2147483647 w 20"/>
                    <a:gd name="T1" fmla="*/ 2147483647 h 11"/>
                    <a:gd name="T2" fmla="*/ 2147483647 w 20"/>
                    <a:gd name="T3" fmla="*/ 2147483647 h 11"/>
                    <a:gd name="T4" fmla="*/ 2147483647 w 20"/>
                    <a:gd name="T5" fmla="*/ 2147483647 h 11"/>
                    <a:gd name="T6" fmla="*/ 2147483647 w 20"/>
                    <a:gd name="T7" fmla="*/ 2147483647 h 11"/>
                    <a:gd name="T8" fmla="*/ 0 w 20"/>
                    <a:gd name="T9" fmla="*/ 2147483647 h 11"/>
                    <a:gd name="T10" fmla="*/ 2147483647 w 20"/>
                    <a:gd name="T11" fmla="*/ 2147483647 h 11"/>
                    <a:gd name="T12" fmla="*/ 2147483647 w 20"/>
                    <a:gd name="T13" fmla="*/ 2147483647 h 11"/>
                    <a:gd name="T14" fmla="*/ 2147483647 w 20"/>
                    <a:gd name="T15" fmla="*/ 0 h 11"/>
                    <a:gd name="T16" fmla="*/ 2147483647 w 20"/>
                    <a:gd name="T17" fmla="*/ 0 h 11"/>
                    <a:gd name="T18" fmla="*/ 2147483647 w 20"/>
                    <a:gd name="T19" fmla="*/ 2147483647 h 11"/>
                    <a:gd name="T20" fmla="*/ 2147483647 w 20"/>
                    <a:gd name="T21" fmla="*/ 2147483647 h 11"/>
                    <a:gd name="T22" fmla="*/ 2147483647 w 20"/>
                    <a:gd name="T23" fmla="*/ 2147483647 h 11"/>
                    <a:gd name="T24" fmla="*/ 2147483647 w 20"/>
                    <a:gd name="T25" fmla="*/ 2147483647 h 11"/>
                    <a:gd name="T26" fmla="*/ 2147483647 w 20"/>
                    <a:gd name="T27" fmla="*/ 2147483647 h 11"/>
                    <a:gd name="T28" fmla="*/ 2147483647 w 20"/>
                    <a:gd name="T29" fmla="*/ 2147483647 h 11"/>
                    <a:gd name="T30" fmla="*/ 2147483647 w 20"/>
                    <a:gd name="T31" fmla="*/ 2147483647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11"/>
                    <a:gd name="T50" fmla="*/ 20 w 20"/>
                    <a:gd name="T51" fmla="*/ 11 h 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11">
                      <a:moveTo>
                        <a:pt x="10" y="11"/>
                      </a:moveTo>
                      <a:lnTo>
                        <a:pt x="5" y="11"/>
                      </a:lnTo>
                      <a:lnTo>
                        <a:pt x="3" y="9"/>
                      </a:lnTo>
                      <a:lnTo>
                        <a:pt x="1" y="8"/>
                      </a:lnTo>
                      <a:lnTo>
                        <a:pt x="0" y="5"/>
                      </a:lnTo>
                      <a:lnTo>
                        <a:pt x="1" y="2"/>
                      </a:lnTo>
                      <a:lnTo>
                        <a:pt x="4" y="1"/>
                      </a:lnTo>
                      <a:lnTo>
                        <a:pt x="6" y="0"/>
                      </a:lnTo>
                      <a:lnTo>
                        <a:pt x="10" y="0"/>
                      </a:lnTo>
                      <a:lnTo>
                        <a:pt x="15" y="1"/>
                      </a:lnTo>
                      <a:lnTo>
                        <a:pt x="19" y="3"/>
                      </a:lnTo>
                      <a:lnTo>
                        <a:pt x="20" y="6"/>
                      </a:lnTo>
                      <a:lnTo>
                        <a:pt x="20" y="8"/>
                      </a:lnTo>
                      <a:lnTo>
                        <a:pt x="19" y="9"/>
                      </a:lnTo>
                      <a:lnTo>
                        <a:pt x="17" y="11"/>
                      </a:lnTo>
                      <a:lnTo>
                        <a:pt x="10"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5" name="Freeform 822"/>
                <p:cNvSpPr>
                  <a:spLocks/>
                </p:cNvSpPr>
                <p:nvPr/>
              </p:nvSpPr>
              <p:spPr bwMode="auto">
                <a:xfrm>
                  <a:off x="7539471" y="4656839"/>
                  <a:ext cx="28118" cy="14799"/>
                </a:xfrm>
                <a:custGeom>
                  <a:avLst/>
                  <a:gdLst>
                    <a:gd name="T0" fmla="*/ 2147483647 w 20"/>
                    <a:gd name="T1" fmla="*/ 2147483647 h 10"/>
                    <a:gd name="T2" fmla="*/ 2147483647 w 20"/>
                    <a:gd name="T3" fmla="*/ 2147483647 h 10"/>
                    <a:gd name="T4" fmla="*/ 2147483647 w 20"/>
                    <a:gd name="T5" fmla="*/ 2147483647 h 10"/>
                    <a:gd name="T6" fmla="*/ 2147483647 w 20"/>
                    <a:gd name="T7" fmla="*/ 2147483647 h 10"/>
                    <a:gd name="T8" fmla="*/ 2147483647 w 20"/>
                    <a:gd name="T9" fmla="*/ 2147483647 h 10"/>
                    <a:gd name="T10" fmla="*/ 2147483647 w 20"/>
                    <a:gd name="T11" fmla="*/ 2147483647 h 10"/>
                    <a:gd name="T12" fmla="*/ 0 w 20"/>
                    <a:gd name="T13" fmla="*/ 2147483647 h 10"/>
                    <a:gd name="T14" fmla="*/ 2147483647 w 20"/>
                    <a:gd name="T15" fmla="*/ 2147483647 h 10"/>
                    <a:gd name="T16" fmla="*/ 2147483647 w 20"/>
                    <a:gd name="T17" fmla="*/ 2147483647 h 10"/>
                    <a:gd name="T18" fmla="*/ 2147483647 w 20"/>
                    <a:gd name="T19" fmla="*/ 0 h 10"/>
                    <a:gd name="T20" fmla="*/ 2147483647 w 20"/>
                    <a:gd name="T21" fmla="*/ 0 h 10"/>
                    <a:gd name="T22" fmla="*/ 2147483647 w 20"/>
                    <a:gd name="T23" fmla="*/ 0 h 10"/>
                    <a:gd name="T24" fmla="*/ 2147483647 w 20"/>
                    <a:gd name="T25" fmla="*/ 2147483647 h 10"/>
                    <a:gd name="T26" fmla="*/ 2147483647 w 20"/>
                    <a:gd name="T27" fmla="*/ 2147483647 h 10"/>
                    <a:gd name="T28" fmla="*/ 2147483647 w 20"/>
                    <a:gd name="T29" fmla="*/ 2147483647 h 10"/>
                    <a:gd name="T30" fmla="*/ 2147483647 w 20"/>
                    <a:gd name="T31" fmla="*/ 2147483647 h 10"/>
                    <a:gd name="T32" fmla="*/ 2147483647 w 20"/>
                    <a:gd name="T33" fmla="*/ 2147483647 h 10"/>
                    <a:gd name="T34" fmla="*/ 2147483647 w 20"/>
                    <a:gd name="T35" fmla="*/ 2147483647 h 10"/>
                    <a:gd name="T36" fmla="*/ 2147483647 w 20"/>
                    <a:gd name="T37" fmla="*/ 2147483647 h 10"/>
                    <a:gd name="T38" fmla="*/ 2147483647 w 20"/>
                    <a:gd name="T39" fmla="*/ 2147483647 h 10"/>
                    <a:gd name="T40" fmla="*/ 2147483647 w 20"/>
                    <a:gd name="T41" fmla="*/ 2147483647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0"/>
                    <a:gd name="T65" fmla="*/ 20 w 2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0">
                      <a:moveTo>
                        <a:pt x="10" y="10"/>
                      </a:moveTo>
                      <a:lnTo>
                        <a:pt x="10" y="10"/>
                      </a:lnTo>
                      <a:lnTo>
                        <a:pt x="5" y="10"/>
                      </a:lnTo>
                      <a:lnTo>
                        <a:pt x="2" y="9"/>
                      </a:lnTo>
                      <a:lnTo>
                        <a:pt x="1" y="8"/>
                      </a:lnTo>
                      <a:lnTo>
                        <a:pt x="0" y="4"/>
                      </a:lnTo>
                      <a:lnTo>
                        <a:pt x="1" y="2"/>
                      </a:lnTo>
                      <a:lnTo>
                        <a:pt x="4" y="1"/>
                      </a:lnTo>
                      <a:lnTo>
                        <a:pt x="6" y="0"/>
                      </a:lnTo>
                      <a:lnTo>
                        <a:pt x="10" y="0"/>
                      </a:lnTo>
                      <a:lnTo>
                        <a:pt x="15" y="1"/>
                      </a:lnTo>
                      <a:lnTo>
                        <a:pt x="19" y="3"/>
                      </a:lnTo>
                      <a:lnTo>
                        <a:pt x="20" y="6"/>
                      </a:lnTo>
                      <a:lnTo>
                        <a:pt x="20" y="8"/>
                      </a:lnTo>
                      <a:lnTo>
                        <a:pt x="19" y="9"/>
                      </a:lnTo>
                      <a:lnTo>
                        <a:pt x="16" y="10"/>
                      </a:lnTo>
                      <a:lnTo>
                        <a:pt x="10"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6" name="Freeform 823"/>
                <p:cNvSpPr>
                  <a:spLocks/>
                </p:cNvSpPr>
                <p:nvPr/>
              </p:nvSpPr>
              <p:spPr bwMode="auto">
                <a:xfrm>
                  <a:off x="7509870" y="4633164"/>
                  <a:ext cx="19239" cy="14799"/>
                </a:xfrm>
                <a:custGeom>
                  <a:avLst/>
                  <a:gdLst>
                    <a:gd name="T0" fmla="*/ 2147483647 w 14"/>
                    <a:gd name="T1" fmla="*/ 2147483647 h 10"/>
                    <a:gd name="T2" fmla="*/ 2147483647 w 14"/>
                    <a:gd name="T3" fmla="*/ 2147483647 h 10"/>
                    <a:gd name="T4" fmla="*/ 2147483647 w 14"/>
                    <a:gd name="T5" fmla="*/ 0 h 10"/>
                    <a:gd name="T6" fmla="*/ 2147483647 w 14"/>
                    <a:gd name="T7" fmla="*/ 0 h 10"/>
                    <a:gd name="T8" fmla="*/ 2147483647 w 14"/>
                    <a:gd name="T9" fmla="*/ 0 h 10"/>
                    <a:gd name="T10" fmla="*/ 0 w 14"/>
                    <a:gd name="T11" fmla="*/ 2147483647 h 10"/>
                    <a:gd name="T12" fmla="*/ 0 w 14"/>
                    <a:gd name="T13" fmla="*/ 2147483647 h 10"/>
                    <a:gd name="T14" fmla="*/ 0 w 14"/>
                    <a:gd name="T15" fmla="*/ 2147483647 h 10"/>
                    <a:gd name="T16" fmla="*/ 2147483647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13" y="5"/>
                      </a:moveTo>
                      <a:lnTo>
                        <a:pt x="10" y="3"/>
                      </a:lnTo>
                      <a:lnTo>
                        <a:pt x="8" y="0"/>
                      </a:lnTo>
                      <a:lnTo>
                        <a:pt x="5" y="0"/>
                      </a:lnTo>
                      <a:lnTo>
                        <a:pt x="3" y="0"/>
                      </a:lnTo>
                      <a:lnTo>
                        <a:pt x="0" y="3"/>
                      </a:lnTo>
                      <a:lnTo>
                        <a:pt x="0" y="5"/>
                      </a:lnTo>
                      <a:lnTo>
                        <a:pt x="0" y="7"/>
                      </a:lnTo>
                      <a:lnTo>
                        <a:pt x="3" y="9"/>
                      </a:lnTo>
                      <a:lnTo>
                        <a:pt x="9" y="10"/>
                      </a:lnTo>
                      <a:lnTo>
                        <a:pt x="12" y="9"/>
                      </a:lnTo>
                      <a:lnTo>
                        <a:pt x="14" y="7"/>
                      </a:lnTo>
                      <a:lnTo>
                        <a:pt x="14" y="6"/>
                      </a:lnTo>
                      <a:lnTo>
                        <a:pt x="13"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7" name="Freeform 824"/>
                <p:cNvSpPr>
                  <a:spLocks/>
                </p:cNvSpPr>
                <p:nvPr/>
              </p:nvSpPr>
              <p:spPr bwMode="auto">
                <a:xfrm>
                  <a:off x="7508392" y="4652402"/>
                  <a:ext cx="22198" cy="22199"/>
                </a:xfrm>
                <a:custGeom>
                  <a:avLst/>
                  <a:gdLst>
                    <a:gd name="T0" fmla="*/ 2147483647 w 16"/>
                    <a:gd name="T1" fmla="*/ 2147483647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2147483647 w 16"/>
                    <a:gd name="T15" fmla="*/ 0 h 15"/>
                    <a:gd name="T16" fmla="*/ 2147483647 w 16"/>
                    <a:gd name="T17" fmla="*/ 0 h 15"/>
                    <a:gd name="T18" fmla="*/ 0 w 16"/>
                    <a:gd name="T19" fmla="*/ 2147483647 h 15"/>
                    <a:gd name="T20" fmla="*/ 0 w 16"/>
                    <a:gd name="T21" fmla="*/ 2147483647 h 15"/>
                    <a:gd name="T22" fmla="*/ 0 w 16"/>
                    <a:gd name="T23" fmla="*/ 2147483647 h 15"/>
                    <a:gd name="T24" fmla="*/ 2147483647 w 16"/>
                    <a:gd name="T25" fmla="*/ 2147483647 h 15"/>
                    <a:gd name="T26" fmla="*/ 2147483647 w 16"/>
                    <a:gd name="T27" fmla="*/ 2147483647 h 15"/>
                    <a:gd name="T28" fmla="*/ 2147483647 w 16"/>
                    <a:gd name="T29" fmla="*/ 2147483647 h 15"/>
                    <a:gd name="T30" fmla="*/ 2147483647 w 16"/>
                    <a:gd name="T31" fmla="*/ 2147483647 h 15"/>
                    <a:gd name="T32" fmla="*/ 2147483647 w 16"/>
                    <a:gd name="T33" fmla="*/ 2147483647 h 15"/>
                    <a:gd name="T34" fmla="*/ 2147483647 w 16"/>
                    <a:gd name="T35" fmla="*/ 2147483647 h 15"/>
                    <a:gd name="T36" fmla="*/ 2147483647 w 16"/>
                    <a:gd name="T37" fmla="*/ 2147483647 h 15"/>
                    <a:gd name="T38" fmla="*/ 2147483647 w 16"/>
                    <a:gd name="T39" fmla="*/ 2147483647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
                    <a:gd name="T61" fmla="*/ 0 h 15"/>
                    <a:gd name="T62" fmla="*/ 16 w 16"/>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 h="15">
                      <a:moveTo>
                        <a:pt x="14" y="6"/>
                      </a:moveTo>
                      <a:lnTo>
                        <a:pt x="16" y="5"/>
                      </a:lnTo>
                      <a:lnTo>
                        <a:pt x="16" y="4"/>
                      </a:lnTo>
                      <a:lnTo>
                        <a:pt x="15" y="3"/>
                      </a:lnTo>
                      <a:lnTo>
                        <a:pt x="13" y="1"/>
                      </a:lnTo>
                      <a:lnTo>
                        <a:pt x="9" y="1"/>
                      </a:lnTo>
                      <a:lnTo>
                        <a:pt x="5" y="1"/>
                      </a:lnTo>
                      <a:lnTo>
                        <a:pt x="2" y="0"/>
                      </a:lnTo>
                      <a:lnTo>
                        <a:pt x="1" y="0"/>
                      </a:lnTo>
                      <a:lnTo>
                        <a:pt x="0" y="1"/>
                      </a:lnTo>
                      <a:lnTo>
                        <a:pt x="0" y="4"/>
                      </a:lnTo>
                      <a:lnTo>
                        <a:pt x="0" y="5"/>
                      </a:lnTo>
                      <a:lnTo>
                        <a:pt x="2" y="7"/>
                      </a:lnTo>
                      <a:lnTo>
                        <a:pt x="4" y="9"/>
                      </a:lnTo>
                      <a:lnTo>
                        <a:pt x="6" y="15"/>
                      </a:lnTo>
                      <a:lnTo>
                        <a:pt x="8" y="15"/>
                      </a:lnTo>
                      <a:lnTo>
                        <a:pt x="10" y="13"/>
                      </a:lnTo>
                      <a:lnTo>
                        <a:pt x="11" y="10"/>
                      </a:lnTo>
                      <a:lnTo>
                        <a:pt x="13" y="7"/>
                      </a:lnTo>
                      <a:lnTo>
                        <a:pt x="14"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8" name="Freeform 825"/>
                <p:cNvSpPr>
                  <a:spLocks/>
                </p:cNvSpPr>
                <p:nvPr/>
              </p:nvSpPr>
              <p:spPr bwMode="auto">
                <a:xfrm>
                  <a:off x="7508391" y="4631684"/>
                  <a:ext cx="19238" cy="14799"/>
                </a:xfrm>
                <a:custGeom>
                  <a:avLst/>
                  <a:gdLst>
                    <a:gd name="T0" fmla="*/ 2147483647 w 14"/>
                    <a:gd name="T1" fmla="*/ 2147483647 h 10"/>
                    <a:gd name="T2" fmla="*/ 2147483647 w 14"/>
                    <a:gd name="T3" fmla="*/ 2147483647 h 10"/>
                    <a:gd name="T4" fmla="*/ 2147483647 w 14"/>
                    <a:gd name="T5" fmla="*/ 2147483647 h 10"/>
                    <a:gd name="T6" fmla="*/ 2147483647 w 14"/>
                    <a:gd name="T7" fmla="*/ 0 h 10"/>
                    <a:gd name="T8" fmla="*/ 2147483647 w 14"/>
                    <a:gd name="T9" fmla="*/ 0 h 10"/>
                    <a:gd name="T10" fmla="*/ 2147483647 w 14"/>
                    <a:gd name="T11" fmla="*/ 0 h 10"/>
                    <a:gd name="T12" fmla="*/ 2147483647 w 14"/>
                    <a:gd name="T13" fmla="*/ 0 h 10"/>
                    <a:gd name="T14" fmla="*/ 0 w 14"/>
                    <a:gd name="T15" fmla="*/ 2147483647 h 10"/>
                    <a:gd name="T16" fmla="*/ 0 w 14"/>
                    <a:gd name="T17" fmla="*/ 2147483647 h 10"/>
                    <a:gd name="T18" fmla="*/ 0 w 14"/>
                    <a:gd name="T19" fmla="*/ 2147483647 h 10"/>
                    <a:gd name="T20" fmla="*/ 2147483647 w 14"/>
                    <a:gd name="T21" fmla="*/ 2147483647 h 10"/>
                    <a:gd name="T22" fmla="*/ 2147483647 w 14"/>
                    <a:gd name="T23" fmla="*/ 2147483647 h 10"/>
                    <a:gd name="T24" fmla="*/ 2147483647 w 14"/>
                    <a:gd name="T25" fmla="*/ 2147483647 h 10"/>
                    <a:gd name="T26" fmla="*/ 2147483647 w 14"/>
                    <a:gd name="T27" fmla="*/ 2147483647 h 10"/>
                    <a:gd name="T28" fmla="*/ 2147483647 w 14"/>
                    <a:gd name="T29" fmla="*/ 2147483647 h 10"/>
                    <a:gd name="T30" fmla="*/ 2147483647 w 14"/>
                    <a:gd name="T31" fmla="*/ 2147483647 h 10"/>
                    <a:gd name="T32" fmla="*/ 2147483647 w 14"/>
                    <a:gd name="T33" fmla="*/ 2147483647 h 10"/>
                    <a:gd name="T34" fmla="*/ 2147483647 w 14"/>
                    <a:gd name="T35" fmla="*/ 2147483647 h 10"/>
                    <a:gd name="T36" fmla="*/ 2147483647 w 14"/>
                    <a:gd name="T37" fmla="*/ 2147483647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10"/>
                    <a:gd name="T59" fmla="*/ 14 w 14"/>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10">
                      <a:moveTo>
                        <a:pt x="13" y="5"/>
                      </a:moveTo>
                      <a:lnTo>
                        <a:pt x="13" y="5"/>
                      </a:lnTo>
                      <a:lnTo>
                        <a:pt x="10" y="2"/>
                      </a:lnTo>
                      <a:lnTo>
                        <a:pt x="8" y="0"/>
                      </a:lnTo>
                      <a:lnTo>
                        <a:pt x="5" y="0"/>
                      </a:lnTo>
                      <a:lnTo>
                        <a:pt x="2" y="0"/>
                      </a:lnTo>
                      <a:lnTo>
                        <a:pt x="0" y="2"/>
                      </a:lnTo>
                      <a:lnTo>
                        <a:pt x="0" y="5"/>
                      </a:lnTo>
                      <a:lnTo>
                        <a:pt x="0" y="7"/>
                      </a:lnTo>
                      <a:lnTo>
                        <a:pt x="2" y="8"/>
                      </a:lnTo>
                      <a:lnTo>
                        <a:pt x="9" y="10"/>
                      </a:lnTo>
                      <a:lnTo>
                        <a:pt x="11" y="8"/>
                      </a:lnTo>
                      <a:lnTo>
                        <a:pt x="14" y="7"/>
                      </a:lnTo>
                      <a:lnTo>
                        <a:pt x="14" y="6"/>
                      </a:lnTo>
                      <a:lnTo>
                        <a:pt x="1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49" name="Freeform 826"/>
                <p:cNvSpPr>
                  <a:spLocks/>
                </p:cNvSpPr>
                <p:nvPr/>
              </p:nvSpPr>
              <p:spPr bwMode="auto">
                <a:xfrm>
                  <a:off x="7506911" y="4650922"/>
                  <a:ext cx="22199" cy="20718"/>
                </a:xfrm>
                <a:custGeom>
                  <a:avLst/>
                  <a:gdLst>
                    <a:gd name="T0" fmla="*/ 2147483647 w 16"/>
                    <a:gd name="T1" fmla="*/ 2147483647 h 14"/>
                    <a:gd name="T2" fmla="*/ 2147483647 w 16"/>
                    <a:gd name="T3" fmla="*/ 2147483647 h 14"/>
                    <a:gd name="T4" fmla="*/ 2147483647 w 16"/>
                    <a:gd name="T5" fmla="*/ 2147483647 h 14"/>
                    <a:gd name="T6" fmla="*/ 2147483647 w 16"/>
                    <a:gd name="T7" fmla="*/ 2147483647 h 14"/>
                    <a:gd name="T8" fmla="*/ 2147483647 w 16"/>
                    <a:gd name="T9" fmla="*/ 2147483647 h 14"/>
                    <a:gd name="T10" fmla="*/ 2147483647 w 16"/>
                    <a:gd name="T11" fmla="*/ 2147483647 h 14"/>
                    <a:gd name="T12" fmla="*/ 2147483647 w 16"/>
                    <a:gd name="T13" fmla="*/ 2147483647 h 14"/>
                    <a:gd name="T14" fmla="*/ 2147483647 w 16"/>
                    <a:gd name="T15" fmla="*/ 2147483647 h 14"/>
                    <a:gd name="T16" fmla="*/ 2147483647 w 16"/>
                    <a:gd name="T17" fmla="*/ 2147483647 h 14"/>
                    <a:gd name="T18" fmla="*/ 2147483647 w 16"/>
                    <a:gd name="T19" fmla="*/ 0 h 14"/>
                    <a:gd name="T20" fmla="*/ 2147483647 w 16"/>
                    <a:gd name="T21" fmla="*/ 0 h 14"/>
                    <a:gd name="T22" fmla="*/ 2147483647 w 16"/>
                    <a:gd name="T23" fmla="*/ 0 h 14"/>
                    <a:gd name="T24" fmla="*/ 0 w 16"/>
                    <a:gd name="T25" fmla="*/ 2147483647 h 14"/>
                    <a:gd name="T26" fmla="*/ 0 w 16"/>
                    <a:gd name="T27" fmla="*/ 2147483647 h 14"/>
                    <a:gd name="T28" fmla="*/ 0 w 16"/>
                    <a:gd name="T29" fmla="*/ 2147483647 h 14"/>
                    <a:gd name="T30" fmla="*/ 0 w 16"/>
                    <a:gd name="T31" fmla="*/ 2147483647 h 14"/>
                    <a:gd name="T32" fmla="*/ 2147483647 w 16"/>
                    <a:gd name="T33" fmla="*/ 2147483647 h 14"/>
                    <a:gd name="T34" fmla="*/ 2147483647 w 16"/>
                    <a:gd name="T35" fmla="*/ 2147483647 h 14"/>
                    <a:gd name="T36" fmla="*/ 2147483647 w 16"/>
                    <a:gd name="T37" fmla="*/ 2147483647 h 14"/>
                    <a:gd name="T38" fmla="*/ 2147483647 w 16"/>
                    <a:gd name="T39" fmla="*/ 2147483647 h 14"/>
                    <a:gd name="T40" fmla="*/ 2147483647 w 16"/>
                    <a:gd name="T41" fmla="*/ 2147483647 h 14"/>
                    <a:gd name="T42" fmla="*/ 2147483647 w 16"/>
                    <a:gd name="T43" fmla="*/ 2147483647 h 14"/>
                    <a:gd name="T44" fmla="*/ 2147483647 w 16"/>
                    <a:gd name="T45" fmla="*/ 2147483647 h 14"/>
                    <a:gd name="T46" fmla="*/ 2147483647 w 16"/>
                    <a:gd name="T47" fmla="*/ 2147483647 h 14"/>
                    <a:gd name="T48" fmla="*/ 2147483647 w 16"/>
                    <a:gd name="T49" fmla="*/ 2147483647 h 14"/>
                    <a:gd name="T50" fmla="*/ 2147483647 w 16"/>
                    <a:gd name="T51" fmla="*/ 2147483647 h 14"/>
                    <a:gd name="T52" fmla="*/ 2147483647 w 16"/>
                    <a:gd name="T53" fmla="*/ 2147483647 h 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
                    <a:gd name="T82" fmla="*/ 0 h 14"/>
                    <a:gd name="T83" fmla="*/ 16 w 16"/>
                    <a:gd name="T84" fmla="*/ 14 h 1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 h="14">
                      <a:moveTo>
                        <a:pt x="14" y="6"/>
                      </a:moveTo>
                      <a:lnTo>
                        <a:pt x="14" y="6"/>
                      </a:lnTo>
                      <a:lnTo>
                        <a:pt x="16" y="5"/>
                      </a:lnTo>
                      <a:lnTo>
                        <a:pt x="16" y="4"/>
                      </a:lnTo>
                      <a:lnTo>
                        <a:pt x="15" y="2"/>
                      </a:lnTo>
                      <a:lnTo>
                        <a:pt x="12" y="1"/>
                      </a:lnTo>
                      <a:lnTo>
                        <a:pt x="9" y="1"/>
                      </a:lnTo>
                      <a:lnTo>
                        <a:pt x="5" y="1"/>
                      </a:lnTo>
                      <a:lnTo>
                        <a:pt x="2" y="0"/>
                      </a:lnTo>
                      <a:lnTo>
                        <a:pt x="1" y="0"/>
                      </a:lnTo>
                      <a:lnTo>
                        <a:pt x="0" y="1"/>
                      </a:lnTo>
                      <a:lnTo>
                        <a:pt x="0" y="4"/>
                      </a:lnTo>
                      <a:lnTo>
                        <a:pt x="0" y="5"/>
                      </a:lnTo>
                      <a:lnTo>
                        <a:pt x="2" y="7"/>
                      </a:lnTo>
                      <a:lnTo>
                        <a:pt x="3" y="8"/>
                      </a:lnTo>
                      <a:lnTo>
                        <a:pt x="6" y="14"/>
                      </a:lnTo>
                      <a:lnTo>
                        <a:pt x="7" y="14"/>
                      </a:lnTo>
                      <a:lnTo>
                        <a:pt x="10" y="13"/>
                      </a:lnTo>
                      <a:lnTo>
                        <a:pt x="11" y="10"/>
                      </a:lnTo>
                      <a:lnTo>
                        <a:pt x="12" y="7"/>
                      </a:lnTo>
                      <a:lnTo>
                        <a:pt x="14"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0" name="Freeform 827"/>
                <p:cNvSpPr>
                  <a:spLocks/>
                </p:cNvSpPr>
                <p:nvPr/>
              </p:nvSpPr>
              <p:spPr bwMode="auto">
                <a:xfrm>
                  <a:off x="7160621" y="4483693"/>
                  <a:ext cx="253059" cy="254538"/>
                </a:xfrm>
                <a:custGeom>
                  <a:avLst/>
                  <a:gdLst>
                    <a:gd name="T0" fmla="*/ 2147483647 w 186"/>
                    <a:gd name="T1" fmla="*/ 0 h 172"/>
                    <a:gd name="T2" fmla="*/ 2147483647 w 186"/>
                    <a:gd name="T3" fmla="*/ 2147483647 h 172"/>
                    <a:gd name="T4" fmla="*/ 2147483647 w 186"/>
                    <a:gd name="T5" fmla="*/ 2147483647 h 172"/>
                    <a:gd name="T6" fmla="*/ 2147483647 w 186"/>
                    <a:gd name="T7" fmla="*/ 2147483647 h 172"/>
                    <a:gd name="T8" fmla="*/ 2147483647 w 186"/>
                    <a:gd name="T9" fmla="*/ 2147483647 h 172"/>
                    <a:gd name="T10" fmla="*/ 2147483647 w 186"/>
                    <a:gd name="T11" fmla="*/ 2147483647 h 172"/>
                    <a:gd name="T12" fmla="*/ 2147483647 w 186"/>
                    <a:gd name="T13" fmla="*/ 2147483647 h 172"/>
                    <a:gd name="T14" fmla="*/ 2147483647 w 186"/>
                    <a:gd name="T15" fmla="*/ 2147483647 h 172"/>
                    <a:gd name="T16" fmla="*/ 2147483647 w 186"/>
                    <a:gd name="T17" fmla="*/ 2147483647 h 172"/>
                    <a:gd name="T18" fmla="*/ 2147483647 w 186"/>
                    <a:gd name="T19" fmla="*/ 2147483647 h 172"/>
                    <a:gd name="T20" fmla="*/ 2147483647 w 186"/>
                    <a:gd name="T21" fmla="*/ 2147483647 h 172"/>
                    <a:gd name="T22" fmla="*/ 0 w 186"/>
                    <a:gd name="T23" fmla="*/ 2147483647 h 172"/>
                    <a:gd name="T24" fmla="*/ 2147483647 w 186"/>
                    <a:gd name="T25" fmla="*/ 2147483647 h 172"/>
                    <a:gd name="T26" fmla="*/ 2147483647 w 186"/>
                    <a:gd name="T27" fmla="*/ 2147483647 h 172"/>
                    <a:gd name="T28" fmla="*/ 2147483647 w 186"/>
                    <a:gd name="T29" fmla="*/ 2147483647 h 172"/>
                    <a:gd name="T30" fmla="*/ 2147483647 w 186"/>
                    <a:gd name="T31" fmla="*/ 2147483647 h 172"/>
                    <a:gd name="T32" fmla="*/ 2147483647 w 186"/>
                    <a:gd name="T33" fmla="*/ 2147483647 h 172"/>
                    <a:gd name="T34" fmla="*/ 2147483647 w 186"/>
                    <a:gd name="T35" fmla="*/ 2147483647 h 172"/>
                    <a:gd name="T36" fmla="*/ 2147483647 w 186"/>
                    <a:gd name="T37" fmla="*/ 2147483647 h 172"/>
                    <a:gd name="T38" fmla="*/ 2147483647 w 186"/>
                    <a:gd name="T39" fmla="*/ 2147483647 h 172"/>
                    <a:gd name="T40" fmla="*/ 2147483647 w 186"/>
                    <a:gd name="T41" fmla="*/ 2147483647 h 172"/>
                    <a:gd name="T42" fmla="*/ 2147483647 w 186"/>
                    <a:gd name="T43" fmla="*/ 2147483647 h 172"/>
                    <a:gd name="T44" fmla="*/ 2147483647 w 186"/>
                    <a:gd name="T45" fmla="*/ 2147483647 h 172"/>
                    <a:gd name="T46" fmla="*/ 2147483647 w 186"/>
                    <a:gd name="T47" fmla="*/ 2147483647 h 172"/>
                    <a:gd name="T48" fmla="*/ 2147483647 w 186"/>
                    <a:gd name="T49" fmla="*/ 2147483647 h 172"/>
                    <a:gd name="T50" fmla="*/ 2147483647 w 186"/>
                    <a:gd name="T51" fmla="*/ 2147483647 h 172"/>
                    <a:gd name="T52" fmla="*/ 2147483647 w 186"/>
                    <a:gd name="T53" fmla="*/ 2147483647 h 172"/>
                    <a:gd name="T54" fmla="*/ 2147483647 w 186"/>
                    <a:gd name="T55" fmla="*/ 2147483647 h 172"/>
                    <a:gd name="T56" fmla="*/ 2147483647 w 186"/>
                    <a:gd name="T57" fmla="*/ 2147483647 h 172"/>
                    <a:gd name="T58" fmla="*/ 2147483647 w 186"/>
                    <a:gd name="T59" fmla="*/ 2147483647 h 172"/>
                    <a:gd name="T60" fmla="*/ 2147483647 w 186"/>
                    <a:gd name="T61" fmla="*/ 2147483647 h 172"/>
                    <a:gd name="T62" fmla="*/ 2147483647 w 186"/>
                    <a:gd name="T63" fmla="*/ 2147483647 h 172"/>
                    <a:gd name="T64" fmla="*/ 2147483647 w 186"/>
                    <a:gd name="T65" fmla="*/ 2147483647 h 172"/>
                    <a:gd name="T66" fmla="*/ 2147483647 w 186"/>
                    <a:gd name="T67" fmla="*/ 2147483647 h 172"/>
                    <a:gd name="T68" fmla="*/ 2147483647 w 186"/>
                    <a:gd name="T69" fmla="*/ 2147483647 h 172"/>
                    <a:gd name="T70" fmla="*/ 2147483647 w 186"/>
                    <a:gd name="T71" fmla="*/ 2147483647 h 172"/>
                    <a:gd name="T72" fmla="*/ 2147483647 w 186"/>
                    <a:gd name="T73" fmla="*/ 2147483647 h 172"/>
                    <a:gd name="T74" fmla="*/ 2147483647 w 186"/>
                    <a:gd name="T75" fmla="*/ 2147483647 h 172"/>
                    <a:gd name="T76" fmla="*/ 2147483647 w 186"/>
                    <a:gd name="T77" fmla="*/ 2147483647 h 172"/>
                    <a:gd name="T78" fmla="*/ 2147483647 w 186"/>
                    <a:gd name="T79" fmla="*/ 2147483647 h 172"/>
                    <a:gd name="T80" fmla="*/ 2147483647 w 186"/>
                    <a:gd name="T81" fmla="*/ 2147483647 h 172"/>
                    <a:gd name="T82" fmla="*/ 2147483647 w 186"/>
                    <a:gd name="T83" fmla="*/ 2147483647 h 172"/>
                    <a:gd name="T84" fmla="*/ 2147483647 w 186"/>
                    <a:gd name="T85" fmla="*/ 2147483647 h 172"/>
                    <a:gd name="T86" fmla="*/ 2147483647 w 186"/>
                    <a:gd name="T87" fmla="*/ 2147483647 h 172"/>
                    <a:gd name="T88" fmla="*/ 2147483647 w 186"/>
                    <a:gd name="T89" fmla="*/ 2147483647 h 172"/>
                    <a:gd name="T90" fmla="*/ 2147483647 w 186"/>
                    <a:gd name="T91" fmla="*/ 2147483647 h 172"/>
                    <a:gd name="T92" fmla="*/ 2147483647 w 186"/>
                    <a:gd name="T93" fmla="*/ 2147483647 h 172"/>
                    <a:gd name="T94" fmla="*/ 2147483647 w 186"/>
                    <a:gd name="T95" fmla="*/ 2147483647 h 172"/>
                    <a:gd name="T96" fmla="*/ 2147483647 w 186"/>
                    <a:gd name="T97" fmla="*/ 2147483647 h 172"/>
                    <a:gd name="T98" fmla="*/ 2147483647 w 186"/>
                    <a:gd name="T99" fmla="*/ 2147483647 h 172"/>
                    <a:gd name="T100" fmla="*/ 2147483647 w 186"/>
                    <a:gd name="T101" fmla="*/ 2147483647 h 172"/>
                    <a:gd name="T102" fmla="*/ 2147483647 w 186"/>
                    <a:gd name="T103" fmla="*/ 2147483647 h 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6"/>
                    <a:gd name="T157" fmla="*/ 0 h 172"/>
                    <a:gd name="T158" fmla="*/ 186 w 186"/>
                    <a:gd name="T159" fmla="*/ 172 h 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6" h="172">
                      <a:moveTo>
                        <a:pt x="153" y="3"/>
                      </a:moveTo>
                      <a:lnTo>
                        <a:pt x="146" y="0"/>
                      </a:lnTo>
                      <a:lnTo>
                        <a:pt x="138" y="0"/>
                      </a:lnTo>
                      <a:lnTo>
                        <a:pt x="136" y="0"/>
                      </a:lnTo>
                      <a:lnTo>
                        <a:pt x="132" y="2"/>
                      </a:lnTo>
                      <a:lnTo>
                        <a:pt x="129" y="3"/>
                      </a:lnTo>
                      <a:lnTo>
                        <a:pt x="127" y="6"/>
                      </a:lnTo>
                      <a:lnTo>
                        <a:pt x="123" y="12"/>
                      </a:lnTo>
                      <a:lnTo>
                        <a:pt x="120" y="21"/>
                      </a:lnTo>
                      <a:lnTo>
                        <a:pt x="115" y="27"/>
                      </a:lnTo>
                      <a:lnTo>
                        <a:pt x="113" y="30"/>
                      </a:lnTo>
                      <a:lnTo>
                        <a:pt x="110" y="32"/>
                      </a:lnTo>
                      <a:lnTo>
                        <a:pt x="103" y="42"/>
                      </a:lnTo>
                      <a:lnTo>
                        <a:pt x="96" y="49"/>
                      </a:lnTo>
                      <a:lnTo>
                        <a:pt x="94" y="50"/>
                      </a:lnTo>
                      <a:lnTo>
                        <a:pt x="91" y="51"/>
                      </a:lnTo>
                      <a:lnTo>
                        <a:pt x="76" y="51"/>
                      </a:lnTo>
                      <a:lnTo>
                        <a:pt x="72" y="53"/>
                      </a:lnTo>
                      <a:lnTo>
                        <a:pt x="70" y="53"/>
                      </a:lnTo>
                      <a:lnTo>
                        <a:pt x="63" y="57"/>
                      </a:lnTo>
                      <a:lnTo>
                        <a:pt x="52" y="64"/>
                      </a:lnTo>
                      <a:lnTo>
                        <a:pt x="43" y="69"/>
                      </a:lnTo>
                      <a:lnTo>
                        <a:pt x="39" y="70"/>
                      </a:lnTo>
                      <a:lnTo>
                        <a:pt x="35" y="70"/>
                      </a:lnTo>
                      <a:lnTo>
                        <a:pt x="33" y="69"/>
                      </a:lnTo>
                      <a:lnTo>
                        <a:pt x="29" y="68"/>
                      </a:lnTo>
                      <a:lnTo>
                        <a:pt x="25" y="63"/>
                      </a:lnTo>
                      <a:lnTo>
                        <a:pt x="19" y="53"/>
                      </a:lnTo>
                      <a:lnTo>
                        <a:pt x="16" y="54"/>
                      </a:lnTo>
                      <a:lnTo>
                        <a:pt x="12" y="55"/>
                      </a:lnTo>
                      <a:lnTo>
                        <a:pt x="10" y="56"/>
                      </a:lnTo>
                      <a:lnTo>
                        <a:pt x="9" y="59"/>
                      </a:lnTo>
                      <a:lnTo>
                        <a:pt x="6" y="72"/>
                      </a:lnTo>
                      <a:lnTo>
                        <a:pt x="3" y="78"/>
                      </a:lnTo>
                      <a:lnTo>
                        <a:pt x="0" y="83"/>
                      </a:lnTo>
                      <a:lnTo>
                        <a:pt x="0" y="85"/>
                      </a:lnTo>
                      <a:lnTo>
                        <a:pt x="0" y="87"/>
                      </a:lnTo>
                      <a:lnTo>
                        <a:pt x="3" y="91"/>
                      </a:lnTo>
                      <a:lnTo>
                        <a:pt x="6" y="95"/>
                      </a:lnTo>
                      <a:lnTo>
                        <a:pt x="12" y="105"/>
                      </a:lnTo>
                      <a:lnTo>
                        <a:pt x="14" y="106"/>
                      </a:lnTo>
                      <a:lnTo>
                        <a:pt x="16" y="106"/>
                      </a:lnTo>
                      <a:lnTo>
                        <a:pt x="19" y="107"/>
                      </a:lnTo>
                      <a:lnTo>
                        <a:pt x="20" y="110"/>
                      </a:lnTo>
                      <a:lnTo>
                        <a:pt x="21" y="114"/>
                      </a:lnTo>
                      <a:lnTo>
                        <a:pt x="21" y="118"/>
                      </a:lnTo>
                      <a:lnTo>
                        <a:pt x="24" y="121"/>
                      </a:lnTo>
                      <a:lnTo>
                        <a:pt x="28" y="125"/>
                      </a:lnTo>
                      <a:lnTo>
                        <a:pt x="28" y="126"/>
                      </a:lnTo>
                      <a:lnTo>
                        <a:pt x="28" y="129"/>
                      </a:lnTo>
                      <a:lnTo>
                        <a:pt x="28" y="133"/>
                      </a:lnTo>
                      <a:lnTo>
                        <a:pt x="29" y="140"/>
                      </a:lnTo>
                      <a:lnTo>
                        <a:pt x="33" y="149"/>
                      </a:lnTo>
                      <a:lnTo>
                        <a:pt x="36" y="150"/>
                      </a:lnTo>
                      <a:lnTo>
                        <a:pt x="40" y="151"/>
                      </a:lnTo>
                      <a:lnTo>
                        <a:pt x="43" y="153"/>
                      </a:lnTo>
                      <a:lnTo>
                        <a:pt x="45" y="155"/>
                      </a:lnTo>
                      <a:lnTo>
                        <a:pt x="48" y="156"/>
                      </a:lnTo>
                      <a:lnTo>
                        <a:pt x="49" y="157"/>
                      </a:lnTo>
                      <a:lnTo>
                        <a:pt x="54" y="156"/>
                      </a:lnTo>
                      <a:lnTo>
                        <a:pt x="59" y="153"/>
                      </a:lnTo>
                      <a:lnTo>
                        <a:pt x="64" y="153"/>
                      </a:lnTo>
                      <a:lnTo>
                        <a:pt x="64" y="155"/>
                      </a:lnTo>
                      <a:lnTo>
                        <a:pt x="64" y="157"/>
                      </a:lnTo>
                      <a:lnTo>
                        <a:pt x="61" y="164"/>
                      </a:lnTo>
                      <a:lnTo>
                        <a:pt x="61" y="168"/>
                      </a:lnTo>
                      <a:lnTo>
                        <a:pt x="62" y="168"/>
                      </a:lnTo>
                      <a:lnTo>
                        <a:pt x="64" y="168"/>
                      </a:lnTo>
                      <a:lnTo>
                        <a:pt x="68" y="166"/>
                      </a:lnTo>
                      <a:lnTo>
                        <a:pt x="73" y="164"/>
                      </a:lnTo>
                      <a:lnTo>
                        <a:pt x="75" y="163"/>
                      </a:lnTo>
                      <a:lnTo>
                        <a:pt x="77" y="163"/>
                      </a:lnTo>
                      <a:lnTo>
                        <a:pt x="80" y="163"/>
                      </a:lnTo>
                      <a:lnTo>
                        <a:pt x="81" y="165"/>
                      </a:lnTo>
                      <a:lnTo>
                        <a:pt x="82" y="164"/>
                      </a:lnTo>
                      <a:lnTo>
                        <a:pt x="86" y="164"/>
                      </a:lnTo>
                      <a:lnTo>
                        <a:pt x="90" y="164"/>
                      </a:lnTo>
                      <a:lnTo>
                        <a:pt x="92" y="162"/>
                      </a:lnTo>
                      <a:lnTo>
                        <a:pt x="94" y="159"/>
                      </a:lnTo>
                      <a:lnTo>
                        <a:pt x="96" y="158"/>
                      </a:lnTo>
                      <a:lnTo>
                        <a:pt x="97" y="158"/>
                      </a:lnTo>
                      <a:lnTo>
                        <a:pt x="100" y="161"/>
                      </a:lnTo>
                      <a:lnTo>
                        <a:pt x="105" y="166"/>
                      </a:lnTo>
                      <a:lnTo>
                        <a:pt x="110" y="171"/>
                      </a:lnTo>
                      <a:lnTo>
                        <a:pt x="111" y="172"/>
                      </a:lnTo>
                      <a:lnTo>
                        <a:pt x="113" y="172"/>
                      </a:lnTo>
                      <a:lnTo>
                        <a:pt x="115" y="170"/>
                      </a:lnTo>
                      <a:lnTo>
                        <a:pt x="116" y="169"/>
                      </a:lnTo>
                      <a:lnTo>
                        <a:pt x="119" y="166"/>
                      </a:lnTo>
                      <a:lnTo>
                        <a:pt x="120" y="164"/>
                      </a:lnTo>
                      <a:lnTo>
                        <a:pt x="124" y="157"/>
                      </a:lnTo>
                      <a:lnTo>
                        <a:pt x="128" y="151"/>
                      </a:lnTo>
                      <a:lnTo>
                        <a:pt x="134" y="146"/>
                      </a:lnTo>
                      <a:lnTo>
                        <a:pt x="142" y="142"/>
                      </a:lnTo>
                      <a:lnTo>
                        <a:pt x="143" y="139"/>
                      </a:lnTo>
                      <a:lnTo>
                        <a:pt x="144" y="137"/>
                      </a:lnTo>
                      <a:lnTo>
                        <a:pt x="142" y="130"/>
                      </a:lnTo>
                      <a:lnTo>
                        <a:pt x="142" y="126"/>
                      </a:lnTo>
                      <a:lnTo>
                        <a:pt x="143" y="123"/>
                      </a:lnTo>
                      <a:lnTo>
                        <a:pt x="148" y="118"/>
                      </a:lnTo>
                      <a:lnTo>
                        <a:pt x="153" y="114"/>
                      </a:lnTo>
                      <a:lnTo>
                        <a:pt x="158" y="111"/>
                      </a:lnTo>
                      <a:lnTo>
                        <a:pt x="160" y="107"/>
                      </a:lnTo>
                      <a:lnTo>
                        <a:pt x="161" y="105"/>
                      </a:lnTo>
                      <a:lnTo>
                        <a:pt x="161" y="101"/>
                      </a:lnTo>
                      <a:lnTo>
                        <a:pt x="160" y="100"/>
                      </a:lnTo>
                      <a:lnTo>
                        <a:pt x="156" y="97"/>
                      </a:lnTo>
                      <a:lnTo>
                        <a:pt x="156" y="95"/>
                      </a:lnTo>
                      <a:lnTo>
                        <a:pt x="156" y="94"/>
                      </a:lnTo>
                      <a:lnTo>
                        <a:pt x="157" y="88"/>
                      </a:lnTo>
                      <a:lnTo>
                        <a:pt x="160" y="83"/>
                      </a:lnTo>
                      <a:lnTo>
                        <a:pt x="162" y="80"/>
                      </a:lnTo>
                      <a:lnTo>
                        <a:pt x="163" y="75"/>
                      </a:lnTo>
                      <a:lnTo>
                        <a:pt x="163" y="73"/>
                      </a:lnTo>
                      <a:lnTo>
                        <a:pt x="165" y="70"/>
                      </a:lnTo>
                      <a:lnTo>
                        <a:pt x="166" y="69"/>
                      </a:lnTo>
                      <a:lnTo>
                        <a:pt x="169" y="70"/>
                      </a:lnTo>
                      <a:lnTo>
                        <a:pt x="171" y="73"/>
                      </a:lnTo>
                      <a:lnTo>
                        <a:pt x="175" y="73"/>
                      </a:lnTo>
                      <a:lnTo>
                        <a:pt x="176" y="72"/>
                      </a:lnTo>
                      <a:lnTo>
                        <a:pt x="179" y="73"/>
                      </a:lnTo>
                      <a:lnTo>
                        <a:pt x="181" y="74"/>
                      </a:lnTo>
                      <a:lnTo>
                        <a:pt x="185" y="74"/>
                      </a:lnTo>
                      <a:lnTo>
                        <a:pt x="186" y="73"/>
                      </a:lnTo>
                      <a:lnTo>
                        <a:pt x="186" y="70"/>
                      </a:lnTo>
                      <a:lnTo>
                        <a:pt x="183" y="66"/>
                      </a:lnTo>
                      <a:lnTo>
                        <a:pt x="179" y="63"/>
                      </a:lnTo>
                      <a:lnTo>
                        <a:pt x="174" y="60"/>
                      </a:lnTo>
                      <a:lnTo>
                        <a:pt x="170" y="57"/>
                      </a:lnTo>
                      <a:lnTo>
                        <a:pt x="169" y="56"/>
                      </a:lnTo>
                      <a:lnTo>
                        <a:pt x="169" y="55"/>
                      </a:lnTo>
                      <a:lnTo>
                        <a:pt x="169" y="54"/>
                      </a:lnTo>
                      <a:lnTo>
                        <a:pt x="170" y="51"/>
                      </a:lnTo>
                      <a:lnTo>
                        <a:pt x="171" y="50"/>
                      </a:lnTo>
                      <a:lnTo>
                        <a:pt x="172" y="48"/>
                      </a:lnTo>
                      <a:lnTo>
                        <a:pt x="171" y="44"/>
                      </a:lnTo>
                      <a:lnTo>
                        <a:pt x="169" y="42"/>
                      </a:lnTo>
                      <a:lnTo>
                        <a:pt x="163" y="37"/>
                      </a:lnTo>
                      <a:lnTo>
                        <a:pt x="162" y="36"/>
                      </a:lnTo>
                      <a:lnTo>
                        <a:pt x="160" y="37"/>
                      </a:lnTo>
                      <a:lnTo>
                        <a:pt x="158" y="37"/>
                      </a:lnTo>
                      <a:lnTo>
                        <a:pt x="157" y="37"/>
                      </a:lnTo>
                      <a:lnTo>
                        <a:pt x="156" y="35"/>
                      </a:lnTo>
                      <a:lnTo>
                        <a:pt x="156" y="31"/>
                      </a:lnTo>
                      <a:lnTo>
                        <a:pt x="158" y="27"/>
                      </a:lnTo>
                      <a:lnTo>
                        <a:pt x="160" y="24"/>
                      </a:lnTo>
                      <a:lnTo>
                        <a:pt x="158" y="23"/>
                      </a:lnTo>
                      <a:lnTo>
                        <a:pt x="156" y="21"/>
                      </a:lnTo>
                      <a:lnTo>
                        <a:pt x="156" y="19"/>
                      </a:lnTo>
                      <a:lnTo>
                        <a:pt x="156" y="18"/>
                      </a:lnTo>
                      <a:lnTo>
                        <a:pt x="158" y="17"/>
                      </a:lnTo>
                      <a:lnTo>
                        <a:pt x="158" y="15"/>
                      </a:lnTo>
                      <a:lnTo>
                        <a:pt x="158" y="14"/>
                      </a:lnTo>
                      <a:lnTo>
                        <a:pt x="157" y="10"/>
                      </a:lnTo>
                      <a:lnTo>
                        <a:pt x="155" y="6"/>
                      </a:lnTo>
                      <a:lnTo>
                        <a:pt x="153"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1" name="Freeform 828"/>
                <p:cNvSpPr>
                  <a:spLocks/>
                </p:cNvSpPr>
                <p:nvPr/>
              </p:nvSpPr>
              <p:spPr bwMode="auto">
                <a:xfrm>
                  <a:off x="7099947" y="4791508"/>
                  <a:ext cx="198303" cy="79913"/>
                </a:xfrm>
                <a:custGeom>
                  <a:avLst/>
                  <a:gdLst>
                    <a:gd name="T0" fmla="*/ 2147483647 w 145"/>
                    <a:gd name="T1" fmla="*/ 2147483647 h 54"/>
                    <a:gd name="T2" fmla="*/ 2147483647 w 145"/>
                    <a:gd name="T3" fmla="*/ 2147483647 h 54"/>
                    <a:gd name="T4" fmla="*/ 2147483647 w 145"/>
                    <a:gd name="T5" fmla="*/ 2147483647 h 54"/>
                    <a:gd name="T6" fmla="*/ 2147483647 w 145"/>
                    <a:gd name="T7" fmla="*/ 2147483647 h 54"/>
                    <a:gd name="T8" fmla="*/ 2147483647 w 145"/>
                    <a:gd name="T9" fmla="*/ 2147483647 h 54"/>
                    <a:gd name="T10" fmla="*/ 2147483647 w 145"/>
                    <a:gd name="T11" fmla="*/ 2147483647 h 54"/>
                    <a:gd name="T12" fmla="*/ 2147483647 w 145"/>
                    <a:gd name="T13" fmla="*/ 2147483647 h 54"/>
                    <a:gd name="T14" fmla="*/ 2147483647 w 145"/>
                    <a:gd name="T15" fmla="*/ 2147483647 h 54"/>
                    <a:gd name="T16" fmla="*/ 2147483647 w 145"/>
                    <a:gd name="T17" fmla="*/ 2147483647 h 54"/>
                    <a:gd name="T18" fmla="*/ 2147483647 w 145"/>
                    <a:gd name="T19" fmla="*/ 2147483647 h 54"/>
                    <a:gd name="T20" fmla="*/ 2147483647 w 145"/>
                    <a:gd name="T21" fmla="*/ 2147483647 h 54"/>
                    <a:gd name="T22" fmla="*/ 2147483647 w 145"/>
                    <a:gd name="T23" fmla="*/ 2147483647 h 54"/>
                    <a:gd name="T24" fmla="*/ 2147483647 w 145"/>
                    <a:gd name="T25" fmla="*/ 2147483647 h 54"/>
                    <a:gd name="T26" fmla="*/ 2147483647 w 145"/>
                    <a:gd name="T27" fmla="*/ 2147483647 h 54"/>
                    <a:gd name="T28" fmla="*/ 2147483647 w 145"/>
                    <a:gd name="T29" fmla="*/ 2147483647 h 54"/>
                    <a:gd name="T30" fmla="*/ 2147483647 w 145"/>
                    <a:gd name="T31" fmla="*/ 0 h 54"/>
                    <a:gd name="T32" fmla="*/ 2147483647 w 145"/>
                    <a:gd name="T33" fmla="*/ 2147483647 h 54"/>
                    <a:gd name="T34" fmla="*/ 2147483647 w 145"/>
                    <a:gd name="T35" fmla="*/ 2147483647 h 54"/>
                    <a:gd name="T36" fmla="*/ 2147483647 w 145"/>
                    <a:gd name="T37" fmla="*/ 0 h 54"/>
                    <a:gd name="T38" fmla="*/ 2147483647 w 145"/>
                    <a:gd name="T39" fmla="*/ 2147483647 h 54"/>
                    <a:gd name="T40" fmla="*/ 0 w 145"/>
                    <a:gd name="T41" fmla="*/ 2147483647 h 54"/>
                    <a:gd name="T42" fmla="*/ 2147483647 w 145"/>
                    <a:gd name="T43" fmla="*/ 2147483647 h 54"/>
                    <a:gd name="T44" fmla="*/ 2147483647 w 145"/>
                    <a:gd name="T45" fmla="*/ 2147483647 h 54"/>
                    <a:gd name="T46" fmla="*/ 2147483647 w 145"/>
                    <a:gd name="T47" fmla="*/ 2147483647 h 54"/>
                    <a:gd name="T48" fmla="*/ 2147483647 w 145"/>
                    <a:gd name="T49" fmla="*/ 2147483647 h 54"/>
                    <a:gd name="T50" fmla="*/ 2147483647 w 145"/>
                    <a:gd name="T51" fmla="*/ 2147483647 h 54"/>
                    <a:gd name="T52" fmla="*/ 2147483647 w 145"/>
                    <a:gd name="T53" fmla="*/ 2147483647 h 54"/>
                    <a:gd name="T54" fmla="*/ 2147483647 w 145"/>
                    <a:gd name="T55" fmla="*/ 2147483647 h 54"/>
                    <a:gd name="T56" fmla="*/ 2147483647 w 145"/>
                    <a:gd name="T57" fmla="*/ 2147483647 h 54"/>
                    <a:gd name="T58" fmla="*/ 2147483647 w 145"/>
                    <a:gd name="T59" fmla="*/ 2147483647 h 54"/>
                    <a:gd name="T60" fmla="*/ 2147483647 w 145"/>
                    <a:gd name="T61" fmla="*/ 2147483647 h 54"/>
                    <a:gd name="T62" fmla="*/ 2147483647 w 145"/>
                    <a:gd name="T63" fmla="*/ 2147483647 h 54"/>
                    <a:gd name="T64" fmla="*/ 2147483647 w 145"/>
                    <a:gd name="T65" fmla="*/ 2147483647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5"/>
                    <a:gd name="T100" fmla="*/ 0 h 54"/>
                    <a:gd name="T101" fmla="*/ 145 w 145"/>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5" h="54">
                      <a:moveTo>
                        <a:pt x="144" y="51"/>
                      </a:moveTo>
                      <a:lnTo>
                        <a:pt x="143" y="49"/>
                      </a:lnTo>
                      <a:lnTo>
                        <a:pt x="143" y="47"/>
                      </a:lnTo>
                      <a:lnTo>
                        <a:pt x="145" y="41"/>
                      </a:lnTo>
                      <a:lnTo>
                        <a:pt x="145" y="39"/>
                      </a:lnTo>
                      <a:lnTo>
                        <a:pt x="144" y="38"/>
                      </a:lnTo>
                      <a:lnTo>
                        <a:pt x="141" y="37"/>
                      </a:lnTo>
                      <a:lnTo>
                        <a:pt x="139" y="37"/>
                      </a:lnTo>
                      <a:lnTo>
                        <a:pt x="134" y="37"/>
                      </a:lnTo>
                      <a:lnTo>
                        <a:pt x="129" y="36"/>
                      </a:lnTo>
                      <a:lnTo>
                        <a:pt x="126" y="34"/>
                      </a:lnTo>
                      <a:lnTo>
                        <a:pt x="124" y="32"/>
                      </a:lnTo>
                      <a:lnTo>
                        <a:pt x="121" y="31"/>
                      </a:lnTo>
                      <a:lnTo>
                        <a:pt x="120" y="31"/>
                      </a:lnTo>
                      <a:lnTo>
                        <a:pt x="117" y="31"/>
                      </a:lnTo>
                      <a:lnTo>
                        <a:pt x="116" y="31"/>
                      </a:lnTo>
                      <a:lnTo>
                        <a:pt x="110" y="24"/>
                      </a:lnTo>
                      <a:lnTo>
                        <a:pt x="102" y="19"/>
                      </a:lnTo>
                      <a:lnTo>
                        <a:pt x="93" y="17"/>
                      </a:lnTo>
                      <a:lnTo>
                        <a:pt x="89" y="17"/>
                      </a:lnTo>
                      <a:lnTo>
                        <a:pt x="86" y="17"/>
                      </a:lnTo>
                      <a:lnTo>
                        <a:pt x="70" y="19"/>
                      </a:lnTo>
                      <a:lnTo>
                        <a:pt x="64" y="19"/>
                      </a:lnTo>
                      <a:lnTo>
                        <a:pt x="56" y="18"/>
                      </a:lnTo>
                      <a:lnTo>
                        <a:pt x="54" y="15"/>
                      </a:lnTo>
                      <a:lnTo>
                        <a:pt x="53" y="13"/>
                      </a:lnTo>
                      <a:lnTo>
                        <a:pt x="51" y="11"/>
                      </a:lnTo>
                      <a:lnTo>
                        <a:pt x="49" y="9"/>
                      </a:lnTo>
                      <a:lnTo>
                        <a:pt x="42" y="7"/>
                      </a:lnTo>
                      <a:lnTo>
                        <a:pt x="37" y="5"/>
                      </a:lnTo>
                      <a:lnTo>
                        <a:pt x="28" y="0"/>
                      </a:lnTo>
                      <a:lnTo>
                        <a:pt x="27" y="0"/>
                      </a:lnTo>
                      <a:lnTo>
                        <a:pt x="25" y="1"/>
                      </a:lnTo>
                      <a:lnTo>
                        <a:pt x="21" y="2"/>
                      </a:lnTo>
                      <a:lnTo>
                        <a:pt x="18" y="2"/>
                      </a:lnTo>
                      <a:lnTo>
                        <a:pt x="17" y="2"/>
                      </a:lnTo>
                      <a:lnTo>
                        <a:pt x="16" y="1"/>
                      </a:lnTo>
                      <a:lnTo>
                        <a:pt x="16" y="0"/>
                      </a:lnTo>
                      <a:lnTo>
                        <a:pt x="12" y="1"/>
                      </a:lnTo>
                      <a:lnTo>
                        <a:pt x="9" y="2"/>
                      </a:lnTo>
                      <a:lnTo>
                        <a:pt x="6" y="6"/>
                      </a:lnTo>
                      <a:lnTo>
                        <a:pt x="0" y="17"/>
                      </a:lnTo>
                      <a:lnTo>
                        <a:pt x="6" y="20"/>
                      </a:lnTo>
                      <a:lnTo>
                        <a:pt x="9" y="25"/>
                      </a:lnTo>
                      <a:lnTo>
                        <a:pt x="12" y="27"/>
                      </a:lnTo>
                      <a:lnTo>
                        <a:pt x="16" y="30"/>
                      </a:lnTo>
                      <a:lnTo>
                        <a:pt x="21" y="31"/>
                      </a:lnTo>
                      <a:lnTo>
                        <a:pt x="25" y="32"/>
                      </a:lnTo>
                      <a:lnTo>
                        <a:pt x="27" y="32"/>
                      </a:lnTo>
                      <a:lnTo>
                        <a:pt x="30" y="32"/>
                      </a:lnTo>
                      <a:lnTo>
                        <a:pt x="36" y="34"/>
                      </a:lnTo>
                      <a:lnTo>
                        <a:pt x="40" y="37"/>
                      </a:lnTo>
                      <a:lnTo>
                        <a:pt x="44" y="38"/>
                      </a:lnTo>
                      <a:lnTo>
                        <a:pt x="46" y="38"/>
                      </a:lnTo>
                      <a:lnTo>
                        <a:pt x="49" y="36"/>
                      </a:lnTo>
                      <a:lnTo>
                        <a:pt x="50" y="36"/>
                      </a:lnTo>
                      <a:lnTo>
                        <a:pt x="51" y="36"/>
                      </a:lnTo>
                      <a:lnTo>
                        <a:pt x="70" y="41"/>
                      </a:lnTo>
                      <a:lnTo>
                        <a:pt x="89" y="45"/>
                      </a:lnTo>
                      <a:lnTo>
                        <a:pt x="110" y="49"/>
                      </a:lnTo>
                      <a:lnTo>
                        <a:pt x="130" y="50"/>
                      </a:lnTo>
                      <a:lnTo>
                        <a:pt x="133" y="52"/>
                      </a:lnTo>
                      <a:lnTo>
                        <a:pt x="136" y="54"/>
                      </a:lnTo>
                      <a:lnTo>
                        <a:pt x="139" y="54"/>
                      </a:lnTo>
                      <a:lnTo>
                        <a:pt x="140" y="53"/>
                      </a:lnTo>
                      <a:lnTo>
                        <a:pt x="141" y="51"/>
                      </a:lnTo>
                      <a:lnTo>
                        <a:pt x="144" y="5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2" name="Freeform 830"/>
                <p:cNvSpPr>
                  <a:spLocks/>
                </p:cNvSpPr>
                <p:nvPr/>
              </p:nvSpPr>
              <p:spPr bwMode="auto">
                <a:xfrm>
                  <a:off x="7098466" y="4790027"/>
                  <a:ext cx="198303" cy="79913"/>
                </a:xfrm>
                <a:custGeom>
                  <a:avLst/>
                  <a:gdLst>
                    <a:gd name="T0" fmla="*/ 2147483647 w 145"/>
                    <a:gd name="T1" fmla="*/ 2147483647 h 54"/>
                    <a:gd name="T2" fmla="*/ 2147483647 w 145"/>
                    <a:gd name="T3" fmla="*/ 2147483647 h 54"/>
                    <a:gd name="T4" fmla="*/ 2147483647 w 145"/>
                    <a:gd name="T5" fmla="*/ 2147483647 h 54"/>
                    <a:gd name="T6" fmla="*/ 2147483647 w 145"/>
                    <a:gd name="T7" fmla="*/ 2147483647 h 54"/>
                    <a:gd name="T8" fmla="*/ 2147483647 w 145"/>
                    <a:gd name="T9" fmla="*/ 2147483647 h 54"/>
                    <a:gd name="T10" fmla="*/ 2147483647 w 145"/>
                    <a:gd name="T11" fmla="*/ 2147483647 h 54"/>
                    <a:gd name="T12" fmla="*/ 2147483647 w 145"/>
                    <a:gd name="T13" fmla="*/ 2147483647 h 54"/>
                    <a:gd name="T14" fmla="*/ 2147483647 w 145"/>
                    <a:gd name="T15" fmla="*/ 2147483647 h 54"/>
                    <a:gd name="T16" fmla="*/ 2147483647 w 145"/>
                    <a:gd name="T17" fmla="*/ 2147483647 h 54"/>
                    <a:gd name="T18" fmla="*/ 2147483647 w 145"/>
                    <a:gd name="T19" fmla="*/ 2147483647 h 54"/>
                    <a:gd name="T20" fmla="*/ 2147483647 w 145"/>
                    <a:gd name="T21" fmla="*/ 2147483647 h 54"/>
                    <a:gd name="T22" fmla="*/ 2147483647 w 145"/>
                    <a:gd name="T23" fmla="*/ 2147483647 h 54"/>
                    <a:gd name="T24" fmla="*/ 2147483647 w 145"/>
                    <a:gd name="T25" fmla="*/ 2147483647 h 54"/>
                    <a:gd name="T26" fmla="*/ 2147483647 w 145"/>
                    <a:gd name="T27" fmla="*/ 2147483647 h 54"/>
                    <a:gd name="T28" fmla="*/ 2147483647 w 145"/>
                    <a:gd name="T29" fmla="*/ 2147483647 h 54"/>
                    <a:gd name="T30" fmla="*/ 2147483647 w 145"/>
                    <a:gd name="T31" fmla="*/ 2147483647 h 54"/>
                    <a:gd name="T32" fmla="*/ 2147483647 w 145"/>
                    <a:gd name="T33" fmla="*/ 2147483647 h 54"/>
                    <a:gd name="T34" fmla="*/ 2147483647 w 145"/>
                    <a:gd name="T35" fmla="*/ 2147483647 h 54"/>
                    <a:gd name="T36" fmla="*/ 2147483647 w 145"/>
                    <a:gd name="T37" fmla="*/ 2147483647 h 54"/>
                    <a:gd name="T38" fmla="*/ 2147483647 w 145"/>
                    <a:gd name="T39" fmla="*/ 0 h 54"/>
                    <a:gd name="T40" fmla="*/ 2147483647 w 145"/>
                    <a:gd name="T41" fmla="*/ 2147483647 h 54"/>
                    <a:gd name="T42" fmla="*/ 2147483647 w 145"/>
                    <a:gd name="T43" fmla="*/ 2147483647 h 54"/>
                    <a:gd name="T44" fmla="*/ 2147483647 w 145"/>
                    <a:gd name="T45" fmla="*/ 2147483647 h 54"/>
                    <a:gd name="T46" fmla="*/ 2147483647 w 145"/>
                    <a:gd name="T47" fmla="*/ 0 h 54"/>
                    <a:gd name="T48" fmla="*/ 2147483647 w 145"/>
                    <a:gd name="T49" fmla="*/ 2147483647 h 54"/>
                    <a:gd name="T50" fmla="*/ 2147483647 w 145"/>
                    <a:gd name="T51" fmla="*/ 2147483647 h 54"/>
                    <a:gd name="T52" fmla="*/ 0 w 145"/>
                    <a:gd name="T53" fmla="*/ 2147483647 h 54"/>
                    <a:gd name="T54" fmla="*/ 2147483647 w 145"/>
                    <a:gd name="T55" fmla="*/ 2147483647 h 54"/>
                    <a:gd name="T56" fmla="*/ 2147483647 w 145"/>
                    <a:gd name="T57" fmla="*/ 2147483647 h 54"/>
                    <a:gd name="T58" fmla="*/ 2147483647 w 145"/>
                    <a:gd name="T59" fmla="*/ 2147483647 h 54"/>
                    <a:gd name="T60" fmla="*/ 2147483647 w 145"/>
                    <a:gd name="T61" fmla="*/ 2147483647 h 54"/>
                    <a:gd name="T62" fmla="*/ 2147483647 w 145"/>
                    <a:gd name="T63" fmla="*/ 2147483647 h 54"/>
                    <a:gd name="T64" fmla="*/ 2147483647 w 145"/>
                    <a:gd name="T65" fmla="*/ 2147483647 h 54"/>
                    <a:gd name="T66" fmla="*/ 2147483647 w 145"/>
                    <a:gd name="T67" fmla="*/ 2147483647 h 54"/>
                    <a:gd name="T68" fmla="*/ 2147483647 w 145"/>
                    <a:gd name="T69" fmla="*/ 2147483647 h 54"/>
                    <a:gd name="T70" fmla="*/ 2147483647 w 145"/>
                    <a:gd name="T71" fmla="*/ 2147483647 h 54"/>
                    <a:gd name="T72" fmla="*/ 2147483647 w 145"/>
                    <a:gd name="T73" fmla="*/ 2147483647 h 54"/>
                    <a:gd name="T74" fmla="*/ 2147483647 w 145"/>
                    <a:gd name="T75" fmla="*/ 2147483647 h 54"/>
                    <a:gd name="T76" fmla="*/ 2147483647 w 145"/>
                    <a:gd name="T77" fmla="*/ 2147483647 h 54"/>
                    <a:gd name="T78" fmla="*/ 2147483647 w 145"/>
                    <a:gd name="T79" fmla="*/ 2147483647 h 54"/>
                    <a:gd name="T80" fmla="*/ 2147483647 w 145"/>
                    <a:gd name="T81" fmla="*/ 2147483647 h 54"/>
                    <a:gd name="T82" fmla="*/ 2147483647 w 145"/>
                    <a:gd name="T83" fmla="*/ 2147483647 h 54"/>
                    <a:gd name="T84" fmla="*/ 2147483647 w 145"/>
                    <a:gd name="T85" fmla="*/ 2147483647 h 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54"/>
                    <a:gd name="T131" fmla="*/ 145 w 145"/>
                    <a:gd name="T132" fmla="*/ 54 h 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54">
                      <a:moveTo>
                        <a:pt x="144" y="51"/>
                      </a:moveTo>
                      <a:lnTo>
                        <a:pt x="144" y="51"/>
                      </a:lnTo>
                      <a:lnTo>
                        <a:pt x="142" y="48"/>
                      </a:lnTo>
                      <a:lnTo>
                        <a:pt x="142" y="47"/>
                      </a:lnTo>
                      <a:lnTo>
                        <a:pt x="145" y="41"/>
                      </a:lnTo>
                      <a:lnTo>
                        <a:pt x="145" y="39"/>
                      </a:lnTo>
                      <a:lnTo>
                        <a:pt x="144" y="38"/>
                      </a:lnTo>
                      <a:lnTo>
                        <a:pt x="141" y="37"/>
                      </a:lnTo>
                      <a:lnTo>
                        <a:pt x="139" y="37"/>
                      </a:lnTo>
                      <a:lnTo>
                        <a:pt x="134" y="37"/>
                      </a:lnTo>
                      <a:lnTo>
                        <a:pt x="128" y="35"/>
                      </a:lnTo>
                      <a:lnTo>
                        <a:pt x="126" y="34"/>
                      </a:lnTo>
                      <a:lnTo>
                        <a:pt x="123" y="32"/>
                      </a:lnTo>
                      <a:lnTo>
                        <a:pt x="121" y="31"/>
                      </a:lnTo>
                      <a:lnTo>
                        <a:pt x="120" y="31"/>
                      </a:lnTo>
                      <a:lnTo>
                        <a:pt x="117" y="31"/>
                      </a:lnTo>
                      <a:lnTo>
                        <a:pt x="116" y="31"/>
                      </a:lnTo>
                      <a:lnTo>
                        <a:pt x="109" y="23"/>
                      </a:lnTo>
                      <a:lnTo>
                        <a:pt x="102" y="19"/>
                      </a:lnTo>
                      <a:lnTo>
                        <a:pt x="93" y="16"/>
                      </a:lnTo>
                      <a:lnTo>
                        <a:pt x="89" y="16"/>
                      </a:lnTo>
                      <a:lnTo>
                        <a:pt x="85" y="16"/>
                      </a:lnTo>
                      <a:lnTo>
                        <a:pt x="70" y="19"/>
                      </a:lnTo>
                      <a:lnTo>
                        <a:pt x="64" y="19"/>
                      </a:lnTo>
                      <a:lnTo>
                        <a:pt x="56" y="18"/>
                      </a:lnTo>
                      <a:lnTo>
                        <a:pt x="54" y="15"/>
                      </a:lnTo>
                      <a:lnTo>
                        <a:pt x="52" y="13"/>
                      </a:lnTo>
                      <a:lnTo>
                        <a:pt x="51" y="10"/>
                      </a:lnTo>
                      <a:lnTo>
                        <a:pt x="48" y="9"/>
                      </a:lnTo>
                      <a:lnTo>
                        <a:pt x="42" y="7"/>
                      </a:lnTo>
                      <a:lnTo>
                        <a:pt x="37" y="5"/>
                      </a:lnTo>
                      <a:lnTo>
                        <a:pt x="28" y="0"/>
                      </a:lnTo>
                      <a:lnTo>
                        <a:pt x="27" y="0"/>
                      </a:lnTo>
                      <a:lnTo>
                        <a:pt x="24" y="1"/>
                      </a:lnTo>
                      <a:lnTo>
                        <a:pt x="21" y="2"/>
                      </a:lnTo>
                      <a:lnTo>
                        <a:pt x="18" y="2"/>
                      </a:lnTo>
                      <a:lnTo>
                        <a:pt x="17" y="2"/>
                      </a:lnTo>
                      <a:lnTo>
                        <a:pt x="15" y="1"/>
                      </a:lnTo>
                      <a:lnTo>
                        <a:pt x="15" y="0"/>
                      </a:lnTo>
                      <a:lnTo>
                        <a:pt x="12" y="1"/>
                      </a:lnTo>
                      <a:lnTo>
                        <a:pt x="9" y="2"/>
                      </a:lnTo>
                      <a:lnTo>
                        <a:pt x="5" y="6"/>
                      </a:lnTo>
                      <a:lnTo>
                        <a:pt x="0" y="16"/>
                      </a:lnTo>
                      <a:lnTo>
                        <a:pt x="5" y="20"/>
                      </a:lnTo>
                      <a:lnTo>
                        <a:pt x="9" y="25"/>
                      </a:lnTo>
                      <a:lnTo>
                        <a:pt x="12" y="27"/>
                      </a:lnTo>
                      <a:lnTo>
                        <a:pt x="15" y="29"/>
                      </a:lnTo>
                      <a:lnTo>
                        <a:pt x="21" y="31"/>
                      </a:lnTo>
                      <a:lnTo>
                        <a:pt x="24" y="32"/>
                      </a:lnTo>
                      <a:lnTo>
                        <a:pt x="27" y="32"/>
                      </a:lnTo>
                      <a:lnTo>
                        <a:pt x="29" y="32"/>
                      </a:lnTo>
                      <a:lnTo>
                        <a:pt x="36" y="34"/>
                      </a:lnTo>
                      <a:lnTo>
                        <a:pt x="40" y="37"/>
                      </a:lnTo>
                      <a:lnTo>
                        <a:pt x="43" y="38"/>
                      </a:lnTo>
                      <a:lnTo>
                        <a:pt x="46" y="38"/>
                      </a:lnTo>
                      <a:lnTo>
                        <a:pt x="48" y="35"/>
                      </a:lnTo>
                      <a:lnTo>
                        <a:pt x="50" y="35"/>
                      </a:lnTo>
                      <a:lnTo>
                        <a:pt x="51" y="35"/>
                      </a:lnTo>
                      <a:lnTo>
                        <a:pt x="70" y="41"/>
                      </a:lnTo>
                      <a:lnTo>
                        <a:pt x="89" y="45"/>
                      </a:lnTo>
                      <a:lnTo>
                        <a:pt x="109" y="48"/>
                      </a:lnTo>
                      <a:lnTo>
                        <a:pt x="130" y="50"/>
                      </a:lnTo>
                      <a:lnTo>
                        <a:pt x="132" y="52"/>
                      </a:lnTo>
                      <a:lnTo>
                        <a:pt x="136" y="54"/>
                      </a:lnTo>
                      <a:lnTo>
                        <a:pt x="139" y="54"/>
                      </a:lnTo>
                      <a:lnTo>
                        <a:pt x="140" y="53"/>
                      </a:lnTo>
                      <a:lnTo>
                        <a:pt x="141" y="51"/>
                      </a:lnTo>
                      <a:lnTo>
                        <a:pt x="144" y="5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3" name="Freeform 835"/>
                <p:cNvSpPr>
                  <a:spLocks/>
                </p:cNvSpPr>
                <p:nvPr/>
              </p:nvSpPr>
              <p:spPr bwMode="auto">
                <a:xfrm>
                  <a:off x="7406282" y="4889179"/>
                  <a:ext cx="44396" cy="25158"/>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0 w 33"/>
                    <a:gd name="T13" fmla="*/ 2147483647 h 17"/>
                    <a:gd name="T14" fmla="*/ 0 w 33"/>
                    <a:gd name="T15" fmla="*/ 2147483647 h 17"/>
                    <a:gd name="T16" fmla="*/ 2147483647 w 33"/>
                    <a:gd name="T17" fmla="*/ 2147483647 h 17"/>
                    <a:gd name="T18" fmla="*/ 2147483647 w 33"/>
                    <a:gd name="T19" fmla="*/ 2147483647 h 17"/>
                    <a:gd name="T20" fmla="*/ 2147483647 w 33"/>
                    <a:gd name="T21" fmla="*/ 0 h 17"/>
                    <a:gd name="T22" fmla="*/ 2147483647 w 33"/>
                    <a:gd name="T23" fmla="*/ 0 h 17"/>
                    <a:gd name="T24" fmla="*/ 2147483647 w 33"/>
                    <a:gd name="T25" fmla="*/ 0 h 17"/>
                    <a:gd name="T26" fmla="*/ 2147483647 w 33"/>
                    <a:gd name="T27" fmla="*/ 2147483647 h 17"/>
                    <a:gd name="T28" fmla="*/ 2147483647 w 33"/>
                    <a:gd name="T29" fmla="*/ 2147483647 h 17"/>
                    <a:gd name="T30" fmla="*/ 2147483647 w 33"/>
                    <a:gd name="T31" fmla="*/ 2147483647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
                    <a:gd name="T64" fmla="*/ 0 h 17"/>
                    <a:gd name="T65" fmla="*/ 33 w 33"/>
                    <a:gd name="T66" fmla="*/ 17 h 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 h="17">
                      <a:moveTo>
                        <a:pt x="23" y="16"/>
                      </a:moveTo>
                      <a:lnTo>
                        <a:pt x="18" y="11"/>
                      </a:lnTo>
                      <a:lnTo>
                        <a:pt x="16" y="11"/>
                      </a:lnTo>
                      <a:lnTo>
                        <a:pt x="11" y="11"/>
                      </a:lnTo>
                      <a:lnTo>
                        <a:pt x="3" y="11"/>
                      </a:lnTo>
                      <a:lnTo>
                        <a:pt x="1" y="11"/>
                      </a:lnTo>
                      <a:lnTo>
                        <a:pt x="0" y="9"/>
                      </a:lnTo>
                      <a:lnTo>
                        <a:pt x="0" y="7"/>
                      </a:lnTo>
                      <a:lnTo>
                        <a:pt x="1" y="4"/>
                      </a:lnTo>
                      <a:lnTo>
                        <a:pt x="4" y="2"/>
                      </a:lnTo>
                      <a:lnTo>
                        <a:pt x="8" y="0"/>
                      </a:lnTo>
                      <a:lnTo>
                        <a:pt x="13" y="0"/>
                      </a:lnTo>
                      <a:lnTo>
                        <a:pt x="19" y="0"/>
                      </a:lnTo>
                      <a:lnTo>
                        <a:pt x="24" y="2"/>
                      </a:lnTo>
                      <a:lnTo>
                        <a:pt x="29" y="4"/>
                      </a:lnTo>
                      <a:lnTo>
                        <a:pt x="32" y="7"/>
                      </a:lnTo>
                      <a:lnTo>
                        <a:pt x="33" y="12"/>
                      </a:lnTo>
                      <a:lnTo>
                        <a:pt x="32" y="16"/>
                      </a:lnTo>
                      <a:lnTo>
                        <a:pt x="29" y="17"/>
                      </a:lnTo>
                      <a:lnTo>
                        <a:pt x="25" y="17"/>
                      </a:lnTo>
                      <a:lnTo>
                        <a:pt x="23" y="1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4" name="Freeform 836"/>
                <p:cNvSpPr>
                  <a:spLocks/>
                </p:cNvSpPr>
                <p:nvPr/>
              </p:nvSpPr>
              <p:spPr bwMode="auto">
                <a:xfrm>
                  <a:off x="7449198" y="4792986"/>
                  <a:ext cx="5919" cy="16278"/>
                </a:xfrm>
                <a:custGeom>
                  <a:avLst/>
                  <a:gdLst>
                    <a:gd name="T0" fmla="*/ 2147483647 w 4"/>
                    <a:gd name="T1" fmla="*/ 2147483647 h 11"/>
                    <a:gd name="T2" fmla="*/ 2147483647 w 4"/>
                    <a:gd name="T3" fmla="*/ 2147483647 h 11"/>
                    <a:gd name="T4" fmla="*/ 2147483647 w 4"/>
                    <a:gd name="T5" fmla="*/ 2147483647 h 11"/>
                    <a:gd name="T6" fmla="*/ 0 w 4"/>
                    <a:gd name="T7" fmla="*/ 2147483647 h 11"/>
                    <a:gd name="T8" fmla="*/ 0 w 4"/>
                    <a:gd name="T9" fmla="*/ 2147483647 h 11"/>
                    <a:gd name="T10" fmla="*/ 0 w 4"/>
                    <a:gd name="T11" fmla="*/ 2147483647 h 11"/>
                    <a:gd name="T12" fmla="*/ 2147483647 w 4"/>
                    <a:gd name="T13" fmla="*/ 0 h 11"/>
                    <a:gd name="T14" fmla="*/ 2147483647 w 4"/>
                    <a:gd name="T15" fmla="*/ 2147483647 h 11"/>
                    <a:gd name="T16" fmla="*/ 2147483647 w 4"/>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4" y="7"/>
                      </a:moveTo>
                      <a:lnTo>
                        <a:pt x="2" y="8"/>
                      </a:lnTo>
                      <a:lnTo>
                        <a:pt x="2" y="11"/>
                      </a:lnTo>
                      <a:lnTo>
                        <a:pt x="0" y="8"/>
                      </a:lnTo>
                      <a:lnTo>
                        <a:pt x="0" y="5"/>
                      </a:lnTo>
                      <a:lnTo>
                        <a:pt x="0" y="3"/>
                      </a:lnTo>
                      <a:lnTo>
                        <a:pt x="2" y="0"/>
                      </a:lnTo>
                      <a:lnTo>
                        <a:pt x="4" y="4"/>
                      </a:lnTo>
                      <a:lnTo>
                        <a:pt x="4" y="7"/>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5" name="Freeform 837"/>
                <p:cNvSpPr>
                  <a:spLocks/>
                </p:cNvSpPr>
                <p:nvPr/>
              </p:nvSpPr>
              <p:spPr bwMode="auto">
                <a:xfrm>
                  <a:off x="7404803" y="4887701"/>
                  <a:ext cx="44396" cy="25157"/>
                </a:xfrm>
                <a:custGeom>
                  <a:avLst/>
                  <a:gdLst>
                    <a:gd name="T0" fmla="*/ 2147483647 w 33"/>
                    <a:gd name="T1" fmla="*/ 2147483647 h 17"/>
                    <a:gd name="T2" fmla="*/ 2147483647 w 33"/>
                    <a:gd name="T3" fmla="*/ 2147483647 h 17"/>
                    <a:gd name="T4" fmla="*/ 2147483647 w 33"/>
                    <a:gd name="T5" fmla="*/ 2147483647 h 17"/>
                    <a:gd name="T6" fmla="*/ 2147483647 w 33"/>
                    <a:gd name="T7" fmla="*/ 2147483647 h 17"/>
                    <a:gd name="T8" fmla="*/ 2147483647 w 33"/>
                    <a:gd name="T9" fmla="*/ 2147483647 h 17"/>
                    <a:gd name="T10" fmla="*/ 2147483647 w 33"/>
                    <a:gd name="T11" fmla="*/ 2147483647 h 17"/>
                    <a:gd name="T12" fmla="*/ 2147483647 w 33"/>
                    <a:gd name="T13" fmla="*/ 2147483647 h 17"/>
                    <a:gd name="T14" fmla="*/ 2147483647 w 33"/>
                    <a:gd name="T15" fmla="*/ 2147483647 h 17"/>
                    <a:gd name="T16" fmla="*/ 0 w 33"/>
                    <a:gd name="T17" fmla="*/ 2147483647 h 17"/>
                    <a:gd name="T18" fmla="*/ 0 w 33"/>
                    <a:gd name="T19" fmla="*/ 2147483647 h 17"/>
                    <a:gd name="T20" fmla="*/ 2147483647 w 33"/>
                    <a:gd name="T21" fmla="*/ 2147483647 h 17"/>
                    <a:gd name="T22" fmla="*/ 2147483647 w 33"/>
                    <a:gd name="T23" fmla="*/ 2147483647 h 17"/>
                    <a:gd name="T24" fmla="*/ 2147483647 w 33"/>
                    <a:gd name="T25" fmla="*/ 2147483647 h 17"/>
                    <a:gd name="T26" fmla="*/ 2147483647 w 33"/>
                    <a:gd name="T27" fmla="*/ 0 h 17"/>
                    <a:gd name="T28" fmla="*/ 2147483647 w 33"/>
                    <a:gd name="T29" fmla="*/ 0 h 17"/>
                    <a:gd name="T30" fmla="*/ 2147483647 w 33"/>
                    <a:gd name="T31" fmla="*/ 0 h 17"/>
                    <a:gd name="T32" fmla="*/ 2147483647 w 33"/>
                    <a:gd name="T33" fmla="*/ 2147483647 h 17"/>
                    <a:gd name="T34" fmla="*/ 2147483647 w 33"/>
                    <a:gd name="T35" fmla="*/ 2147483647 h 17"/>
                    <a:gd name="T36" fmla="*/ 2147483647 w 33"/>
                    <a:gd name="T37" fmla="*/ 2147483647 h 17"/>
                    <a:gd name="T38" fmla="*/ 2147483647 w 33"/>
                    <a:gd name="T39" fmla="*/ 2147483647 h 17"/>
                    <a:gd name="T40" fmla="*/ 2147483647 w 33"/>
                    <a:gd name="T41" fmla="*/ 2147483647 h 17"/>
                    <a:gd name="T42" fmla="*/ 2147483647 w 33"/>
                    <a:gd name="T43" fmla="*/ 2147483647 h 17"/>
                    <a:gd name="T44" fmla="*/ 2147483647 w 33"/>
                    <a:gd name="T45" fmla="*/ 2147483647 h 17"/>
                    <a:gd name="T46" fmla="*/ 2147483647 w 33"/>
                    <a:gd name="T47" fmla="*/ 2147483647 h 17"/>
                    <a:gd name="T48" fmla="*/ 2147483647 w 33"/>
                    <a:gd name="T49" fmla="*/ 2147483647 h 17"/>
                    <a:gd name="T50" fmla="*/ 2147483647 w 33"/>
                    <a:gd name="T51" fmla="*/ 2147483647 h 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17"/>
                    <a:gd name="T80" fmla="*/ 33 w 33"/>
                    <a:gd name="T81" fmla="*/ 17 h 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17">
                      <a:moveTo>
                        <a:pt x="23" y="16"/>
                      </a:moveTo>
                      <a:lnTo>
                        <a:pt x="23" y="16"/>
                      </a:lnTo>
                      <a:lnTo>
                        <a:pt x="17" y="11"/>
                      </a:lnTo>
                      <a:lnTo>
                        <a:pt x="16" y="11"/>
                      </a:lnTo>
                      <a:lnTo>
                        <a:pt x="11" y="11"/>
                      </a:lnTo>
                      <a:lnTo>
                        <a:pt x="2" y="11"/>
                      </a:lnTo>
                      <a:lnTo>
                        <a:pt x="1" y="11"/>
                      </a:lnTo>
                      <a:lnTo>
                        <a:pt x="0" y="8"/>
                      </a:lnTo>
                      <a:lnTo>
                        <a:pt x="0" y="7"/>
                      </a:lnTo>
                      <a:lnTo>
                        <a:pt x="1" y="4"/>
                      </a:lnTo>
                      <a:lnTo>
                        <a:pt x="4" y="1"/>
                      </a:lnTo>
                      <a:lnTo>
                        <a:pt x="7" y="0"/>
                      </a:lnTo>
                      <a:lnTo>
                        <a:pt x="12" y="0"/>
                      </a:lnTo>
                      <a:lnTo>
                        <a:pt x="19" y="0"/>
                      </a:lnTo>
                      <a:lnTo>
                        <a:pt x="24" y="1"/>
                      </a:lnTo>
                      <a:lnTo>
                        <a:pt x="29" y="4"/>
                      </a:lnTo>
                      <a:lnTo>
                        <a:pt x="31" y="7"/>
                      </a:lnTo>
                      <a:lnTo>
                        <a:pt x="33" y="12"/>
                      </a:lnTo>
                      <a:lnTo>
                        <a:pt x="31" y="16"/>
                      </a:lnTo>
                      <a:lnTo>
                        <a:pt x="29" y="17"/>
                      </a:lnTo>
                      <a:lnTo>
                        <a:pt x="25" y="17"/>
                      </a:lnTo>
                      <a:lnTo>
                        <a:pt x="23"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6" name="Freeform 838"/>
                <p:cNvSpPr>
                  <a:spLocks/>
                </p:cNvSpPr>
                <p:nvPr/>
              </p:nvSpPr>
              <p:spPr bwMode="auto">
                <a:xfrm>
                  <a:off x="7447717" y="4791511"/>
                  <a:ext cx="4440" cy="16279"/>
                </a:xfrm>
                <a:custGeom>
                  <a:avLst/>
                  <a:gdLst>
                    <a:gd name="T0" fmla="*/ 2147483647 w 4"/>
                    <a:gd name="T1" fmla="*/ 2147483647 h 11"/>
                    <a:gd name="T2" fmla="*/ 2147483647 w 4"/>
                    <a:gd name="T3" fmla="*/ 2147483647 h 11"/>
                    <a:gd name="T4" fmla="*/ 2147483647 w 4"/>
                    <a:gd name="T5" fmla="*/ 2147483647 h 11"/>
                    <a:gd name="T6" fmla="*/ 2147483647 w 4"/>
                    <a:gd name="T7" fmla="*/ 2147483647 h 11"/>
                    <a:gd name="T8" fmla="*/ 2147483647 w 4"/>
                    <a:gd name="T9" fmla="*/ 2147483647 h 11"/>
                    <a:gd name="T10" fmla="*/ 0 w 4"/>
                    <a:gd name="T11" fmla="*/ 2147483647 h 11"/>
                    <a:gd name="T12" fmla="*/ 0 w 4"/>
                    <a:gd name="T13" fmla="*/ 2147483647 h 11"/>
                    <a:gd name="T14" fmla="*/ 0 w 4"/>
                    <a:gd name="T15" fmla="*/ 2147483647 h 11"/>
                    <a:gd name="T16" fmla="*/ 2147483647 w 4"/>
                    <a:gd name="T17" fmla="*/ 0 h 11"/>
                    <a:gd name="T18" fmla="*/ 2147483647 w 4"/>
                    <a:gd name="T19" fmla="*/ 0 h 11"/>
                    <a:gd name="T20" fmla="*/ 2147483647 w 4"/>
                    <a:gd name="T21" fmla="*/ 2147483647 h 11"/>
                    <a:gd name="T22" fmla="*/ 2147483647 w 4"/>
                    <a:gd name="T23" fmla="*/ 2147483647 h 11"/>
                    <a:gd name="T24" fmla="*/ 2147483647 w 4"/>
                    <a:gd name="T25" fmla="*/ 2147483647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1"/>
                    <a:gd name="T41" fmla="*/ 4 w 4"/>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1">
                      <a:moveTo>
                        <a:pt x="4" y="7"/>
                      </a:moveTo>
                      <a:lnTo>
                        <a:pt x="4" y="7"/>
                      </a:lnTo>
                      <a:lnTo>
                        <a:pt x="3" y="8"/>
                      </a:lnTo>
                      <a:lnTo>
                        <a:pt x="3" y="11"/>
                      </a:lnTo>
                      <a:lnTo>
                        <a:pt x="0" y="8"/>
                      </a:lnTo>
                      <a:lnTo>
                        <a:pt x="0" y="5"/>
                      </a:lnTo>
                      <a:lnTo>
                        <a:pt x="0" y="2"/>
                      </a:lnTo>
                      <a:lnTo>
                        <a:pt x="3" y="0"/>
                      </a:lnTo>
                      <a:lnTo>
                        <a:pt x="4" y="4"/>
                      </a:lnTo>
                      <a:lnTo>
                        <a:pt x="4" y="7"/>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7" name="Freeform 840"/>
                <p:cNvSpPr>
                  <a:spLocks/>
                </p:cNvSpPr>
                <p:nvPr/>
              </p:nvSpPr>
              <p:spPr bwMode="auto">
                <a:xfrm>
                  <a:off x="7364843" y="4866981"/>
                  <a:ext cx="26637" cy="13319"/>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2147483647 w 19"/>
                    <a:gd name="T9" fmla="*/ 2147483647 h 9"/>
                    <a:gd name="T10" fmla="*/ 0 w 19"/>
                    <a:gd name="T11" fmla="*/ 2147483647 h 9"/>
                    <a:gd name="T12" fmla="*/ 0 w 19"/>
                    <a:gd name="T13" fmla="*/ 2147483647 h 9"/>
                    <a:gd name="T14" fmla="*/ 2147483647 w 19"/>
                    <a:gd name="T15" fmla="*/ 2147483647 h 9"/>
                    <a:gd name="T16" fmla="*/ 2147483647 w 19"/>
                    <a:gd name="T17" fmla="*/ 2147483647 h 9"/>
                    <a:gd name="T18" fmla="*/ 2147483647 w 19"/>
                    <a:gd name="T19" fmla="*/ 2147483647 h 9"/>
                    <a:gd name="T20" fmla="*/ 2147483647 w 19"/>
                    <a:gd name="T21" fmla="*/ 2147483647 h 9"/>
                    <a:gd name="T22" fmla="*/ 2147483647 w 19"/>
                    <a:gd name="T23" fmla="*/ 2147483647 h 9"/>
                    <a:gd name="T24" fmla="*/ 2147483647 w 19"/>
                    <a:gd name="T25" fmla="*/ 2147483647 h 9"/>
                    <a:gd name="T26" fmla="*/ 2147483647 w 19"/>
                    <a:gd name="T27" fmla="*/ 2147483647 h 9"/>
                    <a:gd name="T28" fmla="*/ 2147483647 w 19"/>
                    <a:gd name="T29" fmla="*/ 2147483647 h 9"/>
                    <a:gd name="T30" fmla="*/ 2147483647 w 19"/>
                    <a:gd name="T31" fmla="*/ 2147483647 h 9"/>
                    <a:gd name="T32" fmla="*/ 2147483647 w 19"/>
                    <a:gd name="T33" fmla="*/ 2147483647 h 9"/>
                    <a:gd name="T34" fmla="*/ 2147483647 w 19"/>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9"/>
                    <a:gd name="T56" fmla="*/ 19 w 19"/>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9">
                      <a:moveTo>
                        <a:pt x="16" y="2"/>
                      </a:moveTo>
                      <a:lnTo>
                        <a:pt x="10" y="1"/>
                      </a:lnTo>
                      <a:lnTo>
                        <a:pt x="5" y="0"/>
                      </a:lnTo>
                      <a:lnTo>
                        <a:pt x="3" y="1"/>
                      </a:lnTo>
                      <a:lnTo>
                        <a:pt x="1" y="2"/>
                      </a:lnTo>
                      <a:lnTo>
                        <a:pt x="0" y="5"/>
                      </a:lnTo>
                      <a:lnTo>
                        <a:pt x="0" y="7"/>
                      </a:lnTo>
                      <a:lnTo>
                        <a:pt x="2" y="7"/>
                      </a:lnTo>
                      <a:lnTo>
                        <a:pt x="6" y="7"/>
                      </a:lnTo>
                      <a:lnTo>
                        <a:pt x="8" y="7"/>
                      </a:lnTo>
                      <a:lnTo>
                        <a:pt x="12" y="8"/>
                      </a:lnTo>
                      <a:lnTo>
                        <a:pt x="15" y="9"/>
                      </a:lnTo>
                      <a:lnTo>
                        <a:pt x="16" y="9"/>
                      </a:lnTo>
                      <a:lnTo>
                        <a:pt x="17" y="8"/>
                      </a:lnTo>
                      <a:lnTo>
                        <a:pt x="19" y="6"/>
                      </a:lnTo>
                      <a:lnTo>
                        <a:pt x="19" y="5"/>
                      </a:lnTo>
                      <a:lnTo>
                        <a:pt x="17" y="3"/>
                      </a:lnTo>
                      <a:lnTo>
                        <a:pt x="16"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8" name="Freeform 842"/>
                <p:cNvSpPr>
                  <a:spLocks/>
                </p:cNvSpPr>
                <p:nvPr/>
              </p:nvSpPr>
              <p:spPr bwMode="auto">
                <a:xfrm>
                  <a:off x="7361886" y="4865500"/>
                  <a:ext cx="26637" cy="13319"/>
                </a:xfrm>
                <a:custGeom>
                  <a:avLst/>
                  <a:gdLst>
                    <a:gd name="T0" fmla="*/ 2147483647 w 19"/>
                    <a:gd name="T1" fmla="*/ 2147483647 h 9"/>
                    <a:gd name="T2" fmla="*/ 2147483647 w 19"/>
                    <a:gd name="T3" fmla="*/ 2147483647 h 9"/>
                    <a:gd name="T4" fmla="*/ 2147483647 w 19"/>
                    <a:gd name="T5" fmla="*/ 2147483647 h 9"/>
                    <a:gd name="T6" fmla="*/ 2147483647 w 19"/>
                    <a:gd name="T7" fmla="*/ 0 h 9"/>
                    <a:gd name="T8" fmla="*/ 2147483647 w 19"/>
                    <a:gd name="T9" fmla="*/ 0 h 9"/>
                    <a:gd name="T10" fmla="*/ 2147483647 w 19"/>
                    <a:gd name="T11" fmla="*/ 2147483647 h 9"/>
                    <a:gd name="T12" fmla="*/ 2147483647 w 19"/>
                    <a:gd name="T13" fmla="*/ 2147483647 h 9"/>
                    <a:gd name="T14" fmla="*/ 0 w 19"/>
                    <a:gd name="T15" fmla="*/ 2147483647 h 9"/>
                    <a:gd name="T16" fmla="*/ 0 w 19"/>
                    <a:gd name="T17" fmla="*/ 2147483647 h 9"/>
                    <a:gd name="T18" fmla="*/ 0 w 19"/>
                    <a:gd name="T19" fmla="*/ 2147483647 h 9"/>
                    <a:gd name="T20" fmla="*/ 2147483647 w 19"/>
                    <a:gd name="T21" fmla="*/ 2147483647 h 9"/>
                    <a:gd name="T22" fmla="*/ 2147483647 w 19"/>
                    <a:gd name="T23" fmla="*/ 2147483647 h 9"/>
                    <a:gd name="T24" fmla="*/ 2147483647 w 19"/>
                    <a:gd name="T25" fmla="*/ 2147483647 h 9"/>
                    <a:gd name="T26" fmla="*/ 2147483647 w 19"/>
                    <a:gd name="T27" fmla="*/ 2147483647 h 9"/>
                    <a:gd name="T28" fmla="*/ 2147483647 w 19"/>
                    <a:gd name="T29" fmla="*/ 2147483647 h 9"/>
                    <a:gd name="T30" fmla="*/ 2147483647 w 19"/>
                    <a:gd name="T31" fmla="*/ 2147483647 h 9"/>
                    <a:gd name="T32" fmla="*/ 2147483647 w 19"/>
                    <a:gd name="T33" fmla="*/ 2147483647 h 9"/>
                    <a:gd name="T34" fmla="*/ 2147483647 w 19"/>
                    <a:gd name="T35" fmla="*/ 2147483647 h 9"/>
                    <a:gd name="T36" fmla="*/ 2147483647 w 19"/>
                    <a:gd name="T37" fmla="*/ 2147483647 h 9"/>
                    <a:gd name="T38" fmla="*/ 2147483647 w 19"/>
                    <a:gd name="T39" fmla="*/ 2147483647 h 9"/>
                    <a:gd name="T40" fmla="*/ 2147483647 w 19"/>
                    <a:gd name="T41" fmla="*/ 2147483647 h 9"/>
                    <a:gd name="T42" fmla="*/ 2147483647 w 19"/>
                    <a:gd name="T43" fmla="*/ 2147483647 h 9"/>
                    <a:gd name="T44" fmla="*/ 2147483647 w 19"/>
                    <a:gd name="T45" fmla="*/ 2147483647 h 9"/>
                    <a:gd name="T46" fmla="*/ 2147483647 w 19"/>
                    <a:gd name="T47" fmla="*/ 2147483647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9"/>
                    <a:gd name="T74" fmla="*/ 19 w 1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9">
                      <a:moveTo>
                        <a:pt x="17" y="2"/>
                      </a:moveTo>
                      <a:lnTo>
                        <a:pt x="17" y="2"/>
                      </a:lnTo>
                      <a:lnTo>
                        <a:pt x="10" y="1"/>
                      </a:lnTo>
                      <a:lnTo>
                        <a:pt x="5" y="0"/>
                      </a:lnTo>
                      <a:lnTo>
                        <a:pt x="4" y="1"/>
                      </a:lnTo>
                      <a:lnTo>
                        <a:pt x="2" y="2"/>
                      </a:lnTo>
                      <a:lnTo>
                        <a:pt x="0" y="4"/>
                      </a:lnTo>
                      <a:lnTo>
                        <a:pt x="0" y="7"/>
                      </a:lnTo>
                      <a:lnTo>
                        <a:pt x="3" y="7"/>
                      </a:lnTo>
                      <a:lnTo>
                        <a:pt x="7" y="7"/>
                      </a:lnTo>
                      <a:lnTo>
                        <a:pt x="9" y="7"/>
                      </a:lnTo>
                      <a:lnTo>
                        <a:pt x="13" y="8"/>
                      </a:lnTo>
                      <a:lnTo>
                        <a:pt x="15" y="9"/>
                      </a:lnTo>
                      <a:lnTo>
                        <a:pt x="17" y="9"/>
                      </a:lnTo>
                      <a:lnTo>
                        <a:pt x="18" y="8"/>
                      </a:lnTo>
                      <a:lnTo>
                        <a:pt x="19" y="6"/>
                      </a:lnTo>
                      <a:lnTo>
                        <a:pt x="19" y="4"/>
                      </a:lnTo>
                      <a:lnTo>
                        <a:pt x="18" y="3"/>
                      </a:lnTo>
                      <a:lnTo>
                        <a:pt x="17"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59" name="Freeform 843"/>
                <p:cNvSpPr>
                  <a:spLocks/>
                </p:cNvSpPr>
                <p:nvPr/>
              </p:nvSpPr>
              <p:spPr bwMode="auto">
                <a:xfrm>
                  <a:off x="7392961" y="4858101"/>
                  <a:ext cx="35517" cy="16278"/>
                </a:xfrm>
                <a:custGeom>
                  <a:avLst/>
                  <a:gdLst>
                    <a:gd name="T0" fmla="*/ 2147483647 w 26"/>
                    <a:gd name="T1" fmla="*/ 2147483647 h 11"/>
                    <a:gd name="T2" fmla="*/ 2147483647 w 26"/>
                    <a:gd name="T3" fmla="*/ 2147483647 h 11"/>
                    <a:gd name="T4" fmla="*/ 2147483647 w 26"/>
                    <a:gd name="T5" fmla="*/ 2147483647 h 11"/>
                    <a:gd name="T6" fmla="*/ 2147483647 w 26"/>
                    <a:gd name="T7" fmla="*/ 2147483647 h 11"/>
                    <a:gd name="T8" fmla="*/ 2147483647 w 26"/>
                    <a:gd name="T9" fmla="*/ 2147483647 h 11"/>
                    <a:gd name="T10" fmla="*/ 2147483647 w 26"/>
                    <a:gd name="T11" fmla="*/ 2147483647 h 11"/>
                    <a:gd name="T12" fmla="*/ 2147483647 w 26"/>
                    <a:gd name="T13" fmla="*/ 2147483647 h 11"/>
                    <a:gd name="T14" fmla="*/ 2147483647 w 26"/>
                    <a:gd name="T15" fmla="*/ 0 h 11"/>
                    <a:gd name="T16" fmla="*/ 2147483647 w 26"/>
                    <a:gd name="T17" fmla="*/ 0 h 11"/>
                    <a:gd name="T18" fmla="*/ 0 w 26"/>
                    <a:gd name="T19" fmla="*/ 0 h 11"/>
                    <a:gd name="T20" fmla="*/ 0 w 26"/>
                    <a:gd name="T21" fmla="*/ 2147483647 h 11"/>
                    <a:gd name="T22" fmla="*/ 0 w 26"/>
                    <a:gd name="T23" fmla="*/ 2147483647 h 11"/>
                    <a:gd name="T24" fmla="*/ 2147483647 w 26"/>
                    <a:gd name="T25" fmla="*/ 2147483647 h 11"/>
                    <a:gd name="T26" fmla="*/ 2147483647 w 26"/>
                    <a:gd name="T27" fmla="*/ 2147483647 h 11"/>
                    <a:gd name="T28" fmla="*/ 2147483647 w 26"/>
                    <a:gd name="T29" fmla="*/ 2147483647 h 11"/>
                    <a:gd name="T30" fmla="*/ 2147483647 w 26"/>
                    <a:gd name="T31" fmla="*/ 2147483647 h 11"/>
                    <a:gd name="T32" fmla="*/ 2147483647 w 26"/>
                    <a:gd name="T33" fmla="*/ 2147483647 h 11"/>
                    <a:gd name="T34" fmla="*/ 2147483647 w 26"/>
                    <a:gd name="T35" fmla="*/ 2147483647 h 11"/>
                    <a:gd name="T36" fmla="*/ 2147483647 w 26"/>
                    <a:gd name="T37" fmla="*/ 2147483647 h 11"/>
                    <a:gd name="T38" fmla="*/ 2147483647 w 26"/>
                    <a:gd name="T39" fmla="*/ 2147483647 h 11"/>
                    <a:gd name="T40" fmla="*/ 2147483647 w 26"/>
                    <a:gd name="T41" fmla="*/ 2147483647 h 11"/>
                    <a:gd name="T42" fmla="*/ 2147483647 w 26"/>
                    <a:gd name="T43" fmla="*/ 2147483647 h 11"/>
                    <a:gd name="T44" fmla="*/ 2147483647 w 26"/>
                    <a:gd name="T45" fmla="*/ 2147483647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11"/>
                    <a:gd name="T71" fmla="*/ 26 w 26"/>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11">
                      <a:moveTo>
                        <a:pt x="18" y="1"/>
                      </a:moveTo>
                      <a:lnTo>
                        <a:pt x="15" y="1"/>
                      </a:lnTo>
                      <a:lnTo>
                        <a:pt x="13" y="1"/>
                      </a:lnTo>
                      <a:lnTo>
                        <a:pt x="11" y="2"/>
                      </a:lnTo>
                      <a:lnTo>
                        <a:pt x="9" y="2"/>
                      </a:lnTo>
                      <a:lnTo>
                        <a:pt x="6" y="2"/>
                      </a:lnTo>
                      <a:lnTo>
                        <a:pt x="5" y="1"/>
                      </a:lnTo>
                      <a:lnTo>
                        <a:pt x="4" y="0"/>
                      </a:lnTo>
                      <a:lnTo>
                        <a:pt x="1" y="0"/>
                      </a:lnTo>
                      <a:lnTo>
                        <a:pt x="0" y="0"/>
                      </a:lnTo>
                      <a:lnTo>
                        <a:pt x="0" y="2"/>
                      </a:lnTo>
                      <a:lnTo>
                        <a:pt x="0" y="5"/>
                      </a:lnTo>
                      <a:lnTo>
                        <a:pt x="5" y="8"/>
                      </a:lnTo>
                      <a:lnTo>
                        <a:pt x="7" y="11"/>
                      </a:lnTo>
                      <a:lnTo>
                        <a:pt x="11" y="11"/>
                      </a:lnTo>
                      <a:lnTo>
                        <a:pt x="14" y="9"/>
                      </a:lnTo>
                      <a:lnTo>
                        <a:pt x="21" y="8"/>
                      </a:lnTo>
                      <a:lnTo>
                        <a:pt x="24" y="7"/>
                      </a:lnTo>
                      <a:lnTo>
                        <a:pt x="26" y="5"/>
                      </a:lnTo>
                      <a:lnTo>
                        <a:pt x="26" y="4"/>
                      </a:lnTo>
                      <a:lnTo>
                        <a:pt x="25" y="2"/>
                      </a:lnTo>
                      <a:lnTo>
                        <a:pt x="21" y="2"/>
                      </a:lnTo>
                      <a:lnTo>
                        <a:pt x="18"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0" name="Freeform 844"/>
                <p:cNvSpPr>
                  <a:spLocks/>
                </p:cNvSpPr>
                <p:nvPr/>
              </p:nvSpPr>
              <p:spPr bwMode="auto">
                <a:xfrm>
                  <a:off x="7431440" y="4856620"/>
                  <a:ext cx="72513" cy="19239"/>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0 w 53"/>
                    <a:gd name="T9" fmla="*/ 2147483647 h 13"/>
                    <a:gd name="T10" fmla="*/ 2147483647 w 53"/>
                    <a:gd name="T11" fmla="*/ 2147483647 h 13"/>
                    <a:gd name="T12" fmla="*/ 2147483647 w 53"/>
                    <a:gd name="T13" fmla="*/ 2147483647 h 13"/>
                    <a:gd name="T14" fmla="*/ 2147483647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0 h 13"/>
                    <a:gd name="T34" fmla="*/ 2147483647 w 53"/>
                    <a:gd name="T35" fmla="*/ 0 h 13"/>
                    <a:gd name="T36" fmla="*/ 2147483647 w 53"/>
                    <a:gd name="T37" fmla="*/ 2147483647 h 13"/>
                    <a:gd name="T38" fmla="*/ 2147483647 w 53"/>
                    <a:gd name="T39" fmla="*/ 2147483647 h 13"/>
                    <a:gd name="T40" fmla="*/ 2147483647 w 53"/>
                    <a:gd name="T41" fmla="*/ 2147483647 h 13"/>
                    <a:gd name="T42" fmla="*/ 2147483647 w 53"/>
                    <a:gd name="T43" fmla="*/ 2147483647 h 13"/>
                    <a:gd name="T44" fmla="*/ 2147483647 w 53"/>
                    <a:gd name="T45" fmla="*/ 21474836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3"/>
                    <a:gd name="T70" fmla="*/ 0 h 13"/>
                    <a:gd name="T71" fmla="*/ 53 w 53"/>
                    <a:gd name="T72" fmla="*/ 13 h 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3" h="13">
                      <a:moveTo>
                        <a:pt x="48" y="9"/>
                      </a:moveTo>
                      <a:lnTo>
                        <a:pt x="36" y="12"/>
                      </a:lnTo>
                      <a:lnTo>
                        <a:pt x="24" y="13"/>
                      </a:lnTo>
                      <a:lnTo>
                        <a:pt x="1" y="12"/>
                      </a:lnTo>
                      <a:lnTo>
                        <a:pt x="0" y="10"/>
                      </a:lnTo>
                      <a:lnTo>
                        <a:pt x="3" y="8"/>
                      </a:lnTo>
                      <a:lnTo>
                        <a:pt x="8" y="2"/>
                      </a:lnTo>
                      <a:lnTo>
                        <a:pt x="10" y="1"/>
                      </a:lnTo>
                      <a:lnTo>
                        <a:pt x="11" y="1"/>
                      </a:lnTo>
                      <a:lnTo>
                        <a:pt x="18" y="2"/>
                      </a:lnTo>
                      <a:lnTo>
                        <a:pt x="23" y="3"/>
                      </a:lnTo>
                      <a:lnTo>
                        <a:pt x="28" y="5"/>
                      </a:lnTo>
                      <a:lnTo>
                        <a:pt x="37" y="5"/>
                      </a:lnTo>
                      <a:lnTo>
                        <a:pt x="47" y="3"/>
                      </a:lnTo>
                      <a:lnTo>
                        <a:pt x="48" y="2"/>
                      </a:lnTo>
                      <a:lnTo>
                        <a:pt x="50" y="1"/>
                      </a:lnTo>
                      <a:lnTo>
                        <a:pt x="51" y="0"/>
                      </a:lnTo>
                      <a:lnTo>
                        <a:pt x="52" y="0"/>
                      </a:lnTo>
                      <a:lnTo>
                        <a:pt x="52" y="1"/>
                      </a:lnTo>
                      <a:lnTo>
                        <a:pt x="52" y="2"/>
                      </a:lnTo>
                      <a:lnTo>
                        <a:pt x="53" y="7"/>
                      </a:lnTo>
                      <a:lnTo>
                        <a:pt x="52" y="8"/>
                      </a:lnTo>
                      <a:lnTo>
                        <a:pt x="48"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1" name="Freeform 845"/>
                <p:cNvSpPr>
                  <a:spLocks/>
                </p:cNvSpPr>
                <p:nvPr/>
              </p:nvSpPr>
              <p:spPr bwMode="auto">
                <a:xfrm>
                  <a:off x="7391483" y="4856623"/>
                  <a:ext cx="35517" cy="14799"/>
                </a:xfrm>
                <a:custGeom>
                  <a:avLst/>
                  <a:gdLst>
                    <a:gd name="T0" fmla="*/ 2147483647 w 26"/>
                    <a:gd name="T1" fmla="*/ 2147483647 h 10"/>
                    <a:gd name="T2" fmla="*/ 2147483647 w 26"/>
                    <a:gd name="T3" fmla="*/ 2147483647 h 10"/>
                    <a:gd name="T4" fmla="*/ 2147483647 w 26"/>
                    <a:gd name="T5" fmla="*/ 2147483647 h 10"/>
                    <a:gd name="T6" fmla="*/ 2147483647 w 26"/>
                    <a:gd name="T7" fmla="*/ 2147483647 h 10"/>
                    <a:gd name="T8" fmla="*/ 2147483647 w 26"/>
                    <a:gd name="T9" fmla="*/ 2147483647 h 10"/>
                    <a:gd name="T10" fmla="*/ 2147483647 w 26"/>
                    <a:gd name="T11" fmla="*/ 2147483647 h 10"/>
                    <a:gd name="T12" fmla="*/ 2147483647 w 26"/>
                    <a:gd name="T13" fmla="*/ 2147483647 h 10"/>
                    <a:gd name="T14" fmla="*/ 2147483647 w 26"/>
                    <a:gd name="T15" fmla="*/ 2147483647 h 10"/>
                    <a:gd name="T16" fmla="*/ 2147483647 w 26"/>
                    <a:gd name="T17" fmla="*/ 2147483647 h 10"/>
                    <a:gd name="T18" fmla="*/ 2147483647 w 26"/>
                    <a:gd name="T19" fmla="*/ 0 h 10"/>
                    <a:gd name="T20" fmla="*/ 2147483647 w 26"/>
                    <a:gd name="T21" fmla="*/ 0 h 10"/>
                    <a:gd name="T22" fmla="*/ 2147483647 w 26"/>
                    <a:gd name="T23" fmla="*/ 0 h 10"/>
                    <a:gd name="T24" fmla="*/ 0 w 26"/>
                    <a:gd name="T25" fmla="*/ 0 h 10"/>
                    <a:gd name="T26" fmla="*/ 0 w 26"/>
                    <a:gd name="T27" fmla="*/ 2147483647 h 10"/>
                    <a:gd name="T28" fmla="*/ 0 w 26"/>
                    <a:gd name="T29" fmla="*/ 2147483647 h 10"/>
                    <a:gd name="T30" fmla="*/ 0 w 26"/>
                    <a:gd name="T31" fmla="*/ 2147483647 h 10"/>
                    <a:gd name="T32" fmla="*/ 2147483647 w 26"/>
                    <a:gd name="T33" fmla="*/ 2147483647 h 10"/>
                    <a:gd name="T34" fmla="*/ 2147483647 w 26"/>
                    <a:gd name="T35" fmla="*/ 2147483647 h 10"/>
                    <a:gd name="T36" fmla="*/ 2147483647 w 26"/>
                    <a:gd name="T37" fmla="*/ 2147483647 h 10"/>
                    <a:gd name="T38" fmla="*/ 2147483647 w 26"/>
                    <a:gd name="T39" fmla="*/ 2147483647 h 10"/>
                    <a:gd name="T40" fmla="*/ 2147483647 w 26"/>
                    <a:gd name="T41" fmla="*/ 2147483647 h 10"/>
                    <a:gd name="T42" fmla="*/ 2147483647 w 26"/>
                    <a:gd name="T43" fmla="*/ 2147483647 h 10"/>
                    <a:gd name="T44" fmla="*/ 2147483647 w 26"/>
                    <a:gd name="T45" fmla="*/ 2147483647 h 10"/>
                    <a:gd name="T46" fmla="*/ 2147483647 w 26"/>
                    <a:gd name="T47" fmla="*/ 2147483647 h 10"/>
                    <a:gd name="T48" fmla="*/ 2147483647 w 26"/>
                    <a:gd name="T49" fmla="*/ 2147483647 h 10"/>
                    <a:gd name="T50" fmla="*/ 2147483647 w 26"/>
                    <a:gd name="T51" fmla="*/ 2147483647 h 10"/>
                    <a:gd name="T52" fmla="*/ 2147483647 w 26"/>
                    <a:gd name="T53" fmla="*/ 2147483647 h 10"/>
                    <a:gd name="T54" fmla="*/ 2147483647 w 26"/>
                    <a:gd name="T55" fmla="*/ 2147483647 h 10"/>
                    <a:gd name="T56" fmla="*/ 2147483647 w 26"/>
                    <a:gd name="T57" fmla="*/ 2147483647 h 10"/>
                    <a:gd name="T58" fmla="*/ 2147483647 w 26"/>
                    <a:gd name="T59" fmla="*/ 2147483647 h 10"/>
                    <a:gd name="T60" fmla="*/ 2147483647 w 26"/>
                    <a:gd name="T61" fmla="*/ 2147483647 h 10"/>
                    <a:gd name="T62" fmla="*/ 2147483647 w 26"/>
                    <a:gd name="T63" fmla="*/ 2147483647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
                    <a:gd name="T97" fmla="*/ 0 h 10"/>
                    <a:gd name="T98" fmla="*/ 26 w 26"/>
                    <a:gd name="T99" fmla="*/ 10 h 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 h="10">
                      <a:moveTo>
                        <a:pt x="17" y="1"/>
                      </a:moveTo>
                      <a:lnTo>
                        <a:pt x="17" y="1"/>
                      </a:lnTo>
                      <a:lnTo>
                        <a:pt x="15" y="1"/>
                      </a:lnTo>
                      <a:lnTo>
                        <a:pt x="12" y="1"/>
                      </a:lnTo>
                      <a:lnTo>
                        <a:pt x="11" y="2"/>
                      </a:lnTo>
                      <a:lnTo>
                        <a:pt x="8" y="2"/>
                      </a:lnTo>
                      <a:lnTo>
                        <a:pt x="6" y="2"/>
                      </a:lnTo>
                      <a:lnTo>
                        <a:pt x="5" y="1"/>
                      </a:lnTo>
                      <a:lnTo>
                        <a:pt x="3" y="0"/>
                      </a:lnTo>
                      <a:lnTo>
                        <a:pt x="1" y="0"/>
                      </a:lnTo>
                      <a:lnTo>
                        <a:pt x="0" y="0"/>
                      </a:lnTo>
                      <a:lnTo>
                        <a:pt x="0" y="2"/>
                      </a:lnTo>
                      <a:lnTo>
                        <a:pt x="0" y="5"/>
                      </a:lnTo>
                      <a:lnTo>
                        <a:pt x="5" y="8"/>
                      </a:lnTo>
                      <a:lnTo>
                        <a:pt x="7" y="10"/>
                      </a:lnTo>
                      <a:lnTo>
                        <a:pt x="11" y="10"/>
                      </a:lnTo>
                      <a:lnTo>
                        <a:pt x="14" y="9"/>
                      </a:lnTo>
                      <a:lnTo>
                        <a:pt x="21" y="8"/>
                      </a:lnTo>
                      <a:lnTo>
                        <a:pt x="24" y="7"/>
                      </a:lnTo>
                      <a:lnTo>
                        <a:pt x="26" y="5"/>
                      </a:lnTo>
                      <a:lnTo>
                        <a:pt x="26" y="3"/>
                      </a:lnTo>
                      <a:lnTo>
                        <a:pt x="25" y="2"/>
                      </a:lnTo>
                      <a:lnTo>
                        <a:pt x="21" y="2"/>
                      </a:lnTo>
                      <a:lnTo>
                        <a:pt x="17"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2" name="Freeform 846"/>
                <p:cNvSpPr>
                  <a:spLocks/>
                </p:cNvSpPr>
                <p:nvPr/>
              </p:nvSpPr>
              <p:spPr bwMode="auto">
                <a:xfrm>
                  <a:off x="7429958" y="4855142"/>
                  <a:ext cx="72514" cy="19238"/>
                </a:xfrm>
                <a:custGeom>
                  <a:avLst/>
                  <a:gdLst>
                    <a:gd name="T0" fmla="*/ 2147483647 w 53"/>
                    <a:gd name="T1" fmla="*/ 2147483647 h 13"/>
                    <a:gd name="T2" fmla="*/ 2147483647 w 53"/>
                    <a:gd name="T3" fmla="*/ 2147483647 h 13"/>
                    <a:gd name="T4" fmla="*/ 2147483647 w 53"/>
                    <a:gd name="T5" fmla="*/ 2147483647 h 13"/>
                    <a:gd name="T6" fmla="*/ 2147483647 w 53"/>
                    <a:gd name="T7" fmla="*/ 2147483647 h 13"/>
                    <a:gd name="T8" fmla="*/ 2147483647 w 53"/>
                    <a:gd name="T9" fmla="*/ 2147483647 h 13"/>
                    <a:gd name="T10" fmla="*/ 2147483647 w 53"/>
                    <a:gd name="T11" fmla="*/ 2147483647 h 13"/>
                    <a:gd name="T12" fmla="*/ 2147483647 w 53"/>
                    <a:gd name="T13" fmla="*/ 2147483647 h 13"/>
                    <a:gd name="T14" fmla="*/ 0 w 53"/>
                    <a:gd name="T15" fmla="*/ 2147483647 h 13"/>
                    <a:gd name="T16" fmla="*/ 2147483647 w 53"/>
                    <a:gd name="T17" fmla="*/ 2147483647 h 13"/>
                    <a:gd name="T18" fmla="*/ 2147483647 w 53"/>
                    <a:gd name="T19" fmla="*/ 2147483647 h 13"/>
                    <a:gd name="T20" fmla="*/ 2147483647 w 53"/>
                    <a:gd name="T21" fmla="*/ 2147483647 h 13"/>
                    <a:gd name="T22" fmla="*/ 2147483647 w 53"/>
                    <a:gd name="T23" fmla="*/ 2147483647 h 13"/>
                    <a:gd name="T24" fmla="*/ 2147483647 w 53"/>
                    <a:gd name="T25" fmla="*/ 2147483647 h 13"/>
                    <a:gd name="T26" fmla="*/ 2147483647 w 53"/>
                    <a:gd name="T27" fmla="*/ 2147483647 h 13"/>
                    <a:gd name="T28" fmla="*/ 2147483647 w 53"/>
                    <a:gd name="T29" fmla="*/ 2147483647 h 13"/>
                    <a:gd name="T30" fmla="*/ 2147483647 w 53"/>
                    <a:gd name="T31" fmla="*/ 2147483647 h 13"/>
                    <a:gd name="T32" fmla="*/ 2147483647 w 53"/>
                    <a:gd name="T33" fmla="*/ 2147483647 h 13"/>
                    <a:gd name="T34" fmla="*/ 2147483647 w 53"/>
                    <a:gd name="T35" fmla="*/ 2147483647 h 13"/>
                    <a:gd name="T36" fmla="*/ 2147483647 w 53"/>
                    <a:gd name="T37" fmla="*/ 2147483647 h 13"/>
                    <a:gd name="T38" fmla="*/ 2147483647 w 53"/>
                    <a:gd name="T39" fmla="*/ 2147483647 h 13"/>
                    <a:gd name="T40" fmla="*/ 2147483647 w 53"/>
                    <a:gd name="T41" fmla="*/ 2147483647 h 13"/>
                    <a:gd name="T42" fmla="*/ 2147483647 w 53"/>
                    <a:gd name="T43" fmla="*/ 2147483647 h 13"/>
                    <a:gd name="T44" fmla="*/ 2147483647 w 53"/>
                    <a:gd name="T45" fmla="*/ 0 h 13"/>
                    <a:gd name="T46" fmla="*/ 2147483647 w 53"/>
                    <a:gd name="T47" fmla="*/ 0 h 13"/>
                    <a:gd name="T48" fmla="*/ 2147483647 w 53"/>
                    <a:gd name="T49" fmla="*/ 0 h 13"/>
                    <a:gd name="T50" fmla="*/ 2147483647 w 53"/>
                    <a:gd name="T51" fmla="*/ 2147483647 h 13"/>
                    <a:gd name="T52" fmla="*/ 2147483647 w 53"/>
                    <a:gd name="T53" fmla="*/ 2147483647 h 13"/>
                    <a:gd name="T54" fmla="*/ 2147483647 w 53"/>
                    <a:gd name="T55" fmla="*/ 2147483647 h 13"/>
                    <a:gd name="T56" fmla="*/ 2147483647 w 53"/>
                    <a:gd name="T57" fmla="*/ 2147483647 h 13"/>
                    <a:gd name="T58" fmla="*/ 2147483647 w 53"/>
                    <a:gd name="T59" fmla="*/ 2147483647 h 13"/>
                    <a:gd name="T60" fmla="*/ 2147483647 w 53"/>
                    <a:gd name="T61" fmla="*/ 2147483647 h 13"/>
                    <a:gd name="T62" fmla="*/ 2147483647 w 53"/>
                    <a:gd name="T63" fmla="*/ 2147483647 h 13"/>
                    <a:gd name="T64" fmla="*/ 2147483647 w 53"/>
                    <a:gd name="T65" fmla="*/ 2147483647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3"/>
                    <a:gd name="T101" fmla="*/ 53 w 53"/>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3">
                      <a:moveTo>
                        <a:pt x="48" y="9"/>
                      </a:moveTo>
                      <a:lnTo>
                        <a:pt x="48" y="9"/>
                      </a:lnTo>
                      <a:lnTo>
                        <a:pt x="35" y="11"/>
                      </a:lnTo>
                      <a:lnTo>
                        <a:pt x="24" y="13"/>
                      </a:lnTo>
                      <a:lnTo>
                        <a:pt x="1" y="11"/>
                      </a:lnTo>
                      <a:lnTo>
                        <a:pt x="0" y="10"/>
                      </a:lnTo>
                      <a:lnTo>
                        <a:pt x="2" y="8"/>
                      </a:lnTo>
                      <a:lnTo>
                        <a:pt x="7" y="2"/>
                      </a:lnTo>
                      <a:lnTo>
                        <a:pt x="10" y="1"/>
                      </a:lnTo>
                      <a:lnTo>
                        <a:pt x="11" y="1"/>
                      </a:lnTo>
                      <a:lnTo>
                        <a:pt x="18" y="2"/>
                      </a:lnTo>
                      <a:lnTo>
                        <a:pt x="23" y="3"/>
                      </a:lnTo>
                      <a:lnTo>
                        <a:pt x="28" y="4"/>
                      </a:lnTo>
                      <a:lnTo>
                        <a:pt x="37" y="4"/>
                      </a:lnTo>
                      <a:lnTo>
                        <a:pt x="47" y="3"/>
                      </a:lnTo>
                      <a:lnTo>
                        <a:pt x="48" y="2"/>
                      </a:lnTo>
                      <a:lnTo>
                        <a:pt x="49" y="1"/>
                      </a:lnTo>
                      <a:lnTo>
                        <a:pt x="51" y="0"/>
                      </a:lnTo>
                      <a:lnTo>
                        <a:pt x="52" y="0"/>
                      </a:lnTo>
                      <a:lnTo>
                        <a:pt x="52" y="1"/>
                      </a:lnTo>
                      <a:lnTo>
                        <a:pt x="52" y="2"/>
                      </a:lnTo>
                      <a:lnTo>
                        <a:pt x="53" y="7"/>
                      </a:lnTo>
                      <a:lnTo>
                        <a:pt x="52" y="8"/>
                      </a:lnTo>
                      <a:lnTo>
                        <a:pt x="48" y="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3" name="Freeform 847"/>
                <p:cNvSpPr>
                  <a:spLocks/>
                </p:cNvSpPr>
                <p:nvPr/>
              </p:nvSpPr>
              <p:spPr bwMode="auto">
                <a:xfrm>
                  <a:off x="7545390" y="4856620"/>
                  <a:ext cx="14799" cy="7400"/>
                </a:xfrm>
                <a:custGeom>
                  <a:avLst/>
                  <a:gdLst>
                    <a:gd name="T0" fmla="*/ 2147483647 w 11"/>
                    <a:gd name="T1" fmla="*/ 2147483647 h 5"/>
                    <a:gd name="T2" fmla="*/ 2147483647 w 11"/>
                    <a:gd name="T3" fmla="*/ 2147483647 h 5"/>
                    <a:gd name="T4" fmla="*/ 0 w 11"/>
                    <a:gd name="T5" fmla="*/ 2147483647 h 5"/>
                    <a:gd name="T6" fmla="*/ 2147483647 w 11"/>
                    <a:gd name="T7" fmla="*/ 2147483647 h 5"/>
                    <a:gd name="T8" fmla="*/ 2147483647 w 11"/>
                    <a:gd name="T9" fmla="*/ 2147483647 h 5"/>
                    <a:gd name="T10" fmla="*/ 2147483647 w 11"/>
                    <a:gd name="T11" fmla="*/ 2147483647 h 5"/>
                    <a:gd name="T12" fmla="*/ 2147483647 w 11"/>
                    <a:gd name="T13" fmla="*/ 2147483647 h 5"/>
                    <a:gd name="T14" fmla="*/ 2147483647 w 11"/>
                    <a:gd name="T15" fmla="*/ 2147483647 h 5"/>
                    <a:gd name="T16" fmla="*/ 2147483647 w 11"/>
                    <a:gd name="T17" fmla="*/ 2147483647 h 5"/>
                    <a:gd name="T18" fmla="*/ 2147483647 w 11"/>
                    <a:gd name="T19" fmla="*/ 2147483647 h 5"/>
                    <a:gd name="T20" fmla="*/ 2147483647 w 11"/>
                    <a:gd name="T21" fmla="*/ 2147483647 h 5"/>
                    <a:gd name="T22" fmla="*/ 2147483647 w 11"/>
                    <a:gd name="T23" fmla="*/ 0 h 5"/>
                    <a:gd name="T24" fmla="*/ 2147483647 w 11"/>
                    <a:gd name="T25" fmla="*/ 0 h 5"/>
                    <a:gd name="T26" fmla="*/ 2147483647 w 11"/>
                    <a:gd name="T27" fmla="*/ 2147483647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5"/>
                    <a:gd name="T44" fmla="*/ 11 w 11"/>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5">
                      <a:moveTo>
                        <a:pt x="2" y="1"/>
                      </a:moveTo>
                      <a:lnTo>
                        <a:pt x="1" y="3"/>
                      </a:lnTo>
                      <a:lnTo>
                        <a:pt x="0" y="3"/>
                      </a:lnTo>
                      <a:lnTo>
                        <a:pt x="1" y="5"/>
                      </a:lnTo>
                      <a:lnTo>
                        <a:pt x="3" y="5"/>
                      </a:lnTo>
                      <a:lnTo>
                        <a:pt x="5" y="3"/>
                      </a:lnTo>
                      <a:lnTo>
                        <a:pt x="6" y="2"/>
                      </a:lnTo>
                      <a:lnTo>
                        <a:pt x="8" y="3"/>
                      </a:lnTo>
                      <a:lnTo>
                        <a:pt x="10" y="3"/>
                      </a:lnTo>
                      <a:lnTo>
                        <a:pt x="11" y="3"/>
                      </a:lnTo>
                      <a:lnTo>
                        <a:pt x="11" y="1"/>
                      </a:lnTo>
                      <a:lnTo>
                        <a:pt x="8" y="0"/>
                      </a:lnTo>
                      <a:lnTo>
                        <a:pt x="6" y="0"/>
                      </a:lnTo>
                      <a:lnTo>
                        <a:pt x="2" y="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4" name="Freeform 848"/>
                <p:cNvSpPr>
                  <a:spLocks/>
                </p:cNvSpPr>
                <p:nvPr/>
              </p:nvSpPr>
              <p:spPr bwMode="auto">
                <a:xfrm>
                  <a:off x="7515791" y="4861063"/>
                  <a:ext cx="91752" cy="56235"/>
                </a:xfrm>
                <a:custGeom>
                  <a:avLst/>
                  <a:gdLst>
                    <a:gd name="T0" fmla="*/ 2147483647 w 67"/>
                    <a:gd name="T1" fmla="*/ 2147483647 h 38"/>
                    <a:gd name="T2" fmla="*/ 2147483647 w 67"/>
                    <a:gd name="T3" fmla="*/ 2147483647 h 38"/>
                    <a:gd name="T4" fmla="*/ 2147483647 w 67"/>
                    <a:gd name="T5" fmla="*/ 2147483647 h 38"/>
                    <a:gd name="T6" fmla="*/ 2147483647 w 67"/>
                    <a:gd name="T7" fmla="*/ 2147483647 h 38"/>
                    <a:gd name="T8" fmla="*/ 2147483647 w 67"/>
                    <a:gd name="T9" fmla="*/ 2147483647 h 38"/>
                    <a:gd name="T10" fmla="*/ 2147483647 w 67"/>
                    <a:gd name="T11" fmla="*/ 2147483647 h 38"/>
                    <a:gd name="T12" fmla="*/ 2147483647 w 67"/>
                    <a:gd name="T13" fmla="*/ 2147483647 h 38"/>
                    <a:gd name="T14" fmla="*/ 2147483647 w 67"/>
                    <a:gd name="T15" fmla="*/ 2147483647 h 38"/>
                    <a:gd name="T16" fmla="*/ 2147483647 w 67"/>
                    <a:gd name="T17" fmla="*/ 2147483647 h 38"/>
                    <a:gd name="T18" fmla="*/ 2147483647 w 67"/>
                    <a:gd name="T19" fmla="*/ 2147483647 h 38"/>
                    <a:gd name="T20" fmla="*/ 0 w 67"/>
                    <a:gd name="T21" fmla="*/ 2147483647 h 38"/>
                    <a:gd name="T22" fmla="*/ 2147483647 w 67"/>
                    <a:gd name="T23" fmla="*/ 2147483647 h 38"/>
                    <a:gd name="T24" fmla="*/ 2147483647 w 67"/>
                    <a:gd name="T25" fmla="*/ 2147483647 h 38"/>
                    <a:gd name="T26" fmla="*/ 2147483647 w 67"/>
                    <a:gd name="T27" fmla="*/ 2147483647 h 38"/>
                    <a:gd name="T28" fmla="*/ 2147483647 w 67"/>
                    <a:gd name="T29" fmla="*/ 2147483647 h 38"/>
                    <a:gd name="T30" fmla="*/ 2147483647 w 67"/>
                    <a:gd name="T31" fmla="*/ 2147483647 h 38"/>
                    <a:gd name="T32" fmla="*/ 2147483647 w 67"/>
                    <a:gd name="T33" fmla="*/ 2147483647 h 38"/>
                    <a:gd name="T34" fmla="*/ 2147483647 w 67"/>
                    <a:gd name="T35" fmla="*/ 2147483647 h 38"/>
                    <a:gd name="T36" fmla="*/ 2147483647 w 67"/>
                    <a:gd name="T37" fmla="*/ 2147483647 h 38"/>
                    <a:gd name="T38" fmla="*/ 2147483647 w 67"/>
                    <a:gd name="T39" fmla="*/ 2147483647 h 38"/>
                    <a:gd name="T40" fmla="*/ 2147483647 w 67"/>
                    <a:gd name="T41" fmla="*/ 2147483647 h 38"/>
                    <a:gd name="T42" fmla="*/ 2147483647 w 67"/>
                    <a:gd name="T43" fmla="*/ 2147483647 h 38"/>
                    <a:gd name="T44" fmla="*/ 2147483647 w 67"/>
                    <a:gd name="T45" fmla="*/ 2147483647 h 38"/>
                    <a:gd name="T46" fmla="*/ 2147483647 w 67"/>
                    <a:gd name="T47" fmla="*/ 2147483647 h 38"/>
                    <a:gd name="T48" fmla="*/ 2147483647 w 67"/>
                    <a:gd name="T49" fmla="*/ 2147483647 h 38"/>
                    <a:gd name="T50" fmla="*/ 2147483647 w 67"/>
                    <a:gd name="T51" fmla="*/ 2147483647 h 38"/>
                    <a:gd name="T52" fmla="*/ 2147483647 w 67"/>
                    <a:gd name="T53" fmla="*/ 2147483647 h 38"/>
                    <a:gd name="T54" fmla="*/ 2147483647 w 67"/>
                    <a:gd name="T55" fmla="*/ 2147483647 h 38"/>
                    <a:gd name="T56" fmla="*/ 2147483647 w 67"/>
                    <a:gd name="T57" fmla="*/ 0 h 38"/>
                    <a:gd name="T58" fmla="*/ 2147483647 w 67"/>
                    <a:gd name="T59" fmla="*/ 2147483647 h 38"/>
                    <a:gd name="T60" fmla="*/ 2147483647 w 67"/>
                    <a:gd name="T61" fmla="*/ 2147483647 h 38"/>
                    <a:gd name="T62" fmla="*/ 2147483647 w 67"/>
                    <a:gd name="T63" fmla="*/ 2147483647 h 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38"/>
                    <a:gd name="T98" fmla="*/ 67 w 67"/>
                    <a:gd name="T99" fmla="*/ 38 h 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38">
                      <a:moveTo>
                        <a:pt x="34" y="4"/>
                      </a:moveTo>
                      <a:lnTo>
                        <a:pt x="33" y="5"/>
                      </a:lnTo>
                      <a:lnTo>
                        <a:pt x="30" y="7"/>
                      </a:lnTo>
                      <a:lnTo>
                        <a:pt x="27" y="10"/>
                      </a:lnTo>
                      <a:lnTo>
                        <a:pt x="22" y="11"/>
                      </a:lnTo>
                      <a:lnTo>
                        <a:pt x="16" y="12"/>
                      </a:lnTo>
                      <a:lnTo>
                        <a:pt x="13" y="16"/>
                      </a:lnTo>
                      <a:lnTo>
                        <a:pt x="8" y="21"/>
                      </a:lnTo>
                      <a:lnTo>
                        <a:pt x="4" y="26"/>
                      </a:lnTo>
                      <a:lnTo>
                        <a:pt x="1" y="31"/>
                      </a:lnTo>
                      <a:lnTo>
                        <a:pt x="0" y="34"/>
                      </a:lnTo>
                      <a:lnTo>
                        <a:pt x="1" y="36"/>
                      </a:lnTo>
                      <a:lnTo>
                        <a:pt x="3" y="38"/>
                      </a:lnTo>
                      <a:lnTo>
                        <a:pt x="5" y="38"/>
                      </a:lnTo>
                      <a:lnTo>
                        <a:pt x="10" y="37"/>
                      </a:lnTo>
                      <a:lnTo>
                        <a:pt x="18" y="34"/>
                      </a:lnTo>
                      <a:lnTo>
                        <a:pt x="24" y="31"/>
                      </a:lnTo>
                      <a:lnTo>
                        <a:pt x="25" y="30"/>
                      </a:lnTo>
                      <a:lnTo>
                        <a:pt x="25" y="29"/>
                      </a:lnTo>
                      <a:lnTo>
                        <a:pt x="27" y="26"/>
                      </a:lnTo>
                      <a:lnTo>
                        <a:pt x="30" y="22"/>
                      </a:lnTo>
                      <a:lnTo>
                        <a:pt x="33" y="19"/>
                      </a:lnTo>
                      <a:lnTo>
                        <a:pt x="36" y="18"/>
                      </a:lnTo>
                      <a:lnTo>
                        <a:pt x="39" y="16"/>
                      </a:lnTo>
                      <a:lnTo>
                        <a:pt x="44" y="16"/>
                      </a:lnTo>
                      <a:lnTo>
                        <a:pt x="48" y="15"/>
                      </a:lnTo>
                      <a:lnTo>
                        <a:pt x="53" y="12"/>
                      </a:lnTo>
                      <a:lnTo>
                        <a:pt x="67" y="3"/>
                      </a:lnTo>
                      <a:lnTo>
                        <a:pt x="67" y="0"/>
                      </a:lnTo>
                      <a:lnTo>
                        <a:pt x="51" y="3"/>
                      </a:lnTo>
                      <a:lnTo>
                        <a:pt x="42" y="4"/>
                      </a:lnTo>
                      <a:lnTo>
                        <a:pt x="3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5" name="Freeform 849"/>
                <p:cNvSpPr>
                  <a:spLocks/>
                </p:cNvSpPr>
                <p:nvPr/>
              </p:nvSpPr>
              <p:spPr bwMode="auto">
                <a:xfrm>
                  <a:off x="7542430" y="4855141"/>
                  <a:ext cx="16279" cy="5919"/>
                </a:xfrm>
                <a:custGeom>
                  <a:avLst/>
                  <a:gdLst>
                    <a:gd name="T0" fmla="*/ 2147483647 w 12"/>
                    <a:gd name="T1" fmla="*/ 2147483647 h 4"/>
                    <a:gd name="T2" fmla="*/ 2147483647 w 12"/>
                    <a:gd name="T3" fmla="*/ 2147483647 h 4"/>
                    <a:gd name="T4" fmla="*/ 2147483647 w 12"/>
                    <a:gd name="T5" fmla="*/ 2147483647 h 4"/>
                    <a:gd name="T6" fmla="*/ 0 w 12"/>
                    <a:gd name="T7" fmla="*/ 2147483647 h 4"/>
                    <a:gd name="T8" fmla="*/ 2147483647 w 12"/>
                    <a:gd name="T9" fmla="*/ 2147483647 h 4"/>
                    <a:gd name="T10" fmla="*/ 2147483647 w 12"/>
                    <a:gd name="T11" fmla="*/ 2147483647 h 4"/>
                    <a:gd name="T12" fmla="*/ 2147483647 w 12"/>
                    <a:gd name="T13" fmla="*/ 2147483647 h 4"/>
                    <a:gd name="T14" fmla="*/ 2147483647 w 12"/>
                    <a:gd name="T15" fmla="*/ 2147483647 h 4"/>
                    <a:gd name="T16" fmla="*/ 2147483647 w 12"/>
                    <a:gd name="T17" fmla="*/ 2147483647 h 4"/>
                    <a:gd name="T18" fmla="*/ 2147483647 w 12"/>
                    <a:gd name="T19" fmla="*/ 2147483647 h 4"/>
                    <a:gd name="T20" fmla="*/ 2147483647 w 12"/>
                    <a:gd name="T21" fmla="*/ 2147483647 h 4"/>
                    <a:gd name="T22" fmla="*/ 2147483647 w 12"/>
                    <a:gd name="T23" fmla="*/ 2147483647 h 4"/>
                    <a:gd name="T24" fmla="*/ 2147483647 w 12"/>
                    <a:gd name="T25" fmla="*/ 2147483647 h 4"/>
                    <a:gd name="T26" fmla="*/ 2147483647 w 12"/>
                    <a:gd name="T27" fmla="*/ 2147483647 h 4"/>
                    <a:gd name="T28" fmla="*/ 2147483647 w 12"/>
                    <a:gd name="T29" fmla="*/ 2147483647 h 4"/>
                    <a:gd name="T30" fmla="*/ 2147483647 w 12"/>
                    <a:gd name="T31" fmla="*/ 0 h 4"/>
                    <a:gd name="T32" fmla="*/ 2147483647 w 12"/>
                    <a:gd name="T33" fmla="*/ 0 h 4"/>
                    <a:gd name="T34" fmla="*/ 2147483647 w 12"/>
                    <a:gd name="T35" fmla="*/ 0 h 4"/>
                    <a:gd name="T36" fmla="*/ 2147483647 w 12"/>
                    <a:gd name="T37" fmla="*/ 2147483647 h 4"/>
                    <a:gd name="T38" fmla="*/ 2147483647 w 12"/>
                    <a:gd name="T39" fmla="*/ 2147483647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4"/>
                    <a:gd name="T62" fmla="*/ 12 w 12"/>
                    <a:gd name="T63" fmla="*/ 4 h 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4">
                      <a:moveTo>
                        <a:pt x="3" y="1"/>
                      </a:moveTo>
                      <a:lnTo>
                        <a:pt x="3" y="1"/>
                      </a:lnTo>
                      <a:lnTo>
                        <a:pt x="2" y="3"/>
                      </a:lnTo>
                      <a:lnTo>
                        <a:pt x="0" y="3"/>
                      </a:lnTo>
                      <a:lnTo>
                        <a:pt x="2" y="4"/>
                      </a:lnTo>
                      <a:lnTo>
                        <a:pt x="4" y="4"/>
                      </a:lnTo>
                      <a:lnTo>
                        <a:pt x="5" y="3"/>
                      </a:lnTo>
                      <a:lnTo>
                        <a:pt x="7" y="2"/>
                      </a:lnTo>
                      <a:lnTo>
                        <a:pt x="9" y="3"/>
                      </a:lnTo>
                      <a:lnTo>
                        <a:pt x="10" y="3"/>
                      </a:lnTo>
                      <a:lnTo>
                        <a:pt x="12" y="3"/>
                      </a:lnTo>
                      <a:lnTo>
                        <a:pt x="12" y="1"/>
                      </a:lnTo>
                      <a:lnTo>
                        <a:pt x="9" y="0"/>
                      </a:lnTo>
                      <a:lnTo>
                        <a:pt x="7" y="0"/>
                      </a:lnTo>
                      <a:lnTo>
                        <a:pt x="3" y="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6" name="Freeform 850"/>
                <p:cNvSpPr>
                  <a:spLocks/>
                </p:cNvSpPr>
                <p:nvPr/>
              </p:nvSpPr>
              <p:spPr bwMode="auto">
                <a:xfrm>
                  <a:off x="7514311" y="4859585"/>
                  <a:ext cx="91752" cy="56235"/>
                </a:xfrm>
                <a:custGeom>
                  <a:avLst/>
                  <a:gdLst>
                    <a:gd name="T0" fmla="*/ 2147483647 w 67"/>
                    <a:gd name="T1" fmla="*/ 2147483647 h 38"/>
                    <a:gd name="T2" fmla="*/ 2147483647 w 67"/>
                    <a:gd name="T3" fmla="*/ 2147483647 h 38"/>
                    <a:gd name="T4" fmla="*/ 2147483647 w 67"/>
                    <a:gd name="T5" fmla="*/ 2147483647 h 38"/>
                    <a:gd name="T6" fmla="*/ 2147483647 w 67"/>
                    <a:gd name="T7" fmla="*/ 2147483647 h 38"/>
                    <a:gd name="T8" fmla="*/ 2147483647 w 67"/>
                    <a:gd name="T9" fmla="*/ 2147483647 h 38"/>
                    <a:gd name="T10" fmla="*/ 2147483647 w 67"/>
                    <a:gd name="T11" fmla="*/ 2147483647 h 38"/>
                    <a:gd name="T12" fmla="*/ 2147483647 w 67"/>
                    <a:gd name="T13" fmla="*/ 2147483647 h 38"/>
                    <a:gd name="T14" fmla="*/ 2147483647 w 67"/>
                    <a:gd name="T15" fmla="*/ 2147483647 h 38"/>
                    <a:gd name="T16" fmla="*/ 2147483647 w 67"/>
                    <a:gd name="T17" fmla="*/ 2147483647 h 38"/>
                    <a:gd name="T18" fmla="*/ 2147483647 w 67"/>
                    <a:gd name="T19" fmla="*/ 2147483647 h 38"/>
                    <a:gd name="T20" fmla="*/ 2147483647 w 67"/>
                    <a:gd name="T21" fmla="*/ 2147483647 h 38"/>
                    <a:gd name="T22" fmla="*/ 2147483647 w 67"/>
                    <a:gd name="T23" fmla="*/ 2147483647 h 38"/>
                    <a:gd name="T24" fmla="*/ 2147483647 w 67"/>
                    <a:gd name="T25" fmla="*/ 2147483647 h 38"/>
                    <a:gd name="T26" fmla="*/ 2147483647 w 67"/>
                    <a:gd name="T27" fmla="*/ 2147483647 h 38"/>
                    <a:gd name="T28" fmla="*/ 0 w 67"/>
                    <a:gd name="T29" fmla="*/ 2147483647 h 38"/>
                    <a:gd name="T30" fmla="*/ 2147483647 w 67"/>
                    <a:gd name="T31" fmla="*/ 2147483647 h 38"/>
                    <a:gd name="T32" fmla="*/ 2147483647 w 67"/>
                    <a:gd name="T33" fmla="*/ 2147483647 h 38"/>
                    <a:gd name="T34" fmla="*/ 2147483647 w 67"/>
                    <a:gd name="T35" fmla="*/ 2147483647 h 38"/>
                    <a:gd name="T36" fmla="*/ 2147483647 w 67"/>
                    <a:gd name="T37" fmla="*/ 2147483647 h 38"/>
                    <a:gd name="T38" fmla="*/ 2147483647 w 67"/>
                    <a:gd name="T39" fmla="*/ 2147483647 h 38"/>
                    <a:gd name="T40" fmla="*/ 2147483647 w 67"/>
                    <a:gd name="T41" fmla="*/ 2147483647 h 38"/>
                    <a:gd name="T42" fmla="*/ 2147483647 w 67"/>
                    <a:gd name="T43" fmla="*/ 2147483647 h 38"/>
                    <a:gd name="T44" fmla="*/ 2147483647 w 67"/>
                    <a:gd name="T45" fmla="*/ 2147483647 h 38"/>
                    <a:gd name="T46" fmla="*/ 2147483647 w 67"/>
                    <a:gd name="T47" fmla="*/ 2147483647 h 38"/>
                    <a:gd name="T48" fmla="*/ 2147483647 w 67"/>
                    <a:gd name="T49" fmla="*/ 2147483647 h 38"/>
                    <a:gd name="T50" fmla="*/ 2147483647 w 67"/>
                    <a:gd name="T51" fmla="*/ 2147483647 h 38"/>
                    <a:gd name="T52" fmla="*/ 2147483647 w 67"/>
                    <a:gd name="T53" fmla="*/ 2147483647 h 38"/>
                    <a:gd name="T54" fmla="*/ 2147483647 w 67"/>
                    <a:gd name="T55" fmla="*/ 2147483647 h 38"/>
                    <a:gd name="T56" fmla="*/ 2147483647 w 67"/>
                    <a:gd name="T57" fmla="*/ 2147483647 h 38"/>
                    <a:gd name="T58" fmla="*/ 2147483647 w 67"/>
                    <a:gd name="T59" fmla="*/ 2147483647 h 38"/>
                    <a:gd name="T60" fmla="*/ 2147483647 w 67"/>
                    <a:gd name="T61" fmla="*/ 2147483647 h 38"/>
                    <a:gd name="T62" fmla="*/ 2147483647 w 67"/>
                    <a:gd name="T63" fmla="*/ 2147483647 h 38"/>
                    <a:gd name="T64" fmla="*/ 2147483647 w 67"/>
                    <a:gd name="T65" fmla="*/ 2147483647 h 38"/>
                    <a:gd name="T66" fmla="*/ 2147483647 w 67"/>
                    <a:gd name="T67" fmla="*/ 2147483647 h 38"/>
                    <a:gd name="T68" fmla="*/ 2147483647 w 67"/>
                    <a:gd name="T69" fmla="*/ 2147483647 h 38"/>
                    <a:gd name="T70" fmla="*/ 2147483647 w 67"/>
                    <a:gd name="T71" fmla="*/ 2147483647 h 38"/>
                    <a:gd name="T72" fmla="*/ 2147483647 w 67"/>
                    <a:gd name="T73" fmla="*/ 2147483647 h 38"/>
                    <a:gd name="T74" fmla="*/ 2147483647 w 67"/>
                    <a:gd name="T75" fmla="*/ 2147483647 h 38"/>
                    <a:gd name="T76" fmla="*/ 2147483647 w 67"/>
                    <a:gd name="T77" fmla="*/ 0 h 38"/>
                    <a:gd name="T78" fmla="*/ 2147483647 w 67"/>
                    <a:gd name="T79" fmla="*/ 0 h 38"/>
                    <a:gd name="T80" fmla="*/ 2147483647 w 67"/>
                    <a:gd name="T81" fmla="*/ 2147483647 h 38"/>
                    <a:gd name="T82" fmla="*/ 2147483647 w 67"/>
                    <a:gd name="T83" fmla="*/ 2147483647 h 38"/>
                    <a:gd name="T84" fmla="*/ 2147483647 w 67"/>
                    <a:gd name="T85" fmla="*/ 2147483647 h 38"/>
                    <a:gd name="T86" fmla="*/ 2147483647 w 67"/>
                    <a:gd name="T87" fmla="*/ 2147483647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
                    <a:gd name="T133" fmla="*/ 0 h 38"/>
                    <a:gd name="T134" fmla="*/ 67 w 67"/>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 h="38">
                      <a:moveTo>
                        <a:pt x="34" y="4"/>
                      </a:moveTo>
                      <a:lnTo>
                        <a:pt x="34" y="4"/>
                      </a:lnTo>
                      <a:lnTo>
                        <a:pt x="33" y="5"/>
                      </a:lnTo>
                      <a:lnTo>
                        <a:pt x="30" y="7"/>
                      </a:lnTo>
                      <a:lnTo>
                        <a:pt x="26" y="10"/>
                      </a:lnTo>
                      <a:lnTo>
                        <a:pt x="21" y="11"/>
                      </a:lnTo>
                      <a:lnTo>
                        <a:pt x="16" y="12"/>
                      </a:lnTo>
                      <a:lnTo>
                        <a:pt x="12" y="16"/>
                      </a:lnTo>
                      <a:lnTo>
                        <a:pt x="7" y="20"/>
                      </a:lnTo>
                      <a:lnTo>
                        <a:pt x="4" y="26"/>
                      </a:lnTo>
                      <a:lnTo>
                        <a:pt x="1" y="31"/>
                      </a:lnTo>
                      <a:lnTo>
                        <a:pt x="0" y="33"/>
                      </a:lnTo>
                      <a:lnTo>
                        <a:pt x="1" y="36"/>
                      </a:lnTo>
                      <a:lnTo>
                        <a:pt x="2" y="38"/>
                      </a:lnTo>
                      <a:lnTo>
                        <a:pt x="5" y="38"/>
                      </a:lnTo>
                      <a:lnTo>
                        <a:pt x="10" y="37"/>
                      </a:lnTo>
                      <a:lnTo>
                        <a:pt x="17" y="33"/>
                      </a:lnTo>
                      <a:lnTo>
                        <a:pt x="24" y="31"/>
                      </a:lnTo>
                      <a:lnTo>
                        <a:pt x="25" y="30"/>
                      </a:lnTo>
                      <a:lnTo>
                        <a:pt x="25" y="29"/>
                      </a:lnTo>
                      <a:lnTo>
                        <a:pt x="26" y="26"/>
                      </a:lnTo>
                      <a:lnTo>
                        <a:pt x="30" y="22"/>
                      </a:lnTo>
                      <a:lnTo>
                        <a:pt x="33" y="19"/>
                      </a:lnTo>
                      <a:lnTo>
                        <a:pt x="35" y="18"/>
                      </a:lnTo>
                      <a:lnTo>
                        <a:pt x="39" y="16"/>
                      </a:lnTo>
                      <a:lnTo>
                        <a:pt x="44" y="16"/>
                      </a:lnTo>
                      <a:lnTo>
                        <a:pt x="48" y="14"/>
                      </a:lnTo>
                      <a:lnTo>
                        <a:pt x="53" y="12"/>
                      </a:lnTo>
                      <a:lnTo>
                        <a:pt x="67" y="3"/>
                      </a:lnTo>
                      <a:lnTo>
                        <a:pt x="67" y="0"/>
                      </a:lnTo>
                      <a:lnTo>
                        <a:pt x="51" y="3"/>
                      </a:lnTo>
                      <a:lnTo>
                        <a:pt x="42" y="4"/>
                      </a:lnTo>
                      <a:lnTo>
                        <a:pt x="34"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7" name="Freeform 851"/>
                <p:cNvSpPr>
                  <a:spLocks/>
                </p:cNvSpPr>
                <p:nvPr/>
              </p:nvSpPr>
              <p:spPr bwMode="auto">
                <a:xfrm>
                  <a:off x="7407759" y="4553250"/>
                  <a:ext cx="153907" cy="230860"/>
                </a:xfrm>
                <a:custGeom>
                  <a:avLst/>
                  <a:gdLst>
                    <a:gd name="T0" fmla="*/ 2147483647 w 113"/>
                    <a:gd name="T1" fmla="*/ 2147483647 h 156"/>
                    <a:gd name="T2" fmla="*/ 2147483647 w 113"/>
                    <a:gd name="T3" fmla="*/ 2147483647 h 156"/>
                    <a:gd name="T4" fmla="*/ 2147483647 w 113"/>
                    <a:gd name="T5" fmla="*/ 2147483647 h 156"/>
                    <a:gd name="T6" fmla="*/ 2147483647 w 113"/>
                    <a:gd name="T7" fmla="*/ 2147483647 h 156"/>
                    <a:gd name="T8" fmla="*/ 2147483647 w 113"/>
                    <a:gd name="T9" fmla="*/ 2147483647 h 156"/>
                    <a:gd name="T10" fmla="*/ 0 w 113"/>
                    <a:gd name="T11" fmla="*/ 2147483647 h 156"/>
                    <a:gd name="T12" fmla="*/ 2147483647 w 113"/>
                    <a:gd name="T13" fmla="*/ 2147483647 h 156"/>
                    <a:gd name="T14" fmla="*/ 2147483647 w 113"/>
                    <a:gd name="T15" fmla="*/ 2147483647 h 156"/>
                    <a:gd name="T16" fmla="*/ 2147483647 w 113"/>
                    <a:gd name="T17" fmla="*/ 2147483647 h 156"/>
                    <a:gd name="T18" fmla="*/ 2147483647 w 113"/>
                    <a:gd name="T19" fmla="*/ 2147483647 h 156"/>
                    <a:gd name="T20" fmla="*/ 2147483647 w 113"/>
                    <a:gd name="T21" fmla="*/ 2147483647 h 156"/>
                    <a:gd name="T22" fmla="*/ 2147483647 w 113"/>
                    <a:gd name="T23" fmla="*/ 2147483647 h 156"/>
                    <a:gd name="T24" fmla="*/ 2147483647 w 113"/>
                    <a:gd name="T25" fmla="*/ 2147483647 h 156"/>
                    <a:gd name="T26" fmla="*/ 2147483647 w 113"/>
                    <a:gd name="T27" fmla="*/ 2147483647 h 156"/>
                    <a:gd name="T28" fmla="*/ 2147483647 w 113"/>
                    <a:gd name="T29" fmla="*/ 2147483647 h 156"/>
                    <a:gd name="T30" fmla="*/ 2147483647 w 113"/>
                    <a:gd name="T31" fmla="*/ 2147483647 h 156"/>
                    <a:gd name="T32" fmla="*/ 2147483647 w 113"/>
                    <a:gd name="T33" fmla="*/ 2147483647 h 156"/>
                    <a:gd name="T34" fmla="*/ 2147483647 w 113"/>
                    <a:gd name="T35" fmla="*/ 2147483647 h 156"/>
                    <a:gd name="T36" fmla="*/ 2147483647 w 113"/>
                    <a:gd name="T37" fmla="*/ 2147483647 h 156"/>
                    <a:gd name="T38" fmla="*/ 2147483647 w 113"/>
                    <a:gd name="T39" fmla="*/ 2147483647 h 156"/>
                    <a:gd name="T40" fmla="*/ 2147483647 w 113"/>
                    <a:gd name="T41" fmla="*/ 0 h 156"/>
                    <a:gd name="T42" fmla="*/ 2147483647 w 113"/>
                    <a:gd name="T43" fmla="*/ 2147483647 h 156"/>
                    <a:gd name="T44" fmla="*/ 2147483647 w 113"/>
                    <a:gd name="T45" fmla="*/ 2147483647 h 156"/>
                    <a:gd name="T46" fmla="*/ 2147483647 w 113"/>
                    <a:gd name="T47" fmla="*/ 2147483647 h 156"/>
                    <a:gd name="T48" fmla="*/ 2147483647 w 113"/>
                    <a:gd name="T49" fmla="*/ 2147483647 h 156"/>
                    <a:gd name="T50" fmla="*/ 2147483647 w 113"/>
                    <a:gd name="T51" fmla="*/ 2147483647 h 156"/>
                    <a:gd name="T52" fmla="*/ 2147483647 w 113"/>
                    <a:gd name="T53" fmla="*/ 2147483647 h 156"/>
                    <a:gd name="T54" fmla="*/ 2147483647 w 113"/>
                    <a:gd name="T55" fmla="*/ 2147483647 h 156"/>
                    <a:gd name="T56" fmla="*/ 2147483647 w 113"/>
                    <a:gd name="T57" fmla="*/ 2147483647 h 156"/>
                    <a:gd name="T58" fmla="*/ 2147483647 w 113"/>
                    <a:gd name="T59" fmla="*/ 2147483647 h 156"/>
                    <a:gd name="T60" fmla="*/ 2147483647 w 113"/>
                    <a:gd name="T61" fmla="*/ 2147483647 h 156"/>
                    <a:gd name="T62" fmla="*/ 2147483647 w 113"/>
                    <a:gd name="T63" fmla="*/ 2147483647 h 156"/>
                    <a:gd name="T64" fmla="*/ 2147483647 w 113"/>
                    <a:gd name="T65" fmla="*/ 2147483647 h 156"/>
                    <a:gd name="T66" fmla="*/ 2147483647 w 113"/>
                    <a:gd name="T67" fmla="*/ 2147483647 h 156"/>
                    <a:gd name="T68" fmla="*/ 2147483647 w 113"/>
                    <a:gd name="T69" fmla="*/ 2147483647 h 156"/>
                    <a:gd name="T70" fmla="*/ 2147483647 w 113"/>
                    <a:gd name="T71" fmla="*/ 2147483647 h 156"/>
                    <a:gd name="T72" fmla="*/ 2147483647 w 113"/>
                    <a:gd name="T73" fmla="*/ 2147483647 h 156"/>
                    <a:gd name="T74" fmla="*/ 2147483647 w 113"/>
                    <a:gd name="T75" fmla="*/ 2147483647 h 156"/>
                    <a:gd name="T76" fmla="*/ 2147483647 w 113"/>
                    <a:gd name="T77" fmla="*/ 2147483647 h 156"/>
                    <a:gd name="T78" fmla="*/ 2147483647 w 113"/>
                    <a:gd name="T79" fmla="*/ 2147483647 h 156"/>
                    <a:gd name="T80" fmla="*/ 2147483647 w 113"/>
                    <a:gd name="T81" fmla="*/ 2147483647 h 156"/>
                    <a:gd name="T82" fmla="*/ 2147483647 w 113"/>
                    <a:gd name="T83" fmla="*/ 2147483647 h 156"/>
                    <a:gd name="T84" fmla="*/ 2147483647 w 113"/>
                    <a:gd name="T85" fmla="*/ 2147483647 h 156"/>
                    <a:gd name="T86" fmla="*/ 2147483647 w 113"/>
                    <a:gd name="T87" fmla="*/ 2147483647 h 156"/>
                    <a:gd name="T88" fmla="*/ 2147483647 w 113"/>
                    <a:gd name="T89" fmla="*/ 2147483647 h 156"/>
                    <a:gd name="T90" fmla="*/ 2147483647 w 113"/>
                    <a:gd name="T91" fmla="*/ 2147483647 h 156"/>
                    <a:gd name="T92" fmla="*/ 2147483647 w 113"/>
                    <a:gd name="T93" fmla="*/ 2147483647 h 156"/>
                    <a:gd name="T94" fmla="*/ 2147483647 w 113"/>
                    <a:gd name="T95" fmla="*/ 2147483647 h 156"/>
                    <a:gd name="T96" fmla="*/ 2147483647 w 113"/>
                    <a:gd name="T97" fmla="*/ 2147483647 h 156"/>
                    <a:gd name="T98" fmla="*/ 2147483647 w 113"/>
                    <a:gd name="T99" fmla="*/ 2147483647 h 156"/>
                    <a:gd name="T100" fmla="*/ 2147483647 w 113"/>
                    <a:gd name="T101" fmla="*/ 2147483647 h 156"/>
                    <a:gd name="T102" fmla="*/ 2147483647 w 113"/>
                    <a:gd name="T103" fmla="*/ 2147483647 h 156"/>
                    <a:gd name="T104" fmla="*/ 2147483647 w 113"/>
                    <a:gd name="T105" fmla="*/ 2147483647 h 156"/>
                    <a:gd name="T106" fmla="*/ 2147483647 w 113"/>
                    <a:gd name="T107" fmla="*/ 2147483647 h 156"/>
                    <a:gd name="T108" fmla="*/ 2147483647 w 113"/>
                    <a:gd name="T109" fmla="*/ 2147483647 h 156"/>
                    <a:gd name="T110" fmla="*/ 2147483647 w 113"/>
                    <a:gd name="T111" fmla="*/ 2147483647 h 1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3"/>
                    <a:gd name="T169" fmla="*/ 0 h 156"/>
                    <a:gd name="T170" fmla="*/ 113 w 113"/>
                    <a:gd name="T171" fmla="*/ 156 h 1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3" h="156">
                      <a:moveTo>
                        <a:pt x="36" y="149"/>
                      </a:moveTo>
                      <a:lnTo>
                        <a:pt x="36" y="151"/>
                      </a:lnTo>
                      <a:lnTo>
                        <a:pt x="35" y="154"/>
                      </a:lnTo>
                      <a:lnTo>
                        <a:pt x="32" y="155"/>
                      </a:lnTo>
                      <a:lnTo>
                        <a:pt x="29" y="156"/>
                      </a:lnTo>
                      <a:lnTo>
                        <a:pt x="26" y="156"/>
                      </a:lnTo>
                      <a:lnTo>
                        <a:pt x="21" y="155"/>
                      </a:lnTo>
                      <a:lnTo>
                        <a:pt x="18" y="153"/>
                      </a:lnTo>
                      <a:lnTo>
                        <a:pt x="14" y="149"/>
                      </a:lnTo>
                      <a:lnTo>
                        <a:pt x="14" y="142"/>
                      </a:lnTo>
                      <a:lnTo>
                        <a:pt x="14" y="135"/>
                      </a:lnTo>
                      <a:lnTo>
                        <a:pt x="14" y="128"/>
                      </a:lnTo>
                      <a:lnTo>
                        <a:pt x="12" y="121"/>
                      </a:lnTo>
                      <a:lnTo>
                        <a:pt x="8" y="116"/>
                      </a:lnTo>
                      <a:lnTo>
                        <a:pt x="4" y="111"/>
                      </a:lnTo>
                      <a:lnTo>
                        <a:pt x="0" y="105"/>
                      </a:lnTo>
                      <a:lnTo>
                        <a:pt x="0" y="103"/>
                      </a:lnTo>
                      <a:lnTo>
                        <a:pt x="0" y="99"/>
                      </a:lnTo>
                      <a:lnTo>
                        <a:pt x="3" y="90"/>
                      </a:lnTo>
                      <a:lnTo>
                        <a:pt x="5" y="82"/>
                      </a:lnTo>
                      <a:lnTo>
                        <a:pt x="8" y="72"/>
                      </a:lnTo>
                      <a:lnTo>
                        <a:pt x="10" y="67"/>
                      </a:lnTo>
                      <a:lnTo>
                        <a:pt x="13" y="63"/>
                      </a:lnTo>
                      <a:lnTo>
                        <a:pt x="14" y="60"/>
                      </a:lnTo>
                      <a:lnTo>
                        <a:pt x="15" y="57"/>
                      </a:lnTo>
                      <a:lnTo>
                        <a:pt x="15" y="51"/>
                      </a:lnTo>
                      <a:lnTo>
                        <a:pt x="14" y="44"/>
                      </a:lnTo>
                      <a:lnTo>
                        <a:pt x="14" y="40"/>
                      </a:lnTo>
                      <a:lnTo>
                        <a:pt x="15" y="38"/>
                      </a:lnTo>
                      <a:lnTo>
                        <a:pt x="19" y="32"/>
                      </a:lnTo>
                      <a:lnTo>
                        <a:pt x="22" y="28"/>
                      </a:lnTo>
                      <a:lnTo>
                        <a:pt x="23" y="25"/>
                      </a:lnTo>
                      <a:lnTo>
                        <a:pt x="23" y="23"/>
                      </a:lnTo>
                      <a:lnTo>
                        <a:pt x="24" y="23"/>
                      </a:lnTo>
                      <a:lnTo>
                        <a:pt x="28" y="22"/>
                      </a:lnTo>
                      <a:lnTo>
                        <a:pt x="32" y="22"/>
                      </a:lnTo>
                      <a:lnTo>
                        <a:pt x="35" y="21"/>
                      </a:lnTo>
                      <a:lnTo>
                        <a:pt x="36" y="20"/>
                      </a:lnTo>
                      <a:lnTo>
                        <a:pt x="36" y="19"/>
                      </a:lnTo>
                      <a:lnTo>
                        <a:pt x="35" y="16"/>
                      </a:lnTo>
                      <a:lnTo>
                        <a:pt x="33" y="15"/>
                      </a:lnTo>
                      <a:lnTo>
                        <a:pt x="33" y="14"/>
                      </a:lnTo>
                      <a:lnTo>
                        <a:pt x="35" y="14"/>
                      </a:lnTo>
                      <a:lnTo>
                        <a:pt x="42" y="15"/>
                      </a:lnTo>
                      <a:lnTo>
                        <a:pt x="50" y="17"/>
                      </a:lnTo>
                      <a:lnTo>
                        <a:pt x="54" y="20"/>
                      </a:lnTo>
                      <a:lnTo>
                        <a:pt x="56" y="22"/>
                      </a:lnTo>
                      <a:lnTo>
                        <a:pt x="57" y="23"/>
                      </a:lnTo>
                      <a:lnTo>
                        <a:pt x="59" y="23"/>
                      </a:lnTo>
                      <a:lnTo>
                        <a:pt x="62" y="22"/>
                      </a:lnTo>
                      <a:lnTo>
                        <a:pt x="66" y="22"/>
                      </a:lnTo>
                      <a:lnTo>
                        <a:pt x="70" y="22"/>
                      </a:lnTo>
                      <a:lnTo>
                        <a:pt x="74" y="23"/>
                      </a:lnTo>
                      <a:lnTo>
                        <a:pt x="78" y="23"/>
                      </a:lnTo>
                      <a:lnTo>
                        <a:pt x="90" y="22"/>
                      </a:lnTo>
                      <a:lnTo>
                        <a:pt x="101" y="19"/>
                      </a:lnTo>
                      <a:lnTo>
                        <a:pt x="103" y="17"/>
                      </a:lnTo>
                      <a:lnTo>
                        <a:pt x="104" y="16"/>
                      </a:lnTo>
                      <a:lnTo>
                        <a:pt x="106" y="12"/>
                      </a:lnTo>
                      <a:lnTo>
                        <a:pt x="107" y="2"/>
                      </a:lnTo>
                      <a:lnTo>
                        <a:pt x="107" y="1"/>
                      </a:lnTo>
                      <a:lnTo>
                        <a:pt x="108" y="0"/>
                      </a:lnTo>
                      <a:lnTo>
                        <a:pt x="113" y="0"/>
                      </a:lnTo>
                      <a:lnTo>
                        <a:pt x="113" y="6"/>
                      </a:lnTo>
                      <a:lnTo>
                        <a:pt x="113" y="13"/>
                      </a:lnTo>
                      <a:lnTo>
                        <a:pt x="113" y="15"/>
                      </a:lnTo>
                      <a:lnTo>
                        <a:pt x="113" y="17"/>
                      </a:lnTo>
                      <a:lnTo>
                        <a:pt x="111" y="20"/>
                      </a:lnTo>
                      <a:lnTo>
                        <a:pt x="108" y="21"/>
                      </a:lnTo>
                      <a:lnTo>
                        <a:pt x="106" y="23"/>
                      </a:lnTo>
                      <a:lnTo>
                        <a:pt x="103" y="26"/>
                      </a:lnTo>
                      <a:lnTo>
                        <a:pt x="103" y="31"/>
                      </a:lnTo>
                      <a:lnTo>
                        <a:pt x="102" y="33"/>
                      </a:lnTo>
                      <a:lnTo>
                        <a:pt x="99" y="33"/>
                      </a:lnTo>
                      <a:lnTo>
                        <a:pt x="90" y="33"/>
                      </a:lnTo>
                      <a:lnTo>
                        <a:pt x="82" y="32"/>
                      </a:lnTo>
                      <a:lnTo>
                        <a:pt x="73" y="31"/>
                      </a:lnTo>
                      <a:lnTo>
                        <a:pt x="64" y="32"/>
                      </a:lnTo>
                      <a:lnTo>
                        <a:pt x="54" y="33"/>
                      </a:lnTo>
                      <a:lnTo>
                        <a:pt x="45" y="33"/>
                      </a:lnTo>
                      <a:lnTo>
                        <a:pt x="37" y="32"/>
                      </a:lnTo>
                      <a:lnTo>
                        <a:pt x="28" y="33"/>
                      </a:lnTo>
                      <a:lnTo>
                        <a:pt x="26" y="35"/>
                      </a:lnTo>
                      <a:lnTo>
                        <a:pt x="23" y="38"/>
                      </a:lnTo>
                      <a:lnTo>
                        <a:pt x="22" y="40"/>
                      </a:lnTo>
                      <a:lnTo>
                        <a:pt x="22" y="44"/>
                      </a:lnTo>
                      <a:lnTo>
                        <a:pt x="24" y="51"/>
                      </a:lnTo>
                      <a:lnTo>
                        <a:pt x="27" y="55"/>
                      </a:lnTo>
                      <a:lnTo>
                        <a:pt x="32" y="60"/>
                      </a:lnTo>
                      <a:lnTo>
                        <a:pt x="33" y="64"/>
                      </a:lnTo>
                      <a:lnTo>
                        <a:pt x="35" y="66"/>
                      </a:lnTo>
                      <a:lnTo>
                        <a:pt x="36" y="67"/>
                      </a:lnTo>
                      <a:lnTo>
                        <a:pt x="37" y="68"/>
                      </a:lnTo>
                      <a:lnTo>
                        <a:pt x="41" y="68"/>
                      </a:lnTo>
                      <a:lnTo>
                        <a:pt x="45" y="66"/>
                      </a:lnTo>
                      <a:lnTo>
                        <a:pt x="51" y="60"/>
                      </a:lnTo>
                      <a:lnTo>
                        <a:pt x="59" y="59"/>
                      </a:lnTo>
                      <a:lnTo>
                        <a:pt x="66" y="59"/>
                      </a:lnTo>
                      <a:lnTo>
                        <a:pt x="70" y="59"/>
                      </a:lnTo>
                      <a:lnTo>
                        <a:pt x="71" y="60"/>
                      </a:lnTo>
                      <a:lnTo>
                        <a:pt x="71" y="63"/>
                      </a:lnTo>
                      <a:lnTo>
                        <a:pt x="66" y="68"/>
                      </a:lnTo>
                      <a:lnTo>
                        <a:pt x="61" y="74"/>
                      </a:lnTo>
                      <a:lnTo>
                        <a:pt x="56" y="78"/>
                      </a:lnTo>
                      <a:lnTo>
                        <a:pt x="47" y="82"/>
                      </a:lnTo>
                      <a:lnTo>
                        <a:pt x="46" y="82"/>
                      </a:lnTo>
                      <a:lnTo>
                        <a:pt x="45" y="83"/>
                      </a:lnTo>
                      <a:lnTo>
                        <a:pt x="43" y="85"/>
                      </a:lnTo>
                      <a:lnTo>
                        <a:pt x="45" y="86"/>
                      </a:lnTo>
                      <a:lnTo>
                        <a:pt x="46" y="89"/>
                      </a:lnTo>
                      <a:lnTo>
                        <a:pt x="49" y="89"/>
                      </a:lnTo>
                      <a:lnTo>
                        <a:pt x="51" y="90"/>
                      </a:lnTo>
                      <a:lnTo>
                        <a:pt x="54" y="91"/>
                      </a:lnTo>
                      <a:lnTo>
                        <a:pt x="59" y="97"/>
                      </a:lnTo>
                      <a:lnTo>
                        <a:pt x="65" y="105"/>
                      </a:lnTo>
                      <a:lnTo>
                        <a:pt x="66" y="109"/>
                      </a:lnTo>
                      <a:lnTo>
                        <a:pt x="66" y="112"/>
                      </a:lnTo>
                      <a:lnTo>
                        <a:pt x="65" y="117"/>
                      </a:lnTo>
                      <a:lnTo>
                        <a:pt x="62" y="121"/>
                      </a:lnTo>
                      <a:lnTo>
                        <a:pt x="61" y="122"/>
                      </a:lnTo>
                      <a:lnTo>
                        <a:pt x="61" y="123"/>
                      </a:lnTo>
                      <a:lnTo>
                        <a:pt x="64" y="125"/>
                      </a:lnTo>
                      <a:lnTo>
                        <a:pt x="68" y="128"/>
                      </a:lnTo>
                      <a:lnTo>
                        <a:pt x="69" y="129"/>
                      </a:lnTo>
                      <a:lnTo>
                        <a:pt x="69" y="130"/>
                      </a:lnTo>
                      <a:lnTo>
                        <a:pt x="69" y="131"/>
                      </a:lnTo>
                      <a:lnTo>
                        <a:pt x="68" y="132"/>
                      </a:lnTo>
                      <a:lnTo>
                        <a:pt x="65" y="131"/>
                      </a:lnTo>
                      <a:lnTo>
                        <a:pt x="61" y="131"/>
                      </a:lnTo>
                      <a:lnTo>
                        <a:pt x="59" y="132"/>
                      </a:lnTo>
                      <a:lnTo>
                        <a:pt x="56" y="136"/>
                      </a:lnTo>
                      <a:lnTo>
                        <a:pt x="56" y="137"/>
                      </a:lnTo>
                      <a:lnTo>
                        <a:pt x="57" y="140"/>
                      </a:lnTo>
                      <a:lnTo>
                        <a:pt x="60" y="141"/>
                      </a:lnTo>
                      <a:lnTo>
                        <a:pt x="62" y="143"/>
                      </a:lnTo>
                      <a:lnTo>
                        <a:pt x="62" y="146"/>
                      </a:lnTo>
                      <a:lnTo>
                        <a:pt x="61" y="148"/>
                      </a:lnTo>
                      <a:lnTo>
                        <a:pt x="60" y="149"/>
                      </a:lnTo>
                      <a:lnTo>
                        <a:pt x="59" y="148"/>
                      </a:lnTo>
                      <a:lnTo>
                        <a:pt x="55" y="142"/>
                      </a:lnTo>
                      <a:lnTo>
                        <a:pt x="52" y="138"/>
                      </a:lnTo>
                      <a:lnTo>
                        <a:pt x="49" y="137"/>
                      </a:lnTo>
                      <a:lnTo>
                        <a:pt x="47" y="136"/>
                      </a:lnTo>
                      <a:lnTo>
                        <a:pt x="47" y="135"/>
                      </a:lnTo>
                      <a:lnTo>
                        <a:pt x="47" y="129"/>
                      </a:lnTo>
                      <a:lnTo>
                        <a:pt x="46" y="125"/>
                      </a:lnTo>
                      <a:lnTo>
                        <a:pt x="41" y="117"/>
                      </a:lnTo>
                      <a:lnTo>
                        <a:pt x="40" y="115"/>
                      </a:lnTo>
                      <a:lnTo>
                        <a:pt x="41" y="112"/>
                      </a:lnTo>
                      <a:lnTo>
                        <a:pt x="42" y="108"/>
                      </a:lnTo>
                      <a:lnTo>
                        <a:pt x="42" y="105"/>
                      </a:lnTo>
                      <a:lnTo>
                        <a:pt x="42" y="103"/>
                      </a:lnTo>
                      <a:lnTo>
                        <a:pt x="40" y="100"/>
                      </a:lnTo>
                      <a:lnTo>
                        <a:pt x="37" y="99"/>
                      </a:lnTo>
                      <a:lnTo>
                        <a:pt x="33" y="99"/>
                      </a:lnTo>
                      <a:lnTo>
                        <a:pt x="31" y="100"/>
                      </a:lnTo>
                      <a:lnTo>
                        <a:pt x="28" y="103"/>
                      </a:lnTo>
                      <a:lnTo>
                        <a:pt x="27" y="105"/>
                      </a:lnTo>
                      <a:lnTo>
                        <a:pt x="27" y="109"/>
                      </a:lnTo>
                      <a:lnTo>
                        <a:pt x="28" y="112"/>
                      </a:lnTo>
                      <a:lnTo>
                        <a:pt x="31" y="116"/>
                      </a:lnTo>
                      <a:lnTo>
                        <a:pt x="31" y="119"/>
                      </a:lnTo>
                      <a:lnTo>
                        <a:pt x="29" y="127"/>
                      </a:lnTo>
                      <a:lnTo>
                        <a:pt x="28" y="136"/>
                      </a:lnTo>
                      <a:lnTo>
                        <a:pt x="28" y="138"/>
                      </a:lnTo>
                      <a:lnTo>
                        <a:pt x="28" y="141"/>
                      </a:lnTo>
                      <a:lnTo>
                        <a:pt x="31" y="146"/>
                      </a:lnTo>
                      <a:lnTo>
                        <a:pt x="33" y="148"/>
                      </a:lnTo>
                      <a:lnTo>
                        <a:pt x="36" y="14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8" name="Freeform 852"/>
                <p:cNvSpPr>
                  <a:spLocks/>
                </p:cNvSpPr>
                <p:nvPr/>
              </p:nvSpPr>
              <p:spPr bwMode="auto">
                <a:xfrm>
                  <a:off x="7495072" y="4751553"/>
                  <a:ext cx="19239" cy="34037"/>
                </a:xfrm>
                <a:custGeom>
                  <a:avLst/>
                  <a:gdLst>
                    <a:gd name="T0" fmla="*/ 2147483647 w 14"/>
                    <a:gd name="T1" fmla="*/ 2147483647 h 23"/>
                    <a:gd name="T2" fmla="*/ 2147483647 w 14"/>
                    <a:gd name="T3" fmla="*/ 2147483647 h 23"/>
                    <a:gd name="T4" fmla="*/ 2147483647 w 14"/>
                    <a:gd name="T5" fmla="*/ 2147483647 h 23"/>
                    <a:gd name="T6" fmla="*/ 2147483647 w 14"/>
                    <a:gd name="T7" fmla="*/ 2147483647 h 23"/>
                    <a:gd name="T8" fmla="*/ 0 w 14"/>
                    <a:gd name="T9" fmla="*/ 2147483647 h 23"/>
                    <a:gd name="T10" fmla="*/ 0 w 14"/>
                    <a:gd name="T11" fmla="*/ 2147483647 h 23"/>
                    <a:gd name="T12" fmla="*/ 2147483647 w 14"/>
                    <a:gd name="T13" fmla="*/ 2147483647 h 23"/>
                    <a:gd name="T14" fmla="*/ 2147483647 w 14"/>
                    <a:gd name="T15" fmla="*/ 2147483647 h 23"/>
                    <a:gd name="T16" fmla="*/ 2147483647 w 14"/>
                    <a:gd name="T17" fmla="*/ 2147483647 h 23"/>
                    <a:gd name="T18" fmla="*/ 2147483647 w 14"/>
                    <a:gd name="T19" fmla="*/ 0 h 23"/>
                    <a:gd name="T20" fmla="*/ 2147483647 w 14"/>
                    <a:gd name="T21" fmla="*/ 0 h 23"/>
                    <a:gd name="T22" fmla="*/ 2147483647 w 14"/>
                    <a:gd name="T23" fmla="*/ 2147483647 h 23"/>
                    <a:gd name="T24" fmla="*/ 2147483647 w 14"/>
                    <a:gd name="T25" fmla="*/ 2147483647 h 23"/>
                    <a:gd name="T26" fmla="*/ 2147483647 w 14"/>
                    <a:gd name="T27" fmla="*/ 2147483647 h 23"/>
                    <a:gd name="T28" fmla="*/ 2147483647 w 14"/>
                    <a:gd name="T29" fmla="*/ 2147483647 h 23"/>
                    <a:gd name="T30" fmla="*/ 2147483647 w 14"/>
                    <a:gd name="T31" fmla="*/ 2147483647 h 23"/>
                    <a:gd name="T32" fmla="*/ 2147483647 w 14"/>
                    <a:gd name="T33" fmla="*/ 2147483647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3"/>
                    <a:gd name="T53" fmla="*/ 14 w 14"/>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3">
                      <a:moveTo>
                        <a:pt x="12" y="15"/>
                      </a:moveTo>
                      <a:lnTo>
                        <a:pt x="7" y="20"/>
                      </a:lnTo>
                      <a:lnTo>
                        <a:pt x="2" y="23"/>
                      </a:lnTo>
                      <a:lnTo>
                        <a:pt x="1" y="23"/>
                      </a:lnTo>
                      <a:lnTo>
                        <a:pt x="0" y="23"/>
                      </a:lnTo>
                      <a:lnTo>
                        <a:pt x="0" y="21"/>
                      </a:lnTo>
                      <a:lnTo>
                        <a:pt x="2" y="15"/>
                      </a:lnTo>
                      <a:lnTo>
                        <a:pt x="6" y="7"/>
                      </a:lnTo>
                      <a:lnTo>
                        <a:pt x="9" y="2"/>
                      </a:lnTo>
                      <a:lnTo>
                        <a:pt x="11" y="0"/>
                      </a:lnTo>
                      <a:lnTo>
                        <a:pt x="14" y="0"/>
                      </a:lnTo>
                      <a:lnTo>
                        <a:pt x="14" y="2"/>
                      </a:lnTo>
                      <a:lnTo>
                        <a:pt x="12" y="7"/>
                      </a:lnTo>
                      <a:lnTo>
                        <a:pt x="12" y="9"/>
                      </a:lnTo>
                      <a:lnTo>
                        <a:pt x="14" y="13"/>
                      </a:lnTo>
                      <a:lnTo>
                        <a:pt x="14" y="14"/>
                      </a:lnTo>
                      <a:lnTo>
                        <a:pt x="12" y="1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69" name="Freeform 853"/>
                <p:cNvSpPr>
                  <a:spLocks/>
                </p:cNvSpPr>
                <p:nvPr/>
              </p:nvSpPr>
              <p:spPr bwMode="auto">
                <a:xfrm>
                  <a:off x="7406279" y="4551768"/>
                  <a:ext cx="153907" cy="230860"/>
                </a:xfrm>
                <a:custGeom>
                  <a:avLst/>
                  <a:gdLst>
                    <a:gd name="T0" fmla="*/ 2147483647 w 113"/>
                    <a:gd name="T1" fmla="*/ 2147483647 h 156"/>
                    <a:gd name="T2" fmla="*/ 2147483647 w 113"/>
                    <a:gd name="T3" fmla="*/ 2147483647 h 156"/>
                    <a:gd name="T4" fmla="*/ 2147483647 w 113"/>
                    <a:gd name="T5" fmla="*/ 2147483647 h 156"/>
                    <a:gd name="T6" fmla="*/ 2147483647 w 113"/>
                    <a:gd name="T7" fmla="*/ 2147483647 h 156"/>
                    <a:gd name="T8" fmla="*/ 0 w 113"/>
                    <a:gd name="T9" fmla="*/ 2147483647 h 156"/>
                    <a:gd name="T10" fmla="*/ 2147483647 w 113"/>
                    <a:gd name="T11" fmla="*/ 2147483647 h 156"/>
                    <a:gd name="T12" fmla="*/ 2147483647 w 113"/>
                    <a:gd name="T13" fmla="*/ 2147483647 h 156"/>
                    <a:gd name="T14" fmla="*/ 2147483647 w 113"/>
                    <a:gd name="T15" fmla="*/ 2147483647 h 156"/>
                    <a:gd name="T16" fmla="*/ 2147483647 w 113"/>
                    <a:gd name="T17" fmla="*/ 2147483647 h 156"/>
                    <a:gd name="T18" fmla="*/ 2147483647 w 113"/>
                    <a:gd name="T19" fmla="*/ 2147483647 h 156"/>
                    <a:gd name="T20" fmla="*/ 2147483647 w 113"/>
                    <a:gd name="T21" fmla="*/ 2147483647 h 156"/>
                    <a:gd name="T22" fmla="*/ 2147483647 w 113"/>
                    <a:gd name="T23" fmla="*/ 2147483647 h 156"/>
                    <a:gd name="T24" fmla="*/ 2147483647 w 113"/>
                    <a:gd name="T25" fmla="*/ 2147483647 h 156"/>
                    <a:gd name="T26" fmla="*/ 2147483647 w 113"/>
                    <a:gd name="T27" fmla="*/ 2147483647 h 156"/>
                    <a:gd name="T28" fmla="*/ 2147483647 w 113"/>
                    <a:gd name="T29" fmla="*/ 2147483647 h 156"/>
                    <a:gd name="T30" fmla="*/ 2147483647 w 113"/>
                    <a:gd name="T31" fmla="*/ 2147483647 h 156"/>
                    <a:gd name="T32" fmla="*/ 2147483647 w 113"/>
                    <a:gd name="T33" fmla="*/ 2147483647 h 156"/>
                    <a:gd name="T34" fmla="*/ 2147483647 w 113"/>
                    <a:gd name="T35" fmla="*/ 2147483647 h 156"/>
                    <a:gd name="T36" fmla="*/ 2147483647 w 113"/>
                    <a:gd name="T37" fmla="*/ 2147483647 h 156"/>
                    <a:gd name="T38" fmla="*/ 2147483647 w 113"/>
                    <a:gd name="T39" fmla="*/ 0 h 156"/>
                    <a:gd name="T40" fmla="*/ 2147483647 w 113"/>
                    <a:gd name="T41" fmla="*/ 2147483647 h 156"/>
                    <a:gd name="T42" fmla="*/ 2147483647 w 113"/>
                    <a:gd name="T43" fmla="*/ 2147483647 h 156"/>
                    <a:gd name="T44" fmla="*/ 2147483647 w 113"/>
                    <a:gd name="T45" fmla="*/ 2147483647 h 156"/>
                    <a:gd name="T46" fmla="*/ 2147483647 w 113"/>
                    <a:gd name="T47" fmla="*/ 2147483647 h 156"/>
                    <a:gd name="T48" fmla="*/ 2147483647 w 113"/>
                    <a:gd name="T49" fmla="*/ 2147483647 h 156"/>
                    <a:gd name="T50" fmla="*/ 2147483647 w 113"/>
                    <a:gd name="T51" fmla="*/ 2147483647 h 156"/>
                    <a:gd name="T52" fmla="*/ 2147483647 w 113"/>
                    <a:gd name="T53" fmla="*/ 2147483647 h 156"/>
                    <a:gd name="T54" fmla="*/ 2147483647 w 113"/>
                    <a:gd name="T55" fmla="*/ 2147483647 h 156"/>
                    <a:gd name="T56" fmla="*/ 2147483647 w 113"/>
                    <a:gd name="T57" fmla="*/ 2147483647 h 156"/>
                    <a:gd name="T58" fmla="*/ 2147483647 w 113"/>
                    <a:gd name="T59" fmla="*/ 2147483647 h 156"/>
                    <a:gd name="T60" fmla="*/ 2147483647 w 113"/>
                    <a:gd name="T61" fmla="*/ 2147483647 h 156"/>
                    <a:gd name="T62" fmla="*/ 2147483647 w 113"/>
                    <a:gd name="T63" fmla="*/ 2147483647 h 156"/>
                    <a:gd name="T64" fmla="*/ 2147483647 w 113"/>
                    <a:gd name="T65" fmla="*/ 2147483647 h 156"/>
                    <a:gd name="T66" fmla="*/ 2147483647 w 113"/>
                    <a:gd name="T67" fmla="*/ 2147483647 h 156"/>
                    <a:gd name="T68" fmla="*/ 2147483647 w 113"/>
                    <a:gd name="T69" fmla="*/ 2147483647 h 156"/>
                    <a:gd name="T70" fmla="*/ 2147483647 w 113"/>
                    <a:gd name="T71" fmla="*/ 2147483647 h 156"/>
                    <a:gd name="T72" fmla="*/ 2147483647 w 113"/>
                    <a:gd name="T73" fmla="*/ 2147483647 h 156"/>
                    <a:gd name="T74" fmla="*/ 2147483647 w 113"/>
                    <a:gd name="T75" fmla="*/ 2147483647 h 156"/>
                    <a:gd name="T76" fmla="*/ 2147483647 w 113"/>
                    <a:gd name="T77" fmla="*/ 2147483647 h 156"/>
                    <a:gd name="T78" fmla="*/ 2147483647 w 113"/>
                    <a:gd name="T79" fmla="*/ 2147483647 h 156"/>
                    <a:gd name="T80" fmla="*/ 2147483647 w 113"/>
                    <a:gd name="T81" fmla="*/ 2147483647 h 156"/>
                    <a:gd name="T82" fmla="*/ 2147483647 w 113"/>
                    <a:gd name="T83" fmla="*/ 2147483647 h 156"/>
                    <a:gd name="T84" fmla="*/ 2147483647 w 113"/>
                    <a:gd name="T85" fmla="*/ 2147483647 h 156"/>
                    <a:gd name="T86" fmla="*/ 2147483647 w 113"/>
                    <a:gd name="T87" fmla="*/ 2147483647 h 156"/>
                    <a:gd name="T88" fmla="*/ 2147483647 w 113"/>
                    <a:gd name="T89" fmla="*/ 2147483647 h 156"/>
                    <a:gd name="T90" fmla="*/ 2147483647 w 113"/>
                    <a:gd name="T91" fmla="*/ 2147483647 h 156"/>
                    <a:gd name="T92" fmla="*/ 2147483647 w 113"/>
                    <a:gd name="T93" fmla="*/ 2147483647 h 156"/>
                    <a:gd name="T94" fmla="*/ 2147483647 w 113"/>
                    <a:gd name="T95" fmla="*/ 2147483647 h 156"/>
                    <a:gd name="T96" fmla="*/ 2147483647 w 113"/>
                    <a:gd name="T97" fmla="*/ 2147483647 h 156"/>
                    <a:gd name="T98" fmla="*/ 2147483647 w 113"/>
                    <a:gd name="T99" fmla="*/ 2147483647 h 156"/>
                    <a:gd name="T100" fmla="*/ 2147483647 w 113"/>
                    <a:gd name="T101" fmla="*/ 2147483647 h 156"/>
                    <a:gd name="T102" fmla="*/ 2147483647 w 113"/>
                    <a:gd name="T103" fmla="*/ 2147483647 h 156"/>
                    <a:gd name="T104" fmla="*/ 2147483647 w 113"/>
                    <a:gd name="T105" fmla="*/ 2147483647 h 156"/>
                    <a:gd name="T106" fmla="*/ 2147483647 w 113"/>
                    <a:gd name="T107" fmla="*/ 2147483647 h 1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
                    <a:gd name="T163" fmla="*/ 0 h 156"/>
                    <a:gd name="T164" fmla="*/ 113 w 113"/>
                    <a:gd name="T165" fmla="*/ 156 h 1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 h="156">
                      <a:moveTo>
                        <a:pt x="36" y="149"/>
                      </a:moveTo>
                      <a:lnTo>
                        <a:pt x="36" y="149"/>
                      </a:lnTo>
                      <a:lnTo>
                        <a:pt x="36" y="151"/>
                      </a:lnTo>
                      <a:lnTo>
                        <a:pt x="34" y="154"/>
                      </a:lnTo>
                      <a:lnTo>
                        <a:pt x="32" y="155"/>
                      </a:lnTo>
                      <a:lnTo>
                        <a:pt x="29" y="156"/>
                      </a:lnTo>
                      <a:lnTo>
                        <a:pt x="25" y="156"/>
                      </a:lnTo>
                      <a:lnTo>
                        <a:pt x="20" y="155"/>
                      </a:lnTo>
                      <a:lnTo>
                        <a:pt x="18" y="152"/>
                      </a:lnTo>
                      <a:lnTo>
                        <a:pt x="14" y="149"/>
                      </a:lnTo>
                      <a:lnTo>
                        <a:pt x="14" y="142"/>
                      </a:lnTo>
                      <a:lnTo>
                        <a:pt x="14" y="135"/>
                      </a:lnTo>
                      <a:lnTo>
                        <a:pt x="14" y="128"/>
                      </a:lnTo>
                      <a:lnTo>
                        <a:pt x="11" y="120"/>
                      </a:lnTo>
                      <a:lnTo>
                        <a:pt x="8" y="116"/>
                      </a:lnTo>
                      <a:lnTo>
                        <a:pt x="4" y="111"/>
                      </a:lnTo>
                      <a:lnTo>
                        <a:pt x="0" y="105"/>
                      </a:lnTo>
                      <a:lnTo>
                        <a:pt x="0" y="103"/>
                      </a:lnTo>
                      <a:lnTo>
                        <a:pt x="0" y="99"/>
                      </a:lnTo>
                      <a:lnTo>
                        <a:pt x="3" y="90"/>
                      </a:lnTo>
                      <a:lnTo>
                        <a:pt x="5" y="81"/>
                      </a:lnTo>
                      <a:lnTo>
                        <a:pt x="8" y="72"/>
                      </a:lnTo>
                      <a:lnTo>
                        <a:pt x="10" y="67"/>
                      </a:lnTo>
                      <a:lnTo>
                        <a:pt x="13" y="62"/>
                      </a:lnTo>
                      <a:lnTo>
                        <a:pt x="14" y="60"/>
                      </a:lnTo>
                      <a:lnTo>
                        <a:pt x="15" y="56"/>
                      </a:lnTo>
                      <a:lnTo>
                        <a:pt x="15" y="51"/>
                      </a:lnTo>
                      <a:lnTo>
                        <a:pt x="14" y="43"/>
                      </a:lnTo>
                      <a:lnTo>
                        <a:pt x="14" y="40"/>
                      </a:lnTo>
                      <a:lnTo>
                        <a:pt x="15" y="37"/>
                      </a:lnTo>
                      <a:lnTo>
                        <a:pt x="19" y="32"/>
                      </a:lnTo>
                      <a:lnTo>
                        <a:pt x="22" y="28"/>
                      </a:lnTo>
                      <a:lnTo>
                        <a:pt x="23" y="24"/>
                      </a:lnTo>
                      <a:lnTo>
                        <a:pt x="23" y="23"/>
                      </a:lnTo>
                      <a:lnTo>
                        <a:pt x="24" y="23"/>
                      </a:lnTo>
                      <a:lnTo>
                        <a:pt x="28" y="22"/>
                      </a:lnTo>
                      <a:lnTo>
                        <a:pt x="32" y="22"/>
                      </a:lnTo>
                      <a:lnTo>
                        <a:pt x="34" y="21"/>
                      </a:lnTo>
                      <a:lnTo>
                        <a:pt x="36" y="20"/>
                      </a:lnTo>
                      <a:lnTo>
                        <a:pt x="36" y="18"/>
                      </a:lnTo>
                      <a:lnTo>
                        <a:pt x="34" y="16"/>
                      </a:lnTo>
                      <a:lnTo>
                        <a:pt x="33" y="15"/>
                      </a:lnTo>
                      <a:lnTo>
                        <a:pt x="33" y="14"/>
                      </a:lnTo>
                      <a:lnTo>
                        <a:pt x="34" y="14"/>
                      </a:lnTo>
                      <a:lnTo>
                        <a:pt x="42" y="15"/>
                      </a:lnTo>
                      <a:lnTo>
                        <a:pt x="50" y="17"/>
                      </a:lnTo>
                      <a:lnTo>
                        <a:pt x="53" y="20"/>
                      </a:lnTo>
                      <a:lnTo>
                        <a:pt x="56" y="22"/>
                      </a:lnTo>
                      <a:lnTo>
                        <a:pt x="57" y="23"/>
                      </a:lnTo>
                      <a:lnTo>
                        <a:pt x="58" y="23"/>
                      </a:lnTo>
                      <a:lnTo>
                        <a:pt x="62" y="22"/>
                      </a:lnTo>
                      <a:lnTo>
                        <a:pt x="66" y="22"/>
                      </a:lnTo>
                      <a:lnTo>
                        <a:pt x="70" y="22"/>
                      </a:lnTo>
                      <a:lnTo>
                        <a:pt x="74" y="23"/>
                      </a:lnTo>
                      <a:lnTo>
                        <a:pt x="77" y="23"/>
                      </a:lnTo>
                      <a:lnTo>
                        <a:pt x="90" y="22"/>
                      </a:lnTo>
                      <a:lnTo>
                        <a:pt x="100" y="18"/>
                      </a:lnTo>
                      <a:lnTo>
                        <a:pt x="103" y="17"/>
                      </a:lnTo>
                      <a:lnTo>
                        <a:pt x="104" y="16"/>
                      </a:lnTo>
                      <a:lnTo>
                        <a:pt x="105" y="11"/>
                      </a:lnTo>
                      <a:lnTo>
                        <a:pt x="107" y="2"/>
                      </a:lnTo>
                      <a:lnTo>
                        <a:pt x="107" y="1"/>
                      </a:lnTo>
                      <a:lnTo>
                        <a:pt x="108" y="0"/>
                      </a:lnTo>
                      <a:lnTo>
                        <a:pt x="113" y="0"/>
                      </a:lnTo>
                      <a:lnTo>
                        <a:pt x="113" y="5"/>
                      </a:lnTo>
                      <a:lnTo>
                        <a:pt x="113" y="13"/>
                      </a:lnTo>
                      <a:lnTo>
                        <a:pt x="113" y="15"/>
                      </a:lnTo>
                      <a:lnTo>
                        <a:pt x="113" y="17"/>
                      </a:lnTo>
                      <a:lnTo>
                        <a:pt x="110" y="20"/>
                      </a:lnTo>
                      <a:lnTo>
                        <a:pt x="108" y="21"/>
                      </a:lnTo>
                      <a:lnTo>
                        <a:pt x="105" y="23"/>
                      </a:lnTo>
                      <a:lnTo>
                        <a:pt x="103" y="26"/>
                      </a:lnTo>
                      <a:lnTo>
                        <a:pt x="103" y="30"/>
                      </a:lnTo>
                      <a:lnTo>
                        <a:pt x="102" y="33"/>
                      </a:lnTo>
                      <a:lnTo>
                        <a:pt x="99" y="33"/>
                      </a:lnTo>
                      <a:lnTo>
                        <a:pt x="90" y="33"/>
                      </a:lnTo>
                      <a:lnTo>
                        <a:pt x="81" y="32"/>
                      </a:lnTo>
                      <a:lnTo>
                        <a:pt x="72" y="30"/>
                      </a:lnTo>
                      <a:lnTo>
                        <a:pt x="63" y="32"/>
                      </a:lnTo>
                      <a:lnTo>
                        <a:pt x="53" y="33"/>
                      </a:lnTo>
                      <a:lnTo>
                        <a:pt x="44" y="33"/>
                      </a:lnTo>
                      <a:lnTo>
                        <a:pt x="37" y="32"/>
                      </a:lnTo>
                      <a:lnTo>
                        <a:pt x="28" y="33"/>
                      </a:lnTo>
                      <a:lnTo>
                        <a:pt x="25" y="35"/>
                      </a:lnTo>
                      <a:lnTo>
                        <a:pt x="23" y="37"/>
                      </a:lnTo>
                      <a:lnTo>
                        <a:pt x="22" y="40"/>
                      </a:lnTo>
                      <a:lnTo>
                        <a:pt x="22" y="43"/>
                      </a:lnTo>
                      <a:lnTo>
                        <a:pt x="24" y="51"/>
                      </a:lnTo>
                      <a:lnTo>
                        <a:pt x="27" y="55"/>
                      </a:lnTo>
                      <a:lnTo>
                        <a:pt x="32" y="60"/>
                      </a:lnTo>
                      <a:lnTo>
                        <a:pt x="33" y="64"/>
                      </a:lnTo>
                      <a:lnTo>
                        <a:pt x="34" y="66"/>
                      </a:lnTo>
                      <a:lnTo>
                        <a:pt x="36" y="67"/>
                      </a:lnTo>
                      <a:lnTo>
                        <a:pt x="37" y="68"/>
                      </a:lnTo>
                      <a:lnTo>
                        <a:pt x="41" y="68"/>
                      </a:lnTo>
                      <a:lnTo>
                        <a:pt x="44" y="66"/>
                      </a:lnTo>
                      <a:lnTo>
                        <a:pt x="51" y="60"/>
                      </a:lnTo>
                      <a:lnTo>
                        <a:pt x="58" y="59"/>
                      </a:lnTo>
                      <a:lnTo>
                        <a:pt x="66" y="59"/>
                      </a:lnTo>
                      <a:lnTo>
                        <a:pt x="70" y="59"/>
                      </a:lnTo>
                      <a:lnTo>
                        <a:pt x="71" y="60"/>
                      </a:lnTo>
                      <a:lnTo>
                        <a:pt x="71" y="62"/>
                      </a:lnTo>
                      <a:lnTo>
                        <a:pt x="66" y="68"/>
                      </a:lnTo>
                      <a:lnTo>
                        <a:pt x="61" y="74"/>
                      </a:lnTo>
                      <a:lnTo>
                        <a:pt x="56" y="78"/>
                      </a:lnTo>
                      <a:lnTo>
                        <a:pt x="47" y="81"/>
                      </a:lnTo>
                      <a:lnTo>
                        <a:pt x="46" y="81"/>
                      </a:lnTo>
                      <a:lnTo>
                        <a:pt x="44" y="83"/>
                      </a:lnTo>
                      <a:lnTo>
                        <a:pt x="43" y="85"/>
                      </a:lnTo>
                      <a:lnTo>
                        <a:pt x="44" y="86"/>
                      </a:lnTo>
                      <a:lnTo>
                        <a:pt x="46" y="88"/>
                      </a:lnTo>
                      <a:lnTo>
                        <a:pt x="48" y="88"/>
                      </a:lnTo>
                      <a:lnTo>
                        <a:pt x="51" y="90"/>
                      </a:lnTo>
                      <a:lnTo>
                        <a:pt x="53" y="91"/>
                      </a:lnTo>
                      <a:lnTo>
                        <a:pt x="58" y="97"/>
                      </a:lnTo>
                      <a:lnTo>
                        <a:pt x="65" y="105"/>
                      </a:lnTo>
                      <a:lnTo>
                        <a:pt x="66" y="109"/>
                      </a:lnTo>
                      <a:lnTo>
                        <a:pt x="66" y="112"/>
                      </a:lnTo>
                      <a:lnTo>
                        <a:pt x="65" y="117"/>
                      </a:lnTo>
                      <a:lnTo>
                        <a:pt x="62" y="120"/>
                      </a:lnTo>
                      <a:lnTo>
                        <a:pt x="61" y="122"/>
                      </a:lnTo>
                      <a:lnTo>
                        <a:pt x="61" y="123"/>
                      </a:lnTo>
                      <a:lnTo>
                        <a:pt x="63" y="125"/>
                      </a:lnTo>
                      <a:lnTo>
                        <a:pt x="67" y="128"/>
                      </a:lnTo>
                      <a:lnTo>
                        <a:pt x="69" y="129"/>
                      </a:lnTo>
                      <a:lnTo>
                        <a:pt x="69" y="130"/>
                      </a:lnTo>
                      <a:lnTo>
                        <a:pt x="69" y="131"/>
                      </a:lnTo>
                      <a:lnTo>
                        <a:pt x="67" y="132"/>
                      </a:lnTo>
                      <a:lnTo>
                        <a:pt x="65" y="131"/>
                      </a:lnTo>
                      <a:lnTo>
                        <a:pt x="61" y="131"/>
                      </a:lnTo>
                      <a:lnTo>
                        <a:pt x="58" y="132"/>
                      </a:lnTo>
                      <a:lnTo>
                        <a:pt x="56" y="136"/>
                      </a:lnTo>
                      <a:lnTo>
                        <a:pt x="56" y="137"/>
                      </a:lnTo>
                      <a:lnTo>
                        <a:pt x="57" y="139"/>
                      </a:lnTo>
                      <a:lnTo>
                        <a:pt x="60" y="141"/>
                      </a:lnTo>
                      <a:lnTo>
                        <a:pt x="62" y="143"/>
                      </a:lnTo>
                      <a:lnTo>
                        <a:pt x="62" y="145"/>
                      </a:lnTo>
                      <a:lnTo>
                        <a:pt x="61" y="148"/>
                      </a:lnTo>
                      <a:lnTo>
                        <a:pt x="60" y="149"/>
                      </a:lnTo>
                      <a:lnTo>
                        <a:pt x="58" y="148"/>
                      </a:lnTo>
                      <a:lnTo>
                        <a:pt x="55" y="142"/>
                      </a:lnTo>
                      <a:lnTo>
                        <a:pt x="52" y="138"/>
                      </a:lnTo>
                      <a:lnTo>
                        <a:pt x="48" y="137"/>
                      </a:lnTo>
                      <a:lnTo>
                        <a:pt x="47" y="136"/>
                      </a:lnTo>
                      <a:lnTo>
                        <a:pt x="47" y="135"/>
                      </a:lnTo>
                      <a:lnTo>
                        <a:pt x="47" y="129"/>
                      </a:lnTo>
                      <a:lnTo>
                        <a:pt x="46" y="125"/>
                      </a:lnTo>
                      <a:lnTo>
                        <a:pt x="41" y="117"/>
                      </a:lnTo>
                      <a:lnTo>
                        <a:pt x="39" y="115"/>
                      </a:lnTo>
                      <a:lnTo>
                        <a:pt x="41" y="112"/>
                      </a:lnTo>
                      <a:lnTo>
                        <a:pt x="42" y="107"/>
                      </a:lnTo>
                      <a:lnTo>
                        <a:pt x="42" y="105"/>
                      </a:lnTo>
                      <a:lnTo>
                        <a:pt x="42" y="103"/>
                      </a:lnTo>
                      <a:lnTo>
                        <a:pt x="39" y="100"/>
                      </a:lnTo>
                      <a:lnTo>
                        <a:pt x="37" y="99"/>
                      </a:lnTo>
                      <a:lnTo>
                        <a:pt x="33" y="99"/>
                      </a:lnTo>
                      <a:lnTo>
                        <a:pt x="30" y="100"/>
                      </a:lnTo>
                      <a:lnTo>
                        <a:pt x="28" y="103"/>
                      </a:lnTo>
                      <a:lnTo>
                        <a:pt x="27" y="105"/>
                      </a:lnTo>
                      <a:lnTo>
                        <a:pt x="27" y="109"/>
                      </a:lnTo>
                      <a:lnTo>
                        <a:pt x="28" y="112"/>
                      </a:lnTo>
                      <a:lnTo>
                        <a:pt x="30" y="116"/>
                      </a:lnTo>
                      <a:lnTo>
                        <a:pt x="30" y="119"/>
                      </a:lnTo>
                      <a:lnTo>
                        <a:pt x="29" y="126"/>
                      </a:lnTo>
                      <a:lnTo>
                        <a:pt x="28" y="136"/>
                      </a:lnTo>
                      <a:lnTo>
                        <a:pt x="28" y="138"/>
                      </a:lnTo>
                      <a:lnTo>
                        <a:pt x="28" y="141"/>
                      </a:lnTo>
                      <a:lnTo>
                        <a:pt x="30" y="145"/>
                      </a:lnTo>
                      <a:lnTo>
                        <a:pt x="33" y="148"/>
                      </a:lnTo>
                      <a:lnTo>
                        <a:pt x="36" y="149"/>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0" name="Freeform 854"/>
                <p:cNvSpPr>
                  <a:spLocks/>
                </p:cNvSpPr>
                <p:nvPr/>
              </p:nvSpPr>
              <p:spPr bwMode="auto">
                <a:xfrm>
                  <a:off x="7492111" y="4748593"/>
                  <a:ext cx="19239" cy="35517"/>
                </a:xfrm>
                <a:custGeom>
                  <a:avLst/>
                  <a:gdLst>
                    <a:gd name="T0" fmla="*/ 2147483647 w 14"/>
                    <a:gd name="T1" fmla="*/ 2147483647 h 24"/>
                    <a:gd name="T2" fmla="*/ 2147483647 w 14"/>
                    <a:gd name="T3" fmla="*/ 2147483647 h 24"/>
                    <a:gd name="T4" fmla="*/ 2147483647 w 14"/>
                    <a:gd name="T5" fmla="*/ 2147483647 h 24"/>
                    <a:gd name="T6" fmla="*/ 2147483647 w 14"/>
                    <a:gd name="T7" fmla="*/ 2147483647 h 24"/>
                    <a:gd name="T8" fmla="*/ 2147483647 w 14"/>
                    <a:gd name="T9" fmla="*/ 2147483647 h 24"/>
                    <a:gd name="T10" fmla="*/ 2147483647 w 14"/>
                    <a:gd name="T11" fmla="*/ 2147483647 h 24"/>
                    <a:gd name="T12" fmla="*/ 0 w 14"/>
                    <a:gd name="T13" fmla="*/ 2147483647 h 24"/>
                    <a:gd name="T14" fmla="*/ 0 w 14"/>
                    <a:gd name="T15" fmla="*/ 2147483647 h 24"/>
                    <a:gd name="T16" fmla="*/ 2147483647 w 14"/>
                    <a:gd name="T17" fmla="*/ 2147483647 h 24"/>
                    <a:gd name="T18" fmla="*/ 2147483647 w 14"/>
                    <a:gd name="T19" fmla="*/ 2147483647 h 24"/>
                    <a:gd name="T20" fmla="*/ 2147483647 w 14"/>
                    <a:gd name="T21" fmla="*/ 2147483647 h 24"/>
                    <a:gd name="T22" fmla="*/ 2147483647 w 14"/>
                    <a:gd name="T23" fmla="*/ 2147483647 h 24"/>
                    <a:gd name="T24" fmla="*/ 2147483647 w 14"/>
                    <a:gd name="T25" fmla="*/ 0 h 24"/>
                    <a:gd name="T26" fmla="*/ 2147483647 w 14"/>
                    <a:gd name="T27" fmla="*/ 0 h 24"/>
                    <a:gd name="T28" fmla="*/ 2147483647 w 14"/>
                    <a:gd name="T29" fmla="*/ 0 h 24"/>
                    <a:gd name="T30" fmla="*/ 2147483647 w 14"/>
                    <a:gd name="T31" fmla="*/ 0 h 24"/>
                    <a:gd name="T32" fmla="*/ 2147483647 w 14"/>
                    <a:gd name="T33" fmla="*/ 2147483647 h 24"/>
                    <a:gd name="T34" fmla="*/ 2147483647 w 14"/>
                    <a:gd name="T35" fmla="*/ 2147483647 h 24"/>
                    <a:gd name="T36" fmla="*/ 2147483647 w 14"/>
                    <a:gd name="T37" fmla="*/ 2147483647 h 24"/>
                    <a:gd name="T38" fmla="*/ 2147483647 w 14"/>
                    <a:gd name="T39" fmla="*/ 2147483647 h 24"/>
                    <a:gd name="T40" fmla="*/ 2147483647 w 14"/>
                    <a:gd name="T41" fmla="*/ 2147483647 h 24"/>
                    <a:gd name="T42" fmla="*/ 2147483647 w 14"/>
                    <a:gd name="T43" fmla="*/ 2147483647 h 24"/>
                    <a:gd name="T44" fmla="*/ 2147483647 w 14"/>
                    <a:gd name="T45" fmla="*/ 2147483647 h 24"/>
                    <a:gd name="T46" fmla="*/ 2147483647 w 14"/>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
                    <a:gd name="T73" fmla="*/ 0 h 24"/>
                    <a:gd name="T74" fmla="*/ 14 w 14"/>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 h="24">
                      <a:moveTo>
                        <a:pt x="13" y="16"/>
                      </a:moveTo>
                      <a:lnTo>
                        <a:pt x="13" y="16"/>
                      </a:lnTo>
                      <a:lnTo>
                        <a:pt x="8" y="21"/>
                      </a:lnTo>
                      <a:lnTo>
                        <a:pt x="3" y="24"/>
                      </a:lnTo>
                      <a:lnTo>
                        <a:pt x="2" y="24"/>
                      </a:lnTo>
                      <a:lnTo>
                        <a:pt x="0" y="24"/>
                      </a:lnTo>
                      <a:lnTo>
                        <a:pt x="0" y="22"/>
                      </a:lnTo>
                      <a:lnTo>
                        <a:pt x="3" y="16"/>
                      </a:lnTo>
                      <a:lnTo>
                        <a:pt x="7" y="8"/>
                      </a:lnTo>
                      <a:lnTo>
                        <a:pt x="9" y="3"/>
                      </a:lnTo>
                      <a:lnTo>
                        <a:pt x="12" y="0"/>
                      </a:lnTo>
                      <a:lnTo>
                        <a:pt x="14" y="0"/>
                      </a:lnTo>
                      <a:lnTo>
                        <a:pt x="14" y="3"/>
                      </a:lnTo>
                      <a:lnTo>
                        <a:pt x="13" y="8"/>
                      </a:lnTo>
                      <a:lnTo>
                        <a:pt x="13" y="10"/>
                      </a:lnTo>
                      <a:lnTo>
                        <a:pt x="14" y="14"/>
                      </a:lnTo>
                      <a:lnTo>
                        <a:pt x="14" y="15"/>
                      </a:lnTo>
                      <a:lnTo>
                        <a:pt x="13" y="1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1" name="Freeform 855"/>
                <p:cNvSpPr>
                  <a:spLocks/>
                </p:cNvSpPr>
                <p:nvPr/>
              </p:nvSpPr>
              <p:spPr bwMode="auto">
                <a:xfrm>
                  <a:off x="7703734" y="4633164"/>
                  <a:ext cx="229380" cy="245659"/>
                </a:xfrm>
                <a:custGeom>
                  <a:avLst/>
                  <a:gdLst>
                    <a:gd name="T0" fmla="*/ 2147483647 w 168"/>
                    <a:gd name="T1" fmla="*/ 2147483647 h 166"/>
                    <a:gd name="T2" fmla="*/ 2147483647 w 168"/>
                    <a:gd name="T3" fmla="*/ 2147483647 h 166"/>
                    <a:gd name="T4" fmla="*/ 2147483647 w 168"/>
                    <a:gd name="T5" fmla="*/ 2147483647 h 166"/>
                    <a:gd name="T6" fmla="*/ 2147483647 w 168"/>
                    <a:gd name="T7" fmla="*/ 2147483647 h 166"/>
                    <a:gd name="T8" fmla="*/ 2147483647 w 168"/>
                    <a:gd name="T9" fmla="*/ 2147483647 h 166"/>
                    <a:gd name="T10" fmla="*/ 2147483647 w 168"/>
                    <a:gd name="T11" fmla="*/ 2147483647 h 166"/>
                    <a:gd name="T12" fmla="*/ 2147483647 w 168"/>
                    <a:gd name="T13" fmla="*/ 2147483647 h 166"/>
                    <a:gd name="T14" fmla="*/ 2147483647 w 168"/>
                    <a:gd name="T15" fmla="*/ 2147483647 h 166"/>
                    <a:gd name="T16" fmla="*/ 2147483647 w 168"/>
                    <a:gd name="T17" fmla="*/ 2147483647 h 166"/>
                    <a:gd name="T18" fmla="*/ 2147483647 w 168"/>
                    <a:gd name="T19" fmla="*/ 2147483647 h 166"/>
                    <a:gd name="T20" fmla="*/ 2147483647 w 168"/>
                    <a:gd name="T21" fmla="*/ 2147483647 h 166"/>
                    <a:gd name="T22" fmla="*/ 2147483647 w 168"/>
                    <a:gd name="T23" fmla="*/ 2147483647 h 166"/>
                    <a:gd name="T24" fmla="*/ 2147483647 w 168"/>
                    <a:gd name="T25" fmla="*/ 2147483647 h 166"/>
                    <a:gd name="T26" fmla="*/ 2147483647 w 168"/>
                    <a:gd name="T27" fmla="*/ 2147483647 h 166"/>
                    <a:gd name="T28" fmla="*/ 2147483647 w 168"/>
                    <a:gd name="T29" fmla="*/ 2147483647 h 166"/>
                    <a:gd name="T30" fmla="*/ 2147483647 w 168"/>
                    <a:gd name="T31" fmla="*/ 2147483647 h 166"/>
                    <a:gd name="T32" fmla="*/ 2147483647 w 168"/>
                    <a:gd name="T33" fmla="*/ 2147483647 h 166"/>
                    <a:gd name="T34" fmla="*/ 2147483647 w 168"/>
                    <a:gd name="T35" fmla="*/ 2147483647 h 166"/>
                    <a:gd name="T36" fmla="*/ 2147483647 w 168"/>
                    <a:gd name="T37" fmla="*/ 2147483647 h 166"/>
                    <a:gd name="T38" fmla="*/ 2147483647 w 168"/>
                    <a:gd name="T39" fmla="*/ 2147483647 h 166"/>
                    <a:gd name="T40" fmla="*/ 2147483647 w 168"/>
                    <a:gd name="T41" fmla="*/ 2147483647 h 166"/>
                    <a:gd name="T42" fmla="*/ 2147483647 w 168"/>
                    <a:gd name="T43" fmla="*/ 0 h 166"/>
                    <a:gd name="T44" fmla="*/ 2147483647 w 168"/>
                    <a:gd name="T45" fmla="*/ 0 h 166"/>
                    <a:gd name="T46" fmla="*/ 2147483647 w 168"/>
                    <a:gd name="T47" fmla="*/ 2147483647 h 166"/>
                    <a:gd name="T48" fmla="*/ 2147483647 w 168"/>
                    <a:gd name="T49" fmla="*/ 2147483647 h 166"/>
                    <a:gd name="T50" fmla="*/ 0 w 168"/>
                    <a:gd name="T51" fmla="*/ 2147483647 h 166"/>
                    <a:gd name="T52" fmla="*/ 2147483647 w 168"/>
                    <a:gd name="T53" fmla="*/ 2147483647 h 166"/>
                    <a:gd name="T54" fmla="*/ 2147483647 w 168"/>
                    <a:gd name="T55" fmla="*/ 2147483647 h 166"/>
                    <a:gd name="T56" fmla="*/ 2147483647 w 168"/>
                    <a:gd name="T57" fmla="*/ 2147483647 h 166"/>
                    <a:gd name="T58" fmla="*/ 2147483647 w 168"/>
                    <a:gd name="T59" fmla="*/ 2147483647 h 166"/>
                    <a:gd name="T60" fmla="*/ 2147483647 w 168"/>
                    <a:gd name="T61" fmla="*/ 2147483647 h 166"/>
                    <a:gd name="T62" fmla="*/ 2147483647 w 168"/>
                    <a:gd name="T63" fmla="*/ 2147483647 h 166"/>
                    <a:gd name="T64" fmla="*/ 2147483647 w 168"/>
                    <a:gd name="T65" fmla="*/ 2147483647 h 166"/>
                    <a:gd name="T66" fmla="*/ 2147483647 w 168"/>
                    <a:gd name="T67" fmla="*/ 2147483647 h 166"/>
                    <a:gd name="T68" fmla="*/ 2147483647 w 168"/>
                    <a:gd name="T69" fmla="*/ 2147483647 h 166"/>
                    <a:gd name="T70" fmla="*/ 2147483647 w 168"/>
                    <a:gd name="T71" fmla="*/ 2147483647 h 166"/>
                    <a:gd name="T72" fmla="*/ 2147483647 w 168"/>
                    <a:gd name="T73" fmla="*/ 2147483647 h 166"/>
                    <a:gd name="T74" fmla="*/ 2147483647 w 168"/>
                    <a:gd name="T75" fmla="*/ 2147483647 h 166"/>
                    <a:gd name="T76" fmla="*/ 2147483647 w 168"/>
                    <a:gd name="T77" fmla="*/ 2147483647 h 166"/>
                    <a:gd name="T78" fmla="*/ 2147483647 w 168"/>
                    <a:gd name="T79" fmla="*/ 2147483647 h 166"/>
                    <a:gd name="T80" fmla="*/ 2147483647 w 168"/>
                    <a:gd name="T81" fmla="*/ 2147483647 h 166"/>
                    <a:gd name="T82" fmla="*/ 2147483647 w 168"/>
                    <a:gd name="T83" fmla="*/ 2147483647 h 166"/>
                    <a:gd name="T84" fmla="*/ 2147483647 w 168"/>
                    <a:gd name="T85" fmla="*/ 2147483647 h 166"/>
                    <a:gd name="T86" fmla="*/ 2147483647 w 168"/>
                    <a:gd name="T87" fmla="*/ 2147483647 h 166"/>
                    <a:gd name="T88" fmla="*/ 2147483647 w 168"/>
                    <a:gd name="T89" fmla="*/ 2147483647 h 166"/>
                    <a:gd name="T90" fmla="*/ 2147483647 w 168"/>
                    <a:gd name="T91" fmla="*/ 2147483647 h 166"/>
                    <a:gd name="T92" fmla="*/ 2147483647 w 168"/>
                    <a:gd name="T93" fmla="*/ 2147483647 h 166"/>
                    <a:gd name="T94" fmla="*/ 2147483647 w 168"/>
                    <a:gd name="T95" fmla="*/ 2147483647 h 166"/>
                    <a:gd name="T96" fmla="*/ 2147483647 w 168"/>
                    <a:gd name="T97" fmla="*/ 2147483647 h 166"/>
                    <a:gd name="T98" fmla="*/ 2147483647 w 168"/>
                    <a:gd name="T99" fmla="*/ 2147483647 h 166"/>
                    <a:gd name="T100" fmla="*/ 2147483647 w 168"/>
                    <a:gd name="T101" fmla="*/ 2147483647 h 166"/>
                    <a:gd name="T102" fmla="*/ 2147483647 w 168"/>
                    <a:gd name="T103" fmla="*/ 2147483647 h 166"/>
                    <a:gd name="T104" fmla="*/ 2147483647 w 168"/>
                    <a:gd name="T105" fmla="*/ 2147483647 h 166"/>
                    <a:gd name="T106" fmla="*/ 2147483647 w 168"/>
                    <a:gd name="T107" fmla="*/ 2147483647 h 166"/>
                    <a:gd name="T108" fmla="*/ 2147483647 w 168"/>
                    <a:gd name="T109" fmla="*/ 2147483647 h 166"/>
                    <a:gd name="T110" fmla="*/ 2147483647 w 168"/>
                    <a:gd name="T111" fmla="*/ 2147483647 h 166"/>
                    <a:gd name="T112" fmla="*/ 2147483647 w 168"/>
                    <a:gd name="T113" fmla="*/ 2147483647 h 166"/>
                    <a:gd name="T114" fmla="*/ 2147483647 w 168"/>
                    <a:gd name="T115" fmla="*/ 2147483647 h 166"/>
                    <a:gd name="T116" fmla="*/ 2147483647 w 168"/>
                    <a:gd name="T117" fmla="*/ 2147483647 h 166"/>
                    <a:gd name="T118" fmla="*/ 2147483647 w 168"/>
                    <a:gd name="T119" fmla="*/ 2147483647 h 166"/>
                    <a:gd name="T120" fmla="*/ 2147483647 w 168"/>
                    <a:gd name="T121" fmla="*/ 2147483647 h 166"/>
                    <a:gd name="T122" fmla="*/ 2147483647 w 168"/>
                    <a:gd name="T123" fmla="*/ 2147483647 h 1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8"/>
                    <a:gd name="T187" fmla="*/ 0 h 166"/>
                    <a:gd name="T188" fmla="*/ 168 w 168"/>
                    <a:gd name="T189" fmla="*/ 166 h 1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8" h="166">
                      <a:moveTo>
                        <a:pt x="168" y="166"/>
                      </a:moveTo>
                      <a:lnTo>
                        <a:pt x="165" y="139"/>
                      </a:lnTo>
                      <a:lnTo>
                        <a:pt x="165" y="125"/>
                      </a:lnTo>
                      <a:lnTo>
                        <a:pt x="167" y="111"/>
                      </a:lnTo>
                      <a:lnTo>
                        <a:pt x="165" y="37"/>
                      </a:lnTo>
                      <a:lnTo>
                        <a:pt x="154" y="35"/>
                      </a:lnTo>
                      <a:lnTo>
                        <a:pt x="143" y="35"/>
                      </a:lnTo>
                      <a:lnTo>
                        <a:pt x="138" y="33"/>
                      </a:lnTo>
                      <a:lnTo>
                        <a:pt x="135" y="33"/>
                      </a:lnTo>
                      <a:lnTo>
                        <a:pt x="132" y="32"/>
                      </a:lnTo>
                      <a:lnTo>
                        <a:pt x="120" y="23"/>
                      </a:lnTo>
                      <a:lnTo>
                        <a:pt x="113" y="19"/>
                      </a:lnTo>
                      <a:lnTo>
                        <a:pt x="111" y="19"/>
                      </a:lnTo>
                      <a:lnTo>
                        <a:pt x="107" y="19"/>
                      </a:lnTo>
                      <a:lnTo>
                        <a:pt x="106" y="19"/>
                      </a:lnTo>
                      <a:lnTo>
                        <a:pt x="105" y="20"/>
                      </a:lnTo>
                      <a:lnTo>
                        <a:pt x="103" y="24"/>
                      </a:lnTo>
                      <a:lnTo>
                        <a:pt x="103" y="28"/>
                      </a:lnTo>
                      <a:lnTo>
                        <a:pt x="103" y="29"/>
                      </a:lnTo>
                      <a:lnTo>
                        <a:pt x="102" y="30"/>
                      </a:lnTo>
                      <a:lnTo>
                        <a:pt x="97" y="31"/>
                      </a:lnTo>
                      <a:lnTo>
                        <a:pt x="93" y="32"/>
                      </a:lnTo>
                      <a:lnTo>
                        <a:pt x="85" y="38"/>
                      </a:lnTo>
                      <a:lnTo>
                        <a:pt x="79" y="44"/>
                      </a:lnTo>
                      <a:lnTo>
                        <a:pt x="72" y="49"/>
                      </a:lnTo>
                      <a:lnTo>
                        <a:pt x="69" y="49"/>
                      </a:lnTo>
                      <a:lnTo>
                        <a:pt x="66" y="49"/>
                      </a:lnTo>
                      <a:lnTo>
                        <a:pt x="65" y="48"/>
                      </a:lnTo>
                      <a:lnTo>
                        <a:pt x="64" y="45"/>
                      </a:lnTo>
                      <a:lnTo>
                        <a:pt x="63" y="39"/>
                      </a:lnTo>
                      <a:lnTo>
                        <a:pt x="61" y="33"/>
                      </a:lnTo>
                      <a:lnTo>
                        <a:pt x="60" y="31"/>
                      </a:lnTo>
                      <a:lnTo>
                        <a:pt x="60" y="30"/>
                      </a:lnTo>
                      <a:lnTo>
                        <a:pt x="58" y="30"/>
                      </a:lnTo>
                      <a:lnTo>
                        <a:pt x="56" y="33"/>
                      </a:lnTo>
                      <a:lnTo>
                        <a:pt x="54" y="37"/>
                      </a:lnTo>
                      <a:lnTo>
                        <a:pt x="52" y="38"/>
                      </a:lnTo>
                      <a:lnTo>
                        <a:pt x="50" y="30"/>
                      </a:lnTo>
                      <a:lnTo>
                        <a:pt x="49" y="22"/>
                      </a:lnTo>
                      <a:lnTo>
                        <a:pt x="47" y="13"/>
                      </a:lnTo>
                      <a:lnTo>
                        <a:pt x="45" y="5"/>
                      </a:lnTo>
                      <a:lnTo>
                        <a:pt x="44" y="3"/>
                      </a:lnTo>
                      <a:lnTo>
                        <a:pt x="41" y="1"/>
                      </a:lnTo>
                      <a:lnTo>
                        <a:pt x="35" y="0"/>
                      </a:lnTo>
                      <a:lnTo>
                        <a:pt x="28" y="0"/>
                      </a:lnTo>
                      <a:lnTo>
                        <a:pt x="23" y="0"/>
                      </a:lnTo>
                      <a:lnTo>
                        <a:pt x="16" y="1"/>
                      </a:lnTo>
                      <a:lnTo>
                        <a:pt x="9" y="4"/>
                      </a:lnTo>
                      <a:lnTo>
                        <a:pt x="5" y="6"/>
                      </a:lnTo>
                      <a:lnTo>
                        <a:pt x="2" y="10"/>
                      </a:lnTo>
                      <a:lnTo>
                        <a:pt x="0" y="14"/>
                      </a:lnTo>
                      <a:lnTo>
                        <a:pt x="0" y="16"/>
                      </a:lnTo>
                      <a:lnTo>
                        <a:pt x="2" y="18"/>
                      </a:lnTo>
                      <a:lnTo>
                        <a:pt x="4" y="19"/>
                      </a:lnTo>
                      <a:lnTo>
                        <a:pt x="8" y="20"/>
                      </a:lnTo>
                      <a:lnTo>
                        <a:pt x="12" y="22"/>
                      </a:lnTo>
                      <a:lnTo>
                        <a:pt x="14" y="23"/>
                      </a:lnTo>
                      <a:lnTo>
                        <a:pt x="16" y="26"/>
                      </a:lnTo>
                      <a:lnTo>
                        <a:pt x="18" y="29"/>
                      </a:lnTo>
                      <a:lnTo>
                        <a:pt x="21" y="31"/>
                      </a:lnTo>
                      <a:lnTo>
                        <a:pt x="25" y="31"/>
                      </a:lnTo>
                      <a:lnTo>
                        <a:pt x="31" y="32"/>
                      </a:lnTo>
                      <a:lnTo>
                        <a:pt x="37" y="33"/>
                      </a:lnTo>
                      <a:lnTo>
                        <a:pt x="38" y="35"/>
                      </a:lnTo>
                      <a:lnTo>
                        <a:pt x="40" y="37"/>
                      </a:lnTo>
                      <a:lnTo>
                        <a:pt x="38" y="41"/>
                      </a:lnTo>
                      <a:lnTo>
                        <a:pt x="37" y="43"/>
                      </a:lnTo>
                      <a:lnTo>
                        <a:pt x="36" y="44"/>
                      </a:lnTo>
                      <a:lnTo>
                        <a:pt x="33" y="45"/>
                      </a:lnTo>
                      <a:lnTo>
                        <a:pt x="31" y="44"/>
                      </a:lnTo>
                      <a:lnTo>
                        <a:pt x="22" y="42"/>
                      </a:lnTo>
                      <a:lnTo>
                        <a:pt x="17" y="41"/>
                      </a:lnTo>
                      <a:lnTo>
                        <a:pt x="12" y="39"/>
                      </a:lnTo>
                      <a:lnTo>
                        <a:pt x="11" y="41"/>
                      </a:lnTo>
                      <a:lnTo>
                        <a:pt x="7" y="42"/>
                      </a:lnTo>
                      <a:lnTo>
                        <a:pt x="5" y="43"/>
                      </a:lnTo>
                      <a:lnTo>
                        <a:pt x="5" y="44"/>
                      </a:lnTo>
                      <a:lnTo>
                        <a:pt x="8" y="45"/>
                      </a:lnTo>
                      <a:lnTo>
                        <a:pt x="12" y="48"/>
                      </a:lnTo>
                      <a:lnTo>
                        <a:pt x="16" y="50"/>
                      </a:lnTo>
                      <a:lnTo>
                        <a:pt x="19" y="57"/>
                      </a:lnTo>
                      <a:lnTo>
                        <a:pt x="23" y="64"/>
                      </a:lnTo>
                      <a:lnTo>
                        <a:pt x="27" y="70"/>
                      </a:lnTo>
                      <a:lnTo>
                        <a:pt x="28" y="71"/>
                      </a:lnTo>
                      <a:lnTo>
                        <a:pt x="30" y="70"/>
                      </a:lnTo>
                      <a:lnTo>
                        <a:pt x="33" y="65"/>
                      </a:lnTo>
                      <a:lnTo>
                        <a:pt x="36" y="58"/>
                      </a:lnTo>
                      <a:lnTo>
                        <a:pt x="40" y="52"/>
                      </a:lnTo>
                      <a:lnTo>
                        <a:pt x="41" y="51"/>
                      </a:lnTo>
                      <a:lnTo>
                        <a:pt x="44" y="52"/>
                      </a:lnTo>
                      <a:lnTo>
                        <a:pt x="45" y="54"/>
                      </a:lnTo>
                      <a:lnTo>
                        <a:pt x="46" y="56"/>
                      </a:lnTo>
                      <a:lnTo>
                        <a:pt x="46" y="65"/>
                      </a:lnTo>
                      <a:lnTo>
                        <a:pt x="49" y="69"/>
                      </a:lnTo>
                      <a:lnTo>
                        <a:pt x="51" y="71"/>
                      </a:lnTo>
                      <a:lnTo>
                        <a:pt x="65" y="77"/>
                      </a:lnTo>
                      <a:lnTo>
                        <a:pt x="73" y="81"/>
                      </a:lnTo>
                      <a:lnTo>
                        <a:pt x="79" y="86"/>
                      </a:lnTo>
                      <a:lnTo>
                        <a:pt x="82" y="87"/>
                      </a:lnTo>
                      <a:lnTo>
                        <a:pt x="85" y="87"/>
                      </a:lnTo>
                      <a:lnTo>
                        <a:pt x="89" y="87"/>
                      </a:lnTo>
                      <a:lnTo>
                        <a:pt x="93" y="88"/>
                      </a:lnTo>
                      <a:lnTo>
                        <a:pt x="101" y="93"/>
                      </a:lnTo>
                      <a:lnTo>
                        <a:pt x="106" y="99"/>
                      </a:lnTo>
                      <a:lnTo>
                        <a:pt x="112" y="105"/>
                      </a:lnTo>
                      <a:lnTo>
                        <a:pt x="116" y="111"/>
                      </a:lnTo>
                      <a:lnTo>
                        <a:pt x="121" y="118"/>
                      </a:lnTo>
                      <a:lnTo>
                        <a:pt x="125" y="126"/>
                      </a:lnTo>
                      <a:lnTo>
                        <a:pt x="129" y="134"/>
                      </a:lnTo>
                      <a:lnTo>
                        <a:pt x="134" y="141"/>
                      </a:lnTo>
                      <a:lnTo>
                        <a:pt x="134" y="143"/>
                      </a:lnTo>
                      <a:lnTo>
                        <a:pt x="134" y="145"/>
                      </a:lnTo>
                      <a:lnTo>
                        <a:pt x="132" y="147"/>
                      </a:lnTo>
                      <a:lnTo>
                        <a:pt x="131" y="151"/>
                      </a:lnTo>
                      <a:lnTo>
                        <a:pt x="131" y="152"/>
                      </a:lnTo>
                      <a:lnTo>
                        <a:pt x="135" y="154"/>
                      </a:lnTo>
                      <a:lnTo>
                        <a:pt x="139" y="156"/>
                      </a:lnTo>
                      <a:lnTo>
                        <a:pt x="144" y="156"/>
                      </a:lnTo>
                      <a:lnTo>
                        <a:pt x="149" y="154"/>
                      </a:lnTo>
                      <a:lnTo>
                        <a:pt x="150" y="154"/>
                      </a:lnTo>
                      <a:lnTo>
                        <a:pt x="152" y="156"/>
                      </a:lnTo>
                      <a:lnTo>
                        <a:pt x="155" y="158"/>
                      </a:lnTo>
                      <a:lnTo>
                        <a:pt x="160" y="163"/>
                      </a:lnTo>
                      <a:lnTo>
                        <a:pt x="168" y="16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2" name="Freeform 857"/>
                <p:cNvSpPr>
                  <a:spLocks/>
                </p:cNvSpPr>
                <p:nvPr/>
              </p:nvSpPr>
              <p:spPr bwMode="auto">
                <a:xfrm>
                  <a:off x="7702254" y="4631684"/>
                  <a:ext cx="229381" cy="245659"/>
                </a:xfrm>
                <a:custGeom>
                  <a:avLst/>
                  <a:gdLst>
                    <a:gd name="T0" fmla="*/ 2147483647 w 168"/>
                    <a:gd name="T1" fmla="*/ 2147483647 h 166"/>
                    <a:gd name="T2" fmla="*/ 2147483647 w 168"/>
                    <a:gd name="T3" fmla="*/ 2147483647 h 166"/>
                    <a:gd name="T4" fmla="*/ 2147483647 w 168"/>
                    <a:gd name="T5" fmla="*/ 2147483647 h 166"/>
                    <a:gd name="T6" fmla="*/ 2147483647 w 168"/>
                    <a:gd name="T7" fmla="*/ 2147483647 h 166"/>
                    <a:gd name="T8" fmla="*/ 2147483647 w 168"/>
                    <a:gd name="T9" fmla="*/ 2147483647 h 166"/>
                    <a:gd name="T10" fmla="*/ 2147483647 w 168"/>
                    <a:gd name="T11" fmla="*/ 2147483647 h 166"/>
                    <a:gd name="T12" fmla="*/ 2147483647 w 168"/>
                    <a:gd name="T13" fmla="*/ 2147483647 h 166"/>
                    <a:gd name="T14" fmla="*/ 2147483647 w 168"/>
                    <a:gd name="T15" fmla="*/ 2147483647 h 166"/>
                    <a:gd name="T16" fmla="*/ 2147483647 w 168"/>
                    <a:gd name="T17" fmla="*/ 2147483647 h 166"/>
                    <a:gd name="T18" fmla="*/ 2147483647 w 168"/>
                    <a:gd name="T19" fmla="*/ 2147483647 h 166"/>
                    <a:gd name="T20" fmla="*/ 2147483647 w 168"/>
                    <a:gd name="T21" fmla="*/ 2147483647 h 166"/>
                    <a:gd name="T22" fmla="*/ 2147483647 w 168"/>
                    <a:gd name="T23" fmla="*/ 2147483647 h 166"/>
                    <a:gd name="T24" fmla="*/ 2147483647 w 168"/>
                    <a:gd name="T25" fmla="*/ 2147483647 h 166"/>
                    <a:gd name="T26" fmla="*/ 2147483647 w 168"/>
                    <a:gd name="T27" fmla="*/ 2147483647 h 166"/>
                    <a:gd name="T28" fmla="*/ 2147483647 w 168"/>
                    <a:gd name="T29" fmla="*/ 2147483647 h 166"/>
                    <a:gd name="T30" fmla="*/ 2147483647 w 168"/>
                    <a:gd name="T31" fmla="*/ 2147483647 h 166"/>
                    <a:gd name="T32" fmla="*/ 2147483647 w 168"/>
                    <a:gd name="T33" fmla="*/ 2147483647 h 166"/>
                    <a:gd name="T34" fmla="*/ 2147483647 w 168"/>
                    <a:gd name="T35" fmla="*/ 2147483647 h 166"/>
                    <a:gd name="T36" fmla="*/ 2147483647 w 168"/>
                    <a:gd name="T37" fmla="*/ 0 h 166"/>
                    <a:gd name="T38" fmla="*/ 2147483647 w 168"/>
                    <a:gd name="T39" fmla="*/ 0 h 166"/>
                    <a:gd name="T40" fmla="*/ 2147483647 w 168"/>
                    <a:gd name="T41" fmla="*/ 2147483647 h 166"/>
                    <a:gd name="T42" fmla="*/ 0 w 168"/>
                    <a:gd name="T43" fmla="*/ 2147483647 h 166"/>
                    <a:gd name="T44" fmla="*/ 2147483647 w 168"/>
                    <a:gd name="T45" fmla="*/ 2147483647 h 166"/>
                    <a:gd name="T46" fmla="*/ 2147483647 w 168"/>
                    <a:gd name="T47" fmla="*/ 2147483647 h 166"/>
                    <a:gd name="T48" fmla="*/ 2147483647 w 168"/>
                    <a:gd name="T49" fmla="*/ 2147483647 h 166"/>
                    <a:gd name="T50" fmla="*/ 2147483647 w 168"/>
                    <a:gd name="T51" fmla="*/ 2147483647 h 166"/>
                    <a:gd name="T52" fmla="*/ 2147483647 w 168"/>
                    <a:gd name="T53" fmla="*/ 2147483647 h 166"/>
                    <a:gd name="T54" fmla="*/ 2147483647 w 168"/>
                    <a:gd name="T55" fmla="*/ 2147483647 h 166"/>
                    <a:gd name="T56" fmla="*/ 2147483647 w 168"/>
                    <a:gd name="T57" fmla="*/ 2147483647 h 166"/>
                    <a:gd name="T58" fmla="*/ 2147483647 w 168"/>
                    <a:gd name="T59" fmla="*/ 2147483647 h 166"/>
                    <a:gd name="T60" fmla="*/ 2147483647 w 168"/>
                    <a:gd name="T61" fmla="*/ 2147483647 h 166"/>
                    <a:gd name="T62" fmla="*/ 2147483647 w 168"/>
                    <a:gd name="T63" fmla="*/ 2147483647 h 166"/>
                    <a:gd name="T64" fmla="*/ 2147483647 w 168"/>
                    <a:gd name="T65" fmla="*/ 2147483647 h 166"/>
                    <a:gd name="T66" fmla="*/ 2147483647 w 168"/>
                    <a:gd name="T67" fmla="*/ 2147483647 h 166"/>
                    <a:gd name="T68" fmla="*/ 2147483647 w 168"/>
                    <a:gd name="T69" fmla="*/ 2147483647 h 166"/>
                    <a:gd name="T70" fmla="*/ 2147483647 w 168"/>
                    <a:gd name="T71" fmla="*/ 2147483647 h 166"/>
                    <a:gd name="T72" fmla="*/ 2147483647 w 168"/>
                    <a:gd name="T73" fmla="*/ 2147483647 h 166"/>
                    <a:gd name="T74" fmla="*/ 2147483647 w 168"/>
                    <a:gd name="T75" fmla="*/ 2147483647 h 166"/>
                    <a:gd name="T76" fmla="*/ 2147483647 w 168"/>
                    <a:gd name="T77" fmla="*/ 2147483647 h 166"/>
                    <a:gd name="T78" fmla="*/ 2147483647 w 168"/>
                    <a:gd name="T79" fmla="*/ 2147483647 h 166"/>
                    <a:gd name="T80" fmla="*/ 2147483647 w 168"/>
                    <a:gd name="T81" fmla="*/ 2147483647 h 166"/>
                    <a:gd name="T82" fmla="*/ 2147483647 w 168"/>
                    <a:gd name="T83" fmla="*/ 2147483647 h 166"/>
                    <a:gd name="T84" fmla="*/ 2147483647 w 168"/>
                    <a:gd name="T85" fmla="*/ 2147483647 h 166"/>
                    <a:gd name="T86" fmla="*/ 2147483647 w 168"/>
                    <a:gd name="T87" fmla="*/ 2147483647 h 166"/>
                    <a:gd name="T88" fmla="*/ 2147483647 w 168"/>
                    <a:gd name="T89" fmla="*/ 2147483647 h 166"/>
                    <a:gd name="T90" fmla="*/ 2147483647 w 168"/>
                    <a:gd name="T91" fmla="*/ 2147483647 h 166"/>
                    <a:gd name="T92" fmla="*/ 2147483647 w 168"/>
                    <a:gd name="T93" fmla="*/ 2147483647 h 166"/>
                    <a:gd name="T94" fmla="*/ 2147483647 w 168"/>
                    <a:gd name="T95" fmla="*/ 2147483647 h 166"/>
                    <a:gd name="T96" fmla="*/ 2147483647 w 168"/>
                    <a:gd name="T97" fmla="*/ 2147483647 h 166"/>
                    <a:gd name="T98" fmla="*/ 2147483647 w 168"/>
                    <a:gd name="T99" fmla="*/ 2147483647 h 166"/>
                    <a:gd name="T100" fmla="*/ 2147483647 w 168"/>
                    <a:gd name="T101" fmla="*/ 2147483647 h 166"/>
                    <a:gd name="T102" fmla="*/ 2147483647 w 168"/>
                    <a:gd name="T103" fmla="*/ 2147483647 h 166"/>
                    <a:gd name="T104" fmla="*/ 2147483647 w 168"/>
                    <a:gd name="T105" fmla="*/ 2147483647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8"/>
                    <a:gd name="T160" fmla="*/ 0 h 166"/>
                    <a:gd name="T161" fmla="*/ 168 w 168"/>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8" h="166">
                      <a:moveTo>
                        <a:pt x="168" y="166"/>
                      </a:moveTo>
                      <a:lnTo>
                        <a:pt x="168" y="166"/>
                      </a:lnTo>
                      <a:lnTo>
                        <a:pt x="165" y="139"/>
                      </a:lnTo>
                      <a:lnTo>
                        <a:pt x="165" y="125"/>
                      </a:lnTo>
                      <a:lnTo>
                        <a:pt x="166" y="110"/>
                      </a:lnTo>
                      <a:lnTo>
                        <a:pt x="165" y="37"/>
                      </a:lnTo>
                      <a:lnTo>
                        <a:pt x="154" y="34"/>
                      </a:lnTo>
                      <a:lnTo>
                        <a:pt x="142" y="34"/>
                      </a:lnTo>
                      <a:lnTo>
                        <a:pt x="137" y="33"/>
                      </a:lnTo>
                      <a:lnTo>
                        <a:pt x="135" y="33"/>
                      </a:lnTo>
                      <a:lnTo>
                        <a:pt x="132" y="32"/>
                      </a:lnTo>
                      <a:lnTo>
                        <a:pt x="119" y="23"/>
                      </a:lnTo>
                      <a:lnTo>
                        <a:pt x="113" y="19"/>
                      </a:lnTo>
                      <a:lnTo>
                        <a:pt x="111" y="19"/>
                      </a:lnTo>
                      <a:lnTo>
                        <a:pt x="107" y="19"/>
                      </a:lnTo>
                      <a:lnTo>
                        <a:pt x="106" y="19"/>
                      </a:lnTo>
                      <a:lnTo>
                        <a:pt x="104" y="20"/>
                      </a:lnTo>
                      <a:lnTo>
                        <a:pt x="103" y="24"/>
                      </a:lnTo>
                      <a:lnTo>
                        <a:pt x="103" y="27"/>
                      </a:lnTo>
                      <a:lnTo>
                        <a:pt x="103" y="29"/>
                      </a:lnTo>
                      <a:lnTo>
                        <a:pt x="102" y="30"/>
                      </a:lnTo>
                      <a:lnTo>
                        <a:pt x="97" y="31"/>
                      </a:lnTo>
                      <a:lnTo>
                        <a:pt x="93" y="32"/>
                      </a:lnTo>
                      <a:lnTo>
                        <a:pt x="85" y="38"/>
                      </a:lnTo>
                      <a:lnTo>
                        <a:pt x="79" y="44"/>
                      </a:lnTo>
                      <a:lnTo>
                        <a:pt x="71" y="49"/>
                      </a:lnTo>
                      <a:lnTo>
                        <a:pt x="69" y="49"/>
                      </a:lnTo>
                      <a:lnTo>
                        <a:pt x="66" y="49"/>
                      </a:lnTo>
                      <a:lnTo>
                        <a:pt x="65" y="47"/>
                      </a:lnTo>
                      <a:lnTo>
                        <a:pt x="64" y="45"/>
                      </a:lnTo>
                      <a:lnTo>
                        <a:pt x="62" y="39"/>
                      </a:lnTo>
                      <a:lnTo>
                        <a:pt x="61" y="33"/>
                      </a:lnTo>
                      <a:lnTo>
                        <a:pt x="60" y="31"/>
                      </a:lnTo>
                      <a:lnTo>
                        <a:pt x="60" y="30"/>
                      </a:lnTo>
                      <a:lnTo>
                        <a:pt x="57" y="30"/>
                      </a:lnTo>
                      <a:lnTo>
                        <a:pt x="56" y="33"/>
                      </a:lnTo>
                      <a:lnTo>
                        <a:pt x="53" y="37"/>
                      </a:lnTo>
                      <a:lnTo>
                        <a:pt x="52" y="38"/>
                      </a:lnTo>
                      <a:lnTo>
                        <a:pt x="50" y="30"/>
                      </a:lnTo>
                      <a:lnTo>
                        <a:pt x="48" y="21"/>
                      </a:lnTo>
                      <a:lnTo>
                        <a:pt x="47" y="13"/>
                      </a:lnTo>
                      <a:lnTo>
                        <a:pt x="45" y="5"/>
                      </a:lnTo>
                      <a:lnTo>
                        <a:pt x="43" y="2"/>
                      </a:lnTo>
                      <a:lnTo>
                        <a:pt x="41" y="1"/>
                      </a:lnTo>
                      <a:lnTo>
                        <a:pt x="34" y="0"/>
                      </a:lnTo>
                      <a:lnTo>
                        <a:pt x="28" y="0"/>
                      </a:lnTo>
                      <a:lnTo>
                        <a:pt x="23" y="0"/>
                      </a:lnTo>
                      <a:lnTo>
                        <a:pt x="15" y="1"/>
                      </a:lnTo>
                      <a:lnTo>
                        <a:pt x="9" y="4"/>
                      </a:lnTo>
                      <a:lnTo>
                        <a:pt x="5" y="6"/>
                      </a:lnTo>
                      <a:lnTo>
                        <a:pt x="1" y="10"/>
                      </a:lnTo>
                      <a:lnTo>
                        <a:pt x="0" y="14"/>
                      </a:lnTo>
                      <a:lnTo>
                        <a:pt x="0" y="15"/>
                      </a:lnTo>
                      <a:lnTo>
                        <a:pt x="1" y="18"/>
                      </a:lnTo>
                      <a:lnTo>
                        <a:pt x="4" y="19"/>
                      </a:lnTo>
                      <a:lnTo>
                        <a:pt x="8" y="20"/>
                      </a:lnTo>
                      <a:lnTo>
                        <a:pt x="12" y="21"/>
                      </a:lnTo>
                      <a:lnTo>
                        <a:pt x="14" y="23"/>
                      </a:lnTo>
                      <a:lnTo>
                        <a:pt x="15" y="26"/>
                      </a:lnTo>
                      <a:lnTo>
                        <a:pt x="18" y="29"/>
                      </a:lnTo>
                      <a:lnTo>
                        <a:pt x="20" y="31"/>
                      </a:lnTo>
                      <a:lnTo>
                        <a:pt x="24" y="31"/>
                      </a:lnTo>
                      <a:lnTo>
                        <a:pt x="31" y="32"/>
                      </a:lnTo>
                      <a:lnTo>
                        <a:pt x="37" y="33"/>
                      </a:lnTo>
                      <a:lnTo>
                        <a:pt x="38" y="34"/>
                      </a:lnTo>
                      <a:lnTo>
                        <a:pt x="39" y="37"/>
                      </a:lnTo>
                      <a:lnTo>
                        <a:pt x="38" y="40"/>
                      </a:lnTo>
                      <a:lnTo>
                        <a:pt x="37" y="43"/>
                      </a:lnTo>
                      <a:lnTo>
                        <a:pt x="36" y="44"/>
                      </a:lnTo>
                      <a:lnTo>
                        <a:pt x="33" y="45"/>
                      </a:lnTo>
                      <a:lnTo>
                        <a:pt x="31" y="44"/>
                      </a:lnTo>
                      <a:lnTo>
                        <a:pt x="22" y="42"/>
                      </a:lnTo>
                      <a:lnTo>
                        <a:pt x="17" y="40"/>
                      </a:lnTo>
                      <a:lnTo>
                        <a:pt x="12" y="39"/>
                      </a:lnTo>
                      <a:lnTo>
                        <a:pt x="10" y="40"/>
                      </a:lnTo>
                      <a:lnTo>
                        <a:pt x="6" y="42"/>
                      </a:lnTo>
                      <a:lnTo>
                        <a:pt x="5" y="43"/>
                      </a:lnTo>
                      <a:lnTo>
                        <a:pt x="5" y="44"/>
                      </a:lnTo>
                      <a:lnTo>
                        <a:pt x="8" y="45"/>
                      </a:lnTo>
                      <a:lnTo>
                        <a:pt x="12" y="47"/>
                      </a:lnTo>
                      <a:lnTo>
                        <a:pt x="15" y="50"/>
                      </a:lnTo>
                      <a:lnTo>
                        <a:pt x="19" y="57"/>
                      </a:lnTo>
                      <a:lnTo>
                        <a:pt x="23" y="64"/>
                      </a:lnTo>
                      <a:lnTo>
                        <a:pt x="27" y="70"/>
                      </a:lnTo>
                      <a:lnTo>
                        <a:pt x="28" y="71"/>
                      </a:lnTo>
                      <a:lnTo>
                        <a:pt x="29" y="70"/>
                      </a:lnTo>
                      <a:lnTo>
                        <a:pt x="33" y="65"/>
                      </a:lnTo>
                      <a:lnTo>
                        <a:pt x="36" y="58"/>
                      </a:lnTo>
                      <a:lnTo>
                        <a:pt x="39" y="52"/>
                      </a:lnTo>
                      <a:lnTo>
                        <a:pt x="41" y="51"/>
                      </a:lnTo>
                      <a:lnTo>
                        <a:pt x="43" y="52"/>
                      </a:lnTo>
                      <a:lnTo>
                        <a:pt x="45" y="53"/>
                      </a:lnTo>
                      <a:lnTo>
                        <a:pt x="46" y="56"/>
                      </a:lnTo>
                      <a:lnTo>
                        <a:pt x="46" y="65"/>
                      </a:lnTo>
                      <a:lnTo>
                        <a:pt x="48" y="69"/>
                      </a:lnTo>
                      <a:lnTo>
                        <a:pt x="51" y="71"/>
                      </a:lnTo>
                      <a:lnTo>
                        <a:pt x="65" y="77"/>
                      </a:lnTo>
                      <a:lnTo>
                        <a:pt x="73" y="81"/>
                      </a:lnTo>
                      <a:lnTo>
                        <a:pt x="79" y="85"/>
                      </a:lnTo>
                      <a:lnTo>
                        <a:pt x="81" y="87"/>
                      </a:lnTo>
                      <a:lnTo>
                        <a:pt x="85" y="87"/>
                      </a:lnTo>
                      <a:lnTo>
                        <a:pt x="89" y="87"/>
                      </a:lnTo>
                      <a:lnTo>
                        <a:pt x="93" y="88"/>
                      </a:lnTo>
                      <a:lnTo>
                        <a:pt x="100" y="93"/>
                      </a:lnTo>
                      <a:lnTo>
                        <a:pt x="106" y="98"/>
                      </a:lnTo>
                      <a:lnTo>
                        <a:pt x="112" y="104"/>
                      </a:lnTo>
                      <a:lnTo>
                        <a:pt x="116" y="110"/>
                      </a:lnTo>
                      <a:lnTo>
                        <a:pt x="121" y="117"/>
                      </a:lnTo>
                      <a:lnTo>
                        <a:pt x="125" y="126"/>
                      </a:lnTo>
                      <a:lnTo>
                        <a:pt x="128" y="134"/>
                      </a:lnTo>
                      <a:lnTo>
                        <a:pt x="133" y="141"/>
                      </a:lnTo>
                      <a:lnTo>
                        <a:pt x="133" y="142"/>
                      </a:lnTo>
                      <a:lnTo>
                        <a:pt x="133" y="145"/>
                      </a:lnTo>
                      <a:lnTo>
                        <a:pt x="132" y="147"/>
                      </a:lnTo>
                      <a:lnTo>
                        <a:pt x="131" y="151"/>
                      </a:lnTo>
                      <a:lnTo>
                        <a:pt x="131" y="152"/>
                      </a:lnTo>
                      <a:lnTo>
                        <a:pt x="135" y="154"/>
                      </a:lnTo>
                      <a:lnTo>
                        <a:pt x="139" y="155"/>
                      </a:lnTo>
                      <a:lnTo>
                        <a:pt x="144" y="155"/>
                      </a:lnTo>
                      <a:lnTo>
                        <a:pt x="149" y="154"/>
                      </a:lnTo>
                      <a:lnTo>
                        <a:pt x="150" y="154"/>
                      </a:lnTo>
                      <a:lnTo>
                        <a:pt x="151" y="155"/>
                      </a:lnTo>
                      <a:lnTo>
                        <a:pt x="155" y="158"/>
                      </a:lnTo>
                      <a:lnTo>
                        <a:pt x="160" y="162"/>
                      </a:lnTo>
                      <a:lnTo>
                        <a:pt x="168" y="16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3" name="Freeform 1099"/>
                <p:cNvSpPr>
                  <a:spLocks/>
                </p:cNvSpPr>
                <p:nvPr/>
              </p:nvSpPr>
              <p:spPr bwMode="auto">
                <a:xfrm>
                  <a:off x="4815024" y="3323475"/>
                  <a:ext cx="22198" cy="51796"/>
                </a:xfrm>
                <a:custGeom>
                  <a:avLst/>
                  <a:gdLst>
                    <a:gd name="T0" fmla="*/ 2147483647 w 16"/>
                    <a:gd name="T1" fmla="*/ 2147483647 h 35"/>
                    <a:gd name="T2" fmla="*/ 2147483647 w 16"/>
                    <a:gd name="T3" fmla="*/ 2147483647 h 35"/>
                    <a:gd name="T4" fmla="*/ 2147483647 w 16"/>
                    <a:gd name="T5" fmla="*/ 2147483647 h 35"/>
                    <a:gd name="T6" fmla="*/ 2147483647 w 16"/>
                    <a:gd name="T7" fmla="*/ 2147483647 h 35"/>
                    <a:gd name="T8" fmla="*/ 2147483647 w 16"/>
                    <a:gd name="T9" fmla="*/ 2147483647 h 35"/>
                    <a:gd name="T10" fmla="*/ 2147483647 w 16"/>
                    <a:gd name="T11" fmla="*/ 2147483647 h 35"/>
                    <a:gd name="T12" fmla="*/ 2147483647 w 16"/>
                    <a:gd name="T13" fmla="*/ 2147483647 h 35"/>
                    <a:gd name="T14" fmla="*/ 2147483647 w 16"/>
                    <a:gd name="T15" fmla="*/ 0 h 35"/>
                    <a:gd name="T16" fmla="*/ 2147483647 w 16"/>
                    <a:gd name="T17" fmla="*/ 0 h 35"/>
                    <a:gd name="T18" fmla="*/ 2147483647 w 16"/>
                    <a:gd name="T19" fmla="*/ 0 h 35"/>
                    <a:gd name="T20" fmla="*/ 2147483647 w 16"/>
                    <a:gd name="T21" fmla="*/ 2147483647 h 35"/>
                    <a:gd name="T22" fmla="*/ 2147483647 w 16"/>
                    <a:gd name="T23" fmla="*/ 2147483647 h 35"/>
                    <a:gd name="T24" fmla="*/ 2147483647 w 16"/>
                    <a:gd name="T25" fmla="*/ 2147483647 h 35"/>
                    <a:gd name="T26" fmla="*/ 2147483647 w 16"/>
                    <a:gd name="T27" fmla="*/ 2147483647 h 35"/>
                    <a:gd name="T28" fmla="*/ 2147483647 w 16"/>
                    <a:gd name="T29" fmla="*/ 2147483647 h 35"/>
                    <a:gd name="T30" fmla="*/ 2147483647 w 16"/>
                    <a:gd name="T31" fmla="*/ 2147483647 h 35"/>
                    <a:gd name="T32" fmla="*/ 2147483647 w 16"/>
                    <a:gd name="T33" fmla="*/ 2147483647 h 35"/>
                    <a:gd name="T34" fmla="*/ 0 w 16"/>
                    <a:gd name="T35" fmla="*/ 2147483647 h 35"/>
                    <a:gd name="T36" fmla="*/ 0 w 16"/>
                    <a:gd name="T37" fmla="*/ 2147483647 h 35"/>
                    <a:gd name="T38" fmla="*/ 0 w 16"/>
                    <a:gd name="T39" fmla="*/ 2147483647 h 35"/>
                    <a:gd name="T40" fmla="*/ 2147483647 w 16"/>
                    <a:gd name="T41" fmla="*/ 2147483647 h 35"/>
                    <a:gd name="T42" fmla="*/ 2147483647 w 16"/>
                    <a:gd name="T43" fmla="*/ 2147483647 h 35"/>
                    <a:gd name="T44" fmla="*/ 2147483647 w 16"/>
                    <a:gd name="T45" fmla="*/ 2147483647 h 35"/>
                    <a:gd name="T46" fmla="*/ 2147483647 w 16"/>
                    <a:gd name="T47" fmla="*/ 2147483647 h 35"/>
                    <a:gd name="T48" fmla="*/ 2147483647 w 16"/>
                    <a:gd name="T49" fmla="*/ 2147483647 h 35"/>
                    <a:gd name="T50" fmla="*/ 2147483647 w 16"/>
                    <a:gd name="T51" fmla="*/ 2147483647 h 35"/>
                    <a:gd name="T52" fmla="*/ 2147483647 w 16"/>
                    <a:gd name="T53" fmla="*/ 2147483647 h 35"/>
                    <a:gd name="T54" fmla="*/ 2147483647 w 16"/>
                    <a:gd name="T55" fmla="*/ 2147483647 h 35"/>
                    <a:gd name="T56" fmla="*/ 2147483647 w 16"/>
                    <a:gd name="T57" fmla="*/ 2147483647 h 35"/>
                    <a:gd name="T58" fmla="*/ 2147483647 w 16"/>
                    <a:gd name="T59" fmla="*/ 2147483647 h 35"/>
                    <a:gd name="T60" fmla="*/ 2147483647 w 16"/>
                    <a:gd name="T61" fmla="*/ 2147483647 h 35"/>
                    <a:gd name="T62" fmla="*/ 2147483647 w 16"/>
                    <a:gd name="T63" fmla="*/ 2147483647 h 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
                    <a:gd name="T97" fmla="*/ 0 h 35"/>
                    <a:gd name="T98" fmla="*/ 16 w 16"/>
                    <a:gd name="T99" fmla="*/ 35 h 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 h="35">
                      <a:moveTo>
                        <a:pt x="14" y="10"/>
                      </a:moveTo>
                      <a:lnTo>
                        <a:pt x="14" y="10"/>
                      </a:lnTo>
                      <a:lnTo>
                        <a:pt x="13" y="9"/>
                      </a:lnTo>
                      <a:lnTo>
                        <a:pt x="14" y="7"/>
                      </a:lnTo>
                      <a:lnTo>
                        <a:pt x="16" y="3"/>
                      </a:lnTo>
                      <a:lnTo>
                        <a:pt x="16" y="2"/>
                      </a:lnTo>
                      <a:lnTo>
                        <a:pt x="15" y="0"/>
                      </a:lnTo>
                      <a:lnTo>
                        <a:pt x="14" y="0"/>
                      </a:lnTo>
                      <a:lnTo>
                        <a:pt x="13" y="1"/>
                      </a:lnTo>
                      <a:lnTo>
                        <a:pt x="11" y="3"/>
                      </a:lnTo>
                      <a:lnTo>
                        <a:pt x="9" y="3"/>
                      </a:lnTo>
                      <a:lnTo>
                        <a:pt x="6" y="4"/>
                      </a:lnTo>
                      <a:lnTo>
                        <a:pt x="4" y="6"/>
                      </a:lnTo>
                      <a:lnTo>
                        <a:pt x="1" y="8"/>
                      </a:lnTo>
                      <a:lnTo>
                        <a:pt x="0" y="10"/>
                      </a:lnTo>
                      <a:lnTo>
                        <a:pt x="0" y="17"/>
                      </a:lnTo>
                      <a:lnTo>
                        <a:pt x="1" y="25"/>
                      </a:lnTo>
                      <a:lnTo>
                        <a:pt x="5" y="32"/>
                      </a:lnTo>
                      <a:lnTo>
                        <a:pt x="7" y="34"/>
                      </a:lnTo>
                      <a:lnTo>
                        <a:pt x="10" y="35"/>
                      </a:lnTo>
                      <a:lnTo>
                        <a:pt x="13" y="29"/>
                      </a:lnTo>
                      <a:lnTo>
                        <a:pt x="15" y="23"/>
                      </a:lnTo>
                      <a:lnTo>
                        <a:pt x="15" y="21"/>
                      </a:lnTo>
                      <a:lnTo>
                        <a:pt x="15" y="17"/>
                      </a:lnTo>
                      <a:lnTo>
                        <a:pt x="14" y="14"/>
                      </a:lnTo>
                      <a:lnTo>
                        <a:pt x="14"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4" name="Freeform 1101"/>
                <p:cNvSpPr>
                  <a:spLocks/>
                </p:cNvSpPr>
                <p:nvPr/>
              </p:nvSpPr>
              <p:spPr bwMode="auto">
                <a:xfrm>
                  <a:off x="4440615" y="2614616"/>
                  <a:ext cx="7400" cy="13319"/>
                </a:xfrm>
                <a:custGeom>
                  <a:avLst/>
                  <a:gdLst>
                    <a:gd name="T0" fmla="*/ 0 w 6"/>
                    <a:gd name="T1" fmla="*/ 2147483647 h 9"/>
                    <a:gd name="T2" fmla="*/ 0 w 6"/>
                    <a:gd name="T3" fmla="*/ 2147483647 h 9"/>
                    <a:gd name="T4" fmla="*/ 0 w 6"/>
                    <a:gd name="T5" fmla="*/ 2147483647 h 9"/>
                    <a:gd name="T6" fmla="*/ 2147483647 w 6"/>
                    <a:gd name="T7" fmla="*/ 0 h 9"/>
                    <a:gd name="T8" fmla="*/ 2147483647 w 6"/>
                    <a:gd name="T9" fmla="*/ 0 h 9"/>
                    <a:gd name="T10" fmla="*/ 2147483647 w 6"/>
                    <a:gd name="T11" fmla="*/ 2147483647 h 9"/>
                    <a:gd name="T12" fmla="*/ 2147483647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0 w 6"/>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9"/>
                    <a:gd name="T41" fmla="*/ 6 w 6"/>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9">
                      <a:moveTo>
                        <a:pt x="0" y="3"/>
                      </a:moveTo>
                      <a:lnTo>
                        <a:pt x="0" y="2"/>
                      </a:lnTo>
                      <a:lnTo>
                        <a:pt x="0" y="1"/>
                      </a:lnTo>
                      <a:lnTo>
                        <a:pt x="1" y="0"/>
                      </a:lnTo>
                      <a:lnTo>
                        <a:pt x="2" y="0"/>
                      </a:lnTo>
                      <a:lnTo>
                        <a:pt x="5" y="2"/>
                      </a:lnTo>
                      <a:lnTo>
                        <a:pt x="6" y="4"/>
                      </a:lnTo>
                      <a:lnTo>
                        <a:pt x="6" y="7"/>
                      </a:lnTo>
                      <a:lnTo>
                        <a:pt x="3" y="8"/>
                      </a:lnTo>
                      <a:lnTo>
                        <a:pt x="2" y="9"/>
                      </a:lnTo>
                      <a:lnTo>
                        <a:pt x="1" y="7"/>
                      </a:lnTo>
                      <a:lnTo>
                        <a:pt x="1" y="6"/>
                      </a:lnTo>
                      <a:lnTo>
                        <a:pt x="0" y="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5" name="Freeform 1103"/>
                <p:cNvSpPr>
                  <a:spLocks/>
                </p:cNvSpPr>
                <p:nvPr/>
              </p:nvSpPr>
              <p:spPr bwMode="auto">
                <a:xfrm>
                  <a:off x="4437656" y="2611659"/>
                  <a:ext cx="8879" cy="14799"/>
                </a:xfrm>
                <a:custGeom>
                  <a:avLst/>
                  <a:gdLst>
                    <a:gd name="T0" fmla="*/ 0 w 7"/>
                    <a:gd name="T1" fmla="*/ 2147483647 h 10"/>
                    <a:gd name="T2" fmla="*/ 0 w 7"/>
                    <a:gd name="T3" fmla="*/ 2147483647 h 10"/>
                    <a:gd name="T4" fmla="*/ 0 w 7"/>
                    <a:gd name="T5" fmla="*/ 2147483647 h 10"/>
                    <a:gd name="T6" fmla="*/ 0 w 7"/>
                    <a:gd name="T7" fmla="*/ 2147483647 h 10"/>
                    <a:gd name="T8" fmla="*/ 2147483647 w 7"/>
                    <a:gd name="T9" fmla="*/ 0 h 10"/>
                    <a:gd name="T10" fmla="*/ 2147483647 w 7"/>
                    <a:gd name="T11" fmla="*/ 0 h 10"/>
                    <a:gd name="T12" fmla="*/ 2147483647 w 7"/>
                    <a:gd name="T13" fmla="*/ 0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2147483647 w 7"/>
                    <a:gd name="T27" fmla="*/ 2147483647 h 10"/>
                    <a:gd name="T28" fmla="*/ 2147483647 w 7"/>
                    <a:gd name="T29" fmla="*/ 2147483647 h 10"/>
                    <a:gd name="T30" fmla="*/ 0 w 7"/>
                    <a:gd name="T31" fmla="*/ 2147483647 h 10"/>
                    <a:gd name="T32" fmla="*/ 0 w 7"/>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10"/>
                    <a:gd name="T53" fmla="*/ 7 w 7"/>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10">
                      <a:moveTo>
                        <a:pt x="0" y="4"/>
                      </a:moveTo>
                      <a:lnTo>
                        <a:pt x="0" y="4"/>
                      </a:lnTo>
                      <a:lnTo>
                        <a:pt x="0" y="3"/>
                      </a:lnTo>
                      <a:lnTo>
                        <a:pt x="0" y="2"/>
                      </a:lnTo>
                      <a:lnTo>
                        <a:pt x="2" y="0"/>
                      </a:lnTo>
                      <a:lnTo>
                        <a:pt x="3" y="0"/>
                      </a:lnTo>
                      <a:lnTo>
                        <a:pt x="5" y="3"/>
                      </a:lnTo>
                      <a:lnTo>
                        <a:pt x="7" y="5"/>
                      </a:lnTo>
                      <a:lnTo>
                        <a:pt x="7" y="8"/>
                      </a:lnTo>
                      <a:lnTo>
                        <a:pt x="4" y="9"/>
                      </a:lnTo>
                      <a:lnTo>
                        <a:pt x="3" y="10"/>
                      </a:lnTo>
                      <a:lnTo>
                        <a:pt x="2" y="8"/>
                      </a:lnTo>
                      <a:lnTo>
                        <a:pt x="2" y="6"/>
                      </a:lnTo>
                      <a:lnTo>
                        <a:pt x="0"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6" name="Freeform 1108"/>
                <p:cNvSpPr>
                  <a:spLocks/>
                </p:cNvSpPr>
                <p:nvPr/>
              </p:nvSpPr>
              <p:spPr bwMode="auto">
                <a:xfrm>
                  <a:off x="4044013" y="2439994"/>
                  <a:ext cx="257498" cy="133188"/>
                </a:xfrm>
                <a:custGeom>
                  <a:avLst/>
                  <a:gdLst>
                    <a:gd name="T0" fmla="*/ 2147483647 w 188"/>
                    <a:gd name="T1" fmla="*/ 2147483647 h 90"/>
                    <a:gd name="T2" fmla="*/ 2147483647 w 188"/>
                    <a:gd name="T3" fmla="*/ 2147483647 h 90"/>
                    <a:gd name="T4" fmla="*/ 2147483647 w 188"/>
                    <a:gd name="T5" fmla="*/ 2147483647 h 90"/>
                    <a:gd name="T6" fmla="*/ 2147483647 w 188"/>
                    <a:gd name="T7" fmla="*/ 2147483647 h 90"/>
                    <a:gd name="T8" fmla="*/ 2147483647 w 188"/>
                    <a:gd name="T9" fmla="*/ 2147483647 h 90"/>
                    <a:gd name="T10" fmla="*/ 2147483647 w 188"/>
                    <a:gd name="T11" fmla="*/ 2147483647 h 90"/>
                    <a:gd name="T12" fmla="*/ 2147483647 w 188"/>
                    <a:gd name="T13" fmla="*/ 2147483647 h 90"/>
                    <a:gd name="T14" fmla="*/ 2147483647 w 188"/>
                    <a:gd name="T15" fmla="*/ 2147483647 h 90"/>
                    <a:gd name="T16" fmla="*/ 2147483647 w 188"/>
                    <a:gd name="T17" fmla="*/ 2147483647 h 90"/>
                    <a:gd name="T18" fmla="*/ 2147483647 w 188"/>
                    <a:gd name="T19" fmla="*/ 2147483647 h 90"/>
                    <a:gd name="T20" fmla="*/ 2147483647 w 188"/>
                    <a:gd name="T21" fmla="*/ 2147483647 h 90"/>
                    <a:gd name="T22" fmla="*/ 2147483647 w 188"/>
                    <a:gd name="T23" fmla="*/ 2147483647 h 90"/>
                    <a:gd name="T24" fmla="*/ 2147483647 w 188"/>
                    <a:gd name="T25" fmla="*/ 2147483647 h 90"/>
                    <a:gd name="T26" fmla="*/ 2147483647 w 188"/>
                    <a:gd name="T27" fmla="*/ 2147483647 h 90"/>
                    <a:gd name="T28" fmla="*/ 2147483647 w 188"/>
                    <a:gd name="T29" fmla="*/ 2147483647 h 90"/>
                    <a:gd name="T30" fmla="*/ 2147483647 w 188"/>
                    <a:gd name="T31" fmla="*/ 2147483647 h 90"/>
                    <a:gd name="T32" fmla="*/ 2147483647 w 188"/>
                    <a:gd name="T33" fmla="*/ 2147483647 h 90"/>
                    <a:gd name="T34" fmla="*/ 2147483647 w 188"/>
                    <a:gd name="T35" fmla="*/ 2147483647 h 90"/>
                    <a:gd name="T36" fmla="*/ 2147483647 w 188"/>
                    <a:gd name="T37" fmla="*/ 2147483647 h 90"/>
                    <a:gd name="T38" fmla="*/ 2147483647 w 188"/>
                    <a:gd name="T39" fmla="*/ 2147483647 h 90"/>
                    <a:gd name="T40" fmla="*/ 2147483647 w 188"/>
                    <a:gd name="T41" fmla="*/ 2147483647 h 90"/>
                    <a:gd name="T42" fmla="*/ 2147483647 w 188"/>
                    <a:gd name="T43" fmla="*/ 2147483647 h 90"/>
                    <a:gd name="T44" fmla="*/ 2147483647 w 188"/>
                    <a:gd name="T45" fmla="*/ 2147483647 h 90"/>
                    <a:gd name="T46" fmla="*/ 2147483647 w 188"/>
                    <a:gd name="T47" fmla="*/ 2147483647 h 90"/>
                    <a:gd name="T48" fmla="*/ 2147483647 w 188"/>
                    <a:gd name="T49" fmla="*/ 2147483647 h 90"/>
                    <a:gd name="T50" fmla="*/ 2147483647 w 188"/>
                    <a:gd name="T51" fmla="*/ 2147483647 h 90"/>
                    <a:gd name="T52" fmla="*/ 2147483647 w 188"/>
                    <a:gd name="T53" fmla="*/ 2147483647 h 90"/>
                    <a:gd name="T54" fmla="*/ 2147483647 w 188"/>
                    <a:gd name="T55" fmla="*/ 2147483647 h 90"/>
                    <a:gd name="T56" fmla="*/ 2147483647 w 188"/>
                    <a:gd name="T57" fmla="*/ 2147483647 h 90"/>
                    <a:gd name="T58" fmla="*/ 2147483647 w 188"/>
                    <a:gd name="T59" fmla="*/ 2147483647 h 90"/>
                    <a:gd name="T60" fmla="*/ 2147483647 w 188"/>
                    <a:gd name="T61" fmla="*/ 2147483647 h 90"/>
                    <a:gd name="T62" fmla="*/ 2147483647 w 188"/>
                    <a:gd name="T63" fmla="*/ 2147483647 h 90"/>
                    <a:gd name="T64" fmla="*/ 2147483647 w 188"/>
                    <a:gd name="T65" fmla="*/ 2147483647 h 90"/>
                    <a:gd name="T66" fmla="*/ 2147483647 w 188"/>
                    <a:gd name="T67" fmla="*/ 2147483647 h 90"/>
                    <a:gd name="T68" fmla="*/ 2147483647 w 188"/>
                    <a:gd name="T69" fmla="*/ 2147483647 h 90"/>
                    <a:gd name="T70" fmla="*/ 2147483647 w 188"/>
                    <a:gd name="T71" fmla="*/ 2147483647 h 90"/>
                    <a:gd name="T72" fmla="*/ 2147483647 w 188"/>
                    <a:gd name="T73" fmla="*/ 2147483647 h 90"/>
                    <a:gd name="T74" fmla="*/ 2147483647 w 188"/>
                    <a:gd name="T75" fmla="*/ 2147483647 h 90"/>
                    <a:gd name="T76" fmla="*/ 2147483647 w 188"/>
                    <a:gd name="T77" fmla="*/ 2147483647 h 90"/>
                    <a:gd name="T78" fmla="*/ 2147483647 w 188"/>
                    <a:gd name="T79" fmla="*/ 2147483647 h 90"/>
                    <a:gd name="T80" fmla="*/ 2147483647 w 188"/>
                    <a:gd name="T81" fmla="*/ 2147483647 h 90"/>
                    <a:gd name="T82" fmla="*/ 2147483647 w 188"/>
                    <a:gd name="T83" fmla="*/ 2147483647 h 90"/>
                    <a:gd name="T84" fmla="*/ 2147483647 w 188"/>
                    <a:gd name="T85" fmla="*/ 2147483647 h 90"/>
                    <a:gd name="T86" fmla="*/ 2147483647 w 188"/>
                    <a:gd name="T87" fmla="*/ 2147483647 h 90"/>
                    <a:gd name="T88" fmla="*/ 2147483647 w 188"/>
                    <a:gd name="T89" fmla="*/ 2147483647 h 90"/>
                    <a:gd name="T90" fmla="*/ 2147483647 w 188"/>
                    <a:gd name="T91" fmla="*/ 2147483647 h 90"/>
                    <a:gd name="T92" fmla="*/ 2147483647 w 188"/>
                    <a:gd name="T93" fmla="*/ 2147483647 h 90"/>
                    <a:gd name="T94" fmla="*/ 2147483647 w 188"/>
                    <a:gd name="T95" fmla="*/ 2147483647 h 90"/>
                    <a:gd name="T96" fmla="*/ 2147483647 w 188"/>
                    <a:gd name="T97" fmla="*/ 2147483647 h 90"/>
                    <a:gd name="T98" fmla="*/ 2147483647 w 188"/>
                    <a:gd name="T99" fmla="*/ 2147483647 h 90"/>
                    <a:gd name="T100" fmla="*/ 2147483647 w 188"/>
                    <a:gd name="T101" fmla="*/ 2147483647 h 90"/>
                    <a:gd name="T102" fmla="*/ 2147483647 w 188"/>
                    <a:gd name="T103" fmla="*/ 2147483647 h 90"/>
                    <a:gd name="T104" fmla="*/ 2147483647 w 188"/>
                    <a:gd name="T105" fmla="*/ 2147483647 h 90"/>
                    <a:gd name="T106" fmla="*/ 2147483647 w 188"/>
                    <a:gd name="T107" fmla="*/ 2147483647 h 90"/>
                    <a:gd name="T108" fmla="*/ 2147483647 w 188"/>
                    <a:gd name="T109" fmla="*/ 2147483647 h 90"/>
                    <a:gd name="T110" fmla="*/ 2147483647 w 188"/>
                    <a:gd name="T111" fmla="*/ 2147483647 h 90"/>
                    <a:gd name="T112" fmla="*/ 2147483647 w 188"/>
                    <a:gd name="T113" fmla="*/ 2147483647 h 90"/>
                    <a:gd name="T114" fmla="*/ 2147483647 w 188"/>
                    <a:gd name="T115" fmla="*/ 2147483647 h 90"/>
                    <a:gd name="T116" fmla="*/ 2147483647 w 188"/>
                    <a:gd name="T117" fmla="*/ 2147483647 h 90"/>
                    <a:gd name="T118" fmla="*/ 2147483647 w 188"/>
                    <a:gd name="T119" fmla="*/ 2147483647 h 90"/>
                    <a:gd name="T120" fmla="*/ 2147483647 w 188"/>
                    <a:gd name="T121" fmla="*/ 2147483647 h 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8"/>
                    <a:gd name="T184" fmla="*/ 0 h 90"/>
                    <a:gd name="T185" fmla="*/ 188 w 188"/>
                    <a:gd name="T186" fmla="*/ 90 h 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8" h="90">
                      <a:moveTo>
                        <a:pt x="152" y="10"/>
                      </a:moveTo>
                      <a:lnTo>
                        <a:pt x="149" y="9"/>
                      </a:lnTo>
                      <a:lnTo>
                        <a:pt x="146" y="5"/>
                      </a:lnTo>
                      <a:lnTo>
                        <a:pt x="142" y="3"/>
                      </a:lnTo>
                      <a:lnTo>
                        <a:pt x="141" y="3"/>
                      </a:lnTo>
                      <a:lnTo>
                        <a:pt x="138" y="3"/>
                      </a:lnTo>
                      <a:lnTo>
                        <a:pt x="137" y="4"/>
                      </a:lnTo>
                      <a:lnTo>
                        <a:pt x="136" y="6"/>
                      </a:lnTo>
                      <a:lnTo>
                        <a:pt x="133" y="10"/>
                      </a:lnTo>
                      <a:lnTo>
                        <a:pt x="132" y="13"/>
                      </a:lnTo>
                      <a:lnTo>
                        <a:pt x="130" y="15"/>
                      </a:lnTo>
                      <a:lnTo>
                        <a:pt x="128" y="15"/>
                      </a:lnTo>
                      <a:lnTo>
                        <a:pt x="126" y="13"/>
                      </a:lnTo>
                      <a:lnTo>
                        <a:pt x="124" y="12"/>
                      </a:lnTo>
                      <a:lnTo>
                        <a:pt x="122" y="11"/>
                      </a:lnTo>
                      <a:lnTo>
                        <a:pt x="121" y="11"/>
                      </a:lnTo>
                      <a:lnTo>
                        <a:pt x="116" y="13"/>
                      </a:lnTo>
                      <a:lnTo>
                        <a:pt x="113" y="15"/>
                      </a:lnTo>
                      <a:lnTo>
                        <a:pt x="105" y="12"/>
                      </a:lnTo>
                      <a:lnTo>
                        <a:pt x="102" y="15"/>
                      </a:lnTo>
                      <a:lnTo>
                        <a:pt x="102" y="18"/>
                      </a:lnTo>
                      <a:lnTo>
                        <a:pt x="102" y="20"/>
                      </a:lnTo>
                      <a:lnTo>
                        <a:pt x="100" y="22"/>
                      </a:lnTo>
                      <a:lnTo>
                        <a:pt x="99" y="23"/>
                      </a:lnTo>
                      <a:lnTo>
                        <a:pt x="97" y="22"/>
                      </a:lnTo>
                      <a:lnTo>
                        <a:pt x="95" y="17"/>
                      </a:lnTo>
                      <a:lnTo>
                        <a:pt x="95" y="12"/>
                      </a:lnTo>
                      <a:lnTo>
                        <a:pt x="94" y="9"/>
                      </a:lnTo>
                      <a:lnTo>
                        <a:pt x="93" y="9"/>
                      </a:lnTo>
                      <a:lnTo>
                        <a:pt x="90" y="9"/>
                      </a:lnTo>
                      <a:lnTo>
                        <a:pt x="86" y="10"/>
                      </a:lnTo>
                      <a:lnTo>
                        <a:pt x="84" y="13"/>
                      </a:lnTo>
                      <a:lnTo>
                        <a:pt x="83" y="17"/>
                      </a:lnTo>
                      <a:lnTo>
                        <a:pt x="79" y="19"/>
                      </a:lnTo>
                      <a:lnTo>
                        <a:pt x="76" y="19"/>
                      </a:lnTo>
                      <a:lnTo>
                        <a:pt x="75" y="18"/>
                      </a:lnTo>
                      <a:lnTo>
                        <a:pt x="72" y="12"/>
                      </a:lnTo>
                      <a:lnTo>
                        <a:pt x="71" y="10"/>
                      </a:lnTo>
                      <a:lnTo>
                        <a:pt x="67" y="9"/>
                      </a:lnTo>
                      <a:lnTo>
                        <a:pt x="65" y="9"/>
                      </a:lnTo>
                      <a:lnTo>
                        <a:pt x="62" y="11"/>
                      </a:lnTo>
                      <a:lnTo>
                        <a:pt x="62" y="15"/>
                      </a:lnTo>
                      <a:lnTo>
                        <a:pt x="62" y="18"/>
                      </a:lnTo>
                      <a:lnTo>
                        <a:pt x="61" y="20"/>
                      </a:lnTo>
                      <a:lnTo>
                        <a:pt x="60" y="24"/>
                      </a:lnTo>
                      <a:lnTo>
                        <a:pt x="56" y="29"/>
                      </a:lnTo>
                      <a:lnTo>
                        <a:pt x="53" y="36"/>
                      </a:lnTo>
                      <a:lnTo>
                        <a:pt x="52" y="38"/>
                      </a:lnTo>
                      <a:lnTo>
                        <a:pt x="51" y="39"/>
                      </a:lnTo>
                      <a:lnTo>
                        <a:pt x="50" y="39"/>
                      </a:lnTo>
                      <a:lnTo>
                        <a:pt x="48" y="37"/>
                      </a:lnTo>
                      <a:lnTo>
                        <a:pt x="47" y="32"/>
                      </a:lnTo>
                      <a:lnTo>
                        <a:pt x="44" y="28"/>
                      </a:lnTo>
                      <a:lnTo>
                        <a:pt x="44" y="26"/>
                      </a:lnTo>
                      <a:lnTo>
                        <a:pt x="44" y="25"/>
                      </a:lnTo>
                      <a:lnTo>
                        <a:pt x="47" y="23"/>
                      </a:lnTo>
                      <a:lnTo>
                        <a:pt x="50" y="18"/>
                      </a:lnTo>
                      <a:lnTo>
                        <a:pt x="48" y="17"/>
                      </a:lnTo>
                      <a:lnTo>
                        <a:pt x="48" y="15"/>
                      </a:lnTo>
                      <a:lnTo>
                        <a:pt x="43" y="9"/>
                      </a:lnTo>
                      <a:lnTo>
                        <a:pt x="33" y="0"/>
                      </a:lnTo>
                      <a:lnTo>
                        <a:pt x="32" y="0"/>
                      </a:lnTo>
                      <a:lnTo>
                        <a:pt x="29" y="1"/>
                      </a:lnTo>
                      <a:lnTo>
                        <a:pt x="28" y="3"/>
                      </a:lnTo>
                      <a:lnTo>
                        <a:pt x="28" y="4"/>
                      </a:lnTo>
                      <a:lnTo>
                        <a:pt x="32" y="7"/>
                      </a:lnTo>
                      <a:lnTo>
                        <a:pt x="32" y="10"/>
                      </a:lnTo>
                      <a:lnTo>
                        <a:pt x="32" y="12"/>
                      </a:lnTo>
                      <a:lnTo>
                        <a:pt x="29" y="13"/>
                      </a:lnTo>
                      <a:lnTo>
                        <a:pt x="25" y="15"/>
                      </a:lnTo>
                      <a:lnTo>
                        <a:pt x="23" y="15"/>
                      </a:lnTo>
                      <a:lnTo>
                        <a:pt x="20" y="17"/>
                      </a:lnTo>
                      <a:lnTo>
                        <a:pt x="18" y="22"/>
                      </a:lnTo>
                      <a:lnTo>
                        <a:pt x="15" y="24"/>
                      </a:lnTo>
                      <a:lnTo>
                        <a:pt x="8" y="26"/>
                      </a:lnTo>
                      <a:lnTo>
                        <a:pt x="5" y="30"/>
                      </a:lnTo>
                      <a:lnTo>
                        <a:pt x="4" y="31"/>
                      </a:lnTo>
                      <a:lnTo>
                        <a:pt x="4" y="32"/>
                      </a:lnTo>
                      <a:lnTo>
                        <a:pt x="6" y="32"/>
                      </a:lnTo>
                      <a:lnTo>
                        <a:pt x="9" y="32"/>
                      </a:lnTo>
                      <a:lnTo>
                        <a:pt x="13" y="31"/>
                      </a:lnTo>
                      <a:lnTo>
                        <a:pt x="15" y="32"/>
                      </a:lnTo>
                      <a:lnTo>
                        <a:pt x="17" y="32"/>
                      </a:lnTo>
                      <a:lnTo>
                        <a:pt x="19" y="31"/>
                      </a:lnTo>
                      <a:lnTo>
                        <a:pt x="23" y="29"/>
                      </a:lnTo>
                      <a:lnTo>
                        <a:pt x="27" y="28"/>
                      </a:lnTo>
                      <a:lnTo>
                        <a:pt x="31" y="29"/>
                      </a:lnTo>
                      <a:lnTo>
                        <a:pt x="32" y="30"/>
                      </a:lnTo>
                      <a:lnTo>
                        <a:pt x="33" y="32"/>
                      </a:lnTo>
                      <a:lnTo>
                        <a:pt x="33" y="36"/>
                      </a:lnTo>
                      <a:lnTo>
                        <a:pt x="32" y="39"/>
                      </a:lnTo>
                      <a:lnTo>
                        <a:pt x="24" y="41"/>
                      </a:lnTo>
                      <a:lnTo>
                        <a:pt x="17" y="43"/>
                      </a:lnTo>
                      <a:lnTo>
                        <a:pt x="10" y="44"/>
                      </a:lnTo>
                      <a:lnTo>
                        <a:pt x="3" y="45"/>
                      </a:lnTo>
                      <a:lnTo>
                        <a:pt x="1" y="47"/>
                      </a:lnTo>
                      <a:lnTo>
                        <a:pt x="0" y="49"/>
                      </a:lnTo>
                      <a:lnTo>
                        <a:pt x="0" y="50"/>
                      </a:lnTo>
                      <a:lnTo>
                        <a:pt x="1" y="51"/>
                      </a:lnTo>
                      <a:lnTo>
                        <a:pt x="4" y="51"/>
                      </a:lnTo>
                      <a:lnTo>
                        <a:pt x="10" y="51"/>
                      </a:lnTo>
                      <a:lnTo>
                        <a:pt x="15" y="50"/>
                      </a:lnTo>
                      <a:lnTo>
                        <a:pt x="20" y="50"/>
                      </a:lnTo>
                      <a:lnTo>
                        <a:pt x="22" y="50"/>
                      </a:lnTo>
                      <a:lnTo>
                        <a:pt x="24" y="51"/>
                      </a:lnTo>
                      <a:lnTo>
                        <a:pt x="25" y="54"/>
                      </a:lnTo>
                      <a:lnTo>
                        <a:pt x="27" y="56"/>
                      </a:lnTo>
                      <a:lnTo>
                        <a:pt x="29" y="57"/>
                      </a:lnTo>
                      <a:lnTo>
                        <a:pt x="36" y="56"/>
                      </a:lnTo>
                      <a:lnTo>
                        <a:pt x="37" y="57"/>
                      </a:lnTo>
                      <a:lnTo>
                        <a:pt x="37" y="58"/>
                      </a:lnTo>
                      <a:lnTo>
                        <a:pt x="38" y="62"/>
                      </a:lnTo>
                      <a:lnTo>
                        <a:pt x="39" y="63"/>
                      </a:lnTo>
                      <a:lnTo>
                        <a:pt x="41" y="64"/>
                      </a:lnTo>
                      <a:lnTo>
                        <a:pt x="41" y="67"/>
                      </a:lnTo>
                      <a:lnTo>
                        <a:pt x="39" y="68"/>
                      </a:lnTo>
                      <a:lnTo>
                        <a:pt x="38" y="69"/>
                      </a:lnTo>
                      <a:lnTo>
                        <a:pt x="36" y="69"/>
                      </a:lnTo>
                      <a:lnTo>
                        <a:pt x="31" y="69"/>
                      </a:lnTo>
                      <a:lnTo>
                        <a:pt x="28" y="69"/>
                      </a:lnTo>
                      <a:lnTo>
                        <a:pt x="27" y="70"/>
                      </a:lnTo>
                      <a:lnTo>
                        <a:pt x="27" y="71"/>
                      </a:lnTo>
                      <a:lnTo>
                        <a:pt x="27" y="75"/>
                      </a:lnTo>
                      <a:lnTo>
                        <a:pt x="28" y="79"/>
                      </a:lnTo>
                      <a:lnTo>
                        <a:pt x="33" y="82"/>
                      </a:lnTo>
                      <a:lnTo>
                        <a:pt x="36" y="82"/>
                      </a:lnTo>
                      <a:lnTo>
                        <a:pt x="39" y="81"/>
                      </a:lnTo>
                      <a:lnTo>
                        <a:pt x="42" y="79"/>
                      </a:lnTo>
                      <a:lnTo>
                        <a:pt x="46" y="79"/>
                      </a:lnTo>
                      <a:lnTo>
                        <a:pt x="50" y="81"/>
                      </a:lnTo>
                      <a:lnTo>
                        <a:pt x="52" y="80"/>
                      </a:lnTo>
                      <a:lnTo>
                        <a:pt x="53" y="79"/>
                      </a:lnTo>
                      <a:lnTo>
                        <a:pt x="56" y="80"/>
                      </a:lnTo>
                      <a:lnTo>
                        <a:pt x="58" y="82"/>
                      </a:lnTo>
                      <a:lnTo>
                        <a:pt x="60" y="84"/>
                      </a:lnTo>
                      <a:lnTo>
                        <a:pt x="62" y="86"/>
                      </a:lnTo>
                      <a:lnTo>
                        <a:pt x="65" y="87"/>
                      </a:lnTo>
                      <a:lnTo>
                        <a:pt x="69" y="87"/>
                      </a:lnTo>
                      <a:lnTo>
                        <a:pt x="75" y="84"/>
                      </a:lnTo>
                      <a:lnTo>
                        <a:pt x="77" y="84"/>
                      </a:lnTo>
                      <a:lnTo>
                        <a:pt x="79" y="86"/>
                      </a:lnTo>
                      <a:lnTo>
                        <a:pt x="83" y="88"/>
                      </a:lnTo>
                      <a:lnTo>
                        <a:pt x="86" y="90"/>
                      </a:lnTo>
                      <a:lnTo>
                        <a:pt x="88" y="90"/>
                      </a:lnTo>
                      <a:lnTo>
                        <a:pt x="90" y="90"/>
                      </a:lnTo>
                      <a:lnTo>
                        <a:pt x="99" y="88"/>
                      </a:lnTo>
                      <a:lnTo>
                        <a:pt x="107" y="86"/>
                      </a:lnTo>
                      <a:lnTo>
                        <a:pt x="111" y="84"/>
                      </a:lnTo>
                      <a:lnTo>
                        <a:pt x="113" y="82"/>
                      </a:lnTo>
                      <a:lnTo>
                        <a:pt x="119" y="77"/>
                      </a:lnTo>
                      <a:lnTo>
                        <a:pt x="123" y="76"/>
                      </a:lnTo>
                      <a:lnTo>
                        <a:pt x="127" y="76"/>
                      </a:lnTo>
                      <a:lnTo>
                        <a:pt x="130" y="77"/>
                      </a:lnTo>
                      <a:lnTo>
                        <a:pt x="133" y="76"/>
                      </a:lnTo>
                      <a:lnTo>
                        <a:pt x="136" y="75"/>
                      </a:lnTo>
                      <a:lnTo>
                        <a:pt x="137" y="73"/>
                      </a:lnTo>
                      <a:lnTo>
                        <a:pt x="138" y="70"/>
                      </a:lnTo>
                      <a:lnTo>
                        <a:pt x="141" y="68"/>
                      </a:lnTo>
                      <a:lnTo>
                        <a:pt x="146" y="65"/>
                      </a:lnTo>
                      <a:lnTo>
                        <a:pt x="152" y="64"/>
                      </a:lnTo>
                      <a:lnTo>
                        <a:pt x="159" y="64"/>
                      </a:lnTo>
                      <a:lnTo>
                        <a:pt x="161" y="63"/>
                      </a:lnTo>
                      <a:lnTo>
                        <a:pt x="163" y="62"/>
                      </a:lnTo>
                      <a:lnTo>
                        <a:pt x="168" y="58"/>
                      </a:lnTo>
                      <a:lnTo>
                        <a:pt x="171" y="57"/>
                      </a:lnTo>
                      <a:lnTo>
                        <a:pt x="175" y="56"/>
                      </a:lnTo>
                      <a:lnTo>
                        <a:pt x="177" y="55"/>
                      </a:lnTo>
                      <a:lnTo>
                        <a:pt x="177" y="52"/>
                      </a:lnTo>
                      <a:lnTo>
                        <a:pt x="175" y="50"/>
                      </a:lnTo>
                      <a:lnTo>
                        <a:pt x="175" y="49"/>
                      </a:lnTo>
                      <a:lnTo>
                        <a:pt x="178" y="47"/>
                      </a:lnTo>
                      <a:lnTo>
                        <a:pt x="180" y="44"/>
                      </a:lnTo>
                      <a:lnTo>
                        <a:pt x="184" y="43"/>
                      </a:lnTo>
                      <a:lnTo>
                        <a:pt x="188" y="42"/>
                      </a:lnTo>
                      <a:lnTo>
                        <a:pt x="188" y="41"/>
                      </a:lnTo>
                      <a:lnTo>
                        <a:pt x="187" y="39"/>
                      </a:lnTo>
                      <a:lnTo>
                        <a:pt x="183" y="37"/>
                      </a:lnTo>
                      <a:lnTo>
                        <a:pt x="180" y="35"/>
                      </a:lnTo>
                      <a:lnTo>
                        <a:pt x="179" y="31"/>
                      </a:lnTo>
                      <a:lnTo>
                        <a:pt x="178" y="29"/>
                      </a:lnTo>
                      <a:lnTo>
                        <a:pt x="168" y="19"/>
                      </a:lnTo>
                      <a:lnTo>
                        <a:pt x="159" y="13"/>
                      </a:lnTo>
                      <a:lnTo>
                        <a:pt x="152"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7" name="Freeform 1110"/>
                <p:cNvSpPr>
                  <a:spLocks/>
                </p:cNvSpPr>
                <p:nvPr/>
              </p:nvSpPr>
              <p:spPr bwMode="auto">
                <a:xfrm>
                  <a:off x="4042533" y="2438512"/>
                  <a:ext cx="257498" cy="133188"/>
                </a:xfrm>
                <a:custGeom>
                  <a:avLst/>
                  <a:gdLst>
                    <a:gd name="T0" fmla="*/ 2147483647 w 188"/>
                    <a:gd name="T1" fmla="*/ 2147483647 h 90"/>
                    <a:gd name="T2" fmla="*/ 2147483647 w 188"/>
                    <a:gd name="T3" fmla="*/ 2147483647 h 90"/>
                    <a:gd name="T4" fmla="*/ 2147483647 w 188"/>
                    <a:gd name="T5" fmla="*/ 2147483647 h 90"/>
                    <a:gd name="T6" fmla="*/ 2147483647 w 188"/>
                    <a:gd name="T7" fmla="*/ 2147483647 h 90"/>
                    <a:gd name="T8" fmla="*/ 2147483647 w 188"/>
                    <a:gd name="T9" fmla="*/ 2147483647 h 90"/>
                    <a:gd name="T10" fmla="*/ 2147483647 w 188"/>
                    <a:gd name="T11" fmla="*/ 2147483647 h 90"/>
                    <a:gd name="T12" fmla="*/ 2147483647 w 188"/>
                    <a:gd name="T13" fmla="*/ 2147483647 h 90"/>
                    <a:gd name="T14" fmla="*/ 2147483647 w 188"/>
                    <a:gd name="T15" fmla="*/ 2147483647 h 90"/>
                    <a:gd name="T16" fmla="*/ 2147483647 w 188"/>
                    <a:gd name="T17" fmla="*/ 2147483647 h 90"/>
                    <a:gd name="T18" fmla="*/ 2147483647 w 188"/>
                    <a:gd name="T19" fmla="*/ 2147483647 h 90"/>
                    <a:gd name="T20" fmla="*/ 2147483647 w 188"/>
                    <a:gd name="T21" fmla="*/ 2147483647 h 90"/>
                    <a:gd name="T22" fmla="*/ 2147483647 w 188"/>
                    <a:gd name="T23" fmla="*/ 2147483647 h 90"/>
                    <a:gd name="T24" fmla="*/ 2147483647 w 188"/>
                    <a:gd name="T25" fmla="*/ 2147483647 h 90"/>
                    <a:gd name="T26" fmla="*/ 2147483647 w 188"/>
                    <a:gd name="T27" fmla="*/ 2147483647 h 90"/>
                    <a:gd name="T28" fmla="*/ 2147483647 w 188"/>
                    <a:gd name="T29" fmla="*/ 2147483647 h 90"/>
                    <a:gd name="T30" fmla="*/ 2147483647 w 188"/>
                    <a:gd name="T31" fmla="*/ 2147483647 h 90"/>
                    <a:gd name="T32" fmla="*/ 2147483647 w 188"/>
                    <a:gd name="T33" fmla="*/ 2147483647 h 90"/>
                    <a:gd name="T34" fmla="*/ 2147483647 w 188"/>
                    <a:gd name="T35" fmla="*/ 2147483647 h 90"/>
                    <a:gd name="T36" fmla="*/ 2147483647 w 188"/>
                    <a:gd name="T37" fmla="*/ 2147483647 h 90"/>
                    <a:gd name="T38" fmla="*/ 2147483647 w 188"/>
                    <a:gd name="T39" fmla="*/ 0 h 90"/>
                    <a:gd name="T40" fmla="*/ 2147483647 w 188"/>
                    <a:gd name="T41" fmla="*/ 2147483647 h 90"/>
                    <a:gd name="T42" fmla="*/ 2147483647 w 188"/>
                    <a:gd name="T43" fmla="*/ 2147483647 h 90"/>
                    <a:gd name="T44" fmla="*/ 2147483647 w 188"/>
                    <a:gd name="T45" fmla="*/ 2147483647 h 90"/>
                    <a:gd name="T46" fmla="*/ 2147483647 w 188"/>
                    <a:gd name="T47" fmla="*/ 2147483647 h 90"/>
                    <a:gd name="T48" fmla="*/ 2147483647 w 188"/>
                    <a:gd name="T49" fmla="*/ 2147483647 h 90"/>
                    <a:gd name="T50" fmla="*/ 2147483647 w 188"/>
                    <a:gd name="T51" fmla="*/ 2147483647 h 90"/>
                    <a:gd name="T52" fmla="*/ 2147483647 w 188"/>
                    <a:gd name="T53" fmla="*/ 2147483647 h 90"/>
                    <a:gd name="T54" fmla="*/ 2147483647 w 188"/>
                    <a:gd name="T55" fmla="*/ 2147483647 h 90"/>
                    <a:gd name="T56" fmla="*/ 2147483647 w 188"/>
                    <a:gd name="T57" fmla="*/ 2147483647 h 90"/>
                    <a:gd name="T58" fmla="*/ 2147483647 w 188"/>
                    <a:gd name="T59" fmla="*/ 2147483647 h 90"/>
                    <a:gd name="T60" fmla="*/ 2147483647 w 188"/>
                    <a:gd name="T61" fmla="*/ 2147483647 h 90"/>
                    <a:gd name="T62" fmla="*/ 0 w 188"/>
                    <a:gd name="T63" fmla="*/ 2147483647 h 90"/>
                    <a:gd name="T64" fmla="*/ 2147483647 w 188"/>
                    <a:gd name="T65" fmla="*/ 2147483647 h 90"/>
                    <a:gd name="T66" fmla="*/ 2147483647 w 188"/>
                    <a:gd name="T67" fmla="*/ 2147483647 h 90"/>
                    <a:gd name="T68" fmla="*/ 2147483647 w 188"/>
                    <a:gd name="T69" fmla="*/ 2147483647 h 90"/>
                    <a:gd name="T70" fmla="*/ 2147483647 w 188"/>
                    <a:gd name="T71" fmla="*/ 2147483647 h 90"/>
                    <a:gd name="T72" fmla="*/ 2147483647 w 188"/>
                    <a:gd name="T73" fmla="*/ 2147483647 h 90"/>
                    <a:gd name="T74" fmla="*/ 2147483647 w 188"/>
                    <a:gd name="T75" fmla="*/ 2147483647 h 90"/>
                    <a:gd name="T76" fmla="*/ 2147483647 w 188"/>
                    <a:gd name="T77" fmla="*/ 2147483647 h 90"/>
                    <a:gd name="T78" fmla="*/ 2147483647 w 188"/>
                    <a:gd name="T79" fmla="*/ 2147483647 h 90"/>
                    <a:gd name="T80" fmla="*/ 2147483647 w 188"/>
                    <a:gd name="T81" fmla="*/ 2147483647 h 90"/>
                    <a:gd name="T82" fmla="*/ 2147483647 w 188"/>
                    <a:gd name="T83" fmla="*/ 2147483647 h 90"/>
                    <a:gd name="T84" fmla="*/ 2147483647 w 188"/>
                    <a:gd name="T85" fmla="*/ 2147483647 h 90"/>
                    <a:gd name="T86" fmla="*/ 2147483647 w 188"/>
                    <a:gd name="T87" fmla="*/ 2147483647 h 90"/>
                    <a:gd name="T88" fmla="*/ 2147483647 w 188"/>
                    <a:gd name="T89" fmla="*/ 2147483647 h 90"/>
                    <a:gd name="T90" fmla="*/ 2147483647 w 188"/>
                    <a:gd name="T91" fmla="*/ 2147483647 h 90"/>
                    <a:gd name="T92" fmla="*/ 2147483647 w 188"/>
                    <a:gd name="T93" fmla="*/ 2147483647 h 90"/>
                    <a:gd name="T94" fmla="*/ 2147483647 w 188"/>
                    <a:gd name="T95" fmla="*/ 2147483647 h 90"/>
                    <a:gd name="T96" fmla="*/ 2147483647 w 188"/>
                    <a:gd name="T97" fmla="*/ 2147483647 h 90"/>
                    <a:gd name="T98" fmla="*/ 2147483647 w 188"/>
                    <a:gd name="T99" fmla="*/ 2147483647 h 90"/>
                    <a:gd name="T100" fmla="*/ 2147483647 w 188"/>
                    <a:gd name="T101" fmla="*/ 2147483647 h 90"/>
                    <a:gd name="T102" fmla="*/ 2147483647 w 188"/>
                    <a:gd name="T103" fmla="*/ 2147483647 h 90"/>
                    <a:gd name="T104" fmla="*/ 2147483647 w 188"/>
                    <a:gd name="T105" fmla="*/ 2147483647 h 90"/>
                    <a:gd name="T106" fmla="*/ 2147483647 w 188"/>
                    <a:gd name="T107" fmla="*/ 2147483647 h 90"/>
                    <a:gd name="T108" fmla="*/ 2147483647 w 188"/>
                    <a:gd name="T109" fmla="*/ 2147483647 h 90"/>
                    <a:gd name="T110" fmla="*/ 2147483647 w 188"/>
                    <a:gd name="T111" fmla="*/ 2147483647 h 90"/>
                    <a:gd name="T112" fmla="*/ 2147483647 w 188"/>
                    <a:gd name="T113" fmla="*/ 2147483647 h 90"/>
                    <a:gd name="T114" fmla="*/ 2147483647 w 188"/>
                    <a:gd name="T115" fmla="*/ 2147483647 h 90"/>
                    <a:gd name="T116" fmla="*/ 2147483647 w 188"/>
                    <a:gd name="T117" fmla="*/ 2147483647 h 90"/>
                    <a:gd name="T118" fmla="*/ 2147483647 w 188"/>
                    <a:gd name="T119" fmla="*/ 2147483647 h 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8"/>
                    <a:gd name="T181" fmla="*/ 0 h 90"/>
                    <a:gd name="T182" fmla="*/ 188 w 188"/>
                    <a:gd name="T183" fmla="*/ 90 h 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8" h="90">
                      <a:moveTo>
                        <a:pt x="152" y="10"/>
                      </a:moveTo>
                      <a:lnTo>
                        <a:pt x="152" y="10"/>
                      </a:lnTo>
                      <a:lnTo>
                        <a:pt x="148" y="8"/>
                      </a:lnTo>
                      <a:lnTo>
                        <a:pt x="146" y="5"/>
                      </a:lnTo>
                      <a:lnTo>
                        <a:pt x="142" y="2"/>
                      </a:lnTo>
                      <a:lnTo>
                        <a:pt x="141" y="2"/>
                      </a:lnTo>
                      <a:lnTo>
                        <a:pt x="138" y="2"/>
                      </a:lnTo>
                      <a:lnTo>
                        <a:pt x="137" y="4"/>
                      </a:lnTo>
                      <a:lnTo>
                        <a:pt x="136" y="6"/>
                      </a:lnTo>
                      <a:lnTo>
                        <a:pt x="133" y="10"/>
                      </a:lnTo>
                      <a:lnTo>
                        <a:pt x="132" y="13"/>
                      </a:lnTo>
                      <a:lnTo>
                        <a:pt x="129" y="14"/>
                      </a:lnTo>
                      <a:lnTo>
                        <a:pt x="128" y="14"/>
                      </a:lnTo>
                      <a:lnTo>
                        <a:pt x="125" y="13"/>
                      </a:lnTo>
                      <a:lnTo>
                        <a:pt x="124" y="12"/>
                      </a:lnTo>
                      <a:lnTo>
                        <a:pt x="122" y="11"/>
                      </a:lnTo>
                      <a:lnTo>
                        <a:pt x="120" y="11"/>
                      </a:lnTo>
                      <a:lnTo>
                        <a:pt x="115" y="13"/>
                      </a:lnTo>
                      <a:lnTo>
                        <a:pt x="113" y="14"/>
                      </a:lnTo>
                      <a:lnTo>
                        <a:pt x="105" y="12"/>
                      </a:lnTo>
                      <a:lnTo>
                        <a:pt x="101" y="14"/>
                      </a:lnTo>
                      <a:lnTo>
                        <a:pt x="101" y="18"/>
                      </a:lnTo>
                      <a:lnTo>
                        <a:pt x="101" y="20"/>
                      </a:lnTo>
                      <a:lnTo>
                        <a:pt x="100" y="21"/>
                      </a:lnTo>
                      <a:lnTo>
                        <a:pt x="99" y="23"/>
                      </a:lnTo>
                      <a:lnTo>
                        <a:pt x="96" y="21"/>
                      </a:lnTo>
                      <a:lnTo>
                        <a:pt x="95" y="17"/>
                      </a:lnTo>
                      <a:lnTo>
                        <a:pt x="95" y="12"/>
                      </a:lnTo>
                      <a:lnTo>
                        <a:pt x="94" y="8"/>
                      </a:lnTo>
                      <a:lnTo>
                        <a:pt x="92" y="8"/>
                      </a:lnTo>
                      <a:lnTo>
                        <a:pt x="90" y="8"/>
                      </a:lnTo>
                      <a:lnTo>
                        <a:pt x="86" y="10"/>
                      </a:lnTo>
                      <a:lnTo>
                        <a:pt x="84" y="13"/>
                      </a:lnTo>
                      <a:lnTo>
                        <a:pt x="82" y="17"/>
                      </a:lnTo>
                      <a:lnTo>
                        <a:pt x="78" y="19"/>
                      </a:lnTo>
                      <a:lnTo>
                        <a:pt x="76" y="19"/>
                      </a:lnTo>
                      <a:lnTo>
                        <a:pt x="75" y="18"/>
                      </a:lnTo>
                      <a:lnTo>
                        <a:pt x="72" y="12"/>
                      </a:lnTo>
                      <a:lnTo>
                        <a:pt x="71" y="10"/>
                      </a:lnTo>
                      <a:lnTo>
                        <a:pt x="67" y="8"/>
                      </a:lnTo>
                      <a:lnTo>
                        <a:pt x="65" y="8"/>
                      </a:lnTo>
                      <a:lnTo>
                        <a:pt x="62" y="11"/>
                      </a:lnTo>
                      <a:lnTo>
                        <a:pt x="62" y="14"/>
                      </a:lnTo>
                      <a:lnTo>
                        <a:pt x="62" y="18"/>
                      </a:lnTo>
                      <a:lnTo>
                        <a:pt x="61" y="20"/>
                      </a:lnTo>
                      <a:lnTo>
                        <a:pt x="59" y="24"/>
                      </a:lnTo>
                      <a:lnTo>
                        <a:pt x="56" y="29"/>
                      </a:lnTo>
                      <a:lnTo>
                        <a:pt x="53" y="36"/>
                      </a:lnTo>
                      <a:lnTo>
                        <a:pt x="52" y="38"/>
                      </a:lnTo>
                      <a:lnTo>
                        <a:pt x="51" y="39"/>
                      </a:lnTo>
                      <a:lnTo>
                        <a:pt x="49" y="39"/>
                      </a:lnTo>
                      <a:lnTo>
                        <a:pt x="48" y="37"/>
                      </a:lnTo>
                      <a:lnTo>
                        <a:pt x="47" y="32"/>
                      </a:lnTo>
                      <a:lnTo>
                        <a:pt x="44" y="27"/>
                      </a:lnTo>
                      <a:lnTo>
                        <a:pt x="44" y="26"/>
                      </a:lnTo>
                      <a:lnTo>
                        <a:pt x="44" y="25"/>
                      </a:lnTo>
                      <a:lnTo>
                        <a:pt x="47" y="23"/>
                      </a:lnTo>
                      <a:lnTo>
                        <a:pt x="49" y="18"/>
                      </a:lnTo>
                      <a:lnTo>
                        <a:pt x="48" y="17"/>
                      </a:lnTo>
                      <a:lnTo>
                        <a:pt x="48" y="14"/>
                      </a:lnTo>
                      <a:lnTo>
                        <a:pt x="43" y="8"/>
                      </a:lnTo>
                      <a:lnTo>
                        <a:pt x="33" y="0"/>
                      </a:lnTo>
                      <a:lnTo>
                        <a:pt x="32" y="0"/>
                      </a:lnTo>
                      <a:lnTo>
                        <a:pt x="29" y="1"/>
                      </a:lnTo>
                      <a:lnTo>
                        <a:pt x="28" y="2"/>
                      </a:lnTo>
                      <a:lnTo>
                        <a:pt x="28" y="4"/>
                      </a:lnTo>
                      <a:lnTo>
                        <a:pt x="32" y="7"/>
                      </a:lnTo>
                      <a:lnTo>
                        <a:pt x="32" y="10"/>
                      </a:lnTo>
                      <a:lnTo>
                        <a:pt x="32" y="12"/>
                      </a:lnTo>
                      <a:lnTo>
                        <a:pt x="29" y="13"/>
                      </a:lnTo>
                      <a:lnTo>
                        <a:pt x="25" y="14"/>
                      </a:lnTo>
                      <a:lnTo>
                        <a:pt x="23" y="14"/>
                      </a:lnTo>
                      <a:lnTo>
                        <a:pt x="20" y="17"/>
                      </a:lnTo>
                      <a:lnTo>
                        <a:pt x="18" y="21"/>
                      </a:lnTo>
                      <a:lnTo>
                        <a:pt x="15" y="24"/>
                      </a:lnTo>
                      <a:lnTo>
                        <a:pt x="7" y="26"/>
                      </a:lnTo>
                      <a:lnTo>
                        <a:pt x="5" y="30"/>
                      </a:lnTo>
                      <a:lnTo>
                        <a:pt x="4" y="31"/>
                      </a:lnTo>
                      <a:lnTo>
                        <a:pt x="4" y="32"/>
                      </a:lnTo>
                      <a:lnTo>
                        <a:pt x="6" y="32"/>
                      </a:lnTo>
                      <a:lnTo>
                        <a:pt x="9" y="32"/>
                      </a:lnTo>
                      <a:lnTo>
                        <a:pt x="12" y="31"/>
                      </a:lnTo>
                      <a:lnTo>
                        <a:pt x="15" y="32"/>
                      </a:lnTo>
                      <a:lnTo>
                        <a:pt x="16" y="32"/>
                      </a:lnTo>
                      <a:lnTo>
                        <a:pt x="19" y="31"/>
                      </a:lnTo>
                      <a:lnTo>
                        <a:pt x="23" y="29"/>
                      </a:lnTo>
                      <a:lnTo>
                        <a:pt x="26" y="27"/>
                      </a:lnTo>
                      <a:lnTo>
                        <a:pt x="30" y="29"/>
                      </a:lnTo>
                      <a:lnTo>
                        <a:pt x="32" y="30"/>
                      </a:lnTo>
                      <a:lnTo>
                        <a:pt x="33" y="32"/>
                      </a:lnTo>
                      <a:lnTo>
                        <a:pt x="33" y="36"/>
                      </a:lnTo>
                      <a:lnTo>
                        <a:pt x="32" y="39"/>
                      </a:lnTo>
                      <a:lnTo>
                        <a:pt x="24" y="40"/>
                      </a:lnTo>
                      <a:lnTo>
                        <a:pt x="16" y="43"/>
                      </a:lnTo>
                      <a:lnTo>
                        <a:pt x="10" y="44"/>
                      </a:lnTo>
                      <a:lnTo>
                        <a:pt x="2" y="45"/>
                      </a:lnTo>
                      <a:lnTo>
                        <a:pt x="1" y="46"/>
                      </a:lnTo>
                      <a:lnTo>
                        <a:pt x="0" y="49"/>
                      </a:lnTo>
                      <a:lnTo>
                        <a:pt x="0" y="50"/>
                      </a:lnTo>
                      <a:lnTo>
                        <a:pt x="1" y="51"/>
                      </a:lnTo>
                      <a:lnTo>
                        <a:pt x="4" y="51"/>
                      </a:lnTo>
                      <a:lnTo>
                        <a:pt x="10" y="51"/>
                      </a:lnTo>
                      <a:lnTo>
                        <a:pt x="15" y="50"/>
                      </a:lnTo>
                      <a:lnTo>
                        <a:pt x="20" y="50"/>
                      </a:lnTo>
                      <a:lnTo>
                        <a:pt x="21" y="50"/>
                      </a:lnTo>
                      <a:lnTo>
                        <a:pt x="24" y="51"/>
                      </a:lnTo>
                      <a:lnTo>
                        <a:pt x="25" y="53"/>
                      </a:lnTo>
                      <a:lnTo>
                        <a:pt x="26" y="56"/>
                      </a:lnTo>
                      <a:lnTo>
                        <a:pt x="29" y="57"/>
                      </a:lnTo>
                      <a:lnTo>
                        <a:pt x="35" y="56"/>
                      </a:lnTo>
                      <a:lnTo>
                        <a:pt x="37" y="57"/>
                      </a:lnTo>
                      <a:lnTo>
                        <a:pt x="37" y="58"/>
                      </a:lnTo>
                      <a:lnTo>
                        <a:pt x="38" y="62"/>
                      </a:lnTo>
                      <a:lnTo>
                        <a:pt x="39" y="63"/>
                      </a:lnTo>
                      <a:lnTo>
                        <a:pt x="40" y="64"/>
                      </a:lnTo>
                      <a:lnTo>
                        <a:pt x="40" y="66"/>
                      </a:lnTo>
                      <a:lnTo>
                        <a:pt x="39" y="68"/>
                      </a:lnTo>
                      <a:lnTo>
                        <a:pt x="38" y="69"/>
                      </a:lnTo>
                      <a:lnTo>
                        <a:pt x="35" y="69"/>
                      </a:lnTo>
                      <a:lnTo>
                        <a:pt x="30" y="69"/>
                      </a:lnTo>
                      <a:lnTo>
                        <a:pt x="28" y="69"/>
                      </a:lnTo>
                      <a:lnTo>
                        <a:pt x="26" y="70"/>
                      </a:lnTo>
                      <a:lnTo>
                        <a:pt x="26" y="71"/>
                      </a:lnTo>
                      <a:lnTo>
                        <a:pt x="26" y="75"/>
                      </a:lnTo>
                      <a:lnTo>
                        <a:pt x="28" y="78"/>
                      </a:lnTo>
                      <a:lnTo>
                        <a:pt x="33" y="82"/>
                      </a:lnTo>
                      <a:lnTo>
                        <a:pt x="35" y="82"/>
                      </a:lnTo>
                      <a:lnTo>
                        <a:pt x="39" y="81"/>
                      </a:lnTo>
                      <a:lnTo>
                        <a:pt x="42" y="78"/>
                      </a:lnTo>
                      <a:lnTo>
                        <a:pt x="45" y="78"/>
                      </a:lnTo>
                      <a:lnTo>
                        <a:pt x="49" y="81"/>
                      </a:lnTo>
                      <a:lnTo>
                        <a:pt x="52" y="80"/>
                      </a:lnTo>
                      <a:lnTo>
                        <a:pt x="53" y="78"/>
                      </a:lnTo>
                      <a:lnTo>
                        <a:pt x="56" y="80"/>
                      </a:lnTo>
                      <a:lnTo>
                        <a:pt x="58" y="82"/>
                      </a:lnTo>
                      <a:lnTo>
                        <a:pt x="59" y="84"/>
                      </a:lnTo>
                      <a:lnTo>
                        <a:pt x="62" y="85"/>
                      </a:lnTo>
                      <a:lnTo>
                        <a:pt x="65" y="87"/>
                      </a:lnTo>
                      <a:lnTo>
                        <a:pt x="68" y="87"/>
                      </a:lnTo>
                      <a:lnTo>
                        <a:pt x="75" y="84"/>
                      </a:lnTo>
                      <a:lnTo>
                        <a:pt x="77" y="84"/>
                      </a:lnTo>
                      <a:lnTo>
                        <a:pt x="78" y="85"/>
                      </a:lnTo>
                      <a:lnTo>
                        <a:pt x="82" y="88"/>
                      </a:lnTo>
                      <a:lnTo>
                        <a:pt x="86" y="90"/>
                      </a:lnTo>
                      <a:lnTo>
                        <a:pt x="87" y="90"/>
                      </a:lnTo>
                      <a:lnTo>
                        <a:pt x="90" y="90"/>
                      </a:lnTo>
                      <a:lnTo>
                        <a:pt x="99" y="88"/>
                      </a:lnTo>
                      <a:lnTo>
                        <a:pt x="106" y="85"/>
                      </a:lnTo>
                      <a:lnTo>
                        <a:pt x="110" y="84"/>
                      </a:lnTo>
                      <a:lnTo>
                        <a:pt x="113" y="82"/>
                      </a:lnTo>
                      <a:lnTo>
                        <a:pt x="119" y="77"/>
                      </a:lnTo>
                      <a:lnTo>
                        <a:pt x="123" y="76"/>
                      </a:lnTo>
                      <a:lnTo>
                        <a:pt x="127" y="76"/>
                      </a:lnTo>
                      <a:lnTo>
                        <a:pt x="129" y="77"/>
                      </a:lnTo>
                      <a:lnTo>
                        <a:pt x="133" y="76"/>
                      </a:lnTo>
                      <a:lnTo>
                        <a:pt x="136" y="75"/>
                      </a:lnTo>
                      <a:lnTo>
                        <a:pt x="137" y="72"/>
                      </a:lnTo>
                      <a:lnTo>
                        <a:pt x="138" y="70"/>
                      </a:lnTo>
                      <a:lnTo>
                        <a:pt x="141" y="68"/>
                      </a:lnTo>
                      <a:lnTo>
                        <a:pt x="146" y="65"/>
                      </a:lnTo>
                      <a:lnTo>
                        <a:pt x="152" y="64"/>
                      </a:lnTo>
                      <a:lnTo>
                        <a:pt x="158" y="64"/>
                      </a:lnTo>
                      <a:lnTo>
                        <a:pt x="161" y="63"/>
                      </a:lnTo>
                      <a:lnTo>
                        <a:pt x="162" y="62"/>
                      </a:lnTo>
                      <a:lnTo>
                        <a:pt x="167" y="58"/>
                      </a:lnTo>
                      <a:lnTo>
                        <a:pt x="171" y="57"/>
                      </a:lnTo>
                      <a:lnTo>
                        <a:pt x="175" y="56"/>
                      </a:lnTo>
                      <a:lnTo>
                        <a:pt x="176" y="55"/>
                      </a:lnTo>
                      <a:lnTo>
                        <a:pt x="176" y="52"/>
                      </a:lnTo>
                      <a:lnTo>
                        <a:pt x="175" y="50"/>
                      </a:lnTo>
                      <a:lnTo>
                        <a:pt x="175" y="49"/>
                      </a:lnTo>
                      <a:lnTo>
                        <a:pt x="178" y="46"/>
                      </a:lnTo>
                      <a:lnTo>
                        <a:pt x="180" y="44"/>
                      </a:lnTo>
                      <a:lnTo>
                        <a:pt x="184" y="43"/>
                      </a:lnTo>
                      <a:lnTo>
                        <a:pt x="188" y="42"/>
                      </a:lnTo>
                      <a:lnTo>
                        <a:pt x="188" y="40"/>
                      </a:lnTo>
                      <a:lnTo>
                        <a:pt x="186" y="39"/>
                      </a:lnTo>
                      <a:lnTo>
                        <a:pt x="183" y="37"/>
                      </a:lnTo>
                      <a:lnTo>
                        <a:pt x="180" y="34"/>
                      </a:lnTo>
                      <a:lnTo>
                        <a:pt x="179" y="31"/>
                      </a:lnTo>
                      <a:lnTo>
                        <a:pt x="178" y="29"/>
                      </a:lnTo>
                      <a:lnTo>
                        <a:pt x="167" y="19"/>
                      </a:lnTo>
                      <a:lnTo>
                        <a:pt x="158" y="13"/>
                      </a:lnTo>
                      <a:lnTo>
                        <a:pt x="152"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8" name="Freeform 1200"/>
                <p:cNvSpPr>
                  <a:spLocks/>
                </p:cNvSpPr>
                <p:nvPr/>
              </p:nvSpPr>
              <p:spPr bwMode="auto">
                <a:xfrm>
                  <a:off x="4764708" y="3181408"/>
                  <a:ext cx="288575" cy="303374"/>
                </a:xfrm>
                <a:custGeom>
                  <a:avLst/>
                  <a:gdLst>
                    <a:gd name="T0" fmla="*/ 2147483647 w 212"/>
                    <a:gd name="T1" fmla="*/ 2147483647 h 205"/>
                    <a:gd name="T2" fmla="*/ 2147483647 w 212"/>
                    <a:gd name="T3" fmla="*/ 2147483647 h 205"/>
                    <a:gd name="T4" fmla="*/ 2147483647 w 212"/>
                    <a:gd name="T5" fmla="*/ 2147483647 h 205"/>
                    <a:gd name="T6" fmla="*/ 2147483647 w 212"/>
                    <a:gd name="T7" fmla="*/ 2147483647 h 205"/>
                    <a:gd name="T8" fmla="*/ 2147483647 w 212"/>
                    <a:gd name="T9" fmla="*/ 2147483647 h 205"/>
                    <a:gd name="T10" fmla="*/ 2147483647 w 212"/>
                    <a:gd name="T11" fmla="*/ 2147483647 h 205"/>
                    <a:gd name="T12" fmla="*/ 2147483647 w 212"/>
                    <a:gd name="T13" fmla="*/ 2147483647 h 205"/>
                    <a:gd name="T14" fmla="*/ 2147483647 w 212"/>
                    <a:gd name="T15" fmla="*/ 2147483647 h 205"/>
                    <a:gd name="T16" fmla="*/ 2147483647 w 212"/>
                    <a:gd name="T17" fmla="*/ 2147483647 h 205"/>
                    <a:gd name="T18" fmla="*/ 2147483647 w 212"/>
                    <a:gd name="T19" fmla="*/ 2147483647 h 205"/>
                    <a:gd name="T20" fmla="*/ 2147483647 w 212"/>
                    <a:gd name="T21" fmla="*/ 2147483647 h 205"/>
                    <a:gd name="T22" fmla="*/ 2147483647 w 212"/>
                    <a:gd name="T23" fmla="*/ 2147483647 h 205"/>
                    <a:gd name="T24" fmla="*/ 2147483647 w 212"/>
                    <a:gd name="T25" fmla="*/ 2147483647 h 205"/>
                    <a:gd name="T26" fmla="*/ 2147483647 w 212"/>
                    <a:gd name="T27" fmla="*/ 2147483647 h 205"/>
                    <a:gd name="T28" fmla="*/ 2147483647 w 212"/>
                    <a:gd name="T29" fmla="*/ 2147483647 h 205"/>
                    <a:gd name="T30" fmla="*/ 2147483647 w 212"/>
                    <a:gd name="T31" fmla="*/ 2147483647 h 205"/>
                    <a:gd name="T32" fmla="*/ 2147483647 w 212"/>
                    <a:gd name="T33" fmla="*/ 2147483647 h 205"/>
                    <a:gd name="T34" fmla="*/ 2147483647 w 212"/>
                    <a:gd name="T35" fmla="*/ 2147483647 h 205"/>
                    <a:gd name="T36" fmla="*/ 2147483647 w 212"/>
                    <a:gd name="T37" fmla="*/ 2147483647 h 205"/>
                    <a:gd name="T38" fmla="*/ 2147483647 w 212"/>
                    <a:gd name="T39" fmla="*/ 2147483647 h 205"/>
                    <a:gd name="T40" fmla="*/ 2147483647 w 212"/>
                    <a:gd name="T41" fmla="*/ 2147483647 h 205"/>
                    <a:gd name="T42" fmla="*/ 2147483647 w 212"/>
                    <a:gd name="T43" fmla="*/ 2147483647 h 205"/>
                    <a:gd name="T44" fmla="*/ 2147483647 w 212"/>
                    <a:gd name="T45" fmla="*/ 2147483647 h 205"/>
                    <a:gd name="T46" fmla="*/ 2147483647 w 212"/>
                    <a:gd name="T47" fmla="*/ 2147483647 h 205"/>
                    <a:gd name="T48" fmla="*/ 2147483647 w 212"/>
                    <a:gd name="T49" fmla="*/ 2147483647 h 205"/>
                    <a:gd name="T50" fmla="*/ 2147483647 w 212"/>
                    <a:gd name="T51" fmla="*/ 2147483647 h 205"/>
                    <a:gd name="T52" fmla="*/ 2147483647 w 212"/>
                    <a:gd name="T53" fmla="*/ 2147483647 h 205"/>
                    <a:gd name="T54" fmla="*/ 2147483647 w 212"/>
                    <a:gd name="T55" fmla="*/ 2147483647 h 205"/>
                    <a:gd name="T56" fmla="*/ 2147483647 w 212"/>
                    <a:gd name="T57" fmla="*/ 2147483647 h 205"/>
                    <a:gd name="T58" fmla="*/ 2147483647 w 212"/>
                    <a:gd name="T59" fmla="*/ 2147483647 h 205"/>
                    <a:gd name="T60" fmla="*/ 2147483647 w 212"/>
                    <a:gd name="T61" fmla="*/ 2147483647 h 205"/>
                    <a:gd name="T62" fmla="*/ 2147483647 w 212"/>
                    <a:gd name="T63" fmla="*/ 2147483647 h 205"/>
                    <a:gd name="T64" fmla="*/ 2147483647 w 212"/>
                    <a:gd name="T65" fmla="*/ 2147483647 h 205"/>
                    <a:gd name="T66" fmla="*/ 2147483647 w 212"/>
                    <a:gd name="T67" fmla="*/ 2147483647 h 205"/>
                    <a:gd name="T68" fmla="*/ 2147483647 w 212"/>
                    <a:gd name="T69" fmla="*/ 2147483647 h 205"/>
                    <a:gd name="T70" fmla="*/ 2147483647 w 212"/>
                    <a:gd name="T71" fmla="*/ 2147483647 h 205"/>
                    <a:gd name="T72" fmla="*/ 2147483647 w 212"/>
                    <a:gd name="T73" fmla="*/ 2147483647 h 205"/>
                    <a:gd name="T74" fmla="*/ 2147483647 w 212"/>
                    <a:gd name="T75" fmla="*/ 2147483647 h 205"/>
                    <a:gd name="T76" fmla="*/ 2147483647 w 212"/>
                    <a:gd name="T77" fmla="*/ 2147483647 h 205"/>
                    <a:gd name="T78" fmla="*/ 2147483647 w 212"/>
                    <a:gd name="T79" fmla="*/ 2147483647 h 205"/>
                    <a:gd name="T80" fmla="*/ 2147483647 w 212"/>
                    <a:gd name="T81" fmla="*/ 2147483647 h 205"/>
                    <a:gd name="T82" fmla="*/ 2147483647 w 212"/>
                    <a:gd name="T83" fmla="*/ 2147483647 h 205"/>
                    <a:gd name="T84" fmla="*/ 2147483647 w 212"/>
                    <a:gd name="T85" fmla="*/ 2147483647 h 205"/>
                    <a:gd name="T86" fmla="*/ 2147483647 w 212"/>
                    <a:gd name="T87" fmla="*/ 2147483647 h 205"/>
                    <a:gd name="T88" fmla="*/ 2147483647 w 212"/>
                    <a:gd name="T89" fmla="*/ 2147483647 h 205"/>
                    <a:gd name="T90" fmla="*/ 2147483647 w 212"/>
                    <a:gd name="T91" fmla="*/ 2147483647 h 205"/>
                    <a:gd name="T92" fmla="*/ 2147483647 w 212"/>
                    <a:gd name="T93" fmla="*/ 2147483647 h 205"/>
                    <a:gd name="T94" fmla="*/ 2147483647 w 212"/>
                    <a:gd name="T95" fmla="*/ 2147483647 h 205"/>
                    <a:gd name="T96" fmla="*/ 2147483647 w 212"/>
                    <a:gd name="T97" fmla="*/ 2147483647 h 205"/>
                    <a:gd name="T98" fmla="*/ 2147483647 w 212"/>
                    <a:gd name="T99" fmla="*/ 2147483647 h 205"/>
                    <a:gd name="T100" fmla="*/ 2147483647 w 212"/>
                    <a:gd name="T101" fmla="*/ 2147483647 h 205"/>
                    <a:gd name="T102" fmla="*/ 2147483647 w 212"/>
                    <a:gd name="T103" fmla="*/ 2147483647 h 2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
                    <a:gd name="T157" fmla="*/ 0 h 205"/>
                    <a:gd name="T158" fmla="*/ 212 w 212"/>
                    <a:gd name="T159" fmla="*/ 205 h 20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 h="205">
                      <a:moveTo>
                        <a:pt x="123" y="28"/>
                      </a:moveTo>
                      <a:lnTo>
                        <a:pt x="123" y="28"/>
                      </a:lnTo>
                      <a:lnTo>
                        <a:pt x="126" y="21"/>
                      </a:lnTo>
                      <a:lnTo>
                        <a:pt x="127" y="16"/>
                      </a:lnTo>
                      <a:lnTo>
                        <a:pt x="126" y="13"/>
                      </a:lnTo>
                      <a:lnTo>
                        <a:pt x="112" y="11"/>
                      </a:lnTo>
                      <a:lnTo>
                        <a:pt x="105" y="10"/>
                      </a:lnTo>
                      <a:lnTo>
                        <a:pt x="99" y="8"/>
                      </a:lnTo>
                      <a:lnTo>
                        <a:pt x="98" y="6"/>
                      </a:lnTo>
                      <a:lnTo>
                        <a:pt x="97" y="3"/>
                      </a:lnTo>
                      <a:lnTo>
                        <a:pt x="97" y="1"/>
                      </a:lnTo>
                      <a:lnTo>
                        <a:pt x="94" y="0"/>
                      </a:lnTo>
                      <a:lnTo>
                        <a:pt x="84" y="1"/>
                      </a:lnTo>
                      <a:lnTo>
                        <a:pt x="74" y="2"/>
                      </a:lnTo>
                      <a:lnTo>
                        <a:pt x="70" y="3"/>
                      </a:lnTo>
                      <a:lnTo>
                        <a:pt x="66" y="4"/>
                      </a:lnTo>
                      <a:lnTo>
                        <a:pt x="65" y="6"/>
                      </a:lnTo>
                      <a:lnTo>
                        <a:pt x="64" y="8"/>
                      </a:lnTo>
                      <a:lnTo>
                        <a:pt x="60" y="10"/>
                      </a:lnTo>
                      <a:lnTo>
                        <a:pt x="56" y="13"/>
                      </a:lnTo>
                      <a:lnTo>
                        <a:pt x="53" y="15"/>
                      </a:lnTo>
                      <a:lnTo>
                        <a:pt x="52" y="17"/>
                      </a:lnTo>
                      <a:lnTo>
                        <a:pt x="52" y="19"/>
                      </a:lnTo>
                      <a:lnTo>
                        <a:pt x="52" y="20"/>
                      </a:lnTo>
                      <a:lnTo>
                        <a:pt x="50" y="21"/>
                      </a:lnTo>
                      <a:lnTo>
                        <a:pt x="48" y="19"/>
                      </a:lnTo>
                      <a:lnTo>
                        <a:pt x="47" y="15"/>
                      </a:lnTo>
                      <a:lnTo>
                        <a:pt x="44" y="13"/>
                      </a:lnTo>
                      <a:lnTo>
                        <a:pt x="43" y="13"/>
                      </a:lnTo>
                      <a:lnTo>
                        <a:pt x="42" y="15"/>
                      </a:lnTo>
                      <a:lnTo>
                        <a:pt x="42" y="19"/>
                      </a:lnTo>
                      <a:lnTo>
                        <a:pt x="42" y="21"/>
                      </a:lnTo>
                      <a:lnTo>
                        <a:pt x="42" y="24"/>
                      </a:lnTo>
                      <a:lnTo>
                        <a:pt x="39" y="26"/>
                      </a:lnTo>
                      <a:lnTo>
                        <a:pt x="38" y="26"/>
                      </a:lnTo>
                      <a:lnTo>
                        <a:pt x="34" y="23"/>
                      </a:lnTo>
                      <a:lnTo>
                        <a:pt x="30" y="22"/>
                      </a:lnTo>
                      <a:lnTo>
                        <a:pt x="29" y="21"/>
                      </a:lnTo>
                      <a:lnTo>
                        <a:pt x="28" y="22"/>
                      </a:lnTo>
                      <a:lnTo>
                        <a:pt x="22" y="24"/>
                      </a:lnTo>
                      <a:lnTo>
                        <a:pt x="17" y="27"/>
                      </a:lnTo>
                      <a:lnTo>
                        <a:pt x="15" y="28"/>
                      </a:lnTo>
                      <a:lnTo>
                        <a:pt x="17" y="29"/>
                      </a:lnTo>
                      <a:lnTo>
                        <a:pt x="17" y="33"/>
                      </a:lnTo>
                      <a:lnTo>
                        <a:pt x="15" y="34"/>
                      </a:lnTo>
                      <a:lnTo>
                        <a:pt x="14" y="36"/>
                      </a:lnTo>
                      <a:lnTo>
                        <a:pt x="9" y="38"/>
                      </a:lnTo>
                      <a:lnTo>
                        <a:pt x="10" y="41"/>
                      </a:lnTo>
                      <a:lnTo>
                        <a:pt x="8" y="43"/>
                      </a:lnTo>
                      <a:lnTo>
                        <a:pt x="5" y="46"/>
                      </a:lnTo>
                      <a:lnTo>
                        <a:pt x="1" y="47"/>
                      </a:lnTo>
                      <a:lnTo>
                        <a:pt x="0" y="48"/>
                      </a:lnTo>
                      <a:lnTo>
                        <a:pt x="0" y="49"/>
                      </a:lnTo>
                      <a:lnTo>
                        <a:pt x="1" y="52"/>
                      </a:lnTo>
                      <a:lnTo>
                        <a:pt x="6" y="58"/>
                      </a:lnTo>
                      <a:lnTo>
                        <a:pt x="13" y="62"/>
                      </a:lnTo>
                      <a:lnTo>
                        <a:pt x="18" y="68"/>
                      </a:lnTo>
                      <a:lnTo>
                        <a:pt x="19" y="72"/>
                      </a:lnTo>
                      <a:lnTo>
                        <a:pt x="20" y="74"/>
                      </a:lnTo>
                      <a:lnTo>
                        <a:pt x="27" y="71"/>
                      </a:lnTo>
                      <a:lnTo>
                        <a:pt x="34" y="68"/>
                      </a:lnTo>
                      <a:lnTo>
                        <a:pt x="41" y="67"/>
                      </a:lnTo>
                      <a:lnTo>
                        <a:pt x="48" y="67"/>
                      </a:lnTo>
                      <a:lnTo>
                        <a:pt x="55" y="70"/>
                      </a:lnTo>
                      <a:lnTo>
                        <a:pt x="60" y="72"/>
                      </a:lnTo>
                      <a:lnTo>
                        <a:pt x="65" y="75"/>
                      </a:lnTo>
                      <a:lnTo>
                        <a:pt x="67" y="80"/>
                      </a:lnTo>
                      <a:lnTo>
                        <a:pt x="72" y="92"/>
                      </a:lnTo>
                      <a:lnTo>
                        <a:pt x="77" y="103"/>
                      </a:lnTo>
                      <a:lnTo>
                        <a:pt x="81" y="107"/>
                      </a:lnTo>
                      <a:lnTo>
                        <a:pt x="86" y="112"/>
                      </a:lnTo>
                      <a:lnTo>
                        <a:pt x="91" y="115"/>
                      </a:lnTo>
                      <a:lnTo>
                        <a:pt x="99" y="117"/>
                      </a:lnTo>
                      <a:lnTo>
                        <a:pt x="99" y="118"/>
                      </a:lnTo>
                      <a:lnTo>
                        <a:pt x="100" y="121"/>
                      </a:lnTo>
                      <a:lnTo>
                        <a:pt x="107" y="122"/>
                      </a:lnTo>
                      <a:lnTo>
                        <a:pt x="113" y="125"/>
                      </a:lnTo>
                      <a:lnTo>
                        <a:pt x="124" y="132"/>
                      </a:lnTo>
                      <a:lnTo>
                        <a:pt x="135" y="141"/>
                      </a:lnTo>
                      <a:lnTo>
                        <a:pt x="144" y="150"/>
                      </a:lnTo>
                      <a:lnTo>
                        <a:pt x="149" y="155"/>
                      </a:lnTo>
                      <a:lnTo>
                        <a:pt x="155" y="160"/>
                      </a:lnTo>
                      <a:lnTo>
                        <a:pt x="161" y="163"/>
                      </a:lnTo>
                      <a:lnTo>
                        <a:pt x="166" y="167"/>
                      </a:lnTo>
                      <a:lnTo>
                        <a:pt x="169" y="172"/>
                      </a:lnTo>
                      <a:lnTo>
                        <a:pt x="169" y="176"/>
                      </a:lnTo>
                      <a:lnTo>
                        <a:pt x="168" y="182"/>
                      </a:lnTo>
                      <a:lnTo>
                        <a:pt x="165" y="188"/>
                      </a:lnTo>
                      <a:lnTo>
                        <a:pt x="164" y="190"/>
                      </a:lnTo>
                      <a:lnTo>
                        <a:pt x="163" y="194"/>
                      </a:lnTo>
                      <a:lnTo>
                        <a:pt x="164" y="198"/>
                      </a:lnTo>
                      <a:lnTo>
                        <a:pt x="165" y="201"/>
                      </a:lnTo>
                      <a:lnTo>
                        <a:pt x="166" y="204"/>
                      </a:lnTo>
                      <a:lnTo>
                        <a:pt x="168" y="205"/>
                      </a:lnTo>
                      <a:lnTo>
                        <a:pt x="169" y="205"/>
                      </a:lnTo>
                      <a:lnTo>
                        <a:pt x="173" y="202"/>
                      </a:lnTo>
                      <a:lnTo>
                        <a:pt x="177" y="199"/>
                      </a:lnTo>
                      <a:lnTo>
                        <a:pt x="182" y="193"/>
                      </a:lnTo>
                      <a:lnTo>
                        <a:pt x="182" y="186"/>
                      </a:lnTo>
                      <a:lnTo>
                        <a:pt x="182" y="185"/>
                      </a:lnTo>
                      <a:lnTo>
                        <a:pt x="183" y="183"/>
                      </a:lnTo>
                      <a:lnTo>
                        <a:pt x="187" y="182"/>
                      </a:lnTo>
                      <a:lnTo>
                        <a:pt x="189" y="181"/>
                      </a:lnTo>
                      <a:lnTo>
                        <a:pt x="190" y="180"/>
                      </a:lnTo>
                      <a:lnTo>
                        <a:pt x="190" y="179"/>
                      </a:lnTo>
                      <a:lnTo>
                        <a:pt x="189" y="176"/>
                      </a:lnTo>
                      <a:lnTo>
                        <a:pt x="187" y="175"/>
                      </a:lnTo>
                      <a:lnTo>
                        <a:pt x="184" y="174"/>
                      </a:lnTo>
                      <a:lnTo>
                        <a:pt x="183" y="172"/>
                      </a:lnTo>
                      <a:lnTo>
                        <a:pt x="183" y="168"/>
                      </a:lnTo>
                      <a:lnTo>
                        <a:pt x="184" y="163"/>
                      </a:lnTo>
                      <a:lnTo>
                        <a:pt x="184" y="161"/>
                      </a:lnTo>
                      <a:lnTo>
                        <a:pt x="185" y="158"/>
                      </a:lnTo>
                      <a:lnTo>
                        <a:pt x="187" y="157"/>
                      </a:lnTo>
                      <a:lnTo>
                        <a:pt x="189" y="156"/>
                      </a:lnTo>
                      <a:lnTo>
                        <a:pt x="193" y="156"/>
                      </a:lnTo>
                      <a:lnTo>
                        <a:pt x="201" y="160"/>
                      </a:lnTo>
                      <a:lnTo>
                        <a:pt x="204" y="162"/>
                      </a:lnTo>
                      <a:lnTo>
                        <a:pt x="207" y="163"/>
                      </a:lnTo>
                      <a:lnTo>
                        <a:pt x="210" y="163"/>
                      </a:lnTo>
                      <a:lnTo>
                        <a:pt x="212" y="160"/>
                      </a:lnTo>
                      <a:lnTo>
                        <a:pt x="212" y="155"/>
                      </a:lnTo>
                      <a:lnTo>
                        <a:pt x="206" y="150"/>
                      </a:lnTo>
                      <a:lnTo>
                        <a:pt x="201" y="147"/>
                      </a:lnTo>
                      <a:lnTo>
                        <a:pt x="196" y="142"/>
                      </a:lnTo>
                      <a:lnTo>
                        <a:pt x="189" y="136"/>
                      </a:lnTo>
                      <a:lnTo>
                        <a:pt x="179" y="135"/>
                      </a:lnTo>
                      <a:lnTo>
                        <a:pt x="173" y="134"/>
                      </a:lnTo>
                      <a:lnTo>
                        <a:pt x="170" y="132"/>
                      </a:lnTo>
                      <a:lnTo>
                        <a:pt x="169" y="132"/>
                      </a:lnTo>
                      <a:lnTo>
                        <a:pt x="166" y="126"/>
                      </a:lnTo>
                      <a:lnTo>
                        <a:pt x="163" y="122"/>
                      </a:lnTo>
                      <a:lnTo>
                        <a:pt x="159" y="117"/>
                      </a:lnTo>
                      <a:lnTo>
                        <a:pt x="154" y="113"/>
                      </a:lnTo>
                      <a:lnTo>
                        <a:pt x="138" y="107"/>
                      </a:lnTo>
                      <a:lnTo>
                        <a:pt x="131" y="103"/>
                      </a:lnTo>
                      <a:lnTo>
                        <a:pt x="128" y="100"/>
                      </a:lnTo>
                      <a:lnTo>
                        <a:pt x="127" y="98"/>
                      </a:lnTo>
                      <a:lnTo>
                        <a:pt x="126" y="89"/>
                      </a:lnTo>
                      <a:lnTo>
                        <a:pt x="123" y="84"/>
                      </a:lnTo>
                      <a:lnTo>
                        <a:pt x="119" y="80"/>
                      </a:lnTo>
                      <a:lnTo>
                        <a:pt x="117" y="78"/>
                      </a:lnTo>
                      <a:lnTo>
                        <a:pt x="112" y="75"/>
                      </a:lnTo>
                      <a:lnTo>
                        <a:pt x="108" y="74"/>
                      </a:lnTo>
                      <a:lnTo>
                        <a:pt x="103" y="72"/>
                      </a:lnTo>
                      <a:lnTo>
                        <a:pt x="103" y="71"/>
                      </a:lnTo>
                      <a:lnTo>
                        <a:pt x="102" y="68"/>
                      </a:lnTo>
                      <a:lnTo>
                        <a:pt x="102" y="62"/>
                      </a:lnTo>
                      <a:lnTo>
                        <a:pt x="102" y="57"/>
                      </a:lnTo>
                      <a:lnTo>
                        <a:pt x="104" y="51"/>
                      </a:lnTo>
                      <a:lnTo>
                        <a:pt x="105" y="46"/>
                      </a:lnTo>
                      <a:lnTo>
                        <a:pt x="107" y="42"/>
                      </a:lnTo>
                      <a:lnTo>
                        <a:pt x="105" y="40"/>
                      </a:lnTo>
                      <a:lnTo>
                        <a:pt x="103" y="38"/>
                      </a:lnTo>
                      <a:lnTo>
                        <a:pt x="103" y="36"/>
                      </a:lnTo>
                      <a:lnTo>
                        <a:pt x="103" y="35"/>
                      </a:lnTo>
                      <a:lnTo>
                        <a:pt x="108" y="33"/>
                      </a:lnTo>
                      <a:lnTo>
                        <a:pt x="113" y="30"/>
                      </a:lnTo>
                      <a:lnTo>
                        <a:pt x="118" y="29"/>
                      </a:lnTo>
                      <a:lnTo>
                        <a:pt x="123" y="2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79" name="Freeform 1211"/>
                <p:cNvSpPr>
                  <a:spLocks/>
                </p:cNvSpPr>
                <p:nvPr/>
              </p:nvSpPr>
              <p:spPr bwMode="auto">
                <a:xfrm>
                  <a:off x="4499811" y="3033419"/>
                  <a:ext cx="310773" cy="304854"/>
                </a:xfrm>
                <a:custGeom>
                  <a:avLst/>
                  <a:gdLst>
                    <a:gd name="T0" fmla="*/ 2147483647 w 227"/>
                    <a:gd name="T1" fmla="*/ 2147483647 h 206"/>
                    <a:gd name="T2" fmla="*/ 2147483647 w 227"/>
                    <a:gd name="T3" fmla="*/ 2147483647 h 206"/>
                    <a:gd name="T4" fmla="*/ 2147483647 w 227"/>
                    <a:gd name="T5" fmla="*/ 2147483647 h 206"/>
                    <a:gd name="T6" fmla="*/ 2147483647 w 227"/>
                    <a:gd name="T7" fmla="*/ 2147483647 h 206"/>
                    <a:gd name="T8" fmla="*/ 2147483647 w 227"/>
                    <a:gd name="T9" fmla="*/ 2147483647 h 206"/>
                    <a:gd name="T10" fmla="*/ 2147483647 w 227"/>
                    <a:gd name="T11" fmla="*/ 2147483647 h 206"/>
                    <a:gd name="T12" fmla="*/ 2147483647 w 227"/>
                    <a:gd name="T13" fmla="*/ 2147483647 h 206"/>
                    <a:gd name="T14" fmla="*/ 2147483647 w 227"/>
                    <a:gd name="T15" fmla="*/ 2147483647 h 206"/>
                    <a:gd name="T16" fmla="*/ 2147483647 w 227"/>
                    <a:gd name="T17" fmla="*/ 2147483647 h 206"/>
                    <a:gd name="T18" fmla="*/ 2147483647 w 227"/>
                    <a:gd name="T19" fmla="*/ 2147483647 h 206"/>
                    <a:gd name="T20" fmla="*/ 2147483647 w 227"/>
                    <a:gd name="T21" fmla="*/ 2147483647 h 206"/>
                    <a:gd name="T22" fmla="*/ 2147483647 w 227"/>
                    <a:gd name="T23" fmla="*/ 2147483647 h 206"/>
                    <a:gd name="T24" fmla="*/ 2147483647 w 227"/>
                    <a:gd name="T25" fmla="*/ 2147483647 h 206"/>
                    <a:gd name="T26" fmla="*/ 2147483647 w 227"/>
                    <a:gd name="T27" fmla="*/ 2147483647 h 206"/>
                    <a:gd name="T28" fmla="*/ 2147483647 w 227"/>
                    <a:gd name="T29" fmla="*/ 2147483647 h 206"/>
                    <a:gd name="T30" fmla="*/ 2147483647 w 227"/>
                    <a:gd name="T31" fmla="*/ 2147483647 h 206"/>
                    <a:gd name="T32" fmla="*/ 2147483647 w 227"/>
                    <a:gd name="T33" fmla="*/ 2147483647 h 206"/>
                    <a:gd name="T34" fmla="*/ 2147483647 w 227"/>
                    <a:gd name="T35" fmla="*/ 2147483647 h 206"/>
                    <a:gd name="T36" fmla="*/ 2147483647 w 227"/>
                    <a:gd name="T37" fmla="*/ 2147483647 h 206"/>
                    <a:gd name="T38" fmla="*/ 2147483647 w 227"/>
                    <a:gd name="T39" fmla="*/ 0 h 206"/>
                    <a:gd name="T40" fmla="*/ 2147483647 w 227"/>
                    <a:gd name="T41" fmla="*/ 2147483647 h 206"/>
                    <a:gd name="T42" fmla="*/ 2147483647 w 227"/>
                    <a:gd name="T43" fmla="*/ 2147483647 h 206"/>
                    <a:gd name="T44" fmla="*/ 2147483647 w 227"/>
                    <a:gd name="T45" fmla="*/ 2147483647 h 206"/>
                    <a:gd name="T46" fmla="*/ 2147483647 w 227"/>
                    <a:gd name="T47" fmla="*/ 2147483647 h 206"/>
                    <a:gd name="T48" fmla="*/ 2147483647 w 227"/>
                    <a:gd name="T49" fmla="*/ 2147483647 h 206"/>
                    <a:gd name="T50" fmla="*/ 2147483647 w 227"/>
                    <a:gd name="T51" fmla="*/ 2147483647 h 206"/>
                    <a:gd name="T52" fmla="*/ 2147483647 w 227"/>
                    <a:gd name="T53" fmla="*/ 2147483647 h 206"/>
                    <a:gd name="T54" fmla="*/ 2147483647 w 227"/>
                    <a:gd name="T55" fmla="*/ 2147483647 h 206"/>
                    <a:gd name="T56" fmla="*/ 2147483647 w 227"/>
                    <a:gd name="T57" fmla="*/ 2147483647 h 206"/>
                    <a:gd name="T58" fmla="*/ 2147483647 w 227"/>
                    <a:gd name="T59" fmla="*/ 2147483647 h 206"/>
                    <a:gd name="T60" fmla="*/ 2147483647 w 227"/>
                    <a:gd name="T61" fmla="*/ 2147483647 h 206"/>
                    <a:gd name="T62" fmla="*/ 2147483647 w 227"/>
                    <a:gd name="T63" fmla="*/ 2147483647 h 206"/>
                    <a:gd name="T64" fmla="*/ 2147483647 w 227"/>
                    <a:gd name="T65" fmla="*/ 2147483647 h 206"/>
                    <a:gd name="T66" fmla="*/ 0 w 227"/>
                    <a:gd name="T67" fmla="*/ 2147483647 h 206"/>
                    <a:gd name="T68" fmla="*/ 2147483647 w 227"/>
                    <a:gd name="T69" fmla="*/ 2147483647 h 206"/>
                    <a:gd name="T70" fmla="*/ 2147483647 w 227"/>
                    <a:gd name="T71" fmla="*/ 2147483647 h 206"/>
                    <a:gd name="T72" fmla="*/ 2147483647 w 227"/>
                    <a:gd name="T73" fmla="*/ 2147483647 h 206"/>
                    <a:gd name="T74" fmla="*/ 2147483647 w 227"/>
                    <a:gd name="T75" fmla="*/ 2147483647 h 206"/>
                    <a:gd name="T76" fmla="*/ 2147483647 w 227"/>
                    <a:gd name="T77" fmla="*/ 2147483647 h 206"/>
                    <a:gd name="T78" fmla="*/ 2147483647 w 227"/>
                    <a:gd name="T79" fmla="*/ 2147483647 h 206"/>
                    <a:gd name="T80" fmla="*/ 2147483647 w 227"/>
                    <a:gd name="T81" fmla="*/ 2147483647 h 206"/>
                    <a:gd name="T82" fmla="*/ 2147483647 w 227"/>
                    <a:gd name="T83" fmla="*/ 2147483647 h 206"/>
                    <a:gd name="T84" fmla="*/ 2147483647 w 227"/>
                    <a:gd name="T85" fmla="*/ 2147483647 h 206"/>
                    <a:gd name="T86" fmla="*/ 2147483647 w 227"/>
                    <a:gd name="T87" fmla="*/ 2147483647 h 206"/>
                    <a:gd name="T88" fmla="*/ 2147483647 w 227"/>
                    <a:gd name="T89" fmla="*/ 2147483647 h 206"/>
                    <a:gd name="T90" fmla="*/ 2147483647 w 227"/>
                    <a:gd name="T91" fmla="*/ 2147483647 h 206"/>
                    <a:gd name="T92" fmla="*/ 2147483647 w 227"/>
                    <a:gd name="T93" fmla="*/ 2147483647 h 206"/>
                    <a:gd name="T94" fmla="*/ 2147483647 w 227"/>
                    <a:gd name="T95" fmla="*/ 2147483647 h 206"/>
                    <a:gd name="T96" fmla="*/ 2147483647 w 227"/>
                    <a:gd name="T97" fmla="*/ 2147483647 h 206"/>
                    <a:gd name="T98" fmla="*/ 2147483647 w 227"/>
                    <a:gd name="T99" fmla="*/ 2147483647 h 206"/>
                    <a:gd name="T100" fmla="*/ 2147483647 w 227"/>
                    <a:gd name="T101" fmla="*/ 2147483647 h 206"/>
                    <a:gd name="T102" fmla="*/ 2147483647 w 227"/>
                    <a:gd name="T103" fmla="*/ 2147483647 h 206"/>
                    <a:gd name="T104" fmla="*/ 2147483647 w 227"/>
                    <a:gd name="T105" fmla="*/ 2147483647 h 206"/>
                    <a:gd name="T106" fmla="*/ 2147483647 w 227"/>
                    <a:gd name="T107" fmla="*/ 2147483647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7"/>
                    <a:gd name="T163" fmla="*/ 0 h 206"/>
                    <a:gd name="T164" fmla="*/ 227 w 227"/>
                    <a:gd name="T165" fmla="*/ 206 h 20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7" h="206">
                      <a:moveTo>
                        <a:pt x="213" y="174"/>
                      </a:moveTo>
                      <a:lnTo>
                        <a:pt x="213" y="174"/>
                      </a:lnTo>
                      <a:lnTo>
                        <a:pt x="212" y="172"/>
                      </a:lnTo>
                      <a:lnTo>
                        <a:pt x="211" y="168"/>
                      </a:lnTo>
                      <a:lnTo>
                        <a:pt x="206" y="162"/>
                      </a:lnTo>
                      <a:lnTo>
                        <a:pt x="199" y="158"/>
                      </a:lnTo>
                      <a:lnTo>
                        <a:pt x="194" y="152"/>
                      </a:lnTo>
                      <a:lnTo>
                        <a:pt x="193" y="149"/>
                      </a:lnTo>
                      <a:lnTo>
                        <a:pt x="193" y="148"/>
                      </a:lnTo>
                      <a:lnTo>
                        <a:pt x="194" y="147"/>
                      </a:lnTo>
                      <a:lnTo>
                        <a:pt x="198" y="146"/>
                      </a:lnTo>
                      <a:lnTo>
                        <a:pt x="201" y="143"/>
                      </a:lnTo>
                      <a:lnTo>
                        <a:pt x="203" y="141"/>
                      </a:lnTo>
                      <a:lnTo>
                        <a:pt x="202" y="138"/>
                      </a:lnTo>
                      <a:lnTo>
                        <a:pt x="198" y="138"/>
                      </a:lnTo>
                      <a:lnTo>
                        <a:pt x="197" y="136"/>
                      </a:lnTo>
                      <a:lnTo>
                        <a:pt x="196" y="134"/>
                      </a:lnTo>
                      <a:lnTo>
                        <a:pt x="197" y="132"/>
                      </a:lnTo>
                      <a:lnTo>
                        <a:pt x="198" y="128"/>
                      </a:lnTo>
                      <a:lnTo>
                        <a:pt x="199" y="124"/>
                      </a:lnTo>
                      <a:lnTo>
                        <a:pt x="198" y="123"/>
                      </a:lnTo>
                      <a:lnTo>
                        <a:pt x="197" y="121"/>
                      </a:lnTo>
                      <a:lnTo>
                        <a:pt x="197" y="120"/>
                      </a:lnTo>
                      <a:lnTo>
                        <a:pt x="197" y="119"/>
                      </a:lnTo>
                      <a:lnTo>
                        <a:pt x="199" y="117"/>
                      </a:lnTo>
                      <a:lnTo>
                        <a:pt x="201" y="115"/>
                      </a:lnTo>
                      <a:lnTo>
                        <a:pt x="201" y="114"/>
                      </a:lnTo>
                      <a:lnTo>
                        <a:pt x="199" y="114"/>
                      </a:lnTo>
                      <a:lnTo>
                        <a:pt x="196" y="113"/>
                      </a:lnTo>
                      <a:lnTo>
                        <a:pt x="194" y="111"/>
                      </a:lnTo>
                      <a:lnTo>
                        <a:pt x="194" y="108"/>
                      </a:lnTo>
                      <a:lnTo>
                        <a:pt x="199" y="101"/>
                      </a:lnTo>
                      <a:lnTo>
                        <a:pt x="202" y="98"/>
                      </a:lnTo>
                      <a:lnTo>
                        <a:pt x="203" y="95"/>
                      </a:lnTo>
                      <a:lnTo>
                        <a:pt x="206" y="90"/>
                      </a:lnTo>
                      <a:lnTo>
                        <a:pt x="208" y="85"/>
                      </a:lnTo>
                      <a:lnTo>
                        <a:pt x="212" y="81"/>
                      </a:lnTo>
                      <a:lnTo>
                        <a:pt x="215" y="81"/>
                      </a:lnTo>
                      <a:lnTo>
                        <a:pt x="217" y="79"/>
                      </a:lnTo>
                      <a:lnTo>
                        <a:pt x="220" y="78"/>
                      </a:lnTo>
                      <a:lnTo>
                        <a:pt x="220" y="71"/>
                      </a:lnTo>
                      <a:lnTo>
                        <a:pt x="222" y="65"/>
                      </a:lnTo>
                      <a:lnTo>
                        <a:pt x="225" y="59"/>
                      </a:lnTo>
                      <a:lnTo>
                        <a:pt x="227" y="52"/>
                      </a:lnTo>
                      <a:lnTo>
                        <a:pt x="217" y="53"/>
                      </a:lnTo>
                      <a:lnTo>
                        <a:pt x="213" y="52"/>
                      </a:lnTo>
                      <a:lnTo>
                        <a:pt x="208" y="51"/>
                      </a:lnTo>
                      <a:lnTo>
                        <a:pt x="199" y="47"/>
                      </a:lnTo>
                      <a:lnTo>
                        <a:pt x="190" y="45"/>
                      </a:lnTo>
                      <a:lnTo>
                        <a:pt x="184" y="43"/>
                      </a:lnTo>
                      <a:lnTo>
                        <a:pt x="179" y="38"/>
                      </a:lnTo>
                      <a:lnTo>
                        <a:pt x="178" y="37"/>
                      </a:lnTo>
                      <a:lnTo>
                        <a:pt x="173" y="33"/>
                      </a:lnTo>
                      <a:lnTo>
                        <a:pt x="166" y="31"/>
                      </a:lnTo>
                      <a:lnTo>
                        <a:pt x="154" y="27"/>
                      </a:lnTo>
                      <a:lnTo>
                        <a:pt x="151" y="25"/>
                      </a:lnTo>
                      <a:lnTo>
                        <a:pt x="149" y="23"/>
                      </a:lnTo>
                      <a:lnTo>
                        <a:pt x="146" y="19"/>
                      </a:lnTo>
                      <a:lnTo>
                        <a:pt x="143" y="18"/>
                      </a:lnTo>
                      <a:lnTo>
                        <a:pt x="137" y="15"/>
                      </a:lnTo>
                      <a:lnTo>
                        <a:pt x="132" y="11"/>
                      </a:lnTo>
                      <a:lnTo>
                        <a:pt x="128" y="6"/>
                      </a:lnTo>
                      <a:lnTo>
                        <a:pt x="127" y="0"/>
                      </a:lnTo>
                      <a:lnTo>
                        <a:pt x="118" y="4"/>
                      </a:lnTo>
                      <a:lnTo>
                        <a:pt x="114" y="7"/>
                      </a:lnTo>
                      <a:lnTo>
                        <a:pt x="113" y="9"/>
                      </a:lnTo>
                      <a:lnTo>
                        <a:pt x="112" y="12"/>
                      </a:lnTo>
                      <a:lnTo>
                        <a:pt x="112" y="15"/>
                      </a:lnTo>
                      <a:lnTo>
                        <a:pt x="110" y="20"/>
                      </a:lnTo>
                      <a:lnTo>
                        <a:pt x="105" y="27"/>
                      </a:lnTo>
                      <a:lnTo>
                        <a:pt x="99" y="33"/>
                      </a:lnTo>
                      <a:lnTo>
                        <a:pt x="90" y="38"/>
                      </a:lnTo>
                      <a:lnTo>
                        <a:pt x="89" y="39"/>
                      </a:lnTo>
                      <a:lnTo>
                        <a:pt x="89" y="40"/>
                      </a:lnTo>
                      <a:lnTo>
                        <a:pt x="89" y="42"/>
                      </a:lnTo>
                      <a:lnTo>
                        <a:pt x="88" y="43"/>
                      </a:lnTo>
                      <a:lnTo>
                        <a:pt x="80" y="45"/>
                      </a:lnTo>
                      <a:lnTo>
                        <a:pt x="74" y="45"/>
                      </a:lnTo>
                      <a:lnTo>
                        <a:pt x="70" y="44"/>
                      </a:lnTo>
                      <a:lnTo>
                        <a:pt x="67" y="42"/>
                      </a:lnTo>
                      <a:lnTo>
                        <a:pt x="65" y="39"/>
                      </a:lnTo>
                      <a:lnTo>
                        <a:pt x="62" y="37"/>
                      </a:lnTo>
                      <a:lnTo>
                        <a:pt x="60" y="36"/>
                      </a:lnTo>
                      <a:lnTo>
                        <a:pt x="57" y="34"/>
                      </a:lnTo>
                      <a:lnTo>
                        <a:pt x="53" y="34"/>
                      </a:lnTo>
                      <a:lnTo>
                        <a:pt x="52" y="36"/>
                      </a:lnTo>
                      <a:lnTo>
                        <a:pt x="53" y="43"/>
                      </a:lnTo>
                      <a:lnTo>
                        <a:pt x="56" y="49"/>
                      </a:lnTo>
                      <a:lnTo>
                        <a:pt x="56" y="56"/>
                      </a:lnTo>
                      <a:lnTo>
                        <a:pt x="56" y="59"/>
                      </a:lnTo>
                      <a:lnTo>
                        <a:pt x="53" y="62"/>
                      </a:lnTo>
                      <a:lnTo>
                        <a:pt x="50" y="64"/>
                      </a:lnTo>
                      <a:lnTo>
                        <a:pt x="47" y="65"/>
                      </a:lnTo>
                      <a:lnTo>
                        <a:pt x="44" y="66"/>
                      </a:lnTo>
                      <a:lnTo>
                        <a:pt x="37" y="60"/>
                      </a:lnTo>
                      <a:lnTo>
                        <a:pt x="32" y="59"/>
                      </a:lnTo>
                      <a:lnTo>
                        <a:pt x="27" y="60"/>
                      </a:lnTo>
                      <a:lnTo>
                        <a:pt x="25" y="60"/>
                      </a:lnTo>
                      <a:lnTo>
                        <a:pt x="24" y="59"/>
                      </a:lnTo>
                      <a:lnTo>
                        <a:pt x="22" y="58"/>
                      </a:lnTo>
                      <a:lnTo>
                        <a:pt x="20" y="58"/>
                      </a:lnTo>
                      <a:lnTo>
                        <a:pt x="15" y="60"/>
                      </a:lnTo>
                      <a:lnTo>
                        <a:pt x="11" y="62"/>
                      </a:lnTo>
                      <a:lnTo>
                        <a:pt x="1" y="62"/>
                      </a:lnTo>
                      <a:lnTo>
                        <a:pt x="0" y="63"/>
                      </a:lnTo>
                      <a:lnTo>
                        <a:pt x="0" y="65"/>
                      </a:lnTo>
                      <a:lnTo>
                        <a:pt x="1" y="66"/>
                      </a:lnTo>
                      <a:lnTo>
                        <a:pt x="3" y="69"/>
                      </a:lnTo>
                      <a:lnTo>
                        <a:pt x="4" y="70"/>
                      </a:lnTo>
                      <a:lnTo>
                        <a:pt x="5" y="71"/>
                      </a:lnTo>
                      <a:lnTo>
                        <a:pt x="5" y="76"/>
                      </a:lnTo>
                      <a:lnTo>
                        <a:pt x="5" y="79"/>
                      </a:lnTo>
                      <a:lnTo>
                        <a:pt x="6" y="81"/>
                      </a:lnTo>
                      <a:lnTo>
                        <a:pt x="8" y="82"/>
                      </a:lnTo>
                      <a:lnTo>
                        <a:pt x="13" y="84"/>
                      </a:lnTo>
                      <a:lnTo>
                        <a:pt x="18" y="84"/>
                      </a:lnTo>
                      <a:lnTo>
                        <a:pt x="23" y="84"/>
                      </a:lnTo>
                      <a:lnTo>
                        <a:pt x="27" y="85"/>
                      </a:lnTo>
                      <a:lnTo>
                        <a:pt x="39" y="91"/>
                      </a:lnTo>
                      <a:lnTo>
                        <a:pt x="43" y="95"/>
                      </a:lnTo>
                      <a:lnTo>
                        <a:pt x="46" y="100"/>
                      </a:lnTo>
                      <a:lnTo>
                        <a:pt x="47" y="104"/>
                      </a:lnTo>
                      <a:lnTo>
                        <a:pt x="47" y="110"/>
                      </a:lnTo>
                      <a:lnTo>
                        <a:pt x="53" y="114"/>
                      </a:lnTo>
                      <a:lnTo>
                        <a:pt x="58" y="116"/>
                      </a:lnTo>
                      <a:lnTo>
                        <a:pt x="60" y="119"/>
                      </a:lnTo>
                      <a:lnTo>
                        <a:pt x="61" y="121"/>
                      </a:lnTo>
                      <a:lnTo>
                        <a:pt x="62" y="123"/>
                      </a:lnTo>
                      <a:lnTo>
                        <a:pt x="61" y="128"/>
                      </a:lnTo>
                      <a:lnTo>
                        <a:pt x="62" y="129"/>
                      </a:lnTo>
                      <a:lnTo>
                        <a:pt x="63" y="132"/>
                      </a:lnTo>
                      <a:lnTo>
                        <a:pt x="67" y="135"/>
                      </a:lnTo>
                      <a:lnTo>
                        <a:pt x="71" y="139"/>
                      </a:lnTo>
                      <a:lnTo>
                        <a:pt x="72" y="141"/>
                      </a:lnTo>
                      <a:lnTo>
                        <a:pt x="71" y="145"/>
                      </a:lnTo>
                      <a:lnTo>
                        <a:pt x="69" y="142"/>
                      </a:lnTo>
                      <a:lnTo>
                        <a:pt x="66" y="140"/>
                      </a:lnTo>
                      <a:lnTo>
                        <a:pt x="65" y="139"/>
                      </a:lnTo>
                      <a:lnTo>
                        <a:pt x="62" y="140"/>
                      </a:lnTo>
                      <a:lnTo>
                        <a:pt x="61" y="140"/>
                      </a:lnTo>
                      <a:lnTo>
                        <a:pt x="61" y="142"/>
                      </a:lnTo>
                      <a:lnTo>
                        <a:pt x="62" y="154"/>
                      </a:lnTo>
                      <a:lnTo>
                        <a:pt x="60" y="166"/>
                      </a:lnTo>
                      <a:lnTo>
                        <a:pt x="56" y="177"/>
                      </a:lnTo>
                      <a:lnTo>
                        <a:pt x="53" y="180"/>
                      </a:lnTo>
                      <a:lnTo>
                        <a:pt x="51" y="183"/>
                      </a:lnTo>
                      <a:lnTo>
                        <a:pt x="51" y="186"/>
                      </a:lnTo>
                      <a:lnTo>
                        <a:pt x="51" y="189"/>
                      </a:lnTo>
                      <a:lnTo>
                        <a:pt x="66" y="196"/>
                      </a:lnTo>
                      <a:lnTo>
                        <a:pt x="80" y="202"/>
                      </a:lnTo>
                      <a:lnTo>
                        <a:pt x="95" y="204"/>
                      </a:lnTo>
                      <a:lnTo>
                        <a:pt x="112" y="206"/>
                      </a:lnTo>
                      <a:lnTo>
                        <a:pt x="118" y="205"/>
                      </a:lnTo>
                      <a:lnTo>
                        <a:pt x="126" y="204"/>
                      </a:lnTo>
                      <a:lnTo>
                        <a:pt x="138" y="197"/>
                      </a:lnTo>
                      <a:lnTo>
                        <a:pt x="138" y="192"/>
                      </a:lnTo>
                      <a:lnTo>
                        <a:pt x="140" y="191"/>
                      </a:lnTo>
                      <a:lnTo>
                        <a:pt x="141" y="189"/>
                      </a:lnTo>
                      <a:lnTo>
                        <a:pt x="146" y="186"/>
                      </a:lnTo>
                      <a:lnTo>
                        <a:pt x="151" y="184"/>
                      </a:lnTo>
                      <a:lnTo>
                        <a:pt x="156" y="184"/>
                      </a:lnTo>
                      <a:lnTo>
                        <a:pt x="161" y="184"/>
                      </a:lnTo>
                      <a:lnTo>
                        <a:pt x="173" y="186"/>
                      </a:lnTo>
                      <a:lnTo>
                        <a:pt x="183" y="190"/>
                      </a:lnTo>
                      <a:lnTo>
                        <a:pt x="185" y="191"/>
                      </a:lnTo>
                      <a:lnTo>
                        <a:pt x="187" y="190"/>
                      </a:lnTo>
                      <a:lnTo>
                        <a:pt x="199" y="184"/>
                      </a:lnTo>
                      <a:lnTo>
                        <a:pt x="211" y="177"/>
                      </a:lnTo>
                      <a:lnTo>
                        <a:pt x="213" y="17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0" name="Freeform 1213"/>
                <p:cNvSpPr>
                  <a:spLocks/>
                </p:cNvSpPr>
                <p:nvPr/>
              </p:nvSpPr>
              <p:spPr bwMode="auto">
                <a:xfrm>
                  <a:off x="4641879" y="3441863"/>
                  <a:ext cx="8879" cy="10360"/>
                </a:xfrm>
                <a:custGeom>
                  <a:avLst/>
                  <a:gdLst>
                    <a:gd name="T0" fmla="*/ 2147483647 w 6"/>
                    <a:gd name="T1" fmla="*/ 2147483647 h 7"/>
                    <a:gd name="T2" fmla="*/ 2147483647 w 6"/>
                    <a:gd name="T3" fmla="*/ 2147483647 h 7"/>
                    <a:gd name="T4" fmla="*/ 2147483647 w 6"/>
                    <a:gd name="T5" fmla="*/ 2147483647 h 7"/>
                    <a:gd name="T6" fmla="*/ 0 w 6"/>
                    <a:gd name="T7" fmla="*/ 2147483647 h 7"/>
                    <a:gd name="T8" fmla="*/ 0 w 6"/>
                    <a:gd name="T9" fmla="*/ 2147483647 h 7"/>
                    <a:gd name="T10" fmla="*/ 2147483647 w 6"/>
                    <a:gd name="T11" fmla="*/ 2147483647 h 7"/>
                    <a:gd name="T12" fmla="*/ 2147483647 w 6"/>
                    <a:gd name="T13" fmla="*/ 0 h 7"/>
                    <a:gd name="T14" fmla="*/ 2147483647 w 6"/>
                    <a:gd name="T15" fmla="*/ 0 h 7"/>
                    <a:gd name="T16" fmla="*/ 2147483647 w 6"/>
                    <a:gd name="T17" fmla="*/ 2147483647 h 7"/>
                    <a:gd name="T18" fmla="*/ 2147483647 w 6"/>
                    <a:gd name="T19" fmla="*/ 2147483647 h 7"/>
                    <a:gd name="T20" fmla="*/ 2147483647 w 6"/>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7"/>
                    <a:gd name="T35" fmla="*/ 6 w 6"/>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7">
                      <a:moveTo>
                        <a:pt x="6" y="5"/>
                      </a:moveTo>
                      <a:lnTo>
                        <a:pt x="5" y="6"/>
                      </a:lnTo>
                      <a:lnTo>
                        <a:pt x="4" y="7"/>
                      </a:lnTo>
                      <a:lnTo>
                        <a:pt x="0" y="6"/>
                      </a:lnTo>
                      <a:lnTo>
                        <a:pt x="0" y="4"/>
                      </a:lnTo>
                      <a:lnTo>
                        <a:pt x="1" y="3"/>
                      </a:lnTo>
                      <a:lnTo>
                        <a:pt x="3" y="0"/>
                      </a:lnTo>
                      <a:lnTo>
                        <a:pt x="4" y="0"/>
                      </a:lnTo>
                      <a:lnTo>
                        <a:pt x="5" y="1"/>
                      </a:lnTo>
                      <a:lnTo>
                        <a:pt x="6" y="3"/>
                      </a:lnTo>
                      <a:lnTo>
                        <a:pt x="6"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1" name="Freeform 1214"/>
                <p:cNvSpPr>
                  <a:spLocks/>
                </p:cNvSpPr>
                <p:nvPr/>
              </p:nvSpPr>
              <p:spPr bwMode="auto">
                <a:xfrm>
                  <a:off x="4711433" y="3412269"/>
                  <a:ext cx="5919" cy="8879"/>
                </a:xfrm>
                <a:custGeom>
                  <a:avLst/>
                  <a:gdLst>
                    <a:gd name="T0" fmla="*/ 2147483647 w 5"/>
                    <a:gd name="T1" fmla="*/ 2147483647 h 6"/>
                    <a:gd name="T2" fmla="*/ 0 w 5"/>
                    <a:gd name="T3" fmla="*/ 2147483647 h 6"/>
                    <a:gd name="T4" fmla="*/ 0 w 5"/>
                    <a:gd name="T5" fmla="*/ 2147483647 h 6"/>
                    <a:gd name="T6" fmla="*/ 2147483647 w 5"/>
                    <a:gd name="T7" fmla="*/ 0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6"/>
                    <a:gd name="T32" fmla="*/ 5 w 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6">
                      <a:moveTo>
                        <a:pt x="2" y="6"/>
                      </a:moveTo>
                      <a:lnTo>
                        <a:pt x="0" y="5"/>
                      </a:lnTo>
                      <a:lnTo>
                        <a:pt x="0" y="2"/>
                      </a:lnTo>
                      <a:lnTo>
                        <a:pt x="1" y="0"/>
                      </a:lnTo>
                      <a:lnTo>
                        <a:pt x="3" y="1"/>
                      </a:lnTo>
                      <a:lnTo>
                        <a:pt x="5" y="2"/>
                      </a:lnTo>
                      <a:lnTo>
                        <a:pt x="5" y="4"/>
                      </a:lnTo>
                      <a:lnTo>
                        <a:pt x="5" y="5"/>
                      </a:lnTo>
                      <a:lnTo>
                        <a:pt x="3" y="6"/>
                      </a:lnTo>
                      <a:lnTo>
                        <a:pt x="2"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2" name="Freeform 1215"/>
                <p:cNvSpPr>
                  <a:spLocks/>
                </p:cNvSpPr>
                <p:nvPr/>
              </p:nvSpPr>
              <p:spPr bwMode="auto">
                <a:xfrm>
                  <a:off x="4641878" y="3440386"/>
                  <a:ext cx="7400" cy="10359"/>
                </a:xfrm>
                <a:custGeom>
                  <a:avLst/>
                  <a:gdLst>
                    <a:gd name="T0" fmla="*/ 2147483647 w 6"/>
                    <a:gd name="T1" fmla="*/ 2147483647 h 7"/>
                    <a:gd name="T2" fmla="*/ 2147483647 w 6"/>
                    <a:gd name="T3" fmla="*/ 2147483647 h 7"/>
                    <a:gd name="T4" fmla="*/ 2147483647 w 6"/>
                    <a:gd name="T5" fmla="*/ 2147483647 h 7"/>
                    <a:gd name="T6" fmla="*/ 2147483647 w 6"/>
                    <a:gd name="T7" fmla="*/ 2147483647 h 7"/>
                    <a:gd name="T8" fmla="*/ 0 w 6"/>
                    <a:gd name="T9" fmla="*/ 2147483647 h 7"/>
                    <a:gd name="T10" fmla="*/ 0 w 6"/>
                    <a:gd name="T11" fmla="*/ 2147483647 h 7"/>
                    <a:gd name="T12" fmla="*/ 0 w 6"/>
                    <a:gd name="T13" fmla="*/ 2147483647 h 7"/>
                    <a:gd name="T14" fmla="*/ 2147483647 w 6"/>
                    <a:gd name="T15" fmla="*/ 2147483647 h 7"/>
                    <a:gd name="T16" fmla="*/ 2147483647 w 6"/>
                    <a:gd name="T17" fmla="*/ 0 h 7"/>
                    <a:gd name="T18" fmla="*/ 2147483647 w 6"/>
                    <a:gd name="T19" fmla="*/ 0 h 7"/>
                    <a:gd name="T20" fmla="*/ 2147483647 w 6"/>
                    <a:gd name="T21" fmla="*/ 0 h 7"/>
                    <a:gd name="T22" fmla="*/ 2147483647 w 6"/>
                    <a:gd name="T23" fmla="*/ 2147483647 h 7"/>
                    <a:gd name="T24" fmla="*/ 2147483647 w 6"/>
                    <a:gd name="T25" fmla="*/ 2147483647 h 7"/>
                    <a:gd name="T26" fmla="*/ 2147483647 w 6"/>
                    <a:gd name="T27" fmla="*/ 2147483647 h 7"/>
                    <a:gd name="T28" fmla="*/ 2147483647 w 6"/>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7"/>
                    <a:gd name="T47" fmla="*/ 6 w 6"/>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7">
                      <a:moveTo>
                        <a:pt x="6" y="5"/>
                      </a:moveTo>
                      <a:lnTo>
                        <a:pt x="6" y="5"/>
                      </a:lnTo>
                      <a:lnTo>
                        <a:pt x="5" y="6"/>
                      </a:lnTo>
                      <a:lnTo>
                        <a:pt x="4" y="7"/>
                      </a:lnTo>
                      <a:lnTo>
                        <a:pt x="0" y="6"/>
                      </a:lnTo>
                      <a:lnTo>
                        <a:pt x="0" y="4"/>
                      </a:lnTo>
                      <a:lnTo>
                        <a:pt x="1" y="2"/>
                      </a:lnTo>
                      <a:lnTo>
                        <a:pt x="2" y="0"/>
                      </a:lnTo>
                      <a:lnTo>
                        <a:pt x="4" y="0"/>
                      </a:lnTo>
                      <a:lnTo>
                        <a:pt x="5" y="1"/>
                      </a:lnTo>
                      <a:lnTo>
                        <a:pt x="6" y="2"/>
                      </a:lnTo>
                      <a:lnTo>
                        <a:pt x="6"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3" name="Freeform 1216"/>
                <p:cNvSpPr>
                  <a:spLocks/>
                </p:cNvSpPr>
                <p:nvPr/>
              </p:nvSpPr>
              <p:spPr bwMode="auto">
                <a:xfrm>
                  <a:off x="4708473" y="3410790"/>
                  <a:ext cx="5919" cy="8879"/>
                </a:xfrm>
                <a:custGeom>
                  <a:avLst/>
                  <a:gdLst>
                    <a:gd name="T0" fmla="*/ 2147483647 w 5"/>
                    <a:gd name="T1" fmla="*/ 2147483647 h 6"/>
                    <a:gd name="T2" fmla="*/ 2147483647 w 5"/>
                    <a:gd name="T3" fmla="*/ 2147483647 h 6"/>
                    <a:gd name="T4" fmla="*/ 0 w 5"/>
                    <a:gd name="T5" fmla="*/ 2147483647 h 6"/>
                    <a:gd name="T6" fmla="*/ 0 w 5"/>
                    <a:gd name="T7" fmla="*/ 2147483647 h 6"/>
                    <a:gd name="T8" fmla="*/ 0 w 5"/>
                    <a:gd name="T9" fmla="*/ 2147483647 h 6"/>
                    <a:gd name="T10" fmla="*/ 2147483647 w 5"/>
                    <a:gd name="T11" fmla="*/ 0 h 6"/>
                    <a:gd name="T12" fmla="*/ 2147483647 w 5"/>
                    <a:gd name="T13" fmla="*/ 2147483647 h 6"/>
                    <a:gd name="T14" fmla="*/ 2147483647 w 5"/>
                    <a:gd name="T15" fmla="*/ 2147483647 h 6"/>
                    <a:gd name="T16" fmla="*/ 2147483647 w 5"/>
                    <a:gd name="T17" fmla="*/ 2147483647 h 6"/>
                    <a:gd name="T18" fmla="*/ 2147483647 w 5"/>
                    <a:gd name="T19" fmla="*/ 2147483647 h 6"/>
                    <a:gd name="T20" fmla="*/ 2147483647 w 5"/>
                    <a:gd name="T21" fmla="*/ 2147483647 h 6"/>
                    <a:gd name="T22" fmla="*/ 2147483647 w 5"/>
                    <a:gd name="T23" fmla="*/ 2147483647 h 6"/>
                    <a:gd name="T24" fmla="*/ 2147483647 w 5"/>
                    <a:gd name="T25" fmla="*/ 2147483647 h 6"/>
                    <a:gd name="T26" fmla="*/ 2147483647 w 5"/>
                    <a:gd name="T27" fmla="*/ 2147483647 h 6"/>
                    <a:gd name="T28" fmla="*/ 2147483647 w 5"/>
                    <a:gd name="T29" fmla="*/ 2147483647 h 6"/>
                    <a:gd name="T30" fmla="*/ 2147483647 w 5"/>
                    <a:gd name="T31" fmla="*/ 2147483647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
                    <a:gd name="T49" fmla="*/ 0 h 6"/>
                    <a:gd name="T50" fmla="*/ 5 w 5"/>
                    <a:gd name="T51" fmla="*/ 6 h 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 h="6">
                      <a:moveTo>
                        <a:pt x="3" y="6"/>
                      </a:moveTo>
                      <a:lnTo>
                        <a:pt x="3" y="6"/>
                      </a:lnTo>
                      <a:lnTo>
                        <a:pt x="0" y="5"/>
                      </a:lnTo>
                      <a:lnTo>
                        <a:pt x="0" y="2"/>
                      </a:lnTo>
                      <a:lnTo>
                        <a:pt x="2" y="0"/>
                      </a:lnTo>
                      <a:lnTo>
                        <a:pt x="4" y="1"/>
                      </a:lnTo>
                      <a:lnTo>
                        <a:pt x="5" y="2"/>
                      </a:lnTo>
                      <a:lnTo>
                        <a:pt x="5" y="3"/>
                      </a:lnTo>
                      <a:lnTo>
                        <a:pt x="5" y="5"/>
                      </a:lnTo>
                      <a:lnTo>
                        <a:pt x="4" y="6"/>
                      </a:lnTo>
                      <a:lnTo>
                        <a:pt x="3"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4" name="Freeform 1217"/>
                <p:cNvSpPr>
                  <a:spLocks/>
                </p:cNvSpPr>
                <p:nvPr/>
              </p:nvSpPr>
              <p:spPr bwMode="auto">
                <a:xfrm>
                  <a:off x="4672957" y="3418184"/>
                  <a:ext cx="32557" cy="29598"/>
                </a:xfrm>
                <a:custGeom>
                  <a:avLst/>
                  <a:gdLst>
                    <a:gd name="T0" fmla="*/ 2147483647 w 24"/>
                    <a:gd name="T1" fmla="*/ 2147483647 h 20"/>
                    <a:gd name="T2" fmla="*/ 2147483647 w 24"/>
                    <a:gd name="T3" fmla="*/ 2147483647 h 20"/>
                    <a:gd name="T4" fmla="*/ 2147483647 w 24"/>
                    <a:gd name="T5" fmla="*/ 2147483647 h 20"/>
                    <a:gd name="T6" fmla="*/ 2147483647 w 24"/>
                    <a:gd name="T7" fmla="*/ 2147483647 h 20"/>
                    <a:gd name="T8" fmla="*/ 2147483647 w 24"/>
                    <a:gd name="T9" fmla="*/ 2147483647 h 20"/>
                    <a:gd name="T10" fmla="*/ 2147483647 w 24"/>
                    <a:gd name="T11" fmla="*/ 2147483647 h 20"/>
                    <a:gd name="T12" fmla="*/ 2147483647 w 24"/>
                    <a:gd name="T13" fmla="*/ 2147483647 h 20"/>
                    <a:gd name="T14" fmla="*/ 2147483647 w 24"/>
                    <a:gd name="T15" fmla="*/ 2147483647 h 20"/>
                    <a:gd name="T16" fmla="*/ 2147483647 w 24"/>
                    <a:gd name="T17" fmla="*/ 2147483647 h 20"/>
                    <a:gd name="T18" fmla="*/ 2147483647 w 24"/>
                    <a:gd name="T19" fmla="*/ 2147483647 h 20"/>
                    <a:gd name="T20" fmla="*/ 0 w 24"/>
                    <a:gd name="T21" fmla="*/ 2147483647 h 20"/>
                    <a:gd name="T22" fmla="*/ 2147483647 w 24"/>
                    <a:gd name="T23" fmla="*/ 2147483647 h 20"/>
                    <a:gd name="T24" fmla="*/ 2147483647 w 24"/>
                    <a:gd name="T25" fmla="*/ 2147483647 h 20"/>
                    <a:gd name="T26" fmla="*/ 2147483647 w 24"/>
                    <a:gd name="T27" fmla="*/ 2147483647 h 20"/>
                    <a:gd name="T28" fmla="*/ 2147483647 w 24"/>
                    <a:gd name="T29" fmla="*/ 0 h 20"/>
                    <a:gd name="T30" fmla="*/ 2147483647 w 24"/>
                    <a:gd name="T31" fmla="*/ 0 h 20"/>
                    <a:gd name="T32" fmla="*/ 2147483647 w 24"/>
                    <a:gd name="T33" fmla="*/ 2147483647 h 20"/>
                    <a:gd name="T34" fmla="*/ 2147483647 w 24"/>
                    <a:gd name="T35" fmla="*/ 2147483647 h 20"/>
                    <a:gd name="T36" fmla="*/ 2147483647 w 24"/>
                    <a:gd name="T37" fmla="*/ 2147483647 h 20"/>
                    <a:gd name="T38" fmla="*/ 2147483647 w 24"/>
                    <a:gd name="T39" fmla="*/ 2147483647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20"/>
                    <a:gd name="T62" fmla="*/ 24 w 2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20">
                      <a:moveTo>
                        <a:pt x="20" y="9"/>
                      </a:moveTo>
                      <a:lnTo>
                        <a:pt x="23" y="10"/>
                      </a:lnTo>
                      <a:lnTo>
                        <a:pt x="24" y="12"/>
                      </a:lnTo>
                      <a:lnTo>
                        <a:pt x="23" y="14"/>
                      </a:lnTo>
                      <a:lnTo>
                        <a:pt x="20" y="15"/>
                      </a:lnTo>
                      <a:lnTo>
                        <a:pt x="19" y="17"/>
                      </a:lnTo>
                      <a:lnTo>
                        <a:pt x="17" y="20"/>
                      </a:lnTo>
                      <a:lnTo>
                        <a:pt x="10" y="16"/>
                      </a:lnTo>
                      <a:lnTo>
                        <a:pt x="7" y="16"/>
                      </a:lnTo>
                      <a:lnTo>
                        <a:pt x="6" y="16"/>
                      </a:lnTo>
                      <a:lnTo>
                        <a:pt x="0" y="17"/>
                      </a:lnTo>
                      <a:lnTo>
                        <a:pt x="2" y="12"/>
                      </a:lnTo>
                      <a:lnTo>
                        <a:pt x="6" y="8"/>
                      </a:lnTo>
                      <a:lnTo>
                        <a:pt x="14" y="1"/>
                      </a:lnTo>
                      <a:lnTo>
                        <a:pt x="16" y="0"/>
                      </a:lnTo>
                      <a:lnTo>
                        <a:pt x="17" y="0"/>
                      </a:lnTo>
                      <a:lnTo>
                        <a:pt x="17" y="2"/>
                      </a:lnTo>
                      <a:lnTo>
                        <a:pt x="17" y="6"/>
                      </a:lnTo>
                      <a:lnTo>
                        <a:pt x="19" y="8"/>
                      </a:lnTo>
                      <a:lnTo>
                        <a:pt x="20" y="9"/>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5" name="Freeform 1219"/>
                <p:cNvSpPr>
                  <a:spLocks/>
                </p:cNvSpPr>
                <p:nvPr/>
              </p:nvSpPr>
              <p:spPr bwMode="auto">
                <a:xfrm>
                  <a:off x="4669996" y="3415228"/>
                  <a:ext cx="34037" cy="31078"/>
                </a:xfrm>
                <a:custGeom>
                  <a:avLst/>
                  <a:gdLst>
                    <a:gd name="T0" fmla="*/ 2147483647 w 25"/>
                    <a:gd name="T1" fmla="*/ 2147483647 h 21"/>
                    <a:gd name="T2" fmla="*/ 2147483647 w 25"/>
                    <a:gd name="T3" fmla="*/ 2147483647 h 21"/>
                    <a:gd name="T4" fmla="*/ 2147483647 w 25"/>
                    <a:gd name="T5" fmla="*/ 2147483647 h 21"/>
                    <a:gd name="T6" fmla="*/ 2147483647 w 25"/>
                    <a:gd name="T7" fmla="*/ 2147483647 h 21"/>
                    <a:gd name="T8" fmla="*/ 2147483647 w 25"/>
                    <a:gd name="T9" fmla="*/ 2147483647 h 21"/>
                    <a:gd name="T10" fmla="*/ 2147483647 w 25"/>
                    <a:gd name="T11" fmla="*/ 2147483647 h 21"/>
                    <a:gd name="T12" fmla="*/ 2147483647 w 25"/>
                    <a:gd name="T13" fmla="*/ 2147483647 h 21"/>
                    <a:gd name="T14" fmla="*/ 2147483647 w 25"/>
                    <a:gd name="T15" fmla="*/ 2147483647 h 21"/>
                    <a:gd name="T16" fmla="*/ 2147483647 w 25"/>
                    <a:gd name="T17" fmla="*/ 2147483647 h 21"/>
                    <a:gd name="T18" fmla="*/ 2147483647 w 25"/>
                    <a:gd name="T19" fmla="*/ 2147483647 h 21"/>
                    <a:gd name="T20" fmla="*/ 2147483647 w 25"/>
                    <a:gd name="T21" fmla="*/ 2147483647 h 21"/>
                    <a:gd name="T22" fmla="*/ 2147483647 w 25"/>
                    <a:gd name="T23" fmla="*/ 2147483647 h 21"/>
                    <a:gd name="T24" fmla="*/ 2147483647 w 25"/>
                    <a:gd name="T25" fmla="*/ 2147483647 h 21"/>
                    <a:gd name="T26" fmla="*/ 2147483647 w 25"/>
                    <a:gd name="T27" fmla="*/ 2147483647 h 21"/>
                    <a:gd name="T28" fmla="*/ 0 w 25"/>
                    <a:gd name="T29" fmla="*/ 2147483647 h 21"/>
                    <a:gd name="T30" fmla="*/ 0 w 25"/>
                    <a:gd name="T31" fmla="*/ 2147483647 h 21"/>
                    <a:gd name="T32" fmla="*/ 2147483647 w 25"/>
                    <a:gd name="T33" fmla="*/ 2147483647 h 21"/>
                    <a:gd name="T34" fmla="*/ 2147483647 w 25"/>
                    <a:gd name="T35" fmla="*/ 2147483647 h 21"/>
                    <a:gd name="T36" fmla="*/ 2147483647 w 25"/>
                    <a:gd name="T37" fmla="*/ 2147483647 h 21"/>
                    <a:gd name="T38" fmla="*/ 2147483647 w 25"/>
                    <a:gd name="T39" fmla="*/ 2147483647 h 21"/>
                    <a:gd name="T40" fmla="*/ 2147483647 w 25"/>
                    <a:gd name="T41" fmla="*/ 0 h 21"/>
                    <a:gd name="T42" fmla="*/ 2147483647 w 25"/>
                    <a:gd name="T43" fmla="*/ 0 h 21"/>
                    <a:gd name="T44" fmla="*/ 2147483647 w 25"/>
                    <a:gd name="T45" fmla="*/ 2147483647 h 21"/>
                    <a:gd name="T46" fmla="*/ 2147483647 w 25"/>
                    <a:gd name="T47" fmla="*/ 2147483647 h 21"/>
                    <a:gd name="T48" fmla="*/ 2147483647 w 25"/>
                    <a:gd name="T49" fmla="*/ 2147483647 h 21"/>
                    <a:gd name="T50" fmla="*/ 2147483647 w 25"/>
                    <a:gd name="T51" fmla="*/ 2147483647 h 21"/>
                    <a:gd name="T52" fmla="*/ 2147483647 w 25"/>
                    <a:gd name="T53" fmla="*/ 2147483647 h 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21"/>
                    <a:gd name="T83" fmla="*/ 25 w 25"/>
                    <a:gd name="T84" fmla="*/ 21 h 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21">
                      <a:moveTo>
                        <a:pt x="21" y="10"/>
                      </a:moveTo>
                      <a:lnTo>
                        <a:pt x="21" y="10"/>
                      </a:lnTo>
                      <a:lnTo>
                        <a:pt x="23" y="11"/>
                      </a:lnTo>
                      <a:lnTo>
                        <a:pt x="25" y="12"/>
                      </a:lnTo>
                      <a:lnTo>
                        <a:pt x="23" y="15"/>
                      </a:lnTo>
                      <a:lnTo>
                        <a:pt x="21" y="16"/>
                      </a:lnTo>
                      <a:lnTo>
                        <a:pt x="19" y="18"/>
                      </a:lnTo>
                      <a:lnTo>
                        <a:pt x="18" y="21"/>
                      </a:lnTo>
                      <a:lnTo>
                        <a:pt x="11" y="17"/>
                      </a:lnTo>
                      <a:lnTo>
                        <a:pt x="8" y="17"/>
                      </a:lnTo>
                      <a:lnTo>
                        <a:pt x="7" y="17"/>
                      </a:lnTo>
                      <a:lnTo>
                        <a:pt x="0" y="18"/>
                      </a:lnTo>
                      <a:lnTo>
                        <a:pt x="3" y="12"/>
                      </a:lnTo>
                      <a:lnTo>
                        <a:pt x="7" y="9"/>
                      </a:lnTo>
                      <a:lnTo>
                        <a:pt x="14" y="2"/>
                      </a:lnTo>
                      <a:lnTo>
                        <a:pt x="17" y="0"/>
                      </a:lnTo>
                      <a:lnTo>
                        <a:pt x="18" y="0"/>
                      </a:lnTo>
                      <a:lnTo>
                        <a:pt x="18" y="3"/>
                      </a:lnTo>
                      <a:lnTo>
                        <a:pt x="18" y="6"/>
                      </a:lnTo>
                      <a:lnTo>
                        <a:pt x="19" y="9"/>
                      </a:lnTo>
                      <a:lnTo>
                        <a:pt x="21"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6" name="Freeform 1220"/>
                <p:cNvSpPr>
                  <a:spLocks/>
                </p:cNvSpPr>
                <p:nvPr/>
              </p:nvSpPr>
              <p:spPr bwMode="auto">
                <a:xfrm>
                  <a:off x="4391783" y="3292399"/>
                  <a:ext cx="303373" cy="250098"/>
                </a:xfrm>
                <a:custGeom>
                  <a:avLst/>
                  <a:gdLst>
                    <a:gd name="T0" fmla="*/ 2147483647 w 222"/>
                    <a:gd name="T1" fmla="*/ 2147483647 h 169"/>
                    <a:gd name="T2" fmla="*/ 2147483647 w 222"/>
                    <a:gd name="T3" fmla="*/ 2147483647 h 169"/>
                    <a:gd name="T4" fmla="*/ 2147483647 w 222"/>
                    <a:gd name="T5" fmla="*/ 2147483647 h 169"/>
                    <a:gd name="T6" fmla="*/ 2147483647 w 222"/>
                    <a:gd name="T7" fmla="*/ 2147483647 h 169"/>
                    <a:gd name="T8" fmla="*/ 2147483647 w 222"/>
                    <a:gd name="T9" fmla="*/ 2147483647 h 169"/>
                    <a:gd name="T10" fmla="*/ 2147483647 w 222"/>
                    <a:gd name="T11" fmla="*/ 2147483647 h 169"/>
                    <a:gd name="T12" fmla="*/ 2147483647 w 222"/>
                    <a:gd name="T13" fmla="*/ 2147483647 h 169"/>
                    <a:gd name="T14" fmla="*/ 2147483647 w 222"/>
                    <a:gd name="T15" fmla="*/ 0 h 169"/>
                    <a:gd name="T16" fmla="*/ 2147483647 w 222"/>
                    <a:gd name="T17" fmla="*/ 2147483647 h 169"/>
                    <a:gd name="T18" fmla="*/ 2147483647 w 222"/>
                    <a:gd name="T19" fmla="*/ 2147483647 h 169"/>
                    <a:gd name="T20" fmla="*/ 0 w 222"/>
                    <a:gd name="T21" fmla="*/ 2147483647 h 169"/>
                    <a:gd name="T22" fmla="*/ 2147483647 w 222"/>
                    <a:gd name="T23" fmla="*/ 2147483647 h 169"/>
                    <a:gd name="T24" fmla="*/ 2147483647 w 222"/>
                    <a:gd name="T25" fmla="*/ 2147483647 h 169"/>
                    <a:gd name="T26" fmla="*/ 2147483647 w 222"/>
                    <a:gd name="T27" fmla="*/ 2147483647 h 169"/>
                    <a:gd name="T28" fmla="*/ 2147483647 w 222"/>
                    <a:gd name="T29" fmla="*/ 2147483647 h 169"/>
                    <a:gd name="T30" fmla="*/ 2147483647 w 222"/>
                    <a:gd name="T31" fmla="*/ 2147483647 h 169"/>
                    <a:gd name="T32" fmla="*/ 2147483647 w 222"/>
                    <a:gd name="T33" fmla="*/ 2147483647 h 169"/>
                    <a:gd name="T34" fmla="*/ 2147483647 w 222"/>
                    <a:gd name="T35" fmla="*/ 2147483647 h 169"/>
                    <a:gd name="T36" fmla="*/ 2147483647 w 222"/>
                    <a:gd name="T37" fmla="*/ 2147483647 h 169"/>
                    <a:gd name="T38" fmla="*/ 2147483647 w 222"/>
                    <a:gd name="T39" fmla="*/ 2147483647 h 169"/>
                    <a:gd name="T40" fmla="*/ 2147483647 w 222"/>
                    <a:gd name="T41" fmla="*/ 2147483647 h 169"/>
                    <a:gd name="T42" fmla="*/ 2147483647 w 222"/>
                    <a:gd name="T43" fmla="*/ 2147483647 h 169"/>
                    <a:gd name="T44" fmla="*/ 2147483647 w 222"/>
                    <a:gd name="T45" fmla="*/ 2147483647 h 169"/>
                    <a:gd name="T46" fmla="*/ 2147483647 w 222"/>
                    <a:gd name="T47" fmla="*/ 2147483647 h 169"/>
                    <a:gd name="T48" fmla="*/ 2147483647 w 222"/>
                    <a:gd name="T49" fmla="*/ 2147483647 h 169"/>
                    <a:gd name="T50" fmla="*/ 2147483647 w 222"/>
                    <a:gd name="T51" fmla="*/ 2147483647 h 169"/>
                    <a:gd name="T52" fmla="*/ 2147483647 w 222"/>
                    <a:gd name="T53" fmla="*/ 2147483647 h 169"/>
                    <a:gd name="T54" fmla="*/ 2147483647 w 222"/>
                    <a:gd name="T55" fmla="*/ 2147483647 h 169"/>
                    <a:gd name="T56" fmla="*/ 2147483647 w 222"/>
                    <a:gd name="T57" fmla="*/ 2147483647 h 169"/>
                    <a:gd name="T58" fmla="*/ 2147483647 w 222"/>
                    <a:gd name="T59" fmla="*/ 2147483647 h 169"/>
                    <a:gd name="T60" fmla="*/ 2147483647 w 222"/>
                    <a:gd name="T61" fmla="*/ 2147483647 h 169"/>
                    <a:gd name="T62" fmla="*/ 2147483647 w 222"/>
                    <a:gd name="T63" fmla="*/ 2147483647 h 169"/>
                    <a:gd name="T64" fmla="*/ 2147483647 w 222"/>
                    <a:gd name="T65" fmla="*/ 2147483647 h 169"/>
                    <a:gd name="T66" fmla="*/ 2147483647 w 222"/>
                    <a:gd name="T67" fmla="*/ 2147483647 h 169"/>
                    <a:gd name="T68" fmla="*/ 2147483647 w 222"/>
                    <a:gd name="T69" fmla="*/ 2147483647 h 169"/>
                    <a:gd name="T70" fmla="*/ 2147483647 w 222"/>
                    <a:gd name="T71" fmla="*/ 2147483647 h 169"/>
                    <a:gd name="T72" fmla="*/ 2147483647 w 222"/>
                    <a:gd name="T73" fmla="*/ 2147483647 h 169"/>
                    <a:gd name="T74" fmla="*/ 2147483647 w 222"/>
                    <a:gd name="T75" fmla="*/ 2147483647 h 169"/>
                    <a:gd name="T76" fmla="*/ 2147483647 w 222"/>
                    <a:gd name="T77" fmla="*/ 2147483647 h 169"/>
                    <a:gd name="T78" fmla="*/ 2147483647 w 222"/>
                    <a:gd name="T79" fmla="*/ 2147483647 h 169"/>
                    <a:gd name="T80" fmla="*/ 2147483647 w 222"/>
                    <a:gd name="T81" fmla="*/ 2147483647 h 169"/>
                    <a:gd name="T82" fmla="*/ 2147483647 w 222"/>
                    <a:gd name="T83" fmla="*/ 2147483647 h 169"/>
                    <a:gd name="T84" fmla="*/ 2147483647 w 222"/>
                    <a:gd name="T85" fmla="*/ 2147483647 h 169"/>
                    <a:gd name="T86" fmla="*/ 2147483647 w 222"/>
                    <a:gd name="T87" fmla="*/ 2147483647 h 169"/>
                    <a:gd name="T88" fmla="*/ 2147483647 w 222"/>
                    <a:gd name="T89" fmla="*/ 2147483647 h 169"/>
                    <a:gd name="T90" fmla="*/ 2147483647 w 222"/>
                    <a:gd name="T91" fmla="*/ 2147483647 h 169"/>
                    <a:gd name="T92" fmla="*/ 2147483647 w 222"/>
                    <a:gd name="T93" fmla="*/ 2147483647 h 169"/>
                    <a:gd name="T94" fmla="*/ 2147483647 w 222"/>
                    <a:gd name="T95" fmla="*/ 2147483647 h 169"/>
                    <a:gd name="T96" fmla="*/ 2147483647 w 222"/>
                    <a:gd name="T97" fmla="*/ 2147483647 h 1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2"/>
                    <a:gd name="T148" fmla="*/ 0 h 169"/>
                    <a:gd name="T149" fmla="*/ 222 w 222"/>
                    <a:gd name="T150" fmla="*/ 169 h 1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2" h="169">
                      <a:moveTo>
                        <a:pt x="218" y="22"/>
                      </a:moveTo>
                      <a:lnTo>
                        <a:pt x="218" y="22"/>
                      </a:lnTo>
                      <a:lnTo>
                        <a:pt x="206" y="29"/>
                      </a:lnTo>
                      <a:lnTo>
                        <a:pt x="198" y="30"/>
                      </a:lnTo>
                      <a:lnTo>
                        <a:pt x="192" y="31"/>
                      </a:lnTo>
                      <a:lnTo>
                        <a:pt x="175" y="29"/>
                      </a:lnTo>
                      <a:lnTo>
                        <a:pt x="160" y="27"/>
                      </a:lnTo>
                      <a:lnTo>
                        <a:pt x="146" y="21"/>
                      </a:lnTo>
                      <a:lnTo>
                        <a:pt x="131" y="14"/>
                      </a:lnTo>
                      <a:lnTo>
                        <a:pt x="131" y="11"/>
                      </a:lnTo>
                      <a:lnTo>
                        <a:pt x="131" y="8"/>
                      </a:lnTo>
                      <a:lnTo>
                        <a:pt x="127" y="9"/>
                      </a:lnTo>
                      <a:lnTo>
                        <a:pt x="123" y="10"/>
                      </a:lnTo>
                      <a:lnTo>
                        <a:pt x="113" y="11"/>
                      </a:lnTo>
                      <a:lnTo>
                        <a:pt x="102" y="10"/>
                      </a:lnTo>
                      <a:lnTo>
                        <a:pt x="90" y="9"/>
                      </a:lnTo>
                      <a:lnTo>
                        <a:pt x="69" y="5"/>
                      </a:lnTo>
                      <a:lnTo>
                        <a:pt x="61" y="4"/>
                      </a:lnTo>
                      <a:lnTo>
                        <a:pt x="57" y="4"/>
                      </a:lnTo>
                      <a:lnTo>
                        <a:pt x="53" y="6"/>
                      </a:lnTo>
                      <a:lnTo>
                        <a:pt x="48" y="6"/>
                      </a:lnTo>
                      <a:lnTo>
                        <a:pt x="43" y="6"/>
                      </a:lnTo>
                      <a:lnTo>
                        <a:pt x="39" y="6"/>
                      </a:lnTo>
                      <a:lnTo>
                        <a:pt x="30" y="2"/>
                      </a:lnTo>
                      <a:lnTo>
                        <a:pt x="27" y="0"/>
                      </a:lnTo>
                      <a:lnTo>
                        <a:pt x="22" y="0"/>
                      </a:lnTo>
                      <a:lnTo>
                        <a:pt x="20" y="4"/>
                      </a:lnTo>
                      <a:lnTo>
                        <a:pt x="20" y="6"/>
                      </a:lnTo>
                      <a:lnTo>
                        <a:pt x="19" y="8"/>
                      </a:lnTo>
                      <a:lnTo>
                        <a:pt x="15" y="8"/>
                      </a:lnTo>
                      <a:lnTo>
                        <a:pt x="10" y="8"/>
                      </a:lnTo>
                      <a:lnTo>
                        <a:pt x="6" y="10"/>
                      </a:lnTo>
                      <a:lnTo>
                        <a:pt x="3" y="10"/>
                      </a:lnTo>
                      <a:lnTo>
                        <a:pt x="1" y="12"/>
                      </a:lnTo>
                      <a:lnTo>
                        <a:pt x="0" y="14"/>
                      </a:lnTo>
                      <a:lnTo>
                        <a:pt x="0" y="17"/>
                      </a:lnTo>
                      <a:lnTo>
                        <a:pt x="4" y="27"/>
                      </a:lnTo>
                      <a:lnTo>
                        <a:pt x="6" y="31"/>
                      </a:lnTo>
                      <a:lnTo>
                        <a:pt x="6" y="36"/>
                      </a:lnTo>
                      <a:lnTo>
                        <a:pt x="11" y="34"/>
                      </a:lnTo>
                      <a:lnTo>
                        <a:pt x="14" y="34"/>
                      </a:lnTo>
                      <a:lnTo>
                        <a:pt x="17" y="35"/>
                      </a:lnTo>
                      <a:lnTo>
                        <a:pt x="19" y="38"/>
                      </a:lnTo>
                      <a:lnTo>
                        <a:pt x="22" y="40"/>
                      </a:lnTo>
                      <a:lnTo>
                        <a:pt x="25" y="41"/>
                      </a:lnTo>
                      <a:lnTo>
                        <a:pt x="29" y="41"/>
                      </a:lnTo>
                      <a:lnTo>
                        <a:pt x="37" y="41"/>
                      </a:lnTo>
                      <a:lnTo>
                        <a:pt x="41" y="41"/>
                      </a:lnTo>
                      <a:lnTo>
                        <a:pt x="43" y="42"/>
                      </a:lnTo>
                      <a:lnTo>
                        <a:pt x="46" y="43"/>
                      </a:lnTo>
                      <a:lnTo>
                        <a:pt x="47" y="46"/>
                      </a:lnTo>
                      <a:lnTo>
                        <a:pt x="46" y="50"/>
                      </a:lnTo>
                      <a:lnTo>
                        <a:pt x="42" y="64"/>
                      </a:lnTo>
                      <a:lnTo>
                        <a:pt x="39" y="67"/>
                      </a:lnTo>
                      <a:lnTo>
                        <a:pt x="38" y="70"/>
                      </a:lnTo>
                      <a:lnTo>
                        <a:pt x="38" y="75"/>
                      </a:lnTo>
                      <a:lnTo>
                        <a:pt x="39" y="83"/>
                      </a:lnTo>
                      <a:lnTo>
                        <a:pt x="38" y="86"/>
                      </a:lnTo>
                      <a:lnTo>
                        <a:pt x="37" y="88"/>
                      </a:lnTo>
                      <a:lnTo>
                        <a:pt x="30" y="93"/>
                      </a:lnTo>
                      <a:lnTo>
                        <a:pt x="28" y="95"/>
                      </a:lnTo>
                      <a:lnTo>
                        <a:pt x="28" y="98"/>
                      </a:lnTo>
                      <a:lnTo>
                        <a:pt x="28" y="100"/>
                      </a:lnTo>
                      <a:lnTo>
                        <a:pt x="29" y="102"/>
                      </a:lnTo>
                      <a:lnTo>
                        <a:pt x="32" y="102"/>
                      </a:lnTo>
                      <a:lnTo>
                        <a:pt x="33" y="102"/>
                      </a:lnTo>
                      <a:lnTo>
                        <a:pt x="34" y="105"/>
                      </a:lnTo>
                      <a:lnTo>
                        <a:pt x="33" y="107"/>
                      </a:lnTo>
                      <a:lnTo>
                        <a:pt x="33" y="112"/>
                      </a:lnTo>
                      <a:lnTo>
                        <a:pt x="34" y="115"/>
                      </a:lnTo>
                      <a:lnTo>
                        <a:pt x="37" y="119"/>
                      </a:lnTo>
                      <a:lnTo>
                        <a:pt x="38" y="123"/>
                      </a:lnTo>
                      <a:lnTo>
                        <a:pt x="38" y="125"/>
                      </a:lnTo>
                      <a:lnTo>
                        <a:pt x="38" y="126"/>
                      </a:lnTo>
                      <a:lnTo>
                        <a:pt x="36" y="131"/>
                      </a:lnTo>
                      <a:lnTo>
                        <a:pt x="36" y="134"/>
                      </a:lnTo>
                      <a:lnTo>
                        <a:pt x="37" y="137"/>
                      </a:lnTo>
                      <a:lnTo>
                        <a:pt x="38" y="139"/>
                      </a:lnTo>
                      <a:lnTo>
                        <a:pt x="39" y="142"/>
                      </a:lnTo>
                      <a:lnTo>
                        <a:pt x="38" y="144"/>
                      </a:lnTo>
                      <a:lnTo>
                        <a:pt x="39" y="145"/>
                      </a:lnTo>
                      <a:lnTo>
                        <a:pt x="42" y="146"/>
                      </a:lnTo>
                      <a:lnTo>
                        <a:pt x="44" y="151"/>
                      </a:lnTo>
                      <a:lnTo>
                        <a:pt x="50" y="155"/>
                      </a:lnTo>
                      <a:lnTo>
                        <a:pt x="51" y="158"/>
                      </a:lnTo>
                      <a:lnTo>
                        <a:pt x="52" y="163"/>
                      </a:lnTo>
                      <a:lnTo>
                        <a:pt x="52" y="164"/>
                      </a:lnTo>
                      <a:lnTo>
                        <a:pt x="55" y="165"/>
                      </a:lnTo>
                      <a:lnTo>
                        <a:pt x="57" y="166"/>
                      </a:lnTo>
                      <a:lnTo>
                        <a:pt x="60" y="169"/>
                      </a:lnTo>
                      <a:lnTo>
                        <a:pt x="63" y="169"/>
                      </a:lnTo>
                      <a:lnTo>
                        <a:pt x="66" y="168"/>
                      </a:lnTo>
                      <a:lnTo>
                        <a:pt x="70" y="165"/>
                      </a:lnTo>
                      <a:lnTo>
                        <a:pt x="72" y="162"/>
                      </a:lnTo>
                      <a:lnTo>
                        <a:pt x="77" y="155"/>
                      </a:lnTo>
                      <a:lnTo>
                        <a:pt x="80" y="153"/>
                      </a:lnTo>
                      <a:lnTo>
                        <a:pt x="81" y="153"/>
                      </a:lnTo>
                      <a:lnTo>
                        <a:pt x="83" y="153"/>
                      </a:lnTo>
                      <a:lnTo>
                        <a:pt x="94" y="152"/>
                      </a:lnTo>
                      <a:lnTo>
                        <a:pt x="95" y="152"/>
                      </a:lnTo>
                      <a:lnTo>
                        <a:pt x="98" y="153"/>
                      </a:lnTo>
                      <a:lnTo>
                        <a:pt x="99" y="156"/>
                      </a:lnTo>
                      <a:lnTo>
                        <a:pt x="102" y="156"/>
                      </a:lnTo>
                      <a:lnTo>
                        <a:pt x="107" y="155"/>
                      </a:lnTo>
                      <a:lnTo>
                        <a:pt x="110" y="155"/>
                      </a:lnTo>
                      <a:lnTo>
                        <a:pt x="113" y="156"/>
                      </a:lnTo>
                      <a:lnTo>
                        <a:pt x="117" y="157"/>
                      </a:lnTo>
                      <a:lnTo>
                        <a:pt x="118" y="157"/>
                      </a:lnTo>
                      <a:lnTo>
                        <a:pt x="121" y="156"/>
                      </a:lnTo>
                      <a:lnTo>
                        <a:pt x="124" y="152"/>
                      </a:lnTo>
                      <a:lnTo>
                        <a:pt x="128" y="151"/>
                      </a:lnTo>
                      <a:lnTo>
                        <a:pt x="131" y="149"/>
                      </a:lnTo>
                      <a:lnTo>
                        <a:pt x="132" y="145"/>
                      </a:lnTo>
                      <a:lnTo>
                        <a:pt x="135" y="143"/>
                      </a:lnTo>
                      <a:lnTo>
                        <a:pt x="136" y="140"/>
                      </a:lnTo>
                      <a:lnTo>
                        <a:pt x="138" y="139"/>
                      </a:lnTo>
                      <a:lnTo>
                        <a:pt x="141" y="139"/>
                      </a:lnTo>
                      <a:lnTo>
                        <a:pt x="145" y="138"/>
                      </a:lnTo>
                      <a:lnTo>
                        <a:pt x="150" y="134"/>
                      </a:lnTo>
                      <a:lnTo>
                        <a:pt x="154" y="129"/>
                      </a:lnTo>
                      <a:lnTo>
                        <a:pt x="156" y="123"/>
                      </a:lnTo>
                      <a:lnTo>
                        <a:pt x="157" y="117"/>
                      </a:lnTo>
                      <a:lnTo>
                        <a:pt x="157" y="104"/>
                      </a:lnTo>
                      <a:lnTo>
                        <a:pt x="156" y="92"/>
                      </a:lnTo>
                      <a:lnTo>
                        <a:pt x="156" y="89"/>
                      </a:lnTo>
                      <a:lnTo>
                        <a:pt x="157" y="87"/>
                      </a:lnTo>
                      <a:lnTo>
                        <a:pt x="160" y="82"/>
                      </a:lnTo>
                      <a:lnTo>
                        <a:pt x="166" y="79"/>
                      </a:lnTo>
                      <a:lnTo>
                        <a:pt x="173" y="76"/>
                      </a:lnTo>
                      <a:lnTo>
                        <a:pt x="174" y="75"/>
                      </a:lnTo>
                      <a:lnTo>
                        <a:pt x="174" y="74"/>
                      </a:lnTo>
                      <a:lnTo>
                        <a:pt x="174" y="72"/>
                      </a:lnTo>
                      <a:lnTo>
                        <a:pt x="173" y="69"/>
                      </a:lnTo>
                      <a:lnTo>
                        <a:pt x="171" y="67"/>
                      </a:lnTo>
                      <a:lnTo>
                        <a:pt x="173" y="64"/>
                      </a:lnTo>
                      <a:lnTo>
                        <a:pt x="174" y="63"/>
                      </a:lnTo>
                      <a:lnTo>
                        <a:pt x="179" y="61"/>
                      </a:lnTo>
                      <a:lnTo>
                        <a:pt x="187" y="59"/>
                      </a:lnTo>
                      <a:lnTo>
                        <a:pt x="193" y="56"/>
                      </a:lnTo>
                      <a:lnTo>
                        <a:pt x="201" y="53"/>
                      </a:lnTo>
                      <a:lnTo>
                        <a:pt x="207" y="49"/>
                      </a:lnTo>
                      <a:lnTo>
                        <a:pt x="215" y="46"/>
                      </a:lnTo>
                      <a:lnTo>
                        <a:pt x="217" y="43"/>
                      </a:lnTo>
                      <a:lnTo>
                        <a:pt x="220" y="40"/>
                      </a:lnTo>
                      <a:lnTo>
                        <a:pt x="221" y="36"/>
                      </a:lnTo>
                      <a:lnTo>
                        <a:pt x="222" y="32"/>
                      </a:lnTo>
                      <a:lnTo>
                        <a:pt x="221" y="29"/>
                      </a:lnTo>
                      <a:lnTo>
                        <a:pt x="220" y="25"/>
                      </a:lnTo>
                      <a:lnTo>
                        <a:pt x="218" y="2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7" name="Freeform 1224"/>
                <p:cNvSpPr>
                  <a:spLocks/>
                </p:cNvSpPr>
                <p:nvPr/>
              </p:nvSpPr>
              <p:spPr bwMode="auto">
                <a:xfrm>
                  <a:off x="4674435" y="3026023"/>
                  <a:ext cx="78434" cy="62155"/>
                </a:xfrm>
                <a:custGeom>
                  <a:avLst/>
                  <a:gdLst>
                    <a:gd name="T0" fmla="*/ 0 w 58"/>
                    <a:gd name="T1" fmla="*/ 2147483647 h 42"/>
                    <a:gd name="T2" fmla="*/ 0 w 58"/>
                    <a:gd name="T3" fmla="*/ 2147483647 h 42"/>
                    <a:gd name="T4" fmla="*/ 2147483647 w 58"/>
                    <a:gd name="T5" fmla="*/ 2147483647 h 42"/>
                    <a:gd name="T6" fmla="*/ 2147483647 w 58"/>
                    <a:gd name="T7" fmla="*/ 2147483647 h 42"/>
                    <a:gd name="T8" fmla="*/ 2147483647 w 58"/>
                    <a:gd name="T9" fmla="*/ 2147483647 h 42"/>
                    <a:gd name="T10" fmla="*/ 2147483647 w 58"/>
                    <a:gd name="T11" fmla="*/ 2147483647 h 42"/>
                    <a:gd name="T12" fmla="*/ 2147483647 w 58"/>
                    <a:gd name="T13" fmla="*/ 2147483647 h 42"/>
                    <a:gd name="T14" fmla="*/ 2147483647 w 58"/>
                    <a:gd name="T15" fmla="*/ 2147483647 h 42"/>
                    <a:gd name="T16" fmla="*/ 2147483647 w 58"/>
                    <a:gd name="T17" fmla="*/ 2147483647 h 42"/>
                    <a:gd name="T18" fmla="*/ 2147483647 w 58"/>
                    <a:gd name="T19" fmla="*/ 2147483647 h 42"/>
                    <a:gd name="T20" fmla="*/ 2147483647 w 58"/>
                    <a:gd name="T21" fmla="*/ 2147483647 h 42"/>
                    <a:gd name="T22" fmla="*/ 2147483647 w 58"/>
                    <a:gd name="T23" fmla="*/ 2147483647 h 42"/>
                    <a:gd name="T24" fmla="*/ 2147483647 w 58"/>
                    <a:gd name="T25" fmla="*/ 2147483647 h 42"/>
                    <a:gd name="T26" fmla="*/ 2147483647 w 58"/>
                    <a:gd name="T27" fmla="*/ 2147483647 h 42"/>
                    <a:gd name="T28" fmla="*/ 2147483647 w 58"/>
                    <a:gd name="T29" fmla="*/ 2147483647 h 42"/>
                    <a:gd name="T30" fmla="*/ 2147483647 w 58"/>
                    <a:gd name="T31" fmla="*/ 2147483647 h 42"/>
                    <a:gd name="T32" fmla="*/ 2147483647 w 58"/>
                    <a:gd name="T33" fmla="*/ 2147483647 h 42"/>
                    <a:gd name="T34" fmla="*/ 2147483647 w 58"/>
                    <a:gd name="T35" fmla="*/ 2147483647 h 42"/>
                    <a:gd name="T36" fmla="*/ 2147483647 w 58"/>
                    <a:gd name="T37" fmla="*/ 2147483647 h 42"/>
                    <a:gd name="T38" fmla="*/ 2147483647 w 58"/>
                    <a:gd name="T39" fmla="*/ 2147483647 h 42"/>
                    <a:gd name="T40" fmla="*/ 2147483647 w 58"/>
                    <a:gd name="T41" fmla="*/ 2147483647 h 42"/>
                    <a:gd name="T42" fmla="*/ 2147483647 w 58"/>
                    <a:gd name="T43" fmla="*/ 2147483647 h 42"/>
                    <a:gd name="T44" fmla="*/ 2147483647 w 58"/>
                    <a:gd name="T45" fmla="*/ 2147483647 h 42"/>
                    <a:gd name="T46" fmla="*/ 2147483647 w 58"/>
                    <a:gd name="T47" fmla="*/ 2147483647 h 42"/>
                    <a:gd name="T48" fmla="*/ 2147483647 w 58"/>
                    <a:gd name="T49" fmla="*/ 2147483647 h 42"/>
                    <a:gd name="T50" fmla="*/ 2147483647 w 58"/>
                    <a:gd name="T51" fmla="*/ 2147483647 h 42"/>
                    <a:gd name="T52" fmla="*/ 2147483647 w 58"/>
                    <a:gd name="T53" fmla="*/ 0 h 42"/>
                    <a:gd name="T54" fmla="*/ 2147483647 w 58"/>
                    <a:gd name="T55" fmla="*/ 0 h 42"/>
                    <a:gd name="T56" fmla="*/ 2147483647 w 58"/>
                    <a:gd name="T57" fmla="*/ 0 h 42"/>
                    <a:gd name="T58" fmla="*/ 2147483647 w 58"/>
                    <a:gd name="T59" fmla="*/ 0 h 42"/>
                    <a:gd name="T60" fmla="*/ 2147483647 w 58"/>
                    <a:gd name="T61" fmla="*/ 2147483647 h 42"/>
                    <a:gd name="T62" fmla="*/ 2147483647 w 58"/>
                    <a:gd name="T63" fmla="*/ 2147483647 h 42"/>
                    <a:gd name="T64" fmla="*/ 2147483647 w 58"/>
                    <a:gd name="T65" fmla="*/ 2147483647 h 42"/>
                    <a:gd name="T66" fmla="*/ 2147483647 w 58"/>
                    <a:gd name="T67" fmla="*/ 0 h 42"/>
                    <a:gd name="T68" fmla="*/ 2147483647 w 58"/>
                    <a:gd name="T69" fmla="*/ 0 h 42"/>
                    <a:gd name="T70" fmla="*/ 2147483647 w 58"/>
                    <a:gd name="T71" fmla="*/ 0 h 42"/>
                    <a:gd name="T72" fmla="*/ 2147483647 w 58"/>
                    <a:gd name="T73" fmla="*/ 0 h 42"/>
                    <a:gd name="T74" fmla="*/ 0 w 58"/>
                    <a:gd name="T75" fmla="*/ 2147483647 h 42"/>
                    <a:gd name="T76" fmla="*/ 0 w 58"/>
                    <a:gd name="T77" fmla="*/ 2147483647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
                    <a:gd name="T118" fmla="*/ 0 h 42"/>
                    <a:gd name="T119" fmla="*/ 58 w 58"/>
                    <a:gd name="T120" fmla="*/ 42 h 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 h="42">
                      <a:moveTo>
                        <a:pt x="0" y="5"/>
                      </a:moveTo>
                      <a:lnTo>
                        <a:pt x="0" y="5"/>
                      </a:lnTo>
                      <a:lnTo>
                        <a:pt x="1" y="11"/>
                      </a:lnTo>
                      <a:lnTo>
                        <a:pt x="5" y="16"/>
                      </a:lnTo>
                      <a:lnTo>
                        <a:pt x="10" y="20"/>
                      </a:lnTo>
                      <a:lnTo>
                        <a:pt x="16" y="23"/>
                      </a:lnTo>
                      <a:lnTo>
                        <a:pt x="19" y="24"/>
                      </a:lnTo>
                      <a:lnTo>
                        <a:pt x="22" y="28"/>
                      </a:lnTo>
                      <a:lnTo>
                        <a:pt x="24" y="30"/>
                      </a:lnTo>
                      <a:lnTo>
                        <a:pt x="27" y="32"/>
                      </a:lnTo>
                      <a:lnTo>
                        <a:pt x="39" y="36"/>
                      </a:lnTo>
                      <a:lnTo>
                        <a:pt x="46" y="38"/>
                      </a:lnTo>
                      <a:lnTo>
                        <a:pt x="51" y="42"/>
                      </a:lnTo>
                      <a:lnTo>
                        <a:pt x="55" y="36"/>
                      </a:lnTo>
                      <a:lnTo>
                        <a:pt x="58" y="31"/>
                      </a:lnTo>
                      <a:lnTo>
                        <a:pt x="58" y="23"/>
                      </a:lnTo>
                      <a:lnTo>
                        <a:pt x="53" y="19"/>
                      </a:lnTo>
                      <a:lnTo>
                        <a:pt x="51" y="14"/>
                      </a:lnTo>
                      <a:lnTo>
                        <a:pt x="48" y="9"/>
                      </a:lnTo>
                      <a:lnTo>
                        <a:pt x="47" y="3"/>
                      </a:lnTo>
                      <a:lnTo>
                        <a:pt x="46" y="0"/>
                      </a:lnTo>
                      <a:lnTo>
                        <a:pt x="44" y="0"/>
                      </a:lnTo>
                      <a:lnTo>
                        <a:pt x="36" y="0"/>
                      </a:lnTo>
                      <a:lnTo>
                        <a:pt x="27" y="3"/>
                      </a:lnTo>
                      <a:lnTo>
                        <a:pt x="18" y="3"/>
                      </a:lnTo>
                      <a:lnTo>
                        <a:pt x="14" y="1"/>
                      </a:lnTo>
                      <a:lnTo>
                        <a:pt x="9" y="0"/>
                      </a:lnTo>
                      <a:lnTo>
                        <a:pt x="0"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8" name="Freeform 1226"/>
                <p:cNvSpPr>
                  <a:spLocks/>
                </p:cNvSpPr>
                <p:nvPr/>
              </p:nvSpPr>
              <p:spPr bwMode="auto">
                <a:xfrm>
                  <a:off x="4473176" y="2752244"/>
                  <a:ext cx="176105" cy="327052"/>
                </a:xfrm>
                <a:custGeom>
                  <a:avLst/>
                  <a:gdLst>
                    <a:gd name="T0" fmla="*/ 2147483647 w 129"/>
                    <a:gd name="T1" fmla="*/ 2147483647 h 221"/>
                    <a:gd name="T2" fmla="*/ 2147483647 w 129"/>
                    <a:gd name="T3" fmla="*/ 2147483647 h 221"/>
                    <a:gd name="T4" fmla="*/ 2147483647 w 129"/>
                    <a:gd name="T5" fmla="*/ 2147483647 h 221"/>
                    <a:gd name="T6" fmla="*/ 2147483647 w 129"/>
                    <a:gd name="T7" fmla="*/ 2147483647 h 221"/>
                    <a:gd name="T8" fmla="*/ 2147483647 w 129"/>
                    <a:gd name="T9" fmla="*/ 2147483647 h 221"/>
                    <a:gd name="T10" fmla="*/ 2147483647 w 129"/>
                    <a:gd name="T11" fmla="*/ 2147483647 h 221"/>
                    <a:gd name="T12" fmla="*/ 2147483647 w 129"/>
                    <a:gd name="T13" fmla="*/ 2147483647 h 221"/>
                    <a:gd name="T14" fmla="*/ 2147483647 w 129"/>
                    <a:gd name="T15" fmla="*/ 2147483647 h 221"/>
                    <a:gd name="T16" fmla="*/ 2147483647 w 129"/>
                    <a:gd name="T17" fmla="*/ 2147483647 h 221"/>
                    <a:gd name="T18" fmla="*/ 2147483647 w 129"/>
                    <a:gd name="T19" fmla="*/ 2147483647 h 221"/>
                    <a:gd name="T20" fmla="*/ 2147483647 w 129"/>
                    <a:gd name="T21" fmla="*/ 2147483647 h 221"/>
                    <a:gd name="T22" fmla="*/ 2147483647 w 129"/>
                    <a:gd name="T23" fmla="*/ 2147483647 h 221"/>
                    <a:gd name="T24" fmla="*/ 2147483647 w 129"/>
                    <a:gd name="T25" fmla="*/ 2147483647 h 221"/>
                    <a:gd name="T26" fmla="*/ 2147483647 w 129"/>
                    <a:gd name="T27" fmla="*/ 2147483647 h 221"/>
                    <a:gd name="T28" fmla="*/ 2147483647 w 129"/>
                    <a:gd name="T29" fmla="*/ 2147483647 h 221"/>
                    <a:gd name="T30" fmla="*/ 2147483647 w 129"/>
                    <a:gd name="T31" fmla="*/ 2147483647 h 221"/>
                    <a:gd name="T32" fmla="*/ 2147483647 w 129"/>
                    <a:gd name="T33" fmla="*/ 2147483647 h 221"/>
                    <a:gd name="T34" fmla="*/ 2147483647 w 129"/>
                    <a:gd name="T35" fmla="*/ 2147483647 h 221"/>
                    <a:gd name="T36" fmla="*/ 2147483647 w 129"/>
                    <a:gd name="T37" fmla="*/ 2147483647 h 221"/>
                    <a:gd name="T38" fmla="*/ 2147483647 w 129"/>
                    <a:gd name="T39" fmla="*/ 2147483647 h 221"/>
                    <a:gd name="T40" fmla="*/ 2147483647 w 129"/>
                    <a:gd name="T41" fmla="*/ 2147483647 h 221"/>
                    <a:gd name="T42" fmla="*/ 2147483647 w 129"/>
                    <a:gd name="T43" fmla="*/ 2147483647 h 221"/>
                    <a:gd name="T44" fmla="*/ 2147483647 w 129"/>
                    <a:gd name="T45" fmla="*/ 2147483647 h 221"/>
                    <a:gd name="T46" fmla="*/ 2147483647 w 129"/>
                    <a:gd name="T47" fmla="*/ 2147483647 h 221"/>
                    <a:gd name="T48" fmla="*/ 2147483647 w 129"/>
                    <a:gd name="T49" fmla="*/ 2147483647 h 221"/>
                    <a:gd name="T50" fmla="*/ 2147483647 w 129"/>
                    <a:gd name="T51" fmla="*/ 2147483647 h 221"/>
                    <a:gd name="T52" fmla="*/ 2147483647 w 129"/>
                    <a:gd name="T53" fmla="*/ 2147483647 h 221"/>
                    <a:gd name="T54" fmla="*/ 2147483647 w 129"/>
                    <a:gd name="T55" fmla="*/ 2147483647 h 221"/>
                    <a:gd name="T56" fmla="*/ 2147483647 w 129"/>
                    <a:gd name="T57" fmla="*/ 2147483647 h 221"/>
                    <a:gd name="T58" fmla="*/ 2147483647 w 129"/>
                    <a:gd name="T59" fmla="*/ 2147483647 h 221"/>
                    <a:gd name="T60" fmla="*/ 2147483647 w 129"/>
                    <a:gd name="T61" fmla="*/ 2147483647 h 221"/>
                    <a:gd name="T62" fmla="*/ 2147483647 w 129"/>
                    <a:gd name="T63" fmla="*/ 2147483647 h 221"/>
                    <a:gd name="T64" fmla="*/ 2147483647 w 129"/>
                    <a:gd name="T65" fmla="*/ 2147483647 h 221"/>
                    <a:gd name="T66" fmla="*/ 2147483647 w 129"/>
                    <a:gd name="T67" fmla="*/ 2147483647 h 221"/>
                    <a:gd name="T68" fmla="*/ 2147483647 w 129"/>
                    <a:gd name="T69" fmla="*/ 2147483647 h 221"/>
                    <a:gd name="T70" fmla="*/ 2147483647 w 129"/>
                    <a:gd name="T71" fmla="*/ 2147483647 h 221"/>
                    <a:gd name="T72" fmla="*/ 2147483647 w 129"/>
                    <a:gd name="T73" fmla="*/ 2147483647 h 221"/>
                    <a:gd name="T74" fmla="*/ 2147483647 w 129"/>
                    <a:gd name="T75" fmla="*/ 2147483647 h 221"/>
                    <a:gd name="T76" fmla="*/ 2147483647 w 129"/>
                    <a:gd name="T77" fmla="*/ 2147483647 h 221"/>
                    <a:gd name="T78" fmla="*/ 2147483647 w 129"/>
                    <a:gd name="T79" fmla="*/ 2147483647 h 221"/>
                    <a:gd name="T80" fmla="*/ 2147483647 w 129"/>
                    <a:gd name="T81" fmla="*/ 2147483647 h 221"/>
                    <a:gd name="T82" fmla="*/ 2147483647 w 129"/>
                    <a:gd name="T83" fmla="*/ 2147483647 h 221"/>
                    <a:gd name="T84" fmla="*/ 2147483647 w 129"/>
                    <a:gd name="T85" fmla="*/ 2147483647 h 221"/>
                    <a:gd name="T86" fmla="*/ 2147483647 w 129"/>
                    <a:gd name="T87" fmla="*/ 2147483647 h 221"/>
                    <a:gd name="T88" fmla="*/ 2147483647 w 129"/>
                    <a:gd name="T89" fmla="*/ 2147483647 h 221"/>
                    <a:gd name="T90" fmla="*/ 2147483647 w 129"/>
                    <a:gd name="T91" fmla="*/ 2147483647 h 221"/>
                    <a:gd name="T92" fmla="*/ 2147483647 w 129"/>
                    <a:gd name="T93" fmla="*/ 2147483647 h 221"/>
                    <a:gd name="T94" fmla="*/ 2147483647 w 129"/>
                    <a:gd name="T95" fmla="*/ 2147483647 h 221"/>
                    <a:gd name="T96" fmla="*/ 2147483647 w 129"/>
                    <a:gd name="T97" fmla="*/ 2147483647 h 221"/>
                    <a:gd name="T98" fmla="*/ 2147483647 w 129"/>
                    <a:gd name="T99" fmla="*/ 2147483647 h 221"/>
                    <a:gd name="T100" fmla="*/ 2147483647 w 129"/>
                    <a:gd name="T101" fmla="*/ 2147483647 h 221"/>
                    <a:gd name="T102" fmla="*/ 2147483647 w 129"/>
                    <a:gd name="T103" fmla="*/ 2147483647 h 221"/>
                    <a:gd name="T104" fmla="*/ 2147483647 w 129"/>
                    <a:gd name="T105" fmla="*/ 2147483647 h 221"/>
                    <a:gd name="T106" fmla="*/ 2147483647 w 129"/>
                    <a:gd name="T107" fmla="*/ 2147483647 h 221"/>
                    <a:gd name="T108" fmla="*/ 2147483647 w 129"/>
                    <a:gd name="T109" fmla="*/ 2147483647 h 221"/>
                    <a:gd name="T110" fmla="*/ 2147483647 w 129"/>
                    <a:gd name="T111" fmla="*/ 2147483647 h 221"/>
                    <a:gd name="T112" fmla="*/ 2147483647 w 129"/>
                    <a:gd name="T113" fmla="*/ 2147483647 h 221"/>
                    <a:gd name="T114" fmla="*/ 2147483647 w 129"/>
                    <a:gd name="T115" fmla="*/ 2147483647 h 221"/>
                    <a:gd name="T116" fmla="*/ 2147483647 w 129"/>
                    <a:gd name="T117" fmla="*/ 2147483647 h 221"/>
                    <a:gd name="T118" fmla="*/ 2147483647 w 129"/>
                    <a:gd name="T119" fmla="*/ 2147483647 h 2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9"/>
                    <a:gd name="T181" fmla="*/ 0 h 221"/>
                    <a:gd name="T182" fmla="*/ 129 w 129"/>
                    <a:gd name="T183" fmla="*/ 221 h 2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9" h="221">
                      <a:moveTo>
                        <a:pt x="122" y="195"/>
                      </a:moveTo>
                      <a:lnTo>
                        <a:pt x="125" y="191"/>
                      </a:lnTo>
                      <a:lnTo>
                        <a:pt x="127" y="189"/>
                      </a:lnTo>
                      <a:lnTo>
                        <a:pt x="127" y="188"/>
                      </a:lnTo>
                      <a:lnTo>
                        <a:pt x="124" y="185"/>
                      </a:lnTo>
                      <a:lnTo>
                        <a:pt x="122" y="185"/>
                      </a:lnTo>
                      <a:lnTo>
                        <a:pt x="115" y="186"/>
                      </a:lnTo>
                      <a:lnTo>
                        <a:pt x="110" y="186"/>
                      </a:lnTo>
                      <a:lnTo>
                        <a:pt x="108" y="185"/>
                      </a:lnTo>
                      <a:lnTo>
                        <a:pt x="106" y="183"/>
                      </a:lnTo>
                      <a:lnTo>
                        <a:pt x="117" y="179"/>
                      </a:lnTo>
                      <a:lnTo>
                        <a:pt x="120" y="177"/>
                      </a:lnTo>
                      <a:lnTo>
                        <a:pt x="124" y="175"/>
                      </a:lnTo>
                      <a:lnTo>
                        <a:pt x="127" y="171"/>
                      </a:lnTo>
                      <a:lnTo>
                        <a:pt x="129" y="167"/>
                      </a:lnTo>
                      <a:lnTo>
                        <a:pt x="129" y="163"/>
                      </a:lnTo>
                      <a:lnTo>
                        <a:pt x="129" y="158"/>
                      </a:lnTo>
                      <a:lnTo>
                        <a:pt x="128" y="154"/>
                      </a:lnTo>
                      <a:lnTo>
                        <a:pt x="125" y="152"/>
                      </a:lnTo>
                      <a:lnTo>
                        <a:pt x="123" y="151"/>
                      </a:lnTo>
                      <a:lnTo>
                        <a:pt x="120" y="150"/>
                      </a:lnTo>
                      <a:lnTo>
                        <a:pt x="114" y="151"/>
                      </a:lnTo>
                      <a:lnTo>
                        <a:pt x="108" y="153"/>
                      </a:lnTo>
                      <a:lnTo>
                        <a:pt x="108" y="154"/>
                      </a:lnTo>
                      <a:lnTo>
                        <a:pt x="106" y="153"/>
                      </a:lnTo>
                      <a:lnTo>
                        <a:pt x="106" y="152"/>
                      </a:lnTo>
                      <a:lnTo>
                        <a:pt x="108" y="149"/>
                      </a:lnTo>
                      <a:lnTo>
                        <a:pt x="108" y="144"/>
                      </a:lnTo>
                      <a:lnTo>
                        <a:pt x="105" y="140"/>
                      </a:lnTo>
                      <a:lnTo>
                        <a:pt x="100" y="138"/>
                      </a:lnTo>
                      <a:lnTo>
                        <a:pt x="97" y="135"/>
                      </a:lnTo>
                      <a:lnTo>
                        <a:pt x="97" y="134"/>
                      </a:lnTo>
                      <a:lnTo>
                        <a:pt x="97" y="132"/>
                      </a:lnTo>
                      <a:lnTo>
                        <a:pt x="99" y="131"/>
                      </a:lnTo>
                      <a:lnTo>
                        <a:pt x="100" y="130"/>
                      </a:lnTo>
                      <a:lnTo>
                        <a:pt x="103" y="130"/>
                      </a:lnTo>
                      <a:lnTo>
                        <a:pt x="104" y="130"/>
                      </a:lnTo>
                      <a:lnTo>
                        <a:pt x="104" y="126"/>
                      </a:lnTo>
                      <a:lnTo>
                        <a:pt x="103" y="124"/>
                      </a:lnTo>
                      <a:lnTo>
                        <a:pt x="99" y="120"/>
                      </a:lnTo>
                      <a:lnTo>
                        <a:pt x="94" y="117"/>
                      </a:lnTo>
                      <a:lnTo>
                        <a:pt x="89" y="112"/>
                      </a:lnTo>
                      <a:lnTo>
                        <a:pt x="87" y="108"/>
                      </a:lnTo>
                      <a:lnTo>
                        <a:pt x="86" y="105"/>
                      </a:lnTo>
                      <a:lnTo>
                        <a:pt x="85" y="101"/>
                      </a:lnTo>
                      <a:lnTo>
                        <a:pt x="82" y="98"/>
                      </a:lnTo>
                      <a:lnTo>
                        <a:pt x="77" y="92"/>
                      </a:lnTo>
                      <a:lnTo>
                        <a:pt x="73" y="86"/>
                      </a:lnTo>
                      <a:lnTo>
                        <a:pt x="70" y="79"/>
                      </a:lnTo>
                      <a:lnTo>
                        <a:pt x="67" y="70"/>
                      </a:lnTo>
                      <a:lnTo>
                        <a:pt x="67" y="69"/>
                      </a:lnTo>
                      <a:lnTo>
                        <a:pt x="64" y="69"/>
                      </a:lnTo>
                      <a:lnTo>
                        <a:pt x="61" y="68"/>
                      </a:lnTo>
                      <a:lnTo>
                        <a:pt x="56" y="67"/>
                      </a:lnTo>
                      <a:lnTo>
                        <a:pt x="52" y="64"/>
                      </a:lnTo>
                      <a:lnTo>
                        <a:pt x="49" y="62"/>
                      </a:lnTo>
                      <a:lnTo>
                        <a:pt x="48" y="60"/>
                      </a:lnTo>
                      <a:lnTo>
                        <a:pt x="49" y="58"/>
                      </a:lnTo>
                      <a:lnTo>
                        <a:pt x="54" y="55"/>
                      </a:lnTo>
                      <a:lnTo>
                        <a:pt x="58" y="50"/>
                      </a:lnTo>
                      <a:lnTo>
                        <a:pt x="59" y="47"/>
                      </a:lnTo>
                      <a:lnTo>
                        <a:pt x="59" y="42"/>
                      </a:lnTo>
                      <a:lnTo>
                        <a:pt x="62" y="38"/>
                      </a:lnTo>
                      <a:lnTo>
                        <a:pt x="66" y="35"/>
                      </a:lnTo>
                      <a:lnTo>
                        <a:pt x="67" y="32"/>
                      </a:lnTo>
                      <a:lnTo>
                        <a:pt x="67" y="31"/>
                      </a:lnTo>
                      <a:lnTo>
                        <a:pt x="66" y="30"/>
                      </a:lnTo>
                      <a:lnTo>
                        <a:pt x="64" y="29"/>
                      </a:lnTo>
                      <a:lnTo>
                        <a:pt x="53" y="28"/>
                      </a:lnTo>
                      <a:lnTo>
                        <a:pt x="43" y="26"/>
                      </a:lnTo>
                      <a:lnTo>
                        <a:pt x="40" y="28"/>
                      </a:lnTo>
                      <a:lnTo>
                        <a:pt x="38" y="29"/>
                      </a:lnTo>
                      <a:lnTo>
                        <a:pt x="37" y="30"/>
                      </a:lnTo>
                      <a:lnTo>
                        <a:pt x="34" y="31"/>
                      </a:lnTo>
                      <a:lnTo>
                        <a:pt x="33" y="28"/>
                      </a:lnTo>
                      <a:lnTo>
                        <a:pt x="31" y="24"/>
                      </a:lnTo>
                      <a:lnTo>
                        <a:pt x="31" y="20"/>
                      </a:lnTo>
                      <a:lnTo>
                        <a:pt x="33" y="19"/>
                      </a:lnTo>
                      <a:lnTo>
                        <a:pt x="34" y="18"/>
                      </a:lnTo>
                      <a:lnTo>
                        <a:pt x="38" y="16"/>
                      </a:lnTo>
                      <a:lnTo>
                        <a:pt x="42" y="11"/>
                      </a:lnTo>
                      <a:lnTo>
                        <a:pt x="44" y="6"/>
                      </a:lnTo>
                      <a:lnTo>
                        <a:pt x="44" y="4"/>
                      </a:lnTo>
                      <a:lnTo>
                        <a:pt x="44" y="2"/>
                      </a:lnTo>
                      <a:lnTo>
                        <a:pt x="42" y="0"/>
                      </a:lnTo>
                      <a:lnTo>
                        <a:pt x="40" y="0"/>
                      </a:lnTo>
                      <a:lnTo>
                        <a:pt x="38" y="3"/>
                      </a:lnTo>
                      <a:lnTo>
                        <a:pt x="35" y="4"/>
                      </a:lnTo>
                      <a:lnTo>
                        <a:pt x="30" y="4"/>
                      </a:lnTo>
                      <a:lnTo>
                        <a:pt x="29" y="5"/>
                      </a:lnTo>
                      <a:lnTo>
                        <a:pt x="28" y="5"/>
                      </a:lnTo>
                      <a:lnTo>
                        <a:pt x="24" y="4"/>
                      </a:lnTo>
                      <a:lnTo>
                        <a:pt x="21" y="2"/>
                      </a:lnTo>
                      <a:lnTo>
                        <a:pt x="19" y="0"/>
                      </a:lnTo>
                      <a:lnTo>
                        <a:pt x="17" y="0"/>
                      </a:lnTo>
                      <a:lnTo>
                        <a:pt x="15" y="2"/>
                      </a:lnTo>
                      <a:lnTo>
                        <a:pt x="14" y="5"/>
                      </a:lnTo>
                      <a:lnTo>
                        <a:pt x="14" y="10"/>
                      </a:lnTo>
                      <a:lnTo>
                        <a:pt x="14" y="19"/>
                      </a:lnTo>
                      <a:lnTo>
                        <a:pt x="14" y="20"/>
                      </a:lnTo>
                      <a:lnTo>
                        <a:pt x="11" y="22"/>
                      </a:lnTo>
                      <a:lnTo>
                        <a:pt x="7" y="23"/>
                      </a:lnTo>
                      <a:lnTo>
                        <a:pt x="6" y="24"/>
                      </a:lnTo>
                      <a:lnTo>
                        <a:pt x="5" y="25"/>
                      </a:lnTo>
                      <a:lnTo>
                        <a:pt x="5" y="31"/>
                      </a:lnTo>
                      <a:lnTo>
                        <a:pt x="3" y="36"/>
                      </a:lnTo>
                      <a:lnTo>
                        <a:pt x="0" y="47"/>
                      </a:lnTo>
                      <a:lnTo>
                        <a:pt x="1" y="49"/>
                      </a:lnTo>
                      <a:lnTo>
                        <a:pt x="1" y="51"/>
                      </a:lnTo>
                      <a:lnTo>
                        <a:pt x="6" y="56"/>
                      </a:lnTo>
                      <a:lnTo>
                        <a:pt x="7" y="56"/>
                      </a:lnTo>
                      <a:lnTo>
                        <a:pt x="10" y="55"/>
                      </a:lnTo>
                      <a:lnTo>
                        <a:pt x="10" y="56"/>
                      </a:lnTo>
                      <a:lnTo>
                        <a:pt x="10" y="58"/>
                      </a:lnTo>
                      <a:lnTo>
                        <a:pt x="6" y="69"/>
                      </a:lnTo>
                      <a:lnTo>
                        <a:pt x="3" y="75"/>
                      </a:lnTo>
                      <a:lnTo>
                        <a:pt x="3" y="81"/>
                      </a:lnTo>
                      <a:lnTo>
                        <a:pt x="5" y="80"/>
                      </a:lnTo>
                      <a:lnTo>
                        <a:pt x="7" y="79"/>
                      </a:lnTo>
                      <a:lnTo>
                        <a:pt x="9" y="75"/>
                      </a:lnTo>
                      <a:lnTo>
                        <a:pt x="10" y="70"/>
                      </a:lnTo>
                      <a:lnTo>
                        <a:pt x="12" y="67"/>
                      </a:lnTo>
                      <a:lnTo>
                        <a:pt x="15" y="66"/>
                      </a:lnTo>
                      <a:lnTo>
                        <a:pt x="16" y="66"/>
                      </a:lnTo>
                      <a:lnTo>
                        <a:pt x="19" y="69"/>
                      </a:lnTo>
                      <a:lnTo>
                        <a:pt x="20" y="74"/>
                      </a:lnTo>
                      <a:lnTo>
                        <a:pt x="20" y="79"/>
                      </a:lnTo>
                      <a:lnTo>
                        <a:pt x="17" y="83"/>
                      </a:lnTo>
                      <a:lnTo>
                        <a:pt x="19" y="86"/>
                      </a:lnTo>
                      <a:lnTo>
                        <a:pt x="19" y="88"/>
                      </a:lnTo>
                      <a:lnTo>
                        <a:pt x="19" y="89"/>
                      </a:lnTo>
                      <a:lnTo>
                        <a:pt x="16" y="94"/>
                      </a:lnTo>
                      <a:lnTo>
                        <a:pt x="16" y="98"/>
                      </a:lnTo>
                      <a:lnTo>
                        <a:pt x="16" y="102"/>
                      </a:lnTo>
                      <a:lnTo>
                        <a:pt x="17" y="103"/>
                      </a:lnTo>
                      <a:lnTo>
                        <a:pt x="19" y="103"/>
                      </a:lnTo>
                      <a:lnTo>
                        <a:pt x="25" y="105"/>
                      </a:lnTo>
                      <a:lnTo>
                        <a:pt x="31" y="105"/>
                      </a:lnTo>
                      <a:lnTo>
                        <a:pt x="33" y="103"/>
                      </a:lnTo>
                      <a:lnTo>
                        <a:pt x="35" y="101"/>
                      </a:lnTo>
                      <a:lnTo>
                        <a:pt x="38" y="99"/>
                      </a:lnTo>
                      <a:lnTo>
                        <a:pt x="40" y="98"/>
                      </a:lnTo>
                      <a:lnTo>
                        <a:pt x="44" y="98"/>
                      </a:lnTo>
                      <a:lnTo>
                        <a:pt x="45" y="99"/>
                      </a:lnTo>
                      <a:lnTo>
                        <a:pt x="47" y="101"/>
                      </a:lnTo>
                      <a:lnTo>
                        <a:pt x="47" y="102"/>
                      </a:lnTo>
                      <a:lnTo>
                        <a:pt x="43" y="108"/>
                      </a:lnTo>
                      <a:lnTo>
                        <a:pt x="42" y="112"/>
                      </a:lnTo>
                      <a:lnTo>
                        <a:pt x="43" y="113"/>
                      </a:lnTo>
                      <a:lnTo>
                        <a:pt x="44" y="114"/>
                      </a:lnTo>
                      <a:lnTo>
                        <a:pt x="49" y="115"/>
                      </a:lnTo>
                      <a:lnTo>
                        <a:pt x="53" y="118"/>
                      </a:lnTo>
                      <a:lnTo>
                        <a:pt x="56" y="121"/>
                      </a:lnTo>
                      <a:lnTo>
                        <a:pt x="56" y="124"/>
                      </a:lnTo>
                      <a:lnTo>
                        <a:pt x="56" y="126"/>
                      </a:lnTo>
                      <a:lnTo>
                        <a:pt x="54" y="128"/>
                      </a:lnTo>
                      <a:lnTo>
                        <a:pt x="52" y="130"/>
                      </a:lnTo>
                      <a:lnTo>
                        <a:pt x="48" y="132"/>
                      </a:lnTo>
                      <a:lnTo>
                        <a:pt x="48" y="133"/>
                      </a:lnTo>
                      <a:lnTo>
                        <a:pt x="49" y="135"/>
                      </a:lnTo>
                      <a:lnTo>
                        <a:pt x="52" y="137"/>
                      </a:lnTo>
                      <a:lnTo>
                        <a:pt x="52" y="138"/>
                      </a:lnTo>
                      <a:lnTo>
                        <a:pt x="47" y="138"/>
                      </a:lnTo>
                      <a:lnTo>
                        <a:pt x="42" y="138"/>
                      </a:lnTo>
                      <a:lnTo>
                        <a:pt x="37" y="139"/>
                      </a:lnTo>
                      <a:lnTo>
                        <a:pt x="33" y="141"/>
                      </a:lnTo>
                      <a:lnTo>
                        <a:pt x="24" y="146"/>
                      </a:lnTo>
                      <a:lnTo>
                        <a:pt x="17" y="153"/>
                      </a:lnTo>
                      <a:lnTo>
                        <a:pt x="19" y="154"/>
                      </a:lnTo>
                      <a:lnTo>
                        <a:pt x="21" y="154"/>
                      </a:lnTo>
                      <a:lnTo>
                        <a:pt x="25" y="152"/>
                      </a:lnTo>
                      <a:lnTo>
                        <a:pt x="29" y="151"/>
                      </a:lnTo>
                      <a:lnTo>
                        <a:pt x="33" y="151"/>
                      </a:lnTo>
                      <a:lnTo>
                        <a:pt x="37" y="152"/>
                      </a:lnTo>
                      <a:lnTo>
                        <a:pt x="38" y="154"/>
                      </a:lnTo>
                      <a:lnTo>
                        <a:pt x="38" y="156"/>
                      </a:lnTo>
                      <a:lnTo>
                        <a:pt x="37" y="158"/>
                      </a:lnTo>
                      <a:lnTo>
                        <a:pt x="34" y="162"/>
                      </a:lnTo>
                      <a:lnTo>
                        <a:pt x="30" y="164"/>
                      </a:lnTo>
                      <a:lnTo>
                        <a:pt x="28" y="166"/>
                      </a:lnTo>
                      <a:lnTo>
                        <a:pt x="25" y="169"/>
                      </a:lnTo>
                      <a:lnTo>
                        <a:pt x="19" y="173"/>
                      </a:lnTo>
                      <a:lnTo>
                        <a:pt x="16" y="177"/>
                      </a:lnTo>
                      <a:lnTo>
                        <a:pt x="15" y="181"/>
                      </a:lnTo>
                      <a:lnTo>
                        <a:pt x="16" y="181"/>
                      </a:lnTo>
                      <a:lnTo>
                        <a:pt x="17" y="181"/>
                      </a:lnTo>
                      <a:lnTo>
                        <a:pt x="24" y="178"/>
                      </a:lnTo>
                      <a:lnTo>
                        <a:pt x="29" y="178"/>
                      </a:lnTo>
                      <a:lnTo>
                        <a:pt x="35" y="179"/>
                      </a:lnTo>
                      <a:lnTo>
                        <a:pt x="40" y="181"/>
                      </a:lnTo>
                      <a:lnTo>
                        <a:pt x="43" y="182"/>
                      </a:lnTo>
                      <a:lnTo>
                        <a:pt x="45" y="182"/>
                      </a:lnTo>
                      <a:lnTo>
                        <a:pt x="50" y="181"/>
                      </a:lnTo>
                      <a:lnTo>
                        <a:pt x="61" y="173"/>
                      </a:lnTo>
                      <a:lnTo>
                        <a:pt x="59" y="178"/>
                      </a:lnTo>
                      <a:lnTo>
                        <a:pt x="58" y="183"/>
                      </a:lnTo>
                      <a:lnTo>
                        <a:pt x="54" y="185"/>
                      </a:lnTo>
                      <a:lnTo>
                        <a:pt x="50" y="188"/>
                      </a:lnTo>
                      <a:lnTo>
                        <a:pt x="43" y="190"/>
                      </a:lnTo>
                      <a:lnTo>
                        <a:pt x="33" y="191"/>
                      </a:lnTo>
                      <a:lnTo>
                        <a:pt x="30" y="192"/>
                      </a:lnTo>
                      <a:lnTo>
                        <a:pt x="28" y="195"/>
                      </a:lnTo>
                      <a:lnTo>
                        <a:pt x="25" y="199"/>
                      </a:lnTo>
                      <a:lnTo>
                        <a:pt x="21" y="203"/>
                      </a:lnTo>
                      <a:lnTo>
                        <a:pt x="12" y="210"/>
                      </a:lnTo>
                      <a:lnTo>
                        <a:pt x="7" y="215"/>
                      </a:lnTo>
                      <a:lnTo>
                        <a:pt x="3" y="216"/>
                      </a:lnTo>
                      <a:lnTo>
                        <a:pt x="1" y="218"/>
                      </a:lnTo>
                      <a:lnTo>
                        <a:pt x="5" y="220"/>
                      </a:lnTo>
                      <a:lnTo>
                        <a:pt x="9" y="221"/>
                      </a:lnTo>
                      <a:lnTo>
                        <a:pt x="10" y="221"/>
                      </a:lnTo>
                      <a:lnTo>
                        <a:pt x="11" y="221"/>
                      </a:lnTo>
                      <a:lnTo>
                        <a:pt x="16" y="214"/>
                      </a:lnTo>
                      <a:lnTo>
                        <a:pt x="19" y="211"/>
                      </a:lnTo>
                      <a:lnTo>
                        <a:pt x="23" y="209"/>
                      </a:lnTo>
                      <a:lnTo>
                        <a:pt x="26" y="208"/>
                      </a:lnTo>
                      <a:lnTo>
                        <a:pt x="30" y="208"/>
                      </a:lnTo>
                      <a:lnTo>
                        <a:pt x="34" y="209"/>
                      </a:lnTo>
                      <a:lnTo>
                        <a:pt x="38" y="211"/>
                      </a:lnTo>
                      <a:lnTo>
                        <a:pt x="39" y="211"/>
                      </a:lnTo>
                      <a:lnTo>
                        <a:pt x="40" y="210"/>
                      </a:lnTo>
                      <a:lnTo>
                        <a:pt x="44" y="205"/>
                      </a:lnTo>
                      <a:lnTo>
                        <a:pt x="48" y="203"/>
                      </a:lnTo>
                      <a:lnTo>
                        <a:pt x="52" y="203"/>
                      </a:lnTo>
                      <a:lnTo>
                        <a:pt x="56" y="202"/>
                      </a:lnTo>
                      <a:lnTo>
                        <a:pt x="62" y="201"/>
                      </a:lnTo>
                      <a:lnTo>
                        <a:pt x="70" y="199"/>
                      </a:lnTo>
                      <a:lnTo>
                        <a:pt x="72" y="199"/>
                      </a:lnTo>
                      <a:lnTo>
                        <a:pt x="73" y="199"/>
                      </a:lnTo>
                      <a:lnTo>
                        <a:pt x="76" y="197"/>
                      </a:lnTo>
                      <a:lnTo>
                        <a:pt x="77" y="197"/>
                      </a:lnTo>
                      <a:lnTo>
                        <a:pt x="78" y="197"/>
                      </a:lnTo>
                      <a:lnTo>
                        <a:pt x="86" y="199"/>
                      </a:lnTo>
                      <a:lnTo>
                        <a:pt x="90" y="201"/>
                      </a:lnTo>
                      <a:lnTo>
                        <a:pt x="94" y="199"/>
                      </a:lnTo>
                      <a:lnTo>
                        <a:pt x="105" y="198"/>
                      </a:lnTo>
                      <a:lnTo>
                        <a:pt x="115" y="198"/>
                      </a:lnTo>
                      <a:lnTo>
                        <a:pt x="118" y="197"/>
                      </a:lnTo>
                      <a:lnTo>
                        <a:pt x="120" y="197"/>
                      </a:lnTo>
                      <a:lnTo>
                        <a:pt x="122" y="19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89" name="Freeform 1227"/>
                <p:cNvSpPr>
                  <a:spLocks/>
                </p:cNvSpPr>
                <p:nvPr/>
              </p:nvSpPr>
              <p:spPr bwMode="auto">
                <a:xfrm>
                  <a:off x="4686277" y="2946109"/>
                  <a:ext cx="97672" cy="113950"/>
                </a:xfrm>
                <a:custGeom>
                  <a:avLst/>
                  <a:gdLst>
                    <a:gd name="T0" fmla="*/ 0 w 71"/>
                    <a:gd name="T1" fmla="*/ 2147483647 h 77"/>
                    <a:gd name="T2" fmla="*/ 2147483647 w 71"/>
                    <a:gd name="T3" fmla="*/ 2147483647 h 77"/>
                    <a:gd name="T4" fmla="*/ 2147483647 w 71"/>
                    <a:gd name="T5" fmla="*/ 2147483647 h 77"/>
                    <a:gd name="T6" fmla="*/ 2147483647 w 71"/>
                    <a:gd name="T7" fmla="*/ 2147483647 h 77"/>
                    <a:gd name="T8" fmla="*/ 2147483647 w 71"/>
                    <a:gd name="T9" fmla="*/ 2147483647 h 77"/>
                    <a:gd name="T10" fmla="*/ 2147483647 w 71"/>
                    <a:gd name="T11" fmla="*/ 2147483647 h 77"/>
                    <a:gd name="T12" fmla="*/ 2147483647 w 71"/>
                    <a:gd name="T13" fmla="*/ 2147483647 h 77"/>
                    <a:gd name="T14" fmla="*/ 2147483647 w 71"/>
                    <a:gd name="T15" fmla="*/ 2147483647 h 77"/>
                    <a:gd name="T16" fmla="*/ 2147483647 w 71"/>
                    <a:gd name="T17" fmla="*/ 2147483647 h 77"/>
                    <a:gd name="T18" fmla="*/ 2147483647 w 71"/>
                    <a:gd name="T19" fmla="*/ 2147483647 h 77"/>
                    <a:gd name="T20" fmla="*/ 2147483647 w 71"/>
                    <a:gd name="T21" fmla="*/ 2147483647 h 77"/>
                    <a:gd name="T22" fmla="*/ 2147483647 w 71"/>
                    <a:gd name="T23" fmla="*/ 2147483647 h 77"/>
                    <a:gd name="T24" fmla="*/ 2147483647 w 71"/>
                    <a:gd name="T25" fmla="*/ 2147483647 h 77"/>
                    <a:gd name="T26" fmla="*/ 2147483647 w 71"/>
                    <a:gd name="T27" fmla="*/ 2147483647 h 77"/>
                    <a:gd name="T28" fmla="*/ 2147483647 w 71"/>
                    <a:gd name="T29" fmla="*/ 2147483647 h 77"/>
                    <a:gd name="T30" fmla="*/ 2147483647 w 71"/>
                    <a:gd name="T31" fmla="*/ 2147483647 h 77"/>
                    <a:gd name="T32" fmla="*/ 2147483647 w 71"/>
                    <a:gd name="T33" fmla="*/ 2147483647 h 77"/>
                    <a:gd name="T34" fmla="*/ 2147483647 w 71"/>
                    <a:gd name="T35" fmla="*/ 2147483647 h 77"/>
                    <a:gd name="T36" fmla="*/ 2147483647 w 71"/>
                    <a:gd name="T37" fmla="*/ 0 h 77"/>
                    <a:gd name="T38" fmla="*/ 2147483647 w 71"/>
                    <a:gd name="T39" fmla="*/ 0 h 77"/>
                    <a:gd name="T40" fmla="*/ 2147483647 w 71"/>
                    <a:gd name="T41" fmla="*/ 2147483647 h 77"/>
                    <a:gd name="T42" fmla="*/ 2147483647 w 71"/>
                    <a:gd name="T43" fmla="*/ 2147483647 h 77"/>
                    <a:gd name="T44" fmla="*/ 2147483647 w 71"/>
                    <a:gd name="T45" fmla="*/ 2147483647 h 77"/>
                    <a:gd name="T46" fmla="*/ 2147483647 w 71"/>
                    <a:gd name="T47" fmla="*/ 2147483647 h 77"/>
                    <a:gd name="T48" fmla="*/ 2147483647 w 71"/>
                    <a:gd name="T49" fmla="*/ 2147483647 h 77"/>
                    <a:gd name="T50" fmla="*/ 2147483647 w 71"/>
                    <a:gd name="T51" fmla="*/ 2147483647 h 77"/>
                    <a:gd name="T52" fmla="*/ 2147483647 w 71"/>
                    <a:gd name="T53" fmla="*/ 2147483647 h 77"/>
                    <a:gd name="T54" fmla="*/ 2147483647 w 71"/>
                    <a:gd name="T55" fmla="*/ 2147483647 h 77"/>
                    <a:gd name="T56" fmla="*/ 2147483647 w 71"/>
                    <a:gd name="T57" fmla="*/ 2147483647 h 77"/>
                    <a:gd name="T58" fmla="*/ 2147483647 w 71"/>
                    <a:gd name="T59" fmla="*/ 2147483647 h 77"/>
                    <a:gd name="T60" fmla="*/ 2147483647 w 71"/>
                    <a:gd name="T61" fmla="*/ 2147483647 h 77"/>
                    <a:gd name="T62" fmla="*/ 2147483647 w 71"/>
                    <a:gd name="T63" fmla="*/ 2147483647 h 77"/>
                    <a:gd name="T64" fmla="*/ 2147483647 w 71"/>
                    <a:gd name="T65" fmla="*/ 2147483647 h 77"/>
                    <a:gd name="T66" fmla="*/ 2147483647 w 71"/>
                    <a:gd name="T67" fmla="*/ 2147483647 h 77"/>
                    <a:gd name="T68" fmla="*/ 0 w 71"/>
                    <a:gd name="T69" fmla="*/ 2147483647 h 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77"/>
                    <a:gd name="T107" fmla="*/ 71 w 71"/>
                    <a:gd name="T108" fmla="*/ 77 h 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77">
                      <a:moveTo>
                        <a:pt x="0" y="54"/>
                      </a:moveTo>
                      <a:lnTo>
                        <a:pt x="0" y="54"/>
                      </a:lnTo>
                      <a:lnTo>
                        <a:pt x="5" y="55"/>
                      </a:lnTo>
                      <a:lnTo>
                        <a:pt x="9" y="57"/>
                      </a:lnTo>
                      <a:lnTo>
                        <a:pt x="18" y="57"/>
                      </a:lnTo>
                      <a:lnTo>
                        <a:pt x="27" y="54"/>
                      </a:lnTo>
                      <a:lnTo>
                        <a:pt x="35" y="54"/>
                      </a:lnTo>
                      <a:lnTo>
                        <a:pt x="37" y="54"/>
                      </a:lnTo>
                      <a:lnTo>
                        <a:pt x="38" y="57"/>
                      </a:lnTo>
                      <a:lnTo>
                        <a:pt x="39" y="63"/>
                      </a:lnTo>
                      <a:lnTo>
                        <a:pt x="42" y="68"/>
                      </a:lnTo>
                      <a:lnTo>
                        <a:pt x="44" y="73"/>
                      </a:lnTo>
                      <a:lnTo>
                        <a:pt x="49" y="77"/>
                      </a:lnTo>
                      <a:lnTo>
                        <a:pt x="51" y="67"/>
                      </a:lnTo>
                      <a:lnTo>
                        <a:pt x="52" y="59"/>
                      </a:lnTo>
                      <a:lnTo>
                        <a:pt x="52" y="55"/>
                      </a:lnTo>
                      <a:lnTo>
                        <a:pt x="52" y="51"/>
                      </a:lnTo>
                      <a:lnTo>
                        <a:pt x="52" y="48"/>
                      </a:lnTo>
                      <a:lnTo>
                        <a:pt x="52" y="46"/>
                      </a:lnTo>
                      <a:lnTo>
                        <a:pt x="53" y="45"/>
                      </a:lnTo>
                      <a:lnTo>
                        <a:pt x="57" y="42"/>
                      </a:lnTo>
                      <a:lnTo>
                        <a:pt x="61" y="38"/>
                      </a:lnTo>
                      <a:lnTo>
                        <a:pt x="63" y="34"/>
                      </a:lnTo>
                      <a:lnTo>
                        <a:pt x="65" y="29"/>
                      </a:lnTo>
                      <a:lnTo>
                        <a:pt x="66" y="20"/>
                      </a:lnTo>
                      <a:lnTo>
                        <a:pt x="68" y="12"/>
                      </a:lnTo>
                      <a:lnTo>
                        <a:pt x="71" y="7"/>
                      </a:lnTo>
                      <a:lnTo>
                        <a:pt x="68" y="6"/>
                      </a:lnTo>
                      <a:lnTo>
                        <a:pt x="67" y="3"/>
                      </a:lnTo>
                      <a:lnTo>
                        <a:pt x="65" y="1"/>
                      </a:lnTo>
                      <a:lnTo>
                        <a:pt x="62" y="0"/>
                      </a:lnTo>
                      <a:lnTo>
                        <a:pt x="58" y="0"/>
                      </a:lnTo>
                      <a:lnTo>
                        <a:pt x="53" y="1"/>
                      </a:lnTo>
                      <a:lnTo>
                        <a:pt x="47" y="4"/>
                      </a:lnTo>
                      <a:lnTo>
                        <a:pt x="44" y="6"/>
                      </a:lnTo>
                      <a:lnTo>
                        <a:pt x="43" y="8"/>
                      </a:lnTo>
                      <a:lnTo>
                        <a:pt x="41" y="14"/>
                      </a:lnTo>
                      <a:lnTo>
                        <a:pt x="41" y="21"/>
                      </a:lnTo>
                      <a:lnTo>
                        <a:pt x="38" y="27"/>
                      </a:lnTo>
                      <a:lnTo>
                        <a:pt x="37" y="26"/>
                      </a:lnTo>
                      <a:lnTo>
                        <a:pt x="35" y="23"/>
                      </a:lnTo>
                      <a:lnTo>
                        <a:pt x="35" y="20"/>
                      </a:lnTo>
                      <a:lnTo>
                        <a:pt x="35" y="16"/>
                      </a:lnTo>
                      <a:lnTo>
                        <a:pt x="35" y="13"/>
                      </a:lnTo>
                      <a:lnTo>
                        <a:pt x="34" y="12"/>
                      </a:lnTo>
                      <a:lnTo>
                        <a:pt x="33" y="12"/>
                      </a:lnTo>
                      <a:lnTo>
                        <a:pt x="30" y="12"/>
                      </a:lnTo>
                      <a:lnTo>
                        <a:pt x="29" y="16"/>
                      </a:lnTo>
                      <a:lnTo>
                        <a:pt x="25" y="27"/>
                      </a:lnTo>
                      <a:lnTo>
                        <a:pt x="21" y="36"/>
                      </a:lnTo>
                      <a:lnTo>
                        <a:pt x="18" y="44"/>
                      </a:lnTo>
                      <a:lnTo>
                        <a:pt x="16" y="46"/>
                      </a:lnTo>
                      <a:lnTo>
                        <a:pt x="13" y="48"/>
                      </a:lnTo>
                      <a:lnTo>
                        <a:pt x="0" y="5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0" name="Freeform 1228"/>
                <p:cNvSpPr>
                  <a:spLocks/>
                </p:cNvSpPr>
                <p:nvPr/>
              </p:nvSpPr>
              <p:spPr bwMode="auto">
                <a:xfrm>
                  <a:off x="4470215" y="2750767"/>
                  <a:ext cx="177585" cy="327051"/>
                </a:xfrm>
                <a:custGeom>
                  <a:avLst/>
                  <a:gdLst>
                    <a:gd name="T0" fmla="*/ 2147483647 w 130"/>
                    <a:gd name="T1" fmla="*/ 2147483647 h 221"/>
                    <a:gd name="T2" fmla="*/ 2147483647 w 130"/>
                    <a:gd name="T3" fmla="*/ 2147483647 h 221"/>
                    <a:gd name="T4" fmla="*/ 2147483647 w 130"/>
                    <a:gd name="T5" fmla="*/ 2147483647 h 221"/>
                    <a:gd name="T6" fmla="*/ 2147483647 w 130"/>
                    <a:gd name="T7" fmla="*/ 2147483647 h 221"/>
                    <a:gd name="T8" fmla="*/ 2147483647 w 130"/>
                    <a:gd name="T9" fmla="*/ 2147483647 h 221"/>
                    <a:gd name="T10" fmla="*/ 2147483647 w 130"/>
                    <a:gd name="T11" fmla="*/ 2147483647 h 221"/>
                    <a:gd name="T12" fmla="*/ 2147483647 w 130"/>
                    <a:gd name="T13" fmla="*/ 2147483647 h 221"/>
                    <a:gd name="T14" fmla="*/ 2147483647 w 130"/>
                    <a:gd name="T15" fmla="*/ 2147483647 h 221"/>
                    <a:gd name="T16" fmla="*/ 2147483647 w 130"/>
                    <a:gd name="T17" fmla="*/ 2147483647 h 221"/>
                    <a:gd name="T18" fmla="*/ 2147483647 w 130"/>
                    <a:gd name="T19" fmla="*/ 2147483647 h 221"/>
                    <a:gd name="T20" fmla="*/ 2147483647 w 130"/>
                    <a:gd name="T21" fmla="*/ 2147483647 h 221"/>
                    <a:gd name="T22" fmla="*/ 2147483647 w 130"/>
                    <a:gd name="T23" fmla="*/ 2147483647 h 221"/>
                    <a:gd name="T24" fmla="*/ 2147483647 w 130"/>
                    <a:gd name="T25" fmla="*/ 2147483647 h 221"/>
                    <a:gd name="T26" fmla="*/ 2147483647 w 130"/>
                    <a:gd name="T27" fmla="*/ 2147483647 h 221"/>
                    <a:gd name="T28" fmla="*/ 2147483647 w 130"/>
                    <a:gd name="T29" fmla="*/ 2147483647 h 221"/>
                    <a:gd name="T30" fmla="*/ 2147483647 w 130"/>
                    <a:gd name="T31" fmla="*/ 2147483647 h 221"/>
                    <a:gd name="T32" fmla="*/ 2147483647 w 130"/>
                    <a:gd name="T33" fmla="*/ 2147483647 h 221"/>
                    <a:gd name="T34" fmla="*/ 2147483647 w 130"/>
                    <a:gd name="T35" fmla="*/ 2147483647 h 221"/>
                    <a:gd name="T36" fmla="*/ 2147483647 w 130"/>
                    <a:gd name="T37" fmla="*/ 2147483647 h 221"/>
                    <a:gd name="T38" fmla="*/ 2147483647 w 130"/>
                    <a:gd name="T39" fmla="*/ 2147483647 h 221"/>
                    <a:gd name="T40" fmla="*/ 2147483647 w 130"/>
                    <a:gd name="T41" fmla="*/ 2147483647 h 221"/>
                    <a:gd name="T42" fmla="*/ 2147483647 w 130"/>
                    <a:gd name="T43" fmla="*/ 2147483647 h 221"/>
                    <a:gd name="T44" fmla="*/ 2147483647 w 130"/>
                    <a:gd name="T45" fmla="*/ 2147483647 h 221"/>
                    <a:gd name="T46" fmla="*/ 2147483647 w 130"/>
                    <a:gd name="T47" fmla="*/ 0 h 221"/>
                    <a:gd name="T48" fmla="*/ 2147483647 w 130"/>
                    <a:gd name="T49" fmla="*/ 2147483647 h 221"/>
                    <a:gd name="T50" fmla="*/ 2147483647 w 130"/>
                    <a:gd name="T51" fmla="*/ 2147483647 h 221"/>
                    <a:gd name="T52" fmla="*/ 2147483647 w 130"/>
                    <a:gd name="T53" fmla="*/ 2147483647 h 221"/>
                    <a:gd name="T54" fmla="*/ 2147483647 w 130"/>
                    <a:gd name="T55" fmla="*/ 2147483647 h 221"/>
                    <a:gd name="T56" fmla="*/ 2147483647 w 130"/>
                    <a:gd name="T57" fmla="*/ 2147483647 h 221"/>
                    <a:gd name="T58" fmla="*/ 2147483647 w 130"/>
                    <a:gd name="T59" fmla="*/ 2147483647 h 221"/>
                    <a:gd name="T60" fmla="*/ 2147483647 w 130"/>
                    <a:gd name="T61" fmla="*/ 2147483647 h 221"/>
                    <a:gd name="T62" fmla="*/ 2147483647 w 130"/>
                    <a:gd name="T63" fmla="*/ 2147483647 h 221"/>
                    <a:gd name="T64" fmla="*/ 2147483647 w 130"/>
                    <a:gd name="T65" fmla="*/ 2147483647 h 221"/>
                    <a:gd name="T66" fmla="*/ 2147483647 w 130"/>
                    <a:gd name="T67" fmla="*/ 2147483647 h 221"/>
                    <a:gd name="T68" fmla="*/ 2147483647 w 130"/>
                    <a:gd name="T69" fmla="*/ 2147483647 h 221"/>
                    <a:gd name="T70" fmla="*/ 2147483647 w 130"/>
                    <a:gd name="T71" fmla="*/ 2147483647 h 221"/>
                    <a:gd name="T72" fmla="*/ 2147483647 w 130"/>
                    <a:gd name="T73" fmla="*/ 2147483647 h 221"/>
                    <a:gd name="T74" fmla="*/ 2147483647 w 130"/>
                    <a:gd name="T75" fmla="*/ 2147483647 h 221"/>
                    <a:gd name="T76" fmla="*/ 2147483647 w 130"/>
                    <a:gd name="T77" fmla="*/ 2147483647 h 221"/>
                    <a:gd name="T78" fmla="*/ 2147483647 w 130"/>
                    <a:gd name="T79" fmla="*/ 2147483647 h 221"/>
                    <a:gd name="T80" fmla="*/ 2147483647 w 130"/>
                    <a:gd name="T81" fmla="*/ 2147483647 h 221"/>
                    <a:gd name="T82" fmla="*/ 2147483647 w 130"/>
                    <a:gd name="T83" fmla="*/ 2147483647 h 221"/>
                    <a:gd name="T84" fmla="*/ 2147483647 w 130"/>
                    <a:gd name="T85" fmla="*/ 2147483647 h 221"/>
                    <a:gd name="T86" fmla="*/ 2147483647 w 130"/>
                    <a:gd name="T87" fmla="*/ 2147483647 h 221"/>
                    <a:gd name="T88" fmla="*/ 2147483647 w 130"/>
                    <a:gd name="T89" fmla="*/ 2147483647 h 221"/>
                    <a:gd name="T90" fmla="*/ 2147483647 w 130"/>
                    <a:gd name="T91" fmla="*/ 2147483647 h 221"/>
                    <a:gd name="T92" fmla="*/ 2147483647 w 130"/>
                    <a:gd name="T93" fmla="*/ 2147483647 h 221"/>
                    <a:gd name="T94" fmla="*/ 2147483647 w 130"/>
                    <a:gd name="T95" fmla="*/ 2147483647 h 221"/>
                    <a:gd name="T96" fmla="*/ 2147483647 w 130"/>
                    <a:gd name="T97" fmla="*/ 2147483647 h 221"/>
                    <a:gd name="T98" fmla="*/ 2147483647 w 130"/>
                    <a:gd name="T99" fmla="*/ 2147483647 h 221"/>
                    <a:gd name="T100" fmla="*/ 2147483647 w 130"/>
                    <a:gd name="T101" fmla="*/ 2147483647 h 221"/>
                    <a:gd name="T102" fmla="*/ 2147483647 w 130"/>
                    <a:gd name="T103" fmla="*/ 2147483647 h 221"/>
                    <a:gd name="T104" fmla="*/ 2147483647 w 130"/>
                    <a:gd name="T105" fmla="*/ 2147483647 h 221"/>
                    <a:gd name="T106" fmla="*/ 2147483647 w 130"/>
                    <a:gd name="T107" fmla="*/ 2147483647 h 221"/>
                    <a:gd name="T108" fmla="*/ 2147483647 w 130"/>
                    <a:gd name="T109" fmla="*/ 2147483647 h 221"/>
                    <a:gd name="T110" fmla="*/ 2147483647 w 130"/>
                    <a:gd name="T111" fmla="*/ 2147483647 h 221"/>
                    <a:gd name="T112" fmla="*/ 2147483647 w 130"/>
                    <a:gd name="T113" fmla="*/ 2147483647 h 221"/>
                    <a:gd name="T114" fmla="*/ 2147483647 w 130"/>
                    <a:gd name="T115" fmla="*/ 2147483647 h 221"/>
                    <a:gd name="T116" fmla="*/ 2147483647 w 130"/>
                    <a:gd name="T117" fmla="*/ 2147483647 h 221"/>
                    <a:gd name="T118" fmla="*/ 2147483647 w 130"/>
                    <a:gd name="T119" fmla="*/ 2147483647 h 221"/>
                    <a:gd name="T120" fmla="*/ 2147483647 w 130"/>
                    <a:gd name="T121" fmla="*/ 214748364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0"/>
                    <a:gd name="T184" fmla="*/ 0 h 221"/>
                    <a:gd name="T185" fmla="*/ 130 w 130"/>
                    <a:gd name="T186" fmla="*/ 221 h 2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0" h="221">
                      <a:moveTo>
                        <a:pt x="122" y="195"/>
                      </a:moveTo>
                      <a:lnTo>
                        <a:pt x="122" y="195"/>
                      </a:lnTo>
                      <a:lnTo>
                        <a:pt x="126" y="191"/>
                      </a:lnTo>
                      <a:lnTo>
                        <a:pt x="127" y="189"/>
                      </a:lnTo>
                      <a:lnTo>
                        <a:pt x="127" y="187"/>
                      </a:lnTo>
                      <a:lnTo>
                        <a:pt x="125" y="185"/>
                      </a:lnTo>
                      <a:lnTo>
                        <a:pt x="122" y="185"/>
                      </a:lnTo>
                      <a:lnTo>
                        <a:pt x="116" y="186"/>
                      </a:lnTo>
                      <a:lnTo>
                        <a:pt x="111" y="186"/>
                      </a:lnTo>
                      <a:lnTo>
                        <a:pt x="108" y="185"/>
                      </a:lnTo>
                      <a:lnTo>
                        <a:pt x="107" y="183"/>
                      </a:lnTo>
                      <a:lnTo>
                        <a:pt x="117" y="179"/>
                      </a:lnTo>
                      <a:lnTo>
                        <a:pt x="121" y="177"/>
                      </a:lnTo>
                      <a:lnTo>
                        <a:pt x="125" y="174"/>
                      </a:lnTo>
                      <a:lnTo>
                        <a:pt x="127" y="171"/>
                      </a:lnTo>
                      <a:lnTo>
                        <a:pt x="130" y="167"/>
                      </a:lnTo>
                      <a:lnTo>
                        <a:pt x="130" y="163"/>
                      </a:lnTo>
                      <a:lnTo>
                        <a:pt x="130" y="158"/>
                      </a:lnTo>
                      <a:lnTo>
                        <a:pt x="129" y="154"/>
                      </a:lnTo>
                      <a:lnTo>
                        <a:pt x="126" y="152"/>
                      </a:lnTo>
                      <a:lnTo>
                        <a:pt x="124" y="151"/>
                      </a:lnTo>
                      <a:lnTo>
                        <a:pt x="121" y="150"/>
                      </a:lnTo>
                      <a:lnTo>
                        <a:pt x="115" y="151"/>
                      </a:lnTo>
                      <a:lnTo>
                        <a:pt x="108" y="153"/>
                      </a:lnTo>
                      <a:lnTo>
                        <a:pt x="108" y="154"/>
                      </a:lnTo>
                      <a:lnTo>
                        <a:pt x="107" y="153"/>
                      </a:lnTo>
                      <a:lnTo>
                        <a:pt x="107" y="152"/>
                      </a:lnTo>
                      <a:lnTo>
                        <a:pt x="108" y="148"/>
                      </a:lnTo>
                      <a:lnTo>
                        <a:pt x="108" y="144"/>
                      </a:lnTo>
                      <a:lnTo>
                        <a:pt x="106" y="140"/>
                      </a:lnTo>
                      <a:lnTo>
                        <a:pt x="101" y="138"/>
                      </a:lnTo>
                      <a:lnTo>
                        <a:pt x="98" y="135"/>
                      </a:lnTo>
                      <a:lnTo>
                        <a:pt x="98" y="134"/>
                      </a:lnTo>
                      <a:lnTo>
                        <a:pt x="98" y="132"/>
                      </a:lnTo>
                      <a:lnTo>
                        <a:pt x="99" y="131"/>
                      </a:lnTo>
                      <a:lnTo>
                        <a:pt x="101" y="129"/>
                      </a:lnTo>
                      <a:lnTo>
                        <a:pt x="103" y="129"/>
                      </a:lnTo>
                      <a:lnTo>
                        <a:pt x="105" y="129"/>
                      </a:lnTo>
                      <a:lnTo>
                        <a:pt x="105" y="126"/>
                      </a:lnTo>
                      <a:lnTo>
                        <a:pt x="103" y="123"/>
                      </a:lnTo>
                      <a:lnTo>
                        <a:pt x="99" y="120"/>
                      </a:lnTo>
                      <a:lnTo>
                        <a:pt x="94" y="116"/>
                      </a:lnTo>
                      <a:lnTo>
                        <a:pt x="89" y="112"/>
                      </a:lnTo>
                      <a:lnTo>
                        <a:pt x="88" y="108"/>
                      </a:lnTo>
                      <a:lnTo>
                        <a:pt x="87" y="104"/>
                      </a:lnTo>
                      <a:lnTo>
                        <a:pt x="85" y="101"/>
                      </a:lnTo>
                      <a:lnTo>
                        <a:pt x="83" y="97"/>
                      </a:lnTo>
                      <a:lnTo>
                        <a:pt x="78" y="91"/>
                      </a:lnTo>
                      <a:lnTo>
                        <a:pt x="74" y="85"/>
                      </a:lnTo>
                      <a:lnTo>
                        <a:pt x="70" y="78"/>
                      </a:lnTo>
                      <a:lnTo>
                        <a:pt x="68" y="70"/>
                      </a:lnTo>
                      <a:lnTo>
                        <a:pt x="68" y="69"/>
                      </a:lnTo>
                      <a:lnTo>
                        <a:pt x="65" y="69"/>
                      </a:lnTo>
                      <a:lnTo>
                        <a:pt x="61" y="68"/>
                      </a:lnTo>
                      <a:lnTo>
                        <a:pt x="56" y="67"/>
                      </a:lnTo>
                      <a:lnTo>
                        <a:pt x="52" y="64"/>
                      </a:lnTo>
                      <a:lnTo>
                        <a:pt x="50" y="62"/>
                      </a:lnTo>
                      <a:lnTo>
                        <a:pt x="49" y="59"/>
                      </a:lnTo>
                      <a:lnTo>
                        <a:pt x="50" y="58"/>
                      </a:lnTo>
                      <a:lnTo>
                        <a:pt x="55" y="55"/>
                      </a:lnTo>
                      <a:lnTo>
                        <a:pt x="59" y="50"/>
                      </a:lnTo>
                      <a:lnTo>
                        <a:pt x="60" y="46"/>
                      </a:lnTo>
                      <a:lnTo>
                        <a:pt x="60" y="42"/>
                      </a:lnTo>
                      <a:lnTo>
                        <a:pt x="63" y="38"/>
                      </a:lnTo>
                      <a:lnTo>
                        <a:pt x="66" y="35"/>
                      </a:lnTo>
                      <a:lnTo>
                        <a:pt x="68" y="32"/>
                      </a:lnTo>
                      <a:lnTo>
                        <a:pt x="68" y="31"/>
                      </a:lnTo>
                      <a:lnTo>
                        <a:pt x="66" y="30"/>
                      </a:lnTo>
                      <a:lnTo>
                        <a:pt x="65" y="29"/>
                      </a:lnTo>
                      <a:lnTo>
                        <a:pt x="54" y="27"/>
                      </a:lnTo>
                      <a:lnTo>
                        <a:pt x="44" y="26"/>
                      </a:lnTo>
                      <a:lnTo>
                        <a:pt x="41" y="27"/>
                      </a:lnTo>
                      <a:lnTo>
                        <a:pt x="39" y="29"/>
                      </a:lnTo>
                      <a:lnTo>
                        <a:pt x="37" y="30"/>
                      </a:lnTo>
                      <a:lnTo>
                        <a:pt x="35" y="31"/>
                      </a:lnTo>
                      <a:lnTo>
                        <a:pt x="33" y="27"/>
                      </a:lnTo>
                      <a:lnTo>
                        <a:pt x="32" y="24"/>
                      </a:lnTo>
                      <a:lnTo>
                        <a:pt x="32" y="20"/>
                      </a:lnTo>
                      <a:lnTo>
                        <a:pt x="33" y="19"/>
                      </a:lnTo>
                      <a:lnTo>
                        <a:pt x="35" y="18"/>
                      </a:lnTo>
                      <a:lnTo>
                        <a:pt x="39" y="16"/>
                      </a:lnTo>
                      <a:lnTo>
                        <a:pt x="42" y="11"/>
                      </a:lnTo>
                      <a:lnTo>
                        <a:pt x="45" y="6"/>
                      </a:lnTo>
                      <a:lnTo>
                        <a:pt x="45" y="4"/>
                      </a:lnTo>
                      <a:lnTo>
                        <a:pt x="45" y="1"/>
                      </a:lnTo>
                      <a:lnTo>
                        <a:pt x="42" y="0"/>
                      </a:lnTo>
                      <a:lnTo>
                        <a:pt x="41" y="0"/>
                      </a:lnTo>
                      <a:lnTo>
                        <a:pt x="39" y="3"/>
                      </a:lnTo>
                      <a:lnTo>
                        <a:pt x="36" y="4"/>
                      </a:lnTo>
                      <a:lnTo>
                        <a:pt x="31" y="4"/>
                      </a:lnTo>
                      <a:lnTo>
                        <a:pt x="30" y="5"/>
                      </a:lnTo>
                      <a:lnTo>
                        <a:pt x="28" y="5"/>
                      </a:lnTo>
                      <a:lnTo>
                        <a:pt x="25" y="4"/>
                      </a:lnTo>
                      <a:lnTo>
                        <a:pt x="22" y="1"/>
                      </a:lnTo>
                      <a:lnTo>
                        <a:pt x="19" y="0"/>
                      </a:lnTo>
                      <a:lnTo>
                        <a:pt x="18" y="0"/>
                      </a:lnTo>
                      <a:lnTo>
                        <a:pt x="16" y="1"/>
                      </a:lnTo>
                      <a:lnTo>
                        <a:pt x="14" y="5"/>
                      </a:lnTo>
                      <a:lnTo>
                        <a:pt x="14" y="10"/>
                      </a:lnTo>
                      <a:lnTo>
                        <a:pt x="14" y="19"/>
                      </a:lnTo>
                      <a:lnTo>
                        <a:pt x="14" y="20"/>
                      </a:lnTo>
                      <a:lnTo>
                        <a:pt x="12" y="21"/>
                      </a:lnTo>
                      <a:lnTo>
                        <a:pt x="8" y="23"/>
                      </a:lnTo>
                      <a:lnTo>
                        <a:pt x="7" y="24"/>
                      </a:lnTo>
                      <a:lnTo>
                        <a:pt x="5" y="25"/>
                      </a:lnTo>
                      <a:lnTo>
                        <a:pt x="5" y="31"/>
                      </a:lnTo>
                      <a:lnTo>
                        <a:pt x="4" y="36"/>
                      </a:lnTo>
                      <a:lnTo>
                        <a:pt x="0" y="46"/>
                      </a:lnTo>
                      <a:lnTo>
                        <a:pt x="2" y="49"/>
                      </a:lnTo>
                      <a:lnTo>
                        <a:pt x="2" y="51"/>
                      </a:lnTo>
                      <a:lnTo>
                        <a:pt x="7" y="56"/>
                      </a:lnTo>
                      <a:lnTo>
                        <a:pt x="8" y="56"/>
                      </a:lnTo>
                      <a:lnTo>
                        <a:pt x="11" y="55"/>
                      </a:lnTo>
                      <a:lnTo>
                        <a:pt x="11" y="56"/>
                      </a:lnTo>
                      <a:lnTo>
                        <a:pt x="11" y="58"/>
                      </a:lnTo>
                      <a:lnTo>
                        <a:pt x="7" y="69"/>
                      </a:lnTo>
                      <a:lnTo>
                        <a:pt x="4" y="75"/>
                      </a:lnTo>
                      <a:lnTo>
                        <a:pt x="4" y="81"/>
                      </a:lnTo>
                      <a:lnTo>
                        <a:pt x="5" y="80"/>
                      </a:lnTo>
                      <a:lnTo>
                        <a:pt x="8" y="78"/>
                      </a:lnTo>
                      <a:lnTo>
                        <a:pt x="9" y="75"/>
                      </a:lnTo>
                      <a:lnTo>
                        <a:pt x="11" y="70"/>
                      </a:lnTo>
                      <a:lnTo>
                        <a:pt x="13" y="67"/>
                      </a:lnTo>
                      <a:lnTo>
                        <a:pt x="16" y="65"/>
                      </a:lnTo>
                      <a:lnTo>
                        <a:pt x="17" y="65"/>
                      </a:lnTo>
                      <a:lnTo>
                        <a:pt x="19" y="69"/>
                      </a:lnTo>
                      <a:lnTo>
                        <a:pt x="21" y="74"/>
                      </a:lnTo>
                      <a:lnTo>
                        <a:pt x="21" y="78"/>
                      </a:lnTo>
                      <a:lnTo>
                        <a:pt x="18" y="83"/>
                      </a:lnTo>
                      <a:lnTo>
                        <a:pt x="19" y="85"/>
                      </a:lnTo>
                      <a:lnTo>
                        <a:pt x="19" y="88"/>
                      </a:lnTo>
                      <a:lnTo>
                        <a:pt x="19" y="89"/>
                      </a:lnTo>
                      <a:lnTo>
                        <a:pt x="17" y="94"/>
                      </a:lnTo>
                      <a:lnTo>
                        <a:pt x="17" y="97"/>
                      </a:lnTo>
                      <a:lnTo>
                        <a:pt x="17" y="102"/>
                      </a:lnTo>
                      <a:lnTo>
                        <a:pt x="18" y="103"/>
                      </a:lnTo>
                      <a:lnTo>
                        <a:pt x="19" y="103"/>
                      </a:lnTo>
                      <a:lnTo>
                        <a:pt x="26" y="104"/>
                      </a:lnTo>
                      <a:lnTo>
                        <a:pt x="32" y="104"/>
                      </a:lnTo>
                      <a:lnTo>
                        <a:pt x="33" y="103"/>
                      </a:lnTo>
                      <a:lnTo>
                        <a:pt x="36" y="101"/>
                      </a:lnTo>
                      <a:lnTo>
                        <a:pt x="39" y="99"/>
                      </a:lnTo>
                      <a:lnTo>
                        <a:pt x="41" y="97"/>
                      </a:lnTo>
                      <a:lnTo>
                        <a:pt x="45" y="97"/>
                      </a:lnTo>
                      <a:lnTo>
                        <a:pt x="46" y="99"/>
                      </a:lnTo>
                      <a:lnTo>
                        <a:pt x="47" y="101"/>
                      </a:lnTo>
                      <a:lnTo>
                        <a:pt x="47" y="102"/>
                      </a:lnTo>
                      <a:lnTo>
                        <a:pt x="44" y="108"/>
                      </a:lnTo>
                      <a:lnTo>
                        <a:pt x="42" y="112"/>
                      </a:lnTo>
                      <a:lnTo>
                        <a:pt x="44" y="113"/>
                      </a:lnTo>
                      <a:lnTo>
                        <a:pt x="45" y="114"/>
                      </a:lnTo>
                      <a:lnTo>
                        <a:pt x="50" y="115"/>
                      </a:lnTo>
                      <a:lnTo>
                        <a:pt x="54" y="118"/>
                      </a:lnTo>
                      <a:lnTo>
                        <a:pt x="56" y="121"/>
                      </a:lnTo>
                      <a:lnTo>
                        <a:pt x="56" y="123"/>
                      </a:lnTo>
                      <a:lnTo>
                        <a:pt x="56" y="126"/>
                      </a:lnTo>
                      <a:lnTo>
                        <a:pt x="55" y="128"/>
                      </a:lnTo>
                      <a:lnTo>
                        <a:pt x="52" y="129"/>
                      </a:lnTo>
                      <a:lnTo>
                        <a:pt x="49" y="132"/>
                      </a:lnTo>
                      <a:lnTo>
                        <a:pt x="49" y="133"/>
                      </a:lnTo>
                      <a:lnTo>
                        <a:pt x="50" y="135"/>
                      </a:lnTo>
                      <a:lnTo>
                        <a:pt x="52" y="136"/>
                      </a:lnTo>
                      <a:lnTo>
                        <a:pt x="52" y="138"/>
                      </a:lnTo>
                      <a:lnTo>
                        <a:pt x="47" y="138"/>
                      </a:lnTo>
                      <a:lnTo>
                        <a:pt x="42" y="138"/>
                      </a:lnTo>
                      <a:lnTo>
                        <a:pt x="37" y="139"/>
                      </a:lnTo>
                      <a:lnTo>
                        <a:pt x="33" y="141"/>
                      </a:lnTo>
                      <a:lnTo>
                        <a:pt x="25" y="146"/>
                      </a:lnTo>
                      <a:lnTo>
                        <a:pt x="18" y="153"/>
                      </a:lnTo>
                      <a:lnTo>
                        <a:pt x="19" y="154"/>
                      </a:lnTo>
                      <a:lnTo>
                        <a:pt x="22" y="154"/>
                      </a:lnTo>
                      <a:lnTo>
                        <a:pt x="26" y="152"/>
                      </a:lnTo>
                      <a:lnTo>
                        <a:pt x="30" y="151"/>
                      </a:lnTo>
                      <a:lnTo>
                        <a:pt x="33" y="151"/>
                      </a:lnTo>
                      <a:lnTo>
                        <a:pt x="37" y="152"/>
                      </a:lnTo>
                      <a:lnTo>
                        <a:pt x="39" y="154"/>
                      </a:lnTo>
                      <a:lnTo>
                        <a:pt x="39" y="155"/>
                      </a:lnTo>
                      <a:lnTo>
                        <a:pt x="37" y="158"/>
                      </a:lnTo>
                      <a:lnTo>
                        <a:pt x="35" y="161"/>
                      </a:lnTo>
                      <a:lnTo>
                        <a:pt x="31" y="164"/>
                      </a:lnTo>
                      <a:lnTo>
                        <a:pt x="28" y="166"/>
                      </a:lnTo>
                      <a:lnTo>
                        <a:pt x="26" y="168"/>
                      </a:lnTo>
                      <a:lnTo>
                        <a:pt x="19" y="173"/>
                      </a:lnTo>
                      <a:lnTo>
                        <a:pt x="17" y="177"/>
                      </a:lnTo>
                      <a:lnTo>
                        <a:pt x="16" y="180"/>
                      </a:lnTo>
                      <a:lnTo>
                        <a:pt x="17" y="180"/>
                      </a:lnTo>
                      <a:lnTo>
                        <a:pt x="18" y="180"/>
                      </a:lnTo>
                      <a:lnTo>
                        <a:pt x="25" y="178"/>
                      </a:lnTo>
                      <a:lnTo>
                        <a:pt x="30" y="178"/>
                      </a:lnTo>
                      <a:lnTo>
                        <a:pt x="36" y="179"/>
                      </a:lnTo>
                      <a:lnTo>
                        <a:pt x="41" y="180"/>
                      </a:lnTo>
                      <a:lnTo>
                        <a:pt x="44" y="182"/>
                      </a:lnTo>
                      <a:lnTo>
                        <a:pt x="46" y="182"/>
                      </a:lnTo>
                      <a:lnTo>
                        <a:pt x="51" y="180"/>
                      </a:lnTo>
                      <a:lnTo>
                        <a:pt x="61" y="173"/>
                      </a:lnTo>
                      <a:lnTo>
                        <a:pt x="60" y="178"/>
                      </a:lnTo>
                      <a:lnTo>
                        <a:pt x="59" y="183"/>
                      </a:lnTo>
                      <a:lnTo>
                        <a:pt x="55" y="185"/>
                      </a:lnTo>
                      <a:lnTo>
                        <a:pt x="51" y="187"/>
                      </a:lnTo>
                      <a:lnTo>
                        <a:pt x="44" y="190"/>
                      </a:lnTo>
                      <a:lnTo>
                        <a:pt x="33" y="191"/>
                      </a:lnTo>
                      <a:lnTo>
                        <a:pt x="31" y="192"/>
                      </a:lnTo>
                      <a:lnTo>
                        <a:pt x="28" y="195"/>
                      </a:lnTo>
                      <a:lnTo>
                        <a:pt x="26" y="199"/>
                      </a:lnTo>
                      <a:lnTo>
                        <a:pt x="22" y="203"/>
                      </a:lnTo>
                      <a:lnTo>
                        <a:pt x="13" y="210"/>
                      </a:lnTo>
                      <a:lnTo>
                        <a:pt x="8" y="215"/>
                      </a:lnTo>
                      <a:lnTo>
                        <a:pt x="4" y="216"/>
                      </a:lnTo>
                      <a:lnTo>
                        <a:pt x="2" y="218"/>
                      </a:lnTo>
                      <a:lnTo>
                        <a:pt x="5" y="219"/>
                      </a:lnTo>
                      <a:lnTo>
                        <a:pt x="9" y="221"/>
                      </a:lnTo>
                      <a:lnTo>
                        <a:pt x="11" y="221"/>
                      </a:lnTo>
                      <a:lnTo>
                        <a:pt x="12" y="221"/>
                      </a:lnTo>
                      <a:lnTo>
                        <a:pt x="17" y="214"/>
                      </a:lnTo>
                      <a:lnTo>
                        <a:pt x="19" y="211"/>
                      </a:lnTo>
                      <a:lnTo>
                        <a:pt x="23" y="209"/>
                      </a:lnTo>
                      <a:lnTo>
                        <a:pt x="27" y="208"/>
                      </a:lnTo>
                      <a:lnTo>
                        <a:pt x="31" y="208"/>
                      </a:lnTo>
                      <a:lnTo>
                        <a:pt x="35" y="209"/>
                      </a:lnTo>
                      <a:lnTo>
                        <a:pt x="39" y="211"/>
                      </a:lnTo>
                      <a:lnTo>
                        <a:pt x="40" y="211"/>
                      </a:lnTo>
                      <a:lnTo>
                        <a:pt x="41" y="210"/>
                      </a:lnTo>
                      <a:lnTo>
                        <a:pt x="45" y="205"/>
                      </a:lnTo>
                      <a:lnTo>
                        <a:pt x="49" y="203"/>
                      </a:lnTo>
                      <a:lnTo>
                        <a:pt x="52" y="203"/>
                      </a:lnTo>
                      <a:lnTo>
                        <a:pt x="56" y="202"/>
                      </a:lnTo>
                      <a:lnTo>
                        <a:pt x="63" y="200"/>
                      </a:lnTo>
                      <a:lnTo>
                        <a:pt x="70" y="199"/>
                      </a:lnTo>
                      <a:lnTo>
                        <a:pt x="73" y="199"/>
                      </a:lnTo>
                      <a:lnTo>
                        <a:pt x="74" y="199"/>
                      </a:lnTo>
                      <a:lnTo>
                        <a:pt x="77" y="197"/>
                      </a:lnTo>
                      <a:lnTo>
                        <a:pt x="78" y="197"/>
                      </a:lnTo>
                      <a:lnTo>
                        <a:pt x="79" y="197"/>
                      </a:lnTo>
                      <a:lnTo>
                        <a:pt x="87" y="199"/>
                      </a:lnTo>
                      <a:lnTo>
                        <a:pt x="91" y="200"/>
                      </a:lnTo>
                      <a:lnTo>
                        <a:pt x="94" y="199"/>
                      </a:lnTo>
                      <a:lnTo>
                        <a:pt x="106" y="198"/>
                      </a:lnTo>
                      <a:lnTo>
                        <a:pt x="116" y="198"/>
                      </a:lnTo>
                      <a:lnTo>
                        <a:pt x="119" y="197"/>
                      </a:lnTo>
                      <a:lnTo>
                        <a:pt x="121" y="197"/>
                      </a:lnTo>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1" name="Freeform 1229"/>
                <p:cNvSpPr>
                  <a:spLocks/>
                </p:cNvSpPr>
                <p:nvPr/>
              </p:nvSpPr>
              <p:spPr bwMode="auto">
                <a:xfrm>
                  <a:off x="4572328" y="3051180"/>
                  <a:ext cx="7399" cy="8879"/>
                </a:xfrm>
                <a:custGeom>
                  <a:avLst/>
                  <a:gdLst>
                    <a:gd name="T0" fmla="*/ 2147483647 w 5"/>
                    <a:gd name="T1" fmla="*/ 2147483647 h 6"/>
                    <a:gd name="T2" fmla="*/ 2147483647 w 5"/>
                    <a:gd name="T3" fmla="*/ 2147483647 h 6"/>
                    <a:gd name="T4" fmla="*/ 2147483647 w 5"/>
                    <a:gd name="T5" fmla="*/ 0 h 6"/>
                    <a:gd name="T6" fmla="*/ 2147483647 w 5"/>
                    <a:gd name="T7" fmla="*/ 0 h 6"/>
                    <a:gd name="T8" fmla="*/ 2147483647 w 5"/>
                    <a:gd name="T9" fmla="*/ 0 h 6"/>
                    <a:gd name="T10" fmla="*/ 0 w 5"/>
                    <a:gd name="T11" fmla="*/ 2147483647 h 6"/>
                    <a:gd name="T12" fmla="*/ 0 w 5"/>
                    <a:gd name="T13" fmla="*/ 2147483647 h 6"/>
                    <a:gd name="T14" fmla="*/ 2147483647 w 5"/>
                    <a:gd name="T15" fmla="*/ 2147483647 h 6"/>
                    <a:gd name="T16" fmla="*/ 2147483647 w 5"/>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5" y="2"/>
                      </a:moveTo>
                      <a:lnTo>
                        <a:pt x="5" y="1"/>
                      </a:lnTo>
                      <a:lnTo>
                        <a:pt x="4" y="0"/>
                      </a:lnTo>
                      <a:lnTo>
                        <a:pt x="3" y="0"/>
                      </a:lnTo>
                      <a:lnTo>
                        <a:pt x="2" y="0"/>
                      </a:lnTo>
                      <a:lnTo>
                        <a:pt x="0" y="3"/>
                      </a:lnTo>
                      <a:lnTo>
                        <a:pt x="0" y="6"/>
                      </a:lnTo>
                      <a:lnTo>
                        <a:pt x="3" y="5"/>
                      </a:lnTo>
                      <a:lnTo>
                        <a:pt x="5" y="2"/>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2" name="Freeform 1230"/>
                <p:cNvSpPr>
                  <a:spLocks/>
                </p:cNvSpPr>
                <p:nvPr/>
              </p:nvSpPr>
              <p:spPr bwMode="auto">
                <a:xfrm>
                  <a:off x="4501290" y="2919469"/>
                  <a:ext cx="11839" cy="16278"/>
                </a:xfrm>
                <a:custGeom>
                  <a:avLst/>
                  <a:gdLst>
                    <a:gd name="T0" fmla="*/ 2147483647 w 8"/>
                    <a:gd name="T1" fmla="*/ 2147483647 h 11"/>
                    <a:gd name="T2" fmla="*/ 2147483647 w 8"/>
                    <a:gd name="T3" fmla="*/ 2147483647 h 11"/>
                    <a:gd name="T4" fmla="*/ 2147483647 w 8"/>
                    <a:gd name="T5" fmla="*/ 2147483647 h 11"/>
                    <a:gd name="T6" fmla="*/ 0 w 8"/>
                    <a:gd name="T7" fmla="*/ 2147483647 h 11"/>
                    <a:gd name="T8" fmla="*/ 0 w 8"/>
                    <a:gd name="T9" fmla="*/ 2147483647 h 11"/>
                    <a:gd name="T10" fmla="*/ 2147483647 w 8"/>
                    <a:gd name="T11" fmla="*/ 2147483647 h 11"/>
                    <a:gd name="T12" fmla="*/ 2147483647 w 8"/>
                    <a:gd name="T13" fmla="*/ 0 h 11"/>
                    <a:gd name="T14" fmla="*/ 2147483647 w 8"/>
                    <a:gd name="T15" fmla="*/ 2147483647 h 11"/>
                    <a:gd name="T16" fmla="*/ 2147483647 w 8"/>
                    <a:gd name="T17" fmla="*/ 2147483647 h 11"/>
                    <a:gd name="T18" fmla="*/ 2147483647 w 8"/>
                    <a:gd name="T19" fmla="*/ 2147483647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1"/>
                    <a:gd name="T32" fmla="*/ 8 w 8"/>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1">
                      <a:moveTo>
                        <a:pt x="4" y="8"/>
                      </a:moveTo>
                      <a:lnTo>
                        <a:pt x="2" y="9"/>
                      </a:lnTo>
                      <a:lnTo>
                        <a:pt x="2" y="11"/>
                      </a:lnTo>
                      <a:lnTo>
                        <a:pt x="0" y="9"/>
                      </a:lnTo>
                      <a:lnTo>
                        <a:pt x="0" y="7"/>
                      </a:lnTo>
                      <a:lnTo>
                        <a:pt x="2" y="5"/>
                      </a:lnTo>
                      <a:lnTo>
                        <a:pt x="7" y="0"/>
                      </a:lnTo>
                      <a:lnTo>
                        <a:pt x="8" y="2"/>
                      </a:lnTo>
                      <a:lnTo>
                        <a:pt x="7" y="4"/>
                      </a:lnTo>
                      <a:lnTo>
                        <a:pt x="4" y="8"/>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3" name="Freeform 1231"/>
                <p:cNvSpPr>
                  <a:spLocks/>
                </p:cNvSpPr>
                <p:nvPr/>
              </p:nvSpPr>
              <p:spPr bwMode="auto">
                <a:xfrm>
                  <a:off x="4570844" y="3049701"/>
                  <a:ext cx="7400" cy="8879"/>
                </a:xfrm>
                <a:custGeom>
                  <a:avLst/>
                  <a:gdLst>
                    <a:gd name="T0" fmla="*/ 2147483647 w 5"/>
                    <a:gd name="T1" fmla="*/ 2147483647 h 6"/>
                    <a:gd name="T2" fmla="*/ 2147483647 w 5"/>
                    <a:gd name="T3" fmla="*/ 2147483647 h 6"/>
                    <a:gd name="T4" fmla="*/ 2147483647 w 5"/>
                    <a:gd name="T5" fmla="*/ 2147483647 h 6"/>
                    <a:gd name="T6" fmla="*/ 2147483647 w 5"/>
                    <a:gd name="T7" fmla="*/ 0 h 6"/>
                    <a:gd name="T8" fmla="*/ 2147483647 w 5"/>
                    <a:gd name="T9" fmla="*/ 0 h 6"/>
                    <a:gd name="T10" fmla="*/ 2147483647 w 5"/>
                    <a:gd name="T11" fmla="*/ 0 h 6"/>
                    <a:gd name="T12" fmla="*/ 2147483647 w 5"/>
                    <a:gd name="T13" fmla="*/ 0 h 6"/>
                    <a:gd name="T14" fmla="*/ 2147483647 w 5"/>
                    <a:gd name="T15" fmla="*/ 0 h 6"/>
                    <a:gd name="T16" fmla="*/ 0 w 5"/>
                    <a:gd name="T17" fmla="*/ 2147483647 h 6"/>
                    <a:gd name="T18" fmla="*/ 0 w 5"/>
                    <a:gd name="T19" fmla="*/ 2147483647 h 6"/>
                    <a:gd name="T20" fmla="*/ 0 w 5"/>
                    <a:gd name="T21" fmla="*/ 2147483647 h 6"/>
                    <a:gd name="T22" fmla="*/ 2147483647 w 5"/>
                    <a:gd name="T23" fmla="*/ 2147483647 h 6"/>
                    <a:gd name="T24" fmla="*/ 2147483647 w 5"/>
                    <a:gd name="T25" fmla="*/ 2147483647 h 6"/>
                    <a:gd name="T26" fmla="*/ 2147483647 w 5"/>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5" y="2"/>
                      </a:moveTo>
                      <a:lnTo>
                        <a:pt x="5" y="2"/>
                      </a:lnTo>
                      <a:lnTo>
                        <a:pt x="5" y="1"/>
                      </a:lnTo>
                      <a:lnTo>
                        <a:pt x="4" y="0"/>
                      </a:lnTo>
                      <a:lnTo>
                        <a:pt x="3" y="0"/>
                      </a:lnTo>
                      <a:lnTo>
                        <a:pt x="1" y="0"/>
                      </a:lnTo>
                      <a:lnTo>
                        <a:pt x="0" y="3"/>
                      </a:lnTo>
                      <a:lnTo>
                        <a:pt x="0" y="6"/>
                      </a:lnTo>
                      <a:lnTo>
                        <a:pt x="3" y="4"/>
                      </a:lnTo>
                      <a:lnTo>
                        <a:pt x="5" y="2"/>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4" name="Freeform 1232"/>
                <p:cNvSpPr>
                  <a:spLocks/>
                </p:cNvSpPr>
                <p:nvPr/>
              </p:nvSpPr>
              <p:spPr bwMode="auto">
                <a:xfrm>
                  <a:off x="4499810" y="2917992"/>
                  <a:ext cx="11839" cy="14799"/>
                </a:xfrm>
                <a:custGeom>
                  <a:avLst/>
                  <a:gdLst>
                    <a:gd name="T0" fmla="*/ 2147483647 w 8"/>
                    <a:gd name="T1" fmla="*/ 2147483647 h 10"/>
                    <a:gd name="T2" fmla="*/ 2147483647 w 8"/>
                    <a:gd name="T3" fmla="*/ 2147483647 h 10"/>
                    <a:gd name="T4" fmla="*/ 2147483647 w 8"/>
                    <a:gd name="T5" fmla="*/ 2147483647 h 10"/>
                    <a:gd name="T6" fmla="*/ 2147483647 w 8"/>
                    <a:gd name="T7" fmla="*/ 2147483647 h 10"/>
                    <a:gd name="T8" fmla="*/ 0 w 8"/>
                    <a:gd name="T9" fmla="*/ 2147483647 h 10"/>
                    <a:gd name="T10" fmla="*/ 0 w 8"/>
                    <a:gd name="T11" fmla="*/ 2147483647 h 10"/>
                    <a:gd name="T12" fmla="*/ 0 w 8"/>
                    <a:gd name="T13" fmla="*/ 2147483647 h 10"/>
                    <a:gd name="T14" fmla="*/ 2147483647 w 8"/>
                    <a:gd name="T15" fmla="*/ 2147483647 h 10"/>
                    <a:gd name="T16" fmla="*/ 2147483647 w 8"/>
                    <a:gd name="T17" fmla="*/ 0 h 10"/>
                    <a:gd name="T18" fmla="*/ 2147483647 w 8"/>
                    <a:gd name="T19" fmla="*/ 0 h 10"/>
                    <a:gd name="T20" fmla="*/ 2147483647 w 8"/>
                    <a:gd name="T21" fmla="*/ 2147483647 h 10"/>
                    <a:gd name="T22" fmla="*/ 2147483647 w 8"/>
                    <a:gd name="T23" fmla="*/ 2147483647 h 10"/>
                    <a:gd name="T24" fmla="*/ 2147483647 w 8"/>
                    <a:gd name="T25" fmla="*/ 2147483647 h 10"/>
                    <a:gd name="T26" fmla="*/ 2147483647 w 8"/>
                    <a:gd name="T27" fmla="*/ 2147483647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0"/>
                    <a:gd name="T44" fmla="*/ 8 w 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0">
                      <a:moveTo>
                        <a:pt x="4" y="8"/>
                      </a:moveTo>
                      <a:lnTo>
                        <a:pt x="4" y="8"/>
                      </a:lnTo>
                      <a:lnTo>
                        <a:pt x="1" y="9"/>
                      </a:lnTo>
                      <a:lnTo>
                        <a:pt x="1" y="10"/>
                      </a:lnTo>
                      <a:lnTo>
                        <a:pt x="0" y="9"/>
                      </a:lnTo>
                      <a:lnTo>
                        <a:pt x="0" y="7"/>
                      </a:lnTo>
                      <a:lnTo>
                        <a:pt x="1" y="5"/>
                      </a:lnTo>
                      <a:lnTo>
                        <a:pt x="6" y="0"/>
                      </a:lnTo>
                      <a:lnTo>
                        <a:pt x="8" y="2"/>
                      </a:lnTo>
                      <a:lnTo>
                        <a:pt x="6" y="3"/>
                      </a:lnTo>
                      <a:lnTo>
                        <a:pt x="4" y="8"/>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5" name="Freeform 1233"/>
                <p:cNvSpPr>
                  <a:spLocks/>
                </p:cNvSpPr>
                <p:nvPr/>
              </p:nvSpPr>
              <p:spPr bwMode="auto">
                <a:xfrm>
                  <a:off x="4499811" y="2946107"/>
                  <a:ext cx="8879"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0 w 6"/>
                    <a:gd name="T11" fmla="*/ 2147483647 h 8"/>
                    <a:gd name="T12" fmla="*/ 0 w 6"/>
                    <a:gd name="T13" fmla="*/ 2147483647 h 8"/>
                    <a:gd name="T14" fmla="*/ 0 w 6"/>
                    <a:gd name="T15" fmla="*/ 2147483647 h 8"/>
                    <a:gd name="T16" fmla="*/ 2147483647 w 6"/>
                    <a:gd name="T17" fmla="*/ 0 h 8"/>
                    <a:gd name="T18" fmla="*/ 2147483647 w 6"/>
                    <a:gd name="T19" fmla="*/ 0 h 8"/>
                    <a:gd name="T20" fmla="*/ 2147483647 w 6"/>
                    <a:gd name="T21" fmla="*/ 2147483647 h 8"/>
                    <a:gd name="T22" fmla="*/ 2147483647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5" y="4"/>
                      </a:moveTo>
                      <a:lnTo>
                        <a:pt x="4" y="7"/>
                      </a:lnTo>
                      <a:lnTo>
                        <a:pt x="3" y="8"/>
                      </a:lnTo>
                      <a:lnTo>
                        <a:pt x="1" y="8"/>
                      </a:lnTo>
                      <a:lnTo>
                        <a:pt x="1" y="7"/>
                      </a:lnTo>
                      <a:lnTo>
                        <a:pt x="0" y="6"/>
                      </a:lnTo>
                      <a:lnTo>
                        <a:pt x="0" y="2"/>
                      </a:lnTo>
                      <a:lnTo>
                        <a:pt x="0" y="1"/>
                      </a:lnTo>
                      <a:lnTo>
                        <a:pt x="1" y="0"/>
                      </a:lnTo>
                      <a:lnTo>
                        <a:pt x="4" y="0"/>
                      </a:lnTo>
                      <a:lnTo>
                        <a:pt x="6" y="1"/>
                      </a:lnTo>
                      <a:lnTo>
                        <a:pt x="5"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6" name="Freeform 1234"/>
                <p:cNvSpPr>
                  <a:spLocks/>
                </p:cNvSpPr>
                <p:nvPr/>
              </p:nvSpPr>
              <p:spPr bwMode="auto">
                <a:xfrm>
                  <a:off x="4570845" y="2657535"/>
                  <a:ext cx="13319" cy="44396"/>
                </a:xfrm>
                <a:custGeom>
                  <a:avLst/>
                  <a:gdLst>
                    <a:gd name="T0" fmla="*/ 2147483647 w 9"/>
                    <a:gd name="T1" fmla="*/ 2147483647 h 30"/>
                    <a:gd name="T2" fmla="*/ 2147483647 w 9"/>
                    <a:gd name="T3" fmla="*/ 2147483647 h 30"/>
                    <a:gd name="T4" fmla="*/ 2147483647 w 9"/>
                    <a:gd name="T5" fmla="*/ 0 h 30"/>
                    <a:gd name="T6" fmla="*/ 2147483647 w 9"/>
                    <a:gd name="T7" fmla="*/ 2147483647 h 30"/>
                    <a:gd name="T8" fmla="*/ 2147483647 w 9"/>
                    <a:gd name="T9" fmla="*/ 2147483647 h 30"/>
                    <a:gd name="T10" fmla="*/ 2147483647 w 9"/>
                    <a:gd name="T11" fmla="*/ 2147483647 h 30"/>
                    <a:gd name="T12" fmla="*/ 2147483647 w 9"/>
                    <a:gd name="T13" fmla="*/ 2147483647 h 30"/>
                    <a:gd name="T14" fmla="*/ 2147483647 w 9"/>
                    <a:gd name="T15" fmla="*/ 2147483647 h 30"/>
                    <a:gd name="T16" fmla="*/ 0 w 9"/>
                    <a:gd name="T17" fmla="*/ 2147483647 h 30"/>
                    <a:gd name="T18" fmla="*/ 0 w 9"/>
                    <a:gd name="T19" fmla="*/ 2147483647 h 30"/>
                    <a:gd name="T20" fmla="*/ 0 w 9"/>
                    <a:gd name="T21" fmla="*/ 2147483647 h 30"/>
                    <a:gd name="T22" fmla="*/ 2147483647 w 9"/>
                    <a:gd name="T23" fmla="*/ 2147483647 h 30"/>
                    <a:gd name="T24" fmla="*/ 2147483647 w 9"/>
                    <a:gd name="T25" fmla="*/ 2147483647 h 30"/>
                    <a:gd name="T26" fmla="*/ 2147483647 w 9"/>
                    <a:gd name="T27" fmla="*/ 2147483647 h 30"/>
                    <a:gd name="T28" fmla="*/ 2147483647 w 9"/>
                    <a:gd name="T29" fmla="*/ 2147483647 h 30"/>
                    <a:gd name="T30" fmla="*/ 2147483647 w 9"/>
                    <a:gd name="T31" fmla="*/ 2147483647 h 30"/>
                    <a:gd name="T32" fmla="*/ 2147483647 w 9"/>
                    <a:gd name="T33" fmla="*/ 2147483647 h 30"/>
                    <a:gd name="T34" fmla="*/ 2147483647 w 9"/>
                    <a:gd name="T35" fmla="*/ 2147483647 h 30"/>
                    <a:gd name="T36" fmla="*/ 2147483647 w 9"/>
                    <a:gd name="T37" fmla="*/ 2147483647 h 30"/>
                    <a:gd name="T38" fmla="*/ 2147483647 w 9"/>
                    <a:gd name="T39" fmla="*/ 2147483647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
                    <a:gd name="T61" fmla="*/ 0 h 30"/>
                    <a:gd name="T62" fmla="*/ 9 w 9"/>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 h="30">
                      <a:moveTo>
                        <a:pt x="9" y="11"/>
                      </a:moveTo>
                      <a:lnTo>
                        <a:pt x="9" y="6"/>
                      </a:lnTo>
                      <a:lnTo>
                        <a:pt x="6" y="0"/>
                      </a:lnTo>
                      <a:lnTo>
                        <a:pt x="5" y="3"/>
                      </a:lnTo>
                      <a:lnTo>
                        <a:pt x="5" y="5"/>
                      </a:lnTo>
                      <a:lnTo>
                        <a:pt x="4" y="7"/>
                      </a:lnTo>
                      <a:lnTo>
                        <a:pt x="4" y="10"/>
                      </a:lnTo>
                      <a:lnTo>
                        <a:pt x="1" y="11"/>
                      </a:lnTo>
                      <a:lnTo>
                        <a:pt x="0" y="11"/>
                      </a:lnTo>
                      <a:lnTo>
                        <a:pt x="0" y="13"/>
                      </a:lnTo>
                      <a:lnTo>
                        <a:pt x="0" y="15"/>
                      </a:lnTo>
                      <a:lnTo>
                        <a:pt x="3" y="18"/>
                      </a:lnTo>
                      <a:lnTo>
                        <a:pt x="4" y="22"/>
                      </a:lnTo>
                      <a:lnTo>
                        <a:pt x="4" y="24"/>
                      </a:lnTo>
                      <a:lnTo>
                        <a:pt x="4" y="28"/>
                      </a:lnTo>
                      <a:lnTo>
                        <a:pt x="4" y="30"/>
                      </a:lnTo>
                      <a:lnTo>
                        <a:pt x="6" y="30"/>
                      </a:lnTo>
                      <a:lnTo>
                        <a:pt x="8" y="29"/>
                      </a:lnTo>
                      <a:lnTo>
                        <a:pt x="9" y="20"/>
                      </a:lnTo>
                      <a:lnTo>
                        <a:pt x="9" y="11"/>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7" name="Freeform 1235"/>
                <p:cNvSpPr>
                  <a:spLocks/>
                </p:cNvSpPr>
                <p:nvPr/>
              </p:nvSpPr>
              <p:spPr bwMode="auto">
                <a:xfrm>
                  <a:off x="4499810" y="2944627"/>
                  <a:ext cx="7400" cy="11839"/>
                </a:xfrm>
                <a:custGeom>
                  <a:avLst/>
                  <a:gdLst>
                    <a:gd name="T0" fmla="*/ 2147483647 w 6"/>
                    <a:gd name="T1" fmla="*/ 2147483647 h 8"/>
                    <a:gd name="T2" fmla="*/ 2147483647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2147483647 w 6"/>
                    <a:gd name="T13" fmla="*/ 2147483647 h 8"/>
                    <a:gd name="T14" fmla="*/ 0 w 6"/>
                    <a:gd name="T15" fmla="*/ 2147483647 h 8"/>
                    <a:gd name="T16" fmla="*/ 0 w 6"/>
                    <a:gd name="T17" fmla="*/ 2147483647 h 8"/>
                    <a:gd name="T18" fmla="*/ 0 w 6"/>
                    <a:gd name="T19" fmla="*/ 2147483647 h 8"/>
                    <a:gd name="T20" fmla="*/ 0 w 6"/>
                    <a:gd name="T21" fmla="*/ 2147483647 h 8"/>
                    <a:gd name="T22" fmla="*/ 2147483647 w 6"/>
                    <a:gd name="T23" fmla="*/ 0 h 8"/>
                    <a:gd name="T24" fmla="*/ 2147483647 w 6"/>
                    <a:gd name="T25" fmla="*/ 0 h 8"/>
                    <a:gd name="T26" fmla="*/ 2147483647 w 6"/>
                    <a:gd name="T27" fmla="*/ 0 h 8"/>
                    <a:gd name="T28" fmla="*/ 2147483647 w 6"/>
                    <a:gd name="T29" fmla="*/ 2147483647 h 8"/>
                    <a:gd name="T30" fmla="*/ 2147483647 w 6"/>
                    <a:gd name="T31" fmla="*/ 2147483647 h 8"/>
                    <a:gd name="T32" fmla="*/ 2147483647 w 6"/>
                    <a:gd name="T33" fmla="*/ 2147483647 h 8"/>
                    <a:gd name="T34" fmla="*/ 2147483647 w 6"/>
                    <a:gd name="T35" fmla="*/ 2147483647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
                    <a:gd name="T55" fmla="*/ 0 h 8"/>
                    <a:gd name="T56" fmla="*/ 6 w 6"/>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 h="8">
                      <a:moveTo>
                        <a:pt x="5" y="4"/>
                      </a:moveTo>
                      <a:lnTo>
                        <a:pt x="5" y="4"/>
                      </a:lnTo>
                      <a:lnTo>
                        <a:pt x="4" y="7"/>
                      </a:lnTo>
                      <a:lnTo>
                        <a:pt x="2" y="8"/>
                      </a:lnTo>
                      <a:lnTo>
                        <a:pt x="1" y="8"/>
                      </a:lnTo>
                      <a:lnTo>
                        <a:pt x="1" y="7"/>
                      </a:lnTo>
                      <a:lnTo>
                        <a:pt x="0" y="5"/>
                      </a:lnTo>
                      <a:lnTo>
                        <a:pt x="0" y="2"/>
                      </a:lnTo>
                      <a:lnTo>
                        <a:pt x="0" y="1"/>
                      </a:lnTo>
                      <a:lnTo>
                        <a:pt x="1" y="0"/>
                      </a:lnTo>
                      <a:lnTo>
                        <a:pt x="4" y="0"/>
                      </a:lnTo>
                      <a:lnTo>
                        <a:pt x="6" y="1"/>
                      </a:lnTo>
                      <a:lnTo>
                        <a:pt x="5" y="4"/>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8" name="Freeform 1236"/>
                <p:cNvSpPr>
                  <a:spLocks/>
                </p:cNvSpPr>
                <p:nvPr/>
              </p:nvSpPr>
              <p:spPr bwMode="auto">
                <a:xfrm>
                  <a:off x="4570845" y="2656055"/>
                  <a:ext cx="11839" cy="44396"/>
                </a:xfrm>
                <a:custGeom>
                  <a:avLst/>
                  <a:gdLst>
                    <a:gd name="T0" fmla="*/ 2147483647 w 9"/>
                    <a:gd name="T1" fmla="*/ 2147483647 h 30"/>
                    <a:gd name="T2" fmla="*/ 2147483647 w 9"/>
                    <a:gd name="T3" fmla="*/ 2147483647 h 30"/>
                    <a:gd name="T4" fmla="*/ 2147483647 w 9"/>
                    <a:gd name="T5" fmla="*/ 2147483647 h 30"/>
                    <a:gd name="T6" fmla="*/ 2147483647 w 9"/>
                    <a:gd name="T7" fmla="*/ 0 h 30"/>
                    <a:gd name="T8" fmla="*/ 2147483647 w 9"/>
                    <a:gd name="T9" fmla="*/ 0 h 30"/>
                    <a:gd name="T10" fmla="*/ 2147483647 w 9"/>
                    <a:gd name="T11" fmla="*/ 2147483647 h 30"/>
                    <a:gd name="T12" fmla="*/ 2147483647 w 9"/>
                    <a:gd name="T13" fmla="*/ 2147483647 h 30"/>
                    <a:gd name="T14" fmla="*/ 2147483647 w 9"/>
                    <a:gd name="T15" fmla="*/ 2147483647 h 30"/>
                    <a:gd name="T16" fmla="*/ 2147483647 w 9"/>
                    <a:gd name="T17" fmla="*/ 2147483647 h 30"/>
                    <a:gd name="T18" fmla="*/ 2147483647 w 9"/>
                    <a:gd name="T19" fmla="*/ 2147483647 h 30"/>
                    <a:gd name="T20" fmla="*/ 2147483647 w 9"/>
                    <a:gd name="T21" fmla="*/ 2147483647 h 30"/>
                    <a:gd name="T22" fmla="*/ 0 w 9"/>
                    <a:gd name="T23" fmla="*/ 2147483647 h 30"/>
                    <a:gd name="T24" fmla="*/ 0 w 9"/>
                    <a:gd name="T25" fmla="*/ 2147483647 h 30"/>
                    <a:gd name="T26" fmla="*/ 0 w 9"/>
                    <a:gd name="T27" fmla="*/ 2147483647 h 30"/>
                    <a:gd name="T28" fmla="*/ 0 w 9"/>
                    <a:gd name="T29" fmla="*/ 2147483647 h 30"/>
                    <a:gd name="T30" fmla="*/ 2147483647 w 9"/>
                    <a:gd name="T31" fmla="*/ 2147483647 h 30"/>
                    <a:gd name="T32" fmla="*/ 2147483647 w 9"/>
                    <a:gd name="T33" fmla="*/ 2147483647 h 30"/>
                    <a:gd name="T34" fmla="*/ 2147483647 w 9"/>
                    <a:gd name="T35" fmla="*/ 2147483647 h 30"/>
                    <a:gd name="T36" fmla="*/ 2147483647 w 9"/>
                    <a:gd name="T37" fmla="*/ 2147483647 h 30"/>
                    <a:gd name="T38" fmla="*/ 2147483647 w 9"/>
                    <a:gd name="T39" fmla="*/ 2147483647 h 30"/>
                    <a:gd name="T40" fmla="*/ 2147483647 w 9"/>
                    <a:gd name="T41" fmla="*/ 2147483647 h 30"/>
                    <a:gd name="T42" fmla="*/ 2147483647 w 9"/>
                    <a:gd name="T43" fmla="*/ 2147483647 h 30"/>
                    <a:gd name="T44" fmla="*/ 2147483647 w 9"/>
                    <a:gd name="T45" fmla="*/ 2147483647 h 30"/>
                    <a:gd name="T46" fmla="*/ 2147483647 w 9"/>
                    <a:gd name="T47" fmla="*/ 2147483647 h 30"/>
                    <a:gd name="T48" fmla="*/ 2147483647 w 9"/>
                    <a:gd name="T49" fmla="*/ 2147483647 h 30"/>
                    <a:gd name="T50" fmla="*/ 2147483647 w 9"/>
                    <a:gd name="T51" fmla="*/ 2147483647 h 30"/>
                    <a:gd name="T52" fmla="*/ 2147483647 w 9"/>
                    <a:gd name="T53" fmla="*/ 2147483647 h 30"/>
                    <a:gd name="T54" fmla="*/ 2147483647 w 9"/>
                    <a:gd name="T55" fmla="*/ 2147483647 h 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
                    <a:gd name="T85" fmla="*/ 0 h 30"/>
                    <a:gd name="T86" fmla="*/ 9 w 9"/>
                    <a:gd name="T87" fmla="*/ 30 h 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 h="30">
                      <a:moveTo>
                        <a:pt x="9" y="11"/>
                      </a:moveTo>
                      <a:lnTo>
                        <a:pt x="9" y="11"/>
                      </a:lnTo>
                      <a:lnTo>
                        <a:pt x="9" y="6"/>
                      </a:lnTo>
                      <a:lnTo>
                        <a:pt x="6" y="0"/>
                      </a:lnTo>
                      <a:lnTo>
                        <a:pt x="5" y="2"/>
                      </a:lnTo>
                      <a:lnTo>
                        <a:pt x="5" y="5"/>
                      </a:lnTo>
                      <a:lnTo>
                        <a:pt x="4" y="7"/>
                      </a:lnTo>
                      <a:lnTo>
                        <a:pt x="4" y="10"/>
                      </a:lnTo>
                      <a:lnTo>
                        <a:pt x="1" y="11"/>
                      </a:lnTo>
                      <a:lnTo>
                        <a:pt x="0" y="11"/>
                      </a:lnTo>
                      <a:lnTo>
                        <a:pt x="0" y="13"/>
                      </a:lnTo>
                      <a:lnTo>
                        <a:pt x="0" y="14"/>
                      </a:lnTo>
                      <a:lnTo>
                        <a:pt x="2" y="18"/>
                      </a:lnTo>
                      <a:lnTo>
                        <a:pt x="4" y="21"/>
                      </a:lnTo>
                      <a:lnTo>
                        <a:pt x="4" y="24"/>
                      </a:lnTo>
                      <a:lnTo>
                        <a:pt x="4" y="27"/>
                      </a:lnTo>
                      <a:lnTo>
                        <a:pt x="4" y="30"/>
                      </a:lnTo>
                      <a:lnTo>
                        <a:pt x="6" y="30"/>
                      </a:lnTo>
                      <a:lnTo>
                        <a:pt x="7" y="29"/>
                      </a:lnTo>
                      <a:lnTo>
                        <a:pt x="9" y="20"/>
                      </a:lnTo>
                      <a:lnTo>
                        <a:pt x="9" y="11"/>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099" name="Freeform 1237"/>
                <p:cNvSpPr>
                  <a:spLocks/>
                </p:cNvSpPr>
                <p:nvPr/>
              </p:nvSpPr>
              <p:spPr bwMode="auto">
                <a:xfrm>
                  <a:off x="4588602" y="2648652"/>
                  <a:ext cx="7400" cy="13319"/>
                </a:xfrm>
                <a:custGeom>
                  <a:avLst/>
                  <a:gdLst>
                    <a:gd name="T0" fmla="*/ 2147483647 w 5"/>
                    <a:gd name="T1" fmla="*/ 2147483647 h 9"/>
                    <a:gd name="T2" fmla="*/ 2147483647 w 5"/>
                    <a:gd name="T3" fmla="*/ 2147483647 h 9"/>
                    <a:gd name="T4" fmla="*/ 2147483647 w 5"/>
                    <a:gd name="T5" fmla="*/ 0 h 9"/>
                    <a:gd name="T6" fmla="*/ 0 w 5"/>
                    <a:gd name="T7" fmla="*/ 0 h 9"/>
                    <a:gd name="T8" fmla="*/ 0 w 5"/>
                    <a:gd name="T9" fmla="*/ 2147483647 h 9"/>
                    <a:gd name="T10" fmla="*/ 0 w 5"/>
                    <a:gd name="T11" fmla="*/ 2147483647 h 9"/>
                    <a:gd name="T12" fmla="*/ 2147483647 w 5"/>
                    <a:gd name="T13" fmla="*/ 2147483647 h 9"/>
                    <a:gd name="T14" fmla="*/ 2147483647 w 5"/>
                    <a:gd name="T15" fmla="*/ 2147483647 h 9"/>
                    <a:gd name="T16" fmla="*/ 2147483647 w 5"/>
                    <a:gd name="T17" fmla="*/ 2147483647 h 9"/>
                    <a:gd name="T18" fmla="*/ 2147483647 w 5"/>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9"/>
                    <a:gd name="T32" fmla="*/ 5 w 5"/>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9">
                      <a:moveTo>
                        <a:pt x="4" y="6"/>
                      </a:moveTo>
                      <a:lnTo>
                        <a:pt x="2" y="4"/>
                      </a:lnTo>
                      <a:lnTo>
                        <a:pt x="1" y="0"/>
                      </a:lnTo>
                      <a:lnTo>
                        <a:pt x="0" y="0"/>
                      </a:lnTo>
                      <a:lnTo>
                        <a:pt x="0" y="3"/>
                      </a:lnTo>
                      <a:lnTo>
                        <a:pt x="0" y="5"/>
                      </a:lnTo>
                      <a:lnTo>
                        <a:pt x="4" y="9"/>
                      </a:lnTo>
                      <a:lnTo>
                        <a:pt x="4" y="7"/>
                      </a:lnTo>
                      <a:lnTo>
                        <a:pt x="5" y="6"/>
                      </a:lnTo>
                      <a:lnTo>
                        <a:pt x="4" y="6"/>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0" name="Freeform 1238"/>
                <p:cNvSpPr>
                  <a:spLocks/>
                </p:cNvSpPr>
                <p:nvPr/>
              </p:nvSpPr>
              <p:spPr bwMode="auto">
                <a:xfrm>
                  <a:off x="4527929" y="2719689"/>
                  <a:ext cx="22198" cy="17758"/>
                </a:xfrm>
                <a:custGeom>
                  <a:avLst/>
                  <a:gdLst>
                    <a:gd name="T0" fmla="*/ 2147483647 w 16"/>
                    <a:gd name="T1" fmla="*/ 2147483647 h 12"/>
                    <a:gd name="T2" fmla="*/ 2147483647 w 16"/>
                    <a:gd name="T3" fmla="*/ 2147483647 h 12"/>
                    <a:gd name="T4" fmla="*/ 2147483647 w 16"/>
                    <a:gd name="T5" fmla="*/ 0 h 12"/>
                    <a:gd name="T6" fmla="*/ 2147483647 w 16"/>
                    <a:gd name="T7" fmla="*/ 0 h 12"/>
                    <a:gd name="T8" fmla="*/ 0 w 16"/>
                    <a:gd name="T9" fmla="*/ 2147483647 h 12"/>
                    <a:gd name="T10" fmla="*/ 0 w 16"/>
                    <a:gd name="T11" fmla="*/ 2147483647 h 12"/>
                    <a:gd name="T12" fmla="*/ 0 w 16"/>
                    <a:gd name="T13" fmla="*/ 2147483647 h 12"/>
                    <a:gd name="T14" fmla="*/ 2147483647 w 16"/>
                    <a:gd name="T15" fmla="*/ 2147483647 h 12"/>
                    <a:gd name="T16" fmla="*/ 2147483647 w 16"/>
                    <a:gd name="T17" fmla="*/ 2147483647 h 12"/>
                    <a:gd name="T18" fmla="*/ 2147483647 w 16"/>
                    <a:gd name="T19" fmla="*/ 2147483647 h 12"/>
                    <a:gd name="T20" fmla="*/ 2147483647 w 16"/>
                    <a:gd name="T21" fmla="*/ 2147483647 h 12"/>
                    <a:gd name="T22" fmla="*/ 2147483647 w 16"/>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2"/>
                    <a:gd name="T38" fmla="*/ 16 w 16"/>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2">
                      <a:moveTo>
                        <a:pt x="16" y="10"/>
                      </a:moveTo>
                      <a:lnTo>
                        <a:pt x="10" y="5"/>
                      </a:lnTo>
                      <a:lnTo>
                        <a:pt x="4" y="0"/>
                      </a:lnTo>
                      <a:lnTo>
                        <a:pt x="3" y="0"/>
                      </a:lnTo>
                      <a:lnTo>
                        <a:pt x="0" y="1"/>
                      </a:lnTo>
                      <a:lnTo>
                        <a:pt x="0" y="2"/>
                      </a:lnTo>
                      <a:lnTo>
                        <a:pt x="0" y="5"/>
                      </a:lnTo>
                      <a:lnTo>
                        <a:pt x="3" y="7"/>
                      </a:lnTo>
                      <a:lnTo>
                        <a:pt x="7" y="9"/>
                      </a:lnTo>
                      <a:lnTo>
                        <a:pt x="10" y="10"/>
                      </a:lnTo>
                      <a:lnTo>
                        <a:pt x="14" y="12"/>
                      </a:lnTo>
                      <a:lnTo>
                        <a:pt x="16" y="1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1" name="Freeform 1239"/>
                <p:cNvSpPr>
                  <a:spLocks/>
                </p:cNvSpPr>
                <p:nvPr/>
              </p:nvSpPr>
              <p:spPr bwMode="auto">
                <a:xfrm>
                  <a:off x="4587127" y="2647173"/>
                  <a:ext cx="7399" cy="11839"/>
                </a:xfrm>
                <a:custGeom>
                  <a:avLst/>
                  <a:gdLst>
                    <a:gd name="T0" fmla="*/ 2147483647 w 6"/>
                    <a:gd name="T1" fmla="*/ 2147483647 h 8"/>
                    <a:gd name="T2" fmla="*/ 2147483647 w 6"/>
                    <a:gd name="T3" fmla="*/ 2147483647 h 8"/>
                    <a:gd name="T4" fmla="*/ 2147483647 w 6"/>
                    <a:gd name="T5" fmla="*/ 2147483647 h 8"/>
                    <a:gd name="T6" fmla="*/ 2147483647 w 6"/>
                    <a:gd name="T7" fmla="*/ 0 h 8"/>
                    <a:gd name="T8" fmla="*/ 2147483647 w 6"/>
                    <a:gd name="T9" fmla="*/ 0 h 8"/>
                    <a:gd name="T10" fmla="*/ 2147483647 w 6"/>
                    <a:gd name="T11" fmla="*/ 0 h 8"/>
                    <a:gd name="T12" fmla="*/ 0 w 6"/>
                    <a:gd name="T13" fmla="*/ 0 h 8"/>
                    <a:gd name="T14" fmla="*/ 0 w 6"/>
                    <a:gd name="T15" fmla="*/ 0 h 8"/>
                    <a:gd name="T16" fmla="*/ 0 w 6"/>
                    <a:gd name="T17" fmla="*/ 2147483647 h 8"/>
                    <a:gd name="T18" fmla="*/ 0 w 6"/>
                    <a:gd name="T19" fmla="*/ 2147483647 h 8"/>
                    <a:gd name="T20" fmla="*/ 2147483647 w 6"/>
                    <a:gd name="T21" fmla="*/ 2147483647 h 8"/>
                    <a:gd name="T22" fmla="*/ 2147483647 w 6"/>
                    <a:gd name="T23" fmla="*/ 2147483647 h 8"/>
                    <a:gd name="T24" fmla="*/ 2147483647 w 6"/>
                    <a:gd name="T25" fmla="*/ 2147483647 h 8"/>
                    <a:gd name="T26" fmla="*/ 2147483647 w 6"/>
                    <a:gd name="T27" fmla="*/ 2147483647 h 8"/>
                    <a:gd name="T28" fmla="*/ 2147483647 w 6"/>
                    <a:gd name="T29" fmla="*/ 2147483647 h 8"/>
                    <a:gd name="T30" fmla="*/ 2147483647 w 6"/>
                    <a:gd name="T31" fmla="*/ 2147483647 h 8"/>
                    <a:gd name="T32" fmla="*/ 2147483647 w 6"/>
                    <a:gd name="T33" fmla="*/ 2147483647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8"/>
                    <a:gd name="T53" fmla="*/ 6 w 6"/>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8">
                      <a:moveTo>
                        <a:pt x="4" y="6"/>
                      </a:moveTo>
                      <a:lnTo>
                        <a:pt x="4" y="6"/>
                      </a:lnTo>
                      <a:lnTo>
                        <a:pt x="3" y="4"/>
                      </a:lnTo>
                      <a:lnTo>
                        <a:pt x="2" y="0"/>
                      </a:lnTo>
                      <a:lnTo>
                        <a:pt x="0" y="0"/>
                      </a:lnTo>
                      <a:lnTo>
                        <a:pt x="0" y="3"/>
                      </a:lnTo>
                      <a:lnTo>
                        <a:pt x="0" y="5"/>
                      </a:lnTo>
                      <a:lnTo>
                        <a:pt x="4" y="8"/>
                      </a:lnTo>
                      <a:lnTo>
                        <a:pt x="4" y="7"/>
                      </a:lnTo>
                      <a:lnTo>
                        <a:pt x="6" y="6"/>
                      </a:lnTo>
                      <a:lnTo>
                        <a:pt x="4" y="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2" name="Freeform 1240"/>
                <p:cNvSpPr>
                  <a:spLocks/>
                </p:cNvSpPr>
                <p:nvPr/>
              </p:nvSpPr>
              <p:spPr bwMode="auto">
                <a:xfrm>
                  <a:off x="4526452" y="2718206"/>
                  <a:ext cx="20718" cy="16278"/>
                </a:xfrm>
                <a:custGeom>
                  <a:avLst/>
                  <a:gdLst>
                    <a:gd name="T0" fmla="*/ 2147483647 w 15"/>
                    <a:gd name="T1" fmla="*/ 2147483647 h 11"/>
                    <a:gd name="T2" fmla="*/ 2147483647 w 15"/>
                    <a:gd name="T3" fmla="*/ 2147483647 h 11"/>
                    <a:gd name="T4" fmla="*/ 2147483647 w 15"/>
                    <a:gd name="T5" fmla="*/ 2147483647 h 11"/>
                    <a:gd name="T6" fmla="*/ 2147483647 w 15"/>
                    <a:gd name="T7" fmla="*/ 0 h 11"/>
                    <a:gd name="T8" fmla="*/ 2147483647 w 15"/>
                    <a:gd name="T9" fmla="*/ 0 h 11"/>
                    <a:gd name="T10" fmla="*/ 2147483647 w 15"/>
                    <a:gd name="T11" fmla="*/ 0 h 11"/>
                    <a:gd name="T12" fmla="*/ 0 w 15"/>
                    <a:gd name="T13" fmla="*/ 2147483647 h 11"/>
                    <a:gd name="T14" fmla="*/ 0 w 15"/>
                    <a:gd name="T15" fmla="*/ 2147483647 h 11"/>
                    <a:gd name="T16" fmla="*/ 0 w 15"/>
                    <a:gd name="T17" fmla="*/ 2147483647 h 11"/>
                    <a:gd name="T18" fmla="*/ 0 w 15"/>
                    <a:gd name="T19" fmla="*/ 2147483647 h 11"/>
                    <a:gd name="T20" fmla="*/ 2147483647 w 15"/>
                    <a:gd name="T21" fmla="*/ 2147483647 h 11"/>
                    <a:gd name="T22" fmla="*/ 2147483647 w 15"/>
                    <a:gd name="T23" fmla="*/ 2147483647 h 11"/>
                    <a:gd name="T24" fmla="*/ 2147483647 w 15"/>
                    <a:gd name="T25" fmla="*/ 2147483647 h 11"/>
                    <a:gd name="T26" fmla="*/ 2147483647 w 15"/>
                    <a:gd name="T27" fmla="*/ 2147483647 h 11"/>
                    <a:gd name="T28" fmla="*/ 2147483647 w 15"/>
                    <a:gd name="T29" fmla="*/ 2147483647 h 11"/>
                    <a:gd name="T30" fmla="*/ 2147483647 w 15"/>
                    <a:gd name="T31" fmla="*/ 2147483647 h 11"/>
                    <a:gd name="T32" fmla="*/ 2147483647 w 15"/>
                    <a:gd name="T33" fmla="*/ 2147483647 h 11"/>
                    <a:gd name="T34" fmla="*/ 2147483647 w 15"/>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11"/>
                    <a:gd name="T56" fmla="*/ 15 w 15"/>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11">
                      <a:moveTo>
                        <a:pt x="15" y="10"/>
                      </a:moveTo>
                      <a:lnTo>
                        <a:pt x="15" y="10"/>
                      </a:lnTo>
                      <a:lnTo>
                        <a:pt x="10" y="4"/>
                      </a:lnTo>
                      <a:lnTo>
                        <a:pt x="4" y="0"/>
                      </a:lnTo>
                      <a:lnTo>
                        <a:pt x="3" y="0"/>
                      </a:lnTo>
                      <a:lnTo>
                        <a:pt x="0" y="1"/>
                      </a:lnTo>
                      <a:lnTo>
                        <a:pt x="0" y="2"/>
                      </a:lnTo>
                      <a:lnTo>
                        <a:pt x="0" y="4"/>
                      </a:lnTo>
                      <a:lnTo>
                        <a:pt x="3" y="7"/>
                      </a:lnTo>
                      <a:lnTo>
                        <a:pt x="6" y="9"/>
                      </a:lnTo>
                      <a:lnTo>
                        <a:pt x="10" y="10"/>
                      </a:lnTo>
                      <a:lnTo>
                        <a:pt x="14" y="11"/>
                      </a:lnTo>
                      <a:lnTo>
                        <a:pt x="15" y="1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3" name="Freeform 1241"/>
                <p:cNvSpPr>
                  <a:spLocks/>
                </p:cNvSpPr>
                <p:nvPr/>
              </p:nvSpPr>
              <p:spPr bwMode="auto">
                <a:xfrm>
                  <a:off x="4524970" y="2734484"/>
                  <a:ext cx="5919" cy="11839"/>
                </a:xfrm>
                <a:custGeom>
                  <a:avLst/>
                  <a:gdLst>
                    <a:gd name="T0" fmla="*/ 2147483647 w 4"/>
                    <a:gd name="T1" fmla="*/ 2147483647 h 8"/>
                    <a:gd name="T2" fmla="*/ 2147483647 w 4"/>
                    <a:gd name="T3" fmla="*/ 2147483647 h 8"/>
                    <a:gd name="T4" fmla="*/ 2147483647 w 4"/>
                    <a:gd name="T5" fmla="*/ 0 h 8"/>
                    <a:gd name="T6" fmla="*/ 0 w 4"/>
                    <a:gd name="T7" fmla="*/ 0 h 8"/>
                    <a:gd name="T8" fmla="*/ 0 w 4"/>
                    <a:gd name="T9" fmla="*/ 2147483647 h 8"/>
                    <a:gd name="T10" fmla="*/ 0 w 4"/>
                    <a:gd name="T11" fmla="*/ 2147483647 h 8"/>
                    <a:gd name="T12" fmla="*/ 0 w 4"/>
                    <a:gd name="T13" fmla="*/ 2147483647 h 8"/>
                    <a:gd name="T14" fmla="*/ 2147483647 w 4"/>
                    <a:gd name="T15" fmla="*/ 2147483647 h 8"/>
                    <a:gd name="T16" fmla="*/ 2147483647 w 4"/>
                    <a:gd name="T17" fmla="*/ 2147483647 h 8"/>
                    <a:gd name="T18" fmla="*/ 2147483647 w 4"/>
                    <a:gd name="T19" fmla="*/ 214748364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4" y="5"/>
                      </a:moveTo>
                      <a:lnTo>
                        <a:pt x="2" y="3"/>
                      </a:lnTo>
                      <a:lnTo>
                        <a:pt x="1" y="0"/>
                      </a:lnTo>
                      <a:lnTo>
                        <a:pt x="0" y="0"/>
                      </a:lnTo>
                      <a:lnTo>
                        <a:pt x="0" y="2"/>
                      </a:lnTo>
                      <a:lnTo>
                        <a:pt x="0" y="3"/>
                      </a:lnTo>
                      <a:lnTo>
                        <a:pt x="0" y="4"/>
                      </a:lnTo>
                      <a:lnTo>
                        <a:pt x="2" y="8"/>
                      </a:lnTo>
                      <a:lnTo>
                        <a:pt x="4" y="6"/>
                      </a:lnTo>
                      <a:lnTo>
                        <a:pt x="4" y="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4" name="Freeform 1242"/>
                <p:cNvSpPr>
                  <a:spLocks/>
                </p:cNvSpPr>
                <p:nvPr/>
              </p:nvSpPr>
              <p:spPr bwMode="auto">
                <a:xfrm>
                  <a:off x="4436176" y="2793682"/>
                  <a:ext cx="5919" cy="10360"/>
                </a:xfrm>
                <a:custGeom>
                  <a:avLst/>
                  <a:gdLst>
                    <a:gd name="T0" fmla="*/ 2147483647 w 4"/>
                    <a:gd name="T1" fmla="*/ 2147483647 h 7"/>
                    <a:gd name="T2" fmla="*/ 2147483647 w 4"/>
                    <a:gd name="T3" fmla="*/ 2147483647 h 7"/>
                    <a:gd name="T4" fmla="*/ 2147483647 w 4"/>
                    <a:gd name="T5" fmla="*/ 2147483647 h 7"/>
                    <a:gd name="T6" fmla="*/ 2147483647 w 4"/>
                    <a:gd name="T7" fmla="*/ 2147483647 h 7"/>
                    <a:gd name="T8" fmla="*/ 2147483647 w 4"/>
                    <a:gd name="T9" fmla="*/ 2147483647 h 7"/>
                    <a:gd name="T10" fmla="*/ 0 w 4"/>
                    <a:gd name="T11" fmla="*/ 2147483647 h 7"/>
                    <a:gd name="T12" fmla="*/ 0 w 4"/>
                    <a:gd name="T13" fmla="*/ 2147483647 h 7"/>
                    <a:gd name="T14" fmla="*/ 2147483647 w 4"/>
                    <a:gd name="T15" fmla="*/ 0 h 7"/>
                    <a:gd name="T16" fmla="*/ 2147483647 w 4"/>
                    <a:gd name="T17" fmla="*/ 2147483647 h 7"/>
                    <a:gd name="T18" fmla="*/ 2147483647 w 4"/>
                    <a:gd name="T19" fmla="*/ 2147483647 h 7"/>
                    <a:gd name="T20" fmla="*/ 2147483647 w 4"/>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7"/>
                    <a:gd name="T35" fmla="*/ 4 w 4"/>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7">
                      <a:moveTo>
                        <a:pt x="4" y="4"/>
                      </a:moveTo>
                      <a:lnTo>
                        <a:pt x="4" y="6"/>
                      </a:lnTo>
                      <a:lnTo>
                        <a:pt x="4" y="7"/>
                      </a:lnTo>
                      <a:lnTo>
                        <a:pt x="3" y="7"/>
                      </a:lnTo>
                      <a:lnTo>
                        <a:pt x="1" y="7"/>
                      </a:lnTo>
                      <a:lnTo>
                        <a:pt x="0" y="3"/>
                      </a:lnTo>
                      <a:lnTo>
                        <a:pt x="0" y="1"/>
                      </a:lnTo>
                      <a:lnTo>
                        <a:pt x="3" y="0"/>
                      </a:lnTo>
                      <a:lnTo>
                        <a:pt x="3" y="1"/>
                      </a:lnTo>
                      <a:lnTo>
                        <a:pt x="4" y="2"/>
                      </a:lnTo>
                      <a:lnTo>
                        <a:pt x="4" y="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5" name="Freeform 1243"/>
                <p:cNvSpPr>
                  <a:spLocks/>
                </p:cNvSpPr>
                <p:nvPr/>
              </p:nvSpPr>
              <p:spPr bwMode="auto">
                <a:xfrm>
                  <a:off x="4523489" y="2733008"/>
                  <a:ext cx="4440" cy="10359"/>
                </a:xfrm>
                <a:custGeom>
                  <a:avLst/>
                  <a:gdLst>
                    <a:gd name="T0" fmla="*/ 2147483647 w 3"/>
                    <a:gd name="T1" fmla="*/ 2147483647 h 7"/>
                    <a:gd name="T2" fmla="*/ 2147483647 w 3"/>
                    <a:gd name="T3" fmla="*/ 2147483647 h 7"/>
                    <a:gd name="T4" fmla="*/ 2147483647 w 3"/>
                    <a:gd name="T5" fmla="*/ 2147483647 h 7"/>
                    <a:gd name="T6" fmla="*/ 2147483647 w 3"/>
                    <a:gd name="T7" fmla="*/ 0 h 7"/>
                    <a:gd name="T8" fmla="*/ 2147483647 w 3"/>
                    <a:gd name="T9" fmla="*/ 0 h 7"/>
                    <a:gd name="T10" fmla="*/ 0 w 3"/>
                    <a:gd name="T11" fmla="*/ 0 h 7"/>
                    <a:gd name="T12" fmla="*/ 0 w 3"/>
                    <a:gd name="T13" fmla="*/ 2147483647 h 7"/>
                    <a:gd name="T14" fmla="*/ 0 w 3"/>
                    <a:gd name="T15" fmla="*/ 2147483647 h 7"/>
                    <a:gd name="T16" fmla="*/ 0 w 3"/>
                    <a:gd name="T17" fmla="*/ 2147483647 h 7"/>
                    <a:gd name="T18" fmla="*/ 0 w 3"/>
                    <a:gd name="T19" fmla="*/ 2147483647 h 7"/>
                    <a:gd name="T20" fmla="*/ 2147483647 w 3"/>
                    <a:gd name="T21" fmla="*/ 2147483647 h 7"/>
                    <a:gd name="T22" fmla="*/ 2147483647 w 3"/>
                    <a:gd name="T23" fmla="*/ 2147483647 h 7"/>
                    <a:gd name="T24" fmla="*/ 2147483647 w 3"/>
                    <a:gd name="T25" fmla="*/ 2147483647 h 7"/>
                    <a:gd name="T26" fmla="*/ 2147483647 w 3"/>
                    <a:gd name="T27" fmla="*/ 2147483647 h 7"/>
                    <a:gd name="T28" fmla="*/ 2147483647 w 3"/>
                    <a:gd name="T29" fmla="*/ 2147483647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
                    <a:gd name="T46" fmla="*/ 0 h 7"/>
                    <a:gd name="T47" fmla="*/ 3 w 3"/>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 h="7">
                      <a:moveTo>
                        <a:pt x="3" y="5"/>
                      </a:moveTo>
                      <a:lnTo>
                        <a:pt x="3" y="5"/>
                      </a:lnTo>
                      <a:lnTo>
                        <a:pt x="2" y="3"/>
                      </a:lnTo>
                      <a:lnTo>
                        <a:pt x="1" y="0"/>
                      </a:lnTo>
                      <a:lnTo>
                        <a:pt x="0" y="0"/>
                      </a:lnTo>
                      <a:lnTo>
                        <a:pt x="0" y="1"/>
                      </a:lnTo>
                      <a:lnTo>
                        <a:pt x="0" y="3"/>
                      </a:lnTo>
                      <a:lnTo>
                        <a:pt x="0" y="4"/>
                      </a:lnTo>
                      <a:lnTo>
                        <a:pt x="2" y="7"/>
                      </a:lnTo>
                      <a:lnTo>
                        <a:pt x="3" y="6"/>
                      </a:lnTo>
                      <a:lnTo>
                        <a:pt x="3"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6" name="Freeform 1244"/>
                <p:cNvSpPr>
                  <a:spLocks/>
                </p:cNvSpPr>
                <p:nvPr/>
              </p:nvSpPr>
              <p:spPr bwMode="auto">
                <a:xfrm>
                  <a:off x="4434697" y="2790719"/>
                  <a:ext cx="5919" cy="11839"/>
                </a:xfrm>
                <a:custGeom>
                  <a:avLst/>
                  <a:gdLst>
                    <a:gd name="T0" fmla="*/ 2147483647 w 4"/>
                    <a:gd name="T1" fmla="*/ 2147483647 h 8"/>
                    <a:gd name="T2" fmla="*/ 2147483647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2147483647 w 4"/>
                    <a:gd name="T13" fmla="*/ 2147483647 h 8"/>
                    <a:gd name="T14" fmla="*/ 0 w 4"/>
                    <a:gd name="T15" fmla="*/ 2147483647 h 8"/>
                    <a:gd name="T16" fmla="*/ 0 w 4"/>
                    <a:gd name="T17" fmla="*/ 2147483647 h 8"/>
                    <a:gd name="T18" fmla="*/ 2147483647 w 4"/>
                    <a:gd name="T19" fmla="*/ 0 h 8"/>
                    <a:gd name="T20" fmla="*/ 2147483647 w 4"/>
                    <a:gd name="T21" fmla="*/ 0 h 8"/>
                    <a:gd name="T22" fmla="*/ 2147483647 w 4"/>
                    <a:gd name="T23" fmla="*/ 2147483647 h 8"/>
                    <a:gd name="T24" fmla="*/ 2147483647 w 4"/>
                    <a:gd name="T25" fmla="*/ 2147483647 h 8"/>
                    <a:gd name="T26" fmla="*/ 2147483647 w 4"/>
                    <a:gd name="T27" fmla="*/ 2147483647 h 8"/>
                    <a:gd name="T28" fmla="*/ 2147483647 w 4"/>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8"/>
                    <a:gd name="T47" fmla="*/ 4 w 4"/>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8">
                      <a:moveTo>
                        <a:pt x="4" y="5"/>
                      </a:moveTo>
                      <a:lnTo>
                        <a:pt x="4" y="5"/>
                      </a:lnTo>
                      <a:lnTo>
                        <a:pt x="4" y="6"/>
                      </a:lnTo>
                      <a:lnTo>
                        <a:pt x="4" y="8"/>
                      </a:lnTo>
                      <a:lnTo>
                        <a:pt x="2" y="8"/>
                      </a:lnTo>
                      <a:lnTo>
                        <a:pt x="1" y="8"/>
                      </a:lnTo>
                      <a:lnTo>
                        <a:pt x="0" y="4"/>
                      </a:lnTo>
                      <a:lnTo>
                        <a:pt x="0" y="2"/>
                      </a:lnTo>
                      <a:lnTo>
                        <a:pt x="2" y="0"/>
                      </a:lnTo>
                      <a:lnTo>
                        <a:pt x="2" y="2"/>
                      </a:lnTo>
                      <a:lnTo>
                        <a:pt x="4" y="3"/>
                      </a:lnTo>
                      <a:lnTo>
                        <a:pt x="4" y="5"/>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7" name="Freeform 1245"/>
                <p:cNvSpPr>
                  <a:spLocks/>
                </p:cNvSpPr>
                <p:nvPr/>
              </p:nvSpPr>
              <p:spPr bwMode="auto">
                <a:xfrm>
                  <a:off x="4446535" y="2758166"/>
                  <a:ext cx="17758" cy="28118"/>
                </a:xfrm>
                <a:custGeom>
                  <a:avLst/>
                  <a:gdLst>
                    <a:gd name="T0" fmla="*/ 2147483647 w 12"/>
                    <a:gd name="T1" fmla="*/ 2147483647 h 19"/>
                    <a:gd name="T2" fmla="*/ 2147483647 w 12"/>
                    <a:gd name="T3" fmla="*/ 2147483647 h 19"/>
                    <a:gd name="T4" fmla="*/ 2147483647 w 12"/>
                    <a:gd name="T5" fmla="*/ 2147483647 h 19"/>
                    <a:gd name="T6" fmla="*/ 0 w 12"/>
                    <a:gd name="T7" fmla="*/ 2147483647 h 19"/>
                    <a:gd name="T8" fmla="*/ 0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2147483647 w 12"/>
                    <a:gd name="T19" fmla="*/ 2147483647 h 19"/>
                    <a:gd name="T20" fmla="*/ 2147483647 w 12"/>
                    <a:gd name="T21" fmla="*/ 0 h 19"/>
                    <a:gd name="T22" fmla="*/ 2147483647 w 12"/>
                    <a:gd name="T23" fmla="*/ 0 h 19"/>
                    <a:gd name="T24" fmla="*/ 2147483647 w 12"/>
                    <a:gd name="T25" fmla="*/ 2147483647 h 19"/>
                    <a:gd name="T26" fmla="*/ 2147483647 w 12"/>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9"/>
                    <a:gd name="T44" fmla="*/ 12 w 12"/>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9">
                      <a:moveTo>
                        <a:pt x="10" y="13"/>
                      </a:moveTo>
                      <a:lnTo>
                        <a:pt x="5" y="16"/>
                      </a:lnTo>
                      <a:lnTo>
                        <a:pt x="2" y="19"/>
                      </a:lnTo>
                      <a:lnTo>
                        <a:pt x="0" y="19"/>
                      </a:lnTo>
                      <a:lnTo>
                        <a:pt x="0" y="18"/>
                      </a:lnTo>
                      <a:lnTo>
                        <a:pt x="2" y="16"/>
                      </a:lnTo>
                      <a:lnTo>
                        <a:pt x="2" y="15"/>
                      </a:lnTo>
                      <a:lnTo>
                        <a:pt x="1" y="11"/>
                      </a:lnTo>
                      <a:lnTo>
                        <a:pt x="3" y="7"/>
                      </a:lnTo>
                      <a:lnTo>
                        <a:pt x="9" y="1"/>
                      </a:lnTo>
                      <a:lnTo>
                        <a:pt x="10" y="0"/>
                      </a:lnTo>
                      <a:lnTo>
                        <a:pt x="12" y="0"/>
                      </a:lnTo>
                      <a:lnTo>
                        <a:pt x="11" y="7"/>
                      </a:lnTo>
                      <a:lnTo>
                        <a:pt x="10" y="13"/>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8" name="Freeform 1246"/>
                <p:cNvSpPr>
                  <a:spLocks/>
                </p:cNvSpPr>
                <p:nvPr/>
              </p:nvSpPr>
              <p:spPr bwMode="auto">
                <a:xfrm>
                  <a:off x="4455415" y="2798119"/>
                  <a:ext cx="11839" cy="16278"/>
                </a:xfrm>
                <a:custGeom>
                  <a:avLst/>
                  <a:gdLst>
                    <a:gd name="T0" fmla="*/ 2147483647 w 9"/>
                    <a:gd name="T1" fmla="*/ 0 h 11"/>
                    <a:gd name="T2" fmla="*/ 2147483647 w 9"/>
                    <a:gd name="T3" fmla="*/ 0 h 11"/>
                    <a:gd name="T4" fmla="*/ 0 w 9"/>
                    <a:gd name="T5" fmla="*/ 2147483647 h 11"/>
                    <a:gd name="T6" fmla="*/ 0 w 9"/>
                    <a:gd name="T7" fmla="*/ 2147483647 h 11"/>
                    <a:gd name="T8" fmla="*/ 2147483647 w 9"/>
                    <a:gd name="T9" fmla="*/ 2147483647 h 11"/>
                    <a:gd name="T10" fmla="*/ 2147483647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1"/>
                    <a:gd name="T44" fmla="*/ 9 w 9"/>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1">
                      <a:moveTo>
                        <a:pt x="3" y="0"/>
                      </a:moveTo>
                      <a:lnTo>
                        <a:pt x="1" y="0"/>
                      </a:lnTo>
                      <a:lnTo>
                        <a:pt x="0" y="3"/>
                      </a:lnTo>
                      <a:lnTo>
                        <a:pt x="0" y="7"/>
                      </a:lnTo>
                      <a:lnTo>
                        <a:pt x="1" y="7"/>
                      </a:lnTo>
                      <a:lnTo>
                        <a:pt x="3" y="7"/>
                      </a:lnTo>
                      <a:lnTo>
                        <a:pt x="5" y="8"/>
                      </a:lnTo>
                      <a:lnTo>
                        <a:pt x="6" y="10"/>
                      </a:lnTo>
                      <a:lnTo>
                        <a:pt x="6" y="11"/>
                      </a:lnTo>
                      <a:lnTo>
                        <a:pt x="8" y="10"/>
                      </a:lnTo>
                      <a:lnTo>
                        <a:pt x="9" y="7"/>
                      </a:lnTo>
                      <a:lnTo>
                        <a:pt x="8" y="4"/>
                      </a:lnTo>
                      <a:lnTo>
                        <a:pt x="6" y="1"/>
                      </a:lnTo>
                      <a:lnTo>
                        <a:pt x="3"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09" name="Freeform 1247"/>
                <p:cNvSpPr>
                  <a:spLocks/>
                </p:cNvSpPr>
                <p:nvPr/>
              </p:nvSpPr>
              <p:spPr bwMode="auto">
                <a:xfrm>
                  <a:off x="4445055" y="2756683"/>
                  <a:ext cx="17758" cy="28117"/>
                </a:xfrm>
                <a:custGeom>
                  <a:avLst/>
                  <a:gdLst>
                    <a:gd name="T0" fmla="*/ 2147483647 w 13"/>
                    <a:gd name="T1" fmla="*/ 2147483647 h 19"/>
                    <a:gd name="T2" fmla="*/ 2147483647 w 13"/>
                    <a:gd name="T3" fmla="*/ 2147483647 h 19"/>
                    <a:gd name="T4" fmla="*/ 2147483647 w 13"/>
                    <a:gd name="T5" fmla="*/ 2147483647 h 19"/>
                    <a:gd name="T6" fmla="*/ 2147483647 w 13"/>
                    <a:gd name="T7" fmla="*/ 2147483647 h 19"/>
                    <a:gd name="T8" fmla="*/ 0 w 13"/>
                    <a:gd name="T9" fmla="*/ 2147483647 h 19"/>
                    <a:gd name="T10" fmla="*/ 0 w 13"/>
                    <a:gd name="T11" fmla="*/ 2147483647 h 19"/>
                    <a:gd name="T12" fmla="*/ 0 w 13"/>
                    <a:gd name="T13" fmla="*/ 2147483647 h 19"/>
                    <a:gd name="T14" fmla="*/ 0 w 13"/>
                    <a:gd name="T15" fmla="*/ 2147483647 h 19"/>
                    <a:gd name="T16" fmla="*/ 2147483647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0 h 19"/>
                    <a:gd name="T32" fmla="*/ 2147483647 w 13"/>
                    <a:gd name="T33" fmla="*/ 0 h 19"/>
                    <a:gd name="T34" fmla="*/ 2147483647 w 13"/>
                    <a:gd name="T35" fmla="*/ 0 h 19"/>
                    <a:gd name="T36" fmla="*/ 2147483647 w 13"/>
                    <a:gd name="T37" fmla="*/ 2147483647 h 19"/>
                    <a:gd name="T38" fmla="*/ 2147483647 w 13"/>
                    <a:gd name="T39" fmla="*/ 2147483647 h 19"/>
                    <a:gd name="T40" fmla="*/ 2147483647 w 13"/>
                    <a:gd name="T41" fmla="*/ 2147483647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19"/>
                    <a:gd name="T65" fmla="*/ 13 w 13"/>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19">
                      <a:moveTo>
                        <a:pt x="11" y="13"/>
                      </a:moveTo>
                      <a:lnTo>
                        <a:pt x="11" y="13"/>
                      </a:lnTo>
                      <a:lnTo>
                        <a:pt x="5" y="16"/>
                      </a:lnTo>
                      <a:lnTo>
                        <a:pt x="3" y="19"/>
                      </a:lnTo>
                      <a:lnTo>
                        <a:pt x="0" y="19"/>
                      </a:lnTo>
                      <a:lnTo>
                        <a:pt x="0" y="17"/>
                      </a:lnTo>
                      <a:lnTo>
                        <a:pt x="3" y="16"/>
                      </a:lnTo>
                      <a:lnTo>
                        <a:pt x="3" y="15"/>
                      </a:lnTo>
                      <a:lnTo>
                        <a:pt x="2" y="10"/>
                      </a:lnTo>
                      <a:lnTo>
                        <a:pt x="4" y="7"/>
                      </a:lnTo>
                      <a:lnTo>
                        <a:pt x="9" y="1"/>
                      </a:lnTo>
                      <a:lnTo>
                        <a:pt x="11" y="0"/>
                      </a:lnTo>
                      <a:lnTo>
                        <a:pt x="13" y="0"/>
                      </a:lnTo>
                      <a:lnTo>
                        <a:pt x="12" y="7"/>
                      </a:lnTo>
                      <a:lnTo>
                        <a:pt x="11" y="13"/>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0" name="Freeform 1248"/>
                <p:cNvSpPr>
                  <a:spLocks/>
                </p:cNvSpPr>
                <p:nvPr/>
              </p:nvSpPr>
              <p:spPr bwMode="auto">
                <a:xfrm>
                  <a:off x="4453935" y="2796642"/>
                  <a:ext cx="11839" cy="16279"/>
                </a:xfrm>
                <a:custGeom>
                  <a:avLst/>
                  <a:gdLst>
                    <a:gd name="T0" fmla="*/ 2147483647 w 9"/>
                    <a:gd name="T1" fmla="*/ 0 h 11"/>
                    <a:gd name="T2" fmla="*/ 2147483647 w 9"/>
                    <a:gd name="T3" fmla="*/ 0 h 11"/>
                    <a:gd name="T4" fmla="*/ 2147483647 w 9"/>
                    <a:gd name="T5" fmla="*/ 0 h 11"/>
                    <a:gd name="T6" fmla="*/ 0 w 9"/>
                    <a:gd name="T7" fmla="*/ 2147483647 h 11"/>
                    <a:gd name="T8" fmla="*/ 0 w 9"/>
                    <a:gd name="T9" fmla="*/ 2147483647 h 11"/>
                    <a:gd name="T10" fmla="*/ 0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0 h 11"/>
                    <a:gd name="T40" fmla="*/ 2147483647 w 9"/>
                    <a:gd name="T41" fmla="*/ 0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
                    <a:gd name="T64" fmla="*/ 0 h 11"/>
                    <a:gd name="T65" fmla="*/ 9 w 9"/>
                    <a:gd name="T66" fmla="*/ 11 h 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 h="11">
                      <a:moveTo>
                        <a:pt x="2" y="0"/>
                      </a:moveTo>
                      <a:lnTo>
                        <a:pt x="2" y="0"/>
                      </a:lnTo>
                      <a:lnTo>
                        <a:pt x="1" y="0"/>
                      </a:lnTo>
                      <a:lnTo>
                        <a:pt x="0" y="2"/>
                      </a:lnTo>
                      <a:lnTo>
                        <a:pt x="0" y="7"/>
                      </a:lnTo>
                      <a:lnTo>
                        <a:pt x="1" y="7"/>
                      </a:lnTo>
                      <a:lnTo>
                        <a:pt x="2" y="7"/>
                      </a:lnTo>
                      <a:lnTo>
                        <a:pt x="5" y="8"/>
                      </a:lnTo>
                      <a:lnTo>
                        <a:pt x="6" y="9"/>
                      </a:lnTo>
                      <a:lnTo>
                        <a:pt x="6" y="11"/>
                      </a:lnTo>
                      <a:lnTo>
                        <a:pt x="7" y="9"/>
                      </a:lnTo>
                      <a:lnTo>
                        <a:pt x="9" y="7"/>
                      </a:lnTo>
                      <a:lnTo>
                        <a:pt x="7" y="4"/>
                      </a:lnTo>
                      <a:lnTo>
                        <a:pt x="6" y="1"/>
                      </a:lnTo>
                      <a:lnTo>
                        <a:pt x="2" y="0"/>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1" name="Freeform 1249"/>
                <p:cNvSpPr>
                  <a:spLocks/>
                </p:cNvSpPr>
                <p:nvPr/>
              </p:nvSpPr>
              <p:spPr bwMode="auto">
                <a:xfrm>
                  <a:off x="4424338" y="2879513"/>
                  <a:ext cx="51795" cy="51796"/>
                </a:xfrm>
                <a:custGeom>
                  <a:avLst/>
                  <a:gdLst>
                    <a:gd name="T0" fmla="*/ 2147483647 w 38"/>
                    <a:gd name="T1" fmla="*/ 2147483647 h 35"/>
                    <a:gd name="T2" fmla="*/ 2147483647 w 38"/>
                    <a:gd name="T3" fmla="*/ 2147483647 h 35"/>
                    <a:gd name="T4" fmla="*/ 2147483647 w 38"/>
                    <a:gd name="T5" fmla="*/ 2147483647 h 35"/>
                    <a:gd name="T6" fmla="*/ 2147483647 w 38"/>
                    <a:gd name="T7" fmla="*/ 2147483647 h 35"/>
                    <a:gd name="T8" fmla="*/ 2147483647 w 38"/>
                    <a:gd name="T9" fmla="*/ 2147483647 h 35"/>
                    <a:gd name="T10" fmla="*/ 2147483647 w 38"/>
                    <a:gd name="T11" fmla="*/ 2147483647 h 35"/>
                    <a:gd name="T12" fmla="*/ 2147483647 w 38"/>
                    <a:gd name="T13" fmla="*/ 2147483647 h 35"/>
                    <a:gd name="T14" fmla="*/ 2147483647 w 38"/>
                    <a:gd name="T15" fmla="*/ 2147483647 h 35"/>
                    <a:gd name="T16" fmla="*/ 2147483647 w 38"/>
                    <a:gd name="T17" fmla="*/ 2147483647 h 35"/>
                    <a:gd name="T18" fmla="*/ 0 w 38"/>
                    <a:gd name="T19" fmla="*/ 2147483647 h 35"/>
                    <a:gd name="T20" fmla="*/ 0 w 38"/>
                    <a:gd name="T21" fmla="*/ 2147483647 h 35"/>
                    <a:gd name="T22" fmla="*/ 2147483647 w 38"/>
                    <a:gd name="T23" fmla="*/ 2147483647 h 35"/>
                    <a:gd name="T24" fmla="*/ 2147483647 w 38"/>
                    <a:gd name="T25" fmla="*/ 2147483647 h 35"/>
                    <a:gd name="T26" fmla="*/ 2147483647 w 38"/>
                    <a:gd name="T27" fmla="*/ 2147483647 h 35"/>
                    <a:gd name="T28" fmla="*/ 2147483647 w 38"/>
                    <a:gd name="T29" fmla="*/ 2147483647 h 35"/>
                    <a:gd name="T30" fmla="*/ 2147483647 w 38"/>
                    <a:gd name="T31" fmla="*/ 2147483647 h 35"/>
                    <a:gd name="T32" fmla="*/ 2147483647 w 38"/>
                    <a:gd name="T33" fmla="*/ 2147483647 h 35"/>
                    <a:gd name="T34" fmla="*/ 2147483647 w 38"/>
                    <a:gd name="T35" fmla="*/ 2147483647 h 35"/>
                    <a:gd name="T36" fmla="*/ 2147483647 w 38"/>
                    <a:gd name="T37" fmla="*/ 2147483647 h 35"/>
                    <a:gd name="T38" fmla="*/ 2147483647 w 38"/>
                    <a:gd name="T39" fmla="*/ 0 h 35"/>
                    <a:gd name="T40" fmla="*/ 2147483647 w 38"/>
                    <a:gd name="T41" fmla="*/ 0 h 35"/>
                    <a:gd name="T42" fmla="*/ 2147483647 w 38"/>
                    <a:gd name="T43" fmla="*/ 2147483647 h 35"/>
                    <a:gd name="T44" fmla="*/ 2147483647 w 38"/>
                    <a:gd name="T45" fmla="*/ 2147483647 h 35"/>
                    <a:gd name="T46" fmla="*/ 2147483647 w 38"/>
                    <a:gd name="T47" fmla="*/ 2147483647 h 35"/>
                    <a:gd name="T48" fmla="*/ 2147483647 w 38"/>
                    <a:gd name="T49" fmla="*/ 2147483647 h 35"/>
                    <a:gd name="T50" fmla="*/ 2147483647 w 38"/>
                    <a:gd name="T51" fmla="*/ 2147483647 h 35"/>
                    <a:gd name="T52" fmla="*/ 2147483647 w 38"/>
                    <a:gd name="T53" fmla="*/ 2147483647 h 35"/>
                    <a:gd name="T54" fmla="*/ 2147483647 w 38"/>
                    <a:gd name="T55" fmla="*/ 0 h 35"/>
                    <a:gd name="T56" fmla="*/ 2147483647 w 38"/>
                    <a:gd name="T57" fmla="*/ 2147483647 h 35"/>
                    <a:gd name="T58" fmla="*/ 2147483647 w 38"/>
                    <a:gd name="T59" fmla="*/ 2147483647 h 35"/>
                    <a:gd name="T60" fmla="*/ 2147483647 w 38"/>
                    <a:gd name="T61" fmla="*/ 2147483647 h 35"/>
                    <a:gd name="T62" fmla="*/ 2147483647 w 38"/>
                    <a:gd name="T63" fmla="*/ 2147483647 h 35"/>
                    <a:gd name="T64" fmla="*/ 2147483647 w 38"/>
                    <a:gd name="T65" fmla="*/ 2147483647 h 35"/>
                    <a:gd name="T66" fmla="*/ 2147483647 w 38"/>
                    <a:gd name="T67" fmla="*/ 2147483647 h 35"/>
                    <a:gd name="T68" fmla="*/ 2147483647 w 38"/>
                    <a:gd name="T69" fmla="*/ 2147483647 h 35"/>
                    <a:gd name="T70" fmla="*/ 2147483647 w 38"/>
                    <a:gd name="T71" fmla="*/ 2147483647 h 35"/>
                    <a:gd name="T72" fmla="*/ 2147483647 w 38"/>
                    <a:gd name="T73" fmla="*/ 2147483647 h 35"/>
                    <a:gd name="T74" fmla="*/ 2147483647 w 38"/>
                    <a:gd name="T75" fmla="*/ 2147483647 h 35"/>
                    <a:gd name="T76" fmla="*/ 2147483647 w 38"/>
                    <a:gd name="T77" fmla="*/ 2147483647 h 35"/>
                    <a:gd name="T78" fmla="*/ 2147483647 w 38"/>
                    <a:gd name="T79" fmla="*/ 2147483647 h 35"/>
                    <a:gd name="T80" fmla="*/ 2147483647 w 38"/>
                    <a:gd name="T81" fmla="*/ 2147483647 h 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
                    <a:gd name="T124" fmla="*/ 0 h 35"/>
                    <a:gd name="T125" fmla="*/ 38 w 38"/>
                    <a:gd name="T126" fmla="*/ 35 h 3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 h="35">
                      <a:moveTo>
                        <a:pt x="29" y="35"/>
                      </a:moveTo>
                      <a:lnTo>
                        <a:pt x="28" y="34"/>
                      </a:lnTo>
                      <a:lnTo>
                        <a:pt x="26" y="34"/>
                      </a:lnTo>
                      <a:lnTo>
                        <a:pt x="24" y="34"/>
                      </a:lnTo>
                      <a:lnTo>
                        <a:pt x="23" y="33"/>
                      </a:lnTo>
                      <a:lnTo>
                        <a:pt x="20" y="31"/>
                      </a:lnTo>
                      <a:lnTo>
                        <a:pt x="15" y="27"/>
                      </a:lnTo>
                      <a:lnTo>
                        <a:pt x="12" y="26"/>
                      </a:lnTo>
                      <a:lnTo>
                        <a:pt x="3" y="27"/>
                      </a:lnTo>
                      <a:lnTo>
                        <a:pt x="0" y="26"/>
                      </a:lnTo>
                      <a:lnTo>
                        <a:pt x="0" y="25"/>
                      </a:lnTo>
                      <a:lnTo>
                        <a:pt x="1" y="21"/>
                      </a:lnTo>
                      <a:lnTo>
                        <a:pt x="8" y="14"/>
                      </a:lnTo>
                      <a:lnTo>
                        <a:pt x="9" y="12"/>
                      </a:lnTo>
                      <a:lnTo>
                        <a:pt x="8" y="10"/>
                      </a:lnTo>
                      <a:lnTo>
                        <a:pt x="6" y="6"/>
                      </a:lnTo>
                      <a:lnTo>
                        <a:pt x="6" y="4"/>
                      </a:lnTo>
                      <a:lnTo>
                        <a:pt x="8" y="2"/>
                      </a:lnTo>
                      <a:lnTo>
                        <a:pt x="10" y="1"/>
                      </a:lnTo>
                      <a:lnTo>
                        <a:pt x="12" y="0"/>
                      </a:lnTo>
                      <a:lnTo>
                        <a:pt x="13" y="0"/>
                      </a:lnTo>
                      <a:lnTo>
                        <a:pt x="15" y="2"/>
                      </a:lnTo>
                      <a:lnTo>
                        <a:pt x="17" y="4"/>
                      </a:lnTo>
                      <a:lnTo>
                        <a:pt x="18" y="4"/>
                      </a:lnTo>
                      <a:lnTo>
                        <a:pt x="19" y="4"/>
                      </a:lnTo>
                      <a:lnTo>
                        <a:pt x="22" y="2"/>
                      </a:lnTo>
                      <a:lnTo>
                        <a:pt x="23" y="1"/>
                      </a:lnTo>
                      <a:lnTo>
                        <a:pt x="26" y="0"/>
                      </a:lnTo>
                      <a:lnTo>
                        <a:pt x="27" y="1"/>
                      </a:lnTo>
                      <a:lnTo>
                        <a:pt x="29" y="2"/>
                      </a:lnTo>
                      <a:lnTo>
                        <a:pt x="32" y="4"/>
                      </a:lnTo>
                      <a:lnTo>
                        <a:pt x="32" y="8"/>
                      </a:lnTo>
                      <a:lnTo>
                        <a:pt x="33" y="10"/>
                      </a:lnTo>
                      <a:lnTo>
                        <a:pt x="37" y="16"/>
                      </a:lnTo>
                      <a:lnTo>
                        <a:pt x="38" y="20"/>
                      </a:lnTo>
                      <a:lnTo>
                        <a:pt x="38" y="22"/>
                      </a:lnTo>
                      <a:lnTo>
                        <a:pt x="38" y="26"/>
                      </a:lnTo>
                      <a:lnTo>
                        <a:pt x="36" y="28"/>
                      </a:lnTo>
                      <a:lnTo>
                        <a:pt x="33" y="31"/>
                      </a:lnTo>
                      <a:lnTo>
                        <a:pt x="29" y="33"/>
                      </a:lnTo>
                      <a:lnTo>
                        <a:pt x="29" y="35"/>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2" name="Freeform 1251"/>
                <p:cNvSpPr>
                  <a:spLocks/>
                </p:cNvSpPr>
                <p:nvPr/>
              </p:nvSpPr>
              <p:spPr bwMode="auto">
                <a:xfrm>
                  <a:off x="4422860" y="2876552"/>
                  <a:ext cx="51796" cy="53275"/>
                </a:xfrm>
                <a:custGeom>
                  <a:avLst/>
                  <a:gdLst>
                    <a:gd name="T0" fmla="*/ 2147483647 w 38"/>
                    <a:gd name="T1" fmla="*/ 2147483647 h 36"/>
                    <a:gd name="T2" fmla="*/ 2147483647 w 38"/>
                    <a:gd name="T3" fmla="*/ 2147483647 h 36"/>
                    <a:gd name="T4" fmla="*/ 2147483647 w 38"/>
                    <a:gd name="T5" fmla="*/ 2147483647 h 36"/>
                    <a:gd name="T6" fmla="*/ 2147483647 w 38"/>
                    <a:gd name="T7" fmla="*/ 2147483647 h 36"/>
                    <a:gd name="T8" fmla="*/ 2147483647 w 38"/>
                    <a:gd name="T9" fmla="*/ 2147483647 h 36"/>
                    <a:gd name="T10" fmla="*/ 2147483647 w 38"/>
                    <a:gd name="T11" fmla="*/ 2147483647 h 36"/>
                    <a:gd name="T12" fmla="*/ 2147483647 w 38"/>
                    <a:gd name="T13" fmla="*/ 2147483647 h 36"/>
                    <a:gd name="T14" fmla="*/ 2147483647 w 38"/>
                    <a:gd name="T15" fmla="*/ 2147483647 h 36"/>
                    <a:gd name="T16" fmla="*/ 2147483647 w 38"/>
                    <a:gd name="T17" fmla="*/ 2147483647 h 36"/>
                    <a:gd name="T18" fmla="*/ 2147483647 w 38"/>
                    <a:gd name="T19" fmla="*/ 2147483647 h 36"/>
                    <a:gd name="T20" fmla="*/ 2147483647 w 38"/>
                    <a:gd name="T21" fmla="*/ 2147483647 h 36"/>
                    <a:gd name="T22" fmla="*/ 2147483647 w 38"/>
                    <a:gd name="T23" fmla="*/ 2147483647 h 36"/>
                    <a:gd name="T24" fmla="*/ 2147483647 w 38"/>
                    <a:gd name="T25" fmla="*/ 2147483647 h 36"/>
                    <a:gd name="T26" fmla="*/ 0 w 38"/>
                    <a:gd name="T27" fmla="*/ 2147483647 h 36"/>
                    <a:gd name="T28" fmla="*/ 0 w 38"/>
                    <a:gd name="T29" fmla="*/ 2147483647 h 36"/>
                    <a:gd name="T30" fmla="*/ 2147483647 w 38"/>
                    <a:gd name="T31" fmla="*/ 2147483647 h 36"/>
                    <a:gd name="T32" fmla="*/ 2147483647 w 38"/>
                    <a:gd name="T33" fmla="*/ 2147483647 h 36"/>
                    <a:gd name="T34" fmla="*/ 2147483647 w 38"/>
                    <a:gd name="T35" fmla="*/ 2147483647 h 36"/>
                    <a:gd name="T36" fmla="*/ 2147483647 w 38"/>
                    <a:gd name="T37" fmla="*/ 2147483647 h 36"/>
                    <a:gd name="T38" fmla="*/ 2147483647 w 38"/>
                    <a:gd name="T39" fmla="*/ 2147483647 h 36"/>
                    <a:gd name="T40" fmla="*/ 2147483647 w 38"/>
                    <a:gd name="T41" fmla="*/ 2147483647 h 36"/>
                    <a:gd name="T42" fmla="*/ 2147483647 w 38"/>
                    <a:gd name="T43" fmla="*/ 2147483647 h 36"/>
                    <a:gd name="T44" fmla="*/ 2147483647 w 38"/>
                    <a:gd name="T45" fmla="*/ 2147483647 h 36"/>
                    <a:gd name="T46" fmla="*/ 2147483647 w 38"/>
                    <a:gd name="T47" fmla="*/ 2147483647 h 36"/>
                    <a:gd name="T48" fmla="*/ 2147483647 w 38"/>
                    <a:gd name="T49" fmla="*/ 2147483647 h 36"/>
                    <a:gd name="T50" fmla="*/ 2147483647 w 38"/>
                    <a:gd name="T51" fmla="*/ 2147483647 h 36"/>
                    <a:gd name="T52" fmla="*/ 2147483647 w 38"/>
                    <a:gd name="T53" fmla="*/ 2147483647 h 36"/>
                    <a:gd name="T54" fmla="*/ 2147483647 w 38"/>
                    <a:gd name="T55" fmla="*/ 0 h 36"/>
                    <a:gd name="T56" fmla="*/ 2147483647 w 38"/>
                    <a:gd name="T57" fmla="*/ 0 h 36"/>
                    <a:gd name="T58" fmla="*/ 2147483647 w 38"/>
                    <a:gd name="T59" fmla="*/ 2147483647 h 36"/>
                    <a:gd name="T60" fmla="*/ 2147483647 w 38"/>
                    <a:gd name="T61" fmla="*/ 2147483647 h 36"/>
                    <a:gd name="T62" fmla="*/ 2147483647 w 38"/>
                    <a:gd name="T63" fmla="*/ 2147483647 h 36"/>
                    <a:gd name="T64" fmla="*/ 2147483647 w 38"/>
                    <a:gd name="T65" fmla="*/ 2147483647 h 36"/>
                    <a:gd name="T66" fmla="*/ 2147483647 w 38"/>
                    <a:gd name="T67" fmla="*/ 2147483647 h 36"/>
                    <a:gd name="T68" fmla="*/ 2147483647 w 38"/>
                    <a:gd name="T69" fmla="*/ 2147483647 h 36"/>
                    <a:gd name="T70" fmla="*/ 2147483647 w 38"/>
                    <a:gd name="T71" fmla="*/ 2147483647 h 36"/>
                    <a:gd name="T72" fmla="*/ 2147483647 w 38"/>
                    <a:gd name="T73" fmla="*/ 0 h 36"/>
                    <a:gd name="T74" fmla="*/ 2147483647 w 38"/>
                    <a:gd name="T75" fmla="*/ 0 h 36"/>
                    <a:gd name="T76" fmla="*/ 2147483647 w 38"/>
                    <a:gd name="T77" fmla="*/ 2147483647 h 36"/>
                    <a:gd name="T78" fmla="*/ 2147483647 w 38"/>
                    <a:gd name="T79" fmla="*/ 2147483647 h 36"/>
                    <a:gd name="T80" fmla="*/ 2147483647 w 38"/>
                    <a:gd name="T81" fmla="*/ 2147483647 h 36"/>
                    <a:gd name="T82" fmla="*/ 2147483647 w 38"/>
                    <a:gd name="T83" fmla="*/ 2147483647 h 36"/>
                    <a:gd name="T84" fmla="*/ 2147483647 w 38"/>
                    <a:gd name="T85" fmla="*/ 2147483647 h 36"/>
                    <a:gd name="T86" fmla="*/ 2147483647 w 38"/>
                    <a:gd name="T87" fmla="*/ 2147483647 h 36"/>
                    <a:gd name="T88" fmla="*/ 2147483647 w 38"/>
                    <a:gd name="T89" fmla="*/ 2147483647 h 36"/>
                    <a:gd name="T90" fmla="*/ 2147483647 w 38"/>
                    <a:gd name="T91" fmla="*/ 2147483647 h 36"/>
                    <a:gd name="T92" fmla="*/ 2147483647 w 38"/>
                    <a:gd name="T93" fmla="*/ 2147483647 h 36"/>
                    <a:gd name="T94" fmla="*/ 2147483647 w 38"/>
                    <a:gd name="T95" fmla="*/ 2147483647 h 36"/>
                    <a:gd name="T96" fmla="*/ 2147483647 w 38"/>
                    <a:gd name="T97" fmla="*/ 2147483647 h 36"/>
                    <a:gd name="T98" fmla="*/ 2147483647 w 38"/>
                    <a:gd name="T99" fmla="*/ 2147483647 h 36"/>
                    <a:gd name="T100" fmla="*/ 2147483647 w 38"/>
                    <a:gd name="T101" fmla="*/ 2147483647 h 36"/>
                    <a:gd name="T102" fmla="*/ 2147483647 w 38"/>
                    <a:gd name="T103" fmla="*/ 2147483647 h 36"/>
                    <a:gd name="T104" fmla="*/ 2147483647 w 38"/>
                    <a:gd name="T105" fmla="*/ 2147483647 h 36"/>
                    <a:gd name="T106" fmla="*/ 2147483647 w 38"/>
                    <a:gd name="T107" fmla="*/ 2147483647 h 36"/>
                    <a:gd name="T108" fmla="*/ 2147483647 w 38"/>
                    <a:gd name="T109" fmla="*/ 2147483647 h 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
                    <a:gd name="T166" fmla="*/ 0 h 36"/>
                    <a:gd name="T167" fmla="*/ 38 w 38"/>
                    <a:gd name="T168" fmla="*/ 36 h 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 h="36">
                      <a:moveTo>
                        <a:pt x="29" y="36"/>
                      </a:moveTo>
                      <a:lnTo>
                        <a:pt x="29" y="36"/>
                      </a:lnTo>
                      <a:lnTo>
                        <a:pt x="28" y="35"/>
                      </a:lnTo>
                      <a:lnTo>
                        <a:pt x="25" y="35"/>
                      </a:lnTo>
                      <a:lnTo>
                        <a:pt x="24" y="35"/>
                      </a:lnTo>
                      <a:lnTo>
                        <a:pt x="23" y="34"/>
                      </a:lnTo>
                      <a:lnTo>
                        <a:pt x="20" y="31"/>
                      </a:lnTo>
                      <a:lnTo>
                        <a:pt x="15" y="28"/>
                      </a:lnTo>
                      <a:lnTo>
                        <a:pt x="11" y="27"/>
                      </a:lnTo>
                      <a:lnTo>
                        <a:pt x="2" y="28"/>
                      </a:lnTo>
                      <a:lnTo>
                        <a:pt x="0" y="27"/>
                      </a:lnTo>
                      <a:lnTo>
                        <a:pt x="0" y="25"/>
                      </a:lnTo>
                      <a:lnTo>
                        <a:pt x="1" y="22"/>
                      </a:lnTo>
                      <a:lnTo>
                        <a:pt x="7" y="15"/>
                      </a:lnTo>
                      <a:lnTo>
                        <a:pt x="9" y="12"/>
                      </a:lnTo>
                      <a:lnTo>
                        <a:pt x="7" y="11"/>
                      </a:lnTo>
                      <a:lnTo>
                        <a:pt x="6" y="6"/>
                      </a:lnTo>
                      <a:lnTo>
                        <a:pt x="6" y="5"/>
                      </a:lnTo>
                      <a:lnTo>
                        <a:pt x="7" y="3"/>
                      </a:lnTo>
                      <a:lnTo>
                        <a:pt x="10" y="2"/>
                      </a:lnTo>
                      <a:lnTo>
                        <a:pt x="11" y="0"/>
                      </a:lnTo>
                      <a:lnTo>
                        <a:pt x="13" y="0"/>
                      </a:lnTo>
                      <a:lnTo>
                        <a:pt x="15" y="3"/>
                      </a:lnTo>
                      <a:lnTo>
                        <a:pt x="16" y="5"/>
                      </a:lnTo>
                      <a:lnTo>
                        <a:pt x="18" y="5"/>
                      </a:lnTo>
                      <a:lnTo>
                        <a:pt x="19" y="5"/>
                      </a:lnTo>
                      <a:lnTo>
                        <a:pt x="21" y="3"/>
                      </a:lnTo>
                      <a:lnTo>
                        <a:pt x="23" y="2"/>
                      </a:lnTo>
                      <a:lnTo>
                        <a:pt x="25" y="0"/>
                      </a:lnTo>
                      <a:lnTo>
                        <a:pt x="27" y="2"/>
                      </a:lnTo>
                      <a:lnTo>
                        <a:pt x="29" y="3"/>
                      </a:lnTo>
                      <a:lnTo>
                        <a:pt x="32" y="5"/>
                      </a:lnTo>
                      <a:lnTo>
                        <a:pt x="32" y="9"/>
                      </a:lnTo>
                      <a:lnTo>
                        <a:pt x="33" y="11"/>
                      </a:lnTo>
                      <a:lnTo>
                        <a:pt x="37" y="17"/>
                      </a:lnTo>
                      <a:lnTo>
                        <a:pt x="38" y="21"/>
                      </a:lnTo>
                      <a:lnTo>
                        <a:pt x="38" y="23"/>
                      </a:lnTo>
                      <a:lnTo>
                        <a:pt x="38" y="27"/>
                      </a:lnTo>
                      <a:lnTo>
                        <a:pt x="35" y="29"/>
                      </a:lnTo>
                      <a:lnTo>
                        <a:pt x="33" y="31"/>
                      </a:lnTo>
                      <a:lnTo>
                        <a:pt x="29" y="34"/>
                      </a:lnTo>
                      <a:lnTo>
                        <a:pt x="29" y="36"/>
                      </a:lnTo>
                      <a:close/>
                    </a:path>
                  </a:pathLst>
                </a:custGeom>
                <a:grpFill/>
                <a:ln w="4763">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3" name="Freeform 1314"/>
                <p:cNvSpPr>
                  <a:spLocks/>
                </p:cNvSpPr>
                <p:nvPr/>
              </p:nvSpPr>
              <p:spPr bwMode="auto">
                <a:xfrm>
                  <a:off x="5035524" y="3212487"/>
                  <a:ext cx="121350" cy="131708"/>
                </a:xfrm>
                <a:custGeom>
                  <a:avLst/>
                  <a:gdLst>
                    <a:gd name="T0" fmla="*/ 2147483647 w 89"/>
                    <a:gd name="T1" fmla="*/ 2147483647 h 89"/>
                    <a:gd name="T2" fmla="*/ 2147483647 w 89"/>
                    <a:gd name="T3" fmla="*/ 2147483647 h 89"/>
                    <a:gd name="T4" fmla="*/ 2147483647 w 89"/>
                    <a:gd name="T5" fmla="*/ 2147483647 h 89"/>
                    <a:gd name="T6" fmla="*/ 2147483647 w 89"/>
                    <a:gd name="T7" fmla="*/ 2147483647 h 89"/>
                    <a:gd name="T8" fmla="*/ 2147483647 w 89"/>
                    <a:gd name="T9" fmla="*/ 2147483647 h 89"/>
                    <a:gd name="T10" fmla="*/ 2147483647 w 89"/>
                    <a:gd name="T11" fmla="*/ 2147483647 h 89"/>
                    <a:gd name="T12" fmla="*/ 2147483647 w 89"/>
                    <a:gd name="T13" fmla="*/ 2147483647 h 89"/>
                    <a:gd name="T14" fmla="*/ 2147483647 w 89"/>
                    <a:gd name="T15" fmla="*/ 2147483647 h 89"/>
                    <a:gd name="T16" fmla="*/ 2147483647 w 89"/>
                    <a:gd name="T17" fmla="*/ 2147483647 h 89"/>
                    <a:gd name="T18" fmla="*/ 2147483647 w 89"/>
                    <a:gd name="T19" fmla="*/ 2147483647 h 89"/>
                    <a:gd name="T20" fmla="*/ 2147483647 w 89"/>
                    <a:gd name="T21" fmla="*/ 2147483647 h 89"/>
                    <a:gd name="T22" fmla="*/ 2147483647 w 89"/>
                    <a:gd name="T23" fmla="*/ 2147483647 h 89"/>
                    <a:gd name="T24" fmla="*/ 2147483647 w 89"/>
                    <a:gd name="T25" fmla="*/ 2147483647 h 89"/>
                    <a:gd name="T26" fmla="*/ 2147483647 w 89"/>
                    <a:gd name="T27" fmla="*/ 2147483647 h 89"/>
                    <a:gd name="T28" fmla="*/ 2147483647 w 89"/>
                    <a:gd name="T29" fmla="*/ 2147483647 h 89"/>
                    <a:gd name="T30" fmla="*/ 2147483647 w 89"/>
                    <a:gd name="T31" fmla="*/ 2147483647 h 89"/>
                    <a:gd name="T32" fmla="*/ 2147483647 w 89"/>
                    <a:gd name="T33" fmla="*/ 2147483647 h 89"/>
                    <a:gd name="T34" fmla="*/ 2147483647 w 89"/>
                    <a:gd name="T35" fmla="*/ 2147483647 h 89"/>
                    <a:gd name="T36" fmla="*/ 2147483647 w 89"/>
                    <a:gd name="T37" fmla="*/ 2147483647 h 89"/>
                    <a:gd name="T38" fmla="*/ 2147483647 w 89"/>
                    <a:gd name="T39" fmla="*/ 2147483647 h 89"/>
                    <a:gd name="T40" fmla="*/ 2147483647 w 89"/>
                    <a:gd name="T41" fmla="*/ 2147483647 h 89"/>
                    <a:gd name="T42" fmla="*/ 2147483647 w 89"/>
                    <a:gd name="T43" fmla="*/ 2147483647 h 89"/>
                    <a:gd name="T44" fmla="*/ 2147483647 w 89"/>
                    <a:gd name="T45" fmla="*/ 2147483647 h 89"/>
                    <a:gd name="T46" fmla="*/ 2147483647 w 89"/>
                    <a:gd name="T47" fmla="*/ 2147483647 h 89"/>
                    <a:gd name="T48" fmla="*/ 2147483647 w 89"/>
                    <a:gd name="T49" fmla="*/ 2147483647 h 89"/>
                    <a:gd name="T50" fmla="*/ 2147483647 w 89"/>
                    <a:gd name="T51" fmla="*/ 2147483647 h 89"/>
                    <a:gd name="T52" fmla="*/ 2147483647 w 89"/>
                    <a:gd name="T53" fmla="*/ 2147483647 h 89"/>
                    <a:gd name="T54" fmla="*/ 2147483647 w 89"/>
                    <a:gd name="T55" fmla="*/ 2147483647 h 89"/>
                    <a:gd name="T56" fmla="*/ 2147483647 w 89"/>
                    <a:gd name="T57" fmla="*/ 2147483647 h 89"/>
                    <a:gd name="T58" fmla="*/ 2147483647 w 89"/>
                    <a:gd name="T59" fmla="*/ 2147483647 h 89"/>
                    <a:gd name="T60" fmla="*/ 2147483647 w 89"/>
                    <a:gd name="T61" fmla="*/ 2147483647 h 89"/>
                    <a:gd name="T62" fmla="*/ 2147483647 w 89"/>
                    <a:gd name="T63" fmla="*/ 2147483647 h 89"/>
                    <a:gd name="T64" fmla="*/ 2147483647 w 89"/>
                    <a:gd name="T65" fmla="*/ 2147483647 h 89"/>
                    <a:gd name="T66" fmla="*/ 2147483647 w 89"/>
                    <a:gd name="T67" fmla="*/ 2147483647 h 89"/>
                    <a:gd name="T68" fmla="*/ 2147483647 w 89"/>
                    <a:gd name="T69" fmla="*/ 2147483647 h 89"/>
                    <a:gd name="T70" fmla="*/ 2147483647 w 89"/>
                    <a:gd name="T71" fmla="*/ 2147483647 h 89"/>
                    <a:gd name="T72" fmla="*/ 2147483647 w 89"/>
                    <a:gd name="T73" fmla="*/ 0 h 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89"/>
                    <a:gd name="T113" fmla="*/ 89 w 89"/>
                    <a:gd name="T114" fmla="*/ 89 h 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89">
                      <a:moveTo>
                        <a:pt x="49" y="0"/>
                      </a:moveTo>
                      <a:lnTo>
                        <a:pt x="45" y="1"/>
                      </a:lnTo>
                      <a:lnTo>
                        <a:pt x="32" y="5"/>
                      </a:lnTo>
                      <a:lnTo>
                        <a:pt x="25" y="7"/>
                      </a:lnTo>
                      <a:lnTo>
                        <a:pt x="18" y="8"/>
                      </a:lnTo>
                      <a:lnTo>
                        <a:pt x="12" y="8"/>
                      </a:lnTo>
                      <a:lnTo>
                        <a:pt x="8" y="8"/>
                      </a:lnTo>
                      <a:lnTo>
                        <a:pt x="2" y="6"/>
                      </a:lnTo>
                      <a:lnTo>
                        <a:pt x="0" y="6"/>
                      </a:lnTo>
                      <a:lnTo>
                        <a:pt x="2" y="6"/>
                      </a:lnTo>
                      <a:lnTo>
                        <a:pt x="2" y="8"/>
                      </a:lnTo>
                      <a:lnTo>
                        <a:pt x="3" y="15"/>
                      </a:lnTo>
                      <a:lnTo>
                        <a:pt x="5" y="24"/>
                      </a:lnTo>
                      <a:lnTo>
                        <a:pt x="8" y="27"/>
                      </a:lnTo>
                      <a:lnTo>
                        <a:pt x="12" y="30"/>
                      </a:lnTo>
                      <a:lnTo>
                        <a:pt x="14" y="32"/>
                      </a:lnTo>
                      <a:lnTo>
                        <a:pt x="16" y="34"/>
                      </a:lnTo>
                      <a:lnTo>
                        <a:pt x="14" y="36"/>
                      </a:lnTo>
                      <a:lnTo>
                        <a:pt x="13" y="37"/>
                      </a:lnTo>
                      <a:lnTo>
                        <a:pt x="11" y="39"/>
                      </a:lnTo>
                      <a:lnTo>
                        <a:pt x="8" y="39"/>
                      </a:lnTo>
                      <a:lnTo>
                        <a:pt x="8" y="40"/>
                      </a:lnTo>
                      <a:lnTo>
                        <a:pt x="8" y="41"/>
                      </a:lnTo>
                      <a:lnTo>
                        <a:pt x="9" y="45"/>
                      </a:lnTo>
                      <a:lnTo>
                        <a:pt x="13" y="49"/>
                      </a:lnTo>
                      <a:lnTo>
                        <a:pt x="16" y="51"/>
                      </a:lnTo>
                      <a:lnTo>
                        <a:pt x="17" y="56"/>
                      </a:lnTo>
                      <a:lnTo>
                        <a:pt x="19" y="59"/>
                      </a:lnTo>
                      <a:lnTo>
                        <a:pt x="22" y="60"/>
                      </a:lnTo>
                      <a:lnTo>
                        <a:pt x="26" y="62"/>
                      </a:lnTo>
                      <a:lnTo>
                        <a:pt x="30" y="62"/>
                      </a:lnTo>
                      <a:lnTo>
                        <a:pt x="31" y="63"/>
                      </a:lnTo>
                      <a:lnTo>
                        <a:pt x="31" y="64"/>
                      </a:lnTo>
                      <a:lnTo>
                        <a:pt x="31" y="66"/>
                      </a:lnTo>
                      <a:lnTo>
                        <a:pt x="30" y="68"/>
                      </a:lnTo>
                      <a:lnTo>
                        <a:pt x="28" y="69"/>
                      </a:lnTo>
                      <a:lnTo>
                        <a:pt x="36" y="75"/>
                      </a:lnTo>
                      <a:lnTo>
                        <a:pt x="40" y="78"/>
                      </a:lnTo>
                      <a:lnTo>
                        <a:pt x="40" y="81"/>
                      </a:lnTo>
                      <a:lnTo>
                        <a:pt x="40" y="84"/>
                      </a:lnTo>
                      <a:lnTo>
                        <a:pt x="41" y="85"/>
                      </a:lnTo>
                      <a:lnTo>
                        <a:pt x="44" y="86"/>
                      </a:lnTo>
                      <a:lnTo>
                        <a:pt x="49" y="89"/>
                      </a:lnTo>
                      <a:lnTo>
                        <a:pt x="50" y="88"/>
                      </a:lnTo>
                      <a:lnTo>
                        <a:pt x="52" y="86"/>
                      </a:lnTo>
                      <a:lnTo>
                        <a:pt x="59" y="79"/>
                      </a:lnTo>
                      <a:lnTo>
                        <a:pt x="64" y="77"/>
                      </a:lnTo>
                      <a:lnTo>
                        <a:pt x="69" y="75"/>
                      </a:lnTo>
                      <a:lnTo>
                        <a:pt x="74" y="72"/>
                      </a:lnTo>
                      <a:lnTo>
                        <a:pt x="82" y="73"/>
                      </a:lnTo>
                      <a:lnTo>
                        <a:pt x="85" y="73"/>
                      </a:lnTo>
                      <a:lnTo>
                        <a:pt x="87" y="72"/>
                      </a:lnTo>
                      <a:lnTo>
                        <a:pt x="87" y="71"/>
                      </a:lnTo>
                      <a:lnTo>
                        <a:pt x="85" y="69"/>
                      </a:lnTo>
                      <a:lnTo>
                        <a:pt x="82" y="63"/>
                      </a:lnTo>
                      <a:lnTo>
                        <a:pt x="79" y="59"/>
                      </a:lnTo>
                      <a:lnTo>
                        <a:pt x="79" y="57"/>
                      </a:lnTo>
                      <a:lnTo>
                        <a:pt x="79" y="54"/>
                      </a:lnTo>
                      <a:lnTo>
                        <a:pt x="80" y="52"/>
                      </a:lnTo>
                      <a:lnTo>
                        <a:pt x="84" y="47"/>
                      </a:lnTo>
                      <a:lnTo>
                        <a:pt x="88" y="44"/>
                      </a:lnTo>
                      <a:lnTo>
                        <a:pt x="89" y="40"/>
                      </a:lnTo>
                      <a:lnTo>
                        <a:pt x="87" y="36"/>
                      </a:lnTo>
                      <a:lnTo>
                        <a:pt x="84" y="33"/>
                      </a:lnTo>
                      <a:lnTo>
                        <a:pt x="75" y="31"/>
                      </a:lnTo>
                      <a:lnTo>
                        <a:pt x="73" y="30"/>
                      </a:lnTo>
                      <a:lnTo>
                        <a:pt x="71" y="27"/>
                      </a:lnTo>
                      <a:lnTo>
                        <a:pt x="69" y="22"/>
                      </a:lnTo>
                      <a:lnTo>
                        <a:pt x="65" y="20"/>
                      </a:lnTo>
                      <a:lnTo>
                        <a:pt x="63" y="18"/>
                      </a:lnTo>
                      <a:lnTo>
                        <a:pt x="61" y="17"/>
                      </a:lnTo>
                      <a:lnTo>
                        <a:pt x="58" y="11"/>
                      </a:lnTo>
                      <a:lnTo>
                        <a:pt x="54" y="5"/>
                      </a:lnTo>
                      <a:lnTo>
                        <a:pt x="49" y="0"/>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sp>
              <p:nvSpPr>
                <p:cNvPr id="6114" name="Freeform 1322"/>
                <p:cNvSpPr>
                  <a:spLocks/>
                </p:cNvSpPr>
                <p:nvPr/>
              </p:nvSpPr>
              <p:spPr bwMode="auto">
                <a:xfrm>
                  <a:off x="4857940" y="2907633"/>
                  <a:ext cx="100631" cy="155386"/>
                </a:xfrm>
                <a:custGeom>
                  <a:avLst/>
                  <a:gdLst>
                    <a:gd name="T0" fmla="*/ 2147483647 w 73"/>
                    <a:gd name="T1" fmla="*/ 2147483647 h 105"/>
                    <a:gd name="T2" fmla="*/ 2147483647 w 73"/>
                    <a:gd name="T3" fmla="*/ 2147483647 h 105"/>
                    <a:gd name="T4" fmla="*/ 2147483647 w 73"/>
                    <a:gd name="T5" fmla="*/ 2147483647 h 105"/>
                    <a:gd name="T6" fmla="*/ 2147483647 w 73"/>
                    <a:gd name="T7" fmla="*/ 2147483647 h 105"/>
                    <a:gd name="T8" fmla="*/ 2147483647 w 73"/>
                    <a:gd name="T9" fmla="*/ 2147483647 h 105"/>
                    <a:gd name="T10" fmla="*/ 2147483647 w 73"/>
                    <a:gd name="T11" fmla="*/ 2147483647 h 105"/>
                    <a:gd name="T12" fmla="*/ 2147483647 w 73"/>
                    <a:gd name="T13" fmla="*/ 2147483647 h 105"/>
                    <a:gd name="T14" fmla="*/ 2147483647 w 73"/>
                    <a:gd name="T15" fmla="*/ 2147483647 h 105"/>
                    <a:gd name="T16" fmla="*/ 2147483647 w 73"/>
                    <a:gd name="T17" fmla="*/ 2147483647 h 105"/>
                    <a:gd name="T18" fmla="*/ 2147483647 w 73"/>
                    <a:gd name="T19" fmla="*/ 2147483647 h 105"/>
                    <a:gd name="T20" fmla="*/ 2147483647 w 73"/>
                    <a:gd name="T21" fmla="*/ 2147483647 h 105"/>
                    <a:gd name="T22" fmla="*/ 2147483647 w 73"/>
                    <a:gd name="T23" fmla="*/ 2147483647 h 105"/>
                    <a:gd name="T24" fmla="*/ 2147483647 w 73"/>
                    <a:gd name="T25" fmla="*/ 2147483647 h 105"/>
                    <a:gd name="T26" fmla="*/ 2147483647 w 73"/>
                    <a:gd name="T27" fmla="*/ 2147483647 h 105"/>
                    <a:gd name="T28" fmla="*/ 2147483647 w 73"/>
                    <a:gd name="T29" fmla="*/ 2147483647 h 105"/>
                    <a:gd name="T30" fmla="*/ 2147483647 w 73"/>
                    <a:gd name="T31" fmla="*/ 2147483647 h 105"/>
                    <a:gd name="T32" fmla="*/ 2147483647 w 73"/>
                    <a:gd name="T33" fmla="*/ 2147483647 h 105"/>
                    <a:gd name="T34" fmla="*/ 2147483647 w 73"/>
                    <a:gd name="T35" fmla="*/ 2147483647 h 105"/>
                    <a:gd name="T36" fmla="*/ 2147483647 w 73"/>
                    <a:gd name="T37" fmla="*/ 2147483647 h 105"/>
                    <a:gd name="T38" fmla="*/ 0 w 73"/>
                    <a:gd name="T39" fmla="*/ 2147483647 h 105"/>
                    <a:gd name="T40" fmla="*/ 2147483647 w 73"/>
                    <a:gd name="T41" fmla="*/ 2147483647 h 105"/>
                    <a:gd name="T42" fmla="*/ 2147483647 w 73"/>
                    <a:gd name="T43" fmla="*/ 2147483647 h 105"/>
                    <a:gd name="T44" fmla="*/ 2147483647 w 73"/>
                    <a:gd name="T45" fmla="*/ 2147483647 h 105"/>
                    <a:gd name="T46" fmla="*/ 2147483647 w 73"/>
                    <a:gd name="T47" fmla="*/ 2147483647 h 105"/>
                    <a:gd name="T48" fmla="*/ 2147483647 w 73"/>
                    <a:gd name="T49" fmla="*/ 2147483647 h 105"/>
                    <a:gd name="T50" fmla="*/ 2147483647 w 73"/>
                    <a:gd name="T51" fmla="*/ 2147483647 h 105"/>
                    <a:gd name="T52" fmla="*/ 2147483647 w 73"/>
                    <a:gd name="T53" fmla="*/ 2147483647 h 105"/>
                    <a:gd name="T54" fmla="*/ 2147483647 w 73"/>
                    <a:gd name="T55" fmla="*/ 2147483647 h 105"/>
                    <a:gd name="T56" fmla="*/ 2147483647 w 73"/>
                    <a:gd name="T57" fmla="*/ 2147483647 h 105"/>
                    <a:gd name="T58" fmla="*/ 2147483647 w 73"/>
                    <a:gd name="T59" fmla="*/ 0 h 105"/>
                    <a:gd name="T60" fmla="*/ 2147483647 w 73"/>
                    <a:gd name="T61" fmla="*/ 2147483647 h 105"/>
                    <a:gd name="T62" fmla="*/ 2147483647 w 73"/>
                    <a:gd name="T63" fmla="*/ 2147483647 h 105"/>
                    <a:gd name="T64" fmla="*/ 2147483647 w 73"/>
                    <a:gd name="T65" fmla="*/ 2147483647 h 105"/>
                    <a:gd name="T66" fmla="*/ 2147483647 w 73"/>
                    <a:gd name="T67" fmla="*/ 2147483647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3"/>
                    <a:gd name="T103" fmla="*/ 0 h 105"/>
                    <a:gd name="T104" fmla="*/ 73 w 73"/>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3" h="105">
                      <a:moveTo>
                        <a:pt x="63" y="14"/>
                      </a:moveTo>
                      <a:lnTo>
                        <a:pt x="62" y="19"/>
                      </a:lnTo>
                      <a:lnTo>
                        <a:pt x="61" y="23"/>
                      </a:lnTo>
                      <a:lnTo>
                        <a:pt x="61" y="28"/>
                      </a:lnTo>
                      <a:lnTo>
                        <a:pt x="59" y="32"/>
                      </a:lnTo>
                      <a:lnTo>
                        <a:pt x="58" y="36"/>
                      </a:lnTo>
                      <a:lnTo>
                        <a:pt x="59" y="40"/>
                      </a:lnTo>
                      <a:lnTo>
                        <a:pt x="61" y="45"/>
                      </a:lnTo>
                      <a:lnTo>
                        <a:pt x="63" y="48"/>
                      </a:lnTo>
                      <a:lnTo>
                        <a:pt x="63" y="52"/>
                      </a:lnTo>
                      <a:lnTo>
                        <a:pt x="62" y="54"/>
                      </a:lnTo>
                      <a:lnTo>
                        <a:pt x="62" y="58"/>
                      </a:lnTo>
                      <a:lnTo>
                        <a:pt x="62" y="60"/>
                      </a:lnTo>
                      <a:lnTo>
                        <a:pt x="62" y="62"/>
                      </a:lnTo>
                      <a:lnTo>
                        <a:pt x="63" y="65"/>
                      </a:lnTo>
                      <a:lnTo>
                        <a:pt x="69" y="68"/>
                      </a:lnTo>
                      <a:lnTo>
                        <a:pt x="72" y="73"/>
                      </a:lnTo>
                      <a:lnTo>
                        <a:pt x="73" y="78"/>
                      </a:lnTo>
                      <a:lnTo>
                        <a:pt x="71" y="84"/>
                      </a:lnTo>
                      <a:lnTo>
                        <a:pt x="64" y="87"/>
                      </a:lnTo>
                      <a:lnTo>
                        <a:pt x="58" y="92"/>
                      </a:lnTo>
                      <a:lnTo>
                        <a:pt x="55" y="94"/>
                      </a:lnTo>
                      <a:lnTo>
                        <a:pt x="52" y="94"/>
                      </a:lnTo>
                      <a:lnTo>
                        <a:pt x="49" y="96"/>
                      </a:lnTo>
                      <a:lnTo>
                        <a:pt x="45" y="97"/>
                      </a:lnTo>
                      <a:lnTo>
                        <a:pt x="41" y="100"/>
                      </a:lnTo>
                      <a:lnTo>
                        <a:pt x="40" y="102"/>
                      </a:lnTo>
                      <a:lnTo>
                        <a:pt x="39" y="102"/>
                      </a:lnTo>
                      <a:lnTo>
                        <a:pt x="30" y="100"/>
                      </a:lnTo>
                      <a:lnTo>
                        <a:pt x="25" y="102"/>
                      </a:lnTo>
                      <a:lnTo>
                        <a:pt x="22" y="103"/>
                      </a:lnTo>
                      <a:lnTo>
                        <a:pt x="21" y="105"/>
                      </a:lnTo>
                      <a:lnTo>
                        <a:pt x="19" y="102"/>
                      </a:lnTo>
                      <a:lnTo>
                        <a:pt x="16" y="99"/>
                      </a:lnTo>
                      <a:lnTo>
                        <a:pt x="12" y="99"/>
                      </a:lnTo>
                      <a:lnTo>
                        <a:pt x="7" y="99"/>
                      </a:lnTo>
                      <a:lnTo>
                        <a:pt x="5" y="99"/>
                      </a:lnTo>
                      <a:lnTo>
                        <a:pt x="3" y="98"/>
                      </a:lnTo>
                      <a:lnTo>
                        <a:pt x="1" y="94"/>
                      </a:lnTo>
                      <a:lnTo>
                        <a:pt x="0" y="90"/>
                      </a:lnTo>
                      <a:lnTo>
                        <a:pt x="0" y="86"/>
                      </a:lnTo>
                      <a:lnTo>
                        <a:pt x="3" y="67"/>
                      </a:lnTo>
                      <a:lnTo>
                        <a:pt x="7" y="47"/>
                      </a:lnTo>
                      <a:lnTo>
                        <a:pt x="7" y="38"/>
                      </a:lnTo>
                      <a:lnTo>
                        <a:pt x="7" y="28"/>
                      </a:lnTo>
                      <a:lnTo>
                        <a:pt x="5" y="19"/>
                      </a:lnTo>
                      <a:lnTo>
                        <a:pt x="2" y="9"/>
                      </a:lnTo>
                      <a:lnTo>
                        <a:pt x="6" y="8"/>
                      </a:lnTo>
                      <a:lnTo>
                        <a:pt x="11" y="7"/>
                      </a:lnTo>
                      <a:lnTo>
                        <a:pt x="14" y="6"/>
                      </a:lnTo>
                      <a:lnTo>
                        <a:pt x="16" y="7"/>
                      </a:lnTo>
                      <a:lnTo>
                        <a:pt x="22" y="9"/>
                      </a:lnTo>
                      <a:lnTo>
                        <a:pt x="25" y="10"/>
                      </a:lnTo>
                      <a:lnTo>
                        <a:pt x="26" y="10"/>
                      </a:lnTo>
                      <a:lnTo>
                        <a:pt x="28" y="10"/>
                      </a:lnTo>
                      <a:lnTo>
                        <a:pt x="30" y="9"/>
                      </a:lnTo>
                      <a:lnTo>
                        <a:pt x="36" y="4"/>
                      </a:lnTo>
                      <a:lnTo>
                        <a:pt x="43" y="1"/>
                      </a:lnTo>
                      <a:lnTo>
                        <a:pt x="45" y="0"/>
                      </a:lnTo>
                      <a:lnTo>
                        <a:pt x="49" y="0"/>
                      </a:lnTo>
                      <a:lnTo>
                        <a:pt x="53" y="1"/>
                      </a:lnTo>
                      <a:lnTo>
                        <a:pt x="55" y="3"/>
                      </a:lnTo>
                      <a:lnTo>
                        <a:pt x="57" y="6"/>
                      </a:lnTo>
                      <a:lnTo>
                        <a:pt x="55" y="7"/>
                      </a:lnTo>
                      <a:lnTo>
                        <a:pt x="50" y="10"/>
                      </a:lnTo>
                      <a:lnTo>
                        <a:pt x="49" y="10"/>
                      </a:lnTo>
                      <a:lnTo>
                        <a:pt x="50" y="12"/>
                      </a:lnTo>
                      <a:lnTo>
                        <a:pt x="52" y="13"/>
                      </a:lnTo>
                      <a:lnTo>
                        <a:pt x="63" y="14"/>
                      </a:lnTo>
                      <a:close/>
                    </a:path>
                  </a:pathLst>
                </a:custGeom>
                <a:grpFill/>
                <a:ln w="9525">
                  <a:noFill/>
                  <a:round/>
                  <a:headEnd/>
                  <a:tailEnd/>
                </a:ln>
              </p:spPr>
              <p:txBody>
                <a:bodyPr lIns="0" tIns="0" rIns="0" bIns="0"/>
                <a:lstStyle/>
                <a:p>
                  <a:pPr defTabSz="455892" fontAlgn="base">
                    <a:spcBef>
                      <a:spcPct val="0"/>
                    </a:spcBef>
                    <a:spcAft>
                      <a:spcPct val="0"/>
                    </a:spcAft>
                  </a:pPr>
                  <a:endParaRPr lang="en-GB" sz="2800">
                    <a:solidFill>
                      <a:prstClr val="black"/>
                    </a:solidFill>
                  </a:endParaRPr>
                </a:p>
              </p:txBody>
            </p:sp>
          </p:grpSp>
        </p:grpSp>
      </p:grpSp>
    </p:spTree>
    <p:extLst>
      <p:ext uri="{BB962C8B-B14F-4D97-AF65-F5344CB8AC3E}">
        <p14:creationId xmlns:p14="http://schemas.microsoft.com/office/powerpoint/2010/main" val="262906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Operation Map">
    <p:spTree>
      <p:nvGrpSpPr>
        <p:cNvPr id="1" name=""/>
        <p:cNvGrpSpPr/>
        <p:nvPr/>
      </p:nvGrpSpPr>
      <p:grpSpPr>
        <a:xfrm>
          <a:off x="0" y="0"/>
          <a:ext cx="0" cy="0"/>
          <a:chOff x="0" y="0"/>
          <a:chExt cx="0" cy="0"/>
        </a:xfrm>
      </p:grpSpPr>
      <p:grpSp>
        <p:nvGrpSpPr>
          <p:cNvPr id="1440" name="Group 635"/>
          <p:cNvGrpSpPr>
            <a:grpSpLocks noChangeAspect="1"/>
          </p:cNvGrpSpPr>
          <p:nvPr userDrawn="1"/>
        </p:nvGrpSpPr>
        <p:grpSpPr bwMode="auto">
          <a:xfrm>
            <a:off x="1390464" y="1695340"/>
            <a:ext cx="9001311" cy="4445232"/>
            <a:chOff x="506" y="-3160"/>
            <a:chExt cx="6334" cy="3128"/>
          </a:xfrm>
          <a:solidFill>
            <a:srgbClr val="B9B9B9"/>
          </a:solidFill>
        </p:grpSpPr>
        <p:grpSp>
          <p:nvGrpSpPr>
            <p:cNvPr id="1441" name="Group 836"/>
            <p:cNvGrpSpPr>
              <a:grpSpLocks/>
            </p:cNvGrpSpPr>
            <p:nvPr userDrawn="1"/>
          </p:nvGrpSpPr>
          <p:grpSpPr bwMode="auto">
            <a:xfrm>
              <a:off x="1885" y="-2653"/>
              <a:ext cx="3950" cy="2154"/>
              <a:chOff x="1885" y="-2653"/>
              <a:chExt cx="3950" cy="2154"/>
            </a:xfrm>
            <a:grpFill/>
          </p:grpSpPr>
          <p:sp>
            <p:nvSpPr>
              <p:cNvPr id="1630" name="Freeform 636"/>
              <p:cNvSpPr>
                <a:spLocks/>
              </p:cNvSpPr>
              <p:nvPr userDrawn="1"/>
            </p:nvSpPr>
            <p:spPr bwMode="auto">
              <a:xfrm>
                <a:off x="4778" y="-2190"/>
                <a:ext cx="1057" cy="688"/>
              </a:xfrm>
              <a:custGeom>
                <a:avLst/>
                <a:gdLst>
                  <a:gd name="T0" fmla="*/ 642 w 678"/>
                  <a:gd name="T1" fmla="*/ 87 h 441"/>
                  <a:gd name="T2" fmla="*/ 609 w 678"/>
                  <a:gd name="T3" fmla="*/ 63 h 441"/>
                  <a:gd name="T4" fmla="*/ 582 w 678"/>
                  <a:gd name="T5" fmla="*/ 24 h 441"/>
                  <a:gd name="T6" fmla="*/ 543 w 678"/>
                  <a:gd name="T7" fmla="*/ 0 h 441"/>
                  <a:gd name="T8" fmla="*/ 516 w 678"/>
                  <a:gd name="T9" fmla="*/ 21 h 441"/>
                  <a:gd name="T10" fmla="*/ 495 w 678"/>
                  <a:gd name="T11" fmla="*/ 54 h 441"/>
                  <a:gd name="T12" fmla="*/ 462 w 678"/>
                  <a:gd name="T13" fmla="*/ 72 h 441"/>
                  <a:gd name="T14" fmla="*/ 483 w 678"/>
                  <a:gd name="T15" fmla="*/ 84 h 441"/>
                  <a:gd name="T16" fmla="*/ 480 w 678"/>
                  <a:gd name="T17" fmla="*/ 105 h 441"/>
                  <a:gd name="T18" fmla="*/ 423 w 678"/>
                  <a:gd name="T19" fmla="*/ 126 h 441"/>
                  <a:gd name="T20" fmla="*/ 381 w 678"/>
                  <a:gd name="T21" fmla="*/ 162 h 441"/>
                  <a:gd name="T22" fmla="*/ 315 w 678"/>
                  <a:gd name="T23" fmla="*/ 165 h 441"/>
                  <a:gd name="T24" fmla="*/ 240 w 678"/>
                  <a:gd name="T25" fmla="*/ 156 h 441"/>
                  <a:gd name="T26" fmla="*/ 210 w 678"/>
                  <a:gd name="T27" fmla="*/ 123 h 441"/>
                  <a:gd name="T28" fmla="*/ 183 w 678"/>
                  <a:gd name="T29" fmla="*/ 90 h 441"/>
                  <a:gd name="T30" fmla="*/ 153 w 678"/>
                  <a:gd name="T31" fmla="*/ 63 h 441"/>
                  <a:gd name="T32" fmla="*/ 138 w 678"/>
                  <a:gd name="T33" fmla="*/ 75 h 441"/>
                  <a:gd name="T34" fmla="*/ 111 w 678"/>
                  <a:gd name="T35" fmla="*/ 96 h 441"/>
                  <a:gd name="T36" fmla="*/ 87 w 678"/>
                  <a:gd name="T37" fmla="*/ 120 h 441"/>
                  <a:gd name="T38" fmla="*/ 78 w 678"/>
                  <a:gd name="T39" fmla="*/ 150 h 441"/>
                  <a:gd name="T40" fmla="*/ 51 w 678"/>
                  <a:gd name="T41" fmla="*/ 174 h 441"/>
                  <a:gd name="T42" fmla="*/ 18 w 678"/>
                  <a:gd name="T43" fmla="*/ 186 h 441"/>
                  <a:gd name="T44" fmla="*/ 0 w 678"/>
                  <a:gd name="T45" fmla="*/ 198 h 441"/>
                  <a:gd name="T46" fmla="*/ 18 w 678"/>
                  <a:gd name="T47" fmla="*/ 228 h 441"/>
                  <a:gd name="T48" fmla="*/ 59 w 678"/>
                  <a:gd name="T49" fmla="*/ 247 h 441"/>
                  <a:gd name="T50" fmla="*/ 63 w 678"/>
                  <a:gd name="T51" fmla="*/ 286 h 441"/>
                  <a:gd name="T52" fmla="*/ 61 w 678"/>
                  <a:gd name="T53" fmla="*/ 288 h 441"/>
                  <a:gd name="T54" fmla="*/ 60 w 678"/>
                  <a:gd name="T55" fmla="*/ 289 h 441"/>
                  <a:gd name="T56" fmla="*/ 57 w 678"/>
                  <a:gd name="T57" fmla="*/ 290 h 441"/>
                  <a:gd name="T58" fmla="*/ 57 w 678"/>
                  <a:gd name="T59" fmla="*/ 303 h 441"/>
                  <a:gd name="T60" fmla="*/ 84 w 678"/>
                  <a:gd name="T61" fmla="*/ 318 h 441"/>
                  <a:gd name="T62" fmla="*/ 153 w 678"/>
                  <a:gd name="T63" fmla="*/ 348 h 441"/>
                  <a:gd name="T64" fmla="*/ 162 w 678"/>
                  <a:gd name="T65" fmla="*/ 354 h 441"/>
                  <a:gd name="T66" fmla="*/ 165 w 678"/>
                  <a:gd name="T67" fmla="*/ 351 h 441"/>
                  <a:gd name="T68" fmla="*/ 201 w 678"/>
                  <a:gd name="T69" fmla="*/ 348 h 441"/>
                  <a:gd name="T70" fmla="*/ 234 w 678"/>
                  <a:gd name="T71" fmla="*/ 333 h 441"/>
                  <a:gd name="T72" fmla="*/ 252 w 678"/>
                  <a:gd name="T73" fmla="*/ 342 h 441"/>
                  <a:gd name="T74" fmla="*/ 264 w 678"/>
                  <a:gd name="T75" fmla="*/ 372 h 441"/>
                  <a:gd name="T76" fmla="*/ 270 w 678"/>
                  <a:gd name="T77" fmla="*/ 405 h 441"/>
                  <a:gd name="T78" fmla="*/ 288 w 678"/>
                  <a:gd name="T79" fmla="*/ 426 h 441"/>
                  <a:gd name="T80" fmla="*/ 300 w 678"/>
                  <a:gd name="T81" fmla="*/ 414 h 441"/>
                  <a:gd name="T82" fmla="*/ 333 w 678"/>
                  <a:gd name="T83" fmla="*/ 408 h 441"/>
                  <a:gd name="T84" fmla="*/ 366 w 678"/>
                  <a:gd name="T85" fmla="*/ 423 h 441"/>
                  <a:gd name="T86" fmla="*/ 387 w 678"/>
                  <a:gd name="T87" fmla="*/ 423 h 441"/>
                  <a:gd name="T88" fmla="*/ 411 w 678"/>
                  <a:gd name="T89" fmla="*/ 423 h 441"/>
                  <a:gd name="T90" fmla="*/ 471 w 678"/>
                  <a:gd name="T91" fmla="*/ 402 h 441"/>
                  <a:gd name="T92" fmla="*/ 498 w 678"/>
                  <a:gd name="T93" fmla="*/ 381 h 441"/>
                  <a:gd name="T94" fmla="*/ 510 w 678"/>
                  <a:gd name="T95" fmla="*/ 357 h 441"/>
                  <a:gd name="T96" fmla="*/ 528 w 678"/>
                  <a:gd name="T97" fmla="*/ 330 h 441"/>
                  <a:gd name="T98" fmla="*/ 516 w 678"/>
                  <a:gd name="T99" fmla="*/ 318 h 441"/>
                  <a:gd name="T100" fmla="*/ 519 w 678"/>
                  <a:gd name="T101" fmla="*/ 297 h 441"/>
                  <a:gd name="T102" fmla="*/ 510 w 678"/>
                  <a:gd name="T103" fmla="*/ 267 h 441"/>
                  <a:gd name="T104" fmla="*/ 516 w 678"/>
                  <a:gd name="T105" fmla="*/ 240 h 441"/>
                  <a:gd name="T106" fmla="*/ 519 w 678"/>
                  <a:gd name="T107" fmla="*/ 222 h 441"/>
                  <a:gd name="T108" fmla="*/ 486 w 678"/>
                  <a:gd name="T109" fmla="*/ 204 h 441"/>
                  <a:gd name="T110" fmla="*/ 522 w 678"/>
                  <a:gd name="T111" fmla="*/ 198 h 441"/>
                  <a:gd name="T112" fmla="*/ 555 w 678"/>
                  <a:gd name="T113" fmla="*/ 195 h 441"/>
                  <a:gd name="T114" fmla="*/ 594 w 678"/>
                  <a:gd name="T115" fmla="*/ 174 h 441"/>
                  <a:gd name="T116" fmla="*/ 621 w 678"/>
                  <a:gd name="T117" fmla="*/ 153 h 441"/>
                  <a:gd name="T118" fmla="*/ 636 w 678"/>
                  <a:gd name="T119" fmla="*/ 144 h 441"/>
                  <a:gd name="T120" fmla="*/ 654 w 678"/>
                  <a:gd name="T121" fmla="*/ 123 h 441"/>
                  <a:gd name="T122" fmla="*/ 672 w 678"/>
                  <a:gd name="T123" fmla="*/ 8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8" h="441">
                    <a:moveTo>
                      <a:pt x="672" y="81"/>
                    </a:moveTo>
                    <a:cubicBezTo>
                      <a:pt x="672" y="75"/>
                      <a:pt x="666" y="78"/>
                      <a:pt x="663" y="81"/>
                    </a:cubicBezTo>
                    <a:cubicBezTo>
                      <a:pt x="663" y="81"/>
                      <a:pt x="654" y="81"/>
                      <a:pt x="654" y="84"/>
                    </a:cubicBezTo>
                    <a:cubicBezTo>
                      <a:pt x="651" y="87"/>
                      <a:pt x="648" y="87"/>
                      <a:pt x="642" y="87"/>
                    </a:cubicBezTo>
                    <a:cubicBezTo>
                      <a:pt x="639" y="87"/>
                      <a:pt x="633" y="84"/>
                      <a:pt x="633" y="81"/>
                    </a:cubicBezTo>
                    <a:cubicBezTo>
                      <a:pt x="633" y="78"/>
                      <a:pt x="630" y="75"/>
                      <a:pt x="630" y="72"/>
                    </a:cubicBezTo>
                    <a:cubicBezTo>
                      <a:pt x="630" y="69"/>
                      <a:pt x="624" y="69"/>
                      <a:pt x="621" y="66"/>
                    </a:cubicBezTo>
                    <a:cubicBezTo>
                      <a:pt x="618" y="63"/>
                      <a:pt x="612" y="60"/>
                      <a:pt x="609" y="63"/>
                    </a:cubicBezTo>
                    <a:cubicBezTo>
                      <a:pt x="609" y="63"/>
                      <a:pt x="606" y="57"/>
                      <a:pt x="600" y="57"/>
                    </a:cubicBezTo>
                    <a:cubicBezTo>
                      <a:pt x="594" y="57"/>
                      <a:pt x="594" y="54"/>
                      <a:pt x="594" y="51"/>
                    </a:cubicBezTo>
                    <a:cubicBezTo>
                      <a:pt x="597" y="48"/>
                      <a:pt x="591" y="42"/>
                      <a:pt x="588" y="39"/>
                    </a:cubicBezTo>
                    <a:cubicBezTo>
                      <a:pt x="588" y="33"/>
                      <a:pt x="585" y="33"/>
                      <a:pt x="582" y="24"/>
                    </a:cubicBezTo>
                    <a:cubicBezTo>
                      <a:pt x="582" y="15"/>
                      <a:pt x="576" y="18"/>
                      <a:pt x="576" y="15"/>
                    </a:cubicBezTo>
                    <a:cubicBezTo>
                      <a:pt x="579" y="9"/>
                      <a:pt x="573" y="9"/>
                      <a:pt x="570" y="6"/>
                    </a:cubicBezTo>
                    <a:cubicBezTo>
                      <a:pt x="567" y="3"/>
                      <a:pt x="561" y="6"/>
                      <a:pt x="555" y="3"/>
                    </a:cubicBezTo>
                    <a:cubicBezTo>
                      <a:pt x="552" y="0"/>
                      <a:pt x="549" y="0"/>
                      <a:pt x="543" y="0"/>
                    </a:cubicBezTo>
                    <a:cubicBezTo>
                      <a:pt x="540" y="0"/>
                      <a:pt x="528" y="0"/>
                      <a:pt x="528" y="0"/>
                    </a:cubicBezTo>
                    <a:cubicBezTo>
                      <a:pt x="525" y="0"/>
                      <a:pt x="516" y="0"/>
                      <a:pt x="513" y="6"/>
                    </a:cubicBezTo>
                    <a:cubicBezTo>
                      <a:pt x="507" y="12"/>
                      <a:pt x="513" y="12"/>
                      <a:pt x="513" y="12"/>
                    </a:cubicBezTo>
                    <a:cubicBezTo>
                      <a:pt x="516" y="12"/>
                      <a:pt x="516" y="18"/>
                      <a:pt x="516" y="21"/>
                    </a:cubicBezTo>
                    <a:cubicBezTo>
                      <a:pt x="516" y="21"/>
                      <a:pt x="513" y="24"/>
                      <a:pt x="513" y="27"/>
                    </a:cubicBezTo>
                    <a:cubicBezTo>
                      <a:pt x="510" y="27"/>
                      <a:pt x="507" y="33"/>
                      <a:pt x="504" y="36"/>
                    </a:cubicBezTo>
                    <a:cubicBezTo>
                      <a:pt x="504" y="39"/>
                      <a:pt x="498" y="45"/>
                      <a:pt x="501" y="48"/>
                    </a:cubicBezTo>
                    <a:cubicBezTo>
                      <a:pt x="501" y="51"/>
                      <a:pt x="498" y="54"/>
                      <a:pt x="495" y="54"/>
                    </a:cubicBezTo>
                    <a:cubicBezTo>
                      <a:pt x="492" y="54"/>
                      <a:pt x="486" y="57"/>
                      <a:pt x="483" y="60"/>
                    </a:cubicBezTo>
                    <a:cubicBezTo>
                      <a:pt x="474" y="57"/>
                      <a:pt x="474" y="57"/>
                      <a:pt x="474" y="57"/>
                    </a:cubicBezTo>
                    <a:cubicBezTo>
                      <a:pt x="474" y="54"/>
                      <a:pt x="471" y="54"/>
                      <a:pt x="471" y="54"/>
                    </a:cubicBezTo>
                    <a:cubicBezTo>
                      <a:pt x="462" y="72"/>
                      <a:pt x="462" y="72"/>
                      <a:pt x="462" y="72"/>
                    </a:cubicBezTo>
                    <a:cubicBezTo>
                      <a:pt x="462" y="78"/>
                      <a:pt x="462" y="78"/>
                      <a:pt x="462" y="78"/>
                    </a:cubicBezTo>
                    <a:cubicBezTo>
                      <a:pt x="462" y="78"/>
                      <a:pt x="456" y="78"/>
                      <a:pt x="459" y="84"/>
                    </a:cubicBezTo>
                    <a:cubicBezTo>
                      <a:pt x="465" y="87"/>
                      <a:pt x="465" y="84"/>
                      <a:pt x="471" y="84"/>
                    </a:cubicBezTo>
                    <a:cubicBezTo>
                      <a:pt x="477" y="84"/>
                      <a:pt x="480" y="90"/>
                      <a:pt x="483" y="84"/>
                    </a:cubicBezTo>
                    <a:cubicBezTo>
                      <a:pt x="483" y="81"/>
                      <a:pt x="489" y="81"/>
                      <a:pt x="492" y="84"/>
                    </a:cubicBezTo>
                    <a:cubicBezTo>
                      <a:pt x="495" y="87"/>
                      <a:pt x="507" y="96"/>
                      <a:pt x="507" y="99"/>
                    </a:cubicBezTo>
                    <a:cubicBezTo>
                      <a:pt x="507" y="102"/>
                      <a:pt x="501" y="102"/>
                      <a:pt x="495" y="102"/>
                    </a:cubicBezTo>
                    <a:cubicBezTo>
                      <a:pt x="492" y="99"/>
                      <a:pt x="486" y="105"/>
                      <a:pt x="480" y="105"/>
                    </a:cubicBezTo>
                    <a:cubicBezTo>
                      <a:pt x="477" y="105"/>
                      <a:pt x="471" y="105"/>
                      <a:pt x="468" y="108"/>
                    </a:cubicBezTo>
                    <a:cubicBezTo>
                      <a:pt x="462" y="114"/>
                      <a:pt x="465" y="117"/>
                      <a:pt x="456" y="120"/>
                    </a:cubicBezTo>
                    <a:cubicBezTo>
                      <a:pt x="450" y="120"/>
                      <a:pt x="447" y="120"/>
                      <a:pt x="441" y="123"/>
                    </a:cubicBezTo>
                    <a:cubicBezTo>
                      <a:pt x="432" y="129"/>
                      <a:pt x="426" y="126"/>
                      <a:pt x="423" y="126"/>
                    </a:cubicBezTo>
                    <a:cubicBezTo>
                      <a:pt x="420" y="123"/>
                      <a:pt x="414" y="123"/>
                      <a:pt x="411" y="129"/>
                    </a:cubicBezTo>
                    <a:cubicBezTo>
                      <a:pt x="408" y="132"/>
                      <a:pt x="414" y="135"/>
                      <a:pt x="414" y="141"/>
                    </a:cubicBezTo>
                    <a:cubicBezTo>
                      <a:pt x="414" y="147"/>
                      <a:pt x="405" y="147"/>
                      <a:pt x="402" y="153"/>
                    </a:cubicBezTo>
                    <a:cubicBezTo>
                      <a:pt x="396" y="159"/>
                      <a:pt x="384" y="162"/>
                      <a:pt x="381" y="162"/>
                    </a:cubicBezTo>
                    <a:cubicBezTo>
                      <a:pt x="375" y="159"/>
                      <a:pt x="363" y="156"/>
                      <a:pt x="354" y="162"/>
                    </a:cubicBezTo>
                    <a:cubicBezTo>
                      <a:pt x="345" y="165"/>
                      <a:pt x="339" y="174"/>
                      <a:pt x="336" y="171"/>
                    </a:cubicBezTo>
                    <a:cubicBezTo>
                      <a:pt x="333" y="171"/>
                      <a:pt x="333" y="168"/>
                      <a:pt x="327" y="168"/>
                    </a:cubicBezTo>
                    <a:cubicBezTo>
                      <a:pt x="321" y="168"/>
                      <a:pt x="318" y="168"/>
                      <a:pt x="315" y="165"/>
                    </a:cubicBezTo>
                    <a:cubicBezTo>
                      <a:pt x="312" y="162"/>
                      <a:pt x="309" y="165"/>
                      <a:pt x="303" y="162"/>
                    </a:cubicBezTo>
                    <a:cubicBezTo>
                      <a:pt x="297" y="156"/>
                      <a:pt x="288" y="159"/>
                      <a:pt x="282" y="156"/>
                    </a:cubicBezTo>
                    <a:cubicBezTo>
                      <a:pt x="279" y="156"/>
                      <a:pt x="261" y="156"/>
                      <a:pt x="255" y="156"/>
                    </a:cubicBezTo>
                    <a:cubicBezTo>
                      <a:pt x="249" y="156"/>
                      <a:pt x="240" y="159"/>
                      <a:pt x="240" y="156"/>
                    </a:cubicBezTo>
                    <a:cubicBezTo>
                      <a:pt x="240" y="153"/>
                      <a:pt x="237" y="150"/>
                      <a:pt x="234" y="144"/>
                    </a:cubicBezTo>
                    <a:cubicBezTo>
                      <a:pt x="234" y="138"/>
                      <a:pt x="228" y="135"/>
                      <a:pt x="225" y="135"/>
                    </a:cubicBezTo>
                    <a:cubicBezTo>
                      <a:pt x="222" y="132"/>
                      <a:pt x="222" y="129"/>
                      <a:pt x="219" y="129"/>
                    </a:cubicBezTo>
                    <a:cubicBezTo>
                      <a:pt x="216" y="129"/>
                      <a:pt x="216" y="123"/>
                      <a:pt x="210" y="123"/>
                    </a:cubicBezTo>
                    <a:cubicBezTo>
                      <a:pt x="204" y="123"/>
                      <a:pt x="186" y="123"/>
                      <a:pt x="183" y="117"/>
                    </a:cubicBezTo>
                    <a:cubicBezTo>
                      <a:pt x="183" y="114"/>
                      <a:pt x="186" y="114"/>
                      <a:pt x="186" y="108"/>
                    </a:cubicBezTo>
                    <a:cubicBezTo>
                      <a:pt x="186" y="105"/>
                      <a:pt x="189" y="99"/>
                      <a:pt x="189" y="96"/>
                    </a:cubicBezTo>
                    <a:cubicBezTo>
                      <a:pt x="186" y="96"/>
                      <a:pt x="183" y="93"/>
                      <a:pt x="183" y="90"/>
                    </a:cubicBezTo>
                    <a:cubicBezTo>
                      <a:pt x="180" y="84"/>
                      <a:pt x="177" y="81"/>
                      <a:pt x="171" y="81"/>
                    </a:cubicBezTo>
                    <a:cubicBezTo>
                      <a:pt x="168" y="81"/>
                      <a:pt x="165" y="78"/>
                      <a:pt x="162" y="75"/>
                    </a:cubicBezTo>
                    <a:cubicBezTo>
                      <a:pt x="159" y="72"/>
                      <a:pt x="156" y="72"/>
                      <a:pt x="153" y="66"/>
                    </a:cubicBezTo>
                    <a:cubicBezTo>
                      <a:pt x="153" y="63"/>
                      <a:pt x="153" y="63"/>
                      <a:pt x="153" y="63"/>
                    </a:cubicBezTo>
                    <a:cubicBezTo>
                      <a:pt x="150" y="63"/>
                      <a:pt x="150" y="63"/>
                      <a:pt x="150" y="63"/>
                    </a:cubicBezTo>
                    <a:cubicBezTo>
                      <a:pt x="147" y="63"/>
                      <a:pt x="147" y="63"/>
                      <a:pt x="147" y="60"/>
                    </a:cubicBezTo>
                    <a:cubicBezTo>
                      <a:pt x="144" y="63"/>
                      <a:pt x="141" y="66"/>
                      <a:pt x="141" y="69"/>
                    </a:cubicBezTo>
                    <a:cubicBezTo>
                      <a:pt x="141" y="72"/>
                      <a:pt x="141" y="75"/>
                      <a:pt x="138" y="75"/>
                    </a:cubicBezTo>
                    <a:cubicBezTo>
                      <a:pt x="135" y="75"/>
                      <a:pt x="129" y="78"/>
                      <a:pt x="129" y="84"/>
                    </a:cubicBezTo>
                    <a:cubicBezTo>
                      <a:pt x="129" y="90"/>
                      <a:pt x="132" y="90"/>
                      <a:pt x="132" y="93"/>
                    </a:cubicBezTo>
                    <a:cubicBezTo>
                      <a:pt x="129" y="96"/>
                      <a:pt x="123" y="96"/>
                      <a:pt x="120" y="96"/>
                    </a:cubicBezTo>
                    <a:cubicBezTo>
                      <a:pt x="120" y="96"/>
                      <a:pt x="114" y="96"/>
                      <a:pt x="111" y="96"/>
                    </a:cubicBezTo>
                    <a:cubicBezTo>
                      <a:pt x="108" y="96"/>
                      <a:pt x="105" y="90"/>
                      <a:pt x="102" y="96"/>
                    </a:cubicBezTo>
                    <a:cubicBezTo>
                      <a:pt x="102" y="99"/>
                      <a:pt x="93" y="114"/>
                      <a:pt x="96" y="117"/>
                    </a:cubicBezTo>
                    <a:cubicBezTo>
                      <a:pt x="99" y="117"/>
                      <a:pt x="99" y="123"/>
                      <a:pt x="96" y="123"/>
                    </a:cubicBezTo>
                    <a:cubicBezTo>
                      <a:pt x="93" y="123"/>
                      <a:pt x="90" y="123"/>
                      <a:pt x="87" y="120"/>
                    </a:cubicBezTo>
                    <a:cubicBezTo>
                      <a:pt x="87" y="117"/>
                      <a:pt x="81" y="123"/>
                      <a:pt x="78" y="123"/>
                    </a:cubicBezTo>
                    <a:cubicBezTo>
                      <a:pt x="75" y="123"/>
                      <a:pt x="69" y="126"/>
                      <a:pt x="72" y="126"/>
                    </a:cubicBezTo>
                    <a:cubicBezTo>
                      <a:pt x="72" y="129"/>
                      <a:pt x="72" y="135"/>
                      <a:pt x="72" y="135"/>
                    </a:cubicBezTo>
                    <a:cubicBezTo>
                      <a:pt x="72" y="138"/>
                      <a:pt x="78" y="147"/>
                      <a:pt x="78" y="150"/>
                    </a:cubicBezTo>
                    <a:cubicBezTo>
                      <a:pt x="78" y="150"/>
                      <a:pt x="72" y="153"/>
                      <a:pt x="72" y="156"/>
                    </a:cubicBezTo>
                    <a:cubicBezTo>
                      <a:pt x="72" y="162"/>
                      <a:pt x="72" y="165"/>
                      <a:pt x="72" y="165"/>
                    </a:cubicBezTo>
                    <a:cubicBezTo>
                      <a:pt x="69" y="165"/>
                      <a:pt x="63" y="168"/>
                      <a:pt x="60" y="168"/>
                    </a:cubicBezTo>
                    <a:cubicBezTo>
                      <a:pt x="57" y="171"/>
                      <a:pt x="54" y="171"/>
                      <a:pt x="51" y="174"/>
                    </a:cubicBezTo>
                    <a:cubicBezTo>
                      <a:pt x="51" y="177"/>
                      <a:pt x="48" y="180"/>
                      <a:pt x="42" y="180"/>
                    </a:cubicBezTo>
                    <a:cubicBezTo>
                      <a:pt x="39" y="180"/>
                      <a:pt x="36" y="177"/>
                      <a:pt x="33" y="183"/>
                    </a:cubicBezTo>
                    <a:cubicBezTo>
                      <a:pt x="30" y="186"/>
                      <a:pt x="30" y="186"/>
                      <a:pt x="27" y="186"/>
                    </a:cubicBezTo>
                    <a:cubicBezTo>
                      <a:pt x="24" y="189"/>
                      <a:pt x="21" y="186"/>
                      <a:pt x="18" y="186"/>
                    </a:cubicBezTo>
                    <a:cubicBezTo>
                      <a:pt x="18" y="183"/>
                      <a:pt x="15" y="186"/>
                      <a:pt x="12" y="186"/>
                    </a:cubicBezTo>
                    <a:cubicBezTo>
                      <a:pt x="12" y="186"/>
                      <a:pt x="9" y="189"/>
                      <a:pt x="6" y="192"/>
                    </a:cubicBezTo>
                    <a:cubicBezTo>
                      <a:pt x="3" y="192"/>
                      <a:pt x="0" y="192"/>
                      <a:pt x="0" y="195"/>
                    </a:cubicBezTo>
                    <a:cubicBezTo>
                      <a:pt x="0" y="198"/>
                      <a:pt x="0" y="198"/>
                      <a:pt x="0" y="198"/>
                    </a:cubicBezTo>
                    <a:cubicBezTo>
                      <a:pt x="0" y="210"/>
                      <a:pt x="0" y="210"/>
                      <a:pt x="0" y="210"/>
                    </a:cubicBezTo>
                    <a:cubicBezTo>
                      <a:pt x="0" y="210"/>
                      <a:pt x="12" y="213"/>
                      <a:pt x="12" y="216"/>
                    </a:cubicBezTo>
                    <a:cubicBezTo>
                      <a:pt x="12" y="219"/>
                      <a:pt x="13" y="225"/>
                      <a:pt x="14" y="229"/>
                    </a:cubicBezTo>
                    <a:cubicBezTo>
                      <a:pt x="15" y="228"/>
                      <a:pt x="17" y="228"/>
                      <a:pt x="18" y="228"/>
                    </a:cubicBezTo>
                    <a:cubicBezTo>
                      <a:pt x="18" y="228"/>
                      <a:pt x="22" y="230"/>
                      <a:pt x="25" y="236"/>
                    </a:cubicBezTo>
                    <a:cubicBezTo>
                      <a:pt x="27" y="240"/>
                      <a:pt x="31" y="244"/>
                      <a:pt x="35" y="246"/>
                    </a:cubicBezTo>
                    <a:cubicBezTo>
                      <a:pt x="41" y="249"/>
                      <a:pt x="43" y="253"/>
                      <a:pt x="45" y="252"/>
                    </a:cubicBezTo>
                    <a:cubicBezTo>
                      <a:pt x="48" y="252"/>
                      <a:pt x="56" y="247"/>
                      <a:pt x="59" y="247"/>
                    </a:cubicBezTo>
                    <a:cubicBezTo>
                      <a:pt x="61" y="249"/>
                      <a:pt x="71" y="251"/>
                      <a:pt x="70" y="259"/>
                    </a:cubicBezTo>
                    <a:cubicBezTo>
                      <a:pt x="69" y="264"/>
                      <a:pt x="57" y="275"/>
                      <a:pt x="57" y="276"/>
                    </a:cubicBezTo>
                    <a:cubicBezTo>
                      <a:pt x="57" y="276"/>
                      <a:pt x="60" y="282"/>
                      <a:pt x="63" y="285"/>
                    </a:cubicBezTo>
                    <a:cubicBezTo>
                      <a:pt x="63" y="286"/>
                      <a:pt x="63" y="286"/>
                      <a:pt x="63" y="286"/>
                    </a:cubicBezTo>
                    <a:cubicBezTo>
                      <a:pt x="63" y="287"/>
                      <a:pt x="63" y="287"/>
                      <a:pt x="62" y="287"/>
                    </a:cubicBezTo>
                    <a:cubicBezTo>
                      <a:pt x="62" y="287"/>
                      <a:pt x="62" y="287"/>
                      <a:pt x="62" y="287"/>
                    </a:cubicBezTo>
                    <a:cubicBezTo>
                      <a:pt x="62" y="287"/>
                      <a:pt x="62" y="287"/>
                      <a:pt x="62" y="287"/>
                    </a:cubicBezTo>
                    <a:cubicBezTo>
                      <a:pt x="62" y="287"/>
                      <a:pt x="62" y="288"/>
                      <a:pt x="61" y="288"/>
                    </a:cubicBezTo>
                    <a:cubicBezTo>
                      <a:pt x="61" y="288"/>
                      <a:pt x="61" y="288"/>
                      <a:pt x="61" y="288"/>
                    </a:cubicBezTo>
                    <a:cubicBezTo>
                      <a:pt x="60" y="289"/>
                      <a:pt x="60" y="289"/>
                      <a:pt x="60" y="289"/>
                    </a:cubicBezTo>
                    <a:cubicBezTo>
                      <a:pt x="60" y="289"/>
                      <a:pt x="60" y="289"/>
                      <a:pt x="60" y="289"/>
                    </a:cubicBezTo>
                    <a:cubicBezTo>
                      <a:pt x="60" y="289"/>
                      <a:pt x="60" y="289"/>
                      <a:pt x="60" y="289"/>
                    </a:cubicBezTo>
                    <a:cubicBezTo>
                      <a:pt x="60" y="289"/>
                      <a:pt x="60" y="289"/>
                      <a:pt x="60" y="289"/>
                    </a:cubicBezTo>
                    <a:cubicBezTo>
                      <a:pt x="59" y="289"/>
                      <a:pt x="58" y="290"/>
                      <a:pt x="58" y="290"/>
                    </a:cubicBezTo>
                    <a:cubicBezTo>
                      <a:pt x="58" y="290"/>
                      <a:pt x="58" y="290"/>
                      <a:pt x="58" y="290"/>
                    </a:cubicBezTo>
                    <a:cubicBezTo>
                      <a:pt x="57" y="290"/>
                      <a:pt x="57" y="290"/>
                      <a:pt x="57" y="290"/>
                    </a:cubicBezTo>
                    <a:cubicBezTo>
                      <a:pt x="57" y="290"/>
                      <a:pt x="57" y="290"/>
                      <a:pt x="57" y="290"/>
                    </a:cubicBezTo>
                    <a:cubicBezTo>
                      <a:pt x="56" y="290"/>
                      <a:pt x="55" y="289"/>
                      <a:pt x="54" y="288"/>
                    </a:cubicBezTo>
                    <a:cubicBezTo>
                      <a:pt x="51" y="285"/>
                      <a:pt x="51" y="291"/>
                      <a:pt x="54" y="294"/>
                    </a:cubicBezTo>
                    <a:cubicBezTo>
                      <a:pt x="54" y="297"/>
                      <a:pt x="54" y="303"/>
                      <a:pt x="57" y="303"/>
                    </a:cubicBezTo>
                    <a:cubicBezTo>
                      <a:pt x="60" y="303"/>
                      <a:pt x="63" y="309"/>
                      <a:pt x="66" y="309"/>
                    </a:cubicBezTo>
                    <a:cubicBezTo>
                      <a:pt x="69" y="309"/>
                      <a:pt x="72" y="315"/>
                      <a:pt x="72" y="315"/>
                    </a:cubicBezTo>
                    <a:cubicBezTo>
                      <a:pt x="72" y="315"/>
                      <a:pt x="78" y="318"/>
                      <a:pt x="78" y="321"/>
                    </a:cubicBezTo>
                    <a:cubicBezTo>
                      <a:pt x="81" y="321"/>
                      <a:pt x="84" y="321"/>
                      <a:pt x="84" y="318"/>
                    </a:cubicBezTo>
                    <a:cubicBezTo>
                      <a:pt x="84" y="318"/>
                      <a:pt x="90" y="318"/>
                      <a:pt x="93" y="321"/>
                    </a:cubicBezTo>
                    <a:cubicBezTo>
                      <a:pt x="96" y="324"/>
                      <a:pt x="111" y="333"/>
                      <a:pt x="117" y="336"/>
                    </a:cubicBezTo>
                    <a:cubicBezTo>
                      <a:pt x="120" y="342"/>
                      <a:pt x="135" y="345"/>
                      <a:pt x="138" y="345"/>
                    </a:cubicBezTo>
                    <a:cubicBezTo>
                      <a:pt x="141" y="345"/>
                      <a:pt x="147" y="348"/>
                      <a:pt x="153" y="348"/>
                    </a:cubicBezTo>
                    <a:cubicBezTo>
                      <a:pt x="153" y="348"/>
                      <a:pt x="153" y="348"/>
                      <a:pt x="155" y="348"/>
                    </a:cubicBezTo>
                    <a:cubicBezTo>
                      <a:pt x="156" y="348"/>
                      <a:pt x="157" y="347"/>
                      <a:pt x="159" y="345"/>
                    </a:cubicBezTo>
                    <a:cubicBezTo>
                      <a:pt x="162" y="342"/>
                      <a:pt x="162" y="348"/>
                      <a:pt x="162" y="351"/>
                    </a:cubicBezTo>
                    <a:cubicBezTo>
                      <a:pt x="162" y="352"/>
                      <a:pt x="162" y="353"/>
                      <a:pt x="162" y="354"/>
                    </a:cubicBezTo>
                    <a:cubicBezTo>
                      <a:pt x="162" y="354"/>
                      <a:pt x="162" y="354"/>
                      <a:pt x="162" y="354"/>
                    </a:cubicBezTo>
                    <a:cubicBezTo>
                      <a:pt x="163" y="355"/>
                      <a:pt x="163" y="355"/>
                      <a:pt x="163" y="356"/>
                    </a:cubicBezTo>
                    <a:cubicBezTo>
                      <a:pt x="163" y="356"/>
                      <a:pt x="163" y="356"/>
                      <a:pt x="163" y="356"/>
                    </a:cubicBezTo>
                    <a:cubicBezTo>
                      <a:pt x="165" y="354"/>
                      <a:pt x="165" y="354"/>
                      <a:pt x="165" y="351"/>
                    </a:cubicBezTo>
                    <a:cubicBezTo>
                      <a:pt x="168" y="345"/>
                      <a:pt x="171" y="348"/>
                      <a:pt x="174" y="345"/>
                    </a:cubicBezTo>
                    <a:cubicBezTo>
                      <a:pt x="177" y="342"/>
                      <a:pt x="177" y="345"/>
                      <a:pt x="183" y="345"/>
                    </a:cubicBezTo>
                    <a:cubicBezTo>
                      <a:pt x="186" y="348"/>
                      <a:pt x="189" y="345"/>
                      <a:pt x="195" y="351"/>
                    </a:cubicBezTo>
                    <a:cubicBezTo>
                      <a:pt x="198" y="348"/>
                      <a:pt x="198" y="348"/>
                      <a:pt x="201" y="348"/>
                    </a:cubicBezTo>
                    <a:cubicBezTo>
                      <a:pt x="204" y="345"/>
                      <a:pt x="204" y="345"/>
                      <a:pt x="204" y="345"/>
                    </a:cubicBezTo>
                    <a:cubicBezTo>
                      <a:pt x="207" y="342"/>
                      <a:pt x="207" y="339"/>
                      <a:pt x="210" y="339"/>
                    </a:cubicBezTo>
                    <a:cubicBezTo>
                      <a:pt x="213" y="339"/>
                      <a:pt x="213" y="336"/>
                      <a:pt x="219" y="333"/>
                    </a:cubicBezTo>
                    <a:cubicBezTo>
                      <a:pt x="225" y="330"/>
                      <a:pt x="231" y="336"/>
                      <a:pt x="234" y="333"/>
                    </a:cubicBezTo>
                    <a:cubicBezTo>
                      <a:pt x="234" y="330"/>
                      <a:pt x="240" y="330"/>
                      <a:pt x="240" y="333"/>
                    </a:cubicBezTo>
                    <a:cubicBezTo>
                      <a:pt x="240" y="333"/>
                      <a:pt x="243" y="336"/>
                      <a:pt x="243" y="339"/>
                    </a:cubicBezTo>
                    <a:cubicBezTo>
                      <a:pt x="243" y="342"/>
                      <a:pt x="249" y="342"/>
                      <a:pt x="249" y="342"/>
                    </a:cubicBezTo>
                    <a:cubicBezTo>
                      <a:pt x="252" y="342"/>
                      <a:pt x="252" y="342"/>
                      <a:pt x="252" y="342"/>
                    </a:cubicBezTo>
                    <a:cubicBezTo>
                      <a:pt x="255" y="339"/>
                      <a:pt x="258" y="342"/>
                      <a:pt x="258" y="345"/>
                    </a:cubicBezTo>
                    <a:cubicBezTo>
                      <a:pt x="258" y="348"/>
                      <a:pt x="258" y="351"/>
                      <a:pt x="261" y="351"/>
                    </a:cubicBezTo>
                    <a:cubicBezTo>
                      <a:pt x="264" y="351"/>
                      <a:pt x="267" y="351"/>
                      <a:pt x="267" y="357"/>
                    </a:cubicBezTo>
                    <a:cubicBezTo>
                      <a:pt x="267" y="363"/>
                      <a:pt x="267" y="369"/>
                      <a:pt x="264" y="372"/>
                    </a:cubicBezTo>
                    <a:cubicBezTo>
                      <a:pt x="258" y="378"/>
                      <a:pt x="252" y="387"/>
                      <a:pt x="255" y="390"/>
                    </a:cubicBezTo>
                    <a:cubicBezTo>
                      <a:pt x="255" y="390"/>
                      <a:pt x="252" y="396"/>
                      <a:pt x="255" y="393"/>
                    </a:cubicBezTo>
                    <a:cubicBezTo>
                      <a:pt x="258" y="393"/>
                      <a:pt x="267" y="393"/>
                      <a:pt x="267" y="396"/>
                    </a:cubicBezTo>
                    <a:cubicBezTo>
                      <a:pt x="264" y="399"/>
                      <a:pt x="267" y="405"/>
                      <a:pt x="270" y="405"/>
                    </a:cubicBezTo>
                    <a:cubicBezTo>
                      <a:pt x="273" y="405"/>
                      <a:pt x="276" y="408"/>
                      <a:pt x="273" y="411"/>
                    </a:cubicBezTo>
                    <a:cubicBezTo>
                      <a:pt x="273" y="414"/>
                      <a:pt x="270" y="417"/>
                      <a:pt x="273" y="417"/>
                    </a:cubicBezTo>
                    <a:cubicBezTo>
                      <a:pt x="276" y="417"/>
                      <a:pt x="282" y="417"/>
                      <a:pt x="279" y="420"/>
                    </a:cubicBezTo>
                    <a:cubicBezTo>
                      <a:pt x="279" y="423"/>
                      <a:pt x="282" y="426"/>
                      <a:pt x="288" y="426"/>
                    </a:cubicBezTo>
                    <a:cubicBezTo>
                      <a:pt x="291" y="423"/>
                      <a:pt x="291" y="423"/>
                      <a:pt x="291" y="423"/>
                    </a:cubicBezTo>
                    <a:cubicBezTo>
                      <a:pt x="294" y="423"/>
                      <a:pt x="294" y="429"/>
                      <a:pt x="297" y="429"/>
                    </a:cubicBezTo>
                    <a:cubicBezTo>
                      <a:pt x="300" y="429"/>
                      <a:pt x="300" y="420"/>
                      <a:pt x="297" y="420"/>
                    </a:cubicBezTo>
                    <a:cubicBezTo>
                      <a:pt x="300" y="414"/>
                      <a:pt x="300" y="414"/>
                      <a:pt x="300" y="414"/>
                    </a:cubicBezTo>
                    <a:cubicBezTo>
                      <a:pt x="300" y="417"/>
                      <a:pt x="306" y="414"/>
                      <a:pt x="309" y="411"/>
                    </a:cubicBezTo>
                    <a:cubicBezTo>
                      <a:pt x="309" y="408"/>
                      <a:pt x="315" y="414"/>
                      <a:pt x="315" y="411"/>
                    </a:cubicBezTo>
                    <a:cubicBezTo>
                      <a:pt x="318" y="408"/>
                      <a:pt x="321" y="414"/>
                      <a:pt x="327" y="411"/>
                    </a:cubicBezTo>
                    <a:cubicBezTo>
                      <a:pt x="330" y="408"/>
                      <a:pt x="333" y="414"/>
                      <a:pt x="333" y="408"/>
                    </a:cubicBezTo>
                    <a:cubicBezTo>
                      <a:pt x="336" y="405"/>
                      <a:pt x="342" y="402"/>
                      <a:pt x="342" y="405"/>
                    </a:cubicBezTo>
                    <a:cubicBezTo>
                      <a:pt x="345" y="405"/>
                      <a:pt x="345" y="408"/>
                      <a:pt x="351" y="408"/>
                    </a:cubicBezTo>
                    <a:cubicBezTo>
                      <a:pt x="360" y="408"/>
                      <a:pt x="354" y="414"/>
                      <a:pt x="354" y="414"/>
                    </a:cubicBezTo>
                    <a:cubicBezTo>
                      <a:pt x="354" y="417"/>
                      <a:pt x="363" y="423"/>
                      <a:pt x="366" y="423"/>
                    </a:cubicBezTo>
                    <a:cubicBezTo>
                      <a:pt x="366" y="423"/>
                      <a:pt x="366" y="423"/>
                      <a:pt x="369" y="426"/>
                    </a:cubicBezTo>
                    <a:cubicBezTo>
                      <a:pt x="369" y="423"/>
                      <a:pt x="375" y="426"/>
                      <a:pt x="375" y="423"/>
                    </a:cubicBezTo>
                    <a:cubicBezTo>
                      <a:pt x="375" y="420"/>
                      <a:pt x="381" y="423"/>
                      <a:pt x="381" y="423"/>
                    </a:cubicBezTo>
                    <a:cubicBezTo>
                      <a:pt x="384" y="426"/>
                      <a:pt x="384" y="426"/>
                      <a:pt x="387" y="423"/>
                    </a:cubicBezTo>
                    <a:cubicBezTo>
                      <a:pt x="390" y="420"/>
                      <a:pt x="393" y="426"/>
                      <a:pt x="390" y="429"/>
                    </a:cubicBezTo>
                    <a:cubicBezTo>
                      <a:pt x="390" y="429"/>
                      <a:pt x="390" y="435"/>
                      <a:pt x="393" y="438"/>
                    </a:cubicBezTo>
                    <a:cubicBezTo>
                      <a:pt x="396" y="441"/>
                      <a:pt x="396" y="438"/>
                      <a:pt x="396" y="435"/>
                    </a:cubicBezTo>
                    <a:cubicBezTo>
                      <a:pt x="396" y="432"/>
                      <a:pt x="402" y="429"/>
                      <a:pt x="411" y="423"/>
                    </a:cubicBezTo>
                    <a:cubicBezTo>
                      <a:pt x="423" y="420"/>
                      <a:pt x="435" y="414"/>
                      <a:pt x="435" y="411"/>
                    </a:cubicBezTo>
                    <a:cubicBezTo>
                      <a:pt x="435" y="411"/>
                      <a:pt x="441" y="414"/>
                      <a:pt x="444" y="411"/>
                    </a:cubicBezTo>
                    <a:cubicBezTo>
                      <a:pt x="450" y="408"/>
                      <a:pt x="462" y="408"/>
                      <a:pt x="465" y="408"/>
                    </a:cubicBezTo>
                    <a:cubicBezTo>
                      <a:pt x="468" y="408"/>
                      <a:pt x="468" y="405"/>
                      <a:pt x="471" y="402"/>
                    </a:cubicBezTo>
                    <a:cubicBezTo>
                      <a:pt x="474" y="399"/>
                      <a:pt x="474" y="399"/>
                      <a:pt x="477" y="396"/>
                    </a:cubicBezTo>
                    <a:cubicBezTo>
                      <a:pt x="483" y="396"/>
                      <a:pt x="483" y="393"/>
                      <a:pt x="483" y="390"/>
                    </a:cubicBezTo>
                    <a:cubicBezTo>
                      <a:pt x="492" y="387"/>
                      <a:pt x="492" y="387"/>
                      <a:pt x="492" y="387"/>
                    </a:cubicBezTo>
                    <a:cubicBezTo>
                      <a:pt x="492" y="384"/>
                      <a:pt x="498" y="384"/>
                      <a:pt x="498" y="381"/>
                    </a:cubicBezTo>
                    <a:cubicBezTo>
                      <a:pt x="498" y="378"/>
                      <a:pt x="501" y="378"/>
                      <a:pt x="504" y="375"/>
                    </a:cubicBezTo>
                    <a:cubicBezTo>
                      <a:pt x="504" y="375"/>
                      <a:pt x="501" y="369"/>
                      <a:pt x="504" y="366"/>
                    </a:cubicBezTo>
                    <a:cubicBezTo>
                      <a:pt x="507" y="366"/>
                      <a:pt x="504" y="363"/>
                      <a:pt x="504" y="363"/>
                    </a:cubicBezTo>
                    <a:cubicBezTo>
                      <a:pt x="501" y="360"/>
                      <a:pt x="507" y="360"/>
                      <a:pt x="510" y="357"/>
                    </a:cubicBezTo>
                    <a:cubicBezTo>
                      <a:pt x="513" y="357"/>
                      <a:pt x="516" y="354"/>
                      <a:pt x="516" y="351"/>
                    </a:cubicBezTo>
                    <a:cubicBezTo>
                      <a:pt x="516" y="348"/>
                      <a:pt x="522" y="345"/>
                      <a:pt x="522" y="345"/>
                    </a:cubicBezTo>
                    <a:cubicBezTo>
                      <a:pt x="525" y="342"/>
                      <a:pt x="525" y="339"/>
                      <a:pt x="525" y="333"/>
                    </a:cubicBezTo>
                    <a:cubicBezTo>
                      <a:pt x="525" y="330"/>
                      <a:pt x="528" y="333"/>
                      <a:pt x="528" y="330"/>
                    </a:cubicBezTo>
                    <a:cubicBezTo>
                      <a:pt x="525" y="330"/>
                      <a:pt x="528" y="324"/>
                      <a:pt x="531" y="324"/>
                    </a:cubicBezTo>
                    <a:cubicBezTo>
                      <a:pt x="537" y="321"/>
                      <a:pt x="528" y="321"/>
                      <a:pt x="528" y="321"/>
                    </a:cubicBezTo>
                    <a:cubicBezTo>
                      <a:pt x="525" y="324"/>
                      <a:pt x="522" y="318"/>
                      <a:pt x="522" y="321"/>
                    </a:cubicBezTo>
                    <a:cubicBezTo>
                      <a:pt x="519" y="321"/>
                      <a:pt x="513" y="318"/>
                      <a:pt x="516" y="318"/>
                    </a:cubicBezTo>
                    <a:cubicBezTo>
                      <a:pt x="519" y="315"/>
                      <a:pt x="525" y="312"/>
                      <a:pt x="528" y="312"/>
                    </a:cubicBezTo>
                    <a:cubicBezTo>
                      <a:pt x="531" y="312"/>
                      <a:pt x="525" y="306"/>
                      <a:pt x="522" y="306"/>
                    </a:cubicBezTo>
                    <a:cubicBezTo>
                      <a:pt x="519" y="306"/>
                      <a:pt x="516" y="297"/>
                      <a:pt x="513" y="297"/>
                    </a:cubicBezTo>
                    <a:cubicBezTo>
                      <a:pt x="515" y="297"/>
                      <a:pt x="517" y="297"/>
                      <a:pt x="519" y="297"/>
                    </a:cubicBezTo>
                    <a:cubicBezTo>
                      <a:pt x="522" y="300"/>
                      <a:pt x="525" y="300"/>
                      <a:pt x="528" y="300"/>
                    </a:cubicBezTo>
                    <a:cubicBezTo>
                      <a:pt x="531" y="297"/>
                      <a:pt x="522" y="291"/>
                      <a:pt x="519" y="288"/>
                    </a:cubicBezTo>
                    <a:cubicBezTo>
                      <a:pt x="516" y="288"/>
                      <a:pt x="519" y="282"/>
                      <a:pt x="516" y="282"/>
                    </a:cubicBezTo>
                    <a:cubicBezTo>
                      <a:pt x="516" y="282"/>
                      <a:pt x="510" y="273"/>
                      <a:pt x="510" y="267"/>
                    </a:cubicBezTo>
                    <a:cubicBezTo>
                      <a:pt x="507" y="264"/>
                      <a:pt x="501" y="264"/>
                      <a:pt x="498" y="261"/>
                    </a:cubicBezTo>
                    <a:cubicBezTo>
                      <a:pt x="498" y="258"/>
                      <a:pt x="501" y="252"/>
                      <a:pt x="504" y="252"/>
                    </a:cubicBezTo>
                    <a:cubicBezTo>
                      <a:pt x="510" y="249"/>
                      <a:pt x="507" y="243"/>
                      <a:pt x="510" y="246"/>
                    </a:cubicBezTo>
                    <a:cubicBezTo>
                      <a:pt x="513" y="246"/>
                      <a:pt x="513" y="243"/>
                      <a:pt x="516" y="240"/>
                    </a:cubicBezTo>
                    <a:cubicBezTo>
                      <a:pt x="519" y="237"/>
                      <a:pt x="522" y="240"/>
                      <a:pt x="522" y="237"/>
                    </a:cubicBezTo>
                    <a:cubicBezTo>
                      <a:pt x="525" y="234"/>
                      <a:pt x="534" y="234"/>
                      <a:pt x="537" y="234"/>
                    </a:cubicBezTo>
                    <a:cubicBezTo>
                      <a:pt x="540" y="231"/>
                      <a:pt x="534" y="225"/>
                      <a:pt x="528" y="225"/>
                    </a:cubicBezTo>
                    <a:cubicBezTo>
                      <a:pt x="525" y="228"/>
                      <a:pt x="522" y="225"/>
                      <a:pt x="519" y="222"/>
                    </a:cubicBezTo>
                    <a:cubicBezTo>
                      <a:pt x="516" y="219"/>
                      <a:pt x="510" y="228"/>
                      <a:pt x="504" y="231"/>
                    </a:cubicBezTo>
                    <a:cubicBezTo>
                      <a:pt x="498" y="234"/>
                      <a:pt x="495" y="228"/>
                      <a:pt x="495" y="222"/>
                    </a:cubicBezTo>
                    <a:cubicBezTo>
                      <a:pt x="498" y="219"/>
                      <a:pt x="492" y="219"/>
                      <a:pt x="486" y="219"/>
                    </a:cubicBezTo>
                    <a:cubicBezTo>
                      <a:pt x="477" y="219"/>
                      <a:pt x="480" y="204"/>
                      <a:pt x="486" y="204"/>
                    </a:cubicBezTo>
                    <a:cubicBezTo>
                      <a:pt x="489" y="204"/>
                      <a:pt x="495" y="210"/>
                      <a:pt x="498" y="201"/>
                    </a:cubicBezTo>
                    <a:cubicBezTo>
                      <a:pt x="501" y="192"/>
                      <a:pt x="504" y="198"/>
                      <a:pt x="513" y="192"/>
                    </a:cubicBezTo>
                    <a:cubicBezTo>
                      <a:pt x="519" y="183"/>
                      <a:pt x="525" y="180"/>
                      <a:pt x="531" y="183"/>
                    </a:cubicBezTo>
                    <a:cubicBezTo>
                      <a:pt x="537" y="189"/>
                      <a:pt x="525" y="195"/>
                      <a:pt x="522" y="198"/>
                    </a:cubicBezTo>
                    <a:cubicBezTo>
                      <a:pt x="522" y="204"/>
                      <a:pt x="525" y="204"/>
                      <a:pt x="522" y="207"/>
                    </a:cubicBezTo>
                    <a:cubicBezTo>
                      <a:pt x="519" y="210"/>
                      <a:pt x="522" y="213"/>
                      <a:pt x="528" y="207"/>
                    </a:cubicBezTo>
                    <a:cubicBezTo>
                      <a:pt x="537" y="204"/>
                      <a:pt x="543" y="198"/>
                      <a:pt x="549" y="195"/>
                    </a:cubicBezTo>
                    <a:cubicBezTo>
                      <a:pt x="552" y="195"/>
                      <a:pt x="555" y="195"/>
                      <a:pt x="555" y="195"/>
                    </a:cubicBezTo>
                    <a:cubicBezTo>
                      <a:pt x="558" y="192"/>
                      <a:pt x="558" y="192"/>
                      <a:pt x="558" y="189"/>
                    </a:cubicBezTo>
                    <a:cubicBezTo>
                      <a:pt x="564" y="189"/>
                      <a:pt x="579" y="180"/>
                      <a:pt x="579" y="177"/>
                    </a:cubicBezTo>
                    <a:cubicBezTo>
                      <a:pt x="582" y="177"/>
                      <a:pt x="585" y="171"/>
                      <a:pt x="588" y="171"/>
                    </a:cubicBezTo>
                    <a:cubicBezTo>
                      <a:pt x="591" y="171"/>
                      <a:pt x="591" y="174"/>
                      <a:pt x="594" y="174"/>
                    </a:cubicBezTo>
                    <a:cubicBezTo>
                      <a:pt x="600" y="174"/>
                      <a:pt x="603" y="174"/>
                      <a:pt x="603" y="171"/>
                    </a:cubicBezTo>
                    <a:cubicBezTo>
                      <a:pt x="600" y="168"/>
                      <a:pt x="600" y="168"/>
                      <a:pt x="606" y="168"/>
                    </a:cubicBezTo>
                    <a:cubicBezTo>
                      <a:pt x="612" y="165"/>
                      <a:pt x="609" y="162"/>
                      <a:pt x="615" y="162"/>
                    </a:cubicBezTo>
                    <a:cubicBezTo>
                      <a:pt x="618" y="162"/>
                      <a:pt x="618" y="153"/>
                      <a:pt x="621" y="153"/>
                    </a:cubicBezTo>
                    <a:cubicBezTo>
                      <a:pt x="624" y="153"/>
                      <a:pt x="627" y="156"/>
                      <a:pt x="630" y="156"/>
                    </a:cubicBezTo>
                    <a:cubicBezTo>
                      <a:pt x="633" y="156"/>
                      <a:pt x="633" y="156"/>
                      <a:pt x="633" y="156"/>
                    </a:cubicBezTo>
                    <a:cubicBezTo>
                      <a:pt x="633" y="156"/>
                      <a:pt x="636" y="156"/>
                      <a:pt x="636" y="153"/>
                    </a:cubicBezTo>
                    <a:cubicBezTo>
                      <a:pt x="636" y="150"/>
                      <a:pt x="636" y="147"/>
                      <a:pt x="636" y="144"/>
                    </a:cubicBezTo>
                    <a:cubicBezTo>
                      <a:pt x="633" y="141"/>
                      <a:pt x="636" y="138"/>
                      <a:pt x="633" y="135"/>
                    </a:cubicBezTo>
                    <a:cubicBezTo>
                      <a:pt x="633" y="132"/>
                      <a:pt x="633" y="126"/>
                      <a:pt x="636" y="126"/>
                    </a:cubicBezTo>
                    <a:cubicBezTo>
                      <a:pt x="639" y="126"/>
                      <a:pt x="642" y="120"/>
                      <a:pt x="645" y="123"/>
                    </a:cubicBezTo>
                    <a:cubicBezTo>
                      <a:pt x="648" y="123"/>
                      <a:pt x="654" y="126"/>
                      <a:pt x="654" y="123"/>
                    </a:cubicBezTo>
                    <a:cubicBezTo>
                      <a:pt x="654" y="120"/>
                      <a:pt x="660" y="120"/>
                      <a:pt x="660" y="114"/>
                    </a:cubicBezTo>
                    <a:cubicBezTo>
                      <a:pt x="660" y="111"/>
                      <a:pt x="666" y="111"/>
                      <a:pt x="666" y="105"/>
                    </a:cubicBezTo>
                    <a:cubicBezTo>
                      <a:pt x="669" y="102"/>
                      <a:pt x="669" y="93"/>
                      <a:pt x="672" y="93"/>
                    </a:cubicBezTo>
                    <a:cubicBezTo>
                      <a:pt x="678" y="90"/>
                      <a:pt x="672" y="87"/>
                      <a:pt x="672" y="8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31" name="Freeform 637"/>
              <p:cNvSpPr>
                <a:spLocks/>
              </p:cNvSpPr>
              <p:nvPr userDrawn="1"/>
            </p:nvSpPr>
            <p:spPr bwMode="auto">
              <a:xfrm>
                <a:off x="4778" y="-2190"/>
                <a:ext cx="1057" cy="688"/>
              </a:xfrm>
              <a:custGeom>
                <a:avLst/>
                <a:gdLst>
                  <a:gd name="T0" fmla="*/ 642 w 678"/>
                  <a:gd name="T1" fmla="*/ 87 h 441"/>
                  <a:gd name="T2" fmla="*/ 609 w 678"/>
                  <a:gd name="T3" fmla="*/ 63 h 441"/>
                  <a:gd name="T4" fmla="*/ 582 w 678"/>
                  <a:gd name="T5" fmla="*/ 24 h 441"/>
                  <a:gd name="T6" fmla="*/ 543 w 678"/>
                  <a:gd name="T7" fmla="*/ 0 h 441"/>
                  <a:gd name="T8" fmla="*/ 516 w 678"/>
                  <a:gd name="T9" fmla="*/ 21 h 441"/>
                  <a:gd name="T10" fmla="*/ 495 w 678"/>
                  <a:gd name="T11" fmla="*/ 54 h 441"/>
                  <a:gd name="T12" fmla="*/ 462 w 678"/>
                  <a:gd name="T13" fmla="*/ 72 h 441"/>
                  <a:gd name="T14" fmla="*/ 483 w 678"/>
                  <a:gd name="T15" fmla="*/ 84 h 441"/>
                  <a:gd name="T16" fmla="*/ 480 w 678"/>
                  <a:gd name="T17" fmla="*/ 105 h 441"/>
                  <a:gd name="T18" fmla="*/ 423 w 678"/>
                  <a:gd name="T19" fmla="*/ 126 h 441"/>
                  <a:gd name="T20" fmla="*/ 381 w 678"/>
                  <a:gd name="T21" fmla="*/ 162 h 441"/>
                  <a:gd name="T22" fmla="*/ 315 w 678"/>
                  <a:gd name="T23" fmla="*/ 165 h 441"/>
                  <a:gd name="T24" fmla="*/ 240 w 678"/>
                  <a:gd name="T25" fmla="*/ 156 h 441"/>
                  <a:gd name="T26" fmla="*/ 210 w 678"/>
                  <a:gd name="T27" fmla="*/ 123 h 441"/>
                  <a:gd name="T28" fmla="*/ 183 w 678"/>
                  <a:gd name="T29" fmla="*/ 90 h 441"/>
                  <a:gd name="T30" fmla="*/ 153 w 678"/>
                  <a:gd name="T31" fmla="*/ 63 h 441"/>
                  <a:gd name="T32" fmla="*/ 138 w 678"/>
                  <a:gd name="T33" fmla="*/ 75 h 441"/>
                  <a:gd name="T34" fmla="*/ 111 w 678"/>
                  <a:gd name="T35" fmla="*/ 96 h 441"/>
                  <a:gd name="T36" fmla="*/ 87 w 678"/>
                  <a:gd name="T37" fmla="*/ 120 h 441"/>
                  <a:gd name="T38" fmla="*/ 78 w 678"/>
                  <a:gd name="T39" fmla="*/ 150 h 441"/>
                  <a:gd name="T40" fmla="*/ 51 w 678"/>
                  <a:gd name="T41" fmla="*/ 174 h 441"/>
                  <a:gd name="T42" fmla="*/ 18 w 678"/>
                  <a:gd name="T43" fmla="*/ 186 h 441"/>
                  <a:gd name="T44" fmla="*/ 0 w 678"/>
                  <a:gd name="T45" fmla="*/ 198 h 441"/>
                  <a:gd name="T46" fmla="*/ 18 w 678"/>
                  <a:gd name="T47" fmla="*/ 228 h 441"/>
                  <a:gd name="T48" fmla="*/ 59 w 678"/>
                  <a:gd name="T49" fmla="*/ 247 h 441"/>
                  <a:gd name="T50" fmla="*/ 63 w 678"/>
                  <a:gd name="T51" fmla="*/ 286 h 441"/>
                  <a:gd name="T52" fmla="*/ 61 w 678"/>
                  <a:gd name="T53" fmla="*/ 288 h 441"/>
                  <a:gd name="T54" fmla="*/ 60 w 678"/>
                  <a:gd name="T55" fmla="*/ 289 h 441"/>
                  <a:gd name="T56" fmla="*/ 57 w 678"/>
                  <a:gd name="T57" fmla="*/ 290 h 441"/>
                  <a:gd name="T58" fmla="*/ 57 w 678"/>
                  <a:gd name="T59" fmla="*/ 303 h 441"/>
                  <a:gd name="T60" fmla="*/ 84 w 678"/>
                  <a:gd name="T61" fmla="*/ 318 h 441"/>
                  <a:gd name="T62" fmla="*/ 153 w 678"/>
                  <a:gd name="T63" fmla="*/ 348 h 441"/>
                  <a:gd name="T64" fmla="*/ 162 w 678"/>
                  <a:gd name="T65" fmla="*/ 354 h 441"/>
                  <a:gd name="T66" fmla="*/ 165 w 678"/>
                  <a:gd name="T67" fmla="*/ 351 h 441"/>
                  <a:gd name="T68" fmla="*/ 201 w 678"/>
                  <a:gd name="T69" fmla="*/ 348 h 441"/>
                  <a:gd name="T70" fmla="*/ 234 w 678"/>
                  <a:gd name="T71" fmla="*/ 333 h 441"/>
                  <a:gd name="T72" fmla="*/ 252 w 678"/>
                  <a:gd name="T73" fmla="*/ 342 h 441"/>
                  <a:gd name="T74" fmla="*/ 264 w 678"/>
                  <a:gd name="T75" fmla="*/ 372 h 441"/>
                  <a:gd name="T76" fmla="*/ 270 w 678"/>
                  <a:gd name="T77" fmla="*/ 405 h 441"/>
                  <a:gd name="T78" fmla="*/ 288 w 678"/>
                  <a:gd name="T79" fmla="*/ 426 h 441"/>
                  <a:gd name="T80" fmla="*/ 300 w 678"/>
                  <a:gd name="T81" fmla="*/ 414 h 441"/>
                  <a:gd name="T82" fmla="*/ 333 w 678"/>
                  <a:gd name="T83" fmla="*/ 408 h 441"/>
                  <a:gd name="T84" fmla="*/ 366 w 678"/>
                  <a:gd name="T85" fmla="*/ 423 h 441"/>
                  <a:gd name="T86" fmla="*/ 387 w 678"/>
                  <a:gd name="T87" fmla="*/ 423 h 441"/>
                  <a:gd name="T88" fmla="*/ 411 w 678"/>
                  <a:gd name="T89" fmla="*/ 423 h 441"/>
                  <a:gd name="T90" fmla="*/ 471 w 678"/>
                  <a:gd name="T91" fmla="*/ 402 h 441"/>
                  <a:gd name="T92" fmla="*/ 498 w 678"/>
                  <a:gd name="T93" fmla="*/ 381 h 441"/>
                  <a:gd name="T94" fmla="*/ 510 w 678"/>
                  <a:gd name="T95" fmla="*/ 357 h 441"/>
                  <a:gd name="T96" fmla="*/ 528 w 678"/>
                  <a:gd name="T97" fmla="*/ 330 h 441"/>
                  <a:gd name="T98" fmla="*/ 516 w 678"/>
                  <a:gd name="T99" fmla="*/ 318 h 441"/>
                  <a:gd name="T100" fmla="*/ 519 w 678"/>
                  <a:gd name="T101" fmla="*/ 297 h 441"/>
                  <a:gd name="T102" fmla="*/ 510 w 678"/>
                  <a:gd name="T103" fmla="*/ 267 h 441"/>
                  <a:gd name="T104" fmla="*/ 516 w 678"/>
                  <a:gd name="T105" fmla="*/ 240 h 441"/>
                  <a:gd name="T106" fmla="*/ 519 w 678"/>
                  <a:gd name="T107" fmla="*/ 222 h 441"/>
                  <a:gd name="T108" fmla="*/ 486 w 678"/>
                  <a:gd name="T109" fmla="*/ 204 h 441"/>
                  <a:gd name="T110" fmla="*/ 522 w 678"/>
                  <a:gd name="T111" fmla="*/ 198 h 441"/>
                  <a:gd name="T112" fmla="*/ 555 w 678"/>
                  <a:gd name="T113" fmla="*/ 195 h 441"/>
                  <a:gd name="T114" fmla="*/ 594 w 678"/>
                  <a:gd name="T115" fmla="*/ 174 h 441"/>
                  <a:gd name="T116" fmla="*/ 621 w 678"/>
                  <a:gd name="T117" fmla="*/ 153 h 441"/>
                  <a:gd name="T118" fmla="*/ 636 w 678"/>
                  <a:gd name="T119" fmla="*/ 144 h 441"/>
                  <a:gd name="T120" fmla="*/ 654 w 678"/>
                  <a:gd name="T121" fmla="*/ 123 h 441"/>
                  <a:gd name="T122" fmla="*/ 672 w 678"/>
                  <a:gd name="T123" fmla="*/ 8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8" h="441">
                    <a:moveTo>
                      <a:pt x="672" y="81"/>
                    </a:moveTo>
                    <a:cubicBezTo>
                      <a:pt x="672" y="75"/>
                      <a:pt x="666" y="78"/>
                      <a:pt x="663" y="81"/>
                    </a:cubicBezTo>
                    <a:cubicBezTo>
                      <a:pt x="663" y="81"/>
                      <a:pt x="654" y="81"/>
                      <a:pt x="654" y="84"/>
                    </a:cubicBezTo>
                    <a:cubicBezTo>
                      <a:pt x="651" y="87"/>
                      <a:pt x="648" y="87"/>
                      <a:pt x="642" y="87"/>
                    </a:cubicBezTo>
                    <a:cubicBezTo>
                      <a:pt x="639" y="87"/>
                      <a:pt x="633" y="84"/>
                      <a:pt x="633" y="81"/>
                    </a:cubicBezTo>
                    <a:cubicBezTo>
                      <a:pt x="633" y="78"/>
                      <a:pt x="630" y="75"/>
                      <a:pt x="630" y="72"/>
                    </a:cubicBezTo>
                    <a:cubicBezTo>
                      <a:pt x="630" y="69"/>
                      <a:pt x="624" y="69"/>
                      <a:pt x="621" y="66"/>
                    </a:cubicBezTo>
                    <a:cubicBezTo>
                      <a:pt x="618" y="63"/>
                      <a:pt x="612" y="60"/>
                      <a:pt x="609" y="63"/>
                    </a:cubicBezTo>
                    <a:cubicBezTo>
                      <a:pt x="609" y="63"/>
                      <a:pt x="606" y="57"/>
                      <a:pt x="600" y="57"/>
                    </a:cubicBezTo>
                    <a:cubicBezTo>
                      <a:pt x="594" y="57"/>
                      <a:pt x="594" y="54"/>
                      <a:pt x="594" y="51"/>
                    </a:cubicBezTo>
                    <a:cubicBezTo>
                      <a:pt x="597" y="48"/>
                      <a:pt x="591" y="42"/>
                      <a:pt x="588" y="39"/>
                    </a:cubicBezTo>
                    <a:cubicBezTo>
                      <a:pt x="588" y="33"/>
                      <a:pt x="585" y="33"/>
                      <a:pt x="582" y="24"/>
                    </a:cubicBezTo>
                    <a:cubicBezTo>
                      <a:pt x="582" y="15"/>
                      <a:pt x="576" y="18"/>
                      <a:pt x="576" y="15"/>
                    </a:cubicBezTo>
                    <a:cubicBezTo>
                      <a:pt x="579" y="9"/>
                      <a:pt x="573" y="9"/>
                      <a:pt x="570" y="6"/>
                    </a:cubicBezTo>
                    <a:cubicBezTo>
                      <a:pt x="567" y="3"/>
                      <a:pt x="561" y="6"/>
                      <a:pt x="555" y="3"/>
                    </a:cubicBezTo>
                    <a:cubicBezTo>
                      <a:pt x="552" y="0"/>
                      <a:pt x="549" y="0"/>
                      <a:pt x="543" y="0"/>
                    </a:cubicBezTo>
                    <a:cubicBezTo>
                      <a:pt x="540" y="0"/>
                      <a:pt x="528" y="0"/>
                      <a:pt x="528" y="0"/>
                    </a:cubicBezTo>
                    <a:cubicBezTo>
                      <a:pt x="525" y="0"/>
                      <a:pt x="516" y="0"/>
                      <a:pt x="513" y="6"/>
                    </a:cubicBezTo>
                    <a:cubicBezTo>
                      <a:pt x="507" y="12"/>
                      <a:pt x="513" y="12"/>
                      <a:pt x="513" y="12"/>
                    </a:cubicBezTo>
                    <a:cubicBezTo>
                      <a:pt x="516" y="12"/>
                      <a:pt x="516" y="18"/>
                      <a:pt x="516" y="21"/>
                    </a:cubicBezTo>
                    <a:cubicBezTo>
                      <a:pt x="516" y="21"/>
                      <a:pt x="513" y="24"/>
                      <a:pt x="513" y="27"/>
                    </a:cubicBezTo>
                    <a:cubicBezTo>
                      <a:pt x="510" y="27"/>
                      <a:pt x="507" y="33"/>
                      <a:pt x="504" y="36"/>
                    </a:cubicBezTo>
                    <a:cubicBezTo>
                      <a:pt x="504" y="39"/>
                      <a:pt x="498" y="45"/>
                      <a:pt x="501" y="48"/>
                    </a:cubicBezTo>
                    <a:cubicBezTo>
                      <a:pt x="501" y="51"/>
                      <a:pt x="498" y="54"/>
                      <a:pt x="495" y="54"/>
                    </a:cubicBezTo>
                    <a:cubicBezTo>
                      <a:pt x="492" y="54"/>
                      <a:pt x="486" y="57"/>
                      <a:pt x="483" y="60"/>
                    </a:cubicBezTo>
                    <a:cubicBezTo>
                      <a:pt x="474" y="57"/>
                      <a:pt x="474" y="57"/>
                      <a:pt x="474" y="57"/>
                    </a:cubicBezTo>
                    <a:cubicBezTo>
                      <a:pt x="474" y="54"/>
                      <a:pt x="471" y="54"/>
                      <a:pt x="471" y="54"/>
                    </a:cubicBezTo>
                    <a:cubicBezTo>
                      <a:pt x="462" y="72"/>
                      <a:pt x="462" y="72"/>
                      <a:pt x="462" y="72"/>
                    </a:cubicBezTo>
                    <a:cubicBezTo>
                      <a:pt x="462" y="78"/>
                      <a:pt x="462" y="78"/>
                      <a:pt x="462" y="78"/>
                    </a:cubicBezTo>
                    <a:cubicBezTo>
                      <a:pt x="462" y="78"/>
                      <a:pt x="456" y="78"/>
                      <a:pt x="459" y="84"/>
                    </a:cubicBezTo>
                    <a:cubicBezTo>
                      <a:pt x="465" y="87"/>
                      <a:pt x="465" y="84"/>
                      <a:pt x="471" y="84"/>
                    </a:cubicBezTo>
                    <a:cubicBezTo>
                      <a:pt x="477" y="84"/>
                      <a:pt x="480" y="90"/>
                      <a:pt x="483" y="84"/>
                    </a:cubicBezTo>
                    <a:cubicBezTo>
                      <a:pt x="483" y="81"/>
                      <a:pt x="489" y="81"/>
                      <a:pt x="492" y="84"/>
                    </a:cubicBezTo>
                    <a:cubicBezTo>
                      <a:pt x="495" y="87"/>
                      <a:pt x="507" y="96"/>
                      <a:pt x="507" y="99"/>
                    </a:cubicBezTo>
                    <a:cubicBezTo>
                      <a:pt x="507" y="102"/>
                      <a:pt x="501" y="102"/>
                      <a:pt x="495" y="102"/>
                    </a:cubicBezTo>
                    <a:cubicBezTo>
                      <a:pt x="492" y="99"/>
                      <a:pt x="486" y="105"/>
                      <a:pt x="480" y="105"/>
                    </a:cubicBezTo>
                    <a:cubicBezTo>
                      <a:pt x="477" y="105"/>
                      <a:pt x="471" y="105"/>
                      <a:pt x="468" y="108"/>
                    </a:cubicBezTo>
                    <a:cubicBezTo>
                      <a:pt x="462" y="114"/>
                      <a:pt x="465" y="117"/>
                      <a:pt x="456" y="120"/>
                    </a:cubicBezTo>
                    <a:cubicBezTo>
                      <a:pt x="450" y="120"/>
                      <a:pt x="447" y="120"/>
                      <a:pt x="441" y="123"/>
                    </a:cubicBezTo>
                    <a:cubicBezTo>
                      <a:pt x="432" y="129"/>
                      <a:pt x="426" y="126"/>
                      <a:pt x="423" y="126"/>
                    </a:cubicBezTo>
                    <a:cubicBezTo>
                      <a:pt x="420" y="123"/>
                      <a:pt x="414" y="123"/>
                      <a:pt x="411" y="129"/>
                    </a:cubicBezTo>
                    <a:cubicBezTo>
                      <a:pt x="408" y="132"/>
                      <a:pt x="414" y="135"/>
                      <a:pt x="414" y="141"/>
                    </a:cubicBezTo>
                    <a:cubicBezTo>
                      <a:pt x="414" y="147"/>
                      <a:pt x="405" y="147"/>
                      <a:pt x="402" y="153"/>
                    </a:cubicBezTo>
                    <a:cubicBezTo>
                      <a:pt x="396" y="159"/>
                      <a:pt x="384" y="162"/>
                      <a:pt x="381" y="162"/>
                    </a:cubicBezTo>
                    <a:cubicBezTo>
                      <a:pt x="375" y="159"/>
                      <a:pt x="363" y="156"/>
                      <a:pt x="354" y="162"/>
                    </a:cubicBezTo>
                    <a:cubicBezTo>
                      <a:pt x="345" y="165"/>
                      <a:pt x="339" y="174"/>
                      <a:pt x="336" y="171"/>
                    </a:cubicBezTo>
                    <a:cubicBezTo>
                      <a:pt x="333" y="171"/>
                      <a:pt x="333" y="168"/>
                      <a:pt x="327" y="168"/>
                    </a:cubicBezTo>
                    <a:cubicBezTo>
                      <a:pt x="321" y="168"/>
                      <a:pt x="318" y="168"/>
                      <a:pt x="315" y="165"/>
                    </a:cubicBezTo>
                    <a:cubicBezTo>
                      <a:pt x="312" y="162"/>
                      <a:pt x="309" y="165"/>
                      <a:pt x="303" y="162"/>
                    </a:cubicBezTo>
                    <a:cubicBezTo>
                      <a:pt x="297" y="156"/>
                      <a:pt x="288" y="159"/>
                      <a:pt x="282" y="156"/>
                    </a:cubicBezTo>
                    <a:cubicBezTo>
                      <a:pt x="279" y="156"/>
                      <a:pt x="261" y="156"/>
                      <a:pt x="255" y="156"/>
                    </a:cubicBezTo>
                    <a:cubicBezTo>
                      <a:pt x="249" y="156"/>
                      <a:pt x="240" y="159"/>
                      <a:pt x="240" y="156"/>
                    </a:cubicBezTo>
                    <a:cubicBezTo>
                      <a:pt x="240" y="153"/>
                      <a:pt x="237" y="150"/>
                      <a:pt x="234" y="144"/>
                    </a:cubicBezTo>
                    <a:cubicBezTo>
                      <a:pt x="234" y="138"/>
                      <a:pt x="228" y="135"/>
                      <a:pt x="225" y="135"/>
                    </a:cubicBezTo>
                    <a:cubicBezTo>
                      <a:pt x="222" y="132"/>
                      <a:pt x="222" y="129"/>
                      <a:pt x="219" y="129"/>
                    </a:cubicBezTo>
                    <a:cubicBezTo>
                      <a:pt x="216" y="129"/>
                      <a:pt x="216" y="123"/>
                      <a:pt x="210" y="123"/>
                    </a:cubicBezTo>
                    <a:cubicBezTo>
                      <a:pt x="204" y="123"/>
                      <a:pt x="186" y="123"/>
                      <a:pt x="183" y="117"/>
                    </a:cubicBezTo>
                    <a:cubicBezTo>
                      <a:pt x="183" y="114"/>
                      <a:pt x="186" y="114"/>
                      <a:pt x="186" y="108"/>
                    </a:cubicBezTo>
                    <a:cubicBezTo>
                      <a:pt x="186" y="105"/>
                      <a:pt x="189" y="99"/>
                      <a:pt x="189" y="96"/>
                    </a:cubicBezTo>
                    <a:cubicBezTo>
                      <a:pt x="186" y="96"/>
                      <a:pt x="183" y="93"/>
                      <a:pt x="183" y="90"/>
                    </a:cubicBezTo>
                    <a:cubicBezTo>
                      <a:pt x="180" y="84"/>
                      <a:pt x="177" y="81"/>
                      <a:pt x="171" y="81"/>
                    </a:cubicBezTo>
                    <a:cubicBezTo>
                      <a:pt x="168" y="81"/>
                      <a:pt x="165" y="78"/>
                      <a:pt x="162" y="75"/>
                    </a:cubicBezTo>
                    <a:cubicBezTo>
                      <a:pt x="159" y="72"/>
                      <a:pt x="156" y="72"/>
                      <a:pt x="153" y="66"/>
                    </a:cubicBezTo>
                    <a:cubicBezTo>
                      <a:pt x="153" y="63"/>
                      <a:pt x="153" y="63"/>
                      <a:pt x="153" y="63"/>
                    </a:cubicBezTo>
                    <a:cubicBezTo>
                      <a:pt x="150" y="63"/>
                      <a:pt x="150" y="63"/>
                      <a:pt x="150" y="63"/>
                    </a:cubicBezTo>
                    <a:cubicBezTo>
                      <a:pt x="147" y="63"/>
                      <a:pt x="147" y="63"/>
                      <a:pt x="147" y="60"/>
                    </a:cubicBezTo>
                    <a:cubicBezTo>
                      <a:pt x="144" y="63"/>
                      <a:pt x="141" y="66"/>
                      <a:pt x="141" y="69"/>
                    </a:cubicBezTo>
                    <a:cubicBezTo>
                      <a:pt x="141" y="72"/>
                      <a:pt x="141" y="75"/>
                      <a:pt x="138" y="75"/>
                    </a:cubicBezTo>
                    <a:cubicBezTo>
                      <a:pt x="135" y="75"/>
                      <a:pt x="129" y="78"/>
                      <a:pt x="129" y="84"/>
                    </a:cubicBezTo>
                    <a:cubicBezTo>
                      <a:pt x="129" y="90"/>
                      <a:pt x="132" y="90"/>
                      <a:pt x="132" y="93"/>
                    </a:cubicBezTo>
                    <a:cubicBezTo>
                      <a:pt x="129" y="96"/>
                      <a:pt x="123" y="96"/>
                      <a:pt x="120" y="96"/>
                    </a:cubicBezTo>
                    <a:cubicBezTo>
                      <a:pt x="120" y="96"/>
                      <a:pt x="114" y="96"/>
                      <a:pt x="111" y="96"/>
                    </a:cubicBezTo>
                    <a:cubicBezTo>
                      <a:pt x="108" y="96"/>
                      <a:pt x="105" y="90"/>
                      <a:pt x="102" y="96"/>
                    </a:cubicBezTo>
                    <a:cubicBezTo>
                      <a:pt x="102" y="99"/>
                      <a:pt x="93" y="114"/>
                      <a:pt x="96" y="117"/>
                    </a:cubicBezTo>
                    <a:cubicBezTo>
                      <a:pt x="99" y="117"/>
                      <a:pt x="99" y="123"/>
                      <a:pt x="96" y="123"/>
                    </a:cubicBezTo>
                    <a:cubicBezTo>
                      <a:pt x="93" y="123"/>
                      <a:pt x="90" y="123"/>
                      <a:pt x="87" y="120"/>
                    </a:cubicBezTo>
                    <a:cubicBezTo>
                      <a:pt x="87" y="117"/>
                      <a:pt x="81" y="123"/>
                      <a:pt x="78" y="123"/>
                    </a:cubicBezTo>
                    <a:cubicBezTo>
                      <a:pt x="75" y="123"/>
                      <a:pt x="69" y="126"/>
                      <a:pt x="72" y="126"/>
                    </a:cubicBezTo>
                    <a:cubicBezTo>
                      <a:pt x="72" y="129"/>
                      <a:pt x="72" y="135"/>
                      <a:pt x="72" y="135"/>
                    </a:cubicBezTo>
                    <a:cubicBezTo>
                      <a:pt x="72" y="138"/>
                      <a:pt x="78" y="147"/>
                      <a:pt x="78" y="150"/>
                    </a:cubicBezTo>
                    <a:cubicBezTo>
                      <a:pt x="78" y="150"/>
                      <a:pt x="72" y="153"/>
                      <a:pt x="72" y="156"/>
                    </a:cubicBezTo>
                    <a:cubicBezTo>
                      <a:pt x="72" y="162"/>
                      <a:pt x="72" y="165"/>
                      <a:pt x="72" y="165"/>
                    </a:cubicBezTo>
                    <a:cubicBezTo>
                      <a:pt x="69" y="165"/>
                      <a:pt x="63" y="168"/>
                      <a:pt x="60" y="168"/>
                    </a:cubicBezTo>
                    <a:cubicBezTo>
                      <a:pt x="57" y="171"/>
                      <a:pt x="54" y="171"/>
                      <a:pt x="51" y="174"/>
                    </a:cubicBezTo>
                    <a:cubicBezTo>
                      <a:pt x="51" y="177"/>
                      <a:pt x="48" y="180"/>
                      <a:pt x="42" y="180"/>
                    </a:cubicBezTo>
                    <a:cubicBezTo>
                      <a:pt x="39" y="180"/>
                      <a:pt x="36" y="177"/>
                      <a:pt x="33" y="183"/>
                    </a:cubicBezTo>
                    <a:cubicBezTo>
                      <a:pt x="30" y="186"/>
                      <a:pt x="30" y="186"/>
                      <a:pt x="27" y="186"/>
                    </a:cubicBezTo>
                    <a:cubicBezTo>
                      <a:pt x="24" y="189"/>
                      <a:pt x="21" y="186"/>
                      <a:pt x="18" y="186"/>
                    </a:cubicBezTo>
                    <a:cubicBezTo>
                      <a:pt x="18" y="183"/>
                      <a:pt x="15" y="186"/>
                      <a:pt x="12" y="186"/>
                    </a:cubicBezTo>
                    <a:cubicBezTo>
                      <a:pt x="12" y="186"/>
                      <a:pt x="9" y="189"/>
                      <a:pt x="6" y="192"/>
                    </a:cubicBezTo>
                    <a:cubicBezTo>
                      <a:pt x="3" y="192"/>
                      <a:pt x="0" y="192"/>
                      <a:pt x="0" y="195"/>
                    </a:cubicBezTo>
                    <a:cubicBezTo>
                      <a:pt x="0" y="198"/>
                      <a:pt x="0" y="198"/>
                      <a:pt x="0" y="198"/>
                    </a:cubicBezTo>
                    <a:cubicBezTo>
                      <a:pt x="0" y="210"/>
                      <a:pt x="0" y="210"/>
                      <a:pt x="0" y="210"/>
                    </a:cubicBezTo>
                    <a:cubicBezTo>
                      <a:pt x="0" y="210"/>
                      <a:pt x="12" y="213"/>
                      <a:pt x="12" y="216"/>
                    </a:cubicBezTo>
                    <a:cubicBezTo>
                      <a:pt x="12" y="219"/>
                      <a:pt x="13" y="225"/>
                      <a:pt x="14" y="229"/>
                    </a:cubicBezTo>
                    <a:cubicBezTo>
                      <a:pt x="15" y="228"/>
                      <a:pt x="17" y="228"/>
                      <a:pt x="18" y="228"/>
                    </a:cubicBezTo>
                    <a:cubicBezTo>
                      <a:pt x="18" y="228"/>
                      <a:pt x="22" y="230"/>
                      <a:pt x="25" y="236"/>
                    </a:cubicBezTo>
                    <a:cubicBezTo>
                      <a:pt x="27" y="240"/>
                      <a:pt x="31" y="244"/>
                      <a:pt x="35" y="246"/>
                    </a:cubicBezTo>
                    <a:cubicBezTo>
                      <a:pt x="41" y="249"/>
                      <a:pt x="43" y="253"/>
                      <a:pt x="45" y="252"/>
                    </a:cubicBezTo>
                    <a:cubicBezTo>
                      <a:pt x="48" y="252"/>
                      <a:pt x="56" y="247"/>
                      <a:pt x="59" y="247"/>
                    </a:cubicBezTo>
                    <a:cubicBezTo>
                      <a:pt x="61" y="249"/>
                      <a:pt x="71" y="251"/>
                      <a:pt x="70" y="259"/>
                    </a:cubicBezTo>
                    <a:cubicBezTo>
                      <a:pt x="69" y="264"/>
                      <a:pt x="57" y="275"/>
                      <a:pt x="57" y="276"/>
                    </a:cubicBezTo>
                    <a:cubicBezTo>
                      <a:pt x="57" y="276"/>
                      <a:pt x="60" y="282"/>
                      <a:pt x="63" y="285"/>
                    </a:cubicBezTo>
                    <a:cubicBezTo>
                      <a:pt x="63" y="286"/>
                      <a:pt x="63" y="286"/>
                      <a:pt x="63" y="286"/>
                    </a:cubicBezTo>
                    <a:cubicBezTo>
                      <a:pt x="63" y="287"/>
                      <a:pt x="63" y="287"/>
                      <a:pt x="62" y="287"/>
                    </a:cubicBezTo>
                    <a:cubicBezTo>
                      <a:pt x="62" y="287"/>
                      <a:pt x="62" y="287"/>
                      <a:pt x="62" y="287"/>
                    </a:cubicBezTo>
                    <a:cubicBezTo>
                      <a:pt x="62" y="287"/>
                      <a:pt x="62" y="287"/>
                      <a:pt x="62" y="287"/>
                    </a:cubicBezTo>
                    <a:cubicBezTo>
                      <a:pt x="62" y="287"/>
                      <a:pt x="62" y="288"/>
                      <a:pt x="61" y="288"/>
                    </a:cubicBezTo>
                    <a:cubicBezTo>
                      <a:pt x="61" y="288"/>
                      <a:pt x="61" y="288"/>
                      <a:pt x="61" y="288"/>
                    </a:cubicBezTo>
                    <a:cubicBezTo>
                      <a:pt x="60" y="289"/>
                      <a:pt x="60" y="289"/>
                      <a:pt x="60" y="289"/>
                    </a:cubicBezTo>
                    <a:cubicBezTo>
                      <a:pt x="60" y="289"/>
                      <a:pt x="60" y="289"/>
                      <a:pt x="60" y="289"/>
                    </a:cubicBezTo>
                    <a:cubicBezTo>
                      <a:pt x="60" y="289"/>
                      <a:pt x="60" y="289"/>
                      <a:pt x="60" y="289"/>
                    </a:cubicBezTo>
                    <a:cubicBezTo>
                      <a:pt x="60" y="289"/>
                      <a:pt x="60" y="289"/>
                      <a:pt x="60" y="289"/>
                    </a:cubicBezTo>
                    <a:cubicBezTo>
                      <a:pt x="59" y="289"/>
                      <a:pt x="58" y="290"/>
                      <a:pt x="58" y="290"/>
                    </a:cubicBezTo>
                    <a:cubicBezTo>
                      <a:pt x="58" y="290"/>
                      <a:pt x="58" y="290"/>
                      <a:pt x="58" y="290"/>
                    </a:cubicBezTo>
                    <a:cubicBezTo>
                      <a:pt x="57" y="290"/>
                      <a:pt x="57" y="290"/>
                      <a:pt x="57" y="290"/>
                    </a:cubicBezTo>
                    <a:cubicBezTo>
                      <a:pt x="57" y="290"/>
                      <a:pt x="57" y="290"/>
                      <a:pt x="57" y="290"/>
                    </a:cubicBezTo>
                    <a:cubicBezTo>
                      <a:pt x="56" y="290"/>
                      <a:pt x="55" y="289"/>
                      <a:pt x="54" y="288"/>
                    </a:cubicBezTo>
                    <a:cubicBezTo>
                      <a:pt x="51" y="285"/>
                      <a:pt x="51" y="291"/>
                      <a:pt x="54" y="294"/>
                    </a:cubicBezTo>
                    <a:cubicBezTo>
                      <a:pt x="54" y="297"/>
                      <a:pt x="54" y="303"/>
                      <a:pt x="57" y="303"/>
                    </a:cubicBezTo>
                    <a:cubicBezTo>
                      <a:pt x="60" y="303"/>
                      <a:pt x="63" y="309"/>
                      <a:pt x="66" y="309"/>
                    </a:cubicBezTo>
                    <a:cubicBezTo>
                      <a:pt x="69" y="309"/>
                      <a:pt x="72" y="315"/>
                      <a:pt x="72" y="315"/>
                    </a:cubicBezTo>
                    <a:cubicBezTo>
                      <a:pt x="72" y="315"/>
                      <a:pt x="78" y="318"/>
                      <a:pt x="78" y="321"/>
                    </a:cubicBezTo>
                    <a:cubicBezTo>
                      <a:pt x="81" y="321"/>
                      <a:pt x="84" y="321"/>
                      <a:pt x="84" y="318"/>
                    </a:cubicBezTo>
                    <a:cubicBezTo>
                      <a:pt x="84" y="318"/>
                      <a:pt x="90" y="318"/>
                      <a:pt x="93" y="321"/>
                    </a:cubicBezTo>
                    <a:cubicBezTo>
                      <a:pt x="96" y="324"/>
                      <a:pt x="111" y="333"/>
                      <a:pt x="117" y="336"/>
                    </a:cubicBezTo>
                    <a:cubicBezTo>
                      <a:pt x="120" y="342"/>
                      <a:pt x="135" y="345"/>
                      <a:pt x="138" y="345"/>
                    </a:cubicBezTo>
                    <a:cubicBezTo>
                      <a:pt x="141" y="345"/>
                      <a:pt x="147" y="348"/>
                      <a:pt x="153" y="348"/>
                    </a:cubicBezTo>
                    <a:cubicBezTo>
                      <a:pt x="153" y="348"/>
                      <a:pt x="153" y="348"/>
                      <a:pt x="155" y="348"/>
                    </a:cubicBezTo>
                    <a:cubicBezTo>
                      <a:pt x="156" y="348"/>
                      <a:pt x="157" y="347"/>
                      <a:pt x="159" y="345"/>
                    </a:cubicBezTo>
                    <a:cubicBezTo>
                      <a:pt x="162" y="342"/>
                      <a:pt x="162" y="348"/>
                      <a:pt x="162" y="351"/>
                    </a:cubicBezTo>
                    <a:cubicBezTo>
                      <a:pt x="162" y="352"/>
                      <a:pt x="162" y="353"/>
                      <a:pt x="162" y="354"/>
                    </a:cubicBezTo>
                    <a:cubicBezTo>
                      <a:pt x="162" y="354"/>
                      <a:pt x="162" y="354"/>
                      <a:pt x="162" y="354"/>
                    </a:cubicBezTo>
                    <a:cubicBezTo>
                      <a:pt x="163" y="355"/>
                      <a:pt x="163" y="355"/>
                      <a:pt x="163" y="356"/>
                    </a:cubicBezTo>
                    <a:cubicBezTo>
                      <a:pt x="163" y="356"/>
                      <a:pt x="163" y="356"/>
                      <a:pt x="163" y="356"/>
                    </a:cubicBezTo>
                    <a:cubicBezTo>
                      <a:pt x="165" y="354"/>
                      <a:pt x="165" y="354"/>
                      <a:pt x="165" y="351"/>
                    </a:cubicBezTo>
                    <a:cubicBezTo>
                      <a:pt x="168" y="345"/>
                      <a:pt x="171" y="348"/>
                      <a:pt x="174" y="345"/>
                    </a:cubicBezTo>
                    <a:cubicBezTo>
                      <a:pt x="177" y="342"/>
                      <a:pt x="177" y="345"/>
                      <a:pt x="183" y="345"/>
                    </a:cubicBezTo>
                    <a:cubicBezTo>
                      <a:pt x="186" y="348"/>
                      <a:pt x="189" y="345"/>
                      <a:pt x="195" y="351"/>
                    </a:cubicBezTo>
                    <a:cubicBezTo>
                      <a:pt x="198" y="348"/>
                      <a:pt x="198" y="348"/>
                      <a:pt x="201" y="348"/>
                    </a:cubicBezTo>
                    <a:cubicBezTo>
                      <a:pt x="204" y="345"/>
                      <a:pt x="204" y="345"/>
                      <a:pt x="204" y="345"/>
                    </a:cubicBezTo>
                    <a:cubicBezTo>
                      <a:pt x="207" y="342"/>
                      <a:pt x="207" y="339"/>
                      <a:pt x="210" y="339"/>
                    </a:cubicBezTo>
                    <a:cubicBezTo>
                      <a:pt x="213" y="339"/>
                      <a:pt x="213" y="336"/>
                      <a:pt x="219" y="333"/>
                    </a:cubicBezTo>
                    <a:cubicBezTo>
                      <a:pt x="225" y="330"/>
                      <a:pt x="231" y="336"/>
                      <a:pt x="234" y="333"/>
                    </a:cubicBezTo>
                    <a:cubicBezTo>
                      <a:pt x="234" y="330"/>
                      <a:pt x="240" y="330"/>
                      <a:pt x="240" y="333"/>
                    </a:cubicBezTo>
                    <a:cubicBezTo>
                      <a:pt x="240" y="333"/>
                      <a:pt x="243" y="336"/>
                      <a:pt x="243" y="339"/>
                    </a:cubicBezTo>
                    <a:cubicBezTo>
                      <a:pt x="243" y="342"/>
                      <a:pt x="249" y="342"/>
                      <a:pt x="249" y="342"/>
                    </a:cubicBezTo>
                    <a:cubicBezTo>
                      <a:pt x="252" y="342"/>
                      <a:pt x="252" y="342"/>
                      <a:pt x="252" y="342"/>
                    </a:cubicBezTo>
                    <a:cubicBezTo>
                      <a:pt x="255" y="339"/>
                      <a:pt x="258" y="342"/>
                      <a:pt x="258" y="345"/>
                    </a:cubicBezTo>
                    <a:cubicBezTo>
                      <a:pt x="258" y="348"/>
                      <a:pt x="258" y="351"/>
                      <a:pt x="261" y="351"/>
                    </a:cubicBezTo>
                    <a:cubicBezTo>
                      <a:pt x="264" y="351"/>
                      <a:pt x="267" y="351"/>
                      <a:pt x="267" y="357"/>
                    </a:cubicBezTo>
                    <a:cubicBezTo>
                      <a:pt x="267" y="363"/>
                      <a:pt x="267" y="369"/>
                      <a:pt x="264" y="372"/>
                    </a:cubicBezTo>
                    <a:cubicBezTo>
                      <a:pt x="258" y="378"/>
                      <a:pt x="252" y="387"/>
                      <a:pt x="255" y="390"/>
                    </a:cubicBezTo>
                    <a:cubicBezTo>
                      <a:pt x="255" y="390"/>
                      <a:pt x="252" y="396"/>
                      <a:pt x="255" y="393"/>
                    </a:cubicBezTo>
                    <a:cubicBezTo>
                      <a:pt x="258" y="393"/>
                      <a:pt x="267" y="393"/>
                      <a:pt x="267" y="396"/>
                    </a:cubicBezTo>
                    <a:cubicBezTo>
                      <a:pt x="264" y="399"/>
                      <a:pt x="267" y="405"/>
                      <a:pt x="270" y="405"/>
                    </a:cubicBezTo>
                    <a:cubicBezTo>
                      <a:pt x="273" y="405"/>
                      <a:pt x="276" y="408"/>
                      <a:pt x="273" y="411"/>
                    </a:cubicBezTo>
                    <a:cubicBezTo>
                      <a:pt x="273" y="414"/>
                      <a:pt x="270" y="417"/>
                      <a:pt x="273" y="417"/>
                    </a:cubicBezTo>
                    <a:cubicBezTo>
                      <a:pt x="276" y="417"/>
                      <a:pt x="282" y="417"/>
                      <a:pt x="279" y="420"/>
                    </a:cubicBezTo>
                    <a:cubicBezTo>
                      <a:pt x="279" y="423"/>
                      <a:pt x="282" y="426"/>
                      <a:pt x="288" y="426"/>
                    </a:cubicBezTo>
                    <a:cubicBezTo>
                      <a:pt x="291" y="423"/>
                      <a:pt x="291" y="423"/>
                      <a:pt x="291" y="423"/>
                    </a:cubicBezTo>
                    <a:cubicBezTo>
                      <a:pt x="294" y="423"/>
                      <a:pt x="294" y="429"/>
                      <a:pt x="297" y="429"/>
                    </a:cubicBezTo>
                    <a:cubicBezTo>
                      <a:pt x="300" y="429"/>
                      <a:pt x="300" y="420"/>
                      <a:pt x="297" y="420"/>
                    </a:cubicBezTo>
                    <a:cubicBezTo>
                      <a:pt x="300" y="414"/>
                      <a:pt x="300" y="414"/>
                      <a:pt x="300" y="414"/>
                    </a:cubicBezTo>
                    <a:cubicBezTo>
                      <a:pt x="300" y="417"/>
                      <a:pt x="306" y="414"/>
                      <a:pt x="309" y="411"/>
                    </a:cubicBezTo>
                    <a:cubicBezTo>
                      <a:pt x="309" y="408"/>
                      <a:pt x="315" y="414"/>
                      <a:pt x="315" y="411"/>
                    </a:cubicBezTo>
                    <a:cubicBezTo>
                      <a:pt x="318" y="408"/>
                      <a:pt x="321" y="414"/>
                      <a:pt x="327" y="411"/>
                    </a:cubicBezTo>
                    <a:cubicBezTo>
                      <a:pt x="330" y="408"/>
                      <a:pt x="333" y="414"/>
                      <a:pt x="333" y="408"/>
                    </a:cubicBezTo>
                    <a:cubicBezTo>
                      <a:pt x="336" y="405"/>
                      <a:pt x="342" y="402"/>
                      <a:pt x="342" y="405"/>
                    </a:cubicBezTo>
                    <a:cubicBezTo>
                      <a:pt x="345" y="405"/>
                      <a:pt x="345" y="408"/>
                      <a:pt x="351" y="408"/>
                    </a:cubicBezTo>
                    <a:cubicBezTo>
                      <a:pt x="360" y="408"/>
                      <a:pt x="354" y="414"/>
                      <a:pt x="354" y="414"/>
                    </a:cubicBezTo>
                    <a:cubicBezTo>
                      <a:pt x="354" y="417"/>
                      <a:pt x="363" y="423"/>
                      <a:pt x="366" y="423"/>
                    </a:cubicBezTo>
                    <a:cubicBezTo>
                      <a:pt x="366" y="423"/>
                      <a:pt x="366" y="423"/>
                      <a:pt x="369" y="426"/>
                    </a:cubicBezTo>
                    <a:cubicBezTo>
                      <a:pt x="369" y="423"/>
                      <a:pt x="375" y="426"/>
                      <a:pt x="375" y="423"/>
                    </a:cubicBezTo>
                    <a:cubicBezTo>
                      <a:pt x="375" y="420"/>
                      <a:pt x="381" y="423"/>
                      <a:pt x="381" y="423"/>
                    </a:cubicBezTo>
                    <a:cubicBezTo>
                      <a:pt x="384" y="426"/>
                      <a:pt x="384" y="426"/>
                      <a:pt x="387" y="423"/>
                    </a:cubicBezTo>
                    <a:cubicBezTo>
                      <a:pt x="390" y="420"/>
                      <a:pt x="393" y="426"/>
                      <a:pt x="390" y="429"/>
                    </a:cubicBezTo>
                    <a:cubicBezTo>
                      <a:pt x="390" y="429"/>
                      <a:pt x="390" y="435"/>
                      <a:pt x="393" y="438"/>
                    </a:cubicBezTo>
                    <a:cubicBezTo>
                      <a:pt x="396" y="441"/>
                      <a:pt x="396" y="438"/>
                      <a:pt x="396" y="435"/>
                    </a:cubicBezTo>
                    <a:cubicBezTo>
                      <a:pt x="396" y="432"/>
                      <a:pt x="402" y="429"/>
                      <a:pt x="411" y="423"/>
                    </a:cubicBezTo>
                    <a:cubicBezTo>
                      <a:pt x="423" y="420"/>
                      <a:pt x="435" y="414"/>
                      <a:pt x="435" y="411"/>
                    </a:cubicBezTo>
                    <a:cubicBezTo>
                      <a:pt x="435" y="411"/>
                      <a:pt x="441" y="414"/>
                      <a:pt x="444" y="411"/>
                    </a:cubicBezTo>
                    <a:cubicBezTo>
                      <a:pt x="450" y="408"/>
                      <a:pt x="462" y="408"/>
                      <a:pt x="465" y="408"/>
                    </a:cubicBezTo>
                    <a:cubicBezTo>
                      <a:pt x="468" y="408"/>
                      <a:pt x="468" y="405"/>
                      <a:pt x="471" y="402"/>
                    </a:cubicBezTo>
                    <a:cubicBezTo>
                      <a:pt x="474" y="399"/>
                      <a:pt x="474" y="399"/>
                      <a:pt x="477" y="396"/>
                    </a:cubicBezTo>
                    <a:cubicBezTo>
                      <a:pt x="483" y="396"/>
                      <a:pt x="483" y="393"/>
                      <a:pt x="483" y="390"/>
                    </a:cubicBezTo>
                    <a:cubicBezTo>
                      <a:pt x="492" y="387"/>
                      <a:pt x="492" y="387"/>
                      <a:pt x="492" y="387"/>
                    </a:cubicBezTo>
                    <a:cubicBezTo>
                      <a:pt x="492" y="384"/>
                      <a:pt x="498" y="384"/>
                      <a:pt x="498" y="381"/>
                    </a:cubicBezTo>
                    <a:cubicBezTo>
                      <a:pt x="498" y="378"/>
                      <a:pt x="501" y="378"/>
                      <a:pt x="504" y="375"/>
                    </a:cubicBezTo>
                    <a:cubicBezTo>
                      <a:pt x="504" y="375"/>
                      <a:pt x="501" y="369"/>
                      <a:pt x="504" y="366"/>
                    </a:cubicBezTo>
                    <a:cubicBezTo>
                      <a:pt x="507" y="366"/>
                      <a:pt x="504" y="363"/>
                      <a:pt x="504" y="363"/>
                    </a:cubicBezTo>
                    <a:cubicBezTo>
                      <a:pt x="501" y="360"/>
                      <a:pt x="507" y="360"/>
                      <a:pt x="510" y="357"/>
                    </a:cubicBezTo>
                    <a:cubicBezTo>
                      <a:pt x="513" y="357"/>
                      <a:pt x="516" y="354"/>
                      <a:pt x="516" y="351"/>
                    </a:cubicBezTo>
                    <a:cubicBezTo>
                      <a:pt x="516" y="348"/>
                      <a:pt x="522" y="345"/>
                      <a:pt x="522" y="345"/>
                    </a:cubicBezTo>
                    <a:cubicBezTo>
                      <a:pt x="525" y="342"/>
                      <a:pt x="525" y="339"/>
                      <a:pt x="525" y="333"/>
                    </a:cubicBezTo>
                    <a:cubicBezTo>
                      <a:pt x="525" y="330"/>
                      <a:pt x="528" y="333"/>
                      <a:pt x="528" y="330"/>
                    </a:cubicBezTo>
                    <a:cubicBezTo>
                      <a:pt x="525" y="330"/>
                      <a:pt x="528" y="324"/>
                      <a:pt x="531" y="324"/>
                    </a:cubicBezTo>
                    <a:cubicBezTo>
                      <a:pt x="537" y="321"/>
                      <a:pt x="528" y="321"/>
                      <a:pt x="528" y="321"/>
                    </a:cubicBezTo>
                    <a:cubicBezTo>
                      <a:pt x="525" y="324"/>
                      <a:pt x="522" y="318"/>
                      <a:pt x="522" y="321"/>
                    </a:cubicBezTo>
                    <a:cubicBezTo>
                      <a:pt x="519" y="321"/>
                      <a:pt x="513" y="318"/>
                      <a:pt x="516" y="318"/>
                    </a:cubicBezTo>
                    <a:cubicBezTo>
                      <a:pt x="519" y="315"/>
                      <a:pt x="525" y="312"/>
                      <a:pt x="528" y="312"/>
                    </a:cubicBezTo>
                    <a:cubicBezTo>
                      <a:pt x="531" y="312"/>
                      <a:pt x="525" y="306"/>
                      <a:pt x="522" y="306"/>
                    </a:cubicBezTo>
                    <a:cubicBezTo>
                      <a:pt x="519" y="306"/>
                      <a:pt x="516" y="297"/>
                      <a:pt x="513" y="297"/>
                    </a:cubicBezTo>
                    <a:cubicBezTo>
                      <a:pt x="515" y="297"/>
                      <a:pt x="517" y="297"/>
                      <a:pt x="519" y="297"/>
                    </a:cubicBezTo>
                    <a:cubicBezTo>
                      <a:pt x="522" y="300"/>
                      <a:pt x="525" y="300"/>
                      <a:pt x="528" y="300"/>
                    </a:cubicBezTo>
                    <a:cubicBezTo>
                      <a:pt x="531" y="297"/>
                      <a:pt x="522" y="291"/>
                      <a:pt x="519" y="288"/>
                    </a:cubicBezTo>
                    <a:cubicBezTo>
                      <a:pt x="516" y="288"/>
                      <a:pt x="519" y="282"/>
                      <a:pt x="516" y="282"/>
                    </a:cubicBezTo>
                    <a:cubicBezTo>
                      <a:pt x="516" y="282"/>
                      <a:pt x="510" y="273"/>
                      <a:pt x="510" y="267"/>
                    </a:cubicBezTo>
                    <a:cubicBezTo>
                      <a:pt x="507" y="264"/>
                      <a:pt x="501" y="264"/>
                      <a:pt x="498" y="261"/>
                    </a:cubicBezTo>
                    <a:cubicBezTo>
                      <a:pt x="498" y="258"/>
                      <a:pt x="501" y="252"/>
                      <a:pt x="504" y="252"/>
                    </a:cubicBezTo>
                    <a:cubicBezTo>
                      <a:pt x="510" y="249"/>
                      <a:pt x="507" y="243"/>
                      <a:pt x="510" y="246"/>
                    </a:cubicBezTo>
                    <a:cubicBezTo>
                      <a:pt x="513" y="246"/>
                      <a:pt x="513" y="243"/>
                      <a:pt x="516" y="240"/>
                    </a:cubicBezTo>
                    <a:cubicBezTo>
                      <a:pt x="519" y="237"/>
                      <a:pt x="522" y="240"/>
                      <a:pt x="522" y="237"/>
                    </a:cubicBezTo>
                    <a:cubicBezTo>
                      <a:pt x="525" y="234"/>
                      <a:pt x="534" y="234"/>
                      <a:pt x="537" y="234"/>
                    </a:cubicBezTo>
                    <a:cubicBezTo>
                      <a:pt x="540" y="231"/>
                      <a:pt x="534" y="225"/>
                      <a:pt x="528" y="225"/>
                    </a:cubicBezTo>
                    <a:cubicBezTo>
                      <a:pt x="525" y="228"/>
                      <a:pt x="522" y="225"/>
                      <a:pt x="519" y="222"/>
                    </a:cubicBezTo>
                    <a:cubicBezTo>
                      <a:pt x="516" y="219"/>
                      <a:pt x="510" y="228"/>
                      <a:pt x="504" y="231"/>
                    </a:cubicBezTo>
                    <a:cubicBezTo>
                      <a:pt x="498" y="234"/>
                      <a:pt x="495" y="228"/>
                      <a:pt x="495" y="222"/>
                    </a:cubicBezTo>
                    <a:cubicBezTo>
                      <a:pt x="498" y="219"/>
                      <a:pt x="492" y="219"/>
                      <a:pt x="486" y="219"/>
                    </a:cubicBezTo>
                    <a:cubicBezTo>
                      <a:pt x="477" y="219"/>
                      <a:pt x="480" y="204"/>
                      <a:pt x="486" y="204"/>
                    </a:cubicBezTo>
                    <a:cubicBezTo>
                      <a:pt x="489" y="204"/>
                      <a:pt x="495" y="210"/>
                      <a:pt x="498" y="201"/>
                    </a:cubicBezTo>
                    <a:cubicBezTo>
                      <a:pt x="501" y="192"/>
                      <a:pt x="504" y="198"/>
                      <a:pt x="513" y="192"/>
                    </a:cubicBezTo>
                    <a:cubicBezTo>
                      <a:pt x="519" y="183"/>
                      <a:pt x="525" y="180"/>
                      <a:pt x="531" y="183"/>
                    </a:cubicBezTo>
                    <a:cubicBezTo>
                      <a:pt x="537" y="189"/>
                      <a:pt x="525" y="195"/>
                      <a:pt x="522" y="198"/>
                    </a:cubicBezTo>
                    <a:cubicBezTo>
                      <a:pt x="522" y="204"/>
                      <a:pt x="525" y="204"/>
                      <a:pt x="522" y="207"/>
                    </a:cubicBezTo>
                    <a:cubicBezTo>
                      <a:pt x="519" y="210"/>
                      <a:pt x="522" y="213"/>
                      <a:pt x="528" y="207"/>
                    </a:cubicBezTo>
                    <a:cubicBezTo>
                      <a:pt x="537" y="204"/>
                      <a:pt x="543" y="198"/>
                      <a:pt x="549" y="195"/>
                    </a:cubicBezTo>
                    <a:cubicBezTo>
                      <a:pt x="552" y="195"/>
                      <a:pt x="555" y="195"/>
                      <a:pt x="555" y="195"/>
                    </a:cubicBezTo>
                    <a:cubicBezTo>
                      <a:pt x="558" y="192"/>
                      <a:pt x="558" y="192"/>
                      <a:pt x="558" y="189"/>
                    </a:cubicBezTo>
                    <a:cubicBezTo>
                      <a:pt x="564" y="189"/>
                      <a:pt x="579" y="180"/>
                      <a:pt x="579" y="177"/>
                    </a:cubicBezTo>
                    <a:cubicBezTo>
                      <a:pt x="582" y="177"/>
                      <a:pt x="585" y="171"/>
                      <a:pt x="588" y="171"/>
                    </a:cubicBezTo>
                    <a:cubicBezTo>
                      <a:pt x="591" y="171"/>
                      <a:pt x="591" y="174"/>
                      <a:pt x="594" y="174"/>
                    </a:cubicBezTo>
                    <a:cubicBezTo>
                      <a:pt x="600" y="174"/>
                      <a:pt x="603" y="174"/>
                      <a:pt x="603" y="171"/>
                    </a:cubicBezTo>
                    <a:cubicBezTo>
                      <a:pt x="600" y="168"/>
                      <a:pt x="600" y="168"/>
                      <a:pt x="606" y="168"/>
                    </a:cubicBezTo>
                    <a:cubicBezTo>
                      <a:pt x="612" y="165"/>
                      <a:pt x="609" y="162"/>
                      <a:pt x="615" y="162"/>
                    </a:cubicBezTo>
                    <a:cubicBezTo>
                      <a:pt x="618" y="162"/>
                      <a:pt x="618" y="153"/>
                      <a:pt x="621" y="153"/>
                    </a:cubicBezTo>
                    <a:cubicBezTo>
                      <a:pt x="624" y="153"/>
                      <a:pt x="627" y="156"/>
                      <a:pt x="630" y="156"/>
                    </a:cubicBezTo>
                    <a:cubicBezTo>
                      <a:pt x="633" y="156"/>
                      <a:pt x="633" y="156"/>
                      <a:pt x="633" y="156"/>
                    </a:cubicBezTo>
                    <a:cubicBezTo>
                      <a:pt x="633" y="156"/>
                      <a:pt x="636" y="156"/>
                      <a:pt x="636" y="153"/>
                    </a:cubicBezTo>
                    <a:cubicBezTo>
                      <a:pt x="636" y="150"/>
                      <a:pt x="636" y="147"/>
                      <a:pt x="636" y="144"/>
                    </a:cubicBezTo>
                    <a:cubicBezTo>
                      <a:pt x="633" y="141"/>
                      <a:pt x="636" y="138"/>
                      <a:pt x="633" y="135"/>
                    </a:cubicBezTo>
                    <a:cubicBezTo>
                      <a:pt x="633" y="132"/>
                      <a:pt x="633" y="126"/>
                      <a:pt x="636" y="126"/>
                    </a:cubicBezTo>
                    <a:cubicBezTo>
                      <a:pt x="639" y="126"/>
                      <a:pt x="642" y="120"/>
                      <a:pt x="645" y="123"/>
                    </a:cubicBezTo>
                    <a:cubicBezTo>
                      <a:pt x="648" y="123"/>
                      <a:pt x="654" y="126"/>
                      <a:pt x="654" y="123"/>
                    </a:cubicBezTo>
                    <a:cubicBezTo>
                      <a:pt x="654" y="120"/>
                      <a:pt x="660" y="120"/>
                      <a:pt x="660" y="114"/>
                    </a:cubicBezTo>
                    <a:cubicBezTo>
                      <a:pt x="660" y="111"/>
                      <a:pt x="666" y="111"/>
                      <a:pt x="666" y="105"/>
                    </a:cubicBezTo>
                    <a:cubicBezTo>
                      <a:pt x="669" y="102"/>
                      <a:pt x="669" y="93"/>
                      <a:pt x="672" y="93"/>
                    </a:cubicBezTo>
                    <a:cubicBezTo>
                      <a:pt x="678" y="90"/>
                      <a:pt x="672" y="87"/>
                      <a:pt x="672" y="81"/>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4" name="Freeform 638"/>
              <p:cNvSpPr>
                <a:spLocks/>
              </p:cNvSpPr>
              <p:nvPr userDrawn="1"/>
            </p:nvSpPr>
            <p:spPr bwMode="auto">
              <a:xfrm>
                <a:off x="4680" y="-1834"/>
                <a:ext cx="491" cy="553"/>
              </a:xfrm>
              <a:custGeom>
                <a:avLst/>
                <a:gdLst>
                  <a:gd name="T0" fmla="*/ 222 w 315"/>
                  <a:gd name="T1" fmla="*/ 156 h 355"/>
                  <a:gd name="T2" fmla="*/ 219 w 315"/>
                  <a:gd name="T3" fmla="*/ 141 h 355"/>
                  <a:gd name="T4" fmla="*/ 237 w 315"/>
                  <a:gd name="T5" fmla="*/ 147 h 355"/>
                  <a:gd name="T6" fmla="*/ 255 w 315"/>
                  <a:gd name="T7" fmla="*/ 153 h 355"/>
                  <a:gd name="T8" fmla="*/ 255 w 315"/>
                  <a:gd name="T9" fmla="*/ 168 h 355"/>
                  <a:gd name="T10" fmla="*/ 261 w 315"/>
                  <a:gd name="T11" fmla="*/ 171 h 355"/>
                  <a:gd name="T12" fmla="*/ 267 w 315"/>
                  <a:gd name="T13" fmla="*/ 192 h 355"/>
                  <a:gd name="T14" fmla="*/ 273 w 315"/>
                  <a:gd name="T15" fmla="*/ 168 h 355"/>
                  <a:gd name="T16" fmla="*/ 285 w 315"/>
                  <a:gd name="T17" fmla="*/ 153 h 355"/>
                  <a:gd name="T18" fmla="*/ 297 w 315"/>
                  <a:gd name="T19" fmla="*/ 132 h 355"/>
                  <a:gd name="T20" fmla="*/ 312 w 315"/>
                  <a:gd name="T21" fmla="*/ 129 h 355"/>
                  <a:gd name="T22" fmla="*/ 312 w 315"/>
                  <a:gd name="T23" fmla="*/ 114 h 355"/>
                  <a:gd name="T24" fmla="*/ 303 w 315"/>
                  <a:gd name="T25" fmla="*/ 105 h 355"/>
                  <a:gd name="T26" fmla="*/ 282 w 315"/>
                  <a:gd name="T27" fmla="*/ 105 h 355"/>
                  <a:gd name="T28" fmla="*/ 267 w 315"/>
                  <a:gd name="T29" fmla="*/ 117 h 355"/>
                  <a:gd name="T30" fmla="*/ 258 w 315"/>
                  <a:gd name="T31" fmla="*/ 123 h 355"/>
                  <a:gd name="T32" fmla="*/ 246 w 315"/>
                  <a:gd name="T33" fmla="*/ 135 h 355"/>
                  <a:gd name="T34" fmla="*/ 228 w 315"/>
                  <a:gd name="T35" fmla="*/ 132 h 355"/>
                  <a:gd name="T36" fmla="*/ 222 w 315"/>
                  <a:gd name="T37" fmla="*/ 117 h 355"/>
                  <a:gd name="T38" fmla="*/ 216 w 315"/>
                  <a:gd name="T39" fmla="*/ 135 h 355"/>
                  <a:gd name="T40" fmla="*/ 183 w 315"/>
                  <a:gd name="T41" fmla="*/ 132 h 355"/>
                  <a:gd name="T42" fmla="*/ 165 w 315"/>
                  <a:gd name="T43" fmla="*/ 126 h 355"/>
                  <a:gd name="T44" fmla="*/ 147 w 315"/>
                  <a:gd name="T45" fmla="*/ 117 h 355"/>
                  <a:gd name="T46" fmla="*/ 132 w 315"/>
                  <a:gd name="T47" fmla="*/ 108 h 355"/>
                  <a:gd name="T48" fmla="*/ 141 w 315"/>
                  <a:gd name="T49" fmla="*/ 93 h 355"/>
                  <a:gd name="T50" fmla="*/ 129 w 315"/>
                  <a:gd name="T51" fmla="*/ 81 h 355"/>
                  <a:gd name="T52" fmla="*/ 117 w 315"/>
                  <a:gd name="T53" fmla="*/ 66 h 355"/>
                  <a:gd name="T54" fmla="*/ 126 w 315"/>
                  <a:gd name="T55" fmla="*/ 57 h 355"/>
                  <a:gd name="T56" fmla="*/ 133 w 315"/>
                  <a:gd name="T57" fmla="*/ 31 h 355"/>
                  <a:gd name="T58" fmla="*/ 108 w 315"/>
                  <a:gd name="T59" fmla="*/ 24 h 355"/>
                  <a:gd name="T60" fmla="*/ 88 w 315"/>
                  <a:gd name="T61" fmla="*/ 8 h 355"/>
                  <a:gd name="T62" fmla="*/ 68 w 315"/>
                  <a:gd name="T63" fmla="*/ 6 h 355"/>
                  <a:gd name="T64" fmla="*/ 51 w 315"/>
                  <a:gd name="T65" fmla="*/ 16 h 355"/>
                  <a:gd name="T66" fmla="*/ 69 w 315"/>
                  <a:gd name="T67" fmla="*/ 33 h 355"/>
                  <a:gd name="T68" fmla="*/ 66 w 315"/>
                  <a:gd name="T69" fmla="*/ 51 h 355"/>
                  <a:gd name="T70" fmla="*/ 78 w 315"/>
                  <a:gd name="T71" fmla="*/ 66 h 355"/>
                  <a:gd name="T72" fmla="*/ 69 w 315"/>
                  <a:gd name="T73" fmla="*/ 84 h 355"/>
                  <a:gd name="T74" fmla="*/ 57 w 315"/>
                  <a:gd name="T75" fmla="*/ 93 h 355"/>
                  <a:gd name="T76" fmla="*/ 45 w 315"/>
                  <a:gd name="T77" fmla="*/ 111 h 355"/>
                  <a:gd name="T78" fmla="*/ 30 w 315"/>
                  <a:gd name="T79" fmla="*/ 120 h 355"/>
                  <a:gd name="T80" fmla="*/ 15 w 315"/>
                  <a:gd name="T81" fmla="*/ 132 h 355"/>
                  <a:gd name="T82" fmla="*/ 27 w 315"/>
                  <a:gd name="T83" fmla="*/ 150 h 355"/>
                  <a:gd name="T84" fmla="*/ 21 w 315"/>
                  <a:gd name="T85" fmla="*/ 162 h 355"/>
                  <a:gd name="T86" fmla="*/ 0 w 315"/>
                  <a:gd name="T87" fmla="*/ 171 h 355"/>
                  <a:gd name="T88" fmla="*/ 9 w 315"/>
                  <a:gd name="T89" fmla="*/ 180 h 355"/>
                  <a:gd name="T90" fmla="*/ 6 w 315"/>
                  <a:gd name="T91" fmla="*/ 186 h 355"/>
                  <a:gd name="T92" fmla="*/ 42 w 315"/>
                  <a:gd name="T93" fmla="*/ 195 h 355"/>
                  <a:gd name="T94" fmla="*/ 48 w 315"/>
                  <a:gd name="T95" fmla="*/ 201 h 355"/>
                  <a:gd name="T96" fmla="*/ 51 w 315"/>
                  <a:gd name="T97" fmla="*/ 231 h 355"/>
                  <a:gd name="T98" fmla="*/ 66 w 315"/>
                  <a:gd name="T99" fmla="*/ 279 h 355"/>
                  <a:gd name="T100" fmla="*/ 87 w 315"/>
                  <a:gd name="T101" fmla="*/ 334 h 355"/>
                  <a:gd name="T102" fmla="*/ 111 w 315"/>
                  <a:gd name="T103" fmla="*/ 346 h 355"/>
                  <a:gd name="T104" fmla="*/ 126 w 315"/>
                  <a:gd name="T105" fmla="*/ 327 h 355"/>
                  <a:gd name="T106" fmla="*/ 132 w 315"/>
                  <a:gd name="T107" fmla="*/ 306 h 355"/>
                  <a:gd name="T108" fmla="*/ 132 w 315"/>
                  <a:gd name="T109" fmla="*/ 273 h 355"/>
                  <a:gd name="T110" fmla="*/ 150 w 315"/>
                  <a:gd name="T111" fmla="*/ 255 h 355"/>
                  <a:gd name="T112" fmla="*/ 183 w 315"/>
                  <a:gd name="T113" fmla="*/ 225 h 355"/>
                  <a:gd name="T114" fmla="*/ 204 w 315"/>
                  <a:gd name="T115" fmla="*/ 201 h 355"/>
                  <a:gd name="T116" fmla="*/ 228 w 315"/>
                  <a:gd name="T117" fmla="*/ 19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5" h="355">
                    <a:moveTo>
                      <a:pt x="225" y="174"/>
                    </a:moveTo>
                    <a:cubicBezTo>
                      <a:pt x="222" y="168"/>
                      <a:pt x="219" y="159"/>
                      <a:pt x="222" y="156"/>
                    </a:cubicBezTo>
                    <a:cubicBezTo>
                      <a:pt x="222" y="153"/>
                      <a:pt x="225" y="156"/>
                      <a:pt x="228" y="150"/>
                    </a:cubicBezTo>
                    <a:cubicBezTo>
                      <a:pt x="228" y="147"/>
                      <a:pt x="216" y="147"/>
                      <a:pt x="219" y="141"/>
                    </a:cubicBezTo>
                    <a:cubicBezTo>
                      <a:pt x="225" y="135"/>
                      <a:pt x="225" y="141"/>
                      <a:pt x="228" y="141"/>
                    </a:cubicBezTo>
                    <a:cubicBezTo>
                      <a:pt x="234" y="141"/>
                      <a:pt x="237" y="144"/>
                      <a:pt x="237" y="147"/>
                    </a:cubicBezTo>
                    <a:cubicBezTo>
                      <a:pt x="237" y="150"/>
                      <a:pt x="243" y="153"/>
                      <a:pt x="243" y="153"/>
                    </a:cubicBezTo>
                    <a:cubicBezTo>
                      <a:pt x="243" y="153"/>
                      <a:pt x="252" y="153"/>
                      <a:pt x="255" y="153"/>
                    </a:cubicBezTo>
                    <a:cubicBezTo>
                      <a:pt x="258" y="153"/>
                      <a:pt x="264" y="153"/>
                      <a:pt x="264" y="156"/>
                    </a:cubicBezTo>
                    <a:cubicBezTo>
                      <a:pt x="264" y="159"/>
                      <a:pt x="258" y="168"/>
                      <a:pt x="255" y="168"/>
                    </a:cubicBezTo>
                    <a:cubicBezTo>
                      <a:pt x="249" y="168"/>
                      <a:pt x="249" y="177"/>
                      <a:pt x="252" y="180"/>
                    </a:cubicBezTo>
                    <a:cubicBezTo>
                      <a:pt x="258" y="180"/>
                      <a:pt x="261" y="171"/>
                      <a:pt x="261" y="171"/>
                    </a:cubicBezTo>
                    <a:cubicBezTo>
                      <a:pt x="264" y="171"/>
                      <a:pt x="264" y="180"/>
                      <a:pt x="267" y="192"/>
                    </a:cubicBezTo>
                    <a:cubicBezTo>
                      <a:pt x="267" y="192"/>
                      <a:pt x="267" y="192"/>
                      <a:pt x="267" y="192"/>
                    </a:cubicBezTo>
                    <a:cubicBezTo>
                      <a:pt x="270" y="192"/>
                      <a:pt x="270" y="180"/>
                      <a:pt x="270" y="180"/>
                    </a:cubicBezTo>
                    <a:cubicBezTo>
                      <a:pt x="273" y="177"/>
                      <a:pt x="273" y="168"/>
                      <a:pt x="273" y="168"/>
                    </a:cubicBezTo>
                    <a:cubicBezTo>
                      <a:pt x="273" y="168"/>
                      <a:pt x="282" y="171"/>
                      <a:pt x="282" y="168"/>
                    </a:cubicBezTo>
                    <a:cubicBezTo>
                      <a:pt x="282" y="165"/>
                      <a:pt x="288" y="159"/>
                      <a:pt x="285" y="153"/>
                    </a:cubicBezTo>
                    <a:cubicBezTo>
                      <a:pt x="285" y="150"/>
                      <a:pt x="288" y="144"/>
                      <a:pt x="288" y="141"/>
                    </a:cubicBezTo>
                    <a:cubicBezTo>
                      <a:pt x="288" y="135"/>
                      <a:pt x="294" y="135"/>
                      <a:pt x="297" y="132"/>
                    </a:cubicBezTo>
                    <a:cubicBezTo>
                      <a:pt x="300" y="129"/>
                      <a:pt x="306" y="126"/>
                      <a:pt x="306" y="129"/>
                    </a:cubicBezTo>
                    <a:cubicBezTo>
                      <a:pt x="306" y="129"/>
                      <a:pt x="315" y="132"/>
                      <a:pt x="312" y="129"/>
                    </a:cubicBezTo>
                    <a:cubicBezTo>
                      <a:pt x="309" y="123"/>
                      <a:pt x="309" y="120"/>
                      <a:pt x="309" y="120"/>
                    </a:cubicBezTo>
                    <a:cubicBezTo>
                      <a:pt x="312" y="120"/>
                      <a:pt x="312" y="114"/>
                      <a:pt x="312" y="114"/>
                    </a:cubicBezTo>
                    <a:cubicBezTo>
                      <a:pt x="312" y="114"/>
                      <a:pt x="306" y="114"/>
                      <a:pt x="306" y="111"/>
                    </a:cubicBezTo>
                    <a:cubicBezTo>
                      <a:pt x="306" y="108"/>
                      <a:pt x="303" y="105"/>
                      <a:pt x="303" y="105"/>
                    </a:cubicBezTo>
                    <a:cubicBezTo>
                      <a:pt x="303" y="102"/>
                      <a:pt x="297" y="102"/>
                      <a:pt x="297" y="105"/>
                    </a:cubicBezTo>
                    <a:cubicBezTo>
                      <a:pt x="294" y="108"/>
                      <a:pt x="288" y="102"/>
                      <a:pt x="282" y="105"/>
                    </a:cubicBezTo>
                    <a:cubicBezTo>
                      <a:pt x="276" y="108"/>
                      <a:pt x="276" y="111"/>
                      <a:pt x="273" y="111"/>
                    </a:cubicBezTo>
                    <a:cubicBezTo>
                      <a:pt x="270" y="111"/>
                      <a:pt x="270" y="114"/>
                      <a:pt x="267" y="117"/>
                    </a:cubicBezTo>
                    <a:cubicBezTo>
                      <a:pt x="264" y="120"/>
                      <a:pt x="264" y="120"/>
                      <a:pt x="264" y="120"/>
                    </a:cubicBezTo>
                    <a:cubicBezTo>
                      <a:pt x="261" y="120"/>
                      <a:pt x="258" y="123"/>
                      <a:pt x="258" y="123"/>
                    </a:cubicBezTo>
                    <a:cubicBezTo>
                      <a:pt x="258" y="123"/>
                      <a:pt x="261" y="129"/>
                      <a:pt x="258" y="132"/>
                    </a:cubicBezTo>
                    <a:cubicBezTo>
                      <a:pt x="258" y="135"/>
                      <a:pt x="252" y="132"/>
                      <a:pt x="246" y="135"/>
                    </a:cubicBezTo>
                    <a:cubicBezTo>
                      <a:pt x="243" y="135"/>
                      <a:pt x="240" y="132"/>
                      <a:pt x="237" y="132"/>
                    </a:cubicBezTo>
                    <a:cubicBezTo>
                      <a:pt x="234" y="135"/>
                      <a:pt x="231" y="132"/>
                      <a:pt x="228" y="132"/>
                    </a:cubicBezTo>
                    <a:cubicBezTo>
                      <a:pt x="228" y="132"/>
                      <a:pt x="225" y="126"/>
                      <a:pt x="225" y="123"/>
                    </a:cubicBezTo>
                    <a:cubicBezTo>
                      <a:pt x="225" y="120"/>
                      <a:pt x="225" y="114"/>
                      <a:pt x="222" y="117"/>
                    </a:cubicBezTo>
                    <a:cubicBezTo>
                      <a:pt x="219" y="120"/>
                      <a:pt x="216" y="120"/>
                      <a:pt x="216" y="123"/>
                    </a:cubicBezTo>
                    <a:cubicBezTo>
                      <a:pt x="216" y="126"/>
                      <a:pt x="219" y="132"/>
                      <a:pt x="216" y="135"/>
                    </a:cubicBezTo>
                    <a:cubicBezTo>
                      <a:pt x="213" y="138"/>
                      <a:pt x="201" y="138"/>
                      <a:pt x="198" y="135"/>
                    </a:cubicBezTo>
                    <a:cubicBezTo>
                      <a:pt x="195" y="135"/>
                      <a:pt x="183" y="132"/>
                      <a:pt x="183" y="132"/>
                    </a:cubicBezTo>
                    <a:cubicBezTo>
                      <a:pt x="183" y="129"/>
                      <a:pt x="180" y="123"/>
                      <a:pt x="177" y="123"/>
                    </a:cubicBezTo>
                    <a:cubicBezTo>
                      <a:pt x="174" y="123"/>
                      <a:pt x="168" y="129"/>
                      <a:pt x="165" y="126"/>
                    </a:cubicBezTo>
                    <a:cubicBezTo>
                      <a:pt x="165" y="126"/>
                      <a:pt x="159" y="120"/>
                      <a:pt x="156" y="120"/>
                    </a:cubicBezTo>
                    <a:cubicBezTo>
                      <a:pt x="153" y="120"/>
                      <a:pt x="147" y="117"/>
                      <a:pt x="147" y="117"/>
                    </a:cubicBezTo>
                    <a:cubicBezTo>
                      <a:pt x="147" y="114"/>
                      <a:pt x="141" y="114"/>
                      <a:pt x="138" y="111"/>
                    </a:cubicBezTo>
                    <a:cubicBezTo>
                      <a:pt x="138" y="111"/>
                      <a:pt x="132" y="111"/>
                      <a:pt x="132" y="108"/>
                    </a:cubicBezTo>
                    <a:cubicBezTo>
                      <a:pt x="132" y="105"/>
                      <a:pt x="135" y="102"/>
                      <a:pt x="135" y="99"/>
                    </a:cubicBezTo>
                    <a:cubicBezTo>
                      <a:pt x="135" y="96"/>
                      <a:pt x="141" y="93"/>
                      <a:pt x="141" y="93"/>
                    </a:cubicBezTo>
                    <a:cubicBezTo>
                      <a:pt x="141" y="90"/>
                      <a:pt x="135" y="87"/>
                      <a:pt x="135" y="87"/>
                    </a:cubicBezTo>
                    <a:cubicBezTo>
                      <a:pt x="135" y="87"/>
                      <a:pt x="132" y="81"/>
                      <a:pt x="129" y="81"/>
                    </a:cubicBezTo>
                    <a:cubicBezTo>
                      <a:pt x="126" y="81"/>
                      <a:pt x="123" y="75"/>
                      <a:pt x="120" y="75"/>
                    </a:cubicBezTo>
                    <a:cubicBezTo>
                      <a:pt x="117" y="75"/>
                      <a:pt x="117" y="69"/>
                      <a:pt x="117" y="66"/>
                    </a:cubicBezTo>
                    <a:cubicBezTo>
                      <a:pt x="114" y="63"/>
                      <a:pt x="114" y="57"/>
                      <a:pt x="117" y="60"/>
                    </a:cubicBezTo>
                    <a:cubicBezTo>
                      <a:pt x="120" y="63"/>
                      <a:pt x="126" y="60"/>
                      <a:pt x="126" y="57"/>
                    </a:cubicBezTo>
                    <a:cubicBezTo>
                      <a:pt x="123" y="54"/>
                      <a:pt x="120" y="48"/>
                      <a:pt x="120" y="48"/>
                    </a:cubicBezTo>
                    <a:cubicBezTo>
                      <a:pt x="120" y="47"/>
                      <a:pt x="132" y="36"/>
                      <a:pt x="133" y="31"/>
                    </a:cubicBezTo>
                    <a:cubicBezTo>
                      <a:pt x="134" y="23"/>
                      <a:pt x="124" y="21"/>
                      <a:pt x="122" y="19"/>
                    </a:cubicBezTo>
                    <a:cubicBezTo>
                      <a:pt x="119" y="19"/>
                      <a:pt x="111" y="24"/>
                      <a:pt x="108" y="24"/>
                    </a:cubicBezTo>
                    <a:cubicBezTo>
                      <a:pt x="106" y="25"/>
                      <a:pt x="104" y="21"/>
                      <a:pt x="98" y="18"/>
                    </a:cubicBezTo>
                    <a:cubicBezTo>
                      <a:pt x="94" y="16"/>
                      <a:pt x="90" y="12"/>
                      <a:pt x="88" y="8"/>
                    </a:cubicBezTo>
                    <a:cubicBezTo>
                      <a:pt x="85" y="2"/>
                      <a:pt x="81" y="0"/>
                      <a:pt x="81" y="0"/>
                    </a:cubicBezTo>
                    <a:cubicBezTo>
                      <a:pt x="75" y="0"/>
                      <a:pt x="68" y="6"/>
                      <a:pt x="68" y="6"/>
                    </a:cubicBezTo>
                    <a:cubicBezTo>
                      <a:pt x="68" y="6"/>
                      <a:pt x="65" y="9"/>
                      <a:pt x="59" y="9"/>
                    </a:cubicBezTo>
                    <a:cubicBezTo>
                      <a:pt x="56" y="9"/>
                      <a:pt x="54" y="13"/>
                      <a:pt x="51" y="16"/>
                    </a:cubicBezTo>
                    <a:cubicBezTo>
                      <a:pt x="50" y="17"/>
                      <a:pt x="57" y="21"/>
                      <a:pt x="63" y="25"/>
                    </a:cubicBezTo>
                    <a:cubicBezTo>
                      <a:pt x="68" y="29"/>
                      <a:pt x="69" y="32"/>
                      <a:pt x="69" y="33"/>
                    </a:cubicBezTo>
                    <a:cubicBezTo>
                      <a:pt x="66" y="34"/>
                      <a:pt x="63" y="39"/>
                      <a:pt x="63" y="39"/>
                    </a:cubicBezTo>
                    <a:cubicBezTo>
                      <a:pt x="66" y="42"/>
                      <a:pt x="66" y="51"/>
                      <a:pt x="66" y="51"/>
                    </a:cubicBezTo>
                    <a:cubicBezTo>
                      <a:pt x="66" y="51"/>
                      <a:pt x="69" y="63"/>
                      <a:pt x="72" y="60"/>
                    </a:cubicBezTo>
                    <a:cubicBezTo>
                      <a:pt x="78" y="60"/>
                      <a:pt x="81" y="66"/>
                      <a:pt x="78" y="66"/>
                    </a:cubicBezTo>
                    <a:cubicBezTo>
                      <a:pt x="75" y="66"/>
                      <a:pt x="72" y="72"/>
                      <a:pt x="72" y="75"/>
                    </a:cubicBezTo>
                    <a:cubicBezTo>
                      <a:pt x="72" y="78"/>
                      <a:pt x="72" y="81"/>
                      <a:pt x="69" y="84"/>
                    </a:cubicBezTo>
                    <a:cubicBezTo>
                      <a:pt x="66" y="84"/>
                      <a:pt x="66" y="84"/>
                      <a:pt x="66" y="90"/>
                    </a:cubicBezTo>
                    <a:cubicBezTo>
                      <a:pt x="66" y="93"/>
                      <a:pt x="60" y="93"/>
                      <a:pt x="57" y="93"/>
                    </a:cubicBezTo>
                    <a:cubicBezTo>
                      <a:pt x="57" y="96"/>
                      <a:pt x="54" y="105"/>
                      <a:pt x="54" y="105"/>
                    </a:cubicBezTo>
                    <a:cubicBezTo>
                      <a:pt x="51" y="108"/>
                      <a:pt x="45" y="108"/>
                      <a:pt x="45" y="111"/>
                    </a:cubicBezTo>
                    <a:cubicBezTo>
                      <a:pt x="45" y="117"/>
                      <a:pt x="39" y="120"/>
                      <a:pt x="39" y="120"/>
                    </a:cubicBezTo>
                    <a:cubicBezTo>
                      <a:pt x="36" y="120"/>
                      <a:pt x="33" y="117"/>
                      <a:pt x="30" y="120"/>
                    </a:cubicBezTo>
                    <a:cubicBezTo>
                      <a:pt x="30" y="123"/>
                      <a:pt x="24" y="120"/>
                      <a:pt x="21" y="120"/>
                    </a:cubicBezTo>
                    <a:cubicBezTo>
                      <a:pt x="21" y="120"/>
                      <a:pt x="15" y="126"/>
                      <a:pt x="15" y="132"/>
                    </a:cubicBezTo>
                    <a:cubicBezTo>
                      <a:pt x="15" y="135"/>
                      <a:pt x="21" y="135"/>
                      <a:pt x="21" y="138"/>
                    </a:cubicBezTo>
                    <a:cubicBezTo>
                      <a:pt x="21" y="144"/>
                      <a:pt x="24" y="147"/>
                      <a:pt x="27" y="150"/>
                    </a:cubicBezTo>
                    <a:cubicBezTo>
                      <a:pt x="27" y="153"/>
                      <a:pt x="30" y="159"/>
                      <a:pt x="30" y="162"/>
                    </a:cubicBezTo>
                    <a:cubicBezTo>
                      <a:pt x="27" y="162"/>
                      <a:pt x="24" y="165"/>
                      <a:pt x="21" y="162"/>
                    </a:cubicBezTo>
                    <a:cubicBezTo>
                      <a:pt x="18" y="162"/>
                      <a:pt x="18" y="165"/>
                      <a:pt x="9" y="162"/>
                    </a:cubicBezTo>
                    <a:cubicBezTo>
                      <a:pt x="3" y="162"/>
                      <a:pt x="3" y="168"/>
                      <a:pt x="0" y="171"/>
                    </a:cubicBezTo>
                    <a:cubicBezTo>
                      <a:pt x="0" y="171"/>
                      <a:pt x="0" y="171"/>
                      <a:pt x="0" y="171"/>
                    </a:cubicBezTo>
                    <a:cubicBezTo>
                      <a:pt x="3" y="174"/>
                      <a:pt x="3" y="180"/>
                      <a:pt x="9" y="180"/>
                    </a:cubicBezTo>
                    <a:cubicBezTo>
                      <a:pt x="15" y="183"/>
                      <a:pt x="21" y="177"/>
                      <a:pt x="21" y="180"/>
                    </a:cubicBezTo>
                    <a:cubicBezTo>
                      <a:pt x="21" y="186"/>
                      <a:pt x="6" y="186"/>
                      <a:pt x="6" y="186"/>
                    </a:cubicBezTo>
                    <a:cubicBezTo>
                      <a:pt x="6" y="189"/>
                      <a:pt x="21" y="207"/>
                      <a:pt x="30" y="207"/>
                    </a:cubicBezTo>
                    <a:cubicBezTo>
                      <a:pt x="39" y="204"/>
                      <a:pt x="45" y="195"/>
                      <a:pt x="42" y="195"/>
                    </a:cubicBezTo>
                    <a:cubicBezTo>
                      <a:pt x="39" y="192"/>
                      <a:pt x="45" y="189"/>
                      <a:pt x="45" y="189"/>
                    </a:cubicBezTo>
                    <a:cubicBezTo>
                      <a:pt x="48" y="189"/>
                      <a:pt x="45" y="198"/>
                      <a:pt x="48" y="201"/>
                    </a:cubicBezTo>
                    <a:cubicBezTo>
                      <a:pt x="51" y="201"/>
                      <a:pt x="51" y="207"/>
                      <a:pt x="48" y="210"/>
                    </a:cubicBezTo>
                    <a:cubicBezTo>
                      <a:pt x="48" y="216"/>
                      <a:pt x="51" y="225"/>
                      <a:pt x="51" y="231"/>
                    </a:cubicBezTo>
                    <a:cubicBezTo>
                      <a:pt x="51" y="234"/>
                      <a:pt x="54" y="243"/>
                      <a:pt x="57" y="249"/>
                    </a:cubicBezTo>
                    <a:cubicBezTo>
                      <a:pt x="57" y="258"/>
                      <a:pt x="63" y="273"/>
                      <a:pt x="66" y="279"/>
                    </a:cubicBezTo>
                    <a:cubicBezTo>
                      <a:pt x="72" y="288"/>
                      <a:pt x="75" y="306"/>
                      <a:pt x="78" y="309"/>
                    </a:cubicBezTo>
                    <a:cubicBezTo>
                      <a:pt x="81" y="312"/>
                      <a:pt x="87" y="327"/>
                      <a:pt x="87" y="334"/>
                    </a:cubicBezTo>
                    <a:cubicBezTo>
                      <a:pt x="87" y="343"/>
                      <a:pt x="96" y="352"/>
                      <a:pt x="99" y="355"/>
                    </a:cubicBezTo>
                    <a:cubicBezTo>
                      <a:pt x="102" y="355"/>
                      <a:pt x="108" y="352"/>
                      <a:pt x="111" y="346"/>
                    </a:cubicBezTo>
                    <a:cubicBezTo>
                      <a:pt x="111" y="343"/>
                      <a:pt x="120" y="340"/>
                      <a:pt x="120" y="337"/>
                    </a:cubicBezTo>
                    <a:cubicBezTo>
                      <a:pt x="120" y="334"/>
                      <a:pt x="123" y="327"/>
                      <a:pt x="126" y="327"/>
                    </a:cubicBezTo>
                    <a:cubicBezTo>
                      <a:pt x="129" y="327"/>
                      <a:pt x="129" y="324"/>
                      <a:pt x="129" y="321"/>
                    </a:cubicBezTo>
                    <a:cubicBezTo>
                      <a:pt x="129" y="315"/>
                      <a:pt x="129" y="309"/>
                      <a:pt x="132" y="306"/>
                    </a:cubicBezTo>
                    <a:cubicBezTo>
                      <a:pt x="135" y="303"/>
                      <a:pt x="135" y="291"/>
                      <a:pt x="132" y="288"/>
                    </a:cubicBezTo>
                    <a:cubicBezTo>
                      <a:pt x="132" y="282"/>
                      <a:pt x="132" y="276"/>
                      <a:pt x="132" y="273"/>
                    </a:cubicBezTo>
                    <a:cubicBezTo>
                      <a:pt x="135" y="270"/>
                      <a:pt x="135" y="264"/>
                      <a:pt x="138" y="264"/>
                    </a:cubicBezTo>
                    <a:cubicBezTo>
                      <a:pt x="141" y="264"/>
                      <a:pt x="144" y="261"/>
                      <a:pt x="150" y="255"/>
                    </a:cubicBezTo>
                    <a:cubicBezTo>
                      <a:pt x="153" y="252"/>
                      <a:pt x="162" y="246"/>
                      <a:pt x="165" y="243"/>
                    </a:cubicBezTo>
                    <a:cubicBezTo>
                      <a:pt x="171" y="240"/>
                      <a:pt x="180" y="231"/>
                      <a:pt x="183" y="225"/>
                    </a:cubicBezTo>
                    <a:cubicBezTo>
                      <a:pt x="186" y="219"/>
                      <a:pt x="198" y="216"/>
                      <a:pt x="201" y="213"/>
                    </a:cubicBezTo>
                    <a:cubicBezTo>
                      <a:pt x="207" y="207"/>
                      <a:pt x="204" y="204"/>
                      <a:pt x="204" y="201"/>
                    </a:cubicBezTo>
                    <a:cubicBezTo>
                      <a:pt x="207" y="195"/>
                      <a:pt x="219" y="195"/>
                      <a:pt x="225" y="195"/>
                    </a:cubicBezTo>
                    <a:cubicBezTo>
                      <a:pt x="225" y="195"/>
                      <a:pt x="228" y="195"/>
                      <a:pt x="228" y="192"/>
                    </a:cubicBezTo>
                    <a:cubicBezTo>
                      <a:pt x="228" y="186"/>
                      <a:pt x="225" y="177"/>
                      <a:pt x="225" y="17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5" name="Freeform 639"/>
              <p:cNvSpPr>
                <a:spLocks/>
              </p:cNvSpPr>
              <p:nvPr userDrawn="1"/>
            </p:nvSpPr>
            <p:spPr bwMode="auto">
              <a:xfrm>
                <a:off x="4680" y="-1834"/>
                <a:ext cx="491" cy="553"/>
              </a:xfrm>
              <a:custGeom>
                <a:avLst/>
                <a:gdLst>
                  <a:gd name="T0" fmla="*/ 222 w 315"/>
                  <a:gd name="T1" fmla="*/ 156 h 355"/>
                  <a:gd name="T2" fmla="*/ 219 w 315"/>
                  <a:gd name="T3" fmla="*/ 141 h 355"/>
                  <a:gd name="T4" fmla="*/ 237 w 315"/>
                  <a:gd name="T5" fmla="*/ 147 h 355"/>
                  <a:gd name="T6" fmla="*/ 255 w 315"/>
                  <a:gd name="T7" fmla="*/ 153 h 355"/>
                  <a:gd name="T8" fmla="*/ 255 w 315"/>
                  <a:gd name="T9" fmla="*/ 168 h 355"/>
                  <a:gd name="T10" fmla="*/ 261 w 315"/>
                  <a:gd name="T11" fmla="*/ 171 h 355"/>
                  <a:gd name="T12" fmla="*/ 267 w 315"/>
                  <a:gd name="T13" fmla="*/ 192 h 355"/>
                  <a:gd name="T14" fmla="*/ 273 w 315"/>
                  <a:gd name="T15" fmla="*/ 168 h 355"/>
                  <a:gd name="T16" fmla="*/ 285 w 315"/>
                  <a:gd name="T17" fmla="*/ 153 h 355"/>
                  <a:gd name="T18" fmla="*/ 297 w 315"/>
                  <a:gd name="T19" fmla="*/ 132 h 355"/>
                  <a:gd name="T20" fmla="*/ 312 w 315"/>
                  <a:gd name="T21" fmla="*/ 129 h 355"/>
                  <a:gd name="T22" fmla="*/ 312 w 315"/>
                  <a:gd name="T23" fmla="*/ 114 h 355"/>
                  <a:gd name="T24" fmla="*/ 303 w 315"/>
                  <a:gd name="T25" fmla="*/ 105 h 355"/>
                  <a:gd name="T26" fmla="*/ 282 w 315"/>
                  <a:gd name="T27" fmla="*/ 105 h 355"/>
                  <a:gd name="T28" fmla="*/ 267 w 315"/>
                  <a:gd name="T29" fmla="*/ 117 h 355"/>
                  <a:gd name="T30" fmla="*/ 258 w 315"/>
                  <a:gd name="T31" fmla="*/ 123 h 355"/>
                  <a:gd name="T32" fmla="*/ 246 w 315"/>
                  <a:gd name="T33" fmla="*/ 135 h 355"/>
                  <a:gd name="T34" fmla="*/ 228 w 315"/>
                  <a:gd name="T35" fmla="*/ 132 h 355"/>
                  <a:gd name="T36" fmla="*/ 222 w 315"/>
                  <a:gd name="T37" fmla="*/ 117 h 355"/>
                  <a:gd name="T38" fmla="*/ 216 w 315"/>
                  <a:gd name="T39" fmla="*/ 135 h 355"/>
                  <a:gd name="T40" fmla="*/ 183 w 315"/>
                  <a:gd name="T41" fmla="*/ 132 h 355"/>
                  <a:gd name="T42" fmla="*/ 165 w 315"/>
                  <a:gd name="T43" fmla="*/ 126 h 355"/>
                  <a:gd name="T44" fmla="*/ 147 w 315"/>
                  <a:gd name="T45" fmla="*/ 117 h 355"/>
                  <a:gd name="T46" fmla="*/ 132 w 315"/>
                  <a:gd name="T47" fmla="*/ 108 h 355"/>
                  <a:gd name="T48" fmla="*/ 141 w 315"/>
                  <a:gd name="T49" fmla="*/ 93 h 355"/>
                  <a:gd name="T50" fmla="*/ 129 w 315"/>
                  <a:gd name="T51" fmla="*/ 81 h 355"/>
                  <a:gd name="T52" fmla="*/ 117 w 315"/>
                  <a:gd name="T53" fmla="*/ 66 h 355"/>
                  <a:gd name="T54" fmla="*/ 126 w 315"/>
                  <a:gd name="T55" fmla="*/ 57 h 355"/>
                  <a:gd name="T56" fmla="*/ 133 w 315"/>
                  <a:gd name="T57" fmla="*/ 31 h 355"/>
                  <a:gd name="T58" fmla="*/ 108 w 315"/>
                  <a:gd name="T59" fmla="*/ 24 h 355"/>
                  <a:gd name="T60" fmla="*/ 88 w 315"/>
                  <a:gd name="T61" fmla="*/ 8 h 355"/>
                  <a:gd name="T62" fmla="*/ 68 w 315"/>
                  <a:gd name="T63" fmla="*/ 6 h 355"/>
                  <a:gd name="T64" fmla="*/ 51 w 315"/>
                  <a:gd name="T65" fmla="*/ 16 h 355"/>
                  <a:gd name="T66" fmla="*/ 69 w 315"/>
                  <a:gd name="T67" fmla="*/ 33 h 355"/>
                  <a:gd name="T68" fmla="*/ 66 w 315"/>
                  <a:gd name="T69" fmla="*/ 51 h 355"/>
                  <a:gd name="T70" fmla="*/ 78 w 315"/>
                  <a:gd name="T71" fmla="*/ 66 h 355"/>
                  <a:gd name="T72" fmla="*/ 69 w 315"/>
                  <a:gd name="T73" fmla="*/ 84 h 355"/>
                  <a:gd name="T74" fmla="*/ 57 w 315"/>
                  <a:gd name="T75" fmla="*/ 93 h 355"/>
                  <a:gd name="T76" fmla="*/ 45 w 315"/>
                  <a:gd name="T77" fmla="*/ 111 h 355"/>
                  <a:gd name="T78" fmla="*/ 30 w 315"/>
                  <a:gd name="T79" fmla="*/ 120 h 355"/>
                  <a:gd name="T80" fmla="*/ 15 w 315"/>
                  <a:gd name="T81" fmla="*/ 132 h 355"/>
                  <a:gd name="T82" fmla="*/ 27 w 315"/>
                  <a:gd name="T83" fmla="*/ 150 h 355"/>
                  <a:gd name="T84" fmla="*/ 21 w 315"/>
                  <a:gd name="T85" fmla="*/ 162 h 355"/>
                  <a:gd name="T86" fmla="*/ 0 w 315"/>
                  <a:gd name="T87" fmla="*/ 171 h 355"/>
                  <a:gd name="T88" fmla="*/ 9 w 315"/>
                  <a:gd name="T89" fmla="*/ 180 h 355"/>
                  <a:gd name="T90" fmla="*/ 6 w 315"/>
                  <a:gd name="T91" fmla="*/ 186 h 355"/>
                  <a:gd name="T92" fmla="*/ 42 w 315"/>
                  <a:gd name="T93" fmla="*/ 195 h 355"/>
                  <a:gd name="T94" fmla="*/ 48 w 315"/>
                  <a:gd name="T95" fmla="*/ 201 h 355"/>
                  <a:gd name="T96" fmla="*/ 51 w 315"/>
                  <a:gd name="T97" fmla="*/ 231 h 355"/>
                  <a:gd name="T98" fmla="*/ 66 w 315"/>
                  <a:gd name="T99" fmla="*/ 279 h 355"/>
                  <a:gd name="T100" fmla="*/ 87 w 315"/>
                  <a:gd name="T101" fmla="*/ 334 h 355"/>
                  <a:gd name="T102" fmla="*/ 111 w 315"/>
                  <a:gd name="T103" fmla="*/ 346 h 355"/>
                  <a:gd name="T104" fmla="*/ 126 w 315"/>
                  <a:gd name="T105" fmla="*/ 327 h 355"/>
                  <a:gd name="T106" fmla="*/ 132 w 315"/>
                  <a:gd name="T107" fmla="*/ 306 h 355"/>
                  <a:gd name="T108" fmla="*/ 132 w 315"/>
                  <a:gd name="T109" fmla="*/ 273 h 355"/>
                  <a:gd name="T110" fmla="*/ 150 w 315"/>
                  <a:gd name="T111" fmla="*/ 255 h 355"/>
                  <a:gd name="T112" fmla="*/ 183 w 315"/>
                  <a:gd name="T113" fmla="*/ 225 h 355"/>
                  <a:gd name="T114" fmla="*/ 204 w 315"/>
                  <a:gd name="T115" fmla="*/ 201 h 355"/>
                  <a:gd name="T116" fmla="*/ 228 w 315"/>
                  <a:gd name="T117" fmla="*/ 19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5" h="355">
                    <a:moveTo>
                      <a:pt x="225" y="174"/>
                    </a:moveTo>
                    <a:cubicBezTo>
                      <a:pt x="222" y="168"/>
                      <a:pt x="219" y="159"/>
                      <a:pt x="222" y="156"/>
                    </a:cubicBezTo>
                    <a:cubicBezTo>
                      <a:pt x="222" y="153"/>
                      <a:pt x="225" y="156"/>
                      <a:pt x="228" y="150"/>
                    </a:cubicBezTo>
                    <a:cubicBezTo>
                      <a:pt x="228" y="147"/>
                      <a:pt x="216" y="147"/>
                      <a:pt x="219" y="141"/>
                    </a:cubicBezTo>
                    <a:cubicBezTo>
                      <a:pt x="225" y="135"/>
                      <a:pt x="225" y="141"/>
                      <a:pt x="228" y="141"/>
                    </a:cubicBezTo>
                    <a:cubicBezTo>
                      <a:pt x="234" y="141"/>
                      <a:pt x="237" y="144"/>
                      <a:pt x="237" y="147"/>
                    </a:cubicBezTo>
                    <a:cubicBezTo>
                      <a:pt x="237" y="150"/>
                      <a:pt x="243" y="153"/>
                      <a:pt x="243" y="153"/>
                    </a:cubicBezTo>
                    <a:cubicBezTo>
                      <a:pt x="243" y="153"/>
                      <a:pt x="252" y="153"/>
                      <a:pt x="255" y="153"/>
                    </a:cubicBezTo>
                    <a:cubicBezTo>
                      <a:pt x="258" y="153"/>
                      <a:pt x="264" y="153"/>
                      <a:pt x="264" y="156"/>
                    </a:cubicBezTo>
                    <a:cubicBezTo>
                      <a:pt x="264" y="159"/>
                      <a:pt x="258" y="168"/>
                      <a:pt x="255" y="168"/>
                    </a:cubicBezTo>
                    <a:cubicBezTo>
                      <a:pt x="249" y="168"/>
                      <a:pt x="249" y="177"/>
                      <a:pt x="252" y="180"/>
                    </a:cubicBezTo>
                    <a:cubicBezTo>
                      <a:pt x="258" y="180"/>
                      <a:pt x="261" y="171"/>
                      <a:pt x="261" y="171"/>
                    </a:cubicBezTo>
                    <a:cubicBezTo>
                      <a:pt x="264" y="171"/>
                      <a:pt x="264" y="180"/>
                      <a:pt x="267" y="192"/>
                    </a:cubicBezTo>
                    <a:cubicBezTo>
                      <a:pt x="267" y="192"/>
                      <a:pt x="267" y="192"/>
                      <a:pt x="267" y="192"/>
                    </a:cubicBezTo>
                    <a:cubicBezTo>
                      <a:pt x="270" y="192"/>
                      <a:pt x="270" y="180"/>
                      <a:pt x="270" y="180"/>
                    </a:cubicBezTo>
                    <a:cubicBezTo>
                      <a:pt x="273" y="177"/>
                      <a:pt x="273" y="168"/>
                      <a:pt x="273" y="168"/>
                    </a:cubicBezTo>
                    <a:cubicBezTo>
                      <a:pt x="273" y="168"/>
                      <a:pt x="282" y="171"/>
                      <a:pt x="282" y="168"/>
                    </a:cubicBezTo>
                    <a:cubicBezTo>
                      <a:pt x="282" y="165"/>
                      <a:pt x="288" y="159"/>
                      <a:pt x="285" y="153"/>
                    </a:cubicBezTo>
                    <a:cubicBezTo>
                      <a:pt x="285" y="150"/>
                      <a:pt x="288" y="144"/>
                      <a:pt x="288" y="141"/>
                    </a:cubicBezTo>
                    <a:cubicBezTo>
                      <a:pt x="288" y="135"/>
                      <a:pt x="294" y="135"/>
                      <a:pt x="297" y="132"/>
                    </a:cubicBezTo>
                    <a:cubicBezTo>
                      <a:pt x="300" y="129"/>
                      <a:pt x="306" y="126"/>
                      <a:pt x="306" y="129"/>
                    </a:cubicBezTo>
                    <a:cubicBezTo>
                      <a:pt x="306" y="129"/>
                      <a:pt x="315" y="132"/>
                      <a:pt x="312" y="129"/>
                    </a:cubicBezTo>
                    <a:cubicBezTo>
                      <a:pt x="309" y="123"/>
                      <a:pt x="309" y="120"/>
                      <a:pt x="309" y="120"/>
                    </a:cubicBezTo>
                    <a:cubicBezTo>
                      <a:pt x="312" y="120"/>
                      <a:pt x="312" y="114"/>
                      <a:pt x="312" y="114"/>
                    </a:cubicBezTo>
                    <a:cubicBezTo>
                      <a:pt x="312" y="114"/>
                      <a:pt x="306" y="114"/>
                      <a:pt x="306" y="111"/>
                    </a:cubicBezTo>
                    <a:cubicBezTo>
                      <a:pt x="306" y="108"/>
                      <a:pt x="303" y="105"/>
                      <a:pt x="303" y="105"/>
                    </a:cubicBezTo>
                    <a:cubicBezTo>
                      <a:pt x="303" y="102"/>
                      <a:pt x="297" y="102"/>
                      <a:pt x="297" y="105"/>
                    </a:cubicBezTo>
                    <a:cubicBezTo>
                      <a:pt x="294" y="108"/>
                      <a:pt x="288" y="102"/>
                      <a:pt x="282" y="105"/>
                    </a:cubicBezTo>
                    <a:cubicBezTo>
                      <a:pt x="276" y="108"/>
                      <a:pt x="276" y="111"/>
                      <a:pt x="273" y="111"/>
                    </a:cubicBezTo>
                    <a:cubicBezTo>
                      <a:pt x="270" y="111"/>
                      <a:pt x="270" y="114"/>
                      <a:pt x="267" y="117"/>
                    </a:cubicBezTo>
                    <a:cubicBezTo>
                      <a:pt x="264" y="120"/>
                      <a:pt x="264" y="120"/>
                      <a:pt x="264" y="120"/>
                    </a:cubicBezTo>
                    <a:cubicBezTo>
                      <a:pt x="261" y="120"/>
                      <a:pt x="258" y="123"/>
                      <a:pt x="258" y="123"/>
                    </a:cubicBezTo>
                    <a:cubicBezTo>
                      <a:pt x="258" y="123"/>
                      <a:pt x="261" y="129"/>
                      <a:pt x="258" y="132"/>
                    </a:cubicBezTo>
                    <a:cubicBezTo>
                      <a:pt x="258" y="135"/>
                      <a:pt x="252" y="132"/>
                      <a:pt x="246" y="135"/>
                    </a:cubicBezTo>
                    <a:cubicBezTo>
                      <a:pt x="243" y="135"/>
                      <a:pt x="240" y="132"/>
                      <a:pt x="237" y="132"/>
                    </a:cubicBezTo>
                    <a:cubicBezTo>
                      <a:pt x="234" y="135"/>
                      <a:pt x="231" y="132"/>
                      <a:pt x="228" y="132"/>
                    </a:cubicBezTo>
                    <a:cubicBezTo>
                      <a:pt x="228" y="132"/>
                      <a:pt x="225" y="126"/>
                      <a:pt x="225" y="123"/>
                    </a:cubicBezTo>
                    <a:cubicBezTo>
                      <a:pt x="225" y="120"/>
                      <a:pt x="225" y="114"/>
                      <a:pt x="222" y="117"/>
                    </a:cubicBezTo>
                    <a:cubicBezTo>
                      <a:pt x="219" y="120"/>
                      <a:pt x="216" y="120"/>
                      <a:pt x="216" y="123"/>
                    </a:cubicBezTo>
                    <a:cubicBezTo>
                      <a:pt x="216" y="126"/>
                      <a:pt x="219" y="132"/>
                      <a:pt x="216" y="135"/>
                    </a:cubicBezTo>
                    <a:cubicBezTo>
                      <a:pt x="213" y="138"/>
                      <a:pt x="201" y="138"/>
                      <a:pt x="198" y="135"/>
                    </a:cubicBezTo>
                    <a:cubicBezTo>
                      <a:pt x="195" y="135"/>
                      <a:pt x="183" y="132"/>
                      <a:pt x="183" y="132"/>
                    </a:cubicBezTo>
                    <a:cubicBezTo>
                      <a:pt x="183" y="129"/>
                      <a:pt x="180" y="123"/>
                      <a:pt x="177" y="123"/>
                    </a:cubicBezTo>
                    <a:cubicBezTo>
                      <a:pt x="174" y="123"/>
                      <a:pt x="168" y="129"/>
                      <a:pt x="165" y="126"/>
                    </a:cubicBezTo>
                    <a:cubicBezTo>
                      <a:pt x="165" y="126"/>
                      <a:pt x="159" y="120"/>
                      <a:pt x="156" y="120"/>
                    </a:cubicBezTo>
                    <a:cubicBezTo>
                      <a:pt x="153" y="120"/>
                      <a:pt x="147" y="117"/>
                      <a:pt x="147" y="117"/>
                    </a:cubicBezTo>
                    <a:cubicBezTo>
                      <a:pt x="147" y="114"/>
                      <a:pt x="141" y="114"/>
                      <a:pt x="138" y="111"/>
                    </a:cubicBezTo>
                    <a:cubicBezTo>
                      <a:pt x="138" y="111"/>
                      <a:pt x="132" y="111"/>
                      <a:pt x="132" y="108"/>
                    </a:cubicBezTo>
                    <a:cubicBezTo>
                      <a:pt x="132" y="105"/>
                      <a:pt x="135" y="102"/>
                      <a:pt x="135" y="99"/>
                    </a:cubicBezTo>
                    <a:cubicBezTo>
                      <a:pt x="135" y="96"/>
                      <a:pt x="141" y="93"/>
                      <a:pt x="141" y="93"/>
                    </a:cubicBezTo>
                    <a:cubicBezTo>
                      <a:pt x="141" y="90"/>
                      <a:pt x="135" y="87"/>
                      <a:pt x="135" y="87"/>
                    </a:cubicBezTo>
                    <a:cubicBezTo>
                      <a:pt x="135" y="87"/>
                      <a:pt x="132" y="81"/>
                      <a:pt x="129" y="81"/>
                    </a:cubicBezTo>
                    <a:cubicBezTo>
                      <a:pt x="126" y="81"/>
                      <a:pt x="123" y="75"/>
                      <a:pt x="120" y="75"/>
                    </a:cubicBezTo>
                    <a:cubicBezTo>
                      <a:pt x="117" y="75"/>
                      <a:pt x="117" y="69"/>
                      <a:pt x="117" y="66"/>
                    </a:cubicBezTo>
                    <a:cubicBezTo>
                      <a:pt x="114" y="63"/>
                      <a:pt x="114" y="57"/>
                      <a:pt x="117" y="60"/>
                    </a:cubicBezTo>
                    <a:cubicBezTo>
                      <a:pt x="120" y="63"/>
                      <a:pt x="126" y="60"/>
                      <a:pt x="126" y="57"/>
                    </a:cubicBezTo>
                    <a:cubicBezTo>
                      <a:pt x="123" y="54"/>
                      <a:pt x="120" y="48"/>
                      <a:pt x="120" y="48"/>
                    </a:cubicBezTo>
                    <a:cubicBezTo>
                      <a:pt x="120" y="47"/>
                      <a:pt x="132" y="36"/>
                      <a:pt x="133" y="31"/>
                    </a:cubicBezTo>
                    <a:cubicBezTo>
                      <a:pt x="134" y="23"/>
                      <a:pt x="124" y="21"/>
                      <a:pt x="122" y="19"/>
                    </a:cubicBezTo>
                    <a:cubicBezTo>
                      <a:pt x="119" y="19"/>
                      <a:pt x="111" y="24"/>
                      <a:pt x="108" y="24"/>
                    </a:cubicBezTo>
                    <a:cubicBezTo>
                      <a:pt x="106" y="25"/>
                      <a:pt x="104" y="21"/>
                      <a:pt x="98" y="18"/>
                    </a:cubicBezTo>
                    <a:cubicBezTo>
                      <a:pt x="94" y="16"/>
                      <a:pt x="90" y="12"/>
                      <a:pt x="88" y="8"/>
                    </a:cubicBezTo>
                    <a:cubicBezTo>
                      <a:pt x="85" y="2"/>
                      <a:pt x="81" y="0"/>
                      <a:pt x="81" y="0"/>
                    </a:cubicBezTo>
                    <a:cubicBezTo>
                      <a:pt x="75" y="0"/>
                      <a:pt x="68" y="6"/>
                      <a:pt x="68" y="6"/>
                    </a:cubicBezTo>
                    <a:cubicBezTo>
                      <a:pt x="68" y="6"/>
                      <a:pt x="65" y="9"/>
                      <a:pt x="59" y="9"/>
                    </a:cubicBezTo>
                    <a:cubicBezTo>
                      <a:pt x="56" y="9"/>
                      <a:pt x="54" y="13"/>
                      <a:pt x="51" y="16"/>
                    </a:cubicBezTo>
                    <a:cubicBezTo>
                      <a:pt x="50" y="17"/>
                      <a:pt x="57" y="21"/>
                      <a:pt x="63" y="25"/>
                    </a:cubicBezTo>
                    <a:cubicBezTo>
                      <a:pt x="68" y="29"/>
                      <a:pt x="69" y="32"/>
                      <a:pt x="69" y="33"/>
                    </a:cubicBezTo>
                    <a:cubicBezTo>
                      <a:pt x="66" y="34"/>
                      <a:pt x="63" y="39"/>
                      <a:pt x="63" y="39"/>
                    </a:cubicBezTo>
                    <a:cubicBezTo>
                      <a:pt x="66" y="42"/>
                      <a:pt x="66" y="51"/>
                      <a:pt x="66" y="51"/>
                    </a:cubicBezTo>
                    <a:cubicBezTo>
                      <a:pt x="66" y="51"/>
                      <a:pt x="69" y="63"/>
                      <a:pt x="72" y="60"/>
                    </a:cubicBezTo>
                    <a:cubicBezTo>
                      <a:pt x="78" y="60"/>
                      <a:pt x="81" y="66"/>
                      <a:pt x="78" y="66"/>
                    </a:cubicBezTo>
                    <a:cubicBezTo>
                      <a:pt x="75" y="66"/>
                      <a:pt x="72" y="72"/>
                      <a:pt x="72" y="75"/>
                    </a:cubicBezTo>
                    <a:cubicBezTo>
                      <a:pt x="72" y="78"/>
                      <a:pt x="72" y="81"/>
                      <a:pt x="69" y="84"/>
                    </a:cubicBezTo>
                    <a:cubicBezTo>
                      <a:pt x="66" y="84"/>
                      <a:pt x="66" y="84"/>
                      <a:pt x="66" y="90"/>
                    </a:cubicBezTo>
                    <a:cubicBezTo>
                      <a:pt x="66" y="93"/>
                      <a:pt x="60" y="93"/>
                      <a:pt x="57" y="93"/>
                    </a:cubicBezTo>
                    <a:cubicBezTo>
                      <a:pt x="57" y="96"/>
                      <a:pt x="54" y="105"/>
                      <a:pt x="54" y="105"/>
                    </a:cubicBezTo>
                    <a:cubicBezTo>
                      <a:pt x="51" y="108"/>
                      <a:pt x="45" y="108"/>
                      <a:pt x="45" y="111"/>
                    </a:cubicBezTo>
                    <a:cubicBezTo>
                      <a:pt x="45" y="117"/>
                      <a:pt x="39" y="120"/>
                      <a:pt x="39" y="120"/>
                    </a:cubicBezTo>
                    <a:cubicBezTo>
                      <a:pt x="36" y="120"/>
                      <a:pt x="33" y="117"/>
                      <a:pt x="30" y="120"/>
                    </a:cubicBezTo>
                    <a:cubicBezTo>
                      <a:pt x="30" y="123"/>
                      <a:pt x="24" y="120"/>
                      <a:pt x="21" y="120"/>
                    </a:cubicBezTo>
                    <a:cubicBezTo>
                      <a:pt x="21" y="120"/>
                      <a:pt x="15" y="126"/>
                      <a:pt x="15" y="132"/>
                    </a:cubicBezTo>
                    <a:cubicBezTo>
                      <a:pt x="15" y="135"/>
                      <a:pt x="21" y="135"/>
                      <a:pt x="21" y="138"/>
                    </a:cubicBezTo>
                    <a:cubicBezTo>
                      <a:pt x="21" y="144"/>
                      <a:pt x="24" y="147"/>
                      <a:pt x="27" y="150"/>
                    </a:cubicBezTo>
                    <a:cubicBezTo>
                      <a:pt x="27" y="153"/>
                      <a:pt x="30" y="159"/>
                      <a:pt x="30" y="162"/>
                    </a:cubicBezTo>
                    <a:cubicBezTo>
                      <a:pt x="27" y="162"/>
                      <a:pt x="24" y="165"/>
                      <a:pt x="21" y="162"/>
                    </a:cubicBezTo>
                    <a:cubicBezTo>
                      <a:pt x="18" y="162"/>
                      <a:pt x="18" y="165"/>
                      <a:pt x="9" y="162"/>
                    </a:cubicBezTo>
                    <a:cubicBezTo>
                      <a:pt x="3" y="162"/>
                      <a:pt x="3" y="168"/>
                      <a:pt x="0" y="171"/>
                    </a:cubicBezTo>
                    <a:cubicBezTo>
                      <a:pt x="0" y="171"/>
                      <a:pt x="0" y="171"/>
                      <a:pt x="0" y="171"/>
                    </a:cubicBezTo>
                    <a:cubicBezTo>
                      <a:pt x="3" y="174"/>
                      <a:pt x="3" y="180"/>
                      <a:pt x="9" y="180"/>
                    </a:cubicBezTo>
                    <a:cubicBezTo>
                      <a:pt x="15" y="183"/>
                      <a:pt x="21" y="177"/>
                      <a:pt x="21" y="180"/>
                    </a:cubicBezTo>
                    <a:cubicBezTo>
                      <a:pt x="21" y="186"/>
                      <a:pt x="6" y="186"/>
                      <a:pt x="6" y="186"/>
                    </a:cubicBezTo>
                    <a:cubicBezTo>
                      <a:pt x="6" y="189"/>
                      <a:pt x="21" y="207"/>
                      <a:pt x="30" y="207"/>
                    </a:cubicBezTo>
                    <a:cubicBezTo>
                      <a:pt x="39" y="204"/>
                      <a:pt x="45" y="195"/>
                      <a:pt x="42" y="195"/>
                    </a:cubicBezTo>
                    <a:cubicBezTo>
                      <a:pt x="39" y="192"/>
                      <a:pt x="45" y="189"/>
                      <a:pt x="45" y="189"/>
                    </a:cubicBezTo>
                    <a:cubicBezTo>
                      <a:pt x="48" y="189"/>
                      <a:pt x="45" y="198"/>
                      <a:pt x="48" y="201"/>
                    </a:cubicBezTo>
                    <a:cubicBezTo>
                      <a:pt x="51" y="201"/>
                      <a:pt x="51" y="207"/>
                      <a:pt x="48" y="210"/>
                    </a:cubicBezTo>
                    <a:cubicBezTo>
                      <a:pt x="48" y="216"/>
                      <a:pt x="51" y="225"/>
                      <a:pt x="51" y="231"/>
                    </a:cubicBezTo>
                    <a:cubicBezTo>
                      <a:pt x="51" y="234"/>
                      <a:pt x="54" y="243"/>
                      <a:pt x="57" y="249"/>
                    </a:cubicBezTo>
                    <a:cubicBezTo>
                      <a:pt x="57" y="258"/>
                      <a:pt x="63" y="273"/>
                      <a:pt x="66" y="279"/>
                    </a:cubicBezTo>
                    <a:cubicBezTo>
                      <a:pt x="72" y="288"/>
                      <a:pt x="75" y="306"/>
                      <a:pt x="78" y="309"/>
                    </a:cubicBezTo>
                    <a:cubicBezTo>
                      <a:pt x="81" y="312"/>
                      <a:pt x="87" y="327"/>
                      <a:pt x="87" y="334"/>
                    </a:cubicBezTo>
                    <a:cubicBezTo>
                      <a:pt x="87" y="343"/>
                      <a:pt x="96" y="352"/>
                      <a:pt x="99" y="355"/>
                    </a:cubicBezTo>
                    <a:cubicBezTo>
                      <a:pt x="102" y="355"/>
                      <a:pt x="108" y="352"/>
                      <a:pt x="111" y="346"/>
                    </a:cubicBezTo>
                    <a:cubicBezTo>
                      <a:pt x="111" y="343"/>
                      <a:pt x="120" y="340"/>
                      <a:pt x="120" y="337"/>
                    </a:cubicBezTo>
                    <a:cubicBezTo>
                      <a:pt x="120" y="334"/>
                      <a:pt x="123" y="327"/>
                      <a:pt x="126" y="327"/>
                    </a:cubicBezTo>
                    <a:cubicBezTo>
                      <a:pt x="129" y="327"/>
                      <a:pt x="129" y="324"/>
                      <a:pt x="129" y="321"/>
                    </a:cubicBezTo>
                    <a:cubicBezTo>
                      <a:pt x="129" y="315"/>
                      <a:pt x="129" y="309"/>
                      <a:pt x="132" y="306"/>
                    </a:cubicBezTo>
                    <a:cubicBezTo>
                      <a:pt x="135" y="303"/>
                      <a:pt x="135" y="291"/>
                      <a:pt x="132" y="288"/>
                    </a:cubicBezTo>
                    <a:cubicBezTo>
                      <a:pt x="132" y="282"/>
                      <a:pt x="132" y="276"/>
                      <a:pt x="132" y="273"/>
                    </a:cubicBezTo>
                    <a:cubicBezTo>
                      <a:pt x="135" y="270"/>
                      <a:pt x="135" y="264"/>
                      <a:pt x="138" y="264"/>
                    </a:cubicBezTo>
                    <a:cubicBezTo>
                      <a:pt x="141" y="264"/>
                      <a:pt x="144" y="261"/>
                      <a:pt x="150" y="255"/>
                    </a:cubicBezTo>
                    <a:cubicBezTo>
                      <a:pt x="153" y="252"/>
                      <a:pt x="162" y="246"/>
                      <a:pt x="165" y="243"/>
                    </a:cubicBezTo>
                    <a:cubicBezTo>
                      <a:pt x="171" y="240"/>
                      <a:pt x="180" y="231"/>
                      <a:pt x="183" y="225"/>
                    </a:cubicBezTo>
                    <a:cubicBezTo>
                      <a:pt x="186" y="219"/>
                      <a:pt x="198" y="216"/>
                      <a:pt x="201" y="213"/>
                    </a:cubicBezTo>
                    <a:cubicBezTo>
                      <a:pt x="207" y="207"/>
                      <a:pt x="204" y="204"/>
                      <a:pt x="204" y="201"/>
                    </a:cubicBezTo>
                    <a:cubicBezTo>
                      <a:pt x="207" y="195"/>
                      <a:pt x="219" y="195"/>
                      <a:pt x="225" y="195"/>
                    </a:cubicBezTo>
                    <a:cubicBezTo>
                      <a:pt x="225" y="195"/>
                      <a:pt x="228" y="195"/>
                      <a:pt x="228" y="192"/>
                    </a:cubicBezTo>
                    <a:cubicBezTo>
                      <a:pt x="228" y="186"/>
                      <a:pt x="225" y="177"/>
                      <a:pt x="225" y="174"/>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6" name="Freeform 640"/>
              <p:cNvSpPr>
                <a:spLocks/>
              </p:cNvSpPr>
              <p:nvPr userDrawn="1"/>
            </p:nvSpPr>
            <p:spPr bwMode="auto">
              <a:xfrm>
                <a:off x="3686" y="-837"/>
                <a:ext cx="224" cy="224"/>
              </a:xfrm>
              <a:custGeom>
                <a:avLst/>
                <a:gdLst>
                  <a:gd name="T0" fmla="*/ 54 w 144"/>
                  <a:gd name="T1" fmla="*/ 138 h 144"/>
                  <a:gd name="T2" fmla="*/ 60 w 144"/>
                  <a:gd name="T3" fmla="*/ 132 h 144"/>
                  <a:gd name="T4" fmla="*/ 66 w 144"/>
                  <a:gd name="T5" fmla="*/ 141 h 144"/>
                  <a:gd name="T6" fmla="*/ 81 w 144"/>
                  <a:gd name="T7" fmla="*/ 141 h 144"/>
                  <a:gd name="T8" fmla="*/ 87 w 144"/>
                  <a:gd name="T9" fmla="*/ 135 h 144"/>
                  <a:gd name="T10" fmla="*/ 87 w 144"/>
                  <a:gd name="T11" fmla="*/ 60 h 144"/>
                  <a:gd name="T12" fmla="*/ 99 w 144"/>
                  <a:gd name="T13" fmla="*/ 54 h 144"/>
                  <a:gd name="T14" fmla="*/ 99 w 144"/>
                  <a:gd name="T15" fmla="*/ 15 h 144"/>
                  <a:gd name="T16" fmla="*/ 111 w 144"/>
                  <a:gd name="T17" fmla="*/ 15 h 144"/>
                  <a:gd name="T18" fmla="*/ 123 w 144"/>
                  <a:gd name="T19" fmla="*/ 12 h 144"/>
                  <a:gd name="T20" fmla="*/ 129 w 144"/>
                  <a:gd name="T21" fmla="*/ 15 h 144"/>
                  <a:gd name="T22" fmla="*/ 138 w 144"/>
                  <a:gd name="T23" fmla="*/ 12 h 144"/>
                  <a:gd name="T24" fmla="*/ 144 w 144"/>
                  <a:gd name="T25" fmla="*/ 9 h 144"/>
                  <a:gd name="T26" fmla="*/ 144 w 144"/>
                  <a:gd name="T27" fmla="*/ 6 h 144"/>
                  <a:gd name="T28" fmla="*/ 120 w 144"/>
                  <a:gd name="T29" fmla="*/ 9 h 144"/>
                  <a:gd name="T30" fmla="*/ 102 w 144"/>
                  <a:gd name="T31" fmla="*/ 9 h 144"/>
                  <a:gd name="T32" fmla="*/ 78 w 144"/>
                  <a:gd name="T33" fmla="*/ 9 h 144"/>
                  <a:gd name="T34" fmla="*/ 75 w 144"/>
                  <a:gd name="T35" fmla="*/ 6 h 144"/>
                  <a:gd name="T36" fmla="*/ 36 w 144"/>
                  <a:gd name="T37" fmla="*/ 6 h 144"/>
                  <a:gd name="T38" fmla="*/ 24 w 144"/>
                  <a:gd name="T39" fmla="*/ 3 h 144"/>
                  <a:gd name="T40" fmla="*/ 15 w 144"/>
                  <a:gd name="T41" fmla="*/ 3 h 144"/>
                  <a:gd name="T42" fmla="*/ 9 w 144"/>
                  <a:gd name="T43" fmla="*/ 0 h 144"/>
                  <a:gd name="T44" fmla="*/ 6 w 144"/>
                  <a:gd name="T45" fmla="*/ 3 h 144"/>
                  <a:gd name="T46" fmla="*/ 3 w 144"/>
                  <a:gd name="T47" fmla="*/ 3 h 144"/>
                  <a:gd name="T48" fmla="*/ 9 w 144"/>
                  <a:gd name="T49" fmla="*/ 18 h 144"/>
                  <a:gd name="T50" fmla="*/ 18 w 144"/>
                  <a:gd name="T51" fmla="*/ 42 h 144"/>
                  <a:gd name="T52" fmla="*/ 30 w 144"/>
                  <a:gd name="T53" fmla="*/ 66 h 144"/>
                  <a:gd name="T54" fmla="*/ 30 w 144"/>
                  <a:gd name="T55" fmla="*/ 84 h 144"/>
                  <a:gd name="T56" fmla="*/ 36 w 144"/>
                  <a:gd name="T57" fmla="*/ 102 h 144"/>
                  <a:gd name="T58" fmla="*/ 42 w 144"/>
                  <a:gd name="T59" fmla="*/ 129 h 144"/>
                  <a:gd name="T60" fmla="*/ 51 w 144"/>
                  <a:gd name="T61" fmla="*/ 138 h 144"/>
                  <a:gd name="T62" fmla="*/ 54 w 144"/>
                  <a:gd name="T63" fmla="*/ 1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4">
                    <a:moveTo>
                      <a:pt x="54" y="138"/>
                    </a:moveTo>
                    <a:cubicBezTo>
                      <a:pt x="54" y="135"/>
                      <a:pt x="57" y="129"/>
                      <a:pt x="60" y="132"/>
                    </a:cubicBezTo>
                    <a:cubicBezTo>
                      <a:pt x="63" y="138"/>
                      <a:pt x="63" y="141"/>
                      <a:pt x="66" y="141"/>
                    </a:cubicBezTo>
                    <a:cubicBezTo>
                      <a:pt x="72" y="141"/>
                      <a:pt x="81" y="144"/>
                      <a:pt x="81" y="141"/>
                    </a:cubicBezTo>
                    <a:cubicBezTo>
                      <a:pt x="81" y="138"/>
                      <a:pt x="87" y="138"/>
                      <a:pt x="87" y="135"/>
                    </a:cubicBezTo>
                    <a:cubicBezTo>
                      <a:pt x="87" y="129"/>
                      <a:pt x="87" y="63"/>
                      <a:pt x="87" y="60"/>
                    </a:cubicBezTo>
                    <a:cubicBezTo>
                      <a:pt x="87" y="57"/>
                      <a:pt x="99" y="60"/>
                      <a:pt x="99" y="54"/>
                    </a:cubicBezTo>
                    <a:cubicBezTo>
                      <a:pt x="99" y="51"/>
                      <a:pt x="99" y="15"/>
                      <a:pt x="99" y="15"/>
                    </a:cubicBezTo>
                    <a:cubicBezTo>
                      <a:pt x="99" y="15"/>
                      <a:pt x="108" y="15"/>
                      <a:pt x="111" y="15"/>
                    </a:cubicBezTo>
                    <a:cubicBezTo>
                      <a:pt x="114" y="15"/>
                      <a:pt x="120" y="9"/>
                      <a:pt x="123" y="12"/>
                    </a:cubicBezTo>
                    <a:cubicBezTo>
                      <a:pt x="126" y="12"/>
                      <a:pt x="129" y="18"/>
                      <a:pt x="129" y="15"/>
                    </a:cubicBezTo>
                    <a:cubicBezTo>
                      <a:pt x="129" y="15"/>
                      <a:pt x="135" y="12"/>
                      <a:pt x="138" y="12"/>
                    </a:cubicBezTo>
                    <a:cubicBezTo>
                      <a:pt x="138" y="12"/>
                      <a:pt x="141" y="9"/>
                      <a:pt x="144" y="9"/>
                    </a:cubicBezTo>
                    <a:cubicBezTo>
                      <a:pt x="144" y="6"/>
                      <a:pt x="144" y="6"/>
                      <a:pt x="144" y="6"/>
                    </a:cubicBezTo>
                    <a:cubicBezTo>
                      <a:pt x="144" y="3"/>
                      <a:pt x="123" y="6"/>
                      <a:pt x="120" y="9"/>
                    </a:cubicBezTo>
                    <a:cubicBezTo>
                      <a:pt x="117" y="9"/>
                      <a:pt x="105" y="12"/>
                      <a:pt x="102" y="9"/>
                    </a:cubicBezTo>
                    <a:cubicBezTo>
                      <a:pt x="99" y="9"/>
                      <a:pt x="78" y="9"/>
                      <a:pt x="78" y="9"/>
                    </a:cubicBezTo>
                    <a:cubicBezTo>
                      <a:pt x="75" y="6"/>
                      <a:pt x="75" y="6"/>
                      <a:pt x="75" y="6"/>
                    </a:cubicBezTo>
                    <a:cubicBezTo>
                      <a:pt x="75" y="6"/>
                      <a:pt x="39" y="6"/>
                      <a:pt x="36" y="6"/>
                    </a:cubicBezTo>
                    <a:cubicBezTo>
                      <a:pt x="30" y="6"/>
                      <a:pt x="27" y="6"/>
                      <a:pt x="24" y="3"/>
                    </a:cubicBezTo>
                    <a:cubicBezTo>
                      <a:pt x="21" y="0"/>
                      <a:pt x="18" y="0"/>
                      <a:pt x="15" y="3"/>
                    </a:cubicBezTo>
                    <a:cubicBezTo>
                      <a:pt x="9" y="3"/>
                      <a:pt x="12" y="0"/>
                      <a:pt x="9" y="0"/>
                    </a:cubicBezTo>
                    <a:cubicBezTo>
                      <a:pt x="6" y="0"/>
                      <a:pt x="6" y="3"/>
                      <a:pt x="6" y="3"/>
                    </a:cubicBezTo>
                    <a:cubicBezTo>
                      <a:pt x="3" y="3"/>
                      <a:pt x="3" y="3"/>
                      <a:pt x="3" y="3"/>
                    </a:cubicBezTo>
                    <a:cubicBezTo>
                      <a:pt x="0" y="6"/>
                      <a:pt x="3" y="12"/>
                      <a:pt x="9" y="18"/>
                    </a:cubicBezTo>
                    <a:cubicBezTo>
                      <a:pt x="12" y="24"/>
                      <a:pt x="15" y="33"/>
                      <a:pt x="18" y="42"/>
                    </a:cubicBezTo>
                    <a:cubicBezTo>
                      <a:pt x="21" y="48"/>
                      <a:pt x="30" y="60"/>
                      <a:pt x="30" y="66"/>
                    </a:cubicBezTo>
                    <a:cubicBezTo>
                      <a:pt x="33" y="72"/>
                      <a:pt x="30" y="81"/>
                      <a:pt x="30" y="84"/>
                    </a:cubicBezTo>
                    <a:cubicBezTo>
                      <a:pt x="33" y="87"/>
                      <a:pt x="33" y="96"/>
                      <a:pt x="36" y="102"/>
                    </a:cubicBezTo>
                    <a:cubicBezTo>
                      <a:pt x="36" y="108"/>
                      <a:pt x="36" y="123"/>
                      <a:pt x="42" y="129"/>
                    </a:cubicBezTo>
                    <a:cubicBezTo>
                      <a:pt x="45" y="132"/>
                      <a:pt x="48" y="135"/>
                      <a:pt x="51" y="138"/>
                    </a:cubicBezTo>
                    <a:cubicBezTo>
                      <a:pt x="54" y="138"/>
                      <a:pt x="54" y="138"/>
                      <a:pt x="54" y="13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7" name="Freeform 641"/>
              <p:cNvSpPr>
                <a:spLocks/>
              </p:cNvSpPr>
              <p:nvPr userDrawn="1"/>
            </p:nvSpPr>
            <p:spPr bwMode="auto">
              <a:xfrm>
                <a:off x="3686" y="-837"/>
                <a:ext cx="224" cy="224"/>
              </a:xfrm>
              <a:custGeom>
                <a:avLst/>
                <a:gdLst>
                  <a:gd name="T0" fmla="*/ 54 w 144"/>
                  <a:gd name="T1" fmla="*/ 138 h 144"/>
                  <a:gd name="T2" fmla="*/ 60 w 144"/>
                  <a:gd name="T3" fmla="*/ 132 h 144"/>
                  <a:gd name="T4" fmla="*/ 66 w 144"/>
                  <a:gd name="T5" fmla="*/ 141 h 144"/>
                  <a:gd name="T6" fmla="*/ 81 w 144"/>
                  <a:gd name="T7" fmla="*/ 141 h 144"/>
                  <a:gd name="T8" fmla="*/ 87 w 144"/>
                  <a:gd name="T9" fmla="*/ 135 h 144"/>
                  <a:gd name="T10" fmla="*/ 87 w 144"/>
                  <a:gd name="T11" fmla="*/ 60 h 144"/>
                  <a:gd name="T12" fmla="*/ 99 w 144"/>
                  <a:gd name="T13" fmla="*/ 54 h 144"/>
                  <a:gd name="T14" fmla="*/ 99 w 144"/>
                  <a:gd name="T15" fmla="*/ 15 h 144"/>
                  <a:gd name="T16" fmla="*/ 111 w 144"/>
                  <a:gd name="T17" fmla="*/ 15 h 144"/>
                  <a:gd name="T18" fmla="*/ 123 w 144"/>
                  <a:gd name="T19" fmla="*/ 12 h 144"/>
                  <a:gd name="T20" fmla="*/ 129 w 144"/>
                  <a:gd name="T21" fmla="*/ 15 h 144"/>
                  <a:gd name="T22" fmla="*/ 138 w 144"/>
                  <a:gd name="T23" fmla="*/ 12 h 144"/>
                  <a:gd name="T24" fmla="*/ 144 w 144"/>
                  <a:gd name="T25" fmla="*/ 9 h 144"/>
                  <a:gd name="T26" fmla="*/ 144 w 144"/>
                  <a:gd name="T27" fmla="*/ 6 h 144"/>
                  <a:gd name="T28" fmla="*/ 120 w 144"/>
                  <a:gd name="T29" fmla="*/ 9 h 144"/>
                  <a:gd name="T30" fmla="*/ 102 w 144"/>
                  <a:gd name="T31" fmla="*/ 9 h 144"/>
                  <a:gd name="T32" fmla="*/ 78 w 144"/>
                  <a:gd name="T33" fmla="*/ 9 h 144"/>
                  <a:gd name="T34" fmla="*/ 75 w 144"/>
                  <a:gd name="T35" fmla="*/ 6 h 144"/>
                  <a:gd name="T36" fmla="*/ 36 w 144"/>
                  <a:gd name="T37" fmla="*/ 6 h 144"/>
                  <a:gd name="T38" fmla="*/ 24 w 144"/>
                  <a:gd name="T39" fmla="*/ 3 h 144"/>
                  <a:gd name="T40" fmla="*/ 15 w 144"/>
                  <a:gd name="T41" fmla="*/ 3 h 144"/>
                  <a:gd name="T42" fmla="*/ 9 w 144"/>
                  <a:gd name="T43" fmla="*/ 0 h 144"/>
                  <a:gd name="T44" fmla="*/ 6 w 144"/>
                  <a:gd name="T45" fmla="*/ 3 h 144"/>
                  <a:gd name="T46" fmla="*/ 3 w 144"/>
                  <a:gd name="T47" fmla="*/ 3 h 144"/>
                  <a:gd name="T48" fmla="*/ 9 w 144"/>
                  <a:gd name="T49" fmla="*/ 18 h 144"/>
                  <a:gd name="T50" fmla="*/ 18 w 144"/>
                  <a:gd name="T51" fmla="*/ 42 h 144"/>
                  <a:gd name="T52" fmla="*/ 30 w 144"/>
                  <a:gd name="T53" fmla="*/ 66 h 144"/>
                  <a:gd name="T54" fmla="*/ 30 w 144"/>
                  <a:gd name="T55" fmla="*/ 84 h 144"/>
                  <a:gd name="T56" fmla="*/ 36 w 144"/>
                  <a:gd name="T57" fmla="*/ 102 h 144"/>
                  <a:gd name="T58" fmla="*/ 42 w 144"/>
                  <a:gd name="T59" fmla="*/ 129 h 144"/>
                  <a:gd name="T60" fmla="*/ 51 w 144"/>
                  <a:gd name="T61" fmla="*/ 138 h 144"/>
                  <a:gd name="T62" fmla="*/ 54 w 144"/>
                  <a:gd name="T63" fmla="*/ 1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 h="144">
                    <a:moveTo>
                      <a:pt x="54" y="138"/>
                    </a:moveTo>
                    <a:cubicBezTo>
                      <a:pt x="54" y="135"/>
                      <a:pt x="57" y="129"/>
                      <a:pt x="60" y="132"/>
                    </a:cubicBezTo>
                    <a:cubicBezTo>
                      <a:pt x="63" y="138"/>
                      <a:pt x="63" y="141"/>
                      <a:pt x="66" y="141"/>
                    </a:cubicBezTo>
                    <a:cubicBezTo>
                      <a:pt x="72" y="141"/>
                      <a:pt x="81" y="144"/>
                      <a:pt x="81" y="141"/>
                    </a:cubicBezTo>
                    <a:cubicBezTo>
                      <a:pt x="81" y="138"/>
                      <a:pt x="87" y="138"/>
                      <a:pt x="87" y="135"/>
                    </a:cubicBezTo>
                    <a:cubicBezTo>
                      <a:pt x="87" y="129"/>
                      <a:pt x="87" y="63"/>
                      <a:pt x="87" y="60"/>
                    </a:cubicBezTo>
                    <a:cubicBezTo>
                      <a:pt x="87" y="57"/>
                      <a:pt x="99" y="60"/>
                      <a:pt x="99" y="54"/>
                    </a:cubicBezTo>
                    <a:cubicBezTo>
                      <a:pt x="99" y="51"/>
                      <a:pt x="99" y="15"/>
                      <a:pt x="99" y="15"/>
                    </a:cubicBezTo>
                    <a:cubicBezTo>
                      <a:pt x="99" y="15"/>
                      <a:pt x="108" y="15"/>
                      <a:pt x="111" y="15"/>
                    </a:cubicBezTo>
                    <a:cubicBezTo>
                      <a:pt x="114" y="15"/>
                      <a:pt x="120" y="9"/>
                      <a:pt x="123" y="12"/>
                    </a:cubicBezTo>
                    <a:cubicBezTo>
                      <a:pt x="126" y="12"/>
                      <a:pt x="129" y="18"/>
                      <a:pt x="129" y="15"/>
                    </a:cubicBezTo>
                    <a:cubicBezTo>
                      <a:pt x="129" y="15"/>
                      <a:pt x="135" y="12"/>
                      <a:pt x="138" y="12"/>
                    </a:cubicBezTo>
                    <a:cubicBezTo>
                      <a:pt x="138" y="12"/>
                      <a:pt x="141" y="9"/>
                      <a:pt x="144" y="9"/>
                    </a:cubicBezTo>
                    <a:cubicBezTo>
                      <a:pt x="144" y="6"/>
                      <a:pt x="144" y="6"/>
                      <a:pt x="144" y="6"/>
                    </a:cubicBezTo>
                    <a:cubicBezTo>
                      <a:pt x="144" y="3"/>
                      <a:pt x="123" y="6"/>
                      <a:pt x="120" y="9"/>
                    </a:cubicBezTo>
                    <a:cubicBezTo>
                      <a:pt x="117" y="9"/>
                      <a:pt x="105" y="12"/>
                      <a:pt x="102" y="9"/>
                    </a:cubicBezTo>
                    <a:cubicBezTo>
                      <a:pt x="99" y="9"/>
                      <a:pt x="78" y="9"/>
                      <a:pt x="78" y="9"/>
                    </a:cubicBezTo>
                    <a:cubicBezTo>
                      <a:pt x="75" y="6"/>
                      <a:pt x="75" y="6"/>
                      <a:pt x="75" y="6"/>
                    </a:cubicBezTo>
                    <a:cubicBezTo>
                      <a:pt x="75" y="6"/>
                      <a:pt x="39" y="6"/>
                      <a:pt x="36" y="6"/>
                    </a:cubicBezTo>
                    <a:cubicBezTo>
                      <a:pt x="30" y="6"/>
                      <a:pt x="27" y="6"/>
                      <a:pt x="24" y="3"/>
                    </a:cubicBezTo>
                    <a:cubicBezTo>
                      <a:pt x="21" y="0"/>
                      <a:pt x="18" y="0"/>
                      <a:pt x="15" y="3"/>
                    </a:cubicBezTo>
                    <a:cubicBezTo>
                      <a:pt x="9" y="3"/>
                      <a:pt x="12" y="0"/>
                      <a:pt x="9" y="0"/>
                    </a:cubicBezTo>
                    <a:cubicBezTo>
                      <a:pt x="6" y="0"/>
                      <a:pt x="6" y="3"/>
                      <a:pt x="6" y="3"/>
                    </a:cubicBezTo>
                    <a:cubicBezTo>
                      <a:pt x="3" y="3"/>
                      <a:pt x="3" y="3"/>
                      <a:pt x="3" y="3"/>
                    </a:cubicBezTo>
                    <a:cubicBezTo>
                      <a:pt x="0" y="6"/>
                      <a:pt x="3" y="12"/>
                      <a:pt x="9" y="18"/>
                    </a:cubicBezTo>
                    <a:cubicBezTo>
                      <a:pt x="12" y="24"/>
                      <a:pt x="15" y="33"/>
                      <a:pt x="18" y="42"/>
                    </a:cubicBezTo>
                    <a:cubicBezTo>
                      <a:pt x="21" y="48"/>
                      <a:pt x="30" y="60"/>
                      <a:pt x="30" y="66"/>
                    </a:cubicBezTo>
                    <a:cubicBezTo>
                      <a:pt x="33" y="72"/>
                      <a:pt x="30" y="81"/>
                      <a:pt x="30" y="84"/>
                    </a:cubicBezTo>
                    <a:cubicBezTo>
                      <a:pt x="33" y="87"/>
                      <a:pt x="33" y="96"/>
                      <a:pt x="36" y="102"/>
                    </a:cubicBezTo>
                    <a:cubicBezTo>
                      <a:pt x="36" y="108"/>
                      <a:pt x="36" y="123"/>
                      <a:pt x="42" y="129"/>
                    </a:cubicBezTo>
                    <a:cubicBezTo>
                      <a:pt x="45" y="132"/>
                      <a:pt x="48" y="135"/>
                      <a:pt x="51" y="138"/>
                    </a:cubicBezTo>
                    <a:cubicBezTo>
                      <a:pt x="54" y="138"/>
                      <a:pt x="54" y="138"/>
                      <a:pt x="54" y="138"/>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8" name="Freeform 642"/>
              <p:cNvSpPr>
                <a:spLocks/>
              </p:cNvSpPr>
              <p:nvPr userDrawn="1"/>
            </p:nvSpPr>
            <p:spPr bwMode="auto">
              <a:xfrm>
                <a:off x="3910" y="-861"/>
                <a:ext cx="139" cy="123"/>
              </a:xfrm>
              <a:custGeom>
                <a:avLst/>
                <a:gdLst>
                  <a:gd name="T0" fmla="*/ 59 w 89"/>
                  <a:gd name="T1" fmla="*/ 3 h 79"/>
                  <a:gd name="T2" fmla="*/ 59 w 89"/>
                  <a:gd name="T3" fmla="*/ 0 h 79"/>
                  <a:gd name="T4" fmla="*/ 48 w 89"/>
                  <a:gd name="T5" fmla="*/ 0 h 79"/>
                  <a:gd name="T6" fmla="*/ 42 w 89"/>
                  <a:gd name="T7" fmla="*/ 6 h 79"/>
                  <a:gd name="T8" fmla="*/ 33 w 89"/>
                  <a:gd name="T9" fmla="*/ 12 h 79"/>
                  <a:gd name="T10" fmla="*/ 21 w 89"/>
                  <a:gd name="T11" fmla="*/ 27 h 79"/>
                  <a:gd name="T12" fmla="*/ 6 w 89"/>
                  <a:gd name="T13" fmla="*/ 24 h 79"/>
                  <a:gd name="T14" fmla="*/ 0 w 89"/>
                  <a:gd name="T15" fmla="*/ 24 h 79"/>
                  <a:gd name="T16" fmla="*/ 6 w 89"/>
                  <a:gd name="T17" fmla="*/ 30 h 79"/>
                  <a:gd name="T18" fmla="*/ 12 w 89"/>
                  <a:gd name="T19" fmla="*/ 46 h 79"/>
                  <a:gd name="T20" fmla="*/ 24 w 89"/>
                  <a:gd name="T21" fmla="*/ 52 h 79"/>
                  <a:gd name="T22" fmla="*/ 30 w 89"/>
                  <a:gd name="T23" fmla="*/ 61 h 79"/>
                  <a:gd name="T24" fmla="*/ 36 w 89"/>
                  <a:gd name="T25" fmla="*/ 70 h 79"/>
                  <a:gd name="T26" fmla="*/ 45 w 89"/>
                  <a:gd name="T27" fmla="*/ 73 h 79"/>
                  <a:gd name="T28" fmla="*/ 57 w 89"/>
                  <a:gd name="T29" fmla="*/ 76 h 79"/>
                  <a:gd name="T30" fmla="*/ 68 w 89"/>
                  <a:gd name="T31" fmla="*/ 79 h 79"/>
                  <a:gd name="T32" fmla="*/ 80 w 89"/>
                  <a:gd name="T33" fmla="*/ 67 h 79"/>
                  <a:gd name="T34" fmla="*/ 83 w 89"/>
                  <a:gd name="T35" fmla="*/ 55 h 79"/>
                  <a:gd name="T36" fmla="*/ 89 w 89"/>
                  <a:gd name="T37" fmla="*/ 49 h 79"/>
                  <a:gd name="T38" fmla="*/ 83 w 89"/>
                  <a:gd name="T39" fmla="*/ 40 h 79"/>
                  <a:gd name="T40" fmla="*/ 86 w 89"/>
                  <a:gd name="T41" fmla="*/ 27 h 79"/>
                  <a:gd name="T42" fmla="*/ 86 w 89"/>
                  <a:gd name="T43" fmla="*/ 12 h 79"/>
                  <a:gd name="T44" fmla="*/ 74 w 89"/>
                  <a:gd name="T45" fmla="*/ 6 h 79"/>
                  <a:gd name="T46" fmla="*/ 59 w 89"/>
                  <a:gd name="T47" fmla="*/ 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79">
                    <a:moveTo>
                      <a:pt x="59" y="3"/>
                    </a:moveTo>
                    <a:cubicBezTo>
                      <a:pt x="59" y="0"/>
                      <a:pt x="59" y="0"/>
                      <a:pt x="59" y="0"/>
                    </a:cubicBezTo>
                    <a:cubicBezTo>
                      <a:pt x="48" y="0"/>
                      <a:pt x="48" y="0"/>
                      <a:pt x="48" y="0"/>
                    </a:cubicBezTo>
                    <a:cubicBezTo>
                      <a:pt x="42" y="0"/>
                      <a:pt x="42" y="3"/>
                      <a:pt x="42" y="6"/>
                    </a:cubicBezTo>
                    <a:cubicBezTo>
                      <a:pt x="42" y="6"/>
                      <a:pt x="36" y="12"/>
                      <a:pt x="33" y="12"/>
                    </a:cubicBezTo>
                    <a:cubicBezTo>
                      <a:pt x="27" y="15"/>
                      <a:pt x="24" y="24"/>
                      <a:pt x="21" y="27"/>
                    </a:cubicBezTo>
                    <a:cubicBezTo>
                      <a:pt x="18" y="27"/>
                      <a:pt x="9" y="24"/>
                      <a:pt x="6" y="24"/>
                    </a:cubicBezTo>
                    <a:cubicBezTo>
                      <a:pt x="6" y="24"/>
                      <a:pt x="3" y="24"/>
                      <a:pt x="0" y="24"/>
                    </a:cubicBezTo>
                    <a:cubicBezTo>
                      <a:pt x="3" y="27"/>
                      <a:pt x="6" y="30"/>
                      <a:pt x="6" y="30"/>
                    </a:cubicBezTo>
                    <a:cubicBezTo>
                      <a:pt x="9" y="30"/>
                      <a:pt x="9" y="43"/>
                      <a:pt x="12" y="46"/>
                    </a:cubicBezTo>
                    <a:cubicBezTo>
                      <a:pt x="18" y="46"/>
                      <a:pt x="24" y="52"/>
                      <a:pt x="24" y="52"/>
                    </a:cubicBezTo>
                    <a:cubicBezTo>
                      <a:pt x="24" y="55"/>
                      <a:pt x="30" y="58"/>
                      <a:pt x="30" y="61"/>
                    </a:cubicBezTo>
                    <a:cubicBezTo>
                      <a:pt x="30" y="64"/>
                      <a:pt x="33" y="70"/>
                      <a:pt x="36" y="70"/>
                    </a:cubicBezTo>
                    <a:cubicBezTo>
                      <a:pt x="45" y="70"/>
                      <a:pt x="45" y="73"/>
                      <a:pt x="45" y="73"/>
                    </a:cubicBezTo>
                    <a:cubicBezTo>
                      <a:pt x="45" y="76"/>
                      <a:pt x="54" y="73"/>
                      <a:pt x="57" y="76"/>
                    </a:cubicBezTo>
                    <a:cubicBezTo>
                      <a:pt x="57" y="79"/>
                      <a:pt x="65" y="76"/>
                      <a:pt x="68" y="79"/>
                    </a:cubicBezTo>
                    <a:cubicBezTo>
                      <a:pt x="71" y="76"/>
                      <a:pt x="77" y="70"/>
                      <a:pt x="80" y="67"/>
                    </a:cubicBezTo>
                    <a:cubicBezTo>
                      <a:pt x="83" y="64"/>
                      <a:pt x="80" y="58"/>
                      <a:pt x="83" y="55"/>
                    </a:cubicBezTo>
                    <a:cubicBezTo>
                      <a:pt x="89" y="49"/>
                      <a:pt x="89" y="49"/>
                      <a:pt x="89" y="49"/>
                    </a:cubicBezTo>
                    <a:cubicBezTo>
                      <a:pt x="86" y="46"/>
                      <a:pt x="86" y="43"/>
                      <a:pt x="83" y="40"/>
                    </a:cubicBezTo>
                    <a:cubicBezTo>
                      <a:pt x="80" y="36"/>
                      <a:pt x="89" y="33"/>
                      <a:pt x="86" y="27"/>
                    </a:cubicBezTo>
                    <a:cubicBezTo>
                      <a:pt x="86" y="24"/>
                      <a:pt x="89" y="12"/>
                      <a:pt x="86" y="12"/>
                    </a:cubicBezTo>
                    <a:cubicBezTo>
                      <a:pt x="86" y="9"/>
                      <a:pt x="77" y="9"/>
                      <a:pt x="74" y="6"/>
                    </a:cubicBezTo>
                    <a:cubicBezTo>
                      <a:pt x="68" y="3"/>
                      <a:pt x="59" y="3"/>
                      <a:pt x="5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69" name="Freeform 643"/>
              <p:cNvSpPr>
                <a:spLocks/>
              </p:cNvSpPr>
              <p:nvPr userDrawn="1"/>
            </p:nvSpPr>
            <p:spPr bwMode="auto">
              <a:xfrm>
                <a:off x="3910" y="-861"/>
                <a:ext cx="139" cy="123"/>
              </a:xfrm>
              <a:custGeom>
                <a:avLst/>
                <a:gdLst>
                  <a:gd name="T0" fmla="*/ 59 w 89"/>
                  <a:gd name="T1" fmla="*/ 3 h 79"/>
                  <a:gd name="T2" fmla="*/ 59 w 89"/>
                  <a:gd name="T3" fmla="*/ 0 h 79"/>
                  <a:gd name="T4" fmla="*/ 48 w 89"/>
                  <a:gd name="T5" fmla="*/ 0 h 79"/>
                  <a:gd name="T6" fmla="*/ 42 w 89"/>
                  <a:gd name="T7" fmla="*/ 6 h 79"/>
                  <a:gd name="T8" fmla="*/ 33 w 89"/>
                  <a:gd name="T9" fmla="*/ 12 h 79"/>
                  <a:gd name="T10" fmla="*/ 21 w 89"/>
                  <a:gd name="T11" fmla="*/ 27 h 79"/>
                  <a:gd name="T12" fmla="*/ 6 w 89"/>
                  <a:gd name="T13" fmla="*/ 24 h 79"/>
                  <a:gd name="T14" fmla="*/ 0 w 89"/>
                  <a:gd name="T15" fmla="*/ 24 h 79"/>
                  <a:gd name="T16" fmla="*/ 6 w 89"/>
                  <a:gd name="T17" fmla="*/ 30 h 79"/>
                  <a:gd name="T18" fmla="*/ 12 w 89"/>
                  <a:gd name="T19" fmla="*/ 46 h 79"/>
                  <a:gd name="T20" fmla="*/ 24 w 89"/>
                  <a:gd name="T21" fmla="*/ 52 h 79"/>
                  <a:gd name="T22" fmla="*/ 30 w 89"/>
                  <a:gd name="T23" fmla="*/ 61 h 79"/>
                  <a:gd name="T24" fmla="*/ 36 w 89"/>
                  <a:gd name="T25" fmla="*/ 70 h 79"/>
                  <a:gd name="T26" fmla="*/ 45 w 89"/>
                  <a:gd name="T27" fmla="*/ 73 h 79"/>
                  <a:gd name="T28" fmla="*/ 57 w 89"/>
                  <a:gd name="T29" fmla="*/ 76 h 79"/>
                  <a:gd name="T30" fmla="*/ 68 w 89"/>
                  <a:gd name="T31" fmla="*/ 79 h 79"/>
                  <a:gd name="T32" fmla="*/ 80 w 89"/>
                  <a:gd name="T33" fmla="*/ 67 h 79"/>
                  <a:gd name="T34" fmla="*/ 83 w 89"/>
                  <a:gd name="T35" fmla="*/ 55 h 79"/>
                  <a:gd name="T36" fmla="*/ 89 w 89"/>
                  <a:gd name="T37" fmla="*/ 49 h 79"/>
                  <a:gd name="T38" fmla="*/ 83 w 89"/>
                  <a:gd name="T39" fmla="*/ 40 h 79"/>
                  <a:gd name="T40" fmla="*/ 86 w 89"/>
                  <a:gd name="T41" fmla="*/ 27 h 79"/>
                  <a:gd name="T42" fmla="*/ 86 w 89"/>
                  <a:gd name="T43" fmla="*/ 12 h 79"/>
                  <a:gd name="T44" fmla="*/ 74 w 89"/>
                  <a:gd name="T45" fmla="*/ 6 h 79"/>
                  <a:gd name="T46" fmla="*/ 59 w 89"/>
                  <a:gd name="T47" fmla="*/ 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79">
                    <a:moveTo>
                      <a:pt x="59" y="3"/>
                    </a:moveTo>
                    <a:cubicBezTo>
                      <a:pt x="59" y="0"/>
                      <a:pt x="59" y="0"/>
                      <a:pt x="59" y="0"/>
                    </a:cubicBezTo>
                    <a:cubicBezTo>
                      <a:pt x="48" y="0"/>
                      <a:pt x="48" y="0"/>
                      <a:pt x="48" y="0"/>
                    </a:cubicBezTo>
                    <a:cubicBezTo>
                      <a:pt x="42" y="0"/>
                      <a:pt x="42" y="3"/>
                      <a:pt x="42" y="6"/>
                    </a:cubicBezTo>
                    <a:cubicBezTo>
                      <a:pt x="42" y="6"/>
                      <a:pt x="36" y="12"/>
                      <a:pt x="33" y="12"/>
                    </a:cubicBezTo>
                    <a:cubicBezTo>
                      <a:pt x="27" y="15"/>
                      <a:pt x="24" y="24"/>
                      <a:pt x="21" y="27"/>
                    </a:cubicBezTo>
                    <a:cubicBezTo>
                      <a:pt x="18" y="27"/>
                      <a:pt x="9" y="24"/>
                      <a:pt x="6" y="24"/>
                    </a:cubicBezTo>
                    <a:cubicBezTo>
                      <a:pt x="6" y="24"/>
                      <a:pt x="3" y="24"/>
                      <a:pt x="0" y="24"/>
                    </a:cubicBezTo>
                    <a:cubicBezTo>
                      <a:pt x="3" y="27"/>
                      <a:pt x="6" y="30"/>
                      <a:pt x="6" y="30"/>
                    </a:cubicBezTo>
                    <a:cubicBezTo>
                      <a:pt x="9" y="30"/>
                      <a:pt x="9" y="43"/>
                      <a:pt x="12" y="46"/>
                    </a:cubicBezTo>
                    <a:cubicBezTo>
                      <a:pt x="18" y="46"/>
                      <a:pt x="24" y="52"/>
                      <a:pt x="24" y="52"/>
                    </a:cubicBezTo>
                    <a:cubicBezTo>
                      <a:pt x="24" y="55"/>
                      <a:pt x="30" y="58"/>
                      <a:pt x="30" y="61"/>
                    </a:cubicBezTo>
                    <a:cubicBezTo>
                      <a:pt x="30" y="64"/>
                      <a:pt x="33" y="70"/>
                      <a:pt x="36" y="70"/>
                    </a:cubicBezTo>
                    <a:cubicBezTo>
                      <a:pt x="45" y="70"/>
                      <a:pt x="45" y="73"/>
                      <a:pt x="45" y="73"/>
                    </a:cubicBezTo>
                    <a:cubicBezTo>
                      <a:pt x="45" y="76"/>
                      <a:pt x="54" y="73"/>
                      <a:pt x="57" y="76"/>
                    </a:cubicBezTo>
                    <a:cubicBezTo>
                      <a:pt x="57" y="79"/>
                      <a:pt x="65" y="76"/>
                      <a:pt x="68" y="79"/>
                    </a:cubicBezTo>
                    <a:cubicBezTo>
                      <a:pt x="71" y="76"/>
                      <a:pt x="77" y="70"/>
                      <a:pt x="80" y="67"/>
                    </a:cubicBezTo>
                    <a:cubicBezTo>
                      <a:pt x="83" y="64"/>
                      <a:pt x="80" y="58"/>
                      <a:pt x="83" y="55"/>
                    </a:cubicBezTo>
                    <a:cubicBezTo>
                      <a:pt x="89" y="49"/>
                      <a:pt x="89" y="49"/>
                      <a:pt x="89" y="49"/>
                    </a:cubicBezTo>
                    <a:cubicBezTo>
                      <a:pt x="86" y="46"/>
                      <a:pt x="86" y="43"/>
                      <a:pt x="83" y="40"/>
                    </a:cubicBezTo>
                    <a:cubicBezTo>
                      <a:pt x="80" y="36"/>
                      <a:pt x="89" y="33"/>
                      <a:pt x="86" y="27"/>
                    </a:cubicBezTo>
                    <a:cubicBezTo>
                      <a:pt x="86" y="24"/>
                      <a:pt x="89" y="12"/>
                      <a:pt x="86" y="12"/>
                    </a:cubicBezTo>
                    <a:cubicBezTo>
                      <a:pt x="86" y="9"/>
                      <a:pt x="77" y="9"/>
                      <a:pt x="74" y="6"/>
                    </a:cubicBezTo>
                    <a:cubicBezTo>
                      <a:pt x="68" y="3"/>
                      <a:pt x="59" y="3"/>
                      <a:pt x="5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0" name="Freeform 644"/>
              <p:cNvSpPr>
                <a:spLocks/>
              </p:cNvSpPr>
              <p:nvPr userDrawn="1"/>
            </p:nvSpPr>
            <p:spPr bwMode="auto">
              <a:xfrm>
                <a:off x="3821" y="-823"/>
                <a:ext cx="159" cy="168"/>
              </a:xfrm>
              <a:custGeom>
                <a:avLst/>
                <a:gdLst>
                  <a:gd name="T0" fmla="*/ 93 w 102"/>
                  <a:gd name="T1" fmla="*/ 45 h 108"/>
                  <a:gd name="T2" fmla="*/ 87 w 102"/>
                  <a:gd name="T3" fmla="*/ 36 h 108"/>
                  <a:gd name="T4" fmla="*/ 81 w 102"/>
                  <a:gd name="T5" fmla="*/ 27 h 108"/>
                  <a:gd name="T6" fmla="*/ 69 w 102"/>
                  <a:gd name="T7" fmla="*/ 21 h 108"/>
                  <a:gd name="T8" fmla="*/ 63 w 102"/>
                  <a:gd name="T9" fmla="*/ 6 h 108"/>
                  <a:gd name="T10" fmla="*/ 57 w 102"/>
                  <a:gd name="T11" fmla="*/ 0 h 108"/>
                  <a:gd name="T12" fmla="*/ 51 w 102"/>
                  <a:gd name="T13" fmla="*/ 3 h 108"/>
                  <a:gd name="T14" fmla="*/ 42 w 102"/>
                  <a:gd name="T15" fmla="*/ 6 h 108"/>
                  <a:gd name="T16" fmla="*/ 36 w 102"/>
                  <a:gd name="T17" fmla="*/ 3 h 108"/>
                  <a:gd name="T18" fmla="*/ 24 w 102"/>
                  <a:gd name="T19" fmla="*/ 6 h 108"/>
                  <a:gd name="T20" fmla="*/ 12 w 102"/>
                  <a:gd name="T21" fmla="*/ 6 h 108"/>
                  <a:gd name="T22" fmla="*/ 12 w 102"/>
                  <a:gd name="T23" fmla="*/ 45 h 108"/>
                  <a:gd name="T24" fmla="*/ 0 w 102"/>
                  <a:gd name="T25" fmla="*/ 51 h 108"/>
                  <a:gd name="T26" fmla="*/ 0 w 102"/>
                  <a:gd name="T27" fmla="*/ 84 h 108"/>
                  <a:gd name="T28" fmla="*/ 6 w 102"/>
                  <a:gd name="T29" fmla="*/ 87 h 108"/>
                  <a:gd name="T30" fmla="*/ 9 w 102"/>
                  <a:gd name="T31" fmla="*/ 99 h 108"/>
                  <a:gd name="T32" fmla="*/ 9 w 102"/>
                  <a:gd name="T33" fmla="*/ 102 h 108"/>
                  <a:gd name="T34" fmla="*/ 9 w 102"/>
                  <a:gd name="T35" fmla="*/ 108 h 108"/>
                  <a:gd name="T36" fmla="*/ 21 w 102"/>
                  <a:gd name="T37" fmla="*/ 108 h 108"/>
                  <a:gd name="T38" fmla="*/ 33 w 102"/>
                  <a:gd name="T39" fmla="*/ 96 h 108"/>
                  <a:gd name="T40" fmla="*/ 39 w 102"/>
                  <a:gd name="T41" fmla="*/ 90 h 108"/>
                  <a:gd name="T42" fmla="*/ 54 w 102"/>
                  <a:gd name="T43" fmla="*/ 93 h 108"/>
                  <a:gd name="T44" fmla="*/ 63 w 102"/>
                  <a:gd name="T45" fmla="*/ 87 h 108"/>
                  <a:gd name="T46" fmla="*/ 69 w 102"/>
                  <a:gd name="T47" fmla="*/ 81 h 108"/>
                  <a:gd name="T48" fmla="*/ 78 w 102"/>
                  <a:gd name="T49" fmla="*/ 72 h 108"/>
                  <a:gd name="T50" fmla="*/ 81 w 102"/>
                  <a:gd name="T51" fmla="*/ 66 h 108"/>
                  <a:gd name="T52" fmla="*/ 90 w 102"/>
                  <a:gd name="T53" fmla="*/ 60 h 108"/>
                  <a:gd name="T54" fmla="*/ 99 w 102"/>
                  <a:gd name="T55" fmla="*/ 54 h 108"/>
                  <a:gd name="T56" fmla="*/ 102 w 102"/>
                  <a:gd name="T57" fmla="*/ 48 h 108"/>
                  <a:gd name="T58" fmla="*/ 102 w 102"/>
                  <a:gd name="T59" fmla="*/ 48 h 108"/>
                  <a:gd name="T60" fmla="*/ 93 w 102"/>
                  <a:gd name="T6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2" h="108">
                    <a:moveTo>
                      <a:pt x="93" y="45"/>
                    </a:moveTo>
                    <a:cubicBezTo>
                      <a:pt x="90" y="45"/>
                      <a:pt x="87" y="39"/>
                      <a:pt x="87" y="36"/>
                    </a:cubicBezTo>
                    <a:cubicBezTo>
                      <a:pt x="87" y="33"/>
                      <a:pt x="81" y="30"/>
                      <a:pt x="81" y="27"/>
                    </a:cubicBezTo>
                    <a:cubicBezTo>
                      <a:pt x="81" y="27"/>
                      <a:pt x="75" y="21"/>
                      <a:pt x="69" y="21"/>
                    </a:cubicBezTo>
                    <a:cubicBezTo>
                      <a:pt x="66" y="18"/>
                      <a:pt x="66" y="6"/>
                      <a:pt x="63" y="6"/>
                    </a:cubicBezTo>
                    <a:cubicBezTo>
                      <a:pt x="63" y="6"/>
                      <a:pt x="60" y="3"/>
                      <a:pt x="57" y="0"/>
                    </a:cubicBezTo>
                    <a:cubicBezTo>
                      <a:pt x="54" y="0"/>
                      <a:pt x="51" y="3"/>
                      <a:pt x="51" y="3"/>
                    </a:cubicBezTo>
                    <a:cubicBezTo>
                      <a:pt x="48" y="3"/>
                      <a:pt x="42" y="6"/>
                      <a:pt x="42" y="6"/>
                    </a:cubicBezTo>
                    <a:cubicBezTo>
                      <a:pt x="42" y="9"/>
                      <a:pt x="39" y="3"/>
                      <a:pt x="36" y="3"/>
                    </a:cubicBezTo>
                    <a:cubicBezTo>
                      <a:pt x="33" y="0"/>
                      <a:pt x="27" y="6"/>
                      <a:pt x="24" y="6"/>
                    </a:cubicBezTo>
                    <a:cubicBezTo>
                      <a:pt x="21" y="6"/>
                      <a:pt x="12" y="6"/>
                      <a:pt x="12" y="6"/>
                    </a:cubicBezTo>
                    <a:cubicBezTo>
                      <a:pt x="12" y="6"/>
                      <a:pt x="12" y="42"/>
                      <a:pt x="12" y="45"/>
                    </a:cubicBezTo>
                    <a:cubicBezTo>
                      <a:pt x="12" y="51"/>
                      <a:pt x="0" y="48"/>
                      <a:pt x="0" y="51"/>
                    </a:cubicBezTo>
                    <a:cubicBezTo>
                      <a:pt x="0" y="51"/>
                      <a:pt x="0" y="66"/>
                      <a:pt x="0" y="84"/>
                    </a:cubicBezTo>
                    <a:cubicBezTo>
                      <a:pt x="3" y="84"/>
                      <a:pt x="6" y="84"/>
                      <a:pt x="6" y="87"/>
                    </a:cubicBezTo>
                    <a:cubicBezTo>
                      <a:pt x="9" y="90"/>
                      <a:pt x="12" y="99"/>
                      <a:pt x="9" y="99"/>
                    </a:cubicBezTo>
                    <a:cubicBezTo>
                      <a:pt x="9" y="102"/>
                      <a:pt x="9" y="99"/>
                      <a:pt x="9" y="102"/>
                    </a:cubicBezTo>
                    <a:cubicBezTo>
                      <a:pt x="9" y="105"/>
                      <a:pt x="6" y="108"/>
                      <a:pt x="9" y="108"/>
                    </a:cubicBezTo>
                    <a:cubicBezTo>
                      <a:pt x="12" y="108"/>
                      <a:pt x="18" y="108"/>
                      <a:pt x="21" y="108"/>
                    </a:cubicBezTo>
                    <a:cubicBezTo>
                      <a:pt x="24" y="105"/>
                      <a:pt x="30" y="99"/>
                      <a:pt x="33" y="96"/>
                    </a:cubicBezTo>
                    <a:cubicBezTo>
                      <a:pt x="33" y="93"/>
                      <a:pt x="33" y="84"/>
                      <a:pt x="39" y="90"/>
                    </a:cubicBezTo>
                    <a:cubicBezTo>
                      <a:pt x="45" y="93"/>
                      <a:pt x="45" y="93"/>
                      <a:pt x="54" y="93"/>
                    </a:cubicBezTo>
                    <a:cubicBezTo>
                      <a:pt x="60" y="93"/>
                      <a:pt x="63" y="93"/>
                      <a:pt x="63" y="87"/>
                    </a:cubicBezTo>
                    <a:cubicBezTo>
                      <a:pt x="66" y="84"/>
                      <a:pt x="63" y="81"/>
                      <a:pt x="69" y="81"/>
                    </a:cubicBezTo>
                    <a:cubicBezTo>
                      <a:pt x="72" y="81"/>
                      <a:pt x="78" y="75"/>
                      <a:pt x="78" y="72"/>
                    </a:cubicBezTo>
                    <a:cubicBezTo>
                      <a:pt x="78" y="69"/>
                      <a:pt x="78" y="66"/>
                      <a:pt x="81" y="66"/>
                    </a:cubicBezTo>
                    <a:cubicBezTo>
                      <a:pt x="84" y="66"/>
                      <a:pt x="90" y="63"/>
                      <a:pt x="90" y="60"/>
                    </a:cubicBezTo>
                    <a:cubicBezTo>
                      <a:pt x="93" y="54"/>
                      <a:pt x="96" y="57"/>
                      <a:pt x="99" y="54"/>
                    </a:cubicBezTo>
                    <a:cubicBezTo>
                      <a:pt x="99" y="54"/>
                      <a:pt x="99" y="51"/>
                      <a:pt x="102" y="48"/>
                    </a:cubicBezTo>
                    <a:cubicBezTo>
                      <a:pt x="102" y="48"/>
                      <a:pt x="102" y="48"/>
                      <a:pt x="102" y="48"/>
                    </a:cubicBezTo>
                    <a:cubicBezTo>
                      <a:pt x="102" y="48"/>
                      <a:pt x="102" y="45"/>
                      <a:pt x="93"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1" name="Freeform 645"/>
              <p:cNvSpPr>
                <a:spLocks/>
              </p:cNvSpPr>
              <p:nvPr userDrawn="1"/>
            </p:nvSpPr>
            <p:spPr bwMode="auto">
              <a:xfrm>
                <a:off x="3821" y="-823"/>
                <a:ext cx="159" cy="168"/>
              </a:xfrm>
              <a:custGeom>
                <a:avLst/>
                <a:gdLst>
                  <a:gd name="T0" fmla="*/ 93 w 102"/>
                  <a:gd name="T1" fmla="*/ 45 h 108"/>
                  <a:gd name="T2" fmla="*/ 87 w 102"/>
                  <a:gd name="T3" fmla="*/ 36 h 108"/>
                  <a:gd name="T4" fmla="*/ 81 w 102"/>
                  <a:gd name="T5" fmla="*/ 27 h 108"/>
                  <a:gd name="T6" fmla="*/ 69 w 102"/>
                  <a:gd name="T7" fmla="*/ 21 h 108"/>
                  <a:gd name="T8" fmla="*/ 63 w 102"/>
                  <a:gd name="T9" fmla="*/ 6 h 108"/>
                  <a:gd name="T10" fmla="*/ 57 w 102"/>
                  <a:gd name="T11" fmla="*/ 0 h 108"/>
                  <a:gd name="T12" fmla="*/ 51 w 102"/>
                  <a:gd name="T13" fmla="*/ 3 h 108"/>
                  <a:gd name="T14" fmla="*/ 42 w 102"/>
                  <a:gd name="T15" fmla="*/ 6 h 108"/>
                  <a:gd name="T16" fmla="*/ 36 w 102"/>
                  <a:gd name="T17" fmla="*/ 3 h 108"/>
                  <a:gd name="T18" fmla="*/ 24 w 102"/>
                  <a:gd name="T19" fmla="*/ 6 h 108"/>
                  <a:gd name="T20" fmla="*/ 12 w 102"/>
                  <a:gd name="T21" fmla="*/ 6 h 108"/>
                  <a:gd name="T22" fmla="*/ 12 w 102"/>
                  <a:gd name="T23" fmla="*/ 45 h 108"/>
                  <a:gd name="T24" fmla="*/ 0 w 102"/>
                  <a:gd name="T25" fmla="*/ 51 h 108"/>
                  <a:gd name="T26" fmla="*/ 0 w 102"/>
                  <a:gd name="T27" fmla="*/ 84 h 108"/>
                  <a:gd name="T28" fmla="*/ 6 w 102"/>
                  <a:gd name="T29" fmla="*/ 87 h 108"/>
                  <a:gd name="T30" fmla="*/ 9 w 102"/>
                  <a:gd name="T31" fmla="*/ 99 h 108"/>
                  <a:gd name="T32" fmla="*/ 9 w 102"/>
                  <a:gd name="T33" fmla="*/ 102 h 108"/>
                  <a:gd name="T34" fmla="*/ 9 w 102"/>
                  <a:gd name="T35" fmla="*/ 108 h 108"/>
                  <a:gd name="T36" fmla="*/ 21 w 102"/>
                  <a:gd name="T37" fmla="*/ 108 h 108"/>
                  <a:gd name="T38" fmla="*/ 33 w 102"/>
                  <a:gd name="T39" fmla="*/ 96 h 108"/>
                  <a:gd name="T40" fmla="*/ 39 w 102"/>
                  <a:gd name="T41" fmla="*/ 90 h 108"/>
                  <a:gd name="T42" fmla="*/ 54 w 102"/>
                  <a:gd name="T43" fmla="*/ 93 h 108"/>
                  <a:gd name="T44" fmla="*/ 63 w 102"/>
                  <a:gd name="T45" fmla="*/ 87 h 108"/>
                  <a:gd name="T46" fmla="*/ 69 w 102"/>
                  <a:gd name="T47" fmla="*/ 81 h 108"/>
                  <a:gd name="T48" fmla="*/ 78 w 102"/>
                  <a:gd name="T49" fmla="*/ 72 h 108"/>
                  <a:gd name="T50" fmla="*/ 81 w 102"/>
                  <a:gd name="T51" fmla="*/ 66 h 108"/>
                  <a:gd name="T52" fmla="*/ 90 w 102"/>
                  <a:gd name="T53" fmla="*/ 60 h 108"/>
                  <a:gd name="T54" fmla="*/ 99 w 102"/>
                  <a:gd name="T55" fmla="*/ 54 h 108"/>
                  <a:gd name="T56" fmla="*/ 102 w 102"/>
                  <a:gd name="T57" fmla="*/ 48 h 108"/>
                  <a:gd name="T58" fmla="*/ 102 w 102"/>
                  <a:gd name="T59" fmla="*/ 48 h 108"/>
                  <a:gd name="T60" fmla="*/ 93 w 102"/>
                  <a:gd name="T61" fmla="*/ 4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2" h="108">
                    <a:moveTo>
                      <a:pt x="93" y="45"/>
                    </a:moveTo>
                    <a:cubicBezTo>
                      <a:pt x="90" y="45"/>
                      <a:pt x="87" y="39"/>
                      <a:pt x="87" y="36"/>
                    </a:cubicBezTo>
                    <a:cubicBezTo>
                      <a:pt x="87" y="33"/>
                      <a:pt x="81" y="30"/>
                      <a:pt x="81" y="27"/>
                    </a:cubicBezTo>
                    <a:cubicBezTo>
                      <a:pt x="81" y="27"/>
                      <a:pt x="75" y="21"/>
                      <a:pt x="69" y="21"/>
                    </a:cubicBezTo>
                    <a:cubicBezTo>
                      <a:pt x="66" y="18"/>
                      <a:pt x="66" y="6"/>
                      <a:pt x="63" y="6"/>
                    </a:cubicBezTo>
                    <a:cubicBezTo>
                      <a:pt x="63" y="6"/>
                      <a:pt x="60" y="3"/>
                      <a:pt x="57" y="0"/>
                    </a:cubicBezTo>
                    <a:cubicBezTo>
                      <a:pt x="54" y="0"/>
                      <a:pt x="51" y="3"/>
                      <a:pt x="51" y="3"/>
                    </a:cubicBezTo>
                    <a:cubicBezTo>
                      <a:pt x="48" y="3"/>
                      <a:pt x="42" y="6"/>
                      <a:pt x="42" y="6"/>
                    </a:cubicBezTo>
                    <a:cubicBezTo>
                      <a:pt x="42" y="9"/>
                      <a:pt x="39" y="3"/>
                      <a:pt x="36" y="3"/>
                    </a:cubicBezTo>
                    <a:cubicBezTo>
                      <a:pt x="33" y="0"/>
                      <a:pt x="27" y="6"/>
                      <a:pt x="24" y="6"/>
                    </a:cubicBezTo>
                    <a:cubicBezTo>
                      <a:pt x="21" y="6"/>
                      <a:pt x="12" y="6"/>
                      <a:pt x="12" y="6"/>
                    </a:cubicBezTo>
                    <a:cubicBezTo>
                      <a:pt x="12" y="6"/>
                      <a:pt x="12" y="42"/>
                      <a:pt x="12" y="45"/>
                    </a:cubicBezTo>
                    <a:cubicBezTo>
                      <a:pt x="12" y="51"/>
                      <a:pt x="0" y="48"/>
                      <a:pt x="0" y="51"/>
                    </a:cubicBezTo>
                    <a:cubicBezTo>
                      <a:pt x="0" y="51"/>
                      <a:pt x="0" y="66"/>
                      <a:pt x="0" y="84"/>
                    </a:cubicBezTo>
                    <a:cubicBezTo>
                      <a:pt x="3" y="84"/>
                      <a:pt x="6" y="84"/>
                      <a:pt x="6" y="87"/>
                    </a:cubicBezTo>
                    <a:cubicBezTo>
                      <a:pt x="9" y="90"/>
                      <a:pt x="12" y="99"/>
                      <a:pt x="9" y="99"/>
                    </a:cubicBezTo>
                    <a:cubicBezTo>
                      <a:pt x="9" y="102"/>
                      <a:pt x="9" y="99"/>
                      <a:pt x="9" y="102"/>
                    </a:cubicBezTo>
                    <a:cubicBezTo>
                      <a:pt x="9" y="105"/>
                      <a:pt x="6" y="108"/>
                      <a:pt x="9" y="108"/>
                    </a:cubicBezTo>
                    <a:cubicBezTo>
                      <a:pt x="12" y="108"/>
                      <a:pt x="18" y="108"/>
                      <a:pt x="21" y="108"/>
                    </a:cubicBezTo>
                    <a:cubicBezTo>
                      <a:pt x="24" y="105"/>
                      <a:pt x="30" y="99"/>
                      <a:pt x="33" y="96"/>
                    </a:cubicBezTo>
                    <a:cubicBezTo>
                      <a:pt x="33" y="93"/>
                      <a:pt x="33" y="84"/>
                      <a:pt x="39" y="90"/>
                    </a:cubicBezTo>
                    <a:cubicBezTo>
                      <a:pt x="45" y="93"/>
                      <a:pt x="45" y="93"/>
                      <a:pt x="54" y="93"/>
                    </a:cubicBezTo>
                    <a:cubicBezTo>
                      <a:pt x="60" y="93"/>
                      <a:pt x="63" y="93"/>
                      <a:pt x="63" y="87"/>
                    </a:cubicBezTo>
                    <a:cubicBezTo>
                      <a:pt x="66" y="84"/>
                      <a:pt x="63" y="81"/>
                      <a:pt x="69" y="81"/>
                    </a:cubicBezTo>
                    <a:cubicBezTo>
                      <a:pt x="72" y="81"/>
                      <a:pt x="78" y="75"/>
                      <a:pt x="78" y="72"/>
                    </a:cubicBezTo>
                    <a:cubicBezTo>
                      <a:pt x="78" y="69"/>
                      <a:pt x="78" y="66"/>
                      <a:pt x="81" y="66"/>
                    </a:cubicBezTo>
                    <a:cubicBezTo>
                      <a:pt x="84" y="66"/>
                      <a:pt x="90" y="63"/>
                      <a:pt x="90" y="60"/>
                    </a:cubicBezTo>
                    <a:cubicBezTo>
                      <a:pt x="93" y="54"/>
                      <a:pt x="96" y="57"/>
                      <a:pt x="99" y="54"/>
                    </a:cubicBezTo>
                    <a:cubicBezTo>
                      <a:pt x="99" y="54"/>
                      <a:pt x="99" y="51"/>
                      <a:pt x="102" y="48"/>
                    </a:cubicBezTo>
                    <a:cubicBezTo>
                      <a:pt x="102" y="48"/>
                      <a:pt x="102" y="48"/>
                      <a:pt x="102" y="48"/>
                    </a:cubicBezTo>
                    <a:cubicBezTo>
                      <a:pt x="102" y="48"/>
                      <a:pt x="102" y="45"/>
                      <a:pt x="93"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2" name="Freeform 646"/>
              <p:cNvSpPr>
                <a:spLocks/>
              </p:cNvSpPr>
              <p:nvPr userDrawn="1"/>
            </p:nvSpPr>
            <p:spPr bwMode="auto">
              <a:xfrm>
                <a:off x="4008" y="-677"/>
                <a:ext cx="22" cy="33"/>
              </a:xfrm>
              <a:custGeom>
                <a:avLst/>
                <a:gdLst>
                  <a:gd name="T0" fmla="*/ 9 w 14"/>
                  <a:gd name="T1" fmla="*/ 0 h 21"/>
                  <a:gd name="T2" fmla="*/ 0 w 14"/>
                  <a:gd name="T3" fmla="*/ 9 h 21"/>
                  <a:gd name="T4" fmla="*/ 6 w 14"/>
                  <a:gd name="T5" fmla="*/ 21 h 21"/>
                  <a:gd name="T6" fmla="*/ 11 w 14"/>
                  <a:gd name="T7" fmla="*/ 18 h 21"/>
                  <a:gd name="T8" fmla="*/ 14 w 14"/>
                  <a:gd name="T9" fmla="*/ 15 h 21"/>
                  <a:gd name="T10" fmla="*/ 14 w 14"/>
                  <a:gd name="T11" fmla="*/ 3 h 21"/>
                  <a:gd name="T12" fmla="*/ 9 w 14"/>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 h="21">
                    <a:moveTo>
                      <a:pt x="9" y="0"/>
                    </a:moveTo>
                    <a:cubicBezTo>
                      <a:pt x="6" y="0"/>
                      <a:pt x="0" y="9"/>
                      <a:pt x="0" y="9"/>
                    </a:cubicBezTo>
                    <a:cubicBezTo>
                      <a:pt x="0" y="12"/>
                      <a:pt x="3" y="18"/>
                      <a:pt x="6" y="21"/>
                    </a:cubicBezTo>
                    <a:cubicBezTo>
                      <a:pt x="9" y="21"/>
                      <a:pt x="11" y="21"/>
                      <a:pt x="11" y="18"/>
                    </a:cubicBezTo>
                    <a:cubicBezTo>
                      <a:pt x="11" y="15"/>
                      <a:pt x="14" y="15"/>
                      <a:pt x="14" y="15"/>
                    </a:cubicBezTo>
                    <a:cubicBezTo>
                      <a:pt x="14" y="12"/>
                      <a:pt x="14" y="6"/>
                      <a:pt x="14" y="3"/>
                    </a:cubicBezTo>
                    <a:cubicBezTo>
                      <a:pt x="11" y="3"/>
                      <a:pt x="9" y="0"/>
                      <a:pt x="9"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3" name="Freeform 647"/>
              <p:cNvSpPr>
                <a:spLocks/>
              </p:cNvSpPr>
              <p:nvPr userDrawn="1"/>
            </p:nvSpPr>
            <p:spPr bwMode="auto">
              <a:xfrm>
                <a:off x="4008" y="-677"/>
                <a:ext cx="22" cy="33"/>
              </a:xfrm>
              <a:custGeom>
                <a:avLst/>
                <a:gdLst>
                  <a:gd name="T0" fmla="*/ 9 w 14"/>
                  <a:gd name="T1" fmla="*/ 0 h 21"/>
                  <a:gd name="T2" fmla="*/ 0 w 14"/>
                  <a:gd name="T3" fmla="*/ 9 h 21"/>
                  <a:gd name="T4" fmla="*/ 6 w 14"/>
                  <a:gd name="T5" fmla="*/ 21 h 21"/>
                  <a:gd name="T6" fmla="*/ 11 w 14"/>
                  <a:gd name="T7" fmla="*/ 18 h 21"/>
                  <a:gd name="T8" fmla="*/ 14 w 14"/>
                  <a:gd name="T9" fmla="*/ 15 h 21"/>
                  <a:gd name="T10" fmla="*/ 14 w 14"/>
                  <a:gd name="T11" fmla="*/ 3 h 21"/>
                  <a:gd name="T12" fmla="*/ 9 w 14"/>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 h="21">
                    <a:moveTo>
                      <a:pt x="9" y="0"/>
                    </a:moveTo>
                    <a:cubicBezTo>
                      <a:pt x="6" y="0"/>
                      <a:pt x="0" y="9"/>
                      <a:pt x="0" y="9"/>
                    </a:cubicBezTo>
                    <a:cubicBezTo>
                      <a:pt x="0" y="12"/>
                      <a:pt x="3" y="18"/>
                      <a:pt x="6" y="21"/>
                    </a:cubicBezTo>
                    <a:cubicBezTo>
                      <a:pt x="9" y="21"/>
                      <a:pt x="11" y="21"/>
                      <a:pt x="11" y="18"/>
                    </a:cubicBezTo>
                    <a:cubicBezTo>
                      <a:pt x="11" y="15"/>
                      <a:pt x="14" y="15"/>
                      <a:pt x="14" y="15"/>
                    </a:cubicBezTo>
                    <a:cubicBezTo>
                      <a:pt x="14" y="12"/>
                      <a:pt x="14" y="6"/>
                      <a:pt x="14" y="3"/>
                    </a:cubicBezTo>
                    <a:cubicBezTo>
                      <a:pt x="11" y="3"/>
                      <a:pt x="9" y="0"/>
                      <a:pt x="9"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4" name="Freeform 648"/>
              <p:cNvSpPr>
                <a:spLocks/>
              </p:cNvSpPr>
              <p:nvPr userDrawn="1"/>
            </p:nvSpPr>
            <p:spPr bwMode="auto">
              <a:xfrm>
                <a:off x="3941" y="-627"/>
                <a:ext cx="44" cy="44"/>
              </a:xfrm>
              <a:custGeom>
                <a:avLst/>
                <a:gdLst>
                  <a:gd name="T0" fmla="*/ 19 w 28"/>
                  <a:gd name="T1" fmla="*/ 3 h 28"/>
                  <a:gd name="T2" fmla="*/ 9 w 28"/>
                  <a:gd name="T3" fmla="*/ 9 h 28"/>
                  <a:gd name="T4" fmla="*/ 0 w 28"/>
                  <a:gd name="T5" fmla="*/ 18 h 28"/>
                  <a:gd name="T6" fmla="*/ 9 w 28"/>
                  <a:gd name="T7" fmla="*/ 28 h 28"/>
                  <a:gd name="T8" fmla="*/ 12 w 28"/>
                  <a:gd name="T9" fmla="*/ 28 h 28"/>
                  <a:gd name="T10" fmla="*/ 15 w 28"/>
                  <a:gd name="T11" fmla="*/ 21 h 28"/>
                  <a:gd name="T12" fmla="*/ 22 w 28"/>
                  <a:gd name="T13" fmla="*/ 21 h 28"/>
                  <a:gd name="T14" fmla="*/ 28 w 28"/>
                  <a:gd name="T15" fmla="*/ 12 h 28"/>
                  <a:gd name="T16" fmla="*/ 19 w 28"/>
                  <a:gd name="T1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9" y="3"/>
                    </a:moveTo>
                    <a:cubicBezTo>
                      <a:pt x="19" y="0"/>
                      <a:pt x="9" y="6"/>
                      <a:pt x="9" y="9"/>
                    </a:cubicBezTo>
                    <a:cubicBezTo>
                      <a:pt x="6" y="9"/>
                      <a:pt x="0" y="18"/>
                      <a:pt x="0" y="18"/>
                    </a:cubicBezTo>
                    <a:cubicBezTo>
                      <a:pt x="9" y="28"/>
                      <a:pt x="9" y="28"/>
                      <a:pt x="9" y="28"/>
                    </a:cubicBezTo>
                    <a:cubicBezTo>
                      <a:pt x="12" y="28"/>
                      <a:pt x="12" y="28"/>
                      <a:pt x="12" y="28"/>
                    </a:cubicBezTo>
                    <a:cubicBezTo>
                      <a:pt x="12" y="28"/>
                      <a:pt x="15" y="24"/>
                      <a:pt x="15" y="21"/>
                    </a:cubicBezTo>
                    <a:cubicBezTo>
                      <a:pt x="15" y="18"/>
                      <a:pt x="22" y="21"/>
                      <a:pt x="22" y="21"/>
                    </a:cubicBezTo>
                    <a:cubicBezTo>
                      <a:pt x="22" y="18"/>
                      <a:pt x="28" y="15"/>
                      <a:pt x="28" y="12"/>
                    </a:cubicBezTo>
                    <a:cubicBezTo>
                      <a:pt x="28" y="9"/>
                      <a:pt x="22" y="6"/>
                      <a:pt x="1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5" name="Freeform 649"/>
              <p:cNvSpPr>
                <a:spLocks/>
              </p:cNvSpPr>
              <p:nvPr userDrawn="1"/>
            </p:nvSpPr>
            <p:spPr bwMode="auto">
              <a:xfrm>
                <a:off x="3941" y="-627"/>
                <a:ext cx="44" cy="44"/>
              </a:xfrm>
              <a:custGeom>
                <a:avLst/>
                <a:gdLst>
                  <a:gd name="T0" fmla="*/ 19 w 28"/>
                  <a:gd name="T1" fmla="*/ 3 h 28"/>
                  <a:gd name="T2" fmla="*/ 9 w 28"/>
                  <a:gd name="T3" fmla="*/ 9 h 28"/>
                  <a:gd name="T4" fmla="*/ 0 w 28"/>
                  <a:gd name="T5" fmla="*/ 18 h 28"/>
                  <a:gd name="T6" fmla="*/ 9 w 28"/>
                  <a:gd name="T7" fmla="*/ 28 h 28"/>
                  <a:gd name="T8" fmla="*/ 12 w 28"/>
                  <a:gd name="T9" fmla="*/ 28 h 28"/>
                  <a:gd name="T10" fmla="*/ 15 w 28"/>
                  <a:gd name="T11" fmla="*/ 21 h 28"/>
                  <a:gd name="T12" fmla="*/ 22 w 28"/>
                  <a:gd name="T13" fmla="*/ 21 h 28"/>
                  <a:gd name="T14" fmla="*/ 28 w 28"/>
                  <a:gd name="T15" fmla="*/ 12 h 28"/>
                  <a:gd name="T16" fmla="*/ 19 w 28"/>
                  <a:gd name="T1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9" y="3"/>
                    </a:moveTo>
                    <a:cubicBezTo>
                      <a:pt x="19" y="0"/>
                      <a:pt x="9" y="6"/>
                      <a:pt x="9" y="9"/>
                    </a:cubicBezTo>
                    <a:cubicBezTo>
                      <a:pt x="6" y="9"/>
                      <a:pt x="0" y="18"/>
                      <a:pt x="0" y="18"/>
                    </a:cubicBezTo>
                    <a:cubicBezTo>
                      <a:pt x="9" y="28"/>
                      <a:pt x="9" y="28"/>
                      <a:pt x="9" y="28"/>
                    </a:cubicBezTo>
                    <a:cubicBezTo>
                      <a:pt x="12" y="28"/>
                      <a:pt x="12" y="28"/>
                      <a:pt x="12" y="28"/>
                    </a:cubicBezTo>
                    <a:cubicBezTo>
                      <a:pt x="12" y="28"/>
                      <a:pt x="15" y="24"/>
                      <a:pt x="15" y="21"/>
                    </a:cubicBezTo>
                    <a:cubicBezTo>
                      <a:pt x="15" y="18"/>
                      <a:pt x="22" y="21"/>
                      <a:pt x="22" y="21"/>
                    </a:cubicBezTo>
                    <a:cubicBezTo>
                      <a:pt x="22" y="18"/>
                      <a:pt x="28" y="15"/>
                      <a:pt x="28" y="12"/>
                    </a:cubicBezTo>
                    <a:cubicBezTo>
                      <a:pt x="28" y="9"/>
                      <a:pt x="22" y="6"/>
                      <a:pt x="1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6" name="Freeform 650"/>
              <p:cNvSpPr>
                <a:spLocks noEditPoints="1"/>
              </p:cNvSpPr>
              <p:nvPr userDrawn="1"/>
            </p:nvSpPr>
            <p:spPr bwMode="auto">
              <a:xfrm>
                <a:off x="3765" y="-747"/>
                <a:ext cx="281" cy="248"/>
              </a:xfrm>
              <a:custGeom>
                <a:avLst/>
                <a:gdLst>
                  <a:gd name="T0" fmla="*/ 171 w 180"/>
                  <a:gd name="T1" fmla="*/ 60 h 159"/>
                  <a:gd name="T2" fmla="*/ 171 w 180"/>
                  <a:gd name="T3" fmla="*/ 60 h 159"/>
                  <a:gd name="T4" fmla="*/ 168 w 180"/>
                  <a:gd name="T5" fmla="*/ 63 h 159"/>
                  <a:gd name="T6" fmla="*/ 162 w 180"/>
                  <a:gd name="T7" fmla="*/ 66 h 159"/>
                  <a:gd name="T8" fmla="*/ 156 w 180"/>
                  <a:gd name="T9" fmla="*/ 54 h 159"/>
                  <a:gd name="T10" fmla="*/ 165 w 180"/>
                  <a:gd name="T11" fmla="*/ 45 h 159"/>
                  <a:gd name="T12" fmla="*/ 171 w 180"/>
                  <a:gd name="T13" fmla="*/ 48 h 159"/>
                  <a:gd name="T14" fmla="*/ 171 w 180"/>
                  <a:gd name="T15" fmla="*/ 48 h 159"/>
                  <a:gd name="T16" fmla="*/ 168 w 180"/>
                  <a:gd name="T17" fmla="*/ 27 h 159"/>
                  <a:gd name="T18" fmla="*/ 162 w 180"/>
                  <a:gd name="T19" fmla="*/ 6 h 159"/>
                  <a:gd name="T20" fmla="*/ 150 w 180"/>
                  <a:gd name="T21" fmla="*/ 3 h 159"/>
                  <a:gd name="T22" fmla="*/ 138 w 180"/>
                  <a:gd name="T23" fmla="*/ 0 h 159"/>
                  <a:gd name="T24" fmla="*/ 135 w 180"/>
                  <a:gd name="T25" fmla="*/ 6 h 159"/>
                  <a:gd name="T26" fmla="*/ 126 w 180"/>
                  <a:gd name="T27" fmla="*/ 12 h 159"/>
                  <a:gd name="T28" fmla="*/ 117 w 180"/>
                  <a:gd name="T29" fmla="*/ 18 h 159"/>
                  <a:gd name="T30" fmla="*/ 114 w 180"/>
                  <a:gd name="T31" fmla="*/ 24 h 159"/>
                  <a:gd name="T32" fmla="*/ 105 w 180"/>
                  <a:gd name="T33" fmla="*/ 33 h 159"/>
                  <a:gd name="T34" fmla="*/ 99 w 180"/>
                  <a:gd name="T35" fmla="*/ 39 h 159"/>
                  <a:gd name="T36" fmla="*/ 90 w 180"/>
                  <a:gd name="T37" fmla="*/ 45 h 159"/>
                  <a:gd name="T38" fmla="*/ 75 w 180"/>
                  <a:gd name="T39" fmla="*/ 42 h 159"/>
                  <a:gd name="T40" fmla="*/ 69 w 180"/>
                  <a:gd name="T41" fmla="*/ 48 h 159"/>
                  <a:gd name="T42" fmla="*/ 57 w 180"/>
                  <a:gd name="T43" fmla="*/ 60 h 159"/>
                  <a:gd name="T44" fmla="*/ 45 w 180"/>
                  <a:gd name="T45" fmla="*/ 60 h 159"/>
                  <a:gd name="T46" fmla="*/ 45 w 180"/>
                  <a:gd name="T47" fmla="*/ 54 h 159"/>
                  <a:gd name="T48" fmla="*/ 45 w 180"/>
                  <a:gd name="T49" fmla="*/ 51 h 159"/>
                  <a:gd name="T50" fmla="*/ 42 w 180"/>
                  <a:gd name="T51" fmla="*/ 39 h 159"/>
                  <a:gd name="T52" fmla="*/ 36 w 180"/>
                  <a:gd name="T53" fmla="*/ 36 h 159"/>
                  <a:gd name="T54" fmla="*/ 36 w 180"/>
                  <a:gd name="T55" fmla="*/ 78 h 159"/>
                  <a:gd name="T56" fmla="*/ 30 w 180"/>
                  <a:gd name="T57" fmla="*/ 84 h 159"/>
                  <a:gd name="T58" fmla="*/ 15 w 180"/>
                  <a:gd name="T59" fmla="*/ 84 h 159"/>
                  <a:gd name="T60" fmla="*/ 9 w 180"/>
                  <a:gd name="T61" fmla="*/ 75 h 159"/>
                  <a:gd name="T62" fmla="*/ 3 w 180"/>
                  <a:gd name="T63" fmla="*/ 81 h 159"/>
                  <a:gd name="T64" fmla="*/ 0 w 180"/>
                  <a:gd name="T65" fmla="*/ 81 h 159"/>
                  <a:gd name="T66" fmla="*/ 6 w 180"/>
                  <a:gd name="T67" fmla="*/ 99 h 159"/>
                  <a:gd name="T68" fmla="*/ 18 w 180"/>
                  <a:gd name="T69" fmla="*/ 120 h 159"/>
                  <a:gd name="T70" fmla="*/ 18 w 180"/>
                  <a:gd name="T71" fmla="*/ 132 h 159"/>
                  <a:gd name="T72" fmla="*/ 18 w 180"/>
                  <a:gd name="T73" fmla="*/ 141 h 159"/>
                  <a:gd name="T74" fmla="*/ 21 w 180"/>
                  <a:gd name="T75" fmla="*/ 150 h 159"/>
                  <a:gd name="T76" fmla="*/ 27 w 180"/>
                  <a:gd name="T77" fmla="*/ 153 h 159"/>
                  <a:gd name="T78" fmla="*/ 33 w 180"/>
                  <a:gd name="T79" fmla="*/ 159 h 159"/>
                  <a:gd name="T80" fmla="*/ 39 w 180"/>
                  <a:gd name="T81" fmla="*/ 159 h 159"/>
                  <a:gd name="T82" fmla="*/ 54 w 180"/>
                  <a:gd name="T83" fmla="*/ 153 h 159"/>
                  <a:gd name="T84" fmla="*/ 63 w 180"/>
                  <a:gd name="T85" fmla="*/ 150 h 159"/>
                  <a:gd name="T86" fmla="*/ 81 w 180"/>
                  <a:gd name="T87" fmla="*/ 150 h 159"/>
                  <a:gd name="T88" fmla="*/ 93 w 180"/>
                  <a:gd name="T89" fmla="*/ 147 h 159"/>
                  <a:gd name="T90" fmla="*/ 99 w 180"/>
                  <a:gd name="T91" fmla="*/ 147 h 159"/>
                  <a:gd name="T92" fmla="*/ 108 w 180"/>
                  <a:gd name="T93" fmla="*/ 144 h 159"/>
                  <a:gd name="T94" fmla="*/ 132 w 180"/>
                  <a:gd name="T95" fmla="*/ 129 h 159"/>
                  <a:gd name="T96" fmla="*/ 159 w 180"/>
                  <a:gd name="T97" fmla="*/ 96 h 159"/>
                  <a:gd name="T98" fmla="*/ 174 w 180"/>
                  <a:gd name="T99" fmla="*/ 78 h 159"/>
                  <a:gd name="T100" fmla="*/ 180 w 180"/>
                  <a:gd name="T101" fmla="*/ 60 h 159"/>
                  <a:gd name="T102" fmla="*/ 171 w 180"/>
                  <a:gd name="T103" fmla="*/ 60 h 159"/>
                  <a:gd name="T104" fmla="*/ 135 w 180"/>
                  <a:gd name="T105" fmla="*/ 99 h 159"/>
                  <a:gd name="T106" fmla="*/ 129 w 180"/>
                  <a:gd name="T107" fmla="*/ 99 h 159"/>
                  <a:gd name="T108" fmla="*/ 126 w 180"/>
                  <a:gd name="T109" fmla="*/ 105 h 159"/>
                  <a:gd name="T110" fmla="*/ 123 w 180"/>
                  <a:gd name="T111" fmla="*/ 105 h 159"/>
                  <a:gd name="T112" fmla="*/ 114 w 180"/>
                  <a:gd name="T113" fmla="*/ 96 h 159"/>
                  <a:gd name="T114" fmla="*/ 123 w 180"/>
                  <a:gd name="T115" fmla="*/ 87 h 159"/>
                  <a:gd name="T116" fmla="*/ 132 w 180"/>
                  <a:gd name="T117" fmla="*/ 81 h 159"/>
                  <a:gd name="T118" fmla="*/ 141 w 180"/>
                  <a:gd name="T119" fmla="*/ 90 h 159"/>
                  <a:gd name="T120" fmla="*/ 135 w 180"/>
                  <a:gd name="T121" fmla="*/ 9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 h="159">
                    <a:moveTo>
                      <a:pt x="171" y="60"/>
                    </a:moveTo>
                    <a:cubicBezTo>
                      <a:pt x="171" y="60"/>
                      <a:pt x="171" y="60"/>
                      <a:pt x="171" y="60"/>
                    </a:cubicBezTo>
                    <a:cubicBezTo>
                      <a:pt x="171" y="60"/>
                      <a:pt x="168" y="60"/>
                      <a:pt x="168" y="63"/>
                    </a:cubicBezTo>
                    <a:cubicBezTo>
                      <a:pt x="168" y="66"/>
                      <a:pt x="165" y="66"/>
                      <a:pt x="162" y="66"/>
                    </a:cubicBezTo>
                    <a:cubicBezTo>
                      <a:pt x="159" y="63"/>
                      <a:pt x="156" y="57"/>
                      <a:pt x="156" y="54"/>
                    </a:cubicBezTo>
                    <a:cubicBezTo>
                      <a:pt x="156" y="54"/>
                      <a:pt x="162" y="45"/>
                      <a:pt x="165" y="45"/>
                    </a:cubicBezTo>
                    <a:cubicBezTo>
                      <a:pt x="165" y="45"/>
                      <a:pt x="168" y="48"/>
                      <a:pt x="171" y="48"/>
                    </a:cubicBezTo>
                    <a:cubicBezTo>
                      <a:pt x="171" y="48"/>
                      <a:pt x="171" y="48"/>
                      <a:pt x="171" y="48"/>
                    </a:cubicBezTo>
                    <a:cubicBezTo>
                      <a:pt x="171" y="45"/>
                      <a:pt x="171" y="30"/>
                      <a:pt x="168" y="27"/>
                    </a:cubicBezTo>
                    <a:cubicBezTo>
                      <a:pt x="165" y="24"/>
                      <a:pt x="162" y="9"/>
                      <a:pt x="162" y="6"/>
                    </a:cubicBezTo>
                    <a:cubicBezTo>
                      <a:pt x="162" y="3"/>
                      <a:pt x="150" y="6"/>
                      <a:pt x="150" y="3"/>
                    </a:cubicBezTo>
                    <a:cubicBezTo>
                      <a:pt x="147" y="0"/>
                      <a:pt x="138" y="3"/>
                      <a:pt x="138" y="0"/>
                    </a:cubicBezTo>
                    <a:cubicBezTo>
                      <a:pt x="135" y="3"/>
                      <a:pt x="135" y="6"/>
                      <a:pt x="135" y="6"/>
                    </a:cubicBezTo>
                    <a:cubicBezTo>
                      <a:pt x="132" y="9"/>
                      <a:pt x="129" y="6"/>
                      <a:pt x="126" y="12"/>
                    </a:cubicBezTo>
                    <a:cubicBezTo>
                      <a:pt x="126" y="15"/>
                      <a:pt x="120" y="18"/>
                      <a:pt x="117" y="18"/>
                    </a:cubicBezTo>
                    <a:cubicBezTo>
                      <a:pt x="114" y="18"/>
                      <a:pt x="114" y="21"/>
                      <a:pt x="114" y="24"/>
                    </a:cubicBezTo>
                    <a:cubicBezTo>
                      <a:pt x="114" y="27"/>
                      <a:pt x="108" y="33"/>
                      <a:pt x="105" y="33"/>
                    </a:cubicBezTo>
                    <a:cubicBezTo>
                      <a:pt x="99" y="33"/>
                      <a:pt x="102" y="36"/>
                      <a:pt x="99" y="39"/>
                    </a:cubicBezTo>
                    <a:cubicBezTo>
                      <a:pt x="99" y="45"/>
                      <a:pt x="96" y="45"/>
                      <a:pt x="90" y="45"/>
                    </a:cubicBezTo>
                    <a:cubicBezTo>
                      <a:pt x="81" y="45"/>
                      <a:pt x="81" y="45"/>
                      <a:pt x="75" y="42"/>
                    </a:cubicBezTo>
                    <a:cubicBezTo>
                      <a:pt x="69" y="36"/>
                      <a:pt x="69" y="45"/>
                      <a:pt x="69" y="48"/>
                    </a:cubicBezTo>
                    <a:cubicBezTo>
                      <a:pt x="66" y="51"/>
                      <a:pt x="60" y="57"/>
                      <a:pt x="57" y="60"/>
                    </a:cubicBezTo>
                    <a:cubicBezTo>
                      <a:pt x="54" y="60"/>
                      <a:pt x="48" y="60"/>
                      <a:pt x="45" y="60"/>
                    </a:cubicBezTo>
                    <a:cubicBezTo>
                      <a:pt x="42" y="60"/>
                      <a:pt x="45" y="57"/>
                      <a:pt x="45" y="54"/>
                    </a:cubicBezTo>
                    <a:cubicBezTo>
                      <a:pt x="45" y="51"/>
                      <a:pt x="45" y="54"/>
                      <a:pt x="45" y="51"/>
                    </a:cubicBezTo>
                    <a:cubicBezTo>
                      <a:pt x="48" y="51"/>
                      <a:pt x="45" y="42"/>
                      <a:pt x="42" y="39"/>
                    </a:cubicBezTo>
                    <a:cubicBezTo>
                      <a:pt x="42" y="36"/>
                      <a:pt x="39" y="36"/>
                      <a:pt x="36" y="36"/>
                    </a:cubicBezTo>
                    <a:cubicBezTo>
                      <a:pt x="36" y="54"/>
                      <a:pt x="36" y="75"/>
                      <a:pt x="36" y="78"/>
                    </a:cubicBezTo>
                    <a:cubicBezTo>
                      <a:pt x="36" y="81"/>
                      <a:pt x="30" y="81"/>
                      <a:pt x="30" y="84"/>
                    </a:cubicBezTo>
                    <a:cubicBezTo>
                      <a:pt x="30" y="87"/>
                      <a:pt x="21" y="84"/>
                      <a:pt x="15" y="84"/>
                    </a:cubicBezTo>
                    <a:cubicBezTo>
                      <a:pt x="12" y="84"/>
                      <a:pt x="12" y="81"/>
                      <a:pt x="9" y="75"/>
                    </a:cubicBezTo>
                    <a:cubicBezTo>
                      <a:pt x="6" y="72"/>
                      <a:pt x="3" y="78"/>
                      <a:pt x="3" y="81"/>
                    </a:cubicBezTo>
                    <a:cubicBezTo>
                      <a:pt x="0" y="81"/>
                      <a:pt x="0" y="81"/>
                      <a:pt x="0" y="81"/>
                    </a:cubicBezTo>
                    <a:cubicBezTo>
                      <a:pt x="3" y="87"/>
                      <a:pt x="6" y="93"/>
                      <a:pt x="6" y="99"/>
                    </a:cubicBezTo>
                    <a:cubicBezTo>
                      <a:pt x="9" y="108"/>
                      <a:pt x="15" y="117"/>
                      <a:pt x="18" y="120"/>
                    </a:cubicBezTo>
                    <a:cubicBezTo>
                      <a:pt x="21" y="126"/>
                      <a:pt x="21" y="132"/>
                      <a:pt x="18" y="132"/>
                    </a:cubicBezTo>
                    <a:cubicBezTo>
                      <a:pt x="15" y="132"/>
                      <a:pt x="15" y="135"/>
                      <a:pt x="18" y="141"/>
                    </a:cubicBezTo>
                    <a:cubicBezTo>
                      <a:pt x="21" y="147"/>
                      <a:pt x="18" y="150"/>
                      <a:pt x="21" y="150"/>
                    </a:cubicBezTo>
                    <a:cubicBezTo>
                      <a:pt x="24" y="150"/>
                      <a:pt x="24" y="153"/>
                      <a:pt x="27" y="153"/>
                    </a:cubicBezTo>
                    <a:cubicBezTo>
                      <a:pt x="30" y="153"/>
                      <a:pt x="30" y="156"/>
                      <a:pt x="33" y="159"/>
                    </a:cubicBezTo>
                    <a:cubicBezTo>
                      <a:pt x="39" y="159"/>
                      <a:pt x="39" y="159"/>
                      <a:pt x="39" y="159"/>
                    </a:cubicBezTo>
                    <a:cubicBezTo>
                      <a:pt x="42" y="156"/>
                      <a:pt x="48" y="153"/>
                      <a:pt x="54" y="153"/>
                    </a:cubicBezTo>
                    <a:cubicBezTo>
                      <a:pt x="60" y="153"/>
                      <a:pt x="57" y="153"/>
                      <a:pt x="63" y="150"/>
                    </a:cubicBezTo>
                    <a:cubicBezTo>
                      <a:pt x="69" y="147"/>
                      <a:pt x="75" y="147"/>
                      <a:pt x="81" y="150"/>
                    </a:cubicBezTo>
                    <a:cubicBezTo>
                      <a:pt x="87" y="150"/>
                      <a:pt x="90" y="150"/>
                      <a:pt x="93" y="147"/>
                    </a:cubicBezTo>
                    <a:cubicBezTo>
                      <a:pt x="93" y="147"/>
                      <a:pt x="99" y="150"/>
                      <a:pt x="99" y="147"/>
                    </a:cubicBezTo>
                    <a:cubicBezTo>
                      <a:pt x="99" y="144"/>
                      <a:pt x="105" y="144"/>
                      <a:pt x="108" y="144"/>
                    </a:cubicBezTo>
                    <a:cubicBezTo>
                      <a:pt x="111" y="144"/>
                      <a:pt x="123" y="138"/>
                      <a:pt x="132" y="129"/>
                    </a:cubicBezTo>
                    <a:cubicBezTo>
                      <a:pt x="141" y="120"/>
                      <a:pt x="153" y="105"/>
                      <a:pt x="159" y="96"/>
                    </a:cubicBezTo>
                    <a:cubicBezTo>
                      <a:pt x="162" y="87"/>
                      <a:pt x="171" y="81"/>
                      <a:pt x="174" y="78"/>
                    </a:cubicBezTo>
                    <a:cubicBezTo>
                      <a:pt x="177" y="75"/>
                      <a:pt x="180" y="66"/>
                      <a:pt x="180" y="60"/>
                    </a:cubicBezTo>
                    <a:cubicBezTo>
                      <a:pt x="177" y="60"/>
                      <a:pt x="171" y="60"/>
                      <a:pt x="171" y="60"/>
                    </a:cubicBezTo>
                    <a:close/>
                    <a:moveTo>
                      <a:pt x="135" y="99"/>
                    </a:moveTo>
                    <a:cubicBezTo>
                      <a:pt x="135" y="99"/>
                      <a:pt x="129" y="96"/>
                      <a:pt x="129" y="99"/>
                    </a:cubicBezTo>
                    <a:cubicBezTo>
                      <a:pt x="129" y="102"/>
                      <a:pt x="126" y="105"/>
                      <a:pt x="126" y="105"/>
                    </a:cubicBezTo>
                    <a:cubicBezTo>
                      <a:pt x="123" y="105"/>
                      <a:pt x="123" y="105"/>
                      <a:pt x="123" y="105"/>
                    </a:cubicBezTo>
                    <a:cubicBezTo>
                      <a:pt x="114" y="96"/>
                      <a:pt x="114" y="96"/>
                      <a:pt x="114" y="96"/>
                    </a:cubicBezTo>
                    <a:cubicBezTo>
                      <a:pt x="114" y="96"/>
                      <a:pt x="120" y="87"/>
                      <a:pt x="123" y="87"/>
                    </a:cubicBezTo>
                    <a:cubicBezTo>
                      <a:pt x="123" y="84"/>
                      <a:pt x="132" y="78"/>
                      <a:pt x="132" y="81"/>
                    </a:cubicBezTo>
                    <a:cubicBezTo>
                      <a:pt x="135" y="84"/>
                      <a:pt x="141" y="87"/>
                      <a:pt x="141" y="90"/>
                    </a:cubicBezTo>
                    <a:cubicBezTo>
                      <a:pt x="141" y="93"/>
                      <a:pt x="135" y="96"/>
                      <a:pt x="135" y="9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7" name="Freeform 651"/>
              <p:cNvSpPr>
                <a:spLocks noEditPoints="1"/>
              </p:cNvSpPr>
              <p:nvPr userDrawn="1"/>
            </p:nvSpPr>
            <p:spPr bwMode="auto">
              <a:xfrm>
                <a:off x="3765" y="-747"/>
                <a:ext cx="281" cy="248"/>
              </a:xfrm>
              <a:custGeom>
                <a:avLst/>
                <a:gdLst>
                  <a:gd name="T0" fmla="*/ 171 w 180"/>
                  <a:gd name="T1" fmla="*/ 60 h 159"/>
                  <a:gd name="T2" fmla="*/ 171 w 180"/>
                  <a:gd name="T3" fmla="*/ 60 h 159"/>
                  <a:gd name="T4" fmla="*/ 168 w 180"/>
                  <a:gd name="T5" fmla="*/ 63 h 159"/>
                  <a:gd name="T6" fmla="*/ 162 w 180"/>
                  <a:gd name="T7" fmla="*/ 66 h 159"/>
                  <a:gd name="T8" fmla="*/ 156 w 180"/>
                  <a:gd name="T9" fmla="*/ 54 h 159"/>
                  <a:gd name="T10" fmla="*/ 165 w 180"/>
                  <a:gd name="T11" fmla="*/ 45 h 159"/>
                  <a:gd name="T12" fmla="*/ 171 w 180"/>
                  <a:gd name="T13" fmla="*/ 48 h 159"/>
                  <a:gd name="T14" fmla="*/ 171 w 180"/>
                  <a:gd name="T15" fmla="*/ 48 h 159"/>
                  <a:gd name="T16" fmla="*/ 168 w 180"/>
                  <a:gd name="T17" fmla="*/ 27 h 159"/>
                  <a:gd name="T18" fmla="*/ 162 w 180"/>
                  <a:gd name="T19" fmla="*/ 6 h 159"/>
                  <a:gd name="T20" fmla="*/ 150 w 180"/>
                  <a:gd name="T21" fmla="*/ 3 h 159"/>
                  <a:gd name="T22" fmla="*/ 138 w 180"/>
                  <a:gd name="T23" fmla="*/ 0 h 159"/>
                  <a:gd name="T24" fmla="*/ 135 w 180"/>
                  <a:gd name="T25" fmla="*/ 6 h 159"/>
                  <a:gd name="T26" fmla="*/ 126 w 180"/>
                  <a:gd name="T27" fmla="*/ 12 h 159"/>
                  <a:gd name="T28" fmla="*/ 117 w 180"/>
                  <a:gd name="T29" fmla="*/ 18 h 159"/>
                  <a:gd name="T30" fmla="*/ 114 w 180"/>
                  <a:gd name="T31" fmla="*/ 24 h 159"/>
                  <a:gd name="T32" fmla="*/ 105 w 180"/>
                  <a:gd name="T33" fmla="*/ 33 h 159"/>
                  <a:gd name="T34" fmla="*/ 99 w 180"/>
                  <a:gd name="T35" fmla="*/ 39 h 159"/>
                  <a:gd name="T36" fmla="*/ 90 w 180"/>
                  <a:gd name="T37" fmla="*/ 45 h 159"/>
                  <a:gd name="T38" fmla="*/ 75 w 180"/>
                  <a:gd name="T39" fmla="*/ 42 h 159"/>
                  <a:gd name="T40" fmla="*/ 69 w 180"/>
                  <a:gd name="T41" fmla="*/ 48 h 159"/>
                  <a:gd name="T42" fmla="*/ 57 w 180"/>
                  <a:gd name="T43" fmla="*/ 60 h 159"/>
                  <a:gd name="T44" fmla="*/ 45 w 180"/>
                  <a:gd name="T45" fmla="*/ 60 h 159"/>
                  <a:gd name="T46" fmla="*/ 45 w 180"/>
                  <a:gd name="T47" fmla="*/ 54 h 159"/>
                  <a:gd name="T48" fmla="*/ 45 w 180"/>
                  <a:gd name="T49" fmla="*/ 51 h 159"/>
                  <a:gd name="T50" fmla="*/ 42 w 180"/>
                  <a:gd name="T51" fmla="*/ 39 h 159"/>
                  <a:gd name="T52" fmla="*/ 36 w 180"/>
                  <a:gd name="T53" fmla="*/ 36 h 159"/>
                  <a:gd name="T54" fmla="*/ 36 w 180"/>
                  <a:gd name="T55" fmla="*/ 78 h 159"/>
                  <a:gd name="T56" fmla="*/ 30 w 180"/>
                  <a:gd name="T57" fmla="*/ 84 h 159"/>
                  <a:gd name="T58" fmla="*/ 15 w 180"/>
                  <a:gd name="T59" fmla="*/ 84 h 159"/>
                  <a:gd name="T60" fmla="*/ 9 w 180"/>
                  <a:gd name="T61" fmla="*/ 75 h 159"/>
                  <a:gd name="T62" fmla="*/ 3 w 180"/>
                  <a:gd name="T63" fmla="*/ 81 h 159"/>
                  <a:gd name="T64" fmla="*/ 0 w 180"/>
                  <a:gd name="T65" fmla="*/ 81 h 159"/>
                  <a:gd name="T66" fmla="*/ 6 w 180"/>
                  <a:gd name="T67" fmla="*/ 99 h 159"/>
                  <a:gd name="T68" fmla="*/ 18 w 180"/>
                  <a:gd name="T69" fmla="*/ 120 h 159"/>
                  <a:gd name="T70" fmla="*/ 18 w 180"/>
                  <a:gd name="T71" fmla="*/ 132 h 159"/>
                  <a:gd name="T72" fmla="*/ 18 w 180"/>
                  <a:gd name="T73" fmla="*/ 141 h 159"/>
                  <a:gd name="T74" fmla="*/ 21 w 180"/>
                  <a:gd name="T75" fmla="*/ 150 h 159"/>
                  <a:gd name="T76" fmla="*/ 27 w 180"/>
                  <a:gd name="T77" fmla="*/ 153 h 159"/>
                  <a:gd name="T78" fmla="*/ 33 w 180"/>
                  <a:gd name="T79" fmla="*/ 159 h 159"/>
                  <a:gd name="T80" fmla="*/ 39 w 180"/>
                  <a:gd name="T81" fmla="*/ 159 h 159"/>
                  <a:gd name="T82" fmla="*/ 54 w 180"/>
                  <a:gd name="T83" fmla="*/ 153 h 159"/>
                  <a:gd name="T84" fmla="*/ 63 w 180"/>
                  <a:gd name="T85" fmla="*/ 150 h 159"/>
                  <a:gd name="T86" fmla="*/ 81 w 180"/>
                  <a:gd name="T87" fmla="*/ 150 h 159"/>
                  <a:gd name="T88" fmla="*/ 93 w 180"/>
                  <a:gd name="T89" fmla="*/ 147 h 159"/>
                  <a:gd name="T90" fmla="*/ 99 w 180"/>
                  <a:gd name="T91" fmla="*/ 147 h 159"/>
                  <a:gd name="T92" fmla="*/ 108 w 180"/>
                  <a:gd name="T93" fmla="*/ 144 h 159"/>
                  <a:gd name="T94" fmla="*/ 132 w 180"/>
                  <a:gd name="T95" fmla="*/ 129 h 159"/>
                  <a:gd name="T96" fmla="*/ 159 w 180"/>
                  <a:gd name="T97" fmla="*/ 96 h 159"/>
                  <a:gd name="T98" fmla="*/ 174 w 180"/>
                  <a:gd name="T99" fmla="*/ 78 h 159"/>
                  <a:gd name="T100" fmla="*/ 180 w 180"/>
                  <a:gd name="T101" fmla="*/ 60 h 159"/>
                  <a:gd name="T102" fmla="*/ 171 w 180"/>
                  <a:gd name="T103" fmla="*/ 60 h 159"/>
                  <a:gd name="T104" fmla="*/ 135 w 180"/>
                  <a:gd name="T105" fmla="*/ 99 h 159"/>
                  <a:gd name="T106" fmla="*/ 129 w 180"/>
                  <a:gd name="T107" fmla="*/ 99 h 159"/>
                  <a:gd name="T108" fmla="*/ 126 w 180"/>
                  <a:gd name="T109" fmla="*/ 105 h 159"/>
                  <a:gd name="T110" fmla="*/ 123 w 180"/>
                  <a:gd name="T111" fmla="*/ 105 h 159"/>
                  <a:gd name="T112" fmla="*/ 114 w 180"/>
                  <a:gd name="T113" fmla="*/ 96 h 159"/>
                  <a:gd name="T114" fmla="*/ 123 w 180"/>
                  <a:gd name="T115" fmla="*/ 87 h 159"/>
                  <a:gd name="T116" fmla="*/ 132 w 180"/>
                  <a:gd name="T117" fmla="*/ 81 h 159"/>
                  <a:gd name="T118" fmla="*/ 141 w 180"/>
                  <a:gd name="T119" fmla="*/ 90 h 159"/>
                  <a:gd name="T120" fmla="*/ 135 w 180"/>
                  <a:gd name="T121" fmla="*/ 9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 h="159">
                    <a:moveTo>
                      <a:pt x="171" y="60"/>
                    </a:moveTo>
                    <a:cubicBezTo>
                      <a:pt x="171" y="60"/>
                      <a:pt x="171" y="60"/>
                      <a:pt x="171" y="60"/>
                    </a:cubicBezTo>
                    <a:cubicBezTo>
                      <a:pt x="171" y="60"/>
                      <a:pt x="168" y="60"/>
                      <a:pt x="168" y="63"/>
                    </a:cubicBezTo>
                    <a:cubicBezTo>
                      <a:pt x="168" y="66"/>
                      <a:pt x="165" y="66"/>
                      <a:pt x="162" y="66"/>
                    </a:cubicBezTo>
                    <a:cubicBezTo>
                      <a:pt x="159" y="63"/>
                      <a:pt x="156" y="57"/>
                      <a:pt x="156" y="54"/>
                    </a:cubicBezTo>
                    <a:cubicBezTo>
                      <a:pt x="156" y="54"/>
                      <a:pt x="162" y="45"/>
                      <a:pt x="165" y="45"/>
                    </a:cubicBezTo>
                    <a:cubicBezTo>
                      <a:pt x="165" y="45"/>
                      <a:pt x="168" y="48"/>
                      <a:pt x="171" y="48"/>
                    </a:cubicBezTo>
                    <a:cubicBezTo>
                      <a:pt x="171" y="48"/>
                      <a:pt x="171" y="48"/>
                      <a:pt x="171" y="48"/>
                    </a:cubicBezTo>
                    <a:cubicBezTo>
                      <a:pt x="171" y="45"/>
                      <a:pt x="171" y="30"/>
                      <a:pt x="168" y="27"/>
                    </a:cubicBezTo>
                    <a:cubicBezTo>
                      <a:pt x="165" y="24"/>
                      <a:pt x="162" y="9"/>
                      <a:pt x="162" y="6"/>
                    </a:cubicBezTo>
                    <a:cubicBezTo>
                      <a:pt x="162" y="3"/>
                      <a:pt x="150" y="6"/>
                      <a:pt x="150" y="3"/>
                    </a:cubicBezTo>
                    <a:cubicBezTo>
                      <a:pt x="147" y="0"/>
                      <a:pt x="138" y="3"/>
                      <a:pt x="138" y="0"/>
                    </a:cubicBezTo>
                    <a:cubicBezTo>
                      <a:pt x="135" y="3"/>
                      <a:pt x="135" y="6"/>
                      <a:pt x="135" y="6"/>
                    </a:cubicBezTo>
                    <a:cubicBezTo>
                      <a:pt x="132" y="9"/>
                      <a:pt x="129" y="6"/>
                      <a:pt x="126" y="12"/>
                    </a:cubicBezTo>
                    <a:cubicBezTo>
                      <a:pt x="126" y="15"/>
                      <a:pt x="120" y="18"/>
                      <a:pt x="117" y="18"/>
                    </a:cubicBezTo>
                    <a:cubicBezTo>
                      <a:pt x="114" y="18"/>
                      <a:pt x="114" y="21"/>
                      <a:pt x="114" y="24"/>
                    </a:cubicBezTo>
                    <a:cubicBezTo>
                      <a:pt x="114" y="27"/>
                      <a:pt x="108" y="33"/>
                      <a:pt x="105" y="33"/>
                    </a:cubicBezTo>
                    <a:cubicBezTo>
                      <a:pt x="99" y="33"/>
                      <a:pt x="102" y="36"/>
                      <a:pt x="99" y="39"/>
                    </a:cubicBezTo>
                    <a:cubicBezTo>
                      <a:pt x="99" y="45"/>
                      <a:pt x="96" y="45"/>
                      <a:pt x="90" y="45"/>
                    </a:cubicBezTo>
                    <a:cubicBezTo>
                      <a:pt x="81" y="45"/>
                      <a:pt x="81" y="45"/>
                      <a:pt x="75" y="42"/>
                    </a:cubicBezTo>
                    <a:cubicBezTo>
                      <a:pt x="69" y="36"/>
                      <a:pt x="69" y="45"/>
                      <a:pt x="69" y="48"/>
                    </a:cubicBezTo>
                    <a:cubicBezTo>
                      <a:pt x="66" y="51"/>
                      <a:pt x="60" y="57"/>
                      <a:pt x="57" y="60"/>
                    </a:cubicBezTo>
                    <a:cubicBezTo>
                      <a:pt x="54" y="60"/>
                      <a:pt x="48" y="60"/>
                      <a:pt x="45" y="60"/>
                    </a:cubicBezTo>
                    <a:cubicBezTo>
                      <a:pt x="42" y="60"/>
                      <a:pt x="45" y="57"/>
                      <a:pt x="45" y="54"/>
                    </a:cubicBezTo>
                    <a:cubicBezTo>
                      <a:pt x="45" y="51"/>
                      <a:pt x="45" y="54"/>
                      <a:pt x="45" y="51"/>
                    </a:cubicBezTo>
                    <a:cubicBezTo>
                      <a:pt x="48" y="51"/>
                      <a:pt x="45" y="42"/>
                      <a:pt x="42" y="39"/>
                    </a:cubicBezTo>
                    <a:cubicBezTo>
                      <a:pt x="42" y="36"/>
                      <a:pt x="39" y="36"/>
                      <a:pt x="36" y="36"/>
                    </a:cubicBezTo>
                    <a:cubicBezTo>
                      <a:pt x="36" y="54"/>
                      <a:pt x="36" y="75"/>
                      <a:pt x="36" y="78"/>
                    </a:cubicBezTo>
                    <a:cubicBezTo>
                      <a:pt x="36" y="81"/>
                      <a:pt x="30" y="81"/>
                      <a:pt x="30" y="84"/>
                    </a:cubicBezTo>
                    <a:cubicBezTo>
                      <a:pt x="30" y="87"/>
                      <a:pt x="21" y="84"/>
                      <a:pt x="15" y="84"/>
                    </a:cubicBezTo>
                    <a:cubicBezTo>
                      <a:pt x="12" y="84"/>
                      <a:pt x="12" y="81"/>
                      <a:pt x="9" y="75"/>
                    </a:cubicBezTo>
                    <a:cubicBezTo>
                      <a:pt x="6" y="72"/>
                      <a:pt x="3" y="78"/>
                      <a:pt x="3" y="81"/>
                    </a:cubicBezTo>
                    <a:cubicBezTo>
                      <a:pt x="0" y="81"/>
                      <a:pt x="0" y="81"/>
                      <a:pt x="0" y="81"/>
                    </a:cubicBezTo>
                    <a:cubicBezTo>
                      <a:pt x="3" y="87"/>
                      <a:pt x="6" y="93"/>
                      <a:pt x="6" y="99"/>
                    </a:cubicBezTo>
                    <a:cubicBezTo>
                      <a:pt x="9" y="108"/>
                      <a:pt x="15" y="117"/>
                      <a:pt x="18" y="120"/>
                    </a:cubicBezTo>
                    <a:cubicBezTo>
                      <a:pt x="21" y="126"/>
                      <a:pt x="21" y="132"/>
                      <a:pt x="18" y="132"/>
                    </a:cubicBezTo>
                    <a:cubicBezTo>
                      <a:pt x="15" y="132"/>
                      <a:pt x="15" y="135"/>
                      <a:pt x="18" y="141"/>
                    </a:cubicBezTo>
                    <a:cubicBezTo>
                      <a:pt x="21" y="147"/>
                      <a:pt x="18" y="150"/>
                      <a:pt x="21" y="150"/>
                    </a:cubicBezTo>
                    <a:cubicBezTo>
                      <a:pt x="24" y="150"/>
                      <a:pt x="24" y="153"/>
                      <a:pt x="27" y="153"/>
                    </a:cubicBezTo>
                    <a:cubicBezTo>
                      <a:pt x="30" y="153"/>
                      <a:pt x="30" y="156"/>
                      <a:pt x="33" y="159"/>
                    </a:cubicBezTo>
                    <a:cubicBezTo>
                      <a:pt x="39" y="159"/>
                      <a:pt x="39" y="159"/>
                      <a:pt x="39" y="159"/>
                    </a:cubicBezTo>
                    <a:cubicBezTo>
                      <a:pt x="42" y="156"/>
                      <a:pt x="48" y="153"/>
                      <a:pt x="54" y="153"/>
                    </a:cubicBezTo>
                    <a:cubicBezTo>
                      <a:pt x="60" y="153"/>
                      <a:pt x="57" y="153"/>
                      <a:pt x="63" y="150"/>
                    </a:cubicBezTo>
                    <a:cubicBezTo>
                      <a:pt x="69" y="147"/>
                      <a:pt x="75" y="147"/>
                      <a:pt x="81" y="150"/>
                    </a:cubicBezTo>
                    <a:cubicBezTo>
                      <a:pt x="87" y="150"/>
                      <a:pt x="90" y="150"/>
                      <a:pt x="93" y="147"/>
                    </a:cubicBezTo>
                    <a:cubicBezTo>
                      <a:pt x="93" y="147"/>
                      <a:pt x="99" y="150"/>
                      <a:pt x="99" y="147"/>
                    </a:cubicBezTo>
                    <a:cubicBezTo>
                      <a:pt x="99" y="144"/>
                      <a:pt x="105" y="144"/>
                      <a:pt x="108" y="144"/>
                    </a:cubicBezTo>
                    <a:cubicBezTo>
                      <a:pt x="111" y="144"/>
                      <a:pt x="123" y="138"/>
                      <a:pt x="132" y="129"/>
                    </a:cubicBezTo>
                    <a:cubicBezTo>
                      <a:pt x="141" y="120"/>
                      <a:pt x="153" y="105"/>
                      <a:pt x="159" y="96"/>
                    </a:cubicBezTo>
                    <a:cubicBezTo>
                      <a:pt x="162" y="87"/>
                      <a:pt x="171" y="81"/>
                      <a:pt x="174" y="78"/>
                    </a:cubicBezTo>
                    <a:cubicBezTo>
                      <a:pt x="177" y="75"/>
                      <a:pt x="180" y="66"/>
                      <a:pt x="180" y="60"/>
                    </a:cubicBezTo>
                    <a:cubicBezTo>
                      <a:pt x="177" y="60"/>
                      <a:pt x="171" y="60"/>
                      <a:pt x="171" y="60"/>
                    </a:cubicBezTo>
                    <a:close/>
                    <a:moveTo>
                      <a:pt x="135" y="99"/>
                    </a:moveTo>
                    <a:cubicBezTo>
                      <a:pt x="135" y="99"/>
                      <a:pt x="129" y="96"/>
                      <a:pt x="129" y="99"/>
                    </a:cubicBezTo>
                    <a:cubicBezTo>
                      <a:pt x="129" y="102"/>
                      <a:pt x="126" y="105"/>
                      <a:pt x="126" y="105"/>
                    </a:cubicBezTo>
                    <a:cubicBezTo>
                      <a:pt x="123" y="105"/>
                      <a:pt x="123" y="105"/>
                      <a:pt x="123" y="105"/>
                    </a:cubicBezTo>
                    <a:cubicBezTo>
                      <a:pt x="114" y="96"/>
                      <a:pt x="114" y="96"/>
                      <a:pt x="114" y="96"/>
                    </a:cubicBezTo>
                    <a:cubicBezTo>
                      <a:pt x="114" y="96"/>
                      <a:pt x="120" y="87"/>
                      <a:pt x="123" y="87"/>
                    </a:cubicBezTo>
                    <a:cubicBezTo>
                      <a:pt x="123" y="84"/>
                      <a:pt x="132" y="78"/>
                      <a:pt x="132" y="81"/>
                    </a:cubicBezTo>
                    <a:cubicBezTo>
                      <a:pt x="135" y="84"/>
                      <a:pt x="141" y="87"/>
                      <a:pt x="141" y="90"/>
                    </a:cubicBezTo>
                    <a:cubicBezTo>
                      <a:pt x="141" y="93"/>
                      <a:pt x="135" y="96"/>
                      <a:pt x="135" y="99"/>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8" name="Freeform 652"/>
              <p:cNvSpPr>
                <a:spLocks/>
              </p:cNvSpPr>
              <p:nvPr userDrawn="1"/>
            </p:nvSpPr>
            <p:spPr bwMode="auto">
              <a:xfrm>
                <a:off x="3690" y="-1039"/>
                <a:ext cx="201" cy="220"/>
              </a:xfrm>
              <a:custGeom>
                <a:avLst/>
                <a:gdLst>
                  <a:gd name="T0" fmla="*/ 6 w 129"/>
                  <a:gd name="T1" fmla="*/ 129 h 141"/>
                  <a:gd name="T2" fmla="*/ 12 w 129"/>
                  <a:gd name="T3" fmla="*/ 132 h 141"/>
                  <a:gd name="T4" fmla="*/ 21 w 129"/>
                  <a:gd name="T5" fmla="*/ 132 h 141"/>
                  <a:gd name="T6" fmla="*/ 33 w 129"/>
                  <a:gd name="T7" fmla="*/ 135 h 141"/>
                  <a:gd name="T8" fmla="*/ 72 w 129"/>
                  <a:gd name="T9" fmla="*/ 135 h 141"/>
                  <a:gd name="T10" fmla="*/ 75 w 129"/>
                  <a:gd name="T11" fmla="*/ 138 h 141"/>
                  <a:gd name="T12" fmla="*/ 99 w 129"/>
                  <a:gd name="T13" fmla="*/ 138 h 141"/>
                  <a:gd name="T14" fmla="*/ 117 w 129"/>
                  <a:gd name="T15" fmla="*/ 138 h 141"/>
                  <a:gd name="T16" fmla="*/ 120 w 129"/>
                  <a:gd name="T17" fmla="*/ 135 h 141"/>
                  <a:gd name="T18" fmla="*/ 108 w 129"/>
                  <a:gd name="T19" fmla="*/ 120 h 141"/>
                  <a:gd name="T20" fmla="*/ 108 w 129"/>
                  <a:gd name="T21" fmla="*/ 81 h 141"/>
                  <a:gd name="T22" fmla="*/ 126 w 129"/>
                  <a:gd name="T23" fmla="*/ 81 h 141"/>
                  <a:gd name="T24" fmla="*/ 129 w 129"/>
                  <a:gd name="T25" fmla="*/ 78 h 141"/>
                  <a:gd name="T26" fmla="*/ 129 w 129"/>
                  <a:gd name="T27" fmla="*/ 57 h 141"/>
                  <a:gd name="T28" fmla="*/ 126 w 129"/>
                  <a:gd name="T29" fmla="*/ 57 h 141"/>
                  <a:gd name="T30" fmla="*/ 117 w 129"/>
                  <a:gd name="T31" fmla="*/ 57 h 141"/>
                  <a:gd name="T32" fmla="*/ 111 w 129"/>
                  <a:gd name="T33" fmla="*/ 60 h 141"/>
                  <a:gd name="T34" fmla="*/ 111 w 129"/>
                  <a:gd name="T35" fmla="*/ 51 h 141"/>
                  <a:gd name="T36" fmla="*/ 105 w 129"/>
                  <a:gd name="T37" fmla="*/ 42 h 141"/>
                  <a:gd name="T38" fmla="*/ 108 w 129"/>
                  <a:gd name="T39" fmla="*/ 27 h 141"/>
                  <a:gd name="T40" fmla="*/ 105 w 129"/>
                  <a:gd name="T41" fmla="*/ 18 h 141"/>
                  <a:gd name="T42" fmla="*/ 99 w 129"/>
                  <a:gd name="T43" fmla="*/ 15 h 141"/>
                  <a:gd name="T44" fmla="*/ 93 w 129"/>
                  <a:gd name="T45" fmla="*/ 15 h 141"/>
                  <a:gd name="T46" fmla="*/ 84 w 129"/>
                  <a:gd name="T47" fmla="*/ 15 h 141"/>
                  <a:gd name="T48" fmla="*/ 78 w 129"/>
                  <a:gd name="T49" fmla="*/ 24 h 141"/>
                  <a:gd name="T50" fmla="*/ 66 w 129"/>
                  <a:gd name="T51" fmla="*/ 27 h 141"/>
                  <a:gd name="T52" fmla="*/ 57 w 129"/>
                  <a:gd name="T53" fmla="*/ 18 h 141"/>
                  <a:gd name="T54" fmla="*/ 51 w 129"/>
                  <a:gd name="T55" fmla="*/ 9 h 141"/>
                  <a:gd name="T56" fmla="*/ 51 w 129"/>
                  <a:gd name="T57" fmla="*/ 0 h 141"/>
                  <a:gd name="T58" fmla="*/ 12 w 129"/>
                  <a:gd name="T59" fmla="*/ 0 h 141"/>
                  <a:gd name="T60" fmla="*/ 6 w 129"/>
                  <a:gd name="T61" fmla="*/ 3 h 141"/>
                  <a:gd name="T62" fmla="*/ 18 w 129"/>
                  <a:gd name="T63" fmla="*/ 27 h 141"/>
                  <a:gd name="T64" fmla="*/ 15 w 129"/>
                  <a:gd name="T65" fmla="*/ 39 h 141"/>
                  <a:gd name="T66" fmla="*/ 21 w 129"/>
                  <a:gd name="T67" fmla="*/ 63 h 141"/>
                  <a:gd name="T68" fmla="*/ 15 w 129"/>
                  <a:gd name="T69" fmla="*/ 78 h 141"/>
                  <a:gd name="T70" fmla="*/ 6 w 129"/>
                  <a:gd name="T71" fmla="*/ 102 h 141"/>
                  <a:gd name="T72" fmla="*/ 0 w 129"/>
                  <a:gd name="T73" fmla="*/ 117 h 141"/>
                  <a:gd name="T74" fmla="*/ 0 w 129"/>
                  <a:gd name="T75" fmla="*/ 132 h 141"/>
                  <a:gd name="T76" fmla="*/ 0 w 129"/>
                  <a:gd name="T77" fmla="*/ 132 h 141"/>
                  <a:gd name="T78" fmla="*/ 3 w 129"/>
                  <a:gd name="T79" fmla="*/ 132 h 141"/>
                  <a:gd name="T80" fmla="*/ 6 w 129"/>
                  <a:gd name="T81" fmla="*/ 12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9" h="141">
                    <a:moveTo>
                      <a:pt x="6" y="129"/>
                    </a:moveTo>
                    <a:cubicBezTo>
                      <a:pt x="9" y="129"/>
                      <a:pt x="6" y="132"/>
                      <a:pt x="12" y="132"/>
                    </a:cubicBezTo>
                    <a:cubicBezTo>
                      <a:pt x="15" y="129"/>
                      <a:pt x="18" y="129"/>
                      <a:pt x="21" y="132"/>
                    </a:cubicBezTo>
                    <a:cubicBezTo>
                      <a:pt x="24" y="135"/>
                      <a:pt x="27" y="135"/>
                      <a:pt x="33" y="135"/>
                    </a:cubicBezTo>
                    <a:cubicBezTo>
                      <a:pt x="36" y="135"/>
                      <a:pt x="72" y="135"/>
                      <a:pt x="72" y="135"/>
                    </a:cubicBezTo>
                    <a:cubicBezTo>
                      <a:pt x="75" y="138"/>
                      <a:pt x="75" y="138"/>
                      <a:pt x="75" y="138"/>
                    </a:cubicBezTo>
                    <a:cubicBezTo>
                      <a:pt x="75" y="138"/>
                      <a:pt x="96" y="138"/>
                      <a:pt x="99" y="138"/>
                    </a:cubicBezTo>
                    <a:cubicBezTo>
                      <a:pt x="102" y="141"/>
                      <a:pt x="114" y="138"/>
                      <a:pt x="117" y="138"/>
                    </a:cubicBezTo>
                    <a:cubicBezTo>
                      <a:pt x="117" y="138"/>
                      <a:pt x="120" y="138"/>
                      <a:pt x="120" y="135"/>
                    </a:cubicBezTo>
                    <a:cubicBezTo>
                      <a:pt x="108" y="120"/>
                      <a:pt x="108" y="120"/>
                      <a:pt x="108" y="120"/>
                    </a:cubicBezTo>
                    <a:cubicBezTo>
                      <a:pt x="108" y="81"/>
                      <a:pt x="108" y="81"/>
                      <a:pt x="108" y="81"/>
                    </a:cubicBezTo>
                    <a:cubicBezTo>
                      <a:pt x="126" y="81"/>
                      <a:pt x="126" y="81"/>
                      <a:pt x="126" y="81"/>
                    </a:cubicBezTo>
                    <a:cubicBezTo>
                      <a:pt x="129" y="78"/>
                      <a:pt x="129" y="78"/>
                      <a:pt x="129" y="78"/>
                    </a:cubicBezTo>
                    <a:cubicBezTo>
                      <a:pt x="129" y="57"/>
                      <a:pt x="129" y="57"/>
                      <a:pt x="129" y="57"/>
                    </a:cubicBezTo>
                    <a:cubicBezTo>
                      <a:pt x="129" y="57"/>
                      <a:pt x="129" y="57"/>
                      <a:pt x="126" y="57"/>
                    </a:cubicBezTo>
                    <a:cubicBezTo>
                      <a:pt x="123" y="57"/>
                      <a:pt x="120" y="57"/>
                      <a:pt x="117" y="57"/>
                    </a:cubicBezTo>
                    <a:cubicBezTo>
                      <a:pt x="114" y="57"/>
                      <a:pt x="114" y="60"/>
                      <a:pt x="111" y="60"/>
                    </a:cubicBezTo>
                    <a:cubicBezTo>
                      <a:pt x="108" y="60"/>
                      <a:pt x="111" y="54"/>
                      <a:pt x="111" y="51"/>
                    </a:cubicBezTo>
                    <a:cubicBezTo>
                      <a:pt x="111" y="48"/>
                      <a:pt x="108" y="45"/>
                      <a:pt x="105" y="42"/>
                    </a:cubicBezTo>
                    <a:cubicBezTo>
                      <a:pt x="102" y="42"/>
                      <a:pt x="108" y="27"/>
                      <a:pt x="108" y="27"/>
                    </a:cubicBezTo>
                    <a:cubicBezTo>
                      <a:pt x="105" y="24"/>
                      <a:pt x="105" y="21"/>
                      <a:pt x="105" y="18"/>
                    </a:cubicBezTo>
                    <a:cubicBezTo>
                      <a:pt x="105" y="15"/>
                      <a:pt x="102" y="15"/>
                      <a:pt x="99" y="15"/>
                    </a:cubicBezTo>
                    <a:cubicBezTo>
                      <a:pt x="93" y="15"/>
                      <a:pt x="93" y="15"/>
                      <a:pt x="93" y="15"/>
                    </a:cubicBezTo>
                    <a:cubicBezTo>
                      <a:pt x="93" y="15"/>
                      <a:pt x="87" y="12"/>
                      <a:pt x="84" y="15"/>
                    </a:cubicBezTo>
                    <a:cubicBezTo>
                      <a:pt x="81" y="15"/>
                      <a:pt x="81" y="24"/>
                      <a:pt x="78" y="24"/>
                    </a:cubicBezTo>
                    <a:cubicBezTo>
                      <a:pt x="78" y="24"/>
                      <a:pt x="72" y="24"/>
                      <a:pt x="66" y="27"/>
                    </a:cubicBezTo>
                    <a:cubicBezTo>
                      <a:pt x="60" y="27"/>
                      <a:pt x="60" y="24"/>
                      <a:pt x="57" y="18"/>
                    </a:cubicBezTo>
                    <a:cubicBezTo>
                      <a:pt x="54" y="12"/>
                      <a:pt x="51" y="15"/>
                      <a:pt x="51" y="9"/>
                    </a:cubicBezTo>
                    <a:cubicBezTo>
                      <a:pt x="54" y="6"/>
                      <a:pt x="51" y="0"/>
                      <a:pt x="51" y="0"/>
                    </a:cubicBezTo>
                    <a:cubicBezTo>
                      <a:pt x="51" y="0"/>
                      <a:pt x="18" y="0"/>
                      <a:pt x="12" y="0"/>
                    </a:cubicBezTo>
                    <a:cubicBezTo>
                      <a:pt x="12" y="0"/>
                      <a:pt x="9" y="3"/>
                      <a:pt x="6" y="3"/>
                    </a:cubicBezTo>
                    <a:cubicBezTo>
                      <a:pt x="9" y="12"/>
                      <a:pt x="15" y="24"/>
                      <a:pt x="18" y="27"/>
                    </a:cubicBezTo>
                    <a:cubicBezTo>
                      <a:pt x="18" y="30"/>
                      <a:pt x="15" y="33"/>
                      <a:pt x="15" y="39"/>
                    </a:cubicBezTo>
                    <a:cubicBezTo>
                      <a:pt x="15" y="45"/>
                      <a:pt x="21" y="57"/>
                      <a:pt x="21" y="63"/>
                    </a:cubicBezTo>
                    <a:cubicBezTo>
                      <a:pt x="24" y="69"/>
                      <a:pt x="18" y="75"/>
                      <a:pt x="15" y="78"/>
                    </a:cubicBezTo>
                    <a:cubicBezTo>
                      <a:pt x="9" y="84"/>
                      <a:pt x="6" y="96"/>
                      <a:pt x="6" y="102"/>
                    </a:cubicBezTo>
                    <a:cubicBezTo>
                      <a:pt x="6" y="108"/>
                      <a:pt x="0" y="114"/>
                      <a:pt x="0" y="117"/>
                    </a:cubicBezTo>
                    <a:cubicBezTo>
                      <a:pt x="0" y="120"/>
                      <a:pt x="0" y="129"/>
                      <a:pt x="0" y="132"/>
                    </a:cubicBezTo>
                    <a:cubicBezTo>
                      <a:pt x="0" y="132"/>
                      <a:pt x="0" y="132"/>
                      <a:pt x="0" y="132"/>
                    </a:cubicBezTo>
                    <a:cubicBezTo>
                      <a:pt x="3" y="132"/>
                      <a:pt x="3" y="132"/>
                      <a:pt x="3" y="132"/>
                    </a:cubicBezTo>
                    <a:cubicBezTo>
                      <a:pt x="3" y="132"/>
                      <a:pt x="3" y="129"/>
                      <a:pt x="6" y="1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79" name="Freeform 653"/>
              <p:cNvSpPr>
                <a:spLocks/>
              </p:cNvSpPr>
              <p:nvPr userDrawn="1"/>
            </p:nvSpPr>
            <p:spPr bwMode="auto">
              <a:xfrm>
                <a:off x="3690" y="-1039"/>
                <a:ext cx="201" cy="220"/>
              </a:xfrm>
              <a:custGeom>
                <a:avLst/>
                <a:gdLst>
                  <a:gd name="T0" fmla="*/ 6 w 129"/>
                  <a:gd name="T1" fmla="*/ 129 h 141"/>
                  <a:gd name="T2" fmla="*/ 12 w 129"/>
                  <a:gd name="T3" fmla="*/ 132 h 141"/>
                  <a:gd name="T4" fmla="*/ 21 w 129"/>
                  <a:gd name="T5" fmla="*/ 132 h 141"/>
                  <a:gd name="T6" fmla="*/ 33 w 129"/>
                  <a:gd name="T7" fmla="*/ 135 h 141"/>
                  <a:gd name="T8" fmla="*/ 72 w 129"/>
                  <a:gd name="T9" fmla="*/ 135 h 141"/>
                  <a:gd name="T10" fmla="*/ 75 w 129"/>
                  <a:gd name="T11" fmla="*/ 138 h 141"/>
                  <a:gd name="T12" fmla="*/ 99 w 129"/>
                  <a:gd name="T13" fmla="*/ 138 h 141"/>
                  <a:gd name="T14" fmla="*/ 117 w 129"/>
                  <a:gd name="T15" fmla="*/ 138 h 141"/>
                  <a:gd name="T16" fmla="*/ 120 w 129"/>
                  <a:gd name="T17" fmla="*/ 135 h 141"/>
                  <a:gd name="T18" fmla="*/ 108 w 129"/>
                  <a:gd name="T19" fmla="*/ 120 h 141"/>
                  <a:gd name="T20" fmla="*/ 108 w 129"/>
                  <a:gd name="T21" fmla="*/ 81 h 141"/>
                  <a:gd name="T22" fmla="*/ 126 w 129"/>
                  <a:gd name="T23" fmla="*/ 81 h 141"/>
                  <a:gd name="T24" fmla="*/ 129 w 129"/>
                  <a:gd name="T25" fmla="*/ 78 h 141"/>
                  <a:gd name="T26" fmla="*/ 129 w 129"/>
                  <a:gd name="T27" fmla="*/ 57 h 141"/>
                  <a:gd name="T28" fmla="*/ 126 w 129"/>
                  <a:gd name="T29" fmla="*/ 57 h 141"/>
                  <a:gd name="T30" fmla="*/ 117 w 129"/>
                  <a:gd name="T31" fmla="*/ 57 h 141"/>
                  <a:gd name="T32" fmla="*/ 111 w 129"/>
                  <a:gd name="T33" fmla="*/ 60 h 141"/>
                  <a:gd name="T34" fmla="*/ 111 w 129"/>
                  <a:gd name="T35" fmla="*/ 51 h 141"/>
                  <a:gd name="T36" fmla="*/ 105 w 129"/>
                  <a:gd name="T37" fmla="*/ 42 h 141"/>
                  <a:gd name="T38" fmla="*/ 108 w 129"/>
                  <a:gd name="T39" fmla="*/ 27 h 141"/>
                  <a:gd name="T40" fmla="*/ 105 w 129"/>
                  <a:gd name="T41" fmla="*/ 18 h 141"/>
                  <a:gd name="T42" fmla="*/ 99 w 129"/>
                  <a:gd name="T43" fmla="*/ 15 h 141"/>
                  <a:gd name="T44" fmla="*/ 93 w 129"/>
                  <a:gd name="T45" fmla="*/ 15 h 141"/>
                  <a:gd name="T46" fmla="*/ 84 w 129"/>
                  <a:gd name="T47" fmla="*/ 15 h 141"/>
                  <a:gd name="T48" fmla="*/ 78 w 129"/>
                  <a:gd name="T49" fmla="*/ 24 h 141"/>
                  <a:gd name="T50" fmla="*/ 66 w 129"/>
                  <a:gd name="T51" fmla="*/ 27 h 141"/>
                  <a:gd name="T52" fmla="*/ 57 w 129"/>
                  <a:gd name="T53" fmla="*/ 18 h 141"/>
                  <a:gd name="T54" fmla="*/ 51 w 129"/>
                  <a:gd name="T55" fmla="*/ 9 h 141"/>
                  <a:gd name="T56" fmla="*/ 51 w 129"/>
                  <a:gd name="T57" fmla="*/ 0 h 141"/>
                  <a:gd name="T58" fmla="*/ 12 w 129"/>
                  <a:gd name="T59" fmla="*/ 0 h 141"/>
                  <a:gd name="T60" fmla="*/ 6 w 129"/>
                  <a:gd name="T61" fmla="*/ 3 h 141"/>
                  <a:gd name="T62" fmla="*/ 18 w 129"/>
                  <a:gd name="T63" fmla="*/ 27 h 141"/>
                  <a:gd name="T64" fmla="*/ 15 w 129"/>
                  <a:gd name="T65" fmla="*/ 39 h 141"/>
                  <a:gd name="T66" fmla="*/ 21 w 129"/>
                  <a:gd name="T67" fmla="*/ 63 h 141"/>
                  <a:gd name="T68" fmla="*/ 15 w 129"/>
                  <a:gd name="T69" fmla="*/ 78 h 141"/>
                  <a:gd name="T70" fmla="*/ 6 w 129"/>
                  <a:gd name="T71" fmla="*/ 102 h 141"/>
                  <a:gd name="T72" fmla="*/ 0 w 129"/>
                  <a:gd name="T73" fmla="*/ 117 h 141"/>
                  <a:gd name="T74" fmla="*/ 0 w 129"/>
                  <a:gd name="T75" fmla="*/ 132 h 141"/>
                  <a:gd name="T76" fmla="*/ 0 w 129"/>
                  <a:gd name="T77" fmla="*/ 132 h 141"/>
                  <a:gd name="T78" fmla="*/ 3 w 129"/>
                  <a:gd name="T79" fmla="*/ 132 h 141"/>
                  <a:gd name="T80" fmla="*/ 6 w 129"/>
                  <a:gd name="T81" fmla="*/ 12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9" h="141">
                    <a:moveTo>
                      <a:pt x="6" y="129"/>
                    </a:moveTo>
                    <a:cubicBezTo>
                      <a:pt x="9" y="129"/>
                      <a:pt x="6" y="132"/>
                      <a:pt x="12" y="132"/>
                    </a:cubicBezTo>
                    <a:cubicBezTo>
                      <a:pt x="15" y="129"/>
                      <a:pt x="18" y="129"/>
                      <a:pt x="21" y="132"/>
                    </a:cubicBezTo>
                    <a:cubicBezTo>
                      <a:pt x="24" y="135"/>
                      <a:pt x="27" y="135"/>
                      <a:pt x="33" y="135"/>
                    </a:cubicBezTo>
                    <a:cubicBezTo>
                      <a:pt x="36" y="135"/>
                      <a:pt x="72" y="135"/>
                      <a:pt x="72" y="135"/>
                    </a:cubicBezTo>
                    <a:cubicBezTo>
                      <a:pt x="75" y="138"/>
                      <a:pt x="75" y="138"/>
                      <a:pt x="75" y="138"/>
                    </a:cubicBezTo>
                    <a:cubicBezTo>
                      <a:pt x="75" y="138"/>
                      <a:pt x="96" y="138"/>
                      <a:pt x="99" y="138"/>
                    </a:cubicBezTo>
                    <a:cubicBezTo>
                      <a:pt x="102" y="141"/>
                      <a:pt x="114" y="138"/>
                      <a:pt x="117" y="138"/>
                    </a:cubicBezTo>
                    <a:cubicBezTo>
                      <a:pt x="117" y="138"/>
                      <a:pt x="120" y="138"/>
                      <a:pt x="120" y="135"/>
                    </a:cubicBezTo>
                    <a:cubicBezTo>
                      <a:pt x="108" y="120"/>
                      <a:pt x="108" y="120"/>
                      <a:pt x="108" y="120"/>
                    </a:cubicBezTo>
                    <a:cubicBezTo>
                      <a:pt x="108" y="81"/>
                      <a:pt x="108" y="81"/>
                      <a:pt x="108" y="81"/>
                    </a:cubicBezTo>
                    <a:cubicBezTo>
                      <a:pt x="126" y="81"/>
                      <a:pt x="126" y="81"/>
                      <a:pt x="126" y="81"/>
                    </a:cubicBezTo>
                    <a:cubicBezTo>
                      <a:pt x="129" y="78"/>
                      <a:pt x="129" y="78"/>
                      <a:pt x="129" y="78"/>
                    </a:cubicBezTo>
                    <a:cubicBezTo>
                      <a:pt x="129" y="57"/>
                      <a:pt x="129" y="57"/>
                      <a:pt x="129" y="57"/>
                    </a:cubicBezTo>
                    <a:cubicBezTo>
                      <a:pt x="129" y="57"/>
                      <a:pt x="129" y="57"/>
                      <a:pt x="126" y="57"/>
                    </a:cubicBezTo>
                    <a:cubicBezTo>
                      <a:pt x="123" y="57"/>
                      <a:pt x="120" y="57"/>
                      <a:pt x="117" y="57"/>
                    </a:cubicBezTo>
                    <a:cubicBezTo>
                      <a:pt x="114" y="57"/>
                      <a:pt x="114" y="60"/>
                      <a:pt x="111" y="60"/>
                    </a:cubicBezTo>
                    <a:cubicBezTo>
                      <a:pt x="108" y="60"/>
                      <a:pt x="111" y="54"/>
                      <a:pt x="111" y="51"/>
                    </a:cubicBezTo>
                    <a:cubicBezTo>
                      <a:pt x="111" y="48"/>
                      <a:pt x="108" y="45"/>
                      <a:pt x="105" y="42"/>
                    </a:cubicBezTo>
                    <a:cubicBezTo>
                      <a:pt x="102" y="42"/>
                      <a:pt x="108" y="27"/>
                      <a:pt x="108" y="27"/>
                    </a:cubicBezTo>
                    <a:cubicBezTo>
                      <a:pt x="105" y="24"/>
                      <a:pt x="105" y="21"/>
                      <a:pt x="105" y="18"/>
                    </a:cubicBezTo>
                    <a:cubicBezTo>
                      <a:pt x="105" y="15"/>
                      <a:pt x="102" y="15"/>
                      <a:pt x="99" y="15"/>
                    </a:cubicBezTo>
                    <a:cubicBezTo>
                      <a:pt x="93" y="15"/>
                      <a:pt x="93" y="15"/>
                      <a:pt x="93" y="15"/>
                    </a:cubicBezTo>
                    <a:cubicBezTo>
                      <a:pt x="93" y="15"/>
                      <a:pt x="87" y="12"/>
                      <a:pt x="84" y="15"/>
                    </a:cubicBezTo>
                    <a:cubicBezTo>
                      <a:pt x="81" y="15"/>
                      <a:pt x="81" y="24"/>
                      <a:pt x="78" y="24"/>
                    </a:cubicBezTo>
                    <a:cubicBezTo>
                      <a:pt x="78" y="24"/>
                      <a:pt x="72" y="24"/>
                      <a:pt x="66" y="27"/>
                    </a:cubicBezTo>
                    <a:cubicBezTo>
                      <a:pt x="60" y="27"/>
                      <a:pt x="60" y="24"/>
                      <a:pt x="57" y="18"/>
                    </a:cubicBezTo>
                    <a:cubicBezTo>
                      <a:pt x="54" y="12"/>
                      <a:pt x="51" y="15"/>
                      <a:pt x="51" y="9"/>
                    </a:cubicBezTo>
                    <a:cubicBezTo>
                      <a:pt x="54" y="6"/>
                      <a:pt x="51" y="0"/>
                      <a:pt x="51" y="0"/>
                    </a:cubicBezTo>
                    <a:cubicBezTo>
                      <a:pt x="51" y="0"/>
                      <a:pt x="18" y="0"/>
                      <a:pt x="12" y="0"/>
                    </a:cubicBezTo>
                    <a:cubicBezTo>
                      <a:pt x="12" y="0"/>
                      <a:pt x="9" y="3"/>
                      <a:pt x="6" y="3"/>
                    </a:cubicBezTo>
                    <a:cubicBezTo>
                      <a:pt x="9" y="12"/>
                      <a:pt x="15" y="24"/>
                      <a:pt x="18" y="27"/>
                    </a:cubicBezTo>
                    <a:cubicBezTo>
                      <a:pt x="18" y="30"/>
                      <a:pt x="15" y="33"/>
                      <a:pt x="15" y="39"/>
                    </a:cubicBezTo>
                    <a:cubicBezTo>
                      <a:pt x="15" y="45"/>
                      <a:pt x="21" y="57"/>
                      <a:pt x="21" y="63"/>
                    </a:cubicBezTo>
                    <a:cubicBezTo>
                      <a:pt x="24" y="69"/>
                      <a:pt x="18" y="75"/>
                      <a:pt x="15" y="78"/>
                    </a:cubicBezTo>
                    <a:cubicBezTo>
                      <a:pt x="9" y="84"/>
                      <a:pt x="6" y="96"/>
                      <a:pt x="6" y="102"/>
                    </a:cubicBezTo>
                    <a:cubicBezTo>
                      <a:pt x="6" y="108"/>
                      <a:pt x="0" y="114"/>
                      <a:pt x="0" y="117"/>
                    </a:cubicBezTo>
                    <a:cubicBezTo>
                      <a:pt x="0" y="120"/>
                      <a:pt x="0" y="129"/>
                      <a:pt x="0" y="132"/>
                    </a:cubicBezTo>
                    <a:cubicBezTo>
                      <a:pt x="0" y="132"/>
                      <a:pt x="0" y="132"/>
                      <a:pt x="0" y="132"/>
                    </a:cubicBezTo>
                    <a:cubicBezTo>
                      <a:pt x="3" y="132"/>
                      <a:pt x="3" y="132"/>
                      <a:pt x="3" y="132"/>
                    </a:cubicBezTo>
                    <a:cubicBezTo>
                      <a:pt x="3" y="132"/>
                      <a:pt x="3" y="129"/>
                      <a:pt x="6" y="1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0" name="Freeform 654"/>
              <p:cNvSpPr>
                <a:spLocks/>
              </p:cNvSpPr>
              <p:nvPr userDrawn="1"/>
            </p:nvSpPr>
            <p:spPr bwMode="auto">
              <a:xfrm>
                <a:off x="3859" y="-997"/>
                <a:ext cx="201" cy="178"/>
              </a:xfrm>
              <a:custGeom>
                <a:avLst/>
                <a:gdLst>
                  <a:gd name="T0" fmla="*/ 99 w 129"/>
                  <a:gd name="T1" fmla="*/ 3 h 114"/>
                  <a:gd name="T2" fmla="*/ 90 w 129"/>
                  <a:gd name="T3" fmla="*/ 0 h 114"/>
                  <a:gd name="T4" fmla="*/ 78 w 129"/>
                  <a:gd name="T5" fmla="*/ 3 h 114"/>
                  <a:gd name="T6" fmla="*/ 75 w 129"/>
                  <a:gd name="T7" fmla="*/ 9 h 114"/>
                  <a:gd name="T8" fmla="*/ 72 w 129"/>
                  <a:gd name="T9" fmla="*/ 15 h 114"/>
                  <a:gd name="T10" fmla="*/ 72 w 129"/>
                  <a:gd name="T11" fmla="*/ 27 h 114"/>
                  <a:gd name="T12" fmla="*/ 69 w 129"/>
                  <a:gd name="T13" fmla="*/ 39 h 114"/>
                  <a:gd name="T14" fmla="*/ 78 w 129"/>
                  <a:gd name="T15" fmla="*/ 48 h 114"/>
                  <a:gd name="T16" fmla="*/ 84 w 129"/>
                  <a:gd name="T17" fmla="*/ 45 h 114"/>
                  <a:gd name="T18" fmla="*/ 87 w 129"/>
                  <a:gd name="T19" fmla="*/ 54 h 114"/>
                  <a:gd name="T20" fmla="*/ 84 w 129"/>
                  <a:gd name="T21" fmla="*/ 57 h 114"/>
                  <a:gd name="T22" fmla="*/ 75 w 129"/>
                  <a:gd name="T23" fmla="*/ 57 h 114"/>
                  <a:gd name="T24" fmla="*/ 72 w 129"/>
                  <a:gd name="T25" fmla="*/ 48 h 114"/>
                  <a:gd name="T26" fmla="*/ 63 w 129"/>
                  <a:gd name="T27" fmla="*/ 45 h 114"/>
                  <a:gd name="T28" fmla="*/ 57 w 129"/>
                  <a:gd name="T29" fmla="*/ 39 h 114"/>
                  <a:gd name="T30" fmla="*/ 54 w 129"/>
                  <a:gd name="T31" fmla="*/ 42 h 114"/>
                  <a:gd name="T32" fmla="*/ 48 w 129"/>
                  <a:gd name="T33" fmla="*/ 42 h 114"/>
                  <a:gd name="T34" fmla="*/ 39 w 129"/>
                  <a:gd name="T35" fmla="*/ 39 h 114"/>
                  <a:gd name="T36" fmla="*/ 36 w 129"/>
                  <a:gd name="T37" fmla="*/ 36 h 114"/>
                  <a:gd name="T38" fmla="*/ 27 w 129"/>
                  <a:gd name="T39" fmla="*/ 36 h 114"/>
                  <a:gd name="T40" fmla="*/ 24 w 129"/>
                  <a:gd name="T41" fmla="*/ 33 h 114"/>
                  <a:gd name="T42" fmla="*/ 21 w 129"/>
                  <a:gd name="T43" fmla="*/ 30 h 114"/>
                  <a:gd name="T44" fmla="*/ 21 w 129"/>
                  <a:gd name="T45" fmla="*/ 51 h 114"/>
                  <a:gd name="T46" fmla="*/ 18 w 129"/>
                  <a:gd name="T47" fmla="*/ 54 h 114"/>
                  <a:gd name="T48" fmla="*/ 0 w 129"/>
                  <a:gd name="T49" fmla="*/ 54 h 114"/>
                  <a:gd name="T50" fmla="*/ 0 w 129"/>
                  <a:gd name="T51" fmla="*/ 93 h 114"/>
                  <a:gd name="T52" fmla="*/ 12 w 129"/>
                  <a:gd name="T53" fmla="*/ 108 h 114"/>
                  <a:gd name="T54" fmla="*/ 33 w 129"/>
                  <a:gd name="T55" fmla="*/ 108 h 114"/>
                  <a:gd name="T56" fmla="*/ 33 w 129"/>
                  <a:gd name="T57" fmla="*/ 111 h 114"/>
                  <a:gd name="T58" fmla="*/ 39 w 129"/>
                  <a:gd name="T59" fmla="*/ 111 h 114"/>
                  <a:gd name="T60" fmla="*/ 54 w 129"/>
                  <a:gd name="T61" fmla="*/ 114 h 114"/>
                  <a:gd name="T62" fmla="*/ 66 w 129"/>
                  <a:gd name="T63" fmla="*/ 99 h 114"/>
                  <a:gd name="T64" fmla="*/ 75 w 129"/>
                  <a:gd name="T65" fmla="*/ 93 h 114"/>
                  <a:gd name="T66" fmla="*/ 81 w 129"/>
                  <a:gd name="T67" fmla="*/ 87 h 114"/>
                  <a:gd name="T68" fmla="*/ 93 w 129"/>
                  <a:gd name="T69" fmla="*/ 87 h 114"/>
                  <a:gd name="T70" fmla="*/ 93 w 129"/>
                  <a:gd name="T71" fmla="*/ 87 h 114"/>
                  <a:gd name="T72" fmla="*/ 90 w 129"/>
                  <a:gd name="T73" fmla="*/ 78 h 114"/>
                  <a:gd name="T74" fmla="*/ 120 w 129"/>
                  <a:gd name="T75" fmla="*/ 66 h 114"/>
                  <a:gd name="T76" fmla="*/ 120 w 129"/>
                  <a:gd name="T77" fmla="*/ 60 h 114"/>
                  <a:gd name="T78" fmla="*/ 120 w 129"/>
                  <a:gd name="T79" fmla="*/ 51 h 114"/>
                  <a:gd name="T80" fmla="*/ 126 w 129"/>
                  <a:gd name="T81" fmla="*/ 48 h 114"/>
                  <a:gd name="T82" fmla="*/ 126 w 129"/>
                  <a:gd name="T83" fmla="*/ 30 h 114"/>
                  <a:gd name="T84" fmla="*/ 129 w 129"/>
                  <a:gd name="T85" fmla="*/ 27 h 114"/>
                  <a:gd name="T86" fmla="*/ 123 w 129"/>
                  <a:gd name="T87" fmla="*/ 15 h 114"/>
                  <a:gd name="T88" fmla="*/ 108 w 129"/>
                  <a:gd name="T89" fmla="*/ 9 h 114"/>
                  <a:gd name="T90" fmla="*/ 99 w 129"/>
                  <a:gd name="T91"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14">
                    <a:moveTo>
                      <a:pt x="99" y="3"/>
                    </a:moveTo>
                    <a:cubicBezTo>
                      <a:pt x="99" y="3"/>
                      <a:pt x="93" y="3"/>
                      <a:pt x="90" y="0"/>
                    </a:cubicBezTo>
                    <a:cubicBezTo>
                      <a:pt x="90" y="3"/>
                      <a:pt x="81" y="3"/>
                      <a:pt x="78" y="3"/>
                    </a:cubicBezTo>
                    <a:cubicBezTo>
                      <a:pt x="72" y="3"/>
                      <a:pt x="78" y="6"/>
                      <a:pt x="75" y="9"/>
                    </a:cubicBezTo>
                    <a:cubicBezTo>
                      <a:pt x="72" y="12"/>
                      <a:pt x="72" y="15"/>
                      <a:pt x="72" y="15"/>
                    </a:cubicBezTo>
                    <a:cubicBezTo>
                      <a:pt x="75" y="15"/>
                      <a:pt x="72" y="24"/>
                      <a:pt x="72" y="27"/>
                    </a:cubicBezTo>
                    <a:cubicBezTo>
                      <a:pt x="72" y="30"/>
                      <a:pt x="69" y="36"/>
                      <a:pt x="69" y="39"/>
                    </a:cubicBezTo>
                    <a:cubicBezTo>
                      <a:pt x="72" y="39"/>
                      <a:pt x="75" y="45"/>
                      <a:pt x="78" y="48"/>
                    </a:cubicBezTo>
                    <a:cubicBezTo>
                      <a:pt x="81" y="48"/>
                      <a:pt x="84" y="45"/>
                      <a:pt x="84" y="45"/>
                    </a:cubicBezTo>
                    <a:cubicBezTo>
                      <a:pt x="87" y="45"/>
                      <a:pt x="87" y="48"/>
                      <a:pt x="87" y="54"/>
                    </a:cubicBezTo>
                    <a:cubicBezTo>
                      <a:pt x="87" y="57"/>
                      <a:pt x="84" y="57"/>
                      <a:pt x="84" y="57"/>
                    </a:cubicBezTo>
                    <a:cubicBezTo>
                      <a:pt x="84" y="57"/>
                      <a:pt x="78" y="60"/>
                      <a:pt x="75" y="57"/>
                    </a:cubicBezTo>
                    <a:cubicBezTo>
                      <a:pt x="75" y="57"/>
                      <a:pt x="72" y="51"/>
                      <a:pt x="72" y="48"/>
                    </a:cubicBezTo>
                    <a:cubicBezTo>
                      <a:pt x="72" y="45"/>
                      <a:pt x="66" y="45"/>
                      <a:pt x="63" y="45"/>
                    </a:cubicBezTo>
                    <a:cubicBezTo>
                      <a:pt x="60" y="45"/>
                      <a:pt x="57" y="42"/>
                      <a:pt x="57" y="39"/>
                    </a:cubicBezTo>
                    <a:cubicBezTo>
                      <a:pt x="57" y="39"/>
                      <a:pt x="54" y="39"/>
                      <a:pt x="54" y="42"/>
                    </a:cubicBezTo>
                    <a:cubicBezTo>
                      <a:pt x="54" y="42"/>
                      <a:pt x="51" y="42"/>
                      <a:pt x="48" y="42"/>
                    </a:cubicBezTo>
                    <a:cubicBezTo>
                      <a:pt x="45" y="42"/>
                      <a:pt x="42" y="39"/>
                      <a:pt x="39" y="39"/>
                    </a:cubicBezTo>
                    <a:cubicBezTo>
                      <a:pt x="36" y="42"/>
                      <a:pt x="36" y="36"/>
                      <a:pt x="36" y="36"/>
                    </a:cubicBezTo>
                    <a:cubicBezTo>
                      <a:pt x="36" y="33"/>
                      <a:pt x="30" y="33"/>
                      <a:pt x="27" y="36"/>
                    </a:cubicBezTo>
                    <a:cubicBezTo>
                      <a:pt x="24" y="33"/>
                      <a:pt x="24" y="33"/>
                      <a:pt x="24" y="33"/>
                    </a:cubicBezTo>
                    <a:cubicBezTo>
                      <a:pt x="24" y="33"/>
                      <a:pt x="24" y="30"/>
                      <a:pt x="21" y="30"/>
                    </a:cubicBezTo>
                    <a:cubicBezTo>
                      <a:pt x="21" y="51"/>
                      <a:pt x="21" y="51"/>
                      <a:pt x="21" y="51"/>
                    </a:cubicBezTo>
                    <a:cubicBezTo>
                      <a:pt x="18" y="54"/>
                      <a:pt x="18" y="54"/>
                      <a:pt x="18" y="54"/>
                    </a:cubicBezTo>
                    <a:cubicBezTo>
                      <a:pt x="0" y="54"/>
                      <a:pt x="0" y="54"/>
                      <a:pt x="0" y="54"/>
                    </a:cubicBezTo>
                    <a:cubicBezTo>
                      <a:pt x="0" y="93"/>
                      <a:pt x="0" y="93"/>
                      <a:pt x="0" y="93"/>
                    </a:cubicBezTo>
                    <a:cubicBezTo>
                      <a:pt x="12" y="108"/>
                      <a:pt x="12" y="108"/>
                      <a:pt x="12" y="108"/>
                    </a:cubicBezTo>
                    <a:cubicBezTo>
                      <a:pt x="18" y="108"/>
                      <a:pt x="33" y="105"/>
                      <a:pt x="33" y="108"/>
                    </a:cubicBezTo>
                    <a:cubicBezTo>
                      <a:pt x="33" y="111"/>
                      <a:pt x="33" y="111"/>
                      <a:pt x="33" y="111"/>
                    </a:cubicBezTo>
                    <a:cubicBezTo>
                      <a:pt x="36" y="111"/>
                      <a:pt x="39" y="111"/>
                      <a:pt x="39" y="111"/>
                    </a:cubicBezTo>
                    <a:cubicBezTo>
                      <a:pt x="42" y="111"/>
                      <a:pt x="51" y="114"/>
                      <a:pt x="54" y="114"/>
                    </a:cubicBezTo>
                    <a:cubicBezTo>
                      <a:pt x="57" y="111"/>
                      <a:pt x="60" y="102"/>
                      <a:pt x="66" y="99"/>
                    </a:cubicBezTo>
                    <a:cubicBezTo>
                      <a:pt x="69" y="99"/>
                      <a:pt x="75" y="93"/>
                      <a:pt x="75" y="93"/>
                    </a:cubicBezTo>
                    <a:cubicBezTo>
                      <a:pt x="75" y="90"/>
                      <a:pt x="75" y="87"/>
                      <a:pt x="81" y="87"/>
                    </a:cubicBezTo>
                    <a:cubicBezTo>
                      <a:pt x="93" y="87"/>
                      <a:pt x="93" y="87"/>
                      <a:pt x="93" y="87"/>
                    </a:cubicBezTo>
                    <a:cubicBezTo>
                      <a:pt x="93" y="87"/>
                      <a:pt x="93" y="87"/>
                      <a:pt x="93" y="87"/>
                    </a:cubicBezTo>
                    <a:cubicBezTo>
                      <a:pt x="90" y="78"/>
                      <a:pt x="90" y="78"/>
                      <a:pt x="90" y="78"/>
                    </a:cubicBezTo>
                    <a:cubicBezTo>
                      <a:pt x="120" y="66"/>
                      <a:pt x="120" y="66"/>
                      <a:pt x="120" y="66"/>
                    </a:cubicBezTo>
                    <a:cubicBezTo>
                      <a:pt x="120" y="63"/>
                      <a:pt x="120" y="63"/>
                      <a:pt x="120" y="60"/>
                    </a:cubicBezTo>
                    <a:cubicBezTo>
                      <a:pt x="120" y="60"/>
                      <a:pt x="120" y="54"/>
                      <a:pt x="120" y="51"/>
                    </a:cubicBezTo>
                    <a:cubicBezTo>
                      <a:pt x="120" y="48"/>
                      <a:pt x="129" y="51"/>
                      <a:pt x="126" y="48"/>
                    </a:cubicBezTo>
                    <a:cubicBezTo>
                      <a:pt x="123" y="45"/>
                      <a:pt x="123" y="33"/>
                      <a:pt x="126" y="30"/>
                    </a:cubicBezTo>
                    <a:cubicBezTo>
                      <a:pt x="126" y="27"/>
                      <a:pt x="129" y="30"/>
                      <a:pt x="129" y="27"/>
                    </a:cubicBezTo>
                    <a:cubicBezTo>
                      <a:pt x="129" y="24"/>
                      <a:pt x="126" y="18"/>
                      <a:pt x="123" y="15"/>
                    </a:cubicBezTo>
                    <a:cubicBezTo>
                      <a:pt x="123" y="12"/>
                      <a:pt x="111" y="9"/>
                      <a:pt x="108" y="9"/>
                    </a:cubicBezTo>
                    <a:cubicBezTo>
                      <a:pt x="108" y="9"/>
                      <a:pt x="102" y="3"/>
                      <a:pt x="9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1" name="Freeform 655"/>
              <p:cNvSpPr>
                <a:spLocks/>
              </p:cNvSpPr>
              <p:nvPr userDrawn="1"/>
            </p:nvSpPr>
            <p:spPr bwMode="auto">
              <a:xfrm>
                <a:off x="3859" y="-997"/>
                <a:ext cx="201" cy="178"/>
              </a:xfrm>
              <a:custGeom>
                <a:avLst/>
                <a:gdLst>
                  <a:gd name="T0" fmla="*/ 99 w 129"/>
                  <a:gd name="T1" fmla="*/ 3 h 114"/>
                  <a:gd name="T2" fmla="*/ 90 w 129"/>
                  <a:gd name="T3" fmla="*/ 0 h 114"/>
                  <a:gd name="T4" fmla="*/ 78 w 129"/>
                  <a:gd name="T5" fmla="*/ 3 h 114"/>
                  <a:gd name="T6" fmla="*/ 75 w 129"/>
                  <a:gd name="T7" fmla="*/ 9 h 114"/>
                  <a:gd name="T8" fmla="*/ 72 w 129"/>
                  <a:gd name="T9" fmla="*/ 15 h 114"/>
                  <a:gd name="T10" fmla="*/ 72 w 129"/>
                  <a:gd name="T11" fmla="*/ 27 h 114"/>
                  <a:gd name="T12" fmla="*/ 69 w 129"/>
                  <a:gd name="T13" fmla="*/ 39 h 114"/>
                  <a:gd name="T14" fmla="*/ 78 w 129"/>
                  <a:gd name="T15" fmla="*/ 48 h 114"/>
                  <a:gd name="T16" fmla="*/ 84 w 129"/>
                  <a:gd name="T17" fmla="*/ 45 h 114"/>
                  <a:gd name="T18" fmla="*/ 87 w 129"/>
                  <a:gd name="T19" fmla="*/ 54 h 114"/>
                  <a:gd name="T20" fmla="*/ 84 w 129"/>
                  <a:gd name="T21" fmla="*/ 57 h 114"/>
                  <a:gd name="T22" fmla="*/ 75 w 129"/>
                  <a:gd name="T23" fmla="*/ 57 h 114"/>
                  <a:gd name="T24" fmla="*/ 72 w 129"/>
                  <a:gd name="T25" fmla="*/ 48 h 114"/>
                  <a:gd name="T26" fmla="*/ 63 w 129"/>
                  <a:gd name="T27" fmla="*/ 45 h 114"/>
                  <a:gd name="T28" fmla="*/ 57 w 129"/>
                  <a:gd name="T29" fmla="*/ 39 h 114"/>
                  <a:gd name="T30" fmla="*/ 54 w 129"/>
                  <a:gd name="T31" fmla="*/ 42 h 114"/>
                  <a:gd name="T32" fmla="*/ 48 w 129"/>
                  <a:gd name="T33" fmla="*/ 42 h 114"/>
                  <a:gd name="T34" fmla="*/ 39 w 129"/>
                  <a:gd name="T35" fmla="*/ 39 h 114"/>
                  <a:gd name="T36" fmla="*/ 36 w 129"/>
                  <a:gd name="T37" fmla="*/ 36 h 114"/>
                  <a:gd name="T38" fmla="*/ 27 w 129"/>
                  <a:gd name="T39" fmla="*/ 36 h 114"/>
                  <a:gd name="T40" fmla="*/ 24 w 129"/>
                  <a:gd name="T41" fmla="*/ 33 h 114"/>
                  <a:gd name="T42" fmla="*/ 21 w 129"/>
                  <a:gd name="T43" fmla="*/ 30 h 114"/>
                  <a:gd name="T44" fmla="*/ 21 w 129"/>
                  <a:gd name="T45" fmla="*/ 51 h 114"/>
                  <a:gd name="T46" fmla="*/ 18 w 129"/>
                  <a:gd name="T47" fmla="*/ 54 h 114"/>
                  <a:gd name="T48" fmla="*/ 0 w 129"/>
                  <a:gd name="T49" fmla="*/ 54 h 114"/>
                  <a:gd name="T50" fmla="*/ 0 w 129"/>
                  <a:gd name="T51" fmla="*/ 93 h 114"/>
                  <a:gd name="T52" fmla="*/ 12 w 129"/>
                  <a:gd name="T53" fmla="*/ 108 h 114"/>
                  <a:gd name="T54" fmla="*/ 33 w 129"/>
                  <a:gd name="T55" fmla="*/ 108 h 114"/>
                  <a:gd name="T56" fmla="*/ 33 w 129"/>
                  <a:gd name="T57" fmla="*/ 111 h 114"/>
                  <a:gd name="T58" fmla="*/ 39 w 129"/>
                  <a:gd name="T59" fmla="*/ 111 h 114"/>
                  <a:gd name="T60" fmla="*/ 54 w 129"/>
                  <a:gd name="T61" fmla="*/ 114 h 114"/>
                  <a:gd name="T62" fmla="*/ 66 w 129"/>
                  <a:gd name="T63" fmla="*/ 99 h 114"/>
                  <a:gd name="T64" fmla="*/ 75 w 129"/>
                  <a:gd name="T65" fmla="*/ 93 h 114"/>
                  <a:gd name="T66" fmla="*/ 81 w 129"/>
                  <a:gd name="T67" fmla="*/ 87 h 114"/>
                  <a:gd name="T68" fmla="*/ 93 w 129"/>
                  <a:gd name="T69" fmla="*/ 87 h 114"/>
                  <a:gd name="T70" fmla="*/ 93 w 129"/>
                  <a:gd name="T71" fmla="*/ 87 h 114"/>
                  <a:gd name="T72" fmla="*/ 90 w 129"/>
                  <a:gd name="T73" fmla="*/ 78 h 114"/>
                  <a:gd name="T74" fmla="*/ 120 w 129"/>
                  <a:gd name="T75" fmla="*/ 66 h 114"/>
                  <a:gd name="T76" fmla="*/ 120 w 129"/>
                  <a:gd name="T77" fmla="*/ 60 h 114"/>
                  <a:gd name="T78" fmla="*/ 120 w 129"/>
                  <a:gd name="T79" fmla="*/ 51 h 114"/>
                  <a:gd name="T80" fmla="*/ 126 w 129"/>
                  <a:gd name="T81" fmla="*/ 48 h 114"/>
                  <a:gd name="T82" fmla="*/ 126 w 129"/>
                  <a:gd name="T83" fmla="*/ 30 h 114"/>
                  <a:gd name="T84" fmla="*/ 129 w 129"/>
                  <a:gd name="T85" fmla="*/ 27 h 114"/>
                  <a:gd name="T86" fmla="*/ 123 w 129"/>
                  <a:gd name="T87" fmla="*/ 15 h 114"/>
                  <a:gd name="T88" fmla="*/ 108 w 129"/>
                  <a:gd name="T89" fmla="*/ 9 h 114"/>
                  <a:gd name="T90" fmla="*/ 99 w 129"/>
                  <a:gd name="T91" fmla="*/ 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14">
                    <a:moveTo>
                      <a:pt x="99" y="3"/>
                    </a:moveTo>
                    <a:cubicBezTo>
                      <a:pt x="99" y="3"/>
                      <a:pt x="93" y="3"/>
                      <a:pt x="90" y="0"/>
                    </a:cubicBezTo>
                    <a:cubicBezTo>
                      <a:pt x="90" y="3"/>
                      <a:pt x="81" y="3"/>
                      <a:pt x="78" y="3"/>
                    </a:cubicBezTo>
                    <a:cubicBezTo>
                      <a:pt x="72" y="3"/>
                      <a:pt x="78" y="6"/>
                      <a:pt x="75" y="9"/>
                    </a:cubicBezTo>
                    <a:cubicBezTo>
                      <a:pt x="72" y="12"/>
                      <a:pt x="72" y="15"/>
                      <a:pt x="72" y="15"/>
                    </a:cubicBezTo>
                    <a:cubicBezTo>
                      <a:pt x="75" y="15"/>
                      <a:pt x="72" y="24"/>
                      <a:pt x="72" y="27"/>
                    </a:cubicBezTo>
                    <a:cubicBezTo>
                      <a:pt x="72" y="30"/>
                      <a:pt x="69" y="36"/>
                      <a:pt x="69" y="39"/>
                    </a:cubicBezTo>
                    <a:cubicBezTo>
                      <a:pt x="72" y="39"/>
                      <a:pt x="75" y="45"/>
                      <a:pt x="78" y="48"/>
                    </a:cubicBezTo>
                    <a:cubicBezTo>
                      <a:pt x="81" y="48"/>
                      <a:pt x="84" y="45"/>
                      <a:pt x="84" y="45"/>
                    </a:cubicBezTo>
                    <a:cubicBezTo>
                      <a:pt x="87" y="45"/>
                      <a:pt x="87" y="48"/>
                      <a:pt x="87" y="54"/>
                    </a:cubicBezTo>
                    <a:cubicBezTo>
                      <a:pt x="87" y="57"/>
                      <a:pt x="84" y="57"/>
                      <a:pt x="84" y="57"/>
                    </a:cubicBezTo>
                    <a:cubicBezTo>
                      <a:pt x="84" y="57"/>
                      <a:pt x="78" y="60"/>
                      <a:pt x="75" y="57"/>
                    </a:cubicBezTo>
                    <a:cubicBezTo>
                      <a:pt x="75" y="57"/>
                      <a:pt x="72" y="51"/>
                      <a:pt x="72" y="48"/>
                    </a:cubicBezTo>
                    <a:cubicBezTo>
                      <a:pt x="72" y="45"/>
                      <a:pt x="66" y="45"/>
                      <a:pt x="63" y="45"/>
                    </a:cubicBezTo>
                    <a:cubicBezTo>
                      <a:pt x="60" y="45"/>
                      <a:pt x="57" y="42"/>
                      <a:pt x="57" y="39"/>
                    </a:cubicBezTo>
                    <a:cubicBezTo>
                      <a:pt x="57" y="39"/>
                      <a:pt x="54" y="39"/>
                      <a:pt x="54" y="42"/>
                    </a:cubicBezTo>
                    <a:cubicBezTo>
                      <a:pt x="54" y="42"/>
                      <a:pt x="51" y="42"/>
                      <a:pt x="48" y="42"/>
                    </a:cubicBezTo>
                    <a:cubicBezTo>
                      <a:pt x="45" y="42"/>
                      <a:pt x="42" y="39"/>
                      <a:pt x="39" y="39"/>
                    </a:cubicBezTo>
                    <a:cubicBezTo>
                      <a:pt x="36" y="42"/>
                      <a:pt x="36" y="36"/>
                      <a:pt x="36" y="36"/>
                    </a:cubicBezTo>
                    <a:cubicBezTo>
                      <a:pt x="36" y="33"/>
                      <a:pt x="30" y="33"/>
                      <a:pt x="27" y="36"/>
                    </a:cubicBezTo>
                    <a:cubicBezTo>
                      <a:pt x="24" y="33"/>
                      <a:pt x="24" y="33"/>
                      <a:pt x="24" y="33"/>
                    </a:cubicBezTo>
                    <a:cubicBezTo>
                      <a:pt x="24" y="33"/>
                      <a:pt x="24" y="30"/>
                      <a:pt x="21" y="30"/>
                    </a:cubicBezTo>
                    <a:cubicBezTo>
                      <a:pt x="21" y="51"/>
                      <a:pt x="21" y="51"/>
                      <a:pt x="21" y="51"/>
                    </a:cubicBezTo>
                    <a:cubicBezTo>
                      <a:pt x="18" y="54"/>
                      <a:pt x="18" y="54"/>
                      <a:pt x="18" y="54"/>
                    </a:cubicBezTo>
                    <a:cubicBezTo>
                      <a:pt x="0" y="54"/>
                      <a:pt x="0" y="54"/>
                      <a:pt x="0" y="54"/>
                    </a:cubicBezTo>
                    <a:cubicBezTo>
                      <a:pt x="0" y="93"/>
                      <a:pt x="0" y="93"/>
                      <a:pt x="0" y="93"/>
                    </a:cubicBezTo>
                    <a:cubicBezTo>
                      <a:pt x="12" y="108"/>
                      <a:pt x="12" y="108"/>
                      <a:pt x="12" y="108"/>
                    </a:cubicBezTo>
                    <a:cubicBezTo>
                      <a:pt x="18" y="108"/>
                      <a:pt x="33" y="105"/>
                      <a:pt x="33" y="108"/>
                    </a:cubicBezTo>
                    <a:cubicBezTo>
                      <a:pt x="33" y="111"/>
                      <a:pt x="33" y="111"/>
                      <a:pt x="33" y="111"/>
                    </a:cubicBezTo>
                    <a:cubicBezTo>
                      <a:pt x="36" y="111"/>
                      <a:pt x="39" y="111"/>
                      <a:pt x="39" y="111"/>
                    </a:cubicBezTo>
                    <a:cubicBezTo>
                      <a:pt x="42" y="111"/>
                      <a:pt x="51" y="114"/>
                      <a:pt x="54" y="114"/>
                    </a:cubicBezTo>
                    <a:cubicBezTo>
                      <a:pt x="57" y="111"/>
                      <a:pt x="60" y="102"/>
                      <a:pt x="66" y="99"/>
                    </a:cubicBezTo>
                    <a:cubicBezTo>
                      <a:pt x="69" y="99"/>
                      <a:pt x="75" y="93"/>
                      <a:pt x="75" y="93"/>
                    </a:cubicBezTo>
                    <a:cubicBezTo>
                      <a:pt x="75" y="90"/>
                      <a:pt x="75" y="87"/>
                      <a:pt x="81" y="87"/>
                    </a:cubicBezTo>
                    <a:cubicBezTo>
                      <a:pt x="93" y="87"/>
                      <a:pt x="93" y="87"/>
                      <a:pt x="93" y="87"/>
                    </a:cubicBezTo>
                    <a:cubicBezTo>
                      <a:pt x="93" y="87"/>
                      <a:pt x="93" y="87"/>
                      <a:pt x="93" y="87"/>
                    </a:cubicBezTo>
                    <a:cubicBezTo>
                      <a:pt x="90" y="78"/>
                      <a:pt x="90" y="78"/>
                      <a:pt x="90" y="78"/>
                    </a:cubicBezTo>
                    <a:cubicBezTo>
                      <a:pt x="120" y="66"/>
                      <a:pt x="120" y="66"/>
                      <a:pt x="120" y="66"/>
                    </a:cubicBezTo>
                    <a:cubicBezTo>
                      <a:pt x="120" y="63"/>
                      <a:pt x="120" y="63"/>
                      <a:pt x="120" y="60"/>
                    </a:cubicBezTo>
                    <a:cubicBezTo>
                      <a:pt x="120" y="60"/>
                      <a:pt x="120" y="54"/>
                      <a:pt x="120" y="51"/>
                    </a:cubicBezTo>
                    <a:cubicBezTo>
                      <a:pt x="120" y="48"/>
                      <a:pt x="129" y="51"/>
                      <a:pt x="126" y="48"/>
                    </a:cubicBezTo>
                    <a:cubicBezTo>
                      <a:pt x="123" y="45"/>
                      <a:pt x="123" y="33"/>
                      <a:pt x="126" y="30"/>
                    </a:cubicBezTo>
                    <a:cubicBezTo>
                      <a:pt x="126" y="27"/>
                      <a:pt x="129" y="30"/>
                      <a:pt x="129" y="27"/>
                    </a:cubicBezTo>
                    <a:cubicBezTo>
                      <a:pt x="129" y="24"/>
                      <a:pt x="126" y="18"/>
                      <a:pt x="123" y="15"/>
                    </a:cubicBezTo>
                    <a:cubicBezTo>
                      <a:pt x="123" y="12"/>
                      <a:pt x="111" y="9"/>
                      <a:pt x="108" y="9"/>
                    </a:cubicBezTo>
                    <a:cubicBezTo>
                      <a:pt x="108" y="9"/>
                      <a:pt x="102" y="3"/>
                      <a:pt x="9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2" name="Freeform 656"/>
              <p:cNvSpPr>
                <a:spLocks/>
              </p:cNvSpPr>
              <p:nvPr userDrawn="1"/>
            </p:nvSpPr>
            <p:spPr bwMode="auto">
              <a:xfrm>
                <a:off x="3974" y="-1123"/>
                <a:ext cx="37" cy="28"/>
              </a:xfrm>
              <a:custGeom>
                <a:avLst/>
                <a:gdLst>
                  <a:gd name="T0" fmla="*/ 18 w 24"/>
                  <a:gd name="T1" fmla="*/ 0 h 18"/>
                  <a:gd name="T2" fmla="*/ 12 w 24"/>
                  <a:gd name="T3" fmla="*/ 0 h 18"/>
                  <a:gd name="T4" fmla="*/ 9 w 24"/>
                  <a:gd name="T5" fmla="*/ 3 h 18"/>
                  <a:gd name="T6" fmla="*/ 6 w 24"/>
                  <a:gd name="T7" fmla="*/ 3 h 18"/>
                  <a:gd name="T8" fmla="*/ 3 w 24"/>
                  <a:gd name="T9" fmla="*/ 12 h 18"/>
                  <a:gd name="T10" fmla="*/ 0 w 24"/>
                  <a:gd name="T11" fmla="*/ 15 h 18"/>
                  <a:gd name="T12" fmla="*/ 3 w 24"/>
                  <a:gd name="T13" fmla="*/ 18 h 18"/>
                  <a:gd name="T14" fmla="*/ 6 w 24"/>
                  <a:gd name="T15" fmla="*/ 18 h 18"/>
                  <a:gd name="T16" fmla="*/ 12 w 24"/>
                  <a:gd name="T17" fmla="*/ 15 h 18"/>
                  <a:gd name="T18" fmla="*/ 24 w 24"/>
                  <a:gd name="T19" fmla="*/ 12 h 18"/>
                  <a:gd name="T20" fmla="*/ 21 w 24"/>
                  <a:gd name="T21" fmla="*/ 3 h 18"/>
                  <a:gd name="T22" fmla="*/ 18 w 24"/>
                  <a:gd name="T23" fmla="*/ 0 h 18"/>
                  <a:gd name="T24" fmla="*/ 18 w 24"/>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8">
                    <a:moveTo>
                      <a:pt x="18" y="0"/>
                    </a:moveTo>
                    <a:cubicBezTo>
                      <a:pt x="18" y="0"/>
                      <a:pt x="15" y="0"/>
                      <a:pt x="12" y="0"/>
                    </a:cubicBezTo>
                    <a:cubicBezTo>
                      <a:pt x="12" y="3"/>
                      <a:pt x="12" y="3"/>
                      <a:pt x="9" y="3"/>
                    </a:cubicBezTo>
                    <a:cubicBezTo>
                      <a:pt x="6" y="3"/>
                      <a:pt x="6" y="3"/>
                      <a:pt x="6" y="3"/>
                    </a:cubicBezTo>
                    <a:cubicBezTo>
                      <a:pt x="3" y="6"/>
                      <a:pt x="3" y="12"/>
                      <a:pt x="3" y="12"/>
                    </a:cubicBezTo>
                    <a:cubicBezTo>
                      <a:pt x="3" y="12"/>
                      <a:pt x="0" y="12"/>
                      <a:pt x="0" y="15"/>
                    </a:cubicBezTo>
                    <a:cubicBezTo>
                      <a:pt x="3" y="18"/>
                      <a:pt x="3" y="18"/>
                      <a:pt x="3" y="18"/>
                    </a:cubicBezTo>
                    <a:cubicBezTo>
                      <a:pt x="6" y="18"/>
                      <a:pt x="6" y="18"/>
                      <a:pt x="6" y="18"/>
                    </a:cubicBezTo>
                    <a:cubicBezTo>
                      <a:pt x="15" y="18"/>
                      <a:pt x="12" y="15"/>
                      <a:pt x="12" y="15"/>
                    </a:cubicBezTo>
                    <a:cubicBezTo>
                      <a:pt x="12" y="15"/>
                      <a:pt x="21" y="15"/>
                      <a:pt x="24" y="12"/>
                    </a:cubicBezTo>
                    <a:cubicBezTo>
                      <a:pt x="24" y="9"/>
                      <a:pt x="21" y="3"/>
                      <a:pt x="21" y="3"/>
                    </a:cubicBezTo>
                    <a:cubicBezTo>
                      <a:pt x="18" y="0"/>
                      <a:pt x="18" y="0"/>
                      <a:pt x="18" y="0"/>
                    </a:cubicBezTo>
                    <a:cubicBezTo>
                      <a:pt x="18" y="0"/>
                      <a:pt x="18" y="0"/>
                      <a:pt x="18"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3" name="Freeform 657"/>
              <p:cNvSpPr>
                <a:spLocks/>
              </p:cNvSpPr>
              <p:nvPr userDrawn="1"/>
            </p:nvSpPr>
            <p:spPr bwMode="auto">
              <a:xfrm>
                <a:off x="3974" y="-1123"/>
                <a:ext cx="37" cy="28"/>
              </a:xfrm>
              <a:custGeom>
                <a:avLst/>
                <a:gdLst>
                  <a:gd name="T0" fmla="*/ 18 w 24"/>
                  <a:gd name="T1" fmla="*/ 0 h 18"/>
                  <a:gd name="T2" fmla="*/ 12 w 24"/>
                  <a:gd name="T3" fmla="*/ 0 h 18"/>
                  <a:gd name="T4" fmla="*/ 9 w 24"/>
                  <a:gd name="T5" fmla="*/ 3 h 18"/>
                  <a:gd name="T6" fmla="*/ 6 w 24"/>
                  <a:gd name="T7" fmla="*/ 3 h 18"/>
                  <a:gd name="T8" fmla="*/ 3 w 24"/>
                  <a:gd name="T9" fmla="*/ 12 h 18"/>
                  <a:gd name="T10" fmla="*/ 0 w 24"/>
                  <a:gd name="T11" fmla="*/ 15 h 18"/>
                  <a:gd name="T12" fmla="*/ 3 w 24"/>
                  <a:gd name="T13" fmla="*/ 18 h 18"/>
                  <a:gd name="T14" fmla="*/ 6 w 24"/>
                  <a:gd name="T15" fmla="*/ 18 h 18"/>
                  <a:gd name="T16" fmla="*/ 12 w 24"/>
                  <a:gd name="T17" fmla="*/ 15 h 18"/>
                  <a:gd name="T18" fmla="*/ 24 w 24"/>
                  <a:gd name="T19" fmla="*/ 12 h 18"/>
                  <a:gd name="T20" fmla="*/ 21 w 24"/>
                  <a:gd name="T21" fmla="*/ 3 h 18"/>
                  <a:gd name="T22" fmla="*/ 18 w 24"/>
                  <a:gd name="T23" fmla="*/ 0 h 18"/>
                  <a:gd name="T24" fmla="*/ 18 w 24"/>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8">
                    <a:moveTo>
                      <a:pt x="18" y="0"/>
                    </a:moveTo>
                    <a:cubicBezTo>
                      <a:pt x="18" y="0"/>
                      <a:pt x="15" y="0"/>
                      <a:pt x="12" y="0"/>
                    </a:cubicBezTo>
                    <a:cubicBezTo>
                      <a:pt x="12" y="3"/>
                      <a:pt x="12" y="3"/>
                      <a:pt x="9" y="3"/>
                    </a:cubicBezTo>
                    <a:cubicBezTo>
                      <a:pt x="6" y="3"/>
                      <a:pt x="6" y="3"/>
                      <a:pt x="6" y="3"/>
                    </a:cubicBezTo>
                    <a:cubicBezTo>
                      <a:pt x="3" y="6"/>
                      <a:pt x="3" y="12"/>
                      <a:pt x="3" y="12"/>
                    </a:cubicBezTo>
                    <a:cubicBezTo>
                      <a:pt x="3" y="12"/>
                      <a:pt x="0" y="12"/>
                      <a:pt x="0" y="15"/>
                    </a:cubicBezTo>
                    <a:cubicBezTo>
                      <a:pt x="3" y="18"/>
                      <a:pt x="3" y="18"/>
                      <a:pt x="3" y="18"/>
                    </a:cubicBezTo>
                    <a:cubicBezTo>
                      <a:pt x="6" y="18"/>
                      <a:pt x="6" y="18"/>
                      <a:pt x="6" y="18"/>
                    </a:cubicBezTo>
                    <a:cubicBezTo>
                      <a:pt x="15" y="18"/>
                      <a:pt x="12" y="15"/>
                      <a:pt x="12" y="15"/>
                    </a:cubicBezTo>
                    <a:cubicBezTo>
                      <a:pt x="12" y="15"/>
                      <a:pt x="21" y="15"/>
                      <a:pt x="24" y="12"/>
                    </a:cubicBezTo>
                    <a:cubicBezTo>
                      <a:pt x="24" y="9"/>
                      <a:pt x="21" y="3"/>
                      <a:pt x="21" y="3"/>
                    </a:cubicBezTo>
                    <a:cubicBezTo>
                      <a:pt x="18" y="0"/>
                      <a:pt x="18" y="0"/>
                      <a:pt x="18" y="0"/>
                    </a:cubicBezTo>
                    <a:cubicBezTo>
                      <a:pt x="18" y="0"/>
                      <a:pt x="18" y="0"/>
                      <a:pt x="18"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4" name="Freeform 658"/>
              <p:cNvSpPr>
                <a:spLocks/>
              </p:cNvSpPr>
              <p:nvPr userDrawn="1"/>
            </p:nvSpPr>
            <p:spPr bwMode="auto">
              <a:xfrm>
                <a:off x="4191" y="-1360"/>
                <a:ext cx="182" cy="246"/>
              </a:xfrm>
              <a:custGeom>
                <a:avLst/>
                <a:gdLst>
                  <a:gd name="T0" fmla="*/ 27 w 117"/>
                  <a:gd name="T1" fmla="*/ 30 h 158"/>
                  <a:gd name="T2" fmla="*/ 33 w 117"/>
                  <a:gd name="T3" fmla="*/ 38 h 158"/>
                  <a:gd name="T4" fmla="*/ 57 w 117"/>
                  <a:gd name="T5" fmla="*/ 44 h 158"/>
                  <a:gd name="T6" fmla="*/ 72 w 117"/>
                  <a:gd name="T7" fmla="*/ 47 h 158"/>
                  <a:gd name="T8" fmla="*/ 75 w 117"/>
                  <a:gd name="T9" fmla="*/ 50 h 158"/>
                  <a:gd name="T10" fmla="*/ 45 w 117"/>
                  <a:gd name="T11" fmla="*/ 80 h 158"/>
                  <a:gd name="T12" fmla="*/ 33 w 117"/>
                  <a:gd name="T13" fmla="*/ 83 h 158"/>
                  <a:gd name="T14" fmla="*/ 18 w 117"/>
                  <a:gd name="T15" fmla="*/ 92 h 158"/>
                  <a:gd name="T16" fmla="*/ 9 w 117"/>
                  <a:gd name="T17" fmla="*/ 92 h 158"/>
                  <a:gd name="T18" fmla="*/ 3 w 117"/>
                  <a:gd name="T19" fmla="*/ 101 h 158"/>
                  <a:gd name="T20" fmla="*/ 0 w 117"/>
                  <a:gd name="T21" fmla="*/ 107 h 158"/>
                  <a:gd name="T22" fmla="*/ 0 w 117"/>
                  <a:gd name="T23" fmla="*/ 149 h 158"/>
                  <a:gd name="T24" fmla="*/ 6 w 117"/>
                  <a:gd name="T25" fmla="*/ 158 h 158"/>
                  <a:gd name="T26" fmla="*/ 30 w 117"/>
                  <a:gd name="T27" fmla="*/ 131 h 158"/>
                  <a:gd name="T28" fmla="*/ 51 w 117"/>
                  <a:gd name="T29" fmla="*/ 116 h 158"/>
                  <a:gd name="T30" fmla="*/ 78 w 117"/>
                  <a:gd name="T31" fmla="*/ 89 h 158"/>
                  <a:gd name="T32" fmla="*/ 90 w 117"/>
                  <a:gd name="T33" fmla="*/ 68 h 158"/>
                  <a:gd name="T34" fmla="*/ 102 w 117"/>
                  <a:gd name="T35" fmla="*/ 50 h 158"/>
                  <a:gd name="T36" fmla="*/ 111 w 117"/>
                  <a:gd name="T37" fmla="*/ 30 h 158"/>
                  <a:gd name="T38" fmla="*/ 117 w 117"/>
                  <a:gd name="T39" fmla="*/ 9 h 158"/>
                  <a:gd name="T40" fmla="*/ 108 w 117"/>
                  <a:gd name="T41" fmla="*/ 6 h 158"/>
                  <a:gd name="T42" fmla="*/ 84 w 117"/>
                  <a:gd name="T43" fmla="*/ 12 h 158"/>
                  <a:gd name="T44" fmla="*/ 66 w 117"/>
                  <a:gd name="T45" fmla="*/ 15 h 158"/>
                  <a:gd name="T46" fmla="*/ 51 w 117"/>
                  <a:gd name="T47" fmla="*/ 18 h 158"/>
                  <a:gd name="T48" fmla="*/ 33 w 117"/>
                  <a:gd name="T49" fmla="*/ 18 h 158"/>
                  <a:gd name="T50" fmla="*/ 27 w 117"/>
                  <a:gd name="T51" fmla="*/ 12 h 158"/>
                  <a:gd name="T52" fmla="*/ 18 w 117"/>
                  <a:gd name="T53" fmla="*/ 21 h 158"/>
                  <a:gd name="T54" fmla="*/ 27 w 117"/>
                  <a:gd name="T55" fmla="*/ 3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 h="158">
                    <a:moveTo>
                      <a:pt x="27" y="30"/>
                    </a:moveTo>
                    <a:cubicBezTo>
                      <a:pt x="27" y="32"/>
                      <a:pt x="33" y="35"/>
                      <a:pt x="33" y="38"/>
                    </a:cubicBezTo>
                    <a:cubicBezTo>
                      <a:pt x="36" y="38"/>
                      <a:pt x="48" y="41"/>
                      <a:pt x="57" y="44"/>
                    </a:cubicBezTo>
                    <a:cubicBezTo>
                      <a:pt x="66" y="47"/>
                      <a:pt x="69" y="47"/>
                      <a:pt x="72" y="47"/>
                    </a:cubicBezTo>
                    <a:cubicBezTo>
                      <a:pt x="75" y="47"/>
                      <a:pt x="78" y="50"/>
                      <a:pt x="75" y="50"/>
                    </a:cubicBezTo>
                    <a:cubicBezTo>
                      <a:pt x="75" y="53"/>
                      <a:pt x="48" y="77"/>
                      <a:pt x="45" y="80"/>
                    </a:cubicBezTo>
                    <a:cubicBezTo>
                      <a:pt x="42" y="83"/>
                      <a:pt x="42" y="83"/>
                      <a:pt x="33" y="83"/>
                    </a:cubicBezTo>
                    <a:cubicBezTo>
                      <a:pt x="27" y="83"/>
                      <a:pt x="21" y="92"/>
                      <a:pt x="18" y="92"/>
                    </a:cubicBezTo>
                    <a:cubicBezTo>
                      <a:pt x="18" y="89"/>
                      <a:pt x="12" y="92"/>
                      <a:pt x="9" y="92"/>
                    </a:cubicBezTo>
                    <a:cubicBezTo>
                      <a:pt x="3" y="101"/>
                      <a:pt x="3" y="101"/>
                      <a:pt x="3" y="101"/>
                    </a:cubicBezTo>
                    <a:cubicBezTo>
                      <a:pt x="0" y="107"/>
                      <a:pt x="0" y="107"/>
                      <a:pt x="0" y="107"/>
                    </a:cubicBezTo>
                    <a:cubicBezTo>
                      <a:pt x="0" y="149"/>
                      <a:pt x="0" y="149"/>
                      <a:pt x="0" y="149"/>
                    </a:cubicBezTo>
                    <a:cubicBezTo>
                      <a:pt x="6" y="158"/>
                      <a:pt x="6" y="158"/>
                      <a:pt x="6" y="158"/>
                    </a:cubicBezTo>
                    <a:cubicBezTo>
                      <a:pt x="9" y="152"/>
                      <a:pt x="21" y="140"/>
                      <a:pt x="30" y="131"/>
                    </a:cubicBezTo>
                    <a:cubicBezTo>
                      <a:pt x="39" y="122"/>
                      <a:pt x="45" y="119"/>
                      <a:pt x="51" y="116"/>
                    </a:cubicBezTo>
                    <a:cubicBezTo>
                      <a:pt x="54" y="113"/>
                      <a:pt x="69" y="101"/>
                      <a:pt x="78" y="89"/>
                    </a:cubicBezTo>
                    <a:cubicBezTo>
                      <a:pt x="84" y="80"/>
                      <a:pt x="90" y="74"/>
                      <a:pt x="90" y="68"/>
                    </a:cubicBezTo>
                    <a:cubicBezTo>
                      <a:pt x="93" y="62"/>
                      <a:pt x="96" y="56"/>
                      <a:pt x="102" y="50"/>
                    </a:cubicBezTo>
                    <a:cubicBezTo>
                      <a:pt x="105" y="44"/>
                      <a:pt x="111" y="32"/>
                      <a:pt x="111" y="30"/>
                    </a:cubicBezTo>
                    <a:cubicBezTo>
                      <a:pt x="111" y="24"/>
                      <a:pt x="114" y="15"/>
                      <a:pt x="117" y="9"/>
                    </a:cubicBezTo>
                    <a:cubicBezTo>
                      <a:pt x="117" y="3"/>
                      <a:pt x="111" y="0"/>
                      <a:pt x="108" y="6"/>
                    </a:cubicBezTo>
                    <a:cubicBezTo>
                      <a:pt x="105" y="9"/>
                      <a:pt x="93" y="12"/>
                      <a:pt x="84" y="12"/>
                    </a:cubicBezTo>
                    <a:cubicBezTo>
                      <a:pt x="75" y="12"/>
                      <a:pt x="69" y="12"/>
                      <a:pt x="66" y="15"/>
                    </a:cubicBezTo>
                    <a:cubicBezTo>
                      <a:pt x="63" y="18"/>
                      <a:pt x="54" y="15"/>
                      <a:pt x="51" y="18"/>
                    </a:cubicBezTo>
                    <a:cubicBezTo>
                      <a:pt x="48" y="21"/>
                      <a:pt x="36" y="24"/>
                      <a:pt x="33" y="18"/>
                    </a:cubicBezTo>
                    <a:cubicBezTo>
                      <a:pt x="30" y="15"/>
                      <a:pt x="27" y="12"/>
                      <a:pt x="27" y="12"/>
                    </a:cubicBezTo>
                    <a:cubicBezTo>
                      <a:pt x="24" y="15"/>
                      <a:pt x="18" y="18"/>
                      <a:pt x="18" y="21"/>
                    </a:cubicBezTo>
                    <a:cubicBezTo>
                      <a:pt x="21" y="24"/>
                      <a:pt x="24" y="30"/>
                      <a:pt x="27"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5" name="Freeform 659"/>
              <p:cNvSpPr>
                <a:spLocks/>
              </p:cNvSpPr>
              <p:nvPr userDrawn="1"/>
            </p:nvSpPr>
            <p:spPr bwMode="auto">
              <a:xfrm>
                <a:off x="4191" y="-1360"/>
                <a:ext cx="182" cy="246"/>
              </a:xfrm>
              <a:custGeom>
                <a:avLst/>
                <a:gdLst>
                  <a:gd name="T0" fmla="*/ 27 w 117"/>
                  <a:gd name="T1" fmla="*/ 30 h 158"/>
                  <a:gd name="T2" fmla="*/ 33 w 117"/>
                  <a:gd name="T3" fmla="*/ 38 h 158"/>
                  <a:gd name="T4" fmla="*/ 57 w 117"/>
                  <a:gd name="T5" fmla="*/ 44 h 158"/>
                  <a:gd name="T6" fmla="*/ 72 w 117"/>
                  <a:gd name="T7" fmla="*/ 47 h 158"/>
                  <a:gd name="T8" fmla="*/ 75 w 117"/>
                  <a:gd name="T9" fmla="*/ 50 h 158"/>
                  <a:gd name="T10" fmla="*/ 45 w 117"/>
                  <a:gd name="T11" fmla="*/ 80 h 158"/>
                  <a:gd name="T12" fmla="*/ 33 w 117"/>
                  <a:gd name="T13" fmla="*/ 83 h 158"/>
                  <a:gd name="T14" fmla="*/ 18 w 117"/>
                  <a:gd name="T15" fmla="*/ 92 h 158"/>
                  <a:gd name="T16" fmla="*/ 9 w 117"/>
                  <a:gd name="T17" fmla="*/ 92 h 158"/>
                  <a:gd name="T18" fmla="*/ 3 w 117"/>
                  <a:gd name="T19" fmla="*/ 101 h 158"/>
                  <a:gd name="T20" fmla="*/ 0 w 117"/>
                  <a:gd name="T21" fmla="*/ 107 h 158"/>
                  <a:gd name="T22" fmla="*/ 0 w 117"/>
                  <a:gd name="T23" fmla="*/ 149 h 158"/>
                  <a:gd name="T24" fmla="*/ 6 w 117"/>
                  <a:gd name="T25" fmla="*/ 158 h 158"/>
                  <a:gd name="T26" fmla="*/ 30 w 117"/>
                  <a:gd name="T27" fmla="*/ 131 h 158"/>
                  <a:gd name="T28" fmla="*/ 51 w 117"/>
                  <a:gd name="T29" fmla="*/ 116 h 158"/>
                  <a:gd name="T30" fmla="*/ 78 w 117"/>
                  <a:gd name="T31" fmla="*/ 89 h 158"/>
                  <a:gd name="T32" fmla="*/ 90 w 117"/>
                  <a:gd name="T33" fmla="*/ 68 h 158"/>
                  <a:gd name="T34" fmla="*/ 102 w 117"/>
                  <a:gd name="T35" fmla="*/ 50 h 158"/>
                  <a:gd name="T36" fmla="*/ 111 w 117"/>
                  <a:gd name="T37" fmla="*/ 30 h 158"/>
                  <a:gd name="T38" fmla="*/ 117 w 117"/>
                  <a:gd name="T39" fmla="*/ 9 h 158"/>
                  <a:gd name="T40" fmla="*/ 108 w 117"/>
                  <a:gd name="T41" fmla="*/ 6 h 158"/>
                  <a:gd name="T42" fmla="*/ 84 w 117"/>
                  <a:gd name="T43" fmla="*/ 12 h 158"/>
                  <a:gd name="T44" fmla="*/ 66 w 117"/>
                  <a:gd name="T45" fmla="*/ 15 h 158"/>
                  <a:gd name="T46" fmla="*/ 51 w 117"/>
                  <a:gd name="T47" fmla="*/ 18 h 158"/>
                  <a:gd name="T48" fmla="*/ 33 w 117"/>
                  <a:gd name="T49" fmla="*/ 18 h 158"/>
                  <a:gd name="T50" fmla="*/ 27 w 117"/>
                  <a:gd name="T51" fmla="*/ 12 h 158"/>
                  <a:gd name="T52" fmla="*/ 18 w 117"/>
                  <a:gd name="T53" fmla="*/ 21 h 158"/>
                  <a:gd name="T54" fmla="*/ 27 w 117"/>
                  <a:gd name="T55" fmla="*/ 3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 h="158">
                    <a:moveTo>
                      <a:pt x="27" y="30"/>
                    </a:moveTo>
                    <a:cubicBezTo>
                      <a:pt x="27" y="32"/>
                      <a:pt x="33" y="35"/>
                      <a:pt x="33" y="38"/>
                    </a:cubicBezTo>
                    <a:cubicBezTo>
                      <a:pt x="36" y="38"/>
                      <a:pt x="48" y="41"/>
                      <a:pt x="57" y="44"/>
                    </a:cubicBezTo>
                    <a:cubicBezTo>
                      <a:pt x="66" y="47"/>
                      <a:pt x="69" y="47"/>
                      <a:pt x="72" y="47"/>
                    </a:cubicBezTo>
                    <a:cubicBezTo>
                      <a:pt x="75" y="47"/>
                      <a:pt x="78" y="50"/>
                      <a:pt x="75" y="50"/>
                    </a:cubicBezTo>
                    <a:cubicBezTo>
                      <a:pt x="75" y="53"/>
                      <a:pt x="48" y="77"/>
                      <a:pt x="45" y="80"/>
                    </a:cubicBezTo>
                    <a:cubicBezTo>
                      <a:pt x="42" y="83"/>
                      <a:pt x="42" y="83"/>
                      <a:pt x="33" y="83"/>
                    </a:cubicBezTo>
                    <a:cubicBezTo>
                      <a:pt x="27" y="83"/>
                      <a:pt x="21" y="92"/>
                      <a:pt x="18" y="92"/>
                    </a:cubicBezTo>
                    <a:cubicBezTo>
                      <a:pt x="18" y="89"/>
                      <a:pt x="12" y="92"/>
                      <a:pt x="9" y="92"/>
                    </a:cubicBezTo>
                    <a:cubicBezTo>
                      <a:pt x="3" y="101"/>
                      <a:pt x="3" y="101"/>
                      <a:pt x="3" y="101"/>
                    </a:cubicBezTo>
                    <a:cubicBezTo>
                      <a:pt x="0" y="107"/>
                      <a:pt x="0" y="107"/>
                      <a:pt x="0" y="107"/>
                    </a:cubicBezTo>
                    <a:cubicBezTo>
                      <a:pt x="0" y="149"/>
                      <a:pt x="0" y="149"/>
                      <a:pt x="0" y="149"/>
                    </a:cubicBezTo>
                    <a:cubicBezTo>
                      <a:pt x="6" y="158"/>
                      <a:pt x="6" y="158"/>
                      <a:pt x="6" y="158"/>
                    </a:cubicBezTo>
                    <a:cubicBezTo>
                      <a:pt x="9" y="152"/>
                      <a:pt x="21" y="140"/>
                      <a:pt x="30" y="131"/>
                    </a:cubicBezTo>
                    <a:cubicBezTo>
                      <a:pt x="39" y="122"/>
                      <a:pt x="45" y="119"/>
                      <a:pt x="51" y="116"/>
                    </a:cubicBezTo>
                    <a:cubicBezTo>
                      <a:pt x="54" y="113"/>
                      <a:pt x="69" y="101"/>
                      <a:pt x="78" y="89"/>
                    </a:cubicBezTo>
                    <a:cubicBezTo>
                      <a:pt x="84" y="80"/>
                      <a:pt x="90" y="74"/>
                      <a:pt x="90" y="68"/>
                    </a:cubicBezTo>
                    <a:cubicBezTo>
                      <a:pt x="93" y="62"/>
                      <a:pt x="96" y="56"/>
                      <a:pt x="102" y="50"/>
                    </a:cubicBezTo>
                    <a:cubicBezTo>
                      <a:pt x="105" y="44"/>
                      <a:pt x="111" y="32"/>
                      <a:pt x="111" y="30"/>
                    </a:cubicBezTo>
                    <a:cubicBezTo>
                      <a:pt x="111" y="24"/>
                      <a:pt x="114" y="15"/>
                      <a:pt x="117" y="9"/>
                    </a:cubicBezTo>
                    <a:cubicBezTo>
                      <a:pt x="117" y="3"/>
                      <a:pt x="111" y="0"/>
                      <a:pt x="108" y="6"/>
                    </a:cubicBezTo>
                    <a:cubicBezTo>
                      <a:pt x="105" y="9"/>
                      <a:pt x="93" y="12"/>
                      <a:pt x="84" y="12"/>
                    </a:cubicBezTo>
                    <a:cubicBezTo>
                      <a:pt x="75" y="12"/>
                      <a:pt x="69" y="12"/>
                      <a:pt x="66" y="15"/>
                    </a:cubicBezTo>
                    <a:cubicBezTo>
                      <a:pt x="63" y="18"/>
                      <a:pt x="54" y="15"/>
                      <a:pt x="51" y="18"/>
                    </a:cubicBezTo>
                    <a:cubicBezTo>
                      <a:pt x="48" y="21"/>
                      <a:pt x="36" y="24"/>
                      <a:pt x="33" y="18"/>
                    </a:cubicBezTo>
                    <a:cubicBezTo>
                      <a:pt x="30" y="15"/>
                      <a:pt x="27" y="12"/>
                      <a:pt x="27" y="12"/>
                    </a:cubicBezTo>
                    <a:cubicBezTo>
                      <a:pt x="24" y="15"/>
                      <a:pt x="18" y="18"/>
                      <a:pt x="18" y="21"/>
                    </a:cubicBezTo>
                    <a:cubicBezTo>
                      <a:pt x="21" y="24"/>
                      <a:pt x="24" y="30"/>
                      <a:pt x="27"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6" name="Freeform 660"/>
              <p:cNvSpPr>
                <a:spLocks/>
              </p:cNvSpPr>
              <p:nvPr userDrawn="1"/>
            </p:nvSpPr>
            <p:spPr bwMode="auto">
              <a:xfrm>
                <a:off x="3251" y="-1647"/>
                <a:ext cx="79" cy="9"/>
              </a:xfrm>
              <a:custGeom>
                <a:avLst/>
                <a:gdLst>
                  <a:gd name="T0" fmla="*/ 0 w 51"/>
                  <a:gd name="T1" fmla="*/ 0 h 6"/>
                  <a:gd name="T2" fmla="*/ 42 w 51"/>
                  <a:gd name="T3" fmla="*/ 0 h 6"/>
                  <a:gd name="T4" fmla="*/ 51 w 51"/>
                  <a:gd name="T5" fmla="*/ 6 h 6"/>
                </a:gdLst>
                <a:ahLst/>
                <a:cxnLst>
                  <a:cxn ang="0">
                    <a:pos x="T0" y="T1"/>
                  </a:cxn>
                  <a:cxn ang="0">
                    <a:pos x="T2" y="T3"/>
                  </a:cxn>
                  <a:cxn ang="0">
                    <a:pos x="T4" y="T5"/>
                  </a:cxn>
                </a:cxnLst>
                <a:rect l="0" t="0" r="r" b="b"/>
                <a:pathLst>
                  <a:path w="51" h="6">
                    <a:moveTo>
                      <a:pt x="0" y="0"/>
                    </a:moveTo>
                    <a:cubicBezTo>
                      <a:pt x="15" y="0"/>
                      <a:pt x="36" y="0"/>
                      <a:pt x="42" y="0"/>
                    </a:cubicBezTo>
                    <a:cubicBezTo>
                      <a:pt x="51" y="0"/>
                      <a:pt x="48" y="3"/>
                      <a:pt x="51"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7" name="Freeform 661"/>
              <p:cNvSpPr>
                <a:spLocks/>
              </p:cNvSpPr>
              <p:nvPr userDrawn="1"/>
            </p:nvSpPr>
            <p:spPr bwMode="auto">
              <a:xfrm>
                <a:off x="3251" y="-1647"/>
                <a:ext cx="79" cy="9"/>
              </a:xfrm>
              <a:custGeom>
                <a:avLst/>
                <a:gdLst>
                  <a:gd name="T0" fmla="*/ 0 w 51"/>
                  <a:gd name="T1" fmla="*/ 0 h 6"/>
                  <a:gd name="T2" fmla="*/ 42 w 51"/>
                  <a:gd name="T3" fmla="*/ 0 h 6"/>
                  <a:gd name="T4" fmla="*/ 51 w 51"/>
                  <a:gd name="T5" fmla="*/ 6 h 6"/>
                </a:gdLst>
                <a:ahLst/>
                <a:cxnLst>
                  <a:cxn ang="0">
                    <a:pos x="T0" y="T1"/>
                  </a:cxn>
                  <a:cxn ang="0">
                    <a:pos x="T2" y="T3"/>
                  </a:cxn>
                  <a:cxn ang="0">
                    <a:pos x="T4" y="T5"/>
                  </a:cxn>
                </a:cxnLst>
                <a:rect l="0" t="0" r="r" b="b"/>
                <a:pathLst>
                  <a:path w="51" h="6">
                    <a:moveTo>
                      <a:pt x="0" y="0"/>
                    </a:moveTo>
                    <a:cubicBezTo>
                      <a:pt x="15" y="0"/>
                      <a:pt x="36" y="0"/>
                      <a:pt x="42" y="0"/>
                    </a:cubicBezTo>
                    <a:cubicBezTo>
                      <a:pt x="51" y="0"/>
                      <a:pt x="48" y="3"/>
                      <a:pt x="51" y="6"/>
                    </a:cubicBezTo>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8" name="Freeform 662"/>
              <p:cNvSpPr>
                <a:spLocks/>
              </p:cNvSpPr>
              <p:nvPr userDrawn="1"/>
            </p:nvSpPr>
            <p:spPr bwMode="auto">
              <a:xfrm>
                <a:off x="3251" y="-1647"/>
                <a:ext cx="79" cy="9"/>
              </a:xfrm>
              <a:custGeom>
                <a:avLst/>
                <a:gdLst>
                  <a:gd name="T0" fmla="*/ 0 w 51"/>
                  <a:gd name="T1" fmla="*/ 0 h 6"/>
                  <a:gd name="T2" fmla="*/ 42 w 51"/>
                  <a:gd name="T3" fmla="*/ 0 h 6"/>
                  <a:gd name="T4" fmla="*/ 51 w 51"/>
                  <a:gd name="T5" fmla="*/ 6 h 6"/>
                </a:gdLst>
                <a:ahLst/>
                <a:cxnLst>
                  <a:cxn ang="0">
                    <a:pos x="T0" y="T1"/>
                  </a:cxn>
                  <a:cxn ang="0">
                    <a:pos x="T2" y="T3"/>
                  </a:cxn>
                  <a:cxn ang="0">
                    <a:pos x="T4" y="T5"/>
                  </a:cxn>
                </a:cxnLst>
                <a:rect l="0" t="0" r="r" b="b"/>
                <a:pathLst>
                  <a:path w="51" h="6">
                    <a:moveTo>
                      <a:pt x="0" y="0"/>
                    </a:moveTo>
                    <a:cubicBezTo>
                      <a:pt x="15" y="0"/>
                      <a:pt x="36" y="0"/>
                      <a:pt x="42" y="0"/>
                    </a:cubicBezTo>
                    <a:cubicBezTo>
                      <a:pt x="51" y="0"/>
                      <a:pt x="48" y="3"/>
                      <a:pt x="51"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89" name="Freeform 663"/>
              <p:cNvSpPr>
                <a:spLocks/>
              </p:cNvSpPr>
              <p:nvPr userDrawn="1"/>
            </p:nvSpPr>
            <p:spPr bwMode="auto">
              <a:xfrm>
                <a:off x="3251" y="-1647"/>
                <a:ext cx="79" cy="9"/>
              </a:xfrm>
              <a:custGeom>
                <a:avLst/>
                <a:gdLst>
                  <a:gd name="T0" fmla="*/ 0 w 51"/>
                  <a:gd name="T1" fmla="*/ 0 h 6"/>
                  <a:gd name="T2" fmla="*/ 42 w 51"/>
                  <a:gd name="T3" fmla="*/ 0 h 6"/>
                  <a:gd name="T4" fmla="*/ 51 w 51"/>
                  <a:gd name="T5" fmla="*/ 6 h 6"/>
                </a:gdLst>
                <a:ahLst/>
                <a:cxnLst>
                  <a:cxn ang="0">
                    <a:pos x="T0" y="T1"/>
                  </a:cxn>
                  <a:cxn ang="0">
                    <a:pos x="T2" y="T3"/>
                  </a:cxn>
                  <a:cxn ang="0">
                    <a:pos x="T4" y="T5"/>
                  </a:cxn>
                </a:cxnLst>
                <a:rect l="0" t="0" r="r" b="b"/>
                <a:pathLst>
                  <a:path w="51" h="6">
                    <a:moveTo>
                      <a:pt x="0" y="0"/>
                    </a:moveTo>
                    <a:cubicBezTo>
                      <a:pt x="15" y="0"/>
                      <a:pt x="36" y="0"/>
                      <a:pt x="42" y="0"/>
                    </a:cubicBezTo>
                    <a:cubicBezTo>
                      <a:pt x="51" y="0"/>
                      <a:pt x="48" y="3"/>
                      <a:pt x="51"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0" name="Freeform 664"/>
              <p:cNvSpPr>
                <a:spLocks/>
              </p:cNvSpPr>
              <p:nvPr userDrawn="1"/>
            </p:nvSpPr>
            <p:spPr bwMode="auto">
              <a:xfrm>
                <a:off x="3251" y="-1806"/>
                <a:ext cx="210" cy="168"/>
              </a:xfrm>
              <a:custGeom>
                <a:avLst/>
                <a:gdLst>
                  <a:gd name="T0" fmla="*/ 51 w 135"/>
                  <a:gd name="T1" fmla="*/ 108 h 108"/>
                  <a:gd name="T2" fmla="*/ 51 w 135"/>
                  <a:gd name="T3" fmla="*/ 93 h 108"/>
                  <a:gd name="T4" fmla="*/ 69 w 135"/>
                  <a:gd name="T5" fmla="*/ 81 h 108"/>
                  <a:gd name="T6" fmla="*/ 75 w 135"/>
                  <a:gd name="T7" fmla="*/ 78 h 108"/>
                  <a:gd name="T8" fmla="*/ 84 w 135"/>
                  <a:gd name="T9" fmla="*/ 75 h 108"/>
                  <a:gd name="T10" fmla="*/ 90 w 135"/>
                  <a:gd name="T11" fmla="*/ 69 h 108"/>
                  <a:gd name="T12" fmla="*/ 99 w 135"/>
                  <a:gd name="T13" fmla="*/ 66 h 108"/>
                  <a:gd name="T14" fmla="*/ 105 w 135"/>
                  <a:gd name="T15" fmla="*/ 63 h 108"/>
                  <a:gd name="T16" fmla="*/ 105 w 135"/>
                  <a:gd name="T17" fmla="*/ 57 h 108"/>
                  <a:gd name="T18" fmla="*/ 111 w 135"/>
                  <a:gd name="T19" fmla="*/ 54 h 108"/>
                  <a:gd name="T20" fmla="*/ 117 w 135"/>
                  <a:gd name="T21" fmla="*/ 48 h 108"/>
                  <a:gd name="T22" fmla="*/ 132 w 135"/>
                  <a:gd name="T23" fmla="*/ 48 h 108"/>
                  <a:gd name="T24" fmla="*/ 135 w 135"/>
                  <a:gd name="T25" fmla="*/ 45 h 108"/>
                  <a:gd name="T26" fmla="*/ 132 w 135"/>
                  <a:gd name="T27" fmla="*/ 36 h 108"/>
                  <a:gd name="T28" fmla="*/ 129 w 135"/>
                  <a:gd name="T29" fmla="*/ 27 h 108"/>
                  <a:gd name="T30" fmla="*/ 126 w 135"/>
                  <a:gd name="T31" fmla="*/ 15 h 108"/>
                  <a:gd name="T32" fmla="*/ 126 w 135"/>
                  <a:gd name="T33" fmla="*/ 9 h 108"/>
                  <a:gd name="T34" fmla="*/ 111 w 135"/>
                  <a:gd name="T35" fmla="*/ 6 h 108"/>
                  <a:gd name="T36" fmla="*/ 93 w 135"/>
                  <a:gd name="T37" fmla="*/ 6 h 108"/>
                  <a:gd name="T38" fmla="*/ 81 w 135"/>
                  <a:gd name="T39" fmla="*/ 0 h 108"/>
                  <a:gd name="T40" fmla="*/ 69 w 135"/>
                  <a:gd name="T41" fmla="*/ 24 h 108"/>
                  <a:gd name="T42" fmla="*/ 54 w 135"/>
                  <a:gd name="T43" fmla="*/ 33 h 108"/>
                  <a:gd name="T44" fmla="*/ 45 w 135"/>
                  <a:gd name="T45" fmla="*/ 42 h 108"/>
                  <a:gd name="T46" fmla="*/ 39 w 135"/>
                  <a:gd name="T47" fmla="*/ 51 h 108"/>
                  <a:gd name="T48" fmla="*/ 39 w 135"/>
                  <a:gd name="T49" fmla="*/ 69 h 108"/>
                  <a:gd name="T50" fmla="*/ 24 w 135"/>
                  <a:gd name="T51" fmla="*/ 87 h 108"/>
                  <a:gd name="T52" fmla="*/ 9 w 135"/>
                  <a:gd name="T53" fmla="*/ 99 h 108"/>
                  <a:gd name="T54" fmla="*/ 0 w 135"/>
                  <a:gd name="T5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5" h="108">
                    <a:moveTo>
                      <a:pt x="51" y="108"/>
                    </a:moveTo>
                    <a:cubicBezTo>
                      <a:pt x="51" y="99"/>
                      <a:pt x="48" y="93"/>
                      <a:pt x="51" y="93"/>
                    </a:cubicBezTo>
                    <a:cubicBezTo>
                      <a:pt x="51" y="90"/>
                      <a:pt x="66" y="81"/>
                      <a:pt x="69" y="81"/>
                    </a:cubicBezTo>
                    <a:cubicBezTo>
                      <a:pt x="69" y="78"/>
                      <a:pt x="75" y="81"/>
                      <a:pt x="75" y="78"/>
                    </a:cubicBezTo>
                    <a:cubicBezTo>
                      <a:pt x="75" y="75"/>
                      <a:pt x="81" y="75"/>
                      <a:pt x="84" y="75"/>
                    </a:cubicBezTo>
                    <a:cubicBezTo>
                      <a:pt x="90" y="75"/>
                      <a:pt x="90" y="72"/>
                      <a:pt x="90" y="69"/>
                    </a:cubicBezTo>
                    <a:cubicBezTo>
                      <a:pt x="90" y="66"/>
                      <a:pt x="96" y="66"/>
                      <a:pt x="99" y="66"/>
                    </a:cubicBezTo>
                    <a:cubicBezTo>
                      <a:pt x="102" y="66"/>
                      <a:pt x="102" y="63"/>
                      <a:pt x="105" y="63"/>
                    </a:cubicBezTo>
                    <a:cubicBezTo>
                      <a:pt x="108" y="63"/>
                      <a:pt x="105" y="60"/>
                      <a:pt x="105" y="57"/>
                    </a:cubicBezTo>
                    <a:cubicBezTo>
                      <a:pt x="105" y="51"/>
                      <a:pt x="105" y="54"/>
                      <a:pt x="111" y="54"/>
                    </a:cubicBezTo>
                    <a:cubicBezTo>
                      <a:pt x="114" y="54"/>
                      <a:pt x="117" y="51"/>
                      <a:pt x="117" y="48"/>
                    </a:cubicBezTo>
                    <a:cubicBezTo>
                      <a:pt x="132" y="48"/>
                      <a:pt x="132" y="48"/>
                      <a:pt x="132" y="48"/>
                    </a:cubicBezTo>
                    <a:cubicBezTo>
                      <a:pt x="135" y="48"/>
                      <a:pt x="135" y="45"/>
                      <a:pt x="135" y="45"/>
                    </a:cubicBezTo>
                    <a:cubicBezTo>
                      <a:pt x="135" y="42"/>
                      <a:pt x="132" y="36"/>
                      <a:pt x="132" y="36"/>
                    </a:cubicBezTo>
                    <a:cubicBezTo>
                      <a:pt x="129" y="36"/>
                      <a:pt x="129" y="30"/>
                      <a:pt x="129" y="27"/>
                    </a:cubicBezTo>
                    <a:cubicBezTo>
                      <a:pt x="129" y="21"/>
                      <a:pt x="129" y="18"/>
                      <a:pt x="126" y="15"/>
                    </a:cubicBezTo>
                    <a:cubicBezTo>
                      <a:pt x="126" y="12"/>
                      <a:pt x="126" y="12"/>
                      <a:pt x="126" y="9"/>
                    </a:cubicBezTo>
                    <a:cubicBezTo>
                      <a:pt x="120" y="9"/>
                      <a:pt x="117" y="6"/>
                      <a:pt x="111" y="6"/>
                    </a:cubicBezTo>
                    <a:cubicBezTo>
                      <a:pt x="105" y="6"/>
                      <a:pt x="96" y="9"/>
                      <a:pt x="93" y="6"/>
                    </a:cubicBezTo>
                    <a:cubicBezTo>
                      <a:pt x="87" y="0"/>
                      <a:pt x="84" y="0"/>
                      <a:pt x="81" y="0"/>
                    </a:cubicBezTo>
                    <a:cubicBezTo>
                      <a:pt x="78" y="3"/>
                      <a:pt x="72" y="18"/>
                      <a:pt x="69" y="24"/>
                    </a:cubicBezTo>
                    <a:cubicBezTo>
                      <a:pt x="66" y="27"/>
                      <a:pt x="57" y="33"/>
                      <a:pt x="54" y="33"/>
                    </a:cubicBezTo>
                    <a:cubicBezTo>
                      <a:pt x="48" y="33"/>
                      <a:pt x="48" y="39"/>
                      <a:pt x="45" y="42"/>
                    </a:cubicBezTo>
                    <a:cubicBezTo>
                      <a:pt x="42" y="45"/>
                      <a:pt x="42" y="48"/>
                      <a:pt x="39" y="51"/>
                    </a:cubicBezTo>
                    <a:cubicBezTo>
                      <a:pt x="33" y="54"/>
                      <a:pt x="36" y="66"/>
                      <a:pt x="39" y="69"/>
                    </a:cubicBezTo>
                    <a:cubicBezTo>
                      <a:pt x="39" y="72"/>
                      <a:pt x="30" y="84"/>
                      <a:pt x="24" y="87"/>
                    </a:cubicBezTo>
                    <a:cubicBezTo>
                      <a:pt x="18" y="90"/>
                      <a:pt x="18" y="96"/>
                      <a:pt x="9" y="99"/>
                    </a:cubicBezTo>
                    <a:cubicBezTo>
                      <a:pt x="6" y="99"/>
                      <a:pt x="3" y="102"/>
                      <a:pt x="0" y="102"/>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1" name="Freeform 665"/>
              <p:cNvSpPr>
                <a:spLocks/>
              </p:cNvSpPr>
              <p:nvPr userDrawn="1"/>
            </p:nvSpPr>
            <p:spPr bwMode="auto">
              <a:xfrm>
                <a:off x="3251" y="-1806"/>
                <a:ext cx="210" cy="168"/>
              </a:xfrm>
              <a:custGeom>
                <a:avLst/>
                <a:gdLst>
                  <a:gd name="T0" fmla="*/ 51 w 135"/>
                  <a:gd name="T1" fmla="*/ 108 h 108"/>
                  <a:gd name="T2" fmla="*/ 51 w 135"/>
                  <a:gd name="T3" fmla="*/ 93 h 108"/>
                  <a:gd name="T4" fmla="*/ 69 w 135"/>
                  <a:gd name="T5" fmla="*/ 81 h 108"/>
                  <a:gd name="T6" fmla="*/ 75 w 135"/>
                  <a:gd name="T7" fmla="*/ 78 h 108"/>
                  <a:gd name="T8" fmla="*/ 84 w 135"/>
                  <a:gd name="T9" fmla="*/ 75 h 108"/>
                  <a:gd name="T10" fmla="*/ 90 w 135"/>
                  <a:gd name="T11" fmla="*/ 69 h 108"/>
                  <a:gd name="T12" fmla="*/ 99 w 135"/>
                  <a:gd name="T13" fmla="*/ 66 h 108"/>
                  <a:gd name="T14" fmla="*/ 105 w 135"/>
                  <a:gd name="T15" fmla="*/ 63 h 108"/>
                  <a:gd name="T16" fmla="*/ 105 w 135"/>
                  <a:gd name="T17" fmla="*/ 57 h 108"/>
                  <a:gd name="T18" fmla="*/ 111 w 135"/>
                  <a:gd name="T19" fmla="*/ 54 h 108"/>
                  <a:gd name="T20" fmla="*/ 117 w 135"/>
                  <a:gd name="T21" fmla="*/ 48 h 108"/>
                  <a:gd name="T22" fmla="*/ 132 w 135"/>
                  <a:gd name="T23" fmla="*/ 48 h 108"/>
                  <a:gd name="T24" fmla="*/ 135 w 135"/>
                  <a:gd name="T25" fmla="*/ 45 h 108"/>
                  <a:gd name="T26" fmla="*/ 132 w 135"/>
                  <a:gd name="T27" fmla="*/ 36 h 108"/>
                  <a:gd name="T28" fmla="*/ 129 w 135"/>
                  <a:gd name="T29" fmla="*/ 27 h 108"/>
                  <a:gd name="T30" fmla="*/ 126 w 135"/>
                  <a:gd name="T31" fmla="*/ 15 h 108"/>
                  <a:gd name="T32" fmla="*/ 126 w 135"/>
                  <a:gd name="T33" fmla="*/ 9 h 108"/>
                  <a:gd name="T34" fmla="*/ 111 w 135"/>
                  <a:gd name="T35" fmla="*/ 6 h 108"/>
                  <a:gd name="T36" fmla="*/ 93 w 135"/>
                  <a:gd name="T37" fmla="*/ 6 h 108"/>
                  <a:gd name="T38" fmla="*/ 81 w 135"/>
                  <a:gd name="T39" fmla="*/ 0 h 108"/>
                  <a:gd name="T40" fmla="*/ 69 w 135"/>
                  <a:gd name="T41" fmla="*/ 24 h 108"/>
                  <a:gd name="T42" fmla="*/ 54 w 135"/>
                  <a:gd name="T43" fmla="*/ 33 h 108"/>
                  <a:gd name="T44" fmla="*/ 45 w 135"/>
                  <a:gd name="T45" fmla="*/ 42 h 108"/>
                  <a:gd name="T46" fmla="*/ 39 w 135"/>
                  <a:gd name="T47" fmla="*/ 51 h 108"/>
                  <a:gd name="T48" fmla="*/ 39 w 135"/>
                  <a:gd name="T49" fmla="*/ 69 h 108"/>
                  <a:gd name="T50" fmla="*/ 24 w 135"/>
                  <a:gd name="T51" fmla="*/ 87 h 108"/>
                  <a:gd name="T52" fmla="*/ 9 w 135"/>
                  <a:gd name="T53" fmla="*/ 99 h 108"/>
                  <a:gd name="T54" fmla="*/ 0 w 135"/>
                  <a:gd name="T5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5" h="108">
                    <a:moveTo>
                      <a:pt x="51" y="108"/>
                    </a:moveTo>
                    <a:cubicBezTo>
                      <a:pt x="51" y="99"/>
                      <a:pt x="48" y="93"/>
                      <a:pt x="51" y="93"/>
                    </a:cubicBezTo>
                    <a:cubicBezTo>
                      <a:pt x="51" y="90"/>
                      <a:pt x="66" y="81"/>
                      <a:pt x="69" y="81"/>
                    </a:cubicBezTo>
                    <a:cubicBezTo>
                      <a:pt x="69" y="78"/>
                      <a:pt x="75" y="81"/>
                      <a:pt x="75" y="78"/>
                    </a:cubicBezTo>
                    <a:cubicBezTo>
                      <a:pt x="75" y="75"/>
                      <a:pt x="81" y="75"/>
                      <a:pt x="84" y="75"/>
                    </a:cubicBezTo>
                    <a:cubicBezTo>
                      <a:pt x="90" y="75"/>
                      <a:pt x="90" y="72"/>
                      <a:pt x="90" y="69"/>
                    </a:cubicBezTo>
                    <a:cubicBezTo>
                      <a:pt x="90" y="66"/>
                      <a:pt x="96" y="66"/>
                      <a:pt x="99" y="66"/>
                    </a:cubicBezTo>
                    <a:cubicBezTo>
                      <a:pt x="102" y="66"/>
                      <a:pt x="102" y="63"/>
                      <a:pt x="105" y="63"/>
                    </a:cubicBezTo>
                    <a:cubicBezTo>
                      <a:pt x="108" y="63"/>
                      <a:pt x="105" y="60"/>
                      <a:pt x="105" y="57"/>
                    </a:cubicBezTo>
                    <a:cubicBezTo>
                      <a:pt x="105" y="51"/>
                      <a:pt x="105" y="54"/>
                      <a:pt x="111" y="54"/>
                    </a:cubicBezTo>
                    <a:cubicBezTo>
                      <a:pt x="114" y="54"/>
                      <a:pt x="117" y="51"/>
                      <a:pt x="117" y="48"/>
                    </a:cubicBezTo>
                    <a:cubicBezTo>
                      <a:pt x="132" y="48"/>
                      <a:pt x="132" y="48"/>
                      <a:pt x="132" y="48"/>
                    </a:cubicBezTo>
                    <a:cubicBezTo>
                      <a:pt x="135" y="48"/>
                      <a:pt x="135" y="45"/>
                      <a:pt x="135" y="45"/>
                    </a:cubicBezTo>
                    <a:cubicBezTo>
                      <a:pt x="135" y="42"/>
                      <a:pt x="132" y="36"/>
                      <a:pt x="132" y="36"/>
                    </a:cubicBezTo>
                    <a:cubicBezTo>
                      <a:pt x="129" y="36"/>
                      <a:pt x="129" y="30"/>
                      <a:pt x="129" y="27"/>
                    </a:cubicBezTo>
                    <a:cubicBezTo>
                      <a:pt x="129" y="21"/>
                      <a:pt x="129" y="18"/>
                      <a:pt x="126" y="15"/>
                    </a:cubicBezTo>
                    <a:cubicBezTo>
                      <a:pt x="126" y="12"/>
                      <a:pt x="126" y="12"/>
                      <a:pt x="126" y="9"/>
                    </a:cubicBezTo>
                    <a:cubicBezTo>
                      <a:pt x="120" y="9"/>
                      <a:pt x="117" y="6"/>
                      <a:pt x="111" y="6"/>
                    </a:cubicBezTo>
                    <a:cubicBezTo>
                      <a:pt x="105" y="6"/>
                      <a:pt x="96" y="9"/>
                      <a:pt x="93" y="6"/>
                    </a:cubicBezTo>
                    <a:cubicBezTo>
                      <a:pt x="87" y="0"/>
                      <a:pt x="84" y="0"/>
                      <a:pt x="81" y="0"/>
                    </a:cubicBezTo>
                    <a:cubicBezTo>
                      <a:pt x="78" y="3"/>
                      <a:pt x="72" y="18"/>
                      <a:pt x="69" y="24"/>
                    </a:cubicBezTo>
                    <a:cubicBezTo>
                      <a:pt x="66" y="27"/>
                      <a:pt x="57" y="33"/>
                      <a:pt x="54" y="33"/>
                    </a:cubicBezTo>
                    <a:cubicBezTo>
                      <a:pt x="48" y="33"/>
                      <a:pt x="48" y="39"/>
                      <a:pt x="45" y="42"/>
                    </a:cubicBezTo>
                    <a:cubicBezTo>
                      <a:pt x="42" y="45"/>
                      <a:pt x="42" y="48"/>
                      <a:pt x="39" y="51"/>
                    </a:cubicBezTo>
                    <a:cubicBezTo>
                      <a:pt x="33" y="54"/>
                      <a:pt x="36" y="66"/>
                      <a:pt x="39" y="69"/>
                    </a:cubicBezTo>
                    <a:cubicBezTo>
                      <a:pt x="39" y="72"/>
                      <a:pt x="30" y="84"/>
                      <a:pt x="24" y="87"/>
                    </a:cubicBezTo>
                    <a:cubicBezTo>
                      <a:pt x="18" y="90"/>
                      <a:pt x="18" y="96"/>
                      <a:pt x="9" y="99"/>
                    </a:cubicBezTo>
                    <a:cubicBezTo>
                      <a:pt x="6" y="99"/>
                      <a:pt x="3" y="102"/>
                      <a:pt x="0" y="102"/>
                    </a:cubicBezTo>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2" name="Freeform 666"/>
              <p:cNvSpPr>
                <a:spLocks/>
              </p:cNvSpPr>
              <p:nvPr userDrawn="1"/>
            </p:nvSpPr>
            <p:spPr bwMode="auto">
              <a:xfrm>
                <a:off x="3251" y="-1806"/>
                <a:ext cx="210" cy="168"/>
              </a:xfrm>
              <a:custGeom>
                <a:avLst/>
                <a:gdLst>
                  <a:gd name="T0" fmla="*/ 51 w 135"/>
                  <a:gd name="T1" fmla="*/ 108 h 108"/>
                  <a:gd name="T2" fmla="*/ 51 w 135"/>
                  <a:gd name="T3" fmla="*/ 93 h 108"/>
                  <a:gd name="T4" fmla="*/ 69 w 135"/>
                  <a:gd name="T5" fmla="*/ 81 h 108"/>
                  <a:gd name="T6" fmla="*/ 75 w 135"/>
                  <a:gd name="T7" fmla="*/ 78 h 108"/>
                  <a:gd name="T8" fmla="*/ 84 w 135"/>
                  <a:gd name="T9" fmla="*/ 75 h 108"/>
                  <a:gd name="T10" fmla="*/ 90 w 135"/>
                  <a:gd name="T11" fmla="*/ 69 h 108"/>
                  <a:gd name="T12" fmla="*/ 99 w 135"/>
                  <a:gd name="T13" fmla="*/ 66 h 108"/>
                  <a:gd name="T14" fmla="*/ 105 w 135"/>
                  <a:gd name="T15" fmla="*/ 63 h 108"/>
                  <a:gd name="T16" fmla="*/ 105 w 135"/>
                  <a:gd name="T17" fmla="*/ 57 h 108"/>
                  <a:gd name="T18" fmla="*/ 111 w 135"/>
                  <a:gd name="T19" fmla="*/ 54 h 108"/>
                  <a:gd name="T20" fmla="*/ 117 w 135"/>
                  <a:gd name="T21" fmla="*/ 48 h 108"/>
                  <a:gd name="T22" fmla="*/ 132 w 135"/>
                  <a:gd name="T23" fmla="*/ 48 h 108"/>
                  <a:gd name="T24" fmla="*/ 135 w 135"/>
                  <a:gd name="T25" fmla="*/ 45 h 108"/>
                  <a:gd name="T26" fmla="*/ 132 w 135"/>
                  <a:gd name="T27" fmla="*/ 36 h 108"/>
                  <a:gd name="T28" fmla="*/ 129 w 135"/>
                  <a:gd name="T29" fmla="*/ 27 h 108"/>
                  <a:gd name="T30" fmla="*/ 126 w 135"/>
                  <a:gd name="T31" fmla="*/ 15 h 108"/>
                  <a:gd name="T32" fmla="*/ 126 w 135"/>
                  <a:gd name="T33" fmla="*/ 9 h 108"/>
                  <a:gd name="T34" fmla="*/ 111 w 135"/>
                  <a:gd name="T35" fmla="*/ 6 h 108"/>
                  <a:gd name="T36" fmla="*/ 93 w 135"/>
                  <a:gd name="T37" fmla="*/ 6 h 108"/>
                  <a:gd name="T38" fmla="*/ 81 w 135"/>
                  <a:gd name="T39" fmla="*/ 0 h 108"/>
                  <a:gd name="T40" fmla="*/ 69 w 135"/>
                  <a:gd name="T41" fmla="*/ 24 h 108"/>
                  <a:gd name="T42" fmla="*/ 54 w 135"/>
                  <a:gd name="T43" fmla="*/ 33 h 108"/>
                  <a:gd name="T44" fmla="*/ 45 w 135"/>
                  <a:gd name="T45" fmla="*/ 42 h 108"/>
                  <a:gd name="T46" fmla="*/ 39 w 135"/>
                  <a:gd name="T47" fmla="*/ 51 h 108"/>
                  <a:gd name="T48" fmla="*/ 39 w 135"/>
                  <a:gd name="T49" fmla="*/ 69 h 108"/>
                  <a:gd name="T50" fmla="*/ 24 w 135"/>
                  <a:gd name="T51" fmla="*/ 87 h 108"/>
                  <a:gd name="T52" fmla="*/ 9 w 135"/>
                  <a:gd name="T53" fmla="*/ 99 h 108"/>
                  <a:gd name="T54" fmla="*/ 0 w 135"/>
                  <a:gd name="T5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5" h="108">
                    <a:moveTo>
                      <a:pt x="51" y="108"/>
                    </a:moveTo>
                    <a:cubicBezTo>
                      <a:pt x="51" y="99"/>
                      <a:pt x="48" y="93"/>
                      <a:pt x="51" y="93"/>
                    </a:cubicBezTo>
                    <a:cubicBezTo>
                      <a:pt x="51" y="90"/>
                      <a:pt x="66" y="81"/>
                      <a:pt x="69" y="81"/>
                    </a:cubicBezTo>
                    <a:cubicBezTo>
                      <a:pt x="69" y="78"/>
                      <a:pt x="75" y="81"/>
                      <a:pt x="75" y="78"/>
                    </a:cubicBezTo>
                    <a:cubicBezTo>
                      <a:pt x="75" y="75"/>
                      <a:pt x="81" y="75"/>
                      <a:pt x="84" y="75"/>
                    </a:cubicBezTo>
                    <a:cubicBezTo>
                      <a:pt x="90" y="75"/>
                      <a:pt x="90" y="72"/>
                      <a:pt x="90" y="69"/>
                    </a:cubicBezTo>
                    <a:cubicBezTo>
                      <a:pt x="90" y="66"/>
                      <a:pt x="96" y="66"/>
                      <a:pt x="99" y="66"/>
                    </a:cubicBezTo>
                    <a:cubicBezTo>
                      <a:pt x="102" y="66"/>
                      <a:pt x="102" y="63"/>
                      <a:pt x="105" y="63"/>
                    </a:cubicBezTo>
                    <a:cubicBezTo>
                      <a:pt x="108" y="63"/>
                      <a:pt x="105" y="60"/>
                      <a:pt x="105" y="57"/>
                    </a:cubicBezTo>
                    <a:cubicBezTo>
                      <a:pt x="105" y="51"/>
                      <a:pt x="105" y="54"/>
                      <a:pt x="111" y="54"/>
                    </a:cubicBezTo>
                    <a:cubicBezTo>
                      <a:pt x="114" y="54"/>
                      <a:pt x="117" y="51"/>
                      <a:pt x="117" y="48"/>
                    </a:cubicBezTo>
                    <a:cubicBezTo>
                      <a:pt x="132" y="48"/>
                      <a:pt x="132" y="48"/>
                      <a:pt x="132" y="48"/>
                    </a:cubicBezTo>
                    <a:cubicBezTo>
                      <a:pt x="135" y="48"/>
                      <a:pt x="135" y="45"/>
                      <a:pt x="135" y="45"/>
                    </a:cubicBezTo>
                    <a:cubicBezTo>
                      <a:pt x="135" y="42"/>
                      <a:pt x="132" y="36"/>
                      <a:pt x="132" y="36"/>
                    </a:cubicBezTo>
                    <a:cubicBezTo>
                      <a:pt x="129" y="36"/>
                      <a:pt x="129" y="30"/>
                      <a:pt x="129" y="27"/>
                    </a:cubicBezTo>
                    <a:cubicBezTo>
                      <a:pt x="129" y="21"/>
                      <a:pt x="129" y="18"/>
                      <a:pt x="126" y="15"/>
                    </a:cubicBezTo>
                    <a:cubicBezTo>
                      <a:pt x="126" y="12"/>
                      <a:pt x="126" y="12"/>
                      <a:pt x="126" y="9"/>
                    </a:cubicBezTo>
                    <a:cubicBezTo>
                      <a:pt x="120" y="9"/>
                      <a:pt x="117" y="6"/>
                      <a:pt x="111" y="6"/>
                    </a:cubicBezTo>
                    <a:cubicBezTo>
                      <a:pt x="105" y="6"/>
                      <a:pt x="96" y="9"/>
                      <a:pt x="93" y="6"/>
                    </a:cubicBezTo>
                    <a:cubicBezTo>
                      <a:pt x="87" y="0"/>
                      <a:pt x="84" y="0"/>
                      <a:pt x="81" y="0"/>
                    </a:cubicBezTo>
                    <a:cubicBezTo>
                      <a:pt x="78" y="3"/>
                      <a:pt x="72" y="18"/>
                      <a:pt x="69" y="24"/>
                    </a:cubicBezTo>
                    <a:cubicBezTo>
                      <a:pt x="66" y="27"/>
                      <a:pt x="57" y="33"/>
                      <a:pt x="54" y="33"/>
                    </a:cubicBezTo>
                    <a:cubicBezTo>
                      <a:pt x="48" y="33"/>
                      <a:pt x="48" y="39"/>
                      <a:pt x="45" y="42"/>
                    </a:cubicBezTo>
                    <a:cubicBezTo>
                      <a:pt x="42" y="45"/>
                      <a:pt x="42" y="48"/>
                      <a:pt x="39" y="51"/>
                    </a:cubicBezTo>
                    <a:cubicBezTo>
                      <a:pt x="33" y="54"/>
                      <a:pt x="36" y="66"/>
                      <a:pt x="39" y="69"/>
                    </a:cubicBezTo>
                    <a:cubicBezTo>
                      <a:pt x="39" y="72"/>
                      <a:pt x="30" y="84"/>
                      <a:pt x="24" y="87"/>
                    </a:cubicBezTo>
                    <a:cubicBezTo>
                      <a:pt x="18" y="90"/>
                      <a:pt x="18" y="96"/>
                      <a:pt x="9" y="99"/>
                    </a:cubicBezTo>
                    <a:cubicBezTo>
                      <a:pt x="6" y="99"/>
                      <a:pt x="3" y="102"/>
                      <a:pt x="0" y="102"/>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3" name="Freeform 667"/>
              <p:cNvSpPr>
                <a:spLocks/>
              </p:cNvSpPr>
              <p:nvPr userDrawn="1"/>
            </p:nvSpPr>
            <p:spPr bwMode="auto">
              <a:xfrm>
                <a:off x="3251" y="-1806"/>
                <a:ext cx="210" cy="168"/>
              </a:xfrm>
              <a:custGeom>
                <a:avLst/>
                <a:gdLst>
                  <a:gd name="T0" fmla="*/ 51 w 135"/>
                  <a:gd name="T1" fmla="*/ 108 h 108"/>
                  <a:gd name="T2" fmla="*/ 51 w 135"/>
                  <a:gd name="T3" fmla="*/ 93 h 108"/>
                  <a:gd name="T4" fmla="*/ 69 w 135"/>
                  <a:gd name="T5" fmla="*/ 81 h 108"/>
                  <a:gd name="T6" fmla="*/ 75 w 135"/>
                  <a:gd name="T7" fmla="*/ 78 h 108"/>
                  <a:gd name="T8" fmla="*/ 84 w 135"/>
                  <a:gd name="T9" fmla="*/ 75 h 108"/>
                  <a:gd name="T10" fmla="*/ 90 w 135"/>
                  <a:gd name="T11" fmla="*/ 69 h 108"/>
                  <a:gd name="T12" fmla="*/ 99 w 135"/>
                  <a:gd name="T13" fmla="*/ 66 h 108"/>
                  <a:gd name="T14" fmla="*/ 105 w 135"/>
                  <a:gd name="T15" fmla="*/ 63 h 108"/>
                  <a:gd name="T16" fmla="*/ 105 w 135"/>
                  <a:gd name="T17" fmla="*/ 57 h 108"/>
                  <a:gd name="T18" fmla="*/ 111 w 135"/>
                  <a:gd name="T19" fmla="*/ 54 h 108"/>
                  <a:gd name="T20" fmla="*/ 117 w 135"/>
                  <a:gd name="T21" fmla="*/ 48 h 108"/>
                  <a:gd name="T22" fmla="*/ 132 w 135"/>
                  <a:gd name="T23" fmla="*/ 48 h 108"/>
                  <a:gd name="T24" fmla="*/ 135 w 135"/>
                  <a:gd name="T25" fmla="*/ 45 h 108"/>
                  <a:gd name="T26" fmla="*/ 132 w 135"/>
                  <a:gd name="T27" fmla="*/ 36 h 108"/>
                  <a:gd name="T28" fmla="*/ 129 w 135"/>
                  <a:gd name="T29" fmla="*/ 27 h 108"/>
                  <a:gd name="T30" fmla="*/ 126 w 135"/>
                  <a:gd name="T31" fmla="*/ 15 h 108"/>
                  <a:gd name="T32" fmla="*/ 126 w 135"/>
                  <a:gd name="T33" fmla="*/ 9 h 108"/>
                  <a:gd name="T34" fmla="*/ 111 w 135"/>
                  <a:gd name="T35" fmla="*/ 6 h 108"/>
                  <a:gd name="T36" fmla="*/ 93 w 135"/>
                  <a:gd name="T37" fmla="*/ 6 h 108"/>
                  <a:gd name="T38" fmla="*/ 81 w 135"/>
                  <a:gd name="T39" fmla="*/ 0 h 108"/>
                  <a:gd name="T40" fmla="*/ 69 w 135"/>
                  <a:gd name="T41" fmla="*/ 24 h 108"/>
                  <a:gd name="T42" fmla="*/ 54 w 135"/>
                  <a:gd name="T43" fmla="*/ 33 h 108"/>
                  <a:gd name="T44" fmla="*/ 45 w 135"/>
                  <a:gd name="T45" fmla="*/ 42 h 108"/>
                  <a:gd name="T46" fmla="*/ 39 w 135"/>
                  <a:gd name="T47" fmla="*/ 51 h 108"/>
                  <a:gd name="T48" fmla="*/ 39 w 135"/>
                  <a:gd name="T49" fmla="*/ 69 h 108"/>
                  <a:gd name="T50" fmla="*/ 24 w 135"/>
                  <a:gd name="T51" fmla="*/ 87 h 108"/>
                  <a:gd name="T52" fmla="*/ 9 w 135"/>
                  <a:gd name="T53" fmla="*/ 99 h 108"/>
                  <a:gd name="T54" fmla="*/ 0 w 135"/>
                  <a:gd name="T5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5" h="108">
                    <a:moveTo>
                      <a:pt x="51" y="108"/>
                    </a:moveTo>
                    <a:cubicBezTo>
                      <a:pt x="51" y="99"/>
                      <a:pt x="48" y="93"/>
                      <a:pt x="51" y="93"/>
                    </a:cubicBezTo>
                    <a:cubicBezTo>
                      <a:pt x="51" y="90"/>
                      <a:pt x="66" y="81"/>
                      <a:pt x="69" y="81"/>
                    </a:cubicBezTo>
                    <a:cubicBezTo>
                      <a:pt x="69" y="78"/>
                      <a:pt x="75" y="81"/>
                      <a:pt x="75" y="78"/>
                    </a:cubicBezTo>
                    <a:cubicBezTo>
                      <a:pt x="75" y="75"/>
                      <a:pt x="81" y="75"/>
                      <a:pt x="84" y="75"/>
                    </a:cubicBezTo>
                    <a:cubicBezTo>
                      <a:pt x="90" y="75"/>
                      <a:pt x="90" y="72"/>
                      <a:pt x="90" y="69"/>
                    </a:cubicBezTo>
                    <a:cubicBezTo>
                      <a:pt x="90" y="66"/>
                      <a:pt x="96" y="66"/>
                      <a:pt x="99" y="66"/>
                    </a:cubicBezTo>
                    <a:cubicBezTo>
                      <a:pt x="102" y="66"/>
                      <a:pt x="102" y="63"/>
                      <a:pt x="105" y="63"/>
                    </a:cubicBezTo>
                    <a:cubicBezTo>
                      <a:pt x="108" y="63"/>
                      <a:pt x="105" y="60"/>
                      <a:pt x="105" y="57"/>
                    </a:cubicBezTo>
                    <a:cubicBezTo>
                      <a:pt x="105" y="51"/>
                      <a:pt x="105" y="54"/>
                      <a:pt x="111" y="54"/>
                    </a:cubicBezTo>
                    <a:cubicBezTo>
                      <a:pt x="114" y="54"/>
                      <a:pt x="117" y="51"/>
                      <a:pt x="117" y="48"/>
                    </a:cubicBezTo>
                    <a:cubicBezTo>
                      <a:pt x="132" y="48"/>
                      <a:pt x="132" y="48"/>
                      <a:pt x="132" y="48"/>
                    </a:cubicBezTo>
                    <a:cubicBezTo>
                      <a:pt x="135" y="48"/>
                      <a:pt x="135" y="45"/>
                      <a:pt x="135" y="45"/>
                    </a:cubicBezTo>
                    <a:cubicBezTo>
                      <a:pt x="135" y="42"/>
                      <a:pt x="132" y="36"/>
                      <a:pt x="132" y="36"/>
                    </a:cubicBezTo>
                    <a:cubicBezTo>
                      <a:pt x="129" y="36"/>
                      <a:pt x="129" y="30"/>
                      <a:pt x="129" y="27"/>
                    </a:cubicBezTo>
                    <a:cubicBezTo>
                      <a:pt x="129" y="21"/>
                      <a:pt x="129" y="18"/>
                      <a:pt x="126" y="15"/>
                    </a:cubicBezTo>
                    <a:cubicBezTo>
                      <a:pt x="126" y="12"/>
                      <a:pt x="126" y="12"/>
                      <a:pt x="126" y="9"/>
                    </a:cubicBezTo>
                    <a:cubicBezTo>
                      <a:pt x="120" y="9"/>
                      <a:pt x="117" y="6"/>
                      <a:pt x="111" y="6"/>
                    </a:cubicBezTo>
                    <a:cubicBezTo>
                      <a:pt x="105" y="6"/>
                      <a:pt x="96" y="9"/>
                      <a:pt x="93" y="6"/>
                    </a:cubicBezTo>
                    <a:cubicBezTo>
                      <a:pt x="87" y="0"/>
                      <a:pt x="84" y="0"/>
                      <a:pt x="81" y="0"/>
                    </a:cubicBezTo>
                    <a:cubicBezTo>
                      <a:pt x="78" y="3"/>
                      <a:pt x="72" y="18"/>
                      <a:pt x="69" y="24"/>
                    </a:cubicBezTo>
                    <a:cubicBezTo>
                      <a:pt x="66" y="27"/>
                      <a:pt x="57" y="33"/>
                      <a:pt x="54" y="33"/>
                    </a:cubicBezTo>
                    <a:cubicBezTo>
                      <a:pt x="48" y="33"/>
                      <a:pt x="48" y="39"/>
                      <a:pt x="45" y="42"/>
                    </a:cubicBezTo>
                    <a:cubicBezTo>
                      <a:pt x="42" y="45"/>
                      <a:pt x="42" y="48"/>
                      <a:pt x="39" y="51"/>
                    </a:cubicBezTo>
                    <a:cubicBezTo>
                      <a:pt x="33" y="54"/>
                      <a:pt x="36" y="66"/>
                      <a:pt x="39" y="69"/>
                    </a:cubicBezTo>
                    <a:cubicBezTo>
                      <a:pt x="39" y="72"/>
                      <a:pt x="30" y="84"/>
                      <a:pt x="24" y="87"/>
                    </a:cubicBezTo>
                    <a:cubicBezTo>
                      <a:pt x="18" y="90"/>
                      <a:pt x="18" y="96"/>
                      <a:pt x="9" y="99"/>
                    </a:cubicBezTo>
                    <a:cubicBezTo>
                      <a:pt x="6" y="99"/>
                      <a:pt x="3" y="102"/>
                      <a:pt x="0" y="102"/>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4" name="Freeform 668"/>
              <p:cNvSpPr>
                <a:spLocks/>
              </p:cNvSpPr>
              <p:nvPr userDrawn="1"/>
            </p:nvSpPr>
            <p:spPr bwMode="auto">
              <a:xfrm>
                <a:off x="3611" y="-1839"/>
                <a:ext cx="75" cy="147"/>
              </a:xfrm>
              <a:custGeom>
                <a:avLst/>
                <a:gdLst>
                  <a:gd name="T0" fmla="*/ 12 w 48"/>
                  <a:gd name="T1" fmla="*/ 24 h 94"/>
                  <a:gd name="T2" fmla="*/ 9 w 48"/>
                  <a:gd name="T3" fmla="*/ 36 h 94"/>
                  <a:gd name="T4" fmla="*/ 3 w 48"/>
                  <a:gd name="T5" fmla="*/ 42 h 94"/>
                  <a:gd name="T6" fmla="*/ 6 w 48"/>
                  <a:gd name="T7" fmla="*/ 54 h 94"/>
                  <a:gd name="T8" fmla="*/ 12 w 48"/>
                  <a:gd name="T9" fmla="*/ 63 h 94"/>
                  <a:gd name="T10" fmla="*/ 21 w 48"/>
                  <a:gd name="T11" fmla="*/ 70 h 94"/>
                  <a:gd name="T12" fmla="*/ 27 w 48"/>
                  <a:gd name="T13" fmla="*/ 91 h 94"/>
                  <a:gd name="T14" fmla="*/ 27 w 48"/>
                  <a:gd name="T15" fmla="*/ 94 h 94"/>
                  <a:gd name="T16" fmla="*/ 33 w 48"/>
                  <a:gd name="T17" fmla="*/ 88 h 94"/>
                  <a:gd name="T18" fmla="*/ 33 w 48"/>
                  <a:gd name="T19" fmla="*/ 79 h 94"/>
                  <a:gd name="T20" fmla="*/ 36 w 48"/>
                  <a:gd name="T21" fmla="*/ 76 h 94"/>
                  <a:gd name="T22" fmla="*/ 42 w 48"/>
                  <a:gd name="T23" fmla="*/ 67 h 94"/>
                  <a:gd name="T24" fmla="*/ 48 w 48"/>
                  <a:gd name="T25" fmla="*/ 63 h 94"/>
                  <a:gd name="T26" fmla="*/ 48 w 48"/>
                  <a:gd name="T27" fmla="*/ 57 h 94"/>
                  <a:gd name="T28" fmla="*/ 45 w 48"/>
                  <a:gd name="T29" fmla="*/ 51 h 94"/>
                  <a:gd name="T30" fmla="*/ 39 w 48"/>
                  <a:gd name="T31" fmla="*/ 48 h 94"/>
                  <a:gd name="T32" fmla="*/ 30 w 48"/>
                  <a:gd name="T33" fmla="*/ 45 h 94"/>
                  <a:gd name="T34" fmla="*/ 39 w 48"/>
                  <a:gd name="T35" fmla="*/ 36 h 94"/>
                  <a:gd name="T36" fmla="*/ 39 w 48"/>
                  <a:gd name="T37" fmla="*/ 21 h 94"/>
                  <a:gd name="T38" fmla="*/ 42 w 48"/>
                  <a:gd name="T39" fmla="*/ 12 h 94"/>
                  <a:gd name="T40" fmla="*/ 39 w 48"/>
                  <a:gd name="T41" fmla="*/ 6 h 94"/>
                  <a:gd name="T42" fmla="*/ 36 w 48"/>
                  <a:gd name="T43" fmla="*/ 6 h 94"/>
                  <a:gd name="T44" fmla="*/ 21 w 48"/>
                  <a:gd name="T45" fmla="*/ 6 h 94"/>
                  <a:gd name="T46" fmla="*/ 15 w 48"/>
                  <a:gd name="T47" fmla="*/ 6 h 94"/>
                  <a:gd name="T48" fmla="*/ 12 w 48"/>
                  <a:gd name="T49" fmla="*/ 2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94">
                    <a:moveTo>
                      <a:pt x="12" y="24"/>
                    </a:moveTo>
                    <a:cubicBezTo>
                      <a:pt x="15" y="27"/>
                      <a:pt x="12" y="36"/>
                      <a:pt x="9" y="36"/>
                    </a:cubicBezTo>
                    <a:cubicBezTo>
                      <a:pt x="6" y="36"/>
                      <a:pt x="6" y="42"/>
                      <a:pt x="3" y="42"/>
                    </a:cubicBezTo>
                    <a:cubicBezTo>
                      <a:pt x="0" y="42"/>
                      <a:pt x="3" y="54"/>
                      <a:pt x="6" y="54"/>
                    </a:cubicBezTo>
                    <a:cubicBezTo>
                      <a:pt x="12" y="57"/>
                      <a:pt x="12" y="60"/>
                      <a:pt x="12" y="63"/>
                    </a:cubicBezTo>
                    <a:cubicBezTo>
                      <a:pt x="12" y="67"/>
                      <a:pt x="18" y="67"/>
                      <a:pt x="21" y="70"/>
                    </a:cubicBezTo>
                    <a:cubicBezTo>
                      <a:pt x="24" y="73"/>
                      <a:pt x="27" y="85"/>
                      <a:pt x="27" y="91"/>
                    </a:cubicBezTo>
                    <a:cubicBezTo>
                      <a:pt x="27" y="91"/>
                      <a:pt x="27" y="91"/>
                      <a:pt x="27" y="94"/>
                    </a:cubicBezTo>
                    <a:cubicBezTo>
                      <a:pt x="30" y="91"/>
                      <a:pt x="30" y="91"/>
                      <a:pt x="33" y="88"/>
                    </a:cubicBezTo>
                    <a:cubicBezTo>
                      <a:pt x="33" y="85"/>
                      <a:pt x="33" y="82"/>
                      <a:pt x="33" y="79"/>
                    </a:cubicBezTo>
                    <a:cubicBezTo>
                      <a:pt x="33" y="79"/>
                      <a:pt x="33" y="76"/>
                      <a:pt x="36" y="76"/>
                    </a:cubicBezTo>
                    <a:cubicBezTo>
                      <a:pt x="36" y="73"/>
                      <a:pt x="42" y="67"/>
                      <a:pt x="42" y="67"/>
                    </a:cubicBezTo>
                    <a:cubicBezTo>
                      <a:pt x="45" y="67"/>
                      <a:pt x="48" y="67"/>
                      <a:pt x="48" y="63"/>
                    </a:cubicBezTo>
                    <a:cubicBezTo>
                      <a:pt x="48" y="60"/>
                      <a:pt x="48" y="60"/>
                      <a:pt x="48" y="57"/>
                    </a:cubicBezTo>
                    <a:cubicBezTo>
                      <a:pt x="45" y="54"/>
                      <a:pt x="45" y="54"/>
                      <a:pt x="45" y="51"/>
                    </a:cubicBezTo>
                    <a:cubicBezTo>
                      <a:pt x="45" y="51"/>
                      <a:pt x="42" y="45"/>
                      <a:pt x="39" y="48"/>
                    </a:cubicBezTo>
                    <a:cubicBezTo>
                      <a:pt x="39" y="51"/>
                      <a:pt x="33" y="48"/>
                      <a:pt x="30" y="45"/>
                    </a:cubicBezTo>
                    <a:cubicBezTo>
                      <a:pt x="30" y="39"/>
                      <a:pt x="36" y="39"/>
                      <a:pt x="39" y="36"/>
                    </a:cubicBezTo>
                    <a:cubicBezTo>
                      <a:pt x="45" y="33"/>
                      <a:pt x="45" y="24"/>
                      <a:pt x="39" y="21"/>
                    </a:cubicBezTo>
                    <a:cubicBezTo>
                      <a:pt x="36" y="18"/>
                      <a:pt x="39" y="15"/>
                      <a:pt x="42" y="12"/>
                    </a:cubicBezTo>
                    <a:cubicBezTo>
                      <a:pt x="45" y="9"/>
                      <a:pt x="42" y="6"/>
                      <a:pt x="39" y="6"/>
                    </a:cubicBezTo>
                    <a:cubicBezTo>
                      <a:pt x="39" y="9"/>
                      <a:pt x="36" y="9"/>
                      <a:pt x="36" y="6"/>
                    </a:cubicBezTo>
                    <a:cubicBezTo>
                      <a:pt x="36" y="0"/>
                      <a:pt x="24" y="0"/>
                      <a:pt x="21" y="6"/>
                    </a:cubicBezTo>
                    <a:cubicBezTo>
                      <a:pt x="18" y="6"/>
                      <a:pt x="15" y="6"/>
                      <a:pt x="15" y="6"/>
                    </a:cubicBezTo>
                    <a:cubicBezTo>
                      <a:pt x="12" y="12"/>
                      <a:pt x="12" y="21"/>
                      <a:pt x="12"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5" name="Freeform 669"/>
              <p:cNvSpPr>
                <a:spLocks/>
              </p:cNvSpPr>
              <p:nvPr userDrawn="1"/>
            </p:nvSpPr>
            <p:spPr bwMode="auto">
              <a:xfrm>
                <a:off x="3611" y="-1839"/>
                <a:ext cx="75" cy="147"/>
              </a:xfrm>
              <a:custGeom>
                <a:avLst/>
                <a:gdLst>
                  <a:gd name="T0" fmla="*/ 12 w 48"/>
                  <a:gd name="T1" fmla="*/ 24 h 94"/>
                  <a:gd name="T2" fmla="*/ 9 w 48"/>
                  <a:gd name="T3" fmla="*/ 36 h 94"/>
                  <a:gd name="T4" fmla="*/ 3 w 48"/>
                  <a:gd name="T5" fmla="*/ 42 h 94"/>
                  <a:gd name="T6" fmla="*/ 6 w 48"/>
                  <a:gd name="T7" fmla="*/ 54 h 94"/>
                  <a:gd name="T8" fmla="*/ 12 w 48"/>
                  <a:gd name="T9" fmla="*/ 63 h 94"/>
                  <a:gd name="T10" fmla="*/ 21 w 48"/>
                  <a:gd name="T11" fmla="*/ 70 h 94"/>
                  <a:gd name="T12" fmla="*/ 27 w 48"/>
                  <a:gd name="T13" fmla="*/ 91 h 94"/>
                  <a:gd name="T14" fmla="*/ 27 w 48"/>
                  <a:gd name="T15" fmla="*/ 94 h 94"/>
                  <a:gd name="T16" fmla="*/ 33 w 48"/>
                  <a:gd name="T17" fmla="*/ 88 h 94"/>
                  <a:gd name="T18" fmla="*/ 33 w 48"/>
                  <a:gd name="T19" fmla="*/ 79 h 94"/>
                  <a:gd name="T20" fmla="*/ 36 w 48"/>
                  <a:gd name="T21" fmla="*/ 76 h 94"/>
                  <a:gd name="T22" fmla="*/ 42 w 48"/>
                  <a:gd name="T23" fmla="*/ 67 h 94"/>
                  <a:gd name="T24" fmla="*/ 48 w 48"/>
                  <a:gd name="T25" fmla="*/ 63 h 94"/>
                  <a:gd name="T26" fmla="*/ 48 w 48"/>
                  <a:gd name="T27" fmla="*/ 57 h 94"/>
                  <a:gd name="T28" fmla="*/ 45 w 48"/>
                  <a:gd name="T29" fmla="*/ 51 h 94"/>
                  <a:gd name="T30" fmla="*/ 39 w 48"/>
                  <a:gd name="T31" fmla="*/ 48 h 94"/>
                  <a:gd name="T32" fmla="*/ 30 w 48"/>
                  <a:gd name="T33" fmla="*/ 45 h 94"/>
                  <a:gd name="T34" fmla="*/ 39 w 48"/>
                  <a:gd name="T35" fmla="*/ 36 h 94"/>
                  <a:gd name="T36" fmla="*/ 39 w 48"/>
                  <a:gd name="T37" fmla="*/ 21 h 94"/>
                  <a:gd name="T38" fmla="*/ 42 w 48"/>
                  <a:gd name="T39" fmla="*/ 12 h 94"/>
                  <a:gd name="T40" fmla="*/ 39 w 48"/>
                  <a:gd name="T41" fmla="*/ 6 h 94"/>
                  <a:gd name="T42" fmla="*/ 36 w 48"/>
                  <a:gd name="T43" fmla="*/ 6 h 94"/>
                  <a:gd name="T44" fmla="*/ 21 w 48"/>
                  <a:gd name="T45" fmla="*/ 6 h 94"/>
                  <a:gd name="T46" fmla="*/ 15 w 48"/>
                  <a:gd name="T47" fmla="*/ 6 h 94"/>
                  <a:gd name="T48" fmla="*/ 12 w 48"/>
                  <a:gd name="T49" fmla="*/ 2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94">
                    <a:moveTo>
                      <a:pt x="12" y="24"/>
                    </a:moveTo>
                    <a:cubicBezTo>
                      <a:pt x="15" y="27"/>
                      <a:pt x="12" y="36"/>
                      <a:pt x="9" y="36"/>
                    </a:cubicBezTo>
                    <a:cubicBezTo>
                      <a:pt x="6" y="36"/>
                      <a:pt x="6" y="42"/>
                      <a:pt x="3" y="42"/>
                    </a:cubicBezTo>
                    <a:cubicBezTo>
                      <a:pt x="0" y="42"/>
                      <a:pt x="3" y="54"/>
                      <a:pt x="6" y="54"/>
                    </a:cubicBezTo>
                    <a:cubicBezTo>
                      <a:pt x="12" y="57"/>
                      <a:pt x="12" y="60"/>
                      <a:pt x="12" y="63"/>
                    </a:cubicBezTo>
                    <a:cubicBezTo>
                      <a:pt x="12" y="67"/>
                      <a:pt x="18" y="67"/>
                      <a:pt x="21" y="70"/>
                    </a:cubicBezTo>
                    <a:cubicBezTo>
                      <a:pt x="24" y="73"/>
                      <a:pt x="27" y="85"/>
                      <a:pt x="27" y="91"/>
                    </a:cubicBezTo>
                    <a:cubicBezTo>
                      <a:pt x="27" y="91"/>
                      <a:pt x="27" y="91"/>
                      <a:pt x="27" y="94"/>
                    </a:cubicBezTo>
                    <a:cubicBezTo>
                      <a:pt x="30" y="91"/>
                      <a:pt x="30" y="91"/>
                      <a:pt x="33" y="88"/>
                    </a:cubicBezTo>
                    <a:cubicBezTo>
                      <a:pt x="33" y="85"/>
                      <a:pt x="33" y="82"/>
                      <a:pt x="33" y="79"/>
                    </a:cubicBezTo>
                    <a:cubicBezTo>
                      <a:pt x="33" y="79"/>
                      <a:pt x="33" y="76"/>
                      <a:pt x="36" y="76"/>
                    </a:cubicBezTo>
                    <a:cubicBezTo>
                      <a:pt x="36" y="73"/>
                      <a:pt x="42" y="67"/>
                      <a:pt x="42" y="67"/>
                    </a:cubicBezTo>
                    <a:cubicBezTo>
                      <a:pt x="45" y="67"/>
                      <a:pt x="48" y="67"/>
                      <a:pt x="48" y="63"/>
                    </a:cubicBezTo>
                    <a:cubicBezTo>
                      <a:pt x="48" y="60"/>
                      <a:pt x="48" y="60"/>
                      <a:pt x="48" y="57"/>
                    </a:cubicBezTo>
                    <a:cubicBezTo>
                      <a:pt x="45" y="54"/>
                      <a:pt x="45" y="54"/>
                      <a:pt x="45" y="51"/>
                    </a:cubicBezTo>
                    <a:cubicBezTo>
                      <a:pt x="45" y="51"/>
                      <a:pt x="42" y="45"/>
                      <a:pt x="39" y="48"/>
                    </a:cubicBezTo>
                    <a:cubicBezTo>
                      <a:pt x="39" y="51"/>
                      <a:pt x="33" y="48"/>
                      <a:pt x="30" y="45"/>
                    </a:cubicBezTo>
                    <a:cubicBezTo>
                      <a:pt x="30" y="39"/>
                      <a:pt x="36" y="39"/>
                      <a:pt x="39" y="36"/>
                    </a:cubicBezTo>
                    <a:cubicBezTo>
                      <a:pt x="45" y="33"/>
                      <a:pt x="45" y="24"/>
                      <a:pt x="39" y="21"/>
                    </a:cubicBezTo>
                    <a:cubicBezTo>
                      <a:pt x="36" y="18"/>
                      <a:pt x="39" y="15"/>
                      <a:pt x="42" y="12"/>
                    </a:cubicBezTo>
                    <a:cubicBezTo>
                      <a:pt x="45" y="9"/>
                      <a:pt x="42" y="6"/>
                      <a:pt x="39" y="6"/>
                    </a:cubicBezTo>
                    <a:cubicBezTo>
                      <a:pt x="39" y="9"/>
                      <a:pt x="36" y="9"/>
                      <a:pt x="36" y="6"/>
                    </a:cubicBezTo>
                    <a:cubicBezTo>
                      <a:pt x="36" y="0"/>
                      <a:pt x="24" y="0"/>
                      <a:pt x="21" y="6"/>
                    </a:cubicBezTo>
                    <a:cubicBezTo>
                      <a:pt x="18" y="6"/>
                      <a:pt x="15" y="6"/>
                      <a:pt x="15" y="6"/>
                    </a:cubicBezTo>
                    <a:cubicBezTo>
                      <a:pt x="12" y="12"/>
                      <a:pt x="12" y="21"/>
                      <a:pt x="12"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6" name="Freeform 670"/>
              <p:cNvSpPr>
                <a:spLocks/>
              </p:cNvSpPr>
              <p:nvPr userDrawn="1"/>
            </p:nvSpPr>
            <p:spPr bwMode="auto">
              <a:xfrm>
                <a:off x="3326" y="-1834"/>
                <a:ext cx="369" cy="351"/>
              </a:xfrm>
              <a:custGeom>
                <a:avLst/>
                <a:gdLst>
                  <a:gd name="T0" fmla="*/ 81 w 237"/>
                  <a:gd name="T1" fmla="*/ 45 h 225"/>
                  <a:gd name="T2" fmla="*/ 84 w 237"/>
                  <a:gd name="T3" fmla="*/ 54 h 225"/>
                  <a:gd name="T4" fmla="*/ 87 w 237"/>
                  <a:gd name="T5" fmla="*/ 63 h 225"/>
                  <a:gd name="T6" fmla="*/ 84 w 237"/>
                  <a:gd name="T7" fmla="*/ 66 h 225"/>
                  <a:gd name="T8" fmla="*/ 69 w 237"/>
                  <a:gd name="T9" fmla="*/ 66 h 225"/>
                  <a:gd name="T10" fmla="*/ 63 w 237"/>
                  <a:gd name="T11" fmla="*/ 72 h 225"/>
                  <a:gd name="T12" fmla="*/ 57 w 237"/>
                  <a:gd name="T13" fmla="*/ 75 h 225"/>
                  <a:gd name="T14" fmla="*/ 57 w 237"/>
                  <a:gd name="T15" fmla="*/ 81 h 225"/>
                  <a:gd name="T16" fmla="*/ 51 w 237"/>
                  <a:gd name="T17" fmla="*/ 84 h 225"/>
                  <a:gd name="T18" fmla="*/ 42 w 237"/>
                  <a:gd name="T19" fmla="*/ 87 h 225"/>
                  <a:gd name="T20" fmla="*/ 36 w 237"/>
                  <a:gd name="T21" fmla="*/ 93 h 225"/>
                  <a:gd name="T22" fmla="*/ 27 w 237"/>
                  <a:gd name="T23" fmla="*/ 96 h 225"/>
                  <a:gd name="T24" fmla="*/ 21 w 237"/>
                  <a:gd name="T25" fmla="*/ 99 h 225"/>
                  <a:gd name="T26" fmla="*/ 3 w 237"/>
                  <a:gd name="T27" fmla="*/ 111 h 225"/>
                  <a:gd name="T28" fmla="*/ 3 w 237"/>
                  <a:gd name="T29" fmla="*/ 126 h 225"/>
                  <a:gd name="T30" fmla="*/ 3 w 237"/>
                  <a:gd name="T31" fmla="*/ 126 h 225"/>
                  <a:gd name="T32" fmla="*/ 114 w 237"/>
                  <a:gd name="T33" fmla="*/ 201 h 225"/>
                  <a:gd name="T34" fmla="*/ 120 w 237"/>
                  <a:gd name="T35" fmla="*/ 210 h 225"/>
                  <a:gd name="T36" fmla="*/ 132 w 237"/>
                  <a:gd name="T37" fmla="*/ 213 h 225"/>
                  <a:gd name="T38" fmla="*/ 138 w 237"/>
                  <a:gd name="T39" fmla="*/ 225 h 225"/>
                  <a:gd name="T40" fmla="*/ 150 w 237"/>
                  <a:gd name="T41" fmla="*/ 225 h 225"/>
                  <a:gd name="T42" fmla="*/ 168 w 237"/>
                  <a:gd name="T43" fmla="*/ 219 h 225"/>
                  <a:gd name="T44" fmla="*/ 189 w 237"/>
                  <a:gd name="T45" fmla="*/ 201 h 225"/>
                  <a:gd name="T46" fmla="*/ 237 w 237"/>
                  <a:gd name="T47" fmla="*/ 171 h 225"/>
                  <a:gd name="T48" fmla="*/ 237 w 237"/>
                  <a:gd name="T49" fmla="*/ 171 h 225"/>
                  <a:gd name="T50" fmla="*/ 231 w 237"/>
                  <a:gd name="T51" fmla="*/ 162 h 225"/>
                  <a:gd name="T52" fmla="*/ 222 w 237"/>
                  <a:gd name="T53" fmla="*/ 159 h 225"/>
                  <a:gd name="T54" fmla="*/ 216 w 237"/>
                  <a:gd name="T55" fmla="*/ 156 h 225"/>
                  <a:gd name="T56" fmla="*/ 213 w 237"/>
                  <a:gd name="T57" fmla="*/ 147 h 225"/>
                  <a:gd name="T58" fmla="*/ 207 w 237"/>
                  <a:gd name="T59" fmla="*/ 138 h 225"/>
                  <a:gd name="T60" fmla="*/ 213 w 237"/>
                  <a:gd name="T61" fmla="*/ 135 h 225"/>
                  <a:gd name="T62" fmla="*/ 213 w 237"/>
                  <a:gd name="T63" fmla="*/ 129 h 225"/>
                  <a:gd name="T64" fmla="*/ 213 w 237"/>
                  <a:gd name="T65" fmla="*/ 120 h 225"/>
                  <a:gd name="T66" fmla="*/ 213 w 237"/>
                  <a:gd name="T67" fmla="*/ 114 h 225"/>
                  <a:gd name="T68" fmla="*/ 213 w 237"/>
                  <a:gd name="T69" fmla="*/ 102 h 225"/>
                  <a:gd name="T70" fmla="*/ 207 w 237"/>
                  <a:gd name="T71" fmla="*/ 93 h 225"/>
                  <a:gd name="T72" fmla="*/ 210 w 237"/>
                  <a:gd name="T73" fmla="*/ 90 h 225"/>
                  <a:gd name="T74" fmla="*/ 210 w 237"/>
                  <a:gd name="T75" fmla="*/ 87 h 225"/>
                  <a:gd name="T76" fmla="*/ 204 w 237"/>
                  <a:gd name="T77" fmla="*/ 66 h 225"/>
                  <a:gd name="T78" fmla="*/ 195 w 237"/>
                  <a:gd name="T79" fmla="*/ 60 h 225"/>
                  <a:gd name="T80" fmla="*/ 189 w 237"/>
                  <a:gd name="T81" fmla="*/ 51 h 225"/>
                  <a:gd name="T82" fmla="*/ 186 w 237"/>
                  <a:gd name="T83" fmla="*/ 39 h 225"/>
                  <a:gd name="T84" fmla="*/ 192 w 237"/>
                  <a:gd name="T85" fmla="*/ 33 h 225"/>
                  <a:gd name="T86" fmla="*/ 195 w 237"/>
                  <a:gd name="T87" fmla="*/ 21 h 225"/>
                  <a:gd name="T88" fmla="*/ 198 w 237"/>
                  <a:gd name="T89" fmla="*/ 3 h 225"/>
                  <a:gd name="T90" fmla="*/ 186 w 237"/>
                  <a:gd name="T91" fmla="*/ 0 h 225"/>
                  <a:gd name="T92" fmla="*/ 174 w 237"/>
                  <a:gd name="T93" fmla="*/ 3 h 225"/>
                  <a:gd name="T94" fmla="*/ 159 w 237"/>
                  <a:gd name="T95" fmla="*/ 6 h 225"/>
                  <a:gd name="T96" fmla="*/ 117 w 237"/>
                  <a:gd name="T97" fmla="*/ 9 h 225"/>
                  <a:gd name="T98" fmla="*/ 99 w 237"/>
                  <a:gd name="T99" fmla="*/ 18 h 225"/>
                  <a:gd name="T100" fmla="*/ 81 w 237"/>
                  <a:gd name="T101" fmla="*/ 27 h 225"/>
                  <a:gd name="T102" fmla="*/ 78 w 237"/>
                  <a:gd name="T103" fmla="*/ 27 h 225"/>
                  <a:gd name="T104" fmla="*/ 78 w 237"/>
                  <a:gd name="T105" fmla="*/ 33 h 225"/>
                  <a:gd name="T106" fmla="*/ 81 w 237"/>
                  <a:gd name="T107" fmla="*/ 4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225">
                    <a:moveTo>
                      <a:pt x="81" y="45"/>
                    </a:moveTo>
                    <a:cubicBezTo>
                      <a:pt x="81" y="48"/>
                      <a:pt x="81" y="54"/>
                      <a:pt x="84" y="54"/>
                    </a:cubicBezTo>
                    <a:cubicBezTo>
                      <a:pt x="84" y="54"/>
                      <a:pt x="87" y="60"/>
                      <a:pt x="87" y="63"/>
                    </a:cubicBezTo>
                    <a:cubicBezTo>
                      <a:pt x="87" y="63"/>
                      <a:pt x="87" y="66"/>
                      <a:pt x="84" y="66"/>
                    </a:cubicBezTo>
                    <a:cubicBezTo>
                      <a:pt x="69" y="66"/>
                      <a:pt x="69" y="66"/>
                      <a:pt x="69" y="66"/>
                    </a:cubicBezTo>
                    <a:cubicBezTo>
                      <a:pt x="69" y="69"/>
                      <a:pt x="66" y="72"/>
                      <a:pt x="63" y="72"/>
                    </a:cubicBezTo>
                    <a:cubicBezTo>
                      <a:pt x="57" y="72"/>
                      <a:pt x="57" y="69"/>
                      <a:pt x="57" y="75"/>
                    </a:cubicBezTo>
                    <a:cubicBezTo>
                      <a:pt x="57" y="78"/>
                      <a:pt x="60" y="81"/>
                      <a:pt x="57" y="81"/>
                    </a:cubicBezTo>
                    <a:cubicBezTo>
                      <a:pt x="54" y="81"/>
                      <a:pt x="54" y="84"/>
                      <a:pt x="51" y="84"/>
                    </a:cubicBezTo>
                    <a:cubicBezTo>
                      <a:pt x="48" y="84"/>
                      <a:pt x="42" y="84"/>
                      <a:pt x="42" y="87"/>
                    </a:cubicBezTo>
                    <a:cubicBezTo>
                      <a:pt x="42" y="90"/>
                      <a:pt x="42" y="93"/>
                      <a:pt x="36" y="93"/>
                    </a:cubicBezTo>
                    <a:cubicBezTo>
                      <a:pt x="33" y="93"/>
                      <a:pt x="27" y="93"/>
                      <a:pt x="27" y="96"/>
                    </a:cubicBezTo>
                    <a:cubicBezTo>
                      <a:pt x="27" y="99"/>
                      <a:pt x="21" y="96"/>
                      <a:pt x="21" y="99"/>
                    </a:cubicBezTo>
                    <a:cubicBezTo>
                      <a:pt x="18" y="99"/>
                      <a:pt x="3" y="108"/>
                      <a:pt x="3" y="111"/>
                    </a:cubicBezTo>
                    <a:cubicBezTo>
                      <a:pt x="0" y="111"/>
                      <a:pt x="3" y="117"/>
                      <a:pt x="3" y="126"/>
                    </a:cubicBezTo>
                    <a:cubicBezTo>
                      <a:pt x="3" y="126"/>
                      <a:pt x="3" y="126"/>
                      <a:pt x="3" y="126"/>
                    </a:cubicBezTo>
                    <a:cubicBezTo>
                      <a:pt x="9" y="129"/>
                      <a:pt x="111" y="198"/>
                      <a:pt x="114" y="201"/>
                    </a:cubicBezTo>
                    <a:cubicBezTo>
                      <a:pt x="117" y="204"/>
                      <a:pt x="120" y="210"/>
                      <a:pt x="120" y="210"/>
                    </a:cubicBezTo>
                    <a:cubicBezTo>
                      <a:pt x="120" y="210"/>
                      <a:pt x="129" y="210"/>
                      <a:pt x="132" y="213"/>
                    </a:cubicBezTo>
                    <a:cubicBezTo>
                      <a:pt x="138" y="219"/>
                      <a:pt x="138" y="225"/>
                      <a:pt x="138" y="225"/>
                    </a:cubicBezTo>
                    <a:cubicBezTo>
                      <a:pt x="138" y="225"/>
                      <a:pt x="147" y="225"/>
                      <a:pt x="150" y="225"/>
                    </a:cubicBezTo>
                    <a:cubicBezTo>
                      <a:pt x="153" y="222"/>
                      <a:pt x="168" y="219"/>
                      <a:pt x="168" y="219"/>
                    </a:cubicBezTo>
                    <a:cubicBezTo>
                      <a:pt x="189" y="201"/>
                      <a:pt x="189" y="201"/>
                      <a:pt x="189" y="201"/>
                    </a:cubicBezTo>
                    <a:cubicBezTo>
                      <a:pt x="237" y="171"/>
                      <a:pt x="237" y="171"/>
                      <a:pt x="237" y="171"/>
                    </a:cubicBezTo>
                    <a:cubicBezTo>
                      <a:pt x="237" y="171"/>
                      <a:pt x="237" y="171"/>
                      <a:pt x="237" y="171"/>
                    </a:cubicBezTo>
                    <a:cubicBezTo>
                      <a:pt x="234" y="165"/>
                      <a:pt x="234" y="162"/>
                      <a:pt x="231" y="162"/>
                    </a:cubicBezTo>
                    <a:cubicBezTo>
                      <a:pt x="228" y="162"/>
                      <a:pt x="225" y="159"/>
                      <a:pt x="222" y="159"/>
                    </a:cubicBezTo>
                    <a:cubicBezTo>
                      <a:pt x="219" y="159"/>
                      <a:pt x="216" y="159"/>
                      <a:pt x="216" y="156"/>
                    </a:cubicBezTo>
                    <a:cubicBezTo>
                      <a:pt x="213" y="153"/>
                      <a:pt x="216" y="150"/>
                      <a:pt x="213" y="147"/>
                    </a:cubicBezTo>
                    <a:cubicBezTo>
                      <a:pt x="210" y="141"/>
                      <a:pt x="207" y="141"/>
                      <a:pt x="207" y="138"/>
                    </a:cubicBezTo>
                    <a:cubicBezTo>
                      <a:pt x="213" y="135"/>
                      <a:pt x="213" y="135"/>
                      <a:pt x="213" y="135"/>
                    </a:cubicBezTo>
                    <a:cubicBezTo>
                      <a:pt x="213" y="132"/>
                      <a:pt x="213" y="129"/>
                      <a:pt x="213" y="129"/>
                    </a:cubicBezTo>
                    <a:cubicBezTo>
                      <a:pt x="213" y="126"/>
                      <a:pt x="210" y="123"/>
                      <a:pt x="213" y="120"/>
                    </a:cubicBezTo>
                    <a:cubicBezTo>
                      <a:pt x="213" y="120"/>
                      <a:pt x="213" y="117"/>
                      <a:pt x="213" y="114"/>
                    </a:cubicBezTo>
                    <a:cubicBezTo>
                      <a:pt x="210" y="111"/>
                      <a:pt x="216" y="108"/>
                      <a:pt x="213" y="102"/>
                    </a:cubicBezTo>
                    <a:cubicBezTo>
                      <a:pt x="210" y="96"/>
                      <a:pt x="207" y="93"/>
                      <a:pt x="207" y="93"/>
                    </a:cubicBezTo>
                    <a:cubicBezTo>
                      <a:pt x="207" y="90"/>
                      <a:pt x="210" y="90"/>
                      <a:pt x="210" y="90"/>
                    </a:cubicBezTo>
                    <a:cubicBezTo>
                      <a:pt x="210" y="87"/>
                      <a:pt x="210" y="87"/>
                      <a:pt x="210" y="87"/>
                    </a:cubicBezTo>
                    <a:cubicBezTo>
                      <a:pt x="210" y="81"/>
                      <a:pt x="207" y="69"/>
                      <a:pt x="204" y="66"/>
                    </a:cubicBezTo>
                    <a:cubicBezTo>
                      <a:pt x="201" y="63"/>
                      <a:pt x="195" y="63"/>
                      <a:pt x="195" y="60"/>
                    </a:cubicBezTo>
                    <a:cubicBezTo>
                      <a:pt x="195" y="57"/>
                      <a:pt x="195" y="54"/>
                      <a:pt x="189" y="51"/>
                    </a:cubicBezTo>
                    <a:cubicBezTo>
                      <a:pt x="186" y="51"/>
                      <a:pt x="183" y="39"/>
                      <a:pt x="186" y="39"/>
                    </a:cubicBezTo>
                    <a:cubicBezTo>
                      <a:pt x="189" y="39"/>
                      <a:pt x="189" y="33"/>
                      <a:pt x="192" y="33"/>
                    </a:cubicBezTo>
                    <a:cubicBezTo>
                      <a:pt x="195" y="33"/>
                      <a:pt x="198" y="24"/>
                      <a:pt x="195" y="21"/>
                    </a:cubicBezTo>
                    <a:cubicBezTo>
                      <a:pt x="195" y="18"/>
                      <a:pt x="195" y="9"/>
                      <a:pt x="198" y="3"/>
                    </a:cubicBezTo>
                    <a:cubicBezTo>
                      <a:pt x="192" y="3"/>
                      <a:pt x="186" y="3"/>
                      <a:pt x="186" y="0"/>
                    </a:cubicBezTo>
                    <a:cubicBezTo>
                      <a:pt x="183" y="0"/>
                      <a:pt x="177" y="3"/>
                      <a:pt x="174" y="3"/>
                    </a:cubicBezTo>
                    <a:cubicBezTo>
                      <a:pt x="171" y="3"/>
                      <a:pt x="162" y="9"/>
                      <a:pt x="159" y="6"/>
                    </a:cubicBezTo>
                    <a:cubicBezTo>
                      <a:pt x="156" y="3"/>
                      <a:pt x="126" y="9"/>
                      <a:pt x="117" y="9"/>
                    </a:cubicBezTo>
                    <a:cubicBezTo>
                      <a:pt x="108" y="9"/>
                      <a:pt x="105" y="18"/>
                      <a:pt x="99" y="18"/>
                    </a:cubicBezTo>
                    <a:cubicBezTo>
                      <a:pt x="93" y="18"/>
                      <a:pt x="87" y="21"/>
                      <a:pt x="81" y="27"/>
                    </a:cubicBezTo>
                    <a:cubicBezTo>
                      <a:pt x="78" y="27"/>
                      <a:pt x="78" y="27"/>
                      <a:pt x="78" y="27"/>
                    </a:cubicBezTo>
                    <a:cubicBezTo>
                      <a:pt x="78" y="30"/>
                      <a:pt x="78" y="30"/>
                      <a:pt x="78" y="33"/>
                    </a:cubicBezTo>
                    <a:cubicBezTo>
                      <a:pt x="81" y="36"/>
                      <a:pt x="81" y="39"/>
                      <a:pt x="81"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7" name="Freeform 671"/>
              <p:cNvSpPr>
                <a:spLocks/>
              </p:cNvSpPr>
              <p:nvPr userDrawn="1"/>
            </p:nvSpPr>
            <p:spPr bwMode="auto">
              <a:xfrm>
                <a:off x="3326" y="-1834"/>
                <a:ext cx="369" cy="351"/>
              </a:xfrm>
              <a:custGeom>
                <a:avLst/>
                <a:gdLst>
                  <a:gd name="T0" fmla="*/ 81 w 237"/>
                  <a:gd name="T1" fmla="*/ 45 h 225"/>
                  <a:gd name="T2" fmla="*/ 84 w 237"/>
                  <a:gd name="T3" fmla="*/ 54 h 225"/>
                  <a:gd name="T4" fmla="*/ 87 w 237"/>
                  <a:gd name="T5" fmla="*/ 63 h 225"/>
                  <a:gd name="T6" fmla="*/ 84 w 237"/>
                  <a:gd name="T7" fmla="*/ 66 h 225"/>
                  <a:gd name="T8" fmla="*/ 69 w 237"/>
                  <a:gd name="T9" fmla="*/ 66 h 225"/>
                  <a:gd name="T10" fmla="*/ 63 w 237"/>
                  <a:gd name="T11" fmla="*/ 72 h 225"/>
                  <a:gd name="T12" fmla="*/ 57 w 237"/>
                  <a:gd name="T13" fmla="*/ 75 h 225"/>
                  <a:gd name="T14" fmla="*/ 57 w 237"/>
                  <a:gd name="T15" fmla="*/ 81 h 225"/>
                  <a:gd name="T16" fmla="*/ 51 w 237"/>
                  <a:gd name="T17" fmla="*/ 84 h 225"/>
                  <a:gd name="T18" fmla="*/ 42 w 237"/>
                  <a:gd name="T19" fmla="*/ 87 h 225"/>
                  <a:gd name="T20" fmla="*/ 36 w 237"/>
                  <a:gd name="T21" fmla="*/ 93 h 225"/>
                  <a:gd name="T22" fmla="*/ 27 w 237"/>
                  <a:gd name="T23" fmla="*/ 96 h 225"/>
                  <a:gd name="T24" fmla="*/ 21 w 237"/>
                  <a:gd name="T25" fmla="*/ 99 h 225"/>
                  <a:gd name="T26" fmla="*/ 3 w 237"/>
                  <a:gd name="T27" fmla="*/ 111 h 225"/>
                  <a:gd name="T28" fmla="*/ 3 w 237"/>
                  <a:gd name="T29" fmla="*/ 126 h 225"/>
                  <a:gd name="T30" fmla="*/ 3 w 237"/>
                  <a:gd name="T31" fmla="*/ 126 h 225"/>
                  <a:gd name="T32" fmla="*/ 114 w 237"/>
                  <a:gd name="T33" fmla="*/ 201 h 225"/>
                  <a:gd name="T34" fmla="*/ 120 w 237"/>
                  <a:gd name="T35" fmla="*/ 210 h 225"/>
                  <a:gd name="T36" fmla="*/ 132 w 237"/>
                  <a:gd name="T37" fmla="*/ 213 h 225"/>
                  <a:gd name="T38" fmla="*/ 138 w 237"/>
                  <a:gd name="T39" fmla="*/ 225 h 225"/>
                  <a:gd name="T40" fmla="*/ 150 w 237"/>
                  <a:gd name="T41" fmla="*/ 225 h 225"/>
                  <a:gd name="T42" fmla="*/ 168 w 237"/>
                  <a:gd name="T43" fmla="*/ 219 h 225"/>
                  <a:gd name="T44" fmla="*/ 189 w 237"/>
                  <a:gd name="T45" fmla="*/ 201 h 225"/>
                  <a:gd name="T46" fmla="*/ 237 w 237"/>
                  <a:gd name="T47" fmla="*/ 171 h 225"/>
                  <a:gd name="T48" fmla="*/ 237 w 237"/>
                  <a:gd name="T49" fmla="*/ 171 h 225"/>
                  <a:gd name="T50" fmla="*/ 231 w 237"/>
                  <a:gd name="T51" fmla="*/ 162 h 225"/>
                  <a:gd name="T52" fmla="*/ 222 w 237"/>
                  <a:gd name="T53" fmla="*/ 159 h 225"/>
                  <a:gd name="T54" fmla="*/ 216 w 237"/>
                  <a:gd name="T55" fmla="*/ 156 h 225"/>
                  <a:gd name="T56" fmla="*/ 213 w 237"/>
                  <a:gd name="T57" fmla="*/ 147 h 225"/>
                  <a:gd name="T58" fmla="*/ 207 w 237"/>
                  <a:gd name="T59" fmla="*/ 138 h 225"/>
                  <a:gd name="T60" fmla="*/ 213 w 237"/>
                  <a:gd name="T61" fmla="*/ 135 h 225"/>
                  <a:gd name="T62" fmla="*/ 213 w 237"/>
                  <a:gd name="T63" fmla="*/ 129 h 225"/>
                  <a:gd name="T64" fmla="*/ 213 w 237"/>
                  <a:gd name="T65" fmla="*/ 120 h 225"/>
                  <a:gd name="T66" fmla="*/ 213 w 237"/>
                  <a:gd name="T67" fmla="*/ 114 h 225"/>
                  <a:gd name="T68" fmla="*/ 213 w 237"/>
                  <a:gd name="T69" fmla="*/ 102 h 225"/>
                  <a:gd name="T70" fmla="*/ 207 w 237"/>
                  <a:gd name="T71" fmla="*/ 93 h 225"/>
                  <a:gd name="T72" fmla="*/ 210 w 237"/>
                  <a:gd name="T73" fmla="*/ 90 h 225"/>
                  <a:gd name="T74" fmla="*/ 210 w 237"/>
                  <a:gd name="T75" fmla="*/ 87 h 225"/>
                  <a:gd name="T76" fmla="*/ 204 w 237"/>
                  <a:gd name="T77" fmla="*/ 66 h 225"/>
                  <a:gd name="T78" fmla="*/ 195 w 237"/>
                  <a:gd name="T79" fmla="*/ 60 h 225"/>
                  <a:gd name="T80" fmla="*/ 189 w 237"/>
                  <a:gd name="T81" fmla="*/ 51 h 225"/>
                  <a:gd name="T82" fmla="*/ 186 w 237"/>
                  <a:gd name="T83" fmla="*/ 39 h 225"/>
                  <a:gd name="T84" fmla="*/ 192 w 237"/>
                  <a:gd name="T85" fmla="*/ 33 h 225"/>
                  <a:gd name="T86" fmla="*/ 195 w 237"/>
                  <a:gd name="T87" fmla="*/ 21 h 225"/>
                  <a:gd name="T88" fmla="*/ 198 w 237"/>
                  <a:gd name="T89" fmla="*/ 3 h 225"/>
                  <a:gd name="T90" fmla="*/ 186 w 237"/>
                  <a:gd name="T91" fmla="*/ 0 h 225"/>
                  <a:gd name="T92" fmla="*/ 174 w 237"/>
                  <a:gd name="T93" fmla="*/ 3 h 225"/>
                  <a:gd name="T94" fmla="*/ 159 w 237"/>
                  <a:gd name="T95" fmla="*/ 6 h 225"/>
                  <a:gd name="T96" fmla="*/ 117 w 237"/>
                  <a:gd name="T97" fmla="*/ 9 h 225"/>
                  <a:gd name="T98" fmla="*/ 99 w 237"/>
                  <a:gd name="T99" fmla="*/ 18 h 225"/>
                  <a:gd name="T100" fmla="*/ 81 w 237"/>
                  <a:gd name="T101" fmla="*/ 27 h 225"/>
                  <a:gd name="T102" fmla="*/ 78 w 237"/>
                  <a:gd name="T103" fmla="*/ 27 h 225"/>
                  <a:gd name="T104" fmla="*/ 78 w 237"/>
                  <a:gd name="T105" fmla="*/ 33 h 225"/>
                  <a:gd name="T106" fmla="*/ 81 w 237"/>
                  <a:gd name="T107" fmla="*/ 4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225">
                    <a:moveTo>
                      <a:pt x="81" y="45"/>
                    </a:moveTo>
                    <a:cubicBezTo>
                      <a:pt x="81" y="48"/>
                      <a:pt x="81" y="54"/>
                      <a:pt x="84" y="54"/>
                    </a:cubicBezTo>
                    <a:cubicBezTo>
                      <a:pt x="84" y="54"/>
                      <a:pt x="87" y="60"/>
                      <a:pt x="87" y="63"/>
                    </a:cubicBezTo>
                    <a:cubicBezTo>
                      <a:pt x="87" y="63"/>
                      <a:pt x="87" y="66"/>
                      <a:pt x="84" y="66"/>
                    </a:cubicBezTo>
                    <a:cubicBezTo>
                      <a:pt x="69" y="66"/>
                      <a:pt x="69" y="66"/>
                      <a:pt x="69" y="66"/>
                    </a:cubicBezTo>
                    <a:cubicBezTo>
                      <a:pt x="69" y="69"/>
                      <a:pt x="66" y="72"/>
                      <a:pt x="63" y="72"/>
                    </a:cubicBezTo>
                    <a:cubicBezTo>
                      <a:pt x="57" y="72"/>
                      <a:pt x="57" y="69"/>
                      <a:pt x="57" y="75"/>
                    </a:cubicBezTo>
                    <a:cubicBezTo>
                      <a:pt x="57" y="78"/>
                      <a:pt x="60" y="81"/>
                      <a:pt x="57" y="81"/>
                    </a:cubicBezTo>
                    <a:cubicBezTo>
                      <a:pt x="54" y="81"/>
                      <a:pt x="54" y="84"/>
                      <a:pt x="51" y="84"/>
                    </a:cubicBezTo>
                    <a:cubicBezTo>
                      <a:pt x="48" y="84"/>
                      <a:pt x="42" y="84"/>
                      <a:pt x="42" y="87"/>
                    </a:cubicBezTo>
                    <a:cubicBezTo>
                      <a:pt x="42" y="90"/>
                      <a:pt x="42" y="93"/>
                      <a:pt x="36" y="93"/>
                    </a:cubicBezTo>
                    <a:cubicBezTo>
                      <a:pt x="33" y="93"/>
                      <a:pt x="27" y="93"/>
                      <a:pt x="27" y="96"/>
                    </a:cubicBezTo>
                    <a:cubicBezTo>
                      <a:pt x="27" y="99"/>
                      <a:pt x="21" y="96"/>
                      <a:pt x="21" y="99"/>
                    </a:cubicBezTo>
                    <a:cubicBezTo>
                      <a:pt x="18" y="99"/>
                      <a:pt x="3" y="108"/>
                      <a:pt x="3" y="111"/>
                    </a:cubicBezTo>
                    <a:cubicBezTo>
                      <a:pt x="0" y="111"/>
                      <a:pt x="3" y="117"/>
                      <a:pt x="3" y="126"/>
                    </a:cubicBezTo>
                    <a:cubicBezTo>
                      <a:pt x="3" y="126"/>
                      <a:pt x="3" y="126"/>
                      <a:pt x="3" y="126"/>
                    </a:cubicBezTo>
                    <a:cubicBezTo>
                      <a:pt x="9" y="129"/>
                      <a:pt x="111" y="198"/>
                      <a:pt x="114" y="201"/>
                    </a:cubicBezTo>
                    <a:cubicBezTo>
                      <a:pt x="117" y="204"/>
                      <a:pt x="120" y="210"/>
                      <a:pt x="120" y="210"/>
                    </a:cubicBezTo>
                    <a:cubicBezTo>
                      <a:pt x="120" y="210"/>
                      <a:pt x="129" y="210"/>
                      <a:pt x="132" y="213"/>
                    </a:cubicBezTo>
                    <a:cubicBezTo>
                      <a:pt x="138" y="219"/>
                      <a:pt x="138" y="225"/>
                      <a:pt x="138" y="225"/>
                    </a:cubicBezTo>
                    <a:cubicBezTo>
                      <a:pt x="138" y="225"/>
                      <a:pt x="147" y="225"/>
                      <a:pt x="150" y="225"/>
                    </a:cubicBezTo>
                    <a:cubicBezTo>
                      <a:pt x="153" y="222"/>
                      <a:pt x="168" y="219"/>
                      <a:pt x="168" y="219"/>
                    </a:cubicBezTo>
                    <a:cubicBezTo>
                      <a:pt x="189" y="201"/>
                      <a:pt x="189" y="201"/>
                      <a:pt x="189" y="201"/>
                    </a:cubicBezTo>
                    <a:cubicBezTo>
                      <a:pt x="237" y="171"/>
                      <a:pt x="237" y="171"/>
                      <a:pt x="237" y="171"/>
                    </a:cubicBezTo>
                    <a:cubicBezTo>
                      <a:pt x="237" y="171"/>
                      <a:pt x="237" y="171"/>
                      <a:pt x="237" y="171"/>
                    </a:cubicBezTo>
                    <a:cubicBezTo>
                      <a:pt x="234" y="165"/>
                      <a:pt x="234" y="162"/>
                      <a:pt x="231" y="162"/>
                    </a:cubicBezTo>
                    <a:cubicBezTo>
                      <a:pt x="228" y="162"/>
                      <a:pt x="225" y="159"/>
                      <a:pt x="222" y="159"/>
                    </a:cubicBezTo>
                    <a:cubicBezTo>
                      <a:pt x="219" y="159"/>
                      <a:pt x="216" y="159"/>
                      <a:pt x="216" y="156"/>
                    </a:cubicBezTo>
                    <a:cubicBezTo>
                      <a:pt x="213" y="153"/>
                      <a:pt x="216" y="150"/>
                      <a:pt x="213" y="147"/>
                    </a:cubicBezTo>
                    <a:cubicBezTo>
                      <a:pt x="210" y="141"/>
                      <a:pt x="207" y="141"/>
                      <a:pt x="207" y="138"/>
                    </a:cubicBezTo>
                    <a:cubicBezTo>
                      <a:pt x="213" y="135"/>
                      <a:pt x="213" y="135"/>
                      <a:pt x="213" y="135"/>
                    </a:cubicBezTo>
                    <a:cubicBezTo>
                      <a:pt x="213" y="132"/>
                      <a:pt x="213" y="129"/>
                      <a:pt x="213" y="129"/>
                    </a:cubicBezTo>
                    <a:cubicBezTo>
                      <a:pt x="213" y="126"/>
                      <a:pt x="210" y="123"/>
                      <a:pt x="213" y="120"/>
                    </a:cubicBezTo>
                    <a:cubicBezTo>
                      <a:pt x="213" y="120"/>
                      <a:pt x="213" y="117"/>
                      <a:pt x="213" y="114"/>
                    </a:cubicBezTo>
                    <a:cubicBezTo>
                      <a:pt x="210" y="111"/>
                      <a:pt x="216" y="108"/>
                      <a:pt x="213" y="102"/>
                    </a:cubicBezTo>
                    <a:cubicBezTo>
                      <a:pt x="210" y="96"/>
                      <a:pt x="207" y="93"/>
                      <a:pt x="207" y="93"/>
                    </a:cubicBezTo>
                    <a:cubicBezTo>
                      <a:pt x="207" y="90"/>
                      <a:pt x="210" y="90"/>
                      <a:pt x="210" y="90"/>
                    </a:cubicBezTo>
                    <a:cubicBezTo>
                      <a:pt x="210" y="87"/>
                      <a:pt x="210" y="87"/>
                      <a:pt x="210" y="87"/>
                    </a:cubicBezTo>
                    <a:cubicBezTo>
                      <a:pt x="210" y="81"/>
                      <a:pt x="207" y="69"/>
                      <a:pt x="204" y="66"/>
                    </a:cubicBezTo>
                    <a:cubicBezTo>
                      <a:pt x="201" y="63"/>
                      <a:pt x="195" y="63"/>
                      <a:pt x="195" y="60"/>
                    </a:cubicBezTo>
                    <a:cubicBezTo>
                      <a:pt x="195" y="57"/>
                      <a:pt x="195" y="54"/>
                      <a:pt x="189" y="51"/>
                    </a:cubicBezTo>
                    <a:cubicBezTo>
                      <a:pt x="186" y="51"/>
                      <a:pt x="183" y="39"/>
                      <a:pt x="186" y="39"/>
                    </a:cubicBezTo>
                    <a:cubicBezTo>
                      <a:pt x="189" y="39"/>
                      <a:pt x="189" y="33"/>
                      <a:pt x="192" y="33"/>
                    </a:cubicBezTo>
                    <a:cubicBezTo>
                      <a:pt x="195" y="33"/>
                      <a:pt x="198" y="24"/>
                      <a:pt x="195" y="21"/>
                    </a:cubicBezTo>
                    <a:cubicBezTo>
                      <a:pt x="195" y="18"/>
                      <a:pt x="195" y="9"/>
                      <a:pt x="198" y="3"/>
                    </a:cubicBezTo>
                    <a:cubicBezTo>
                      <a:pt x="192" y="3"/>
                      <a:pt x="186" y="3"/>
                      <a:pt x="186" y="0"/>
                    </a:cubicBezTo>
                    <a:cubicBezTo>
                      <a:pt x="183" y="0"/>
                      <a:pt x="177" y="3"/>
                      <a:pt x="174" y="3"/>
                    </a:cubicBezTo>
                    <a:cubicBezTo>
                      <a:pt x="171" y="3"/>
                      <a:pt x="162" y="9"/>
                      <a:pt x="159" y="6"/>
                    </a:cubicBezTo>
                    <a:cubicBezTo>
                      <a:pt x="156" y="3"/>
                      <a:pt x="126" y="9"/>
                      <a:pt x="117" y="9"/>
                    </a:cubicBezTo>
                    <a:cubicBezTo>
                      <a:pt x="108" y="9"/>
                      <a:pt x="105" y="18"/>
                      <a:pt x="99" y="18"/>
                    </a:cubicBezTo>
                    <a:cubicBezTo>
                      <a:pt x="93" y="18"/>
                      <a:pt x="87" y="21"/>
                      <a:pt x="81" y="27"/>
                    </a:cubicBezTo>
                    <a:cubicBezTo>
                      <a:pt x="78" y="27"/>
                      <a:pt x="78" y="27"/>
                      <a:pt x="78" y="27"/>
                    </a:cubicBezTo>
                    <a:cubicBezTo>
                      <a:pt x="78" y="30"/>
                      <a:pt x="78" y="30"/>
                      <a:pt x="78" y="33"/>
                    </a:cubicBezTo>
                    <a:cubicBezTo>
                      <a:pt x="81" y="36"/>
                      <a:pt x="81" y="39"/>
                      <a:pt x="81"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8" name="Freeform 672"/>
              <p:cNvSpPr>
                <a:spLocks/>
              </p:cNvSpPr>
              <p:nvPr userDrawn="1"/>
            </p:nvSpPr>
            <p:spPr bwMode="auto">
              <a:xfrm>
                <a:off x="3648" y="-1749"/>
                <a:ext cx="265" cy="256"/>
              </a:xfrm>
              <a:custGeom>
                <a:avLst/>
                <a:gdLst>
                  <a:gd name="T0" fmla="*/ 18 w 170"/>
                  <a:gd name="T1" fmla="*/ 9 h 164"/>
                  <a:gd name="T2" fmla="*/ 12 w 170"/>
                  <a:gd name="T3" fmla="*/ 18 h 164"/>
                  <a:gd name="T4" fmla="*/ 9 w 170"/>
                  <a:gd name="T5" fmla="*/ 21 h 164"/>
                  <a:gd name="T6" fmla="*/ 9 w 170"/>
                  <a:gd name="T7" fmla="*/ 30 h 164"/>
                  <a:gd name="T8" fmla="*/ 0 w 170"/>
                  <a:gd name="T9" fmla="*/ 39 h 164"/>
                  <a:gd name="T10" fmla="*/ 6 w 170"/>
                  <a:gd name="T11" fmla="*/ 48 h 164"/>
                  <a:gd name="T12" fmla="*/ 6 w 170"/>
                  <a:gd name="T13" fmla="*/ 60 h 164"/>
                  <a:gd name="T14" fmla="*/ 6 w 170"/>
                  <a:gd name="T15" fmla="*/ 66 h 164"/>
                  <a:gd name="T16" fmla="*/ 6 w 170"/>
                  <a:gd name="T17" fmla="*/ 75 h 164"/>
                  <a:gd name="T18" fmla="*/ 6 w 170"/>
                  <a:gd name="T19" fmla="*/ 81 h 164"/>
                  <a:gd name="T20" fmla="*/ 0 w 170"/>
                  <a:gd name="T21" fmla="*/ 84 h 164"/>
                  <a:gd name="T22" fmla="*/ 6 w 170"/>
                  <a:gd name="T23" fmla="*/ 93 h 164"/>
                  <a:gd name="T24" fmla="*/ 9 w 170"/>
                  <a:gd name="T25" fmla="*/ 101 h 164"/>
                  <a:gd name="T26" fmla="*/ 15 w 170"/>
                  <a:gd name="T27" fmla="*/ 104 h 164"/>
                  <a:gd name="T28" fmla="*/ 24 w 170"/>
                  <a:gd name="T29" fmla="*/ 107 h 164"/>
                  <a:gd name="T30" fmla="*/ 30 w 170"/>
                  <a:gd name="T31" fmla="*/ 116 h 164"/>
                  <a:gd name="T32" fmla="*/ 45 w 170"/>
                  <a:gd name="T33" fmla="*/ 119 h 164"/>
                  <a:gd name="T34" fmla="*/ 54 w 170"/>
                  <a:gd name="T35" fmla="*/ 128 h 164"/>
                  <a:gd name="T36" fmla="*/ 72 w 170"/>
                  <a:gd name="T37" fmla="*/ 116 h 164"/>
                  <a:gd name="T38" fmla="*/ 159 w 170"/>
                  <a:gd name="T39" fmla="*/ 164 h 164"/>
                  <a:gd name="T40" fmla="*/ 159 w 170"/>
                  <a:gd name="T41" fmla="*/ 158 h 164"/>
                  <a:gd name="T42" fmla="*/ 168 w 170"/>
                  <a:gd name="T43" fmla="*/ 158 h 164"/>
                  <a:gd name="T44" fmla="*/ 168 w 170"/>
                  <a:gd name="T45" fmla="*/ 48 h 164"/>
                  <a:gd name="T46" fmla="*/ 168 w 170"/>
                  <a:gd name="T47" fmla="*/ 30 h 164"/>
                  <a:gd name="T48" fmla="*/ 170 w 170"/>
                  <a:gd name="T49" fmla="*/ 18 h 164"/>
                  <a:gd name="T50" fmla="*/ 170 w 170"/>
                  <a:gd name="T51" fmla="*/ 15 h 164"/>
                  <a:gd name="T52" fmla="*/ 170 w 170"/>
                  <a:gd name="T53" fmla="*/ 15 h 164"/>
                  <a:gd name="T54" fmla="*/ 156 w 170"/>
                  <a:gd name="T55" fmla="*/ 9 h 164"/>
                  <a:gd name="T56" fmla="*/ 138 w 170"/>
                  <a:gd name="T57" fmla="*/ 0 h 164"/>
                  <a:gd name="T58" fmla="*/ 114 w 170"/>
                  <a:gd name="T59" fmla="*/ 15 h 164"/>
                  <a:gd name="T60" fmla="*/ 114 w 170"/>
                  <a:gd name="T61" fmla="*/ 27 h 164"/>
                  <a:gd name="T62" fmla="*/ 96 w 170"/>
                  <a:gd name="T63" fmla="*/ 27 h 164"/>
                  <a:gd name="T64" fmla="*/ 78 w 170"/>
                  <a:gd name="T65" fmla="*/ 21 h 164"/>
                  <a:gd name="T66" fmla="*/ 66 w 170"/>
                  <a:gd name="T67" fmla="*/ 12 h 164"/>
                  <a:gd name="T68" fmla="*/ 57 w 170"/>
                  <a:gd name="T69" fmla="*/ 6 h 164"/>
                  <a:gd name="T70" fmla="*/ 39 w 170"/>
                  <a:gd name="T71" fmla="*/ 3 h 164"/>
                  <a:gd name="T72" fmla="*/ 24 w 170"/>
                  <a:gd name="T73" fmla="*/ 0 h 164"/>
                  <a:gd name="T74" fmla="*/ 24 w 170"/>
                  <a:gd name="T75" fmla="*/ 6 h 164"/>
                  <a:gd name="T76" fmla="*/ 18 w 170"/>
                  <a:gd name="T77"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0" h="164">
                    <a:moveTo>
                      <a:pt x="18" y="9"/>
                    </a:moveTo>
                    <a:cubicBezTo>
                      <a:pt x="18" y="9"/>
                      <a:pt x="12" y="15"/>
                      <a:pt x="12" y="18"/>
                    </a:cubicBezTo>
                    <a:cubicBezTo>
                      <a:pt x="9" y="18"/>
                      <a:pt x="9" y="21"/>
                      <a:pt x="9" y="21"/>
                    </a:cubicBezTo>
                    <a:cubicBezTo>
                      <a:pt x="9" y="24"/>
                      <a:pt x="9" y="27"/>
                      <a:pt x="9" y="30"/>
                    </a:cubicBezTo>
                    <a:cubicBezTo>
                      <a:pt x="6" y="33"/>
                      <a:pt x="0" y="36"/>
                      <a:pt x="0" y="39"/>
                    </a:cubicBezTo>
                    <a:cubicBezTo>
                      <a:pt x="0" y="39"/>
                      <a:pt x="3" y="42"/>
                      <a:pt x="6" y="48"/>
                    </a:cubicBezTo>
                    <a:cubicBezTo>
                      <a:pt x="9" y="54"/>
                      <a:pt x="3" y="57"/>
                      <a:pt x="6" y="60"/>
                    </a:cubicBezTo>
                    <a:cubicBezTo>
                      <a:pt x="6" y="63"/>
                      <a:pt x="6" y="66"/>
                      <a:pt x="6" y="66"/>
                    </a:cubicBezTo>
                    <a:cubicBezTo>
                      <a:pt x="3" y="69"/>
                      <a:pt x="6" y="72"/>
                      <a:pt x="6" y="75"/>
                    </a:cubicBezTo>
                    <a:cubicBezTo>
                      <a:pt x="6" y="75"/>
                      <a:pt x="6" y="78"/>
                      <a:pt x="6" y="81"/>
                    </a:cubicBezTo>
                    <a:cubicBezTo>
                      <a:pt x="0" y="84"/>
                      <a:pt x="0" y="84"/>
                      <a:pt x="0" y="84"/>
                    </a:cubicBezTo>
                    <a:cubicBezTo>
                      <a:pt x="0" y="87"/>
                      <a:pt x="3" y="87"/>
                      <a:pt x="6" y="93"/>
                    </a:cubicBezTo>
                    <a:cubicBezTo>
                      <a:pt x="9" y="96"/>
                      <a:pt x="6" y="99"/>
                      <a:pt x="9" y="101"/>
                    </a:cubicBezTo>
                    <a:cubicBezTo>
                      <a:pt x="9" y="104"/>
                      <a:pt x="12" y="104"/>
                      <a:pt x="15" y="104"/>
                    </a:cubicBezTo>
                    <a:cubicBezTo>
                      <a:pt x="18" y="104"/>
                      <a:pt x="21" y="107"/>
                      <a:pt x="24" y="107"/>
                    </a:cubicBezTo>
                    <a:cubicBezTo>
                      <a:pt x="27" y="107"/>
                      <a:pt x="27" y="110"/>
                      <a:pt x="30" y="116"/>
                    </a:cubicBezTo>
                    <a:cubicBezTo>
                      <a:pt x="30" y="116"/>
                      <a:pt x="42" y="116"/>
                      <a:pt x="45" y="119"/>
                    </a:cubicBezTo>
                    <a:cubicBezTo>
                      <a:pt x="51" y="122"/>
                      <a:pt x="54" y="128"/>
                      <a:pt x="54" y="128"/>
                    </a:cubicBezTo>
                    <a:cubicBezTo>
                      <a:pt x="72" y="116"/>
                      <a:pt x="72" y="116"/>
                      <a:pt x="72" y="116"/>
                    </a:cubicBezTo>
                    <a:cubicBezTo>
                      <a:pt x="159" y="164"/>
                      <a:pt x="159" y="164"/>
                      <a:pt x="159" y="164"/>
                    </a:cubicBezTo>
                    <a:cubicBezTo>
                      <a:pt x="159" y="158"/>
                      <a:pt x="159" y="158"/>
                      <a:pt x="159" y="158"/>
                    </a:cubicBezTo>
                    <a:cubicBezTo>
                      <a:pt x="168" y="158"/>
                      <a:pt x="168" y="158"/>
                      <a:pt x="168" y="158"/>
                    </a:cubicBezTo>
                    <a:cubicBezTo>
                      <a:pt x="168" y="158"/>
                      <a:pt x="168" y="54"/>
                      <a:pt x="168" y="48"/>
                    </a:cubicBezTo>
                    <a:cubicBezTo>
                      <a:pt x="168" y="39"/>
                      <a:pt x="165" y="36"/>
                      <a:pt x="168" y="30"/>
                    </a:cubicBezTo>
                    <a:cubicBezTo>
                      <a:pt x="170" y="27"/>
                      <a:pt x="168" y="24"/>
                      <a:pt x="170" y="18"/>
                    </a:cubicBezTo>
                    <a:cubicBezTo>
                      <a:pt x="170" y="15"/>
                      <a:pt x="170" y="15"/>
                      <a:pt x="170" y="15"/>
                    </a:cubicBezTo>
                    <a:cubicBezTo>
                      <a:pt x="170" y="15"/>
                      <a:pt x="170" y="15"/>
                      <a:pt x="170" y="15"/>
                    </a:cubicBezTo>
                    <a:cubicBezTo>
                      <a:pt x="170" y="12"/>
                      <a:pt x="165" y="12"/>
                      <a:pt x="156" y="9"/>
                    </a:cubicBezTo>
                    <a:cubicBezTo>
                      <a:pt x="147" y="9"/>
                      <a:pt x="150" y="0"/>
                      <a:pt x="138" y="0"/>
                    </a:cubicBezTo>
                    <a:cubicBezTo>
                      <a:pt x="126" y="0"/>
                      <a:pt x="114" y="9"/>
                      <a:pt x="114" y="15"/>
                    </a:cubicBezTo>
                    <a:cubicBezTo>
                      <a:pt x="114" y="18"/>
                      <a:pt x="117" y="24"/>
                      <a:pt x="114" y="27"/>
                    </a:cubicBezTo>
                    <a:cubicBezTo>
                      <a:pt x="111" y="33"/>
                      <a:pt x="102" y="33"/>
                      <a:pt x="96" y="27"/>
                    </a:cubicBezTo>
                    <a:cubicBezTo>
                      <a:pt x="93" y="24"/>
                      <a:pt x="84" y="21"/>
                      <a:pt x="78" y="21"/>
                    </a:cubicBezTo>
                    <a:cubicBezTo>
                      <a:pt x="69" y="21"/>
                      <a:pt x="66" y="18"/>
                      <a:pt x="66" y="12"/>
                    </a:cubicBezTo>
                    <a:cubicBezTo>
                      <a:pt x="66" y="9"/>
                      <a:pt x="63" y="9"/>
                      <a:pt x="57" y="6"/>
                    </a:cubicBezTo>
                    <a:cubicBezTo>
                      <a:pt x="51" y="6"/>
                      <a:pt x="48" y="0"/>
                      <a:pt x="39" y="3"/>
                    </a:cubicBezTo>
                    <a:cubicBezTo>
                      <a:pt x="33" y="3"/>
                      <a:pt x="27" y="0"/>
                      <a:pt x="24" y="0"/>
                    </a:cubicBezTo>
                    <a:cubicBezTo>
                      <a:pt x="24" y="3"/>
                      <a:pt x="24" y="3"/>
                      <a:pt x="24" y="6"/>
                    </a:cubicBezTo>
                    <a:cubicBezTo>
                      <a:pt x="24" y="9"/>
                      <a:pt x="21" y="9"/>
                      <a:pt x="18"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99" name="Freeform 673"/>
              <p:cNvSpPr>
                <a:spLocks/>
              </p:cNvSpPr>
              <p:nvPr userDrawn="1"/>
            </p:nvSpPr>
            <p:spPr bwMode="auto">
              <a:xfrm>
                <a:off x="3648" y="-1749"/>
                <a:ext cx="265" cy="256"/>
              </a:xfrm>
              <a:custGeom>
                <a:avLst/>
                <a:gdLst>
                  <a:gd name="T0" fmla="*/ 18 w 170"/>
                  <a:gd name="T1" fmla="*/ 9 h 164"/>
                  <a:gd name="T2" fmla="*/ 12 w 170"/>
                  <a:gd name="T3" fmla="*/ 18 h 164"/>
                  <a:gd name="T4" fmla="*/ 9 w 170"/>
                  <a:gd name="T5" fmla="*/ 21 h 164"/>
                  <a:gd name="T6" fmla="*/ 9 w 170"/>
                  <a:gd name="T7" fmla="*/ 30 h 164"/>
                  <a:gd name="T8" fmla="*/ 0 w 170"/>
                  <a:gd name="T9" fmla="*/ 39 h 164"/>
                  <a:gd name="T10" fmla="*/ 6 w 170"/>
                  <a:gd name="T11" fmla="*/ 48 h 164"/>
                  <a:gd name="T12" fmla="*/ 6 w 170"/>
                  <a:gd name="T13" fmla="*/ 60 h 164"/>
                  <a:gd name="T14" fmla="*/ 6 w 170"/>
                  <a:gd name="T15" fmla="*/ 66 h 164"/>
                  <a:gd name="T16" fmla="*/ 6 w 170"/>
                  <a:gd name="T17" fmla="*/ 75 h 164"/>
                  <a:gd name="T18" fmla="*/ 6 w 170"/>
                  <a:gd name="T19" fmla="*/ 81 h 164"/>
                  <a:gd name="T20" fmla="*/ 0 w 170"/>
                  <a:gd name="T21" fmla="*/ 84 h 164"/>
                  <a:gd name="T22" fmla="*/ 6 w 170"/>
                  <a:gd name="T23" fmla="*/ 93 h 164"/>
                  <a:gd name="T24" fmla="*/ 9 w 170"/>
                  <a:gd name="T25" fmla="*/ 101 h 164"/>
                  <a:gd name="T26" fmla="*/ 15 w 170"/>
                  <a:gd name="T27" fmla="*/ 104 h 164"/>
                  <a:gd name="T28" fmla="*/ 24 w 170"/>
                  <a:gd name="T29" fmla="*/ 107 h 164"/>
                  <a:gd name="T30" fmla="*/ 30 w 170"/>
                  <a:gd name="T31" fmla="*/ 116 h 164"/>
                  <a:gd name="T32" fmla="*/ 45 w 170"/>
                  <a:gd name="T33" fmla="*/ 119 h 164"/>
                  <a:gd name="T34" fmla="*/ 54 w 170"/>
                  <a:gd name="T35" fmla="*/ 128 h 164"/>
                  <a:gd name="T36" fmla="*/ 72 w 170"/>
                  <a:gd name="T37" fmla="*/ 116 h 164"/>
                  <a:gd name="T38" fmla="*/ 159 w 170"/>
                  <a:gd name="T39" fmla="*/ 164 h 164"/>
                  <a:gd name="T40" fmla="*/ 159 w 170"/>
                  <a:gd name="T41" fmla="*/ 158 h 164"/>
                  <a:gd name="T42" fmla="*/ 168 w 170"/>
                  <a:gd name="T43" fmla="*/ 158 h 164"/>
                  <a:gd name="T44" fmla="*/ 168 w 170"/>
                  <a:gd name="T45" fmla="*/ 48 h 164"/>
                  <a:gd name="T46" fmla="*/ 168 w 170"/>
                  <a:gd name="T47" fmla="*/ 30 h 164"/>
                  <a:gd name="T48" fmla="*/ 170 w 170"/>
                  <a:gd name="T49" fmla="*/ 18 h 164"/>
                  <a:gd name="T50" fmla="*/ 170 w 170"/>
                  <a:gd name="T51" fmla="*/ 15 h 164"/>
                  <a:gd name="T52" fmla="*/ 170 w 170"/>
                  <a:gd name="T53" fmla="*/ 15 h 164"/>
                  <a:gd name="T54" fmla="*/ 156 w 170"/>
                  <a:gd name="T55" fmla="*/ 9 h 164"/>
                  <a:gd name="T56" fmla="*/ 138 w 170"/>
                  <a:gd name="T57" fmla="*/ 0 h 164"/>
                  <a:gd name="T58" fmla="*/ 114 w 170"/>
                  <a:gd name="T59" fmla="*/ 15 h 164"/>
                  <a:gd name="T60" fmla="*/ 114 w 170"/>
                  <a:gd name="T61" fmla="*/ 27 h 164"/>
                  <a:gd name="T62" fmla="*/ 96 w 170"/>
                  <a:gd name="T63" fmla="*/ 27 h 164"/>
                  <a:gd name="T64" fmla="*/ 78 w 170"/>
                  <a:gd name="T65" fmla="*/ 21 h 164"/>
                  <a:gd name="T66" fmla="*/ 66 w 170"/>
                  <a:gd name="T67" fmla="*/ 12 h 164"/>
                  <a:gd name="T68" fmla="*/ 57 w 170"/>
                  <a:gd name="T69" fmla="*/ 6 h 164"/>
                  <a:gd name="T70" fmla="*/ 39 w 170"/>
                  <a:gd name="T71" fmla="*/ 3 h 164"/>
                  <a:gd name="T72" fmla="*/ 24 w 170"/>
                  <a:gd name="T73" fmla="*/ 0 h 164"/>
                  <a:gd name="T74" fmla="*/ 24 w 170"/>
                  <a:gd name="T75" fmla="*/ 6 h 164"/>
                  <a:gd name="T76" fmla="*/ 18 w 170"/>
                  <a:gd name="T77"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0" h="164">
                    <a:moveTo>
                      <a:pt x="18" y="9"/>
                    </a:moveTo>
                    <a:cubicBezTo>
                      <a:pt x="18" y="9"/>
                      <a:pt x="12" y="15"/>
                      <a:pt x="12" y="18"/>
                    </a:cubicBezTo>
                    <a:cubicBezTo>
                      <a:pt x="9" y="18"/>
                      <a:pt x="9" y="21"/>
                      <a:pt x="9" y="21"/>
                    </a:cubicBezTo>
                    <a:cubicBezTo>
                      <a:pt x="9" y="24"/>
                      <a:pt x="9" y="27"/>
                      <a:pt x="9" y="30"/>
                    </a:cubicBezTo>
                    <a:cubicBezTo>
                      <a:pt x="6" y="33"/>
                      <a:pt x="0" y="36"/>
                      <a:pt x="0" y="39"/>
                    </a:cubicBezTo>
                    <a:cubicBezTo>
                      <a:pt x="0" y="39"/>
                      <a:pt x="3" y="42"/>
                      <a:pt x="6" y="48"/>
                    </a:cubicBezTo>
                    <a:cubicBezTo>
                      <a:pt x="9" y="54"/>
                      <a:pt x="3" y="57"/>
                      <a:pt x="6" y="60"/>
                    </a:cubicBezTo>
                    <a:cubicBezTo>
                      <a:pt x="6" y="63"/>
                      <a:pt x="6" y="66"/>
                      <a:pt x="6" y="66"/>
                    </a:cubicBezTo>
                    <a:cubicBezTo>
                      <a:pt x="3" y="69"/>
                      <a:pt x="6" y="72"/>
                      <a:pt x="6" y="75"/>
                    </a:cubicBezTo>
                    <a:cubicBezTo>
                      <a:pt x="6" y="75"/>
                      <a:pt x="6" y="78"/>
                      <a:pt x="6" y="81"/>
                    </a:cubicBezTo>
                    <a:cubicBezTo>
                      <a:pt x="0" y="84"/>
                      <a:pt x="0" y="84"/>
                      <a:pt x="0" y="84"/>
                    </a:cubicBezTo>
                    <a:cubicBezTo>
                      <a:pt x="0" y="87"/>
                      <a:pt x="3" y="87"/>
                      <a:pt x="6" y="93"/>
                    </a:cubicBezTo>
                    <a:cubicBezTo>
                      <a:pt x="9" y="96"/>
                      <a:pt x="6" y="99"/>
                      <a:pt x="9" y="101"/>
                    </a:cubicBezTo>
                    <a:cubicBezTo>
                      <a:pt x="9" y="104"/>
                      <a:pt x="12" y="104"/>
                      <a:pt x="15" y="104"/>
                    </a:cubicBezTo>
                    <a:cubicBezTo>
                      <a:pt x="18" y="104"/>
                      <a:pt x="21" y="107"/>
                      <a:pt x="24" y="107"/>
                    </a:cubicBezTo>
                    <a:cubicBezTo>
                      <a:pt x="27" y="107"/>
                      <a:pt x="27" y="110"/>
                      <a:pt x="30" y="116"/>
                    </a:cubicBezTo>
                    <a:cubicBezTo>
                      <a:pt x="30" y="116"/>
                      <a:pt x="42" y="116"/>
                      <a:pt x="45" y="119"/>
                    </a:cubicBezTo>
                    <a:cubicBezTo>
                      <a:pt x="51" y="122"/>
                      <a:pt x="54" y="128"/>
                      <a:pt x="54" y="128"/>
                    </a:cubicBezTo>
                    <a:cubicBezTo>
                      <a:pt x="72" y="116"/>
                      <a:pt x="72" y="116"/>
                      <a:pt x="72" y="116"/>
                    </a:cubicBezTo>
                    <a:cubicBezTo>
                      <a:pt x="159" y="164"/>
                      <a:pt x="159" y="164"/>
                      <a:pt x="159" y="164"/>
                    </a:cubicBezTo>
                    <a:cubicBezTo>
                      <a:pt x="159" y="158"/>
                      <a:pt x="159" y="158"/>
                      <a:pt x="159" y="158"/>
                    </a:cubicBezTo>
                    <a:cubicBezTo>
                      <a:pt x="168" y="158"/>
                      <a:pt x="168" y="158"/>
                      <a:pt x="168" y="158"/>
                    </a:cubicBezTo>
                    <a:cubicBezTo>
                      <a:pt x="168" y="158"/>
                      <a:pt x="168" y="54"/>
                      <a:pt x="168" y="48"/>
                    </a:cubicBezTo>
                    <a:cubicBezTo>
                      <a:pt x="168" y="39"/>
                      <a:pt x="165" y="36"/>
                      <a:pt x="168" y="30"/>
                    </a:cubicBezTo>
                    <a:cubicBezTo>
                      <a:pt x="170" y="27"/>
                      <a:pt x="168" y="24"/>
                      <a:pt x="170" y="18"/>
                    </a:cubicBezTo>
                    <a:cubicBezTo>
                      <a:pt x="170" y="15"/>
                      <a:pt x="170" y="15"/>
                      <a:pt x="170" y="15"/>
                    </a:cubicBezTo>
                    <a:cubicBezTo>
                      <a:pt x="170" y="15"/>
                      <a:pt x="170" y="15"/>
                      <a:pt x="170" y="15"/>
                    </a:cubicBezTo>
                    <a:cubicBezTo>
                      <a:pt x="170" y="12"/>
                      <a:pt x="165" y="12"/>
                      <a:pt x="156" y="9"/>
                    </a:cubicBezTo>
                    <a:cubicBezTo>
                      <a:pt x="147" y="9"/>
                      <a:pt x="150" y="0"/>
                      <a:pt x="138" y="0"/>
                    </a:cubicBezTo>
                    <a:cubicBezTo>
                      <a:pt x="126" y="0"/>
                      <a:pt x="114" y="9"/>
                      <a:pt x="114" y="15"/>
                    </a:cubicBezTo>
                    <a:cubicBezTo>
                      <a:pt x="114" y="18"/>
                      <a:pt x="117" y="24"/>
                      <a:pt x="114" y="27"/>
                    </a:cubicBezTo>
                    <a:cubicBezTo>
                      <a:pt x="111" y="33"/>
                      <a:pt x="102" y="33"/>
                      <a:pt x="96" y="27"/>
                    </a:cubicBezTo>
                    <a:cubicBezTo>
                      <a:pt x="93" y="24"/>
                      <a:pt x="84" y="21"/>
                      <a:pt x="78" y="21"/>
                    </a:cubicBezTo>
                    <a:cubicBezTo>
                      <a:pt x="69" y="21"/>
                      <a:pt x="66" y="18"/>
                      <a:pt x="66" y="12"/>
                    </a:cubicBezTo>
                    <a:cubicBezTo>
                      <a:pt x="66" y="9"/>
                      <a:pt x="63" y="9"/>
                      <a:pt x="57" y="6"/>
                    </a:cubicBezTo>
                    <a:cubicBezTo>
                      <a:pt x="51" y="6"/>
                      <a:pt x="48" y="0"/>
                      <a:pt x="39" y="3"/>
                    </a:cubicBezTo>
                    <a:cubicBezTo>
                      <a:pt x="33" y="3"/>
                      <a:pt x="27" y="0"/>
                      <a:pt x="24" y="0"/>
                    </a:cubicBezTo>
                    <a:cubicBezTo>
                      <a:pt x="24" y="3"/>
                      <a:pt x="24" y="3"/>
                      <a:pt x="24" y="6"/>
                    </a:cubicBezTo>
                    <a:cubicBezTo>
                      <a:pt x="24" y="9"/>
                      <a:pt x="21" y="9"/>
                      <a:pt x="18"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0" name="Freeform 674"/>
              <p:cNvSpPr>
                <a:spLocks/>
              </p:cNvSpPr>
              <p:nvPr userDrawn="1"/>
            </p:nvSpPr>
            <p:spPr bwMode="auto">
              <a:xfrm>
                <a:off x="3190" y="-1394"/>
                <a:ext cx="47" cy="18"/>
              </a:xfrm>
              <a:custGeom>
                <a:avLst/>
                <a:gdLst>
                  <a:gd name="T0" fmla="*/ 15 w 30"/>
                  <a:gd name="T1" fmla="*/ 9 h 12"/>
                  <a:gd name="T2" fmla="*/ 24 w 30"/>
                  <a:gd name="T3" fmla="*/ 12 h 12"/>
                  <a:gd name="T4" fmla="*/ 30 w 30"/>
                  <a:gd name="T5" fmla="*/ 9 h 12"/>
                  <a:gd name="T6" fmla="*/ 24 w 30"/>
                  <a:gd name="T7" fmla="*/ 9 h 12"/>
                  <a:gd name="T8" fmla="*/ 15 w 30"/>
                  <a:gd name="T9" fmla="*/ 3 h 12"/>
                  <a:gd name="T10" fmla="*/ 0 w 30"/>
                  <a:gd name="T11" fmla="*/ 6 h 12"/>
                  <a:gd name="T12" fmla="*/ 0 w 30"/>
                  <a:gd name="T13" fmla="*/ 12 h 12"/>
                  <a:gd name="T14" fmla="*/ 3 w 30"/>
                  <a:gd name="T15" fmla="*/ 12 h 12"/>
                  <a:gd name="T16" fmla="*/ 15 w 30"/>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2">
                    <a:moveTo>
                      <a:pt x="15" y="9"/>
                    </a:moveTo>
                    <a:cubicBezTo>
                      <a:pt x="18" y="6"/>
                      <a:pt x="21" y="9"/>
                      <a:pt x="24" y="12"/>
                    </a:cubicBezTo>
                    <a:cubicBezTo>
                      <a:pt x="27" y="12"/>
                      <a:pt x="30" y="9"/>
                      <a:pt x="30" y="9"/>
                    </a:cubicBezTo>
                    <a:cubicBezTo>
                      <a:pt x="30" y="9"/>
                      <a:pt x="30" y="9"/>
                      <a:pt x="24" y="9"/>
                    </a:cubicBezTo>
                    <a:cubicBezTo>
                      <a:pt x="21" y="9"/>
                      <a:pt x="18" y="0"/>
                      <a:pt x="15" y="3"/>
                    </a:cubicBezTo>
                    <a:cubicBezTo>
                      <a:pt x="9" y="6"/>
                      <a:pt x="6" y="6"/>
                      <a:pt x="0" y="6"/>
                    </a:cubicBezTo>
                    <a:cubicBezTo>
                      <a:pt x="0" y="6"/>
                      <a:pt x="0" y="9"/>
                      <a:pt x="0" y="12"/>
                    </a:cubicBezTo>
                    <a:cubicBezTo>
                      <a:pt x="0" y="12"/>
                      <a:pt x="0" y="12"/>
                      <a:pt x="3" y="12"/>
                    </a:cubicBezTo>
                    <a:cubicBezTo>
                      <a:pt x="6" y="12"/>
                      <a:pt x="12" y="9"/>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1" name="Freeform 675"/>
              <p:cNvSpPr>
                <a:spLocks/>
              </p:cNvSpPr>
              <p:nvPr userDrawn="1"/>
            </p:nvSpPr>
            <p:spPr bwMode="auto">
              <a:xfrm>
                <a:off x="3190" y="-1394"/>
                <a:ext cx="47" cy="18"/>
              </a:xfrm>
              <a:custGeom>
                <a:avLst/>
                <a:gdLst>
                  <a:gd name="T0" fmla="*/ 15 w 30"/>
                  <a:gd name="T1" fmla="*/ 9 h 12"/>
                  <a:gd name="T2" fmla="*/ 24 w 30"/>
                  <a:gd name="T3" fmla="*/ 12 h 12"/>
                  <a:gd name="T4" fmla="*/ 30 w 30"/>
                  <a:gd name="T5" fmla="*/ 9 h 12"/>
                  <a:gd name="T6" fmla="*/ 24 w 30"/>
                  <a:gd name="T7" fmla="*/ 9 h 12"/>
                  <a:gd name="T8" fmla="*/ 15 w 30"/>
                  <a:gd name="T9" fmla="*/ 3 h 12"/>
                  <a:gd name="T10" fmla="*/ 0 w 30"/>
                  <a:gd name="T11" fmla="*/ 6 h 12"/>
                  <a:gd name="T12" fmla="*/ 0 w 30"/>
                  <a:gd name="T13" fmla="*/ 12 h 12"/>
                  <a:gd name="T14" fmla="*/ 3 w 30"/>
                  <a:gd name="T15" fmla="*/ 12 h 12"/>
                  <a:gd name="T16" fmla="*/ 15 w 30"/>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2">
                    <a:moveTo>
                      <a:pt x="15" y="9"/>
                    </a:moveTo>
                    <a:cubicBezTo>
                      <a:pt x="18" y="6"/>
                      <a:pt x="21" y="9"/>
                      <a:pt x="24" y="12"/>
                    </a:cubicBezTo>
                    <a:cubicBezTo>
                      <a:pt x="27" y="12"/>
                      <a:pt x="30" y="9"/>
                      <a:pt x="30" y="9"/>
                    </a:cubicBezTo>
                    <a:cubicBezTo>
                      <a:pt x="30" y="9"/>
                      <a:pt x="30" y="9"/>
                      <a:pt x="24" y="9"/>
                    </a:cubicBezTo>
                    <a:cubicBezTo>
                      <a:pt x="21" y="9"/>
                      <a:pt x="18" y="0"/>
                      <a:pt x="15" y="3"/>
                    </a:cubicBezTo>
                    <a:cubicBezTo>
                      <a:pt x="9" y="6"/>
                      <a:pt x="6" y="6"/>
                      <a:pt x="0" y="6"/>
                    </a:cubicBezTo>
                    <a:cubicBezTo>
                      <a:pt x="0" y="6"/>
                      <a:pt x="0" y="9"/>
                      <a:pt x="0" y="12"/>
                    </a:cubicBezTo>
                    <a:cubicBezTo>
                      <a:pt x="0" y="12"/>
                      <a:pt x="0" y="12"/>
                      <a:pt x="3" y="12"/>
                    </a:cubicBezTo>
                    <a:cubicBezTo>
                      <a:pt x="6" y="12"/>
                      <a:pt x="12" y="9"/>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2" name="Freeform 676"/>
              <p:cNvSpPr>
                <a:spLocks/>
              </p:cNvSpPr>
              <p:nvPr userDrawn="1"/>
            </p:nvSpPr>
            <p:spPr bwMode="auto">
              <a:xfrm>
                <a:off x="3176" y="-1441"/>
                <a:ext cx="103" cy="84"/>
              </a:xfrm>
              <a:custGeom>
                <a:avLst/>
                <a:gdLst>
                  <a:gd name="T0" fmla="*/ 15 w 66"/>
                  <a:gd name="T1" fmla="*/ 51 h 54"/>
                  <a:gd name="T2" fmla="*/ 21 w 66"/>
                  <a:gd name="T3" fmla="*/ 48 h 54"/>
                  <a:gd name="T4" fmla="*/ 39 w 66"/>
                  <a:gd name="T5" fmla="*/ 48 h 54"/>
                  <a:gd name="T6" fmla="*/ 42 w 66"/>
                  <a:gd name="T7" fmla="*/ 48 h 54"/>
                  <a:gd name="T8" fmla="*/ 42 w 66"/>
                  <a:gd name="T9" fmla="*/ 48 h 54"/>
                  <a:gd name="T10" fmla="*/ 48 w 66"/>
                  <a:gd name="T11" fmla="*/ 51 h 54"/>
                  <a:gd name="T12" fmla="*/ 66 w 66"/>
                  <a:gd name="T13" fmla="*/ 51 h 54"/>
                  <a:gd name="T14" fmla="*/ 66 w 66"/>
                  <a:gd name="T15" fmla="*/ 51 h 54"/>
                  <a:gd name="T16" fmla="*/ 66 w 66"/>
                  <a:gd name="T17" fmla="*/ 42 h 54"/>
                  <a:gd name="T18" fmla="*/ 60 w 66"/>
                  <a:gd name="T19" fmla="*/ 36 h 54"/>
                  <a:gd name="T20" fmla="*/ 60 w 66"/>
                  <a:gd name="T21" fmla="*/ 30 h 54"/>
                  <a:gd name="T22" fmla="*/ 57 w 66"/>
                  <a:gd name="T23" fmla="*/ 27 h 54"/>
                  <a:gd name="T24" fmla="*/ 51 w 66"/>
                  <a:gd name="T25" fmla="*/ 18 h 54"/>
                  <a:gd name="T26" fmla="*/ 42 w 66"/>
                  <a:gd name="T27" fmla="*/ 9 h 54"/>
                  <a:gd name="T28" fmla="*/ 39 w 66"/>
                  <a:gd name="T29" fmla="*/ 9 h 54"/>
                  <a:gd name="T30" fmla="*/ 33 w 66"/>
                  <a:gd name="T31" fmla="*/ 3 h 54"/>
                  <a:gd name="T32" fmla="*/ 24 w 66"/>
                  <a:gd name="T33" fmla="*/ 3 h 54"/>
                  <a:gd name="T34" fmla="*/ 15 w 66"/>
                  <a:gd name="T35" fmla="*/ 3 h 54"/>
                  <a:gd name="T36" fmla="*/ 6 w 66"/>
                  <a:gd name="T37" fmla="*/ 9 h 54"/>
                  <a:gd name="T38" fmla="*/ 6 w 66"/>
                  <a:gd name="T39" fmla="*/ 9 h 54"/>
                  <a:gd name="T40" fmla="*/ 3 w 66"/>
                  <a:gd name="T41" fmla="*/ 18 h 54"/>
                  <a:gd name="T42" fmla="*/ 9 w 66"/>
                  <a:gd name="T43" fmla="*/ 33 h 54"/>
                  <a:gd name="T44" fmla="*/ 9 w 66"/>
                  <a:gd name="T45" fmla="*/ 36 h 54"/>
                  <a:gd name="T46" fmla="*/ 24 w 66"/>
                  <a:gd name="T47" fmla="*/ 33 h 54"/>
                  <a:gd name="T48" fmla="*/ 33 w 66"/>
                  <a:gd name="T49" fmla="*/ 39 h 54"/>
                  <a:gd name="T50" fmla="*/ 39 w 66"/>
                  <a:gd name="T51" fmla="*/ 39 h 54"/>
                  <a:gd name="T52" fmla="*/ 33 w 66"/>
                  <a:gd name="T53" fmla="*/ 42 h 54"/>
                  <a:gd name="T54" fmla="*/ 24 w 66"/>
                  <a:gd name="T55" fmla="*/ 39 h 54"/>
                  <a:gd name="T56" fmla="*/ 12 w 66"/>
                  <a:gd name="T57" fmla="*/ 42 h 54"/>
                  <a:gd name="T58" fmla="*/ 9 w 66"/>
                  <a:gd name="T59" fmla="*/ 42 h 54"/>
                  <a:gd name="T60" fmla="*/ 9 w 66"/>
                  <a:gd name="T61" fmla="*/ 48 h 54"/>
                  <a:gd name="T62" fmla="*/ 9 w 66"/>
                  <a:gd name="T63" fmla="*/ 48 h 54"/>
                  <a:gd name="T64" fmla="*/ 15 w 66"/>
                  <a:gd name="T65"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54">
                    <a:moveTo>
                      <a:pt x="15" y="51"/>
                    </a:moveTo>
                    <a:cubicBezTo>
                      <a:pt x="18" y="51"/>
                      <a:pt x="21" y="48"/>
                      <a:pt x="21" y="48"/>
                    </a:cubicBezTo>
                    <a:cubicBezTo>
                      <a:pt x="21" y="48"/>
                      <a:pt x="36" y="48"/>
                      <a:pt x="39" y="48"/>
                    </a:cubicBezTo>
                    <a:cubicBezTo>
                      <a:pt x="39" y="48"/>
                      <a:pt x="39" y="48"/>
                      <a:pt x="42" y="48"/>
                    </a:cubicBezTo>
                    <a:cubicBezTo>
                      <a:pt x="42" y="48"/>
                      <a:pt x="42" y="48"/>
                      <a:pt x="42" y="48"/>
                    </a:cubicBezTo>
                    <a:cubicBezTo>
                      <a:pt x="42" y="48"/>
                      <a:pt x="48" y="48"/>
                      <a:pt x="48" y="51"/>
                    </a:cubicBezTo>
                    <a:cubicBezTo>
                      <a:pt x="51" y="51"/>
                      <a:pt x="60" y="54"/>
                      <a:pt x="66" y="51"/>
                    </a:cubicBezTo>
                    <a:cubicBezTo>
                      <a:pt x="66" y="51"/>
                      <a:pt x="66" y="51"/>
                      <a:pt x="66" y="51"/>
                    </a:cubicBezTo>
                    <a:cubicBezTo>
                      <a:pt x="66" y="48"/>
                      <a:pt x="66" y="45"/>
                      <a:pt x="66" y="42"/>
                    </a:cubicBezTo>
                    <a:cubicBezTo>
                      <a:pt x="66" y="42"/>
                      <a:pt x="63" y="39"/>
                      <a:pt x="60" y="36"/>
                    </a:cubicBezTo>
                    <a:cubicBezTo>
                      <a:pt x="60" y="33"/>
                      <a:pt x="60" y="30"/>
                      <a:pt x="60" y="30"/>
                    </a:cubicBezTo>
                    <a:cubicBezTo>
                      <a:pt x="57" y="27"/>
                      <a:pt x="57" y="27"/>
                      <a:pt x="57" y="27"/>
                    </a:cubicBezTo>
                    <a:cubicBezTo>
                      <a:pt x="57" y="27"/>
                      <a:pt x="57" y="18"/>
                      <a:pt x="51" y="18"/>
                    </a:cubicBezTo>
                    <a:cubicBezTo>
                      <a:pt x="45" y="15"/>
                      <a:pt x="42" y="9"/>
                      <a:pt x="42" y="9"/>
                    </a:cubicBezTo>
                    <a:cubicBezTo>
                      <a:pt x="39" y="9"/>
                      <a:pt x="39" y="9"/>
                      <a:pt x="39" y="9"/>
                    </a:cubicBezTo>
                    <a:cubicBezTo>
                      <a:pt x="39" y="9"/>
                      <a:pt x="36" y="3"/>
                      <a:pt x="33" y="3"/>
                    </a:cubicBezTo>
                    <a:cubicBezTo>
                      <a:pt x="30" y="0"/>
                      <a:pt x="24" y="3"/>
                      <a:pt x="24" y="3"/>
                    </a:cubicBezTo>
                    <a:cubicBezTo>
                      <a:pt x="24" y="3"/>
                      <a:pt x="18" y="3"/>
                      <a:pt x="15" y="3"/>
                    </a:cubicBezTo>
                    <a:cubicBezTo>
                      <a:pt x="9" y="3"/>
                      <a:pt x="12" y="9"/>
                      <a:pt x="6" y="9"/>
                    </a:cubicBezTo>
                    <a:cubicBezTo>
                      <a:pt x="6" y="9"/>
                      <a:pt x="6" y="9"/>
                      <a:pt x="6" y="9"/>
                    </a:cubicBezTo>
                    <a:cubicBezTo>
                      <a:pt x="6" y="12"/>
                      <a:pt x="6" y="15"/>
                      <a:pt x="3" y="18"/>
                    </a:cubicBezTo>
                    <a:cubicBezTo>
                      <a:pt x="0" y="24"/>
                      <a:pt x="6" y="30"/>
                      <a:pt x="9" y="33"/>
                    </a:cubicBezTo>
                    <a:cubicBezTo>
                      <a:pt x="9" y="36"/>
                      <a:pt x="9" y="36"/>
                      <a:pt x="9" y="36"/>
                    </a:cubicBezTo>
                    <a:cubicBezTo>
                      <a:pt x="15" y="36"/>
                      <a:pt x="18" y="36"/>
                      <a:pt x="24" y="33"/>
                    </a:cubicBezTo>
                    <a:cubicBezTo>
                      <a:pt x="27" y="30"/>
                      <a:pt x="30" y="39"/>
                      <a:pt x="33" y="39"/>
                    </a:cubicBezTo>
                    <a:cubicBezTo>
                      <a:pt x="39" y="39"/>
                      <a:pt x="39" y="39"/>
                      <a:pt x="39" y="39"/>
                    </a:cubicBezTo>
                    <a:cubicBezTo>
                      <a:pt x="39" y="39"/>
                      <a:pt x="36" y="42"/>
                      <a:pt x="33" y="42"/>
                    </a:cubicBezTo>
                    <a:cubicBezTo>
                      <a:pt x="30" y="39"/>
                      <a:pt x="27" y="36"/>
                      <a:pt x="24" y="39"/>
                    </a:cubicBezTo>
                    <a:cubicBezTo>
                      <a:pt x="21" y="39"/>
                      <a:pt x="15" y="42"/>
                      <a:pt x="12" y="42"/>
                    </a:cubicBezTo>
                    <a:cubicBezTo>
                      <a:pt x="9" y="42"/>
                      <a:pt x="9" y="42"/>
                      <a:pt x="9" y="42"/>
                    </a:cubicBezTo>
                    <a:cubicBezTo>
                      <a:pt x="6" y="45"/>
                      <a:pt x="9" y="45"/>
                      <a:pt x="9" y="48"/>
                    </a:cubicBezTo>
                    <a:cubicBezTo>
                      <a:pt x="9" y="48"/>
                      <a:pt x="9" y="48"/>
                      <a:pt x="9" y="48"/>
                    </a:cubicBezTo>
                    <a:cubicBezTo>
                      <a:pt x="15" y="48"/>
                      <a:pt x="15" y="51"/>
                      <a:pt x="15" y="5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3" name="Freeform 677"/>
              <p:cNvSpPr>
                <a:spLocks/>
              </p:cNvSpPr>
              <p:nvPr userDrawn="1"/>
            </p:nvSpPr>
            <p:spPr bwMode="auto">
              <a:xfrm>
                <a:off x="3176" y="-1441"/>
                <a:ext cx="103" cy="84"/>
              </a:xfrm>
              <a:custGeom>
                <a:avLst/>
                <a:gdLst>
                  <a:gd name="T0" fmla="*/ 15 w 66"/>
                  <a:gd name="T1" fmla="*/ 51 h 54"/>
                  <a:gd name="T2" fmla="*/ 21 w 66"/>
                  <a:gd name="T3" fmla="*/ 48 h 54"/>
                  <a:gd name="T4" fmla="*/ 39 w 66"/>
                  <a:gd name="T5" fmla="*/ 48 h 54"/>
                  <a:gd name="T6" fmla="*/ 42 w 66"/>
                  <a:gd name="T7" fmla="*/ 48 h 54"/>
                  <a:gd name="T8" fmla="*/ 42 w 66"/>
                  <a:gd name="T9" fmla="*/ 48 h 54"/>
                  <a:gd name="T10" fmla="*/ 48 w 66"/>
                  <a:gd name="T11" fmla="*/ 51 h 54"/>
                  <a:gd name="T12" fmla="*/ 66 w 66"/>
                  <a:gd name="T13" fmla="*/ 51 h 54"/>
                  <a:gd name="T14" fmla="*/ 66 w 66"/>
                  <a:gd name="T15" fmla="*/ 51 h 54"/>
                  <a:gd name="T16" fmla="*/ 66 w 66"/>
                  <a:gd name="T17" fmla="*/ 42 h 54"/>
                  <a:gd name="T18" fmla="*/ 60 w 66"/>
                  <a:gd name="T19" fmla="*/ 36 h 54"/>
                  <a:gd name="T20" fmla="*/ 60 w 66"/>
                  <a:gd name="T21" fmla="*/ 30 h 54"/>
                  <a:gd name="T22" fmla="*/ 57 w 66"/>
                  <a:gd name="T23" fmla="*/ 27 h 54"/>
                  <a:gd name="T24" fmla="*/ 51 w 66"/>
                  <a:gd name="T25" fmla="*/ 18 h 54"/>
                  <a:gd name="T26" fmla="*/ 42 w 66"/>
                  <a:gd name="T27" fmla="*/ 9 h 54"/>
                  <a:gd name="T28" fmla="*/ 39 w 66"/>
                  <a:gd name="T29" fmla="*/ 9 h 54"/>
                  <a:gd name="T30" fmla="*/ 33 w 66"/>
                  <a:gd name="T31" fmla="*/ 3 h 54"/>
                  <a:gd name="T32" fmla="*/ 24 w 66"/>
                  <a:gd name="T33" fmla="*/ 3 h 54"/>
                  <a:gd name="T34" fmla="*/ 15 w 66"/>
                  <a:gd name="T35" fmla="*/ 3 h 54"/>
                  <a:gd name="T36" fmla="*/ 6 w 66"/>
                  <a:gd name="T37" fmla="*/ 9 h 54"/>
                  <a:gd name="T38" fmla="*/ 6 w 66"/>
                  <a:gd name="T39" fmla="*/ 9 h 54"/>
                  <a:gd name="T40" fmla="*/ 3 w 66"/>
                  <a:gd name="T41" fmla="*/ 18 h 54"/>
                  <a:gd name="T42" fmla="*/ 9 w 66"/>
                  <a:gd name="T43" fmla="*/ 33 h 54"/>
                  <a:gd name="T44" fmla="*/ 9 w 66"/>
                  <a:gd name="T45" fmla="*/ 36 h 54"/>
                  <a:gd name="T46" fmla="*/ 24 w 66"/>
                  <a:gd name="T47" fmla="*/ 33 h 54"/>
                  <a:gd name="T48" fmla="*/ 33 w 66"/>
                  <a:gd name="T49" fmla="*/ 39 h 54"/>
                  <a:gd name="T50" fmla="*/ 39 w 66"/>
                  <a:gd name="T51" fmla="*/ 39 h 54"/>
                  <a:gd name="T52" fmla="*/ 33 w 66"/>
                  <a:gd name="T53" fmla="*/ 42 h 54"/>
                  <a:gd name="T54" fmla="*/ 24 w 66"/>
                  <a:gd name="T55" fmla="*/ 39 h 54"/>
                  <a:gd name="T56" fmla="*/ 12 w 66"/>
                  <a:gd name="T57" fmla="*/ 42 h 54"/>
                  <a:gd name="T58" fmla="*/ 9 w 66"/>
                  <a:gd name="T59" fmla="*/ 42 h 54"/>
                  <a:gd name="T60" fmla="*/ 9 w 66"/>
                  <a:gd name="T61" fmla="*/ 48 h 54"/>
                  <a:gd name="T62" fmla="*/ 9 w 66"/>
                  <a:gd name="T63" fmla="*/ 48 h 54"/>
                  <a:gd name="T64" fmla="*/ 15 w 66"/>
                  <a:gd name="T65"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54">
                    <a:moveTo>
                      <a:pt x="15" y="51"/>
                    </a:moveTo>
                    <a:cubicBezTo>
                      <a:pt x="18" y="51"/>
                      <a:pt x="21" y="48"/>
                      <a:pt x="21" y="48"/>
                    </a:cubicBezTo>
                    <a:cubicBezTo>
                      <a:pt x="21" y="48"/>
                      <a:pt x="36" y="48"/>
                      <a:pt x="39" y="48"/>
                    </a:cubicBezTo>
                    <a:cubicBezTo>
                      <a:pt x="39" y="48"/>
                      <a:pt x="39" y="48"/>
                      <a:pt x="42" y="48"/>
                    </a:cubicBezTo>
                    <a:cubicBezTo>
                      <a:pt x="42" y="48"/>
                      <a:pt x="42" y="48"/>
                      <a:pt x="42" y="48"/>
                    </a:cubicBezTo>
                    <a:cubicBezTo>
                      <a:pt x="42" y="48"/>
                      <a:pt x="48" y="48"/>
                      <a:pt x="48" y="51"/>
                    </a:cubicBezTo>
                    <a:cubicBezTo>
                      <a:pt x="51" y="51"/>
                      <a:pt x="60" y="54"/>
                      <a:pt x="66" y="51"/>
                    </a:cubicBezTo>
                    <a:cubicBezTo>
                      <a:pt x="66" y="51"/>
                      <a:pt x="66" y="51"/>
                      <a:pt x="66" y="51"/>
                    </a:cubicBezTo>
                    <a:cubicBezTo>
                      <a:pt x="66" y="48"/>
                      <a:pt x="66" y="45"/>
                      <a:pt x="66" y="42"/>
                    </a:cubicBezTo>
                    <a:cubicBezTo>
                      <a:pt x="66" y="42"/>
                      <a:pt x="63" y="39"/>
                      <a:pt x="60" y="36"/>
                    </a:cubicBezTo>
                    <a:cubicBezTo>
                      <a:pt x="60" y="33"/>
                      <a:pt x="60" y="30"/>
                      <a:pt x="60" y="30"/>
                    </a:cubicBezTo>
                    <a:cubicBezTo>
                      <a:pt x="57" y="27"/>
                      <a:pt x="57" y="27"/>
                      <a:pt x="57" y="27"/>
                    </a:cubicBezTo>
                    <a:cubicBezTo>
                      <a:pt x="57" y="27"/>
                      <a:pt x="57" y="18"/>
                      <a:pt x="51" y="18"/>
                    </a:cubicBezTo>
                    <a:cubicBezTo>
                      <a:pt x="45" y="15"/>
                      <a:pt x="42" y="9"/>
                      <a:pt x="42" y="9"/>
                    </a:cubicBezTo>
                    <a:cubicBezTo>
                      <a:pt x="39" y="9"/>
                      <a:pt x="39" y="9"/>
                      <a:pt x="39" y="9"/>
                    </a:cubicBezTo>
                    <a:cubicBezTo>
                      <a:pt x="39" y="9"/>
                      <a:pt x="36" y="3"/>
                      <a:pt x="33" y="3"/>
                    </a:cubicBezTo>
                    <a:cubicBezTo>
                      <a:pt x="30" y="0"/>
                      <a:pt x="24" y="3"/>
                      <a:pt x="24" y="3"/>
                    </a:cubicBezTo>
                    <a:cubicBezTo>
                      <a:pt x="24" y="3"/>
                      <a:pt x="18" y="3"/>
                      <a:pt x="15" y="3"/>
                    </a:cubicBezTo>
                    <a:cubicBezTo>
                      <a:pt x="9" y="3"/>
                      <a:pt x="12" y="9"/>
                      <a:pt x="6" y="9"/>
                    </a:cubicBezTo>
                    <a:cubicBezTo>
                      <a:pt x="6" y="9"/>
                      <a:pt x="6" y="9"/>
                      <a:pt x="6" y="9"/>
                    </a:cubicBezTo>
                    <a:cubicBezTo>
                      <a:pt x="6" y="12"/>
                      <a:pt x="6" y="15"/>
                      <a:pt x="3" y="18"/>
                    </a:cubicBezTo>
                    <a:cubicBezTo>
                      <a:pt x="0" y="24"/>
                      <a:pt x="6" y="30"/>
                      <a:pt x="9" y="33"/>
                    </a:cubicBezTo>
                    <a:cubicBezTo>
                      <a:pt x="9" y="36"/>
                      <a:pt x="9" y="36"/>
                      <a:pt x="9" y="36"/>
                    </a:cubicBezTo>
                    <a:cubicBezTo>
                      <a:pt x="15" y="36"/>
                      <a:pt x="18" y="36"/>
                      <a:pt x="24" y="33"/>
                    </a:cubicBezTo>
                    <a:cubicBezTo>
                      <a:pt x="27" y="30"/>
                      <a:pt x="30" y="39"/>
                      <a:pt x="33" y="39"/>
                    </a:cubicBezTo>
                    <a:cubicBezTo>
                      <a:pt x="39" y="39"/>
                      <a:pt x="39" y="39"/>
                      <a:pt x="39" y="39"/>
                    </a:cubicBezTo>
                    <a:cubicBezTo>
                      <a:pt x="39" y="39"/>
                      <a:pt x="36" y="42"/>
                      <a:pt x="33" y="42"/>
                    </a:cubicBezTo>
                    <a:cubicBezTo>
                      <a:pt x="30" y="39"/>
                      <a:pt x="27" y="36"/>
                      <a:pt x="24" y="39"/>
                    </a:cubicBezTo>
                    <a:cubicBezTo>
                      <a:pt x="21" y="39"/>
                      <a:pt x="15" y="42"/>
                      <a:pt x="12" y="42"/>
                    </a:cubicBezTo>
                    <a:cubicBezTo>
                      <a:pt x="9" y="42"/>
                      <a:pt x="9" y="42"/>
                      <a:pt x="9" y="42"/>
                    </a:cubicBezTo>
                    <a:cubicBezTo>
                      <a:pt x="6" y="45"/>
                      <a:pt x="9" y="45"/>
                      <a:pt x="9" y="48"/>
                    </a:cubicBezTo>
                    <a:cubicBezTo>
                      <a:pt x="9" y="48"/>
                      <a:pt x="9" y="48"/>
                      <a:pt x="9" y="48"/>
                    </a:cubicBezTo>
                    <a:cubicBezTo>
                      <a:pt x="15" y="48"/>
                      <a:pt x="15" y="51"/>
                      <a:pt x="15" y="5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4" name="Freeform 678"/>
              <p:cNvSpPr>
                <a:spLocks/>
              </p:cNvSpPr>
              <p:nvPr userDrawn="1"/>
            </p:nvSpPr>
            <p:spPr bwMode="auto">
              <a:xfrm>
                <a:off x="3190" y="-1366"/>
                <a:ext cx="51" cy="28"/>
              </a:xfrm>
              <a:custGeom>
                <a:avLst/>
                <a:gdLst>
                  <a:gd name="T0" fmla="*/ 18 w 33"/>
                  <a:gd name="T1" fmla="*/ 15 h 18"/>
                  <a:gd name="T2" fmla="*/ 27 w 33"/>
                  <a:gd name="T3" fmla="*/ 12 h 18"/>
                  <a:gd name="T4" fmla="*/ 30 w 33"/>
                  <a:gd name="T5" fmla="*/ 9 h 18"/>
                  <a:gd name="T6" fmla="*/ 30 w 33"/>
                  <a:gd name="T7" fmla="*/ 3 h 18"/>
                  <a:gd name="T8" fmla="*/ 33 w 33"/>
                  <a:gd name="T9" fmla="*/ 0 h 18"/>
                  <a:gd name="T10" fmla="*/ 30 w 33"/>
                  <a:gd name="T11" fmla="*/ 0 h 18"/>
                  <a:gd name="T12" fmla="*/ 12 w 33"/>
                  <a:gd name="T13" fmla="*/ 0 h 18"/>
                  <a:gd name="T14" fmla="*/ 6 w 33"/>
                  <a:gd name="T15" fmla="*/ 3 h 18"/>
                  <a:gd name="T16" fmla="*/ 0 w 33"/>
                  <a:gd name="T17" fmla="*/ 0 h 18"/>
                  <a:gd name="T18" fmla="*/ 9 w 33"/>
                  <a:gd name="T19" fmla="*/ 9 h 18"/>
                  <a:gd name="T20" fmla="*/ 15 w 33"/>
                  <a:gd name="T21" fmla="*/ 18 h 18"/>
                  <a:gd name="T22" fmla="*/ 15 w 33"/>
                  <a:gd name="T23" fmla="*/ 18 h 18"/>
                  <a:gd name="T24" fmla="*/ 18 w 33"/>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8">
                    <a:moveTo>
                      <a:pt x="18" y="15"/>
                    </a:moveTo>
                    <a:cubicBezTo>
                      <a:pt x="21" y="15"/>
                      <a:pt x="24" y="9"/>
                      <a:pt x="27" y="12"/>
                    </a:cubicBezTo>
                    <a:cubicBezTo>
                      <a:pt x="30" y="9"/>
                      <a:pt x="30" y="9"/>
                      <a:pt x="30" y="9"/>
                    </a:cubicBezTo>
                    <a:cubicBezTo>
                      <a:pt x="30" y="9"/>
                      <a:pt x="27" y="6"/>
                      <a:pt x="30" y="3"/>
                    </a:cubicBezTo>
                    <a:cubicBezTo>
                      <a:pt x="33" y="3"/>
                      <a:pt x="33" y="0"/>
                      <a:pt x="33" y="0"/>
                    </a:cubicBezTo>
                    <a:cubicBezTo>
                      <a:pt x="30" y="0"/>
                      <a:pt x="30" y="0"/>
                      <a:pt x="30" y="0"/>
                    </a:cubicBezTo>
                    <a:cubicBezTo>
                      <a:pt x="27" y="0"/>
                      <a:pt x="12" y="0"/>
                      <a:pt x="12" y="0"/>
                    </a:cubicBezTo>
                    <a:cubicBezTo>
                      <a:pt x="12" y="0"/>
                      <a:pt x="9" y="3"/>
                      <a:pt x="6" y="3"/>
                    </a:cubicBezTo>
                    <a:cubicBezTo>
                      <a:pt x="6" y="3"/>
                      <a:pt x="6" y="0"/>
                      <a:pt x="0" y="0"/>
                    </a:cubicBezTo>
                    <a:cubicBezTo>
                      <a:pt x="3" y="6"/>
                      <a:pt x="3" y="6"/>
                      <a:pt x="9" y="9"/>
                    </a:cubicBezTo>
                    <a:cubicBezTo>
                      <a:pt x="18" y="9"/>
                      <a:pt x="9" y="12"/>
                      <a:pt x="15" y="18"/>
                    </a:cubicBezTo>
                    <a:cubicBezTo>
                      <a:pt x="15" y="18"/>
                      <a:pt x="15" y="18"/>
                      <a:pt x="15" y="18"/>
                    </a:cubicBezTo>
                    <a:cubicBezTo>
                      <a:pt x="18" y="18"/>
                      <a:pt x="18" y="15"/>
                      <a:pt x="18"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5" name="Freeform 679"/>
              <p:cNvSpPr>
                <a:spLocks/>
              </p:cNvSpPr>
              <p:nvPr userDrawn="1"/>
            </p:nvSpPr>
            <p:spPr bwMode="auto">
              <a:xfrm>
                <a:off x="3190" y="-1366"/>
                <a:ext cx="51" cy="28"/>
              </a:xfrm>
              <a:custGeom>
                <a:avLst/>
                <a:gdLst>
                  <a:gd name="T0" fmla="*/ 18 w 33"/>
                  <a:gd name="T1" fmla="*/ 15 h 18"/>
                  <a:gd name="T2" fmla="*/ 27 w 33"/>
                  <a:gd name="T3" fmla="*/ 12 h 18"/>
                  <a:gd name="T4" fmla="*/ 30 w 33"/>
                  <a:gd name="T5" fmla="*/ 9 h 18"/>
                  <a:gd name="T6" fmla="*/ 30 w 33"/>
                  <a:gd name="T7" fmla="*/ 3 h 18"/>
                  <a:gd name="T8" fmla="*/ 33 w 33"/>
                  <a:gd name="T9" fmla="*/ 0 h 18"/>
                  <a:gd name="T10" fmla="*/ 30 w 33"/>
                  <a:gd name="T11" fmla="*/ 0 h 18"/>
                  <a:gd name="T12" fmla="*/ 12 w 33"/>
                  <a:gd name="T13" fmla="*/ 0 h 18"/>
                  <a:gd name="T14" fmla="*/ 6 w 33"/>
                  <a:gd name="T15" fmla="*/ 3 h 18"/>
                  <a:gd name="T16" fmla="*/ 0 w 33"/>
                  <a:gd name="T17" fmla="*/ 0 h 18"/>
                  <a:gd name="T18" fmla="*/ 9 w 33"/>
                  <a:gd name="T19" fmla="*/ 9 h 18"/>
                  <a:gd name="T20" fmla="*/ 15 w 33"/>
                  <a:gd name="T21" fmla="*/ 18 h 18"/>
                  <a:gd name="T22" fmla="*/ 15 w 33"/>
                  <a:gd name="T23" fmla="*/ 18 h 18"/>
                  <a:gd name="T24" fmla="*/ 18 w 33"/>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8">
                    <a:moveTo>
                      <a:pt x="18" y="15"/>
                    </a:moveTo>
                    <a:cubicBezTo>
                      <a:pt x="21" y="15"/>
                      <a:pt x="24" y="9"/>
                      <a:pt x="27" y="12"/>
                    </a:cubicBezTo>
                    <a:cubicBezTo>
                      <a:pt x="30" y="9"/>
                      <a:pt x="30" y="9"/>
                      <a:pt x="30" y="9"/>
                    </a:cubicBezTo>
                    <a:cubicBezTo>
                      <a:pt x="30" y="9"/>
                      <a:pt x="27" y="6"/>
                      <a:pt x="30" y="3"/>
                    </a:cubicBezTo>
                    <a:cubicBezTo>
                      <a:pt x="33" y="3"/>
                      <a:pt x="33" y="0"/>
                      <a:pt x="33" y="0"/>
                    </a:cubicBezTo>
                    <a:cubicBezTo>
                      <a:pt x="30" y="0"/>
                      <a:pt x="30" y="0"/>
                      <a:pt x="30" y="0"/>
                    </a:cubicBezTo>
                    <a:cubicBezTo>
                      <a:pt x="27" y="0"/>
                      <a:pt x="12" y="0"/>
                      <a:pt x="12" y="0"/>
                    </a:cubicBezTo>
                    <a:cubicBezTo>
                      <a:pt x="12" y="0"/>
                      <a:pt x="9" y="3"/>
                      <a:pt x="6" y="3"/>
                    </a:cubicBezTo>
                    <a:cubicBezTo>
                      <a:pt x="6" y="3"/>
                      <a:pt x="6" y="0"/>
                      <a:pt x="0" y="0"/>
                    </a:cubicBezTo>
                    <a:cubicBezTo>
                      <a:pt x="3" y="6"/>
                      <a:pt x="3" y="6"/>
                      <a:pt x="9" y="9"/>
                    </a:cubicBezTo>
                    <a:cubicBezTo>
                      <a:pt x="18" y="9"/>
                      <a:pt x="9" y="12"/>
                      <a:pt x="15" y="18"/>
                    </a:cubicBezTo>
                    <a:cubicBezTo>
                      <a:pt x="15" y="18"/>
                      <a:pt x="15" y="18"/>
                      <a:pt x="15" y="18"/>
                    </a:cubicBezTo>
                    <a:cubicBezTo>
                      <a:pt x="18" y="18"/>
                      <a:pt x="18" y="15"/>
                      <a:pt x="18"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6" name="Freeform 680"/>
              <p:cNvSpPr>
                <a:spLocks/>
              </p:cNvSpPr>
              <p:nvPr userDrawn="1"/>
            </p:nvSpPr>
            <p:spPr bwMode="auto">
              <a:xfrm>
                <a:off x="3737" y="-1341"/>
                <a:ext cx="214" cy="152"/>
              </a:xfrm>
              <a:custGeom>
                <a:avLst/>
                <a:gdLst>
                  <a:gd name="T0" fmla="*/ 125 w 137"/>
                  <a:gd name="T1" fmla="*/ 56 h 98"/>
                  <a:gd name="T2" fmla="*/ 122 w 137"/>
                  <a:gd name="T3" fmla="*/ 47 h 98"/>
                  <a:gd name="T4" fmla="*/ 116 w 137"/>
                  <a:gd name="T5" fmla="*/ 41 h 98"/>
                  <a:gd name="T6" fmla="*/ 110 w 137"/>
                  <a:gd name="T7" fmla="*/ 35 h 98"/>
                  <a:gd name="T8" fmla="*/ 101 w 137"/>
                  <a:gd name="T9" fmla="*/ 29 h 98"/>
                  <a:gd name="T10" fmla="*/ 101 w 137"/>
                  <a:gd name="T11" fmla="*/ 26 h 98"/>
                  <a:gd name="T12" fmla="*/ 95 w 137"/>
                  <a:gd name="T13" fmla="*/ 26 h 98"/>
                  <a:gd name="T14" fmla="*/ 95 w 137"/>
                  <a:gd name="T15" fmla="*/ 23 h 98"/>
                  <a:gd name="T16" fmla="*/ 95 w 137"/>
                  <a:gd name="T17" fmla="*/ 12 h 98"/>
                  <a:gd name="T18" fmla="*/ 87 w 137"/>
                  <a:gd name="T19" fmla="*/ 3 h 98"/>
                  <a:gd name="T20" fmla="*/ 87 w 137"/>
                  <a:gd name="T21" fmla="*/ 3 h 98"/>
                  <a:gd name="T22" fmla="*/ 78 w 137"/>
                  <a:gd name="T23" fmla="*/ 6 h 98"/>
                  <a:gd name="T24" fmla="*/ 75 w 137"/>
                  <a:gd name="T25" fmla="*/ 12 h 98"/>
                  <a:gd name="T26" fmla="*/ 63 w 137"/>
                  <a:gd name="T27" fmla="*/ 20 h 98"/>
                  <a:gd name="T28" fmla="*/ 48 w 137"/>
                  <a:gd name="T29" fmla="*/ 26 h 98"/>
                  <a:gd name="T30" fmla="*/ 48 w 137"/>
                  <a:gd name="T31" fmla="*/ 32 h 98"/>
                  <a:gd name="T32" fmla="*/ 36 w 137"/>
                  <a:gd name="T33" fmla="*/ 35 h 98"/>
                  <a:gd name="T34" fmla="*/ 24 w 137"/>
                  <a:gd name="T35" fmla="*/ 41 h 98"/>
                  <a:gd name="T36" fmla="*/ 18 w 137"/>
                  <a:gd name="T37" fmla="*/ 41 h 98"/>
                  <a:gd name="T38" fmla="*/ 12 w 137"/>
                  <a:gd name="T39" fmla="*/ 41 h 98"/>
                  <a:gd name="T40" fmla="*/ 9 w 137"/>
                  <a:gd name="T41" fmla="*/ 41 h 98"/>
                  <a:gd name="T42" fmla="*/ 3 w 137"/>
                  <a:gd name="T43" fmla="*/ 47 h 98"/>
                  <a:gd name="T44" fmla="*/ 0 w 137"/>
                  <a:gd name="T45" fmla="*/ 59 h 98"/>
                  <a:gd name="T46" fmla="*/ 0 w 137"/>
                  <a:gd name="T47" fmla="*/ 68 h 98"/>
                  <a:gd name="T48" fmla="*/ 3 w 137"/>
                  <a:gd name="T49" fmla="*/ 77 h 98"/>
                  <a:gd name="T50" fmla="*/ 6 w 137"/>
                  <a:gd name="T51" fmla="*/ 83 h 98"/>
                  <a:gd name="T52" fmla="*/ 9 w 137"/>
                  <a:gd name="T53" fmla="*/ 89 h 98"/>
                  <a:gd name="T54" fmla="*/ 15 w 137"/>
                  <a:gd name="T55" fmla="*/ 95 h 98"/>
                  <a:gd name="T56" fmla="*/ 18 w 137"/>
                  <a:gd name="T57" fmla="*/ 98 h 98"/>
                  <a:gd name="T58" fmla="*/ 18 w 137"/>
                  <a:gd name="T59" fmla="*/ 95 h 98"/>
                  <a:gd name="T60" fmla="*/ 21 w 137"/>
                  <a:gd name="T61" fmla="*/ 89 h 98"/>
                  <a:gd name="T62" fmla="*/ 27 w 137"/>
                  <a:gd name="T63" fmla="*/ 86 h 98"/>
                  <a:gd name="T64" fmla="*/ 30 w 137"/>
                  <a:gd name="T65" fmla="*/ 86 h 98"/>
                  <a:gd name="T66" fmla="*/ 42 w 137"/>
                  <a:gd name="T67" fmla="*/ 86 h 98"/>
                  <a:gd name="T68" fmla="*/ 42 w 137"/>
                  <a:gd name="T69" fmla="*/ 80 h 98"/>
                  <a:gd name="T70" fmla="*/ 54 w 137"/>
                  <a:gd name="T71" fmla="*/ 71 h 98"/>
                  <a:gd name="T72" fmla="*/ 63 w 137"/>
                  <a:gd name="T73" fmla="*/ 77 h 98"/>
                  <a:gd name="T74" fmla="*/ 84 w 137"/>
                  <a:gd name="T75" fmla="*/ 80 h 98"/>
                  <a:gd name="T76" fmla="*/ 87 w 137"/>
                  <a:gd name="T77" fmla="*/ 71 h 98"/>
                  <a:gd name="T78" fmla="*/ 95 w 137"/>
                  <a:gd name="T79" fmla="*/ 71 h 98"/>
                  <a:gd name="T80" fmla="*/ 107 w 137"/>
                  <a:gd name="T81" fmla="*/ 68 h 98"/>
                  <a:gd name="T82" fmla="*/ 116 w 137"/>
                  <a:gd name="T83" fmla="*/ 68 h 98"/>
                  <a:gd name="T84" fmla="*/ 128 w 137"/>
                  <a:gd name="T85" fmla="*/ 68 h 98"/>
                  <a:gd name="T86" fmla="*/ 137 w 137"/>
                  <a:gd name="T87" fmla="*/ 68 h 98"/>
                  <a:gd name="T88" fmla="*/ 134 w 137"/>
                  <a:gd name="T89" fmla="*/ 62 h 98"/>
                  <a:gd name="T90" fmla="*/ 125 w 137"/>
                  <a:gd name="T91"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 h="98">
                    <a:moveTo>
                      <a:pt x="125" y="56"/>
                    </a:moveTo>
                    <a:cubicBezTo>
                      <a:pt x="125" y="53"/>
                      <a:pt x="125" y="50"/>
                      <a:pt x="122" y="47"/>
                    </a:cubicBezTo>
                    <a:cubicBezTo>
                      <a:pt x="119" y="44"/>
                      <a:pt x="116" y="44"/>
                      <a:pt x="116" y="41"/>
                    </a:cubicBezTo>
                    <a:cubicBezTo>
                      <a:pt x="116" y="38"/>
                      <a:pt x="113" y="38"/>
                      <a:pt x="110" y="35"/>
                    </a:cubicBezTo>
                    <a:cubicBezTo>
                      <a:pt x="107" y="29"/>
                      <a:pt x="101" y="29"/>
                      <a:pt x="101" y="29"/>
                    </a:cubicBezTo>
                    <a:cubicBezTo>
                      <a:pt x="101" y="26"/>
                      <a:pt x="101" y="26"/>
                      <a:pt x="101" y="26"/>
                    </a:cubicBezTo>
                    <a:cubicBezTo>
                      <a:pt x="95" y="26"/>
                      <a:pt x="95" y="26"/>
                      <a:pt x="95" y="26"/>
                    </a:cubicBezTo>
                    <a:cubicBezTo>
                      <a:pt x="95" y="26"/>
                      <a:pt x="92" y="23"/>
                      <a:pt x="95" y="23"/>
                    </a:cubicBezTo>
                    <a:cubicBezTo>
                      <a:pt x="101" y="20"/>
                      <a:pt x="95" y="15"/>
                      <a:pt x="95" y="12"/>
                    </a:cubicBezTo>
                    <a:cubicBezTo>
                      <a:pt x="95" y="12"/>
                      <a:pt x="89" y="3"/>
                      <a:pt x="87" y="3"/>
                    </a:cubicBezTo>
                    <a:cubicBezTo>
                      <a:pt x="87" y="3"/>
                      <a:pt x="87" y="3"/>
                      <a:pt x="87" y="3"/>
                    </a:cubicBezTo>
                    <a:cubicBezTo>
                      <a:pt x="84" y="0"/>
                      <a:pt x="78" y="3"/>
                      <a:pt x="78" y="6"/>
                    </a:cubicBezTo>
                    <a:cubicBezTo>
                      <a:pt x="75" y="9"/>
                      <a:pt x="75" y="9"/>
                      <a:pt x="75" y="12"/>
                    </a:cubicBezTo>
                    <a:cubicBezTo>
                      <a:pt x="72" y="12"/>
                      <a:pt x="66" y="18"/>
                      <a:pt x="63" y="20"/>
                    </a:cubicBezTo>
                    <a:cubicBezTo>
                      <a:pt x="60" y="26"/>
                      <a:pt x="51" y="23"/>
                      <a:pt x="48" y="26"/>
                    </a:cubicBezTo>
                    <a:cubicBezTo>
                      <a:pt x="45" y="26"/>
                      <a:pt x="48" y="29"/>
                      <a:pt x="48" y="32"/>
                    </a:cubicBezTo>
                    <a:cubicBezTo>
                      <a:pt x="45" y="32"/>
                      <a:pt x="39" y="35"/>
                      <a:pt x="36" y="35"/>
                    </a:cubicBezTo>
                    <a:cubicBezTo>
                      <a:pt x="36" y="38"/>
                      <a:pt x="27" y="38"/>
                      <a:pt x="24" y="41"/>
                    </a:cubicBezTo>
                    <a:cubicBezTo>
                      <a:pt x="21" y="44"/>
                      <a:pt x="21" y="35"/>
                      <a:pt x="18" y="41"/>
                    </a:cubicBezTo>
                    <a:cubicBezTo>
                      <a:pt x="15" y="44"/>
                      <a:pt x="12" y="44"/>
                      <a:pt x="12" y="41"/>
                    </a:cubicBezTo>
                    <a:cubicBezTo>
                      <a:pt x="9" y="41"/>
                      <a:pt x="9" y="41"/>
                      <a:pt x="9" y="41"/>
                    </a:cubicBezTo>
                    <a:cubicBezTo>
                      <a:pt x="9" y="44"/>
                      <a:pt x="6" y="44"/>
                      <a:pt x="3" y="47"/>
                    </a:cubicBezTo>
                    <a:cubicBezTo>
                      <a:pt x="3" y="53"/>
                      <a:pt x="0" y="56"/>
                      <a:pt x="0" y="59"/>
                    </a:cubicBezTo>
                    <a:cubicBezTo>
                      <a:pt x="0" y="62"/>
                      <a:pt x="0" y="65"/>
                      <a:pt x="0" y="68"/>
                    </a:cubicBezTo>
                    <a:cubicBezTo>
                      <a:pt x="0" y="74"/>
                      <a:pt x="0" y="74"/>
                      <a:pt x="3" y="77"/>
                    </a:cubicBezTo>
                    <a:cubicBezTo>
                      <a:pt x="6" y="80"/>
                      <a:pt x="6" y="83"/>
                      <a:pt x="6" y="83"/>
                    </a:cubicBezTo>
                    <a:cubicBezTo>
                      <a:pt x="6" y="83"/>
                      <a:pt x="6" y="86"/>
                      <a:pt x="9" y="89"/>
                    </a:cubicBezTo>
                    <a:cubicBezTo>
                      <a:pt x="15" y="95"/>
                      <a:pt x="15" y="95"/>
                      <a:pt x="15" y="95"/>
                    </a:cubicBezTo>
                    <a:cubicBezTo>
                      <a:pt x="15" y="95"/>
                      <a:pt x="15" y="98"/>
                      <a:pt x="18" y="98"/>
                    </a:cubicBezTo>
                    <a:cubicBezTo>
                      <a:pt x="18" y="95"/>
                      <a:pt x="18" y="95"/>
                      <a:pt x="18" y="95"/>
                    </a:cubicBezTo>
                    <a:cubicBezTo>
                      <a:pt x="21" y="92"/>
                      <a:pt x="21" y="89"/>
                      <a:pt x="21" y="89"/>
                    </a:cubicBezTo>
                    <a:cubicBezTo>
                      <a:pt x="27" y="86"/>
                      <a:pt x="27" y="86"/>
                      <a:pt x="27" y="86"/>
                    </a:cubicBezTo>
                    <a:cubicBezTo>
                      <a:pt x="30" y="86"/>
                      <a:pt x="30" y="86"/>
                      <a:pt x="30" y="86"/>
                    </a:cubicBezTo>
                    <a:cubicBezTo>
                      <a:pt x="42" y="86"/>
                      <a:pt x="42" y="86"/>
                      <a:pt x="42" y="86"/>
                    </a:cubicBezTo>
                    <a:cubicBezTo>
                      <a:pt x="42" y="80"/>
                      <a:pt x="42" y="80"/>
                      <a:pt x="42" y="80"/>
                    </a:cubicBezTo>
                    <a:cubicBezTo>
                      <a:pt x="42" y="80"/>
                      <a:pt x="48" y="71"/>
                      <a:pt x="54" y="71"/>
                    </a:cubicBezTo>
                    <a:cubicBezTo>
                      <a:pt x="57" y="71"/>
                      <a:pt x="63" y="77"/>
                      <a:pt x="63" y="77"/>
                    </a:cubicBezTo>
                    <a:cubicBezTo>
                      <a:pt x="84" y="80"/>
                      <a:pt x="84" y="80"/>
                      <a:pt x="84" y="80"/>
                    </a:cubicBezTo>
                    <a:cubicBezTo>
                      <a:pt x="84" y="80"/>
                      <a:pt x="84" y="74"/>
                      <a:pt x="87" y="71"/>
                    </a:cubicBezTo>
                    <a:cubicBezTo>
                      <a:pt x="89" y="71"/>
                      <a:pt x="92" y="74"/>
                      <a:pt x="95" y="71"/>
                    </a:cubicBezTo>
                    <a:cubicBezTo>
                      <a:pt x="98" y="71"/>
                      <a:pt x="101" y="68"/>
                      <a:pt x="107" y="68"/>
                    </a:cubicBezTo>
                    <a:cubicBezTo>
                      <a:pt x="110" y="68"/>
                      <a:pt x="113" y="71"/>
                      <a:pt x="116" y="68"/>
                    </a:cubicBezTo>
                    <a:cubicBezTo>
                      <a:pt x="119" y="62"/>
                      <a:pt x="128" y="68"/>
                      <a:pt x="128" y="68"/>
                    </a:cubicBezTo>
                    <a:cubicBezTo>
                      <a:pt x="137" y="68"/>
                      <a:pt x="137" y="68"/>
                      <a:pt x="137" y="68"/>
                    </a:cubicBezTo>
                    <a:cubicBezTo>
                      <a:pt x="134" y="62"/>
                      <a:pt x="134" y="62"/>
                      <a:pt x="134" y="62"/>
                    </a:cubicBezTo>
                    <a:cubicBezTo>
                      <a:pt x="125" y="56"/>
                      <a:pt x="125" y="56"/>
                      <a:pt x="125" y="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7" name="Freeform 681"/>
              <p:cNvSpPr>
                <a:spLocks/>
              </p:cNvSpPr>
              <p:nvPr userDrawn="1"/>
            </p:nvSpPr>
            <p:spPr bwMode="auto">
              <a:xfrm>
                <a:off x="3737" y="-1341"/>
                <a:ext cx="214" cy="152"/>
              </a:xfrm>
              <a:custGeom>
                <a:avLst/>
                <a:gdLst>
                  <a:gd name="T0" fmla="*/ 125 w 137"/>
                  <a:gd name="T1" fmla="*/ 56 h 98"/>
                  <a:gd name="T2" fmla="*/ 122 w 137"/>
                  <a:gd name="T3" fmla="*/ 47 h 98"/>
                  <a:gd name="T4" fmla="*/ 116 w 137"/>
                  <a:gd name="T5" fmla="*/ 41 h 98"/>
                  <a:gd name="T6" fmla="*/ 110 w 137"/>
                  <a:gd name="T7" fmla="*/ 35 h 98"/>
                  <a:gd name="T8" fmla="*/ 101 w 137"/>
                  <a:gd name="T9" fmla="*/ 29 h 98"/>
                  <a:gd name="T10" fmla="*/ 101 w 137"/>
                  <a:gd name="T11" fmla="*/ 26 h 98"/>
                  <a:gd name="T12" fmla="*/ 95 w 137"/>
                  <a:gd name="T13" fmla="*/ 26 h 98"/>
                  <a:gd name="T14" fmla="*/ 95 w 137"/>
                  <a:gd name="T15" fmla="*/ 23 h 98"/>
                  <a:gd name="T16" fmla="*/ 95 w 137"/>
                  <a:gd name="T17" fmla="*/ 12 h 98"/>
                  <a:gd name="T18" fmla="*/ 87 w 137"/>
                  <a:gd name="T19" fmla="*/ 3 h 98"/>
                  <a:gd name="T20" fmla="*/ 87 w 137"/>
                  <a:gd name="T21" fmla="*/ 3 h 98"/>
                  <a:gd name="T22" fmla="*/ 78 w 137"/>
                  <a:gd name="T23" fmla="*/ 6 h 98"/>
                  <a:gd name="T24" fmla="*/ 75 w 137"/>
                  <a:gd name="T25" fmla="*/ 12 h 98"/>
                  <a:gd name="T26" fmla="*/ 63 w 137"/>
                  <a:gd name="T27" fmla="*/ 20 h 98"/>
                  <a:gd name="T28" fmla="*/ 48 w 137"/>
                  <a:gd name="T29" fmla="*/ 26 h 98"/>
                  <a:gd name="T30" fmla="*/ 48 w 137"/>
                  <a:gd name="T31" fmla="*/ 32 h 98"/>
                  <a:gd name="T32" fmla="*/ 36 w 137"/>
                  <a:gd name="T33" fmla="*/ 35 h 98"/>
                  <a:gd name="T34" fmla="*/ 24 w 137"/>
                  <a:gd name="T35" fmla="*/ 41 h 98"/>
                  <a:gd name="T36" fmla="*/ 18 w 137"/>
                  <a:gd name="T37" fmla="*/ 41 h 98"/>
                  <a:gd name="T38" fmla="*/ 12 w 137"/>
                  <a:gd name="T39" fmla="*/ 41 h 98"/>
                  <a:gd name="T40" fmla="*/ 9 w 137"/>
                  <a:gd name="T41" fmla="*/ 41 h 98"/>
                  <a:gd name="T42" fmla="*/ 3 w 137"/>
                  <a:gd name="T43" fmla="*/ 47 h 98"/>
                  <a:gd name="T44" fmla="*/ 0 w 137"/>
                  <a:gd name="T45" fmla="*/ 59 h 98"/>
                  <a:gd name="T46" fmla="*/ 0 w 137"/>
                  <a:gd name="T47" fmla="*/ 68 h 98"/>
                  <a:gd name="T48" fmla="*/ 3 w 137"/>
                  <a:gd name="T49" fmla="*/ 77 h 98"/>
                  <a:gd name="T50" fmla="*/ 6 w 137"/>
                  <a:gd name="T51" fmla="*/ 83 h 98"/>
                  <a:gd name="T52" fmla="*/ 9 w 137"/>
                  <a:gd name="T53" fmla="*/ 89 h 98"/>
                  <a:gd name="T54" fmla="*/ 15 w 137"/>
                  <a:gd name="T55" fmla="*/ 95 h 98"/>
                  <a:gd name="T56" fmla="*/ 18 w 137"/>
                  <a:gd name="T57" fmla="*/ 98 h 98"/>
                  <a:gd name="T58" fmla="*/ 18 w 137"/>
                  <a:gd name="T59" fmla="*/ 95 h 98"/>
                  <a:gd name="T60" fmla="*/ 21 w 137"/>
                  <a:gd name="T61" fmla="*/ 89 h 98"/>
                  <a:gd name="T62" fmla="*/ 27 w 137"/>
                  <a:gd name="T63" fmla="*/ 86 h 98"/>
                  <a:gd name="T64" fmla="*/ 30 w 137"/>
                  <a:gd name="T65" fmla="*/ 86 h 98"/>
                  <a:gd name="T66" fmla="*/ 42 w 137"/>
                  <a:gd name="T67" fmla="*/ 86 h 98"/>
                  <a:gd name="T68" fmla="*/ 42 w 137"/>
                  <a:gd name="T69" fmla="*/ 80 h 98"/>
                  <a:gd name="T70" fmla="*/ 54 w 137"/>
                  <a:gd name="T71" fmla="*/ 71 h 98"/>
                  <a:gd name="T72" fmla="*/ 63 w 137"/>
                  <a:gd name="T73" fmla="*/ 77 h 98"/>
                  <a:gd name="T74" fmla="*/ 84 w 137"/>
                  <a:gd name="T75" fmla="*/ 80 h 98"/>
                  <a:gd name="T76" fmla="*/ 87 w 137"/>
                  <a:gd name="T77" fmla="*/ 71 h 98"/>
                  <a:gd name="T78" fmla="*/ 95 w 137"/>
                  <a:gd name="T79" fmla="*/ 71 h 98"/>
                  <a:gd name="T80" fmla="*/ 107 w 137"/>
                  <a:gd name="T81" fmla="*/ 68 h 98"/>
                  <a:gd name="T82" fmla="*/ 116 w 137"/>
                  <a:gd name="T83" fmla="*/ 68 h 98"/>
                  <a:gd name="T84" fmla="*/ 128 w 137"/>
                  <a:gd name="T85" fmla="*/ 68 h 98"/>
                  <a:gd name="T86" fmla="*/ 137 w 137"/>
                  <a:gd name="T87" fmla="*/ 68 h 98"/>
                  <a:gd name="T88" fmla="*/ 134 w 137"/>
                  <a:gd name="T89" fmla="*/ 62 h 98"/>
                  <a:gd name="T90" fmla="*/ 125 w 137"/>
                  <a:gd name="T91" fmla="*/ 5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 h="98">
                    <a:moveTo>
                      <a:pt x="125" y="56"/>
                    </a:moveTo>
                    <a:cubicBezTo>
                      <a:pt x="125" y="53"/>
                      <a:pt x="125" y="50"/>
                      <a:pt x="122" y="47"/>
                    </a:cubicBezTo>
                    <a:cubicBezTo>
                      <a:pt x="119" y="44"/>
                      <a:pt x="116" y="44"/>
                      <a:pt x="116" y="41"/>
                    </a:cubicBezTo>
                    <a:cubicBezTo>
                      <a:pt x="116" y="38"/>
                      <a:pt x="113" y="38"/>
                      <a:pt x="110" y="35"/>
                    </a:cubicBezTo>
                    <a:cubicBezTo>
                      <a:pt x="107" y="29"/>
                      <a:pt x="101" y="29"/>
                      <a:pt x="101" y="29"/>
                    </a:cubicBezTo>
                    <a:cubicBezTo>
                      <a:pt x="101" y="26"/>
                      <a:pt x="101" y="26"/>
                      <a:pt x="101" y="26"/>
                    </a:cubicBezTo>
                    <a:cubicBezTo>
                      <a:pt x="95" y="26"/>
                      <a:pt x="95" y="26"/>
                      <a:pt x="95" y="26"/>
                    </a:cubicBezTo>
                    <a:cubicBezTo>
                      <a:pt x="95" y="26"/>
                      <a:pt x="92" y="23"/>
                      <a:pt x="95" y="23"/>
                    </a:cubicBezTo>
                    <a:cubicBezTo>
                      <a:pt x="101" y="20"/>
                      <a:pt x="95" y="15"/>
                      <a:pt x="95" y="12"/>
                    </a:cubicBezTo>
                    <a:cubicBezTo>
                      <a:pt x="95" y="12"/>
                      <a:pt x="89" y="3"/>
                      <a:pt x="87" y="3"/>
                    </a:cubicBezTo>
                    <a:cubicBezTo>
                      <a:pt x="87" y="3"/>
                      <a:pt x="87" y="3"/>
                      <a:pt x="87" y="3"/>
                    </a:cubicBezTo>
                    <a:cubicBezTo>
                      <a:pt x="84" y="0"/>
                      <a:pt x="78" y="3"/>
                      <a:pt x="78" y="6"/>
                    </a:cubicBezTo>
                    <a:cubicBezTo>
                      <a:pt x="75" y="9"/>
                      <a:pt x="75" y="9"/>
                      <a:pt x="75" y="12"/>
                    </a:cubicBezTo>
                    <a:cubicBezTo>
                      <a:pt x="72" y="12"/>
                      <a:pt x="66" y="18"/>
                      <a:pt x="63" y="20"/>
                    </a:cubicBezTo>
                    <a:cubicBezTo>
                      <a:pt x="60" y="26"/>
                      <a:pt x="51" y="23"/>
                      <a:pt x="48" y="26"/>
                    </a:cubicBezTo>
                    <a:cubicBezTo>
                      <a:pt x="45" y="26"/>
                      <a:pt x="48" y="29"/>
                      <a:pt x="48" y="32"/>
                    </a:cubicBezTo>
                    <a:cubicBezTo>
                      <a:pt x="45" y="32"/>
                      <a:pt x="39" y="35"/>
                      <a:pt x="36" y="35"/>
                    </a:cubicBezTo>
                    <a:cubicBezTo>
                      <a:pt x="36" y="38"/>
                      <a:pt x="27" y="38"/>
                      <a:pt x="24" y="41"/>
                    </a:cubicBezTo>
                    <a:cubicBezTo>
                      <a:pt x="21" y="44"/>
                      <a:pt x="21" y="35"/>
                      <a:pt x="18" y="41"/>
                    </a:cubicBezTo>
                    <a:cubicBezTo>
                      <a:pt x="15" y="44"/>
                      <a:pt x="12" y="44"/>
                      <a:pt x="12" y="41"/>
                    </a:cubicBezTo>
                    <a:cubicBezTo>
                      <a:pt x="9" y="41"/>
                      <a:pt x="9" y="41"/>
                      <a:pt x="9" y="41"/>
                    </a:cubicBezTo>
                    <a:cubicBezTo>
                      <a:pt x="9" y="44"/>
                      <a:pt x="6" y="44"/>
                      <a:pt x="3" y="47"/>
                    </a:cubicBezTo>
                    <a:cubicBezTo>
                      <a:pt x="3" y="53"/>
                      <a:pt x="0" y="56"/>
                      <a:pt x="0" y="59"/>
                    </a:cubicBezTo>
                    <a:cubicBezTo>
                      <a:pt x="0" y="62"/>
                      <a:pt x="0" y="65"/>
                      <a:pt x="0" y="68"/>
                    </a:cubicBezTo>
                    <a:cubicBezTo>
                      <a:pt x="0" y="74"/>
                      <a:pt x="0" y="74"/>
                      <a:pt x="3" y="77"/>
                    </a:cubicBezTo>
                    <a:cubicBezTo>
                      <a:pt x="6" y="80"/>
                      <a:pt x="6" y="83"/>
                      <a:pt x="6" y="83"/>
                    </a:cubicBezTo>
                    <a:cubicBezTo>
                      <a:pt x="6" y="83"/>
                      <a:pt x="6" y="86"/>
                      <a:pt x="9" y="89"/>
                    </a:cubicBezTo>
                    <a:cubicBezTo>
                      <a:pt x="15" y="95"/>
                      <a:pt x="15" y="95"/>
                      <a:pt x="15" y="95"/>
                    </a:cubicBezTo>
                    <a:cubicBezTo>
                      <a:pt x="15" y="95"/>
                      <a:pt x="15" y="98"/>
                      <a:pt x="18" y="98"/>
                    </a:cubicBezTo>
                    <a:cubicBezTo>
                      <a:pt x="18" y="95"/>
                      <a:pt x="18" y="95"/>
                      <a:pt x="18" y="95"/>
                    </a:cubicBezTo>
                    <a:cubicBezTo>
                      <a:pt x="21" y="92"/>
                      <a:pt x="21" y="89"/>
                      <a:pt x="21" y="89"/>
                    </a:cubicBezTo>
                    <a:cubicBezTo>
                      <a:pt x="27" y="86"/>
                      <a:pt x="27" y="86"/>
                      <a:pt x="27" y="86"/>
                    </a:cubicBezTo>
                    <a:cubicBezTo>
                      <a:pt x="30" y="86"/>
                      <a:pt x="30" y="86"/>
                      <a:pt x="30" y="86"/>
                    </a:cubicBezTo>
                    <a:cubicBezTo>
                      <a:pt x="42" y="86"/>
                      <a:pt x="42" y="86"/>
                      <a:pt x="42" y="86"/>
                    </a:cubicBezTo>
                    <a:cubicBezTo>
                      <a:pt x="42" y="80"/>
                      <a:pt x="42" y="80"/>
                      <a:pt x="42" y="80"/>
                    </a:cubicBezTo>
                    <a:cubicBezTo>
                      <a:pt x="42" y="80"/>
                      <a:pt x="48" y="71"/>
                      <a:pt x="54" y="71"/>
                    </a:cubicBezTo>
                    <a:cubicBezTo>
                      <a:pt x="57" y="71"/>
                      <a:pt x="63" y="77"/>
                      <a:pt x="63" y="77"/>
                    </a:cubicBezTo>
                    <a:cubicBezTo>
                      <a:pt x="84" y="80"/>
                      <a:pt x="84" y="80"/>
                      <a:pt x="84" y="80"/>
                    </a:cubicBezTo>
                    <a:cubicBezTo>
                      <a:pt x="84" y="80"/>
                      <a:pt x="84" y="74"/>
                      <a:pt x="87" y="71"/>
                    </a:cubicBezTo>
                    <a:cubicBezTo>
                      <a:pt x="89" y="71"/>
                      <a:pt x="92" y="74"/>
                      <a:pt x="95" y="71"/>
                    </a:cubicBezTo>
                    <a:cubicBezTo>
                      <a:pt x="98" y="71"/>
                      <a:pt x="101" y="68"/>
                      <a:pt x="107" y="68"/>
                    </a:cubicBezTo>
                    <a:cubicBezTo>
                      <a:pt x="110" y="68"/>
                      <a:pt x="113" y="71"/>
                      <a:pt x="116" y="68"/>
                    </a:cubicBezTo>
                    <a:cubicBezTo>
                      <a:pt x="119" y="62"/>
                      <a:pt x="128" y="68"/>
                      <a:pt x="128" y="68"/>
                    </a:cubicBezTo>
                    <a:cubicBezTo>
                      <a:pt x="137" y="68"/>
                      <a:pt x="137" y="68"/>
                      <a:pt x="137" y="68"/>
                    </a:cubicBezTo>
                    <a:cubicBezTo>
                      <a:pt x="134" y="62"/>
                      <a:pt x="134" y="62"/>
                      <a:pt x="134" y="62"/>
                    </a:cubicBezTo>
                    <a:cubicBezTo>
                      <a:pt x="125" y="56"/>
                      <a:pt x="125" y="56"/>
                      <a:pt x="125" y="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8" name="Freeform 682"/>
              <p:cNvSpPr>
                <a:spLocks/>
              </p:cNvSpPr>
              <p:nvPr userDrawn="1"/>
            </p:nvSpPr>
            <p:spPr bwMode="auto">
              <a:xfrm>
                <a:off x="3531" y="-1390"/>
                <a:ext cx="206" cy="175"/>
              </a:xfrm>
              <a:custGeom>
                <a:avLst/>
                <a:gdLst>
                  <a:gd name="T0" fmla="*/ 81 w 132"/>
                  <a:gd name="T1" fmla="*/ 82 h 112"/>
                  <a:gd name="T2" fmla="*/ 87 w 132"/>
                  <a:gd name="T3" fmla="*/ 79 h 112"/>
                  <a:gd name="T4" fmla="*/ 96 w 132"/>
                  <a:gd name="T5" fmla="*/ 85 h 112"/>
                  <a:gd name="T6" fmla="*/ 102 w 132"/>
                  <a:gd name="T7" fmla="*/ 82 h 112"/>
                  <a:gd name="T8" fmla="*/ 108 w 132"/>
                  <a:gd name="T9" fmla="*/ 64 h 112"/>
                  <a:gd name="T10" fmla="*/ 114 w 132"/>
                  <a:gd name="T11" fmla="*/ 58 h 112"/>
                  <a:gd name="T12" fmla="*/ 117 w 132"/>
                  <a:gd name="T13" fmla="*/ 52 h 112"/>
                  <a:gd name="T14" fmla="*/ 120 w 132"/>
                  <a:gd name="T15" fmla="*/ 42 h 112"/>
                  <a:gd name="T16" fmla="*/ 126 w 132"/>
                  <a:gd name="T17" fmla="*/ 30 h 112"/>
                  <a:gd name="T18" fmla="*/ 132 w 132"/>
                  <a:gd name="T19" fmla="*/ 27 h 112"/>
                  <a:gd name="T20" fmla="*/ 132 w 132"/>
                  <a:gd name="T21" fmla="*/ 18 h 112"/>
                  <a:gd name="T22" fmla="*/ 126 w 132"/>
                  <a:gd name="T23" fmla="*/ 15 h 112"/>
                  <a:gd name="T24" fmla="*/ 126 w 132"/>
                  <a:gd name="T25" fmla="*/ 9 h 112"/>
                  <a:gd name="T26" fmla="*/ 123 w 132"/>
                  <a:gd name="T27" fmla="*/ 3 h 112"/>
                  <a:gd name="T28" fmla="*/ 120 w 132"/>
                  <a:gd name="T29" fmla="*/ 3 h 112"/>
                  <a:gd name="T30" fmla="*/ 111 w 132"/>
                  <a:gd name="T31" fmla="*/ 9 h 112"/>
                  <a:gd name="T32" fmla="*/ 102 w 132"/>
                  <a:gd name="T33" fmla="*/ 6 h 112"/>
                  <a:gd name="T34" fmla="*/ 87 w 132"/>
                  <a:gd name="T35" fmla="*/ 6 h 112"/>
                  <a:gd name="T36" fmla="*/ 78 w 132"/>
                  <a:gd name="T37" fmla="*/ 12 h 112"/>
                  <a:gd name="T38" fmla="*/ 69 w 132"/>
                  <a:gd name="T39" fmla="*/ 12 h 112"/>
                  <a:gd name="T40" fmla="*/ 60 w 132"/>
                  <a:gd name="T41" fmla="*/ 6 h 112"/>
                  <a:gd name="T42" fmla="*/ 51 w 132"/>
                  <a:gd name="T43" fmla="*/ 9 h 112"/>
                  <a:gd name="T44" fmla="*/ 45 w 132"/>
                  <a:gd name="T45" fmla="*/ 3 h 112"/>
                  <a:gd name="T46" fmla="*/ 36 w 132"/>
                  <a:gd name="T47" fmla="*/ 0 h 112"/>
                  <a:gd name="T48" fmla="*/ 27 w 132"/>
                  <a:gd name="T49" fmla="*/ 3 h 112"/>
                  <a:gd name="T50" fmla="*/ 18 w 132"/>
                  <a:gd name="T51" fmla="*/ 3 h 112"/>
                  <a:gd name="T52" fmla="*/ 15 w 132"/>
                  <a:gd name="T53" fmla="*/ 12 h 112"/>
                  <a:gd name="T54" fmla="*/ 9 w 132"/>
                  <a:gd name="T55" fmla="*/ 21 h 112"/>
                  <a:gd name="T56" fmla="*/ 9 w 132"/>
                  <a:gd name="T57" fmla="*/ 21 h 112"/>
                  <a:gd name="T58" fmla="*/ 9 w 132"/>
                  <a:gd name="T59" fmla="*/ 30 h 112"/>
                  <a:gd name="T60" fmla="*/ 9 w 132"/>
                  <a:gd name="T61" fmla="*/ 45 h 112"/>
                  <a:gd name="T62" fmla="*/ 6 w 132"/>
                  <a:gd name="T63" fmla="*/ 55 h 112"/>
                  <a:gd name="T64" fmla="*/ 0 w 132"/>
                  <a:gd name="T65" fmla="*/ 61 h 112"/>
                  <a:gd name="T66" fmla="*/ 0 w 132"/>
                  <a:gd name="T67" fmla="*/ 76 h 112"/>
                  <a:gd name="T68" fmla="*/ 3 w 132"/>
                  <a:gd name="T69" fmla="*/ 85 h 112"/>
                  <a:gd name="T70" fmla="*/ 3 w 132"/>
                  <a:gd name="T71" fmla="*/ 85 h 112"/>
                  <a:gd name="T72" fmla="*/ 21 w 132"/>
                  <a:gd name="T73" fmla="*/ 88 h 112"/>
                  <a:gd name="T74" fmla="*/ 30 w 132"/>
                  <a:gd name="T75" fmla="*/ 100 h 112"/>
                  <a:gd name="T76" fmla="*/ 36 w 132"/>
                  <a:gd name="T77" fmla="*/ 109 h 112"/>
                  <a:gd name="T78" fmla="*/ 48 w 132"/>
                  <a:gd name="T79" fmla="*/ 106 h 112"/>
                  <a:gd name="T80" fmla="*/ 63 w 132"/>
                  <a:gd name="T81" fmla="*/ 106 h 112"/>
                  <a:gd name="T82" fmla="*/ 66 w 132"/>
                  <a:gd name="T83" fmla="*/ 106 h 112"/>
                  <a:gd name="T84" fmla="*/ 69 w 132"/>
                  <a:gd name="T85" fmla="*/ 94 h 112"/>
                  <a:gd name="T86" fmla="*/ 81 w 132"/>
                  <a:gd name="T87" fmla="*/ 8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12">
                    <a:moveTo>
                      <a:pt x="81" y="82"/>
                    </a:moveTo>
                    <a:cubicBezTo>
                      <a:pt x="84" y="82"/>
                      <a:pt x="87" y="82"/>
                      <a:pt x="87" y="79"/>
                    </a:cubicBezTo>
                    <a:cubicBezTo>
                      <a:pt x="90" y="79"/>
                      <a:pt x="96" y="82"/>
                      <a:pt x="96" y="85"/>
                    </a:cubicBezTo>
                    <a:cubicBezTo>
                      <a:pt x="96" y="88"/>
                      <a:pt x="99" y="85"/>
                      <a:pt x="102" y="82"/>
                    </a:cubicBezTo>
                    <a:cubicBezTo>
                      <a:pt x="102" y="76"/>
                      <a:pt x="108" y="67"/>
                      <a:pt x="108" y="64"/>
                    </a:cubicBezTo>
                    <a:cubicBezTo>
                      <a:pt x="108" y="61"/>
                      <a:pt x="114" y="58"/>
                      <a:pt x="114" y="58"/>
                    </a:cubicBezTo>
                    <a:cubicBezTo>
                      <a:pt x="114" y="55"/>
                      <a:pt x="114" y="52"/>
                      <a:pt x="117" y="52"/>
                    </a:cubicBezTo>
                    <a:cubicBezTo>
                      <a:pt x="117" y="49"/>
                      <a:pt x="120" y="45"/>
                      <a:pt x="120" y="42"/>
                    </a:cubicBezTo>
                    <a:cubicBezTo>
                      <a:pt x="117" y="42"/>
                      <a:pt x="123" y="30"/>
                      <a:pt x="126" y="30"/>
                    </a:cubicBezTo>
                    <a:cubicBezTo>
                      <a:pt x="126" y="30"/>
                      <a:pt x="132" y="30"/>
                      <a:pt x="132" y="27"/>
                    </a:cubicBezTo>
                    <a:cubicBezTo>
                      <a:pt x="132" y="24"/>
                      <a:pt x="132" y="21"/>
                      <a:pt x="132" y="18"/>
                    </a:cubicBezTo>
                    <a:cubicBezTo>
                      <a:pt x="129" y="18"/>
                      <a:pt x="126" y="15"/>
                      <a:pt x="126" y="15"/>
                    </a:cubicBezTo>
                    <a:cubicBezTo>
                      <a:pt x="126" y="15"/>
                      <a:pt x="126" y="12"/>
                      <a:pt x="126" y="9"/>
                    </a:cubicBezTo>
                    <a:cubicBezTo>
                      <a:pt x="126" y="9"/>
                      <a:pt x="126" y="6"/>
                      <a:pt x="123" y="3"/>
                    </a:cubicBezTo>
                    <a:cubicBezTo>
                      <a:pt x="120" y="3"/>
                      <a:pt x="120" y="0"/>
                      <a:pt x="120" y="3"/>
                    </a:cubicBezTo>
                    <a:cubicBezTo>
                      <a:pt x="117" y="3"/>
                      <a:pt x="114" y="9"/>
                      <a:pt x="111" y="9"/>
                    </a:cubicBezTo>
                    <a:cubicBezTo>
                      <a:pt x="108" y="9"/>
                      <a:pt x="105" y="9"/>
                      <a:pt x="102" y="6"/>
                    </a:cubicBezTo>
                    <a:cubicBezTo>
                      <a:pt x="99" y="6"/>
                      <a:pt x="90" y="6"/>
                      <a:pt x="87" y="6"/>
                    </a:cubicBezTo>
                    <a:cubicBezTo>
                      <a:pt x="84" y="6"/>
                      <a:pt x="81" y="9"/>
                      <a:pt x="78" y="12"/>
                    </a:cubicBezTo>
                    <a:cubicBezTo>
                      <a:pt x="69" y="12"/>
                      <a:pt x="69" y="12"/>
                      <a:pt x="69" y="12"/>
                    </a:cubicBezTo>
                    <a:cubicBezTo>
                      <a:pt x="66" y="12"/>
                      <a:pt x="60" y="6"/>
                      <a:pt x="60" y="6"/>
                    </a:cubicBezTo>
                    <a:cubicBezTo>
                      <a:pt x="57" y="6"/>
                      <a:pt x="54" y="9"/>
                      <a:pt x="51" y="9"/>
                    </a:cubicBezTo>
                    <a:cubicBezTo>
                      <a:pt x="48" y="12"/>
                      <a:pt x="45" y="6"/>
                      <a:pt x="45" y="3"/>
                    </a:cubicBezTo>
                    <a:cubicBezTo>
                      <a:pt x="42" y="0"/>
                      <a:pt x="36" y="3"/>
                      <a:pt x="36" y="0"/>
                    </a:cubicBezTo>
                    <a:cubicBezTo>
                      <a:pt x="33" y="0"/>
                      <a:pt x="30" y="3"/>
                      <a:pt x="27" y="3"/>
                    </a:cubicBezTo>
                    <a:cubicBezTo>
                      <a:pt x="27" y="3"/>
                      <a:pt x="21" y="3"/>
                      <a:pt x="18" y="3"/>
                    </a:cubicBezTo>
                    <a:cubicBezTo>
                      <a:pt x="15" y="6"/>
                      <a:pt x="15" y="12"/>
                      <a:pt x="15" y="12"/>
                    </a:cubicBezTo>
                    <a:cubicBezTo>
                      <a:pt x="15" y="12"/>
                      <a:pt x="9" y="18"/>
                      <a:pt x="9" y="21"/>
                    </a:cubicBezTo>
                    <a:cubicBezTo>
                      <a:pt x="9" y="21"/>
                      <a:pt x="9" y="21"/>
                      <a:pt x="9" y="21"/>
                    </a:cubicBezTo>
                    <a:cubicBezTo>
                      <a:pt x="9" y="24"/>
                      <a:pt x="9" y="30"/>
                      <a:pt x="9" y="30"/>
                    </a:cubicBezTo>
                    <a:cubicBezTo>
                      <a:pt x="9" y="33"/>
                      <a:pt x="12" y="45"/>
                      <a:pt x="9" y="45"/>
                    </a:cubicBezTo>
                    <a:cubicBezTo>
                      <a:pt x="6" y="49"/>
                      <a:pt x="6" y="55"/>
                      <a:pt x="6" y="55"/>
                    </a:cubicBezTo>
                    <a:cubicBezTo>
                      <a:pt x="6" y="55"/>
                      <a:pt x="0" y="55"/>
                      <a:pt x="0" y="61"/>
                    </a:cubicBezTo>
                    <a:cubicBezTo>
                      <a:pt x="0" y="67"/>
                      <a:pt x="0" y="70"/>
                      <a:pt x="0" y="76"/>
                    </a:cubicBezTo>
                    <a:cubicBezTo>
                      <a:pt x="0" y="79"/>
                      <a:pt x="3" y="79"/>
                      <a:pt x="3" y="85"/>
                    </a:cubicBezTo>
                    <a:cubicBezTo>
                      <a:pt x="3" y="85"/>
                      <a:pt x="3" y="85"/>
                      <a:pt x="3" y="85"/>
                    </a:cubicBezTo>
                    <a:cubicBezTo>
                      <a:pt x="6" y="88"/>
                      <a:pt x="15" y="88"/>
                      <a:pt x="21" y="88"/>
                    </a:cubicBezTo>
                    <a:cubicBezTo>
                      <a:pt x="27" y="91"/>
                      <a:pt x="30" y="97"/>
                      <a:pt x="30" y="100"/>
                    </a:cubicBezTo>
                    <a:cubicBezTo>
                      <a:pt x="30" y="103"/>
                      <a:pt x="36" y="109"/>
                      <a:pt x="36" y="109"/>
                    </a:cubicBezTo>
                    <a:cubicBezTo>
                      <a:pt x="39" y="112"/>
                      <a:pt x="45" y="106"/>
                      <a:pt x="48" y="106"/>
                    </a:cubicBezTo>
                    <a:cubicBezTo>
                      <a:pt x="51" y="106"/>
                      <a:pt x="63" y="106"/>
                      <a:pt x="63" y="106"/>
                    </a:cubicBezTo>
                    <a:cubicBezTo>
                      <a:pt x="66" y="106"/>
                      <a:pt x="66" y="106"/>
                      <a:pt x="66" y="106"/>
                    </a:cubicBezTo>
                    <a:cubicBezTo>
                      <a:pt x="69" y="100"/>
                      <a:pt x="69" y="94"/>
                      <a:pt x="69" y="94"/>
                    </a:cubicBezTo>
                    <a:cubicBezTo>
                      <a:pt x="81" y="82"/>
                      <a:pt x="81" y="82"/>
                      <a:pt x="81" y="8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09" name="Freeform 683"/>
              <p:cNvSpPr>
                <a:spLocks/>
              </p:cNvSpPr>
              <p:nvPr userDrawn="1"/>
            </p:nvSpPr>
            <p:spPr bwMode="auto">
              <a:xfrm>
                <a:off x="3531" y="-1390"/>
                <a:ext cx="206" cy="175"/>
              </a:xfrm>
              <a:custGeom>
                <a:avLst/>
                <a:gdLst>
                  <a:gd name="T0" fmla="*/ 81 w 132"/>
                  <a:gd name="T1" fmla="*/ 82 h 112"/>
                  <a:gd name="T2" fmla="*/ 87 w 132"/>
                  <a:gd name="T3" fmla="*/ 79 h 112"/>
                  <a:gd name="T4" fmla="*/ 96 w 132"/>
                  <a:gd name="T5" fmla="*/ 85 h 112"/>
                  <a:gd name="T6" fmla="*/ 102 w 132"/>
                  <a:gd name="T7" fmla="*/ 82 h 112"/>
                  <a:gd name="T8" fmla="*/ 108 w 132"/>
                  <a:gd name="T9" fmla="*/ 64 h 112"/>
                  <a:gd name="T10" fmla="*/ 114 w 132"/>
                  <a:gd name="T11" fmla="*/ 58 h 112"/>
                  <a:gd name="T12" fmla="*/ 117 w 132"/>
                  <a:gd name="T13" fmla="*/ 52 h 112"/>
                  <a:gd name="T14" fmla="*/ 120 w 132"/>
                  <a:gd name="T15" fmla="*/ 42 h 112"/>
                  <a:gd name="T16" fmla="*/ 126 w 132"/>
                  <a:gd name="T17" fmla="*/ 30 h 112"/>
                  <a:gd name="T18" fmla="*/ 132 w 132"/>
                  <a:gd name="T19" fmla="*/ 27 h 112"/>
                  <a:gd name="T20" fmla="*/ 132 w 132"/>
                  <a:gd name="T21" fmla="*/ 18 h 112"/>
                  <a:gd name="T22" fmla="*/ 126 w 132"/>
                  <a:gd name="T23" fmla="*/ 15 h 112"/>
                  <a:gd name="T24" fmla="*/ 126 w 132"/>
                  <a:gd name="T25" fmla="*/ 9 h 112"/>
                  <a:gd name="T26" fmla="*/ 123 w 132"/>
                  <a:gd name="T27" fmla="*/ 3 h 112"/>
                  <a:gd name="T28" fmla="*/ 120 w 132"/>
                  <a:gd name="T29" fmla="*/ 3 h 112"/>
                  <a:gd name="T30" fmla="*/ 111 w 132"/>
                  <a:gd name="T31" fmla="*/ 9 h 112"/>
                  <a:gd name="T32" fmla="*/ 102 w 132"/>
                  <a:gd name="T33" fmla="*/ 6 h 112"/>
                  <a:gd name="T34" fmla="*/ 87 w 132"/>
                  <a:gd name="T35" fmla="*/ 6 h 112"/>
                  <a:gd name="T36" fmla="*/ 78 w 132"/>
                  <a:gd name="T37" fmla="*/ 12 h 112"/>
                  <a:gd name="T38" fmla="*/ 69 w 132"/>
                  <a:gd name="T39" fmla="*/ 12 h 112"/>
                  <a:gd name="T40" fmla="*/ 60 w 132"/>
                  <a:gd name="T41" fmla="*/ 6 h 112"/>
                  <a:gd name="T42" fmla="*/ 51 w 132"/>
                  <a:gd name="T43" fmla="*/ 9 h 112"/>
                  <a:gd name="T44" fmla="*/ 45 w 132"/>
                  <a:gd name="T45" fmla="*/ 3 h 112"/>
                  <a:gd name="T46" fmla="*/ 36 w 132"/>
                  <a:gd name="T47" fmla="*/ 0 h 112"/>
                  <a:gd name="T48" fmla="*/ 27 w 132"/>
                  <a:gd name="T49" fmla="*/ 3 h 112"/>
                  <a:gd name="T50" fmla="*/ 18 w 132"/>
                  <a:gd name="T51" fmla="*/ 3 h 112"/>
                  <a:gd name="T52" fmla="*/ 15 w 132"/>
                  <a:gd name="T53" fmla="*/ 12 h 112"/>
                  <a:gd name="T54" fmla="*/ 9 w 132"/>
                  <a:gd name="T55" fmla="*/ 21 h 112"/>
                  <a:gd name="T56" fmla="*/ 9 w 132"/>
                  <a:gd name="T57" fmla="*/ 21 h 112"/>
                  <a:gd name="T58" fmla="*/ 9 w 132"/>
                  <a:gd name="T59" fmla="*/ 30 h 112"/>
                  <a:gd name="T60" fmla="*/ 9 w 132"/>
                  <a:gd name="T61" fmla="*/ 45 h 112"/>
                  <a:gd name="T62" fmla="*/ 6 w 132"/>
                  <a:gd name="T63" fmla="*/ 55 h 112"/>
                  <a:gd name="T64" fmla="*/ 0 w 132"/>
                  <a:gd name="T65" fmla="*/ 61 h 112"/>
                  <a:gd name="T66" fmla="*/ 0 w 132"/>
                  <a:gd name="T67" fmla="*/ 76 h 112"/>
                  <a:gd name="T68" fmla="*/ 3 w 132"/>
                  <a:gd name="T69" fmla="*/ 85 h 112"/>
                  <a:gd name="T70" fmla="*/ 3 w 132"/>
                  <a:gd name="T71" fmla="*/ 85 h 112"/>
                  <a:gd name="T72" fmla="*/ 21 w 132"/>
                  <a:gd name="T73" fmla="*/ 88 h 112"/>
                  <a:gd name="T74" fmla="*/ 30 w 132"/>
                  <a:gd name="T75" fmla="*/ 100 h 112"/>
                  <a:gd name="T76" fmla="*/ 36 w 132"/>
                  <a:gd name="T77" fmla="*/ 109 h 112"/>
                  <a:gd name="T78" fmla="*/ 48 w 132"/>
                  <a:gd name="T79" fmla="*/ 106 h 112"/>
                  <a:gd name="T80" fmla="*/ 63 w 132"/>
                  <a:gd name="T81" fmla="*/ 106 h 112"/>
                  <a:gd name="T82" fmla="*/ 66 w 132"/>
                  <a:gd name="T83" fmla="*/ 106 h 112"/>
                  <a:gd name="T84" fmla="*/ 69 w 132"/>
                  <a:gd name="T85" fmla="*/ 94 h 112"/>
                  <a:gd name="T86" fmla="*/ 81 w 132"/>
                  <a:gd name="T87" fmla="*/ 8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2" h="112">
                    <a:moveTo>
                      <a:pt x="81" y="82"/>
                    </a:moveTo>
                    <a:cubicBezTo>
                      <a:pt x="84" y="82"/>
                      <a:pt x="87" y="82"/>
                      <a:pt x="87" y="79"/>
                    </a:cubicBezTo>
                    <a:cubicBezTo>
                      <a:pt x="90" y="79"/>
                      <a:pt x="96" y="82"/>
                      <a:pt x="96" y="85"/>
                    </a:cubicBezTo>
                    <a:cubicBezTo>
                      <a:pt x="96" y="88"/>
                      <a:pt x="99" y="85"/>
                      <a:pt x="102" y="82"/>
                    </a:cubicBezTo>
                    <a:cubicBezTo>
                      <a:pt x="102" y="76"/>
                      <a:pt x="108" y="67"/>
                      <a:pt x="108" y="64"/>
                    </a:cubicBezTo>
                    <a:cubicBezTo>
                      <a:pt x="108" y="61"/>
                      <a:pt x="114" y="58"/>
                      <a:pt x="114" y="58"/>
                    </a:cubicBezTo>
                    <a:cubicBezTo>
                      <a:pt x="114" y="55"/>
                      <a:pt x="114" y="52"/>
                      <a:pt x="117" y="52"/>
                    </a:cubicBezTo>
                    <a:cubicBezTo>
                      <a:pt x="117" y="49"/>
                      <a:pt x="120" y="45"/>
                      <a:pt x="120" y="42"/>
                    </a:cubicBezTo>
                    <a:cubicBezTo>
                      <a:pt x="117" y="42"/>
                      <a:pt x="123" y="30"/>
                      <a:pt x="126" y="30"/>
                    </a:cubicBezTo>
                    <a:cubicBezTo>
                      <a:pt x="126" y="30"/>
                      <a:pt x="132" y="30"/>
                      <a:pt x="132" y="27"/>
                    </a:cubicBezTo>
                    <a:cubicBezTo>
                      <a:pt x="132" y="24"/>
                      <a:pt x="132" y="21"/>
                      <a:pt x="132" y="18"/>
                    </a:cubicBezTo>
                    <a:cubicBezTo>
                      <a:pt x="129" y="18"/>
                      <a:pt x="126" y="15"/>
                      <a:pt x="126" y="15"/>
                    </a:cubicBezTo>
                    <a:cubicBezTo>
                      <a:pt x="126" y="15"/>
                      <a:pt x="126" y="12"/>
                      <a:pt x="126" y="9"/>
                    </a:cubicBezTo>
                    <a:cubicBezTo>
                      <a:pt x="126" y="9"/>
                      <a:pt x="126" y="6"/>
                      <a:pt x="123" y="3"/>
                    </a:cubicBezTo>
                    <a:cubicBezTo>
                      <a:pt x="120" y="3"/>
                      <a:pt x="120" y="0"/>
                      <a:pt x="120" y="3"/>
                    </a:cubicBezTo>
                    <a:cubicBezTo>
                      <a:pt x="117" y="3"/>
                      <a:pt x="114" y="9"/>
                      <a:pt x="111" y="9"/>
                    </a:cubicBezTo>
                    <a:cubicBezTo>
                      <a:pt x="108" y="9"/>
                      <a:pt x="105" y="9"/>
                      <a:pt x="102" y="6"/>
                    </a:cubicBezTo>
                    <a:cubicBezTo>
                      <a:pt x="99" y="6"/>
                      <a:pt x="90" y="6"/>
                      <a:pt x="87" y="6"/>
                    </a:cubicBezTo>
                    <a:cubicBezTo>
                      <a:pt x="84" y="6"/>
                      <a:pt x="81" y="9"/>
                      <a:pt x="78" y="12"/>
                    </a:cubicBezTo>
                    <a:cubicBezTo>
                      <a:pt x="69" y="12"/>
                      <a:pt x="69" y="12"/>
                      <a:pt x="69" y="12"/>
                    </a:cubicBezTo>
                    <a:cubicBezTo>
                      <a:pt x="66" y="12"/>
                      <a:pt x="60" y="6"/>
                      <a:pt x="60" y="6"/>
                    </a:cubicBezTo>
                    <a:cubicBezTo>
                      <a:pt x="57" y="6"/>
                      <a:pt x="54" y="9"/>
                      <a:pt x="51" y="9"/>
                    </a:cubicBezTo>
                    <a:cubicBezTo>
                      <a:pt x="48" y="12"/>
                      <a:pt x="45" y="6"/>
                      <a:pt x="45" y="3"/>
                    </a:cubicBezTo>
                    <a:cubicBezTo>
                      <a:pt x="42" y="0"/>
                      <a:pt x="36" y="3"/>
                      <a:pt x="36" y="0"/>
                    </a:cubicBezTo>
                    <a:cubicBezTo>
                      <a:pt x="33" y="0"/>
                      <a:pt x="30" y="3"/>
                      <a:pt x="27" y="3"/>
                    </a:cubicBezTo>
                    <a:cubicBezTo>
                      <a:pt x="27" y="3"/>
                      <a:pt x="21" y="3"/>
                      <a:pt x="18" y="3"/>
                    </a:cubicBezTo>
                    <a:cubicBezTo>
                      <a:pt x="15" y="6"/>
                      <a:pt x="15" y="12"/>
                      <a:pt x="15" y="12"/>
                    </a:cubicBezTo>
                    <a:cubicBezTo>
                      <a:pt x="15" y="12"/>
                      <a:pt x="9" y="18"/>
                      <a:pt x="9" y="21"/>
                    </a:cubicBezTo>
                    <a:cubicBezTo>
                      <a:pt x="9" y="21"/>
                      <a:pt x="9" y="21"/>
                      <a:pt x="9" y="21"/>
                    </a:cubicBezTo>
                    <a:cubicBezTo>
                      <a:pt x="9" y="24"/>
                      <a:pt x="9" y="30"/>
                      <a:pt x="9" y="30"/>
                    </a:cubicBezTo>
                    <a:cubicBezTo>
                      <a:pt x="9" y="33"/>
                      <a:pt x="12" y="45"/>
                      <a:pt x="9" y="45"/>
                    </a:cubicBezTo>
                    <a:cubicBezTo>
                      <a:pt x="6" y="49"/>
                      <a:pt x="6" y="55"/>
                      <a:pt x="6" y="55"/>
                    </a:cubicBezTo>
                    <a:cubicBezTo>
                      <a:pt x="6" y="55"/>
                      <a:pt x="0" y="55"/>
                      <a:pt x="0" y="61"/>
                    </a:cubicBezTo>
                    <a:cubicBezTo>
                      <a:pt x="0" y="67"/>
                      <a:pt x="0" y="70"/>
                      <a:pt x="0" y="76"/>
                    </a:cubicBezTo>
                    <a:cubicBezTo>
                      <a:pt x="0" y="79"/>
                      <a:pt x="3" y="79"/>
                      <a:pt x="3" y="85"/>
                    </a:cubicBezTo>
                    <a:cubicBezTo>
                      <a:pt x="3" y="85"/>
                      <a:pt x="3" y="85"/>
                      <a:pt x="3" y="85"/>
                    </a:cubicBezTo>
                    <a:cubicBezTo>
                      <a:pt x="6" y="88"/>
                      <a:pt x="15" y="88"/>
                      <a:pt x="21" y="88"/>
                    </a:cubicBezTo>
                    <a:cubicBezTo>
                      <a:pt x="27" y="91"/>
                      <a:pt x="30" y="97"/>
                      <a:pt x="30" y="100"/>
                    </a:cubicBezTo>
                    <a:cubicBezTo>
                      <a:pt x="30" y="103"/>
                      <a:pt x="36" y="109"/>
                      <a:pt x="36" y="109"/>
                    </a:cubicBezTo>
                    <a:cubicBezTo>
                      <a:pt x="39" y="112"/>
                      <a:pt x="45" y="106"/>
                      <a:pt x="48" y="106"/>
                    </a:cubicBezTo>
                    <a:cubicBezTo>
                      <a:pt x="51" y="106"/>
                      <a:pt x="63" y="106"/>
                      <a:pt x="63" y="106"/>
                    </a:cubicBezTo>
                    <a:cubicBezTo>
                      <a:pt x="66" y="106"/>
                      <a:pt x="66" y="106"/>
                      <a:pt x="66" y="106"/>
                    </a:cubicBezTo>
                    <a:cubicBezTo>
                      <a:pt x="69" y="100"/>
                      <a:pt x="69" y="94"/>
                      <a:pt x="69" y="94"/>
                    </a:cubicBezTo>
                    <a:cubicBezTo>
                      <a:pt x="81" y="82"/>
                      <a:pt x="81" y="82"/>
                      <a:pt x="81" y="8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0" name="Freeform 684"/>
              <p:cNvSpPr>
                <a:spLocks/>
              </p:cNvSpPr>
              <p:nvPr userDrawn="1"/>
            </p:nvSpPr>
            <p:spPr bwMode="auto">
              <a:xfrm>
                <a:off x="3494" y="-1366"/>
                <a:ext cx="56" cy="114"/>
              </a:xfrm>
              <a:custGeom>
                <a:avLst/>
                <a:gdLst>
                  <a:gd name="T0" fmla="*/ 24 w 36"/>
                  <a:gd name="T1" fmla="*/ 45 h 73"/>
                  <a:gd name="T2" fmla="*/ 30 w 36"/>
                  <a:gd name="T3" fmla="*/ 39 h 73"/>
                  <a:gd name="T4" fmla="*/ 33 w 36"/>
                  <a:gd name="T5" fmla="*/ 30 h 73"/>
                  <a:gd name="T6" fmla="*/ 33 w 36"/>
                  <a:gd name="T7" fmla="*/ 15 h 73"/>
                  <a:gd name="T8" fmla="*/ 33 w 36"/>
                  <a:gd name="T9" fmla="*/ 6 h 73"/>
                  <a:gd name="T10" fmla="*/ 30 w 36"/>
                  <a:gd name="T11" fmla="*/ 6 h 73"/>
                  <a:gd name="T12" fmla="*/ 27 w 36"/>
                  <a:gd name="T13" fmla="*/ 3 h 73"/>
                  <a:gd name="T14" fmla="*/ 21 w 36"/>
                  <a:gd name="T15" fmla="*/ 6 h 73"/>
                  <a:gd name="T16" fmla="*/ 18 w 36"/>
                  <a:gd name="T17" fmla="*/ 12 h 73"/>
                  <a:gd name="T18" fmla="*/ 9 w 36"/>
                  <a:gd name="T19" fmla="*/ 15 h 73"/>
                  <a:gd name="T20" fmla="*/ 3 w 36"/>
                  <a:gd name="T21" fmla="*/ 18 h 73"/>
                  <a:gd name="T22" fmla="*/ 0 w 36"/>
                  <a:gd name="T23" fmla="*/ 18 h 73"/>
                  <a:gd name="T24" fmla="*/ 6 w 36"/>
                  <a:gd name="T25" fmla="*/ 30 h 73"/>
                  <a:gd name="T26" fmla="*/ 9 w 36"/>
                  <a:gd name="T27" fmla="*/ 36 h 73"/>
                  <a:gd name="T28" fmla="*/ 12 w 36"/>
                  <a:gd name="T29" fmla="*/ 52 h 73"/>
                  <a:gd name="T30" fmla="*/ 12 w 36"/>
                  <a:gd name="T31" fmla="*/ 73 h 73"/>
                  <a:gd name="T32" fmla="*/ 21 w 36"/>
                  <a:gd name="T33" fmla="*/ 70 h 73"/>
                  <a:gd name="T34" fmla="*/ 27 w 36"/>
                  <a:gd name="T35" fmla="*/ 70 h 73"/>
                  <a:gd name="T36" fmla="*/ 24 w 36"/>
                  <a:gd name="T37" fmla="*/ 61 h 73"/>
                  <a:gd name="T38" fmla="*/ 24 w 36"/>
                  <a:gd name="T39"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73">
                    <a:moveTo>
                      <a:pt x="24" y="45"/>
                    </a:moveTo>
                    <a:cubicBezTo>
                      <a:pt x="24" y="39"/>
                      <a:pt x="30" y="39"/>
                      <a:pt x="30" y="39"/>
                    </a:cubicBezTo>
                    <a:cubicBezTo>
                      <a:pt x="30" y="39"/>
                      <a:pt x="30" y="33"/>
                      <a:pt x="33" y="30"/>
                    </a:cubicBezTo>
                    <a:cubicBezTo>
                      <a:pt x="36" y="30"/>
                      <a:pt x="33" y="18"/>
                      <a:pt x="33" y="15"/>
                    </a:cubicBezTo>
                    <a:cubicBezTo>
                      <a:pt x="33" y="15"/>
                      <a:pt x="33" y="9"/>
                      <a:pt x="33" y="6"/>
                    </a:cubicBezTo>
                    <a:cubicBezTo>
                      <a:pt x="33" y="9"/>
                      <a:pt x="30" y="9"/>
                      <a:pt x="30" y="6"/>
                    </a:cubicBezTo>
                    <a:cubicBezTo>
                      <a:pt x="27" y="6"/>
                      <a:pt x="30" y="3"/>
                      <a:pt x="27" y="3"/>
                    </a:cubicBezTo>
                    <a:cubicBezTo>
                      <a:pt x="21" y="0"/>
                      <a:pt x="21" y="6"/>
                      <a:pt x="21" y="6"/>
                    </a:cubicBezTo>
                    <a:cubicBezTo>
                      <a:pt x="21" y="9"/>
                      <a:pt x="21" y="9"/>
                      <a:pt x="18" y="12"/>
                    </a:cubicBezTo>
                    <a:cubicBezTo>
                      <a:pt x="18" y="12"/>
                      <a:pt x="12" y="15"/>
                      <a:pt x="9" y="15"/>
                    </a:cubicBezTo>
                    <a:cubicBezTo>
                      <a:pt x="6" y="15"/>
                      <a:pt x="6" y="18"/>
                      <a:pt x="3" y="18"/>
                    </a:cubicBezTo>
                    <a:cubicBezTo>
                      <a:pt x="3" y="18"/>
                      <a:pt x="3" y="18"/>
                      <a:pt x="0" y="18"/>
                    </a:cubicBezTo>
                    <a:cubicBezTo>
                      <a:pt x="3" y="27"/>
                      <a:pt x="3" y="27"/>
                      <a:pt x="6" y="30"/>
                    </a:cubicBezTo>
                    <a:cubicBezTo>
                      <a:pt x="12" y="30"/>
                      <a:pt x="9" y="36"/>
                      <a:pt x="9" y="36"/>
                    </a:cubicBezTo>
                    <a:cubicBezTo>
                      <a:pt x="12" y="39"/>
                      <a:pt x="12" y="45"/>
                      <a:pt x="12" y="52"/>
                    </a:cubicBezTo>
                    <a:cubicBezTo>
                      <a:pt x="12" y="55"/>
                      <a:pt x="12" y="64"/>
                      <a:pt x="12" y="73"/>
                    </a:cubicBezTo>
                    <a:cubicBezTo>
                      <a:pt x="15" y="73"/>
                      <a:pt x="18" y="70"/>
                      <a:pt x="21" y="70"/>
                    </a:cubicBezTo>
                    <a:cubicBezTo>
                      <a:pt x="24" y="70"/>
                      <a:pt x="27" y="67"/>
                      <a:pt x="27" y="70"/>
                    </a:cubicBezTo>
                    <a:cubicBezTo>
                      <a:pt x="27" y="64"/>
                      <a:pt x="24" y="64"/>
                      <a:pt x="24" y="61"/>
                    </a:cubicBezTo>
                    <a:cubicBezTo>
                      <a:pt x="24" y="55"/>
                      <a:pt x="24" y="52"/>
                      <a:pt x="24"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1" name="Freeform 685"/>
              <p:cNvSpPr>
                <a:spLocks/>
              </p:cNvSpPr>
              <p:nvPr userDrawn="1"/>
            </p:nvSpPr>
            <p:spPr bwMode="auto">
              <a:xfrm>
                <a:off x="3494" y="-1366"/>
                <a:ext cx="56" cy="114"/>
              </a:xfrm>
              <a:custGeom>
                <a:avLst/>
                <a:gdLst>
                  <a:gd name="T0" fmla="*/ 24 w 36"/>
                  <a:gd name="T1" fmla="*/ 45 h 73"/>
                  <a:gd name="T2" fmla="*/ 30 w 36"/>
                  <a:gd name="T3" fmla="*/ 39 h 73"/>
                  <a:gd name="T4" fmla="*/ 33 w 36"/>
                  <a:gd name="T5" fmla="*/ 30 h 73"/>
                  <a:gd name="T6" fmla="*/ 33 w 36"/>
                  <a:gd name="T7" fmla="*/ 15 h 73"/>
                  <a:gd name="T8" fmla="*/ 33 w 36"/>
                  <a:gd name="T9" fmla="*/ 6 h 73"/>
                  <a:gd name="T10" fmla="*/ 30 w 36"/>
                  <a:gd name="T11" fmla="*/ 6 h 73"/>
                  <a:gd name="T12" fmla="*/ 27 w 36"/>
                  <a:gd name="T13" fmla="*/ 3 h 73"/>
                  <a:gd name="T14" fmla="*/ 21 w 36"/>
                  <a:gd name="T15" fmla="*/ 6 h 73"/>
                  <a:gd name="T16" fmla="*/ 18 w 36"/>
                  <a:gd name="T17" fmla="*/ 12 h 73"/>
                  <a:gd name="T18" fmla="*/ 9 w 36"/>
                  <a:gd name="T19" fmla="*/ 15 h 73"/>
                  <a:gd name="T20" fmla="*/ 3 w 36"/>
                  <a:gd name="T21" fmla="*/ 18 h 73"/>
                  <a:gd name="T22" fmla="*/ 0 w 36"/>
                  <a:gd name="T23" fmla="*/ 18 h 73"/>
                  <a:gd name="T24" fmla="*/ 6 w 36"/>
                  <a:gd name="T25" fmla="*/ 30 h 73"/>
                  <a:gd name="T26" fmla="*/ 9 w 36"/>
                  <a:gd name="T27" fmla="*/ 36 h 73"/>
                  <a:gd name="T28" fmla="*/ 12 w 36"/>
                  <a:gd name="T29" fmla="*/ 52 h 73"/>
                  <a:gd name="T30" fmla="*/ 12 w 36"/>
                  <a:gd name="T31" fmla="*/ 73 h 73"/>
                  <a:gd name="T32" fmla="*/ 21 w 36"/>
                  <a:gd name="T33" fmla="*/ 70 h 73"/>
                  <a:gd name="T34" fmla="*/ 27 w 36"/>
                  <a:gd name="T35" fmla="*/ 70 h 73"/>
                  <a:gd name="T36" fmla="*/ 24 w 36"/>
                  <a:gd name="T37" fmla="*/ 61 h 73"/>
                  <a:gd name="T38" fmla="*/ 24 w 36"/>
                  <a:gd name="T39"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73">
                    <a:moveTo>
                      <a:pt x="24" y="45"/>
                    </a:moveTo>
                    <a:cubicBezTo>
                      <a:pt x="24" y="39"/>
                      <a:pt x="30" y="39"/>
                      <a:pt x="30" y="39"/>
                    </a:cubicBezTo>
                    <a:cubicBezTo>
                      <a:pt x="30" y="39"/>
                      <a:pt x="30" y="33"/>
                      <a:pt x="33" y="30"/>
                    </a:cubicBezTo>
                    <a:cubicBezTo>
                      <a:pt x="36" y="30"/>
                      <a:pt x="33" y="18"/>
                      <a:pt x="33" y="15"/>
                    </a:cubicBezTo>
                    <a:cubicBezTo>
                      <a:pt x="33" y="15"/>
                      <a:pt x="33" y="9"/>
                      <a:pt x="33" y="6"/>
                    </a:cubicBezTo>
                    <a:cubicBezTo>
                      <a:pt x="33" y="9"/>
                      <a:pt x="30" y="9"/>
                      <a:pt x="30" y="6"/>
                    </a:cubicBezTo>
                    <a:cubicBezTo>
                      <a:pt x="27" y="6"/>
                      <a:pt x="30" y="3"/>
                      <a:pt x="27" y="3"/>
                    </a:cubicBezTo>
                    <a:cubicBezTo>
                      <a:pt x="21" y="0"/>
                      <a:pt x="21" y="6"/>
                      <a:pt x="21" y="6"/>
                    </a:cubicBezTo>
                    <a:cubicBezTo>
                      <a:pt x="21" y="9"/>
                      <a:pt x="21" y="9"/>
                      <a:pt x="18" y="12"/>
                    </a:cubicBezTo>
                    <a:cubicBezTo>
                      <a:pt x="18" y="12"/>
                      <a:pt x="12" y="15"/>
                      <a:pt x="9" y="15"/>
                    </a:cubicBezTo>
                    <a:cubicBezTo>
                      <a:pt x="6" y="15"/>
                      <a:pt x="6" y="18"/>
                      <a:pt x="3" y="18"/>
                    </a:cubicBezTo>
                    <a:cubicBezTo>
                      <a:pt x="3" y="18"/>
                      <a:pt x="3" y="18"/>
                      <a:pt x="0" y="18"/>
                    </a:cubicBezTo>
                    <a:cubicBezTo>
                      <a:pt x="3" y="27"/>
                      <a:pt x="3" y="27"/>
                      <a:pt x="6" y="30"/>
                    </a:cubicBezTo>
                    <a:cubicBezTo>
                      <a:pt x="12" y="30"/>
                      <a:pt x="9" y="36"/>
                      <a:pt x="9" y="36"/>
                    </a:cubicBezTo>
                    <a:cubicBezTo>
                      <a:pt x="12" y="39"/>
                      <a:pt x="12" y="45"/>
                      <a:pt x="12" y="52"/>
                    </a:cubicBezTo>
                    <a:cubicBezTo>
                      <a:pt x="12" y="55"/>
                      <a:pt x="12" y="64"/>
                      <a:pt x="12" y="73"/>
                    </a:cubicBezTo>
                    <a:cubicBezTo>
                      <a:pt x="15" y="73"/>
                      <a:pt x="18" y="70"/>
                      <a:pt x="21" y="70"/>
                    </a:cubicBezTo>
                    <a:cubicBezTo>
                      <a:pt x="24" y="70"/>
                      <a:pt x="27" y="67"/>
                      <a:pt x="27" y="70"/>
                    </a:cubicBezTo>
                    <a:cubicBezTo>
                      <a:pt x="27" y="64"/>
                      <a:pt x="24" y="64"/>
                      <a:pt x="24" y="61"/>
                    </a:cubicBezTo>
                    <a:cubicBezTo>
                      <a:pt x="24" y="55"/>
                      <a:pt x="24" y="52"/>
                      <a:pt x="24"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2" name="Freeform 686"/>
              <p:cNvSpPr>
                <a:spLocks/>
              </p:cNvSpPr>
              <p:nvPr userDrawn="1"/>
            </p:nvSpPr>
            <p:spPr bwMode="auto">
              <a:xfrm>
                <a:off x="3480" y="-1341"/>
                <a:ext cx="33" cy="92"/>
              </a:xfrm>
              <a:custGeom>
                <a:avLst/>
                <a:gdLst>
                  <a:gd name="T0" fmla="*/ 18 w 21"/>
                  <a:gd name="T1" fmla="*/ 20 h 59"/>
                  <a:gd name="T2" fmla="*/ 15 w 21"/>
                  <a:gd name="T3" fmla="*/ 14 h 59"/>
                  <a:gd name="T4" fmla="*/ 9 w 21"/>
                  <a:gd name="T5" fmla="*/ 3 h 59"/>
                  <a:gd name="T6" fmla="*/ 3 w 21"/>
                  <a:gd name="T7" fmla="*/ 3 h 59"/>
                  <a:gd name="T8" fmla="*/ 0 w 21"/>
                  <a:gd name="T9" fmla="*/ 3 h 59"/>
                  <a:gd name="T10" fmla="*/ 3 w 21"/>
                  <a:gd name="T11" fmla="*/ 9 h 59"/>
                  <a:gd name="T12" fmla="*/ 6 w 21"/>
                  <a:gd name="T13" fmla="*/ 14 h 59"/>
                  <a:gd name="T14" fmla="*/ 6 w 21"/>
                  <a:gd name="T15" fmla="*/ 32 h 59"/>
                  <a:gd name="T16" fmla="*/ 9 w 21"/>
                  <a:gd name="T17" fmla="*/ 47 h 59"/>
                  <a:gd name="T18" fmla="*/ 12 w 21"/>
                  <a:gd name="T19" fmla="*/ 59 h 59"/>
                  <a:gd name="T20" fmla="*/ 15 w 21"/>
                  <a:gd name="T21" fmla="*/ 59 h 59"/>
                  <a:gd name="T22" fmla="*/ 21 w 21"/>
                  <a:gd name="T23" fmla="*/ 56 h 59"/>
                  <a:gd name="T24" fmla="*/ 21 w 21"/>
                  <a:gd name="T25" fmla="*/ 35 h 59"/>
                  <a:gd name="T26" fmla="*/ 18 w 21"/>
                  <a:gd name="T27"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59">
                    <a:moveTo>
                      <a:pt x="18" y="20"/>
                    </a:moveTo>
                    <a:cubicBezTo>
                      <a:pt x="18" y="20"/>
                      <a:pt x="21" y="14"/>
                      <a:pt x="15" y="14"/>
                    </a:cubicBezTo>
                    <a:cubicBezTo>
                      <a:pt x="12" y="12"/>
                      <a:pt x="12" y="12"/>
                      <a:pt x="9" y="3"/>
                    </a:cubicBezTo>
                    <a:cubicBezTo>
                      <a:pt x="3" y="3"/>
                      <a:pt x="3" y="3"/>
                      <a:pt x="3" y="3"/>
                    </a:cubicBezTo>
                    <a:cubicBezTo>
                      <a:pt x="0" y="0"/>
                      <a:pt x="0" y="3"/>
                      <a:pt x="0" y="3"/>
                    </a:cubicBezTo>
                    <a:cubicBezTo>
                      <a:pt x="0" y="6"/>
                      <a:pt x="3" y="9"/>
                      <a:pt x="3" y="9"/>
                    </a:cubicBezTo>
                    <a:cubicBezTo>
                      <a:pt x="3" y="9"/>
                      <a:pt x="6" y="12"/>
                      <a:pt x="6" y="14"/>
                    </a:cubicBezTo>
                    <a:cubicBezTo>
                      <a:pt x="6" y="20"/>
                      <a:pt x="3" y="26"/>
                      <a:pt x="6" y="32"/>
                    </a:cubicBezTo>
                    <a:cubicBezTo>
                      <a:pt x="6" y="35"/>
                      <a:pt x="9" y="41"/>
                      <a:pt x="9" y="47"/>
                    </a:cubicBezTo>
                    <a:cubicBezTo>
                      <a:pt x="9" y="50"/>
                      <a:pt x="12" y="56"/>
                      <a:pt x="12" y="59"/>
                    </a:cubicBezTo>
                    <a:cubicBezTo>
                      <a:pt x="15" y="59"/>
                      <a:pt x="15" y="59"/>
                      <a:pt x="15" y="59"/>
                    </a:cubicBezTo>
                    <a:cubicBezTo>
                      <a:pt x="18" y="56"/>
                      <a:pt x="18" y="56"/>
                      <a:pt x="21" y="56"/>
                    </a:cubicBezTo>
                    <a:cubicBezTo>
                      <a:pt x="21" y="47"/>
                      <a:pt x="21" y="38"/>
                      <a:pt x="21" y="35"/>
                    </a:cubicBezTo>
                    <a:cubicBezTo>
                      <a:pt x="21" y="29"/>
                      <a:pt x="21" y="23"/>
                      <a:pt x="18" y="2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3" name="Freeform 687"/>
              <p:cNvSpPr>
                <a:spLocks/>
              </p:cNvSpPr>
              <p:nvPr userDrawn="1"/>
            </p:nvSpPr>
            <p:spPr bwMode="auto">
              <a:xfrm>
                <a:off x="3480" y="-1341"/>
                <a:ext cx="33" cy="92"/>
              </a:xfrm>
              <a:custGeom>
                <a:avLst/>
                <a:gdLst>
                  <a:gd name="T0" fmla="*/ 18 w 21"/>
                  <a:gd name="T1" fmla="*/ 20 h 59"/>
                  <a:gd name="T2" fmla="*/ 15 w 21"/>
                  <a:gd name="T3" fmla="*/ 14 h 59"/>
                  <a:gd name="T4" fmla="*/ 9 w 21"/>
                  <a:gd name="T5" fmla="*/ 3 h 59"/>
                  <a:gd name="T6" fmla="*/ 3 w 21"/>
                  <a:gd name="T7" fmla="*/ 3 h 59"/>
                  <a:gd name="T8" fmla="*/ 0 w 21"/>
                  <a:gd name="T9" fmla="*/ 3 h 59"/>
                  <a:gd name="T10" fmla="*/ 3 w 21"/>
                  <a:gd name="T11" fmla="*/ 9 h 59"/>
                  <a:gd name="T12" fmla="*/ 6 w 21"/>
                  <a:gd name="T13" fmla="*/ 14 h 59"/>
                  <a:gd name="T14" fmla="*/ 6 w 21"/>
                  <a:gd name="T15" fmla="*/ 32 h 59"/>
                  <a:gd name="T16" fmla="*/ 9 w 21"/>
                  <a:gd name="T17" fmla="*/ 47 h 59"/>
                  <a:gd name="T18" fmla="*/ 12 w 21"/>
                  <a:gd name="T19" fmla="*/ 59 h 59"/>
                  <a:gd name="T20" fmla="*/ 15 w 21"/>
                  <a:gd name="T21" fmla="*/ 59 h 59"/>
                  <a:gd name="T22" fmla="*/ 21 w 21"/>
                  <a:gd name="T23" fmla="*/ 56 h 59"/>
                  <a:gd name="T24" fmla="*/ 21 w 21"/>
                  <a:gd name="T25" fmla="*/ 35 h 59"/>
                  <a:gd name="T26" fmla="*/ 18 w 21"/>
                  <a:gd name="T27"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59">
                    <a:moveTo>
                      <a:pt x="18" y="20"/>
                    </a:moveTo>
                    <a:cubicBezTo>
                      <a:pt x="18" y="20"/>
                      <a:pt x="21" y="14"/>
                      <a:pt x="15" y="14"/>
                    </a:cubicBezTo>
                    <a:cubicBezTo>
                      <a:pt x="12" y="12"/>
                      <a:pt x="12" y="12"/>
                      <a:pt x="9" y="3"/>
                    </a:cubicBezTo>
                    <a:cubicBezTo>
                      <a:pt x="3" y="3"/>
                      <a:pt x="3" y="3"/>
                      <a:pt x="3" y="3"/>
                    </a:cubicBezTo>
                    <a:cubicBezTo>
                      <a:pt x="0" y="0"/>
                      <a:pt x="0" y="3"/>
                      <a:pt x="0" y="3"/>
                    </a:cubicBezTo>
                    <a:cubicBezTo>
                      <a:pt x="0" y="6"/>
                      <a:pt x="3" y="9"/>
                      <a:pt x="3" y="9"/>
                    </a:cubicBezTo>
                    <a:cubicBezTo>
                      <a:pt x="3" y="9"/>
                      <a:pt x="6" y="12"/>
                      <a:pt x="6" y="14"/>
                    </a:cubicBezTo>
                    <a:cubicBezTo>
                      <a:pt x="6" y="20"/>
                      <a:pt x="3" y="26"/>
                      <a:pt x="6" y="32"/>
                    </a:cubicBezTo>
                    <a:cubicBezTo>
                      <a:pt x="6" y="35"/>
                      <a:pt x="9" y="41"/>
                      <a:pt x="9" y="47"/>
                    </a:cubicBezTo>
                    <a:cubicBezTo>
                      <a:pt x="9" y="50"/>
                      <a:pt x="12" y="56"/>
                      <a:pt x="12" y="59"/>
                    </a:cubicBezTo>
                    <a:cubicBezTo>
                      <a:pt x="15" y="59"/>
                      <a:pt x="15" y="59"/>
                      <a:pt x="15" y="59"/>
                    </a:cubicBezTo>
                    <a:cubicBezTo>
                      <a:pt x="18" y="56"/>
                      <a:pt x="18" y="56"/>
                      <a:pt x="21" y="56"/>
                    </a:cubicBezTo>
                    <a:cubicBezTo>
                      <a:pt x="21" y="47"/>
                      <a:pt x="21" y="38"/>
                      <a:pt x="21" y="35"/>
                    </a:cubicBezTo>
                    <a:cubicBezTo>
                      <a:pt x="21" y="29"/>
                      <a:pt x="21" y="23"/>
                      <a:pt x="18" y="2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4" name="Freeform 688"/>
              <p:cNvSpPr>
                <a:spLocks/>
              </p:cNvSpPr>
              <p:nvPr userDrawn="1"/>
            </p:nvSpPr>
            <p:spPr bwMode="auto">
              <a:xfrm>
                <a:off x="3634" y="-1376"/>
                <a:ext cx="131" cy="202"/>
              </a:xfrm>
              <a:custGeom>
                <a:avLst/>
                <a:gdLst>
                  <a:gd name="T0" fmla="*/ 33 w 84"/>
                  <a:gd name="T1" fmla="*/ 123 h 129"/>
                  <a:gd name="T2" fmla="*/ 63 w 84"/>
                  <a:gd name="T3" fmla="*/ 123 h 129"/>
                  <a:gd name="T4" fmla="*/ 81 w 84"/>
                  <a:gd name="T5" fmla="*/ 129 h 129"/>
                  <a:gd name="T6" fmla="*/ 84 w 84"/>
                  <a:gd name="T7" fmla="*/ 120 h 129"/>
                  <a:gd name="T8" fmla="*/ 81 w 84"/>
                  <a:gd name="T9" fmla="*/ 117 h 129"/>
                  <a:gd name="T10" fmla="*/ 75 w 84"/>
                  <a:gd name="T11" fmla="*/ 111 h 129"/>
                  <a:gd name="T12" fmla="*/ 72 w 84"/>
                  <a:gd name="T13" fmla="*/ 105 h 129"/>
                  <a:gd name="T14" fmla="*/ 69 w 84"/>
                  <a:gd name="T15" fmla="*/ 99 h 129"/>
                  <a:gd name="T16" fmla="*/ 66 w 84"/>
                  <a:gd name="T17" fmla="*/ 90 h 129"/>
                  <a:gd name="T18" fmla="*/ 66 w 84"/>
                  <a:gd name="T19" fmla="*/ 81 h 129"/>
                  <a:gd name="T20" fmla="*/ 69 w 84"/>
                  <a:gd name="T21" fmla="*/ 69 h 129"/>
                  <a:gd name="T22" fmla="*/ 75 w 84"/>
                  <a:gd name="T23" fmla="*/ 63 h 129"/>
                  <a:gd name="T24" fmla="*/ 72 w 84"/>
                  <a:gd name="T25" fmla="*/ 54 h 129"/>
                  <a:gd name="T26" fmla="*/ 63 w 84"/>
                  <a:gd name="T27" fmla="*/ 45 h 129"/>
                  <a:gd name="T28" fmla="*/ 60 w 84"/>
                  <a:gd name="T29" fmla="*/ 36 h 129"/>
                  <a:gd name="T30" fmla="*/ 69 w 84"/>
                  <a:gd name="T31" fmla="*/ 36 h 129"/>
                  <a:gd name="T32" fmla="*/ 75 w 84"/>
                  <a:gd name="T33" fmla="*/ 33 h 129"/>
                  <a:gd name="T34" fmla="*/ 69 w 84"/>
                  <a:gd name="T35" fmla="*/ 21 h 129"/>
                  <a:gd name="T36" fmla="*/ 69 w 84"/>
                  <a:gd name="T37" fmla="*/ 9 h 129"/>
                  <a:gd name="T38" fmla="*/ 63 w 84"/>
                  <a:gd name="T39" fmla="*/ 0 h 129"/>
                  <a:gd name="T40" fmla="*/ 60 w 84"/>
                  <a:gd name="T41" fmla="*/ 0 h 129"/>
                  <a:gd name="T42" fmla="*/ 60 w 84"/>
                  <a:gd name="T43" fmla="*/ 6 h 129"/>
                  <a:gd name="T44" fmla="*/ 66 w 84"/>
                  <a:gd name="T45" fmla="*/ 9 h 129"/>
                  <a:gd name="T46" fmla="*/ 66 w 84"/>
                  <a:gd name="T47" fmla="*/ 18 h 129"/>
                  <a:gd name="T48" fmla="*/ 60 w 84"/>
                  <a:gd name="T49" fmla="*/ 21 h 129"/>
                  <a:gd name="T50" fmla="*/ 54 w 84"/>
                  <a:gd name="T51" fmla="*/ 33 h 129"/>
                  <a:gd name="T52" fmla="*/ 51 w 84"/>
                  <a:gd name="T53" fmla="*/ 42 h 129"/>
                  <a:gd name="T54" fmla="*/ 48 w 84"/>
                  <a:gd name="T55" fmla="*/ 48 h 129"/>
                  <a:gd name="T56" fmla="*/ 42 w 84"/>
                  <a:gd name="T57" fmla="*/ 54 h 129"/>
                  <a:gd name="T58" fmla="*/ 36 w 84"/>
                  <a:gd name="T59" fmla="*/ 72 h 129"/>
                  <a:gd name="T60" fmla="*/ 30 w 84"/>
                  <a:gd name="T61" fmla="*/ 75 h 129"/>
                  <a:gd name="T62" fmla="*/ 21 w 84"/>
                  <a:gd name="T63" fmla="*/ 69 h 129"/>
                  <a:gd name="T64" fmla="*/ 15 w 84"/>
                  <a:gd name="T65" fmla="*/ 72 h 129"/>
                  <a:gd name="T66" fmla="*/ 3 w 84"/>
                  <a:gd name="T67" fmla="*/ 84 h 129"/>
                  <a:gd name="T68" fmla="*/ 0 w 84"/>
                  <a:gd name="T69" fmla="*/ 96 h 129"/>
                  <a:gd name="T70" fmla="*/ 3 w 84"/>
                  <a:gd name="T71" fmla="*/ 102 h 129"/>
                  <a:gd name="T72" fmla="*/ 12 w 84"/>
                  <a:gd name="T73" fmla="*/ 102 h 129"/>
                  <a:gd name="T74" fmla="*/ 15 w 84"/>
                  <a:gd name="T75" fmla="*/ 114 h 129"/>
                  <a:gd name="T76" fmla="*/ 15 w 84"/>
                  <a:gd name="T77" fmla="*/ 123 h 129"/>
                  <a:gd name="T78" fmla="*/ 30 w 84"/>
                  <a:gd name="T79" fmla="*/ 123 h 129"/>
                  <a:gd name="T80" fmla="*/ 33 w 84"/>
                  <a:gd name="T81" fmla="*/ 123 h 129"/>
                  <a:gd name="T82" fmla="*/ 33 w 84"/>
                  <a:gd name="T8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9">
                    <a:moveTo>
                      <a:pt x="33" y="123"/>
                    </a:moveTo>
                    <a:cubicBezTo>
                      <a:pt x="33" y="123"/>
                      <a:pt x="60" y="123"/>
                      <a:pt x="63" y="123"/>
                    </a:cubicBezTo>
                    <a:cubicBezTo>
                      <a:pt x="69" y="123"/>
                      <a:pt x="81" y="129"/>
                      <a:pt x="81" y="129"/>
                    </a:cubicBezTo>
                    <a:cubicBezTo>
                      <a:pt x="81" y="129"/>
                      <a:pt x="81" y="123"/>
                      <a:pt x="84" y="120"/>
                    </a:cubicBezTo>
                    <a:cubicBezTo>
                      <a:pt x="81" y="120"/>
                      <a:pt x="81" y="117"/>
                      <a:pt x="81" y="117"/>
                    </a:cubicBezTo>
                    <a:cubicBezTo>
                      <a:pt x="75" y="111"/>
                      <a:pt x="75" y="111"/>
                      <a:pt x="75" y="111"/>
                    </a:cubicBezTo>
                    <a:cubicBezTo>
                      <a:pt x="72" y="108"/>
                      <a:pt x="72" y="105"/>
                      <a:pt x="72" y="105"/>
                    </a:cubicBezTo>
                    <a:cubicBezTo>
                      <a:pt x="72" y="105"/>
                      <a:pt x="72" y="102"/>
                      <a:pt x="69" y="99"/>
                    </a:cubicBezTo>
                    <a:cubicBezTo>
                      <a:pt x="66" y="96"/>
                      <a:pt x="66" y="96"/>
                      <a:pt x="66" y="90"/>
                    </a:cubicBezTo>
                    <a:cubicBezTo>
                      <a:pt x="66" y="87"/>
                      <a:pt x="66" y="84"/>
                      <a:pt x="66" y="81"/>
                    </a:cubicBezTo>
                    <a:cubicBezTo>
                      <a:pt x="66" y="78"/>
                      <a:pt x="69" y="75"/>
                      <a:pt x="69" y="69"/>
                    </a:cubicBezTo>
                    <a:cubicBezTo>
                      <a:pt x="72" y="66"/>
                      <a:pt x="75" y="66"/>
                      <a:pt x="75" y="63"/>
                    </a:cubicBezTo>
                    <a:cubicBezTo>
                      <a:pt x="75" y="60"/>
                      <a:pt x="75" y="57"/>
                      <a:pt x="72" y="54"/>
                    </a:cubicBezTo>
                    <a:cubicBezTo>
                      <a:pt x="72" y="51"/>
                      <a:pt x="69" y="48"/>
                      <a:pt x="63" y="45"/>
                    </a:cubicBezTo>
                    <a:cubicBezTo>
                      <a:pt x="60" y="42"/>
                      <a:pt x="60" y="39"/>
                      <a:pt x="60" y="36"/>
                    </a:cubicBezTo>
                    <a:cubicBezTo>
                      <a:pt x="60" y="36"/>
                      <a:pt x="66" y="36"/>
                      <a:pt x="69" y="36"/>
                    </a:cubicBezTo>
                    <a:cubicBezTo>
                      <a:pt x="75" y="36"/>
                      <a:pt x="78" y="36"/>
                      <a:pt x="75" y="33"/>
                    </a:cubicBezTo>
                    <a:cubicBezTo>
                      <a:pt x="72" y="33"/>
                      <a:pt x="69" y="27"/>
                      <a:pt x="69" y="21"/>
                    </a:cubicBezTo>
                    <a:cubicBezTo>
                      <a:pt x="72" y="15"/>
                      <a:pt x="69" y="12"/>
                      <a:pt x="69" y="9"/>
                    </a:cubicBezTo>
                    <a:cubicBezTo>
                      <a:pt x="69" y="6"/>
                      <a:pt x="66" y="0"/>
                      <a:pt x="63" y="0"/>
                    </a:cubicBezTo>
                    <a:cubicBezTo>
                      <a:pt x="63" y="0"/>
                      <a:pt x="63" y="0"/>
                      <a:pt x="60" y="0"/>
                    </a:cubicBezTo>
                    <a:cubicBezTo>
                      <a:pt x="60" y="3"/>
                      <a:pt x="60" y="6"/>
                      <a:pt x="60" y="6"/>
                    </a:cubicBezTo>
                    <a:cubicBezTo>
                      <a:pt x="60" y="6"/>
                      <a:pt x="63" y="9"/>
                      <a:pt x="66" y="9"/>
                    </a:cubicBezTo>
                    <a:cubicBezTo>
                      <a:pt x="66" y="12"/>
                      <a:pt x="66" y="15"/>
                      <a:pt x="66" y="18"/>
                    </a:cubicBezTo>
                    <a:cubicBezTo>
                      <a:pt x="66" y="21"/>
                      <a:pt x="60" y="21"/>
                      <a:pt x="60" y="21"/>
                    </a:cubicBezTo>
                    <a:cubicBezTo>
                      <a:pt x="57" y="21"/>
                      <a:pt x="51" y="33"/>
                      <a:pt x="54" y="33"/>
                    </a:cubicBezTo>
                    <a:cubicBezTo>
                      <a:pt x="54" y="36"/>
                      <a:pt x="51" y="39"/>
                      <a:pt x="51" y="42"/>
                    </a:cubicBezTo>
                    <a:cubicBezTo>
                      <a:pt x="48" y="42"/>
                      <a:pt x="48" y="45"/>
                      <a:pt x="48" y="48"/>
                    </a:cubicBezTo>
                    <a:cubicBezTo>
                      <a:pt x="48" y="48"/>
                      <a:pt x="42" y="51"/>
                      <a:pt x="42" y="54"/>
                    </a:cubicBezTo>
                    <a:cubicBezTo>
                      <a:pt x="42" y="57"/>
                      <a:pt x="36" y="66"/>
                      <a:pt x="36" y="72"/>
                    </a:cubicBezTo>
                    <a:cubicBezTo>
                      <a:pt x="33" y="75"/>
                      <a:pt x="30" y="78"/>
                      <a:pt x="30" y="75"/>
                    </a:cubicBezTo>
                    <a:cubicBezTo>
                      <a:pt x="30" y="72"/>
                      <a:pt x="24" y="69"/>
                      <a:pt x="21" y="69"/>
                    </a:cubicBezTo>
                    <a:cubicBezTo>
                      <a:pt x="21" y="72"/>
                      <a:pt x="18" y="72"/>
                      <a:pt x="15" y="72"/>
                    </a:cubicBezTo>
                    <a:cubicBezTo>
                      <a:pt x="3" y="84"/>
                      <a:pt x="3" y="84"/>
                      <a:pt x="3" y="84"/>
                    </a:cubicBezTo>
                    <a:cubicBezTo>
                      <a:pt x="3" y="84"/>
                      <a:pt x="3" y="90"/>
                      <a:pt x="0" y="96"/>
                    </a:cubicBezTo>
                    <a:cubicBezTo>
                      <a:pt x="0" y="96"/>
                      <a:pt x="3" y="99"/>
                      <a:pt x="3" y="102"/>
                    </a:cubicBezTo>
                    <a:cubicBezTo>
                      <a:pt x="6" y="105"/>
                      <a:pt x="12" y="102"/>
                      <a:pt x="12" y="102"/>
                    </a:cubicBezTo>
                    <a:cubicBezTo>
                      <a:pt x="15" y="105"/>
                      <a:pt x="18" y="111"/>
                      <a:pt x="15" y="114"/>
                    </a:cubicBezTo>
                    <a:cubicBezTo>
                      <a:pt x="15" y="117"/>
                      <a:pt x="12" y="123"/>
                      <a:pt x="15" y="123"/>
                    </a:cubicBezTo>
                    <a:cubicBezTo>
                      <a:pt x="30" y="123"/>
                      <a:pt x="30" y="123"/>
                      <a:pt x="30" y="123"/>
                    </a:cubicBezTo>
                    <a:cubicBezTo>
                      <a:pt x="33" y="123"/>
                      <a:pt x="33" y="123"/>
                      <a:pt x="33" y="123"/>
                    </a:cubicBezTo>
                    <a:cubicBezTo>
                      <a:pt x="33" y="123"/>
                      <a:pt x="33" y="123"/>
                      <a:pt x="33" y="12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5" name="Freeform 689"/>
              <p:cNvSpPr>
                <a:spLocks/>
              </p:cNvSpPr>
              <p:nvPr userDrawn="1"/>
            </p:nvSpPr>
            <p:spPr bwMode="auto">
              <a:xfrm>
                <a:off x="3634" y="-1376"/>
                <a:ext cx="131" cy="202"/>
              </a:xfrm>
              <a:custGeom>
                <a:avLst/>
                <a:gdLst>
                  <a:gd name="T0" fmla="*/ 33 w 84"/>
                  <a:gd name="T1" fmla="*/ 123 h 129"/>
                  <a:gd name="T2" fmla="*/ 63 w 84"/>
                  <a:gd name="T3" fmla="*/ 123 h 129"/>
                  <a:gd name="T4" fmla="*/ 81 w 84"/>
                  <a:gd name="T5" fmla="*/ 129 h 129"/>
                  <a:gd name="T6" fmla="*/ 84 w 84"/>
                  <a:gd name="T7" fmla="*/ 120 h 129"/>
                  <a:gd name="T8" fmla="*/ 81 w 84"/>
                  <a:gd name="T9" fmla="*/ 117 h 129"/>
                  <a:gd name="T10" fmla="*/ 75 w 84"/>
                  <a:gd name="T11" fmla="*/ 111 h 129"/>
                  <a:gd name="T12" fmla="*/ 72 w 84"/>
                  <a:gd name="T13" fmla="*/ 105 h 129"/>
                  <a:gd name="T14" fmla="*/ 69 w 84"/>
                  <a:gd name="T15" fmla="*/ 99 h 129"/>
                  <a:gd name="T16" fmla="*/ 66 w 84"/>
                  <a:gd name="T17" fmla="*/ 90 h 129"/>
                  <a:gd name="T18" fmla="*/ 66 w 84"/>
                  <a:gd name="T19" fmla="*/ 81 h 129"/>
                  <a:gd name="T20" fmla="*/ 69 w 84"/>
                  <a:gd name="T21" fmla="*/ 69 h 129"/>
                  <a:gd name="T22" fmla="*/ 75 w 84"/>
                  <a:gd name="T23" fmla="*/ 63 h 129"/>
                  <a:gd name="T24" fmla="*/ 72 w 84"/>
                  <a:gd name="T25" fmla="*/ 54 h 129"/>
                  <a:gd name="T26" fmla="*/ 63 w 84"/>
                  <a:gd name="T27" fmla="*/ 45 h 129"/>
                  <a:gd name="T28" fmla="*/ 60 w 84"/>
                  <a:gd name="T29" fmla="*/ 36 h 129"/>
                  <a:gd name="T30" fmla="*/ 69 w 84"/>
                  <a:gd name="T31" fmla="*/ 36 h 129"/>
                  <a:gd name="T32" fmla="*/ 75 w 84"/>
                  <a:gd name="T33" fmla="*/ 33 h 129"/>
                  <a:gd name="T34" fmla="*/ 69 w 84"/>
                  <a:gd name="T35" fmla="*/ 21 h 129"/>
                  <a:gd name="T36" fmla="*/ 69 w 84"/>
                  <a:gd name="T37" fmla="*/ 9 h 129"/>
                  <a:gd name="T38" fmla="*/ 63 w 84"/>
                  <a:gd name="T39" fmla="*/ 0 h 129"/>
                  <a:gd name="T40" fmla="*/ 60 w 84"/>
                  <a:gd name="T41" fmla="*/ 0 h 129"/>
                  <a:gd name="T42" fmla="*/ 60 w 84"/>
                  <a:gd name="T43" fmla="*/ 6 h 129"/>
                  <a:gd name="T44" fmla="*/ 66 w 84"/>
                  <a:gd name="T45" fmla="*/ 9 h 129"/>
                  <a:gd name="T46" fmla="*/ 66 w 84"/>
                  <a:gd name="T47" fmla="*/ 18 h 129"/>
                  <a:gd name="T48" fmla="*/ 60 w 84"/>
                  <a:gd name="T49" fmla="*/ 21 h 129"/>
                  <a:gd name="T50" fmla="*/ 54 w 84"/>
                  <a:gd name="T51" fmla="*/ 33 h 129"/>
                  <a:gd name="T52" fmla="*/ 51 w 84"/>
                  <a:gd name="T53" fmla="*/ 42 h 129"/>
                  <a:gd name="T54" fmla="*/ 48 w 84"/>
                  <a:gd name="T55" fmla="*/ 48 h 129"/>
                  <a:gd name="T56" fmla="*/ 42 w 84"/>
                  <a:gd name="T57" fmla="*/ 54 h 129"/>
                  <a:gd name="T58" fmla="*/ 36 w 84"/>
                  <a:gd name="T59" fmla="*/ 72 h 129"/>
                  <a:gd name="T60" fmla="*/ 30 w 84"/>
                  <a:gd name="T61" fmla="*/ 75 h 129"/>
                  <a:gd name="T62" fmla="*/ 21 w 84"/>
                  <a:gd name="T63" fmla="*/ 69 h 129"/>
                  <a:gd name="T64" fmla="*/ 15 w 84"/>
                  <a:gd name="T65" fmla="*/ 72 h 129"/>
                  <a:gd name="T66" fmla="*/ 3 w 84"/>
                  <a:gd name="T67" fmla="*/ 84 h 129"/>
                  <a:gd name="T68" fmla="*/ 0 w 84"/>
                  <a:gd name="T69" fmla="*/ 96 h 129"/>
                  <a:gd name="T70" fmla="*/ 3 w 84"/>
                  <a:gd name="T71" fmla="*/ 102 h 129"/>
                  <a:gd name="T72" fmla="*/ 12 w 84"/>
                  <a:gd name="T73" fmla="*/ 102 h 129"/>
                  <a:gd name="T74" fmla="*/ 15 w 84"/>
                  <a:gd name="T75" fmla="*/ 114 h 129"/>
                  <a:gd name="T76" fmla="*/ 15 w 84"/>
                  <a:gd name="T77" fmla="*/ 123 h 129"/>
                  <a:gd name="T78" fmla="*/ 30 w 84"/>
                  <a:gd name="T79" fmla="*/ 123 h 129"/>
                  <a:gd name="T80" fmla="*/ 33 w 84"/>
                  <a:gd name="T81" fmla="*/ 123 h 129"/>
                  <a:gd name="T82" fmla="*/ 33 w 84"/>
                  <a:gd name="T8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129">
                    <a:moveTo>
                      <a:pt x="33" y="123"/>
                    </a:moveTo>
                    <a:cubicBezTo>
                      <a:pt x="33" y="123"/>
                      <a:pt x="60" y="123"/>
                      <a:pt x="63" y="123"/>
                    </a:cubicBezTo>
                    <a:cubicBezTo>
                      <a:pt x="69" y="123"/>
                      <a:pt x="81" y="129"/>
                      <a:pt x="81" y="129"/>
                    </a:cubicBezTo>
                    <a:cubicBezTo>
                      <a:pt x="81" y="129"/>
                      <a:pt x="81" y="123"/>
                      <a:pt x="84" y="120"/>
                    </a:cubicBezTo>
                    <a:cubicBezTo>
                      <a:pt x="81" y="120"/>
                      <a:pt x="81" y="117"/>
                      <a:pt x="81" y="117"/>
                    </a:cubicBezTo>
                    <a:cubicBezTo>
                      <a:pt x="75" y="111"/>
                      <a:pt x="75" y="111"/>
                      <a:pt x="75" y="111"/>
                    </a:cubicBezTo>
                    <a:cubicBezTo>
                      <a:pt x="72" y="108"/>
                      <a:pt x="72" y="105"/>
                      <a:pt x="72" y="105"/>
                    </a:cubicBezTo>
                    <a:cubicBezTo>
                      <a:pt x="72" y="105"/>
                      <a:pt x="72" y="102"/>
                      <a:pt x="69" y="99"/>
                    </a:cubicBezTo>
                    <a:cubicBezTo>
                      <a:pt x="66" y="96"/>
                      <a:pt x="66" y="96"/>
                      <a:pt x="66" y="90"/>
                    </a:cubicBezTo>
                    <a:cubicBezTo>
                      <a:pt x="66" y="87"/>
                      <a:pt x="66" y="84"/>
                      <a:pt x="66" y="81"/>
                    </a:cubicBezTo>
                    <a:cubicBezTo>
                      <a:pt x="66" y="78"/>
                      <a:pt x="69" y="75"/>
                      <a:pt x="69" y="69"/>
                    </a:cubicBezTo>
                    <a:cubicBezTo>
                      <a:pt x="72" y="66"/>
                      <a:pt x="75" y="66"/>
                      <a:pt x="75" y="63"/>
                    </a:cubicBezTo>
                    <a:cubicBezTo>
                      <a:pt x="75" y="60"/>
                      <a:pt x="75" y="57"/>
                      <a:pt x="72" y="54"/>
                    </a:cubicBezTo>
                    <a:cubicBezTo>
                      <a:pt x="72" y="51"/>
                      <a:pt x="69" y="48"/>
                      <a:pt x="63" y="45"/>
                    </a:cubicBezTo>
                    <a:cubicBezTo>
                      <a:pt x="60" y="42"/>
                      <a:pt x="60" y="39"/>
                      <a:pt x="60" y="36"/>
                    </a:cubicBezTo>
                    <a:cubicBezTo>
                      <a:pt x="60" y="36"/>
                      <a:pt x="66" y="36"/>
                      <a:pt x="69" y="36"/>
                    </a:cubicBezTo>
                    <a:cubicBezTo>
                      <a:pt x="75" y="36"/>
                      <a:pt x="78" y="36"/>
                      <a:pt x="75" y="33"/>
                    </a:cubicBezTo>
                    <a:cubicBezTo>
                      <a:pt x="72" y="33"/>
                      <a:pt x="69" y="27"/>
                      <a:pt x="69" y="21"/>
                    </a:cubicBezTo>
                    <a:cubicBezTo>
                      <a:pt x="72" y="15"/>
                      <a:pt x="69" y="12"/>
                      <a:pt x="69" y="9"/>
                    </a:cubicBezTo>
                    <a:cubicBezTo>
                      <a:pt x="69" y="6"/>
                      <a:pt x="66" y="0"/>
                      <a:pt x="63" y="0"/>
                    </a:cubicBezTo>
                    <a:cubicBezTo>
                      <a:pt x="63" y="0"/>
                      <a:pt x="63" y="0"/>
                      <a:pt x="60" y="0"/>
                    </a:cubicBezTo>
                    <a:cubicBezTo>
                      <a:pt x="60" y="3"/>
                      <a:pt x="60" y="6"/>
                      <a:pt x="60" y="6"/>
                    </a:cubicBezTo>
                    <a:cubicBezTo>
                      <a:pt x="60" y="6"/>
                      <a:pt x="63" y="9"/>
                      <a:pt x="66" y="9"/>
                    </a:cubicBezTo>
                    <a:cubicBezTo>
                      <a:pt x="66" y="12"/>
                      <a:pt x="66" y="15"/>
                      <a:pt x="66" y="18"/>
                    </a:cubicBezTo>
                    <a:cubicBezTo>
                      <a:pt x="66" y="21"/>
                      <a:pt x="60" y="21"/>
                      <a:pt x="60" y="21"/>
                    </a:cubicBezTo>
                    <a:cubicBezTo>
                      <a:pt x="57" y="21"/>
                      <a:pt x="51" y="33"/>
                      <a:pt x="54" y="33"/>
                    </a:cubicBezTo>
                    <a:cubicBezTo>
                      <a:pt x="54" y="36"/>
                      <a:pt x="51" y="39"/>
                      <a:pt x="51" y="42"/>
                    </a:cubicBezTo>
                    <a:cubicBezTo>
                      <a:pt x="48" y="42"/>
                      <a:pt x="48" y="45"/>
                      <a:pt x="48" y="48"/>
                    </a:cubicBezTo>
                    <a:cubicBezTo>
                      <a:pt x="48" y="48"/>
                      <a:pt x="42" y="51"/>
                      <a:pt x="42" y="54"/>
                    </a:cubicBezTo>
                    <a:cubicBezTo>
                      <a:pt x="42" y="57"/>
                      <a:pt x="36" y="66"/>
                      <a:pt x="36" y="72"/>
                    </a:cubicBezTo>
                    <a:cubicBezTo>
                      <a:pt x="33" y="75"/>
                      <a:pt x="30" y="78"/>
                      <a:pt x="30" y="75"/>
                    </a:cubicBezTo>
                    <a:cubicBezTo>
                      <a:pt x="30" y="72"/>
                      <a:pt x="24" y="69"/>
                      <a:pt x="21" y="69"/>
                    </a:cubicBezTo>
                    <a:cubicBezTo>
                      <a:pt x="21" y="72"/>
                      <a:pt x="18" y="72"/>
                      <a:pt x="15" y="72"/>
                    </a:cubicBezTo>
                    <a:cubicBezTo>
                      <a:pt x="3" y="84"/>
                      <a:pt x="3" y="84"/>
                      <a:pt x="3" y="84"/>
                    </a:cubicBezTo>
                    <a:cubicBezTo>
                      <a:pt x="3" y="84"/>
                      <a:pt x="3" y="90"/>
                      <a:pt x="0" y="96"/>
                    </a:cubicBezTo>
                    <a:cubicBezTo>
                      <a:pt x="0" y="96"/>
                      <a:pt x="3" y="99"/>
                      <a:pt x="3" y="102"/>
                    </a:cubicBezTo>
                    <a:cubicBezTo>
                      <a:pt x="6" y="105"/>
                      <a:pt x="12" y="102"/>
                      <a:pt x="12" y="102"/>
                    </a:cubicBezTo>
                    <a:cubicBezTo>
                      <a:pt x="15" y="105"/>
                      <a:pt x="18" y="111"/>
                      <a:pt x="15" y="114"/>
                    </a:cubicBezTo>
                    <a:cubicBezTo>
                      <a:pt x="15" y="117"/>
                      <a:pt x="12" y="123"/>
                      <a:pt x="15" y="123"/>
                    </a:cubicBezTo>
                    <a:cubicBezTo>
                      <a:pt x="30" y="123"/>
                      <a:pt x="30" y="123"/>
                      <a:pt x="30" y="123"/>
                    </a:cubicBezTo>
                    <a:cubicBezTo>
                      <a:pt x="33" y="123"/>
                      <a:pt x="33" y="123"/>
                      <a:pt x="33" y="123"/>
                    </a:cubicBezTo>
                    <a:cubicBezTo>
                      <a:pt x="33" y="123"/>
                      <a:pt x="33" y="123"/>
                      <a:pt x="33" y="12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6" name="Freeform 690"/>
              <p:cNvSpPr>
                <a:spLocks/>
              </p:cNvSpPr>
              <p:nvPr userDrawn="1"/>
            </p:nvSpPr>
            <p:spPr bwMode="auto">
              <a:xfrm>
                <a:off x="3330" y="-1334"/>
                <a:ext cx="106" cy="113"/>
              </a:xfrm>
              <a:custGeom>
                <a:avLst/>
                <a:gdLst>
                  <a:gd name="T0" fmla="*/ 65 w 68"/>
                  <a:gd name="T1" fmla="*/ 60 h 72"/>
                  <a:gd name="T2" fmla="*/ 59 w 68"/>
                  <a:gd name="T3" fmla="*/ 48 h 72"/>
                  <a:gd name="T4" fmla="*/ 65 w 68"/>
                  <a:gd name="T5" fmla="*/ 36 h 72"/>
                  <a:gd name="T6" fmla="*/ 68 w 68"/>
                  <a:gd name="T7" fmla="*/ 30 h 72"/>
                  <a:gd name="T8" fmla="*/ 65 w 68"/>
                  <a:gd name="T9" fmla="*/ 12 h 72"/>
                  <a:gd name="T10" fmla="*/ 62 w 68"/>
                  <a:gd name="T11" fmla="*/ 9 h 72"/>
                  <a:gd name="T12" fmla="*/ 50 w 68"/>
                  <a:gd name="T13" fmla="*/ 12 h 72"/>
                  <a:gd name="T14" fmla="*/ 39 w 68"/>
                  <a:gd name="T15" fmla="*/ 6 h 72"/>
                  <a:gd name="T16" fmla="*/ 30 w 68"/>
                  <a:gd name="T17" fmla="*/ 3 h 72"/>
                  <a:gd name="T18" fmla="*/ 27 w 68"/>
                  <a:gd name="T19" fmla="*/ 3 h 72"/>
                  <a:gd name="T20" fmla="*/ 21 w 68"/>
                  <a:gd name="T21" fmla="*/ 3 h 72"/>
                  <a:gd name="T22" fmla="*/ 15 w 68"/>
                  <a:gd name="T23" fmla="*/ 6 h 72"/>
                  <a:gd name="T24" fmla="*/ 9 w 68"/>
                  <a:gd name="T25" fmla="*/ 6 h 72"/>
                  <a:gd name="T26" fmla="*/ 6 w 68"/>
                  <a:gd name="T27" fmla="*/ 6 h 72"/>
                  <a:gd name="T28" fmla="*/ 6 w 68"/>
                  <a:gd name="T29" fmla="*/ 15 h 72"/>
                  <a:gd name="T30" fmla="*/ 9 w 68"/>
                  <a:gd name="T31" fmla="*/ 21 h 72"/>
                  <a:gd name="T32" fmla="*/ 9 w 68"/>
                  <a:gd name="T33" fmla="*/ 27 h 72"/>
                  <a:gd name="T34" fmla="*/ 6 w 68"/>
                  <a:gd name="T35" fmla="*/ 27 h 72"/>
                  <a:gd name="T36" fmla="*/ 6 w 68"/>
                  <a:gd name="T37" fmla="*/ 36 h 72"/>
                  <a:gd name="T38" fmla="*/ 3 w 68"/>
                  <a:gd name="T39" fmla="*/ 42 h 72"/>
                  <a:gd name="T40" fmla="*/ 0 w 68"/>
                  <a:gd name="T41" fmla="*/ 48 h 72"/>
                  <a:gd name="T42" fmla="*/ 6 w 68"/>
                  <a:gd name="T43" fmla="*/ 51 h 72"/>
                  <a:gd name="T44" fmla="*/ 15 w 68"/>
                  <a:gd name="T45" fmla="*/ 60 h 72"/>
                  <a:gd name="T46" fmla="*/ 9 w 68"/>
                  <a:gd name="T47" fmla="*/ 72 h 72"/>
                  <a:gd name="T48" fmla="*/ 45 w 68"/>
                  <a:gd name="T49" fmla="*/ 63 h 72"/>
                  <a:gd name="T50" fmla="*/ 65 w 68"/>
                  <a:gd name="T51" fmla="*/ 66 h 72"/>
                  <a:gd name="T52" fmla="*/ 65 w 68"/>
                  <a:gd name="T53"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2">
                    <a:moveTo>
                      <a:pt x="65" y="60"/>
                    </a:moveTo>
                    <a:cubicBezTo>
                      <a:pt x="62" y="57"/>
                      <a:pt x="59" y="48"/>
                      <a:pt x="59" y="48"/>
                    </a:cubicBezTo>
                    <a:cubicBezTo>
                      <a:pt x="59" y="45"/>
                      <a:pt x="65" y="39"/>
                      <a:pt x="65" y="36"/>
                    </a:cubicBezTo>
                    <a:cubicBezTo>
                      <a:pt x="65" y="33"/>
                      <a:pt x="68" y="30"/>
                      <a:pt x="68" y="30"/>
                    </a:cubicBezTo>
                    <a:cubicBezTo>
                      <a:pt x="68" y="27"/>
                      <a:pt x="68" y="18"/>
                      <a:pt x="65" y="12"/>
                    </a:cubicBezTo>
                    <a:cubicBezTo>
                      <a:pt x="65" y="12"/>
                      <a:pt x="62" y="12"/>
                      <a:pt x="62" y="9"/>
                    </a:cubicBezTo>
                    <a:cubicBezTo>
                      <a:pt x="59" y="9"/>
                      <a:pt x="53" y="9"/>
                      <a:pt x="50" y="12"/>
                    </a:cubicBezTo>
                    <a:cubicBezTo>
                      <a:pt x="47" y="15"/>
                      <a:pt x="42" y="9"/>
                      <a:pt x="39" y="6"/>
                    </a:cubicBezTo>
                    <a:cubicBezTo>
                      <a:pt x="39" y="6"/>
                      <a:pt x="36" y="3"/>
                      <a:pt x="30" y="3"/>
                    </a:cubicBezTo>
                    <a:cubicBezTo>
                      <a:pt x="27" y="6"/>
                      <a:pt x="27" y="6"/>
                      <a:pt x="27" y="3"/>
                    </a:cubicBezTo>
                    <a:cubicBezTo>
                      <a:pt x="27" y="0"/>
                      <a:pt x="21" y="0"/>
                      <a:pt x="21" y="3"/>
                    </a:cubicBezTo>
                    <a:cubicBezTo>
                      <a:pt x="21" y="6"/>
                      <a:pt x="18" y="9"/>
                      <a:pt x="15" y="6"/>
                    </a:cubicBezTo>
                    <a:cubicBezTo>
                      <a:pt x="15" y="6"/>
                      <a:pt x="12" y="3"/>
                      <a:pt x="9" y="6"/>
                    </a:cubicBezTo>
                    <a:cubicBezTo>
                      <a:pt x="6" y="6"/>
                      <a:pt x="6" y="6"/>
                      <a:pt x="6" y="6"/>
                    </a:cubicBezTo>
                    <a:cubicBezTo>
                      <a:pt x="6" y="9"/>
                      <a:pt x="3" y="15"/>
                      <a:pt x="6" y="15"/>
                    </a:cubicBezTo>
                    <a:cubicBezTo>
                      <a:pt x="9" y="15"/>
                      <a:pt x="9" y="18"/>
                      <a:pt x="9" y="21"/>
                    </a:cubicBezTo>
                    <a:cubicBezTo>
                      <a:pt x="6" y="21"/>
                      <a:pt x="12" y="24"/>
                      <a:pt x="9" y="27"/>
                    </a:cubicBezTo>
                    <a:cubicBezTo>
                      <a:pt x="9" y="30"/>
                      <a:pt x="6" y="24"/>
                      <a:pt x="6" y="27"/>
                    </a:cubicBezTo>
                    <a:cubicBezTo>
                      <a:pt x="3" y="30"/>
                      <a:pt x="6" y="33"/>
                      <a:pt x="6" y="36"/>
                    </a:cubicBezTo>
                    <a:cubicBezTo>
                      <a:pt x="3" y="36"/>
                      <a:pt x="3" y="36"/>
                      <a:pt x="3" y="42"/>
                    </a:cubicBezTo>
                    <a:cubicBezTo>
                      <a:pt x="3" y="45"/>
                      <a:pt x="3" y="48"/>
                      <a:pt x="0" y="48"/>
                    </a:cubicBezTo>
                    <a:cubicBezTo>
                      <a:pt x="0" y="51"/>
                      <a:pt x="0" y="51"/>
                      <a:pt x="6" y="51"/>
                    </a:cubicBezTo>
                    <a:cubicBezTo>
                      <a:pt x="9" y="54"/>
                      <a:pt x="15" y="57"/>
                      <a:pt x="15" y="60"/>
                    </a:cubicBezTo>
                    <a:cubicBezTo>
                      <a:pt x="12" y="63"/>
                      <a:pt x="12" y="66"/>
                      <a:pt x="9" y="72"/>
                    </a:cubicBezTo>
                    <a:cubicBezTo>
                      <a:pt x="18" y="72"/>
                      <a:pt x="30" y="66"/>
                      <a:pt x="45" y="63"/>
                    </a:cubicBezTo>
                    <a:cubicBezTo>
                      <a:pt x="53" y="63"/>
                      <a:pt x="59" y="63"/>
                      <a:pt x="65" y="66"/>
                    </a:cubicBezTo>
                    <a:cubicBezTo>
                      <a:pt x="65" y="63"/>
                      <a:pt x="65" y="60"/>
                      <a:pt x="65" y="6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7" name="Freeform 691"/>
              <p:cNvSpPr>
                <a:spLocks/>
              </p:cNvSpPr>
              <p:nvPr userDrawn="1"/>
            </p:nvSpPr>
            <p:spPr bwMode="auto">
              <a:xfrm>
                <a:off x="3330" y="-1334"/>
                <a:ext cx="106" cy="113"/>
              </a:xfrm>
              <a:custGeom>
                <a:avLst/>
                <a:gdLst>
                  <a:gd name="T0" fmla="*/ 65 w 68"/>
                  <a:gd name="T1" fmla="*/ 60 h 72"/>
                  <a:gd name="T2" fmla="*/ 59 w 68"/>
                  <a:gd name="T3" fmla="*/ 48 h 72"/>
                  <a:gd name="T4" fmla="*/ 65 w 68"/>
                  <a:gd name="T5" fmla="*/ 36 h 72"/>
                  <a:gd name="T6" fmla="*/ 68 w 68"/>
                  <a:gd name="T7" fmla="*/ 30 h 72"/>
                  <a:gd name="T8" fmla="*/ 65 w 68"/>
                  <a:gd name="T9" fmla="*/ 12 h 72"/>
                  <a:gd name="T10" fmla="*/ 62 w 68"/>
                  <a:gd name="T11" fmla="*/ 9 h 72"/>
                  <a:gd name="T12" fmla="*/ 50 w 68"/>
                  <a:gd name="T13" fmla="*/ 12 h 72"/>
                  <a:gd name="T14" fmla="*/ 39 w 68"/>
                  <a:gd name="T15" fmla="*/ 6 h 72"/>
                  <a:gd name="T16" fmla="*/ 30 w 68"/>
                  <a:gd name="T17" fmla="*/ 3 h 72"/>
                  <a:gd name="T18" fmla="*/ 27 w 68"/>
                  <a:gd name="T19" fmla="*/ 3 h 72"/>
                  <a:gd name="T20" fmla="*/ 21 w 68"/>
                  <a:gd name="T21" fmla="*/ 3 h 72"/>
                  <a:gd name="T22" fmla="*/ 15 w 68"/>
                  <a:gd name="T23" fmla="*/ 6 h 72"/>
                  <a:gd name="T24" fmla="*/ 9 w 68"/>
                  <a:gd name="T25" fmla="*/ 6 h 72"/>
                  <a:gd name="T26" fmla="*/ 6 w 68"/>
                  <a:gd name="T27" fmla="*/ 6 h 72"/>
                  <a:gd name="T28" fmla="*/ 6 w 68"/>
                  <a:gd name="T29" fmla="*/ 15 h 72"/>
                  <a:gd name="T30" fmla="*/ 9 w 68"/>
                  <a:gd name="T31" fmla="*/ 21 h 72"/>
                  <a:gd name="T32" fmla="*/ 9 w 68"/>
                  <a:gd name="T33" fmla="*/ 27 h 72"/>
                  <a:gd name="T34" fmla="*/ 6 w 68"/>
                  <a:gd name="T35" fmla="*/ 27 h 72"/>
                  <a:gd name="T36" fmla="*/ 6 w 68"/>
                  <a:gd name="T37" fmla="*/ 36 h 72"/>
                  <a:gd name="T38" fmla="*/ 3 w 68"/>
                  <a:gd name="T39" fmla="*/ 42 h 72"/>
                  <a:gd name="T40" fmla="*/ 0 w 68"/>
                  <a:gd name="T41" fmla="*/ 48 h 72"/>
                  <a:gd name="T42" fmla="*/ 6 w 68"/>
                  <a:gd name="T43" fmla="*/ 51 h 72"/>
                  <a:gd name="T44" fmla="*/ 15 w 68"/>
                  <a:gd name="T45" fmla="*/ 60 h 72"/>
                  <a:gd name="T46" fmla="*/ 9 w 68"/>
                  <a:gd name="T47" fmla="*/ 72 h 72"/>
                  <a:gd name="T48" fmla="*/ 45 w 68"/>
                  <a:gd name="T49" fmla="*/ 63 h 72"/>
                  <a:gd name="T50" fmla="*/ 65 w 68"/>
                  <a:gd name="T51" fmla="*/ 66 h 72"/>
                  <a:gd name="T52" fmla="*/ 65 w 68"/>
                  <a:gd name="T53"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72">
                    <a:moveTo>
                      <a:pt x="65" y="60"/>
                    </a:moveTo>
                    <a:cubicBezTo>
                      <a:pt x="62" y="57"/>
                      <a:pt x="59" y="48"/>
                      <a:pt x="59" y="48"/>
                    </a:cubicBezTo>
                    <a:cubicBezTo>
                      <a:pt x="59" y="45"/>
                      <a:pt x="65" y="39"/>
                      <a:pt x="65" y="36"/>
                    </a:cubicBezTo>
                    <a:cubicBezTo>
                      <a:pt x="65" y="33"/>
                      <a:pt x="68" y="30"/>
                      <a:pt x="68" y="30"/>
                    </a:cubicBezTo>
                    <a:cubicBezTo>
                      <a:pt x="68" y="27"/>
                      <a:pt x="68" y="18"/>
                      <a:pt x="65" y="12"/>
                    </a:cubicBezTo>
                    <a:cubicBezTo>
                      <a:pt x="65" y="12"/>
                      <a:pt x="62" y="12"/>
                      <a:pt x="62" y="9"/>
                    </a:cubicBezTo>
                    <a:cubicBezTo>
                      <a:pt x="59" y="9"/>
                      <a:pt x="53" y="9"/>
                      <a:pt x="50" y="12"/>
                    </a:cubicBezTo>
                    <a:cubicBezTo>
                      <a:pt x="47" y="15"/>
                      <a:pt x="42" y="9"/>
                      <a:pt x="39" y="6"/>
                    </a:cubicBezTo>
                    <a:cubicBezTo>
                      <a:pt x="39" y="6"/>
                      <a:pt x="36" y="3"/>
                      <a:pt x="30" y="3"/>
                    </a:cubicBezTo>
                    <a:cubicBezTo>
                      <a:pt x="27" y="6"/>
                      <a:pt x="27" y="6"/>
                      <a:pt x="27" y="3"/>
                    </a:cubicBezTo>
                    <a:cubicBezTo>
                      <a:pt x="27" y="0"/>
                      <a:pt x="21" y="0"/>
                      <a:pt x="21" y="3"/>
                    </a:cubicBezTo>
                    <a:cubicBezTo>
                      <a:pt x="21" y="6"/>
                      <a:pt x="18" y="9"/>
                      <a:pt x="15" y="6"/>
                    </a:cubicBezTo>
                    <a:cubicBezTo>
                      <a:pt x="15" y="6"/>
                      <a:pt x="12" y="3"/>
                      <a:pt x="9" y="6"/>
                    </a:cubicBezTo>
                    <a:cubicBezTo>
                      <a:pt x="6" y="6"/>
                      <a:pt x="6" y="6"/>
                      <a:pt x="6" y="6"/>
                    </a:cubicBezTo>
                    <a:cubicBezTo>
                      <a:pt x="6" y="9"/>
                      <a:pt x="3" y="15"/>
                      <a:pt x="6" y="15"/>
                    </a:cubicBezTo>
                    <a:cubicBezTo>
                      <a:pt x="9" y="15"/>
                      <a:pt x="9" y="18"/>
                      <a:pt x="9" y="21"/>
                    </a:cubicBezTo>
                    <a:cubicBezTo>
                      <a:pt x="6" y="21"/>
                      <a:pt x="12" y="24"/>
                      <a:pt x="9" y="27"/>
                    </a:cubicBezTo>
                    <a:cubicBezTo>
                      <a:pt x="9" y="30"/>
                      <a:pt x="6" y="24"/>
                      <a:pt x="6" y="27"/>
                    </a:cubicBezTo>
                    <a:cubicBezTo>
                      <a:pt x="3" y="30"/>
                      <a:pt x="6" y="33"/>
                      <a:pt x="6" y="36"/>
                    </a:cubicBezTo>
                    <a:cubicBezTo>
                      <a:pt x="3" y="36"/>
                      <a:pt x="3" y="36"/>
                      <a:pt x="3" y="42"/>
                    </a:cubicBezTo>
                    <a:cubicBezTo>
                      <a:pt x="3" y="45"/>
                      <a:pt x="3" y="48"/>
                      <a:pt x="0" y="48"/>
                    </a:cubicBezTo>
                    <a:cubicBezTo>
                      <a:pt x="0" y="51"/>
                      <a:pt x="0" y="51"/>
                      <a:pt x="6" y="51"/>
                    </a:cubicBezTo>
                    <a:cubicBezTo>
                      <a:pt x="9" y="54"/>
                      <a:pt x="15" y="57"/>
                      <a:pt x="15" y="60"/>
                    </a:cubicBezTo>
                    <a:cubicBezTo>
                      <a:pt x="12" y="63"/>
                      <a:pt x="12" y="66"/>
                      <a:pt x="9" y="72"/>
                    </a:cubicBezTo>
                    <a:cubicBezTo>
                      <a:pt x="18" y="72"/>
                      <a:pt x="30" y="66"/>
                      <a:pt x="45" y="63"/>
                    </a:cubicBezTo>
                    <a:cubicBezTo>
                      <a:pt x="53" y="63"/>
                      <a:pt x="59" y="63"/>
                      <a:pt x="65" y="66"/>
                    </a:cubicBezTo>
                    <a:cubicBezTo>
                      <a:pt x="65" y="63"/>
                      <a:pt x="65" y="60"/>
                      <a:pt x="65" y="6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8" name="Freeform 692"/>
              <p:cNvSpPr>
                <a:spLocks/>
              </p:cNvSpPr>
              <p:nvPr userDrawn="1"/>
            </p:nvSpPr>
            <p:spPr bwMode="auto">
              <a:xfrm>
                <a:off x="3424" y="-1338"/>
                <a:ext cx="75" cy="112"/>
              </a:xfrm>
              <a:custGeom>
                <a:avLst/>
                <a:gdLst>
                  <a:gd name="T0" fmla="*/ 42 w 48"/>
                  <a:gd name="T1" fmla="*/ 30 h 72"/>
                  <a:gd name="T2" fmla="*/ 42 w 48"/>
                  <a:gd name="T3" fmla="*/ 12 h 72"/>
                  <a:gd name="T4" fmla="*/ 39 w 48"/>
                  <a:gd name="T5" fmla="*/ 6 h 72"/>
                  <a:gd name="T6" fmla="*/ 36 w 48"/>
                  <a:gd name="T7" fmla="*/ 0 h 72"/>
                  <a:gd name="T8" fmla="*/ 33 w 48"/>
                  <a:gd name="T9" fmla="*/ 3 h 72"/>
                  <a:gd name="T10" fmla="*/ 6 w 48"/>
                  <a:gd name="T11" fmla="*/ 0 h 72"/>
                  <a:gd name="T12" fmla="*/ 6 w 48"/>
                  <a:gd name="T13" fmla="*/ 12 h 72"/>
                  <a:gd name="T14" fmla="*/ 6 w 48"/>
                  <a:gd name="T15" fmla="*/ 15 h 72"/>
                  <a:gd name="T16" fmla="*/ 9 w 48"/>
                  <a:gd name="T17" fmla="*/ 33 h 72"/>
                  <a:gd name="T18" fmla="*/ 6 w 48"/>
                  <a:gd name="T19" fmla="*/ 39 h 72"/>
                  <a:gd name="T20" fmla="*/ 0 w 48"/>
                  <a:gd name="T21" fmla="*/ 51 h 72"/>
                  <a:gd name="T22" fmla="*/ 6 w 48"/>
                  <a:gd name="T23" fmla="*/ 63 h 72"/>
                  <a:gd name="T24" fmla="*/ 6 w 48"/>
                  <a:gd name="T25" fmla="*/ 69 h 72"/>
                  <a:gd name="T26" fmla="*/ 15 w 48"/>
                  <a:gd name="T27" fmla="*/ 72 h 72"/>
                  <a:gd name="T28" fmla="*/ 36 w 48"/>
                  <a:gd name="T29" fmla="*/ 63 h 72"/>
                  <a:gd name="T30" fmla="*/ 48 w 48"/>
                  <a:gd name="T31" fmla="*/ 57 h 72"/>
                  <a:gd name="T32" fmla="*/ 45 w 48"/>
                  <a:gd name="T33" fmla="*/ 45 h 72"/>
                  <a:gd name="T34" fmla="*/ 42 w 48"/>
                  <a:gd name="T35"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2">
                    <a:moveTo>
                      <a:pt x="42" y="30"/>
                    </a:moveTo>
                    <a:cubicBezTo>
                      <a:pt x="39" y="24"/>
                      <a:pt x="42" y="18"/>
                      <a:pt x="42" y="12"/>
                    </a:cubicBezTo>
                    <a:cubicBezTo>
                      <a:pt x="42" y="9"/>
                      <a:pt x="39" y="6"/>
                      <a:pt x="39" y="6"/>
                    </a:cubicBezTo>
                    <a:cubicBezTo>
                      <a:pt x="39" y="6"/>
                      <a:pt x="36" y="3"/>
                      <a:pt x="36" y="0"/>
                    </a:cubicBezTo>
                    <a:cubicBezTo>
                      <a:pt x="33" y="0"/>
                      <a:pt x="33" y="3"/>
                      <a:pt x="33" y="3"/>
                    </a:cubicBezTo>
                    <a:cubicBezTo>
                      <a:pt x="33" y="0"/>
                      <a:pt x="6" y="0"/>
                      <a:pt x="6" y="0"/>
                    </a:cubicBezTo>
                    <a:cubicBezTo>
                      <a:pt x="3" y="3"/>
                      <a:pt x="6" y="9"/>
                      <a:pt x="6" y="12"/>
                    </a:cubicBezTo>
                    <a:cubicBezTo>
                      <a:pt x="6" y="15"/>
                      <a:pt x="6" y="15"/>
                      <a:pt x="6" y="15"/>
                    </a:cubicBezTo>
                    <a:cubicBezTo>
                      <a:pt x="9" y="21"/>
                      <a:pt x="9" y="30"/>
                      <a:pt x="9" y="33"/>
                    </a:cubicBezTo>
                    <a:cubicBezTo>
                      <a:pt x="9" y="33"/>
                      <a:pt x="6" y="36"/>
                      <a:pt x="6" y="39"/>
                    </a:cubicBezTo>
                    <a:cubicBezTo>
                      <a:pt x="6" y="42"/>
                      <a:pt x="0" y="48"/>
                      <a:pt x="0" y="51"/>
                    </a:cubicBezTo>
                    <a:cubicBezTo>
                      <a:pt x="0" y="51"/>
                      <a:pt x="3" y="60"/>
                      <a:pt x="6" y="63"/>
                    </a:cubicBezTo>
                    <a:cubicBezTo>
                      <a:pt x="6" y="63"/>
                      <a:pt x="6" y="66"/>
                      <a:pt x="6" y="69"/>
                    </a:cubicBezTo>
                    <a:cubicBezTo>
                      <a:pt x="9" y="69"/>
                      <a:pt x="12" y="72"/>
                      <a:pt x="15" y="72"/>
                    </a:cubicBezTo>
                    <a:cubicBezTo>
                      <a:pt x="15" y="72"/>
                      <a:pt x="30" y="66"/>
                      <a:pt x="36" y="63"/>
                    </a:cubicBezTo>
                    <a:cubicBezTo>
                      <a:pt x="39" y="60"/>
                      <a:pt x="45" y="60"/>
                      <a:pt x="48" y="57"/>
                    </a:cubicBezTo>
                    <a:cubicBezTo>
                      <a:pt x="48" y="54"/>
                      <a:pt x="45" y="48"/>
                      <a:pt x="45" y="45"/>
                    </a:cubicBezTo>
                    <a:cubicBezTo>
                      <a:pt x="45" y="39"/>
                      <a:pt x="42" y="33"/>
                      <a:pt x="42"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19" name="Freeform 693"/>
              <p:cNvSpPr>
                <a:spLocks/>
              </p:cNvSpPr>
              <p:nvPr userDrawn="1"/>
            </p:nvSpPr>
            <p:spPr bwMode="auto">
              <a:xfrm>
                <a:off x="3424" y="-1338"/>
                <a:ext cx="75" cy="112"/>
              </a:xfrm>
              <a:custGeom>
                <a:avLst/>
                <a:gdLst>
                  <a:gd name="T0" fmla="*/ 42 w 48"/>
                  <a:gd name="T1" fmla="*/ 30 h 72"/>
                  <a:gd name="T2" fmla="*/ 42 w 48"/>
                  <a:gd name="T3" fmla="*/ 12 h 72"/>
                  <a:gd name="T4" fmla="*/ 39 w 48"/>
                  <a:gd name="T5" fmla="*/ 6 h 72"/>
                  <a:gd name="T6" fmla="*/ 36 w 48"/>
                  <a:gd name="T7" fmla="*/ 0 h 72"/>
                  <a:gd name="T8" fmla="*/ 33 w 48"/>
                  <a:gd name="T9" fmla="*/ 3 h 72"/>
                  <a:gd name="T10" fmla="*/ 6 w 48"/>
                  <a:gd name="T11" fmla="*/ 0 h 72"/>
                  <a:gd name="T12" fmla="*/ 6 w 48"/>
                  <a:gd name="T13" fmla="*/ 12 h 72"/>
                  <a:gd name="T14" fmla="*/ 6 w 48"/>
                  <a:gd name="T15" fmla="*/ 15 h 72"/>
                  <a:gd name="T16" fmla="*/ 9 w 48"/>
                  <a:gd name="T17" fmla="*/ 33 h 72"/>
                  <a:gd name="T18" fmla="*/ 6 w 48"/>
                  <a:gd name="T19" fmla="*/ 39 h 72"/>
                  <a:gd name="T20" fmla="*/ 0 w 48"/>
                  <a:gd name="T21" fmla="*/ 51 h 72"/>
                  <a:gd name="T22" fmla="*/ 6 w 48"/>
                  <a:gd name="T23" fmla="*/ 63 h 72"/>
                  <a:gd name="T24" fmla="*/ 6 w 48"/>
                  <a:gd name="T25" fmla="*/ 69 h 72"/>
                  <a:gd name="T26" fmla="*/ 15 w 48"/>
                  <a:gd name="T27" fmla="*/ 72 h 72"/>
                  <a:gd name="T28" fmla="*/ 36 w 48"/>
                  <a:gd name="T29" fmla="*/ 63 h 72"/>
                  <a:gd name="T30" fmla="*/ 48 w 48"/>
                  <a:gd name="T31" fmla="*/ 57 h 72"/>
                  <a:gd name="T32" fmla="*/ 45 w 48"/>
                  <a:gd name="T33" fmla="*/ 45 h 72"/>
                  <a:gd name="T34" fmla="*/ 42 w 48"/>
                  <a:gd name="T35"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2">
                    <a:moveTo>
                      <a:pt x="42" y="30"/>
                    </a:moveTo>
                    <a:cubicBezTo>
                      <a:pt x="39" y="24"/>
                      <a:pt x="42" y="18"/>
                      <a:pt x="42" y="12"/>
                    </a:cubicBezTo>
                    <a:cubicBezTo>
                      <a:pt x="42" y="9"/>
                      <a:pt x="39" y="6"/>
                      <a:pt x="39" y="6"/>
                    </a:cubicBezTo>
                    <a:cubicBezTo>
                      <a:pt x="39" y="6"/>
                      <a:pt x="36" y="3"/>
                      <a:pt x="36" y="0"/>
                    </a:cubicBezTo>
                    <a:cubicBezTo>
                      <a:pt x="33" y="0"/>
                      <a:pt x="33" y="3"/>
                      <a:pt x="33" y="3"/>
                    </a:cubicBezTo>
                    <a:cubicBezTo>
                      <a:pt x="33" y="0"/>
                      <a:pt x="6" y="0"/>
                      <a:pt x="6" y="0"/>
                    </a:cubicBezTo>
                    <a:cubicBezTo>
                      <a:pt x="3" y="3"/>
                      <a:pt x="6" y="9"/>
                      <a:pt x="6" y="12"/>
                    </a:cubicBezTo>
                    <a:cubicBezTo>
                      <a:pt x="6" y="15"/>
                      <a:pt x="6" y="15"/>
                      <a:pt x="6" y="15"/>
                    </a:cubicBezTo>
                    <a:cubicBezTo>
                      <a:pt x="9" y="21"/>
                      <a:pt x="9" y="30"/>
                      <a:pt x="9" y="33"/>
                    </a:cubicBezTo>
                    <a:cubicBezTo>
                      <a:pt x="9" y="33"/>
                      <a:pt x="6" y="36"/>
                      <a:pt x="6" y="39"/>
                    </a:cubicBezTo>
                    <a:cubicBezTo>
                      <a:pt x="6" y="42"/>
                      <a:pt x="0" y="48"/>
                      <a:pt x="0" y="51"/>
                    </a:cubicBezTo>
                    <a:cubicBezTo>
                      <a:pt x="0" y="51"/>
                      <a:pt x="3" y="60"/>
                      <a:pt x="6" y="63"/>
                    </a:cubicBezTo>
                    <a:cubicBezTo>
                      <a:pt x="6" y="63"/>
                      <a:pt x="6" y="66"/>
                      <a:pt x="6" y="69"/>
                    </a:cubicBezTo>
                    <a:cubicBezTo>
                      <a:pt x="9" y="69"/>
                      <a:pt x="12" y="72"/>
                      <a:pt x="15" y="72"/>
                    </a:cubicBezTo>
                    <a:cubicBezTo>
                      <a:pt x="15" y="72"/>
                      <a:pt x="30" y="66"/>
                      <a:pt x="36" y="63"/>
                    </a:cubicBezTo>
                    <a:cubicBezTo>
                      <a:pt x="39" y="60"/>
                      <a:pt x="45" y="60"/>
                      <a:pt x="48" y="57"/>
                    </a:cubicBezTo>
                    <a:cubicBezTo>
                      <a:pt x="48" y="54"/>
                      <a:pt x="45" y="48"/>
                      <a:pt x="45" y="45"/>
                    </a:cubicBezTo>
                    <a:cubicBezTo>
                      <a:pt x="45" y="39"/>
                      <a:pt x="42" y="33"/>
                      <a:pt x="42"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0" name="Freeform 694"/>
              <p:cNvSpPr>
                <a:spLocks/>
              </p:cNvSpPr>
              <p:nvPr userDrawn="1"/>
            </p:nvSpPr>
            <p:spPr bwMode="auto">
              <a:xfrm>
                <a:off x="3212" y="-1366"/>
                <a:ext cx="137" cy="98"/>
              </a:xfrm>
              <a:custGeom>
                <a:avLst/>
                <a:gdLst>
                  <a:gd name="T0" fmla="*/ 31 w 88"/>
                  <a:gd name="T1" fmla="*/ 33 h 63"/>
                  <a:gd name="T2" fmla="*/ 37 w 88"/>
                  <a:gd name="T3" fmla="*/ 33 h 63"/>
                  <a:gd name="T4" fmla="*/ 43 w 88"/>
                  <a:gd name="T5" fmla="*/ 30 h 63"/>
                  <a:gd name="T6" fmla="*/ 52 w 88"/>
                  <a:gd name="T7" fmla="*/ 42 h 63"/>
                  <a:gd name="T8" fmla="*/ 55 w 88"/>
                  <a:gd name="T9" fmla="*/ 48 h 63"/>
                  <a:gd name="T10" fmla="*/ 55 w 88"/>
                  <a:gd name="T11" fmla="*/ 48 h 63"/>
                  <a:gd name="T12" fmla="*/ 64 w 88"/>
                  <a:gd name="T13" fmla="*/ 48 h 63"/>
                  <a:gd name="T14" fmla="*/ 67 w 88"/>
                  <a:gd name="T15" fmla="*/ 57 h 63"/>
                  <a:gd name="T16" fmla="*/ 73 w 88"/>
                  <a:gd name="T17" fmla="*/ 60 h 63"/>
                  <a:gd name="T18" fmla="*/ 76 w 88"/>
                  <a:gd name="T19" fmla="*/ 57 h 63"/>
                  <a:gd name="T20" fmla="*/ 79 w 88"/>
                  <a:gd name="T21" fmla="*/ 60 h 63"/>
                  <a:gd name="T22" fmla="*/ 82 w 88"/>
                  <a:gd name="T23" fmla="*/ 57 h 63"/>
                  <a:gd name="T24" fmla="*/ 82 w 88"/>
                  <a:gd name="T25" fmla="*/ 48 h 63"/>
                  <a:gd name="T26" fmla="*/ 85 w 88"/>
                  <a:gd name="T27" fmla="*/ 48 h 63"/>
                  <a:gd name="T28" fmla="*/ 85 w 88"/>
                  <a:gd name="T29" fmla="*/ 42 h 63"/>
                  <a:gd name="T30" fmla="*/ 82 w 88"/>
                  <a:gd name="T31" fmla="*/ 36 h 63"/>
                  <a:gd name="T32" fmla="*/ 82 w 88"/>
                  <a:gd name="T33" fmla="*/ 27 h 63"/>
                  <a:gd name="T34" fmla="*/ 79 w 88"/>
                  <a:gd name="T35" fmla="*/ 24 h 63"/>
                  <a:gd name="T36" fmla="*/ 79 w 88"/>
                  <a:gd name="T37" fmla="*/ 18 h 63"/>
                  <a:gd name="T38" fmla="*/ 79 w 88"/>
                  <a:gd name="T39" fmla="*/ 15 h 63"/>
                  <a:gd name="T40" fmla="*/ 73 w 88"/>
                  <a:gd name="T41" fmla="*/ 9 h 63"/>
                  <a:gd name="T42" fmla="*/ 70 w 88"/>
                  <a:gd name="T43" fmla="*/ 0 h 63"/>
                  <a:gd name="T44" fmla="*/ 61 w 88"/>
                  <a:gd name="T45" fmla="*/ 6 h 63"/>
                  <a:gd name="T46" fmla="*/ 55 w 88"/>
                  <a:gd name="T47" fmla="*/ 6 h 63"/>
                  <a:gd name="T48" fmla="*/ 46 w 88"/>
                  <a:gd name="T49" fmla="*/ 6 h 63"/>
                  <a:gd name="T50" fmla="*/ 43 w 88"/>
                  <a:gd name="T51" fmla="*/ 3 h 63"/>
                  <a:gd name="T52" fmla="*/ 43 w 88"/>
                  <a:gd name="T53" fmla="*/ 3 h 63"/>
                  <a:gd name="T54" fmla="*/ 43 w 88"/>
                  <a:gd name="T55" fmla="*/ 3 h 63"/>
                  <a:gd name="T56" fmla="*/ 24 w 88"/>
                  <a:gd name="T57" fmla="*/ 3 h 63"/>
                  <a:gd name="T58" fmla="*/ 18 w 88"/>
                  <a:gd name="T59" fmla="*/ 0 h 63"/>
                  <a:gd name="T60" fmla="*/ 15 w 88"/>
                  <a:gd name="T61" fmla="*/ 3 h 63"/>
                  <a:gd name="T62" fmla="*/ 15 w 88"/>
                  <a:gd name="T63" fmla="*/ 9 h 63"/>
                  <a:gd name="T64" fmla="*/ 12 w 88"/>
                  <a:gd name="T65" fmla="*/ 12 h 63"/>
                  <a:gd name="T66" fmla="*/ 3 w 88"/>
                  <a:gd name="T67" fmla="*/ 15 h 63"/>
                  <a:gd name="T68" fmla="*/ 0 w 88"/>
                  <a:gd name="T69" fmla="*/ 18 h 63"/>
                  <a:gd name="T70" fmla="*/ 9 w 88"/>
                  <a:gd name="T71" fmla="*/ 27 h 63"/>
                  <a:gd name="T72" fmla="*/ 21 w 88"/>
                  <a:gd name="T73" fmla="*/ 42 h 63"/>
                  <a:gd name="T74" fmla="*/ 31 w 88"/>
                  <a:gd name="T75"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63">
                    <a:moveTo>
                      <a:pt x="31" y="33"/>
                    </a:moveTo>
                    <a:cubicBezTo>
                      <a:pt x="31" y="30"/>
                      <a:pt x="34" y="30"/>
                      <a:pt x="37" y="33"/>
                    </a:cubicBezTo>
                    <a:cubicBezTo>
                      <a:pt x="40" y="33"/>
                      <a:pt x="43" y="30"/>
                      <a:pt x="43" y="30"/>
                    </a:cubicBezTo>
                    <a:cubicBezTo>
                      <a:pt x="46" y="30"/>
                      <a:pt x="52" y="39"/>
                      <a:pt x="52" y="42"/>
                    </a:cubicBezTo>
                    <a:cubicBezTo>
                      <a:pt x="52" y="45"/>
                      <a:pt x="55" y="45"/>
                      <a:pt x="55" y="48"/>
                    </a:cubicBezTo>
                    <a:cubicBezTo>
                      <a:pt x="55" y="48"/>
                      <a:pt x="55" y="48"/>
                      <a:pt x="55" y="48"/>
                    </a:cubicBezTo>
                    <a:cubicBezTo>
                      <a:pt x="58" y="48"/>
                      <a:pt x="64" y="48"/>
                      <a:pt x="64" y="48"/>
                    </a:cubicBezTo>
                    <a:cubicBezTo>
                      <a:pt x="64" y="48"/>
                      <a:pt x="67" y="54"/>
                      <a:pt x="67" y="57"/>
                    </a:cubicBezTo>
                    <a:cubicBezTo>
                      <a:pt x="67" y="60"/>
                      <a:pt x="70" y="63"/>
                      <a:pt x="73" y="60"/>
                    </a:cubicBezTo>
                    <a:cubicBezTo>
                      <a:pt x="73" y="57"/>
                      <a:pt x="76" y="54"/>
                      <a:pt x="76" y="57"/>
                    </a:cubicBezTo>
                    <a:cubicBezTo>
                      <a:pt x="76" y="57"/>
                      <a:pt x="76" y="57"/>
                      <a:pt x="79" y="60"/>
                    </a:cubicBezTo>
                    <a:cubicBezTo>
                      <a:pt x="79" y="57"/>
                      <a:pt x="82" y="57"/>
                      <a:pt x="82" y="57"/>
                    </a:cubicBezTo>
                    <a:cubicBezTo>
                      <a:pt x="82" y="54"/>
                      <a:pt x="79" y="51"/>
                      <a:pt x="82" y="48"/>
                    </a:cubicBezTo>
                    <a:cubicBezTo>
                      <a:pt x="82" y="45"/>
                      <a:pt x="85" y="51"/>
                      <a:pt x="85" y="48"/>
                    </a:cubicBezTo>
                    <a:cubicBezTo>
                      <a:pt x="88" y="45"/>
                      <a:pt x="82" y="42"/>
                      <a:pt x="85" y="42"/>
                    </a:cubicBezTo>
                    <a:cubicBezTo>
                      <a:pt x="85" y="39"/>
                      <a:pt x="85" y="36"/>
                      <a:pt x="82" y="36"/>
                    </a:cubicBezTo>
                    <a:cubicBezTo>
                      <a:pt x="79" y="36"/>
                      <a:pt x="82" y="30"/>
                      <a:pt x="82" y="27"/>
                    </a:cubicBezTo>
                    <a:cubicBezTo>
                      <a:pt x="82" y="27"/>
                      <a:pt x="82" y="27"/>
                      <a:pt x="79" y="24"/>
                    </a:cubicBezTo>
                    <a:cubicBezTo>
                      <a:pt x="79" y="18"/>
                      <a:pt x="79" y="18"/>
                      <a:pt x="79" y="18"/>
                    </a:cubicBezTo>
                    <a:cubicBezTo>
                      <a:pt x="76" y="18"/>
                      <a:pt x="76" y="15"/>
                      <a:pt x="79" y="15"/>
                    </a:cubicBezTo>
                    <a:cubicBezTo>
                      <a:pt x="79" y="15"/>
                      <a:pt x="73" y="12"/>
                      <a:pt x="73" y="9"/>
                    </a:cubicBezTo>
                    <a:cubicBezTo>
                      <a:pt x="73" y="6"/>
                      <a:pt x="70" y="3"/>
                      <a:pt x="70" y="0"/>
                    </a:cubicBezTo>
                    <a:cubicBezTo>
                      <a:pt x="67" y="0"/>
                      <a:pt x="64" y="6"/>
                      <a:pt x="61" y="6"/>
                    </a:cubicBezTo>
                    <a:cubicBezTo>
                      <a:pt x="58" y="6"/>
                      <a:pt x="55" y="3"/>
                      <a:pt x="55" y="6"/>
                    </a:cubicBezTo>
                    <a:cubicBezTo>
                      <a:pt x="52" y="9"/>
                      <a:pt x="49" y="6"/>
                      <a:pt x="46" y="6"/>
                    </a:cubicBezTo>
                    <a:cubicBezTo>
                      <a:pt x="46" y="9"/>
                      <a:pt x="43" y="3"/>
                      <a:pt x="43" y="3"/>
                    </a:cubicBezTo>
                    <a:cubicBezTo>
                      <a:pt x="43" y="3"/>
                      <a:pt x="43" y="3"/>
                      <a:pt x="43" y="3"/>
                    </a:cubicBezTo>
                    <a:cubicBezTo>
                      <a:pt x="43" y="3"/>
                      <a:pt x="43" y="3"/>
                      <a:pt x="43" y="3"/>
                    </a:cubicBezTo>
                    <a:cubicBezTo>
                      <a:pt x="37" y="6"/>
                      <a:pt x="28" y="3"/>
                      <a:pt x="24" y="3"/>
                    </a:cubicBezTo>
                    <a:cubicBezTo>
                      <a:pt x="24" y="0"/>
                      <a:pt x="18" y="0"/>
                      <a:pt x="18" y="0"/>
                    </a:cubicBezTo>
                    <a:cubicBezTo>
                      <a:pt x="18" y="0"/>
                      <a:pt x="18" y="3"/>
                      <a:pt x="15" y="3"/>
                    </a:cubicBezTo>
                    <a:cubicBezTo>
                      <a:pt x="12" y="6"/>
                      <a:pt x="15" y="9"/>
                      <a:pt x="15" y="9"/>
                    </a:cubicBezTo>
                    <a:cubicBezTo>
                      <a:pt x="12" y="12"/>
                      <a:pt x="12" y="12"/>
                      <a:pt x="12" y="12"/>
                    </a:cubicBezTo>
                    <a:cubicBezTo>
                      <a:pt x="9" y="9"/>
                      <a:pt x="6" y="15"/>
                      <a:pt x="3" y="15"/>
                    </a:cubicBezTo>
                    <a:cubicBezTo>
                      <a:pt x="3" y="15"/>
                      <a:pt x="3" y="18"/>
                      <a:pt x="0" y="18"/>
                    </a:cubicBezTo>
                    <a:cubicBezTo>
                      <a:pt x="6" y="21"/>
                      <a:pt x="6" y="24"/>
                      <a:pt x="9" y="27"/>
                    </a:cubicBezTo>
                    <a:cubicBezTo>
                      <a:pt x="12" y="30"/>
                      <a:pt x="18" y="36"/>
                      <a:pt x="21" y="42"/>
                    </a:cubicBezTo>
                    <a:cubicBezTo>
                      <a:pt x="24" y="39"/>
                      <a:pt x="31" y="36"/>
                      <a:pt x="31"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1" name="Freeform 695"/>
              <p:cNvSpPr>
                <a:spLocks/>
              </p:cNvSpPr>
              <p:nvPr userDrawn="1"/>
            </p:nvSpPr>
            <p:spPr bwMode="auto">
              <a:xfrm>
                <a:off x="3212" y="-1366"/>
                <a:ext cx="137" cy="98"/>
              </a:xfrm>
              <a:custGeom>
                <a:avLst/>
                <a:gdLst>
                  <a:gd name="T0" fmla="*/ 31 w 88"/>
                  <a:gd name="T1" fmla="*/ 33 h 63"/>
                  <a:gd name="T2" fmla="*/ 37 w 88"/>
                  <a:gd name="T3" fmla="*/ 33 h 63"/>
                  <a:gd name="T4" fmla="*/ 43 w 88"/>
                  <a:gd name="T5" fmla="*/ 30 h 63"/>
                  <a:gd name="T6" fmla="*/ 52 w 88"/>
                  <a:gd name="T7" fmla="*/ 42 h 63"/>
                  <a:gd name="T8" fmla="*/ 55 w 88"/>
                  <a:gd name="T9" fmla="*/ 48 h 63"/>
                  <a:gd name="T10" fmla="*/ 55 w 88"/>
                  <a:gd name="T11" fmla="*/ 48 h 63"/>
                  <a:gd name="T12" fmla="*/ 64 w 88"/>
                  <a:gd name="T13" fmla="*/ 48 h 63"/>
                  <a:gd name="T14" fmla="*/ 67 w 88"/>
                  <a:gd name="T15" fmla="*/ 57 h 63"/>
                  <a:gd name="T16" fmla="*/ 73 w 88"/>
                  <a:gd name="T17" fmla="*/ 60 h 63"/>
                  <a:gd name="T18" fmla="*/ 76 w 88"/>
                  <a:gd name="T19" fmla="*/ 57 h 63"/>
                  <a:gd name="T20" fmla="*/ 79 w 88"/>
                  <a:gd name="T21" fmla="*/ 60 h 63"/>
                  <a:gd name="T22" fmla="*/ 82 w 88"/>
                  <a:gd name="T23" fmla="*/ 57 h 63"/>
                  <a:gd name="T24" fmla="*/ 82 w 88"/>
                  <a:gd name="T25" fmla="*/ 48 h 63"/>
                  <a:gd name="T26" fmla="*/ 85 w 88"/>
                  <a:gd name="T27" fmla="*/ 48 h 63"/>
                  <a:gd name="T28" fmla="*/ 85 w 88"/>
                  <a:gd name="T29" fmla="*/ 42 h 63"/>
                  <a:gd name="T30" fmla="*/ 82 w 88"/>
                  <a:gd name="T31" fmla="*/ 36 h 63"/>
                  <a:gd name="T32" fmla="*/ 82 w 88"/>
                  <a:gd name="T33" fmla="*/ 27 h 63"/>
                  <a:gd name="T34" fmla="*/ 79 w 88"/>
                  <a:gd name="T35" fmla="*/ 24 h 63"/>
                  <a:gd name="T36" fmla="*/ 79 w 88"/>
                  <a:gd name="T37" fmla="*/ 18 h 63"/>
                  <a:gd name="T38" fmla="*/ 79 w 88"/>
                  <a:gd name="T39" fmla="*/ 15 h 63"/>
                  <a:gd name="T40" fmla="*/ 73 w 88"/>
                  <a:gd name="T41" fmla="*/ 9 h 63"/>
                  <a:gd name="T42" fmla="*/ 70 w 88"/>
                  <a:gd name="T43" fmla="*/ 0 h 63"/>
                  <a:gd name="T44" fmla="*/ 61 w 88"/>
                  <a:gd name="T45" fmla="*/ 6 h 63"/>
                  <a:gd name="T46" fmla="*/ 55 w 88"/>
                  <a:gd name="T47" fmla="*/ 6 h 63"/>
                  <a:gd name="T48" fmla="*/ 46 w 88"/>
                  <a:gd name="T49" fmla="*/ 6 h 63"/>
                  <a:gd name="T50" fmla="*/ 43 w 88"/>
                  <a:gd name="T51" fmla="*/ 3 h 63"/>
                  <a:gd name="T52" fmla="*/ 43 w 88"/>
                  <a:gd name="T53" fmla="*/ 3 h 63"/>
                  <a:gd name="T54" fmla="*/ 43 w 88"/>
                  <a:gd name="T55" fmla="*/ 3 h 63"/>
                  <a:gd name="T56" fmla="*/ 24 w 88"/>
                  <a:gd name="T57" fmla="*/ 3 h 63"/>
                  <a:gd name="T58" fmla="*/ 18 w 88"/>
                  <a:gd name="T59" fmla="*/ 0 h 63"/>
                  <a:gd name="T60" fmla="*/ 15 w 88"/>
                  <a:gd name="T61" fmla="*/ 3 h 63"/>
                  <a:gd name="T62" fmla="*/ 15 w 88"/>
                  <a:gd name="T63" fmla="*/ 9 h 63"/>
                  <a:gd name="T64" fmla="*/ 12 w 88"/>
                  <a:gd name="T65" fmla="*/ 12 h 63"/>
                  <a:gd name="T66" fmla="*/ 3 w 88"/>
                  <a:gd name="T67" fmla="*/ 15 h 63"/>
                  <a:gd name="T68" fmla="*/ 0 w 88"/>
                  <a:gd name="T69" fmla="*/ 18 h 63"/>
                  <a:gd name="T70" fmla="*/ 9 w 88"/>
                  <a:gd name="T71" fmla="*/ 27 h 63"/>
                  <a:gd name="T72" fmla="*/ 21 w 88"/>
                  <a:gd name="T73" fmla="*/ 42 h 63"/>
                  <a:gd name="T74" fmla="*/ 31 w 88"/>
                  <a:gd name="T75" fmla="*/ 3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63">
                    <a:moveTo>
                      <a:pt x="31" y="33"/>
                    </a:moveTo>
                    <a:cubicBezTo>
                      <a:pt x="31" y="30"/>
                      <a:pt x="34" y="30"/>
                      <a:pt x="37" y="33"/>
                    </a:cubicBezTo>
                    <a:cubicBezTo>
                      <a:pt x="40" y="33"/>
                      <a:pt x="43" y="30"/>
                      <a:pt x="43" y="30"/>
                    </a:cubicBezTo>
                    <a:cubicBezTo>
                      <a:pt x="46" y="30"/>
                      <a:pt x="52" y="39"/>
                      <a:pt x="52" y="42"/>
                    </a:cubicBezTo>
                    <a:cubicBezTo>
                      <a:pt x="52" y="45"/>
                      <a:pt x="55" y="45"/>
                      <a:pt x="55" y="48"/>
                    </a:cubicBezTo>
                    <a:cubicBezTo>
                      <a:pt x="55" y="48"/>
                      <a:pt x="55" y="48"/>
                      <a:pt x="55" y="48"/>
                    </a:cubicBezTo>
                    <a:cubicBezTo>
                      <a:pt x="58" y="48"/>
                      <a:pt x="64" y="48"/>
                      <a:pt x="64" y="48"/>
                    </a:cubicBezTo>
                    <a:cubicBezTo>
                      <a:pt x="64" y="48"/>
                      <a:pt x="67" y="54"/>
                      <a:pt x="67" y="57"/>
                    </a:cubicBezTo>
                    <a:cubicBezTo>
                      <a:pt x="67" y="60"/>
                      <a:pt x="70" y="63"/>
                      <a:pt x="73" y="60"/>
                    </a:cubicBezTo>
                    <a:cubicBezTo>
                      <a:pt x="73" y="57"/>
                      <a:pt x="76" y="54"/>
                      <a:pt x="76" y="57"/>
                    </a:cubicBezTo>
                    <a:cubicBezTo>
                      <a:pt x="76" y="57"/>
                      <a:pt x="76" y="57"/>
                      <a:pt x="79" y="60"/>
                    </a:cubicBezTo>
                    <a:cubicBezTo>
                      <a:pt x="79" y="57"/>
                      <a:pt x="82" y="57"/>
                      <a:pt x="82" y="57"/>
                    </a:cubicBezTo>
                    <a:cubicBezTo>
                      <a:pt x="82" y="54"/>
                      <a:pt x="79" y="51"/>
                      <a:pt x="82" y="48"/>
                    </a:cubicBezTo>
                    <a:cubicBezTo>
                      <a:pt x="82" y="45"/>
                      <a:pt x="85" y="51"/>
                      <a:pt x="85" y="48"/>
                    </a:cubicBezTo>
                    <a:cubicBezTo>
                      <a:pt x="88" y="45"/>
                      <a:pt x="82" y="42"/>
                      <a:pt x="85" y="42"/>
                    </a:cubicBezTo>
                    <a:cubicBezTo>
                      <a:pt x="85" y="39"/>
                      <a:pt x="85" y="36"/>
                      <a:pt x="82" y="36"/>
                    </a:cubicBezTo>
                    <a:cubicBezTo>
                      <a:pt x="79" y="36"/>
                      <a:pt x="82" y="30"/>
                      <a:pt x="82" y="27"/>
                    </a:cubicBezTo>
                    <a:cubicBezTo>
                      <a:pt x="82" y="27"/>
                      <a:pt x="82" y="27"/>
                      <a:pt x="79" y="24"/>
                    </a:cubicBezTo>
                    <a:cubicBezTo>
                      <a:pt x="79" y="18"/>
                      <a:pt x="79" y="18"/>
                      <a:pt x="79" y="18"/>
                    </a:cubicBezTo>
                    <a:cubicBezTo>
                      <a:pt x="76" y="18"/>
                      <a:pt x="76" y="15"/>
                      <a:pt x="79" y="15"/>
                    </a:cubicBezTo>
                    <a:cubicBezTo>
                      <a:pt x="79" y="15"/>
                      <a:pt x="73" y="12"/>
                      <a:pt x="73" y="9"/>
                    </a:cubicBezTo>
                    <a:cubicBezTo>
                      <a:pt x="73" y="6"/>
                      <a:pt x="70" y="3"/>
                      <a:pt x="70" y="0"/>
                    </a:cubicBezTo>
                    <a:cubicBezTo>
                      <a:pt x="67" y="0"/>
                      <a:pt x="64" y="6"/>
                      <a:pt x="61" y="6"/>
                    </a:cubicBezTo>
                    <a:cubicBezTo>
                      <a:pt x="58" y="6"/>
                      <a:pt x="55" y="3"/>
                      <a:pt x="55" y="6"/>
                    </a:cubicBezTo>
                    <a:cubicBezTo>
                      <a:pt x="52" y="9"/>
                      <a:pt x="49" y="6"/>
                      <a:pt x="46" y="6"/>
                    </a:cubicBezTo>
                    <a:cubicBezTo>
                      <a:pt x="46" y="9"/>
                      <a:pt x="43" y="3"/>
                      <a:pt x="43" y="3"/>
                    </a:cubicBezTo>
                    <a:cubicBezTo>
                      <a:pt x="43" y="3"/>
                      <a:pt x="43" y="3"/>
                      <a:pt x="43" y="3"/>
                    </a:cubicBezTo>
                    <a:cubicBezTo>
                      <a:pt x="43" y="3"/>
                      <a:pt x="43" y="3"/>
                      <a:pt x="43" y="3"/>
                    </a:cubicBezTo>
                    <a:cubicBezTo>
                      <a:pt x="37" y="6"/>
                      <a:pt x="28" y="3"/>
                      <a:pt x="24" y="3"/>
                    </a:cubicBezTo>
                    <a:cubicBezTo>
                      <a:pt x="24" y="0"/>
                      <a:pt x="18" y="0"/>
                      <a:pt x="18" y="0"/>
                    </a:cubicBezTo>
                    <a:cubicBezTo>
                      <a:pt x="18" y="0"/>
                      <a:pt x="18" y="3"/>
                      <a:pt x="15" y="3"/>
                    </a:cubicBezTo>
                    <a:cubicBezTo>
                      <a:pt x="12" y="6"/>
                      <a:pt x="15" y="9"/>
                      <a:pt x="15" y="9"/>
                    </a:cubicBezTo>
                    <a:cubicBezTo>
                      <a:pt x="12" y="12"/>
                      <a:pt x="12" y="12"/>
                      <a:pt x="12" y="12"/>
                    </a:cubicBezTo>
                    <a:cubicBezTo>
                      <a:pt x="9" y="9"/>
                      <a:pt x="6" y="15"/>
                      <a:pt x="3" y="15"/>
                    </a:cubicBezTo>
                    <a:cubicBezTo>
                      <a:pt x="3" y="15"/>
                      <a:pt x="3" y="18"/>
                      <a:pt x="0" y="18"/>
                    </a:cubicBezTo>
                    <a:cubicBezTo>
                      <a:pt x="6" y="21"/>
                      <a:pt x="6" y="24"/>
                      <a:pt x="9" y="27"/>
                    </a:cubicBezTo>
                    <a:cubicBezTo>
                      <a:pt x="12" y="30"/>
                      <a:pt x="18" y="36"/>
                      <a:pt x="21" y="42"/>
                    </a:cubicBezTo>
                    <a:cubicBezTo>
                      <a:pt x="24" y="39"/>
                      <a:pt x="31" y="36"/>
                      <a:pt x="31" y="33"/>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2" name="Freeform 696"/>
              <p:cNvSpPr>
                <a:spLocks/>
              </p:cNvSpPr>
              <p:nvPr userDrawn="1"/>
            </p:nvSpPr>
            <p:spPr bwMode="auto">
              <a:xfrm>
                <a:off x="3279" y="-1291"/>
                <a:ext cx="75" cy="70"/>
              </a:xfrm>
              <a:custGeom>
                <a:avLst/>
                <a:gdLst>
                  <a:gd name="T0" fmla="*/ 39 w 48"/>
                  <a:gd name="T1" fmla="*/ 24 h 45"/>
                  <a:gd name="T2" fmla="*/ 33 w 48"/>
                  <a:gd name="T3" fmla="*/ 21 h 45"/>
                  <a:gd name="T4" fmla="*/ 36 w 48"/>
                  <a:gd name="T5" fmla="*/ 15 h 45"/>
                  <a:gd name="T6" fmla="*/ 36 w 48"/>
                  <a:gd name="T7" fmla="*/ 12 h 45"/>
                  <a:gd name="T8" fmla="*/ 33 w 48"/>
                  <a:gd name="T9" fmla="*/ 9 h 45"/>
                  <a:gd name="T10" fmla="*/ 30 w 48"/>
                  <a:gd name="T11" fmla="*/ 12 h 45"/>
                  <a:gd name="T12" fmla="*/ 24 w 48"/>
                  <a:gd name="T13" fmla="*/ 9 h 45"/>
                  <a:gd name="T14" fmla="*/ 21 w 48"/>
                  <a:gd name="T15" fmla="*/ 0 h 45"/>
                  <a:gd name="T16" fmla="*/ 12 w 48"/>
                  <a:gd name="T17" fmla="*/ 0 h 45"/>
                  <a:gd name="T18" fmla="*/ 12 w 48"/>
                  <a:gd name="T19" fmla="*/ 6 h 45"/>
                  <a:gd name="T20" fmla="*/ 3 w 48"/>
                  <a:gd name="T21" fmla="*/ 15 h 45"/>
                  <a:gd name="T22" fmla="*/ 0 w 48"/>
                  <a:gd name="T23" fmla="*/ 18 h 45"/>
                  <a:gd name="T24" fmla="*/ 15 w 48"/>
                  <a:gd name="T25" fmla="*/ 27 h 45"/>
                  <a:gd name="T26" fmla="*/ 42 w 48"/>
                  <a:gd name="T27" fmla="*/ 45 h 45"/>
                  <a:gd name="T28" fmla="*/ 42 w 48"/>
                  <a:gd name="T29" fmla="*/ 45 h 45"/>
                  <a:gd name="T30" fmla="*/ 48 w 48"/>
                  <a:gd name="T31" fmla="*/ 33 h 45"/>
                  <a:gd name="T32" fmla="*/ 39 w 48"/>
                  <a:gd name="T33"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5">
                    <a:moveTo>
                      <a:pt x="39" y="24"/>
                    </a:moveTo>
                    <a:cubicBezTo>
                      <a:pt x="33" y="24"/>
                      <a:pt x="33" y="24"/>
                      <a:pt x="33" y="21"/>
                    </a:cubicBezTo>
                    <a:cubicBezTo>
                      <a:pt x="36" y="21"/>
                      <a:pt x="36" y="18"/>
                      <a:pt x="36" y="15"/>
                    </a:cubicBezTo>
                    <a:cubicBezTo>
                      <a:pt x="36" y="12"/>
                      <a:pt x="36" y="12"/>
                      <a:pt x="36" y="12"/>
                    </a:cubicBezTo>
                    <a:cubicBezTo>
                      <a:pt x="33" y="9"/>
                      <a:pt x="33" y="9"/>
                      <a:pt x="33" y="9"/>
                    </a:cubicBezTo>
                    <a:cubicBezTo>
                      <a:pt x="33" y="6"/>
                      <a:pt x="30" y="9"/>
                      <a:pt x="30" y="12"/>
                    </a:cubicBezTo>
                    <a:cubicBezTo>
                      <a:pt x="27" y="15"/>
                      <a:pt x="24" y="12"/>
                      <a:pt x="24" y="9"/>
                    </a:cubicBezTo>
                    <a:cubicBezTo>
                      <a:pt x="24" y="6"/>
                      <a:pt x="21" y="0"/>
                      <a:pt x="21" y="0"/>
                    </a:cubicBezTo>
                    <a:cubicBezTo>
                      <a:pt x="21" y="0"/>
                      <a:pt x="15" y="0"/>
                      <a:pt x="12" y="0"/>
                    </a:cubicBezTo>
                    <a:cubicBezTo>
                      <a:pt x="12" y="3"/>
                      <a:pt x="12" y="3"/>
                      <a:pt x="12" y="6"/>
                    </a:cubicBezTo>
                    <a:cubicBezTo>
                      <a:pt x="12" y="9"/>
                      <a:pt x="6" y="12"/>
                      <a:pt x="3" y="15"/>
                    </a:cubicBezTo>
                    <a:cubicBezTo>
                      <a:pt x="0" y="15"/>
                      <a:pt x="0" y="15"/>
                      <a:pt x="0" y="18"/>
                    </a:cubicBezTo>
                    <a:cubicBezTo>
                      <a:pt x="3" y="21"/>
                      <a:pt x="9" y="24"/>
                      <a:pt x="15" y="27"/>
                    </a:cubicBezTo>
                    <a:cubicBezTo>
                      <a:pt x="21" y="33"/>
                      <a:pt x="36" y="42"/>
                      <a:pt x="42" y="45"/>
                    </a:cubicBezTo>
                    <a:cubicBezTo>
                      <a:pt x="42" y="45"/>
                      <a:pt x="42" y="45"/>
                      <a:pt x="42" y="45"/>
                    </a:cubicBezTo>
                    <a:cubicBezTo>
                      <a:pt x="45" y="39"/>
                      <a:pt x="45" y="36"/>
                      <a:pt x="48" y="33"/>
                    </a:cubicBezTo>
                    <a:cubicBezTo>
                      <a:pt x="48" y="30"/>
                      <a:pt x="42" y="27"/>
                      <a:pt x="39"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3" name="Freeform 697"/>
              <p:cNvSpPr>
                <a:spLocks/>
              </p:cNvSpPr>
              <p:nvPr userDrawn="1"/>
            </p:nvSpPr>
            <p:spPr bwMode="auto">
              <a:xfrm>
                <a:off x="3279" y="-1291"/>
                <a:ext cx="75" cy="70"/>
              </a:xfrm>
              <a:custGeom>
                <a:avLst/>
                <a:gdLst>
                  <a:gd name="T0" fmla="*/ 39 w 48"/>
                  <a:gd name="T1" fmla="*/ 24 h 45"/>
                  <a:gd name="T2" fmla="*/ 33 w 48"/>
                  <a:gd name="T3" fmla="*/ 21 h 45"/>
                  <a:gd name="T4" fmla="*/ 36 w 48"/>
                  <a:gd name="T5" fmla="*/ 15 h 45"/>
                  <a:gd name="T6" fmla="*/ 36 w 48"/>
                  <a:gd name="T7" fmla="*/ 12 h 45"/>
                  <a:gd name="T8" fmla="*/ 33 w 48"/>
                  <a:gd name="T9" fmla="*/ 9 h 45"/>
                  <a:gd name="T10" fmla="*/ 30 w 48"/>
                  <a:gd name="T11" fmla="*/ 12 h 45"/>
                  <a:gd name="T12" fmla="*/ 24 w 48"/>
                  <a:gd name="T13" fmla="*/ 9 h 45"/>
                  <a:gd name="T14" fmla="*/ 21 w 48"/>
                  <a:gd name="T15" fmla="*/ 0 h 45"/>
                  <a:gd name="T16" fmla="*/ 12 w 48"/>
                  <a:gd name="T17" fmla="*/ 0 h 45"/>
                  <a:gd name="T18" fmla="*/ 12 w 48"/>
                  <a:gd name="T19" fmla="*/ 6 h 45"/>
                  <a:gd name="T20" fmla="*/ 3 w 48"/>
                  <a:gd name="T21" fmla="*/ 15 h 45"/>
                  <a:gd name="T22" fmla="*/ 0 w 48"/>
                  <a:gd name="T23" fmla="*/ 18 h 45"/>
                  <a:gd name="T24" fmla="*/ 15 w 48"/>
                  <a:gd name="T25" fmla="*/ 27 h 45"/>
                  <a:gd name="T26" fmla="*/ 42 w 48"/>
                  <a:gd name="T27" fmla="*/ 45 h 45"/>
                  <a:gd name="T28" fmla="*/ 42 w 48"/>
                  <a:gd name="T29" fmla="*/ 45 h 45"/>
                  <a:gd name="T30" fmla="*/ 48 w 48"/>
                  <a:gd name="T31" fmla="*/ 33 h 45"/>
                  <a:gd name="T32" fmla="*/ 39 w 48"/>
                  <a:gd name="T33"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5">
                    <a:moveTo>
                      <a:pt x="39" y="24"/>
                    </a:moveTo>
                    <a:cubicBezTo>
                      <a:pt x="33" y="24"/>
                      <a:pt x="33" y="24"/>
                      <a:pt x="33" y="21"/>
                    </a:cubicBezTo>
                    <a:cubicBezTo>
                      <a:pt x="36" y="21"/>
                      <a:pt x="36" y="18"/>
                      <a:pt x="36" y="15"/>
                    </a:cubicBezTo>
                    <a:cubicBezTo>
                      <a:pt x="36" y="12"/>
                      <a:pt x="36" y="12"/>
                      <a:pt x="36" y="12"/>
                    </a:cubicBezTo>
                    <a:cubicBezTo>
                      <a:pt x="33" y="9"/>
                      <a:pt x="33" y="9"/>
                      <a:pt x="33" y="9"/>
                    </a:cubicBezTo>
                    <a:cubicBezTo>
                      <a:pt x="33" y="6"/>
                      <a:pt x="30" y="9"/>
                      <a:pt x="30" y="12"/>
                    </a:cubicBezTo>
                    <a:cubicBezTo>
                      <a:pt x="27" y="15"/>
                      <a:pt x="24" y="12"/>
                      <a:pt x="24" y="9"/>
                    </a:cubicBezTo>
                    <a:cubicBezTo>
                      <a:pt x="24" y="6"/>
                      <a:pt x="21" y="0"/>
                      <a:pt x="21" y="0"/>
                    </a:cubicBezTo>
                    <a:cubicBezTo>
                      <a:pt x="21" y="0"/>
                      <a:pt x="15" y="0"/>
                      <a:pt x="12" y="0"/>
                    </a:cubicBezTo>
                    <a:cubicBezTo>
                      <a:pt x="12" y="3"/>
                      <a:pt x="12" y="3"/>
                      <a:pt x="12" y="6"/>
                    </a:cubicBezTo>
                    <a:cubicBezTo>
                      <a:pt x="12" y="9"/>
                      <a:pt x="6" y="12"/>
                      <a:pt x="3" y="15"/>
                    </a:cubicBezTo>
                    <a:cubicBezTo>
                      <a:pt x="0" y="15"/>
                      <a:pt x="0" y="15"/>
                      <a:pt x="0" y="18"/>
                    </a:cubicBezTo>
                    <a:cubicBezTo>
                      <a:pt x="3" y="21"/>
                      <a:pt x="9" y="24"/>
                      <a:pt x="15" y="27"/>
                    </a:cubicBezTo>
                    <a:cubicBezTo>
                      <a:pt x="21" y="33"/>
                      <a:pt x="36" y="42"/>
                      <a:pt x="42" y="45"/>
                    </a:cubicBezTo>
                    <a:cubicBezTo>
                      <a:pt x="42" y="45"/>
                      <a:pt x="42" y="45"/>
                      <a:pt x="42" y="45"/>
                    </a:cubicBezTo>
                    <a:cubicBezTo>
                      <a:pt x="45" y="39"/>
                      <a:pt x="45" y="36"/>
                      <a:pt x="48" y="33"/>
                    </a:cubicBezTo>
                    <a:cubicBezTo>
                      <a:pt x="48" y="30"/>
                      <a:pt x="42" y="27"/>
                      <a:pt x="39"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4" name="Freeform 698"/>
              <p:cNvSpPr>
                <a:spLocks/>
              </p:cNvSpPr>
              <p:nvPr userDrawn="1"/>
            </p:nvSpPr>
            <p:spPr bwMode="auto">
              <a:xfrm>
                <a:off x="3246" y="-1320"/>
                <a:ext cx="51" cy="57"/>
              </a:xfrm>
              <a:custGeom>
                <a:avLst/>
                <a:gdLst>
                  <a:gd name="T0" fmla="*/ 33 w 33"/>
                  <a:gd name="T1" fmla="*/ 24 h 36"/>
                  <a:gd name="T2" fmla="*/ 33 w 33"/>
                  <a:gd name="T3" fmla="*/ 18 h 36"/>
                  <a:gd name="T4" fmla="*/ 30 w 33"/>
                  <a:gd name="T5" fmla="*/ 12 h 36"/>
                  <a:gd name="T6" fmla="*/ 21 w 33"/>
                  <a:gd name="T7" fmla="*/ 0 h 36"/>
                  <a:gd name="T8" fmla="*/ 15 w 33"/>
                  <a:gd name="T9" fmla="*/ 3 h 36"/>
                  <a:gd name="T10" fmla="*/ 9 w 33"/>
                  <a:gd name="T11" fmla="*/ 3 h 36"/>
                  <a:gd name="T12" fmla="*/ 0 w 33"/>
                  <a:gd name="T13" fmla="*/ 12 h 36"/>
                  <a:gd name="T14" fmla="*/ 3 w 33"/>
                  <a:gd name="T15" fmla="*/ 15 h 36"/>
                  <a:gd name="T16" fmla="*/ 12 w 33"/>
                  <a:gd name="T17" fmla="*/ 30 h 36"/>
                  <a:gd name="T18" fmla="*/ 21 w 33"/>
                  <a:gd name="T19" fmla="*/ 36 h 36"/>
                  <a:gd name="T20" fmla="*/ 24 w 33"/>
                  <a:gd name="T21" fmla="*/ 33 h 36"/>
                  <a:gd name="T22" fmla="*/ 33 w 33"/>
                  <a:gd name="T23"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6">
                    <a:moveTo>
                      <a:pt x="33" y="24"/>
                    </a:moveTo>
                    <a:cubicBezTo>
                      <a:pt x="33" y="21"/>
                      <a:pt x="33" y="21"/>
                      <a:pt x="33" y="18"/>
                    </a:cubicBezTo>
                    <a:cubicBezTo>
                      <a:pt x="33" y="15"/>
                      <a:pt x="30" y="15"/>
                      <a:pt x="30" y="12"/>
                    </a:cubicBezTo>
                    <a:cubicBezTo>
                      <a:pt x="30" y="9"/>
                      <a:pt x="24" y="0"/>
                      <a:pt x="21" y="0"/>
                    </a:cubicBezTo>
                    <a:cubicBezTo>
                      <a:pt x="21" y="0"/>
                      <a:pt x="18" y="3"/>
                      <a:pt x="15" y="3"/>
                    </a:cubicBezTo>
                    <a:cubicBezTo>
                      <a:pt x="12" y="0"/>
                      <a:pt x="9" y="0"/>
                      <a:pt x="9" y="3"/>
                    </a:cubicBezTo>
                    <a:cubicBezTo>
                      <a:pt x="9" y="6"/>
                      <a:pt x="3" y="9"/>
                      <a:pt x="0" y="12"/>
                    </a:cubicBezTo>
                    <a:cubicBezTo>
                      <a:pt x="3" y="12"/>
                      <a:pt x="3" y="15"/>
                      <a:pt x="3" y="15"/>
                    </a:cubicBezTo>
                    <a:cubicBezTo>
                      <a:pt x="6" y="24"/>
                      <a:pt x="9" y="27"/>
                      <a:pt x="12" y="30"/>
                    </a:cubicBezTo>
                    <a:cubicBezTo>
                      <a:pt x="12" y="30"/>
                      <a:pt x="18" y="33"/>
                      <a:pt x="21" y="36"/>
                    </a:cubicBezTo>
                    <a:cubicBezTo>
                      <a:pt x="21" y="33"/>
                      <a:pt x="21" y="33"/>
                      <a:pt x="24" y="33"/>
                    </a:cubicBezTo>
                    <a:cubicBezTo>
                      <a:pt x="27" y="30"/>
                      <a:pt x="33" y="27"/>
                      <a:pt x="33"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5" name="Freeform 699"/>
              <p:cNvSpPr>
                <a:spLocks/>
              </p:cNvSpPr>
              <p:nvPr userDrawn="1"/>
            </p:nvSpPr>
            <p:spPr bwMode="auto">
              <a:xfrm>
                <a:off x="3246" y="-1320"/>
                <a:ext cx="51" cy="57"/>
              </a:xfrm>
              <a:custGeom>
                <a:avLst/>
                <a:gdLst>
                  <a:gd name="T0" fmla="*/ 33 w 33"/>
                  <a:gd name="T1" fmla="*/ 24 h 36"/>
                  <a:gd name="T2" fmla="*/ 33 w 33"/>
                  <a:gd name="T3" fmla="*/ 18 h 36"/>
                  <a:gd name="T4" fmla="*/ 30 w 33"/>
                  <a:gd name="T5" fmla="*/ 12 h 36"/>
                  <a:gd name="T6" fmla="*/ 21 w 33"/>
                  <a:gd name="T7" fmla="*/ 0 h 36"/>
                  <a:gd name="T8" fmla="*/ 15 w 33"/>
                  <a:gd name="T9" fmla="*/ 3 h 36"/>
                  <a:gd name="T10" fmla="*/ 9 w 33"/>
                  <a:gd name="T11" fmla="*/ 3 h 36"/>
                  <a:gd name="T12" fmla="*/ 0 w 33"/>
                  <a:gd name="T13" fmla="*/ 12 h 36"/>
                  <a:gd name="T14" fmla="*/ 3 w 33"/>
                  <a:gd name="T15" fmla="*/ 15 h 36"/>
                  <a:gd name="T16" fmla="*/ 12 w 33"/>
                  <a:gd name="T17" fmla="*/ 30 h 36"/>
                  <a:gd name="T18" fmla="*/ 21 w 33"/>
                  <a:gd name="T19" fmla="*/ 36 h 36"/>
                  <a:gd name="T20" fmla="*/ 24 w 33"/>
                  <a:gd name="T21" fmla="*/ 33 h 36"/>
                  <a:gd name="T22" fmla="*/ 33 w 33"/>
                  <a:gd name="T23"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6">
                    <a:moveTo>
                      <a:pt x="33" y="24"/>
                    </a:moveTo>
                    <a:cubicBezTo>
                      <a:pt x="33" y="21"/>
                      <a:pt x="33" y="21"/>
                      <a:pt x="33" y="18"/>
                    </a:cubicBezTo>
                    <a:cubicBezTo>
                      <a:pt x="33" y="15"/>
                      <a:pt x="30" y="15"/>
                      <a:pt x="30" y="12"/>
                    </a:cubicBezTo>
                    <a:cubicBezTo>
                      <a:pt x="30" y="9"/>
                      <a:pt x="24" y="0"/>
                      <a:pt x="21" y="0"/>
                    </a:cubicBezTo>
                    <a:cubicBezTo>
                      <a:pt x="21" y="0"/>
                      <a:pt x="18" y="3"/>
                      <a:pt x="15" y="3"/>
                    </a:cubicBezTo>
                    <a:cubicBezTo>
                      <a:pt x="12" y="0"/>
                      <a:pt x="9" y="0"/>
                      <a:pt x="9" y="3"/>
                    </a:cubicBezTo>
                    <a:cubicBezTo>
                      <a:pt x="9" y="6"/>
                      <a:pt x="3" y="9"/>
                      <a:pt x="0" y="12"/>
                    </a:cubicBezTo>
                    <a:cubicBezTo>
                      <a:pt x="3" y="12"/>
                      <a:pt x="3" y="15"/>
                      <a:pt x="3" y="15"/>
                    </a:cubicBezTo>
                    <a:cubicBezTo>
                      <a:pt x="6" y="24"/>
                      <a:pt x="9" y="27"/>
                      <a:pt x="12" y="30"/>
                    </a:cubicBezTo>
                    <a:cubicBezTo>
                      <a:pt x="12" y="30"/>
                      <a:pt x="18" y="33"/>
                      <a:pt x="21" y="36"/>
                    </a:cubicBezTo>
                    <a:cubicBezTo>
                      <a:pt x="21" y="33"/>
                      <a:pt x="21" y="33"/>
                      <a:pt x="24" y="33"/>
                    </a:cubicBezTo>
                    <a:cubicBezTo>
                      <a:pt x="27" y="30"/>
                      <a:pt x="33" y="27"/>
                      <a:pt x="33"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6" name="Freeform 700"/>
              <p:cNvSpPr>
                <a:spLocks/>
              </p:cNvSpPr>
              <p:nvPr userDrawn="1"/>
            </p:nvSpPr>
            <p:spPr bwMode="auto">
              <a:xfrm>
                <a:off x="3181" y="-1647"/>
                <a:ext cx="149" cy="123"/>
              </a:xfrm>
              <a:custGeom>
                <a:avLst/>
                <a:gdLst>
                  <a:gd name="T0" fmla="*/ 45 w 96"/>
                  <a:gd name="T1" fmla="*/ 0 h 79"/>
                  <a:gd name="T2" fmla="*/ 39 w 96"/>
                  <a:gd name="T3" fmla="*/ 12 h 79"/>
                  <a:gd name="T4" fmla="*/ 24 w 96"/>
                  <a:gd name="T5" fmla="*/ 33 h 79"/>
                  <a:gd name="T6" fmla="*/ 3 w 96"/>
                  <a:gd name="T7" fmla="*/ 67 h 79"/>
                  <a:gd name="T8" fmla="*/ 0 w 96"/>
                  <a:gd name="T9" fmla="*/ 79 h 79"/>
                  <a:gd name="T10" fmla="*/ 45 w 96"/>
                  <a:gd name="T11" fmla="*/ 79 h 79"/>
                  <a:gd name="T12" fmla="*/ 45 w 96"/>
                  <a:gd name="T13" fmla="*/ 61 h 79"/>
                  <a:gd name="T14" fmla="*/ 57 w 96"/>
                  <a:gd name="T15" fmla="*/ 51 h 79"/>
                  <a:gd name="T16" fmla="*/ 57 w 96"/>
                  <a:gd name="T17" fmla="*/ 21 h 79"/>
                  <a:gd name="T18" fmla="*/ 96 w 96"/>
                  <a:gd name="T19" fmla="*/ 21 h 79"/>
                  <a:gd name="T20" fmla="*/ 96 w 96"/>
                  <a:gd name="T21"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9">
                    <a:moveTo>
                      <a:pt x="45" y="0"/>
                    </a:moveTo>
                    <a:cubicBezTo>
                      <a:pt x="42" y="3"/>
                      <a:pt x="39" y="9"/>
                      <a:pt x="39" y="12"/>
                    </a:cubicBezTo>
                    <a:cubicBezTo>
                      <a:pt x="36" y="18"/>
                      <a:pt x="24" y="24"/>
                      <a:pt x="24" y="33"/>
                    </a:cubicBezTo>
                    <a:cubicBezTo>
                      <a:pt x="24" y="39"/>
                      <a:pt x="12" y="51"/>
                      <a:pt x="3" y="67"/>
                    </a:cubicBezTo>
                    <a:cubicBezTo>
                      <a:pt x="3" y="73"/>
                      <a:pt x="0" y="76"/>
                      <a:pt x="0" y="79"/>
                    </a:cubicBezTo>
                    <a:cubicBezTo>
                      <a:pt x="45" y="79"/>
                      <a:pt x="45" y="79"/>
                      <a:pt x="45" y="79"/>
                    </a:cubicBezTo>
                    <a:cubicBezTo>
                      <a:pt x="45" y="79"/>
                      <a:pt x="45" y="64"/>
                      <a:pt x="45" y="61"/>
                    </a:cubicBezTo>
                    <a:cubicBezTo>
                      <a:pt x="45" y="57"/>
                      <a:pt x="57" y="54"/>
                      <a:pt x="57" y="51"/>
                    </a:cubicBezTo>
                    <a:cubicBezTo>
                      <a:pt x="57" y="48"/>
                      <a:pt x="57" y="21"/>
                      <a:pt x="57" y="21"/>
                    </a:cubicBezTo>
                    <a:cubicBezTo>
                      <a:pt x="57" y="21"/>
                      <a:pt x="93" y="21"/>
                      <a:pt x="96" y="21"/>
                    </a:cubicBezTo>
                    <a:cubicBezTo>
                      <a:pt x="96" y="21"/>
                      <a:pt x="96" y="12"/>
                      <a:pt x="96"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7" name="Freeform 701"/>
              <p:cNvSpPr>
                <a:spLocks/>
              </p:cNvSpPr>
              <p:nvPr userDrawn="1"/>
            </p:nvSpPr>
            <p:spPr bwMode="auto">
              <a:xfrm>
                <a:off x="3181" y="-1647"/>
                <a:ext cx="149" cy="123"/>
              </a:xfrm>
              <a:custGeom>
                <a:avLst/>
                <a:gdLst>
                  <a:gd name="T0" fmla="*/ 45 w 96"/>
                  <a:gd name="T1" fmla="*/ 0 h 79"/>
                  <a:gd name="T2" fmla="*/ 39 w 96"/>
                  <a:gd name="T3" fmla="*/ 12 h 79"/>
                  <a:gd name="T4" fmla="*/ 24 w 96"/>
                  <a:gd name="T5" fmla="*/ 33 h 79"/>
                  <a:gd name="T6" fmla="*/ 3 w 96"/>
                  <a:gd name="T7" fmla="*/ 67 h 79"/>
                  <a:gd name="T8" fmla="*/ 0 w 96"/>
                  <a:gd name="T9" fmla="*/ 79 h 79"/>
                  <a:gd name="T10" fmla="*/ 45 w 96"/>
                  <a:gd name="T11" fmla="*/ 79 h 79"/>
                  <a:gd name="T12" fmla="*/ 45 w 96"/>
                  <a:gd name="T13" fmla="*/ 61 h 79"/>
                  <a:gd name="T14" fmla="*/ 57 w 96"/>
                  <a:gd name="T15" fmla="*/ 51 h 79"/>
                  <a:gd name="T16" fmla="*/ 57 w 96"/>
                  <a:gd name="T17" fmla="*/ 21 h 79"/>
                  <a:gd name="T18" fmla="*/ 96 w 96"/>
                  <a:gd name="T19" fmla="*/ 21 h 79"/>
                  <a:gd name="T20" fmla="*/ 96 w 96"/>
                  <a:gd name="T21"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9">
                    <a:moveTo>
                      <a:pt x="45" y="0"/>
                    </a:moveTo>
                    <a:cubicBezTo>
                      <a:pt x="42" y="3"/>
                      <a:pt x="39" y="9"/>
                      <a:pt x="39" y="12"/>
                    </a:cubicBezTo>
                    <a:cubicBezTo>
                      <a:pt x="36" y="18"/>
                      <a:pt x="24" y="24"/>
                      <a:pt x="24" y="33"/>
                    </a:cubicBezTo>
                    <a:cubicBezTo>
                      <a:pt x="24" y="39"/>
                      <a:pt x="12" y="51"/>
                      <a:pt x="3" y="67"/>
                    </a:cubicBezTo>
                    <a:cubicBezTo>
                      <a:pt x="3" y="73"/>
                      <a:pt x="0" y="76"/>
                      <a:pt x="0" y="79"/>
                    </a:cubicBezTo>
                    <a:cubicBezTo>
                      <a:pt x="45" y="79"/>
                      <a:pt x="45" y="79"/>
                      <a:pt x="45" y="79"/>
                    </a:cubicBezTo>
                    <a:cubicBezTo>
                      <a:pt x="45" y="79"/>
                      <a:pt x="45" y="64"/>
                      <a:pt x="45" y="61"/>
                    </a:cubicBezTo>
                    <a:cubicBezTo>
                      <a:pt x="45" y="57"/>
                      <a:pt x="57" y="54"/>
                      <a:pt x="57" y="51"/>
                    </a:cubicBezTo>
                    <a:cubicBezTo>
                      <a:pt x="57" y="48"/>
                      <a:pt x="57" y="21"/>
                      <a:pt x="57" y="21"/>
                    </a:cubicBezTo>
                    <a:cubicBezTo>
                      <a:pt x="57" y="21"/>
                      <a:pt x="93" y="21"/>
                      <a:pt x="96" y="21"/>
                    </a:cubicBezTo>
                    <a:cubicBezTo>
                      <a:pt x="96" y="21"/>
                      <a:pt x="96" y="12"/>
                      <a:pt x="96" y="6"/>
                    </a:cubicBezTo>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8" name="Freeform 702"/>
              <p:cNvSpPr>
                <a:spLocks/>
              </p:cNvSpPr>
              <p:nvPr userDrawn="1"/>
            </p:nvSpPr>
            <p:spPr bwMode="auto">
              <a:xfrm>
                <a:off x="3181" y="-1647"/>
                <a:ext cx="149" cy="123"/>
              </a:xfrm>
              <a:custGeom>
                <a:avLst/>
                <a:gdLst>
                  <a:gd name="T0" fmla="*/ 45 w 96"/>
                  <a:gd name="T1" fmla="*/ 0 h 79"/>
                  <a:gd name="T2" fmla="*/ 39 w 96"/>
                  <a:gd name="T3" fmla="*/ 12 h 79"/>
                  <a:gd name="T4" fmla="*/ 24 w 96"/>
                  <a:gd name="T5" fmla="*/ 33 h 79"/>
                  <a:gd name="T6" fmla="*/ 3 w 96"/>
                  <a:gd name="T7" fmla="*/ 67 h 79"/>
                  <a:gd name="T8" fmla="*/ 0 w 96"/>
                  <a:gd name="T9" fmla="*/ 79 h 79"/>
                  <a:gd name="T10" fmla="*/ 45 w 96"/>
                  <a:gd name="T11" fmla="*/ 79 h 79"/>
                  <a:gd name="T12" fmla="*/ 45 w 96"/>
                  <a:gd name="T13" fmla="*/ 61 h 79"/>
                  <a:gd name="T14" fmla="*/ 57 w 96"/>
                  <a:gd name="T15" fmla="*/ 51 h 79"/>
                  <a:gd name="T16" fmla="*/ 57 w 96"/>
                  <a:gd name="T17" fmla="*/ 21 h 79"/>
                  <a:gd name="T18" fmla="*/ 96 w 96"/>
                  <a:gd name="T19" fmla="*/ 21 h 79"/>
                  <a:gd name="T20" fmla="*/ 96 w 96"/>
                  <a:gd name="T21"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9">
                    <a:moveTo>
                      <a:pt x="45" y="0"/>
                    </a:moveTo>
                    <a:cubicBezTo>
                      <a:pt x="42" y="3"/>
                      <a:pt x="39" y="9"/>
                      <a:pt x="39" y="12"/>
                    </a:cubicBezTo>
                    <a:cubicBezTo>
                      <a:pt x="36" y="18"/>
                      <a:pt x="24" y="24"/>
                      <a:pt x="24" y="33"/>
                    </a:cubicBezTo>
                    <a:cubicBezTo>
                      <a:pt x="24" y="39"/>
                      <a:pt x="12" y="51"/>
                      <a:pt x="3" y="67"/>
                    </a:cubicBezTo>
                    <a:cubicBezTo>
                      <a:pt x="3" y="73"/>
                      <a:pt x="0" y="76"/>
                      <a:pt x="0" y="79"/>
                    </a:cubicBezTo>
                    <a:cubicBezTo>
                      <a:pt x="45" y="79"/>
                      <a:pt x="45" y="79"/>
                      <a:pt x="45" y="79"/>
                    </a:cubicBezTo>
                    <a:cubicBezTo>
                      <a:pt x="45" y="79"/>
                      <a:pt x="45" y="64"/>
                      <a:pt x="45" y="61"/>
                    </a:cubicBezTo>
                    <a:cubicBezTo>
                      <a:pt x="45" y="57"/>
                      <a:pt x="57" y="54"/>
                      <a:pt x="57" y="51"/>
                    </a:cubicBezTo>
                    <a:cubicBezTo>
                      <a:pt x="57" y="48"/>
                      <a:pt x="57" y="21"/>
                      <a:pt x="57" y="21"/>
                    </a:cubicBezTo>
                    <a:cubicBezTo>
                      <a:pt x="57" y="21"/>
                      <a:pt x="93" y="21"/>
                      <a:pt x="96" y="21"/>
                    </a:cubicBezTo>
                    <a:cubicBezTo>
                      <a:pt x="96" y="21"/>
                      <a:pt x="96" y="12"/>
                      <a:pt x="96"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29" name="Freeform 703"/>
              <p:cNvSpPr>
                <a:spLocks/>
              </p:cNvSpPr>
              <p:nvPr userDrawn="1"/>
            </p:nvSpPr>
            <p:spPr bwMode="auto">
              <a:xfrm>
                <a:off x="3181" y="-1647"/>
                <a:ext cx="149" cy="123"/>
              </a:xfrm>
              <a:custGeom>
                <a:avLst/>
                <a:gdLst>
                  <a:gd name="T0" fmla="*/ 45 w 96"/>
                  <a:gd name="T1" fmla="*/ 0 h 79"/>
                  <a:gd name="T2" fmla="*/ 39 w 96"/>
                  <a:gd name="T3" fmla="*/ 12 h 79"/>
                  <a:gd name="T4" fmla="*/ 24 w 96"/>
                  <a:gd name="T5" fmla="*/ 33 h 79"/>
                  <a:gd name="T6" fmla="*/ 3 w 96"/>
                  <a:gd name="T7" fmla="*/ 67 h 79"/>
                  <a:gd name="T8" fmla="*/ 0 w 96"/>
                  <a:gd name="T9" fmla="*/ 79 h 79"/>
                  <a:gd name="T10" fmla="*/ 45 w 96"/>
                  <a:gd name="T11" fmla="*/ 79 h 79"/>
                  <a:gd name="T12" fmla="*/ 45 w 96"/>
                  <a:gd name="T13" fmla="*/ 61 h 79"/>
                  <a:gd name="T14" fmla="*/ 57 w 96"/>
                  <a:gd name="T15" fmla="*/ 51 h 79"/>
                  <a:gd name="T16" fmla="*/ 57 w 96"/>
                  <a:gd name="T17" fmla="*/ 21 h 79"/>
                  <a:gd name="T18" fmla="*/ 96 w 96"/>
                  <a:gd name="T19" fmla="*/ 21 h 79"/>
                  <a:gd name="T20" fmla="*/ 96 w 96"/>
                  <a:gd name="T21"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9">
                    <a:moveTo>
                      <a:pt x="45" y="0"/>
                    </a:moveTo>
                    <a:cubicBezTo>
                      <a:pt x="42" y="3"/>
                      <a:pt x="39" y="9"/>
                      <a:pt x="39" y="12"/>
                    </a:cubicBezTo>
                    <a:cubicBezTo>
                      <a:pt x="36" y="18"/>
                      <a:pt x="24" y="24"/>
                      <a:pt x="24" y="33"/>
                    </a:cubicBezTo>
                    <a:cubicBezTo>
                      <a:pt x="24" y="39"/>
                      <a:pt x="12" y="51"/>
                      <a:pt x="3" y="67"/>
                    </a:cubicBezTo>
                    <a:cubicBezTo>
                      <a:pt x="3" y="73"/>
                      <a:pt x="0" y="76"/>
                      <a:pt x="0" y="79"/>
                    </a:cubicBezTo>
                    <a:cubicBezTo>
                      <a:pt x="45" y="79"/>
                      <a:pt x="45" y="79"/>
                      <a:pt x="45" y="79"/>
                    </a:cubicBezTo>
                    <a:cubicBezTo>
                      <a:pt x="45" y="79"/>
                      <a:pt x="45" y="64"/>
                      <a:pt x="45" y="61"/>
                    </a:cubicBezTo>
                    <a:cubicBezTo>
                      <a:pt x="45" y="57"/>
                      <a:pt x="57" y="54"/>
                      <a:pt x="57" y="51"/>
                    </a:cubicBezTo>
                    <a:cubicBezTo>
                      <a:pt x="57" y="48"/>
                      <a:pt x="57" y="21"/>
                      <a:pt x="57" y="21"/>
                    </a:cubicBezTo>
                    <a:cubicBezTo>
                      <a:pt x="57" y="21"/>
                      <a:pt x="93" y="21"/>
                      <a:pt x="96" y="21"/>
                    </a:cubicBezTo>
                    <a:cubicBezTo>
                      <a:pt x="96" y="21"/>
                      <a:pt x="96" y="12"/>
                      <a:pt x="96" y="6"/>
                    </a:cubicBezTo>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0" name="Freeform 704"/>
              <p:cNvSpPr>
                <a:spLocks/>
              </p:cNvSpPr>
              <p:nvPr userDrawn="1"/>
            </p:nvSpPr>
            <p:spPr bwMode="auto">
              <a:xfrm>
                <a:off x="3181" y="-1638"/>
                <a:ext cx="215" cy="234"/>
              </a:xfrm>
              <a:custGeom>
                <a:avLst/>
                <a:gdLst>
                  <a:gd name="T0" fmla="*/ 12 w 138"/>
                  <a:gd name="T1" fmla="*/ 129 h 150"/>
                  <a:gd name="T2" fmla="*/ 21 w 138"/>
                  <a:gd name="T3" fmla="*/ 129 h 150"/>
                  <a:gd name="T4" fmla="*/ 30 w 138"/>
                  <a:gd name="T5" fmla="*/ 129 h 150"/>
                  <a:gd name="T6" fmla="*/ 36 w 138"/>
                  <a:gd name="T7" fmla="*/ 135 h 150"/>
                  <a:gd name="T8" fmla="*/ 39 w 138"/>
                  <a:gd name="T9" fmla="*/ 135 h 150"/>
                  <a:gd name="T10" fmla="*/ 48 w 138"/>
                  <a:gd name="T11" fmla="*/ 144 h 150"/>
                  <a:gd name="T12" fmla="*/ 54 w 138"/>
                  <a:gd name="T13" fmla="*/ 150 h 150"/>
                  <a:gd name="T14" fmla="*/ 60 w 138"/>
                  <a:gd name="T15" fmla="*/ 147 h 150"/>
                  <a:gd name="T16" fmla="*/ 66 w 138"/>
                  <a:gd name="T17" fmla="*/ 144 h 150"/>
                  <a:gd name="T18" fmla="*/ 72 w 138"/>
                  <a:gd name="T19" fmla="*/ 141 h 150"/>
                  <a:gd name="T20" fmla="*/ 81 w 138"/>
                  <a:gd name="T21" fmla="*/ 144 h 150"/>
                  <a:gd name="T22" fmla="*/ 87 w 138"/>
                  <a:gd name="T23" fmla="*/ 141 h 150"/>
                  <a:gd name="T24" fmla="*/ 132 w 138"/>
                  <a:gd name="T25" fmla="*/ 141 h 150"/>
                  <a:gd name="T26" fmla="*/ 132 w 138"/>
                  <a:gd name="T27" fmla="*/ 129 h 150"/>
                  <a:gd name="T28" fmla="*/ 129 w 138"/>
                  <a:gd name="T29" fmla="*/ 126 h 150"/>
                  <a:gd name="T30" fmla="*/ 117 w 138"/>
                  <a:gd name="T31" fmla="*/ 27 h 150"/>
                  <a:gd name="T32" fmla="*/ 138 w 138"/>
                  <a:gd name="T33" fmla="*/ 27 h 150"/>
                  <a:gd name="T34" fmla="*/ 96 w 138"/>
                  <a:gd name="T35" fmla="*/ 0 h 150"/>
                  <a:gd name="T36" fmla="*/ 96 w 138"/>
                  <a:gd name="T37" fmla="*/ 0 h 150"/>
                  <a:gd name="T38" fmla="*/ 96 w 138"/>
                  <a:gd name="T39" fmla="*/ 15 h 150"/>
                  <a:gd name="T40" fmla="*/ 57 w 138"/>
                  <a:gd name="T41" fmla="*/ 15 h 150"/>
                  <a:gd name="T42" fmla="*/ 57 w 138"/>
                  <a:gd name="T43" fmla="*/ 45 h 150"/>
                  <a:gd name="T44" fmla="*/ 45 w 138"/>
                  <a:gd name="T45" fmla="*/ 54 h 150"/>
                  <a:gd name="T46" fmla="*/ 45 w 138"/>
                  <a:gd name="T47" fmla="*/ 72 h 150"/>
                  <a:gd name="T48" fmla="*/ 0 w 138"/>
                  <a:gd name="T49" fmla="*/ 72 h 150"/>
                  <a:gd name="T50" fmla="*/ 6 w 138"/>
                  <a:gd name="T51" fmla="*/ 84 h 150"/>
                  <a:gd name="T52" fmla="*/ 9 w 138"/>
                  <a:gd name="T53" fmla="*/ 102 h 150"/>
                  <a:gd name="T54" fmla="*/ 6 w 138"/>
                  <a:gd name="T55" fmla="*/ 126 h 150"/>
                  <a:gd name="T56" fmla="*/ 3 w 138"/>
                  <a:gd name="T57" fmla="*/ 135 h 150"/>
                  <a:gd name="T58" fmla="*/ 3 w 138"/>
                  <a:gd name="T59" fmla="*/ 135 h 150"/>
                  <a:gd name="T60" fmla="*/ 12 w 138"/>
                  <a:gd name="T61" fmla="*/ 12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50">
                    <a:moveTo>
                      <a:pt x="12" y="129"/>
                    </a:moveTo>
                    <a:cubicBezTo>
                      <a:pt x="15" y="129"/>
                      <a:pt x="21" y="129"/>
                      <a:pt x="21" y="129"/>
                    </a:cubicBezTo>
                    <a:cubicBezTo>
                      <a:pt x="21" y="129"/>
                      <a:pt x="27" y="126"/>
                      <a:pt x="30" y="129"/>
                    </a:cubicBezTo>
                    <a:cubicBezTo>
                      <a:pt x="33" y="129"/>
                      <a:pt x="36" y="135"/>
                      <a:pt x="36" y="135"/>
                    </a:cubicBezTo>
                    <a:cubicBezTo>
                      <a:pt x="39" y="135"/>
                      <a:pt x="39" y="135"/>
                      <a:pt x="39" y="135"/>
                    </a:cubicBezTo>
                    <a:cubicBezTo>
                      <a:pt x="39" y="135"/>
                      <a:pt x="42" y="141"/>
                      <a:pt x="48" y="144"/>
                    </a:cubicBezTo>
                    <a:cubicBezTo>
                      <a:pt x="51" y="144"/>
                      <a:pt x="51" y="147"/>
                      <a:pt x="54" y="150"/>
                    </a:cubicBezTo>
                    <a:cubicBezTo>
                      <a:pt x="57" y="150"/>
                      <a:pt x="60" y="147"/>
                      <a:pt x="60" y="147"/>
                    </a:cubicBezTo>
                    <a:cubicBezTo>
                      <a:pt x="60" y="144"/>
                      <a:pt x="60" y="138"/>
                      <a:pt x="66" y="144"/>
                    </a:cubicBezTo>
                    <a:cubicBezTo>
                      <a:pt x="72" y="147"/>
                      <a:pt x="72" y="144"/>
                      <a:pt x="72" y="141"/>
                    </a:cubicBezTo>
                    <a:cubicBezTo>
                      <a:pt x="72" y="141"/>
                      <a:pt x="78" y="144"/>
                      <a:pt x="81" y="144"/>
                    </a:cubicBezTo>
                    <a:cubicBezTo>
                      <a:pt x="84" y="144"/>
                      <a:pt x="87" y="141"/>
                      <a:pt x="87" y="141"/>
                    </a:cubicBezTo>
                    <a:cubicBezTo>
                      <a:pt x="87" y="141"/>
                      <a:pt x="129" y="141"/>
                      <a:pt x="132" y="141"/>
                    </a:cubicBezTo>
                    <a:cubicBezTo>
                      <a:pt x="132" y="138"/>
                      <a:pt x="132" y="129"/>
                      <a:pt x="132" y="129"/>
                    </a:cubicBezTo>
                    <a:cubicBezTo>
                      <a:pt x="129" y="126"/>
                      <a:pt x="129" y="126"/>
                      <a:pt x="129" y="126"/>
                    </a:cubicBezTo>
                    <a:cubicBezTo>
                      <a:pt x="117" y="27"/>
                      <a:pt x="117" y="27"/>
                      <a:pt x="117" y="27"/>
                    </a:cubicBezTo>
                    <a:cubicBezTo>
                      <a:pt x="138" y="27"/>
                      <a:pt x="138" y="27"/>
                      <a:pt x="138" y="27"/>
                    </a:cubicBezTo>
                    <a:cubicBezTo>
                      <a:pt x="117" y="15"/>
                      <a:pt x="99" y="3"/>
                      <a:pt x="96" y="0"/>
                    </a:cubicBezTo>
                    <a:cubicBezTo>
                      <a:pt x="96" y="0"/>
                      <a:pt x="96" y="0"/>
                      <a:pt x="96" y="0"/>
                    </a:cubicBezTo>
                    <a:cubicBezTo>
                      <a:pt x="96" y="6"/>
                      <a:pt x="96" y="15"/>
                      <a:pt x="96" y="15"/>
                    </a:cubicBezTo>
                    <a:cubicBezTo>
                      <a:pt x="93" y="15"/>
                      <a:pt x="57" y="15"/>
                      <a:pt x="57" y="15"/>
                    </a:cubicBezTo>
                    <a:cubicBezTo>
                      <a:pt x="57" y="15"/>
                      <a:pt x="57" y="42"/>
                      <a:pt x="57" y="45"/>
                    </a:cubicBezTo>
                    <a:cubicBezTo>
                      <a:pt x="57" y="48"/>
                      <a:pt x="45" y="51"/>
                      <a:pt x="45" y="54"/>
                    </a:cubicBezTo>
                    <a:cubicBezTo>
                      <a:pt x="45" y="57"/>
                      <a:pt x="45" y="72"/>
                      <a:pt x="45" y="72"/>
                    </a:cubicBezTo>
                    <a:cubicBezTo>
                      <a:pt x="0" y="72"/>
                      <a:pt x="0" y="72"/>
                      <a:pt x="0" y="72"/>
                    </a:cubicBezTo>
                    <a:cubicBezTo>
                      <a:pt x="0" y="78"/>
                      <a:pt x="3" y="81"/>
                      <a:pt x="6" y="84"/>
                    </a:cubicBezTo>
                    <a:cubicBezTo>
                      <a:pt x="9" y="87"/>
                      <a:pt x="3" y="96"/>
                      <a:pt x="9" y="102"/>
                    </a:cubicBezTo>
                    <a:cubicBezTo>
                      <a:pt x="15" y="111"/>
                      <a:pt x="9" y="120"/>
                      <a:pt x="6" y="126"/>
                    </a:cubicBezTo>
                    <a:cubicBezTo>
                      <a:pt x="3" y="126"/>
                      <a:pt x="3" y="132"/>
                      <a:pt x="3" y="135"/>
                    </a:cubicBezTo>
                    <a:cubicBezTo>
                      <a:pt x="3" y="135"/>
                      <a:pt x="3" y="135"/>
                      <a:pt x="3" y="135"/>
                    </a:cubicBezTo>
                    <a:cubicBezTo>
                      <a:pt x="9" y="135"/>
                      <a:pt x="6" y="129"/>
                      <a:pt x="12" y="1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1" name="Freeform 705"/>
              <p:cNvSpPr>
                <a:spLocks/>
              </p:cNvSpPr>
              <p:nvPr userDrawn="1"/>
            </p:nvSpPr>
            <p:spPr bwMode="auto">
              <a:xfrm>
                <a:off x="3181" y="-1638"/>
                <a:ext cx="215" cy="234"/>
              </a:xfrm>
              <a:custGeom>
                <a:avLst/>
                <a:gdLst>
                  <a:gd name="T0" fmla="*/ 12 w 138"/>
                  <a:gd name="T1" fmla="*/ 129 h 150"/>
                  <a:gd name="T2" fmla="*/ 21 w 138"/>
                  <a:gd name="T3" fmla="*/ 129 h 150"/>
                  <a:gd name="T4" fmla="*/ 30 w 138"/>
                  <a:gd name="T5" fmla="*/ 129 h 150"/>
                  <a:gd name="T6" fmla="*/ 36 w 138"/>
                  <a:gd name="T7" fmla="*/ 135 h 150"/>
                  <a:gd name="T8" fmla="*/ 39 w 138"/>
                  <a:gd name="T9" fmla="*/ 135 h 150"/>
                  <a:gd name="T10" fmla="*/ 48 w 138"/>
                  <a:gd name="T11" fmla="*/ 144 h 150"/>
                  <a:gd name="T12" fmla="*/ 54 w 138"/>
                  <a:gd name="T13" fmla="*/ 150 h 150"/>
                  <a:gd name="T14" fmla="*/ 60 w 138"/>
                  <a:gd name="T15" fmla="*/ 147 h 150"/>
                  <a:gd name="T16" fmla="*/ 66 w 138"/>
                  <a:gd name="T17" fmla="*/ 144 h 150"/>
                  <a:gd name="T18" fmla="*/ 72 w 138"/>
                  <a:gd name="T19" fmla="*/ 141 h 150"/>
                  <a:gd name="T20" fmla="*/ 81 w 138"/>
                  <a:gd name="T21" fmla="*/ 144 h 150"/>
                  <a:gd name="T22" fmla="*/ 87 w 138"/>
                  <a:gd name="T23" fmla="*/ 141 h 150"/>
                  <a:gd name="T24" fmla="*/ 132 w 138"/>
                  <a:gd name="T25" fmla="*/ 141 h 150"/>
                  <a:gd name="T26" fmla="*/ 132 w 138"/>
                  <a:gd name="T27" fmla="*/ 129 h 150"/>
                  <a:gd name="T28" fmla="*/ 129 w 138"/>
                  <a:gd name="T29" fmla="*/ 126 h 150"/>
                  <a:gd name="T30" fmla="*/ 117 w 138"/>
                  <a:gd name="T31" fmla="*/ 27 h 150"/>
                  <a:gd name="T32" fmla="*/ 138 w 138"/>
                  <a:gd name="T33" fmla="*/ 27 h 150"/>
                  <a:gd name="T34" fmla="*/ 96 w 138"/>
                  <a:gd name="T35" fmla="*/ 0 h 150"/>
                  <a:gd name="T36" fmla="*/ 96 w 138"/>
                  <a:gd name="T37" fmla="*/ 0 h 150"/>
                  <a:gd name="T38" fmla="*/ 96 w 138"/>
                  <a:gd name="T39" fmla="*/ 15 h 150"/>
                  <a:gd name="T40" fmla="*/ 57 w 138"/>
                  <a:gd name="T41" fmla="*/ 15 h 150"/>
                  <a:gd name="T42" fmla="*/ 57 w 138"/>
                  <a:gd name="T43" fmla="*/ 45 h 150"/>
                  <a:gd name="T44" fmla="*/ 45 w 138"/>
                  <a:gd name="T45" fmla="*/ 54 h 150"/>
                  <a:gd name="T46" fmla="*/ 45 w 138"/>
                  <a:gd name="T47" fmla="*/ 72 h 150"/>
                  <a:gd name="T48" fmla="*/ 0 w 138"/>
                  <a:gd name="T49" fmla="*/ 72 h 150"/>
                  <a:gd name="T50" fmla="*/ 6 w 138"/>
                  <a:gd name="T51" fmla="*/ 84 h 150"/>
                  <a:gd name="T52" fmla="*/ 9 w 138"/>
                  <a:gd name="T53" fmla="*/ 102 h 150"/>
                  <a:gd name="T54" fmla="*/ 6 w 138"/>
                  <a:gd name="T55" fmla="*/ 126 h 150"/>
                  <a:gd name="T56" fmla="*/ 3 w 138"/>
                  <a:gd name="T57" fmla="*/ 135 h 150"/>
                  <a:gd name="T58" fmla="*/ 3 w 138"/>
                  <a:gd name="T59" fmla="*/ 135 h 150"/>
                  <a:gd name="T60" fmla="*/ 12 w 138"/>
                  <a:gd name="T61" fmla="*/ 12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150">
                    <a:moveTo>
                      <a:pt x="12" y="129"/>
                    </a:moveTo>
                    <a:cubicBezTo>
                      <a:pt x="15" y="129"/>
                      <a:pt x="21" y="129"/>
                      <a:pt x="21" y="129"/>
                    </a:cubicBezTo>
                    <a:cubicBezTo>
                      <a:pt x="21" y="129"/>
                      <a:pt x="27" y="126"/>
                      <a:pt x="30" y="129"/>
                    </a:cubicBezTo>
                    <a:cubicBezTo>
                      <a:pt x="33" y="129"/>
                      <a:pt x="36" y="135"/>
                      <a:pt x="36" y="135"/>
                    </a:cubicBezTo>
                    <a:cubicBezTo>
                      <a:pt x="39" y="135"/>
                      <a:pt x="39" y="135"/>
                      <a:pt x="39" y="135"/>
                    </a:cubicBezTo>
                    <a:cubicBezTo>
                      <a:pt x="39" y="135"/>
                      <a:pt x="42" y="141"/>
                      <a:pt x="48" y="144"/>
                    </a:cubicBezTo>
                    <a:cubicBezTo>
                      <a:pt x="51" y="144"/>
                      <a:pt x="51" y="147"/>
                      <a:pt x="54" y="150"/>
                    </a:cubicBezTo>
                    <a:cubicBezTo>
                      <a:pt x="57" y="150"/>
                      <a:pt x="60" y="147"/>
                      <a:pt x="60" y="147"/>
                    </a:cubicBezTo>
                    <a:cubicBezTo>
                      <a:pt x="60" y="144"/>
                      <a:pt x="60" y="138"/>
                      <a:pt x="66" y="144"/>
                    </a:cubicBezTo>
                    <a:cubicBezTo>
                      <a:pt x="72" y="147"/>
                      <a:pt x="72" y="144"/>
                      <a:pt x="72" y="141"/>
                    </a:cubicBezTo>
                    <a:cubicBezTo>
                      <a:pt x="72" y="141"/>
                      <a:pt x="78" y="144"/>
                      <a:pt x="81" y="144"/>
                    </a:cubicBezTo>
                    <a:cubicBezTo>
                      <a:pt x="84" y="144"/>
                      <a:pt x="87" y="141"/>
                      <a:pt x="87" y="141"/>
                    </a:cubicBezTo>
                    <a:cubicBezTo>
                      <a:pt x="87" y="141"/>
                      <a:pt x="129" y="141"/>
                      <a:pt x="132" y="141"/>
                    </a:cubicBezTo>
                    <a:cubicBezTo>
                      <a:pt x="132" y="138"/>
                      <a:pt x="132" y="129"/>
                      <a:pt x="132" y="129"/>
                    </a:cubicBezTo>
                    <a:cubicBezTo>
                      <a:pt x="129" y="126"/>
                      <a:pt x="129" y="126"/>
                      <a:pt x="129" y="126"/>
                    </a:cubicBezTo>
                    <a:cubicBezTo>
                      <a:pt x="117" y="27"/>
                      <a:pt x="117" y="27"/>
                      <a:pt x="117" y="27"/>
                    </a:cubicBezTo>
                    <a:cubicBezTo>
                      <a:pt x="138" y="27"/>
                      <a:pt x="138" y="27"/>
                      <a:pt x="138" y="27"/>
                    </a:cubicBezTo>
                    <a:cubicBezTo>
                      <a:pt x="117" y="15"/>
                      <a:pt x="99" y="3"/>
                      <a:pt x="96" y="0"/>
                    </a:cubicBezTo>
                    <a:cubicBezTo>
                      <a:pt x="96" y="0"/>
                      <a:pt x="96" y="0"/>
                      <a:pt x="96" y="0"/>
                    </a:cubicBezTo>
                    <a:cubicBezTo>
                      <a:pt x="96" y="6"/>
                      <a:pt x="96" y="15"/>
                      <a:pt x="96" y="15"/>
                    </a:cubicBezTo>
                    <a:cubicBezTo>
                      <a:pt x="93" y="15"/>
                      <a:pt x="57" y="15"/>
                      <a:pt x="57" y="15"/>
                    </a:cubicBezTo>
                    <a:cubicBezTo>
                      <a:pt x="57" y="15"/>
                      <a:pt x="57" y="42"/>
                      <a:pt x="57" y="45"/>
                    </a:cubicBezTo>
                    <a:cubicBezTo>
                      <a:pt x="57" y="48"/>
                      <a:pt x="45" y="51"/>
                      <a:pt x="45" y="54"/>
                    </a:cubicBezTo>
                    <a:cubicBezTo>
                      <a:pt x="45" y="57"/>
                      <a:pt x="45" y="72"/>
                      <a:pt x="45" y="72"/>
                    </a:cubicBezTo>
                    <a:cubicBezTo>
                      <a:pt x="0" y="72"/>
                      <a:pt x="0" y="72"/>
                      <a:pt x="0" y="72"/>
                    </a:cubicBezTo>
                    <a:cubicBezTo>
                      <a:pt x="0" y="78"/>
                      <a:pt x="3" y="81"/>
                      <a:pt x="6" y="84"/>
                    </a:cubicBezTo>
                    <a:cubicBezTo>
                      <a:pt x="9" y="87"/>
                      <a:pt x="3" y="96"/>
                      <a:pt x="9" y="102"/>
                    </a:cubicBezTo>
                    <a:cubicBezTo>
                      <a:pt x="15" y="111"/>
                      <a:pt x="9" y="120"/>
                      <a:pt x="6" y="126"/>
                    </a:cubicBezTo>
                    <a:cubicBezTo>
                      <a:pt x="3" y="126"/>
                      <a:pt x="3" y="132"/>
                      <a:pt x="3" y="135"/>
                    </a:cubicBezTo>
                    <a:cubicBezTo>
                      <a:pt x="3" y="135"/>
                      <a:pt x="3" y="135"/>
                      <a:pt x="3" y="135"/>
                    </a:cubicBezTo>
                    <a:cubicBezTo>
                      <a:pt x="9" y="135"/>
                      <a:pt x="6" y="129"/>
                      <a:pt x="12" y="1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2" name="Freeform 706"/>
              <p:cNvSpPr>
                <a:spLocks/>
              </p:cNvSpPr>
              <p:nvPr userDrawn="1"/>
            </p:nvSpPr>
            <p:spPr bwMode="auto">
              <a:xfrm>
                <a:off x="3265" y="-1596"/>
                <a:ext cx="294" cy="276"/>
              </a:xfrm>
              <a:custGeom>
                <a:avLst/>
                <a:gdLst>
                  <a:gd name="T0" fmla="*/ 177 w 189"/>
                  <a:gd name="T1" fmla="*/ 72 h 177"/>
                  <a:gd name="T2" fmla="*/ 171 w 189"/>
                  <a:gd name="T3" fmla="*/ 60 h 177"/>
                  <a:gd name="T4" fmla="*/ 159 w 189"/>
                  <a:gd name="T5" fmla="*/ 57 h 177"/>
                  <a:gd name="T6" fmla="*/ 153 w 189"/>
                  <a:gd name="T7" fmla="*/ 48 h 177"/>
                  <a:gd name="T8" fmla="*/ 84 w 189"/>
                  <a:gd name="T9" fmla="*/ 0 h 177"/>
                  <a:gd name="T10" fmla="*/ 63 w 189"/>
                  <a:gd name="T11" fmla="*/ 0 h 177"/>
                  <a:gd name="T12" fmla="*/ 75 w 189"/>
                  <a:gd name="T13" fmla="*/ 99 h 177"/>
                  <a:gd name="T14" fmla="*/ 78 w 189"/>
                  <a:gd name="T15" fmla="*/ 102 h 177"/>
                  <a:gd name="T16" fmla="*/ 78 w 189"/>
                  <a:gd name="T17" fmla="*/ 114 h 177"/>
                  <a:gd name="T18" fmla="*/ 33 w 189"/>
                  <a:gd name="T19" fmla="*/ 114 h 177"/>
                  <a:gd name="T20" fmla="*/ 27 w 189"/>
                  <a:gd name="T21" fmla="*/ 117 h 177"/>
                  <a:gd name="T22" fmla="*/ 18 w 189"/>
                  <a:gd name="T23" fmla="*/ 114 h 177"/>
                  <a:gd name="T24" fmla="*/ 12 w 189"/>
                  <a:gd name="T25" fmla="*/ 117 h 177"/>
                  <a:gd name="T26" fmla="*/ 6 w 189"/>
                  <a:gd name="T27" fmla="*/ 120 h 177"/>
                  <a:gd name="T28" fmla="*/ 0 w 189"/>
                  <a:gd name="T29" fmla="*/ 123 h 177"/>
                  <a:gd name="T30" fmla="*/ 0 w 189"/>
                  <a:gd name="T31" fmla="*/ 126 h 177"/>
                  <a:gd name="T32" fmla="*/ 3 w 189"/>
                  <a:gd name="T33" fmla="*/ 129 h 177"/>
                  <a:gd name="T34" fmla="*/ 3 w 189"/>
                  <a:gd name="T35" fmla="*/ 135 h 177"/>
                  <a:gd name="T36" fmla="*/ 9 w 189"/>
                  <a:gd name="T37" fmla="*/ 141 h 177"/>
                  <a:gd name="T38" fmla="*/ 9 w 189"/>
                  <a:gd name="T39" fmla="*/ 150 h 177"/>
                  <a:gd name="T40" fmla="*/ 12 w 189"/>
                  <a:gd name="T41" fmla="*/ 153 h 177"/>
                  <a:gd name="T42" fmla="*/ 21 w 189"/>
                  <a:gd name="T43" fmla="*/ 153 h 177"/>
                  <a:gd name="T44" fmla="*/ 27 w 189"/>
                  <a:gd name="T45" fmla="*/ 153 h 177"/>
                  <a:gd name="T46" fmla="*/ 36 w 189"/>
                  <a:gd name="T47" fmla="*/ 147 h 177"/>
                  <a:gd name="T48" fmla="*/ 39 w 189"/>
                  <a:gd name="T49" fmla="*/ 156 h 177"/>
                  <a:gd name="T50" fmla="*/ 45 w 189"/>
                  <a:gd name="T51" fmla="*/ 162 h 177"/>
                  <a:gd name="T52" fmla="*/ 45 w 189"/>
                  <a:gd name="T53" fmla="*/ 165 h 177"/>
                  <a:gd name="T54" fmla="*/ 45 w 189"/>
                  <a:gd name="T55" fmla="*/ 171 h 177"/>
                  <a:gd name="T56" fmla="*/ 51 w 189"/>
                  <a:gd name="T57" fmla="*/ 174 h 177"/>
                  <a:gd name="T58" fmla="*/ 57 w 189"/>
                  <a:gd name="T59" fmla="*/ 174 h 177"/>
                  <a:gd name="T60" fmla="*/ 63 w 189"/>
                  <a:gd name="T61" fmla="*/ 171 h 177"/>
                  <a:gd name="T62" fmla="*/ 69 w 189"/>
                  <a:gd name="T63" fmla="*/ 171 h 177"/>
                  <a:gd name="T64" fmla="*/ 72 w 189"/>
                  <a:gd name="T65" fmla="*/ 171 h 177"/>
                  <a:gd name="T66" fmla="*/ 78 w 189"/>
                  <a:gd name="T67" fmla="*/ 171 h 177"/>
                  <a:gd name="T68" fmla="*/ 81 w 189"/>
                  <a:gd name="T69" fmla="*/ 162 h 177"/>
                  <a:gd name="T70" fmla="*/ 78 w 189"/>
                  <a:gd name="T71" fmla="*/ 156 h 177"/>
                  <a:gd name="T72" fmla="*/ 87 w 189"/>
                  <a:gd name="T73" fmla="*/ 153 h 177"/>
                  <a:gd name="T74" fmla="*/ 93 w 189"/>
                  <a:gd name="T75" fmla="*/ 144 h 177"/>
                  <a:gd name="T76" fmla="*/ 96 w 189"/>
                  <a:gd name="T77" fmla="*/ 135 h 177"/>
                  <a:gd name="T78" fmla="*/ 102 w 189"/>
                  <a:gd name="T79" fmla="*/ 138 h 177"/>
                  <a:gd name="T80" fmla="*/ 108 w 189"/>
                  <a:gd name="T81" fmla="*/ 132 h 177"/>
                  <a:gd name="T82" fmla="*/ 114 w 189"/>
                  <a:gd name="T83" fmla="*/ 129 h 177"/>
                  <a:gd name="T84" fmla="*/ 117 w 189"/>
                  <a:gd name="T85" fmla="*/ 126 h 177"/>
                  <a:gd name="T86" fmla="*/ 126 w 189"/>
                  <a:gd name="T87" fmla="*/ 123 h 177"/>
                  <a:gd name="T88" fmla="*/ 135 w 189"/>
                  <a:gd name="T89" fmla="*/ 120 h 177"/>
                  <a:gd name="T90" fmla="*/ 150 w 189"/>
                  <a:gd name="T91" fmla="*/ 120 h 177"/>
                  <a:gd name="T92" fmla="*/ 159 w 189"/>
                  <a:gd name="T93" fmla="*/ 117 h 177"/>
                  <a:gd name="T94" fmla="*/ 177 w 189"/>
                  <a:gd name="T95" fmla="*/ 114 h 177"/>
                  <a:gd name="T96" fmla="*/ 183 w 189"/>
                  <a:gd name="T97" fmla="*/ 111 h 177"/>
                  <a:gd name="T98" fmla="*/ 186 w 189"/>
                  <a:gd name="T99" fmla="*/ 102 h 177"/>
                  <a:gd name="T100" fmla="*/ 186 w 189"/>
                  <a:gd name="T101" fmla="*/ 72 h 177"/>
                  <a:gd name="T102" fmla="*/ 177 w 189"/>
                  <a:gd name="T103"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9" h="177">
                    <a:moveTo>
                      <a:pt x="177" y="72"/>
                    </a:moveTo>
                    <a:cubicBezTo>
                      <a:pt x="177" y="72"/>
                      <a:pt x="177" y="66"/>
                      <a:pt x="171" y="60"/>
                    </a:cubicBezTo>
                    <a:cubicBezTo>
                      <a:pt x="168" y="57"/>
                      <a:pt x="159" y="57"/>
                      <a:pt x="159" y="57"/>
                    </a:cubicBezTo>
                    <a:cubicBezTo>
                      <a:pt x="159" y="57"/>
                      <a:pt x="156" y="51"/>
                      <a:pt x="153" y="48"/>
                    </a:cubicBezTo>
                    <a:cubicBezTo>
                      <a:pt x="150" y="45"/>
                      <a:pt x="114" y="21"/>
                      <a:pt x="84" y="0"/>
                    </a:cubicBezTo>
                    <a:cubicBezTo>
                      <a:pt x="63" y="0"/>
                      <a:pt x="63" y="0"/>
                      <a:pt x="63" y="0"/>
                    </a:cubicBezTo>
                    <a:cubicBezTo>
                      <a:pt x="75" y="99"/>
                      <a:pt x="75" y="99"/>
                      <a:pt x="75" y="99"/>
                    </a:cubicBezTo>
                    <a:cubicBezTo>
                      <a:pt x="78" y="102"/>
                      <a:pt x="78" y="102"/>
                      <a:pt x="78" y="102"/>
                    </a:cubicBezTo>
                    <a:cubicBezTo>
                      <a:pt x="78" y="102"/>
                      <a:pt x="78" y="111"/>
                      <a:pt x="78" y="114"/>
                    </a:cubicBezTo>
                    <a:cubicBezTo>
                      <a:pt x="75" y="114"/>
                      <a:pt x="33" y="114"/>
                      <a:pt x="33" y="114"/>
                    </a:cubicBezTo>
                    <a:cubicBezTo>
                      <a:pt x="33" y="114"/>
                      <a:pt x="30" y="117"/>
                      <a:pt x="27" y="117"/>
                    </a:cubicBezTo>
                    <a:cubicBezTo>
                      <a:pt x="24" y="117"/>
                      <a:pt x="18" y="114"/>
                      <a:pt x="18" y="114"/>
                    </a:cubicBezTo>
                    <a:cubicBezTo>
                      <a:pt x="18" y="117"/>
                      <a:pt x="18" y="120"/>
                      <a:pt x="12" y="117"/>
                    </a:cubicBezTo>
                    <a:cubicBezTo>
                      <a:pt x="6" y="111"/>
                      <a:pt x="6" y="117"/>
                      <a:pt x="6" y="120"/>
                    </a:cubicBezTo>
                    <a:cubicBezTo>
                      <a:pt x="6" y="120"/>
                      <a:pt x="3" y="123"/>
                      <a:pt x="0" y="123"/>
                    </a:cubicBezTo>
                    <a:cubicBezTo>
                      <a:pt x="0" y="126"/>
                      <a:pt x="0" y="126"/>
                      <a:pt x="0" y="126"/>
                    </a:cubicBezTo>
                    <a:cubicBezTo>
                      <a:pt x="3" y="129"/>
                      <a:pt x="3" y="129"/>
                      <a:pt x="3" y="129"/>
                    </a:cubicBezTo>
                    <a:cubicBezTo>
                      <a:pt x="3" y="129"/>
                      <a:pt x="3" y="132"/>
                      <a:pt x="3" y="135"/>
                    </a:cubicBezTo>
                    <a:cubicBezTo>
                      <a:pt x="6" y="138"/>
                      <a:pt x="9" y="141"/>
                      <a:pt x="9" y="141"/>
                    </a:cubicBezTo>
                    <a:cubicBezTo>
                      <a:pt x="9" y="144"/>
                      <a:pt x="9" y="150"/>
                      <a:pt x="9" y="150"/>
                    </a:cubicBezTo>
                    <a:cubicBezTo>
                      <a:pt x="9" y="150"/>
                      <a:pt x="12" y="156"/>
                      <a:pt x="12" y="153"/>
                    </a:cubicBezTo>
                    <a:cubicBezTo>
                      <a:pt x="15" y="153"/>
                      <a:pt x="18" y="156"/>
                      <a:pt x="21" y="153"/>
                    </a:cubicBezTo>
                    <a:cubicBezTo>
                      <a:pt x="21" y="150"/>
                      <a:pt x="24" y="153"/>
                      <a:pt x="27" y="153"/>
                    </a:cubicBezTo>
                    <a:cubicBezTo>
                      <a:pt x="30" y="153"/>
                      <a:pt x="33" y="147"/>
                      <a:pt x="36" y="147"/>
                    </a:cubicBezTo>
                    <a:cubicBezTo>
                      <a:pt x="36" y="150"/>
                      <a:pt x="39" y="153"/>
                      <a:pt x="39" y="156"/>
                    </a:cubicBezTo>
                    <a:cubicBezTo>
                      <a:pt x="39" y="159"/>
                      <a:pt x="45" y="162"/>
                      <a:pt x="45" y="162"/>
                    </a:cubicBezTo>
                    <a:cubicBezTo>
                      <a:pt x="42" y="162"/>
                      <a:pt x="42" y="165"/>
                      <a:pt x="45" y="165"/>
                    </a:cubicBezTo>
                    <a:cubicBezTo>
                      <a:pt x="45" y="171"/>
                      <a:pt x="45" y="171"/>
                      <a:pt x="45" y="171"/>
                    </a:cubicBezTo>
                    <a:cubicBezTo>
                      <a:pt x="48" y="174"/>
                      <a:pt x="51" y="177"/>
                      <a:pt x="51" y="174"/>
                    </a:cubicBezTo>
                    <a:cubicBezTo>
                      <a:pt x="54" y="171"/>
                      <a:pt x="57" y="174"/>
                      <a:pt x="57" y="174"/>
                    </a:cubicBezTo>
                    <a:cubicBezTo>
                      <a:pt x="60" y="177"/>
                      <a:pt x="63" y="174"/>
                      <a:pt x="63" y="171"/>
                    </a:cubicBezTo>
                    <a:cubicBezTo>
                      <a:pt x="63" y="168"/>
                      <a:pt x="69" y="168"/>
                      <a:pt x="69" y="171"/>
                    </a:cubicBezTo>
                    <a:cubicBezTo>
                      <a:pt x="69" y="174"/>
                      <a:pt x="69" y="174"/>
                      <a:pt x="72" y="171"/>
                    </a:cubicBezTo>
                    <a:cubicBezTo>
                      <a:pt x="75" y="171"/>
                      <a:pt x="75" y="171"/>
                      <a:pt x="78" y="171"/>
                    </a:cubicBezTo>
                    <a:cubicBezTo>
                      <a:pt x="78" y="168"/>
                      <a:pt x="78" y="165"/>
                      <a:pt x="81" y="162"/>
                    </a:cubicBezTo>
                    <a:cubicBezTo>
                      <a:pt x="78" y="156"/>
                      <a:pt x="78" y="156"/>
                      <a:pt x="78" y="156"/>
                    </a:cubicBezTo>
                    <a:cubicBezTo>
                      <a:pt x="81" y="156"/>
                      <a:pt x="87" y="156"/>
                      <a:pt x="87" y="153"/>
                    </a:cubicBezTo>
                    <a:cubicBezTo>
                      <a:pt x="90" y="147"/>
                      <a:pt x="93" y="144"/>
                      <a:pt x="93" y="144"/>
                    </a:cubicBezTo>
                    <a:cubicBezTo>
                      <a:pt x="93" y="144"/>
                      <a:pt x="93" y="135"/>
                      <a:pt x="96" y="135"/>
                    </a:cubicBezTo>
                    <a:cubicBezTo>
                      <a:pt x="99" y="138"/>
                      <a:pt x="102" y="141"/>
                      <a:pt x="102" y="138"/>
                    </a:cubicBezTo>
                    <a:cubicBezTo>
                      <a:pt x="102" y="132"/>
                      <a:pt x="105" y="135"/>
                      <a:pt x="108" y="132"/>
                    </a:cubicBezTo>
                    <a:cubicBezTo>
                      <a:pt x="108" y="129"/>
                      <a:pt x="111" y="129"/>
                      <a:pt x="114" y="129"/>
                    </a:cubicBezTo>
                    <a:cubicBezTo>
                      <a:pt x="114" y="129"/>
                      <a:pt x="117" y="129"/>
                      <a:pt x="117" y="126"/>
                    </a:cubicBezTo>
                    <a:cubicBezTo>
                      <a:pt x="117" y="123"/>
                      <a:pt x="123" y="126"/>
                      <a:pt x="126" y="123"/>
                    </a:cubicBezTo>
                    <a:cubicBezTo>
                      <a:pt x="132" y="120"/>
                      <a:pt x="132" y="117"/>
                      <a:pt x="135" y="120"/>
                    </a:cubicBezTo>
                    <a:cubicBezTo>
                      <a:pt x="138" y="120"/>
                      <a:pt x="147" y="120"/>
                      <a:pt x="150" y="120"/>
                    </a:cubicBezTo>
                    <a:cubicBezTo>
                      <a:pt x="150" y="120"/>
                      <a:pt x="153" y="117"/>
                      <a:pt x="159" y="117"/>
                    </a:cubicBezTo>
                    <a:cubicBezTo>
                      <a:pt x="162" y="117"/>
                      <a:pt x="171" y="114"/>
                      <a:pt x="177" y="114"/>
                    </a:cubicBezTo>
                    <a:cubicBezTo>
                      <a:pt x="180" y="114"/>
                      <a:pt x="183" y="111"/>
                      <a:pt x="183" y="111"/>
                    </a:cubicBezTo>
                    <a:cubicBezTo>
                      <a:pt x="183" y="108"/>
                      <a:pt x="186" y="102"/>
                      <a:pt x="186" y="102"/>
                    </a:cubicBezTo>
                    <a:cubicBezTo>
                      <a:pt x="189" y="99"/>
                      <a:pt x="189" y="78"/>
                      <a:pt x="186" y="72"/>
                    </a:cubicBezTo>
                    <a:cubicBezTo>
                      <a:pt x="183" y="72"/>
                      <a:pt x="177" y="72"/>
                      <a:pt x="177" y="7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3" name="Freeform 707"/>
              <p:cNvSpPr>
                <a:spLocks/>
              </p:cNvSpPr>
              <p:nvPr userDrawn="1"/>
            </p:nvSpPr>
            <p:spPr bwMode="auto">
              <a:xfrm>
                <a:off x="3265" y="-1596"/>
                <a:ext cx="294" cy="276"/>
              </a:xfrm>
              <a:custGeom>
                <a:avLst/>
                <a:gdLst>
                  <a:gd name="T0" fmla="*/ 177 w 189"/>
                  <a:gd name="T1" fmla="*/ 72 h 177"/>
                  <a:gd name="T2" fmla="*/ 171 w 189"/>
                  <a:gd name="T3" fmla="*/ 60 h 177"/>
                  <a:gd name="T4" fmla="*/ 159 w 189"/>
                  <a:gd name="T5" fmla="*/ 57 h 177"/>
                  <a:gd name="T6" fmla="*/ 153 w 189"/>
                  <a:gd name="T7" fmla="*/ 48 h 177"/>
                  <a:gd name="T8" fmla="*/ 84 w 189"/>
                  <a:gd name="T9" fmla="*/ 0 h 177"/>
                  <a:gd name="T10" fmla="*/ 63 w 189"/>
                  <a:gd name="T11" fmla="*/ 0 h 177"/>
                  <a:gd name="T12" fmla="*/ 75 w 189"/>
                  <a:gd name="T13" fmla="*/ 99 h 177"/>
                  <a:gd name="T14" fmla="*/ 78 w 189"/>
                  <a:gd name="T15" fmla="*/ 102 h 177"/>
                  <a:gd name="T16" fmla="*/ 78 w 189"/>
                  <a:gd name="T17" fmla="*/ 114 h 177"/>
                  <a:gd name="T18" fmla="*/ 33 w 189"/>
                  <a:gd name="T19" fmla="*/ 114 h 177"/>
                  <a:gd name="T20" fmla="*/ 27 w 189"/>
                  <a:gd name="T21" fmla="*/ 117 h 177"/>
                  <a:gd name="T22" fmla="*/ 18 w 189"/>
                  <a:gd name="T23" fmla="*/ 114 h 177"/>
                  <a:gd name="T24" fmla="*/ 12 w 189"/>
                  <a:gd name="T25" fmla="*/ 117 h 177"/>
                  <a:gd name="T26" fmla="*/ 6 w 189"/>
                  <a:gd name="T27" fmla="*/ 120 h 177"/>
                  <a:gd name="T28" fmla="*/ 0 w 189"/>
                  <a:gd name="T29" fmla="*/ 123 h 177"/>
                  <a:gd name="T30" fmla="*/ 0 w 189"/>
                  <a:gd name="T31" fmla="*/ 126 h 177"/>
                  <a:gd name="T32" fmla="*/ 3 w 189"/>
                  <a:gd name="T33" fmla="*/ 129 h 177"/>
                  <a:gd name="T34" fmla="*/ 3 w 189"/>
                  <a:gd name="T35" fmla="*/ 135 h 177"/>
                  <a:gd name="T36" fmla="*/ 9 w 189"/>
                  <a:gd name="T37" fmla="*/ 141 h 177"/>
                  <a:gd name="T38" fmla="*/ 9 w 189"/>
                  <a:gd name="T39" fmla="*/ 150 h 177"/>
                  <a:gd name="T40" fmla="*/ 12 w 189"/>
                  <a:gd name="T41" fmla="*/ 153 h 177"/>
                  <a:gd name="T42" fmla="*/ 21 w 189"/>
                  <a:gd name="T43" fmla="*/ 153 h 177"/>
                  <a:gd name="T44" fmla="*/ 27 w 189"/>
                  <a:gd name="T45" fmla="*/ 153 h 177"/>
                  <a:gd name="T46" fmla="*/ 36 w 189"/>
                  <a:gd name="T47" fmla="*/ 147 h 177"/>
                  <a:gd name="T48" fmla="*/ 39 w 189"/>
                  <a:gd name="T49" fmla="*/ 156 h 177"/>
                  <a:gd name="T50" fmla="*/ 45 w 189"/>
                  <a:gd name="T51" fmla="*/ 162 h 177"/>
                  <a:gd name="T52" fmla="*/ 45 w 189"/>
                  <a:gd name="T53" fmla="*/ 165 h 177"/>
                  <a:gd name="T54" fmla="*/ 45 w 189"/>
                  <a:gd name="T55" fmla="*/ 171 h 177"/>
                  <a:gd name="T56" fmla="*/ 51 w 189"/>
                  <a:gd name="T57" fmla="*/ 174 h 177"/>
                  <a:gd name="T58" fmla="*/ 57 w 189"/>
                  <a:gd name="T59" fmla="*/ 174 h 177"/>
                  <a:gd name="T60" fmla="*/ 63 w 189"/>
                  <a:gd name="T61" fmla="*/ 171 h 177"/>
                  <a:gd name="T62" fmla="*/ 69 w 189"/>
                  <a:gd name="T63" fmla="*/ 171 h 177"/>
                  <a:gd name="T64" fmla="*/ 72 w 189"/>
                  <a:gd name="T65" fmla="*/ 171 h 177"/>
                  <a:gd name="T66" fmla="*/ 78 w 189"/>
                  <a:gd name="T67" fmla="*/ 171 h 177"/>
                  <a:gd name="T68" fmla="*/ 81 w 189"/>
                  <a:gd name="T69" fmla="*/ 162 h 177"/>
                  <a:gd name="T70" fmla="*/ 78 w 189"/>
                  <a:gd name="T71" fmla="*/ 156 h 177"/>
                  <a:gd name="T72" fmla="*/ 87 w 189"/>
                  <a:gd name="T73" fmla="*/ 153 h 177"/>
                  <a:gd name="T74" fmla="*/ 93 w 189"/>
                  <a:gd name="T75" fmla="*/ 144 h 177"/>
                  <a:gd name="T76" fmla="*/ 96 w 189"/>
                  <a:gd name="T77" fmla="*/ 135 h 177"/>
                  <a:gd name="T78" fmla="*/ 102 w 189"/>
                  <a:gd name="T79" fmla="*/ 138 h 177"/>
                  <a:gd name="T80" fmla="*/ 108 w 189"/>
                  <a:gd name="T81" fmla="*/ 132 h 177"/>
                  <a:gd name="T82" fmla="*/ 114 w 189"/>
                  <a:gd name="T83" fmla="*/ 129 h 177"/>
                  <a:gd name="T84" fmla="*/ 117 w 189"/>
                  <a:gd name="T85" fmla="*/ 126 h 177"/>
                  <a:gd name="T86" fmla="*/ 126 w 189"/>
                  <a:gd name="T87" fmla="*/ 123 h 177"/>
                  <a:gd name="T88" fmla="*/ 135 w 189"/>
                  <a:gd name="T89" fmla="*/ 120 h 177"/>
                  <a:gd name="T90" fmla="*/ 150 w 189"/>
                  <a:gd name="T91" fmla="*/ 120 h 177"/>
                  <a:gd name="T92" fmla="*/ 159 w 189"/>
                  <a:gd name="T93" fmla="*/ 117 h 177"/>
                  <a:gd name="T94" fmla="*/ 177 w 189"/>
                  <a:gd name="T95" fmla="*/ 114 h 177"/>
                  <a:gd name="T96" fmla="*/ 183 w 189"/>
                  <a:gd name="T97" fmla="*/ 111 h 177"/>
                  <a:gd name="T98" fmla="*/ 186 w 189"/>
                  <a:gd name="T99" fmla="*/ 102 h 177"/>
                  <a:gd name="T100" fmla="*/ 186 w 189"/>
                  <a:gd name="T101" fmla="*/ 72 h 177"/>
                  <a:gd name="T102" fmla="*/ 177 w 189"/>
                  <a:gd name="T103"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9" h="177">
                    <a:moveTo>
                      <a:pt x="177" y="72"/>
                    </a:moveTo>
                    <a:cubicBezTo>
                      <a:pt x="177" y="72"/>
                      <a:pt x="177" y="66"/>
                      <a:pt x="171" y="60"/>
                    </a:cubicBezTo>
                    <a:cubicBezTo>
                      <a:pt x="168" y="57"/>
                      <a:pt x="159" y="57"/>
                      <a:pt x="159" y="57"/>
                    </a:cubicBezTo>
                    <a:cubicBezTo>
                      <a:pt x="159" y="57"/>
                      <a:pt x="156" y="51"/>
                      <a:pt x="153" y="48"/>
                    </a:cubicBezTo>
                    <a:cubicBezTo>
                      <a:pt x="150" y="45"/>
                      <a:pt x="114" y="21"/>
                      <a:pt x="84" y="0"/>
                    </a:cubicBezTo>
                    <a:cubicBezTo>
                      <a:pt x="63" y="0"/>
                      <a:pt x="63" y="0"/>
                      <a:pt x="63" y="0"/>
                    </a:cubicBezTo>
                    <a:cubicBezTo>
                      <a:pt x="75" y="99"/>
                      <a:pt x="75" y="99"/>
                      <a:pt x="75" y="99"/>
                    </a:cubicBezTo>
                    <a:cubicBezTo>
                      <a:pt x="78" y="102"/>
                      <a:pt x="78" y="102"/>
                      <a:pt x="78" y="102"/>
                    </a:cubicBezTo>
                    <a:cubicBezTo>
                      <a:pt x="78" y="102"/>
                      <a:pt x="78" y="111"/>
                      <a:pt x="78" y="114"/>
                    </a:cubicBezTo>
                    <a:cubicBezTo>
                      <a:pt x="75" y="114"/>
                      <a:pt x="33" y="114"/>
                      <a:pt x="33" y="114"/>
                    </a:cubicBezTo>
                    <a:cubicBezTo>
                      <a:pt x="33" y="114"/>
                      <a:pt x="30" y="117"/>
                      <a:pt x="27" y="117"/>
                    </a:cubicBezTo>
                    <a:cubicBezTo>
                      <a:pt x="24" y="117"/>
                      <a:pt x="18" y="114"/>
                      <a:pt x="18" y="114"/>
                    </a:cubicBezTo>
                    <a:cubicBezTo>
                      <a:pt x="18" y="117"/>
                      <a:pt x="18" y="120"/>
                      <a:pt x="12" y="117"/>
                    </a:cubicBezTo>
                    <a:cubicBezTo>
                      <a:pt x="6" y="111"/>
                      <a:pt x="6" y="117"/>
                      <a:pt x="6" y="120"/>
                    </a:cubicBezTo>
                    <a:cubicBezTo>
                      <a:pt x="6" y="120"/>
                      <a:pt x="3" y="123"/>
                      <a:pt x="0" y="123"/>
                    </a:cubicBezTo>
                    <a:cubicBezTo>
                      <a:pt x="0" y="126"/>
                      <a:pt x="0" y="126"/>
                      <a:pt x="0" y="126"/>
                    </a:cubicBezTo>
                    <a:cubicBezTo>
                      <a:pt x="3" y="129"/>
                      <a:pt x="3" y="129"/>
                      <a:pt x="3" y="129"/>
                    </a:cubicBezTo>
                    <a:cubicBezTo>
                      <a:pt x="3" y="129"/>
                      <a:pt x="3" y="132"/>
                      <a:pt x="3" y="135"/>
                    </a:cubicBezTo>
                    <a:cubicBezTo>
                      <a:pt x="6" y="138"/>
                      <a:pt x="9" y="141"/>
                      <a:pt x="9" y="141"/>
                    </a:cubicBezTo>
                    <a:cubicBezTo>
                      <a:pt x="9" y="144"/>
                      <a:pt x="9" y="150"/>
                      <a:pt x="9" y="150"/>
                    </a:cubicBezTo>
                    <a:cubicBezTo>
                      <a:pt x="9" y="150"/>
                      <a:pt x="12" y="156"/>
                      <a:pt x="12" y="153"/>
                    </a:cubicBezTo>
                    <a:cubicBezTo>
                      <a:pt x="15" y="153"/>
                      <a:pt x="18" y="156"/>
                      <a:pt x="21" y="153"/>
                    </a:cubicBezTo>
                    <a:cubicBezTo>
                      <a:pt x="21" y="150"/>
                      <a:pt x="24" y="153"/>
                      <a:pt x="27" y="153"/>
                    </a:cubicBezTo>
                    <a:cubicBezTo>
                      <a:pt x="30" y="153"/>
                      <a:pt x="33" y="147"/>
                      <a:pt x="36" y="147"/>
                    </a:cubicBezTo>
                    <a:cubicBezTo>
                      <a:pt x="36" y="150"/>
                      <a:pt x="39" y="153"/>
                      <a:pt x="39" y="156"/>
                    </a:cubicBezTo>
                    <a:cubicBezTo>
                      <a:pt x="39" y="159"/>
                      <a:pt x="45" y="162"/>
                      <a:pt x="45" y="162"/>
                    </a:cubicBezTo>
                    <a:cubicBezTo>
                      <a:pt x="42" y="162"/>
                      <a:pt x="42" y="165"/>
                      <a:pt x="45" y="165"/>
                    </a:cubicBezTo>
                    <a:cubicBezTo>
                      <a:pt x="45" y="171"/>
                      <a:pt x="45" y="171"/>
                      <a:pt x="45" y="171"/>
                    </a:cubicBezTo>
                    <a:cubicBezTo>
                      <a:pt x="48" y="174"/>
                      <a:pt x="51" y="177"/>
                      <a:pt x="51" y="174"/>
                    </a:cubicBezTo>
                    <a:cubicBezTo>
                      <a:pt x="54" y="171"/>
                      <a:pt x="57" y="174"/>
                      <a:pt x="57" y="174"/>
                    </a:cubicBezTo>
                    <a:cubicBezTo>
                      <a:pt x="60" y="177"/>
                      <a:pt x="63" y="174"/>
                      <a:pt x="63" y="171"/>
                    </a:cubicBezTo>
                    <a:cubicBezTo>
                      <a:pt x="63" y="168"/>
                      <a:pt x="69" y="168"/>
                      <a:pt x="69" y="171"/>
                    </a:cubicBezTo>
                    <a:cubicBezTo>
                      <a:pt x="69" y="174"/>
                      <a:pt x="69" y="174"/>
                      <a:pt x="72" y="171"/>
                    </a:cubicBezTo>
                    <a:cubicBezTo>
                      <a:pt x="75" y="171"/>
                      <a:pt x="75" y="171"/>
                      <a:pt x="78" y="171"/>
                    </a:cubicBezTo>
                    <a:cubicBezTo>
                      <a:pt x="78" y="168"/>
                      <a:pt x="78" y="165"/>
                      <a:pt x="81" y="162"/>
                    </a:cubicBezTo>
                    <a:cubicBezTo>
                      <a:pt x="78" y="156"/>
                      <a:pt x="78" y="156"/>
                      <a:pt x="78" y="156"/>
                    </a:cubicBezTo>
                    <a:cubicBezTo>
                      <a:pt x="81" y="156"/>
                      <a:pt x="87" y="156"/>
                      <a:pt x="87" y="153"/>
                    </a:cubicBezTo>
                    <a:cubicBezTo>
                      <a:pt x="90" y="147"/>
                      <a:pt x="93" y="144"/>
                      <a:pt x="93" y="144"/>
                    </a:cubicBezTo>
                    <a:cubicBezTo>
                      <a:pt x="93" y="144"/>
                      <a:pt x="93" y="135"/>
                      <a:pt x="96" y="135"/>
                    </a:cubicBezTo>
                    <a:cubicBezTo>
                      <a:pt x="99" y="138"/>
                      <a:pt x="102" y="141"/>
                      <a:pt x="102" y="138"/>
                    </a:cubicBezTo>
                    <a:cubicBezTo>
                      <a:pt x="102" y="132"/>
                      <a:pt x="105" y="135"/>
                      <a:pt x="108" y="132"/>
                    </a:cubicBezTo>
                    <a:cubicBezTo>
                      <a:pt x="108" y="129"/>
                      <a:pt x="111" y="129"/>
                      <a:pt x="114" y="129"/>
                    </a:cubicBezTo>
                    <a:cubicBezTo>
                      <a:pt x="114" y="129"/>
                      <a:pt x="117" y="129"/>
                      <a:pt x="117" y="126"/>
                    </a:cubicBezTo>
                    <a:cubicBezTo>
                      <a:pt x="117" y="123"/>
                      <a:pt x="123" y="126"/>
                      <a:pt x="126" y="123"/>
                    </a:cubicBezTo>
                    <a:cubicBezTo>
                      <a:pt x="132" y="120"/>
                      <a:pt x="132" y="117"/>
                      <a:pt x="135" y="120"/>
                    </a:cubicBezTo>
                    <a:cubicBezTo>
                      <a:pt x="138" y="120"/>
                      <a:pt x="147" y="120"/>
                      <a:pt x="150" y="120"/>
                    </a:cubicBezTo>
                    <a:cubicBezTo>
                      <a:pt x="150" y="120"/>
                      <a:pt x="153" y="117"/>
                      <a:pt x="159" y="117"/>
                    </a:cubicBezTo>
                    <a:cubicBezTo>
                      <a:pt x="162" y="117"/>
                      <a:pt x="171" y="114"/>
                      <a:pt x="177" y="114"/>
                    </a:cubicBezTo>
                    <a:cubicBezTo>
                      <a:pt x="180" y="114"/>
                      <a:pt x="183" y="111"/>
                      <a:pt x="183" y="111"/>
                    </a:cubicBezTo>
                    <a:cubicBezTo>
                      <a:pt x="183" y="108"/>
                      <a:pt x="186" y="102"/>
                      <a:pt x="186" y="102"/>
                    </a:cubicBezTo>
                    <a:cubicBezTo>
                      <a:pt x="189" y="99"/>
                      <a:pt x="189" y="78"/>
                      <a:pt x="186" y="72"/>
                    </a:cubicBezTo>
                    <a:cubicBezTo>
                      <a:pt x="183" y="72"/>
                      <a:pt x="177" y="72"/>
                      <a:pt x="177" y="7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4" name="Freeform 708"/>
              <p:cNvSpPr>
                <a:spLocks/>
              </p:cNvSpPr>
              <p:nvPr userDrawn="1"/>
            </p:nvSpPr>
            <p:spPr bwMode="auto">
              <a:xfrm>
                <a:off x="3386" y="-1413"/>
                <a:ext cx="141" cy="103"/>
              </a:xfrm>
              <a:custGeom>
                <a:avLst/>
                <a:gdLst>
                  <a:gd name="T0" fmla="*/ 90 w 90"/>
                  <a:gd name="T1" fmla="*/ 36 h 66"/>
                  <a:gd name="T2" fmla="*/ 87 w 90"/>
                  <a:gd name="T3" fmla="*/ 36 h 66"/>
                  <a:gd name="T4" fmla="*/ 84 w 90"/>
                  <a:gd name="T5" fmla="*/ 30 h 66"/>
                  <a:gd name="T6" fmla="*/ 81 w 90"/>
                  <a:gd name="T7" fmla="*/ 30 h 66"/>
                  <a:gd name="T8" fmla="*/ 75 w 90"/>
                  <a:gd name="T9" fmla="*/ 27 h 66"/>
                  <a:gd name="T10" fmla="*/ 72 w 90"/>
                  <a:gd name="T11" fmla="*/ 21 h 66"/>
                  <a:gd name="T12" fmla="*/ 69 w 90"/>
                  <a:gd name="T13" fmla="*/ 15 h 66"/>
                  <a:gd name="T14" fmla="*/ 63 w 90"/>
                  <a:gd name="T15" fmla="*/ 9 h 66"/>
                  <a:gd name="T16" fmla="*/ 63 w 90"/>
                  <a:gd name="T17" fmla="*/ 3 h 66"/>
                  <a:gd name="T18" fmla="*/ 57 w 90"/>
                  <a:gd name="T19" fmla="*/ 3 h 66"/>
                  <a:gd name="T20" fmla="*/ 48 w 90"/>
                  <a:gd name="T21" fmla="*/ 6 h 66"/>
                  <a:gd name="T22" fmla="*/ 39 w 90"/>
                  <a:gd name="T23" fmla="*/ 9 h 66"/>
                  <a:gd name="T24" fmla="*/ 36 w 90"/>
                  <a:gd name="T25" fmla="*/ 12 h 66"/>
                  <a:gd name="T26" fmla="*/ 30 w 90"/>
                  <a:gd name="T27" fmla="*/ 15 h 66"/>
                  <a:gd name="T28" fmla="*/ 24 w 90"/>
                  <a:gd name="T29" fmla="*/ 21 h 66"/>
                  <a:gd name="T30" fmla="*/ 18 w 90"/>
                  <a:gd name="T31" fmla="*/ 18 h 66"/>
                  <a:gd name="T32" fmla="*/ 15 w 90"/>
                  <a:gd name="T33" fmla="*/ 27 h 66"/>
                  <a:gd name="T34" fmla="*/ 9 w 90"/>
                  <a:gd name="T35" fmla="*/ 36 h 66"/>
                  <a:gd name="T36" fmla="*/ 0 w 90"/>
                  <a:gd name="T37" fmla="*/ 39 h 66"/>
                  <a:gd name="T38" fmla="*/ 3 w 90"/>
                  <a:gd name="T39" fmla="*/ 45 h 66"/>
                  <a:gd name="T40" fmla="*/ 0 w 90"/>
                  <a:gd name="T41" fmla="*/ 54 h 66"/>
                  <a:gd name="T42" fmla="*/ 3 w 90"/>
                  <a:gd name="T43" fmla="*/ 57 h 66"/>
                  <a:gd name="T44" fmla="*/ 15 w 90"/>
                  <a:gd name="T45" fmla="*/ 63 h 66"/>
                  <a:gd name="T46" fmla="*/ 27 w 90"/>
                  <a:gd name="T47" fmla="*/ 60 h 66"/>
                  <a:gd name="T48" fmla="*/ 30 w 90"/>
                  <a:gd name="T49" fmla="*/ 60 h 66"/>
                  <a:gd name="T50" fmla="*/ 30 w 90"/>
                  <a:gd name="T51" fmla="*/ 48 h 66"/>
                  <a:gd name="T52" fmla="*/ 57 w 90"/>
                  <a:gd name="T53" fmla="*/ 51 h 66"/>
                  <a:gd name="T54" fmla="*/ 63 w 90"/>
                  <a:gd name="T55" fmla="*/ 48 h 66"/>
                  <a:gd name="T56" fmla="*/ 72 w 90"/>
                  <a:gd name="T57" fmla="*/ 48 h 66"/>
                  <a:gd name="T58" fmla="*/ 78 w 90"/>
                  <a:gd name="T59" fmla="*/ 45 h 66"/>
                  <a:gd name="T60" fmla="*/ 87 w 90"/>
                  <a:gd name="T61" fmla="*/ 42 h 66"/>
                  <a:gd name="T62" fmla="*/ 90 w 90"/>
                  <a:gd name="T63" fmla="*/ 36 h 66"/>
                  <a:gd name="T64" fmla="*/ 90 w 90"/>
                  <a:gd name="T6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66">
                    <a:moveTo>
                      <a:pt x="90" y="36"/>
                    </a:moveTo>
                    <a:cubicBezTo>
                      <a:pt x="87" y="36"/>
                      <a:pt x="87" y="36"/>
                      <a:pt x="87" y="36"/>
                    </a:cubicBezTo>
                    <a:cubicBezTo>
                      <a:pt x="84" y="36"/>
                      <a:pt x="87" y="30"/>
                      <a:pt x="84" y="30"/>
                    </a:cubicBezTo>
                    <a:cubicBezTo>
                      <a:pt x="84" y="27"/>
                      <a:pt x="81" y="30"/>
                      <a:pt x="81" y="30"/>
                    </a:cubicBezTo>
                    <a:cubicBezTo>
                      <a:pt x="78" y="30"/>
                      <a:pt x="78" y="27"/>
                      <a:pt x="75" y="27"/>
                    </a:cubicBezTo>
                    <a:cubicBezTo>
                      <a:pt x="72" y="27"/>
                      <a:pt x="72" y="24"/>
                      <a:pt x="72" y="21"/>
                    </a:cubicBezTo>
                    <a:cubicBezTo>
                      <a:pt x="72" y="18"/>
                      <a:pt x="69" y="18"/>
                      <a:pt x="69" y="15"/>
                    </a:cubicBezTo>
                    <a:cubicBezTo>
                      <a:pt x="66" y="15"/>
                      <a:pt x="66" y="9"/>
                      <a:pt x="63" y="9"/>
                    </a:cubicBezTo>
                    <a:cubicBezTo>
                      <a:pt x="63" y="9"/>
                      <a:pt x="63" y="6"/>
                      <a:pt x="63" y="3"/>
                    </a:cubicBezTo>
                    <a:cubicBezTo>
                      <a:pt x="60" y="3"/>
                      <a:pt x="57" y="3"/>
                      <a:pt x="57" y="3"/>
                    </a:cubicBezTo>
                    <a:cubicBezTo>
                      <a:pt x="54" y="0"/>
                      <a:pt x="54" y="3"/>
                      <a:pt x="48" y="6"/>
                    </a:cubicBezTo>
                    <a:cubicBezTo>
                      <a:pt x="45" y="9"/>
                      <a:pt x="39" y="6"/>
                      <a:pt x="39" y="9"/>
                    </a:cubicBezTo>
                    <a:cubicBezTo>
                      <a:pt x="39" y="12"/>
                      <a:pt x="36" y="12"/>
                      <a:pt x="36" y="12"/>
                    </a:cubicBezTo>
                    <a:cubicBezTo>
                      <a:pt x="33" y="12"/>
                      <a:pt x="30" y="12"/>
                      <a:pt x="30" y="15"/>
                    </a:cubicBezTo>
                    <a:cubicBezTo>
                      <a:pt x="27" y="18"/>
                      <a:pt x="24" y="15"/>
                      <a:pt x="24" y="21"/>
                    </a:cubicBezTo>
                    <a:cubicBezTo>
                      <a:pt x="24" y="24"/>
                      <a:pt x="21" y="21"/>
                      <a:pt x="18" y="18"/>
                    </a:cubicBezTo>
                    <a:cubicBezTo>
                      <a:pt x="15" y="18"/>
                      <a:pt x="15" y="27"/>
                      <a:pt x="15" y="27"/>
                    </a:cubicBezTo>
                    <a:cubicBezTo>
                      <a:pt x="15" y="27"/>
                      <a:pt x="12" y="30"/>
                      <a:pt x="9" y="36"/>
                    </a:cubicBezTo>
                    <a:cubicBezTo>
                      <a:pt x="9" y="39"/>
                      <a:pt x="3" y="39"/>
                      <a:pt x="0" y="39"/>
                    </a:cubicBezTo>
                    <a:cubicBezTo>
                      <a:pt x="3" y="45"/>
                      <a:pt x="3" y="45"/>
                      <a:pt x="3" y="45"/>
                    </a:cubicBezTo>
                    <a:cubicBezTo>
                      <a:pt x="0" y="48"/>
                      <a:pt x="0" y="51"/>
                      <a:pt x="0" y="54"/>
                    </a:cubicBezTo>
                    <a:cubicBezTo>
                      <a:pt x="3" y="57"/>
                      <a:pt x="3" y="57"/>
                      <a:pt x="3" y="57"/>
                    </a:cubicBezTo>
                    <a:cubicBezTo>
                      <a:pt x="6" y="60"/>
                      <a:pt x="12" y="66"/>
                      <a:pt x="15" y="63"/>
                    </a:cubicBezTo>
                    <a:cubicBezTo>
                      <a:pt x="18" y="60"/>
                      <a:pt x="24" y="60"/>
                      <a:pt x="27" y="60"/>
                    </a:cubicBezTo>
                    <a:cubicBezTo>
                      <a:pt x="30" y="63"/>
                      <a:pt x="30" y="63"/>
                      <a:pt x="30" y="60"/>
                    </a:cubicBezTo>
                    <a:cubicBezTo>
                      <a:pt x="30" y="57"/>
                      <a:pt x="27" y="51"/>
                      <a:pt x="30" y="48"/>
                    </a:cubicBezTo>
                    <a:cubicBezTo>
                      <a:pt x="30" y="48"/>
                      <a:pt x="57" y="48"/>
                      <a:pt x="57" y="51"/>
                    </a:cubicBezTo>
                    <a:cubicBezTo>
                      <a:pt x="57" y="51"/>
                      <a:pt x="57" y="45"/>
                      <a:pt x="63" y="48"/>
                    </a:cubicBezTo>
                    <a:cubicBezTo>
                      <a:pt x="66" y="48"/>
                      <a:pt x="69" y="48"/>
                      <a:pt x="72" y="48"/>
                    </a:cubicBezTo>
                    <a:cubicBezTo>
                      <a:pt x="75" y="48"/>
                      <a:pt x="75" y="45"/>
                      <a:pt x="78" y="45"/>
                    </a:cubicBezTo>
                    <a:cubicBezTo>
                      <a:pt x="81" y="45"/>
                      <a:pt x="87" y="42"/>
                      <a:pt x="87" y="42"/>
                    </a:cubicBezTo>
                    <a:cubicBezTo>
                      <a:pt x="90" y="39"/>
                      <a:pt x="90" y="39"/>
                      <a:pt x="90" y="36"/>
                    </a:cubicBezTo>
                    <a:cubicBezTo>
                      <a:pt x="90" y="36"/>
                      <a:pt x="90" y="36"/>
                      <a:pt x="90"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5" name="Freeform 709"/>
              <p:cNvSpPr>
                <a:spLocks/>
              </p:cNvSpPr>
              <p:nvPr userDrawn="1"/>
            </p:nvSpPr>
            <p:spPr bwMode="auto">
              <a:xfrm>
                <a:off x="3386" y="-1413"/>
                <a:ext cx="141" cy="103"/>
              </a:xfrm>
              <a:custGeom>
                <a:avLst/>
                <a:gdLst>
                  <a:gd name="T0" fmla="*/ 90 w 90"/>
                  <a:gd name="T1" fmla="*/ 36 h 66"/>
                  <a:gd name="T2" fmla="*/ 87 w 90"/>
                  <a:gd name="T3" fmla="*/ 36 h 66"/>
                  <a:gd name="T4" fmla="*/ 84 w 90"/>
                  <a:gd name="T5" fmla="*/ 30 h 66"/>
                  <a:gd name="T6" fmla="*/ 81 w 90"/>
                  <a:gd name="T7" fmla="*/ 30 h 66"/>
                  <a:gd name="T8" fmla="*/ 75 w 90"/>
                  <a:gd name="T9" fmla="*/ 27 h 66"/>
                  <a:gd name="T10" fmla="*/ 72 w 90"/>
                  <a:gd name="T11" fmla="*/ 21 h 66"/>
                  <a:gd name="T12" fmla="*/ 69 w 90"/>
                  <a:gd name="T13" fmla="*/ 15 h 66"/>
                  <a:gd name="T14" fmla="*/ 63 w 90"/>
                  <a:gd name="T15" fmla="*/ 9 h 66"/>
                  <a:gd name="T16" fmla="*/ 63 w 90"/>
                  <a:gd name="T17" fmla="*/ 3 h 66"/>
                  <a:gd name="T18" fmla="*/ 57 w 90"/>
                  <a:gd name="T19" fmla="*/ 3 h 66"/>
                  <a:gd name="T20" fmla="*/ 48 w 90"/>
                  <a:gd name="T21" fmla="*/ 6 h 66"/>
                  <a:gd name="T22" fmla="*/ 39 w 90"/>
                  <a:gd name="T23" fmla="*/ 9 h 66"/>
                  <a:gd name="T24" fmla="*/ 36 w 90"/>
                  <a:gd name="T25" fmla="*/ 12 h 66"/>
                  <a:gd name="T26" fmla="*/ 30 w 90"/>
                  <a:gd name="T27" fmla="*/ 15 h 66"/>
                  <a:gd name="T28" fmla="*/ 24 w 90"/>
                  <a:gd name="T29" fmla="*/ 21 h 66"/>
                  <a:gd name="T30" fmla="*/ 18 w 90"/>
                  <a:gd name="T31" fmla="*/ 18 h 66"/>
                  <a:gd name="T32" fmla="*/ 15 w 90"/>
                  <a:gd name="T33" fmla="*/ 27 h 66"/>
                  <a:gd name="T34" fmla="*/ 9 w 90"/>
                  <a:gd name="T35" fmla="*/ 36 h 66"/>
                  <a:gd name="T36" fmla="*/ 0 w 90"/>
                  <a:gd name="T37" fmla="*/ 39 h 66"/>
                  <a:gd name="T38" fmla="*/ 3 w 90"/>
                  <a:gd name="T39" fmla="*/ 45 h 66"/>
                  <a:gd name="T40" fmla="*/ 0 w 90"/>
                  <a:gd name="T41" fmla="*/ 54 h 66"/>
                  <a:gd name="T42" fmla="*/ 3 w 90"/>
                  <a:gd name="T43" fmla="*/ 57 h 66"/>
                  <a:gd name="T44" fmla="*/ 15 w 90"/>
                  <a:gd name="T45" fmla="*/ 63 h 66"/>
                  <a:gd name="T46" fmla="*/ 27 w 90"/>
                  <a:gd name="T47" fmla="*/ 60 h 66"/>
                  <a:gd name="T48" fmla="*/ 30 w 90"/>
                  <a:gd name="T49" fmla="*/ 60 h 66"/>
                  <a:gd name="T50" fmla="*/ 30 w 90"/>
                  <a:gd name="T51" fmla="*/ 48 h 66"/>
                  <a:gd name="T52" fmla="*/ 57 w 90"/>
                  <a:gd name="T53" fmla="*/ 51 h 66"/>
                  <a:gd name="T54" fmla="*/ 63 w 90"/>
                  <a:gd name="T55" fmla="*/ 48 h 66"/>
                  <a:gd name="T56" fmla="*/ 72 w 90"/>
                  <a:gd name="T57" fmla="*/ 48 h 66"/>
                  <a:gd name="T58" fmla="*/ 78 w 90"/>
                  <a:gd name="T59" fmla="*/ 45 h 66"/>
                  <a:gd name="T60" fmla="*/ 87 w 90"/>
                  <a:gd name="T61" fmla="*/ 42 h 66"/>
                  <a:gd name="T62" fmla="*/ 90 w 90"/>
                  <a:gd name="T63" fmla="*/ 36 h 66"/>
                  <a:gd name="T64" fmla="*/ 90 w 90"/>
                  <a:gd name="T6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66">
                    <a:moveTo>
                      <a:pt x="90" y="36"/>
                    </a:moveTo>
                    <a:cubicBezTo>
                      <a:pt x="87" y="36"/>
                      <a:pt x="87" y="36"/>
                      <a:pt x="87" y="36"/>
                    </a:cubicBezTo>
                    <a:cubicBezTo>
                      <a:pt x="84" y="36"/>
                      <a:pt x="87" y="30"/>
                      <a:pt x="84" y="30"/>
                    </a:cubicBezTo>
                    <a:cubicBezTo>
                      <a:pt x="84" y="27"/>
                      <a:pt x="81" y="30"/>
                      <a:pt x="81" y="30"/>
                    </a:cubicBezTo>
                    <a:cubicBezTo>
                      <a:pt x="78" y="30"/>
                      <a:pt x="78" y="27"/>
                      <a:pt x="75" y="27"/>
                    </a:cubicBezTo>
                    <a:cubicBezTo>
                      <a:pt x="72" y="27"/>
                      <a:pt x="72" y="24"/>
                      <a:pt x="72" y="21"/>
                    </a:cubicBezTo>
                    <a:cubicBezTo>
                      <a:pt x="72" y="18"/>
                      <a:pt x="69" y="18"/>
                      <a:pt x="69" y="15"/>
                    </a:cubicBezTo>
                    <a:cubicBezTo>
                      <a:pt x="66" y="15"/>
                      <a:pt x="66" y="9"/>
                      <a:pt x="63" y="9"/>
                    </a:cubicBezTo>
                    <a:cubicBezTo>
                      <a:pt x="63" y="9"/>
                      <a:pt x="63" y="6"/>
                      <a:pt x="63" y="3"/>
                    </a:cubicBezTo>
                    <a:cubicBezTo>
                      <a:pt x="60" y="3"/>
                      <a:pt x="57" y="3"/>
                      <a:pt x="57" y="3"/>
                    </a:cubicBezTo>
                    <a:cubicBezTo>
                      <a:pt x="54" y="0"/>
                      <a:pt x="54" y="3"/>
                      <a:pt x="48" y="6"/>
                    </a:cubicBezTo>
                    <a:cubicBezTo>
                      <a:pt x="45" y="9"/>
                      <a:pt x="39" y="6"/>
                      <a:pt x="39" y="9"/>
                    </a:cubicBezTo>
                    <a:cubicBezTo>
                      <a:pt x="39" y="12"/>
                      <a:pt x="36" y="12"/>
                      <a:pt x="36" y="12"/>
                    </a:cubicBezTo>
                    <a:cubicBezTo>
                      <a:pt x="33" y="12"/>
                      <a:pt x="30" y="12"/>
                      <a:pt x="30" y="15"/>
                    </a:cubicBezTo>
                    <a:cubicBezTo>
                      <a:pt x="27" y="18"/>
                      <a:pt x="24" y="15"/>
                      <a:pt x="24" y="21"/>
                    </a:cubicBezTo>
                    <a:cubicBezTo>
                      <a:pt x="24" y="24"/>
                      <a:pt x="21" y="21"/>
                      <a:pt x="18" y="18"/>
                    </a:cubicBezTo>
                    <a:cubicBezTo>
                      <a:pt x="15" y="18"/>
                      <a:pt x="15" y="27"/>
                      <a:pt x="15" y="27"/>
                    </a:cubicBezTo>
                    <a:cubicBezTo>
                      <a:pt x="15" y="27"/>
                      <a:pt x="12" y="30"/>
                      <a:pt x="9" y="36"/>
                    </a:cubicBezTo>
                    <a:cubicBezTo>
                      <a:pt x="9" y="39"/>
                      <a:pt x="3" y="39"/>
                      <a:pt x="0" y="39"/>
                    </a:cubicBezTo>
                    <a:cubicBezTo>
                      <a:pt x="3" y="45"/>
                      <a:pt x="3" y="45"/>
                      <a:pt x="3" y="45"/>
                    </a:cubicBezTo>
                    <a:cubicBezTo>
                      <a:pt x="0" y="48"/>
                      <a:pt x="0" y="51"/>
                      <a:pt x="0" y="54"/>
                    </a:cubicBezTo>
                    <a:cubicBezTo>
                      <a:pt x="3" y="57"/>
                      <a:pt x="3" y="57"/>
                      <a:pt x="3" y="57"/>
                    </a:cubicBezTo>
                    <a:cubicBezTo>
                      <a:pt x="6" y="60"/>
                      <a:pt x="12" y="66"/>
                      <a:pt x="15" y="63"/>
                    </a:cubicBezTo>
                    <a:cubicBezTo>
                      <a:pt x="18" y="60"/>
                      <a:pt x="24" y="60"/>
                      <a:pt x="27" y="60"/>
                    </a:cubicBezTo>
                    <a:cubicBezTo>
                      <a:pt x="30" y="63"/>
                      <a:pt x="30" y="63"/>
                      <a:pt x="30" y="60"/>
                    </a:cubicBezTo>
                    <a:cubicBezTo>
                      <a:pt x="30" y="57"/>
                      <a:pt x="27" y="51"/>
                      <a:pt x="30" y="48"/>
                    </a:cubicBezTo>
                    <a:cubicBezTo>
                      <a:pt x="30" y="48"/>
                      <a:pt x="57" y="48"/>
                      <a:pt x="57" y="51"/>
                    </a:cubicBezTo>
                    <a:cubicBezTo>
                      <a:pt x="57" y="51"/>
                      <a:pt x="57" y="45"/>
                      <a:pt x="63" y="48"/>
                    </a:cubicBezTo>
                    <a:cubicBezTo>
                      <a:pt x="66" y="48"/>
                      <a:pt x="69" y="48"/>
                      <a:pt x="72" y="48"/>
                    </a:cubicBezTo>
                    <a:cubicBezTo>
                      <a:pt x="75" y="48"/>
                      <a:pt x="75" y="45"/>
                      <a:pt x="78" y="45"/>
                    </a:cubicBezTo>
                    <a:cubicBezTo>
                      <a:pt x="81" y="45"/>
                      <a:pt x="87" y="42"/>
                      <a:pt x="87" y="42"/>
                    </a:cubicBezTo>
                    <a:cubicBezTo>
                      <a:pt x="90" y="39"/>
                      <a:pt x="90" y="39"/>
                      <a:pt x="90" y="36"/>
                    </a:cubicBezTo>
                    <a:cubicBezTo>
                      <a:pt x="90" y="36"/>
                      <a:pt x="90" y="36"/>
                      <a:pt x="90"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6" name="Freeform 710"/>
              <p:cNvSpPr>
                <a:spLocks/>
              </p:cNvSpPr>
              <p:nvPr userDrawn="1"/>
            </p:nvSpPr>
            <p:spPr bwMode="auto">
              <a:xfrm>
                <a:off x="3485" y="-1566"/>
                <a:ext cx="275" cy="214"/>
              </a:xfrm>
              <a:custGeom>
                <a:avLst/>
                <a:gdLst>
                  <a:gd name="T0" fmla="*/ 168 w 177"/>
                  <a:gd name="T1" fmla="*/ 21 h 137"/>
                  <a:gd name="T2" fmla="*/ 168 w 177"/>
                  <a:gd name="T3" fmla="*/ 6 h 137"/>
                  <a:gd name="T4" fmla="*/ 159 w 177"/>
                  <a:gd name="T5" fmla="*/ 12 h 137"/>
                  <a:gd name="T6" fmla="*/ 150 w 177"/>
                  <a:gd name="T7" fmla="*/ 3 h 137"/>
                  <a:gd name="T8" fmla="*/ 135 w 177"/>
                  <a:gd name="T9" fmla="*/ 0 h 137"/>
                  <a:gd name="T10" fmla="*/ 87 w 177"/>
                  <a:gd name="T11" fmla="*/ 30 h 137"/>
                  <a:gd name="T12" fmla="*/ 66 w 177"/>
                  <a:gd name="T13" fmla="*/ 47 h 137"/>
                  <a:gd name="T14" fmla="*/ 48 w 177"/>
                  <a:gd name="T15" fmla="*/ 53 h 137"/>
                  <a:gd name="T16" fmla="*/ 45 w 177"/>
                  <a:gd name="T17" fmla="*/ 53 h 137"/>
                  <a:gd name="T18" fmla="*/ 45 w 177"/>
                  <a:gd name="T19" fmla="*/ 83 h 137"/>
                  <a:gd name="T20" fmla="*/ 42 w 177"/>
                  <a:gd name="T21" fmla="*/ 92 h 137"/>
                  <a:gd name="T22" fmla="*/ 36 w 177"/>
                  <a:gd name="T23" fmla="*/ 95 h 137"/>
                  <a:gd name="T24" fmla="*/ 18 w 177"/>
                  <a:gd name="T25" fmla="*/ 98 h 137"/>
                  <a:gd name="T26" fmla="*/ 9 w 177"/>
                  <a:gd name="T27" fmla="*/ 101 h 137"/>
                  <a:gd name="T28" fmla="*/ 0 w 177"/>
                  <a:gd name="T29" fmla="*/ 101 h 137"/>
                  <a:gd name="T30" fmla="*/ 0 w 177"/>
                  <a:gd name="T31" fmla="*/ 107 h 137"/>
                  <a:gd name="T32" fmla="*/ 6 w 177"/>
                  <a:gd name="T33" fmla="*/ 113 h 137"/>
                  <a:gd name="T34" fmla="*/ 9 w 177"/>
                  <a:gd name="T35" fmla="*/ 119 h 137"/>
                  <a:gd name="T36" fmla="*/ 12 w 177"/>
                  <a:gd name="T37" fmla="*/ 125 h 137"/>
                  <a:gd name="T38" fmla="*/ 18 w 177"/>
                  <a:gd name="T39" fmla="*/ 128 h 137"/>
                  <a:gd name="T40" fmla="*/ 21 w 177"/>
                  <a:gd name="T41" fmla="*/ 128 h 137"/>
                  <a:gd name="T42" fmla="*/ 24 w 177"/>
                  <a:gd name="T43" fmla="*/ 134 h 137"/>
                  <a:gd name="T44" fmla="*/ 27 w 177"/>
                  <a:gd name="T45" fmla="*/ 134 h 137"/>
                  <a:gd name="T46" fmla="*/ 33 w 177"/>
                  <a:gd name="T47" fmla="*/ 131 h 137"/>
                  <a:gd name="T48" fmla="*/ 36 w 177"/>
                  <a:gd name="T49" fmla="*/ 134 h 137"/>
                  <a:gd name="T50" fmla="*/ 39 w 177"/>
                  <a:gd name="T51" fmla="*/ 134 h 137"/>
                  <a:gd name="T52" fmla="*/ 45 w 177"/>
                  <a:gd name="T53" fmla="*/ 125 h 137"/>
                  <a:gd name="T54" fmla="*/ 48 w 177"/>
                  <a:gd name="T55" fmla="*/ 116 h 137"/>
                  <a:gd name="T56" fmla="*/ 57 w 177"/>
                  <a:gd name="T57" fmla="*/ 116 h 137"/>
                  <a:gd name="T58" fmla="*/ 66 w 177"/>
                  <a:gd name="T59" fmla="*/ 113 h 137"/>
                  <a:gd name="T60" fmla="*/ 75 w 177"/>
                  <a:gd name="T61" fmla="*/ 116 h 137"/>
                  <a:gd name="T62" fmla="*/ 81 w 177"/>
                  <a:gd name="T63" fmla="*/ 122 h 137"/>
                  <a:gd name="T64" fmla="*/ 90 w 177"/>
                  <a:gd name="T65" fmla="*/ 119 h 137"/>
                  <a:gd name="T66" fmla="*/ 99 w 177"/>
                  <a:gd name="T67" fmla="*/ 125 h 137"/>
                  <a:gd name="T68" fmla="*/ 108 w 177"/>
                  <a:gd name="T69" fmla="*/ 125 h 137"/>
                  <a:gd name="T70" fmla="*/ 117 w 177"/>
                  <a:gd name="T71" fmla="*/ 119 h 137"/>
                  <a:gd name="T72" fmla="*/ 132 w 177"/>
                  <a:gd name="T73" fmla="*/ 119 h 137"/>
                  <a:gd name="T74" fmla="*/ 141 w 177"/>
                  <a:gd name="T75" fmla="*/ 122 h 137"/>
                  <a:gd name="T76" fmla="*/ 150 w 177"/>
                  <a:gd name="T77" fmla="*/ 116 h 137"/>
                  <a:gd name="T78" fmla="*/ 150 w 177"/>
                  <a:gd name="T79" fmla="*/ 113 h 137"/>
                  <a:gd name="T80" fmla="*/ 150 w 177"/>
                  <a:gd name="T81" fmla="*/ 110 h 137"/>
                  <a:gd name="T82" fmla="*/ 153 w 177"/>
                  <a:gd name="T83" fmla="*/ 101 h 137"/>
                  <a:gd name="T84" fmla="*/ 171 w 177"/>
                  <a:gd name="T85" fmla="*/ 80 h 137"/>
                  <a:gd name="T86" fmla="*/ 171 w 177"/>
                  <a:gd name="T87" fmla="*/ 50 h 137"/>
                  <a:gd name="T88" fmla="*/ 174 w 177"/>
                  <a:gd name="T89" fmla="*/ 39 h 137"/>
                  <a:gd name="T90" fmla="*/ 171 w 177"/>
                  <a:gd name="T91" fmla="*/ 30 h 137"/>
                  <a:gd name="T92" fmla="*/ 168 w 177"/>
                  <a:gd name="T93" fmla="*/ 2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137">
                    <a:moveTo>
                      <a:pt x="168" y="21"/>
                    </a:moveTo>
                    <a:cubicBezTo>
                      <a:pt x="168" y="18"/>
                      <a:pt x="168" y="12"/>
                      <a:pt x="168" y="6"/>
                    </a:cubicBezTo>
                    <a:cubicBezTo>
                      <a:pt x="159" y="12"/>
                      <a:pt x="159" y="12"/>
                      <a:pt x="159" y="12"/>
                    </a:cubicBezTo>
                    <a:cubicBezTo>
                      <a:pt x="159" y="12"/>
                      <a:pt x="156" y="6"/>
                      <a:pt x="150" y="3"/>
                    </a:cubicBezTo>
                    <a:cubicBezTo>
                      <a:pt x="147" y="0"/>
                      <a:pt x="135" y="0"/>
                      <a:pt x="135" y="0"/>
                    </a:cubicBezTo>
                    <a:cubicBezTo>
                      <a:pt x="87" y="30"/>
                      <a:pt x="87" y="30"/>
                      <a:pt x="87" y="30"/>
                    </a:cubicBezTo>
                    <a:cubicBezTo>
                      <a:pt x="66" y="47"/>
                      <a:pt x="66" y="47"/>
                      <a:pt x="66" y="47"/>
                    </a:cubicBezTo>
                    <a:cubicBezTo>
                      <a:pt x="66" y="47"/>
                      <a:pt x="51" y="50"/>
                      <a:pt x="48" y="53"/>
                    </a:cubicBezTo>
                    <a:cubicBezTo>
                      <a:pt x="48" y="53"/>
                      <a:pt x="48" y="53"/>
                      <a:pt x="45" y="53"/>
                    </a:cubicBezTo>
                    <a:cubicBezTo>
                      <a:pt x="48" y="59"/>
                      <a:pt x="48" y="80"/>
                      <a:pt x="45" y="83"/>
                    </a:cubicBezTo>
                    <a:cubicBezTo>
                      <a:pt x="45" y="83"/>
                      <a:pt x="42" y="89"/>
                      <a:pt x="42" y="92"/>
                    </a:cubicBezTo>
                    <a:cubicBezTo>
                      <a:pt x="42" y="92"/>
                      <a:pt x="39" y="95"/>
                      <a:pt x="36" y="95"/>
                    </a:cubicBezTo>
                    <a:cubicBezTo>
                      <a:pt x="30" y="95"/>
                      <a:pt x="21" y="98"/>
                      <a:pt x="18" y="98"/>
                    </a:cubicBezTo>
                    <a:cubicBezTo>
                      <a:pt x="12" y="98"/>
                      <a:pt x="9" y="101"/>
                      <a:pt x="9" y="101"/>
                    </a:cubicBezTo>
                    <a:cubicBezTo>
                      <a:pt x="9" y="101"/>
                      <a:pt x="3" y="101"/>
                      <a:pt x="0" y="101"/>
                    </a:cubicBezTo>
                    <a:cubicBezTo>
                      <a:pt x="0" y="104"/>
                      <a:pt x="0" y="107"/>
                      <a:pt x="0" y="107"/>
                    </a:cubicBezTo>
                    <a:cubicBezTo>
                      <a:pt x="3" y="107"/>
                      <a:pt x="3" y="113"/>
                      <a:pt x="6" y="113"/>
                    </a:cubicBezTo>
                    <a:cubicBezTo>
                      <a:pt x="6" y="116"/>
                      <a:pt x="9" y="116"/>
                      <a:pt x="9" y="119"/>
                    </a:cubicBezTo>
                    <a:cubicBezTo>
                      <a:pt x="9" y="122"/>
                      <a:pt x="9" y="125"/>
                      <a:pt x="12" y="125"/>
                    </a:cubicBezTo>
                    <a:cubicBezTo>
                      <a:pt x="15" y="125"/>
                      <a:pt x="15" y="128"/>
                      <a:pt x="18" y="128"/>
                    </a:cubicBezTo>
                    <a:cubicBezTo>
                      <a:pt x="18" y="128"/>
                      <a:pt x="21" y="125"/>
                      <a:pt x="21" y="128"/>
                    </a:cubicBezTo>
                    <a:cubicBezTo>
                      <a:pt x="24" y="128"/>
                      <a:pt x="21" y="134"/>
                      <a:pt x="24" y="134"/>
                    </a:cubicBezTo>
                    <a:cubicBezTo>
                      <a:pt x="27" y="134"/>
                      <a:pt x="27" y="134"/>
                      <a:pt x="27" y="134"/>
                    </a:cubicBezTo>
                    <a:cubicBezTo>
                      <a:pt x="27" y="131"/>
                      <a:pt x="27" y="128"/>
                      <a:pt x="33" y="131"/>
                    </a:cubicBezTo>
                    <a:cubicBezTo>
                      <a:pt x="36" y="131"/>
                      <a:pt x="33" y="134"/>
                      <a:pt x="36" y="134"/>
                    </a:cubicBezTo>
                    <a:cubicBezTo>
                      <a:pt x="39" y="137"/>
                      <a:pt x="39" y="137"/>
                      <a:pt x="39" y="134"/>
                    </a:cubicBezTo>
                    <a:cubicBezTo>
                      <a:pt x="39" y="131"/>
                      <a:pt x="45" y="125"/>
                      <a:pt x="45" y="125"/>
                    </a:cubicBezTo>
                    <a:cubicBezTo>
                      <a:pt x="45" y="125"/>
                      <a:pt x="45" y="119"/>
                      <a:pt x="48" y="116"/>
                    </a:cubicBezTo>
                    <a:cubicBezTo>
                      <a:pt x="51" y="116"/>
                      <a:pt x="57" y="116"/>
                      <a:pt x="57" y="116"/>
                    </a:cubicBezTo>
                    <a:cubicBezTo>
                      <a:pt x="60" y="116"/>
                      <a:pt x="63" y="113"/>
                      <a:pt x="66" y="113"/>
                    </a:cubicBezTo>
                    <a:cubicBezTo>
                      <a:pt x="66" y="116"/>
                      <a:pt x="72" y="113"/>
                      <a:pt x="75" y="116"/>
                    </a:cubicBezTo>
                    <a:cubicBezTo>
                      <a:pt x="75" y="119"/>
                      <a:pt x="78" y="125"/>
                      <a:pt x="81" y="122"/>
                    </a:cubicBezTo>
                    <a:cubicBezTo>
                      <a:pt x="84" y="122"/>
                      <a:pt x="87" y="119"/>
                      <a:pt x="90" y="119"/>
                    </a:cubicBezTo>
                    <a:cubicBezTo>
                      <a:pt x="90" y="119"/>
                      <a:pt x="96" y="125"/>
                      <a:pt x="99" y="125"/>
                    </a:cubicBezTo>
                    <a:cubicBezTo>
                      <a:pt x="108" y="125"/>
                      <a:pt x="108" y="125"/>
                      <a:pt x="108" y="125"/>
                    </a:cubicBezTo>
                    <a:cubicBezTo>
                      <a:pt x="111" y="122"/>
                      <a:pt x="114" y="119"/>
                      <a:pt x="117" y="119"/>
                    </a:cubicBezTo>
                    <a:cubicBezTo>
                      <a:pt x="120" y="119"/>
                      <a:pt x="129" y="119"/>
                      <a:pt x="132" y="119"/>
                    </a:cubicBezTo>
                    <a:cubicBezTo>
                      <a:pt x="135" y="122"/>
                      <a:pt x="138" y="122"/>
                      <a:pt x="141" y="122"/>
                    </a:cubicBezTo>
                    <a:cubicBezTo>
                      <a:pt x="144" y="122"/>
                      <a:pt x="147" y="116"/>
                      <a:pt x="150" y="116"/>
                    </a:cubicBezTo>
                    <a:cubicBezTo>
                      <a:pt x="150" y="113"/>
                      <a:pt x="150" y="113"/>
                      <a:pt x="150" y="113"/>
                    </a:cubicBezTo>
                    <a:cubicBezTo>
                      <a:pt x="150" y="113"/>
                      <a:pt x="150" y="113"/>
                      <a:pt x="150" y="110"/>
                    </a:cubicBezTo>
                    <a:cubicBezTo>
                      <a:pt x="150" y="104"/>
                      <a:pt x="153" y="107"/>
                      <a:pt x="153" y="101"/>
                    </a:cubicBezTo>
                    <a:cubicBezTo>
                      <a:pt x="153" y="95"/>
                      <a:pt x="171" y="80"/>
                      <a:pt x="171" y="80"/>
                    </a:cubicBezTo>
                    <a:cubicBezTo>
                      <a:pt x="171" y="77"/>
                      <a:pt x="171" y="53"/>
                      <a:pt x="171" y="50"/>
                    </a:cubicBezTo>
                    <a:cubicBezTo>
                      <a:pt x="171" y="47"/>
                      <a:pt x="174" y="44"/>
                      <a:pt x="174" y="39"/>
                    </a:cubicBezTo>
                    <a:cubicBezTo>
                      <a:pt x="177" y="36"/>
                      <a:pt x="171" y="36"/>
                      <a:pt x="171" y="30"/>
                    </a:cubicBezTo>
                    <a:cubicBezTo>
                      <a:pt x="174" y="27"/>
                      <a:pt x="168" y="24"/>
                      <a:pt x="168"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7" name="Freeform 711"/>
              <p:cNvSpPr>
                <a:spLocks/>
              </p:cNvSpPr>
              <p:nvPr userDrawn="1"/>
            </p:nvSpPr>
            <p:spPr bwMode="auto">
              <a:xfrm>
                <a:off x="3485" y="-1566"/>
                <a:ext cx="275" cy="214"/>
              </a:xfrm>
              <a:custGeom>
                <a:avLst/>
                <a:gdLst>
                  <a:gd name="T0" fmla="*/ 168 w 177"/>
                  <a:gd name="T1" fmla="*/ 21 h 137"/>
                  <a:gd name="T2" fmla="*/ 168 w 177"/>
                  <a:gd name="T3" fmla="*/ 6 h 137"/>
                  <a:gd name="T4" fmla="*/ 159 w 177"/>
                  <a:gd name="T5" fmla="*/ 12 h 137"/>
                  <a:gd name="T6" fmla="*/ 150 w 177"/>
                  <a:gd name="T7" fmla="*/ 3 h 137"/>
                  <a:gd name="T8" fmla="*/ 135 w 177"/>
                  <a:gd name="T9" fmla="*/ 0 h 137"/>
                  <a:gd name="T10" fmla="*/ 87 w 177"/>
                  <a:gd name="T11" fmla="*/ 30 h 137"/>
                  <a:gd name="T12" fmla="*/ 66 w 177"/>
                  <a:gd name="T13" fmla="*/ 47 h 137"/>
                  <a:gd name="T14" fmla="*/ 48 w 177"/>
                  <a:gd name="T15" fmla="*/ 53 h 137"/>
                  <a:gd name="T16" fmla="*/ 45 w 177"/>
                  <a:gd name="T17" fmla="*/ 53 h 137"/>
                  <a:gd name="T18" fmla="*/ 45 w 177"/>
                  <a:gd name="T19" fmla="*/ 83 h 137"/>
                  <a:gd name="T20" fmla="*/ 42 w 177"/>
                  <a:gd name="T21" fmla="*/ 92 h 137"/>
                  <a:gd name="T22" fmla="*/ 36 w 177"/>
                  <a:gd name="T23" fmla="*/ 95 h 137"/>
                  <a:gd name="T24" fmla="*/ 18 w 177"/>
                  <a:gd name="T25" fmla="*/ 98 h 137"/>
                  <a:gd name="T26" fmla="*/ 9 w 177"/>
                  <a:gd name="T27" fmla="*/ 101 h 137"/>
                  <a:gd name="T28" fmla="*/ 0 w 177"/>
                  <a:gd name="T29" fmla="*/ 101 h 137"/>
                  <a:gd name="T30" fmla="*/ 0 w 177"/>
                  <a:gd name="T31" fmla="*/ 107 h 137"/>
                  <a:gd name="T32" fmla="*/ 6 w 177"/>
                  <a:gd name="T33" fmla="*/ 113 h 137"/>
                  <a:gd name="T34" fmla="*/ 9 w 177"/>
                  <a:gd name="T35" fmla="*/ 119 h 137"/>
                  <a:gd name="T36" fmla="*/ 12 w 177"/>
                  <a:gd name="T37" fmla="*/ 125 h 137"/>
                  <a:gd name="T38" fmla="*/ 18 w 177"/>
                  <a:gd name="T39" fmla="*/ 128 h 137"/>
                  <a:gd name="T40" fmla="*/ 21 w 177"/>
                  <a:gd name="T41" fmla="*/ 128 h 137"/>
                  <a:gd name="T42" fmla="*/ 24 w 177"/>
                  <a:gd name="T43" fmla="*/ 134 h 137"/>
                  <a:gd name="T44" fmla="*/ 27 w 177"/>
                  <a:gd name="T45" fmla="*/ 134 h 137"/>
                  <a:gd name="T46" fmla="*/ 33 w 177"/>
                  <a:gd name="T47" fmla="*/ 131 h 137"/>
                  <a:gd name="T48" fmla="*/ 36 w 177"/>
                  <a:gd name="T49" fmla="*/ 134 h 137"/>
                  <a:gd name="T50" fmla="*/ 39 w 177"/>
                  <a:gd name="T51" fmla="*/ 134 h 137"/>
                  <a:gd name="T52" fmla="*/ 45 w 177"/>
                  <a:gd name="T53" fmla="*/ 125 h 137"/>
                  <a:gd name="T54" fmla="*/ 48 w 177"/>
                  <a:gd name="T55" fmla="*/ 116 h 137"/>
                  <a:gd name="T56" fmla="*/ 57 w 177"/>
                  <a:gd name="T57" fmla="*/ 116 h 137"/>
                  <a:gd name="T58" fmla="*/ 66 w 177"/>
                  <a:gd name="T59" fmla="*/ 113 h 137"/>
                  <a:gd name="T60" fmla="*/ 75 w 177"/>
                  <a:gd name="T61" fmla="*/ 116 h 137"/>
                  <a:gd name="T62" fmla="*/ 81 w 177"/>
                  <a:gd name="T63" fmla="*/ 122 h 137"/>
                  <a:gd name="T64" fmla="*/ 90 w 177"/>
                  <a:gd name="T65" fmla="*/ 119 h 137"/>
                  <a:gd name="T66" fmla="*/ 99 w 177"/>
                  <a:gd name="T67" fmla="*/ 125 h 137"/>
                  <a:gd name="T68" fmla="*/ 108 w 177"/>
                  <a:gd name="T69" fmla="*/ 125 h 137"/>
                  <a:gd name="T70" fmla="*/ 117 w 177"/>
                  <a:gd name="T71" fmla="*/ 119 h 137"/>
                  <a:gd name="T72" fmla="*/ 132 w 177"/>
                  <a:gd name="T73" fmla="*/ 119 h 137"/>
                  <a:gd name="T74" fmla="*/ 141 w 177"/>
                  <a:gd name="T75" fmla="*/ 122 h 137"/>
                  <a:gd name="T76" fmla="*/ 150 w 177"/>
                  <a:gd name="T77" fmla="*/ 116 h 137"/>
                  <a:gd name="T78" fmla="*/ 150 w 177"/>
                  <a:gd name="T79" fmla="*/ 113 h 137"/>
                  <a:gd name="T80" fmla="*/ 150 w 177"/>
                  <a:gd name="T81" fmla="*/ 110 h 137"/>
                  <a:gd name="T82" fmla="*/ 153 w 177"/>
                  <a:gd name="T83" fmla="*/ 101 h 137"/>
                  <a:gd name="T84" fmla="*/ 171 w 177"/>
                  <a:gd name="T85" fmla="*/ 80 h 137"/>
                  <a:gd name="T86" fmla="*/ 171 w 177"/>
                  <a:gd name="T87" fmla="*/ 50 h 137"/>
                  <a:gd name="T88" fmla="*/ 174 w 177"/>
                  <a:gd name="T89" fmla="*/ 39 h 137"/>
                  <a:gd name="T90" fmla="*/ 171 w 177"/>
                  <a:gd name="T91" fmla="*/ 30 h 137"/>
                  <a:gd name="T92" fmla="*/ 168 w 177"/>
                  <a:gd name="T93" fmla="*/ 2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7" h="137">
                    <a:moveTo>
                      <a:pt x="168" y="21"/>
                    </a:moveTo>
                    <a:cubicBezTo>
                      <a:pt x="168" y="18"/>
                      <a:pt x="168" y="12"/>
                      <a:pt x="168" y="6"/>
                    </a:cubicBezTo>
                    <a:cubicBezTo>
                      <a:pt x="159" y="12"/>
                      <a:pt x="159" y="12"/>
                      <a:pt x="159" y="12"/>
                    </a:cubicBezTo>
                    <a:cubicBezTo>
                      <a:pt x="159" y="12"/>
                      <a:pt x="156" y="6"/>
                      <a:pt x="150" y="3"/>
                    </a:cubicBezTo>
                    <a:cubicBezTo>
                      <a:pt x="147" y="0"/>
                      <a:pt x="135" y="0"/>
                      <a:pt x="135" y="0"/>
                    </a:cubicBezTo>
                    <a:cubicBezTo>
                      <a:pt x="87" y="30"/>
                      <a:pt x="87" y="30"/>
                      <a:pt x="87" y="30"/>
                    </a:cubicBezTo>
                    <a:cubicBezTo>
                      <a:pt x="66" y="47"/>
                      <a:pt x="66" y="47"/>
                      <a:pt x="66" y="47"/>
                    </a:cubicBezTo>
                    <a:cubicBezTo>
                      <a:pt x="66" y="47"/>
                      <a:pt x="51" y="50"/>
                      <a:pt x="48" y="53"/>
                    </a:cubicBezTo>
                    <a:cubicBezTo>
                      <a:pt x="48" y="53"/>
                      <a:pt x="48" y="53"/>
                      <a:pt x="45" y="53"/>
                    </a:cubicBezTo>
                    <a:cubicBezTo>
                      <a:pt x="48" y="59"/>
                      <a:pt x="48" y="80"/>
                      <a:pt x="45" y="83"/>
                    </a:cubicBezTo>
                    <a:cubicBezTo>
                      <a:pt x="45" y="83"/>
                      <a:pt x="42" y="89"/>
                      <a:pt x="42" y="92"/>
                    </a:cubicBezTo>
                    <a:cubicBezTo>
                      <a:pt x="42" y="92"/>
                      <a:pt x="39" y="95"/>
                      <a:pt x="36" y="95"/>
                    </a:cubicBezTo>
                    <a:cubicBezTo>
                      <a:pt x="30" y="95"/>
                      <a:pt x="21" y="98"/>
                      <a:pt x="18" y="98"/>
                    </a:cubicBezTo>
                    <a:cubicBezTo>
                      <a:pt x="12" y="98"/>
                      <a:pt x="9" y="101"/>
                      <a:pt x="9" y="101"/>
                    </a:cubicBezTo>
                    <a:cubicBezTo>
                      <a:pt x="9" y="101"/>
                      <a:pt x="3" y="101"/>
                      <a:pt x="0" y="101"/>
                    </a:cubicBezTo>
                    <a:cubicBezTo>
                      <a:pt x="0" y="104"/>
                      <a:pt x="0" y="107"/>
                      <a:pt x="0" y="107"/>
                    </a:cubicBezTo>
                    <a:cubicBezTo>
                      <a:pt x="3" y="107"/>
                      <a:pt x="3" y="113"/>
                      <a:pt x="6" y="113"/>
                    </a:cubicBezTo>
                    <a:cubicBezTo>
                      <a:pt x="6" y="116"/>
                      <a:pt x="9" y="116"/>
                      <a:pt x="9" y="119"/>
                    </a:cubicBezTo>
                    <a:cubicBezTo>
                      <a:pt x="9" y="122"/>
                      <a:pt x="9" y="125"/>
                      <a:pt x="12" y="125"/>
                    </a:cubicBezTo>
                    <a:cubicBezTo>
                      <a:pt x="15" y="125"/>
                      <a:pt x="15" y="128"/>
                      <a:pt x="18" y="128"/>
                    </a:cubicBezTo>
                    <a:cubicBezTo>
                      <a:pt x="18" y="128"/>
                      <a:pt x="21" y="125"/>
                      <a:pt x="21" y="128"/>
                    </a:cubicBezTo>
                    <a:cubicBezTo>
                      <a:pt x="24" y="128"/>
                      <a:pt x="21" y="134"/>
                      <a:pt x="24" y="134"/>
                    </a:cubicBezTo>
                    <a:cubicBezTo>
                      <a:pt x="27" y="134"/>
                      <a:pt x="27" y="134"/>
                      <a:pt x="27" y="134"/>
                    </a:cubicBezTo>
                    <a:cubicBezTo>
                      <a:pt x="27" y="131"/>
                      <a:pt x="27" y="128"/>
                      <a:pt x="33" y="131"/>
                    </a:cubicBezTo>
                    <a:cubicBezTo>
                      <a:pt x="36" y="131"/>
                      <a:pt x="33" y="134"/>
                      <a:pt x="36" y="134"/>
                    </a:cubicBezTo>
                    <a:cubicBezTo>
                      <a:pt x="39" y="137"/>
                      <a:pt x="39" y="137"/>
                      <a:pt x="39" y="134"/>
                    </a:cubicBezTo>
                    <a:cubicBezTo>
                      <a:pt x="39" y="131"/>
                      <a:pt x="45" y="125"/>
                      <a:pt x="45" y="125"/>
                    </a:cubicBezTo>
                    <a:cubicBezTo>
                      <a:pt x="45" y="125"/>
                      <a:pt x="45" y="119"/>
                      <a:pt x="48" y="116"/>
                    </a:cubicBezTo>
                    <a:cubicBezTo>
                      <a:pt x="51" y="116"/>
                      <a:pt x="57" y="116"/>
                      <a:pt x="57" y="116"/>
                    </a:cubicBezTo>
                    <a:cubicBezTo>
                      <a:pt x="60" y="116"/>
                      <a:pt x="63" y="113"/>
                      <a:pt x="66" y="113"/>
                    </a:cubicBezTo>
                    <a:cubicBezTo>
                      <a:pt x="66" y="116"/>
                      <a:pt x="72" y="113"/>
                      <a:pt x="75" y="116"/>
                    </a:cubicBezTo>
                    <a:cubicBezTo>
                      <a:pt x="75" y="119"/>
                      <a:pt x="78" y="125"/>
                      <a:pt x="81" y="122"/>
                    </a:cubicBezTo>
                    <a:cubicBezTo>
                      <a:pt x="84" y="122"/>
                      <a:pt x="87" y="119"/>
                      <a:pt x="90" y="119"/>
                    </a:cubicBezTo>
                    <a:cubicBezTo>
                      <a:pt x="90" y="119"/>
                      <a:pt x="96" y="125"/>
                      <a:pt x="99" y="125"/>
                    </a:cubicBezTo>
                    <a:cubicBezTo>
                      <a:pt x="108" y="125"/>
                      <a:pt x="108" y="125"/>
                      <a:pt x="108" y="125"/>
                    </a:cubicBezTo>
                    <a:cubicBezTo>
                      <a:pt x="111" y="122"/>
                      <a:pt x="114" y="119"/>
                      <a:pt x="117" y="119"/>
                    </a:cubicBezTo>
                    <a:cubicBezTo>
                      <a:pt x="120" y="119"/>
                      <a:pt x="129" y="119"/>
                      <a:pt x="132" y="119"/>
                    </a:cubicBezTo>
                    <a:cubicBezTo>
                      <a:pt x="135" y="122"/>
                      <a:pt x="138" y="122"/>
                      <a:pt x="141" y="122"/>
                    </a:cubicBezTo>
                    <a:cubicBezTo>
                      <a:pt x="144" y="122"/>
                      <a:pt x="147" y="116"/>
                      <a:pt x="150" y="116"/>
                    </a:cubicBezTo>
                    <a:cubicBezTo>
                      <a:pt x="150" y="113"/>
                      <a:pt x="150" y="113"/>
                      <a:pt x="150" y="113"/>
                    </a:cubicBezTo>
                    <a:cubicBezTo>
                      <a:pt x="150" y="113"/>
                      <a:pt x="150" y="113"/>
                      <a:pt x="150" y="110"/>
                    </a:cubicBezTo>
                    <a:cubicBezTo>
                      <a:pt x="150" y="104"/>
                      <a:pt x="153" y="107"/>
                      <a:pt x="153" y="101"/>
                    </a:cubicBezTo>
                    <a:cubicBezTo>
                      <a:pt x="153" y="95"/>
                      <a:pt x="171" y="80"/>
                      <a:pt x="171" y="80"/>
                    </a:cubicBezTo>
                    <a:cubicBezTo>
                      <a:pt x="171" y="77"/>
                      <a:pt x="171" y="53"/>
                      <a:pt x="171" y="50"/>
                    </a:cubicBezTo>
                    <a:cubicBezTo>
                      <a:pt x="171" y="47"/>
                      <a:pt x="174" y="44"/>
                      <a:pt x="174" y="39"/>
                    </a:cubicBezTo>
                    <a:cubicBezTo>
                      <a:pt x="177" y="36"/>
                      <a:pt x="171" y="36"/>
                      <a:pt x="171" y="30"/>
                    </a:cubicBezTo>
                    <a:cubicBezTo>
                      <a:pt x="174" y="27"/>
                      <a:pt x="168" y="24"/>
                      <a:pt x="168"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8" name="Freeform 712"/>
              <p:cNvSpPr>
                <a:spLocks/>
              </p:cNvSpPr>
              <p:nvPr userDrawn="1"/>
            </p:nvSpPr>
            <p:spPr bwMode="auto">
              <a:xfrm>
                <a:off x="3717" y="-1566"/>
                <a:ext cx="179" cy="295"/>
              </a:xfrm>
              <a:custGeom>
                <a:avLst/>
                <a:gdLst>
                  <a:gd name="T0" fmla="*/ 115 w 115"/>
                  <a:gd name="T1" fmla="*/ 48 h 189"/>
                  <a:gd name="T2" fmla="*/ 27 w 115"/>
                  <a:gd name="T3" fmla="*/ 0 h 189"/>
                  <a:gd name="T4" fmla="*/ 18 w 115"/>
                  <a:gd name="T5" fmla="*/ 6 h 189"/>
                  <a:gd name="T6" fmla="*/ 18 w 115"/>
                  <a:gd name="T7" fmla="*/ 21 h 189"/>
                  <a:gd name="T8" fmla="*/ 21 w 115"/>
                  <a:gd name="T9" fmla="*/ 30 h 189"/>
                  <a:gd name="T10" fmla="*/ 24 w 115"/>
                  <a:gd name="T11" fmla="*/ 39 h 189"/>
                  <a:gd name="T12" fmla="*/ 21 w 115"/>
                  <a:gd name="T13" fmla="*/ 51 h 189"/>
                  <a:gd name="T14" fmla="*/ 21 w 115"/>
                  <a:gd name="T15" fmla="*/ 81 h 189"/>
                  <a:gd name="T16" fmla="*/ 3 w 115"/>
                  <a:gd name="T17" fmla="*/ 102 h 189"/>
                  <a:gd name="T18" fmla="*/ 0 w 115"/>
                  <a:gd name="T19" fmla="*/ 111 h 189"/>
                  <a:gd name="T20" fmla="*/ 0 w 115"/>
                  <a:gd name="T21" fmla="*/ 114 h 189"/>
                  <a:gd name="T22" fmla="*/ 3 w 115"/>
                  <a:gd name="T23" fmla="*/ 117 h 189"/>
                  <a:gd name="T24" fmla="*/ 9 w 115"/>
                  <a:gd name="T25" fmla="*/ 123 h 189"/>
                  <a:gd name="T26" fmla="*/ 15 w 115"/>
                  <a:gd name="T27" fmla="*/ 132 h 189"/>
                  <a:gd name="T28" fmla="*/ 15 w 115"/>
                  <a:gd name="T29" fmla="*/ 144 h 189"/>
                  <a:gd name="T30" fmla="*/ 21 w 115"/>
                  <a:gd name="T31" fmla="*/ 156 h 189"/>
                  <a:gd name="T32" fmla="*/ 15 w 115"/>
                  <a:gd name="T33" fmla="*/ 159 h 189"/>
                  <a:gd name="T34" fmla="*/ 6 w 115"/>
                  <a:gd name="T35" fmla="*/ 159 h 189"/>
                  <a:gd name="T36" fmla="*/ 9 w 115"/>
                  <a:gd name="T37" fmla="*/ 168 h 189"/>
                  <a:gd name="T38" fmla="*/ 18 w 115"/>
                  <a:gd name="T39" fmla="*/ 177 h 189"/>
                  <a:gd name="T40" fmla="*/ 24 w 115"/>
                  <a:gd name="T41" fmla="*/ 186 h 189"/>
                  <a:gd name="T42" fmla="*/ 30 w 115"/>
                  <a:gd name="T43" fmla="*/ 186 h 189"/>
                  <a:gd name="T44" fmla="*/ 36 w 115"/>
                  <a:gd name="T45" fmla="*/ 186 h 189"/>
                  <a:gd name="T46" fmla="*/ 48 w 115"/>
                  <a:gd name="T47" fmla="*/ 180 h 189"/>
                  <a:gd name="T48" fmla="*/ 60 w 115"/>
                  <a:gd name="T49" fmla="*/ 177 h 189"/>
                  <a:gd name="T50" fmla="*/ 60 w 115"/>
                  <a:gd name="T51" fmla="*/ 171 h 189"/>
                  <a:gd name="T52" fmla="*/ 75 w 115"/>
                  <a:gd name="T53" fmla="*/ 165 h 189"/>
                  <a:gd name="T54" fmla="*/ 87 w 115"/>
                  <a:gd name="T55" fmla="*/ 156 h 189"/>
                  <a:gd name="T56" fmla="*/ 90 w 115"/>
                  <a:gd name="T57" fmla="*/ 150 h 189"/>
                  <a:gd name="T58" fmla="*/ 99 w 115"/>
                  <a:gd name="T59" fmla="*/ 147 h 189"/>
                  <a:gd name="T60" fmla="*/ 99 w 115"/>
                  <a:gd name="T61" fmla="*/ 147 h 189"/>
                  <a:gd name="T62" fmla="*/ 99 w 115"/>
                  <a:gd name="T63" fmla="*/ 147 h 189"/>
                  <a:gd name="T64" fmla="*/ 103 w 115"/>
                  <a:gd name="T65" fmla="*/ 141 h 189"/>
                  <a:gd name="T66" fmla="*/ 96 w 115"/>
                  <a:gd name="T67" fmla="*/ 135 h 189"/>
                  <a:gd name="T68" fmla="*/ 93 w 115"/>
                  <a:gd name="T69" fmla="*/ 126 h 189"/>
                  <a:gd name="T70" fmla="*/ 93 w 115"/>
                  <a:gd name="T71" fmla="*/ 120 h 189"/>
                  <a:gd name="T72" fmla="*/ 93 w 115"/>
                  <a:gd name="T73" fmla="*/ 111 h 189"/>
                  <a:gd name="T74" fmla="*/ 99 w 115"/>
                  <a:gd name="T75" fmla="*/ 102 h 189"/>
                  <a:gd name="T76" fmla="*/ 103 w 115"/>
                  <a:gd name="T77" fmla="*/ 96 h 189"/>
                  <a:gd name="T78" fmla="*/ 112 w 115"/>
                  <a:gd name="T79" fmla="*/ 90 h 189"/>
                  <a:gd name="T80" fmla="*/ 115 w 115"/>
                  <a:gd name="T81" fmla="*/ 78 h 189"/>
                  <a:gd name="T82" fmla="*/ 115 w 115"/>
                  <a:gd name="T83" fmla="*/ 48 h 189"/>
                  <a:gd name="T84" fmla="*/ 115 w 115"/>
                  <a:gd name="T85" fmla="*/ 4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 h="189">
                    <a:moveTo>
                      <a:pt x="115" y="48"/>
                    </a:moveTo>
                    <a:cubicBezTo>
                      <a:pt x="27" y="0"/>
                      <a:pt x="27" y="0"/>
                      <a:pt x="27" y="0"/>
                    </a:cubicBezTo>
                    <a:cubicBezTo>
                      <a:pt x="18" y="6"/>
                      <a:pt x="18" y="6"/>
                      <a:pt x="18" y="6"/>
                    </a:cubicBezTo>
                    <a:cubicBezTo>
                      <a:pt x="18" y="12"/>
                      <a:pt x="18" y="18"/>
                      <a:pt x="18" y="21"/>
                    </a:cubicBezTo>
                    <a:cubicBezTo>
                      <a:pt x="18" y="24"/>
                      <a:pt x="24" y="27"/>
                      <a:pt x="21" y="30"/>
                    </a:cubicBezTo>
                    <a:cubicBezTo>
                      <a:pt x="21" y="36"/>
                      <a:pt x="27" y="36"/>
                      <a:pt x="24" y="39"/>
                    </a:cubicBezTo>
                    <a:cubicBezTo>
                      <a:pt x="24" y="45"/>
                      <a:pt x="21" y="48"/>
                      <a:pt x="21" y="51"/>
                    </a:cubicBezTo>
                    <a:cubicBezTo>
                      <a:pt x="21" y="54"/>
                      <a:pt x="21" y="78"/>
                      <a:pt x="21" y="81"/>
                    </a:cubicBezTo>
                    <a:cubicBezTo>
                      <a:pt x="21" y="81"/>
                      <a:pt x="3" y="96"/>
                      <a:pt x="3" y="102"/>
                    </a:cubicBezTo>
                    <a:cubicBezTo>
                      <a:pt x="3" y="108"/>
                      <a:pt x="0" y="105"/>
                      <a:pt x="0" y="111"/>
                    </a:cubicBezTo>
                    <a:cubicBezTo>
                      <a:pt x="0" y="114"/>
                      <a:pt x="0" y="114"/>
                      <a:pt x="0" y="114"/>
                    </a:cubicBezTo>
                    <a:cubicBezTo>
                      <a:pt x="3" y="117"/>
                      <a:pt x="3" y="117"/>
                      <a:pt x="3" y="117"/>
                    </a:cubicBezTo>
                    <a:cubicBezTo>
                      <a:pt x="6" y="120"/>
                      <a:pt x="6" y="123"/>
                      <a:pt x="9" y="123"/>
                    </a:cubicBezTo>
                    <a:cubicBezTo>
                      <a:pt x="12" y="123"/>
                      <a:pt x="15" y="129"/>
                      <a:pt x="15" y="132"/>
                    </a:cubicBezTo>
                    <a:cubicBezTo>
                      <a:pt x="15" y="135"/>
                      <a:pt x="18" y="138"/>
                      <a:pt x="15" y="144"/>
                    </a:cubicBezTo>
                    <a:cubicBezTo>
                      <a:pt x="15" y="150"/>
                      <a:pt x="18" y="156"/>
                      <a:pt x="21" y="156"/>
                    </a:cubicBezTo>
                    <a:cubicBezTo>
                      <a:pt x="24" y="159"/>
                      <a:pt x="21" y="159"/>
                      <a:pt x="15" y="159"/>
                    </a:cubicBezTo>
                    <a:cubicBezTo>
                      <a:pt x="12" y="159"/>
                      <a:pt x="6" y="159"/>
                      <a:pt x="6" y="159"/>
                    </a:cubicBezTo>
                    <a:cubicBezTo>
                      <a:pt x="6" y="162"/>
                      <a:pt x="6" y="165"/>
                      <a:pt x="9" y="168"/>
                    </a:cubicBezTo>
                    <a:cubicBezTo>
                      <a:pt x="15" y="171"/>
                      <a:pt x="18" y="174"/>
                      <a:pt x="18" y="177"/>
                    </a:cubicBezTo>
                    <a:cubicBezTo>
                      <a:pt x="21" y="183"/>
                      <a:pt x="21" y="186"/>
                      <a:pt x="24" y="186"/>
                    </a:cubicBezTo>
                    <a:cubicBezTo>
                      <a:pt x="24" y="189"/>
                      <a:pt x="27" y="189"/>
                      <a:pt x="30" y="186"/>
                    </a:cubicBezTo>
                    <a:cubicBezTo>
                      <a:pt x="33" y="180"/>
                      <a:pt x="33" y="189"/>
                      <a:pt x="36" y="186"/>
                    </a:cubicBezTo>
                    <a:cubicBezTo>
                      <a:pt x="39" y="183"/>
                      <a:pt x="48" y="183"/>
                      <a:pt x="48" y="180"/>
                    </a:cubicBezTo>
                    <a:cubicBezTo>
                      <a:pt x="51" y="180"/>
                      <a:pt x="57" y="177"/>
                      <a:pt x="60" y="177"/>
                    </a:cubicBezTo>
                    <a:cubicBezTo>
                      <a:pt x="60" y="174"/>
                      <a:pt x="57" y="171"/>
                      <a:pt x="60" y="171"/>
                    </a:cubicBezTo>
                    <a:cubicBezTo>
                      <a:pt x="63" y="168"/>
                      <a:pt x="72" y="171"/>
                      <a:pt x="75" y="165"/>
                    </a:cubicBezTo>
                    <a:cubicBezTo>
                      <a:pt x="78" y="162"/>
                      <a:pt x="84" y="156"/>
                      <a:pt x="87" y="156"/>
                    </a:cubicBezTo>
                    <a:cubicBezTo>
                      <a:pt x="87" y="153"/>
                      <a:pt x="87" y="153"/>
                      <a:pt x="90" y="150"/>
                    </a:cubicBezTo>
                    <a:cubicBezTo>
                      <a:pt x="90" y="147"/>
                      <a:pt x="96" y="144"/>
                      <a:pt x="99" y="147"/>
                    </a:cubicBezTo>
                    <a:cubicBezTo>
                      <a:pt x="99" y="147"/>
                      <a:pt x="99" y="147"/>
                      <a:pt x="99" y="147"/>
                    </a:cubicBezTo>
                    <a:cubicBezTo>
                      <a:pt x="99" y="147"/>
                      <a:pt x="99" y="147"/>
                      <a:pt x="99" y="147"/>
                    </a:cubicBezTo>
                    <a:cubicBezTo>
                      <a:pt x="103" y="141"/>
                      <a:pt x="103" y="141"/>
                      <a:pt x="103" y="141"/>
                    </a:cubicBezTo>
                    <a:cubicBezTo>
                      <a:pt x="103" y="141"/>
                      <a:pt x="96" y="138"/>
                      <a:pt x="96" y="135"/>
                    </a:cubicBezTo>
                    <a:cubicBezTo>
                      <a:pt x="96" y="129"/>
                      <a:pt x="96" y="126"/>
                      <a:pt x="93" y="126"/>
                    </a:cubicBezTo>
                    <a:cubicBezTo>
                      <a:pt x="90" y="126"/>
                      <a:pt x="90" y="123"/>
                      <a:pt x="93" y="120"/>
                    </a:cubicBezTo>
                    <a:cubicBezTo>
                      <a:pt x="96" y="117"/>
                      <a:pt x="87" y="111"/>
                      <a:pt x="93" y="111"/>
                    </a:cubicBezTo>
                    <a:cubicBezTo>
                      <a:pt x="99" y="111"/>
                      <a:pt x="93" y="102"/>
                      <a:pt x="99" y="102"/>
                    </a:cubicBezTo>
                    <a:cubicBezTo>
                      <a:pt x="103" y="102"/>
                      <a:pt x="103" y="99"/>
                      <a:pt x="103" y="96"/>
                    </a:cubicBezTo>
                    <a:cubicBezTo>
                      <a:pt x="103" y="93"/>
                      <a:pt x="112" y="90"/>
                      <a:pt x="112" y="90"/>
                    </a:cubicBezTo>
                    <a:cubicBezTo>
                      <a:pt x="115" y="90"/>
                      <a:pt x="115" y="78"/>
                      <a:pt x="115" y="78"/>
                    </a:cubicBezTo>
                    <a:cubicBezTo>
                      <a:pt x="115" y="48"/>
                      <a:pt x="115" y="48"/>
                      <a:pt x="115" y="48"/>
                    </a:cubicBezTo>
                    <a:cubicBezTo>
                      <a:pt x="115" y="48"/>
                      <a:pt x="115" y="48"/>
                      <a:pt x="115"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39" name="Freeform 713"/>
              <p:cNvSpPr>
                <a:spLocks/>
              </p:cNvSpPr>
              <p:nvPr userDrawn="1"/>
            </p:nvSpPr>
            <p:spPr bwMode="auto">
              <a:xfrm>
                <a:off x="3717" y="-1566"/>
                <a:ext cx="179" cy="295"/>
              </a:xfrm>
              <a:custGeom>
                <a:avLst/>
                <a:gdLst>
                  <a:gd name="T0" fmla="*/ 115 w 115"/>
                  <a:gd name="T1" fmla="*/ 48 h 189"/>
                  <a:gd name="T2" fmla="*/ 27 w 115"/>
                  <a:gd name="T3" fmla="*/ 0 h 189"/>
                  <a:gd name="T4" fmla="*/ 18 w 115"/>
                  <a:gd name="T5" fmla="*/ 6 h 189"/>
                  <a:gd name="T6" fmla="*/ 18 w 115"/>
                  <a:gd name="T7" fmla="*/ 21 h 189"/>
                  <a:gd name="T8" fmla="*/ 21 w 115"/>
                  <a:gd name="T9" fmla="*/ 30 h 189"/>
                  <a:gd name="T10" fmla="*/ 24 w 115"/>
                  <a:gd name="T11" fmla="*/ 39 h 189"/>
                  <a:gd name="T12" fmla="*/ 21 w 115"/>
                  <a:gd name="T13" fmla="*/ 51 h 189"/>
                  <a:gd name="T14" fmla="*/ 21 w 115"/>
                  <a:gd name="T15" fmla="*/ 81 h 189"/>
                  <a:gd name="T16" fmla="*/ 3 w 115"/>
                  <a:gd name="T17" fmla="*/ 102 h 189"/>
                  <a:gd name="T18" fmla="*/ 0 w 115"/>
                  <a:gd name="T19" fmla="*/ 111 h 189"/>
                  <a:gd name="T20" fmla="*/ 0 w 115"/>
                  <a:gd name="T21" fmla="*/ 114 h 189"/>
                  <a:gd name="T22" fmla="*/ 3 w 115"/>
                  <a:gd name="T23" fmla="*/ 117 h 189"/>
                  <a:gd name="T24" fmla="*/ 9 w 115"/>
                  <a:gd name="T25" fmla="*/ 123 h 189"/>
                  <a:gd name="T26" fmla="*/ 15 w 115"/>
                  <a:gd name="T27" fmla="*/ 132 h 189"/>
                  <a:gd name="T28" fmla="*/ 15 w 115"/>
                  <a:gd name="T29" fmla="*/ 144 h 189"/>
                  <a:gd name="T30" fmla="*/ 21 w 115"/>
                  <a:gd name="T31" fmla="*/ 156 h 189"/>
                  <a:gd name="T32" fmla="*/ 15 w 115"/>
                  <a:gd name="T33" fmla="*/ 159 h 189"/>
                  <a:gd name="T34" fmla="*/ 6 w 115"/>
                  <a:gd name="T35" fmla="*/ 159 h 189"/>
                  <a:gd name="T36" fmla="*/ 9 w 115"/>
                  <a:gd name="T37" fmla="*/ 168 h 189"/>
                  <a:gd name="T38" fmla="*/ 18 w 115"/>
                  <a:gd name="T39" fmla="*/ 177 h 189"/>
                  <a:gd name="T40" fmla="*/ 24 w 115"/>
                  <a:gd name="T41" fmla="*/ 186 h 189"/>
                  <a:gd name="T42" fmla="*/ 30 w 115"/>
                  <a:gd name="T43" fmla="*/ 186 h 189"/>
                  <a:gd name="T44" fmla="*/ 36 w 115"/>
                  <a:gd name="T45" fmla="*/ 186 h 189"/>
                  <a:gd name="T46" fmla="*/ 48 w 115"/>
                  <a:gd name="T47" fmla="*/ 180 h 189"/>
                  <a:gd name="T48" fmla="*/ 60 w 115"/>
                  <a:gd name="T49" fmla="*/ 177 h 189"/>
                  <a:gd name="T50" fmla="*/ 60 w 115"/>
                  <a:gd name="T51" fmla="*/ 171 h 189"/>
                  <a:gd name="T52" fmla="*/ 75 w 115"/>
                  <a:gd name="T53" fmla="*/ 165 h 189"/>
                  <a:gd name="T54" fmla="*/ 87 w 115"/>
                  <a:gd name="T55" fmla="*/ 156 h 189"/>
                  <a:gd name="T56" fmla="*/ 90 w 115"/>
                  <a:gd name="T57" fmla="*/ 150 h 189"/>
                  <a:gd name="T58" fmla="*/ 99 w 115"/>
                  <a:gd name="T59" fmla="*/ 147 h 189"/>
                  <a:gd name="T60" fmla="*/ 99 w 115"/>
                  <a:gd name="T61" fmla="*/ 147 h 189"/>
                  <a:gd name="T62" fmla="*/ 99 w 115"/>
                  <a:gd name="T63" fmla="*/ 147 h 189"/>
                  <a:gd name="T64" fmla="*/ 103 w 115"/>
                  <a:gd name="T65" fmla="*/ 141 h 189"/>
                  <a:gd name="T66" fmla="*/ 96 w 115"/>
                  <a:gd name="T67" fmla="*/ 135 h 189"/>
                  <a:gd name="T68" fmla="*/ 93 w 115"/>
                  <a:gd name="T69" fmla="*/ 126 h 189"/>
                  <a:gd name="T70" fmla="*/ 93 w 115"/>
                  <a:gd name="T71" fmla="*/ 120 h 189"/>
                  <a:gd name="T72" fmla="*/ 93 w 115"/>
                  <a:gd name="T73" fmla="*/ 111 h 189"/>
                  <a:gd name="T74" fmla="*/ 99 w 115"/>
                  <a:gd name="T75" fmla="*/ 102 h 189"/>
                  <a:gd name="T76" fmla="*/ 103 w 115"/>
                  <a:gd name="T77" fmla="*/ 96 h 189"/>
                  <a:gd name="T78" fmla="*/ 112 w 115"/>
                  <a:gd name="T79" fmla="*/ 90 h 189"/>
                  <a:gd name="T80" fmla="*/ 115 w 115"/>
                  <a:gd name="T81" fmla="*/ 78 h 189"/>
                  <a:gd name="T82" fmla="*/ 115 w 115"/>
                  <a:gd name="T83" fmla="*/ 48 h 189"/>
                  <a:gd name="T84" fmla="*/ 115 w 115"/>
                  <a:gd name="T85" fmla="*/ 4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 h="189">
                    <a:moveTo>
                      <a:pt x="115" y="48"/>
                    </a:moveTo>
                    <a:cubicBezTo>
                      <a:pt x="27" y="0"/>
                      <a:pt x="27" y="0"/>
                      <a:pt x="27" y="0"/>
                    </a:cubicBezTo>
                    <a:cubicBezTo>
                      <a:pt x="18" y="6"/>
                      <a:pt x="18" y="6"/>
                      <a:pt x="18" y="6"/>
                    </a:cubicBezTo>
                    <a:cubicBezTo>
                      <a:pt x="18" y="12"/>
                      <a:pt x="18" y="18"/>
                      <a:pt x="18" y="21"/>
                    </a:cubicBezTo>
                    <a:cubicBezTo>
                      <a:pt x="18" y="24"/>
                      <a:pt x="24" y="27"/>
                      <a:pt x="21" y="30"/>
                    </a:cubicBezTo>
                    <a:cubicBezTo>
                      <a:pt x="21" y="36"/>
                      <a:pt x="27" y="36"/>
                      <a:pt x="24" y="39"/>
                    </a:cubicBezTo>
                    <a:cubicBezTo>
                      <a:pt x="24" y="45"/>
                      <a:pt x="21" y="48"/>
                      <a:pt x="21" y="51"/>
                    </a:cubicBezTo>
                    <a:cubicBezTo>
                      <a:pt x="21" y="54"/>
                      <a:pt x="21" y="78"/>
                      <a:pt x="21" y="81"/>
                    </a:cubicBezTo>
                    <a:cubicBezTo>
                      <a:pt x="21" y="81"/>
                      <a:pt x="3" y="96"/>
                      <a:pt x="3" y="102"/>
                    </a:cubicBezTo>
                    <a:cubicBezTo>
                      <a:pt x="3" y="108"/>
                      <a:pt x="0" y="105"/>
                      <a:pt x="0" y="111"/>
                    </a:cubicBezTo>
                    <a:cubicBezTo>
                      <a:pt x="0" y="114"/>
                      <a:pt x="0" y="114"/>
                      <a:pt x="0" y="114"/>
                    </a:cubicBezTo>
                    <a:cubicBezTo>
                      <a:pt x="3" y="117"/>
                      <a:pt x="3" y="117"/>
                      <a:pt x="3" y="117"/>
                    </a:cubicBezTo>
                    <a:cubicBezTo>
                      <a:pt x="6" y="120"/>
                      <a:pt x="6" y="123"/>
                      <a:pt x="9" y="123"/>
                    </a:cubicBezTo>
                    <a:cubicBezTo>
                      <a:pt x="12" y="123"/>
                      <a:pt x="15" y="129"/>
                      <a:pt x="15" y="132"/>
                    </a:cubicBezTo>
                    <a:cubicBezTo>
                      <a:pt x="15" y="135"/>
                      <a:pt x="18" y="138"/>
                      <a:pt x="15" y="144"/>
                    </a:cubicBezTo>
                    <a:cubicBezTo>
                      <a:pt x="15" y="150"/>
                      <a:pt x="18" y="156"/>
                      <a:pt x="21" y="156"/>
                    </a:cubicBezTo>
                    <a:cubicBezTo>
                      <a:pt x="24" y="159"/>
                      <a:pt x="21" y="159"/>
                      <a:pt x="15" y="159"/>
                    </a:cubicBezTo>
                    <a:cubicBezTo>
                      <a:pt x="12" y="159"/>
                      <a:pt x="6" y="159"/>
                      <a:pt x="6" y="159"/>
                    </a:cubicBezTo>
                    <a:cubicBezTo>
                      <a:pt x="6" y="162"/>
                      <a:pt x="6" y="165"/>
                      <a:pt x="9" y="168"/>
                    </a:cubicBezTo>
                    <a:cubicBezTo>
                      <a:pt x="15" y="171"/>
                      <a:pt x="18" y="174"/>
                      <a:pt x="18" y="177"/>
                    </a:cubicBezTo>
                    <a:cubicBezTo>
                      <a:pt x="21" y="183"/>
                      <a:pt x="21" y="186"/>
                      <a:pt x="24" y="186"/>
                    </a:cubicBezTo>
                    <a:cubicBezTo>
                      <a:pt x="24" y="189"/>
                      <a:pt x="27" y="189"/>
                      <a:pt x="30" y="186"/>
                    </a:cubicBezTo>
                    <a:cubicBezTo>
                      <a:pt x="33" y="180"/>
                      <a:pt x="33" y="189"/>
                      <a:pt x="36" y="186"/>
                    </a:cubicBezTo>
                    <a:cubicBezTo>
                      <a:pt x="39" y="183"/>
                      <a:pt x="48" y="183"/>
                      <a:pt x="48" y="180"/>
                    </a:cubicBezTo>
                    <a:cubicBezTo>
                      <a:pt x="51" y="180"/>
                      <a:pt x="57" y="177"/>
                      <a:pt x="60" y="177"/>
                    </a:cubicBezTo>
                    <a:cubicBezTo>
                      <a:pt x="60" y="174"/>
                      <a:pt x="57" y="171"/>
                      <a:pt x="60" y="171"/>
                    </a:cubicBezTo>
                    <a:cubicBezTo>
                      <a:pt x="63" y="168"/>
                      <a:pt x="72" y="171"/>
                      <a:pt x="75" y="165"/>
                    </a:cubicBezTo>
                    <a:cubicBezTo>
                      <a:pt x="78" y="162"/>
                      <a:pt x="84" y="156"/>
                      <a:pt x="87" y="156"/>
                    </a:cubicBezTo>
                    <a:cubicBezTo>
                      <a:pt x="87" y="153"/>
                      <a:pt x="87" y="153"/>
                      <a:pt x="90" y="150"/>
                    </a:cubicBezTo>
                    <a:cubicBezTo>
                      <a:pt x="90" y="147"/>
                      <a:pt x="96" y="144"/>
                      <a:pt x="99" y="147"/>
                    </a:cubicBezTo>
                    <a:cubicBezTo>
                      <a:pt x="99" y="147"/>
                      <a:pt x="99" y="147"/>
                      <a:pt x="99" y="147"/>
                    </a:cubicBezTo>
                    <a:cubicBezTo>
                      <a:pt x="99" y="147"/>
                      <a:pt x="99" y="147"/>
                      <a:pt x="99" y="147"/>
                    </a:cubicBezTo>
                    <a:cubicBezTo>
                      <a:pt x="103" y="141"/>
                      <a:pt x="103" y="141"/>
                      <a:pt x="103" y="141"/>
                    </a:cubicBezTo>
                    <a:cubicBezTo>
                      <a:pt x="103" y="141"/>
                      <a:pt x="96" y="138"/>
                      <a:pt x="96" y="135"/>
                    </a:cubicBezTo>
                    <a:cubicBezTo>
                      <a:pt x="96" y="129"/>
                      <a:pt x="96" y="126"/>
                      <a:pt x="93" y="126"/>
                    </a:cubicBezTo>
                    <a:cubicBezTo>
                      <a:pt x="90" y="126"/>
                      <a:pt x="90" y="123"/>
                      <a:pt x="93" y="120"/>
                    </a:cubicBezTo>
                    <a:cubicBezTo>
                      <a:pt x="96" y="117"/>
                      <a:pt x="87" y="111"/>
                      <a:pt x="93" y="111"/>
                    </a:cubicBezTo>
                    <a:cubicBezTo>
                      <a:pt x="99" y="111"/>
                      <a:pt x="93" y="102"/>
                      <a:pt x="99" y="102"/>
                    </a:cubicBezTo>
                    <a:cubicBezTo>
                      <a:pt x="103" y="102"/>
                      <a:pt x="103" y="99"/>
                      <a:pt x="103" y="96"/>
                    </a:cubicBezTo>
                    <a:cubicBezTo>
                      <a:pt x="103" y="93"/>
                      <a:pt x="112" y="90"/>
                      <a:pt x="112" y="90"/>
                    </a:cubicBezTo>
                    <a:cubicBezTo>
                      <a:pt x="115" y="90"/>
                      <a:pt x="115" y="78"/>
                      <a:pt x="115" y="78"/>
                    </a:cubicBezTo>
                    <a:cubicBezTo>
                      <a:pt x="115" y="48"/>
                      <a:pt x="115" y="48"/>
                      <a:pt x="115" y="48"/>
                    </a:cubicBezTo>
                    <a:cubicBezTo>
                      <a:pt x="115" y="48"/>
                      <a:pt x="115" y="48"/>
                      <a:pt x="115"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0" name="Freeform 714"/>
              <p:cNvSpPr>
                <a:spLocks/>
              </p:cNvSpPr>
              <p:nvPr userDrawn="1"/>
            </p:nvSpPr>
            <p:spPr bwMode="auto">
              <a:xfrm>
                <a:off x="3904" y="-1727"/>
                <a:ext cx="192" cy="192"/>
              </a:xfrm>
              <a:custGeom>
                <a:avLst/>
                <a:gdLst>
                  <a:gd name="T0" fmla="*/ 114 w 123"/>
                  <a:gd name="T1" fmla="*/ 27 h 123"/>
                  <a:gd name="T2" fmla="*/ 108 w 123"/>
                  <a:gd name="T3" fmla="*/ 6 h 123"/>
                  <a:gd name="T4" fmla="*/ 105 w 123"/>
                  <a:gd name="T5" fmla="*/ 9 h 123"/>
                  <a:gd name="T6" fmla="*/ 93 w 123"/>
                  <a:gd name="T7" fmla="*/ 6 h 123"/>
                  <a:gd name="T8" fmla="*/ 81 w 123"/>
                  <a:gd name="T9" fmla="*/ 3 h 123"/>
                  <a:gd name="T10" fmla="*/ 57 w 123"/>
                  <a:gd name="T11" fmla="*/ 9 h 123"/>
                  <a:gd name="T12" fmla="*/ 45 w 123"/>
                  <a:gd name="T13" fmla="*/ 9 h 123"/>
                  <a:gd name="T14" fmla="*/ 24 w 123"/>
                  <a:gd name="T15" fmla="*/ 3 h 123"/>
                  <a:gd name="T16" fmla="*/ 6 w 123"/>
                  <a:gd name="T17" fmla="*/ 0 h 123"/>
                  <a:gd name="T18" fmla="*/ 6 w 123"/>
                  <a:gd name="T19" fmla="*/ 3 h 123"/>
                  <a:gd name="T20" fmla="*/ 3 w 123"/>
                  <a:gd name="T21" fmla="*/ 15 h 123"/>
                  <a:gd name="T22" fmla="*/ 3 w 123"/>
                  <a:gd name="T23" fmla="*/ 33 h 123"/>
                  <a:gd name="T24" fmla="*/ 3 w 123"/>
                  <a:gd name="T25" fmla="*/ 120 h 123"/>
                  <a:gd name="T26" fmla="*/ 72 w 123"/>
                  <a:gd name="T27" fmla="*/ 120 h 123"/>
                  <a:gd name="T28" fmla="*/ 75 w 123"/>
                  <a:gd name="T29" fmla="*/ 117 h 123"/>
                  <a:gd name="T30" fmla="*/ 81 w 123"/>
                  <a:gd name="T31" fmla="*/ 120 h 123"/>
                  <a:gd name="T32" fmla="*/ 96 w 123"/>
                  <a:gd name="T33" fmla="*/ 120 h 123"/>
                  <a:gd name="T34" fmla="*/ 102 w 123"/>
                  <a:gd name="T35" fmla="*/ 123 h 123"/>
                  <a:gd name="T36" fmla="*/ 108 w 123"/>
                  <a:gd name="T37" fmla="*/ 117 h 123"/>
                  <a:gd name="T38" fmla="*/ 117 w 123"/>
                  <a:gd name="T39" fmla="*/ 108 h 123"/>
                  <a:gd name="T40" fmla="*/ 123 w 123"/>
                  <a:gd name="T41" fmla="*/ 105 h 123"/>
                  <a:gd name="T42" fmla="*/ 123 w 123"/>
                  <a:gd name="T43" fmla="*/ 105 h 123"/>
                  <a:gd name="T44" fmla="*/ 123 w 123"/>
                  <a:gd name="T45" fmla="*/ 99 h 123"/>
                  <a:gd name="T46" fmla="*/ 117 w 123"/>
                  <a:gd name="T47" fmla="*/ 87 h 123"/>
                  <a:gd name="T48" fmla="*/ 105 w 123"/>
                  <a:gd name="T49" fmla="*/ 63 h 123"/>
                  <a:gd name="T50" fmla="*/ 99 w 123"/>
                  <a:gd name="T51" fmla="*/ 54 h 123"/>
                  <a:gd name="T52" fmla="*/ 93 w 123"/>
                  <a:gd name="T53" fmla="*/ 39 h 123"/>
                  <a:gd name="T54" fmla="*/ 87 w 123"/>
                  <a:gd name="T55" fmla="*/ 18 h 123"/>
                  <a:gd name="T56" fmla="*/ 96 w 123"/>
                  <a:gd name="T57" fmla="*/ 33 h 123"/>
                  <a:gd name="T58" fmla="*/ 105 w 123"/>
                  <a:gd name="T59" fmla="*/ 48 h 123"/>
                  <a:gd name="T60" fmla="*/ 114 w 123"/>
                  <a:gd name="T61" fmla="*/ 33 h 123"/>
                  <a:gd name="T62" fmla="*/ 114 w 123"/>
                  <a:gd name="T63" fmla="*/ 33 h 123"/>
                  <a:gd name="T64" fmla="*/ 114 w 123"/>
                  <a:gd name="T65" fmla="*/ 30 h 123"/>
                  <a:gd name="T66" fmla="*/ 114 w 123"/>
                  <a:gd name="T67" fmla="*/ 27 h 123"/>
                  <a:gd name="T68" fmla="*/ 114 w 123"/>
                  <a:gd name="T69"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3" h="123">
                    <a:moveTo>
                      <a:pt x="114" y="27"/>
                    </a:moveTo>
                    <a:cubicBezTo>
                      <a:pt x="108" y="6"/>
                      <a:pt x="108" y="6"/>
                      <a:pt x="108" y="6"/>
                    </a:cubicBezTo>
                    <a:cubicBezTo>
                      <a:pt x="108" y="6"/>
                      <a:pt x="105" y="6"/>
                      <a:pt x="105" y="9"/>
                    </a:cubicBezTo>
                    <a:cubicBezTo>
                      <a:pt x="105" y="9"/>
                      <a:pt x="99" y="6"/>
                      <a:pt x="93" y="6"/>
                    </a:cubicBezTo>
                    <a:cubicBezTo>
                      <a:pt x="90" y="9"/>
                      <a:pt x="84" y="6"/>
                      <a:pt x="81" y="3"/>
                    </a:cubicBezTo>
                    <a:cubicBezTo>
                      <a:pt x="75" y="0"/>
                      <a:pt x="60" y="6"/>
                      <a:pt x="57" y="9"/>
                    </a:cubicBezTo>
                    <a:cubicBezTo>
                      <a:pt x="54" y="12"/>
                      <a:pt x="48" y="12"/>
                      <a:pt x="45" y="9"/>
                    </a:cubicBezTo>
                    <a:cubicBezTo>
                      <a:pt x="39" y="6"/>
                      <a:pt x="33" y="3"/>
                      <a:pt x="24" y="3"/>
                    </a:cubicBezTo>
                    <a:cubicBezTo>
                      <a:pt x="15" y="3"/>
                      <a:pt x="9" y="0"/>
                      <a:pt x="6" y="0"/>
                    </a:cubicBezTo>
                    <a:cubicBezTo>
                      <a:pt x="6" y="0"/>
                      <a:pt x="6" y="0"/>
                      <a:pt x="6" y="3"/>
                    </a:cubicBezTo>
                    <a:cubicBezTo>
                      <a:pt x="3" y="9"/>
                      <a:pt x="6" y="12"/>
                      <a:pt x="3" y="15"/>
                    </a:cubicBezTo>
                    <a:cubicBezTo>
                      <a:pt x="0" y="21"/>
                      <a:pt x="3" y="24"/>
                      <a:pt x="3" y="33"/>
                    </a:cubicBezTo>
                    <a:cubicBezTo>
                      <a:pt x="3" y="39"/>
                      <a:pt x="3" y="87"/>
                      <a:pt x="3" y="120"/>
                    </a:cubicBezTo>
                    <a:cubicBezTo>
                      <a:pt x="72" y="120"/>
                      <a:pt x="72" y="120"/>
                      <a:pt x="72" y="120"/>
                    </a:cubicBezTo>
                    <a:cubicBezTo>
                      <a:pt x="75" y="117"/>
                      <a:pt x="75" y="117"/>
                      <a:pt x="75" y="117"/>
                    </a:cubicBezTo>
                    <a:cubicBezTo>
                      <a:pt x="78" y="114"/>
                      <a:pt x="81" y="120"/>
                      <a:pt x="81" y="120"/>
                    </a:cubicBezTo>
                    <a:cubicBezTo>
                      <a:pt x="96" y="120"/>
                      <a:pt x="96" y="120"/>
                      <a:pt x="96" y="120"/>
                    </a:cubicBezTo>
                    <a:cubicBezTo>
                      <a:pt x="96" y="120"/>
                      <a:pt x="99" y="123"/>
                      <a:pt x="102" y="123"/>
                    </a:cubicBezTo>
                    <a:cubicBezTo>
                      <a:pt x="105" y="123"/>
                      <a:pt x="105" y="117"/>
                      <a:pt x="108" y="117"/>
                    </a:cubicBezTo>
                    <a:cubicBezTo>
                      <a:pt x="114" y="117"/>
                      <a:pt x="114" y="108"/>
                      <a:pt x="117" y="108"/>
                    </a:cubicBezTo>
                    <a:cubicBezTo>
                      <a:pt x="120" y="108"/>
                      <a:pt x="120" y="108"/>
                      <a:pt x="123" y="105"/>
                    </a:cubicBezTo>
                    <a:cubicBezTo>
                      <a:pt x="123" y="105"/>
                      <a:pt x="123" y="105"/>
                      <a:pt x="123" y="105"/>
                    </a:cubicBezTo>
                    <a:cubicBezTo>
                      <a:pt x="123" y="102"/>
                      <a:pt x="123" y="102"/>
                      <a:pt x="123" y="99"/>
                    </a:cubicBezTo>
                    <a:cubicBezTo>
                      <a:pt x="123" y="93"/>
                      <a:pt x="120" y="96"/>
                      <a:pt x="117" y="87"/>
                    </a:cubicBezTo>
                    <a:cubicBezTo>
                      <a:pt x="114" y="81"/>
                      <a:pt x="105" y="69"/>
                      <a:pt x="105" y="63"/>
                    </a:cubicBezTo>
                    <a:cubicBezTo>
                      <a:pt x="105" y="60"/>
                      <a:pt x="99" y="57"/>
                      <a:pt x="99" y="54"/>
                    </a:cubicBezTo>
                    <a:cubicBezTo>
                      <a:pt x="99" y="48"/>
                      <a:pt x="99" y="48"/>
                      <a:pt x="93" y="39"/>
                    </a:cubicBezTo>
                    <a:cubicBezTo>
                      <a:pt x="87" y="33"/>
                      <a:pt x="87" y="21"/>
                      <a:pt x="87" y="18"/>
                    </a:cubicBezTo>
                    <a:cubicBezTo>
                      <a:pt x="90" y="18"/>
                      <a:pt x="93" y="30"/>
                      <a:pt x="96" y="33"/>
                    </a:cubicBezTo>
                    <a:cubicBezTo>
                      <a:pt x="96" y="39"/>
                      <a:pt x="102" y="48"/>
                      <a:pt x="105" y="48"/>
                    </a:cubicBezTo>
                    <a:cubicBezTo>
                      <a:pt x="111" y="48"/>
                      <a:pt x="111" y="33"/>
                      <a:pt x="114" y="33"/>
                    </a:cubicBezTo>
                    <a:cubicBezTo>
                      <a:pt x="114" y="33"/>
                      <a:pt x="114" y="33"/>
                      <a:pt x="114" y="33"/>
                    </a:cubicBezTo>
                    <a:cubicBezTo>
                      <a:pt x="114" y="30"/>
                      <a:pt x="114" y="30"/>
                      <a:pt x="114" y="30"/>
                    </a:cubicBezTo>
                    <a:cubicBezTo>
                      <a:pt x="114" y="27"/>
                      <a:pt x="114" y="27"/>
                      <a:pt x="114" y="27"/>
                    </a:cubicBezTo>
                    <a:cubicBezTo>
                      <a:pt x="114" y="27"/>
                      <a:pt x="114" y="27"/>
                      <a:pt x="114"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1" name="Freeform 715"/>
              <p:cNvSpPr>
                <a:spLocks/>
              </p:cNvSpPr>
              <p:nvPr userDrawn="1"/>
            </p:nvSpPr>
            <p:spPr bwMode="auto">
              <a:xfrm>
                <a:off x="3904" y="-1727"/>
                <a:ext cx="192" cy="192"/>
              </a:xfrm>
              <a:custGeom>
                <a:avLst/>
                <a:gdLst>
                  <a:gd name="T0" fmla="*/ 114 w 123"/>
                  <a:gd name="T1" fmla="*/ 27 h 123"/>
                  <a:gd name="T2" fmla="*/ 108 w 123"/>
                  <a:gd name="T3" fmla="*/ 6 h 123"/>
                  <a:gd name="T4" fmla="*/ 105 w 123"/>
                  <a:gd name="T5" fmla="*/ 9 h 123"/>
                  <a:gd name="T6" fmla="*/ 93 w 123"/>
                  <a:gd name="T7" fmla="*/ 6 h 123"/>
                  <a:gd name="T8" fmla="*/ 81 w 123"/>
                  <a:gd name="T9" fmla="*/ 3 h 123"/>
                  <a:gd name="T10" fmla="*/ 57 w 123"/>
                  <a:gd name="T11" fmla="*/ 9 h 123"/>
                  <a:gd name="T12" fmla="*/ 45 w 123"/>
                  <a:gd name="T13" fmla="*/ 9 h 123"/>
                  <a:gd name="T14" fmla="*/ 24 w 123"/>
                  <a:gd name="T15" fmla="*/ 3 h 123"/>
                  <a:gd name="T16" fmla="*/ 6 w 123"/>
                  <a:gd name="T17" fmla="*/ 0 h 123"/>
                  <a:gd name="T18" fmla="*/ 6 w 123"/>
                  <a:gd name="T19" fmla="*/ 3 h 123"/>
                  <a:gd name="T20" fmla="*/ 3 w 123"/>
                  <a:gd name="T21" fmla="*/ 15 h 123"/>
                  <a:gd name="T22" fmla="*/ 3 w 123"/>
                  <a:gd name="T23" fmla="*/ 33 h 123"/>
                  <a:gd name="T24" fmla="*/ 3 w 123"/>
                  <a:gd name="T25" fmla="*/ 120 h 123"/>
                  <a:gd name="T26" fmla="*/ 72 w 123"/>
                  <a:gd name="T27" fmla="*/ 120 h 123"/>
                  <a:gd name="T28" fmla="*/ 75 w 123"/>
                  <a:gd name="T29" fmla="*/ 117 h 123"/>
                  <a:gd name="T30" fmla="*/ 81 w 123"/>
                  <a:gd name="T31" fmla="*/ 120 h 123"/>
                  <a:gd name="T32" fmla="*/ 96 w 123"/>
                  <a:gd name="T33" fmla="*/ 120 h 123"/>
                  <a:gd name="T34" fmla="*/ 102 w 123"/>
                  <a:gd name="T35" fmla="*/ 123 h 123"/>
                  <a:gd name="T36" fmla="*/ 108 w 123"/>
                  <a:gd name="T37" fmla="*/ 117 h 123"/>
                  <a:gd name="T38" fmla="*/ 117 w 123"/>
                  <a:gd name="T39" fmla="*/ 108 h 123"/>
                  <a:gd name="T40" fmla="*/ 123 w 123"/>
                  <a:gd name="T41" fmla="*/ 105 h 123"/>
                  <a:gd name="T42" fmla="*/ 123 w 123"/>
                  <a:gd name="T43" fmla="*/ 105 h 123"/>
                  <a:gd name="T44" fmla="*/ 123 w 123"/>
                  <a:gd name="T45" fmla="*/ 99 h 123"/>
                  <a:gd name="T46" fmla="*/ 117 w 123"/>
                  <a:gd name="T47" fmla="*/ 87 h 123"/>
                  <a:gd name="T48" fmla="*/ 105 w 123"/>
                  <a:gd name="T49" fmla="*/ 63 h 123"/>
                  <a:gd name="T50" fmla="*/ 99 w 123"/>
                  <a:gd name="T51" fmla="*/ 54 h 123"/>
                  <a:gd name="T52" fmla="*/ 93 w 123"/>
                  <a:gd name="T53" fmla="*/ 39 h 123"/>
                  <a:gd name="T54" fmla="*/ 87 w 123"/>
                  <a:gd name="T55" fmla="*/ 18 h 123"/>
                  <a:gd name="T56" fmla="*/ 96 w 123"/>
                  <a:gd name="T57" fmla="*/ 33 h 123"/>
                  <a:gd name="T58" fmla="*/ 105 w 123"/>
                  <a:gd name="T59" fmla="*/ 48 h 123"/>
                  <a:gd name="T60" fmla="*/ 114 w 123"/>
                  <a:gd name="T61" fmla="*/ 33 h 123"/>
                  <a:gd name="T62" fmla="*/ 114 w 123"/>
                  <a:gd name="T63" fmla="*/ 33 h 123"/>
                  <a:gd name="T64" fmla="*/ 114 w 123"/>
                  <a:gd name="T65" fmla="*/ 30 h 123"/>
                  <a:gd name="T66" fmla="*/ 114 w 123"/>
                  <a:gd name="T67" fmla="*/ 27 h 123"/>
                  <a:gd name="T68" fmla="*/ 114 w 123"/>
                  <a:gd name="T69"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3" h="123">
                    <a:moveTo>
                      <a:pt x="114" y="27"/>
                    </a:moveTo>
                    <a:cubicBezTo>
                      <a:pt x="108" y="6"/>
                      <a:pt x="108" y="6"/>
                      <a:pt x="108" y="6"/>
                    </a:cubicBezTo>
                    <a:cubicBezTo>
                      <a:pt x="108" y="6"/>
                      <a:pt x="105" y="6"/>
                      <a:pt x="105" y="9"/>
                    </a:cubicBezTo>
                    <a:cubicBezTo>
                      <a:pt x="105" y="9"/>
                      <a:pt x="99" y="6"/>
                      <a:pt x="93" y="6"/>
                    </a:cubicBezTo>
                    <a:cubicBezTo>
                      <a:pt x="90" y="9"/>
                      <a:pt x="84" y="6"/>
                      <a:pt x="81" y="3"/>
                    </a:cubicBezTo>
                    <a:cubicBezTo>
                      <a:pt x="75" y="0"/>
                      <a:pt x="60" y="6"/>
                      <a:pt x="57" y="9"/>
                    </a:cubicBezTo>
                    <a:cubicBezTo>
                      <a:pt x="54" y="12"/>
                      <a:pt x="48" y="12"/>
                      <a:pt x="45" y="9"/>
                    </a:cubicBezTo>
                    <a:cubicBezTo>
                      <a:pt x="39" y="6"/>
                      <a:pt x="33" y="3"/>
                      <a:pt x="24" y="3"/>
                    </a:cubicBezTo>
                    <a:cubicBezTo>
                      <a:pt x="15" y="3"/>
                      <a:pt x="9" y="0"/>
                      <a:pt x="6" y="0"/>
                    </a:cubicBezTo>
                    <a:cubicBezTo>
                      <a:pt x="6" y="0"/>
                      <a:pt x="6" y="0"/>
                      <a:pt x="6" y="3"/>
                    </a:cubicBezTo>
                    <a:cubicBezTo>
                      <a:pt x="3" y="9"/>
                      <a:pt x="6" y="12"/>
                      <a:pt x="3" y="15"/>
                    </a:cubicBezTo>
                    <a:cubicBezTo>
                      <a:pt x="0" y="21"/>
                      <a:pt x="3" y="24"/>
                      <a:pt x="3" y="33"/>
                    </a:cubicBezTo>
                    <a:cubicBezTo>
                      <a:pt x="3" y="39"/>
                      <a:pt x="3" y="87"/>
                      <a:pt x="3" y="120"/>
                    </a:cubicBezTo>
                    <a:cubicBezTo>
                      <a:pt x="72" y="120"/>
                      <a:pt x="72" y="120"/>
                      <a:pt x="72" y="120"/>
                    </a:cubicBezTo>
                    <a:cubicBezTo>
                      <a:pt x="75" y="117"/>
                      <a:pt x="75" y="117"/>
                      <a:pt x="75" y="117"/>
                    </a:cubicBezTo>
                    <a:cubicBezTo>
                      <a:pt x="78" y="114"/>
                      <a:pt x="81" y="120"/>
                      <a:pt x="81" y="120"/>
                    </a:cubicBezTo>
                    <a:cubicBezTo>
                      <a:pt x="96" y="120"/>
                      <a:pt x="96" y="120"/>
                      <a:pt x="96" y="120"/>
                    </a:cubicBezTo>
                    <a:cubicBezTo>
                      <a:pt x="96" y="120"/>
                      <a:pt x="99" y="123"/>
                      <a:pt x="102" y="123"/>
                    </a:cubicBezTo>
                    <a:cubicBezTo>
                      <a:pt x="105" y="123"/>
                      <a:pt x="105" y="117"/>
                      <a:pt x="108" y="117"/>
                    </a:cubicBezTo>
                    <a:cubicBezTo>
                      <a:pt x="114" y="117"/>
                      <a:pt x="114" y="108"/>
                      <a:pt x="117" y="108"/>
                    </a:cubicBezTo>
                    <a:cubicBezTo>
                      <a:pt x="120" y="108"/>
                      <a:pt x="120" y="108"/>
                      <a:pt x="123" y="105"/>
                    </a:cubicBezTo>
                    <a:cubicBezTo>
                      <a:pt x="123" y="105"/>
                      <a:pt x="123" y="105"/>
                      <a:pt x="123" y="105"/>
                    </a:cubicBezTo>
                    <a:cubicBezTo>
                      <a:pt x="123" y="102"/>
                      <a:pt x="123" y="102"/>
                      <a:pt x="123" y="99"/>
                    </a:cubicBezTo>
                    <a:cubicBezTo>
                      <a:pt x="123" y="93"/>
                      <a:pt x="120" y="96"/>
                      <a:pt x="117" y="87"/>
                    </a:cubicBezTo>
                    <a:cubicBezTo>
                      <a:pt x="114" y="81"/>
                      <a:pt x="105" y="69"/>
                      <a:pt x="105" y="63"/>
                    </a:cubicBezTo>
                    <a:cubicBezTo>
                      <a:pt x="105" y="60"/>
                      <a:pt x="99" y="57"/>
                      <a:pt x="99" y="54"/>
                    </a:cubicBezTo>
                    <a:cubicBezTo>
                      <a:pt x="99" y="48"/>
                      <a:pt x="99" y="48"/>
                      <a:pt x="93" y="39"/>
                    </a:cubicBezTo>
                    <a:cubicBezTo>
                      <a:pt x="87" y="33"/>
                      <a:pt x="87" y="21"/>
                      <a:pt x="87" y="18"/>
                    </a:cubicBezTo>
                    <a:cubicBezTo>
                      <a:pt x="90" y="18"/>
                      <a:pt x="93" y="30"/>
                      <a:pt x="96" y="33"/>
                    </a:cubicBezTo>
                    <a:cubicBezTo>
                      <a:pt x="96" y="39"/>
                      <a:pt x="102" y="48"/>
                      <a:pt x="105" y="48"/>
                    </a:cubicBezTo>
                    <a:cubicBezTo>
                      <a:pt x="111" y="48"/>
                      <a:pt x="111" y="33"/>
                      <a:pt x="114" y="33"/>
                    </a:cubicBezTo>
                    <a:cubicBezTo>
                      <a:pt x="114" y="33"/>
                      <a:pt x="114" y="33"/>
                      <a:pt x="114" y="33"/>
                    </a:cubicBezTo>
                    <a:cubicBezTo>
                      <a:pt x="114" y="30"/>
                      <a:pt x="114" y="30"/>
                      <a:pt x="114" y="30"/>
                    </a:cubicBezTo>
                    <a:cubicBezTo>
                      <a:pt x="114" y="27"/>
                      <a:pt x="114" y="27"/>
                      <a:pt x="114" y="27"/>
                    </a:cubicBezTo>
                    <a:cubicBezTo>
                      <a:pt x="114" y="27"/>
                      <a:pt x="114" y="27"/>
                      <a:pt x="114"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2" name="Freeform 716"/>
              <p:cNvSpPr>
                <a:spLocks/>
              </p:cNvSpPr>
              <p:nvPr userDrawn="1"/>
            </p:nvSpPr>
            <p:spPr bwMode="auto">
              <a:xfrm>
                <a:off x="3634" y="-1184"/>
                <a:ext cx="103" cy="114"/>
              </a:xfrm>
              <a:custGeom>
                <a:avLst/>
                <a:gdLst>
                  <a:gd name="T0" fmla="*/ 33 w 66"/>
                  <a:gd name="T1" fmla="*/ 67 h 73"/>
                  <a:gd name="T2" fmla="*/ 36 w 66"/>
                  <a:gd name="T3" fmla="*/ 58 h 73"/>
                  <a:gd name="T4" fmla="*/ 42 w 66"/>
                  <a:gd name="T5" fmla="*/ 55 h 73"/>
                  <a:gd name="T6" fmla="*/ 48 w 66"/>
                  <a:gd name="T7" fmla="*/ 49 h 73"/>
                  <a:gd name="T8" fmla="*/ 54 w 66"/>
                  <a:gd name="T9" fmla="*/ 55 h 73"/>
                  <a:gd name="T10" fmla="*/ 60 w 66"/>
                  <a:gd name="T11" fmla="*/ 58 h 73"/>
                  <a:gd name="T12" fmla="*/ 66 w 66"/>
                  <a:gd name="T13" fmla="*/ 43 h 73"/>
                  <a:gd name="T14" fmla="*/ 63 w 66"/>
                  <a:gd name="T15" fmla="*/ 31 h 73"/>
                  <a:gd name="T16" fmla="*/ 60 w 66"/>
                  <a:gd name="T17" fmla="*/ 21 h 73"/>
                  <a:gd name="T18" fmla="*/ 60 w 66"/>
                  <a:gd name="T19" fmla="*/ 12 h 73"/>
                  <a:gd name="T20" fmla="*/ 51 w 66"/>
                  <a:gd name="T21" fmla="*/ 12 h 73"/>
                  <a:gd name="T22" fmla="*/ 51 w 66"/>
                  <a:gd name="T23" fmla="*/ 0 h 73"/>
                  <a:gd name="T24" fmla="*/ 33 w 66"/>
                  <a:gd name="T25" fmla="*/ 0 h 73"/>
                  <a:gd name="T26" fmla="*/ 33 w 66"/>
                  <a:gd name="T27" fmla="*/ 0 h 73"/>
                  <a:gd name="T28" fmla="*/ 33 w 66"/>
                  <a:gd name="T29" fmla="*/ 15 h 73"/>
                  <a:gd name="T30" fmla="*/ 18 w 66"/>
                  <a:gd name="T31" fmla="*/ 15 h 73"/>
                  <a:gd name="T32" fmla="*/ 12 w 66"/>
                  <a:gd name="T33" fmla="*/ 15 h 73"/>
                  <a:gd name="T34" fmla="*/ 9 w 66"/>
                  <a:gd name="T35" fmla="*/ 18 h 73"/>
                  <a:gd name="T36" fmla="*/ 15 w 66"/>
                  <a:gd name="T37" fmla="*/ 25 h 73"/>
                  <a:gd name="T38" fmla="*/ 9 w 66"/>
                  <a:gd name="T39" fmla="*/ 31 h 73"/>
                  <a:gd name="T40" fmla="*/ 3 w 66"/>
                  <a:gd name="T41" fmla="*/ 37 h 73"/>
                  <a:gd name="T42" fmla="*/ 9 w 66"/>
                  <a:gd name="T43" fmla="*/ 46 h 73"/>
                  <a:gd name="T44" fmla="*/ 18 w 66"/>
                  <a:gd name="T45" fmla="*/ 58 h 73"/>
                  <a:gd name="T46" fmla="*/ 27 w 66"/>
                  <a:gd name="T47" fmla="*/ 73 h 73"/>
                  <a:gd name="T48" fmla="*/ 33 w 66"/>
                  <a:gd name="T49"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73">
                    <a:moveTo>
                      <a:pt x="33" y="67"/>
                    </a:moveTo>
                    <a:cubicBezTo>
                      <a:pt x="39" y="67"/>
                      <a:pt x="36" y="64"/>
                      <a:pt x="36" y="58"/>
                    </a:cubicBezTo>
                    <a:cubicBezTo>
                      <a:pt x="33" y="55"/>
                      <a:pt x="39" y="55"/>
                      <a:pt x="42" y="55"/>
                    </a:cubicBezTo>
                    <a:cubicBezTo>
                      <a:pt x="45" y="55"/>
                      <a:pt x="45" y="49"/>
                      <a:pt x="48" y="49"/>
                    </a:cubicBezTo>
                    <a:cubicBezTo>
                      <a:pt x="48" y="49"/>
                      <a:pt x="51" y="55"/>
                      <a:pt x="54" y="55"/>
                    </a:cubicBezTo>
                    <a:cubicBezTo>
                      <a:pt x="57" y="55"/>
                      <a:pt x="57" y="58"/>
                      <a:pt x="60" y="58"/>
                    </a:cubicBezTo>
                    <a:cubicBezTo>
                      <a:pt x="66" y="55"/>
                      <a:pt x="66" y="49"/>
                      <a:pt x="66" y="43"/>
                    </a:cubicBezTo>
                    <a:cubicBezTo>
                      <a:pt x="66" y="37"/>
                      <a:pt x="66" y="34"/>
                      <a:pt x="63" y="31"/>
                    </a:cubicBezTo>
                    <a:cubicBezTo>
                      <a:pt x="57" y="28"/>
                      <a:pt x="57" y="25"/>
                      <a:pt x="60" y="21"/>
                    </a:cubicBezTo>
                    <a:cubicBezTo>
                      <a:pt x="63" y="18"/>
                      <a:pt x="66" y="15"/>
                      <a:pt x="60" y="12"/>
                    </a:cubicBezTo>
                    <a:cubicBezTo>
                      <a:pt x="57" y="9"/>
                      <a:pt x="51" y="15"/>
                      <a:pt x="51" y="12"/>
                    </a:cubicBezTo>
                    <a:cubicBezTo>
                      <a:pt x="51" y="12"/>
                      <a:pt x="51" y="6"/>
                      <a:pt x="51" y="0"/>
                    </a:cubicBezTo>
                    <a:cubicBezTo>
                      <a:pt x="42" y="0"/>
                      <a:pt x="33" y="0"/>
                      <a:pt x="33" y="0"/>
                    </a:cubicBezTo>
                    <a:cubicBezTo>
                      <a:pt x="33" y="0"/>
                      <a:pt x="33" y="0"/>
                      <a:pt x="33" y="0"/>
                    </a:cubicBezTo>
                    <a:cubicBezTo>
                      <a:pt x="33" y="9"/>
                      <a:pt x="33" y="15"/>
                      <a:pt x="33" y="15"/>
                    </a:cubicBezTo>
                    <a:cubicBezTo>
                      <a:pt x="18" y="15"/>
                      <a:pt x="18" y="15"/>
                      <a:pt x="18" y="15"/>
                    </a:cubicBezTo>
                    <a:cubicBezTo>
                      <a:pt x="15" y="15"/>
                      <a:pt x="15" y="15"/>
                      <a:pt x="12" y="15"/>
                    </a:cubicBezTo>
                    <a:cubicBezTo>
                      <a:pt x="12" y="18"/>
                      <a:pt x="9" y="18"/>
                      <a:pt x="9" y="18"/>
                    </a:cubicBezTo>
                    <a:cubicBezTo>
                      <a:pt x="9" y="21"/>
                      <a:pt x="12" y="21"/>
                      <a:pt x="15" y="25"/>
                    </a:cubicBezTo>
                    <a:cubicBezTo>
                      <a:pt x="15" y="28"/>
                      <a:pt x="6" y="28"/>
                      <a:pt x="9" y="31"/>
                    </a:cubicBezTo>
                    <a:cubicBezTo>
                      <a:pt x="9" y="34"/>
                      <a:pt x="6" y="37"/>
                      <a:pt x="3" y="37"/>
                    </a:cubicBezTo>
                    <a:cubicBezTo>
                      <a:pt x="0" y="40"/>
                      <a:pt x="9" y="46"/>
                      <a:pt x="9" y="46"/>
                    </a:cubicBezTo>
                    <a:cubicBezTo>
                      <a:pt x="9" y="49"/>
                      <a:pt x="9" y="52"/>
                      <a:pt x="18" y="58"/>
                    </a:cubicBezTo>
                    <a:cubicBezTo>
                      <a:pt x="24" y="64"/>
                      <a:pt x="21" y="64"/>
                      <a:pt x="27" y="73"/>
                    </a:cubicBezTo>
                    <a:cubicBezTo>
                      <a:pt x="30" y="70"/>
                      <a:pt x="30" y="67"/>
                      <a:pt x="33" y="6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3" name="Freeform 717"/>
              <p:cNvSpPr>
                <a:spLocks/>
              </p:cNvSpPr>
              <p:nvPr userDrawn="1"/>
            </p:nvSpPr>
            <p:spPr bwMode="auto">
              <a:xfrm>
                <a:off x="3634" y="-1184"/>
                <a:ext cx="103" cy="114"/>
              </a:xfrm>
              <a:custGeom>
                <a:avLst/>
                <a:gdLst>
                  <a:gd name="T0" fmla="*/ 33 w 66"/>
                  <a:gd name="T1" fmla="*/ 67 h 73"/>
                  <a:gd name="T2" fmla="*/ 36 w 66"/>
                  <a:gd name="T3" fmla="*/ 58 h 73"/>
                  <a:gd name="T4" fmla="*/ 42 w 66"/>
                  <a:gd name="T5" fmla="*/ 55 h 73"/>
                  <a:gd name="T6" fmla="*/ 48 w 66"/>
                  <a:gd name="T7" fmla="*/ 49 h 73"/>
                  <a:gd name="T8" fmla="*/ 54 w 66"/>
                  <a:gd name="T9" fmla="*/ 55 h 73"/>
                  <a:gd name="T10" fmla="*/ 60 w 66"/>
                  <a:gd name="T11" fmla="*/ 58 h 73"/>
                  <a:gd name="T12" fmla="*/ 66 w 66"/>
                  <a:gd name="T13" fmla="*/ 43 h 73"/>
                  <a:gd name="T14" fmla="*/ 63 w 66"/>
                  <a:gd name="T15" fmla="*/ 31 h 73"/>
                  <a:gd name="T16" fmla="*/ 60 w 66"/>
                  <a:gd name="T17" fmla="*/ 21 h 73"/>
                  <a:gd name="T18" fmla="*/ 60 w 66"/>
                  <a:gd name="T19" fmla="*/ 12 h 73"/>
                  <a:gd name="T20" fmla="*/ 51 w 66"/>
                  <a:gd name="T21" fmla="*/ 12 h 73"/>
                  <a:gd name="T22" fmla="*/ 51 w 66"/>
                  <a:gd name="T23" fmla="*/ 0 h 73"/>
                  <a:gd name="T24" fmla="*/ 33 w 66"/>
                  <a:gd name="T25" fmla="*/ 0 h 73"/>
                  <a:gd name="T26" fmla="*/ 33 w 66"/>
                  <a:gd name="T27" fmla="*/ 0 h 73"/>
                  <a:gd name="T28" fmla="*/ 33 w 66"/>
                  <a:gd name="T29" fmla="*/ 15 h 73"/>
                  <a:gd name="T30" fmla="*/ 18 w 66"/>
                  <a:gd name="T31" fmla="*/ 15 h 73"/>
                  <a:gd name="T32" fmla="*/ 12 w 66"/>
                  <a:gd name="T33" fmla="*/ 15 h 73"/>
                  <a:gd name="T34" fmla="*/ 9 w 66"/>
                  <a:gd name="T35" fmla="*/ 18 h 73"/>
                  <a:gd name="T36" fmla="*/ 15 w 66"/>
                  <a:gd name="T37" fmla="*/ 25 h 73"/>
                  <a:gd name="T38" fmla="*/ 9 w 66"/>
                  <a:gd name="T39" fmla="*/ 31 h 73"/>
                  <a:gd name="T40" fmla="*/ 3 w 66"/>
                  <a:gd name="T41" fmla="*/ 37 h 73"/>
                  <a:gd name="T42" fmla="*/ 9 w 66"/>
                  <a:gd name="T43" fmla="*/ 46 h 73"/>
                  <a:gd name="T44" fmla="*/ 18 w 66"/>
                  <a:gd name="T45" fmla="*/ 58 h 73"/>
                  <a:gd name="T46" fmla="*/ 27 w 66"/>
                  <a:gd name="T47" fmla="*/ 73 h 73"/>
                  <a:gd name="T48" fmla="*/ 33 w 66"/>
                  <a:gd name="T49"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73">
                    <a:moveTo>
                      <a:pt x="33" y="67"/>
                    </a:moveTo>
                    <a:cubicBezTo>
                      <a:pt x="39" y="67"/>
                      <a:pt x="36" y="64"/>
                      <a:pt x="36" y="58"/>
                    </a:cubicBezTo>
                    <a:cubicBezTo>
                      <a:pt x="33" y="55"/>
                      <a:pt x="39" y="55"/>
                      <a:pt x="42" y="55"/>
                    </a:cubicBezTo>
                    <a:cubicBezTo>
                      <a:pt x="45" y="55"/>
                      <a:pt x="45" y="49"/>
                      <a:pt x="48" y="49"/>
                    </a:cubicBezTo>
                    <a:cubicBezTo>
                      <a:pt x="48" y="49"/>
                      <a:pt x="51" y="55"/>
                      <a:pt x="54" y="55"/>
                    </a:cubicBezTo>
                    <a:cubicBezTo>
                      <a:pt x="57" y="55"/>
                      <a:pt x="57" y="58"/>
                      <a:pt x="60" y="58"/>
                    </a:cubicBezTo>
                    <a:cubicBezTo>
                      <a:pt x="66" y="55"/>
                      <a:pt x="66" y="49"/>
                      <a:pt x="66" y="43"/>
                    </a:cubicBezTo>
                    <a:cubicBezTo>
                      <a:pt x="66" y="37"/>
                      <a:pt x="66" y="34"/>
                      <a:pt x="63" y="31"/>
                    </a:cubicBezTo>
                    <a:cubicBezTo>
                      <a:pt x="57" y="28"/>
                      <a:pt x="57" y="25"/>
                      <a:pt x="60" y="21"/>
                    </a:cubicBezTo>
                    <a:cubicBezTo>
                      <a:pt x="63" y="18"/>
                      <a:pt x="66" y="15"/>
                      <a:pt x="60" y="12"/>
                    </a:cubicBezTo>
                    <a:cubicBezTo>
                      <a:pt x="57" y="9"/>
                      <a:pt x="51" y="15"/>
                      <a:pt x="51" y="12"/>
                    </a:cubicBezTo>
                    <a:cubicBezTo>
                      <a:pt x="51" y="12"/>
                      <a:pt x="51" y="6"/>
                      <a:pt x="51" y="0"/>
                    </a:cubicBezTo>
                    <a:cubicBezTo>
                      <a:pt x="42" y="0"/>
                      <a:pt x="33" y="0"/>
                      <a:pt x="33" y="0"/>
                    </a:cubicBezTo>
                    <a:cubicBezTo>
                      <a:pt x="33" y="0"/>
                      <a:pt x="33" y="0"/>
                      <a:pt x="33" y="0"/>
                    </a:cubicBezTo>
                    <a:cubicBezTo>
                      <a:pt x="33" y="9"/>
                      <a:pt x="33" y="15"/>
                      <a:pt x="33" y="15"/>
                    </a:cubicBezTo>
                    <a:cubicBezTo>
                      <a:pt x="18" y="15"/>
                      <a:pt x="18" y="15"/>
                      <a:pt x="18" y="15"/>
                    </a:cubicBezTo>
                    <a:cubicBezTo>
                      <a:pt x="15" y="15"/>
                      <a:pt x="15" y="15"/>
                      <a:pt x="12" y="15"/>
                    </a:cubicBezTo>
                    <a:cubicBezTo>
                      <a:pt x="12" y="18"/>
                      <a:pt x="9" y="18"/>
                      <a:pt x="9" y="18"/>
                    </a:cubicBezTo>
                    <a:cubicBezTo>
                      <a:pt x="9" y="21"/>
                      <a:pt x="12" y="21"/>
                      <a:pt x="15" y="25"/>
                    </a:cubicBezTo>
                    <a:cubicBezTo>
                      <a:pt x="15" y="28"/>
                      <a:pt x="6" y="28"/>
                      <a:pt x="9" y="31"/>
                    </a:cubicBezTo>
                    <a:cubicBezTo>
                      <a:pt x="9" y="34"/>
                      <a:pt x="6" y="37"/>
                      <a:pt x="3" y="37"/>
                    </a:cubicBezTo>
                    <a:cubicBezTo>
                      <a:pt x="0" y="40"/>
                      <a:pt x="9" y="46"/>
                      <a:pt x="9" y="46"/>
                    </a:cubicBezTo>
                    <a:cubicBezTo>
                      <a:pt x="9" y="49"/>
                      <a:pt x="9" y="52"/>
                      <a:pt x="18" y="58"/>
                    </a:cubicBezTo>
                    <a:cubicBezTo>
                      <a:pt x="24" y="64"/>
                      <a:pt x="21" y="64"/>
                      <a:pt x="27" y="73"/>
                    </a:cubicBezTo>
                    <a:cubicBezTo>
                      <a:pt x="30" y="70"/>
                      <a:pt x="30" y="67"/>
                      <a:pt x="33" y="6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4" name="Freeform 718"/>
              <p:cNvSpPr>
                <a:spLocks/>
              </p:cNvSpPr>
              <p:nvPr userDrawn="1"/>
            </p:nvSpPr>
            <p:spPr bwMode="auto">
              <a:xfrm>
                <a:off x="3648" y="-1184"/>
                <a:ext cx="38" cy="24"/>
              </a:xfrm>
              <a:custGeom>
                <a:avLst/>
                <a:gdLst>
                  <a:gd name="T0" fmla="*/ 24 w 24"/>
                  <a:gd name="T1" fmla="*/ 15 h 15"/>
                  <a:gd name="T2" fmla="*/ 24 w 24"/>
                  <a:gd name="T3" fmla="*/ 0 h 15"/>
                  <a:gd name="T4" fmla="*/ 21 w 24"/>
                  <a:gd name="T5" fmla="*/ 0 h 15"/>
                  <a:gd name="T6" fmla="*/ 6 w 24"/>
                  <a:gd name="T7" fmla="*/ 0 h 15"/>
                  <a:gd name="T8" fmla="*/ 6 w 24"/>
                  <a:gd name="T9" fmla="*/ 3 h 15"/>
                  <a:gd name="T10" fmla="*/ 3 w 24"/>
                  <a:gd name="T11" fmla="*/ 9 h 15"/>
                  <a:gd name="T12" fmla="*/ 3 w 24"/>
                  <a:gd name="T13" fmla="*/ 15 h 15"/>
                  <a:gd name="T14" fmla="*/ 3 w 24"/>
                  <a:gd name="T15" fmla="*/ 15 h 15"/>
                  <a:gd name="T16" fmla="*/ 9 w 24"/>
                  <a:gd name="T17" fmla="*/ 15 h 15"/>
                  <a:gd name="T18" fmla="*/ 24 w 24"/>
                  <a:gd name="T1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5">
                    <a:moveTo>
                      <a:pt x="24" y="15"/>
                    </a:moveTo>
                    <a:cubicBezTo>
                      <a:pt x="24" y="15"/>
                      <a:pt x="24" y="9"/>
                      <a:pt x="24" y="0"/>
                    </a:cubicBezTo>
                    <a:cubicBezTo>
                      <a:pt x="21" y="0"/>
                      <a:pt x="21" y="0"/>
                      <a:pt x="21" y="0"/>
                    </a:cubicBezTo>
                    <a:cubicBezTo>
                      <a:pt x="6" y="0"/>
                      <a:pt x="6" y="0"/>
                      <a:pt x="6" y="0"/>
                    </a:cubicBezTo>
                    <a:cubicBezTo>
                      <a:pt x="6" y="3"/>
                      <a:pt x="6" y="3"/>
                      <a:pt x="6" y="3"/>
                    </a:cubicBezTo>
                    <a:cubicBezTo>
                      <a:pt x="6" y="3"/>
                      <a:pt x="6" y="9"/>
                      <a:pt x="3" y="9"/>
                    </a:cubicBezTo>
                    <a:cubicBezTo>
                      <a:pt x="0" y="9"/>
                      <a:pt x="0" y="12"/>
                      <a:pt x="3" y="15"/>
                    </a:cubicBezTo>
                    <a:cubicBezTo>
                      <a:pt x="3" y="15"/>
                      <a:pt x="3" y="15"/>
                      <a:pt x="3" y="15"/>
                    </a:cubicBezTo>
                    <a:cubicBezTo>
                      <a:pt x="6" y="15"/>
                      <a:pt x="6" y="15"/>
                      <a:pt x="9" y="15"/>
                    </a:cubicBezTo>
                    <a:cubicBezTo>
                      <a:pt x="24" y="15"/>
                      <a:pt x="24" y="15"/>
                      <a:pt x="24"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5" name="Freeform 719"/>
              <p:cNvSpPr>
                <a:spLocks/>
              </p:cNvSpPr>
              <p:nvPr userDrawn="1"/>
            </p:nvSpPr>
            <p:spPr bwMode="auto">
              <a:xfrm>
                <a:off x="3648" y="-1184"/>
                <a:ext cx="38" cy="24"/>
              </a:xfrm>
              <a:custGeom>
                <a:avLst/>
                <a:gdLst>
                  <a:gd name="T0" fmla="*/ 24 w 24"/>
                  <a:gd name="T1" fmla="*/ 15 h 15"/>
                  <a:gd name="T2" fmla="*/ 24 w 24"/>
                  <a:gd name="T3" fmla="*/ 0 h 15"/>
                  <a:gd name="T4" fmla="*/ 21 w 24"/>
                  <a:gd name="T5" fmla="*/ 0 h 15"/>
                  <a:gd name="T6" fmla="*/ 6 w 24"/>
                  <a:gd name="T7" fmla="*/ 0 h 15"/>
                  <a:gd name="T8" fmla="*/ 6 w 24"/>
                  <a:gd name="T9" fmla="*/ 3 h 15"/>
                  <a:gd name="T10" fmla="*/ 3 w 24"/>
                  <a:gd name="T11" fmla="*/ 9 h 15"/>
                  <a:gd name="T12" fmla="*/ 3 w 24"/>
                  <a:gd name="T13" fmla="*/ 15 h 15"/>
                  <a:gd name="T14" fmla="*/ 3 w 24"/>
                  <a:gd name="T15" fmla="*/ 15 h 15"/>
                  <a:gd name="T16" fmla="*/ 9 w 24"/>
                  <a:gd name="T17" fmla="*/ 15 h 15"/>
                  <a:gd name="T18" fmla="*/ 24 w 24"/>
                  <a:gd name="T1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5">
                    <a:moveTo>
                      <a:pt x="24" y="15"/>
                    </a:moveTo>
                    <a:cubicBezTo>
                      <a:pt x="24" y="15"/>
                      <a:pt x="24" y="9"/>
                      <a:pt x="24" y="0"/>
                    </a:cubicBezTo>
                    <a:cubicBezTo>
                      <a:pt x="21" y="0"/>
                      <a:pt x="21" y="0"/>
                      <a:pt x="21" y="0"/>
                    </a:cubicBezTo>
                    <a:cubicBezTo>
                      <a:pt x="6" y="0"/>
                      <a:pt x="6" y="0"/>
                      <a:pt x="6" y="0"/>
                    </a:cubicBezTo>
                    <a:cubicBezTo>
                      <a:pt x="6" y="3"/>
                      <a:pt x="6" y="3"/>
                      <a:pt x="6" y="3"/>
                    </a:cubicBezTo>
                    <a:cubicBezTo>
                      <a:pt x="6" y="3"/>
                      <a:pt x="6" y="9"/>
                      <a:pt x="3" y="9"/>
                    </a:cubicBezTo>
                    <a:cubicBezTo>
                      <a:pt x="0" y="9"/>
                      <a:pt x="0" y="12"/>
                      <a:pt x="3" y="15"/>
                    </a:cubicBezTo>
                    <a:cubicBezTo>
                      <a:pt x="3" y="15"/>
                      <a:pt x="3" y="15"/>
                      <a:pt x="3" y="15"/>
                    </a:cubicBezTo>
                    <a:cubicBezTo>
                      <a:pt x="6" y="15"/>
                      <a:pt x="6" y="15"/>
                      <a:pt x="9" y="15"/>
                    </a:cubicBezTo>
                    <a:cubicBezTo>
                      <a:pt x="24" y="15"/>
                      <a:pt x="24" y="15"/>
                      <a:pt x="24"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6" name="Freeform 720"/>
              <p:cNvSpPr>
                <a:spLocks/>
              </p:cNvSpPr>
              <p:nvPr userDrawn="1"/>
            </p:nvSpPr>
            <p:spPr bwMode="auto">
              <a:xfrm>
                <a:off x="3676" y="-1207"/>
                <a:ext cx="127" cy="156"/>
              </a:xfrm>
              <a:custGeom>
                <a:avLst/>
                <a:gdLst>
                  <a:gd name="T0" fmla="*/ 21 w 81"/>
                  <a:gd name="T1" fmla="*/ 94 h 100"/>
                  <a:gd name="T2" fmla="*/ 30 w 81"/>
                  <a:gd name="T3" fmla="*/ 94 h 100"/>
                  <a:gd name="T4" fmla="*/ 39 w 81"/>
                  <a:gd name="T5" fmla="*/ 94 h 100"/>
                  <a:gd name="T6" fmla="*/ 45 w 81"/>
                  <a:gd name="T7" fmla="*/ 94 h 100"/>
                  <a:gd name="T8" fmla="*/ 51 w 81"/>
                  <a:gd name="T9" fmla="*/ 88 h 100"/>
                  <a:gd name="T10" fmla="*/ 54 w 81"/>
                  <a:gd name="T11" fmla="*/ 79 h 100"/>
                  <a:gd name="T12" fmla="*/ 57 w 81"/>
                  <a:gd name="T13" fmla="*/ 61 h 100"/>
                  <a:gd name="T14" fmla="*/ 66 w 81"/>
                  <a:gd name="T15" fmla="*/ 48 h 100"/>
                  <a:gd name="T16" fmla="*/ 75 w 81"/>
                  <a:gd name="T17" fmla="*/ 24 h 100"/>
                  <a:gd name="T18" fmla="*/ 78 w 81"/>
                  <a:gd name="T19" fmla="*/ 12 h 100"/>
                  <a:gd name="T20" fmla="*/ 81 w 81"/>
                  <a:gd name="T21" fmla="*/ 0 h 100"/>
                  <a:gd name="T22" fmla="*/ 81 w 81"/>
                  <a:gd name="T23" fmla="*/ 0 h 100"/>
                  <a:gd name="T24" fmla="*/ 69 w 81"/>
                  <a:gd name="T25" fmla="*/ 0 h 100"/>
                  <a:gd name="T26" fmla="*/ 66 w 81"/>
                  <a:gd name="T27" fmla="*/ 0 h 100"/>
                  <a:gd name="T28" fmla="*/ 60 w 81"/>
                  <a:gd name="T29" fmla="*/ 3 h 100"/>
                  <a:gd name="T30" fmla="*/ 57 w 81"/>
                  <a:gd name="T31" fmla="*/ 9 h 100"/>
                  <a:gd name="T32" fmla="*/ 54 w 81"/>
                  <a:gd name="T33" fmla="*/ 21 h 100"/>
                  <a:gd name="T34" fmla="*/ 36 w 81"/>
                  <a:gd name="T35" fmla="*/ 15 h 100"/>
                  <a:gd name="T36" fmla="*/ 24 w 81"/>
                  <a:gd name="T37" fmla="*/ 15 h 100"/>
                  <a:gd name="T38" fmla="*/ 24 w 81"/>
                  <a:gd name="T39" fmla="*/ 27 h 100"/>
                  <a:gd name="T40" fmla="*/ 33 w 81"/>
                  <a:gd name="T41" fmla="*/ 27 h 100"/>
                  <a:gd name="T42" fmla="*/ 33 w 81"/>
                  <a:gd name="T43" fmla="*/ 36 h 100"/>
                  <a:gd name="T44" fmla="*/ 36 w 81"/>
                  <a:gd name="T45" fmla="*/ 45 h 100"/>
                  <a:gd name="T46" fmla="*/ 39 w 81"/>
                  <a:gd name="T47" fmla="*/ 58 h 100"/>
                  <a:gd name="T48" fmla="*/ 33 w 81"/>
                  <a:gd name="T49" fmla="*/ 73 h 100"/>
                  <a:gd name="T50" fmla="*/ 27 w 81"/>
                  <a:gd name="T51" fmla="*/ 70 h 100"/>
                  <a:gd name="T52" fmla="*/ 21 w 81"/>
                  <a:gd name="T53" fmla="*/ 64 h 100"/>
                  <a:gd name="T54" fmla="*/ 15 w 81"/>
                  <a:gd name="T55" fmla="*/ 70 h 100"/>
                  <a:gd name="T56" fmla="*/ 9 w 81"/>
                  <a:gd name="T57" fmla="*/ 73 h 100"/>
                  <a:gd name="T58" fmla="*/ 6 w 81"/>
                  <a:gd name="T59" fmla="*/ 82 h 100"/>
                  <a:gd name="T60" fmla="*/ 0 w 81"/>
                  <a:gd name="T61" fmla="*/ 88 h 100"/>
                  <a:gd name="T62" fmla="*/ 3 w 81"/>
                  <a:gd name="T63" fmla="*/ 88 h 100"/>
                  <a:gd name="T64" fmla="*/ 12 w 81"/>
                  <a:gd name="T65" fmla="*/ 100 h 100"/>
                  <a:gd name="T66" fmla="*/ 21 w 81"/>
                  <a:gd name="T67"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100">
                    <a:moveTo>
                      <a:pt x="21" y="94"/>
                    </a:moveTo>
                    <a:cubicBezTo>
                      <a:pt x="24" y="94"/>
                      <a:pt x="27" y="97"/>
                      <a:pt x="30" y="94"/>
                    </a:cubicBezTo>
                    <a:cubicBezTo>
                      <a:pt x="33" y="91"/>
                      <a:pt x="39" y="91"/>
                      <a:pt x="39" y="94"/>
                    </a:cubicBezTo>
                    <a:cubicBezTo>
                      <a:pt x="39" y="100"/>
                      <a:pt x="39" y="97"/>
                      <a:pt x="45" y="94"/>
                    </a:cubicBezTo>
                    <a:cubicBezTo>
                      <a:pt x="48" y="91"/>
                      <a:pt x="51" y="94"/>
                      <a:pt x="51" y="88"/>
                    </a:cubicBezTo>
                    <a:cubicBezTo>
                      <a:pt x="51" y="82"/>
                      <a:pt x="54" y="88"/>
                      <a:pt x="54" y="79"/>
                    </a:cubicBezTo>
                    <a:cubicBezTo>
                      <a:pt x="54" y="73"/>
                      <a:pt x="57" y="64"/>
                      <a:pt x="57" y="61"/>
                    </a:cubicBezTo>
                    <a:cubicBezTo>
                      <a:pt x="57" y="58"/>
                      <a:pt x="66" y="54"/>
                      <a:pt x="66" y="48"/>
                    </a:cubicBezTo>
                    <a:cubicBezTo>
                      <a:pt x="66" y="42"/>
                      <a:pt x="75" y="30"/>
                      <a:pt x="75" y="24"/>
                    </a:cubicBezTo>
                    <a:cubicBezTo>
                      <a:pt x="75" y="18"/>
                      <a:pt x="75" y="15"/>
                      <a:pt x="78" y="12"/>
                    </a:cubicBezTo>
                    <a:cubicBezTo>
                      <a:pt x="78" y="9"/>
                      <a:pt x="81" y="6"/>
                      <a:pt x="81" y="0"/>
                    </a:cubicBezTo>
                    <a:cubicBezTo>
                      <a:pt x="81" y="0"/>
                      <a:pt x="81" y="0"/>
                      <a:pt x="81" y="0"/>
                    </a:cubicBezTo>
                    <a:cubicBezTo>
                      <a:pt x="69" y="0"/>
                      <a:pt x="69" y="0"/>
                      <a:pt x="69" y="0"/>
                    </a:cubicBezTo>
                    <a:cubicBezTo>
                      <a:pt x="66" y="0"/>
                      <a:pt x="66" y="0"/>
                      <a:pt x="66" y="0"/>
                    </a:cubicBezTo>
                    <a:cubicBezTo>
                      <a:pt x="60" y="3"/>
                      <a:pt x="60" y="3"/>
                      <a:pt x="60" y="3"/>
                    </a:cubicBezTo>
                    <a:cubicBezTo>
                      <a:pt x="60" y="3"/>
                      <a:pt x="60" y="6"/>
                      <a:pt x="57" y="9"/>
                    </a:cubicBezTo>
                    <a:cubicBezTo>
                      <a:pt x="54" y="15"/>
                      <a:pt x="54" y="21"/>
                      <a:pt x="54" y="21"/>
                    </a:cubicBezTo>
                    <a:cubicBezTo>
                      <a:pt x="54" y="21"/>
                      <a:pt x="42" y="15"/>
                      <a:pt x="36" y="15"/>
                    </a:cubicBezTo>
                    <a:cubicBezTo>
                      <a:pt x="36" y="15"/>
                      <a:pt x="30" y="15"/>
                      <a:pt x="24" y="15"/>
                    </a:cubicBezTo>
                    <a:cubicBezTo>
                      <a:pt x="24" y="21"/>
                      <a:pt x="24" y="27"/>
                      <a:pt x="24" y="27"/>
                    </a:cubicBezTo>
                    <a:cubicBezTo>
                      <a:pt x="24" y="30"/>
                      <a:pt x="30" y="24"/>
                      <a:pt x="33" y="27"/>
                    </a:cubicBezTo>
                    <a:cubicBezTo>
                      <a:pt x="39" y="30"/>
                      <a:pt x="36" y="33"/>
                      <a:pt x="33" y="36"/>
                    </a:cubicBezTo>
                    <a:cubicBezTo>
                      <a:pt x="30" y="39"/>
                      <a:pt x="30" y="42"/>
                      <a:pt x="36" y="45"/>
                    </a:cubicBezTo>
                    <a:cubicBezTo>
                      <a:pt x="39" y="48"/>
                      <a:pt x="39" y="51"/>
                      <a:pt x="39" y="58"/>
                    </a:cubicBezTo>
                    <a:cubicBezTo>
                      <a:pt x="39" y="64"/>
                      <a:pt x="39" y="70"/>
                      <a:pt x="33" y="73"/>
                    </a:cubicBezTo>
                    <a:cubicBezTo>
                      <a:pt x="30" y="73"/>
                      <a:pt x="30" y="70"/>
                      <a:pt x="27" y="70"/>
                    </a:cubicBezTo>
                    <a:cubicBezTo>
                      <a:pt x="24" y="70"/>
                      <a:pt x="21" y="64"/>
                      <a:pt x="21" y="64"/>
                    </a:cubicBezTo>
                    <a:cubicBezTo>
                      <a:pt x="18" y="64"/>
                      <a:pt x="18" y="70"/>
                      <a:pt x="15" y="70"/>
                    </a:cubicBezTo>
                    <a:cubicBezTo>
                      <a:pt x="12" y="70"/>
                      <a:pt x="6" y="70"/>
                      <a:pt x="9" y="73"/>
                    </a:cubicBezTo>
                    <a:cubicBezTo>
                      <a:pt x="9" y="79"/>
                      <a:pt x="12" y="82"/>
                      <a:pt x="6" y="82"/>
                    </a:cubicBezTo>
                    <a:cubicBezTo>
                      <a:pt x="3" y="82"/>
                      <a:pt x="3" y="85"/>
                      <a:pt x="0" y="88"/>
                    </a:cubicBezTo>
                    <a:cubicBezTo>
                      <a:pt x="3" y="88"/>
                      <a:pt x="3" y="88"/>
                      <a:pt x="3" y="88"/>
                    </a:cubicBezTo>
                    <a:cubicBezTo>
                      <a:pt x="6" y="91"/>
                      <a:pt x="9" y="94"/>
                      <a:pt x="12" y="100"/>
                    </a:cubicBezTo>
                    <a:cubicBezTo>
                      <a:pt x="15" y="97"/>
                      <a:pt x="21" y="94"/>
                      <a:pt x="21" y="9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7" name="Freeform 721"/>
              <p:cNvSpPr>
                <a:spLocks/>
              </p:cNvSpPr>
              <p:nvPr userDrawn="1"/>
            </p:nvSpPr>
            <p:spPr bwMode="auto">
              <a:xfrm>
                <a:off x="3676" y="-1207"/>
                <a:ext cx="127" cy="156"/>
              </a:xfrm>
              <a:custGeom>
                <a:avLst/>
                <a:gdLst>
                  <a:gd name="T0" fmla="*/ 21 w 81"/>
                  <a:gd name="T1" fmla="*/ 94 h 100"/>
                  <a:gd name="T2" fmla="*/ 30 w 81"/>
                  <a:gd name="T3" fmla="*/ 94 h 100"/>
                  <a:gd name="T4" fmla="*/ 39 w 81"/>
                  <a:gd name="T5" fmla="*/ 94 h 100"/>
                  <a:gd name="T6" fmla="*/ 45 w 81"/>
                  <a:gd name="T7" fmla="*/ 94 h 100"/>
                  <a:gd name="T8" fmla="*/ 51 w 81"/>
                  <a:gd name="T9" fmla="*/ 88 h 100"/>
                  <a:gd name="T10" fmla="*/ 54 w 81"/>
                  <a:gd name="T11" fmla="*/ 79 h 100"/>
                  <a:gd name="T12" fmla="*/ 57 w 81"/>
                  <a:gd name="T13" fmla="*/ 61 h 100"/>
                  <a:gd name="T14" fmla="*/ 66 w 81"/>
                  <a:gd name="T15" fmla="*/ 48 h 100"/>
                  <a:gd name="T16" fmla="*/ 75 w 81"/>
                  <a:gd name="T17" fmla="*/ 24 h 100"/>
                  <a:gd name="T18" fmla="*/ 78 w 81"/>
                  <a:gd name="T19" fmla="*/ 12 h 100"/>
                  <a:gd name="T20" fmla="*/ 81 w 81"/>
                  <a:gd name="T21" fmla="*/ 0 h 100"/>
                  <a:gd name="T22" fmla="*/ 81 w 81"/>
                  <a:gd name="T23" fmla="*/ 0 h 100"/>
                  <a:gd name="T24" fmla="*/ 69 w 81"/>
                  <a:gd name="T25" fmla="*/ 0 h 100"/>
                  <a:gd name="T26" fmla="*/ 66 w 81"/>
                  <a:gd name="T27" fmla="*/ 0 h 100"/>
                  <a:gd name="T28" fmla="*/ 60 w 81"/>
                  <a:gd name="T29" fmla="*/ 3 h 100"/>
                  <a:gd name="T30" fmla="*/ 57 w 81"/>
                  <a:gd name="T31" fmla="*/ 9 h 100"/>
                  <a:gd name="T32" fmla="*/ 54 w 81"/>
                  <a:gd name="T33" fmla="*/ 21 h 100"/>
                  <a:gd name="T34" fmla="*/ 36 w 81"/>
                  <a:gd name="T35" fmla="*/ 15 h 100"/>
                  <a:gd name="T36" fmla="*/ 24 w 81"/>
                  <a:gd name="T37" fmla="*/ 15 h 100"/>
                  <a:gd name="T38" fmla="*/ 24 w 81"/>
                  <a:gd name="T39" fmla="*/ 27 h 100"/>
                  <a:gd name="T40" fmla="*/ 33 w 81"/>
                  <a:gd name="T41" fmla="*/ 27 h 100"/>
                  <a:gd name="T42" fmla="*/ 33 w 81"/>
                  <a:gd name="T43" fmla="*/ 36 h 100"/>
                  <a:gd name="T44" fmla="*/ 36 w 81"/>
                  <a:gd name="T45" fmla="*/ 45 h 100"/>
                  <a:gd name="T46" fmla="*/ 39 w 81"/>
                  <a:gd name="T47" fmla="*/ 58 h 100"/>
                  <a:gd name="T48" fmla="*/ 33 w 81"/>
                  <a:gd name="T49" fmla="*/ 73 h 100"/>
                  <a:gd name="T50" fmla="*/ 27 w 81"/>
                  <a:gd name="T51" fmla="*/ 70 h 100"/>
                  <a:gd name="T52" fmla="*/ 21 w 81"/>
                  <a:gd name="T53" fmla="*/ 64 h 100"/>
                  <a:gd name="T54" fmla="*/ 15 w 81"/>
                  <a:gd name="T55" fmla="*/ 70 h 100"/>
                  <a:gd name="T56" fmla="*/ 9 w 81"/>
                  <a:gd name="T57" fmla="*/ 73 h 100"/>
                  <a:gd name="T58" fmla="*/ 6 w 81"/>
                  <a:gd name="T59" fmla="*/ 82 h 100"/>
                  <a:gd name="T60" fmla="*/ 0 w 81"/>
                  <a:gd name="T61" fmla="*/ 88 h 100"/>
                  <a:gd name="T62" fmla="*/ 3 w 81"/>
                  <a:gd name="T63" fmla="*/ 88 h 100"/>
                  <a:gd name="T64" fmla="*/ 12 w 81"/>
                  <a:gd name="T65" fmla="*/ 100 h 100"/>
                  <a:gd name="T66" fmla="*/ 21 w 81"/>
                  <a:gd name="T67"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1" h="100">
                    <a:moveTo>
                      <a:pt x="21" y="94"/>
                    </a:moveTo>
                    <a:cubicBezTo>
                      <a:pt x="24" y="94"/>
                      <a:pt x="27" y="97"/>
                      <a:pt x="30" y="94"/>
                    </a:cubicBezTo>
                    <a:cubicBezTo>
                      <a:pt x="33" y="91"/>
                      <a:pt x="39" y="91"/>
                      <a:pt x="39" y="94"/>
                    </a:cubicBezTo>
                    <a:cubicBezTo>
                      <a:pt x="39" y="100"/>
                      <a:pt x="39" y="97"/>
                      <a:pt x="45" y="94"/>
                    </a:cubicBezTo>
                    <a:cubicBezTo>
                      <a:pt x="48" y="91"/>
                      <a:pt x="51" y="94"/>
                      <a:pt x="51" y="88"/>
                    </a:cubicBezTo>
                    <a:cubicBezTo>
                      <a:pt x="51" y="82"/>
                      <a:pt x="54" y="88"/>
                      <a:pt x="54" y="79"/>
                    </a:cubicBezTo>
                    <a:cubicBezTo>
                      <a:pt x="54" y="73"/>
                      <a:pt x="57" y="64"/>
                      <a:pt x="57" y="61"/>
                    </a:cubicBezTo>
                    <a:cubicBezTo>
                      <a:pt x="57" y="58"/>
                      <a:pt x="66" y="54"/>
                      <a:pt x="66" y="48"/>
                    </a:cubicBezTo>
                    <a:cubicBezTo>
                      <a:pt x="66" y="42"/>
                      <a:pt x="75" y="30"/>
                      <a:pt x="75" y="24"/>
                    </a:cubicBezTo>
                    <a:cubicBezTo>
                      <a:pt x="75" y="18"/>
                      <a:pt x="75" y="15"/>
                      <a:pt x="78" y="12"/>
                    </a:cubicBezTo>
                    <a:cubicBezTo>
                      <a:pt x="78" y="9"/>
                      <a:pt x="81" y="6"/>
                      <a:pt x="81" y="0"/>
                    </a:cubicBezTo>
                    <a:cubicBezTo>
                      <a:pt x="81" y="0"/>
                      <a:pt x="81" y="0"/>
                      <a:pt x="81" y="0"/>
                    </a:cubicBezTo>
                    <a:cubicBezTo>
                      <a:pt x="69" y="0"/>
                      <a:pt x="69" y="0"/>
                      <a:pt x="69" y="0"/>
                    </a:cubicBezTo>
                    <a:cubicBezTo>
                      <a:pt x="66" y="0"/>
                      <a:pt x="66" y="0"/>
                      <a:pt x="66" y="0"/>
                    </a:cubicBezTo>
                    <a:cubicBezTo>
                      <a:pt x="60" y="3"/>
                      <a:pt x="60" y="3"/>
                      <a:pt x="60" y="3"/>
                    </a:cubicBezTo>
                    <a:cubicBezTo>
                      <a:pt x="60" y="3"/>
                      <a:pt x="60" y="6"/>
                      <a:pt x="57" y="9"/>
                    </a:cubicBezTo>
                    <a:cubicBezTo>
                      <a:pt x="54" y="15"/>
                      <a:pt x="54" y="21"/>
                      <a:pt x="54" y="21"/>
                    </a:cubicBezTo>
                    <a:cubicBezTo>
                      <a:pt x="54" y="21"/>
                      <a:pt x="42" y="15"/>
                      <a:pt x="36" y="15"/>
                    </a:cubicBezTo>
                    <a:cubicBezTo>
                      <a:pt x="36" y="15"/>
                      <a:pt x="30" y="15"/>
                      <a:pt x="24" y="15"/>
                    </a:cubicBezTo>
                    <a:cubicBezTo>
                      <a:pt x="24" y="21"/>
                      <a:pt x="24" y="27"/>
                      <a:pt x="24" y="27"/>
                    </a:cubicBezTo>
                    <a:cubicBezTo>
                      <a:pt x="24" y="30"/>
                      <a:pt x="30" y="24"/>
                      <a:pt x="33" y="27"/>
                    </a:cubicBezTo>
                    <a:cubicBezTo>
                      <a:pt x="39" y="30"/>
                      <a:pt x="36" y="33"/>
                      <a:pt x="33" y="36"/>
                    </a:cubicBezTo>
                    <a:cubicBezTo>
                      <a:pt x="30" y="39"/>
                      <a:pt x="30" y="42"/>
                      <a:pt x="36" y="45"/>
                    </a:cubicBezTo>
                    <a:cubicBezTo>
                      <a:pt x="39" y="48"/>
                      <a:pt x="39" y="51"/>
                      <a:pt x="39" y="58"/>
                    </a:cubicBezTo>
                    <a:cubicBezTo>
                      <a:pt x="39" y="64"/>
                      <a:pt x="39" y="70"/>
                      <a:pt x="33" y="73"/>
                    </a:cubicBezTo>
                    <a:cubicBezTo>
                      <a:pt x="30" y="73"/>
                      <a:pt x="30" y="70"/>
                      <a:pt x="27" y="70"/>
                    </a:cubicBezTo>
                    <a:cubicBezTo>
                      <a:pt x="24" y="70"/>
                      <a:pt x="21" y="64"/>
                      <a:pt x="21" y="64"/>
                    </a:cubicBezTo>
                    <a:cubicBezTo>
                      <a:pt x="18" y="64"/>
                      <a:pt x="18" y="70"/>
                      <a:pt x="15" y="70"/>
                    </a:cubicBezTo>
                    <a:cubicBezTo>
                      <a:pt x="12" y="70"/>
                      <a:pt x="6" y="70"/>
                      <a:pt x="9" y="73"/>
                    </a:cubicBezTo>
                    <a:cubicBezTo>
                      <a:pt x="9" y="79"/>
                      <a:pt x="12" y="82"/>
                      <a:pt x="6" y="82"/>
                    </a:cubicBezTo>
                    <a:cubicBezTo>
                      <a:pt x="3" y="82"/>
                      <a:pt x="3" y="85"/>
                      <a:pt x="0" y="88"/>
                    </a:cubicBezTo>
                    <a:cubicBezTo>
                      <a:pt x="3" y="88"/>
                      <a:pt x="3" y="88"/>
                      <a:pt x="3" y="88"/>
                    </a:cubicBezTo>
                    <a:cubicBezTo>
                      <a:pt x="6" y="91"/>
                      <a:pt x="9" y="94"/>
                      <a:pt x="12" y="100"/>
                    </a:cubicBezTo>
                    <a:cubicBezTo>
                      <a:pt x="15" y="97"/>
                      <a:pt x="21" y="94"/>
                      <a:pt x="21" y="9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8" name="Freeform 722"/>
              <p:cNvSpPr>
                <a:spLocks/>
              </p:cNvSpPr>
              <p:nvPr userDrawn="1"/>
            </p:nvSpPr>
            <p:spPr bwMode="auto">
              <a:xfrm>
                <a:off x="3854" y="-1563"/>
                <a:ext cx="293" cy="360"/>
              </a:xfrm>
              <a:custGeom>
                <a:avLst/>
                <a:gdLst>
                  <a:gd name="T0" fmla="*/ 140 w 188"/>
                  <a:gd name="T1" fmla="*/ 12 h 231"/>
                  <a:gd name="T2" fmla="*/ 128 w 188"/>
                  <a:gd name="T3" fmla="*/ 15 h 231"/>
                  <a:gd name="T4" fmla="*/ 107 w 188"/>
                  <a:gd name="T5" fmla="*/ 12 h 231"/>
                  <a:gd name="T6" fmla="*/ 35 w 188"/>
                  <a:gd name="T7" fmla="*/ 15 h 231"/>
                  <a:gd name="T8" fmla="*/ 26 w 188"/>
                  <a:gd name="T9" fmla="*/ 39 h 231"/>
                  <a:gd name="T10" fmla="*/ 23 w 188"/>
                  <a:gd name="T11" fmla="*/ 87 h 231"/>
                  <a:gd name="T12" fmla="*/ 11 w 188"/>
                  <a:gd name="T13" fmla="*/ 99 h 231"/>
                  <a:gd name="T14" fmla="*/ 6 w 188"/>
                  <a:gd name="T15" fmla="*/ 117 h 231"/>
                  <a:gd name="T16" fmla="*/ 9 w 188"/>
                  <a:gd name="T17" fmla="*/ 132 h 231"/>
                  <a:gd name="T18" fmla="*/ 11 w 188"/>
                  <a:gd name="T19" fmla="*/ 144 h 231"/>
                  <a:gd name="T20" fmla="*/ 20 w 188"/>
                  <a:gd name="T21" fmla="*/ 165 h 231"/>
                  <a:gd name="T22" fmla="*/ 26 w 188"/>
                  <a:gd name="T23" fmla="*/ 168 h 231"/>
                  <a:gd name="T24" fmla="*/ 35 w 188"/>
                  <a:gd name="T25" fmla="*/ 177 h 231"/>
                  <a:gd name="T26" fmla="*/ 47 w 188"/>
                  <a:gd name="T27" fmla="*/ 189 h 231"/>
                  <a:gd name="T28" fmla="*/ 59 w 188"/>
                  <a:gd name="T29" fmla="*/ 204 h 231"/>
                  <a:gd name="T30" fmla="*/ 65 w 188"/>
                  <a:gd name="T31" fmla="*/ 213 h 231"/>
                  <a:gd name="T32" fmla="*/ 77 w 188"/>
                  <a:gd name="T33" fmla="*/ 219 h 231"/>
                  <a:gd name="T34" fmla="*/ 89 w 188"/>
                  <a:gd name="T35" fmla="*/ 216 h 231"/>
                  <a:gd name="T36" fmla="*/ 110 w 188"/>
                  <a:gd name="T37" fmla="*/ 225 h 231"/>
                  <a:gd name="T38" fmla="*/ 125 w 188"/>
                  <a:gd name="T39" fmla="*/ 225 h 231"/>
                  <a:gd name="T40" fmla="*/ 134 w 188"/>
                  <a:gd name="T41" fmla="*/ 222 h 231"/>
                  <a:gd name="T42" fmla="*/ 146 w 188"/>
                  <a:gd name="T43" fmla="*/ 213 h 231"/>
                  <a:gd name="T44" fmla="*/ 155 w 188"/>
                  <a:gd name="T45" fmla="*/ 216 h 231"/>
                  <a:gd name="T46" fmla="*/ 146 w 188"/>
                  <a:gd name="T47" fmla="*/ 198 h 231"/>
                  <a:gd name="T48" fmla="*/ 125 w 188"/>
                  <a:gd name="T49" fmla="*/ 180 h 231"/>
                  <a:gd name="T50" fmla="*/ 137 w 188"/>
                  <a:gd name="T51" fmla="*/ 171 h 231"/>
                  <a:gd name="T52" fmla="*/ 140 w 188"/>
                  <a:gd name="T53" fmla="*/ 147 h 231"/>
                  <a:gd name="T54" fmla="*/ 149 w 188"/>
                  <a:gd name="T55" fmla="*/ 132 h 231"/>
                  <a:gd name="T56" fmla="*/ 161 w 188"/>
                  <a:gd name="T57" fmla="*/ 117 h 231"/>
                  <a:gd name="T58" fmla="*/ 167 w 188"/>
                  <a:gd name="T59" fmla="*/ 90 h 231"/>
                  <a:gd name="T60" fmla="*/ 176 w 188"/>
                  <a:gd name="T61" fmla="*/ 72 h 231"/>
                  <a:gd name="T62" fmla="*/ 179 w 188"/>
                  <a:gd name="T63" fmla="*/ 57 h 231"/>
                  <a:gd name="T64" fmla="*/ 170 w 188"/>
                  <a:gd name="T65" fmla="*/ 18 h 231"/>
                  <a:gd name="T66" fmla="*/ 155 w 188"/>
                  <a:gd name="T67" fmla="*/ 0 h 231"/>
                  <a:gd name="T68" fmla="*/ 149 w 188"/>
                  <a:gd name="T69" fmla="*/ 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8" h="231">
                    <a:moveTo>
                      <a:pt x="149" y="3"/>
                    </a:moveTo>
                    <a:cubicBezTo>
                      <a:pt x="146" y="3"/>
                      <a:pt x="146" y="12"/>
                      <a:pt x="140" y="12"/>
                    </a:cubicBezTo>
                    <a:cubicBezTo>
                      <a:pt x="137" y="12"/>
                      <a:pt x="137" y="18"/>
                      <a:pt x="134" y="18"/>
                    </a:cubicBezTo>
                    <a:cubicBezTo>
                      <a:pt x="131" y="18"/>
                      <a:pt x="128" y="15"/>
                      <a:pt x="128" y="15"/>
                    </a:cubicBezTo>
                    <a:cubicBezTo>
                      <a:pt x="113" y="15"/>
                      <a:pt x="113" y="15"/>
                      <a:pt x="113" y="15"/>
                    </a:cubicBezTo>
                    <a:cubicBezTo>
                      <a:pt x="113" y="15"/>
                      <a:pt x="110" y="9"/>
                      <a:pt x="107" y="12"/>
                    </a:cubicBezTo>
                    <a:cubicBezTo>
                      <a:pt x="104" y="15"/>
                      <a:pt x="104" y="15"/>
                      <a:pt x="104" y="15"/>
                    </a:cubicBezTo>
                    <a:cubicBezTo>
                      <a:pt x="35" y="15"/>
                      <a:pt x="35" y="15"/>
                      <a:pt x="35" y="15"/>
                    </a:cubicBezTo>
                    <a:cubicBezTo>
                      <a:pt x="35" y="27"/>
                      <a:pt x="35" y="39"/>
                      <a:pt x="35" y="39"/>
                    </a:cubicBezTo>
                    <a:cubicBezTo>
                      <a:pt x="26" y="39"/>
                      <a:pt x="26" y="39"/>
                      <a:pt x="26" y="39"/>
                    </a:cubicBezTo>
                    <a:cubicBezTo>
                      <a:pt x="26" y="75"/>
                      <a:pt x="26" y="75"/>
                      <a:pt x="26" y="75"/>
                    </a:cubicBezTo>
                    <a:cubicBezTo>
                      <a:pt x="26" y="75"/>
                      <a:pt x="26" y="87"/>
                      <a:pt x="23" y="87"/>
                    </a:cubicBezTo>
                    <a:cubicBezTo>
                      <a:pt x="23" y="87"/>
                      <a:pt x="14" y="90"/>
                      <a:pt x="14" y="93"/>
                    </a:cubicBezTo>
                    <a:cubicBezTo>
                      <a:pt x="14" y="96"/>
                      <a:pt x="14" y="99"/>
                      <a:pt x="11" y="99"/>
                    </a:cubicBezTo>
                    <a:cubicBezTo>
                      <a:pt x="6" y="99"/>
                      <a:pt x="11" y="108"/>
                      <a:pt x="6" y="108"/>
                    </a:cubicBezTo>
                    <a:cubicBezTo>
                      <a:pt x="0" y="108"/>
                      <a:pt x="9" y="114"/>
                      <a:pt x="6" y="117"/>
                    </a:cubicBezTo>
                    <a:cubicBezTo>
                      <a:pt x="3" y="120"/>
                      <a:pt x="3" y="123"/>
                      <a:pt x="6" y="123"/>
                    </a:cubicBezTo>
                    <a:cubicBezTo>
                      <a:pt x="9" y="123"/>
                      <a:pt x="9" y="126"/>
                      <a:pt x="9" y="132"/>
                    </a:cubicBezTo>
                    <a:cubicBezTo>
                      <a:pt x="9" y="135"/>
                      <a:pt x="14" y="138"/>
                      <a:pt x="14" y="138"/>
                    </a:cubicBezTo>
                    <a:cubicBezTo>
                      <a:pt x="11" y="144"/>
                      <a:pt x="11" y="144"/>
                      <a:pt x="11" y="144"/>
                    </a:cubicBezTo>
                    <a:cubicBezTo>
                      <a:pt x="20" y="153"/>
                      <a:pt x="20" y="153"/>
                      <a:pt x="20" y="153"/>
                    </a:cubicBezTo>
                    <a:cubicBezTo>
                      <a:pt x="20" y="156"/>
                      <a:pt x="26" y="162"/>
                      <a:pt x="20" y="165"/>
                    </a:cubicBezTo>
                    <a:cubicBezTo>
                      <a:pt x="17" y="165"/>
                      <a:pt x="20" y="168"/>
                      <a:pt x="20" y="168"/>
                    </a:cubicBezTo>
                    <a:cubicBezTo>
                      <a:pt x="26" y="168"/>
                      <a:pt x="26" y="168"/>
                      <a:pt x="26" y="168"/>
                    </a:cubicBezTo>
                    <a:cubicBezTo>
                      <a:pt x="26" y="171"/>
                      <a:pt x="26" y="171"/>
                      <a:pt x="26" y="171"/>
                    </a:cubicBezTo>
                    <a:cubicBezTo>
                      <a:pt x="26" y="171"/>
                      <a:pt x="32" y="171"/>
                      <a:pt x="35" y="177"/>
                    </a:cubicBezTo>
                    <a:cubicBezTo>
                      <a:pt x="38" y="180"/>
                      <a:pt x="41" y="180"/>
                      <a:pt x="41" y="183"/>
                    </a:cubicBezTo>
                    <a:cubicBezTo>
                      <a:pt x="41" y="186"/>
                      <a:pt x="44" y="186"/>
                      <a:pt x="47" y="189"/>
                    </a:cubicBezTo>
                    <a:cubicBezTo>
                      <a:pt x="50" y="192"/>
                      <a:pt x="50" y="195"/>
                      <a:pt x="50" y="198"/>
                    </a:cubicBezTo>
                    <a:cubicBezTo>
                      <a:pt x="59" y="204"/>
                      <a:pt x="59" y="204"/>
                      <a:pt x="59" y="204"/>
                    </a:cubicBezTo>
                    <a:cubicBezTo>
                      <a:pt x="62" y="210"/>
                      <a:pt x="62" y="210"/>
                      <a:pt x="62" y="210"/>
                    </a:cubicBezTo>
                    <a:cubicBezTo>
                      <a:pt x="62" y="210"/>
                      <a:pt x="65" y="210"/>
                      <a:pt x="65" y="213"/>
                    </a:cubicBezTo>
                    <a:cubicBezTo>
                      <a:pt x="65" y="216"/>
                      <a:pt x="68" y="219"/>
                      <a:pt x="68" y="219"/>
                    </a:cubicBezTo>
                    <a:cubicBezTo>
                      <a:pt x="68" y="219"/>
                      <a:pt x="74" y="219"/>
                      <a:pt x="77" y="219"/>
                    </a:cubicBezTo>
                    <a:cubicBezTo>
                      <a:pt x="80" y="216"/>
                      <a:pt x="83" y="219"/>
                      <a:pt x="83" y="219"/>
                    </a:cubicBezTo>
                    <a:cubicBezTo>
                      <a:pt x="83" y="219"/>
                      <a:pt x="86" y="216"/>
                      <a:pt x="89" y="216"/>
                    </a:cubicBezTo>
                    <a:cubicBezTo>
                      <a:pt x="89" y="219"/>
                      <a:pt x="95" y="222"/>
                      <a:pt x="101" y="228"/>
                    </a:cubicBezTo>
                    <a:cubicBezTo>
                      <a:pt x="101" y="228"/>
                      <a:pt x="107" y="225"/>
                      <a:pt x="110" y="225"/>
                    </a:cubicBezTo>
                    <a:cubicBezTo>
                      <a:pt x="113" y="225"/>
                      <a:pt x="116" y="231"/>
                      <a:pt x="116" y="228"/>
                    </a:cubicBezTo>
                    <a:cubicBezTo>
                      <a:pt x="116" y="228"/>
                      <a:pt x="122" y="225"/>
                      <a:pt x="125" y="225"/>
                    </a:cubicBezTo>
                    <a:cubicBezTo>
                      <a:pt x="125" y="225"/>
                      <a:pt x="131" y="228"/>
                      <a:pt x="131" y="225"/>
                    </a:cubicBezTo>
                    <a:cubicBezTo>
                      <a:pt x="134" y="222"/>
                      <a:pt x="134" y="222"/>
                      <a:pt x="134" y="222"/>
                    </a:cubicBezTo>
                    <a:cubicBezTo>
                      <a:pt x="137" y="222"/>
                      <a:pt x="137" y="219"/>
                      <a:pt x="137" y="219"/>
                    </a:cubicBezTo>
                    <a:cubicBezTo>
                      <a:pt x="137" y="216"/>
                      <a:pt x="143" y="213"/>
                      <a:pt x="146" y="213"/>
                    </a:cubicBezTo>
                    <a:cubicBezTo>
                      <a:pt x="149" y="213"/>
                      <a:pt x="152" y="213"/>
                      <a:pt x="152" y="213"/>
                    </a:cubicBezTo>
                    <a:cubicBezTo>
                      <a:pt x="152" y="216"/>
                      <a:pt x="155" y="216"/>
                      <a:pt x="155" y="216"/>
                    </a:cubicBezTo>
                    <a:cubicBezTo>
                      <a:pt x="155" y="210"/>
                      <a:pt x="158" y="207"/>
                      <a:pt x="155" y="207"/>
                    </a:cubicBezTo>
                    <a:cubicBezTo>
                      <a:pt x="152" y="207"/>
                      <a:pt x="146" y="204"/>
                      <a:pt x="146" y="198"/>
                    </a:cubicBezTo>
                    <a:cubicBezTo>
                      <a:pt x="143" y="192"/>
                      <a:pt x="137" y="189"/>
                      <a:pt x="134" y="186"/>
                    </a:cubicBezTo>
                    <a:cubicBezTo>
                      <a:pt x="134" y="180"/>
                      <a:pt x="125" y="183"/>
                      <a:pt x="125" y="180"/>
                    </a:cubicBezTo>
                    <a:cubicBezTo>
                      <a:pt x="122" y="177"/>
                      <a:pt x="128" y="177"/>
                      <a:pt x="128" y="174"/>
                    </a:cubicBezTo>
                    <a:cubicBezTo>
                      <a:pt x="128" y="171"/>
                      <a:pt x="134" y="171"/>
                      <a:pt x="137" y="171"/>
                    </a:cubicBezTo>
                    <a:cubicBezTo>
                      <a:pt x="137" y="171"/>
                      <a:pt x="137" y="162"/>
                      <a:pt x="137" y="159"/>
                    </a:cubicBezTo>
                    <a:cubicBezTo>
                      <a:pt x="137" y="153"/>
                      <a:pt x="143" y="150"/>
                      <a:pt x="140" y="147"/>
                    </a:cubicBezTo>
                    <a:cubicBezTo>
                      <a:pt x="140" y="147"/>
                      <a:pt x="143" y="144"/>
                      <a:pt x="146" y="144"/>
                    </a:cubicBezTo>
                    <a:cubicBezTo>
                      <a:pt x="149" y="141"/>
                      <a:pt x="146" y="135"/>
                      <a:pt x="149" y="132"/>
                    </a:cubicBezTo>
                    <a:cubicBezTo>
                      <a:pt x="152" y="129"/>
                      <a:pt x="155" y="123"/>
                      <a:pt x="155" y="123"/>
                    </a:cubicBezTo>
                    <a:cubicBezTo>
                      <a:pt x="158" y="123"/>
                      <a:pt x="161" y="120"/>
                      <a:pt x="161" y="117"/>
                    </a:cubicBezTo>
                    <a:cubicBezTo>
                      <a:pt x="161" y="114"/>
                      <a:pt x="167" y="111"/>
                      <a:pt x="164" y="105"/>
                    </a:cubicBezTo>
                    <a:cubicBezTo>
                      <a:pt x="164" y="99"/>
                      <a:pt x="161" y="93"/>
                      <a:pt x="167" y="90"/>
                    </a:cubicBezTo>
                    <a:cubicBezTo>
                      <a:pt x="170" y="84"/>
                      <a:pt x="170" y="81"/>
                      <a:pt x="170" y="78"/>
                    </a:cubicBezTo>
                    <a:cubicBezTo>
                      <a:pt x="170" y="75"/>
                      <a:pt x="173" y="75"/>
                      <a:pt x="176" y="72"/>
                    </a:cubicBezTo>
                    <a:cubicBezTo>
                      <a:pt x="179" y="72"/>
                      <a:pt x="182" y="69"/>
                      <a:pt x="188" y="63"/>
                    </a:cubicBezTo>
                    <a:cubicBezTo>
                      <a:pt x="185" y="60"/>
                      <a:pt x="182" y="57"/>
                      <a:pt x="179" y="57"/>
                    </a:cubicBezTo>
                    <a:cubicBezTo>
                      <a:pt x="176" y="54"/>
                      <a:pt x="173" y="48"/>
                      <a:pt x="173" y="39"/>
                    </a:cubicBezTo>
                    <a:cubicBezTo>
                      <a:pt x="173" y="30"/>
                      <a:pt x="170" y="21"/>
                      <a:pt x="170" y="18"/>
                    </a:cubicBezTo>
                    <a:cubicBezTo>
                      <a:pt x="170" y="15"/>
                      <a:pt x="167" y="9"/>
                      <a:pt x="161" y="9"/>
                    </a:cubicBezTo>
                    <a:cubicBezTo>
                      <a:pt x="158" y="6"/>
                      <a:pt x="155" y="3"/>
                      <a:pt x="155" y="0"/>
                    </a:cubicBezTo>
                    <a:cubicBezTo>
                      <a:pt x="155" y="0"/>
                      <a:pt x="155" y="0"/>
                      <a:pt x="155" y="0"/>
                    </a:cubicBezTo>
                    <a:cubicBezTo>
                      <a:pt x="152" y="3"/>
                      <a:pt x="152" y="3"/>
                      <a:pt x="14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49" name="Freeform 723"/>
              <p:cNvSpPr>
                <a:spLocks/>
              </p:cNvSpPr>
              <p:nvPr userDrawn="1"/>
            </p:nvSpPr>
            <p:spPr bwMode="auto">
              <a:xfrm>
                <a:off x="3854" y="-1563"/>
                <a:ext cx="293" cy="360"/>
              </a:xfrm>
              <a:custGeom>
                <a:avLst/>
                <a:gdLst>
                  <a:gd name="T0" fmla="*/ 140 w 188"/>
                  <a:gd name="T1" fmla="*/ 12 h 231"/>
                  <a:gd name="T2" fmla="*/ 128 w 188"/>
                  <a:gd name="T3" fmla="*/ 15 h 231"/>
                  <a:gd name="T4" fmla="*/ 107 w 188"/>
                  <a:gd name="T5" fmla="*/ 12 h 231"/>
                  <a:gd name="T6" fmla="*/ 35 w 188"/>
                  <a:gd name="T7" fmla="*/ 15 h 231"/>
                  <a:gd name="T8" fmla="*/ 26 w 188"/>
                  <a:gd name="T9" fmla="*/ 39 h 231"/>
                  <a:gd name="T10" fmla="*/ 23 w 188"/>
                  <a:gd name="T11" fmla="*/ 87 h 231"/>
                  <a:gd name="T12" fmla="*/ 11 w 188"/>
                  <a:gd name="T13" fmla="*/ 99 h 231"/>
                  <a:gd name="T14" fmla="*/ 6 w 188"/>
                  <a:gd name="T15" fmla="*/ 117 h 231"/>
                  <a:gd name="T16" fmla="*/ 9 w 188"/>
                  <a:gd name="T17" fmla="*/ 132 h 231"/>
                  <a:gd name="T18" fmla="*/ 11 w 188"/>
                  <a:gd name="T19" fmla="*/ 144 h 231"/>
                  <a:gd name="T20" fmla="*/ 20 w 188"/>
                  <a:gd name="T21" fmla="*/ 165 h 231"/>
                  <a:gd name="T22" fmla="*/ 26 w 188"/>
                  <a:gd name="T23" fmla="*/ 168 h 231"/>
                  <a:gd name="T24" fmla="*/ 35 w 188"/>
                  <a:gd name="T25" fmla="*/ 177 h 231"/>
                  <a:gd name="T26" fmla="*/ 47 w 188"/>
                  <a:gd name="T27" fmla="*/ 189 h 231"/>
                  <a:gd name="T28" fmla="*/ 59 w 188"/>
                  <a:gd name="T29" fmla="*/ 204 h 231"/>
                  <a:gd name="T30" fmla="*/ 65 w 188"/>
                  <a:gd name="T31" fmla="*/ 213 h 231"/>
                  <a:gd name="T32" fmla="*/ 77 w 188"/>
                  <a:gd name="T33" fmla="*/ 219 h 231"/>
                  <a:gd name="T34" fmla="*/ 89 w 188"/>
                  <a:gd name="T35" fmla="*/ 216 h 231"/>
                  <a:gd name="T36" fmla="*/ 110 w 188"/>
                  <a:gd name="T37" fmla="*/ 225 h 231"/>
                  <a:gd name="T38" fmla="*/ 125 w 188"/>
                  <a:gd name="T39" fmla="*/ 225 h 231"/>
                  <a:gd name="T40" fmla="*/ 134 w 188"/>
                  <a:gd name="T41" fmla="*/ 222 h 231"/>
                  <a:gd name="T42" fmla="*/ 146 w 188"/>
                  <a:gd name="T43" fmla="*/ 213 h 231"/>
                  <a:gd name="T44" fmla="*/ 155 w 188"/>
                  <a:gd name="T45" fmla="*/ 216 h 231"/>
                  <a:gd name="T46" fmla="*/ 146 w 188"/>
                  <a:gd name="T47" fmla="*/ 198 h 231"/>
                  <a:gd name="T48" fmla="*/ 125 w 188"/>
                  <a:gd name="T49" fmla="*/ 180 h 231"/>
                  <a:gd name="T50" fmla="*/ 137 w 188"/>
                  <a:gd name="T51" fmla="*/ 171 h 231"/>
                  <a:gd name="T52" fmla="*/ 140 w 188"/>
                  <a:gd name="T53" fmla="*/ 147 h 231"/>
                  <a:gd name="T54" fmla="*/ 149 w 188"/>
                  <a:gd name="T55" fmla="*/ 132 h 231"/>
                  <a:gd name="T56" fmla="*/ 161 w 188"/>
                  <a:gd name="T57" fmla="*/ 117 h 231"/>
                  <a:gd name="T58" fmla="*/ 167 w 188"/>
                  <a:gd name="T59" fmla="*/ 90 h 231"/>
                  <a:gd name="T60" fmla="*/ 176 w 188"/>
                  <a:gd name="T61" fmla="*/ 72 h 231"/>
                  <a:gd name="T62" fmla="*/ 179 w 188"/>
                  <a:gd name="T63" fmla="*/ 57 h 231"/>
                  <a:gd name="T64" fmla="*/ 170 w 188"/>
                  <a:gd name="T65" fmla="*/ 18 h 231"/>
                  <a:gd name="T66" fmla="*/ 155 w 188"/>
                  <a:gd name="T67" fmla="*/ 0 h 231"/>
                  <a:gd name="T68" fmla="*/ 149 w 188"/>
                  <a:gd name="T69" fmla="*/ 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8" h="231">
                    <a:moveTo>
                      <a:pt x="149" y="3"/>
                    </a:moveTo>
                    <a:cubicBezTo>
                      <a:pt x="146" y="3"/>
                      <a:pt x="146" y="12"/>
                      <a:pt x="140" y="12"/>
                    </a:cubicBezTo>
                    <a:cubicBezTo>
                      <a:pt x="137" y="12"/>
                      <a:pt x="137" y="18"/>
                      <a:pt x="134" y="18"/>
                    </a:cubicBezTo>
                    <a:cubicBezTo>
                      <a:pt x="131" y="18"/>
                      <a:pt x="128" y="15"/>
                      <a:pt x="128" y="15"/>
                    </a:cubicBezTo>
                    <a:cubicBezTo>
                      <a:pt x="113" y="15"/>
                      <a:pt x="113" y="15"/>
                      <a:pt x="113" y="15"/>
                    </a:cubicBezTo>
                    <a:cubicBezTo>
                      <a:pt x="113" y="15"/>
                      <a:pt x="110" y="9"/>
                      <a:pt x="107" y="12"/>
                    </a:cubicBezTo>
                    <a:cubicBezTo>
                      <a:pt x="104" y="15"/>
                      <a:pt x="104" y="15"/>
                      <a:pt x="104" y="15"/>
                    </a:cubicBezTo>
                    <a:cubicBezTo>
                      <a:pt x="35" y="15"/>
                      <a:pt x="35" y="15"/>
                      <a:pt x="35" y="15"/>
                    </a:cubicBezTo>
                    <a:cubicBezTo>
                      <a:pt x="35" y="27"/>
                      <a:pt x="35" y="39"/>
                      <a:pt x="35" y="39"/>
                    </a:cubicBezTo>
                    <a:cubicBezTo>
                      <a:pt x="26" y="39"/>
                      <a:pt x="26" y="39"/>
                      <a:pt x="26" y="39"/>
                    </a:cubicBezTo>
                    <a:cubicBezTo>
                      <a:pt x="26" y="75"/>
                      <a:pt x="26" y="75"/>
                      <a:pt x="26" y="75"/>
                    </a:cubicBezTo>
                    <a:cubicBezTo>
                      <a:pt x="26" y="75"/>
                      <a:pt x="26" y="87"/>
                      <a:pt x="23" y="87"/>
                    </a:cubicBezTo>
                    <a:cubicBezTo>
                      <a:pt x="23" y="87"/>
                      <a:pt x="14" y="90"/>
                      <a:pt x="14" y="93"/>
                    </a:cubicBezTo>
                    <a:cubicBezTo>
                      <a:pt x="14" y="96"/>
                      <a:pt x="14" y="99"/>
                      <a:pt x="11" y="99"/>
                    </a:cubicBezTo>
                    <a:cubicBezTo>
                      <a:pt x="6" y="99"/>
                      <a:pt x="11" y="108"/>
                      <a:pt x="6" y="108"/>
                    </a:cubicBezTo>
                    <a:cubicBezTo>
                      <a:pt x="0" y="108"/>
                      <a:pt x="9" y="114"/>
                      <a:pt x="6" y="117"/>
                    </a:cubicBezTo>
                    <a:cubicBezTo>
                      <a:pt x="3" y="120"/>
                      <a:pt x="3" y="123"/>
                      <a:pt x="6" y="123"/>
                    </a:cubicBezTo>
                    <a:cubicBezTo>
                      <a:pt x="9" y="123"/>
                      <a:pt x="9" y="126"/>
                      <a:pt x="9" y="132"/>
                    </a:cubicBezTo>
                    <a:cubicBezTo>
                      <a:pt x="9" y="135"/>
                      <a:pt x="14" y="138"/>
                      <a:pt x="14" y="138"/>
                    </a:cubicBezTo>
                    <a:cubicBezTo>
                      <a:pt x="11" y="144"/>
                      <a:pt x="11" y="144"/>
                      <a:pt x="11" y="144"/>
                    </a:cubicBezTo>
                    <a:cubicBezTo>
                      <a:pt x="20" y="153"/>
                      <a:pt x="20" y="153"/>
                      <a:pt x="20" y="153"/>
                    </a:cubicBezTo>
                    <a:cubicBezTo>
                      <a:pt x="20" y="156"/>
                      <a:pt x="26" y="162"/>
                      <a:pt x="20" y="165"/>
                    </a:cubicBezTo>
                    <a:cubicBezTo>
                      <a:pt x="17" y="165"/>
                      <a:pt x="20" y="168"/>
                      <a:pt x="20" y="168"/>
                    </a:cubicBezTo>
                    <a:cubicBezTo>
                      <a:pt x="26" y="168"/>
                      <a:pt x="26" y="168"/>
                      <a:pt x="26" y="168"/>
                    </a:cubicBezTo>
                    <a:cubicBezTo>
                      <a:pt x="26" y="171"/>
                      <a:pt x="26" y="171"/>
                      <a:pt x="26" y="171"/>
                    </a:cubicBezTo>
                    <a:cubicBezTo>
                      <a:pt x="26" y="171"/>
                      <a:pt x="32" y="171"/>
                      <a:pt x="35" y="177"/>
                    </a:cubicBezTo>
                    <a:cubicBezTo>
                      <a:pt x="38" y="180"/>
                      <a:pt x="41" y="180"/>
                      <a:pt x="41" y="183"/>
                    </a:cubicBezTo>
                    <a:cubicBezTo>
                      <a:pt x="41" y="186"/>
                      <a:pt x="44" y="186"/>
                      <a:pt x="47" y="189"/>
                    </a:cubicBezTo>
                    <a:cubicBezTo>
                      <a:pt x="50" y="192"/>
                      <a:pt x="50" y="195"/>
                      <a:pt x="50" y="198"/>
                    </a:cubicBezTo>
                    <a:cubicBezTo>
                      <a:pt x="59" y="204"/>
                      <a:pt x="59" y="204"/>
                      <a:pt x="59" y="204"/>
                    </a:cubicBezTo>
                    <a:cubicBezTo>
                      <a:pt x="62" y="210"/>
                      <a:pt x="62" y="210"/>
                      <a:pt x="62" y="210"/>
                    </a:cubicBezTo>
                    <a:cubicBezTo>
                      <a:pt x="62" y="210"/>
                      <a:pt x="65" y="210"/>
                      <a:pt x="65" y="213"/>
                    </a:cubicBezTo>
                    <a:cubicBezTo>
                      <a:pt x="65" y="216"/>
                      <a:pt x="68" y="219"/>
                      <a:pt x="68" y="219"/>
                    </a:cubicBezTo>
                    <a:cubicBezTo>
                      <a:pt x="68" y="219"/>
                      <a:pt x="74" y="219"/>
                      <a:pt x="77" y="219"/>
                    </a:cubicBezTo>
                    <a:cubicBezTo>
                      <a:pt x="80" y="216"/>
                      <a:pt x="83" y="219"/>
                      <a:pt x="83" y="219"/>
                    </a:cubicBezTo>
                    <a:cubicBezTo>
                      <a:pt x="83" y="219"/>
                      <a:pt x="86" y="216"/>
                      <a:pt x="89" y="216"/>
                    </a:cubicBezTo>
                    <a:cubicBezTo>
                      <a:pt x="89" y="219"/>
                      <a:pt x="95" y="222"/>
                      <a:pt x="101" y="228"/>
                    </a:cubicBezTo>
                    <a:cubicBezTo>
                      <a:pt x="101" y="228"/>
                      <a:pt x="107" y="225"/>
                      <a:pt x="110" y="225"/>
                    </a:cubicBezTo>
                    <a:cubicBezTo>
                      <a:pt x="113" y="225"/>
                      <a:pt x="116" y="231"/>
                      <a:pt x="116" y="228"/>
                    </a:cubicBezTo>
                    <a:cubicBezTo>
                      <a:pt x="116" y="228"/>
                      <a:pt x="122" y="225"/>
                      <a:pt x="125" y="225"/>
                    </a:cubicBezTo>
                    <a:cubicBezTo>
                      <a:pt x="125" y="225"/>
                      <a:pt x="131" y="228"/>
                      <a:pt x="131" y="225"/>
                    </a:cubicBezTo>
                    <a:cubicBezTo>
                      <a:pt x="134" y="222"/>
                      <a:pt x="134" y="222"/>
                      <a:pt x="134" y="222"/>
                    </a:cubicBezTo>
                    <a:cubicBezTo>
                      <a:pt x="137" y="222"/>
                      <a:pt x="137" y="219"/>
                      <a:pt x="137" y="219"/>
                    </a:cubicBezTo>
                    <a:cubicBezTo>
                      <a:pt x="137" y="216"/>
                      <a:pt x="143" y="213"/>
                      <a:pt x="146" y="213"/>
                    </a:cubicBezTo>
                    <a:cubicBezTo>
                      <a:pt x="149" y="213"/>
                      <a:pt x="152" y="213"/>
                      <a:pt x="152" y="213"/>
                    </a:cubicBezTo>
                    <a:cubicBezTo>
                      <a:pt x="152" y="216"/>
                      <a:pt x="155" y="216"/>
                      <a:pt x="155" y="216"/>
                    </a:cubicBezTo>
                    <a:cubicBezTo>
                      <a:pt x="155" y="210"/>
                      <a:pt x="158" y="207"/>
                      <a:pt x="155" y="207"/>
                    </a:cubicBezTo>
                    <a:cubicBezTo>
                      <a:pt x="152" y="207"/>
                      <a:pt x="146" y="204"/>
                      <a:pt x="146" y="198"/>
                    </a:cubicBezTo>
                    <a:cubicBezTo>
                      <a:pt x="143" y="192"/>
                      <a:pt x="137" y="189"/>
                      <a:pt x="134" y="186"/>
                    </a:cubicBezTo>
                    <a:cubicBezTo>
                      <a:pt x="134" y="180"/>
                      <a:pt x="125" y="183"/>
                      <a:pt x="125" y="180"/>
                    </a:cubicBezTo>
                    <a:cubicBezTo>
                      <a:pt x="122" y="177"/>
                      <a:pt x="128" y="177"/>
                      <a:pt x="128" y="174"/>
                    </a:cubicBezTo>
                    <a:cubicBezTo>
                      <a:pt x="128" y="171"/>
                      <a:pt x="134" y="171"/>
                      <a:pt x="137" y="171"/>
                    </a:cubicBezTo>
                    <a:cubicBezTo>
                      <a:pt x="137" y="171"/>
                      <a:pt x="137" y="162"/>
                      <a:pt x="137" y="159"/>
                    </a:cubicBezTo>
                    <a:cubicBezTo>
                      <a:pt x="137" y="153"/>
                      <a:pt x="143" y="150"/>
                      <a:pt x="140" y="147"/>
                    </a:cubicBezTo>
                    <a:cubicBezTo>
                      <a:pt x="140" y="147"/>
                      <a:pt x="143" y="144"/>
                      <a:pt x="146" y="144"/>
                    </a:cubicBezTo>
                    <a:cubicBezTo>
                      <a:pt x="149" y="141"/>
                      <a:pt x="146" y="135"/>
                      <a:pt x="149" y="132"/>
                    </a:cubicBezTo>
                    <a:cubicBezTo>
                      <a:pt x="152" y="129"/>
                      <a:pt x="155" y="123"/>
                      <a:pt x="155" y="123"/>
                    </a:cubicBezTo>
                    <a:cubicBezTo>
                      <a:pt x="158" y="123"/>
                      <a:pt x="161" y="120"/>
                      <a:pt x="161" y="117"/>
                    </a:cubicBezTo>
                    <a:cubicBezTo>
                      <a:pt x="161" y="114"/>
                      <a:pt x="167" y="111"/>
                      <a:pt x="164" y="105"/>
                    </a:cubicBezTo>
                    <a:cubicBezTo>
                      <a:pt x="164" y="99"/>
                      <a:pt x="161" y="93"/>
                      <a:pt x="167" y="90"/>
                    </a:cubicBezTo>
                    <a:cubicBezTo>
                      <a:pt x="170" y="84"/>
                      <a:pt x="170" y="81"/>
                      <a:pt x="170" y="78"/>
                    </a:cubicBezTo>
                    <a:cubicBezTo>
                      <a:pt x="170" y="75"/>
                      <a:pt x="173" y="75"/>
                      <a:pt x="176" y="72"/>
                    </a:cubicBezTo>
                    <a:cubicBezTo>
                      <a:pt x="179" y="72"/>
                      <a:pt x="182" y="69"/>
                      <a:pt x="188" y="63"/>
                    </a:cubicBezTo>
                    <a:cubicBezTo>
                      <a:pt x="185" y="60"/>
                      <a:pt x="182" y="57"/>
                      <a:pt x="179" y="57"/>
                    </a:cubicBezTo>
                    <a:cubicBezTo>
                      <a:pt x="176" y="54"/>
                      <a:pt x="173" y="48"/>
                      <a:pt x="173" y="39"/>
                    </a:cubicBezTo>
                    <a:cubicBezTo>
                      <a:pt x="173" y="30"/>
                      <a:pt x="170" y="21"/>
                      <a:pt x="170" y="18"/>
                    </a:cubicBezTo>
                    <a:cubicBezTo>
                      <a:pt x="170" y="15"/>
                      <a:pt x="167" y="9"/>
                      <a:pt x="161" y="9"/>
                    </a:cubicBezTo>
                    <a:cubicBezTo>
                      <a:pt x="158" y="6"/>
                      <a:pt x="155" y="3"/>
                      <a:pt x="155" y="0"/>
                    </a:cubicBezTo>
                    <a:cubicBezTo>
                      <a:pt x="155" y="0"/>
                      <a:pt x="155" y="0"/>
                      <a:pt x="155" y="0"/>
                    </a:cubicBezTo>
                    <a:cubicBezTo>
                      <a:pt x="152" y="3"/>
                      <a:pt x="152" y="3"/>
                      <a:pt x="14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0" name="Freeform 724"/>
              <p:cNvSpPr>
                <a:spLocks/>
              </p:cNvSpPr>
              <p:nvPr userDrawn="1"/>
            </p:nvSpPr>
            <p:spPr bwMode="auto">
              <a:xfrm>
                <a:off x="4198" y="-1371"/>
                <a:ext cx="38" cy="33"/>
              </a:xfrm>
              <a:custGeom>
                <a:avLst/>
                <a:gdLst>
                  <a:gd name="T0" fmla="*/ 9 w 24"/>
                  <a:gd name="T1" fmla="*/ 3 h 21"/>
                  <a:gd name="T2" fmla="*/ 3 w 24"/>
                  <a:gd name="T3" fmla="*/ 12 h 21"/>
                  <a:gd name="T4" fmla="*/ 3 w 24"/>
                  <a:gd name="T5" fmla="*/ 21 h 21"/>
                  <a:gd name="T6" fmla="*/ 9 w 24"/>
                  <a:gd name="T7" fmla="*/ 21 h 21"/>
                  <a:gd name="T8" fmla="*/ 15 w 24"/>
                  <a:gd name="T9" fmla="*/ 21 h 21"/>
                  <a:gd name="T10" fmla="*/ 21 w 24"/>
                  <a:gd name="T11" fmla="*/ 18 h 21"/>
                  <a:gd name="T12" fmla="*/ 15 w 24"/>
                  <a:gd name="T13" fmla="*/ 15 h 21"/>
                  <a:gd name="T14" fmla="*/ 21 w 24"/>
                  <a:gd name="T15" fmla="*/ 9 h 21"/>
                  <a:gd name="T16" fmla="*/ 18 w 24"/>
                  <a:gd name="T17" fmla="*/ 3 h 21"/>
                  <a:gd name="T18" fmla="*/ 18 w 24"/>
                  <a:gd name="T19" fmla="*/ 0 h 21"/>
                  <a:gd name="T20" fmla="*/ 15 w 24"/>
                  <a:gd name="T21" fmla="*/ 3 h 21"/>
                  <a:gd name="T22" fmla="*/ 9 w 24"/>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1">
                    <a:moveTo>
                      <a:pt x="9" y="3"/>
                    </a:moveTo>
                    <a:cubicBezTo>
                      <a:pt x="9" y="6"/>
                      <a:pt x="6" y="9"/>
                      <a:pt x="3" y="12"/>
                    </a:cubicBezTo>
                    <a:cubicBezTo>
                      <a:pt x="0" y="15"/>
                      <a:pt x="3" y="18"/>
                      <a:pt x="3" y="21"/>
                    </a:cubicBezTo>
                    <a:cubicBezTo>
                      <a:pt x="9" y="21"/>
                      <a:pt x="9" y="21"/>
                      <a:pt x="9" y="21"/>
                    </a:cubicBezTo>
                    <a:cubicBezTo>
                      <a:pt x="12" y="18"/>
                      <a:pt x="12" y="21"/>
                      <a:pt x="15" y="21"/>
                    </a:cubicBezTo>
                    <a:cubicBezTo>
                      <a:pt x="15" y="21"/>
                      <a:pt x="18" y="18"/>
                      <a:pt x="21" y="18"/>
                    </a:cubicBezTo>
                    <a:cubicBezTo>
                      <a:pt x="18" y="15"/>
                      <a:pt x="15" y="15"/>
                      <a:pt x="15" y="15"/>
                    </a:cubicBezTo>
                    <a:cubicBezTo>
                      <a:pt x="12" y="12"/>
                      <a:pt x="18" y="9"/>
                      <a:pt x="21" y="9"/>
                    </a:cubicBezTo>
                    <a:cubicBezTo>
                      <a:pt x="24" y="9"/>
                      <a:pt x="21" y="6"/>
                      <a:pt x="18" y="3"/>
                    </a:cubicBezTo>
                    <a:cubicBezTo>
                      <a:pt x="18" y="0"/>
                      <a:pt x="18" y="0"/>
                      <a:pt x="18" y="0"/>
                    </a:cubicBezTo>
                    <a:cubicBezTo>
                      <a:pt x="15" y="3"/>
                      <a:pt x="15" y="3"/>
                      <a:pt x="15" y="3"/>
                    </a:cubicBezTo>
                    <a:cubicBezTo>
                      <a:pt x="15" y="3"/>
                      <a:pt x="12" y="3"/>
                      <a:pt x="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1" name="Freeform 725"/>
              <p:cNvSpPr>
                <a:spLocks/>
              </p:cNvSpPr>
              <p:nvPr userDrawn="1"/>
            </p:nvSpPr>
            <p:spPr bwMode="auto">
              <a:xfrm>
                <a:off x="4198" y="-1371"/>
                <a:ext cx="38" cy="33"/>
              </a:xfrm>
              <a:custGeom>
                <a:avLst/>
                <a:gdLst>
                  <a:gd name="T0" fmla="*/ 9 w 24"/>
                  <a:gd name="T1" fmla="*/ 3 h 21"/>
                  <a:gd name="T2" fmla="*/ 3 w 24"/>
                  <a:gd name="T3" fmla="*/ 12 h 21"/>
                  <a:gd name="T4" fmla="*/ 3 w 24"/>
                  <a:gd name="T5" fmla="*/ 21 h 21"/>
                  <a:gd name="T6" fmla="*/ 9 w 24"/>
                  <a:gd name="T7" fmla="*/ 21 h 21"/>
                  <a:gd name="T8" fmla="*/ 15 w 24"/>
                  <a:gd name="T9" fmla="*/ 21 h 21"/>
                  <a:gd name="T10" fmla="*/ 21 w 24"/>
                  <a:gd name="T11" fmla="*/ 18 h 21"/>
                  <a:gd name="T12" fmla="*/ 15 w 24"/>
                  <a:gd name="T13" fmla="*/ 15 h 21"/>
                  <a:gd name="T14" fmla="*/ 21 w 24"/>
                  <a:gd name="T15" fmla="*/ 9 h 21"/>
                  <a:gd name="T16" fmla="*/ 18 w 24"/>
                  <a:gd name="T17" fmla="*/ 3 h 21"/>
                  <a:gd name="T18" fmla="*/ 18 w 24"/>
                  <a:gd name="T19" fmla="*/ 0 h 21"/>
                  <a:gd name="T20" fmla="*/ 15 w 24"/>
                  <a:gd name="T21" fmla="*/ 3 h 21"/>
                  <a:gd name="T22" fmla="*/ 9 w 24"/>
                  <a:gd name="T2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1">
                    <a:moveTo>
                      <a:pt x="9" y="3"/>
                    </a:moveTo>
                    <a:cubicBezTo>
                      <a:pt x="9" y="6"/>
                      <a:pt x="6" y="9"/>
                      <a:pt x="3" y="12"/>
                    </a:cubicBezTo>
                    <a:cubicBezTo>
                      <a:pt x="0" y="15"/>
                      <a:pt x="3" y="18"/>
                      <a:pt x="3" y="21"/>
                    </a:cubicBezTo>
                    <a:cubicBezTo>
                      <a:pt x="9" y="21"/>
                      <a:pt x="9" y="21"/>
                      <a:pt x="9" y="21"/>
                    </a:cubicBezTo>
                    <a:cubicBezTo>
                      <a:pt x="12" y="18"/>
                      <a:pt x="12" y="21"/>
                      <a:pt x="15" y="21"/>
                    </a:cubicBezTo>
                    <a:cubicBezTo>
                      <a:pt x="15" y="21"/>
                      <a:pt x="18" y="18"/>
                      <a:pt x="21" y="18"/>
                    </a:cubicBezTo>
                    <a:cubicBezTo>
                      <a:pt x="18" y="15"/>
                      <a:pt x="15" y="15"/>
                      <a:pt x="15" y="15"/>
                    </a:cubicBezTo>
                    <a:cubicBezTo>
                      <a:pt x="12" y="12"/>
                      <a:pt x="18" y="9"/>
                      <a:pt x="21" y="9"/>
                    </a:cubicBezTo>
                    <a:cubicBezTo>
                      <a:pt x="24" y="9"/>
                      <a:pt x="21" y="6"/>
                      <a:pt x="18" y="3"/>
                    </a:cubicBezTo>
                    <a:cubicBezTo>
                      <a:pt x="18" y="0"/>
                      <a:pt x="18" y="0"/>
                      <a:pt x="18" y="0"/>
                    </a:cubicBezTo>
                    <a:cubicBezTo>
                      <a:pt x="15" y="3"/>
                      <a:pt x="15" y="3"/>
                      <a:pt x="15" y="3"/>
                    </a:cubicBezTo>
                    <a:cubicBezTo>
                      <a:pt x="15" y="3"/>
                      <a:pt x="12" y="3"/>
                      <a:pt x="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2" name="Freeform 726"/>
              <p:cNvSpPr>
                <a:spLocks/>
              </p:cNvSpPr>
              <p:nvPr userDrawn="1"/>
            </p:nvSpPr>
            <p:spPr bwMode="auto">
              <a:xfrm>
                <a:off x="4106" y="-1465"/>
                <a:ext cx="122" cy="99"/>
              </a:xfrm>
              <a:custGeom>
                <a:avLst/>
                <a:gdLst>
                  <a:gd name="T0" fmla="*/ 15 w 78"/>
                  <a:gd name="T1" fmla="*/ 9 h 63"/>
                  <a:gd name="T2" fmla="*/ 9 w 78"/>
                  <a:gd name="T3" fmla="*/ 15 h 63"/>
                  <a:gd name="T4" fmla="*/ 6 w 78"/>
                  <a:gd name="T5" fmla="*/ 27 h 63"/>
                  <a:gd name="T6" fmla="*/ 3 w 78"/>
                  <a:gd name="T7" fmla="*/ 42 h 63"/>
                  <a:gd name="T8" fmla="*/ 15 w 78"/>
                  <a:gd name="T9" fmla="*/ 42 h 63"/>
                  <a:gd name="T10" fmla="*/ 18 w 78"/>
                  <a:gd name="T11" fmla="*/ 39 h 63"/>
                  <a:gd name="T12" fmla="*/ 21 w 78"/>
                  <a:gd name="T13" fmla="*/ 36 h 63"/>
                  <a:gd name="T14" fmla="*/ 30 w 78"/>
                  <a:gd name="T15" fmla="*/ 39 h 63"/>
                  <a:gd name="T16" fmla="*/ 33 w 78"/>
                  <a:gd name="T17" fmla="*/ 39 h 63"/>
                  <a:gd name="T18" fmla="*/ 45 w 78"/>
                  <a:gd name="T19" fmla="*/ 39 h 63"/>
                  <a:gd name="T20" fmla="*/ 69 w 78"/>
                  <a:gd name="T21" fmla="*/ 63 h 63"/>
                  <a:gd name="T22" fmla="*/ 69 w 78"/>
                  <a:gd name="T23" fmla="*/ 63 h 63"/>
                  <a:gd name="T24" fmla="*/ 75 w 78"/>
                  <a:gd name="T25" fmla="*/ 63 h 63"/>
                  <a:gd name="T26" fmla="*/ 78 w 78"/>
                  <a:gd name="T27" fmla="*/ 60 h 63"/>
                  <a:gd name="T28" fmla="*/ 66 w 78"/>
                  <a:gd name="T29" fmla="*/ 48 h 63"/>
                  <a:gd name="T30" fmla="*/ 48 w 78"/>
                  <a:gd name="T31" fmla="*/ 36 h 63"/>
                  <a:gd name="T32" fmla="*/ 42 w 78"/>
                  <a:gd name="T33" fmla="*/ 27 h 63"/>
                  <a:gd name="T34" fmla="*/ 33 w 78"/>
                  <a:gd name="T35" fmla="*/ 12 h 63"/>
                  <a:gd name="T36" fmla="*/ 27 w 78"/>
                  <a:gd name="T37" fmla="*/ 0 h 63"/>
                  <a:gd name="T38" fmla="*/ 15 w 78"/>
                  <a:gd name="T3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63">
                    <a:moveTo>
                      <a:pt x="15" y="9"/>
                    </a:moveTo>
                    <a:cubicBezTo>
                      <a:pt x="12" y="12"/>
                      <a:pt x="9" y="12"/>
                      <a:pt x="9" y="15"/>
                    </a:cubicBezTo>
                    <a:cubicBezTo>
                      <a:pt x="9" y="18"/>
                      <a:pt x="9" y="21"/>
                      <a:pt x="6" y="27"/>
                    </a:cubicBezTo>
                    <a:cubicBezTo>
                      <a:pt x="0" y="30"/>
                      <a:pt x="3" y="36"/>
                      <a:pt x="3" y="42"/>
                    </a:cubicBezTo>
                    <a:cubicBezTo>
                      <a:pt x="9" y="42"/>
                      <a:pt x="12" y="42"/>
                      <a:pt x="15" y="42"/>
                    </a:cubicBezTo>
                    <a:cubicBezTo>
                      <a:pt x="15" y="45"/>
                      <a:pt x="15" y="42"/>
                      <a:pt x="18" y="39"/>
                    </a:cubicBezTo>
                    <a:cubicBezTo>
                      <a:pt x="18" y="36"/>
                      <a:pt x="21" y="36"/>
                      <a:pt x="21" y="36"/>
                    </a:cubicBezTo>
                    <a:cubicBezTo>
                      <a:pt x="24" y="39"/>
                      <a:pt x="27" y="42"/>
                      <a:pt x="30" y="39"/>
                    </a:cubicBezTo>
                    <a:cubicBezTo>
                      <a:pt x="33" y="39"/>
                      <a:pt x="33" y="39"/>
                      <a:pt x="33" y="39"/>
                    </a:cubicBezTo>
                    <a:cubicBezTo>
                      <a:pt x="36" y="42"/>
                      <a:pt x="42" y="39"/>
                      <a:pt x="45" y="39"/>
                    </a:cubicBezTo>
                    <a:cubicBezTo>
                      <a:pt x="48" y="39"/>
                      <a:pt x="69" y="63"/>
                      <a:pt x="69" y="63"/>
                    </a:cubicBezTo>
                    <a:cubicBezTo>
                      <a:pt x="69" y="63"/>
                      <a:pt x="69" y="63"/>
                      <a:pt x="69" y="63"/>
                    </a:cubicBezTo>
                    <a:cubicBezTo>
                      <a:pt x="72" y="63"/>
                      <a:pt x="75" y="63"/>
                      <a:pt x="75" y="63"/>
                    </a:cubicBezTo>
                    <a:cubicBezTo>
                      <a:pt x="75" y="63"/>
                      <a:pt x="75" y="63"/>
                      <a:pt x="78" y="60"/>
                    </a:cubicBezTo>
                    <a:cubicBezTo>
                      <a:pt x="75" y="57"/>
                      <a:pt x="72" y="54"/>
                      <a:pt x="66" y="48"/>
                    </a:cubicBezTo>
                    <a:cubicBezTo>
                      <a:pt x="60" y="39"/>
                      <a:pt x="51" y="36"/>
                      <a:pt x="48" y="36"/>
                    </a:cubicBezTo>
                    <a:cubicBezTo>
                      <a:pt x="45" y="36"/>
                      <a:pt x="42" y="27"/>
                      <a:pt x="42" y="27"/>
                    </a:cubicBezTo>
                    <a:cubicBezTo>
                      <a:pt x="39" y="27"/>
                      <a:pt x="33" y="18"/>
                      <a:pt x="33" y="12"/>
                    </a:cubicBezTo>
                    <a:cubicBezTo>
                      <a:pt x="33" y="9"/>
                      <a:pt x="30" y="3"/>
                      <a:pt x="27" y="0"/>
                    </a:cubicBezTo>
                    <a:cubicBezTo>
                      <a:pt x="21" y="6"/>
                      <a:pt x="18" y="9"/>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3" name="Freeform 727"/>
              <p:cNvSpPr>
                <a:spLocks/>
              </p:cNvSpPr>
              <p:nvPr userDrawn="1"/>
            </p:nvSpPr>
            <p:spPr bwMode="auto">
              <a:xfrm>
                <a:off x="4106" y="-1465"/>
                <a:ext cx="122" cy="99"/>
              </a:xfrm>
              <a:custGeom>
                <a:avLst/>
                <a:gdLst>
                  <a:gd name="T0" fmla="*/ 15 w 78"/>
                  <a:gd name="T1" fmla="*/ 9 h 63"/>
                  <a:gd name="T2" fmla="*/ 9 w 78"/>
                  <a:gd name="T3" fmla="*/ 15 h 63"/>
                  <a:gd name="T4" fmla="*/ 6 w 78"/>
                  <a:gd name="T5" fmla="*/ 27 h 63"/>
                  <a:gd name="T6" fmla="*/ 3 w 78"/>
                  <a:gd name="T7" fmla="*/ 42 h 63"/>
                  <a:gd name="T8" fmla="*/ 15 w 78"/>
                  <a:gd name="T9" fmla="*/ 42 h 63"/>
                  <a:gd name="T10" fmla="*/ 18 w 78"/>
                  <a:gd name="T11" fmla="*/ 39 h 63"/>
                  <a:gd name="T12" fmla="*/ 21 w 78"/>
                  <a:gd name="T13" fmla="*/ 36 h 63"/>
                  <a:gd name="T14" fmla="*/ 30 w 78"/>
                  <a:gd name="T15" fmla="*/ 39 h 63"/>
                  <a:gd name="T16" fmla="*/ 33 w 78"/>
                  <a:gd name="T17" fmla="*/ 39 h 63"/>
                  <a:gd name="T18" fmla="*/ 45 w 78"/>
                  <a:gd name="T19" fmla="*/ 39 h 63"/>
                  <a:gd name="T20" fmla="*/ 69 w 78"/>
                  <a:gd name="T21" fmla="*/ 63 h 63"/>
                  <a:gd name="T22" fmla="*/ 69 w 78"/>
                  <a:gd name="T23" fmla="*/ 63 h 63"/>
                  <a:gd name="T24" fmla="*/ 75 w 78"/>
                  <a:gd name="T25" fmla="*/ 63 h 63"/>
                  <a:gd name="T26" fmla="*/ 78 w 78"/>
                  <a:gd name="T27" fmla="*/ 60 h 63"/>
                  <a:gd name="T28" fmla="*/ 66 w 78"/>
                  <a:gd name="T29" fmla="*/ 48 h 63"/>
                  <a:gd name="T30" fmla="*/ 48 w 78"/>
                  <a:gd name="T31" fmla="*/ 36 h 63"/>
                  <a:gd name="T32" fmla="*/ 42 w 78"/>
                  <a:gd name="T33" fmla="*/ 27 h 63"/>
                  <a:gd name="T34" fmla="*/ 33 w 78"/>
                  <a:gd name="T35" fmla="*/ 12 h 63"/>
                  <a:gd name="T36" fmla="*/ 27 w 78"/>
                  <a:gd name="T37" fmla="*/ 0 h 63"/>
                  <a:gd name="T38" fmla="*/ 15 w 78"/>
                  <a:gd name="T39" fmla="*/ 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63">
                    <a:moveTo>
                      <a:pt x="15" y="9"/>
                    </a:moveTo>
                    <a:cubicBezTo>
                      <a:pt x="12" y="12"/>
                      <a:pt x="9" y="12"/>
                      <a:pt x="9" y="15"/>
                    </a:cubicBezTo>
                    <a:cubicBezTo>
                      <a:pt x="9" y="18"/>
                      <a:pt x="9" y="21"/>
                      <a:pt x="6" y="27"/>
                    </a:cubicBezTo>
                    <a:cubicBezTo>
                      <a:pt x="0" y="30"/>
                      <a:pt x="3" y="36"/>
                      <a:pt x="3" y="42"/>
                    </a:cubicBezTo>
                    <a:cubicBezTo>
                      <a:pt x="9" y="42"/>
                      <a:pt x="12" y="42"/>
                      <a:pt x="15" y="42"/>
                    </a:cubicBezTo>
                    <a:cubicBezTo>
                      <a:pt x="15" y="45"/>
                      <a:pt x="15" y="42"/>
                      <a:pt x="18" y="39"/>
                    </a:cubicBezTo>
                    <a:cubicBezTo>
                      <a:pt x="18" y="36"/>
                      <a:pt x="21" y="36"/>
                      <a:pt x="21" y="36"/>
                    </a:cubicBezTo>
                    <a:cubicBezTo>
                      <a:pt x="24" y="39"/>
                      <a:pt x="27" y="42"/>
                      <a:pt x="30" y="39"/>
                    </a:cubicBezTo>
                    <a:cubicBezTo>
                      <a:pt x="33" y="39"/>
                      <a:pt x="33" y="39"/>
                      <a:pt x="33" y="39"/>
                    </a:cubicBezTo>
                    <a:cubicBezTo>
                      <a:pt x="36" y="42"/>
                      <a:pt x="42" y="39"/>
                      <a:pt x="45" y="39"/>
                    </a:cubicBezTo>
                    <a:cubicBezTo>
                      <a:pt x="48" y="39"/>
                      <a:pt x="69" y="63"/>
                      <a:pt x="69" y="63"/>
                    </a:cubicBezTo>
                    <a:cubicBezTo>
                      <a:pt x="69" y="63"/>
                      <a:pt x="69" y="63"/>
                      <a:pt x="69" y="63"/>
                    </a:cubicBezTo>
                    <a:cubicBezTo>
                      <a:pt x="72" y="63"/>
                      <a:pt x="75" y="63"/>
                      <a:pt x="75" y="63"/>
                    </a:cubicBezTo>
                    <a:cubicBezTo>
                      <a:pt x="75" y="63"/>
                      <a:pt x="75" y="63"/>
                      <a:pt x="78" y="60"/>
                    </a:cubicBezTo>
                    <a:cubicBezTo>
                      <a:pt x="75" y="57"/>
                      <a:pt x="72" y="54"/>
                      <a:pt x="66" y="48"/>
                    </a:cubicBezTo>
                    <a:cubicBezTo>
                      <a:pt x="60" y="39"/>
                      <a:pt x="51" y="36"/>
                      <a:pt x="48" y="36"/>
                    </a:cubicBezTo>
                    <a:cubicBezTo>
                      <a:pt x="45" y="36"/>
                      <a:pt x="42" y="27"/>
                      <a:pt x="42" y="27"/>
                    </a:cubicBezTo>
                    <a:cubicBezTo>
                      <a:pt x="39" y="27"/>
                      <a:pt x="33" y="18"/>
                      <a:pt x="33" y="12"/>
                    </a:cubicBezTo>
                    <a:cubicBezTo>
                      <a:pt x="33" y="9"/>
                      <a:pt x="30" y="3"/>
                      <a:pt x="27" y="0"/>
                    </a:cubicBezTo>
                    <a:cubicBezTo>
                      <a:pt x="21" y="6"/>
                      <a:pt x="18" y="9"/>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4" name="Freeform 728"/>
              <p:cNvSpPr>
                <a:spLocks/>
              </p:cNvSpPr>
              <p:nvPr userDrawn="1"/>
            </p:nvSpPr>
            <p:spPr bwMode="auto">
              <a:xfrm>
                <a:off x="4046" y="-1408"/>
                <a:ext cx="265" cy="205"/>
              </a:xfrm>
              <a:custGeom>
                <a:avLst/>
                <a:gdLst>
                  <a:gd name="T0" fmla="*/ 12 w 170"/>
                  <a:gd name="T1" fmla="*/ 87 h 132"/>
                  <a:gd name="T2" fmla="*/ 24 w 170"/>
                  <a:gd name="T3" fmla="*/ 99 h 132"/>
                  <a:gd name="T4" fmla="*/ 33 w 170"/>
                  <a:gd name="T5" fmla="*/ 108 h 132"/>
                  <a:gd name="T6" fmla="*/ 33 w 170"/>
                  <a:gd name="T7" fmla="*/ 117 h 132"/>
                  <a:gd name="T8" fmla="*/ 36 w 170"/>
                  <a:gd name="T9" fmla="*/ 117 h 132"/>
                  <a:gd name="T10" fmla="*/ 48 w 170"/>
                  <a:gd name="T11" fmla="*/ 120 h 132"/>
                  <a:gd name="T12" fmla="*/ 60 w 170"/>
                  <a:gd name="T13" fmla="*/ 129 h 132"/>
                  <a:gd name="T14" fmla="*/ 74 w 170"/>
                  <a:gd name="T15" fmla="*/ 129 h 132"/>
                  <a:gd name="T16" fmla="*/ 80 w 170"/>
                  <a:gd name="T17" fmla="*/ 123 h 132"/>
                  <a:gd name="T18" fmla="*/ 92 w 170"/>
                  <a:gd name="T19" fmla="*/ 123 h 132"/>
                  <a:gd name="T20" fmla="*/ 95 w 170"/>
                  <a:gd name="T21" fmla="*/ 126 h 132"/>
                  <a:gd name="T22" fmla="*/ 101 w 170"/>
                  <a:gd name="T23" fmla="*/ 123 h 132"/>
                  <a:gd name="T24" fmla="*/ 110 w 170"/>
                  <a:gd name="T25" fmla="*/ 123 h 132"/>
                  <a:gd name="T26" fmla="*/ 125 w 170"/>
                  <a:gd name="T27" fmla="*/ 114 h 132"/>
                  <a:gd name="T28" fmla="*/ 137 w 170"/>
                  <a:gd name="T29" fmla="*/ 111 h 132"/>
                  <a:gd name="T30" fmla="*/ 167 w 170"/>
                  <a:gd name="T31" fmla="*/ 81 h 132"/>
                  <a:gd name="T32" fmla="*/ 164 w 170"/>
                  <a:gd name="T33" fmla="*/ 78 h 132"/>
                  <a:gd name="T34" fmla="*/ 149 w 170"/>
                  <a:gd name="T35" fmla="*/ 75 h 132"/>
                  <a:gd name="T36" fmla="*/ 125 w 170"/>
                  <a:gd name="T37" fmla="*/ 69 h 132"/>
                  <a:gd name="T38" fmla="*/ 119 w 170"/>
                  <a:gd name="T39" fmla="*/ 60 h 132"/>
                  <a:gd name="T40" fmla="*/ 110 w 170"/>
                  <a:gd name="T41" fmla="*/ 51 h 132"/>
                  <a:gd name="T42" fmla="*/ 113 w 170"/>
                  <a:gd name="T43" fmla="*/ 45 h 132"/>
                  <a:gd name="T44" fmla="*/ 107 w 170"/>
                  <a:gd name="T45" fmla="*/ 45 h 132"/>
                  <a:gd name="T46" fmla="*/ 101 w 170"/>
                  <a:gd name="T47" fmla="*/ 45 h 132"/>
                  <a:gd name="T48" fmla="*/ 101 w 170"/>
                  <a:gd name="T49" fmla="*/ 36 h 132"/>
                  <a:gd name="T50" fmla="*/ 107 w 170"/>
                  <a:gd name="T51" fmla="*/ 27 h 132"/>
                  <a:gd name="T52" fmla="*/ 83 w 170"/>
                  <a:gd name="T53" fmla="*/ 3 h 132"/>
                  <a:gd name="T54" fmla="*/ 71 w 170"/>
                  <a:gd name="T55" fmla="*/ 3 h 132"/>
                  <a:gd name="T56" fmla="*/ 68 w 170"/>
                  <a:gd name="T57" fmla="*/ 3 h 132"/>
                  <a:gd name="T58" fmla="*/ 60 w 170"/>
                  <a:gd name="T59" fmla="*/ 0 h 132"/>
                  <a:gd name="T60" fmla="*/ 57 w 170"/>
                  <a:gd name="T61" fmla="*/ 3 h 132"/>
                  <a:gd name="T62" fmla="*/ 54 w 170"/>
                  <a:gd name="T63" fmla="*/ 6 h 132"/>
                  <a:gd name="T64" fmla="*/ 42 w 170"/>
                  <a:gd name="T65" fmla="*/ 6 h 132"/>
                  <a:gd name="T66" fmla="*/ 42 w 170"/>
                  <a:gd name="T67" fmla="*/ 6 h 132"/>
                  <a:gd name="T68" fmla="*/ 39 w 170"/>
                  <a:gd name="T69" fmla="*/ 18 h 132"/>
                  <a:gd name="T70" fmla="*/ 33 w 170"/>
                  <a:gd name="T71" fmla="*/ 24 h 132"/>
                  <a:gd name="T72" fmla="*/ 27 w 170"/>
                  <a:gd name="T73" fmla="*/ 33 h 132"/>
                  <a:gd name="T74" fmla="*/ 24 w 170"/>
                  <a:gd name="T75" fmla="*/ 45 h 132"/>
                  <a:gd name="T76" fmla="*/ 18 w 170"/>
                  <a:gd name="T77" fmla="*/ 48 h 132"/>
                  <a:gd name="T78" fmla="*/ 15 w 170"/>
                  <a:gd name="T79" fmla="*/ 60 h 132"/>
                  <a:gd name="T80" fmla="*/ 15 w 170"/>
                  <a:gd name="T81" fmla="*/ 72 h 132"/>
                  <a:gd name="T82" fmla="*/ 6 w 170"/>
                  <a:gd name="T83" fmla="*/ 75 h 132"/>
                  <a:gd name="T84" fmla="*/ 3 w 170"/>
                  <a:gd name="T85" fmla="*/ 81 h 132"/>
                  <a:gd name="T86" fmla="*/ 12 w 170"/>
                  <a:gd name="T87"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0" h="132">
                    <a:moveTo>
                      <a:pt x="12" y="87"/>
                    </a:moveTo>
                    <a:cubicBezTo>
                      <a:pt x="15" y="90"/>
                      <a:pt x="21" y="93"/>
                      <a:pt x="24" y="99"/>
                    </a:cubicBezTo>
                    <a:cubicBezTo>
                      <a:pt x="24" y="105"/>
                      <a:pt x="30" y="108"/>
                      <a:pt x="33" y="108"/>
                    </a:cubicBezTo>
                    <a:cubicBezTo>
                      <a:pt x="36" y="108"/>
                      <a:pt x="33" y="111"/>
                      <a:pt x="33" y="117"/>
                    </a:cubicBezTo>
                    <a:cubicBezTo>
                      <a:pt x="36" y="117"/>
                      <a:pt x="36" y="117"/>
                      <a:pt x="36" y="117"/>
                    </a:cubicBezTo>
                    <a:cubicBezTo>
                      <a:pt x="39" y="120"/>
                      <a:pt x="45" y="117"/>
                      <a:pt x="48" y="120"/>
                    </a:cubicBezTo>
                    <a:cubicBezTo>
                      <a:pt x="51" y="123"/>
                      <a:pt x="60" y="129"/>
                      <a:pt x="60" y="129"/>
                    </a:cubicBezTo>
                    <a:cubicBezTo>
                      <a:pt x="62" y="129"/>
                      <a:pt x="71" y="129"/>
                      <a:pt x="74" y="129"/>
                    </a:cubicBezTo>
                    <a:cubicBezTo>
                      <a:pt x="74" y="132"/>
                      <a:pt x="77" y="126"/>
                      <a:pt x="80" y="123"/>
                    </a:cubicBezTo>
                    <a:cubicBezTo>
                      <a:pt x="86" y="123"/>
                      <a:pt x="89" y="120"/>
                      <a:pt x="92" y="123"/>
                    </a:cubicBezTo>
                    <a:cubicBezTo>
                      <a:pt x="95" y="126"/>
                      <a:pt x="95" y="126"/>
                      <a:pt x="95" y="126"/>
                    </a:cubicBezTo>
                    <a:cubicBezTo>
                      <a:pt x="98" y="123"/>
                      <a:pt x="98" y="123"/>
                      <a:pt x="101" y="123"/>
                    </a:cubicBezTo>
                    <a:cubicBezTo>
                      <a:pt x="104" y="123"/>
                      <a:pt x="110" y="120"/>
                      <a:pt x="110" y="123"/>
                    </a:cubicBezTo>
                    <a:cubicBezTo>
                      <a:pt x="113" y="123"/>
                      <a:pt x="119" y="114"/>
                      <a:pt x="125" y="114"/>
                    </a:cubicBezTo>
                    <a:cubicBezTo>
                      <a:pt x="134" y="114"/>
                      <a:pt x="134" y="114"/>
                      <a:pt x="137" y="111"/>
                    </a:cubicBezTo>
                    <a:cubicBezTo>
                      <a:pt x="140" y="108"/>
                      <a:pt x="167" y="84"/>
                      <a:pt x="167" y="81"/>
                    </a:cubicBezTo>
                    <a:cubicBezTo>
                      <a:pt x="170" y="81"/>
                      <a:pt x="167" y="78"/>
                      <a:pt x="164" y="78"/>
                    </a:cubicBezTo>
                    <a:cubicBezTo>
                      <a:pt x="161" y="78"/>
                      <a:pt x="158" y="78"/>
                      <a:pt x="149" y="75"/>
                    </a:cubicBezTo>
                    <a:cubicBezTo>
                      <a:pt x="140" y="72"/>
                      <a:pt x="128" y="69"/>
                      <a:pt x="125" y="69"/>
                    </a:cubicBezTo>
                    <a:cubicBezTo>
                      <a:pt x="125" y="66"/>
                      <a:pt x="119" y="63"/>
                      <a:pt x="119" y="60"/>
                    </a:cubicBezTo>
                    <a:cubicBezTo>
                      <a:pt x="116" y="60"/>
                      <a:pt x="113" y="54"/>
                      <a:pt x="110" y="51"/>
                    </a:cubicBezTo>
                    <a:cubicBezTo>
                      <a:pt x="110" y="51"/>
                      <a:pt x="113" y="48"/>
                      <a:pt x="113" y="45"/>
                    </a:cubicBezTo>
                    <a:cubicBezTo>
                      <a:pt x="110" y="45"/>
                      <a:pt x="110" y="42"/>
                      <a:pt x="107" y="45"/>
                    </a:cubicBezTo>
                    <a:cubicBezTo>
                      <a:pt x="101" y="45"/>
                      <a:pt x="101" y="45"/>
                      <a:pt x="101" y="45"/>
                    </a:cubicBezTo>
                    <a:cubicBezTo>
                      <a:pt x="101" y="42"/>
                      <a:pt x="98" y="39"/>
                      <a:pt x="101" y="36"/>
                    </a:cubicBezTo>
                    <a:cubicBezTo>
                      <a:pt x="104" y="33"/>
                      <a:pt x="107" y="27"/>
                      <a:pt x="107" y="27"/>
                    </a:cubicBezTo>
                    <a:cubicBezTo>
                      <a:pt x="107" y="27"/>
                      <a:pt x="86" y="3"/>
                      <a:pt x="83" y="3"/>
                    </a:cubicBezTo>
                    <a:cubicBezTo>
                      <a:pt x="80" y="3"/>
                      <a:pt x="74" y="6"/>
                      <a:pt x="71" y="3"/>
                    </a:cubicBezTo>
                    <a:cubicBezTo>
                      <a:pt x="71" y="3"/>
                      <a:pt x="71" y="3"/>
                      <a:pt x="68" y="3"/>
                    </a:cubicBezTo>
                    <a:cubicBezTo>
                      <a:pt x="65" y="6"/>
                      <a:pt x="62" y="3"/>
                      <a:pt x="60" y="0"/>
                    </a:cubicBezTo>
                    <a:cubicBezTo>
                      <a:pt x="60" y="0"/>
                      <a:pt x="57" y="0"/>
                      <a:pt x="57" y="3"/>
                    </a:cubicBezTo>
                    <a:cubicBezTo>
                      <a:pt x="54" y="6"/>
                      <a:pt x="54" y="9"/>
                      <a:pt x="54" y="6"/>
                    </a:cubicBezTo>
                    <a:cubicBezTo>
                      <a:pt x="51" y="6"/>
                      <a:pt x="48" y="6"/>
                      <a:pt x="42" y="6"/>
                    </a:cubicBezTo>
                    <a:cubicBezTo>
                      <a:pt x="42" y="6"/>
                      <a:pt x="42" y="6"/>
                      <a:pt x="42" y="6"/>
                    </a:cubicBezTo>
                    <a:cubicBezTo>
                      <a:pt x="45" y="12"/>
                      <a:pt x="39" y="15"/>
                      <a:pt x="39" y="18"/>
                    </a:cubicBezTo>
                    <a:cubicBezTo>
                      <a:pt x="39" y="21"/>
                      <a:pt x="36" y="24"/>
                      <a:pt x="33" y="24"/>
                    </a:cubicBezTo>
                    <a:cubicBezTo>
                      <a:pt x="33" y="24"/>
                      <a:pt x="30" y="30"/>
                      <a:pt x="27" y="33"/>
                    </a:cubicBezTo>
                    <a:cubicBezTo>
                      <a:pt x="24" y="36"/>
                      <a:pt x="27" y="42"/>
                      <a:pt x="24" y="45"/>
                    </a:cubicBezTo>
                    <a:cubicBezTo>
                      <a:pt x="21" y="45"/>
                      <a:pt x="18" y="48"/>
                      <a:pt x="18" y="48"/>
                    </a:cubicBezTo>
                    <a:cubicBezTo>
                      <a:pt x="21" y="51"/>
                      <a:pt x="15" y="54"/>
                      <a:pt x="15" y="60"/>
                    </a:cubicBezTo>
                    <a:cubicBezTo>
                      <a:pt x="15" y="63"/>
                      <a:pt x="15" y="72"/>
                      <a:pt x="15" y="72"/>
                    </a:cubicBezTo>
                    <a:cubicBezTo>
                      <a:pt x="12" y="72"/>
                      <a:pt x="6" y="72"/>
                      <a:pt x="6" y="75"/>
                    </a:cubicBezTo>
                    <a:cubicBezTo>
                      <a:pt x="6" y="78"/>
                      <a:pt x="0" y="78"/>
                      <a:pt x="3" y="81"/>
                    </a:cubicBezTo>
                    <a:cubicBezTo>
                      <a:pt x="3" y="84"/>
                      <a:pt x="12" y="81"/>
                      <a:pt x="12" y="8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5" name="Freeform 729"/>
              <p:cNvSpPr>
                <a:spLocks/>
              </p:cNvSpPr>
              <p:nvPr userDrawn="1"/>
            </p:nvSpPr>
            <p:spPr bwMode="auto">
              <a:xfrm>
                <a:off x="4046" y="-1408"/>
                <a:ext cx="265" cy="205"/>
              </a:xfrm>
              <a:custGeom>
                <a:avLst/>
                <a:gdLst>
                  <a:gd name="T0" fmla="*/ 12 w 170"/>
                  <a:gd name="T1" fmla="*/ 87 h 132"/>
                  <a:gd name="T2" fmla="*/ 24 w 170"/>
                  <a:gd name="T3" fmla="*/ 99 h 132"/>
                  <a:gd name="T4" fmla="*/ 33 w 170"/>
                  <a:gd name="T5" fmla="*/ 108 h 132"/>
                  <a:gd name="T6" fmla="*/ 33 w 170"/>
                  <a:gd name="T7" fmla="*/ 117 h 132"/>
                  <a:gd name="T8" fmla="*/ 36 w 170"/>
                  <a:gd name="T9" fmla="*/ 117 h 132"/>
                  <a:gd name="T10" fmla="*/ 48 w 170"/>
                  <a:gd name="T11" fmla="*/ 120 h 132"/>
                  <a:gd name="T12" fmla="*/ 60 w 170"/>
                  <a:gd name="T13" fmla="*/ 129 h 132"/>
                  <a:gd name="T14" fmla="*/ 74 w 170"/>
                  <a:gd name="T15" fmla="*/ 129 h 132"/>
                  <a:gd name="T16" fmla="*/ 80 w 170"/>
                  <a:gd name="T17" fmla="*/ 123 h 132"/>
                  <a:gd name="T18" fmla="*/ 92 w 170"/>
                  <a:gd name="T19" fmla="*/ 123 h 132"/>
                  <a:gd name="T20" fmla="*/ 95 w 170"/>
                  <a:gd name="T21" fmla="*/ 126 h 132"/>
                  <a:gd name="T22" fmla="*/ 101 w 170"/>
                  <a:gd name="T23" fmla="*/ 123 h 132"/>
                  <a:gd name="T24" fmla="*/ 110 w 170"/>
                  <a:gd name="T25" fmla="*/ 123 h 132"/>
                  <a:gd name="T26" fmla="*/ 125 w 170"/>
                  <a:gd name="T27" fmla="*/ 114 h 132"/>
                  <a:gd name="T28" fmla="*/ 137 w 170"/>
                  <a:gd name="T29" fmla="*/ 111 h 132"/>
                  <a:gd name="T30" fmla="*/ 167 w 170"/>
                  <a:gd name="T31" fmla="*/ 81 h 132"/>
                  <a:gd name="T32" fmla="*/ 164 w 170"/>
                  <a:gd name="T33" fmla="*/ 78 h 132"/>
                  <a:gd name="T34" fmla="*/ 149 w 170"/>
                  <a:gd name="T35" fmla="*/ 75 h 132"/>
                  <a:gd name="T36" fmla="*/ 125 w 170"/>
                  <a:gd name="T37" fmla="*/ 69 h 132"/>
                  <a:gd name="T38" fmla="*/ 119 w 170"/>
                  <a:gd name="T39" fmla="*/ 60 h 132"/>
                  <a:gd name="T40" fmla="*/ 110 w 170"/>
                  <a:gd name="T41" fmla="*/ 51 h 132"/>
                  <a:gd name="T42" fmla="*/ 113 w 170"/>
                  <a:gd name="T43" fmla="*/ 45 h 132"/>
                  <a:gd name="T44" fmla="*/ 107 w 170"/>
                  <a:gd name="T45" fmla="*/ 45 h 132"/>
                  <a:gd name="T46" fmla="*/ 101 w 170"/>
                  <a:gd name="T47" fmla="*/ 45 h 132"/>
                  <a:gd name="T48" fmla="*/ 101 w 170"/>
                  <a:gd name="T49" fmla="*/ 36 h 132"/>
                  <a:gd name="T50" fmla="*/ 107 w 170"/>
                  <a:gd name="T51" fmla="*/ 27 h 132"/>
                  <a:gd name="T52" fmla="*/ 83 w 170"/>
                  <a:gd name="T53" fmla="*/ 3 h 132"/>
                  <a:gd name="T54" fmla="*/ 71 w 170"/>
                  <a:gd name="T55" fmla="*/ 3 h 132"/>
                  <a:gd name="T56" fmla="*/ 68 w 170"/>
                  <a:gd name="T57" fmla="*/ 3 h 132"/>
                  <a:gd name="T58" fmla="*/ 60 w 170"/>
                  <a:gd name="T59" fmla="*/ 0 h 132"/>
                  <a:gd name="T60" fmla="*/ 57 w 170"/>
                  <a:gd name="T61" fmla="*/ 3 h 132"/>
                  <a:gd name="T62" fmla="*/ 54 w 170"/>
                  <a:gd name="T63" fmla="*/ 6 h 132"/>
                  <a:gd name="T64" fmla="*/ 42 w 170"/>
                  <a:gd name="T65" fmla="*/ 6 h 132"/>
                  <a:gd name="T66" fmla="*/ 42 w 170"/>
                  <a:gd name="T67" fmla="*/ 6 h 132"/>
                  <a:gd name="T68" fmla="*/ 39 w 170"/>
                  <a:gd name="T69" fmla="*/ 18 h 132"/>
                  <a:gd name="T70" fmla="*/ 33 w 170"/>
                  <a:gd name="T71" fmla="*/ 24 h 132"/>
                  <a:gd name="T72" fmla="*/ 27 w 170"/>
                  <a:gd name="T73" fmla="*/ 33 h 132"/>
                  <a:gd name="T74" fmla="*/ 24 w 170"/>
                  <a:gd name="T75" fmla="*/ 45 h 132"/>
                  <a:gd name="T76" fmla="*/ 18 w 170"/>
                  <a:gd name="T77" fmla="*/ 48 h 132"/>
                  <a:gd name="T78" fmla="*/ 15 w 170"/>
                  <a:gd name="T79" fmla="*/ 60 h 132"/>
                  <a:gd name="T80" fmla="*/ 15 w 170"/>
                  <a:gd name="T81" fmla="*/ 72 h 132"/>
                  <a:gd name="T82" fmla="*/ 6 w 170"/>
                  <a:gd name="T83" fmla="*/ 75 h 132"/>
                  <a:gd name="T84" fmla="*/ 3 w 170"/>
                  <a:gd name="T85" fmla="*/ 81 h 132"/>
                  <a:gd name="T86" fmla="*/ 12 w 170"/>
                  <a:gd name="T87"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0" h="132">
                    <a:moveTo>
                      <a:pt x="12" y="87"/>
                    </a:moveTo>
                    <a:cubicBezTo>
                      <a:pt x="15" y="90"/>
                      <a:pt x="21" y="93"/>
                      <a:pt x="24" y="99"/>
                    </a:cubicBezTo>
                    <a:cubicBezTo>
                      <a:pt x="24" y="105"/>
                      <a:pt x="30" y="108"/>
                      <a:pt x="33" y="108"/>
                    </a:cubicBezTo>
                    <a:cubicBezTo>
                      <a:pt x="36" y="108"/>
                      <a:pt x="33" y="111"/>
                      <a:pt x="33" y="117"/>
                    </a:cubicBezTo>
                    <a:cubicBezTo>
                      <a:pt x="36" y="117"/>
                      <a:pt x="36" y="117"/>
                      <a:pt x="36" y="117"/>
                    </a:cubicBezTo>
                    <a:cubicBezTo>
                      <a:pt x="39" y="120"/>
                      <a:pt x="45" y="117"/>
                      <a:pt x="48" y="120"/>
                    </a:cubicBezTo>
                    <a:cubicBezTo>
                      <a:pt x="51" y="123"/>
                      <a:pt x="60" y="129"/>
                      <a:pt x="60" y="129"/>
                    </a:cubicBezTo>
                    <a:cubicBezTo>
                      <a:pt x="62" y="129"/>
                      <a:pt x="71" y="129"/>
                      <a:pt x="74" y="129"/>
                    </a:cubicBezTo>
                    <a:cubicBezTo>
                      <a:pt x="74" y="132"/>
                      <a:pt x="77" y="126"/>
                      <a:pt x="80" y="123"/>
                    </a:cubicBezTo>
                    <a:cubicBezTo>
                      <a:pt x="86" y="123"/>
                      <a:pt x="89" y="120"/>
                      <a:pt x="92" y="123"/>
                    </a:cubicBezTo>
                    <a:cubicBezTo>
                      <a:pt x="95" y="126"/>
                      <a:pt x="95" y="126"/>
                      <a:pt x="95" y="126"/>
                    </a:cubicBezTo>
                    <a:cubicBezTo>
                      <a:pt x="98" y="123"/>
                      <a:pt x="98" y="123"/>
                      <a:pt x="101" y="123"/>
                    </a:cubicBezTo>
                    <a:cubicBezTo>
                      <a:pt x="104" y="123"/>
                      <a:pt x="110" y="120"/>
                      <a:pt x="110" y="123"/>
                    </a:cubicBezTo>
                    <a:cubicBezTo>
                      <a:pt x="113" y="123"/>
                      <a:pt x="119" y="114"/>
                      <a:pt x="125" y="114"/>
                    </a:cubicBezTo>
                    <a:cubicBezTo>
                      <a:pt x="134" y="114"/>
                      <a:pt x="134" y="114"/>
                      <a:pt x="137" y="111"/>
                    </a:cubicBezTo>
                    <a:cubicBezTo>
                      <a:pt x="140" y="108"/>
                      <a:pt x="167" y="84"/>
                      <a:pt x="167" y="81"/>
                    </a:cubicBezTo>
                    <a:cubicBezTo>
                      <a:pt x="170" y="81"/>
                      <a:pt x="167" y="78"/>
                      <a:pt x="164" y="78"/>
                    </a:cubicBezTo>
                    <a:cubicBezTo>
                      <a:pt x="161" y="78"/>
                      <a:pt x="158" y="78"/>
                      <a:pt x="149" y="75"/>
                    </a:cubicBezTo>
                    <a:cubicBezTo>
                      <a:pt x="140" y="72"/>
                      <a:pt x="128" y="69"/>
                      <a:pt x="125" y="69"/>
                    </a:cubicBezTo>
                    <a:cubicBezTo>
                      <a:pt x="125" y="66"/>
                      <a:pt x="119" y="63"/>
                      <a:pt x="119" y="60"/>
                    </a:cubicBezTo>
                    <a:cubicBezTo>
                      <a:pt x="116" y="60"/>
                      <a:pt x="113" y="54"/>
                      <a:pt x="110" y="51"/>
                    </a:cubicBezTo>
                    <a:cubicBezTo>
                      <a:pt x="110" y="51"/>
                      <a:pt x="113" y="48"/>
                      <a:pt x="113" y="45"/>
                    </a:cubicBezTo>
                    <a:cubicBezTo>
                      <a:pt x="110" y="45"/>
                      <a:pt x="110" y="42"/>
                      <a:pt x="107" y="45"/>
                    </a:cubicBezTo>
                    <a:cubicBezTo>
                      <a:pt x="101" y="45"/>
                      <a:pt x="101" y="45"/>
                      <a:pt x="101" y="45"/>
                    </a:cubicBezTo>
                    <a:cubicBezTo>
                      <a:pt x="101" y="42"/>
                      <a:pt x="98" y="39"/>
                      <a:pt x="101" y="36"/>
                    </a:cubicBezTo>
                    <a:cubicBezTo>
                      <a:pt x="104" y="33"/>
                      <a:pt x="107" y="27"/>
                      <a:pt x="107" y="27"/>
                    </a:cubicBezTo>
                    <a:cubicBezTo>
                      <a:pt x="107" y="27"/>
                      <a:pt x="86" y="3"/>
                      <a:pt x="83" y="3"/>
                    </a:cubicBezTo>
                    <a:cubicBezTo>
                      <a:pt x="80" y="3"/>
                      <a:pt x="74" y="6"/>
                      <a:pt x="71" y="3"/>
                    </a:cubicBezTo>
                    <a:cubicBezTo>
                      <a:pt x="71" y="3"/>
                      <a:pt x="71" y="3"/>
                      <a:pt x="68" y="3"/>
                    </a:cubicBezTo>
                    <a:cubicBezTo>
                      <a:pt x="65" y="6"/>
                      <a:pt x="62" y="3"/>
                      <a:pt x="60" y="0"/>
                    </a:cubicBezTo>
                    <a:cubicBezTo>
                      <a:pt x="60" y="0"/>
                      <a:pt x="57" y="0"/>
                      <a:pt x="57" y="3"/>
                    </a:cubicBezTo>
                    <a:cubicBezTo>
                      <a:pt x="54" y="6"/>
                      <a:pt x="54" y="9"/>
                      <a:pt x="54" y="6"/>
                    </a:cubicBezTo>
                    <a:cubicBezTo>
                      <a:pt x="51" y="6"/>
                      <a:pt x="48" y="6"/>
                      <a:pt x="42" y="6"/>
                    </a:cubicBezTo>
                    <a:cubicBezTo>
                      <a:pt x="42" y="6"/>
                      <a:pt x="42" y="6"/>
                      <a:pt x="42" y="6"/>
                    </a:cubicBezTo>
                    <a:cubicBezTo>
                      <a:pt x="45" y="12"/>
                      <a:pt x="39" y="15"/>
                      <a:pt x="39" y="18"/>
                    </a:cubicBezTo>
                    <a:cubicBezTo>
                      <a:pt x="39" y="21"/>
                      <a:pt x="36" y="24"/>
                      <a:pt x="33" y="24"/>
                    </a:cubicBezTo>
                    <a:cubicBezTo>
                      <a:pt x="33" y="24"/>
                      <a:pt x="30" y="30"/>
                      <a:pt x="27" y="33"/>
                    </a:cubicBezTo>
                    <a:cubicBezTo>
                      <a:pt x="24" y="36"/>
                      <a:pt x="27" y="42"/>
                      <a:pt x="24" y="45"/>
                    </a:cubicBezTo>
                    <a:cubicBezTo>
                      <a:pt x="21" y="45"/>
                      <a:pt x="18" y="48"/>
                      <a:pt x="18" y="48"/>
                    </a:cubicBezTo>
                    <a:cubicBezTo>
                      <a:pt x="21" y="51"/>
                      <a:pt x="15" y="54"/>
                      <a:pt x="15" y="60"/>
                    </a:cubicBezTo>
                    <a:cubicBezTo>
                      <a:pt x="15" y="63"/>
                      <a:pt x="15" y="72"/>
                      <a:pt x="15" y="72"/>
                    </a:cubicBezTo>
                    <a:cubicBezTo>
                      <a:pt x="12" y="72"/>
                      <a:pt x="6" y="72"/>
                      <a:pt x="6" y="75"/>
                    </a:cubicBezTo>
                    <a:cubicBezTo>
                      <a:pt x="6" y="78"/>
                      <a:pt x="0" y="78"/>
                      <a:pt x="3" y="81"/>
                    </a:cubicBezTo>
                    <a:cubicBezTo>
                      <a:pt x="3" y="84"/>
                      <a:pt x="12" y="81"/>
                      <a:pt x="12" y="8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6" name="Freeform 730"/>
              <p:cNvSpPr>
                <a:spLocks/>
              </p:cNvSpPr>
              <p:nvPr userDrawn="1"/>
            </p:nvSpPr>
            <p:spPr bwMode="auto">
              <a:xfrm>
                <a:off x="4088" y="-1788"/>
                <a:ext cx="28" cy="33"/>
              </a:xfrm>
              <a:custGeom>
                <a:avLst/>
                <a:gdLst>
                  <a:gd name="T0" fmla="*/ 15 w 18"/>
                  <a:gd name="T1" fmla="*/ 9 h 21"/>
                  <a:gd name="T2" fmla="*/ 9 w 18"/>
                  <a:gd name="T3" fmla="*/ 0 h 21"/>
                  <a:gd name="T4" fmla="*/ 9 w 18"/>
                  <a:gd name="T5" fmla="*/ 3 h 21"/>
                  <a:gd name="T6" fmla="*/ 0 w 18"/>
                  <a:gd name="T7" fmla="*/ 18 h 21"/>
                  <a:gd name="T8" fmla="*/ 6 w 18"/>
                  <a:gd name="T9" fmla="*/ 21 h 21"/>
                  <a:gd name="T10" fmla="*/ 15 w 18"/>
                  <a:gd name="T11" fmla="*/ 9 h 21"/>
                </a:gdLst>
                <a:ahLst/>
                <a:cxnLst>
                  <a:cxn ang="0">
                    <a:pos x="T0" y="T1"/>
                  </a:cxn>
                  <a:cxn ang="0">
                    <a:pos x="T2" y="T3"/>
                  </a:cxn>
                  <a:cxn ang="0">
                    <a:pos x="T4" y="T5"/>
                  </a:cxn>
                  <a:cxn ang="0">
                    <a:pos x="T6" y="T7"/>
                  </a:cxn>
                  <a:cxn ang="0">
                    <a:pos x="T8" y="T9"/>
                  </a:cxn>
                  <a:cxn ang="0">
                    <a:pos x="T10" y="T11"/>
                  </a:cxn>
                </a:cxnLst>
                <a:rect l="0" t="0" r="r" b="b"/>
                <a:pathLst>
                  <a:path w="18" h="21">
                    <a:moveTo>
                      <a:pt x="15" y="9"/>
                    </a:moveTo>
                    <a:cubicBezTo>
                      <a:pt x="18" y="9"/>
                      <a:pt x="18" y="0"/>
                      <a:pt x="9" y="0"/>
                    </a:cubicBezTo>
                    <a:cubicBezTo>
                      <a:pt x="9" y="3"/>
                      <a:pt x="9" y="3"/>
                      <a:pt x="9" y="3"/>
                    </a:cubicBezTo>
                    <a:cubicBezTo>
                      <a:pt x="9" y="6"/>
                      <a:pt x="3" y="12"/>
                      <a:pt x="0" y="18"/>
                    </a:cubicBezTo>
                    <a:cubicBezTo>
                      <a:pt x="6" y="21"/>
                      <a:pt x="6" y="21"/>
                      <a:pt x="6" y="21"/>
                    </a:cubicBezTo>
                    <a:cubicBezTo>
                      <a:pt x="9" y="18"/>
                      <a:pt x="12" y="12"/>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7" name="Freeform 731"/>
              <p:cNvSpPr>
                <a:spLocks/>
              </p:cNvSpPr>
              <p:nvPr userDrawn="1"/>
            </p:nvSpPr>
            <p:spPr bwMode="auto">
              <a:xfrm>
                <a:off x="4088" y="-1788"/>
                <a:ext cx="28" cy="33"/>
              </a:xfrm>
              <a:custGeom>
                <a:avLst/>
                <a:gdLst>
                  <a:gd name="T0" fmla="*/ 15 w 18"/>
                  <a:gd name="T1" fmla="*/ 9 h 21"/>
                  <a:gd name="T2" fmla="*/ 9 w 18"/>
                  <a:gd name="T3" fmla="*/ 0 h 21"/>
                  <a:gd name="T4" fmla="*/ 9 w 18"/>
                  <a:gd name="T5" fmla="*/ 3 h 21"/>
                  <a:gd name="T6" fmla="*/ 0 w 18"/>
                  <a:gd name="T7" fmla="*/ 18 h 21"/>
                  <a:gd name="T8" fmla="*/ 6 w 18"/>
                  <a:gd name="T9" fmla="*/ 21 h 21"/>
                  <a:gd name="T10" fmla="*/ 15 w 18"/>
                  <a:gd name="T11" fmla="*/ 9 h 21"/>
                </a:gdLst>
                <a:ahLst/>
                <a:cxnLst>
                  <a:cxn ang="0">
                    <a:pos x="T0" y="T1"/>
                  </a:cxn>
                  <a:cxn ang="0">
                    <a:pos x="T2" y="T3"/>
                  </a:cxn>
                  <a:cxn ang="0">
                    <a:pos x="T4" y="T5"/>
                  </a:cxn>
                  <a:cxn ang="0">
                    <a:pos x="T6" y="T7"/>
                  </a:cxn>
                  <a:cxn ang="0">
                    <a:pos x="T8" y="T9"/>
                  </a:cxn>
                  <a:cxn ang="0">
                    <a:pos x="T10" y="T11"/>
                  </a:cxn>
                </a:cxnLst>
                <a:rect l="0" t="0" r="r" b="b"/>
                <a:pathLst>
                  <a:path w="18" h="21">
                    <a:moveTo>
                      <a:pt x="15" y="9"/>
                    </a:moveTo>
                    <a:cubicBezTo>
                      <a:pt x="18" y="9"/>
                      <a:pt x="18" y="0"/>
                      <a:pt x="9" y="0"/>
                    </a:cubicBezTo>
                    <a:cubicBezTo>
                      <a:pt x="9" y="3"/>
                      <a:pt x="9" y="3"/>
                      <a:pt x="9" y="3"/>
                    </a:cubicBezTo>
                    <a:cubicBezTo>
                      <a:pt x="9" y="6"/>
                      <a:pt x="3" y="12"/>
                      <a:pt x="0" y="18"/>
                    </a:cubicBezTo>
                    <a:cubicBezTo>
                      <a:pt x="6" y="21"/>
                      <a:pt x="6" y="21"/>
                      <a:pt x="6" y="21"/>
                    </a:cubicBezTo>
                    <a:cubicBezTo>
                      <a:pt x="9" y="18"/>
                      <a:pt x="12" y="12"/>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8" name="Freeform 732"/>
              <p:cNvSpPr>
                <a:spLocks/>
              </p:cNvSpPr>
              <p:nvPr userDrawn="1"/>
            </p:nvSpPr>
            <p:spPr bwMode="auto">
              <a:xfrm>
                <a:off x="4096" y="-1834"/>
                <a:ext cx="121" cy="93"/>
              </a:xfrm>
              <a:custGeom>
                <a:avLst/>
                <a:gdLst>
                  <a:gd name="T0" fmla="*/ 9 w 78"/>
                  <a:gd name="T1" fmla="*/ 39 h 60"/>
                  <a:gd name="T2" fmla="*/ 0 w 78"/>
                  <a:gd name="T3" fmla="*/ 51 h 60"/>
                  <a:gd name="T4" fmla="*/ 0 w 78"/>
                  <a:gd name="T5" fmla="*/ 51 h 60"/>
                  <a:gd name="T6" fmla="*/ 3 w 78"/>
                  <a:gd name="T7" fmla="*/ 57 h 60"/>
                  <a:gd name="T8" fmla="*/ 12 w 78"/>
                  <a:gd name="T9" fmla="*/ 60 h 60"/>
                  <a:gd name="T10" fmla="*/ 24 w 78"/>
                  <a:gd name="T11" fmla="*/ 54 h 60"/>
                  <a:gd name="T12" fmla="*/ 60 w 78"/>
                  <a:gd name="T13" fmla="*/ 36 h 60"/>
                  <a:gd name="T14" fmla="*/ 63 w 78"/>
                  <a:gd name="T15" fmla="*/ 30 h 60"/>
                  <a:gd name="T16" fmla="*/ 66 w 78"/>
                  <a:gd name="T17" fmla="*/ 21 h 60"/>
                  <a:gd name="T18" fmla="*/ 63 w 78"/>
                  <a:gd name="T19" fmla="*/ 12 h 60"/>
                  <a:gd name="T20" fmla="*/ 72 w 78"/>
                  <a:gd name="T21" fmla="*/ 6 h 60"/>
                  <a:gd name="T22" fmla="*/ 78 w 78"/>
                  <a:gd name="T23" fmla="*/ 0 h 60"/>
                  <a:gd name="T24" fmla="*/ 72 w 78"/>
                  <a:gd name="T25" fmla="*/ 0 h 60"/>
                  <a:gd name="T26" fmla="*/ 60 w 78"/>
                  <a:gd name="T27" fmla="*/ 0 h 60"/>
                  <a:gd name="T28" fmla="*/ 45 w 78"/>
                  <a:gd name="T29" fmla="*/ 6 h 60"/>
                  <a:gd name="T30" fmla="*/ 33 w 78"/>
                  <a:gd name="T31" fmla="*/ 6 h 60"/>
                  <a:gd name="T32" fmla="*/ 27 w 78"/>
                  <a:gd name="T33" fmla="*/ 6 h 60"/>
                  <a:gd name="T34" fmla="*/ 15 w 78"/>
                  <a:gd name="T35" fmla="*/ 6 h 60"/>
                  <a:gd name="T36" fmla="*/ 12 w 78"/>
                  <a:gd name="T37" fmla="*/ 9 h 60"/>
                  <a:gd name="T38" fmla="*/ 3 w 78"/>
                  <a:gd name="T39" fmla="*/ 18 h 60"/>
                  <a:gd name="T40" fmla="*/ 3 w 78"/>
                  <a:gd name="T41" fmla="*/ 24 h 60"/>
                  <a:gd name="T42" fmla="*/ 3 w 78"/>
                  <a:gd name="T43" fmla="*/ 30 h 60"/>
                  <a:gd name="T44" fmla="*/ 9 w 78"/>
                  <a:gd name="T45" fmla="*/ 3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60">
                    <a:moveTo>
                      <a:pt x="9" y="39"/>
                    </a:moveTo>
                    <a:cubicBezTo>
                      <a:pt x="6" y="42"/>
                      <a:pt x="3" y="48"/>
                      <a:pt x="0" y="51"/>
                    </a:cubicBezTo>
                    <a:cubicBezTo>
                      <a:pt x="0" y="51"/>
                      <a:pt x="0" y="51"/>
                      <a:pt x="0" y="51"/>
                    </a:cubicBezTo>
                    <a:cubicBezTo>
                      <a:pt x="3" y="57"/>
                      <a:pt x="3" y="57"/>
                      <a:pt x="3" y="57"/>
                    </a:cubicBezTo>
                    <a:cubicBezTo>
                      <a:pt x="12" y="60"/>
                      <a:pt x="12" y="60"/>
                      <a:pt x="12" y="60"/>
                    </a:cubicBezTo>
                    <a:cubicBezTo>
                      <a:pt x="12" y="60"/>
                      <a:pt x="21" y="57"/>
                      <a:pt x="24" y="54"/>
                    </a:cubicBezTo>
                    <a:cubicBezTo>
                      <a:pt x="27" y="54"/>
                      <a:pt x="60" y="36"/>
                      <a:pt x="60" y="36"/>
                    </a:cubicBezTo>
                    <a:cubicBezTo>
                      <a:pt x="60" y="36"/>
                      <a:pt x="66" y="30"/>
                      <a:pt x="63" y="30"/>
                    </a:cubicBezTo>
                    <a:cubicBezTo>
                      <a:pt x="63" y="27"/>
                      <a:pt x="63" y="24"/>
                      <a:pt x="66" y="21"/>
                    </a:cubicBezTo>
                    <a:cubicBezTo>
                      <a:pt x="66" y="18"/>
                      <a:pt x="63" y="15"/>
                      <a:pt x="63" y="12"/>
                    </a:cubicBezTo>
                    <a:cubicBezTo>
                      <a:pt x="66" y="6"/>
                      <a:pt x="72" y="6"/>
                      <a:pt x="72" y="6"/>
                    </a:cubicBezTo>
                    <a:cubicBezTo>
                      <a:pt x="78" y="0"/>
                      <a:pt x="78" y="0"/>
                      <a:pt x="78" y="0"/>
                    </a:cubicBezTo>
                    <a:cubicBezTo>
                      <a:pt x="72" y="0"/>
                      <a:pt x="72" y="0"/>
                      <a:pt x="72" y="0"/>
                    </a:cubicBezTo>
                    <a:cubicBezTo>
                      <a:pt x="72" y="0"/>
                      <a:pt x="69" y="3"/>
                      <a:pt x="60" y="0"/>
                    </a:cubicBezTo>
                    <a:cubicBezTo>
                      <a:pt x="54" y="0"/>
                      <a:pt x="54" y="6"/>
                      <a:pt x="45" y="6"/>
                    </a:cubicBezTo>
                    <a:cubicBezTo>
                      <a:pt x="39" y="6"/>
                      <a:pt x="36" y="6"/>
                      <a:pt x="33" y="6"/>
                    </a:cubicBezTo>
                    <a:cubicBezTo>
                      <a:pt x="30" y="3"/>
                      <a:pt x="30" y="3"/>
                      <a:pt x="27" y="6"/>
                    </a:cubicBezTo>
                    <a:cubicBezTo>
                      <a:pt x="21" y="9"/>
                      <a:pt x="18" y="9"/>
                      <a:pt x="15" y="6"/>
                    </a:cubicBezTo>
                    <a:cubicBezTo>
                      <a:pt x="12" y="6"/>
                      <a:pt x="12" y="6"/>
                      <a:pt x="12" y="9"/>
                    </a:cubicBezTo>
                    <a:cubicBezTo>
                      <a:pt x="12" y="12"/>
                      <a:pt x="12" y="15"/>
                      <a:pt x="3" y="18"/>
                    </a:cubicBezTo>
                    <a:cubicBezTo>
                      <a:pt x="3" y="18"/>
                      <a:pt x="3" y="21"/>
                      <a:pt x="3" y="24"/>
                    </a:cubicBezTo>
                    <a:cubicBezTo>
                      <a:pt x="6" y="24"/>
                      <a:pt x="3" y="27"/>
                      <a:pt x="3" y="30"/>
                    </a:cubicBezTo>
                    <a:cubicBezTo>
                      <a:pt x="12" y="30"/>
                      <a:pt x="12" y="39"/>
                      <a:pt x="9"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59" name="Freeform 733"/>
              <p:cNvSpPr>
                <a:spLocks/>
              </p:cNvSpPr>
              <p:nvPr userDrawn="1"/>
            </p:nvSpPr>
            <p:spPr bwMode="auto">
              <a:xfrm>
                <a:off x="4096" y="-1834"/>
                <a:ext cx="121" cy="93"/>
              </a:xfrm>
              <a:custGeom>
                <a:avLst/>
                <a:gdLst>
                  <a:gd name="T0" fmla="*/ 9 w 78"/>
                  <a:gd name="T1" fmla="*/ 39 h 60"/>
                  <a:gd name="T2" fmla="*/ 0 w 78"/>
                  <a:gd name="T3" fmla="*/ 51 h 60"/>
                  <a:gd name="T4" fmla="*/ 0 w 78"/>
                  <a:gd name="T5" fmla="*/ 51 h 60"/>
                  <a:gd name="T6" fmla="*/ 3 w 78"/>
                  <a:gd name="T7" fmla="*/ 57 h 60"/>
                  <a:gd name="T8" fmla="*/ 12 w 78"/>
                  <a:gd name="T9" fmla="*/ 60 h 60"/>
                  <a:gd name="T10" fmla="*/ 24 w 78"/>
                  <a:gd name="T11" fmla="*/ 54 h 60"/>
                  <a:gd name="T12" fmla="*/ 60 w 78"/>
                  <a:gd name="T13" fmla="*/ 36 h 60"/>
                  <a:gd name="T14" fmla="*/ 63 w 78"/>
                  <a:gd name="T15" fmla="*/ 30 h 60"/>
                  <a:gd name="T16" fmla="*/ 66 w 78"/>
                  <a:gd name="T17" fmla="*/ 21 h 60"/>
                  <a:gd name="T18" fmla="*/ 63 w 78"/>
                  <a:gd name="T19" fmla="*/ 12 h 60"/>
                  <a:gd name="T20" fmla="*/ 72 w 78"/>
                  <a:gd name="T21" fmla="*/ 6 h 60"/>
                  <a:gd name="T22" fmla="*/ 78 w 78"/>
                  <a:gd name="T23" fmla="*/ 0 h 60"/>
                  <a:gd name="T24" fmla="*/ 72 w 78"/>
                  <a:gd name="T25" fmla="*/ 0 h 60"/>
                  <a:gd name="T26" fmla="*/ 60 w 78"/>
                  <a:gd name="T27" fmla="*/ 0 h 60"/>
                  <a:gd name="T28" fmla="*/ 45 w 78"/>
                  <a:gd name="T29" fmla="*/ 6 h 60"/>
                  <a:gd name="T30" fmla="*/ 33 w 78"/>
                  <a:gd name="T31" fmla="*/ 6 h 60"/>
                  <a:gd name="T32" fmla="*/ 27 w 78"/>
                  <a:gd name="T33" fmla="*/ 6 h 60"/>
                  <a:gd name="T34" fmla="*/ 15 w 78"/>
                  <a:gd name="T35" fmla="*/ 6 h 60"/>
                  <a:gd name="T36" fmla="*/ 12 w 78"/>
                  <a:gd name="T37" fmla="*/ 9 h 60"/>
                  <a:gd name="T38" fmla="*/ 3 w 78"/>
                  <a:gd name="T39" fmla="*/ 18 h 60"/>
                  <a:gd name="T40" fmla="*/ 3 w 78"/>
                  <a:gd name="T41" fmla="*/ 24 h 60"/>
                  <a:gd name="T42" fmla="*/ 3 w 78"/>
                  <a:gd name="T43" fmla="*/ 30 h 60"/>
                  <a:gd name="T44" fmla="*/ 9 w 78"/>
                  <a:gd name="T45" fmla="*/ 3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60">
                    <a:moveTo>
                      <a:pt x="9" y="39"/>
                    </a:moveTo>
                    <a:cubicBezTo>
                      <a:pt x="6" y="42"/>
                      <a:pt x="3" y="48"/>
                      <a:pt x="0" y="51"/>
                    </a:cubicBezTo>
                    <a:cubicBezTo>
                      <a:pt x="0" y="51"/>
                      <a:pt x="0" y="51"/>
                      <a:pt x="0" y="51"/>
                    </a:cubicBezTo>
                    <a:cubicBezTo>
                      <a:pt x="3" y="57"/>
                      <a:pt x="3" y="57"/>
                      <a:pt x="3" y="57"/>
                    </a:cubicBezTo>
                    <a:cubicBezTo>
                      <a:pt x="12" y="60"/>
                      <a:pt x="12" y="60"/>
                      <a:pt x="12" y="60"/>
                    </a:cubicBezTo>
                    <a:cubicBezTo>
                      <a:pt x="12" y="60"/>
                      <a:pt x="21" y="57"/>
                      <a:pt x="24" y="54"/>
                    </a:cubicBezTo>
                    <a:cubicBezTo>
                      <a:pt x="27" y="54"/>
                      <a:pt x="60" y="36"/>
                      <a:pt x="60" y="36"/>
                    </a:cubicBezTo>
                    <a:cubicBezTo>
                      <a:pt x="60" y="36"/>
                      <a:pt x="66" y="30"/>
                      <a:pt x="63" y="30"/>
                    </a:cubicBezTo>
                    <a:cubicBezTo>
                      <a:pt x="63" y="27"/>
                      <a:pt x="63" y="24"/>
                      <a:pt x="66" y="21"/>
                    </a:cubicBezTo>
                    <a:cubicBezTo>
                      <a:pt x="66" y="18"/>
                      <a:pt x="63" y="15"/>
                      <a:pt x="63" y="12"/>
                    </a:cubicBezTo>
                    <a:cubicBezTo>
                      <a:pt x="66" y="6"/>
                      <a:pt x="72" y="6"/>
                      <a:pt x="72" y="6"/>
                    </a:cubicBezTo>
                    <a:cubicBezTo>
                      <a:pt x="78" y="0"/>
                      <a:pt x="78" y="0"/>
                      <a:pt x="78" y="0"/>
                    </a:cubicBezTo>
                    <a:cubicBezTo>
                      <a:pt x="72" y="0"/>
                      <a:pt x="72" y="0"/>
                      <a:pt x="72" y="0"/>
                    </a:cubicBezTo>
                    <a:cubicBezTo>
                      <a:pt x="72" y="0"/>
                      <a:pt x="69" y="3"/>
                      <a:pt x="60" y="0"/>
                    </a:cubicBezTo>
                    <a:cubicBezTo>
                      <a:pt x="54" y="0"/>
                      <a:pt x="54" y="6"/>
                      <a:pt x="45" y="6"/>
                    </a:cubicBezTo>
                    <a:cubicBezTo>
                      <a:pt x="39" y="6"/>
                      <a:pt x="36" y="6"/>
                      <a:pt x="33" y="6"/>
                    </a:cubicBezTo>
                    <a:cubicBezTo>
                      <a:pt x="30" y="3"/>
                      <a:pt x="30" y="3"/>
                      <a:pt x="27" y="6"/>
                    </a:cubicBezTo>
                    <a:cubicBezTo>
                      <a:pt x="21" y="9"/>
                      <a:pt x="18" y="9"/>
                      <a:pt x="15" y="6"/>
                    </a:cubicBezTo>
                    <a:cubicBezTo>
                      <a:pt x="12" y="6"/>
                      <a:pt x="12" y="6"/>
                      <a:pt x="12" y="9"/>
                    </a:cubicBezTo>
                    <a:cubicBezTo>
                      <a:pt x="12" y="12"/>
                      <a:pt x="12" y="15"/>
                      <a:pt x="3" y="18"/>
                    </a:cubicBezTo>
                    <a:cubicBezTo>
                      <a:pt x="3" y="18"/>
                      <a:pt x="3" y="21"/>
                      <a:pt x="3" y="24"/>
                    </a:cubicBezTo>
                    <a:cubicBezTo>
                      <a:pt x="6" y="24"/>
                      <a:pt x="3" y="27"/>
                      <a:pt x="3" y="30"/>
                    </a:cubicBezTo>
                    <a:cubicBezTo>
                      <a:pt x="12" y="30"/>
                      <a:pt x="12" y="39"/>
                      <a:pt x="9"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0" name="Freeform 734"/>
              <p:cNvSpPr>
                <a:spLocks/>
              </p:cNvSpPr>
              <p:nvPr userDrawn="1"/>
            </p:nvSpPr>
            <p:spPr bwMode="auto">
              <a:xfrm>
                <a:off x="5676" y="-1856"/>
                <a:ext cx="70" cy="82"/>
              </a:xfrm>
              <a:custGeom>
                <a:avLst/>
                <a:gdLst>
                  <a:gd name="T0" fmla="*/ 12 w 45"/>
                  <a:gd name="T1" fmla="*/ 5 h 53"/>
                  <a:gd name="T2" fmla="*/ 6 w 45"/>
                  <a:gd name="T3" fmla="*/ 8 h 53"/>
                  <a:gd name="T4" fmla="*/ 9 w 45"/>
                  <a:gd name="T5" fmla="*/ 14 h 53"/>
                  <a:gd name="T6" fmla="*/ 9 w 45"/>
                  <a:gd name="T7" fmla="*/ 20 h 53"/>
                  <a:gd name="T8" fmla="*/ 6 w 45"/>
                  <a:gd name="T9" fmla="*/ 29 h 53"/>
                  <a:gd name="T10" fmla="*/ 3 w 45"/>
                  <a:gd name="T11" fmla="*/ 44 h 53"/>
                  <a:gd name="T12" fmla="*/ 6 w 45"/>
                  <a:gd name="T13" fmla="*/ 50 h 53"/>
                  <a:gd name="T14" fmla="*/ 27 w 45"/>
                  <a:gd name="T15" fmla="*/ 44 h 53"/>
                  <a:gd name="T16" fmla="*/ 39 w 45"/>
                  <a:gd name="T17" fmla="*/ 41 h 53"/>
                  <a:gd name="T18" fmla="*/ 42 w 45"/>
                  <a:gd name="T19" fmla="*/ 35 h 53"/>
                  <a:gd name="T20" fmla="*/ 39 w 45"/>
                  <a:gd name="T21" fmla="*/ 20 h 53"/>
                  <a:gd name="T22" fmla="*/ 27 w 45"/>
                  <a:gd name="T23" fmla="*/ 0 h 53"/>
                  <a:gd name="T24" fmla="*/ 21 w 45"/>
                  <a:gd name="T25" fmla="*/ 2 h 53"/>
                  <a:gd name="T26" fmla="*/ 12 w 45"/>
                  <a:gd name="T27"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3">
                    <a:moveTo>
                      <a:pt x="12" y="5"/>
                    </a:moveTo>
                    <a:cubicBezTo>
                      <a:pt x="6" y="8"/>
                      <a:pt x="6" y="8"/>
                      <a:pt x="6" y="8"/>
                    </a:cubicBezTo>
                    <a:cubicBezTo>
                      <a:pt x="6" y="11"/>
                      <a:pt x="6" y="14"/>
                      <a:pt x="9" y="14"/>
                    </a:cubicBezTo>
                    <a:cubicBezTo>
                      <a:pt x="12" y="14"/>
                      <a:pt x="12" y="20"/>
                      <a:pt x="9" y="20"/>
                    </a:cubicBezTo>
                    <a:cubicBezTo>
                      <a:pt x="3" y="20"/>
                      <a:pt x="3" y="26"/>
                      <a:pt x="6" y="29"/>
                    </a:cubicBezTo>
                    <a:cubicBezTo>
                      <a:pt x="12" y="35"/>
                      <a:pt x="0" y="41"/>
                      <a:pt x="3" y="44"/>
                    </a:cubicBezTo>
                    <a:cubicBezTo>
                      <a:pt x="6" y="47"/>
                      <a:pt x="3" y="50"/>
                      <a:pt x="6" y="50"/>
                    </a:cubicBezTo>
                    <a:cubicBezTo>
                      <a:pt x="6" y="53"/>
                      <a:pt x="21" y="50"/>
                      <a:pt x="27" y="44"/>
                    </a:cubicBezTo>
                    <a:cubicBezTo>
                      <a:pt x="33" y="38"/>
                      <a:pt x="36" y="38"/>
                      <a:pt x="39" y="41"/>
                    </a:cubicBezTo>
                    <a:cubicBezTo>
                      <a:pt x="42" y="41"/>
                      <a:pt x="45" y="38"/>
                      <a:pt x="42" y="35"/>
                    </a:cubicBezTo>
                    <a:cubicBezTo>
                      <a:pt x="42" y="32"/>
                      <a:pt x="39" y="26"/>
                      <a:pt x="39" y="20"/>
                    </a:cubicBezTo>
                    <a:cubicBezTo>
                      <a:pt x="39" y="14"/>
                      <a:pt x="33" y="5"/>
                      <a:pt x="27" y="0"/>
                    </a:cubicBezTo>
                    <a:cubicBezTo>
                      <a:pt x="27" y="2"/>
                      <a:pt x="24" y="2"/>
                      <a:pt x="21" y="2"/>
                    </a:cubicBezTo>
                    <a:cubicBezTo>
                      <a:pt x="18" y="2"/>
                      <a:pt x="12" y="2"/>
                      <a:pt x="12" y="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1" name="Freeform 735"/>
              <p:cNvSpPr>
                <a:spLocks/>
              </p:cNvSpPr>
              <p:nvPr userDrawn="1"/>
            </p:nvSpPr>
            <p:spPr bwMode="auto">
              <a:xfrm>
                <a:off x="5676" y="-1856"/>
                <a:ext cx="70" cy="82"/>
              </a:xfrm>
              <a:custGeom>
                <a:avLst/>
                <a:gdLst>
                  <a:gd name="T0" fmla="*/ 12 w 45"/>
                  <a:gd name="T1" fmla="*/ 5 h 53"/>
                  <a:gd name="T2" fmla="*/ 6 w 45"/>
                  <a:gd name="T3" fmla="*/ 8 h 53"/>
                  <a:gd name="T4" fmla="*/ 9 w 45"/>
                  <a:gd name="T5" fmla="*/ 14 h 53"/>
                  <a:gd name="T6" fmla="*/ 9 w 45"/>
                  <a:gd name="T7" fmla="*/ 20 h 53"/>
                  <a:gd name="T8" fmla="*/ 6 w 45"/>
                  <a:gd name="T9" fmla="*/ 29 h 53"/>
                  <a:gd name="T10" fmla="*/ 3 w 45"/>
                  <a:gd name="T11" fmla="*/ 44 h 53"/>
                  <a:gd name="T12" fmla="*/ 6 w 45"/>
                  <a:gd name="T13" fmla="*/ 50 h 53"/>
                  <a:gd name="T14" fmla="*/ 27 w 45"/>
                  <a:gd name="T15" fmla="*/ 44 h 53"/>
                  <a:gd name="T16" fmla="*/ 39 w 45"/>
                  <a:gd name="T17" fmla="*/ 41 h 53"/>
                  <a:gd name="T18" fmla="*/ 42 w 45"/>
                  <a:gd name="T19" fmla="*/ 35 h 53"/>
                  <a:gd name="T20" fmla="*/ 39 w 45"/>
                  <a:gd name="T21" fmla="*/ 20 h 53"/>
                  <a:gd name="T22" fmla="*/ 27 w 45"/>
                  <a:gd name="T23" fmla="*/ 0 h 53"/>
                  <a:gd name="T24" fmla="*/ 21 w 45"/>
                  <a:gd name="T25" fmla="*/ 2 h 53"/>
                  <a:gd name="T26" fmla="*/ 12 w 45"/>
                  <a:gd name="T27"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53">
                    <a:moveTo>
                      <a:pt x="12" y="5"/>
                    </a:moveTo>
                    <a:cubicBezTo>
                      <a:pt x="6" y="8"/>
                      <a:pt x="6" y="8"/>
                      <a:pt x="6" y="8"/>
                    </a:cubicBezTo>
                    <a:cubicBezTo>
                      <a:pt x="6" y="11"/>
                      <a:pt x="6" y="14"/>
                      <a:pt x="9" y="14"/>
                    </a:cubicBezTo>
                    <a:cubicBezTo>
                      <a:pt x="12" y="14"/>
                      <a:pt x="12" y="20"/>
                      <a:pt x="9" y="20"/>
                    </a:cubicBezTo>
                    <a:cubicBezTo>
                      <a:pt x="3" y="20"/>
                      <a:pt x="3" y="26"/>
                      <a:pt x="6" y="29"/>
                    </a:cubicBezTo>
                    <a:cubicBezTo>
                      <a:pt x="12" y="35"/>
                      <a:pt x="0" y="41"/>
                      <a:pt x="3" y="44"/>
                    </a:cubicBezTo>
                    <a:cubicBezTo>
                      <a:pt x="6" y="47"/>
                      <a:pt x="3" y="50"/>
                      <a:pt x="6" y="50"/>
                    </a:cubicBezTo>
                    <a:cubicBezTo>
                      <a:pt x="6" y="53"/>
                      <a:pt x="21" y="50"/>
                      <a:pt x="27" y="44"/>
                    </a:cubicBezTo>
                    <a:cubicBezTo>
                      <a:pt x="33" y="38"/>
                      <a:pt x="36" y="38"/>
                      <a:pt x="39" y="41"/>
                    </a:cubicBezTo>
                    <a:cubicBezTo>
                      <a:pt x="42" y="41"/>
                      <a:pt x="45" y="38"/>
                      <a:pt x="42" y="35"/>
                    </a:cubicBezTo>
                    <a:cubicBezTo>
                      <a:pt x="42" y="32"/>
                      <a:pt x="39" y="26"/>
                      <a:pt x="39" y="20"/>
                    </a:cubicBezTo>
                    <a:cubicBezTo>
                      <a:pt x="39" y="14"/>
                      <a:pt x="33" y="5"/>
                      <a:pt x="27" y="0"/>
                    </a:cubicBezTo>
                    <a:cubicBezTo>
                      <a:pt x="27" y="2"/>
                      <a:pt x="24" y="2"/>
                      <a:pt x="21" y="2"/>
                    </a:cubicBezTo>
                    <a:cubicBezTo>
                      <a:pt x="18" y="2"/>
                      <a:pt x="12" y="2"/>
                      <a:pt x="12" y="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2" name="Freeform 736"/>
              <p:cNvSpPr>
                <a:spLocks/>
              </p:cNvSpPr>
              <p:nvPr userDrawn="1"/>
            </p:nvSpPr>
            <p:spPr bwMode="auto">
              <a:xfrm>
                <a:off x="5017" y="-1624"/>
                <a:ext cx="79" cy="108"/>
              </a:xfrm>
              <a:custGeom>
                <a:avLst/>
                <a:gdLst>
                  <a:gd name="T0" fmla="*/ 51 w 51"/>
                  <a:gd name="T1" fmla="*/ 57 h 69"/>
                  <a:gd name="T2" fmla="*/ 45 w 51"/>
                  <a:gd name="T3" fmla="*/ 36 h 69"/>
                  <a:gd name="T4" fmla="*/ 36 w 51"/>
                  <a:gd name="T5" fmla="*/ 45 h 69"/>
                  <a:gd name="T6" fmla="*/ 39 w 51"/>
                  <a:gd name="T7" fmla="*/ 33 h 69"/>
                  <a:gd name="T8" fmla="*/ 48 w 51"/>
                  <a:gd name="T9" fmla="*/ 21 h 69"/>
                  <a:gd name="T10" fmla="*/ 39 w 51"/>
                  <a:gd name="T11" fmla="*/ 18 h 69"/>
                  <a:gd name="T12" fmla="*/ 27 w 51"/>
                  <a:gd name="T13" fmla="*/ 18 h 69"/>
                  <a:gd name="T14" fmla="*/ 21 w 51"/>
                  <a:gd name="T15" fmla="*/ 12 h 69"/>
                  <a:gd name="T16" fmla="*/ 12 w 51"/>
                  <a:gd name="T17" fmla="*/ 6 h 69"/>
                  <a:gd name="T18" fmla="*/ 3 w 51"/>
                  <a:gd name="T19" fmla="*/ 6 h 69"/>
                  <a:gd name="T20" fmla="*/ 12 w 51"/>
                  <a:gd name="T21" fmla="*/ 15 h 69"/>
                  <a:gd name="T22" fmla="*/ 6 w 51"/>
                  <a:gd name="T23" fmla="*/ 21 h 69"/>
                  <a:gd name="T24" fmla="*/ 9 w 51"/>
                  <a:gd name="T25" fmla="*/ 39 h 69"/>
                  <a:gd name="T26" fmla="*/ 12 w 51"/>
                  <a:gd name="T27" fmla="*/ 57 h 69"/>
                  <a:gd name="T28" fmla="*/ 18 w 51"/>
                  <a:gd name="T29" fmla="*/ 57 h 69"/>
                  <a:gd name="T30" fmla="*/ 27 w 51"/>
                  <a:gd name="T31" fmla="*/ 51 h 69"/>
                  <a:gd name="T32" fmla="*/ 36 w 51"/>
                  <a:gd name="T33" fmla="*/ 48 h 69"/>
                  <a:gd name="T34" fmla="*/ 42 w 51"/>
                  <a:gd name="T35" fmla="*/ 63 h 69"/>
                  <a:gd name="T36" fmla="*/ 42 w 51"/>
                  <a:gd name="T37" fmla="*/ 69 h 69"/>
                  <a:gd name="T38" fmla="*/ 48 w 51"/>
                  <a:gd name="T39" fmla="*/ 63 h 69"/>
                  <a:gd name="T40" fmla="*/ 51 w 51"/>
                  <a:gd name="T41" fmla="*/ 5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69">
                    <a:moveTo>
                      <a:pt x="51" y="57"/>
                    </a:moveTo>
                    <a:cubicBezTo>
                      <a:pt x="48" y="45"/>
                      <a:pt x="48" y="36"/>
                      <a:pt x="45" y="36"/>
                    </a:cubicBezTo>
                    <a:cubicBezTo>
                      <a:pt x="45" y="36"/>
                      <a:pt x="42" y="45"/>
                      <a:pt x="36" y="45"/>
                    </a:cubicBezTo>
                    <a:cubicBezTo>
                      <a:pt x="33" y="42"/>
                      <a:pt x="33" y="33"/>
                      <a:pt x="39" y="33"/>
                    </a:cubicBezTo>
                    <a:cubicBezTo>
                      <a:pt x="42" y="33"/>
                      <a:pt x="48" y="24"/>
                      <a:pt x="48" y="21"/>
                    </a:cubicBezTo>
                    <a:cubicBezTo>
                      <a:pt x="48" y="18"/>
                      <a:pt x="42" y="18"/>
                      <a:pt x="39" y="18"/>
                    </a:cubicBezTo>
                    <a:cubicBezTo>
                      <a:pt x="36" y="18"/>
                      <a:pt x="27" y="18"/>
                      <a:pt x="27" y="18"/>
                    </a:cubicBezTo>
                    <a:cubicBezTo>
                      <a:pt x="27" y="18"/>
                      <a:pt x="21" y="15"/>
                      <a:pt x="21" y="12"/>
                    </a:cubicBezTo>
                    <a:cubicBezTo>
                      <a:pt x="21" y="9"/>
                      <a:pt x="18" y="6"/>
                      <a:pt x="12" y="6"/>
                    </a:cubicBezTo>
                    <a:cubicBezTo>
                      <a:pt x="9" y="6"/>
                      <a:pt x="9" y="0"/>
                      <a:pt x="3" y="6"/>
                    </a:cubicBezTo>
                    <a:cubicBezTo>
                      <a:pt x="0" y="12"/>
                      <a:pt x="12" y="12"/>
                      <a:pt x="12" y="15"/>
                    </a:cubicBezTo>
                    <a:cubicBezTo>
                      <a:pt x="9" y="21"/>
                      <a:pt x="6" y="18"/>
                      <a:pt x="6" y="21"/>
                    </a:cubicBezTo>
                    <a:cubicBezTo>
                      <a:pt x="3" y="24"/>
                      <a:pt x="6" y="33"/>
                      <a:pt x="9" y="39"/>
                    </a:cubicBezTo>
                    <a:cubicBezTo>
                      <a:pt x="9" y="42"/>
                      <a:pt x="12" y="51"/>
                      <a:pt x="12" y="57"/>
                    </a:cubicBezTo>
                    <a:cubicBezTo>
                      <a:pt x="15" y="57"/>
                      <a:pt x="15" y="57"/>
                      <a:pt x="18" y="57"/>
                    </a:cubicBezTo>
                    <a:cubicBezTo>
                      <a:pt x="24" y="57"/>
                      <a:pt x="27" y="57"/>
                      <a:pt x="27" y="51"/>
                    </a:cubicBezTo>
                    <a:cubicBezTo>
                      <a:pt x="30" y="48"/>
                      <a:pt x="33" y="45"/>
                      <a:pt x="36" y="48"/>
                    </a:cubicBezTo>
                    <a:cubicBezTo>
                      <a:pt x="36" y="48"/>
                      <a:pt x="42" y="57"/>
                      <a:pt x="42" y="63"/>
                    </a:cubicBezTo>
                    <a:cubicBezTo>
                      <a:pt x="42" y="63"/>
                      <a:pt x="42" y="66"/>
                      <a:pt x="42" y="69"/>
                    </a:cubicBezTo>
                    <a:cubicBezTo>
                      <a:pt x="45" y="66"/>
                      <a:pt x="48" y="63"/>
                      <a:pt x="48" y="63"/>
                    </a:cubicBezTo>
                    <a:cubicBezTo>
                      <a:pt x="48" y="63"/>
                      <a:pt x="48" y="60"/>
                      <a:pt x="51" y="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3" name="Freeform 737"/>
              <p:cNvSpPr>
                <a:spLocks/>
              </p:cNvSpPr>
              <p:nvPr userDrawn="1"/>
            </p:nvSpPr>
            <p:spPr bwMode="auto">
              <a:xfrm>
                <a:off x="5017" y="-1624"/>
                <a:ext cx="79" cy="108"/>
              </a:xfrm>
              <a:custGeom>
                <a:avLst/>
                <a:gdLst>
                  <a:gd name="T0" fmla="*/ 51 w 51"/>
                  <a:gd name="T1" fmla="*/ 57 h 69"/>
                  <a:gd name="T2" fmla="*/ 45 w 51"/>
                  <a:gd name="T3" fmla="*/ 36 h 69"/>
                  <a:gd name="T4" fmla="*/ 36 w 51"/>
                  <a:gd name="T5" fmla="*/ 45 h 69"/>
                  <a:gd name="T6" fmla="*/ 39 w 51"/>
                  <a:gd name="T7" fmla="*/ 33 h 69"/>
                  <a:gd name="T8" fmla="*/ 48 w 51"/>
                  <a:gd name="T9" fmla="*/ 21 h 69"/>
                  <a:gd name="T10" fmla="*/ 39 w 51"/>
                  <a:gd name="T11" fmla="*/ 18 h 69"/>
                  <a:gd name="T12" fmla="*/ 27 w 51"/>
                  <a:gd name="T13" fmla="*/ 18 h 69"/>
                  <a:gd name="T14" fmla="*/ 21 w 51"/>
                  <a:gd name="T15" fmla="*/ 12 h 69"/>
                  <a:gd name="T16" fmla="*/ 12 w 51"/>
                  <a:gd name="T17" fmla="*/ 6 h 69"/>
                  <a:gd name="T18" fmla="*/ 3 w 51"/>
                  <a:gd name="T19" fmla="*/ 6 h 69"/>
                  <a:gd name="T20" fmla="*/ 12 w 51"/>
                  <a:gd name="T21" fmla="*/ 15 h 69"/>
                  <a:gd name="T22" fmla="*/ 6 w 51"/>
                  <a:gd name="T23" fmla="*/ 21 h 69"/>
                  <a:gd name="T24" fmla="*/ 9 w 51"/>
                  <a:gd name="T25" fmla="*/ 39 h 69"/>
                  <a:gd name="T26" fmla="*/ 12 w 51"/>
                  <a:gd name="T27" fmla="*/ 57 h 69"/>
                  <a:gd name="T28" fmla="*/ 18 w 51"/>
                  <a:gd name="T29" fmla="*/ 57 h 69"/>
                  <a:gd name="T30" fmla="*/ 27 w 51"/>
                  <a:gd name="T31" fmla="*/ 51 h 69"/>
                  <a:gd name="T32" fmla="*/ 36 w 51"/>
                  <a:gd name="T33" fmla="*/ 48 h 69"/>
                  <a:gd name="T34" fmla="*/ 42 w 51"/>
                  <a:gd name="T35" fmla="*/ 63 h 69"/>
                  <a:gd name="T36" fmla="*/ 42 w 51"/>
                  <a:gd name="T37" fmla="*/ 69 h 69"/>
                  <a:gd name="T38" fmla="*/ 48 w 51"/>
                  <a:gd name="T39" fmla="*/ 63 h 69"/>
                  <a:gd name="T40" fmla="*/ 51 w 51"/>
                  <a:gd name="T41" fmla="*/ 5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69">
                    <a:moveTo>
                      <a:pt x="51" y="57"/>
                    </a:moveTo>
                    <a:cubicBezTo>
                      <a:pt x="48" y="45"/>
                      <a:pt x="48" y="36"/>
                      <a:pt x="45" y="36"/>
                    </a:cubicBezTo>
                    <a:cubicBezTo>
                      <a:pt x="45" y="36"/>
                      <a:pt x="42" y="45"/>
                      <a:pt x="36" y="45"/>
                    </a:cubicBezTo>
                    <a:cubicBezTo>
                      <a:pt x="33" y="42"/>
                      <a:pt x="33" y="33"/>
                      <a:pt x="39" y="33"/>
                    </a:cubicBezTo>
                    <a:cubicBezTo>
                      <a:pt x="42" y="33"/>
                      <a:pt x="48" y="24"/>
                      <a:pt x="48" y="21"/>
                    </a:cubicBezTo>
                    <a:cubicBezTo>
                      <a:pt x="48" y="18"/>
                      <a:pt x="42" y="18"/>
                      <a:pt x="39" y="18"/>
                    </a:cubicBezTo>
                    <a:cubicBezTo>
                      <a:pt x="36" y="18"/>
                      <a:pt x="27" y="18"/>
                      <a:pt x="27" y="18"/>
                    </a:cubicBezTo>
                    <a:cubicBezTo>
                      <a:pt x="27" y="18"/>
                      <a:pt x="21" y="15"/>
                      <a:pt x="21" y="12"/>
                    </a:cubicBezTo>
                    <a:cubicBezTo>
                      <a:pt x="21" y="9"/>
                      <a:pt x="18" y="6"/>
                      <a:pt x="12" y="6"/>
                    </a:cubicBezTo>
                    <a:cubicBezTo>
                      <a:pt x="9" y="6"/>
                      <a:pt x="9" y="0"/>
                      <a:pt x="3" y="6"/>
                    </a:cubicBezTo>
                    <a:cubicBezTo>
                      <a:pt x="0" y="12"/>
                      <a:pt x="12" y="12"/>
                      <a:pt x="12" y="15"/>
                    </a:cubicBezTo>
                    <a:cubicBezTo>
                      <a:pt x="9" y="21"/>
                      <a:pt x="6" y="18"/>
                      <a:pt x="6" y="21"/>
                    </a:cubicBezTo>
                    <a:cubicBezTo>
                      <a:pt x="3" y="24"/>
                      <a:pt x="6" y="33"/>
                      <a:pt x="9" y="39"/>
                    </a:cubicBezTo>
                    <a:cubicBezTo>
                      <a:pt x="9" y="42"/>
                      <a:pt x="12" y="51"/>
                      <a:pt x="12" y="57"/>
                    </a:cubicBezTo>
                    <a:cubicBezTo>
                      <a:pt x="15" y="57"/>
                      <a:pt x="15" y="57"/>
                      <a:pt x="18" y="57"/>
                    </a:cubicBezTo>
                    <a:cubicBezTo>
                      <a:pt x="24" y="57"/>
                      <a:pt x="27" y="57"/>
                      <a:pt x="27" y="51"/>
                    </a:cubicBezTo>
                    <a:cubicBezTo>
                      <a:pt x="30" y="48"/>
                      <a:pt x="33" y="45"/>
                      <a:pt x="36" y="48"/>
                    </a:cubicBezTo>
                    <a:cubicBezTo>
                      <a:pt x="36" y="48"/>
                      <a:pt x="42" y="57"/>
                      <a:pt x="42" y="63"/>
                    </a:cubicBezTo>
                    <a:cubicBezTo>
                      <a:pt x="42" y="63"/>
                      <a:pt x="42" y="66"/>
                      <a:pt x="42" y="69"/>
                    </a:cubicBezTo>
                    <a:cubicBezTo>
                      <a:pt x="45" y="66"/>
                      <a:pt x="48" y="63"/>
                      <a:pt x="48" y="63"/>
                    </a:cubicBezTo>
                    <a:cubicBezTo>
                      <a:pt x="48" y="63"/>
                      <a:pt x="48" y="60"/>
                      <a:pt x="51" y="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4" name="Freeform 738"/>
              <p:cNvSpPr>
                <a:spLocks/>
              </p:cNvSpPr>
              <p:nvPr userDrawn="1"/>
            </p:nvSpPr>
            <p:spPr bwMode="auto">
              <a:xfrm>
                <a:off x="5017" y="-2157"/>
                <a:ext cx="551" cy="238"/>
              </a:xfrm>
              <a:custGeom>
                <a:avLst/>
                <a:gdLst>
                  <a:gd name="T0" fmla="*/ 330 w 354"/>
                  <a:gd name="T1" fmla="*/ 63 h 153"/>
                  <a:gd name="T2" fmla="*/ 306 w 354"/>
                  <a:gd name="T3" fmla="*/ 63 h 153"/>
                  <a:gd name="T4" fmla="*/ 309 w 354"/>
                  <a:gd name="T5" fmla="*/ 51 h 153"/>
                  <a:gd name="T6" fmla="*/ 309 w 354"/>
                  <a:gd name="T7" fmla="*/ 33 h 153"/>
                  <a:gd name="T8" fmla="*/ 285 w 354"/>
                  <a:gd name="T9" fmla="*/ 30 h 153"/>
                  <a:gd name="T10" fmla="*/ 267 w 354"/>
                  <a:gd name="T11" fmla="*/ 39 h 153"/>
                  <a:gd name="T12" fmla="*/ 237 w 354"/>
                  <a:gd name="T13" fmla="*/ 42 h 153"/>
                  <a:gd name="T14" fmla="*/ 219 w 354"/>
                  <a:gd name="T15" fmla="*/ 33 h 153"/>
                  <a:gd name="T16" fmla="*/ 201 w 354"/>
                  <a:gd name="T17" fmla="*/ 27 h 153"/>
                  <a:gd name="T18" fmla="*/ 180 w 354"/>
                  <a:gd name="T19" fmla="*/ 27 h 153"/>
                  <a:gd name="T20" fmla="*/ 162 w 354"/>
                  <a:gd name="T21" fmla="*/ 27 h 153"/>
                  <a:gd name="T22" fmla="*/ 153 w 354"/>
                  <a:gd name="T23" fmla="*/ 12 h 153"/>
                  <a:gd name="T24" fmla="*/ 132 w 354"/>
                  <a:gd name="T25" fmla="*/ 6 h 153"/>
                  <a:gd name="T26" fmla="*/ 117 w 354"/>
                  <a:gd name="T27" fmla="*/ 0 h 153"/>
                  <a:gd name="T28" fmla="*/ 108 w 354"/>
                  <a:gd name="T29" fmla="*/ 9 h 153"/>
                  <a:gd name="T30" fmla="*/ 108 w 354"/>
                  <a:gd name="T31" fmla="*/ 24 h 153"/>
                  <a:gd name="T32" fmla="*/ 99 w 354"/>
                  <a:gd name="T33" fmla="*/ 33 h 153"/>
                  <a:gd name="T34" fmla="*/ 81 w 354"/>
                  <a:gd name="T35" fmla="*/ 33 h 153"/>
                  <a:gd name="T36" fmla="*/ 69 w 354"/>
                  <a:gd name="T37" fmla="*/ 21 h 153"/>
                  <a:gd name="T38" fmla="*/ 45 w 354"/>
                  <a:gd name="T39" fmla="*/ 21 h 153"/>
                  <a:gd name="T40" fmla="*/ 30 w 354"/>
                  <a:gd name="T41" fmla="*/ 30 h 153"/>
                  <a:gd name="T42" fmla="*/ 9 w 354"/>
                  <a:gd name="T43" fmla="*/ 39 h 153"/>
                  <a:gd name="T44" fmla="*/ 0 w 354"/>
                  <a:gd name="T45" fmla="*/ 42 h 153"/>
                  <a:gd name="T46" fmla="*/ 9 w 354"/>
                  <a:gd name="T47" fmla="*/ 54 h 153"/>
                  <a:gd name="T48" fmla="*/ 30 w 354"/>
                  <a:gd name="T49" fmla="*/ 69 h 153"/>
                  <a:gd name="T50" fmla="*/ 33 w 354"/>
                  <a:gd name="T51" fmla="*/ 87 h 153"/>
                  <a:gd name="T52" fmla="*/ 57 w 354"/>
                  <a:gd name="T53" fmla="*/ 102 h 153"/>
                  <a:gd name="T54" fmla="*/ 72 w 354"/>
                  <a:gd name="T55" fmla="*/ 114 h 153"/>
                  <a:gd name="T56" fmla="*/ 87 w 354"/>
                  <a:gd name="T57" fmla="*/ 135 h 153"/>
                  <a:gd name="T58" fmla="*/ 129 w 354"/>
                  <a:gd name="T59" fmla="*/ 135 h 153"/>
                  <a:gd name="T60" fmla="*/ 162 w 354"/>
                  <a:gd name="T61" fmla="*/ 144 h 153"/>
                  <a:gd name="T62" fmla="*/ 183 w 354"/>
                  <a:gd name="T63" fmla="*/ 150 h 153"/>
                  <a:gd name="T64" fmla="*/ 228 w 354"/>
                  <a:gd name="T65" fmla="*/ 141 h 153"/>
                  <a:gd name="T66" fmla="*/ 261 w 354"/>
                  <a:gd name="T67" fmla="*/ 120 h 153"/>
                  <a:gd name="T68" fmla="*/ 270 w 354"/>
                  <a:gd name="T69" fmla="*/ 105 h 153"/>
                  <a:gd name="T70" fmla="*/ 303 w 354"/>
                  <a:gd name="T71" fmla="*/ 99 h 153"/>
                  <a:gd name="T72" fmla="*/ 327 w 354"/>
                  <a:gd name="T73" fmla="*/ 84 h 153"/>
                  <a:gd name="T74" fmla="*/ 354 w 354"/>
                  <a:gd name="T75"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4" h="153">
                    <a:moveTo>
                      <a:pt x="339" y="63"/>
                    </a:moveTo>
                    <a:cubicBezTo>
                      <a:pt x="336" y="60"/>
                      <a:pt x="330" y="60"/>
                      <a:pt x="330" y="63"/>
                    </a:cubicBezTo>
                    <a:cubicBezTo>
                      <a:pt x="327" y="69"/>
                      <a:pt x="324" y="63"/>
                      <a:pt x="318" y="63"/>
                    </a:cubicBezTo>
                    <a:cubicBezTo>
                      <a:pt x="312" y="63"/>
                      <a:pt x="312" y="66"/>
                      <a:pt x="306" y="63"/>
                    </a:cubicBezTo>
                    <a:cubicBezTo>
                      <a:pt x="303" y="57"/>
                      <a:pt x="309" y="57"/>
                      <a:pt x="309" y="57"/>
                    </a:cubicBezTo>
                    <a:cubicBezTo>
                      <a:pt x="309" y="51"/>
                      <a:pt x="309" y="51"/>
                      <a:pt x="309" y="51"/>
                    </a:cubicBezTo>
                    <a:cubicBezTo>
                      <a:pt x="318" y="33"/>
                      <a:pt x="318" y="33"/>
                      <a:pt x="318" y="33"/>
                    </a:cubicBezTo>
                    <a:cubicBezTo>
                      <a:pt x="315" y="33"/>
                      <a:pt x="312" y="30"/>
                      <a:pt x="309" y="33"/>
                    </a:cubicBezTo>
                    <a:cubicBezTo>
                      <a:pt x="306" y="33"/>
                      <a:pt x="300" y="33"/>
                      <a:pt x="300" y="30"/>
                    </a:cubicBezTo>
                    <a:cubicBezTo>
                      <a:pt x="300" y="27"/>
                      <a:pt x="288" y="27"/>
                      <a:pt x="285" y="30"/>
                    </a:cubicBezTo>
                    <a:cubicBezTo>
                      <a:pt x="282" y="30"/>
                      <a:pt x="276" y="33"/>
                      <a:pt x="276" y="36"/>
                    </a:cubicBezTo>
                    <a:cubicBezTo>
                      <a:pt x="276" y="39"/>
                      <a:pt x="270" y="36"/>
                      <a:pt x="267" y="39"/>
                    </a:cubicBezTo>
                    <a:cubicBezTo>
                      <a:pt x="264" y="39"/>
                      <a:pt x="252" y="42"/>
                      <a:pt x="252" y="42"/>
                    </a:cubicBezTo>
                    <a:cubicBezTo>
                      <a:pt x="252" y="45"/>
                      <a:pt x="240" y="45"/>
                      <a:pt x="237" y="42"/>
                    </a:cubicBezTo>
                    <a:cubicBezTo>
                      <a:pt x="237" y="42"/>
                      <a:pt x="225" y="42"/>
                      <a:pt x="225" y="39"/>
                    </a:cubicBezTo>
                    <a:cubicBezTo>
                      <a:pt x="222" y="36"/>
                      <a:pt x="219" y="36"/>
                      <a:pt x="219" y="33"/>
                    </a:cubicBezTo>
                    <a:cubicBezTo>
                      <a:pt x="219" y="30"/>
                      <a:pt x="210" y="30"/>
                      <a:pt x="207" y="30"/>
                    </a:cubicBezTo>
                    <a:cubicBezTo>
                      <a:pt x="207" y="27"/>
                      <a:pt x="201" y="27"/>
                      <a:pt x="201" y="27"/>
                    </a:cubicBezTo>
                    <a:cubicBezTo>
                      <a:pt x="198" y="27"/>
                      <a:pt x="192" y="24"/>
                      <a:pt x="189" y="24"/>
                    </a:cubicBezTo>
                    <a:cubicBezTo>
                      <a:pt x="186" y="24"/>
                      <a:pt x="180" y="27"/>
                      <a:pt x="180" y="27"/>
                    </a:cubicBezTo>
                    <a:cubicBezTo>
                      <a:pt x="177" y="27"/>
                      <a:pt x="174" y="30"/>
                      <a:pt x="171" y="30"/>
                    </a:cubicBezTo>
                    <a:cubicBezTo>
                      <a:pt x="168" y="30"/>
                      <a:pt x="162" y="27"/>
                      <a:pt x="162" y="27"/>
                    </a:cubicBezTo>
                    <a:cubicBezTo>
                      <a:pt x="159" y="27"/>
                      <a:pt x="156" y="24"/>
                      <a:pt x="153" y="21"/>
                    </a:cubicBezTo>
                    <a:cubicBezTo>
                      <a:pt x="153" y="18"/>
                      <a:pt x="153" y="15"/>
                      <a:pt x="153" y="12"/>
                    </a:cubicBezTo>
                    <a:cubicBezTo>
                      <a:pt x="150" y="9"/>
                      <a:pt x="144" y="9"/>
                      <a:pt x="141" y="9"/>
                    </a:cubicBezTo>
                    <a:cubicBezTo>
                      <a:pt x="138" y="6"/>
                      <a:pt x="135" y="6"/>
                      <a:pt x="132" y="6"/>
                    </a:cubicBezTo>
                    <a:cubicBezTo>
                      <a:pt x="126" y="3"/>
                      <a:pt x="126" y="3"/>
                      <a:pt x="126" y="3"/>
                    </a:cubicBezTo>
                    <a:cubicBezTo>
                      <a:pt x="126" y="3"/>
                      <a:pt x="120" y="0"/>
                      <a:pt x="117" y="0"/>
                    </a:cubicBezTo>
                    <a:cubicBezTo>
                      <a:pt x="114" y="3"/>
                      <a:pt x="114" y="3"/>
                      <a:pt x="114" y="3"/>
                    </a:cubicBezTo>
                    <a:cubicBezTo>
                      <a:pt x="114" y="6"/>
                      <a:pt x="108" y="6"/>
                      <a:pt x="108" y="9"/>
                    </a:cubicBezTo>
                    <a:cubicBezTo>
                      <a:pt x="102" y="12"/>
                      <a:pt x="102" y="12"/>
                      <a:pt x="102" y="12"/>
                    </a:cubicBezTo>
                    <a:cubicBezTo>
                      <a:pt x="105" y="15"/>
                      <a:pt x="105" y="21"/>
                      <a:pt x="108" y="24"/>
                    </a:cubicBezTo>
                    <a:cubicBezTo>
                      <a:pt x="108" y="24"/>
                      <a:pt x="108" y="27"/>
                      <a:pt x="108" y="30"/>
                    </a:cubicBezTo>
                    <a:cubicBezTo>
                      <a:pt x="105" y="30"/>
                      <a:pt x="99" y="33"/>
                      <a:pt x="99" y="33"/>
                    </a:cubicBezTo>
                    <a:cubicBezTo>
                      <a:pt x="96" y="36"/>
                      <a:pt x="93" y="33"/>
                      <a:pt x="90" y="33"/>
                    </a:cubicBezTo>
                    <a:cubicBezTo>
                      <a:pt x="87" y="30"/>
                      <a:pt x="81" y="30"/>
                      <a:pt x="81" y="33"/>
                    </a:cubicBezTo>
                    <a:cubicBezTo>
                      <a:pt x="78" y="33"/>
                      <a:pt x="72" y="30"/>
                      <a:pt x="72" y="30"/>
                    </a:cubicBezTo>
                    <a:cubicBezTo>
                      <a:pt x="69" y="27"/>
                      <a:pt x="69" y="21"/>
                      <a:pt x="69" y="21"/>
                    </a:cubicBezTo>
                    <a:cubicBezTo>
                      <a:pt x="66" y="24"/>
                      <a:pt x="54" y="21"/>
                      <a:pt x="51" y="21"/>
                    </a:cubicBezTo>
                    <a:cubicBezTo>
                      <a:pt x="51" y="18"/>
                      <a:pt x="45" y="18"/>
                      <a:pt x="45" y="21"/>
                    </a:cubicBezTo>
                    <a:cubicBezTo>
                      <a:pt x="42" y="24"/>
                      <a:pt x="36" y="21"/>
                      <a:pt x="36" y="24"/>
                    </a:cubicBezTo>
                    <a:cubicBezTo>
                      <a:pt x="36" y="27"/>
                      <a:pt x="30" y="27"/>
                      <a:pt x="30" y="30"/>
                    </a:cubicBezTo>
                    <a:cubicBezTo>
                      <a:pt x="27" y="30"/>
                      <a:pt x="21" y="30"/>
                      <a:pt x="21" y="33"/>
                    </a:cubicBezTo>
                    <a:cubicBezTo>
                      <a:pt x="18" y="36"/>
                      <a:pt x="12" y="39"/>
                      <a:pt x="9" y="39"/>
                    </a:cubicBezTo>
                    <a:cubicBezTo>
                      <a:pt x="9" y="39"/>
                      <a:pt x="3" y="39"/>
                      <a:pt x="3" y="42"/>
                    </a:cubicBezTo>
                    <a:cubicBezTo>
                      <a:pt x="0" y="42"/>
                      <a:pt x="0" y="42"/>
                      <a:pt x="0" y="42"/>
                    </a:cubicBezTo>
                    <a:cubicBezTo>
                      <a:pt x="0" y="42"/>
                      <a:pt x="0" y="42"/>
                      <a:pt x="0" y="45"/>
                    </a:cubicBezTo>
                    <a:cubicBezTo>
                      <a:pt x="3" y="51"/>
                      <a:pt x="6" y="51"/>
                      <a:pt x="9" y="54"/>
                    </a:cubicBezTo>
                    <a:cubicBezTo>
                      <a:pt x="12" y="57"/>
                      <a:pt x="15" y="60"/>
                      <a:pt x="18" y="60"/>
                    </a:cubicBezTo>
                    <a:cubicBezTo>
                      <a:pt x="24" y="60"/>
                      <a:pt x="27" y="63"/>
                      <a:pt x="30" y="69"/>
                    </a:cubicBezTo>
                    <a:cubicBezTo>
                      <a:pt x="30" y="72"/>
                      <a:pt x="33" y="75"/>
                      <a:pt x="36" y="75"/>
                    </a:cubicBezTo>
                    <a:cubicBezTo>
                      <a:pt x="36" y="78"/>
                      <a:pt x="33" y="84"/>
                      <a:pt x="33" y="87"/>
                    </a:cubicBezTo>
                    <a:cubicBezTo>
                      <a:pt x="33" y="93"/>
                      <a:pt x="30" y="93"/>
                      <a:pt x="30" y="96"/>
                    </a:cubicBezTo>
                    <a:cubicBezTo>
                      <a:pt x="33" y="102"/>
                      <a:pt x="51" y="102"/>
                      <a:pt x="57" y="102"/>
                    </a:cubicBezTo>
                    <a:cubicBezTo>
                      <a:pt x="63" y="102"/>
                      <a:pt x="63" y="108"/>
                      <a:pt x="66" y="108"/>
                    </a:cubicBezTo>
                    <a:cubicBezTo>
                      <a:pt x="69" y="108"/>
                      <a:pt x="69" y="111"/>
                      <a:pt x="72" y="114"/>
                    </a:cubicBezTo>
                    <a:cubicBezTo>
                      <a:pt x="75" y="114"/>
                      <a:pt x="81" y="117"/>
                      <a:pt x="81" y="123"/>
                    </a:cubicBezTo>
                    <a:cubicBezTo>
                      <a:pt x="84" y="129"/>
                      <a:pt x="87" y="132"/>
                      <a:pt x="87" y="135"/>
                    </a:cubicBezTo>
                    <a:cubicBezTo>
                      <a:pt x="87" y="138"/>
                      <a:pt x="96" y="135"/>
                      <a:pt x="102" y="135"/>
                    </a:cubicBezTo>
                    <a:cubicBezTo>
                      <a:pt x="108" y="135"/>
                      <a:pt x="126" y="135"/>
                      <a:pt x="129" y="135"/>
                    </a:cubicBezTo>
                    <a:cubicBezTo>
                      <a:pt x="135" y="138"/>
                      <a:pt x="144" y="135"/>
                      <a:pt x="150" y="141"/>
                    </a:cubicBezTo>
                    <a:cubicBezTo>
                      <a:pt x="156" y="144"/>
                      <a:pt x="159" y="141"/>
                      <a:pt x="162" y="144"/>
                    </a:cubicBezTo>
                    <a:cubicBezTo>
                      <a:pt x="165" y="147"/>
                      <a:pt x="168" y="147"/>
                      <a:pt x="174" y="147"/>
                    </a:cubicBezTo>
                    <a:cubicBezTo>
                      <a:pt x="180" y="147"/>
                      <a:pt x="180" y="150"/>
                      <a:pt x="183" y="150"/>
                    </a:cubicBezTo>
                    <a:cubicBezTo>
                      <a:pt x="186" y="153"/>
                      <a:pt x="192" y="144"/>
                      <a:pt x="201" y="141"/>
                    </a:cubicBezTo>
                    <a:cubicBezTo>
                      <a:pt x="210" y="135"/>
                      <a:pt x="222" y="138"/>
                      <a:pt x="228" y="141"/>
                    </a:cubicBezTo>
                    <a:cubicBezTo>
                      <a:pt x="231" y="141"/>
                      <a:pt x="243" y="138"/>
                      <a:pt x="249" y="132"/>
                    </a:cubicBezTo>
                    <a:cubicBezTo>
                      <a:pt x="252" y="126"/>
                      <a:pt x="261" y="126"/>
                      <a:pt x="261" y="120"/>
                    </a:cubicBezTo>
                    <a:cubicBezTo>
                      <a:pt x="261" y="114"/>
                      <a:pt x="255" y="111"/>
                      <a:pt x="258" y="108"/>
                    </a:cubicBezTo>
                    <a:cubicBezTo>
                      <a:pt x="261" y="102"/>
                      <a:pt x="267" y="102"/>
                      <a:pt x="270" y="105"/>
                    </a:cubicBezTo>
                    <a:cubicBezTo>
                      <a:pt x="273" y="105"/>
                      <a:pt x="279" y="108"/>
                      <a:pt x="288" y="102"/>
                    </a:cubicBezTo>
                    <a:cubicBezTo>
                      <a:pt x="294" y="99"/>
                      <a:pt x="297" y="99"/>
                      <a:pt x="303" y="99"/>
                    </a:cubicBezTo>
                    <a:cubicBezTo>
                      <a:pt x="312" y="96"/>
                      <a:pt x="309" y="93"/>
                      <a:pt x="315" y="87"/>
                    </a:cubicBezTo>
                    <a:cubicBezTo>
                      <a:pt x="318" y="84"/>
                      <a:pt x="324" y="84"/>
                      <a:pt x="327" y="84"/>
                    </a:cubicBezTo>
                    <a:cubicBezTo>
                      <a:pt x="333" y="84"/>
                      <a:pt x="339" y="78"/>
                      <a:pt x="342" y="81"/>
                    </a:cubicBezTo>
                    <a:cubicBezTo>
                      <a:pt x="348" y="81"/>
                      <a:pt x="354" y="81"/>
                      <a:pt x="354" y="78"/>
                    </a:cubicBezTo>
                    <a:cubicBezTo>
                      <a:pt x="354" y="75"/>
                      <a:pt x="342" y="66"/>
                      <a:pt x="339" y="6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5" name="Freeform 739"/>
              <p:cNvSpPr>
                <a:spLocks/>
              </p:cNvSpPr>
              <p:nvPr userDrawn="1"/>
            </p:nvSpPr>
            <p:spPr bwMode="auto">
              <a:xfrm>
                <a:off x="5017" y="-2157"/>
                <a:ext cx="551" cy="238"/>
              </a:xfrm>
              <a:custGeom>
                <a:avLst/>
                <a:gdLst>
                  <a:gd name="T0" fmla="*/ 330 w 354"/>
                  <a:gd name="T1" fmla="*/ 63 h 153"/>
                  <a:gd name="T2" fmla="*/ 306 w 354"/>
                  <a:gd name="T3" fmla="*/ 63 h 153"/>
                  <a:gd name="T4" fmla="*/ 309 w 354"/>
                  <a:gd name="T5" fmla="*/ 51 h 153"/>
                  <a:gd name="T6" fmla="*/ 309 w 354"/>
                  <a:gd name="T7" fmla="*/ 33 h 153"/>
                  <a:gd name="T8" fmla="*/ 285 w 354"/>
                  <a:gd name="T9" fmla="*/ 30 h 153"/>
                  <a:gd name="T10" fmla="*/ 267 w 354"/>
                  <a:gd name="T11" fmla="*/ 39 h 153"/>
                  <a:gd name="T12" fmla="*/ 237 w 354"/>
                  <a:gd name="T13" fmla="*/ 42 h 153"/>
                  <a:gd name="T14" fmla="*/ 219 w 354"/>
                  <a:gd name="T15" fmla="*/ 33 h 153"/>
                  <a:gd name="T16" fmla="*/ 201 w 354"/>
                  <a:gd name="T17" fmla="*/ 27 h 153"/>
                  <a:gd name="T18" fmla="*/ 180 w 354"/>
                  <a:gd name="T19" fmla="*/ 27 h 153"/>
                  <a:gd name="T20" fmla="*/ 162 w 354"/>
                  <a:gd name="T21" fmla="*/ 27 h 153"/>
                  <a:gd name="T22" fmla="*/ 153 w 354"/>
                  <a:gd name="T23" fmla="*/ 12 h 153"/>
                  <a:gd name="T24" fmla="*/ 132 w 354"/>
                  <a:gd name="T25" fmla="*/ 6 h 153"/>
                  <a:gd name="T26" fmla="*/ 117 w 354"/>
                  <a:gd name="T27" fmla="*/ 0 h 153"/>
                  <a:gd name="T28" fmla="*/ 108 w 354"/>
                  <a:gd name="T29" fmla="*/ 9 h 153"/>
                  <a:gd name="T30" fmla="*/ 108 w 354"/>
                  <a:gd name="T31" fmla="*/ 24 h 153"/>
                  <a:gd name="T32" fmla="*/ 99 w 354"/>
                  <a:gd name="T33" fmla="*/ 33 h 153"/>
                  <a:gd name="T34" fmla="*/ 81 w 354"/>
                  <a:gd name="T35" fmla="*/ 33 h 153"/>
                  <a:gd name="T36" fmla="*/ 69 w 354"/>
                  <a:gd name="T37" fmla="*/ 21 h 153"/>
                  <a:gd name="T38" fmla="*/ 45 w 354"/>
                  <a:gd name="T39" fmla="*/ 21 h 153"/>
                  <a:gd name="T40" fmla="*/ 30 w 354"/>
                  <a:gd name="T41" fmla="*/ 30 h 153"/>
                  <a:gd name="T42" fmla="*/ 9 w 354"/>
                  <a:gd name="T43" fmla="*/ 39 h 153"/>
                  <a:gd name="T44" fmla="*/ 0 w 354"/>
                  <a:gd name="T45" fmla="*/ 42 h 153"/>
                  <a:gd name="T46" fmla="*/ 9 w 354"/>
                  <a:gd name="T47" fmla="*/ 54 h 153"/>
                  <a:gd name="T48" fmla="*/ 30 w 354"/>
                  <a:gd name="T49" fmla="*/ 69 h 153"/>
                  <a:gd name="T50" fmla="*/ 33 w 354"/>
                  <a:gd name="T51" fmla="*/ 87 h 153"/>
                  <a:gd name="T52" fmla="*/ 57 w 354"/>
                  <a:gd name="T53" fmla="*/ 102 h 153"/>
                  <a:gd name="T54" fmla="*/ 72 w 354"/>
                  <a:gd name="T55" fmla="*/ 114 h 153"/>
                  <a:gd name="T56" fmla="*/ 87 w 354"/>
                  <a:gd name="T57" fmla="*/ 135 h 153"/>
                  <a:gd name="T58" fmla="*/ 129 w 354"/>
                  <a:gd name="T59" fmla="*/ 135 h 153"/>
                  <a:gd name="T60" fmla="*/ 162 w 354"/>
                  <a:gd name="T61" fmla="*/ 144 h 153"/>
                  <a:gd name="T62" fmla="*/ 183 w 354"/>
                  <a:gd name="T63" fmla="*/ 150 h 153"/>
                  <a:gd name="T64" fmla="*/ 228 w 354"/>
                  <a:gd name="T65" fmla="*/ 141 h 153"/>
                  <a:gd name="T66" fmla="*/ 261 w 354"/>
                  <a:gd name="T67" fmla="*/ 120 h 153"/>
                  <a:gd name="T68" fmla="*/ 270 w 354"/>
                  <a:gd name="T69" fmla="*/ 105 h 153"/>
                  <a:gd name="T70" fmla="*/ 303 w 354"/>
                  <a:gd name="T71" fmla="*/ 99 h 153"/>
                  <a:gd name="T72" fmla="*/ 327 w 354"/>
                  <a:gd name="T73" fmla="*/ 84 h 153"/>
                  <a:gd name="T74" fmla="*/ 354 w 354"/>
                  <a:gd name="T75" fmla="*/ 7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4" h="153">
                    <a:moveTo>
                      <a:pt x="339" y="63"/>
                    </a:moveTo>
                    <a:cubicBezTo>
                      <a:pt x="336" y="60"/>
                      <a:pt x="330" y="60"/>
                      <a:pt x="330" y="63"/>
                    </a:cubicBezTo>
                    <a:cubicBezTo>
                      <a:pt x="327" y="69"/>
                      <a:pt x="324" y="63"/>
                      <a:pt x="318" y="63"/>
                    </a:cubicBezTo>
                    <a:cubicBezTo>
                      <a:pt x="312" y="63"/>
                      <a:pt x="312" y="66"/>
                      <a:pt x="306" y="63"/>
                    </a:cubicBezTo>
                    <a:cubicBezTo>
                      <a:pt x="303" y="57"/>
                      <a:pt x="309" y="57"/>
                      <a:pt x="309" y="57"/>
                    </a:cubicBezTo>
                    <a:cubicBezTo>
                      <a:pt x="309" y="51"/>
                      <a:pt x="309" y="51"/>
                      <a:pt x="309" y="51"/>
                    </a:cubicBezTo>
                    <a:cubicBezTo>
                      <a:pt x="318" y="33"/>
                      <a:pt x="318" y="33"/>
                      <a:pt x="318" y="33"/>
                    </a:cubicBezTo>
                    <a:cubicBezTo>
                      <a:pt x="315" y="33"/>
                      <a:pt x="312" y="30"/>
                      <a:pt x="309" y="33"/>
                    </a:cubicBezTo>
                    <a:cubicBezTo>
                      <a:pt x="306" y="33"/>
                      <a:pt x="300" y="33"/>
                      <a:pt x="300" y="30"/>
                    </a:cubicBezTo>
                    <a:cubicBezTo>
                      <a:pt x="300" y="27"/>
                      <a:pt x="288" y="27"/>
                      <a:pt x="285" y="30"/>
                    </a:cubicBezTo>
                    <a:cubicBezTo>
                      <a:pt x="282" y="30"/>
                      <a:pt x="276" y="33"/>
                      <a:pt x="276" y="36"/>
                    </a:cubicBezTo>
                    <a:cubicBezTo>
                      <a:pt x="276" y="39"/>
                      <a:pt x="270" y="36"/>
                      <a:pt x="267" y="39"/>
                    </a:cubicBezTo>
                    <a:cubicBezTo>
                      <a:pt x="264" y="39"/>
                      <a:pt x="252" y="42"/>
                      <a:pt x="252" y="42"/>
                    </a:cubicBezTo>
                    <a:cubicBezTo>
                      <a:pt x="252" y="45"/>
                      <a:pt x="240" y="45"/>
                      <a:pt x="237" y="42"/>
                    </a:cubicBezTo>
                    <a:cubicBezTo>
                      <a:pt x="237" y="42"/>
                      <a:pt x="225" y="42"/>
                      <a:pt x="225" y="39"/>
                    </a:cubicBezTo>
                    <a:cubicBezTo>
                      <a:pt x="222" y="36"/>
                      <a:pt x="219" y="36"/>
                      <a:pt x="219" y="33"/>
                    </a:cubicBezTo>
                    <a:cubicBezTo>
                      <a:pt x="219" y="30"/>
                      <a:pt x="210" y="30"/>
                      <a:pt x="207" y="30"/>
                    </a:cubicBezTo>
                    <a:cubicBezTo>
                      <a:pt x="207" y="27"/>
                      <a:pt x="201" y="27"/>
                      <a:pt x="201" y="27"/>
                    </a:cubicBezTo>
                    <a:cubicBezTo>
                      <a:pt x="198" y="27"/>
                      <a:pt x="192" y="24"/>
                      <a:pt x="189" y="24"/>
                    </a:cubicBezTo>
                    <a:cubicBezTo>
                      <a:pt x="186" y="24"/>
                      <a:pt x="180" y="27"/>
                      <a:pt x="180" y="27"/>
                    </a:cubicBezTo>
                    <a:cubicBezTo>
                      <a:pt x="177" y="27"/>
                      <a:pt x="174" y="30"/>
                      <a:pt x="171" y="30"/>
                    </a:cubicBezTo>
                    <a:cubicBezTo>
                      <a:pt x="168" y="30"/>
                      <a:pt x="162" y="27"/>
                      <a:pt x="162" y="27"/>
                    </a:cubicBezTo>
                    <a:cubicBezTo>
                      <a:pt x="159" y="27"/>
                      <a:pt x="156" y="24"/>
                      <a:pt x="153" y="21"/>
                    </a:cubicBezTo>
                    <a:cubicBezTo>
                      <a:pt x="153" y="18"/>
                      <a:pt x="153" y="15"/>
                      <a:pt x="153" y="12"/>
                    </a:cubicBezTo>
                    <a:cubicBezTo>
                      <a:pt x="150" y="9"/>
                      <a:pt x="144" y="9"/>
                      <a:pt x="141" y="9"/>
                    </a:cubicBezTo>
                    <a:cubicBezTo>
                      <a:pt x="138" y="6"/>
                      <a:pt x="135" y="6"/>
                      <a:pt x="132" y="6"/>
                    </a:cubicBezTo>
                    <a:cubicBezTo>
                      <a:pt x="126" y="3"/>
                      <a:pt x="126" y="3"/>
                      <a:pt x="126" y="3"/>
                    </a:cubicBezTo>
                    <a:cubicBezTo>
                      <a:pt x="126" y="3"/>
                      <a:pt x="120" y="0"/>
                      <a:pt x="117" y="0"/>
                    </a:cubicBezTo>
                    <a:cubicBezTo>
                      <a:pt x="114" y="3"/>
                      <a:pt x="114" y="3"/>
                      <a:pt x="114" y="3"/>
                    </a:cubicBezTo>
                    <a:cubicBezTo>
                      <a:pt x="114" y="6"/>
                      <a:pt x="108" y="6"/>
                      <a:pt x="108" y="9"/>
                    </a:cubicBezTo>
                    <a:cubicBezTo>
                      <a:pt x="102" y="12"/>
                      <a:pt x="102" y="12"/>
                      <a:pt x="102" y="12"/>
                    </a:cubicBezTo>
                    <a:cubicBezTo>
                      <a:pt x="105" y="15"/>
                      <a:pt x="105" y="21"/>
                      <a:pt x="108" y="24"/>
                    </a:cubicBezTo>
                    <a:cubicBezTo>
                      <a:pt x="108" y="24"/>
                      <a:pt x="108" y="27"/>
                      <a:pt x="108" y="30"/>
                    </a:cubicBezTo>
                    <a:cubicBezTo>
                      <a:pt x="105" y="30"/>
                      <a:pt x="99" y="33"/>
                      <a:pt x="99" y="33"/>
                    </a:cubicBezTo>
                    <a:cubicBezTo>
                      <a:pt x="96" y="36"/>
                      <a:pt x="93" y="33"/>
                      <a:pt x="90" y="33"/>
                    </a:cubicBezTo>
                    <a:cubicBezTo>
                      <a:pt x="87" y="30"/>
                      <a:pt x="81" y="30"/>
                      <a:pt x="81" y="33"/>
                    </a:cubicBezTo>
                    <a:cubicBezTo>
                      <a:pt x="78" y="33"/>
                      <a:pt x="72" y="30"/>
                      <a:pt x="72" y="30"/>
                    </a:cubicBezTo>
                    <a:cubicBezTo>
                      <a:pt x="69" y="27"/>
                      <a:pt x="69" y="21"/>
                      <a:pt x="69" y="21"/>
                    </a:cubicBezTo>
                    <a:cubicBezTo>
                      <a:pt x="66" y="24"/>
                      <a:pt x="54" y="21"/>
                      <a:pt x="51" y="21"/>
                    </a:cubicBezTo>
                    <a:cubicBezTo>
                      <a:pt x="51" y="18"/>
                      <a:pt x="45" y="18"/>
                      <a:pt x="45" y="21"/>
                    </a:cubicBezTo>
                    <a:cubicBezTo>
                      <a:pt x="42" y="24"/>
                      <a:pt x="36" y="21"/>
                      <a:pt x="36" y="24"/>
                    </a:cubicBezTo>
                    <a:cubicBezTo>
                      <a:pt x="36" y="27"/>
                      <a:pt x="30" y="27"/>
                      <a:pt x="30" y="30"/>
                    </a:cubicBezTo>
                    <a:cubicBezTo>
                      <a:pt x="27" y="30"/>
                      <a:pt x="21" y="30"/>
                      <a:pt x="21" y="33"/>
                    </a:cubicBezTo>
                    <a:cubicBezTo>
                      <a:pt x="18" y="36"/>
                      <a:pt x="12" y="39"/>
                      <a:pt x="9" y="39"/>
                    </a:cubicBezTo>
                    <a:cubicBezTo>
                      <a:pt x="9" y="39"/>
                      <a:pt x="3" y="39"/>
                      <a:pt x="3" y="42"/>
                    </a:cubicBezTo>
                    <a:cubicBezTo>
                      <a:pt x="0" y="42"/>
                      <a:pt x="0" y="42"/>
                      <a:pt x="0" y="42"/>
                    </a:cubicBezTo>
                    <a:cubicBezTo>
                      <a:pt x="0" y="42"/>
                      <a:pt x="0" y="42"/>
                      <a:pt x="0" y="45"/>
                    </a:cubicBezTo>
                    <a:cubicBezTo>
                      <a:pt x="3" y="51"/>
                      <a:pt x="6" y="51"/>
                      <a:pt x="9" y="54"/>
                    </a:cubicBezTo>
                    <a:cubicBezTo>
                      <a:pt x="12" y="57"/>
                      <a:pt x="15" y="60"/>
                      <a:pt x="18" y="60"/>
                    </a:cubicBezTo>
                    <a:cubicBezTo>
                      <a:pt x="24" y="60"/>
                      <a:pt x="27" y="63"/>
                      <a:pt x="30" y="69"/>
                    </a:cubicBezTo>
                    <a:cubicBezTo>
                      <a:pt x="30" y="72"/>
                      <a:pt x="33" y="75"/>
                      <a:pt x="36" y="75"/>
                    </a:cubicBezTo>
                    <a:cubicBezTo>
                      <a:pt x="36" y="78"/>
                      <a:pt x="33" y="84"/>
                      <a:pt x="33" y="87"/>
                    </a:cubicBezTo>
                    <a:cubicBezTo>
                      <a:pt x="33" y="93"/>
                      <a:pt x="30" y="93"/>
                      <a:pt x="30" y="96"/>
                    </a:cubicBezTo>
                    <a:cubicBezTo>
                      <a:pt x="33" y="102"/>
                      <a:pt x="51" y="102"/>
                      <a:pt x="57" y="102"/>
                    </a:cubicBezTo>
                    <a:cubicBezTo>
                      <a:pt x="63" y="102"/>
                      <a:pt x="63" y="108"/>
                      <a:pt x="66" y="108"/>
                    </a:cubicBezTo>
                    <a:cubicBezTo>
                      <a:pt x="69" y="108"/>
                      <a:pt x="69" y="111"/>
                      <a:pt x="72" y="114"/>
                    </a:cubicBezTo>
                    <a:cubicBezTo>
                      <a:pt x="75" y="114"/>
                      <a:pt x="81" y="117"/>
                      <a:pt x="81" y="123"/>
                    </a:cubicBezTo>
                    <a:cubicBezTo>
                      <a:pt x="84" y="129"/>
                      <a:pt x="87" y="132"/>
                      <a:pt x="87" y="135"/>
                    </a:cubicBezTo>
                    <a:cubicBezTo>
                      <a:pt x="87" y="138"/>
                      <a:pt x="96" y="135"/>
                      <a:pt x="102" y="135"/>
                    </a:cubicBezTo>
                    <a:cubicBezTo>
                      <a:pt x="108" y="135"/>
                      <a:pt x="126" y="135"/>
                      <a:pt x="129" y="135"/>
                    </a:cubicBezTo>
                    <a:cubicBezTo>
                      <a:pt x="135" y="138"/>
                      <a:pt x="144" y="135"/>
                      <a:pt x="150" y="141"/>
                    </a:cubicBezTo>
                    <a:cubicBezTo>
                      <a:pt x="156" y="144"/>
                      <a:pt x="159" y="141"/>
                      <a:pt x="162" y="144"/>
                    </a:cubicBezTo>
                    <a:cubicBezTo>
                      <a:pt x="165" y="147"/>
                      <a:pt x="168" y="147"/>
                      <a:pt x="174" y="147"/>
                    </a:cubicBezTo>
                    <a:cubicBezTo>
                      <a:pt x="180" y="147"/>
                      <a:pt x="180" y="150"/>
                      <a:pt x="183" y="150"/>
                    </a:cubicBezTo>
                    <a:cubicBezTo>
                      <a:pt x="186" y="153"/>
                      <a:pt x="192" y="144"/>
                      <a:pt x="201" y="141"/>
                    </a:cubicBezTo>
                    <a:cubicBezTo>
                      <a:pt x="210" y="135"/>
                      <a:pt x="222" y="138"/>
                      <a:pt x="228" y="141"/>
                    </a:cubicBezTo>
                    <a:cubicBezTo>
                      <a:pt x="231" y="141"/>
                      <a:pt x="243" y="138"/>
                      <a:pt x="249" y="132"/>
                    </a:cubicBezTo>
                    <a:cubicBezTo>
                      <a:pt x="252" y="126"/>
                      <a:pt x="261" y="126"/>
                      <a:pt x="261" y="120"/>
                    </a:cubicBezTo>
                    <a:cubicBezTo>
                      <a:pt x="261" y="114"/>
                      <a:pt x="255" y="111"/>
                      <a:pt x="258" y="108"/>
                    </a:cubicBezTo>
                    <a:cubicBezTo>
                      <a:pt x="261" y="102"/>
                      <a:pt x="267" y="102"/>
                      <a:pt x="270" y="105"/>
                    </a:cubicBezTo>
                    <a:cubicBezTo>
                      <a:pt x="273" y="105"/>
                      <a:pt x="279" y="108"/>
                      <a:pt x="288" y="102"/>
                    </a:cubicBezTo>
                    <a:cubicBezTo>
                      <a:pt x="294" y="99"/>
                      <a:pt x="297" y="99"/>
                      <a:pt x="303" y="99"/>
                    </a:cubicBezTo>
                    <a:cubicBezTo>
                      <a:pt x="312" y="96"/>
                      <a:pt x="309" y="93"/>
                      <a:pt x="315" y="87"/>
                    </a:cubicBezTo>
                    <a:cubicBezTo>
                      <a:pt x="318" y="84"/>
                      <a:pt x="324" y="84"/>
                      <a:pt x="327" y="84"/>
                    </a:cubicBezTo>
                    <a:cubicBezTo>
                      <a:pt x="333" y="84"/>
                      <a:pt x="339" y="78"/>
                      <a:pt x="342" y="81"/>
                    </a:cubicBezTo>
                    <a:cubicBezTo>
                      <a:pt x="348" y="81"/>
                      <a:pt x="354" y="81"/>
                      <a:pt x="354" y="78"/>
                    </a:cubicBezTo>
                    <a:cubicBezTo>
                      <a:pt x="354" y="75"/>
                      <a:pt x="342" y="66"/>
                      <a:pt x="339" y="63"/>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6" name="Freeform 740"/>
              <p:cNvSpPr>
                <a:spLocks/>
              </p:cNvSpPr>
              <p:nvPr userDrawn="1"/>
            </p:nvSpPr>
            <p:spPr bwMode="auto">
              <a:xfrm>
                <a:off x="4088" y="-1741"/>
                <a:ext cx="8" cy="24"/>
              </a:xfrm>
              <a:custGeom>
                <a:avLst/>
                <a:gdLst>
                  <a:gd name="T0" fmla="*/ 3 w 5"/>
                  <a:gd name="T1" fmla="*/ 0 h 15"/>
                  <a:gd name="T2" fmla="*/ 0 w 5"/>
                  <a:gd name="T3" fmla="*/ 9 h 15"/>
                  <a:gd name="T4" fmla="*/ 3 w 5"/>
                  <a:gd name="T5" fmla="*/ 15 h 15"/>
                  <a:gd name="T6" fmla="*/ 5 w 5"/>
                  <a:gd name="T7" fmla="*/ 3 h 15"/>
                  <a:gd name="T8" fmla="*/ 5 w 5"/>
                  <a:gd name="T9" fmla="*/ 0 h 15"/>
                  <a:gd name="T10" fmla="*/ 3 w 5"/>
                  <a:gd name="T11" fmla="*/ 0 h 15"/>
                </a:gdLst>
                <a:ahLst/>
                <a:cxnLst>
                  <a:cxn ang="0">
                    <a:pos x="T0" y="T1"/>
                  </a:cxn>
                  <a:cxn ang="0">
                    <a:pos x="T2" y="T3"/>
                  </a:cxn>
                  <a:cxn ang="0">
                    <a:pos x="T4" y="T5"/>
                  </a:cxn>
                  <a:cxn ang="0">
                    <a:pos x="T6" y="T7"/>
                  </a:cxn>
                  <a:cxn ang="0">
                    <a:pos x="T8" y="T9"/>
                  </a:cxn>
                  <a:cxn ang="0">
                    <a:pos x="T10" y="T11"/>
                  </a:cxn>
                </a:cxnLst>
                <a:rect l="0" t="0" r="r" b="b"/>
                <a:pathLst>
                  <a:path w="5" h="15">
                    <a:moveTo>
                      <a:pt x="3" y="0"/>
                    </a:moveTo>
                    <a:cubicBezTo>
                      <a:pt x="0" y="0"/>
                      <a:pt x="0" y="6"/>
                      <a:pt x="0" y="9"/>
                    </a:cubicBezTo>
                    <a:cubicBezTo>
                      <a:pt x="0" y="9"/>
                      <a:pt x="0" y="12"/>
                      <a:pt x="3" y="15"/>
                    </a:cubicBezTo>
                    <a:cubicBezTo>
                      <a:pt x="5" y="9"/>
                      <a:pt x="5" y="3"/>
                      <a:pt x="5" y="3"/>
                    </a:cubicBezTo>
                    <a:cubicBezTo>
                      <a:pt x="5" y="0"/>
                      <a:pt x="5" y="0"/>
                      <a:pt x="5" y="0"/>
                    </a:cubicBezTo>
                    <a:cubicBezTo>
                      <a:pt x="3" y="0"/>
                      <a:pt x="3" y="0"/>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7" name="Freeform 741"/>
              <p:cNvSpPr>
                <a:spLocks/>
              </p:cNvSpPr>
              <p:nvPr userDrawn="1"/>
            </p:nvSpPr>
            <p:spPr bwMode="auto">
              <a:xfrm>
                <a:off x="4088" y="-1741"/>
                <a:ext cx="8" cy="24"/>
              </a:xfrm>
              <a:custGeom>
                <a:avLst/>
                <a:gdLst>
                  <a:gd name="T0" fmla="*/ 3 w 5"/>
                  <a:gd name="T1" fmla="*/ 0 h 15"/>
                  <a:gd name="T2" fmla="*/ 0 w 5"/>
                  <a:gd name="T3" fmla="*/ 9 h 15"/>
                  <a:gd name="T4" fmla="*/ 3 w 5"/>
                  <a:gd name="T5" fmla="*/ 15 h 15"/>
                  <a:gd name="T6" fmla="*/ 5 w 5"/>
                  <a:gd name="T7" fmla="*/ 3 h 15"/>
                  <a:gd name="T8" fmla="*/ 5 w 5"/>
                  <a:gd name="T9" fmla="*/ 0 h 15"/>
                  <a:gd name="T10" fmla="*/ 3 w 5"/>
                  <a:gd name="T11" fmla="*/ 0 h 15"/>
                </a:gdLst>
                <a:ahLst/>
                <a:cxnLst>
                  <a:cxn ang="0">
                    <a:pos x="T0" y="T1"/>
                  </a:cxn>
                  <a:cxn ang="0">
                    <a:pos x="T2" y="T3"/>
                  </a:cxn>
                  <a:cxn ang="0">
                    <a:pos x="T4" y="T5"/>
                  </a:cxn>
                  <a:cxn ang="0">
                    <a:pos x="T6" y="T7"/>
                  </a:cxn>
                  <a:cxn ang="0">
                    <a:pos x="T8" y="T9"/>
                  </a:cxn>
                  <a:cxn ang="0">
                    <a:pos x="T10" y="T11"/>
                  </a:cxn>
                </a:cxnLst>
                <a:rect l="0" t="0" r="r" b="b"/>
                <a:pathLst>
                  <a:path w="5" h="15">
                    <a:moveTo>
                      <a:pt x="3" y="0"/>
                    </a:moveTo>
                    <a:cubicBezTo>
                      <a:pt x="0" y="0"/>
                      <a:pt x="0" y="6"/>
                      <a:pt x="0" y="9"/>
                    </a:cubicBezTo>
                    <a:cubicBezTo>
                      <a:pt x="0" y="9"/>
                      <a:pt x="0" y="12"/>
                      <a:pt x="3" y="15"/>
                    </a:cubicBezTo>
                    <a:cubicBezTo>
                      <a:pt x="5" y="9"/>
                      <a:pt x="5" y="3"/>
                      <a:pt x="5" y="3"/>
                    </a:cubicBezTo>
                    <a:cubicBezTo>
                      <a:pt x="5" y="0"/>
                      <a:pt x="5" y="0"/>
                      <a:pt x="5" y="0"/>
                    </a:cubicBezTo>
                    <a:cubicBezTo>
                      <a:pt x="3" y="0"/>
                      <a:pt x="3" y="0"/>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8" name="Freeform 742"/>
              <p:cNvSpPr>
                <a:spLocks/>
              </p:cNvSpPr>
              <p:nvPr userDrawn="1"/>
            </p:nvSpPr>
            <p:spPr bwMode="auto">
              <a:xfrm>
                <a:off x="4072" y="-1759"/>
                <a:ext cx="24" cy="74"/>
              </a:xfrm>
              <a:custGeom>
                <a:avLst/>
                <a:gdLst>
                  <a:gd name="T0" fmla="*/ 6 w 15"/>
                  <a:gd name="T1" fmla="*/ 48 h 48"/>
                  <a:gd name="T2" fmla="*/ 9 w 15"/>
                  <a:gd name="T3" fmla="*/ 48 h 48"/>
                  <a:gd name="T4" fmla="*/ 12 w 15"/>
                  <a:gd name="T5" fmla="*/ 33 h 48"/>
                  <a:gd name="T6" fmla="*/ 12 w 15"/>
                  <a:gd name="T7" fmla="*/ 27 h 48"/>
                  <a:gd name="T8" fmla="*/ 9 w 15"/>
                  <a:gd name="T9" fmla="*/ 21 h 48"/>
                  <a:gd name="T10" fmla="*/ 12 w 15"/>
                  <a:gd name="T11" fmla="*/ 12 h 48"/>
                  <a:gd name="T12" fmla="*/ 15 w 15"/>
                  <a:gd name="T13" fmla="*/ 12 h 48"/>
                  <a:gd name="T14" fmla="*/ 15 w 15"/>
                  <a:gd name="T15" fmla="*/ 3 h 48"/>
                  <a:gd name="T16" fmla="*/ 9 w 15"/>
                  <a:gd name="T17" fmla="*/ 0 h 48"/>
                  <a:gd name="T18" fmla="*/ 9 w 15"/>
                  <a:gd name="T19" fmla="*/ 6 h 48"/>
                  <a:gd name="T20" fmla="*/ 0 w 15"/>
                  <a:gd name="T21" fmla="*/ 27 h 48"/>
                  <a:gd name="T22" fmla="*/ 6 w 15"/>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8">
                    <a:moveTo>
                      <a:pt x="6" y="48"/>
                    </a:moveTo>
                    <a:cubicBezTo>
                      <a:pt x="9" y="48"/>
                      <a:pt x="9" y="48"/>
                      <a:pt x="9" y="48"/>
                    </a:cubicBezTo>
                    <a:cubicBezTo>
                      <a:pt x="9" y="42"/>
                      <a:pt x="12" y="33"/>
                      <a:pt x="12" y="33"/>
                    </a:cubicBezTo>
                    <a:cubicBezTo>
                      <a:pt x="12" y="30"/>
                      <a:pt x="12" y="30"/>
                      <a:pt x="12" y="27"/>
                    </a:cubicBezTo>
                    <a:cubicBezTo>
                      <a:pt x="9" y="24"/>
                      <a:pt x="9" y="21"/>
                      <a:pt x="9" y="21"/>
                    </a:cubicBezTo>
                    <a:cubicBezTo>
                      <a:pt x="9" y="18"/>
                      <a:pt x="9" y="12"/>
                      <a:pt x="12" y="12"/>
                    </a:cubicBezTo>
                    <a:cubicBezTo>
                      <a:pt x="12" y="12"/>
                      <a:pt x="12" y="12"/>
                      <a:pt x="15" y="12"/>
                    </a:cubicBezTo>
                    <a:cubicBezTo>
                      <a:pt x="15" y="9"/>
                      <a:pt x="15" y="6"/>
                      <a:pt x="15" y="3"/>
                    </a:cubicBezTo>
                    <a:cubicBezTo>
                      <a:pt x="9" y="0"/>
                      <a:pt x="9" y="0"/>
                      <a:pt x="9" y="0"/>
                    </a:cubicBezTo>
                    <a:cubicBezTo>
                      <a:pt x="9" y="3"/>
                      <a:pt x="9" y="6"/>
                      <a:pt x="9" y="6"/>
                    </a:cubicBezTo>
                    <a:cubicBezTo>
                      <a:pt x="6" y="12"/>
                      <a:pt x="3" y="24"/>
                      <a:pt x="0" y="27"/>
                    </a:cubicBezTo>
                    <a:cubicBezTo>
                      <a:pt x="6" y="48"/>
                      <a:pt x="6" y="48"/>
                      <a:pt x="6"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69" name="Freeform 743"/>
              <p:cNvSpPr>
                <a:spLocks/>
              </p:cNvSpPr>
              <p:nvPr userDrawn="1"/>
            </p:nvSpPr>
            <p:spPr bwMode="auto">
              <a:xfrm>
                <a:off x="4072" y="-1759"/>
                <a:ext cx="24" cy="74"/>
              </a:xfrm>
              <a:custGeom>
                <a:avLst/>
                <a:gdLst>
                  <a:gd name="T0" fmla="*/ 6 w 15"/>
                  <a:gd name="T1" fmla="*/ 48 h 48"/>
                  <a:gd name="T2" fmla="*/ 9 w 15"/>
                  <a:gd name="T3" fmla="*/ 48 h 48"/>
                  <a:gd name="T4" fmla="*/ 12 w 15"/>
                  <a:gd name="T5" fmla="*/ 33 h 48"/>
                  <a:gd name="T6" fmla="*/ 12 w 15"/>
                  <a:gd name="T7" fmla="*/ 27 h 48"/>
                  <a:gd name="T8" fmla="*/ 9 w 15"/>
                  <a:gd name="T9" fmla="*/ 21 h 48"/>
                  <a:gd name="T10" fmla="*/ 12 w 15"/>
                  <a:gd name="T11" fmla="*/ 12 h 48"/>
                  <a:gd name="T12" fmla="*/ 15 w 15"/>
                  <a:gd name="T13" fmla="*/ 12 h 48"/>
                  <a:gd name="T14" fmla="*/ 15 w 15"/>
                  <a:gd name="T15" fmla="*/ 3 h 48"/>
                  <a:gd name="T16" fmla="*/ 9 w 15"/>
                  <a:gd name="T17" fmla="*/ 0 h 48"/>
                  <a:gd name="T18" fmla="*/ 9 w 15"/>
                  <a:gd name="T19" fmla="*/ 6 h 48"/>
                  <a:gd name="T20" fmla="*/ 0 w 15"/>
                  <a:gd name="T21" fmla="*/ 27 h 48"/>
                  <a:gd name="T22" fmla="*/ 6 w 15"/>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8">
                    <a:moveTo>
                      <a:pt x="6" y="48"/>
                    </a:moveTo>
                    <a:cubicBezTo>
                      <a:pt x="9" y="48"/>
                      <a:pt x="9" y="48"/>
                      <a:pt x="9" y="48"/>
                    </a:cubicBezTo>
                    <a:cubicBezTo>
                      <a:pt x="9" y="42"/>
                      <a:pt x="12" y="33"/>
                      <a:pt x="12" y="33"/>
                    </a:cubicBezTo>
                    <a:cubicBezTo>
                      <a:pt x="12" y="30"/>
                      <a:pt x="12" y="30"/>
                      <a:pt x="12" y="27"/>
                    </a:cubicBezTo>
                    <a:cubicBezTo>
                      <a:pt x="9" y="24"/>
                      <a:pt x="9" y="21"/>
                      <a:pt x="9" y="21"/>
                    </a:cubicBezTo>
                    <a:cubicBezTo>
                      <a:pt x="9" y="18"/>
                      <a:pt x="9" y="12"/>
                      <a:pt x="12" y="12"/>
                    </a:cubicBezTo>
                    <a:cubicBezTo>
                      <a:pt x="12" y="12"/>
                      <a:pt x="12" y="12"/>
                      <a:pt x="15" y="12"/>
                    </a:cubicBezTo>
                    <a:cubicBezTo>
                      <a:pt x="15" y="9"/>
                      <a:pt x="15" y="6"/>
                      <a:pt x="15" y="3"/>
                    </a:cubicBezTo>
                    <a:cubicBezTo>
                      <a:pt x="9" y="0"/>
                      <a:pt x="9" y="0"/>
                      <a:pt x="9" y="0"/>
                    </a:cubicBezTo>
                    <a:cubicBezTo>
                      <a:pt x="9" y="3"/>
                      <a:pt x="9" y="6"/>
                      <a:pt x="9" y="6"/>
                    </a:cubicBezTo>
                    <a:cubicBezTo>
                      <a:pt x="6" y="12"/>
                      <a:pt x="3" y="24"/>
                      <a:pt x="0" y="27"/>
                    </a:cubicBezTo>
                    <a:cubicBezTo>
                      <a:pt x="6" y="48"/>
                      <a:pt x="6" y="48"/>
                      <a:pt x="6"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0" name="Freeform 744"/>
              <p:cNvSpPr>
                <a:spLocks/>
              </p:cNvSpPr>
              <p:nvPr userDrawn="1"/>
            </p:nvSpPr>
            <p:spPr bwMode="auto">
              <a:xfrm>
                <a:off x="4088" y="-1759"/>
                <a:ext cx="75" cy="84"/>
              </a:xfrm>
              <a:custGeom>
                <a:avLst/>
                <a:gdLst>
                  <a:gd name="T0" fmla="*/ 42 w 48"/>
                  <a:gd name="T1" fmla="*/ 0 h 54"/>
                  <a:gd name="T2" fmla="*/ 30 w 48"/>
                  <a:gd name="T3" fmla="*/ 6 h 54"/>
                  <a:gd name="T4" fmla="*/ 18 w 48"/>
                  <a:gd name="T5" fmla="*/ 12 h 54"/>
                  <a:gd name="T6" fmla="*/ 9 w 48"/>
                  <a:gd name="T7" fmla="*/ 9 h 54"/>
                  <a:gd name="T8" fmla="*/ 6 w 48"/>
                  <a:gd name="T9" fmla="*/ 3 h 54"/>
                  <a:gd name="T10" fmla="*/ 6 w 48"/>
                  <a:gd name="T11" fmla="*/ 3 h 54"/>
                  <a:gd name="T12" fmla="*/ 6 w 48"/>
                  <a:gd name="T13" fmla="*/ 15 h 54"/>
                  <a:gd name="T14" fmla="*/ 3 w 48"/>
                  <a:gd name="T15" fmla="*/ 33 h 54"/>
                  <a:gd name="T16" fmla="*/ 0 w 48"/>
                  <a:gd name="T17" fmla="*/ 48 h 54"/>
                  <a:gd name="T18" fmla="*/ 9 w 48"/>
                  <a:gd name="T19" fmla="*/ 54 h 54"/>
                  <a:gd name="T20" fmla="*/ 18 w 48"/>
                  <a:gd name="T21" fmla="*/ 45 h 54"/>
                  <a:gd name="T22" fmla="*/ 24 w 48"/>
                  <a:gd name="T23" fmla="*/ 42 h 54"/>
                  <a:gd name="T24" fmla="*/ 33 w 48"/>
                  <a:gd name="T25" fmla="*/ 39 h 54"/>
                  <a:gd name="T26" fmla="*/ 24 w 48"/>
                  <a:gd name="T27" fmla="*/ 27 h 54"/>
                  <a:gd name="T28" fmla="*/ 36 w 48"/>
                  <a:gd name="T29" fmla="*/ 21 h 54"/>
                  <a:gd name="T30" fmla="*/ 45 w 48"/>
                  <a:gd name="T31" fmla="*/ 18 h 54"/>
                  <a:gd name="T32" fmla="*/ 48 w 48"/>
                  <a:gd name="T33" fmla="*/ 18 h 54"/>
                  <a:gd name="T34" fmla="*/ 45 w 48"/>
                  <a:gd name="T35" fmla="*/ 6 h 54"/>
                  <a:gd name="T36" fmla="*/ 42 w 48"/>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54">
                    <a:moveTo>
                      <a:pt x="42" y="0"/>
                    </a:moveTo>
                    <a:cubicBezTo>
                      <a:pt x="36" y="3"/>
                      <a:pt x="30" y="6"/>
                      <a:pt x="30" y="6"/>
                    </a:cubicBezTo>
                    <a:cubicBezTo>
                      <a:pt x="27" y="9"/>
                      <a:pt x="18" y="12"/>
                      <a:pt x="18" y="12"/>
                    </a:cubicBezTo>
                    <a:cubicBezTo>
                      <a:pt x="9" y="9"/>
                      <a:pt x="9" y="9"/>
                      <a:pt x="9" y="9"/>
                    </a:cubicBezTo>
                    <a:cubicBezTo>
                      <a:pt x="6" y="3"/>
                      <a:pt x="6" y="3"/>
                      <a:pt x="6" y="3"/>
                    </a:cubicBezTo>
                    <a:cubicBezTo>
                      <a:pt x="6" y="3"/>
                      <a:pt x="6" y="3"/>
                      <a:pt x="6" y="3"/>
                    </a:cubicBezTo>
                    <a:cubicBezTo>
                      <a:pt x="6" y="9"/>
                      <a:pt x="6" y="12"/>
                      <a:pt x="6" y="15"/>
                    </a:cubicBezTo>
                    <a:cubicBezTo>
                      <a:pt x="6" y="15"/>
                      <a:pt x="6" y="30"/>
                      <a:pt x="3" y="33"/>
                    </a:cubicBezTo>
                    <a:cubicBezTo>
                      <a:pt x="3" y="33"/>
                      <a:pt x="0" y="42"/>
                      <a:pt x="0" y="48"/>
                    </a:cubicBezTo>
                    <a:cubicBezTo>
                      <a:pt x="3" y="51"/>
                      <a:pt x="6" y="54"/>
                      <a:pt x="9" y="54"/>
                    </a:cubicBezTo>
                    <a:cubicBezTo>
                      <a:pt x="12" y="54"/>
                      <a:pt x="18" y="48"/>
                      <a:pt x="18" y="45"/>
                    </a:cubicBezTo>
                    <a:cubicBezTo>
                      <a:pt x="18" y="45"/>
                      <a:pt x="21" y="42"/>
                      <a:pt x="24" y="42"/>
                    </a:cubicBezTo>
                    <a:cubicBezTo>
                      <a:pt x="30" y="42"/>
                      <a:pt x="30" y="39"/>
                      <a:pt x="33" y="39"/>
                    </a:cubicBezTo>
                    <a:cubicBezTo>
                      <a:pt x="36" y="36"/>
                      <a:pt x="27" y="30"/>
                      <a:pt x="24" y="27"/>
                    </a:cubicBezTo>
                    <a:cubicBezTo>
                      <a:pt x="21" y="27"/>
                      <a:pt x="27" y="21"/>
                      <a:pt x="36" y="21"/>
                    </a:cubicBezTo>
                    <a:cubicBezTo>
                      <a:pt x="42" y="21"/>
                      <a:pt x="42" y="18"/>
                      <a:pt x="45" y="18"/>
                    </a:cubicBezTo>
                    <a:cubicBezTo>
                      <a:pt x="45" y="18"/>
                      <a:pt x="45" y="18"/>
                      <a:pt x="48" y="18"/>
                    </a:cubicBezTo>
                    <a:cubicBezTo>
                      <a:pt x="45" y="12"/>
                      <a:pt x="45" y="9"/>
                      <a:pt x="45" y="6"/>
                    </a:cubicBezTo>
                    <a:cubicBezTo>
                      <a:pt x="45" y="6"/>
                      <a:pt x="42" y="3"/>
                      <a:pt x="42"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1" name="Freeform 745"/>
              <p:cNvSpPr>
                <a:spLocks/>
              </p:cNvSpPr>
              <p:nvPr userDrawn="1"/>
            </p:nvSpPr>
            <p:spPr bwMode="auto">
              <a:xfrm>
                <a:off x="4088" y="-1759"/>
                <a:ext cx="75" cy="84"/>
              </a:xfrm>
              <a:custGeom>
                <a:avLst/>
                <a:gdLst>
                  <a:gd name="T0" fmla="*/ 42 w 48"/>
                  <a:gd name="T1" fmla="*/ 0 h 54"/>
                  <a:gd name="T2" fmla="*/ 30 w 48"/>
                  <a:gd name="T3" fmla="*/ 6 h 54"/>
                  <a:gd name="T4" fmla="*/ 18 w 48"/>
                  <a:gd name="T5" fmla="*/ 12 h 54"/>
                  <a:gd name="T6" fmla="*/ 9 w 48"/>
                  <a:gd name="T7" fmla="*/ 9 h 54"/>
                  <a:gd name="T8" fmla="*/ 6 w 48"/>
                  <a:gd name="T9" fmla="*/ 3 h 54"/>
                  <a:gd name="T10" fmla="*/ 6 w 48"/>
                  <a:gd name="T11" fmla="*/ 3 h 54"/>
                  <a:gd name="T12" fmla="*/ 6 w 48"/>
                  <a:gd name="T13" fmla="*/ 15 h 54"/>
                  <a:gd name="T14" fmla="*/ 3 w 48"/>
                  <a:gd name="T15" fmla="*/ 33 h 54"/>
                  <a:gd name="T16" fmla="*/ 0 w 48"/>
                  <a:gd name="T17" fmla="*/ 48 h 54"/>
                  <a:gd name="T18" fmla="*/ 9 w 48"/>
                  <a:gd name="T19" fmla="*/ 54 h 54"/>
                  <a:gd name="T20" fmla="*/ 18 w 48"/>
                  <a:gd name="T21" fmla="*/ 45 h 54"/>
                  <a:gd name="T22" fmla="*/ 24 w 48"/>
                  <a:gd name="T23" fmla="*/ 42 h 54"/>
                  <a:gd name="T24" fmla="*/ 33 w 48"/>
                  <a:gd name="T25" fmla="*/ 39 h 54"/>
                  <a:gd name="T26" fmla="*/ 24 w 48"/>
                  <a:gd name="T27" fmla="*/ 27 h 54"/>
                  <a:gd name="T28" fmla="*/ 36 w 48"/>
                  <a:gd name="T29" fmla="*/ 21 h 54"/>
                  <a:gd name="T30" fmla="*/ 45 w 48"/>
                  <a:gd name="T31" fmla="*/ 18 h 54"/>
                  <a:gd name="T32" fmla="*/ 48 w 48"/>
                  <a:gd name="T33" fmla="*/ 18 h 54"/>
                  <a:gd name="T34" fmla="*/ 45 w 48"/>
                  <a:gd name="T35" fmla="*/ 6 h 54"/>
                  <a:gd name="T36" fmla="*/ 42 w 48"/>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54">
                    <a:moveTo>
                      <a:pt x="42" y="0"/>
                    </a:moveTo>
                    <a:cubicBezTo>
                      <a:pt x="36" y="3"/>
                      <a:pt x="30" y="6"/>
                      <a:pt x="30" y="6"/>
                    </a:cubicBezTo>
                    <a:cubicBezTo>
                      <a:pt x="27" y="9"/>
                      <a:pt x="18" y="12"/>
                      <a:pt x="18" y="12"/>
                    </a:cubicBezTo>
                    <a:cubicBezTo>
                      <a:pt x="9" y="9"/>
                      <a:pt x="9" y="9"/>
                      <a:pt x="9" y="9"/>
                    </a:cubicBezTo>
                    <a:cubicBezTo>
                      <a:pt x="6" y="3"/>
                      <a:pt x="6" y="3"/>
                      <a:pt x="6" y="3"/>
                    </a:cubicBezTo>
                    <a:cubicBezTo>
                      <a:pt x="6" y="3"/>
                      <a:pt x="6" y="3"/>
                      <a:pt x="6" y="3"/>
                    </a:cubicBezTo>
                    <a:cubicBezTo>
                      <a:pt x="6" y="9"/>
                      <a:pt x="6" y="12"/>
                      <a:pt x="6" y="15"/>
                    </a:cubicBezTo>
                    <a:cubicBezTo>
                      <a:pt x="6" y="15"/>
                      <a:pt x="6" y="30"/>
                      <a:pt x="3" y="33"/>
                    </a:cubicBezTo>
                    <a:cubicBezTo>
                      <a:pt x="3" y="33"/>
                      <a:pt x="0" y="42"/>
                      <a:pt x="0" y="48"/>
                    </a:cubicBezTo>
                    <a:cubicBezTo>
                      <a:pt x="3" y="51"/>
                      <a:pt x="6" y="54"/>
                      <a:pt x="9" y="54"/>
                    </a:cubicBezTo>
                    <a:cubicBezTo>
                      <a:pt x="12" y="54"/>
                      <a:pt x="18" y="48"/>
                      <a:pt x="18" y="45"/>
                    </a:cubicBezTo>
                    <a:cubicBezTo>
                      <a:pt x="18" y="45"/>
                      <a:pt x="21" y="42"/>
                      <a:pt x="24" y="42"/>
                    </a:cubicBezTo>
                    <a:cubicBezTo>
                      <a:pt x="30" y="42"/>
                      <a:pt x="30" y="39"/>
                      <a:pt x="33" y="39"/>
                    </a:cubicBezTo>
                    <a:cubicBezTo>
                      <a:pt x="36" y="36"/>
                      <a:pt x="27" y="30"/>
                      <a:pt x="24" y="27"/>
                    </a:cubicBezTo>
                    <a:cubicBezTo>
                      <a:pt x="21" y="27"/>
                      <a:pt x="27" y="21"/>
                      <a:pt x="36" y="21"/>
                    </a:cubicBezTo>
                    <a:cubicBezTo>
                      <a:pt x="42" y="21"/>
                      <a:pt x="42" y="18"/>
                      <a:pt x="45" y="18"/>
                    </a:cubicBezTo>
                    <a:cubicBezTo>
                      <a:pt x="45" y="18"/>
                      <a:pt x="45" y="18"/>
                      <a:pt x="48" y="18"/>
                    </a:cubicBezTo>
                    <a:cubicBezTo>
                      <a:pt x="45" y="12"/>
                      <a:pt x="45" y="9"/>
                      <a:pt x="45" y="6"/>
                    </a:cubicBezTo>
                    <a:cubicBezTo>
                      <a:pt x="45" y="6"/>
                      <a:pt x="42" y="3"/>
                      <a:pt x="42"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2" name="Freeform 746"/>
              <p:cNvSpPr>
                <a:spLocks/>
              </p:cNvSpPr>
              <p:nvPr userDrawn="1"/>
            </p:nvSpPr>
            <p:spPr bwMode="auto">
              <a:xfrm>
                <a:off x="4700" y="-1961"/>
                <a:ext cx="190" cy="86"/>
              </a:xfrm>
              <a:custGeom>
                <a:avLst/>
                <a:gdLst>
                  <a:gd name="T0" fmla="*/ 113 w 122"/>
                  <a:gd name="T1" fmla="*/ 12 h 55"/>
                  <a:gd name="T2" fmla="*/ 101 w 122"/>
                  <a:gd name="T3" fmla="*/ 9 h 55"/>
                  <a:gd name="T4" fmla="*/ 74 w 122"/>
                  <a:gd name="T5" fmla="*/ 6 h 55"/>
                  <a:gd name="T6" fmla="*/ 59 w 122"/>
                  <a:gd name="T7" fmla="*/ 3 h 55"/>
                  <a:gd name="T8" fmla="*/ 48 w 122"/>
                  <a:gd name="T9" fmla="*/ 6 h 55"/>
                  <a:gd name="T10" fmla="*/ 36 w 122"/>
                  <a:gd name="T11" fmla="*/ 9 h 55"/>
                  <a:gd name="T12" fmla="*/ 21 w 122"/>
                  <a:gd name="T13" fmla="*/ 9 h 55"/>
                  <a:gd name="T14" fmla="*/ 15 w 122"/>
                  <a:gd name="T15" fmla="*/ 18 h 55"/>
                  <a:gd name="T16" fmla="*/ 12 w 122"/>
                  <a:gd name="T17" fmla="*/ 24 h 55"/>
                  <a:gd name="T18" fmla="*/ 15 w 122"/>
                  <a:gd name="T19" fmla="*/ 27 h 55"/>
                  <a:gd name="T20" fmla="*/ 24 w 122"/>
                  <a:gd name="T21" fmla="*/ 27 h 55"/>
                  <a:gd name="T22" fmla="*/ 39 w 122"/>
                  <a:gd name="T23" fmla="*/ 33 h 55"/>
                  <a:gd name="T24" fmla="*/ 36 w 122"/>
                  <a:gd name="T25" fmla="*/ 39 h 55"/>
                  <a:gd name="T26" fmla="*/ 24 w 122"/>
                  <a:gd name="T27" fmla="*/ 42 h 55"/>
                  <a:gd name="T28" fmla="*/ 9 w 122"/>
                  <a:gd name="T29" fmla="*/ 42 h 55"/>
                  <a:gd name="T30" fmla="*/ 0 w 122"/>
                  <a:gd name="T31" fmla="*/ 52 h 55"/>
                  <a:gd name="T32" fmla="*/ 15 w 122"/>
                  <a:gd name="T33" fmla="*/ 52 h 55"/>
                  <a:gd name="T34" fmla="*/ 27 w 122"/>
                  <a:gd name="T35" fmla="*/ 52 h 55"/>
                  <a:gd name="T36" fmla="*/ 36 w 122"/>
                  <a:gd name="T37" fmla="*/ 55 h 55"/>
                  <a:gd name="T38" fmla="*/ 50 w 122"/>
                  <a:gd name="T39" fmla="*/ 52 h 55"/>
                  <a:gd name="T40" fmla="*/ 50 w 122"/>
                  <a:gd name="T41" fmla="*/ 49 h 55"/>
                  <a:gd name="T42" fmla="*/ 56 w 122"/>
                  <a:gd name="T43" fmla="*/ 45 h 55"/>
                  <a:gd name="T44" fmla="*/ 62 w 122"/>
                  <a:gd name="T45" fmla="*/ 39 h 55"/>
                  <a:gd name="T46" fmla="*/ 68 w 122"/>
                  <a:gd name="T47" fmla="*/ 39 h 55"/>
                  <a:gd name="T48" fmla="*/ 77 w 122"/>
                  <a:gd name="T49" fmla="*/ 39 h 55"/>
                  <a:gd name="T50" fmla="*/ 83 w 122"/>
                  <a:gd name="T51" fmla="*/ 36 h 55"/>
                  <a:gd name="T52" fmla="*/ 92 w 122"/>
                  <a:gd name="T53" fmla="*/ 33 h 55"/>
                  <a:gd name="T54" fmla="*/ 101 w 122"/>
                  <a:gd name="T55" fmla="*/ 27 h 55"/>
                  <a:gd name="T56" fmla="*/ 110 w 122"/>
                  <a:gd name="T57" fmla="*/ 21 h 55"/>
                  <a:gd name="T58" fmla="*/ 122 w 122"/>
                  <a:gd name="T59" fmla="*/ 18 h 55"/>
                  <a:gd name="T60" fmla="*/ 122 w 122"/>
                  <a:gd name="T61" fmla="*/ 15 h 55"/>
                  <a:gd name="T62" fmla="*/ 113 w 122"/>
                  <a:gd name="T63"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2" h="55">
                    <a:moveTo>
                      <a:pt x="113" y="12"/>
                    </a:moveTo>
                    <a:cubicBezTo>
                      <a:pt x="107" y="6"/>
                      <a:pt x="107" y="9"/>
                      <a:pt x="101" y="9"/>
                    </a:cubicBezTo>
                    <a:cubicBezTo>
                      <a:pt x="98" y="6"/>
                      <a:pt x="77" y="6"/>
                      <a:pt x="74" y="6"/>
                    </a:cubicBezTo>
                    <a:cubicBezTo>
                      <a:pt x="68" y="9"/>
                      <a:pt x="62" y="3"/>
                      <a:pt x="59" y="3"/>
                    </a:cubicBezTo>
                    <a:cubicBezTo>
                      <a:pt x="56" y="0"/>
                      <a:pt x="48" y="3"/>
                      <a:pt x="48" y="6"/>
                    </a:cubicBezTo>
                    <a:cubicBezTo>
                      <a:pt x="48" y="12"/>
                      <a:pt x="42" y="12"/>
                      <a:pt x="36" y="9"/>
                    </a:cubicBezTo>
                    <a:cubicBezTo>
                      <a:pt x="30" y="6"/>
                      <a:pt x="21" y="6"/>
                      <a:pt x="21" y="9"/>
                    </a:cubicBezTo>
                    <a:cubicBezTo>
                      <a:pt x="21" y="12"/>
                      <a:pt x="18" y="15"/>
                      <a:pt x="15" y="18"/>
                    </a:cubicBezTo>
                    <a:cubicBezTo>
                      <a:pt x="15" y="18"/>
                      <a:pt x="12" y="21"/>
                      <a:pt x="12" y="24"/>
                    </a:cubicBezTo>
                    <a:cubicBezTo>
                      <a:pt x="15" y="24"/>
                      <a:pt x="15" y="24"/>
                      <a:pt x="15" y="27"/>
                    </a:cubicBezTo>
                    <a:cubicBezTo>
                      <a:pt x="18" y="30"/>
                      <a:pt x="24" y="30"/>
                      <a:pt x="24" y="27"/>
                    </a:cubicBezTo>
                    <a:cubicBezTo>
                      <a:pt x="27" y="24"/>
                      <a:pt x="36" y="30"/>
                      <a:pt x="39" y="33"/>
                    </a:cubicBezTo>
                    <a:cubicBezTo>
                      <a:pt x="45" y="39"/>
                      <a:pt x="39" y="36"/>
                      <a:pt x="36" y="39"/>
                    </a:cubicBezTo>
                    <a:cubicBezTo>
                      <a:pt x="33" y="42"/>
                      <a:pt x="27" y="39"/>
                      <a:pt x="24" y="42"/>
                    </a:cubicBezTo>
                    <a:cubicBezTo>
                      <a:pt x="24" y="42"/>
                      <a:pt x="12" y="42"/>
                      <a:pt x="9" y="42"/>
                    </a:cubicBezTo>
                    <a:cubicBezTo>
                      <a:pt x="6" y="42"/>
                      <a:pt x="0" y="49"/>
                      <a:pt x="0" y="52"/>
                    </a:cubicBezTo>
                    <a:cubicBezTo>
                      <a:pt x="0" y="52"/>
                      <a:pt x="12" y="49"/>
                      <a:pt x="15" y="52"/>
                    </a:cubicBezTo>
                    <a:cubicBezTo>
                      <a:pt x="21" y="55"/>
                      <a:pt x="24" y="49"/>
                      <a:pt x="27" y="52"/>
                    </a:cubicBezTo>
                    <a:cubicBezTo>
                      <a:pt x="30" y="55"/>
                      <a:pt x="33" y="52"/>
                      <a:pt x="36" y="55"/>
                    </a:cubicBezTo>
                    <a:cubicBezTo>
                      <a:pt x="39" y="55"/>
                      <a:pt x="50" y="52"/>
                      <a:pt x="50" y="52"/>
                    </a:cubicBezTo>
                    <a:cubicBezTo>
                      <a:pt x="50" y="49"/>
                      <a:pt x="50" y="49"/>
                      <a:pt x="50" y="49"/>
                    </a:cubicBezTo>
                    <a:cubicBezTo>
                      <a:pt x="50" y="45"/>
                      <a:pt x="53" y="45"/>
                      <a:pt x="56" y="45"/>
                    </a:cubicBezTo>
                    <a:cubicBezTo>
                      <a:pt x="59" y="42"/>
                      <a:pt x="62" y="39"/>
                      <a:pt x="62" y="39"/>
                    </a:cubicBezTo>
                    <a:cubicBezTo>
                      <a:pt x="65" y="39"/>
                      <a:pt x="68" y="36"/>
                      <a:pt x="68" y="39"/>
                    </a:cubicBezTo>
                    <a:cubicBezTo>
                      <a:pt x="71" y="39"/>
                      <a:pt x="74" y="42"/>
                      <a:pt x="77" y="39"/>
                    </a:cubicBezTo>
                    <a:cubicBezTo>
                      <a:pt x="80" y="39"/>
                      <a:pt x="80" y="39"/>
                      <a:pt x="83" y="36"/>
                    </a:cubicBezTo>
                    <a:cubicBezTo>
                      <a:pt x="86" y="30"/>
                      <a:pt x="89" y="33"/>
                      <a:pt x="92" y="33"/>
                    </a:cubicBezTo>
                    <a:cubicBezTo>
                      <a:pt x="98" y="33"/>
                      <a:pt x="101" y="30"/>
                      <a:pt x="101" y="27"/>
                    </a:cubicBezTo>
                    <a:cubicBezTo>
                      <a:pt x="104" y="24"/>
                      <a:pt x="107" y="24"/>
                      <a:pt x="110" y="21"/>
                    </a:cubicBezTo>
                    <a:cubicBezTo>
                      <a:pt x="113" y="21"/>
                      <a:pt x="119" y="18"/>
                      <a:pt x="122" y="18"/>
                    </a:cubicBezTo>
                    <a:cubicBezTo>
                      <a:pt x="122" y="15"/>
                      <a:pt x="122" y="15"/>
                      <a:pt x="122" y="15"/>
                    </a:cubicBezTo>
                    <a:cubicBezTo>
                      <a:pt x="119" y="12"/>
                      <a:pt x="116" y="15"/>
                      <a:pt x="11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3" name="Freeform 747"/>
              <p:cNvSpPr>
                <a:spLocks/>
              </p:cNvSpPr>
              <p:nvPr userDrawn="1"/>
            </p:nvSpPr>
            <p:spPr bwMode="auto">
              <a:xfrm>
                <a:off x="4700" y="-1961"/>
                <a:ext cx="190" cy="86"/>
              </a:xfrm>
              <a:custGeom>
                <a:avLst/>
                <a:gdLst>
                  <a:gd name="T0" fmla="*/ 113 w 122"/>
                  <a:gd name="T1" fmla="*/ 12 h 55"/>
                  <a:gd name="T2" fmla="*/ 101 w 122"/>
                  <a:gd name="T3" fmla="*/ 9 h 55"/>
                  <a:gd name="T4" fmla="*/ 74 w 122"/>
                  <a:gd name="T5" fmla="*/ 6 h 55"/>
                  <a:gd name="T6" fmla="*/ 59 w 122"/>
                  <a:gd name="T7" fmla="*/ 3 h 55"/>
                  <a:gd name="T8" fmla="*/ 48 w 122"/>
                  <a:gd name="T9" fmla="*/ 6 h 55"/>
                  <a:gd name="T10" fmla="*/ 36 w 122"/>
                  <a:gd name="T11" fmla="*/ 9 h 55"/>
                  <a:gd name="T12" fmla="*/ 21 w 122"/>
                  <a:gd name="T13" fmla="*/ 9 h 55"/>
                  <a:gd name="T14" fmla="*/ 15 w 122"/>
                  <a:gd name="T15" fmla="*/ 18 h 55"/>
                  <a:gd name="T16" fmla="*/ 12 w 122"/>
                  <a:gd name="T17" fmla="*/ 24 h 55"/>
                  <a:gd name="T18" fmla="*/ 15 w 122"/>
                  <a:gd name="T19" fmla="*/ 27 h 55"/>
                  <a:gd name="T20" fmla="*/ 24 w 122"/>
                  <a:gd name="T21" fmla="*/ 27 h 55"/>
                  <a:gd name="T22" fmla="*/ 39 w 122"/>
                  <a:gd name="T23" fmla="*/ 33 h 55"/>
                  <a:gd name="T24" fmla="*/ 36 w 122"/>
                  <a:gd name="T25" fmla="*/ 39 h 55"/>
                  <a:gd name="T26" fmla="*/ 24 w 122"/>
                  <a:gd name="T27" fmla="*/ 42 h 55"/>
                  <a:gd name="T28" fmla="*/ 9 w 122"/>
                  <a:gd name="T29" fmla="*/ 42 h 55"/>
                  <a:gd name="T30" fmla="*/ 0 w 122"/>
                  <a:gd name="T31" fmla="*/ 52 h 55"/>
                  <a:gd name="T32" fmla="*/ 15 w 122"/>
                  <a:gd name="T33" fmla="*/ 52 h 55"/>
                  <a:gd name="T34" fmla="*/ 27 w 122"/>
                  <a:gd name="T35" fmla="*/ 52 h 55"/>
                  <a:gd name="T36" fmla="*/ 36 w 122"/>
                  <a:gd name="T37" fmla="*/ 55 h 55"/>
                  <a:gd name="T38" fmla="*/ 50 w 122"/>
                  <a:gd name="T39" fmla="*/ 52 h 55"/>
                  <a:gd name="T40" fmla="*/ 50 w 122"/>
                  <a:gd name="T41" fmla="*/ 49 h 55"/>
                  <a:gd name="T42" fmla="*/ 56 w 122"/>
                  <a:gd name="T43" fmla="*/ 45 h 55"/>
                  <a:gd name="T44" fmla="*/ 62 w 122"/>
                  <a:gd name="T45" fmla="*/ 39 h 55"/>
                  <a:gd name="T46" fmla="*/ 68 w 122"/>
                  <a:gd name="T47" fmla="*/ 39 h 55"/>
                  <a:gd name="T48" fmla="*/ 77 w 122"/>
                  <a:gd name="T49" fmla="*/ 39 h 55"/>
                  <a:gd name="T50" fmla="*/ 83 w 122"/>
                  <a:gd name="T51" fmla="*/ 36 h 55"/>
                  <a:gd name="T52" fmla="*/ 92 w 122"/>
                  <a:gd name="T53" fmla="*/ 33 h 55"/>
                  <a:gd name="T54" fmla="*/ 101 w 122"/>
                  <a:gd name="T55" fmla="*/ 27 h 55"/>
                  <a:gd name="T56" fmla="*/ 110 w 122"/>
                  <a:gd name="T57" fmla="*/ 21 h 55"/>
                  <a:gd name="T58" fmla="*/ 122 w 122"/>
                  <a:gd name="T59" fmla="*/ 18 h 55"/>
                  <a:gd name="T60" fmla="*/ 122 w 122"/>
                  <a:gd name="T61" fmla="*/ 15 h 55"/>
                  <a:gd name="T62" fmla="*/ 113 w 122"/>
                  <a:gd name="T63"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2" h="55">
                    <a:moveTo>
                      <a:pt x="113" y="12"/>
                    </a:moveTo>
                    <a:cubicBezTo>
                      <a:pt x="107" y="6"/>
                      <a:pt x="107" y="9"/>
                      <a:pt x="101" y="9"/>
                    </a:cubicBezTo>
                    <a:cubicBezTo>
                      <a:pt x="98" y="6"/>
                      <a:pt x="77" y="6"/>
                      <a:pt x="74" y="6"/>
                    </a:cubicBezTo>
                    <a:cubicBezTo>
                      <a:pt x="68" y="9"/>
                      <a:pt x="62" y="3"/>
                      <a:pt x="59" y="3"/>
                    </a:cubicBezTo>
                    <a:cubicBezTo>
                      <a:pt x="56" y="0"/>
                      <a:pt x="48" y="3"/>
                      <a:pt x="48" y="6"/>
                    </a:cubicBezTo>
                    <a:cubicBezTo>
                      <a:pt x="48" y="12"/>
                      <a:pt x="42" y="12"/>
                      <a:pt x="36" y="9"/>
                    </a:cubicBezTo>
                    <a:cubicBezTo>
                      <a:pt x="30" y="6"/>
                      <a:pt x="21" y="6"/>
                      <a:pt x="21" y="9"/>
                    </a:cubicBezTo>
                    <a:cubicBezTo>
                      <a:pt x="21" y="12"/>
                      <a:pt x="18" y="15"/>
                      <a:pt x="15" y="18"/>
                    </a:cubicBezTo>
                    <a:cubicBezTo>
                      <a:pt x="15" y="18"/>
                      <a:pt x="12" y="21"/>
                      <a:pt x="12" y="24"/>
                    </a:cubicBezTo>
                    <a:cubicBezTo>
                      <a:pt x="15" y="24"/>
                      <a:pt x="15" y="24"/>
                      <a:pt x="15" y="27"/>
                    </a:cubicBezTo>
                    <a:cubicBezTo>
                      <a:pt x="18" y="30"/>
                      <a:pt x="24" y="30"/>
                      <a:pt x="24" y="27"/>
                    </a:cubicBezTo>
                    <a:cubicBezTo>
                      <a:pt x="27" y="24"/>
                      <a:pt x="36" y="30"/>
                      <a:pt x="39" y="33"/>
                    </a:cubicBezTo>
                    <a:cubicBezTo>
                      <a:pt x="45" y="39"/>
                      <a:pt x="39" y="36"/>
                      <a:pt x="36" y="39"/>
                    </a:cubicBezTo>
                    <a:cubicBezTo>
                      <a:pt x="33" y="42"/>
                      <a:pt x="27" y="39"/>
                      <a:pt x="24" y="42"/>
                    </a:cubicBezTo>
                    <a:cubicBezTo>
                      <a:pt x="24" y="42"/>
                      <a:pt x="12" y="42"/>
                      <a:pt x="9" y="42"/>
                    </a:cubicBezTo>
                    <a:cubicBezTo>
                      <a:pt x="6" y="42"/>
                      <a:pt x="0" y="49"/>
                      <a:pt x="0" y="52"/>
                    </a:cubicBezTo>
                    <a:cubicBezTo>
                      <a:pt x="0" y="52"/>
                      <a:pt x="12" y="49"/>
                      <a:pt x="15" y="52"/>
                    </a:cubicBezTo>
                    <a:cubicBezTo>
                      <a:pt x="21" y="55"/>
                      <a:pt x="24" y="49"/>
                      <a:pt x="27" y="52"/>
                    </a:cubicBezTo>
                    <a:cubicBezTo>
                      <a:pt x="30" y="55"/>
                      <a:pt x="33" y="52"/>
                      <a:pt x="36" y="55"/>
                    </a:cubicBezTo>
                    <a:cubicBezTo>
                      <a:pt x="39" y="55"/>
                      <a:pt x="50" y="52"/>
                      <a:pt x="50" y="52"/>
                    </a:cubicBezTo>
                    <a:cubicBezTo>
                      <a:pt x="50" y="49"/>
                      <a:pt x="50" y="49"/>
                      <a:pt x="50" y="49"/>
                    </a:cubicBezTo>
                    <a:cubicBezTo>
                      <a:pt x="50" y="45"/>
                      <a:pt x="53" y="45"/>
                      <a:pt x="56" y="45"/>
                    </a:cubicBezTo>
                    <a:cubicBezTo>
                      <a:pt x="59" y="42"/>
                      <a:pt x="62" y="39"/>
                      <a:pt x="62" y="39"/>
                    </a:cubicBezTo>
                    <a:cubicBezTo>
                      <a:pt x="65" y="39"/>
                      <a:pt x="68" y="36"/>
                      <a:pt x="68" y="39"/>
                    </a:cubicBezTo>
                    <a:cubicBezTo>
                      <a:pt x="71" y="39"/>
                      <a:pt x="74" y="42"/>
                      <a:pt x="77" y="39"/>
                    </a:cubicBezTo>
                    <a:cubicBezTo>
                      <a:pt x="80" y="39"/>
                      <a:pt x="80" y="39"/>
                      <a:pt x="83" y="36"/>
                    </a:cubicBezTo>
                    <a:cubicBezTo>
                      <a:pt x="86" y="30"/>
                      <a:pt x="89" y="33"/>
                      <a:pt x="92" y="33"/>
                    </a:cubicBezTo>
                    <a:cubicBezTo>
                      <a:pt x="98" y="33"/>
                      <a:pt x="101" y="30"/>
                      <a:pt x="101" y="27"/>
                    </a:cubicBezTo>
                    <a:cubicBezTo>
                      <a:pt x="104" y="24"/>
                      <a:pt x="107" y="24"/>
                      <a:pt x="110" y="21"/>
                    </a:cubicBezTo>
                    <a:cubicBezTo>
                      <a:pt x="113" y="21"/>
                      <a:pt x="119" y="18"/>
                      <a:pt x="122" y="18"/>
                    </a:cubicBezTo>
                    <a:cubicBezTo>
                      <a:pt x="122" y="15"/>
                      <a:pt x="122" y="15"/>
                      <a:pt x="122" y="15"/>
                    </a:cubicBezTo>
                    <a:cubicBezTo>
                      <a:pt x="119" y="12"/>
                      <a:pt x="116" y="15"/>
                      <a:pt x="11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4" name="Freeform 748"/>
              <p:cNvSpPr>
                <a:spLocks/>
              </p:cNvSpPr>
              <p:nvPr userDrawn="1"/>
            </p:nvSpPr>
            <p:spPr bwMode="auto">
              <a:xfrm>
                <a:off x="4172" y="-1970"/>
                <a:ext cx="120" cy="56"/>
              </a:xfrm>
              <a:custGeom>
                <a:avLst/>
                <a:gdLst>
                  <a:gd name="T0" fmla="*/ 33 w 77"/>
                  <a:gd name="T1" fmla="*/ 27 h 36"/>
                  <a:gd name="T2" fmla="*/ 38 w 77"/>
                  <a:gd name="T3" fmla="*/ 33 h 36"/>
                  <a:gd name="T4" fmla="*/ 41 w 77"/>
                  <a:gd name="T5" fmla="*/ 36 h 36"/>
                  <a:gd name="T6" fmla="*/ 50 w 77"/>
                  <a:gd name="T7" fmla="*/ 33 h 36"/>
                  <a:gd name="T8" fmla="*/ 62 w 77"/>
                  <a:gd name="T9" fmla="*/ 33 h 36"/>
                  <a:gd name="T10" fmla="*/ 59 w 77"/>
                  <a:gd name="T11" fmla="*/ 30 h 36"/>
                  <a:gd name="T12" fmla="*/ 68 w 77"/>
                  <a:gd name="T13" fmla="*/ 33 h 36"/>
                  <a:gd name="T14" fmla="*/ 77 w 77"/>
                  <a:gd name="T15" fmla="*/ 33 h 36"/>
                  <a:gd name="T16" fmla="*/ 74 w 77"/>
                  <a:gd name="T17" fmla="*/ 30 h 36"/>
                  <a:gd name="T18" fmla="*/ 74 w 77"/>
                  <a:gd name="T19" fmla="*/ 24 h 36"/>
                  <a:gd name="T20" fmla="*/ 68 w 77"/>
                  <a:gd name="T21" fmla="*/ 21 h 36"/>
                  <a:gd name="T22" fmla="*/ 65 w 77"/>
                  <a:gd name="T23" fmla="*/ 15 h 36"/>
                  <a:gd name="T24" fmla="*/ 62 w 77"/>
                  <a:gd name="T25" fmla="*/ 12 h 36"/>
                  <a:gd name="T26" fmla="*/ 50 w 77"/>
                  <a:gd name="T27" fmla="*/ 15 h 36"/>
                  <a:gd name="T28" fmla="*/ 41 w 77"/>
                  <a:gd name="T29" fmla="*/ 12 h 36"/>
                  <a:gd name="T30" fmla="*/ 36 w 77"/>
                  <a:gd name="T31" fmla="*/ 6 h 36"/>
                  <a:gd name="T32" fmla="*/ 18 w 77"/>
                  <a:gd name="T33" fmla="*/ 6 h 36"/>
                  <a:gd name="T34" fmla="*/ 6 w 77"/>
                  <a:gd name="T35" fmla="*/ 0 h 36"/>
                  <a:gd name="T36" fmla="*/ 0 w 77"/>
                  <a:gd name="T37" fmla="*/ 3 h 36"/>
                  <a:gd name="T38" fmla="*/ 18 w 77"/>
                  <a:gd name="T39" fmla="*/ 12 h 36"/>
                  <a:gd name="T40" fmla="*/ 24 w 77"/>
                  <a:gd name="T41" fmla="*/ 24 h 36"/>
                  <a:gd name="T42" fmla="*/ 21 w 77"/>
                  <a:gd name="T43" fmla="*/ 27 h 36"/>
                  <a:gd name="T44" fmla="*/ 33 w 77"/>
                  <a:gd name="T45"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 h="36">
                    <a:moveTo>
                      <a:pt x="33" y="27"/>
                    </a:moveTo>
                    <a:cubicBezTo>
                      <a:pt x="36" y="27"/>
                      <a:pt x="36" y="30"/>
                      <a:pt x="38" y="33"/>
                    </a:cubicBezTo>
                    <a:cubicBezTo>
                      <a:pt x="38" y="33"/>
                      <a:pt x="38" y="36"/>
                      <a:pt x="41" y="36"/>
                    </a:cubicBezTo>
                    <a:cubicBezTo>
                      <a:pt x="44" y="33"/>
                      <a:pt x="47" y="33"/>
                      <a:pt x="50" y="33"/>
                    </a:cubicBezTo>
                    <a:cubicBezTo>
                      <a:pt x="53" y="33"/>
                      <a:pt x="59" y="33"/>
                      <a:pt x="62" y="33"/>
                    </a:cubicBezTo>
                    <a:cubicBezTo>
                      <a:pt x="59" y="33"/>
                      <a:pt x="59" y="33"/>
                      <a:pt x="59" y="30"/>
                    </a:cubicBezTo>
                    <a:cubicBezTo>
                      <a:pt x="62" y="30"/>
                      <a:pt x="65" y="33"/>
                      <a:pt x="68" y="33"/>
                    </a:cubicBezTo>
                    <a:cubicBezTo>
                      <a:pt x="71" y="36"/>
                      <a:pt x="74" y="36"/>
                      <a:pt x="77" y="33"/>
                    </a:cubicBezTo>
                    <a:cubicBezTo>
                      <a:pt x="74" y="30"/>
                      <a:pt x="74" y="30"/>
                      <a:pt x="74" y="30"/>
                    </a:cubicBezTo>
                    <a:cubicBezTo>
                      <a:pt x="74" y="27"/>
                      <a:pt x="74" y="27"/>
                      <a:pt x="74" y="24"/>
                    </a:cubicBezTo>
                    <a:cubicBezTo>
                      <a:pt x="71" y="24"/>
                      <a:pt x="68" y="21"/>
                      <a:pt x="68" y="21"/>
                    </a:cubicBezTo>
                    <a:cubicBezTo>
                      <a:pt x="68" y="21"/>
                      <a:pt x="68" y="15"/>
                      <a:pt x="65" y="15"/>
                    </a:cubicBezTo>
                    <a:cubicBezTo>
                      <a:pt x="62" y="15"/>
                      <a:pt x="62" y="12"/>
                      <a:pt x="62" y="12"/>
                    </a:cubicBezTo>
                    <a:cubicBezTo>
                      <a:pt x="59" y="12"/>
                      <a:pt x="50" y="12"/>
                      <a:pt x="50" y="15"/>
                    </a:cubicBezTo>
                    <a:cubicBezTo>
                      <a:pt x="47" y="15"/>
                      <a:pt x="44" y="12"/>
                      <a:pt x="41" y="12"/>
                    </a:cubicBezTo>
                    <a:cubicBezTo>
                      <a:pt x="41" y="12"/>
                      <a:pt x="38" y="9"/>
                      <a:pt x="36" y="6"/>
                    </a:cubicBezTo>
                    <a:cubicBezTo>
                      <a:pt x="36" y="6"/>
                      <a:pt x="21" y="9"/>
                      <a:pt x="18" y="6"/>
                    </a:cubicBezTo>
                    <a:cubicBezTo>
                      <a:pt x="15" y="3"/>
                      <a:pt x="9" y="0"/>
                      <a:pt x="6" y="0"/>
                    </a:cubicBezTo>
                    <a:cubicBezTo>
                      <a:pt x="3" y="0"/>
                      <a:pt x="3" y="3"/>
                      <a:pt x="0" y="3"/>
                    </a:cubicBezTo>
                    <a:cubicBezTo>
                      <a:pt x="9" y="6"/>
                      <a:pt x="18" y="6"/>
                      <a:pt x="18" y="12"/>
                    </a:cubicBezTo>
                    <a:cubicBezTo>
                      <a:pt x="21" y="21"/>
                      <a:pt x="24" y="18"/>
                      <a:pt x="24" y="24"/>
                    </a:cubicBezTo>
                    <a:cubicBezTo>
                      <a:pt x="24" y="27"/>
                      <a:pt x="21" y="27"/>
                      <a:pt x="21" y="27"/>
                    </a:cubicBezTo>
                    <a:cubicBezTo>
                      <a:pt x="24" y="30"/>
                      <a:pt x="30" y="30"/>
                      <a:pt x="33"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5" name="Freeform 749"/>
              <p:cNvSpPr>
                <a:spLocks/>
              </p:cNvSpPr>
              <p:nvPr userDrawn="1"/>
            </p:nvSpPr>
            <p:spPr bwMode="auto">
              <a:xfrm>
                <a:off x="4172" y="-1970"/>
                <a:ext cx="120" cy="56"/>
              </a:xfrm>
              <a:custGeom>
                <a:avLst/>
                <a:gdLst>
                  <a:gd name="T0" fmla="*/ 33 w 77"/>
                  <a:gd name="T1" fmla="*/ 27 h 36"/>
                  <a:gd name="T2" fmla="*/ 38 w 77"/>
                  <a:gd name="T3" fmla="*/ 33 h 36"/>
                  <a:gd name="T4" fmla="*/ 41 w 77"/>
                  <a:gd name="T5" fmla="*/ 36 h 36"/>
                  <a:gd name="T6" fmla="*/ 50 w 77"/>
                  <a:gd name="T7" fmla="*/ 33 h 36"/>
                  <a:gd name="T8" fmla="*/ 62 w 77"/>
                  <a:gd name="T9" fmla="*/ 33 h 36"/>
                  <a:gd name="T10" fmla="*/ 59 w 77"/>
                  <a:gd name="T11" fmla="*/ 30 h 36"/>
                  <a:gd name="T12" fmla="*/ 68 w 77"/>
                  <a:gd name="T13" fmla="*/ 33 h 36"/>
                  <a:gd name="T14" fmla="*/ 77 w 77"/>
                  <a:gd name="T15" fmla="*/ 33 h 36"/>
                  <a:gd name="T16" fmla="*/ 74 w 77"/>
                  <a:gd name="T17" fmla="*/ 30 h 36"/>
                  <a:gd name="T18" fmla="*/ 74 w 77"/>
                  <a:gd name="T19" fmla="*/ 24 h 36"/>
                  <a:gd name="T20" fmla="*/ 68 w 77"/>
                  <a:gd name="T21" fmla="*/ 21 h 36"/>
                  <a:gd name="T22" fmla="*/ 65 w 77"/>
                  <a:gd name="T23" fmla="*/ 15 h 36"/>
                  <a:gd name="T24" fmla="*/ 62 w 77"/>
                  <a:gd name="T25" fmla="*/ 12 h 36"/>
                  <a:gd name="T26" fmla="*/ 50 w 77"/>
                  <a:gd name="T27" fmla="*/ 15 h 36"/>
                  <a:gd name="T28" fmla="*/ 41 w 77"/>
                  <a:gd name="T29" fmla="*/ 12 h 36"/>
                  <a:gd name="T30" fmla="*/ 36 w 77"/>
                  <a:gd name="T31" fmla="*/ 6 h 36"/>
                  <a:gd name="T32" fmla="*/ 18 w 77"/>
                  <a:gd name="T33" fmla="*/ 6 h 36"/>
                  <a:gd name="T34" fmla="*/ 6 w 77"/>
                  <a:gd name="T35" fmla="*/ 0 h 36"/>
                  <a:gd name="T36" fmla="*/ 0 w 77"/>
                  <a:gd name="T37" fmla="*/ 3 h 36"/>
                  <a:gd name="T38" fmla="*/ 18 w 77"/>
                  <a:gd name="T39" fmla="*/ 12 h 36"/>
                  <a:gd name="T40" fmla="*/ 24 w 77"/>
                  <a:gd name="T41" fmla="*/ 24 h 36"/>
                  <a:gd name="T42" fmla="*/ 21 w 77"/>
                  <a:gd name="T43" fmla="*/ 27 h 36"/>
                  <a:gd name="T44" fmla="*/ 33 w 77"/>
                  <a:gd name="T45"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 h="36">
                    <a:moveTo>
                      <a:pt x="33" y="27"/>
                    </a:moveTo>
                    <a:cubicBezTo>
                      <a:pt x="36" y="27"/>
                      <a:pt x="36" y="30"/>
                      <a:pt x="38" y="33"/>
                    </a:cubicBezTo>
                    <a:cubicBezTo>
                      <a:pt x="38" y="33"/>
                      <a:pt x="38" y="36"/>
                      <a:pt x="41" y="36"/>
                    </a:cubicBezTo>
                    <a:cubicBezTo>
                      <a:pt x="44" y="33"/>
                      <a:pt x="47" y="33"/>
                      <a:pt x="50" y="33"/>
                    </a:cubicBezTo>
                    <a:cubicBezTo>
                      <a:pt x="53" y="33"/>
                      <a:pt x="59" y="33"/>
                      <a:pt x="62" y="33"/>
                    </a:cubicBezTo>
                    <a:cubicBezTo>
                      <a:pt x="59" y="33"/>
                      <a:pt x="59" y="33"/>
                      <a:pt x="59" y="30"/>
                    </a:cubicBezTo>
                    <a:cubicBezTo>
                      <a:pt x="62" y="30"/>
                      <a:pt x="65" y="33"/>
                      <a:pt x="68" y="33"/>
                    </a:cubicBezTo>
                    <a:cubicBezTo>
                      <a:pt x="71" y="36"/>
                      <a:pt x="74" y="36"/>
                      <a:pt x="77" y="33"/>
                    </a:cubicBezTo>
                    <a:cubicBezTo>
                      <a:pt x="74" y="30"/>
                      <a:pt x="74" y="30"/>
                      <a:pt x="74" y="30"/>
                    </a:cubicBezTo>
                    <a:cubicBezTo>
                      <a:pt x="74" y="27"/>
                      <a:pt x="74" y="27"/>
                      <a:pt x="74" y="24"/>
                    </a:cubicBezTo>
                    <a:cubicBezTo>
                      <a:pt x="71" y="24"/>
                      <a:pt x="68" y="21"/>
                      <a:pt x="68" y="21"/>
                    </a:cubicBezTo>
                    <a:cubicBezTo>
                      <a:pt x="68" y="21"/>
                      <a:pt x="68" y="15"/>
                      <a:pt x="65" y="15"/>
                    </a:cubicBezTo>
                    <a:cubicBezTo>
                      <a:pt x="62" y="15"/>
                      <a:pt x="62" y="12"/>
                      <a:pt x="62" y="12"/>
                    </a:cubicBezTo>
                    <a:cubicBezTo>
                      <a:pt x="59" y="12"/>
                      <a:pt x="50" y="12"/>
                      <a:pt x="50" y="15"/>
                    </a:cubicBezTo>
                    <a:cubicBezTo>
                      <a:pt x="47" y="15"/>
                      <a:pt x="44" y="12"/>
                      <a:pt x="41" y="12"/>
                    </a:cubicBezTo>
                    <a:cubicBezTo>
                      <a:pt x="41" y="12"/>
                      <a:pt x="38" y="9"/>
                      <a:pt x="36" y="6"/>
                    </a:cubicBezTo>
                    <a:cubicBezTo>
                      <a:pt x="36" y="6"/>
                      <a:pt x="21" y="9"/>
                      <a:pt x="18" y="6"/>
                    </a:cubicBezTo>
                    <a:cubicBezTo>
                      <a:pt x="15" y="3"/>
                      <a:pt x="9" y="0"/>
                      <a:pt x="6" y="0"/>
                    </a:cubicBezTo>
                    <a:cubicBezTo>
                      <a:pt x="3" y="0"/>
                      <a:pt x="3" y="3"/>
                      <a:pt x="0" y="3"/>
                    </a:cubicBezTo>
                    <a:cubicBezTo>
                      <a:pt x="9" y="6"/>
                      <a:pt x="18" y="6"/>
                      <a:pt x="18" y="12"/>
                    </a:cubicBezTo>
                    <a:cubicBezTo>
                      <a:pt x="21" y="21"/>
                      <a:pt x="24" y="18"/>
                      <a:pt x="24" y="24"/>
                    </a:cubicBezTo>
                    <a:cubicBezTo>
                      <a:pt x="24" y="27"/>
                      <a:pt x="21" y="27"/>
                      <a:pt x="21" y="27"/>
                    </a:cubicBezTo>
                    <a:cubicBezTo>
                      <a:pt x="24" y="30"/>
                      <a:pt x="30" y="30"/>
                      <a:pt x="33"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6" name="Freeform 750"/>
              <p:cNvSpPr>
                <a:spLocks noEditPoints="1"/>
              </p:cNvSpPr>
              <p:nvPr userDrawn="1"/>
            </p:nvSpPr>
            <p:spPr bwMode="auto">
              <a:xfrm>
                <a:off x="3929" y="-1937"/>
                <a:ext cx="332" cy="131"/>
              </a:xfrm>
              <a:custGeom>
                <a:avLst/>
                <a:gdLst>
                  <a:gd name="T0" fmla="*/ 207 w 213"/>
                  <a:gd name="T1" fmla="*/ 57 h 84"/>
                  <a:gd name="T2" fmla="*/ 207 w 213"/>
                  <a:gd name="T3" fmla="*/ 45 h 84"/>
                  <a:gd name="T4" fmla="*/ 207 w 213"/>
                  <a:gd name="T5" fmla="*/ 36 h 84"/>
                  <a:gd name="T6" fmla="*/ 210 w 213"/>
                  <a:gd name="T7" fmla="*/ 30 h 84"/>
                  <a:gd name="T8" fmla="*/ 207 w 213"/>
                  <a:gd name="T9" fmla="*/ 27 h 84"/>
                  <a:gd name="T10" fmla="*/ 198 w 213"/>
                  <a:gd name="T11" fmla="*/ 24 h 84"/>
                  <a:gd name="T12" fmla="*/ 195 w 213"/>
                  <a:gd name="T13" fmla="*/ 12 h 84"/>
                  <a:gd name="T14" fmla="*/ 189 w 213"/>
                  <a:gd name="T15" fmla="*/ 6 h 84"/>
                  <a:gd name="T16" fmla="*/ 177 w 213"/>
                  <a:gd name="T17" fmla="*/ 6 h 84"/>
                  <a:gd name="T18" fmla="*/ 156 w 213"/>
                  <a:gd name="T19" fmla="*/ 15 h 84"/>
                  <a:gd name="T20" fmla="*/ 135 w 213"/>
                  <a:gd name="T21" fmla="*/ 15 h 84"/>
                  <a:gd name="T22" fmla="*/ 123 w 213"/>
                  <a:gd name="T23" fmla="*/ 9 h 84"/>
                  <a:gd name="T24" fmla="*/ 111 w 213"/>
                  <a:gd name="T25" fmla="*/ 6 h 84"/>
                  <a:gd name="T26" fmla="*/ 96 w 213"/>
                  <a:gd name="T27" fmla="*/ 0 h 84"/>
                  <a:gd name="T28" fmla="*/ 60 w 213"/>
                  <a:gd name="T29" fmla="*/ 12 h 84"/>
                  <a:gd name="T30" fmla="*/ 36 w 213"/>
                  <a:gd name="T31" fmla="*/ 12 h 84"/>
                  <a:gd name="T32" fmla="*/ 30 w 213"/>
                  <a:gd name="T33" fmla="*/ 21 h 84"/>
                  <a:gd name="T34" fmla="*/ 6 w 213"/>
                  <a:gd name="T35" fmla="*/ 24 h 84"/>
                  <a:gd name="T36" fmla="*/ 6 w 213"/>
                  <a:gd name="T37" fmla="*/ 33 h 84"/>
                  <a:gd name="T38" fmla="*/ 9 w 213"/>
                  <a:gd name="T39" fmla="*/ 36 h 84"/>
                  <a:gd name="T40" fmla="*/ 12 w 213"/>
                  <a:gd name="T41" fmla="*/ 45 h 84"/>
                  <a:gd name="T42" fmla="*/ 12 w 213"/>
                  <a:gd name="T43" fmla="*/ 51 h 84"/>
                  <a:gd name="T44" fmla="*/ 12 w 213"/>
                  <a:gd name="T45" fmla="*/ 57 h 84"/>
                  <a:gd name="T46" fmla="*/ 18 w 213"/>
                  <a:gd name="T47" fmla="*/ 63 h 84"/>
                  <a:gd name="T48" fmla="*/ 24 w 213"/>
                  <a:gd name="T49" fmla="*/ 69 h 84"/>
                  <a:gd name="T50" fmla="*/ 30 w 213"/>
                  <a:gd name="T51" fmla="*/ 69 h 84"/>
                  <a:gd name="T52" fmla="*/ 36 w 213"/>
                  <a:gd name="T53" fmla="*/ 78 h 84"/>
                  <a:gd name="T54" fmla="*/ 51 w 213"/>
                  <a:gd name="T55" fmla="*/ 75 h 84"/>
                  <a:gd name="T56" fmla="*/ 60 w 213"/>
                  <a:gd name="T57" fmla="*/ 69 h 84"/>
                  <a:gd name="T58" fmla="*/ 75 w 213"/>
                  <a:gd name="T59" fmla="*/ 78 h 84"/>
                  <a:gd name="T60" fmla="*/ 87 w 213"/>
                  <a:gd name="T61" fmla="*/ 78 h 84"/>
                  <a:gd name="T62" fmla="*/ 99 w 213"/>
                  <a:gd name="T63" fmla="*/ 69 h 84"/>
                  <a:gd name="T64" fmla="*/ 108 w 213"/>
                  <a:gd name="T65" fmla="*/ 72 h 84"/>
                  <a:gd name="T66" fmla="*/ 114 w 213"/>
                  <a:gd name="T67" fmla="*/ 69 h 84"/>
                  <a:gd name="T68" fmla="*/ 111 w 213"/>
                  <a:gd name="T69" fmla="*/ 78 h 84"/>
                  <a:gd name="T70" fmla="*/ 111 w 213"/>
                  <a:gd name="T71" fmla="*/ 84 h 84"/>
                  <a:gd name="T72" fmla="*/ 120 w 213"/>
                  <a:gd name="T73" fmla="*/ 75 h 84"/>
                  <a:gd name="T74" fmla="*/ 123 w 213"/>
                  <a:gd name="T75" fmla="*/ 72 h 84"/>
                  <a:gd name="T76" fmla="*/ 135 w 213"/>
                  <a:gd name="T77" fmla="*/ 72 h 84"/>
                  <a:gd name="T78" fmla="*/ 141 w 213"/>
                  <a:gd name="T79" fmla="*/ 72 h 84"/>
                  <a:gd name="T80" fmla="*/ 153 w 213"/>
                  <a:gd name="T81" fmla="*/ 72 h 84"/>
                  <a:gd name="T82" fmla="*/ 168 w 213"/>
                  <a:gd name="T83" fmla="*/ 66 h 84"/>
                  <a:gd name="T84" fmla="*/ 180 w 213"/>
                  <a:gd name="T85" fmla="*/ 66 h 84"/>
                  <a:gd name="T86" fmla="*/ 186 w 213"/>
                  <a:gd name="T87" fmla="*/ 66 h 84"/>
                  <a:gd name="T88" fmla="*/ 192 w 213"/>
                  <a:gd name="T89" fmla="*/ 63 h 84"/>
                  <a:gd name="T90" fmla="*/ 201 w 213"/>
                  <a:gd name="T91" fmla="*/ 66 h 84"/>
                  <a:gd name="T92" fmla="*/ 213 w 213"/>
                  <a:gd name="T93" fmla="*/ 66 h 84"/>
                  <a:gd name="T94" fmla="*/ 207 w 213"/>
                  <a:gd name="T95" fmla="*/ 57 h 84"/>
                  <a:gd name="T96" fmla="*/ 21 w 213"/>
                  <a:gd name="T97" fmla="*/ 15 h 84"/>
                  <a:gd name="T98" fmla="*/ 36 w 213"/>
                  <a:gd name="T99" fmla="*/ 12 h 84"/>
                  <a:gd name="T100" fmla="*/ 27 w 213"/>
                  <a:gd name="T101" fmla="*/ 6 h 84"/>
                  <a:gd name="T102" fmla="*/ 24 w 213"/>
                  <a:gd name="T103" fmla="*/ 0 h 84"/>
                  <a:gd name="T104" fmla="*/ 18 w 213"/>
                  <a:gd name="T105" fmla="*/ 3 h 84"/>
                  <a:gd name="T106" fmla="*/ 6 w 213"/>
                  <a:gd name="T107" fmla="*/ 3 h 84"/>
                  <a:gd name="T108" fmla="*/ 9 w 213"/>
                  <a:gd name="T109" fmla="*/ 9 h 84"/>
                  <a:gd name="T110" fmla="*/ 6 w 213"/>
                  <a:gd name="T111" fmla="*/ 15 h 84"/>
                  <a:gd name="T112" fmla="*/ 3 w 213"/>
                  <a:gd name="T113" fmla="*/ 18 h 84"/>
                  <a:gd name="T114" fmla="*/ 9 w 213"/>
                  <a:gd name="T115" fmla="*/ 21 h 84"/>
                  <a:gd name="T116" fmla="*/ 21 w 213"/>
                  <a:gd name="T117" fmla="*/ 1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 h="84">
                    <a:moveTo>
                      <a:pt x="207" y="57"/>
                    </a:moveTo>
                    <a:cubicBezTo>
                      <a:pt x="207" y="57"/>
                      <a:pt x="207" y="48"/>
                      <a:pt x="207" y="45"/>
                    </a:cubicBezTo>
                    <a:cubicBezTo>
                      <a:pt x="207" y="45"/>
                      <a:pt x="204" y="36"/>
                      <a:pt x="207" y="36"/>
                    </a:cubicBezTo>
                    <a:cubicBezTo>
                      <a:pt x="210" y="36"/>
                      <a:pt x="207" y="30"/>
                      <a:pt x="210" y="30"/>
                    </a:cubicBezTo>
                    <a:cubicBezTo>
                      <a:pt x="207" y="27"/>
                      <a:pt x="207" y="27"/>
                      <a:pt x="207" y="27"/>
                    </a:cubicBezTo>
                    <a:cubicBezTo>
                      <a:pt x="207" y="24"/>
                      <a:pt x="201" y="27"/>
                      <a:pt x="198" y="24"/>
                    </a:cubicBezTo>
                    <a:cubicBezTo>
                      <a:pt x="198" y="18"/>
                      <a:pt x="198" y="18"/>
                      <a:pt x="195" y="12"/>
                    </a:cubicBezTo>
                    <a:cubicBezTo>
                      <a:pt x="192" y="9"/>
                      <a:pt x="192" y="6"/>
                      <a:pt x="189" y="6"/>
                    </a:cubicBezTo>
                    <a:cubicBezTo>
                      <a:pt x="186" y="9"/>
                      <a:pt x="180" y="9"/>
                      <a:pt x="177" y="6"/>
                    </a:cubicBezTo>
                    <a:cubicBezTo>
                      <a:pt x="171" y="12"/>
                      <a:pt x="159" y="15"/>
                      <a:pt x="156" y="15"/>
                    </a:cubicBezTo>
                    <a:cubicBezTo>
                      <a:pt x="150" y="12"/>
                      <a:pt x="141" y="15"/>
                      <a:pt x="135" y="15"/>
                    </a:cubicBezTo>
                    <a:cubicBezTo>
                      <a:pt x="129" y="15"/>
                      <a:pt x="126" y="9"/>
                      <a:pt x="123" y="9"/>
                    </a:cubicBezTo>
                    <a:cubicBezTo>
                      <a:pt x="117" y="12"/>
                      <a:pt x="117" y="6"/>
                      <a:pt x="111" y="6"/>
                    </a:cubicBezTo>
                    <a:cubicBezTo>
                      <a:pt x="108" y="6"/>
                      <a:pt x="111" y="3"/>
                      <a:pt x="96" y="0"/>
                    </a:cubicBezTo>
                    <a:cubicBezTo>
                      <a:pt x="81" y="0"/>
                      <a:pt x="66" y="9"/>
                      <a:pt x="60" y="12"/>
                    </a:cubicBezTo>
                    <a:cubicBezTo>
                      <a:pt x="57" y="15"/>
                      <a:pt x="39" y="12"/>
                      <a:pt x="36" y="12"/>
                    </a:cubicBezTo>
                    <a:cubicBezTo>
                      <a:pt x="36" y="15"/>
                      <a:pt x="36" y="21"/>
                      <a:pt x="30" y="21"/>
                    </a:cubicBezTo>
                    <a:cubicBezTo>
                      <a:pt x="24" y="24"/>
                      <a:pt x="12" y="21"/>
                      <a:pt x="6" y="24"/>
                    </a:cubicBezTo>
                    <a:cubicBezTo>
                      <a:pt x="3" y="27"/>
                      <a:pt x="0" y="33"/>
                      <a:pt x="6" y="33"/>
                    </a:cubicBezTo>
                    <a:cubicBezTo>
                      <a:pt x="9" y="33"/>
                      <a:pt x="12" y="33"/>
                      <a:pt x="9" y="36"/>
                    </a:cubicBezTo>
                    <a:cubicBezTo>
                      <a:pt x="9" y="36"/>
                      <a:pt x="12" y="42"/>
                      <a:pt x="12" y="45"/>
                    </a:cubicBezTo>
                    <a:cubicBezTo>
                      <a:pt x="9" y="45"/>
                      <a:pt x="9" y="51"/>
                      <a:pt x="12" y="51"/>
                    </a:cubicBezTo>
                    <a:cubicBezTo>
                      <a:pt x="15" y="54"/>
                      <a:pt x="15" y="57"/>
                      <a:pt x="12" y="57"/>
                    </a:cubicBezTo>
                    <a:cubicBezTo>
                      <a:pt x="9" y="57"/>
                      <a:pt x="18" y="63"/>
                      <a:pt x="18" y="63"/>
                    </a:cubicBezTo>
                    <a:cubicBezTo>
                      <a:pt x="18" y="66"/>
                      <a:pt x="24" y="66"/>
                      <a:pt x="24" y="69"/>
                    </a:cubicBezTo>
                    <a:cubicBezTo>
                      <a:pt x="24" y="69"/>
                      <a:pt x="27" y="72"/>
                      <a:pt x="30" y="69"/>
                    </a:cubicBezTo>
                    <a:cubicBezTo>
                      <a:pt x="33" y="69"/>
                      <a:pt x="36" y="75"/>
                      <a:pt x="36" y="78"/>
                    </a:cubicBezTo>
                    <a:cubicBezTo>
                      <a:pt x="39" y="81"/>
                      <a:pt x="51" y="78"/>
                      <a:pt x="51" y="75"/>
                    </a:cubicBezTo>
                    <a:cubicBezTo>
                      <a:pt x="51" y="72"/>
                      <a:pt x="54" y="69"/>
                      <a:pt x="60" y="69"/>
                    </a:cubicBezTo>
                    <a:cubicBezTo>
                      <a:pt x="66" y="72"/>
                      <a:pt x="72" y="78"/>
                      <a:pt x="75" y="78"/>
                    </a:cubicBezTo>
                    <a:cubicBezTo>
                      <a:pt x="78" y="81"/>
                      <a:pt x="84" y="78"/>
                      <a:pt x="87" y="78"/>
                    </a:cubicBezTo>
                    <a:cubicBezTo>
                      <a:pt x="90" y="78"/>
                      <a:pt x="96" y="72"/>
                      <a:pt x="99" y="69"/>
                    </a:cubicBezTo>
                    <a:cubicBezTo>
                      <a:pt x="99" y="69"/>
                      <a:pt x="102" y="75"/>
                      <a:pt x="108" y="72"/>
                    </a:cubicBezTo>
                    <a:cubicBezTo>
                      <a:pt x="111" y="72"/>
                      <a:pt x="114" y="69"/>
                      <a:pt x="114" y="69"/>
                    </a:cubicBezTo>
                    <a:cubicBezTo>
                      <a:pt x="117" y="72"/>
                      <a:pt x="111" y="78"/>
                      <a:pt x="111" y="78"/>
                    </a:cubicBezTo>
                    <a:cubicBezTo>
                      <a:pt x="114" y="81"/>
                      <a:pt x="114" y="81"/>
                      <a:pt x="111" y="84"/>
                    </a:cubicBezTo>
                    <a:cubicBezTo>
                      <a:pt x="120" y="81"/>
                      <a:pt x="120" y="78"/>
                      <a:pt x="120" y="75"/>
                    </a:cubicBezTo>
                    <a:cubicBezTo>
                      <a:pt x="120" y="72"/>
                      <a:pt x="120" y="72"/>
                      <a:pt x="123" y="72"/>
                    </a:cubicBezTo>
                    <a:cubicBezTo>
                      <a:pt x="126" y="75"/>
                      <a:pt x="129" y="75"/>
                      <a:pt x="135" y="72"/>
                    </a:cubicBezTo>
                    <a:cubicBezTo>
                      <a:pt x="138" y="69"/>
                      <a:pt x="138" y="69"/>
                      <a:pt x="141" y="72"/>
                    </a:cubicBezTo>
                    <a:cubicBezTo>
                      <a:pt x="144" y="72"/>
                      <a:pt x="147" y="72"/>
                      <a:pt x="153" y="72"/>
                    </a:cubicBezTo>
                    <a:cubicBezTo>
                      <a:pt x="162" y="72"/>
                      <a:pt x="162" y="66"/>
                      <a:pt x="168" y="66"/>
                    </a:cubicBezTo>
                    <a:cubicBezTo>
                      <a:pt x="177" y="69"/>
                      <a:pt x="180" y="66"/>
                      <a:pt x="180" y="66"/>
                    </a:cubicBezTo>
                    <a:cubicBezTo>
                      <a:pt x="186" y="66"/>
                      <a:pt x="186" y="66"/>
                      <a:pt x="186" y="66"/>
                    </a:cubicBezTo>
                    <a:cubicBezTo>
                      <a:pt x="186" y="66"/>
                      <a:pt x="186" y="63"/>
                      <a:pt x="192" y="63"/>
                    </a:cubicBezTo>
                    <a:cubicBezTo>
                      <a:pt x="195" y="63"/>
                      <a:pt x="198" y="66"/>
                      <a:pt x="201" y="66"/>
                    </a:cubicBezTo>
                    <a:cubicBezTo>
                      <a:pt x="204" y="63"/>
                      <a:pt x="213" y="72"/>
                      <a:pt x="213" y="66"/>
                    </a:cubicBezTo>
                    <a:cubicBezTo>
                      <a:pt x="213" y="66"/>
                      <a:pt x="210" y="57"/>
                      <a:pt x="207" y="57"/>
                    </a:cubicBezTo>
                    <a:close/>
                    <a:moveTo>
                      <a:pt x="21" y="15"/>
                    </a:moveTo>
                    <a:cubicBezTo>
                      <a:pt x="24" y="12"/>
                      <a:pt x="33" y="15"/>
                      <a:pt x="36" y="12"/>
                    </a:cubicBezTo>
                    <a:cubicBezTo>
                      <a:pt x="36" y="12"/>
                      <a:pt x="30" y="9"/>
                      <a:pt x="27" y="6"/>
                    </a:cubicBezTo>
                    <a:cubicBezTo>
                      <a:pt x="24" y="6"/>
                      <a:pt x="24" y="3"/>
                      <a:pt x="24" y="0"/>
                    </a:cubicBezTo>
                    <a:cubicBezTo>
                      <a:pt x="21" y="3"/>
                      <a:pt x="21" y="3"/>
                      <a:pt x="18" y="3"/>
                    </a:cubicBezTo>
                    <a:cubicBezTo>
                      <a:pt x="15" y="0"/>
                      <a:pt x="9" y="0"/>
                      <a:pt x="6" y="3"/>
                    </a:cubicBezTo>
                    <a:cubicBezTo>
                      <a:pt x="6" y="3"/>
                      <a:pt x="9" y="6"/>
                      <a:pt x="9" y="9"/>
                    </a:cubicBezTo>
                    <a:cubicBezTo>
                      <a:pt x="9" y="12"/>
                      <a:pt x="6" y="12"/>
                      <a:pt x="6" y="15"/>
                    </a:cubicBezTo>
                    <a:cubicBezTo>
                      <a:pt x="3" y="18"/>
                      <a:pt x="3" y="18"/>
                      <a:pt x="3" y="18"/>
                    </a:cubicBezTo>
                    <a:cubicBezTo>
                      <a:pt x="6" y="21"/>
                      <a:pt x="6" y="21"/>
                      <a:pt x="9" y="21"/>
                    </a:cubicBezTo>
                    <a:cubicBezTo>
                      <a:pt x="15" y="21"/>
                      <a:pt x="15" y="15"/>
                      <a:pt x="21"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7" name="Freeform 751"/>
              <p:cNvSpPr>
                <a:spLocks noEditPoints="1"/>
              </p:cNvSpPr>
              <p:nvPr userDrawn="1"/>
            </p:nvSpPr>
            <p:spPr bwMode="auto">
              <a:xfrm>
                <a:off x="3929" y="-1937"/>
                <a:ext cx="332" cy="131"/>
              </a:xfrm>
              <a:custGeom>
                <a:avLst/>
                <a:gdLst>
                  <a:gd name="T0" fmla="*/ 207 w 213"/>
                  <a:gd name="T1" fmla="*/ 57 h 84"/>
                  <a:gd name="T2" fmla="*/ 207 w 213"/>
                  <a:gd name="T3" fmla="*/ 45 h 84"/>
                  <a:gd name="T4" fmla="*/ 207 w 213"/>
                  <a:gd name="T5" fmla="*/ 36 h 84"/>
                  <a:gd name="T6" fmla="*/ 210 w 213"/>
                  <a:gd name="T7" fmla="*/ 30 h 84"/>
                  <a:gd name="T8" fmla="*/ 207 w 213"/>
                  <a:gd name="T9" fmla="*/ 27 h 84"/>
                  <a:gd name="T10" fmla="*/ 198 w 213"/>
                  <a:gd name="T11" fmla="*/ 24 h 84"/>
                  <a:gd name="T12" fmla="*/ 195 w 213"/>
                  <a:gd name="T13" fmla="*/ 12 h 84"/>
                  <a:gd name="T14" fmla="*/ 189 w 213"/>
                  <a:gd name="T15" fmla="*/ 6 h 84"/>
                  <a:gd name="T16" fmla="*/ 177 w 213"/>
                  <a:gd name="T17" fmla="*/ 6 h 84"/>
                  <a:gd name="T18" fmla="*/ 156 w 213"/>
                  <a:gd name="T19" fmla="*/ 15 h 84"/>
                  <a:gd name="T20" fmla="*/ 135 w 213"/>
                  <a:gd name="T21" fmla="*/ 15 h 84"/>
                  <a:gd name="T22" fmla="*/ 123 w 213"/>
                  <a:gd name="T23" fmla="*/ 9 h 84"/>
                  <a:gd name="T24" fmla="*/ 111 w 213"/>
                  <a:gd name="T25" fmla="*/ 6 h 84"/>
                  <a:gd name="T26" fmla="*/ 96 w 213"/>
                  <a:gd name="T27" fmla="*/ 0 h 84"/>
                  <a:gd name="T28" fmla="*/ 60 w 213"/>
                  <a:gd name="T29" fmla="*/ 12 h 84"/>
                  <a:gd name="T30" fmla="*/ 36 w 213"/>
                  <a:gd name="T31" fmla="*/ 12 h 84"/>
                  <a:gd name="T32" fmla="*/ 30 w 213"/>
                  <a:gd name="T33" fmla="*/ 21 h 84"/>
                  <a:gd name="T34" fmla="*/ 6 w 213"/>
                  <a:gd name="T35" fmla="*/ 24 h 84"/>
                  <a:gd name="T36" fmla="*/ 6 w 213"/>
                  <a:gd name="T37" fmla="*/ 33 h 84"/>
                  <a:gd name="T38" fmla="*/ 9 w 213"/>
                  <a:gd name="T39" fmla="*/ 36 h 84"/>
                  <a:gd name="T40" fmla="*/ 12 w 213"/>
                  <a:gd name="T41" fmla="*/ 45 h 84"/>
                  <a:gd name="T42" fmla="*/ 12 w 213"/>
                  <a:gd name="T43" fmla="*/ 51 h 84"/>
                  <a:gd name="T44" fmla="*/ 12 w 213"/>
                  <a:gd name="T45" fmla="*/ 57 h 84"/>
                  <a:gd name="T46" fmla="*/ 18 w 213"/>
                  <a:gd name="T47" fmla="*/ 63 h 84"/>
                  <a:gd name="T48" fmla="*/ 24 w 213"/>
                  <a:gd name="T49" fmla="*/ 69 h 84"/>
                  <a:gd name="T50" fmla="*/ 30 w 213"/>
                  <a:gd name="T51" fmla="*/ 69 h 84"/>
                  <a:gd name="T52" fmla="*/ 36 w 213"/>
                  <a:gd name="T53" fmla="*/ 78 h 84"/>
                  <a:gd name="T54" fmla="*/ 51 w 213"/>
                  <a:gd name="T55" fmla="*/ 75 h 84"/>
                  <a:gd name="T56" fmla="*/ 60 w 213"/>
                  <a:gd name="T57" fmla="*/ 69 h 84"/>
                  <a:gd name="T58" fmla="*/ 75 w 213"/>
                  <a:gd name="T59" fmla="*/ 78 h 84"/>
                  <a:gd name="T60" fmla="*/ 87 w 213"/>
                  <a:gd name="T61" fmla="*/ 78 h 84"/>
                  <a:gd name="T62" fmla="*/ 99 w 213"/>
                  <a:gd name="T63" fmla="*/ 69 h 84"/>
                  <a:gd name="T64" fmla="*/ 108 w 213"/>
                  <a:gd name="T65" fmla="*/ 72 h 84"/>
                  <a:gd name="T66" fmla="*/ 114 w 213"/>
                  <a:gd name="T67" fmla="*/ 69 h 84"/>
                  <a:gd name="T68" fmla="*/ 111 w 213"/>
                  <a:gd name="T69" fmla="*/ 78 h 84"/>
                  <a:gd name="T70" fmla="*/ 111 w 213"/>
                  <a:gd name="T71" fmla="*/ 84 h 84"/>
                  <a:gd name="T72" fmla="*/ 120 w 213"/>
                  <a:gd name="T73" fmla="*/ 75 h 84"/>
                  <a:gd name="T74" fmla="*/ 123 w 213"/>
                  <a:gd name="T75" fmla="*/ 72 h 84"/>
                  <a:gd name="T76" fmla="*/ 135 w 213"/>
                  <a:gd name="T77" fmla="*/ 72 h 84"/>
                  <a:gd name="T78" fmla="*/ 141 w 213"/>
                  <a:gd name="T79" fmla="*/ 72 h 84"/>
                  <a:gd name="T80" fmla="*/ 153 w 213"/>
                  <a:gd name="T81" fmla="*/ 72 h 84"/>
                  <a:gd name="T82" fmla="*/ 168 w 213"/>
                  <a:gd name="T83" fmla="*/ 66 h 84"/>
                  <a:gd name="T84" fmla="*/ 180 w 213"/>
                  <a:gd name="T85" fmla="*/ 66 h 84"/>
                  <a:gd name="T86" fmla="*/ 186 w 213"/>
                  <a:gd name="T87" fmla="*/ 66 h 84"/>
                  <a:gd name="T88" fmla="*/ 192 w 213"/>
                  <a:gd name="T89" fmla="*/ 63 h 84"/>
                  <a:gd name="T90" fmla="*/ 201 w 213"/>
                  <a:gd name="T91" fmla="*/ 66 h 84"/>
                  <a:gd name="T92" fmla="*/ 213 w 213"/>
                  <a:gd name="T93" fmla="*/ 66 h 84"/>
                  <a:gd name="T94" fmla="*/ 207 w 213"/>
                  <a:gd name="T95" fmla="*/ 57 h 84"/>
                  <a:gd name="T96" fmla="*/ 21 w 213"/>
                  <a:gd name="T97" fmla="*/ 15 h 84"/>
                  <a:gd name="T98" fmla="*/ 36 w 213"/>
                  <a:gd name="T99" fmla="*/ 12 h 84"/>
                  <a:gd name="T100" fmla="*/ 27 w 213"/>
                  <a:gd name="T101" fmla="*/ 6 h 84"/>
                  <a:gd name="T102" fmla="*/ 24 w 213"/>
                  <a:gd name="T103" fmla="*/ 0 h 84"/>
                  <a:gd name="T104" fmla="*/ 18 w 213"/>
                  <a:gd name="T105" fmla="*/ 3 h 84"/>
                  <a:gd name="T106" fmla="*/ 6 w 213"/>
                  <a:gd name="T107" fmla="*/ 3 h 84"/>
                  <a:gd name="T108" fmla="*/ 9 w 213"/>
                  <a:gd name="T109" fmla="*/ 9 h 84"/>
                  <a:gd name="T110" fmla="*/ 6 w 213"/>
                  <a:gd name="T111" fmla="*/ 15 h 84"/>
                  <a:gd name="T112" fmla="*/ 3 w 213"/>
                  <a:gd name="T113" fmla="*/ 18 h 84"/>
                  <a:gd name="T114" fmla="*/ 9 w 213"/>
                  <a:gd name="T115" fmla="*/ 21 h 84"/>
                  <a:gd name="T116" fmla="*/ 21 w 213"/>
                  <a:gd name="T117" fmla="*/ 1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 h="84">
                    <a:moveTo>
                      <a:pt x="207" y="57"/>
                    </a:moveTo>
                    <a:cubicBezTo>
                      <a:pt x="207" y="57"/>
                      <a:pt x="207" y="48"/>
                      <a:pt x="207" y="45"/>
                    </a:cubicBezTo>
                    <a:cubicBezTo>
                      <a:pt x="207" y="45"/>
                      <a:pt x="204" y="36"/>
                      <a:pt x="207" y="36"/>
                    </a:cubicBezTo>
                    <a:cubicBezTo>
                      <a:pt x="210" y="36"/>
                      <a:pt x="207" y="30"/>
                      <a:pt x="210" y="30"/>
                    </a:cubicBezTo>
                    <a:cubicBezTo>
                      <a:pt x="207" y="27"/>
                      <a:pt x="207" y="27"/>
                      <a:pt x="207" y="27"/>
                    </a:cubicBezTo>
                    <a:cubicBezTo>
                      <a:pt x="207" y="24"/>
                      <a:pt x="201" y="27"/>
                      <a:pt x="198" y="24"/>
                    </a:cubicBezTo>
                    <a:cubicBezTo>
                      <a:pt x="198" y="18"/>
                      <a:pt x="198" y="18"/>
                      <a:pt x="195" y="12"/>
                    </a:cubicBezTo>
                    <a:cubicBezTo>
                      <a:pt x="192" y="9"/>
                      <a:pt x="192" y="6"/>
                      <a:pt x="189" y="6"/>
                    </a:cubicBezTo>
                    <a:cubicBezTo>
                      <a:pt x="186" y="9"/>
                      <a:pt x="180" y="9"/>
                      <a:pt x="177" y="6"/>
                    </a:cubicBezTo>
                    <a:cubicBezTo>
                      <a:pt x="171" y="12"/>
                      <a:pt x="159" y="15"/>
                      <a:pt x="156" y="15"/>
                    </a:cubicBezTo>
                    <a:cubicBezTo>
                      <a:pt x="150" y="12"/>
                      <a:pt x="141" y="15"/>
                      <a:pt x="135" y="15"/>
                    </a:cubicBezTo>
                    <a:cubicBezTo>
                      <a:pt x="129" y="15"/>
                      <a:pt x="126" y="9"/>
                      <a:pt x="123" y="9"/>
                    </a:cubicBezTo>
                    <a:cubicBezTo>
                      <a:pt x="117" y="12"/>
                      <a:pt x="117" y="6"/>
                      <a:pt x="111" y="6"/>
                    </a:cubicBezTo>
                    <a:cubicBezTo>
                      <a:pt x="108" y="6"/>
                      <a:pt x="111" y="3"/>
                      <a:pt x="96" y="0"/>
                    </a:cubicBezTo>
                    <a:cubicBezTo>
                      <a:pt x="81" y="0"/>
                      <a:pt x="66" y="9"/>
                      <a:pt x="60" y="12"/>
                    </a:cubicBezTo>
                    <a:cubicBezTo>
                      <a:pt x="57" y="15"/>
                      <a:pt x="39" y="12"/>
                      <a:pt x="36" y="12"/>
                    </a:cubicBezTo>
                    <a:cubicBezTo>
                      <a:pt x="36" y="15"/>
                      <a:pt x="36" y="21"/>
                      <a:pt x="30" y="21"/>
                    </a:cubicBezTo>
                    <a:cubicBezTo>
                      <a:pt x="24" y="24"/>
                      <a:pt x="12" y="21"/>
                      <a:pt x="6" y="24"/>
                    </a:cubicBezTo>
                    <a:cubicBezTo>
                      <a:pt x="3" y="27"/>
                      <a:pt x="0" y="33"/>
                      <a:pt x="6" y="33"/>
                    </a:cubicBezTo>
                    <a:cubicBezTo>
                      <a:pt x="9" y="33"/>
                      <a:pt x="12" y="33"/>
                      <a:pt x="9" y="36"/>
                    </a:cubicBezTo>
                    <a:cubicBezTo>
                      <a:pt x="9" y="36"/>
                      <a:pt x="12" y="42"/>
                      <a:pt x="12" y="45"/>
                    </a:cubicBezTo>
                    <a:cubicBezTo>
                      <a:pt x="9" y="45"/>
                      <a:pt x="9" y="51"/>
                      <a:pt x="12" y="51"/>
                    </a:cubicBezTo>
                    <a:cubicBezTo>
                      <a:pt x="15" y="54"/>
                      <a:pt x="15" y="57"/>
                      <a:pt x="12" y="57"/>
                    </a:cubicBezTo>
                    <a:cubicBezTo>
                      <a:pt x="9" y="57"/>
                      <a:pt x="18" y="63"/>
                      <a:pt x="18" y="63"/>
                    </a:cubicBezTo>
                    <a:cubicBezTo>
                      <a:pt x="18" y="66"/>
                      <a:pt x="24" y="66"/>
                      <a:pt x="24" y="69"/>
                    </a:cubicBezTo>
                    <a:cubicBezTo>
                      <a:pt x="24" y="69"/>
                      <a:pt x="27" y="72"/>
                      <a:pt x="30" y="69"/>
                    </a:cubicBezTo>
                    <a:cubicBezTo>
                      <a:pt x="33" y="69"/>
                      <a:pt x="36" y="75"/>
                      <a:pt x="36" y="78"/>
                    </a:cubicBezTo>
                    <a:cubicBezTo>
                      <a:pt x="39" y="81"/>
                      <a:pt x="51" y="78"/>
                      <a:pt x="51" y="75"/>
                    </a:cubicBezTo>
                    <a:cubicBezTo>
                      <a:pt x="51" y="72"/>
                      <a:pt x="54" y="69"/>
                      <a:pt x="60" y="69"/>
                    </a:cubicBezTo>
                    <a:cubicBezTo>
                      <a:pt x="66" y="72"/>
                      <a:pt x="72" y="78"/>
                      <a:pt x="75" y="78"/>
                    </a:cubicBezTo>
                    <a:cubicBezTo>
                      <a:pt x="78" y="81"/>
                      <a:pt x="84" y="78"/>
                      <a:pt x="87" y="78"/>
                    </a:cubicBezTo>
                    <a:cubicBezTo>
                      <a:pt x="90" y="78"/>
                      <a:pt x="96" y="72"/>
                      <a:pt x="99" y="69"/>
                    </a:cubicBezTo>
                    <a:cubicBezTo>
                      <a:pt x="99" y="69"/>
                      <a:pt x="102" y="75"/>
                      <a:pt x="108" y="72"/>
                    </a:cubicBezTo>
                    <a:cubicBezTo>
                      <a:pt x="111" y="72"/>
                      <a:pt x="114" y="69"/>
                      <a:pt x="114" y="69"/>
                    </a:cubicBezTo>
                    <a:cubicBezTo>
                      <a:pt x="117" y="72"/>
                      <a:pt x="111" y="78"/>
                      <a:pt x="111" y="78"/>
                    </a:cubicBezTo>
                    <a:cubicBezTo>
                      <a:pt x="114" y="81"/>
                      <a:pt x="114" y="81"/>
                      <a:pt x="111" y="84"/>
                    </a:cubicBezTo>
                    <a:cubicBezTo>
                      <a:pt x="120" y="81"/>
                      <a:pt x="120" y="78"/>
                      <a:pt x="120" y="75"/>
                    </a:cubicBezTo>
                    <a:cubicBezTo>
                      <a:pt x="120" y="72"/>
                      <a:pt x="120" y="72"/>
                      <a:pt x="123" y="72"/>
                    </a:cubicBezTo>
                    <a:cubicBezTo>
                      <a:pt x="126" y="75"/>
                      <a:pt x="129" y="75"/>
                      <a:pt x="135" y="72"/>
                    </a:cubicBezTo>
                    <a:cubicBezTo>
                      <a:pt x="138" y="69"/>
                      <a:pt x="138" y="69"/>
                      <a:pt x="141" y="72"/>
                    </a:cubicBezTo>
                    <a:cubicBezTo>
                      <a:pt x="144" y="72"/>
                      <a:pt x="147" y="72"/>
                      <a:pt x="153" y="72"/>
                    </a:cubicBezTo>
                    <a:cubicBezTo>
                      <a:pt x="162" y="72"/>
                      <a:pt x="162" y="66"/>
                      <a:pt x="168" y="66"/>
                    </a:cubicBezTo>
                    <a:cubicBezTo>
                      <a:pt x="177" y="69"/>
                      <a:pt x="180" y="66"/>
                      <a:pt x="180" y="66"/>
                    </a:cubicBezTo>
                    <a:cubicBezTo>
                      <a:pt x="186" y="66"/>
                      <a:pt x="186" y="66"/>
                      <a:pt x="186" y="66"/>
                    </a:cubicBezTo>
                    <a:cubicBezTo>
                      <a:pt x="186" y="66"/>
                      <a:pt x="186" y="63"/>
                      <a:pt x="192" y="63"/>
                    </a:cubicBezTo>
                    <a:cubicBezTo>
                      <a:pt x="195" y="63"/>
                      <a:pt x="198" y="66"/>
                      <a:pt x="201" y="66"/>
                    </a:cubicBezTo>
                    <a:cubicBezTo>
                      <a:pt x="204" y="63"/>
                      <a:pt x="213" y="72"/>
                      <a:pt x="213" y="66"/>
                    </a:cubicBezTo>
                    <a:cubicBezTo>
                      <a:pt x="213" y="66"/>
                      <a:pt x="210" y="57"/>
                      <a:pt x="207" y="57"/>
                    </a:cubicBezTo>
                    <a:close/>
                    <a:moveTo>
                      <a:pt x="21" y="15"/>
                    </a:moveTo>
                    <a:cubicBezTo>
                      <a:pt x="24" y="12"/>
                      <a:pt x="33" y="15"/>
                      <a:pt x="36" y="12"/>
                    </a:cubicBezTo>
                    <a:cubicBezTo>
                      <a:pt x="36" y="12"/>
                      <a:pt x="30" y="9"/>
                      <a:pt x="27" y="6"/>
                    </a:cubicBezTo>
                    <a:cubicBezTo>
                      <a:pt x="24" y="6"/>
                      <a:pt x="24" y="3"/>
                      <a:pt x="24" y="0"/>
                    </a:cubicBezTo>
                    <a:cubicBezTo>
                      <a:pt x="21" y="3"/>
                      <a:pt x="21" y="3"/>
                      <a:pt x="18" y="3"/>
                    </a:cubicBezTo>
                    <a:cubicBezTo>
                      <a:pt x="15" y="0"/>
                      <a:pt x="9" y="0"/>
                      <a:pt x="6" y="3"/>
                    </a:cubicBezTo>
                    <a:cubicBezTo>
                      <a:pt x="6" y="3"/>
                      <a:pt x="9" y="6"/>
                      <a:pt x="9" y="9"/>
                    </a:cubicBezTo>
                    <a:cubicBezTo>
                      <a:pt x="9" y="12"/>
                      <a:pt x="6" y="12"/>
                      <a:pt x="6" y="15"/>
                    </a:cubicBezTo>
                    <a:cubicBezTo>
                      <a:pt x="3" y="18"/>
                      <a:pt x="3" y="18"/>
                      <a:pt x="3" y="18"/>
                    </a:cubicBezTo>
                    <a:cubicBezTo>
                      <a:pt x="6" y="21"/>
                      <a:pt x="6" y="21"/>
                      <a:pt x="9" y="21"/>
                    </a:cubicBezTo>
                    <a:cubicBezTo>
                      <a:pt x="15" y="21"/>
                      <a:pt x="15" y="15"/>
                      <a:pt x="21"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8" name="Freeform 752"/>
              <p:cNvSpPr>
                <a:spLocks/>
              </p:cNvSpPr>
              <p:nvPr userDrawn="1"/>
            </p:nvSpPr>
            <p:spPr bwMode="auto">
              <a:xfrm>
                <a:off x="5643" y="-1951"/>
                <a:ext cx="122" cy="112"/>
              </a:xfrm>
              <a:custGeom>
                <a:avLst/>
                <a:gdLst>
                  <a:gd name="T0" fmla="*/ 75 w 78"/>
                  <a:gd name="T1" fmla="*/ 3 h 72"/>
                  <a:gd name="T2" fmla="*/ 66 w 78"/>
                  <a:gd name="T3" fmla="*/ 0 h 72"/>
                  <a:gd name="T4" fmla="*/ 60 w 78"/>
                  <a:gd name="T5" fmla="*/ 9 h 72"/>
                  <a:gd name="T6" fmla="*/ 51 w 78"/>
                  <a:gd name="T7" fmla="*/ 15 h 72"/>
                  <a:gd name="T8" fmla="*/ 48 w 78"/>
                  <a:gd name="T9" fmla="*/ 18 h 72"/>
                  <a:gd name="T10" fmla="*/ 39 w 78"/>
                  <a:gd name="T11" fmla="*/ 21 h 72"/>
                  <a:gd name="T12" fmla="*/ 33 w 78"/>
                  <a:gd name="T13" fmla="*/ 18 h 72"/>
                  <a:gd name="T14" fmla="*/ 24 w 78"/>
                  <a:gd name="T15" fmla="*/ 24 h 72"/>
                  <a:gd name="T16" fmla="*/ 3 w 78"/>
                  <a:gd name="T17" fmla="*/ 36 h 72"/>
                  <a:gd name="T18" fmla="*/ 0 w 78"/>
                  <a:gd name="T19" fmla="*/ 42 h 72"/>
                  <a:gd name="T20" fmla="*/ 15 w 78"/>
                  <a:gd name="T21" fmla="*/ 48 h 72"/>
                  <a:gd name="T22" fmla="*/ 6 w 78"/>
                  <a:gd name="T23" fmla="*/ 60 h 72"/>
                  <a:gd name="T24" fmla="*/ 9 w 78"/>
                  <a:gd name="T25" fmla="*/ 66 h 72"/>
                  <a:gd name="T26" fmla="*/ 15 w 78"/>
                  <a:gd name="T27" fmla="*/ 69 h 72"/>
                  <a:gd name="T28" fmla="*/ 24 w 78"/>
                  <a:gd name="T29" fmla="*/ 69 h 72"/>
                  <a:gd name="T30" fmla="*/ 27 w 78"/>
                  <a:gd name="T31" fmla="*/ 69 h 72"/>
                  <a:gd name="T32" fmla="*/ 33 w 78"/>
                  <a:gd name="T33" fmla="*/ 66 h 72"/>
                  <a:gd name="T34" fmla="*/ 42 w 78"/>
                  <a:gd name="T35" fmla="*/ 63 h 72"/>
                  <a:gd name="T36" fmla="*/ 48 w 78"/>
                  <a:gd name="T37" fmla="*/ 60 h 72"/>
                  <a:gd name="T38" fmla="*/ 39 w 78"/>
                  <a:gd name="T39" fmla="*/ 51 h 72"/>
                  <a:gd name="T40" fmla="*/ 42 w 78"/>
                  <a:gd name="T41" fmla="*/ 42 h 72"/>
                  <a:gd name="T42" fmla="*/ 63 w 78"/>
                  <a:gd name="T43" fmla="*/ 30 h 72"/>
                  <a:gd name="T44" fmla="*/ 66 w 78"/>
                  <a:gd name="T45" fmla="*/ 15 h 72"/>
                  <a:gd name="T46" fmla="*/ 78 w 78"/>
                  <a:gd name="T47" fmla="*/ 3 h 72"/>
                  <a:gd name="T48" fmla="*/ 75 w 78"/>
                  <a:gd name="T49"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72">
                    <a:moveTo>
                      <a:pt x="75" y="3"/>
                    </a:moveTo>
                    <a:cubicBezTo>
                      <a:pt x="72" y="3"/>
                      <a:pt x="69" y="0"/>
                      <a:pt x="66" y="0"/>
                    </a:cubicBezTo>
                    <a:cubicBezTo>
                      <a:pt x="63" y="0"/>
                      <a:pt x="63" y="9"/>
                      <a:pt x="60" y="9"/>
                    </a:cubicBezTo>
                    <a:cubicBezTo>
                      <a:pt x="54" y="9"/>
                      <a:pt x="57" y="12"/>
                      <a:pt x="51" y="15"/>
                    </a:cubicBezTo>
                    <a:cubicBezTo>
                      <a:pt x="45" y="15"/>
                      <a:pt x="45" y="15"/>
                      <a:pt x="48" y="18"/>
                    </a:cubicBezTo>
                    <a:cubicBezTo>
                      <a:pt x="48" y="21"/>
                      <a:pt x="45" y="21"/>
                      <a:pt x="39" y="21"/>
                    </a:cubicBezTo>
                    <a:cubicBezTo>
                      <a:pt x="36" y="21"/>
                      <a:pt x="36" y="18"/>
                      <a:pt x="33" y="18"/>
                    </a:cubicBezTo>
                    <a:cubicBezTo>
                      <a:pt x="30" y="18"/>
                      <a:pt x="27" y="24"/>
                      <a:pt x="24" y="24"/>
                    </a:cubicBezTo>
                    <a:cubicBezTo>
                      <a:pt x="24" y="27"/>
                      <a:pt x="9" y="36"/>
                      <a:pt x="3" y="36"/>
                    </a:cubicBezTo>
                    <a:cubicBezTo>
                      <a:pt x="3" y="39"/>
                      <a:pt x="3" y="39"/>
                      <a:pt x="0" y="42"/>
                    </a:cubicBezTo>
                    <a:cubicBezTo>
                      <a:pt x="6" y="42"/>
                      <a:pt x="12" y="45"/>
                      <a:pt x="15" y="48"/>
                    </a:cubicBezTo>
                    <a:cubicBezTo>
                      <a:pt x="18" y="51"/>
                      <a:pt x="9" y="57"/>
                      <a:pt x="6" y="60"/>
                    </a:cubicBezTo>
                    <a:cubicBezTo>
                      <a:pt x="3" y="63"/>
                      <a:pt x="9" y="63"/>
                      <a:pt x="9" y="66"/>
                    </a:cubicBezTo>
                    <a:cubicBezTo>
                      <a:pt x="9" y="69"/>
                      <a:pt x="12" y="72"/>
                      <a:pt x="15" y="69"/>
                    </a:cubicBezTo>
                    <a:cubicBezTo>
                      <a:pt x="15" y="69"/>
                      <a:pt x="18" y="69"/>
                      <a:pt x="24" y="69"/>
                    </a:cubicBezTo>
                    <a:cubicBezTo>
                      <a:pt x="24" y="69"/>
                      <a:pt x="24" y="69"/>
                      <a:pt x="27" y="69"/>
                    </a:cubicBezTo>
                    <a:cubicBezTo>
                      <a:pt x="33" y="66"/>
                      <a:pt x="33" y="66"/>
                      <a:pt x="33" y="66"/>
                    </a:cubicBezTo>
                    <a:cubicBezTo>
                      <a:pt x="33" y="63"/>
                      <a:pt x="39" y="63"/>
                      <a:pt x="42" y="63"/>
                    </a:cubicBezTo>
                    <a:cubicBezTo>
                      <a:pt x="45" y="63"/>
                      <a:pt x="48" y="63"/>
                      <a:pt x="48" y="60"/>
                    </a:cubicBezTo>
                    <a:cubicBezTo>
                      <a:pt x="45" y="57"/>
                      <a:pt x="39" y="51"/>
                      <a:pt x="39" y="51"/>
                    </a:cubicBezTo>
                    <a:cubicBezTo>
                      <a:pt x="36" y="48"/>
                      <a:pt x="36" y="42"/>
                      <a:pt x="42" y="42"/>
                    </a:cubicBezTo>
                    <a:cubicBezTo>
                      <a:pt x="48" y="39"/>
                      <a:pt x="57" y="30"/>
                      <a:pt x="63" y="30"/>
                    </a:cubicBezTo>
                    <a:cubicBezTo>
                      <a:pt x="66" y="27"/>
                      <a:pt x="63" y="21"/>
                      <a:pt x="66" y="15"/>
                    </a:cubicBezTo>
                    <a:cubicBezTo>
                      <a:pt x="66" y="12"/>
                      <a:pt x="72" y="9"/>
                      <a:pt x="78" y="3"/>
                    </a:cubicBezTo>
                    <a:cubicBezTo>
                      <a:pt x="75" y="3"/>
                      <a:pt x="75" y="3"/>
                      <a:pt x="75"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79" name="Freeform 753"/>
              <p:cNvSpPr>
                <a:spLocks/>
              </p:cNvSpPr>
              <p:nvPr userDrawn="1"/>
            </p:nvSpPr>
            <p:spPr bwMode="auto">
              <a:xfrm>
                <a:off x="5643" y="-1951"/>
                <a:ext cx="122" cy="112"/>
              </a:xfrm>
              <a:custGeom>
                <a:avLst/>
                <a:gdLst>
                  <a:gd name="T0" fmla="*/ 75 w 78"/>
                  <a:gd name="T1" fmla="*/ 3 h 72"/>
                  <a:gd name="T2" fmla="*/ 66 w 78"/>
                  <a:gd name="T3" fmla="*/ 0 h 72"/>
                  <a:gd name="T4" fmla="*/ 60 w 78"/>
                  <a:gd name="T5" fmla="*/ 9 h 72"/>
                  <a:gd name="T6" fmla="*/ 51 w 78"/>
                  <a:gd name="T7" fmla="*/ 15 h 72"/>
                  <a:gd name="T8" fmla="*/ 48 w 78"/>
                  <a:gd name="T9" fmla="*/ 18 h 72"/>
                  <a:gd name="T10" fmla="*/ 39 w 78"/>
                  <a:gd name="T11" fmla="*/ 21 h 72"/>
                  <a:gd name="T12" fmla="*/ 33 w 78"/>
                  <a:gd name="T13" fmla="*/ 18 h 72"/>
                  <a:gd name="T14" fmla="*/ 24 w 78"/>
                  <a:gd name="T15" fmla="*/ 24 h 72"/>
                  <a:gd name="T16" fmla="*/ 3 w 78"/>
                  <a:gd name="T17" fmla="*/ 36 h 72"/>
                  <a:gd name="T18" fmla="*/ 0 w 78"/>
                  <a:gd name="T19" fmla="*/ 42 h 72"/>
                  <a:gd name="T20" fmla="*/ 15 w 78"/>
                  <a:gd name="T21" fmla="*/ 48 h 72"/>
                  <a:gd name="T22" fmla="*/ 6 w 78"/>
                  <a:gd name="T23" fmla="*/ 60 h 72"/>
                  <a:gd name="T24" fmla="*/ 9 w 78"/>
                  <a:gd name="T25" fmla="*/ 66 h 72"/>
                  <a:gd name="T26" fmla="*/ 15 w 78"/>
                  <a:gd name="T27" fmla="*/ 69 h 72"/>
                  <a:gd name="T28" fmla="*/ 24 w 78"/>
                  <a:gd name="T29" fmla="*/ 69 h 72"/>
                  <a:gd name="T30" fmla="*/ 27 w 78"/>
                  <a:gd name="T31" fmla="*/ 69 h 72"/>
                  <a:gd name="T32" fmla="*/ 33 w 78"/>
                  <a:gd name="T33" fmla="*/ 66 h 72"/>
                  <a:gd name="T34" fmla="*/ 42 w 78"/>
                  <a:gd name="T35" fmla="*/ 63 h 72"/>
                  <a:gd name="T36" fmla="*/ 48 w 78"/>
                  <a:gd name="T37" fmla="*/ 60 h 72"/>
                  <a:gd name="T38" fmla="*/ 39 w 78"/>
                  <a:gd name="T39" fmla="*/ 51 h 72"/>
                  <a:gd name="T40" fmla="*/ 42 w 78"/>
                  <a:gd name="T41" fmla="*/ 42 h 72"/>
                  <a:gd name="T42" fmla="*/ 63 w 78"/>
                  <a:gd name="T43" fmla="*/ 30 h 72"/>
                  <a:gd name="T44" fmla="*/ 66 w 78"/>
                  <a:gd name="T45" fmla="*/ 15 h 72"/>
                  <a:gd name="T46" fmla="*/ 78 w 78"/>
                  <a:gd name="T47" fmla="*/ 3 h 72"/>
                  <a:gd name="T48" fmla="*/ 75 w 78"/>
                  <a:gd name="T49"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72">
                    <a:moveTo>
                      <a:pt x="75" y="3"/>
                    </a:moveTo>
                    <a:cubicBezTo>
                      <a:pt x="72" y="3"/>
                      <a:pt x="69" y="0"/>
                      <a:pt x="66" y="0"/>
                    </a:cubicBezTo>
                    <a:cubicBezTo>
                      <a:pt x="63" y="0"/>
                      <a:pt x="63" y="9"/>
                      <a:pt x="60" y="9"/>
                    </a:cubicBezTo>
                    <a:cubicBezTo>
                      <a:pt x="54" y="9"/>
                      <a:pt x="57" y="12"/>
                      <a:pt x="51" y="15"/>
                    </a:cubicBezTo>
                    <a:cubicBezTo>
                      <a:pt x="45" y="15"/>
                      <a:pt x="45" y="15"/>
                      <a:pt x="48" y="18"/>
                    </a:cubicBezTo>
                    <a:cubicBezTo>
                      <a:pt x="48" y="21"/>
                      <a:pt x="45" y="21"/>
                      <a:pt x="39" y="21"/>
                    </a:cubicBezTo>
                    <a:cubicBezTo>
                      <a:pt x="36" y="21"/>
                      <a:pt x="36" y="18"/>
                      <a:pt x="33" y="18"/>
                    </a:cubicBezTo>
                    <a:cubicBezTo>
                      <a:pt x="30" y="18"/>
                      <a:pt x="27" y="24"/>
                      <a:pt x="24" y="24"/>
                    </a:cubicBezTo>
                    <a:cubicBezTo>
                      <a:pt x="24" y="27"/>
                      <a:pt x="9" y="36"/>
                      <a:pt x="3" y="36"/>
                    </a:cubicBezTo>
                    <a:cubicBezTo>
                      <a:pt x="3" y="39"/>
                      <a:pt x="3" y="39"/>
                      <a:pt x="0" y="42"/>
                    </a:cubicBezTo>
                    <a:cubicBezTo>
                      <a:pt x="6" y="42"/>
                      <a:pt x="12" y="45"/>
                      <a:pt x="15" y="48"/>
                    </a:cubicBezTo>
                    <a:cubicBezTo>
                      <a:pt x="18" y="51"/>
                      <a:pt x="9" y="57"/>
                      <a:pt x="6" y="60"/>
                    </a:cubicBezTo>
                    <a:cubicBezTo>
                      <a:pt x="3" y="63"/>
                      <a:pt x="9" y="63"/>
                      <a:pt x="9" y="66"/>
                    </a:cubicBezTo>
                    <a:cubicBezTo>
                      <a:pt x="9" y="69"/>
                      <a:pt x="12" y="72"/>
                      <a:pt x="15" y="69"/>
                    </a:cubicBezTo>
                    <a:cubicBezTo>
                      <a:pt x="15" y="69"/>
                      <a:pt x="18" y="69"/>
                      <a:pt x="24" y="69"/>
                    </a:cubicBezTo>
                    <a:cubicBezTo>
                      <a:pt x="24" y="69"/>
                      <a:pt x="24" y="69"/>
                      <a:pt x="27" y="69"/>
                    </a:cubicBezTo>
                    <a:cubicBezTo>
                      <a:pt x="33" y="66"/>
                      <a:pt x="33" y="66"/>
                      <a:pt x="33" y="66"/>
                    </a:cubicBezTo>
                    <a:cubicBezTo>
                      <a:pt x="33" y="63"/>
                      <a:pt x="39" y="63"/>
                      <a:pt x="42" y="63"/>
                    </a:cubicBezTo>
                    <a:cubicBezTo>
                      <a:pt x="45" y="63"/>
                      <a:pt x="48" y="63"/>
                      <a:pt x="48" y="60"/>
                    </a:cubicBezTo>
                    <a:cubicBezTo>
                      <a:pt x="45" y="57"/>
                      <a:pt x="39" y="51"/>
                      <a:pt x="39" y="51"/>
                    </a:cubicBezTo>
                    <a:cubicBezTo>
                      <a:pt x="36" y="48"/>
                      <a:pt x="36" y="42"/>
                      <a:pt x="42" y="42"/>
                    </a:cubicBezTo>
                    <a:cubicBezTo>
                      <a:pt x="48" y="39"/>
                      <a:pt x="57" y="30"/>
                      <a:pt x="63" y="30"/>
                    </a:cubicBezTo>
                    <a:cubicBezTo>
                      <a:pt x="66" y="27"/>
                      <a:pt x="63" y="21"/>
                      <a:pt x="66" y="15"/>
                    </a:cubicBezTo>
                    <a:cubicBezTo>
                      <a:pt x="66" y="12"/>
                      <a:pt x="72" y="9"/>
                      <a:pt x="78" y="3"/>
                    </a:cubicBezTo>
                    <a:cubicBezTo>
                      <a:pt x="75" y="3"/>
                      <a:pt x="75" y="3"/>
                      <a:pt x="75"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0" name="Freeform 754"/>
              <p:cNvSpPr>
                <a:spLocks/>
              </p:cNvSpPr>
              <p:nvPr userDrawn="1"/>
            </p:nvSpPr>
            <p:spPr bwMode="auto">
              <a:xfrm>
                <a:off x="4886" y="-1692"/>
                <a:ext cx="135" cy="73"/>
              </a:xfrm>
              <a:custGeom>
                <a:avLst/>
                <a:gdLst>
                  <a:gd name="T0" fmla="*/ 87 w 87"/>
                  <a:gd name="T1" fmla="*/ 29 h 47"/>
                  <a:gd name="T2" fmla="*/ 84 w 87"/>
                  <a:gd name="T3" fmla="*/ 29 h 47"/>
                  <a:gd name="T4" fmla="*/ 69 w 87"/>
                  <a:gd name="T5" fmla="*/ 26 h 47"/>
                  <a:gd name="T6" fmla="*/ 48 w 87"/>
                  <a:gd name="T7" fmla="*/ 17 h 47"/>
                  <a:gd name="T8" fmla="*/ 24 w 87"/>
                  <a:gd name="T9" fmla="*/ 2 h 47"/>
                  <a:gd name="T10" fmla="*/ 15 w 87"/>
                  <a:gd name="T11" fmla="*/ 0 h 47"/>
                  <a:gd name="T12" fmla="*/ 9 w 87"/>
                  <a:gd name="T13" fmla="*/ 2 h 47"/>
                  <a:gd name="T14" fmla="*/ 3 w 87"/>
                  <a:gd name="T15" fmla="*/ 8 h 47"/>
                  <a:gd name="T16" fmla="*/ 0 w 87"/>
                  <a:gd name="T17" fmla="*/ 17 h 47"/>
                  <a:gd name="T18" fmla="*/ 6 w 87"/>
                  <a:gd name="T19" fmla="*/ 20 h 47"/>
                  <a:gd name="T20" fmla="*/ 15 w 87"/>
                  <a:gd name="T21" fmla="*/ 26 h 47"/>
                  <a:gd name="T22" fmla="*/ 24 w 87"/>
                  <a:gd name="T23" fmla="*/ 29 h 47"/>
                  <a:gd name="T24" fmla="*/ 33 w 87"/>
                  <a:gd name="T25" fmla="*/ 35 h 47"/>
                  <a:gd name="T26" fmla="*/ 45 w 87"/>
                  <a:gd name="T27" fmla="*/ 32 h 47"/>
                  <a:gd name="T28" fmla="*/ 51 w 87"/>
                  <a:gd name="T29" fmla="*/ 41 h 47"/>
                  <a:gd name="T30" fmla="*/ 66 w 87"/>
                  <a:gd name="T31" fmla="*/ 44 h 47"/>
                  <a:gd name="T32" fmla="*/ 84 w 87"/>
                  <a:gd name="T33" fmla="*/ 44 h 47"/>
                  <a:gd name="T34" fmla="*/ 84 w 87"/>
                  <a:gd name="T35" fmla="*/ 32 h 47"/>
                  <a:gd name="T36" fmla="*/ 87 w 87"/>
                  <a:gd name="T3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47">
                    <a:moveTo>
                      <a:pt x="87" y="29"/>
                    </a:moveTo>
                    <a:cubicBezTo>
                      <a:pt x="84" y="29"/>
                      <a:pt x="84" y="29"/>
                      <a:pt x="84" y="29"/>
                    </a:cubicBezTo>
                    <a:cubicBezTo>
                      <a:pt x="78" y="29"/>
                      <a:pt x="72" y="26"/>
                      <a:pt x="69" y="26"/>
                    </a:cubicBezTo>
                    <a:cubicBezTo>
                      <a:pt x="66" y="26"/>
                      <a:pt x="51" y="23"/>
                      <a:pt x="48" y="17"/>
                    </a:cubicBezTo>
                    <a:cubicBezTo>
                      <a:pt x="42" y="14"/>
                      <a:pt x="27" y="5"/>
                      <a:pt x="24" y="2"/>
                    </a:cubicBezTo>
                    <a:cubicBezTo>
                      <a:pt x="21" y="0"/>
                      <a:pt x="15" y="0"/>
                      <a:pt x="15" y="0"/>
                    </a:cubicBezTo>
                    <a:cubicBezTo>
                      <a:pt x="15" y="2"/>
                      <a:pt x="12" y="2"/>
                      <a:pt x="9" y="2"/>
                    </a:cubicBezTo>
                    <a:cubicBezTo>
                      <a:pt x="6" y="2"/>
                      <a:pt x="3" y="5"/>
                      <a:pt x="3" y="8"/>
                    </a:cubicBezTo>
                    <a:cubicBezTo>
                      <a:pt x="3" y="11"/>
                      <a:pt x="0" y="14"/>
                      <a:pt x="0" y="17"/>
                    </a:cubicBezTo>
                    <a:cubicBezTo>
                      <a:pt x="0" y="20"/>
                      <a:pt x="6" y="20"/>
                      <a:pt x="6" y="20"/>
                    </a:cubicBezTo>
                    <a:cubicBezTo>
                      <a:pt x="9" y="23"/>
                      <a:pt x="15" y="23"/>
                      <a:pt x="15" y="26"/>
                    </a:cubicBezTo>
                    <a:cubicBezTo>
                      <a:pt x="15" y="26"/>
                      <a:pt x="21" y="29"/>
                      <a:pt x="24" y="29"/>
                    </a:cubicBezTo>
                    <a:cubicBezTo>
                      <a:pt x="27" y="29"/>
                      <a:pt x="33" y="35"/>
                      <a:pt x="33" y="35"/>
                    </a:cubicBezTo>
                    <a:cubicBezTo>
                      <a:pt x="36" y="38"/>
                      <a:pt x="42" y="32"/>
                      <a:pt x="45" y="32"/>
                    </a:cubicBezTo>
                    <a:cubicBezTo>
                      <a:pt x="48" y="32"/>
                      <a:pt x="51" y="38"/>
                      <a:pt x="51" y="41"/>
                    </a:cubicBezTo>
                    <a:cubicBezTo>
                      <a:pt x="51" y="41"/>
                      <a:pt x="63" y="44"/>
                      <a:pt x="66" y="44"/>
                    </a:cubicBezTo>
                    <a:cubicBezTo>
                      <a:pt x="69" y="47"/>
                      <a:pt x="81" y="47"/>
                      <a:pt x="84" y="44"/>
                    </a:cubicBezTo>
                    <a:cubicBezTo>
                      <a:pt x="87" y="41"/>
                      <a:pt x="84" y="35"/>
                      <a:pt x="84" y="32"/>
                    </a:cubicBezTo>
                    <a:cubicBezTo>
                      <a:pt x="87" y="29"/>
                      <a:pt x="87" y="29"/>
                      <a:pt x="87" y="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1" name="Freeform 755"/>
              <p:cNvSpPr>
                <a:spLocks/>
              </p:cNvSpPr>
              <p:nvPr userDrawn="1"/>
            </p:nvSpPr>
            <p:spPr bwMode="auto">
              <a:xfrm>
                <a:off x="4886" y="-1692"/>
                <a:ext cx="135" cy="73"/>
              </a:xfrm>
              <a:custGeom>
                <a:avLst/>
                <a:gdLst>
                  <a:gd name="T0" fmla="*/ 87 w 87"/>
                  <a:gd name="T1" fmla="*/ 29 h 47"/>
                  <a:gd name="T2" fmla="*/ 84 w 87"/>
                  <a:gd name="T3" fmla="*/ 29 h 47"/>
                  <a:gd name="T4" fmla="*/ 69 w 87"/>
                  <a:gd name="T5" fmla="*/ 26 h 47"/>
                  <a:gd name="T6" fmla="*/ 48 w 87"/>
                  <a:gd name="T7" fmla="*/ 17 h 47"/>
                  <a:gd name="T8" fmla="*/ 24 w 87"/>
                  <a:gd name="T9" fmla="*/ 2 h 47"/>
                  <a:gd name="T10" fmla="*/ 15 w 87"/>
                  <a:gd name="T11" fmla="*/ 0 h 47"/>
                  <a:gd name="T12" fmla="*/ 9 w 87"/>
                  <a:gd name="T13" fmla="*/ 2 h 47"/>
                  <a:gd name="T14" fmla="*/ 3 w 87"/>
                  <a:gd name="T15" fmla="*/ 8 h 47"/>
                  <a:gd name="T16" fmla="*/ 0 w 87"/>
                  <a:gd name="T17" fmla="*/ 17 h 47"/>
                  <a:gd name="T18" fmla="*/ 6 w 87"/>
                  <a:gd name="T19" fmla="*/ 20 h 47"/>
                  <a:gd name="T20" fmla="*/ 15 w 87"/>
                  <a:gd name="T21" fmla="*/ 26 h 47"/>
                  <a:gd name="T22" fmla="*/ 24 w 87"/>
                  <a:gd name="T23" fmla="*/ 29 h 47"/>
                  <a:gd name="T24" fmla="*/ 33 w 87"/>
                  <a:gd name="T25" fmla="*/ 35 h 47"/>
                  <a:gd name="T26" fmla="*/ 45 w 87"/>
                  <a:gd name="T27" fmla="*/ 32 h 47"/>
                  <a:gd name="T28" fmla="*/ 51 w 87"/>
                  <a:gd name="T29" fmla="*/ 41 h 47"/>
                  <a:gd name="T30" fmla="*/ 66 w 87"/>
                  <a:gd name="T31" fmla="*/ 44 h 47"/>
                  <a:gd name="T32" fmla="*/ 84 w 87"/>
                  <a:gd name="T33" fmla="*/ 44 h 47"/>
                  <a:gd name="T34" fmla="*/ 84 w 87"/>
                  <a:gd name="T35" fmla="*/ 32 h 47"/>
                  <a:gd name="T36" fmla="*/ 87 w 87"/>
                  <a:gd name="T37"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47">
                    <a:moveTo>
                      <a:pt x="87" y="29"/>
                    </a:moveTo>
                    <a:cubicBezTo>
                      <a:pt x="84" y="29"/>
                      <a:pt x="84" y="29"/>
                      <a:pt x="84" y="29"/>
                    </a:cubicBezTo>
                    <a:cubicBezTo>
                      <a:pt x="78" y="29"/>
                      <a:pt x="72" y="26"/>
                      <a:pt x="69" y="26"/>
                    </a:cubicBezTo>
                    <a:cubicBezTo>
                      <a:pt x="66" y="26"/>
                      <a:pt x="51" y="23"/>
                      <a:pt x="48" y="17"/>
                    </a:cubicBezTo>
                    <a:cubicBezTo>
                      <a:pt x="42" y="14"/>
                      <a:pt x="27" y="5"/>
                      <a:pt x="24" y="2"/>
                    </a:cubicBezTo>
                    <a:cubicBezTo>
                      <a:pt x="21" y="0"/>
                      <a:pt x="15" y="0"/>
                      <a:pt x="15" y="0"/>
                    </a:cubicBezTo>
                    <a:cubicBezTo>
                      <a:pt x="15" y="2"/>
                      <a:pt x="12" y="2"/>
                      <a:pt x="9" y="2"/>
                    </a:cubicBezTo>
                    <a:cubicBezTo>
                      <a:pt x="6" y="2"/>
                      <a:pt x="3" y="5"/>
                      <a:pt x="3" y="8"/>
                    </a:cubicBezTo>
                    <a:cubicBezTo>
                      <a:pt x="3" y="11"/>
                      <a:pt x="0" y="14"/>
                      <a:pt x="0" y="17"/>
                    </a:cubicBezTo>
                    <a:cubicBezTo>
                      <a:pt x="0" y="20"/>
                      <a:pt x="6" y="20"/>
                      <a:pt x="6" y="20"/>
                    </a:cubicBezTo>
                    <a:cubicBezTo>
                      <a:pt x="9" y="23"/>
                      <a:pt x="15" y="23"/>
                      <a:pt x="15" y="26"/>
                    </a:cubicBezTo>
                    <a:cubicBezTo>
                      <a:pt x="15" y="26"/>
                      <a:pt x="21" y="29"/>
                      <a:pt x="24" y="29"/>
                    </a:cubicBezTo>
                    <a:cubicBezTo>
                      <a:pt x="27" y="29"/>
                      <a:pt x="33" y="35"/>
                      <a:pt x="33" y="35"/>
                    </a:cubicBezTo>
                    <a:cubicBezTo>
                      <a:pt x="36" y="38"/>
                      <a:pt x="42" y="32"/>
                      <a:pt x="45" y="32"/>
                    </a:cubicBezTo>
                    <a:cubicBezTo>
                      <a:pt x="48" y="32"/>
                      <a:pt x="51" y="38"/>
                      <a:pt x="51" y="41"/>
                    </a:cubicBezTo>
                    <a:cubicBezTo>
                      <a:pt x="51" y="41"/>
                      <a:pt x="63" y="44"/>
                      <a:pt x="66" y="44"/>
                    </a:cubicBezTo>
                    <a:cubicBezTo>
                      <a:pt x="69" y="47"/>
                      <a:pt x="81" y="47"/>
                      <a:pt x="84" y="44"/>
                    </a:cubicBezTo>
                    <a:cubicBezTo>
                      <a:pt x="87" y="41"/>
                      <a:pt x="84" y="35"/>
                      <a:pt x="84" y="32"/>
                    </a:cubicBezTo>
                    <a:cubicBezTo>
                      <a:pt x="87" y="29"/>
                      <a:pt x="87" y="29"/>
                      <a:pt x="87" y="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2" name="Freeform 756"/>
              <p:cNvSpPr>
                <a:spLocks/>
              </p:cNvSpPr>
              <p:nvPr userDrawn="1"/>
            </p:nvSpPr>
            <p:spPr bwMode="auto">
              <a:xfrm>
                <a:off x="5082" y="-1661"/>
                <a:ext cx="151" cy="332"/>
              </a:xfrm>
              <a:custGeom>
                <a:avLst/>
                <a:gdLst>
                  <a:gd name="T0" fmla="*/ 79 w 97"/>
                  <a:gd name="T1" fmla="*/ 195 h 213"/>
                  <a:gd name="T2" fmla="*/ 76 w 97"/>
                  <a:gd name="T3" fmla="*/ 186 h 213"/>
                  <a:gd name="T4" fmla="*/ 73 w 97"/>
                  <a:gd name="T5" fmla="*/ 171 h 213"/>
                  <a:gd name="T6" fmla="*/ 67 w 97"/>
                  <a:gd name="T7" fmla="*/ 159 h 213"/>
                  <a:gd name="T8" fmla="*/ 70 w 97"/>
                  <a:gd name="T9" fmla="*/ 153 h 213"/>
                  <a:gd name="T10" fmla="*/ 70 w 97"/>
                  <a:gd name="T11" fmla="*/ 147 h 213"/>
                  <a:gd name="T12" fmla="*/ 67 w 97"/>
                  <a:gd name="T13" fmla="*/ 138 h 213"/>
                  <a:gd name="T14" fmla="*/ 58 w 97"/>
                  <a:gd name="T15" fmla="*/ 129 h 213"/>
                  <a:gd name="T16" fmla="*/ 61 w 97"/>
                  <a:gd name="T17" fmla="*/ 111 h 213"/>
                  <a:gd name="T18" fmla="*/ 67 w 97"/>
                  <a:gd name="T19" fmla="*/ 108 h 213"/>
                  <a:gd name="T20" fmla="*/ 76 w 97"/>
                  <a:gd name="T21" fmla="*/ 105 h 213"/>
                  <a:gd name="T22" fmla="*/ 85 w 97"/>
                  <a:gd name="T23" fmla="*/ 99 h 213"/>
                  <a:gd name="T24" fmla="*/ 91 w 97"/>
                  <a:gd name="T25" fmla="*/ 93 h 213"/>
                  <a:gd name="T26" fmla="*/ 97 w 97"/>
                  <a:gd name="T27" fmla="*/ 84 h 213"/>
                  <a:gd name="T28" fmla="*/ 97 w 97"/>
                  <a:gd name="T29" fmla="*/ 84 h 213"/>
                  <a:gd name="T30" fmla="*/ 94 w 97"/>
                  <a:gd name="T31" fmla="*/ 87 h 213"/>
                  <a:gd name="T32" fmla="*/ 85 w 97"/>
                  <a:gd name="T33" fmla="*/ 81 h 213"/>
                  <a:gd name="T34" fmla="*/ 79 w 97"/>
                  <a:gd name="T35" fmla="*/ 78 h 213"/>
                  <a:gd name="T36" fmla="*/ 79 w 97"/>
                  <a:gd name="T37" fmla="*/ 72 h 213"/>
                  <a:gd name="T38" fmla="*/ 76 w 97"/>
                  <a:gd name="T39" fmla="*/ 66 h 213"/>
                  <a:gd name="T40" fmla="*/ 73 w 97"/>
                  <a:gd name="T41" fmla="*/ 57 h 213"/>
                  <a:gd name="T42" fmla="*/ 61 w 97"/>
                  <a:gd name="T43" fmla="*/ 54 h 213"/>
                  <a:gd name="T44" fmla="*/ 61 w 97"/>
                  <a:gd name="T45" fmla="*/ 51 h 213"/>
                  <a:gd name="T46" fmla="*/ 70 w 97"/>
                  <a:gd name="T47" fmla="*/ 33 h 213"/>
                  <a:gd name="T48" fmla="*/ 73 w 97"/>
                  <a:gd name="T49" fmla="*/ 18 h 213"/>
                  <a:gd name="T50" fmla="*/ 67 w 97"/>
                  <a:gd name="T51" fmla="*/ 12 h 213"/>
                  <a:gd name="T52" fmla="*/ 64 w 97"/>
                  <a:gd name="T53" fmla="*/ 6 h 213"/>
                  <a:gd name="T54" fmla="*/ 58 w 97"/>
                  <a:gd name="T55" fmla="*/ 3 h 213"/>
                  <a:gd name="T56" fmla="*/ 55 w 97"/>
                  <a:gd name="T57" fmla="*/ 3 h 213"/>
                  <a:gd name="T58" fmla="*/ 55 w 97"/>
                  <a:gd name="T59" fmla="*/ 3 h 213"/>
                  <a:gd name="T60" fmla="*/ 52 w 97"/>
                  <a:gd name="T61" fmla="*/ 9 h 213"/>
                  <a:gd name="T62" fmla="*/ 55 w 97"/>
                  <a:gd name="T63" fmla="*/ 18 h 213"/>
                  <a:gd name="T64" fmla="*/ 49 w 97"/>
                  <a:gd name="T65" fmla="*/ 18 h 213"/>
                  <a:gd name="T66" fmla="*/ 40 w 97"/>
                  <a:gd name="T67" fmla="*/ 21 h 213"/>
                  <a:gd name="T68" fmla="*/ 31 w 97"/>
                  <a:gd name="T69" fmla="*/ 30 h 213"/>
                  <a:gd name="T70" fmla="*/ 28 w 97"/>
                  <a:gd name="T71" fmla="*/ 42 h 213"/>
                  <a:gd name="T72" fmla="*/ 25 w 97"/>
                  <a:gd name="T73" fmla="*/ 57 h 213"/>
                  <a:gd name="T74" fmla="*/ 15 w 97"/>
                  <a:gd name="T75" fmla="*/ 57 h 213"/>
                  <a:gd name="T76" fmla="*/ 12 w 97"/>
                  <a:gd name="T77" fmla="*/ 69 h 213"/>
                  <a:gd name="T78" fmla="*/ 9 w 97"/>
                  <a:gd name="T79" fmla="*/ 81 h 213"/>
                  <a:gd name="T80" fmla="*/ 6 w 97"/>
                  <a:gd name="T81" fmla="*/ 87 h 213"/>
                  <a:gd name="T82" fmla="*/ 0 w 97"/>
                  <a:gd name="T83" fmla="*/ 93 h 213"/>
                  <a:gd name="T84" fmla="*/ 12 w 97"/>
                  <a:gd name="T85" fmla="*/ 102 h 213"/>
                  <a:gd name="T86" fmla="*/ 25 w 97"/>
                  <a:gd name="T87" fmla="*/ 126 h 213"/>
                  <a:gd name="T88" fmla="*/ 25 w 97"/>
                  <a:gd name="T89" fmla="*/ 144 h 213"/>
                  <a:gd name="T90" fmla="*/ 28 w 97"/>
                  <a:gd name="T91" fmla="*/ 150 h 213"/>
                  <a:gd name="T92" fmla="*/ 40 w 97"/>
                  <a:gd name="T93" fmla="*/ 150 h 213"/>
                  <a:gd name="T94" fmla="*/ 49 w 97"/>
                  <a:gd name="T95" fmla="*/ 138 h 213"/>
                  <a:gd name="T96" fmla="*/ 55 w 97"/>
                  <a:gd name="T97" fmla="*/ 141 h 213"/>
                  <a:gd name="T98" fmla="*/ 58 w 97"/>
                  <a:gd name="T99" fmla="*/ 153 h 213"/>
                  <a:gd name="T100" fmla="*/ 64 w 97"/>
                  <a:gd name="T101" fmla="*/ 180 h 213"/>
                  <a:gd name="T102" fmla="*/ 70 w 97"/>
                  <a:gd name="T103" fmla="*/ 195 h 213"/>
                  <a:gd name="T104" fmla="*/ 70 w 97"/>
                  <a:gd name="T105" fmla="*/ 210 h 213"/>
                  <a:gd name="T106" fmla="*/ 70 w 97"/>
                  <a:gd name="T107" fmla="*/ 213 h 213"/>
                  <a:gd name="T108" fmla="*/ 79 w 97"/>
                  <a:gd name="T109" fmla="*/ 19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213">
                    <a:moveTo>
                      <a:pt x="79" y="195"/>
                    </a:moveTo>
                    <a:cubicBezTo>
                      <a:pt x="79" y="189"/>
                      <a:pt x="76" y="189"/>
                      <a:pt x="76" y="186"/>
                    </a:cubicBezTo>
                    <a:cubicBezTo>
                      <a:pt x="76" y="183"/>
                      <a:pt x="76" y="177"/>
                      <a:pt x="73" y="171"/>
                    </a:cubicBezTo>
                    <a:cubicBezTo>
                      <a:pt x="67" y="168"/>
                      <a:pt x="64" y="162"/>
                      <a:pt x="67" y="159"/>
                    </a:cubicBezTo>
                    <a:cubicBezTo>
                      <a:pt x="70" y="159"/>
                      <a:pt x="67" y="150"/>
                      <a:pt x="70" y="153"/>
                    </a:cubicBezTo>
                    <a:cubicBezTo>
                      <a:pt x="70" y="153"/>
                      <a:pt x="73" y="147"/>
                      <a:pt x="70" y="147"/>
                    </a:cubicBezTo>
                    <a:cubicBezTo>
                      <a:pt x="67" y="144"/>
                      <a:pt x="70" y="141"/>
                      <a:pt x="67" y="138"/>
                    </a:cubicBezTo>
                    <a:cubicBezTo>
                      <a:pt x="64" y="138"/>
                      <a:pt x="58" y="132"/>
                      <a:pt x="58" y="129"/>
                    </a:cubicBezTo>
                    <a:cubicBezTo>
                      <a:pt x="58" y="126"/>
                      <a:pt x="61" y="114"/>
                      <a:pt x="61" y="111"/>
                    </a:cubicBezTo>
                    <a:cubicBezTo>
                      <a:pt x="61" y="108"/>
                      <a:pt x="67" y="108"/>
                      <a:pt x="67" y="108"/>
                    </a:cubicBezTo>
                    <a:cubicBezTo>
                      <a:pt x="70" y="108"/>
                      <a:pt x="73" y="108"/>
                      <a:pt x="76" y="105"/>
                    </a:cubicBezTo>
                    <a:cubicBezTo>
                      <a:pt x="79" y="102"/>
                      <a:pt x="85" y="102"/>
                      <a:pt x="85" y="99"/>
                    </a:cubicBezTo>
                    <a:cubicBezTo>
                      <a:pt x="88" y="96"/>
                      <a:pt x="91" y="96"/>
                      <a:pt x="91" y="93"/>
                    </a:cubicBezTo>
                    <a:cubicBezTo>
                      <a:pt x="91" y="90"/>
                      <a:pt x="97" y="84"/>
                      <a:pt x="97" y="84"/>
                    </a:cubicBezTo>
                    <a:cubicBezTo>
                      <a:pt x="97" y="84"/>
                      <a:pt x="97" y="84"/>
                      <a:pt x="97" y="84"/>
                    </a:cubicBezTo>
                    <a:cubicBezTo>
                      <a:pt x="97" y="84"/>
                      <a:pt x="97" y="84"/>
                      <a:pt x="94" y="87"/>
                    </a:cubicBezTo>
                    <a:cubicBezTo>
                      <a:pt x="88" y="87"/>
                      <a:pt x="85" y="84"/>
                      <a:pt x="85" y="81"/>
                    </a:cubicBezTo>
                    <a:cubicBezTo>
                      <a:pt x="88" y="78"/>
                      <a:pt x="82" y="78"/>
                      <a:pt x="79" y="78"/>
                    </a:cubicBezTo>
                    <a:cubicBezTo>
                      <a:pt x="76" y="78"/>
                      <a:pt x="79" y="75"/>
                      <a:pt x="79" y="72"/>
                    </a:cubicBezTo>
                    <a:cubicBezTo>
                      <a:pt x="82" y="69"/>
                      <a:pt x="79" y="66"/>
                      <a:pt x="76" y="66"/>
                    </a:cubicBezTo>
                    <a:cubicBezTo>
                      <a:pt x="73" y="66"/>
                      <a:pt x="70" y="60"/>
                      <a:pt x="73" y="57"/>
                    </a:cubicBezTo>
                    <a:cubicBezTo>
                      <a:pt x="73" y="54"/>
                      <a:pt x="64" y="54"/>
                      <a:pt x="61" y="54"/>
                    </a:cubicBezTo>
                    <a:cubicBezTo>
                      <a:pt x="58" y="57"/>
                      <a:pt x="61" y="51"/>
                      <a:pt x="61" y="51"/>
                    </a:cubicBezTo>
                    <a:cubicBezTo>
                      <a:pt x="58" y="48"/>
                      <a:pt x="64" y="39"/>
                      <a:pt x="70" y="33"/>
                    </a:cubicBezTo>
                    <a:cubicBezTo>
                      <a:pt x="73" y="30"/>
                      <a:pt x="73" y="24"/>
                      <a:pt x="73" y="18"/>
                    </a:cubicBezTo>
                    <a:cubicBezTo>
                      <a:pt x="73" y="12"/>
                      <a:pt x="70" y="12"/>
                      <a:pt x="67" y="12"/>
                    </a:cubicBezTo>
                    <a:cubicBezTo>
                      <a:pt x="64" y="12"/>
                      <a:pt x="64" y="9"/>
                      <a:pt x="64" y="6"/>
                    </a:cubicBezTo>
                    <a:cubicBezTo>
                      <a:pt x="64" y="3"/>
                      <a:pt x="61" y="0"/>
                      <a:pt x="58" y="3"/>
                    </a:cubicBezTo>
                    <a:cubicBezTo>
                      <a:pt x="55" y="3"/>
                      <a:pt x="55" y="3"/>
                      <a:pt x="55" y="3"/>
                    </a:cubicBezTo>
                    <a:cubicBezTo>
                      <a:pt x="55" y="3"/>
                      <a:pt x="55" y="3"/>
                      <a:pt x="55" y="3"/>
                    </a:cubicBezTo>
                    <a:cubicBezTo>
                      <a:pt x="55" y="3"/>
                      <a:pt x="55" y="9"/>
                      <a:pt x="52" y="9"/>
                    </a:cubicBezTo>
                    <a:cubicBezTo>
                      <a:pt x="52" y="9"/>
                      <a:pt x="52" y="12"/>
                      <a:pt x="55" y="18"/>
                    </a:cubicBezTo>
                    <a:cubicBezTo>
                      <a:pt x="58" y="21"/>
                      <a:pt x="49" y="18"/>
                      <a:pt x="49" y="18"/>
                    </a:cubicBezTo>
                    <a:cubicBezTo>
                      <a:pt x="49" y="15"/>
                      <a:pt x="43" y="18"/>
                      <a:pt x="40" y="21"/>
                    </a:cubicBezTo>
                    <a:cubicBezTo>
                      <a:pt x="37" y="24"/>
                      <a:pt x="31" y="24"/>
                      <a:pt x="31" y="30"/>
                    </a:cubicBezTo>
                    <a:cubicBezTo>
                      <a:pt x="31" y="33"/>
                      <a:pt x="28" y="39"/>
                      <a:pt x="28" y="42"/>
                    </a:cubicBezTo>
                    <a:cubicBezTo>
                      <a:pt x="31" y="48"/>
                      <a:pt x="25" y="54"/>
                      <a:pt x="25" y="57"/>
                    </a:cubicBezTo>
                    <a:cubicBezTo>
                      <a:pt x="25" y="60"/>
                      <a:pt x="15" y="57"/>
                      <a:pt x="15" y="57"/>
                    </a:cubicBezTo>
                    <a:cubicBezTo>
                      <a:pt x="15" y="57"/>
                      <a:pt x="15" y="66"/>
                      <a:pt x="12" y="69"/>
                    </a:cubicBezTo>
                    <a:cubicBezTo>
                      <a:pt x="12" y="69"/>
                      <a:pt x="12" y="81"/>
                      <a:pt x="9" y="81"/>
                    </a:cubicBezTo>
                    <a:cubicBezTo>
                      <a:pt x="6" y="81"/>
                      <a:pt x="6" y="87"/>
                      <a:pt x="6" y="87"/>
                    </a:cubicBezTo>
                    <a:cubicBezTo>
                      <a:pt x="6" y="87"/>
                      <a:pt x="3" y="90"/>
                      <a:pt x="0" y="93"/>
                    </a:cubicBezTo>
                    <a:cubicBezTo>
                      <a:pt x="3" y="96"/>
                      <a:pt x="6" y="102"/>
                      <a:pt x="12" y="102"/>
                    </a:cubicBezTo>
                    <a:cubicBezTo>
                      <a:pt x="18" y="105"/>
                      <a:pt x="22" y="120"/>
                      <a:pt x="25" y="126"/>
                    </a:cubicBezTo>
                    <a:cubicBezTo>
                      <a:pt x="28" y="132"/>
                      <a:pt x="25" y="141"/>
                      <a:pt x="25" y="144"/>
                    </a:cubicBezTo>
                    <a:cubicBezTo>
                      <a:pt x="22" y="147"/>
                      <a:pt x="25" y="147"/>
                      <a:pt x="28" y="150"/>
                    </a:cubicBezTo>
                    <a:cubicBezTo>
                      <a:pt x="31" y="153"/>
                      <a:pt x="37" y="153"/>
                      <a:pt x="40" y="150"/>
                    </a:cubicBezTo>
                    <a:cubicBezTo>
                      <a:pt x="43" y="144"/>
                      <a:pt x="49" y="141"/>
                      <a:pt x="49" y="138"/>
                    </a:cubicBezTo>
                    <a:cubicBezTo>
                      <a:pt x="49" y="132"/>
                      <a:pt x="52" y="138"/>
                      <a:pt x="55" y="141"/>
                    </a:cubicBezTo>
                    <a:cubicBezTo>
                      <a:pt x="58" y="144"/>
                      <a:pt x="58" y="150"/>
                      <a:pt x="58" y="153"/>
                    </a:cubicBezTo>
                    <a:cubicBezTo>
                      <a:pt x="61" y="159"/>
                      <a:pt x="61" y="174"/>
                      <a:pt x="64" y="180"/>
                    </a:cubicBezTo>
                    <a:cubicBezTo>
                      <a:pt x="70" y="183"/>
                      <a:pt x="70" y="192"/>
                      <a:pt x="70" y="195"/>
                    </a:cubicBezTo>
                    <a:cubicBezTo>
                      <a:pt x="67" y="201"/>
                      <a:pt x="73" y="207"/>
                      <a:pt x="70" y="210"/>
                    </a:cubicBezTo>
                    <a:cubicBezTo>
                      <a:pt x="70" y="213"/>
                      <a:pt x="70" y="213"/>
                      <a:pt x="70" y="213"/>
                    </a:cubicBezTo>
                    <a:cubicBezTo>
                      <a:pt x="73" y="213"/>
                      <a:pt x="79" y="195"/>
                      <a:pt x="79" y="19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3" name="Freeform 757"/>
              <p:cNvSpPr>
                <a:spLocks/>
              </p:cNvSpPr>
              <p:nvPr userDrawn="1"/>
            </p:nvSpPr>
            <p:spPr bwMode="auto">
              <a:xfrm>
                <a:off x="5082" y="-1661"/>
                <a:ext cx="151" cy="332"/>
              </a:xfrm>
              <a:custGeom>
                <a:avLst/>
                <a:gdLst>
                  <a:gd name="T0" fmla="*/ 79 w 97"/>
                  <a:gd name="T1" fmla="*/ 195 h 213"/>
                  <a:gd name="T2" fmla="*/ 76 w 97"/>
                  <a:gd name="T3" fmla="*/ 186 h 213"/>
                  <a:gd name="T4" fmla="*/ 73 w 97"/>
                  <a:gd name="T5" fmla="*/ 171 h 213"/>
                  <a:gd name="T6" fmla="*/ 67 w 97"/>
                  <a:gd name="T7" fmla="*/ 159 h 213"/>
                  <a:gd name="T8" fmla="*/ 70 w 97"/>
                  <a:gd name="T9" fmla="*/ 153 h 213"/>
                  <a:gd name="T10" fmla="*/ 70 w 97"/>
                  <a:gd name="T11" fmla="*/ 147 h 213"/>
                  <a:gd name="T12" fmla="*/ 67 w 97"/>
                  <a:gd name="T13" fmla="*/ 138 h 213"/>
                  <a:gd name="T14" fmla="*/ 58 w 97"/>
                  <a:gd name="T15" fmla="*/ 129 h 213"/>
                  <a:gd name="T16" fmla="*/ 61 w 97"/>
                  <a:gd name="T17" fmla="*/ 111 h 213"/>
                  <a:gd name="T18" fmla="*/ 67 w 97"/>
                  <a:gd name="T19" fmla="*/ 108 h 213"/>
                  <a:gd name="T20" fmla="*/ 76 w 97"/>
                  <a:gd name="T21" fmla="*/ 105 h 213"/>
                  <a:gd name="T22" fmla="*/ 85 w 97"/>
                  <a:gd name="T23" fmla="*/ 99 h 213"/>
                  <a:gd name="T24" fmla="*/ 91 w 97"/>
                  <a:gd name="T25" fmla="*/ 93 h 213"/>
                  <a:gd name="T26" fmla="*/ 97 w 97"/>
                  <a:gd name="T27" fmla="*/ 84 h 213"/>
                  <a:gd name="T28" fmla="*/ 97 w 97"/>
                  <a:gd name="T29" fmla="*/ 84 h 213"/>
                  <a:gd name="T30" fmla="*/ 94 w 97"/>
                  <a:gd name="T31" fmla="*/ 87 h 213"/>
                  <a:gd name="T32" fmla="*/ 85 w 97"/>
                  <a:gd name="T33" fmla="*/ 81 h 213"/>
                  <a:gd name="T34" fmla="*/ 79 w 97"/>
                  <a:gd name="T35" fmla="*/ 78 h 213"/>
                  <a:gd name="T36" fmla="*/ 79 w 97"/>
                  <a:gd name="T37" fmla="*/ 72 h 213"/>
                  <a:gd name="T38" fmla="*/ 76 w 97"/>
                  <a:gd name="T39" fmla="*/ 66 h 213"/>
                  <a:gd name="T40" fmla="*/ 73 w 97"/>
                  <a:gd name="T41" fmla="*/ 57 h 213"/>
                  <a:gd name="T42" fmla="*/ 61 w 97"/>
                  <a:gd name="T43" fmla="*/ 54 h 213"/>
                  <a:gd name="T44" fmla="*/ 61 w 97"/>
                  <a:gd name="T45" fmla="*/ 51 h 213"/>
                  <a:gd name="T46" fmla="*/ 70 w 97"/>
                  <a:gd name="T47" fmla="*/ 33 h 213"/>
                  <a:gd name="T48" fmla="*/ 73 w 97"/>
                  <a:gd name="T49" fmla="*/ 18 h 213"/>
                  <a:gd name="T50" fmla="*/ 67 w 97"/>
                  <a:gd name="T51" fmla="*/ 12 h 213"/>
                  <a:gd name="T52" fmla="*/ 64 w 97"/>
                  <a:gd name="T53" fmla="*/ 6 h 213"/>
                  <a:gd name="T54" fmla="*/ 58 w 97"/>
                  <a:gd name="T55" fmla="*/ 3 h 213"/>
                  <a:gd name="T56" fmla="*/ 55 w 97"/>
                  <a:gd name="T57" fmla="*/ 3 h 213"/>
                  <a:gd name="T58" fmla="*/ 55 w 97"/>
                  <a:gd name="T59" fmla="*/ 3 h 213"/>
                  <a:gd name="T60" fmla="*/ 52 w 97"/>
                  <a:gd name="T61" fmla="*/ 9 h 213"/>
                  <a:gd name="T62" fmla="*/ 55 w 97"/>
                  <a:gd name="T63" fmla="*/ 18 h 213"/>
                  <a:gd name="T64" fmla="*/ 49 w 97"/>
                  <a:gd name="T65" fmla="*/ 18 h 213"/>
                  <a:gd name="T66" fmla="*/ 40 w 97"/>
                  <a:gd name="T67" fmla="*/ 21 h 213"/>
                  <a:gd name="T68" fmla="*/ 31 w 97"/>
                  <a:gd name="T69" fmla="*/ 30 h 213"/>
                  <a:gd name="T70" fmla="*/ 28 w 97"/>
                  <a:gd name="T71" fmla="*/ 42 h 213"/>
                  <a:gd name="T72" fmla="*/ 25 w 97"/>
                  <a:gd name="T73" fmla="*/ 57 h 213"/>
                  <a:gd name="T74" fmla="*/ 15 w 97"/>
                  <a:gd name="T75" fmla="*/ 57 h 213"/>
                  <a:gd name="T76" fmla="*/ 12 w 97"/>
                  <a:gd name="T77" fmla="*/ 69 h 213"/>
                  <a:gd name="T78" fmla="*/ 9 w 97"/>
                  <a:gd name="T79" fmla="*/ 81 h 213"/>
                  <a:gd name="T80" fmla="*/ 6 w 97"/>
                  <a:gd name="T81" fmla="*/ 87 h 213"/>
                  <a:gd name="T82" fmla="*/ 0 w 97"/>
                  <a:gd name="T83" fmla="*/ 93 h 213"/>
                  <a:gd name="T84" fmla="*/ 12 w 97"/>
                  <a:gd name="T85" fmla="*/ 102 h 213"/>
                  <a:gd name="T86" fmla="*/ 25 w 97"/>
                  <a:gd name="T87" fmla="*/ 126 h 213"/>
                  <a:gd name="T88" fmla="*/ 25 w 97"/>
                  <a:gd name="T89" fmla="*/ 144 h 213"/>
                  <a:gd name="T90" fmla="*/ 28 w 97"/>
                  <a:gd name="T91" fmla="*/ 150 h 213"/>
                  <a:gd name="T92" fmla="*/ 40 w 97"/>
                  <a:gd name="T93" fmla="*/ 150 h 213"/>
                  <a:gd name="T94" fmla="*/ 49 w 97"/>
                  <a:gd name="T95" fmla="*/ 138 h 213"/>
                  <a:gd name="T96" fmla="*/ 55 w 97"/>
                  <a:gd name="T97" fmla="*/ 141 h 213"/>
                  <a:gd name="T98" fmla="*/ 58 w 97"/>
                  <a:gd name="T99" fmla="*/ 153 h 213"/>
                  <a:gd name="T100" fmla="*/ 64 w 97"/>
                  <a:gd name="T101" fmla="*/ 180 h 213"/>
                  <a:gd name="T102" fmla="*/ 70 w 97"/>
                  <a:gd name="T103" fmla="*/ 195 h 213"/>
                  <a:gd name="T104" fmla="*/ 70 w 97"/>
                  <a:gd name="T105" fmla="*/ 210 h 213"/>
                  <a:gd name="T106" fmla="*/ 70 w 97"/>
                  <a:gd name="T107" fmla="*/ 213 h 213"/>
                  <a:gd name="T108" fmla="*/ 79 w 97"/>
                  <a:gd name="T109" fmla="*/ 195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213">
                    <a:moveTo>
                      <a:pt x="79" y="195"/>
                    </a:moveTo>
                    <a:cubicBezTo>
                      <a:pt x="79" y="189"/>
                      <a:pt x="76" y="189"/>
                      <a:pt x="76" y="186"/>
                    </a:cubicBezTo>
                    <a:cubicBezTo>
                      <a:pt x="76" y="183"/>
                      <a:pt x="76" y="177"/>
                      <a:pt x="73" y="171"/>
                    </a:cubicBezTo>
                    <a:cubicBezTo>
                      <a:pt x="67" y="168"/>
                      <a:pt x="64" y="162"/>
                      <a:pt x="67" y="159"/>
                    </a:cubicBezTo>
                    <a:cubicBezTo>
                      <a:pt x="70" y="159"/>
                      <a:pt x="67" y="150"/>
                      <a:pt x="70" y="153"/>
                    </a:cubicBezTo>
                    <a:cubicBezTo>
                      <a:pt x="70" y="153"/>
                      <a:pt x="73" y="147"/>
                      <a:pt x="70" y="147"/>
                    </a:cubicBezTo>
                    <a:cubicBezTo>
                      <a:pt x="67" y="144"/>
                      <a:pt x="70" y="141"/>
                      <a:pt x="67" y="138"/>
                    </a:cubicBezTo>
                    <a:cubicBezTo>
                      <a:pt x="64" y="138"/>
                      <a:pt x="58" y="132"/>
                      <a:pt x="58" y="129"/>
                    </a:cubicBezTo>
                    <a:cubicBezTo>
                      <a:pt x="58" y="126"/>
                      <a:pt x="61" y="114"/>
                      <a:pt x="61" y="111"/>
                    </a:cubicBezTo>
                    <a:cubicBezTo>
                      <a:pt x="61" y="108"/>
                      <a:pt x="67" y="108"/>
                      <a:pt x="67" y="108"/>
                    </a:cubicBezTo>
                    <a:cubicBezTo>
                      <a:pt x="70" y="108"/>
                      <a:pt x="73" y="108"/>
                      <a:pt x="76" y="105"/>
                    </a:cubicBezTo>
                    <a:cubicBezTo>
                      <a:pt x="79" y="102"/>
                      <a:pt x="85" y="102"/>
                      <a:pt x="85" y="99"/>
                    </a:cubicBezTo>
                    <a:cubicBezTo>
                      <a:pt x="88" y="96"/>
                      <a:pt x="91" y="96"/>
                      <a:pt x="91" y="93"/>
                    </a:cubicBezTo>
                    <a:cubicBezTo>
                      <a:pt x="91" y="90"/>
                      <a:pt x="97" y="84"/>
                      <a:pt x="97" y="84"/>
                    </a:cubicBezTo>
                    <a:cubicBezTo>
                      <a:pt x="97" y="84"/>
                      <a:pt x="97" y="84"/>
                      <a:pt x="97" y="84"/>
                    </a:cubicBezTo>
                    <a:cubicBezTo>
                      <a:pt x="97" y="84"/>
                      <a:pt x="97" y="84"/>
                      <a:pt x="94" y="87"/>
                    </a:cubicBezTo>
                    <a:cubicBezTo>
                      <a:pt x="88" y="87"/>
                      <a:pt x="85" y="84"/>
                      <a:pt x="85" y="81"/>
                    </a:cubicBezTo>
                    <a:cubicBezTo>
                      <a:pt x="88" y="78"/>
                      <a:pt x="82" y="78"/>
                      <a:pt x="79" y="78"/>
                    </a:cubicBezTo>
                    <a:cubicBezTo>
                      <a:pt x="76" y="78"/>
                      <a:pt x="79" y="75"/>
                      <a:pt x="79" y="72"/>
                    </a:cubicBezTo>
                    <a:cubicBezTo>
                      <a:pt x="82" y="69"/>
                      <a:pt x="79" y="66"/>
                      <a:pt x="76" y="66"/>
                    </a:cubicBezTo>
                    <a:cubicBezTo>
                      <a:pt x="73" y="66"/>
                      <a:pt x="70" y="60"/>
                      <a:pt x="73" y="57"/>
                    </a:cubicBezTo>
                    <a:cubicBezTo>
                      <a:pt x="73" y="54"/>
                      <a:pt x="64" y="54"/>
                      <a:pt x="61" y="54"/>
                    </a:cubicBezTo>
                    <a:cubicBezTo>
                      <a:pt x="58" y="57"/>
                      <a:pt x="61" y="51"/>
                      <a:pt x="61" y="51"/>
                    </a:cubicBezTo>
                    <a:cubicBezTo>
                      <a:pt x="58" y="48"/>
                      <a:pt x="64" y="39"/>
                      <a:pt x="70" y="33"/>
                    </a:cubicBezTo>
                    <a:cubicBezTo>
                      <a:pt x="73" y="30"/>
                      <a:pt x="73" y="24"/>
                      <a:pt x="73" y="18"/>
                    </a:cubicBezTo>
                    <a:cubicBezTo>
                      <a:pt x="73" y="12"/>
                      <a:pt x="70" y="12"/>
                      <a:pt x="67" y="12"/>
                    </a:cubicBezTo>
                    <a:cubicBezTo>
                      <a:pt x="64" y="12"/>
                      <a:pt x="64" y="9"/>
                      <a:pt x="64" y="6"/>
                    </a:cubicBezTo>
                    <a:cubicBezTo>
                      <a:pt x="64" y="3"/>
                      <a:pt x="61" y="0"/>
                      <a:pt x="58" y="3"/>
                    </a:cubicBezTo>
                    <a:cubicBezTo>
                      <a:pt x="55" y="3"/>
                      <a:pt x="55" y="3"/>
                      <a:pt x="55" y="3"/>
                    </a:cubicBezTo>
                    <a:cubicBezTo>
                      <a:pt x="55" y="3"/>
                      <a:pt x="55" y="3"/>
                      <a:pt x="55" y="3"/>
                    </a:cubicBezTo>
                    <a:cubicBezTo>
                      <a:pt x="55" y="3"/>
                      <a:pt x="55" y="9"/>
                      <a:pt x="52" y="9"/>
                    </a:cubicBezTo>
                    <a:cubicBezTo>
                      <a:pt x="52" y="9"/>
                      <a:pt x="52" y="12"/>
                      <a:pt x="55" y="18"/>
                    </a:cubicBezTo>
                    <a:cubicBezTo>
                      <a:pt x="58" y="21"/>
                      <a:pt x="49" y="18"/>
                      <a:pt x="49" y="18"/>
                    </a:cubicBezTo>
                    <a:cubicBezTo>
                      <a:pt x="49" y="15"/>
                      <a:pt x="43" y="18"/>
                      <a:pt x="40" y="21"/>
                    </a:cubicBezTo>
                    <a:cubicBezTo>
                      <a:pt x="37" y="24"/>
                      <a:pt x="31" y="24"/>
                      <a:pt x="31" y="30"/>
                    </a:cubicBezTo>
                    <a:cubicBezTo>
                      <a:pt x="31" y="33"/>
                      <a:pt x="28" y="39"/>
                      <a:pt x="28" y="42"/>
                    </a:cubicBezTo>
                    <a:cubicBezTo>
                      <a:pt x="31" y="48"/>
                      <a:pt x="25" y="54"/>
                      <a:pt x="25" y="57"/>
                    </a:cubicBezTo>
                    <a:cubicBezTo>
                      <a:pt x="25" y="60"/>
                      <a:pt x="15" y="57"/>
                      <a:pt x="15" y="57"/>
                    </a:cubicBezTo>
                    <a:cubicBezTo>
                      <a:pt x="15" y="57"/>
                      <a:pt x="15" y="66"/>
                      <a:pt x="12" y="69"/>
                    </a:cubicBezTo>
                    <a:cubicBezTo>
                      <a:pt x="12" y="69"/>
                      <a:pt x="12" y="81"/>
                      <a:pt x="9" y="81"/>
                    </a:cubicBezTo>
                    <a:cubicBezTo>
                      <a:pt x="6" y="81"/>
                      <a:pt x="6" y="87"/>
                      <a:pt x="6" y="87"/>
                    </a:cubicBezTo>
                    <a:cubicBezTo>
                      <a:pt x="6" y="87"/>
                      <a:pt x="3" y="90"/>
                      <a:pt x="0" y="93"/>
                    </a:cubicBezTo>
                    <a:cubicBezTo>
                      <a:pt x="3" y="96"/>
                      <a:pt x="6" y="102"/>
                      <a:pt x="12" y="102"/>
                    </a:cubicBezTo>
                    <a:cubicBezTo>
                      <a:pt x="18" y="105"/>
                      <a:pt x="22" y="120"/>
                      <a:pt x="25" y="126"/>
                    </a:cubicBezTo>
                    <a:cubicBezTo>
                      <a:pt x="28" y="132"/>
                      <a:pt x="25" y="141"/>
                      <a:pt x="25" y="144"/>
                    </a:cubicBezTo>
                    <a:cubicBezTo>
                      <a:pt x="22" y="147"/>
                      <a:pt x="25" y="147"/>
                      <a:pt x="28" y="150"/>
                    </a:cubicBezTo>
                    <a:cubicBezTo>
                      <a:pt x="31" y="153"/>
                      <a:pt x="37" y="153"/>
                      <a:pt x="40" y="150"/>
                    </a:cubicBezTo>
                    <a:cubicBezTo>
                      <a:pt x="43" y="144"/>
                      <a:pt x="49" y="141"/>
                      <a:pt x="49" y="138"/>
                    </a:cubicBezTo>
                    <a:cubicBezTo>
                      <a:pt x="49" y="132"/>
                      <a:pt x="52" y="138"/>
                      <a:pt x="55" y="141"/>
                    </a:cubicBezTo>
                    <a:cubicBezTo>
                      <a:pt x="58" y="144"/>
                      <a:pt x="58" y="150"/>
                      <a:pt x="58" y="153"/>
                    </a:cubicBezTo>
                    <a:cubicBezTo>
                      <a:pt x="61" y="159"/>
                      <a:pt x="61" y="174"/>
                      <a:pt x="64" y="180"/>
                    </a:cubicBezTo>
                    <a:cubicBezTo>
                      <a:pt x="70" y="183"/>
                      <a:pt x="70" y="192"/>
                      <a:pt x="70" y="195"/>
                    </a:cubicBezTo>
                    <a:cubicBezTo>
                      <a:pt x="67" y="201"/>
                      <a:pt x="73" y="207"/>
                      <a:pt x="70" y="210"/>
                    </a:cubicBezTo>
                    <a:cubicBezTo>
                      <a:pt x="70" y="213"/>
                      <a:pt x="70" y="213"/>
                      <a:pt x="70" y="213"/>
                    </a:cubicBezTo>
                    <a:cubicBezTo>
                      <a:pt x="73" y="213"/>
                      <a:pt x="79" y="195"/>
                      <a:pt x="79" y="19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4" name="Freeform 758"/>
              <p:cNvSpPr>
                <a:spLocks/>
              </p:cNvSpPr>
              <p:nvPr userDrawn="1"/>
            </p:nvSpPr>
            <p:spPr bwMode="auto">
              <a:xfrm>
                <a:off x="5031" y="-1657"/>
                <a:ext cx="57" cy="33"/>
              </a:xfrm>
              <a:custGeom>
                <a:avLst/>
                <a:gdLst>
                  <a:gd name="T0" fmla="*/ 34 w 37"/>
                  <a:gd name="T1" fmla="*/ 9 h 21"/>
                  <a:gd name="T2" fmla="*/ 21 w 37"/>
                  <a:gd name="T3" fmla="*/ 3 h 21"/>
                  <a:gd name="T4" fmla="*/ 12 w 37"/>
                  <a:gd name="T5" fmla="*/ 3 h 21"/>
                  <a:gd name="T6" fmla="*/ 3 w 37"/>
                  <a:gd name="T7" fmla="*/ 9 h 21"/>
                  <a:gd name="T8" fmla="*/ 0 w 37"/>
                  <a:gd name="T9" fmla="*/ 15 h 21"/>
                  <a:gd name="T10" fmla="*/ 3 w 37"/>
                  <a:gd name="T11" fmla="*/ 18 h 21"/>
                  <a:gd name="T12" fmla="*/ 12 w 37"/>
                  <a:gd name="T13" fmla="*/ 18 h 21"/>
                  <a:gd name="T14" fmla="*/ 21 w 37"/>
                  <a:gd name="T15" fmla="*/ 21 h 21"/>
                  <a:gd name="T16" fmla="*/ 34 w 37"/>
                  <a:gd name="T17" fmla="*/ 18 h 21"/>
                  <a:gd name="T18" fmla="*/ 34 w 37"/>
                  <a:gd name="T19" fmla="*/ 9 h 21"/>
                  <a:gd name="T20" fmla="*/ 34 w 37"/>
                  <a:gd name="T21"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1">
                    <a:moveTo>
                      <a:pt x="34" y="9"/>
                    </a:moveTo>
                    <a:cubicBezTo>
                      <a:pt x="27" y="3"/>
                      <a:pt x="24" y="6"/>
                      <a:pt x="21" y="3"/>
                    </a:cubicBezTo>
                    <a:cubicBezTo>
                      <a:pt x="15" y="3"/>
                      <a:pt x="15" y="0"/>
                      <a:pt x="12" y="3"/>
                    </a:cubicBezTo>
                    <a:cubicBezTo>
                      <a:pt x="9" y="6"/>
                      <a:pt x="6" y="3"/>
                      <a:pt x="3" y="9"/>
                    </a:cubicBezTo>
                    <a:cubicBezTo>
                      <a:pt x="3" y="12"/>
                      <a:pt x="3" y="12"/>
                      <a:pt x="0" y="15"/>
                    </a:cubicBezTo>
                    <a:cubicBezTo>
                      <a:pt x="3" y="15"/>
                      <a:pt x="3" y="18"/>
                      <a:pt x="3" y="18"/>
                    </a:cubicBezTo>
                    <a:cubicBezTo>
                      <a:pt x="6" y="18"/>
                      <a:pt x="9" y="21"/>
                      <a:pt x="12" y="18"/>
                    </a:cubicBezTo>
                    <a:cubicBezTo>
                      <a:pt x="15" y="18"/>
                      <a:pt x="18" y="21"/>
                      <a:pt x="21" y="21"/>
                    </a:cubicBezTo>
                    <a:cubicBezTo>
                      <a:pt x="27" y="18"/>
                      <a:pt x="34" y="21"/>
                      <a:pt x="34" y="18"/>
                    </a:cubicBezTo>
                    <a:cubicBezTo>
                      <a:pt x="37" y="15"/>
                      <a:pt x="34" y="9"/>
                      <a:pt x="34" y="9"/>
                    </a:cubicBezTo>
                    <a:cubicBezTo>
                      <a:pt x="34" y="9"/>
                      <a:pt x="34" y="9"/>
                      <a:pt x="34"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5" name="Freeform 759"/>
              <p:cNvSpPr>
                <a:spLocks/>
              </p:cNvSpPr>
              <p:nvPr userDrawn="1"/>
            </p:nvSpPr>
            <p:spPr bwMode="auto">
              <a:xfrm>
                <a:off x="5031" y="-1657"/>
                <a:ext cx="57" cy="33"/>
              </a:xfrm>
              <a:custGeom>
                <a:avLst/>
                <a:gdLst>
                  <a:gd name="T0" fmla="*/ 34 w 37"/>
                  <a:gd name="T1" fmla="*/ 9 h 21"/>
                  <a:gd name="T2" fmla="*/ 21 w 37"/>
                  <a:gd name="T3" fmla="*/ 3 h 21"/>
                  <a:gd name="T4" fmla="*/ 12 w 37"/>
                  <a:gd name="T5" fmla="*/ 3 h 21"/>
                  <a:gd name="T6" fmla="*/ 3 w 37"/>
                  <a:gd name="T7" fmla="*/ 9 h 21"/>
                  <a:gd name="T8" fmla="*/ 0 w 37"/>
                  <a:gd name="T9" fmla="*/ 15 h 21"/>
                  <a:gd name="T10" fmla="*/ 3 w 37"/>
                  <a:gd name="T11" fmla="*/ 18 h 21"/>
                  <a:gd name="T12" fmla="*/ 12 w 37"/>
                  <a:gd name="T13" fmla="*/ 18 h 21"/>
                  <a:gd name="T14" fmla="*/ 21 w 37"/>
                  <a:gd name="T15" fmla="*/ 21 h 21"/>
                  <a:gd name="T16" fmla="*/ 34 w 37"/>
                  <a:gd name="T17" fmla="*/ 18 h 21"/>
                  <a:gd name="T18" fmla="*/ 34 w 37"/>
                  <a:gd name="T19" fmla="*/ 9 h 21"/>
                  <a:gd name="T20" fmla="*/ 34 w 37"/>
                  <a:gd name="T21"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21">
                    <a:moveTo>
                      <a:pt x="34" y="9"/>
                    </a:moveTo>
                    <a:cubicBezTo>
                      <a:pt x="27" y="3"/>
                      <a:pt x="24" y="6"/>
                      <a:pt x="21" y="3"/>
                    </a:cubicBezTo>
                    <a:cubicBezTo>
                      <a:pt x="15" y="3"/>
                      <a:pt x="15" y="0"/>
                      <a:pt x="12" y="3"/>
                    </a:cubicBezTo>
                    <a:cubicBezTo>
                      <a:pt x="9" y="6"/>
                      <a:pt x="6" y="3"/>
                      <a:pt x="3" y="9"/>
                    </a:cubicBezTo>
                    <a:cubicBezTo>
                      <a:pt x="3" y="12"/>
                      <a:pt x="3" y="12"/>
                      <a:pt x="0" y="15"/>
                    </a:cubicBezTo>
                    <a:cubicBezTo>
                      <a:pt x="3" y="15"/>
                      <a:pt x="3" y="18"/>
                      <a:pt x="3" y="18"/>
                    </a:cubicBezTo>
                    <a:cubicBezTo>
                      <a:pt x="6" y="18"/>
                      <a:pt x="9" y="21"/>
                      <a:pt x="12" y="18"/>
                    </a:cubicBezTo>
                    <a:cubicBezTo>
                      <a:pt x="15" y="18"/>
                      <a:pt x="18" y="21"/>
                      <a:pt x="21" y="21"/>
                    </a:cubicBezTo>
                    <a:cubicBezTo>
                      <a:pt x="27" y="18"/>
                      <a:pt x="34" y="21"/>
                      <a:pt x="34" y="18"/>
                    </a:cubicBezTo>
                    <a:cubicBezTo>
                      <a:pt x="37" y="15"/>
                      <a:pt x="34" y="9"/>
                      <a:pt x="34" y="9"/>
                    </a:cubicBezTo>
                    <a:cubicBezTo>
                      <a:pt x="34" y="9"/>
                      <a:pt x="34" y="9"/>
                      <a:pt x="34"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6" name="Freeform 760"/>
              <p:cNvSpPr>
                <a:spLocks/>
              </p:cNvSpPr>
              <p:nvPr userDrawn="1"/>
            </p:nvSpPr>
            <p:spPr bwMode="auto">
              <a:xfrm>
                <a:off x="5252" y="-1563"/>
                <a:ext cx="129" cy="272"/>
              </a:xfrm>
              <a:custGeom>
                <a:avLst/>
                <a:gdLst>
                  <a:gd name="T0" fmla="*/ 62 w 83"/>
                  <a:gd name="T1" fmla="*/ 21 h 174"/>
                  <a:gd name="T2" fmla="*/ 50 w 83"/>
                  <a:gd name="T3" fmla="*/ 12 h 174"/>
                  <a:gd name="T4" fmla="*/ 47 w 83"/>
                  <a:gd name="T5" fmla="*/ 6 h 174"/>
                  <a:gd name="T6" fmla="*/ 38 w 83"/>
                  <a:gd name="T7" fmla="*/ 3 h 174"/>
                  <a:gd name="T8" fmla="*/ 29 w 83"/>
                  <a:gd name="T9" fmla="*/ 6 h 174"/>
                  <a:gd name="T10" fmla="*/ 23 w 83"/>
                  <a:gd name="T11" fmla="*/ 9 h 174"/>
                  <a:gd name="T12" fmla="*/ 12 w 83"/>
                  <a:gd name="T13" fmla="*/ 9 h 174"/>
                  <a:gd name="T14" fmla="*/ 6 w 83"/>
                  <a:gd name="T15" fmla="*/ 9 h 174"/>
                  <a:gd name="T16" fmla="*/ 0 w 83"/>
                  <a:gd name="T17" fmla="*/ 12 h 174"/>
                  <a:gd name="T18" fmla="*/ 6 w 83"/>
                  <a:gd name="T19" fmla="*/ 18 h 174"/>
                  <a:gd name="T20" fmla="*/ 12 w 83"/>
                  <a:gd name="T21" fmla="*/ 27 h 174"/>
                  <a:gd name="T22" fmla="*/ 20 w 83"/>
                  <a:gd name="T23" fmla="*/ 33 h 174"/>
                  <a:gd name="T24" fmla="*/ 26 w 83"/>
                  <a:gd name="T25" fmla="*/ 33 h 174"/>
                  <a:gd name="T26" fmla="*/ 32 w 83"/>
                  <a:gd name="T27" fmla="*/ 42 h 174"/>
                  <a:gd name="T28" fmla="*/ 23 w 83"/>
                  <a:gd name="T29" fmla="*/ 48 h 174"/>
                  <a:gd name="T30" fmla="*/ 35 w 83"/>
                  <a:gd name="T31" fmla="*/ 57 h 174"/>
                  <a:gd name="T32" fmla="*/ 41 w 83"/>
                  <a:gd name="T33" fmla="*/ 69 h 174"/>
                  <a:gd name="T34" fmla="*/ 50 w 83"/>
                  <a:gd name="T35" fmla="*/ 81 h 174"/>
                  <a:gd name="T36" fmla="*/ 59 w 83"/>
                  <a:gd name="T37" fmla="*/ 90 h 174"/>
                  <a:gd name="T38" fmla="*/ 62 w 83"/>
                  <a:gd name="T39" fmla="*/ 99 h 174"/>
                  <a:gd name="T40" fmla="*/ 65 w 83"/>
                  <a:gd name="T41" fmla="*/ 120 h 174"/>
                  <a:gd name="T42" fmla="*/ 56 w 83"/>
                  <a:gd name="T43" fmla="*/ 132 h 174"/>
                  <a:gd name="T44" fmla="*/ 47 w 83"/>
                  <a:gd name="T45" fmla="*/ 138 h 174"/>
                  <a:gd name="T46" fmla="*/ 47 w 83"/>
                  <a:gd name="T47" fmla="*/ 147 h 174"/>
                  <a:gd name="T48" fmla="*/ 35 w 83"/>
                  <a:gd name="T49" fmla="*/ 147 h 174"/>
                  <a:gd name="T50" fmla="*/ 26 w 83"/>
                  <a:gd name="T51" fmla="*/ 153 h 174"/>
                  <a:gd name="T52" fmla="*/ 32 w 83"/>
                  <a:gd name="T53" fmla="*/ 156 h 174"/>
                  <a:gd name="T54" fmla="*/ 29 w 83"/>
                  <a:gd name="T55" fmla="*/ 168 h 174"/>
                  <a:gd name="T56" fmla="*/ 35 w 83"/>
                  <a:gd name="T57" fmla="*/ 171 h 174"/>
                  <a:gd name="T58" fmla="*/ 44 w 83"/>
                  <a:gd name="T59" fmla="*/ 165 h 174"/>
                  <a:gd name="T60" fmla="*/ 47 w 83"/>
                  <a:gd name="T61" fmla="*/ 159 h 174"/>
                  <a:gd name="T62" fmla="*/ 50 w 83"/>
                  <a:gd name="T63" fmla="*/ 153 h 174"/>
                  <a:gd name="T64" fmla="*/ 56 w 83"/>
                  <a:gd name="T65" fmla="*/ 153 h 174"/>
                  <a:gd name="T66" fmla="*/ 74 w 83"/>
                  <a:gd name="T67" fmla="*/ 144 h 174"/>
                  <a:gd name="T68" fmla="*/ 80 w 83"/>
                  <a:gd name="T69" fmla="*/ 129 h 174"/>
                  <a:gd name="T70" fmla="*/ 80 w 83"/>
                  <a:gd name="T71" fmla="*/ 105 h 174"/>
                  <a:gd name="T72" fmla="*/ 68 w 83"/>
                  <a:gd name="T73" fmla="*/ 87 h 174"/>
                  <a:gd name="T74" fmla="*/ 50 w 83"/>
                  <a:gd name="T75" fmla="*/ 72 h 174"/>
                  <a:gd name="T76" fmla="*/ 44 w 83"/>
                  <a:gd name="T77" fmla="*/ 63 h 174"/>
                  <a:gd name="T78" fmla="*/ 41 w 83"/>
                  <a:gd name="T79" fmla="*/ 48 h 174"/>
                  <a:gd name="T80" fmla="*/ 50 w 83"/>
                  <a:gd name="T81" fmla="*/ 36 h 174"/>
                  <a:gd name="T82" fmla="*/ 53 w 83"/>
                  <a:gd name="T83" fmla="*/ 30 h 174"/>
                  <a:gd name="T84" fmla="*/ 62 w 83"/>
                  <a:gd name="T85" fmla="*/ 24 h 174"/>
                  <a:gd name="T86" fmla="*/ 65 w 83"/>
                  <a:gd name="T87" fmla="*/ 24 h 174"/>
                  <a:gd name="T88" fmla="*/ 62 w 83"/>
                  <a:gd name="T89" fmla="*/ 2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174">
                    <a:moveTo>
                      <a:pt x="62" y="21"/>
                    </a:moveTo>
                    <a:cubicBezTo>
                      <a:pt x="59" y="21"/>
                      <a:pt x="50" y="15"/>
                      <a:pt x="50" y="12"/>
                    </a:cubicBezTo>
                    <a:cubicBezTo>
                      <a:pt x="50" y="12"/>
                      <a:pt x="56" y="6"/>
                      <a:pt x="47" y="6"/>
                    </a:cubicBezTo>
                    <a:cubicBezTo>
                      <a:pt x="41" y="6"/>
                      <a:pt x="41" y="3"/>
                      <a:pt x="38" y="3"/>
                    </a:cubicBezTo>
                    <a:cubicBezTo>
                      <a:pt x="38" y="0"/>
                      <a:pt x="32" y="3"/>
                      <a:pt x="29" y="6"/>
                    </a:cubicBezTo>
                    <a:cubicBezTo>
                      <a:pt x="29" y="12"/>
                      <a:pt x="26" y="6"/>
                      <a:pt x="23" y="9"/>
                    </a:cubicBezTo>
                    <a:cubicBezTo>
                      <a:pt x="18" y="12"/>
                      <a:pt x="15" y="6"/>
                      <a:pt x="12" y="9"/>
                    </a:cubicBezTo>
                    <a:cubicBezTo>
                      <a:pt x="12" y="12"/>
                      <a:pt x="6" y="6"/>
                      <a:pt x="6" y="9"/>
                    </a:cubicBezTo>
                    <a:cubicBezTo>
                      <a:pt x="3" y="12"/>
                      <a:pt x="3" y="12"/>
                      <a:pt x="0" y="12"/>
                    </a:cubicBezTo>
                    <a:cubicBezTo>
                      <a:pt x="3" y="15"/>
                      <a:pt x="6" y="15"/>
                      <a:pt x="6" y="18"/>
                    </a:cubicBezTo>
                    <a:cubicBezTo>
                      <a:pt x="6" y="21"/>
                      <a:pt x="12" y="24"/>
                      <a:pt x="12" y="27"/>
                    </a:cubicBezTo>
                    <a:cubicBezTo>
                      <a:pt x="12" y="30"/>
                      <a:pt x="18" y="33"/>
                      <a:pt x="20" y="33"/>
                    </a:cubicBezTo>
                    <a:cubicBezTo>
                      <a:pt x="23" y="30"/>
                      <a:pt x="26" y="30"/>
                      <a:pt x="26" y="33"/>
                    </a:cubicBezTo>
                    <a:cubicBezTo>
                      <a:pt x="29" y="39"/>
                      <a:pt x="32" y="39"/>
                      <a:pt x="32" y="42"/>
                    </a:cubicBezTo>
                    <a:cubicBezTo>
                      <a:pt x="32" y="45"/>
                      <a:pt x="23" y="45"/>
                      <a:pt x="23" y="48"/>
                    </a:cubicBezTo>
                    <a:cubicBezTo>
                      <a:pt x="20" y="51"/>
                      <a:pt x="35" y="54"/>
                      <a:pt x="35" y="57"/>
                    </a:cubicBezTo>
                    <a:cubicBezTo>
                      <a:pt x="35" y="60"/>
                      <a:pt x="38" y="63"/>
                      <a:pt x="41" y="69"/>
                    </a:cubicBezTo>
                    <a:cubicBezTo>
                      <a:pt x="41" y="72"/>
                      <a:pt x="47" y="75"/>
                      <a:pt x="50" y="81"/>
                    </a:cubicBezTo>
                    <a:cubicBezTo>
                      <a:pt x="50" y="84"/>
                      <a:pt x="56" y="87"/>
                      <a:pt x="59" y="90"/>
                    </a:cubicBezTo>
                    <a:cubicBezTo>
                      <a:pt x="62" y="90"/>
                      <a:pt x="62" y="96"/>
                      <a:pt x="62" y="99"/>
                    </a:cubicBezTo>
                    <a:cubicBezTo>
                      <a:pt x="59" y="105"/>
                      <a:pt x="59" y="111"/>
                      <a:pt x="65" y="120"/>
                    </a:cubicBezTo>
                    <a:cubicBezTo>
                      <a:pt x="68" y="126"/>
                      <a:pt x="59" y="129"/>
                      <a:pt x="56" y="132"/>
                    </a:cubicBezTo>
                    <a:cubicBezTo>
                      <a:pt x="53" y="135"/>
                      <a:pt x="56" y="141"/>
                      <a:pt x="47" y="138"/>
                    </a:cubicBezTo>
                    <a:cubicBezTo>
                      <a:pt x="38" y="135"/>
                      <a:pt x="47" y="144"/>
                      <a:pt x="47" y="147"/>
                    </a:cubicBezTo>
                    <a:cubicBezTo>
                      <a:pt x="44" y="150"/>
                      <a:pt x="35" y="144"/>
                      <a:pt x="35" y="147"/>
                    </a:cubicBezTo>
                    <a:cubicBezTo>
                      <a:pt x="35" y="150"/>
                      <a:pt x="29" y="153"/>
                      <a:pt x="26" y="153"/>
                    </a:cubicBezTo>
                    <a:cubicBezTo>
                      <a:pt x="29" y="156"/>
                      <a:pt x="29" y="156"/>
                      <a:pt x="32" y="156"/>
                    </a:cubicBezTo>
                    <a:cubicBezTo>
                      <a:pt x="35" y="159"/>
                      <a:pt x="29" y="162"/>
                      <a:pt x="29" y="168"/>
                    </a:cubicBezTo>
                    <a:cubicBezTo>
                      <a:pt x="29" y="171"/>
                      <a:pt x="32" y="174"/>
                      <a:pt x="35" y="171"/>
                    </a:cubicBezTo>
                    <a:cubicBezTo>
                      <a:pt x="35" y="168"/>
                      <a:pt x="41" y="165"/>
                      <a:pt x="44" y="165"/>
                    </a:cubicBezTo>
                    <a:cubicBezTo>
                      <a:pt x="47" y="162"/>
                      <a:pt x="44" y="159"/>
                      <a:pt x="47" y="159"/>
                    </a:cubicBezTo>
                    <a:cubicBezTo>
                      <a:pt x="50" y="159"/>
                      <a:pt x="50" y="156"/>
                      <a:pt x="50" y="153"/>
                    </a:cubicBezTo>
                    <a:cubicBezTo>
                      <a:pt x="50" y="150"/>
                      <a:pt x="53" y="153"/>
                      <a:pt x="56" y="153"/>
                    </a:cubicBezTo>
                    <a:cubicBezTo>
                      <a:pt x="62" y="153"/>
                      <a:pt x="68" y="150"/>
                      <a:pt x="74" y="144"/>
                    </a:cubicBezTo>
                    <a:cubicBezTo>
                      <a:pt x="77" y="141"/>
                      <a:pt x="80" y="141"/>
                      <a:pt x="80" y="129"/>
                    </a:cubicBezTo>
                    <a:cubicBezTo>
                      <a:pt x="83" y="120"/>
                      <a:pt x="80" y="108"/>
                      <a:pt x="80" y="105"/>
                    </a:cubicBezTo>
                    <a:cubicBezTo>
                      <a:pt x="80" y="102"/>
                      <a:pt x="71" y="87"/>
                      <a:pt x="68" y="87"/>
                    </a:cubicBezTo>
                    <a:cubicBezTo>
                      <a:pt x="65" y="87"/>
                      <a:pt x="53" y="72"/>
                      <a:pt x="50" y="72"/>
                    </a:cubicBezTo>
                    <a:cubicBezTo>
                      <a:pt x="47" y="69"/>
                      <a:pt x="47" y="66"/>
                      <a:pt x="44" y="63"/>
                    </a:cubicBezTo>
                    <a:cubicBezTo>
                      <a:pt x="41" y="60"/>
                      <a:pt x="41" y="51"/>
                      <a:pt x="41" y="48"/>
                    </a:cubicBezTo>
                    <a:cubicBezTo>
                      <a:pt x="44" y="42"/>
                      <a:pt x="50" y="39"/>
                      <a:pt x="50" y="36"/>
                    </a:cubicBezTo>
                    <a:cubicBezTo>
                      <a:pt x="50" y="33"/>
                      <a:pt x="50" y="30"/>
                      <a:pt x="53" y="30"/>
                    </a:cubicBezTo>
                    <a:cubicBezTo>
                      <a:pt x="59" y="30"/>
                      <a:pt x="62" y="27"/>
                      <a:pt x="62" y="24"/>
                    </a:cubicBezTo>
                    <a:cubicBezTo>
                      <a:pt x="65" y="24"/>
                      <a:pt x="65" y="24"/>
                      <a:pt x="65" y="24"/>
                    </a:cubicBezTo>
                    <a:cubicBezTo>
                      <a:pt x="62" y="21"/>
                      <a:pt x="62" y="21"/>
                      <a:pt x="62"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7" name="Freeform 761"/>
              <p:cNvSpPr>
                <a:spLocks/>
              </p:cNvSpPr>
              <p:nvPr userDrawn="1"/>
            </p:nvSpPr>
            <p:spPr bwMode="auto">
              <a:xfrm>
                <a:off x="5252" y="-1563"/>
                <a:ext cx="129" cy="272"/>
              </a:xfrm>
              <a:custGeom>
                <a:avLst/>
                <a:gdLst>
                  <a:gd name="T0" fmla="*/ 62 w 83"/>
                  <a:gd name="T1" fmla="*/ 21 h 174"/>
                  <a:gd name="T2" fmla="*/ 50 w 83"/>
                  <a:gd name="T3" fmla="*/ 12 h 174"/>
                  <a:gd name="T4" fmla="*/ 47 w 83"/>
                  <a:gd name="T5" fmla="*/ 6 h 174"/>
                  <a:gd name="T6" fmla="*/ 38 w 83"/>
                  <a:gd name="T7" fmla="*/ 3 h 174"/>
                  <a:gd name="T8" fmla="*/ 29 w 83"/>
                  <a:gd name="T9" fmla="*/ 6 h 174"/>
                  <a:gd name="T10" fmla="*/ 23 w 83"/>
                  <a:gd name="T11" fmla="*/ 9 h 174"/>
                  <a:gd name="T12" fmla="*/ 12 w 83"/>
                  <a:gd name="T13" fmla="*/ 9 h 174"/>
                  <a:gd name="T14" fmla="*/ 6 w 83"/>
                  <a:gd name="T15" fmla="*/ 9 h 174"/>
                  <a:gd name="T16" fmla="*/ 0 w 83"/>
                  <a:gd name="T17" fmla="*/ 12 h 174"/>
                  <a:gd name="T18" fmla="*/ 6 w 83"/>
                  <a:gd name="T19" fmla="*/ 18 h 174"/>
                  <a:gd name="T20" fmla="*/ 12 w 83"/>
                  <a:gd name="T21" fmla="*/ 27 h 174"/>
                  <a:gd name="T22" fmla="*/ 20 w 83"/>
                  <a:gd name="T23" fmla="*/ 33 h 174"/>
                  <a:gd name="T24" fmla="*/ 26 w 83"/>
                  <a:gd name="T25" fmla="*/ 33 h 174"/>
                  <a:gd name="T26" fmla="*/ 32 w 83"/>
                  <a:gd name="T27" fmla="*/ 42 h 174"/>
                  <a:gd name="T28" fmla="*/ 23 w 83"/>
                  <a:gd name="T29" fmla="*/ 48 h 174"/>
                  <a:gd name="T30" fmla="*/ 35 w 83"/>
                  <a:gd name="T31" fmla="*/ 57 h 174"/>
                  <a:gd name="T32" fmla="*/ 41 w 83"/>
                  <a:gd name="T33" fmla="*/ 69 h 174"/>
                  <a:gd name="T34" fmla="*/ 50 w 83"/>
                  <a:gd name="T35" fmla="*/ 81 h 174"/>
                  <a:gd name="T36" fmla="*/ 59 w 83"/>
                  <a:gd name="T37" fmla="*/ 90 h 174"/>
                  <a:gd name="T38" fmla="*/ 62 w 83"/>
                  <a:gd name="T39" fmla="*/ 99 h 174"/>
                  <a:gd name="T40" fmla="*/ 65 w 83"/>
                  <a:gd name="T41" fmla="*/ 120 h 174"/>
                  <a:gd name="T42" fmla="*/ 56 w 83"/>
                  <a:gd name="T43" fmla="*/ 132 h 174"/>
                  <a:gd name="T44" fmla="*/ 47 w 83"/>
                  <a:gd name="T45" fmla="*/ 138 h 174"/>
                  <a:gd name="T46" fmla="*/ 47 w 83"/>
                  <a:gd name="T47" fmla="*/ 147 h 174"/>
                  <a:gd name="T48" fmla="*/ 35 w 83"/>
                  <a:gd name="T49" fmla="*/ 147 h 174"/>
                  <a:gd name="T50" fmla="*/ 26 w 83"/>
                  <a:gd name="T51" fmla="*/ 153 h 174"/>
                  <a:gd name="T52" fmla="*/ 32 w 83"/>
                  <a:gd name="T53" fmla="*/ 156 h 174"/>
                  <a:gd name="T54" fmla="*/ 29 w 83"/>
                  <a:gd name="T55" fmla="*/ 168 h 174"/>
                  <a:gd name="T56" fmla="*/ 35 w 83"/>
                  <a:gd name="T57" fmla="*/ 171 h 174"/>
                  <a:gd name="T58" fmla="*/ 44 w 83"/>
                  <a:gd name="T59" fmla="*/ 165 h 174"/>
                  <a:gd name="T60" fmla="*/ 47 w 83"/>
                  <a:gd name="T61" fmla="*/ 159 h 174"/>
                  <a:gd name="T62" fmla="*/ 50 w 83"/>
                  <a:gd name="T63" fmla="*/ 153 h 174"/>
                  <a:gd name="T64" fmla="*/ 56 w 83"/>
                  <a:gd name="T65" fmla="*/ 153 h 174"/>
                  <a:gd name="T66" fmla="*/ 74 w 83"/>
                  <a:gd name="T67" fmla="*/ 144 h 174"/>
                  <a:gd name="T68" fmla="*/ 80 w 83"/>
                  <a:gd name="T69" fmla="*/ 129 h 174"/>
                  <a:gd name="T70" fmla="*/ 80 w 83"/>
                  <a:gd name="T71" fmla="*/ 105 h 174"/>
                  <a:gd name="T72" fmla="*/ 68 w 83"/>
                  <a:gd name="T73" fmla="*/ 87 h 174"/>
                  <a:gd name="T74" fmla="*/ 50 w 83"/>
                  <a:gd name="T75" fmla="*/ 72 h 174"/>
                  <a:gd name="T76" fmla="*/ 44 w 83"/>
                  <a:gd name="T77" fmla="*/ 63 h 174"/>
                  <a:gd name="T78" fmla="*/ 41 w 83"/>
                  <a:gd name="T79" fmla="*/ 48 h 174"/>
                  <a:gd name="T80" fmla="*/ 50 w 83"/>
                  <a:gd name="T81" fmla="*/ 36 h 174"/>
                  <a:gd name="T82" fmla="*/ 53 w 83"/>
                  <a:gd name="T83" fmla="*/ 30 h 174"/>
                  <a:gd name="T84" fmla="*/ 62 w 83"/>
                  <a:gd name="T85" fmla="*/ 24 h 174"/>
                  <a:gd name="T86" fmla="*/ 65 w 83"/>
                  <a:gd name="T87" fmla="*/ 24 h 174"/>
                  <a:gd name="T88" fmla="*/ 62 w 83"/>
                  <a:gd name="T89" fmla="*/ 2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174">
                    <a:moveTo>
                      <a:pt x="62" y="21"/>
                    </a:moveTo>
                    <a:cubicBezTo>
                      <a:pt x="59" y="21"/>
                      <a:pt x="50" y="15"/>
                      <a:pt x="50" y="12"/>
                    </a:cubicBezTo>
                    <a:cubicBezTo>
                      <a:pt x="50" y="12"/>
                      <a:pt x="56" y="6"/>
                      <a:pt x="47" y="6"/>
                    </a:cubicBezTo>
                    <a:cubicBezTo>
                      <a:pt x="41" y="6"/>
                      <a:pt x="41" y="3"/>
                      <a:pt x="38" y="3"/>
                    </a:cubicBezTo>
                    <a:cubicBezTo>
                      <a:pt x="38" y="0"/>
                      <a:pt x="32" y="3"/>
                      <a:pt x="29" y="6"/>
                    </a:cubicBezTo>
                    <a:cubicBezTo>
                      <a:pt x="29" y="12"/>
                      <a:pt x="26" y="6"/>
                      <a:pt x="23" y="9"/>
                    </a:cubicBezTo>
                    <a:cubicBezTo>
                      <a:pt x="18" y="12"/>
                      <a:pt x="15" y="6"/>
                      <a:pt x="12" y="9"/>
                    </a:cubicBezTo>
                    <a:cubicBezTo>
                      <a:pt x="12" y="12"/>
                      <a:pt x="6" y="6"/>
                      <a:pt x="6" y="9"/>
                    </a:cubicBezTo>
                    <a:cubicBezTo>
                      <a:pt x="3" y="12"/>
                      <a:pt x="3" y="12"/>
                      <a:pt x="0" y="12"/>
                    </a:cubicBezTo>
                    <a:cubicBezTo>
                      <a:pt x="3" y="15"/>
                      <a:pt x="6" y="15"/>
                      <a:pt x="6" y="18"/>
                    </a:cubicBezTo>
                    <a:cubicBezTo>
                      <a:pt x="6" y="21"/>
                      <a:pt x="12" y="24"/>
                      <a:pt x="12" y="27"/>
                    </a:cubicBezTo>
                    <a:cubicBezTo>
                      <a:pt x="12" y="30"/>
                      <a:pt x="18" y="33"/>
                      <a:pt x="20" y="33"/>
                    </a:cubicBezTo>
                    <a:cubicBezTo>
                      <a:pt x="23" y="30"/>
                      <a:pt x="26" y="30"/>
                      <a:pt x="26" y="33"/>
                    </a:cubicBezTo>
                    <a:cubicBezTo>
                      <a:pt x="29" y="39"/>
                      <a:pt x="32" y="39"/>
                      <a:pt x="32" y="42"/>
                    </a:cubicBezTo>
                    <a:cubicBezTo>
                      <a:pt x="32" y="45"/>
                      <a:pt x="23" y="45"/>
                      <a:pt x="23" y="48"/>
                    </a:cubicBezTo>
                    <a:cubicBezTo>
                      <a:pt x="20" y="51"/>
                      <a:pt x="35" y="54"/>
                      <a:pt x="35" y="57"/>
                    </a:cubicBezTo>
                    <a:cubicBezTo>
                      <a:pt x="35" y="60"/>
                      <a:pt x="38" y="63"/>
                      <a:pt x="41" y="69"/>
                    </a:cubicBezTo>
                    <a:cubicBezTo>
                      <a:pt x="41" y="72"/>
                      <a:pt x="47" y="75"/>
                      <a:pt x="50" y="81"/>
                    </a:cubicBezTo>
                    <a:cubicBezTo>
                      <a:pt x="50" y="84"/>
                      <a:pt x="56" y="87"/>
                      <a:pt x="59" y="90"/>
                    </a:cubicBezTo>
                    <a:cubicBezTo>
                      <a:pt x="62" y="90"/>
                      <a:pt x="62" y="96"/>
                      <a:pt x="62" y="99"/>
                    </a:cubicBezTo>
                    <a:cubicBezTo>
                      <a:pt x="59" y="105"/>
                      <a:pt x="59" y="111"/>
                      <a:pt x="65" y="120"/>
                    </a:cubicBezTo>
                    <a:cubicBezTo>
                      <a:pt x="68" y="126"/>
                      <a:pt x="59" y="129"/>
                      <a:pt x="56" y="132"/>
                    </a:cubicBezTo>
                    <a:cubicBezTo>
                      <a:pt x="53" y="135"/>
                      <a:pt x="56" y="141"/>
                      <a:pt x="47" y="138"/>
                    </a:cubicBezTo>
                    <a:cubicBezTo>
                      <a:pt x="38" y="135"/>
                      <a:pt x="47" y="144"/>
                      <a:pt x="47" y="147"/>
                    </a:cubicBezTo>
                    <a:cubicBezTo>
                      <a:pt x="44" y="150"/>
                      <a:pt x="35" y="144"/>
                      <a:pt x="35" y="147"/>
                    </a:cubicBezTo>
                    <a:cubicBezTo>
                      <a:pt x="35" y="150"/>
                      <a:pt x="29" y="153"/>
                      <a:pt x="26" y="153"/>
                    </a:cubicBezTo>
                    <a:cubicBezTo>
                      <a:pt x="29" y="156"/>
                      <a:pt x="29" y="156"/>
                      <a:pt x="32" y="156"/>
                    </a:cubicBezTo>
                    <a:cubicBezTo>
                      <a:pt x="35" y="159"/>
                      <a:pt x="29" y="162"/>
                      <a:pt x="29" y="168"/>
                    </a:cubicBezTo>
                    <a:cubicBezTo>
                      <a:pt x="29" y="171"/>
                      <a:pt x="32" y="174"/>
                      <a:pt x="35" y="171"/>
                    </a:cubicBezTo>
                    <a:cubicBezTo>
                      <a:pt x="35" y="168"/>
                      <a:pt x="41" y="165"/>
                      <a:pt x="44" y="165"/>
                    </a:cubicBezTo>
                    <a:cubicBezTo>
                      <a:pt x="47" y="162"/>
                      <a:pt x="44" y="159"/>
                      <a:pt x="47" y="159"/>
                    </a:cubicBezTo>
                    <a:cubicBezTo>
                      <a:pt x="50" y="159"/>
                      <a:pt x="50" y="156"/>
                      <a:pt x="50" y="153"/>
                    </a:cubicBezTo>
                    <a:cubicBezTo>
                      <a:pt x="50" y="150"/>
                      <a:pt x="53" y="153"/>
                      <a:pt x="56" y="153"/>
                    </a:cubicBezTo>
                    <a:cubicBezTo>
                      <a:pt x="62" y="153"/>
                      <a:pt x="68" y="150"/>
                      <a:pt x="74" y="144"/>
                    </a:cubicBezTo>
                    <a:cubicBezTo>
                      <a:pt x="77" y="141"/>
                      <a:pt x="80" y="141"/>
                      <a:pt x="80" y="129"/>
                    </a:cubicBezTo>
                    <a:cubicBezTo>
                      <a:pt x="83" y="120"/>
                      <a:pt x="80" y="108"/>
                      <a:pt x="80" y="105"/>
                    </a:cubicBezTo>
                    <a:cubicBezTo>
                      <a:pt x="80" y="102"/>
                      <a:pt x="71" y="87"/>
                      <a:pt x="68" y="87"/>
                    </a:cubicBezTo>
                    <a:cubicBezTo>
                      <a:pt x="65" y="87"/>
                      <a:pt x="53" y="72"/>
                      <a:pt x="50" y="72"/>
                    </a:cubicBezTo>
                    <a:cubicBezTo>
                      <a:pt x="47" y="69"/>
                      <a:pt x="47" y="66"/>
                      <a:pt x="44" y="63"/>
                    </a:cubicBezTo>
                    <a:cubicBezTo>
                      <a:pt x="41" y="60"/>
                      <a:pt x="41" y="51"/>
                      <a:pt x="41" y="48"/>
                    </a:cubicBezTo>
                    <a:cubicBezTo>
                      <a:pt x="44" y="42"/>
                      <a:pt x="50" y="39"/>
                      <a:pt x="50" y="36"/>
                    </a:cubicBezTo>
                    <a:cubicBezTo>
                      <a:pt x="50" y="33"/>
                      <a:pt x="50" y="30"/>
                      <a:pt x="53" y="30"/>
                    </a:cubicBezTo>
                    <a:cubicBezTo>
                      <a:pt x="59" y="30"/>
                      <a:pt x="62" y="27"/>
                      <a:pt x="62" y="24"/>
                    </a:cubicBezTo>
                    <a:cubicBezTo>
                      <a:pt x="65" y="24"/>
                      <a:pt x="65" y="24"/>
                      <a:pt x="65" y="24"/>
                    </a:cubicBezTo>
                    <a:cubicBezTo>
                      <a:pt x="62" y="21"/>
                      <a:pt x="62" y="21"/>
                      <a:pt x="62"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8" name="Freeform 762"/>
              <p:cNvSpPr>
                <a:spLocks/>
              </p:cNvSpPr>
              <p:nvPr userDrawn="1"/>
            </p:nvSpPr>
            <p:spPr bwMode="auto">
              <a:xfrm>
                <a:off x="5252" y="-1398"/>
                <a:ext cx="106" cy="75"/>
              </a:xfrm>
              <a:custGeom>
                <a:avLst/>
                <a:gdLst>
                  <a:gd name="T0" fmla="*/ 35 w 68"/>
                  <a:gd name="T1" fmla="*/ 42 h 48"/>
                  <a:gd name="T2" fmla="*/ 47 w 68"/>
                  <a:gd name="T3" fmla="*/ 42 h 48"/>
                  <a:gd name="T4" fmla="*/ 47 w 68"/>
                  <a:gd name="T5" fmla="*/ 33 h 48"/>
                  <a:gd name="T6" fmla="*/ 56 w 68"/>
                  <a:gd name="T7" fmla="*/ 27 h 48"/>
                  <a:gd name="T8" fmla="*/ 65 w 68"/>
                  <a:gd name="T9" fmla="*/ 15 h 48"/>
                  <a:gd name="T10" fmla="*/ 62 w 68"/>
                  <a:gd name="T11" fmla="*/ 0 h 48"/>
                  <a:gd name="T12" fmla="*/ 53 w 68"/>
                  <a:gd name="T13" fmla="*/ 0 h 48"/>
                  <a:gd name="T14" fmla="*/ 44 w 68"/>
                  <a:gd name="T15" fmla="*/ 3 h 48"/>
                  <a:gd name="T16" fmla="*/ 41 w 68"/>
                  <a:gd name="T17" fmla="*/ 6 h 48"/>
                  <a:gd name="T18" fmla="*/ 35 w 68"/>
                  <a:gd name="T19" fmla="*/ 3 h 48"/>
                  <a:gd name="T20" fmla="*/ 20 w 68"/>
                  <a:gd name="T21" fmla="*/ 3 h 48"/>
                  <a:gd name="T22" fmla="*/ 6 w 68"/>
                  <a:gd name="T23" fmla="*/ 9 h 48"/>
                  <a:gd name="T24" fmla="*/ 6 w 68"/>
                  <a:gd name="T25" fmla="*/ 21 h 48"/>
                  <a:gd name="T26" fmla="*/ 6 w 68"/>
                  <a:gd name="T27" fmla="*/ 27 h 48"/>
                  <a:gd name="T28" fmla="*/ 6 w 68"/>
                  <a:gd name="T29" fmla="*/ 30 h 48"/>
                  <a:gd name="T30" fmla="*/ 9 w 68"/>
                  <a:gd name="T31" fmla="*/ 39 h 48"/>
                  <a:gd name="T32" fmla="*/ 17 w 68"/>
                  <a:gd name="T33" fmla="*/ 39 h 48"/>
                  <a:gd name="T34" fmla="*/ 17 w 68"/>
                  <a:gd name="T35" fmla="*/ 45 h 48"/>
                  <a:gd name="T36" fmla="*/ 26 w 68"/>
                  <a:gd name="T37" fmla="*/ 48 h 48"/>
                  <a:gd name="T38" fmla="*/ 26 w 68"/>
                  <a:gd name="T39" fmla="*/ 48 h 48"/>
                  <a:gd name="T40" fmla="*/ 35 w 68"/>
                  <a:gd name="T41"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48">
                    <a:moveTo>
                      <a:pt x="35" y="42"/>
                    </a:moveTo>
                    <a:cubicBezTo>
                      <a:pt x="35" y="39"/>
                      <a:pt x="44" y="45"/>
                      <a:pt x="47" y="42"/>
                    </a:cubicBezTo>
                    <a:cubicBezTo>
                      <a:pt x="47" y="39"/>
                      <a:pt x="38" y="30"/>
                      <a:pt x="47" y="33"/>
                    </a:cubicBezTo>
                    <a:cubicBezTo>
                      <a:pt x="56" y="36"/>
                      <a:pt x="53" y="30"/>
                      <a:pt x="56" y="27"/>
                    </a:cubicBezTo>
                    <a:cubicBezTo>
                      <a:pt x="59" y="24"/>
                      <a:pt x="68" y="21"/>
                      <a:pt x="65" y="15"/>
                    </a:cubicBezTo>
                    <a:cubicBezTo>
                      <a:pt x="62" y="9"/>
                      <a:pt x="62" y="3"/>
                      <a:pt x="62" y="0"/>
                    </a:cubicBezTo>
                    <a:cubicBezTo>
                      <a:pt x="59" y="3"/>
                      <a:pt x="56" y="3"/>
                      <a:pt x="53" y="0"/>
                    </a:cubicBezTo>
                    <a:cubicBezTo>
                      <a:pt x="50" y="0"/>
                      <a:pt x="44" y="0"/>
                      <a:pt x="44" y="3"/>
                    </a:cubicBezTo>
                    <a:cubicBezTo>
                      <a:pt x="44" y="9"/>
                      <a:pt x="41" y="9"/>
                      <a:pt x="41" y="6"/>
                    </a:cubicBezTo>
                    <a:cubicBezTo>
                      <a:pt x="41" y="6"/>
                      <a:pt x="38" y="6"/>
                      <a:pt x="35" y="3"/>
                    </a:cubicBezTo>
                    <a:cubicBezTo>
                      <a:pt x="32" y="0"/>
                      <a:pt x="23" y="3"/>
                      <a:pt x="20" y="3"/>
                    </a:cubicBezTo>
                    <a:cubicBezTo>
                      <a:pt x="17" y="0"/>
                      <a:pt x="9" y="3"/>
                      <a:pt x="6" y="9"/>
                    </a:cubicBezTo>
                    <a:cubicBezTo>
                      <a:pt x="0" y="15"/>
                      <a:pt x="6" y="15"/>
                      <a:pt x="6" y="21"/>
                    </a:cubicBezTo>
                    <a:cubicBezTo>
                      <a:pt x="6" y="24"/>
                      <a:pt x="9" y="24"/>
                      <a:pt x="6" y="27"/>
                    </a:cubicBezTo>
                    <a:cubicBezTo>
                      <a:pt x="6" y="27"/>
                      <a:pt x="6" y="27"/>
                      <a:pt x="6" y="30"/>
                    </a:cubicBezTo>
                    <a:cubicBezTo>
                      <a:pt x="12" y="30"/>
                      <a:pt x="9" y="36"/>
                      <a:pt x="9" y="39"/>
                    </a:cubicBezTo>
                    <a:cubicBezTo>
                      <a:pt x="12" y="42"/>
                      <a:pt x="14" y="39"/>
                      <a:pt x="17" y="39"/>
                    </a:cubicBezTo>
                    <a:cubicBezTo>
                      <a:pt x="20" y="39"/>
                      <a:pt x="14" y="45"/>
                      <a:pt x="17" y="45"/>
                    </a:cubicBezTo>
                    <a:cubicBezTo>
                      <a:pt x="20" y="48"/>
                      <a:pt x="26" y="45"/>
                      <a:pt x="26" y="48"/>
                    </a:cubicBezTo>
                    <a:cubicBezTo>
                      <a:pt x="26" y="48"/>
                      <a:pt x="26" y="48"/>
                      <a:pt x="26" y="48"/>
                    </a:cubicBezTo>
                    <a:cubicBezTo>
                      <a:pt x="29" y="48"/>
                      <a:pt x="35" y="45"/>
                      <a:pt x="35" y="4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89" name="Freeform 763"/>
              <p:cNvSpPr>
                <a:spLocks/>
              </p:cNvSpPr>
              <p:nvPr userDrawn="1"/>
            </p:nvSpPr>
            <p:spPr bwMode="auto">
              <a:xfrm>
                <a:off x="5252" y="-1398"/>
                <a:ext cx="106" cy="75"/>
              </a:xfrm>
              <a:custGeom>
                <a:avLst/>
                <a:gdLst>
                  <a:gd name="T0" fmla="*/ 35 w 68"/>
                  <a:gd name="T1" fmla="*/ 42 h 48"/>
                  <a:gd name="T2" fmla="*/ 47 w 68"/>
                  <a:gd name="T3" fmla="*/ 42 h 48"/>
                  <a:gd name="T4" fmla="*/ 47 w 68"/>
                  <a:gd name="T5" fmla="*/ 33 h 48"/>
                  <a:gd name="T6" fmla="*/ 56 w 68"/>
                  <a:gd name="T7" fmla="*/ 27 h 48"/>
                  <a:gd name="T8" fmla="*/ 65 w 68"/>
                  <a:gd name="T9" fmla="*/ 15 h 48"/>
                  <a:gd name="T10" fmla="*/ 62 w 68"/>
                  <a:gd name="T11" fmla="*/ 0 h 48"/>
                  <a:gd name="T12" fmla="*/ 53 w 68"/>
                  <a:gd name="T13" fmla="*/ 0 h 48"/>
                  <a:gd name="T14" fmla="*/ 44 w 68"/>
                  <a:gd name="T15" fmla="*/ 3 h 48"/>
                  <a:gd name="T16" fmla="*/ 41 w 68"/>
                  <a:gd name="T17" fmla="*/ 6 h 48"/>
                  <a:gd name="T18" fmla="*/ 35 w 68"/>
                  <a:gd name="T19" fmla="*/ 3 h 48"/>
                  <a:gd name="T20" fmla="*/ 20 w 68"/>
                  <a:gd name="T21" fmla="*/ 3 h 48"/>
                  <a:gd name="T22" fmla="*/ 6 w 68"/>
                  <a:gd name="T23" fmla="*/ 9 h 48"/>
                  <a:gd name="T24" fmla="*/ 6 w 68"/>
                  <a:gd name="T25" fmla="*/ 21 h 48"/>
                  <a:gd name="T26" fmla="*/ 6 w 68"/>
                  <a:gd name="T27" fmla="*/ 27 h 48"/>
                  <a:gd name="T28" fmla="*/ 6 w 68"/>
                  <a:gd name="T29" fmla="*/ 30 h 48"/>
                  <a:gd name="T30" fmla="*/ 9 w 68"/>
                  <a:gd name="T31" fmla="*/ 39 h 48"/>
                  <a:gd name="T32" fmla="*/ 17 w 68"/>
                  <a:gd name="T33" fmla="*/ 39 h 48"/>
                  <a:gd name="T34" fmla="*/ 17 w 68"/>
                  <a:gd name="T35" fmla="*/ 45 h 48"/>
                  <a:gd name="T36" fmla="*/ 26 w 68"/>
                  <a:gd name="T37" fmla="*/ 48 h 48"/>
                  <a:gd name="T38" fmla="*/ 26 w 68"/>
                  <a:gd name="T39" fmla="*/ 48 h 48"/>
                  <a:gd name="T40" fmla="*/ 35 w 68"/>
                  <a:gd name="T41" fmla="*/ 4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8" h="48">
                    <a:moveTo>
                      <a:pt x="35" y="42"/>
                    </a:moveTo>
                    <a:cubicBezTo>
                      <a:pt x="35" y="39"/>
                      <a:pt x="44" y="45"/>
                      <a:pt x="47" y="42"/>
                    </a:cubicBezTo>
                    <a:cubicBezTo>
                      <a:pt x="47" y="39"/>
                      <a:pt x="38" y="30"/>
                      <a:pt x="47" y="33"/>
                    </a:cubicBezTo>
                    <a:cubicBezTo>
                      <a:pt x="56" y="36"/>
                      <a:pt x="53" y="30"/>
                      <a:pt x="56" y="27"/>
                    </a:cubicBezTo>
                    <a:cubicBezTo>
                      <a:pt x="59" y="24"/>
                      <a:pt x="68" y="21"/>
                      <a:pt x="65" y="15"/>
                    </a:cubicBezTo>
                    <a:cubicBezTo>
                      <a:pt x="62" y="9"/>
                      <a:pt x="62" y="3"/>
                      <a:pt x="62" y="0"/>
                    </a:cubicBezTo>
                    <a:cubicBezTo>
                      <a:pt x="59" y="3"/>
                      <a:pt x="56" y="3"/>
                      <a:pt x="53" y="0"/>
                    </a:cubicBezTo>
                    <a:cubicBezTo>
                      <a:pt x="50" y="0"/>
                      <a:pt x="44" y="0"/>
                      <a:pt x="44" y="3"/>
                    </a:cubicBezTo>
                    <a:cubicBezTo>
                      <a:pt x="44" y="9"/>
                      <a:pt x="41" y="9"/>
                      <a:pt x="41" y="6"/>
                    </a:cubicBezTo>
                    <a:cubicBezTo>
                      <a:pt x="41" y="6"/>
                      <a:pt x="38" y="6"/>
                      <a:pt x="35" y="3"/>
                    </a:cubicBezTo>
                    <a:cubicBezTo>
                      <a:pt x="32" y="0"/>
                      <a:pt x="23" y="3"/>
                      <a:pt x="20" y="3"/>
                    </a:cubicBezTo>
                    <a:cubicBezTo>
                      <a:pt x="17" y="0"/>
                      <a:pt x="9" y="3"/>
                      <a:pt x="6" y="9"/>
                    </a:cubicBezTo>
                    <a:cubicBezTo>
                      <a:pt x="0" y="15"/>
                      <a:pt x="6" y="15"/>
                      <a:pt x="6" y="21"/>
                    </a:cubicBezTo>
                    <a:cubicBezTo>
                      <a:pt x="6" y="24"/>
                      <a:pt x="9" y="24"/>
                      <a:pt x="6" y="27"/>
                    </a:cubicBezTo>
                    <a:cubicBezTo>
                      <a:pt x="6" y="27"/>
                      <a:pt x="6" y="27"/>
                      <a:pt x="6" y="30"/>
                    </a:cubicBezTo>
                    <a:cubicBezTo>
                      <a:pt x="12" y="30"/>
                      <a:pt x="9" y="36"/>
                      <a:pt x="9" y="39"/>
                    </a:cubicBezTo>
                    <a:cubicBezTo>
                      <a:pt x="12" y="42"/>
                      <a:pt x="14" y="39"/>
                      <a:pt x="17" y="39"/>
                    </a:cubicBezTo>
                    <a:cubicBezTo>
                      <a:pt x="20" y="39"/>
                      <a:pt x="14" y="45"/>
                      <a:pt x="17" y="45"/>
                    </a:cubicBezTo>
                    <a:cubicBezTo>
                      <a:pt x="20" y="48"/>
                      <a:pt x="26" y="45"/>
                      <a:pt x="26" y="48"/>
                    </a:cubicBezTo>
                    <a:cubicBezTo>
                      <a:pt x="26" y="48"/>
                      <a:pt x="26" y="48"/>
                      <a:pt x="26" y="48"/>
                    </a:cubicBezTo>
                    <a:cubicBezTo>
                      <a:pt x="29" y="48"/>
                      <a:pt x="35" y="45"/>
                      <a:pt x="35" y="4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0" name="Freeform 764"/>
              <p:cNvSpPr>
                <a:spLocks/>
              </p:cNvSpPr>
              <p:nvPr userDrawn="1"/>
            </p:nvSpPr>
            <p:spPr bwMode="auto">
              <a:xfrm>
                <a:off x="5218" y="-1544"/>
                <a:ext cx="131" cy="159"/>
              </a:xfrm>
              <a:custGeom>
                <a:avLst/>
                <a:gdLst>
                  <a:gd name="T0" fmla="*/ 57 w 84"/>
                  <a:gd name="T1" fmla="*/ 45 h 102"/>
                  <a:gd name="T2" fmla="*/ 45 w 84"/>
                  <a:gd name="T3" fmla="*/ 36 h 102"/>
                  <a:gd name="T4" fmla="*/ 54 w 84"/>
                  <a:gd name="T5" fmla="*/ 30 h 102"/>
                  <a:gd name="T6" fmla="*/ 48 w 84"/>
                  <a:gd name="T7" fmla="*/ 21 h 102"/>
                  <a:gd name="T8" fmla="*/ 42 w 84"/>
                  <a:gd name="T9" fmla="*/ 21 h 102"/>
                  <a:gd name="T10" fmla="*/ 33 w 84"/>
                  <a:gd name="T11" fmla="*/ 15 h 102"/>
                  <a:gd name="T12" fmla="*/ 27 w 84"/>
                  <a:gd name="T13" fmla="*/ 6 h 102"/>
                  <a:gd name="T14" fmla="*/ 21 w 84"/>
                  <a:gd name="T15" fmla="*/ 0 h 102"/>
                  <a:gd name="T16" fmla="*/ 18 w 84"/>
                  <a:gd name="T17" fmla="*/ 0 h 102"/>
                  <a:gd name="T18" fmla="*/ 15 w 84"/>
                  <a:gd name="T19" fmla="*/ 6 h 102"/>
                  <a:gd name="T20" fmla="*/ 15 w 84"/>
                  <a:gd name="T21" fmla="*/ 15 h 102"/>
                  <a:gd name="T22" fmla="*/ 9 w 84"/>
                  <a:gd name="T23" fmla="*/ 9 h 102"/>
                  <a:gd name="T24" fmla="*/ 3 w 84"/>
                  <a:gd name="T25" fmla="*/ 18 h 102"/>
                  <a:gd name="T26" fmla="*/ 0 w 84"/>
                  <a:gd name="T27" fmla="*/ 21 h 102"/>
                  <a:gd name="T28" fmla="*/ 3 w 84"/>
                  <a:gd name="T29" fmla="*/ 24 h 102"/>
                  <a:gd name="T30" fmla="*/ 3 w 84"/>
                  <a:gd name="T31" fmla="*/ 33 h 102"/>
                  <a:gd name="T32" fmla="*/ 12 w 84"/>
                  <a:gd name="T33" fmla="*/ 36 h 102"/>
                  <a:gd name="T34" fmla="*/ 9 w 84"/>
                  <a:gd name="T35" fmla="*/ 48 h 102"/>
                  <a:gd name="T36" fmla="*/ 6 w 84"/>
                  <a:gd name="T37" fmla="*/ 57 h 102"/>
                  <a:gd name="T38" fmla="*/ 18 w 84"/>
                  <a:gd name="T39" fmla="*/ 54 h 102"/>
                  <a:gd name="T40" fmla="*/ 27 w 84"/>
                  <a:gd name="T41" fmla="*/ 51 h 102"/>
                  <a:gd name="T42" fmla="*/ 33 w 84"/>
                  <a:gd name="T43" fmla="*/ 51 h 102"/>
                  <a:gd name="T44" fmla="*/ 42 w 84"/>
                  <a:gd name="T45" fmla="*/ 51 h 102"/>
                  <a:gd name="T46" fmla="*/ 51 w 84"/>
                  <a:gd name="T47" fmla="*/ 57 h 102"/>
                  <a:gd name="T48" fmla="*/ 54 w 84"/>
                  <a:gd name="T49" fmla="*/ 72 h 102"/>
                  <a:gd name="T50" fmla="*/ 60 w 84"/>
                  <a:gd name="T51" fmla="*/ 84 h 102"/>
                  <a:gd name="T52" fmla="*/ 60 w 84"/>
                  <a:gd name="T53" fmla="*/ 96 h 102"/>
                  <a:gd name="T54" fmla="*/ 63 w 84"/>
                  <a:gd name="T55" fmla="*/ 99 h 102"/>
                  <a:gd name="T56" fmla="*/ 66 w 84"/>
                  <a:gd name="T57" fmla="*/ 96 h 102"/>
                  <a:gd name="T58" fmla="*/ 75 w 84"/>
                  <a:gd name="T59" fmla="*/ 93 h 102"/>
                  <a:gd name="T60" fmla="*/ 84 w 84"/>
                  <a:gd name="T61" fmla="*/ 93 h 102"/>
                  <a:gd name="T62" fmla="*/ 84 w 84"/>
                  <a:gd name="T63" fmla="*/ 87 h 102"/>
                  <a:gd name="T64" fmla="*/ 81 w 84"/>
                  <a:gd name="T65" fmla="*/ 78 h 102"/>
                  <a:gd name="T66" fmla="*/ 72 w 84"/>
                  <a:gd name="T67" fmla="*/ 69 h 102"/>
                  <a:gd name="T68" fmla="*/ 63 w 84"/>
                  <a:gd name="T69" fmla="*/ 57 h 102"/>
                  <a:gd name="T70" fmla="*/ 57 w 84"/>
                  <a:gd name="T71"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2">
                    <a:moveTo>
                      <a:pt x="57" y="45"/>
                    </a:moveTo>
                    <a:cubicBezTo>
                      <a:pt x="57" y="42"/>
                      <a:pt x="42" y="39"/>
                      <a:pt x="45" y="36"/>
                    </a:cubicBezTo>
                    <a:cubicBezTo>
                      <a:pt x="45" y="33"/>
                      <a:pt x="54" y="33"/>
                      <a:pt x="54" y="30"/>
                    </a:cubicBezTo>
                    <a:cubicBezTo>
                      <a:pt x="54" y="27"/>
                      <a:pt x="51" y="27"/>
                      <a:pt x="48" y="21"/>
                    </a:cubicBezTo>
                    <a:cubicBezTo>
                      <a:pt x="48" y="18"/>
                      <a:pt x="45" y="18"/>
                      <a:pt x="42" y="21"/>
                    </a:cubicBezTo>
                    <a:cubicBezTo>
                      <a:pt x="39" y="21"/>
                      <a:pt x="33" y="18"/>
                      <a:pt x="33" y="15"/>
                    </a:cubicBezTo>
                    <a:cubicBezTo>
                      <a:pt x="33" y="12"/>
                      <a:pt x="27" y="9"/>
                      <a:pt x="27" y="6"/>
                    </a:cubicBezTo>
                    <a:cubicBezTo>
                      <a:pt x="27" y="3"/>
                      <a:pt x="24" y="3"/>
                      <a:pt x="21" y="0"/>
                    </a:cubicBezTo>
                    <a:cubicBezTo>
                      <a:pt x="18" y="0"/>
                      <a:pt x="18" y="0"/>
                      <a:pt x="18" y="0"/>
                    </a:cubicBezTo>
                    <a:cubicBezTo>
                      <a:pt x="15" y="6"/>
                      <a:pt x="15" y="6"/>
                      <a:pt x="15" y="6"/>
                    </a:cubicBezTo>
                    <a:cubicBezTo>
                      <a:pt x="18" y="6"/>
                      <a:pt x="18" y="15"/>
                      <a:pt x="15" y="15"/>
                    </a:cubicBezTo>
                    <a:cubicBezTo>
                      <a:pt x="12" y="15"/>
                      <a:pt x="12" y="9"/>
                      <a:pt x="9" y="9"/>
                    </a:cubicBezTo>
                    <a:cubicBezTo>
                      <a:pt x="9" y="9"/>
                      <a:pt x="3" y="15"/>
                      <a:pt x="3" y="18"/>
                    </a:cubicBezTo>
                    <a:cubicBezTo>
                      <a:pt x="3" y="21"/>
                      <a:pt x="3" y="21"/>
                      <a:pt x="0" y="21"/>
                    </a:cubicBezTo>
                    <a:cubicBezTo>
                      <a:pt x="0" y="24"/>
                      <a:pt x="3" y="24"/>
                      <a:pt x="3" y="24"/>
                    </a:cubicBezTo>
                    <a:cubicBezTo>
                      <a:pt x="3" y="27"/>
                      <a:pt x="3" y="30"/>
                      <a:pt x="3" y="33"/>
                    </a:cubicBezTo>
                    <a:cubicBezTo>
                      <a:pt x="6" y="36"/>
                      <a:pt x="9" y="30"/>
                      <a:pt x="12" y="36"/>
                    </a:cubicBezTo>
                    <a:cubicBezTo>
                      <a:pt x="12" y="42"/>
                      <a:pt x="9" y="42"/>
                      <a:pt x="9" y="48"/>
                    </a:cubicBezTo>
                    <a:cubicBezTo>
                      <a:pt x="9" y="54"/>
                      <a:pt x="6" y="51"/>
                      <a:pt x="6" y="57"/>
                    </a:cubicBezTo>
                    <a:cubicBezTo>
                      <a:pt x="9" y="60"/>
                      <a:pt x="15" y="57"/>
                      <a:pt x="18" y="54"/>
                    </a:cubicBezTo>
                    <a:cubicBezTo>
                      <a:pt x="21" y="51"/>
                      <a:pt x="24" y="51"/>
                      <a:pt x="27" y="51"/>
                    </a:cubicBezTo>
                    <a:cubicBezTo>
                      <a:pt x="27" y="54"/>
                      <a:pt x="33" y="54"/>
                      <a:pt x="33" y="51"/>
                    </a:cubicBezTo>
                    <a:cubicBezTo>
                      <a:pt x="33" y="48"/>
                      <a:pt x="42" y="48"/>
                      <a:pt x="42" y="51"/>
                    </a:cubicBezTo>
                    <a:cubicBezTo>
                      <a:pt x="45" y="54"/>
                      <a:pt x="48" y="57"/>
                      <a:pt x="51" y="57"/>
                    </a:cubicBezTo>
                    <a:cubicBezTo>
                      <a:pt x="54" y="60"/>
                      <a:pt x="48" y="72"/>
                      <a:pt x="54" y="72"/>
                    </a:cubicBezTo>
                    <a:cubicBezTo>
                      <a:pt x="57" y="72"/>
                      <a:pt x="60" y="78"/>
                      <a:pt x="60" y="84"/>
                    </a:cubicBezTo>
                    <a:cubicBezTo>
                      <a:pt x="60" y="90"/>
                      <a:pt x="63" y="93"/>
                      <a:pt x="60" y="96"/>
                    </a:cubicBezTo>
                    <a:cubicBezTo>
                      <a:pt x="60" y="99"/>
                      <a:pt x="63" y="99"/>
                      <a:pt x="63" y="99"/>
                    </a:cubicBezTo>
                    <a:cubicBezTo>
                      <a:pt x="63" y="102"/>
                      <a:pt x="66" y="102"/>
                      <a:pt x="66" y="96"/>
                    </a:cubicBezTo>
                    <a:cubicBezTo>
                      <a:pt x="66" y="93"/>
                      <a:pt x="72" y="93"/>
                      <a:pt x="75" y="93"/>
                    </a:cubicBezTo>
                    <a:cubicBezTo>
                      <a:pt x="78" y="96"/>
                      <a:pt x="81" y="96"/>
                      <a:pt x="84" y="93"/>
                    </a:cubicBezTo>
                    <a:cubicBezTo>
                      <a:pt x="84" y="90"/>
                      <a:pt x="84" y="90"/>
                      <a:pt x="84" y="87"/>
                    </a:cubicBezTo>
                    <a:cubicBezTo>
                      <a:pt x="84" y="84"/>
                      <a:pt x="84" y="78"/>
                      <a:pt x="81" y="78"/>
                    </a:cubicBezTo>
                    <a:cubicBezTo>
                      <a:pt x="78" y="75"/>
                      <a:pt x="72" y="72"/>
                      <a:pt x="72" y="69"/>
                    </a:cubicBezTo>
                    <a:cubicBezTo>
                      <a:pt x="69" y="63"/>
                      <a:pt x="63" y="60"/>
                      <a:pt x="63" y="57"/>
                    </a:cubicBezTo>
                    <a:cubicBezTo>
                      <a:pt x="60" y="51"/>
                      <a:pt x="57" y="48"/>
                      <a:pt x="57"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1" name="Freeform 765"/>
              <p:cNvSpPr>
                <a:spLocks/>
              </p:cNvSpPr>
              <p:nvPr userDrawn="1"/>
            </p:nvSpPr>
            <p:spPr bwMode="auto">
              <a:xfrm>
                <a:off x="5218" y="-1544"/>
                <a:ext cx="131" cy="159"/>
              </a:xfrm>
              <a:custGeom>
                <a:avLst/>
                <a:gdLst>
                  <a:gd name="T0" fmla="*/ 57 w 84"/>
                  <a:gd name="T1" fmla="*/ 45 h 102"/>
                  <a:gd name="T2" fmla="*/ 45 w 84"/>
                  <a:gd name="T3" fmla="*/ 36 h 102"/>
                  <a:gd name="T4" fmla="*/ 54 w 84"/>
                  <a:gd name="T5" fmla="*/ 30 h 102"/>
                  <a:gd name="T6" fmla="*/ 48 w 84"/>
                  <a:gd name="T7" fmla="*/ 21 h 102"/>
                  <a:gd name="T8" fmla="*/ 42 w 84"/>
                  <a:gd name="T9" fmla="*/ 21 h 102"/>
                  <a:gd name="T10" fmla="*/ 33 w 84"/>
                  <a:gd name="T11" fmla="*/ 15 h 102"/>
                  <a:gd name="T12" fmla="*/ 27 w 84"/>
                  <a:gd name="T13" fmla="*/ 6 h 102"/>
                  <a:gd name="T14" fmla="*/ 21 w 84"/>
                  <a:gd name="T15" fmla="*/ 0 h 102"/>
                  <a:gd name="T16" fmla="*/ 18 w 84"/>
                  <a:gd name="T17" fmla="*/ 0 h 102"/>
                  <a:gd name="T18" fmla="*/ 15 w 84"/>
                  <a:gd name="T19" fmla="*/ 6 h 102"/>
                  <a:gd name="T20" fmla="*/ 15 w 84"/>
                  <a:gd name="T21" fmla="*/ 15 h 102"/>
                  <a:gd name="T22" fmla="*/ 9 w 84"/>
                  <a:gd name="T23" fmla="*/ 9 h 102"/>
                  <a:gd name="T24" fmla="*/ 3 w 84"/>
                  <a:gd name="T25" fmla="*/ 18 h 102"/>
                  <a:gd name="T26" fmla="*/ 0 w 84"/>
                  <a:gd name="T27" fmla="*/ 21 h 102"/>
                  <a:gd name="T28" fmla="*/ 3 w 84"/>
                  <a:gd name="T29" fmla="*/ 24 h 102"/>
                  <a:gd name="T30" fmla="*/ 3 w 84"/>
                  <a:gd name="T31" fmla="*/ 33 h 102"/>
                  <a:gd name="T32" fmla="*/ 12 w 84"/>
                  <a:gd name="T33" fmla="*/ 36 h 102"/>
                  <a:gd name="T34" fmla="*/ 9 w 84"/>
                  <a:gd name="T35" fmla="*/ 48 h 102"/>
                  <a:gd name="T36" fmla="*/ 6 w 84"/>
                  <a:gd name="T37" fmla="*/ 57 h 102"/>
                  <a:gd name="T38" fmla="*/ 18 w 84"/>
                  <a:gd name="T39" fmla="*/ 54 h 102"/>
                  <a:gd name="T40" fmla="*/ 27 w 84"/>
                  <a:gd name="T41" fmla="*/ 51 h 102"/>
                  <a:gd name="T42" fmla="*/ 33 w 84"/>
                  <a:gd name="T43" fmla="*/ 51 h 102"/>
                  <a:gd name="T44" fmla="*/ 42 w 84"/>
                  <a:gd name="T45" fmla="*/ 51 h 102"/>
                  <a:gd name="T46" fmla="*/ 51 w 84"/>
                  <a:gd name="T47" fmla="*/ 57 h 102"/>
                  <a:gd name="T48" fmla="*/ 54 w 84"/>
                  <a:gd name="T49" fmla="*/ 72 h 102"/>
                  <a:gd name="T50" fmla="*/ 60 w 84"/>
                  <a:gd name="T51" fmla="*/ 84 h 102"/>
                  <a:gd name="T52" fmla="*/ 60 w 84"/>
                  <a:gd name="T53" fmla="*/ 96 h 102"/>
                  <a:gd name="T54" fmla="*/ 63 w 84"/>
                  <a:gd name="T55" fmla="*/ 99 h 102"/>
                  <a:gd name="T56" fmla="*/ 66 w 84"/>
                  <a:gd name="T57" fmla="*/ 96 h 102"/>
                  <a:gd name="T58" fmla="*/ 75 w 84"/>
                  <a:gd name="T59" fmla="*/ 93 h 102"/>
                  <a:gd name="T60" fmla="*/ 84 w 84"/>
                  <a:gd name="T61" fmla="*/ 93 h 102"/>
                  <a:gd name="T62" fmla="*/ 84 w 84"/>
                  <a:gd name="T63" fmla="*/ 87 h 102"/>
                  <a:gd name="T64" fmla="*/ 81 w 84"/>
                  <a:gd name="T65" fmla="*/ 78 h 102"/>
                  <a:gd name="T66" fmla="*/ 72 w 84"/>
                  <a:gd name="T67" fmla="*/ 69 h 102"/>
                  <a:gd name="T68" fmla="*/ 63 w 84"/>
                  <a:gd name="T69" fmla="*/ 57 h 102"/>
                  <a:gd name="T70" fmla="*/ 57 w 84"/>
                  <a:gd name="T71"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2">
                    <a:moveTo>
                      <a:pt x="57" y="45"/>
                    </a:moveTo>
                    <a:cubicBezTo>
                      <a:pt x="57" y="42"/>
                      <a:pt x="42" y="39"/>
                      <a:pt x="45" y="36"/>
                    </a:cubicBezTo>
                    <a:cubicBezTo>
                      <a:pt x="45" y="33"/>
                      <a:pt x="54" y="33"/>
                      <a:pt x="54" y="30"/>
                    </a:cubicBezTo>
                    <a:cubicBezTo>
                      <a:pt x="54" y="27"/>
                      <a:pt x="51" y="27"/>
                      <a:pt x="48" y="21"/>
                    </a:cubicBezTo>
                    <a:cubicBezTo>
                      <a:pt x="48" y="18"/>
                      <a:pt x="45" y="18"/>
                      <a:pt x="42" y="21"/>
                    </a:cubicBezTo>
                    <a:cubicBezTo>
                      <a:pt x="39" y="21"/>
                      <a:pt x="33" y="18"/>
                      <a:pt x="33" y="15"/>
                    </a:cubicBezTo>
                    <a:cubicBezTo>
                      <a:pt x="33" y="12"/>
                      <a:pt x="27" y="9"/>
                      <a:pt x="27" y="6"/>
                    </a:cubicBezTo>
                    <a:cubicBezTo>
                      <a:pt x="27" y="3"/>
                      <a:pt x="24" y="3"/>
                      <a:pt x="21" y="0"/>
                    </a:cubicBezTo>
                    <a:cubicBezTo>
                      <a:pt x="18" y="0"/>
                      <a:pt x="18" y="0"/>
                      <a:pt x="18" y="0"/>
                    </a:cubicBezTo>
                    <a:cubicBezTo>
                      <a:pt x="15" y="6"/>
                      <a:pt x="15" y="6"/>
                      <a:pt x="15" y="6"/>
                    </a:cubicBezTo>
                    <a:cubicBezTo>
                      <a:pt x="18" y="6"/>
                      <a:pt x="18" y="15"/>
                      <a:pt x="15" y="15"/>
                    </a:cubicBezTo>
                    <a:cubicBezTo>
                      <a:pt x="12" y="15"/>
                      <a:pt x="12" y="9"/>
                      <a:pt x="9" y="9"/>
                    </a:cubicBezTo>
                    <a:cubicBezTo>
                      <a:pt x="9" y="9"/>
                      <a:pt x="3" y="15"/>
                      <a:pt x="3" y="18"/>
                    </a:cubicBezTo>
                    <a:cubicBezTo>
                      <a:pt x="3" y="21"/>
                      <a:pt x="3" y="21"/>
                      <a:pt x="0" y="21"/>
                    </a:cubicBezTo>
                    <a:cubicBezTo>
                      <a:pt x="0" y="24"/>
                      <a:pt x="3" y="24"/>
                      <a:pt x="3" y="24"/>
                    </a:cubicBezTo>
                    <a:cubicBezTo>
                      <a:pt x="3" y="27"/>
                      <a:pt x="3" y="30"/>
                      <a:pt x="3" y="33"/>
                    </a:cubicBezTo>
                    <a:cubicBezTo>
                      <a:pt x="6" y="36"/>
                      <a:pt x="9" y="30"/>
                      <a:pt x="12" y="36"/>
                    </a:cubicBezTo>
                    <a:cubicBezTo>
                      <a:pt x="12" y="42"/>
                      <a:pt x="9" y="42"/>
                      <a:pt x="9" y="48"/>
                    </a:cubicBezTo>
                    <a:cubicBezTo>
                      <a:pt x="9" y="54"/>
                      <a:pt x="6" y="51"/>
                      <a:pt x="6" y="57"/>
                    </a:cubicBezTo>
                    <a:cubicBezTo>
                      <a:pt x="9" y="60"/>
                      <a:pt x="15" y="57"/>
                      <a:pt x="18" y="54"/>
                    </a:cubicBezTo>
                    <a:cubicBezTo>
                      <a:pt x="21" y="51"/>
                      <a:pt x="24" y="51"/>
                      <a:pt x="27" y="51"/>
                    </a:cubicBezTo>
                    <a:cubicBezTo>
                      <a:pt x="27" y="54"/>
                      <a:pt x="33" y="54"/>
                      <a:pt x="33" y="51"/>
                    </a:cubicBezTo>
                    <a:cubicBezTo>
                      <a:pt x="33" y="48"/>
                      <a:pt x="42" y="48"/>
                      <a:pt x="42" y="51"/>
                    </a:cubicBezTo>
                    <a:cubicBezTo>
                      <a:pt x="45" y="54"/>
                      <a:pt x="48" y="57"/>
                      <a:pt x="51" y="57"/>
                    </a:cubicBezTo>
                    <a:cubicBezTo>
                      <a:pt x="54" y="60"/>
                      <a:pt x="48" y="72"/>
                      <a:pt x="54" y="72"/>
                    </a:cubicBezTo>
                    <a:cubicBezTo>
                      <a:pt x="57" y="72"/>
                      <a:pt x="60" y="78"/>
                      <a:pt x="60" y="84"/>
                    </a:cubicBezTo>
                    <a:cubicBezTo>
                      <a:pt x="60" y="90"/>
                      <a:pt x="63" y="93"/>
                      <a:pt x="60" y="96"/>
                    </a:cubicBezTo>
                    <a:cubicBezTo>
                      <a:pt x="60" y="99"/>
                      <a:pt x="63" y="99"/>
                      <a:pt x="63" y="99"/>
                    </a:cubicBezTo>
                    <a:cubicBezTo>
                      <a:pt x="63" y="102"/>
                      <a:pt x="66" y="102"/>
                      <a:pt x="66" y="96"/>
                    </a:cubicBezTo>
                    <a:cubicBezTo>
                      <a:pt x="66" y="93"/>
                      <a:pt x="72" y="93"/>
                      <a:pt x="75" y="93"/>
                    </a:cubicBezTo>
                    <a:cubicBezTo>
                      <a:pt x="78" y="96"/>
                      <a:pt x="81" y="96"/>
                      <a:pt x="84" y="93"/>
                    </a:cubicBezTo>
                    <a:cubicBezTo>
                      <a:pt x="84" y="90"/>
                      <a:pt x="84" y="90"/>
                      <a:pt x="84" y="87"/>
                    </a:cubicBezTo>
                    <a:cubicBezTo>
                      <a:pt x="84" y="84"/>
                      <a:pt x="84" y="78"/>
                      <a:pt x="81" y="78"/>
                    </a:cubicBezTo>
                    <a:cubicBezTo>
                      <a:pt x="78" y="75"/>
                      <a:pt x="72" y="72"/>
                      <a:pt x="72" y="69"/>
                    </a:cubicBezTo>
                    <a:cubicBezTo>
                      <a:pt x="69" y="63"/>
                      <a:pt x="63" y="60"/>
                      <a:pt x="63" y="57"/>
                    </a:cubicBezTo>
                    <a:cubicBezTo>
                      <a:pt x="60" y="51"/>
                      <a:pt x="57" y="48"/>
                      <a:pt x="57"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2" name="Freeform 766"/>
              <p:cNvSpPr>
                <a:spLocks/>
              </p:cNvSpPr>
              <p:nvPr userDrawn="1"/>
            </p:nvSpPr>
            <p:spPr bwMode="auto">
              <a:xfrm>
                <a:off x="5171" y="-1511"/>
                <a:ext cx="145" cy="271"/>
              </a:xfrm>
              <a:custGeom>
                <a:avLst/>
                <a:gdLst>
                  <a:gd name="T0" fmla="*/ 57 w 93"/>
                  <a:gd name="T1" fmla="*/ 93 h 174"/>
                  <a:gd name="T2" fmla="*/ 57 w 93"/>
                  <a:gd name="T3" fmla="*/ 81 h 174"/>
                  <a:gd name="T4" fmla="*/ 72 w 93"/>
                  <a:gd name="T5" fmla="*/ 75 h 174"/>
                  <a:gd name="T6" fmla="*/ 87 w 93"/>
                  <a:gd name="T7" fmla="*/ 75 h 174"/>
                  <a:gd name="T8" fmla="*/ 90 w 93"/>
                  <a:gd name="T9" fmla="*/ 75 h 174"/>
                  <a:gd name="T10" fmla="*/ 90 w 93"/>
                  <a:gd name="T11" fmla="*/ 63 h 174"/>
                  <a:gd name="T12" fmla="*/ 84 w 93"/>
                  <a:gd name="T13" fmla="*/ 51 h 174"/>
                  <a:gd name="T14" fmla="*/ 81 w 93"/>
                  <a:gd name="T15" fmla="*/ 36 h 174"/>
                  <a:gd name="T16" fmla="*/ 72 w 93"/>
                  <a:gd name="T17" fmla="*/ 30 h 174"/>
                  <a:gd name="T18" fmla="*/ 63 w 93"/>
                  <a:gd name="T19" fmla="*/ 30 h 174"/>
                  <a:gd name="T20" fmla="*/ 57 w 93"/>
                  <a:gd name="T21" fmla="*/ 30 h 174"/>
                  <a:gd name="T22" fmla="*/ 48 w 93"/>
                  <a:gd name="T23" fmla="*/ 33 h 174"/>
                  <a:gd name="T24" fmla="*/ 36 w 93"/>
                  <a:gd name="T25" fmla="*/ 36 h 174"/>
                  <a:gd name="T26" fmla="*/ 39 w 93"/>
                  <a:gd name="T27" fmla="*/ 27 h 174"/>
                  <a:gd name="T28" fmla="*/ 42 w 93"/>
                  <a:gd name="T29" fmla="*/ 15 h 174"/>
                  <a:gd name="T30" fmla="*/ 33 w 93"/>
                  <a:gd name="T31" fmla="*/ 12 h 174"/>
                  <a:gd name="T32" fmla="*/ 33 w 93"/>
                  <a:gd name="T33" fmla="*/ 3 h 174"/>
                  <a:gd name="T34" fmla="*/ 30 w 93"/>
                  <a:gd name="T35" fmla="*/ 0 h 174"/>
                  <a:gd name="T36" fmla="*/ 27 w 93"/>
                  <a:gd name="T37" fmla="*/ 3 h 174"/>
                  <a:gd name="T38" fmla="*/ 18 w 93"/>
                  <a:gd name="T39" fmla="*/ 9 h 174"/>
                  <a:gd name="T40" fmla="*/ 9 w 93"/>
                  <a:gd name="T41" fmla="*/ 12 h 174"/>
                  <a:gd name="T42" fmla="*/ 3 w 93"/>
                  <a:gd name="T43" fmla="*/ 15 h 174"/>
                  <a:gd name="T44" fmla="*/ 0 w 93"/>
                  <a:gd name="T45" fmla="*/ 33 h 174"/>
                  <a:gd name="T46" fmla="*/ 9 w 93"/>
                  <a:gd name="T47" fmla="*/ 42 h 174"/>
                  <a:gd name="T48" fmla="*/ 12 w 93"/>
                  <a:gd name="T49" fmla="*/ 51 h 174"/>
                  <a:gd name="T50" fmla="*/ 12 w 93"/>
                  <a:gd name="T51" fmla="*/ 57 h 174"/>
                  <a:gd name="T52" fmla="*/ 9 w 93"/>
                  <a:gd name="T53" fmla="*/ 63 h 174"/>
                  <a:gd name="T54" fmla="*/ 15 w 93"/>
                  <a:gd name="T55" fmla="*/ 75 h 174"/>
                  <a:gd name="T56" fmla="*/ 18 w 93"/>
                  <a:gd name="T57" fmla="*/ 90 h 174"/>
                  <a:gd name="T58" fmla="*/ 21 w 93"/>
                  <a:gd name="T59" fmla="*/ 99 h 174"/>
                  <a:gd name="T60" fmla="*/ 12 w 93"/>
                  <a:gd name="T61" fmla="*/ 117 h 174"/>
                  <a:gd name="T62" fmla="*/ 9 w 93"/>
                  <a:gd name="T63" fmla="*/ 132 h 174"/>
                  <a:gd name="T64" fmla="*/ 9 w 93"/>
                  <a:gd name="T65" fmla="*/ 144 h 174"/>
                  <a:gd name="T66" fmla="*/ 24 w 93"/>
                  <a:gd name="T67" fmla="*/ 159 h 174"/>
                  <a:gd name="T68" fmla="*/ 27 w 93"/>
                  <a:gd name="T69" fmla="*/ 162 h 174"/>
                  <a:gd name="T70" fmla="*/ 33 w 93"/>
                  <a:gd name="T71" fmla="*/ 165 h 174"/>
                  <a:gd name="T72" fmla="*/ 39 w 93"/>
                  <a:gd name="T73" fmla="*/ 171 h 174"/>
                  <a:gd name="T74" fmla="*/ 48 w 93"/>
                  <a:gd name="T75" fmla="*/ 171 h 174"/>
                  <a:gd name="T76" fmla="*/ 51 w 93"/>
                  <a:gd name="T77" fmla="*/ 168 h 174"/>
                  <a:gd name="T78" fmla="*/ 39 w 93"/>
                  <a:gd name="T79" fmla="*/ 159 h 174"/>
                  <a:gd name="T80" fmla="*/ 30 w 93"/>
                  <a:gd name="T81" fmla="*/ 147 h 174"/>
                  <a:gd name="T82" fmla="*/ 27 w 93"/>
                  <a:gd name="T83" fmla="*/ 135 h 174"/>
                  <a:gd name="T84" fmla="*/ 21 w 93"/>
                  <a:gd name="T85" fmla="*/ 132 h 174"/>
                  <a:gd name="T86" fmla="*/ 21 w 93"/>
                  <a:gd name="T87" fmla="*/ 114 h 174"/>
                  <a:gd name="T88" fmla="*/ 27 w 93"/>
                  <a:gd name="T89" fmla="*/ 90 h 174"/>
                  <a:gd name="T90" fmla="*/ 36 w 93"/>
                  <a:gd name="T91" fmla="*/ 87 h 174"/>
                  <a:gd name="T92" fmla="*/ 45 w 93"/>
                  <a:gd name="T93" fmla="*/ 93 h 174"/>
                  <a:gd name="T94" fmla="*/ 57 w 93"/>
                  <a:gd name="T95" fmla="*/ 99 h 174"/>
                  <a:gd name="T96" fmla="*/ 57 w 93"/>
                  <a:gd name="T97" fmla="*/ 102 h 174"/>
                  <a:gd name="T98" fmla="*/ 57 w 93"/>
                  <a:gd name="T99" fmla="*/ 99 h 174"/>
                  <a:gd name="T100" fmla="*/ 57 w 93"/>
                  <a:gd name="T101" fmla="*/ 9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174">
                    <a:moveTo>
                      <a:pt x="57" y="93"/>
                    </a:moveTo>
                    <a:cubicBezTo>
                      <a:pt x="57" y="87"/>
                      <a:pt x="51" y="87"/>
                      <a:pt x="57" y="81"/>
                    </a:cubicBezTo>
                    <a:cubicBezTo>
                      <a:pt x="60" y="75"/>
                      <a:pt x="69" y="72"/>
                      <a:pt x="72" y="75"/>
                    </a:cubicBezTo>
                    <a:cubicBezTo>
                      <a:pt x="75" y="75"/>
                      <a:pt x="84" y="72"/>
                      <a:pt x="87" y="75"/>
                    </a:cubicBezTo>
                    <a:cubicBezTo>
                      <a:pt x="87" y="75"/>
                      <a:pt x="87" y="75"/>
                      <a:pt x="90" y="75"/>
                    </a:cubicBezTo>
                    <a:cubicBezTo>
                      <a:pt x="93" y="72"/>
                      <a:pt x="90" y="69"/>
                      <a:pt x="90" y="63"/>
                    </a:cubicBezTo>
                    <a:cubicBezTo>
                      <a:pt x="90" y="57"/>
                      <a:pt x="87" y="51"/>
                      <a:pt x="84" y="51"/>
                    </a:cubicBezTo>
                    <a:cubicBezTo>
                      <a:pt x="78" y="51"/>
                      <a:pt x="84" y="39"/>
                      <a:pt x="81" y="36"/>
                    </a:cubicBezTo>
                    <a:cubicBezTo>
                      <a:pt x="78" y="36"/>
                      <a:pt x="75" y="33"/>
                      <a:pt x="72" y="30"/>
                    </a:cubicBezTo>
                    <a:cubicBezTo>
                      <a:pt x="72" y="27"/>
                      <a:pt x="63" y="27"/>
                      <a:pt x="63" y="30"/>
                    </a:cubicBezTo>
                    <a:cubicBezTo>
                      <a:pt x="63" y="33"/>
                      <a:pt x="57" y="33"/>
                      <a:pt x="57" y="30"/>
                    </a:cubicBezTo>
                    <a:cubicBezTo>
                      <a:pt x="54" y="30"/>
                      <a:pt x="51" y="30"/>
                      <a:pt x="48" y="33"/>
                    </a:cubicBezTo>
                    <a:cubicBezTo>
                      <a:pt x="45" y="36"/>
                      <a:pt x="39" y="39"/>
                      <a:pt x="36" y="36"/>
                    </a:cubicBezTo>
                    <a:cubicBezTo>
                      <a:pt x="36" y="30"/>
                      <a:pt x="39" y="33"/>
                      <a:pt x="39" y="27"/>
                    </a:cubicBezTo>
                    <a:cubicBezTo>
                      <a:pt x="39" y="21"/>
                      <a:pt x="42" y="21"/>
                      <a:pt x="42" y="15"/>
                    </a:cubicBezTo>
                    <a:cubicBezTo>
                      <a:pt x="39" y="9"/>
                      <a:pt x="36" y="15"/>
                      <a:pt x="33" y="12"/>
                    </a:cubicBezTo>
                    <a:cubicBezTo>
                      <a:pt x="33" y="9"/>
                      <a:pt x="33" y="6"/>
                      <a:pt x="33" y="3"/>
                    </a:cubicBezTo>
                    <a:cubicBezTo>
                      <a:pt x="33" y="3"/>
                      <a:pt x="30" y="3"/>
                      <a:pt x="30" y="0"/>
                    </a:cubicBezTo>
                    <a:cubicBezTo>
                      <a:pt x="30" y="3"/>
                      <a:pt x="30" y="3"/>
                      <a:pt x="27" y="3"/>
                    </a:cubicBezTo>
                    <a:cubicBezTo>
                      <a:pt x="27" y="6"/>
                      <a:pt x="21" y="6"/>
                      <a:pt x="18" y="9"/>
                    </a:cubicBezTo>
                    <a:cubicBezTo>
                      <a:pt x="15" y="12"/>
                      <a:pt x="12" y="12"/>
                      <a:pt x="9" y="12"/>
                    </a:cubicBezTo>
                    <a:cubicBezTo>
                      <a:pt x="9" y="12"/>
                      <a:pt x="3" y="12"/>
                      <a:pt x="3" y="15"/>
                    </a:cubicBezTo>
                    <a:cubicBezTo>
                      <a:pt x="3" y="18"/>
                      <a:pt x="0" y="30"/>
                      <a:pt x="0" y="33"/>
                    </a:cubicBezTo>
                    <a:cubicBezTo>
                      <a:pt x="0" y="36"/>
                      <a:pt x="6" y="42"/>
                      <a:pt x="9" y="42"/>
                    </a:cubicBezTo>
                    <a:cubicBezTo>
                      <a:pt x="12" y="45"/>
                      <a:pt x="9" y="48"/>
                      <a:pt x="12" y="51"/>
                    </a:cubicBezTo>
                    <a:cubicBezTo>
                      <a:pt x="15" y="51"/>
                      <a:pt x="12" y="57"/>
                      <a:pt x="12" y="57"/>
                    </a:cubicBezTo>
                    <a:cubicBezTo>
                      <a:pt x="9" y="54"/>
                      <a:pt x="12" y="63"/>
                      <a:pt x="9" y="63"/>
                    </a:cubicBezTo>
                    <a:cubicBezTo>
                      <a:pt x="6" y="66"/>
                      <a:pt x="9" y="72"/>
                      <a:pt x="15" y="75"/>
                    </a:cubicBezTo>
                    <a:cubicBezTo>
                      <a:pt x="18" y="81"/>
                      <a:pt x="18" y="87"/>
                      <a:pt x="18" y="90"/>
                    </a:cubicBezTo>
                    <a:cubicBezTo>
                      <a:pt x="18" y="93"/>
                      <a:pt x="21" y="93"/>
                      <a:pt x="21" y="99"/>
                    </a:cubicBezTo>
                    <a:cubicBezTo>
                      <a:pt x="21" y="99"/>
                      <a:pt x="15" y="117"/>
                      <a:pt x="12" y="117"/>
                    </a:cubicBezTo>
                    <a:cubicBezTo>
                      <a:pt x="12" y="123"/>
                      <a:pt x="9" y="129"/>
                      <a:pt x="9" y="132"/>
                    </a:cubicBezTo>
                    <a:cubicBezTo>
                      <a:pt x="9" y="138"/>
                      <a:pt x="6" y="144"/>
                      <a:pt x="9" y="144"/>
                    </a:cubicBezTo>
                    <a:cubicBezTo>
                      <a:pt x="12" y="144"/>
                      <a:pt x="18" y="150"/>
                      <a:pt x="24" y="159"/>
                    </a:cubicBezTo>
                    <a:cubicBezTo>
                      <a:pt x="27" y="159"/>
                      <a:pt x="27" y="162"/>
                      <a:pt x="27" y="162"/>
                    </a:cubicBezTo>
                    <a:cubicBezTo>
                      <a:pt x="30" y="162"/>
                      <a:pt x="33" y="162"/>
                      <a:pt x="33" y="165"/>
                    </a:cubicBezTo>
                    <a:cubicBezTo>
                      <a:pt x="39" y="165"/>
                      <a:pt x="39" y="168"/>
                      <a:pt x="39" y="171"/>
                    </a:cubicBezTo>
                    <a:cubicBezTo>
                      <a:pt x="39" y="174"/>
                      <a:pt x="48" y="171"/>
                      <a:pt x="48" y="171"/>
                    </a:cubicBezTo>
                    <a:cubicBezTo>
                      <a:pt x="51" y="171"/>
                      <a:pt x="48" y="168"/>
                      <a:pt x="51" y="168"/>
                    </a:cubicBezTo>
                    <a:cubicBezTo>
                      <a:pt x="51" y="165"/>
                      <a:pt x="45" y="159"/>
                      <a:pt x="39" y="159"/>
                    </a:cubicBezTo>
                    <a:cubicBezTo>
                      <a:pt x="33" y="159"/>
                      <a:pt x="30" y="150"/>
                      <a:pt x="30" y="147"/>
                    </a:cubicBezTo>
                    <a:cubicBezTo>
                      <a:pt x="33" y="144"/>
                      <a:pt x="27" y="141"/>
                      <a:pt x="27" y="135"/>
                    </a:cubicBezTo>
                    <a:cubicBezTo>
                      <a:pt x="27" y="132"/>
                      <a:pt x="24" y="132"/>
                      <a:pt x="21" y="132"/>
                    </a:cubicBezTo>
                    <a:cubicBezTo>
                      <a:pt x="15" y="129"/>
                      <a:pt x="21" y="117"/>
                      <a:pt x="21" y="114"/>
                    </a:cubicBezTo>
                    <a:cubicBezTo>
                      <a:pt x="21" y="108"/>
                      <a:pt x="30" y="93"/>
                      <a:pt x="27" y="90"/>
                    </a:cubicBezTo>
                    <a:cubicBezTo>
                      <a:pt x="24" y="87"/>
                      <a:pt x="36" y="81"/>
                      <a:pt x="36" y="87"/>
                    </a:cubicBezTo>
                    <a:cubicBezTo>
                      <a:pt x="39" y="93"/>
                      <a:pt x="39" y="93"/>
                      <a:pt x="45" y="93"/>
                    </a:cubicBezTo>
                    <a:cubicBezTo>
                      <a:pt x="51" y="93"/>
                      <a:pt x="51" y="99"/>
                      <a:pt x="57" y="99"/>
                    </a:cubicBezTo>
                    <a:cubicBezTo>
                      <a:pt x="57" y="99"/>
                      <a:pt x="57" y="99"/>
                      <a:pt x="57" y="102"/>
                    </a:cubicBezTo>
                    <a:cubicBezTo>
                      <a:pt x="57" y="99"/>
                      <a:pt x="57" y="99"/>
                      <a:pt x="57" y="99"/>
                    </a:cubicBezTo>
                    <a:cubicBezTo>
                      <a:pt x="60" y="96"/>
                      <a:pt x="57" y="96"/>
                      <a:pt x="57" y="9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3" name="Freeform 767"/>
              <p:cNvSpPr>
                <a:spLocks/>
              </p:cNvSpPr>
              <p:nvPr userDrawn="1"/>
            </p:nvSpPr>
            <p:spPr bwMode="auto">
              <a:xfrm>
                <a:off x="5171" y="-1511"/>
                <a:ext cx="145" cy="271"/>
              </a:xfrm>
              <a:custGeom>
                <a:avLst/>
                <a:gdLst>
                  <a:gd name="T0" fmla="*/ 57 w 93"/>
                  <a:gd name="T1" fmla="*/ 93 h 174"/>
                  <a:gd name="T2" fmla="*/ 57 w 93"/>
                  <a:gd name="T3" fmla="*/ 81 h 174"/>
                  <a:gd name="T4" fmla="*/ 72 w 93"/>
                  <a:gd name="T5" fmla="*/ 75 h 174"/>
                  <a:gd name="T6" fmla="*/ 87 w 93"/>
                  <a:gd name="T7" fmla="*/ 75 h 174"/>
                  <a:gd name="T8" fmla="*/ 90 w 93"/>
                  <a:gd name="T9" fmla="*/ 75 h 174"/>
                  <a:gd name="T10" fmla="*/ 90 w 93"/>
                  <a:gd name="T11" fmla="*/ 63 h 174"/>
                  <a:gd name="T12" fmla="*/ 84 w 93"/>
                  <a:gd name="T13" fmla="*/ 51 h 174"/>
                  <a:gd name="T14" fmla="*/ 81 w 93"/>
                  <a:gd name="T15" fmla="*/ 36 h 174"/>
                  <a:gd name="T16" fmla="*/ 72 w 93"/>
                  <a:gd name="T17" fmla="*/ 30 h 174"/>
                  <a:gd name="T18" fmla="*/ 63 w 93"/>
                  <a:gd name="T19" fmla="*/ 30 h 174"/>
                  <a:gd name="T20" fmla="*/ 57 w 93"/>
                  <a:gd name="T21" fmla="*/ 30 h 174"/>
                  <a:gd name="T22" fmla="*/ 48 w 93"/>
                  <a:gd name="T23" fmla="*/ 33 h 174"/>
                  <a:gd name="T24" fmla="*/ 36 w 93"/>
                  <a:gd name="T25" fmla="*/ 36 h 174"/>
                  <a:gd name="T26" fmla="*/ 39 w 93"/>
                  <a:gd name="T27" fmla="*/ 27 h 174"/>
                  <a:gd name="T28" fmla="*/ 42 w 93"/>
                  <a:gd name="T29" fmla="*/ 15 h 174"/>
                  <a:gd name="T30" fmla="*/ 33 w 93"/>
                  <a:gd name="T31" fmla="*/ 12 h 174"/>
                  <a:gd name="T32" fmla="*/ 33 w 93"/>
                  <a:gd name="T33" fmla="*/ 3 h 174"/>
                  <a:gd name="T34" fmla="*/ 30 w 93"/>
                  <a:gd name="T35" fmla="*/ 0 h 174"/>
                  <a:gd name="T36" fmla="*/ 27 w 93"/>
                  <a:gd name="T37" fmla="*/ 3 h 174"/>
                  <a:gd name="T38" fmla="*/ 18 w 93"/>
                  <a:gd name="T39" fmla="*/ 9 h 174"/>
                  <a:gd name="T40" fmla="*/ 9 w 93"/>
                  <a:gd name="T41" fmla="*/ 12 h 174"/>
                  <a:gd name="T42" fmla="*/ 3 w 93"/>
                  <a:gd name="T43" fmla="*/ 15 h 174"/>
                  <a:gd name="T44" fmla="*/ 0 w 93"/>
                  <a:gd name="T45" fmla="*/ 33 h 174"/>
                  <a:gd name="T46" fmla="*/ 9 w 93"/>
                  <a:gd name="T47" fmla="*/ 42 h 174"/>
                  <a:gd name="T48" fmla="*/ 12 w 93"/>
                  <a:gd name="T49" fmla="*/ 51 h 174"/>
                  <a:gd name="T50" fmla="*/ 12 w 93"/>
                  <a:gd name="T51" fmla="*/ 57 h 174"/>
                  <a:gd name="T52" fmla="*/ 9 w 93"/>
                  <a:gd name="T53" fmla="*/ 63 h 174"/>
                  <a:gd name="T54" fmla="*/ 15 w 93"/>
                  <a:gd name="T55" fmla="*/ 75 h 174"/>
                  <a:gd name="T56" fmla="*/ 18 w 93"/>
                  <a:gd name="T57" fmla="*/ 90 h 174"/>
                  <a:gd name="T58" fmla="*/ 21 w 93"/>
                  <a:gd name="T59" fmla="*/ 99 h 174"/>
                  <a:gd name="T60" fmla="*/ 12 w 93"/>
                  <a:gd name="T61" fmla="*/ 117 h 174"/>
                  <a:gd name="T62" fmla="*/ 9 w 93"/>
                  <a:gd name="T63" fmla="*/ 132 h 174"/>
                  <a:gd name="T64" fmla="*/ 9 w 93"/>
                  <a:gd name="T65" fmla="*/ 144 h 174"/>
                  <a:gd name="T66" fmla="*/ 24 w 93"/>
                  <a:gd name="T67" fmla="*/ 159 h 174"/>
                  <a:gd name="T68" fmla="*/ 27 w 93"/>
                  <a:gd name="T69" fmla="*/ 162 h 174"/>
                  <a:gd name="T70" fmla="*/ 33 w 93"/>
                  <a:gd name="T71" fmla="*/ 165 h 174"/>
                  <a:gd name="T72" fmla="*/ 39 w 93"/>
                  <a:gd name="T73" fmla="*/ 171 h 174"/>
                  <a:gd name="T74" fmla="*/ 48 w 93"/>
                  <a:gd name="T75" fmla="*/ 171 h 174"/>
                  <a:gd name="T76" fmla="*/ 51 w 93"/>
                  <a:gd name="T77" fmla="*/ 168 h 174"/>
                  <a:gd name="T78" fmla="*/ 39 w 93"/>
                  <a:gd name="T79" fmla="*/ 159 h 174"/>
                  <a:gd name="T80" fmla="*/ 30 w 93"/>
                  <a:gd name="T81" fmla="*/ 147 h 174"/>
                  <a:gd name="T82" fmla="*/ 27 w 93"/>
                  <a:gd name="T83" fmla="*/ 135 h 174"/>
                  <a:gd name="T84" fmla="*/ 21 w 93"/>
                  <a:gd name="T85" fmla="*/ 132 h 174"/>
                  <a:gd name="T86" fmla="*/ 21 w 93"/>
                  <a:gd name="T87" fmla="*/ 114 h 174"/>
                  <a:gd name="T88" fmla="*/ 27 w 93"/>
                  <a:gd name="T89" fmla="*/ 90 h 174"/>
                  <a:gd name="T90" fmla="*/ 36 w 93"/>
                  <a:gd name="T91" fmla="*/ 87 h 174"/>
                  <a:gd name="T92" fmla="*/ 45 w 93"/>
                  <a:gd name="T93" fmla="*/ 93 h 174"/>
                  <a:gd name="T94" fmla="*/ 57 w 93"/>
                  <a:gd name="T95" fmla="*/ 99 h 174"/>
                  <a:gd name="T96" fmla="*/ 57 w 93"/>
                  <a:gd name="T97" fmla="*/ 102 h 174"/>
                  <a:gd name="T98" fmla="*/ 57 w 93"/>
                  <a:gd name="T99" fmla="*/ 99 h 174"/>
                  <a:gd name="T100" fmla="*/ 57 w 93"/>
                  <a:gd name="T101" fmla="*/ 9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174">
                    <a:moveTo>
                      <a:pt x="57" y="93"/>
                    </a:moveTo>
                    <a:cubicBezTo>
                      <a:pt x="57" y="87"/>
                      <a:pt x="51" y="87"/>
                      <a:pt x="57" y="81"/>
                    </a:cubicBezTo>
                    <a:cubicBezTo>
                      <a:pt x="60" y="75"/>
                      <a:pt x="69" y="72"/>
                      <a:pt x="72" y="75"/>
                    </a:cubicBezTo>
                    <a:cubicBezTo>
                      <a:pt x="75" y="75"/>
                      <a:pt x="84" y="72"/>
                      <a:pt x="87" y="75"/>
                    </a:cubicBezTo>
                    <a:cubicBezTo>
                      <a:pt x="87" y="75"/>
                      <a:pt x="87" y="75"/>
                      <a:pt x="90" y="75"/>
                    </a:cubicBezTo>
                    <a:cubicBezTo>
                      <a:pt x="93" y="72"/>
                      <a:pt x="90" y="69"/>
                      <a:pt x="90" y="63"/>
                    </a:cubicBezTo>
                    <a:cubicBezTo>
                      <a:pt x="90" y="57"/>
                      <a:pt x="87" y="51"/>
                      <a:pt x="84" y="51"/>
                    </a:cubicBezTo>
                    <a:cubicBezTo>
                      <a:pt x="78" y="51"/>
                      <a:pt x="84" y="39"/>
                      <a:pt x="81" y="36"/>
                    </a:cubicBezTo>
                    <a:cubicBezTo>
                      <a:pt x="78" y="36"/>
                      <a:pt x="75" y="33"/>
                      <a:pt x="72" y="30"/>
                    </a:cubicBezTo>
                    <a:cubicBezTo>
                      <a:pt x="72" y="27"/>
                      <a:pt x="63" y="27"/>
                      <a:pt x="63" y="30"/>
                    </a:cubicBezTo>
                    <a:cubicBezTo>
                      <a:pt x="63" y="33"/>
                      <a:pt x="57" y="33"/>
                      <a:pt x="57" y="30"/>
                    </a:cubicBezTo>
                    <a:cubicBezTo>
                      <a:pt x="54" y="30"/>
                      <a:pt x="51" y="30"/>
                      <a:pt x="48" y="33"/>
                    </a:cubicBezTo>
                    <a:cubicBezTo>
                      <a:pt x="45" y="36"/>
                      <a:pt x="39" y="39"/>
                      <a:pt x="36" y="36"/>
                    </a:cubicBezTo>
                    <a:cubicBezTo>
                      <a:pt x="36" y="30"/>
                      <a:pt x="39" y="33"/>
                      <a:pt x="39" y="27"/>
                    </a:cubicBezTo>
                    <a:cubicBezTo>
                      <a:pt x="39" y="21"/>
                      <a:pt x="42" y="21"/>
                      <a:pt x="42" y="15"/>
                    </a:cubicBezTo>
                    <a:cubicBezTo>
                      <a:pt x="39" y="9"/>
                      <a:pt x="36" y="15"/>
                      <a:pt x="33" y="12"/>
                    </a:cubicBezTo>
                    <a:cubicBezTo>
                      <a:pt x="33" y="9"/>
                      <a:pt x="33" y="6"/>
                      <a:pt x="33" y="3"/>
                    </a:cubicBezTo>
                    <a:cubicBezTo>
                      <a:pt x="33" y="3"/>
                      <a:pt x="30" y="3"/>
                      <a:pt x="30" y="0"/>
                    </a:cubicBezTo>
                    <a:cubicBezTo>
                      <a:pt x="30" y="3"/>
                      <a:pt x="30" y="3"/>
                      <a:pt x="27" y="3"/>
                    </a:cubicBezTo>
                    <a:cubicBezTo>
                      <a:pt x="27" y="6"/>
                      <a:pt x="21" y="6"/>
                      <a:pt x="18" y="9"/>
                    </a:cubicBezTo>
                    <a:cubicBezTo>
                      <a:pt x="15" y="12"/>
                      <a:pt x="12" y="12"/>
                      <a:pt x="9" y="12"/>
                    </a:cubicBezTo>
                    <a:cubicBezTo>
                      <a:pt x="9" y="12"/>
                      <a:pt x="3" y="12"/>
                      <a:pt x="3" y="15"/>
                    </a:cubicBezTo>
                    <a:cubicBezTo>
                      <a:pt x="3" y="18"/>
                      <a:pt x="0" y="30"/>
                      <a:pt x="0" y="33"/>
                    </a:cubicBezTo>
                    <a:cubicBezTo>
                      <a:pt x="0" y="36"/>
                      <a:pt x="6" y="42"/>
                      <a:pt x="9" y="42"/>
                    </a:cubicBezTo>
                    <a:cubicBezTo>
                      <a:pt x="12" y="45"/>
                      <a:pt x="9" y="48"/>
                      <a:pt x="12" y="51"/>
                    </a:cubicBezTo>
                    <a:cubicBezTo>
                      <a:pt x="15" y="51"/>
                      <a:pt x="12" y="57"/>
                      <a:pt x="12" y="57"/>
                    </a:cubicBezTo>
                    <a:cubicBezTo>
                      <a:pt x="9" y="54"/>
                      <a:pt x="12" y="63"/>
                      <a:pt x="9" y="63"/>
                    </a:cubicBezTo>
                    <a:cubicBezTo>
                      <a:pt x="6" y="66"/>
                      <a:pt x="9" y="72"/>
                      <a:pt x="15" y="75"/>
                    </a:cubicBezTo>
                    <a:cubicBezTo>
                      <a:pt x="18" y="81"/>
                      <a:pt x="18" y="87"/>
                      <a:pt x="18" y="90"/>
                    </a:cubicBezTo>
                    <a:cubicBezTo>
                      <a:pt x="18" y="93"/>
                      <a:pt x="21" y="93"/>
                      <a:pt x="21" y="99"/>
                    </a:cubicBezTo>
                    <a:cubicBezTo>
                      <a:pt x="21" y="99"/>
                      <a:pt x="15" y="117"/>
                      <a:pt x="12" y="117"/>
                    </a:cubicBezTo>
                    <a:cubicBezTo>
                      <a:pt x="12" y="123"/>
                      <a:pt x="9" y="129"/>
                      <a:pt x="9" y="132"/>
                    </a:cubicBezTo>
                    <a:cubicBezTo>
                      <a:pt x="9" y="138"/>
                      <a:pt x="6" y="144"/>
                      <a:pt x="9" y="144"/>
                    </a:cubicBezTo>
                    <a:cubicBezTo>
                      <a:pt x="12" y="144"/>
                      <a:pt x="18" y="150"/>
                      <a:pt x="24" y="159"/>
                    </a:cubicBezTo>
                    <a:cubicBezTo>
                      <a:pt x="27" y="159"/>
                      <a:pt x="27" y="162"/>
                      <a:pt x="27" y="162"/>
                    </a:cubicBezTo>
                    <a:cubicBezTo>
                      <a:pt x="30" y="162"/>
                      <a:pt x="33" y="162"/>
                      <a:pt x="33" y="165"/>
                    </a:cubicBezTo>
                    <a:cubicBezTo>
                      <a:pt x="39" y="165"/>
                      <a:pt x="39" y="168"/>
                      <a:pt x="39" y="171"/>
                    </a:cubicBezTo>
                    <a:cubicBezTo>
                      <a:pt x="39" y="174"/>
                      <a:pt x="48" y="171"/>
                      <a:pt x="48" y="171"/>
                    </a:cubicBezTo>
                    <a:cubicBezTo>
                      <a:pt x="51" y="171"/>
                      <a:pt x="48" y="168"/>
                      <a:pt x="51" y="168"/>
                    </a:cubicBezTo>
                    <a:cubicBezTo>
                      <a:pt x="51" y="165"/>
                      <a:pt x="45" y="159"/>
                      <a:pt x="39" y="159"/>
                    </a:cubicBezTo>
                    <a:cubicBezTo>
                      <a:pt x="33" y="159"/>
                      <a:pt x="30" y="150"/>
                      <a:pt x="30" y="147"/>
                    </a:cubicBezTo>
                    <a:cubicBezTo>
                      <a:pt x="33" y="144"/>
                      <a:pt x="27" y="141"/>
                      <a:pt x="27" y="135"/>
                    </a:cubicBezTo>
                    <a:cubicBezTo>
                      <a:pt x="27" y="132"/>
                      <a:pt x="24" y="132"/>
                      <a:pt x="21" y="132"/>
                    </a:cubicBezTo>
                    <a:cubicBezTo>
                      <a:pt x="15" y="129"/>
                      <a:pt x="21" y="117"/>
                      <a:pt x="21" y="114"/>
                    </a:cubicBezTo>
                    <a:cubicBezTo>
                      <a:pt x="21" y="108"/>
                      <a:pt x="30" y="93"/>
                      <a:pt x="27" y="90"/>
                    </a:cubicBezTo>
                    <a:cubicBezTo>
                      <a:pt x="24" y="87"/>
                      <a:pt x="36" y="81"/>
                      <a:pt x="36" y="87"/>
                    </a:cubicBezTo>
                    <a:cubicBezTo>
                      <a:pt x="39" y="93"/>
                      <a:pt x="39" y="93"/>
                      <a:pt x="45" y="93"/>
                    </a:cubicBezTo>
                    <a:cubicBezTo>
                      <a:pt x="51" y="93"/>
                      <a:pt x="51" y="99"/>
                      <a:pt x="57" y="99"/>
                    </a:cubicBezTo>
                    <a:cubicBezTo>
                      <a:pt x="57" y="99"/>
                      <a:pt x="57" y="99"/>
                      <a:pt x="57" y="102"/>
                    </a:cubicBezTo>
                    <a:cubicBezTo>
                      <a:pt x="57" y="99"/>
                      <a:pt x="57" y="99"/>
                      <a:pt x="57" y="99"/>
                    </a:cubicBezTo>
                    <a:cubicBezTo>
                      <a:pt x="60" y="96"/>
                      <a:pt x="57" y="96"/>
                      <a:pt x="57" y="9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4" name="Freeform 768"/>
              <p:cNvSpPr>
                <a:spLocks/>
              </p:cNvSpPr>
              <p:nvPr userDrawn="1"/>
            </p:nvSpPr>
            <p:spPr bwMode="auto">
              <a:xfrm>
                <a:off x="3726" y="-2232"/>
                <a:ext cx="175" cy="140"/>
              </a:xfrm>
              <a:custGeom>
                <a:avLst/>
                <a:gdLst>
                  <a:gd name="T0" fmla="*/ 3 w 112"/>
                  <a:gd name="T1" fmla="*/ 18 h 90"/>
                  <a:gd name="T2" fmla="*/ 3 w 112"/>
                  <a:gd name="T3" fmla="*/ 30 h 90"/>
                  <a:gd name="T4" fmla="*/ 3 w 112"/>
                  <a:gd name="T5" fmla="*/ 36 h 90"/>
                  <a:gd name="T6" fmla="*/ 6 w 112"/>
                  <a:gd name="T7" fmla="*/ 42 h 90"/>
                  <a:gd name="T8" fmla="*/ 9 w 112"/>
                  <a:gd name="T9" fmla="*/ 48 h 90"/>
                  <a:gd name="T10" fmla="*/ 12 w 112"/>
                  <a:gd name="T11" fmla="*/ 57 h 90"/>
                  <a:gd name="T12" fmla="*/ 12 w 112"/>
                  <a:gd name="T13" fmla="*/ 60 h 90"/>
                  <a:gd name="T14" fmla="*/ 18 w 112"/>
                  <a:gd name="T15" fmla="*/ 66 h 90"/>
                  <a:gd name="T16" fmla="*/ 24 w 112"/>
                  <a:gd name="T17" fmla="*/ 69 h 90"/>
                  <a:gd name="T18" fmla="*/ 30 w 112"/>
                  <a:gd name="T19" fmla="*/ 72 h 90"/>
                  <a:gd name="T20" fmla="*/ 37 w 112"/>
                  <a:gd name="T21" fmla="*/ 72 h 90"/>
                  <a:gd name="T22" fmla="*/ 40 w 112"/>
                  <a:gd name="T23" fmla="*/ 75 h 90"/>
                  <a:gd name="T24" fmla="*/ 49 w 112"/>
                  <a:gd name="T25" fmla="*/ 78 h 90"/>
                  <a:gd name="T26" fmla="*/ 55 w 112"/>
                  <a:gd name="T27" fmla="*/ 84 h 90"/>
                  <a:gd name="T28" fmla="*/ 61 w 112"/>
                  <a:gd name="T29" fmla="*/ 84 h 90"/>
                  <a:gd name="T30" fmla="*/ 70 w 112"/>
                  <a:gd name="T31" fmla="*/ 84 h 90"/>
                  <a:gd name="T32" fmla="*/ 79 w 112"/>
                  <a:gd name="T33" fmla="*/ 84 h 90"/>
                  <a:gd name="T34" fmla="*/ 88 w 112"/>
                  <a:gd name="T35" fmla="*/ 87 h 90"/>
                  <a:gd name="T36" fmla="*/ 94 w 112"/>
                  <a:gd name="T37" fmla="*/ 90 h 90"/>
                  <a:gd name="T38" fmla="*/ 94 w 112"/>
                  <a:gd name="T39" fmla="*/ 81 h 90"/>
                  <a:gd name="T40" fmla="*/ 106 w 112"/>
                  <a:gd name="T41" fmla="*/ 72 h 90"/>
                  <a:gd name="T42" fmla="*/ 109 w 112"/>
                  <a:gd name="T43" fmla="*/ 66 h 90"/>
                  <a:gd name="T44" fmla="*/ 106 w 112"/>
                  <a:gd name="T45" fmla="*/ 57 h 90"/>
                  <a:gd name="T46" fmla="*/ 106 w 112"/>
                  <a:gd name="T47" fmla="*/ 45 h 90"/>
                  <a:gd name="T48" fmla="*/ 100 w 112"/>
                  <a:gd name="T49" fmla="*/ 39 h 90"/>
                  <a:gd name="T50" fmla="*/ 109 w 112"/>
                  <a:gd name="T51" fmla="*/ 36 h 90"/>
                  <a:gd name="T52" fmla="*/ 106 w 112"/>
                  <a:gd name="T53" fmla="*/ 24 h 90"/>
                  <a:gd name="T54" fmla="*/ 106 w 112"/>
                  <a:gd name="T55" fmla="*/ 15 h 90"/>
                  <a:gd name="T56" fmla="*/ 97 w 112"/>
                  <a:gd name="T57" fmla="*/ 9 h 90"/>
                  <a:gd name="T58" fmla="*/ 97 w 112"/>
                  <a:gd name="T59" fmla="*/ 9 h 90"/>
                  <a:gd name="T60" fmla="*/ 67 w 112"/>
                  <a:gd name="T61" fmla="*/ 9 h 90"/>
                  <a:gd name="T62" fmla="*/ 61 w 112"/>
                  <a:gd name="T63" fmla="*/ 6 h 90"/>
                  <a:gd name="T64" fmla="*/ 55 w 112"/>
                  <a:gd name="T65" fmla="*/ 9 h 90"/>
                  <a:gd name="T66" fmla="*/ 49 w 112"/>
                  <a:gd name="T67" fmla="*/ 3 h 90"/>
                  <a:gd name="T68" fmla="*/ 24 w 112"/>
                  <a:gd name="T69" fmla="*/ 9 h 90"/>
                  <a:gd name="T70" fmla="*/ 6 w 112"/>
                  <a:gd name="T71" fmla="*/ 15 h 90"/>
                  <a:gd name="T72" fmla="*/ 3 w 112"/>
                  <a:gd name="T73" fmla="*/ 18 h 90"/>
                  <a:gd name="T74" fmla="*/ 3 w 112"/>
                  <a:gd name="T75"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0">
                    <a:moveTo>
                      <a:pt x="3" y="18"/>
                    </a:moveTo>
                    <a:cubicBezTo>
                      <a:pt x="3" y="21"/>
                      <a:pt x="6" y="27"/>
                      <a:pt x="3" y="30"/>
                    </a:cubicBezTo>
                    <a:cubicBezTo>
                      <a:pt x="0" y="33"/>
                      <a:pt x="3" y="36"/>
                      <a:pt x="3" y="36"/>
                    </a:cubicBezTo>
                    <a:cubicBezTo>
                      <a:pt x="6" y="36"/>
                      <a:pt x="6" y="39"/>
                      <a:pt x="6" y="42"/>
                    </a:cubicBezTo>
                    <a:cubicBezTo>
                      <a:pt x="6" y="42"/>
                      <a:pt x="9" y="42"/>
                      <a:pt x="9" y="48"/>
                    </a:cubicBezTo>
                    <a:cubicBezTo>
                      <a:pt x="9" y="51"/>
                      <a:pt x="9" y="54"/>
                      <a:pt x="12" y="57"/>
                    </a:cubicBezTo>
                    <a:cubicBezTo>
                      <a:pt x="12" y="60"/>
                      <a:pt x="12" y="60"/>
                      <a:pt x="12" y="60"/>
                    </a:cubicBezTo>
                    <a:cubicBezTo>
                      <a:pt x="12" y="63"/>
                      <a:pt x="15" y="63"/>
                      <a:pt x="18" y="66"/>
                    </a:cubicBezTo>
                    <a:cubicBezTo>
                      <a:pt x="24" y="66"/>
                      <a:pt x="24" y="69"/>
                      <a:pt x="24" y="69"/>
                    </a:cubicBezTo>
                    <a:cubicBezTo>
                      <a:pt x="24" y="72"/>
                      <a:pt x="30" y="75"/>
                      <a:pt x="30" y="72"/>
                    </a:cubicBezTo>
                    <a:cubicBezTo>
                      <a:pt x="34" y="69"/>
                      <a:pt x="37" y="72"/>
                      <a:pt x="37" y="72"/>
                    </a:cubicBezTo>
                    <a:cubicBezTo>
                      <a:pt x="40" y="72"/>
                      <a:pt x="40" y="75"/>
                      <a:pt x="40" y="75"/>
                    </a:cubicBezTo>
                    <a:cubicBezTo>
                      <a:pt x="43" y="78"/>
                      <a:pt x="46" y="75"/>
                      <a:pt x="49" y="78"/>
                    </a:cubicBezTo>
                    <a:cubicBezTo>
                      <a:pt x="52" y="78"/>
                      <a:pt x="52" y="84"/>
                      <a:pt x="55" y="84"/>
                    </a:cubicBezTo>
                    <a:cubicBezTo>
                      <a:pt x="55" y="87"/>
                      <a:pt x="58" y="81"/>
                      <a:pt x="61" y="84"/>
                    </a:cubicBezTo>
                    <a:cubicBezTo>
                      <a:pt x="61" y="84"/>
                      <a:pt x="67" y="87"/>
                      <a:pt x="70" y="84"/>
                    </a:cubicBezTo>
                    <a:cubicBezTo>
                      <a:pt x="73" y="84"/>
                      <a:pt x="76" y="87"/>
                      <a:pt x="79" y="84"/>
                    </a:cubicBezTo>
                    <a:cubicBezTo>
                      <a:pt x="82" y="84"/>
                      <a:pt x="88" y="87"/>
                      <a:pt x="88" y="87"/>
                    </a:cubicBezTo>
                    <a:cubicBezTo>
                      <a:pt x="88" y="87"/>
                      <a:pt x="91" y="90"/>
                      <a:pt x="94" y="90"/>
                    </a:cubicBezTo>
                    <a:cubicBezTo>
                      <a:pt x="97" y="87"/>
                      <a:pt x="94" y="84"/>
                      <a:pt x="94" y="81"/>
                    </a:cubicBezTo>
                    <a:cubicBezTo>
                      <a:pt x="94" y="81"/>
                      <a:pt x="103" y="72"/>
                      <a:pt x="106" y="72"/>
                    </a:cubicBezTo>
                    <a:cubicBezTo>
                      <a:pt x="106" y="69"/>
                      <a:pt x="109" y="69"/>
                      <a:pt x="109" y="66"/>
                    </a:cubicBezTo>
                    <a:cubicBezTo>
                      <a:pt x="112" y="66"/>
                      <a:pt x="106" y="57"/>
                      <a:pt x="106" y="57"/>
                    </a:cubicBezTo>
                    <a:cubicBezTo>
                      <a:pt x="106" y="54"/>
                      <a:pt x="103" y="48"/>
                      <a:pt x="106" y="45"/>
                    </a:cubicBezTo>
                    <a:cubicBezTo>
                      <a:pt x="106" y="45"/>
                      <a:pt x="100" y="42"/>
                      <a:pt x="100" y="39"/>
                    </a:cubicBezTo>
                    <a:cubicBezTo>
                      <a:pt x="100" y="39"/>
                      <a:pt x="106" y="36"/>
                      <a:pt x="109" y="36"/>
                    </a:cubicBezTo>
                    <a:cubicBezTo>
                      <a:pt x="109" y="33"/>
                      <a:pt x="109" y="27"/>
                      <a:pt x="106" y="24"/>
                    </a:cubicBezTo>
                    <a:cubicBezTo>
                      <a:pt x="106" y="24"/>
                      <a:pt x="103" y="21"/>
                      <a:pt x="106" y="15"/>
                    </a:cubicBezTo>
                    <a:cubicBezTo>
                      <a:pt x="106" y="12"/>
                      <a:pt x="97" y="9"/>
                      <a:pt x="97" y="9"/>
                    </a:cubicBezTo>
                    <a:cubicBezTo>
                      <a:pt x="97" y="9"/>
                      <a:pt x="97" y="9"/>
                      <a:pt x="97" y="9"/>
                    </a:cubicBezTo>
                    <a:cubicBezTo>
                      <a:pt x="88" y="12"/>
                      <a:pt x="67" y="9"/>
                      <a:pt x="67" y="9"/>
                    </a:cubicBezTo>
                    <a:cubicBezTo>
                      <a:pt x="67" y="9"/>
                      <a:pt x="64" y="6"/>
                      <a:pt x="61" y="6"/>
                    </a:cubicBezTo>
                    <a:cubicBezTo>
                      <a:pt x="61" y="9"/>
                      <a:pt x="58" y="9"/>
                      <a:pt x="55" y="9"/>
                    </a:cubicBezTo>
                    <a:cubicBezTo>
                      <a:pt x="49" y="9"/>
                      <a:pt x="49" y="6"/>
                      <a:pt x="49" y="3"/>
                    </a:cubicBezTo>
                    <a:cubicBezTo>
                      <a:pt x="49" y="0"/>
                      <a:pt x="30" y="3"/>
                      <a:pt x="24" y="9"/>
                    </a:cubicBezTo>
                    <a:cubicBezTo>
                      <a:pt x="18" y="15"/>
                      <a:pt x="6" y="12"/>
                      <a:pt x="6" y="15"/>
                    </a:cubicBezTo>
                    <a:cubicBezTo>
                      <a:pt x="6" y="18"/>
                      <a:pt x="6" y="18"/>
                      <a:pt x="3" y="18"/>
                    </a:cubicBezTo>
                    <a:cubicBezTo>
                      <a:pt x="3" y="18"/>
                      <a:pt x="3" y="18"/>
                      <a:pt x="3"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5" name="Freeform 769"/>
              <p:cNvSpPr>
                <a:spLocks/>
              </p:cNvSpPr>
              <p:nvPr userDrawn="1"/>
            </p:nvSpPr>
            <p:spPr bwMode="auto">
              <a:xfrm>
                <a:off x="3726" y="-2232"/>
                <a:ext cx="175" cy="140"/>
              </a:xfrm>
              <a:custGeom>
                <a:avLst/>
                <a:gdLst>
                  <a:gd name="T0" fmla="*/ 3 w 112"/>
                  <a:gd name="T1" fmla="*/ 18 h 90"/>
                  <a:gd name="T2" fmla="*/ 3 w 112"/>
                  <a:gd name="T3" fmla="*/ 30 h 90"/>
                  <a:gd name="T4" fmla="*/ 3 w 112"/>
                  <a:gd name="T5" fmla="*/ 36 h 90"/>
                  <a:gd name="T6" fmla="*/ 6 w 112"/>
                  <a:gd name="T7" fmla="*/ 42 h 90"/>
                  <a:gd name="T8" fmla="*/ 9 w 112"/>
                  <a:gd name="T9" fmla="*/ 48 h 90"/>
                  <a:gd name="T10" fmla="*/ 12 w 112"/>
                  <a:gd name="T11" fmla="*/ 57 h 90"/>
                  <a:gd name="T12" fmla="*/ 12 w 112"/>
                  <a:gd name="T13" fmla="*/ 60 h 90"/>
                  <a:gd name="T14" fmla="*/ 18 w 112"/>
                  <a:gd name="T15" fmla="*/ 66 h 90"/>
                  <a:gd name="T16" fmla="*/ 24 w 112"/>
                  <a:gd name="T17" fmla="*/ 69 h 90"/>
                  <a:gd name="T18" fmla="*/ 30 w 112"/>
                  <a:gd name="T19" fmla="*/ 72 h 90"/>
                  <a:gd name="T20" fmla="*/ 37 w 112"/>
                  <a:gd name="T21" fmla="*/ 72 h 90"/>
                  <a:gd name="T22" fmla="*/ 40 w 112"/>
                  <a:gd name="T23" fmla="*/ 75 h 90"/>
                  <a:gd name="T24" fmla="*/ 49 w 112"/>
                  <a:gd name="T25" fmla="*/ 78 h 90"/>
                  <a:gd name="T26" fmla="*/ 55 w 112"/>
                  <a:gd name="T27" fmla="*/ 84 h 90"/>
                  <a:gd name="T28" fmla="*/ 61 w 112"/>
                  <a:gd name="T29" fmla="*/ 84 h 90"/>
                  <a:gd name="T30" fmla="*/ 70 w 112"/>
                  <a:gd name="T31" fmla="*/ 84 h 90"/>
                  <a:gd name="T32" fmla="*/ 79 w 112"/>
                  <a:gd name="T33" fmla="*/ 84 h 90"/>
                  <a:gd name="T34" fmla="*/ 88 w 112"/>
                  <a:gd name="T35" fmla="*/ 87 h 90"/>
                  <a:gd name="T36" fmla="*/ 94 w 112"/>
                  <a:gd name="T37" fmla="*/ 90 h 90"/>
                  <a:gd name="T38" fmla="*/ 94 w 112"/>
                  <a:gd name="T39" fmla="*/ 81 h 90"/>
                  <a:gd name="T40" fmla="*/ 106 w 112"/>
                  <a:gd name="T41" fmla="*/ 72 h 90"/>
                  <a:gd name="T42" fmla="*/ 109 w 112"/>
                  <a:gd name="T43" fmla="*/ 66 h 90"/>
                  <a:gd name="T44" fmla="*/ 106 w 112"/>
                  <a:gd name="T45" fmla="*/ 57 h 90"/>
                  <a:gd name="T46" fmla="*/ 106 w 112"/>
                  <a:gd name="T47" fmla="*/ 45 h 90"/>
                  <a:gd name="T48" fmla="*/ 100 w 112"/>
                  <a:gd name="T49" fmla="*/ 39 h 90"/>
                  <a:gd name="T50" fmla="*/ 109 w 112"/>
                  <a:gd name="T51" fmla="*/ 36 h 90"/>
                  <a:gd name="T52" fmla="*/ 106 w 112"/>
                  <a:gd name="T53" fmla="*/ 24 h 90"/>
                  <a:gd name="T54" fmla="*/ 106 w 112"/>
                  <a:gd name="T55" fmla="*/ 15 h 90"/>
                  <a:gd name="T56" fmla="*/ 97 w 112"/>
                  <a:gd name="T57" fmla="*/ 9 h 90"/>
                  <a:gd name="T58" fmla="*/ 97 w 112"/>
                  <a:gd name="T59" fmla="*/ 9 h 90"/>
                  <a:gd name="T60" fmla="*/ 67 w 112"/>
                  <a:gd name="T61" fmla="*/ 9 h 90"/>
                  <a:gd name="T62" fmla="*/ 61 w 112"/>
                  <a:gd name="T63" fmla="*/ 6 h 90"/>
                  <a:gd name="T64" fmla="*/ 55 w 112"/>
                  <a:gd name="T65" fmla="*/ 9 h 90"/>
                  <a:gd name="T66" fmla="*/ 49 w 112"/>
                  <a:gd name="T67" fmla="*/ 3 h 90"/>
                  <a:gd name="T68" fmla="*/ 24 w 112"/>
                  <a:gd name="T69" fmla="*/ 9 h 90"/>
                  <a:gd name="T70" fmla="*/ 6 w 112"/>
                  <a:gd name="T71" fmla="*/ 15 h 90"/>
                  <a:gd name="T72" fmla="*/ 3 w 112"/>
                  <a:gd name="T73" fmla="*/ 18 h 90"/>
                  <a:gd name="T74" fmla="*/ 3 w 112"/>
                  <a:gd name="T75"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90">
                    <a:moveTo>
                      <a:pt x="3" y="18"/>
                    </a:moveTo>
                    <a:cubicBezTo>
                      <a:pt x="3" y="21"/>
                      <a:pt x="6" y="27"/>
                      <a:pt x="3" y="30"/>
                    </a:cubicBezTo>
                    <a:cubicBezTo>
                      <a:pt x="0" y="33"/>
                      <a:pt x="3" y="36"/>
                      <a:pt x="3" y="36"/>
                    </a:cubicBezTo>
                    <a:cubicBezTo>
                      <a:pt x="6" y="36"/>
                      <a:pt x="6" y="39"/>
                      <a:pt x="6" y="42"/>
                    </a:cubicBezTo>
                    <a:cubicBezTo>
                      <a:pt x="6" y="42"/>
                      <a:pt x="9" y="42"/>
                      <a:pt x="9" y="48"/>
                    </a:cubicBezTo>
                    <a:cubicBezTo>
                      <a:pt x="9" y="51"/>
                      <a:pt x="9" y="54"/>
                      <a:pt x="12" y="57"/>
                    </a:cubicBezTo>
                    <a:cubicBezTo>
                      <a:pt x="12" y="60"/>
                      <a:pt x="12" y="60"/>
                      <a:pt x="12" y="60"/>
                    </a:cubicBezTo>
                    <a:cubicBezTo>
                      <a:pt x="12" y="63"/>
                      <a:pt x="15" y="63"/>
                      <a:pt x="18" y="66"/>
                    </a:cubicBezTo>
                    <a:cubicBezTo>
                      <a:pt x="24" y="66"/>
                      <a:pt x="24" y="69"/>
                      <a:pt x="24" y="69"/>
                    </a:cubicBezTo>
                    <a:cubicBezTo>
                      <a:pt x="24" y="72"/>
                      <a:pt x="30" y="75"/>
                      <a:pt x="30" y="72"/>
                    </a:cubicBezTo>
                    <a:cubicBezTo>
                      <a:pt x="34" y="69"/>
                      <a:pt x="37" y="72"/>
                      <a:pt x="37" y="72"/>
                    </a:cubicBezTo>
                    <a:cubicBezTo>
                      <a:pt x="40" y="72"/>
                      <a:pt x="40" y="75"/>
                      <a:pt x="40" y="75"/>
                    </a:cubicBezTo>
                    <a:cubicBezTo>
                      <a:pt x="43" y="78"/>
                      <a:pt x="46" y="75"/>
                      <a:pt x="49" y="78"/>
                    </a:cubicBezTo>
                    <a:cubicBezTo>
                      <a:pt x="52" y="78"/>
                      <a:pt x="52" y="84"/>
                      <a:pt x="55" y="84"/>
                    </a:cubicBezTo>
                    <a:cubicBezTo>
                      <a:pt x="55" y="87"/>
                      <a:pt x="58" y="81"/>
                      <a:pt x="61" y="84"/>
                    </a:cubicBezTo>
                    <a:cubicBezTo>
                      <a:pt x="61" y="84"/>
                      <a:pt x="67" y="87"/>
                      <a:pt x="70" y="84"/>
                    </a:cubicBezTo>
                    <a:cubicBezTo>
                      <a:pt x="73" y="84"/>
                      <a:pt x="76" y="87"/>
                      <a:pt x="79" y="84"/>
                    </a:cubicBezTo>
                    <a:cubicBezTo>
                      <a:pt x="82" y="84"/>
                      <a:pt x="88" y="87"/>
                      <a:pt x="88" y="87"/>
                    </a:cubicBezTo>
                    <a:cubicBezTo>
                      <a:pt x="88" y="87"/>
                      <a:pt x="91" y="90"/>
                      <a:pt x="94" y="90"/>
                    </a:cubicBezTo>
                    <a:cubicBezTo>
                      <a:pt x="97" y="87"/>
                      <a:pt x="94" y="84"/>
                      <a:pt x="94" y="81"/>
                    </a:cubicBezTo>
                    <a:cubicBezTo>
                      <a:pt x="94" y="81"/>
                      <a:pt x="103" y="72"/>
                      <a:pt x="106" y="72"/>
                    </a:cubicBezTo>
                    <a:cubicBezTo>
                      <a:pt x="106" y="69"/>
                      <a:pt x="109" y="69"/>
                      <a:pt x="109" y="66"/>
                    </a:cubicBezTo>
                    <a:cubicBezTo>
                      <a:pt x="112" y="66"/>
                      <a:pt x="106" y="57"/>
                      <a:pt x="106" y="57"/>
                    </a:cubicBezTo>
                    <a:cubicBezTo>
                      <a:pt x="106" y="54"/>
                      <a:pt x="103" y="48"/>
                      <a:pt x="106" y="45"/>
                    </a:cubicBezTo>
                    <a:cubicBezTo>
                      <a:pt x="106" y="45"/>
                      <a:pt x="100" y="42"/>
                      <a:pt x="100" y="39"/>
                    </a:cubicBezTo>
                    <a:cubicBezTo>
                      <a:pt x="100" y="39"/>
                      <a:pt x="106" y="36"/>
                      <a:pt x="109" y="36"/>
                    </a:cubicBezTo>
                    <a:cubicBezTo>
                      <a:pt x="109" y="33"/>
                      <a:pt x="109" y="27"/>
                      <a:pt x="106" y="24"/>
                    </a:cubicBezTo>
                    <a:cubicBezTo>
                      <a:pt x="106" y="24"/>
                      <a:pt x="103" y="21"/>
                      <a:pt x="106" y="15"/>
                    </a:cubicBezTo>
                    <a:cubicBezTo>
                      <a:pt x="106" y="12"/>
                      <a:pt x="97" y="9"/>
                      <a:pt x="97" y="9"/>
                    </a:cubicBezTo>
                    <a:cubicBezTo>
                      <a:pt x="97" y="9"/>
                      <a:pt x="97" y="9"/>
                      <a:pt x="97" y="9"/>
                    </a:cubicBezTo>
                    <a:cubicBezTo>
                      <a:pt x="88" y="12"/>
                      <a:pt x="67" y="9"/>
                      <a:pt x="67" y="9"/>
                    </a:cubicBezTo>
                    <a:cubicBezTo>
                      <a:pt x="67" y="9"/>
                      <a:pt x="64" y="6"/>
                      <a:pt x="61" y="6"/>
                    </a:cubicBezTo>
                    <a:cubicBezTo>
                      <a:pt x="61" y="9"/>
                      <a:pt x="58" y="9"/>
                      <a:pt x="55" y="9"/>
                    </a:cubicBezTo>
                    <a:cubicBezTo>
                      <a:pt x="49" y="9"/>
                      <a:pt x="49" y="6"/>
                      <a:pt x="49" y="3"/>
                    </a:cubicBezTo>
                    <a:cubicBezTo>
                      <a:pt x="49" y="0"/>
                      <a:pt x="30" y="3"/>
                      <a:pt x="24" y="9"/>
                    </a:cubicBezTo>
                    <a:cubicBezTo>
                      <a:pt x="18" y="15"/>
                      <a:pt x="6" y="12"/>
                      <a:pt x="6" y="15"/>
                    </a:cubicBezTo>
                    <a:cubicBezTo>
                      <a:pt x="6" y="18"/>
                      <a:pt x="6" y="18"/>
                      <a:pt x="3" y="18"/>
                    </a:cubicBezTo>
                    <a:cubicBezTo>
                      <a:pt x="3" y="18"/>
                      <a:pt x="3" y="18"/>
                      <a:pt x="3"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6" name="Freeform 770"/>
              <p:cNvSpPr>
                <a:spLocks/>
              </p:cNvSpPr>
              <p:nvPr userDrawn="1"/>
            </p:nvSpPr>
            <p:spPr bwMode="auto">
              <a:xfrm>
                <a:off x="3756" y="-2008"/>
                <a:ext cx="61" cy="61"/>
              </a:xfrm>
              <a:custGeom>
                <a:avLst/>
                <a:gdLst>
                  <a:gd name="T0" fmla="*/ 30 w 39"/>
                  <a:gd name="T1" fmla="*/ 36 h 39"/>
                  <a:gd name="T2" fmla="*/ 39 w 39"/>
                  <a:gd name="T3" fmla="*/ 24 h 39"/>
                  <a:gd name="T4" fmla="*/ 39 w 39"/>
                  <a:gd name="T5" fmla="*/ 9 h 39"/>
                  <a:gd name="T6" fmla="*/ 30 w 39"/>
                  <a:gd name="T7" fmla="*/ 3 h 39"/>
                  <a:gd name="T8" fmla="*/ 12 w 39"/>
                  <a:gd name="T9" fmla="*/ 3 h 39"/>
                  <a:gd name="T10" fmla="*/ 6 w 39"/>
                  <a:gd name="T11" fmla="*/ 3 h 39"/>
                  <a:gd name="T12" fmla="*/ 0 w 39"/>
                  <a:gd name="T13" fmla="*/ 6 h 39"/>
                  <a:gd name="T14" fmla="*/ 6 w 39"/>
                  <a:gd name="T15" fmla="*/ 15 h 39"/>
                  <a:gd name="T16" fmla="*/ 15 w 39"/>
                  <a:gd name="T17" fmla="*/ 24 h 39"/>
                  <a:gd name="T18" fmla="*/ 24 w 39"/>
                  <a:gd name="T19" fmla="*/ 36 h 39"/>
                  <a:gd name="T20" fmla="*/ 30 w 39"/>
                  <a:gd name="T21" fmla="*/ 39 h 39"/>
                  <a:gd name="T22" fmla="*/ 30 w 39"/>
                  <a:gd name="T23"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9">
                    <a:moveTo>
                      <a:pt x="30" y="36"/>
                    </a:moveTo>
                    <a:cubicBezTo>
                      <a:pt x="30" y="33"/>
                      <a:pt x="36" y="24"/>
                      <a:pt x="39" y="24"/>
                    </a:cubicBezTo>
                    <a:cubicBezTo>
                      <a:pt x="39" y="24"/>
                      <a:pt x="39" y="15"/>
                      <a:pt x="39" y="9"/>
                    </a:cubicBezTo>
                    <a:cubicBezTo>
                      <a:pt x="33" y="6"/>
                      <a:pt x="30" y="3"/>
                      <a:pt x="30" y="3"/>
                    </a:cubicBezTo>
                    <a:cubicBezTo>
                      <a:pt x="30" y="3"/>
                      <a:pt x="15" y="3"/>
                      <a:pt x="12" y="3"/>
                    </a:cubicBezTo>
                    <a:cubicBezTo>
                      <a:pt x="9" y="0"/>
                      <a:pt x="6" y="6"/>
                      <a:pt x="6" y="3"/>
                    </a:cubicBezTo>
                    <a:cubicBezTo>
                      <a:pt x="3" y="0"/>
                      <a:pt x="0" y="3"/>
                      <a:pt x="0" y="6"/>
                    </a:cubicBezTo>
                    <a:cubicBezTo>
                      <a:pt x="0" y="9"/>
                      <a:pt x="6" y="9"/>
                      <a:pt x="6" y="15"/>
                    </a:cubicBezTo>
                    <a:cubicBezTo>
                      <a:pt x="6" y="18"/>
                      <a:pt x="15" y="24"/>
                      <a:pt x="15" y="24"/>
                    </a:cubicBezTo>
                    <a:cubicBezTo>
                      <a:pt x="15" y="27"/>
                      <a:pt x="21" y="30"/>
                      <a:pt x="24" y="36"/>
                    </a:cubicBezTo>
                    <a:cubicBezTo>
                      <a:pt x="24" y="36"/>
                      <a:pt x="27" y="39"/>
                      <a:pt x="30" y="39"/>
                    </a:cubicBezTo>
                    <a:cubicBezTo>
                      <a:pt x="30" y="36"/>
                      <a:pt x="30" y="36"/>
                      <a:pt x="30"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7" name="Freeform 771"/>
              <p:cNvSpPr>
                <a:spLocks/>
              </p:cNvSpPr>
              <p:nvPr userDrawn="1"/>
            </p:nvSpPr>
            <p:spPr bwMode="auto">
              <a:xfrm>
                <a:off x="3756" y="-2008"/>
                <a:ext cx="61" cy="61"/>
              </a:xfrm>
              <a:custGeom>
                <a:avLst/>
                <a:gdLst>
                  <a:gd name="T0" fmla="*/ 30 w 39"/>
                  <a:gd name="T1" fmla="*/ 36 h 39"/>
                  <a:gd name="T2" fmla="*/ 39 w 39"/>
                  <a:gd name="T3" fmla="*/ 24 h 39"/>
                  <a:gd name="T4" fmla="*/ 39 w 39"/>
                  <a:gd name="T5" fmla="*/ 9 h 39"/>
                  <a:gd name="T6" fmla="*/ 30 w 39"/>
                  <a:gd name="T7" fmla="*/ 3 h 39"/>
                  <a:gd name="T8" fmla="*/ 12 w 39"/>
                  <a:gd name="T9" fmla="*/ 3 h 39"/>
                  <a:gd name="T10" fmla="*/ 6 w 39"/>
                  <a:gd name="T11" fmla="*/ 3 h 39"/>
                  <a:gd name="T12" fmla="*/ 0 w 39"/>
                  <a:gd name="T13" fmla="*/ 6 h 39"/>
                  <a:gd name="T14" fmla="*/ 6 w 39"/>
                  <a:gd name="T15" fmla="*/ 15 h 39"/>
                  <a:gd name="T16" fmla="*/ 15 w 39"/>
                  <a:gd name="T17" fmla="*/ 24 h 39"/>
                  <a:gd name="T18" fmla="*/ 24 w 39"/>
                  <a:gd name="T19" fmla="*/ 36 h 39"/>
                  <a:gd name="T20" fmla="*/ 30 w 39"/>
                  <a:gd name="T21" fmla="*/ 39 h 39"/>
                  <a:gd name="T22" fmla="*/ 30 w 39"/>
                  <a:gd name="T23"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9">
                    <a:moveTo>
                      <a:pt x="30" y="36"/>
                    </a:moveTo>
                    <a:cubicBezTo>
                      <a:pt x="30" y="33"/>
                      <a:pt x="36" y="24"/>
                      <a:pt x="39" y="24"/>
                    </a:cubicBezTo>
                    <a:cubicBezTo>
                      <a:pt x="39" y="24"/>
                      <a:pt x="39" y="15"/>
                      <a:pt x="39" y="9"/>
                    </a:cubicBezTo>
                    <a:cubicBezTo>
                      <a:pt x="33" y="6"/>
                      <a:pt x="30" y="3"/>
                      <a:pt x="30" y="3"/>
                    </a:cubicBezTo>
                    <a:cubicBezTo>
                      <a:pt x="30" y="3"/>
                      <a:pt x="15" y="3"/>
                      <a:pt x="12" y="3"/>
                    </a:cubicBezTo>
                    <a:cubicBezTo>
                      <a:pt x="9" y="0"/>
                      <a:pt x="6" y="6"/>
                      <a:pt x="6" y="3"/>
                    </a:cubicBezTo>
                    <a:cubicBezTo>
                      <a:pt x="3" y="0"/>
                      <a:pt x="0" y="3"/>
                      <a:pt x="0" y="6"/>
                    </a:cubicBezTo>
                    <a:cubicBezTo>
                      <a:pt x="0" y="9"/>
                      <a:pt x="6" y="9"/>
                      <a:pt x="6" y="15"/>
                    </a:cubicBezTo>
                    <a:cubicBezTo>
                      <a:pt x="6" y="18"/>
                      <a:pt x="15" y="24"/>
                      <a:pt x="15" y="24"/>
                    </a:cubicBezTo>
                    <a:cubicBezTo>
                      <a:pt x="15" y="27"/>
                      <a:pt x="21" y="30"/>
                      <a:pt x="24" y="36"/>
                    </a:cubicBezTo>
                    <a:cubicBezTo>
                      <a:pt x="24" y="36"/>
                      <a:pt x="27" y="39"/>
                      <a:pt x="30" y="39"/>
                    </a:cubicBezTo>
                    <a:cubicBezTo>
                      <a:pt x="30" y="36"/>
                      <a:pt x="30" y="36"/>
                      <a:pt x="30"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8" name="Freeform 772"/>
              <p:cNvSpPr>
                <a:spLocks/>
              </p:cNvSpPr>
              <p:nvPr userDrawn="1"/>
            </p:nvSpPr>
            <p:spPr bwMode="auto">
              <a:xfrm>
                <a:off x="3723" y="-2036"/>
                <a:ext cx="94" cy="85"/>
              </a:xfrm>
              <a:custGeom>
                <a:avLst/>
                <a:gdLst>
                  <a:gd name="T0" fmla="*/ 36 w 60"/>
                  <a:gd name="T1" fmla="*/ 42 h 54"/>
                  <a:gd name="T2" fmla="*/ 27 w 60"/>
                  <a:gd name="T3" fmla="*/ 33 h 54"/>
                  <a:gd name="T4" fmla="*/ 21 w 60"/>
                  <a:gd name="T5" fmla="*/ 24 h 54"/>
                  <a:gd name="T6" fmla="*/ 27 w 60"/>
                  <a:gd name="T7" fmla="*/ 21 h 54"/>
                  <a:gd name="T8" fmla="*/ 33 w 60"/>
                  <a:gd name="T9" fmla="*/ 21 h 54"/>
                  <a:gd name="T10" fmla="*/ 51 w 60"/>
                  <a:gd name="T11" fmla="*/ 21 h 54"/>
                  <a:gd name="T12" fmla="*/ 60 w 60"/>
                  <a:gd name="T13" fmla="*/ 27 h 54"/>
                  <a:gd name="T14" fmla="*/ 60 w 60"/>
                  <a:gd name="T15" fmla="*/ 24 h 54"/>
                  <a:gd name="T16" fmla="*/ 57 w 60"/>
                  <a:gd name="T17" fmla="*/ 15 h 54"/>
                  <a:gd name="T18" fmla="*/ 54 w 60"/>
                  <a:gd name="T19" fmla="*/ 9 h 54"/>
                  <a:gd name="T20" fmla="*/ 51 w 60"/>
                  <a:gd name="T21" fmla="*/ 9 h 54"/>
                  <a:gd name="T22" fmla="*/ 39 w 60"/>
                  <a:gd name="T23" fmla="*/ 9 h 54"/>
                  <a:gd name="T24" fmla="*/ 30 w 60"/>
                  <a:gd name="T25" fmla="*/ 0 h 54"/>
                  <a:gd name="T26" fmla="*/ 21 w 60"/>
                  <a:gd name="T27" fmla="*/ 6 h 54"/>
                  <a:gd name="T28" fmla="*/ 18 w 60"/>
                  <a:gd name="T29" fmla="*/ 12 h 54"/>
                  <a:gd name="T30" fmla="*/ 15 w 60"/>
                  <a:gd name="T31" fmla="*/ 15 h 54"/>
                  <a:gd name="T32" fmla="*/ 9 w 60"/>
                  <a:gd name="T33" fmla="*/ 15 h 54"/>
                  <a:gd name="T34" fmla="*/ 0 w 60"/>
                  <a:gd name="T35" fmla="*/ 18 h 54"/>
                  <a:gd name="T36" fmla="*/ 3 w 60"/>
                  <a:gd name="T37" fmla="*/ 21 h 54"/>
                  <a:gd name="T38" fmla="*/ 12 w 60"/>
                  <a:gd name="T39" fmla="*/ 27 h 54"/>
                  <a:gd name="T40" fmla="*/ 21 w 60"/>
                  <a:gd name="T41" fmla="*/ 42 h 54"/>
                  <a:gd name="T42" fmla="*/ 30 w 60"/>
                  <a:gd name="T43" fmla="*/ 45 h 54"/>
                  <a:gd name="T44" fmla="*/ 39 w 60"/>
                  <a:gd name="T45" fmla="*/ 51 h 54"/>
                  <a:gd name="T46" fmla="*/ 45 w 60"/>
                  <a:gd name="T47" fmla="*/ 54 h 54"/>
                  <a:gd name="T48" fmla="*/ 36 w 60"/>
                  <a:gd name="T4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4">
                    <a:moveTo>
                      <a:pt x="36" y="42"/>
                    </a:moveTo>
                    <a:cubicBezTo>
                      <a:pt x="36" y="42"/>
                      <a:pt x="27" y="36"/>
                      <a:pt x="27" y="33"/>
                    </a:cubicBezTo>
                    <a:cubicBezTo>
                      <a:pt x="27" y="27"/>
                      <a:pt x="21" y="27"/>
                      <a:pt x="21" y="24"/>
                    </a:cubicBezTo>
                    <a:cubicBezTo>
                      <a:pt x="21" y="21"/>
                      <a:pt x="24" y="18"/>
                      <a:pt x="27" y="21"/>
                    </a:cubicBezTo>
                    <a:cubicBezTo>
                      <a:pt x="27" y="24"/>
                      <a:pt x="30" y="18"/>
                      <a:pt x="33" y="21"/>
                    </a:cubicBezTo>
                    <a:cubicBezTo>
                      <a:pt x="36" y="21"/>
                      <a:pt x="51" y="21"/>
                      <a:pt x="51" y="21"/>
                    </a:cubicBezTo>
                    <a:cubicBezTo>
                      <a:pt x="51" y="21"/>
                      <a:pt x="54" y="24"/>
                      <a:pt x="60" y="27"/>
                    </a:cubicBezTo>
                    <a:cubicBezTo>
                      <a:pt x="60" y="24"/>
                      <a:pt x="60" y="24"/>
                      <a:pt x="60" y="24"/>
                    </a:cubicBezTo>
                    <a:cubicBezTo>
                      <a:pt x="60" y="21"/>
                      <a:pt x="60" y="18"/>
                      <a:pt x="57" y="15"/>
                    </a:cubicBezTo>
                    <a:cubicBezTo>
                      <a:pt x="54" y="15"/>
                      <a:pt x="54" y="12"/>
                      <a:pt x="54" y="9"/>
                    </a:cubicBezTo>
                    <a:cubicBezTo>
                      <a:pt x="51" y="9"/>
                      <a:pt x="51" y="9"/>
                      <a:pt x="51" y="9"/>
                    </a:cubicBezTo>
                    <a:cubicBezTo>
                      <a:pt x="48" y="12"/>
                      <a:pt x="39" y="12"/>
                      <a:pt x="39" y="9"/>
                    </a:cubicBezTo>
                    <a:cubicBezTo>
                      <a:pt x="36" y="6"/>
                      <a:pt x="30" y="3"/>
                      <a:pt x="30" y="0"/>
                    </a:cubicBezTo>
                    <a:cubicBezTo>
                      <a:pt x="27" y="3"/>
                      <a:pt x="24" y="6"/>
                      <a:pt x="21" y="6"/>
                    </a:cubicBezTo>
                    <a:cubicBezTo>
                      <a:pt x="21" y="6"/>
                      <a:pt x="21" y="12"/>
                      <a:pt x="18" y="12"/>
                    </a:cubicBezTo>
                    <a:cubicBezTo>
                      <a:pt x="15" y="15"/>
                      <a:pt x="15" y="15"/>
                      <a:pt x="15" y="15"/>
                    </a:cubicBezTo>
                    <a:cubicBezTo>
                      <a:pt x="15" y="18"/>
                      <a:pt x="9" y="15"/>
                      <a:pt x="9" y="15"/>
                    </a:cubicBezTo>
                    <a:cubicBezTo>
                      <a:pt x="6" y="15"/>
                      <a:pt x="3" y="18"/>
                      <a:pt x="0" y="18"/>
                    </a:cubicBezTo>
                    <a:cubicBezTo>
                      <a:pt x="0" y="18"/>
                      <a:pt x="0" y="21"/>
                      <a:pt x="3" y="21"/>
                    </a:cubicBezTo>
                    <a:cubicBezTo>
                      <a:pt x="6" y="21"/>
                      <a:pt x="12" y="21"/>
                      <a:pt x="12" y="27"/>
                    </a:cubicBezTo>
                    <a:cubicBezTo>
                      <a:pt x="12" y="30"/>
                      <a:pt x="18" y="39"/>
                      <a:pt x="21" y="42"/>
                    </a:cubicBezTo>
                    <a:cubicBezTo>
                      <a:pt x="24" y="45"/>
                      <a:pt x="30" y="45"/>
                      <a:pt x="30" y="45"/>
                    </a:cubicBezTo>
                    <a:cubicBezTo>
                      <a:pt x="30" y="48"/>
                      <a:pt x="36" y="51"/>
                      <a:pt x="39" y="51"/>
                    </a:cubicBezTo>
                    <a:cubicBezTo>
                      <a:pt x="42" y="51"/>
                      <a:pt x="42" y="51"/>
                      <a:pt x="45" y="54"/>
                    </a:cubicBezTo>
                    <a:cubicBezTo>
                      <a:pt x="42" y="48"/>
                      <a:pt x="36" y="45"/>
                      <a:pt x="36" y="4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99" name="Freeform 773"/>
              <p:cNvSpPr>
                <a:spLocks/>
              </p:cNvSpPr>
              <p:nvPr userDrawn="1"/>
            </p:nvSpPr>
            <p:spPr bwMode="auto">
              <a:xfrm>
                <a:off x="3723" y="-2036"/>
                <a:ext cx="94" cy="85"/>
              </a:xfrm>
              <a:custGeom>
                <a:avLst/>
                <a:gdLst>
                  <a:gd name="T0" fmla="*/ 36 w 60"/>
                  <a:gd name="T1" fmla="*/ 42 h 54"/>
                  <a:gd name="T2" fmla="*/ 27 w 60"/>
                  <a:gd name="T3" fmla="*/ 33 h 54"/>
                  <a:gd name="T4" fmla="*/ 21 w 60"/>
                  <a:gd name="T5" fmla="*/ 24 h 54"/>
                  <a:gd name="T6" fmla="*/ 27 w 60"/>
                  <a:gd name="T7" fmla="*/ 21 h 54"/>
                  <a:gd name="T8" fmla="*/ 33 w 60"/>
                  <a:gd name="T9" fmla="*/ 21 h 54"/>
                  <a:gd name="T10" fmla="*/ 51 w 60"/>
                  <a:gd name="T11" fmla="*/ 21 h 54"/>
                  <a:gd name="T12" fmla="*/ 60 w 60"/>
                  <a:gd name="T13" fmla="*/ 27 h 54"/>
                  <a:gd name="T14" fmla="*/ 60 w 60"/>
                  <a:gd name="T15" fmla="*/ 24 h 54"/>
                  <a:gd name="T16" fmla="*/ 57 w 60"/>
                  <a:gd name="T17" fmla="*/ 15 h 54"/>
                  <a:gd name="T18" fmla="*/ 54 w 60"/>
                  <a:gd name="T19" fmla="*/ 9 h 54"/>
                  <a:gd name="T20" fmla="*/ 51 w 60"/>
                  <a:gd name="T21" fmla="*/ 9 h 54"/>
                  <a:gd name="T22" fmla="*/ 39 w 60"/>
                  <a:gd name="T23" fmla="*/ 9 h 54"/>
                  <a:gd name="T24" fmla="*/ 30 w 60"/>
                  <a:gd name="T25" fmla="*/ 0 h 54"/>
                  <a:gd name="T26" fmla="*/ 21 w 60"/>
                  <a:gd name="T27" fmla="*/ 6 h 54"/>
                  <a:gd name="T28" fmla="*/ 18 w 60"/>
                  <a:gd name="T29" fmla="*/ 12 h 54"/>
                  <a:gd name="T30" fmla="*/ 15 w 60"/>
                  <a:gd name="T31" fmla="*/ 15 h 54"/>
                  <a:gd name="T32" fmla="*/ 9 w 60"/>
                  <a:gd name="T33" fmla="*/ 15 h 54"/>
                  <a:gd name="T34" fmla="*/ 0 w 60"/>
                  <a:gd name="T35" fmla="*/ 18 h 54"/>
                  <a:gd name="T36" fmla="*/ 3 w 60"/>
                  <a:gd name="T37" fmla="*/ 21 h 54"/>
                  <a:gd name="T38" fmla="*/ 12 w 60"/>
                  <a:gd name="T39" fmla="*/ 27 h 54"/>
                  <a:gd name="T40" fmla="*/ 21 w 60"/>
                  <a:gd name="T41" fmla="*/ 42 h 54"/>
                  <a:gd name="T42" fmla="*/ 30 w 60"/>
                  <a:gd name="T43" fmla="*/ 45 h 54"/>
                  <a:gd name="T44" fmla="*/ 39 w 60"/>
                  <a:gd name="T45" fmla="*/ 51 h 54"/>
                  <a:gd name="T46" fmla="*/ 45 w 60"/>
                  <a:gd name="T47" fmla="*/ 54 h 54"/>
                  <a:gd name="T48" fmla="*/ 36 w 60"/>
                  <a:gd name="T4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4">
                    <a:moveTo>
                      <a:pt x="36" y="42"/>
                    </a:moveTo>
                    <a:cubicBezTo>
                      <a:pt x="36" y="42"/>
                      <a:pt x="27" y="36"/>
                      <a:pt x="27" y="33"/>
                    </a:cubicBezTo>
                    <a:cubicBezTo>
                      <a:pt x="27" y="27"/>
                      <a:pt x="21" y="27"/>
                      <a:pt x="21" y="24"/>
                    </a:cubicBezTo>
                    <a:cubicBezTo>
                      <a:pt x="21" y="21"/>
                      <a:pt x="24" y="18"/>
                      <a:pt x="27" y="21"/>
                    </a:cubicBezTo>
                    <a:cubicBezTo>
                      <a:pt x="27" y="24"/>
                      <a:pt x="30" y="18"/>
                      <a:pt x="33" y="21"/>
                    </a:cubicBezTo>
                    <a:cubicBezTo>
                      <a:pt x="36" y="21"/>
                      <a:pt x="51" y="21"/>
                      <a:pt x="51" y="21"/>
                    </a:cubicBezTo>
                    <a:cubicBezTo>
                      <a:pt x="51" y="21"/>
                      <a:pt x="54" y="24"/>
                      <a:pt x="60" y="27"/>
                    </a:cubicBezTo>
                    <a:cubicBezTo>
                      <a:pt x="60" y="24"/>
                      <a:pt x="60" y="24"/>
                      <a:pt x="60" y="24"/>
                    </a:cubicBezTo>
                    <a:cubicBezTo>
                      <a:pt x="60" y="21"/>
                      <a:pt x="60" y="18"/>
                      <a:pt x="57" y="15"/>
                    </a:cubicBezTo>
                    <a:cubicBezTo>
                      <a:pt x="54" y="15"/>
                      <a:pt x="54" y="12"/>
                      <a:pt x="54" y="9"/>
                    </a:cubicBezTo>
                    <a:cubicBezTo>
                      <a:pt x="51" y="9"/>
                      <a:pt x="51" y="9"/>
                      <a:pt x="51" y="9"/>
                    </a:cubicBezTo>
                    <a:cubicBezTo>
                      <a:pt x="48" y="12"/>
                      <a:pt x="39" y="12"/>
                      <a:pt x="39" y="9"/>
                    </a:cubicBezTo>
                    <a:cubicBezTo>
                      <a:pt x="36" y="6"/>
                      <a:pt x="30" y="3"/>
                      <a:pt x="30" y="0"/>
                    </a:cubicBezTo>
                    <a:cubicBezTo>
                      <a:pt x="27" y="3"/>
                      <a:pt x="24" y="6"/>
                      <a:pt x="21" y="6"/>
                    </a:cubicBezTo>
                    <a:cubicBezTo>
                      <a:pt x="21" y="6"/>
                      <a:pt x="21" y="12"/>
                      <a:pt x="18" y="12"/>
                    </a:cubicBezTo>
                    <a:cubicBezTo>
                      <a:pt x="15" y="15"/>
                      <a:pt x="15" y="15"/>
                      <a:pt x="15" y="15"/>
                    </a:cubicBezTo>
                    <a:cubicBezTo>
                      <a:pt x="15" y="18"/>
                      <a:pt x="9" y="15"/>
                      <a:pt x="9" y="15"/>
                    </a:cubicBezTo>
                    <a:cubicBezTo>
                      <a:pt x="6" y="15"/>
                      <a:pt x="3" y="18"/>
                      <a:pt x="0" y="18"/>
                    </a:cubicBezTo>
                    <a:cubicBezTo>
                      <a:pt x="0" y="18"/>
                      <a:pt x="0" y="21"/>
                      <a:pt x="3" y="21"/>
                    </a:cubicBezTo>
                    <a:cubicBezTo>
                      <a:pt x="6" y="21"/>
                      <a:pt x="12" y="21"/>
                      <a:pt x="12" y="27"/>
                    </a:cubicBezTo>
                    <a:cubicBezTo>
                      <a:pt x="12" y="30"/>
                      <a:pt x="18" y="39"/>
                      <a:pt x="21" y="42"/>
                    </a:cubicBezTo>
                    <a:cubicBezTo>
                      <a:pt x="24" y="45"/>
                      <a:pt x="30" y="45"/>
                      <a:pt x="30" y="45"/>
                    </a:cubicBezTo>
                    <a:cubicBezTo>
                      <a:pt x="30" y="48"/>
                      <a:pt x="36" y="51"/>
                      <a:pt x="39" y="51"/>
                    </a:cubicBezTo>
                    <a:cubicBezTo>
                      <a:pt x="42" y="51"/>
                      <a:pt x="42" y="51"/>
                      <a:pt x="45" y="54"/>
                    </a:cubicBezTo>
                    <a:cubicBezTo>
                      <a:pt x="42" y="48"/>
                      <a:pt x="36" y="45"/>
                      <a:pt x="36" y="4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0" name="Freeform 774"/>
              <p:cNvSpPr>
                <a:spLocks/>
              </p:cNvSpPr>
              <p:nvPr userDrawn="1"/>
            </p:nvSpPr>
            <p:spPr bwMode="auto">
              <a:xfrm>
                <a:off x="3810" y="-1947"/>
                <a:ext cx="33" cy="61"/>
              </a:xfrm>
              <a:custGeom>
                <a:avLst/>
                <a:gdLst>
                  <a:gd name="T0" fmla="*/ 15 w 21"/>
                  <a:gd name="T1" fmla="*/ 33 h 39"/>
                  <a:gd name="T2" fmla="*/ 18 w 21"/>
                  <a:gd name="T3" fmla="*/ 30 h 39"/>
                  <a:gd name="T4" fmla="*/ 21 w 21"/>
                  <a:gd name="T5" fmla="*/ 24 h 39"/>
                  <a:gd name="T6" fmla="*/ 21 w 21"/>
                  <a:gd name="T7" fmla="*/ 24 h 39"/>
                  <a:gd name="T8" fmla="*/ 15 w 21"/>
                  <a:gd name="T9" fmla="*/ 15 h 39"/>
                  <a:gd name="T10" fmla="*/ 18 w 21"/>
                  <a:gd name="T11" fmla="*/ 3 h 39"/>
                  <a:gd name="T12" fmla="*/ 6 w 21"/>
                  <a:gd name="T13" fmla="*/ 0 h 39"/>
                  <a:gd name="T14" fmla="*/ 3 w 21"/>
                  <a:gd name="T15" fmla="*/ 6 h 39"/>
                  <a:gd name="T16" fmla="*/ 6 w 21"/>
                  <a:gd name="T17" fmla="*/ 15 h 39"/>
                  <a:gd name="T18" fmla="*/ 3 w 21"/>
                  <a:gd name="T19" fmla="*/ 30 h 39"/>
                  <a:gd name="T20" fmla="*/ 12 w 21"/>
                  <a:gd name="T21" fmla="*/ 39 h 39"/>
                  <a:gd name="T22" fmla="*/ 15 w 21"/>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39">
                    <a:moveTo>
                      <a:pt x="15" y="33"/>
                    </a:moveTo>
                    <a:cubicBezTo>
                      <a:pt x="18" y="33"/>
                      <a:pt x="15" y="33"/>
                      <a:pt x="18" y="30"/>
                    </a:cubicBezTo>
                    <a:cubicBezTo>
                      <a:pt x="21" y="27"/>
                      <a:pt x="21" y="24"/>
                      <a:pt x="21" y="24"/>
                    </a:cubicBezTo>
                    <a:cubicBezTo>
                      <a:pt x="21" y="24"/>
                      <a:pt x="21" y="24"/>
                      <a:pt x="21" y="24"/>
                    </a:cubicBezTo>
                    <a:cubicBezTo>
                      <a:pt x="18" y="21"/>
                      <a:pt x="15" y="18"/>
                      <a:pt x="15" y="15"/>
                    </a:cubicBezTo>
                    <a:cubicBezTo>
                      <a:pt x="15" y="12"/>
                      <a:pt x="15" y="9"/>
                      <a:pt x="18" y="3"/>
                    </a:cubicBezTo>
                    <a:cubicBezTo>
                      <a:pt x="15" y="3"/>
                      <a:pt x="9" y="0"/>
                      <a:pt x="6" y="0"/>
                    </a:cubicBezTo>
                    <a:cubicBezTo>
                      <a:pt x="6" y="0"/>
                      <a:pt x="3" y="3"/>
                      <a:pt x="3" y="6"/>
                    </a:cubicBezTo>
                    <a:cubicBezTo>
                      <a:pt x="6" y="9"/>
                      <a:pt x="9" y="12"/>
                      <a:pt x="6" y="15"/>
                    </a:cubicBezTo>
                    <a:cubicBezTo>
                      <a:pt x="3" y="18"/>
                      <a:pt x="0" y="27"/>
                      <a:pt x="3" y="30"/>
                    </a:cubicBezTo>
                    <a:cubicBezTo>
                      <a:pt x="9" y="33"/>
                      <a:pt x="9" y="39"/>
                      <a:pt x="12" y="39"/>
                    </a:cubicBezTo>
                    <a:cubicBezTo>
                      <a:pt x="12" y="36"/>
                      <a:pt x="12" y="33"/>
                      <a:pt x="15"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1" name="Freeform 775"/>
              <p:cNvSpPr>
                <a:spLocks/>
              </p:cNvSpPr>
              <p:nvPr userDrawn="1"/>
            </p:nvSpPr>
            <p:spPr bwMode="auto">
              <a:xfrm>
                <a:off x="3810" y="-1947"/>
                <a:ext cx="33" cy="61"/>
              </a:xfrm>
              <a:custGeom>
                <a:avLst/>
                <a:gdLst>
                  <a:gd name="T0" fmla="*/ 15 w 21"/>
                  <a:gd name="T1" fmla="*/ 33 h 39"/>
                  <a:gd name="T2" fmla="*/ 18 w 21"/>
                  <a:gd name="T3" fmla="*/ 30 h 39"/>
                  <a:gd name="T4" fmla="*/ 21 w 21"/>
                  <a:gd name="T5" fmla="*/ 24 h 39"/>
                  <a:gd name="T6" fmla="*/ 21 w 21"/>
                  <a:gd name="T7" fmla="*/ 24 h 39"/>
                  <a:gd name="T8" fmla="*/ 15 w 21"/>
                  <a:gd name="T9" fmla="*/ 15 h 39"/>
                  <a:gd name="T10" fmla="*/ 18 w 21"/>
                  <a:gd name="T11" fmla="*/ 3 h 39"/>
                  <a:gd name="T12" fmla="*/ 6 w 21"/>
                  <a:gd name="T13" fmla="*/ 0 h 39"/>
                  <a:gd name="T14" fmla="*/ 3 w 21"/>
                  <a:gd name="T15" fmla="*/ 6 h 39"/>
                  <a:gd name="T16" fmla="*/ 6 w 21"/>
                  <a:gd name="T17" fmla="*/ 15 h 39"/>
                  <a:gd name="T18" fmla="*/ 3 w 21"/>
                  <a:gd name="T19" fmla="*/ 30 h 39"/>
                  <a:gd name="T20" fmla="*/ 12 w 21"/>
                  <a:gd name="T21" fmla="*/ 39 h 39"/>
                  <a:gd name="T22" fmla="*/ 15 w 21"/>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39">
                    <a:moveTo>
                      <a:pt x="15" y="33"/>
                    </a:moveTo>
                    <a:cubicBezTo>
                      <a:pt x="18" y="33"/>
                      <a:pt x="15" y="33"/>
                      <a:pt x="18" y="30"/>
                    </a:cubicBezTo>
                    <a:cubicBezTo>
                      <a:pt x="21" y="27"/>
                      <a:pt x="21" y="24"/>
                      <a:pt x="21" y="24"/>
                    </a:cubicBezTo>
                    <a:cubicBezTo>
                      <a:pt x="21" y="24"/>
                      <a:pt x="21" y="24"/>
                      <a:pt x="21" y="24"/>
                    </a:cubicBezTo>
                    <a:cubicBezTo>
                      <a:pt x="18" y="21"/>
                      <a:pt x="15" y="18"/>
                      <a:pt x="15" y="15"/>
                    </a:cubicBezTo>
                    <a:cubicBezTo>
                      <a:pt x="15" y="12"/>
                      <a:pt x="15" y="9"/>
                      <a:pt x="18" y="3"/>
                    </a:cubicBezTo>
                    <a:cubicBezTo>
                      <a:pt x="15" y="3"/>
                      <a:pt x="9" y="0"/>
                      <a:pt x="6" y="0"/>
                    </a:cubicBezTo>
                    <a:cubicBezTo>
                      <a:pt x="6" y="0"/>
                      <a:pt x="3" y="3"/>
                      <a:pt x="3" y="6"/>
                    </a:cubicBezTo>
                    <a:cubicBezTo>
                      <a:pt x="6" y="9"/>
                      <a:pt x="9" y="12"/>
                      <a:pt x="6" y="15"/>
                    </a:cubicBezTo>
                    <a:cubicBezTo>
                      <a:pt x="3" y="18"/>
                      <a:pt x="0" y="27"/>
                      <a:pt x="3" y="30"/>
                    </a:cubicBezTo>
                    <a:cubicBezTo>
                      <a:pt x="9" y="33"/>
                      <a:pt x="9" y="39"/>
                      <a:pt x="12" y="39"/>
                    </a:cubicBezTo>
                    <a:cubicBezTo>
                      <a:pt x="12" y="36"/>
                      <a:pt x="12" y="33"/>
                      <a:pt x="15"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2" name="Freeform 776"/>
              <p:cNvSpPr>
                <a:spLocks/>
              </p:cNvSpPr>
              <p:nvPr userDrawn="1"/>
            </p:nvSpPr>
            <p:spPr bwMode="auto">
              <a:xfrm>
                <a:off x="3653" y="-2092"/>
                <a:ext cx="131" cy="61"/>
              </a:xfrm>
              <a:custGeom>
                <a:avLst/>
                <a:gdLst>
                  <a:gd name="T0" fmla="*/ 69 w 84"/>
                  <a:gd name="T1" fmla="*/ 3 h 39"/>
                  <a:gd name="T2" fmla="*/ 60 w 84"/>
                  <a:gd name="T3" fmla="*/ 0 h 39"/>
                  <a:gd name="T4" fmla="*/ 57 w 84"/>
                  <a:gd name="T5" fmla="*/ 6 h 39"/>
                  <a:gd name="T6" fmla="*/ 48 w 84"/>
                  <a:gd name="T7" fmla="*/ 6 h 39"/>
                  <a:gd name="T8" fmla="*/ 42 w 84"/>
                  <a:gd name="T9" fmla="*/ 12 h 39"/>
                  <a:gd name="T10" fmla="*/ 36 w 84"/>
                  <a:gd name="T11" fmla="*/ 18 h 39"/>
                  <a:gd name="T12" fmla="*/ 33 w 84"/>
                  <a:gd name="T13" fmla="*/ 21 h 39"/>
                  <a:gd name="T14" fmla="*/ 21 w 84"/>
                  <a:gd name="T15" fmla="*/ 24 h 39"/>
                  <a:gd name="T16" fmla="*/ 15 w 84"/>
                  <a:gd name="T17" fmla="*/ 24 h 39"/>
                  <a:gd name="T18" fmla="*/ 9 w 84"/>
                  <a:gd name="T19" fmla="*/ 24 h 39"/>
                  <a:gd name="T20" fmla="*/ 0 w 84"/>
                  <a:gd name="T21" fmla="*/ 24 h 39"/>
                  <a:gd name="T22" fmla="*/ 0 w 84"/>
                  <a:gd name="T23" fmla="*/ 30 h 39"/>
                  <a:gd name="T24" fmla="*/ 6 w 84"/>
                  <a:gd name="T25" fmla="*/ 33 h 39"/>
                  <a:gd name="T26" fmla="*/ 12 w 84"/>
                  <a:gd name="T27" fmla="*/ 33 h 39"/>
                  <a:gd name="T28" fmla="*/ 21 w 84"/>
                  <a:gd name="T29" fmla="*/ 30 h 39"/>
                  <a:gd name="T30" fmla="*/ 30 w 84"/>
                  <a:gd name="T31" fmla="*/ 30 h 39"/>
                  <a:gd name="T32" fmla="*/ 30 w 84"/>
                  <a:gd name="T33" fmla="*/ 36 h 39"/>
                  <a:gd name="T34" fmla="*/ 42 w 84"/>
                  <a:gd name="T35" fmla="*/ 36 h 39"/>
                  <a:gd name="T36" fmla="*/ 54 w 84"/>
                  <a:gd name="T37" fmla="*/ 39 h 39"/>
                  <a:gd name="T38" fmla="*/ 63 w 84"/>
                  <a:gd name="T39" fmla="*/ 36 h 39"/>
                  <a:gd name="T40" fmla="*/ 72 w 84"/>
                  <a:gd name="T41" fmla="*/ 33 h 39"/>
                  <a:gd name="T42" fmla="*/ 72 w 84"/>
                  <a:gd name="T43" fmla="*/ 33 h 39"/>
                  <a:gd name="T44" fmla="*/ 72 w 84"/>
                  <a:gd name="T45" fmla="*/ 30 h 39"/>
                  <a:gd name="T46" fmla="*/ 75 w 84"/>
                  <a:gd name="T47" fmla="*/ 24 h 39"/>
                  <a:gd name="T48" fmla="*/ 75 w 84"/>
                  <a:gd name="T49" fmla="*/ 21 h 39"/>
                  <a:gd name="T50" fmla="*/ 81 w 84"/>
                  <a:gd name="T51" fmla="*/ 18 h 39"/>
                  <a:gd name="T52" fmla="*/ 84 w 84"/>
                  <a:gd name="T53" fmla="*/ 15 h 39"/>
                  <a:gd name="T54" fmla="*/ 78 w 84"/>
                  <a:gd name="T55" fmla="*/ 6 h 39"/>
                  <a:gd name="T56" fmla="*/ 69 w 84"/>
                  <a:gd name="T5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39">
                    <a:moveTo>
                      <a:pt x="69" y="3"/>
                    </a:moveTo>
                    <a:cubicBezTo>
                      <a:pt x="66" y="0"/>
                      <a:pt x="60" y="0"/>
                      <a:pt x="60" y="0"/>
                    </a:cubicBezTo>
                    <a:cubicBezTo>
                      <a:pt x="60" y="0"/>
                      <a:pt x="57" y="3"/>
                      <a:pt x="57" y="6"/>
                    </a:cubicBezTo>
                    <a:cubicBezTo>
                      <a:pt x="57" y="6"/>
                      <a:pt x="51" y="6"/>
                      <a:pt x="48" y="6"/>
                    </a:cubicBezTo>
                    <a:cubicBezTo>
                      <a:pt x="48" y="9"/>
                      <a:pt x="42" y="9"/>
                      <a:pt x="42" y="12"/>
                    </a:cubicBezTo>
                    <a:cubicBezTo>
                      <a:pt x="42" y="12"/>
                      <a:pt x="36" y="12"/>
                      <a:pt x="36" y="18"/>
                    </a:cubicBezTo>
                    <a:cubicBezTo>
                      <a:pt x="39" y="24"/>
                      <a:pt x="33" y="21"/>
                      <a:pt x="33" y="21"/>
                    </a:cubicBezTo>
                    <a:cubicBezTo>
                      <a:pt x="30" y="21"/>
                      <a:pt x="24" y="21"/>
                      <a:pt x="21" y="24"/>
                    </a:cubicBezTo>
                    <a:cubicBezTo>
                      <a:pt x="18" y="24"/>
                      <a:pt x="15" y="24"/>
                      <a:pt x="15" y="24"/>
                    </a:cubicBezTo>
                    <a:cubicBezTo>
                      <a:pt x="12" y="24"/>
                      <a:pt x="9" y="21"/>
                      <a:pt x="9" y="24"/>
                    </a:cubicBezTo>
                    <a:cubicBezTo>
                      <a:pt x="6" y="27"/>
                      <a:pt x="3" y="24"/>
                      <a:pt x="0" y="24"/>
                    </a:cubicBezTo>
                    <a:cubicBezTo>
                      <a:pt x="0" y="24"/>
                      <a:pt x="0" y="27"/>
                      <a:pt x="0" y="30"/>
                    </a:cubicBezTo>
                    <a:cubicBezTo>
                      <a:pt x="0" y="30"/>
                      <a:pt x="3" y="33"/>
                      <a:pt x="6" y="33"/>
                    </a:cubicBezTo>
                    <a:cubicBezTo>
                      <a:pt x="9" y="30"/>
                      <a:pt x="12" y="33"/>
                      <a:pt x="12" y="33"/>
                    </a:cubicBezTo>
                    <a:cubicBezTo>
                      <a:pt x="15" y="36"/>
                      <a:pt x="18" y="33"/>
                      <a:pt x="21" y="30"/>
                    </a:cubicBezTo>
                    <a:cubicBezTo>
                      <a:pt x="21" y="30"/>
                      <a:pt x="27" y="30"/>
                      <a:pt x="30" y="30"/>
                    </a:cubicBezTo>
                    <a:cubicBezTo>
                      <a:pt x="30" y="30"/>
                      <a:pt x="30" y="33"/>
                      <a:pt x="30" y="36"/>
                    </a:cubicBezTo>
                    <a:cubicBezTo>
                      <a:pt x="33" y="36"/>
                      <a:pt x="36" y="36"/>
                      <a:pt x="42" y="36"/>
                    </a:cubicBezTo>
                    <a:cubicBezTo>
                      <a:pt x="45" y="36"/>
                      <a:pt x="51" y="39"/>
                      <a:pt x="54" y="39"/>
                    </a:cubicBezTo>
                    <a:cubicBezTo>
                      <a:pt x="57" y="39"/>
                      <a:pt x="60" y="36"/>
                      <a:pt x="63" y="36"/>
                    </a:cubicBezTo>
                    <a:cubicBezTo>
                      <a:pt x="69" y="36"/>
                      <a:pt x="69" y="33"/>
                      <a:pt x="72" y="33"/>
                    </a:cubicBezTo>
                    <a:cubicBezTo>
                      <a:pt x="72" y="33"/>
                      <a:pt x="72" y="33"/>
                      <a:pt x="72" y="33"/>
                    </a:cubicBezTo>
                    <a:cubicBezTo>
                      <a:pt x="72" y="30"/>
                      <a:pt x="72" y="30"/>
                      <a:pt x="72" y="30"/>
                    </a:cubicBezTo>
                    <a:cubicBezTo>
                      <a:pt x="75" y="30"/>
                      <a:pt x="75" y="27"/>
                      <a:pt x="75" y="24"/>
                    </a:cubicBezTo>
                    <a:cubicBezTo>
                      <a:pt x="75" y="21"/>
                      <a:pt x="75" y="21"/>
                      <a:pt x="75" y="21"/>
                    </a:cubicBezTo>
                    <a:cubicBezTo>
                      <a:pt x="78" y="21"/>
                      <a:pt x="81" y="21"/>
                      <a:pt x="81" y="18"/>
                    </a:cubicBezTo>
                    <a:cubicBezTo>
                      <a:pt x="81" y="15"/>
                      <a:pt x="81" y="15"/>
                      <a:pt x="84" y="15"/>
                    </a:cubicBezTo>
                    <a:cubicBezTo>
                      <a:pt x="81" y="12"/>
                      <a:pt x="78" y="6"/>
                      <a:pt x="78" y="6"/>
                    </a:cubicBezTo>
                    <a:cubicBezTo>
                      <a:pt x="78" y="6"/>
                      <a:pt x="72" y="6"/>
                      <a:pt x="6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3" name="Freeform 777"/>
              <p:cNvSpPr>
                <a:spLocks/>
              </p:cNvSpPr>
              <p:nvPr userDrawn="1"/>
            </p:nvSpPr>
            <p:spPr bwMode="auto">
              <a:xfrm>
                <a:off x="3653" y="-2092"/>
                <a:ext cx="131" cy="61"/>
              </a:xfrm>
              <a:custGeom>
                <a:avLst/>
                <a:gdLst>
                  <a:gd name="T0" fmla="*/ 69 w 84"/>
                  <a:gd name="T1" fmla="*/ 3 h 39"/>
                  <a:gd name="T2" fmla="*/ 60 w 84"/>
                  <a:gd name="T3" fmla="*/ 0 h 39"/>
                  <a:gd name="T4" fmla="*/ 57 w 84"/>
                  <a:gd name="T5" fmla="*/ 6 h 39"/>
                  <a:gd name="T6" fmla="*/ 48 w 84"/>
                  <a:gd name="T7" fmla="*/ 6 h 39"/>
                  <a:gd name="T8" fmla="*/ 42 w 84"/>
                  <a:gd name="T9" fmla="*/ 12 h 39"/>
                  <a:gd name="T10" fmla="*/ 36 w 84"/>
                  <a:gd name="T11" fmla="*/ 18 h 39"/>
                  <a:gd name="T12" fmla="*/ 33 w 84"/>
                  <a:gd name="T13" fmla="*/ 21 h 39"/>
                  <a:gd name="T14" fmla="*/ 21 w 84"/>
                  <a:gd name="T15" fmla="*/ 24 h 39"/>
                  <a:gd name="T16" fmla="*/ 15 w 84"/>
                  <a:gd name="T17" fmla="*/ 24 h 39"/>
                  <a:gd name="T18" fmla="*/ 9 w 84"/>
                  <a:gd name="T19" fmla="*/ 24 h 39"/>
                  <a:gd name="T20" fmla="*/ 0 w 84"/>
                  <a:gd name="T21" fmla="*/ 24 h 39"/>
                  <a:gd name="T22" fmla="*/ 0 w 84"/>
                  <a:gd name="T23" fmla="*/ 30 h 39"/>
                  <a:gd name="T24" fmla="*/ 6 w 84"/>
                  <a:gd name="T25" fmla="*/ 33 h 39"/>
                  <a:gd name="T26" fmla="*/ 12 w 84"/>
                  <a:gd name="T27" fmla="*/ 33 h 39"/>
                  <a:gd name="T28" fmla="*/ 21 w 84"/>
                  <a:gd name="T29" fmla="*/ 30 h 39"/>
                  <a:gd name="T30" fmla="*/ 30 w 84"/>
                  <a:gd name="T31" fmla="*/ 30 h 39"/>
                  <a:gd name="T32" fmla="*/ 30 w 84"/>
                  <a:gd name="T33" fmla="*/ 36 h 39"/>
                  <a:gd name="T34" fmla="*/ 42 w 84"/>
                  <a:gd name="T35" fmla="*/ 36 h 39"/>
                  <a:gd name="T36" fmla="*/ 54 w 84"/>
                  <a:gd name="T37" fmla="*/ 39 h 39"/>
                  <a:gd name="T38" fmla="*/ 63 w 84"/>
                  <a:gd name="T39" fmla="*/ 36 h 39"/>
                  <a:gd name="T40" fmla="*/ 72 w 84"/>
                  <a:gd name="T41" fmla="*/ 33 h 39"/>
                  <a:gd name="T42" fmla="*/ 72 w 84"/>
                  <a:gd name="T43" fmla="*/ 33 h 39"/>
                  <a:gd name="T44" fmla="*/ 72 w 84"/>
                  <a:gd name="T45" fmla="*/ 30 h 39"/>
                  <a:gd name="T46" fmla="*/ 75 w 84"/>
                  <a:gd name="T47" fmla="*/ 24 h 39"/>
                  <a:gd name="T48" fmla="*/ 75 w 84"/>
                  <a:gd name="T49" fmla="*/ 21 h 39"/>
                  <a:gd name="T50" fmla="*/ 81 w 84"/>
                  <a:gd name="T51" fmla="*/ 18 h 39"/>
                  <a:gd name="T52" fmla="*/ 84 w 84"/>
                  <a:gd name="T53" fmla="*/ 15 h 39"/>
                  <a:gd name="T54" fmla="*/ 78 w 84"/>
                  <a:gd name="T55" fmla="*/ 6 h 39"/>
                  <a:gd name="T56" fmla="*/ 69 w 84"/>
                  <a:gd name="T5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39">
                    <a:moveTo>
                      <a:pt x="69" y="3"/>
                    </a:moveTo>
                    <a:cubicBezTo>
                      <a:pt x="66" y="0"/>
                      <a:pt x="60" y="0"/>
                      <a:pt x="60" y="0"/>
                    </a:cubicBezTo>
                    <a:cubicBezTo>
                      <a:pt x="60" y="0"/>
                      <a:pt x="57" y="3"/>
                      <a:pt x="57" y="6"/>
                    </a:cubicBezTo>
                    <a:cubicBezTo>
                      <a:pt x="57" y="6"/>
                      <a:pt x="51" y="6"/>
                      <a:pt x="48" y="6"/>
                    </a:cubicBezTo>
                    <a:cubicBezTo>
                      <a:pt x="48" y="9"/>
                      <a:pt x="42" y="9"/>
                      <a:pt x="42" y="12"/>
                    </a:cubicBezTo>
                    <a:cubicBezTo>
                      <a:pt x="42" y="12"/>
                      <a:pt x="36" y="12"/>
                      <a:pt x="36" y="18"/>
                    </a:cubicBezTo>
                    <a:cubicBezTo>
                      <a:pt x="39" y="24"/>
                      <a:pt x="33" y="21"/>
                      <a:pt x="33" y="21"/>
                    </a:cubicBezTo>
                    <a:cubicBezTo>
                      <a:pt x="30" y="21"/>
                      <a:pt x="24" y="21"/>
                      <a:pt x="21" y="24"/>
                    </a:cubicBezTo>
                    <a:cubicBezTo>
                      <a:pt x="18" y="24"/>
                      <a:pt x="15" y="24"/>
                      <a:pt x="15" y="24"/>
                    </a:cubicBezTo>
                    <a:cubicBezTo>
                      <a:pt x="12" y="24"/>
                      <a:pt x="9" y="21"/>
                      <a:pt x="9" y="24"/>
                    </a:cubicBezTo>
                    <a:cubicBezTo>
                      <a:pt x="6" y="27"/>
                      <a:pt x="3" y="24"/>
                      <a:pt x="0" y="24"/>
                    </a:cubicBezTo>
                    <a:cubicBezTo>
                      <a:pt x="0" y="24"/>
                      <a:pt x="0" y="27"/>
                      <a:pt x="0" y="30"/>
                    </a:cubicBezTo>
                    <a:cubicBezTo>
                      <a:pt x="0" y="30"/>
                      <a:pt x="3" y="33"/>
                      <a:pt x="6" y="33"/>
                    </a:cubicBezTo>
                    <a:cubicBezTo>
                      <a:pt x="9" y="30"/>
                      <a:pt x="12" y="33"/>
                      <a:pt x="12" y="33"/>
                    </a:cubicBezTo>
                    <a:cubicBezTo>
                      <a:pt x="15" y="36"/>
                      <a:pt x="18" y="33"/>
                      <a:pt x="21" y="30"/>
                    </a:cubicBezTo>
                    <a:cubicBezTo>
                      <a:pt x="21" y="30"/>
                      <a:pt x="27" y="30"/>
                      <a:pt x="30" y="30"/>
                    </a:cubicBezTo>
                    <a:cubicBezTo>
                      <a:pt x="30" y="30"/>
                      <a:pt x="30" y="33"/>
                      <a:pt x="30" y="36"/>
                    </a:cubicBezTo>
                    <a:cubicBezTo>
                      <a:pt x="33" y="36"/>
                      <a:pt x="36" y="36"/>
                      <a:pt x="42" y="36"/>
                    </a:cubicBezTo>
                    <a:cubicBezTo>
                      <a:pt x="45" y="36"/>
                      <a:pt x="51" y="39"/>
                      <a:pt x="54" y="39"/>
                    </a:cubicBezTo>
                    <a:cubicBezTo>
                      <a:pt x="57" y="39"/>
                      <a:pt x="60" y="36"/>
                      <a:pt x="63" y="36"/>
                    </a:cubicBezTo>
                    <a:cubicBezTo>
                      <a:pt x="69" y="36"/>
                      <a:pt x="69" y="33"/>
                      <a:pt x="72" y="33"/>
                    </a:cubicBezTo>
                    <a:cubicBezTo>
                      <a:pt x="72" y="33"/>
                      <a:pt x="72" y="33"/>
                      <a:pt x="72" y="33"/>
                    </a:cubicBezTo>
                    <a:cubicBezTo>
                      <a:pt x="72" y="30"/>
                      <a:pt x="72" y="30"/>
                      <a:pt x="72" y="30"/>
                    </a:cubicBezTo>
                    <a:cubicBezTo>
                      <a:pt x="75" y="30"/>
                      <a:pt x="75" y="27"/>
                      <a:pt x="75" y="24"/>
                    </a:cubicBezTo>
                    <a:cubicBezTo>
                      <a:pt x="75" y="21"/>
                      <a:pt x="75" y="21"/>
                      <a:pt x="75" y="21"/>
                    </a:cubicBezTo>
                    <a:cubicBezTo>
                      <a:pt x="78" y="21"/>
                      <a:pt x="81" y="21"/>
                      <a:pt x="81" y="18"/>
                    </a:cubicBezTo>
                    <a:cubicBezTo>
                      <a:pt x="81" y="15"/>
                      <a:pt x="81" y="15"/>
                      <a:pt x="84" y="15"/>
                    </a:cubicBezTo>
                    <a:cubicBezTo>
                      <a:pt x="81" y="12"/>
                      <a:pt x="78" y="6"/>
                      <a:pt x="78" y="6"/>
                    </a:cubicBezTo>
                    <a:cubicBezTo>
                      <a:pt x="78" y="6"/>
                      <a:pt x="72" y="6"/>
                      <a:pt x="69"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4" name="Freeform 778"/>
              <p:cNvSpPr>
                <a:spLocks/>
              </p:cNvSpPr>
              <p:nvPr userDrawn="1"/>
            </p:nvSpPr>
            <p:spPr bwMode="auto">
              <a:xfrm>
                <a:off x="3765" y="-2081"/>
                <a:ext cx="112" cy="64"/>
              </a:xfrm>
              <a:custGeom>
                <a:avLst/>
                <a:gdLst>
                  <a:gd name="T0" fmla="*/ 69 w 72"/>
                  <a:gd name="T1" fmla="*/ 5 h 41"/>
                  <a:gd name="T2" fmla="*/ 66 w 72"/>
                  <a:gd name="T3" fmla="*/ 5 h 41"/>
                  <a:gd name="T4" fmla="*/ 60 w 72"/>
                  <a:gd name="T5" fmla="*/ 3 h 41"/>
                  <a:gd name="T6" fmla="*/ 51 w 72"/>
                  <a:gd name="T7" fmla="*/ 0 h 41"/>
                  <a:gd name="T8" fmla="*/ 39 w 72"/>
                  <a:gd name="T9" fmla="*/ 5 h 41"/>
                  <a:gd name="T10" fmla="*/ 27 w 72"/>
                  <a:gd name="T11" fmla="*/ 8 h 41"/>
                  <a:gd name="T12" fmla="*/ 12 w 72"/>
                  <a:gd name="T13" fmla="*/ 8 h 41"/>
                  <a:gd name="T14" fmla="*/ 12 w 72"/>
                  <a:gd name="T15" fmla="*/ 8 h 41"/>
                  <a:gd name="T16" fmla="*/ 9 w 72"/>
                  <a:gd name="T17" fmla="*/ 11 h 41"/>
                  <a:gd name="T18" fmla="*/ 3 w 72"/>
                  <a:gd name="T19" fmla="*/ 14 h 41"/>
                  <a:gd name="T20" fmla="*/ 3 w 72"/>
                  <a:gd name="T21" fmla="*/ 17 h 41"/>
                  <a:gd name="T22" fmla="*/ 0 w 72"/>
                  <a:gd name="T23" fmla="*/ 23 h 41"/>
                  <a:gd name="T24" fmla="*/ 0 w 72"/>
                  <a:gd name="T25" fmla="*/ 26 h 41"/>
                  <a:gd name="T26" fmla="*/ 3 w 72"/>
                  <a:gd name="T27" fmla="*/ 29 h 41"/>
                  <a:gd name="T28" fmla="*/ 3 w 72"/>
                  <a:gd name="T29" fmla="*/ 29 h 41"/>
                  <a:gd name="T30" fmla="*/ 12 w 72"/>
                  <a:gd name="T31" fmla="*/ 38 h 41"/>
                  <a:gd name="T32" fmla="*/ 24 w 72"/>
                  <a:gd name="T33" fmla="*/ 38 h 41"/>
                  <a:gd name="T34" fmla="*/ 39 w 72"/>
                  <a:gd name="T35" fmla="*/ 35 h 41"/>
                  <a:gd name="T36" fmla="*/ 42 w 72"/>
                  <a:gd name="T37" fmla="*/ 35 h 41"/>
                  <a:gd name="T38" fmla="*/ 45 w 72"/>
                  <a:gd name="T39" fmla="*/ 38 h 41"/>
                  <a:gd name="T40" fmla="*/ 54 w 72"/>
                  <a:gd name="T41" fmla="*/ 32 h 41"/>
                  <a:gd name="T42" fmla="*/ 63 w 72"/>
                  <a:gd name="T43" fmla="*/ 14 h 41"/>
                  <a:gd name="T44" fmla="*/ 72 w 72"/>
                  <a:gd name="T45" fmla="*/ 11 h 41"/>
                  <a:gd name="T46" fmla="*/ 69 w 72"/>
                  <a:gd name="T4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41">
                    <a:moveTo>
                      <a:pt x="69" y="5"/>
                    </a:moveTo>
                    <a:cubicBezTo>
                      <a:pt x="69" y="5"/>
                      <a:pt x="69" y="5"/>
                      <a:pt x="66" y="5"/>
                    </a:cubicBezTo>
                    <a:cubicBezTo>
                      <a:pt x="63" y="5"/>
                      <a:pt x="60" y="3"/>
                      <a:pt x="60" y="3"/>
                    </a:cubicBezTo>
                    <a:cubicBezTo>
                      <a:pt x="57" y="0"/>
                      <a:pt x="51" y="0"/>
                      <a:pt x="51" y="0"/>
                    </a:cubicBezTo>
                    <a:cubicBezTo>
                      <a:pt x="48" y="0"/>
                      <a:pt x="42" y="5"/>
                      <a:pt x="39" y="5"/>
                    </a:cubicBezTo>
                    <a:cubicBezTo>
                      <a:pt x="36" y="5"/>
                      <a:pt x="27" y="8"/>
                      <a:pt x="27" y="8"/>
                    </a:cubicBezTo>
                    <a:cubicBezTo>
                      <a:pt x="27" y="11"/>
                      <a:pt x="15" y="11"/>
                      <a:pt x="12" y="8"/>
                    </a:cubicBezTo>
                    <a:cubicBezTo>
                      <a:pt x="12" y="8"/>
                      <a:pt x="12" y="8"/>
                      <a:pt x="12" y="8"/>
                    </a:cubicBezTo>
                    <a:cubicBezTo>
                      <a:pt x="9" y="8"/>
                      <a:pt x="9" y="8"/>
                      <a:pt x="9" y="11"/>
                    </a:cubicBezTo>
                    <a:cubicBezTo>
                      <a:pt x="9" y="14"/>
                      <a:pt x="6" y="14"/>
                      <a:pt x="3" y="14"/>
                    </a:cubicBezTo>
                    <a:cubicBezTo>
                      <a:pt x="3" y="17"/>
                      <a:pt x="3" y="17"/>
                      <a:pt x="3" y="17"/>
                    </a:cubicBezTo>
                    <a:cubicBezTo>
                      <a:pt x="3" y="20"/>
                      <a:pt x="3" y="23"/>
                      <a:pt x="0" y="23"/>
                    </a:cubicBezTo>
                    <a:cubicBezTo>
                      <a:pt x="0" y="23"/>
                      <a:pt x="0" y="23"/>
                      <a:pt x="0" y="26"/>
                    </a:cubicBezTo>
                    <a:cubicBezTo>
                      <a:pt x="3" y="29"/>
                      <a:pt x="3" y="29"/>
                      <a:pt x="3" y="29"/>
                    </a:cubicBezTo>
                    <a:cubicBezTo>
                      <a:pt x="3" y="29"/>
                      <a:pt x="3" y="29"/>
                      <a:pt x="3" y="29"/>
                    </a:cubicBezTo>
                    <a:cubicBezTo>
                      <a:pt x="3" y="32"/>
                      <a:pt x="9" y="35"/>
                      <a:pt x="12" y="38"/>
                    </a:cubicBezTo>
                    <a:cubicBezTo>
                      <a:pt x="12" y="41"/>
                      <a:pt x="21" y="41"/>
                      <a:pt x="24" y="38"/>
                    </a:cubicBezTo>
                    <a:cubicBezTo>
                      <a:pt x="27" y="38"/>
                      <a:pt x="39" y="35"/>
                      <a:pt x="39" y="35"/>
                    </a:cubicBezTo>
                    <a:cubicBezTo>
                      <a:pt x="42" y="35"/>
                      <a:pt x="42" y="35"/>
                      <a:pt x="42" y="35"/>
                    </a:cubicBezTo>
                    <a:cubicBezTo>
                      <a:pt x="42" y="35"/>
                      <a:pt x="45" y="35"/>
                      <a:pt x="45" y="38"/>
                    </a:cubicBezTo>
                    <a:cubicBezTo>
                      <a:pt x="48" y="35"/>
                      <a:pt x="51" y="35"/>
                      <a:pt x="54" y="32"/>
                    </a:cubicBezTo>
                    <a:cubicBezTo>
                      <a:pt x="57" y="29"/>
                      <a:pt x="63" y="17"/>
                      <a:pt x="63" y="14"/>
                    </a:cubicBezTo>
                    <a:cubicBezTo>
                      <a:pt x="66" y="14"/>
                      <a:pt x="69" y="11"/>
                      <a:pt x="72" y="11"/>
                    </a:cubicBezTo>
                    <a:cubicBezTo>
                      <a:pt x="72" y="8"/>
                      <a:pt x="72" y="8"/>
                      <a:pt x="69" y="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5" name="Freeform 779"/>
              <p:cNvSpPr>
                <a:spLocks/>
              </p:cNvSpPr>
              <p:nvPr userDrawn="1"/>
            </p:nvSpPr>
            <p:spPr bwMode="auto">
              <a:xfrm>
                <a:off x="3765" y="-2081"/>
                <a:ext cx="112" cy="64"/>
              </a:xfrm>
              <a:custGeom>
                <a:avLst/>
                <a:gdLst>
                  <a:gd name="T0" fmla="*/ 69 w 72"/>
                  <a:gd name="T1" fmla="*/ 5 h 41"/>
                  <a:gd name="T2" fmla="*/ 66 w 72"/>
                  <a:gd name="T3" fmla="*/ 5 h 41"/>
                  <a:gd name="T4" fmla="*/ 60 w 72"/>
                  <a:gd name="T5" fmla="*/ 3 h 41"/>
                  <a:gd name="T6" fmla="*/ 51 w 72"/>
                  <a:gd name="T7" fmla="*/ 0 h 41"/>
                  <a:gd name="T8" fmla="*/ 39 w 72"/>
                  <a:gd name="T9" fmla="*/ 5 h 41"/>
                  <a:gd name="T10" fmla="*/ 27 w 72"/>
                  <a:gd name="T11" fmla="*/ 8 h 41"/>
                  <a:gd name="T12" fmla="*/ 12 w 72"/>
                  <a:gd name="T13" fmla="*/ 8 h 41"/>
                  <a:gd name="T14" fmla="*/ 12 w 72"/>
                  <a:gd name="T15" fmla="*/ 8 h 41"/>
                  <a:gd name="T16" fmla="*/ 9 w 72"/>
                  <a:gd name="T17" fmla="*/ 11 h 41"/>
                  <a:gd name="T18" fmla="*/ 3 w 72"/>
                  <a:gd name="T19" fmla="*/ 14 h 41"/>
                  <a:gd name="T20" fmla="*/ 3 w 72"/>
                  <a:gd name="T21" fmla="*/ 17 h 41"/>
                  <a:gd name="T22" fmla="*/ 0 w 72"/>
                  <a:gd name="T23" fmla="*/ 23 h 41"/>
                  <a:gd name="T24" fmla="*/ 0 w 72"/>
                  <a:gd name="T25" fmla="*/ 26 h 41"/>
                  <a:gd name="T26" fmla="*/ 3 w 72"/>
                  <a:gd name="T27" fmla="*/ 29 h 41"/>
                  <a:gd name="T28" fmla="*/ 3 w 72"/>
                  <a:gd name="T29" fmla="*/ 29 h 41"/>
                  <a:gd name="T30" fmla="*/ 12 w 72"/>
                  <a:gd name="T31" fmla="*/ 38 h 41"/>
                  <a:gd name="T32" fmla="*/ 24 w 72"/>
                  <a:gd name="T33" fmla="*/ 38 h 41"/>
                  <a:gd name="T34" fmla="*/ 39 w 72"/>
                  <a:gd name="T35" fmla="*/ 35 h 41"/>
                  <a:gd name="T36" fmla="*/ 42 w 72"/>
                  <a:gd name="T37" fmla="*/ 35 h 41"/>
                  <a:gd name="T38" fmla="*/ 45 w 72"/>
                  <a:gd name="T39" fmla="*/ 38 h 41"/>
                  <a:gd name="T40" fmla="*/ 54 w 72"/>
                  <a:gd name="T41" fmla="*/ 32 h 41"/>
                  <a:gd name="T42" fmla="*/ 63 w 72"/>
                  <a:gd name="T43" fmla="*/ 14 h 41"/>
                  <a:gd name="T44" fmla="*/ 72 w 72"/>
                  <a:gd name="T45" fmla="*/ 11 h 41"/>
                  <a:gd name="T46" fmla="*/ 69 w 72"/>
                  <a:gd name="T47"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41">
                    <a:moveTo>
                      <a:pt x="69" y="5"/>
                    </a:moveTo>
                    <a:cubicBezTo>
                      <a:pt x="69" y="5"/>
                      <a:pt x="69" y="5"/>
                      <a:pt x="66" y="5"/>
                    </a:cubicBezTo>
                    <a:cubicBezTo>
                      <a:pt x="63" y="5"/>
                      <a:pt x="60" y="3"/>
                      <a:pt x="60" y="3"/>
                    </a:cubicBezTo>
                    <a:cubicBezTo>
                      <a:pt x="57" y="0"/>
                      <a:pt x="51" y="0"/>
                      <a:pt x="51" y="0"/>
                    </a:cubicBezTo>
                    <a:cubicBezTo>
                      <a:pt x="48" y="0"/>
                      <a:pt x="42" y="5"/>
                      <a:pt x="39" y="5"/>
                    </a:cubicBezTo>
                    <a:cubicBezTo>
                      <a:pt x="36" y="5"/>
                      <a:pt x="27" y="8"/>
                      <a:pt x="27" y="8"/>
                    </a:cubicBezTo>
                    <a:cubicBezTo>
                      <a:pt x="27" y="11"/>
                      <a:pt x="15" y="11"/>
                      <a:pt x="12" y="8"/>
                    </a:cubicBezTo>
                    <a:cubicBezTo>
                      <a:pt x="12" y="8"/>
                      <a:pt x="12" y="8"/>
                      <a:pt x="12" y="8"/>
                    </a:cubicBezTo>
                    <a:cubicBezTo>
                      <a:pt x="9" y="8"/>
                      <a:pt x="9" y="8"/>
                      <a:pt x="9" y="11"/>
                    </a:cubicBezTo>
                    <a:cubicBezTo>
                      <a:pt x="9" y="14"/>
                      <a:pt x="6" y="14"/>
                      <a:pt x="3" y="14"/>
                    </a:cubicBezTo>
                    <a:cubicBezTo>
                      <a:pt x="3" y="17"/>
                      <a:pt x="3" y="17"/>
                      <a:pt x="3" y="17"/>
                    </a:cubicBezTo>
                    <a:cubicBezTo>
                      <a:pt x="3" y="20"/>
                      <a:pt x="3" y="23"/>
                      <a:pt x="0" y="23"/>
                    </a:cubicBezTo>
                    <a:cubicBezTo>
                      <a:pt x="0" y="23"/>
                      <a:pt x="0" y="23"/>
                      <a:pt x="0" y="26"/>
                    </a:cubicBezTo>
                    <a:cubicBezTo>
                      <a:pt x="3" y="29"/>
                      <a:pt x="3" y="29"/>
                      <a:pt x="3" y="29"/>
                    </a:cubicBezTo>
                    <a:cubicBezTo>
                      <a:pt x="3" y="29"/>
                      <a:pt x="3" y="29"/>
                      <a:pt x="3" y="29"/>
                    </a:cubicBezTo>
                    <a:cubicBezTo>
                      <a:pt x="3" y="32"/>
                      <a:pt x="9" y="35"/>
                      <a:pt x="12" y="38"/>
                    </a:cubicBezTo>
                    <a:cubicBezTo>
                      <a:pt x="12" y="41"/>
                      <a:pt x="21" y="41"/>
                      <a:pt x="24" y="38"/>
                    </a:cubicBezTo>
                    <a:cubicBezTo>
                      <a:pt x="27" y="38"/>
                      <a:pt x="39" y="35"/>
                      <a:pt x="39" y="35"/>
                    </a:cubicBezTo>
                    <a:cubicBezTo>
                      <a:pt x="42" y="35"/>
                      <a:pt x="42" y="35"/>
                      <a:pt x="42" y="35"/>
                    </a:cubicBezTo>
                    <a:cubicBezTo>
                      <a:pt x="42" y="35"/>
                      <a:pt x="45" y="35"/>
                      <a:pt x="45" y="38"/>
                    </a:cubicBezTo>
                    <a:cubicBezTo>
                      <a:pt x="48" y="35"/>
                      <a:pt x="51" y="35"/>
                      <a:pt x="54" y="32"/>
                    </a:cubicBezTo>
                    <a:cubicBezTo>
                      <a:pt x="57" y="29"/>
                      <a:pt x="63" y="17"/>
                      <a:pt x="63" y="14"/>
                    </a:cubicBezTo>
                    <a:cubicBezTo>
                      <a:pt x="66" y="14"/>
                      <a:pt x="69" y="11"/>
                      <a:pt x="72" y="11"/>
                    </a:cubicBezTo>
                    <a:cubicBezTo>
                      <a:pt x="72" y="8"/>
                      <a:pt x="72" y="8"/>
                      <a:pt x="69" y="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6" name="Freeform 780"/>
              <p:cNvSpPr>
                <a:spLocks/>
              </p:cNvSpPr>
              <p:nvPr userDrawn="1"/>
            </p:nvSpPr>
            <p:spPr bwMode="auto">
              <a:xfrm>
                <a:off x="3695" y="-2139"/>
                <a:ext cx="111" cy="58"/>
              </a:xfrm>
              <a:custGeom>
                <a:avLst/>
                <a:gdLst>
                  <a:gd name="T0" fmla="*/ 68 w 71"/>
                  <a:gd name="T1" fmla="*/ 18 h 37"/>
                  <a:gd name="T2" fmla="*/ 59 w 71"/>
                  <a:gd name="T3" fmla="*/ 15 h 37"/>
                  <a:gd name="T4" fmla="*/ 56 w 71"/>
                  <a:gd name="T5" fmla="*/ 12 h 37"/>
                  <a:gd name="T6" fmla="*/ 50 w 71"/>
                  <a:gd name="T7" fmla="*/ 12 h 37"/>
                  <a:gd name="T8" fmla="*/ 44 w 71"/>
                  <a:gd name="T9" fmla="*/ 9 h 37"/>
                  <a:gd name="T10" fmla="*/ 38 w 71"/>
                  <a:gd name="T11" fmla="*/ 6 h 37"/>
                  <a:gd name="T12" fmla="*/ 33 w 71"/>
                  <a:gd name="T13" fmla="*/ 0 h 37"/>
                  <a:gd name="T14" fmla="*/ 30 w 71"/>
                  <a:gd name="T15" fmla="*/ 3 h 37"/>
                  <a:gd name="T16" fmla="*/ 24 w 71"/>
                  <a:gd name="T17" fmla="*/ 3 h 37"/>
                  <a:gd name="T18" fmla="*/ 15 w 71"/>
                  <a:gd name="T19" fmla="*/ 6 h 37"/>
                  <a:gd name="T20" fmla="*/ 3 w 71"/>
                  <a:gd name="T21" fmla="*/ 12 h 37"/>
                  <a:gd name="T22" fmla="*/ 6 w 71"/>
                  <a:gd name="T23" fmla="*/ 18 h 37"/>
                  <a:gd name="T24" fmla="*/ 9 w 71"/>
                  <a:gd name="T25" fmla="*/ 27 h 37"/>
                  <a:gd name="T26" fmla="*/ 21 w 71"/>
                  <a:gd name="T27" fmla="*/ 37 h 37"/>
                  <a:gd name="T28" fmla="*/ 21 w 71"/>
                  <a:gd name="T29" fmla="*/ 37 h 37"/>
                  <a:gd name="T30" fmla="*/ 30 w 71"/>
                  <a:gd name="T31" fmla="*/ 37 h 37"/>
                  <a:gd name="T32" fmla="*/ 33 w 71"/>
                  <a:gd name="T33" fmla="*/ 30 h 37"/>
                  <a:gd name="T34" fmla="*/ 41 w 71"/>
                  <a:gd name="T35" fmla="*/ 34 h 37"/>
                  <a:gd name="T36" fmla="*/ 50 w 71"/>
                  <a:gd name="T37" fmla="*/ 37 h 37"/>
                  <a:gd name="T38" fmla="*/ 50 w 71"/>
                  <a:gd name="T39" fmla="*/ 37 h 37"/>
                  <a:gd name="T40" fmla="*/ 53 w 71"/>
                  <a:gd name="T41" fmla="*/ 34 h 37"/>
                  <a:gd name="T42" fmla="*/ 65 w 71"/>
                  <a:gd name="T43" fmla="*/ 27 h 37"/>
                  <a:gd name="T44" fmla="*/ 71 w 71"/>
                  <a:gd name="T45" fmla="*/ 24 h 37"/>
                  <a:gd name="T46" fmla="*/ 68 w 71"/>
                  <a:gd name="T47"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37">
                    <a:moveTo>
                      <a:pt x="68" y="18"/>
                    </a:moveTo>
                    <a:cubicBezTo>
                      <a:pt x="65" y="15"/>
                      <a:pt x="62" y="18"/>
                      <a:pt x="59" y="15"/>
                    </a:cubicBezTo>
                    <a:cubicBezTo>
                      <a:pt x="59" y="15"/>
                      <a:pt x="59" y="12"/>
                      <a:pt x="56" y="12"/>
                    </a:cubicBezTo>
                    <a:cubicBezTo>
                      <a:pt x="56" y="12"/>
                      <a:pt x="53" y="9"/>
                      <a:pt x="50" y="12"/>
                    </a:cubicBezTo>
                    <a:cubicBezTo>
                      <a:pt x="50" y="15"/>
                      <a:pt x="44" y="12"/>
                      <a:pt x="44" y="9"/>
                    </a:cubicBezTo>
                    <a:cubicBezTo>
                      <a:pt x="44" y="9"/>
                      <a:pt x="44" y="6"/>
                      <a:pt x="38" y="6"/>
                    </a:cubicBezTo>
                    <a:cubicBezTo>
                      <a:pt x="36" y="3"/>
                      <a:pt x="33" y="3"/>
                      <a:pt x="33" y="0"/>
                    </a:cubicBezTo>
                    <a:cubicBezTo>
                      <a:pt x="33" y="3"/>
                      <a:pt x="33" y="3"/>
                      <a:pt x="30" y="3"/>
                    </a:cubicBezTo>
                    <a:cubicBezTo>
                      <a:pt x="30" y="3"/>
                      <a:pt x="27" y="0"/>
                      <a:pt x="24" y="3"/>
                    </a:cubicBezTo>
                    <a:cubicBezTo>
                      <a:pt x="24" y="3"/>
                      <a:pt x="18" y="3"/>
                      <a:pt x="15" y="6"/>
                    </a:cubicBezTo>
                    <a:cubicBezTo>
                      <a:pt x="12" y="9"/>
                      <a:pt x="9" y="12"/>
                      <a:pt x="3" y="12"/>
                    </a:cubicBezTo>
                    <a:cubicBezTo>
                      <a:pt x="0" y="12"/>
                      <a:pt x="3" y="15"/>
                      <a:pt x="6" y="18"/>
                    </a:cubicBezTo>
                    <a:cubicBezTo>
                      <a:pt x="6" y="21"/>
                      <a:pt x="6" y="24"/>
                      <a:pt x="9" y="27"/>
                    </a:cubicBezTo>
                    <a:cubicBezTo>
                      <a:pt x="12" y="30"/>
                      <a:pt x="21" y="34"/>
                      <a:pt x="21" y="37"/>
                    </a:cubicBezTo>
                    <a:cubicBezTo>
                      <a:pt x="21" y="37"/>
                      <a:pt x="21" y="37"/>
                      <a:pt x="21" y="37"/>
                    </a:cubicBezTo>
                    <a:cubicBezTo>
                      <a:pt x="24" y="37"/>
                      <a:pt x="30" y="37"/>
                      <a:pt x="30" y="37"/>
                    </a:cubicBezTo>
                    <a:cubicBezTo>
                      <a:pt x="30" y="34"/>
                      <a:pt x="33" y="30"/>
                      <a:pt x="33" y="30"/>
                    </a:cubicBezTo>
                    <a:cubicBezTo>
                      <a:pt x="33" y="30"/>
                      <a:pt x="38" y="30"/>
                      <a:pt x="41" y="34"/>
                    </a:cubicBezTo>
                    <a:cubicBezTo>
                      <a:pt x="44" y="37"/>
                      <a:pt x="50" y="37"/>
                      <a:pt x="50" y="37"/>
                    </a:cubicBezTo>
                    <a:cubicBezTo>
                      <a:pt x="50" y="37"/>
                      <a:pt x="50" y="37"/>
                      <a:pt x="50" y="37"/>
                    </a:cubicBezTo>
                    <a:cubicBezTo>
                      <a:pt x="53" y="37"/>
                      <a:pt x="53" y="34"/>
                      <a:pt x="53" y="34"/>
                    </a:cubicBezTo>
                    <a:cubicBezTo>
                      <a:pt x="56" y="34"/>
                      <a:pt x="62" y="34"/>
                      <a:pt x="65" y="27"/>
                    </a:cubicBezTo>
                    <a:cubicBezTo>
                      <a:pt x="65" y="27"/>
                      <a:pt x="68" y="24"/>
                      <a:pt x="71" y="24"/>
                    </a:cubicBezTo>
                    <a:cubicBezTo>
                      <a:pt x="71" y="21"/>
                      <a:pt x="68" y="18"/>
                      <a:pt x="68"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7" name="Freeform 781"/>
              <p:cNvSpPr>
                <a:spLocks/>
              </p:cNvSpPr>
              <p:nvPr userDrawn="1"/>
            </p:nvSpPr>
            <p:spPr bwMode="auto">
              <a:xfrm>
                <a:off x="3695" y="-2139"/>
                <a:ext cx="111" cy="58"/>
              </a:xfrm>
              <a:custGeom>
                <a:avLst/>
                <a:gdLst>
                  <a:gd name="T0" fmla="*/ 68 w 71"/>
                  <a:gd name="T1" fmla="*/ 18 h 37"/>
                  <a:gd name="T2" fmla="*/ 59 w 71"/>
                  <a:gd name="T3" fmla="*/ 15 h 37"/>
                  <a:gd name="T4" fmla="*/ 56 w 71"/>
                  <a:gd name="T5" fmla="*/ 12 h 37"/>
                  <a:gd name="T6" fmla="*/ 50 w 71"/>
                  <a:gd name="T7" fmla="*/ 12 h 37"/>
                  <a:gd name="T8" fmla="*/ 44 w 71"/>
                  <a:gd name="T9" fmla="*/ 9 h 37"/>
                  <a:gd name="T10" fmla="*/ 38 w 71"/>
                  <a:gd name="T11" fmla="*/ 6 h 37"/>
                  <a:gd name="T12" fmla="*/ 33 w 71"/>
                  <a:gd name="T13" fmla="*/ 0 h 37"/>
                  <a:gd name="T14" fmla="*/ 30 w 71"/>
                  <a:gd name="T15" fmla="*/ 3 h 37"/>
                  <a:gd name="T16" fmla="*/ 24 w 71"/>
                  <a:gd name="T17" fmla="*/ 3 h 37"/>
                  <a:gd name="T18" fmla="*/ 15 w 71"/>
                  <a:gd name="T19" fmla="*/ 6 h 37"/>
                  <a:gd name="T20" fmla="*/ 3 w 71"/>
                  <a:gd name="T21" fmla="*/ 12 h 37"/>
                  <a:gd name="T22" fmla="*/ 6 w 71"/>
                  <a:gd name="T23" fmla="*/ 18 h 37"/>
                  <a:gd name="T24" fmla="*/ 9 w 71"/>
                  <a:gd name="T25" fmla="*/ 27 h 37"/>
                  <a:gd name="T26" fmla="*/ 21 w 71"/>
                  <a:gd name="T27" fmla="*/ 37 h 37"/>
                  <a:gd name="T28" fmla="*/ 21 w 71"/>
                  <a:gd name="T29" fmla="*/ 37 h 37"/>
                  <a:gd name="T30" fmla="*/ 30 w 71"/>
                  <a:gd name="T31" fmla="*/ 37 h 37"/>
                  <a:gd name="T32" fmla="*/ 33 w 71"/>
                  <a:gd name="T33" fmla="*/ 30 h 37"/>
                  <a:gd name="T34" fmla="*/ 41 w 71"/>
                  <a:gd name="T35" fmla="*/ 34 h 37"/>
                  <a:gd name="T36" fmla="*/ 50 w 71"/>
                  <a:gd name="T37" fmla="*/ 37 h 37"/>
                  <a:gd name="T38" fmla="*/ 50 w 71"/>
                  <a:gd name="T39" fmla="*/ 37 h 37"/>
                  <a:gd name="T40" fmla="*/ 53 w 71"/>
                  <a:gd name="T41" fmla="*/ 34 h 37"/>
                  <a:gd name="T42" fmla="*/ 65 w 71"/>
                  <a:gd name="T43" fmla="*/ 27 h 37"/>
                  <a:gd name="T44" fmla="*/ 71 w 71"/>
                  <a:gd name="T45" fmla="*/ 24 h 37"/>
                  <a:gd name="T46" fmla="*/ 68 w 71"/>
                  <a:gd name="T47"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37">
                    <a:moveTo>
                      <a:pt x="68" y="18"/>
                    </a:moveTo>
                    <a:cubicBezTo>
                      <a:pt x="65" y="15"/>
                      <a:pt x="62" y="18"/>
                      <a:pt x="59" y="15"/>
                    </a:cubicBezTo>
                    <a:cubicBezTo>
                      <a:pt x="59" y="15"/>
                      <a:pt x="59" y="12"/>
                      <a:pt x="56" y="12"/>
                    </a:cubicBezTo>
                    <a:cubicBezTo>
                      <a:pt x="56" y="12"/>
                      <a:pt x="53" y="9"/>
                      <a:pt x="50" y="12"/>
                    </a:cubicBezTo>
                    <a:cubicBezTo>
                      <a:pt x="50" y="15"/>
                      <a:pt x="44" y="12"/>
                      <a:pt x="44" y="9"/>
                    </a:cubicBezTo>
                    <a:cubicBezTo>
                      <a:pt x="44" y="9"/>
                      <a:pt x="44" y="6"/>
                      <a:pt x="38" y="6"/>
                    </a:cubicBezTo>
                    <a:cubicBezTo>
                      <a:pt x="36" y="3"/>
                      <a:pt x="33" y="3"/>
                      <a:pt x="33" y="0"/>
                    </a:cubicBezTo>
                    <a:cubicBezTo>
                      <a:pt x="33" y="3"/>
                      <a:pt x="33" y="3"/>
                      <a:pt x="30" y="3"/>
                    </a:cubicBezTo>
                    <a:cubicBezTo>
                      <a:pt x="30" y="3"/>
                      <a:pt x="27" y="0"/>
                      <a:pt x="24" y="3"/>
                    </a:cubicBezTo>
                    <a:cubicBezTo>
                      <a:pt x="24" y="3"/>
                      <a:pt x="18" y="3"/>
                      <a:pt x="15" y="6"/>
                    </a:cubicBezTo>
                    <a:cubicBezTo>
                      <a:pt x="12" y="9"/>
                      <a:pt x="9" y="12"/>
                      <a:pt x="3" y="12"/>
                    </a:cubicBezTo>
                    <a:cubicBezTo>
                      <a:pt x="0" y="12"/>
                      <a:pt x="3" y="15"/>
                      <a:pt x="6" y="18"/>
                    </a:cubicBezTo>
                    <a:cubicBezTo>
                      <a:pt x="6" y="21"/>
                      <a:pt x="6" y="24"/>
                      <a:pt x="9" y="27"/>
                    </a:cubicBezTo>
                    <a:cubicBezTo>
                      <a:pt x="12" y="30"/>
                      <a:pt x="21" y="34"/>
                      <a:pt x="21" y="37"/>
                    </a:cubicBezTo>
                    <a:cubicBezTo>
                      <a:pt x="21" y="37"/>
                      <a:pt x="21" y="37"/>
                      <a:pt x="21" y="37"/>
                    </a:cubicBezTo>
                    <a:cubicBezTo>
                      <a:pt x="24" y="37"/>
                      <a:pt x="30" y="37"/>
                      <a:pt x="30" y="37"/>
                    </a:cubicBezTo>
                    <a:cubicBezTo>
                      <a:pt x="30" y="34"/>
                      <a:pt x="33" y="30"/>
                      <a:pt x="33" y="30"/>
                    </a:cubicBezTo>
                    <a:cubicBezTo>
                      <a:pt x="33" y="30"/>
                      <a:pt x="38" y="30"/>
                      <a:pt x="41" y="34"/>
                    </a:cubicBezTo>
                    <a:cubicBezTo>
                      <a:pt x="44" y="37"/>
                      <a:pt x="50" y="37"/>
                      <a:pt x="50" y="37"/>
                    </a:cubicBezTo>
                    <a:cubicBezTo>
                      <a:pt x="50" y="37"/>
                      <a:pt x="50" y="37"/>
                      <a:pt x="50" y="37"/>
                    </a:cubicBezTo>
                    <a:cubicBezTo>
                      <a:pt x="53" y="37"/>
                      <a:pt x="53" y="34"/>
                      <a:pt x="53" y="34"/>
                    </a:cubicBezTo>
                    <a:cubicBezTo>
                      <a:pt x="56" y="34"/>
                      <a:pt x="62" y="34"/>
                      <a:pt x="65" y="27"/>
                    </a:cubicBezTo>
                    <a:cubicBezTo>
                      <a:pt x="65" y="27"/>
                      <a:pt x="68" y="24"/>
                      <a:pt x="71" y="24"/>
                    </a:cubicBezTo>
                    <a:cubicBezTo>
                      <a:pt x="71" y="21"/>
                      <a:pt x="68" y="18"/>
                      <a:pt x="68"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8" name="Freeform 782"/>
              <p:cNvSpPr>
                <a:spLocks/>
              </p:cNvSpPr>
              <p:nvPr userDrawn="1"/>
            </p:nvSpPr>
            <p:spPr bwMode="auto">
              <a:xfrm>
                <a:off x="3774" y="-2106"/>
                <a:ext cx="99" cy="44"/>
              </a:xfrm>
              <a:custGeom>
                <a:avLst/>
                <a:gdLst>
                  <a:gd name="T0" fmla="*/ 48 w 63"/>
                  <a:gd name="T1" fmla="*/ 3 h 28"/>
                  <a:gd name="T2" fmla="*/ 39 w 63"/>
                  <a:gd name="T3" fmla="*/ 3 h 28"/>
                  <a:gd name="T4" fmla="*/ 30 w 63"/>
                  <a:gd name="T5" fmla="*/ 3 h 28"/>
                  <a:gd name="T6" fmla="*/ 24 w 63"/>
                  <a:gd name="T7" fmla="*/ 3 h 28"/>
                  <a:gd name="T8" fmla="*/ 21 w 63"/>
                  <a:gd name="T9" fmla="*/ 3 h 28"/>
                  <a:gd name="T10" fmla="*/ 15 w 63"/>
                  <a:gd name="T11" fmla="*/ 6 h 28"/>
                  <a:gd name="T12" fmla="*/ 3 w 63"/>
                  <a:gd name="T13" fmla="*/ 12 h 28"/>
                  <a:gd name="T14" fmla="*/ 0 w 63"/>
                  <a:gd name="T15" fmla="*/ 15 h 28"/>
                  <a:gd name="T16" fmla="*/ 6 w 63"/>
                  <a:gd name="T17" fmla="*/ 24 h 28"/>
                  <a:gd name="T18" fmla="*/ 21 w 63"/>
                  <a:gd name="T19" fmla="*/ 24 h 28"/>
                  <a:gd name="T20" fmla="*/ 33 w 63"/>
                  <a:gd name="T21" fmla="*/ 21 h 28"/>
                  <a:gd name="T22" fmla="*/ 45 w 63"/>
                  <a:gd name="T23" fmla="*/ 15 h 28"/>
                  <a:gd name="T24" fmla="*/ 54 w 63"/>
                  <a:gd name="T25" fmla="*/ 18 h 28"/>
                  <a:gd name="T26" fmla="*/ 60 w 63"/>
                  <a:gd name="T27" fmla="*/ 21 h 28"/>
                  <a:gd name="T28" fmla="*/ 60 w 63"/>
                  <a:gd name="T29" fmla="*/ 18 h 28"/>
                  <a:gd name="T30" fmla="*/ 63 w 63"/>
                  <a:gd name="T31" fmla="*/ 9 h 28"/>
                  <a:gd name="T32" fmla="*/ 63 w 63"/>
                  <a:gd name="T33" fmla="*/ 9 h 28"/>
                  <a:gd name="T34" fmla="*/ 57 w 63"/>
                  <a:gd name="T35" fmla="*/ 6 h 28"/>
                  <a:gd name="T36" fmla="*/ 48 w 63"/>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28">
                    <a:moveTo>
                      <a:pt x="48" y="3"/>
                    </a:moveTo>
                    <a:cubicBezTo>
                      <a:pt x="45" y="6"/>
                      <a:pt x="42" y="3"/>
                      <a:pt x="39" y="3"/>
                    </a:cubicBezTo>
                    <a:cubicBezTo>
                      <a:pt x="36" y="6"/>
                      <a:pt x="30" y="3"/>
                      <a:pt x="30" y="3"/>
                    </a:cubicBezTo>
                    <a:cubicBezTo>
                      <a:pt x="27" y="0"/>
                      <a:pt x="24" y="6"/>
                      <a:pt x="24" y="3"/>
                    </a:cubicBezTo>
                    <a:cubicBezTo>
                      <a:pt x="21" y="3"/>
                      <a:pt x="21" y="3"/>
                      <a:pt x="21" y="3"/>
                    </a:cubicBezTo>
                    <a:cubicBezTo>
                      <a:pt x="18" y="3"/>
                      <a:pt x="15" y="6"/>
                      <a:pt x="15" y="6"/>
                    </a:cubicBezTo>
                    <a:cubicBezTo>
                      <a:pt x="12" y="12"/>
                      <a:pt x="6" y="12"/>
                      <a:pt x="3" y="12"/>
                    </a:cubicBezTo>
                    <a:cubicBezTo>
                      <a:pt x="3" y="12"/>
                      <a:pt x="3" y="15"/>
                      <a:pt x="0" y="15"/>
                    </a:cubicBezTo>
                    <a:cubicBezTo>
                      <a:pt x="3" y="18"/>
                      <a:pt x="3" y="24"/>
                      <a:pt x="6" y="24"/>
                    </a:cubicBezTo>
                    <a:cubicBezTo>
                      <a:pt x="9" y="28"/>
                      <a:pt x="21" y="28"/>
                      <a:pt x="21" y="24"/>
                    </a:cubicBezTo>
                    <a:cubicBezTo>
                      <a:pt x="21" y="24"/>
                      <a:pt x="30" y="21"/>
                      <a:pt x="33" y="21"/>
                    </a:cubicBezTo>
                    <a:cubicBezTo>
                      <a:pt x="36" y="21"/>
                      <a:pt x="42" y="15"/>
                      <a:pt x="45" y="15"/>
                    </a:cubicBezTo>
                    <a:cubicBezTo>
                      <a:pt x="45" y="15"/>
                      <a:pt x="51" y="15"/>
                      <a:pt x="54" y="18"/>
                    </a:cubicBezTo>
                    <a:cubicBezTo>
                      <a:pt x="54" y="18"/>
                      <a:pt x="57" y="21"/>
                      <a:pt x="60" y="21"/>
                    </a:cubicBezTo>
                    <a:cubicBezTo>
                      <a:pt x="60" y="18"/>
                      <a:pt x="60" y="18"/>
                      <a:pt x="60" y="18"/>
                    </a:cubicBezTo>
                    <a:cubicBezTo>
                      <a:pt x="60" y="15"/>
                      <a:pt x="63" y="9"/>
                      <a:pt x="63" y="9"/>
                    </a:cubicBezTo>
                    <a:cubicBezTo>
                      <a:pt x="63" y="9"/>
                      <a:pt x="63" y="9"/>
                      <a:pt x="63" y="9"/>
                    </a:cubicBezTo>
                    <a:cubicBezTo>
                      <a:pt x="60" y="9"/>
                      <a:pt x="57" y="6"/>
                      <a:pt x="57" y="6"/>
                    </a:cubicBezTo>
                    <a:cubicBezTo>
                      <a:pt x="57" y="6"/>
                      <a:pt x="51" y="3"/>
                      <a:pt x="48"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09" name="Freeform 783"/>
              <p:cNvSpPr>
                <a:spLocks/>
              </p:cNvSpPr>
              <p:nvPr userDrawn="1"/>
            </p:nvSpPr>
            <p:spPr bwMode="auto">
              <a:xfrm>
                <a:off x="3774" y="-2106"/>
                <a:ext cx="99" cy="44"/>
              </a:xfrm>
              <a:custGeom>
                <a:avLst/>
                <a:gdLst>
                  <a:gd name="T0" fmla="*/ 48 w 63"/>
                  <a:gd name="T1" fmla="*/ 3 h 28"/>
                  <a:gd name="T2" fmla="*/ 39 w 63"/>
                  <a:gd name="T3" fmla="*/ 3 h 28"/>
                  <a:gd name="T4" fmla="*/ 30 w 63"/>
                  <a:gd name="T5" fmla="*/ 3 h 28"/>
                  <a:gd name="T6" fmla="*/ 24 w 63"/>
                  <a:gd name="T7" fmla="*/ 3 h 28"/>
                  <a:gd name="T8" fmla="*/ 21 w 63"/>
                  <a:gd name="T9" fmla="*/ 3 h 28"/>
                  <a:gd name="T10" fmla="*/ 15 w 63"/>
                  <a:gd name="T11" fmla="*/ 6 h 28"/>
                  <a:gd name="T12" fmla="*/ 3 w 63"/>
                  <a:gd name="T13" fmla="*/ 12 h 28"/>
                  <a:gd name="T14" fmla="*/ 0 w 63"/>
                  <a:gd name="T15" fmla="*/ 15 h 28"/>
                  <a:gd name="T16" fmla="*/ 6 w 63"/>
                  <a:gd name="T17" fmla="*/ 24 h 28"/>
                  <a:gd name="T18" fmla="*/ 21 w 63"/>
                  <a:gd name="T19" fmla="*/ 24 h 28"/>
                  <a:gd name="T20" fmla="*/ 33 w 63"/>
                  <a:gd name="T21" fmla="*/ 21 h 28"/>
                  <a:gd name="T22" fmla="*/ 45 w 63"/>
                  <a:gd name="T23" fmla="*/ 15 h 28"/>
                  <a:gd name="T24" fmla="*/ 54 w 63"/>
                  <a:gd name="T25" fmla="*/ 18 h 28"/>
                  <a:gd name="T26" fmla="*/ 60 w 63"/>
                  <a:gd name="T27" fmla="*/ 21 h 28"/>
                  <a:gd name="T28" fmla="*/ 60 w 63"/>
                  <a:gd name="T29" fmla="*/ 18 h 28"/>
                  <a:gd name="T30" fmla="*/ 63 w 63"/>
                  <a:gd name="T31" fmla="*/ 9 h 28"/>
                  <a:gd name="T32" fmla="*/ 63 w 63"/>
                  <a:gd name="T33" fmla="*/ 9 h 28"/>
                  <a:gd name="T34" fmla="*/ 57 w 63"/>
                  <a:gd name="T35" fmla="*/ 6 h 28"/>
                  <a:gd name="T36" fmla="*/ 48 w 63"/>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3" h="28">
                    <a:moveTo>
                      <a:pt x="48" y="3"/>
                    </a:moveTo>
                    <a:cubicBezTo>
                      <a:pt x="45" y="6"/>
                      <a:pt x="42" y="3"/>
                      <a:pt x="39" y="3"/>
                    </a:cubicBezTo>
                    <a:cubicBezTo>
                      <a:pt x="36" y="6"/>
                      <a:pt x="30" y="3"/>
                      <a:pt x="30" y="3"/>
                    </a:cubicBezTo>
                    <a:cubicBezTo>
                      <a:pt x="27" y="0"/>
                      <a:pt x="24" y="6"/>
                      <a:pt x="24" y="3"/>
                    </a:cubicBezTo>
                    <a:cubicBezTo>
                      <a:pt x="21" y="3"/>
                      <a:pt x="21" y="3"/>
                      <a:pt x="21" y="3"/>
                    </a:cubicBezTo>
                    <a:cubicBezTo>
                      <a:pt x="18" y="3"/>
                      <a:pt x="15" y="6"/>
                      <a:pt x="15" y="6"/>
                    </a:cubicBezTo>
                    <a:cubicBezTo>
                      <a:pt x="12" y="12"/>
                      <a:pt x="6" y="12"/>
                      <a:pt x="3" y="12"/>
                    </a:cubicBezTo>
                    <a:cubicBezTo>
                      <a:pt x="3" y="12"/>
                      <a:pt x="3" y="15"/>
                      <a:pt x="0" y="15"/>
                    </a:cubicBezTo>
                    <a:cubicBezTo>
                      <a:pt x="3" y="18"/>
                      <a:pt x="3" y="24"/>
                      <a:pt x="6" y="24"/>
                    </a:cubicBezTo>
                    <a:cubicBezTo>
                      <a:pt x="9" y="28"/>
                      <a:pt x="21" y="28"/>
                      <a:pt x="21" y="24"/>
                    </a:cubicBezTo>
                    <a:cubicBezTo>
                      <a:pt x="21" y="24"/>
                      <a:pt x="30" y="21"/>
                      <a:pt x="33" y="21"/>
                    </a:cubicBezTo>
                    <a:cubicBezTo>
                      <a:pt x="36" y="21"/>
                      <a:pt x="42" y="15"/>
                      <a:pt x="45" y="15"/>
                    </a:cubicBezTo>
                    <a:cubicBezTo>
                      <a:pt x="45" y="15"/>
                      <a:pt x="51" y="15"/>
                      <a:pt x="54" y="18"/>
                    </a:cubicBezTo>
                    <a:cubicBezTo>
                      <a:pt x="54" y="18"/>
                      <a:pt x="57" y="21"/>
                      <a:pt x="60" y="21"/>
                    </a:cubicBezTo>
                    <a:cubicBezTo>
                      <a:pt x="60" y="18"/>
                      <a:pt x="60" y="18"/>
                      <a:pt x="60" y="18"/>
                    </a:cubicBezTo>
                    <a:cubicBezTo>
                      <a:pt x="60" y="15"/>
                      <a:pt x="63" y="9"/>
                      <a:pt x="63" y="9"/>
                    </a:cubicBezTo>
                    <a:cubicBezTo>
                      <a:pt x="63" y="9"/>
                      <a:pt x="63" y="9"/>
                      <a:pt x="63" y="9"/>
                    </a:cubicBezTo>
                    <a:cubicBezTo>
                      <a:pt x="60" y="9"/>
                      <a:pt x="57" y="6"/>
                      <a:pt x="57" y="6"/>
                    </a:cubicBezTo>
                    <a:cubicBezTo>
                      <a:pt x="57" y="6"/>
                      <a:pt x="51" y="3"/>
                      <a:pt x="48"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0" name="Freeform 784"/>
              <p:cNvSpPr>
                <a:spLocks/>
              </p:cNvSpPr>
              <p:nvPr userDrawn="1"/>
            </p:nvSpPr>
            <p:spPr bwMode="auto">
              <a:xfrm>
                <a:off x="3312" y="-1937"/>
                <a:ext cx="65" cy="107"/>
              </a:xfrm>
              <a:custGeom>
                <a:avLst/>
                <a:gdLst>
                  <a:gd name="T0" fmla="*/ 30 w 42"/>
                  <a:gd name="T1" fmla="*/ 57 h 69"/>
                  <a:gd name="T2" fmla="*/ 27 w 42"/>
                  <a:gd name="T3" fmla="*/ 51 h 69"/>
                  <a:gd name="T4" fmla="*/ 30 w 42"/>
                  <a:gd name="T5" fmla="*/ 45 h 69"/>
                  <a:gd name="T6" fmla="*/ 27 w 42"/>
                  <a:gd name="T7" fmla="*/ 39 h 69"/>
                  <a:gd name="T8" fmla="*/ 30 w 42"/>
                  <a:gd name="T9" fmla="*/ 33 h 69"/>
                  <a:gd name="T10" fmla="*/ 30 w 42"/>
                  <a:gd name="T11" fmla="*/ 27 h 69"/>
                  <a:gd name="T12" fmla="*/ 30 w 42"/>
                  <a:gd name="T13" fmla="*/ 15 h 69"/>
                  <a:gd name="T14" fmla="*/ 39 w 42"/>
                  <a:gd name="T15" fmla="*/ 9 h 69"/>
                  <a:gd name="T16" fmla="*/ 36 w 42"/>
                  <a:gd name="T17" fmla="*/ 6 h 69"/>
                  <a:gd name="T18" fmla="*/ 27 w 42"/>
                  <a:gd name="T19" fmla="*/ 3 h 69"/>
                  <a:gd name="T20" fmla="*/ 24 w 42"/>
                  <a:gd name="T21" fmla="*/ 3 h 69"/>
                  <a:gd name="T22" fmla="*/ 18 w 42"/>
                  <a:gd name="T23" fmla="*/ 3 h 69"/>
                  <a:gd name="T24" fmla="*/ 12 w 42"/>
                  <a:gd name="T25" fmla="*/ 0 h 69"/>
                  <a:gd name="T26" fmla="*/ 9 w 42"/>
                  <a:gd name="T27" fmla="*/ 3 h 69"/>
                  <a:gd name="T28" fmla="*/ 9 w 42"/>
                  <a:gd name="T29" fmla="*/ 9 h 69"/>
                  <a:gd name="T30" fmla="*/ 3 w 42"/>
                  <a:gd name="T31" fmla="*/ 36 h 69"/>
                  <a:gd name="T32" fmla="*/ 6 w 42"/>
                  <a:gd name="T33" fmla="*/ 48 h 69"/>
                  <a:gd name="T34" fmla="*/ 9 w 42"/>
                  <a:gd name="T35" fmla="*/ 66 h 69"/>
                  <a:gd name="T36" fmla="*/ 18 w 42"/>
                  <a:gd name="T37" fmla="*/ 69 h 69"/>
                  <a:gd name="T38" fmla="*/ 27 w 42"/>
                  <a:gd name="T39" fmla="*/ 66 h 69"/>
                  <a:gd name="T40" fmla="*/ 24 w 42"/>
                  <a:gd name="T41" fmla="*/ 63 h 69"/>
                  <a:gd name="T42" fmla="*/ 30 w 42"/>
                  <a:gd name="T43" fmla="*/ 5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69">
                    <a:moveTo>
                      <a:pt x="30" y="57"/>
                    </a:moveTo>
                    <a:cubicBezTo>
                      <a:pt x="33" y="54"/>
                      <a:pt x="27" y="51"/>
                      <a:pt x="27" y="51"/>
                    </a:cubicBezTo>
                    <a:cubicBezTo>
                      <a:pt x="27" y="48"/>
                      <a:pt x="27" y="45"/>
                      <a:pt x="30" y="45"/>
                    </a:cubicBezTo>
                    <a:cubicBezTo>
                      <a:pt x="33" y="45"/>
                      <a:pt x="30" y="42"/>
                      <a:pt x="27" y="39"/>
                    </a:cubicBezTo>
                    <a:cubicBezTo>
                      <a:pt x="24" y="36"/>
                      <a:pt x="27" y="33"/>
                      <a:pt x="30" y="33"/>
                    </a:cubicBezTo>
                    <a:cubicBezTo>
                      <a:pt x="33" y="33"/>
                      <a:pt x="27" y="30"/>
                      <a:pt x="30" y="27"/>
                    </a:cubicBezTo>
                    <a:cubicBezTo>
                      <a:pt x="33" y="24"/>
                      <a:pt x="30" y="18"/>
                      <a:pt x="30" y="15"/>
                    </a:cubicBezTo>
                    <a:cubicBezTo>
                      <a:pt x="30" y="12"/>
                      <a:pt x="33" y="12"/>
                      <a:pt x="39" y="9"/>
                    </a:cubicBezTo>
                    <a:cubicBezTo>
                      <a:pt x="42" y="6"/>
                      <a:pt x="36" y="6"/>
                      <a:pt x="36" y="6"/>
                    </a:cubicBezTo>
                    <a:cubicBezTo>
                      <a:pt x="36" y="3"/>
                      <a:pt x="30" y="0"/>
                      <a:pt x="27" y="3"/>
                    </a:cubicBezTo>
                    <a:cubicBezTo>
                      <a:pt x="24" y="6"/>
                      <a:pt x="27" y="3"/>
                      <a:pt x="24" y="3"/>
                    </a:cubicBezTo>
                    <a:cubicBezTo>
                      <a:pt x="21" y="3"/>
                      <a:pt x="18" y="3"/>
                      <a:pt x="18" y="3"/>
                    </a:cubicBezTo>
                    <a:cubicBezTo>
                      <a:pt x="18" y="0"/>
                      <a:pt x="15" y="0"/>
                      <a:pt x="12" y="0"/>
                    </a:cubicBezTo>
                    <a:cubicBezTo>
                      <a:pt x="12" y="3"/>
                      <a:pt x="12" y="3"/>
                      <a:pt x="9" y="3"/>
                    </a:cubicBezTo>
                    <a:cubicBezTo>
                      <a:pt x="9" y="6"/>
                      <a:pt x="9" y="9"/>
                      <a:pt x="9" y="9"/>
                    </a:cubicBezTo>
                    <a:cubicBezTo>
                      <a:pt x="12" y="15"/>
                      <a:pt x="6" y="33"/>
                      <a:pt x="3" y="36"/>
                    </a:cubicBezTo>
                    <a:cubicBezTo>
                      <a:pt x="0" y="42"/>
                      <a:pt x="3" y="45"/>
                      <a:pt x="6" y="48"/>
                    </a:cubicBezTo>
                    <a:cubicBezTo>
                      <a:pt x="12" y="51"/>
                      <a:pt x="9" y="63"/>
                      <a:pt x="9" y="66"/>
                    </a:cubicBezTo>
                    <a:cubicBezTo>
                      <a:pt x="9" y="69"/>
                      <a:pt x="12" y="69"/>
                      <a:pt x="18" y="69"/>
                    </a:cubicBezTo>
                    <a:cubicBezTo>
                      <a:pt x="21" y="69"/>
                      <a:pt x="24" y="66"/>
                      <a:pt x="27" y="66"/>
                    </a:cubicBezTo>
                    <a:cubicBezTo>
                      <a:pt x="24" y="66"/>
                      <a:pt x="24" y="63"/>
                      <a:pt x="24" y="63"/>
                    </a:cubicBezTo>
                    <a:cubicBezTo>
                      <a:pt x="24" y="60"/>
                      <a:pt x="24" y="57"/>
                      <a:pt x="30" y="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1" name="Freeform 785"/>
              <p:cNvSpPr>
                <a:spLocks/>
              </p:cNvSpPr>
              <p:nvPr userDrawn="1"/>
            </p:nvSpPr>
            <p:spPr bwMode="auto">
              <a:xfrm>
                <a:off x="3312" y="-1937"/>
                <a:ext cx="65" cy="107"/>
              </a:xfrm>
              <a:custGeom>
                <a:avLst/>
                <a:gdLst>
                  <a:gd name="T0" fmla="*/ 30 w 42"/>
                  <a:gd name="T1" fmla="*/ 57 h 69"/>
                  <a:gd name="T2" fmla="*/ 27 w 42"/>
                  <a:gd name="T3" fmla="*/ 51 h 69"/>
                  <a:gd name="T4" fmla="*/ 30 w 42"/>
                  <a:gd name="T5" fmla="*/ 45 h 69"/>
                  <a:gd name="T6" fmla="*/ 27 w 42"/>
                  <a:gd name="T7" fmla="*/ 39 h 69"/>
                  <a:gd name="T8" fmla="*/ 30 w 42"/>
                  <a:gd name="T9" fmla="*/ 33 h 69"/>
                  <a:gd name="T10" fmla="*/ 30 w 42"/>
                  <a:gd name="T11" fmla="*/ 27 h 69"/>
                  <a:gd name="T12" fmla="*/ 30 w 42"/>
                  <a:gd name="T13" fmla="*/ 15 h 69"/>
                  <a:gd name="T14" fmla="*/ 39 w 42"/>
                  <a:gd name="T15" fmla="*/ 9 h 69"/>
                  <a:gd name="T16" fmla="*/ 36 w 42"/>
                  <a:gd name="T17" fmla="*/ 6 h 69"/>
                  <a:gd name="T18" fmla="*/ 27 w 42"/>
                  <a:gd name="T19" fmla="*/ 3 h 69"/>
                  <a:gd name="T20" fmla="*/ 24 w 42"/>
                  <a:gd name="T21" fmla="*/ 3 h 69"/>
                  <a:gd name="T22" fmla="*/ 18 w 42"/>
                  <a:gd name="T23" fmla="*/ 3 h 69"/>
                  <a:gd name="T24" fmla="*/ 12 w 42"/>
                  <a:gd name="T25" fmla="*/ 0 h 69"/>
                  <a:gd name="T26" fmla="*/ 9 w 42"/>
                  <a:gd name="T27" fmla="*/ 3 h 69"/>
                  <a:gd name="T28" fmla="*/ 9 w 42"/>
                  <a:gd name="T29" fmla="*/ 9 h 69"/>
                  <a:gd name="T30" fmla="*/ 3 w 42"/>
                  <a:gd name="T31" fmla="*/ 36 h 69"/>
                  <a:gd name="T32" fmla="*/ 6 w 42"/>
                  <a:gd name="T33" fmla="*/ 48 h 69"/>
                  <a:gd name="T34" fmla="*/ 9 w 42"/>
                  <a:gd name="T35" fmla="*/ 66 h 69"/>
                  <a:gd name="T36" fmla="*/ 18 w 42"/>
                  <a:gd name="T37" fmla="*/ 69 h 69"/>
                  <a:gd name="T38" fmla="*/ 27 w 42"/>
                  <a:gd name="T39" fmla="*/ 66 h 69"/>
                  <a:gd name="T40" fmla="*/ 24 w 42"/>
                  <a:gd name="T41" fmla="*/ 63 h 69"/>
                  <a:gd name="T42" fmla="*/ 30 w 42"/>
                  <a:gd name="T43" fmla="*/ 5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69">
                    <a:moveTo>
                      <a:pt x="30" y="57"/>
                    </a:moveTo>
                    <a:cubicBezTo>
                      <a:pt x="33" y="54"/>
                      <a:pt x="27" y="51"/>
                      <a:pt x="27" y="51"/>
                    </a:cubicBezTo>
                    <a:cubicBezTo>
                      <a:pt x="27" y="48"/>
                      <a:pt x="27" y="45"/>
                      <a:pt x="30" y="45"/>
                    </a:cubicBezTo>
                    <a:cubicBezTo>
                      <a:pt x="33" y="45"/>
                      <a:pt x="30" y="42"/>
                      <a:pt x="27" y="39"/>
                    </a:cubicBezTo>
                    <a:cubicBezTo>
                      <a:pt x="24" y="36"/>
                      <a:pt x="27" y="33"/>
                      <a:pt x="30" y="33"/>
                    </a:cubicBezTo>
                    <a:cubicBezTo>
                      <a:pt x="33" y="33"/>
                      <a:pt x="27" y="30"/>
                      <a:pt x="30" y="27"/>
                    </a:cubicBezTo>
                    <a:cubicBezTo>
                      <a:pt x="33" y="24"/>
                      <a:pt x="30" y="18"/>
                      <a:pt x="30" y="15"/>
                    </a:cubicBezTo>
                    <a:cubicBezTo>
                      <a:pt x="30" y="12"/>
                      <a:pt x="33" y="12"/>
                      <a:pt x="39" y="9"/>
                    </a:cubicBezTo>
                    <a:cubicBezTo>
                      <a:pt x="42" y="6"/>
                      <a:pt x="36" y="6"/>
                      <a:pt x="36" y="6"/>
                    </a:cubicBezTo>
                    <a:cubicBezTo>
                      <a:pt x="36" y="3"/>
                      <a:pt x="30" y="0"/>
                      <a:pt x="27" y="3"/>
                    </a:cubicBezTo>
                    <a:cubicBezTo>
                      <a:pt x="24" y="6"/>
                      <a:pt x="27" y="3"/>
                      <a:pt x="24" y="3"/>
                    </a:cubicBezTo>
                    <a:cubicBezTo>
                      <a:pt x="21" y="3"/>
                      <a:pt x="18" y="3"/>
                      <a:pt x="18" y="3"/>
                    </a:cubicBezTo>
                    <a:cubicBezTo>
                      <a:pt x="18" y="0"/>
                      <a:pt x="15" y="0"/>
                      <a:pt x="12" y="0"/>
                    </a:cubicBezTo>
                    <a:cubicBezTo>
                      <a:pt x="12" y="3"/>
                      <a:pt x="12" y="3"/>
                      <a:pt x="9" y="3"/>
                    </a:cubicBezTo>
                    <a:cubicBezTo>
                      <a:pt x="9" y="6"/>
                      <a:pt x="9" y="9"/>
                      <a:pt x="9" y="9"/>
                    </a:cubicBezTo>
                    <a:cubicBezTo>
                      <a:pt x="12" y="15"/>
                      <a:pt x="6" y="33"/>
                      <a:pt x="3" y="36"/>
                    </a:cubicBezTo>
                    <a:cubicBezTo>
                      <a:pt x="0" y="42"/>
                      <a:pt x="3" y="45"/>
                      <a:pt x="6" y="48"/>
                    </a:cubicBezTo>
                    <a:cubicBezTo>
                      <a:pt x="12" y="51"/>
                      <a:pt x="9" y="63"/>
                      <a:pt x="9" y="66"/>
                    </a:cubicBezTo>
                    <a:cubicBezTo>
                      <a:pt x="9" y="69"/>
                      <a:pt x="12" y="69"/>
                      <a:pt x="18" y="69"/>
                    </a:cubicBezTo>
                    <a:cubicBezTo>
                      <a:pt x="21" y="69"/>
                      <a:pt x="24" y="66"/>
                      <a:pt x="27" y="66"/>
                    </a:cubicBezTo>
                    <a:cubicBezTo>
                      <a:pt x="24" y="66"/>
                      <a:pt x="24" y="63"/>
                      <a:pt x="24" y="63"/>
                    </a:cubicBezTo>
                    <a:cubicBezTo>
                      <a:pt x="24" y="60"/>
                      <a:pt x="24" y="57"/>
                      <a:pt x="30" y="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2" name="Freeform 786"/>
              <p:cNvSpPr>
                <a:spLocks/>
              </p:cNvSpPr>
              <p:nvPr userDrawn="1"/>
            </p:nvSpPr>
            <p:spPr bwMode="auto">
              <a:xfrm>
                <a:off x="3536" y="-2196"/>
                <a:ext cx="75" cy="62"/>
              </a:xfrm>
              <a:custGeom>
                <a:avLst/>
                <a:gdLst>
                  <a:gd name="T0" fmla="*/ 15 w 48"/>
                  <a:gd name="T1" fmla="*/ 31 h 40"/>
                  <a:gd name="T2" fmla="*/ 24 w 48"/>
                  <a:gd name="T3" fmla="*/ 34 h 40"/>
                  <a:gd name="T4" fmla="*/ 33 w 48"/>
                  <a:gd name="T5" fmla="*/ 40 h 40"/>
                  <a:gd name="T6" fmla="*/ 33 w 48"/>
                  <a:gd name="T7" fmla="*/ 40 h 40"/>
                  <a:gd name="T8" fmla="*/ 36 w 48"/>
                  <a:gd name="T9" fmla="*/ 34 h 40"/>
                  <a:gd name="T10" fmla="*/ 36 w 48"/>
                  <a:gd name="T11" fmla="*/ 28 h 40"/>
                  <a:gd name="T12" fmla="*/ 42 w 48"/>
                  <a:gd name="T13" fmla="*/ 25 h 40"/>
                  <a:gd name="T14" fmla="*/ 45 w 48"/>
                  <a:gd name="T15" fmla="*/ 22 h 40"/>
                  <a:gd name="T16" fmla="*/ 42 w 48"/>
                  <a:gd name="T17" fmla="*/ 16 h 40"/>
                  <a:gd name="T18" fmla="*/ 48 w 48"/>
                  <a:gd name="T19" fmla="*/ 10 h 40"/>
                  <a:gd name="T20" fmla="*/ 48 w 48"/>
                  <a:gd name="T21" fmla="*/ 0 h 40"/>
                  <a:gd name="T22" fmla="*/ 45 w 48"/>
                  <a:gd name="T23" fmla="*/ 3 h 40"/>
                  <a:gd name="T24" fmla="*/ 33 w 48"/>
                  <a:gd name="T25" fmla="*/ 3 h 40"/>
                  <a:gd name="T26" fmla="*/ 27 w 48"/>
                  <a:gd name="T27" fmla="*/ 10 h 40"/>
                  <a:gd name="T28" fmla="*/ 24 w 48"/>
                  <a:gd name="T29" fmla="*/ 10 h 40"/>
                  <a:gd name="T30" fmla="*/ 18 w 48"/>
                  <a:gd name="T31" fmla="*/ 13 h 40"/>
                  <a:gd name="T32" fmla="*/ 12 w 48"/>
                  <a:gd name="T33" fmla="*/ 22 h 40"/>
                  <a:gd name="T34" fmla="*/ 3 w 48"/>
                  <a:gd name="T35" fmla="*/ 34 h 40"/>
                  <a:gd name="T36" fmla="*/ 0 w 48"/>
                  <a:gd name="T37" fmla="*/ 34 h 40"/>
                  <a:gd name="T38" fmla="*/ 6 w 48"/>
                  <a:gd name="T39" fmla="*/ 37 h 40"/>
                  <a:gd name="T40" fmla="*/ 15 w 48"/>
                  <a:gd name="T41"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40">
                    <a:moveTo>
                      <a:pt x="15" y="31"/>
                    </a:moveTo>
                    <a:cubicBezTo>
                      <a:pt x="18" y="31"/>
                      <a:pt x="21" y="31"/>
                      <a:pt x="24" y="34"/>
                    </a:cubicBezTo>
                    <a:cubicBezTo>
                      <a:pt x="27" y="34"/>
                      <a:pt x="30" y="37"/>
                      <a:pt x="33" y="40"/>
                    </a:cubicBezTo>
                    <a:cubicBezTo>
                      <a:pt x="33" y="40"/>
                      <a:pt x="33" y="40"/>
                      <a:pt x="33" y="40"/>
                    </a:cubicBezTo>
                    <a:cubicBezTo>
                      <a:pt x="36" y="40"/>
                      <a:pt x="36" y="34"/>
                      <a:pt x="36" y="34"/>
                    </a:cubicBezTo>
                    <a:cubicBezTo>
                      <a:pt x="36" y="31"/>
                      <a:pt x="36" y="28"/>
                      <a:pt x="36" y="28"/>
                    </a:cubicBezTo>
                    <a:cubicBezTo>
                      <a:pt x="39" y="28"/>
                      <a:pt x="42" y="28"/>
                      <a:pt x="42" y="25"/>
                    </a:cubicBezTo>
                    <a:cubicBezTo>
                      <a:pt x="42" y="22"/>
                      <a:pt x="45" y="22"/>
                      <a:pt x="45" y="22"/>
                    </a:cubicBezTo>
                    <a:cubicBezTo>
                      <a:pt x="45" y="19"/>
                      <a:pt x="42" y="16"/>
                      <a:pt x="42" y="16"/>
                    </a:cubicBezTo>
                    <a:cubicBezTo>
                      <a:pt x="42" y="13"/>
                      <a:pt x="45" y="13"/>
                      <a:pt x="48" y="10"/>
                    </a:cubicBezTo>
                    <a:cubicBezTo>
                      <a:pt x="48" y="7"/>
                      <a:pt x="48" y="3"/>
                      <a:pt x="48" y="0"/>
                    </a:cubicBezTo>
                    <a:cubicBezTo>
                      <a:pt x="45" y="3"/>
                      <a:pt x="45" y="3"/>
                      <a:pt x="45" y="3"/>
                    </a:cubicBezTo>
                    <a:cubicBezTo>
                      <a:pt x="42" y="0"/>
                      <a:pt x="39" y="0"/>
                      <a:pt x="33" y="3"/>
                    </a:cubicBezTo>
                    <a:cubicBezTo>
                      <a:pt x="27" y="3"/>
                      <a:pt x="27" y="10"/>
                      <a:pt x="27" y="10"/>
                    </a:cubicBezTo>
                    <a:cubicBezTo>
                      <a:pt x="30" y="13"/>
                      <a:pt x="24" y="13"/>
                      <a:pt x="24" y="10"/>
                    </a:cubicBezTo>
                    <a:cubicBezTo>
                      <a:pt x="21" y="10"/>
                      <a:pt x="18" y="10"/>
                      <a:pt x="18" y="13"/>
                    </a:cubicBezTo>
                    <a:cubicBezTo>
                      <a:pt x="18" y="16"/>
                      <a:pt x="12" y="19"/>
                      <a:pt x="12" y="22"/>
                    </a:cubicBezTo>
                    <a:cubicBezTo>
                      <a:pt x="12" y="28"/>
                      <a:pt x="6" y="31"/>
                      <a:pt x="3" y="34"/>
                    </a:cubicBezTo>
                    <a:cubicBezTo>
                      <a:pt x="3" y="34"/>
                      <a:pt x="3" y="34"/>
                      <a:pt x="0" y="34"/>
                    </a:cubicBezTo>
                    <a:cubicBezTo>
                      <a:pt x="3" y="34"/>
                      <a:pt x="6" y="37"/>
                      <a:pt x="6" y="37"/>
                    </a:cubicBezTo>
                    <a:cubicBezTo>
                      <a:pt x="9" y="37"/>
                      <a:pt x="15" y="34"/>
                      <a:pt x="15" y="3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3" name="Freeform 787"/>
              <p:cNvSpPr>
                <a:spLocks/>
              </p:cNvSpPr>
              <p:nvPr userDrawn="1"/>
            </p:nvSpPr>
            <p:spPr bwMode="auto">
              <a:xfrm>
                <a:off x="3536" y="-2196"/>
                <a:ext cx="75" cy="62"/>
              </a:xfrm>
              <a:custGeom>
                <a:avLst/>
                <a:gdLst>
                  <a:gd name="T0" fmla="*/ 15 w 48"/>
                  <a:gd name="T1" fmla="*/ 31 h 40"/>
                  <a:gd name="T2" fmla="*/ 24 w 48"/>
                  <a:gd name="T3" fmla="*/ 34 h 40"/>
                  <a:gd name="T4" fmla="*/ 33 w 48"/>
                  <a:gd name="T5" fmla="*/ 40 h 40"/>
                  <a:gd name="T6" fmla="*/ 33 w 48"/>
                  <a:gd name="T7" fmla="*/ 40 h 40"/>
                  <a:gd name="T8" fmla="*/ 36 w 48"/>
                  <a:gd name="T9" fmla="*/ 34 h 40"/>
                  <a:gd name="T10" fmla="*/ 36 w 48"/>
                  <a:gd name="T11" fmla="*/ 28 h 40"/>
                  <a:gd name="T12" fmla="*/ 42 w 48"/>
                  <a:gd name="T13" fmla="*/ 25 h 40"/>
                  <a:gd name="T14" fmla="*/ 45 w 48"/>
                  <a:gd name="T15" fmla="*/ 22 h 40"/>
                  <a:gd name="T16" fmla="*/ 42 w 48"/>
                  <a:gd name="T17" fmla="*/ 16 h 40"/>
                  <a:gd name="T18" fmla="*/ 48 w 48"/>
                  <a:gd name="T19" fmla="*/ 10 h 40"/>
                  <a:gd name="T20" fmla="*/ 48 w 48"/>
                  <a:gd name="T21" fmla="*/ 0 h 40"/>
                  <a:gd name="T22" fmla="*/ 45 w 48"/>
                  <a:gd name="T23" fmla="*/ 3 h 40"/>
                  <a:gd name="T24" fmla="*/ 33 w 48"/>
                  <a:gd name="T25" fmla="*/ 3 h 40"/>
                  <a:gd name="T26" fmla="*/ 27 w 48"/>
                  <a:gd name="T27" fmla="*/ 10 h 40"/>
                  <a:gd name="T28" fmla="*/ 24 w 48"/>
                  <a:gd name="T29" fmla="*/ 10 h 40"/>
                  <a:gd name="T30" fmla="*/ 18 w 48"/>
                  <a:gd name="T31" fmla="*/ 13 h 40"/>
                  <a:gd name="T32" fmla="*/ 12 w 48"/>
                  <a:gd name="T33" fmla="*/ 22 h 40"/>
                  <a:gd name="T34" fmla="*/ 3 w 48"/>
                  <a:gd name="T35" fmla="*/ 34 h 40"/>
                  <a:gd name="T36" fmla="*/ 0 w 48"/>
                  <a:gd name="T37" fmla="*/ 34 h 40"/>
                  <a:gd name="T38" fmla="*/ 6 w 48"/>
                  <a:gd name="T39" fmla="*/ 37 h 40"/>
                  <a:gd name="T40" fmla="*/ 15 w 48"/>
                  <a:gd name="T41"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40">
                    <a:moveTo>
                      <a:pt x="15" y="31"/>
                    </a:moveTo>
                    <a:cubicBezTo>
                      <a:pt x="18" y="31"/>
                      <a:pt x="21" y="31"/>
                      <a:pt x="24" y="34"/>
                    </a:cubicBezTo>
                    <a:cubicBezTo>
                      <a:pt x="27" y="34"/>
                      <a:pt x="30" y="37"/>
                      <a:pt x="33" y="40"/>
                    </a:cubicBezTo>
                    <a:cubicBezTo>
                      <a:pt x="33" y="40"/>
                      <a:pt x="33" y="40"/>
                      <a:pt x="33" y="40"/>
                    </a:cubicBezTo>
                    <a:cubicBezTo>
                      <a:pt x="36" y="40"/>
                      <a:pt x="36" y="34"/>
                      <a:pt x="36" y="34"/>
                    </a:cubicBezTo>
                    <a:cubicBezTo>
                      <a:pt x="36" y="31"/>
                      <a:pt x="36" y="28"/>
                      <a:pt x="36" y="28"/>
                    </a:cubicBezTo>
                    <a:cubicBezTo>
                      <a:pt x="39" y="28"/>
                      <a:pt x="42" y="28"/>
                      <a:pt x="42" y="25"/>
                    </a:cubicBezTo>
                    <a:cubicBezTo>
                      <a:pt x="42" y="22"/>
                      <a:pt x="45" y="22"/>
                      <a:pt x="45" y="22"/>
                    </a:cubicBezTo>
                    <a:cubicBezTo>
                      <a:pt x="45" y="19"/>
                      <a:pt x="42" y="16"/>
                      <a:pt x="42" y="16"/>
                    </a:cubicBezTo>
                    <a:cubicBezTo>
                      <a:pt x="42" y="13"/>
                      <a:pt x="45" y="13"/>
                      <a:pt x="48" y="10"/>
                    </a:cubicBezTo>
                    <a:cubicBezTo>
                      <a:pt x="48" y="7"/>
                      <a:pt x="48" y="3"/>
                      <a:pt x="48" y="0"/>
                    </a:cubicBezTo>
                    <a:cubicBezTo>
                      <a:pt x="45" y="3"/>
                      <a:pt x="45" y="3"/>
                      <a:pt x="45" y="3"/>
                    </a:cubicBezTo>
                    <a:cubicBezTo>
                      <a:pt x="42" y="0"/>
                      <a:pt x="39" y="0"/>
                      <a:pt x="33" y="3"/>
                    </a:cubicBezTo>
                    <a:cubicBezTo>
                      <a:pt x="27" y="3"/>
                      <a:pt x="27" y="10"/>
                      <a:pt x="27" y="10"/>
                    </a:cubicBezTo>
                    <a:cubicBezTo>
                      <a:pt x="30" y="13"/>
                      <a:pt x="24" y="13"/>
                      <a:pt x="24" y="10"/>
                    </a:cubicBezTo>
                    <a:cubicBezTo>
                      <a:pt x="21" y="10"/>
                      <a:pt x="18" y="10"/>
                      <a:pt x="18" y="13"/>
                    </a:cubicBezTo>
                    <a:cubicBezTo>
                      <a:pt x="18" y="16"/>
                      <a:pt x="12" y="19"/>
                      <a:pt x="12" y="22"/>
                    </a:cubicBezTo>
                    <a:cubicBezTo>
                      <a:pt x="12" y="28"/>
                      <a:pt x="6" y="31"/>
                      <a:pt x="3" y="34"/>
                    </a:cubicBezTo>
                    <a:cubicBezTo>
                      <a:pt x="3" y="34"/>
                      <a:pt x="3" y="34"/>
                      <a:pt x="0" y="34"/>
                    </a:cubicBezTo>
                    <a:cubicBezTo>
                      <a:pt x="3" y="34"/>
                      <a:pt x="6" y="37"/>
                      <a:pt x="6" y="37"/>
                    </a:cubicBezTo>
                    <a:cubicBezTo>
                      <a:pt x="9" y="37"/>
                      <a:pt x="15" y="34"/>
                      <a:pt x="15" y="31"/>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4" name="Freeform 788"/>
              <p:cNvSpPr>
                <a:spLocks/>
              </p:cNvSpPr>
              <p:nvPr userDrawn="1"/>
            </p:nvSpPr>
            <p:spPr bwMode="auto">
              <a:xfrm>
                <a:off x="3581" y="-2115"/>
                <a:ext cx="16" cy="15"/>
              </a:xfrm>
              <a:custGeom>
                <a:avLst/>
                <a:gdLst>
                  <a:gd name="T0" fmla="*/ 7 w 10"/>
                  <a:gd name="T1" fmla="*/ 0 h 10"/>
                  <a:gd name="T2" fmla="*/ 0 w 10"/>
                  <a:gd name="T3" fmla="*/ 10 h 10"/>
                  <a:gd name="T4" fmla="*/ 10 w 10"/>
                  <a:gd name="T5" fmla="*/ 10 h 10"/>
                  <a:gd name="T6" fmla="*/ 7 w 10"/>
                  <a:gd name="T7" fmla="*/ 0 h 10"/>
                  <a:gd name="T8" fmla="*/ 7 w 10"/>
                  <a:gd name="T9" fmla="*/ 0 h 10"/>
                </a:gdLst>
                <a:ahLst/>
                <a:cxnLst>
                  <a:cxn ang="0">
                    <a:pos x="T0" y="T1"/>
                  </a:cxn>
                  <a:cxn ang="0">
                    <a:pos x="T2" y="T3"/>
                  </a:cxn>
                  <a:cxn ang="0">
                    <a:pos x="T4" y="T5"/>
                  </a:cxn>
                  <a:cxn ang="0">
                    <a:pos x="T6" y="T7"/>
                  </a:cxn>
                  <a:cxn ang="0">
                    <a:pos x="T8" y="T9"/>
                  </a:cxn>
                </a:cxnLst>
                <a:rect l="0" t="0" r="r" b="b"/>
                <a:pathLst>
                  <a:path w="10" h="10">
                    <a:moveTo>
                      <a:pt x="7" y="0"/>
                    </a:moveTo>
                    <a:cubicBezTo>
                      <a:pt x="4" y="0"/>
                      <a:pt x="0" y="3"/>
                      <a:pt x="0" y="10"/>
                    </a:cubicBezTo>
                    <a:cubicBezTo>
                      <a:pt x="4" y="10"/>
                      <a:pt x="7" y="10"/>
                      <a:pt x="10" y="10"/>
                    </a:cubicBezTo>
                    <a:cubicBezTo>
                      <a:pt x="10" y="3"/>
                      <a:pt x="7" y="3"/>
                      <a:pt x="7" y="0"/>
                    </a:cubicBezTo>
                    <a:cubicBezTo>
                      <a:pt x="7" y="0"/>
                      <a:pt x="7" y="0"/>
                      <a:pt x="7"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5" name="Freeform 789"/>
              <p:cNvSpPr>
                <a:spLocks/>
              </p:cNvSpPr>
              <p:nvPr userDrawn="1"/>
            </p:nvSpPr>
            <p:spPr bwMode="auto">
              <a:xfrm>
                <a:off x="3581" y="-2115"/>
                <a:ext cx="16" cy="15"/>
              </a:xfrm>
              <a:custGeom>
                <a:avLst/>
                <a:gdLst>
                  <a:gd name="T0" fmla="*/ 7 w 10"/>
                  <a:gd name="T1" fmla="*/ 0 h 10"/>
                  <a:gd name="T2" fmla="*/ 0 w 10"/>
                  <a:gd name="T3" fmla="*/ 10 h 10"/>
                  <a:gd name="T4" fmla="*/ 10 w 10"/>
                  <a:gd name="T5" fmla="*/ 10 h 10"/>
                  <a:gd name="T6" fmla="*/ 7 w 10"/>
                  <a:gd name="T7" fmla="*/ 0 h 10"/>
                  <a:gd name="T8" fmla="*/ 7 w 10"/>
                  <a:gd name="T9" fmla="*/ 0 h 10"/>
                </a:gdLst>
                <a:ahLst/>
                <a:cxnLst>
                  <a:cxn ang="0">
                    <a:pos x="T0" y="T1"/>
                  </a:cxn>
                  <a:cxn ang="0">
                    <a:pos x="T2" y="T3"/>
                  </a:cxn>
                  <a:cxn ang="0">
                    <a:pos x="T4" y="T5"/>
                  </a:cxn>
                  <a:cxn ang="0">
                    <a:pos x="T6" y="T7"/>
                  </a:cxn>
                  <a:cxn ang="0">
                    <a:pos x="T8" y="T9"/>
                  </a:cxn>
                </a:cxnLst>
                <a:rect l="0" t="0" r="r" b="b"/>
                <a:pathLst>
                  <a:path w="10" h="10">
                    <a:moveTo>
                      <a:pt x="7" y="0"/>
                    </a:moveTo>
                    <a:cubicBezTo>
                      <a:pt x="4" y="0"/>
                      <a:pt x="0" y="3"/>
                      <a:pt x="0" y="10"/>
                    </a:cubicBezTo>
                    <a:cubicBezTo>
                      <a:pt x="4" y="10"/>
                      <a:pt x="7" y="10"/>
                      <a:pt x="10" y="10"/>
                    </a:cubicBezTo>
                    <a:cubicBezTo>
                      <a:pt x="10" y="3"/>
                      <a:pt x="7" y="3"/>
                      <a:pt x="7" y="0"/>
                    </a:cubicBezTo>
                    <a:cubicBezTo>
                      <a:pt x="7" y="0"/>
                      <a:pt x="7" y="0"/>
                      <a:pt x="7"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6" name="Freeform 790"/>
              <p:cNvSpPr>
                <a:spLocks/>
              </p:cNvSpPr>
              <p:nvPr userDrawn="1"/>
            </p:nvSpPr>
            <p:spPr bwMode="auto">
              <a:xfrm>
                <a:off x="3527" y="-2148"/>
                <a:ext cx="70" cy="48"/>
              </a:xfrm>
              <a:custGeom>
                <a:avLst/>
                <a:gdLst>
                  <a:gd name="T0" fmla="*/ 0 w 45"/>
                  <a:gd name="T1" fmla="*/ 10 h 31"/>
                  <a:gd name="T2" fmla="*/ 6 w 45"/>
                  <a:gd name="T3" fmla="*/ 13 h 31"/>
                  <a:gd name="T4" fmla="*/ 12 w 45"/>
                  <a:gd name="T5" fmla="*/ 16 h 31"/>
                  <a:gd name="T6" fmla="*/ 18 w 45"/>
                  <a:gd name="T7" fmla="*/ 22 h 31"/>
                  <a:gd name="T8" fmla="*/ 21 w 45"/>
                  <a:gd name="T9" fmla="*/ 25 h 31"/>
                  <a:gd name="T10" fmla="*/ 27 w 45"/>
                  <a:gd name="T11" fmla="*/ 22 h 31"/>
                  <a:gd name="T12" fmla="*/ 30 w 45"/>
                  <a:gd name="T13" fmla="*/ 28 h 31"/>
                  <a:gd name="T14" fmla="*/ 36 w 45"/>
                  <a:gd name="T15" fmla="*/ 31 h 31"/>
                  <a:gd name="T16" fmla="*/ 36 w 45"/>
                  <a:gd name="T17" fmla="*/ 31 h 31"/>
                  <a:gd name="T18" fmla="*/ 42 w 45"/>
                  <a:gd name="T19" fmla="*/ 22 h 31"/>
                  <a:gd name="T20" fmla="*/ 42 w 45"/>
                  <a:gd name="T21" fmla="*/ 19 h 31"/>
                  <a:gd name="T22" fmla="*/ 39 w 45"/>
                  <a:gd name="T23" fmla="*/ 13 h 31"/>
                  <a:gd name="T24" fmla="*/ 39 w 45"/>
                  <a:gd name="T25" fmla="*/ 10 h 31"/>
                  <a:gd name="T26" fmla="*/ 39 w 45"/>
                  <a:gd name="T27" fmla="*/ 10 h 31"/>
                  <a:gd name="T28" fmla="*/ 30 w 45"/>
                  <a:gd name="T29" fmla="*/ 3 h 31"/>
                  <a:gd name="T30" fmla="*/ 21 w 45"/>
                  <a:gd name="T31" fmla="*/ 0 h 31"/>
                  <a:gd name="T32" fmla="*/ 12 w 45"/>
                  <a:gd name="T33" fmla="*/ 6 h 31"/>
                  <a:gd name="T34" fmla="*/ 6 w 45"/>
                  <a:gd name="T35" fmla="*/ 3 h 31"/>
                  <a:gd name="T36" fmla="*/ 0 w 45"/>
                  <a:gd name="T37" fmla="*/ 6 h 31"/>
                  <a:gd name="T38" fmla="*/ 0 w 45"/>
                  <a:gd name="T39"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31">
                    <a:moveTo>
                      <a:pt x="0" y="10"/>
                    </a:moveTo>
                    <a:cubicBezTo>
                      <a:pt x="3" y="10"/>
                      <a:pt x="3" y="16"/>
                      <a:pt x="6" y="13"/>
                    </a:cubicBezTo>
                    <a:cubicBezTo>
                      <a:pt x="6" y="13"/>
                      <a:pt x="9" y="16"/>
                      <a:pt x="12" y="16"/>
                    </a:cubicBezTo>
                    <a:cubicBezTo>
                      <a:pt x="12" y="19"/>
                      <a:pt x="18" y="19"/>
                      <a:pt x="18" y="22"/>
                    </a:cubicBezTo>
                    <a:cubicBezTo>
                      <a:pt x="18" y="22"/>
                      <a:pt x="18" y="25"/>
                      <a:pt x="21" y="25"/>
                    </a:cubicBezTo>
                    <a:cubicBezTo>
                      <a:pt x="24" y="25"/>
                      <a:pt x="27" y="22"/>
                      <a:pt x="27" y="22"/>
                    </a:cubicBezTo>
                    <a:cubicBezTo>
                      <a:pt x="27" y="25"/>
                      <a:pt x="27" y="28"/>
                      <a:pt x="30" y="28"/>
                    </a:cubicBezTo>
                    <a:cubicBezTo>
                      <a:pt x="33" y="28"/>
                      <a:pt x="33" y="31"/>
                      <a:pt x="36" y="31"/>
                    </a:cubicBezTo>
                    <a:cubicBezTo>
                      <a:pt x="36" y="31"/>
                      <a:pt x="36" y="31"/>
                      <a:pt x="36" y="31"/>
                    </a:cubicBezTo>
                    <a:cubicBezTo>
                      <a:pt x="36" y="25"/>
                      <a:pt x="39" y="22"/>
                      <a:pt x="42" y="22"/>
                    </a:cubicBezTo>
                    <a:cubicBezTo>
                      <a:pt x="42" y="19"/>
                      <a:pt x="42" y="19"/>
                      <a:pt x="42" y="19"/>
                    </a:cubicBezTo>
                    <a:cubicBezTo>
                      <a:pt x="45" y="16"/>
                      <a:pt x="39" y="13"/>
                      <a:pt x="39" y="13"/>
                    </a:cubicBezTo>
                    <a:cubicBezTo>
                      <a:pt x="39" y="10"/>
                      <a:pt x="39" y="10"/>
                      <a:pt x="39" y="10"/>
                    </a:cubicBezTo>
                    <a:cubicBezTo>
                      <a:pt x="39" y="10"/>
                      <a:pt x="39" y="10"/>
                      <a:pt x="39" y="10"/>
                    </a:cubicBezTo>
                    <a:cubicBezTo>
                      <a:pt x="36" y="6"/>
                      <a:pt x="33" y="3"/>
                      <a:pt x="30" y="3"/>
                    </a:cubicBezTo>
                    <a:cubicBezTo>
                      <a:pt x="27" y="0"/>
                      <a:pt x="24" y="0"/>
                      <a:pt x="21" y="0"/>
                    </a:cubicBezTo>
                    <a:cubicBezTo>
                      <a:pt x="21" y="3"/>
                      <a:pt x="15" y="6"/>
                      <a:pt x="12" y="6"/>
                    </a:cubicBezTo>
                    <a:cubicBezTo>
                      <a:pt x="12" y="6"/>
                      <a:pt x="9" y="3"/>
                      <a:pt x="6" y="3"/>
                    </a:cubicBezTo>
                    <a:cubicBezTo>
                      <a:pt x="6" y="6"/>
                      <a:pt x="3" y="6"/>
                      <a:pt x="0" y="6"/>
                    </a:cubicBezTo>
                    <a:cubicBezTo>
                      <a:pt x="0" y="6"/>
                      <a:pt x="0" y="6"/>
                      <a:pt x="0" y="1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7" name="Freeform 791"/>
              <p:cNvSpPr>
                <a:spLocks/>
              </p:cNvSpPr>
              <p:nvPr userDrawn="1"/>
            </p:nvSpPr>
            <p:spPr bwMode="auto">
              <a:xfrm>
                <a:off x="3527" y="-2148"/>
                <a:ext cx="70" cy="48"/>
              </a:xfrm>
              <a:custGeom>
                <a:avLst/>
                <a:gdLst>
                  <a:gd name="T0" fmla="*/ 0 w 45"/>
                  <a:gd name="T1" fmla="*/ 10 h 31"/>
                  <a:gd name="T2" fmla="*/ 6 w 45"/>
                  <a:gd name="T3" fmla="*/ 13 h 31"/>
                  <a:gd name="T4" fmla="*/ 12 w 45"/>
                  <a:gd name="T5" fmla="*/ 16 h 31"/>
                  <a:gd name="T6" fmla="*/ 18 w 45"/>
                  <a:gd name="T7" fmla="*/ 22 h 31"/>
                  <a:gd name="T8" fmla="*/ 21 w 45"/>
                  <a:gd name="T9" fmla="*/ 25 h 31"/>
                  <a:gd name="T10" fmla="*/ 27 w 45"/>
                  <a:gd name="T11" fmla="*/ 22 h 31"/>
                  <a:gd name="T12" fmla="*/ 30 w 45"/>
                  <a:gd name="T13" fmla="*/ 28 h 31"/>
                  <a:gd name="T14" fmla="*/ 36 w 45"/>
                  <a:gd name="T15" fmla="*/ 31 h 31"/>
                  <a:gd name="T16" fmla="*/ 36 w 45"/>
                  <a:gd name="T17" fmla="*/ 31 h 31"/>
                  <a:gd name="T18" fmla="*/ 42 w 45"/>
                  <a:gd name="T19" fmla="*/ 22 h 31"/>
                  <a:gd name="T20" fmla="*/ 42 w 45"/>
                  <a:gd name="T21" fmla="*/ 19 h 31"/>
                  <a:gd name="T22" fmla="*/ 39 w 45"/>
                  <a:gd name="T23" fmla="*/ 13 h 31"/>
                  <a:gd name="T24" fmla="*/ 39 w 45"/>
                  <a:gd name="T25" fmla="*/ 10 h 31"/>
                  <a:gd name="T26" fmla="*/ 39 w 45"/>
                  <a:gd name="T27" fmla="*/ 10 h 31"/>
                  <a:gd name="T28" fmla="*/ 30 w 45"/>
                  <a:gd name="T29" fmla="*/ 3 h 31"/>
                  <a:gd name="T30" fmla="*/ 21 w 45"/>
                  <a:gd name="T31" fmla="*/ 0 h 31"/>
                  <a:gd name="T32" fmla="*/ 12 w 45"/>
                  <a:gd name="T33" fmla="*/ 6 h 31"/>
                  <a:gd name="T34" fmla="*/ 6 w 45"/>
                  <a:gd name="T35" fmla="*/ 3 h 31"/>
                  <a:gd name="T36" fmla="*/ 0 w 45"/>
                  <a:gd name="T37" fmla="*/ 6 h 31"/>
                  <a:gd name="T38" fmla="*/ 0 w 45"/>
                  <a:gd name="T39"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31">
                    <a:moveTo>
                      <a:pt x="0" y="10"/>
                    </a:moveTo>
                    <a:cubicBezTo>
                      <a:pt x="3" y="10"/>
                      <a:pt x="3" y="16"/>
                      <a:pt x="6" y="13"/>
                    </a:cubicBezTo>
                    <a:cubicBezTo>
                      <a:pt x="6" y="13"/>
                      <a:pt x="9" y="16"/>
                      <a:pt x="12" y="16"/>
                    </a:cubicBezTo>
                    <a:cubicBezTo>
                      <a:pt x="12" y="19"/>
                      <a:pt x="18" y="19"/>
                      <a:pt x="18" y="22"/>
                    </a:cubicBezTo>
                    <a:cubicBezTo>
                      <a:pt x="18" y="22"/>
                      <a:pt x="18" y="25"/>
                      <a:pt x="21" y="25"/>
                    </a:cubicBezTo>
                    <a:cubicBezTo>
                      <a:pt x="24" y="25"/>
                      <a:pt x="27" y="22"/>
                      <a:pt x="27" y="22"/>
                    </a:cubicBezTo>
                    <a:cubicBezTo>
                      <a:pt x="27" y="25"/>
                      <a:pt x="27" y="28"/>
                      <a:pt x="30" y="28"/>
                    </a:cubicBezTo>
                    <a:cubicBezTo>
                      <a:pt x="33" y="28"/>
                      <a:pt x="33" y="31"/>
                      <a:pt x="36" y="31"/>
                    </a:cubicBezTo>
                    <a:cubicBezTo>
                      <a:pt x="36" y="31"/>
                      <a:pt x="36" y="31"/>
                      <a:pt x="36" y="31"/>
                    </a:cubicBezTo>
                    <a:cubicBezTo>
                      <a:pt x="36" y="25"/>
                      <a:pt x="39" y="22"/>
                      <a:pt x="42" y="22"/>
                    </a:cubicBezTo>
                    <a:cubicBezTo>
                      <a:pt x="42" y="19"/>
                      <a:pt x="42" y="19"/>
                      <a:pt x="42" y="19"/>
                    </a:cubicBezTo>
                    <a:cubicBezTo>
                      <a:pt x="45" y="16"/>
                      <a:pt x="39" y="13"/>
                      <a:pt x="39" y="13"/>
                    </a:cubicBezTo>
                    <a:cubicBezTo>
                      <a:pt x="39" y="10"/>
                      <a:pt x="39" y="10"/>
                      <a:pt x="39" y="10"/>
                    </a:cubicBezTo>
                    <a:cubicBezTo>
                      <a:pt x="39" y="10"/>
                      <a:pt x="39" y="10"/>
                      <a:pt x="39" y="10"/>
                    </a:cubicBezTo>
                    <a:cubicBezTo>
                      <a:pt x="36" y="6"/>
                      <a:pt x="33" y="3"/>
                      <a:pt x="30" y="3"/>
                    </a:cubicBezTo>
                    <a:cubicBezTo>
                      <a:pt x="27" y="0"/>
                      <a:pt x="24" y="0"/>
                      <a:pt x="21" y="0"/>
                    </a:cubicBezTo>
                    <a:cubicBezTo>
                      <a:pt x="21" y="3"/>
                      <a:pt x="15" y="6"/>
                      <a:pt x="12" y="6"/>
                    </a:cubicBezTo>
                    <a:cubicBezTo>
                      <a:pt x="12" y="6"/>
                      <a:pt x="9" y="3"/>
                      <a:pt x="6" y="3"/>
                    </a:cubicBezTo>
                    <a:cubicBezTo>
                      <a:pt x="6" y="6"/>
                      <a:pt x="3" y="6"/>
                      <a:pt x="0" y="6"/>
                    </a:cubicBezTo>
                    <a:cubicBezTo>
                      <a:pt x="0" y="6"/>
                      <a:pt x="0" y="6"/>
                      <a:pt x="0" y="10"/>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8" name="Freeform 792"/>
              <p:cNvSpPr>
                <a:spLocks/>
              </p:cNvSpPr>
              <p:nvPr userDrawn="1"/>
            </p:nvSpPr>
            <p:spPr bwMode="auto">
              <a:xfrm>
                <a:off x="3835" y="-2078"/>
                <a:ext cx="158" cy="108"/>
              </a:xfrm>
              <a:custGeom>
                <a:avLst/>
                <a:gdLst>
                  <a:gd name="T0" fmla="*/ 92 w 101"/>
                  <a:gd name="T1" fmla="*/ 45 h 69"/>
                  <a:gd name="T2" fmla="*/ 86 w 101"/>
                  <a:gd name="T3" fmla="*/ 42 h 69"/>
                  <a:gd name="T4" fmla="*/ 86 w 101"/>
                  <a:gd name="T5" fmla="*/ 42 h 69"/>
                  <a:gd name="T6" fmla="*/ 86 w 101"/>
                  <a:gd name="T7" fmla="*/ 30 h 69"/>
                  <a:gd name="T8" fmla="*/ 77 w 101"/>
                  <a:gd name="T9" fmla="*/ 15 h 69"/>
                  <a:gd name="T10" fmla="*/ 71 w 101"/>
                  <a:gd name="T11" fmla="*/ 0 h 69"/>
                  <a:gd name="T12" fmla="*/ 65 w 101"/>
                  <a:gd name="T13" fmla="*/ 3 h 69"/>
                  <a:gd name="T14" fmla="*/ 59 w 101"/>
                  <a:gd name="T15" fmla="*/ 6 h 69"/>
                  <a:gd name="T16" fmla="*/ 53 w 101"/>
                  <a:gd name="T17" fmla="*/ 9 h 69"/>
                  <a:gd name="T18" fmla="*/ 48 w 101"/>
                  <a:gd name="T19" fmla="*/ 9 h 69"/>
                  <a:gd name="T20" fmla="*/ 42 w 101"/>
                  <a:gd name="T21" fmla="*/ 6 h 69"/>
                  <a:gd name="T22" fmla="*/ 30 w 101"/>
                  <a:gd name="T23" fmla="*/ 6 h 69"/>
                  <a:gd name="T24" fmla="*/ 27 w 101"/>
                  <a:gd name="T25" fmla="*/ 6 h 69"/>
                  <a:gd name="T26" fmla="*/ 27 w 101"/>
                  <a:gd name="T27" fmla="*/ 9 h 69"/>
                  <a:gd name="T28" fmla="*/ 18 w 101"/>
                  <a:gd name="T29" fmla="*/ 12 h 69"/>
                  <a:gd name="T30" fmla="*/ 9 w 101"/>
                  <a:gd name="T31" fmla="*/ 30 h 69"/>
                  <a:gd name="T32" fmla="*/ 0 w 101"/>
                  <a:gd name="T33" fmla="*/ 36 h 69"/>
                  <a:gd name="T34" fmla="*/ 6 w 101"/>
                  <a:gd name="T35" fmla="*/ 42 h 69"/>
                  <a:gd name="T36" fmla="*/ 9 w 101"/>
                  <a:gd name="T37" fmla="*/ 45 h 69"/>
                  <a:gd name="T38" fmla="*/ 9 w 101"/>
                  <a:gd name="T39" fmla="*/ 54 h 69"/>
                  <a:gd name="T40" fmla="*/ 24 w 101"/>
                  <a:gd name="T41" fmla="*/ 57 h 69"/>
                  <a:gd name="T42" fmla="*/ 24 w 101"/>
                  <a:gd name="T43" fmla="*/ 60 h 69"/>
                  <a:gd name="T44" fmla="*/ 30 w 101"/>
                  <a:gd name="T45" fmla="*/ 66 h 69"/>
                  <a:gd name="T46" fmla="*/ 42 w 101"/>
                  <a:gd name="T47" fmla="*/ 66 h 69"/>
                  <a:gd name="T48" fmla="*/ 53 w 101"/>
                  <a:gd name="T49" fmla="*/ 66 h 69"/>
                  <a:gd name="T50" fmla="*/ 62 w 101"/>
                  <a:gd name="T51" fmla="*/ 63 h 69"/>
                  <a:gd name="T52" fmla="*/ 74 w 101"/>
                  <a:gd name="T53" fmla="*/ 63 h 69"/>
                  <a:gd name="T54" fmla="*/ 83 w 101"/>
                  <a:gd name="T55" fmla="*/ 63 h 69"/>
                  <a:gd name="T56" fmla="*/ 89 w 101"/>
                  <a:gd name="T57" fmla="*/ 66 h 69"/>
                  <a:gd name="T58" fmla="*/ 89 w 101"/>
                  <a:gd name="T59" fmla="*/ 63 h 69"/>
                  <a:gd name="T60" fmla="*/ 95 w 101"/>
                  <a:gd name="T61" fmla="*/ 51 h 69"/>
                  <a:gd name="T62" fmla="*/ 101 w 101"/>
                  <a:gd name="T63" fmla="*/ 45 h 69"/>
                  <a:gd name="T64" fmla="*/ 101 w 101"/>
                  <a:gd name="T65" fmla="*/ 45 h 69"/>
                  <a:gd name="T66" fmla="*/ 98 w 101"/>
                  <a:gd name="T67" fmla="*/ 42 h 69"/>
                  <a:gd name="T68" fmla="*/ 92 w 101"/>
                  <a:gd name="T69"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69">
                    <a:moveTo>
                      <a:pt x="92" y="45"/>
                    </a:moveTo>
                    <a:cubicBezTo>
                      <a:pt x="89" y="45"/>
                      <a:pt x="86" y="45"/>
                      <a:pt x="86" y="42"/>
                    </a:cubicBezTo>
                    <a:cubicBezTo>
                      <a:pt x="86" y="42"/>
                      <a:pt x="86" y="42"/>
                      <a:pt x="86" y="42"/>
                    </a:cubicBezTo>
                    <a:cubicBezTo>
                      <a:pt x="83" y="39"/>
                      <a:pt x="83" y="33"/>
                      <a:pt x="86" y="30"/>
                    </a:cubicBezTo>
                    <a:cubicBezTo>
                      <a:pt x="89" y="27"/>
                      <a:pt x="80" y="18"/>
                      <a:pt x="77" y="15"/>
                    </a:cubicBezTo>
                    <a:cubicBezTo>
                      <a:pt x="77" y="12"/>
                      <a:pt x="74" y="6"/>
                      <a:pt x="71" y="0"/>
                    </a:cubicBezTo>
                    <a:cubicBezTo>
                      <a:pt x="68" y="3"/>
                      <a:pt x="65" y="3"/>
                      <a:pt x="65" y="3"/>
                    </a:cubicBezTo>
                    <a:cubicBezTo>
                      <a:pt x="65" y="6"/>
                      <a:pt x="62" y="6"/>
                      <a:pt x="59" y="6"/>
                    </a:cubicBezTo>
                    <a:cubicBezTo>
                      <a:pt x="56" y="6"/>
                      <a:pt x="56" y="6"/>
                      <a:pt x="53" y="9"/>
                    </a:cubicBezTo>
                    <a:cubicBezTo>
                      <a:pt x="50" y="9"/>
                      <a:pt x="50" y="9"/>
                      <a:pt x="48" y="9"/>
                    </a:cubicBezTo>
                    <a:cubicBezTo>
                      <a:pt x="48" y="9"/>
                      <a:pt x="45" y="6"/>
                      <a:pt x="42" y="6"/>
                    </a:cubicBezTo>
                    <a:cubicBezTo>
                      <a:pt x="39" y="6"/>
                      <a:pt x="33" y="6"/>
                      <a:pt x="30" y="6"/>
                    </a:cubicBezTo>
                    <a:cubicBezTo>
                      <a:pt x="27" y="6"/>
                      <a:pt x="27" y="6"/>
                      <a:pt x="27" y="6"/>
                    </a:cubicBezTo>
                    <a:cubicBezTo>
                      <a:pt x="27" y="6"/>
                      <a:pt x="27" y="6"/>
                      <a:pt x="27" y="9"/>
                    </a:cubicBezTo>
                    <a:cubicBezTo>
                      <a:pt x="24" y="9"/>
                      <a:pt x="21" y="12"/>
                      <a:pt x="18" y="12"/>
                    </a:cubicBezTo>
                    <a:cubicBezTo>
                      <a:pt x="18" y="15"/>
                      <a:pt x="12" y="27"/>
                      <a:pt x="9" y="30"/>
                    </a:cubicBezTo>
                    <a:cubicBezTo>
                      <a:pt x="3" y="33"/>
                      <a:pt x="0" y="33"/>
                      <a:pt x="0" y="36"/>
                    </a:cubicBezTo>
                    <a:cubicBezTo>
                      <a:pt x="0" y="36"/>
                      <a:pt x="6" y="39"/>
                      <a:pt x="6" y="42"/>
                    </a:cubicBezTo>
                    <a:cubicBezTo>
                      <a:pt x="6" y="45"/>
                      <a:pt x="6" y="45"/>
                      <a:pt x="9" y="45"/>
                    </a:cubicBezTo>
                    <a:cubicBezTo>
                      <a:pt x="12" y="45"/>
                      <a:pt x="9" y="51"/>
                      <a:pt x="9" y="54"/>
                    </a:cubicBezTo>
                    <a:cubicBezTo>
                      <a:pt x="12" y="54"/>
                      <a:pt x="24" y="54"/>
                      <a:pt x="24" y="57"/>
                    </a:cubicBezTo>
                    <a:cubicBezTo>
                      <a:pt x="24" y="60"/>
                      <a:pt x="24" y="60"/>
                      <a:pt x="24" y="60"/>
                    </a:cubicBezTo>
                    <a:cubicBezTo>
                      <a:pt x="27" y="63"/>
                      <a:pt x="30" y="66"/>
                      <a:pt x="30" y="66"/>
                    </a:cubicBezTo>
                    <a:cubicBezTo>
                      <a:pt x="30" y="66"/>
                      <a:pt x="39" y="66"/>
                      <a:pt x="42" y="66"/>
                    </a:cubicBezTo>
                    <a:cubicBezTo>
                      <a:pt x="42" y="66"/>
                      <a:pt x="50" y="66"/>
                      <a:pt x="53" y="66"/>
                    </a:cubicBezTo>
                    <a:cubicBezTo>
                      <a:pt x="56" y="69"/>
                      <a:pt x="59" y="66"/>
                      <a:pt x="62" y="63"/>
                    </a:cubicBezTo>
                    <a:cubicBezTo>
                      <a:pt x="62" y="63"/>
                      <a:pt x="71" y="60"/>
                      <a:pt x="74" y="63"/>
                    </a:cubicBezTo>
                    <a:cubicBezTo>
                      <a:pt x="77" y="63"/>
                      <a:pt x="83" y="63"/>
                      <a:pt x="83" y="63"/>
                    </a:cubicBezTo>
                    <a:cubicBezTo>
                      <a:pt x="83" y="66"/>
                      <a:pt x="86" y="66"/>
                      <a:pt x="89" y="66"/>
                    </a:cubicBezTo>
                    <a:cubicBezTo>
                      <a:pt x="89" y="63"/>
                      <a:pt x="89" y="63"/>
                      <a:pt x="89" y="63"/>
                    </a:cubicBezTo>
                    <a:cubicBezTo>
                      <a:pt x="89" y="57"/>
                      <a:pt x="92" y="54"/>
                      <a:pt x="95" y="51"/>
                    </a:cubicBezTo>
                    <a:cubicBezTo>
                      <a:pt x="98" y="51"/>
                      <a:pt x="101" y="51"/>
                      <a:pt x="101" y="45"/>
                    </a:cubicBezTo>
                    <a:cubicBezTo>
                      <a:pt x="101" y="45"/>
                      <a:pt x="101" y="45"/>
                      <a:pt x="101" y="45"/>
                    </a:cubicBezTo>
                    <a:cubicBezTo>
                      <a:pt x="98" y="42"/>
                      <a:pt x="98" y="42"/>
                      <a:pt x="98" y="42"/>
                    </a:cubicBezTo>
                    <a:cubicBezTo>
                      <a:pt x="95" y="42"/>
                      <a:pt x="92" y="45"/>
                      <a:pt x="92"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19" name="Freeform 793"/>
              <p:cNvSpPr>
                <a:spLocks/>
              </p:cNvSpPr>
              <p:nvPr userDrawn="1"/>
            </p:nvSpPr>
            <p:spPr bwMode="auto">
              <a:xfrm>
                <a:off x="3835" y="-2078"/>
                <a:ext cx="158" cy="108"/>
              </a:xfrm>
              <a:custGeom>
                <a:avLst/>
                <a:gdLst>
                  <a:gd name="T0" fmla="*/ 92 w 101"/>
                  <a:gd name="T1" fmla="*/ 45 h 69"/>
                  <a:gd name="T2" fmla="*/ 86 w 101"/>
                  <a:gd name="T3" fmla="*/ 42 h 69"/>
                  <a:gd name="T4" fmla="*/ 86 w 101"/>
                  <a:gd name="T5" fmla="*/ 42 h 69"/>
                  <a:gd name="T6" fmla="*/ 86 w 101"/>
                  <a:gd name="T7" fmla="*/ 30 h 69"/>
                  <a:gd name="T8" fmla="*/ 77 w 101"/>
                  <a:gd name="T9" fmla="*/ 15 h 69"/>
                  <a:gd name="T10" fmla="*/ 71 w 101"/>
                  <a:gd name="T11" fmla="*/ 0 h 69"/>
                  <a:gd name="T12" fmla="*/ 65 w 101"/>
                  <a:gd name="T13" fmla="*/ 3 h 69"/>
                  <a:gd name="T14" fmla="*/ 59 w 101"/>
                  <a:gd name="T15" fmla="*/ 6 h 69"/>
                  <a:gd name="T16" fmla="*/ 53 w 101"/>
                  <a:gd name="T17" fmla="*/ 9 h 69"/>
                  <a:gd name="T18" fmla="*/ 48 w 101"/>
                  <a:gd name="T19" fmla="*/ 9 h 69"/>
                  <a:gd name="T20" fmla="*/ 42 w 101"/>
                  <a:gd name="T21" fmla="*/ 6 h 69"/>
                  <a:gd name="T22" fmla="*/ 30 w 101"/>
                  <a:gd name="T23" fmla="*/ 6 h 69"/>
                  <a:gd name="T24" fmla="*/ 27 w 101"/>
                  <a:gd name="T25" fmla="*/ 6 h 69"/>
                  <a:gd name="T26" fmla="*/ 27 w 101"/>
                  <a:gd name="T27" fmla="*/ 9 h 69"/>
                  <a:gd name="T28" fmla="*/ 18 w 101"/>
                  <a:gd name="T29" fmla="*/ 12 h 69"/>
                  <a:gd name="T30" fmla="*/ 9 w 101"/>
                  <a:gd name="T31" fmla="*/ 30 h 69"/>
                  <a:gd name="T32" fmla="*/ 0 w 101"/>
                  <a:gd name="T33" fmla="*/ 36 h 69"/>
                  <a:gd name="T34" fmla="*/ 6 w 101"/>
                  <a:gd name="T35" fmla="*/ 42 h 69"/>
                  <a:gd name="T36" fmla="*/ 9 w 101"/>
                  <a:gd name="T37" fmla="*/ 45 h 69"/>
                  <a:gd name="T38" fmla="*/ 9 w 101"/>
                  <a:gd name="T39" fmla="*/ 54 h 69"/>
                  <a:gd name="T40" fmla="*/ 24 w 101"/>
                  <a:gd name="T41" fmla="*/ 57 h 69"/>
                  <a:gd name="T42" fmla="*/ 24 w 101"/>
                  <a:gd name="T43" fmla="*/ 60 h 69"/>
                  <a:gd name="T44" fmla="*/ 30 w 101"/>
                  <a:gd name="T45" fmla="*/ 66 h 69"/>
                  <a:gd name="T46" fmla="*/ 42 w 101"/>
                  <a:gd name="T47" fmla="*/ 66 h 69"/>
                  <a:gd name="T48" fmla="*/ 53 w 101"/>
                  <a:gd name="T49" fmla="*/ 66 h 69"/>
                  <a:gd name="T50" fmla="*/ 62 w 101"/>
                  <a:gd name="T51" fmla="*/ 63 h 69"/>
                  <a:gd name="T52" fmla="*/ 74 w 101"/>
                  <a:gd name="T53" fmla="*/ 63 h 69"/>
                  <a:gd name="T54" fmla="*/ 83 w 101"/>
                  <a:gd name="T55" fmla="*/ 63 h 69"/>
                  <a:gd name="T56" fmla="*/ 89 w 101"/>
                  <a:gd name="T57" fmla="*/ 66 h 69"/>
                  <a:gd name="T58" fmla="*/ 89 w 101"/>
                  <a:gd name="T59" fmla="*/ 63 h 69"/>
                  <a:gd name="T60" fmla="*/ 95 w 101"/>
                  <a:gd name="T61" fmla="*/ 51 h 69"/>
                  <a:gd name="T62" fmla="*/ 101 w 101"/>
                  <a:gd name="T63" fmla="*/ 45 h 69"/>
                  <a:gd name="T64" fmla="*/ 101 w 101"/>
                  <a:gd name="T65" fmla="*/ 45 h 69"/>
                  <a:gd name="T66" fmla="*/ 98 w 101"/>
                  <a:gd name="T67" fmla="*/ 42 h 69"/>
                  <a:gd name="T68" fmla="*/ 92 w 101"/>
                  <a:gd name="T69" fmla="*/ 4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 h="69">
                    <a:moveTo>
                      <a:pt x="92" y="45"/>
                    </a:moveTo>
                    <a:cubicBezTo>
                      <a:pt x="89" y="45"/>
                      <a:pt x="86" y="45"/>
                      <a:pt x="86" y="42"/>
                    </a:cubicBezTo>
                    <a:cubicBezTo>
                      <a:pt x="86" y="42"/>
                      <a:pt x="86" y="42"/>
                      <a:pt x="86" y="42"/>
                    </a:cubicBezTo>
                    <a:cubicBezTo>
                      <a:pt x="83" y="39"/>
                      <a:pt x="83" y="33"/>
                      <a:pt x="86" y="30"/>
                    </a:cubicBezTo>
                    <a:cubicBezTo>
                      <a:pt x="89" y="27"/>
                      <a:pt x="80" y="18"/>
                      <a:pt x="77" y="15"/>
                    </a:cubicBezTo>
                    <a:cubicBezTo>
                      <a:pt x="77" y="12"/>
                      <a:pt x="74" y="6"/>
                      <a:pt x="71" y="0"/>
                    </a:cubicBezTo>
                    <a:cubicBezTo>
                      <a:pt x="68" y="3"/>
                      <a:pt x="65" y="3"/>
                      <a:pt x="65" y="3"/>
                    </a:cubicBezTo>
                    <a:cubicBezTo>
                      <a:pt x="65" y="6"/>
                      <a:pt x="62" y="6"/>
                      <a:pt x="59" y="6"/>
                    </a:cubicBezTo>
                    <a:cubicBezTo>
                      <a:pt x="56" y="6"/>
                      <a:pt x="56" y="6"/>
                      <a:pt x="53" y="9"/>
                    </a:cubicBezTo>
                    <a:cubicBezTo>
                      <a:pt x="50" y="9"/>
                      <a:pt x="50" y="9"/>
                      <a:pt x="48" y="9"/>
                    </a:cubicBezTo>
                    <a:cubicBezTo>
                      <a:pt x="48" y="9"/>
                      <a:pt x="45" y="6"/>
                      <a:pt x="42" y="6"/>
                    </a:cubicBezTo>
                    <a:cubicBezTo>
                      <a:pt x="39" y="6"/>
                      <a:pt x="33" y="6"/>
                      <a:pt x="30" y="6"/>
                    </a:cubicBezTo>
                    <a:cubicBezTo>
                      <a:pt x="27" y="6"/>
                      <a:pt x="27" y="6"/>
                      <a:pt x="27" y="6"/>
                    </a:cubicBezTo>
                    <a:cubicBezTo>
                      <a:pt x="27" y="6"/>
                      <a:pt x="27" y="6"/>
                      <a:pt x="27" y="9"/>
                    </a:cubicBezTo>
                    <a:cubicBezTo>
                      <a:pt x="24" y="9"/>
                      <a:pt x="21" y="12"/>
                      <a:pt x="18" y="12"/>
                    </a:cubicBezTo>
                    <a:cubicBezTo>
                      <a:pt x="18" y="15"/>
                      <a:pt x="12" y="27"/>
                      <a:pt x="9" y="30"/>
                    </a:cubicBezTo>
                    <a:cubicBezTo>
                      <a:pt x="3" y="33"/>
                      <a:pt x="0" y="33"/>
                      <a:pt x="0" y="36"/>
                    </a:cubicBezTo>
                    <a:cubicBezTo>
                      <a:pt x="0" y="36"/>
                      <a:pt x="6" y="39"/>
                      <a:pt x="6" y="42"/>
                    </a:cubicBezTo>
                    <a:cubicBezTo>
                      <a:pt x="6" y="45"/>
                      <a:pt x="6" y="45"/>
                      <a:pt x="9" y="45"/>
                    </a:cubicBezTo>
                    <a:cubicBezTo>
                      <a:pt x="12" y="45"/>
                      <a:pt x="9" y="51"/>
                      <a:pt x="9" y="54"/>
                    </a:cubicBezTo>
                    <a:cubicBezTo>
                      <a:pt x="12" y="54"/>
                      <a:pt x="24" y="54"/>
                      <a:pt x="24" y="57"/>
                    </a:cubicBezTo>
                    <a:cubicBezTo>
                      <a:pt x="24" y="60"/>
                      <a:pt x="24" y="60"/>
                      <a:pt x="24" y="60"/>
                    </a:cubicBezTo>
                    <a:cubicBezTo>
                      <a:pt x="27" y="63"/>
                      <a:pt x="30" y="66"/>
                      <a:pt x="30" y="66"/>
                    </a:cubicBezTo>
                    <a:cubicBezTo>
                      <a:pt x="30" y="66"/>
                      <a:pt x="39" y="66"/>
                      <a:pt x="42" y="66"/>
                    </a:cubicBezTo>
                    <a:cubicBezTo>
                      <a:pt x="42" y="66"/>
                      <a:pt x="50" y="66"/>
                      <a:pt x="53" y="66"/>
                    </a:cubicBezTo>
                    <a:cubicBezTo>
                      <a:pt x="56" y="69"/>
                      <a:pt x="59" y="66"/>
                      <a:pt x="62" y="63"/>
                    </a:cubicBezTo>
                    <a:cubicBezTo>
                      <a:pt x="62" y="63"/>
                      <a:pt x="71" y="60"/>
                      <a:pt x="74" y="63"/>
                    </a:cubicBezTo>
                    <a:cubicBezTo>
                      <a:pt x="77" y="63"/>
                      <a:pt x="83" y="63"/>
                      <a:pt x="83" y="63"/>
                    </a:cubicBezTo>
                    <a:cubicBezTo>
                      <a:pt x="83" y="66"/>
                      <a:pt x="86" y="66"/>
                      <a:pt x="89" y="66"/>
                    </a:cubicBezTo>
                    <a:cubicBezTo>
                      <a:pt x="89" y="63"/>
                      <a:pt x="89" y="63"/>
                      <a:pt x="89" y="63"/>
                    </a:cubicBezTo>
                    <a:cubicBezTo>
                      <a:pt x="89" y="57"/>
                      <a:pt x="92" y="54"/>
                      <a:pt x="95" y="51"/>
                    </a:cubicBezTo>
                    <a:cubicBezTo>
                      <a:pt x="98" y="51"/>
                      <a:pt x="101" y="51"/>
                      <a:pt x="101" y="45"/>
                    </a:cubicBezTo>
                    <a:cubicBezTo>
                      <a:pt x="101" y="45"/>
                      <a:pt x="101" y="45"/>
                      <a:pt x="101" y="45"/>
                    </a:cubicBezTo>
                    <a:cubicBezTo>
                      <a:pt x="98" y="42"/>
                      <a:pt x="98" y="42"/>
                      <a:pt x="98" y="42"/>
                    </a:cubicBezTo>
                    <a:cubicBezTo>
                      <a:pt x="95" y="42"/>
                      <a:pt x="92" y="45"/>
                      <a:pt x="92"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0" name="Freeform 794"/>
              <p:cNvSpPr>
                <a:spLocks/>
              </p:cNvSpPr>
              <p:nvPr userDrawn="1"/>
            </p:nvSpPr>
            <p:spPr bwMode="auto">
              <a:xfrm>
                <a:off x="3947" y="-2078"/>
                <a:ext cx="52" cy="66"/>
              </a:xfrm>
              <a:custGeom>
                <a:avLst/>
                <a:gdLst>
                  <a:gd name="T0" fmla="*/ 24 w 33"/>
                  <a:gd name="T1" fmla="*/ 9 h 42"/>
                  <a:gd name="T2" fmla="*/ 18 w 33"/>
                  <a:gd name="T3" fmla="*/ 3 h 42"/>
                  <a:gd name="T4" fmla="*/ 9 w 33"/>
                  <a:gd name="T5" fmla="*/ 0 h 42"/>
                  <a:gd name="T6" fmla="*/ 0 w 33"/>
                  <a:gd name="T7" fmla="*/ 0 h 42"/>
                  <a:gd name="T8" fmla="*/ 6 w 33"/>
                  <a:gd name="T9" fmla="*/ 15 h 42"/>
                  <a:gd name="T10" fmla="*/ 15 w 33"/>
                  <a:gd name="T11" fmla="*/ 30 h 42"/>
                  <a:gd name="T12" fmla="*/ 15 w 33"/>
                  <a:gd name="T13" fmla="*/ 42 h 42"/>
                  <a:gd name="T14" fmla="*/ 21 w 33"/>
                  <a:gd name="T15" fmla="*/ 33 h 42"/>
                  <a:gd name="T16" fmla="*/ 27 w 33"/>
                  <a:gd name="T17" fmla="*/ 27 h 42"/>
                  <a:gd name="T18" fmla="*/ 33 w 33"/>
                  <a:gd name="T19" fmla="*/ 30 h 42"/>
                  <a:gd name="T20" fmla="*/ 33 w 33"/>
                  <a:gd name="T21" fmla="*/ 21 h 42"/>
                  <a:gd name="T22" fmla="*/ 24 w 33"/>
                  <a:gd name="T23"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42">
                    <a:moveTo>
                      <a:pt x="24" y="9"/>
                    </a:moveTo>
                    <a:cubicBezTo>
                      <a:pt x="24" y="6"/>
                      <a:pt x="18" y="3"/>
                      <a:pt x="18" y="3"/>
                    </a:cubicBezTo>
                    <a:cubicBezTo>
                      <a:pt x="15" y="3"/>
                      <a:pt x="9" y="0"/>
                      <a:pt x="9" y="0"/>
                    </a:cubicBezTo>
                    <a:cubicBezTo>
                      <a:pt x="6" y="0"/>
                      <a:pt x="3" y="0"/>
                      <a:pt x="0" y="0"/>
                    </a:cubicBezTo>
                    <a:cubicBezTo>
                      <a:pt x="3" y="6"/>
                      <a:pt x="6" y="12"/>
                      <a:pt x="6" y="15"/>
                    </a:cubicBezTo>
                    <a:cubicBezTo>
                      <a:pt x="9" y="18"/>
                      <a:pt x="18" y="27"/>
                      <a:pt x="15" y="30"/>
                    </a:cubicBezTo>
                    <a:cubicBezTo>
                      <a:pt x="12" y="33"/>
                      <a:pt x="12" y="39"/>
                      <a:pt x="15" y="42"/>
                    </a:cubicBezTo>
                    <a:cubicBezTo>
                      <a:pt x="18" y="42"/>
                      <a:pt x="21" y="33"/>
                      <a:pt x="21" y="33"/>
                    </a:cubicBezTo>
                    <a:cubicBezTo>
                      <a:pt x="21" y="30"/>
                      <a:pt x="24" y="27"/>
                      <a:pt x="27" y="27"/>
                    </a:cubicBezTo>
                    <a:cubicBezTo>
                      <a:pt x="30" y="30"/>
                      <a:pt x="33" y="30"/>
                      <a:pt x="33" y="30"/>
                    </a:cubicBezTo>
                    <a:cubicBezTo>
                      <a:pt x="33" y="27"/>
                      <a:pt x="33" y="24"/>
                      <a:pt x="33" y="21"/>
                    </a:cubicBezTo>
                    <a:cubicBezTo>
                      <a:pt x="30" y="21"/>
                      <a:pt x="27" y="15"/>
                      <a:pt x="24"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1" name="Freeform 795"/>
              <p:cNvSpPr>
                <a:spLocks/>
              </p:cNvSpPr>
              <p:nvPr userDrawn="1"/>
            </p:nvSpPr>
            <p:spPr bwMode="auto">
              <a:xfrm>
                <a:off x="3947" y="-2078"/>
                <a:ext cx="52" cy="66"/>
              </a:xfrm>
              <a:custGeom>
                <a:avLst/>
                <a:gdLst>
                  <a:gd name="T0" fmla="*/ 24 w 33"/>
                  <a:gd name="T1" fmla="*/ 9 h 42"/>
                  <a:gd name="T2" fmla="*/ 18 w 33"/>
                  <a:gd name="T3" fmla="*/ 3 h 42"/>
                  <a:gd name="T4" fmla="*/ 9 w 33"/>
                  <a:gd name="T5" fmla="*/ 0 h 42"/>
                  <a:gd name="T6" fmla="*/ 0 w 33"/>
                  <a:gd name="T7" fmla="*/ 0 h 42"/>
                  <a:gd name="T8" fmla="*/ 6 w 33"/>
                  <a:gd name="T9" fmla="*/ 15 h 42"/>
                  <a:gd name="T10" fmla="*/ 15 w 33"/>
                  <a:gd name="T11" fmla="*/ 30 h 42"/>
                  <a:gd name="T12" fmla="*/ 15 w 33"/>
                  <a:gd name="T13" fmla="*/ 42 h 42"/>
                  <a:gd name="T14" fmla="*/ 21 w 33"/>
                  <a:gd name="T15" fmla="*/ 33 h 42"/>
                  <a:gd name="T16" fmla="*/ 27 w 33"/>
                  <a:gd name="T17" fmla="*/ 27 h 42"/>
                  <a:gd name="T18" fmla="*/ 33 w 33"/>
                  <a:gd name="T19" fmla="*/ 30 h 42"/>
                  <a:gd name="T20" fmla="*/ 33 w 33"/>
                  <a:gd name="T21" fmla="*/ 21 h 42"/>
                  <a:gd name="T22" fmla="*/ 24 w 33"/>
                  <a:gd name="T23"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42">
                    <a:moveTo>
                      <a:pt x="24" y="9"/>
                    </a:moveTo>
                    <a:cubicBezTo>
                      <a:pt x="24" y="6"/>
                      <a:pt x="18" y="3"/>
                      <a:pt x="18" y="3"/>
                    </a:cubicBezTo>
                    <a:cubicBezTo>
                      <a:pt x="15" y="3"/>
                      <a:pt x="9" y="0"/>
                      <a:pt x="9" y="0"/>
                    </a:cubicBezTo>
                    <a:cubicBezTo>
                      <a:pt x="6" y="0"/>
                      <a:pt x="3" y="0"/>
                      <a:pt x="0" y="0"/>
                    </a:cubicBezTo>
                    <a:cubicBezTo>
                      <a:pt x="3" y="6"/>
                      <a:pt x="6" y="12"/>
                      <a:pt x="6" y="15"/>
                    </a:cubicBezTo>
                    <a:cubicBezTo>
                      <a:pt x="9" y="18"/>
                      <a:pt x="18" y="27"/>
                      <a:pt x="15" y="30"/>
                    </a:cubicBezTo>
                    <a:cubicBezTo>
                      <a:pt x="12" y="33"/>
                      <a:pt x="12" y="39"/>
                      <a:pt x="15" y="42"/>
                    </a:cubicBezTo>
                    <a:cubicBezTo>
                      <a:pt x="18" y="42"/>
                      <a:pt x="21" y="33"/>
                      <a:pt x="21" y="33"/>
                    </a:cubicBezTo>
                    <a:cubicBezTo>
                      <a:pt x="21" y="30"/>
                      <a:pt x="24" y="27"/>
                      <a:pt x="27" y="27"/>
                    </a:cubicBezTo>
                    <a:cubicBezTo>
                      <a:pt x="30" y="30"/>
                      <a:pt x="33" y="30"/>
                      <a:pt x="33" y="30"/>
                    </a:cubicBezTo>
                    <a:cubicBezTo>
                      <a:pt x="33" y="27"/>
                      <a:pt x="33" y="24"/>
                      <a:pt x="33" y="21"/>
                    </a:cubicBezTo>
                    <a:cubicBezTo>
                      <a:pt x="30" y="21"/>
                      <a:pt x="27" y="15"/>
                      <a:pt x="24"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2" name="Freeform 796"/>
              <p:cNvSpPr>
                <a:spLocks/>
              </p:cNvSpPr>
              <p:nvPr userDrawn="1"/>
            </p:nvSpPr>
            <p:spPr bwMode="auto">
              <a:xfrm>
                <a:off x="3866" y="-1984"/>
                <a:ext cx="108" cy="61"/>
              </a:xfrm>
              <a:custGeom>
                <a:avLst/>
                <a:gdLst>
                  <a:gd name="T0" fmla="*/ 54 w 69"/>
                  <a:gd name="T1" fmla="*/ 3 h 39"/>
                  <a:gd name="T2" fmla="*/ 42 w 69"/>
                  <a:gd name="T3" fmla="*/ 3 h 39"/>
                  <a:gd name="T4" fmla="*/ 33 w 69"/>
                  <a:gd name="T5" fmla="*/ 6 h 39"/>
                  <a:gd name="T6" fmla="*/ 21 w 69"/>
                  <a:gd name="T7" fmla="*/ 6 h 39"/>
                  <a:gd name="T8" fmla="*/ 9 w 69"/>
                  <a:gd name="T9" fmla="*/ 6 h 39"/>
                  <a:gd name="T10" fmla="*/ 3 w 69"/>
                  <a:gd name="T11" fmla="*/ 0 h 39"/>
                  <a:gd name="T12" fmla="*/ 0 w 69"/>
                  <a:gd name="T13" fmla="*/ 3 h 39"/>
                  <a:gd name="T14" fmla="*/ 0 w 69"/>
                  <a:gd name="T15" fmla="*/ 9 h 39"/>
                  <a:gd name="T16" fmla="*/ 6 w 69"/>
                  <a:gd name="T17" fmla="*/ 18 h 39"/>
                  <a:gd name="T18" fmla="*/ 0 w 69"/>
                  <a:gd name="T19" fmla="*/ 21 h 39"/>
                  <a:gd name="T20" fmla="*/ 0 w 69"/>
                  <a:gd name="T21" fmla="*/ 27 h 39"/>
                  <a:gd name="T22" fmla="*/ 6 w 69"/>
                  <a:gd name="T23" fmla="*/ 36 h 39"/>
                  <a:gd name="T24" fmla="*/ 9 w 69"/>
                  <a:gd name="T25" fmla="*/ 39 h 39"/>
                  <a:gd name="T26" fmla="*/ 24 w 69"/>
                  <a:gd name="T27" fmla="*/ 39 h 39"/>
                  <a:gd name="T28" fmla="*/ 36 w 69"/>
                  <a:gd name="T29" fmla="*/ 39 h 39"/>
                  <a:gd name="T30" fmla="*/ 42 w 69"/>
                  <a:gd name="T31" fmla="*/ 36 h 39"/>
                  <a:gd name="T32" fmla="*/ 45 w 69"/>
                  <a:gd name="T33" fmla="*/ 36 h 39"/>
                  <a:gd name="T34" fmla="*/ 45 w 69"/>
                  <a:gd name="T35" fmla="*/ 33 h 39"/>
                  <a:gd name="T36" fmla="*/ 57 w 69"/>
                  <a:gd name="T37" fmla="*/ 33 h 39"/>
                  <a:gd name="T38" fmla="*/ 63 w 69"/>
                  <a:gd name="T39" fmla="*/ 30 h 39"/>
                  <a:gd name="T40" fmla="*/ 60 w 69"/>
                  <a:gd name="T41" fmla="*/ 27 h 39"/>
                  <a:gd name="T42" fmla="*/ 60 w 69"/>
                  <a:gd name="T43" fmla="*/ 21 h 39"/>
                  <a:gd name="T44" fmla="*/ 69 w 69"/>
                  <a:gd name="T45" fmla="*/ 9 h 39"/>
                  <a:gd name="T46" fmla="*/ 69 w 69"/>
                  <a:gd name="T47" fmla="*/ 6 h 39"/>
                  <a:gd name="T48" fmla="*/ 63 w 69"/>
                  <a:gd name="T49" fmla="*/ 3 h 39"/>
                  <a:gd name="T50" fmla="*/ 54 w 69"/>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39">
                    <a:moveTo>
                      <a:pt x="54" y="3"/>
                    </a:moveTo>
                    <a:cubicBezTo>
                      <a:pt x="51" y="0"/>
                      <a:pt x="42" y="3"/>
                      <a:pt x="42" y="3"/>
                    </a:cubicBezTo>
                    <a:cubicBezTo>
                      <a:pt x="39" y="6"/>
                      <a:pt x="36" y="9"/>
                      <a:pt x="33" y="6"/>
                    </a:cubicBezTo>
                    <a:cubicBezTo>
                      <a:pt x="30" y="6"/>
                      <a:pt x="21" y="6"/>
                      <a:pt x="21" y="6"/>
                    </a:cubicBezTo>
                    <a:cubicBezTo>
                      <a:pt x="18" y="6"/>
                      <a:pt x="9" y="6"/>
                      <a:pt x="9" y="6"/>
                    </a:cubicBezTo>
                    <a:cubicBezTo>
                      <a:pt x="9" y="6"/>
                      <a:pt x="6" y="3"/>
                      <a:pt x="3" y="0"/>
                    </a:cubicBezTo>
                    <a:cubicBezTo>
                      <a:pt x="3" y="3"/>
                      <a:pt x="3" y="3"/>
                      <a:pt x="0" y="3"/>
                    </a:cubicBezTo>
                    <a:cubicBezTo>
                      <a:pt x="0" y="9"/>
                      <a:pt x="0" y="9"/>
                      <a:pt x="0" y="9"/>
                    </a:cubicBezTo>
                    <a:cubicBezTo>
                      <a:pt x="3" y="12"/>
                      <a:pt x="6" y="18"/>
                      <a:pt x="6" y="18"/>
                    </a:cubicBezTo>
                    <a:cubicBezTo>
                      <a:pt x="3" y="18"/>
                      <a:pt x="0" y="21"/>
                      <a:pt x="0" y="21"/>
                    </a:cubicBezTo>
                    <a:cubicBezTo>
                      <a:pt x="0" y="24"/>
                      <a:pt x="0" y="27"/>
                      <a:pt x="0" y="27"/>
                    </a:cubicBezTo>
                    <a:cubicBezTo>
                      <a:pt x="3" y="27"/>
                      <a:pt x="6" y="33"/>
                      <a:pt x="6" y="36"/>
                    </a:cubicBezTo>
                    <a:cubicBezTo>
                      <a:pt x="9" y="36"/>
                      <a:pt x="9" y="36"/>
                      <a:pt x="9" y="39"/>
                    </a:cubicBezTo>
                    <a:cubicBezTo>
                      <a:pt x="15" y="36"/>
                      <a:pt x="24" y="36"/>
                      <a:pt x="24" y="39"/>
                    </a:cubicBezTo>
                    <a:cubicBezTo>
                      <a:pt x="27" y="39"/>
                      <a:pt x="36" y="39"/>
                      <a:pt x="36" y="39"/>
                    </a:cubicBezTo>
                    <a:cubicBezTo>
                      <a:pt x="39" y="39"/>
                      <a:pt x="42" y="39"/>
                      <a:pt x="42" y="36"/>
                    </a:cubicBezTo>
                    <a:cubicBezTo>
                      <a:pt x="45" y="36"/>
                      <a:pt x="45" y="36"/>
                      <a:pt x="45" y="36"/>
                    </a:cubicBezTo>
                    <a:cubicBezTo>
                      <a:pt x="45" y="33"/>
                      <a:pt x="45" y="33"/>
                      <a:pt x="45" y="33"/>
                    </a:cubicBezTo>
                    <a:cubicBezTo>
                      <a:pt x="48" y="30"/>
                      <a:pt x="54" y="30"/>
                      <a:pt x="57" y="33"/>
                    </a:cubicBezTo>
                    <a:cubicBezTo>
                      <a:pt x="60" y="33"/>
                      <a:pt x="60" y="33"/>
                      <a:pt x="63" y="30"/>
                    </a:cubicBezTo>
                    <a:cubicBezTo>
                      <a:pt x="63" y="30"/>
                      <a:pt x="63" y="27"/>
                      <a:pt x="60" y="27"/>
                    </a:cubicBezTo>
                    <a:cubicBezTo>
                      <a:pt x="60" y="27"/>
                      <a:pt x="57" y="21"/>
                      <a:pt x="60" y="21"/>
                    </a:cubicBezTo>
                    <a:cubicBezTo>
                      <a:pt x="60" y="18"/>
                      <a:pt x="63" y="12"/>
                      <a:pt x="69" y="9"/>
                    </a:cubicBezTo>
                    <a:cubicBezTo>
                      <a:pt x="69" y="9"/>
                      <a:pt x="69" y="9"/>
                      <a:pt x="69" y="6"/>
                    </a:cubicBezTo>
                    <a:cubicBezTo>
                      <a:pt x="66" y="6"/>
                      <a:pt x="63" y="6"/>
                      <a:pt x="63" y="3"/>
                    </a:cubicBezTo>
                    <a:cubicBezTo>
                      <a:pt x="63" y="3"/>
                      <a:pt x="57" y="3"/>
                      <a:pt x="54"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3" name="Freeform 797"/>
              <p:cNvSpPr>
                <a:spLocks/>
              </p:cNvSpPr>
              <p:nvPr userDrawn="1"/>
            </p:nvSpPr>
            <p:spPr bwMode="auto">
              <a:xfrm>
                <a:off x="3866" y="-1984"/>
                <a:ext cx="108" cy="61"/>
              </a:xfrm>
              <a:custGeom>
                <a:avLst/>
                <a:gdLst>
                  <a:gd name="T0" fmla="*/ 54 w 69"/>
                  <a:gd name="T1" fmla="*/ 3 h 39"/>
                  <a:gd name="T2" fmla="*/ 42 w 69"/>
                  <a:gd name="T3" fmla="*/ 3 h 39"/>
                  <a:gd name="T4" fmla="*/ 33 w 69"/>
                  <a:gd name="T5" fmla="*/ 6 h 39"/>
                  <a:gd name="T6" fmla="*/ 21 w 69"/>
                  <a:gd name="T7" fmla="*/ 6 h 39"/>
                  <a:gd name="T8" fmla="*/ 9 w 69"/>
                  <a:gd name="T9" fmla="*/ 6 h 39"/>
                  <a:gd name="T10" fmla="*/ 3 w 69"/>
                  <a:gd name="T11" fmla="*/ 0 h 39"/>
                  <a:gd name="T12" fmla="*/ 0 w 69"/>
                  <a:gd name="T13" fmla="*/ 3 h 39"/>
                  <a:gd name="T14" fmla="*/ 0 w 69"/>
                  <a:gd name="T15" fmla="*/ 9 h 39"/>
                  <a:gd name="T16" fmla="*/ 6 w 69"/>
                  <a:gd name="T17" fmla="*/ 18 h 39"/>
                  <a:gd name="T18" fmla="*/ 0 w 69"/>
                  <a:gd name="T19" fmla="*/ 21 h 39"/>
                  <a:gd name="T20" fmla="*/ 0 w 69"/>
                  <a:gd name="T21" fmla="*/ 27 h 39"/>
                  <a:gd name="T22" fmla="*/ 6 w 69"/>
                  <a:gd name="T23" fmla="*/ 36 h 39"/>
                  <a:gd name="T24" fmla="*/ 9 w 69"/>
                  <a:gd name="T25" fmla="*/ 39 h 39"/>
                  <a:gd name="T26" fmla="*/ 24 w 69"/>
                  <a:gd name="T27" fmla="*/ 39 h 39"/>
                  <a:gd name="T28" fmla="*/ 36 w 69"/>
                  <a:gd name="T29" fmla="*/ 39 h 39"/>
                  <a:gd name="T30" fmla="*/ 42 w 69"/>
                  <a:gd name="T31" fmla="*/ 36 h 39"/>
                  <a:gd name="T32" fmla="*/ 45 w 69"/>
                  <a:gd name="T33" fmla="*/ 36 h 39"/>
                  <a:gd name="T34" fmla="*/ 45 w 69"/>
                  <a:gd name="T35" fmla="*/ 33 h 39"/>
                  <a:gd name="T36" fmla="*/ 57 w 69"/>
                  <a:gd name="T37" fmla="*/ 33 h 39"/>
                  <a:gd name="T38" fmla="*/ 63 w 69"/>
                  <a:gd name="T39" fmla="*/ 30 h 39"/>
                  <a:gd name="T40" fmla="*/ 60 w 69"/>
                  <a:gd name="T41" fmla="*/ 27 h 39"/>
                  <a:gd name="T42" fmla="*/ 60 w 69"/>
                  <a:gd name="T43" fmla="*/ 21 h 39"/>
                  <a:gd name="T44" fmla="*/ 69 w 69"/>
                  <a:gd name="T45" fmla="*/ 9 h 39"/>
                  <a:gd name="T46" fmla="*/ 69 w 69"/>
                  <a:gd name="T47" fmla="*/ 6 h 39"/>
                  <a:gd name="T48" fmla="*/ 63 w 69"/>
                  <a:gd name="T49" fmla="*/ 3 h 39"/>
                  <a:gd name="T50" fmla="*/ 54 w 69"/>
                  <a:gd name="T5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39">
                    <a:moveTo>
                      <a:pt x="54" y="3"/>
                    </a:moveTo>
                    <a:cubicBezTo>
                      <a:pt x="51" y="0"/>
                      <a:pt x="42" y="3"/>
                      <a:pt x="42" y="3"/>
                    </a:cubicBezTo>
                    <a:cubicBezTo>
                      <a:pt x="39" y="6"/>
                      <a:pt x="36" y="9"/>
                      <a:pt x="33" y="6"/>
                    </a:cubicBezTo>
                    <a:cubicBezTo>
                      <a:pt x="30" y="6"/>
                      <a:pt x="21" y="6"/>
                      <a:pt x="21" y="6"/>
                    </a:cubicBezTo>
                    <a:cubicBezTo>
                      <a:pt x="18" y="6"/>
                      <a:pt x="9" y="6"/>
                      <a:pt x="9" y="6"/>
                    </a:cubicBezTo>
                    <a:cubicBezTo>
                      <a:pt x="9" y="6"/>
                      <a:pt x="6" y="3"/>
                      <a:pt x="3" y="0"/>
                    </a:cubicBezTo>
                    <a:cubicBezTo>
                      <a:pt x="3" y="3"/>
                      <a:pt x="3" y="3"/>
                      <a:pt x="0" y="3"/>
                    </a:cubicBezTo>
                    <a:cubicBezTo>
                      <a:pt x="0" y="9"/>
                      <a:pt x="0" y="9"/>
                      <a:pt x="0" y="9"/>
                    </a:cubicBezTo>
                    <a:cubicBezTo>
                      <a:pt x="3" y="12"/>
                      <a:pt x="6" y="18"/>
                      <a:pt x="6" y="18"/>
                    </a:cubicBezTo>
                    <a:cubicBezTo>
                      <a:pt x="3" y="18"/>
                      <a:pt x="0" y="21"/>
                      <a:pt x="0" y="21"/>
                    </a:cubicBezTo>
                    <a:cubicBezTo>
                      <a:pt x="0" y="24"/>
                      <a:pt x="0" y="27"/>
                      <a:pt x="0" y="27"/>
                    </a:cubicBezTo>
                    <a:cubicBezTo>
                      <a:pt x="3" y="27"/>
                      <a:pt x="6" y="33"/>
                      <a:pt x="6" y="36"/>
                    </a:cubicBezTo>
                    <a:cubicBezTo>
                      <a:pt x="9" y="36"/>
                      <a:pt x="9" y="36"/>
                      <a:pt x="9" y="39"/>
                    </a:cubicBezTo>
                    <a:cubicBezTo>
                      <a:pt x="15" y="36"/>
                      <a:pt x="24" y="36"/>
                      <a:pt x="24" y="39"/>
                    </a:cubicBezTo>
                    <a:cubicBezTo>
                      <a:pt x="27" y="39"/>
                      <a:pt x="36" y="39"/>
                      <a:pt x="36" y="39"/>
                    </a:cubicBezTo>
                    <a:cubicBezTo>
                      <a:pt x="39" y="39"/>
                      <a:pt x="42" y="39"/>
                      <a:pt x="42" y="36"/>
                    </a:cubicBezTo>
                    <a:cubicBezTo>
                      <a:pt x="45" y="36"/>
                      <a:pt x="45" y="36"/>
                      <a:pt x="45" y="36"/>
                    </a:cubicBezTo>
                    <a:cubicBezTo>
                      <a:pt x="45" y="33"/>
                      <a:pt x="45" y="33"/>
                      <a:pt x="45" y="33"/>
                    </a:cubicBezTo>
                    <a:cubicBezTo>
                      <a:pt x="48" y="30"/>
                      <a:pt x="54" y="30"/>
                      <a:pt x="57" y="33"/>
                    </a:cubicBezTo>
                    <a:cubicBezTo>
                      <a:pt x="60" y="33"/>
                      <a:pt x="60" y="33"/>
                      <a:pt x="63" y="30"/>
                    </a:cubicBezTo>
                    <a:cubicBezTo>
                      <a:pt x="63" y="30"/>
                      <a:pt x="63" y="27"/>
                      <a:pt x="60" y="27"/>
                    </a:cubicBezTo>
                    <a:cubicBezTo>
                      <a:pt x="60" y="27"/>
                      <a:pt x="57" y="21"/>
                      <a:pt x="60" y="21"/>
                    </a:cubicBezTo>
                    <a:cubicBezTo>
                      <a:pt x="60" y="18"/>
                      <a:pt x="63" y="12"/>
                      <a:pt x="69" y="9"/>
                    </a:cubicBezTo>
                    <a:cubicBezTo>
                      <a:pt x="69" y="9"/>
                      <a:pt x="69" y="9"/>
                      <a:pt x="69" y="6"/>
                    </a:cubicBezTo>
                    <a:cubicBezTo>
                      <a:pt x="66" y="6"/>
                      <a:pt x="63" y="6"/>
                      <a:pt x="63" y="3"/>
                    </a:cubicBezTo>
                    <a:cubicBezTo>
                      <a:pt x="63" y="3"/>
                      <a:pt x="57" y="3"/>
                      <a:pt x="54"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4" name="Freeform 798"/>
              <p:cNvSpPr>
                <a:spLocks/>
              </p:cNvSpPr>
              <p:nvPr userDrawn="1"/>
            </p:nvSpPr>
            <p:spPr bwMode="auto">
              <a:xfrm>
                <a:off x="3835" y="-1947"/>
                <a:ext cx="47" cy="38"/>
              </a:xfrm>
              <a:custGeom>
                <a:avLst/>
                <a:gdLst>
                  <a:gd name="T0" fmla="*/ 6 w 30"/>
                  <a:gd name="T1" fmla="*/ 24 h 24"/>
                  <a:gd name="T2" fmla="*/ 6 w 30"/>
                  <a:gd name="T3" fmla="*/ 24 h 24"/>
                  <a:gd name="T4" fmla="*/ 9 w 30"/>
                  <a:gd name="T5" fmla="*/ 24 h 24"/>
                  <a:gd name="T6" fmla="*/ 9 w 30"/>
                  <a:gd name="T7" fmla="*/ 24 h 24"/>
                  <a:gd name="T8" fmla="*/ 9 w 30"/>
                  <a:gd name="T9" fmla="*/ 24 h 24"/>
                  <a:gd name="T10" fmla="*/ 9 w 30"/>
                  <a:gd name="T11" fmla="*/ 24 h 24"/>
                  <a:gd name="T12" fmla="*/ 12 w 30"/>
                  <a:gd name="T13" fmla="*/ 24 h 24"/>
                  <a:gd name="T14" fmla="*/ 12 w 30"/>
                  <a:gd name="T15" fmla="*/ 24 h 24"/>
                  <a:gd name="T16" fmla="*/ 12 w 30"/>
                  <a:gd name="T17" fmla="*/ 21 h 24"/>
                  <a:gd name="T18" fmla="*/ 15 w 30"/>
                  <a:gd name="T19" fmla="*/ 21 h 24"/>
                  <a:gd name="T20" fmla="*/ 15 w 30"/>
                  <a:gd name="T21" fmla="*/ 21 h 24"/>
                  <a:gd name="T22" fmla="*/ 21 w 30"/>
                  <a:gd name="T23" fmla="*/ 18 h 24"/>
                  <a:gd name="T24" fmla="*/ 30 w 30"/>
                  <a:gd name="T25" fmla="*/ 15 h 24"/>
                  <a:gd name="T26" fmla="*/ 30 w 30"/>
                  <a:gd name="T27" fmla="*/ 15 h 24"/>
                  <a:gd name="T28" fmla="*/ 27 w 30"/>
                  <a:gd name="T29" fmla="*/ 12 h 24"/>
                  <a:gd name="T30" fmla="*/ 21 w 30"/>
                  <a:gd name="T31" fmla="*/ 3 h 24"/>
                  <a:gd name="T32" fmla="*/ 21 w 30"/>
                  <a:gd name="T33" fmla="*/ 3 h 24"/>
                  <a:gd name="T34" fmla="*/ 21 w 30"/>
                  <a:gd name="T35" fmla="*/ 3 h 24"/>
                  <a:gd name="T36" fmla="*/ 21 w 30"/>
                  <a:gd name="T37" fmla="*/ 0 h 24"/>
                  <a:gd name="T38" fmla="*/ 3 w 30"/>
                  <a:gd name="T39" fmla="*/ 6 h 24"/>
                  <a:gd name="T40" fmla="*/ 3 w 30"/>
                  <a:gd name="T41" fmla="*/ 3 h 24"/>
                  <a:gd name="T42" fmla="*/ 0 w 30"/>
                  <a:gd name="T43" fmla="*/ 15 h 24"/>
                  <a:gd name="T44" fmla="*/ 6 w 30"/>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24">
                    <a:moveTo>
                      <a:pt x="6" y="24"/>
                    </a:moveTo>
                    <a:cubicBezTo>
                      <a:pt x="6" y="24"/>
                      <a:pt x="6" y="24"/>
                      <a:pt x="6" y="24"/>
                    </a:cubicBezTo>
                    <a:cubicBezTo>
                      <a:pt x="6" y="24"/>
                      <a:pt x="6" y="24"/>
                      <a:pt x="9" y="24"/>
                    </a:cubicBezTo>
                    <a:cubicBezTo>
                      <a:pt x="9" y="24"/>
                      <a:pt x="9" y="24"/>
                      <a:pt x="9" y="24"/>
                    </a:cubicBezTo>
                    <a:cubicBezTo>
                      <a:pt x="9" y="24"/>
                      <a:pt x="9" y="24"/>
                      <a:pt x="9" y="24"/>
                    </a:cubicBezTo>
                    <a:cubicBezTo>
                      <a:pt x="9" y="24"/>
                      <a:pt x="9" y="24"/>
                      <a:pt x="9" y="24"/>
                    </a:cubicBezTo>
                    <a:cubicBezTo>
                      <a:pt x="12" y="24"/>
                      <a:pt x="12" y="24"/>
                      <a:pt x="12" y="24"/>
                    </a:cubicBezTo>
                    <a:cubicBezTo>
                      <a:pt x="12" y="24"/>
                      <a:pt x="12" y="24"/>
                      <a:pt x="12" y="24"/>
                    </a:cubicBezTo>
                    <a:cubicBezTo>
                      <a:pt x="12" y="24"/>
                      <a:pt x="12" y="24"/>
                      <a:pt x="12" y="21"/>
                    </a:cubicBezTo>
                    <a:cubicBezTo>
                      <a:pt x="12" y="21"/>
                      <a:pt x="12" y="21"/>
                      <a:pt x="15" y="21"/>
                    </a:cubicBezTo>
                    <a:cubicBezTo>
                      <a:pt x="15" y="21"/>
                      <a:pt x="15" y="21"/>
                      <a:pt x="15" y="21"/>
                    </a:cubicBezTo>
                    <a:cubicBezTo>
                      <a:pt x="18" y="21"/>
                      <a:pt x="18" y="18"/>
                      <a:pt x="21" y="18"/>
                    </a:cubicBezTo>
                    <a:cubicBezTo>
                      <a:pt x="21" y="21"/>
                      <a:pt x="30" y="15"/>
                      <a:pt x="30" y="15"/>
                    </a:cubicBezTo>
                    <a:cubicBezTo>
                      <a:pt x="30" y="15"/>
                      <a:pt x="30" y="15"/>
                      <a:pt x="30" y="15"/>
                    </a:cubicBezTo>
                    <a:cubicBezTo>
                      <a:pt x="30" y="12"/>
                      <a:pt x="30" y="12"/>
                      <a:pt x="27" y="12"/>
                    </a:cubicBezTo>
                    <a:cubicBezTo>
                      <a:pt x="27" y="9"/>
                      <a:pt x="24" y="3"/>
                      <a:pt x="21" y="3"/>
                    </a:cubicBezTo>
                    <a:cubicBezTo>
                      <a:pt x="21" y="3"/>
                      <a:pt x="21" y="3"/>
                      <a:pt x="21" y="3"/>
                    </a:cubicBezTo>
                    <a:cubicBezTo>
                      <a:pt x="21" y="3"/>
                      <a:pt x="21" y="3"/>
                      <a:pt x="21" y="3"/>
                    </a:cubicBezTo>
                    <a:cubicBezTo>
                      <a:pt x="21" y="3"/>
                      <a:pt x="21" y="3"/>
                      <a:pt x="21" y="0"/>
                    </a:cubicBezTo>
                    <a:cubicBezTo>
                      <a:pt x="15" y="3"/>
                      <a:pt x="3" y="6"/>
                      <a:pt x="3" y="6"/>
                    </a:cubicBezTo>
                    <a:cubicBezTo>
                      <a:pt x="3" y="6"/>
                      <a:pt x="3" y="6"/>
                      <a:pt x="3" y="3"/>
                    </a:cubicBezTo>
                    <a:cubicBezTo>
                      <a:pt x="0" y="9"/>
                      <a:pt x="0" y="12"/>
                      <a:pt x="0" y="15"/>
                    </a:cubicBezTo>
                    <a:cubicBezTo>
                      <a:pt x="0" y="18"/>
                      <a:pt x="3" y="21"/>
                      <a:pt x="6"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5" name="Freeform 799"/>
              <p:cNvSpPr>
                <a:spLocks/>
              </p:cNvSpPr>
              <p:nvPr userDrawn="1"/>
            </p:nvSpPr>
            <p:spPr bwMode="auto">
              <a:xfrm>
                <a:off x="3835" y="-1947"/>
                <a:ext cx="47" cy="38"/>
              </a:xfrm>
              <a:custGeom>
                <a:avLst/>
                <a:gdLst>
                  <a:gd name="T0" fmla="*/ 6 w 30"/>
                  <a:gd name="T1" fmla="*/ 24 h 24"/>
                  <a:gd name="T2" fmla="*/ 6 w 30"/>
                  <a:gd name="T3" fmla="*/ 24 h 24"/>
                  <a:gd name="T4" fmla="*/ 9 w 30"/>
                  <a:gd name="T5" fmla="*/ 24 h 24"/>
                  <a:gd name="T6" fmla="*/ 9 w 30"/>
                  <a:gd name="T7" fmla="*/ 24 h 24"/>
                  <a:gd name="T8" fmla="*/ 9 w 30"/>
                  <a:gd name="T9" fmla="*/ 24 h 24"/>
                  <a:gd name="T10" fmla="*/ 9 w 30"/>
                  <a:gd name="T11" fmla="*/ 24 h 24"/>
                  <a:gd name="T12" fmla="*/ 12 w 30"/>
                  <a:gd name="T13" fmla="*/ 24 h 24"/>
                  <a:gd name="T14" fmla="*/ 12 w 30"/>
                  <a:gd name="T15" fmla="*/ 24 h 24"/>
                  <a:gd name="T16" fmla="*/ 12 w 30"/>
                  <a:gd name="T17" fmla="*/ 21 h 24"/>
                  <a:gd name="T18" fmla="*/ 15 w 30"/>
                  <a:gd name="T19" fmla="*/ 21 h 24"/>
                  <a:gd name="T20" fmla="*/ 15 w 30"/>
                  <a:gd name="T21" fmla="*/ 21 h 24"/>
                  <a:gd name="T22" fmla="*/ 21 w 30"/>
                  <a:gd name="T23" fmla="*/ 18 h 24"/>
                  <a:gd name="T24" fmla="*/ 30 w 30"/>
                  <a:gd name="T25" fmla="*/ 15 h 24"/>
                  <a:gd name="T26" fmla="*/ 30 w 30"/>
                  <a:gd name="T27" fmla="*/ 15 h 24"/>
                  <a:gd name="T28" fmla="*/ 27 w 30"/>
                  <a:gd name="T29" fmla="*/ 12 h 24"/>
                  <a:gd name="T30" fmla="*/ 21 w 30"/>
                  <a:gd name="T31" fmla="*/ 3 h 24"/>
                  <a:gd name="T32" fmla="*/ 21 w 30"/>
                  <a:gd name="T33" fmla="*/ 3 h 24"/>
                  <a:gd name="T34" fmla="*/ 21 w 30"/>
                  <a:gd name="T35" fmla="*/ 3 h 24"/>
                  <a:gd name="T36" fmla="*/ 21 w 30"/>
                  <a:gd name="T37" fmla="*/ 0 h 24"/>
                  <a:gd name="T38" fmla="*/ 3 w 30"/>
                  <a:gd name="T39" fmla="*/ 6 h 24"/>
                  <a:gd name="T40" fmla="*/ 3 w 30"/>
                  <a:gd name="T41" fmla="*/ 3 h 24"/>
                  <a:gd name="T42" fmla="*/ 0 w 30"/>
                  <a:gd name="T43" fmla="*/ 15 h 24"/>
                  <a:gd name="T44" fmla="*/ 6 w 30"/>
                  <a:gd name="T4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24">
                    <a:moveTo>
                      <a:pt x="6" y="24"/>
                    </a:moveTo>
                    <a:cubicBezTo>
                      <a:pt x="6" y="24"/>
                      <a:pt x="6" y="24"/>
                      <a:pt x="6" y="24"/>
                    </a:cubicBezTo>
                    <a:cubicBezTo>
                      <a:pt x="6" y="24"/>
                      <a:pt x="6" y="24"/>
                      <a:pt x="9" y="24"/>
                    </a:cubicBezTo>
                    <a:cubicBezTo>
                      <a:pt x="9" y="24"/>
                      <a:pt x="9" y="24"/>
                      <a:pt x="9" y="24"/>
                    </a:cubicBezTo>
                    <a:cubicBezTo>
                      <a:pt x="9" y="24"/>
                      <a:pt x="9" y="24"/>
                      <a:pt x="9" y="24"/>
                    </a:cubicBezTo>
                    <a:cubicBezTo>
                      <a:pt x="9" y="24"/>
                      <a:pt x="9" y="24"/>
                      <a:pt x="9" y="24"/>
                    </a:cubicBezTo>
                    <a:cubicBezTo>
                      <a:pt x="12" y="24"/>
                      <a:pt x="12" y="24"/>
                      <a:pt x="12" y="24"/>
                    </a:cubicBezTo>
                    <a:cubicBezTo>
                      <a:pt x="12" y="24"/>
                      <a:pt x="12" y="24"/>
                      <a:pt x="12" y="24"/>
                    </a:cubicBezTo>
                    <a:cubicBezTo>
                      <a:pt x="12" y="24"/>
                      <a:pt x="12" y="24"/>
                      <a:pt x="12" y="21"/>
                    </a:cubicBezTo>
                    <a:cubicBezTo>
                      <a:pt x="12" y="21"/>
                      <a:pt x="12" y="21"/>
                      <a:pt x="15" y="21"/>
                    </a:cubicBezTo>
                    <a:cubicBezTo>
                      <a:pt x="15" y="21"/>
                      <a:pt x="15" y="21"/>
                      <a:pt x="15" y="21"/>
                    </a:cubicBezTo>
                    <a:cubicBezTo>
                      <a:pt x="18" y="21"/>
                      <a:pt x="18" y="18"/>
                      <a:pt x="21" y="18"/>
                    </a:cubicBezTo>
                    <a:cubicBezTo>
                      <a:pt x="21" y="21"/>
                      <a:pt x="30" y="15"/>
                      <a:pt x="30" y="15"/>
                    </a:cubicBezTo>
                    <a:cubicBezTo>
                      <a:pt x="30" y="15"/>
                      <a:pt x="30" y="15"/>
                      <a:pt x="30" y="15"/>
                    </a:cubicBezTo>
                    <a:cubicBezTo>
                      <a:pt x="30" y="12"/>
                      <a:pt x="30" y="12"/>
                      <a:pt x="27" y="12"/>
                    </a:cubicBezTo>
                    <a:cubicBezTo>
                      <a:pt x="27" y="9"/>
                      <a:pt x="24" y="3"/>
                      <a:pt x="21" y="3"/>
                    </a:cubicBezTo>
                    <a:cubicBezTo>
                      <a:pt x="21" y="3"/>
                      <a:pt x="21" y="3"/>
                      <a:pt x="21" y="3"/>
                    </a:cubicBezTo>
                    <a:cubicBezTo>
                      <a:pt x="21" y="3"/>
                      <a:pt x="21" y="3"/>
                      <a:pt x="21" y="3"/>
                    </a:cubicBezTo>
                    <a:cubicBezTo>
                      <a:pt x="21" y="3"/>
                      <a:pt x="21" y="3"/>
                      <a:pt x="21" y="0"/>
                    </a:cubicBezTo>
                    <a:cubicBezTo>
                      <a:pt x="15" y="3"/>
                      <a:pt x="3" y="6"/>
                      <a:pt x="3" y="6"/>
                    </a:cubicBezTo>
                    <a:cubicBezTo>
                      <a:pt x="3" y="6"/>
                      <a:pt x="3" y="6"/>
                      <a:pt x="3" y="3"/>
                    </a:cubicBezTo>
                    <a:cubicBezTo>
                      <a:pt x="0" y="9"/>
                      <a:pt x="0" y="12"/>
                      <a:pt x="0" y="15"/>
                    </a:cubicBezTo>
                    <a:cubicBezTo>
                      <a:pt x="0" y="18"/>
                      <a:pt x="3" y="21"/>
                      <a:pt x="6"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6" name="Freeform 800"/>
              <p:cNvSpPr>
                <a:spLocks/>
              </p:cNvSpPr>
              <p:nvPr userDrawn="1"/>
            </p:nvSpPr>
            <p:spPr bwMode="auto">
              <a:xfrm>
                <a:off x="3866" y="-2171"/>
                <a:ext cx="314" cy="182"/>
              </a:xfrm>
              <a:custGeom>
                <a:avLst/>
                <a:gdLst>
                  <a:gd name="T0" fmla="*/ 186 w 201"/>
                  <a:gd name="T1" fmla="*/ 69 h 117"/>
                  <a:gd name="T2" fmla="*/ 198 w 201"/>
                  <a:gd name="T3" fmla="*/ 60 h 117"/>
                  <a:gd name="T4" fmla="*/ 198 w 201"/>
                  <a:gd name="T5" fmla="*/ 54 h 117"/>
                  <a:gd name="T6" fmla="*/ 201 w 201"/>
                  <a:gd name="T7" fmla="*/ 45 h 117"/>
                  <a:gd name="T8" fmla="*/ 183 w 201"/>
                  <a:gd name="T9" fmla="*/ 39 h 117"/>
                  <a:gd name="T10" fmla="*/ 168 w 201"/>
                  <a:gd name="T11" fmla="*/ 33 h 117"/>
                  <a:gd name="T12" fmla="*/ 156 w 201"/>
                  <a:gd name="T13" fmla="*/ 33 h 117"/>
                  <a:gd name="T14" fmla="*/ 147 w 201"/>
                  <a:gd name="T15" fmla="*/ 30 h 117"/>
                  <a:gd name="T16" fmla="*/ 135 w 201"/>
                  <a:gd name="T17" fmla="*/ 18 h 117"/>
                  <a:gd name="T18" fmla="*/ 129 w 201"/>
                  <a:gd name="T19" fmla="*/ 3 h 117"/>
                  <a:gd name="T20" fmla="*/ 114 w 201"/>
                  <a:gd name="T21" fmla="*/ 3 h 117"/>
                  <a:gd name="T22" fmla="*/ 105 w 201"/>
                  <a:gd name="T23" fmla="*/ 3 h 117"/>
                  <a:gd name="T24" fmla="*/ 90 w 201"/>
                  <a:gd name="T25" fmla="*/ 12 h 117"/>
                  <a:gd name="T26" fmla="*/ 78 w 201"/>
                  <a:gd name="T27" fmla="*/ 15 h 117"/>
                  <a:gd name="T28" fmla="*/ 63 w 201"/>
                  <a:gd name="T29" fmla="*/ 12 h 117"/>
                  <a:gd name="T30" fmla="*/ 45 w 201"/>
                  <a:gd name="T31" fmla="*/ 9 h 117"/>
                  <a:gd name="T32" fmla="*/ 21 w 201"/>
                  <a:gd name="T33" fmla="*/ 12 h 117"/>
                  <a:gd name="T34" fmla="*/ 15 w 201"/>
                  <a:gd name="T35" fmla="*/ 18 h 117"/>
                  <a:gd name="T36" fmla="*/ 15 w 201"/>
                  <a:gd name="T37" fmla="*/ 33 h 117"/>
                  <a:gd name="T38" fmla="*/ 3 w 201"/>
                  <a:gd name="T39" fmla="*/ 51 h 117"/>
                  <a:gd name="T40" fmla="*/ 3 w 201"/>
                  <a:gd name="T41" fmla="*/ 63 h 117"/>
                  <a:gd name="T42" fmla="*/ 9 w 201"/>
                  <a:gd name="T43" fmla="*/ 66 h 117"/>
                  <a:gd name="T44" fmla="*/ 27 w 201"/>
                  <a:gd name="T45" fmla="*/ 69 h 117"/>
                  <a:gd name="T46" fmla="*/ 39 w 201"/>
                  <a:gd name="T47" fmla="*/ 66 h 117"/>
                  <a:gd name="T48" fmla="*/ 60 w 201"/>
                  <a:gd name="T49" fmla="*/ 60 h 117"/>
                  <a:gd name="T50" fmla="*/ 75 w 201"/>
                  <a:gd name="T51" fmla="*/ 69 h 117"/>
                  <a:gd name="T52" fmla="*/ 84 w 201"/>
                  <a:gd name="T53" fmla="*/ 90 h 117"/>
                  <a:gd name="T54" fmla="*/ 72 w 201"/>
                  <a:gd name="T55" fmla="*/ 93 h 117"/>
                  <a:gd name="T56" fmla="*/ 72 w 201"/>
                  <a:gd name="T57" fmla="*/ 105 h 117"/>
                  <a:gd name="T58" fmla="*/ 81 w 201"/>
                  <a:gd name="T59" fmla="*/ 105 h 117"/>
                  <a:gd name="T60" fmla="*/ 96 w 201"/>
                  <a:gd name="T61" fmla="*/ 87 h 117"/>
                  <a:gd name="T62" fmla="*/ 111 w 201"/>
                  <a:gd name="T63" fmla="*/ 90 h 117"/>
                  <a:gd name="T64" fmla="*/ 114 w 201"/>
                  <a:gd name="T65" fmla="*/ 102 h 117"/>
                  <a:gd name="T66" fmla="*/ 126 w 201"/>
                  <a:gd name="T67" fmla="*/ 117 h 117"/>
                  <a:gd name="T68" fmla="*/ 144 w 201"/>
                  <a:gd name="T69" fmla="*/ 108 h 117"/>
                  <a:gd name="T70" fmla="*/ 150 w 201"/>
                  <a:gd name="T71" fmla="*/ 105 h 117"/>
                  <a:gd name="T72" fmla="*/ 153 w 201"/>
                  <a:gd name="T73" fmla="*/ 87 h 117"/>
                  <a:gd name="T74" fmla="*/ 177 w 201"/>
                  <a:gd name="T75" fmla="*/ 7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17">
                    <a:moveTo>
                      <a:pt x="177" y="75"/>
                    </a:moveTo>
                    <a:cubicBezTo>
                      <a:pt x="180" y="75"/>
                      <a:pt x="186" y="69"/>
                      <a:pt x="186" y="69"/>
                    </a:cubicBezTo>
                    <a:cubicBezTo>
                      <a:pt x="189" y="69"/>
                      <a:pt x="195" y="69"/>
                      <a:pt x="195" y="69"/>
                    </a:cubicBezTo>
                    <a:cubicBezTo>
                      <a:pt x="195" y="66"/>
                      <a:pt x="198" y="63"/>
                      <a:pt x="198" y="60"/>
                    </a:cubicBezTo>
                    <a:cubicBezTo>
                      <a:pt x="195" y="57"/>
                      <a:pt x="195" y="57"/>
                      <a:pt x="195" y="57"/>
                    </a:cubicBezTo>
                    <a:cubicBezTo>
                      <a:pt x="195" y="57"/>
                      <a:pt x="198" y="57"/>
                      <a:pt x="198" y="54"/>
                    </a:cubicBezTo>
                    <a:cubicBezTo>
                      <a:pt x="195" y="51"/>
                      <a:pt x="195" y="51"/>
                      <a:pt x="195" y="51"/>
                    </a:cubicBezTo>
                    <a:cubicBezTo>
                      <a:pt x="195" y="51"/>
                      <a:pt x="201" y="48"/>
                      <a:pt x="201" y="45"/>
                    </a:cubicBezTo>
                    <a:cubicBezTo>
                      <a:pt x="198" y="45"/>
                      <a:pt x="195" y="45"/>
                      <a:pt x="192" y="42"/>
                    </a:cubicBezTo>
                    <a:cubicBezTo>
                      <a:pt x="189" y="42"/>
                      <a:pt x="186" y="42"/>
                      <a:pt x="183" y="39"/>
                    </a:cubicBezTo>
                    <a:cubicBezTo>
                      <a:pt x="180" y="39"/>
                      <a:pt x="174" y="39"/>
                      <a:pt x="174" y="39"/>
                    </a:cubicBezTo>
                    <a:cubicBezTo>
                      <a:pt x="174" y="36"/>
                      <a:pt x="171" y="33"/>
                      <a:pt x="168" y="33"/>
                    </a:cubicBezTo>
                    <a:cubicBezTo>
                      <a:pt x="168" y="30"/>
                      <a:pt x="165" y="33"/>
                      <a:pt x="162" y="33"/>
                    </a:cubicBezTo>
                    <a:cubicBezTo>
                      <a:pt x="162" y="33"/>
                      <a:pt x="159" y="36"/>
                      <a:pt x="156" y="33"/>
                    </a:cubicBezTo>
                    <a:cubicBezTo>
                      <a:pt x="153" y="30"/>
                      <a:pt x="153" y="30"/>
                      <a:pt x="153" y="30"/>
                    </a:cubicBezTo>
                    <a:cubicBezTo>
                      <a:pt x="150" y="33"/>
                      <a:pt x="147" y="30"/>
                      <a:pt x="147" y="30"/>
                    </a:cubicBezTo>
                    <a:cubicBezTo>
                      <a:pt x="147" y="27"/>
                      <a:pt x="144" y="21"/>
                      <a:pt x="144" y="21"/>
                    </a:cubicBezTo>
                    <a:cubicBezTo>
                      <a:pt x="141" y="18"/>
                      <a:pt x="135" y="21"/>
                      <a:pt x="135" y="18"/>
                    </a:cubicBezTo>
                    <a:cubicBezTo>
                      <a:pt x="132" y="15"/>
                      <a:pt x="132" y="12"/>
                      <a:pt x="132" y="12"/>
                    </a:cubicBezTo>
                    <a:cubicBezTo>
                      <a:pt x="132" y="9"/>
                      <a:pt x="132" y="6"/>
                      <a:pt x="129" y="3"/>
                    </a:cubicBezTo>
                    <a:cubicBezTo>
                      <a:pt x="129" y="0"/>
                      <a:pt x="123" y="0"/>
                      <a:pt x="120" y="3"/>
                    </a:cubicBezTo>
                    <a:cubicBezTo>
                      <a:pt x="120" y="3"/>
                      <a:pt x="114" y="0"/>
                      <a:pt x="114" y="3"/>
                    </a:cubicBezTo>
                    <a:cubicBezTo>
                      <a:pt x="111" y="3"/>
                      <a:pt x="111" y="6"/>
                      <a:pt x="108" y="6"/>
                    </a:cubicBezTo>
                    <a:cubicBezTo>
                      <a:pt x="108" y="6"/>
                      <a:pt x="105" y="6"/>
                      <a:pt x="105" y="3"/>
                    </a:cubicBezTo>
                    <a:cubicBezTo>
                      <a:pt x="102" y="6"/>
                      <a:pt x="99" y="6"/>
                      <a:pt x="99" y="6"/>
                    </a:cubicBezTo>
                    <a:cubicBezTo>
                      <a:pt x="90" y="12"/>
                      <a:pt x="90" y="12"/>
                      <a:pt x="90" y="12"/>
                    </a:cubicBezTo>
                    <a:cubicBezTo>
                      <a:pt x="90" y="15"/>
                      <a:pt x="90" y="18"/>
                      <a:pt x="90" y="15"/>
                    </a:cubicBezTo>
                    <a:cubicBezTo>
                      <a:pt x="87" y="15"/>
                      <a:pt x="81" y="15"/>
                      <a:pt x="78" y="15"/>
                    </a:cubicBezTo>
                    <a:cubicBezTo>
                      <a:pt x="78" y="18"/>
                      <a:pt x="75" y="12"/>
                      <a:pt x="72" y="12"/>
                    </a:cubicBezTo>
                    <a:cubicBezTo>
                      <a:pt x="69" y="15"/>
                      <a:pt x="66" y="12"/>
                      <a:pt x="63" y="12"/>
                    </a:cubicBezTo>
                    <a:cubicBezTo>
                      <a:pt x="63" y="15"/>
                      <a:pt x="60" y="12"/>
                      <a:pt x="57" y="12"/>
                    </a:cubicBezTo>
                    <a:cubicBezTo>
                      <a:pt x="54" y="9"/>
                      <a:pt x="48" y="12"/>
                      <a:pt x="45" y="9"/>
                    </a:cubicBezTo>
                    <a:cubicBezTo>
                      <a:pt x="45" y="9"/>
                      <a:pt x="30" y="9"/>
                      <a:pt x="27" y="9"/>
                    </a:cubicBezTo>
                    <a:cubicBezTo>
                      <a:pt x="24" y="9"/>
                      <a:pt x="21" y="9"/>
                      <a:pt x="21" y="12"/>
                    </a:cubicBezTo>
                    <a:cubicBezTo>
                      <a:pt x="18" y="15"/>
                      <a:pt x="15" y="12"/>
                      <a:pt x="15" y="12"/>
                    </a:cubicBezTo>
                    <a:cubicBezTo>
                      <a:pt x="15" y="15"/>
                      <a:pt x="15" y="15"/>
                      <a:pt x="15" y="18"/>
                    </a:cubicBezTo>
                    <a:cubicBezTo>
                      <a:pt x="15" y="18"/>
                      <a:pt x="21" y="27"/>
                      <a:pt x="18" y="27"/>
                    </a:cubicBezTo>
                    <a:cubicBezTo>
                      <a:pt x="18" y="30"/>
                      <a:pt x="15" y="30"/>
                      <a:pt x="15" y="33"/>
                    </a:cubicBezTo>
                    <a:cubicBezTo>
                      <a:pt x="12" y="33"/>
                      <a:pt x="3" y="42"/>
                      <a:pt x="3" y="42"/>
                    </a:cubicBezTo>
                    <a:cubicBezTo>
                      <a:pt x="3" y="45"/>
                      <a:pt x="6" y="51"/>
                      <a:pt x="3" y="51"/>
                    </a:cubicBezTo>
                    <a:cubicBezTo>
                      <a:pt x="3" y="51"/>
                      <a:pt x="0" y="57"/>
                      <a:pt x="0" y="60"/>
                    </a:cubicBezTo>
                    <a:cubicBezTo>
                      <a:pt x="3" y="63"/>
                      <a:pt x="3" y="63"/>
                      <a:pt x="3" y="63"/>
                    </a:cubicBezTo>
                    <a:cubicBezTo>
                      <a:pt x="6" y="66"/>
                      <a:pt x="6" y="66"/>
                      <a:pt x="6" y="66"/>
                    </a:cubicBezTo>
                    <a:cubicBezTo>
                      <a:pt x="9" y="66"/>
                      <a:pt x="9" y="66"/>
                      <a:pt x="9" y="66"/>
                    </a:cubicBezTo>
                    <a:cubicBezTo>
                      <a:pt x="12" y="66"/>
                      <a:pt x="18" y="66"/>
                      <a:pt x="21" y="66"/>
                    </a:cubicBezTo>
                    <a:cubicBezTo>
                      <a:pt x="24" y="66"/>
                      <a:pt x="27" y="69"/>
                      <a:pt x="27" y="69"/>
                    </a:cubicBezTo>
                    <a:cubicBezTo>
                      <a:pt x="30" y="69"/>
                      <a:pt x="30" y="69"/>
                      <a:pt x="33" y="69"/>
                    </a:cubicBezTo>
                    <a:cubicBezTo>
                      <a:pt x="36" y="66"/>
                      <a:pt x="36" y="66"/>
                      <a:pt x="39" y="66"/>
                    </a:cubicBezTo>
                    <a:cubicBezTo>
                      <a:pt x="42" y="66"/>
                      <a:pt x="45" y="66"/>
                      <a:pt x="45" y="63"/>
                    </a:cubicBezTo>
                    <a:cubicBezTo>
                      <a:pt x="45" y="63"/>
                      <a:pt x="57" y="60"/>
                      <a:pt x="60" y="60"/>
                    </a:cubicBezTo>
                    <a:cubicBezTo>
                      <a:pt x="60" y="60"/>
                      <a:pt x="66" y="63"/>
                      <a:pt x="69" y="63"/>
                    </a:cubicBezTo>
                    <a:cubicBezTo>
                      <a:pt x="69" y="63"/>
                      <a:pt x="75" y="66"/>
                      <a:pt x="75" y="69"/>
                    </a:cubicBezTo>
                    <a:cubicBezTo>
                      <a:pt x="78" y="75"/>
                      <a:pt x="81" y="81"/>
                      <a:pt x="84" y="81"/>
                    </a:cubicBezTo>
                    <a:cubicBezTo>
                      <a:pt x="84" y="84"/>
                      <a:pt x="84" y="87"/>
                      <a:pt x="84" y="90"/>
                    </a:cubicBezTo>
                    <a:cubicBezTo>
                      <a:pt x="84" y="90"/>
                      <a:pt x="81" y="90"/>
                      <a:pt x="78" y="87"/>
                    </a:cubicBezTo>
                    <a:cubicBezTo>
                      <a:pt x="75" y="87"/>
                      <a:pt x="72" y="90"/>
                      <a:pt x="72" y="93"/>
                    </a:cubicBezTo>
                    <a:cubicBezTo>
                      <a:pt x="72" y="96"/>
                      <a:pt x="69" y="102"/>
                      <a:pt x="66" y="102"/>
                    </a:cubicBezTo>
                    <a:cubicBezTo>
                      <a:pt x="66" y="105"/>
                      <a:pt x="69" y="105"/>
                      <a:pt x="72" y="105"/>
                    </a:cubicBezTo>
                    <a:cubicBezTo>
                      <a:pt x="72" y="105"/>
                      <a:pt x="75" y="102"/>
                      <a:pt x="78" y="102"/>
                    </a:cubicBezTo>
                    <a:cubicBezTo>
                      <a:pt x="81" y="105"/>
                      <a:pt x="81" y="105"/>
                      <a:pt x="81" y="105"/>
                    </a:cubicBezTo>
                    <a:cubicBezTo>
                      <a:pt x="81" y="99"/>
                      <a:pt x="81" y="102"/>
                      <a:pt x="87" y="96"/>
                    </a:cubicBezTo>
                    <a:cubicBezTo>
                      <a:pt x="93" y="93"/>
                      <a:pt x="93" y="87"/>
                      <a:pt x="96" y="87"/>
                    </a:cubicBezTo>
                    <a:cubicBezTo>
                      <a:pt x="102" y="84"/>
                      <a:pt x="102" y="84"/>
                      <a:pt x="108" y="84"/>
                    </a:cubicBezTo>
                    <a:cubicBezTo>
                      <a:pt x="114" y="84"/>
                      <a:pt x="105" y="90"/>
                      <a:pt x="111" y="90"/>
                    </a:cubicBezTo>
                    <a:cubicBezTo>
                      <a:pt x="114" y="93"/>
                      <a:pt x="129" y="90"/>
                      <a:pt x="129" y="93"/>
                    </a:cubicBezTo>
                    <a:cubicBezTo>
                      <a:pt x="129" y="96"/>
                      <a:pt x="114" y="102"/>
                      <a:pt x="114" y="102"/>
                    </a:cubicBezTo>
                    <a:cubicBezTo>
                      <a:pt x="114" y="105"/>
                      <a:pt x="123" y="105"/>
                      <a:pt x="126" y="108"/>
                    </a:cubicBezTo>
                    <a:cubicBezTo>
                      <a:pt x="129" y="108"/>
                      <a:pt x="123" y="114"/>
                      <a:pt x="126" y="117"/>
                    </a:cubicBezTo>
                    <a:cubicBezTo>
                      <a:pt x="126" y="117"/>
                      <a:pt x="132" y="117"/>
                      <a:pt x="135" y="114"/>
                    </a:cubicBezTo>
                    <a:cubicBezTo>
                      <a:pt x="138" y="111"/>
                      <a:pt x="141" y="111"/>
                      <a:pt x="144" y="108"/>
                    </a:cubicBezTo>
                    <a:cubicBezTo>
                      <a:pt x="150" y="105"/>
                      <a:pt x="159" y="108"/>
                      <a:pt x="159" y="108"/>
                    </a:cubicBezTo>
                    <a:cubicBezTo>
                      <a:pt x="162" y="105"/>
                      <a:pt x="159" y="105"/>
                      <a:pt x="150" y="105"/>
                    </a:cubicBezTo>
                    <a:cubicBezTo>
                      <a:pt x="141" y="105"/>
                      <a:pt x="141" y="96"/>
                      <a:pt x="141" y="96"/>
                    </a:cubicBezTo>
                    <a:cubicBezTo>
                      <a:pt x="141" y="93"/>
                      <a:pt x="150" y="87"/>
                      <a:pt x="153" y="87"/>
                    </a:cubicBezTo>
                    <a:cubicBezTo>
                      <a:pt x="159" y="87"/>
                      <a:pt x="162" y="84"/>
                      <a:pt x="168" y="81"/>
                    </a:cubicBezTo>
                    <a:cubicBezTo>
                      <a:pt x="171" y="81"/>
                      <a:pt x="174" y="81"/>
                      <a:pt x="177" y="78"/>
                    </a:cubicBezTo>
                    <a:cubicBezTo>
                      <a:pt x="177" y="75"/>
                      <a:pt x="177" y="75"/>
                      <a:pt x="177" y="7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7" name="Freeform 801"/>
              <p:cNvSpPr>
                <a:spLocks/>
              </p:cNvSpPr>
              <p:nvPr userDrawn="1"/>
            </p:nvSpPr>
            <p:spPr bwMode="auto">
              <a:xfrm>
                <a:off x="3866" y="-2171"/>
                <a:ext cx="314" cy="182"/>
              </a:xfrm>
              <a:custGeom>
                <a:avLst/>
                <a:gdLst>
                  <a:gd name="T0" fmla="*/ 186 w 201"/>
                  <a:gd name="T1" fmla="*/ 69 h 117"/>
                  <a:gd name="T2" fmla="*/ 198 w 201"/>
                  <a:gd name="T3" fmla="*/ 60 h 117"/>
                  <a:gd name="T4" fmla="*/ 198 w 201"/>
                  <a:gd name="T5" fmla="*/ 54 h 117"/>
                  <a:gd name="T6" fmla="*/ 201 w 201"/>
                  <a:gd name="T7" fmla="*/ 45 h 117"/>
                  <a:gd name="T8" fmla="*/ 183 w 201"/>
                  <a:gd name="T9" fmla="*/ 39 h 117"/>
                  <a:gd name="T10" fmla="*/ 168 w 201"/>
                  <a:gd name="T11" fmla="*/ 33 h 117"/>
                  <a:gd name="T12" fmla="*/ 156 w 201"/>
                  <a:gd name="T13" fmla="*/ 33 h 117"/>
                  <a:gd name="T14" fmla="*/ 147 w 201"/>
                  <a:gd name="T15" fmla="*/ 30 h 117"/>
                  <a:gd name="T16" fmla="*/ 135 w 201"/>
                  <a:gd name="T17" fmla="*/ 18 h 117"/>
                  <a:gd name="T18" fmla="*/ 129 w 201"/>
                  <a:gd name="T19" fmla="*/ 3 h 117"/>
                  <a:gd name="T20" fmla="*/ 114 w 201"/>
                  <a:gd name="T21" fmla="*/ 3 h 117"/>
                  <a:gd name="T22" fmla="*/ 105 w 201"/>
                  <a:gd name="T23" fmla="*/ 3 h 117"/>
                  <a:gd name="T24" fmla="*/ 90 w 201"/>
                  <a:gd name="T25" fmla="*/ 12 h 117"/>
                  <a:gd name="T26" fmla="*/ 78 w 201"/>
                  <a:gd name="T27" fmla="*/ 15 h 117"/>
                  <a:gd name="T28" fmla="*/ 63 w 201"/>
                  <a:gd name="T29" fmla="*/ 12 h 117"/>
                  <a:gd name="T30" fmla="*/ 45 w 201"/>
                  <a:gd name="T31" fmla="*/ 9 h 117"/>
                  <a:gd name="T32" fmla="*/ 21 w 201"/>
                  <a:gd name="T33" fmla="*/ 12 h 117"/>
                  <a:gd name="T34" fmla="*/ 15 w 201"/>
                  <a:gd name="T35" fmla="*/ 18 h 117"/>
                  <a:gd name="T36" fmla="*/ 15 w 201"/>
                  <a:gd name="T37" fmla="*/ 33 h 117"/>
                  <a:gd name="T38" fmla="*/ 3 w 201"/>
                  <a:gd name="T39" fmla="*/ 51 h 117"/>
                  <a:gd name="T40" fmla="*/ 3 w 201"/>
                  <a:gd name="T41" fmla="*/ 63 h 117"/>
                  <a:gd name="T42" fmla="*/ 9 w 201"/>
                  <a:gd name="T43" fmla="*/ 66 h 117"/>
                  <a:gd name="T44" fmla="*/ 27 w 201"/>
                  <a:gd name="T45" fmla="*/ 69 h 117"/>
                  <a:gd name="T46" fmla="*/ 39 w 201"/>
                  <a:gd name="T47" fmla="*/ 66 h 117"/>
                  <a:gd name="T48" fmla="*/ 60 w 201"/>
                  <a:gd name="T49" fmla="*/ 60 h 117"/>
                  <a:gd name="T50" fmla="*/ 75 w 201"/>
                  <a:gd name="T51" fmla="*/ 69 h 117"/>
                  <a:gd name="T52" fmla="*/ 84 w 201"/>
                  <a:gd name="T53" fmla="*/ 90 h 117"/>
                  <a:gd name="T54" fmla="*/ 72 w 201"/>
                  <a:gd name="T55" fmla="*/ 93 h 117"/>
                  <a:gd name="T56" fmla="*/ 72 w 201"/>
                  <a:gd name="T57" fmla="*/ 105 h 117"/>
                  <a:gd name="T58" fmla="*/ 81 w 201"/>
                  <a:gd name="T59" fmla="*/ 105 h 117"/>
                  <a:gd name="T60" fmla="*/ 96 w 201"/>
                  <a:gd name="T61" fmla="*/ 87 h 117"/>
                  <a:gd name="T62" fmla="*/ 111 w 201"/>
                  <a:gd name="T63" fmla="*/ 90 h 117"/>
                  <a:gd name="T64" fmla="*/ 114 w 201"/>
                  <a:gd name="T65" fmla="*/ 102 h 117"/>
                  <a:gd name="T66" fmla="*/ 126 w 201"/>
                  <a:gd name="T67" fmla="*/ 117 h 117"/>
                  <a:gd name="T68" fmla="*/ 144 w 201"/>
                  <a:gd name="T69" fmla="*/ 108 h 117"/>
                  <a:gd name="T70" fmla="*/ 150 w 201"/>
                  <a:gd name="T71" fmla="*/ 105 h 117"/>
                  <a:gd name="T72" fmla="*/ 153 w 201"/>
                  <a:gd name="T73" fmla="*/ 87 h 117"/>
                  <a:gd name="T74" fmla="*/ 177 w 201"/>
                  <a:gd name="T75" fmla="*/ 7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17">
                    <a:moveTo>
                      <a:pt x="177" y="75"/>
                    </a:moveTo>
                    <a:cubicBezTo>
                      <a:pt x="180" y="75"/>
                      <a:pt x="186" y="69"/>
                      <a:pt x="186" y="69"/>
                    </a:cubicBezTo>
                    <a:cubicBezTo>
                      <a:pt x="189" y="69"/>
                      <a:pt x="195" y="69"/>
                      <a:pt x="195" y="69"/>
                    </a:cubicBezTo>
                    <a:cubicBezTo>
                      <a:pt x="195" y="66"/>
                      <a:pt x="198" y="63"/>
                      <a:pt x="198" y="60"/>
                    </a:cubicBezTo>
                    <a:cubicBezTo>
                      <a:pt x="195" y="57"/>
                      <a:pt x="195" y="57"/>
                      <a:pt x="195" y="57"/>
                    </a:cubicBezTo>
                    <a:cubicBezTo>
                      <a:pt x="195" y="57"/>
                      <a:pt x="198" y="57"/>
                      <a:pt x="198" y="54"/>
                    </a:cubicBezTo>
                    <a:cubicBezTo>
                      <a:pt x="195" y="51"/>
                      <a:pt x="195" y="51"/>
                      <a:pt x="195" y="51"/>
                    </a:cubicBezTo>
                    <a:cubicBezTo>
                      <a:pt x="195" y="51"/>
                      <a:pt x="201" y="48"/>
                      <a:pt x="201" y="45"/>
                    </a:cubicBezTo>
                    <a:cubicBezTo>
                      <a:pt x="198" y="45"/>
                      <a:pt x="195" y="45"/>
                      <a:pt x="192" y="42"/>
                    </a:cubicBezTo>
                    <a:cubicBezTo>
                      <a:pt x="189" y="42"/>
                      <a:pt x="186" y="42"/>
                      <a:pt x="183" y="39"/>
                    </a:cubicBezTo>
                    <a:cubicBezTo>
                      <a:pt x="180" y="39"/>
                      <a:pt x="174" y="39"/>
                      <a:pt x="174" y="39"/>
                    </a:cubicBezTo>
                    <a:cubicBezTo>
                      <a:pt x="174" y="36"/>
                      <a:pt x="171" y="33"/>
                      <a:pt x="168" y="33"/>
                    </a:cubicBezTo>
                    <a:cubicBezTo>
                      <a:pt x="168" y="30"/>
                      <a:pt x="165" y="33"/>
                      <a:pt x="162" y="33"/>
                    </a:cubicBezTo>
                    <a:cubicBezTo>
                      <a:pt x="162" y="33"/>
                      <a:pt x="159" y="36"/>
                      <a:pt x="156" y="33"/>
                    </a:cubicBezTo>
                    <a:cubicBezTo>
                      <a:pt x="153" y="30"/>
                      <a:pt x="153" y="30"/>
                      <a:pt x="153" y="30"/>
                    </a:cubicBezTo>
                    <a:cubicBezTo>
                      <a:pt x="150" y="33"/>
                      <a:pt x="147" y="30"/>
                      <a:pt x="147" y="30"/>
                    </a:cubicBezTo>
                    <a:cubicBezTo>
                      <a:pt x="147" y="27"/>
                      <a:pt x="144" y="21"/>
                      <a:pt x="144" y="21"/>
                    </a:cubicBezTo>
                    <a:cubicBezTo>
                      <a:pt x="141" y="18"/>
                      <a:pt x="135" y="21"/>
                      <a:pt x="135" y="18"/>
                    </a:cubicBezTo>
                    <a:cubicBezTo>
                      <a:pt x="132" y="15"/>
                      <a:pt x="132" y="12"/>
                      <a:pt x="132" y="12"/>
                    </a:cubicBezTo>
                    <a:cubicBezTo>
                      <a:pt x="132" y="9"/>
                      <a:pt x="132" y="6"/>
                      <a:pt x="129" y="3"/>
                    </a:cubicBezTo>
                    <a:cubicBezTo>
                      <a:pt x="129" y="0"/>
                      <a:pt x="123" y="0"/>
                      <a:pt x="120" y="3"/>
                    </a:cubicBezTo>
                    <a:cubicBezTo>
                      <a:pt x="120" y="3"/>
                      <a:pt x="114" y="0"/>
                      <a:pt x="114" y="3"/>
                    </a:cubicBezTo>
                    <a:cubicBezTo>
                      <a:pt x="111" y="3"/>
                      <a:pt x="111" y="6"/>
                      <a:pt x="108" y="6"/>
                    </a:cubicBezTo>
                    <a:cubicBezTo>
                      <a:pt x="108" y="6"/>
                      <a:pt x="105" y="6"/>
                      <a:pt x="105" y="3"/>
                    </a:cubicBezTo>
                    <a:cubicBezTo>
                      <a:pt x="102" y="6"/>
                      <a:pt x="99" y="6"/>
                      <a:pt x="99" y="6"/>
                    </a:cubicBezTo>
                    <a:cubicBezTo>
                      <a:pt x="90" y="12"/>
                      <a:pt x="90" y="12"/>
                      <a:pt x="90" y="12"/>
                    </a:cubicBezTo>
                    <a:cubicBezTo>
                      <a:pt x="90" y="15"/>
                      <a:pt x="90" y="18"/>
                      <a:pt x="90" y="15"/>
                    </a:cubicBezTo>
                    <a:cubicBezTo>
                      <a:pt x="87" y="15"/>
                      <a:pt x="81" y="15"/>
                      <a:pt x="78" y="15"/>
                    </a:cubicBezTo>
                    <a:cubicBezTo>
                      <a:pt x="78" y="18"/>
                      <a:pt x="75" y="12"/>
                      <a:pt x="72" y="12"/>
                    </a:cubicBezTo>
                    <a:cubicBezTo>
                      <a:pt x="69" y="15"/>
                      <a:pt x="66" y="12"/>
                      <a:pt x="63" y="12"/>
                    </a:cubicBezTo>
                    <a:cubicBezTo>
                      <a:pt x="63" y="15"/>
                      <a:pt x="60" y="12"/>
                      <a:pt x="57" y="12"/>
                    </a:cubicBezTo>
                    <a:cubicBezTo>
                      <a:pt x="54" y="9"/>
                      <a:pt x="48" y="12"/>
                      <a:pt x="45" y="9"/>
                    </a:cubicBezTo>
                    <a:cubicBezTo>
                      <a:pt x="45" y="9"/>
                      <a:pt x="30" y="9"/>
                      <a:pt x="27" y="9"/>
                    </a:cubicBezTo>
                    <a:cubicBezTo>
                      <a:pt x="24" y="9"/>
                      <a:pt x="21" y="9"/>
                      <a:pt x="21" y="12"/>
                    </a:cubicBezTo>
                    <a:cubicBezTo>
                      <a:pt x="18" y="15"/>
                      <a:pt x="15" y="12"/>
                      <a:pt x="15" y="12"/>
                    </a:cubicBezTo>
                    <a:cubicBezTo>
                      <a:pt x="15" y="15"/>
                      <a:pt x="15" y="15"/>
                      <a:pt x="15" y="18"/>
                    </a:cubicBezTo>
                    <a:cubicBezTo>
                      <a:pt x="15" y="18"/>
                      <a:pt x="21" y="27"/>
                      <a:pt x="18" y="27"/>
                    </a:cubicBezTo>
                    <a:cubicBezTo>
                      <a:pt x="18" y="30"/>
                      <a:pt x="15" y="30"/>
                      <a:pt x="15" y="33"/>
                    </a:cubicBezTo>
                    <a:cubicBezTo>
                      <a:pt x="12" y="33"/>
                      <a:pt x="3" y="42"/>
                      <a:pt x="3" y="42"/>
                    </a:cubicBezTo>
                    <a:cubicBezTo>
                      <a:pt x="3" y="45"/>
                      <a:pt x="6" y="51"/>
                      <a:pt x="3" y="51"/>
                    </a:cubicBezTo>
                    <a:cubicBezTo>
                      <a:pt x="3" y="51"/>
                      <a:pt x="0" y="57"/>
                      <a:pt x="0" y="60"/>
                    </a:cubicBezTo>
                    <a:cubicBezTo>
                      <a:pt x="3" y="63"/>
                      <a:pt x="3" y="63"/>
                      <a:pt x="3" y="63"/>
                    </a:cubicBezTo>
                    <a:cubicBezTo>
                      <a:pt x="6" y="66"/>
                      <a:pt x="6" y="66"/>
                      <a:pt x="6" y="66"/>
                    </a:cubicBezTo>
                    <a:cubicBezTo>
                      <a:pt x="9" y="66"/>
                      <a:pt x="9" y="66"/>
                      <a:pt x="9" y="66"/>
                    </a:cubicBezTo>
                    <a:cubicBezTo>
                      <a:pt x="12" y="66"/>
                      <a:pt x="18" y="66"/>
                      <a:pt x="21" y="66"/>
                    </a:cubicBezTo>
                    <a:cubicBezTo>
                      <a:pt x="24" y="66"/>
                      <a:pt x="27" y="69"/>
                      <a:pt x="27" y="69"/>
                    </a:cubicBezTo>
                    <a:cubicBezTo>
                      <a:pt x="30" y="69"/>
                      <a:pt x="30" y="69"/>
                      <a:pt x="33" y="69"/>
                    </a:cubicBezTo>
                    <a:cubicBezTo>
                      <a:pt x="36" y="66"/>
                      <a:pt x="36" y="66"/>
                      <a:pt x="39" y="66"/>
                    </a:cubicBezTo>
                    <a:cubicBezTo>
                      <a:pt x="42" y="66"/>
                      <a:pt x="45" y="66"/>
                      <a:pt x="45" y="63"/>
                    </a:cubicBezTo>
                    <a:cubicBezTo>
                      <a:pt x="45" y="63"/>
                      <a:pt x="57" y="60"/>
                      <a:pt x="60" y="60"/>
                    </a:cubicBezTo>
                    <a:cubicBezTo>
                      <a:pt x="60" y="60"/>
                      <a:pt x="66" y="63"/>
                      <a:pt x="69" y="63"/>
                    </a:cubicBezTo>
                    <a:cubicBezTo>
                      <a:pt x="69" y="63"/>
                      <a:pt x="75" y="66"/>
                      <a:pt x="75" y="69"/>
                    </a:cubicBezTo>
                    <a:cubicBezTo>
                      <a:pt x="78" y="75"/>
                      <a:pt x="81" y="81"/>
                      <a:pt x="84" y="81"/>
                    </a:cubicBezTo>
                    <a:cubicBezTo>
                      <a:pt x="84" y="84"/>
                      <a:pt x="84" y="87"/>
                      <a:pt x="84" y="90"/>
                    </a:cubicBezTo>
                    <a:cubicBezTo>
                      <a:pt x="84" y="90"/>
                      <a:pt x="81" y="90"/>
                      <a:pt x="78" y="87"/>
                    </a:cubicBezTo>
                    <a:cubicBezTo>
                      <a:pt x="75" y="87"/>
                      <a:pt x="72" y="90"/>
                      <a:pt x="72" y="93"/>
                    </a:cubicBezTo>
                    <a:cubicBezTo>
                      <a:pt x="72" y="96"/>
                      <a:pt x="69" y="102"/>
                      <a:pt x="66" y="102"/>
                    </a:cubicBezTo>
                    <a:cubicBezTo>
                      <a:pt x="66" y="105"/>
                      <a:pt x="69" y="105"/>
                      <a:pt x="72" y="105"/>
                    </a:cubicBezTo>
                    <a:cubicBezTo>
                      <a:pt x="72" y="105"/>
                      <a:pt x="75" y="102"/>
                      <a:pt x="78" y="102"/>
                    </a:cubicBezTo>
                    <a:cubicBezTo>
                      <a:pt x="81" y="105"/>
                      <a:pt x="81" y="105"/>
                      <a:pt x="81" y="105"/>
                    </a:cubicBezTo>
                    <a:cubicBezTo>
                      <a:pt x="81" y="99"/>
                      <a:pt x="81" y="102"/>
                      <a:pt x="87" y="96"/>
                    </a:cubicBezTo>
                    <a:cubicBezTo>
                      <a:pt x="93" y="93"/>
                      <a:pt x="93" y="87"/>
                      <a:pt x="96" y="87"/>
                    </a:cubicBezTo>
                    <a:cubicBezTo>
                      <a:pt x="102" y="84"/>
                      <a:pt x="102" y="84"/>
                      <a:pt x="108" y="84"/>
                    </a:cubicBezTo>
                    <a:cubicBezTo>
                      <a:pt x="114" y="84"/>
                      <a:pt x="105" y="90"/>
                      <a:pt x="111" y="90"/>
                    </a:cubicBezTo>
                    <a:cubicBezTo>
                      <a:pt x="114" y="93"/>
                      <a:pt x="129" y="90"/>
                      <a:pt x="129" y="93"/>
                    </a:cubicBezTo>
                    <a:cubicBezTo>
                      <a:pt x="129" y="96"/>
                      <a:pt x="114" y="102"/>
                      <a:pt x="114" y="102"/>
                    </a:cubicBezTo>
                    <a:cubicBezTo>
                      <a:pt x="114" y="105"/>
                      <a:pt x="123" y="105"/>
                      <a:pt x="126" y="108"/>
                    </a:cubicBezTo>
                    <a:cubicBezTo>
                      <a:pt x="129" y="108"/>
                      <a:pt x="123" y="114"/>
                      <a:pt x="126" y="117"/>
                    </a:cubicBezTo>
                    <a:cubicBezTo>
                      <a:pt x="126" y="117"/>
                      <a:pt x="132" y="117"/>
                      <a:pt x="135" y="114"/>
                    </a:cubicBezTo>
                    <a:cubicBezTo>
                      <a:pt x="138" y="111"/>
                      <a:pt x="141" y="111"/>
                      <a:pt x="144" y="108"/>
                    </a:cubicBezTo>
                    <a:cubicBezTo>
                      <a:pt x="150" y="105"/>
                      <a:pt x="159" y="108"/>
                      <a:pt x="159" y="108"/>
                    </a:cubicBezTo>
                    <a:cubicBezTo>
                      <a:pt x="162" y="105"/>
                      <a:pt x="159" y="105"/>
                      <a:pt x="150" y="105"/>
                    </a:cubicBezTo>
                    <a:cubicBezTo>
                      <a:pt x="141" y="105"/>
                      <a:pt x="141" y="96"/>
                      <a:pt x="141" y="96"/>
                    </a:cubicBezTo>
                    <a:cubicBezTo>
                      <a:pt x="141" y="93"/>
                      <a:pt x="150" y="87"/>
                      <a:pt x="153" y="87"/>
                    </a:cubicBezTo>
                    <a:cubicBezTo>
                      <a:pt x="159" y="87"/>
                      <a:pt x="162" y="84"/>
                      <a:pt x="168" y="81"/>
                    </a:cubicBezTo>
                    <a:cubicBezTo>
                      <a:pt x="171" y="81"/>
                      <a:pt x="174" y="81"/>
                      <a:pt x="177" y="78"/>
                    </a:cubicBezTo>
                    <a:cubicBezTo>
                      <a:pt x="177" y="75"/>
                      <a:pt x="177" y="75"/>
                      <a:pt x="177" y="7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8" name="Freeform 802"/>
              <p:cNvSpPr>
                <a:spLocks/>
              </p:cNvSpPr>
              <p:nvPr userDrawn="1"/>
            </p:nvSpPr>
            <p:spPr bwMode="auto">
              <a:xfrm>
                <a:off x="3882" y="-2265"/>
                <a:ext cx="167" cy="122"/>
              </a:xfrm>
              <a:custGeom>
                <a:avLst/>
                <a:gdLst>
                  <a:gd name="T0" fmla="*/ 98 w 107"/>
                  <a:gd name="T1" fmla="*/ 39 h 78"/>
                  <a:gd name="T2" fmla="*/ 92 w 107"/>
                  <a:gd name="T3" fmla="*/ 33 h 78"/>
                  <a:gd name="T4" fmla="*/ 89 w 107"/>
                  <a:gd name="T5" fmla="*/ 27 h 78"/>
                  <a:gd name="T6" fmla="*/ 86 w 107"/>
                  <a:gd name="T7" fmla="*/ 18 h 78"/>
                  <a:gd name="T8" fmla="*/ 86 w 107"/>
                  <a:gd name="T9" fmla="*/ 9 h 78"/>
                  <a:gd name="T10" fmla="*/ 74 w 107"/>
                  <a:gd name="T11" fmla="*/ 6 h 78"/>
                  <a:gd name="T12" fmla="*/ 68 w 107"/>
                  <a:gd name="T13" fmla="*/ 6 h 78"/>
                  <a:gd name="T14" fmla="*/ 62 w 107"/>
                  <a:gd name="T15" fmla="*/ 3 h 78"/>
                  <a:gd name="T16" fmla="*/ 56 w 107"/>
                  <a:gd name="T17" fmla="*/ 3 h 78"/>
                  <a:gd name="T18" fmla="*/ 56 w 107"/>
                  <a:gd name="T19" fmla="*/ 0 h 78"/>
                  <a:gd name="T20" fmla="*/ 53 w 107"/>
                  <a:gd name="T21" fmla="*/ 3 h 78"/>
                  <a:gd name="T22" fmla="*/ 51 w 107"/>
                  <a:gd name="T23" fmla="*/ 6 h 78"/>
                  <a:gd name="T24" fmla="*/ 42 w 107"/>
                  <a:gd name="T25" fmla="*/ 9 h 78"/>
                  <a:gd name="T26" fmla="*/ 39 w 107"/>
                  <a:gd name="T27" fmla="*/ 15 h 78"/>
                  <a:gd name="T28" fmla="*/ 39 w 107"/>
                  <a:gd name="T29" fmla="*/ 18 h 78"/>
                  <a:gd name="T30" fmla="*/ 33 w 107"/>
                  <a:gd name="T31" fmla="*/ 21 h 78"/>
                  <a:gd name="T32" fmla="*/ 27 w 107"/>
                  <a:gd name="T33" fmla="*/ 27 h 78"/>
                  <a:gd name="T34" fmla="*/ 27 w 107"/>
                  <a:gd name="T35" fmla="*/ 33 h 78"/>
                  <a:gd name="T36" fmla="*/ 18 w 107"/>
                  <a:gd name="T37" fmla="*/ 33 h 78"/>
                  <a:gd name="T38" fmla="*/ 15 w 107"/>
                  <a:gd name="T39" fmla="*/ 36 h 78"/>
                  <a:gd name="T40" fmla="*/ 6 w 107"/>
                  <a:gd name="T41" fmla="*/ 36 h 78"/>
                  <a:gd name="T42" fmla="*/ 6 w 107"/>
                  <a:gd name="T43" fmla="*/ 36 h 78"/>
                  <a:gd name="T44" fmla="*/ 6 w 107"/>
                  <a:gd name="T45" fmla="*/ 45 h 78"/>
                  <a:gd name="T46" fmla="*/ 9 w 107"/>
                  <a:gd name="T47" fmla="*/ 57 h 78"/>
                  <a:gd name="T48" fmla="*/ 0 w 107"/>
                  <a:gd name="T49" fmla="*/ 60 h 78"/>
                  <a:gd name="T50" fmla="*/ 6 w 107"/>
                  <a:gd name="T51" fmla="*/ 66 h 78"/>
                  <a:gd name="T52" fmla="*/ 6 w 107"/>
                  <a:gd name="T53" fmla="*/ 72 h 78"/>
                  <a:gd name="T54" fmla="*/ 12 w 107"/>
                  <a:gd name="T55" fmla="*/ 72 h 78"/>
                  <a:gd name="T56" fmla="*/ 18 w 107"/>
                  <a:gd name="T57" fmla="*/ 69 h 78"/>
                  <a:gd name="T58" fmla="*/ 36 w 107"/>
                  <a:gd name="T59" fmla="*/ 69 h 78"/>
                  <a:gd name="T60" fmla="*/ 48 w 107"/>
                  <a:gd name="T61" fmla="*/ 72 h 78"/>
                  <a:gd name="T62" fmla="*/ 53 w 107"/>
                  <a:gd name="T63" fmla="*/ 72 h 78"/>
                  <a:gd name="T64" fmla="*/ 62 w 107"/>
                  <a:gd name="T65" fmla="*/ 72 h 78"/>
                  <a:gd name="T66" fmla="*/ 68 w 107"/>
                  <a:gd name="T67" fmla="*/ 75 h 78"/>
                  <a:gd name="T68" fmla="*/ 80 w 107"/>
                  <a:gd name="T69" fmla="*/ 75 h 78"/>
                  <a:gd name="T70" fmla="*/ 80 w 107"/>
                  <a:gd name="T71" fmla="*/ 72 h 78"/>
                  <a:gd name="T72" fmla="*/ 89 w 107"/>
                  <a:gd name="T73" fmla="*/ 66 h 78"/>
                  <a:gd name="T74" fmla="*/ 95 w 107"/>
                  <a:gd name="T75" fmla="*/ 63 h 78"/>
                  <a:gd name="T76" fmla="*/ 95 w 107"/>
                  <a:gd name="T77" fmla="*/ 60 h 78"/>
                  <a:gd name="T78" fmla="*/ 92 w 107"/>
                  <a:gd name="T79" fmla="*/ 48 h 78"/>
                  <a:gd name="T80" fmla="*/ 101 w 107"/>
                  <a:gd name="T81" fmla="*/ 51 h 78"/>
                  <a:gd name="T82" fmla="*/ 107 w 107"/>
                  <a:gd name="T83" fmla="*/ 45 h 78"/>
                  <a:gd name="T84" fmla="*/ 98 w 107"/>
                  <a:gd name="T8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78">
                    <a:moveTo>
                      <a:pt x="98" y="39"/>
                    </a:moveTo>
                    <a:cubicBezTo>
                      <a:pt x="98" y="39"/>
                      <a:pt x="95" y="33"/>
                      <a:pt x="92" y="33"/>
                    </a:cubicBezTo>
                    <a:cubicBezTo>
                      <a:pt x="89" y="30"/>
                      <a:pt x="89" y="27"/>
                      <a:pt x="89" y="27"/>
                    </a:cubicBezTo>
                    <a:cubicBezTo>
                      <a:pt x="86" y="24"/>
                      <a:pt x="86" y="21"/>
                      <a:pt x="86" y="18"/>
                    </a:cubicBezTo>
                    <a:cubicBezTo>
                      <a:pt x="86" y="15"/>
                      <a:pt x="86" y="12"/>
                      <a:pt x="86" y="9"/>
                    </a:cubicBezTo>
                    <a:cubicBezTo>
                      <a:pt x="83" y="9"/>
                      <a:pt x="77" y="6"/>
                      <a:pt x="74" y="6"/>
                    </a:cubicBezTo>
                    <a:cubicBezTo>
                      <a:pt x="71" y="9"/>
                      <a:pt x="71" y="9"/>
                      <a:pt x="68" y="6"/>
                    </a:cubicBezTo>
                    <a:cubicBezTo>
                      <a:pt x="68" y="6"/>
                      <a:pt x="65" y="3"/>
                      <a:pt x="62" y="3"/>
                    </a:cubicBezTo>
                    <a:cubicBezTo>
                      <a:pt x="59" y="6"/>
                      <a:pt x="59" y="3"/>
                      <a:pt x="56" y="3"/>
                    </a:cubicBezTo>
                    <a:cubicBezTo>
                      <a:pt x="56" y="3"/>
                      <a:pt x="56" y="3"/>
                      <a:pt x="56" y="0"/>
                    </a:cubicBezTo>
                    <a:cubicBezTo>
                      <a:pt x="56" y="3"/>
                      <a:pt x="53" y="3"/>
                      <a:pt x="53" y="3"/>
                    </a:cubicBezTo>
                    <a:cubicBezTo>
                      <a:pt x="51" y="3"/>
                      <a:pt x="51" y="6"/>
                      <a:pt x="51" y="6"/>
                    </a:cubicBezTo>
                    <a:cubicBezTo>
                      <a:pt x="48" y="6"/>
                      <a:pt x="45" y="6"/>
                      <a:pt x="42" y="9"/>
                    </a:cubicBezTo>
                    <a:cubicBezTo>
                      <a:pt x="39" y="9"/>
                      <a:pt x="39" y="12"/>
                      <a:pt x="39" y="15"/>
                    </a:cubicBezTo>
                    <a:cubicBezTo>
                      <a:pt x="39" y="18"/>
                      <a:pt x="39" y="18"/>
                      <a:pt x="39" y="18"/>
                    </a:cubicBezTo>
                    <a:cubicBezTo>
                      <a:pt x="36" y="18"/>
                      <a:pt x="36" y="21"/>
                      <a:pt x="33" y="21"/>
                    </a:cubicBezTo>
                    <a:cubicBezTo>
                      <a:pt x="33" y="21"/>
                      <a:pt x="30" y="24"/>
                      <a:pt x="27" y="27"/>
                    </a:cubicBezTo>
                    <a:cubicBezTo>
                      <a:pt x="27" y="33"/>
                      <a:pt x="27" y="33"/>
                      <a:pt x="27" y="33"/>
                    </a:cubicBezTo>
                    <a:cubicBezTo>
                      <a:pt x="24" y="33"/>
                      <a:pt x="21" y="33"/>
                      <a:pt x="18" y="33"/>
                    </a:cubicBezTo>
                    <a:cubicBezTo>
                      <a:pt x="18" y="36"/>
                      <a:pt x="15" y="39"/>
                      <a:pt x="15" y="36"/>
                    </a:cubicBezTo>
                    <a:cubicBezTo>
                      <a:pt x="12" y="36"/>
                      <a:pt x="9" y="36"/>
                      <a:pt x="6" y="36"/>
                    </a:cubicBezTo>
                    <a:cubicBezTo>
                      <a:pt x="6" y="36"/>
                      <a:pt x="6" y="36"/>
                      <a:pt x="6" y="36"/>
                    </a:cubicBezTo>
                    <a:cubicBezTo>
                      <a:pt x="3" y="42"/>
                      <a:pt x="6" y="45"/>
                      <a:pt x="6" y="45"/>
                    </a:cubicBezTo>
                    <a:cubicBezTo>
                      <a:pt x="9" y="48"/>
                      <a:pt x="9" y="54"/>
                      <a:pt x="9" y="57"/>
                    </a:cubicBezTo>
                    <a:cubicBezTo>
                      <a:pt x="6" y="57"/>
                      <a:pt x="0" y="60"/>
                      <a:pt x="0" y="60"/>
                    </a:cubicBezTo>
                    <a:cubicBezTo>
                      <a:pt x="0" y="63"/>
                      <a:pt x="6" y="66"/>
                      <a:pt x="6" y="66"/>
                    </a:cubicBezTo>
                    <a:cubicBezTo>
                      <a:pt x="3" y="69"/>
                      <a:pt x="3" y="72"/>
                      <a:pt x="6" y="72"/>
                    </a:cubicBezTo>
                    <a:cubicBezTo>
                      <a:pt x="6" y="72"/>
                      <a:pt x="9" y="75"/>
                      <a:pt x="12" y="72"/>
                    </a:cubicBezTo>
                    <a:cubicBezTo>
                      <a:pt x="12" y="69"/>
                      <a:pt x="15" y="69"/>
                      <a:pt x="18" y="69"/>
                    </a:cubicBezTo>
                    <a:cubicBezTo>
                      <a:pt x="21" y="69"/>
                      <a:pt x="36" y="69"/>
                      <a:pt x="36" y="69"/>
                    </a:cubicBezTo>
                    <a:cubicBezTo>
                      <a:pt x="39" y="72"/>
                      <a:pt x="45" y="69"/>
                      <a:pt x="48" y="72"/>
                    </a:cubicBezTo>
                    <a:cubicBezTo>
                      <a:pt x="51" y="72"/>
                      <a:pt x="53" y="75"/>
                      <a:pt x="53" y="72"/>
                    </a:cubicBezTo>
                    <a:cubicBezTo>
                      <a:pt x="56" y="72"/>
                      <a:pt x="59" y="75"/>
                      <a:pt x="62" y="72"/>
                    </a:cubicBezTo>
                    <a:cubicBezTo>
                      <a:pt x="65" y="72"/>
                      <a:pt x="68" y="78"/>
                      <a:pt x="68" y="75"/>
                    </a:cubicBezTo>
                    <a:cubicBezTo>
                      <a:pt x="71" y="75"/>
                      <a:pt x="77" y="75"/>
                      <a:pt x="80" y="75"/>
                    </a:cubicBezTo>
                    <a:cubicBezTo>
                      <a:pt x="80" y="78"/>
                      <a:pt x="80" y="75"/>
                      <a:pt x="80" y="72"/>
                    </a:cubicBezTo>
                    <a:cubicBezTo>
                      <a:pt x="89" y="66"/>
                      <a:pt x="89" y="66"/>
                      <a:pt x="89" y="66"/>
                    </a:cubicBezTo>
                    <a:cubicBezTo>
                      <a:pt x="89" y="66"/>
                      <a:pt x="92" y="66"/>
                      <a:pt x="95" y="63"/>
                    </a:cubicBezTo>
                    <a:cubicBezTo>
                      <a:pt x="95" y="60"/>
                      <a:pt x="95" y="60"/>
                      <a:pt x="95" y="60"/>
                    </a:cubicBezTo>
                    <a:cubicBezTo>
                      <a:pt x="92" y="54"/>
                      <a:pt x="89" y="51"/>
                      <a:pt x="92" y="48"/>
                    </a:cubicBezTo>
                    <a:cubicBezTo>
                      <a:pt x="92" y="48"/>
                      <a:pt x="98" y="51"/>
                      <a:pt x="101" y="51"/>
                    </a:cubicBezTo>
                    <a:cubicBezTo>
                      <a:pt x="101" y="48"/>
                      <a:pt x="107" y="48"/>
                      <a:pt x="107" y="45"/>
                    </a:cubicBezTo>
                    <a:cubicBezTo>
                      <a:pt x="104" y="42"/>
                      <a:pt x="101" y="39"/>
                      <a:pt x="98"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29" name="Freeform 803"/>
              <p:cNvSpPr>
                <a:spLocks/>
              </p:cNvSpPr>
              <p:nvPr userDrawn="1"/>
            </p:nvSpPr>
            <p:spPr bwMode="auto">
              <a:xfrm>
                <a:off x="3882" y="-2265"/>
                <a:ext cx="167" cy="122"/>
              </a:xfrm>
              <a:custGeom>
                <a:avLst/>
                <a:gdLst>
                  <a:gd name="T0" fmla="*/ 98 w 107"/>
                  <a:gd name="T1" fmla="*/ 39 h 78"/>
                  <a:gd name="T2" fmla="*/ 92 w 107"/>
                  <a:gd name="T3" fmla="*/ 33 h 78"/>
                  <a:gd name="T4" fmla="*/ 89 w 107"/>
                  <a:gd name="T5" fmla="*/ 27 h 78"/>
                  <a:gd name="T6" fmla="*/ 86 w 107"/>
                  <a:gd name="T7" fmla="*/ 18 h 78"/>
                  <a:gd name="T8" fmla="*/ 86 w 107"/>
                  <a:gd name="T9" fmla="*/ 9 h 78"/>
                  <a:gd name="T10" fmla="*/ 74 w 107"/>
                  <a:gd name="T11" fmla="*/ 6 h 78"/>
                  <a:gd name="T12" fmla="*/ 68 w 107"/>
                  <a:gd name="T13" fmla="*/ 6 h 78"/>
                  <a:gd name="T14" fmla="*/ 62 w 107"/>
                  <a:gd name="T15" fmla="*/ 3 h 78"/>
                  <a:gd name="T16" fmla="*/ 56 w 107"/>
                  <a:gd name="T17" fmla="*/ 3 h 78"/>
                  <a:gd name="T18" fmla="*/ 56 w 107"/>
                  <a:gd name="T19" fmla="*/ 0 h 78"/>
                  <a:gd name="T20" fmla="*/ 53 w 107"/>
                  <a:gd name="T21" fmla="*/ 3 h 78"/>
                  <a:gd name="T22" fmla="*/ 51 w 107"/>
                  <a:gd name="T23" fmla="*/ 6 h 78"/>
                  <a:gd name="T24" fmla="*/ 42 w 107"/>
                  <a:gd name="T25" fmla="*/ 9 h 78"/>
                  <a:gd name="T26" fmla="*/ 39 w 107"/>
                  <a:gd name="T27" fmla="*/ 15 h 78"/>
                  <a:gd name="T28" fmla="*/ 39 w 107"/>
                  <a:gd name="T29" fmla="*/ 18 h 78"/>
                  <a:gd name="T30" fmla="*/ 33 w 107"/>
                  <a:gd name="T31" fmla="*/ 21 h 78"/>
                  <a:gd name="T32" fmla="*/ 27 w 107"/>
                  <a:gd name="T33" fmla="*/ 27 h 78"/>
                  <a:gd name="T34" fmla="*/ 27 w 107"/>
                  <a:gd name="T35" fmla="*/ 33 h 78"/>
                  <a:gd name="T36" fmla="*/ 18 w 107"/>
                  <a:gd name="T37" fmla="*/ 33 h 78"/>
                  <a:gd name="T38" fmla="*/ 15 w 107"/>
                  <a:gd name="T39" fmla="*/ 36 h 78"/>
                  <a:gd name="T40" fmla="*/ 6 w 107"/>
                  <a:gd name="T41" fmla="*/ 36 h 78"/>
                  <a:gd name="T42" fmla="*/ 6 w 107"/>
                  <a:gd name="T43" fmla="*/ 36 h 78"/>
                  <a:gd name="T44" fmla="*/ 6 w 107"/>
                  <a:gd name="T45" fmla="*/ 45 h 78"/>
                  <a:gd name="T46" fmla="*/ 9 w 107"/>
                  <a:gd name="T47" fmla="*/ 57 h 78"/>
                  <a:gd name="T48" fmla="*/ 0 w 107"/>
                  <a:gd name="T49" fmla="*/ 60 h 78"/>
                  <a:gd name="T50" fmla="*/ 6 w 107"/>
                  <a:gd name="T51" fmla="*/ 66 h 78"/>
                  <a:gd name="T52" fmla="*/ 6 w 107"/>
                  <a:gd name="T53" fmla="*/ 72 h 78"/>
                  <a:gd name="T54" fmla="*/ 12 w 107"/>
                  <a:gd name="T55" fmla="*/ 72 h 78"/>
                  <a:gd name="T56" fmla="*/ 18 w 107"/>
                  <a:gd name="T57" fmla="*/ 69 h 78"/>
                  <a:gd name="T58" fmla="*/ 36 w 107"/>
                  <a:gd name="T59" fmla="*/ 69 h 78"/>
                  <a:gd name="T60" fmla="*/ 48 w 107"/>
                  <a:gd name="T61" fmla="*/ 72 h 78"/>
                  <a:gd name="T62" fmla="*/ 53 w 107"/>
                  <a:gd name="T63" fmla="*/ 72 h 78"/>
                  <a:gd name="T64" fmla="*/ 62 w 107"/>
                  <a:gd name="T65" fmla="*/ 72 h 78"/>
                  <a:gd name="T66" fmla="*/ 68 w 107"/>
                  <a:gd name="T67" fmla="*/ 75 h 78"/>
                  <a:gd name="T68" fmla="*/ 80 w 107"/>
                  <a:gd name="T69" fmla="*/ 75 h 78"/>
                  <a:gd name="T70" fmla="*/ 80 w 107"/>
                  <a:gd name="T71" fmla="*/ 72 h 78"/>
                  <a:gd name="T72" fmla="*/ 89 w 107"/>
                  <a:gd name="T73" fmla="*/ 66 h 78"/>
                  <a:gd name="T74" fmla="*/ 95 w 107"/>
                  <a:gd name="T75" fmla="*/ 63 h 78"/>
                  <a:gd name="T76" fmla="*/ 95 w 107"/>
                  <a:gd name="T77" fmla="*/ 60 h 78"/>
                  <a:gd name="T78" fmla="*/ 92 w 107"/>
                  <a:gd name="T79" fmla="*/ 48 h 78"/>
                  <a:gd name="T80" fmla="*/ 101 w 107"/>
                  <a:gd name="T81" fmla="*/ 51 h 78"/>
                  <a:gd name="T82" fmla="*/ 107 w 107"/>
                  <a:gd name="T83" fmla="*/ 45 h 78"/>
                  <a:gd name="T84" fmla="*/ 98 w 107"/>
                  <a:gd name="T8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78">
                    <a:moveTo>
                      <a:pt x="98" y="39"/>
                    </a:moveTo>
                    <a:cubicBezTo>
                      <a:pt x="98" y="39"/>
                      <a:pt x="95" y="33"/>
                      <a:pt x="92" y="33"/>
                    </a:cubicBezTo>
                    <a:cubicBezTo>
                      <a:pt x="89" y="30"/>
                      <a:pt x="89" y="27"/>
                      <a:pt x="89" y="27"/>
                    </a:cubicBezTo>
                    <a:cubicBezTo>
                      <a:pt x="86" y="24"/>
                      <a:pt x="86" y="21"/>
                      <a:pt x="86" y="18"/>
                    </a:cubicBezTo>
                    <a:cubicBezTo>
                      <a:pt x="86" y="15"/>
                      <a:pt x="86" y="12"/>
                      <a:pt x="86" y="9"/>
                    </a:cubicBezTo>
                    <a:cubicBezTo>
                      <a:pt x="83" y="9"/>
                      <a:pt x="77" y="6"/>
                      <a:pt x="74" y="6"/>
                    </a:cubicBezTo>
                    <a:cubicBezTo>
                      <a:pt x="71" y="9"/>
                      <a:pt x="71" y="9"/>
                      <a:pt x="68" y="6"/>
                    </a:cubicBezTo>
                    <a:cubicBezTo>
                      <a:pt x="68" y="6"/>
                      <a:pt x="65" y="3"/>
                      <a:pt x="62" y="3"/>
                    </a:cubicBezTo>
                    <a:cubicBezTo>
                      <a:pt x="59" y="6"/>
                      <a:pt x="59" y="3"/>
                      <a:pt x="56" y="3"/>
                    </a:cubicBezTo>
                    <a:cubicBezTo>
                      <a:pt x="56" y="3"/>
                      <a:pt x="56" y="3"/>
                      <a:pt x="56" y="0"/>
                    </a:cubicBezTo>
                    <a:cubicBezTo>
                      <a:pt x="56" y="3"/>
                      <a:pt x="53" y="3"/>
                      <a:pt x="53" y="3"/>
                    </a:cubicBezTo>
                    <a:cubicBezTo>
                      <a:pt x="51" y="3"/>
                      <a:pt x="51" y="6"/>
                      <a:pt x="51" y="6"/>
                    </a:cubicBezTo>
                    <a:cubicBezTo>
                      <a:pt x="48" y="6"/>
                      <a:pt x="45" y="6"/>
                      <a:pt x="42" y="9"/>
                    </a:cubicBezTo>
                    <a:cubicBezTo>
                      <a:pt x="39" y="9"/>
                      <a:pt x="39" y="12"/>
                      <a:pt x="39" y="15"/>
                    </a:cubicBezTo>
                    <a:cubicBezTo>
                      <a:pt x="39" y="18"/>
                      <a:pt x="39" y="18"/>
                      <a:pt x="39" y="18"/>
                    </a:cubicBezTo>
                    <a:cubicBezTo>
                      <a:pt x="36" y="18"/>
                      <a:pt x="36" y="21"/>
                      <a:pt x="33" y="21"/>
                    </a:cubicBezTo>
                    <a:cubicBezTo>
                      <a:pt x="33" y="21"/>
                      <a:pt x="30" y="24"/>
                      <a:pt x="27" y="27"/>
                    </a:cubicBezTo>
                    <a:cubicBezTo>
                      <a:pt x="27" y="33"/>
                      <a:pt x="27" y="33"/>
                      <a:pt x="27" y="33"/>
                    </a:cubicBezTo>
                    <a:cubicBezTo>
                      <a:pt x="24" y="33"/>
                      <a:pt x="21" y="33"/>
                      <a:pt x="18" y="33"/>
                    </a:cubicBezTo>
                    <a:cubicBezTo>
                      <a:pt x="18" y="36"/>
                      <a:pt x="15" y="39"/>
                      <a:pt x="15" y="36"/>
                    </a:cubicBezTo>
                    <a:cubicBezTo>
                      <a:pt x="12" y="36"/>
                      <a:pt x="9" y="36"/>
                      <a:pt x="6" y="36"/>
                    </a:cubicBezTo>
                    <a:cubicBezTo>
                      <a:pt x="6" y="36"/>
                      <a:pt x="6" y="36"/>
                      <a:pt x="6" y="36"/>
                    </a:cubicBezTo>
                    <a:cubicBezTo>
                      <a:pt x="3" y="42"/>
                      <a:pt x="6" y="45"/>
                      <a:pt x="6" y="45"/>
                    </a:cubicBezTo>
                    <a:cubicBezTo>
                      <a:pt x="9" y="48"/>
                      <a:pt x="9" y="54"/>
                      <a:pt x="9" y="57"/>
                    </a:cubicBezTo>
                    <a:cubicBezTo>
                      <a:pt x="6" y="57"/>
                      <a:pt x="0" y="60"/>
                      <a:pt x="0" y="60"/>
                    </a:cubicBezTo>
                    <a:cubicBezTo>
                      <a:pt x="0" y="63"/>
                      <a:pt x="6" y="66"/>
                      <a:pt x="6" y="66"/>
                    </a:cubicBezTo>
                    <a:cubicBezTo>
                      <a:pt x="3" y="69"/>
                      <a:pt x="3" y="72"/>
                      <a:pt x="6" y="72"/>
                    </a:cubicBezTo>
                    <a:cubicBezTo>
                      <a:pt x="6" y="72"/>
                      <a:pt x="9" y="75"/>
                      <a:pt x="12" y="72"/>
                    </a:cubicBezTo>
                    <a:cubicBezTo>
                      <a:pt x="12" y="69"/>
                      <a:pt x="15" y="69"/>
                      <a:pt x="18" y="69"/>
                    </a:cubicBezTo>
                    <a:cubicBezTo>
                      <a:pt x="21" y="69"/>
                      <a:pt x="36" y="69"/>
                      <a:pt x="36" y="69"/>
                    </a:cubicBezTo>
                    <a:cubicBezTo>
                      <a:pt x="39" y="72"/>
                      <a:pt x="45" y="69"/>
                      <a:pt x="48" y="72"/>
                    </a:cubicBezTo>
                    <a:cubicBezTo>
                      <a:pt x="51" y="72"/>
                      <a:pt x="53" y="75"/>
                      <a:pt x="53" y="72"/>
                    </a:cubicBezTo>
                    <a:cubicBezTo>
                      <a:pt x="56" y="72"/>
                      <a:pt x="59" y="75"/>
                      <a:pt x="62" y="72"/>
                    </a:cubicBezTo>
                    <a:cubicBezTo>
                      <a:pt x="65" y="72"/>
                      <a:pt x="68" y="78"/>
                      <a:pt x="68" y="75"/>
                    </a:cubicBezTo>
                    <a:cubicBezTo>
                      <a:pt x="71" y="75"/>
                      <a:pt x="77" y="75"/>
                      <a:pt x="80" y="75"/>
                    </a:cubicBezTo>
                    <a:cubicBezTo>
                      <a:pt x="80" y="78"/>
                      <a:pt x="80" y="75"/>
                      <a:pt x="80" y="72"/>
                    </a:cubicBezTo>
                    <a:cubicBezTo>
                      <a:pt x="89" y="66"/>
                      <a:pt x="89" y="66"/>
                      <a:pt x="89" y="66"/>
                    </a:cubicBezTo>
                    <a:cubicBezTo>
                      <a:pt x="89" y="66"/>
                      <a:pt x="92" y="66"/>
                      <a:pt x="95" y="63"/>
                    </a:cubicBezTo>
                    <a:cubicBezTo>
                      <a:pt x="95" y="60"/>
                      <a:pt x="95" y="60"/>
                      <a:pt x="95" y="60"/>
                    </a:cubicBezTo>
                    <a:cubicBezTo>
                      <a:pt x="92" y="54"/>
                      <a:pt x="89" y="51"/>
                      <a:pt x="92" y="48"/>
                    </a:cubicBezTo>
                    <a:cubicBezTo>
                      <a:pt x="92" y="48"/>
                      <a:pt x="98" y="51"/>
                      <a:pt x="101" y="51"/>
                    </a:cubicBezTo>
                    <a:cubicBezTo>
                      <a:pt x="101" y="48"/>
                      <a:pt x="107" y="48"/>
                      <a:pt x="107" y="45"/>
                    </a:cubicBezTo>
                    <a:cubicBezTo>
                      <a:pt x="104" y="42"/>
                      <a:pt x="101" y="39"/>
                      <a:pt x="98"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0" name="Freeform 804"/>
              <p:cNvSpPr>
                <a:spLocks/>
              </p:cNvSpPr>
              <p:nvPr userDrawn="1"/>
            </p:nvSpPr>
            <p:spPr bwMode="auto">
              <a:xfrm>
                <a:off x="3840" y="-2312"/>
                <a:ext cx="129" cy="61"/>
              </a:xfrm>
              <a:custGeom>
                <a:avLst/>
                <a:gdLst>
                  <a:gd name="T0" fmla="*/ 30 w 83"/>
                  <a:gd name="T1" fmla="*/ 27 h 39"/>
                  <a:gd name="T2" fmla="*/ 45 w 83"/>
                  <a:gd name="T3" fmla="*/ 27 h 39"/>
                  <a:gd name="T4" fmla="*/ 50 w 83"/>
                  <a:gd name="T5" fmla="*/ 30 h 39"/>
                  <a:gd name="T6" fmla="*/ 59 w 83"/>
                  <a:gd name="T7" fmla="*/ 36 h 39"/>
                  <a:gd name="T8" fmla="*/ 65 w 83"/>
                  <a:gd name="T9" fmla="*/ 39 h 39"/>
                  <a:gd name="T10" fmla="*/ 68 w 83"/>
                  <a:gd name="T11" fmla="*/ 39 h 39"/>
                  <a:gd name="T12" fmla="*/ 77 w 83"/>
                  <a:gd name="T13" fmla="*/ 36 h 39"/>
                  <a:gd name="T14" fmla="*/ 80 w 83"/>
                  <a:gd name="T15" fmla="*/ 33 h 39"/>
                  <a:gd name="T16" fmla="*/ 83 w 83"/>
                  <a:gd name="T17" fmla="*/ 30 h 39"/>
                  <a:gd name="T18" fmla="*/ 80 w 83"/>
                  <a:gd name="T19" fmla="*/ 24 h 39"/>
                  <a:gd name="T20" fmla="*/ 77 w 83"/>
                  <a:gd name="T21" fmla="*/ 18 h 39"/>
                  <a:gd name="T22" fmla="*/ 77 w 83"/>
                  <a:gd name="T23" fmla="*/ 12 h 39"/>
                  <a:gd name="T24" fmla="*/ 74 w 83"/>
                  <a:gd name="T25" fmla="*/ 9 h 39"/>
                  <a:gd name="T26" fmla="*/ 65 w 83"/>
                  <a:gd name="T27" fmla="*/ 9 h 39"/>
                  <a:gd name="T28" fmla="*/ 53 w 83"/>
                  <a:gd name="T29" fmla="*/ 3 h 39"/>
                  <a:gd name="T30" fmla="*/ 42 w 83"/>
                  <a:gd name="T31" fmla="*/ 3 h 39"/>
                  <a:gd name="T32" fmla="*/ 39 w 83"/>
                  <a:gd name="T33" fmla="*/ 12 h 39"/>
                  <a:gd name="T34" fmla="*/ 30 w 83"/>
                  <a:gd name="T35" fmla="*/ 18 h 39"/>
                  <a:gd name="T36" fmla="*/ 21 w 83"/>
                  <a:gd name="T37" fmla="*/ 6 h 39"/>
                  <a:gd name="T38" fmla="*/ 9 w 83"/>
                  <a:gd name="T39" fmla="*/ 12 h 39"/>
                  <a:gd name="T40" fmla="*/ 6 w 83"/>
                  <a:gd name="T41" fmla="*/ 21 h 39"/>
                  <a:gd name="T42" fmla="*/ 3 w 83"/>
                  <a:gd name="T43" fmla="*/ 30 h 39"/>
                  <a:gd name="T44" fmla="*/ 3 w 83"/>
                  <a:gd name="T45" fmla="*/ 30 h 39"/>
                  <a:gd name="T46" fmla="*/ 12 w 83"/>
                  <a:gd name="T47" fmla="*/ 27 h 39"/>
                  <a:gd name="T48" fmla="*/ 30 w 83"/>
                  <a:gd name="T49"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39">
                    <a:moveTo>
                      <a:pt x="30" y="27"/>
                    </a:moveTo>
                    <a:cubicBezTo>
                      <a:pt x="33" y="27"/>
                      <a:pt x="39" y="30"/>
                      <a:pt x="45" y="27"/>
                    </a:cubicBezTo>
                    <a:cubicBezTo>
                      <a:pt x="47" y="27"/>
                      <a:pt x="47" y="33"/>
                      <a:pt x="50" y="30"/>
                    </a:cubicBezTo>
                    <a:cubicBezTo>
                      <a:pt x="53" y="30"/>
                      <a:pt x="56" y="33"/>
                      <a:pt x="59" y="36"/>
                    </a:cubicBezTo>
                    <a:cubicBezTo>
                      <a:pt x="62" y="39"/>
                      <a:pt x="65" y="39"/>
                      <a:pt x="65" y="39"/>
                    </a:cubicBezTo>
                    <a:cubicBezTo>
                      <a:pt x="68" y="39"/>
                      <a:pt x="68" y="39"/>
                      <a:pt x="68" y="39"/>
                    </a:cubicBezTo>
                    <a:cubicBezTo>
                      <a:pt x="71" y="36"/>
                      <a:pt x="74" y="36"/>
                      <a:pt x="77" y="36"/>
                    </a:cubicBezTo>
                    <a:cubicBezTo>
                      <a:pt x="77" y="36"/>
                      <a:pt x="77" y="33"/>
                      <a:pt x="80" y="33"/>
                    </a:cubicBezTo>
                    <a:cubicBezTo>
                      <a:pt x="80" y="33"/>
                      <a:pt x="83" y="33"/>
                      <a:pt x="83" y="30"/>
                    </a:cubicBezTo>
                    <a:cubicBezTo>
                      <a:pt x="83" y="30"/>
                      <a:pt x="83" y="27"/>
                      <a:pt x="80" y="24"/>
                    </a:cubicBezTo>
                    <a:cubicBezTo>
                      <a:pt x="80" y="24"/>
                      <a:pt x="77" y="21"/>
                      <a:pt x="77" y="18"/>
                    </a:cubicBezTo>
                    <a:cubicBezTo>
                      <a:pt x="77" y="15"/>
                      <a:pt x="77" y="15"/>
                      <a:pt x="77" y="12"/>
                    </a:cubicBezTo>
                    <a:cubicBezTo>
                      <a:pt x="74" y="9"/>
                      <a:pt x="74" y="9"/>
                      <a:pt x="74" y="9"/>
                    </a:cubicBezTo>
                    <a:cubicBezTo>
                      <a:pt x="71" y="9"/>
                      <a:pt x="65" y="9"/>
                      <a:pt x="65" y="9"/>
                    </a:cubicBezTo>
                    <a:cubicBezTo>
                      <a:pt x="62" y="9"/>
                      <a:pt x="53" y="3"/>
                      <a:pt x="53" y="3"/>
                    </a:cubicBezTo>
                    <a:cubicBezTo>
                      <a:pt x="53" y="0"/>
                      <a:pt x="47" y="0"/>
                      <a:pt x="42" y="3"/>
                    </a:cubicBezTo>
                    <a:cubicBezTo>
                      <a:pt x="39" y="6"/>
                      <a:pt x="39" y="9"/>
                      <a:pt x="39" y="12"/>
                    </a:cubicBezTo>
                    <a:cubicBezTo>
                      <a:pt x="39" y="18"/>
                      <a:pt x="33" y="18"/>
                      <a:pt x="30" y="18"/>
                    </a:cubicBezTo>
                    <a:cubicBezTo>
                      <a:pt x="27" y="18"/>
                      <a:pt x="24" y="9"/>
                      <a:pt x="21" y="6"/>
                    </a:cubicBezTo>
                    <a:cubicBezTo>
                      <a:pt x="18" y="3"/>
                      <a:pt x="15" y="9"/>
                      <a:pt x="9" y="12"/>
                    </a:cubicBezTo>
                    <a:cubicBezTo>
                      <a:pt x="6" y="12"/>
                      <a:pt x="9" y="18"/>
                      <a:pt x="6" y="21"/>
                    </a:cubicBezTo>
                    <a:cubicBezTo>
                      <a:pt x="3" y="21"/>
                      <a:pt x="0" y="24"/>
                      <a:pt x="3" y="30"/>
                    </a:cubicBezTo>
                    <a:cubicBezTo>
                      <a:pt x="3" y="30"/>
                      <a:pt x="3" y="30"/>
                      <a:pt x="3" y="30"/>
                    </a:cubicBezTo>
                    <a:cubicBezTo>
                      <a:pt x="9" y="30"/>
                      <a:pt x="12" y="30"/>
                      <a:pt x="12" y="27"/>
                    </a:cubicBezTo>
                    <a:cubicBezTo>
                      <a:pt x="18" y="27"/>
                      <a:pt x="27" y="27"/>
                      <a:pt x="30"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1" name="Freeform 805"/>
              <p:cNvSpPr>
                <a:spLocks/>
              </p:cNvSpPr>
              <p:nvPr userDrawn="1"/>
            </p:nvSpPr>
            <p:spPr bwMode="auto">
              <a:xfrm>
                <a:off x="3840" y="-2312"/>
                <a:ext cx="129" cy="61"/>
              </a:xfrm>
              <a:custGeom>
                <a:avLst/>
                <a:gdLst>
                  <a:gd name="T0" fmla="*/ 30 w 83"/>
                  <a:gd name="T1" fmla="*/ 27 h 39"/>
                  <a:gd name="T2" fmla="*/ 45 w 83"/>
                  <a:gd name="T3" fmla="*/ 27 h 39"/>
                  <a:gd name="T4" fmla="*/ 50 w 83"/>
                  <a:gd name="T5" fmla="*/ 30 h 39"/>
                  <a:gd name="T6" fmla="*/ 59 w 83"/>
                  <a:gd name="T7" fmla="*/ 36 h 39"/>
                  <a:gd name="T8" fmla="*/ 65 w 83"/>
                  <a:gd name="T9" fmla="*/ 39 h 39"/>
                  <a:gd name="T10" fmla="*/ 68 w 83"/>
                  <a:gd name="T11" fmla="*/ 39 h 39"/>
                  <a:gd name="T12" fmla="*/ 77 w 83"/>
                  <a:gd name="T13" fmla="*/ 36 h 39"/>
                  <a:gd name="T14" fmla="*/ 80 w 83"/>
                  <a:gd name="T15" fmla="*/ 33 h 39"/>
                  <a:gd name="T16" fmla="*/ 83 w 83"/>
                  <a:gd name="T17" fmla="*/ 30 h 39"/>
                  <a:gd name="T18" fmla="*/ 80 w 83"/>
                  <a:gd name="T19" fmla="*/ 24 h 39"/>
                  <a:gd name="T20" fmla="*/ 77 w 83"/>
                  <a:gd name="T21" fmla="*/ 18 h 39"/>
                  <a:gd name="T22" fmla="*/ 77 w 83"/>
                  <a:gd name="T23" fmla="*/ 12 h 39"/>
                  <a:gd name="T24" fmla="*/ 74 w 83"/>
                  <a:gd name="T25" fmla="*/ 9 h 39"/>
                  <a:gd name="T26" fmla="*/ 65 w 83"/>
                  <a:gd name="T27" fmla="*/ 9 h 39"/>
                  <a:gd name="T28" fmla="*/ 53 w 83"/>
                  <a:gd name="T29" fmla="*/ 3 h 39"/>
                  <a:gd name="T30" fmla="*/ 42 w 83"/>
                  <a:gd name="T31" fmla="*/ 3 h 39"/>
                  <a:gd name="T32" fmla="*/ 39 w 83"/>
                  <a:gd name="T33" fmla="*/ 12 h 39"/>
                  <a:gd name="T34" fmla="*/ 30 w 83"/>
                  <a:gd name="T35" fmla="*/ 18 h 39"/>
                  <a:gd name="T36" fmla="*/ 21 w 83"/>
                  <a:gd name="T37" fmla="*/ 6 h 39"/>
                  <a:gd name="T38" fmla="*/ 9 w 83"/>
                  <a:gd name="T39" fmla="*/ 12 h 39"/>
                  <a:gd name="T40" fmla="*/ 6 w 83"/>
                  <a:gd name="T41" fmla="*/ 21 h 39"/>
                  <a:gd name="T42" fmla="*/ 3 w 83"/>
                  <a:gd name="T43" fmla="*/ 30 h 39"/>
                  <a:gd name="T44" fmla="*/ 3 w 83"/>
                  <a:gd name="T45" fmla="*/ 30 h 39"/>
                  <a:gd name="T46" fmla="*/ 12 w 83"/>
                  <a:gd name="T47" fmla="*/ 27 h 39"/>
                  <a:gd name="T48" fmla="*/ 30 w 83"/>
                  <a:gd name="T49"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39">
                    <a:moveTo>
                      <a:pt x="30" y="27"/>
                    </a:moveTo>
                    <a:cubicBezTo>
                      <a:pt x="33" y="27"/>
                      <a:pt x="39" y="30"/>
                      <a:pt x="45" y="27"/>
                    </a:cubicBezTo>
                    <a:cubicBezTo>
                      <a:pt x="47" y="27"/>
                      <a:pt x="47" y="33"/>
                      <a:pt x="50" y="30"/>
                    </a:cubicBezTo>
                    <a:cubicBezTo>
                      <a:pt x="53" y="30"/>
                      <a:pt x="56" y="33"/>
                      <a:pt x="59" y="36"/>
                    </a:cubicBezTo>
                    <a:cubicBezTo>
                      <a:pt x="62" y="39"/>
                      <a:pt x="65" y="39"/>
                      <a:pt x="65" y="39"/>
                    </a:cubicBezTo>
                    <a:cubicBezTo>
                      <a:pt x="68" y="39"/>
                      <a:pt x="68" y="39"/>
                      <a:pt x="68" y="39"/>
                    </a:cubicBezTo>
                    <a:cubicBezTo>
                      <a:pt x="71" y="36"/>
                      <a:pt x="74" y="36"/>
                      <a:pt x="77" y="36"/>
                    </a:cubicBezTo>
                    <a:cubicBezTo>
                      <a:pt x="77" y="36"/>
                      <a:pt x="77" y="33"/>
                      <a:pt x="80" y="33"/>
                    </a:cubicBezTo>
                    <a:cubicBezTo>
                      <a:pt x="80" y="33"/>
                      <a:pt x="83" y="33"/>
                      <a:pt x="83" y="30"/>
                    </a:cubicBezTo>
                    <a:cubicBezTo>
                      <a:pt x="83" y="30"/>
                      <a:pt x="83" y="27"/>
                      <a:pt x="80" y="24"/>
                    </a:cubicBezTo>
                    <a:cubicBezTo>
                      <a:pt x="80" y="24"/>
                      <a:pt x="77" y="21"/>
                      <a:pt x="77" y="18"/>
                    </a:cubicBezTo>
                    <a:cubicBezTo>
                      <a:pt x="77" y="15"/>
                      <a:pt x="77" y="15"/>
                      <a:pt x="77" y="12"/>
                    </a:cubicBezTo>
                    <a:cubicBezTo>
                      <a:pt x="74" y="9"/>
                      <a:pt x="74" y="9"/>
                      <a:pt x="74" y="9"/>
                    </a:cubicBezTo>
                    <a:cubicBezTo>
                      <a:pt x="71" y="9"/>
                      <a:pt x="65" y="9"/>
                      <a:pt x="65" y="9"/>
                    </a:cubicBezTo>
                    <a:cubicBezTo>
                      <a:pt x="62" y="9"/>
                      <a:pt x="53" y="3"/>
                      <a:pt x="53" y="3"/>
                    </a:cubicBezTo>
                    <a:cubicBezTo>
                      <a:pt x="53" y="0"/>
                      <a:pt x="47" y="0"/>
                      <a:pt x="42" y="3"/>
                    </a:cubicBezTo>
                    <a:cubicBezTo>
                      <a:pt x="39" y="6"/>
                      <a:pt x="39" y="9"/>
                      <a:pt x="39" y="12"/>
                    </a:cubicBezTo>
                    <a:cubicBezTo>
                      <a:pt x="39" y="18"/>
                      <a:pt x="33" y="18"/>
                      <a:pt x="30" y="18"/>
                    </a:cubicBezTo>
                    <a:cubicBezTo>
                      <a:pt x="27" y="18"/>
                      <a:pt x="24" y="9"/>
                      <a:pt x="21" y="6"/>
                    </a:cubicBezTo>
                    <a:cubicBezTo>
                      <a:pt x="18" y="3"/>
                      <a:pt x="15" y="9"/>
                      <a:pt x="9" y="12"/>
                    </a:cubicBezTo>
                    <a:cubicBezTo>
                      <a:pt x="6" y="12"/>
                      <a:pt x="9" y="18"/>
                      <a:pt x="6" y="21"/>
                    </a:cubicBezTo>
                    <a:cubicBezTo>
                      <a:pt x="3" y="21"/>
                      <a:pt x="0" y="24"/>
                      <a:pt x="3" y="30"/>
                    </a:cubicBezTo>
                    <a:cubicBezTo>
                      <a:pt x="3" y="30"/>
                      <a:pt x="3" y="30"/>
                      <a:pt x="3" y="30"/>
                    </a:cubicBezTo>
                    <a:cubicBezTo>
                      <a:pt x="9" y="30"/>
                      <a:pt x="12" y="30"/>
                      <a:pt x="12" y="27"/>
                    </a:cubicBezTo>
                    <a:cubicBezTo>
                      <a:pt x="18" y="27"/>
                      <a:pt x="27" y="27"/>
                      <a:pt x="30" y="2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2" name="Freeform 806"/>
              <p:cNvSpPr>
                <a:spLocks/>
              </p:cNvSpPr>
              <p:nvPr userDrawn="1"/>
            </p:nvSpPr>
            <p:spPr bwMode="auto">
              <a:xfrm>
                <a:off x="3840" y="-2270"/>
                <a:ext cx="101" cy="66"/>
              </a:xfrm>
              <a:custGeom>
                <a:avLst/>
                <a:gdLst>
                  <a:gd name="T0" fmla="*/ 12 w 65"/>
                  <a:gd name="T1" fmla="*/ 21 h 42"/>
                  <a:gd name="T2" fmla="*/ 18 w 65"/>
                  <a:gd name="T3" fmla="*/ 21 h 42"/>
                  <a:gd name="T4" fmla="*/ 23 w 65"/>
                  <a:gd name="T5" fmla="*/ 27 h 42"/>
                  <a:gd name="T6" fmla="*/ 23 w 65"/>
                  <a:gd name="T7" fmla="*/ 33 h 42"/>
                  <a:gd name="T8" fmla="*/ 32 w 65"/>
                  <a:gd name="T9" fmla="*/ 39 h 42"/>
                  <a:gd name="T10" fmla="*/ 41 w 65"/>
                  <a:gd name="T11" fmla="*/ 39 h 42"/>
                  <a:gd name="T12" fmla="*/ 44 w 65"/>
                  <a:gd name="T13" fmla="*/ 36 h 42"/>
                  <a:gd name="T14" fmla="*/ 53 w 65"/>
                  <a:gd name="T15" fmla="*/ 36 h 42"/>
                  <a:gd name="T16" fmla="*/ 53 w 65"/>
                  <a:gd name="T17" fmla="*/ 30 h 42"/>
                  <a:gd name="T18" fmla="*/ 59 w 65"/>
                  <a:gd name="T19" fmla="*/ 24 h 42"/>
                  <a:gd name="T20" fmla="*/ 65 w 65"/>
                  <a:gd name="T21" fmla="*/ 21 h 42"/>
                  <a:gd name="T22" fmla="*/ 65 w 65"/>
                  <a:gd name="T23" fmla="*/ 18 h 42"/>
                  <a:gd name="T24" fmla="*/ 65 w 65"/>
                  <a:gd name="T25" fmla="*/ 12 h 42"/>
                  <a:gd name="T26" fmla="*/ 59 w 65"/>
                  <a:gd name="T27" fmla="*/ 9 h 42"/>
                  <a:gd name="T28" fmla="*/ 50 w 65"/>
                  <a:gd name="T29" fmla="*/ 3 h 42"/>
                  <a:gd name="T30" fmla="*/ 44 w 65"/>
                  <a:gd name="T31" fmla="*/ 0 h 42"/>
                  <a:gd name="T32" fmla="*/ 29 w 65"/>
                  <a:gd name="T33" fmla="*/ 0 h 42"/>
                  <a:gd name="T34" fmla="*/ 12 w 65"/>
                  <a:gd name="T35" fmla="*/ 0 h 42"/>
                  <a:gd name="T36" fmla="*/ 3 w 65"/>
                  <a:gd name="T37" fmla="*/ 3 h 42"/>
                  <a:gd name="T38" fmla="*/ 3 w 65"/>
                  <a:gd name="T39" fmla="*/ 15 h 42"/>
                  <a:gd name="T40" fmla="*/ 3 w 65"/>
                  <a:gd name="T41" fmla="*/ 18 h 42"/>
                  <a:gd name="T42" fmla="*/ 12 w 65"/>
                  <a:gd name="T4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42">
                    <a:moveTo>
                      <a:pt x="12" y="21"/>
                    </a:moveTo>
                    <a:cubicBezTo>
                      <a:pt x="12" y="21"/>
                      <a:pt x="15" y="24"/>
                      <a:pt x="18" y="21"/>
                    </a:cubicBezTo>
                    <a:cubicBezTo>
                      <a:pt x="18" y="21"/>
                      <a:pt x="23" y="24"/>
                      <a:pt x="23" y="27"/>
                    </a:cubicBezTo>
                    <a:cubicBezTo>
                      <a:pt x="23" y="27"/>
                      <a:pt x="21" y="33"/>
                      <a:pt x="23" y="33"/>
                    </a:cubicBezTo>
                    <a:cubicBezTo>
                      <a:pt x="23" y="33"/>
                      <a:pt x="32" y="36"/>
                      <a:pt x="32" y="39"/>
                    </a:cubicBezTo>
                    <a:cubicBezTo>
                      <a:pt x="35" y="39"/>
                      <a:pt x="38" y="39"/>
                      <a:pt x="41" y="39"/>
                    </a:cubicBezTo>
                    <a:cubicBezTo>
                      <a:pt x="41" y="42"/>
                      <a:pt x="44" y="39"/>
                      <a:pt x="44" y="36"/>
                    </a:cubicBezTo>
                    <a:cubicBezTo>
                      <a:pt x="47" y="36"/>
                      <a:pt x="50" y="36"/>
                      <a:pt x="53" y="36"/>
                    </a:cubicBezTo>
                    <a:cubicBezTo>
                      <a:pt x="53" y="30"/>
                      <a:pt x="53" y="30"/>
                      <a:pt x="53" y="30"/>
                    </a:cubicBezTo>
                    <a:cubicBezTo>
                      <a:pt x="56" y="27"/>
                      <a:pt x="59" y="24"/>
                      <a:pt x="59" y="24"/>
                    </a:cubicBezTo>
                    <a:cubicBezTo>
                      <a:pt x="62" y="24"/>
                      <a:pt x="62" y="21"/>
                      <a:pt x="65" y="21"/>
                    </a:cubicBezTo>
                    <a:cubicBezTo>
                      <a:pt x="65" y="18"/>
                      <a:pt x="65" y="18"/>
                      <a:pt x="65" y="18"/>
                    </a:cubicBezTo>
                    <a:cubicBezTo>
                      <a:pt x="65" y="15"/>
                      <a:pt x="65" y="15"/>
                      <a:pt x="65" y="12"/>
                    </a:cubicBezTo>
                    <a:cubicBezTo>
                      <a:pt x="65" y="12"/>
                      <a:pt x="62" y="12"/>
                      <a:pt x="59" y="9"/>
                    </a:cubicBezTo>
                    <a:cubicBezTo>
                      <a:pt x="56" y="6"/>
                      <a:pt x="53" y="3"/>
                      <a:pt x="50" y="3"/>
                    </a:cubicBezTo>
                    <a:cubicBezTo>
                      <a:pt x="47" y="6"/>
                      <a:pt x="47" y="0"/>
                      <a:pt x="44" y="0"/>
                    </a:cubicBezTo>
                    <a:cubicBezTo>
                      <a:pt x="38" y="3"/>
                      <a:pt x="32" y="0"/>
                      <a:pt x="29" y="0"/>
                    </a:cubicBezTo>
                    <a:cubicBezTo>
                      <a:pt x="26" y="0"/>
                      <a:pt x="18" y="0"/>
                      <a:pt x="12" y="0"/>
                    </a:cubicBezTo>
                    <a:cubicBezTo>
                      <a:pt x="12" y="3"/>
                      <a:pt x="9" y="3"/>
                      <a:pt x="3" y="3"/>
                    </a:cubicBezTo>
                    <a:cubicBezTo>
                      <a:pt x="6" y="9"/>
                      <a:pt x="6" y="12"/>
                      <a:pt x="3" y="15"/>
                    </a:cubicBezTo>
                    <a:cubicBezTo>
                      <a:pt x="0" y="18"/>
                      <a:pt x="3" y="18"/>
                      <a:pt x="3" y="18"/>
                    </a:cubicBezTo>
                    <a:cubicBezTo>
                      <a:pt x="6" y="18"/>
                      <a:pt x="9" y="18"/>
                      <a:pt x="12"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3" name="Freeform 807"/>
              <p:cNvSpPr>
                <a:spLocks/>
              </p:cNvSpPr>
              <p:nvPr userDrawn="1"/>
            </p:nvSpPr>
            <p:spPr bwMode="auto">
              <a:xfrm>
                <a:off x="3840" y="-2270"/>
                <a:ext cx="101" cy="66"/>
              </a:xfrm>
              <a:custGeom>
                <a:avLst/>
                <a:gdLst>
                  <a:gd name="T0" fmla="*/ 12 w 65"/>
                  <a:gd name="T1" fmla="*/ 21 h 42"/>
                  <a:gd name="T2" fmla="*/ 18 w 65"/>
                  <a:gd name="T3" fmla="*/ 21 h 42"/>
                  <a:gd name="T4" fmla="*/ 23 w 65"/>
                  <a:gd name="T5" fmla="*/ 27 h 42"/>
                  <a:gd name="T6" fmla="*/ 23 w 65"/>
                  <a:gd name="T7" fmla="*/ 33 h 42"/>
                  <a:gd name="T8" fmla="*/ 32 w 65"/>
                  <a:gd name="T9" fmla="*/ 39 h 42"/>
                  <a:gd name="T10" fmla="*/ 41 w 65"/>
                  <a:gd name="T11" fmla="*/ 39 h 42"/>
                  <a:gd name="T12" fmla="*/ 44 w 65"/>
                  <a:gd name="T13" fmla="*/ 36 h 42"/>
                  <a:gd name="T14" fmla="*/ 53 w 65"/>
                  <a:gd name="T15" fmla="*/ 36 h 42"/>
                  <a:gd name="T16" fmla="*/ 53 w 65"/>
                  <a:gd name="T17" fmla="*/ 30 h 42"/>
                  <a:gd name="T18" fmla="*/ 59 w 65"/>
                  <a:gd name="T19" fmla="*/ 24 h 42"/>
                  <a:gd name="T20" fmla="*/ 65 w 65"/>
                  <a:gd name="T21" fmla="*/ 21 h 42"/>
                  <a:gd name="T22" fmla="*/ 65 w 65"/>
                  <a:gd name="T23" fmla="*/ 18 h 42"/>
                  <a:gd name="T24" fmla="*/ 65 w 65"/>
                  <a:gd name="T25" fmla="*/ 12 h 42"/>
                  <a:gd name="T26" fmla="*/ 59 w 65"/>
                  <a:gd name="T27" fmla="*/ 9 h 42"/>
                  <a:gd name="T28" fmla="*/ 50 w 65"/>
                  <a:gd name="T29" fmla="*/ 3 h 42"/>
                  <a:gd name="T30" fmla="*/ 44 w 65"/>
                  <a:gd name="T31" fmla="*/ 0 h 42"/>
                  <a:gd name="T32" fmla="*/ 29 w 65"/>
                  <a:gd name="T33" fmla="*/ 0 h 42"/>
                  <a:gd name="T34" fmla="*/ 12 w 65"/>
                  <a:gd name="T35" fmla="*/ 0 h 42"/>
                  <a:gd name="T36" fmla="*/ 3 w 65"/>
                  <a:gd name="T37" fmla="*/ 3 h 42"/>
                  <a:gd name="T38" fmla="*/ 3 w 65"/>
                  <a:gd name="T39" fmla="*/ 15 h 42"/>
                  <a:gd name="T40" fmla="*/ 3 w 65"/>
                  <a:gd name="T41" fmla="*/ 18 h 42"/>
                  <a:gd name="T42" fmla="*/ 12 w 65"/>
                  <a:gd name="T4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42">
                    <a:moveTo>
                      <a:pt x="12" y="21"/>
                    </a:moveTo>
                    <a:cubicBezTo>
                      <a:pt x="12" y="21"/>
                      <a:pt x="15" y="24"/>
                      <a:pt x="18" y="21"/>
                    </a:cubicBezTo>
                    <a:cubicBezTo>
                      <a:pt x="18" y="21"/>
                      <a:pt x="23" y="24"/>
                      <a:pt x="23" y="27"/>
                    </a:cubicBezTo>
                    <a:cubicBezTo>
                      <a:pt x="23" y="27"/>
                      <a:pt x="21" y="33"/>
                      <a:pt x="23" y="33"/>
                    </a:cubicBezTo>
                    <a:cubicBezTo>
                      <a:pt x="23" y="33"/>
                      <a:pt x="32" y="36"/>
                      <a:pt x="32" y="39"/>
                    </a:cubicBezTo>
                    <a:cubicBezTo>
                      <a:pt x="35" y="39"/>
                      <a:pt x="38" y="39"/>
                      <a:pt x="41" y="39"/>
                    </a:cubicBezTo>
                    <a:cubicBezTo>
                      <a:pt x="41" y="42"/>
                      <a:pt x="44" y="39"/>
                      <a:pt x="44" y="36"/>
                    </a:cubicBezTo>
                    <a:cubicBezTo>
                      <a:pt x="47" y="36"/>
                      <a:pt x="50" y="36"/>
                      <a:pt x="53" y="36"/>
                    </a:cubicBezTo>
                    <a:cubicBezTo>
                      <a:pt x="53" y="30"/>
                      <a:pt x="53" y="30"/>
                      <a:pt x="53" y="30"/>
                    </a:cubicBezTo>
                    <a:cubicBezTo>
                      <a:pt x="56" y="27"/>
                      <a:pt x="59" y="24"/>
                      <a:pt x="59" y="24"/>
                    </a:cubicBezTo>
                    <a:cubicBezTo>
                      <a:pt x="62" y="24"/>
                      <a:pt x="62" y="21"/>
                      <a:pt x="65" y="21"/>
                    </a:cubicBezTo>
                    <a:cubicBezTo>
                      <a:pt x="65" y="18"/>
                      <a:pt x="65" y="18"/>
                      <a:pt x="65" y="18"/>
                    </a:cubicBezTo>
                    <a:cubicBezTo>
                      <a:pt x="65" y="15"/>
                      <a:pt x="65" y="15"/>
                      <a:pt x="65" y="12"/>
                    </a:cubicBezTo>
                    <a:cubicBezTo>
                      <a:pt x="65" y="12"/>
                      <a:pt x="62" y="12"/>
                      <a:pt x="59" y="9"/>
                    </a:cubicBezTo>
                    <a:cubicBezTo>
                      <a:pt x="56" y="6"/>
                      <a:pt x="53" y="3"/>
                      <a:pt x="50" y="3"/>
                    </a:cubicBezTo>
                    <a:cubicBezTo>
                      <a:pt x="47" y="6"/>
                      <a:pt x="47" y="0"/>
                      <a:pt x="44" y="0"/>
                    </a:cubicBezTo>
                    <a:cubicBezTo>
                      <a:pt x="38" y="3"/>
                      <a:pt x="32" y="0"/>
                      <a:pt x="29" y="0"/>
                    </a:cubicBezTo>
                    <a:cubicBezTo>
                      <a:pt x="26" y="0"/>
                      <a:pt x="18" y="0"/>
                      <a:pt x="12" y="0"/>
                    </a:cubicBezTo>
                    <a:cubicBezTo>
                      <a:pt x="12" y="3"/>
                      <a:pt x="9" y="3"/>
                      <a:pt x="3" y="3"/>
                    </a:cubicBezTo>
                    <a:cubicBezTo>
                      <a:pt x="6" y="9"/>
                      <a:pt x="6" y="12"/>
                      <a:pt x="3" y="15"/>
                    </a:cubicBezTo>
                    <a:cubicBezTo>
                      <a:pt x="0" y="18"/>
                      <a:pt x="3" y="18"/>
                      <a:pt x="3" y="18"/>
                    </a:cubicBezTo>
                    <a:cubicBezTo>
                      <a:pt x="6" y="18"/>
                      <a:pt x="9" y="18"/>
                      <a:pt x="12"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4" name="Freeform 808"/>
              <p:cNvSpPr>
                <a:spLocks/>
              </p:cNvSpPr>
              <p:nvPr userDrawn="1"/>
            </p:nvSpPr>
            <p:spPr bwMode="auto">
              <a:xfrm>
                <a:off x="3592" y="-2059"/>
                <a:ext cx="80" cy="42"/>
              </a:xfrm>
              <a:custGeom>
                <a:avLst/>
                <a:gdLst>
                  <a:gd name="T0" fmla="*/ 45 w 51"/>
                  <a:gd name="T1" fmla="*/ 12 h 27"/>
                  <a:gd name="T2" fmla="*/ 39 w 51"/>
                  <a:gd name="T3" fmla="*/ 9 h 27"/>
                  <a:gd name="T4" fmla="*/ 39 w 51"/>
                  <a:gd name="T5" fmla="*/ 3 h 27"/>
                  <a:gd name="T6" fmla="*/ 33 w 51"/>
                  <a:gd name="T7" fmla="*/ 0 h 27"/>
                  <a:gd name="T8" fmla="*/ 24 w 51"/>
                  <a:gd name="T9" fmla="*/ 0 h 27"/>
                  <a:gd name="T10" fmla="*/ 15 w 51"/>
                  <a:gd name="T11" fmla="*/ 0 h 27"/>
                  <a:gd name="T12" fmla="*/ 15 w 51"/>
                  <a:gd name="T13" fmla="*/ 3 h 27"/>
                  <a:gd name="T14" fmla="*/ 9 w 51"/>
                  <a:gd name="T15" fmla="*/ 6 h 27"/>
                  <a:gd name="T16" fmla="*/ 0 w 51"/>
                  <a:gd name="T17" fmla="*/ 15 h 27"/>
                  <a:gd name="T18" fmla="*/ 3 w 51"/>
                  <a:gd name="T19" fmla="*/ 21 h 27"/>
                  <a:gd name="T20" fmla="*/ 6 w 51"/>
                  <a:gd name="T21" fmla="*/ 21 h 27"/>
                  <a:gd name="T22" fmla="*/ 9 w 51"/>
                  <a:gd name="T23" fmla="*/ 27 h 27"/>
                  <a:gd name="T24" fmla="*/ 9 w 51"/>
                  <a:gd name="T25" fmla="*/ 27 h 27"/>
                  <a:gd name="T26" fmla="*/ 18 w 51"/>
                  <a:gd name="T27" fmla="*/ 27 h 27"/>
                  <a:gd name="T28" fmla="*/ 24 w 51"/>
                  <a:gd name="T29" fmla="*/ 18 h 27"/>
                  <a:gd name="T30" fmla="*/ 30 w 51"/>
                  <a:gd name="T31" fmla="*/ 24 h 27"/>
                  <a:gd name="T32" fmla="*/ 33 w 51"/>
                  <a:gd name="T33" fmla="*/ 21 h 27"/>
                  <a:gd name="T34" fmla="*/ 39 w 51"/>
                  <a:gd name="T35" fmla="*/ 18 h 27"/>
                  <a:gd name="T36" fmla="*/ 42 w 51"/>
                  <a:gd name="T37" fmla="*/ 18 h 27"/>
                  <a:gd name="T38" fmla="*/ 45 w 51"/>
                  <a:gd name="T39" fmla="*/ 15 h 27"/>
                  <a:gd name="T40" fmla="*/ 48 w 51"/>
                  <a:gd name="T41" fmla="*/ 15 h 27"/>
                  <a:gd name="T42" fmla="*/ 51 w 51"/>
                  <a:gd name="T43" fmla="*/ 12 h 27"/>
                  <a:gd name="T44" fmla="*/ 45 w 51"/>
                  <a:gd name="T4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27">
                    <a:moveTo>
                      <a:pt x="45" y="12"/>
                    </a:moveTo>
                    <a:cubicBezTo>
                      <a:pt x="42" y="12"/>
                      <a:pt x="39" y="9"/>
                      <a:pt x="39" y="9"/>
                    </a:cubicBezTo>
                    <a:cubicBezTo>
                      <a:pt x="39" y="6"/>
                      <a:pt x="39" y="6"/>
                      <a:pt x="39" y="3"/>
                    </a:cubicBezTo>
                    <a:cubicBezTo>
                      <a:pt x="36" y="3"/>
                      <a:pt x="33" y="0"/>
                      <a:pt x="33" y="0"/>
                    </a:cubicBezTo>
                    <a:cubicBezTo>
                      <a:pt x="30" y="0"/>
                      <a:pt x="27" y="0"/>
                      <a:pt x="24" y="0"/>
                    </a:cubicBezTo>
                    <a:cubicBezTo>
                      <a:pt x="24" y="0"/>
                      <a:pt x="18" y="0"/>
                      <a:pt x="15" y="0"/>
                    </a:cubicBezTo>
                    <a:cubicBezTo>
                      <a:pt x="15" y="3"/>
                      <a:pt x="15" y="3"/>
                      <a:pt x="15" y="3"/>
                    </a:cubicBezTo>
                    <a:cubicBezTo>
                      <a:pt x="12" y="3"/>
                      <a:pt x="9" y="6"/>
                      <a:pt x="9" y="6"/>
                    </a:cubicBezTo>
                    <a:cubicBezTo>
                      <a:pt x="6" y="9"/>
                      <a:pt x="3" y="12"/>
                      <a:pt x="0" y="15"/>
                    </a:cubicBezTo>
                    <a:cubicBezTo>
                      <a:pt x="0" y="21"/>
                      <a:pt x="0" y="24"/>
                      <a:pt x="3" y="21"/>
                    </a:cubicBezTo>
                    <a:cubicBezTo>
                      <a:pt x="3" y="18"/>
                      <a:pt x="6" y="18"/>
                      <a:pt x="6" y="21"/>
                    </a:cubicBezTo>
                    <a:cubicBezTo>
                      <a:pt x="6" y="24"/>
                      <a:pt x="9" y="24"/>
                      <a:pt x="9" y="27"/>
                    </a:cubicBezTo>
                    <a:cubicBezTo>
                      <a:pt x="9" y="27"/>
                      <a:pt x="9" y="27"/>
                      <a:pt x="9" y="27"/>
                    </a:cubicBezTo>
                    <a:cubicBezTo>
                      <a:pt x="12" y="27"/>
                      <a:pt x="18" y="27"/>
                      <a:pt x="18" y="27"/>
                    </a:cubicBezTo>
                    <a:cubicBezTo>
                      <a:pt x="21" y="27"/>
                      <a:pt x="24" y="18"/>
                      <a:pt x="24" y="18"/>
                    </a:cubicBezTo>
                    <a:cubicBezTo>
                      <a:pt x="24" y="18"/>
                      <a:pt x="27" y="24"/>
                      <a:pt x="30" y="24"/>
                    </a:cubicBezTo>
                    <a:cubicBezTo>
                      <a:pt x="33" y="27"/>
                      <a:pt x="33" y="24"/>
                      <a:pt x="33" y="21"/>
                    </a:cubicBezTo>
                    <a:cubicBezTo>
                      <a:pt x="33" y="18"/>
                      <a:pt x="36" y="18"/>
                      <a:pt x="39" y="18"/>
                    </a:cubicBezTo>
                    <a:cubicBezTo>
                      <a:pt x="39" y="18"/>
                      <a:pt x="42" y="21"/>
                      <a:pt x="42" y="18"/>
                    </a:cubicBezTo>
                    <a:cubicBezTo>
                      <a:pt x="42" y="15"/>
                      <a:pt x="45" y="15"/>
                      <a:pt x="45" y="15"/>
                    </a:cubicBezTo>
                    <a:cubicBezTo>
                      <a:pt x="48" y="15"/>
                      <a:pt x="48" y="15"/>
                      <a:pt x="48" y="15"/>
                    </a:cubicBezTo>
                    <a:cubicBezTo>
                      <a:pt x="51" y="12"/>
                      <a:pt x="51" y="12"/>
                      <a:pt x="51" y="12"/>
                    </a:cubicBezTo>
                    <a:cubicBezTo>
                      <a:pt x="48" y="12"/>
                      <a:pt x="45" y="9"/>
                      <a:pt x="45"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5" name="Freeform 809"/>
              <p:cNvSpPr>
                <a:spLocks/>
              </p:cNvSpPr>
              <p:nvPr userDrawn="1"/>
            </p:nvSpPr>
            <p:spPr bwMode="auto">
              <a:xfrm>
                <a:off x="3592" y="-2059"/>
                <a:ext cx="80" cy="42"/>
              </a:xfrm>
              <a:custGeom>
                <a:avLst/>
                <a:gdLst>
                  <a:gd name="T0" fmla="*/ 45 w 51"/>
                  <a:gd name="T1" fmla="*/ 12 h 27"/>
                  <a:gd name="T2" fmla="*/ 39 w 51"/>
                  <a:gd name="T3" fmla="*/ 9 h 27"/>
                  <a:gd name="T4" fmla="*/ 39 w 51"/>
                  <a:gd name="T5" fmla="*/ 3 h 27"/>
                  <a:gd name="T6" fmla="*/ 33 w 51"/>
                  <a:gd name="T7" fmla="*/ 0 h 27"/>
                  <a:gd name="T8" fmla="*/ 24 w 51"/>
                  <a:gd name="T9" fmla="*/ 0 h 27"/>
                  <a:gd name="T10" fmla="*/ 15 w 51"/>
                  <a:gd name="T11" fmla="*/ 0 h 27"/>
                  <a:gd name="T12" fmla="*/ 15 w 51"/>
                  <a:gd name="T13" fmla="*/ 3 h 27"/>
                  <a:gd name="T14" fmla="*/ 9 w 51"/>
                  <a:gd name="T15" fmla="*/ 6 h 27"/>
                  <a:gd name="T16" fmla="*/ 0 w 51"/>
                  <a:gd name="T17" fmla="*/ 15 h 27"/>
                  <a:gd name="T18" fmla="*/ 3 w 51"/>
                  <a:gd name="T19" fmla="*/ 21 h 27"/>
                  <a:gd name="T20" fmla="*/ 6 w 51"/>
                  <a:gd name="T21" fmla="*/ 21 h 27"/>
                  <a:gd name="T22" fmla="*/ 9 w 51"/>
                  <a:gd name="T23" fmla="*/ 27 h 27"/>
                  <a:gd name="T24" fmla="*/ 9 w 51"/>
                  <a:gd name="T25" fmla="*/ 27 h 27"/>
                  <a:gd name="T26" fmla="*/ 18 w 51"/>
                  <a:gd name="T27" fmla="*/ 27 h 27"/>
                  <a:gd name="T28" fmla="*/ 24 w 51"/>
                  <a:gd name="T29" fmla="*/ 18 h 27"/>
                  <a:gd name="T30" fmla="*/ 30 w 51"/>
                  <a:gd name="T31" fmla="*/ 24 h 27"/>
                  <a:gd name="T32" fmla="*/ 33 w 51"/>
                  <a:gd name="T33" fmla="*/ 21 h 27"/>
                  <a:gd name="T34" fmla="*/ 39 w 51"/>
                  <a:gd name="T35" fmla="*/ 18 h 27"/>
                  <a:gd name="T36" fmla="*/ 42 w 51"/>
                  <a:gd name="T37" fmla="*/ 18 h 27"/>
                  <a:gd name="T38" fmla="*/ 45 w 51"/>
                  <a:gd name="T39" fmla="*/ 15 h 27"/>
                  <a:gd name="T40" fmla="*/ 48 w 51"/>
                  <a:gd name="T41" fmla="*/ 15 h 27"/>
                  <a:gd name="T42" fmla="*/ 51 w 51"/>
                  <a:gd name="T43" fmla="*/ 12 h 27"/>
                  <a:gd name="T44" fmla="*/ 45 w 51"/>
                  <a:gd name="T4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27">
                    <a:moveTo>
                      <a:pt x="45" y="12"/>
                    </a:moveTo>
                    <a:cubicBezTo>
                      <a:pt x="42" y="12"/>
                      <a:pt x="39" y="9"/>
                      <a:pt x="39" y="9"/>
                    </a:cubicBezTo>
                    <a:cubicBezTo>
                      <a:pt x="39" y="6"/>
                      <a:pt x="39" y="6"/>
                      <a:pt x="39" y="3"/>
                    </a:cubicBezTo>
                    <a:cubicBezTo>
                      <a:pt x="36" y="3"/>
                      <a:pt x="33" y="0"/>
                      <a:pt x="33" y="0"/>
                    </a:cubicBezTo>
                    <a:cubicBezTo>
                      <a:pt x="30" y="0"/>
                      <a:pt x="27" y="0"/>
                      <a:pt x="24" y="0"/>
                    </a:cubicBezTo>
                    <a:cubicBezTo>
                      <a:pt x="24" y="0"/>
                      <a:pt x="18" y="0"/>
                      <a:pt x="15" y="0"/>
                    </a:cubicBezTo>
                    <a:cubicBezTo>
                      <a:pt x="15" y="3"/>
                      <a:pt x="15" y="3"/>
                      <a:pt x="15" y="3"/>
                    </a:cubicBezTo>
                    <a:cubicBezTo>
                      <a:pt x="12" y="3"/>
                      <a:pt x="9" y="6"/>
                      <a:pt x="9" y="6"/>
                    </a:cubicBezTo>
                    <a:cubicBezTo>
                      <a:pt x="6" y="9"/>
                      <a:pt x="3" y="12"/>
                      <a:pt x="0" y="15"/>
                    </a:cubicBezTo>
                    <a:cubicBezTo>
                      <a:pt x="0" y="21"/>
                      <a:pt x="0" y="24"/>
                      <a:pt x="3" y="21"/>
                    </a:cubicBezTo>
                    <a:cubicBezTo>
                      <a:pt x="3" y="18"/>
                      <a:pt x="6" y="18"/>
                      <a:pt x="6" y="21"/>
                    </a:cubicBezTo>
                    <a:cubicBezTo>
                      <a:pt x="6" y="24"/>
                      <a:pt x="9" y="24"/>
                      <a:pt x="9" y="27"/>
                    </a:cubicBezTo>
                    <a:cubicBezTo>
                      <a:pt x="9" y="27"/>
                      <a:pt x="9" y="27"/>
                      <a:pt x="9" y="27"/>
                    </a:cubicBezTo>
                    <a:cubicBezTo>
                      <a:pt x="12" y="27"/>
                      <a:pt x="18" y="27"/>
                      <a:pt x="18" y="27"/>
                    </a:cubicBezTo>
                    <a:cubicBezTo>
                      <a:pt x="21" y="27"/>
                      <a:pt x="24" y="18"/>
                      <a:pt x="24" y="18"/>
                    </a:cubicBezTo>
                    <a:cubicBezTo>
                      <a:pt x="24" y="18"/>
                      <a:pt x="27" y="24"/>
                      <a:pt x="30" y="24"/>
                    </a:cubicBezTo>
                    <a:cubicBezTo>
                      <a:pt x="33" y="27"/>
                      <a:pt x="33" y="24"/>
                      <a:pt x="33" y="21"/>
                    </a:cubicBezTo>
                    <a:cubicBezTo>
                      <a:pt x="33" y="18"/>
                      <a:pt x="36" y="18"/>
                      <a:pt x="39" y="18"/>
                    </a:cubicBezTo>
                    <a:cubicBezTo>
                      <a:pt x="39" y="18"/>
                      <a:pt x="42" y="21"/>
                      <a:pt x="42" y="18"/>
                    </a:cubicBezTo>
                    <a:cubicBezTo>
                      <a:pt x="42" y="15"/>
                      <a:pt x="45" y="15"/>
                      <a:pt x="45" y="15"/>
                    </a:cubicBezTo>
                    <a:cubicBezTo>
                      <a:pt x="48" y="15"/>
                      <a:pt x="48" y="15"/>
                      <a:pt x="48" y="15"/>
                    </a:cubicBezTo>
                    <a:cubicBezTo>
                      <a:pt x="51" y="12"/>
                      <a:pt x="51" y="12"/>
                      <a:pt x="51" y="12"/>
                    </a:cubicBezTo>
                    <a:cubicBezTo>
                      <a:pt x="48" y="12"/>
                      <a:pt x="45" y="9"/>
                      <a:pt x="45"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6" name="Freeform 810"/>
              <p:cNvSpPr>
                <a:spLocks/>
              </p:cNvSpPr>
              <p:nvPr userDrawn="1"/>
            </p:nvSpPr>
            <p:spPr bwMode="auto">
              <a:xfrm>
                <a:off x="3587" y="-2226"/>
                <a:ext cx="159" cy="175"/>
              </a:xfrm>
              <a:custGeom>
                <a:avLst/>
                <a:gdLst>
                  <a:gd name="T0" fmla="*/ 15 w 102"/>
                  <a:gd name="T1" fmla="*/ 29 h 112"/>
                  <a:gd name="T2" fmla="*/ 9 w 102"/>
                  <a:gd name="T3" fmla="*/ 35 h 112"/>
                  <a:gd name="T4" fmla="*/ 12 w 102"/>
                  <a:gd name="T5" fmla="*/ 41 h 112"/>
                  <a:gd name="T6" fmla="*/ 9 w 102"/>
                  <a:gd name="T7" fmla="*/ 44 h 112"/>
                  <a:gd name="T8" fmla="*/ 3 w 102"/>
                  <a:gd name="T9" fmla="*/ 47 h 112"/>
                  <a:gd name="T10" fmla="*/ 3 w 102"/>
                  <a:gd name="T11" fmla="*/ 53 h 112"/>
                  <a:gd name="T12" fmla="*/ 0 w 102"/>
                  <a:gd name="T13" fmla="*/ 62 h 112"/>
                  <a:gd name="T14" fmla="*/ 3 w 102"/>
                  <a:gd name="T15" fmla="*/ 68 h 112"/>
                  <a:gd name="T16" fmla="*/ 3 w 102"/>
                  <a:gd name="T17" fmla="*/ 71 h 112"/>
                  <a:gd name="T18" fmla="*/ 6 w 102"/>
                  <a:gd name="T19" fmla="*/ 80 h 112"/>
                  <a:gd name="T20" fmla="*/ 9 w 102"/>
                  <a:gd name="T21" fmla="*/ 83 h 112"/>
                  <a:gd name="T22" fmla="*/ 15 w 102"/>
                  <a:gd name="T23" fmla="*/ 86 h 112"/>
                  <a:gd name="T24" fmla="*/ 21 w 102"/>
                  <a:gd name="T25" fmla="*/ 89 h 112"/>
                  <a:gd name="T26" fmla="*/ 24 w 102"/>
                  <a:gd name="T27" fmla="*/ 92 h 112"/>
                  <a:gd name="T28" fmla="*/ 18 w 102"/>
                  <a:gd name="T29" fmla="*/ 101 h 112"/>
                  <a:gd name="T30" fmla="*/ 18 w 102"/>
                  <a:gd name="T31" fmla="*/ 107 h 112"/>
                  <a:gd name="T32" fmla="*/ 27 w 102"/>
                  <a:gd name="T33" fmla="*/ 107 h 112"/>
                  <a:gd name="T34" fmla="*/ 36 w 102"/>
                  <a:gd name="T35" fmla="*/ 107 h 112"/>
                  <a:gd name="T36" fmla="*/ 42 w 102"/>
                  <a:gd name="T37" fmla="*/ 109 h 112"/>
                  <a:gd name="T38" fmla="*/ 42 w 102"/>
                  <a:gd name="T39" fmla="*/ 109 h 112"/>
                  <a:gd name="T40" fmla="*/ 51 w 102"/>
                  <a:gd name="T41" fmla="*/ 109 h 112"/>
                  <a:gd name="T42" fmla="*/ 57 w 102"/>
                  <a:gd name="T43" fmla="*/ 109 h 112"/>
                  <a:gd name="T44" fmla="*/ 63 w 102"/>
                  <a:gd name="T45" fmla="*/ 109 h 112"/>
                  <a:gd name="T46" fmla="*/ 75 w 102"/>
                  <a:gd name="T47" fmla="*/ 107 h 112"/>
                  <a:gd name="T48" fmla="*/ 78 w 102"/>
                  <a:gd name="T49" fmla="*/ 104 h 112"/>
                  <a:gd name="T50" fmla="*/ 84 w 102"/>
                  <a:gd name="T51" fmla="*/ 98 h 112"/>
                  <a:gd name="T52" fmla="*/ 90 w 102"/>
                  <a:gd name="T53" fmla="*/ 92 h 112"/>
                  <a:gd name="T54" fmla="*/ 78 w 102"/>
                  <a:gd name="T55" fmla="*/ 83 h 112"/>
                  <a:gd name="T56" fmla="*/ 75 w 102"/>
                  <a:gd name="T57" fmla="*/ 74 h 112"/>
                  <a:gd name="T58" fmla="*/ 72 w 102"/>
                  <a:gd name="T59" fmla="*/ 68 h 112"/>
                  <a:gd name="T60" fmla="*/ 84 w 102"/>
                  <a:gd name="T61" fmla="*/ 62 h 112"/>
                  <a:gd name="T62" fmla="*/ 93 w 102"/>
                  <a:gd name="T63" fmla="*/ 59 h 112"/>
                  <a:gd name="T64" fmla="*/ 99 w 102"/>
                  <a:gd name="T65" fmla="*/ 59 h 112"/>
                  <a:gd name="T66" fmla="*/ 102 w 102"/>
                  <a:gd name="T67" fmla="*/ 53 h 112"/>
                  <a:gd name="T68" fmla="*/ 99 w 102"/>
                  <a:gd name="T69" fmla="*/ 44 h 112"/>
                  <a:gd name="T70" fmla="*/ 96 w 102"/>
                  <a:gd name="T71" fmla="*/ 38 h 112"/>
                  <a:gd name="T72" fmla="*/ 93 w 102"/>
                  <a:gd name="T73" fmla="*/ 32 h 112"/>
                  <a:gd name="T74" fmla="*/ 93 w 102"/>
                  <a:gd name="T75" fmla="*/ 26 h 112"/>
                  <a:gd name="T76" fmla="*/ 93 w 102"/>
                  <a:gd name="T77" fmla="*/ 14 h 112"/>
                  <a:gd name="T78" fmla="*/ 93 w 102"/>
                  <a:gd name="T79" fmla="*/ 14 h 112"/>
                  <a:gd name="T80" fmla="*/ 93 w 102"/>
                  <a:gd name="T81" fmla="*/ 14 h 112"/>
                  <a:gd name="T82" fmla="*/ 87 w 102"/>
                  <a:gd name="T83" fmla="*/ 8 h 112"/>
                  <a:gd name="T84" fmla="*/ 87 w 102"/>
                  <a:gd name="T85" fmla="*/ 3 h 112"/>
                  <a:gd name="T86" fmla="*/ 78 w 102"/>
                  <a:gd name="T87" fmla="*/ 5 h 112"/>
                  <a:gd name="T88" fmla="*/ 63 w 102"/>
                  <a:gd name="T89" fmla="*/ 11 h 112"/>
                  <a:gd name="T90" fmla="*/ 57 w 102"/>
                  <a:gd name="T91" fmla="*/ 8 h 112"/>
                  <a:gd name="T92" fmla="*/ 54 w 102"/>
                  <a:gd name="T93" fmla="*/ 5 h 112"/>
                  <a:gd name="T94" fmla="*/ 45 w 102"/>
                  <a:gd name="T95" fmla="*/ 3 h 112"/>
                  <a:gd name="T96" fmla="*/ 45 w 102"/>
                  <a:gd name="T97" fmla="*/ 0 h 112"/>
                  <a:gd name="T98" fmla="*/ 42 w 102"/>
                  <a:gd name="T99" fmla="*/ 0 h 112"/>
                  <a:gd name="T100" fmla="*/ 30 w 102"/>
                  <a:gd name="T101" fmla="*/ 0 h 112"/>
                  <a:gd name="T102" fmla="*/ 33 w 102"/>
                  <a:gd name="T103" fmla="*/ 5 h 112"/>
                  <a:gd name="T104" fmla="*/ 36 w 102"/>
                  <a:gd name="T105" fmla="*/ 14 h 112"/>
                  <a:gd name="T106" fmla="*/ 30 w 102"/>
                  <a:gd name="T107" fmla="*/ 17 h 112"/>
                  <a:gd name="T108" fmla="*/ 24 w 102"/>
                  <a:gd name="T109" fmla="*/ 17 h 112"/>
                  <a:gd name="T110" fmla="*/ 15 w 102"/>
                  <a:gd name="T111" fmla="*/ 17 h 112"/>
                  <a:gd name="T112" fmla="*/ 15 w 102"/>
                  <a:gd name="T113" fmla="*/ 20 h 112"/>
                  <a:gd name="T114" fmla="*/ 15 w 102"/>
                  <a:gd name="T115" fmla="*/ 2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15" y="29"/>
                    </a:moveTo>
                    <a:cubicBezTo>
                      <a:pt x="12" y="32"/>
                      <a:pt x="9" y="32"/>
                      <a:pt x="9" y="35"/>
                    </a:cubicBezTo>
                    <a:cubicBezTo>
                      <a:pt x="9" y="35"/>
                      <a:pt x="12" y="38"/>
                      <a:pt x="12" y="41"/>
                    </a:cubicBezTo>
                    <a:cubicBezTo>
                      <a:pt x="12" y="41"/>
                      <a:pt x="9" y="41"/>
                      <a:pt x="9" y="44"/>
                    </a:cubicBezTo>
                    <a:cubicBezTo>
                      <a:pt x="9" y="47"/>
                      <a:pt x="6" y="47"/>
                      <a:pt x="3" y="47"/>
                    </a:cubicBezTo>
                    <a:cubicBezTo>
                      <a:pt x="3" y="47"/>
                      <a:pt x="3" y="50"/>
                      <a:pt x="3" y="53"/>
                    </a:cubicBezTo>
                    <a:cubicBezTo>
                      <a:pt x="3" y="53"/>
                      <a:pt x="3" y="59"/>
                      <a:pt x="0" y="62"/>
                    </a:cubicBezTo>
                    <a:cubicBezTo>
                      <a:pt x="0" y="62"/>
                      <a:pt x="6" y="65"/>
                      <a:pt x="3" y="68"/>
                    </a:cubicBezTo>
                    <a:cubicBezTo>
                      <a:pt x="3" y="68"/>
                      <a:pt x="0" y="71"/>
                      <a:pt x="3" y="71"/>
                    </a:cubicBezTo>
                    <a:cubicBezTo>
                      <a:pt x="3" y="74"/>
                      <a:pt x="6" y="74"/>
                      <a:pt x="6" y="80"/>
                    </a:cubicBezTo>
                    <a:cubicBezTo>
                      <a:pt x="6" y="83"/>
                      <a:pt x="9" y="83"/>
                      <a:pt x="9" y="83"/>
                    </a:cubicBezTo>
                    <a:cubicBezTo>
                      <a:pt x="9" y="86"/>
                      <a:pt x="12" y="86"/>
                      <a:pt x="15" y="86"/>
                    </a:cubicBezTo>
                    <a:cubicBezTo>
                      <a:pt x="18" y="86"/>
                      <a:pt x="21" y="89"/>
                      <a:pt x="21" y="89"/>
                    </a:cubicBezTo>
                    <a:cubicBezTo>
                      <a:pt x="24" y="89"/>
                      <a:pt x="27" y="89"/>
                      <a:pt x="24" y="92"/>
                    </a:cubicBezTo>
                    <a:cubicBezTo>
                      <a:pt x="21" y="95"/>
                      <a:pt x="21" y="98"/>
                      <a:pt x="18" y="101"/>
                    </a:cubicBezTo>
                    <a:cubicBezTo>
                      <a:pt x="18" y="104"/>
                      <a:pt x="18" y="107"/>
                      <a:pt x="18" y="107"/>
                    </a:cubicBezTo>
                    <a:cubicBezTo>
                      <a:pt x="21" y="107"/>
                      <a:pt x="27" y="107"/>
                      <a:pt x="27" y="107"/>
                    </a:cubicBezTo>
                    <a:cubicBezTo>
                      <a:pt x="30" y="107"/>
                      <a:pt x="33" y="107"/>
                      <a:pt x="36" y="107"/>
                    </a:cubicBezTo>
                    <a:cubicBezTo>
                      <a:pt x="36" y="107"/>
                      <a:pt x="39" y="109"/>
                      <a:pt x="42" y="109"/>
                    </a:cubicBezTo>
                    <a:cubicBezTo>
                      <a:pt x="42" y="109"/>
                      <a:pt x="42" y="109"/>
                      <a:pt x="42" y="109"/>
                    </a:cubicBezTo>
                    <a:cubicBezTo>
                      <a:pt x="45" y="109"/>
                      <a:pt x="48" y="112"/>
                      <a:pt x="51" y="109"/>
                    </a:cubicBezTo>
                    <a:cubicBezTo>
                      <a:pt x="51" y="107"/>
                      <a:pt x="54" y="109"/>
                      <a:pt x="57" y="109"/>
                    </a:cubicBezTo>
                    <a:cubicBezTo>
                      <a:pt x="57" y="109"/>
                      <a:pt x="60" y="109"/>
                      <a:pt x="63" y="109"/>
                    </a:cubicBezTo>
                    <a:cubicBezTo>
                      <a:pt x="66" y="107"/>
                      <a:pt x="72" y="107"/>
                      <a:pt x="75" y="107"/>
                    </a:cubicBezTo>
                    <a:cubicBezTo>
                      <a:pt x="75" y="107"/>
                      <a:pt x="81" y="109"/>
                      <a:pt x="78" y="104"/>
                    </a:cubicBezTo>
                    <a:cubicBezTo>
                      <a:pt x="78" y="98"/>
                      <a:pt x="84" y="98"/>
                      <a:pt x="84" y="98"/>
                    </a:cubicBezTo>
                    <a:cubicBezTo>
                      <a:pt x="84" y="95"/>
                      <a:pt x="90" y="92"/>
                      <a:pt x="90" y="92"/>
                    </a:cubicBezTo>
                    <a:cubicBezTo>
                      <a:pt x="90" y="89"/>
                      <a:pt x="81" y="86"/>
                      <a:pt x="78" y="83"/>
                    </a:cubicBezTo>
                    <a:cubicBezTo>
                      <a:pt x="75" y="80"/>
                      <a:pt x="75" y="77"/>
                      <a:pt x="75" y="74"/>
                    </a:cubicBezTo>
                    <a:cubicBezTo>
                      <a:pt x="72" y="71"/>
                      <a:pt x="69" y="68"/>
                      <a:pt x="72" y="68"/>
                    </a:cubicBezTo>
                    <a:cubicBezTo>
                      <a:pt x="78" y="68"/>
                      <a:pt x="81" y="65"/>
                      <a:pt x="84" y="62"/>
                    </a:cubicBezTo>
                    <a:cubicBezTo>
                      <a:pt x="87" y="59"/>
                      <a:pt x="93" y="59"/>
                      <a:pt x="93" y="59"/>
                    </a:cubicBezTo>
                    <a:cubicBezTo>
                      <a:pt x="96" y="56"/>
                      <a:pt x="99" y="59"/>
                      <a:pt x="99" y="59"/>
                    </a:cubicBezTo>
                    <a:cubicBezTo>
                      <a:pt x="102" y="56"/>
                      <a:pt x="102" y="53"/>
                      <a:pt x="102" y="53"/>
                    </a:cubicBezTo>
                    <a:cubicBezTo>
                      <a:pt x="99" y="50"/>
                      <a:pt x="99" y="47"/>
                      <a:pt x="99" y="44"/>
                    </a:cubicBezTo>
                    <a:cubicBezTo>
                      <a:pt x="99" y="38"/>
                      <a:pt x="96" y="38"/>
                      <a:pt x="96" y="38"/>
                    </a:cubicBezTo>
                    <a:cubicBezTo>
                      <a:pt x="96" y="35"/>
                      <a:pt x="96" y="32"/>
                      <a:pt x="93" y="32"/>
                    </a:cubicBezTo>
                    <a:cubicBezTo>
                      <a:pt x="93" y="32"/>
                      <a:pt x="90" y="29"/>
                      <a:pt x="93" y="26"/>
                    </a:cubicBezTo>
                    <a:cubicBezTo>
                      <a:pt x="96" y="23"/>
                      <a:pt x="93" y="17"/>
                      <a:pt x="93" y="14"/>
                    </a:cubicBezTo>
                    <a:cubicBezTo>
                      <a:pt x="93" y="14"/>
                      <a:pt x="93" y="14"/>
                      <a:pt x="93" y="14"/>
                    </a:cubicBezTo>
                    <a:cubicBezTo>
                      <a:pt x="93" y="14"/>
                      <a:pt x="93" y="14"/>
                      <a:pt x="93" y="14"/>
                    </a:cubicBezTo>
                    <a:cubicBezTo>
                      <a:pt x="93" y="11"/>
                      <a:pt x="90" y="8"/>
                      <a:pt x="87" y="8"/>
                    </a:cubicBezTo>
                    <a:cubicBezTo>
                      <a:pt x="81" y="8"/>
                      <a:pt x="87" y="5"/>
                      <a:pt x="87" y="3"/>
                    </a:cubicBezTo>
                    <a:cubicBezTo>
                      <a:pt x="84" y="0"/>
                      <a:pt x="81" y="5"/>
                      <a:pt x="78" y="5"/>
                    </a:cubicBezTo>
                    <a:cubicBezTo>
                      <a:pt x="72" y="5"/>
                      <a:pt x="69" y="11"/>
                      <a:pt x="63" y="11"/>
                    </a:cubicBezTo>
                    <a:cubicBezTo>
                      <a:pt x="60" y="14"/>
                      <a:pt x="57" y="11"/>
                      <a:pt x="57" y="8"/>
                    </a:cubicBezTo>
                    <a:cubicBezTo>
                      <a:pt x="60" y="5"/>
                      <a:pt x="57" y="5"/>
                      <a:pt x="54" y="5"/>
                    </a:cubicBezTo>
                    <a:cubicBezTo>
                      <a:pt x="51" y="8"/>
                      <a:pt x="45" y="5"/>
                      <a:pt x="45" y="3"/>
                    </a:cubicBezTo>
                    <a:cubicBezTo>
                      <a:pt x="45" y="0"/>
                      <a:pt x="45" y="0"/>
                      <a:pt x="45" y="0"/>
                    </a:cubicBezTo>
                    <a:cubicBezTo>
                      <a:pt x="42" y="0"/>
                      <a:pt x="42" y="0"/>
                      <a:pt x="42" y="0"/>
                    </a:cubicBezTo>
                    <a:cubicBezTo>
                      <a:pt x="39" y="0"/>
                      <a:pt x="36" y="0"/>
                      <a:pt x="30" y="0"/>
                    </a:cubicBezTo>
                    <a:cubicBezTo>
                      <a:pt x="33" y="0"/>
                      <a:pt x="33" y="3"/>
                      <a:pt x="33" y="5"/>
                    </a:cubicBezTo>
                    <a:cubicBezTo>
                      <a:pt x="30" y="8"/>
                      <a:pt x="33" y="8"/>
                      <a:pt x="36" y="14"/>
                    </a:cubicBezTo>
                    <a:cubicBezTo>
                      <a:pt x="39" y="17"/>
                      <a:pt x="30" y="14"/>
                      <a:pt x="30" y="17"/>
                    </a:cubicBezTo>
                    <a:cubicBezTo>
                      <a:pt x="30" y="20"/>
                      <a:pt x="24" y="17"/>
                      <a:pt x="24" y="17"/>
                    </a:cubicBezTo>
                    <a:cubicBezTo>
                      <a:pt x="21" y="17"/>
                      <a:pt x="15" y="17"/>
                      <a:pt x="15" y="17"/>
                    </a:cubicBezTo>
                    <a:cubicBezTo>
                      <a:pt x="15" y="20"/>
                      <a:pt x="15" y="20"/>
                      <a:pt x="15" y="20"/>
                    </a:cubicBezTo>
                    <a:cubicBezTo>
                      <a:pt x="15" y="23"/>
                      <a:pt x="15" y="26"/>
                      <a:pt x="15" y="2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7" name="Freeform 811"/>
              <p:cNvSpPr>
                <a:spLocks/>
              </p:cNvSpPr>
              <p:nvPr userDrawn="1"/>
            </p:nvSpPr>
            <p:spPr bwMode="auto">
              <a:xfrm>
                <a:off x="3587" y="-2226"/>
                <a:ext cx="159" cy="175"/>
              </a:xfrm>
              <a:custGeom>
                <a:avLst/>
                <a:gdLst>
                  <a:gd name="T0" fmla="*/ 15 w 102"/>
                  <a:gd name="T1" fmla="*/ 29 h 112"/>
                  <a:gd name="T2" fmla="*/ 9 w 102"/>
                  <a:gd name="T3" fmla="*/ 35 h 112"/>
                  <a:gd name="T4" fmla="*/ 12 w 102"/>
                  <a:gd name="T5" fmla="*/ 41 h 112"/>
                  <a:gd name="T6" fmla="*/ 9 w 102"/>
                  <a:gd name="T7" fmla="*/ 44 h 112"/>
                  <a:gd name="T8" fmla="*/ 3 w 102"/>
                  <a:gd name="T9" fmla="*/ 47 h 112"/>
                  <a:gd name="T10" fmla="*/ 3 w 102"/>
                  <a:gd name="T11" fmla="*/ 53 h 112"/>
                  <a:gd name="T12" fmla="*/ 0 w 102"/>
                  <a:gd name="T13" fmla="*/ 62 h 112"/>
                  <a:gd name="T14" fmla="*/ 3 w 102"/>
                  <a:gd name="T15" fmla="*/ 68 h 112"/>
                  <a:gd name="T16" fmla="*/ 3 w 102"/>
                  <a:gd name="T17" fmla="*/ 71 h 112"/>
                  <a:gd name="T18" fmla="*/ 6 w 102"/>
                  <a:gd name="T19" fmla="*/ 80 h 112"/>
                  <a:gd name="T20" fmla="*/ 9 w 102"/>
                  <a:gd name="T21" fmla="*/ 83 h 112"/>
                  <a:gd name="T22" fmla="*/ 15 w 102"/>
                  <a:gd name="T23" fmla="*/ 86 h 112"/>
                  <a:gd name="T24" fmla="*/ 21 w 102"/>
                  <a:gd name="T25" fmla="*/ 89 h 112"/>
                  <a:gd name="T26" fmla="*/ 24 w 102"/>
                  <a:gd name="T27" fmla="*/ 92 h 112"/>
                  <a:gd name="T28" fmla="*/ 18 w 102"/>
                  <a:gd name="T29" fmla="*/ 101 h 112"/>
                  <a:gd name="T30" fmla="*/ 18 w 102"/>
                  <a:gd name="T31" fmla="*/ 107 h 112"/>
                  <a:gd name="T32" fmla="*/ 27 w 102"/>
                  <a:gd name="T33" fmla="*/ 107 h 112"/>
                  <a:gd name="T34" fmla="*/ 36 w 102"/>
                  <a:gd name="T35" fmla="*/ 107 h 112"/>
                  <a:gd name="T36" fmla="*/ 42 w 102"/>
                  <a:gd name="T37" fmla="*/ 109 h 112"/>
                  <a:gd name="T38" fmla="*/ 42 w 102"/>
                  <a:gd name="T39" fmla="*/ 109 h 112"/>
                  <a:gd name="T40" fmla="*/ 51 w 102"/>
                  <a:gd name="T41" fmla="*/ 109 h 112"/>
                  <a:gd name="T42" fmla="*/ 57 w 102"/>
                  <a:gd name="T43" fmla="*/ 109 h 112"/>
                  <a:gd name="T44" fmla="*/ 63 w 102"/>
                  <a:gd name="T45" fmla="*/ 109 h 112"/>
                  <a:gd name="T46" fmla="*/ 75 w 102"/>
                  <a:gd name="T47" fmla="*/ 107 h 112"/>
                  <a:gd name="T48" fmla="*/ 78 w 102"/>
                  <a:gd name="T49" fmla="*/ 104 h 112"/>
                  <a:gd name="T50" fmla="*/ 84 w 102"/>
                  <a:gd name="T51" fmla="*/ 98 h 112"/>
                  <a:gd name="T52" fmla="*/ 90 w 102"/>
                  <a:gd name="T53" fmla="*/ 92 h 112"/>
                  <a:gd name="T54" fmla="*/ 78 w 102"/>
                  <a:gd name="T55" fmla="*/ 83 h 112"/>
                  <a:gd name="T56" fmla="*/ 75 w 102"/>
                  <a:gd name="T57" fmla="*/ 74 h 112"/>
                  <a:gd name="T58" fmla="*/ 72 w 102"/>
                  <a:gd name="T59" fmla="*/ 68 h 112"/>
                  <a:gd name="T60" fmla="*/ 84 w 102"/>
                  <a:gd name="T61" fmla="*/ 62 h 112"/>
                  <a:gd name="T62" fmla="*/ 93 w 102"/>
                  <a:gd name="T63" fmla="*/ 59 h 112"/>
                  <a:gd name="T64" fmla="*/ 99 w 102"/>
                  <a:gd name="T65" fmla="*/ 59 h 112"/>
                  <a:gd name="T66" fmla="*/ 102 w 102"/>
                  <a:gd name="T67" fmla="*/ 53 h 112"/>
                  <a:gd name="T68" fmla="*/ 99 w 102"/>
                  <a:gd name="T69" fmla="*/ 44 h 112"/>
                  <a:gd name="T70" fmla="*/ 96 w 102"/>
                  <a:gd name="T71" fmla="*/ 38 h 112"/>
                  <a:gd name="T72" fmla="*/ 93 w 102"/>
                  <a:gd name="T73" fmla="*/ 32 h 112"/>
                  <a:gd name="T74" fmla="*/ 93 w 102"/>
                  <a:gd name="T75" fmla="*/ 26 h 112"/>
                  <a:gd name="T76" fmla="*/ 93 w 102"/>
                  <a:gd name="T77" fmla="*/ 14 h 112"/>
                  <a:gd name="T78" fmla="*/ 93 w 102"/>
                  <a:gd name="T79" fmla="*/ 14 h 112"/>
                  <a:gd name="T80" fmla="*/ 93 w 102"/>
                  <a:gd name="T81" fmla="*/ 14 h 112"/>
                  <a:gd name="T82" fmla="*/ 87 w 102"/>
                  <a:gd name="T83" fmla="*/ 8 h 112"/>
                  <a:gd name="T84" fmla="*/ 87 w 102"/>
                  <a:gd name="T85" fmla="*/ 3 h 112"/>
                  <a:gd name="T86" fmla="*/ 78 w 102"/>
                  <a:gd name="T87" fmla="*/ 5 h 112"/>
                  <a:gd name="T88" fmla="*/ 63 w 102"/>
                  <a:gd name="T89" fmla="*/ 11 h 112"/>
                  <a:gd name="T90" fmla="*/ 57 w 102"/>
                  <a:gd name="T91" fmla="*/ 8 h 112"/>
                  <a:gd name="T92" fmla="*/ 54 w 102"/>
                  <a:gd name="T93" fmla="*/ 5 h 112"/>
                  <a:gd name="T94" fmla="*/ 45 w 102"/>
                  <a:gd name="T95" fmla="*/ 3 h 112"/>
                  <a:gd name="T96" fmla="*/ 45 w 102"/>
                  <a:gd name="T97" fmla="*/ 0 h 112"/>
                  <a:gd name="T98" fmla="*/ 42 w 102"/>
                  <a:gd name="T99" fmla="*/ 0 h 112"/>
                  <a:gd name="T100" fmla="*/ 30 w 102"/>
                  <a:gd name="T101" fmla="*/ 0 h 112"/>
                  <a:gd name="T102" fmla="*/ 33 w 102"/>
                  <a:gd name="T103" fmla="*/ 5 h 112"/>
                  <a:gd name="T104" fmla="*/ 36 w 102"/>
                  <a:gd name="T105" fmla="*/ 14 h 112"/>
                  <a:gd name="T106" fmla="*/ 30 w 102"/>
                  <a:gd name="T107" fmla="*/ 17 h 112"/>
                  <a:gd name="T108" fmla="*/ 24 w 102"/>
                  <a:gd name="T109" fmla="*/ 17 h 112"/>
                  <a:gd name="T110" fmla="*/ 15 w 102"/>
                  <a:gd name="T111" fmla="*/ 17 h 112"/>
                  <a:gd name="T112" fmla="*/ 15 w 102"/>
                  <a:gd name="T113" fmla="*/ 20 h 112"/>
                  <a:gd name="T114" fmla="*/ 15 w 102"/>
                  <a:gd name="T115" fmla="*/ 2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12">
                    <a:moveTo>
                      <a:pt x="15" y="29"/>
                    </a:moveTo>
                    <a:cubicBezTo>
                      <a:pt x="12" y="32"/>
                      <a:pt x="9" y="32"/>
                      <a:pt x="9" y="35"/>
                    </a:cubicBezTo>
                    <a:cubicBezTo>
                      <a:pt x="9" y="35"/>
                      <a:pt x="12" y="38"/>
                      <a:pt x="12" y="41"/>
                    </a:cubicBezTo>
                    <a:cubicBezTo>
                      <a:pt x="12" y="41"/>
                      <a:pt x="9" y="41"/>
                      <a:pt x="9" y="44"/>
                    </a:cubicBezTo>
                    <a:cubicBezTo>
                      <a:pt x="9" y="47"/>
                      <a:pt x="6" y="47"/>
                      <a:pt x="3" y="47"/>
                    </a:cubicBezTo>
                    <a:cubicBezTo>
                      <a:pt x="3" y="47"/>
                      <a:pt x="3" y="50"/>
                      <a:pt x="3" y="53"/>
                    </a:cubicBezTo>
                    <a:cubicBezTo>
                      <a:pt x="3" y="53"/>
                      <a:pt x="3" y="59"/>
                      <a:pt x="0" y="62"/>
                    </a:cubicBezTo>
                    <a:cubicBezTo>
                      <a:pt x="0" y="62"/>
                      <a:pt x="6" y="65"/>
                      <a:pt x="3" y="68"/>
                    </a:cubicBezTo>
                    <a:cubicBezTo>
                      <a:pt x="3" y="68"/>
                      <a:pt x="0" y="71"/>
                      <a:pt x="3" y="71"/>
                    </a:cubicBezTo>
                    <a:cubicBezTo>
                      <a:pt x="3" y="74"/>
                      <a:pt x="6" y="74"/>
                      <a:pt x="6" y="80"/>
                    </a:cubicBezTo>
                    <a:cubicBezTo>
                      <a:pt x="6" y="83"/>
                      <a:pt x="9" y="83"/>
                      <a:pt x="9" y="83"/>
                    </a:cubicBezTo>
                    <a:cubicBezTo>
                      <a:pt x="9" y="86"/>
                      <a:pt x="12" y="86"/>
                      <a:pt x="15" y="86"/>
                    </a:cubicBezTo>
                    <a:cubicBezTo>
                      <a:pt x="18" y="86"/>
                      <a:pt x="21" y="89"/>
                      <a:pt x="21" y="89"/>
                    </a:cubicBezTo>
                    <a:cubicBezTo>
                      <a:pt x="24" y="89"/>
                      <a:pt x="27" y="89"/>
                      <a:pt x="24" y="92"/>
                    </a:cubicBezTo>
                    <a:cubicBezTo>
                      <a:pt x="21" y="95"/>
                      <a:pt x="21" y="98"/>
                      <a:pt x="18" y="101"/>
                    </a:cubicBezTo>
                    <a:cubicBezTo>
                      <a:pt x="18" y="104"/>
                      <a:pt x="18" y="107"/>
                      <a:pt x="18" y="107"/>
                    </a:cubicBezTo>
                    <a:cubicBezTo>
                      <a:pt x="21" y="107"/>
                      <a:pt x="27" y="107"/>
                      <a:pt x="27" y="107"/>
                    </a:cubicBezTo>
                    <a:cubicBezTo>
                      <a:pt x="30" y="107"/>
                      <a:pt x="33" y="107"/>
                      <a:pt x="36" y="107"/>
                    </a:cubicBezTo>
                    <a:cubicBezTo>
                      <a:pt x="36" y="107"/>
                      <a:pt x="39" y="109"/>
                      <a:pt x="42" y="109"/>
                    </a:cubicBezTo>
                    <a:cubicBezTo>
                      <a:pt x="42" y="109"/>
                      <a:pt x="42" y="109"/>
                      <a:pt x="42" y="109"/>
                    </a:cubicBezTo>
                    <a:cubicBezTo>
                      <a:pt x="45" y="109"/>
                      <a:pt x="48" y="112"/>
                      <a:pt x="51" y="109"/>
                    </a:cubicBezTo>
                    <a:cubicBezTo>
                      <a:pt x="51" y="107"/>
                      <a:pt x="54" y="109"/>
                      <a:pt x="57" y="109"/>
                    </a:cubicBezTo>
                    <a:cubicBezTo>
                      <a:pt x="57" y="109"/>
                      <a:pt x="60" y="109"/>
                      <a:pt x="63" y="109"/>
                    </a:cubicBezTo>
                    <a:cubicBezTo>
                      <a:pt x="66" y="107"/>
                      <a:pt x="72" y="107"/>
                      <a:pt x="75" y="107"/>
                    </a:cubicBezTo>
                    <a:cubicBezTo>
                      <a:pt x="75" y="107"/>
                      <a:pt x="81" y="109"/>
                      <a:pt x="78" y="104"/>
                    </a:cubicBezTo>
                    <a:cubicBezTo>
                      <a:pt x="78" y="98"/>
                      <a:pt x="84" y="98"/>
                      <a:pt x="84" y="98"/>
                    </a:cubicBezTo>
                    <a:cubicBezTo>
                      <a:pt x="84" y="95"/>
                      <a:pt x="90" y="92"/>
                      <a:pt x="90" y="92"/>
                    </a:cubicBezTo>
                    <a:cubicBezTo>
                      <a:pt x="90" y="89"/>
                      <a:pt x="81" y="86"/>
                      <a:pt x="78" y="83"/>
                    </a:cubicBezTo>
                    <a:cubicBezTo>
                      <a:pt x="75" y="80"/>
                      <a:pt x="75" y="77"/>
                      <a:pt x="75" y="74"/>
                    </a:cubicBezTo>
                    <a:cubicBezTo>
                      <a:pt x="72" y="71"/>
                      <a:pt x="69" y="68"/>
                      <a:pt x="72" y="68"/>
                    </a:cubicBezTo>
                    <a:cubicBezTo>
                      <a:pt x="78" y="68"/>
                      <a:pt x="81" y="65"/>
                      <a:pt x="84" y="62"/>
                    </a:cubicBezTo>
                    <a:cubicBezTo>
                      <a:pt x="87" y="59"/>
                      <a:pt x="93" y="59"/>
                      <a:pt x="93" y="59"/>
                    </a:cubicBezTo>
                    <a:cubicBezTo>
                      <a:pt x="96" y="56"/>
                      <a:pt x="99" y="59"/>
                      <a:pt x="99" y="59"/>
                    </a:cubicBezTo>
                    <a:cubicBezTo>
                      <a:pt x="102" y="56"/>
                      <a:pt x="102" y="53"/>
                      <a:pt x="102" y="53"/>
                    </a:cubicBezTo>
                    <a:cubicBezTo>
                      <a:pt x="99" y="50"/>
                      <a:pt x="99" y="47"/>
                      <a:pt x="99" y="44"/>
                    </a:cubicBezTo>
                    <a:cubicBezTo>
                      <a:pt x="99" y="38"/>
                      <a:pt x="96" y="38"/>
                      <a:pt x="96" y="38"/>
                    </a:cubicBezTo>
                    <a:cubicBezTo>
                      <a:pt x="96" y="35"/>
                      <a:pt x="96" y="32"/>
                      <a:pt x="93" y="32"/>
                    </a:cubicBezTo>
                    <a:cubicBezTo>
                      <a:pt x="93" y="32"/>
                      <a:pt x="90" y="29"/>
                      <a:pt x="93" y="26"/>
                    </a:cubicBezTo>
                    <a:cubicBezTo>
                      <a:pt x="96" y="23"/>
                      <a:pt x="93" y="17"/>
                      <a:pt x="93" y="14"/>
                    </a:cubicBezTo>
                    <a:cubicBezTo>
                      <a:pt x="93" y="14"/>
                      <a:pt x="93" y="14"/>
                      <a:pt x="93" y="14"/>
                    </a:cubicBezTo>
                    <a:cubicBezTo>
                      <a:pt x="93" y="14"/>
                      <a:pt x="93" y="14"/>
                      <a:pt x="93" y="14"/>
                    </a:cubicBezTo>
                    <a:cubicBezTo>
                      <a:pt x="93" y="11"/>
                      <a:pt x="90" y="8"/>
                      <a:pt x="87" y="8"/>
                    </a:cubicBezTo>
                    <a:cubicBezTo>
                      <a:pt x="81" y="8"/>
                      <a:pt x="87" y="5"/>
                      <a:pt x="87" y="3"/>
                    </a:cubicBezTo>
                    <a:cubicBezTo>
                      <a:pt x="84" y="0"/>
                      <a:pt x="81" y="5"/>
                      <a:pt x="78" y="5"/>
                    </a:cubicBezTo>
                    <a:cubicBezTo>
                      <a:pt x="72" y="5"/>
                      <a:pt x="69" y="11"/>
                      <a:pt x="63" y="11"/>
                    </a:cubicBezTo>
                    <a:cubicBezTo>
                      <a:pt x="60" y="14"/>
                      <a:pt x="57" y="11"/>
                      <a:pt x="57" y="8"/>
                    </a:cubicBezTo>
                    <a:cubicBezTo>
                      <a:pt x="60" y="5"/>
                      <a:pt x="57" y="5"/>
                      <a:pt x="54" y="5"/>
                    </a:cubicBezTo>
                    <a:cubicBezTo>
                      <a:pt x="51" y="8"/>
                      <a:pt x="45" y="5"/>
                      <a:pt x="45" y="3"/>
                    </a:cubicBezTo>
                    <a:cubicBezTo>
                      <a:pt x="45" y="0"/>
                      <a:pt x="45" y="0"/>
                      <a:pt x="45" y="0"/>
                    </a:cubicBezTo>
                    <a:cubicBezTo>
                      <a:pt x="42" y="0"/>
                      <a:pt x="42" y="0"/>
                      <a:pt x="42" y="0"/>
                    </a:cubicBezTo>
                    <a:cubicBezTo>
                      <a:pt x="39" y="0"/>
                      <a:pt x="36" y="0"/>
                      <a:pt x="30" y="0"/>
                    </a:cubicBezTo>
                    <a:cubicBezTo>
                      <a:pt x="33" y="0"/>
                      <a:pt x="33" y="3"/>
                      <a:pt x="33" y="5"/>
                    </a:cubicBezTo>
                    <a:cubicBezTo>
                      <a:pt x="30" y="8"/>
                      <a:pt x="33" y="8"/>
                      <a:pt x="36" y="14"/>
                    </a:cubicBezTo>
                    <a:cubicBezTo>
                      <a:pt x="39" y="17"/>
                      <a:pt x="30" y="14"/>
                      <a:pt x="30" y="17"/>
                    </a:cubicBezTo>
                    <a:cubicBezTo>
                      <a:pt x="30" y="20"/>
                      <a:pt x="24" y="17"/>
                      <a:pt x="24" y="17"/>
                    </a:cubicBezTo>
                    <a:cubicBezTo>
                      <a:pt x="21" y="17"/>
                      <a:pt x="15" y="17"/>
                      <a:pt x="15" y="17"/>
                    </a:cubicBezTo>
                    <a:cubicBezTo>
                      <a:pt x="15" y="20"/>
                      <a:pt x="15" y="20"/>
                      <a:pt x="15" y="20"/>
                    </a:cubicBezTo>
                    <a:cubicBezTo>
                      <a:pt x="15" y="23"/>
                      <a:pt x="15" y="26"/>
                      <a:pt x="15" y="29"/>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8" name="Freeform 812"/>
              <p:cNvSpPr>
                <a:spLocks/>
              </p:cNvSpPr>
              <p:nvPr userDrawn="1"/>
            </p:nvSpPr>
            <p:spPr bwMode="auto">
              <a:xfrm>
                <a:off x="3843" y="-2653"/>
                <a:ext cx="187" cy="294"/>
              </a:xfrm>
              <a:custGeom>
                <a:avLst/>
                <a:gdLst>
                  <a:gd name="T0" fmla="*/ 102 w 120"/>
                  <a:gd name="T1" fmla="*/ 156 h 189"/>
                  <a:gd name="T2" fmla="*/ 117 w 120"/>
                  <a:gd name="T3" fmla="*/ 141 h 189"/>
                  <a:gd name="T4" fmla="*/ 114 w 120"/>
                  <a:gd name="T5" fmla="*/ 132 h 189"/>
                  <a:gd name="T6" fmla="*/ 102 w 120"/>
                  <a:gd name="T7" fmla="*/ 120 h 189"/>
                  <a:gd name="T8" fmla="*/ 108 w 120"/>
                  <a:gd name="T9" fmla="*/ 114 h 189"/>
                  <a:gd name="T10" fmla="*/ 102 w 120"/>
                  <a:gd name="T11" fmla="*/ 108 h 189"/>
                  <a:gd name="T12" fmla="*/ 102 w 120"/>
                  <a:gd name="T13" fmla="*/ 102 h 189"/>
                  <a:gd name="T14" fmla="*/ 99 w 120"/>
                  <a:gd name="T15" fmla="*/ 99 h 189"/>
                  <a:gd name="T16" fmla="*/ 99 w 120"/>
                  <a:gd name="T17" fmla="*/ 96 h 189"/>
                  <a:gd name="T18" fmla="*/ 99 w 120"/>
                  <a:gd name="T19" fmla="*/ 87 h 189"/>
                  <a:gd name="T20" fmla="*/ 102 w 120"/>
                  <a:gd name="T21" fmla="*/ 81 h 189"/>
                  <a:gd name="T22" fmla="*/ 93 w 120"/>
                  <a:gd name="T23" fmla="*/ 63 h 189"/>
                  <a:gd name="T24" fmla="*/ 96 w 120"/>
                  <a:gd name="T25" fmla="*/ 57 h 189"/>
                  <a:gd name="T26" fmla="*/ 102 w 120"/>
                  <a:gd name="T27" fmla="*/ 48 h 189"/>
                  <a:gd name="T28" fmla="*/ 93 w 120"/>
                  <a:gd name="T29" fmla="*/ 42 h 189"/>
                  <a:gd name="T30" fmla="*/ 87 w 120"/>
                  <a:gd name="T31" fmla="*/ 36 h 189"/>
                  <a:gd name="T32" fmla="*/ 84 w 120"/>
                  <a:gd name="T33" fmla="*/ 30 h 189"/>
                  <a:gd name="T34" fmla="*/ 87 w 120"/>
                  <a:gd name="T35" fmla="*/ 24 h 189"/>
                  <a:gd name="T36" fmla="*/ 90 w 120"/>
                  <a:gd name="T37" fmla="*/ 21 h 189"/>
                  <a:gd name="T38" fmla="*/ 93 w 120"/>
                  <a:gd name="T39" fmla="*/ 18 h 189"/>
                  <a:gd name="T40" fmla="*/ 93 w 120"/>
                  <a:gd name="T41" fmla="*/ 9 h 189"/>
                  <a:gd name="T42" fmla="*/ 81 w 120"/>
                  <a:gd name="T43" fmla="*/ 3 h 189"/>
                  <a:gd name="T44" fmla="*/ 72 w 120"/>
                  <a:gd name="T45" fmla="*/ 3 h 189"/>
                  <a:gd name="T46" fmla="*/ 63 w 120"/>
                  <a:gd name="T47" fmla="*/ 6 h 189"/>
                  <a:gd name="T48" fmla="*/ 54 w 120"/>
                  <a:gd name="T49" fmla="*/ 12 h 189"/>
                  <a:gd name="T50" fmla="*/ 54 w 120"/>
                  <a:gd name="T51" fmla="*/ 21 h 189"/>
                  <a:gd name="T52" fmla="*/ 48 w 120"/>
                  <a:gd name="T53" fmla="*/ 30 h 189"/>
                  <a:gd name="T54" fmla="*/ 42 w 120"/>
                  <a:gd name="T55" fmla="*/ 27 h 189"/>
                  <a:gd name="T56" fmla="*/ 33 w 120"/>
                  <a:gd name="T57" fmla="*/ 27 h 189"/>
                  <a:gd name="T58" fmla="*/ 21 w 120"/>
                  <a:gd name="T59" fmla="*/ 27 h 189"/>
                  <a:gd name="T60" fmla="*/ 9 w 120"/>
                  <a:gd name="T61" fmla="*/ 18 h 189"/>
                  <a:gd name="T62" fmla="*/ 0 w 120"/>
                  <a:gd name="T63" fmla="*/ 21 h 189"/>
                  <a:gd name="T64" fmla="*/ 12 w 120"/>
                  <a:gd name="T65" fmla="*/ 30 h 189"/>
                  <a:gd name="T66" fmla="*/ 30 w 120"/>
                  <a:gd name="T67" fmla="*/ 42 h 189"/>
                  <a:gd name="T68" fmla="*/ 30 w 120"/>
                  <a:gd name="T69" fmla="*/ 51 h 189"/>
                  <a:gd name="T70" fmla="*/ 33 w 120"/>
                  <a:gd name="T71" fmla="*/ 63 h 189"/>
                  <a:gd name="T72" fmla="*/ 33 w 120"/>
                  <a:gd name="T73" fmla="*/ 72 h 189"/>
                  <a:gd name="T74" fmla="*/ 33 w 120"/>
                  <a:gd name="T75" fmla="*/ 78 h 189"/>
                  <a:gd name="T76" fmla="*/ 36 w 120"/>
                  <a:gd name="T77" fmla="*/ 84 h 189"/>
                  <a:gd name="T78" fmla="*/ 45 w 120"/>
                  <a:gd name="T79" fmla="*/ 87 h 189"/>
                  <a:gd name="T80" fmla="*/ 48 w 120"/>
                  <a:gd name="T81" fmla="*/ 96 h 189"/>
                  <a:gd name="T82" fmla="*/ 48 w 120"/>
                  <a:gd name="T83" fmla="*/ 99 h 189"/>
                  <a:gd name="T84" fmla="*/ 39 w 120"/>
                  <a:gd name="T85" fmla="*/ 105 h 189"/>
                  <a:gd name="T86" fmla="*/ 30 w 120"/>
                  <a:gd name="T87" fmla="*/ 117 h 189"/>
                  <a:gd name="T88" fmla="*/ 21 w 120"/>
                  <a:gd name="T89" fmla="*/ 120 h 189"/>
                  <a:gd name="T90" fmla="*/ 15 w 120"/>
                  <a:gd name="T91" fmla="*/ 126 h 189"/>
                  <a:gd name="T92" fmla="*/ 9 w 120"/>
                  <a:gd name="T93" fmla="*/ 132 h 189"/>
                  <a:gd name="T94" fmla="*/ 3 w 120"/>
                  <a:gd name="T95" fmla="*/ 138 h 189"/>
                  <a:gd name="T96" fmla="*/ 3 w 120"/>
                  <a:gd name="T97" fmla="*/ 144 h 189"/>
                  <a:gd name="T98" fmla="*/ 6 w 120"/>
                  <a:gd name="T99" fmla="*/ 153 h 189"/>
                  <a:gd name="T100" fmla="*/ 6 w 120"/>
                  <a:gd name="T101" fmla="*/ 165 h 189"/>
                  <a:gd name="T102" fmla="*/ 3 w 120"/>
                  <a:gd name="T103" fmla="*/ 177 h 189"/>
                  <a:gd name="T104" fmla="*/ 15 w 120"/>
                  <a:gd name="T105" fmla="*/ 180 h 189"/>
                  <a:gd name="T106" fmla="*/ 21 w 120"/>
                  <a:gd name="T107" fmla="*/ 186 h 189"/>
                  <a:gd name="T108" fmla="*/ 33 w 120"/>
                  <a:gd name="T109" fmla="*/ 186 h 189"/>
                  <a:gd name="T110" fmla="*/ 69 w 120"/>
                  <a:gd name="T111" fmla="*/ 180 h 189"/>
                  <a:gd name="T112" fmla="*/ 78 w 120"/>
                  <a:gd name="T113" fmla="*/ 177 h 189"/>
                  <a:gd name="T114" fmla="*/ 84 w 120"/>
                  <a:gd name="T115" fmla="*/ 171 h 189"/>
                  <a:gd name="T116" fmla="*/ 102 w 120"/>
                  <a:gd name="T117" fmla="*/ 15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89">
                    <a:moveTo>
                      <a:pt x="102" y="156"/>
                    </a:moveTo>
                    <a:cubicBezTo>
                      <a:pt x="105" y="150"/>
                      <a:pt x="117" y="147"/>
                      <a:pt x="117" y="141"/>
                    </a:cubicBezTo>
                    <a:cubicBezTo>
                      <a:pt x="120" y="138"/>
                      <a:pt x="120" y="138"/>
                      <a:pt x="114" y="132"/>
                    </a:cubicBezTo>
                    <a:cubicBezTo>
                      <a:pt x="111" y="126"/>
                      <a:pt x="102" y="123"/>
                      <a:pt x="102" y="120"/>
                    </a:cubicBezTo>
                    <a:cubicBezTo>
                      <a:pt x="99" y="120"/>
                      <a:pt x="108" y="117"/>
                      <a:pt x="108" y="114"/>
                    </a:cubicBezTo>
                    <a:cubicBezTo>
                      <a:pt x="108" y="111"/>
                      <a:pt x="102" y="111"/>
                      <a:pt x="102" y="108"/>
                    </a:cubicBezTo>
                    <a:cubicBezTo>
                      <a:pt x="99" y="105"/>
                      <a:pt x="105" y="105"/>
                      <a:pt x="102" y="102"/>
                    </a:cubicBezTo>
                    <a:cubicBezTo>
                      <a:pt x="102" y="102"/>
                      <a:pt x="99" y="102"/>
                      <a:pt x="99" y="99"/>
                    </a:cubicBezTo>
                    <a:cubicBezTo>
                      <a:pt x="96" y="99"/>
                      <a:pt x="102" y="99"/>
                      <a:pt x="99" y="96"/>
                    </a:cubicBezTo>
                    <a:cubicBezTo>
                      <a:pt x="99" y="93"/>
                      <a:pt x="96" y="90"/>
                      <a:pt x="99" y="87"/>
                    </a:cubicBezTo>
                    <a:cubicBezTo>
                      <a:pt x="102" y="84"/>
                      <a:pt x="105" y="87"/>
                      <a:pt x="102" y="81"/>
                    </a:cubicBezTo>
                    <a:cubicBezTo>
                      <a:pt x="99" y="75"/>
                      <a:pt x="93" y="66"/>
                      <a:pt x="93" y="63"/>
                    </a:cubicBezTo>
                    <a:cubicBezTo>
                      <a:pt x="90" y="63"/>
                      <a:pt x="93" y="60"/>
                      <a:pt x="96" y="57"/>
                    </a:cubicBezTo>
                    <a:cubicBezTo>
                      <a:pt x="96" y="57"/>
                      <a:pt x="102" y="51"/>
                      <a:pt x="102" y="48"/>
                    </a:cubicBezTo>
                    <a:cubicBezTo>
                      <a:pt x="102" y="48"/>
                      <a:pt x="96" y="42"/>
                      <a:pt x="93" y="42"/>
                    </a:cubicBezTo>
                    <a:cubicBezTo>
                      <a:pt x="93" y="39"/>
                      <a:pt x="90" y="39"/>
                      <a:pt x="87" y="36"/>
                    </a:cubicBezTo>
                    <a:cubicBezTo>
                      <a:pt x="84" y="33"/>
                      <a:pt x="84" y="33"/>
                      <a:pt x="84" y="30"/>
                    </a:cubicBezTo>
                    <a:cubicBezTo>
                      <a:pt x="87" y="27"/>
                      <a:pt x="87" y="27"/>
                      <a:pt x="87" y="24"/>
                    </a:cubicBezTo>
                    <a:cubicBezTo>
                      <a:pt x="87" y="21"/>
                      <a:pt x="90" y="24"/>
                      <a:pt x="90" y="21"/>
                    </a:cubicBezTo>
                    <a:cubicBezTo>
                      <a:pt x="93" y="18"/>
                      <a:pt x="93" y="18"/>
                      <a:pt x="93" y="18"/>
                    </a:cubicBezTo>
                    <a:cubicBezTo>
                      <a:pt x="93" y="15"/>
                      <a:pt x="93" y="12"/>
                      <a:pt x="93" y="9"/>
                    </a:cubicBezTo>
                    <a:cubicBezTo>
                      <a:pt x="93" y="6"/>
                      <a:pt x="84" y="6"/>
                      <a:pt x="81" y="3"/>
                    </a:cubicBezTo>
                    <a:cubicBezTo>
                      <a:pt x="81" y="0"/>
                      <a:pt x="75" y="0"/>
                      <a:pt x="72" y="3"/>
                    </a:cubicBezTo>
                    <a:cubicBezTo>
                      <a:pt x="72" y="6"/>
                      <a:pt x="63" y="3"/>
                      <a:pt x="63" y="6"/>
                    </a:cubicBezTo>
                    <a:cubicBezTo>
                      <a:pt x="63" y="9"/>
                      <a:pt x="54" y="9"/>
                      <a:pt x="54" y="12"/>
                    </a:cubicBezTo>
                    <a:cubicBezTo>
                      <a:pt x="54" y="15"/>
                      <a:pt x="57" y="24"/>
                      <a:pt x="54" y="21"/>
                    </a:cubicBezTo>
                    <a:cubicBezTo>
                      <a:pt x="48" y="21"/>
                      <a:pt x="51" y="24"/>
                      <a:pt x="48" y="30"/>
                    </a:cubicBezTo>
                    <a:cubicBezTo>
                      <a:pt x="45" y="33"/>
                      <a:pt x="45" y="27"/>
                      <a:pt x="42" y="27"/>
                    </a:cubicBezTo>
                    <a:cubicBezTo>
                      <a:pt x="39" y="27"/>
                      <a:pt x="33" y="24"/>
                      <a:pt x="33" y="27"/>
                    </a:cubicBezTo>
                    <a:cubicBezTo>
                      <a:pt x="30" y="30"/>
                      <a:pt x="27" y="27"/>
                      <a:pt x="21" y="27"/>
                    </a:cubicBezTo>
                    <a:cubicBezTo>
                      <a:pt x="15" y="24"/>
                      <a:pt x="12" y="18"/>
                      <a:pt x="9" y="18"/>
                    </a:cubicBezTo>
                    <a:cubicBezTo>
                      <a:pt x="6" y="18"/>
                      <a:pt x="3" y="18"/>
                      <a:pt x="0" y="21"/>
                    </a:cubicBezTo>
                    <a:cubicBezTo>
                      <a:pt x="6" y="24"/>
                      <a:pt x="9" y="30"/>
                      <a:pt x="12" y="30"/>
                    </a:cubicBezTo>
                    <a:cubicBezTo>
                      <a:pt x="18" y="33"/>
                      <a:pt x="30" y="36"/>
                      <a:pt x="30" y="42"/>
                    </a:cubicBezTo>
                    <a:cubicBezTo>
                      <a:pt x="30" y="45"/>
                      <a:pt x="27" y="51"/>
                      <a:pt x="30" y="51"/>
                    </a:cubicBezTo>
                    <a:cubicBezTo>
                      <a:pt x="33" y="54"/>
                      <a:pt x="30" y="60"/>
                      <a:pt x="33" y="63"/>
                    </a:cubicBezTo>
                    <a:cubicBezTo>
                      <a:pt x="36" y="63"/>
                      <a:pt x="33" y="72"/>
                      <a:pt x="33" y="72"/>
                    </a:cubicBezTo>
                    <a:cubicBezTo>
                      <a:pt x="30" y="72"/>
                      <a:pt x="33" y="75"/>
                      <a:pt x="33" y="78"/>
                    </a:cubicBezTo>
                    <a:cubicBezTo>
                      <a:pt x="36" y="78"/>
                      <a:pt x="36" y="81"/>
                      <a:pt x="36" y="84"/>
                    </a:cubicBezTo>
                    <a:cubicBezTo>
                      <a:pt x="39" y="84"/>
                      <a:pt x="42" y="84"/>
                      <a:pt x="45" y="87"/>
                    </a:cubicBezTo>
                    <a:cubicBezTo>
                      <a:pt x="48" y="90"/>
                      <a:pt x="48" y="93"/>
                      <a:pt x="48" y="96"/>
                    </a:cubicBezTo>
                    <a:cubicBezTo>
                      <a:pt x="48" y="99"/>
                      <a:pt x="48" y="102"/>
                      <a:pt x="48" y="99"/>
                    </a:cubicBezTo>
                    <a:cubicBezTo>
                      <a:pt x="45" y="99"/>
                      <a:pt x="42" y="99"/>
                      <a:pt x="39" y="105"/>
                    </a:cubicBezTo>
                    <a:cubicBezTo>
                      <a:pt x="39" y="108"/>
                      <a:pt x="33" y="114"/>
                      <a:pt x="30" y="117"/>
                    </a:cubicBezTo>
                    <a:cubicBezTo>
                      <a:pt x="24" y="117"/>
                      <a:pt x="24" y="120"/>
                      <a:pt x="21" y="120"/>
                    </a:cubicBezTo>
                    <a:cubicBezTo>
                      <a:pt x="18" y="123"/>
                      <a:pt x="15" y="123"/>
                      <a:pt x="15" y="126"/>
                    </a:cubicBezTo>
                    <a:cubicBezTo>
                      <a:pt x="15" y="132"/>
                      <a:pt x="12" y="132"/>
                      <a:pt x="9" y="132"/>
                    </a:cubicBezTo>
                    <a:cubicBezTo>
                      <a:pt x="6" y="132"/>
                      <a:pt x="6" y="138"/>
                      <a:pt x="3" y="138"/>
                    </a:cubicBezTo>
                    <a:cubicBezTo>
                      <a:pt x="0" y="141"/>
                      <a:pt x="0" y="141"/>
                      <a:pt x="3" y="144"/>
                    </a:cubicBezTo>
                    <a:cubicBezTo>
                      <a:pt x="6" y="147"/>
                      <a:pt x="3" y="150"/>
                      <a:pt x="6" y="153"/>
                    </a:cubicBezTo>
                    <a:cubicBezTo>
                      <a:pt x="6" y="156"/>
                      <a:pt x="9" y="159"/>
                      <a:pt x="6" y="165"/>
                    </a:cubicBezTo>
                    <a:cubicBezTo>
                      <a:pt x="3" y="171"/>
                      <a:pt x="3" y="177"/>
                      <a:pt x="3" y="177"/>
                    </a:cubicBezTo>
                    <a:cubicBezTo>
                      <a:pt x="6" y="177"/>
                      <a:pt x="12" y="180"/>
                      <a:pt x="15" y="180"/>
                    </a:cubicBezTo>
                    <a:cubicBezTo>
                      <a:pt x="18" y="180"/>
                      <a:pt x="18" y="186"/>
                      <a:pt x="21" y="186"/>
                    </a:cubicBezTo>
                    <a:cubicBezTo>
                      <a:pt x="24" y="183"/>
                      <a:pt x="24" y="189"/>
                      <a:pt x="33" y="186"/>
                    </a:cubicBezTo>
                    <a:cubicBezTo>
                      <a:pt x="42" y="186"/>
                      <a:pt x="60" y="180"/>
                      <a:pt x="69" y="180"/>
                    </a:cubicBezTo>
                    <a:cubicBezTo>
                      <a:pt x="72" y="180"/>
                      <a:pt x="75" y="180"/>
                      <a:pt x="78" y="177"/>
                    </a:cubicBezTo>
                    <a:cubicBezTo>
                      <a:pt x="81" y="177"/>
                      <a:pt x="81" y="174"/>
                      <a:pt x="84" y="171"/>
                    </a:cubicBezTo>
                    <a:cubicBezTo>
                      <a:pt x="90" y="168"/>
                      <a:pt x="99" y="162"/>
                      <a:pt x="102" y="1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39" name="Freeform 813"/>
              <p:cNvSpPr>
                <a:spLocks/>
              </p:cNvSpPr>
              <p:nvPr userDrawn="1"/>
            </p:nvSpPr>
            <p:spPr bwMode="auto">
              <a:xfrm>
                <a:off x="3843" y="-2653"/>
                <a:ext cx="187" cy="294"/>
              </a:xfrm>
              <a:custGeom>
                <a:avLst/>
                <a:gdLst>
                  <a:gd name="T0" fmla="*/ 102 w 120"/>
                  <a:gd name="T1" fmla="*/ 156 h 189"/>
                  <a:gd name="T2" fmla="*/ 117 w 120"/>
                  <a:gd name="T3" fmla="*/ 141 h 189"/>
                  <a:gd name="T4" fmla="*/ 114 w 120"/>
                  <a:gd name="T5" fmla="*/ 132 h 189"/>
                  <a:gd name="T6" fmla="*/ 102 w 120"/>
                  <a:gd name="T7" fmla="*/ 120 h 189"/>
                  <a:gd name="T8" fmla="*/ 108 w 120"/>
                  <a:gd name="T9" fmla="*/ 114 h 189"/>
                  <a:gd name="T10" fmla="*/ 102 w 120"/>
                  <a:gd name="T11" fmla="*/ 108 h 189"/>
                  <a:gd name="T12" fmla="*/ 102 w 120"/>
                  <a:gd name="T13" fmla="*/ 102 h 189"/>
                  <a:gd name="T14" fmla="*/ 99 w 120"/>
                  <a:gd name="T15" fmla="*/ 99 h 189"/>
                  <a:gd name="T16" fmla="*/ 99 w 120"/>
                  <a:gd name="T17" fmla="*/ 96 h 189"/>
                  <a:gd name="T18" fmla="*/ 99 w 120"/>
                  <a:gd name="T19" fmla="*/ 87 h 189"/>
                  <a:gd name="T20" fmla="*/ 102 w 120"/>
                  <a:gd name="T21" fmla="*/ 81 h 189"/>
                  <a:gd name="T22" fmla="*/ 93 w 120"/>
                  <a:gd name="T23" fmla="*/ 63 h 189"/>
                  <a:gd name="T24" fmla="*/ 96 w 120"/>
                  <a:gd name="T25" fmla="*/ 57 h 189"/>
                  <a:gd name="T26" fmla="*/ 102 w 120"/>
                  <a:gd name="T27" fmla="*/ 48 h 189"/>
                  <a:gd name="T28" fmla="*/ 93 w 120"/>
                  <a:gd name="T29" fmla="*/ 42 h 189"/>
                  <a:gd name="T30" fmla="*/ 87 w 120"/>
                  <a:gd name="T31" fmla="*/ 36 h 189"/>
                  <a:gd name="T32" fmla="*/ 84 w 120"/>
                  <a:gd name="T33" fmla="*/ 30 h 189"/>
                  <a:gd name="T34" fmla="*/ 87 w 120"/>
                  <a:gd name="T35" fmla="*/ 24 h 189"/>
                  <a:gd name="T36" fmla="*/ 90 w 120"/>
                  <a:gd name="T37" fmla="*/ 21 h 189"/>
                  <a:gd name="T38" fmla="*/ 93 w 120"/>
                  <a:gd name="T39" fmla="*/ 18 h 189"/>
                  <a:gd name="T40" fmla="*/ 93 w 120"/>
                  <a:gd name="T41" fmla="*/ 9 h 189"/>
                  <a:gd name="T42" fmla="*/ 81 w 120"/>
                  <a:gd name="T43" fmla="*/ 3 h 189"/>
                  <a:gd name="T44" fmla="*/ 72 w 120"/>
                  <a:gd name="T45" fmla="*/ 3 h 189"/>
                  <a:gd name="T46" fmla="*/ 63 w 120"/>
                  <a:gd name="T47" fmla="*/ 6 h 189"/>
                  <a:gd name="T48" fmla="*/ 54 w 120"/>
                  <a:gd name="T49" fmla="*/ 12 h 189"/>
                  <a:gd name="T50" fmla="*/ 54 w 120"/>
                  <a:gd name="T51" fmla="*/ 21 h 189"/>
                  <a:gd name="T52" fmla="*/ 48 w 120"/>
                  <a:gd name="T53" fmla="*/ 30 h 189"/>
                  <a:gd name="T54" fmla="*/ 42 w 120"/>
                  <a:gd name="T55" fmla="*/ 27 h 189"/>
                  <a:gd name="T56" fmla="*/ 33 w 120"/>
                  <a:gd name="T57" fmla="*/ 27 h 189"/>
                  <a:gd name="T58" fmla="*/ 21 w 120"/>
                  <a:gd name="T59" fmla="*/ 27 h 189"/>
                  <a:gd name="T60" fmla="*/ 9 w 120"/>
                  <a:gd name="T61" fmla="*/ 18 h 189"/>
                  <a:gd name="T62" fmla="*/ 0 w 120"/>
                  <a:gd name="T63" fmla="*/ 21 h 189"/>
                  <a:gd name="T64" fmla="*/ 12 w 120"/>
                  <a:gd name="T65" fmla="*/ 30 h 189"/>
                  <a:gd name="T66" fmla="*/ 30 w 120"/>
                  <a:gd name="T67" fmla="*/ 42 h 189"/>
                  <a:gd name="T68" fmla="*/ 30 w 120"/>
                  <a:gd name="T69" fmla="*/ 51 h 189"/>
                  <a:gd name="T70" fmla="*/ 33 w 120"/>
                  <a:gd name="T71" fmla="*/ 63 h 189"/>
                  <a:gd name="T72" fmla="*/ 33 w 120"/>
                  <a:gd name="T73" fmla="*/ 72 h 189"/>
                  <a:gd name="T74" fmla="*/ 33 w 120"/>
                  <a:gd name="T75" fmla="*/ 78 h 189"/>
                  <a:gd name="T76" fmla="*/ 36 w 120"/>
                  <a:gd name="T77" fmla="*/ 84 h 189"/>
                  <a:gd name="T78" fmla="*/ 45 w 120"/>
                  <a:gd name="T79" fmla="*/ 87 h 189"/>
                  <a:gd name="T80" fmla="*/ 48 w 120"/>
                  <a:gd name="T81" fmla="*/ 96 h 189"/>
                  <a:gd name="T82" fmla="*/ 48 w 120"/>
                  <a:gd name="T83" fmla="*/ 99 h 189"/>
                  <a:gd name="T84" fmla="*/ 39 w 120"/>
                  <a:gd name="T85" fmla="*/ 105 h 189"/>
                  <a:gd name="T86" fmla="*/ 30 w 120"/>
                  <a:gd name="T87" fmla="*/ 117 h 189"/>
                  <a:gd name="T88" fmla="*/ 21 w 120"/>
                  <a:gd name="T89" fmla="*/ 120 h 189"/>
                  <a:gd name="T90" fmla="*/ 15 w 120"/>
                  <a:gd name="T91" fmla="*/ 126 h 189"/>
                  <a:gd name="T92" fmla="*/ 9 w 120"/>
                  <a:gd name="T93" fmla="*/ 132 h 189"/>
                  <a:gd name="T94" fmla="*/ 3 w 120"/>
                  <a:gd name="T95" fmla="*/ 138 h 189"/>
                  <a:gd name="T96" fmla="*/ 3 w 120"/>
                  <a:gd name="T97" fmla="*/ 144 h 189"/>
                  <a:gd name="T98" fmla="*/ 6 w 120"/>
                  <a:gd name="T99" fmla="*/ 153 h 189"/>
                  <a:gd name="T100" fmla="*/ 6 w 120"/>
                  <a:gd name="T101" fmla="*/ 165 h 189"/>
                  <a:gd name="T102" fmla="*/ 3 w 120"/>
                  <a:gd name="T103" fmla="*/ 177 h 189"/>
                  <a:gd name="T104" fmla="*/ 15 w 120"/>
                  <a:gd name="T105" fmla="*/ 180 h 189"/>
                  <a:gd name="T106" fmla="*/ 21 w 120"/>
                  <a:gd name="T107" fmla="*/ 186 h 189"/>
                  <a:gd name="T108" fmla="*/ 33 w 120"/>
                  <a:gd name="T109" fmla="*/ 186 h 189"/>
                  <a:gd name="T110" fmla="*/ 69 w 120"/>
                  <a:gd name="T111" fmla="*/ 180 h 189"/>
                  <a:gd name="T112" fmla="*/ 78 w 120"/>
                  <a:gd name="T113" fmla="*/ 177 h 189"/>
                  <a:gd name="T114" fmla="*/ 84 w 120"/>
                  <a:gd name="T115" fmla="*/ 171 h 189"/>
                  <a:gd name="T116" fmla="*/ 102 w 120"/>
                  <a:gd name="T117" fmla="*/ 15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89">
                    <a:moveTo>
                      <a:pt x="102" y="156"/>
                    </a:moveTo>
                    <a:cubicBezTo>
                      <a:pt x="105" y="150"/>
                      <a:pt x="117" y="147"/>
                      <a:pt x="117" y="141"/>
                    </a:cubicBezTo>
                    <a:cubicBezTo>
                      <a:pt x="120" y="138"/>
                      <a:pt x="120" y="138"/>
                      <a:pt x="114" y="132"/>
                    </a:cubicBezTo>
                    <a:cubicBezTo>
                      <a:pt x="111" y="126"/>
                      <a:pt x="102" y="123"/>
                      <a:pt x="102" y="120"/>
                    </a:cubicBezTo>
                    <a:cubicBezTo>
                      <a:pt x="99" y="120"/>
                      <a:pt x="108" y="117"/>
                      <a:pt x="108" y="114"/>
                    </a:cubicBezTo>
                    <a:cubicBezTo>
                      <a:pt x="108" y="111"/>
                      <a:pt x="102" y="111"/>
                      <a:pt x="102" y="108"/>
                    </a:cubicBezTo>
                    <a:cubicBezTo>
                      <a:pt x="99" y="105"/>
                      <a:pt x="105" y="105"/>
                      <a:pt x="102" y="102"/>
                    </a:cubicBezTo>
                    <a:cubicBezTo>
                      <a:pt x="102" y="102"/>
                      <a:pt x="99" y="102"/>
                      <a:pt x="99" y="99"/>
                    </a:cubicBezTo>
                    <a:cubicBezTo>
                      <a:pt x="96" y="99"/>
                      <a:pt x="102" y="99"/>
                      <a:pt x="99" y="96"/>
                    </a:cubicBezTo>
                    <a:cubicBezTo>
                      <a:pt x="99" y="93"/>
                      <a:pt x="96" y="90"/>
                      <a:pt x="99" y="87"/>
                    </a:cubicBezTo>
                    <a:cubicBezTo>
                      <a:pt x="102" y="84"/>
                      <a:pt x="105" y="87"/>
                      <a:pt x="102" y="81"/>
                    </a:cubicBezTo>
                    <a:cubicBezTo>
                      <a:pt x="99" y="75"/>
                      <a:pt x="93" y="66"/>
                      <a:pt x="93" y="63"/>
                    </a:cubicBezTo>
                    <a:cubicBezTo>
                      <a:pt x="90" y="63"/>
                      <a:pt x="93" y="60"/>
                      <a:pt x="96" y="57"/>
                    </a:cubicBezTo>
                    <a:cubicBezTo>
                      <a:pt x="96" y="57"/>
                      <a:pt x="102" y="51"/>
                      <a:pt x="102" y="48"/>
                    </a:cubicBezTo>
                    <a:cubicBezTo>
                      <a:pt x="102" y="48"/>
                      <a:pt x="96" y="42"/>
                      <a:pt x="93" y="42"/>
                    </a:cubicBezTo>
                    <a:cubicBezTo>
                      <a:pt x="93" y="39"/>
                      <a:pt x="90" y="39"/>
                      <a:pt x="87" y="36"/>
                    </a:cubicBezTo>
                    <a:cubicBezTo>
                      <a:pt x="84" y="33"/>
                      <a:pt x="84" y="33"/>
                      <a:pt x="84" y="30"/>
                    </a:cubicBezTo>
                    <a:cubicBezTo>
                      <a:pt x="87" y="27"/>
                      <a:pt x="87" y="27"/>
                      <a:pt x="87" y="24"/>
                    </a:cubicBezTo>
                    <a:cubicBezTo>
                      <a:pt x="87" y="21"/>
                      <a:pt x="90" y="24"/>
                      <a:pt x="90" y="21"/>
                    </a:cubicBezTo>
                    <a:cubicBezTo>
                      <a:pt x="93" y="18"/>
                      <a:pt x="93" y="18"/>
                      <a:pt x="93" y="18"/>
                    </a:cubicBezTo>
                    <a:cubicBezTo>
                      <a:pt x="93" y="15"/>
                      <a:pt x="93" y="12"/>
                      <a:pt x="93" y="9"/>
                    </a:cubicBezTo>
                    <a:cubicBezTo>
                      <a:pt x="93" y="6"/>
                      <a:pt x="84" y="6"/>
                      <a:pt x="81" y="3"/>
                    </a:cubicBezTo>
                    <a:cubicBezTo>
                      <a:pt x="81" y="0"/>
                      <a:pt x="75" y="0"/>
                      <a:pt x="72" y="3"/>
                    </a:cubicBezTo>
                    <a:cubicBezTo>
                      <a:pt x="72" y="6"/>
                      <a:pt x="63" y="3"/>
                      <a:pt x="63" y="6"/>
                    </a:cubicBezTo>
                    <a:cubicBezTo>
                      <a:pt x="63" y="9"/>
                      <a:pt x="54" y="9"/>
                      <a:pt x="54" y="12"/>
                    </a:cubicBezTo>
                    <a:cubicBezTo>
                      <a:pt x="54" y="15"/>
                      <a:pt x="57" y="24"/>
                      <a:pt x="54" y="21"/>
                    </a:cubicBezTo>
                    <a:cubicBezTo>
                      <a:pt x="48" y="21"/>
                      <a:pt x="51" y="24"/>
                      <a:pt x="48" y="30"/>
                    </a:cubicBezTo>
                    <a:cubicBezTo>
                      <a:pt x="45" y="33"/>
                      <a:pt x="45" y="27"/>
                      <a:pt x="42" y="27"/>
                    </a:cubicBezTo>
                    <a:cubicBezTo>
                      <a:pt x="39" y="27"/>
                      <a:pt x="33" y="24"/>
                      <a:pt x="33" y="27"/>
                    </a:cubicBezTo>
                    <a:cubicBezTo>
                      <a:pt x="30" y="30"/>
                      <a:pt x="27" y="27"/>
                      <a:pt x="21" y="27"/>
                    </a:cubicBezTo>
                    <a:cubicBezTo>
                      <a:pt x="15" y="24"/>
                      <a:pt x="12" y="18"/>
                      <a:pt x="9" y="18"/>
                    </a:cubicBezTo>
                    <a:cubicBezTo>
                      <a:pt x="6" y="18"/>
                      <a:pt x="3" y="18"/>
                      <a:pt x="0" y="21"/>
                    </a:cubicBezTo>
                    <a:cubicBezTo>
                      <a:pt x="6" y="24"/>
                      <a:pt x="9" y="30"/>
                      <a:pt x="12" y="30"/>
                    </a:cubicBezTo>
                    <a:cubicBezTo>
                      <a:pt x="18" y="33"/>
                      <a:pt x="30" y="36"/>
                      <a:pt x="30" y="42"/>
                    </a:cubicBezTo>
                    <a:cubicBezTo>
                      <a:pt x="30" y="45"/>
                      <a:pt x="27" y="51"/>
                      <a:pt x="30" y="51"/>
                    </a:cubicBezTo>
                    <a:cubicBezTo>
                      <a:pt x="33" y="54"/>
                      <a:pt x="30" y="60"/>
                      <a:pt x="33" y="63"/>
                    </a:cubicBezTo>
                    <a:cubicBezTo>
                      <a:pt x="36" y="63"/>
                      <a:pt x="33" y="72"/>
                      <a:pt x="33" y="72"/>
                    </a:cubicBezTo>
                    <a:cubicBezTo>
                      <a:pt x="30" y="72"/>
                      <a:pt x="33" y="75"/>
                      <a:pt x="33" y="78"/>
                    </a:cubicBezTo>
                    <a:cubicBezTo>
                      <a:pt x="36" y="78"/>
                      <a:pt x="36" y="81"/>
                      <a:pt x="36" y="84"/>
                    </a:cubicBezTo>
                    <a:cubicBezTo>
                      <a:pt x="39" y="84"/>
                      <a:pt x="42" y="84"/>
                      <a:pt x="45" y="87"/>
                    </a:cubicBezTo>
                    <a:cubicBezTo>
                      <a:pt x="48" y="90"/>
                      <a:pt x="48" y="93"/>
                      <a:pt x="48" y="96"/>
                    </a:cubicBezTo>
                    <a:cubicBezTo>
                      <a:pt x="48" y="99"/>
                      <a:pt x="48" y="102"/>
                      <a:pt x="48" y="99"/>
                    </a:cubicBezTo>
                    <a:cubicBezTo>
                      <a:pt x="45" y="99"/>
                      <a:pt x="42" y="99"/>
                      <a:pt x="39" y="105"/>
                    </a:cubicBezTo>
                    <a:cubicBezTo>
                      <a:pt x="39" y="108"/>
                      <a:pt x="33" y="114"/>
                      <a:pt x="30" y="117"/>
                    </a:cubicBezTo>
                    <a:cubicBezTo>
                      <a:pt x="24" y="117"/>
                      <a:pt x="24" y="120"/>
                      <a:pt x="21" y="120"/>
                    </a:cubicBezTo>
                    <a:cubicBezTo>
                      <a:pt x="18" y="123"/>
                      <a:pt x="15" y="123"/>
                      <a:pt x="15" y="126"/>
                    </a:cubicBezTo>
                    <a:cubicBezTo>
                      <a:pt x="15" y="132"/>
                      <a:pt x="12" y="132"/>
                      <a:pt x="9" y="132"/>
                    </a:cubicBezTo>
                    <a:cubicBezTo>
                      <a:pt x="6" y="132"/>
                      <a:pt x="6" y="138"/>
                      <a:pt x="3" y="138"/>
                    </a:cubicBezTo>
                    <a:cubicBezTo>
                      <a:pt x="0" y="141"/>
                      <a:pt x="0" y="141"/>
                      <a:pt x="3" y="144"/>
                    </a:cubicBezTo>
                    <a:cubicBezTo>
                      <a:pt x="6" y="147"/>
                      <a:pt x="3" y="150"/>
                      <a:pt x="6" y="153"/>
                    </a:cubicBezTo>
                    <a:cubicBezTo>
                      <a:pt x="6" y="156"/>
                      <a:pt x="9" y="159"/>
                      <a:pt x="6" y="165"/>
                    </a:cubicBezTo>
                    <a:cubicBezTo>
                      <a:pt x="3" y="171"/>
                      <a:pt x="3" y="177"/>
                      <a:pt x="3" y="177"/>
                    </a:cubicBezTo>
                    <a:cubicBezTo>
                      <a:pt x="6" y="177"/>
                      <a:pt x="12" y="180"/>
                      <a:pt x="15" y="180"/>
                    </a:cubicBezTo>
                    <a:cubicBezTo>
                      <a:pt x="18" y="180"/>
                      <a:pt x="18" y="186"/>
                      <a:pt x="21" y="186"/>
                    </a:cubicBezTo>
                    <a:cubicBezTo>
                      <a:pt x="24" y="183"/>
                      <a:pt x="24" y="189"/>
                      <a:pt x="33" y="186"/>
                    </a:cubicBezTo>
                    <a:cubicBezTo>
                      <a:pt x="42" y="186"/>
                      <a:pt x="60" y="180"/>
                      <a:pt x="69" y="180"/>
                    </a:cubicBezTo>
                    <a:cubicBezTo>
                      <a:pt x="72" y="180"/>
                      <a:pt x="75" y="180"/>
                      <a:pt x="78" y="177"/>
                    </a:cubicBezTo>
                    <a:cubicBezTo>
                      <a:pt x="81" y="177"/>
                      <a:pt x="81" y="174"/>
                      <a:pt x="84" y="171"/>
                    </a:cubicBezTo>
                    <a:cubicBezTo>
                      <a:pt x="90" y="168"/>
                      <a:pt x="99" y="162"/>
                      <a:pt x="102" y="1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0" name="Freeform 814"/>
              <p:cNvSpPr>
                <a:spLocks/>
              </p:cNvSpPr>
              <p:nvPr userDrawn="1"/>
            </p:nvSpPr>
            <p:spPr bwMode="auto">
              <a:xfrm>
                <a:off x="4083" y="-1730"/>
                <a:ext cx="369" cy="293"/>
              </a:xfrm>
              <a:custGeom>
                <a:avLst/>
                <a:gdLst>
                  <a:gd name="T0" fmla="*/ 141 w 237"/>
                  <a:gd name="T1" fmla="*/ 39 h 188"/>
                  <a:gd name="T2" fmla="*/ 120 w 237"/>
                  <a:gd name="T3" fmla="*/ 36 h 188"/>
                  <a:gd name="T4" fmla="*/ 108 w 237"/>
                  <a:gd name="T5" fmla="*/ 33 h 188"/>
                  <a:gd name="T6" fmla="*/ 81 w 237"/>
                  <a:gd name="T7" fmla="*/ 12 h 188"/>
                  <a:gd name="T8" fmla="*/ 57 w 237"/>
                  <a:gd name="T9" fmla="*/ 0 h 188"/>
                  <a:gd name="T10" fmla="*/ 48 w 237"/>
                  <a:gd name="T11" fmla="*/ 0 h 188"/>
                  <a:gd name="T12" fmla="*/ 39 w 237"/>
                  <a:gd name="T13" fmla="*/ 3 h 188"/>
                  <a:gd name="T14" fmla="*/ 27 w 237"/>
                  <a:gd name="T15" fmla="*/ 9 h 188"/>
                  <a:gd name="T16" fmla="*/ 36 w 237"/>
                  <a:gd name="T17" fmla="*/ 21 h 188"/>
                  <a:gd name="T18" fmla="*/ 27 w 237"/>
                  <a:gd name="T19" fmla="*/ 24 h 188"/>
                  <a:gd name="T20" fmla="*/ 21 w 237"/>
                  <a:gd name="T21" fmla="*/ 27 h 188"/>
                  <a:gd name="T22" fmla="*/ 12 w 237"/>
                  <a:gd name="T23" fmla="*/ 36 h 188"/>
                  <a:gd name="T24" fmla="*/ 0 w 237"/>
                  <a:gd name="T25" fmla="*/ 30 h 188"/>
                  <a:gd name="T26" fmla="*/ 0 w 237"/>
                  <a:gd name="T27" fmla="*/ 33 h 188"/>
                  <a:gd name="T28" fmla="*/ 0 w 237"/>
                  <a:gd name="T29" fmla="*/ 36 h 188"/>
                  <a:gd name="T30" fmla="*/ 0 w 237"/>
                  <a:gd name="T31" fmla="*/ 48 h 188"/>
                  <a:gd name="T32" fmla="*/ 9 w 237"/>
                  <a:gd name="T33" fmla="*/ 59 h 188"/>
                  <a:gd name="T34" fmla="*/ 27 w 237"/>
                  <a:gd name="T35" fmla="*/ 86 h 188"/>
                  <a:gd name="T36" fmla="*/ 36 w 237"/>
                  <a:gd name="T37" fmla="*/ 98 h 188"/>
                  <a:gd name="T38" fmla="*/ 45 w 237"/>
                  <a:gd name="T39" fmla="*/ 110 h 188"/>
                  <a:gd name="T40" fmla="*/ 48 w 237"/>
                  <a:gd name="T41" fmla="*/ 122 h 188"/>
                  <a:gd name="T42" fmla="*/ 57 w 237"/>
                  <a:gd name="T43" fmla="*/ 140 h 188"/>
                  <a:gd name="T44" fmla="*/ 72 w 237"/>
                  <a:gd name="T45" fmla="*/ 155 h 188"/>
                  <a:gd name="T46" fmla="*/ 81 w 237"/>
                  <a:gd name="T47" fmla="*/ 173 h 188"/>
                  <a:gd name="T48" fmla="*/ 84 w 237"/>
                  <a:gd name="T49" fmla="*/ 182 h 188"/>
                  <a:gd name="T50" fmla="*/ 87 w 237"/>
                  <a:gd name="T51" fmla="*/ 188 h 188"/>
                  <a:gd name="T52" fmla="*/ 93 w 237"/>
                  <a:gd name="T53" fmla="*/ 185 h 188"/>
                  <a:gd name="T54" fmla="*/ 93 w 237"/>
                  <a:gd name="T55" fmla="*/ 179 h 188"/>
                  <a:gd name="T56" fmla="*/ 99 w 237"/>
                  <a:gd name="T57" fmla="*/ 176 h 188"/>
                  <a:gd name="T58" fmla="*/ 108 w 237"/>
                  <a:gd name="T59" fmla="*/ 176 h 188"/>
                  <a:gd name="T60" fmla="*/ 120 w 237"/>
                  <a:gd name="T61" fmla="*/ 179 h 188"/>
                  <a:gd name="T62" fmla="*/ 135 w 237"/>
                  <a:gd name="T63" fmla="*/ 179 h 188"/>
                  <a:gd name="T64" fmla="*/ 144 w 237"/>
                  <a:gd name="T65" fmla="*/ 179 h 188"/>
                  <a:gd name="T66" fmla="*/ 162 w 237"/>
                  <a:gd name="T67" fmla="*/ 161 h 188"/>
                  <a:gd name="T68" fmla="*/ 183 w 237"/>
                  <a:gd name="T69" fmla="*/ 161 h 188"/>
                  <a:gd name="T70" fmla="*/ 228 w 237"/>
                  <a:gd name="T71" fmla="*/ 146 h 188"/>
                  <a:gd name="T72" fmla="*/ 237 w 237"/>
                  <a:gd name="T73" fmla="*/ 122 h 188"/>
                  <a:gd name="T74" fmla="*/ 231 w 237"/>
                  <a:gd name="T75" fmla="*/ 116 h 188"/>
                  <a:gd name="T76" fmla="*/ 204 w 237"/>
                  <a:gd name="T77" fmla="*/ 110 h 188"/>
                  <a:gd name="T78" fmla="*/ 195 w 237"/>
                  <a:gd name="T79" fmla="*/ 98 h 188"/>
                  <a:gd name="T80" fmla="*/ 189 w 237"/>
                  <a:gd name="T81" fmla="*/ 92 h 188"/>
                  <a:gd name="T82" fmla="*/ 180 w 237"/>
                  <a:gd name="T83" fmla="*/ 86 h 188"/>
                  <a:gd name="T84" fmla="*/ 174 w 237"/>
                  <a:gd name="T85" fmla="*/ 74 h 188"/>
                  <a:gd name="T86" fmla="*/ 168 w 237"/>
                  <a:gd name="T87" fmla="*/ 62 h 188"/>
                  <a:gd name="T88" fmla="*/ 156 w 237"/>
                  <a:gd name="T89" fmla="*/ 48 h 188"/>
                  <a:gd name="T90" fmla="*/ 156 w 237"/>
                  <a:gd name="T91" fmla="*/ 45 h 188"/>
                  <a:gd name="T92" fmla="*/ 147 w 237"/>
                  <a:gd name="T93" fmla="*/ 45 h 188"/>
                  <a:gd name="T94" fmla="*/ 141 w 237"/>
                  <a:gd name="T95" fmla="*/ 39 h 188"/>
                  <a:gd name="T96" fmla="*/ 141 w 237"/>
                  <a:gd name="T97" fmla="*/ 3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88">
                    <a:moveTo>
                      <a:pt x="141" y="39"/>
                    </a:moveTo>
                    <a:cubicBezTo>
                      <a:pt x="141" y="39"/>
                      <a:pt x="123" y="36"/>
                      <a:pt x="120" y="36"/>
                    </a:cubicBezTo>
                    <a:cubicBezTo>
                      <a:pt x="120" y="36"/>
                      <a:pt x="111" y="36"/>
                      <a:pt x="108" y="33"/>
                    </a:cubicBezTo>
                    <a:cubicBezTo>
                      <a:pt x="105" y="30"/>
                      <a:pt x="84" y="15"/>
                      <a:pt x="81" y="12"/>
                    </a:cubicBezTo>
                    <a:cubicBezTo>
                      <a:pt x="78" y="9"/>
                      <a:pt x="63" y="0"/>
                      <a:pt x="57" y="0"/>
                    </a:cubicBezTo>
                    <a:cubicBezTo>
                      <a:pt x="54" y="0"/>
                      <a:pt x="54" y="0"/>
                      <a:pt x="48" y="0"/>
                    </a:cubicBezTo>
                    <a:cubicBezTo>
                      <a:pt x="45" y="0"/>
                      <a:pt x="45" y="3"/>
                      <a:pt x="39" y="3"/>
                    </a:cubicBezTo>
                    <a:cubicBezTo>
                      <a:pt x="30" y="3"/>
                      <a:pt x="24" y="9"/>
                      <a:pt x="27" y="9"/>
                    </a:cubicBezTo>
                    <a:cubicBezTo>
                      <a:pt x="30" y="12"/>
                      <a:pt x="39" y="18"/>
                      <a:pt x="36" y="21"/>
                    </a:cubicBezTo>
                    <a:cubicBezTo>
                      <a:pt x="33" y="21"/>
                      <a:pt x="33" y="24"/>
                      <a:pt x="27" y="24"/>
                    </a:cubicBezTo>
                    <a:cubicBezTo>
                      <a:pt x="24" y="24"/>
                      <a:pt x="21" y="27"/>
                      <a:pt x="21" y="27"/>
                    </a:cubicBezTo>
                    <a:cubicBezTo>
                      <a:pt x="21" y="30"/>
                      <a:pt x="15" y="36"/>
                      <a:pt x="12" y="36"/>
                    </a:cubicBezTo>
                    <a:cubicBezTo>
                      <a:pt x="9" y="36"/>
                      <a:pt x="6" y="33"/>
                      <a:pt x="0" y="30"/>
                    </a:cubicBezTo>
                    <a:cubicBezTo>
                      <a:pt x="0" y="33"/>
                      <a:pt x="0" y="33"/>
                      <a:pt x="0" y="33"/>
                    </a:cubicBezTo>
                    <a:cubicBezTo>
                      <a:pt x="0" y="36"/>
                      <a:pt x="0" y="36"/>
                      <a:pt x="0" y="36"/>
                    </a:cubicBezTo>
                    <a:cubicBezTo>
                      <a:pt x="0" y="39"/>
                      <a:pt x="0" y="48"/>
                      <a:pt x="0" y="48"/>
                    </a:cubicBezTo>
                    <a:cubicBezTo>
                      <a:pt x="3" y="51"/>
                      <a:pt x="6" y="54"/>
                      <a:pt x="9" y="59"/>
                    </a:cubicBezTo>
                    <a:cubicBezTo>
                      <a:pt x="15" y="65"/>
                      <a:pt x="27" y="80"/>
                      <a:pt x="27" y="86"/>
                    </a:cubicBezTo>
                    <a:cubicBezTo>
                      <a:pt x="27" y="89"/>
                      <a:pt x="30" y="92"/>
                      <a:pt x="36" y="98"/>
                    </a:cubicBezTo>
                    <a:cubicBezTo>
                      <a:pt x="42" y="101"/>
                      <a:pt x="42" y="107"/>
                      <a:pt x="45" y="110"/>
                    </a:cubicBezTo>
                    <a:cubicBezTo>
                      <a:pt x="48" y="113"/>
                      <a:pt x="48" y="116"/>
                      <a:pt x="48" y="122"/>
                    </a:cubicBezTo>
                    <a:cubicBezTo>
                      <a:pt x="48" y="128"/>
                      <a:pt x="51" y="137"/>
                      <a:pt x="57" y="140"/>
                    </a:cubicBezTo>
                    <a:cubicBezTo>
                      <a:pt x="63" y="146"/>
                      <a:pt x="69" y="149"/>
                      <a:pt x="72" y="155"/>
                    </a:cubicBezTo>
                    <a:cubicBezTo>
                      <a:pt x="72" y="164"/>
                      <a:pt x="78" y="170"/>
                      <a:pt x="81" y="173"/>
                    </a:cubicBezTo>
                    <a:cubicBezTo>
                      <a:pt x="84" y="176"/>
                      <a:pt x="84" y="179"/>
                      <a:pt x="84" y="182"/>
                    </a:cubicBezTo>
                    <a:cubicBezTo>
                      <a:pt x="87" y="182"/>
                      <a:pt x="87" y="185"/>
                      <a:pt x="87" y="188"/>
                    </a:cubicBezTo>
                    <a:cubicBezTo>
                      <a:pt x="90" y="188"/>
                      <a:pt x="93" y="185"/>
                      <a:pt x="93" y="185"/>
                    </a:cubicBezTo>
                    <a:cubicBezTo>
                      <a:pt x="93" y="185"/>
                      <a:pt x="93" y="182"/>
                      <a:pt x="93" y="179"/>
                    </a:cubicBezTo>
                    <a:cubicBezTo>
                      <a:pt x="93" y="179"/>
                      <a:pt x="96" y="176"/>
                      <a:pt x="99" y="176"/>
                    </a:cubicBezTo>
                    <a:cubicBezTo>
                      <a:pt x="99" y="176"/>
                      <a:pt x="102" y="176"/>
                      <a:pt x="108" y="176"/>
                    </a:cubicBezTo>
                    <a:cubicBezTo>
                      <a:pt x="111" y="176"/>
                      <a:pt x="120" y="176"/>
                      <a:pt x="120" y="179"/>
                    </a:cubicBezTo>
                    <a:cubicBezTo>
                      <a:pt x="120" y="179"/>
                      <a:pt x="132" y="179"/>
                      <a:pt x="135" y="179"/>
                    </a:cubicBezTo>
                    <a:cubicBezTo>
                      <a:pt x="138" y="182"/>
                      <a:pt x="141" y="182"/>
                      <a:pt x="144" y="179"/>
                    </a:cubicBezTo>
                    <a:cubicBezTo>
                      <a:pt x="147" y="173"/>
                      <a:pt x="159" y="164"/>
                      <a:pt x="162" y="161"/>
                    </a:cubicBezTo>
                    <a:cubicBezTo>
                      <a:pt x="162" y="161"/>
                      <a:pt x="177" y="161"/>
                      <a:pt x="183" y="161"/>
                    </a:cubicBezTo>
                    <a:cubicBezTo>
                      <a:pt x="189" y="161"/>
                      <a:pt x="228" y="149"/>
                      <a:pt x="228" y="146"/>
                    </a:cubicBezTo>
                    <a:cubicBezTo>
                      <a:pt x="231" y="146"/>
                      <a:pt x="237" y="125"/>
                      <a:pt x="237" y="122"/>
                    </a:cubicBezTo>
                    <a:cubicBezTo>
                      <a:pt x="237" y="119"/>
                      <a:pt x="234" y="113"/>
                      <a:pt x="231" y="116"/>
                    </a:cubicBezTo>
                    <a:cubicBezTo>
                      <a:pt x="228" y="116"/>
                      <a:pt x="204" y="113"/>
                      <a:pt x="204" y="110"/>
                    </a:cubicBezTo>
                    <a:cubicBezTo>
                      <a:pt x="201" y="110"/>
                      <a:pt x="195" y="107"/>
                      <a:pt x="195" y="98"/>
                    </a:cubicBezTo>
                    <a:cubicBezTo>
                      <a:pt x="192" y="98"/>
                      <a:pt x="189" y="95"/>
                      <a:pt x="189" y="92"/>
                    </a:cubicBezTo>
                    <a:cubicBezTo>
                      <a:pt x="186" y="92"/>
                      <a:pt x="183" y="92"/>
                      <a:pt x="180" y="86"/>
                    </a:cubicBezTo>
                    <a:cubicBezTo>
                      <a:pt x="177" y="83"/>
                      <a:pt x="171" y="77"/>
                      <a:pt x="174" y="74"/>
                    </a:cubicBezTo>
                    <a:cubicBezTo>
                      <a:pt x="177" y="71"/>
                      <a:pt x="174" y="65"/>
                      <a:pt x="168" y="62"/>
                    </a:cubicBezTo>
                    <a:cubicBezTo>
                      <a:pt x="165" y="59"/>
                      <a:pt x="159" y="54"/>
                      <a:pt x="156" y="48"/>
                    </a:cubicBezTo>
                    <a:cubicBezTo>
                      <a:pt x="156" y="45"/>
                      <a:pt x="156" y="45"/>
                      <a:pt x="156" y="45"/>
                    </a:cubicBezTo>
                    <a:cubicBezTo>
                      <a:pt x="147" y="45"/>
                      <a:pt x="147" y="45"/>
                      <a:pt x="147" y="45"/>
                    </a:cubicBezTo>
                    <a:cubicBezTo>
                      <a:pt x="141" y="39"/>
                      <a:pt x="141" y="39"/>
                      <a:pt x="141" y="39"/>
                    </a:cubicBezTo>
                    <a:cubicBezTo>
                      <a:pt x="141" y="39"/>
                      <a:pt x="141" y="39"/>
                      <a:pt x="141"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1" name="Freeform 815"/>
              <p:cNvSpPr>
                <a:spLocks/>
              </p:cNvSpPr>
              <p:nvPr userDrawn="1"/>
            </p:nvSpPr>
            <p:spPr bwMode="auto">
              <a:xfrm>
                <a:off x="4083" y="-1730"/>
                <a:ext cx="369" cy="293"/>
              </a:xfrm>
              <a:custGeom>
                <a:avLst/>
                <a:gdLst>
                  <a:gd name="T0" fmla="*/ 141 w 237"/>
                  <a:gd name="T1" fmla="*/ 39 h 188"/>
                  <a:gd name="T2" fmla="*/ 120 w 237"/>
                  <a:gd name="T3" fmla="*/ 36 h 188"/>
                  <a:gd name="T4" fmla="*/ 108 w 237"/>
                  <a:gd name="T5" fmla="*/ 33 h 188"/>
                  <a:gd name="T6" fmla="*/ 81 w 237"/>
                  <a:gd name="T7" fmla="*/ 12 h 188"/>
                  <a:gd name="T8" fmla="*/ 57 w 237"/>
                  <a:gd name="T9" fmla="*/ 0 h 188"/>
                  <a:gd name="T10" fmla="*/ 48 w 237"/>
                  <a:gd name="T11" fmla="*/ 0 h 188"/>
                  <a:gd name="T12" fmla="*/ 39 w 237"/>
                  <a:gd name="T13" fmla="*/ 3 h 188"/>
                  <a:gd name="T14" fmla="*/ 27 w 237"/>
                  <a:gd name="T15" fmla="*/ 9 h 188"/>
                  <a:gd name="T16" fmla="*/ 36 w 237"/>
                  <a:gd name="T17" fmla="*/ 21 h 188"/>
                  <a:gd name="T18" fmla="*/ 27 w 237"/>
                  <a:gd name="T19" fmla="*/ 24 h 188"/>
                  <a:gd name="T20" fmla="*/ 21 w 237"/>
                  <a:gd name="T21" fmla="*/ 27 h 188"/>
                  <a:gd name="T22" fmla="*/ 12 w 237"/>
                  <a:gd name="T23" fmla="*/ 36 h 188"/>
                  <a:gd name="T24" fmla="*/ 0 w 237"/>
                  <a:gd name="T25" fmla="*/ 30 h 188"/>
                  <a:gd name="T26" fmla="*/ 0 w 237"/>
                  <a:gd name="T27" fmla="*/ 33 h 188"/>
                  <a:gd name="T28" fmla="*/ 0 w 237"/>
                  <a:gd name="T29" fmla="*/ 36 h 188"/>
                  <a:gd name="T30" fmla="*/ 0 w 237"/>
                  <a:gd name="T31" fmla="*/ 48 h 188"/>
                  <a:gd name="T32" fmla="*/ 9 w 237"/>
                  <a:gd name="T33" fmla="*/ 59 h 188"/>
                  <a:gd name="T34" fmla="*/ 27 w 237"/>
                  <a:gd name="T35" fmla="*/ 86 h 188"/>
                  <a:gd name="T36" fmla="*/ 36 w 237"/>
                  <a:gd name="T37" fmla="*/ 98 h 188"/>
                  <a:gd name="T38" fmla="*/ 45 w 237"/>
                  <a:gd name="T39" fmla="*/ 110 h 188"/>
                  <a:gd name="T40" fmla="*/ 48 w 237"/>
                  <a:gd name="T41" fmla="*/ 122 h 188"/>
                  <a:gd name="T42" fmla="*/ 57 w 237"/>
                  <a:gd name="T43" fmla="*/ 140 h 188"/>
                  <a:gd name="T44" fmla="*/ 72 w 237"/>
                  <a:gd name="T45" fmla="*/ 155 h 188"/>
                  <a:gd name="T46" fmla="*/ 81 w 237"/>
                  <a:gd name="T47" fmla="*/ 173 h 188"/>
                  <a:gd name="T48" fmla="*/ 84 w 237"/>
                  <a:gd name="T49" fmla="*/ 182 h 188"/>
                  <a:gd name="T50" fmla="*/ 87 w 237"/>
                  <a:gd name="T51" fmla="*/ 188 h 188"/>
                  <a:gd name="T52" fmla="*/ 93 w 237"/>
                  <a:gd name="T53" fmla="*/ 185 h 188"/>
                  <a:gd name="T54" fmla="*/ 93 w 237"/>
                  <a:gd name="T55" fmla="*/ 179 h 188"/>
                  <a:gd name="T56" fmla="*/ 99 w 237"/>
                  <a:gd name="T57" fmla="*/ 176 h 188"/>
                  <a:gd name="T58" fmla="*/ 108 w 237"/>
                  <a:gd name="T59" fmla="*/ 176 h 188"/>
                  <a:gd name="T60" fmla="*/ 120 w 237"/>
                  <a:gd name="T61" fmla="*/ 179 h 188"/>
                  <a:gd name="T62" fmla="*/ 135 w 237"/>
                  <a:gd name="T63" fmla="*/ 179 h 188"/>
                  <a:gd name="T64" fmla="*/ 144 w 237"/>
                  <a:gd name="T65" fmla="*/ 179 h 188"/>
                  <a:gd name="T66" fmla="*/ 162 w 237"/>
                  <a:gd name="T67" fmla="*/ 161 h 188"/>
                  <a:gd name="T68" fmla="*/ 183 w 237"/>
                  <a:gd name="T69" fmla="*/ 161 h 188"/>
                  <a:gd name="T70" fmla="*/ 228 w 237"/>
                  <a:gd name="T71" fmla="*/ 146 h 188"/>
                  <a:gd name="T72" fmla="*/ 237 w 237"/>
                  <a:gd name="T73" fmla="*/ 122 h 188"/>
                  <a:gd name="T74" fmla="*/ 231 w 237"/>
                  <a:gd name="T75" fmla="*/ 116 h 188"/>
                  <a:gd name="T76" fmla="*/ 204 w 237"/>
                  <a:gd name="T77" fmla="*/ 110 h 188"/>
                  <a:gd name="T78" fmla="*/ 195 w 237"/>
                  <a:gd name="T79" fmla="*/ 98 h 188"/>
                  <a:gd name="T80" fmla="*/ 189 w 237"/>
                  <a:gd name="T81" fmla="*/ 92 h 188"/>
                  <a:gd name="T82" fmla="*/ 180 w 237"/>
                  <a:gd name="T83" fmla="*/ 86 h 188"/>
                  <a:gd name="T84" fmla="*/ 174 w 237"/>
                  <a:gd name="T85" fmla="*/ 74 h 188"/>
                  <a:gd name="T86" fmla="*/ 168 w 237"/>
                  <a:gd name="T87" fmla="*/ 62 h 188"/>
                  <a:gd name="T88" fmla="*/ 156 w 237"/>
                  <a:gd name="T89" fmla="*/ 48 h 188"/>
                  <a:gd name="T90" fmla="*/ 156 w 237"/>
                  <a:gd name="T91" fmla="*/ 45 h 188"/>
                  <a:gd name="T92" fmla="*/ 147 w 237"/>
                  <a:gd name="T93" fmla="*/ 45 h 188"/>
                  <a:gd name="T94" fmla="*/ 141 w 237"/>
                  <a:gd name="T95" fmla="*/ 39 h 188"/>
                  <a:gd name="T96" fmla="*/ 141 w 237"/>
                  <a:gd name="T97" fmla="*/ 3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88">
                    <a:moveTo>
                      <a:pt x="141" y="39"/>
                    </a:moveTo>
                    <a:cubicBezTo>
                      <a:pt x="141" y="39"/>
                      <a:pt x="123" y="36"/>
                      <a:pt x="120" y="36"/>
                    </a:cubicBezTo>
                    <a:cubicBezTo>
                      <a:pt x="120" y="36"/>
                      <a:pt x="111" y="36"/>
                      <a:pt x="108" y="33"/>
                    </a:cubicBezTo>
                    <a:cubicBezTo>
                      <a:pt x="105" y="30"/>
                      <a:pt x="84" y="15"/>
                      <a:pt x="81" y="12"/>
                    </a:cubicBezTo>
                    <a:cubicBezTo>
                      <a:pt x="78" y="9"/>
                      <a:pt x="63" y="0"/>
                      <a:pt x="57" y="0"/>
                    </a:cubicBezTo>
                    <a:cubicBezTo>
                      <a:pt x="54" y="0"/>
                      <a:pt x="54" y="0"/>
                      <a:pt x="48" y="0"/>
                    </a:cubicBezTo>
                    <a:cubicBezTo>
                      <a:pt x="45" y="0"/>
                      <a:pt x="45" y="3"/>
                      <a:pt x="39" y="3"/>
                    </a:cubicBezTo>
                    <a:cubicBezTo>
                      <a:pt x="30" y="3"/>
                      <a:pt x="24" y="9"/>
                      <a:pt x="27" y="9"/>
                    </a:cubicBezTo>
                    <a:cubicBezTo>
                      <a:pt x="30" y="12"/>
                      <a:pt x="39" y="18"/>
                      <a:pt x="36" y="21"/>
                    </a:cubicBezTo>
                    <a:cubicBezTo>
                      <a:pt x="33" y="21"/>
                      <a:pt x="33" y="24"/>
                      <a:pt x="27" y="24"/>
                    </a:cubicBezTo>
                    <a:cubicBezTo>
                      <a:pt x="24" y="24"/>
                      <a:pt x="21" y="27"/>
                      <a:pt x="21" y="27"/>
                    </a:cubicBezTo>
                    <a:cubicBezTo>
                      <a:pt x="21" y="30"/>
                      <a:pt x="15" y="36"/>
                      <a:pt x="12" y="36"/>
                    </a:cubicBezTo>
                    <a:cubicBezTo>
                      <a:pt x="9" y="36"/>
                      <a:pt x="6" y="33"/>
                      <a:pt x="0" y="30"/>
                    </a:cubicBezTo>
                    <a:cubicBezTo>
                      <a:pt x="0" y="33"/>
                      <a:pt x="0" y="33"/>
                      <a:pt x="0" y="33"/>
                    </a:cubicBezTo>
                    <a:cubicBezTo>
                      <a:pt x="0" y="36"/>
                      <a:pt x="0" y="36"/>
                      <a:pt x="0" y="36"/>
                    </a:cubicBezTo>
                    <a:cubicBezTo>
                      <a:pt x="0" y="39"/>
                      <a:pt x="0" y="48"/>
                      <a:pt x="0" y="48"/>
                    </a:cubicBezTo>
                    <a:cubicBezTo>
                      <a:pt x="3" y="51"/>
                      <a:pt x="6" y="54"/>
                      <a:pt x="9" y="59"/>
                    </a:cubicBezTo>
                    <a:cubicBezTo>
                      <a:pt x="15" y="65"/>
                      <a:pt x="27" y="80"/>
                      <a:pt x="27" y="86"/>
                    </a:cubicBezTo>
                    <a:cubicBezTo>
                      <a:pt x="27" y="89"/>
                      <a:pt x="30" y="92"/>
                      <a:pt x="36" y="98"/>
                    </a:cubicBezTo>
                    <a:cubicBezTo>
                      <a:pt x="42" y="101"/>
                      <a:pt x="42" y="107"/>
                      <a:pt x="45" y="110"/>
                    </a:cubicBezTo>
                    <a:cubicBezTo>
                      <a:pt x="48" y="113"/>
                      <a:pt x="48" y="116"/>
                      <a:pt x="48" y="122"/>
                    </a:cubicBezTo>
                    <a:cubicBezTo>
                      <a:pt x="48" y="128"/>
                      <a:pt x="51" y="137"/>
                      <a:pt x="57" y="140"/>
                    </a:cubicBezTo>
                    <a:cubicBezTo>
                      <a:pt x="63" y="146"/>
                      <a:pt x="69" y="149"/>
                      <a:pt x="72" y="155"/>
                    </a:cubicBezTo>
                    <a:cubicBezTo>
                      <a:pt x="72" y="164"/>
                      <a:pt x="78" y="170"/>
                      <a:pt x="81" y="173"/>
                    </a:cubicBezTo>
                    <a:cubicBezTo>
                      <a:pt x="84" y="176"/>
                      <a:pt x="84" y="179"/>
                      <a:pt x="84" y="182"/>
                    </a:cubicBezTo>
                    <a:cubicBezTo>
                      <a:pt x="87" y="182"/>
                      <a:pt x="87" y="185"/>
                      <a:pt x="87" y="188"/>
                    </a:cubicBezTo>
                    <a:cubicBezTo>
                      <a:pt x="90" y="188"/>
                      <a:pt x="93" y="185"/>
                      <a:pt x="93" y="185"/>
                    </a:cubicBezTo>
                    <a:cubicBezTo>
                      <a:pt x="93" y="185"/>
                      <a:pt x="93" y="182"/>
                      <a:pt x="93" y="179"/>
                    </a:cubicBezTo>
                    <a:cubicBezTo>
                      <a:pt x="93" y="179"/>
                      <a:pt x="96" y="176"/>
                      <a:pt x="99" y="176"/>
                    </a:cubicBezTo>
                    <a:cubicBezTo>
                      <a:pt x="99" y="176"/>
                      <a:pt x="102" y="176"/>
                      <a:pt x="108" y="176"/>
                    </a:cubicBezTo>
                    <a:cubicBezTo>
                      <a:pt x="111" y="176"/>
                      <a:pt x="120" y="176"/>
                      <a:pt x="120" y="179"/>
                    </a:cubicBezTo>
                    <a:cubicBezTo>
                      <a:pt x="120" y="179"/>
                      <a:pt x="132" y="179"/>
                      <a:pt x="135" y="179"/>
                    </a:cubicBezTo>
                    <a:cubicBezTo>
                      <a:pt x="138" y="182"/>
                      <a:pt x="141" y="182"/>
                      <a:pt x="144" y="179"/>
                    </a:cubicBezTo>
                    <a:cubicBezTo>
                      <a:pt x="147" y="173"/>
                      <a:pt x="159" y="164"/>
                      <a:pt x="162" y="161"/>
                    </a:cubicBezTo>
                    <a:cubicBezTo>
                      <a:pt x="162" y="161"/>
                      <a:pt x="177" y="161"/>
                      <a:pt x="183" y="161"/>
                    </a:cubicBezTo>
                    <a:cubicBezTo>
                      <a:pt x="189" y="161"/>
                      <a:pt x="228" y="149"/>
                      <a:pt x="228" y="146"/>
                    </a:cubicBezTo>
                    <a:cubicBezTo>
                      <a:pt x="231" y="146"/>
                      <a:pt x="237" y="125"/>
                      <a:pt x="237" y="122"/>
                    </a:cubicBezTo>
                    <a:cubicBezTo>
                      <a:pt x="237" y="119"/>
                      <a:pt x="234" y="113"/>
                      <a:pt x="231" y="116"/>
                    </a:cubicBezTo>
                    <a:cubicBezTo>
                      <a:pt x="228" y="116"/>
                      <a:pt x="204" y="113"/>
                      <a:pt x="204" y="110"/>
                    </a:cubicBezTo>
                    <a:cubicBezTo>
                      <a:pt x="201" y="110"/>
                      <a:pt x="195" y="107"/>
                      <a:pt x="195" y="98"/>
                    </a:cubicBezTo>
                    <a:cubicBezTo>
                      <a:pt x="192" y="98"/>
                      <a:pt x="189" y="95"/>
                      <a:pt x="189" y="92"/>
                    </a:cubicBezTo>
                    <a:cubicBezTo>
                      <a:pt x="186" y="92"/>
                      <a:pt x="183" y="92"/>
                      <a:pt x="180" y="86"/>
                    </a:cubicBezTo>
                    <a:cubicBezTo>
                      <a:pt x="177" y="83"/>
                      <a:pt x="171" y="77"/>
                      <a:pt x="174" y="74"/>
                    </a:cubicBezTo>
                    <a:cubicBezTo>
                      <a:pt x="177" y="71"/>
                      <a:pt x="174" y="65"/>
                      <a:pt x="168" y="62"/>
                    </a:cubicBezTo>
                    <a:cubicBezTo>
                      <a:pt x="165" y="59"/>
                      <a:pt x="159" y="54"/>
                      <a:pt x="156" y="48"/>
                    </a:cubicBezTo>
                    <a:cubicBezTo>
                      <a:pt x="156" y="45"/>
                      <a:pt x="156" y="45"/>
                      <a:pt x="156" y="45"/>
                    </a:cubicBezTo>
                    <a:cubicBezTo>
                      <a:pt x="147" y="45"/>
                      <a:pt x="147" y="45"/>
                      <a:pt x="147" y="45"/>
                    </a:cubicBezTo>
                    <a:cubicBezTo>
                      <a:pt x="141" y="39"/>
                      <a:pt x="141" y="39"/>
                      <a:pt x="141" y="39"/>
                    </a:cubicBezTo>
                    <a:cubicBezTo>
                      <a:pt x="141" y="39"/>
                      <a:pt x="141" y="39"/>
                      <a:pt x="141"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2" name="Freeform 816"/>
              <p:cNvSpPr>
                <a:spLocks/>
              </p:cNvSpPr>
              <p:nvPr userDrawn="1"/>
            </p:nvSpPr>
            <p:spPr bwMode="auto">
              <a:xfrm>
                <a:off x="4387" y="-1596"/>
                <a:ext cx="139" cy="155"/>
              </a:xfrm>
              <a:custGeom>
                <a:avLst/>
                <a:gdLst>
                  <a:gd name="T0" fmla="*/ 44 w 89"/>
                  <a:gd name="T1" fmla="*/ 3 h 99"/>
                  <a:gd name="T2" fmla="*/ 44 w 89"/>
                  <a:gd name="T3" fmla="*/ 9 h 99"/>
                  <a:gd name="T4" fmla="*/ 35 w 89"/>
                  <a:gd name="T5" fmla="*/ 18 h 99"/>
                  <a:gd name="T6" fmla="*/ 32 w 89"/>
                  <a:gd name="T7" fmla="*/ 30 h 99"/>
                  <a:gd name="T8" fmla="*/ 35 w 89"/>
                  <a:gd name="T9" fmla="*/ 30 h 99"/>
                  <a:gd name="T10" fmla="*/ 41 w 89"/>
                  <a:gd name="T11" fmla="*/ 36 h 99"/>
                  <a:gd name="T12" fmla="*/ 32 w 89"/>
                  <a:gd name="T13" fmla="*/ 60 h 99"/>
                  <a:gd name="T14" fmla="*/ 0 w 89"/>
                  <a:gd name="T15" fmla="*/ 72 h 99"/>
                  <a:gd name="T16" fmla="*/ 11 w 89"/>
                  <a:gd name="T17" fmla="*/ 99 h 99"/>
                  <a:gd name="T18" fmla="*/ 14 w 89"/>
                  <a:gd name="T19" fmla="*/ 99 h 99"/>
                  <a:gd name="T20" fmla="*/ 32 w 89"/>
                  <a:gd name="T21" fmla="*/ 96 h 99"/>
                  <a:gd name="T22" fmla="*/ 38 w 89"/>
                  <a:gd name="T23" fmla="*/ 87 h 99"/>
                  <a:gd name="T24" fmla="*/ 50 w 89"/>
                  <a:gd name="T25" fmla="*/ 84 h 99"/>
                  <a:gd name="T26" fmla="*/ 56 w 89"/>
                  <a:gd name="T27" fmla="*/ 75 h 99"/>
                  <a:gd name="T28" fmla="*/ 65 w 89"/>
                  <a:gd name="T29" fmla="*/ 72 h 99"/>
                  <a:gd name="T30" fmla="*/ 68 w 89"/>
                  <a:gd name="T31" fmla="*/ 57 h 99"/>
                  <a:gd name="T32" fmla="*/ 77 w 89"/>
                  <a:gd name="T33" fmla="*/ 51 h 99"/>
                  <a:gd name="T34" fmla="*/ 86 w 89"/>
                  <a:gd name="T35" fmla="*/ 36 h 99"/>
                  <a:gd name="T36" fmla="*/ 86 w 89"/>
                  <a:gd name="T37" fmla="*/ 30 h 99"/>
                  <a:gd name="T38" fmla="*/ 77 w 89"/>
                  <a:gd name="T39" fmla="*/ 18 h 99"/>
                  <a:gd name="T40" fmla="*/ 59 w 89"/>
                  <a:gd name="T41" fmla="*/ 12 h 99"/>
                  <a:gd name="T42" fmla="*/ 53 w 89"/>
                  <a:gd name="T43" fmla="*/ 0 h 99"/>
                  <a:gd name="T44" fmla="*/ 47 w 89"/>
                  <a:gd name="T45" fmla="*/ 3 h 99"/>
                  <a:gd name="T46" fmla="*/ 44 w 89"/>
                  <a:gd name="T47" fmla="*/ 3 h 99"/>
                  <a:gd name="T48" fmla="*/ 44 w 89"/>
                  <a:gd name="T49"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9">
                    <a:moveTo>
                      <a:pt x="44" y="3"/>
                    </a:moveTo>
                    <a:cubicBezTo>
                      <a:pt x="44" y="9"/>
                      <a:pt x="44" y="9"/>
                      <a:pt x="44" y="9"/>
                    </a:cubicBezTo>
                    <a:cubicBezTo>
                      <a:pt x="35" y="18"/>
                      <a:pt x="35" y="18"/>
                      <a:pt x="35" y="18"/>
                    </a:cubicBezTo>
                    <a:cubicBezTo>
                      <a:pt x="32" y="30"/>
                      <a:pt x="32" y="30"/>
                      <a:pt x="32" y="30"/>
                    </a:cubicBezTo>
                    <a:cubicBezTo>
                      <a:pt x="35" y="30"/>
                      <a:pt x="35" y="30"/>
                      <a:pt x="35" y="30"/>
                    </a:cubicBezTo>
                    <a:cubicBezTo>
                      <a:pt x="38" y="27"/>
                      <a:pt x="41" y="33"/>
                      <a:pt x="41" y="36"/>
                    </a:cubicBezTo>
                    <a:cubicBezTo>
                      <a:pt x="41" y="39"/>
                      <a:pt x="35" y="60"/>
                      <a:pt x="32" y="60"/>
                    </a:cubicBezTo>
                    <a:cubicBezTo>
                      <a:pt x="32" y="60"/>
                      <a:pt x="11" y="69"/>
                      <a:pt x="0" y="72"/>
                    </a:cubicBezTo>
                    <a:cubicBezTo>
                      <a:pt x="2" y="78"/>
                      <a:pt x="8" y="90"/>
                      <a:pt x="11" y="99"/>
                    </a:cubicBezTo>
                    <a:cubicBezTo>
                      <a:pt x="14" y="99"/>
                      <a:pt x="14" y="99"/>
                      <a:pt x="14" y="99"/>
                    </a:cubicBezTo>
                    <a:cubicBezTo>
                      <a:pt x="20" y="96"/>
                      <a:pt x="29" y="96"/>
                      <a:pt x="32" y="96"/>
                    </a:cubicBezTo>
                    <a:cubicBezTo>
                      <a:pt x="38" y="96"/>
                      <a:pt x="35" y="90"/>
                      <a:pt x="38" y="87"/>
                    </a:cubicBezTo>
                    <a:cubicBezTo>
                      <a:pt x="41" y="84"/>
                      <a:pt x="47" y="87"/>
                      <a:pt x="50" y="84"/>
                    </a:cubicBezTo>
                    <a:cubicBezTo>
                      <a:pt x="53" y="84"/>
                      <a:pt x="53" y="75"/>
                      <a:pt x="56" y="75"/>
                    </a:cubicBezTo>
                    <a:cubicBezTo>
                      <a:pt x="62" y="72"/>
                      <a:pt x="65" y="75"/>
                      <a:pt x="65" y="72"/>
                    </a:cubicBezTo>
                    <a:cubicBezTo>
                      <a:pt x="65" y="69"/>
                      <a:pt x="65" y="57"/>
                      <a:pt x="68" y="57"/>
                    </a:cubicBezTo>
                    <a:cubicBezTo>
                      <a:pt x="71" y="54"/>
                      <a:pt x="77" y="51"/>
                      <a:pt x="77" y="51"/>
                    </a:cubicBezTo>
                    <a:cubicBezTo>
                      <a:pt x="77" y="48"/>
                      <a:pt x="86" y="39"/>
                      <a:pt x="86" y="36"/>
                    </a:cubicBezTo>
                    <a:cubicBezTo>
                      <a:pt x="89" y="33"/>
                      <a:pt x="89" y="30"/>
                      <a:pt x="86" y="30"/>
                    </a:cubicBezTo>
                    <a:cubicBezTo>
                      <a:pt x="83" y="30"/>
                      <a:pt x="77" y="21"/>
                      <a:pt x="77" y="18"/>
                    </a:cubicBezTo>
                    <a:cubicBezTo>
                      <a:pt x="74" y="15"/>
                      <a:pt x="65" y="18"/>
                      <a:pt x="59" y="12"/>
                    </a:cubicBezTo>
                    <a:cubicBezTo>
                      <a:pt x="56" y="9"/>
                      <a:pt x="53" y="3"/>
                      <a:pt x="53" y="0"/>
                    </a:cubicBezTo>
                    <a:cubicBezTo>
                      <a:pt x="47" y="3"/>
                      <a:pt x="47" y="3"/>
                      <a:pt x="47" y="3"/>
                    </a:cubicBezTo>
                    <a:cubicBezTo>
                      <a:pt x="44" y="3"/>
                      <a:pt x="44" y="3"/>
                      <a:pt x="44" y="3"/>
                    </a:cubicBezTo>
                    <a:cubicBezTo>
                      <a:pt x="44" y="3"/>
                      <a:pt x="44" y="3"/>
                      <a:pt x="44"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3" name="Freeform 817"/>
              <p:cNvSpPr>
                <a:spLocks/>
              </p:cNvSpPr>
              <p:nvPr userDrawn="1"/>
            </p:nvSpPr>
            <p:spPr bwMode="auto">
              <a:xfrm>
                <a:off x="4387" y="-1596"/>
                <a:ext cx="139" cy="155"/>
              </a:xfrm>
              <a:custGeom>
                <a:avLst/>
                <a:gdLst>
                  <a:gd name="T0" fmla="*/ 44 w 89"/>
                  <a:gd name="T1" fmla="*/ 3 h 99"/>
                  <a:gd name="T2" fmla="*/ 44 w 89"/>
                  <a:gd name="T3" fmla="*/ 9 h 99"/>
                  <a:gd name="T4" fmla="*/ 35 w 89"/>
                  <a:gd name="T5" fmla="*/ 18 h 99"/>
                  <a:gd name="T6" fmla="*/ 32 w 89"/>
                  <a:gd name="T7" fmla="*/ 30 h 99"/>
                  <a:gd name="T8" fmla="*/ 35 w 89"/>
                  <a:gd name="T9" fmla="*/ 30 h 99"/>
                  <a:gd name="T10" fmla="*/ 41 w 89"/>
                  <a:gd name="T11" fmla="*/ 36 h 99"/>
                  <a:gd name="T12" fmla="*/ 32 w 89"/>
                  <a:gd name="T13" fmla="*/ 60 h 99"/>
                  <a:gd name="T14" fmla="*/ 0 w 89"/>
                  <a:gd name="T15" fmla="*/ 72 h 99"/>
                  <a:gd name="T16" fmla="*/ 11 w 89"/>
                  <a:gd name="T17" fmla="*/ 99 h 99"/>
                  <a:gd name="T18" fmla="*/ 14 w 89"/>
                  <a:gd name="T19" fmla="*/ 99 h 99"/>
                  <a:gd name="T20" fmla="*/ 32 w 89"/>
                  <a:gd name="T21" fmla="*/ 96 h 99"/>
                  <a:gd name="T22" fmla="*/ 38 w 89"/>
                  <a:gd name="T23" fmla="*/ 87 h 99"/>
                  <a:gd name="T24" fmla="*/ 50 w 89"/>
                  <a:gd name="T25" fmla="*/ 84 h 99"/>
                  <a:gd name="T26" fmla="*/ 56 w 89"/>
                  <a:gd name="T27" fmla="*/ 75 h 99"/>
                  <a:gd name="T28" fmla="*/ 65 w 89"/>
                  <a:gd name="T29" fmla="*/ 72 h 99"/>
                  <a:gd name="T30" fmla="*/ 68 w 89"/>
                  <a:gd name="T31" fmla="*/ 57 h 99"/>
                  <a:gd name="T32" fmla="*/ 77 w 89"/>
                  <a:gd name="T33" fmla="*/ 51 h 99"/>
                  <a:gd name="T34" fmla="*/ 86 w 89"/>
                  <a:gd name="T35" fmla="*/ 36 h 99"/>
                  <a:gd name="T36" fmla="*/ 86 w 89"/>
                  <a:gd name="T37" fmla="*/ 30 h 99"/>
                  <a:gd name="T38" fmla="*/ 77 w 89"/>
                  <a:gd name="T39" fmla="*/ 18 h 99"/>
                  <a:gd name="T40" fmla="*/ 59 w 89"/>
                  <a:gd name="T41" fmla="*/ 12 h 99"/>
                  <a:gd name="T42" fmla="*/ 53 w 89"/>
                  <a:gd name="T43" fmla="*/ 0 h 99"/>
                  <a:gd name="T44" fmla="*/ 47 w 89"/>
                  <a:gd name="T45" fmla="*/ 3 h 99"/>
                  <a:gd name="T46" fmla="*/ 44 w 89"/>
                  <a:gd name="T47" fmla="*/ 3 h 99"/>
                  <a:gd name="T48" fmla="*/ 44 w 89"/>
                  <a:gd name="T49"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99">
                    <a:moveTo>
                      <a:pt x="44" y="3"/>
                    </a:moveTo>
                    <a:cubicBezTo>
                      <a:pt x="44" y="9"/>
                      <a:pt x="44" y="9"/>
                      <a:pt x="44" y="9"/>
                    </a:cubicBezTo>
                    <a:cubicBezTo>
                      <a:pt x="35" y="18"/>
                      <a:pt x="35" y="18"/>
                      <a:pt x="35" y="18"/>
                    </a:cubicBezTo>
                    <a:cubicBezTo>
                      <a:pt x="32" y="30"/>
                      <a:pt x="32" y="30"/>
                      <a:pt x="32" y="30"/>
                    </a:cubicBezTo>
                    <a:cubicBezTo>
                      <a:pt x="35" y="30"/>
                      <a:pt x="35" y="30"/>
                      <a:pt x="35" y="30"/>
                    </a:cubicBezTo>
                    <a:cubicBezTo>
                      <a:pt x="38" y="27"/>
                      <a:pt x="41" y="33"/>
                      <a:pt x="41" y="36"/>
                    </a:cubicBezTo>
                    <a:cubicBezTo>
                      <a:pt x="41" y="39"/>
                      <a:pt x="35" y="60"/>
                      <a:pt x="32" y="60"/>
                    </a:cubicBezTo>
                    <a:cubicBezTo>
                      <a:pt x="32" y="60"/>
                      <a:pt x="11" y="69"/>
                      <a:pt x="0" y="72"/>
                    </a:cubicBezTo>
                    <a:cubicBezTo>
                      <a:pt x="2" y="78"/>
                      <a:pt x="8" y="90"/>
                      <a:pt x="11" y="99"/>
                    </a:cubicBezTo>
                    <a:cubicBezTo>
                      <a:pt x="14" y="99"/>
                      <a:pt x="14" y="99"/>
                      <a:pt x="14" y="99"/>
                    </a:cubicBezTo>
                    <a:cubicBezTo>
                      <a:pt x="20" y="96"/>
                      <a:pt x="29" y="96"/>
                      <a:pt x="32" y="96"/>
                    </a:cubicBezTo>
                    <a:cubicBezTo>
                      <a:pt x="38" y="96"/>
                      <a:pt x="35" y="90"/>
                      <a:pt x="38" y="87"/>
                    </a:cubicBezTo>
                    <a:cubicBezTo>
                      <a:pt x="41" y="84"/>
                      <a:pt x="47" y="87"/>
                      <a:pt x="50" y="84"/>
                    </a:cubicBezTo>
                    <a:cubicBezTo>
                      <a:pt x="53" y="84"/>
                      <a:pt x="53" y="75"/>
                      <a:pt x="56" y="75"/>
                    </a:cubicBezTo>
                    <a:cubicBezTo>
                      <a:pt x="62" y="72"/>
                      <a:pt x="65" y="75"/>
                      <a:pt x="65" y="72"/>
                    </a:cubicBezTo>
                    <a:cubicBezTo>
                      <a:pt x="65" y="69"/>
                      <a:pt x="65" y="57"/>
                      <a:pt x="68" y="57"/>
                    </a:cubicBezTo>
                    <a:cubicBezTo>
                      <a:pt x="71" y="54"/>
                      <a:pt x="77" y="51"/>
                      <a:pt x="77" y="51"/>
                    </a:cubicBezTo>
                    <a:cubicBezTo>
                      <a:pt x="77" y="48"/>
                      <a:pt x="86" y="39"/>
                      <a:pt x="86" y="36"/>
                    </a:cubicBezTo>
                    <a:cubicBezTo>
                      <a:pt x="89" y="33"/>
                      <a:pt x="89" y="30"/>
                      <a:pt x="86" y="30"/>
                    </a:cubicBezTo>
                    <a:cubicBezTo>
                      <a:pt x="83" y="30"/>
                      <a:pt x="77" y="21"/>
                      <a:pt x="77" y="18"/>
                    </a:cubicBezTo>
                    <a:cubicBezTo>
                      <a:pt x="74" y="15"/>
                      <a:pt x="65" y="18"/>
                      <a:pt x="59" y="12"/>
                    </a:cubicBezTo>
                    <a:cubicBezTo>
                      <a:pt x="56" y="9"/>
                      <a:pt x="53" y="3"/>
                      <a:pt x="53" y="0"/>
                    </a:cubicBezTo>
                    <a:cubicBezTo>
                      <a:pt x="47" y="3"/>
                      <a:pt x="47" y="3"/>
                      <a:pt x="47" y="3"/>
                    </a:cubicBezTo>
                    <a:cubicBezTo>
                      <a:pt x="44" y="3"/>
                      <a:pt x="44" y="3"/>
                      <a:pt x="44" y="3"/>
                    </a:cubicBezTo>
                    <a:cubicBezTo>
                      <a:pt x="44" y="3"/>
                      <a:pt x="44" y="3"/>
                      <a:pt x="44" y="3"/>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4" name="Freeform 818"/>
              <p:cNvSpPr>
                <a:spLocks/>
              </p:cNvSpPr>
              <p:nvPr userDrawn="1"/>
            </p:nvSpPr>
            <p:spPr bwMode="auto">
              <a:xfrm>
                <a:off x="4362" y="-1614"/>
                <a:ext cx="19" cy="29"/>
              </a:xfrm>
              <a:custGeom>
                <a:avLst/>
                <a:gdLst>
                  <a:gd name="T0" fmla="*/ 9 w 12"/>
                  <a:gd name="T1" fmla="*/ 19 h 19"/>
                  <a:gd name="T2" fmla="*/ 9 w 12"/>
                  <a:gd name="T3" fmla="*/ 16 h 19"/>
                  <a:gd name="T4" fmla="*/ 9 w 12"/>
                  <a:gd name="T5" fmla="*/ 0 h 19"/>
                  <a:gd name="T6" fmla="*/ 0 w 12"/>
                  <a:gd name="T7" fmla="*/ 13 h 19"/>
                  <a:gd name="T8" fmla="*/ 0 w 12"/>
                  <a:gd name="T9" fmla="*/ 13 h 19"/>
                  <a:gd name="T10" fmla="*/ 9 w 12"/>
                  <a:gd name="T11" fmla="*/ 19 h 19"/>
                </a:gdLst>
                <a:ahLst/>
                <a:cxnLst>
                  <a:cxn ang="0">
                    <a:pos x="T0" y="T1"/>
                  </a:cxn>
                  <a:cxn ang="0">
                    <a:pos x="T2" y="T3"/>
                  </a:cxn>
                  <a:cxn ang="0">
                    <a:pos x="T4" y="T5"/>
                  </a:cxn>
                  <a:cxn ang="0">
                    <a:pos x="T6" y="T7"/>
                  </a:cxn>
                  <a:cxn ang="0">
                    <a:pos x="T8" y="T9"/>
                  </a:cxn>
                  <a:cxn ang="0">
                    <a:pos x="T10" y="T11"/>
                  </a:cxn>
                </a:cxnLst>
                <a:rect l="0" t="0" r="r" b="b"/>
                <a:pathLst>
                  <a:path w="12" h="19">
                    <a:moveTo>
                      <a:pt x="9" y="19"/>
                    </a:moveTo>
                    <a:cubicBezTo>
                      <a:pt x="9" y="16"/>
                      <a:pt x="9" y="16"/>
                      <a:pt x="9" y="16"/>
                    </a:cubicBezTo>
                    <a:cubicBezTo>
                      <a:pt x="12" y="13"/>
                      <a:pt x="12" y="3"/>
                      <a:pt x="9" y="0"/>
                    </a:cubicBezTo>
                    <a:cubicBezTo>
                      <a:pt x="3" y="0"/>
                      <a:pt x="0" y="10"/>
                      <a:pt x="0" y="13"/>
                    </a:cubicBezTo>
                    <a:cubicBezTo>
                      <a:pt x="0" y="13"/>
                      <a:pt x="0" y="13"/>
                      <a:pt x="0" y="13"/>
                    </a:cubicBezTo>
                    <a:cubicBezTo>
                      <a:pt x="3" y="19"/>
                      <a:pt x="6" y="19"/>
                      <a:pt x="9" y="1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5" name="Freeform 819"/>
              <p:cNvSpPr>
                <a:spLocks/>
              </p:cNvSpPr>
              <p:nvPr userDrawn="1"/>
            </p:nvSpPr>
            <p:spPr bwMode="auto">
              <a:xfrm>
                <a:off x="4362" y="-1614"/>
                <a:ext cx="19" cy="29"/>
              </a:xfrm>
              <a:custGeom>
                <a:avLst/>
                <a:gdLst>
                  <a:gd name="T0" fmla="*/ 9 w 12"/>
                  <a:gd name="T1" fmla="*/ 19 h 19"/>
                  <a:gd name="T2" fmla="*/ 9 w 12"/>
                  <a:gd name="T3" fmla="*/ 16 h 19"/>
                  <a:gd name="T4" fmla="*/ 9 w 12"/>
                  <a:gd name="T5" fmla="*/ 0 h 19"/>
                  <a:gd name="T6" fmla="*/ 0 w 12"/>
                  <a:gd name="T7" fmla="*/ 13 h 19"/>
                  <a:gd name="T8" fmla="*/ 0 w 12"/>
                  <a:gd name="T9" fmla="*/ 13 h 19"/>
                  <a:gd name="T10" fmla="*/ 9 w 12"/>
                  <a:gd name="T11" fmla="*/ 19 h 19"/>
                </a:gdLst>
                <a:ahLst/>
                <a:cxnLst>
                  <a:cxn ang="0">
                    <a:pos x="T0" y="T1"/>
                  </a:cxn>
                  <a:cxn ang="0">
                    <a:pos x="T2" y="T3"/>
                  </a:cxn>
                  <a:cxn ang="0">
                    <a:pos x="T4" y="T5"/>
                  </a:cxn>
                  <a:cxn ang="0">
                    <a:pos x="T6" y="T7"/>
                  </a:cxn>
                  <a:cxn ang="0">
                    <a:pos x="T8" y="T9"/>
                  </a:cxn>
                  <a:cxn ang="0">
                    <a:pos x="T10" y="T11"/>
                  </a:cxn>
                </a:cxnLst>
                <a:rect l="0" t="0" r="r" b="b"/>
                <a:pathLst>
                  <a:path w="12" h="19">
                    <a:moveTo>
                      <a:pt x="9" y="19"/>
                    </a:moveTo>
                    <a:cubicBezTo>
                      <a:pt x="9" y="16"/>
                      <a:pt x="9" y="16"/>
                      <a:pt x="9" y="16"/>
                    </a:cubicBezTo>
                    <a:cubicBezTo>
                      <a:pt x="12" y="13"/>
                      <a:pt x="12" y="3"/>
                      <a:pt x="9" y="0"/>
                    </a:cubicBezTo>
                    <a:cubicBezTo>
                      <a:pt x="3" y="0"/>
                      <a:pt x="0" y="10"/>
                      <a:pt x="0" y="13"/>
                    </a:cubicBezTo>
                    <a:cubicBezTo>
                      <a:pt x="0" y="13"/>
                      <a:pt x="0" y="13"/>
                      <a:pt x="0" y="13"/>
                    </a:cubicBezTo>
                    <a:cubicBezTo>
                      <a:pt x="3" y="19"/>
                      <a:pt x="6" y="19"/>
                      <a:pt x="9" y="1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6" name="Freeform 820"/>
              <p:cNvSpPr>
                <a:spLocks/>
              </p:cNvSpPr>
              <p:nvPr userDrawn="1"/>
            </p:nvSpPr>
            <p:spPr bwMode="auto">
              <a:xfrm>
                <a:off x="4387" y="-1619"/>
                <a:ext cx="84" cy="72"/>
              </a:xfrm>
              <a:custGeom>
                <a:avLst/>
                <a:gdLst>
                  <a:gd name="T0" fmla="*/ 9 w 54"/>
                  <a:gd name="T1" fmla="*/ 40 h 46"/>
                  <a:gd name="T2" fmla="*/ 33 w 54"/>
                  <a:gd name="T3" fmla="*/ 46 h 46"/>
                  <a:gd name="T4" fmla="*/ 36 w 54"/>
                  <a:gd name="T5" fmla="*/ 33 h 46"/>
                  <a:gd name="T6" fmla="*/ 45 w 54"/>
                  <a:gd name="T7" fmla="*/ 24 h 46"/>
                  <a:gd name="T8" fmla="*/ 45 w 54"/>
                  <a:gd name="T9" fmla="*/ 18 h 46"/>
                  <a:gd name="T10" fmla="*/ 48 w 54"/>
                  <a:gd name="T11" fmla="*/ 18 h 46"/>
                  <a:gd name="T12" fmla="*/ 54 w 54"/>
                  <a:gd name="T13" fmla="*/ 15 h 46"/>
                  <a:gd name="T14" fmla="*/ 51 w 54"/>
                  <a:gd name="T15" fmla="*/ 0 h 46"/>
                  <a:gd name="T16" fmla="*/ 36 w 54"/>
                  <a:gd name="T17" fmla="*/ 15 h 46"/>
                  <a:gd name="T18" fmla="*/ 15 w 54"/>
                  <a:gd name="T19" fmla="*/ 27 h 46"/>
                  <a:gd name="T20" fmla="*/ 0 w 54"/>
                  <a:gd name="T21" fmla="*/ 30 h 46"/>
                  <a:gd name="T22" fmla="*/ 0 w 54"/>
                  <a:gd name="T23" fmla="*/ 27 h 46"/>
                  <a:gd name="T24" fmla="*/ 9 w 54"/>
                  <a:gd name="T25"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46">
                    <a:moveTo>
                      <a:pt x="9" y="40"/>
                    </a:moveTo>
                    <a:cubicBezTo>
                      <a:pt x="9" y="43"/>
                      <a:pt x="27" y="43"/>
                      <a:pt x="33" y="46"/>
                    </a:cubicBezTo>
                    <a:cubicBezTo>
                      <a:pt x="36" y="33"/>
                      <a:pt x="36" y="33"/>
                      <a:pt x="36" y="33"/>
                    </a:cubicBezTo>
                    <a:cubicBezTo>
                      <a:pt x="45" y="24"/>
                      <a:pt x="45" y="24"/>
                      <a:pt x="45" y="24"/>
                    </a:cubicBezTo>
                    <a:cubicBezTo>
                      <a:pt x="45" y="18"/>
                      <a:pt x="45" y="18"/>
                      <a:pt x="45" y="18"/>
                    </a:cubicBezTo>
                    <a:cubicBezTo>
                      <a:pt x="48" y="18"/>
                      <a:pt x="48" y="18"/>
                      <a:pt x="48" y="18"/>
                    </a:cubicBezTo>
                    <a:cubicBezTo>
                      <a:pt x="54" y="15"/>
                      <a:pt x="54" y="15"/>
                      <a:pt x="54" y="15"/>
                    </a:cubicBezTo>
                    <a:cubicBezTo>
                      <a:pt x="51" y="6"/>
                      <a:pt x="51" y="0"/>
                      <a:pt x="51" y="0"/>
                    </a:cubicBezTo>
                    <a:cubicBezTo>
                      <a:pt x="48" y="0"/>
                      <a:pt x="39" y="9"/>
                      <a:pt x="36" y="15"/>
                    </a:cubicBezTo>
                    <a:cubicBezTo>
                      <a:pt x="33" y="21"/>
                      <a:pt x="24" y="27"/>
                      <a:pt x="15" y="27"/>
                    </a:cubicBezTo>
                    <a:cubicBezTo>
                      <a:pt x="6" y="24"/>
                      <a:pt x="3" y="27"/>
                      <a:pt x="0" y="30"/>
                    </a:cubicBezTo>
                    <a:cubicBezTo>
                      <a:pt x="0" y="30"/>
                      <a:pt x="0" y="30"/>
                      <a:pt x="0" y="27"/>
                    </a:cubicBezTo>
                    <a:cubicBezTo>
                      <a:pt x="0" y="36"/>
                      <a:pt x="6" y="40"/>
                      <a:pt x="9" y="4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7" name="Freeform 821"/>
              <p:cNvSpPr>
                <a:spLocks/>
              </p:cNvSpPr>
              <p:nvPr userDrawn="1"/>
            </p:nvSpPr>
            <p:spPr bwMode="auto">
              <a:xfrm>
                <a:off x="4387" y="-1619"/>
                <a:ext cx="84" cy="72"/>
              </a:xfrm>
              <a:custGeom>
                <a:avLst/>
                <a:gdLst>
                  <a:gd name="T0" fmla="*/ 9 w 54"/>
                  <a:gd name="T1" fmla="*/ 40 h 46"/>
                  <a:gd name="T2" fmla="*/ 33 w 54"/>
                  <a:gd name="T3" fmla="*/ 46 h 46"/>
                  <a:gd name="T4" fmla="*/ 36 w 54"/>
                  <a:gd name="T5" fmla="*/ 33 h 46"/>
                  <a:gd name="T6" fmla="*/ 45 w 54"/>
                  <a:gd name="T7" fmla="*/ 24 h 46"/>
                  <a:gd name="T8" fmla="*/ 45 w 54"/>
                  <a:gd name="T9" fmla="*/ 18 h 46"/>
                  <a:gd name="T10" fmla="*/ 48 w 54"/>
                  <a:gd name="T11" fmla="*/ 18 h 46"/>
                  <a:gd name="T12" fmla="*/ 54 w 54"/>
                  <a:gd name="T13" fmla="*/ 15 h 46"/>
                  <a:gd name="T14" fmla="*/ 51 w 54"/>
                  <a:gd name="T15" fmla="*/ 0 h 46"/>
                  <a:gd name="T16" fmla="*/ 36 w 54"/>
                  <a:gd name="T17" fmla="*/ 15 h 46"/>
                  <a:gd name="T18" fmla="*/ 15 w 54"/>
                  <a:gd name="T19" fmla="*/ 27 h 46"/>
                  <a:gd name="T20" fmla="*/ 0 w 54"/>
                  <a:gd name="T21" fmla="*/ 30 h 46"/>
                  <a:gd name="T22" fmla="*/ 0 w 54"/>
                  <a:gd name="T23" fmla="*/ 27 h 46"/>
                  <a:gd name="T24" fmla="*/ 9 w 54"/>
                  <a:gd name="T25"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46">
                    <a:moveTo>
                      <a:pt x="9" y="40"/>
                    </a:moveTo>
                    <a:cubicBezTo>
                      <a:pt x="9" y="43"/>
                      <a:pt x="27" y="43"/>
                      <a:pt x="33" y="46"/>
                    </a:cubicBezTo>
                    <a:cubicBezTo>
                      <a:pt x="36" y="33"/>
                      <a:pt x="36" y="33"/>
                      <a:pt x="36" y="33"/>
                    </a:cubicBezTo>
                    <a:cubicBezTo>
                      <a:pt x="45" y="24"/>
                      <a:pt x="45" y="24"/>
                      <a:pt x="45" y="24"/>
                    </a:cubicBezTo>
                    <a:cubicBezTo>
                      <a:pt x="45" y="18"/>
                      <a:pt x="45" y="18"/>
                      <a:pt x="45" y="18"/>
                    </a:cubicBezTo>
                    <a:cubicBezTo>
                      <a:pt x="48" y="18"/>
                      <a:pt x="48" y="18"/>
                      <a:pt x="48" y="18"/>
                    </a:cubicBezTo>
                    <a:cubicBezTo>
                      <a:pt x="54" y="15"/>
                      <a:pt x="54" y="15"/>
                      <a:pt x="54" y="15"/>
                    </a:cubicBezTo>
                    <a:cubicBezTo>
                      <a:pt x="51" y="6"/>
                      <a:pt x="51" y="0"/>
                      <a:pt x="51" y="0"/>
                    </a:cubicBezTo>
                    <a:cubicBezTo>
                      <a:pt x="48" y="0"/>
                      <a:pt x="39" y="9"/>
                      <a:pt x="36" y="15"/>
                    </a:cubicBezTo>
                    <a:cubicBezTo>
                      <a:pt x="33" y="21"/>
                      <a:pt x="24" y="27"/>
                      <a:pt x="15" y="27"/>
                    </a:cubicBezTo>
                    <a:cubicBezTo>
                      <a:pt x="6" y="24"/>
                      <a:pt x="3" y="27"/>
                      <a:pt x="0" y="30"/>
                    </a:cubicBezTo>
                    <a:cubicBezTo>
                      <a:pt x="0" y="30"/>
                      <a:pt x="0" y="30"/>
                      <a:pt x="0" y="27"/>
                    </a:cubicBezTo>
                    <a:cubicBezTo>
                      <a:pt x="0" y="36"/>
                      <a:pt x="6" y="40"/>
                      <a:pt x="9" y="4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8" name="Freeform 822"/>
              <p:cNvSpPr>
                <a:spLocks noEditPoints="1"/>
              </p:cNvSpPr>
              <p:nvPr userDrawn="1"/>
            </p:nvSpPr>
            <p:spPr bwMode="auto">
              <a:xfrm>
                <a:off x="5215" y="-1259"/>
                <a:ext cx="339" cy="108"/>
              </a:xfrm>
              <a:custGeom>
                <a:avLst/>
                <a:gdLst>
                  <a:gd name="T0" fmla="*/ 39 w 218"/>
                  <a:gd name="T1" fmla="*/ 24 h 69"/>
                  <a:gd name="T2" fmla="*/ 33 w 218"/>
                  <a:gd name="T3" fmla="*/ 12 h 69"/>
                  <a:gd name="T4" fmla="*/ 27 w 218"/>
                  <a:gd name="T5" fmla="*/ 6 h 69"/>
                  <a:gd name="T6" fmla="*/ 24 w 218"/>
                  <a:gd name="T7" fmla="*/ 6 h 69"/>
                  <a:gd name="T8" fmla="*/ 21 w 218"/>
                  <a:gd name="T9" fmla="*/ 9 h 69"/>
                  <a:gd name="T10" fmla="*/ 12 w 218"/>
                  <a:gd name="T11" fmla="*/ 9 h 69"/>
                  <a:gd name="T12" fmla="*/ 6 w 218"/>
                  <a:gd name="T13" fmla="*/ 3 h 69"/>
                  <a:gd name="T14" fmla="*/ 0 w 218"/>
                  <a:gd name="T15" fmla="*/ 0 h 69"/>
                  <a:gd name="T16" fmla="*/ 3 w 218"/>
                  <a:gd name="T17" fmla="*/ 18 h 69"/>
                  <a:gd name="T18" fmla="*/ 15 w 218"/>
                  <a:gd name="T19" fmla="*/ 39 h 69"/>
                  <a:gd name="T20" fmla="*/ 27 w 218"/>
                  <a:gd name="T21" fmla="*/ 51 h 69"/>
                  <a:gd name="T22" fmla="*/ 48 w 218"/>
                  <a:gd name="T23" fmla="*/ 63 h 69"/>
                  <a:gd name="T24" fmla="*/ 39 w 218"/>
                  <a:gd name="T25" fmla="*/ 45 h 69"/>
                  <a:gd name="T26" fmla="*/ 39 w 218"/>
                  <a:gd name="T27" fmla="*/ 24 h 69"/>
                  <a:gd name="T28" fmla="*/ 209 w 218"/>
                  <a:gd name="T29" fmla="*/ 12 h 69"/>
                  <a:gd name="T30" fmla="*/ 200 w 218"/>
                  <a:gd name="T31" fmla="*/ 9 h 69"/>
                  <a:gd name="T32" fmla="*/ 188 w 218"/>
                  <a:gd name="T33" fmla="*/ 0 h 69"/>
                  <a:gd name="T34" fmla="*/ 180 w 218"/>
                  <a:gd name="T35" fmla="*/ 12 h 69"/>
                  <a:gd name="T36" fmla="*/ 174 w 218"/>
                  <a:gd name="T37" fmla="*/ 18 h 69"/>
                  <a:gd name="T38" fmla="*/ 174 w 218"/>
                  <a:gd name="T39" fmla="*/ 21 h 69"/>
                  <a:gd name="T40" fmla="*/ 174 w 218"/>
                  <a:gd name="T41" fmla="*/ 30 h 69"/>
                  <a:gd name="T42" fmla="*/ 165 w 218"/>
                  <a:gd name="T43" fmla="*/ 30 h 69"/>
                  <a:gd name="T44" fmla="*/ 159 w 218"/>
                  <a:gd name="T45" fmla="*/ 24 h 69"/>
                  <a:gd name="T46" fmla="*/ 159 w 218"/>
                  <a:gd name="T47" fmla="*/ 24 h 69"/>
                  <a:gd name="T48" fmla="*/ 150 w 218"/>
                  <a:gd name="T49" fmla="*/ 39 h 69"/>
                  <a:gd name="T50" fmla="*/ 132 w 218"/>
                  <a:gd name="T51" fmla="*/ 45 h 69"/>
                  <a:gd name="T52" fmla="*/ 126 w 218"/>
                  <a:gd name="T53" fmla="*/ 57 h 69"/>
                  <a:gd name="T54" fmla="*/ 108 w 218"/>
                  <a:gd name="T55" fmla="*/ 54 h 69"/>
                  <a:gd name="T56" fmla="*/ 111 w 218"/>
                  <a:gd name="T57" fmla="*/ 60 h 69"/>
                  <a:gd name="T58" fmla="*/ 123 w 218"/>
                  <a:gd name="T59" fmla="*/ 66 h 69"/>
                  <a:gd name="T60" fmla="*/ 135 w 218"/>
                  <a:gd name="T61" fmla="*/ 66 h 69"/>
                  <a:gd name="T62" fmla="*/ 147 w 218"/>
                  <a:gd name="T63" fmla="*/ 60 h 69"/>
                  <a:gd name="T64" fmla="*/ 159 w 218"/>
                  <a:gd name="T65" fmla="*/ 63 h 69"/>
                  <a:gd name="T66" fmla="*/ 168 w 218"/>
                  <a:gd name="T67" fmla="*/ 54 h 69"/>
                  <a:gd name="T68" fmla="*/ 171 w 218"/>
                  <a:gd name="T69" fmla="*/ 45 h 69"/>
                  <a:gd name="T70" fmla="*/ 177 w 218"/>
                  <a:gd name="T71" fmla="*/ 36 h 69"/>
                  <a:gd name="T72" fmla="*/ 194 w 218"/>
                  <a:gd name="T73" fmla="*/ 27 h 69"/>
                  <a:gd name="T74" fmla="*/ 200 w 218"/>
                  <a:gd name="T75" fmla="*/ 30 h 69"/>
                  <a:gd name="T76" fmla="*/ 206 w 218"/>
                  <a:gd name="T77" fmla="*/ 21 h 69"/>
                  <a:gd name="T78" fmla="*/ 218 w 218"/>
                  <a:gd name="T79" fmla="*/ 18 h 69"/>
                  <a:gd name="T80" fmla="*/ 209 w 218"/>
                  <a:gd name="T8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69">
                    <a:moveTo>
                      <a:pt x="39" y="24"/>
                    </a:moveTo>
                    <a:cubicBezTo>
                      <a:pt x="39" y="18"/>
                      <a:pt x="33" y="18"/>
                      <a:pt x="33" y="12"/>
                    </a:cubicBezTo>
                    <a:cubicBezTo>
                      <a:pt x="30" y="6"/>
                      <a:pt x="27" y="9"/>
                      <a:pt x="27" y="6"/>
                    </a:cubicBezTo>
                    <a:cubicBezTo>
                      <a:pt x="27" y="6"/>
                      <a:pt x="27" y="6"/>
                      <a:pt x="24" y="6"/>
                    </a:cubicBezTo>
                    <a:cubicBezTo>
                      <a:pt x="21" y="6"/>
                      <a:pt x="24" y="9"/>
                      <a:pt x="21" y="9"/>
                    </a:cubicBezTo>
                    <a:cubicBezTo>
                      <a:pt x="21" y="9"/>
                      <a:pt x="12" y="12"/>
                      <a:pt x="12" y="9"/>
                    </a:cubicBezTo>
                    <a:cubicBezTo>
                      <a:pt x="12" y="6"/>
                      <a:pt x="12" y="3"/>
                      <a:pt x="6" y="3"/>
                    </a:cubicBezTo>
                    <a:cubicBezTo>
                      <a:pt x="6" y="0"/>
                      <a:pt x="3" y="0"/>
                      <a:pt x="0" y="0"/>
                    </a:cubicBezTo>
                    <a:cubicBezTo>
                      <a:pt x="3" y="6"/>
                      <a:pt x="3" y="15"/>
                      <a:pt x="3" y="18"/>
                    </a:cubicBezTo>
                    <a:cubicBezTo>
                      <a:pt x="3" y="24"/>
                      <a:pt x="15" y="36"/>
                      <a:pt x="15" y="39"/>
                    </a:cubicBezTo>
                    <a:cubicBezTo>
                      <a:pt x="18" y="45"/>
                      <a:pt x="21" y="45"/>
                      <a:pt x="27" y="51"/>
                    </a:cubicBezTo>
                    <a:cubicBezTo>
                      <a:pt x="33" y="54"/>
                      <a:pt x="45" y="63"/>
                      <a:pt x="48" y="63"/>
                    </a:cubicBezTo>
                    <a:cubicBezTo>
                      <a:pt x="51" y="60"/>
                      <a:pt x="45" y="51"/>
                      <a:pt x="39" y="45"/>
                    </a:cubicBezTo>
                    <a:cubicBezTo>
                      <a:pt x="36" y="42"/>
                      <a:pt x="39" y="33"/>
                      <a:pt x="39" y="24"/>
                    </a:cubicBezTo>
                    <a:close/>
                    <a:moveTo>
                      <a:pt x="209" y="12"/>
                    </a:moveTo>
                    <a:cubicBezTo>
                      <a:pt x="206" y="12"/>
                      <a:pt x="200" y="12"/>
                      <a:pt x="200" y="9"/>
                    </a:cubicBezTo>
                    <a:cubicBezTo>
                      <a:pt x="200" y="6"/>
                      <a:pt x="194" y="0"/>
                      <a:pt x="188" y="0"/>
                    </a:cubicBezTo>
                    <a:cubicBezTo>
                      <a:pt x="186" y="0"/>
                      <a:pt x="183" y="9"/>
                      <a:pt x="180" y="12"/>
                    </a:cubicBezTo>
                    <a:cubicBezTo>
                      <a:pt x="180" y="15"/>
                      <a:pt x="174" y="15"/>
                      <a:pt x="174" y="18"/>
                    </a:cubicBezTo>
                    <a:cubicBezTo>
                      <a:pt x="177" y="21"/>
                      <a:pt x="174" y="21"/>
                      <a:pt x="174" y="21"/>
                    </a:cubicBezTo>
                    <a:cubicBezTo>
                      <a:pt x="174" y="27"/>
                      <a:pt x="174" y="30"/>
                      <a:pt x="174" y="30"/>
                    </a:cubicBezTo>
                    <a:cubicBezTo>
                      <a:pt x="171" y="27"/>
                      <a:pt x="171" y="30"/>
                      <a:pt x="165" y="30"/>
                    </a:cubicBezTo>
                    <a:cubicBezTo>
                      <a:pt x="165" y="30"/>
                      <a:pt x="162" y="27"/>
                      <a:pt x="159" y="24"/>
                    </a:cubicBezTo>
                    <a:cubicBezTo>
                      <a:pt x="159" y="24"/>
                      <a:pt x="159" y="24"/>
                      <a:pt x="159" y="24"/>
                    </a:cubicBezTo>
                    <a:cubicBezTo>
                      <a:pt x="156" y="24"/>
                      <a:pt x="150" y="33"/>
                      <a:pt x="150" y="39"/>
                    </a:cubicBezTo>
                    <a:cubicBezTo>
                      <a:pt x="147" y="45"/>
                      <a:pt x="141" y="42"/>
                      <a:pt x="132" y="45"/>
                    </a:cubicBezTo>
                    <a:cubicBezTo>
                      <a:pt x="123" y="45"/>
                      <a:pt x="129" y="54"/>
                      <a:pt x="126" y="57"/>
                    </a:cubicBezTo>
                    <a:cubicBezTo>
                      <a:pt x="123" y="63"/>
                      <a:pt x="114" y="54"/>
                      <a:pt x="108" y="54"/>
                    </a:cubicBezTo>
                    <a:cubicBezTo>
                      <a:pt x="111" y="57"/>
                      <a:pt x="111" y="60"/>
                      <a:pt x="111" y="60"/>
                    </a:cubicBezTo>
                    <a:cubicBezTo>
                      <a:pt x="114" y="60"/>
                      <a:pt x="120" y="69"/>
                      <a:pt x="123" y="66"/>
                    </a:cubicBezTo>
                    <a:cubicBezTo>
                      <a:pt x="123" y="63"/>
                      <a:pt x="132" y="66"/>
                      <a:pt x="135" y="66"/>
                    </a:cubicBezTo>
                    <a:cubicBezTo>
                      <a:pt x="141" y="63"/>
                      <a:pt x="141" y="60"/>
                      <a:pt x="147" y="60"/>
                    </a:cubicBezTo>
                    <a:cubicBezTo>
                      <a:pt x="153" y="60"/>
                      <a:pt x="153" y="66"/>
                      <a:pt x="159" y="63"/>
                    </a:cubicBezTo>
                    <a:cubicBezTo>
                      <a:pt x="165" y="60"/>
                      <a:pt x="168" y="60"/>
                      <a:pt x="168" y="54"/>
                    </a:cubicBezTo>
                    <a:cubicBezTo>
                      <a:pt x="168" y="48"/>
                      <a:pt x="171" y="48"/>
                      <a:pt x="171" y="45"/>
                    </a:cubicBezTo>
                    <a:cubicBezTo>
                      <a:pt x="171" y="39"/>
                      <a:pt x="180" y="42"/>
                      <a:pt x="177" y="36"/>
                    </a:cubicBezTo>
                    <a:cubicBezTo>
                      <a:pt x="177" y="27"/>
                      <a:pt x="188" y="27"/>
                      <a:pt x="194" y="27"/>
                    </a:cubicBezTo>
                    <a:cubicBezTo>
                      <a:pt x="197" y="27"/>
                      <a:pt x="197" y="27"/>
                      <a:pt x="200" y="30"/>
                    </a:cubicBezTo>
                    <a:cubicBezTo>
                      <a:pt x="203" y="27"/>
                      <a:pt x="209" y="24"/>
                      <a:pt x="206" y="21"/>
                    </a:cubicBezTo>
                    <a:cubicBezTo>
                      <a:pt x="203" y="21"/>
                      <a:pt x="215" y="21"/>
                      <a:pt x="218" y="18"/>
                    </a:cubicBezTo>
                    <a:cubicBezTo>
                      <a:pt x="218" y="15"/>
                      <a:pt x="212" y="12"/>
                      <a:pt x="209"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49" name="Freeform 823"/>
              <p:cNvSpPr>
                <a:spLocks noEditPoints="1"/>
              </p:cNvSpPr>
              <p:nvPr userDrawn="1"/>
            </p:nvSpPr>
            <p:spPr bwMode="auto">
              <a:xfrm>
                <a:off x="5215" y="-1259"/>
                <a:ext cx="339" cy="108"/>
              </a:xfrm>
              <a:custGeom>
                <a:avLst/>
                <a:gdLst>
                  <a:gd name="T0" fmla="*/ 39 w 218"/>
                  <a:gd name="T1" fmla="*/ 24 h 69"/>
                  <a:gd name="T2" fmla="*/ 33 w 218"/>
                  <a:gd name="T3" fmla="*/ 12 h 69"/>
                  <a:gd name="T4" fmla="*/ 27 w 218"/>
                  <a:gd name="T5" fmla="*/ 6 h 69"/>
                  <a:gd name="T6" fmla="*/ 24 w 218"/>
                  <a:gd name="T7" fmla="*/ 6 h 69"/>
                  <a:gd name="T8" fmla="*/ 21 w 218"/>
                  <a:gd name="T9" fmla="*/ 9 h 69"/>
                  <a:gd name="T10" fmla="*/ 12 w 218"/>
                  <a:gd name="T11" fmla="*/ 9 h 69"/>
                  <a:gd name="T12" fmla="*/ 6 w 218"/>
                  <a:gd name="T13" fmla="*/ 3 h 69"/>
                  <a:gd name="T14" fmla="*/ 0 w 218"/>
                  <a:gd name="T15" fmla="*/ 0 h 69"/>
                  <a:gd name="T16" fmla="*/ 3 w 218"/>
                  <a:gd name="T17" fmla="*/ 18 h 69"/>
                  <a:gd name="T18" fmla="*/ 15 w 218"/>
                  <a:gd name="T19" fmla="*/ 39 h 69"/>
                  <a:gd name="T20" fmla="*/ 27 w 218"/>
                  <a:gd name="T21" fmla="*/ 51 h 69"/>
                  <a:gd name="T22" fmla="*/ 48 w 218"/>
                  <a:gd name="T23" fmla="*/ 63 h 69"/>
                  <a:gd name="T24" fmla="*/ 39 w 218"/>
                  <a:gd name="T25" fmla="*/ 45 h 69"/>
                  <a:gd name="T26" fmla="*/ 39 w 218"/>
                  <a:gd name="T27" fmla="*/ 24 h 69"/>
                  <a:gd name="T28" fmla="*/ 209 w 218"/>
                  <a:gd name="T29" fmla="*/ 12 h 69"/>
                  <a:gd name="T30" fmla="*/ 200 w 218"/>
                  <a:gd name="T31" fmla="*/ 9 h 69"/>
                  <a:gd name="T32" fmla="*/ 188 w 218"/>
                  <a:gd name="T33" fmla="*/ 0 h 69"/>
                  <a:gd name="T34" fmla="*/ 180 w 218"/>
                  <a:gd name="T35" fmla="*/ 12 h 69"/>
                  <a:gd name="T36" fmla="*/ 174 w 218"/>
                  <a:gd name="T37" fmla="*/ 18 h 69"/>
                  <a:gd name="T38" fmla="*/ 174 w 218"/>
                  <a:gd name="T39" fmla="*/ 21 h 69"/>
                  <a:gd name="T40" fmla="*/ 174 w 218"/>
                  <a:gd name="T41" fmla="*/ 30 h 69"/>
                  <a:gd name="T42" fmla="*/ 165 w 218"/>
                  <a:gd name="T43" fmla="*/ 30 h 69"/>
                  <a:gd name="T44" fmla="*/ 159 w 218"/>
                  <a:gd name="T45" fmla="*/ 24 h 69"/>
                  <a:gd name="T46" fmla="*/ 159 w 218"/>
                  <a:gd name="T47" fmla="*/ 24 h 69"/>
                  <a:gd name="T48" fmla="*/ 150 w 218"/>
                  <a:gd name="T49" fmla="*/ 39 h 69"/>
                  <a:gd name="T50" fmla="*/ 132 w 218"/>
                  <a:gd name="T51" fmla="*/ 45 h 69"/>
                  <a:gd name="T52" fmla="*/ 126 w 218"/>
                  <a:gd name="T53" fmla="*/ 57 h 69"/>
                  <a:gd name="T54" fmla="*/ 108 w 218"/>
                  <a:gd name="T55" fmla="*/ 54 h 69"/>
                  <a:gd name="T56" fmla="*/ 111 w 218"/>
                  <a:gd name="T57" fmla="*/ 60 h 69"/>
                  <a:gd name="T58" fmla="*/ 123 w 218"/>
                  <a:gd name="T59" fmla="*/ 66 h 69"/>
                  <a:gd name="T60" fmla="*/ 135 w 218"/>
                  <a:gd name="T61" fmla="*/ 66 h 69"/>
                  <a:gd name="T62" fmla="*/ 147 w 218"/>
                  <a:gd name="T63" fmla="*/ 60 h 69"/>
                  <a:gd name="T64" fmla="*/ 159 w 218"/>
                  <a:gd name="T65" fmla="*/ 63 h 69"/>
                  <a:gd name="T66" fmla="*/ 168 w 218"/>
                  <a:gd name="T67" fmla="*/ 54 h 69"/>
                  <a:gd name="T68" fmla="*/ 171 w 218"/>
                  <a:gd name="T69" fmla="*/ 45 h 69"/>
                  <a:gd name="T70" fmla="*/ 177 w 218"/>
                  <a:gd name="T71" fmla="*/ 36 h 69"/>
                  <a:gd name="T72" fmla="*/ 194 w 218"/>
                  <a:gd name="T73" fmla="*/ 27 h 69"/>
                  <a:gd name="T74" fmla="*/ 200 w 218"/>
                  <a:gd name="T75" fmla="*/ 30 h 69"/>
                  <a:gd name="T76" fmla="*/ 206 w 218"/>
                  <a:gd name="T77" fmla="*/ 21 h 69"/>
                  <a:gd name="T78" fmla="*/ 218 w 218"/>
                  <a:gd name="T79" fmla="*/ 18 h 69"/>
                  <a:gd name="T80" fmla="*/ 209 w 218"/>
                  <a:gd name="T81"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69">
                    <a:moveTo>
                      <a:pt x="39" y="24"/>
                    </a:moveTo>
                    <a:cubicBezTo>
                      <a:pt x="39" y="18"/>
                      <a:pt x="33" y="18"/>
                      <a:pt x="33" y="12"/>
                    </a:cubicBezTo>
                    <a:cubicBezTo>
                      <a:pt x="30" y="6"/>
                      <a:pt x="27" y="9"/>
                      <a:pt x="27" y="6"/>
                    </a:cubicBezTo>
                    <a:cubicBezTo>
                      <a:pt x="27" y="6"/>
                      <a:pt x="27" y="6"/>
                      <a:pt x="24" y="6"/>
                    </a:cubicBezTo>
                    <a:cubicBezTo>
                      <a:pt x="21" y="6"/>
                      <a:pt x="24" y="9"/>
                      <a:pt x="21" y="9"/>
                    </a:cubicBezTo>
                    <a:cubicBezTo>
                      <a:pt x="21" y="9"/>
                      <a:pt x="12" y="12"/>
                      <a:pt x="12" y="9"/>
                    </a:cubicBezTo>
                    <a:cubicBezTo>
                      <a:pt x="12" y="6"/>
                      <a:pt x="12" y="3"/>
                      <a:pt x="6" y="3"/>
                    </a:cubicBezTo>
                    <a:cubicBezTo>
                      <a:pt x="6" y="0"/>
                      <a:pt x="3" y="0"/>
                      <a:pt x="0" y="0"/>
                    </a:cubicBezTo>
                    <a:cubicBezTo>
                      <a:pt x="3" y="6"/>
                      <a:pt x="3" y="15"/>
                      <a:pt x="3" y="18"/>
                    </a:cubicBezTo>
                    <a:cubicBezTo>
                      <a:pt x="3" y="24"/>
                      <a:pt x="15" y="36"/>
                      <a:pt x="15" y="39"/>
                    </a:cubicBezTo>
                    <a:cubicBezTo>
                      <a:pt x="18" y="45"/>
                      <a:pt x="21" y="45"/>
                      <a:pt x="27" y="51"/>
                    </a:cubicBezTo>
                    <a:cubicBezTo>
                      <a:pt x="33" y="54"/>
                      <a:pt x="45" y="63"/>
                      <a:pt x="48" y="63"/>
                    </a:cubicBezTo>
                    <a:cubicBezTo>
                      <a:pt x="51" y="60"/>
                      <a:pt x="45" y="51"/>
                      <a:pt x="39" y="45"/>
                    </a:cubicBezTo>
                    <a:cubicBezTo>
                      <a:pt x="36" y="42"/>
                      <a:pt x="39" y="33"/>
                      <a:pt x="39" y="24"/>
                    </a:cubicBezTo>
                    <a:close/>
                    <a:moveTo>
                      <a:pt x="209" y="12"/>
                    </a:moveTo>
                    <a:cubicBezTo>
                      <a:pt x="206" y="12"/>
                      <a:pt x="200" y="12"/>
                      <a:pt x="200" y="9"/>
                    </a:cubicBezTo>
                    <a:cubicBezTo>
                      <a:pt x="200" y="6"/>
                      <a:pt x="194" y="0"/>
                      <a:pt x="188" y="0"/>
                    </a:cubicBezTo>
                    <a:cubicBezTo>
                      <a:pt x="186" y="0"/>
                      <a:pt x="183" y="9"/>
                      <a:pt x="180" y="12"/>
                    </a:cubicBezTo>
                    <a:cubicBezTo>
                      <a:pt x="180" y="15"/>
                      <a:pt x="174" y="15"/>
                      <a:pt x="174" y="18"/>
                    </a:cubicBezTo>
                    <a:cubicBezTo>
                      <a:pt x="177" y="21"/>
                      <a:pt x="174" y="21"/>
                      <a:pt x="174" y="21"/>
                    </a:cubicBezTo>
                    <a:cubicBezTo>
                      <a:pt x="174" y="27"/>
                      <a:pt x="174" y="30"/>
                      <a:pt x="174" y="30"/>
                    </a:cubicBezTo>
                    <a:cubicBezTo>
                      <a:pt x="171" y="27"/>
                      <a:pt x="171" y="30"/>
                      <a:pt x="165" y="30"/>
                    </a:cubicBezTo>
                    <a:cubicBezTo>
                      <a:pt x="165" y="30"/>
                      <a:pt x="162" y="27"/>
                      <a:pt x="159" y="24"/>
                    </a:cubicBezTo>
                    <a:cubicBezTo>
                      <a:pt x="159" y="24"/>
                      <a:pt x="159" y="24"/>
                      <a:pt x="159" y="24"/>
                    </a:cubicBezTo>
                    <a:cubicBezTo>
                      <a:pt x="156" y="24"/>
                      <a:pt x="150" y="33"/>
                      <a:pt x="150" y="39"/>
                    </a:cubicBezTo>
                    <a:cubicBezTo>
                      <a:pt x="147" y="45"/>
                      <a:pt x="141" y="42"/>
                      <a:pt x="132" y="45"/>
                    </a:cubicBezTo>
                    <a:cubicBezTo>
                      <a:pt x="123" y="45"/>
                      <a:pt x="129" y="54"/>
                      <a:pt x="126" y="57"/>
                    </a:cubicBezTo>
                    <a:cubicBezTo>
                      <a:pt x="123" y="63"/>
                      <a:pt x="114" y="54"/>
                      <a:pt x="108" y="54"/>
                    </a:cubicBezTo>
                    <a:cubicBezTo>
                      <a:pt x="111" y="57"/>
                      <a:pt x="111" y="60"/>
                      <a:pt x="111" y="60"/>
                    </a:cubicBezTo>
                    <a:cubicBezTo>
                      <a:pt x="114" y="60"/>
                      <a:pt x="120" y="69"/>
                      <a:pt x="123" y="66"/>
                    </a:cubicBezTo>
                    <a:cubicBezTo>
                      <a:pt x="123" y="63"/>
                      <a:pt x="132" y="66"/>
                      <a:pt x="135" y="66"/>
                    </a:cubicBezTo>
                    <a:cubicBezTo>
                      <a:pt x="141" y="63"/>
                      <a:pt x="141" y="60"/>
                      <a:pt x="147" y="60"/>
                    </a:cubicBezTo>
                    <a:cubicBezTo>
                      <a:pt x="153" y="60"/>
                      <a:pt x="153" y="66"/>
                      <a:pt x="159" y="63"/>
                    </a:cubicBezTo>
                    <a:cubicBezTo>
                      <a:pt x="165" y="60"/>
                      <a:pt x="168" y="60"/>
                      <a:pt x="168" y="54"/>
                    </a:cubicBezTo>
                    <a:cubicBezTo>
                      <a:pt x="168" y="48"/>
                      <a:pt x="171" y="48"/>
                      <a:pt x="171" y="45"/>
                    </a:cubicBezTo>
                    <a:cubicBezTo>
                      <a:pt x="171" y="39"/>
                      <a:pt x="180" y="42"/>
                      <a:pt x="177" y="36"/>
                    </a:cubicBezTo>
                    <a:cubicBezTo>
                      <a:pt x="177" y="27"/>
                      <a:pt x="188" y="27"/>
                      <a:pt x="194" y="27"/>
                    </a:cubicBezTo>
                    <a:cubicBezTo>
                      <a:pt x="197" y="27"/>
                      <a:pt x="197" y="27"/>
                      <a:pt x="200" y="30"/>
                    </a:cubicBezTo>
                    <a:cubicBezTo>
                      <a:pt x="203" y="27"/>
                      <a:pt x="209" y="24"/>
                      <a:pt x="206" y="21"/>
                    </a:cubicBezTo>
                    <a:cubicBezTo>
                      <a:pt x="203" y="21"/>
                      <a:pt x="215" y="21"/>
                      <a:pt x="218" y="18"/>
                    </a:cubicBezTo>
                    <a:cubicBezTo>
                      <a:pt x="218" y="15"/>
                      <a:pt x="212" y="12"/>
                      <a:pt x="209" y="12"/>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0" name="Freeform 824"/>
              <p:cNvSpPr>
                <a:spLocks/>
              </p:cNvSpPr>
              <p:nvPr userDrawn="1"/>
            </p:nvSpPr>
            <p:spPr bwMode="auto">
              <a:xfrm>
                <a:off x="5461" y="-1226"/>
                <a:ext cx="23" cy="14"/>
              </a:xfrm>
              <a:custGeom>
                <a:avLst/>
                <a:gdLst>
                  <a:gd name="T0" fmla="*/ 6 w 15"/>
                  <a:gd name="T1" fmla="*/ 9 h 9"/>
                  <a:gd name="T2" fmla="*/ 15 w 15"/>
                  <a:gd name="T3" fmla="*/ 9 h 9"/>
                  <a:gd name="T4" fmla="*/ 15 w 15"/>
                  <a:gd name="T5" fmla="*/ 0 h 9"/>
                  <a:gd name="T6" fmla="*/ 9 w 15"/>
                  <a:gd name="T7" fmla="*/ 3 h 9"/>
                  <a:gd name="T8" fmla="*/ 0 w 15"/>
                  <a:gd name="T9" fmla="*/ 3 h 9"/>
                  <a:gd name="T10" fmla="*/ 6 w 15"/>
                  <a:gd name="T11" fmla="*/ 9 h 9"/>
                </a:gdLst>
                <a:ahLst/>
                <a:cxnLst>
                  <a:cxn ang="0">
                    <a:pos x="T0" y="T1"/>
                  </a:cxn>
                  <a:cxn ang="0">
                    <a:pos x="T2" y="T3"/>
                  </a:cxn>
                  <a:cxn ang="0">
                    <a:pos x="T4" y="T5"/>
                  </a:cxn>
                  <a:cxn ang="0">
                    <a:pos x="T6" y="T7"/>
                  </a:cxn>
                  <a:cxn ang="0">
                    <a:pos x="T8" y="T9"/>
                  </a:cxn>
                  <a:cxn ang="0">
                    <a:pos x="T10" y="T11"/>
                  </a:cxn>
                </a:cxnLst>
                <a:rect l="0" t="0" r="r" b="b"/>
                <a:pathLst>
                  <a:path w="15" h="9">
                    <a:moveTo>
                      <a:pt x="6" y="9"/>
                    </a:moveTo>
                    <a:cubicBezTo>
                      <a:pt x="12" y="9"/>
                      <a:pt x="12" y="6"/>
                      <a:pt x="15" y="9"/>
                    </a:cubicBezTo>
                    <a:cubicBezTo>
                      <a:pt x="15" y="9"/>
                      <a:pt x="15" y="6"/>
                      <a:pt x="15" y="0"/>
                    </a:cubicBezTo>
                    <a:cubicBezTo>
                      <a:pt x="12" y="3"/>
                      <a:pt x="9" y="3"/>
                      <a:pt x="9" y="3"/>
                    </a:cubicBezTo>
                    <a:cubicBezTo>
                      <a:pt x="9" y="6"/>
                      <a:pt x="3" y="3"/>
                      <a:pt x="0" y="3"/>
                    </a:cubicBezTo>
                    <a:cubicBezTo>
                      <a:pt x="3" y="6"/>
                      <a:pt x="6" y="9"/>
                      <a:pt x="6"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1" name="Freeform 825"/>
              <p:cNvSpPr>
                <a:spLocks/>
              </p:cNvSpPr>
              <p:nvPr userDrawn="1"/>
            </p:nvSpPr>
            <p:spPr bwMode="auto">
              <a:xfrm>
                <a:off x="5461" y="-1226"/>
                <a:ext cx="23" cy="14"/>
              </a:xfrm>
              <a:custGeom>
                <a:avLst/>
                <a:gdLst>
                  <a:gd name="T0" fmla="*/ 6 w 15"/>
                  <a:gd name="T1" fmla="*/ 9 h 9"/>
                  <a:gd name="T2" fmla="*/ 15 w 15"/>
                  <a:gd name="T3" fmla="*/ 9 h 9"/>
                  <a:gd name="T4" fmla="*/ 15 w 15"/>
                  <a:gd name="T5" fmla="*/ 0 h 9"/>
                  <a:gd name="T6" fmla="*/ 9 w 15"/>
                  <a:gd name="T7" fmla="*/ 3 h 9"/>
                  <a:gd name="T8" fmla="*/ 0 w 15"/>
                  <a:gd name="T9" fmla="*/ 3 h 9"/>
                  <a:gd name="T10" fmla="*/ 6 w 15"/>
                  <a:gd name="T11" fmla="*/ 9 h 9"/>
                </a:gdLst>
                <a:ahLst/>
                <a:cxnLst>
                  <a:cxn ang="0">
                    <a:pos x="T0" y="T1"/>
                  </a:cxn>
                  <a:cxn ang="0">
                    <a:pos x="T2" y="T3"/>
                  </a:cxn>
                  <a:cxn ang="0">
                    <a:pos x="T4" y="T5"/>
                  </a:cxn>
                  <a:cxn ang="0">
                    <a:pos x="T6" y="T7"/>
                  </a:cxn>
                  <a:cxn ang="0">
                    <a:pos x="T8" y="T9"/>
                  </a:cxn>
                  <a:cxn ang="0">
                    <a:pos x="T10" y="T11"/>
                  </a:cxn>
                </a:cxnLst>
                <a:rect l="0" t="0" r="r" b="b"/>
                <a:pathLst>
                  <a:path w="15" h="9">
                    <a:moveTo>
                      <a:pt x="6" y="9"/>
                    </a:moveTo>
                    <a:cubicBezTo>
                      <a:pt x="12" y="9"/>
                      <a:pt x="12" y="6"/>
                      <a:pt x="15" y="9"/>
                    </a:cubicBezTo>
                    <a:cubicBezTo>
                      <a:pt x="15" y="9"/>
                      <a:pt x="15" y="6"/>
                      <a:pt x="15" y="0"/>
                    </a:cubicBezTo>
                    <a:cubicBezTo>
                      <a:pt x="12" y="3"/>
                      <a:pt x="9" y="3"/>
                      <a:pt x="9" y="3"/>
                    </a:cubicBezTo>
                    <a:cubicBezTo>
                      <a:pt x="9" y="6"/>
                      <a:pt x="3" y="3"/>
                      <a:pt x="0" y="3"/>
                    </a:cubicBezTo>
                    <a:cubicBezTo>
                      <a:pt x="3" y="6"/>
                      <a:pt x="6" y="9"/>
                      <a:pt x="6"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2" name="Freeform 826"/>
              <p:cNvSpPr>
                <a:spLocks/>
              </p:cNvSpPr>
              <p:nvPr userDrawn="1"/>
            </p:nvSpPr>
            <p:spPr bwMode="auto">
              <a:xfrm>
                <a:off x="4153" y="-1839"/>
                <a:ext cx="173" cy="168"/>
              </a:xfrm>
              <a:custGeom>
                <a:avLst/>
                <a:gdLst>
                  <a:gd name="T0" fmla="*/ 93 w 111"/>
                  <a:gd name="T1" fmla="*/ 96 h 108"/>
                  <a:gd name="T2" fmla="*/ 99 w 111"/>
                  <a:gd name="T3" fmla="*/ 93 h 108"/>
                  <a:gd name="T4" fmla="*/ 108 w 111"/>
                  <a:gd name="T5" fmla="*/ 96 h 108"/>
                  <a:gd name="T6" fmla="*/ 111 w 111"/>
                  <a:gd name="T7" fmla="*/ 93 h 108"/>
                  <a:gd name="T8" fmla="*/ 105 w 111"/>
                  <a:gd name="T9" fmla="*/ 87 h 108"/>
                  <a:gd name="T10" fmla="*/ 102 w 111"/>
                  <a:gd name="T11" fmla="*/ 78 h 108"/>
                  <a:gd name="T12" fmla="*/ 102 w 111"/>
                  <a:gd name="T13" fmla="*/ 69 h 108"/>
                  <a:gd name="T14" fmla="*/ 96 w 111"/>
                  <a:gd name="T15" fmla="*/ 63 h 108"/>
                  <a:gd name="T16" fmla="*/ 84 w 111"/>
                  <a:gd name="T17" fmla="*/ 54 h 108"/>
                  <a:gd name="T18" fmla="*/ 78 w 111"/>
                  <a:gd name="T19" fmla="*/ 48 h 108"/>
                  <a:gd name="T20" fmla="*/ 78 w 111"/>
                  <a:gd name="T21" fmla="*/ 39 h 108"/>
                  <a:gd name="T22" fmla="*/ 81 w 111"/>
                  <a:gd name="T23" fmla="*/ 30 h 108"/>
                  <a:gd name="T24" fmla="*/ 84 w 111"/>
                  <a:gd name="T25" fmla="*/ 24 h 108"/>
                  <a:gd name="T26" fmla="*/ 78 w 111"/>
                  <a:gd name="T27" fmla="*/ 18 h 108"/>
                  <a:gd name="T28" fmla="*/ 72 w 111"/>
                  <a:gd name="T29" fmla="*/ 12 h 108"/>
                  <a:gd name="T30" fmla="*/ 69 w 111"/>
                  <a:gd name="T31" fmla="*/ 3 h 108"/>
                  <a:gd name="T32" fmla="*/ 57 w 111"/>
                  <a:gd name="T33" fmla="*/ 3 h 108"/>
                  <a:gd name="T34" fmla="*/ 48 w 111"/>
                  <a:gd name="T35" fmla="*/ 0 h 108"/>
                  <a:gd name="T36" fmla="*/ 42 w 111"/>
                  <a:gd name="T37" fmla="*/ 3 h 108"/>
                  <a:gd name="T38" fmla="*/ 42 w 111"/>
                  <a:gd name="T39" fmla="*/ 3 h 108"/>
                  <a:gd name="T40" fmla="*/ 36 w 111"/>
                  <a:gd name="T41" fmla="*/ 9 h 108"/>
                  <a:gd name="T42" fmla="*/ 27 w 111"/>
                  <a:gd name="T43" fmla="*/ 15 h 108"/>
                  <a:gd name="T44" fmla="*/ 30 w 111"/>
                  <a:gd name="T45" fmla="*/ 24 h 108"/>
                  <a:gd name="T46" fmla="*/ 27 w 111"/>
                  <a:gd name="T47" fmla="*/ 33 h 108"/>
                  <a:gd name="T48" fmla="*/ 24 w 111"/>
                  <a:gd name="T49" fmla="*/ 39 h 108"/>
                  <a:gd name="T50" fmla="*/ 0 w 111"/>
                  <a:gd name="T51" fmla="*/ 51 h 108"/>
                  <a:gd name="T52" fmla="*/ 3 w 111"/>
                  <a:gd name="T53" fmla="*/ 57 h 108"/>
                  <a:gd name="T54" fmla="*/ 6 w 111"/>
                  <a:gd name="T55" fmla="*/ 69 h 108"/>
                  <a:gd name="T56" fmla="*/ 12 w 111"/>
                  <a:gd name="T57" fmla="*/ 69 h 108"/>
                  <a:gd name="T58" fmla="*/ 36 w 111"/>
                  <a:gd name="T59" fmla="*/ 81 h 108"/>
                  <a:gd name="T60" fmla="*/ 63 w 111"/>
                  <a:gd name="T61" fmla="*/ 102 h 108"/>
                  <a:gd name="T62" fmla="*/ 75 w 111"/>
                  <a:gd name="T63" fmla="*/ 105 h 108"/>
                  <a:gd name="T64" fmla="*/ 90 w 111"/>
                  <a:gd name="T65" fmla="*/ 108 h 108"/>
                  <a:gd name="T66" fmla="*/ 93 w 111"/>
                  <a:gd name="T6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08">
                    <a:moveTo>
                      <a:pt x="93" y="96"/>
                    </a:moveTo>
                    <a:cubicBezTo>
                      <a:pt x="96" y="96"/>
                      <a:pt x="96" y="93"/>
                      <a:pt x="99" y="93"/>
                    </a:cubicBezTo>
                    <a:cubicBezTo>
                      <a:pt x="102" y="93"/>
                      <a:pt x="105" y="93"/>
                      <a:pt x="108" y="96"/>
                    </a:cubicBezTo>
                    <a:cubicBezTo>
                      <a:pt x="108" y="96"/>
                      <a:pt x="111" y="96"/>
                      <a:pt x="111" y="93"/>
                    </a:cubicBezTo>
                    <a:cubicBezTo>
                      <a:pt x="108" y="90"/>
                      <a:pt x="105" y="87"/>
                      <a:pt x="105" y="87"/>
                    </a:cubicBezTo>
                    <a:cubicBezTo>
                      <a:pt x="105" y="81"/>
                      <a:pt x="102" y="81"/>
                      <a:pt x="102" y="78"/>
                    </a:cubicBezTo>
                    <a:cubicBezTo>
                      <a:pt x="102" y="75"/>
                      <a:pt x="105" y="72"/>
                      <a:pt x="102" y="69"/>
                    </a:cubicBezTo>
                    <a:cubicBezTo>
                      <a:pt x="99" y="69"/>
                      <a:pt x="99" y="63"/>
                      <a:pt x="96" y="63"/>
                    </a:cubicBezTo>
                    <a:cubicBezTo>
                      <a:pt x="93" y="63"/>
                      <a:pt x="84" y="57"/>
                      <a:pt x="84" y="54"/>
                    </a:cubicBezTo>
                    <a:cubicBezTo>
                      <a:pt x="84" y="51"/>
                      <a:pt x="81" y="51"/>
                      <a:pt x="78" y="48"/>
                    </a:cubicBezTo>
                    <a:cubicBezTo>
                      <a:pt x="78" y="48"/>
                      <a:pt x="75" y="39"/>
                      <a:pt x="78" y="39"/>
                    </a:cubicBezTo>
                    <a:cubicBezTo>
                      <a:pt x="81" y="39"/>
                      <a:pt x="78" y="30"/>
                      <a:pt x="81" y="30"/>
                    </a:cubicBezTo>
                    <a:cubicBezTo>
                      <a:pt x="84" y="30"/>
                      <a:pt x="81" y="27"/>
                      <a:pt x="84" y="24"/>
                    </a:cubicBezTo>
                    <a:cubicBezTo>
                      <a:pt x="84" y="21"/>
                      <a:pt x="81" y="18"/>
                      <a:pt x="78" y="18"/>
                    </a:cubicBezTo>
                    <a:cubicBezTo>
                      <a:pt x="78" y="18"/>
                      <a:pt x="72" y="15"/>
                      <a:pt x="72" y="12"/>
                    </a:cubicBezTo>
                    <a:cubicBezTo>
                      <a:pt x="72" y="9"/>
                      <a:pt x="69" y="6"/>
                      <a:pt x="69" y="3"/>
                    </a:cubicBezTo>
                    <a:cubicBezTo>
                      <a:pt x="69" y="9"/>
                      <a:pt x="60" y="0"/>
                      <a:pt x="57" y="3"/>
                    </a:cubicBezTo>
                    <a:cubicBezTo>
                      <a:pt x="54" y="3"/>
                      <a:pt x="51" y="0"/>
                      <a:pt x="48" y="0"/>
                    </a:cubicBezTo>
                    <a:cubicBezTo>
                      <a:pt x="42" y="0"/>
                      <a:pt x="42" y="3"/>
                      <a:pt x="42" y="3"/>
                    </a:cubicBezTo>
                    <a:cubicBezTo>
                      <a:pt x="42" y="3"/>
                      <a:pt x="42" y="3"/>
                      <a:pt x="42" y="3"/>
                    </a:cubicBezTo>
                    <a:cubicBezTo>
                      <a:pt x="36" y="9"/>
                      <a:pt x="36" y="9"/>
                      <a:pt x="36" y="9"/>
                    </a:cubicBezTo>
                    <a:cubicBezTo>
                      <a:pt x="36" y="9"/>
                      <a:pt x="30" y="9"/>
                      <a:pt x="27" y="15"/>
                    </a:cubicBezTo>
                    <a:cubicBezTo>
                      <a:pt x="27" y="18"/>
                      <a:pt x="30" y="21"/>
                      <a:pt x="30" y="24"/>
                    </a:cubicBezTo>
                    <a:cubicBezTo>
                      <a:pt x="27" y="27"/>
                      <a:pt x="27" y="30"/>
                      <a:pt x="27" y="33"/>
                    </a:cubicBezTo>
                    <a:cubicBezTo>
                      <a:pt x="30" y="33"/>
                      <a:pt x="24" y="39"/>
                      <a:pt x="24" y="39"/>
                    </a:cubicBezTo>
                    <a:cubicBezTo>
                      <a:pt x="24" y="39"/>
                      <a:pt x="12" y="45"/>
                      <a:pt x="0" y="51"/>
                    </a:cubicBezTo>
                    <a:cubicBezTo>
                      <a:pt x="0" y="54"/>
                      <a:pt x="3" y="57"/>
                      <a:pt x="3" y="57"/>
                    </a:cubicBezTo>
                    <a:cubicBezTo>
                      <a:pt x="3" y="60"/>
                      <a:pt x="3" y="63"/>
                      <a:pt x="6" y="69"/>
                    </a:cubicBezTo>
                    <a:cubicBezTo>
                      <a:pt x="9" y="69"/>
                      <a:pt x="9" y="69"/>
                      <a:pt x="12" y="69"/>
                    </a:cubicBezTo>
                    <a:cubicBezTo>
                      <a:pt x="18" y="69"/>
                      <a:pt x="33" y="78"/>
                      <a:pt x="36" y="81"/>
                    </a:cubicBezTo>
                    <a:cubicBezTo>
                      <a:pt x="39" y="84"/>
                      <a:pt x="60" y="99"/>
                      <a:pt x="63" y="102"/>
                    </a:cubicBezTo>
                    <a:cubicBezTo>
                      <a:pt x="66" y="105"/>
                      <a:pt x="75" y="105"/>
                      <a:pt x="75" y="105"/>
                    </a:cubicBezTo>
                    <a:cubicBezTo>
                      <a:pt x="78" y="105"/>
                      <a:pt x="84" y="105"/>
                      <a:pt x="90" y="108"/>
                    </a:cubicBezTo>
                    <a:cubicBezTo>
                      <a:pt x="90" y="102"/>
                      <a:pt x="93" y="99"/>
                      <a:pt x="93" y="9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3" name="Freeform 827"/>
              <p:cNvSpPr>
                <a:spLocks/>
              </p:cNvSpPr>
              <p:nvPr userDrawn="1"/>
            </p:nvSpPr>
            <p:spPr bwMode="auto">
              <a:xfrm>
                <a:off x="4153" y="-1839"/>
                <a:ext cx="173" cy="168"/>
              </a:xfrm>
              <a:custGeom>
                <a:avLst/>
                <a:gdLst>
                  <a:gd name="T0" fmla="*/ 93 w 111"/>
                  <a:gd name="T1" fmla="*/ 96 h 108"/>
                  <a:gd name="T2" fmla="*/ 99 w 111"/>
                  <a:gd name="T3" fmla="*/ 93 h 108"/>
                  <a:gd name="T4" fmla="*/ 108 w 111"/>
                  <a:gd name="T5" fmla="*/ 96 h 108"/>
                  <a:gd name="T6" fmla="*/ 111 w 111"/>
                  <a:gd name="T7" fmla="*/ 93 h 108"/>
                  <a:gd name="T8" fmla="*/ 105 w 111"/>
                  <a:gd name="T9" fmla="*/ 87 h 108"/>
                  <a:gd name="T10" fmla="*/ 102 w 111"/>
                  <a:gd name="T11" fmla="*/ 78 h 108"/>
                  <a:gd name="T12" fmla="*/ 102 w 111"/>
                  <a:gd name="T13" fmla="*/ 69 h 108"/>
                  <a:gd name="T14" fmla="*/ 96 w 111"/>
                  <a:gd name="T15" fmla="*/ 63 h 108"/>
                  <a:gd name="T16" fmla="*/ 84 w 111"/>
                  <a:gd name="T17" fmla="*/ 54 h 108"/>
                  <a:gd name="T18" fmla="*/ 78 w 111"/>
                  <a:gd name="T19" fmla="*/ 48 h 108"/>
                  <a:gd name="T20" fmla="*/ 78 w 111"/>
                  <a:gd name="T21" fmla="*/ 39 h 108"/>
                  <a:gd name="T22" fmla="*/ 81 w 111"/>
                  <a:gd name="T23" fmla="*/ 30 h 108"/>
                  <a:gd name="T24" fmla="*/ 84 w 111"/>
                  <a:gd name="T25" fmla="*/ 24 h 108"/>
                  <a:gd name="T26" fmla="*/ 78 w 111"/>
                  <a:gd name="T27" fmla="*/ 18 h 108"/>
                  <a:gd name="T28" fmla="*/ 72 w 111"/>
                  <a:gd name="T29" fmla="*/ 12 h 108"/>
                  <a:gd name="T30" fmla="*/ 69 w 111"/>
                  <a:gd name="T31" fmla="*/ 3 h 108"/>
                  <a:gd name="T32" fmla="*/ 57 w 111"/>
                  <a:gd name="T33" fmla="*/ 3 h 108"/>
                  <a:gd name="T34" fmla="*/ 48 w 111"/>
                  <a:gd name="T35" fmla="*/ 0 h 108"/>
                  <a:gd name="T36" fmla="*/ 42 w 111"/>
                  <a:gd name="T37" fmla="*/ 3 h 108"/>
                  <a:gd name="T38" fmla="*/ 42 w 111"/>
                  <a:gd name="T39" fmla="*/ 3 h 108"/>
                  <a:gd name="T40" fmla="*/ 36 w 111"/>
                  <a:gd name="T41" fmla="*/ 9 h 108"/>
                  <a:gd name="T42" fmla="*/ 27 w 111"/>
                  <a:gd name="T43" fmla="*/ 15 h 108"/>
                  <a:gd name="T44" fmla="*/ 30 w 111"/>
                  <a:gd name="T45" fmla="*/ 24 h 108"/>
                  <a:gd name="T46" fmla="*/ 27 w 111"/>
                  <a:gd name="T47" fmla="*/ 33 h 108"/>
                  <a:gd name="T48" fmla="*/ 24 w 111"/>
                  <a:gd name="T49" fmla="*/ 39 h 108"/>
                  <a:gd name="T50" fmla="*/ 0 w 111"/>
                  <a:gd name="T51" fmla="*/ 51 h 108"/>
                  <a:gd name="T52" fmla="*/ 3 w 111"/>
                  <a:gd name="T53" fmla="*/ 57 h 108"/>
                  <a:gd name="T54" fmla="*/ 6 w 111"/>
                  <a:gd name="T55" fmla="*/ 69 h 108"/>
                  <a:gd name="T56" fmla="*/ 12 w 111"/>
                  <a:gd name="T57" fmla="*/ 69 h 108"/>
                  <a:gd name="T58" fmla="*/ 36 w 111"/>
                  <a:gd name="T59" fmla="*/ 81 h 108"/>
                  <a:gd name="T60" fmla="*/ 63 w 111"/>
                  <a:gd name="T61" fmla="*/ 102 h 108"/>
                  <a:gd name="T62" fmla="*/ 75 w 111"/>
                  <a:gd name="T63" fmla="*/ 105 h 108"/>
                  <a:gd name="T64" fmla="*/ 90 w 111"/>
                  <a:gd name="T65" fmla="*/ 108 h 108"/>
                  <a:gd name="T66" fmla="*/ 93 w 111"/>
                  <a:gd name="T6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108">
                    <a:moveTo>
                      <a:pt x="93" y="96"/>
                    </a:moveTo>
                    <a:cubicBezTo>
                      <a:pt x="96" y="96"/>
                      <a:pt x="96" y="93"/>
                      <a:pt x="99" y="93"/>
                    </a:cubicBezTo>
                    <a:cubicBezTo>
                      <a:pt x="102" y="93"/>
                      <a:pt x="105" y="93"/>
                      <a:pt x="108" y="96"/>
                    </a:cubicBezTo>
                    <a:cubicBezTo>
                      <a:pt x="108" y="96"/>
                      <a:pt x="111" y="96"/>
                      <a:pt x="111" y="93"/>
                    </a:cubicBezTo>
                    <a:cubicBezTo>
                      <a:pt x="108" y="90"/>
                      <a:pt x="105" y="87"/>
                      <a:pt x="105" y="87"/>
                    </a:cubicBezTo>
                    <a:cubicBezTo>
                      <a:pt x="105" y="81"/>
                      <a:pt x="102" y="81"/>
                      <a:pt x="102" y="78"/>
                    </a:cubicBezTo>
                    <a:cubicBezTo>
                      <a:pt x="102" y="75"/>
                      <a:pt x="105" y="72"/>
                      <a:pt x="102" y="69"/>
                    </a:cubicBezTo>
                    <a:cubicBezTo>
                      <a:pt x="99" y="69"/>
                      <a:pt x="99" y="63"/>
                      <a:pt x="96" y="63"/>
                    </a:cubicBezTo>
                    <a:cubicBezTo>
                      <a:pt x="93" y="63"/>
                      <a:pt x="84" y="57"/>
                      <a:pt x="84" y="54"/>
                    </a:cubicBezTo>
                    <a:cubicBezTo>
                      <a:pt x="84" y="51"/>
                      <a:pt x="81" y="51"/>
                      <a:pt x="78" y="48"/>
                    </a:cubicBezTo>
                    <a:cubicBezTo>
                      <a:pt x="78" y="48"/>
                      <a:pt x="75" y="39"/>
                      <a:pt x="78" y="39"/>
                    </a:cubicBezTo>
                    <a:cubicBezTo>
                      <a:pt x="81" y="39"/>
                      <a:pt x="78" y="30"/>
                      <a:pt x="81" y="30"/>
                    </a:cubicBezTo>
                    <a:cubicBezTo>
                      <a:pt x="84" y="30"/>
                      <a:pt x="81" y="27"/>
                      <a:pt x="84" y="24"/>
                    </a:cubicBezTo>
                    <a:cubicBezTo>
                      <a:pt x="84" y="21"/>
                      <a:pt x="81" y="18"/>
                      <a:pt x="78" y="18"/>
                    </a:cubicBezTo>
                    <a:cubicBezTo>
                      <a:pt x="78" y="18"/>
                      <a:pt x="72" y="15"/>
                      <a:pt x="72" y="12"/>
                    </a:cubicBezTo>
                    <a:cubicBezTo>
                      <a:pt x="72" y="9"/>
                      <a:pt x="69" y="6"/>
                      <a:pt x="69" y="3"/>
                    </a:cubicBezTo>
                    <a:cubicBezTo>
                      <a:pt x="69" y="9"/>
                      <a:pt x="60" y="0"/>
                      <a:pt x="57" y="3"/>
                    </a:cubicBezTo>
                    <a:cubicBezTo>
                      <a:pt x="54" y="3"/>
                      <a:pt x="51" y="0"/>
                      <a:pt x="48" y="0"/>
                    </a:cubicBezTo>
                    <a:cubicBezTo>
                      <a:pt x="42" y="0"/>
                      <a:pt x="42" y="3"/>
                      <a:pt x="42" y="3"/>
                    </a:cubicBezTo>
                    <a:cubicBezTo>
                      <a:pt x="42" y="3"/>
                      <a:pt x="42" y="3"/>
                      <a:pt x="42" y="3"/>
                    </a:cubicBezTo>
                    <a:cubicBezTo>
                      <a:pt x="36" y="9"/>
                      <a:pt x="36" y="9"/>
                      <a:pt x="36" y="9"/>
                    </a:cubicBezTo>
                    <a:cubicBezTo>
                      <a:pt x="36" y="9"/>
                      <a:pt x="30" y="9"/>
                      <a:pt x="27" y="15"/>
                    </a:cubicBezTo>
                    <a:cubicBezTo>
                      <a:pt x="27" y="18"/>
                      <a:pt x="30" y="21"/>
                      <a:pt x="30" y="24"/>
                    </a:cubicBezTo>
                    <a:cubicBezTo>
                      <a:pt x="27" y="27"/>
                      <a:pt x="27" y="30"/>
                      <a:pt x="27" y="33"/>
                    </a:cubicBezTo>
                    <a:cubicBezTo>
                      <a:pt x="30" y="33"/>
                      <a:pt x="24" y="39"/>
                      <a:pt x="24" y="39"/>
                    </a:cubicBezTo>
                    <a:cubicBezTo>
                      <a:pt x="24" y="39"/>
                      <a:pt x="12" y="45"/>
                      <a:pt x="0" y="51"/>
                    </a:cubicBezTo>
                    <a:cubicBezTo>
                      <a:pt x="0" y="54"/>
                      <a:pt x="3" y="57"/>
                      <a:pt x="3" y="57"/>
                    </a:cubicBezTo>
                    <a:cubicBezTo>
                      <a:pt x="3" y="60"/>
                      <a:pt x="3" y="63"/>
                      <a:pt x="6" y="69"/>
                    </a:cubicBezTo>
                    <a:cubicBezTo>
                      <a:pt x="9" y="69"/>
                      <a:pt x="9" y="69"/>
                      <a:pt x="12" y="69"/>
                    </a:cubicBezTo>
                    <a:cubicBezTo>
                      <a:pt x="18" y="69"/>
                      <a:pt x="33" y="78"/>
                      <a:pt x="36" y="81"/>
                    </a:cubicBezTo>
                    <a:cubicBezTo>
                      <a:pt x="39" y="84"/>
                      <a:pt x="60" y="99"/>
                      <a:pt x="63" y="102"/>
                    </a:cubicBezTo>
                    <a:cubicBezTo>
                      <a:pt x="66" y="105"/>
                      <a:pt x="75" y="105"/>
                      <a:pt x="75" y="105"/>
                    </a:cubicBezTo>
                    <a:cubicBezTo>
                      <a:pt x="78" y="105"/>
                      <a:pt x="84" y="105"/>
                      <a:pt x="90" y="108"/>
                    </a:cubicBezTo>
                    <a:cubicBezTo>
                      <a:pt x="90" y="102"/>
                      <a:pt x="93" y="99"/>
                      <a:pt x="93" y="9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4" name="Freeform 828"/>
              <p:cNvSpPr>
                <a:spLocks/>
              </p:cNvSpPr>
              <p:nvPr userDrawn="1"/>
            </p:nvSpPr>
            <p:spPr bwMode="auto">
              <a:xfrm>
                <a:off x="4292" y="-1692"/>
                <a:ext cx="34" cy="31"/>
              </a:xfrm>
              <a:custGeom>
                <a:avLst/>
                <a:gdLst>
                  <a:gd name="T0" fmla="*/ 6 w 22"/>
                  <a:gd name="T1" fmla="*/ 14 h 20"/>
                  <a:gd name="T2" fmla="*/ 12 w 22"/>
                  <a:gd name="T3" fmla="*/ 20 h 20"/>
                  <a:gd name="T4" fmla="*/ 22 w 22"/>
                  <a:gd name="T5" fmla="*/ 20 h 20"/>
                  <a:gd name="T6" fmla="*/ 15 w 22"/>
                  <a:gd name="T7" fmla="*/ 5 h 20"/>
                  <a:gd name="T8" fmla="*/ 18 w 22"/>
                  <a:gd name="T9" fmla="*/ 2 h 20"/>
                  <a:gd name="T10" fmla="*/ 9 w 22"/>
                  <a:gd name="T11" fmla="*/ 0 h 20"/>
                  <a:gd name="T12" fmla="*/ 3 w 22"/>
                  <a:gd name="T13" fmla="*/ 2 h 20"/>
                  <a:gd name="T14" fmla="*/ 0 w 22"/>
                  <a:gd name="T15" fmla="*/ 14 h 20"/>
                  <a:gd name="T16" fmla="*/ 6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6" y="14"/>
                    </a:moveTo>
                    <a:cubicBezTo>
                      <a:pt x="12" y="20"/>
                      <a:pt x="12" y="20"/>
                      <a:pt x="12" y="20"/>
                    </a:cubicBezTo>
                    <a:cubicBezTo>
                      <a:pt x="22" y="20"/>
                      <a:pt x="22" y="20"/>
                      <a:pt x="22" y="20"/>
                    </a:cubicBezTo>
                    <a:cubicBezTo>
                      <a:pt x="18" y="14"/>
                      <a:pt x="15" y="8"/>
                      <a:pt x="15" y="5"/>
                    </a:cubicBezTo>
                    <a:cubicBezTo>
                      <a:pt x="15" y="5"/>
                      <a:pt x="15" y="5"/>
                      <a:pt x="18" y="2"/>
                    </a:cubicBezTo>
                    <a:cubicBezTo>
                      <a:pt x="15" y="0"/>
                      <a:pt x="12" y="0"/>
                      <a:pt x="9" y="0"/>
                    </a:cubicBezTo>
                    <a:cubicBezTo>
                      <a:pt x="6" y="0"/>
                      <a:pt x="6" y="2"/>
                      <a:pt x="3" y="2"/>
                    </a:cubicBezTo>
                    <a:cubicBezTo>
                      <a:pt x="3" y="5"/>
                      <a:pt x="0" y="8"/>
                      <a:pt x="0" y="14"/>
                    </a:cubicBezTo>
                    <a:cubicBezTo>
                      <a:pt x="3" y="14"/>
                      <a:pt x="6" y="14"/>
                      <a:pt x="6" y="1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5" name="Freeform 829"/>
              <p:cNvSpPr>
                <a:spLocks/>
              </p:cNvSpPr>
              <p:nvPr userDrawn="1"/>
            </p:nvSpPr>
            <p:spPr bwMode="auto">
              <a:xfrm>
                <a:off x="4292" y="-1692"/>
                <a:ext cx="34" cy="31"/>
              </a:xfrm>
              <a:custGeom>
                <a:avLst/>
                <a:gdLst>
                  <a:gd name="T0" fmla="*/ 6 w 22"/>
                  <a:gd name="T1" fmla="*/ 14 h 20"/>
                  <a:gd name="T2" fmla="*/ 12 w 22"/>
                  <a:gd name="T3" fmla="*/ 20 h 20"/>
                  <a:gd name="T4" fmla="*/ 22 w 22"/>
                  <a:gd name="T5" fmla="*/ 20 h 20"/>
                  <a:gd name="T6" fmla="*/ 15 w 22"/>
                  <a:gd name="T7" fmla="*/ 5 h 20"/>
                  <a:gd name="T8" fmla="*/ 18 w 22"/>
                  <a:gd name="T9" fmla="*/ 2 h 20"/>
                  <a:gd name="T10" fmla="*/ 9 w 22"/>
                  <a:gd name="T11" fmla="*/ 0 h 20"/>
                  <a:gd name="T12" fmla="*/ 3 w 22"/>
                  <a:gd name="T13" fmla="*/ 2 h 20"/>
                  <a:gd name="T14" fmla="*/ 0 w 22"/>
                  <a:gd name="T15" fmla="*/ 14 h 20"/>
                  <a:gd name="T16" fmla="*/ 6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6" y="14"/>
                    </a:moveTo>
                    <a:cubicBezTo>
                      <a:pt x="12" y="20"/>
                      <a:pt x="12" y="20"/>
                      <a:pt x="12" y="20"/>
                    </a:cubicBezTo>
                    <a:cubicBezTo>
                      <a:pt x="22" y="20"/>
                      <a:pt x="22" y="20"/>
                      <a:pt x="22" y="20"/>
                    </a:cubicBezTo>
                    <a:cubicBezTo>
                      <a:pt x="18" y="14"/>
                      <a:pt x="15" y="8"/>
                      <a:pt x="15" y="5"/>
                    </a:cubicBezTo>
                    <a:cubicBezTo>
                      <a:pt x="15" y="5"/>
                      <a:pt x="15" y="5"/>
                      <a:pt x="18" y="2"/>
                    </a:cubicBezTo>
                    <a:cubicBezTo>
                      <a:pt x="15" y="0"/>
                      <a:pt x="12" y="0"/>
                      <a:pt x="9" y="0"/>
                    </a:cubicBezTo>
                    <a:cubicBezTo>
                      <a:pt x="6" y="0"/>
                      <a:pt x="6" y="2"/>
                      <a:pt x="3" y="2"/>
                    </a:cubicBezTo>
                    <a:cubicBezTo>
                      <a:pt x="3" y="5"/>
                      <a:pt x="0" y="8"/>
                      <a:pt x="0" y="14"/>
                    </a:cubicBezTo>
                    <a:cubicBezTo>
                      <a:pt x="3" y="14"/>
                      <a:pt x="6" y="14"/>
                      <a:pt x="6" y="1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6" name="Freeform 830"/>
              <p:cNvSpPr>
                <a:spLocks noEditPoints="1"/>
              </p:cNvSpPr>
              <p:nvPr userDrawn="1"/>
            </p:nvSpPr>
            <p:spPr bwMode="auto">
              <a:xfrm>
                <a:off x="3396" y="-2139"/>
                <a:ext cx="257" cy="216"/>
              </a:xfrm>
              <a:custGeom>
                <a:avLst/>
                <a:gdLst>
                  <a:gd name="T0" fmla="*/ 144 w 165"/>
                  <a:gd name="T1" fmla="*/ 33 h 138"/>
                  <a:gd name="T2" fmla="*/ 138 w 165"/>
                  <a:gd name="T3" fmla="*/ 30 h 138"/>
                  <a:gd name="T4" fmla="*/ 132 w 165"/>
                  <a:gd name="T5" fmla="*/ 27 h 138"/>
                  <a:gd name="T6" fmla="*/ 120 w 165"/>
                  <a:gd name="T7" fmla="*/ 24 h 138"/>
                  <a:gd name="T8" fmla="*/ 114 w 165"/>
                  <a:gd name="T9" fmla="*/ 21 h 138"/>
                  <a:gd name="T10" fmla="*/ 111 w 165"/>
                  <a:gd name="T11" fmla="*/ 15 h 138"/>
                  <a:gd name="T12" fmla="*/ 105 w 165"/>
                  <a:gd name="T13" fmla="*/ 18 h 138"/>
                  <a:gd name="T14" fmla="*/ 102 w 165"/>
                  <a:gd name="T15" fmla="*/ 15 h 138"/>
                  <a:gd name="T16" fmla="*/ 96 w 165"/>
                  <a:gd name="T17" fmla="*/ 9 h 138"/>
                  <a:gd name="T18" fmla="*/ 90 w 165"/>
                  <a:gd name="T19" fmla="*/ 6 h 138"/>
                  <a:gd name="T20" fmla="*/ 84 w 165"/>
                  <a:gd name="T21" fmla="*/ 3 h 138"/>
                  <a:gd name="T22" fmla="*/ 84 w 165"/>
                  <a:gd name="T23" fmla="*/ 0 h 138"/>
                  <a:gd name="T24" fmla="*/ 81 w 165"/>
                  <a:gd name="T25" fmla="*/ 0 h 138"/>
                  <a:gd name="T26" fmla="*/ 75 w 165"/>
                  <a:gd name="T27" fmla="*/ 12 h 138"/>
                  <a:gd name="T28" fmla="*/ 63 w 165"/>
                  <a:gd name="T29" fmla="*/ 18 h 138"/>
                  <a:gd name="T30" fmla="*/ 57 w 165"/>
                  <a:gd name="T31" fmla="*/ 27 h 138"/>
                  <a:gd name="T32" fmla="*/ 42 w 165"/>
                  <a:gd name="T33" fmla="*/ 21 h 138"/>
                  <a:gd name="T34" fmla="*/ 36 w 165"/>
                  <a:gd name="T35" fmla="*/ 27 h 138"/>
                  <a:gd name="T36" fmla="*/ 36 w 165"/>
                  <a:gd name="T37" fmla="*/ 39 h 138"/>
                  <a:gd name="T38" fmla="*/ 27 w 165"/>
                  <a:gd name="T39" fmla="*/ 39 h 138"/>
                  <a:gd name="T40" fmla="*/ 21 w 165"/>
                  <a:gd name="T41" fmla="*/ 33 h 138"/>
                  <a:gd name="T42" fmla="*/ 9 w 165"/>
                  <a:gd name="T43" fmla="*/ 36 h 138"/>
                  <a:gd name="T44" fmla="*/ 3 w 165"/>
                  <a:gd name="T45" fmla="*/ 42 h 138"/>
                  <a:gd name="T46" fmla="*/ 3 w 165"/>
                  <a:gd name="T47" fmla="*/ 48 h 138"/>
                  <a:gd name="T48" fmla="*/ 18 w 165"/>
                  <a:gd name="T49" fmla="*/ 54 h 138"/>
                  <a:gd name="T50" fmla="*/ 27 w 165"/>
                  <a:gd name="T51" fmla="*/ 54 h 138"/>
                  <a:gd name="T52" fmla="*/ 33 w 165"/>
                  <a:gd name="T53" fmla="*/ 60 h 138"/>
                  <a:gd name="T54" fmla="*/ 39 w 165"/>
                  <a:gd name="T55" fmla="*/ 69 h 138"/>
                  <a:gd name="T56" fmla="*/ 42 w 165"/>
                  <a:gd name="T57" fmla="*/ 78 h 138"/>
                  <a:gd name="T58" fmla="*/ 42 w 165"/>
                  <a:gd name="T59" fmla="*/ 93 h 138"/>
                  <a:gd name="T60" fmla="*/ 36 w 165"/>
                  <a:gd name="T61" fmla="*/ 114 h 138"/>
                  <a:gd name="T62" fmla="*/ 36 w 165"/>
                  <a:gd name="T63" fmla="*/ 114 h 138"/>
                  <a:gd name="T64" fmla="*/ 42 w 165"/>
                  <a:gd name="T65" fmla="*/ 117 h 138"/>
                  <a:gd name="T66" fmla="*/ 54 w 165"/>
                  <a:gd name="T67" fmla="*/ 120 h 138"/>
                  <a:gd name="T68" fmla="*/ 63 w 165"/>
                  <a:gd name="T69" fmla="*/ 120 h 138"/>
                  <a:gd name="T70" fmla="*/ 66 w 165"/>
                  <a:gd name="T71" fmla="*/ 123 h 138"/>
                  <a:gd name="T72" fmla="*/ 81 w 165"/>
                  <a:gd name="T73" fmla="*/ 126 h 138"/>
                  <a:gd name="T74" fmla="*/ 93 w 165"/>
                  <a:gd name="T75" fmla="*/ 126 h 138"/>
                  <a:gd name="T76" fmla="*/ 93 w 165"/>
                  <a:gd name="T77" fmla="*/ 123 h 138"/>
                  <a:gd name="T78" fmla="*/ 102 w 165"/>
                  <a:gd name="T79" fmla="*/ 111 h 138"/>
                  <a:gd name="T80" fmla="*/ 123 w 165"/>
                  <a:gd name="T81" fmla="*/ 117 h 138"/>
                  <a:gd name="T82" fmla="*/ 135 w 165"/>
                  <a:gd name="T83" fmla="*/ 111 h 138"/>
                  <a:gd name="T84" fmla="*/ 141 w 165"/>
                  <a:gd name="T85" fmla="*/ 108 h 138"/>
                  <a:gd name="T86" fmla="*/ 144 w 165"/>
                  <a:gd name="T87" fmla="*/ 102 h 138"/>
                  <a:gd name="T88" fmla="*/ 138 w 165"/>
                  <a:gd name="T89" fmla="*/ 102 h 138"/>
                  <a:gd name="T90" fmla="*/ 135 w 165"/>
                  <a:gd name="T91" fmla="*/ 96 h 138"/>
                  <a:gd name="T92" fmla="*/ 132 w 165"/>
                  <a:gd name="T93" fmla="*/ 90 h 138"/>
                  <a:gd name="T94" fmla="*/ 135 w 165"/>
                  <a:gd name="T95" fmla="*/ 87 h 138"/>
                  <a:gd name="T96" fmla="*/ 135 w 165"/>
                  <a:gd name="T97" fmla="*/ 84 h 138"/>
                  <a:gd name="T98" fmla="*/ 135 w 165"/>
                  <a:gd name="T99" fmla="*/ 78 h 138"/>
                  <a:gd name="T100" fmla="*/ 132 w 165"/>
                  <a:gd name="T101" fmla="*/ 72 h 138"/>
                  <a:gd name="T102" fmla="*/ 129 w 165"/>
                  <a:gd name="T103" fmla="*/ 72 h 138"/>
                  <a:gd name="T104" fmla="*/ 126 w 165"/>
                  <a:gd name="T105" fmla="*/ 66 h 138"/>
                  <a:gd name="T106" fmla="*/ 135 w 165"/>
                  <a:gd name="T107" fmla="*/ 57 h 138"/>
                  <a:gd name="T108" fmla="*/ 141 w 165"/>
                  <a:gd name="T109" fmla="*/ 54 h 138"/>
                  <a:gd name="T110" fmla="*/ 141 w 165"/>
                  <a:gd name="T111" fmla="*/ 45 h 138"/>
                  <a:gd name="T112" fmla="*/ 147 w 165"/>
                  <a:gd name="T113" fmla="*/ 36 h 138"/>
                  <a:gd name="T114" fmla="*/ 144 w 165"/>
                  <a:gd name="T115" fmla="*/ 33 h 138"/>
                  <a:gd name="T116" fmla="*/ 162 w 165"/>
                  <a:gd name="T117" fmla="*/ 117 h 138"/>
                  <a:gd name="T118" fmla="*/ 156 w 165"/>
                  <a:gd name="T119" fmla="*/ 123 h 138"/>
                  <a:gd name="T120" fmla="*/ 159 w 165"/>
                  <a:gd name="T121" fmla="*/ 138 h 138"/>
                  <a:gd name="T122" fmla="*/ 162 w 165"/>
                  <a:gd name="T123" fmla="*/ 11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 h="138">
                    <a:moveTo>
                      <a:pt x="144" y="33"/>
                    </a:moveTo>
                    <a:cubicBezTo>
                      <a:pt x="144" y="33"/>
                      <a:pt x="141" y="30"/>
                      <a:pt x="138" y="30"/>
                    </a:cubicBezTo>
                    <a:cubicBezTo>
                      <a:pt x="135" y="30"/>
                      <a:pt x="132" y="30"/>
                      <a:pt x="132" y="27"/>
                    </a:cubicBezTo>
                    <a:cubicBezTo>
                      <a:pt x="129" y="24"/>
                      <a:pt x="123" y="24"/>
                      <a:pt x="120" y="24"/>
                    </a:cubicBezTo>
                    <a:cubicBezTo>
                      <a:pt x="117" y="24"/>
                      <a:pt x="117" y="21"/>
                      <a:pt x="114" y="21"/>
                    </a:cubicBezTo>
                    <a:cubicBezTo>
                      <a:pt x="111" y="21"/>
                      <a:pt x="111" y="18"/>
                      <a:pt x="111" y="15"/>
                    </a:cubicBezTo>
                    <a:cubicBezTo>
                      <a:pt x="111" y="15"/>
                      <a:pt x="108" y="18"/>
                      <a:pt x="105" y="18"/>
                    </a:cubicBezTo>
                    <a:cubicBezTo>
                      <a:pt x="102" y="18"/>
                      <a:pt x="102" y="15"/>
                      <a:pt x="102" y="15"/>
                    </a:cubicBezTo>
                    <a:cubicBezTo>
                      <a:pt x="102" y="12"/>
                      <a:pt x="96" y="12"/>
                      <a:pt x="96" y="9"/>
                    </a:cubicBezTo>
                    <a:cubicBezTo>
                      <a:pt x="93" y="9"/>
                      <a:pt x="90" y="6"/>
                      <a:pt x="90" y="6"/>
                    </a:cubicBezTo>
                    <a:cubicBezTo>
                      <a:pt x="87" y="9"/>
                      <a:pt x="87" y="3"/>
                      <a:pt x="84" y="3"/>
                    </a:cubicBezTo>
                    <a:cubicBezTo>
                      <a:pt x="84" y="0"/>
                      <a:pt x="84" y="0"/>
                      <a:pt x="84" y="0"/>
                    </a:cubicBezTo>
                    <a:cubicBezTo>
                      <a:pt x="81" y="0"/>
                      <a:pt x="81" y="0"/>
                      <a:pt x="81" y="0"/>
                    </a:cubicBezTo>
                    <a:cubicBezTo>
                      <a:pt x="78" y="0"/>
                      <a:pt x="75" y="3"/>
                      <a:pt x="75" y="12"/>
                    </a:cubicBezTo>
                    <a:cubicBezTo>
                      <a:pt x="75" y="18"/>
                      <a:pt x="69" y="18"/>
                      <a:pt x="63" y="18"/>
                    </a:cubicBezTo>
                    <a:cubicBezTo>
                      <a:pt x="57" y="18"/>
                      <a:pt x="57" y="24"/>
                      <a:pt x="57" y="27"/>
                    </a:cubicBezTo>
                    <a:cubicBezTo>
                      <a:pt x="54" y="30"/>
                      <a:pt x="42" y="24"/>
                      <a:pt x="42" y="21"/>
                    </a:cubicBezTo>
                    <a:cubicBezTo>
                      <a:pt x="39" y="18"/>
                      <a:pt x="30" y="21"/>
                      <a:pt x="36" y="27"/>
                    </a:cubicBezTo>
                    <a:cubicBezTo>
                      <a:pt x="39" y="30"/>
                      <a:pt x="39" y="36"/>
                      <a:pt x="36" y="39"/>
                    </a:cubicBezTo>
                    <a:cubicBezTo>
                      <a:pt x="33" y="39"/>
                      <a:pt x="30" y="36"/>
                      <a:pt x="27" y="39"/>
                    </a:cubicBezTo>
                    <a:cubicBezTo>
                      <a:pt x="24" y="39"/>
                      <a:pt x="24" y="36"/>
                      <a:pt x="21" y="33"/>
                    </a:cubicBezTo>
                    <a:cubicBezTo>
                      <a:pt x="15" y="33"/>
                      <a:pt x="15" y="36"/>
                      <a:pt x="9" y="36"/>
                    </a:cubicBezTo>
                    <a:cubicBezTo>
                      <a:pt x="3" y="36"/>
                      <a:pt x="0" y="39"/>
                      <a:pt x="3" y="42"/>
                    </a:cubicBezTo>
                    <a:cubicBezTo>
                      <a:pt x="3" y="42"/>
                      <a:pt x="0" y="45"/>
                      <a:pt x="3" y="48"/>
                    </a:cubicBezTo>
                    <a:cubicBezTo>
                      <a:pt x="6" y="51"/>
                      <a:pt x="12" y="51"/>
                      <a:pt x="18" y="54"/>
                    </a:cubicBezTo>
                    <a:cubicBezTo>
                      <a:pt x="24" y="57"/>
                      <a:pt x="24" y="54"/>
                      <a:pt x="27" y="54"/>
                    </a:cubicBezTo>
                    <a:cubicBezTo>
                      <a:pt x="30" y="57"/>
                      <a:pt x="30" y="57"/>
                      <a:pt x="33" y="60"/>
                    </a:cubicBezTo>
                    <a:cubicBezTo>
                      <a:pt x="33" y="63"/>
                      <a:pt x="36" y="69"/>
                      <a:pt x="39" y="69"/>
                    </a:cubicBezTo>
                    <a:cubicBezTo>
                      <a:pt x="45" y="72"/>
                      <a:pt x="42" y="75"/>
                      <a:pt x="42" y="78"/>
                    </a:cubicBezTo>
                    <a:cubicBezTo>
                      <a:pt x="45" y="81"/>
                      <a:pt x="42" y="87"/>
                      <a:pt x="42" y="93"/>
                    </a:cubicBezTo>
                    <a:cubicBezTo>
                      <a:pt x="42" y="96"/>
                      <a:pt x="39" y="111"/>
                      <a:pt x="36" y="114"/>
                    </a:cubicBezTo>
                    <a:cubicBezTo>
                      <a:pt x="36" y="114"/>
                      <a:pt x="36" y="114"/>
                      <a:pt x="36" y="114"/>
                    </a:cubicBezTo>
                    <a:cubicBezTo>
                      <a:pt x="39" y="114"/>
                      <a:pt x="42" y="114"/>
                      <a:pt x="42" y="117"/>
                    </a:cubicBezTo>
                    <a:cubicBezTo>
                      <a:pt x="45" y="117"/>
                      <a:pt x="51" y="120"/>
                      <a:pt x="54" y="120"/>
                    </a:cubicBezTo>
                    <a:cubicBezTo>
                      <a:pt x="57" y="123"/>
                      <a:pt x="63" y="123"/>
                      <a:pt x="63" y="120"/>
                    </a:cubicBezTo>
                    <a:cubicBezTo>
                      <a:pt x="63" y="117"/>
                      <a:pt x="66" y="120"/>
                      <a:pt x="66" y="123"/>
                    </a:cubicBezTo>
                    <a:cubicBezTo>
                      <a:pt x="69" y="123"/>
                      <a:pt x="78" y="123"/>
                      <a:pt x="81" y="126"/>
                    </a:cubicBezTo>
                    <a:cubicBezTo>
                      <a:pt x="84" y="126"/>
                      <a:pt x="87" y="126"/>
                      <a:pt x="93" y="126"/>
                    </a:cubicBezTo>
                    <a:cubicBezTo>
                      <a:pt x="93" y="123"/>
                      <a:pt x="93" y="123"/>
                      <a:pt x="93" y="123"/>
                    </a:cubicBezTo>
                    <a:cubicBezTo>
                      <a:pt x="90" y="117"/>
                      <a:pt x="96" y="111"/>
                      <a:pt x="102" y="111"/>
                    </a:cubicBezTo>
                    <a:cubicBezTo>
                      <a:pt x="105" y="111"/>
                      <a:pt x="117" y="114"/>
                      <a:pt x="123" y="117"/>
                    </a:cubicBezTo>
                    <a:cubicBezTo>
                      <a:pt x="126" y="117"/>
                      <a:pt x="129" y="117"/>
                      <a:pt x="135" y="111"/>
                    </a:cubicBezTo>
                    <a:cubicBezTo>
                      <a:pt x="138" y="108"/>
                      <a:pt x="141" y="108"/>
                      <a:pt x="141" y="108"/>
                    </a:cubicBezTo>
                    <a:cubicBezTo>
                      <a:pt x="141" y="105"/>
                      <a:pt x="141" y="105"/>
                      <a:pt x="144" y="102"/>
                    </a:cubicBezTo>
                    <a:cubicBezTo>
                      <a:pt x="144" y="102"/>
                      <a:pt x="141" y="102"/>
                      <a:pt x="138" y="102"/>
                    </a:cubicBezTo>
                    <a:cubicBezTo>
                      <a:pt x="135" y="102"/>
                      <a:pt x="132" y="99"/>
                      <a:pt x="135" y="96"/>
                    </a:cubicBezTo>
                    <a:cubicBezTo>
                      <a:pt x="138" y="93"/>
                      <a:pt x="135" y="93"/>
                      <a:pt x="132" y="90"/>
                    </a:cubicBezTo>
                    <a:cubicBezTo>
                      <a:pt x="129" y="87"/>
                      <a:pt x="132" y="87"/>
                      <a:pt x="135" y="87"/>
                    </a:cubicBezTo>
                    <a:cubicBezTo>
                      <a:pt x="135" y="87"/>
                      <a:pt x="138" y="84"/>
                      <a:pt x="135" y="84"/>
                    </a:cubicBezTo>
                    <a:cubicBezTo>
                      <a:pt x="135" y="81"/>
                      <a:pt x="135" y="81"/>
                      <a:pt x="135" y="78"/>
                    </a:cubicBezTo>
                    <a:cubicBezTo>
                      <a:pt x="135" y="75"/>
                      <a:pt x="132" y="75"/>
                      <a:pt x="132" y="72"/>
                    </a:cubicBezTo>
                    <a:cubicBezTo>
                      <a:pt x="132" y="69"/>
                      <a:pt x="129" y="69"/>
                      <a:pt x="129" y="72"/>
                    </a:cubicBezTo>
                    <a:cubicBezTo>
                      <a:pt x="126" y="75"/>
                      <a:pt x="126" y="72"/>
                      <a:pt x="126" y="66"/>
                    </a:cubicBezTo>
                    <a:cubicBezTo>
                      <a:pt x="129" y="63"/>
                      <a:pt x="132" y="60"/>
                      <a:pt x="135" y="57"/>
                    </a:cubicBezTo>
                    <a:cubicBezTo>
                      <a:pt x="135" y="57"/>
                      <a:pt x="138" y="54"/>
                      <a:pt x="141" y="54"/>
                    </a:cubicBezTo>
                    <a:cubicBezTo>
                      <a:pt x="141" y="54"/>
                      <a:pt x="141" y="48"/>
                      <a:pt x="141" y="45"/>
                    </a:cubicBezTo>
                    <a:cubicBezTo>
                      <a:pt x="144" y="42"/>
                      <a:pt x="144" y="39"/>
                      <a:pt x="147" y="36"/>
                    </a:cubicBezTo>
                    <a:cubicBezTo>
                      <a:pt x="150" y="33"/>
                      <a:pt x="147" y="33"/>
                      <a:pt x="144" y="33"/>
                    </a:cubicBezTo>
                    <a:close/>
                    <a:moveTo>
                      <a:pt x="162" y="117"/>
                    </a:moveTo>
                    <a:cubicBezTo>
                      <a:pt x="159" y="117"/>
                      <a:pt x="159" y="120"/>
                      <a:pt x="156" y="123"/>
                    </a:cubicBezTo>
                    <a:cubicBezTo>
                      <a:pt x="150" y="126"/>
                      <a:pt x="156" y="138"/>
                      <a:pt x="159" y="138"/>
                    </a:cubicBezTo>
                    <a:cubicBezTo>
                      <a:pt x="165" y="138"/>
                      <a:pt x="165" y="117"/>
                      <a:pt x="162" y="11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7" name="Freeform 831"/>
              <p:cNvSpPr>
                <a:spLocks noEditPoints="1"/>
              </p:cNvSpPr>
              <p:nvPr userDrawn="1"/>
            </p:nvSpPr>
            <p:spPr bwMode="auto">
              <a:xfrm>
                <a:off x="3396" y="-2139"/>
                <a:ext cx="257" cy="216"/>
              </a:xfrm>
              <a:custGeom>
                <a:avLst/>
                <a:gdLst>
                  <a:gd name="T0" fmla="*/ 144 w 165"/>
                  <a:gd name="T1" fmla="*/ 33 h 138"/>
                  <a:gd name="T2" fmla="*/ 138 w 165"/>
                  <a:gd name="T3" fmla="*/ 30 h 138"/>
                  <a:gd name="T4" fmla="*/ 132 w 165"/>
                  <a:gd name="T5" fmla="*/ 27 h 138"/>
                  <a:gd name="T6" fmla="*/ 120 w 165"/>
                  <a:gd name="T7" fmla="*/ 24 h 138"/>
                  <a:gd name="T8" fmla="*/ 114 w 165"/>
                  <a:gd name="T9" fmla="*/ 21 h 138"/>
                  <a:gd name="T10" fmla="*/ 111 w 165"/>
                  <a:gd name="T11" fmla="*/ 15 h 138"/>
                  <a:gd name="T12" fmla="*/ 105 w 165"/>
                  <a:gd name="T13" fmla="*/ 18 h 138"/>
                  <a:gd name="T14" fmla="*/ 102 w 165"/>
                  <a:gd name="T15" fmla="*/ 15 h 138"/>
                  <a:gd name="T16" fmla="*/ 96 w 165"/>
                  <a:gd name="T17" fmla="*/ 9 h 138"/>
                  <a:gd name="T18" fmla="*/ 90 w 165"/>
                  <a:gd name="T19" fmla="*/ 6 h 138"/>
                  <a:gd name="T20" fmla="*/ 84 w 165"/>
                  <a:gd name="T21" fmla="*/ 3 h 138"/>
                  <a:gd name="T22" fmla="*/ 84 w 165"/>
                  <a:gd name="T23" fmla="*/ 0 h 138"/>
                  <a:gd name="T24" fmla="*/ 81 w 165"/>
                  <a:gd name="T25" fmla="*/ 0 h 138"/>
                  <a:gd name="T26" fmla="*/ 75 w 165"/>
                  <a:gd name="T27" fmla="*/ 12 h 138"/>
                  <a:gd name="T28" fmla="*/ 63 w 165"/>
                  <a:gd name="T29" fmla="*/ 18 h 138"/>
                  <a:gd name="T30" fmla="*/ 57 w 165"/>
                  <a:gd name="T31" fmla="*/ 27 h 138"/>
                  <a:gd name="T32" fmla="*/ 42 w 165"/>
                  <a:gd name="T33" fmla="*/ 21 h 138"/>
                  <a:gd name="T34" fmla="*/ 36 w 165"/>
                  <a:gd name="T35" fmla="*/ 27 h 138"/>
                  <a:gd name="T36" fmla="*/ 36 w 165"/>
                  <a:gd name="T37" fmla="*/ 39 h 138"/>
                  <a:gd name="T38" fmla="*/ 27 w 165"/>
                  <a:gd name="T39" fmla="*/ 39 h 138"/>
                  <a:gd name="T40" fmla="*/ 21 w 165"/>
                  <a:gd name="T41" fmla="*/ 33 h 138"/>
                  <a:gd name="T42" fmla="*/ 9 w 165"/>
                  <a:gd name="T43" fmla="*/ 36 h 138"/>
                  <a:gd name="T44" fmla="*/ 3 w 165"/>
                  <a:gd name="T45" fmla="*/ 42 h 138"/>
                  <a:gd name="T46" fmla="*/ 3 w 165"/>
                  <a:gd name="T47" fmla="*/ 48 h 138"/>
                  <a:gd name="T48" fmla="*/ 18 w 165"/>
                  <a:gd name="T49" fmla="*/ 54 h 138"/>
                  <a:gd name="T50" fmla="*/ 27 w 165"/>
                  <a:gd name="T51" fmla="*/ 54 h 138"/>
                  <a:gd name="T52" fmla="*/ 33 w 165"/>
                  <a:gd name="T53" fmla="*/ 60 h 138"/>
                  <a:gd name="T54" fmla="*/ 39 w 165"/>
                  <a:gd name="T55" fmla="*/ 69 h 138"/>
                  <a:gd name="T56" fmla="*/ 42 w 165"/>
                  <a:gd name="T57" fmla="*/ 78 h 138"/>
                  <a:gd name="T58" fmla="*/ 42 w 165"/>
                  <a:gd name="T59" fmla="*/ 93 h 138"/>
                  <a:gd name="T60" fmla="*/ 36 w 165"/>
                  <a:gd name="T61" fmla="*/ 114 h 138"/>
                  <a:gd name="T62" fmla="*/ 36 w 165"/>
                  <a:gd name="T63" fmla="*/ 114 h 138"/>
                  <a:gd name="T64" fmla="*/ 42 w 165"/>
                  <a:gd name="T65" fmla="*/ 117 h 138"/>
                  <a:gd name="T66" fmla="*/ 54 w 165"/>
                  <a:gd name="T67" fmla="*/ 120 h 138"/>
                  <a:gd name="T68" fmla="*/ 63 w 165"/>
                  <a:gd name="T69" fmla="*/ 120 h 138"/>
                  <a:gd name="T70" fmla="*/ 66 w 165"/>
                  <a:gd name="T71" fmla="*/ 123 h 138"/>
                  <a:gd name="T72" fmla="*/ 81 w 165"/>
                  <a:gd name="T73" fmla="*/ 126 h 138"/>
                  <a:gd name="T74" fmla="*/ 93 w 165"/>
                  <a:gd name="T75" fmla="*/ 126 h 138"/>
                  <a:gd name="T76" fmla="*/ 93 w 165"/>
                  <a:gd name="T77" fmla="*/ 123 h 138"/>
                  <a:gd name="T78" fmla="*/ 102 w 165"/>
                  <a:gd name="T79" fmla="*/ 111 h 138"/>
                  <a:gd name="T80" fmla="*/ 123 w 165"/>
                  <a:gd name="T81" fmla="*/ 117 h 138"/>
                  <a:gd name="T82" fmla="*/ 135 w 165"/>
                  <a:gd name="T83" fmla="*/ 111 h 138"/>
                  <a:gd name="T84" fmla="*/ 141 w 165"/>
                  <a:gd name="T85" fmla="*/ 108 h 138"/>
                  <a:gd name="T86" fmla="*/ 144 w 165"/>
                  <a:gd name="T87" fmla="*/ 102 h 138"/>
                  <a:gd name="T88" fmla="*/ 138 w 165"/>
                  <a:gd name="T89" fmla="*/ 102 h 138"/>
                  <a:gd name="T90" fmla="*/ 135 w 165"/>
                  <a:gd name="T91" fmla="*/ 96 h 138"/>
                  <a:gd name="T92" fmla="*/ 132 w 165"/>
                  <a:gd name="T93" fmla="*/ 90 h 138"/>
                  <a:gd name="T94" fmla="*/ 135 w 165"/>
                  <a:gd name="T95" fmla="*/ 87 h 138"/>
                  <a:gd name="T96" fmla="*/ 135 w 165"/>
                  <a:gd name="T97" fmla="*/ 84 h 138"/>
                  <a:gd name="T98" fmla="*/ 135 w 165"/>
                  <a:gd name="T99" fmla="*/ 78 h 138"/>
                  <a:gd name="T100" fmla="*/ 132 w 165"/>
                  <a:gd name="T101" fmla="*/ 72 h 138"/>
                  <a:gd name="T102" fmla="*/ 129 w 165"/>
                  <a:gd name="T103" fmla="*/ 72 h 138"/>
                  <a:gd name="T104" fmla="*/ 126 w 165"/>
                  <a:gd name="T105" fmla="*/ 66 h 138"/>
                  <a:gd name="T106" fmla="*/ 135 w 165"/>
                  <a:gd name="T107" fmla="*/ 57 h 138"/>
                  <a:gd name="T108" fmla="*/ 141 w 165"/>
                  <a:gd name="T109" fmla="*/ 54 h 138"/>
                  <a:gd name="T110" fmla="*/ 141 w 165"/>
                  <a:gd name="T111" fmla="*/ 45 h 138"/>
                  <a:gd name="T112" fmla="*/ 147 w 165"/>
                  <a:gd name="T113" fmla="*/ 36 h 138"/>
                  <a:gd name="T114" fmla="*/ 144 w 165"/>
                  <a:gd name="T115" fmla="*/ 33 h 138"/>
                  <a:gd name="T116" fmla="*/ 162 w 165"/>
                  <a:gd name="T117" fmla="*/ 117 h 138"/>
                  <a:gd name="T118" fmla="*/ 156 w 165"/>
                  <a:gd name="T119" fmla="*/ 123 h 138"/>
                  <a:gd name="T120" fmla="*/ 159 w 165"/>
                  <a:gd name="T121" fmla="*/ 138 h 138"/>
                  <a:gd name="T122" fmla="*/ 162 w 165"/>
                  <a:gd name="T123" fmla="*/ 11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 h="138">
                    <a:moveTo>
                      <a:pt x="144" y="33"/>
                    </a:moveTo>
                    <a:cubicBezTo>
                      <a:pt x="144" y="33"/>
                      <a:pt x="141" y="30"/>
                      <a:pt x="138" y="30"/>
                    </a:cubicBezTo>
                    <a:cubicBezTo>
                      <a:pt x="135" y="30"/>
                      <a:pt x="132" y="30"/>
                      <a:pt x="132" y="27"/>
                    </a:cubicBezTo>
                    <a:cubicBezTo>
                      <a:pt x="129" y="24"/>
                      <a:pt x="123" y="24"/>
                      <a:pt x="120" y="24"/>
                    </a:cubicBezTo>
                    <a:cubicBezTo>
                      <a:pt x="117" y="24"/>
                      <a:pt x="117" y="21"/>
                      <a:pt x="114" y="21"/>
                    </a:cubicBezTo>
                    <a:cubicBezTo>
                      <a:pt x="111" y="21"/>
                      <a:pt x="111" y="18"/>
                      <a:pt x="111" y="15"/>
                    </a:cubicBezTo>
                    <a:cubicBezTo>
                      <a:pt x="111" y="15"/>
                      <a:pt x="108" y="18"/>
                      <a:pt x="105" y="18"/>
                    </a:cubicBezTo>
                    <a:cubicBezTo>
                      <a:pt x="102" y="18"/>
                      <a:pt x="102" y="15"/>
                      <a:pt x="102" y="15"/>
                    </a:cubicBezTo>
                    <a:cubicBezTo>
                      <a:pt x="102" y="12"/>
                      <a:pt x="96" y="12"/>
                      <a:pt x="96" y="9"/>
                    </a:cubicBezTo>
                    <a:cubicBezTo>
                      <a:pt x="93" y="9"/>
                      <a:pt x="90" y="6"/>
                      <a:pt x="90" y="6"/>
                    </a:cubicBezTo>
                    <a:cubicBezTo>
                      <a:pt x="87" y="9"/>
                      <a:pt x="87" y="3"/>
                      <a:pt x="84" y="3"/>
                    </a:cubicBezTo>
                    <a:cubicBezTo>
                      <a:pt x="84" y="0"/>
                      <a:pt x="84" y="0"/>
                      <a:pt x="84" y="0"/>
                    </a:cubicBezTo>
                    <a:cubicBezTo>
                      <a:pt x="81" y="0"/>
                      <a:pt x="81" y="0"/>
                      <a:pt x="81" y="0"/>
                    </a:cubicBezTo>
                    <a:cubicBezTo>
                      <a:pt x="78" y="0"/>
                      <a:pt x="75" y="3"/>
                      <a:pt x="75" y="12"/>
                    </a:cubicBezTo>
                    <a:cubicBezTo>
                      <a:pt x="75" y="18"/>
                      <a:pt x="69" y="18"/>
                      <a:pt x="63" y="18"/>
                    </a:cubicBezTo>
                    <a:cubicBezTo>
                      <a:pt x="57" y="18"/>
                      <a:pt x="57" y="24"/>
                      <a:pt x="57" y="27"/>
                    </a:cubicBezTo>
                    <a:cubicBezTo>
                      <a:pt x="54" y="30"/>
                      <a:pt x="42" y="24"/>
                      <a:pt x="42" y="21"/>
                    </a:cubicBezTo>
                    <a:cubicBezTo>
                      <a:pt x="39" y="18"/>
                      <a:pt x="30" y="21"/>
                      <a:pt x="36" y="27"/>
                    </a:cubicBezTo>
                    <a:cubicBezTo>
                      <a:pt x="39" y="30"/>
                      <a:pt x="39" y="36"/>
                      <a:pt x="36" y="39"/>
                    </a:cubicBezTo>
                    <a:cubicBezTo>
                      <a:pt x="33" y="39"/>
                      <a:pt x="30" y="36"/>
                      <a:pt x="27" y="39"/>
                    </a:cubicBezTo>
                    <a:cubicBezTo>
                      <a:pt x="24" y="39"/>
                      <a:pt x="24" y="36"/>
                      <a:pt x="21" y="33"/>
                    </a:cubicBezTo>
                    <a:cubicBezTo>
                      <a:pt x="15" y="33"/>
                      <a:pt x="15" y="36"/>
                      <a:pt x="9" y="36"/>
                    </a:cubicBezTo>
                    <a:cubicBezTo>
                      <a:pt x="3" y="36"/>
                      <a:pt x="0" y="39"/>
                      <a:pt x="3" y="42"/>
                    </a:cubicBezTo>
                    <a:cubicBezTo>
                      <a:pt x="3" y="42"/>
                      <a:pt x="0" y="45"/>
                      <a:pt x="3" y="48"/>
                    </a:cubicBezTo>
                    <a:cubicBezTo>
                      <a:pt x="6" y="51"/>
                      <a:pt x="12" y="51"/>
                      <a:pt x="18" y="54"/>
                    </a:cubicBezTo>
                    <a:cubicBezTo>
                      <a:pt x="24" y="57"/>
                      <a:pt x="24" y="54"/>
                      <a:pt x="27" y="54"/>
                    </a:cubicBezTo>
                    <a:cubicBezTo>
                      <a:pt x="30" y="57"/>
                      <a:pt x="30" y="57"/>
                      <a:pt x="33" y="60"/>
                    </a:cubicBezTo>
                    <a:cubicBezTo>
                      <a:pt x="33" y="63"/>
                      <a:pt x="36" y="69"/>
                      <a:pt x="39" y="69"/>
                    </a:cubicBezTo>
                    <a:cubicBezTo>
                      <a:pt x="45" y="72"/>
                      <a:pt x="42" y="75"/>
                      <a:pt x="42" y="78"/>
                    </a:cubicBezTo>
                    <a:cubicBezTo>
                      <a:pt x="45" y="81"/>
                      <a:pt x="42" y="87"/>
                      <a:pt x="42" y="93"/>
                    </a:cubicBezTo>
                    <a:cubicBezTo>
                      <a:pt x="42" y="96"/>
                      <a:pt x="39" y="111"/>
                      <a:pt x="36" y="114"/>
                    </a:cubicBezTo>
                    <a:cubicBezTo>
                      <a:pt x="36" y="114"/>
                      <a:pt x="36" y="114"/>
                      <a:pt x="36" y="114"/>
                    </a:cubicBezTo>
                    <a:cubicBezTo>
                      <a:pt x="39" y="114"/>
                      <a:pt x="42" y="114"/>
                      <a:pt x="42" y="117"/>
                    </a:cubicBezTo>
                    <a:cubicBezTo>
                      <a:pt x="45" y="117"/>
                      <a:pt x="51" y="120"/>
                      <a:pt x="54" y="120"/>
                    </a:cubicBezTo>
                    <a:cubicBezTo>
                      <a:pt x="57" y="123"/>
                      <a:pt x="63" y="123"/>
                      <a:pt x="63" y="120"/>
                    </a:cubicBezTo>
                    <a:cubicBezTo>
                      <a:pt x="63" y="117"/>
                      <a:pt x="66" y="120"/>
                      <a:pt x="66" y="123"/>
                    </a:cubicBezTo>
                    <a:cubicBezTo>
                      <a:pt x="69" y="123"/>
                      <a:pt x="78" y="123"/>
                      <a:pt x="81" y="126"/>
                    </a:cubicBezTo>
                    <a:cubicBezTo>
                      <a:pt x="84" y="126"/>
                      <a:pt x="87" y="126"/>
                      <a:pt x="93" y="126"/>
                    </a:cubicBezTo>
                    <a:cubicBezTo>
                      <a:pt x="93" y="123"/>
                      <a:pt x="93" y="123"/>
                      <a:pt x="93" y="123"/>
                    </a:cubicBezTo>
                    <a:cubicBezTo>
                      <a:pt x="90" y="117"/>
                      <a:pt x="96" y="111"/>
                      <a:pt x="102" y="111"/>
                    </a:cubicBezTo>
                    <a:cubicBezTo>
                      <a:pt x="105" y="111"/>
                      <a:pt x="117" y="114"/>
                      <a:pt x="123" y="117"/>
                    </a:cubicBezTo>
                    <a:cubicBezTo>
                      <a:pt x="126" y="117"/>
                      <a:pt x="129" y="117"/>
                      <a:pt x="135" y="111"/>
                    </a:cubicBezTo>
                    <a:cubicBezTo>
                      <a:pt x="138" y="108"/>
                      <a:pt x="141" y="108"/>
                      <a:pt x="141" y="108"/>
                    </a:cubicBezTo>
                    <a:cubicBezTo>
                      <a:pt x="141" y="105"/>
                      <a:pt x="141" y="105"/>
                      <a:pt x="144" y="102"/>
                    </a:cubicBezTo>
                    <a:cubicBezTo>
                      <a:pt x="144" y="102"/>
                      <a:pt x="141" y="102"/>
                      <a:pt x="138" y="102"/>
                    </a:cubicBezTo>
                    <a:cubicBezTo>
                      <a:pt x="135" y="102"/>
                      <a:pt x="132" y="99"/>
                      <a:pt x="135" y="96"/>
                    </a:cubicBezTo>
                    <a:cubicBezTo>
                      <a:pt x="138" y="93"/>
                      <a:pt x="135" y="93"/>
                      <a:pt x="132" y="90"/>
                    </a:cubicBezTo>
                    <a:cubicBezTo>
                      <a:pt x="129" y="87"/>
                      <a:pt x="132" y="87"/>
                      <a:pt x="135" y="87"/>
                    </a:cubicBezTo>
                    <a:cubicBezTo>
                      <a:pt x="135" y="87"/>
                      <a:pt x="138" y="84"/>
                      <a:pt x="135" y="84"/>
                    </a:cubicBezTo>
                    <a:cubicBezTo>
                      <a:pt x="135" y="81"/>
                      <a:pt x="135" y="81"/>
                      <a:pt x="135" y="78"/>
                    </a:cubicBezTo>
                    <a:cubicBezTo>
                      <a:pt x="135" y="75"/>
                      <a:pt x="132" y="75"/>
                      <a:pt x="132" y="72"/>
                    </a:cubicBezTo>
                    <a:cubicBezTo>
                      <a:pt x="132" y="69"/>
                      <a:pt x="129" y="69"/>
                      <a:pt x="129" y="72"/>
                    </a:cubicBezTo>
                    <a:cubicBezTo>
                      <a:pt x="126" y="75"/>
                      <a:pt x="126" y="72"/>
                      <a:pt x="126" y="66"/>
                    </a:cubicBezTo>
                    <a:cubicBezTo>
                      <a:pt x="129" y="63"/>
                      <a:pt x="132" y="60"/>
                      <a:pt x="135" y="57"/>
                    </a:cubicBezTo>
                    <a:cubicBezTo>
                      <a:pt x="135" y="57"/>
                      <a:pt x="138" y="54"/>
                      <a:pt x="141" y="54"/>
                    </a:cubicBezTo>
                    <a:cubicBezTo>
                      <a:pt x="141" y="54"/>
                      <a:pt x="141" y="48"/>
                      <a:pt x="141" y="45"/>
                    </a:cubicBezTo>
                    <a:cubicBezTo>
                      <a:pt x="144" y="42"/>
                      <a:pt x="144" y="39"/>
                      <a:pt x="147" y="36"/>
                    </a:cubicBezTo>
                    <a:cubicBezTo>
                      <a:pt x="150" y="33"/>
                      <a:pt x="147" y="33"/>
                      <a:pt x="144" y="33"/>
                    </a:cubicBezTo>
                    <a:close/>
                    <a:moveTo>
                      <a:pt x="162" y="117"/>
                    </a:moveTo>
                    <a:cubicBezTo>
                      <a:pt x="159" y="117"/>
                      <a:pt x="159" y="120"/>
                      <a:pt x="156" y="123"/>
                    </a:cubicBezTo>
                    <a:cubicBezTo>
                      <a:pt x="150" y="126"/>
                      <a:pt x="156" y="138"/>
                      <a:pt x="159" y="138"/>
                    </a:cubicBezTo>
                    <a:cubicBezTo>
                      <a:pt x="165" y="138"/>
                      <a:pt x="165" y="117"/>
                      <a:pt x="162" y="117"/>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8" name="Freeform 832"/>
              <p:cNvSpPr>
                <a:spLocks/>
              </p:cNvSpPr>
              <p:nvPr userDrawn="1"/>
            </p:nvSpPr>
            <p:spPr bwMode="auto">
              <a:xfrm>
                <a:off x="1885" y="-1398"/>
                <a:ext cx="42" cy="22"/>
              </a:xfrm>
              <a:custGeom>
                <a:avLst/>
                <a:gdLst>
                  <a:gd name="T0" fmla="*/ 27 w 27"/>
                  <a:gd name="T1" fmla="*/ 6 h 14"/>
                  <a:gd name="T2" fmla="*/ 15 w 27"/>
                  <a:gd name="T3" fmla="*/ 3 h 14"/>
                  <a:gd name="T4" fmla="*/ 9 w 27"/>
                  <a:gd name="T5" fmla="*/ 0 h 14"/>
                  <a:gd name="T6" fmla="*/ 9 w 27"/>
                  <a:gd name="T7" fmla="*/ 0 h 14"/>
                  <a:gd name="T8" fmla="*/ 0 w 27"/>
                  <a:gd name="T9" fmla="*/ 6 h 14"/>
                  <a:gd name="T10" fmla="*/ 21 w 27"/>
                  <a:gd name="T11" fmla="*/ 14 h 14"/>
                  <a:gd name="T12" fmla="*/ 27 w 27"/>
                  <a:gd name="T13" fmla="*/ 11 h 14"/>
                  <a:gd name="T14" fmla="*/ 27 w 27"/>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
                    <a:moveTo>
                      <a:pt x="27" y="6"/>
                    </a:moveTo>
                    <a:cubicBezTo>
                      <a:pt x="24" y="3"/>
                      <a:pt x="18" y="6"/>
                      <a:pt x="15" y="3"/>
                    </a:cubicBezTo>
                    <a:cubicBezTo>
                      <a:pt x="12" y="0"/>
                      <a:pt x="9" y="0"/>
                      <a:pt x="9" y="0"/>
                    </a:cubicBezTo>
                    <a:cubicBezTo>
                      <a:pt x="9" y="0"/>
                      <a:pt x="9" y="0"/>
                      <a:pt x="9" y="0"/>
                    </a:cubicBezTo>
                    <a:cubicBezTo>
                      <a:pt x="6" y="0"/>
                      <a:pt x="3" y="3"/>
                      <a:pt x="0" y="6"/>
                    </a:cubicBezTo>
                    <a:cubicBezTo>
                      <a:pt x="3" y="8"/>
                      <a:pt x="18" y="14"/>
                      <a:pt x="21" y="14"/>
                    </a:cubicBezTo>
                    <a:cubicBezTo>
                      <a:pt x="24" y="14"/>
                      <a:pt x="24" y="11"/>
                      <a:pt x="27" y="11"/>
                    </a:cubicBezTo>
                    <a:cubicBezTo>
                      <a:pt x="27" y="8"/>
                      <a:pt x="27" y="6"/>
                      <a:pt x="27"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59" name="Freeform 833"/>
              <p:cNvSpPr>
                <a:spLocks/>
              </p:cNvSpPr>
              <p:nvPr userDrawn="1"/>
            </p:nvSpPr>
            <p:spPr bwMode="auto">
              <a:xfrm>
                <a:off x="1885" y="-1398"/>
                <a:ext cx="42" cy="22"/>
              </a:xfrm>
              <a:custGeom>
                <a:avLst/>
                <a:gdLst>
                  <a:gd name="T0" fmla="*/ 27 w 27"/>
                  <a:gd name="T1" fmla="*/ 6 h 14"/>
                  <a:gd name="T2" fmla="*/ 15 w 27"/>
                  <a:gd name="T3" fmla="*/ 3 h 14"/>
                  <a:gd name="T4" fmla="*/ 9 w 27"/>
                  <a:gd name="T5" fmla="*/ 0 h 14"/>
                  <a:gd name="T6" fmla="*/ 9 w 27"/>
                  <a:gd name="T7" fmla="*/ 0 h 14"/>
                  <a:gd name="T8" fmla="*/ 0 w 27"/>
                  <a:gd name="T9" fmla="*/ 6 h 14"/>
                  <a:gd name="T10" fmla="*/ 21 w 27"/>
                  <a:gd name="T11" fmla="*/ 14 h 14"/>
                  <a:gd name="T12" fmla="*/ 27 w 27"/>
                  <a:gd name="T13" fmla="*/ 11 h 14"/>
                  <a:gd name="T14" fmla="*/ 27 w 27"/>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
                    <a:moveTo>
                      <a:pt x="27" y="6"/>
                    </a:moveTo>
                    <a:cubicBezTo>
                      <a:pt x="24" y="3"/>
                      <a:pt x="18" y="6"/>
                      <a:pt x="15" y="3"/>
                    </a:cubicBezTo>
                    <a:cubicBezTo>
                      <a:pt x="12" y="0"/>
                      <a:pt x="9" y="0"/>
                      <a:pt x="9" y="0"/>
                    </a:cubicBezTo>
                    <a:cubicBezTo>
                      <a:pt x="9" y="0"/>
                      <a:pt x="9" y="0"/>
                      <a:pt x="9" y="0"/>
                    </a:cubicBezTo>
                    <a:cubicBezTo>
                      <a:pt x="6" y="0"/>
                      <a:pt x="3" y="3"/>
                      <a:pt x="0" y="6"/>
                    </a:cubicBezTo>
                    <a:cubicBezTo>
                      <a:pt x="3" y="8"/>
                      <a:pt x="18" y="14"/>
                      <a:pt x="21" y="14"/>
                    </a:cubicBezTo>
                    <a:cubicBezTo>
                      <a:pt x="24" y="14"/>
                      <a:pt x="24" y="11"/>
                      <a:pt x="27" y="11"/>
                    </a:cubicBezTo>
                    <a:cubicBezTo>
                      <a:pt x="27" y="8"/>
                      <a:pt x="27" y="6"/>
                      <a:pt x="27"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60" name="Freeform 834"/>
              <p:cNvSpPr>
                <a:spLocks/>
              </p:cNvSpPr>
              <p:nvPr userDrawn="1"/>
            </p:nvSpPr>
            <p:spPr bwMode="auto">
              <a:xfrm>
                <a:off x="1899" y="-1432"/>
                <a:ext cx="108" cy="61"/>
              </a:xfrm>
              <a:custGeom>
                <a:avLst/>
                <a:gdLst>
                  <a:gd name="T0" fmla="*/ 30 w 69"/>
                  <a:gd name="T1" fmla="*/ 33 h 39"/>
                  <a:gd name="T2" fmla="*/ 33 w 69"/>
                  <a:gd name="T3" fmla="*/ 27 h 39"/>
                  <a:gd name="T4" fmla="*/ 45 w 69"/>
                  <a:gd name="T5" fmla="*/ 21 h 39"/>
                  <a:gd name="T6" fmla="*/ 57 w 69"/>
                  <a:gd name="T7" fmla="*/ 18 h 39"/>
                  <a:gd name="T8" fmla="*/ 69 w 69"/>
                  <a:gd name="T9" fmla="*/ 15 h 39"/>
                  <a:gd name="T10" fmla="*/ 57 w 69"/>
                  <a:gd name="T11" fmla="*/ 6 h 39"/>
                  <a:gd name="T12" fmla="*/ 33 w 69"/>
                  <a:gd name="T13" fmla="*/ 6 h 39"/>
                  <a:gd name="T14" fmla="*/ 12 w 69"/>
                  <a:gd name="T15" fmla="*/ 6 h 39"/>
                  <a:gd name="T16" fmla="*/ 12 w 69"/>
                  <a:gd name="T17" fmla="*/ 6 h 39"/>
                  <a:gd name="T18" fmla="*/ 6 w 69"/>
                  <a:gd name="T19" fmla="*/ 12 h 39"/>
                  <a:gd name="T20" fmla="*/ 0 w 69"/>
                  <a:gd name="T21" fmla="*/ 21 h 39"/>
                  <a:gd name="T22" fmla="*/ 6 w 69"/>
                  <a:gd name="T23" fmla="*/ 24 h 39"/>
                  <a:gd name="T24" fmla="*/ 18 w 69"/>
                  <a:gd name="T25" fmla="*/ 27 h 39"/>
                  <a:gd name="T26" fmla="*/ 18 w 69"/>
                  <a:gd name="T27" fmla="*/ 33 h 39"/>
                  <a:gd name="T28" fmla="*/ 21 w 69"/>
                  <a:gd name="T29" fmla="*/ 33 h 39"/>
                  <a:gd name="T30" fmla="*/ 21 w 69"/>
                  <a:gd name="T31" fmla="*/ 39 h 39"/>
                  <a:gd name="T32" fmla="*/ 24 w 69"/>
                  <a:gd name="T33" fmla="*/ 36 h 39"/>
                  <a:gd name="T34" fmla="*/ 30 w 69"/>
                  <a:gd name="T35"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39">
                    <a:moveTo>
                      <a:pt x="30" y="33"/>
                    </a:moveTo>
                    <a:cubicBezTo>
                      <a:pt x="30" y="33"/>
                      <a:pt x="27" y="27"/>
                      <a:pt x="33" y="27"/>
                    </a:cubicBezTo>
                    <a:cubicBezTo>
                      <a:pt x="39" y="27"/>
                      <a:pt x="45" y="27"/>
                      <a:pt x="45" y="21"/>
                    </a:cubicBezTo>
                    <a:cubicBezTo>
                      <a:pt x="45" y="18"/>
                      <a:pt x="54" y="18"/>
                      <a:pt x="57" y="18"/>
                    </a:cubicBezTo>
                    <a:cubicBezTo>
                      <a:pt x="57" y="18"/>
                      <a:pt x="63" y="15"/>
                      <a:pt x="69" y="15"/>
                    </a:cubicBezTo>
                    <a:cubicBezTo>
                      <a:pt x="69" y="9"/>
                      <a:pt x="60" y="9"/>
                      <a:pt x="57" y="6"/>
                    </a:cubicBezTo>
                    <a:cubicBezTo>
                      <a:pt x="51" y="0"/>
                      <a:pt x="39" y="3"/>
                      <a:pt x="33" y="6"/>
                    </a:cubicBezTo>
                    <a:cubicBezTo>
                      <a:pt x="27" y="6"/>
                      <a:pt x="18" y="3"/>
                      <a:pt x="12" y="6"/>
                    </a:cubicBezTo>
                    <a:cubicBezTo>
                      <a:pt x="12" y="6"/>
                      <a:pt x="12" y="6"/>
                      <a:pt x="12" y="6"/>
                    </a:cubicBezTo>
                    <a:cubicBezTo>
                      <a:pt x="9" y="9"/>
                      <a:pt x="6" y="9"/>
                      <a:pt x="6" y="12"/>
                    </a:cubicBezTo>
                    <a:cubicBezTo>
                      <a:pt x="0" y="15"/>
                      <a:pt x="0" y="21"/>
                      <a:pt x="0" y="21"/>
                    </a:cubicBezTo>
                    <a:cubicBezTo>
                      <a:pt x="0" y="21"/>
                      <a:pt x="3" y="21"/>
                      <a:pt x="6" y="24"/>
                    </a:cubicBezTo>
                    <a:cubicBezTo>
                      <a:pt x="9" y="27"/>
                      <a:pt x="15" y="24"/>
                      <a:pt x="18" y="27"/>
                    </a:cubicBezTo>
                    <a:cubicBezTo>
                      <a:pt x="18" y="27"/>
                      <a:pt x="18" y="30"/>
                      <a:pt x="18" y="33"/>
                    </a:cubicBezTo>
                    <a:cubicBezTo>
                      <a:pt x="18" y="33"/>
                      <a:pt x="18" y="33"/>
                      <a:pt x="21" y="33"/>
                    </a:cubicBezTo>
                    <a:cubicBezTo>
                      <a:pt x="21" y="36"/>
                      <a:pt x="21" y="36"/>
                      <a:pt x="21" y="39"/>
                    </a:cubicBezTo>
                    <a:cubicBezTo>
                      <a:pt x="24" y="36"/>
                      <a:pt x="24" y="36"/>
                      <a:pt x="24" y="36"/>
                    </a:cubicBezTo>
                    <a:cubicBezTo>
                      <a:pt x="24" y="36"/>
                      <a:pt x="27" y="36"/>
                      <a:pt x="30"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61" name="Freeform 835"/>
              <p:cNvSpPr>
                <a:spLocks/>
              </p:cNvSpPr>
              <p:nvPr userDrawn="1"/>
            </p:nvSpPr>
            <p:spPr bwMode="auto">
              <a:xfrm>
                <a:off x="1899" y="-1432"/>
                <a:ext cx="108" cy="61"/>
              </a:xfrm>
              <a:custGeom>
                <a:avLst/>
                <a:gdLst>
                  <a:gd name="T0" fmla="*/ 30 w 69"/>
                  <a:gd name="T1" fmla="*/ 33 h 39"/>
                  <a:gd name="T2" fmla="*/ 33 w 69"/>
                  <a:gd name="T3" fmla="*/ 27 h 39"/>
                  <a:gd name="T4" fmla="*/ 45 w 69"/>
                  <a:gd name="T5" fmla="*/ 21 h 39"/>
                  <a:gd name="T6" fmla="*/ 57 w 69"/>
                  <a:gd name="T7" fmla="*/ 18 h 39"/>
                  <a:gd name="T8" fmla="*/ 69 w 69"/>
                  <a:gd name="T9" fmla="*/ 15 h 39"/>
                  <a:gd name="T10" fmla="*/ 57 w 69"/>
                  <a:gd name="T11" fmla="*/ 6 h 39"/>
                  <a:gd name="T12" fmla="*/ 33 w 69"/>
                  <a:gd name="T13" fmla="*/ 6 h 39"/>
                  <a:gd name="T14" fmla="*/ 12 w 69"/>
                  <a:gd name="T15" fmla="*/ 6 h 39"/>
                  <a:gd name="T16" fmla="*/ 12 w 69"/>
                  <a:gd name="T17" fmla="*/ 6 h 39"/>
                  <a:gd name="T18" fmla="*/ 6 w 69"/>
                  <a:gd name="T19" fmla="*/ 12 h 39"/>
                  <a:gd name="T20" fmla="*/ 0 w 69"/>
                  <a:gd name="T21" fmla="*/ 21 h 39"/>
                  <a:gd name="T22" fmla="*/ 6 w 69"/>
                  <a:gd name="T23" fmla="*/ 24 h 39"/>
                  <a:gd name="T24" fmla="*/ 18 w 69"/>
                  <a:gd name="T25" fmla="*/ 27 h 39"/>
                  <a:gd name="T26" fmla="*/ 18 w 69"/>
                  <a:gd name="T27" fmla="*/ 33 h 39"/>
                  <a:gd name="T28" fmla="*/ 21 w 69"/>
                  <a:gd name="T29" fmla="*/ 33 h 39"/>
                  <a:gd name="T30" fmla="*/ 21 w 69"/>
                  <a:gd name="T31" fmla="*/ 39 h 39"/>
                  <a:gd name="T32" fmla="*/ 24 w 69"/>
                  <a:gd name="T33" fmla="*/ 36 h 39"/>
                  <a:gd name="T34" fmla="*/ 30 w 69"/>
                  <a:gd name="T35"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39">
                    <a:moveTo>
                      <a:pt x="30" y="33"/>
                    </a:moveTo>
                    <a:cubicBezTo>
                      <a:pt x="30" y="33"/>
                      <a:pt x="27" y="27"/>
                      <a:pt x="33" y="27"/>
                    </a:cubicBezTo>
                    <a:cubicBezTo>
                      <a:pt x="39" y="27"/>
                      <a:pt x="45" y="27"/>
                      <a:pt x="45" y="21"/>
                    </a:cubicBezTo>
                    <a:cubicBezTo>
                      <a:pt x="45" y="18"/>
                      <a:pt x="54" y="18"/>
                      <a:pt x="57" y="18"/>
                    </a:cubicBezTo>
                    <a:cubicBezTo>
                      <a:pt x="57" y="18"/>
                      <a:pt x="63" y="15"/>
                      <a:pt x="69" y="15"/>
                    </a:cubicBezTo>
                    <a:cubicBezTo>
                      <a:pt x="69" y="9"/>
                      <a:pt x="60" y="9"/>
                      <a:pt x="57" y="6"/>
                    </a:cubicBezTo>
                    <a:cubicBezTo>
                      <a:pt x="51" y="0"/>
                      <a:pt x="39" y="3"/>
                      <a:pt x="33" y="6"/>
                    </a:cubicBezTo>
                    <a:cubicBezTo>
                      <a:pt x="27" y="6"/>
                      <a:pt x="18" y="3"/>
                      <a:pt x="12" y="6"/>
                    </a:cubicBezTo>
                    <a:cubicBezTo>
                      <a:pt x="12" y="6"/>
                      <a:pt x="12" y="6"/>
                      <a:pt x="12" y="6"/>
                    </a:cubicBezTo>
                    <a:cubicBezTo>
                      <a:pt x="9" y="9"/>
                      <a:pt x="6" y="9"/>
                      <a:pt x="6" y="12"/>
                    </a:cubicBezTo>
                    <a:cubicBezTo>
                      <a:pt x="0" y="15"/>
                      <a:pt x="0" y="21"/>
                      <a:pt x="0" y="21"/>
                    </a:cubicBezTo>
                    <a:cubicBezTo>
                      <a:pt x="0" y="21"/>
                      <a:pt x="3" y="21"/>
                      <a:pt x="6" y="24"/>
                    </a:cubicBezTo>
                    <a:cubicBezTo>
                      <a:pt x="9" y="27"/>
                      <a:pt x="15" y="24"/>
                      <a:pt x="18" y="27"/>
                    </a:cubicBezTo>
                    <a:cubicBezTo>
                      <a:pt x="18" y="27"/>
                      <a:pt x="18" y="30"/>
                      <a:pt x="18" y="33"/>
                    </a:cubicBezTo>
                    <a:cubicBezTo>
                      <a:pt x="18" y="33"/>
                      <a:pt x="18" y="33"/>
                      <a:pt x="21" y="33"/>
                    </a:cubicBezTo>
                    <a:cubicBezTo>
                      <a:pt x="21" y="36"/>
                      <a:pt x="21" y="36"/>
                      <a:pt x="21" y="39"/>
                    </a:cubicBezTo>
                    <a:cubicBezTo>
                      <a:pt x="24" y="36"/>
                      <a:pt x="24" y="36"/>
                      <a:pt x="24" y="36"/>
                    </a:cubicBezTo>
                    <a:cubicBezTo>
                      <a:pt x="24" y="36"/>
                      <a:pt x="27" y="36"/>
                      <a:pt x="30"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442" name="Freeform 837"/>
            <p:cNvSpPr>
              <a:spLocks/>
            </p:cNvSpPr>
            <p:nvPr userDrawn="1"/>
          </p:nvSpPr>
          <p:spPr bwMode="auto">
            <a:xfrm>
              <a:off x="1408" y="-1741"/>
              <a:ext cx="538" cy="333"/>
            </a:xfrm>
            <a:custGeom>
              <a:avLst/>
              <a:gdLst>
                <a:gd name="T0" fmla="*/ 303 w 345"/>
                <a:gd name="T1" fmla="*/ 198 h 213"/>
                <a:gd name="T2" fmla="*/ 297 w 345"/>
                <a:gd name="T3" fmla="*/ 180 h 213"/>
                <a:gd name="T4" fmla="*/ 324 w 345"/>
                <a:gd name="T5" fmla="*/ 171 h 213"/>
                <a:gd name="T6" fmla="*/ 336 w 345"/>
                <a:gd name="T7" fmla="*/ 159 h 213"/>
                <a:gd name="T8" fmla="*/ 345 w 345"/>
                <a:gd name="T9" fmla="*/ 138 h 213"/>
                <a:gd name="T10" fmla="*/ 315 w 345"/>
                <a:gd name="T11" fmla="*/ 135 h 213"/>
                <a:gd name="T12" fmla="*/ 297 w 345"/>
                <a:gd name="T13" fmla="*/ 159 h 213"/>
                <a:gd name="T14" fmla="*/ 282 w 345"/>
                <a:gd name="T15" fmla="*/ 168 h 213"/>
                <a:gd name="T16" fmla="*/ 243 w 345"/>
                <a:gd name="T17" fmla="*/ 168 h 213"/>
                <a:gd name="T18" fmla="*/ 225 w 345"/>
                <a:gd name="T19" fmla="*/ 141 h 213"/>
                <a:gd name="T20" fmla="*/ 225 w 345"/>
                <a:gd name="T21" fmla="*/ 90 h 213"/>
                <a:gd name="T22" fmla="*/ 219 w 345"/>
                <a:gd name="T23" fmla="*/ 81 h 213"/>
                <a:gd name="T24" fmla="*/ 201 w 345"/>
                <a:gd name="T25" fmla="*/ 69 h 213"/>
                <a:gd name="T26" fmla="*/ 189 w 345"/>
                <a:gd name="T27" fmla="*/ 45 h 213"/>
                <a:gd name="T28" fmla="*/ 159 w 345"/>
                <a:gd name="T29" fmla="*/ 45 h 213"/>
                <a:gd name="T30" fmla="*/ 141 w 345"/>
                <a:gd name="T31" fmla="*/ 30 h 213"/>
                <a:gd name="T32" fmla="*/ 123 w 345"/>
                <a:gd name="T33" fmla="*/ 9 h 213"/>
                <a:gd name="T34" fmla="*/ 102 w 345"/>
                <a:gd name="T35" fmla="*/ 15 h 213"/>
                <a:gd name="T36" fmla="*/ 39 w 345"/>
                <a:gd name="T37" fmla="*/ 6 h 213"/>
                <a:gd name="T38" fmla="*/ 0 w 345"/>
                <a:gd name="T39" fmla="*/ 3 h 213"/>
                <a:gd name="T40" fmla="*/ 18 w 345"/>
                <a:gd name="T41" fmla="*/ 33 h 213"/>
                <a:gd name="T42" fmla="*/ 36 w 345"/>
                <a:gd name="T43" fmla="*/ 60 h 213"/>
                <a:gd name="T44" fmla="*/ 42 w 345"/>
                <a:gd name="T45" fmla="*/ 72 h 213"/>
                <a:gd name="T46" fmla="*/ 57 w 345"/>
                <a:gd name="T47" fmla="*/ 93 h 213"/>
                <a:gd name="T48" fmla="*/ 81 w 345"/>
                <a:gd name="T49" fmla="*/ 120 h 213"/>
                <a:gd name="T50" fmla="*/ 84 w 345"/>
                <a:gd name="T51" fmla="*/ 105 h 213"/>
                <a:gd name="T52" fmla="*/ 72 w 345"/>
                <a:gd name="T53" fmla="*/ 93 h 213"/>
                <a:gd name="T54" fmla="*/ 54 w 345"/>
                <a:gd name="T55" fmla="*/ 60 h 213"/>
                <a:gd name="T56" fmla="*/ 45 w 345"/>
                <a:gd name="T57" fmla="*/ 42 h 213"/>
                <a:gd name="T58" fmla="*/ 30 w 345"/>
                <a:gd name="T59" fmla="*/ 27 h 213"/>
                <a:gd name="T60" fmla="*/ 30 w 345"/>
                <a:gd name="T61" fmla="*/ 9 h 213"/>
                <a:gd name="T62" fmla="*/ 39 w 345"/>
                <a:gd name="T63" fmla="*/ 15 h 213"/>
                <a:gd name="T64" fmla="*/ 51 w 345"/>
                <a:gd name="T65" fmla="*/ 30 h 213"/>
                <a:gd name="T66" fmla="*/ 57 w 345"/>
                <a:gd name="T67" fmla="*/ 45 h 213"/>
                <a:gd name="T68" fmla="*/ 75 w 345"/>
                <a:gd name="T69" fmla="*/ 60 h 213"/>
                <a:gd name="T70" fmla="*/ 87 w 345"/>
                <a:gd name="T71" fmla="*/ 72 h 213"/>
                <a:gd name="T72" fmla="*/ 96 w 345"/>
                <a:gd name="T73" fmla="*/ 87 h 213"/>
                <a:gd name="T74" fmla="*/ 129 w 345"/>
                <a:gd name="T75" fmla="*/ 123 h 213"/>
                <a:gd name="T76" fmla="*/ 135 w 345"/>
                <a:gd name="T77" fmla="*/ 144 h 213"/>
                <a:gd name="T78" fmla="*/ 141 w 345"/>
                <a:gd name="T79" fmla="*/ 162 h 213"/>
                <a:gd name="T80" fmla="*/ 174 w 345"/>
                <a:gd name="T81" fmla="*/ 180 h 213"/>
                <a:gd name="T82" fmla="*/ 222 w 345"/>
                <a:gd name="T83" fmla="*/ 201 h 213"/>
                <a:gd name="T84" fmla="*/ 267 w 345"/>
                <a:gd name="T85" fmla="*/ 204 h 213"/>
                <a:gd name="T86" fmla="*/ 288 w 345"/>
                <a:gd name="T87" fmla="*/ 20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5" h="213">
                  <a:moveTo>
                    <a:pt x="288" y="201"/>
                  </a:moveTo>
                  <a:cubicBezTo>
                    <a:pt x="288" y="201"/>
                    <a:pt x="300" y="201"/>
                    <a:pt x="303" y="198"/>
                  </a:cubicBezTo>
                  <a:cubicBezTo>
                    <a:pt x="303" y="195"/>
                    <a:pt x="294" y="189"/>
                    <a:pt x="294" y="186"/>
                  </a:cubicBezTo>
                  <a:cubicBezTo>
                    <a:pt x="294" y="186"/>
                    <a:pt x="294" y="180"/>
                    <a:pt x="297" y="180"/>
                  </a:cubicBezTo>
                  <a:cubicBezTo>
                    <a:pt x="300" y="180"/>
                    <a:pt x="318" y="180"/>
                    <a:pt x="318" y="180"/>
                  </a:cubicBezTo>
                  <a:cubicBezTo>
                    <a:pt x="318" y="180"/>
                    <a:pt x="321" y="171"/>
                    <a:pt x="324" y="171"/>
                  </a:cubicBezTo>
                  <a:cubicBezTo>
                    <a:pt x="327" y="171"/>
                    <a:pt x="330" y="174"/>
                    <a:pt x="330" y="174"/>
                  </a:cubicBezTo>
                  <a:cubicBezTo>
                    <a:pt x="333" y="171"/>
                    <a:pt x="336" y="165"/>
                    <a:pt x="336" y="159"/>
                  </a:cubicBezTo>
                  <a:cubicBezTo>
                    <a:pt x="336" y="153"/>
                    <a:pt x="333" y="150"/>
                    <a:pt x="336" y="147"/>
                  </a:cubicBezTo>
                  <a:cubicBezTo>
                    <a:pt x="342" y="144"/>
                    <a:pt x="345" y="144"/>
                    <a:pt x="345" y="138"/>
                  </a:cubicBezTo>
                  <a:cubicBezTo>
                    <a:pt x="342" y="132"/>
                    <a:pt x="339" y="138"/>
                    <a:pt x="333" y="135"/>
                  </a:cubicBezTo>
                  <a:cubicBezTo>
                    <a:pt x="330" y="132"/>
                    <a:pt x="327" y="135"/>
                    <a:pt x="315" y="135"/>
                  </a:cubicBezTo>
                  <a:cubicBezTo>
                    <a:pt x="306" y="138"/>
                    <a:pt x="300" y="141"/>
                    <a:pt x="303" y="150"/>
                  </a:cubicBezTo>
                  <a:cubicBezTo>
                    <a:pt x="303" y="156"/>
                    <a:pt x="297" y="153"/>
                    <a:pt x="297" y="159"/>
                  </a:cubicBezTo>
                  <a:cubicBezTo>
                    <a:pt x="300" y="165"/>
                    <a:pt x="291" y="165"/>
                    <a:pt x="291" y="171"/>
                  </a:cubicBezTo>
                  <a:cubicBezTo>
                    <a:pt x="291" y="174"/>
                    <a:pt x="285" y="171"/>
                    <a:pt x="282" y="168"/>
                  </a:cubicBezTo>
                  <a:cubicBezTo>
                    <a:pt x="279" y="168"/>
                    <a:pt x="258" y="174"/>
                    <a:pt x="255" y="174"/>
                  </a:cubicBezTo>
                  <a:cubicBezTo>
                    <a:pt x="252" y="174"/>
                    <a:pt x="246" y="168"/>
                    <a:pt x="243" y="168"/>
                  </a:cubicBezTo>
                  <a:cubicBezTo>
                    <a:pt x="240" y="168"/>
                    <a:pt x="237" y="162"/>
                    <a:pt x="237" y="156"/>
                  </a:cubicBezTo>
                  <a:cubicBezTo>
                    <a:pt x="237" y="153"/>
                    <a:pt x="228" y="147"/>
                    <a:pt x="225" y="141"/>
                  </a:cubicBezTo>
                  <a:cubicBezTo>
                    <a:pt x="222" y="138"/>
                    <a:pt x="222" y="126"/>
                    <a:pt x="219" y="120"/>
                  </a:cubicBezTo>
                  <a:cubicBezTo>
                    <a:pt x="219" y="114"/>
                    <a:pt x="219" y="102"/>
                    <a:pt x="225" y="90"/>
                  </a:cubicBezTo>
                  <a:cubicBezTo>
                    <a:pt x="225" y="87"/>
                    <a:pt x="225" y="84"/>
                    <a:pt x="225" y="84"/>
                  </a:cubicBezTo>
                  <a:cubicBezTo>
                    <a:pt x="222" y="84"/>
                    <a:pt x="222" y="81"/>
                    <a:pt x="219" y="81"/>
                  </a:cubicBezTo>
                  <a:cubicBezTo>
                    <a:pt x="216" y="81"/>
                    <a:pt x="207" y="75"/>
                    <a:pt x="204" y="75"/>
                  </a:cubicBezTo>
                  <a:cubicBezTo>
                    <a:pt x="204" y="75"/>
                    <a:pt x="204" y="72"/>
                    <a:pt x="201" y="69"/>
                  </a:cubicBezTo>
                  <a:cubicBezTo>
                    <a:pt x="201" y="66"/>
                    <a:pt x="201" y="63"/>
                    <a:pt x="198" y="60"/>
                  </a:cubicBezTo>
                  <a:cubicBezTo>
                    <a:pt x="198" y="60"/>
                    <a:pt x="189" y="54"/>
                    <a:pt x="189" y="45"/>
                  </a:cubicBezTo>
                  <a:cubicBezTo>
                    <a:pt x="186" y="39"/>
                    <a:pt x="174" y="36"/>
                    <a:pt x="168" y="33"/>
                  </a:cubicBezTo>
                  <a:cubicBezTo>
                    <a:pt x="162" y="33"/>
                    <a:pt x="162" y="45"/>
                    <a:pt x="159" y="45"/>
                  </a:cubicBezTo>
                  <a:cubicBezTo>
                    <a:pt x="159" y="45"/>
                    <a:pt x="150" y="39"/>
                    <a:pt x="147" y="39"/>
                  </a:cubicBezTo>
                  <a:cubicBezTo>
                    <a:pt x="144" y="36"/>
                    <a:pt x="141" y="33"/>
                    <a:pt x="141" y="30"/>
                  </a:cubicBezTo>
                  <a:cubicBezTo>
                    <a:pt x="141" y="27"/>
                    <a:pt x="138" y="24"/>
                    <a:pt x="135" y="21"/>
                  </a:cubicBezTo>
                  <a:cubicBezTo>
                    <a:pt x="132" y="21"/>
                    <a:pt x="123" y="9"/>
                    <a:pt x="123" y="9"/>
                  </a:cubicBezTo>
                  <a:cubicBezTo>
                    <a:pt x="105" y="9"/>
                    <a:pt x="105" y="9"/>
                    <a:pt x="105" y="9"/>
                  </a:cubicBezTo>
                  <a:cubicBezTo>
                    <a:pt x="102" y="15"/>
                    <a:pt x="102" y="15"/>
                    <a:pt x="102" y="15"/>
                  </a:cubicBezTo>
                  <a:cubicBezTo>
                    <a:pt x="69" y="15"/>
                    <a:pt x="69" y="15"/>
                    <a:pt x="69" y="15"/>
                  </a:cubicBezTo>
                  <a:cubicBezTo>
                    <a:pt x="69" y="15"/>
                    <a:pt x="45" y="6"/>
                    <a:pt x="39" y="6"/>
                  </a:cubicBezTo>
                  <a:cubicBezTo>
                    <a:pt x="36" y="3"/>
                    <a:pt x="27" y="0"/>
                    <a:pt x="27" y="0"/>
                  </a:cubicBezTo>
                  <a:cubicBezTo>
                    <a:pt x="0" y="3"/>
                    <a:pt x="0" y="3"/>
                    <a:pt x="0" y="3"/>
                  </a:cubicBezTo>
                  <a:cubicBezTo>
                    <a:pt x="3" y="6"/>
                    <a:pt x="3" y="9"/>
                    <a:pt x="6" y="12"/>
                  </a:cubicBezTo>
                  <a:cubicBezTo>
                    <a:pt x="12" y="18"/>
                    <a:pt x="15" y="30"/>
                    <a:pt x="18" y="33"/>
                  </a:cubicBezTo>
                  <a:cubicBezTo>
                    <a:pt x="18" y="39"/>
                    <a:pt x="24" y="42"/>
                    <a:pt x="30" y="45"/>
                  </a:cubicBezTo>
                  <a:cubicBezTo>
                    <a:pt x="36" y="48"/>
                    <a:pt x="36" y="57"/>
                    <a:pt x="36" y="60"/>
                  </a:cubicBezTo>
                  <a:cubicBezTo>
                    <a:pt x="36" y="63"/>
                    <a:pt x="27" y="57"/>
                    <a:pt x="27" y="60"/>
                  </a:cubicBezTo>
                  <a:cubicBezTo>
                    <a:pt x="27" y="63"/>
                    <a:pt x="36" y="72"/>
                    <a:pt x="42" y="72"/>
                  </a:cubicBezTo>
                  <a:cubicBezTo>
                    <a:pt x="45" y="72"/>
                    <a:pt x="48" y="72"/>
                    <a:pt x="54" y="78"/>
                  </a:cubicBezTo>
                  <a:cubicBezTo>
                    <a:pt x="60" y="84"/>
                    <a:pt x="60" y="90"/>
                    <a:pt x="57" y="93"/>
                  </a:cubicBezTo>
                  <a:cubicBezTo>
                    <a:pt x="54" y="96"/>
                    <a:pt x="63" y="99"/>
                    <a:pt x="69" y="105"/>
                  </a:cubicBezTo>
                  <a:cubicBezTo>
                    <a:pt x="78" y="108"/>
                    <a:pt x="81" y="117"/>
                    <a:pt x="81" y="120"/>
                  </a:cubicBezTo>
                  <a:cubicBezTo>
                    <a:pt x="81" y="120"/>
                    <a:pt x="87" y="120"/>
                    <a:pt x="87" y="114"/>
                  </a:cubicBezTo>
                  <a:cubicBezTo>
                    <a:pt x="87" y="111"/>
                    <a:pt x="84" y="111"/>
                    <a:pt x="84" y="105"/>
                  </a:cubicBezTo>
                  <a:cubicBezTo>
                    <a:pt x="84" y="102"/>
                    <a:pt x="78" y="102"/>
                    <a:pt x="75" y="102"/>
                  </a:cubicBezTo>
                  <a:cubicBezTo>
                    <a:pt x="72" y="102"/>
                    <a:pt x="75" y="96"/>
                    <a:pt x="72" y="93"/>
                  </a:cubicBezTo>
                  <a:cubicBezTo>
                    <a:pt x="69" y="90"/>
                    <a:pt x="66" y="81"/>
                    <a:pt x="66" y="75"/>
                  </a:cubicBezTo>
                  <a:cubicBezTo>
                    <a:pt x="63" y="72"/>
                    <a:pt x="57" y="66"/>
                    <a:pt x="54" y="60"/>
                  </a:cubicBezTo>
                  <a:cubicBezTo>
                    <a:pt x="48" y="54"/>
                    <a:pt x="45" y="48"/>
                    <a:pt x="45" y="48"/>
                  </a:cubicBezTo>
                  <a:cubicBezTo>
                    <a:pt x="42" y="45"/>
                    <a:pt x="48" y="42"/>
                    <a:pt x="45" y="42"/>
                  </a:cubicBezTo>
                  <a:cubicBezTo>
                    <a:pt x="42" y="39"/>
                    <a:pt x="39" y="39"/>
                    <a:pt x="36" y="36"/>
                  </a:cubicBezTo>
                  <a:cubicBezTo>
                    <a:pt x="33" y="36"/>
                    <a:pt x="30" y="33"/>
                    <a:pt x="30" y="27"/>
                  </a:cubicBezTo>
                  <a:cubicBezTo>
                    <a:pt x="30" y="24"/>
                    <a:pt x="27" y="15"/>
                    <a:pt x="27" y="12"/>
                  </a:cubicBezTo>
                  <a:cubicBezTo>
                    <a:pt x="24" y="9"/>
                    <a:pt x="30" y="9"/>
                    <a:pt x="30" y="9"/>
                  </a:cubicBezTo>
                  <a:cubicBezTo>
                    <a:pt x="30" y="12"/>
                    <a:pt x="33" y="12"/>
                    <a:pt x="33" y="12"/>
                  </a:cubicBezTo>
                  <a:cubicBezTo>
                    <a:pt x="36" y="12"/>
                    <a:pt x="39" y="12"/>
                    <a:pt x="39" y="15"/>
                  </a:cubicBezTo>
                  <a:cubicBezTo>
                    <a:pt x="42" y="18"/>
                    <a:pt x="45" y="15"/>
                    <a:pt x="48" y="15"/>
                  </a:cubicBezTo>
                  <a:cubicBezTo>
                    <a:pt x="51" y="18"/>
                    <a:pt x="42" y="18"/>
                    <a:pt x="51" y="30"/>
                  </a:cubicBezTo>
                  <a:cubicBezTo>
                    <a:pt x="57" y="42"/>
                    <a:pt x="51" y="36"/>
                    <a:pt x="51" y="42"/>
                  </a:cubicBezTo>
                  <a:cubicBezTo>
                    <a:pt x="51" y="51"/>
                    <a:pt x="57" y="48"/>
                    <a:pt x="57" y="45"/>
                  </a:cubicBezTo>
                  <a:cubicBezTo>
                    <a:pt x="57" y="45"/>
                    <a:pt x="63" y="48"/>
                    <a:pt x="66" y="54"/>
                  </a:cubicBezTo>
                  <a:cubicBezTo>
                    <a:pt x="69" y="57"/>
                    <a:pt x="75" y="57"/>
                    <a:pt x="75" y="60"/>
                  </a:cubicBezTo>
                  <a:cubicBezTo>
                    <a:pt x="75" y="63"/>
                    <a:pt x="75" y="66"/>
                    <a:pt x="81" y="66"/>
                  </a:cubicBezTo>
                  <a:cubicBezTo>
                    <a:pt x="84" y="69"/>
                    <a:pt x="84" y="72"/>
                    <a:pt x="87" y="72"/>
                  </a:cubicBezTo>
                  <a:cubicBezTo>
                    <a:pt x="90" y="72"/>
                    <a:pt x="90" y="75"/>
                    <a:pt x="90" y="81"/>
                  </a:cubicBezTo>
                  <a:cubicBezTo>
                    <a:pt x="87" y="84"/>
                    <a:pt x="90" y="87"/>
                    <a:pt x="96" y="87"/>
                  </a:cubicBezTo>
                  <a:cubicBezTo>
                    <a:pt x="102" y="90"/>
                    <a:pt x="99" y="93"/>
                    <a:pt x="105" y="96"/>
                  </a:cubicBezTo>
                  <a:cubicBezTo>
                    <a:pt x="111" y="102"/>
                    <a:pt x="126" y="120"/>
                    <a:pt x="129" y="123"/>
                  </a:cubicBezTo>
                  <a:cubicBezTo>
                    <a:pt x="132" y="129"/>
                    <a:pt x="135" y="132"/>
                    <a:pt x="135" y="135"/>
                  </a:cubicBezTo>
                  <a:cubicBezTo>
                    <a:pt x="138" y="141"/>
                    <a:pt x="132" y="141"/>
                    <a:pt x="135" y="144"/>
                  </a:cubicBezTo>
                  <a:cubicBezTo>
                    <a:pt x="138" y="147"/>
                    <a:pt x="132" y="147"/>
                    <a:pt x="132" y="147"/>
                  </a:cubicBezTo>
                  <a:cubicBezTo>
                    <a:pt x="132" y="150"/>
                    <a:pt x="135" y="162"/>
                    <a:pt x="141" y="162"/>
                  </a:cubicBezTo>
                  <a:cubicBezTo>
                    <a:pt x="147" y="162"/>
                    <a:pt x="153" y="171"/>
                    <a:pt x="156" y="174"/>
                  </a:cubicBezTo>
                  <a:cubicBezTo>
                    <a:pt x="162" y="177"/>
                    <a:pt x="168" y="177"/>
                    <a:pt x="174" y="180"/>
                  </a:cubicBezTo>
                  <a:cubicBezTo>
                    <a:pt x="180" y="180"/>
                    <a:pt x="186" y="186"/>
                    <a:pt x="198" y="189"/>
                  </a:cubicBezTo>
                  <a:cubicBezTo>
                    <a:pt x="207" y="192"/>
                    <a:pt x="216" y="198"/>
                    <a:pt x="222" y="201"/>
                  </a:cubicBezTo>
                  <a:cubicBezTo>
                    <a:pt x="228" y="204"/>
                    <a:pt x="237" y="204"/>
                    <a:pt x="246" y="201"/>
                  </a:cubicBezTo>
                  <a:cubicBezTo>
                    <a:pt x="255" y="195"/>
                    <a:pt x="261" y="201"/>
                    <a:pt x="267" y="204"/>
                  </a:cubicBezTo>
                  <a:cubicBezTo>
                    <a:pt x="267" y="204"/>
                    <a:pt x="273" y="207"/>
                    <a:pt x="279" y="213"/>
                  </a:cubicBezTo>
                  <a:cubicBezTo>
                    <a:pt x="282" y="207"/>
                    <a:pt x="285" y="201"/>
                    <a:pt x="288" y="20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3" name="Freeform 838"/>
            <p:cNvSpPr>
              <a:spLocks/>
            </p:cNvSpPr>
            <p:nvPr userDrawn="1"/>
          </p:nvSpPr>
          <p:spPr bwMode="auto">
            <a:xfrm>
              <a:off x="1408" y="-1741"/>
              <a:ext cx="538" cy="333"/>
            </a:xfrm>
            <a:custGeom>
              <a:avLst/>
              <a:gdLst>
                <a:gd name="T0" fmla="*/ 303 w 345"/>
                <a:gd name="T1" fmla="*/ 198 h 213"/>
                <a:gd name="T2" fmla="*/ 297 w 345"/>
                <a:gd name="T3" fmla="*/ 180 h 213"/>
                <a:gd name="T4" fmla="*/ 324 w 345"/>
                <a:gd name="T5" fmla="*/ 171 h 213"/>
                <a:gd name="T6" fmla="*/ 336 w 345"/>
                <a:gd name="T7" fmla="*/ 159 h 213"/>
                <a:gd name="T8" fmla="*/ 345 w 345"/>
                <a:gd name="T9" fmla="*/ 138 h 213"/>
                <a:gd name="T10" fmla="*/ 315 w 345"/>
                <a:gd name="T11" fmla="*/ 135 h 213"/>
                <a:gd name="T12" fmla="*/ 297 w 345"/>
                <a:gd name="T13" fmla="*/ 159 h 213"/>
                <a:gd name="T14" fmla="*/ 282 w 345"/>
                <a:gd name="T15" fmla="*/ 168 h 213"/>
                <a:gd name="T16" fmla="*/ 243 w 345"/>
                <a:gd name="T17" fmla="*/ 168 h 213"/>
                <a:gd name="T18" fmla="*/ 225 w 345"/>
                <a:gd name="T19" fmla="*/ 141 h 213"/>
                <a:gd name="T20" fmla="*/ 225 w 345"/>
                <a:gd name="T21" fmla="*/ 90 h 213"/>
                <a:gd name="T22" fmla="*/ 219 w 345"/>
                <a:gd name="T23" fmla="*/ 81 h 213"/>
                <a:gd name="T24" fmla="*/ 201 w 345"/>
                <a:gd name="T25" fmla="*/ 69 h 213"/>
                <a:gd name="T26" fmla="*/ 189 w 345"/>
                <a:gd name="T27" fmla="*/ 45 h 213"/>
                <a:gd name="T28" fmla="*/ 159 w 345"/>
                <a:gd name="T29" fmla="*/ 45 h 213"/>
                <a:gd name="T30" fmla="*/ 141 w 345"/>
                <a:gd name="T31" fmla="*/ 30 h 213"/>
                <a:gd name="T32" fmla="*/ 123 w 345"/>
                <a:gd name="T33" fmla="*/ 9 h 213"/>
                <a:gd name="T34" fmla="*/ 102 w 345"/>
                <a:gd name="T35" fmla="*/ 15 h 213"/>
                <a:gd name="T36" fmla="*/ 39 w 345"/>
                <a:gd name="T37" fmla="*/ 6 h 213"/>
                <a:gd name="T38" fmla="*/ 0 w 345"/>
                <a:gd name="T39" fmla="*/ 3 h 213"/>
                <a:gd name="T40" fmla="*/ 18 w 345"/>
                <a:gd name="T41" fmla="*/ 33 h 213"/>
                <a:gd name="T42" fmla="*/ 36 w 345"/>
                <a:gd name="T43" fmla="*/ 60 h 213"/>
                <a:gd name="T44" fmla="*/ 42 w 345"/>
                <a:gd name="T45" fmla="*/ 72 h 213"/>
                <a:gd name="T46" fmla="*/ 57 w 345"/>
                <a:gd name="T47" fmla="*/ 93 h 213"/>
                <a:gd name="T48" fmla="*/ 81 w 345"/>
                <a:gd name="T49" fmla="*/ 120 h 213"/>
                <a:gd name="T50" fmla="*/ 84 w 345"/>
                <a:gd name="T51" fmla="*/ 105 h 213"/>
                <a:gd name="T52" fmla="*/ 72 w 345"/>
                <a:gd name="T53" fmla="*/ 93 h 213"/>
                <a:gd name="T54" fmla="*/ 54 w 345"/>
                <a:gd name="T55" fmla="*/ 60 h 213"/>
                <a:gd name="T56" fmla="*/ 45 w 345"/>
                <a:gd name="T57" fmla="*/ 42 h 213"/>
                <a:gd name="T58" fmla="*/ 30 w 345"/>
                <a:gd name="T59" fmla="*/ 27 h 213"/>
                <a:gd name="T60" fmla="*/ 30 w 345"/>
                <a:gd name="T61" fmla="*/ 9 h 213"/>
                <a:gd name="T62" fmla="*/ 39 w 345"/>
                <a:gd name="T63" fmla="*/ 15 h 213"/>
                <a:gd name="T64" fmla="*/ 51 w 345"/>
                <a:gd name="T65" fmla="*/ 30 h 213"/>
                <a:gd name="T66" fmla="*/ 57 w 345"/>
                <a:gd name="T67" fmla="*/ 45 h 213"/>
                <a:gd name="T68" fmla="*/ 75 w 345"/>
                <a:gd name="T69" fmla="*/ 60 h 213"/>
                <a:gd name="T70" fmla="*/ 87 w 345"/>
                <a:gd name="T71" fmla="*/ 72 h 213"/>
                <a:gd name="T72" fmla="*/ 96 w 345"/>
                <a:gd name="T73" fmla="*/ 87 h 213"/>
                <a:gd name="T74" fmla="*/ 129 w 345"/>
                <a:gd name="T75" fmla="*/ 123 h 213"/>
                <a:gd name="T76" fmla="*/ 135 w 345"/>
                <a:gd name="T77" fmla="*/ 144 h 213"/>
                <a:gd name="T78" fmla="*/ 141 w 345"/>
                <a:gd name="T79" fmla="*/ 162 h 213"/>
                <a:gd name="T80" fmla="*/ 174 w 345"/>
                <a:gd name="T81" fmla="*/ 180 h 213"/>
                <a:gd name="T82" fmla="*/ 222 w 345"/>
                <a:gd name="T83" fmla="*/ 201 h 213"/>
                <a:gd name="T84" fmla="*/ 267 w 345"/>
                <a:gd name="T85" fmla="*/ 204 h 213"/>
                <a:gd name="T86" fmla="*/ 288 w 345"/>
                <a:gd name="T87" fmla="*/ 20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5" h="213">
                  <a:moveTo>
                    <a:pt x="288" y="201"/>
                  </a:moveTo>
                  <a:cubicBezTo>
                    <a:pt x="288" y="201"/>
                    <a:pt x="300" y="201"/>
                    <a:pt x="303" y="198"/>
                  </a:cubicBezTo>
                  <a:cubicBezTo>
                    <a:pt x="303" y="195"/>
                    <a:pt x="294" y="189"/>
                    <a:pt x="294" y="186"/>
                  </a:cubicBezTo>
                  <a:cubicBezTo>
                    <a:pt x="294" y="186"/>
                    <a:pt x="294" y="180"/>
                    <a:pt x="297" y="180"/>
                  </a:cubicBezTo>
                  <a:cubicBezTo>
                    <a:pt x="300" y="180"/>
                    <a:pt x="318" y="180"/>
                    <a:pt x="318" y="180"/>
                  </a:cubicBezTo>
                  <a:cubicBezTo>
                    <a:pt x="318" y="180"/>
                    <a:pt x="321" y="171"/>
                    <a:pt x="324" y="171"/>
                  </a:cubicBezTo>
                  <a:cubicBezTo>
                    <a:pt x="327" y="171"/>
                    <a:pt x="330" y="174"/>
                    <a:pt x="330" y="174"/>
                  </a:cubicBezTo>
                  <a:cubicBezTo>
                    <a:pt x="333" y="171"/>
                    <a:pt x="336" y="165"/>
                    <a:pt x="336" y="159"/>
                  </a:cubicBezTo>
                  <a:cubicBezTo>
                    <a:pt x="336" y="153"/>
                    <a:pt x="333" y="150"/>
                    <a:pt x="336" y="147"/>
                  </a:cubicBezTo>
                  <a:cubicBezTo>
                    <a:pt x="342" y="144"/>
                    <a:pt x="345" y="144"/>
                    <a:pt x="345" y="138"/>
                  </a:cubicBezTo>
                  <a:cubicBezTo>
                    <a:pt x="342" y="132"/>
                    <a:pt x="339" y="138"/>
                    <a:pt x="333" y="135"/>
                  </a:cubicBezTo>
                  <a:cubicBezTo>
                    <a:pt x="330" y="132"/>
                    <a:pt x="327" y="135"/>
                    <a:pt x="315" y="135"/>
                  </a:cubicBezTo>
                  <a:cubicBezTo>
                    <a:pt x="306" y="138"/>
                    <a:pt x="300" y="141"/>
                    <a:pt x="303" y="150"/>
                  </a:cubicBezTo>
                  <a:cubicBezTo>
                    <a:pt x="303" y="156"/>
                    <a:pt x="297" y="153"/>
                    <a:pt x="297" y="159"/>
                  </a:cubicBezTo>
                  <a:cubicBezTo>
                    <a:pt x="300" y="165"/>
                    <a:pt x="291" y="165"/>
                    <a:pt x="291" y="171"/>
                  </a:cubicBezTo>
                  <a:cubicBezTo>
                    <a:pt x="291" y="174"/>
                    <a:pt x="285" y="171"/>
                    <a:pt x="282" y="168"/>
                  </a:cubicBezTo>
                  <a:cubicBezTo>
                    <a:pt x="279" y="168"/>
                    <a:pt x="258" y="174"/>
                    <a:pt x="255" y="174"/>
                  </a:cubicBezTo>
                  <a:cubicBezTo>
                    <a:pt x="252" y="174"/>
                    <a:pt x="246" y="168"/>
                    <a:pt x="243" y="168"/>
                  </a:cubicBezTo>
                  <a:cubicBezTo>
                    <a:pt x="240" y="168"/>
                    <a:pt x="237" y="162"/>
                    <a:pt x="237" y="156"/>
                  </a:cubicBezTo>
                  <a:cubicBezTo>
                    <a:pt x="237" y="153"/>
                    <a:pt x="228" y="147"/>
                    <a:pt x="225" y="141"/>
                  </a:cubicBezTo>
                  <a:cubicBezTo>
                    <a:pt x="222" y="138"/>
                    <a:pt x="222" y="126"/>
                    <a:pt x="219" y="120"/>
                  </a:cubicBezTo>
                  <a:cubicBezTo>
                    <a:pt x="219" y="114"/>
                    <a:pt x="219" y="102"/>
                    <a:pt x="225" y="90"/>
                  </a:cubicBezTo>
                  <a:cubicBezTo>
                    <a:pt x="225" y="87"/>
                    <a:pt x="225" y="84"/>
                    <a:pt x="225" y="84"/>
                  </a:cubicBezTo>
                  <a:cubicBezTo>
                    <a:pt x="222" y="84"/>
                    <a:pt x="222" y="81"/>
                    <a:pt x="219" y="81"/>
                  </a:cubicBezTo>
                  <a:cubicBezTo>
                    <a:pt x="216" y="81"/>
                    <a:pt x="207" y="75"/>
                    <a:pt x="204" y="75"/>
                  </a:cubicBezTo>
                  <a:cubicBezTo>
                    <a:pt x="204" y="75"/>
                    <a:pt x="204" y="72"/>
                    <a:pt x="201" y="69"/>
                  </a:cubicBezTo>
                  <a:cubicBezTo>
                    <a:pt x="201" y="66"/>
                    <a:pt x="201" y="63"/>
                    <a:pt x="198" y="60"/>
                  </a:cubicBezTo>
                  <a:cubicBezTo>
                    <a:pt x="198" y="60"/>
                    <a:pt x="189" y="54"/>
                    <a:pt x="189" y="45"/>
                  </a:cubicBezTo>
                  <a:cubicBezTo>
                    <a:pt x="186" y="39"/>
                    <a:pt x="174" y="36"/>
                    <a:pt x="168" y="33"/>
                  </a:cubicBezTo>
                  <a:cubicBezTo>
                    <a:pt x="162" y="33"/>
                    <a:pt x="162" y="45"/>
                    <a:pt x="159" y="45"/>
                  </a:cubicBezTo>
                  <a:cubicBezTo>
                    <a:pt x="159" y="45"/>
                    <a:pt x="150" y="39"/>
                    <a:pt x="147" y="39"/>
                  </a:cubicBezTo>
                  <a:cubicBezTo>
                    <a:pt x="144" y="36"/>
                    <a:pt x="141" y="33"/>
                    <a:pt x="141" y="30"/>
                  </a:cubicBezTo>
                  <a:cubicBezTo>
                    <a:pt x="141" y="27"/>
                    <a:pt x="138" y="24"/>
                    <a:pt x="135" y="21"/>
                  </a:cubicBezTo>
                  <a:cubicBezTo>
                    <a:pt x="132" y="21"/>
                    <a:pt x="123" y="9"/>
                    <a:pt x="123" y="9"/>
                  </a:cubicBezTo>
                  <a:cubicBezTo>
                    <a:pt x="105" y="9"/>
                    <a:pt x="105" y="9"/>
                    <a:pt x="105" y="9"/>
                  </a:cubicBezTo>
                  <a:cubicBezTo>
                    <a:pt x="102" y="15"/>
                    <a:pt x="102" y="15"/>
                    <a:pt x="102" y="15"/>
                  </a:cubicBezTo>
                  <a:cubicBezTo>
                    <a:pt x="69" y="15"/>
                    <a:pt x="69" y="15"/>
                    <a:pt x="69" y="15"/>
                  </a:cubicBezTo>
                  <a:cubicBezTo>
                    <a:pt x="69" y="15"/>
                    <a:pt x="45" y="6"/>
                    <a:pt x="39" y="6"/>
                  </a:cubicBezTo>
                  <a:cubicBezTo>
                    <a:pt x="36" y="3"/>
                    <a:pt x="27" y="0"/>
                    <a:pt x="27" y="0"/>
                  </a:cubicBezTo>
                  <a:cubicBezTo>
                    <a:pt x="0" y="3"/>
                    <a:pt x="0" y="3"/>
                    <a:pt x="0" y="3"/>
                  </a:cubicBezTo>
                  <a:cubicBezTo>
                    <a:pt x="3" y="6"/>
                    <a:pt x="3" y="9"/>
                    <a:pt x="6" y="12"/>
                  </a:cubicBezTo>
                  <a:cubicBezTo>
                    <a:pt x="12" y="18"/>
                    <a:pt x="15" y="30"/>
                    <a:pt x="18" y="33"/>
                  </a:cubicBezTo>
                  <a:cubicBezTo>
                    <a:pt x="18" y="39"/>
                    <a:pt x="24" y="42"/>
                    <a:pt x="30" y="45"/>
                  </a:cubicBezTo>
                  <a:cubicBezTo>
                    <a:pt x="36" y="48"/>
                    <a:pt x="36" y="57"/>
                    <a:pt x="36" y="60"/>
                  </a:cubicBezTo>
                  <a:cubicBezTo>
                    <a:pt x="36" y="63"/>
                    <a:pt x="27" y="57"/>
                    <a:pt x="27" y="60"/>
                  </a:cubicBezTo>
                  <a:cubicBezTo>
                    <a:pt x="27" y="63"/>
                    <a:pt x="36" y="72"/>
                    <a:pt x="42" y="72"/>
                  </a:cubicBezTo>
                  <a:cubicBezTo>
                    <a:pt x="45" y="72"/>
                    <a:pt x="48" y="72"/>
                    <a:pt x="54" y="78"/>
                  </a:cubicBezTo>
                  <a:cubicBezTo>
                    <a:pt x="60" y="84"/>
                    <a:pt x="60" y="90"/>
                    <a:pt x="57" y="93"/>
                  </a:cubicBezTo>
                  <a:cubicBezTo>
                    <a:pt x="54" y="96"/>
                    <a:pt x="63" y="99"/>
                    <a:pt x="69" y="105"/>
                  </a:cubicBezTo>
                  <a:cubicBezTo>
                    <a:pt x="78" y="108"/>
                    <a:pt x="81" y="117"/>
                    <a:pt x="81" y="120"/>
                  </a:cubicBezTo>
                  <a:cubicBezTo>
                    <a:pt x="81" y="120"/>
                    <a:pt x="87" y="120"/>
                    <a:pt x="87" y="114"/>
                  </a:cubicBezTo>
                  <a:cubicBezTo>
                    <a:pt x="87" y="111"/>
                    <a:pt x="84" y="111"/>
                    <a:pt x="84" y="105"/>
                  </a:cubicBezTo>
                  <a:cubicBezTo>
                    <a:pt x="84" y="102"/>
                    <a:pt x="78" y="102"/>
                    <a:pt x="75" y="102"/>
                  </a:cubicBezTo>
                  <a:cubicBezTo>
                    <a:pt x="72" y="102"/>
                    <a:pt x="75" y="96"/>
                    <a:pt x="72" y="93"/>
                  </a:cubicBezTo>
                  <a:cubicBezTo>
                    <a:pt x="69" y="90"/>
                    <a:pt x="66" y="81"/>
                    <a:pt x="66" y="75"/>
                  </a:cubicBezTo>
                  <a:cubicBezTo>
                    <a:pt x="63" y="72"/>
                    <a:pt x="57" y="66"/>
                    <a:pt x="54" y="60"/>
                  </a:cubicBezTo>
                  <a:cubicBezTo>
                    <a:pt x="48" y="54"/>
                    <a:pt x="45" y="48"/>
                    <a:pt x="45" y="48"/>
                  </a:cubicBezTo>
                  <a:cubicBezTo>
                    <a:pt x="42" y="45"/>
                    <a:pt x="48" y="42"/>
                    <a:pt x="45" y="42"/>
                  </a:cubicBezTo>
                  <a:cubicBezTo>
                    <a:pt x="42" y="39"/>
                    <a:pt x="39" y="39"/>
                    <a:pt x="36" y="36"/>
                  </a:cubicBezTo>
                  <a:cubicBezTo>
                    <a:pt x="33" y="36"/>
                    <a:pt x="30" y="33"/>
                    <a:pt x="30" y="27"/>
                  </a:cubicBezTo>
                  <a:cubicBezTo>
                    <a:pt x="30" y="24"/>
                    <a:pt x="27" y="15"/>
                    <a:pt x="27" y="12"/>
                  </a:cubicBezTo>
                  <a:cubicBezTo>
                    <a:pt x="24" y="9"/>
                    <a:pt x="30" y="9"/>
                    <a:pt x="30" y="9"/>
                  </a:cubicBezTo>
                  <a:cubicBezTo>
                    <a:pt x="30" y="12"/>
                    <a:pt x="33" y="12"/>
                    <a:pt x="33" y="12"/>
                  </a:cubicBezTo>
                  <a:cubicBezTo>
                    <a:pt x="36" y="12"/>
                    <a:pt x="39" y="12"/>
                    <a:pt x="39" y="15"/>
                  </a:cubicBezTo>
                  <a:cubicBezTo>
                    <a:pt x="42" y="18"/>
                    <a:pt x="45" y="15"/>
                    <a:pt x="48" y="15"/>
                  </a:cubicBezTo>
                  <a:cubicBezTo>
                    <a:pt x="51" y="18"/>
                    <a:pt x="42" y="18"/>
                    <a:pt x="51" y="30"/>
                  </a:cubicBezTo>
                  <a:cubicBezTo>
                    <a:pt x="57" y="42"/>
                    <a:pt x="51" y="36"/>
                    <a:pt x="51" y="42"/>
                  </a:cubicBezTo>
                  <a:cubicBezTo>
                    <a:pt x="51" y="51"/>
                    <a:pt x="57" y="48"/>
                    <a:pt x="57" y="45"/>
                  </a:cubicBezTo>
                  <a:cubicBezTo>
                    <a:pt x="57" y="45"/>
                    <a:pt x="63" y="48"/>
                    <a:pt x="66" y="54"/>
                  </a:cubicBezTo>
                  <a:cubicBezTo>
                    <a:pt x="69" y="57"/>
                    <a:pt x="75" y="57"/>
                    <a:pt x="75" y="60"/>
                  </a:cubicBezTo>
                  <a:cubicBezTo>
                    <a:pt x="75" y="63"/>
                    <a:pt x="75" y="66"/>
                    <a:pt x="81" y="66"/>
                  </a:cubicBezTo>
                  <a:cubicBezTo>
                    <a:pt x="84" y="69"/>
                    <a:pt x="84" y="72"/>
                    <a:pt x="87" y="72"/>
                  </a:cubicBezTo>
                  <a:cubicBezTo>
                    <a:pt x="90" y="72"/>
                    <a:pt x="90" y="75"/>
                    <a:pt x="90" y="81"/>
                  </a:cubicBezTo>
                  <a:cubicBezTo>
                    <a:pt x="87" y="84"/>
                    <a:pt x="90" y="87"/>
                    <a:pt x="96" y="87"/>
                  </a:cubicBezTo>
                  <a:cubicBezTo>
                    <a:pt x="102" y="90"/>
                    <a:pt x="99" y="93"/>
                    <a:pt x="105" y="96"/>
                  </a:cubicBezTo>
                  <a:cubicBezTo>
                    <a:pt x="111" y="102"/>
                    <a:pt x="126" y="120"/>
                    <a:pt x="129" y="123"/>
                  </a:cubicBezTo>
                  <a:cubicBezTo>
                    <a:pt x="132" y="129"/>
                    <a:pt x="135" y="132"/>
                    <a:pt x="135" y="135"/>
                  </a:cubicBezTo>
                  <a:cubicBezTo>
                    <a:pt x="138" y="141"/>
                    <a:pt x="132" y="141"/>
                    <a:pt x="135" y="144"/>
                  </a:cubicBezTo>
                  <a:cubicBezTo>
                    <a:pt x="138" y="147"/>
                    <a:pt x="132" y="147"/>
                    <a:pt x="132" y="147"/>
                  </a:cubicBezTo>
                  <a:cubicBezTo>
                    <a:pt x="132" y="150"/>
                    <a:pt x="135" y="162"/>
                    <a:pt x="141" y="162"/>
                  </a:cubicBezTo>
                  <a:cubicBezTo>
                    <a:pt x="147" y="162"/>
                    <a:pt x="153" y="171"/>
                    <a:pt x="156" y="174"/>
                  </a:cubicBezTo>
                  <a:cubicBezTo>
                    <a:pt x="162" y="177"/>
                    <a:pt x="168" y="177"/>
                    <a:pt x="174" y="180"/>
                  </a:cubicBezTo>
                  <a:cubicBezTo>
                    <a:pt x="180" y="180"/>
                    <a:pt x="186" y="186"/>
                    <a:pt x="198" y="189"/>
                  </a:cubicBezTo>
                  <a:cubicBezTo>
                    <a:pt x="207" y="192"/>
                    <a:pt x="216" y="198"/>
                    <a:pt x="222" y="201"/>
                  </a:cubicBezTo>
                  <a:cubicBezTo>
                    <a:pt x="228" y="204"/>
                    <a:pt x="237" y="204"/>
                    <a:pt x="246" y="201"/>
                  </a:cubicBezTo>
                  <a:cubicBezTo>
                    <a:pt x="255" y="195"/>
                    <a:pt x="261" y="201"/>
                    <a:pt x="267" y="204"/>
                  </a:cubicBezTo>
                  <a:cubicBezTo>
                    <a:pt x="267" y="204"/>
                    <a:pt x="273" y="207"/>
                    <a:pt x="279" y="213"/>
                  </a:cubicBezTo>
                  <a:cubicBezTo>
                    <a:pt x="282" y="207"/>
                    <a:pt x="285" y="201"/>
                    <a:pt x="288" y="20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4" name="Freeform 839"/>
            <p:cNvSpPr>
              <a:spLocks/>
            </p:cNvSpPr>
            <p:nvPr userDrawn="1"/>
          </p:nvSpPr>
          <p:spPr bwMode="auto">
            <a:xfrm>
              <a:off x="1843" y="-1460"/>
              <a:ext cx="75" cy="70"/>
            </a:xfrm>
            <a:custGeom>
              <a:avLst/>
              <a:gdLst>
                <a:gd name="T0" fmla="*/ 42 w 48"/>
                <a:gd name="T1" fmla="*/ 30 h 45"/>
                <a:gd name="T2" fmla="*/ 48 w 48"/>
                <a:gd name="T3" fmla="*/ 24 h 45"/>
                <a:gd name="T4" fmla="*/ 42 w 48"/>
                <a:gd name="T5" fmla="*/ 21 h 45"/>
                <a:gd name="T6" fmla="*/ 36 w 48"/>
                <a:gd name="T7" fmla="*/ 21 h 45"/>
                <a:gd name="T8" fmla="*/ 36 w 48"/>
                <a:gd name="T9" fmla="*/ 0 h 45"/>
                <a:gd name="T10" fmla="*/ 18 w 48"/>
                <a:gd name="T11" fmla="*/ 0 h 45"/>
                <a:gd name="T12" fmla="*/ 15 w 48"/>
                <a:gd name="T13" fmla="*/ 6 h 45"/>
                <a:gd name="T14" fmla="*/ 24 w 48"/>
                <a:gd name="T15" fmla="*/ 18 h 45"/>
                <a:gd name="T16" fmla="*/ 9 w 48"/>
                <a:gd name="T17" fmla="*/ 21 h 45"/>
                <a:gd name="T18" fmla="*/ 0 w 48"/>
                <a:gd name="T19" fmla="*/ 33 h 45"/>
                <a:gd name="T20" fmla="*/ 12 w 48"/>
                <a:gd name="T21" fmla="*/ 42 h 45"/>
                <a:gd name="T22" fmla="*/ 27 w 48"/>
                <a:gd name="T23" fmla="*/ 45 h 45"/>
                <a:gd name="T24" fmla="*/ 27 w 48"/>
                <a:gd name="T25" fmla="*/ 45 h 45"/>
                <a:gd name="T26" fmla="*/ 36 w 48"/>
                <a:gd name="T27" fmla="*/ 39 h 45"/>
                <a:gd name="T28" fmla="*/ 42 w 48"/>
                <a:gd name="T2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5">
                  <a:moveTo>
                    <a:pt x="42" y="30"/>
                  </a:moveTo>
                  <a:cubicBezTo>
                    <a:pt x="42" y="27"/>
                    <a:pt x="45" y="27"/>
                    <a:pt x="48" y="24"/>
                  </a:cubicBezTo>
                  <a:cubicBezTo>
                    <a:pt x="42" y="27"/>
                    <a:pt x="42" y="24"/>
                    <a:pt x="42" y="21"/>
                  </a:cubicBezTo>
                  <a:cubicBezTo>
                    <a:pt x="36" y="21"/>
                    <a:pt x="36" y="21"/>
                    <a:pt x="36" y="21"/>
                  </a:cubicBezTo>
                  <a:cubicBezTo>
                    <a:pt x="36" y="0"/>
                    <a:pt x="36" y="0"/>
                    <a:pt x="36" y="0"/>
                  </a:cubicBezTo>
                  <a:cubicBezTo>
                    <a:pt x="33" y="0"/>
                    <a:pt x="21" y="0"/>
                    <a:pt x="18" y="0"/>
                  </a:cubicBezTo>
                  <a:cubicBezTo>
                    <a:pt x="15" y="0"/>
                    <a:pt x="15" y="6"/>
                    <a:pt x="15" y="6"/>
                  </a:cubicBezTo>
                  <a:cubicBezTo>
                    <a:pt x="15" y="9"/>
                    <a:pt x="24" y="15"/>
                    <a:pt x="24" y="18"/>
                  </a:cubicBezTo>
                  <a:cubicBezTo>
                    <a:pt x="21" y="21"/>
                    <a:pt x="9" y="21"/>
                    <a:pt x="9" y="21"/>
                  </a:cubicBezTo>
                  <a:cubicBezTo>
                    <a:pt x="6" y="21"/>
                    <a:pt x="3" y="27"/>
                    <a:pt x="0" y="33"/>
                  </a:cubicBezTo>
                  <a:cubicBezTo>
                    <a:pt x="3" y="36"/>
                    <a:pt x="9" y="42"/>
                    <a:pt x="12" y="42"/>
                  </a:cubicBezTo>
                  <a:cubicBezTo>
                    <a:pt x="15" y="45"/>
                    <a:pt x="24" y="42"/>
                    <a:pt x="27" y="45"/>
                  </a:cubicBezTo>
                  <a:cubicBezTo>
                    <a:pt x="27" y="45"/>
                    <a:pt x="27" y="45"/>
                    <a:pt x="27" y="45"/>
                  </a:cubicBezTo>
                  <a:cubicBezTo>
                    <a:pt x="30" y="42"/>
                    <a:pt x="33" y="39"/>
                    <a:pt x="36" y="39"/>
                  </a:cubicBezTo>
                  <a:cubicBezTo>
                    <a:pt x="39" y="39"/>
                    <a:pt x="36" y="33"/>
                    <a:pt x="42"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5" name="Freeform 840"/>
            <p:cNvSpPr>
              <a:spLocks/>
            </p:cNvSpPr>
            <p:nvPr userDrawn="1"/>
          </p:nvSpPr>
          <p:spPr bwMode="auto">
            <a:xfrm>
              <a:off x="1843" y="-1460"/>
              <a:ext cx="75" cy="70"/>
            </a:xfrm>
            <a:custGeom>
              <a:avLst/>
              <a:gdLst>
                <a:gd name="T0" fmla="*/ 42 w 48"/>
                <a:gd name="T1" fmla="*/ 30 h 45"/>
                <a:gd name="T2" fmla="*/ 48 w 48"/>
                <a:gd name="T3" fmla="*/ 24 h 45"/>
                <a:gd name="T4" fmla="*/ 42 w 48"/>
                <a:gd name="T5" fmla="*/ 21 h 45"/>
                <a:gd name="T6" fmla="*/ 36 w 48"/>
                <a:gd name="T7" fmla="*/ 21 h 45"/>
                <a:gd name="T8" fmla="*/ 36 w 48"/>
                <a:gd name="T9" fmla="*/ 0 h 45"/>
                <a:gd name="T10" fmla="*/ 18 w 48"/>
                <a:gd name="T11" fmla="*/ 0 h 45"/>
                <a:gd name="T12" fmla="*/ 15 w 48"/>
                <a:gd name="T13" fmla="*/ 6 h 45"/>
                <a:gd name="T14" fmla="*/ 24 w 48"/>
                <a:gd name="T15" fmla="*/ 18 h 45"/>
                <a:gd name="T16" fmla="*/ 9 w 48"/>
                <a:gd name="T17" fmla="*/ 21 h 45"/>
                <a:gd name="T18" fmla="*/ 0 w 48"/>
                <a:gd name="T19" fmla="*/ 33 h 45"/>
                <a:gd name="T20" fmla="*/ 12 w 48"/>
                <a:gd name="T21" fmla="*/ 42 h 45"/>
                <a:gd name="T22" fmla="*/ 27 w 48"/>
                <a:gd name="T23" fmla="*/ 45 h 45"/>
                <a:gd name="T24" fmla="*/ 27 w 48"/>
                <a:gd name="T25" fmla="*/ 45 h 45"/>
                <a:gd name="T26" fmla="*/ 36 w 48"/>
                <a:gd name="T27" fmla="*/ 39 h 45"/>
                <a:gd name="T28" fmla="*/ 42 w 48"/>
                <a:gd name="T29"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5">
                  <a:moveTo>
                    <a:pt x="42" y="30"/>
                  </a:moveTo>
                  <a:cubicBezTo>
                    <a:pt x="42" y="27"/>
                    <a:pt x="45" y="27"/>
                    <a:pt x="48" y="24"/>
                  </a:cubicBezTo>
                  <a:cubicBezTo>
                    <a:pt x="42" y="27"/>
                    <a:pt x="42" y="24"/>
                    <a:pt x="42" y="21"/>
                  </a:cubicBezTo>
                  <a:cubicBezTo>
                    <a:pt x="36" y="21"/>
                    <a:pt x="36" y="21"/>
                    <a:pt x="36" y="21"/>
                  </a:cubicBezTo>
                  <a:cubicBezTo>
                    <a:pt x="36" y="0"/>
                    <a:pt x="36" y="0"/>
                    <a:pt x="36" y="0"/>
                  </a:cubicBezTo>
                  <a:cubicBezTo>
                    <a:pt x="33" y="0"/>
                    <a:pt x="21" y="0"/>
                    <a:pt x="18" y="0"/>
                  </a:cubicBezTo>
                  <a:cubicBezTo>
                    <a:pt x="15" y="0"/>
                    <a:pt x="15" y="6"/>
                    <a:pt x="15" y="6"/>
                  </a:cubicBezTo>
                  <a:cubicBezTo>
                    <a:pt x="15" y="9"/>
                    <a:pt x="24" y="15"/>
                    <a:pt x="24" y="18"/>
                  </a:cubicBezTo>
                  <a:cubicBezTo>
                    <a:pt x="21" y="21"/>
                    <a:pt x="9" y="21"/>
                    <a:pt x="9" y="21"/>
                  </a:cubicBezTo>
                  <a:cubicBezTo>
                    <a:pt x="6" y="21"/>
                    <a:pt x="3" y="27"/>
                    <a:pt x="0" y="33"/>
                  </a:cubicBezTo>
                  <a:cubicBezTo>
                    <a:pt x="3" y="36"/>
                    <a:pt x="9" y="42"/>
                    <a:pt x="12" y="42"/>
                  </a:cubicBezTo>
                  <a:cubicBezTo>
                    <a:pt x="15" y="45"/>
                    <a:pt x="24" y="42"/>
                    <a:pt x="27" y="45"/>
                  </a:cubicBezTo>
                  <a:cubicBezTo>
                    <a:pt x="27" y="45"/>
                    <a:pt x="27" y="45"/>
                    <a:pt x="27" y="45"/>
                  </a:cubicBezTo>
                  <a:cubicBezTo>
                    <a:pt x="30" y="42"/>
                    <a:pt x="33" y="39"/>
                    <a:pt x="36" y="39"/>
                  </a:cubicBezTo>
                  <a:cubicBezTo>
                    <a:pt x="39" y="39"/>
                    <a:pt x="36" y="33"/>
                    <a:pt x="42"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6" name="Freeform 841"/>
            <p:cNvSpPr>
              <a:spLocks/>
            </p:cNvSpPr>
            <p:nvPr userDrawn="1"/>
          </p:nvSpPr>
          <p:spPr bwMode="auto">
            <a:xfrm>
              <a:off x="1899" y="-1474"/>
              <a:ext cx="24" cy="47"/>
            </a:xfrm>
            <a:custGeom>
              <a:avLst/>
              <a:gdLst>
                <a:gd name="T0" fmla="*/ 3 w 15"/>
                <a:gd name="T1" fmla="*/ 9 h 30"/>
                <a:gd name="T2" fmla="*/ 0 w 15"/>
                <a:gd name="T3" fmla="*/ 9 h 30"/>
                <a:gd name="T4" fmla="*/ 0 w 15"/>
                <a:gd name="T5" fmla="*/ 30 h 30"/>
                <a:gd name="T6" fmla="*/ 6 w 15"/>
                <a:gd name="T7" fmla="*/ 30 h 30"/>
                <a:gd name="T8" fmla="*/ 9 w 15"/>
                <a:gd name="T9" fmla="*/ 24 h 30"/>
                <a:gd name="T10" fmla="*/ 12 w 15"/>
                <a:gd name="T11" fmla="*/ 6 h 30"/>
                <a:gd name="T12" fmla="*/ 15 w 15"/>
                <a:gd name="T13" fmla="*/ 3 h 30"/>
                <a:gd name="T14" fmla="*/ 9 w 15"/>
                <a:gd name="T15" fmla="*/ 0 h 30"/>
                <a:gd name="T16" fmla="*/ 3 w 15"/>
                <a:gd name="T17"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0">
                  <a:moveTo>
                    <a:pt x="3" y="9"/>
                  </a:moveTo>
                  <a:cubicBezTo>
                    <a:pt x="3" y="9"/>
                    <a:pt x="3" y="9"/>
                    <a:pt x="0" y="9"/>
                  </a:cubicBezTo>
                  <a:cubicBezTo>
                    <a:pt x="0" y="30"/>
                    <a:pt x="0" y="30"/>
                    <a:pt x="0" y="30"/>
                  </a:cubicBezTo>
                  <a:cubicBezTo>
                    <a:pt x="6" y="30"/>
                    <a:pt x="6" y="30"/>
                    <a:pt x="6" y="30"/>
                  </a:cubicBezTo>
                  <a:cubicBezTo>
                    <a:pt x="6" y="27"/>
                    <a:pt x="9" y="27"/>
                    <a:pt x="9" y="24"/>
                  </a:cubicBezTo>
                  <a:cubicBezTo>
                    <a:pt x="15" y="21"/>
                    <a:pt x="9" y="6"/>
                    <a:pt x="12" y="6"/>
                  </a:cubicBezTo>
                  <a:cubicBezTo>
                    <a:pt x="15" y="6"/>
                    <a:pt x="15" y="6"/>
                    <a:pt x="15" y="3"/>
                  </a:cubicBezTo>
                  <a:cubicBezTo>
                    <a:pt x="15" y="3"/>
                    <a:pt x="12" y="0"/>
                    <a:pt x="9" y="0"/>
                  </a:cubicBezTo>
                  <a:cubicBezTo>
                    <a:pt x="6" y="0"/>
                    <a:pt x="3" y="9"/>
                    <a:pt x="3"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7" name="Freeform 842"/>
            <p:cNvSpPr>
              <a:spLocks/>
            </p:cNvSpPr>
            <p:nvPr userDrawn="1"/>
          </p:nvSpPr>
          <p:spPr bwMode="auto">
            <a:xfrm>
              <a:off x="1899" y="-1474"/>
              <a:ext cx="24" cy="47"/>
            </a:xfrm>
            <a:custGeom>
              <a:avLst/>
              <a:gdLst>
                <a:gd name="T0" fmla="*/ 3 w 15"/>
                <a:gd name="T1" fmla="*/ 9 h 30"/>
                <a:gd name="T2" fmla="*/ 0 w 15"/>
                <a:gd name="T3" fmla="*/ 9 h 30"/>
                <a:gd name="T4" fmla="*/ 0 w 15"/>
                <a:gd name="T5" fmla="*/ 30 h 30"/>
                <a:gd name="T6" fmla="*/ 6 w 15"/>
                <a:gd name="T7" fmla="*/ 30 h 30"/>
                <a:gd name="T8" fmla="*/ 9 w 15"/>
                <a:gd name="T9" fmla="*/ 24 h 30"/>
                <a:gd name="T10" fmla="*/ 12 w 15"/>
                <a:gd name="T11" fmla="*/ 6 h 30"/>
                <a:gd name="T12" fmla="*/ 15 w 15"/>
                <a:gd name="T13" fmla="*/ 3 h 30"/>
                <a:gd name="T14" fmla="*/ 9 w 15"/>
                <a:gd name="T15" fmla="*/ 0 h 30"/>
                <a:gd name="T16" fmla="*/ 3 w 15"/>
                <a:gd name="T17"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0">
                  <a:moveTo>
                    <a:pt x="3" y="9"/>
                  </a:moveTo>
                  <a:cubicBezTo>
                    <a:pt x="3" y="9"/>
                    <a:pt x="3" y="9"/>
                    <a:pt x="0" y="9"/>
                  </a:cubicBezTo>
                  <a:cubicBezTo>
                    <a:pt x="0" y="30"/>
                    <a:pt x="0" y="30"/>
                    <a:pt x="0" y="30"/>
                  </a:cubicBezTo>
                  <a:cubicBezTo>
                    <a:pt x="6" y="30"/>
                    <a:pt x="6" y="30"/>
                    <a:pt x="6" y="30"/>
                  </a:cubicBezTo>
                  <a:cubicBezTo>
                    <a:pt x="6" y="27"/>
                    <a:pt x="9" y="27"/>
                    <a:pt x="9" y="24"/>
                  </a:cubicBezTo>
                  <a:cubicBezTo>
                    <a:pt x="15" y="21"/>
                    <a:pt x="9" y="6"/>
                    <a:pt x="12" y="6"/>
                  </a:cubicBezTo>
                  <a:cubicBezTo>
                    <a:pt x="15" y="6"/>
                    <a:pt x="15" y="6"/>
                    <a:pt x="15" y="3"/>
                  </a:cubicBezTo>
                  <a:cubicBezTo>
                    <a:pt x="15" y="3"/>
                    <a:pt x="12" y="0"/>
                    <a:pt x="9" y="0"/>
                  </a:cubicBezTo>
                  <a:cubicBezTo>
                    <a:pt x="6" y="0"/>
                    <a:pt x="3" y="9"/>
                    <a:pt x="3"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8" name="Freeform 843"/>
            <p:cNvSpPr>
              <a:spLocks/>
            </p:cNvSpPr>
            <p:nvPr userDrawn="1"/>
          </p:nvSpPr>
          <p:spPr bwMode="auto">
            <a:xfrm>
              <a:off x="2158" y="-1505"/>
              <a:ext cx="55" cy="45"/>
            </a:xfrm>
            <a:custGeom>
              <a:avLst/>
              <a:gdLst>
                <a:gd name="T0" fmla="*/ 17 w 35"/>
                <a:gd name="T1" fmla="*/ 3 h 29"/>
                <a:gd name="T2" fmla="*/ 23 w 35"/>
                <a:gd name="T3" fmla="*/ 17 h 29"/>
                <a:gd name="T4" fmla="*/ 3 w 35"/>
                <a:gd name="T5" fmla="*/ 23 h 29"/>
                <a:gd name="T6" fmla="*/ 17 w 35"/>
                <a:gd name="T7" fmla="*/ 26 h 29"/>
                <a:gd name="T8" fmla="*/ 32 w 35"/>
                <a:gd name="T9" fmla="*/ 26 h 29"/>
                <a:gd name="T10" fmla="*/ 35 w 35"/>
                <a:gd name="T11" fmla="*/ 5 h 29"/>
                <a:gd name="T12" fmla="*/ 17 w 35"/>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17" y="3"/>
                  </a:moveTo>
                  <a:cubicBezTo>
                    <a:pt x="12" y="5"/>
                    <a:pt x="23" y="14"/>
                    <a:pt x="23" y="17"/>
                  </a:cubicBezTo>
                  <a:cubicBezTo>
                    <a:pt x="23" y="23"/>
                    <a:pt x="3" y="17"/>
                    <a:pt x="3" y="23"/>
                  </a:cubicBezTo>
                  <a:cubicBezTo>
                    <a:pt x="0" y="23"/>
                    <a:pt x="9" y="29"/>
                    <a:pt x="17" y="26"/>
                  </a:cubicBezTo>
                  <a:cubicBezTo>
                    <a:pt x="23" y="23"/>
                    <a:pt x="29" y="26"/>
                    <a:pt x="32" y="26"/>
                  </a:cubicBezTo>
                  <a:cubicBezTo>
                    <a:pt x="32" y="20"/>
                    <a:pt x="32" y="11"/>
                    <a:pt x="35" y="5"/>
                  </a:cubicBezTo>
                  <a:cubicBezTo>
                    <a:pt x="26" y="5"/>
                    <a:pt x="20" y="0"/>
                    <a:pt x="17"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49" name="Freeform 844"/>
            <p:cNvSpPr>
              <a:spLocks/>
            </p:cNvSpPr>
            <p:nvPr userDrawn="1"/>
          </p:nvSpPr>
          <p:spPr bwMode="auto">
            <a:xfrm>
              <a:off x="2158" y="-1505"/>
              <a:ext cx="55" cy="45"/>
            </a:xfrm>
            <a:custGeom>
              <a:avLst/>
              <a:gdLst>
                <a:gd name="T0" fmla="*/ 17 w 35"/>
                <a:gd name="T1" fmla="*/ 3 h 29"/>
                <a:gd name="T2" fmla="*/ 23 w 35"/>
                <a:gd name="T3" fmla="*/ 17 h 29"/>
                <a:gd name="T4" fmla="*/ 3 w 35"/>
                <a:gd name="T5" fmla="*/ 23 h 29"/>
                <a:gd name="T6" fmla="*/ 17 w 35"/>
                <a:gd name="T7" fmla="*/ 26 h 29"/>
                <a:gd name="T8" fmla="*/ 32 w 35"/>
                <a:gd name="T9" fmla="*/ 26 h 29"/>
                <a:gd name="T10" fmla="*/ 35 w 35"/>
                <a:gd name="T11" fmla="*/ 5 h 29"/>
                <a:gd name="T12" fmla="*/ 17 w 35"/>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17" y="3"/>
                  </a:moveTo>
                  <a:cubicBezTo>
                    <a:pt x="12" y="5"/>
                    <a:pt x="23" y="14"/>
                    <a:pt x="23" y="17"/>
                  </a:cubicBezTo>
                  <a:cubicBezTo>
                    <a:pt x="23" y="23"/>
                    <a:pt x="3" y="17"/>
                    <a:pt x="3" y="23"/>
                  </a:cubicBezTo>
                  <a:cubicBezTo>
                    <a:pt x="0" y="23"/>
                    <a:pt x="9" y="29"/>
                    <a:pt x="17" y="26"/>
                  </a:cubicBezTo>
                  <a:cubicBezTo>
                    <a:pt x="23" y="23"/>
                    <a:pt x="29" y="26"/>
                    <a:pt x="32" y="26"/>
                  </a:cubicBezTo>
                  <a:cubicBezTo>
                    <a:pt x="32" y="20"/>
                    <a:pt x="32" y="11"/>
                    <a:pt x="35" y="5"/>
                  </a:cubicBezTo>
                  <a:cubicBezTo>
                    <a:pt x="26" y="5"/>
                    <a:pt x="20" y="0"/>
                    <a:pt x="17"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0" name="Freeform 845"/>
            <p:cNvSpPr>
              <a:spLocks/>
            </p:cNvSpPr>
            <p:nvPr userDrawn="1"/>
          </p:nvSpPr>
          <p:spPr bwMode="auto">
            <a:xfrm>
              <a:off x="2208" y="-1497"/>
              <a:ext cx="61" cy="37"/>
            </a:xfrm>
            <a:custGeom>
              <a:avLst/>
              <a:gdLst>
                <a:gd name="T0" fmla="*/ 15 w 39"/>
                <a:gd name="T1" fmla="*/ 18 h 24"/>
                <a:gd name="T2" fmla="*/ 39 w 39"/>
                <a:gd name="T3" fmla="*/ 12 h 24"/>
                <a:gd name="T4" fmla="*/ 9 w 39"/>
                <a:gd name="T5" fmla="*/ 0 h 24"/>
                <a:gd name="T6" fmla="*/ 3 w 39"/>
                <a:gd name="T7" fmla="*/ 0 h 24"/>
                <a:gd name="T8" fmla="*/ 0 w 39"/>
                <a:gd name="T9" fmla="*/ 21 h 24"/>
                <a:gd name="T10" fmla="*/ 0 w 39"/>
                <a:gd name="T11" fmla="*/ 24 h 24"/>
                <a:gd name="T12" fmla="*/ 15 w 39"/>
                <a:gd name="T13" fmla="*/ 18 h 24"/>
              </a:gdLst>
              <a:ahLst/>
              <a:cxnLst>
                <a:cxn ang="0">
                  <a:pos x="T0" y="T1"/>
                </a:cxn>
                <a:cxn ang="0">
                  <a:pos x="T2" y="T3"/>
                </a:cxn>
                <a:cxn ang="0">
                  <a:pos x="T4" y="T5"/>
                </a:cxn>
                <a:cxn ang="0">
                  <a:pos x="T6" y="T7"/>
                </a:cxn>
                <a:cxn ang="0">
                  <a:pos x="T8" y="T9"/>
                </a:cxn>
                <a:cxn ang="0">
                  <a:pos x="T10" y="T11"/>
                </a:cxn>
                <a:cxn ang="0">
                  <a:pos x="T12" y="T13"/>
                </a:cxn>
              </a:cxnLst>
              <a:rect l="0" t="0" r="r" b="b"/>
              <a:pathLst>
                <a:path w="39" h="24">
                  <a:moveTo>
                    <a:pt x="15" y="18"/>
                  </a:moveTo>
                  <a:cubicBezTo>
                    <a:pt x="24" y="15"/>
                    <a:pt x="39" y="21"/>
                    <a:pt x="39" y="12"/>
                  </a:cubicBezTo>
                  <a:cubicBezTo>
                    <a:pt x="39" y="6"/>
                    <a:pt x="15" y="0"/>
                    <a:pt x="9" y="0"/>
                  </a:cubicBezTo>
                  <a:cubicBezTo>
                    <a:pt x="6" y="0"/>
                    <a:pt x="3" y="0"/>
                    <a:pt x="3" y="0"/>
                  </a:cubicBezTo>
                  <a:cubicBezTo>
                    <a:pt x="0" y="6"/>
                    <a:pt x="0" y="15"/>
                    <a:pt x="0" y="21"/>
                  </a:cubicBezTo>
                  <a:cubicBezTo>
                    <a:pt x="0" y="21"/>
                    <a:pt x="0" y="21"/>
                    <a:pt x="0" y="24"/>
                  </a:cubicBezTo>
                  <a:cubicBezTo>
                    <a:pt x="3" y="24"/>
                    <a:pt x="6" y="21"/>
                    <a:pt x="1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1" name="Freeform 846"/>
            <p:cNvSpPr>
              <a:spLocks/>
            </p:cNvSpPr>
            <p:nvPr userDrawn="1"/>
          </p:nvSpPr>
          <p:spPr bwMode="auto">
            <a:xfrm>
              <a:off x="2208" y="-1497"/>
              <a:ext cx="61" cy="37"/>
            </a:xfrm>
            <a:custGeom>
              <a:avLst/>
              <a:gdLst>
                <a:gd name="T0" fmla="*/ 15 w 39"/>
                <a:gd name="T1" fmla="*/ 18 h 24"/>
                <a:gd name="T2" fmla="*/ 39 w 39"/>
                <a:gd name="T3" fmla="*/ 12 h 24"/>
                <a:gd name="T4" fmla="*/ 9 w 39"/>
                <a:gd name="T5" fmla="*/ 0 h 24"/>
                <a:gd name="T6" fmla="*/ 3 w 39"/>
                <a:gd name="T7" fmla="*/ 0 h 24"/>
                <a:gd name="T8" fmla="*/ 0 w 39"/>
                <a:gd name="T9" fmla="*/ 21 h 24"/>
                <a:gd name="T10" fmla="*/ 0 w 39"/>
                <a:gd name="T11" fmla="*/ 24 h 24"/>
                <a:gd name="T12" fmla="*/ 15 w 39"/>
                <a:gd name="T13" fmla="*/ 18 h 24"/>
              </a:gdLst>
              <a:ahLst/>
              <a:cxnLst>
                <a:cxn ang="0">
                  <a:pos x="T0" y="T1"/>
                </a:cxn>
                <a:cxn ang="0">
                  <a:pos x="T2" y="T3"/>
                </a:cxn>
                <a:cxn ang="0">
                  <a:pos x="T4" y="T5"/>
                </a:cxn>
                <a:cxn ang="0">
                  <a:pos x="T6" y="T7"/>
                </a:cxn>
                <a:cxn ang="0">
                  <a:pos x="T8" y="T9"/>
                </a:cxn>
                <a:cxn ang="0">
                  <a:pos x="T10" y="T11"/>
                </a:cxn>
                <a:cxn ang="0">
                  <a:pos x="T12" y="T13"/>
                </a:cxn>
              </a:cxnLst>
              <a:rect l="0" t="0" r="r" b="b"/>
              <a:pathLst>
                <a:path w="39" h="24">
                  <a:moveTo>
                    <a:pt x="15" y="18"/>
                  </a:moveTo>
                  <a:cubicBezTo>
                    <a:pt x="24" y="15"/>
                    <a:pt x="39" y="21"/>
                    <a:pt x="39" y="12"/>
                  </a:cubicBezTo>
                  <a:cubicBezTo>
                    <a:pt x="39" y="6"/>
                    <a:pt x="15" y="0"/>
                    <a:pt x="9" y="0"/>
                  </a:cubicBezTo>
                  <a:cubicBezTo>
                    <a:pt x="6" y="0"/>
                    <a:pt x="3" y="0"/>
                    <a:pt x="3" y="0"/>
                  </a:cubicBezTo>
                  <a:cubicBezTo>
                    <a:pt x="0" y="6"/>
                    <a:pt x="0" y="15"/>
                    <a:pt x="0" y="21"/>
                  </a:cubicBezTo>
                  <a:cubicBezTo>
                    <a:pt x="0" y="21"/>
                    <a:pt x="0" y="21"/>
                    <a:pt x="0" y="24"/>
                  </a:cubicBezTo>
                  <a:cubicBezTo>
                    <a:pt x="3" y="24"/>
                    <a:pt x="6" y="21"/>
                    <a:pt x="1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2" name="Freeform 847"/>
            <p:cNvSpPr>
              <a:spLocks/>
            </p:cNvSpPr>
            <p:nvPr userDrawn="1"/>
          </p:nvSpPr>
          <p:spPr bwMode="auto">
            <a:xfrm>
              <a:off x="1934" y="-1408"/>
              <a:ext cx="73" cy="74"/>
            </a:xfrm>
            <a:custGeom>
              <a:avLst/>
              <a:gdLst>
                <a:gd name="T0" fmla="*/ 26 w 47"/>
                <a:gd name="T1" fmla="*/ 45 h 48"/>
                <a:gd name="T2" fmla="*/ 35 w 47"/>
                <a:gd name="T3" fmla="*/ 48 h 48"/>
                <a:gd name="T4" fmla="*/ 41 w 47"/>
                <a:gd name="T5" fmla="*/ 48 h 48"/>
                <a:gd name="T6" fmla="*/ 41 w 47"/>
                <a:gd name="T7" fmla="*/ 45 h 48"/>
                <a:gd name="T8" fmla="*/ 44 w 47"/>
                <a:gd name="T9" fmla="*/ 30 h 48"/>
                <a:gd name="T10" fmla="*/ 44 w 47"/>
                <a:gd name="T11" fmla="*/ 12 h 48"/>
                <a:gd name="T12" fmla="*/ 47 w 47"/>
                <a:gd name="T13" fmla="*/ 0 h 48"/>
                <a:gd name="T14" fmla="*/ 47 w 47"/>
                <a:gd name="T15" fmla="*/ 0 h 48"/>
                <a:gd name="T16" fmla="*/ 35 w 47"/>
                <a:gd name="T17" fmla="*/ 3 h 48"/>
                <a:gd name="T18" fmla="*/ 23 w 47"/>
                <a:gd name="T19" fmla="*/ 6 h 48"/>
                <a:gd name="T20" fmla="*/ 12 w 47"/>
                <a:gd name="T21" fmla="*/ 12 h 48"/>
                <a:gd name="T22" fmla="*/ 9 w 47"/>
                <a:gd name="T23" fmla="*/ 18 h 48"/>
                <a:gd name="T24" fmla="*/ 3 w 47"/>
                <a:gd name="T25" fmla="*/ 21 h 48"/>
                <a:gd name="T26" fmla="*/ 0 w 47"/>
                <a:gd name="T27" fmla="*/ 24 h 48"/>
                <a:gd name="T28" fmla="*/ 3 w 47"/>
                <a:gd name="T29" fmla="*/ 27 h 48"/>
                <a:gd name="T30" fmla="*/ 15 w 47"/>
                <a:gd name="T31" fmla="*/ 42 h 48"/>
                <a:gd name="T32" fmla="*/ 21 w 47"/>
                <a:gd name="T33" fmla="*/ 45 h 48"/>
                <a:gd name="T34" fmla="*/ 26 w 47"/>
                <a:gd name="T35"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8">
                  <a:moveTo>
                    <a:pt x="26" y="45"/>
                  </a:moveTo>
                  <a:cubicBezTo>
                    <a:pt x="26" y="48"/>
                    <a:pt x="32" y="45"/>
                    <a:pt x="35" y="48"/>
                  </a:cubicBezTo>
                  <a:cubicBezTo>
                    <a:pt x="38" y="48"/>
                    <a:pt x="38" y="48"/>
                    <a:pt x="41" y="48"/>
                  </a:cubicBezTo>
                  <a:cubicBezTo>
                    <a:pt x="41" y="45"/>
                    <a:pt x="41" y="45"/>
                    <a:pt x="41" y="45"/>
                  </a:cubicBezTo>
                  <a:cubicBezTo>
                    <a:pt x="38" y="42"/>
                    <a:pt x="41" y="36"/>
                    <a:pt x="44" y="30"/>
                  </a:cubicBezTo>
                  <a:cubicBezTo>
                    <a:pt x="44" y="27"/>
                    <a:pt x="41" y="15"/>
                    <a:pt x="44" y="12"/>
                  </a:cubicBezTo>
                  <a:cubicBezTo>
                    <a:pt x="47" y="9"/>
                    <a:pt x="44" y="6"/>
                    <a:pt x="47" y="0"/>
                  </a:cubicBezTo>
                  <a:cubicBezTo>
                    <a:pt x="47" y="0"/>
                    <a:pt x="47" y="0"/>
                    <a:pt x="47" y="0"/>
                  </a:cubicBezTo>
                  <a:cubicBezTo>
                    <a:pt x="41" y="0"/>
                    <a:pt x="35" y="3"/>
                    <a:pt x="35" y="3"/>
                  </a:cubicBezTo>
                  <a:cubicBezTo>
                    <a:pt x="32" y="3"/>
                    <a:pt x="23" y="3"/>
                    <a:pt x="23" y="6"/>
                  </a:cubicBezTo>
                  <a:cubicBezTo>
                    <a:pt x="23" y="12"/>
                    <a:pt x="18" y="12"/>
                    <a:pt x="12" y="12"/>
                  </a:cubicBezTo>
                  <a:cubicBezTo>
                    <a:pt x="6" y="12"/>
                    <a:pt x="9" y="18"/>
                    <a:pt x="9" y="18"/>
                  </a:cubicBezTo>
                  <a:cubicBezTo>
                    <a:pt x="6" y="21"/>
                    <a:pt x="3" y="21"/>
                    <a:pt x="3" y="21"/>
                  </a:cubicBezTo>
                  <a:cubicBezTo>
                    <a:pt x="0" y="24"/>
                    <a:pt x="0" y="24"/>
                    <a:pt x="0" y="24"/>
                  </a:cubicBezTo>
                  <a:cubicBezTo>
                    <a:pt x="0" y="24"/>
                    <a:pt x="0" y="27"/>
                    <a:pt x="3" y="27"/>
                  </a:cubicBezTo>
                  <a:cubicBezTo>
                    <a:pt x="6" y="30"/>
                    <a:pt x="12" y="39"/>
                    <a:pt x="15" y="42"/>
                  </a:cubicBezTo>
                  <a:cubicBezTo>
                    <a:pt x="18" y="42"/>
                    <a:pt x="18" y="42"/>
                    <a:pt x="21" y="45"/>
                  </a:cubicBezTo>
                  <a:cubicBezTo>
                    <a:pt x="21" y="45"/>
                    <a:pt x="23" y="45"/>
                    <a:pt x="26"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3" name="Freeform 848"/>
            <p:cNvSpPr>
              <a:spLocks/>
            </p:cNvSpPr>
            <p:nvPr userDrawn="1"/>
          </p:nvSpPr>
          <p:spPr bwMode="auto">
            <a:xfrm>
              <a:off x="1934" y="-1408"/>
              <a:ext cx="73" cy="74"/>
            </a:xfrm>
            <a:custGeom>
              <a:avLst/>
              <a:gdLst>
                <a:gd name="T0" fmla="*/ 26 w 47"/>
                <a:gd name="T1" fmla="*/ 45 h 48"/>
                <a:gd name="T2" fmla="*/ 35 w 47"/>
                <a:gd name="T3" fmla="*/ 48 h 48"/>
                <a:gd name="T4" fmla="*/ 41 w 47"/>
                <a:gd name="T5" fmla="*/ 48 h 48"/>
                <a:gd name="T6" fmla="*/ 41 w 47"/>
                <a:gd name="T7" fmla="*/ 45 h 48"/>
                <a:gd name="T8" fmla="*/ 44 w 47"/>
                <a:gd name="T9" fmla="*/ 30 h 48"/>
                <a:gd name="T10" fmla="*/ 44 w 47"/>
                <a:gd name="T11" fmla="*/ 12 h 48"/>
                <a:gd name="T12" fmla="*/ 47 w 47"/>
                <a:gd name="T13" fmla="*/ 0 h 48"/>
                <a:gd name="T14" fmla="*/ 47 w 47"/>
                <a:gd name="T15" fmla="*/ 0 h 48"/>
                <a:gd name="T16" fmla="*/ 35 w 47"/>
                <a:gd name="T17" fmla="*/ 3 h 48"/>
                <a:gd name="T18" fmla="*/ 23 w 47"/>
                <a:gd name="T19" fmla="*/ 6 h 48"/>
                <a:gd name="T20" fmla="*/ 12 w 47"/>
                <a:gd name="T21" fmla="*/ 12 h 48"/>
                <a:gd name="T22" fmla="*/ 9 w 47"/>
                <a:gd name="T23" fmla="*/ 18 h 48"/>
                <a:gd name="T24" fmla="*/ 3 w 47"/>
                <a:gd name="T25" fmla="*/ 21 h 48"/>
                <a:gd name="T26" fmla="*/ 0 w 47"/>
                <a:gd name="T27" fmla="*/ 24 h 48"/>
                <a:gd name="T28" fmla="*/ 3 w 47"/>
                <a:gd name="T29" fmla="*/ 27 h 48"/>
                <a:gd name="T30" fmla="*/ 15 w 47"/>
                <a:gd name="T31" fmla="*/ 42 h 48"/>
                <a:gd name="T32" fmla="*/ 21 w 47"/>
                <a:gd name="T33" fmla="*/ 45 h 48"/>
                <a:gd name="T34" fmla="*/ 26 w 47"/>
                <a:gd name="T35"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8">
                  <a:moveTo>
                    <a:pt x="26" y="45"/>
                  </a:moveTo>
                  <a:cubicBezTo>
                    <a:pt x="26" y="48"/>
                    <a:pt x="32" y="45"/>
                    <a:pt x="35" y="48"/>
                  </a:cubicBezTo>
                  <a:cubicBezTo>
                    <a:pt x="38" y="48"/>
                    <a:pt x="38" y="48"/>
                    <a:pt x="41" y="48"/>
                  </a:cubicBezTo>
                  <a:cubicBezTo>
                    <a:pt x="41" y="45"/>
                    <a:pt x="41" y="45"/>
                    <a:pt x="41" y="45"/>
                  </a:cubicBezTo>
                  <a:cubicBezTo>
                    <a:pt x="38" y="42"/>
                    <a:pt x="41" y="36"/>
                    <a:pt x="44" y="30"/>
                  </a:cubicBezTo>
                  <a:cubicBezTo>
                    <a:pt x="44" y="27"/>
                    <a:pt x="41" y="15"/>
                    <a:pt x="44" y="12"/>
                  </a:cubicBezTo>
                  <a:cubicBezTo>
                    <a:pt x="47" y="9"/>
                    <a:pt x="44" y="6"/>
                    <a:pt x="47" y="0"/>
                  </a:cubicBezTo>
                  <a:cubicBezTo>
                    <a:pt x="47" y="0"/>
                    <a:pt x="47" y="0"/>
                    <a:pt x="47" y="0"/>
                  </a:cubicBezTo>
                  <a:cubicBezTo>
                    <a:pt x="41" y="0"/>
                    <a:pt x="35" y="3"/>
                    <a:pt x="35" y="3"/>
                  </a:cubicBezTo>
                  <a:cubicBezTo>
                    <a:pt x="32" y="3"/>
                    <a:pt x="23" y="3"/>
                    <a:pt x="23" y="6"/>
                  </a:cubicBezTo>
                  <a:cubicBezTo>
                    <a:pt x="23" y="12"/>
                    <a:pt x="18" y="12"/>
                    <a:pt x="12" y="12"/>
                  </a:cubicBezTo>
                  <a:cubicBezTo>
                    <a:pt x="6" y="12"/>
                    <a:pt x="9" y="18"/>
                    <a:pt x="9" y="18"/>
                  </a:cubicBezTo>
                  <a:cubicBezTo>
                    <a:pt x="6" y="21"/>
                    <a:pt x="3" y="21"/>
                    <a:pt x="3" y="21"/>
                  </a:cubicBezTo>
                  <a:cubicBezTo>
                    <a:pt x="0" y="24"/>
                    <a:pt x="0" y="24"/>
                    <a:pt x="0" y="24"/>
                  </a:cubicBezTo>
                  <a:cubicBezTo>
                    <a:pt x="0" y="24"/>
                    <a:pt x="0" y="27"/>
                    <a:pt x="3" y="27"/>
                  </a:cubicBezTo>
                  <a:cubicBezTo>
                    <a:pt x="6" y="30"/>
                    <a:pt x="12" y="39"/>
                    <a:pt x="15" y="42"/>
                  </a:cubicBezTo>
                  <a:cubicBezTo>
                    <a:pt x="18" y="42"/>
                    <a:pt x="18" y="42"/>
                    <a:pt x="21" y="45"/>
                  </a:cubicBezTo>
                  <a:cubicBezTo>
                    <a:pt x="21" y="45"/>
                    <a:pt x="23" y="45"/>
                    <a:pt x="26"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4" name="Freeform 849"/>
            <p:cNvSpPr>
              <a:spLocks/>
            </p:cNvSpPr>
            <p:nvPr userDrawn="1"/>
          </p:nvSpPr>
          <p:spPr bwMode="auto">
            <a:xfrm>
              <a:off x="2171" y="-1234"/>
              <a:ext cx="701" cy="716"/>
            </a:xfrm>
            <a:custGeom>
              <a:avLst/>
              <a:gdLst>
                <a:gd name="T0" fmla="*/ 252 w 450"/>
                <a:gd name="T1" fmla="*/ 426 h 459"/>
                <a:gd name="T2" fmla="*/ 258 w 450"/>
                <a:gd name="T3" fmla="*/ 429 h 459"/>
                <a:gd name="T4" fmla="*/ 288 w 450"/>
                <a:gd name="T5" fmla="*/ 378 h 459"/>
                <a:gd name="T6" fmla="*/ 306 w 450"/>
                <a:gd name="T7" fmla="*/ 342 h 459"/>
                <a:gd name="T8" fmla="*/ 336 w 450"/>
                <a:gd name="T9" fmla="*/ 327 h 459"/>
                <a:gd name="T10" fmla="*/ 372 w 450"/>
                <a:gd name="T11" fmla="*/ 315 h 459"/>
                <a:gd name="T12" fmla="*/ 384 w 450"/>
                <a:gd name="T13" fmla="*/ 291 h 459"/>
                <a:gd name="T14" fmla="*/ 396 w 450"/>
                <a:gd name="T15" fmla="*/ 264 h 459"/>
                <a:gd name="T16" fmla="*/ 399 w 450"/>
                <a:gd name="T17" fmla="*/ 210 h 459"/>
                <a:gd name="T18" fmla="*/ 408 w 450"/>
                <a:gd name="T19" fmla="*/ 207 h 459"/>
                <a:gd name="T20" fmla="*/ 444 w 450"/>
                <a:gd name="T21" fmla="*/ 159 h 459"/>
                <a:gd name="T22" fmla="*/ 405 w 450"/>
                <a:gd name="T23" fmla="*/ 105 h 459"/>
                <a:gd name="T24" fmla="*/ 336 w 450"/>
                <a:gd name="T25" fmla="*/ 96 h 459"/>
                <a:gd name="T26" fmla="*/ 294 w 450"/>
                <a:gd name="T27" fmla="*/ 75 h 459"/>
                <a:gd name="T28" fmla="*/ 291 w 450"/>
                <a:gd name="T29" fmla="*/ 66 h 459"/>
                <a:gd name="T30" fmla="*/ 264 w 450"/>
                <a:gd name="T31" fmla="*/ 60 h 459"/>
                <a:gd name="T32" fmla="*/ 258 w 450"/>
                <a:gd name="T33" fmla="*/ 12 h 459"/>
                <a:gd name="T34" fmla="*/ 222 w 450"/>
                <a:gd name="T35" fmla="*/ 33 h 459"/>
                <a:gd name="T36" fmla="*/ 189 w 450"/>
                <a:gd name="T37" fmla="*/ 39 h 459"/>
                <a:gd name="T38" fmla="*/ 165 w 450"/>
                <a:gd name="T39" fmla="*/ 39 h 459"/>
                <a:gd name="T40" fmla="*/ 156 w 450"/>
                <a:gd name="T41" fmla="*/ 0 h 459"/>
                <a:gd name="T42" fmla="*/ 129 w 450"/>
                <a:gd name="T43" fmla="*/ 18 h 459"/>
                <a:gd name="T44" fmla="*/ 105 w 450"/>
                <a:gd name="T45" fmla="*/ 15 h 459"/>
                <a:gd name="T46" fmla="*/ 120 w 450"/>
                <a:gd name="T47" fmla="*/ 33 h 459"/>
                <a:gd name="T48" fmla="*/ 105 w 450"/>
                <a:gd name="T49" fmla="*/ 45 h 459"/>
                <a:gd name="T50" fmla="*/ 84 w 450"/>
                <a:gd name="T51" fmla="*/ 48 h 459"/>
                <a:gd name="T52" fmla="*/ 48 w 450"/>
                <a:gd name="T53" fmla="*/ 42 h 459"/>
                <a:gd name="T54" fmla="*/ 45 w 450"/>
                <a:gd name="T55" fmla="*/ 60 h 459"/>
                <a:gd name="T56" fmla="*/ 45 w 450"/>
                <a:gd name="T57" fmla="*/ 108 h 459"/>
                <a:gd name="T58" fmla="*/ 12 w 450"/>
                <a:gd name="T59" fmla="*/ 120 h 459"/>
                <a:gd name="T60" fmla="*/ 0 w 450"/>
                <a:gd name="T61" fmla="*/ 144 h 459"/>
                <a:gd name="T62" fmla="*/ 15 w 450"/>
                <a:gd name="T63" fmla="*/ 168 h 459"/>
                <a:gd name="T64" fmla="*/ 36 w 450"/>
                <a:gd name="T65" fmla="*/ 171 h 459"/>
                <a:gd name="T66" fmla="*/ 63 w 450"/>
                <a:gd name="T67" fmla="*/ 183 h 459"/>
                <a:gd name="T68" fmla="*/ 99 w 450"/>
                <a:gd name="T69" fmla="*/ 174 h 459"/>
                <a:gd name="T70" fmla="*/ 123 w 450"/>
                <a:gd name="T71" fmla="*/ 207 h 459"/>
                <a:gd name="T72" fmla="*/ 150 w 450"/>
                <a:gd name="T73" fmla="*/ 216 h 459"/>
                <a:gd name="T74" fmla="*/ 156 w 450"/>
                <a:gd name="T75" fmla="*/ 243 h 459"/>
                <a:gd name="T76" fmla="*/ 186 w 450"/>
                <a:gd name="T77" fmla="*/ 264 h 459"/>
                <a:gd name="T78" fmla="*/ 180 w 450"/>
                <a:gd name="T79" fmla="*/ 294 h 459"/>
                <a:gd name="T80" fmla="*/ 198 w 450"/>
                <a:gd name="T81" fmla="*/ 318 h 459"/>
                <a:gd name="T82" fmla="*/ 222 w 450"/>
                <a:gd name="T83" fmla="*/ 336 h 459"/>
                <a:gd name="T84" fmla="*/ 228 w 450"/>
                <a:gd name="T85" fmla="*/ 375 h 459"/>
                <a:gd name="T86" fmla="*/ 186 w 450"/>
                <a:gd name="T87" fmla="*/ 414 h 459"/>
                <a:gd name="T88" fmla="*/ 204 w 450"/>
                <a:gd name="T89" fmla="*/ 426 h 459"/>
                <a:gd name="T90" fmla="*/ 231 w 450"/>
                <a:gd name="T91" fmla="*/ 444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0" h="459">
                  <a:moveTo>
                    <a:pt x="237" y="456"/>
                  </a:moveTo>
                  <a:cubicBezTo>
                    <a:pt x="243" y="450"/>
                    <a:pt x="243" y="447"/>
                    <a:pt x="246" y="441"/>
                  </a:cubicBezTo>
                  <a:cubicBezTo>
                    <a:pt x="249" y="435"/>
                    <a:pt x="246" y="432"/>
                    <a:pt x="252" y="426"/>
                  </a:cubicBezTo>
                  <a:cubicBezTo>
                    <a:pt x="258" y="423"/>
                    <a:pt x="252" y="417"/>
                    <a:pt x="258" y="414"/>
                  </a:cubicBezTo>
                  <a:cubicBezTo>
                    <a:pt x="264" y="411"/>
                    <a:pt x="264" y="417"/>
                    <a:pt x="258" y="426"/>
                  </a:cubicBezTo>
                  <a:cubicBezTo>
                    <a:pt x="252" y="432"/>
                    <a:pt x="252" y="435"/>
                    <a:pt x="258" y="429"/>
                  </a:cubicBezTo>
                  <a:cubicBezTo>
                    <a:pt x="267" y="423"/>
                    <a:pt x="270" y="417"/>
                    <a:pt x="273" y="408"/>
                  </a:cubicBezTo>
                  <a:cubicBezTo>
                    <a:pt x="279" y="399"/>
                    <a:pt x="282" y="396"/>
                    <a:pt x="285" y="396"/>
                  </a:cubicBezTo>
                  <a:cubicBezTo>
                    <a:pt x="288" y="393"/>
                    <a:pt x="288" y="384"/>
                    <a:pt x="288" y="378"/>
                  </a:cubicBezTo>
                  <a:cubicBezTo>
                    <a:pt x="288" y="372"/>
                    <a:pt x="285" y="366"/>
                    <a:pt x="288" y="363"/>
                  </a:cubicBezTo>
                  <a:cubicBezTo>
                    <a:pt x="291" y="357"/>
                    <a:pt x="288" y="354"/>
                    <a:pt x="291" y="354"/>
                  </a:cubicBezTo>
                  <a:cubicBezTo>
                    <a:pt x="294" y="354"/>
                    <a:pt x="300" y="348"/>
                    <a:pt x="306" y="342"/>
                  </a:cubicBezTo>
                  <a:cubicBezTo>
                    <a:pt x="312" y="336"/>
                    <a:pt x="315" y="336"/>
                    <a:pt x="321" y="336"/>
                  </a:cubicBezTo>
                  <a:cubicBezTo>
                    <a:pt x="327" y="336"/>
                    <a:pt x="324" y="333"/>
                    <a:pt x="327" y="333"/>
                  </a:cubicBezTo>
                  <a:cubicBezTo>
                    <a:pt x="330" y="333"/>
                    <a:pt x="333" y="327"/>
                    <a:pt x="336" y="327"/>
                  </a:cubicBezTo>
                  <a:cubicBezTo>
                    <a:pt x="339" y="324"/>
                    <a:pt x="348" y="327"/>
                    <a:pt x="354" y="327"/>
                  </a:cubicBezTo>
                  <a:cubicBezTo>
                    <a:pt x="360" y="327"/>
                    <a:pt x="363" y="327"/>
                    <a:pt x="363" y="324"/>
                  </a:cubicBezTo>
                  <a:cubicBezTo>
                    <a:pt x="363" y="318"/>
                    <a:pt x="366" y="315"/>
                    <a:pt x="372" y="315"/>
                  </a:cubicBezTo>
                  <a:cubicBezTo>
                    <a:pt x="375" y="315"/>
                    <a:pt x="375" y="315"/>
                    <a:pt x="375" y="309"/>
                  </a:cubicBezTo>
                  <a:cubicBezTo>
                    <a:pt x="375" y="306"/>
                    <a:pt x="378" y="303"/>
                    <a:pt x="381" y="300"/>
                  </a:cubicBezTo>
                  <a:cubicBezTo>
                    <a:pt x="384" y="297"/>
                    <a:pt x="384" y="294"/>
                    <a:pt x="384" y="291"/>
                  </a:cubicBezTo>
                  <a:cubicBezTo>
                    <a:pt x="387" y="285"/>
                    <a:pt x="390" y="288"/>
                    <a:pt x="390" y="285"/>
                  </a:cubicBezTo>
                  <a:cubicBezTo>
                    <a:pt x="390" y="279"/>
                    <a:pt x="390" y="273"/>
                    <a:pt x="390" y="270"/>
                  </a:cubicBezTo>
                  <a:cubicBezTo>
                    <a:pt x="390" y="267"/>
                    <a:pt x="396" y="267"/>
                    <a:pt x="396" y="264"/>
                  </a:cubicBezTo>
                  <a:cubicBezTo>
                    <a:pt x="399" y="261"/>
                    <a:pt x="396" y="258"/>
                    <a:pt x="399" y="249"/>
                  </a:cubicBezTo>
                  <a:cubicBezTo>
                    <a:pt x="399" y="243"/>
                    <a:pt x="399" y="234"/>
                    <a:pt x="399" y="228"/>
                  </a:cubicBezTo>
                  <a:cubicBezTo>
                    <a:pt x="399" y="222"/>
                    <a:pt x="399" y="213"/>
                    <a:pt x="399" y="210"/>
                  </a:cubicBezTo>
                  <a:cubicBezTo>
                    <a:pt x="402" y="210"/>
                    <a:pt x="402" y="207"/>
                    <a:pt x="399" y="207"/>
                  </a:cubicBezTo>
                  <a:cubicBezTo>
                    <a:pt x="396" y="207"/>
                    <a:pt x="399" y="204"/>
                    <a:pt x="402" y="204"/>
                  </a:cubicBezTo>
                  <a:cubicBezTo>
                    <a:pt x="402" y="204"/>
                    <a:pt x="405" y="207"/>
                    <a:pt x="408" y="207"/>
                  </a:cubicBezTo>
                  <a:cubicBezTo>
                    <a:pt x="411" y="204"/>
                    <a:pt x="414" y="195"/>
                    <a:pt x="417" y="189"/>
                  </a:cubicBezTo>
                  <a:cubicBezTo>
                    <a:pt x="420" y="180"/>
                    <a:pt x="426" y="183"/>
                    <a:pt x="429" y="180"/>
                  </a:cubicBezTo>
                  <a:cubicBezTo>
                    <a:pt x="432" y="180"/>
                    <a:pt x="438" y="171"/>
                    <a:pt x="444" y="159"/>
                  </a:cubicBezTo>
                  <a:cubicBezTo>
                    <a:pt x="450" y="147"/>
                    <a:pt x="444" y="135"/>
                    <a:pt x="441" y="126"/>
                  </a:cubicBezTo>
                  <a:cubicBezTo>
                    <a:pt x="441" y="117"/>
                    <a:pt x="438" y="117"/>
                    <a:pt x="432" y="120"/>
                  </a:cubicBezTo>
                  <a:cubicBezTo>
                    <a:pt x="426" y="120"/>
                    <a:pt x="417" y="117"/>
                    <a:pt x="405" y="105"/>
                  </a:cubicBezTo>
                  <a:cubicBezTo>
                    <a:pt x="393" y="90"/>
                    <a:pt x="381" y="93"/>
                    <a:pt x="372" y="93"/>
                  </a:cubicBezTo>
                  <a:cubicBezTo>
                    <a:pt x="363" y="96"/>
                    <a:pt x="354" y="90"/>
                    <a:pt x="351" y="90"/>
                  </a:cubicBezTo>
                  <a:cubicBezTo>
                    <a:pt x="345" y="87"/>
                    <a:pt x="339" y="93"/>
                    <a:pt x="336" y="96"/>
                  </a:cubicBezTo>
                  <a:cubicBezTo>
                    <a:pt x="330" y="96"/>
                    <a:pt x="336" y="90"/>
                    <a:pt x="336" y="84"/>
                  </a:cubicBezTo>
                  <a:cubicBezTo>
                    <a:pt x="336" y="81"/>
                    <a:pt x="321" y="75"/>
                    <a:pt x="312" y="69"/>
                  </a:cubicBezTo>
                  <a:cubicBezTo>
                    <a:pt x="300" y="66"/>
                    <a:pt x="294" y="66"/>
                    <a:pt x="294" y="75"/>
                  </a:cubicBezTo>
                  <a:cubicBezTo>
                    <a:pt x="294" y="81"/>
                    <a:pt x="291" y="72"/>
                    <a:pt x="285" y="81"/>
                  </a:cubicBezTo>
                  <a:cubicBezTo>
                    <a:pt x="282" y="87"/>
                    <a:pt x="276" y="81"/>
                    <a:pt x="279" y="81"/>
                  </a:cubicBezTo>
                  <a:cubicBezTo>
                    <a:pt x="285" y="78"/>
                    <a:pt x="288" y="72"/>
                    <a:pt x="291" y="66"/>
                  </a:cubicBezTo>
                  <a:cubicBezTo>
                    <a:pt x="291" y="63"/>
                    <a:pt x="273" y="57"/>
                    <a:pt x="267" y="60"/>
                  </a:cubicBezTo>
                  <a:cubicBezTo>
                    <a:pt x="261" y="63"/>
                    <a:pt x="264" y="72"/>
                    <a:pt x="261" y="69"/>
                  </a:cubicBezTo>
                  <a:cubicBezTo>
                    <a:pt x="255" y="66"/>
                    <a:pt x="258" y="60"/>
                    <a:pt x="264" y="60"/>
                  </a:cubicBezTo>
                  <a:cubicBezTo>
                    <a:pt x="267" y="60"/>
                    <a:pt x="273" y="51"/>
                    <a:pt x="273" y="45"/>
                  </a:cubicBezTo>
                  <a:cubicBezTo>
                    <a:pt x="276" y="39"/>
                    <a:pt x="270" y="39"/>
                    <a:pt x="264" y="33"/>
                  </a:cubicBezTo>
                  <a:cubicBezTo>
                    <a:pt x="261" y="30"/>
                    <a:pt x="261" y="15"/>
                    <a:pt x="258" y="12"/>
                  </a:cubicBezTo>
                  <a:cubicBezTo>
                    <a:pt x="252" y="18"/>
                    <a:pt x="246" y="24"/>
                    <a:pt x="243" y="30"/>
                  </a:cubicBezTo>
                  <a:cubicBezTo>
                    <a:pt x="240" y="39"/>
                    <a:pt x="237" y="33"/>
                    <a:pt x="231" y="36"/>
                  </a:cubicBezTo>
                  <a:cubicBezTo>
                    <a:pt x="225" y="39"/>
                    <a:pt x="222" y="36"/>
                    <a:pt x="222" y="33"/>
                  </a:cubicBezTo>
                  <a:cubicBezTo>
                    <a:pt x="219" y="30"/>
                    <a:pt x="213" y="33"/>
                    <a:pt x="207" y="33"/>
                  </a:cubicBezTo>
                  <a:cubicBezTo>
                    <a:pt x="204" y="33"/>
                    <a:pt x="207" y="36"/>
                    <a:pt x="204" y="39"/>
                  </a:cubicBezTo>
                  <a:cubicBezTo>
                    <a:pt x="201" y="42"/>
                    <a:pt x="192" y="36"/>
                    <a:pt x="189" y="39"/>
                  </a:cubicBezTo>
                  <a:cubicBezTo>
                    <a:pt x="186" y="42"/>
                    <a:pt x="186" y="39"/>
                    <a:pt x="183" y="42"/>
                  </a:cubicBezTo>
                  <a:cubicBezTo>
                    <a:pt x="183" y="45"/>
                    <a:pt x="177" y="42"/>
                    <a:pt x="177" y="45"/>
                  </a:cubicBezTo>
                  <a:cubicBezTo>
                    <a:pt x="174" y="45"/>
                    <a:pt x="171" y="48"/>
                    <a:pt x="165" y="39"/>
                  </a:cubicBezTo>
                  <a:cubicBezTo>
                    <a:pt x="159" y="33"/>
                    <a:pt x="159" y="21"/>
                    <a:pt x="162" y="21"/>
                  </a:cubicBezTo>
                  <a:cubicBezTo>
                    <a:pt x="165" y="18"/>
                    <a:pt x="165" y="12"/>
                    <a:pt x="162" y="12"/>
                  </a:cubicBezTo>
                  <a:cubicBezTo>
                    <a:pt x="156" y="9"/>
                    <a:pt x="162" y="3"/>
                    <a:pt x="156" y="0"/>
                  </a:cubicBezTo>
                  <a:cubicBezTo>
                    <a:pt x="153" y="0"/>
                    <a:pt x="153" y="6"/>
                    <a:pt x="150" y="9"/>
                  </a:cubicBezTo>
                  <a:cubicBezTo>
                    <a:pt x="147" y="9"/>
                    <a:pt x="138" y="15"/>
                    <a:pt x="135" y="12"/>
                  </a:cubicBezTo>
                  <a:cubicBezTo>
                    <a:pt x="132" y="12"/>
                    <a:pt x="129" y="15"/>
                    <a:pt x="129" y="18"/>
                  </a:cubicBezTo>
                  <a:cubicBezTo>
                    <a:pt x="129" y="21"/>
                    <a:pt x="123" y="21"/>
                    <a:pt x="123" y="18"/>
                  </a:cubicBezTo>
                  <a:cubicBezTo>
                    <a:pt x="123" y="15"/>
                    <a:pt x="114" y="15"/>
                    <a:pt x="114" y="15"/>
                  </a:cubicBezTo>
                  <a:cubicBezTo>
                    <a:pt x="111" y="12"/>
                    <a:pt x="102" y="12"/>
                    <a:pt x="105" y="15"/>
                  </a:cubicBezTo>
                  <a:cubicBezTo>
                    <a:pt x="111" y="18"/>
                    <a:pt x="111" y="21"/>
                    <a:pt x="111" y="24"/>
                  </a:cubicBezTo>
                  <a:cubicBezTo>
                    <a:pt x="111" y="27"/>
                    <a:pt x="114" y="27"/>
                    <a:pt x="114" y="30"/>
                  </a:cubicBezTo>
                  <a:cubicBezTo>
                    <a:pt x="114" y="36"/>
                    <a:pt x="117" y="33"/>
                    <a:pt x="120" y="33"/>
                  </a:cubicBezTo>
                  <a:cubicBezTo>
                    <a:pt x="123" y="33"/>
                    <a:pt x="123" y="36"/>
                    <a:pt x="117" y="36"/>
                  </a:cubicBezTo>
                  <a:cubicBezTo>
                    <a:pt x="114" y="36"/>
                    <a:pt x="111" y="39"/>
                    <a:pt x="111" y="42"/>
                  </a:cubicBezTo>
                  <a:cubicBezTo>
                    <a:pt x="111" y="45"/>
                    <a:pt x="108" y="45"/>
                    <a:pt x="105" y="45"/>
                  </a:cubicBezTo>
                  <a:cubicBezTo>
                    <a:pt x="102" y="48"/>
                    <a:pt x="99" y="51"/>
                    <a:pt x="96" y="51"/>
                  </a:cubicBezTo>
                  <a:cubicBezTo>
                    <a:pt x="93" y="48"/>
                    <a:pt x="93" y="51"/>
                    <a:pt x="90" y="51"/>
                  </a:cubicBezTo>
                  <a:cubicBezTo>
                    <a:pt x="87" y="54"/>
                    <a:pt x="87" y="51"/>
                    <a:pt x="84" y="48"/>
                  </a:cubicBezTo>
                  <a:cubicBezTo>
                    <a:pt x="81" y="48"/>
                    <a:pt x="78" y="42"/>
                    <a:pt x="75" y="36"/>
                  </a:cubicBezTo>
                  <a:cubicBezTo>
                    <a:pt x="72" y="39"/>
                    <a:pt x="66" y="42"/>
                    <a:pt x="63" y="42"/>
                  </a:cubicBezTo>
                  <a:cubicBezTo>
                    <a:pt x="60" y="42"/>
                    <a:pt x="48" y="39"/>
                    <a:pt x="48" y="42"/>
                  </a:cubicBezTo>
                  <a:cubicBezTo>
                    <a:pt x="45" y="45"/>
                    <a:pt x="48" y="48"/>
                    <a:pt x="51" y="48"/>
                  </a:cubicBezTo>
                  <a:cubicBezTo>
                    <a:pt x="51" y="48"/>
                    <a:pt x="57" y="51"/>
                    <a:pt x="51" y="54"/>
                  </a:cubicBezTo>
                  <a:cubicBezTo>
                    <a:pt x="48" y="57"/>
                    <a:pt x="45" y="51"/>
                    <a:pt x="45" y="60"/>
                  </a:cubicBezTo>
                  <a:cubicBezTo>
                    <a:pt x="45" y="66"/>
                    <a:pt x="54" y="72"/>
                    <a:pt x="51" y="78"/>
                  </a:cubicBezTo>
                  <a:cubicBezTo>
                    <a:pt x="51" y="81"/>
                    <a:pt x="48" y="90"/>
                    <a:pt x="48" y="93"/>
                  </a:cubicBezTo>
                  <a:cubicBezTo>
                    <a:pt x="48" y="96"/>
                    <a:pt x="48" y="108"/>
                    <a:pt x="45" y="108"/>
                  </a:cubicBezTo>
                  <a:cubicBezTo>
                    <a:pt x="42" y="108"/>
                    <a:pt x="39" y="105"/>
                    <a:pt x="36" y="108"/>
                  </a:cubicBezTo>
                  <a:cubicBezTo>
                    <a:pt x="30" y="111"/>
                    <a:pt x="27" y="111"/>
                    <a:pt x="21" y="114"/>
                  </a:cubicBezTo>
                  <a:cubicBezTo>
                    <a:pt x="18" y="117"/>
                    <a:pt x="12" y="117"/>
                    <a:pt x="12" y="120"/>
                  </a:cubicBezTo>
                  <a:cubicBezTo>
                    <a:pt x="12" y="126"/>
                    <a:pt x="6" y="126"/>
                    <a:pt x="9" y="132"/>
                  </a:cubicBezTo>
                  <a:cubicBezTo>
                    <a:pt x="9" y="135"/>
                    <a:pt x="6" y="135"/>
                    <a:pt x="3" y="138"/>
                  </a:cubicBezTo>
                  <a:cubicBezTo>
                    <a:pt x="0" y="141"/>
                    <a:pt x="3" y="141"/>
                    <a:pt x="0" y="144"/>
                  </a:cubicBezTo>
                  <a:cubicBezTo>
                    <a:pt x="0" y="147"/>
                    <a:pt x="3" y="150"/>
                    <a:pt x="3" y="153"/>
                  </a:cubicBezTo>
                  <a:cubicBezTo>
                    <a:pt x="6" y="159"/>
                    <a:pt x="9" y="159"/>
                    <a:pt x="9" y="165"/>
                  </a:cubicBezTo>
                  <a:cubicBezTo>
                    <a:pt x="9" y="168"/>
                    <a:pt x="12" y="168"/>
                    <a:pt x="15" y="168"/>
                  </a:cubicBezTo>
                  <a:cubicBezTo>
                    <a:pt x="18" y="168"/>
                    <a:pt x="15" y="174"/>
                    <a:pt x="21" y="174"/>
                  </a:cubicBezTo>
                  <a:cubicBezTo>
                    <a:pt x="27" y="174"/>
                    <a:pt x="30" y="177"/>
                    <a:pt x="33" y="174"/>
                  </a:cubicBezTo>
                  <a:cubicBezTo>
                    <a:pt x="33" y="171"/>
                    <a:pt x="36" y="168"/>
                    <a:pt x="36" y="171"/>
                  </a:cubicBezTo>
                  <a:cubicBezTo>
                    <a:pt x="36" y="177"/>
                    <a:pt x="36" y="189"/>
                    <a:pt x="39" y="186"/>
                  </a:cubicBezTo>
                  <a:cubicBezTo>
                    <a:pt x="45" y="186"/>
                    <a:pt x="51" y="186"/>
                    <a:pt x="54" y="186"/>
                  </a:cubicBezTo>
                  <a:cubicBezTo>
                    <a:pt x="57" y="189"/>
                    <a:pt x="63" y="186"/>
                    <a:pt x="63" y="183"/>
                  </a:cubicBezTo>
                  <a:cubicBezTo>
                    <a:pt x="66" y="183"/>
                    <a:pt x="69" y="183"/>
                    <a:pt x="75" y="180"/>
                  </a:cubicBezTo>
                  <a:cubicBezTo>
                    <a:pt x="78" y="177"/>
                    <a:pt x="84" y="174"/>
                    <a:pt x="87" y="174"/>
                  </a:cubicBezTo>
                  <a:cubicBezTo>
                    <a:pt x="93" y="174"/>
                    <a:pt x="99" y="171"/>
                    <a:pt x="99" y="174"/>
                  </a:cubicBezTo>
                  <a:cubicBezTo>
                    <a:pt x="96" y="177"/>
                    <a:pt x="96" y="189"/>
                    <a:pt x="102" y="195"/>
                  </a:cubicBezTo>
                  <a:cubicBezTo>
                    <a:pt x="108" y="201"/>
                    <a:pt x="111" y="204"/>
                    <a:pt x="114" y="204"/>
                  </a:cubicBezTo>
                  <a:cubicBezTo>
                    <a:pt x="120" y="204"/>
                    <a:pt x="120" y="207"/>
                    <a:pt x="123" y="207"/>
                  </a:cubicBezTo>
                  <a:cubicBezTo>
                    <a:pt x="126" y="204"/>
                    <a:pt x="123" y="210"/>
                    <a:pt x="129" y="210"/>
                  </a:cubicBezTo>
                  <a:cubicBezTo>
                    <a:pt x="132" y="210"/>
                    <a:pt x="138" y="210"/>
                    <a:pt x="138" y="213"/>
                  </a:cubicBezTo>
                  <a:cubicBezTo>
                    <a:pt x="138" y="219"/>
                    <a:pt x="147" y="216"/>
                    <a:pt x="150" y="216"/>
                  </a:cubicBezTo>
                  <a:cubicBezTo>
                    <a:pt x="153" y="219"/>
                    <a:pt x="153" y="219"/>
                    <a:pt x="153" y="225"/>
                  </a:cubicBezTo>
                  <a:cubicBezTo>
                    <a:pt x="153" y="228"/>
                    <a:pt x="159" y="231"/>
                    <a:pt x="156" y="234"/>
                  </a:cubicBezTo>
                  <a:cubicBezTo>
                    <a:pt x="153" y="234"/>
                    <a:pt x="156" y="237"/>
                    <a:pt x="156" y="243"/>
                  </a:cubicBezTo>
                  <a:cubicBezTo>
                    <a:pt x="156" y="246"/>
                    <a:pt x="162" y="249"/>
                    <a:pt x="168" y="249"/>
                  </a:cubicBezTo>
                  <a:cubicBezTo>
                    <a:pt x="177" y="249"/>
                    <a:pt x="177" y="249"/>
                    <a:pt x="177" y="255"/>
                  </a:cubicBezTo>
                  <a:cubicBezTo>
                    <a:pt x="177" y="258"/>
                    <a:pt x="183" y="261"/>
                    <a:pt x="186" y="264"/>
                  </a:cubicBezTo>
                  <a:cubicBezTo>
                    <a:pt x="186" y="270"/>
                    <a:pt x="183" y="276"/>
                    <a:pt x="183" y="279"/>
                  </a:cubicBezTo>
                  <a:cubicBezTo>
                    <a:pt x="183" y="282"/>
                    <a:pt x="183" y="285"/>
                    <a:pt x="180" y="288"/>
                  </a:cubicBezTo>
                  <a:cubicBezTo>
                    <a:pt x="183" y="291"/>
                    <a:pt x="183" y="291"/>
                    <a:pt x="180" y="294"/>
                  </a:cubicBezTo>
                  <a:cubicBezTo>
                    <a:pt x="177" y="294"/>
                    <a:pt x="186" y="300"/>
                    <a:pt x="183" y="306"/>
                  </a:cubicBezTo>
                  <a:cubicBezTo>
                    <a:pt x="180" y="315"/>
                    <a:pt x="180" y="315"/>
                    <a:pt x="189" y="315"/>
                  </a:cubicBezTo>
                  <a:cubicBezTo>
                    <a:pt x="195" y="315"/>
                    <a:pt x="195" y="318"/>
                    <a:pt x="198" y="318"/>
                  </a:cubicBezTo>
                  <a:cubicBezTo>
                    <a:pt x="201" y="315"/>
                    <a:pt x="204" y="324"/>
                    <a:pt x="207" y="327"/>
                  </a:cubicBezTo>
                  <a:cubicBezTo>
                    <a:pt x="207" y="330"/>
                    <a:pt x="210" y="339"/>
                    <a:pt x="213" y="339"/>
                  </a:cubicBezTo>
                  <a:cubicBezTo>
                    <a:pt x="213" y="339"/>
                    <a:pt x="216" y="336"/>
                    <a:pt x="222" y="336"/>
                  </a:cubicBezTo>
                  <a:cubicBezTo>
                    <a:pt x="225" y="339"/>
                    <a:pt x="219" y="351"/>
                    <a:pt x="219" y="357"/>
                  </a:cubicBezTo>
                  <a:cubicBezTo>
                    <a:pt x="222" y="357"/>
                    <a:pt x="225" y="357"/>
                    <a:pt x="228" y="357"/>
                  </a:cubicBezTo>
                  <a:cubicBezTo>
                    <a:pt x="228" y="360"/>
                    <a:pt x="231" y="372"/>
                    <a:pt x="228" y="375"/>
                  </a:cubicBezTo>
                  <a:cubicBezTo>
                    <a:pt x="228" y="378"/>
                    <a:pt x="219" y="381"/>
                    <a:pt x="216" y="381"/>
                  </a:cubicBezTo>
                  <a:cubicBezTo>
                    <a:pt x="210" y="384"/>
                    <a:pt x="201" y="396"/>
                    <a:pt x="195" y="402"/>
                  </a:cubicBezTo>
                  <a:cubicBezTo>
                    <a:pt x="192" y="408"/>
                    <a:pt x="189" y="411"/>
                    <a:pt x="186" y="414"/>
                  </a:cubicBezTo>
                  <a:cubicBezTo>
                    <a:pt x="189" y="414"/>
                    <a:pt x="189" y="414"/>
                    <a:pt x="189" y="414"/>
                  </a:cubicBezTo>
                  <a:cubicBezTo>
                    <a:pt x="192" y="414"/>
                    <a:pt x="195" y="414"/>
                    <a:pt x="198" y="417"/>
                  </a:cubicBezTo>
                  <a:cubicBezTo>
                    <a:pt x="204" y="423"/>
                    <a:pt x="204" y="426"/>
                    <a:pt x="204" y="426"/>
                  </a:cubicBezTo>
                  <a:cubicBezTo>
                    <a:pt x="207" y="426"/>
                    <a:pt x="207" y="420"/>
                    <a:pt x="210" y="423"/>
                  </a:cubicBezTo>
                  <a:cubicBezTo>
                    <a:pt x="213" y="429"/>
                    <a:pt x="222" y="432"/>
                    <a:pt x="222" y="435"/>
                  </a:cubicBezTo>
                  <a:cubicBezTo>
                    <a:pt x="225" y="435"/>
                    <a:pt x="231" y="438"/>
                    <a:pt x="231" y="444"/>
                  </a:cubicBezTo>
                  <a:cubicBezTo>
                    <a:pt x="231" y="447"/>
                    <a:pt x="228" y="453"/>
                    <a:pt x="231" y="459"/>
                  </a:cubicBezTo>
                  <a:cubicBezTo>
                    <a:pt x="234" y="459"/>
                    <a:pt x="234" y="456"/>
                    <a:pt x="237" y="4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5" name="Freeform 850"/>
            <p:cNvSpPr>
              <a:spLocks/>
            </p:cNvSpPr>
            <p:nvPr userDrawn="1"/>
          </p:nvSpPr>
          <p:spPr bwMode="auto">
            <a:xfrm>
              <a:off x="2171" y="-1234"/>
              <a:ext cx="701" cy="716"/>
            </a:xfrm>
            <a:custGeom>
              <a:avLst/>
              <a:gdLst>
                <a:gd name="T0" fmla="*/ 252 w 450"/>
                <a:gd name="T1" fmla="*/ 426 h 459"/>
                <a:gd name="T2" fmla="*/ 258 w 450"/>
                <a:gd name="T3" fmla="*/ 429 h 459"/>
                <a:gd name="T4" fmla="*/ 288 w 450"/>
                <a:gd name="T5" fmla="*/ 378 h 459"/>
                <a:gd name="T6" fmla="*/ 306 w 450"/>
                <a:gd name="T7" fmla="*/ 342 h 459"/>
                <a:gd name="T8" fmla="*/ 336 w 450"/>
                <a:gd name="T9" fmla="*/ 327 h 459"/>
                <a:gd name="T10" fmla="*/ 372 w 450"/>
                <a:gd name="T11" fmla="*/ 315 h 459"/>
                <a:gd name="T12" fmla="*/ 384 w 450"/>
                <a:gd name="T13" fmla="*/ 291 h 459"/>
                <a:gd name="T14" fmla="*/ 396 w 450"/>
                <a:gd name="T15" fmla="*/ 264 h 459"/>
                <a:gd name="T16" fmla="*/ 399 w 450"/>
                <a:gd name="T17" fmla="*/ 210 h 459"/>
                <a:gd name="T18" fmla="*/ 408 w 450"/>
                <a:gd name="T19" fmla="*/ 207 h 459"/>
                <a:gd name="T20" fmla="*/ 444 w 450"/>
                <a:gd name="T21" fmla="*/ 159 h 459"/>
                <a:gd name="T22" fmla="*/ 405 w 450"/>
                <a:gd name="T23" fmla="*/ 105 h 459"/>
                <a:gd name="T24" fmla="*/ 336 w 450"/>
                <a:gd name="T25" fmla="*/ 96 h 459"/>
                <a:gd name="T26" fmla="*/ 294 w 450"/>
                <a:gd name="T27" fmla="*/ 75 h 459"/>
                <a:gd name="T28" fmla="*/ 291 w 450"/>
                <a:gd name="T29" fmla="*/ 66 h 459"/>
                <a:gd name="T30" fmla="*/ 264 w 450"/>
                <a:gd name="T31" fmla="*/ 60 h 459"/>
                <a:gd name="T32" fmla="*/ 258 w 450"/>
                <a:gd name="T33" fmla="*/ 12 h 459"/>
                <a:gd name="T34" fmla="*/ 222 w 450"/>
                <a:gd name="T35" fmla="*/ 33 h 459"/>
                <a:gd name="T36" fmla="*/ 189 w 450"/>
                <a:gd name="T37" fmla="*/ 39 h 459"/>
                <a:gd name="T38" fmla="*/ 165 w 450"/>
                <a:gd name="T39" fmla="*/ 39 h 459"/>
                <a:gd name="T40" fmla="*/ 156 w 450"/>
                <a:gd name="T41" fmla="*/ 0 h 459"/>
                <a:gd name="T42" fmla="*/ 129 w 450"/>
                <a:gd name="T43" fmla="*/ 18 h 459"/>
                <a:gd name="T44" fmla="*/ 105 w 450"/>
                <a:gd name="T45" fmla="*/ 15 h 459"/>
                <a:gd name="T46" fmla="*/ 120 w 450"/>
                <a:gd name="T47" fmla="*/ 33 h 459"/>
                <a:gd name="T48" fmla="*/ 105 w 450"/>
                <a:gd name="T49" fmla="*/ 45 h 459"/>
                <a:gd name="T50" fmla="*/ 84 w 450"/>
                <a:gd name="T51" fmla="*/ 48 h 459"/>
                <a:gd name="T52" fmla="*/ 48 w 450"/>
                <a:gd name="T53" fmla="*/ 42 h 459"/>
                <a:gd name="T54" fmla="*/ 45 w 450"/>
                <a:gd name="T55" fmla="*/ 60 h 459"/>
                <a:gd name="T56" fmla="*/ 45 w 450"/>
                <a:gd name="T57" fmla="*/ 108 h 459"/>
                <a:gd name="T58" fmla="*/ 12 w 450"/>
                <a:gd name="T59" fmla="*/ 120 h 459"/>
                <a:gd name="T60" fmla="*/ 0 w 450"/>
                <a:gd name="T61" fmla="*/ 144 h 459"/>
                <a:gd name="T62" fmla="*/ 15 w 450"/>
                <a:gd name="T63" fmla="*/ 168 h 459"/>
                <a:gd name="T64" fmla="*/ 36 w 450"/>
                <a:gd name="T65" fmla="*/ 171 h 459"/>
                <a:gd name="T66" fmla="*/ 63 w 450"/>
                <a:gd name="T67" fmla="*/ 183 h 459"/>
                <a:gd name="T68" fmla="*/ 99 w 450"/>
                <a:gd name="T69" fmla="*/ 174 h 459"/>
                <a:gd name="T70" fmla="*/ 123 w 450"/>
                <a:gd name="T71" fmla="*/ 207 h 459"/>
                <a:gd name="T72" fmla="*/ 150 w 450"/>
                <a:gd name="T73" fmla="*/ 216 h 459"/>
                <a:gd name="T74" fmla="*/ 156 w 450"/>
                <a:gd name="T75" fmla="*/ 243 h 459"/>
                <a:gd name="T76" fmla="*/ 186 w 450"/>
                <a:gd name="T77" fmla="*/ 264 h 459"/>
                <a:gd name="T78" fmla="*/ 180 w 450"/>
                <a:gd name="T79" fmla="*/ 294 h 459"/>
                <a:gd name="T80" fmla="*/ 198 w 450"/>
                <a:gd name="T81" fmla="*/ 318 h 459"/>
                <a:gd name="T82" fmla="*/ 222 w 450"/>
                <a:gd name="T83" fmla="*/ 336 h 459"/>
                <a:gd name="T84" fmla="*/ 228 w 450"/>
                <a:gd name="T85" fmla="*/ 375 h 459"/>
                <a:gd name="T86" fmla="*/ 186 w 450"/>
                <a:gd name="T87" fmla="*/ 414 h 459"/>
                <a:gd name="T88" fmla="*/ 204 w 450"/>
                <a:gd name="T89" fmla="*/ 426 h 459"/>
                <a:gd name="T90" fmla="*/ 231 w 450"/>
                <a:gd name="T91" fmla="*/ 444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0" h="459">
                  <a:moveTo>
                    <a:pt x="237" y="456"/>
                  </a:moveTo>
                  <a:cubicBezTo>
                    <a:pt x="243" y="450"/>
                    <a:pt x="243" y="447"/>
                    <a:pt x="246" y="441"/>
                  </a:cubicBezTo>
                  <a:cubicBezTo>
                    <a:pt x="249" y="435"/>
                    <a:pt x="246" y="432"/>
                    <a:pt x="252" y="426"/>
                  </a:cubicBezTo>
                  <a:cubicBezTo>
                    <a:pt x="258" y="423"/>
                    <a:pt x="252" y="417"/>
                    <a:pt x="258" y="414"/>
                  </a:cubicBezTo>
                  <a:cubicBezTo>
                    <a:pt x="264" y="411"/>
                    <a:pt x="264" y="417"/>
                    <a:pt x="258" y="426"/>
                  </a:cubicBezTo>
                  <a:cubicBezTo>
                    <a:pt x="252" y="432"/>
                    <a:pt x="252" y="435"/>
                    <a:pt x="258" y="429"/>
                  </a:cubicBezTo>
                  <a:cubicBezTo>
                    <a:pt x="267" y="423"/>
                    <a:pt x="270" y="417"/>
                    <a:pt x="273" y="408"/>
                  </a:cubicBezTo>
                  <a:cubicBezTo>
                    <a:pt x="279" y="399"/>
                    <a:pt x="282" y="396"/>
                    <a:pt x="285" y="396"/>
                  </a:cubicBezTo>
                  <a:cubicBezTo>
                    <a:pt x="288" y="393"/>
                    <a:pt x="288" y="384"/>
                    <a:pt x="288" y="378"/>
                  </a:cubicBezTo>
                  <a:cubicBezTo>
                    <a:pt x="288" y="372"/>
                    <a:pt x="285" y="366"/>
                    <a:pt x="288" y="363"/>
                  </a:cubicBezTo>
                  <a:cubicBezTo>
                    <a:pt x="291" y="357"/>
                    <a:pt x="288" y="354"/>
                    <a:pt x="291" y="354"/>
                  </a:cubicBezTo>
                  <a:cubicBezTo>
                    <a:pt x="294" y="354"/>
                    <a:pt x="300" y="348"/>
                    <a:pt x="306" y="342"/>
                  </a:cubicBezTo>
                  <a:cubicBezTo>
                    <a:pt x="312" y="336"/>
                    <a:pt x="315" y="336"/>
                    <a:pt x="321" y="336"/>
                  </a:cubicBezTo>
                  <a:cubicBezTo>
                    <a:pt x="327" y="336"/>
                    <a:pt x="324" y="333"/>
                    <a:pt x="327" y="333"/>
                  </a:cubicBezTo>
                  <a:cubicBezTo>
                    <a:pt x="330" y="333"/>
                    <a:pt x="333" y="327"/>
                    <a:pt x="336" y="327"/>
                  </a:cubicBezTo>
                  <a:cubicBezTo>
                    <a:pt x="339" y="324"/>
                    <a:pt x="348" y="327"/>
                    <a:pt x="354" y="327"/>
                  </a:cubicBezTo>
                  <a:cubicBezTo>
                    <a:pt x="360" y="327"/>
                    <a:pt x="363" y="327"/>
                    <a:pt x="363" y="324"/>
                  </a:cubicBezTo>
                  <a:cubicBezTo>
                    <a:pt x="363" y="318"/>
                    <a:pt x="366" y="315"/>
                    <a:pt x="372" y="315"/>
                  </a:cubicBezTo>
                  <a:cubicBezTo>
                    <a:pt x="375" y="315"/>
                    <a:pt x="375" y="315"/>
                    <a:pt x="375" y="309"/>
                  </a:cubicBezTo>
                  <a:cubicBezTo>
                    <a:pt x="375" y="306"/>
                    <a:pt x="378" y="303"/>
                    <a:pt x="381" y="300"/>
                  </a:cubicBezTo>
                  <a:cubicBezTo>
                    <a:pt x="384" y="297"/>
                    <a:pt x="384" y="294"/>
                    <a:pt x="384" y="291"/>
                  </a:cubicBezTo>
                  <a:cubicBezTo>
                    <a:pt x="387" y="285"/>
                    <a:pt x="390" y="288"/>
                    <a:pt x="390" y="285"/>
                  </a:cubicBezTo>
                  <a:cubicBezTo>
                    <a:pt x="390" y="279"/>
                    <a:pt x="390" y="273"/>
                    <a:pt x="390" y="270"/>
                  </a:cubicBezTo>
                  <a:cubicBezTo>
                    <a:pt x="390" y="267"/>
                    <a:pt x="396" y="267"/>
                    <a:pt x="396" y="264"/>
                  </a:cubicBezTo>
                  <a:cubicBezTo>
                    <a:pt x="399" y="261"/>
                    <a:pt x="396" y="258"/>
                    <a:pt x="399" y="249"/>
                  </a:cubicBezTo>
                  <a:cubicBezTo>
                    <a:pt x="399" y="243"/>
                    <a:pt x="399" y="234"/>
                    <a:pt x="399" y="228"/>
                  </a:cubicBezTo>
                  <a:cubicBezTo>
                    <a:pt x="399" y="222"/>
                    <a:pt x="399" y="213"/>
                    <a:pt x="399" y="210"/>
                  </a:cubicBezTo>
                  <a:cubicBezTo>
                    <a:pt x="402" y="210"/>
                    <a:pt x="402" y="207"/>
                    <a:pt x="399" y="207"/>
                  </a:cubicBezTo>
                  <a:cubicBezTo>
                    <a:pt x="396" y="207"/>
                    <a:pt x="399" y="204"/>
                    <a:pt x="402" y="204"/>
                  </a:cubicBezTo>
                  <a:cubicBezTo>
                    <a:pt x="402" y="204"/>
                    <a:pt x="405" y="207"/>
                    <a:pt x="408" y="207"/>
                  </a:cubicBezTo>
                  <a:cubicBezTo>
                    <a:pt x="411" y="204"/>
                    <a:pt x="414" y="195"/>
                    <a:pt x="417" y="189"/>
                  </a:cubicBezTo>
                  <a:cubicBezTo>
                    <a:pt x="420" y="180"/>
                    <a:pt x="426" y="183"/>
                    <a:pt x="429" y="180"/>
                  </a:cubicBezTo>
                  <a:cubicBezTo>
                    <a:pt x="432" y="180"/>
                    <a:pt x="438" y="171"/>
                    <a:pt x="444" y="159"/>
                  </a:cubicBezTo>
                  <a:cubicBezTo>
                    <a:pt x="450" y="147"/>
                    <a:pt x="444" y="135"/>
                    <a:pt x="441" y="126"/>
                  </a:cubicBezTo>
                  <a:cubicBezTo>
                    <a:pt x="441" y="117"/>
                    <a:pt x="438" y="117"/>
                    <a:pt x="432" y="120"/>
                  </a:cubicBezTo>
                  <a:cubicBezTo>
                    <a:pt x="426" y="120"/>
                    <a:pt x="417" y="117"/>
                    <a:pt x="405" y="105"/>
                  </a:cubicBezTo>
                  <a:cubicBezTo>
                    <a:pt x="393" y="90"/>
                    <a:pt x="381" y="93"/>
                    <a:pt x="372" y="93"/>
                  </a:cubicBezTo>
                  <a:cubicBezTo>
                    <a:pt x="363" y="96"/>
                    <a:pt x="354" y="90"/>
                    <a:pt x="351" y="90"/>
                  </a:cubicBezTo>
                  <a:cubicBezTo>
                    <a:pt x="345" y="87"/>
                    <a:pt x="339" y="93"/>
                    <a:pt x="336" y="96"/>
                  </a:cubicBezTo>
                  <a:cubicBezTo>
                    <a:pt x="330" y="96"/>
                    <a:pt x="336" y="90"/>
                    <a:pt x="336" y="84"/>
                  </a:cubicBezTo>
                  <a:cubicBezTo>
                    <a:pt x="336" y="81"/>
                    <a:pt x="321" y="75"/>
                    <a:pt x="312" y="69"/>
                  </a:cubicBezTo>
                  <a:cubicBezTo>
                    <a:pt x="300" y="66"/>
                    <a:pt x="294" y="66"/>
                    <a:pt x="294" y="75"/>
                  </a:cubicBezTo>
                  <a:cubicBezTo>
                    <a:pt x="294" y="81"/>
                    <a:pt x="291" y="72"/>
                    <a:pt x="285" y="81"/>
                  </a:cubicBezTo>
                  <a:cubicBezTo>
                    <a:pt x="282" y="87"/>
                    <a:pt x="276" y="81"/>
                    <a:pt x="279" y="81"/>
                  </a:cubicBezTo>
                  <a:cubicBezTo>
                    <a:pt x="285" y="78"/>
                    <a:pt x="288" y="72"/>
                    <a:pt x="291" y="66"/>
                  </a:cubicBezTo>
                  <a:cubicBezTo>
                    <a:pt x="291" y="63"/>
                    <a:pt x="273" y="57"/>
                    <a:pt x="267" y="60"/>
                  </a:cubicBezTo>
                  <a:cubicBezTo>
                    <a:pt x="261" y="63"/>
                    <a:pt x="264" y="72"/>
                    <a:pt x="261" y="69"/>
                  </a:cubicBezTo>
                  <a:cubicBezTo>
                    <a:pt x="255" y="66"/>
                    <a:pt x="258" y="60"/>
                    <a:pt x="264" y="60"/>
                  </a:cubicBezTo>
                  <a:cubicBezTo>
                    <a:pt x="267" y="60"/>
                    <a:pt x="273" y="51"/>
                    <a:pt x="273" y="45"/>
                  </a:cubicBezTo>
                  <a:cubicBezTo>
                    <a:pt x="276" y="39"/>
                    <a:pt x="270" y="39"/>
                    <a:pt x="264" y="33"/>
                  </a:cubicBezTo>
                  <a:cubicBezTo>
                    <a:pt x="261" y="30"/>
                    <a:pt x="261" y="15"/>
                    <a:pt x="258" y="12"/>
                  </a:cubicBezTo>
                  <a:cubicBezTo>
                    <a:pt x="252" y="18"/>
                    <a:pt x="246" y="24"/>
                    <a:pt x="243" y="30"/>
                  </a:cubicBezTo>
                  <a:cubicBezTo>
                    <a:pt x="240" y="39"/>
                    <a:pt x="237" y="33"/>
                    <a:pt x="231" y="36"/>
                  </a:cubicBezTo>
                  <a:cubicBezTo>
                    <a:pt x="225" y="39"/>
                    <a:pt x="222" y="36"/>
                    <a:pt x="222" y="33"/>
                  </a:cubicBezTo>
                  <a:cubicBezTo>
                    <a:pt x="219" y="30"/>
                    <a:pt x="213" y="33"/>
                    <a:pt x="207" y="33"/>
                  </a:cubicBezTo>
                  <a:cubicBezTo>
                    <a:pt x="204" y="33"/>
                    <a:pt x="207" y="36"/>
                    <a:pt x="204" y="39"/>
                  </a:cubicBezTo>
                  <a:cubicBezTo>
                    <a:pt x="201" y="42"/>
                    <a:pt x="192" y="36"/>
                    <a:pt x="189" y="39"/>
                  </a:cubicBezTo>
                  <a:cubicBezTo>
                    <a:pt x="186" y="42"/>
                    <a:pt x="186" y="39"/>
                    <a:pt x="183" y="42"/>
                  </a:cubicBezTo>
                  <a:cubicBezTo>
                    <a:pt x="183" y="45"/>
                    <a:pt x="177" y="42"/>
                    <a:pt x="177" y="45"/>
                  </a:cubicBezTo>
                  <a:cubicBezTo>
                    <a:pt x="174" y="45"/>
                    <a:pt x="171" y="48"/>
                    <a:pt x="165" y="39"/>
                  </a:cubicBezTo>
                  <a:cubicBezTo>
                    <a:pt x="159" y="33"/>
                    <a:pt x="159" y="21"/>
                    <a:pt x="162" y="21"/>
                  </a:cubicBezTo>
                  <a:cubicBezTo>
                    <a:pt x="165" y="18"/>
                    <a:pt x="165" y="12"/>
                    <a:pt x="162" y="12"/>
                  </a:cubicBezTo>
                  <a:cubicBezTo>
                    <a:pt x="156" y="9"/>
                    <a:pt x="162" y="3"/>
                    <a:pt x="156" y="0"/>
                  </a:cubicBezTo>
                  <a:cubicBezTo>
                    <a:pt x="153" y="0"/>
                    <a:pt x="153" y="6"/>
                    <a:pt x="150" y="9"/>
                  </a:cubicBezTo>
                  <a:cubicBezTo>
                    <a:pt x="147" y="9"/>
                    <a:pt x="138" y="15"/>
                    <a:pt x="135" y="12"/>
                  </a:cubicBezTo>
                  <a:cubicBezTo>
                    <a:pt x="132" y="12"/>
                    <a:pt x="129" y="15"/>
                    <a:pt x="129" y="18"/>
                  </a:cubicBezTo>
                  <a:cubicBezTo>
                    <a:pt x="129" y="21"/>
                    <a:pt x="123" y="21"/>
                    <a:pt x="123" y="18"/>
                  </a:cubicBezTo>
                  <a:cubicBezTo>
                    <a:pt x="123" y="15"/>
                    <a:pt x="114" y="15"/>
                    <a:pt x="114" y="15"/>
                  </a:cubicBezTo>
                  <a:cubicBezTo>
                    <a:pt x="111" y="12"/>
                    <a:pt x="102" y="12"/>
                    <a:pt x="105" y="15"/>
                  </a:cubicBezTo>
                  <a:cubicBezTo>
                    <a:pt x="111" y="18"/>
                    <a:pt x="111" y="21"/>
                    <a:pt x="111" y="24"/>
                  </a:cubicBezTo>
                  <a:cubicBezTo>
                    <a:pt x="111" y="27"/>
                    <a:pt x="114" y="27"/>
                    <a:pt x="114" y="30"/>
                  </a:cubicBezTo>
                  <a:cubicBezTo>
                    <a:pt x="114" y="36"/>
                    <a:pt x="117" y="33"/>
                    <a:pt x="120" y="33"/>
                  </a:cubicBezTo>
                  <a:cubicBezTo>
                    <a:pt x="123" y="33"/>
                    <a:pt x="123" y="36"/>
                    <a:pt x="117" y="36"/>
                  </a:cubicBezTo>
                  <a:cubicBezTo>
                    <a:pt x="114" y="36"/>
                    <a:pt x="111" y="39"/>
                    <a:pt x="111" y="42"/>
                  </a:cubicBezTo>
                  <a:cubicBezTo>
                    <a:pt x="111" y="45"/>
                    <a:pt x="108" y="45"/>
                    <a:pt x="105" y="45"/>
                  </a:cubicBezTo>
                  <a:cubicBezTo>
                    <a:pt x="102" y="48"/>
                    <a:pt x="99" y="51"/>
                    <a:pt x="96" y="51"/>
                  </a:cubicBezTo>
                  <a:cubicBezTo>
                    <a:pt x="93" y="48"/>
                    <a:pt x="93" y="51"/>
                    <a:pt x="90" y="51"/>
                  </a:cubicBezTo>
                  <a:cubicBezTo>
                    <a:pt x="87" y="54"/>
                    <a:pt x="87" y="51"/>
                    <a:pt x="84" y="48"/>
                  </a:cubicBezTo>
                  <a:cubicBezTo>
                    <a:pt x="81" y="48"/>
                    <a:pt x="78" y="42"/>
                    <a:pt x="75" y="36"/>
                  </a:cubicBezTo>
                  <a:cubicBezTo>
                    <a:pt x="72" y="39"/>
                    <a:pt x="66" y="42"/>
                    <a:pt x="63" y="42"/>
                  </a:cubicBezTo>
                  <a:cubicBezTo>
                    <a:pt x="60" y="42"/>
                    <a:pt x="48" y="39"/>
                    <a:pt x="48" y="42"/>
                  </a:cubicBezTo>
                  <a:cubicBezTo>
                    <a:pt x="45" y="45"/>
                    <a:pt x="48" y="48"/>
                    <a:pt x="51" y="48"/>
                  </a:cubicBezTo>
                  <a:cubicBezTo>
                    <a:pt x="51" y="48"/>
                    <a:pt x="57" y="51"/>
                    <a:pt x="51" y="54"/>
                  </a:cubicBezTo>
                  <a:cubicBezTo>
                    <a:pt x="48" y="57"/>
                    <a:pt x="45" y="51"/>
                    <a:pt x="45" y="60"/>
                  </a:cubicBezTo>
                  <a:cubicBezTo>
                    <a:pt x="45" y="66"/>
                    <a:pt x="54" y="72"/>
                    <a:pt x="51" y="78"/>
                  </a:cubicBezTo>
                  <a:cubicBezTo>
                    <a:pt x="51" y="81"/>
                    <a:pt x="48" y="90"/>
                    <a:pt x="48" y="93"/>
                  </a:cubicBezTo>
                  <a:cubicBezTo>
                    <a:pt x="48" y="96"/>
                    <a:pt x="48" y="108"/>
                    <a:pt x="45" y="108"/>
                  </a:cubicBezTo>
                  <a:cubicBezTo>
                    <a:pt x="42" y="108"/>
                    <a:pt x="39" y="105"/>
                    <a:pt x="36" y="108"/>
                  </a:cubicBezTo>
                  <a:cubicBezTo>
                    <a:pt x="30" y="111"/>
                    <a:pt x="27" y="111"/>
                    <a:pt x="21" y="114"/>
                  </a:cubicBezTo>
                  <a:cubicBezTo>
                    <a:pt x="18" y="117"/>
                    <a:pt x="12" y="117"/>
                    <a:pt x="12" y="120"/>
                  </a:cubicBezTo>
                  <a:cubicBezTo>
                    <a:pt x="12" y="126"/>
                    <a:pt x="6" y="126"/>
                    <a:pt x="9" y="132"/>
                  </a:cubicBezTo>
                  <a:cubicBezTo>
                    <a:pt x="9" y="135"/>
                    <a:pt x="6" y="135"/>
                    <a:pt x="3" y="138"/>
                  </a:cubicBezTo>
                  <a:cubicBezTo>
                    <a:pt x="0" y="141"/>
                    <a:pt x="3" y="141"/>
                    <a:pt x="0" y="144"/>
                  </a:cubicBezTo>
                  <a:cubicBezTo>
                    <a:pt x="0" y="147"/>
                    <a:pt x="3" y="150"/>
                    <a:pt x="3" y="153"/>
                  </a:cubicBezTo>
                  <a:cubicBezTo>
                    <a:pt x="6" y="159"/>
                    <a:pt x="9" y="159"/>
                    <a:pt x="9" y="165"/>
                  </a:cubicBezTo>
                  <a:cubicBezTo>
                    <a:pt x="9" y="168"/>
                    <a:pt x="12" y="168"/>
                    <a:pt x="15" y="168"/>
                  </a:cubicBezTo>
                  <a:cubicBezTo>
                    <a:pt x="18" y="168"/>
                    <a:pt x="15" y="174"/>
                    <a:pt x="21" y="174"/>
                  </a:cubicBezTo>
                  <a:cubicBezTo>
                    <a:pt x="27" y="174"/>
                    <a:pt x="30" y="177"/>
                    <a:pt x="33" y="174"/>
                  </a:cubicBezTo>
                  <a:cubicBezTo>
                    <a:pt x="33" y="171"/>
                    <a:pt x="36" y="168"/>
                    <a:pt x="36" y="171"/>
                  </a:cubicBezTo>
                  <a:cubicBezTo>
                    <a:pt x="36" y="177"/>
                    <a:pt x="36" y="189"/>
                    <a:pt x="39" y="186"/>
                  </a:cubicBezTo>
                  <a:cubicBezTo>
                    <a:pt x="45" y="186"/>
                    <a:pt x="51" y="186"/>
                    <a:pt x="54" y="186"/>
                  </a:cubicBezTo>
                  <a:cubicBezTo>
                    <a:pt x="57" y="189"/>
                    <a:pt x="63" y="186"/>
                    <a:pt x="63" y="183"/>
                  </a:cubicBezTo>
                  <a:cubicBezTo>
                    <a:pt x="66" y="183"/>
                    <a:pt x="69" y="183"/>
                    <a:pt x="75" y="180"/>
                  </a:cubicBezTo>
                  <a:cubicBezTo>
                    <a:pt x="78" y="177"/>
                    <a:pt x="84" y="174"/>
                    <a:pt x="87" y="174"/>
                  </a:cubicBezTo>
                  <a:cubicBezTo>
                    <a:pt x="93" y="174"/>
                    <a:pt x="99" y="171"/>
                    <a:pt x="99" y="174"/>
                  </a:cubicBezTo>
                  <a:cubicBezTo>
                    <a:pt x="96" y="177"/>
                    <a:pt x="96" y="189"/>
                    <a:pt x="102" y="195"/>
                  </a:cubicBezTo>
                  <a:cubicBezTo>
                    <a:pt x="108" y="201"/>
                    <a:pt x="111" y="204"/>
                    <a:pt x="114" y="204"/>
                  </a:cubicBezTo>
                  <a:cubicBezTo>
                    <a:pt x="120" y="204"/>
                    <a:pt x="120" y="207"/>
                    <a:pt x="123" y="207"/>
                  </a:cubicBezTo>
                  <a:cubicBezTo>
                    <a:pt x="126" y="204"/>
                    <a:pt x="123" y="210"/>
                    <a:pt x="129" y="210"/>
                  </a:cubicBezTo>
                  <a:cubicBezTo>
                    <a:pt x="132" y="210"/>
                    <a:pt x="138" y="210"/>
                    <a:pt x="138" y="213"/>
                  </a:cubicBezTo>
                  <a:cubicBezTo>
                    <a:pt x="138" y="219"/>
                    <a:pt x="147" y="216"/>
                    <a:pt x="150" y="216"/>
                  </a:cubicBezTo>
                  <a:cubicBezTo>
                    <a:pt x="153" y="219"/>
                    <a:pt x="153" y="219"/>
                    <a:pt x="153" y="225"/>
                  </a:cubicBezTo>
                  <a:cubicBezTo>
                    <a:pt x="153" y="228"/>
                    <a:pt x="159" y="231"/>
                    <a:pt x="156" y="234"/>
                  </a:cubicBezTo>
                  <a:cubicBezTo>
                    <a:pt x="153" y="234"/>
                    <a:pt x="156" y="237"/>
                    <a:pt x="156" y="243"/>
                  </a:cubicBezTo>
                  <a:cubicBezTo>
                    <a:pt x="156" y="246"/>
                    <a:pt x="162" y="249"/>
                    <a:pt x="168" y="249"/>
                  </a:cubicBezTo>
                  <a:cubicBezTo>
                    <a:pt x="177" y="249"/>
                    <a:pt x="177" y="249"/>
                    <a:pt x="177" y="255"/>
                  </a:cubicBezTo>
                  <a:cubicBezTo>
                    <a:pt x="177" y="258"/>
                    <a:pt x="183" y="261"/>
                    <a:pt x="186" y="264"/>
                  </a:cubicBezTo>
                  <a:cubicBezTo>
                    <a:pt x="186" y="270"/>
                    <a:pt x="183" y="276"/>
                    <a:pt x="183" y="279"/>
                  </a:cubicBezTo>
                  <a:cubicBezTo>
                    <a:pt x="183" y="282"/>
                    <a:pt x="183" y="285"/>
                    <a:pt x="180" y="288"/>
                  </a:cubicBezTo>
                  <a:cubicBezTo>
                    <a:pt x="183" y="291"/>
                    <a:pt x="183" y="291"/>
                    <a:pt x="180" y="294"/>
                  </a:cubicBezTo>
                  <a:cubicBezTo>
                    <a:pt x="177" y="294"/>
                    <a:pt x="186" y="300"/>
                    <a:pt x="183" y="306"/>
                  </a:cubicBezTo>
                  <a:cubicBezTo>
                    <a:pt x="180" y="315"/>
                    <a:pt x="180" y="315"/>
                    <a:pt x="189" y="315"/>
                  </a:cubicBezTo>
                  <a:cubicBezTo>
                    <a:pt x="195" y="315"/>
                    <a:pt x="195" y="318"/>
                    <a:pt x="198" y="318"/>
                  </a:cubicBezTo>
                  <a:cubicBezTo>
                    <a:pt x="201" y="315"/>
                    <a:pt x="204" y="324"/>
                    <a:pt x="207" y="327"/>
                  </a:cubicBezTo>
                  <a:cubicBezTo>
                    <a:pt x="207" y="330"/>
                    <a:pt x="210" y="339"/>
                    <a:pt x="213" y="339"/>
                  </a:cubicBezTo>
                  <a:cubicBezTo>
                    <a:pt x="213" y="339"/>
                    <a:pt x="216" y="336"/>
                    <a:pt x="222" y="336"/>
                  </a:cubicBezTo>
                  <a:cubicBezTo>
                    <a:pt x="225" y="339"/>
                    <a:pt x="219" y="351"/>
                    <a:pt x="219" y="357"/>
                  </a:cubicBezTo>
                  <a:cubicBezTo>
                    <a:pt x="222" y="357"/>
                    <a:pt x="225" y="357"/>
                    <a:pt x="228" y="357"/>
                  </a:cubicBezTo>
                  <a:cubicBezTo>
                    <a:pt x="228" y="360"/>
                    <a:pt x="231" y="372"/>
                    <a:pt x="228" y="375"/>
                  </a:cubicBezTo>
                  <a:cubicBezTo>
                    <a:pt x="228" y="378"/>
                    <a:pt x="219" y="381"/>
                    <a:pt x="216" y="381"/>
                  </a:cubicBezTo>
                  <a:cubicBezTo>
                    <a:pt x="210" y="384"/>
                    <a:pt x="201" y="396"/>
                    <a:pt x="195" y="402"/>
                  </a:cubicBezTo>
                  <a:cubicBezTo>
                    <a:pt x="192" y="408"/>
                    <a:pt x="189" y="411"/>
                    <a:pt x="186" y="414"/>
                  </a:cubicBezTo>
                  <a:cubicBezTo>
                    <a:pt x="189" y="414"/>
                    <a:pt x="189" y="414"/>
                    <a:pt x="189" y="414"/>
                  </a:cubicBezTo>
                  <a:cubicBezTo>
                    <a:pt x="192" y="414"/>
                    <a:pt x="195" y="414"/>
                    <a:pt x="198" y="417"/>
                  </a:cubicBezTo>
                  <a:cubicBezTo>
                    <a:pt x="204" y="423"/>
                    <a:pt x="204" y="426"/>
                    <a:pt x="204" y="426"/>
                  </a:cubicBezTo>
                  <a:cubicBezTo>
                    <a:pt x="207" y="426"/>
                    <a:pt x="207" y="420"/>
                    <a:pt x="210" y="423"/>
                  </a:cubicBezTo>
                  <a:cubicBezTo>
                    <a:pt x="213" y="429"/>
                    <a:pt x="222" y="432"/>
                    <a:pt x="222" y="435"/>
                  </a:cubicBezTo>
                  <a:cubicBezTo>
                    <a:pt x="225" y="435"/>
                    <a:pt x="231" y="438"/>
                    <a:pt x="231" y="444"/>
                  </a:cubicBezTo>
                  <a:cubicBezTo>
                    <a:pt x="231" y="447"/>
                    <a:pt x="228" y="453"/>
                    <a:pt x="231" y="459"/>
                  </a:cubicBezTo>
                  <a:cubicBezTo>
                    <a:pt x="234" y="459"/>
                    <a:pt x="234" y="456"/>
                    <a:pt x="237" y="45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6" name="Freeform 851"/>
            <p:cNvSpPr>
              <a:spLocks/>
            </p:cNvSpPr>
            <p:nvPr userDrawn="1"/>
          </p:nvSpPr>
          <p:spPr bwMode="auto">
            <a:xfrm>
              <a:off x="2446" y="-589"/>
              <a:ext cx="85" cy="95"/>
            </a:xfrm>
            <a:custGeom>
              <a:avLst/>
              <a:gdLst>
                <a:gd name="T0" fmla="*/ 54 w 54"/>
                <a:gd name="T1" fmla="*/ 31 h 61"/>
                <a:gd name="T2" fmla="*/ 45 w 54"/>
                <a:gd name="T3" fmla="*/ 21 h 61"/>
                <a:gd name="T4" fmla="*/ 33 w 54"/>
                <a:gd name="T5" fmla="*/ 9 h 61"/>
                <a:gd name="T6" fmla="*/ 27 w 54"/>
                <a:gd name="T7" fmla="*/ 12 h 61"/>
                <a:gd name="T8" fmla="*/ 21 w 54"/>
                <a:gd name="T9" fmla="*/ 3 h 61"/>
                <a:gd name="T10" fmla="*/ 12 w 54"/>
                <a:gd name="T11" fmla="*/ 0 h 61"/>
                <a:gd name="T12" fmla="*/ 9 w 54"/>
                <a:gd name="T13" fmla="*/ 0 h 61"/>
                <a:gd name="T14" fmla="*/ 6 w 54"/>
                <a:gd name="T15" fmla="*/ 6 h 61"/>
                <a:gd name="T16" fmla="*/ 3 w 54"/>
                <a:gd name="T17" fmla="*/ 28 h 61"/>
                <a:gd name="T18" fmla="*/ 0 w 54"/>
                <a:gd name="T19" fmla="*/ 43 h 61"/>
                <a:gd name="T20" fmla="*/ 3 w 54"/>
                <a:gd name="T21" fmla="*/ 49 h 61"/>
                <a:gd name="T22" fmla="*/ 0 w 54"/>
                <a:gd name="T23" fmla="*/ 55 h 61"/>
                <a:gd name="T24" fmla="*/ 6 w 54"/>
                <a:gd name="T25" fmla="*/ 55 h 61"/>
                <a:gd name="T26" fmla="*/ 21 w 54"/>
                <a:gd name="T27" fmla="*/ 61 h 61"/>
                <a:gd name="T28" fmla="*/ 30 w 54"/>
                <a:gd name="T29" fmla="*/ 61 h 61"/>
                <a:gd name="T30" fmla="*/ 45 w 54"/>
                <a:gd name="T31" fmla="*/ 58 h 61"/>
                <a:gd name="T32" fmla="*/ 54 w 54"/>
                <a:gd name="T33" fmla="*/ 46 h 61"/>
                <a:gd name="T34" fmla="*/ 54 w 54"/>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61">
                  <a:moveTo>
                    <a:pt x="54" y="31"/>
                  </a:moveTo>
                  <a:cubicBezTo>
                    <a:pt x="54" y="24"/>
                    <a:pt x="48" y="21"/>
                    <a:pt x="45" y="21"/>
                  </a:cubicBezTo>
                  <a:cubicBezTo>
                    <a:pt x="45" y="18"/>
                    <a:pt x="36" y="15"/>
                    <a:pt x="33" y="9"/>
                  </a:cubicBezTo>
                  <a:cubicBezTo>
                    <a:pt x="30" y="6"/>
                    <a:pt x="30" y="12"/>
                    <a:pt x="27" y="12"/>
                  </a:cubicBezTo>
                  <a:cubicBezTo>
                    <a:pt x="27" y="12"/>
                    <a:pt x="27" y="9"/>
                    <a:pt x="21" y="3"/>
                  </a:cubicBezTo>
                  <a:cubicBezTo>
                    <a:pt x="18" y="0"/>
                    <a:pt x="15" y="0"/>
                    <a:pt x="12" y="0"/>
                  </a:cubicBezTo>
                  <a:cubicBezTo>
                    <a:pt x="12" y="0"/>
                    <a:pt x="12" y="0"/>
                    <a:pt x="9" y="0"/>
                  </a:cubicBezTo>
                  <a:cubicBezTo>
                    <a:pt x="6" y="3"/>
                    <a:pt x="6" y="6"/>
                    <a:pt x="6" y="6"/>
                  </a:cubicBezTo>
                  <a:cubicBezTo>
                    <a:pt x="6" y="12"/>
                    <a:pt x="3" y="18"/>
                    <a:pt x="3" y="28"/>
                  </a:cubicBezTo>
                  <a:cubicBezTo>
                    <a:pt x="3" y="37"/>
                    <a:pt x="0" y="34"/>
                    <a:pt x="0" y="43"/>
                  </a:cubicBezTo>
                  <a:cubicBezTo>
                    <a:pt x="0" y="49"/>
                    <a:pt x="0" y="49"/>
                    <a:pt x="3" y="49"/>
                  </a:cubicBezTo>
                  <a:cubicBezTo>
                    <a:pt x="3" y="49"/>
                    <a:pt x="3" y="52"/>
                    <a:pt x="0" y="55"/>
                  </a:cubicBezTo>
                  <a:cubicBezTo>
                    <a:pt x="3" y="55"/>
                    <a:pt x="3" y="55"/>
                    <a:pt x="6" y="55"/>
                  </a:cubicBezTo>
                  <a:cubicBezTo>
                    <a:pt x="9" y="55"/>
                    <a:pt x="15" y="58"/>
                    <a:pt x="21" y="61"/>
                  </a:cubicBezTo>
                  <a:cubicBezTo>
                    <a:pt x="27" y="61"/>
                    <a:pt x="24" y="58"/>
                    <a:pt x="30" y="61"/>
                  </a:cubicBezTo>
                  <a:cubicBezTo>
                    <a:pt x="33" y="61"/>
                    <a:pt x="39" y="61"/>
                    <a:pt x="45" y="58"/>
                  </a:cubicBezTo>
                  <a:cubicBezTo>
                    <a:pt x="51" y="55"/>
                    <a:pt x="51" y="52"/>
                    <a:pt x="54" y="46"/>
                  </a:cubicBezTo>
                  <a:cubicBezTo>
                    <a:pt x="51" y="40"/>
                    <a:pt x="54" y="34"/>
                    <a:pt x="54" y="3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7" name="Freeform 852"/>
            <p:cNvSpPr>
              <a:spLocks/>
            </p:cNvSpPr>
            <p:nvPr userDrawn="1"/>
          </p:nvSpPr>
          <p:spPr bwMode="auto">
            <a:xfrm>
              <a:off x="2446" y="-589"/>
              <a:ext cx="85" cy="95"/>
            </a:xfrm>
            <a:custGeom>
              <a:avLst/>
              <a:gdLst>
                <a:gd name="T0" fmla="*/ 54 w 54"/>
                <a:gd name="T1" fmla="*/ 31 h 61"/>
                <a:gd name="T2" fmla="*/ 45 w 54"/>
                <a:gd name="T3" fmla="*/ 21 h 61"/>
                <a:gd name="T4" fmla="*/ 33 w 54"/>
                <a:gd name="T5" fmla="*/ 9 h 61"/>
                <a:gd name="T6" fmla="*/ 27 w 54"/>
                <a:gd name="T7" fmla="*/ 12 h 61"/>
                <a:gd name="T8" fmla="*/ 21 w 54"/>
                <a:gd name="T9" fmla="*/ 3 h 61"/>
                <a:gd name="T10" fmla="*/ 12 w 54"/>
                <a:gd name="T11" fmla="*/ 0 h 61"/>
                <a:gd name="T12" fmla="*/ 9 w 54"/>
                <a:gd name="T13" fmla="*/ 0 h 61"/>
                <a:gd name="T14" fmla="*/ 6 w 54"/>
                <a:gd name="T15" fmla="*/ 6 h 61"/>
                <a:gd name="T16" fmla="*/ 3 w 54"/>
                <a:gd name="T17" fmla="*/ 28 h 61"/>
                <a:gd name="T18" fmla="*/ 0 w 54"/>
                <a:gd name="T19" fmla="*/ 43 h 61"/>
                <a:gd name="T20" fmla="*/ 3 w 54"/>
                <a:gd name="T21" fmla="*/ 49 h 61"/>
                <a:gd name="T22" fmla="*/ 0 w 54"/>
                <a:gd name="T23" fmla="*/ 55 h 61"/>
                <a:gd name="T24" fmla="*/ 6 w 54"/>
                <a:gd name="T25" fmla="*/ 55 h 61"/>
                <a:gd name="T26" fmla="*/ 21 w 54"/>
                <a:gd name="T27" fmla="*/ 61 h 61"/>
                <a:gd name="T28" fmla="*/ 30 w 54"/>
                <a:gd name="T29" fmla="*/ 61 h 61"/>
                <a:gd name="T30" fmla="*/ 45 w 54"/>
                <a:gd name="T31" fmla="*/ 58 h 61"/>
                <a:gd name="T32" fmla="*/ 54 w 54"/>
                <a:gd name="T33" fmla="*/ 46 h 61"/>
                <a:gd name="T34" fmla="*/ 54 w 54"/>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61">
                  <a:moveTo>
                    <a:pt x="54" y="31"/>
                  </a:moveTo>
                  <a:cubicBezTo>
                    <a:pt x="54" y="24"/>
                    <a:pt x="48" y="21"/>
                    <a:pt x="45" y="21"/>
                  </a:cubicBezTo>
                  <a:cubicBezTo>
                    <a:pt x="45" y="18"/>
                    <a:pt x="36" y="15"/>
                    <a:pt x="33" y="9"/>
                  </a:cubicBezTo>
                  <a:cubicBezTo>
                    <a:pt x="30" y="6"/>
                    <a:pt x="30" y="12"/>
                    <a:pt x="27" y="12"/>
                  </a:cubicBezTo>
                  <a:cubicBezTo>
                    <a:pt x="27" y="12"/>
                    <a:pt x="27" y="9"/>
                    <a:pt x="21" y="3"/>
                  </a:cubicBezTo>
                  <a:cubicBezTo>
                    <a:pt x="18" y="0"/>
                    <a:pt x="15" y="0"/>
                    <a:pt x="12" y="0"/>
                  </a:cubicBezTo>
                  <a:cubicBezTo>
                    <a:pt x="12" y="0"/>
                    <a:pt x="12" y="0"/>
                    <a:pt x="9" y="0"/>
                  </a:cubicBezTo>
                  <a:cubicBezTo>
                    <a:pt x="6" y="3"/>
                    <a:pt x="6" y="6"/>
                    <a:pt x="6" y="6"/>
                  </a:cubicBezTo>
                  <a:cubicBezTo>
                    <a:pt x="6" y="12"/>
                    <a:pt x="3" y="18"/>
                    <a:pt x="3" y="28"/>
                  </a:cubicBezTo>
                  <a:cubicBezTo>
                    <a:pt x="3" y="37"/>
                    <a:pt x="0" y="34"/>
                    <a:pt x="0" y="43"/>
                  </a:cubicBezTo>
                  <a:cubicBezTo>
                    <a:pt x="0" y="49"/>
                    <a:pt x="0" y="49"/>
                    <a:pt x="3" y="49"/>
                  </a:cubicBezTo>
                  <a:cubicBezTo>
                    <a:pt x="3" y="49"/>
                    <a:pt x="3" y="52"/>
                    <a:pt x="0" y="55"/>
                  </a:cubicBezTo>
                  <a:cubicBezTo>
                    <a:pt x="3" y="55"/>
                    <a:pt x="3" y="55"/>
                    <a:pt x="6" y="55"/>
                  </a:cubicBezTo>
                  <a:cubicBezTo>
                    <a:pt x="9" y="55"/>
                    <a:pt x="15" y="58"/>
                    <a:pt x="21" y="61"/>
                  </a:cubicBezTo>
                  <a:cubicBezTo>
                    <a:pt x="27" y="61"/>
                    <a:pt x="24" y="58"/>
                    <a:pt x="30" y="61"/>
                  </a:cubicBezTo>
                  <a:cubicBezTo>
                    <a:pt x="33" y="61"/>
                    <a:pt x="39" y="61"/>
                    <a:pt x="45" y="58"/>
                  </a:cubicBezTo>
                  <a:cubicBezTo>
                    <a:pt x="51" y="55"/>
                    <a:pt x="51" y="52"/>
                    <a:pt x="54" y="46"/>
                  </a:cubicBezTo>
                  <a:cubicBezTo>
                    <a:pt x="51" y="40"/>
                    <a:pt x="54" y="34"/>
                    <a:pt x="54" y="3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8" name="Freeform 853"/>
            <p:cNvSpPr>
              <a:spLocks noEditPoints="1"/>
            </p:cNvSpPr>
            <p:nvPr userDrawn="1"/>
          </p:nvSpPr>
          <p:spPr bwMode="auto">
            <a:xfrm>
              <a:off x="2177" y="-747"/>
              <a:ext cx="354" cy="702"/>
            </a:xfrm>
            <a:custGeom>
              <a:avLst/>
              <a:gdLst>
                <a:gd name="T0" fmla="*/ 62 w 227"/>
                <a:gd name="T1" fmla="*/ 426 h 450"/>
                <a:gd name="T2" fmla="*/ 59 w 227"/>
                <a:gd name="T3" fmla="*/ 417 h 450"/>
                <a:gd name="T4" fmla="*/ 53 w 227"/>
                <a:gd name="T5" fmla="*/ 447 h 450"/>
                <a:gd name="T6" fmla="*/ 77 w 227"/>
                <a:gd name="T7" fmla="*/ 447 h 450"/>
                <a:gd name="T8" fmla="*/ 86 w 227"/>
                <a:gd name="T9" fmla="*/ 441 h 450"/>
                <a:gd name="T10" fmla="*/ 215 w 227"/>
                <a:gd name="T11" fmla="*/ 45 h 450"/>
                <a:gd name="T12" fmla="*/ 209 w 227"/>
                <a:gd name="T13" fmla="*/ 63 h 450"/>
                <a:gd name="T14" fmla="*/ 191 w 227"/>
                <a:gd name="T15" fmla="*/ 69 h 450"/>
                <a:gd name="T16" fmla="*/ 170 w 227"/>
                <a:gd name="T17" fmla="*/ 66 h 450"/>
                <a:gd name="T18" fmla="*/ 182 w 227"/>
                <a:gd name="T19" fmla="*/ 42 h 450"/>
                <a:gd name="T20" fmla="*/ 149 w 227"/>
                <a:gd name="T21" fmla="*/ 27 h 450"/>
                <a:gd name="T22" fmla="*/ 122 w 227"/>
                <a:gd name="T23" fmla="*/ 3 h 450"/>
                <a:gd name="T24" fmla="*/ 104 w 227"/>
                <a:gd name="T25" fmla="*/ 9 h 450"/>
                <a:gd name="T26" fmla="*/ 80 w 227"/>
                <a:gd name="T27" fmla="*/ 3 h 450"/>
                <a:gd name="T28" fmla="*/ 71 w 227"/>
                <a:gd name="T29" fmla="*/ 24 h 450"/>
                <a:gd name="T30" fmla="*/ 56 w 227"/>
                <a:gd name="T31" fmla="*/ 42 h 450"/>
                <a:gd name="T32" fmla="*/ 59 w 227"/>
                <a:gd name="T33" fmla="*/ 63 h 450"/>
                <a:gd name="T34" fmla="*/ 47 w 227"/>
                <a:gd name="T35" fmla="*/ 78 h 450"/>
                <a:gd name="T36" fmla="*/ 38 w 227"/>
                <a:gd name="T37" fmla="*/ 93 h 450"/>
                <a:gd name="T38" fmla="*/ 35 w 227"/>
                <a:gd name="T39" fmla="*/ 114 h 450"/>
                <a:gd name="T40" fmla="*/ 38 w 227"/>
                <a:gd name="T41" fmla="*/ 138 h 450"/>
                <a:gd name="T42" fmla="*/ 38 w 227"/>
                <a:gd name="T43" fmla="*/ 156 h 450"/>
                <a:gd name="T44" fmla="*/ 35 w 227"/>
                <a:gd name="T45" fmla="*/ 180 h 450"/>
                <a:gd name="T46" fmla="*/ 26 w 227"/>
                <a:gd name="T47" fmla="*/ 204 h 450"/>
                <a:gd name="T48" fmla="*/ 23 w 227"/>
                <a:gd name="T49" fmla="*/ 216 h 450"/>
                <a:gd name="T50" fmla="*/ 20 w 227"/>
                <a:gd name="T51" fmla="*/ 231 h 450"/>
                <a:gd name="T52" fmla="*/ 17 w 227"/>
                <a:gd name="T53" fmla="*/ 246 h 450"/>
                <a:gd name="T54" fmla="*/ 17 w 227"/>
                <a:gd name="T55" fmla="*/ 270 h 450"/>
                <a:gd name="T56" fmla="*/ 20 w 227"/>
                <a:gd name="T57" fmla="*/ 285 h 450"/>
                <a:gd name="T58" fmla="*/ 23 w 227"/>
                <a:gd name="T59" fmla="*/ 294 h 450"/>
                <a:gd name="T60" fmla="*/ 20 w 227"/>
                <a:gd name="T61" fmla="*/ 303 h 450"/>
                <a:gd name="T62" fmla="*/ 20 w 227"/>
                <a:gd name="T63" fmla="*/ 321 h 450"/>
                <a:gd name="T64" fmla="*/ 11 w 227"/>
                <a:gd name="T65" fmla="*/ 336 h 450"/>
                <a:gd name="T66" fmla="*/ 8 w 227"/>
                <a:gd name="T67" fmla="*/ 354 h 450"/>
                <a:gd name="T68" fmla="*/ 2 w 227"/>
                <a:gd name="T69" fmla="*/ 372 h 450"/>
                <a:gd name="T70" fmla="*/ 14 w 227"/>
                <a:gd name="T71" fmla="*/ 384 h 450"/>
                <a:gd name="T72" fmla="*/ 20 w 227"/>
                <a:gd name="T73" fmla="*/ 399 h 450"/>
                <a:gd name="T74" fmla="*/ 44 w 227"/>
                <a:gd name="T75" fmla="*/ 402 h 450"/>
                <a:gd name="T76" fmla="*/ 50 w 227"/>
                <a:gd name="T77" fmla="*/ 393 h 450"/>
                <a:gd name="T78" fmla="*/ 50 w 227"/>
                <a:gd name="T79" fmla="*/ 375 h 450"/>
                <a:gd name="T80" fmla="*/ 65 w 227"/>
                <a:gd name="T81" fmla="*/ 363 h 450"/>
                <a:gd name="T82" fmla="*/ 86 w 227"/>
                <a:gd name="T83" fmla="*/ 339 h 450"/>
                <a:gd name="T84" fmla="*/ 77 w 227"/>
                <a:gd name="T85" fmla="*/ 324 h 450"/>
                <a:gd name="T86" fmla="*/ 86 w 227"/>
                <a:gd name="T87" fmla="*/ 297 h 450"/>
                <a:gd name="T88" fmla="*/ 92 w 227"/>
                <a:gd name="T89" fmla="*/ 285 h 450"/>
                <a:gd name="T90" fmla="*/ 101 w 227"/>
                <a:gd name="T91" fmla="*/ 270 h 450"/>
                <a:gd name="T92" fmla="*/ 107 w 227"/>
                <a:gd name="T93" fmla="*/ 267 h 450"/>
                <a:gd name="T94" fmla="*/ 104 w 227"/>
                <a:gd name="T95" fmla="*/ 261 h 450"/>
                <a:gd name="T96" fmla="*/ 95 w 227"/>
                <a:gd name="T97" fmla="*/ 249 h 450"/>
                <a:gd name="T98" fmla="*/ 113 w 227"/>
                <a:gd name="T99" fmla="*/ 243 h 450"/>
                <a:gd name="T100" fmla="*/ 128 w 227"/>
                <a:gd name="T101" fmla="*/ 228 h 450"/>
                <a:gd name="T102" fmla="*/ 131 w 227"/>
                <a:gd name="T103" fmla="*/ 213 h 450"/>
                <a:gd name="T104" fmla="*/ 182 w 227"/>
                <a:gd name="T105" fmla="*/ 201 h 450"/>
                <a:gd name="T106" fmla="*/ 188 w 227"/>
                <a:gd name="T107" fmla="*/ 180 h 450"/>
                <a:gd name="T108" fmla="*/ 179 w 227"/>
                <a:gd name="T109" fmla="*/ 162 h 450"/>
                <a:gd name="T110" fmla="*/ 173 w 227"/>
                <a:gd name="T111" fmla="*/ 156 h 450"/>
                <a:gd name="T112" fmla="*/ 173 w 227"/>
                <a:gd name="T113" fmla="*/ 144 h 450"/>
                <a:gd name="T114" fmla="*/ 179 w 227"/>
                <a:gd name="T115" fmla="*/ 108 h 450"/>
                <a:gd name="T116" fmla="*/ 212 w 227"/>
                <a:gd name="T117" fmla="*/ 69 h 450"/>
                <a:gd name="T118" fmla="*/ 224 w 227"/>
                <a:gd name="T119" fmla="*/ 4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450">
                  <a:moveTo>
                    <a:pt x="86" y="441"/>
                  </a:moveTo>
                  <a:cubicBezTo>
                    <a:pt x="80" y="441"/>
                    <a:pt x="65" y="429"/>
                    <a:pt x="62" y="426"/>
                  </a:cubicBezTo>
                  <a:cubicBezTo>
                    <a:pt x="59" y="423"/>
                    <a:pt x="62" y="420"/>
                    <a:pt x="56" y="420"/>
                  </a:cubicBezTo>
                  <a:cubicBezTo>
                    <a:pt x="53" y="420"/>
                    <a:pt x="56" y="417"/>
                    <a:pt x="59" y="417"/>
                  </a:cubicBezTo>
                  <a:cubicBezTo>
                    <a:pt x="59" y="414"/>
                    <a:pt x="56" y="411"/>
                    <a:pt x="53" y="408"/>
                  </a:cubicBezTo>
                  <a:cubicBezTo>
                    <a:pt x="53" y="417"/>
                    <a:pt x="53" y="447"/>
                    <a:pt x="53" y="447"/>
                  </a:cubicBezTo>
                  <a:cubicBezTo>
                    <a:pt x="56" y="447"/>
                    <a:pt x="68" y="444"/>
                    <a:pt x="74" y="447"/>
                  </a:cubicBezTo>
                  <a:cubicBezTo>
                    <a:pt x="74" y="447"/>
                    <a:pt x="77" y="450"/>
                    <a:pt x="77" y="447"/>
                  </a:cubicBezTo>
                  <a:cubicBezTo>
                    <a:pt x="80" y="444"/>
                    <a:pt x="89" y="447"/>
                    <a:pt x="92" y="444"/>
                  </a:cubicBezTo>
                  <a:cubicBezTo>
                    <a:pt x="95" y="441"/>
                    <a:pt x="92" y="441"/>
                    <a:pt x="86" y="441"/>
                  </a:cubicBezTo>
                  <a:close/>
                  <a:moveTo>
                    <a:pt x="224" y="45"/>
                  </a:moveTo>
                  <a:cubicBezTo>
                    <a:pt x="221" y="45"/>
                    <a:pt x="218" y="45"/>
                    <a:pt x="215" y="45"/>
                  </a:cubicBezTo>
                  <a:cubicBezTo>
                    <a:pt x="215" y="45"/>
                    <a:pt x="215" y="45"/>
                    <a:pt x="215" y="45"/>
                  </a:cubicBezTo>
                  <a:cubicBezTo>
                    <a:pt x="218" y="51"/>
                    <a:pt x="215" y="63"/>
                    <a:pt x="209" y="63"/>
                  </a:cubicBezTo>
                  <a:cubicBezTo>
                    <a:pt x="206" y="63"/>
                    <a:pt x="203" y="69"/>
                    <a:pt x="200" y="66"/>
                  </a:cubicBezTo>
                  <a:cubicBezTo>
                    <a:pt x="200" y="66"/>
                    <a:pt x="194" y="72"/>
                    <a:pt x="191" y="69"/>
                  </a:cubicBezTo>
                  <a:cubicBezTo>
                    <a:pt x="188" y="66"/>
                    <a:pt x="185" y="69"/>
                    <a:pt x="182" y="69"/>
                  </a:cubicBezTo>
                  <a:cubicBezTo>
                    <a:pt x="179" y="66"/>
                    <a:pt x="170" y="69"/>
                    <a:pt x="170" y="66"/>
                  </a:cubicBezTo>
                  <a:cubicBezTo>
                    <a:pt x="170" y="63"/>
                    <a:pt x="173" y="63"/>
                    <a:pt x="173" y="57"/>
                  </a:cubicBezTo>
                  <a:cubicBezTo>
                    <a:pt x="173" y="51"/>
                    <a:pt x="185" y="45"/>
                    <a:pt x="182" y="42"/>
                  </a:cubicBezTo>
                  <a:cubicBezTo>
                    <a:pt x="182" y="42"/>
                    <a:pt x="164" y="36"/>
                    <a:pt x="161" y="33"/>
                  </a:cubicBezTo>
                  <a:cubicBezTo>
                    <a:pt x="161" y="30"/>
                    <a:pt x="155" y="27"/>
                    <a:pt x="149" y="27"/>
                  </a:cubicBezTo>
                  <a:cubicBezTo>
                    <a:pt x="143" y="27"/>
                    <a:pt x="143" y="21"/>
                    <a:pt x="137" y="18"/>
                  </a:cubicBezTo>
                  <a:cubicBezTo>
                    <a:pt x="131" y="15"/>
                    <a:pt x="125" y="6"/>
                    <a:pt x="122" y="3"/>
                  </a:cubicBezTo>
                  <a:cubicBezTo>
                    <a:pt x="116" y="3"/>
                    <a:pt x="110" y="0"/>
                    <a:pt x="110" y="3"/>
                  </a:cubicBezTo>
                  <a:cubicBezTo>
                    <a:pt x="107" y="6"/>
                    <a:pt x="107" y="15"/>
                    <a:pt x="104" y="9"/>
                  </a:cubicBezTo>
                  <a:cubicBezTo>
                    <a:pt x="101" y="6"/>
                    <a:pt x="95" y="6"/>
                    <a:pt x="89" y="3"/>
                  </a:cubicBezTo>
                  <a:cubicBezTo>
                    <a:pt x="86" y="3"/>
                    <a:pt x="86" y="0"/>
                    <a:pt x="80" y="3"/>
                  </a:cubicBezTo>
                  <a:cubicBezTo>
                    <a:pt x="77" y="6"/>
                    <a:pt x="74" y="9"/>
                    <a:pt x="71" y="12"/>
                  </a:cubicBezTo>
                  <a:cubicBezTo>
                    <a:pt x="71" y="15"/>
                    <a:pt x="71" y="21"/>
                    <a:pt x="71" y="24"/>
                  </a:cubicBezTo>
                  <a:cubicBezTo>
                    <a:pt x="68" y="27"/>
                    <a:pt x="56" y="33"/>
                    <a:pt x="56" y="33"/>
                  </a:cubicBezTo>
                  <a:cubicBezTo>
                    <a:pt x="56" y="36"/>
                    <a:pt x="59" y="42"/>
                    <a:pt x="56" y="42"/>
                  </a:cubicBezTo>
                  <a:cubicBezTo>
                    <a:pt x="53" y="45"/>
                    <a:pt x="62" y="54"/>
                    <a:pt x="56" y="54"/>
                  </a:cubicBezTo>
                  <a:cubicBezTo>
                    <a:pt x="53" y="57"/>
                    <a:pt x="59" y="60"/>
                    <a:pt x="59" y="63"/>
                  </a:cubicBezTo>
                  <a:cubicBezTo>
                    <a:pt x="56" y="63"/>
                    <a:pt x="50" y="66"/>
                    <a:pt x="50" y="69"/>
                  </a:cubicBezTo>
                  <a:cubicBezTo>
                    <a:pt x="50" y="69"/>
                    <a:pt x="50" y="75"/>
                    <a:pt x="47" y="78"/>
                  </a:cubicBezTo>
                  <a:cubicBezTo>
                    <a:pt x="44" y="78"/>
                    <a:pt x="41" y="84"/>
                    <a:pt x="41" y="87"/>
                  </a:cubicBezTo>
                  <a:cubicBezTo>
                    <a:pt x="41" y="90"/>
                    <a:pt x="38" y="87"/>
                    <a:pt x="38" y="93"/>
                  </a:cubicBezTo>
                  <a:cubicBezTo>
                    <a:pt x="41" y="99"/>
                    <a:pt x="44" y="105"/>
                    <a:pt x="38" y="105"/>
                  </a:cubicBezTo>
                  <a:cubicBezTo>
                    <a:pt x="35" y="105"/>
                    <a:pt x="38" y="114"/>
                    <a:pt x="35" y="114"/>
                  </a:cubicBezTo>
                  <a:cubicBezTo>
                    <a:pt x="32" y="114"/>
                    <a:pt x="32" y="123"/>
                    <a:pt x="35" y="126"/>
                  </a:cubicBezTo>
                  <a:cubicBezTo>
                    <a:pt x="38" y="129"/>
                    <a:pt x="38" y="132"/>
                    <a:pt x="38" y="138"/>
                  </a:cubicBezTo>
                  <a:cubicBezTo>
                    <a:pt x="38" y="141"/>
                    <a:pt x="41" y="144"/>
                    <a:pt x="41" y="147"/>
                  </a:cubicBezTo>
                  <a:cubicBezTo>
                    <a:pt x="41" y="150"/>
                    <a:pt x="41" y="153"/>
                    <a:pt x="38" y="156"/>
                  </a:cubicBezTo>
                  <a:cubicBezTo>
                    <a:pt x="35" y="159"/>
                    <a:pt x="38" y="162"/>
                    <a:pt x="35" y="165"/>
                  </a:cubicBezTo>
                  <a:cubicBezTo>
                    <a:pt x="32" y="165"/>
                    <a:pt x="38" y="177"/>
                    <a:pt x="35" y="180"/>
                  </a:cubicBezTo>
                  <a:cubicBezTo>
                    <a:pt x="32" y="180"/>
                    <a:pt x="26" y="183"/>
                    <a:pt x="26" y="189"/>
                  </a:cubicBezTo>
                  <a:cubicBezTo>
                    <a:pt x="26" y="198"/>
                    <a:pt x="26" y="201"/>
                    <a:pt x="26" y="204"/>
                  </a:cubicBezTo>
                  <a:cubicBezTo>
                    <a:pt x="26" y="207"/>
                    <a:pt x="29" y="207"/>
                    <a:pt x="29" y="210"/>
                  </a:cubicBezTo>
                  <a:cubicBezTo>
                    <a:pt x="29" y="216"/>
                    <a:pt x="23" y="213"/>
                    <a:pt x="23" y="216"/>
                  </a:cubicBezTo>
                  <a:cubicBezTo>
                    <a:pt x="23" y="219"/>
                    <a:pt x="23" y="225"/>
                    <a:pt x="23" y="225"/>
                  </a:cubicBezTo>
                  <a:cubicBezTo>
                    <a:pt x="20" y="225"/>
                    <a:pt x="20" y="225"/>
                    <a:pt x="20" y="231"/>
                  </a:cubicBezTo>
                  <a:cubicBezTo>
                    <a:pt x="20" y="237"/>
                    <a:pt x="17" y="237"/>
                    <a:pt x="17" y="240"/>
                  </a:cubicBezTo>
                  <a:cubicBezTo>
                    <a:pt x="17" y="240"/>
                    <a:pt x="17" y="243"/>
                    <a:pt x="17" y="246"/>
                  </a:cubicBezTo>
                  <a:cubicBezTo>
                    <a:pt x="17" y="249"/>
                    <a:pt x="20" y="258"/>
                    <a:pt x="17" y="258"/>
                  </a:cubicBezTo>
                  <a:cubicBezTo>
                    <a:pt x="14" y="258"/>
                    <a:pt x="14" y="270"/>
                    <a:pt x="17" y="270"/>
                  </a:cubicBezTo>
                  <a:cubicBezTo>
                    <a:pt x="17" y="273"/>
                    <a:pt x="17" y="276"/>
                    <a:pt x="17" y="276"/>
                  </a:cubicBezTo>
                  <a:cubicBezTo>
                    <a:pt x="17" y="279"/>
                    <a:pt x="23" y="282"/>
                    <a:pt x="20" y="285"/>
                  </a:cubicBezTo>
                  <a:cubicBezTo>
                    <a:pt x="17" y="288"/>
                    <a:pt x="17" y="291"/>
                    <a:pt x="23" y="291"/>
                  </a:cubicBezTo>
                  <a:cubicBezTo>
                    <a:pt x="26" y="288"/>
                    <a:pt x="29" y="294"/>
                    <a:pt x="23" y="294"/>
                  </a:cubicBezTo>
                  <a:cubicBezTo>
                    <a:pt x="20" y="294"/>
                    <a:pt x="17" y="294"/>
                    <a:pt x="20" y="297"/>
                  </a:cubicBezTo>
                  <a:cubicBezTo>
                    <a:pt x="23" y="300"/>
                    <a:pt x="26" y="303"/>
                    <a:pt x="20" y="303"/>
                  </a:cubicBezTo>
                  <a:cubicBezTo>
                    <a:pt x="17" y="306"/>
                    <a:pt x="20" y="309"/>
                    <a:pt x="20" y="312"/>
                  </a:cubicBezTo>
                  <a:cubicBezTo>
                    <a:pt x="17" y="318"/>
                    <a:pt x="23" y="321"/>
                    <a:pt x="20" y="321"/>
                  </a:cubicBezTo>
                  <a:cubicBezTo>
                    <a:pt x="17" y="324"/>
                    <a:pt x="20" y="330"/>
                    <a:pt x="17" y="330"/>
                  </a:cubicBezTo>
                  <a:cubicBezTo>
                    <a:pt x="11" y="330"/>
                    <a:pt x="14" y="336"/>
                    <a:pt x="11" y="336"/>
                  </a:cubicBezTo>
                  <a:cubicBezTo>
                    <a:pt x="8" y="339"/>
                    <a:pt x="14" y="345"/>
                    <a:pt x="11" y="345"/>
                  </a:cubicBezTo>
                  <a:cubicBezTo>
                    <a:pt x="8" y="348"/>
                    <a:pt x="11" y="354"/>
                    <a:pt x="8" y="354"/>
                  </a:cubicBezTo>
                  <a:cubicBezTo>
                    <a:pt x="2" y="354"/>
                    <a:pt x="2" y="360"/>
                    <a:pt x="0" y="360"/>
                  </a:cubicBezTo>
                  <a:cubicBezTo>
                    <a:pt x="0" y="363"/>
                    <a:pt x="0" y="369"/>
                    <a:pt x="2" y="372"/>
                  </a:cubicBezTo>
                  <a:cubicBezTo>
                    <a:pt x="5" y="375"/>
                    <a:pt x="0" y="378"/>
                    <a:pt x="2" y="378"/>
                  </a:cubicBezTo>
                  <a:cubicBezTo>
                    <a:pt x="5" y="381"/>
                    <a:pt x="14" y="378"/>
                    <a:pt x="14" y="384"/>
                  </a:cubicBezTo>
                  <a:cubicBezTo>
                    <a:pt x="11" y="387"/>
                    <a:pt x="11" y="396"/>
                    <a:pt x="14" y="396"/>
                  </a:cubicBezTo>
                  <a:cubicBezTo>
                    <a:pt x="17" y="396"/>
                    <a:pt x="17" y="402"/>
                    <a:pt x="20" y="399"/>
                  </a:cubicBezTo>
                  <a:cubicBezTo>
                    <a:pt x="23" y="399"/>
                    <a:pt x="35" y="399"/>
                    <a:pt x="38" y="399"/>
                  </a:cubicBezTo>
                  <a:cubicBezTo>
                    <a:pt x="41" y="402"/>
                    <a:pt x="44" y="402"/>
                    <a:pt x="44" y="402"/>
                  </a:cubicBezTo>
                  <a:cubicBezTo>
                    <a:pt x="47" y="402"/>
                    <a:pt x="56" y="405"/>
                    <a:pt x="56" y="405"/>
                  </a:cubicBezTo>
                  <a:cubicBezTo>
                    <a:pt x="59" y="402"/>
                    <a:pt x="50" y="396"/>
                    <a:pt x="50" y="393"/>
                  </a:cubicBezTo>
                  <a:cubicBezTo>
                    <a:pt x="50" y="387"/>
                    <a:pt x="50" y="387"/>
                    <a:pt x="50" y="387"/>
                  </a:cubicBezTo>
                  <a:cubicBezTo>
                    <a:pt x="50" y="384"/>
                    <a:pt x="47" y="378"/>
                    <a:pt x="50" y="375"/>
                  </a:cubicBezTo>
                  <a:cubicBezTo>
                    <a:pt x="56" y="372"/>
                    <a:pt x="56" y="369"/>
                    <a:pt x="56" y="372"/>
                  </a:cubicBezTo>
                  <a:cubicBezTo>
                    <a:pt x="59" y="372"/>
                    <a:pt x="65" y="369"/>
                    <a:pt x="65" y="363"/>
                  </a:cubicBezTo>
                  <a:cubicBezTo>
                    <a:pt x="65" y="357"/>
                    <a:pt x="68" y="354"/>
                    <a:pt x="71" y="351"/>
                  </a:cubicBezTo>
                  <a:cubicBezTo>
                    <a:pt x="77" y="345"/>
                    <a:pt x="86" y="342"/>
                    <a:pt x="86" y="339"/>
                  </a:cubicBezTo>
                  <a:cubicBezTo>
                    <a:pt x="83" y="336"/>
                    <a:pt x="86" y="330"/>
                    <a:pt x="86" y="327"/>
                  </a:cubicBezTo>
                  <a:cubicBezTo>
                    <a:pt x="86" y="327"/>
                    <a:pt x="80" y="327"/>
                    <a:pt x="77" y="324"/>
                  </a:cubicBezTo>
                  <a:cubicBezTo>
                    <a:pt x="74" y="324"/>
                    <a:pt x="62" y="318"/>
                    <a:pt x="68" y="309"/>
                  </a:cubicBezTo>
                  <a:cubicBezTo>
                    <a:pt x="74" y="300"/>
                    <a:pt x="83" y="297"/>
                    <a:pt x="86" y="297"/>
                  </a:cubicBezTo>
                  <a:cubicBezTo>
                    <a:pt x="89" y="297"/>
                    <a:pt x="86" y="294"/>
                    <a:pt x="89" y="291"/>
                  </a:cubicBezTo>
                  <a:cubicBezTo>
                    <a:pt x="92" y="291"/>
                    <a:pt x="92" y="288"/>
                    <a:pt x="92" y="285"/>
                  </a:cubicBezTo>
                  <a:cubicBezTo>
                    <a:pt x="92" y="279"/>
                    <a:pt x="92" y="273"/>
                    <a:pt x="98" y="273"/>
                  </a:cubicBezTo>
                  <a:cubicBezTo>
                    <a:pt x="101" y="273"/>
                    <a:pt x="104" y="270"/>
                    <a:pt x="101" y="270"/>
                  </a:cubicBezTo>
                  <a:cubicBezTo>
                    <a:pt x="98" y="267"/>
                    <a:pt x="95" y="264"/>
                    <a:pt x="101" y="264"/>
                  </a:cubicBezTo>
                  <a:cubicBezTo>
                    <a:pt x="104" y="264"/>
                    <a:pt x="104" y="267"/>
                    <a:pt x="107" y="267"/>
                  </a:cubicBezTo>
                  <a:cubicBezTo>
                    <a:pt x="110" y="267"/>
                    <a:pt x="116" y="261"/>
                    <a:pt x="110" y="258"/>
                  </a:cubicBezTo>
                  <a:cubicBezTo>
                    <a:pt x="107" y="255"/>
                    <a:pt x="107" y="261"/>
                    <a:pt x="104" y="261"/>
                  </a:cubicBezTo>
                  <a:cubicBezTo>
                    <a:pt x="101" y="261"/>
                    <a:pt x="101" y="258"/>
                    <a:pt x="98" y="258"/>
                  </a:cubicBezTo>
                  <a:cubicBezTo>
                    <a:pt x="95" y="258"/>
                    <a:pt x="98" y="252"/>
                    <a:pt x="95" y="249"/>
                  </a:cubicBezTo>
                  <a:cubicBezTo>
                    <a:pt x="95" y="246"/>
                    <a:pt x="92" y="243"/>
                    <a:pt x="95" y="240"/>
                  </a:cubicBezTo>
                  <a:cubicBezTo>
                    <a:pt x="98" y="237"/>
                    <a:pt x="107" y="243"/>
                    <a:pt x="113" y="243"/>
                  </a:cubicBezTo>
                  <a:cubicBezTo>
                    <a:pt x="122" y="243"/>
                    <a:pt x="125" y="240"/>
                    <a:pt x="125" y="237"/>
                  </a:cubicBezTo>
                  <a:cubicBezTo>
                    <a:pt x="125" y="234"/>
                    <a:pt x="122" y="231"/>
                    <a:pt x="128" y="228"/>
                  </a:cubicBezTo>
                  <a:cubicBezTo>
                    <a:pt x="131" y="225"/>
                    <a:pt x="128" y="222"/>
                    <a:pt x="128" y="219"/>
                  </a:cubicBezTo>
                  <a:cubicBezTo>
                    <a:pt x="125" y="216"/>
                    <a:pt x="128" y="213"/>
                    <a:pt x="131" y="213"/>
                  </a:cubicBezTo>
                  <a:cubicBezTo>
                    <a:pt x="134" y="216"/>
                    <a:pt x="146" y="216"/>
                    <a:pt x="161" y="213"/>
                  </a:cubicBezTo>
                  <a:cubicBezTo>
                    <a:pt x="173" y="210"/>
                    <a:pt x="179" y="204"/>
                    <a:pt x="182" y="201"/>
                  </a:cubicBezTo>
                  <a:cubicBezTo>
                    <a:pt x="182" y="198"/>
                    <a:pt x="191" y="189"/>
                    <a:pt x="191" y="186"/>
                  </a:cubicBezTo>
                  <a:cubicBezTo>
                    <a:pt x="194" y="183"/>
                    <a:pt x="191" y="180"/>
                    <a:pt x="188" y="180"/>
                  </a:cubicBezTo>
                  <a:cubicBezTo>
                    <a:pt x="182" y="180"/>
                    <a:pt x="182" y="174"/>
                    <a:pt x="185" y="171"/>
                  </a:cubicBezTo>
                  <a:cubicBezTo>
                    <a:pt x="188" y="168"/>
                    <a:pt x="182" y="165"/>
                    <a:pt x="179" y="162"/>
                  </a:cubicBezTo>
                  <a:cubicBezTo>
                    <a:pt x="173" y="162"/>
                    <a:pt x="167" y="159"/>
                    <a:pt x="170" y="156"/>
                  </a:cubicBezTo>
                  <a:cubicBezTo>
                    <a:pt x="173" y="153"/>
                    <a:pt x="173" y="153"/>
                    <a:pt x="173" y="156"/>
                  </a:cubicBezTo>
                  <a:cubicBezTo>
                    <a:pt x="176" y="153"/>
                    <a:pt x="176" y="150"/>
                    <a:pt x="176" y="150"/>
                  </a:cubicBezTo>
                  <a:cubicBezTo>
                    <a:pt x="173" y="150"/>
                    <a:pt x="173" y="150"/>
                    <a:pt x="173" y="144"/>
                  </a:cubicBezTo>
                  <a:cubicBezTo>
                    <a:pt x="173" y="135"/>
                    <a:pt x="176" y="138"/>
                    <a:pt x="176" y="129"/>
                  </a:cubicBezTo>
                  <a:cubicBezTo>
                    <a:pt x="176" y="120"/>
                    <a:pt x="179" y="114"/>
                    <a:pt x="179" y="108"/>
                  </a:cubicBezTo>
                  <a:cubicBezTo>
                    <a:pt x="179" y="105"/>
                    <a:pt x="188" y="99"/>
                    <a:pt x="191" y="90"/>
                  </a:cubicBezTo>
                  <a:cubicBezTo>
                    <a:pt x="197" y="84"/>
                    <a:pt x="206" y="72"/>
                    <a:pt x="212" y="69"/>
                  </a:cubicBezTo>
                  <a:cubicBezTo>
                    <a:pt x="215" y="69"/>
                    <a:pt x="224" y="66"/>
                    <a:pt x="224" y="63"/>
                  </a:cubicBezTo>
                  <a:cubicBezTo>
                    <a:pt x="227" y="60"/>
                    <a:pt x="224" y="48"/>
                    <a:pt x="224"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59" name="Freeform 854"/>
            <p:cNvSpPr>
              <a:spLocks noEditPoints="1"/>
            </p:cNvSpPr>
            <p:nvPr userDrawn="1"/>
          </p:nvSpPr>
          <p:spPr bwMode="auto">
            <a:xfrm>
              <a:off x="2177" y="-747"/>
              <a:ext cx="354" cy="702"/>
            </a:xfrm>
            <a:custGeom>
              <a:avLst/>
              <a:gdLst>
                <a:gd name="T0" fmla="*/ 62 w 227"/>
                <a:gd name="T1" fmla="*/ 426 h 450"/>
                <a:gd name="T2" fmla="*/ 59 w 227"/>
                <a:gd name="T3" fmla="*/ 417 h 450"/>
                <a:gd name="T4" fmla="*/ 53 w 227"/>
                <a:gd name="T5" fmla="*/ 447 h 450"/>
                <a:gd name="T6" fmla="*/ 77 w 227"/>
                <a:gd name="T7" fmla="*/ 447 h 450"/>
                <a:gd name="T8" fmla="*/ 86 w 227"/>
                <a:gd name="T9" fmla="*/ 441 h 450"/>
                <a:gd name="T10" fmla="*/ 215 w 227"/>
                <a:gd name="T11" fmla="*/ 45 h 450"/>
                <a:gd name="T12" fmla="*/ 209 w 227"/>
                <a:gd name="T13" fmla="*/ 63 h 450"/>
                <a:gd name="T14" fmla="*/ 191 w 227"/>
                <a:gd name="T15" fmla="*/ 69 h 450"/>
                <a:gd name="T16" fmla="*/ 170 w 227"/>
                <a:gd name="T17" fmla="*/ 66 h 450"/>
                <a:gd name="T18" fmla="*/ 182 w 227"/>
                <a:gd name="T19" fmla="*/ 42 h 450"/>
                <a:gd name="T20" fmla="*/ 149 w 227"/>
                <a:gd name="T21" fmla="*/ 27 h 450"/>
                <a:gd name="T22" fmla="*/ 122 w 227"/>
                <a:gd name="T23" fmla="*/ 3 h 450"/>
                <a:gd name="T24" fmla="*/ 104 w 227"/>
                <a:gd name="T25" fmla="*/ 9 h 450"/>
                <a:gd name="T26" fmla="*/ 80 w 227"/>
                <a:gd name="T27" fmla="*/ 3 h 450"/>
                <a:gd name="T28" fmla="*/ 71 w 227"/>
                <a:gd name="T29" fmla="*/ 24 h 450"/>
                <a:gd name="T30" fmla="*/ 56 w 227"/>
                <a:gd name="T31" fmla="*/ 42 h 450"/>
                <a:gd name="T32" fmla="*/ 59 w 227"/>
                <a:gd name="T33" fmla="*/ 63 h 450"/>
                <a:gd name="T34" fmla="*/ 47 w 227"/>
                <a:gd name="T35" fmla="*/ 78 h 450"/>
                <a:gd name="T36" fmla="*/ 38 w 227"/>
                <a:gd name="T37" fmla="*/ 93 h 450"/>
                <a:gd name="T38" fmla="*/ 35 w 227"/>
                <a:gd name="T39" fmla="*/ 114 h 450"/>
                <a:gd name="T40" fmla="*/ 38 w 227"/>
                <a:gd name="T41" fmla="*/ 138 h 450"/>
                <a:gd name="T42" fmla="*/ 38 w 227"/>
                <a:gd name="T43" fmla="*/ 156 h 450"/>
                <a:gd name="T44" fmla="*/ 35 w 227"/>
                <a:gd name="T45" fmla="*/ 180 h 450"/>
                <a:gd name="T46" fmla="*/ 26 w 227"/>
                <a:gd name="T47" fmla="*/ 204 h 450"/>
                <a:gd name="T48" fmla="*/ 23 w 227"/>
                <a:gd name="T49" fmla="*/ 216 h 450"/>
                <a:gd name="T50" fmla="*/ 20 w 227"/>
                <a:gd name="T51" fmla="*/ 231 h 450"/>
                <a:gd name="T52" fmla="*/ 17 w 227"/>
                <a:gd name="T53" fmla="*/ 246 h 450"/>
                <a:gd name="T54" fmla="*/ 17 w 227"/>
                <a:gd name="T55" fmla="*/ 270 h 450"/>
                <a:gd name="T56" fmla="*/ 20 w 227"/>
                <a:gd name="T57" fmla="*/ 285 h 450"/>
                <a:gd name="T58" fmla="*/ 23 w 227"/>
                <a:gd name="T59" fmla="*/ 294 h 450"/>
                <a:gd name="T60" fmla="*/ 20 w 227"/>
                <a:gd name="T61" fmla="*/ 303 h 450"/>
                <a:gd name="T62" fmla="*/ 20 w 227"/>
                <a:gd name="T63" fmla="*/ 321 h 450"/>
                <a:gd name="T64" fmla="*/ 11 w 227"/>
                <a:gd name="T65" fmla="*/ 336 h 450"/>
                <a:gd name="T66" fmla="*/ 8 w 227"/>
                <a:gd name="T67" fmla="*/ 354 h 450"/>
                <a:gd name="T68" fmla="*/ 2 w 227"/>
                <a:gd name="T69" fmla="*/ 372 h 450"/>
                <a:gd name="T70" fmla="*/ 14 w 227"/>
                <a:gd name="T71" fmla="*/ 384 h 450"/>
                <a:gd name="T72" fmla="*/ 20 w 227"/>
                <a:gd name="T73" fmla="*/ 399 h 450"/>
                <a:gd name="T74" fmla="*/ 44 w 227"/>
                <a:gd name="T75" fmla="*/ 402 h 450"/>
                <a:gd name="T76" fmla="*/ 50 w 227"/>
                <a:gd name="T77" fmla="*/ 393 h 450"/>
                <a:gd name="T78" fmla="*/ 50 w 227"/>
                <a:gd name="T79" fmla="*/ 375 h 450"/>
                <a:gd name="T80" fmla="*/ 65 w 227"/>
                <a:gd name="T81" fmla="*/ 363 h 450"/>
                <a:gd name="T82" fmla="*/ 86 w 227"/>
                <a:gd name="T83" fmla="*/ 339 h 450"/>
                <a:gd name="T84" fmla="*/ 77 w 227"/>
                <a:gd name="T85" fmla="*/ 324 h 450"/>
                <a:gd name="T86" fmla="*/ 86 w 227"/>
                <a:gd name="T87" fmla="*/ 297 h 450"/>
                <a:gd name="T88" fmla="*/ 92 w 227"/>
                <a:gd name="T89" fmla="*/ 285 h 450"/>
                <a:gd name="T90" fmla="*/ 101 w 227"/>
                <a:gd name="T91" fmla="*/ 270 h 450"/>
                <a:gd name="T92" fmla="*/ 107 w 227"/>
                <a:gd name="T93" fmla="*/ 267 h 450"/>
                <a:gd name="T94" fmla="*/ 104 w 227"/>
                <a:gd name="T95" fmla="*/ 261 h 450"/>
                <a:gd name="T96" fmla="*/ 95 w 227"/>
                <a:gd name="T97" fmla="*/ 249 h 450"/>
                <a:gd name="T98" fmla="*/ 113 w 227"/>
                <a:gd name="T99" fmla="*/ 243 h 450"/>
                <a:gd name="T100" fmla="*/ 128 w 227"/>
                <a:gd name="T101" fmla="*/ 228 h 450"/>
                <a:gd name="T102" fmla="*/ 131 w 227"/>
                <a:gd name="T103" fmla="*/ 213 h 450"/>
                <a:gd name="T104" fmla="*/ 182 w 227"/>
                <a:gd name="T105" fmla="*/ 201 h 450"/>
                <a:gd name="T106" fmla="*/ 188 w 227"/>
                <a:gd name="T107" fmla="*/ 180 h 450"/>
                <a:gd name="T108" fmla="*/ 179 w 227"/>
                <a:gd name="T109" fmla="*/ 162 h 450"/>
                <a:gd name="T110" fmla="*/ 173 w 227"/>
                <a:gd name="T111" fmla="*/ 156 h 450"/>
                <a:gd name="T112" fmla="*/ 173 w 227"/>
                <a:gd name="T113" fmla="*/ 144 h 450"/>
                <a:gd name="T114" fmla="*/ 179 w 227"/>
                <a:gd name="T115" fmla="*/ 108 h 450"/>
                <a:gd name="T116" fmla="*/ 212 w 227"/>
                <a:gd name="T117" fmla="*/ 69 h 450"/>
                <a:gd name="T118" fmla="*/ 224 w 227"/>
                <a:gd name="T119" fmla="*/ 4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 h="450">
                  <a:moveTo>
                    <a:pt x="86" y="441"/>
                  </a:moveTo>
                  <a:cubicBezTo>
                    <a:pt x="80" y="441"/>
                    <a:pt x="65" y="429"/>
                    <a:pt x="62" y="426"/>
                  </a:cubicBezTo>
                  <a:cubicBezTo>
                    <a:pt x="59" y="423"/>
                    <a:pt x="62" y="420"/>
                    <a:pt x="56" y="420"/>
                  </a:cubicBezTo>
                  <a:cubicBezTo>
                    <a:pt x="53" y="420"/>
                    <a:pt x="56" y="417"/>
                    <a:pt x="59" y="417"/>
                  </a:cubicBezTo>
                  <a:cubicBezTo>
                    <a:pt x="59" y="414"/>
                    <a:pt x="56" y="411"/>
                    <a:pt x="53" y="408"/>
                  </a:cubicBezTo>
                  <a:cubicBezTo>
                    <a:pt x="53" y="417"/>
                    <a:pt x="53" y="447"/>
                    <a:pt x="53" y="447"/>
                  </a:cubicBezTo>
                  <a:cubicBezTo>
                    <a:pt x="56" y="447"/>
                    <a:pt x="68" y="444"/>
                    <a:pt x="74" y="447"/>
                  </a:cubicBezTo>
                  <a:cubicBezTo>
                    <a:pt x="74" y="447"/>
                    <a:pt x="77" y="450"/>
                    <a:pt x="77" y="447"/>
                  </a:cubicBezTo>
                  <a:cubicBezTo>
                    <a:pt x="80" y="444"/>
                    <a:pt x="89" y="447"/>
                    <a:pt x="92" y="444"/>
                  </a:cubicBezTo>
                  <a:cubicBezTo>
                    <a:pt x="95" y="441"/>
                    <a:pt x="92" y="441"/>
                    <a:pt x="86" y="441"/>
                  </a:cubicBezTo>
                  <a:close/>
                  <a:moveTo>
                    <a:pt x="224" y="45"/>
                  </a:moveTo>
                  <a:cubicBezTo>
                    <a:pt x="221" y="45"/>
                    <a:pt x="218" y="45"/>
                    <a:pt x="215" y="45"/>
                  </a:cubicBezTo>
                  <a:cubicBezTo>
                    <a:pt x="215" y="45"/>
                    <a:pt x="215" y="45"/>
                    <a:pt x="215" y="45"/>
                  </a:cubicBezTo>
                  <a:cubicBezTo>
                    <a:pt x="218" y="51"/>
                    <a:pt x="215" y="63"/>
                    <a:pt x="209" y="63"/>
                  </a:cubicBezTo>
                  <a:cubicBezTo>
                    <a:pt x="206" y="63"/>
                    <a:pt x="203" y="69"/>
                    <a:pt x="200" y="66"/>
                  </a:cubicBezTo>
                  <a:cubicBezTo>
                    <a:pt x="200" y="66"/>
                    <a:pt x="194" y="72"/>
                    <a:pt x="191" y="69"/>
                  </a:cubicBezTo>
                  <a:cubicBezTo>
                    <a:pt x="188" y="66"/>
                    <a:pt x="185" y="69"/>
                    <a:pt x="182" y="69"/>
                  </a:cubicBezTo>
                  <a:cubicBezTo>
                    <a:pt x="179" y="66"/>
                    <a:pt x="170" y="69"/>
                    <a:pt x="170" y="66"/>
                  </a:cubicBezTo>
                  <a:cubicBezTo>
                    <a:pt x="170" y="63"/>
                    <a:pt x="173" y="63"/>
                    <a:pt x="173" y="57"/>
                  </a:cubicBezTo>
                  <a:cubicBezTo>
                    <a:pt x="173" y="51"/>
                    <a:pt x="185" y="45"/>
                    <a:pt x="182" y="42"/>
                  </a:cubicBezTo>
                  <a:cubicBezTo>
                    <a:pt x="182" y="42"/>
                    <a:pt x="164" y="36"/>
                    <a:pt x="161" y="33"/>
                  </a:cubicBezTo>
                  <a:cubicBezTo>
                    <a:pt x="161" y="30"/>
                    <a:pt x="155" y="27"/>
                    <a:pt x="149" y="27"/>
                  </a:cubicBezTo>
                  <a:cubicBezTo>
                    <a:pt x="143" y="27"/>
                    <a:pt x="143" y="21"/>
                    <a:pt x="137" y="18"/>
                  </a:cubicBezTo>
                  <a:cubicBezTo>
                    <a:pt x="131" y="15"/>
                    <a:pt x="125" y="6"/>
                    <a:pt x="122" y="3"/>
                  </a:cubicBezTo>
                  <a:cubicBezTo>
                    <a:pt x="116" y="3"/>
                    <a:pt x="110" y="0"/>
                    <a:pt x="110" y="3"/>
                  </a:cubicBezTo>
                  <a:cubicBezTo>
                    <a:pt x="107" y="6"/>
                    <a:pt x="107" y="15"/>
                    <a:pt x="104" y="9"/>
                  </a:cubicBezTo>
                  <a:cubicBezTo>
                    <a:pt x="101" y="6"/>
                    <a:pt x="95" y="6"/>
                    <a:pt x="89" y="3"/>
                  </a:cubicBezTo>
                  <a:cubicBezTo>
                    <a:pt x="86" y="3"/>
                    <a:pt x="86" y="0"/>
                    <a:pt x="80" y="3"/>
                  </a:cubicBezTo>
                  <a:cubicBezTo>
                    <a:pt x="77" y="6"/>
                    <a:pt x="74" y="9"/>
                    <a:pt x="71" y="12"/>
                  </a:cubicBezTo>
                  <a:cubicBezTo>
                    <a:pt x="71" y="15"/>
                    <a:pt x="71" y="21"/>
                    <a:pt x="71" y="24"/>
                  </a:cubicBezTo>
                  <a:cubicBezTo>
                    <a:pt x="68" y="27"/>
                    <a:pt x="56" y="33"/>
                    <a:pt x="56" y="33"/>
                  </a:cubicBezTo>
                  <a:cubicBezTo>
                    <a:pt x="56" y="36"/>
                    <a:pt x="59" y="42"/>
                    <a:pt x="56" y="42"/>
                  </a:cubicBezTo>
                  <a:cubicBezTo>
                    <a:pt x="53" y="45"/>
                    <a:pt x="62" y="54"/>
                    <a:pt x="56" y="54"/>
                  </a:cubicBezTo>
                  <a:cubicBezTo>
                    <a:pt x="53" y="57"/>
                    <a:pt x="59" y="60"/>
                    <a:pt x="59" y="63"/>
                  </a:cubicBezTo>
                  <a:cubicBezTo>
                    <a:pt x="56" y="63"/>
                    <a:pt x="50" y="66"/>
                    <a:pt x="50" y="69"/>
                  </a:cubicBezTo>
                  <a:cubicBezTo>
                    <a:pt x="50" y="69"/>
                    <a:pt x="50" y="75"/>
                    <a:pt x="47" y="78"/>
                  </a:cubicBezTo>
                  <a:cubicBezTo>
                    <a:pt x="44" y="78"/>
                    <a:pt x="41" y="84"/>
                    <a:pt x="41" y="87"/>
                  </a:cubicBezTo>
                  <a:cubicBezTo>
                    <a:pt x="41" y="90"/>
                    <a:pt x="38" y="87"/>
                    <a:pt x="38" y="93"/>
                  </a:cubicBezTo>
                  <a:cubicBezTo>
                    <a:pt x="41" y="99"/>
                    <a:pt x="44" y="105"/>
                    <a:pt x="38" y="105"/>
                  </a:cubicBezTo>
                  <a:cubicBezTo>
                    <a:pt x="35" y="105"/>
                    <a:pt x="38" y="114"/>
                    <a:pt x="35" y="114"/>
                  </a:cubicBezTo>
                  <a:cubicBezTo>
                    <a:pt x="32" y="114"/>
                    <a:pt x="32" y="123"/>
                    <a:pt x="35" y="126"/>
                  </a:cubicBezTo>
                  <a:cubicBezTo>
                    <a:pt x="38" y="129"/>
                    <a:pt x="38" y="132"/>
                    <a:pt x="38" y="138"/>
                  </a:cubicBezTo>
                  <a:cubicBezTo>
                    <a:pt x="38" y="141"/>
                    <a:pt x="41" y="144"/>
                    <a:pt x="41" y="147"/>
                  </a:cubicBezTo>
                  <a:cubicBezTo>
                    <a:pt x="41" y="150"/>
                    <a:pt x="41" y="153"/>
                    <a:pt x="38" y="156"/>
                  </a:cubicBezTo>
                  <a:cubicBezTo>
                    <a:pt x="35" y="159"/>
                    <a:pt x="38" y="162"/>
                    <a:pt x="35" y="165"/>
                  </a:cubicBezTo>
                  <a:cubicBezTo>
                    <a:pt x="32" y="165"/>
                    <a:pt x="38" y="177"/>
                    <a:pt x="35" y="180"/>
                  </a:cubicBezTo>
                  <a:cubicBezTo>
                    <a:pt x="32" y="180"/>
                    <a:pt x="26" y="183"/>
                    <a:pt x="26" y="189"/>
                  </a:cubicBezTo>
                  <a:cubicBezTo>
                    <a:pt x="26" y="198"/>
                    <a:pt x="26" y="201"/>
                    <a:pt x="26" y="204"/>
                  </a:cubicBezTo>
                  <a:cubicBezTo>
                    <a:pt x="26" y="207"/>
                    <a:pt x="29" y="207"/>
                    <a:pt x="29" y="210"/>
                  </a:cubicBezTo>
                  <a:cubicBezTo>
                    <a:pt x="29" y="216"/>
                    <a:pt x="23" y="213"/>
                    <a:pt x="23" y="216"/>
                  </a:cubicBezTo>
                  <a:cubicBezTo>
                    <a:pt x="23" y="219"/>
                    <a:pt x="23" y="225"/>
                    <a:pt x="23" y="225"/>
                  </a:cubicBezTo>
                  <a:cubicBezTo>
                    <a:pt x="20" y="225"/>
                    <a:pt x="20" y="225"/>
                    <a:pt x="20" y="231"/>
                  </a:cubicBezTo>
                  <a:cubicBezTo>
                    <a:pt x="20" y="237"/>
                    <a:pt x="17" y="237"/>
                    <a:pt x="17" y="240"/>
                  </a:cubicBezTo>
                  <a:cubicBezTo>
                    <a:pt x="17" y="240"/>
                    <a:pt x="17" y="243"/>
                    <a:pt x="17" y="246"/>
                  </a:cubicBezTo>
                  <a:cubicBezTo>
                    <a:pt x="17" y="249"/>
                    <a:pt x="20" y="258"/>
                    <a:pt x="17" y="258"/>
                  </a:cubicBezTo>
                  <a:cubicBezTo>
                    <a:pt x="14" y="258"/>
                    <a:pt x="14" y="270"/>
                    <a:pt x="17" y="270"/>
                  </a:cubicBezTo>
                  <a:cubicBezTo>
                    <a:pt x="17" y="273"/>
                    <a:pt x="17" y="276"/>
                    <a:pt x="17" y="276"/>
                  </a:cubicBezTo>
                  <a:cubicBezTo>
                    <a:pt x="17" y="279"/>
                    <a:pt x="23" y="282"/>
                    <a:pt x="20" y="285"/>
                  </a:cubicBezTo>
                  <a:cubicBezTo>
                    <a:pt x="17" y="288"/>
                    <a:pt x="17" y="291"/>
                    <a:pt x="23" y="291"/>
                  </a:cubicBezTo>
                  <a:cubicBezTo>
                    <a:pt x="26" y="288"/>
                    <a:pt x="29" y="294"/>
                    <a:pt x="23" y="294"/>
                  </a:cubicBezTo>
                  <a:cubicBezTo>
                    <a:pt x="20" y="294"/>
                    <a:pt x="17" y="294"/>
                    <a:pt x="20" y="297"/>
                  </a:cubicBezTo>
                  <a:cubicBezTo>
                    <a:pt x="23" y="300"/>
                    <a:pt x="26" y="303"/>
                    <a:pt x="20" y="303"/>
                  </a:cubicBezTo>
                  <a:cubicBezTo>
                    <a:pt x="17" y="306"/>
                    <a:pt x="20" y="309"/>
                    <a:pt x="20" y="312"/>
                  </a:cubicBezTo>
                  <a:cubicBezTo>
                    <a:pt x="17" y="318"/>
                    <a:pt x="23" y="321"/>
                    <a:pt x="20" y="321"/>
                  </a:cubicBezTo>
                  <a:cubicBezTo>
                    <a:pt x="17" y="324"/>
                    <a:pt x="20" y="330"/>
                    <a:pt x="17" y="330"/>
                  </a:cubicBezTo>
                  <a:cubicBezTo>
                    <a:pt x="11" y="330"/>
                    <a:pt x="14" y="336"/>
                    <a:pt x="11" y="336"/>
                  </a:cubicBezTo>
                  <a:cubicBezTo>
                    <a:pt x="8" y="339"/>
                    <a:pt x="14" y="345"/>
                    <a:pt x="11" y="345"/>
                  </a:cubicBezTo>
                  <a:cubicBezTo>
                    <a:pt x="8" y="348"/>
                    <a:pt x="11" y="354"/>
                    <a:pt x="8" y="354"/>
                  </a:cubicBezTo>
                  <a:cubicBezTo>
                    <a:pt x="2" y="354"/>
                    <a:pt x="2" y="360"/>
                    <a:pt x="0" y="360"/>
                  </a:cubicBezTo>
                  <a:cubicBezTo>
                    <a:pt x="0" y="363"/>
                    <a:pt x="0" y="369"/>
                    <a:pt x="2" y="372"/>
                  </a:cubicBezTo>
                  <a:cubicBezTo>
                    <a:pt x="5" y="375"/>
                    <a:pt x="0" y="378"/>
                    <a:pt x="2" y="378"/>
                  </a:cubicBezTo>
                  <a:cubicBezTo>
                    <a:pt x="5" y="381"/>
                    <a:pt x="14" y="378"/>
                    <a:pt x="14" y="384"/>
                  </a:cubicBezTo>
                  <a:cubicBezTo>
                    <a:pt x="11" y="387"/>
                    <a:pt x="11" y="396"/>
                    <a:pt x="14" y="396"/>
                  </a:cubicBezTo>
                  <a:cubicBezTo>
                    <a:pt x="17" y="396"/>
                    <a:pt x="17" y="402"/>
                    <a:pt x="20" y="399"/>
                  </a:cubicBezTo>
                  <a:cubicBezTo>
                    <a:pt x="23" y="399"/>
                    <a:pt x="35" y="399"/>
                    <a:pt x="38" y="399"/>
                  </a:cubicBezTo>
                  <a:cubicBezTo>
                    <a:pt x="41" y="402"/>
                    <a:pt x="44" y="402"/>
                    <a:pt x="44" y="402"/>
                  </a:cubicBezTo>
                  <a:cubicBezTo>
                    <a:pt x="47" y="402"/>
                    <a:pt x="56" y="405"/>
                    <a:pt x="56" y="405"/>
                  </a:cubicBezTo>
                  <a:cubicBezTo>
                    <a:pt x="59" y="402"/>
                    <a:pt x="50" y="396"/>
                    <a:pt x="50" y="393"/>
                  </a:cubicBezTo>
                  <a:cubicBezTo>
                    <a:pt x="50" y="387"/>
                    <a:pt x="50" y="387"/>
                    <a:pt x="50" y="387"/>
                  </a:cubicBezTo>
                  <a:cubicBezTo>
                    <a:pt x="50" y="384"/>
                    <a:pt x="47" y="378"/>
                    <a:pt x="50" y="375"/>
                  </a:cubicBezTo>
                  <a:cubicBezTo>
                    <a:pt x="56" y="372"/>
                    <a:pt x="56" y="369"/>
                    <a:pt x="56" y="372"/>
                  </a:cubicBezTo>
                  <a:cubicBezTo>
                    <a:pt x="59" y="372"/>
                    <a:pt x="65" y="369"/>
                    <a:pt x="65" y="363"/>
                  </a:cubicBezTo>
                  <a:cubicBezTo>
                    <a:pt x="65" y="357"/>
                    <a:pt x="68" y="354"/>
                    <a:pt x="71" y="351"/>
                  </a:cubicBezTo>
                  <a:cubicBezTo>
                    <a:pt x="77" y="345"/>
                    <a:pt x="86" y="342"/>
                    <a:pt x="86" y="339"/>
                  </a:cubicBezTo>
                  <a:cubicBezTo>
                    <a:pt x="83" y="336"/>
                    <a:pt x="86" y="330"/>
                    <a:pt x="86" y="327"/>
                  </a:cubicBezTo>
                  <a:cubicBezTo>
                    <a:pt x="86" y="327"/>
                    <a:pt x="80" y="327"/>
                    <a:pt x="77" y="324"/>
                  </a:cubicBezTo>
                  <a:cubicBezTo>
                    <a:pt x="74" y="324"/>
                    <a:pt x="62" y="318"/>
                    <a:pt x="68" y="309"/>
                  </a:cubicBezTo>
                  <a:cubicBezTo>
                    <a:pt x="74" y="300"/>
                    <a:pt x="83" y="297"/>
                    <a:pt x="86" y="297"/>
                  </a:cubicBezTo>
                  <a:cubicBezTo>
                    <a:pt x="89" y="297"/>
                    <a:pt x="86" y="294"/>
                    <a:pt x="89" y="291"/>
                  </a:cubicBezTo>
                  <a:cubicBezTo>
                    <a:pt x="92" y="291"/>
                    <a:pt x="92" y="288"/>
                    <a:pt x="92" y="285"/>
                  </a:cubicBezTo>
                  <a:cubicBezTo>
                    <a:pt x="92" y="279"/>
                    <a:pt x="92" y="273"/>
                    <a:pt x="98" y="273"/>
                  </a:cubicBezTo>
                  <a:cubicBezTo>
                    <a:pt x="101" y="273"/>
                    <a:pt x="104" y="270"/>
                    <a:pt x="101" y="270"/>
                  </a:cubicBezTo>
                  <a:cubicBezTo>
                    <a:pt x="98" y="267"/>
                    <a:pt x="95" y="264"/>
                    <a:pt x="101" y="264"/>
                  </a:cubicBezTo>
                  <a:cubicBezTo>
                    <a:pt x="104" y="264"/>
                    <a:pt x="104" y="267"/>
                    <a:pt x="107" y="267"/>
                  </a:cubicBezTo>
                  <a:cubicBezTo>
                    <a:pt x="110" y="267"/>
                    <a:pt x="116" y="261"/>
                    <a:pt x="110" y="258"/>
                  </a:cubicBezTo>
                  <a:cubicBezTo>
                    <a:pt x="107" y="255"/>
                    <a:pt x="107" y="261"/>
                    <a:pt x="104" y="261"/>
                  </a:cubicBezTo>
                  <a:cubicBezTo>
                    <a:pt x="101" y="261"/>
                    <a:pt x="101" y="258"/>
                    <a:pt x="98" y="258"/>
                  </a:cubicBezTo>
                  <a:cubicBezTo>
                    <a:pt x="95" y="258"/>
                    <a:pt x="98" y="252"/>
                    <a:pt x="95" y="249"/>
                  </a:cubicBezTo>
                  <a:cubicBezTo>
                    <a:pt x="95" y="246"/>
                    <a:pt x="92" y="243"/>
                    <a:pt x="95" y="240"/>
                  </a:cubicBezTo>
                  <a:cubicBezTo>
                    <a:pt x="98" y="237"/>
                    <a:pt x="107" y="243"/>
                    <a:pt x="113" y="243"/>
                  </a:cubicBezTo>
                  <a:cubicBezTo>
                    <a:pt x="122" y="243"/>
                    <a:pt x="125" y="240"/>
                    <a:pt x="125" y="237"/>
                  </a:cubicBezTo>
                  <a:cubicBezTo>
                    <a:pt x="125" y="234"/>
                    <a:pt x="122" y="231"/>
                    <a:pt x="128" y="228"/>
                  </a:cubicBezTo>
                  <a:cubicBezTo>
                    <a:pt x="131" y="225"/>
                    <a:pt x="128" y="222"/>
                    <a:pt x="128" y="219"/>
                  </a:cubicBezTo>
                  <a:cubicBezTo>
                    <a:pt x="125" y="216"/>
                    <a:pt x="128" y="213"/>
                    <a:pt x="131" y="213"/>
                  </a:cubicBezTo>
                  <a:cubicBezTo>
                    <a:pt x="134" y="216"/>
                    <a:pt x="146" y="216"/>
                    <a:pt x="161" y="213"/>
                  </a:cubicBezTo>
                  <a:cubicBezTo>
                    <a:pt x="173" y="210"/>
                    <a:pt x="179" y="204"/>
                    <a:pt x="182" y="201"/>
                  </a:cubicBezTo>
                  <a:cubicBezTo>
                    <a:pt x="182" y="198"/>
                    <a:pt x="191" y="189"/>
                    <a:pt x="191" y="186"/>
                  </a:cubicBezTo>
                  <a:cubicBezTo>
                    <a:pt x="194" y="183"/>
                    <a:pt x="191" y="180"/>
                    <a:pt x="188" y="180"/>
                  </a:cubicBezTo>
                  <a:cubicBezTo>
                    <a:pt x="182" y="180"/>
                    <a:pt x="182" y="174"/>
                    <a:pt x="185" y="171"/>
                  </a:cubicBezTo>
                  <a:cubicBezTo>
                    <a:pt x="188" y="168"/>
                    <a:pt x="182" y="165"/>
                    <a:pt x="179" y="162"/>
                  </a:cubicBezTo>
                  <a:cubicBezTo>
                    <a:pt x="173" y="162"/>
                    <a:pt x="167" y="159"/>
                    <a:pt x="170" y="156"/>
                  </a:cubicBezTo>
                  <a:cubicBezTo>
                    <a:pt x="173" y="153"/>
                    <a:pt x="173" y="153"/>
                    <a:pt x="173" y="156"/>
                  </a:cubicBezTo>
                  <a:cubicBezTo>
                    <a:pt x="176" y="153"/>
                    <a:pt x="176" y="150"/>
                    <a:pt x="176" y="150"/>
                  </a:cubicBezTo>
                  <a:cubicBezTo>
                    <a:pt x="173" y="150"/>
                    <a:pt x="173" y="150"/>
                    <a:pt x="173" y="144"/>
                  </a:cubicBezTo>
                  <a:cubicBezTo>
                    <a:pt x="173" y="135"/>
                    <a:pt x="176" y="138"/>
                    <a:pt x="176" y="129"/>
                  </a:cubicBezTo>
                  <a:cubicBezTo>
                    <a:pt x="176" y="120"/>
                    <a:pt x="179" y="114"/>
                    <a:pt x="179" y="108"/>
                  </a:cubicBezTo>
                  <a:cubicBezTo>
                    <a:pt x="179" y="105"/>
                    <a:pt x="188" y="99"/>
                    <a:pt x="191" y="90"/>
                  </a:cubicBezTo>
                  <a:cubicBezTo>
                    <a:pt x="197" y="84"/>
                    <a:pt x="206" y="72"/>
                    <a:pt x="212" y="69"/>
                  </a:cubicBezTo>
                  <a:cubicBezTo>
                    <a:pt x="215" y="69"/>
                    <a:pt x="224" y="66"/>
                    <a:pt x="224" y="63"/>
                  </a:cubicBezTo>
                  <a:cubicBezTo>
                    <a:pt x="227" y="60"/>
                    <a:pt x="224" y="48"/>
                    <a:pt x="224" y="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0" name="Freeform 855"/>
            <p:cNvSpPr>
              <a:spLocks/>
            </p:cNvSpPr>
            <p:nvPr userDrawn="1"/>
          </p:nvSpPr>
          <p:spPr bwMode="auto">
            <a:xfrm>
              <a:off x="2133" y="-827"/>
              <a:ext cx="159" cy="795"/>
            </a:xfrm>
            <a:custGeom>
              <a:avLst/>
              <a:gdLst>
                <a:gd name="T0" fmla="*/ 42 w 102"/>
                <a:gd name="T1" fmla="*/ 434 h 509"/>
                <a:gd name="T2" fmla="*/ 27 w 102"/>
                <a:gd name="T3" fmla="*/ 410 h 509"/>
                <a:gd name="T4" fmla="*/ 39 w 102"/>
                <a:gd name="T5" fmla="*/ 386 h 509"/>
                <a:gd name="T6" fmla="*/ 48 w 102"/>
                <a:gd name="T7" fmla="*/ 362 h 509"/>
                <a:gd name="T8" fmla="*/ 51 w 102"/>
                <a:gd name="T9" fmla="*/ 344 h 509"/>
                <a:gd name="T10" fmla="*/ 45 w 102"/>
                <a:gd name="T11" fmla="*/ 326 h 509"/>
                <a:gd name="T12" fmla="*/ 45 w 102"/>
                <a:gd name="T13" fmla="*/ 296 h 509"/>
                <a:gd name="T14" fmla="*/ 51 w 102"/>
                <a:gd name="T15" fmla="*/ 276 h 509"/>
                <a:gd name="T16" fmla="*/ 54 w 102"/>
                <a:gd name="T17" fmla="*/ 255 h 509"/>
                <a:gd name="T18" fmla="*/ 63 w 102"/>
                <a:gd name="T19" fmla="*/ 216 h 509"/>
                <a:gd name="T20" fmla="*/ 66 w 102"/>
                <a:gd name="T21" fmla="*/ 189 h 509"/>
                <a:gd name="T22" fmla="*/ 66 w 102"/>
                <a:gd name="T23" fmla="*/ 156 h 509"/>
                <a:gd name="T24" fmla="*/ 75 w 102"/>
                <a:gd name="T25" fmla="*/ 129 h 509"/>
                <a:gd name="T26" fmla="*/ 84 w 102"/>
                <a:gd name="T27" fmla="*/ 105 h 509"/>
                <a:gd name="T28" fmla="*/ 99 w 102"/>
                <a:gd name="T29" fmla="*/ 75 h 509"/>
                <a:gd name="T30" fmla="*/ 90 w 102"/>
                <a:gd name="T31" fmla="*/ 51 h 509"/>
                <a:gd name="T32" fmla="*/ 84 w 102"/>
                <a:gd name="T33" fmla="*/ 24 h 509"/>
                <a:gd name="T34" fmla="*/ 72 w 102"/>
                <a:gd name="T35" fmla="*/ 0 h 509"/>
                <a:gd name="T36" fmla="*/ 66 w 102"/>
                <a:gd name="T37" fmla="*/ 21 h 509"/>
                <a:gd name="T38" fmla="*/ 63 w 102"/>
                <a:gd name="T39" fmla="*/ 75 h 509"/>
                <a:gd name="T40" fmla="*/ 54 w 102"/>
                <a:gd name="T41" fmla="*/ 126 h 509"/>
                <a:gd name="T42" fmla="*/ 48 w 102"/>
                <a:gd name="T43" fmla="*/ 162 h 509"/>
                <a:gd name="T44" fmla="*/ 42 w 102"/>
                <a:gd name="T45" fmla="*/ 210 h 509"/>
                <a:gd name="T46" fmla="*/ 27 w 102"/>
                <a:gd name="T47" fmla="*/ 249 h 509"/>
                <a:gd name="T48" fmla="*/ 24 w 102"/>
                <a:gd name="T49" fmla="*/ 285 h 509"/>
                <a:gd name="T50" fmla="*/ 18 w 102"/>
                <a:gd name="T51" fmla="*/ 317 h 509"/>
                <a:gd name="T52" fmla="*/ 33 w 102"/>
                <a:gd name="T53" fmla="*/ 299 h 509"/>
                <a:gd name="T54" fmla="*/ 36 w 102"/>
                <a:gd name="T55" fmla="*/ 317 h 509"/>
                <a:gd name="T56" fmla="*/ 30 w 102"/>
                <a:gd name="T57" fmla="*/ 341 h 509"/>
                <a:gd name="T58" fmla="*/ 27 w 102"/>
                <a:gd name="T59" fmla="*/ 356 h 509"/>
                <a:gd name="T60" fmla="*/ 24 w 102"/>
                <a:gd name="T61" fmla="*/ 353 h 509"/>
                <a:gd name="T62" fmla="*/ 15 w 102"/>
                <a:gd name="T63" fmla="*/ 356 h 509"/>
                <a:gd name="T64" fmla="*/ 3 w 102"/>
                <a:gd name="T65" fmla="*/ 371 h 509"/>
                <a:gd name="T66" fmla="*/ 18 w 102"/>
                <a:gd name="T67" fmla="*/ 374 h 509"/>
                <a:gd name="T68" fmla="*/ 27 w 102"/>
                <a:gd name="T69" fmla="*/ 386 h 509"/>
                <a:gd name="T70" fmla="*/ 12 w 102"/>
                <a:gd name="T71" fmla="*/ 392 h 509"/>
                <a:gd name="T72" fmla="*/ 15 w 102"/>
                <a:gd name="T73" fmla="*/ 398 h 509"/>
                <a:gd name="T74" fmla="*/ 6 w 102"/>
                <a:gd name="T75" fmla="*/ 410 h 509"/>
                <a:gd name="T76" fmla="*/ 15 w 102"/>
                <a:gd name="T77" fmla="*/ 413 h 509"/>
                <a:gd name="T78" fmla="*/ 18 w 102"/>
                <a:gd name="T79" fmla="*/ 425 h 509"/>
                <a:gd name="T80" fmla="*/ 9 w 102"/>
                <a:gd name="T81" fmla="*/ 440 h 509"/>
                <a:gd name="T82" fmla="*/ 24 w 102"/>
                <a:gd name="T83" fmla="*/ 443 h 509"/>
                <a:gd name="T84" fmla="*/ 30 w 102"/>
                <a:gd name="T85" fmla="*/ 446 h 509"/>
                <a:gd name="T86" fmla="*/ 24 w 102"/>
                <a:gd name="T87" fmla="*/ 461 h 509"/>
                <a:gd name="T88" fmla="*/ 42 w 102"/>
                <a:gd name="T89" fmla="*/ 461 h 509"/>
                <a:gd name="T90" fmla="*/ 30 w 102"/>
                <a:gd name="T91" fmla="*/ 470 h 509"/>
                <a:gd name="T92" fmla="*/ 42 w 102"/>
                <a:gd name="T93" fmla="*/ 467 h 509"/>
                <a:gd name="T94" fmla="*/ 27 w 102"/>
                <a:gd name="T95" fmla="*/ 479 h 509"/>
                <a:gd name="T96" fmla="*/ 42 w 102"/>
                <a:gd name="T97" fmla="*/ 482 h 509"/>
                <a:gd name="T98" fmla="*/ 66 w 102"/>
                <a:gd name="T99" fmla="*/ 458 h 509"/>
                <a:gd name="T100" fmla="*/ 72 w 102"/>
                <a:gd name="T101" fmla="*/ 470 h 509"/>
                <a:gd name="T102" fmla="*/ 63 w 102"/>
                <a:gd name="T103" fmla="*/ 476 h 509"/>
                <a:gd name="T104" fmla="*/ 51 w 102"/>
                <a:gd name="T105" fmla="*/ 485 h 509"/>
                <a:gd name="T106" fmla="*/ 60 w 102"/>
                <a:gd name="T107" fmla="*/ 500 h 509"/>
                <a:gd name="T108" fmla="*/ 75 w 102"/>
                <a:gd name="T109" fmla="*/ 497 h 509"/>
                <a:gd name="T110" fmla="*/ 93 w 102"/>
                <a:gd name="T111" fmla="*/ 500 h 509"/>
                <a:gd name="T112" fmla="*/ 81 w 102"/>
                <a:gd name="T113" fmla="*/ 497 h 509"/>
                <a:gd name="T114" fmla="*/ 72 w 102"/>
                <a:gd name="T115" fmla="*/ 455 h 509"/>
                <a:gd name="T116" fmla="*/ 48 w 102"/>
                <a:gd name="T117" fmla="*/ 44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 h="509">
                  <a:moveTo>
                    <a:pt x="48" y="449"/>
                  </a:moveTo>
                  <a:cubicBezTo>
                    <a:pt x="45" y="452"/>
                    <a:pt x="45" y="446"/>
                    <a:pt x="42" y="446"/>
                  </a:cubicBezTo>
                  <a:cubicBezTo>
                    <a:pt x="39" y="446"/>
                    <a:pt x="39" y="437"/>
                    <a:pt x="42" y="434"/>
                  </a:cubicBezTo>
                  <a:cubicBezTo>
                    <a:pt x="42" y="428"/>
                    <a:pt x="33" y="431"/>
                    <a:pt x="30" y="428"/>
                  </a:cubicBezTo>
                  <a:cubicBezTo>
                    <a:pt x="27" y="428"/>
                    <a:pt x="33" y="425"/>
                    <a:pt x="30" y="422"/>
                  </a:cubicBezTo>
                  <a:cubicBezTo>
                    <a:pt x="27" y="419"/>
                    <a:pt x="27" y="413"/>
                    <a:pt x="27" y="410"/>
                  </a:cubicBezTo>
                  <a:cubicBezTo>
                    <a:pt x="30" y="410"/>
                    <a:pt x="30" y="404"/>
                    <a:pt x="36" y="404"/>
                  </a:cubicBezTo>
                  <a:cubicBezTo>
                    <a:pt x="39" y="404"/>
                    <a:pt x="36" y="398"/>
                    <a:pt x="39" y="395"/>
                  </a:cubicBezTo>
                  <a:cubicBezTo>
                    <a:pt x="42" y="395"/>
                    <a:pt x="36" y="389"/>
                    <a:pt x="39" y="386"/>
                  </a:cubicBezTo>
                  <a:cubicBezTo>
                    <a:pt x="42" y="386"/>
                    <a:pt x="39" y="380"/>
                    <a:pt x="45" y="380"/>
                  </a:cubicBezTo>
                  <a:cubicBezTo>
                    <a:pt x="48" y="380"/>
                    <a:pt x="45" y="374"/>
                    <a:pt x="48" y="371"/>
                  </a:cubicBezTo>
                  <a:cubicBezTo>
                    <a:pt x="51" y="371"/>
                    <a:pt x="45" y="368"/>
                    <a:pt x="48" y="362"/>
                  </a:cubicBezTo>
                  <a:cubicBezTo>
                    <a:pt x="48" y="359"/>
                    <a:pt x="45" y="356"/>
                    <a:pt x="48" y="353"/>
                  </a:cubicBezTo>
                  <a:cubicBezTo>
                    <a:pt x="54" y="353"/>
                    <a:pt x="51" y="350"/>
                    <a:pt x="48" y="347"/>
                  </a:cubicBezTo>
                  <a:cubicBezTo>
                    <a:pt x="45" y="344"/>
                    <a:pt x="48" y="344"/>
                    <a:pt x="51" y="344"/>
                  </a:cubicBezTo>
                  <a:cubicBezTo>
                    <a:pt x="57" y="344"/>
                    <a:pt x="54" y="338"/>
                    <a:pt x="51" y="341"/>
                  </a:cubicBezTo>
                  <a:cubicBezTo>
                    <a:pt x="45" y="341"/>
                    <a:pt x="45" y="338"/>
                    <a:pt x="48" y="335"/>
                  </a:cubicBezTo>
                  <a:cubicBezTo>
                    <a:pt x="51" y="332"/>
                    <a:pt x="45" y="329"/>
                    <a:pt x="45" y="326"/>
                  </a:cubicBezTo>
                  <a:cubicBezTo>
                    <a:pt x="45" y="326"/>
                    <a:pt x="45" y="323"/>
                    <a:pt x="45" y="320"/>
                  </a:cubicBezTo>
                  <a:cubicBezTo>
                    <a:pt x="42" y="320"/>
                    <a:pt x="42" y="308"/>
                    <a:pt x="45" y="308"/>
                  </a:cubicBezTo>
                  <a:cubicBezTo>
                    <a:pt x="48" y="308"/>
                    <a:pt x="45" y="299"/>
                    <a:pt x="45" y="296"/>
                  </a:cubicBezTo>
                  <a:cubicBezTo>
                    <a:pt x="45" y="293"/>
                    <a:pt x="45" y="291"/>
                    <a:pt x="45" y="291"/>
                  </a:cubicBezTo>
                  <a:cubicBezTo>
                    <a:pt x="45" y="288"/>
                    <a:pt x="48" y="288"/>
                    <a:pt x="48" y="282"/>
                  </a:cubicBezTo>
                  <a:cubicBezTo>
                    <a:pt x="48" y="276"/>
                    <a:pt x="48" y="276"/>
                    <a:pt x="51" y="276"/>
                  </a:cubicBezTo>
                  <a:cubicBezTo>
                    <a:pt x="51" y="276"/>
                    <a:pt x="51" y="270"/>
                    <a:pt x="51" y="267"/>
                  </a:cubicBezTo>
                  <a:cubicBezTo>
                    <a:pt x="51" y="264"/>
                    <a:pt x="57" y="267"/>
                    <a:pt x="57" y="261"/>
                  </a:cubicBezTo>
                  <a:cubicBezTo>
                    <a:pt x="57" y="258"/>
                    <a:pt x="54" y="258"/>
                    <a:pt x="54" y="255"/>
                  </a:cubicBezTo>
                  <a:cubicBezTo>
                    <a:pt x="54" y="252"/>
                    <a:pt x="54" y="249"/>
                    <a:pt x="54" y="240"/>
                  </a:cubicBezTo>
                  <a:cubicBezTo>
                    <a:pt x="54" y="234"/>
                    <a:pt x="60" y="231"/>
                    <a:pt x="63" y="231"/>
                  </a:cubicBezTo>
                  <a:cubicBezTo>
                    <a:pt x="66" y="228"/>
                    <a:pt x="60" y="216"/>
                    <a:pt x="63" y="216"/>
                  </a:cubicBezTo>
                  <a:cubicBezTo>
                    <a:pt x="66" y="213"/>
                    <a:pt x="63" y="210"/>
                    <a:pt x="66" y="207"/>
                  </a:cubicBezTo>
                  <a:cubicBezTo>
                    <a:pt x="69" y="204"/>
                    <a:pt x="69" y="201"/>
                    <a:pt x="69" y="198"/>
                  </a:cubicBezTo>
                  <a:cubicBezTo>
                    <a:pt x="69" y="195"/>
                    <a:pt x="66" y="192"/>
                    <a:pt x="66" y="189"/>
                  </a:cubicBezTo>
                  <a:cubicBezTo>
                    <a:pt x="66" y="183"/>
                    <a:pt x="66" y="180"/>
                    <a:pt x="63" y="177"/>
                  </a:cubicBezTo>
                  <a:cubicBezTo>
                    <a:pt x="60" y="174"/>
                    <a:pt x="60" y="165"/>
                    <a:pt x="63" y="165"/>
                  </a:cubicBezTo>
                  <a:cubicBezTo>
                    <a:pt x="66" y="165"/>
                    <a:pt x="63" y="156"/>
                    <a:pt x="66" y="156"/>
                  </a:cubicBezTo>
                  <a:cubicBezTo>
                    <a:pt x="72" y="156"/>
                    <a:pt x="69" y="150"/>
                    <a:pt x="66" y="144"/>
                  </a:cubicBezTo>
                  <a:cubicBezTo>
                    <a:pt x="66" y="138"/>
                    <a:pt x="69" y="141"/>
                    <a:pt x="69" y="138"/>
                  </a:cubicBezTo>
                  <a:cubicBezTo>
                    <a:pt x="69" y="135"/>
                    <a:pt x="72" y="129"/>
                    <a:pt x="75" y="129"/>
                  </a:cubicBezTo>
                  <a:cubicBezTo>
                    <a:pt x="78" y="126"/>
                    <a:pt x="78" y="120"/>
                    <a:pt x="78" y="120"/>
                  </a:cubicBezTo>
                  <a:cubicBezTo>
                    <a:pt x="78" y="117"/>
                    <a:pt x="84" y="114"/>
                    <a:pt x="87" y="114"/>
                  </a:cubicBezTo>
                  <a:cubicBezTo>
                    <a:pt x="87" y="111"/>
                    <a:pt x="81" y="108"/>
                    <a:pt x="84" y="105"/>
                  </a:cubicBezTo>
                  <a:cubicBezTo>
                    <a:pt x="90" y="105"/>
                    <a:pt x="81" y="96"/>
                    <a:pt x="84" y="93"/>
                  </a:cubicBezTo>
                  <a:cubicBezTo>
                    <a:pt x="87" y="93"/>
                    <a:pt x="84" y="87"/>
                    <a:pt x="84" y="84"/>
                  </a:cubicBezTo>
                  <a:cubicBezTo>
                    <a:pt x="84" y="84"/>
                    <a:pt x="96" y="78"/>
                    <a:pt x="99" y="75"/>
                  </a:cubicBezTo>
                  <a:cubicBezTo>
                    <a:pt x="99" y="72"/>
                    <a:pt x="99" y="66"/>
                    <a:pt x="99" y="63"/>
                  </a:cubicBezTo>
                  <a:cubicBezTo>
                    <a:pt x="96" y="63"/>
                    <a:pt x="93" y="66"/>
                    <a:pt x="93" y="63"/>
                  </a:cubicBezTo>
                  <a:cubicBezTo>
                    <a:pt x="93" y="63"/>
                    <a:pt x="93" y="54"/>
                    <a:pt x="90" y="51"/>
                  </a:cubicBezTo>
                  <a:cubicBezTo>
                    <a:pt x="87" y="48"/>
                    <a:pt x="90" y="42"/>
                    <a:pt x="87" y="42"/>
                  </a:cubicBezTo>
                  <a:cubicBezTo>
                    <a:pt x="84" y="39"/>
                    <a:pt x="81" y="33"/>
                    <a:pt x="81" y="33"/>
                  </a:cubicBezTo>
                  <a:cubicBezTo>
                    <a:pt x="84" y="30"/>
                    <a:pt x="81" y="27"/>
                    <a:pt x="84" y="24"/>
                  </a:cubicBezTo>
                  <a:cubicBezTo>
                    <a:pt x="87" y="21"/>
                    <a:pt x="84" y="21"/>
                    <a:pt x="81" y="18"/>
                  </a:cubicBezTo>
                  <a:cubicBezTo>
                    <a:pt x="78" y="15"/>
                    <a:pt x="81" y="9"/>
                    <a:pt x="78" y="6"/>
                  </a:cubicBezTo>
                  <a:cubicBezTo>
                    <a:pt x="72" y="3"/>
                    <a:pt x="72" y="0"/>
                    <a:pt x="72" y="0"/>
                  </a:cubicBezTo>
                  <a:cubicBezTo>
                    <a:pt x="72" y="3"/>
                    <a:pt x="72" y="9"/>
                    <a:pt x="69" y="9"/>
                  </a:cubicBezTo>
                  <a:cubicBezTo>
                    <a:pt x="66" y="9"/>
                    <a:pt x="66" y="12"/>
                    <a:pt x="66" y="12"/>
                  </a:cubicBezTo>
                  <a:cubicBezTo>
                    <a:pt x="66" y="15"/>
                    <a:pt x="63" y="18"/>
                    <a:pt x="66" y="21"/>
                  </a:cubicBezTo>
                  <a:cubicBezTo>
                    <a:pt x="66" y="27"/>
                    <a:pt x="69" y="45"/>
                    <a:pt x="66" y="51"/>
                  </a:cubicBezTo>
                  <a:cubicBezTo>
                    <a:pt x="66" y="57"/>
                    <a:pt x="63" y="63"/>
                    <a:pt x="63" y="69"/>
                  </a:cubicBezTo>
                  <a:cubicBezTo>
                    <a:pt x="60" y="72"/>
                    <a:pt x="66" y="72"/>
                    <a:pt x="63" y="75"/>
                  </a:cubicBezTo>
                  <a:cubicBezTo>
                    <a:pt x="60" y="75"/>
                    <a:pt x="63" y="81"/>
                    <a:pt x="63" y="90"/>
                  </a:cubicBezTo>
                  <a:cubicBezTo>
                    <a:pt x="63" y="96"/>
                    <a:pt x="57" y="111"/>
                    <a:pt x="57" y="114"/>
                  </a:cubicBezTo>
                  <a:cubicBezTo>
                    <a:pt x="57" y="120"/>
                    <a:pt x="54" y="123"/>
                    <a:pt x="54" y="126"/>
                  </a:cubicBezTo>
                  <a:cubicBezTo>
                    <a:pt x="54" y="132"/>
                    <a:pt x="51" y="135"/>
                    <a:pt x="48" y="138"/>
                  </a:cubicBezTo>
                  <a:cubicBezTo>
                    <a:pt x="45" y="138"/>
                    <a:pt x="54" y="147"/>
                    <a:pt x="54" y="150"/>
                  </a:cubicBezTo>
                  <a:cubicBezTo>
                    <a:pt x="54" y="153"/>
                    <a:pt x="48" y="156"/>
                    <a:pt x="48" y="162"/>
                  </a:cubicBezTo>
                  <a:cubicBezTo>
                    <a:pt x="51" y="171"/>
                    <a:pt x="48" y="183"/>
                    <a:pt x="48" y="186"/>
                  </a:cubicBezTo>
                  <a:cubicBezTo>
                    <a:pt x="48" y="189"/>
                    <a:pt x="45" y="189"/>
                    <a:pt x="45" y="195"/>
                  </a:cubicBezTo>
                  <a:cubicBezTo>
                    <a:pt x="48" y="201"/>
                    <a:pt x="42" y="201"/>
                    <a:pt x="42" y="210"/>
                  </a:cubicBezTo>
                  <a:cubicBezTo>
                    <a:pt x="42" y="216"/>
                    <a:pt x="36" y="228"/>
                    <a:pt x="33" y="234"/>
                  </a:cubicBezTo>
                  <a:cubicBezTo>
                    <a:pt x="30" y="240"/>
                    <a:pt x="30" y="243"/>
                    <a:pt x="27" y="243"/>
                  </a:cubicBezTo>
                  <a:cubicBezTo>
                    <a:pt x="24" y="243"/>
                    <a:pt x="24" y="246"/>
                    <a:pt x="27" y="249"/>
                  </a:cubicBezTo>
                  <a:cubicBezTo>
                    <a:pt x="30" y="255"/>
                    <a:pt x="24" y="258"/>
                    <a:pt x="27" y="264"/>
                  </a:cubicBezTo>
                  <a:cubicBezTo>
                    <a:pt x="30" y="270"/>
                    <a:pt x="30" y="270"/>
                    <a:pt x="30" y="276"/>
                  </a:cubicBezTo>
                  <a:cubicBezTo>
                    <a:pt x="27" y="282"/>
                    <a:pt x="24" y="282"/>
                    <a:pt x="24" y="285"/>
                  </a:cubicBezTo>
                  <a:cubicBezTo>
                    <a:pt x="24" y="291"/>
                    <a:pt x="21" y="293"/>
                    <a:pt x="24" y="299"/>
                  </a:cubicBezTo>
                  <a:cubicBezTo>
                    <a:pt x="27" y="302"/>
                    <a:pt x="24" y="305"/>
                    <a:pt x="24" y="305"/>
                  </a:cubicBezTo>
                  <a:cubicBezTo>
                    <a:pt x="21" y="305"/>
                    <a:pt x="18" y="308"/>
                    <a:pt x="18" y="317"/>
                  </a:cubicBezTo>
                  <a:cubicBezTo>
                    <a:pt x="18" y="326"/>
                    <a:pt x="18" y="326"/>
                    <a:pt x="24" y="323"/>
                  </a:cubicBezTo>
                  <a:cubicBezTo>
                    <a:pt x="30" y="323"/>
                    <a:pt x="24" y="305"/>
                    <a:pt x="27" y="305"/>
                  </a:cubicBezTo>
                  <a:cubicBezTo>
                    <a:pt x="33" y="305"/>
                    <a:pt x="30" y="302"/>
                    <a:pt x="33" y="299"/>
                  </a:cubicBezTo>
                  <a:cubicBezTo>
                    <a:pt x="36" y="299"/>
                    <a:pt x="33" y="302"/>
                    <a:pt x="36" y="305"/>
                  </a:cubicBezTo>
                  <a:cubicBezTo>
                    <a:pt x="39" y="305"/>
                    <a:pt x="39" y="308"/>
                    <a:pt x="36" y="308"/>
                  </a:cubicBezTo>
                  <a:cubicBezTo>
                    <a:pt x="33" y="311"/>
                    <a:pt x="36" y="317"/>
                    <a:pt x="36" y="317"/>
                  </a:cubicBezTo>
                  <a:cubicBezTo>
                    <a:pt x="33" y="320"/>
                    <a:pt x="30" y="323"/>
                    <a:pt x="33" y="326"/>
                  </a:cubicBezTo>
                  <a:cubicBezTo>
                    <a:pt x="33" y="332"/>
                    <a:pt x="30" y="329"/>
                    <a:pt x="30" y="335"/>
                  </a:cubicBezTo>
                  <a:cubicBezTo>
                    <a:pt x="30" y="338"/>
                    <a:pt x="33" y="338"/>
                    <a:pt x="30" y="341"/>
                  </a:cubicBezTo>
                  <a:cubicBezTo>
                    <a:pt x="30" y="341"/>
                    <a:pt x="33" y="344"/>
                    <a:pt x="30" y="344"/>
                  </a:cubicBezTo>
                  <a:cubicBezTo>
                    <a:pt x="27" y="344"/>
                    <a:pt x="30" y="350"/>
                    <a:pt x="30" y="353"/>
                  </a:cubicBezTo>
                  <a:cubicBezTo>
                    <a:pt x="33" y="356"/>
                    <a:pt x="27" y="353"/>
                    <a:pt x="27" y="356"/>
                  </a:cubicBezTo>
                  <a:cubicBezTo>
                    <a:pt x="24" y="356"/>
                    <a:pt x="27" y="359"/>
                    <a:pt x="27" y="362"/>
                  </a:cubicBezTo>
                  <a:cubicBezTo>
                    <a:pt x="24" y="365"/>
                    <a:pt x="21" y="362"/>
                    <a:pt x="18" y="359"/>
                  </a:cubicBezTo>
                  <a:cubicBezTo>
                    <a:pt x="18" y="359"/>
                    <a:pt x="21" y="356"/>
                    <a:pt x="24" y="353"/>
                  </a:cubicBezTo>
                  <a:cubicBezTo>
                    <a:pt x="27" y="350"/>
                    <a:pt x="21" y="341"/>
                    <a:pt x="18" y="344"/>
                  </a:cubicBezTo>
                  <a:cubicBezTo>
                    <a:pt x="15" y="344"/>
                    <a:pt x="21" y="350"/>
                    <a:pt x="21" y="353"/>
                  </a:cubicBezTo>
                  <a:cubicBezTo>
                    <a:pt x="21" y="356"/>
                    <a:pt x="15" y="353"/>
                    <a:pt x="15" y="356"/>
                  </a:cubicBezTo>
                  <a:cubicBezTo>
                    <a:pt x="15" y="359"/>
                    <a:pt x="12" y="359"/>
                    <a:pt x="9" y="359"/>
                  </a:cubicBezTo>
                  <a:cubicBezTo>
                    <a:pt x="6" y="362"/>
                    <a:pt x="12" y="365"/>
                    <a:pt x="9" y="365"/>
                  </a:cubicBezTo>
                  <a:cubicBezTo>
                    <a:pt x="3" y="371"/>
                    <a:pt x="3" y="371"/>
                    <a:pt x="3" y="371"/>
                  </a:cubicBezTo>
                  <a:cubicBezTo>
                    <a:pt x="3" y="374"/>
                    <a:pt x="6" y="374"/>
                    <a:pt x="6" y="374"/>
                  </a:cubicBezTo>
                  <a:cubicBezTo>
                    <a:pt x="6" y="371"/>
                    <a:pt x="9" y="371"/>
                    <a:pt x="12" y="374"/>
                  </a:cubicBezTo>
                  <a:cubicBezTo>
                    <a:pt x="12" y="377"/>
                    <a:pt x="15" y="374"/>
                    <a:pt x="18" y="374"/>
                  </a:cubicBezTo>
                  <a:cubicBezTo>
                    <a:pt x="21" y="374"/>
                    <a:pt x="21" y="380"/>
                    <a:pt x="18" y="380"/>
                  </a:cubicBezTo>
                  <a:cubicBezTo>
                    <a:pt x="18" y="380"/>
                    <a:pt x="15" y="383"/>
                    <a:pt x="15" y="386"/>
                  </a:cubicBezTo>
                  <a:cubicBezTo>
                    <a:pt x="15" y="389"/>
                    <a:pt x="24" y="386"/>
                    <a:pt x="27" y="386"/>
                  </a:cubicBezTo>
                  <a:cubicBezTo>
                    <a:pt x="30" y="389"/>
                    <a:pt x="27" y="395"/>
                    <a:pt x="27" y="392"/>
                  </a:cubicBezTo>
                  <a:cubicBezTo>
                    <a:pt x="24" y="389"/>
                    <a:pt x="21" y="386"/>
                    <a:pt x="18" y="389"/>
                  </a:cubicBezTo>
                  <a:cubicBezTo>
                    <a:pt x="18" y="392"/>
                    <a:pt x="15" y="392"/>
                    <a:pt x="12" y="392"/>
                  </a:cubicBezTo>
                  <a:cubicBezTo>
                    <a:pt x="9" y="389"/>
                    <a:pt x="0" y="395"/>
                    <a:pt x="3" y="398"/>
                  </a:cubicBezTo>
                  <a:cubicBezTo>
                    <a:pt x="6" y="398"/>
                    <a:pt x="6" y="401"/>
                    <a:pt x="9" y="401"/>
                  </a:cubicBezTo>
                  <a:cubicBezTo>
                    <a:pt x="9" y="401"/>
                    <a:pt x="12" y="401"/>
                    <a:pt x="15" y="398"/>
                  </a:cubicBezTo>
                  <a:cubicBezTo>
                    <a:pt x="15" y="395"/>
                    <a:pt x="18" y="395"/>
                    <a:pt x="18" y="398"/>
                  </a:cubicBezTo>
                  <a:cubicBezTo>
                    <a:pt x="18" y="404"/>
                    <a:pt x="15" y="401"/>
                    <a:pt x="12" y="404"/>
                  </a:cubicBezTo>
                  <a:cubicBezTo>
                    <a:pt x="12" y="407"/>
                    <a:pt x="9" y="407"/>
                    <a:pt x="6" y="410"/>
                  </a:cubicBezTo>
                  <a:cubicBezTo>
                    <a:pt x="3" y="413"/>
                    <a:pt x="6" y="416"/>
                    <a:pt x="9" y="416"/>
                  </a:cubicBezTo>
                  <a:cubicBezTo>
                    <a:pt x="12" y="413"/>
                    <a:pt x="9" y="419"/>
                    <a:pt x="12" y="419"/>
                  </a:cubicBezTo>
                  <a:cubicBezTo>
                    <a:pt x="15" y="419"/>
                    <a:pt x="15" y="416"/>
                    <a:pt x="15" y="413"/>
                  </a:cubicBezTo>
                  <a:cubicBezTo>
                    <a:pt x="15" y="413"/>
                    <a:pt x="18" y="407"/>
                    <a:pt x="21" y="410"/>
                  </a:cubicBezTo>
                  <a:cubicBezTo>
                    <a:pt x="24" y="413"/>
                    <a:pt x="18" y="413"/>
                    <a:pt x="18" y="416"/>
                  </a:cubicBezTo>
                  <a:cubicBezTo>
                    <a:pt x="18" y="419"/>
                    <a:pt x="18" y="422"/>
                    <a:pt x="18" y="425"/>
                  </a:cubicBezTo>
                  <a:cubicBezTo>
                    <a:pt x="18" y="428"/>
                    <a:pt x="15" y="428"/>
                    <a:pt x="15" y="431"/>
                  </a:cubicBezTo>
                  <a:cubicBezTo>
                    <a:pt x="15" y="434"/>
                    <a:pt x="6" y="431"/>
                    <a:pt x="9" y="434"/>
                  </a:cubicBezTo>
                  <a:cubicBezTo>
                    <a:pt x="15" y="434"/>
                    <a:pt x="9" y="437"/>
                    <a:pt x="9" y="440"/>
                  </a:cubicBezTo>
                  <a:cubicBezTo>
                    <a:pt x="12" y="440"/>
                    <a:pt x="12" y="437"/>
                    <a:pt x="15" y="437"/>
                  </a:cubicBezTo>
                  <a:cubicBezTo>
                    <a:pt x="18" y="440"/>
                    <a:pt x="18" y="440"/>
                    <a:pt x="21" y="437"/>
                  </a:cubicBezTo>
                  <a:cubicBezTo>
                    <a:pt x="24" y="437"/>
                    <a:pt x="27" y="440"/>
                    <a:pt x="24" y="443"/>
                  </a:cubicBezTo>
                  <a:cubicBezTo>
                    <a:pt x="21" y="443"/>
                    <a:pt x="18" y="446"/>
                    <a:pt x="18" y="446"/>
                  </a:cubicBezTo>
                  <a:cubicBezTo>
                    <a:pt x="21" y="446"/>
                    <a:pt x="24" y="443"/>
                    <a:pt x="27" y="449"/>
                  </a:cubicBezTo>
                  <a:cubicBezTo>
                    <a:pt x="27" y="452"/>
                    <a:pt x="30" y="449"/>
                    <a:pt x="30" y="446"/>
                  </a:cubicBezTo>
                  <a:cubicBezTo>
                    <a:pt x="30" y="443"/>
                    <a:pt x="36" y="446"/>
                    <a:pt x="36" y="449"/>
                  </a:cubicBezTo>
                  <a:cubicBezTo>
                    <a:pt x="39" y="452"/>
                    <a:pt x="30" y="455"/>
                    <a:pt x="27" y="452"/>
                  </a:cubicBezTo>
                  <a:cubicBezTo>
                    <a:pt x="24" y="452"/>
                    <a:pt x="21" y="455"/>
                    <a:pt x="24" y="461"/>
                  </a:cubicBezTo>
                  <a:cubicBezTo>
                    <a:pt x="27" y="464"/>
                    <a:pt x="30" y="461"/>
                    <a:pt x="33" y="458"/>
                  </a:cubicBezTo>
                  <a:cubicBezTo>
                    <a:pt x="33" y="455"/>
                    <a:pt x="48" y="455"/>
                    <a:pt x="48" y="458"/>
                  </a:cubicBezTo>
                  <a:cubicBezTo>
                    <a:pt x="51" y="461"/>
                    <a:pt x="42" y="458"/>
                    <a:pt x="42" y="461"/>
                  </a:cubicBezTo>
                  <a:cubicBezTo>
                    <a:pt x="42" y="461"/>
                    <a:pt x="36" y="464"/>
                    <a:pt x="36" y="461"/>
                  </a:cubicBezTo>
                  <a:cubicBezTo>
                    <a:pt x="33" y="458"/>
                    <a:pt x="30" y="461"/>
                    <a:pt x="30" y="464"/>
                  </a:cubicBezTo>
                  <a:cubicBezTo>
                    <a:pt x="27" y="470"/>
                    <a:pt x="24" y="470"/>
                    <a:pt x="30" y="470"/>
                  </a:cubicBezTo>
                  <a:cubicBezTo>
                    <a:pt x="33" y="470"/>
                    <a:pt x="33" y="464"/>
                    <a:pt x="39" y="467"/>
                  </a:cubicBezTo>
                  <a:cubicBezTo>
                    <a:pt x="45" y="467"/>
                    <a:pt x="51" y="458"/>
                    <a:pt x="51" y="464"/>
                  </a:cubicBezTo>
                  <a:cubicBezTo>
                    <a:pt x="54" y="467"/>
                    <a:pt x="45" y="470"/>
                    <a:pt x="42" y="467"/>
                  </a:cubicBezTo>
                  <a:cubicBezTo>
                    <a:pt x="42" y="464"/>
                    <a:pt x="36" y="470"/>
                    <a:pt x="39" y="473"/>
                  </a:cubicBezTo>
                  <a:cubicBezTo>
                    <a:pt x="39" y="476"/>
                    <a:pt x="30" y="473"/>
                    <a:pt x="27" y="473"/>
                  </a:cubicBezTo>
                  <a:cubicBezTo>
                    <a:pt x="21" y="470"/>
                    <a:pt x="24" y="476"/>
                    <a:pt x="27" y="479"/>
                  </a:cubicBezTo>
                  <a:cubicBezTo>
                    <a:pt x="30" y="482"/>
                    <a:pt x="33" y="479"/>
                    <a:pt x="36" y="482"/>
                  </a:cubicBezTo>
                  <a:cubicBezTo>
                    <a:pt x="42" y="485"/>
                    <a:pt x="42" y="488"/>
                    <a:pt x="45" y="485"/>
                  </a:cubicBezTo>
                  <a:cubicBezTo>
                    <a:pt x="48" y="482"/>
                    <a:pt x="45" y="482"/>
                    <a:pt x="42" y="482"/>
                  </a:cubicBezTo>
                  <a:cubicBezTo>
                    <a:pt x="39" y="479"/>
                    <a:pt x="42" y="476"/>
                    <a:pt x="45" y="479"/>
                  </a:cubicBezTo>
                  <a:cubicBezTo>
                    <a:pt x="51" y="479"/>
                    <a:pt x="57" y="476"/>
                    <a:pt x="54" y="470"/>
                  </a:cubicBezTo>
                  <a:cubicBezTo>
                    <a:pt x="54" y="464"/>
                    <a:pt x="60" y="461"/>
                    <a:pt x="66" y="458"/>
                  </a:cubicBezTo>
                  <a:cubicBezTo>
                    <a:pt x="72" y="458"/>
                    <a:pt x="69" y="464"/>
                    <a:pt x="63" y="464"/>
                  </a:cubicBezTo>
                  <a:cubicBezTo>
                    <a:pt x="60" y="467"/>
                    <a:pt x="60" y="467"/>
                    <a:pt x="63" y="470"/>
                  </a:cubicBezTo>
                  <a:cubicBezTo>
                    <a:pt x="66" y="473"/>
                    <a:pt x="69" y="470"/>
                    <a:pt x="72" y="470"/>
                  </a:cubicBezTo>
                  <a:cubicBezTo>
                    <a:pt x="75" y="473"/>
                    <a:pt x="66" y="473"/>
                    <a:pt x="66" y="476"/>
                  </a:cubicBezTo>
                  <a:cubicBezTo>
                    <a:pt x="66" y="479"/>
                    <a:pt x="72" y="482"/>
                    <a:pt x="66" y="485"/>
                  </a:cubicBezTo>
                  <a:cubicBezTo>
                    <a:pt x="63" y="485"/>
                    <a:pt x="63" y="476"/>
                    <a:pt x="63" y="476"/>
                  </a:cubicBezTo>
                  <a:cubicBezTo>
                    <a:pt x="60" y="473"/>
                    <a:pt x="57" y="476"/>
                    <a:pt x="60" y="482"/>
                  </a:cubicBezTo>
                  <a:cubicBezTo>
                    <a:pt x="63" y="488"/>
                    <a:pt x="57" y="482"/>
                    <a:pt x="54" y="479"/>
                  </a:cubicBezTo>
                  <a:cubicBezTo>
                    <a:pt x="51" y="476"/>
                    <a:pt x="48" y="482"/>
                    <a:pt x="51" y="485"/>
                  </a:cubicBezTo>
                  <a:cubicBezTo>
                    <a:pt x="54" y="488"/>
                    <a:pt x="45" y="485"/>
                    <a:pt x="45" y="488"/>
                  </a:cubicBezTo>
                  <a:cubicBezTo>
                    <a:pt x="45" y="494"/>
                    <a:pt x="48" y="491"/>
                    <a:pt x="54" y="491"/>
                  </a:cubicBezTo>
                  <a:cubicBezTo>
                    <a:pt x="57" y="491"/>
                    <a:pt x="57" y="497"/>
                    <a:pt x="60" y="500"/>
                  </a:cubicBezTo>
                  <a:cubicBezTo>
                    <a:pt x="63" y="503"/>
                    <a:pt x="60" y="494"/>
                    <a:pt x="63" y="491"/>
                  </a:cubicBezTo>
                  <a:cubicBezTo>
                    <a:pt x="66" y="491"/>
                    <a:pt x="63" y="500"/>
                    <a:pt x="72" y="503"/>
                  </a:cubicBezTo>
                  <a:cubicBezTo>
                    <a:pt x="78" y="506"/>
                    <a:pt x="72" y="500"/>
                    <a:pt x="75" y="497"/>
                  </a:cubicBezTo>
                  <a:cubicBezTo>
                    <a:pt x="78" y="497"/>
                    <a:pt x="84" y="506"/>
                    <a:pt x="87" y="506"/>
                  </a:cubicBezTo>
                  <a:cubicBezTo>
                    <a:pt x="90" y="509"/>
                    <a:pt x="87" y="503"/>
                    <a:pt x="84" y="500"/>
                  </a:cubicBezTo>
                  <a:cubicBezTo>
                    <a:pt x="84" y="497"/>
                    <a:pt x="87" y="497"/>
                    <a:pt x="93" y="500"/>
                  </a:cubicBezTo>
                  <a:cubicBezTo>
                    <a:pt x="96" y="500"/>
                    <a:pt x="99" y="500"/>
                    <a:pt x="99" y="497"/>
                  </a:cubicBezTo>
                  <a:cubicBezTo>
                    <a:pt x="99" y="497"/>
                    <a:pt x="99" y="497"/>
                    <a:pt x="102" y="497"/>
                  </a:cubicBezTo>
                  <a:cubicBezTo>
                    <a:pt x="96" y="494"/>
                    <a:pt x="84" y="497"/>
                    <a:pt x="81" y="497"/>
                  </a:cubicBezTo>
                  <a:cubicBezTo>
                    <a:pt x="81" y="497"/>
                    <a:pt x="81" y="467"/>
                    <a:pt x="81" y="458"/>
                  </a:cubicBezTo>
                  <a:cubicBezTo>
                    <a:pt x="81" y="458"/>
                    <a:pt x="81" y="458"/>
                    <a:pt x="81" y="458"/>
                  </a:cubicBezTo>
                  <a:cubicBezTo>
                    <a:pt x="78" y="458"/>
                    <a:pt x="72" y="461"/>
                    <a:pt x="72" y="455"/>
                  </a:cubicBezTo>
                  <a:cubicBezTo>
                    <a:pt x="72" y="455"/>
                    <a:pt x="72" y="455"/>
                    <a:pt x="72" y="452"/>
                  </a:cubicBezTo>
                  <a:cubicBezTo>
                    <a:pt x="72" y="452"/>
                    <a:pt x="69" y="452"/>
                    <a:pt x="66" y="449"/>
                  </a:cubicBezTo>
                  <a:cubicBezTo>
                    <a:pt x="63" y="449"/>
                    <a:pt x="51" y="449"/>
                    <a:pt x="48" y="44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1" name="Freeform 856"/>
            <p:cNvSpPr>
              <a:spLocks/>
            </p:cNvSpPr>
            <p:nvPr userDrawn="1"/>
          </p:nvSpPr>
          <p:spPr bwMode="auto">
            <a:xfrm>
              <a:off x="2133" y="-827"/>
              <a:ext cx="159" cy="795"/>
            </a:xfrm>
            <a:custGeom>
              <a:avLst/>
              <a:gdLst>
                <a:gd name="T0" fmla="*/ 42 w 102"/>
                <a:gd name="T1" fmla="*/ 434 h 509"/>
                <a:gd name="T2" fmla="*/ 27 w 102"/>
                <a:gd name="T3" fmla="*/ 410 h 509"/>
                <a:gd name="T4" fmla="*/ 39 w 102"/>
                <a:gd name="T5" fmla="*/ 386 h 509"/>
                <a:gd name="T6" fmla="*/ 48 w 102"/>
                <a:gd name="T7" fmla="*/ 362 h 509"/>
                <a:gd name="T8" fmla="*/ 51 w 102"/>
                <a:gd name="T9" fmla="*/ 344 h 509"/>
                <a:gd name="T10" fmla="*/ 45 w 102"/>
                <a:gd name="T11" fmla="*/ 326 h 509"/>
                <a:gd name="T12" fmla="*/ 45 w 102"/>
                <a:gd name="T13" fmla="*/ 296 h 509"/>
                <a:gd name="T14" fmla="*/ 51 w 102"/>
                <a:gd name="T15" fmla="*/ 276 h 509"/>
                <a:gd name="T16" fmla="*/ 54 w 102"/>
                <a:gd name="T17" fmla="*/ 255 h 509"/>
                <a:gd name="T18" fmla="*/ 63 w 102"/>
                <a:gd name="T19" fmla="*/ 216 h 509"/>
                <a:gd name="T20" fmla="*/ 66 w 102"/>
                <a:gd name="T21" fmla="*/ 189 h 509"/>
                <a:gd name="T22" fmla="*/ 66 w 102"/>
                <a:gd name="T23" fmla="*/ 156 h 509"/>
                <a:gd name="T24" fmla="*/ 75 w 102"/>
                <a:gd name="T25" fmla="*/ 129 h 509"/>
                <a:gd name="T26" fmla="*/ 84 w 102"/>
                <a:gd name="T27" fmla="*/ 105 h 509"/>
                <a:gd name="T28" fmla="*/ 99 w 102"/>
                <a:gd name="T29" fmla="*/ 75 h 509"/>
                <a:gd name="T30" fmla="*/ 90 w 102"/>
                <a:gd name="T31" fmla="*/ 51 h 509"/>
                <a:gd name="T32" fmla="*/ 84 w 102"/>
                <a:gd name="T33" fmla="*/ 24 h 509"/>
                <a:gd name="T34" fmla="*/ 72 w 102"/>
                <a:gd name="T35" fmla="*/ 0 h 509"/>
                <a:gd name="T36" fmla="*/ 66 w 102"/>
                <a:gd name="T37" fmla="*/ 21 h 509"/>
                <a:gd name="T38" fmla="*/ 63 w 102"/>
                <a:gd name="T39" fmla="*/ 75 h 509"/>
                <a:gd name="T40" fmla="*/ 54 w 102"/>
                <a:gd name="T41" fmla="*/ 126 h 509"/>
                <a:gd name="T42" fmla="*/ 48 w 102"/>
                <a:gd name="T43" fmla="*/ 162 h 509"/>
                <a:gd name="T44" fmla="*/ 42 w 102"/>
                <a:gd name="T45" fmla="*/ 210 h 509"/>
                <a:gd name="T46" fmla="*/ 27 w 102"/>
                <a:gd name="T47" fmla="*/ 249 h 509"/>
                <a:gd name="T48" fmla="*/ 24 w 102"/>
                <a:gd name="T49" fmla="*/ 285 h 509"/>
                <a:gd name="T50" fmla="*/ 18 w 102"/>
                <a:gd name="T51" fmla="*/ 317 h 509"/>
                <a:gd name="T52" fmla="*/ 33 w 102"/>
                <a:gd name="T53" fmla="*/ 299 h 509"/>
                <a:gd name="T54" fmla="*/ 36 w 102"/>
                <a:gd name="T55" fmla="*/ 317 h 509"/>
                <a:gd name="T56" fmla="*/ 30 w 102"/>
                <a:gd name="T57" fmla="*/ 341 h 509"/>
                <a:gd name="T58" fmla="*/ 27 w 102"/>
                <a:gd name="T59" fmla="*/ 356 h 509"/>
                <a:gd name="T60" fmla="*/ 24 w 102"/>
                <a:gd name="T61" fmla="*/ 353 h 509"/>
                <a:gd name="T62" fmla="*/ 15 w 102"/>
                <a:gd name="T63" fmla="*/ 356 h 509"/>
                <a:gd name="T64" fmla="*/ 3 w 102"/>
                <a:gd name="T65" fmla="*/ 371 h 509"/>
                <a:gd name="T66" fmla="*/ 18 w 102"/>
                <a:gd name="T67" fmla="*/ 374 h 509"/>
                <a:gd name="T68" fmla="*/ 27 w 102"/>
                <a:gd name="T69" fmla="*/ 386 h 509"/>
                <a:gd name="T70" fmla="*/ 12 w 102"/>
                <a:gd name="T71" fmla="*/ 392 h 509"/>
                <a:gd name="T72" fmla="*/ 15 w 102"/>
                <a:gd name="T73" fmla="*/ 398 h 509"/>
                <a:gd name="T74" fmla="*/ 6 w 102"/>
                <a:gd name="T75" fmla="*/ 410 h 509"/>
                <a:gd name="T76" fmla="*/ 15 w 102"/>
                <a:gd name="T77" fmla="*/ 413 h 509"/>
                <a:gd name="T78" fmla="*/ 18 w 102"/>
                <a:gd name="T79" fmla="*/ 425 h 509"/>
                <a:gd name="T80" fmla="*/ 9 w 102"/>
                <a:gd name="T81" fmla="*/ 440 h 509"/>
                <a:gd name="T82" fmla="*/ 24 w 102"/>
                <a:gd name="T83" fmla="*/ 443 h 509"/>
                <a:gd name="T84" fmla="*/ 30 w 102"/>
                <a:gd name="T85" fmla="*/ 446 h 509"/>
                <a:gd name="T86" fmla="*/ 24 w 102"/>
                <a:gd name="T87" fmla="*/ 461 h 509"/>
                <a:gd name="T88" fmla="*/ 42 w 102"/>
                <a:gd name="T89" fmla="*/ 461 h 509"/>
                <a:gd name="T90" fmla="*/ 30 w 102"/>
                <a:gd name="T91" fmla="*/ 470 h 509"/>
                <a:gd name="T92" fmla="*/ 42 w 102"/>
                <a:gd name="T93" fmla="*/ 467 h 509"/>
                <a:gd name="T94" fmla="*/ 27 w 102"/>
                <a:gd name="T95" fmla="*/ 479 h 509"/>
                <a:gd name="T96" fmla="*/ 42 w 102"/>
                <a:gd name="T97" fmla="*/ 482 h 509"/>
                <a:gd name="T98" fmla="*/ 66 w 102"/>
                <a:gd name="T99" fmla="*/ 458 h 509"/>
                <a:gd name="T100" fmla="*/ 72 w 102"/>
                <a:gd name="T101" fmla="*/ 470 h 509"/>
                <a:gd name="T102" fmla="*/ 63 w 102"/>
                <a:gd name="T103" fmla="*/ 476 h 509"/>
                <a:gd name="T104" fmla="*/ 51 w 102"/>
                <a:gd name="T105" fmla="*/ 485 h 509"/>
                <a:gd name="T106" fmla="*/ 60 w 102"/>
                <a:gd name="T107" fmla="*/ 500 h 509"/>
                <a:gd name="T108" fmla="*/ 75 w 102"/>
                <a:gd name="T109" fmla="*/ 497 h 509"/>
                <a:gd name="T110" fmla="*/ 93 w 102"/>
                <a:gd name="T111" fmla="*/ 500 h 509"/>
                <a:gd name="T112" fmla="*/ 81 w 102"/>
                <a:gd name="T113" fmla="*/ 497 h 509"/>
                <a:gd name="T114" fmla="*/ 72 w 102"/>
                <a:gd name="T115" fmla="*/ 455 h 509"/>
                <a:gd name="T116" fmla="*/ 48 w 102"/>
                <a:gd name="T117" fmla="*/ 44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 h="509">
                  <a:moveTo>
                    <a:pt x="48" y="449"/>
                  </a:moveTo>
                  <a:cubicBezTo>
                    <a:pt x="45" y="452"/>
                    <a:pt x="45" y="446"/>
                    <a:pt x="42" y="446"/>
                  </a:cubicBezTo>
                  <a:cubicBezTo>
                    <a:pt x="39" y="446"/>
                    <a:pt x="39" y="437"/>
                    <a:pt x="42" y="434"/>
                  </a:cubicBezTo>
                  <a:cubicBezTo>
                    <a:pt x="42" y="428"/>
                    <a:pt x="33" y="431"/>
                    <a:pt x="30" y="428"/>
                  </a:cubicBezTo>
                  <a:cubicBezTo>
                    <a:pt x="27" y="428"/>
                    <a:pt x="33" y="425"/>
                    <a:pt x="30" y="422"/>
                  </a:cubicBezTo>
                  <a:cubicBezTo>
                    <a:pt x="27" y="419"/>
                    <a:pt x="27" y="413"/>
                    <a:pt x="27" y="410"/>
                  </a:cubicBezTo>
                  <a:cubicBezTo>
                    <a:pt x="30" y="410"/>
                    <a:pt x="30" y="404"/>
                    <a:pt x="36" y="404"/>
                  </a:cubicBezTo>
                  <a:cubicBezTo>
                    <a:pt x="39" y="404"/>
                    <a:pt x="36" y="398"/>
                    <a:pt x="39" y="395"/>
                  </a:cubicBezTo>
                  <a:cubicBezTo>
                    <a:pt x="42" y="395"/>
                    <a:pt x="36" y="389"/>
                    <a:pt x="39" y="386"/>
                  </a:cubicBezTo>
                  <a:cubicBezTo>
                    <a:pt x="42" y="386"/>
                    <a:pt x="39" y="380"/>
                    <a:pt x="45" y="380"/>
                  </a:cubicBezTo>
                  <a:cubicBezTo>
                    <a:pt x="48" y="380"/>
                    <a:pt x="45" y="374"/>
                    <a:pt x="48" y="371"/>
                  </a:cubicBezTo>
                  <a:cubicBezTo>
                    <a:pt x="51" y="371"/>
                    <a:pt x="45" y="368"/>
                    <a:pt x="48" y="362"/>
                  </a:cubicBezTo>
                  <a:cubicBezTo>
                    <a:pt x="48" y="359"/>
                    <a:pt x="45" y="356"/>
                    <a:pt x="48" y="353"/>
                  </a:cubicBezTo>
                  <a:cubicBezTo>
                    <a:pt x="54" y="353"/>
                    <a:pt x="51" y="350"/>
                    <a:pt x="48" y="347"/>
                  </a:cubicBezTo>
                  <a:cubicBezTo>
                    <a:pt x="45" y="344"/>
                    <a:pt x="48" y="344"/>
                    <a:pt x="51" y="344"/>
                  </a:cubicBezTo>
                  <a:cubicBezTo>
                    <a:pt x="57" y="344"/>
                    <a:pt x="54" y="338"/>
                    <a:pt x="51" y="341"/>
                  </a:cubicBezTo>
                  <a:cubicBezTo>
                    <a:pt x="45" y="341"/>
                    <a:pt x="45" y="338"/>
                    <a:pt x="48" y="335"/>
                  </a:cubicBezTo>
                  <a:cubicBezTo>
                    <a:pt x="51" y="332"/>
                    <a:pt x="45" y="329"/>
                    <a:pt x="45" y="326"/>
                  </a:cubicBezTo>
                  <a:cubicBezTo>
                    <a:pt x="45" y="326"/>
                    <a:pt x="45" y="323"/>
                    <a:pt x="45" y="320"/>
                  </a:cubicBezTo>
                  <a:cubicBezTo>
                    <a:pt x="42" y="320"/>
                    <a:pt x="42" y="308"/>
                    <a:pt x="45" y="308"/>
                  </a:cubicBezTo>
                  <a:cubicBezTo>
                    <a:pt x="48" y="308"/>
                    <a:pt x="45" y="299"/>
                    <a:pt x="45" y="296"/>
                  </a:cubicBezTo>
                  <a:cubicBezTo>
                    <a:pt x="45" y="293"/>
                    <a:pt x="45" y="291"/>
                    <a:pt x="45" y="291"/>
                  </a:cubicBezTo>
                  <a:cubicBezTo>
                    <a:pt x="45" y="288"/>
                    <a:pt x="48" y="288"/>
                    <a:pt x="48" y="282"/>
                  </a:cubicBezTo>
                  <a:cubicBezTo>
                    <a:pt x="48" y="276"/>
                    <a:pt x="48" y="276"/>
                    <a:pt x="51" y="276"/>
                  </a:cubicBezTo>
                  <a:cubicBezTo>
                    <a:pt x="51" y="276"/>
                    <a:pt x="51" y="270"/>
                    <a:pt x="51" y="267"/>
                  </a:cubicBezTo>
                  <a:cubicBezTo>
                    <a:pt x="51" y="264"/>
                    <a:pt x="57" y="267"/>
                    <a:pt x="57" y="261"/>
                  </a:cubicBezTo>
                  <a:cubicBezTo>
                    <a:pt x="57" y="258"/>
                    <a:pt x="54" y="258"/>
                    <a:pt x="54" y="255"/>
                  </a:cubicBezTo>
                  <a:cubicBezTo>
                    <a:pt x="54" y="252"/>
                    <a:pt x="54" y="249"/>
                    <a:pt x="54" y="240"/>
                  </a:cubicBezTo>
                  <a:cubicBezTo>
                    <a:pt x="54" y="234"/>
                    <a:pt x="60" y="231"/>
                    <a:pt x="63" y="231"/>
                  </a:cubicBezTo>
                  <a:cubicBezTo>
                    <a:pt x="66" y="228"/>
                    <a:pt x="60" y="216"/>
                    <a:pt x="63" y="216"/>
                  </a:cubicBezTo>
                  <a:cubicBezTo>
                    <a:pt x="66" y="213"/>
                    <a:pt x="63" y="210"/>
                    <a:pt x="66" y="207"/>
                  </a:cubicBezTo>
                  <a:cubicBezTo>
                    <a:pt x="69" y="204"/>
                    <a:pt x="69" y="201"/>
                    <a:pt x="69" y="198"/>
                  </a:cubicBezTo>
                  <a:cubicBezTo>
                    <a:pt x="69" y="195"/>
                    <a:pt x="66" y="192"/>
                    <a:pt x="66" y="189"/>
                  </a:cubicBezTo>
                  <a:cubicBezTo>
                    <a:pt x="66" y="183"/>
                    <a:pt x="66" y="180"/>
                    <a:pt x="63" y="177"/>
                  </a:cubicBezTo>
                  <a:cubicBezTo>
                    <a:pt x="60" y="174"/>
                    <a:pt x="60" y="165"/>
                    <a:pt x="63" y="165"/>
                  </a:cubicBezTo>
                  <a:cubicBezTo>
                    <a:pt x="66" y="165"/>
                    <a:pt x="63" y="156"/>
                    <a:pt x="66" y="156"/>
                  </a:cubicBezTo>
                  <a:cubicBezTo>
                    <a:pt x="72" y="156"/>
                    <a:pt x="69" y="150"/>
                    <a:pt x="66" y="144"/>
                  </a:cubicBezTo>
                  <a:cubicBezTo>
                    <a:pt x="66" y="138"/>
                    <a:pt x="69" y="141"/>
                    <a:pt x="69" y="138"/>
                  </a:cubicBezTo>
                  <a:cubicBezTo>
                    <a:pt x="69" y="135"/>
                    <a:pt x="72" y="129"/>
                    <a:pt x="75" y="129"/>
                  </a:cubicBezTo>
                  <a:cubicBezTo>
                    <a:pt x="78" y="126"/>
                    <a:pt x="78" y="120"/>
                    <a:pt x="78" y="120"/>
                  </a:cubicBezTo>
                  <a:cubicBezTo>
                    <a:pt x="78" y="117"/>
                    <a:pt x="84" y="114"/>
                    <a:pt x="87" y="114"/>
                  </a:cubicBezTo>
                  <a:cubicBezTo>
                    <a:pt x="87" y="111"/>
                    <a:pt x="81" y="108"/>
                    <a:pt x="84" y="105"/>
                  </a:cubicBezTo>
                  <a:cubicBezTo>
                    <a:pt x="90" y="105"/>
                    <a:pt x="81" y="96"/>
                    <a:pt x="84" y="93"/>
                  </a:cubicBezTo>
                  <a:cubicBezTo>
                    <a:pt x="87" y="93"/>
                    <a:pt x="84" y="87"/>
                    <a:pt x="84" y="84"/>
                  </a:cubicBezTo>
                  <a:cubicBezTo>
                    <a:pt x="84" y="84"/>
                    <a:pt x="96" y="78"/>
                    <a:pt x="99" y="75"/>
                  </a:cubicBezTo>
                  <a:cubicBezTo>
                    <a:pt x="99" y="72"/>
                    <a:pt x="99" y="66"/>
                    <a:pt x="99" y="63"/>
                  </a:cubicBezTo>
                  <a:cubicBezTo>
                    <a:pt x="96" y="63"/>
                    <a:pt x="93" y="66"/>
                    <a:pt x="93" y="63"/>
                  </a:cubicBezTo>
                  <a:cubicBezTo>
                    <a:pt x="93" y="63"/>
                    <a:pt x="93" y="54"/>
                    <a:pt x="90" y="51"/>
                  </a:cubicBezTo>
                  <a:cubicBezTo>
                    <a:pt x="87" y="48"/>
                    <a:pt x="90" y="42"/>
                    <a:pt x="87" y="42"/>
                  </a:cubicBezTo>
                  <a:cubicBezTo>
                    <a:pt x="84" y="39"/>
                    <a:pt x="81" y="33"/>
                    <a:pt x="81" y="33"/>
                  </a:cubicBezTo>
                  <a:cubicBezTo>
                    <a:pt x="84" y="30"/>
                    <a:pt x="81" y="27"/>
                    <a:pt x="84" y="24"/>
                  </a:cubicBezTo>
                  <a:cubicBezTo>
                    <a:pt x="87" y="21"/>
                    <a:pt x="84" y="21"/>
                    <a:pt x="81" y="18"/>
                  </a:cubicBezTo>
                  <a:cubicBezTo>
                    <a:pt x="78" y="15"/>
                    <a:pt x="81" y="9"/>
                    <a:pt x="78" y="6"/>
                  </a:cubicBezTo>
                  <a:cubicBezTo>
                    <a:pt x="72" y="3"/>
                    <a:pt x="72" y="0"/>
                    <a:pt x="72" y="0"/>
                  </a:cubicBezTo>
                  <a:cubicBezTo>
                    <a:pt x="72" y="3"/>
                    <a:pt x="72" y="9"/>
                    <a:pt x="69" y="9"/>
                  </a:cubicBezTo>
                  <a:cubicBezTo>
                    <a:pt x="66" y="9"/>
                    <a:pt x="66" y="12"/>
                    <a:pt x="66" y="12"/>
                  </a:cubicBezTo>
                  <a:cubicBezTo>
                    <a:pt x="66" y="15"/>
                    <a:pt x="63" y="18"/>
                    <a:pt x="66" y="21"/>
                  </a:cubicBezTo>
                  <a:cubicBezTo>
                    <a:pt x="66" y="27"/>
                    <a:pt x="69" y="45"/>
                    <a:pt x="66" y="51"/>
                  </a:cubicBezTo>
                  <a:cubicBezTo>
                    <a:pt x="66" y="57"/>
                    <a:pt x="63" y="63"/>
                    <a:pt x="63" y="69"/>
                  </a:cubicBezTo>
                  <a:cubicBezTo>
                    <a:pt x="60" y="72"/>
                    <a:pt x="66" y="72"/>
                    <a:pt x="63" y="75"/>
                  </a:cubicBezTo>
                  <a:cubicBezTo>
                    <a:pt x="60" y="75"/>
                    <a:pt x="63" y="81"/>
                    <a:pt x="63" y="90"/>
                  </a:cubicBezTo>
                  <a:cubicBezTo>
                    <a:pt x="63" y="96"/>
                    <a:pt x="57" y="111"/>
                    <a:pt x="57" y="114"/>
                  </a:cubicBezTo>
                  <a:cubicBezTo>
                    <a:pt x="57" y="120"/>
                    <a:pt x="54" y="123"/>
                    <a:pt x="54" y="126"/>
                  </a:cubicBezTo>
                  <a:cubicBezTo>
                    <a:pt x="54" y="132"/>
                    <a:pt x="51" y="135"/>
                    <a:pt x="48" y="138"/>
                  </a:cubicBezTo>
                  <a:cubicBezTo>
                    <a:pt x="45" y="138"/>
                    <a:pt x="54" y="147"/>
                    <a:pt x="54" y="150"/>
                  </a:cubicBezTo>
                  <a:cubicBezTo>
                    <a:pt x="54" y="153"/>
                    <a:pt x="48" y="156"/>
                    <a:pt x="48" y="162"/>
                  </a:cubicBezTo>
                  <a:cubicBezTo>
                    <a:pt x="51" y="171"/>
                    <a:pt x="48" y="183"/>
                    <a:pt x="48" y="186"/>
                  </a:cubicBezTo>
                  <a:cubicBezTo>
                    <a:pt x="48" y="189"/>
                    <a:pt x="45" y="189"/>
                    <a:pt x="45" y="195"/>
                  </a:cubicBezTo>
                  <a:cubicBezTo>
                    <a:pt x="48" y="201"/>
                    <a:pt x="42" y="201"/>
                    <a:pt x="42" y="210"/>
                  </a:cubicBezTo>
                  <a:cubicBezTo>
                    <a:pt x="42" y="216"/>
                    <a:pt x="36" y="228"/>
                    <a:pt x="33" y="234"/>
                  </a:cubicBezTo>
                  <a:cubicBezTo>
                    <a:pt x="30" y="240"/>
                    <a:pt x="30" y="243"/>
                    <a:pt x="27" y="243"/>
                  </a:cubicBezTo>
                  <a:cubicBezTo>
                    <a:pt x="24" y="243"/>
                    <a:pt x="24" y="246"/>
                    <a:pt x="27" y="249"/>
                  </a:cubicBezTo>
                  <a:cubicBezTo>
                    <a:pt x="30" y="255"/>
                    <a:pt x="24" y="258"/>
                    <a:pt x="27" y="264"/>
                  </a:cubicBezTo>
                  <a:cubicBezTo>
                    <a:pt x="30" y="270"/>
                    <a:pt x="30" y="270"/>
                    <a:pt x="30" y="276"/>
                  </a:cubicBezTo>
                  <a:cubicBezTo>
                    <a:pt x="27" y="282"/>
                    <a:pt x="24" y="282"/>
                    <a:pt x="24" y="285"/>
                  </a:cubicBezTo>
                  <a:cubicBezTo>
                    <a:pt x="24" y="291"/>
                    <a:pt x="21" y="293"/>
                    <a:pt x="24" y="299"/>
                  </a:cubicBezTo>
                  <a:cubicBezTo>
                    <a:pt x="27" y="302"/>
                    <a:pt x="24" y="305"/>
                    <a:pt x="24" y="305"/>
                  </a:cubicBezTo>
                  <a:cubicBezTo>
                    <a:pt x="21" y="305"/>
                    <a:pt x="18" y="308"/>
                    <a:pt x="18" y="317"/>
                  </a:cubicBezTo>
                  <a:cubicBezTo>
                    <a:pt x="18" y="326"/>
                    <a:pt x="18" y="326"/>
                    <a:pt x="24" y="323"/>
                  </a:cubicBezTo>
                  <a:cubicBezTo>
                    <a:pt x="30" y="323"/>
                    <a:pt x="24" y="305"/>
                    <a:pt x="27" y="305"/>
                  </a:cubicBezTo>
                  <a:cubicBezTo>
                    <a:pt x="33" y="305"/>
                    <a:pt x="30" y="302"/>
                    <a:pt x="33" y="299"/>
                  </a:cubicBezTo>
                  <a:cubicBezTo>
                    <a:pt x="36" y="299"/>
                    <a:pt x="33" y="302"/>
                    <a:pt x="36" y="305"/>
                  </a:cubicBezTo>
                  <a:cubicBezTo>
                    <a:pt x="39" y="305"/>
                    <a:pt x="39" y="308"/>
                    <a:pt x="36" y="308"/>
                  </a:cubicBezTo>
                  <a:cubicBezTo>
                    <a:pt x="33" y="311"/>
                    <a:pt x="36" y="317"/>
                    <a:pt x="36" y="317"/>
                  </a:cubicBezTo>
                  <a:cubicBezTo>
                    <a:pt x="33" y="320"/>
                    <a:pt x="30" y="323"/>
                    <a:pt x="33" y="326"/>
                  </a:cubicBezTo>
                  <a:cubicBezTo>
                    <a:pt x="33" y="332"/>
                    <a:pt x="30" y="329"/>
                    <a:pt x="30" y="335"/>
                  </a:cubicBezTo>
                  <a:cubicBezTo>
                    <a:pt x="30" y="338"/>
                    <a:pt x="33" y="338"/>
                    <a:pt x="30" y="341"/>
                  </a:cubicBezTo>
                  <a:cubicBezTo>
                    <a:pt x="30" y="341"/>
                    <a:pt x="33" y="344"/>
                    <a:pt x="30" y="344"/>
                  </a:cubicBezTo>
                  <a:cubicBezTo>
                    <a:pt x="27" y="344"/>
                    <a:pt x="30" y="350"/>
                    <a:pt x="30" y="353"/>
                  </a:cubicBezTo>
                  <a:cubicBezTo>
                    <a:pt x="33" y="356"/>
                    <a:pt x="27" y="353"/>
                    <a:pt x="27" y="356"/>
                  </a:cubicBezTo>
                  <a:cubicBezTo>
                    <a:pt x="24" y="356"/>
                    <a:pt x="27" y="359"/>
                    <a:pt x="27" y="362"/>
                  </a:cubicBezTo>
                  <a:cubicBezTo>
                    <a:pt x="24" y="365"/>
                    <a:pt x="21" y="362"/>
                    <a:pt x="18" y="359"/>
                  </a:cubicBezTo>
                  <a:cubicBezTo>
                    <a:pt x="18" y="359"/>
                    <a:pt x="21" y="356"/>
                    <a:pt x="24" y="353"/>
                  </a:cubicBezTo>
                  <a:cubicBezTo>
                    <a:pt x="27" y="350"/>
                    <a:pt x="21" y="341"/>
                    <a:pt x="18" y="344"/>
                  </a:cubicBezTo>
                  <a:cubicBezTo>
                    <a:pt x="15" y="344"/>
                    <a:pt x="21" y="350"/>
                    <a:pt x="21" y="353"/>
                  </a:cubicBezTo>
                  <a:cubicBezTo>
                    <a:pt x="21" y="356"/>
                    <a:pt x="15" y="353"/>
                    <a:pt x="15" y="356"/>
                  </a:cubicBezTo>
                  <a:cubicBezTo>
                    <a:pt x="15" y="359"/>
                    <a:pt x="12" y="359"/>
                    <a:pt x="9" y="359"/>
                  </a:cubicBezTo>
                  <a:cubicBezTo>
                    <a:pt x="6" y="362"/>
                    <a:pt x="12" y="365"/>
                    <a:pt x="9" y="365"/>
                  </a:cubicBezTo>
                  <a:cubicBezTo>
                    <a:pt x="3" y="371"/>
                    <a:pt x="3" y="371"/>
                    <a:pt x="3" y="371"/>
                  </a:cubicBezTo>
                  <a:cubicBezTo>
                    <a:pt x="3" y="374"/>
                    <a:pt x="6" y="374"/>
                    <a:pt x="6" y="374"/>
                  </a:cubicBezTo>
                  <a:cubicBezTo>
                    <a:pt x="6" y="371"/>
                    <a:pt x="9" y="371"/>
                    <a:pt x="12" y="374"/>
                  </a:cubicBezTo>
                  <a:cubicBezTo>
                    <a:pt x="12" y="377"/>
                    <a:pt x="15" y="374"/>
                    <a:pt x="18" y="374"/>
                  </a:cubicBezTo>
                  <a:cubicBezTo>
                    <a:pt x="21" y="374"/>
                    <a:pt x="21" y="380"/>
                    <a:pt x="18" y="380"/>
                  </a:cubicBezTo>
                  <a:cubicBezTo>
                    <a:pt x="18" y="380"/>
                    <a:pt x="15" y="383"/>
                    <a:pt x="15" y="386"/>
                  </a:cubicBezTo>
                  <a:cubicBezTo>
                    <a:pt x="15" y="389"/>
                    <a:pt x="24" y="386"/>
                    <a:pt x="27" y="386"/>
                  </a:cubicBezTo>
                  <a:cubicBezTo>
                    <a:pt x="30" y="389"/>
                    <a:pt x="27" y="395"/>
                    <a:pt x="27" y="392"/>
                  </a:cubicBezTo>
                  <a:cubicBezTo>
                    <a:pt x="24" y="389"/>
                    <a:pt x="21" y="386"/>
                    <a:pt x="18" y="389"/>
                  </a:cubicBezTo>
                  <a:cubicBezTo>
                    <a:pt x="18" y="392"/>
                    <a:pt x="15" y="392"/>
                    <a:pt x="12" y="392"/>
                  </a:cubicBezTo>
                  <a:cubicBezTo>
                    <a:pt x="9" y="389"/>
                    <a:pt x="0" y="395"/>
                    <a:pt x="3" y="398"/>
                  </a:cubicBezTo>
                  <a:cubicBezTo>
                    <a:pt x="6" y="398"/>
                    <a:pt x="6" y="401"/>
                    <a:pt x="9" y="401"/>
                  </a:cubicBezTo>
                  <a:cubicBezTo>
                    <a:pt x="9" y="401"/>
                    <a:pt x="12" y="401"/>
                    <a:pt x="15" y="398"/>
                  </a:cubicBezTo>
                  <a:cubicBezTo>
                    <a:pt x="15" y="395"/>
                    <a:pt x="18" y="395"/>
                    <a:pt x="18" y="398"/>
                  </a:cubicBezTo>
                  <a:cubicBezTo>
                    <a:pt x="18" y="404"/>
                    <a:pt x="15" y="401"/>
                    <a:pt x="12" y="404"/>
                  </a:cubicBezTo>
                  <a:cubicBezTo>
                    <a:pt x="12" y="407"/>
                    <a:pt x="9" y="407"/>
                    <a:pt x="6" y="410"/>
                  </a:cubicBezTo>
                  <a:cubicBezTo>
                    <a:pt x="3" y="413"/>
                    <a:pt x="6" y="416"/>
                    <a:pt x="9" y="416"/>
                  </a:cubicBezTo>
                  <a:cubicBezTo>
                    <a:pt x="12" y="413"/>
                    <a:pt x="9" y="419"/>
                    <a:pt x="12" y="419"/>
                  </a:cubicBezTo>
                  <a:cubicBezTo>
                    <a:pt x="15" y="419"/>
                    <a:pt x="15" y="416"/>
                    <a:pt x="15" y="413"/>
                  </a:cubicBezTo>
                  <a:cubicBezTo>
                    <a:pt x="15" y="413"/>
                    <a:pt x="18" y="407"/>
                    <a:pt x="21" y="410"/>
                  </a:cubicBezTo>
                  <a:cubicBezTo>
                    <a:pt x="24" y="413"/>
                    <a:pt x="18" y="413"/>
                    <a:pt x="18" y="416"/>
                  </a:cubicBezTo>
                  <a:cubicBezTo>
                    <a:pt x="18" y="419"/>
                    <a:pt x="18" y="422"/>
                    <a:pt x="18" y="425"/>
                  </a:cubicBezTo>
                  <a:cubicBezTo>
                    <a:pt x="18" y="428"/>
                    <a:pt x="15" y="428"/>
                    <a:pt x="15" y="431"/>
                  </a:cubicBezTo>
                  <a:cubicBezTo>
                    <a:pt x="15" y="434"/>
                    <a:pt x="6" y="431"/>
                    <a:pt x="9" y="434"/>
                  </a:cubicBezTo>
                  <a:cubicBezTo>
                    <a:pt x="15" y="434"/>
                    <a:pt x="9" y="437"/>
                    <a:pt x="9" y="440"/>
                  </a:cubicBezTo>
                  <a:cubicBezTo>
                    <a:pt x="12" y="440"/>
                    <a:pt x="12" y="437"/>
                    <a:pt x="15" y="437"/>
                  </a:cubicBezTo>
                  <a:cubicBezTo>
                    <a:pt x="18" y="440"/>
                    <a:pt x="18" y="440"/>
                    <a:pt x="21" y="437"/>
                  </a:cubicBezTo>
                  <a:cubicBezTo>
                    <a:pt x="24" y="437"/>
                    <a:pt x="27" y="440"/>
                    <a:pt x="24" y="443"/>
                  </a:cubicBezTo>
                  <a:cubicBezTo>
                    <a:pt x="21" y="443"/>
                    <a:pt x="18" y="446"/>
                    <a:pt x="18" y="446"/>
                  </a:cubicBezTo>
                  <a:cubicBezTo>
                    <a:pt x="21" y="446"/>
                    <a:pt x="24" y="443"/>
                    <a:pt x="27" y="449"/>
                  </a:cubicBezTo>
                  <a:cubicBezTo>
                    <a:pt x="27" y="452"/>
                    <a:pt x="30" y="449"/>
                    <a:pt x="30" y="446"/>
                  </a:cubicBezTo>
                  <a:cubicBezTo>
                    <a:pt x="30" y="443"/>
                    <a:pt x="36" y="446"/>
                    <a:pt x="36" y="449"/>
                  </a:cubicBezTo>
                  <a:cubicBezTo>
                    <a:pt x="39" y="452"/>
                    <a:pt x="30" y="455"/>
                    <a:pt x="27" y="452"/>
                  </a:cubicBezTo>
                  <a:cubicBezTo>
                    <a:pt x="24" y="452"/>
                    <a:pt x="21" y="455"/>
                    <a:pt x="24" y="461"/>
                  </a:cubicBezTo>
                  <a:cubicBezTo>
                    <a:pt x="27" y="464"/>
                    <a:pt x="30" y="461"/>
                    <a:pt x="33" y="458"/>
                  </a:cubicBezTo>
                  <a:cubicBezTo>
                    <a:pt x="33" y="455"/>
                    <a:pt x="48" y="455"/>
                    <a:pt x="48" y="458"/>
                  </a:cubicBezTo>
                  <a:cubicBezTo>
                    <a:pt x="51" y="461"/>
                    <a:pt x="42" y="458"/>
                    <a:pt x="42" y="461"/>
                  </a:cubicBezTo>
                  <a:cubicBezTo>
                    <a:pt x="42" y="461"/>
                    <a:pt x="36" y="464"/>
                    <a:pt x="36" y="461"/>
                  </a:cubicBezTo>
                  <a:cubicBezTo>
                    <a:pt x="33" y="458"/>
                    <a:pt x="30" y="461"/>
                    <a:pt x="30" y="464"/>
                  </a:cubicBezTo>
                  <a:cubicBezTo>
                    <a:pt x="27" y="470"/>
                    <a:pt x="24" y="470"/>
                    <a:pt x="30" y="470"/>
                  </a:cubicBezTo>
                  <a:cubicBezTo>
                    <a:pt x="33" y="470"/>
                    <a:pt x="33" y="464"/>
                    <a:pt x="39" y="467"/>
                  </a:cubicBezTo>
                  <a:cubicBezTo>
                    <a:pt x="45" y="467"/>
                    <a:pt x="51" y="458"/>
                    <a:pt x="51" y="464"/>
                  </a:cubicBezTo>
                  <a:cubicBezTo>
                    <a:pt x="54" y="467"/>
                    <a:pt x="45" y="470"/>
                    <a:pt x="42" y="467"/>
                  </a:cubicBezTo>
                  <a:cubicBezTo>
                    <a:pt x="42" y="464"/>
                    <a:pt x="36" y="470"/>
                    <a:pt x="39" y="473"/>
                  </a:cubicBezTo>
                  <a:cubicBezTo>
                    <a:pt x="39" y="476"/>
                    <a:pt x="30" y="473"/>
                    <a:pt x="27" y="473"/>
                  </a:cubicBezTo>
                  <a:cubicBezTo>
                    <a:pt x="21" y="470"/>
                    <a:pt x="24" y="476"/>
                    <a:pt x="27" y="479"/>
                  </a:cubicBezTo>
                  <a:cubicBezTo>
                    <a:pt x="30" y="482"/>
                    <a:pt x="33" y="479"/>
                    <a:pt x="36" y="482"/>
                  </a:cubicBezTo>
                  <a:cubicBezTo>
                    <a:pt x="42" y="485"/>
                    <a:pt x="42" y="488"/>
                    <a:pt x="45" y="485"/>
                  </a:cubicBezTo>
                  <a:cubicBezTo>
                    <a:pt x="48" y="482"/>
                    <a:pt x="45" y="482"/>
                    <a:pt x="42" y="482"/>
                  </a:cubicBezTo>
                  <a:cubicBezTo>
                    <a:pt x="39" y="479"/>
                    <a:pt x="42" y="476"/>
                    <a:pt x="45" y="479"/>
                  </a:cubicBezTo>
                  <a:cubicBezTo>
                    <a:pt x="51" y="479"/>
                    <a:pt x="57" y="476"/>
                    <a:pt x="54" y="470"/>
                  </a:cubicBezTo>
                  <a:cubicBezTo>
                    <a:pt x="54" y="464"/>
                    <a:pt x="60" y="461"/>
                    <a:pt x="66" y="458"/>
                  </a:cubicBezTo>
                  <a:cubicBezTo>
                    <a:pt x="72" y="458"/>
                    <a:pt x="69" y="464"/>
                    <a:pt x="63" y="464"/>
                  </a:cubicBezTo>
                  <a:cubicBezTo>
                    <a:pt x="60" y="467"/>
                    <a:pt x="60" y="467"/>
                    <a:pt x="63" y="470"/>
                  </a:cubicBezTo>
                  <a:cubicBezTo>
                    <a:pt x="66" y="473"/>
                    <a:pt x="69" y="470"/>
                    <a:pt x="72" y="470"/>
                  </a:cubicBezTo>
                  <a:cubicBezTo>
                    <a:pt x="75" y="473"/>
                    <a:pt x="66" y="473"/>
                    <a:pt x="66" y="476"/>
                  </a:cubicBezTo>
                  <a:cubicBezTo>
                    <a:pt x="66" y="479"/>
                    <a:pt x="72" y="482"/>
                    <a:pt x="66" y="485"/>
                  </a:cubicBezTo>
                  <a:cubicBezTo>
                    <a:pt x="63" y="485"/>
                    <a:pt x="63" y="476"/>
                    <a:pt x="63" y="476"/>
                  </a:cubicBezTo>
                  <a:cubicBezTo>
                    <a:pt x="60" y="473"/>
                    <a:pt x="57" y="476"/>
                    <a:pt x="60" y="482"/>
                  </a:cubicBezTo>
                  <a:cubicBezTo>
                    <a:pt x="63" y="488"/>
                    <a:pt x="57" y="482"/>
                    <a:pt x="54" y="479"/>
                  </a:cubicBezTo>
                  <a:cubicBezTo>
                    <a:pt x="51" y="476"/>
                    <a:pt x="48" y="482"/>
                    <a:pt x="51" y="485"/>
                  </a:cubicBezTo>
                  <a:cubicBezTo>
                    <a:pt x="54" y="488"/>
                    <a:pt x="45" y="485"/>
                    <a:pt x="45" y="488"/>
                  </a:cubicBezTo>
                  <a:cubicBezTo>
                    <a:pt x="45" y="494"/>
                    <a:pt x="48" y="491"/>
                    <a:pt x="54" y="491"/>
                  </a:cubicBezTo>
                  <a:cubicBezTo>
                    <a:pt x="57" y="491"/>
                    <a:pt x="57" y="497"/>
                    <a:pt x="60" y="500"/>
                  </a:cubicBezTo>
                  <a:cubicBezTo>
                    <a:pt x="63" y="503"/>
                    <a:pt x="60" y="494"/>
                    <a:pt x="63" y="491"/>
                  </a:cubicBezTo>
                  <a:cubicBezTo>
                    <a:pt x="66" y="491"/>
                    <a:pt x="63" y="500"/>
                    <a:pt x="72" y="503"/>
                  </a:cubicBezTo>
                  <a:cubicBezTo>
                    <a:pt x="78" y="506"/>
                    <a:pt x="72" y="500"/>
                    <a:pt x="75" y="497"/>
                  </a:cubicBezTo>
                  <a:cubicBezTo>
                    <a:pt x="78" y="497"/>
                    <a:pt x="84" y="506"/>
                    <a:pt x="87" y="506"/>
                  </a:cubicBezTo>
                  <a:cubicBezTo>
                    <a:pt x="90" y="509"/>
                    <a:pt x="87" y="503"/>
                    <a:pt x="84" y="500"/>
                  </a:cubicBezTo>
                  <a:cubicBezTo>
                    <a:pt x="84" y="497"/>
                    <a:pt x="87" y="497"/>
                    <a:pt x="93" y="500"/>
                  </a:cubicBezTo>
                  <a:cubicBezTo>
                    <a:pt x="96" y="500"/>
                    <a:pt x="99" y="500"/>
                    <a:pt x="99" y="497"/>
                  </a:cubicBezTo>
                  <a:cubicBezTo>
                    <a:pt x="99" y="497"/>
                    <a:pt x="99" y="497"/>
                    <a:pt x="102" y="497"/>
                  </a:cubicBezTo>
                  <a:cubicBezTo>
                    <a:pt x="96" y="494"/>
                    <a:pt x="84" y="497"/>
                    <a:pt x="81" y="497"/>
                  </a:cubicBezTo>
                  <a:cubicBezTo>
                    <a:pt x="81" y="497"/>
                    <a:pt x="81" y="467"/>
                    <a:pt x="81" y="458"/>
                  </a:cubicBezTo>
                  <a:cubicBezTo>
                    <a:pt x="81" y="458"/>
                    <a:pt x="81" y="458"/>
                    <a:pt x="81" y="458"/>
                  </a:cubicBezTo>
                  <a:cubicBezTo>
                    <a:pt x="78" y="458"/>
                    <a:pt x="72" y="461"/>
                    <a:pt x="72" y="455"/>
                  </a:cubicBezTo>
                  <a:cubicBezTo>
                    <a:pt x="72" y="455"/>
                    <a:pt x="72" y="455"/>
                    <a:pt x="72" y="452"/>
                  </a:cubicBezTo>
                  <a:cubicBezTo>
                    <a:pt x="72" y="452"/>
                    <a:pt x="69" y="452"/>
                    <a:pt x="66" y="449"/>
                  </a:cubicBezTo>
                  <a:cubicBezTo>
                    <a:pt x="63" y="449"/>
                    <a:pt x="51" y="449"/>
                    <a:pt x="48" y="449"/>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2" name="Freeform 857"/>
            <p:cNvSpPr>
              <a:spLocks/>
            </p:cNvSpPr>
            <p:nvPr userDrawn="1"/>
          </p:nvSpPr>
          <p:spPr bwMode="auto">
            <a:xfrm>
              <a:off x="2367" y="-794"/>
              <a:ext cx="154" cy="158"/>
            </a:xfrm>
            <a:custGeom>
              <a:avLst/>
              <a:gdLst>
                <a:gd name="T0" fmla="*/ 96 w 99"/>
                <a:gd name="T1" fmla="*/ 54 h 101"/>
                <a:gd name="T2" fmla="*/ 87 w 99"/>
                <a:gd name="T3" fmla="*/ 57 h 101"/>
                <a:gd name="T4" fmla="*/ 81 w 99"/>
                <a:gd name="T5" fmla="*/ 45 h 101"/>
                <a:gd name="T6" fmla="*/ 72 w 99"/>
                <a:gd name="T7" fmla="*/ 36 h 101"/>
                <a:gd name="T8" fmla="*/ 63 w 99"/>
                <a:gd name="T9" fmla="*/ 33 h 101"/>
                <a:gd name="T10" fmla="*/ 57 w 99"/>
                <a:gd name="T11" fmla="*/ 24 h 101"/>
                <a:gd name="T12" fmla="*/ 54 w 99"/>
                <a:gd name="T13" fmla="*/ 12 h 101"/>
                <a:gd name="T14" fmla="*/ 54 w 99"/>
                <a:gd name="T15" fmla="*/ 6 h 101"/>
                <a:gd name="T16" fmla="*/ 51 w 99"/>
                <a:gd name="T17" fmla="*/ 6 h 101"/>
                <a:gd name="T18" fmla="*/ 42 w 99"/>
                <a:gd name="T19" fmla="*/ 0 h 101"/>
                <a:gd name="T20" fmla="*/ 30 w 99"/>
                <a:gd name="T21" fmla="*/ 3 h 101"/>
                <a:gd name="T22" fmla="*/ 15 w 99"/>
                <a:gd name="T23" fmla="*/ 6 h 101"/>
                <a:gd name="T24" fmla="*/ 6 w 99"/>
                <a:gd name="T25" fmla="*/ 15 h 101"/>
                <a:gd name="T26" fmla="*/ 3 w 99"/>
                <a:gd name="T27" fmla="*/ 33 h 101"/>
                <a:gd name="T28" fmla="*/ 0 w 99"/>
                <a:gd name="T29" fmla="*/ 33 h 101"/>
                <a:gd name="T30" fmla="*/ 15 w 99"/>
                <a:gd name="T31" fmla="*/ 48 h 101"/>
                <a:gd name="T32" fmla="*/ 27 w 99"/>
                <a:gd name="T33" fmla="*/ 57 h 101"/>
                <a:gd name="T34" fmla="*/ 39 w 99"/>
                <a:gd name="T35" fmla="*/ 62 h 101"/>
                <a:gd name="T36" fmla="*/ 60 w 99"/>
                <a:gd name="T37" fmla="*/ 71 h 101"/>
                <a:gd name="T38" fmla="*/ 51 w 99"/>
                <a:gd name="T39" fmla="*/ 86 h 101"/>
                <a:gd name="T40" fmla="*/ 48 w 99"/>
                <a:gd name="T41" fmla="*/ 95 h 101"/>
                <a:gd name="T42" fmla="*/ 60 w 99"/>
                <a:gd name="T43" fmla="*/ 98 h 101"/>
                <a:gd name="T44" fmla="*/ 69 w 99"/>
                <a:gd name="T45" fmla="*/ 98 h 101"/>
                <a:gd name="T46" fmla="*/ 78 w 99"/>
                <a:gd name="T47" fmla="*/ 95 h 101"/>
                <a:gd name="T48" fmla="*/ 87 w 99"/>
                <a:gd name="T49" fmla="*/ 92 h 101"/>
                <a:gd name="T50" fmla="*/ 93 w 99"/>
                <a:gd name="T51" fmla="*/ 74 h 101"/>
                <a:gd name="T52" fmla="*/ 96 w 99"/>
                <a:gd name="T53" fmla="*/ 5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01">
                  <a:moveTo>
                    <a:pt x="96" y="54"/>
                  </a:moveTo>
                  <a:cubicBezTo>
                    <a:pt x="90" y="54"/>
                    <a:pt x="87" y="57"/>
                    <a:pt x="87" y="57"/>
                  </a:cubicBezTo>
                  <a:cubicBezTo>
                    <a:pt x="84" y="57"/>
                    <a:pt x="81" y="48"/>
                    <a:pt x="81" y="45"/>
                  </a:cubicBezTo>
                  <a:cubicBezTo>
                    <a:pt x="78" y="42"/>
                    <a:pt x="75" y="33"/>
                    <a:pt x="72" y="36"/>
                  </a:cubicBezTo>
                  <a:cubicBezTo>
                    <a:pt x="69" y="36"/>
                    <a:pt x="69" y="33"/>
                    <a:pt x="63" y="33"/>
                  </a:cubicBezTo>
                  <a:cubicBezTo>
                    <a:pt x="54" y="33"/>
                    <a:pt x="54" y="33"/>
                    <a:pt x="57" y="24"/>
                  </a:cubicBezTo>
                  <a:cubicBezTo>
                    <a:pt x="60" y="18"/>
                    <a:pt x="51" y="12"/>
                    <a:pt x="54" y="12"/>
                  </a:cubicBezTo>
                  <a:cubicBezTo>
                    <a:pt x="57" y="9"/>
                    <a:pt x="57" y="9"/>
                    <a:pt x="54" y="6"/>
                  </a:cubicBezTo>
                  <a:cubicBezTo>
                    <a:pt x="54" y="6"/>
                    <a:pt x="54" y="6"/>
                    <a:pt x="51" y="6"/>
                  </a:cubicBezTo>
                  <a:cubicBezTo>
                    <a:pt x="51" y="6"/>
                    <a:pt x="45" y="0"/>
                    <a:pt x="42" y="0"/>
                  </a:cubicBezTo>
                  <a:cubicBezTo>
                    <a:pt x="36" y="0"/>
                    <a:pt x="33" y="0"/>
                    <a:pt x="30" y="3"/>
                  </a:cubicBezTo>
                  <a:cubicBezTo>
                    <a:pt x="24" y="3"/>
                    <a:pt x="18" y="3"/>
                    <a:pt x="15" y="6"/>
                  </a:cubicBezTo>
                  <a:cubicBezTo>
                    <a:pt x="12" y="6"/>
                    <a:pt x="6" y="12"/>
                    <a:pt x="6" y="15"/>
                  </a:cubicBezTo>
                  <a:cubicBezTo>
                    <a:pt x="6" y="18"/>
                    <a:pt x="6" y="33"/>
                    <a:pt x="3" y="33"/>
                  </a:cubicBezTo>
                  <a:cubicBezTo>
                    <a:pt x="0" y="33"/>
                    <a:pt x="0" y="33"/>
                    <a:pt x="0" y="33"/>
                  </a:cubicBezTo>
                  <a:cubicBezTo>
                    <a:pt x="3" y="36"/>
                    <a:pt x="9" y="45"/>
                    <a:pt x="15" y="48"/>
                  </a:cubicBezTo>
                  <a:cubicBezTo>
                    <a:pt x="21" y="51"/>
                    <a:pt x="21" y="57"/>
                    <a:pt x="27" y="57"/>
                  </a:cubicBezTo>
                  <a:cubicBezTo>
                    <a:pt x="33" y="57"/>
                    <a:pt x="39" y="60"/>
                    <a:pt x="39" y="62"/>
                  </a:cubicBezTo>
                  <a:cubicBezTo>
                    <a:pt x="42" y="65"/>
                    <a:pt x="60" y="71"/>
                    <a:pt x="60" y="71"/>
                  </a:cubicBezTo>
                  <a:cubicBezTo>
                    <a:pt x="63" y="74"/>
                    <a:pt x="51" y="80"/>
                    <a:pt x="51" y="86"/>
                  </a:cubicBezTo>
                  <a:cubicBezTo>
                    <a:pt x="51" y="92"/>
                    <a:pt x="48" y="92"/>
                    <a:pt x="48" y="95"/>
                  </a:cubicBezTo>
                  <a:cubicBezTo>
                    <a:pt x="48" y="98"/>
                    <a:pt x="57" y="95"/>
                    <a:pt x="60" y="98"/>
                  </a:cubicBezTo>
                  <a:cubicBezTo>
                    <a:pt x="63" y="98"/>
                    <a:pt x="66" y="95"/>
                    <a:pt x="69" y="98"/>
                  </a:cubicBezTo>
                  <a:cubicBezTo>
                    <a:pt x="72" y="101"/>
                    <a:pt x="78" y="95"/>
                    <a:pt x="78" y="95"/>
                  </a:cubicBezTo>
                  <a:cubicBezTo>
                    <a:pt x="81" y="98"/>
                    <a:pt x="84" y="92"/>
                    <a:pt x="87" y="92"/>
                  </a:cubicBezTo>
                  <a:cubicBezTo>
                    <a:pt x="93" y="92"/>
                    <a:pt x="96" y="80"/>
                    <a:pt x="93" y="74"/>
                  </a:cubicBezTo>
                  <a:cubicBezTo>
                    <a:pt x="93" y="71"/>
                    <a:pt x="99" y="57"/>
                    <a:pt x="96" y="5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3" name="Freeform 858"/>
            <p:cNvSpPr>
              <a:spLocks/>
            </p:cNvSpPr>
            <p:nvPr userDrawn="1"/>
          </p:nvSpPr>
          <p:spPr bwMode="auto">
            <a:xfrm>
              <a:off x="2367" y="-794"/>
              <a:ext cx="154" cy="158"/>
            </a:xfrm>
            <a:custGeom>
              <a:avLst/>
              <a:gdLst>
                <a:gd name="T0" fmla="*/ 96 w 99"/>
                <a:gd name="T1" fmla="*/ 54 h 101"/>
                <a:gd name="T2" fmla="*/ 87 w 99"/>
                <a:gd name="T3" fmla="*/ 57 h 101"/>
                <a:gd name="T4" fmla="*/ 81 w 99"/>
                <a:gd name="T5" fmla="*/ 45 h 101"/>
                <a:gd name="T6" fmla="*/ 72 w 99"/>
                <a:gd name="T7" fmla="*/ 36 h 101"/>
                <a:gd name="T8" fmla="*/ 63 w 99"/>
                <a:gd name="T9" fmla="*/ 33 h 101"/>
                <a:gd name="T10" fmla="*/ 57 w 99"/>
                <a:gd name="T11" fmla="*/ 24 h 101"/>
                <a:gd name="T12" fmla="*/ 54 w 99"/>
                <a:gd name="T13" fmla="*/ 12 h 101"/>
                <a:gd name="T14" fmla="*/ 54 w 99"/>
                <a:gd name="T15" fmla="*/ 6 h 101"/>
                <a:gd name="T16" fmla="*/ 51 w 99"/>
                <a:gd name="T17" fmla="*/ 6 h 101"/>
                <a:gd name="T18" fmla="*/ 42 w 99"/>
                <a:gd name="T19" fmla="*/ 0 h 101"/>
                <a:gd name="T20" fmla="*/ 30 w 99"/>
                <a:gd name="T21" fmla="*/ 3 h 101"/>
                <a:gd name="T22" fmla="*/ 15 w 99"/>
                <a:gd name="T23" fmla="*/ 6 h 101"/>
                <a:gd name="T24" fmla="*/ 6 w 99"/>
                <a:gd name="T25" fmla="*/ 15 h 101"/>
                <a:gd name="T26" fmla="*/ 3 w 99"/>
                <a:gd name="T27" fmla="*/ 33 h 101"/>
                <a:gd name="T28" fmla="*/ 0 w 99"/>
                <a:gd name="T29" fmla="*/ 33 h 101"/>
                <a:gd name="T30" fmla="*/ 15 w 99"/>
                <a:gd name="T31" fmla="*/ 48 h 101"/>
                <a:gd name="T32" fmla="*/ 27 w 99"/>
                <a:gd name="T33" fmla="*/ 57 h 101"/>
                <a:gd name="T34" fmla="*/ 39 w 99"/>
                <a:gd name="T35" fmla="*/ 62 h 101"/>
                <a:gd name="T36" fmla="*/ 60 w 99"/>
                <a:gd name="T37" fmla="*/ 71 h 101"/>
                <a:gd name="T38" fmla="*/ 51 w 99"/>
                <a:gd name="T39" fmla="*/ 86 h 101"/>
                <a:gd name="T40" fmla="*/ 48 w 99"/>
                <a:gd name="T41" fmla="*/ 95 h 101"/>
                <a:gd name="T42" fmla="*/ 60 w 99"/>
                <a:gd name="T43" fmla="*/ 98 h 101"/>
                <a:gd name="T44" fmla="*/ 69 w 99"/>
                <a:gd name="T45" fmla="*/ 98 h 101"/>
                <a:gd name="T46" fmla="*/ 78 w 99"/>
                <a:gd name="T47" fmla="*/ 95 h 101"/>
                <a:gd name="T48" fmla="*/ 87 w 99"/>
                <a:gd name="T49" fmla="*/ 92 h 101"/>
                <a:gd name="T50" fmla="*/ 93 w 99"/>
                <a:gd name="T51" fmla="*/ 74 h 101"/>
                <a:gd name="T52" fmla="*/ 96 w 99"/>
                <a:gd name="T53" fmla="*/ 5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01">
                  <a:moveTo>
                    <a:pt x="96" y="54"/>
                  </a:moveTo>
                  <a:cubicBezTo>
                    <a:pt x="90" y="54"/>
                    <a:pt x="87" y="57"/>
                    <a:pt x="87" y="57"/>
                  </a:cubicBezTo>
                  <a:cubicBezTo>
                    <a:pt x="84" y="57"/>
                    <a:pt x="81" y="48"/>
                    <a:pt x="81" y="45"/>
                  </a:cubicBezTo>
                  <a:cubicBezTo>
                    <a:pt x="78" y="42"/>
                    <a:pt x="75" y="33"/>
                    <a:pt x="72" y="36"/>
                  </a:cubicBezTo>
                  <a:cubicBezTo>
                    <a:pt x="69" y="36"/>
                    <a:pt x="69" y="33"/>
                    <a:pt x="63" y="33"/>
                  </a:cubicBezTo>
                  <a:cubicBezTo>
                    <a:pt x="54" y="33"/>
                    <a:pt x="54" y="33"/>
                    <a:pt x="57" y="24"/>
                  </a:cubicBezTo>
                  <a:cubicBezTo>
                    <a:pt x="60" y="18"/>
                    <a:pt x="51" y="12"/>
                    <a:pt x="54" y="12"/>
                  </a:cubicBezTo>
                  <a:cubicBezTo>
                    <a:pt x="57" y="9"/>
                    <a:pt x="57" y="9"/>
                    <a:pt x="54" y="6"/>
                  </a:cubicBezTo>
                  <a:cubicBezTo>
                    <a:pt x="54" y="6"/>
                    <a:pt x="54" y="6"/>
                    <a:pt x="51" y="6"/>
                  </a:cubicBezTo>
                  <a:cubicBezTo>
                    <a:pt x="51" y="6"/>
                    <a:pt x="45" y="0"/>
                    <a:pt x="42" y="0"/>
                  </a:cubicBezTo>
                  <a:cubicBezTo>
                    <a:pt x="36" y="0"/>
                    <a:pt x="33" y="0"/>
                    <a:pt x="30" y="3"/>
                  </a:cubicBezTo>
                  <a:cubicBezTo>
                    <a:pt x="24" y="3"/>
                    <a:pt x="18" y="3"/>
                    <a:pt x="15" y="6"/>
                  </a:cubicBezTo>
                  <a:cubicBezTo>
                    <a:pt x="12" y="6"/>
                    <a:pt x="6" y="12"/>
                    <a:pt x="6" y="15"/>
                  </a:cubicBezTo>
                  <a:cubicBezTo>
                    <a:pt x="6" y="18"/>
                    <a:pt x="6" y="33"/>
                    <a:pt x="3" y="33"/>
                  </a:cubicBezTo>
                  <a:cubicBezTo>
                    <a:pt x="0" y="33"/>
                    <a:pt x="0" y="33"/>
                    <a:pt x="0" y="33"/>
                  </a:cubicBezTo>
                  <a:cubicBezTo>
                    <a:pt x="3" y="36"/>
                    <a:pt x="9" y="45"/>
                    <a:pt x="15" y="48"/>
                  </a:cubicBezTo>
                  <a:cubicBezTo>
                    <a:pt x="21" y="51"/>
                    <a:pt x="21" y="57"/>
                    <a:pt x="27" y="57"/>
                  </a:cubicBezTo>
                  <a:cubicBezTo>
                    <a:pt x="33" y="57"/>
                    <a:pt x="39" y="60"/>
                    <a:pt x="39" y="62"/>
                  </a:cubicBezTo>
                  <a:cubicBezTo>
                    <a:pt x="42" y="65"/>
                    <a:pt x="60" y="71"/>
                    <a:pt x="60" y="71"/>
                  </a:cubicBezTo>
                  <a:cubicBezTo>
                    <a:pt x="63" y="74"/>
                    <a:pt x="51" y="80"/>
                    <a:pt x="51" y="86"/>
                  </a:cubicBezTo>
                  <a:cubicBezTo>
                    <a:pt x="51" y="92"/>
                    <a:pt x="48" y="92"/>
                    <a:pt x="48" y="95"/>
                  </a:cubicBezTo>
                  <a:cubicBezTo>
                    <a:pt x="48" y="98"/>
                    <a:pt x="57" y="95"/>
                    <a:pt x="60" y="98"/>
                  </a:cubicBezTo>
                  <a:cubicBezTo>
                    <a:pt x="63" y="98"/>
                    <a:pt x="66" y="95"/>
                    <a:pt x="69" y="98"/>
                  </a:cubicBezTo>
                  <a:cubicBezTo>
                    <a:pt x="72" y="101"/>
                    <a:pt x="78" y="95"/>
                    <a:pt x="78" y="95"/>
                  </a:cubicBezTo>
                  <a:cubicBezTo>
                    <a:pt x="81" y="98"/>
                    <a:pt x="84" y="92"/>
                    <a:pt x="87" y="92"/>
                  </a:cubicBezTo>
                  <a:cubicBezTo>
                    <a:pt x="93" y="92"/>
                    <a:pt x="96" y="80"/>
                    <a:pt x="93" y="74"/>
                  </a:cubicBezTo>
                  <a:cubicBezTo>
                    <a:pt x="93" y="71"/>
                    <a:pt x="99" y="57"/>
                    <a:pt x="96" y="5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4" name="Freeform 859"/>
            <p:cNvSpPr>
              <a:spLocks/>
            </p:cNvSpPr>
            <p:nvPr userDrawn="1"/>
          </p:nvSpPr>
          <p:spPr bwMode="auto">
            <a:xfrm>
              <a:off x="1957" y="-1338"/>
              <a:ext cx="59" cy="47"/>
            </a:xfrm>
            <a:custGeom>
              <a:avLst/>
              <a:gdLst>
                <a:gd name="T0" fmla="*/ 35 w 38"/>
                <a:gd name="T1" fmla="*/ 24 h 30"/>
                <a:gd name="T2" fmla="*/ 38 w 38"/>
                <a:gd name="T3" fmla="*/ 18 h 30"/>
                <a:gd name="T4" fmla="*/ 26 w 38"/>
                <a:gd name="T5" fmla="*/ 3 h 30"/>
                <a:gd name="T6" fmla="*/ 20 w 38"/>
                <a:gd name="T7" fmla="*/ 3 h 30"/>
                <a:gd name="T8" fmla="*/ 11 w 38"/>
                <a:gd name="T9" fmla="*/ 0 h 30"/>
                <a:gd name="T10" fmla="*/ 6 w 38"/>
                <a:gd name="T11" fmla="*/ 0 h 30"/>
                <a:gd name="T12" fmla="*/ 3 w 38"/>
                <a:gd name="T13" fmla="*/ 6 h 30"/>
                <a:gd name="T14" fmla="*/ 6 w 38"/>
                <a:gd name="T15" fmla="*/ 15 h 30"/>
                <a:gd name="T16" fmla="*/ 11 w 38"/>
                <a:gd name="T17" fmla="*/ 12 h 30"/>
                <a:gd name="T18" fmla="*/ 17 w 38"/>
                <a:gd name="T19" fmla="*/ 18 h 30"/>
                <a:gd name="T20" fmla="*/ 26 w 38"/>
                <a:gd name="T21" fmla="*/ 24 h 30"/>
                <a:gd name="T22" fmla="*/ 32 w 38"/>
                <a:gd name="T23" fmla="*/ 30 h 30"/>
                <a:gd name="T24" fmla="*/ 35 w 38"/>
                <a:gd name="T25" fmla="*/ 30 h 30"/>
                <a:gd name="T26" fmla="*/ 35 w 38"/>
                <a:gd name="T2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0">
                  <a:moveTo>
                    <a:pt x="35" y="24"/>
                  </a:moveTo>
                  <a:cubicBezTo>
                    <a:pt x="35" y="24"/>
                    <a:pt x="35" y="18"/>
                    <a:pt x="38" y="18"/>
                  </a:cubicBezTo>
                  <a:cubicBezTo>
                    <a:pt x="35" y="12"/>
                    <a:pt x="29" y="6"/>
                    <a:pt x="26" y="3"/>
                  </a:cubicBezTo>
                  <a:cubicBezTo>
                    <a:pt x="23" y="3"/>
                    <a:pt x="23" y="3"/>
                    <a:pt x="20" y="3"/>
                  </a:cubicBezTo>
                  <a:cubicBezTo>
                    <a:pt x="17" y="0"/>
                    <a:pt x="11" y="3"/>
                    <a:pt x="11" y="0"/>
                  </a:cubicBezTo>
                  <a:cubicBezTo>
                    <a:pt x="9" y="0"/>
                    <a:pt x="6" y="0"/>
                    <a:pt x="6" y="0"/>
                  </a:cubicBezTo>
                  <a:cubicBezTo>
                    <a:pt x="6" y="3"/>
                    <a:pt x="6" y="3"/>
                    <a:pt x="3" y="6"/>
                  </a:cubicBezTo>
                  <a:cubicBezTo>
                    <a:pt x="0" y="6"/>
                    <a:pt x="0" y="12"/>
                    <a:pt x="6" y="15"/>
                  </a:cubicBezTo>
                  <a:cubicBezTo>
                    <a:pt x="11" y="18"/>
                    <a:pt x="9" y="12"/>
                    <a:pt x="11" y="12"/>
                  </a:cubicBezTo>
                  <a:cubicBezTo>
                    <a:pt x="14" y="12"/>
                    <a:pt x="14" y="18"/>
                    <a:pt x="17" y="18"/>
                  </a:cubicBezTo>
                  <a:cubicBezTo>
                    <a:pt x="20" y="18"/>
                    <a:pt x="26" y="21"/>
                    <a:pt x="26" y="24"/>
                  </a:cubicBezTo>
                  <a:cubicBezTo>
                    <a:pt x="26" y="27"/>
                    <a:pt x="26" y="30"/>
                    <a:pt x="32" y="30"/>
                  </a:cubicBezTo>
                  <a:cubicBezTo>
                    <a:pt x="32" y="30"/>
                    <a:pt x="32" y="30"/>
                    <a:pt x="35" y="30"/>
                  </a:cubicBezTo>
                  <a:cubicBezTo>
                    <a:pt x="35" y="27"/>
                    <a:pt x="35" y="24"/>
                    <a:pt x="35"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5" name="Freeform 860"/>
            <p:cNvSpPr>
              <a:spLocks/>
            </p:cNvSpPr>
            <p:nvPr userDrawn="1"/>
          </p:nvSpPr>
          <p:spPr bwMode="auto">
            <a:xfrm>
              <a:off x="1957" y="-1338"/>
              <a:ext cx="59" cy="47"/>
            </a:xfrm>
            <a:custGeom>
              <a:avLst/>
              <a:gdLst>
                <a:gd name="T0" fmla="*/ 35 w 38"/>
                <a:gd name="T1" fmla="*/ 24 h 30"/>
                <a:gd name="T2" fmla="*/ 38 w 38"/>
                <a:gd name="T3" fmla="*/ 18 h 30"/>
                <a:gd name="T4" fmla="*/ 26 w 38"/>
                <a:gd name="T5" fmla="*/ 3 h 30"/>
                <a:gd name="T6" fmla="*/ 20 w 38"/>
                <a:gd name="T7" fmla="*/ 3 h 30"/>
                <a:gd name="T8" fmla="*/ 11 w 38"/>
                <a:gd name="T9" fmla="*/ 0 h 30"/>
                <a:gd name="T10" fmla="*/ 6 w 38"/>
                <a:gd name="T11" fmla="*/ 0 h 30"/>
                <a:gd name="T12" fmla="*/ 3 w 38"/>
                <a:gd name="T13" fmla="*/ 6 h 30"/>
                <a:gd name="T14" fmla="*/ 6 w 38"/>
                <a:gd name="T15" fmla="*/ 15 h 30"/>
                <a:gd name="T16" fmla="*/ 11 w 38"/>
                <a:gd name="T17" fmla="*/ 12 h 30"/>
                <a:gd name="T18" fmla="*/ 17 w 38"/>
                <a:gd name="T19" fmla="*/ 18 h 30"/>
                <a:gd name="T20" fmla="*/ 26 w 38"/>
                <a:gd name="T21" fmla="*/ 24 h 30"/>
                <a:gd name="T22" fmla="*/ 32 w 38"/>
                <a:gd name="T23" fmla="*/ 30 h 30"/>
                <a:gd name="T24" fmla="*/ 35 w 38"/>
                <a:gd name="T25" fmla="*/ 30 h 30"/>
                <a:gd name="T26" fmla="*/ 35 w 38"/>
                <a:gd name="T2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0">
                  <a:moveTo>
                    <a:pt x="35" y="24"/>
                  </a:moveTo>
                  <a:cubicBezTo>
                    <a:pt x="35" y="24"/>
                    <a:pt x="35" y="18"/>
                    <a:pt x="38" y="18"/>
                  </a:cubicBezTo>
                  <a:cubicBezTo>
                    <a:pt x="35" y="12"/>
                    <a:pt x="29" y="6"/>
                    <a:pt x="26" y="3"/>
                  </a:cubicBezTo>
                  <a:cubicBezTo>
                    <a:pt x="23" y="3"/>
                    <a:pt x="23" y="3"/>
                    <a:pt x="20" y="3"/>
                  </a:cubicBezTo>
                  <a:cubicBezTo>
                    <a:pt x="17" y="0"/>
                    <a:pt x="11" y="3"/>
                    <a:pt x="11" y="0"/>
                  </a:cubicBezTo>
                  <a:cubicBezTo>
                    <a:pt x="9" y="0"/>
                    <a:pt x="6" y="0"/>
                    <a:pt x="6" y="0"/>
                  </a:cubicBezTo>
                  <a:cubicBezTo>
                    <a:pt x="6" y="3"/>
                    <a:pt x="6" y="3"/>
                    <a:pt x="3" y="6"/>
                  </a:cubicBezTo>
                  <a:cubicBezTo>
                    <a:pt x="0" y="6"/>
                    <a:pt x="0" y="12"/>
                    <a:pt x="6" y="15"/>
                  </a:cubicBezTo>
                  <a:cubicBezTo>
                    <a:pt x="11" y="18"/>
                    <a:pt x="9" y="12"/>
                    <a:pt x="11" y="12"/>
                  </a:cubicBezTo>
                  <a:cubicBezTo>
                    <a:pt x="14" y="12"/>
                    <a:pt x="14" y="18"/>
                    <a:pt x="17" y="18"/>
                  </a:cubicBezTo>
                  <a:cubicBezTo>
                    <a:pt x="20" y="18"/>
                    <a:pt x="26" y="21"/>
                    <a:pt x="26" y="24"/>
                  </a:cubicBezTo>
                  <a:cubicBezTo>
                    <a:pt x="26" y="27"/>
                    <a:pt x="26" y="30"/>
                    <a:pt x="32" y="30"/>
                  </a:cubicBezTo>
                  <a:cubicBezTo>
                    <a:pt x="32" y="30"/>
                    <a:pt x="32" y="30"/>
                    <a:pt x="35" y="30"/>
                  </a:cubicBezTo>
                  <a:cubicBezTo>
                    <a:pt x="35" y="27"/>
                    <a:pt x="35" y="24"/>
                    <a:pt x="35"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6" name="Freeform 861"/>
            <p:cNvSpPr>
              <a:spLocks/>
            </p:cNvSpPr>
            <p:nvPr userDrawn="1"/>
          </p:nvSpPr>
          <p:spPr bwMode="auto">
            <a:xfrm>
              <a:off x="2013" y="-1315"/>
              <a:ext cx="101" cy="47"/>
            </a:xfrm>
            <a:custGeom>
              <a:avLst/>
              <a:gdLst>
                <a:gd name="T0" fmla="*/ 56 w 65"/>
                <a:gd name="T1" fmla="*/ 9 h 30"/>
                <a:gd name="T2" fmla="*/ 41 w 65"/>
                <a:gd name="T3" fmla="*/ 3 h 30"/>
                <a:gd name="T4" fmla="*/ 26 w 65"/>
                <a:gd name="T5" fmla="*/ 9 h 30"/>
                <a:gd name="T6" fmla="*/ 8 w 65"/>
                <a:gd name="T7" fmla="*/ 6 h 30"/>
                <a:gd name="T8" fmla="*/ 2 w 65"/>
                <a:gd name="T9" fmla="*/ 3 h 30"/>
                <a:gd name="T10" fmla="*/ 0 w 65"/>
                <a:gd name="T11" fmla="*/ 9 h 30"/>
                <a:gd name="T12" fmla="*/ 0 w 65"/>
                <a:gd name="T13" fmla="*/ 15 h 30"/>
                <a:gd name="T14" fmla="*/ 14 w 65"/>
                <a:gd name="T15" fmla="*/ 21 h 30"/>
                <a:gd name="T16" fmla="*/ 20 w 65"/>
                <a:gd name="T17" fmla="*/ 27 h 30"/>
                <a:gd name="T18" fmla="*/ 29 w 65"/>
                <a:gd name="T19" fmla="*/ 24 h 30"/>
                <a:gd name="T20" fmla="*/ 26 w 65"/>
                <a:gd name="T21" fmla="*/ 18 h 30"/>
                <a:gd name="T22" fmla="*/ 32 w 65"/>
                <a:gd name="T23" fmla="*/ 12 h 30"/>
                <a:gd name="T24" fmla="*/ 44 w 65"/>
                <a:gd name="T25" fmla="*/ 9 h 30"/>
                <a:gd name="T26" fmla="*/ 47 w 65"/>
                <a:gd name="T27" fmla="*/ 18 h 30"/>
                <a:gd name="T28" fmla="*/ 56 w 65"/>
                <a:gd name="T29" fmla="*/ 30 h 30"/>
                <a:gd name="T30" fmla="*/ 62 w 65"/>
                <a:gd name="T31" fmla="*/ 21 h 30"/>
                <a:gd name="T32" fmla="*/ 65 w 65"/>
                <a:gd name="T33" fmla="*/ 18 h 30"/>
                <a:gd name="T34" fmla="*/ 56 w 65"/>
                <a:gd name="T35"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30">
                  <a:moveTo>
                    <a:pt x="56" y="9"/>
                  </a:moveTo>
                  <a:cubicBezTo>
                    <a:pt x="53" y="3"/>
                    <a:pt x="47" y="3"/>
                    <a:pt x="41" y="3"/>
                  </a:cubicBezTo>
                  <a:cubicBezTo>
                    <a:pt x="38" y="0"/>
                    <a:pt x="32" y="3"/>
                    <a:pt x="26" y="9"/>
                  </a:cubicBezTo>
                  <a:cubicBezTo>
                    <a:pt x="20" y="12"/>
                    <a:pt x="11" y="9"/>
                    <a:pt x="8" y="6"/>
                  </a:cubicBezTo>
                  <a:cubicBezTo>
                    <a:pt x="5" y="6"/>
                    <a:pt x="5" y="3"/>
                    <a:pt x="2" y="3"/>
                  </a:cubicBezTo>
                  <a:cubicBezTo>
                    <a:pt x="0" y="3"/>
                    <a:pt x="0" y="9"/>
                    <a:pt x="0" y="9"/>
                  </a:cubicBezTo>
                  <a:cubicBezTo>
                    <a:pt x="0" y="9"/>
                    <a:pt x="0" y="12"/>
                    <a:pt x="0" y="15"/>
                  </a:cubicBezTo>
                  <a:cubicBezTo>
                    <a:pt x="2" y="15"/>
                    <a:pt x="11" y="18"/>
                    <a:pt x="14" y="21"/>
                  </a:cubicBezTo>
                  <a:cubicBezTo>
                    <a:pt x="17" y="27"/>
                    <a:pt x="20" y="24"/>
                    <a:pt x="20" y="27"/>
                  </a:cubicBezTo>
                  <a:cubicBezTo>
                    <a:pt x="23" y="30"/>
                    <a:pt x="29" y="27"/>
                    <a:pt x="29" y="24"/>
                  </a:cubicBezTo>
                  <a:cubicBezTo>
                    <a:pt x="32" y="24"/>
                    <a:pt x="26" y="21"/>
                    <a:pt x="26" y="18"/>
                  </a:cubicBezTo>
                  <a:cubicBezTo>
                    <a:pt x="26" y="15"/>
                    <a:pt x="32" y="18"/>
                    <a:pt x="32" y="12"/>
                  </a:cubicBezTo>
                  <a:cubicBezTo>
                    <a:pt x="35" y="9"/>
                    <a:pt x="41" y="9"/>
                    <a:pt x="44" y="9"/>
                  </a:cubicBezTo>
                  <a:cubicBezTo>
                    <a:pt x="50" y="12"/>
                    <a:pt x="53" y="12"/>
                    <a:pt x="47" y="18"/>
                  </a:cubicBezTo>
                  <a:cubicBezTo>
                    <a:pt x="47" y="21"/>
                    <a:pt x="50" y="24"/>
                    <a:pt x="56" y="30"/>
                  </a:cubicBezTo>
                  <a:cubicBezTo>
                    <a:pt x="59" y="27"/>
                    <a:pt x="62" y="21"/>
                    <a:pt x="62" y="21"/>
                  </a:cubicBezTo>
                  <a:cubicBezTo>
                    <a:pt x="65" y="18"/>
                    <a:pt x="65" y="18"/>
                    <a:pt x="65" y="18"/>
                  </a:cubicBezTo>
                  <a:cubicBezTo>
                    <a:pt x="62" y="18"/>
                    <a:pt x="59" y="12"/>
                    <a:pt x="56"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7" name="Freeform 862"/>
            <p:cNvSpPr>
              <a:spLocks/>
            </p:cNvSpPr>
            <p:nvPr userDrawn="1"/>
          </p:nvSpPr>
          <p:spPr bwMode="auto">
            <a:xfrm>
              <a:off x="2013" y="-1315"/>
              <a:ext cx="101" cy="47"/>
            </a:xfrm>
            <a:custGeom>
              <a:avLst/>
              <a:gdLst>
                <a:gd name="T0" fmla="*/ 56 w 65"/>
                <a:gd name="T1" fmla="*/ 9 h 30"/>
                <a:gd name="T2" fmla="*/ 41 w 65"/>
                <a:gd name="T3" fmla="*/ 3 h 30"/>
                <a:gd name="T4" fmla="*/ 26 w 65"/>
                <a:gd name="T5" fmla="*/ 9 h 30"/>
                <a:gd name="T6" fmla="*/ 8 w 65"/>
                <a:gd name="T7" fmla="*/ 6 h 30"/>
                <a:gd name="T8" fmla="*/ 2 w 65"/>
                <a:gd name="T9" fmla="*/ 3 h 30"/>
                <a:gd name="T10" fmla="*/ 0 w 65"/>
                <a:gd name="T11" fmla="*/ 9 h 30"/>
                <a:gd name="T12" fmla="*/ 0 w 65"/>
                <a:gd name="T13" fmla="*/ 15 h 30"/>
                <a:gd name="T14" fmla="*/ 14 w 65"/>
                <a:gd name="T15" fmla="*/ 21 h 30"/>
                <a:gd name="T16" fmla="*/ 20 w 65"/>
                <a:gd name="T17" fmla="*/ 27 h 30"/>
                <a:gd name="T18" fmla="*/ 29 w 65"/>
                <a:gd name="T19" fmla="*/ 24 h 30"/>
                <a:gd name="T20" fmla="*/ 26 w 65"/>
                <a:gd name="T21" fmla="*/ 18 h 30"/>
                <a:gd name="T22" fmla="*/ 32 w 65"/>
                <a:gd name="T23" fmla="*/ 12 h 30"/>
                <a:gd name="T24" fmla="*/ 44 w 65"/>
                <a:gd name="T25" fmla="*/ 9 h 30"/>
                <a:gd name="T26" fmla="*/ 47 w 65"/>
                <a:gd name="T27" fmla="*/ 18 h 30"/>
                <a:gd name="T28" fmla="*/ 56 w 65"/>
                <a:gd name="T29" fmla="*/ 30 h 30"/>
                <a:gd name="T30" fmla="*/ 62 w 65"/>
                <a:gd name="T31" fmla="*/ 21 h 30"/>
                <a:gd name="T32" fmla="*/ 65 w 65"/>
                <a:gd name="T33" fmla="*/ 18 h 30"/>
                <a:gd name="T34" fmla="*/ 56 w 65"/>
                <a:gd name="T35"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30">
                  <a:moveTo>
                    <a:pt x="56" y="9"/>
                  </a:moveTo>
                  <a:cubicBezTo>
                    <a:pt x="53" y="3"/>
                    <a:pt x="47" y="3"/>
                    <a:pt x="41" y="3"/>
                  </a:cubicBezTo>
                  <a:cubicBezTo>
                    <a:pt x="38" y="0"/>
                    <a:pt x="32" y="3"/>
                    <a:pt x="26" y="9"/>
                  </a:cubicBezTo>
                  <a:cubicBezTo>
                    <a:pt x="20" y="12"/>
                    <a:pt x="11" y="9"/>
                    <a:pt x="8" y="6"/>
                  </a:cubicBezTo>
                  <a:cubicBezTo>
                    <a:pt x="5" y="6"/>
                    <a:pt x="5" y="3"/>
                    <a:pt x="2" y="3"/>
                  </a:cubicBezTo>
                  <a:cubicBezTo>
                    <a:pt x="0" y="3"/>
                    <a:pt x="0" y="9"/>
                    <a:pt x="0" y="9"/>
                  </a:cubicBezTo>
                  <a:cubicBezTo>
                    <a:pt x="0" y="9"/>
                    <a:pt x="0" y="12"/>
                    <a:pt x="0" y="15"/>
                  </a:cubicBezTo>
                  <a:cubicBezTo>
                    <a:pt x="2" y="15"/>
                    <a:pt x="11" y="18"/>
                    <a:pt x="14" y="21"/>
                  </a:cubicBezTo>
                  <a:cubicBezTo>
                    <a:pt x="17" y="27"/>
                    <a:pt x="20" y="24"/>
                    <a:pt x="20" y="27"/>
                  </a:cubicBezTo>
                  <a:cubicBezTo>
                    <a:pt x="23" y="30"/>
                    <a:pt x="29" y="27"/>
                    <a:pt x="29" y="24"/>
                  </a:cubicBezTo>
                  <a:cubicBezTo>
                    <a:pt x="32" y="24"/>
                    <a:pt x="26" y="21"/>
                    <a:pt x="26" y="18"/>
                  </a:cubicBezTo>
                  <a:cubicBezTo>
                    <a:pt x="26" y="15"/>
                    <a:pt x="32" y="18"/>
                    <a:pt x="32" y="12"/>
                  </a:cubicBezTo>
                  <a:cubicBezTo>
                    <a:pt x="35" y="9"/>
                    <a:pt x="41" y="9"/>
                    <a:pt x="44" y="9"/>
                  </a:cubicBezTo>
                  <a:cubicBezTo>
                    <a:pt x="50" y="12"/>
                    <a:pt x="53" y="12"/>
                    <a:pt x="47" y="18"/>
                  </a:cubicBezTo>
                  <a:cubicBezTo>
                    <a:pt x="47" y="21"/>
                    <a:pt x="50" y="24"/>
                    <a:pt x="56" y="30"/>
                  </a:cubicBezTo>
                  <a:cubicBezTo>
                    <a:pt x="59" y="27"/>
                    <a:pt x="62" y="21"/>
                    <a:pt x="62" y="21"/>
                  </a:cubicBezTo>
                  <a:cubicBezTo>
                    <a:pt x="65" y="18"/>
                    <a:pt x="65" y="18"/>
                    <a:pt x="65" y="18"/>
                  </a:cubicBezTo>
                  <a:cubicBezTo>
                    <a:pt x="62" y="18"/>
                    <a:pt x="59" y="12"/>
                    <a:pt x="56"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8" name="Freeform 863"/>
            <p:cNvSpPr>
              <a:spLocks/>
            </p:cNvSpPr>
            <p:nvPr userDrawn="1"/>
          </p:nvSpPr>
          <p:spPr bwMode="auto">
            <a:xfrm>
              <a:off x="2083" y="-1366"/>
              <a:ext cx="209" cy="299"/>
            </a:xfrm>
            <a:custGeom>
              <a:avLst/>
              <a:gdLst>
                <a:gd name="T0" fmla="*/ 21 w 134"/>
                <a:gd name="T1" fmla="*/ 141 h 192"/>
                <a:gd name="T2" fmla="*/ 30 w 134"/>
                <a:gd name="T3" fmla="*/ 141 h 192"/>
                <a:gd name="T4" fmla="*/ 36 w 134"/>
                <a:gd name="T5" fmla="*/ 147 h 192"/>
                <a:gd name="T6" fmla="*/ 36 w 134"/>
                <a:gd name="T7" fmla="*/ 147 h 192"/>
                <a:gd name="T8" fmla="*/ 48 w 134"/>
                <a:gd name="T9" fmla="*/ 147 h 192"/>
                <a:gd name="T10" fmla="*/ 54 w 134"/>
                <a:gd name="T11" fmla="*/ 156 h 192"/>
                <a:gd name="T12" fmla="*/ 60 w 134"/>
                <a:gd name="T13" fmla="*/ 162 h 192"/>
                <a:gd name="T14" fmla="*/ 66 w 134"/>
                <a:gd name="T15" fmla="*/ 171 h 192"/>
                <a:gd name="T16" fmla="*/ 78 w 134"/>
                <a:gd name="T17" fmla="*/ 171 h 192"/>
                <a:gd name="T18" fmla="*/ 83 w 134"/>
                <a:gd name="T19" fmla="*/ 171 h 192"/>
                <a:gd name="T20" fmla="*/ 92 w 134"/>
                <a:gd name="T21" fmla="*/ 171 h 192"/>
                <a:gd name="T22" fmla="*/ 98 w 134"/>
                <a:gd name="T23" fmla="*/ 177 h 192"/>
                <a:gd name="T24" fmla="*/ 92 w 134"/>
                <a:gd name="T25" fmla="*/ 186 h 192"/>
                <a:gd name="T26" fmla="*/ 101 w 134"/>
                <a:gd name="T27" fmla="*/ 192 h 192"/>
                <a:gd name="T28" fmla="*/ 101 w 134"/>
                <a:gd name="T29" fmla="*/ 192 h 192"/>
                <a:gd name="T30" fmla="*/ 104 w 134"/>
                <a:gd name="T31" fmla="*/ 177 h 192"/>
                <a:gd name="T32" fmla="*/ 107 w 134"/>
                <a:gd name="T33" fmla="*/ 162 h 192"/>
                <a:gd name="T34" fmla="*/ 101 w 134"/>
                <a:gd name="T35" fmla="*/ 144 h 192"/>
                <a:gd name="T36" fmla="*/ 107 w 134"/>
                <a:gd name="T37" fmla="*/ 138 h 192"/>
                <a:gd name="T38" fmla="*/ 107 w 134"/>
                <a:gd name="T39" fmla="*/ 132 h 192"/>
                <a:gd name="T40" fmla="*/ 104 w 134"/>
                <a:gd name="T41" fmla="*/ 126 h 192"/>
                <a:gd name="T42" fmla="*/ 119 w 134"/>
                <a:gd name="T43" fmla="*/ 126 h 192"/>
                <a:gd name="T44" fmla="*/ 131 w 134"/>
                <a:gd name="T45" fmla="*/ 120 h 192"/>
                <a:gd name="T46" fmla="*/ 131 w 134"/>
                <a:gd name="T47" fmla="*/ 114 h 192"/>
                <a:gd name="T48" fmla="*/ 131 w 134"/>
                <a:gd name="T49" fmla="*/ 105 h 192"/>
                <a:gd name="T50" fmla="*/ 125 w 134"/>
                <a:gd name="T51" fmla="*/ 99 h 192"/>
                <a:gd name="T52" fmla="*/ 128 w 134"/>
                <a:gd name="T53" fmla="*/ 78 h 192"/>
                <a:gd name="T54" fmla="*/ 116 w 134"/>
                <a:gd name="T55" fmla="*/ 75 h 192"/>
                <a:gd name="T56" fmla="*/ 101 w 134"/>
                <a:gd name="T57" fmla="*/ 66 h 192"/>
                <a:gd name="T58" fmla="*/ 80 w 134"/>
                <a:gd name="T59" fmla="*/ 66 h 192"/>
                <a:gd name="T60" fmla="*/ 75 w 134"/>
                <a:gd name="T61" fmla="*/ 51 h 192"/>
                <a:gd name="T62" fmla="*/ 69 w 134"/>
                <a:gd name="T63" fmla="*/ 42 h 192"/>
                <a:gd name="T64" fmla="*/ 63 w 134"/>
                <a:gd name="T65" fmla="*/ 39 h 192"/>
                <a:gd name="T66" fmla="*/ 66 w 134"/>
                <a:gd name="T67" fmla="*/ 36 h 192"/>
                <a:gd name="T68" fmla="*/ 69 w 134"/>
                <a:gd name="T69" fmla="*/ 27 h 192"/>
                <a:gd name="T70" fmla="*/ 78 w 134"/>
                <a:gd name="T71" fmla="*/ 15 h 192"/>
                <a:gd name="T72" fmla="*/ 80 w 134"/>
                <a:gd name="T73" fmla="*/ 12 h 192"/>
                <a:gd name="T74" fmla="*/ 83 w 134"/>
                <a:gd name="T75" fmla="*/ 9 h 192"/>
                <a:gd name="T76" fmla="*/ 86 w 134"/>
                <a:gd name="T77" fmla="*/ 3 h 192"/>
                <a:gd name="T78" fmla="*/ 75 w 134"/>
                <a:gd name="T79" fmla="*/ 9 h 192"/>
                <a:gd name="T80" fmla="*/ 63 w 134"/>
                <a:gd name="T81" fmla="*/ 15 h 192"/>
                <a:gd name="T82" fmla="*/ 54 w 134"/>
                <a:gd name="T83" fmla="*/ 18 h 192"/>
                <a:gd name="T84" fmla="*/ 48 w 134"/>
                <a:gd name="T85" fmla="*/ 18 h 192"/>
                <a:gd name="T86" fmla="*/ 39 w 134"/>
                <a:gd name="T87" fmla="*/ 27 h 192"/>
                <a:gd name="T88" fmla="*/ 33 w 134"/>
                <a:gd name="T89" fmla="*/ 36 h 192"/>
                <a:gd name="T90" fmla="*/ 24 w 134"/>
                <a:gd name="T91" fmla="*/ 51 h 192"/>
                <a:gd name="T92" fmla="*/ 21 w 134"/>
                <a:gd name="T93" fmla="*/ 51 h 192"/>
                <a:gd name="T94" fmla="*/ 18 w 134"/>
                <a:gd name="T95" fmla="*/ 54 h 192"/>
                <a:gd name="T96" fmla="*/ 12 w 134"/>
                <a:gd name="T97" fmla="*/ 63 h 192"/>
                <a:gd name="T98" fmla="*/ 15 w 134"/>
                <a:gd name="T99" fmla="*/ 66 h 192"/>
                <a:gd name="T100" fmla="*/ 18 w 134"/>
                <a:gd name="T101" fmla="*/ 75 h 192"/>
                <a:gd name="T102" fmla="*/ 18 w 134"/>
                <a:gd name="T103" fmla="*/ 81 h 192"/>
                <a:gd name="T104" fmla="*/ 18 w 134"/>
                <a:gd name="T105" fmla="*/ 99 h 192"/>
                <a:gd name="T106" fmla="*/ 15 w 134"/>
                <a:gd name="T107" fmla="*/ 108 h 192"/>
                <a:gd name="T108" fmla="*/ 6 w 134"/>
                <a:gd name="T109" fmla="*/ 114 h 192"/>
                <a:gd name="T110" fmla="*/ 0 w 134"/>
                <a:gd name="T111" fmla="*/ 123 h 192"/>
                <a:gd name="T112" fmla="*/ 0 w 134"/>
                <a:gd name="T113" fmla="*/ 126 h 192"/>
                <a:gd name="T114" fmla="*/ 12 w 134"/>
                <a:gd name="T115" fmla="*/ 135 h 192"/>
                <a:gd name="T116" fmla="*/ 21 w 134"/>
                <a:gd name="T117" fmla="*/ 14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92">
                  <a:moveTo>
                    <a:pt x="21" y="141"/>
                  </a:moveTo>
                  <a:cubicBezTo>
                    <a:pt x="24" y="141"/>
                    <a:pt x="27" y="141"/>
                    <a:pt x="30" y="141"/>
                  </a:cubicBezTo>
                  <a:cubicBezTo>
                    <a:pt x="30" y="138"/>
                    <a:pt x="33" y="141"/>
                    <a:pt x="36" y="147"/>
                  </a:cubicBezTo>
                  <a:cubicBezTo>
                    <a:pt x="36" y="147"/>
                    <a:pt x="36" y="147"/>
                    <a:pt x="36" y="147"/>
                  </a:cubicBezTo>
                  <a:cubicBezTo>
                    <a:pt x="42" y="147"/>
                    <a:pt x="45" y="144"/>
                    <a:pt x="48" y="147"/>
                  </a:cubicBezTo>
                  <a:cubicBezTo>
                    <a:pt x="51" y="147"/>
                    <a:pt x="48" y="156"/>
                    <a:pt x="54" y="156"/>
                  </a:cubicBezTo>
                  <a:cubicBezTo>
                    <a:pt x="57" y="156"/>
                    <a:pt x="60" y="162"/>
                    <a:pt x="60" y="162"/>
                  </a:cubicBezTo>
                  <a:cubicBezTo>
                    <a:pt x="60" y="165"/>
                    <a:pt x="66" y="168"/>
                    <a:pt x="66" y="171"/>
                  </a:cubicBezTo>
                  <a:cubicBezTo>
                    <a:pt x="66" y="174"/>
                    <a:pt x="75" y="174"/>
                    <a:pt x="78" y="171"/>
                  </a:cubicBezTo>
                  <a:cubicBezTo>
                    <a:pt x="80" y="171"/>
                    <a:pt x="83" y="171"/>
                    <a:pt x="83" y="171"/>
                  </a:cubicBezTo>
                  <a:cubicBezTo>
                    <a:pt x="86" y="171"/>
                    <a:pt x="89" y="171"/>
                    <a:pt x="92" y="171"/>
                  </a:cubicBezTo>
                  <a:cubicBezTo>
                    <a:pt x="92" y="171"/>
                    <a:pt x="101" y="174"/>
                    <a:pt x="98" y="177"/>
                  </a:cubicBezTo>
                  <a:cubicBezTo>
                    <a:pt x="98" y="180"/>
                    <a:pt x="92" y="183"/>
                    <a:pt x="92" y="186"/>
                  </a:cubicBezTo>
                  <a:cubicBezTo>
                    <a:pt x="95" y="189"/>
                    <a:pt x="98" y="189"/>
                    <a:pt x="101" y="192"/>
                  </a:cubicBezTo>
                  <a:cubicBezTo>
                    <a:pt x="101" y="192"/>
                    <a:pt x="101" y="192"/>
                    <a:pt x="101" y="192"/>
                  </a:cubicBezTo>
                  <a:cubicBezTo>
                    <a:pt x="104" y="192"/>
                    <a:pt x="104" y="180"/>
                    <a:pt x="104" y="177"/>
                  </a:cubicBezTo>
                  <a:cubicBezTo>
                    <a:pt x="104" y="174"/>
                    <a:pt x="107" y="165"/>
                    <a:pt x="107" y="162"/>
                  </a:cubicBezTo>
                  <a:cubicBezTo>
                    <a:pt x="110" y="156"/>
                    <a:pt x="101" y="150"/>
                    <a:pt x="101" y="144"/>
                  </a:cubicBezTo>
                  <a:cubicBezTo>
                    <a:pt x="101" y="135"/>
                    <a:pt x="104" y="141"/>
                    <a:pt x="107" y="138"/>
                  </a:cubicBezTo>
                  <a:cubicBezTo>
                    <a:pt x="113" y="135"/>
                    <a:pt x="107" y="132"/>
                    <a:pt x="107" y="132"/>
                  </a:cubicBezTo>
                  <a:cubicBezTo>
                    <a:pt x="104" y="132"/>
                    <a:pt x="101" y="129"/>
                    <a:pt x="104" y="126"/>
                  </a:cubicBezTo>
                  <a:cubicBezTo>
                    <a:pt x="104" y="123"/>
                    <a:pt x="116" y="126"/>
                    <a:pt x="119" y="126"/>
                  </a:cubicBezTo>
                  <a:cubicBezTo>
                    <a:pt x="125" y="126"/>
                    <a:pt x="131" y="120"/>
                    <a:pt x="131" y="120"/>
                  </a:cubicBezTo>
                  <a:cubicBezTo>
                    <a:pt x="131" y="120"/>
                    <a:pt x="134" y="117"/>
                    <a:pt x="131" y="114"/>
                  </a:cubicBezTo>
                  <a:cubicBezTo>
                    <a:pt x="128" y="111"/>
                    <a:pt x="128" y="108"/>
                    <a:pt x="131" y="105"/>
                  </a:cubicBezTo>
                  <a:cubicBezTo>
                    <a:pt x="134" y="105"/>
                    <a:pt x="128" y="102"/>
                    <a:pt x="125" y="99"/>
                  </a:cubicBezTo>
                  <a:cubicBezTo>
                    <a:pt x="122" y="93"/>
                    <a:pt x="125" y="84"/>
                    <a:pt x="128" y="78"/>
                  </a:cubicBezTo>
                  <a:cubicBezTo>
                    <a:pt x="131" y="72"/>
                    <a:pt x="122" y="72"/>
                    <a:pt x="116" y="75"/>
                  </a:cubicBezTo>
                  <a:cubicBezTo>
                    <a:pt x="110" y="75"/>
                    <a:pt x="104" y="72"/>
                    <a:pt x="101" y="66"/>
                  </a:cubicBezTo>
                  <a:cubicBezTo>
                    <a:pt x="95" y="60"/>
                    <a:pt x="89" y="66"/>
                    <a:pt x="80" y="66"/>
                  </a:cubicBezTo>
                  <a:cubicBezTo>
                    <a:pt x="72" y="66"/>
                    <a:pt x="75" y="54"/>
                    <a:pt x="75" y="51"/>
                  </a:cubicBezTo>
                  <a:cubicBezTo>
                    <a:pt x="75" y="45"/>
                    <a:pt x="69" y="45"/>
                    <a:pt x="69" y="42"/>
                  </a:cubicBezTo>
                  <a:cubicBezTo>
                    <a:pt x="69" y="39"/>
                    <a:pt x="66" y="39"/>
                    <a:pt x="63" y="39"/>
                  </a:cubicBezTo>
                  <a:cubicBezTo>
                    <a:pt x="63" y="39"/>
                    <a:pt x="63" y="36"/>
                    <a:pt x="66" y="36"/>
                  </a:cubicBezTo>
                  <a:cubicBezTo>
                    <a:pt x="69" y="33"/>
                    <a:pt x="66" y="30"/>
                    <a:pt x="69" y="27"/>
                  </a:cubicBezTo>
                  <a:cubicBezTo>
                    <a:pt x="69" y="21"/>
                    <a:pt x="75" y="18"/>
                    <a:pt x="78" y="15"/>
                  </a:cubicBezTo>
                  <a:cubicBezTo>
                    <a:pt x="78" y="12"/>
                    <a:pt x="80" y="12"/>
                    <a:pt x="80" y="12"/>
                  </a:cubicBezTo>
                  <a:cubicBezTo>
                    <a:pt x="80" y="12"/>
                    <a:pt x="80" y="9"/>
                    <a:pt x="83" y="9"/>
                  </a:cubicBezTo>
                  <a:cubicBezTo>
                    <a:pt x="89" y="9"/>
                    <a:pt x="89" y="6"/>
                    <a:pt x="86" y="3"/>
                  </a:cubicBezTo>
                  <a:cubicBezTo>
                    <a:pt x="80" y="0"/>
                    <a:pt x="78" y="9"/>
                    <a:pt x="75" y="9"/>
                  </a:cubicBezTo>
                  <a:cubicBezTo>
                    <a:pt x="69" y="9"/>
                    <a:pt x="66" y="12"/>
                    <a:pt x="63" y="15"/>
                  </a:cubicBezTo>
                  <a:cubicBezTo>
                    <a:pt x="60" y="15"/>
                    <a:pt x="54" y="15"/>
                    <a:pt x="54" y="18"/>
                  </a:cubicBezTo>
                  <a:cubicBezTo>
                    <a:pt x="54" y="21"/>
                    <a:pt x="51" y="18"/>
                    <a:pt x="48" y="18"/>
                  </a:cubicBezTo>
                  <a:cubicBezTo>
                    <a:pt x="45" y="15"/>
                    <a:pt x="39" y="24"/>
                    <a:pt x="39" y="27"/>
                  </a:cubicBezTo>
                  <a:cubicBezTo>
                    <a:pt x="39" y="30"/>
                    <a:pt x="39" y="33"/>
                    <a:pt x="33" y="36"/>
                  </a:cubicBezTo>
                  <a:cubicBezTo>
                    <a:pt x="27" y="42"/>
                    <a:pt x="24" y="48"/>
                    <a:pt x="24" y="51"/>
                  </a:cubicBezTo>
                  <a:cubicBezTo>
                    <a:pt x="21" y="51"/>
                    <a:pt x="21" y="51"/>
                    <a:pt x="21" y="51"/>
                  </a:cubicBezTo>
                  <a:cubicBezTo>
                    <a:pt x="18" y="54"/>
                    <a:pt x="18" y="54"/>
                    <a:pt x="18" y="54"/>
                  </a:cubicBezTo>
                  <a:cubicBezTo>
                    <a:pt x="18" y="54"/>
                    <a:pt x="15" y="60"/>
                    <a:pt x="12" y="63"/>
                  </a:cubicBezTo>
                  <a:cubicBezTo>
                    <a:pt x="12" y="63"/>
                    <a:pt x="15" y="63"/>
                    <a:pt x="15" y="66"/>
                  </a:cubicBezTo>
                  <a:cubicBezTo>
                    <a:pt x="18" y="69"/>
                    <a:pt x="15" y="72"/>
                    <a:pt x="18" y="75"/>
                  </a:cubicBezTo>
                  <a:cubicBezTo>
                    <a:pt x="18" y="75"/>
                    <a:pt x="18" y="78"/>
                    <a:pt x="18" y="81"/>
                  </a:cubicBezTo>
                  <a:cubicBezTo>
                    <a:pt x="15" y="81"/>
                    <a:pt x="18" y="96"/>
                    <a:pt x="18" y="99"/>
                  </a:cubicBezTo>
                  <a:cubicBezTo>
                    <a:pt x="21" y="99"/>
                    <a:pt x="18" y="102"/>
                    <a:pt x="15" y="108"/>
                  </a:cubicBezTo>
                  <a:cubicBezTo>
                    <a:pt x="15" y="114"/>
                    <a:pt x="12" y="114"/>
                    <a:pt x="6" y="114"/>
                  </a:cubicBezTo>
                  <a:cubicBezTo>
                    <a:pt x="3" y="114"/>
                    <a:pt x="3" y="123"/>
                    <a:pt x="0" y="123"/>
                  </a:cubicBezTo>
                  <a:cubicBezTo>
                    <a:pt x="0" y="126"/>
                    <a:pt x="0" y="126"/>
                    <a:pt x="0" y="126"/>
                  </a:cubicBezTo>
                  <a:cubicBezTo>
                    <a:pt x="3" y="132"/>
                    <a:pt x="12" y="135"/>
                    <a:pt x="12" y="135"/>
                  </a:cubicBezTo>
                  <a:cubicBezTo>
                    <a:pt x="15" y="135"/>
                    <a:pt x="18" y="138"/>
                    <a:pt x="21" y="14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69" name="Freeform 864"/>
            <p:cNvSpPr>
              <a:spLocks/>
            </p:cNvSpPr>
            <p:nvPr userDrawn="1"/>
          </p:nvSpPr>
          <p:spPr bwMode="auto">
            <a:xfrm>
              <a:off x="2083" y="-1366"/>
              <a:ext cx="209" cy="299"/>
            </a:xfrm>
            <a:custGeom>
              <a:avLst/>
              <a:gdLst>
                <a:gd name="T0" fmla="*/ 21 w 134"/>
                <a:gd name="T1" fmla="*/ 141 h 192"/>
                <a:gd name="T2" fmla="*/ 30 w 134"/>
                <a:gd name="T3" fmla="*/ 141 h 192"/>
                <a:gd name="T4" fmla="*/ 36 w 134"/>
                <a:gd name="T5" fmla="*/ 147 h 192"/>
                <a:gd name="T6" fmla="*/ 36 w 134"/>
                <a:gd name="T7" fmla="*/ 147 h 192"/>
                <a:gd name="T8" fmla="*/ 48 w 134"/>
                <a:gd name="T9" fmla="*/ 147 h 192"/>
                <a:gd name="T10" fmla="*/ 54 w 134"/>
                <a:gd name="T11" fmla="*/ 156 h 192"/>
                <a:gd name="T12" fmla="*/ 60 w 134"/>
                <a:gd name="T13" fmla="*/ 162 h 192"/>
                <a:gd name="T14" fmla="*/ 66 w 134"/>
                <a:gd name="T15" fmla="*/ 171 h 192"/>
                <a:gd name="T16" fmla="*/ 78 w 134"/>
                <a:gd name="T17" fmla="*/ 171 h 192"/>
                <a:gd name="T18" fmla="*/ 83 w 134"/>
                <a:gd name="T19" fmla="*/ 171 h 192"/>
                <a:gd name="T20" fmla="*/ 92 w 134"/>
                <a:gd name="T21" fmla="*/ 171 h 192"/>
                <a:gd name="T22" fmla="*/ 98 w 134"/>
                <a:gd name="T23" fmla="*/ 177 h 192"/>
                <a:gd name="T24" fmla="*/ 92 w 134"/>
                <a:gd name="T25" fmla="*/ 186 h 192"/>
                <a:gd name="T26" fmla="*/ 101 w 134"/>
                <a:gd name="T27" fmla="*/ 192 h 192"/>
                <a:gd name="T28" fmla="*/ 101 w 134"/>
                <a:gd name="T29" fmla="*/ 192 h 192"/>
                <a:gd name="T30" fmla="*/ 104 w 134"/>
                <a:gd name="T31" fmla="*/ 177 h 192"/>
                <a:gd name="T32" fmla="*/ 107 w 134"/>
                <a:gd name="T33" fmla="*/ 162 h 192"/>
                <a:gd name="T34" fmla="*/ 101 w 134"/>
                <a:gd name="T35" fmla="*/ 144 h 192"/>
                <a:gd name="T36" fmla="*/ 107 w 134"/>
                <a:gd name="T37" fmla="*/ 138 h 192"/>
                <a:gd name="T38" fmla="*/ 107 w 134"/>
                <a:gd name="T39" fmla="*/ 132 h 192"/>
                <a:gd name="T40" fmla="*/ 104 w 134"/>
                <a:gd name="T41" fmla="*/ 126 h 192"/>
                <a:gd name="T42" fmla="*/ 119 w 134"/>
                <a:gd name="T43" fmla="*/ 126 h 192"/>
                <a:gd name="T44" fmla="*/ 131 w 134"/>
                <a:gd name="T45" fmla="*/ 120 h 192"/>
                <a:gd name="T46" fmla="*/ 131 w 134"/>
                <a:gd name="T47" fmla="*/ 114 h 192"/>
                <a:gd name="T48" fmla="*/ 131 w 134"/>
                <a:gd name="T49" fmla="*/ 105 h 192"/>
                <a:gd name="T50" fmla="*/ 125 w 134"/>
                <a:gd name="T51" fmla="*/ 99 h 192"/>
                <a:gd name="T52" fmla="*/ 128 w 134"/>
                <a:gd name="T53" fmla="*/ 78 h 192"/>
                <a:gd name="T54" fmla="*/ 116 w 134"/>
                <a:gd name="T55" fmla="*/ 75 h 192"/>
                <a:gd name="T56" fmla="*/ 101 w 134"/>
                <a:gd name="T57" fmla="*/ 66 h 192"/>
                <a:gd name="T58" fmla="*/ 80 w 134"/>
                <a:gd name="T59" fmla="*/ 66 h 192"/>
                <a:gd name="T60" fmla="*/ 75 w 134"/>
                <a:gd name="T61" fmla="*/ 51 h 192"/>
                <a:gd name="T62" fmla="*/ 69 w 134"/>
                <a:gd name="T63" fmla="*/ 42 h 192"/>
                <a:gd name="T64" fmla="*/ 63 w 134"/>
                <a:gd name="T65" fmla="*/ 39 h 192"/>
                <a:gd name="T66" fmla="*/ 66 w 134"/>
                <a:gd name="T67" fmla="*/ 36 h 192"/>
                <a:gd name="T68" fmla="*/ 69 w 134"/>
                <a:gd name="T69" fmla="*/ 27 h 192"/>
                <a:gd name="T70" fmla="*/ 78 w 134"/>
                <a:gd name="T71" fmla="*/ 15 h 192"/>
                <a:gd name="T72" fmla="*/ 80 w 134"/>
                <a:gd name="T73" fmla="*/ 12 h 192"/>
                <a:gd name="T74" fmla="*/ 83 w 134"/>
                <a:gd name="T75" fmla="*/ 9 h 192"/>
                <a:gd name="T76" fmla="*/ 86 w 134"/>
                <a:gd name="T77" fmla="*/ 3 h 192"/>
                <a:gd name="T78" fmla="*/ 75 w 134"/>
                <a:gd name="T79" fmla="*/ 9 h 192"/>
                <a:gd name="T80" fmla="*/ 63 w 134"/>
                <a:gd name="T81" fmla="*/ 15 h 192"/>
                <a:gd name="T82" fmla="*/ 54 w 134"/>
                <a:gd name="T83" fmla="*/ 18 h 192"/>
                <a:gd name="T84" fmla="*/ 48 w 134"/>
                <a:gd name="T85" fmla="*/ 18 h 192"/>
                <a:gd name="T86" fmla="*/ 39 w 134"/>
                <a:gd name="T87" fmla="*/ 27 h 192"/>
                <a:gd name="T88" fmla="*/ 33 w 134"/>
                <a:gd name="T89" fmla="*/ 36 h 192"/>
                <a:gd name="T90" fmla="*/ 24 w 134"/>
                <a:gd name="T91" fmla="*/ 51 h 192"/>
                <a:gd name="T92" fmla="*/ 21 w 134"/>
                <a:gd name="T93" fmla="*/ 51 h 192"/>
                <a:gd name="T94" fmla="*/ 18 w 134"/>
                <a:gd name="T95" fmla="*/ 54 h 192"/>
                <a:gd name="T96" fmla="*/ 12 w 134"/>
                <a:gd name="T97" fmla="*/ 63 h 192"/>
                <a:gd name="T98" fmla="*/ 15 w 134"/>
                <a:gd name="T99" fmla="*/ 66 h 192"/>
                <a:gd name="T100" fmla="*/ 18 w 134"/>
                <a:gd name="T101" fmla="*/ 75 h 192"/>
                <a:gd name="T102" fmla="*/ 18 w 134"/>
                <a:gd name="T103" fmla="*/ 81 h 192"/>
                <a:gd name="T104" fmla="*/ 18 w 134"/>
                <a:gd name="T105" fmla="*/ 99 h 192"/>
                <a:gd name="T106" fmla="*/ 15 w 134"/>
                <a:gd name="T107" fmla="*/ 108 h 192"/>
                <a:gd name="T108" fmla="*/ 6 w 134"/>
                <a:gd name="T109" fmla="*/ 114 h 192"/>
                <a:gd name="T110" fmla="*/ 0 w 134"/>
                <a:gd name="T111" fmla="*/ 123 h 192"/>
                <a:gd name="T112" fmla="*/ 0 w 134"/>
                <a:gd name="T113" fmla="*/ 126 h 192"/>
                <a:gd name="T114" fmla="*/ 12 w 134"/>
                <a:gd name="T115" fmla="*/ 135 h 192"/>
                <a:gd name="T116" fmla="*/ 21 w 134"/>
                <a:gd name="T117" fmla="*/ 14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92">
                  <a:moveTo>
                    <a:pt x="21" y="141"/>
                  </a:moveTo>
                  <a:cubicBezTo>
                    <a:pt x="24" y="141"/>
                    <a:pt x="27" y="141"/>
                    <a:pt x="30" y="141"/>
                  </a:cubicBezTo>
                  <a:cubicBezTo>
                    <a:pt x="30" y="138"/>
                    <a:pt x="33" y="141"/>
                    <a:pt x="36" y="147"/>
                  </a:cubicBezTo>
                  <a:cubicBezTo>
                    <a:pt x="36" y="147"/>
                    <a:pt x="36" y="147"/>
                    <a:pt x="36" y="147"/>
                  </a:cubicBezTo>
                  <a:cubicBezTo>
                    <a:pt x="42" y="147"/>
                    <a:pt x="45" y="144"/>
                    <a:pt x="48" y="147"/>
                  </a:cubicBezTo>
                  <a:cubicBezTo>
                    <a:pt x="51" y="147"/>
                    <a:pt x="48" y="156"/>
                    <a:pt x="54" y="156"/>
                  </a:cubicBezTo>
                  <a:cubicBezTo>
                    <a:pt x="57" y="156"/>
                    <a:pt x="60" y="162"/>
                    <a:pt x="60" y="162"/>
                  </a:cubicBezTo>
                  <a:cubicBezTo>
                    <a:pt x="60" y="165"/>
                    <a:pt x="66" y="168"/>
                    <a:pt x="66" y="171"/>
                  </a:cubicBezTo>
                  <a:cubicBezTo>
                    <a:pt x="66" y="174"/>
                    <a:pt x="75" y="174"/>
                    <a:pt x="78" y="171"/>
                  </a:cubicBezTo>
                  <a:cubicBezTo>
                    <a:pt x="80" y="171"/>
                    <a:pt x="83" y="171"/>
                    <a:pt x="83" y="171"/>
                  </a:cubicBezTo>
                  <a:cubicBezTo>
                    <a:pt x="86" y="171"/>
                    <a:pt x="89" y="171"/>
                    <a:pt x="92" y="171"/>
                  </a:cubicBezTo>
                  <a:cubicBezTo>
                    <a:pt x="92" y="171"/>
                    <a:pt x="101" y="174"/>
                    <a:pt x="98" y="177"/>
                  </a:cubicBezTo>
                  <a:cubicBezTo>
                    <a:pt x="98" y="180"/>
                    <a:pt x="92" y="183"/>
                    <a:pt x="92" y="186"/>
                  </a:cubicBezTo>
                  <a:cubicBezTo>
                    <a:pt x="95" y="189"/>
                    <a:pt x="98" y="189"/>
                    <a:pt x="101" y="192"/>
                  </a:cubicBezTo>
                  <a:cubicBezTo>
                    <a:pt x="101" y="192"/>
                    <a:pt x="101" y="192"/>
                    <a:pt x="101" y="192"/>
                  </a:cubicBezTo>
                  <a:cubicBezTo>
                    <a:pt x="104" y="192"/>
                    <a:pt x="104" y="180"/>
                    <a:pt x="104" y="177"/>
                  </a:cubicBezTo>
                  <a:cubicBezTo>
                    <a:pt x="104" y="174"/>
                    <a:pt x="107" y="165"/>
                    <a:pt x="107" y="162"/>
                  </a:cubicBezTo>
                  <a:cubicBezTo>
                    <a:pt x="110" y="156"/>
                    <a:pt x="101" y="150"/>
                    <a:pt x="101" y="144"/>
                  </a:cubicBezTo>
                  <a:cubicBezTo>
                    <a:pt x="101" y="135"/>
                    <a:pt x="104" y="141"/>
                    <a:pt x="107" y="138"/>
                  </a:cubicBezTo>
                  <a:cubicBezTo>
                    <a:pt x="113" y="135"/>
                    <a:pt x="107" y="132"/>
                    <a:pt x="107" y="132"/>
                  </a:cubicBezTo>
                  <a:cubicBezTo>
                    <a:pt x="104" y="132"/>
                    <a:pt x="101" y="129"/>
                    <a:pt x="104" y="126"/>
                  </a:cubicBezTo>
                  <a:cubicBezTo>
                    <a:pt x="104" y="123"/>
                    <a:pt x="116" y="126"/>
                    <a:pt x="119" y="126"/>
                  </a:cubicBezTo>
                  <a:cubicBezTo>
                    <a:pt x="125" y="126"/>
                    <a:pt x="131" y="120"/>
                    <a:pt x="131" y="120"/>
                  </a:cubicBezTo>
                  <a:cubicBezTo>
                    <a:pt x="131" y="120"/>
                    <a:pt x="134" y="117"/>
                    <a:pt x="131" y="114"/>
                  </a:cubicBezTo>
                  <a:cubicBezTo>
                    <a:pt x="128" y="111"/>
                    <a:pt x="128" y="108"/>
                    <a:pt x="131" y="105"/>
                  </a:cubicBezTo>
                  <a:cubicBezTo>
                    <a:pt x="134" y="105"/>
                    <a:pt x="128" y="102"/>
                    <a:pt x="125" y="99"/>
                  </a:cubicBezTo>
                  <a:cubicBezTo>
                    <a:pt x="122" y="93"/>
                    <a:pt x="125" y="84"/>
                    <a:pt x="128" y="78"/>
                  </a:cubicBezTo>
                  <a:cubicBezTo>
                    <a:pt x="131" y="72"/>
                    <a:pt x="122" y="72"/>
                    <a:pt x="116" y="75"/>
                  </a:cubicBezTo>
                  <a:cubicBezTo>
                    <a:pt x="110" y="75"/>
                    <a:pt x="104" y="72"/>
                    <a:pt x="101" y="66"/>
                  </a:cubicBezTo>
                  <a:cubicBezTo>
                    <a:pt x="95" y="60"/>
                    <a:pt x="89" y="66"/>
                    <a:pt x="80" y="66"/>
                  </a:cubicBezTo>
                  <a:cubicBezTo>
                    <a:pt x="72" y="66"/>
                    <a:pt x="75" y="54"/>
                    <a:pt x="75" y="51"/>
                  </a:cubicBezTo>
                  <a:cubicBezTo>
                    <a:pt x="75" y="45"/>
                    <a:pt x="69" y="45"/>
                    <a:pt x="69" y="42"/>
                  </a:cubicBezTo>
                  <a:cubicBezTo>
                    <a:pt x="69" y="39"/>
                    <a:pt x="66" y="39"/>
                    <a:pt x="63" y="39"/>
                  </a:cubicBezTo>
                  <a:cubicBezTo>
                    <a:pt x="63" y="39"/>
                    <a:pt x="63" y="36"/>
                    <a:pt x="66" y="36"/>
                  </a:cubicBezTo>
                  <a:cubicBezTo>
                    <a:pt x="69" y="33"/>
                    <a:pt x="66" y="30"/>
                    <a:pt x="69" y="27"/>
                  </a:cubicBezTo>
                  <a:cubicBezTo>
                    <a:pt x="69" y="21"/>
                    <a:pt x="75" y="18"/>
                    <a:pt x="78" y="15"/>
                  </a:cubicBezTo>
                  <a:cubicBezTo>
                    <a:pt x="78" y="12"/>
                    <a:pt x="80" y="12"/>
                    <a:pt x="80" y="12"/>
                  </a:cubicBezTo>
                  <a:cubicBezTo>
                    <a:pt x="80" y="12"/>
                    <a:pt x="80" y="9"/>
                    <a:pt x="83" y="9"/>
                  </a:cubicBezTo>
                  <a:cubicBezTo>
                    <a:pt x="89" y="9"/>
                    <a:pt x="89" y="6"/>
                    <a:pt x="86" y="3"/>
                  </a:cubicBezTo>
                  <a:cubicBezTo>
                    <a:pt x="80" y="0"/>
                    <a:pt x="78" y="9"/>
                    <a:pt x="75" y="9"/>
                  </a:cubicBezTo>
                  <a:cubicBezTo>
                    <a:pt x="69" y="9"/>
                    <a:pt x="66" y="12"/>
                    <a:pt x="63" y="15"/>
                  </a:cubicBezTo>
                  <a:cubicBezTo>
                    <a:pt x="60" y="15"/>
                    <a:pt x="54" y="15"/>
                    <a:pt x="54" y="18"/>
                  </a:cubicBezTo>
                  <a:cubicBezTo>
                    <a:pt x="54" y="21"/>
                    <a:pt x="51" y="18"/>
                    <a:pt x="48" y="18"/>
                  </a:cubicBezTo>
                  <a:cubicBezTo>
                    <a:pt x="45" y="15"/>
                    <a:pt x="39" y="24"/>
                    <a:pt x="39" y="27"/>
                  </a:cubicBezTo>
                  <a:cubicBezTo>
                    <a:pt x="39" y="30"/>
                    <a:pt x="39" y="33"/>
                    <a:pt x="33" y="36"/>
                  </a:cubicBezTo>
                  <a:cubicBezTo>
                    <a:pt x="27" y="42"/>
                    <a:pt x="24" y="48"/>
                    <a:pt x="24" y="51"/>
                  </a:cubicBezTo>
                  <a:cubicBezTo>
                    <a:pt x="21" y="51"/>
                    <a:pt x="21" y="51"/>
                    <a:pt x="21" y="51"/>
                  </a:cubicBezTo>
                  <a:cubicBezTo>
                    <a:pt x="18" y="54"/>
                    <a:pt x="18" y="54"/>
                    <a:pt x="18" y="54"/>
                  </a:cubicBezTo>
                  <a:cubicBezTo>
                    <a:pt x="18" y="54"/>
                    <a:pt x="15" y="60"/>
                    <a:pt x="12" y="63"/>
                  </a:cubicBezTo>
                  <a:cubicBezTo>
                    <a:pt x="12" y="63"/>
                    <a:pt x="15" y="63"/>
                    <a:pt x="15" y="66"/>
                  </a:cubicBezTo>
                  <a:cubicBezTo>
                    <a:pt x="18" y="69"/>
                    <a:pt x="15" y="72"/>
                    <a:pt x="18" y="75"/>
                  </a:cubicBezTo>
                  <a:cubicBezTo>
                    <a:pt x="18" y="75"/>
                    <a:pt x="18" y="78"/>
                    <a:pt x="18" y="81"/>
                  </a:cubicBezTo>
                  <a:cubicBezTo>
                    <a:pt x="15" y="81"/>
                    <a:pt x="18" y="96"/>
                    <a:pt x="18" y="99"/>
                  </a:cubicBezTo>
                  <a:cubicBezTo>
                    <a:pt x="21" y="99"/>
                    <a:pt x="18" y="102"/>
                    <a:pt x="15" y="108"/>
                  </a:cubicBezTo>
                  <a:cubicBezTo>
                    <a:pt x="15" y="114"/>
                    <a:pt x="12" y="114"/>
                    <a:pt x="6" y="114"/>
                  </a:cubicBezTo>
                  <a:cubicBezTo>
                    <a:pt x="3" y="114"/>
                    <a:pt x="3" y="123"/>
                    <a:pt x="0" y="123"/>
                  </a:cubicBezTo>
                  <a:cubicBezTo>
                    <a:pt x="0" y="126"/>
                    <a:pt x="0" y="126"/>
                    <a:pt x="0" y="126"/>
                  </a:cubicBezTo>
                  <a:cubicBezTo>
                    <a:pt x="3" y="132"/>
                    <a:pt x="12" y="135"/>
                    <a:pt x="12" y="135"/>
                  </a:cubicBezTo>
                  <a:cubicBezTo>
                    <a:pt x="15" y="135"/>
                    <a:pt x="18" y="138"/>
                    <a:pt x="21" y="14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0" name="Freeform 865"/>
            <p:cNvSpPr>
              <a:spLocks/>
            </p:cNvSpPr>
            <p:nvPr userDrawn="1"/>
          </p:nvSpPr>
          <p:spPr bwMode="auto">
            <a:xfrm>
              <a:off x="2245" y="-969"/>
              <a:ext cx="215" cy="244"/>
            </a:xfrm>
            <a:custGeom>
              <a:avLst/>
              <a:gdLst>
                <a:gd name="T0" fmla="*/ 138 w 138"/>
                <a:gd name="T1" fmla="*/ 93 h 156"/>
                <a:gd name="T2" fmla="*/ 129 w 138"/>
                <a:gd name="T3" fmla="*/ 84 h 156"/>
                <a:gd name="T4" fmla="*/ 120 w 138"/>
                <a:gd name="T5" fmla="*/ 78 h 156"/>
                <a:gd name="T6" fmla="*/ 108 w 138"/>
                <a:gd name="T7" fmla="*/ 72 h 156"/>
                <a:gd name="T8" fmla="*/ 108 w 138"/>
                <a:gd name="T9" fmla="*/ 63 h 156"/>
                <a:gd name="T10" fmla="*/ 105 w 138"/>
                <a:gd name="T11" fmla="*/ 54 h 156"/>
                <a:gd name="T12" fmla="*/ 102 w 138"/>
                <a:gd name="T13" fmla="*/ 45 h 156"/>
                <a:gd name="T14" fmla="*/ 90 w 138"/>
                <a:gd name="T15" fmla="*/ 42 h 156"/>
                <a:gd name="T16" fmla="*/ 81 w 138"/>
                <a:gd name="T17" fmla="*/ 39 h 156"/>
                <a:gd name="T18" fmla="*/ 75 w 138"/>
                <a:gd name="T19" fmla="*/ 36 h 156"/>
                <a:gd name="T20" fmla="*/ 66 w 138"/>
                <a:gd name="T21" fmla="*/ 33 h 156"/>
                <a:gd name="T22" fmla="*/ 54 w 138"/>
                <a:gd name="T23" fmla="*/ 24 h 156"/>
                <a:gd name="T24" fmla="*/ 51 w 138"/>
                <a:gd name="T25" fmla="*/ 3 h 156"/>
                <a:gd name="T26" fmla="*/ 39 w 138"/>
                <a:gd name="T27" fmla="*/ 3 h 156"/>
                <a:gd name="T28" fmla="*/ 27 w 138"/>
                <a:gd name="T29" fmla="*/ 9 h 156"/>
                <a:gd name="T30" fmla="*/ 15 w 138"/>
                <a:gd name="T31" fmla="*/ 12 h 156"/>
                <a:gd name="T32" fmla="*/ 6 w 138"/>
                <a:gd name="T33" fmla="*/ 15 h 156"/>
                <a:gd name="T34" fmla="*/ 3 w 138"/>
                <a:gd name="T35" fmla="*/ 15 h 156"/>
                <a:gd name="T36" fmla="*/ 12 w 138"/>
                <a:gd name="T37" fmla="*/ 30 h 156"/>
                <a:gd name="T38" fmla="*/ 9 w 138"/>
                <a:gd name="T39" fmla="*/ 36 h 156"/>
                <a:gd name="T40" fmla="*/ 9 w 138"/>
                <a:gd name="T41" fmla="*/ 54 h 156"/>
                <a:gd name="T42" fmla="*/ 6 w 138"/>
                <a:gd name="T43" fmla="*/ 63 h 156"/>
                <a:gd name="T44" fmla="*/ 3 w 138"/>
                <a:gd name="T45" fmla="*/ 72 h 156"/>
                <a:gd name="T46" fmla="*/ 9 w 138"/>
                <a:gd name="T47" fmla="*/ 78 h 156"/>
                <a:gd name="T48" fmla="*/ 3 w 138"/>
                <a:gd name="T49" fmla="*/ 87 h 156"/>
                <a:gd name="T50" fmla="*/ 0 w 138"/>
                <a:gd name="T51" fmla="*/ 90 h 156"/>
                <a:gd name="T52" fmla="*/ 6 w 138"/>
                <a:gd name="T53" fmla="*/ 96 h 156"/>
                <a:gd name="T54" fmla="*/ 9 w 138"/>
                <a:gd name="T55" fmla="*/ 108 h 156"/>
                <a:gd name="T56" fmla="*/ 12 w 138"/>
                <a:gd name="T57" fmla="*/ 114 h 156"/>
                <a:gd name="T58" fmla="*/ 9 w 138"/>
                <a:gd name="T59" fmla="*/ 123 h 156"/>
                <a:gd name="T60" fmla="*/ 15 w 138"/>
                <a:gd name="T61" fmla="*/ 132 h 156"/>
                <a:gd name="T62" fmla="*/ 18 w 138"/>
                <a:gd name="T63" fmla="*/ 141 h 156"/>
                <a:gd name="T64" fmla="*/ 21 w 138"/>
                <a:gd name="T65" fmla="*/ 153 h 156"/>
                <a:gd name="T66" fmla="*/ 36 w 138"/>
                <a:gd name="T67" fmla="*/ 144 h 156"/>
                <a:gd name="T68" fmla="*/ 45 w 138"/>
                <a:gd name="T69" fmla="*/ 144 h 156"/>
                <a:gd name="T70" fmla="*/ 60 w 138"/>
                <a:gd name="T71" fmla="*/ 150 h 156"/>
                <a:gd name="T72" fmla="*/ 66 w 138"/>
                <a:gd name="T73" fmla="*/ 144 h 156"/>
                <a:gd name="T74" fmla="*/ 81 w 138"/>
                <a:gd name="T75" fmla="*/ 144 h 156"/>
                <a:gd name="T76" fmla="*/ 84 w 138"/>
                <a:gd name="T77" fmla="*/ 126 h 156"/>
                <a:gd name="T78" fmla="*/ 93 w 138"/>
                <a:gd name="T79" fmla="*/ 117 h 156"/>
                <a:gd name="T80" fmla="*/ 108 w 138"/>
                <a:gd name="T81" fmla="*/ 114 h 156"/>
                <a:gd name="T82" fmla="*/ 120 w 138"/>
                <a:gd name="T83" fmla="*/ 111 h 156"/>
                <a:gd name="T84" fmla="*/ 129 w 138"/>
                <a:gd name="T85" fmla="*/ 117 h 156"/>
                <a:gd name="T86" fmla="*/ 135 w 138"/>
                <a:gd name="T87" fmla="*/ 108 h 156"/>
                <a:gd name="T88" fmla="*/ 138 w 138"/>
                <a:gd name="T89"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 h="156">
                  <a:moveTo>
                    <a:pt x="138" y="93"/>
                  </a:moveTo>
                  <a:cubicBezTo>
                    <a:pt x="135" y="90"/>
                    <a:pt x="129" y="87"/>
                    <a:pt x="129" y="84"/>
                  </a:cubicBezTo>
                  <a:cubicBezTo>
                    <a:pt x="129" y="78"/>
                    <a:pt x="129" y="78"/>
                    <a:pt x="120" y="78"/>
                  </a:cubicBezTo>
                  <a:cubicBezTo>
                    <a:pt x="114" y="78"/>
                    <a:pt x="108" y="75"/>
                    <a:pt x="108" y="72"/>
                  </a:cubicBezTo>
                  <a:cubicBezTo>
                    <a:pt x="108" y="66"/>
                    <a:pt x="105" y="63"/>
                    <a:pt x="108" y="63"/>
                  </a:cubicBezTo>
                  <a:cubicBezTo>
                    <a:pt x="111" y="60"/>
                    <a:pt x="105" y="57"/>
                    <a:pt x="105" y="54"/>
                  </a:cubicBezTo>
                  <a:cubicBezTo>
                    <a:pt x="105" y="48"/>
                    <a:pt x="105" y="48"/>
                    <a:pt x="102" y="45"/>
                  </a:cubicBezTo>
                  <a:cubicBezTo>
                    <a:pt x="99" y="45"/>
                    <a:pt x="90" y="48"/>
                    <a:pt x="90" y="42"/>
                  </a:cubicBezTo>
                  <a:cubicBezTo>
                    <a:pt x="90" y="39"/>
                    <a:pt x="84" y="39"/>
                    <a:pt x="81" y="39"/>
                  </a:cubicBezTo>
                  <a:cubicBezTo>
                    <a:pt x="75" y="39"/>
                    <a:pt x="78" y="33"/>
                    <a:pt x="75" y="36"/>
                  </a:cubicBezTo>
                  <a:cubicBezTo>
                    <a:pt x="72" y="36"/>
                    <a:pt x="72" y="33"/>
                    <a:pt x="66" y="33"/>
                  </a:cubicBezTo>
                  <a:cubicBezTo>
                    <a:pt x="63" y="33"/>
                    <a:pt x="60" y="30"/>
                    <a:pt x="54" y="24"/>
                  </a:cubicBezTo>
                  <a:cubicBezTo>
                    <a:pt x="48" y="18"/>
                    <a:pt x="48" y="6"/>
                    <a:pt x="51" y="3"/>
                  </a:cubicBezTo>
                  <a:cubicBezTo>
                    <a:pt x="51" y="0"/>
                    <a:pt x="45" y="3"/>
                    <a:pt x="39" y="3"/>
                  </a:cubicBezTo>
                  <a:cubicBezTo>
                    <a:pt x="36" y="3"/>
                    <a:pt x="30" y="6"/>
                    <a:pt x="27" y="9"/>
                  </a:cubicBezTo>
                  <a:cubicBezTo>
                    <a:pt x="21" y="12"/>
                    <a:pt x="18" y="12"/>
                    <a:pt x="15" y="12"/>
                  </a:cubicBezTo>
                  <a:cubicBezTo>
                    <a:pt x="15" y="15"/>
                    <a:pt x="9" y="18"/>
                    <a:pt x="6" y="15"/>
                  </a:cubicBezTo>
                  <a:cubicBezTo>
                    <a:pt x="3" y="15"/>
                    <a:pt x="3" y="15"/>
                    <a:pt x="3" y="15"/>
                  </a:cubicBezTo>
                  <a:cubicBezTo>
                    <a:pt x="6" y="21"/>
                    <a:pt x="9" y="27"/>
                    <a:pt x="12" y="30"/>
                  </a:cubicBezTo>
                  <a:cubicBezTo>
                    <a:pt x="12" y="33"/>
                    <a:pt x="9" y="36"/>
                    <a:pt x="9" y="36"/>
                  </a:cubicBezTo>
                  <a:cubicBezTo>
                    <a:pt x="6" y="39"/>
                    <a:pt x="9" y="51"/>
                    <a:pt x="9" y="54"/>
                  </a:cubicBezTo>
                  <a:cubicBezTo>
                    <a:pt x="9" y="54"/>
                    <a:pt x="3" y="60"/>
                    <a:pt x="6" y="63"/>
                  </a:cubicBezTo>
                  <a:cubicBezTo>
                    <a:pt x="9" y="63"/>
                    <a:pt x="3" y="69"/>
                    <a:pt x="3" y="72"/>
                  </a:cubicBezTo>
                  <a:cubicBezTo>
                    <a:pt x="3" y="75"/>
                    <a:pt x="9" y="75"/>
                    <a:pt x="9" y="78"/>
                  </a:cubicBezTo>
                  <a:cubicBezTo>
                    <a:pt x="9" y="78"/>
                    <a:pt x="3" y="84"/>
                    <a:pt x="3" y="87"/>
                  </a:cubicBezTo>
                  <a:cubicBezTo>
                    <a:pt x="0" y="87"/>
                    <a:pt x="0" y="87"/>
                    <a:pt x="0" y="90"/>
                  </a:cubicBezTo>
                  <a:cubicBezTo>
                    <a:pt x="0" y="90"/>
                    <a:pt x="3" y="93"/>
                    <a:pt x="6" y="96"/>
                  </a:cubicBezTo>
                  <a:cubicBezTo>
                    <a:pt x="9" y="99"/>
                    <a:pt x="6" y="105"/>
                    <a:pt x="9" y="108"/>
                  </a:cubicBezTo>
                  <a:cubicBezTo>
                    <a:pt x="12" y="111"/>
                    <a:pt x="15" y="111"/>
                    <a:pt x="12" y="114"/>
                  </a:cubicBezTo>
                  <a:cubicBezTo>
                    <a:pt x="9" y="117"/>
                    <a:pt x="12" y="120"/>
                    <a:pt x="9" y="123"/>
                  </a:cubicBezTo>
                  <a:cubicBezTo>
                    <a:pt x="9" y="123"/>
                    <a:pt x="12" y="129"/>
                    <a:pt x="15" y="132"/>
                  </a:cubicBezTo>
                  <a:cubicBezTo>
                    <a:pt x="18" y="132"/>
                    <a:pt x="15" y="138"/>
                    <a:pt x="18" y="141"/>
                  </a:cubicBezTo>
                  <a:cubicBezTo>
                    <a:pt x="21" y="144"/>
                    <a:pt x="21" y="153"/>
                    <a:pt x="21" y="153"/>
                  </a:cubicBezTo>
                  <a:cubicBezTo>
                    <a:pt x="21" y="156"/>
                    <a:pt x="30" y="150"/>
                    <a:pt x="36" y="144"/>
                  </a:cubicBezTo>
                  <a:cubicBezTo>
                    <a:pt x="42" y="141"/>
                    <a:pt x="42" y="144"/>
                    <a:pt x="45" y="144"/>
                  </a:cubicBezTo>
                  <a:cubicBezTo>
                    <a:pt x="51" y="147"/>
                    <a:pt x="57" y="147"/>
                    <a:pt x="60" y="150"/>
                  </a:cubicBezTo>
                  <a:cubicBezTo>
                    <a:pt x="63" y="156"/>
                    <a:pt x="63" y="147"/>
                    <a:pt x="66" y="144"/>
                  </a:cubicBezTo>
                  <a:cubicBezTo>
                    <a:pt x="69" y="141"/>
                    <a:pt x="78" y="144"/>
                    <a:pt x="81" y="144"/>
                  </a:cubicBezTo>
                  <a:cubicBezTo>
                    <a:pt x="84" y="144"/>
                    <a:pt x="84" y="129"/>
                    <a:pt x="84" y="126"/>
                  </a:cubicBezTo>
                  <a:cubicBezTo>
                    <a:pt x="84" y="123"/>
                    <a:pt x="90" y="117"/>
                    <a:pt x="93" y="117"/>
                  </a:cubicBezTo>
                  <a:cubicBezTo>
                    <a:pt x="96" y="114"/>
                    <a:pt x="102" y="114"/>
                    <a:pt x="108" y="114"/>
                  </a:cubicBezTo>
                  <a:cubicBezTo>
                    <a:pt x="111" y="111"/>
                    <a:pt x="114" y="111"/>
                    <a:pt x="120" y="111"/>
                  </a:cubicBezTo>
                  <a:cubicBezTo>
                    <a:pt x="123" y="111"/>
                    <a:pt x="129" y="117"/>
                    <a:pt x="129" y="117"/>
                  </a:cubicBezTo>
                  <a:cubicBezTo>
                    <a:pt x="132" y="117"/>
                    <a:pt x="135" y="111"/>
                    <a:pt x="135" y="108"/>
                  </a:cubicBezTo>
                  <a:cubicBezTo>
                    <a:pt x="135" y="105"/>
                    <a:pt x="138" y="99"/>
                    <a:pt x="138" y="9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1" name="Freeform 866"/>
            <p:cNvSpPr>
              <a:spLocks/>
            </p:cNvSpPr>
            <p:nvPr userDrawn="1"/>
          </p:nvSpPr>
          <p:spPr bwMode="auto">
            <a:xfrm>
              <a:off x="2245" y="-969"/>
              <a:ext cx="215" cy="244"/>
            </a:xfrm>
            <a:custGeom>
              <a:avLst/>
              <a:gdLst>
                <a:gd name="T0" fmla="*/ 138 w 138"/>
                <a:gd name="T1" fmla="*/ 93 h 156"/>
                <a:gd name="T2" fmla="*/ 129 w 138"/>
                <a:gd name="T3" fmla="*/ 84 h 156"/>
                <a:gd name="T4" fmla="*/ 120 w 138"/>
                <a:gd name="T5" fmla="*/ 78 h 156"/>
                <a:gd name="T6" fmla="*/ 108 w 138"/>
                <a:gd name="T7" fmla="*/ 72 h 156"/>
                <a:gd name="T8" fmla="*/ 108 w 138"/>
                <a:gd name="T9" fmla="*/ 63 h 156"/>
                <a:gd name="T10" fmla="*/ 105 w 138"/>
                <a:gd name="T11" fmla="*/ 54 h 156"/>
                <a:gd name="T12" fmla="*/ 102 w 138"/>
                <a:gd name="T13" fmla="*/ 45 h 156"/>
                <a:gd name="T14" fmla="*/ 90 w 138"/>
                <a:gd name="T15" fmla="*/ 42 h 156"/>
                <a:gd name="T16" fmla="*/ 81 w 138"/>
                <a:gd name="T17" fmla="*/ 39 h 156"/>
                <a:gd name="T18" fmla="*/ 75 w 138"/>
                <a:gd name="T19" fmla="*/ 36 h 156"/>
                <a:gd name="T20" fmla="*/ 66 w 138"/>
                <a:gd name="T21" fmla="*/ 33 h 156"/>
                <a:gd name="T22" fmla="*/ 54 w 138"/>
                <a:gd name="T23" fmla="*/ 24 h 156"/>
                <a:gd name="T24" fmla="*/ 51 w 138"/>
                <a:gd name="T25" fmla="*/ 3 h 156"/>
                <a:gd name="T26" fmla="*/ 39 w 138"/>
                <a:gd name="T27" fmla="*/ 3 h 156"/>
                <a:gd name="T28" fmla="*/ 27 w 138"/>
                <a:gd name="T29" fmla="*/ 9 h 156"/>
                <a:gd name="T30" fmla="*/ 15 w 138"/>
                <a:gd name="T31" fmla="*/ 12 h 156"/>
                <a:gd name="T32" fmla="*/ 6 w 138"/>
                <a:gd name="T33" fmla="*/ 15 h 156"/>
                <a:gd name="T34" fmla="*/ 3 w 138"/>
                <a:gd name="T35" fmla="*/ 15 h 156"/>
                <a:gd name="T36" fmla="*/ 12 w 138"/>
                <a:gd name="T37" fmla="*/ 30 h 156"/>
                <a:gd name="T38" fmla="*/ 9 w 138"/>
                <a:gd name="T39" fmla="*/ 36 h 156"/>
                <a:gd name="T40" fmla="*/ 9 w 138"/>
                <a:gd name="T41" fmla="*/ 54 h 156"/>
                <a:gd name="T42" fmla="*/ 6 w 138"/>
                <a:gd name="T43" fmla="*/ 63 h 156"/>
                <a:gd name="T44" fmla="*/ 3 w 138"/>
                <a:gd name="T45" fmla="*/ 72 h 156"/>
                <a:gd name="T46" fmla="*/ 9 w 138"/>
                <a:gd name="T47" fmla="*/ 78 h 156"/>
                <a:gd name="T48" fmla="*/ 3 w 138"/>
                <a:gd name="T49" fmla="*/ 87 h 156"/>
                <a:gd name="T50" fmla="*/ 0 w 138"/>
                <a:gd name="T51" fmla="*/ 90 h 156"/>
                <a:gd name="T52" fmla="*/ 6 w 138"/>
                <a:gd name="T53" fmla="*/ 96 h 156"/>
                <a:gd name="T54" fmla="*/ 9 w 138"/>
                <a:gd name="T55" fmla="*/ 108 h 156"/>
                <a:gd name="T56" fmla="*/ 12 w 138"/>
                <a:gd name="T57" fmla="*/ 114 h 156"/>
                <a:gd name="T58" fmla="*/ 9 w 138"/>
                <a:gd name="T59" fmla="*/ 123 h 156"/>
                <a:gd name="T60" fmla="*/ 15 w 138"/>
                <a:gd name="T61" fmla="*/ 132 h 156"/>
                <a:gd name="T62" fmla="*/ 18 w 138"/>
                <a:gd name="T63" fmla="*/ 141 h 156"/>
                <a:gd name="T64" fmla="*/ 21 w 138"/>
                <a:gd name="T65" fmla="*/ 153 h 156"/>
                <a:gd name="T66" fmla="*/ 36 w 138"/>
                <a:gd name="T67" fmla="*/ 144 h 156"/>
                <a:gd name="T68" fmla="*/ 45 w 138"/>
                <a:gd name="T69" fmla="*/ 144 h 156"/>
                <a:gd name="T70" fmla="*/ 60 w 138"/>
                <a:gd name="T71" fmla="*/ 150 h 156"/>
                <a:gd name="T72" fmla="*/ 66 w 138"/>
                <a:gd name="T73" fmla="*/ 144 h 156"/>
                <a:gd name="T74" fmla="*/ 81 w 138"/>
                <a:gd name="T75" fmla="*/ 144 h 156"/>
                <a:gd name="T76" fmla="*/ 84 w 138"/>
                <a:gd name="T77" fmla="*/ 126 h 156"/>
                <a:gd name="T78" fmla="*/ 93 w 138"/>
                <a:gd name="T79" fmla="*/ 117 h 156"/>
                <a:gd name="T80" fmla="*/ 108 w 138"/>
                <a:gd name="T81" fmla="*/ 114 h 156"/>
                <a:gd name="T82" fmla="*/ 120 w 138"/>
                <a:gd name="T83" fmla="*/ 111 h 156"/>
                <a:gd name="T84" fmla="*/ 129 w 138"/>
                <a:gd name="T85" fmla="*/ 117 h 156"/>
                <a:gd name="T86" fmla="*/ 135 w 138"/>
                <a:gd name="T87" fmla="*/ 108 h 156"/>
                <a:gd name="T88" fmla="*/ 138 w 138"/>
                <a:gd name="T89"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 h="156">
                  <a:moveTo>
                    <a:pt x="138" y="93"/>
                  </a:moveTo>
                  <a:cubicBezTo>
                    <a:pt x="135" y="90"/>
                    <a:pt x="129" y="87"/>
                    <a:pt x="129" y="84"/>
                  </a:cubicBezTo>
                  <a:cubicBezTo>
                    <a:pt x="129" y="78"/>
                    <a:pt x="129" y="78"/>
                    <a:pt x="120" y="78"/>
                  </a:cubicBezTo>
                  <a:cubicBezTo>
                    <a:pt x="114" y="78"/>
                    <a:pt x="108" y="75"/>
                    <a:pt x="108" y="72"/>
                  </a:cubicBezTo>
                  <a:cubicBezTo>
                    <a:pt x="108" y="66"/>
                    <a:pt x="105" y="63"/>
                    <a:pt x="108" y="63"/>
                  </a:cubicBezTo>
                  <a:cubicBezTo>
                    <a:pt x="111" y="60"/>
                    <a:pt x="105" y="57"/>
                    <a:pt x="105" y="54"/>
                  </a:cubicBezTo>
                  <a:cubicBezTo>
                    <a:pt x="105" y="48"/>
                    <a:pt x="105" y="48"/>
                    <a:pt x="102" y="45"/>
                  </a:cubicBezTo>
                  <a:cubicBezTo>
                    <a:pt x="99" y="45"/>
                    <a:pt x="90" y="48"/>
                    <a:pt x="90" y="42"/>
                  </a:cubicBezTo>
                  <a:cubicBezTo>
                    <a:pt x="90" y="39"/>
                    <a:pt x="84" y="39"/>
                    <a:pt x="81" y="39"/>
                  </a:cubicBezTo>
                  <a:cubicBezTo>
                    <a:pt x="75" y="39"/>
                    <a:pt x="78" y="33"/>
                    <a:pt x="75" y="36"/>
                  </a:cubicBezTo>
                  <a:cubicBezTo>
                    <a:pt x="72" y="36"/>
                    <a:pt x="72" y="33"/>
                    <a:pt x="66" y="33"/>
                  </a:cubicBezTo>
                  <a:cubicBezTo>
                    <a:pt x="63" y="33"/>
                    <a:pt x="60" y="30"/>
                    <a:pt x="54" y="24"/>
                  </a:cubicBezTo>
                  <a:cubicBezTo>
                    <a:pt x="48" y="18"/>
                    <a:pt x="48" y="6"/>
                    <a:pt x="51" y="3"/>
                  </a:cubicBezTo>
                  <a:cubicBezTo>
                    <a:pt x="51" y="0"/>
                    <a:pt x="45" y="3"/>
                    <a:pt x="39" y="3"/>
                  </a:cubicBezTo>
                  <a:cubicBezTo>
                    <a:pt x="36" y="3"/>
                    <a:pt x="30" y="6"/>
                    <a:pt x="27" y="9"/>
                  </a:cubicBezTo>
                  <a:cubicBezTo>
                    <a:pt x="21" y="12"/>
                    <a:pt x="18" y="12"/>
                    <a:pt x="15" y="12"/>
                  </a:cubicBezTo>
                  <a:cubicBezTo>
                    <a:pt x="15" y="15"/>
                    <a:pt x="9" y="18"/>
                    <a:pt x="6" y="15"/>
                  </a:cubicBezTo>
                  <a:cubicBezTo>
                    <a:pt x="3" y="15"/>
                    <a:pt x="3" y="15"/>
                    <a:pt x="3" y="15"/>
                  </a:cubicBezTo>
                  <a:cubicBezTo>
                    <a:pt x="6" y="21"/>
                    <a:pt x="9" y="27"/>
                    <a:pt x="12" y="30"/>
                  </a:cubicBezTo>
                  <a:cubicBezTo>
                    <a:pt x="12" y="33"/>
                    <a:pt x="9" y="36"/>
                    <a:pt x="9" y="36"/>
                  </a:cubicBezTo>
                  <a:cubicBezTo>
                    <a:pt x="6" y="39"/>
                    <a:pt x="9" y="51"/>
                    <a:pt x="9" y="54"/>
                  </a:cubicBezTo>
                  <a:cubicBezTo>
                    <a:pt x="9" y="54"/>
                    <a:pt x="3" y="60"/>
                    <a:pt x="6" y="63"/>
                  </a:cubicBezTo>
                  <a:cubicBezTo>
                    <a:pt x="9" y="63"/>
                    <a:pt x="3" y="69"/>
                    <a:pt x="3" y="72"/>
                  </a:cubicBezTo>
                  <a:cubicBezTo>
                    <a:pt x="3" y="75"/>
                    <a:pt x="9" y="75"/>
                    <a:pt x="9" y="78"/>
                  </a:cubicBezTo>
                  <a:cubicBezTo>
                    <a:pt x="9" y="78"/>
                    <a:pt x="3" y="84"/>
                    <a:pt x="3" y="87"/>
                  </a:cubicBezTo>
                  <a:cubicBezTo>
                    <a:pt x="0" y="87"/>
                    <a:pt x="0" y="87"/>
                    <a:pt x="0" y="90"/>
                  </a:cubicBezTo>
                  <a:cubicBezTo>
                    <a:pt x="0" y="90"/>
                    <a:pt x="3" y="93"/>
                    <a:pt x="6" y="96"/>
                  </a:cubicBezTo>
                  <a:cubicBezTo>
                    <a:pt x="9" y="99"/>
                    <a:pt x="6" y="105"/>
                    <a:pt x="9" y="108"/>
                  </a:cubicBezTo>
                  <a:cubicBezTo>
                    <a:pt x="12" y="111"/>
                    <a:pt x="15" y="111"/>
                    <a:pt x="12" y="114"/>
                  </a:cubicBezTo>
                  <a:cubicBezTo>
                    <a:pt x="9" y="117"/>
                    <a:pt x="12" y="120"/>
                    <a:pt x="9" y="123"/>
                  </a:cubicBezTo>
                  <a:cubicBezTo>
                    <a:pt x="9" y="123"/>
                    <a:pt x="12" y="129"/>
                    <a:pt x="15" y="132"/>
                  </a:cubicBezTo>
                  <a:cubicBezTo>
                    <a:pt x="18" y="132"/>
                    <a:pt x="15" y="138"/>
                    <a:pt x="18" y="141"/>
                  </a:cubicBezTo>
                  <a:cubicBezTo>
                    <a:pt x="21" y="144"/>
                    <a:pt x="21" y="153"/>
                    <a:pt x="21" y="153"/>
                  </a:cubicBezTo>
                  <a:cubicBezTo>
                    <a:pt x="21" y="156"/>
                    <a:pt x="30" y="150"/>
                    <a:pt x="36" y="144"/>
                  </a:cubicBezTo>
                  <a:cubicBezTo>
                    <a:pt x="42" y="141"/>
                    <a:pt x="42" y="144"/>
                    <a:pt x="45" y="144"/>
                  </a:cubicBezTo>
                  <a:cubicBezTo>
                    <a:pt x="51" y="147"/>
                    <a:pt x="57" y="147"/>
                    <a:pt x="60" y="150"/>
                  </a:cubicBezTo>
                  <a:cubicBezTo>
                    <a:pt x="63" y="156"/>
                    <a:pt x="63" y="147"/>
                    <a:pt x="66" y="144"/>
                  </a:cubicBezTo>
                  <a:cubicBezTo>
                    <a:pt x="69" y="141"/>
                    <a:pt x="78" y="144"/>
                    <a:pt x="81" y="144"/>
                  </a:cubicBezTo>
                  <a:cubicBezTo>
                    <a:pt x="84" y="144"/>
                    <a:pt x="84" y="129"/>
                    <a:pt x="84" y="126"/>
                  </a:cubicBezTo>
                  <a:cubicBezTo>
                    <a:pt x="84" y="123"/>
                    <a:pt x="90" y="117"/>
                    <a:pt x="93" y="117"/>
                  </a:cubicBezTo>
                  <a:cubicBezTo>
                    <a:pt x="96" y="114"/>
                    <a:pt x="102" y="114"/>
                    <a:pt x="108" y="114"/>
                  </a:cubicBezTo>
                  <a:cubicBezTo>
                    <a:pt x="111" y="111"/>
                    <a:pt x="114" y="111"/>
                    <a:pt x="120" y="111"/>
                  </a:cubicBezTo>
                  <a:cubicBezTo>
                    <a:pt x="123" y="111"/>
                    <a:pt x="129" y="117"/>
                    <a:pt x="129" y="117"/>
                  </a:cubicBezTo>
                  <a:cubicBezTo>
                    <a:pt x="132" y="117"/>
                    <a:pt x="135" y="111"/>
                    <a:pt x="135" y="108"/>
                  </a:cubicBezTo>
                  <a:cubicBezTo>
                    <a:pt x="135" y="105"/>
                    <a:pt x="138" y="99"/>
                    <a:pt x="138" y="9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2" name="Freeform 867"/>
            <p:cNvSpPr>
              <a:spLocks/>
            </p:cNvSpPr>
            <p:nvPr userDrawn="1"/>
          </p:nvSpPr>
          <p:spPr bwMode="auto">
            <a:xfrm>
              <a:off x="2035" y="-1142"/>
              <a:ext cx="229" cy="334"/>
            </a:xfrm>
            <a:custGeom>
              <a:avLst/>
              <a:gdLst>
                <a:gd name="T0" fmla="*/ 135 w 147"/>
                <a:gd name="T1" fmla="*/ 202 h 214"/>
                <a:gd name="T2" fmla="*/ 135 w 147"/>
                <a:gd name="T3" fmla="*/ 202 h 214"/>
                <a:gd name="T4" fmla="*/ 138 w 147"/>
                <a:gd name="T5" fmla="*/ 199 h 214"/>
                <a:gd name="T6" fmla="*/ 144 w 147"/>
                <a:gd name="T7" fmla="*/ 190 h 214"/>
                <a:gd name="T8" fmla="*/ 138 w 147"/>
                <a:gd name="T9" fmla="*/ 184 h 214"/>
                <a:gd name="T10" fmla="*/ 141 w 147"/>
                <a:gd name="T11" fmla="*/ 175 h 214"/>
                <a:gd name="T12" fmla="*/ 144 w 147"/>
                <a:gd name="T13" fmla="*/ 166 h 214"/>
                <a:gd name="T14" fmla="*/ 144 w 147"/>
                <a:gd name="T15" fmla="*/ 148 h 214"/>
                <a:gd name="T16" fmla="*/ 147 w 147"/>
                <a:gd name="T17" fmla="*/ 142 h 214"/>
                <a:gd name="T18" fmla="*/ 138 w 147"/>
                <a:gd name="T19" fmla="*/ 126 h 214"/>
                <a:gd name="T20" fmla="*/ 126 w 147"/>
                <a:gd name="T21" fmla="*/ 126 h 214"/>
                <a:gd name="T22" fmla="*/ 123 w 147"/>
                <a:gd name="T23" fmla="*/ 111 h 214"/>
                <a:gd name="T24" fmla="*/ 120 w 147"/>
                <a:gd name="T25" fmla="*/ 114 h 214"/>
                <a:gd name="T26" fmla="*/ 108 w 147"/>
                <a:gd name="T27" fmla="*/ 114 h 214"/>
                <a:gd name="T28" fmla="*/ 102 w 147"/>
                <a:gd name="T29" fmla="*/ 108 h 214"/>
                <a:gd name="T30" fmla="*/ 96 w 147"/>
                <a:gd name="T31" fmla="*/ 105 h 214"/>
                <a:gd name="T32" fmla="*/ 90 w 147"/>
                <a:gd name="T33" fmla="*/ 93 h 214"/>
                <a:gd name="T34" fmla="*/ 87 w 147"/>
                <a:gd name="T35" fmla="*/ 84 h 214"/>
                <a:gd name="T36" fmla="*/ 90 w 147"/>
                <a:gd name="T37" fmla="*/ 78 h 214"/>
                <a:gd name="T38" fmla="*/ 96 w 147"/>
                <a:gd name="T39" fmla="*/ 72 h 214"/>
                <a:gd name="T40" fmla="*/ 99 w 147"/>
                <a:gd name="T41" fmla="*/ 60 h 214"/>
                <a:gd name="T42" fmla="*/ 108 w 147"/>
                <a:gd name="T43" fmla="*/ 54 h 214"/>
                <a:gd name="T44" fmla="*/ 123 w 147"/>
                <a:gd name="T45" fmla="*/ 48 h 214"/>
                <a:gd name="T46" fmla="*/ 132 w 147"/>
                <a:gd name="T47" fmla="*/ 48 h 214"/>
                <a:gd name="T48" fmla="*/ 123 w 147"/>
                <a:gd name="T49" fmla="*/ 42 h 214"/>
                <a:gd name="T50" fmla="*/ 129 w 147"/>
                <a:gd name="T51" fmla="*/ 33 h 214"/>
                <a:gd name="T52" fmla="*/ 123 w 147"/>
                <a:gd name="T53" fmla="*/ 27 h 214"/>
                <a:gd name="T54" fmla="*/ 114 w 147"/>
                <a:gd name="T55" fmla="*/ 27 h 214"/>
                <a:gd name="T56" fmla="*/ 108 w 147"/>
                <a:gd name="T57" fmla="*/ 27 h 214"/>
                <a:gd name="T58" fmla="*/ 96 w 147"/>
                <a:gd name="T59" fmla="*/ 27 h 214"/>
                <a:gd name="T60" fmla="*/ 90 w 147"/>
                <a:gd name="T61" fmla="*/ 18 h 214"/>
                <a:gd name="T62" fmla="*/ 84 w 147"/>
                <a:gd name="T63" fmla="*/ 12 h 214"/>
                <a:gd name="T64" fmla="*/ 78 w 147"/>
                <a:gd name="T65" fmla="*/ 3 h 214"/>
                <a:gd name="T66" fmla="*/ 66 w 147"/>
                <a:gd name="T67" fmla="*/ 3 h 214"/>
                <a:gd name="T68" fmla="*/ 69 w 147"/>
                <a:gd name="T69" fmla="*/ 12 h 214"/>
                <a:gd name="T70" fmla="*/ 63 w 147"/>
                <a:gd name="T71" fmla="*/ 21 h 214"/>
                <a:gd name="T72" fmla="*/ 42 w 147"/>
                <a:gd name="T73" fmla="*/ 33 h 214"/>
                <a:gd name="T74" fmla="*/ 30 w 147"/>
                <a:gd name="T75" fmla="*/ 51 h 214"/>
                <a:gd name="T76" fmla="*/ 24 w 147"/>
                <a:gd name="T77" fmla="*/ 54 h 214"/>
                <a:gd name="T78" fmla="*/ 15 w 147"/>
                <a:gd name="T79" fmla="*/ 51 h 214"/>
                <a:gd name="T80" fmla="*/ 15 w 147"/>
                <a:gd name="T81" fmla="*/ 45 h 214"/>
                <a:gd name="T82" fmla="*/ 12 w 147"/>
                <a:gd name="T83" fmla="*/ 39 h 214"/>
                <a:gd name="T84" fmla="*/ 3 w 147"/>
                <a:gd name="T85" fmla="*/ 48 h 214"/>
                <a:gd name="T86" fmla="*/ 6 w 147"/>
                <a:gd name="T87" fmla="*/ 63 h 214"/>
                <a:gd name="T88" fmla="*/ 3 w 147"/>
                <a:gd name="T89" fmla="*/ 66 h 214"/>
                <a:gd name="T90" fmla="*/ 15 w 147"/>
                <a:gd name="T91" fmla="*/ 78 h 214"/>
                <a:gd name="T92" fmla="*/ 27 w 147"/>
                <a:gd name="T93" fmla="*/ 93 h 214"/>
                <a:gd name="T94" fmla="*/ 36 w 147"/>
                <a:gd name="T95" fmla="*/ 111 h 214"/>
                <a:gd name="T96" fmla="*/ 54 w 147"/>
                <a:gd name="T97" fmla="*/ 145 h 214"/>
                <a:gd name="T98" fmla="*/ 60 w 147"/>
                <a:gd name="T99" fmla="*/ 160 h 214"/>
                <a:gd name="T100" fmla="*/ 63 w 147"/>
                <a:gd name="T101" fmla="*/ 169 h 214"/>
                <a:gd name="T102" fmla="*/ 81 w 147"/>
                <a:gd name="T103" fmla="*/ 181 h 214"/>
                <a:gd name="T104" fmla="*/ 114 w 147"/>
                <a:gd name="T105" fmla="*/ 202 h 214"/>
                <a:gd name="T106" fmla="*/ 129 w 147"/>
                <a:gd name="T107" fmla="*/ 211 h 214"/>
                <a:gd name="T108" fmla="*/ 129 w 147"/>
                <a:gd name="T109" fmla="*/ 214 h 214"/>
                <a:gd name="T110" fmla="*/ 132 w 147"/>
                <a:gd name="T111" fmla="*/ 211 h 214"/>
                <a:gd name="T112" fmla="*/ 135 w 147"/>
                <a:gd name="T113" fmla="*/ 20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4">
                  <a:moveTo>
                    <a:pt x="135" y="202"/>
                  </a:moveTo>
                  <a:cubicBezTo>
                    <a:pt x="135" y="202"/>
                    <a:pt x="135" y="202"/>
                    <a:pt x="135" y="202"/>
                  </a:cubicBezTo>
                  <a:cubicBezTo>
                    <a:pt x="135" y="199"/>
                    <a:pt x="135" y="199"/>
                    <a:pt x="138" y="199"/>
                  </a:cubicBezTo>
                  <a:cubicBezTo>
                    <a:pt x="138" y="196"/>
                    <a:pt x="144" y="190"/>
                    <a:pt x="144" y="190"/>
                  </a:cubicBezTo>
                  <a:cubicBezTo>
                    <a:pt x="144" y="187"/>
                    <a:pt x="138" y="187"/>
                    <a:pt x="138" y="184"/>
                  </a:cubicBezTo>
                  <a:cubicBezTo>
                    <a:pt x="138" y="181"/>
                    <a:pt x="144" y="175"/>
                    <a:pt x="141" y="175"/>
                  </a:cubicBezTo>
                  <a:cubicBezTo>
                    <a:pt x="138" y="172"/>
                    <a:pt x="144" y="166"/>
                    <a:pt x="144" y="166"/>
                  </a:cubicBezTo>
                  <a:cubicBezTo>
                    <a:pt x="144" y="163"/>
                    <a:pt x="141" y="151"/>
                    <a:pt x="144" y="148"/>
                  </a:cubicBezTo>
                  <a:cubicBezTo>
                    <a:pt x="144" y="148"/>
                    <a:pt x="147" y="145"/>
                    <a:pt x="147" y="142"/>
                  </a:cubicBezTo>
                  <a:cubicBezTo>
                    <a:pt x="144" y="139"/>
                    <a:pt x="141" y="133"/>
                    <a:pt x="138" y="126"/>
                  </a:cubicBezTo>
                  <a:cubicBezTo>
                    <a:pt x="135" y="126"/>
                    <a:pt x="129" y="126"/>
                    <a:pt x="126" y="126"/>
                  </a:cubicBezTo>
                  <a:cubicBezTo>
                    <a:pt x="123" y="130"/>
                    <a:pt x="123" y="117"/>
                    <a:pt x="123" y="111"/>
                  </a:cubicBezTo>
                  <a:cubicBezTo>
                    <a:pt x="123" y="108"/>
                    <a:pt x="120" y="111"/>
                    <a:pt x="120" y="114"/>
                  </a:cubicBezTo>
                  <a:cubicBezTo>
                    <a:pt x="117" y="117"/>
                    <a:pt x="114" y="114"/>
                    <a:pt x="108" y="114"/>
                  </a:cubicBezTo>
                  <a:cubicBezTo>
                    <a:pt x="102" y="114"/>
                    <a:pt x="105" y="108"/>
                    <a:pt x="102" y="108"/>
                  </a:cubicBezTo>
                  <a:cubicBezTo>
                    <a:pt x="99" y="108"/>
                    <a:pt x="96" y="108"/>
                    <a:pt x="96" y="105"/>
                  </a:cubicBezTo>
                  <a:cubicBezTo>
                    <a:pt x="96" y="99"/>
                    <a:pt x="93" y="99"/>
                    <a:pt x="90" y="93"/>
                  </a:cubicBezTo>
                  <a:cubicBezTo>
                    <a:pt x="90" y="90"/>
                    <a:pt x="87" y="87"/>
                    <a:pt x="87" y="84"/>
                  </a:cubicBezTo>
                  <a:cubicBezTo>
                    <a:pt x="90" y="81"/>
                    <a:pt x="87" y="81"/>
                    <a:pt x="90" y="78"/>
                  </a:cubicBezTo>
                  <a:cubicBezTo>
                    <a:pt x="93" y="75"/>
                    <a:pt x="96" y="75"/>
                    <a:pt x="96" y="72"/>
                  </a:cubicBezTo>
                  <a:cubicBezTo>
                    <a:pt x="93" y="66"/>
                    <a:pt x="99" y="66"/>
                    <a:pt x="99" y="60"/>
                  </a:cubicBezTo>
                  <a:cubicBezTo>
                    <a:pt x="99" y="57"/>
                    <a:pt x="105" y="57"/>
                    <a:pt x="108" y="54"/>
                  </a:cubicBezTo>
                  <a:cubicBezTo>
                    <a:pt x="114" y="51"/>
                    <a:pt x="117" y="51"/>
                    <a:pt x="123" y="48"/>
                  </a:cubicBezTo>
                  <a:cubicBezTo>
                    <a:pt x="126" y="45"/>
                    <a:pt x="129" y="48"/>
                    <a:pt x="132" y="48"/>
                  </a:cubicBezTo>
                  <a:cubicBezTo>
                    <a:pt x="129" y="45"/>
                    <a:pt x="126" y="45"/>
                    <a:pt x="123" y="42"/>
                  </a:cubicBezTo>
                  <a:cubicBezTo>
                    <a:pt x="123" y="39"/>
                    <a:pt x="129" y="36"/>
                    <a:pt x="129" y="33"/>
                  </a:cubicBezTo>
                  <a:cubicBezTo>
                    <a:pt x="132" y="30"/>
                    <a:pt x="123" y="27"/>
                    <a:pt x="123" y="27"/>
                  </a:cubicBezTo>
                  <a:cubicBezTo>
                    <a:pt x="120" y="27"/>
                    <a:pt x="117" y="27"/>
                    <a:pt x="114" y="27"/>
                  </a:cubicBezTo>
                  <a:cubicBezTo>
                    <a:pt x="114" y="27"/>
                    <a:pt x="111" y="27"/>
                    <a:pt x="108" y="27"/>
                  </a:cubicBezTo>
                  <a:cubicBezTo>
                    <a:pt x="105" y="30"/>
                    <a:pt x="96" y="30"/>
                    <a:pt x="96" y="27"/>
                  </a:cubicBezTo>
                  <a:cubicBezTo>
                    <a:pt x="96" y="24"/>
                    <a:pt x="90" y="21"/>
                    <a:pt x="90" y="18"/>
                  </a:cubicBezTo>
                  <a:cubicBezTo>
                    <a:pt x="90" y="18"/>
                    <a:pt x="87" y="12"/>
                    <a:pt x="84" y="12"/>
                  </a:cubicBezTo>
                  <a:cubicBezTo>
                    <a:pt x="78" y="12"/>
                    <a:pt x="81" y="3"/>
                    <a:pt x="78" y="3"/>
                  </a:cubicBezTo>
                  <a:cubicBezTo>
                    <a:pt x="75" y="0"/>
                    <a:pt x="72" y="3"/>
                    <a:pt x="66" y="3"/>
                  </a:cubicBezTo>
                  <a:cubicBezTo>
                    <a:pt x="72" y="6"/>
                    <a:pt x="72" y="9"/>
                    <a:pt x="69" y="12"/>
                  </a:cubicBezTo>
                  <a:cubicBezTo>
                    <a:pt x="66" y="12"/>
                    <a:pt x="69" y="15"/>
                    <a:pt x="63" y="21"/>
                  </a:cubicBezTo>
                  <a:cubicBezTo>
                    <a:pt x="57" y="30"/>
                    <a:pt x="48" y="33"/>
                    <a:pt x="42" y="33"/>
                  </a:cubicBezTo>
                  <a:cubicBezTo>
                    <a:pt x="36" y="36"/>
                    <a:pt x="33" y="45"/>
                    <a:pt x="30" y="51"/>
                  </a:cubicBezTo>
                  <a:cubicBezTo>
                    <a:pt x="27" y="60"/>
                    <a:pt x="27" y="57"/>
                    <a:pt x="24" y="54"/>
                  </a:cubicBezTo>
                  <a:cubicBezTo>
                    <a:pt x="21" y="48"/>
                    <a:pt x="18" y="54"/>
                    <a:pt x="15" y="51"/>
                  </a:cubicBezTo>
                  <a:cubicBezTo>
                    <a:pt x="12" y="48"/>
                    <a:pt x="12" y="48"/>
                    <a:pt x="15" y="45"/>
                  </a:cubicBezTo>
                  <a:cubicBezTo>
                    <a:pt x="15" y="42"/>
                    <a:pt x="15" y="42"/>
                    <a:pt x="12" y="39"/>
                  </a:cubicBezTo>
                  <a:cubicBezTo>
                    <a:pt x="9" y="39"/>
                    <a:pt x="6" y="45"/>
                    <a:pt x="3" y="48"/>
                  </a:cubicBezTo>
                  <a:cubicBezTo>
                    <a:pt x="0" y="54"/>
                    <a:pt x="6" y="60"/>
                    <a:pt x="6" y="63"/>
                  </a:cubicBezTo>
                  <a:cubicBezTo>
                    <a:pt x="9" y="66"/>
                    <a:pt x="3" y="66"/>
                    <a:pt x="3" y="66"/>
                  </a:cubicBezTo>
                  <a:cubicBezTo>
                    <a:pt x="3" y="69"/>
                    <a:pt x="12" y="75"/>
                    <a:pt x="15" y="78"/>
                  </a:cubicBezTo>
                  <a:cubicBezTo>
                    <a:pt x="21" y="81"/>
                    <a:pt x="24" y="90"/>
                    <a:pt x="27" y="93"/>
                  </a:cubicBezTo>
                  <a:cubicBezTo>
                    <a:pt x="30" y="96"/>
                    <a:pt x="30" y="99"/>
                    <a:pt x="36" y="111"/>
                  </a:cubicBezTo>
                  <a:cubicBezTo>
                    <a:pt x="39" y="120"/>
                    <a:pt x="48" y="136"/>
                    <a:pt x="54" y="145"/>
                  </a:cubicBezTo>
                  <a:cubicBezTo>
                    <a:pt x="57" y="151"/>
                    <a:pt x="60" y="157"/>
                    <a:pt x="60" y="160"/>
                  </a:cubicBezTo>
                  <a:cubicBezTo>
                    <a:pt x="57" y="160"/>
                    <a:pt x="60" y="166"/>
                    <a:pt x="63" y="169"/>
                  </a:cubicBezTo>
                  <a:cubicBezTo>
                    <a:pt x="69" y="172"/>
                    <a:pt x="72" y="175"/>
                    <a:pt x="81" y="181"/>
                  </a:cubicBezTo>
                  <a:cubicBezTo>
                    <a:pt x="93" y="187"/>
                    <a:pt x="111" y="196"/>
                    <a:pt x="114" y="202"/>
                  </a:cubicBezTo>
                  <a:cubicBezTo>
                    <a:pt x="117" y="205"/>
                    <a:pt x="126" y="211"/>
                    <a:pt x="129" y="211"/>
                  </a:cubicBezTo>
                  <a:cubicBezTo>
                    <a:pt x="129" y="214"/>
                    <a:pt x="129" y="214"/>
                    <a:pt x="129" y="214"/>
                  </a:cubicBezTo>
                  <a:cubicBezTo>
                    <a:pt x="129" y="214"/>
                    <a:pt x="129" y="211"/>
                    <a:pt x="132" y="211"/>
                  </a:cubicBezTo>
                  <a:cubicBezTo>
                    <a:pt x="135" y="211"/>
                    <a:pt x="135" y="205"/>
                    <a:pt x="135" y="20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3" name="Freeform 868"/>
            <p:cNvSpPr>
              <a:spLocks/>
            </p:cNvSpPr>
            <p:nvPr userDrawn="1"/>
          </p:nvSpPr>
          <p:spPr bwMode="auto">
            <a:xfrm>
              <a:off x="2035" y="-1142"/>
              <a:ext cx="229" cy="334"/>
            </a:xfrm>
            <a:custGeom>
              <a:avLst/>
              <a:gdLst>
                <a:gd name="T0" fmla="*/ 135 w 147"/>
                <a:gd name="T1" fmla="*/ 202 h 214"/>
                <a:gd name="T2" fmla="*/ 135 w 147"/>
                <a:gd name="T3" fmla="*/ 202 h 214"/>
                <a:gd name="T4" fmla="*/ 138 w 147"/>
                <a:gd name="T5" fmla="*/ 199 h 214"/>
                <a:gd name="T6" fmla="*/ 144 w 147"/>
                <a:gd name="T7" fmla="*/ 190 h 214"/>
                <a:gd name="T8" fmla="*/ 138 w 147"/>
                <a:gd name="T9" fmla="*/ 184 h 214"/>
                <a:gd name="T10" fmla="*/ 141 w 147"/>
                <a:gd name="T11" fmla="*/ 175 h 214"/>
                <a:gd name="T12" fmla="*/ 144 w 147"/>
                <a:gd name="T13" fmla="*/ 166 h 214"/>
                <a:gd name="T14" fmla="*/ 144 w 147"/>
                <a:gd name="T15" fmla="*/ 148 h 214"/>
                <a:gd name="T16" fmla="*/ 147 w 147"/>
                <a:gd name="T17" fmla="*/ 142 h 214"/>
                <a:gd name="T18" fmla="*/ 138 w 147"/>
                <a:gd name="T19" fmla="*/ 126 h 214"/>
                <a:gd name="T20" fmla="*/ 126 w 147"/>
                <a:gd name="T21" fmla="*/ 126 h 214"/>
                <a:gd name="T22" fmla="*/ 123 w 147"/>
                <a:gd name="T23" fmla="*/ 111 h 214"/>
                <a:gd name="T24" fmla="*/ 120 w 147"/>
                <a:gd name="T25" fmla="*/ 114 h 214"/>
                <a:gd name="T26" fmla="*/ 108 w 147"/>
                <a:gd name="T27" fmla="*/ 114 h 214"/>
                <a:gd name="T28" fmla="*/ 102 w 147"/>
                <a:gd name="T29" fmla="*/ 108 h 214"/>
                <a:gd name="T30" fmla="*/ 96 w 147"/>
                <a:gd name="T31" fmla="*/ 105 h 214"/>
                <a:gd name="T32" fmla="*/ 90 w 147"/>
                <a:gd name="T33" fmla="*/ 93 h 214"/>
                <a:gd name="T34" fmla="*/ 87 w 147"/>
                <a:gd name="T35" fmla="*/ 84 h 214"/>
                <a:gd name="T36" fmla="*/ 90 w 147"/>
                <a:gd name="T37" fmla="*/ 78 h 214"/>
                <a:gd name="T38" fmla="*/ 96 w 147"/>
                <a:gd name="T39" fmla="*/ 72 h 214"/>
                <a:gd name="T40" fmla="*/ 99 w 147"/>
                <a:gd name="T41" fmla="*/ 60 h 214"/>
                <a:gd name="T42" fmla="*/ 108 w 147"/>
                <a:gd name="T43" fmla="*/ 54 h 214"/>
                <a:gd name="T44" fmla="*/ 123 w 147"/>
                <a:gd name="T45" fmla="*/ 48 h 214"/>
                <a:gd name="T46" fmla="*/ 132 w 147"/>
                <a:gd name="T47" fmla="*/ 48 h 214"/>
                <a:gd name="T48" fmla="*/ 123 w 147"/>
                <a:gd name="T49" fmla="*/ 42 h 214"/>
                <a:gd name="T50" fmla="*/ 129 w 147"/>
                <a:gd name="T51" fmla="*/ 33 h 214"/>
                <a:gd name="T52" fmla="*/ 123 w 147"/>
                <a:gd name="T53" fmla="*/ 27 h 214"/>
                <a:gd name="T54" fmla="*/ 114 w 147"/>
                <a:gd name="T55" fmla="*/ 27 h 214"/>
                <a:gd name="T56" fmla="*/ 108 w 147"/>
                <a:gd name="T57" fmla="*/ 27 h 214"/>
                <a:gd name="T58" fmla="*/ 96 w 147"/>
                <a:gd name="T59" fmla="*/ 27 h 214"/>
                <a:gd name="T60" fmla="*/ 90 w 147"/>
                <a:gd name="T61" fmla="*/ 18 h 214"/>
                <a:gd name="T62" fmla="*/ 84 w 147"/>
                <a:gd name="T63" fmla="*/ 12 h 214"/>
                <a:gd name="T64" fmla="*/ 78 w 147"/>
                <a:gd name="T65" fmla="*/ 3 h 214"/>
                <a:gd name="T66" fmla="*/ 66 w 147"/>
                <a:gd name="T67" fmla="*/ 3 h 214"/>
                <a:gd name="T68" fmla="*/ 69 w 147"/>
                <a:gd name="T69" fmla="*/ 12 h 214"/>
                <a:gd name="T70" fmla="*/ 63 w 147"/>
                <a:gd name="T71" fmla="*/ 21 h 214"/>
                <a:gd name="T72" fmla="*/ 42 w 147"/>
                <a:gd name="T73" fmla="*/ 33 h 214"/>
                <a:gd name="T74" fmla="*/ 30 w 147"/>
                <a:gd name="T75" fmla="*/ 51 h 214"/>
                <a:gd name="T76" fmla="*/ 24 w 147"/>
                <a:gd name="T77" fmla="*/ 54 h 214"/>
                <a:gd name="T78" fmla="*/ 15 w 147"/>
                <a:gd name="T79" fmla="*/ 51 h 214"/>
                <a:gd name="T80" fmla="*/ 15 w 147"/>
                <a:gd name="T81" fmla="*/ 45 h 214"/>
                <a:gd name="T82" fmla="*/ 12 w 147"/>
                <a:gd name="T83" fmla="*/ 39 h 214"/>
                <a:gd name="T84" fmla="*/ 3 w 147"/>
                <a:gd name="T85" fmla="*/ 48 h 214"/>
                <a:gd name="T86" fmla="*/ 6 w 147"/>
                <a:gd name="T87" fmla="*/ 63 h 214"/>
                <a:gd name="T88" fmla="*/ 3 w 147"/>
                <a:gd name="T89" fmla="*/ 66 h 214"/>
                <a:gd name="T90" fmla="*/ 15 w 147"/>
                <a:gd name="T91" fmla="*/ 78 h 214"/>
                <a:gd name="T92" fmla="*/ 27 w 147"/>
                <a:gd name="T93" fmla="*/ 93 h 214"/>
                <a:gd name="T94" fmla="*/ 36 w 147"/>
                <a:gd name="T95" fmla="*/ 111 h 214"/>
                <a:gd name="T96" fmla="*/ 54 w 147"/>
                <a:gd name="T97" fmla="*/ 145 h 214"/>
                <a:gd name="T98" fmla="*/ 60 w 147"/>
                <a:gd name="T99" fmla="*/ 160 h 214"/>
                <a:gd name="T100" fmla="*/ 63 w 147"/>
                <a:gd name="T101" fmla="*/ 169 h 214"/>
                <a:gd name="T102" fmla="*/ 81 w 147"/>
                <a:gd name="T103" fmla="*/ 181 h 214"/>
                <a:gd name="T104" fmla="*/ 114 w 147"/>
                <a:gd name="T105" fmla="*/ 202 h 214"/>
                <a:gd name="T106" fmla="*/ 129 w 147"/>
                <a:gd name="T107" fmla="*/ 211 h 214"/>
                <a:gd name="T108" fmla="*/ 129 w 147"/>
                <a:gd name="T109" fmla="*/ 214 h 214"/>
                <a:gd name="T110" fmla="*/ 132 w 147"/>
                <a:gd name="T111" fmla="*/ 211 h 214"/>
                <a:gd name="T112" fmla="*/ 135 w 147"/>
                <a:gd name="T113" fmla="*/ 20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4">
                  <a:moveTo>
                    <a:pt x="135" y="202"/>
                  </a:moveTo>
                  <a:cubicBezTo>
                    <a:pt x="135" y="202"/>
                    <a:pt x="135" y="202"/>
                    <a:pt x="135" y="202"/>
                  </a:cubicBezTo>
                  <a:cubicBezTo>
                    <a:pt x="135" y="199"/>
                    <a:pt x="135" y="199"/>
                    <a:pt x="138" y="199"/>
                  </a:cubicBezTo>
                  <a:cubicBezTo>
                    <a:pt x="138" y="196"/>
                    <a:pt x="144" y="190"/>
                    <a:pt x="144" y="190"/>
                  </a:cubicBezTo>
                  <a:cubicBezTo>
                    <a:pt x="144" y="187"/>
                    <a:pt x="138" y="187"/>
                    <a:pt x="138" y="184"/>
                  </a:cubicBezTo>
                  <a:cubicBezTo>
                    <a:pt x="138" y="181"/>
                    <a:pt x="144" y="175"/>
                    <a:pt x="141" y="175"/>
                  </a:cubicBezTo>
                  <a:cubicBezTo>
                    <a:pt x="138" y="172"/>
                    <a:pt x="144" y="166"/>
                    <a:pt x="144" y="166"/>
                  </a:cubicBezTo>
                  <a:cubicBezTo>
                    <a:pt x="144" y="163"/>
                    <a:pt x="141" y="151"/>
                    <a:pt x="144" y="148"/>
                  </a:cubicBezTo>
                  <a:cubicBezTo>
                    <a:pt x="144" y="148"/>
                    <a:pt x="147" y="145"/>
                    <a:pt x="147" y="142"/>
                  </a:cubicBezTo>
                  <a:cubicBezTo>
                    <a:pt x="144" y="139"/>
                    <a:pt x="141" y="133"/>
                    <a:pt x="138" y="126"/>
                  </a:cubicBezTo>
                  <a:cubicBezTo>
                    <a:pt x="135" y="126"/>
                    <a:pt x="129" y="126"/>
                    <a:pt x="126" y="126"/>
                  </a:cubicBezTo>
                  <a:cubicBezTo>
                    <a:pt x="123" y="130"/>
                    <a:pt x="123" y="117"/>
                    <a:pt x="123" y="111"/>
                  </a:cubicBezTo>
                  <a:cubicBezTo>
                    <a:pt x="123" y="108"/>
                    <a:pt x="120" y="111"/>
                    <a:pt x="120" y="114"/>
                  </a:cubicBezTo>
                  <a:cubicBezTo>
                    <a:pt x="117" y="117"/>
                    <a:pt x="114" y="114"/>
                    <a:pt x="108" y="114"/>
                  </a:cubicBezTo>
                  <a:cubicBezTo>
                    <a:pt x="102" y="114"/>
                    <a:pt x="105" y="108"/>
                    <a:pt x="102" y="108"/>
                  </a:cubicBezTo>
                  <a:cubicBezTo>
                    <a:pt x="99" y="108"/>
                    <a:pt x="96" y="108"/>
                    <a:pt x="96" y="105"/>
                  </a:cubicBezTo>
                  <a:cubicBezTo>
                    <a:pt x="96" y="99"/>
                    <a:pt x="93" y="99"/>
                    <a:pt x="90" y="93"/>
                  </a:cubicBezTo>
                  <a:cubicBezTo>
                    <a:pt x="90" y="90"/>
                    <a:pt x="87" y="87"/>
                    <a:pt x="87" y="84"/>
                  </a:cubicBezTo>
                  <a:cubicBezTo>
                    <a:pt x="90" y="81"/>
                    <a:pt x="87" y="81"/>
                    <a:pt x="90" y="78"/>
                  </a:cubicBezTo>
                  <a:cubicBezTo>
                    <a:pt x="93" y="75"/>
                    <a:pt x="96" y="75"/>
                    <a:pt x="96" y="72"/>
                  </a:cubicBezTo>
                  <a:cubicBezTo>
                    <a:pt x="93" y="66"/>
                    <a:pt x="99" y="66"/>
                    <a:pt x="99" y="60"/>
                  </a:cubicBezTo>
                  <a:cubicBezTo>
                    <a:pt x="99" y="57"/>
                    <a:pt x="105" y="57"/>
                    <a:pt x="108" y="54"/>
                  </a:cubicBezTo>
                  <a:cubicBezTo>
                    <a:pt x="114" y="51"/>
                    <a:pt x="117" y="51"/>
                    <a:pt x="123" y="48"/>
                  </a:cubicBezTo>
                  <a:cubicBezTo>
                    <a:pt x="126" y="45"/>
                    <a:pt x="129" y="48"/>
                    <a:pt x="132" y="48"/>
                  </a:cubicBezTo>
                  <a:cubicBezTo>
                    <a:pt x="129" y="45"/>
                    <a:pt x="126" y="45"/>
                    <a:pt x="123" y="42"/>
                  </a:cubicBezTo>
                  <a:cubicBezTo>
                    <a:pt x="123" y="39"/>
                    <a:pt x="129" y="36"/>
                    <a:pt x="129" y="33"/>
                  </a:cubicBezTo>
                  <a:cubicBezTo>
                    <a:pt x="132" y="30"/>
                    <a:pt x="123" y="27"/>
                    <a:pt x="123" y="27"/>
                  </a:cubicBezTo>
                  <a:cubicBezTo>
                    <a:pt x="120" y="27"/>
                    <a:pt x="117" y="27"/>
                    <a:pt x="114" y="27"/>
                  </a:cubicBezTo>
                  <a:cubicBezTo>
                    <a:pt x="114" y="27"/>
                    <a:pt x="111" y="27"/>
                    <a:pt x="108" y="27"/>
                  </a:cubicBezTo>
                  <a:cubicBezTo>
                    <a:pt x="105" y="30"/>
                    <a:pt x="96" y="30"/>
                    <a:pt x="96" y="27"/>
                  </a:cubicBezTo>
                  <a:cubicBezTo>
                    <a:pt x="96" y="24"/>
                    <a:pt x="90" y="21"/>
                    <a:pt x="90" y="18"/>
                  </a:cubicBezTo>
                  <a:cubicBezTo>
                    <a:pt x="90" y="18"/>
                    <a:pt x="87" y="12"/>
                    <a:pt x="84" y="12"/>
                  </a:cubicBezTo>
                  <a:cubicBezTo>
                    <a:pt x="78" y="12"/>
                    <a:pt x="81" y="3"/>
                    <a:pt x="78" y="3"/>
                  </a:cubicBezTo>
                  <a:cubicBezTo>
                    <a:pt x="75" y="0"/>
                    <a:pt x="72" y="3"/>
                    <a:pt x="66" y="3"/>
                  </a:cubicBezTo>
                  <a:cubicBezTo>
                    <a:pt x="72" y="6"/>
                    <a:pt x="72" y="9"/>
                    <a:pt x="69" y="12"/>
                  </a:cubicBezTo>
                  <a:cubicBezTo>
                    <a:pt x="66" y="12"/>
                    <a:pt x="69" y="15"/>
                    <a:pt x="63" y="21"/>
                  </a:cubicBezTo>
                  <a:cubicBezTo>
                    <a:pt x="57" y="30"/>
                    <a:pt x="48" y="33"/>
                    <a:pt x="42" y="33"/>
                  </a:cubicBezTo>
                  <a:cubicBezTo>
                    <a:pt x="36" y="36"/>
                    <a:pt x="33" y="45"/>
                    <a:pt x="30" y="51"/>
                  </a:cubicBezTo>
                  <a:cubicBezTo>
                    <a:pt x="27" y="60"/>
                    <a:pt x="27" y="57"/>
                    <a:pt x="24" y="54"/>
                  </a:cubicBezTo>
                  <a:cubicBezTo>
                    <a:pt x="21" y="48"/>
                    <a:pt x="18" y="54"/>
                    <a:pt x="15" y="51"/>
                  </a:cubicBezTo>
                  <a:cubicBezTo>
                    <a:pt x="12" y="48"/>
                    <a:pt x="12" y="48"/>
                    <a:pt x="15" y="45"/>
                  </a:cubicBezTo>
                  <a:cubicBezTo>
                    <a:pt x="15" y="42"/>
                    <a:pt x="15" y="42"/>
                    <a:pt x="12" y="39"/>
                  </a:cubicBezTo>
                  <a:cubicBezTo>
                    <a:pt x="9" y="39"/>
                    <a:pt x="6" y="45"/>
                    <a:pt x="3" y="48"/>
                  </a:cubicBezTo>
                  <a:cubicBezTo>
                    <a:pt x="0" y="54"/>
                    <a:pt x="6" y="60"/>
                    <a:pt x="6" y="63"/>
                  </a:cubicBezTo>
                  <a:cubicBezTo>
                    <a:pt x="9" y="66"/>
                    <a:pt x="3" y="66"/>
                    <a:pt x="3" y="66"/>
                  </a:cubicBezTo>
                  <a:cubicBezTo>
                    <a:pt x="3" y="69"/>
                    <a:pt x="12" y="75"/>
                    <a:pt x="15" y="78"/>
                  </a:cubicBezTo>
                  <a:cubicBezTo>
                    <a:pt x="21" y="81"/>
                    <a:pt x="24" y="90"/>
                    <a:pt x="27" y="93"/>
                  </a:cubicBezTo>
                  <a:cubicBezTo>
                    <a:pt x="30" y="96"/>
                    <a:pt x="30" y="99"/>
                    <a:pt x="36" y="111"/>
                  </a:cubicBezTo>
                  <a:cubicBezTo>
                    <a:pt x="39" y="120"/>
                    <a:pt x="48" y="136"/>
                    <a:pt x="54" y="145"/>
                  </a:cubicBezTo>
                  <a:cubicBezTo>
                    <a:pt x="57" y="151"/>
                    <a:pt x="60" y="157"/>
                    <a:pt x="60" y="160"/>
                  </a:cubicBezTo>
                  <a:cubicBezTo>
                    <a:pt x="57" y="160"/>
                    <a:pt x="60" y="166"/>
                    <a:pt x="63" y="169"/>
                  </a:cubicBezTo>
                  <a:cubicBezTo>
                    <a:pt x="69" y="172"/>
                    <a:pt x="72" y="175"/>
                    <a:pt x="81" y="181"/>
                  </a:cubicBezTo>
                  <a:cubicBezTo>
                    <a:pt x="93" y="187"/>
                    <a:pt x="111" y="196"/>
                    <a:pt x="114" y="202"/>
                  </a:cubicBezTo>
                  <a:cubicBezTo>
                    <a:pt x="117" y="205"/>
                    <a:pt x="126" y="211"/>
                    <a:pt x="129" y="211"/>
                  </a:cubicBezTo>
                  <a:cubicBezTo>
                    <a:pt x="129" y="214"/>
                    <a:pt x="129" y="214"/>
                    <a:pt x="129" y="214"/>
                  </a:cubicBezTo>
                  <a:cubicBezTo>
                    <a:pt x="129" y="214"/>
                    <a:pt x="129" y="211"/>
                    <a:pt x="132" y="211"/>
                  </a:cubicBezTo>
                  <a:cubicBezTo>
                    <a:pt x="135" y="211"/>
                    <a:pt x="135" y="205"/>
                    <a:pt x="135" y="20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4" name="Freeform 869"/>
            <p:cNvSpPr>
              <a:spLocks/>
            </p:cNvSpPr>
            <p:nvPr userDrawn="1"/>
          </p:nvSpPr>
          <p:spPr bwMode="auto">
            <a:xfrm>
              <a:off x="2180" y="-1357"/>
              <a:ext cx="243" cy="206"/>
            </a:xfrm>
            <a:custGeom>
              <a:avLst/>
              <a:gdLst>
                <a:gd name="T0" fmla="*/ 15 w 156"/>
                <a:gd name="T1" fmla="*/ 9 h 132"/>
                <a:gd name="T2" fmla="*/ 6 w 156"/>
                <a:gd name="T3" fmla="*/ 21 h 132"/>
                <a:gd name="T4" fmla="*/ 3 w 156"/>
                <a:gd name="T5" fmla="*/ 30 h 132"/>
                <a:gd name="T6" fmla="*/ 0 w 156"/>
                <a:gd name="T7" fmla="*/ 33 h 132"/>
                <a:gd name="T8" fmla="*/ 6 w 156"/>
                <a:gd name="T9" fmla="*/ 36 h 132"/>
                <a:gd name="T10" fmla="*/ 12 w 156"/>
                <a:gd name="T11" fmla="*/ 45 h 132"/>
                <a:gd name="T12" fmla="*/ 18 w 156"/>
                <a:gd name="T13" fmla="*/ 60 h 132"/>
                <a:gd name="T14" fmla="*/ 39 w 156"/>
                <a:gd name="T15" fmla="*/ 60 h 132"/>
                <a:gd name="T16" fmla="*/ 54 w 156"/>
                <a:gd name="T17" fmla="*/ 69 h 132"/>
                <a:gd name="T18" fmla="*/ 66 w 156"/>
                <a:gd name="T19" fmla="*/ 72 h 132"/>
                <a:gd name="T20" fmla="*/ 63 w 156"/>
                <a:gd name="T21" fmla="*/ 93 h 132"/>
                <a:gd name="T22" fmla="*/ 69 w 156"/>
                <a:gd name="T23" fmla="*/ 99 h 132"/>
                <a:gd name="T24" fmla="*/ 69 w 156"/>
                <a:gd name="T25" fmla="*/ 108 h 132"/>
                <a:gd name="T26" fmla="*/ 69 w 156"/>
                <a:gd name="T27" fmla="*/ 114 h 132"/>
                <a:gd name="T28" fmla="*/ 69 w 156"/>
                <a:gd name="T29" fmla="*/ 114 h 132"/>
                <a:gd name="T30" fmla="*/ 78 w 156"/>
                <a:gd name="T31" fmla="*/ 126 h 132"/>
                <a:gd name="T32" fmla="*/ 84 w 156"/>
                <a:gd name="T33" fmla="*/ 129 h 132"/>
                <a:gd name="T34" fmla="*/ 90 w 156"/>
                <a:gd name="T35" fmla="*/ 129 h 132"/>
                <a:gd name="T36" fmla="*/ 99 w 156"/>
                <a:gd name="T37" fmla="*/ 123 h 132"/>
                <a:gd name="T38" fmla="*/ 105 w 156"/>
                <a:gd name="T39" fmla="*/ 120 h 132"/>
                <a:gd name="T40" fmla="*/ 111 w 156"/>
                <a:gd name="T41" fmla="*/ 114 h 132"/>
                <a:gd name="T42" fmla="*/ 114 w 156"/>
                <a:gd name="T43" fmla="*/ 111 h 132"/>
                <a:gd name="T44" fmla="*/ 108 w 156"/>
                <a:gd name="T45" fmla="*/ 108 h 132"/>
                <a:gd name="T46" fmla="*/ 105 w 156"/>
                <a:gd name="T47" fmla="*/ 102 h 132"/>
                <a:gd name="T48" fmla="*/ 99 w 156"/>
                <a:gd name="T49" fmla="*/ 93 h 132"/>
                <a:gd name="T50" fmla="*/ 108 w 156"/>
                <a:gd name="T51" fmla="*/ 93 h 132"/>
                <a:gd name="T52" fmla="*/ 117 w 156"/>
                <a:gd name="T53" fmla="*/ 96 h 132"/>
                <a:gd name="T54" fmla="*/ 123 w 156"/>
                <a:gd name="T55" fmla="*/ 96 h 132"/>
                <a:gd name="T56" fmla="*/ 129 w 156"/>
                <a:gd name="T57" fmla="*/ 90 h 132"/>
                <a:gd name="T58" fmla="*/ 144 w 156"/>
                <a:gd name="T59" fmla="*/ 87 h 132"/>
                <a:gd name="T60" fmla="*/ 147 w 156"/>
                <a:gd name="T61" fmla="*/ 81 h 132"/>
                <a:gd name="T62" fmla="*/ 138 w 156"/>
                <a:gd name="T63" fmla="*/ 72 h 132"/>
                <a:gd name="T64" fmla="*/ 141 w 156"/>
                <a:gd name="T65" fmla="*/ 66 h 132"/>
                <a:gd name="T66" fmla="*/ 144 w 156"/>
                <a:gd name="T67" fmla="*/ 60 h 132"/>
                <a:gd name="T68" fmla="*/ 147 w 156"/>
                <a:gd name="T69" fmla="*/ 54 h 132"/>
                <a:gd name="T70" fmla="*/ 150 w 156"/>
                <a:gd name="T71" fmla="*/ 48 h 132"/>
                <a:gd name="T72" fmla="*/ 156 w 156"/>
                <a:gd name="T73" fmla="*/ 42 h 132"/>
                <a:gd name="T74" fmla="*/ 138 w 156"/>
                <a:gd name="T75" fmla="*/ 39 h 132"/>
                <a:gd name="T76" fmla="*/ 141 w 156"/>
                <a:gd name="T77" fmla="*/ 30 h 132"/>
                <a:gd name="T78" fmla="*/ 126 w 156"/>
                <a:gd name="T79" fmla="*/ 24 h 132"/>
                <a:gd name="T80" fmla="*/ 126 w 156"/>
                <a:gd name="T81" fmla="*/ 18 h 132"/>
                <a:gd name="T82" fmla="*/ 117 w 156"/>
                <a:gd name="T83" fmla="*/ 15 h 132"/>
                <a:gd name="T84" fmla="*/ 96 w 156"/>
                <a:gd name="T85" fmla="*/ 24 h 132"/>
                <a:gd name="T86" fmla="*/ 75 w 156"/>
                <a:gd name="T87" fmla="*/ 18 h 132"/>
                <a:gd name="T88" fmla="*/ 60 w 156"/>
                <a:gd name="T89" fmla="*/ 15 h 132"/>
                <a:gd name="T90" fmla="*/ 51 w 156"/>
                <a:gd name="T91" fmla="*/ 6 h 132"/>
                <a:gd name="T92" fmla="*/ 42 w 156"/>
                <a:gd name="T93" fmla="*/ 0 h 132"/>
                <a:gd name="T94" fmla="*/ 39 w 156"/>
                <a:gd name="T95" fmla="*/ 6 h 132"/>
                <a:gd name="T96" fmla="*/ 24 w 156"/>
                <a:gd name="T97" fmla="*/ 15 h 132"/>
                <a:gd name="T98" fmla="*/ 27 w 156"/>
                <a:gd name="T99" fmla="*/ 33 h 132"/>
                <a:gd name="T100" fmla="*/ 15 w 156"/>
                <a:gd name="T101" fmla="*/ 27 h 132"/>
                <a:gd name="T102" fmla="*/ 18 w 156"/>
                <a:gd name="T103" fmla="*/ 15 h 132"/>
                <a:gd name="T104" fmla="*/ 18 w 156"/>
                <a:gd name="T105" fmla="*/ 6 h 132"/>
                <a:gd name="T106" fmla="*/ 15 w 156"/>
                <a:gd name="T107" fmla="*/ 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32">
                  <a:moveTo>
                    <a:pt x="15" y="9"/>
                  </a:moveTo>
                  <a:cubicBezTo>
                    <a:pt x="12" y="12"/>
                    <a:pt x="6" y="15"/>
                    <a:pt x="6" y="21"/>
                  </a:cubicBezTo>
                  <a:cubicBezTo>
                    <a:pt x="3" y="24"/>
                    <a:pt x="6" y="27"/>
                    <a:pt x="3" y="30"/>
                  </a:cubicBezTo>
                  <a:cubicBezTo>
                    <a:pt x="0" y="30"/>
                    <a:pt x="0" y="33"/>
                    <a:pt x="0" y="33"/>
                  </a:cubicBezTo>
                  <a:cubicBezTo>
                    <a:pt x="3" y="33"/>
                    <a:pt x="6" y="33"/>
                    <a:pt x="6" y="36"/>
                  </a:cubicBezTo>
                  <a:cubicBezTo>
                    <a:pt x="6" y="39"/>
                    <a:pt x="12" y="39"/>
                    <a:pt x="12" y="45"/>
                  </a:cubicBezTo>
                  <a:cubicBezTo>
                    <a:pt x="12" y="48"/>
                    <a:pt x="9" y="60"/>
                    <a:pt x="18" y="60"/>
                  </a:cubicBezTo>
                  <a:cubicBezTo>
                    <a:pt x="27" y="60"/>
                    <a:pt x="33" y="54"/>
                    <a:pt x="39" y="60"/>
                  </a:cubicBezTo>
                  <a:cubicBezTo>
                    <a:pt x="42" y="66"/>
                    <a:pt x="48" y="69"/>
                    <a:pt x="54" y="69"/>
                  </a:cubicBezTo>
                  <a:cubicBezTo>
                    <a:pt x="60" y="66"/>
                    <a:pt x="69" y="66"/>
                    <a:pt x="66" y="72"/>
                  </a:cubicBezTo>
                  <a:cubicBezTo>
                    <a:pt x="63" y="78"/>
                    <a:pt x="60" y="87"/>
                    <a:pt x="63" y="93"/>
                  </a:cubicBezTo>
                  <a:cubicBezTo>
                    <a:pt x="66" y="96"/>
                    <a:pt x="72" y="99"/>
                    <a:pt x="69" y="99"/>
                  </a:cubicBezTo>
                  <a:cubicBezTo>
                    <a:pt x="66" y="102"/>
                    <a:pt x="66" y="105"/>
                    <a:pt x="69" y="108"/>
                  </a:cubicBezTo>
                  <a:cubicBezTo>
                    <a:pt x="72" y="111"/>
                    <a:pt x="69" y="114"/>
                    <a:pt x="69" y="114"/>
                  </a:cubicBezTo>
                  <a:cubicBezTo>
                    <a:pt x="69" y="114"/>
                    <a:pt x="69" y="114"/>
                    <a:pt x="69" y="114"/>
                  </a:cubicBezTo>
                  <a:cubicBezTo>
                    <a:pt x="72" y="120"/>
                    <a:pt x="75" y="126"/>
                    <a:pt x="78" y="126"/>
                  </a:cubicBezTo>
                  <a:cubicBezTo>
                    <a:pt x="81" y="129"/>
                    <a:pt x="81" y="132"/>
                    <a:pt x="84" y="129"/>
                  </a:cubicBezTo>
                  <a:cubicBezTo>
                    <a:pt x="87" y="129"/>
                    <a:pt x="87" y="126"/>
                    <a:pt x="90" y="129"/>
                  </a:cubicBezTo>
                  <a:cubicBezTo>
                    <a:pt x="93" y="129"/>
                    <a:pt x="96" y="126"/>
                    <a:pt x="99" y="123"/>
                  </a:cubicBezTo>
                  <a:cubicBezTo>
                    <a:pt x="102" y="123"/>
                    <a:pt x="105" y="123"/>
                    <a:pt x="105" y="120"/>
                  </a:cubicBezTo>
                  <a:cubicBezTo>
                    <a:pt x="105" y="117"/>
                    <a:pt x="108" y="114"/>
                    <a:pt x="111" y="114"/>
                  </a:cubicBezTo>
                  <a:cubicBezTo>
                    <a:pt x="117" y="114"/>
                    <a:pt x="117" y="111"/>
                    <a:pt x="114" y="111"/>
                  </a:cubicBezTo>
                  <a:cubicBezTo>
                    <a:pt x="111" y="111"/>
                    <a:pt x="108" y="114"/>
                    <a:pt x="108" y="108"/>
                  </a:cubicBezTo>
                  <a:cubicBezTo>
                    <a:pt x="108" y="105"/>
                    <a:pt x="105" y="105"/>
                    <a:pt x="105" y="102"/>
                  </a:cubicBezTo>
                  <a:cubicBezTo>
                    <a:pt x="105" y="99"/>
                    <a:pt x="105" y="96"/>
                    <a:pt x="99" y="93"/>
                  </a:cubicBezTo>
                  <a:cubicBezTo>
                    <a:pt x="96" y="90"/>
                    <a:pt x="105" y="90"/>
                    <a:pt x="108" y="93"/>
                  </a:cubicBezTo>
                  <a:cubicBezTo>
                    <a:pt x="108" y="93"/>
                    <a:pt x="117" y="93"/>
                    <a:pt x="117" y="96"/>
                  </a:cubicBezTo>
                  <a:cubicBezTo>
                    <a:pt x="117" y="99"/>
                    <a:pt x="123" y="99"/>
                    <a:pt x="123" y="96"/>
                  </a:cubicBezTo>
                  <a:cubicBezTo>
                    <a:pt x="123" y="93"/>
                    <a:pt x="126" y="90"/>
                    <a:pt x="129" y="90"/>
                  </a:cubicBezTo>
                  <a:cubicBezTo>
                    <a:pt x="132" y="93"/>
                    <a:pt x="141" y="87"/>
                    <a:pt x="144" y="87"/>
                  </a:cubicBezTo>
                  <a:cubicBezTo>
                    <a:pt x="144" y="84"/>
                    <a:pt x="144" y="84"/>
                    <a:pt x="147" y="81"/>
                  </a:cubicBezTo>
                  <a:cubicBezTo>
                    <a:pt x="144" y="78"/>
                    <a:pt x="141" y="75"/>
                    <a:pt x="138" y="72"/>
                  </a:cubicBezTo>
                  <a:cubicBezTo>
                    <a:pt x="138" y="69"/>
                    <a:pt x="141" y="69"/>
                    <a:pt x="141" y="66"/>
                  </a:cubicBezTo>
                  <a:cubicBezTo>
                    <a:pt x="141" y="63"/>
                    <a:pt x="141" y="63"/>
                    <a:pt x="144" y="60"/>
                  </a:cubicBezTo>
                  <a:cubicBezTo>
                    <a:pt x="150" y="60"/>
                    <a:pt x="150" y="57"/>
                    <a:pt x="147" y="54"/>
                  </a:cubicBezTo>
                  <a:cubicBezTo>
                    <a:pt x="144" y="54"/>
                    <a:pt x="147" y="48"/>
                    <a:pt x="150" y="48"/>
                  </a:cubicBezTo>
                  <a:cubicBezTo>
                    <a:pt x="153" y="48"/>
                    <a:pt x="153" y="45"/>
                    <a:pt x="156" y="42"/>
                  </a:cubicBezTo>
                  <a:cubicBezTo>
                    <a:pt x="150" y="39"/>
                    <a:pt x="141" y="39"/>
                    <a:pt x="138" y="39"/>
                  </a:cubicBezTo>
                  <a:cubicBezTo>
                    <a:pt x="135" y="42"/>
                    <a:pt x="141" y="36"/>
                    <a:pt x="141" y="30"/>
                  </a:cubicBezTo>
                  <a:cubicBezTo>
                    <a:pt x="141" y="27"/>
                    <a:pt x="129" y="27"/>
                    <a:pt x="126" y="24"/>
                  </a:cubicBezTo>
                  <a:cubicBezTo>
                    <a:pt x="120" y="24"/>
                    <a:pt x="123" y="18"/>
                    <a:pt x="126" y="18"/>
                  </a:cubicBezTo>
                  <a:cubicBezTo>
                    <a:pt x="132" y="18"/>
                    <a:pt x="123" y="15"/>
                    <a:pt x="117" y="15"/>
                  </a:cubicBezTo>
                  <a:cubicBezTo>
                    <a:pt x="111" y="18"/>
                    <a:pt x="102" y="21"/>
                    <a:pt x="96" y="24"/>
                  </a:cubicBezTo>
                  <a:cubicBezTo>
                    <a:pt x="90" y="27"/>
                    <a:pt x="81" y="15"/>
                    <a:pt x="75" y="18"/>
                  </a:cubicBezTo>
                  <a:cubicBezTo>
                    <a:pt x="69" y="21"/>
                    <a:pt x="60" y="21"/>
                    <a:pt x="60" y="15"/>
                  </a:cubicBezTo>
                  <a:cubicBezTo>
                    <a:pt x="60" y="9"/>
                    <a:pt x="57" y="6"/>
                    <a:pt x="51" y="6"/>
                  </a:cubicBezTo>
                  <a:cubicBezTo>
                    <a:pt x="45" y="6"/>
                    <a:pt x="45" y="0"/>
                    <a:pt x="42" y="0"/>
                  </a:cubicBezTo>
                  <a:cubicBezTo>
                    <a:pt x="36" y="0"/>
                    <a:pt x="42" y="6"/>
                    <a:pt x="39" y="6"/>
                  </a:cubicBezTo>
                  <a:cubicBezTo>
                    <a:pt x="36" y="9"/>
                    <a:pt x="24" y="12"/>
                    <a:pt x="24" y="15"/>
                  </a:cubicBezTo>
                  <a:cubicBezTo>
                    <a:pt x="21" y="21"/>
                    <a:pt x="30" y="27"/>
                    <a:pt x="27" y="33"/>
                  </a:cubicBezTo>
                  <a:cubicBezTo>
                    <a:pt x="24" y="36"/>
                    <a:pt x="18" y="33"/>
                    <a:pt x="15" y="27"/>
                  </a:cubicBezTo>
                  <a:cubicBezTo>
                    <a:pt x="12" y="24"/>
                    <a:pt x="21" y="15"/>
                    <a:pt x="18" y="15"/>
                  </a:cubicBezTo>
                  <a:cubicBezTo>
                    <a:pt x="18" y="12"/>
                    <a:pt x="18" y="9"/>
                    <a:pt x="18" y="6"/>
                  </a:cubicBezTo>
                  <a:cubicBezTo>
                    <a:pt x="18" y="6"/>
                    <a:pt x="15" y="6"/>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5" name="Freeform 870"/>
            <p:cNvSpPr>
              <a:spLocks/>
            </p:cNvSpPr>
            <p:nvPr userDrawn="1"/>
          </p:nvSpPr>
          <p:spPr bwMode="auto">
            <a:xfrm>
              <a:off x="2180" y="-1357"/>
              <a:ext cx="243" cy="206"/>
            </a:xfrm>
            <a:custGeom>
              <a:avLst/>
              <a:gdLst>
                <a:gd name="T0" fmla="*/ 15 w 156"/>
                <a:gd name="T1" fmla="*/ 9 h 132"/>
                <a:gd name="T2" fmla="*/ 6 w 156"/>
                <a:gd name="T3" fmla="*/ 21 h 132"/>
                <a:gd name="T4" fmla="*/ 3 w 156"/>
                <a:gd name="T5" fmla="*/ 30 h 132"/>
                <a:gd name="T6" fmla="*/ 0 w 156"/>
                <a:gd name="T7" fmla="*/ 33 h 132"/>
                <a:gd name="T8" fmla="*/ 6 w 156"/>
                <a:gd name="T9" fmla="*/ 36 h 132"/>
                <a:gd name="T10" fmla="*/ 12 w 156"/>
                <a:gd name="T11" fmla="*/ 45 h 132"/>
                <a:gd name="T12" fmla="*/ 18 w 156"/>
                <a:gd name="T13" fmla="*/ 60 h 132"/>
                <a:gd name="T14" fmla="*/ 39 w 156"/>
                <a:gd name="T15" fmla="*/ 60 h 132"/>
                <a:gd name="T16" fmla="*/ 54 w 156"/>
                <a:gd name="T17" fmla="*/ 69 h 132"/>
                <a:gd name="T18" fmla="*/ 66 w 156"/>
                <a:gd name="T19" fmla="*/ 72 h 132"/>
                <a:gd name="T20" fmla="*/ 63 w 156"/>
                <a:gd name="T21" fmla="*/ 93 h 132"/>
                <a:gd name="T22" fmla="*/ 69 w 156"/>
                <a:gd name="T23" fmla="*/ 99 h 132"/>
                <a:gd name="T24" fmla="*/ 69 w 156"/>
                <a:gd name="T25" fmla="*/ 108 h 132"/>
                <a:gd name="T26" fmla="*/ 69 w 156"/>
                <a:gd name="T27" fmla="*/ 114 h 132"/>
                <a:gd name="T28" fmla="*/ 69 w 156"/>
                <a:gd name="T29" fmla="*/ 114 h 132"/>
                <a:gd name="T30" fmla="*/ 78 w 156"/>
                <a:gd name="T31" fmla="*/ 126 h 132"/>
                <a:gd name="T32" fmla="*/ 84 w 156"/>
                <a:gd name="T33" fmla="*/ 129 h 132"/>
                <a:gd name="T34" fmla="*/ 90 w 156"/>
                <a:gd name="T35" fmla="*/ 129 h 132"/>
                <a:gd name="T36" fmla="*/ 99 w 156"/>
                <a:gd name="T37" fmla="*/ 123 h 132"/>
                <a:gd name="T38" fmla="*/ 105 w 156"/>
                <a:gd name="T39" fmla="*/ 120 h 132"/>
                <a:gd name="T40" fmla="*/ 111 w 156"/>
                <a:gd name="T41" fmla="*/ 114 h 132"/>
                <a:gd name="T42" fmla="*/ 114 w 156"/>
                <a:gd name="T43" fmla="*/ 111 h 132"/>
                <a:gd name="T44" fmla="*/ 108 w 156"/>
                <a:gd name="T45" fmla="*/ 108 h 132"/>
                <a:gd name="T46" fmla="*/ 105 w 156"/>
                <a:gd name="T47" fmla="*/ 102 h 132"/>
                <a:gd name="T48" fmla="*/ 99 w 156"/>
                <a:gd name="T49" fmla="*/ 93 h 132"/>
                <a:gd name="T50" fmla="*/ 108 w 156"/>
                <a:gd name="T51" fmla="*/ 93 h 132"/>
                <a:gd name="T52" fmla="*/ 117 w 156"/>
                <a:gd name="T53" fmla="*/ 96 h 132"/>
                <a:gd name="T54" fmla="*/ 123 w 156"/>
                <a:gd name="T55" fmla="*/ 96 h 132"/>
                <a:gd name="T56" fmla="*/ 129 w 156"/>
                <a:gd name="T57" fmla="*/ 90 h 132"/>
                <a:gd name="T58" fmla="*/ 144 w 156"/>
                <a:gd name="T59" fmla="*/ 87 h 132"/>
                <a:gd name="T60" fmla="*/ 147 w 156"/>
                <a:gd name="T61" fmla="*/ 81 h 132"/>
                <a:gd name="T62" fmla="*/ 138 w 156"/>
                <a:gd name="T63" fmla="*/ 72 h 132"/>
                <a:gd name="T64" fmla="*/ 141 w 156"/>
                <a:gd name="T65" fmla="*/ 66 h 132"/>
                <a:gd name="T66" fmla="*/ 144 w 156"/>
                <a:gd name="T67" fmla="*/ 60 h 132"/>
                <a:gd name="T68" fmla="*/ 147 w 156"/>
                <a:gd name="T69" fmla="*/ 54 h 132"/>
                <a:gd name="T70" fmla="*/ 150 w 156"/>
                <a:gd name="T71" fmla="*/ 48 h 132"/>
                <a:gd name="T72" fmla="*/ 156 w 156"/>
                <a:gd name="T73" fmla="*/ 42 h 132"/>
                <a:gd name="T74" fmla="*/ 138 w 156"/>
                <a:gd name="T75" fmla="*/ 39 h 132"/>
                <a:gd name="T76" fmla="*/ 141 w 156"/>
                <a:gd name="T77" fmla="*/ 30 h 132"/>
                <a:gd name="T78" fmla="*/ 126 w 156"/>
                <a:gd name="T79" fmla="*/ 24 h 132"/>
                <a:gd name="T80" fmla="*/ 126 w 156"/>
                <a:gd name="T81" fmla="*/ 18 h 132"/>
                <a:gd name="T82" fmla="*/ 117 w 156"/>
                <a:gd name="T83" fmla="*/ 15 h 132"/>
                <a:gd name="T84" fmla="*/ 96 w 156"/>
                <a:gd name="T85" fmla="*/ 24 h 132"/>
                <a:gd name="T86" fmla="*/ 75 w 156"/>
                <a:gd name="T87" fmla="*/ 18 h 132"/>
                <a:gd name="T88" fmla="*/ 60 w 156"/>
                <a:gd name="T89" fmla="*/ 15 h 132"/>
                <a:gd name="T90" fmla="*/ 51 w 156"/>
                <a:gd name="T91" fmla="*/ 6 h 132"/>
                <a:gd name="T92" fmla="*/ 42 w 156"/>
                <a:gd name="T93" fmla="*/ 0 h 132"/>
                <a:gd name="T94" fmla="*/ 39 w 156"/>
                <a:gd name="T95" fmla="*/ 6 h 132"/>
                <a:gd name="T96" fmla="*/ 24 w 156"/>
                <a:gd name="T97" fmla="*/ 15 h 132"/>
                <a:gd name="T98" fmla="*/ 27 w 156"/>
                <a:gd name="T99" fmla="*/ 33 h 132"/>
                <a:gd name="T100" fmla="*/ 15 w 156"/>
                <a:gd name="T101" fmla="*/ 27 h 132"/>
                <a:gd name="T102" fmla="*/ 18 w 156"/>
                <a:gd name="T103" fmla="*/ 15 h 132"/>
                <a:gd name="T104" fmla="*/ 18 w 156"/>
                <a:gd name="T105" fmla="*/ 6 h 132"/>
                <a:gd name="T106" fmla="*/ 15 w 156"/>
                <a:gd name="T107" fmla="*/ 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32">
                  <a:moveTo>
                    <a:pt x="15" y="9"/>
                  </a:moveTo>
                  <a:cubicBezTo>
                    <a:pt x="12" y="12"/>
                    <a:pt x="6" y="15"/>
                    <a:pt x="6" y="21"/>
                  </a:cubicBezTo>
                  <a:cubicBezTo>
                    <a:pt x="3" y="24"/>
                    <a:pt x="6" y="27"/>
                    <a:pt x="3" y="30"/>
                  </a:cubicBezTo>
                  <a:cubicBezTo>
                    <a:pt x="0" y="30"/>
                    <a:pt x="0" y="33"/>
                    <a:pt x="0" y="33"/>
                  </a:cubicBezTo>
                  <a:cubicBezTo>
                    <a:pt x="3" y="33"/>
                    <a:pt x="6" y="33"/>
                    <a:pt x="6" y="36"/>
                  </a:cubicBezTo>
                  <a:cubicBezTo>
                    <a:pt x="6" y="39"/>
                    <a:pt x="12" y="39"/>
                    <a:pt x="12" y="45"/>
                  </a:cubicBezTo>
                  <a:cubicBezTo>
                    <a:pt x="12" y="48"/>
                    <a:pt x="9" y="60"/>
                    <a:pt x="18" y="60"/>
                  </a:cubicBezTo>
                  <a:cubicBezTo>
                    <a:pt x="27" y="60"/>
                    <a:pt x="33" y="54"/>
                    <a:pt x="39" y="60"/>
                  </a:cubicBezTo>
                  <a:cubicBezTo>
                    <a:pt x="42" y="66"/>
                    <a:pt x="48" y="69"/>
                    <a:pt x="54" y="69"/>
                  </a:cubicBezTo>
                  <a:cubicBezTo>
                    <a:pt x="60" y="66"/>
                    <a:pt x="69" y="66"/>
                    <a:pt x="66" y="72"/>
                  </a:cubicBezTo>
                  <a:cubicBezTo>
                    <a:pt x="63" y="78"/>
                    <a:pt x="60" y="87"/>
                    <a:pt x="63" y="93"/>
                  </a:cubicBezTo>
                  <a:cubicBezTo>
                    <a:pt x="66" y="96"/>
                    <a:pt x="72" y="99"/>
                    <a:pt x="69" y="99"/>
                  </a:cubicBezTo>
                  <a:cubicBezTo>
                    <a:pt x="66" y="102"/>
                    <a:pt x="66" y="105"/>
                    <a:pt x="69" y="108"/>
                  </a:cubicBezTo>
                  <a:cubicBezTo>
                    <a:pt x="72" y="111"/>
                    <a:pt x="69" y="114"/>
                    <a:pt x="69" y="114"/>
                  </a:cubicBezTo>
                  <a:cubicBezTo>
                    <a:pt x="69" y="114"/>
                    <a:pt x="69" y="114"/>
                    <a:pt x="69" y="114"/>
                  </a:cubicBezTo>
                  <a:cubicBezTo>
                    <a:pt x="72" y="120"/>
                    <a:pt x="75" y="126"/>
                    <a:pt x="78" y="126"/>
                  </a:cubicBezTo>
                  <a:cubicBezTo>
                    <a:pt x="81" y="129"/>
                    <a:pt x="81" y="132"/>
                    <a:pt x="84" y="129"/>
                  </a:cubicBezTo>
                  <a:cubicBezTo>
                    <a:pt x="87" y="129"/>
                    <a:pt x="87" y="126"/>
                    <a:pt x="90" y="129"/>
                  </a:cubicBezTo>
                  <a:cubicBezTo>
                    <a:pt x="93" y="129"/>
                    <a:pt x="96" y="126"/>
                    <a:pt x="99" y="123"/>
                  </a:cubicBezTo>
                  <a:cubicBezTo>
                    <a:pt x="102" y="123"/>
                    <a:pt x="105" y="123"/>
                    <a:pt x="105" y="120"/>
                  </a:cubicBezTo>
                  <a:cubicBezTo>
                    <a:pt x="105" y="117"/>
                    <a:pt x="108" y="114"/>
                    <a:pt x="111" y="114"/>
                  </a:cubicBezTo>
                  <a:cubicBezTo>
                    <a:pt x="117" y="114"/>
                    <a:pt x="117" y="111"/>
                    <a:pt x="114" y="111"/>
                  </a:cubicBezTo>
                  <a:cubicBezTo>
                    <a:pt x="111" y="111"/>
                    <a:pt x="108" y="114"/>
                    <a:pt x="108" y="108"/>
                  </a:cubicBezTo>
                  <a:cubicBezTo>
                    <a:pt x="108" y="105"/>
                    <a:pt x="105" y="105"/>
                    <a:pt x="105" y="102"/>
                  </a:cubicBezTo>
                  <a:cubicBezTo>
                    <a:pt x="105" y="99"/>
                    <a:pt x="105" y="96"/>
                    <a:pt x="99" y="93"/>
                  </a:cubicBezTo>
                  <a:cubicBezTo>
                    <a:pt x="96" y="90"/>
                    <a:pt x="105" y="90"/>
                    <a:pt x="108" y="93"/>
                  </a:cubicBezTo>
                  <a:cubicBezTo>
                    <a:pt x="108" y="93"/>
                    <a:pt x="117" y="93"/>
                    <a:pt x="117" y="96"/>
                  </a:cubicBezTo>
                  <a:cubicBezTo>
                    <a:pt x="117" y="99"/>
                    <a:pt x="123" y="99"/>
                    <a:pt x="123" y="96"/>
                  </a:cubicBezTo>
                  <a:cubicBezTo>
                    <a:pt x="123" y="93"/>
                    <a:pt x="126" y="90"/>
                    <a:pt x="129" y="90"/>
                  </a:cubicBezTo>
                  <a:cubicBezTo>
                    <a:pt x="132" y="93"/>
                    <a:pt x="141" y="87"/>
                    <a:pt x="144" y="87"/>
                  </a:cubicBezTo>
                  <a:cubicBezTo>
                    <a:pt x="144" y="84"/>
                    <a:pt x="144" y="84"/>
                    <a:pt x="147" y="81"/>
                  </a:cubicBezTo>
                  <a:cubicBezTo>
                    <a:pt x="144" y="78"/>
                    <a:pt x="141" y="75"/>
                    <a:pt x="138" y="72"/>
                  </a:cubicBezTo>
                  <a:cubicBezTo>
                    <a:pt x="138" y="69"/>
                    <a:pt x="141" y="69"/>
                    <a:pt x="141" y="66"/>
                  </a:cubicBezTo>
                  <a:cubicBezTo>
                    <a:pt x="141" y="63"/>
                    <a:pt x="141" y="63"/>
                    <a:pt x="144" y="60"/>
                  </a:cubicBezTo>
                  <a:cubicBezTo>
                    <a:pt x="150" y="60"/>
                    <a:pt x="150" y="57"/>
                    <a:pt x="147" y="54"/>
                  </a:cubicBezTo>
                  <a:cubicBezTo>
                    <a:pt x="144" y="54"/>
                    <a:pt x="147" y="48"/>
                    <a:pt x="150" y="48"/>
                  </a:cubicBezTo>
                  <a:cubicBezTo>
                    <a:pt x="153" y="48"/>
                    <a:pt x="153" y="45"/>
                    <a:pt x="156" y="42"/>
                  </a:cubicBezTo>
                  <a:cubicBezTo>
                    <a:pt x="150" y="39"/>
                    <a:pt x="141" y="39"/>
                    <a:pt x="138" y="39"/>
                  </a:cubicBezTo>
                  <a:cubicBezTo>
                    <a:pt x="135" y="42"/>
                    <a:pt x="141" y="36"/>
                    <a:pt x="141" y="30"/>
                  </a:cubicBezTo>
                  <a:cubicBezTo>
                    <a:pt x="141" y="27"/>
                    <a:pt x="129" y="27"/>
                    <a:pt x="126" y="24"/>
                  </a:cubicBezTo>
                  <a:cubicBezTo>
                    <a:pt x="120" y="24"/>
                    <a:pt x="123" y="18"/>
                    <a:pt x="126" y="18"/>
                  </a:cubicBezTo>
                  <a:cubicBezTo>
                    <a:pt x="132" y="18"/>
                    <a:pt x="123" y="15"/>
                    <a:pt x="117" y="15"/>
                  </a:cubicBezTo>
                  <a:cubicBezTo>
                    <a:pt x="111" y="18"/>
                    <a:pt x="102" y="21"/>
                    <a:pt x="96" y="24"/>
                  </a:cubicBezTo>
                  <a:cubicBezTo>
                    <a:pt x="90" y="27"/>
                    <a:pt x="81" y="15"/>
                    <a:pt x="75" y="18"/>
                  </a:cubicBezTo>
                  <a:cubicBezTo>
                    <a:pt x="69" y="21"/>
                    <a:pt x="60" y="21"/>
                    <a:pt x="60" y="15"/>
                  </a:cubicBezTo>
                  <a:cubicBezTo>
                    <a:pt x="60" y="9"/>
                    <a:pt x="57" y="6"/>
                    <a:pt x="51" y="6"/>
                  </a:cubicBezTo>
                  <a:cubicBezTo>
                    <a:pt x="45" y="6"/>
                    <a:pt x="45" y="0"/>
                    <a:pt x="42" y="0"/>
                  </a:cubicBezTo>
                  <a:cubicBezTo>
                    <a:pt x="36" y="0"/>
                    <a:pt x="42" y="6"/>
                    <a:pt x="39" y="6"/>
                  </a:cubicBezTo>
                  <a:cubicBezTo>
                    <a:pt x="36" y="9"/>
                    <a:pt x="24" y="12"/>
                    <a:pt x="24" y="15"/>
                  </a:cubicBezTo>
                  <a:cubicBezTo>
                    <a:pt x="21" y="21"/>
                    <a:pt x="30" y="27"/>
                    <a:pt x="27" y="33"/>
                  </a:cubicBezTo>
                  <a:cubicBezTo>
                    <a:pt x="24" y="36"/>
                    <a:pt x="18" y="33"/>
                    <a:pt x="15" y="27"/>
                  </a:cubicBezTo>
                  <a:cubicBezTo>
                    <a:pt x="12" y="24"/>
                    <a:pt x="21" y="15"/>
                    <a:pt x="18" y="15"/>
                  </a:cubicBezTo>
                  <a:cubicBezTo>
                    <a:pt x="18" y="12"/>
                    <a:pt x="18" y="9"/>
                    <a:pt x="18" y="6"/>
                  </a:cubicBezTo>
                  <a:cubicBezTo>
                    <a:pt x="18" y="6"/>
                    <a:pt x="15" y="6"/>
                    <a:pt x="15"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6" name="Freeform 871"/>
            <p:cNvSpPr>
              <a:spLocks/>
            </p:cNvSpPr>
            <p:nvPr userDrawn="1"/>
          </p:nvSpPr>
          <p:spPr bwMode="auto">
            <a:xfrm>
              <a:off x="2451" y="-1252"/>
              <a:ext cx="75" cy="78"/>
            </a:xfrm>
            <a:custGeom>
              <a:avLst/>
              <a:gdLst>
                <a:gd name="T0" fmla="*/ 12 w 48"/>
                <a:gd name="T1" fmla="*/ 12 h 50"/>
                <a:gd name="T2" fmla="*/ 6 w 48"/>
                <a:gd name="T3" fmla="*/ 18 h 50"/>
                <a:gd name="T4" fmla="*/ 3 w 48"/>
                <a:gd name="T5" fmla="*/ 26 h 50"/>
                <a:gd name="T6" fmla="*/ 12 w 48"/>
                <a:gd name="T7" fmla="*/ 38 h 50"/>
                <a:gd name="T8" fmla="*/ 18 w 48"/>
                <a:gd name="T9" fmla="*/ 50 h 50"/>
                <a:gd name="T10" fmla="*/ 24 w 48"/>
                <a:gd name="T11" fmla="*/ 50 h 50"/>
                <a:gd name="T12" fmla="*/ 27 w 48"/>
                <a:gd name="T13" fmla="*/ 44 h 50"/>
                <a:gd name="T14" fmla="*/ 42 w 48"/>
                <a:gd name="T15" fmla="*/ 44 h 50"/>
                <a:gd name="T16" fmla="*/ 42 w 48"/>
                <a:gd name="T17" fmla="*/ 44 h 50"/>
                <a:gd name="T18" fmla="*/ 45 w 48"/>
                <a:gd name="T19" fmla="*/ 38 h 50"/>
                <a:gd name="T20" fmla="*/ 45 w 48"/>
                <a:gd name="T21" fmla="*/ 23 h 50"/>
                <a:gd name="T22" fmla="*/ 45 w 48"/>
                <a:gd name="T23" fmla="*/ 12 h 50"/>
                <a:gd name="T24" fmla="*/ 48 w 48"/>
                <a:gd name="T25" fmla="*/ 6 h 50"/>
                <a:gd name="T26" fmla="*/ 36 w 48"/>
                <a:gd name="T27" fmla="*/ 3 h 50"/>
                <a:gd name="T28" fmla="*/ 21 w 48"/>
                <a:gd name="T29" fmla="*/ 3 h 50"/>
                <a:gd name="T30" fmla="*/ 15 w 48"/>
                <a:gd name="T31" fmla="*/ 3 h 50"/>
                <a:gd name="T32" fmla="*/ 12 w 48"/>
                <a:gd name="T33" fmla="*/ 3 h 50"/>
                <a:gd name="T34" fmla="*/ 12 w 48"/>
                <a:gd name="T3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12" y="12"/>
                  </a:moveTo>
                  <a:cubicBezTo>
                    <a:pt x="12" y="15"/>
                    <a:pt x="9" y="15"/>
                    <a:pt x="6" y="18"/>
                  </a:cubicBezTo>
                  <a:cubicBezTo>
                    <a:pt x="3" y="18"/>
                    <a:pt x="3" y="23"/>
                    <a:pt x="3" y="26"/>
                  </a:cubicBezTo>
                  <a:cubicBezTo>
                    <a:pt x="0" y="26"/>
                    <a:pt x="9" y="32"/>
                    <a:pt x="12" y="38"/>
                  </a:cubicBezTo>
                  <a:cubicBezTo>
                    <a:pt x="12" y="41"/>
                    <a:pt x="15" y="44"/>
                    <a:pt x="18" y="50"/>
                  </a:cubicBezTo>
                  <a:cubicBezTo>
                    <a:pt x="21" y="50"/>
                    <a:pt x="21" y="50"/>
                    <a:pt x="24" y="50"/>
                  </a:cubicBezTo>
                  <a:cubicBezTo>
                    <a:pt x="27" y="47"/>
                    <a:pt x="24" y="44"/>
                    <a:pt x="27" y="44"/>
                  </a:cubicBezTo>
                  <a:cubicBezTo>
                    <a:pt x="33" y="44"/>
                    <a:pt x="39" y="41"/>
                    <a:pt x="42" y="44"/>
                  </a:cubicBezTo>
                  <a:cubicBezTo>
                    <a:pt x="42" y="44"/>
                    <a:pt x="42" y="44"/>
                    <a:pt x="42" y="44"/>
                  </a:cubicBezTo>
                  <a:cubicBezTo>
                    <a:pt x="42" y="44"/>
                    <a:pt x="45" y="41"/>
                    <a:pt x="45" y="38"/>
                  </a:cubicBezTo>
                  <a:cubicBezTo>
                    <a:pt x="45" y="38"/>
                    <a:pt x="45" y="29"/>
                    <a:pt x="45" y="23"/>
                  </a:cubicBezTo>
                  <a:cubicBezTo>
                    <a:pt x="42" y="20"/>
                    <a:pt x="45" y="15"/>
                    <a:pt x="45" y="12"/>
                  </a:cubicBezTo>
                  <a:cubicBezTo>
                    <a:pt x="45" y="12"/>
                    <a:pt x="48" y="9"/>
                    <a:pt x="48" y="6"/>
                  </a:cubicBezTo>
                  <a:cubicBezTo>
                    <a:pt x="45" y="6"/>
                    <a:pt x="39" y="3"/>
                    <a:pt x="36" y="3"/>
                  </a:cubicBezTo>
                  <a:cubicBezTo>
                    <a:pt x="30" y="6"/>
                    <a:pt x="24" y="6"/>
                    <a:pt x="21" y="3"/>
                  </a:cubicBezTo>
                  <a:cubicBezTo>
                    <a:pt x="21" y="0"/>
                    <a:pt x="18" y="0"/>
                    <a:pt x="15" y="3"/>
                  </a:cubicBezTo>
                  <a:cubicBezTo>
                    <a:pt x="12" y="3"/>
                    <a:pt x="12" y="3"/>
                    <a:pt x="12" y="3"/>
                  </a:cubicBezTo>
                  <a:cubicBezTo>
                    <a:pt x="12" y="6"/>
                    <a:pt x="12" y="9"/>
                    <a:pt x="12"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7" name="Freeform 872"/>
            <p:cNvSpPr>
              <a:spLocks/>
            </p:cNvSpPr>
            <p:nvPr userDrawn="1"/>
          </p:nvSpPr>
          <p:spPr bwMode="auto">
            <a:xfrm>
              <a:off x="2451" y="-1252"/>
              <a:ext cx="75" cy="78"/>
            </a:xfrm>
            <a:custGeom>
              <a:avLst/>
              <a:gdLst>
                <a:gd name="T0" fmla="*/ 12 w 48"/>
                <a:gd name="T1" fmla="*/ 12 h 50"/>
                <a:gd name="T2" fmla="*/ 6 w 48"/>
                <a:gd name="T3" fmla="*/ 18 h 50"/>
                <a:gd name="T4" fmla="*/ 3 w 48"/>
                <a:gd name="T5" fmla="*/ 26 h 50"/>
                <a:gd name="T6" fmla="*/ 12 w 48"/>
                <a:gd name="T7" fmla="*/ 38 h 50"/>
                <a:gd name="T8" fmla="*/ 18 w 48"/>
                <a:gd name="T9" fmla="*/ 50 h 50"/>
                <a:gd name="T10" fmla="*/ 24 w 48"/>
                <a:gd name="T11" fmla="*/ 50 h 50"/>
                <a:gd name="T12" fmla="*/ 27 w 48"/>
                <a:gd name="T13" fmla="*/ 44 h 50"/>
                <a:gd name="T14" fmla="*/ 42 w 48"/>
                <a:gd name="T15" fmla="*/ 44 h 50"/>
                <a:gd name="T16" fmla="*/ 42 w 48"/>
                <a:gd name="T17" fmla="*/ 44 h 50"/>
                <a:gd name="T18" fmla="*/ 45 w 48"/>
                <a:gd name="T19" fmla="*/ 38 h 50"/>
                <a:gd name="T20" fmla="*/ 45 w 48"/>
                <a:gd name="T21" fmla="*/ 23 h 50"/>
                <a:gd name="T22" fmla="*/ 45 w 48"/>
                <a:gd name="T23" fmla="*/ 12 h 50"/>
                <a:gd name="T24" fmla="*/ 48 w 48"/>
                <a:gd name="T25" fmla="*/ 6 h 50"/>
                <a:gd name="T26" fmla="*/ 36 w 48"/>
                <a:gd name="T27" fmla="*/ 3 h 50"/>
                <a:gd name="T28" fmla="*/ 21 w 48"/>
                <a:gd name="T29" fmla="*/ 3 h 50"/>
                <a:gd name="T30" fmla="*/ 15 w 48"/>
                <a:gd name="T31" fmla="*/ 3 h 50"/>
                <a:gd name="T32" fmla="*/ 12 w 48"/>
                <a:gd name="T33" fmla="*/ 3 h 50"/>
                <a:gd name="T34" fmla="*/ 12 w 48"/>
                <a:gd name="T3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0">
                  <a:moveTo>
                    <a:pt x="12" y="12"/>
                  </a:moveTo>
                  <a:cubicBezTo>
                    <a:pt x="12" y="15"/>
                    <a:pt x="9" y="15"/>
                    <a:pt x="6" y="18"/>
                  </a:cubicBezTo>
                  <a:cubicBezTo>
                    <a:pt x="3" y="18"/>
                    <a:pt x="3" y="23"/>
                    <a:pt x="3" y="26"/>
                  </a:cubicBezTo>
                  <a:cubicBezTo>
                    <a:pt x="0" y="26"/>
                    <a:pt x="9" y="32"/>
                    <a:pt x="12" y="38"/>
                  </a:cubicBezTo>
                  <a:cubicBezTo>
                    <a:pt x="12" y="41"/>
                    <a:pt x="15" y="44"/>
                    <a:pt x="18" y="50"/>
                  </a:cubicBezTo>
                  <a:cubicBezTo>
                    <a:pt x="21" y="50"/>
                    <a:pt x="21" y="50"/>
                    <a:pt x="24" y="50"/>
                  </a:cubicBezTo>
                  <a:cubicBezTo>
                    <a:pt x="27" y="47"/>
                    <a:pt x="24" y="44"/>
                    <a:pt x="27" y="44"/>
                  </a:cubicBezTo>
                  <a:cubicBezTo>
                    <a:pt x="33" y="44"/>
                    <a:pt x="39" y="41"/>
                    <a:pt x="42" y="44"/>
                  </a:cubicBezTo>
                  <a:cubicBezTo>
                    <a:pt x="42" y="44"/>
                    <a:pt x="42" y="44"/>
                    <a:pt x="42" y="44"/>
                  </a:cubicBezTo>
                  <a:cubicBezTo>
                    <a:pt x="42" y="44"/>
                    <a:pt x="45" y="41"/>
                    <a:pt x="45" y="38"/>
                  </a:cubicBezTo>
                  <a:cubicBezTo>
                    <a:pt x="45" y="38"/>
                    <a:pt x="45" y="29"/>
                    <a:pt x="45" y="23"/>
                  </a:cubicBezTo>
                  <a:cubicBezTo>
                    <a:pt x="42" y="20"/>
                    <a:pt x="45" y="15"/>
                    <a:pt x="45" y="12"/>
                  </a:cubicBezTo>
                  <a:cubicBezTo>
                    <a:pt x="45" y="12"/>
                    <a:pt x="48" y="9"/>
                    <a:pt x="48" y="6"/>
                  </a:cubicBezTo>
                  <a:cubicBezTo>
                    <a:pt x="45" y="6"/>
                    <a:pt x="39" y="3"/>
                    <a:pt x="36" y="3"/>
                  </a:cubicBezTo>
                  <a:cubicBezTo>
                    <a:pt x="30" y="6"/>
                    <a:pt x="24" y="6"/>
                    <a:pt x="21" y="3"/>
                  </a:cubicBezTo>
                  <a:cubicBezTo>
                    <a:pt x="21" y="0"/>
                    <a:pt x="18" y="0"/>
                    <a:pt x="15" y="3"/>
                  </a:cubicBezTo>
                  <a:cubicBezTo>
                    <a:pt x="12" y="3"/>
                    <a:pt x="12" y="3"/>
                    <a:pt x="12" y="3"/>
                  </a:cubicBezTo>
                  <a:cubicBezTo>
                    <a:pt x="12" y="6"/>
                    <a:pt x="12" y="9"/>
                    <a:pt x="12"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8" name="Freeform 873"/>
            <p:cNvSpPr>
              <a:spLocks/>
            </p:cNvSpPr>
            <p:nvPr userDrawn="1"/>
          </p:nvSpPr>
          <p:spPr bwMode="auto">
            <a:xfrm>
              <a:off x="2393" y="-1291"/>
              <a:ext cx="86" cy="131"/>
            </a:xfrm>
            <a:custGeom>
              <a:avLst/>
              <a:gdLst>
                <a:gd name="T0" fmla="*/ 13 w 55"/>
                <a:gd name="T1" fmla="*/ 6 h 84"/>
                <a:gd name="T2" fmla="*/ 10 w 55"/>
                <a:gd name="T3" fmla="*/ 12 h 84"/>
                <a:gd name="T4" fmla="*/ 7 w 55"/>
                <a:gd name="T5" fmla="*/ 18 h 84"/>
                <a:gd name="T6" fmla="*/ 4 w 55"/>
                <a:gd name="T7" fmla="*/ 24 h 84"/>
                <a:gd name="T8" fmla="*/ 0 w 55"/>
                <a:gd name="T9" fmla="*/ 30 h 84"/>
                <a:gd name="T10" fmla="*/ 10 w 55"/>
                <a:gd name="T11" fmla="*/ 39 h 84"/>
                <a:gd name="T12" fmla="*/ 13 w 55"/>
                <a:gd name="T13" fmla="*/ 36 h 84"/>
                <a:gd name="T14" fmla="*/ 19 w 55"/>
                <a:gd name="T15" fmla="*/ 48 h 84"/>
                <a:gd name="T16" fmla="*/ 19 w 55"/>
                <a:gd name="T17" fmla="*/ 57 h 84"/>
                <a:gd name="T18" fmla="*/ 22 w 55"/>
                <a:gd name="T19" fmla="*/ 75 h 84"/>
                <a:gd name="T20" fmla="*/ 34 w 55"/>
                <a:gd name="T21" fmla="*/ 81 h 84"/>
                <a:gd name="T22" fmla="*/ 40 w 55"/>
                <a:gd name="T23" fmla="*/ 78 h 84"/>
                <a:gd name="T24" fmla="*/ 46 w 55"/>
                <a:gd name="T25" fmla="*/ 75 h 84"/>
                <a:gd name="T26" fmla="*/ 55 w 55"/>
                <a:gd name="T27" fmla="*/ 75 h 84"/>
                <a:gd name="T28" fmla="*/ 49 w 55"/>
                <a:gd name="T29" fmla="*/ 63 h 84"/>
                <a:gd name="T30" fmla="*/ 40 w 55"/>
                <a:gd name="T31" fmla="*/ 51 h 84"/>
                <a:gd name="T32" fmla="*/ 43 w 55"/>
                <a:gd name="T33" fmla="*/ 42 h 84"/>
                <a:gd name="T34" fmla="*/ 49 w 55"/>
                <a:gd name="T35" fmla="*/ 36 h 84"/>
                <a:gd name="T36" fmla="*/ 49 w 55"/>
                <a:gd name="T37" fmla="*/ 27 h 84"/>
                <a:gd name="T38" fmla="*/ 40 w 55"/>
                <a:gd name="T39" fmla="*/ 18 h 84"/>
                <a:gd name="T40" fmla="*/ 34 w 55"/>
                <a:gd name="T41" fmla="*/ 12 h 84"/>
                <a:gd name="T42" fmla="*/ 22 w 55"/>
                <a:gd name="T43" fmla="*/ 3 h 84"/>
                <a:gd name="T44" fmla="*/ 19 w 55"/>
                <a:gd name="T45" fmla="*/ 0 h 84"/>
                <a:gd name="T46" fmla="*/ 13 w 55"/>
                <a:gd name="T47"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4">
                  <a:moveTo>
                    <a:pt x="13" y="6"/>
                  </a:moveTo>
                  <a:cubicBezTo>
                    <a:pt x="10" y="6"/>
                    <a:pt x="7" y="12"/>
                    <a:pt x="10" y="12"/>
                  </a:cubicBezTo>
                  <a:cubicBezTo>
                    <a:pt x="13" y="15"/>
                    <a:pt x="13" y="18"/>
                    <a:pt x="7" y="18"/>
                  </a:cubicBezTo>
                  <a:cubicBezTo>
                    <a:pt x="4" y="21"/>
                    <a:pt x="4" y="21"/>
                    <a:pt x="4" y="24"/>
                  </a:cubicBezTo>
                  <a:cubicBezTo>
                    <a:pt x="4" y="27"/>
                    <a:pt x="0" y="27"/>
                    <a:pt x="0" y="30"/>
                  </a:cubicBezTo>
                  <a:cubicBezTo>
                    <a:pt x="4" y="33"/>
                    <a:pt x="7" y="36"/>
                    <a:pt x="10" y="39"/>
                  </a:cubicBezTo>
                  <a:cubicBezTo>
                    <a:pt x="10" y="39"/>
                    <a:pt x="10" y="36"/>
                    <a:pt x="13" y="36"/>
                  </a:cubicBezTo>
                  <a:cubicBezTo>
                    <a:pt x="19" y="39"/>
                    <a:pt x="13" y="45"/>
                    <a:pt x="19" y="48"/>
                  </a:cubicBezTo>
                  <a:cubicBezTo>
                    <a:pt x="22" y="48"/>
                    <a:pt x="22" y="54"/>
                    <a:pt x="19" y="57"/>
                  </a:cubicBezTo>
                  <a:cubicBezTo>
                    <a:pt x="16" y="57"/>
                    <a:pt x="16" y="69"/>
                    <a:pt x="22" y="75"/>
                  </a:cubicBezTo>
                  <a:cubicBezTo>
                    <a:pt x="28" y="84"/>
                    <a:pt x="31" y="81"/>
                    <a:pt x="34" y="81"/>
                  </a:cubicBezTo>
                  <a:cubicBezTo>
                    <a:pt x="34" y="78"/>
                    <a:pt x="40" y="81"/>
                    <a:pt x="40" y="78"/>
                  </a:cubicBezTo>
                  <a:cubicBezTo>
                    <a:pt x="43" y="75"/>
                    <a:pt x="43" y="78"/>
                    <a:pt x="46" y="75"/>
                  </a:cubicBezTo>
                  <a:cubicBezTo>
                    <a:pt x="49" y="72"/>
                    <a:pt x="52" y="75"/>
                    <a:pt x="55" y="75"/>
                  </a:cubicBezTo>
                  <a:cubicBezTo>
                    <a:pt x="52" y="69"/>
                    <a:pt x="49" y="66"/>
                    <a:pt x="49" y="63"/>
                  </a:cubicBezTo>
                  <a:cubicBezTo>
                    <a:pt x="46" y="57"/>
                    <a:pt x="37" y="51"/>
                    <a:pt x="40" y="51"/>
                  </a:cubicBezTo>
                  <a:cubicBezTo>
                    <a:pt x="40" y="48"/>
                    <a:pt x="40" y="42"/>
                    <a:pt x="43" y="42"/>
                  </a:cubicBezTo>
                  <a:cubicBezTo>
                    <a:pt x="46" y="39"/>
                    <a:pt x="49" y="39"/>
                    <a:pt x="49" y="36"/>
                  </a:cubicBezTo>
                  <a:cubicBezTo>
                    <a:pt x="49" y="33"/>
                    <a:pt x="49" y="30"/>
                    <a:pt x="49" y="27"/>
                  </a:cubicBezTo>
                  <a:cubicBezTo>
                    <a:pt x="46" y="27"/>
                    <a:pt x="43" y="18"/>
                    <a:pt x="40" y="18"/>
                  </a:cubicBezTo>
                  <a:cubicBezTo>
                    <a:pt x="37" y="18"/>
                    <a:pt x="34" y="15"/>
                    <a:pt x="34" y="12"/>
                  </a:cubicBezTo>
                  <a:cubicBezTo>
                    <a:pt x="34" y="9"/>
                    <a:pt x="28" y="6"/>
                    <a:pt x="22" y="3"/>
                  </a:cubicBezTo>
                  <a:cubicBezTo>
                    <a:pt x="22" y="0"/>
                    <a:pt x="19" y="0"/>
                    <a:pt x="19" y="0"/>
                  </a:cubicBezTo>
                  <a:cubicBezTo>
                    <a:pt x="16" y="3"/>
                    <a:pt x="16" y="6"/>
                    <a:pt x="1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79" name="Freeform 874"/>
            <p:cNvSpPr>
              <a:spLocks/>
            </p:cNvSpPr>
            <p:nvPr userDrawn="1"/>
          </p:nvSpPr>
          <p:spPr bwMode="auto">
            <a:xfrm>
              <a:off x="2393" y="-1291"/>
              <a:ext cx="86" cy="131"/>
            </a:xfrm>
            <a:custGeom>
              <a:avLst/>
              <a:gdLst>
                <a:gd name="T0" fmla="*/ 13 w 55"/>
                <a:gd name="T1" fmla="*/ 6 h 84"/>
                <a:gd name="T2" fmla="*/ 10 w 55"/>
                <a:gd name="T3" fmla="*/ 12 h 84"/>
                <a:gd name="T4" fmla="*/ 7 w 55"/>
                <a:gd name="T5" fmla="*/ 18 h 84"/>
                <a:gd name="T6" fmla="*/ 4 w 55"/>
                <a:gd name="T7" fmla="*/ 24 h 84"/>
                <a:gd name="T8" fmla="*/ 0 w 55"/>
                <a:gd name="T9" fmla="*/ 30 h 84"/>
                <a:gd name="T10" fmla="*/ 10 w 55"/>
                <a:gd name="T11" fmla="*/ 39 h 84"/>
                <a:gd name="T12" fmla="*/ 13 w 55"/>
                <a:gd name="T13" fmla="*/ 36 h 84"/>
                <a:gd name="T14" fmla="*/ 19 w 55"/>
                <a:gd name="T15" fmla="*/ 48 h 84"/>
                <a:gd name="T16" fmla="*/ 19 w 55"/>
                <a:gd name="T17" fmla="*/ 57 h 84"/>
                <a:gd name="T18" fmla="*/ 22 w 55"/>
                <a:gd name="T19" fmla="*/ 75 h 84"/>
                <a:gd name="T20" fmla="*/ 34 w 55"/>
                <a:gd name="T21" fmla="*/ 81 h 84"/>
                <a:gd name="T22" fmla="*/ 40 w 55"/>
                <a:gd name="T23" fmla="*/ 78 h 84"/>
                <a:gd name="T24" fmla="*/ 46 w 55"/>
                <a:gd name="T25" fmla="*/ 75 h 84"/>
                <a:gd name="T26" fmla="*/ 55 w 55"/>
                <a:gd name="T27" fmla="*/ 75 h 84"/>
                <a:gd name="T28" fmla="*/ 49 w 55"/>
                <a:gd name="T29" fmla="*/ 63 h 84"/>
                <a:gd name="T30" fmla="*/ 40 w 55"/>
                <a:gd name="T31" fmla="*/ 51 h 84"/>
                <a:gd name="T32" fmla="*/ 43 w 55"/>
                <a:gd name="T33" fmla="*/ 42 h 84"/>
                <a:gd name="T34" fmla="*/ 49 w 55"/>
                <a:gd name="T35" fmla="*/ 36 h 84"/>
                <a:gd name="T36" fmla="*/ 49 w 55"/>
                <a:gd name="T37" fmla="*/ 27 h 84"/>
                <a:gd name="T38" fmla="*/ 40 w 55"/>
                <a:gd name="T39" fmla="*/ 18 h 84"/>
                <a:gd name="T40" fmla="*/ 34 w 55"/>
                <a:gd name="T41" fmla="*/ 12 h 84"/>
                <a:gd name="T42" fmla="*/ 22 w 55"/>
                <a:gd name="T43" fmla="*/ 3 h 84"/>
                <a:gd name="T44" fmla="*/ 19 w 55"/>
                <a:gd name="T45" fmla="*/ 0 h 84"/>
                <a:gd name="T46" fmla="*/ 13 w 55"/>
                <a:gd name="T47"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84">
                  <a:moveTo>
                    <a:pt x="13" y="6"/>
                  </a:moveTo>
                  <a:cubicBezTo>
                    <a:pt x="10" y="6"/>
                    <a:pt x="7" y="12"/>
                    <a:pt x="10" y="12"/>
                  </a:cubicBezTo>
                  <a:cubicBezTo>
                    <a:pt x="13" y="15"/>
                    <a:pt x="13" y="18"/>
                    <a:pt x="7" y="18"/>
                  </a:cubicBezTo>
                  <a:cubicBezTo>
                    <a:pt x="4" y="21"/>
                    <a:pt x="4" y="21"/>
                    <a:pt x="4" y="24"/>
                  </a:cubicBezTo>
                  <a:cubicBezTo>
                    <a:pt x="4" y="27"/>
                    <a:pt x="0" y="27"/>
                    <a:pt x="0" y="30"/>
                  </a:cubicBezTo>
                  <a:cubicBezTo>
                    <a:pt x="4" y="33"/>
                    <a:pt x="7" y="36"/>
                    <a:pt x="10" y="39"/>
                  </a:cubicBezTo>
                  <a:cubicBezTo>
                    <a:pt x="10" y="39"/>
                    <a:pt x="10" y="36"/>
                    <a:pt x="13" y="36"/>
                  </a:cubicBezTo>
                  <a:cubicBezTo>
                    <a:pt x="19" y="39"/>
                    <a:pt x="13" y="45"/>
                    <a:pt x="19" y="48"/>
                  </a:cubicBezTo>
                  <a:cubicBezTo>
                    <a:pt x="22" y="48"/>
                    <a:pt x="22" y="54"/>
                    <a:pt x="19" y="57"/>
                  </a:cubicBezTo>
                  <a:cubicBezTo>
                    <a:pt x="16" y="57"/>
                    <a:pt x="16" y="69"/>
                    <a:pt x="22" y="75"/>
                  </a:cubicBezTo>
                  <a:cubicBezTo>
                    <a:pt x="28" y="84"/>
                    <a:pt x="31" y="81"/>
                    <a:pt x="34" y="81"/>
                  </a:cubicBezTo>
                  <a:cubicBezTo>
                    <a:pt x="34" y="78"/>
                    <a:pt x="40" y="81"/>
                    <a:pt x="40" y="78"/>
                  </a:cubicBezTo>
                  <a:cubicBezTo>
                    <a:pt x="43" y="75"/>
                    <a:pt x="43" y="78"/>
                    <a:pt x="46" y="75"/>
                  </a:cubicBezTo>
                  <a:cubicBezTo>
                    <a:pt x="49" y="72"/>
                    <a:pt x="52" y="75"/>
                    <a:pt x="55" y="75"/>
                  </a:cubicBezTo>
                  <a:cubicBezTo>
                    <a:pt x="52" y="69"/>
                    <a:pt x="49" y="66"/>
                    <a:pt x="49" y="63"/>
                  </a:cubicBezTo>
                  <a:cubicBezTo>
                    <a:pt x="46" y="57"/>
                    <a:pt x="37" y="51"/>
                    <a:pt x="40" y="51"/>
                  </a:cubicBezTo>
                  <a:cubicBezTo>
                    <a:pt x="40" y="48"/>
                    <a:pt x="40" y="42"/>
                    <a:pt x="43" y="42"/>
                  </a:cubicBezTo>
                  <a:cubicBezTo>
                    <a:pt x="46" y="39"/>
                    <a:pt x="49" y="39"/>
                    <a:pt x="49" y="36"/>
                  </a:cubicBezTo>
                  <a:cubicBezTo>
                    <a:pt x="49" y="33"/>
                    <a:pt x="49" y="30"/>
                    <a:pt x="49" y="27"/>
                  </a:cubicBezTo>
                  <a:cubicBezTo>
                    <a:pt x="46" y="27"/>
                    <a:pt x="43" y="18"/>
                    <a:pt x="40" y="18"/>
                  </a:cubicBezTo>
                  <a:cubicBezTo>
                    <a:pt x="37" y="18"/>
                    <a:pt x="34" y="15"/>
                    <a:pt x="34" y="12"/>
                  </a:cubicBezTo>
                  <a:cubicBezTo>
                    <a:pt x="34" y="9"/>
                    <a:pt x="28" y="6"/>
                    <a:pt x="22" y="3"/>
                  </a:cubicBezTo>
                  <a:cubicBezTo>
                    <a:pt x="22" y="0"/>
                    <a:pt x="19" y="0"/>
                    <a:pt x="19" y="0"/>
                  </a:cubicBezTo>
                  <a:cubicBezTo>
                    <a:pt x="16" y="3"/>
                    <a:pt x="16" y="6"/>
                    <a:pt x="1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0" name="Freeform 875"/>
            <p:cNvSpPr>
              <a:spLocks/>
            </p:cNvSpPr>
            <p:nvPr userDrawn="1"/>
          </p:nvSpPr>
          <p:spPr bwMode="auto">
            <a:xfrm>
              <a:off x="2517" y="-1245"/>
              <a:ext cx="56" cy="71"/>
            </a:xfrm>
            <a:custGeom>
              <a:avLst/>
              <a:gdLst>
                <a:gd name="T0" fmla="*/ 3 w 36"/>
                <a:gd name="T1" fmla="*/ 18 h 45"/>
                <a:gd name="T2" fmla="*/ 3 w 36"/>
                <a:gd name="T3" fmla="*/ 33 h 45"/>
                <a:gd name="T4" fmla="*/ 0 w 36"/>
                <a:gd name="T5" fmla="*/ 39 h 45"/>
                <a:gd name="T6" fmla="*/ 9 w 36"/>
                <a:gd name="T7" fmla="*/ 42 h 45"/>
                <a:gd name="T8" fmla="*/ 21 w 36"/>
                <a:gd name="T9" fmla="*/ 36 h 45"/>
                <a:gd name="T10" fmla="*/ 36 w 36"/>
                <a:gd name="T11" fmla="*/ 18 h 45"/>
                <a:gd name="T12" fmla="*/ 36 w 36"/>
                <a:gd name="T13" fmla="*/ 18 h 45"/>
                <a:gd name="T14" fmla="*/ 15 w 36"/>
                <a:gd name="T15" fmla="*/ 3 h 45"/>
                <a:gd name="T16" fmla="*/ 6 w 36"/>
                <a:gd name="T17" fmla="*/ 0 h 45"/>
                <a:gd name="T18" fmla="*/ 3 w 36"/>
                <a:gd name="T19" fmla="*/ 6 h 45"/>
                <a:gd name="T20" fmla="*/ 3 w 36"/>
                <a:gd name="T2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5">
                  <a:moveTo>
                    <a:pt x="3" y="18"/>
                  </a:moveTo>
                  <a:cubicBezTo>
                    <a:pt x="3" y="24"/>
                    <a:pt x="3" y="33"/>
                    <a:pt x="3" y="33"/>
                  </a:cubicBezTo>
                  <a:cubicBezTo>
                    <a:pt x="3" y="36"/>
                    <a:pt x="0" y="39"/>
                    <a:pt x="0" y="39"/>
                  </a:cubicBezTo>
                  <a:cubicBezTo>
                    <a:pt x="3" y="42"/>
                    <a:pt x="6" y="42"/>
                    <a:pt x="9" y="42"/>
                  </a:cubicBezTo>
                  <a:cubicBezTo>
                    <a:pt x="15" y="39"/>
                    <a:pt x="18" y="45"/>
                    <a:pt x="21" y="36"/>
                  </a:cubicBezTo>
                  <a:cubicBezTo>
                    <a:pt x="24" y="30"/>
                    <a:pt x="30" y="24"/>
                    <a:pt x="36" y="18"/>
                  </a:cubicBezTo>
                  <a:cubicBezTo>
                    <a:pt x="36" y="18"/>
                    <a:pt x="36" y="18"/>
                    <a:pt x="36" y="18"/>
                  </a:cubicBezTo>
                  <a:cubicBezTo>
                    <a:pt x="30" y="18"/>
                    <a:pt x="24" y="6"/>
                    <a:pt x="15" y="3"/>
                  </a:cubicBezTo>
                  <a:cubicBezTo>
                    <a:pt x="12" y="3"/>
                    <a:pt x="9" y="3"/>
                    <a:pt x="6" y="0"/>
                  </a:cubicBezTo>
                  <a:cubicBezTo>
                    <a:pt x="6" y="3"/>
                    <a:pt x="3" y="6"/>
                    <a:pt x="3" y="6"/>
                  </a:cubicBezTo>
                  <a:cubicBezTo>
                    <a:pt x="3" y="9"/>
                    <a:pt x="0" y="15"/>
                    <a:pt x="3"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1" name="Freeform 876"/>
            <p:cNvSpPr>
              <a:spLocks/>
            </p:cNvSpPr>
            <p:nvPr userDrawn="1"/>
          </p:nvSpPr>
          <p:spPr bwMode="auto">
            <a:xfrm>
              <a:off x="2517" y="-1245"/>
              <a:ext cx="56" cy="71"/>
            </a:xfrm>
            <a:custGeom>
              <a:avLst/>
              <a:gdLst>
                <a:gd name="T0" fmla="*/ 3 w 36"/>
                <a:gd name="T1" fmla="*/ 18 h 45"/>
                <a:gd name="T2" fmla="*/ 3 w 36"/>
                <a:gd name="T3" fmla="*/ 33 h 45"/>
                <a:gd name="T4" fmla="*/ 0 w 36"/>
                <a:gd name="T5" fmla="*/ 39 h 45"/>
                <a:gd name="T6" fmla="*/ 9 w 36"/>
                <a:gd name="T7" fmla="*/ 42 h 45"/>
                <a:gd name="T8" fmla="*/ 21 w 36"/>
                <a:gd name="T9" fmla="*/ 36 h 45"/>
                <a:gd name="T10" fmla="*/ 36 w 36"/>
                <a:gd name="T11" fmla="*/ 18 h 45"/>
                <a:gd name="T12" fmla="*/ 36 w 36"/>
                <a:gd name="T13" fmla="*/ 18 h 45"/>
                <a:gd name="T14" fmla="*/ 15 w 36"/>
                <a:gd name="T15" fmla="*/ 3 h 45"/>
                <a:gd name="T16" fmla="*/ 6 w 36"/>
                <a:gd name="T17" fmla="*/ 0 h 45"/>
                <a:gd name="T18" fmla="*/ 3 w 36"/>
                <a:gd name="T19" fmla="*/ 6 h 45"/>
                <a:gd name="T20" fmla="*/ 3 w 36"/>
                <a:gd name="T2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5">
                  <a:moveTo>
                    <a:pt x="3" y="18"/>
                  </a:moveTo>
                  <a:cubicBezTo>
                    <a:pt x="3" y="24"/>
                    <a:pt x="3" y="33"/>
                    <a:pt x="3" y="33"/>
                  </a:cubicBezTo>
                  <a:cubicBezTo>
                    <a:pt x="3" y="36"/>
                    <a:pt x="0" y="39"/>
                    <a:pt x="0" y="39"/>
                  </a:cubicBezTo>
                  <a:cubicBezTo>
                    <a:pt x="3" y="42"/>
                    <a:pt x="6" y="42"/>
                    <a:pt x="9" y="42"/>
                  </a:cubicBezTo>
                  <a:cubicBezTo>
                    <a:pt x="15" y="39"/>
                    <a:pt x="18" y="45"/>
                    <a:pt x="21" y="36"/>
                  </a:cubicBezTo>
                  <a:cubicBezTo>
                    <a:pt x="24" y="30"/>
                    <a:pt x="30" y="24"/>
                    <a:pt x="36" y="18"/>
                  </a:cubicBezTo>
                  <a:cubicBezTo>
                    <a:pt x="36" y="18"/>
                    <a:pt x="36" y="18"/>
                    <a:pt x="36" y="18"/>
                  </a:cubicBezTo>
                  <a:cubicBezTo>
                    <a:pt x="30" y="18"/>
                    <a:pt x="24" y="6"/>
                    <a:pt x="15" y="3"/>
                  </a:cubicBezTo>
                  <a:cubicBezTo>
                    <a:pt x="12" y="3"/>
                    <a:pt x="9" y="3"/>
                    <a:pt x="6" y="0"/>
                  </a:cubicBezTo>
                  <a:cubicBezTo>
                    <a:pt x="6" y="3"/>
                    <a:pt x="3" y="6"/>
                    <a:pt x="3" y="6"/>
                  </a:cubicBezTo>
                  <a:cubicBezTo>
                    <a:pt x="3" y="9"/>
                    <a:pt x="0" y="15"/>
                    <a:pt x="3"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2" name="Freeform 877"/>
            <p:cNvSpPr>
              <a:spLocks/>
            </p:cNvSpPr>
            <p:nvPr userDrawn="1"/>
          </p:nvSpPr>
          <p:spPr bwMode="auto">
            <a:xfrm>
              <a:off x="1979" y="-1566"/>
              <a:ext cx="187" cy="69"/>
            </a:xfrm>
            <a:custGeom>
              <a:avLst/>
              <a:gdLst>
                <a:gd name="T0" fmla="*/ 96 w 120"/>
                <a:gd name="T1" fmla="*/ 26 h 44"/>
                <a:gd name="T2" fmla="*/ 42 w 120"/>
                <a:gd name="T3" fmla="*/ 6 h 44"/>
                <a:gd name="T4" fmla="*/ 3 w 120"/>
                <a:gd name="T5" fmla="*/ 20 h 44"/>
                <a:gd name="T6" fmla="*/ 21 w 120"/>
                <a:gd name="T7" fmla="*/ 12 h 44"/>
                <a:gd name="T8" fmla="*/ 33 w 120"/>
                <a:gd name="T9" fmla="*/ 14 h 44"/>
                <a:gd name="T10" fmla="*/ 51 w 120"/>
                <a:gd name="T11" fmla="*/ 20 h 44"/>
                <a:gd name="T12" fmla="*/ 75 w 120"/>
                <a:gd name="T13" fmla="*/ 32 h 44"/>
                <a:gd name="T14" fmla="*/ 81 w 120"/>
                <a:gd name="T15" fmla="*/ 41 h 44"/>
                <a:gd name="T16" fmla="*/ 117 w 120"/>
                <a:gd name="T17" fmla="*/ 41 h 44"/>
                <a:gd name="T18" fmla="*/ 96 w 120"/>
                <a:gd name="T1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44">
                  <a:moveTo>
                    <a:pt x="96" y="26"/>
                  </a:moveTo>
                  <a:cubicBezTo>
                    <a:pt x="90" y="26"/>
                    <a:pt x="66" y="12"/>
                    <a:pt x="42" y="6"/>
                  </a:cubicBezTo>
                  <a:cubicBezTo>
                    <a:pt x="21" y="0"/>
                    <a:pt x="0" y="17"/>
                    <a:pt x="3" y="20"/>
                  </a:cubicBezTo>
                  <a:cubicBezTo>
                    <a:pt x="6" y="23"/>
                    <a:pt x="18" y="14"/>
                    <a:pt x="21" y="12"/>
                  </a:cubicBezTo>
                  <a:cubicBezTo>
                    <a:pt x="27" y="6"/>
                    <a:pt x="33" y="12"/>
                    <a:pt x="33" y="14"/>
                  </a:cubicBezTo>
                  <a:cubicBezTo>
                    <a:pt x="33" y="17"/>
                    <a:pt x="42" y="20"/>
                    <a:pt x="51" y="20"/>
                  </a:cubicBezTo>
                  <a:cubicBezTo>
                    <a:pt x="63" y="20"/>
                    <a:pt x="66" y="29"/>
                    <a:pt x="75" y="32"/>
                  </a:cubicBezTo>
                  <a:cubicBezTo>
                    <a:pt x="87" y="35"/>
                    <a:pt x="75" y="38"/>
                    <a:pt x="81" y="41"/>
                  </a:cubicBezTo>
                  <a:cubicBezTo>
                    <a:pt x="87" y="44"/>
                    <a:pt x="117" y="41"/>
                    <a:pt x="117" y="41"/>
                  </a:cubicBezTo>
                  <a:cubicBezTo>
                    <a:pt x="120" y="38"/>
                    <a:pt x="105" y="26"/>
                    <a:pt x="96" y="2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3" name="Freeform 878"/>
            <p:cNvSpPr>
              <a:spLocks/>
            </p:cNvSpPr>
            <p:nvPr userDrawn="1"/>
          </p:nvSpPr>
          <p:spPr bwMode="auto">
            <a:xfrm>
              <a:off x="1979" y="-1566"/>
              <a:ext cx="187" cy="69"/>
            </a:xfrm>
            <a:custGeom>
              <a:avLst/>
              <a:gdLst>
                <a:gd name="T0" fmla="*/ 96 w 120"/>
                <a:gd name="T1" fmla="*/ 26 h 44"/>
                <a:gd name="T2" fmla="*/ 42 w 120"/>
                <a:gd name="T3" fmla="*/ 6 h 44"/>
                <a:gd name="T4" fmla="*/ 3 w 120"/>
                <a:gd name="T5" fmla="*/ 20 h 44"/>
                <a:gd name="T6" fmla="*/ 21 w 120"/>
                <a:gd name="T7" fmla="*/ 12 h 44"/>
                <a:gd name="T8" fmla="*/ 33 w 120"/>
                <a:gd name="T9" fmla="*/ 14 h 44"/>
                <a:gd name="T10" fmla="*/ 51 w 120"/>
                <a:gd name="T11" fmla="*/ 20 h 44"/>
                <a:gd name="T12" fmla="*/ 75 w 120"/>
                <a:gd name="T13" fmla="*/ 32 h 44"/>
                <a:gd name="T14" fmla="*/ 81 w 120"/>
                <a:gd name="T15" fmla="*/ 41 h 44"/>
                <a:gd name="T16" fmla="*/ 117 w 120"/>
                <a:gd name="T17" fmla="*/ 41 h 44"/>
                <a:gd name="T18" fmla="*/ 96 w 120"/>
                <a:gd name="T1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44">
                  <a:moveTo>
                    <a:pt x="96" y="26"/>
                  </a:moveTo>
                  <a:cubicBezTo>
                    <a:pt x="90" y="26"/>
                    <a:pt x="66" y="12"/>
                    <a:pt x="42" y="6"/>
                  </a:cubicBezTo>
                  <a:cubicBezTo>
                    <a:pt x="21" y="0"/>
                    <a:pt x="0" y="17"/>
                    <a:pt x="3" y="20"/>
                  </a:cubicBezTo>
                  <a:cubicBezTo>
                    <a:pt x="6" y="23"/>
                    <a:pt x="18" y="14"/>
                    <a:pt x="21" y="12"/>
                  </a:cubicBezTo>
                  <a:cubicBezTo>
                    <a:pt x="27" y="6"/>
                    <a:pt x="33" y="12"/>
                    <a:pt x="33" y="14"/>
                  </a:cubicBezTo>
                  <a:cubicBezTo>
                    <a:pt x="33" y="17"/>
                    <a:pt x="42" y="20"/>
                    <a:pt x="51" y="20"/>
                  </a:cubicBezTo>
                  <a:cubicBezTo>
                    <a:pt x="63" y="20"/>
                    <a:pt x="66" y="29"/>
                    <a:pt x="75" y="32"/>
                  </a:cubicBezTo>
                  <a:cubicBezTo>
                    <a:pt x="87" y="35"/>
                    <a:pt x="75" y="38"/>
                    <a:pt x="81" y="41"/>
                  </a:cubicBezTo>
                  <a:cubicBezTo>
                    <a:pt x="87" y="44"/>
                    <a:pt x="117" y="41"/>
                    <a:pt x="117" y="41"/>
                  </a:cubicBezTo>
                  <a:cubicBezTo>
                    <a:pt x="120" y="38"/>
                    <a:pt x="105" y="26"/>
                    <a:pt x="96" y="2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4" name="Freeform 879"/>
            <p:cNvSpPr>
              <a:spLocks/>
            </p:cNvSpPr>
            <p:nvPr userDrawn="1"/>
          </p:nvSpPr>
          <p:spPr bwMode="auto">
            <a:xfrm>
              <a:off x="2086" y="-1479"/>
              <a:ext cx="43" cy="24"/>
            </a:xfrm>
            <a:custGeom>
              <a:avLst/>
              <a:gdLst>
                <a:gd name="T0" fmla="*/ 3 w 27"/>
                <a:gd name="T1" fmla="*/ 6 h 15"/>
                <a:gd name="T2" fmla="*/ 27 w 27"/>
                <a:gd name="T3" fmla="*/ 9 h 15"/>
                <a:gd name="T4" fmla="*/ 3 w 27"/>
                <a:gd name="T5" fmla="*/ 6 h 15"/>
              </a:gdLst>
              <a:ahLst/>
              <a:cxnLst>
                <a:cxn ang="0">
                  <a:pos x="T0" y="T1"/>
                </a:cxn>
                <a:cxn ang="0">
                  <a:pos x="T2" y="T3"/>
                </a:cxn>
                <a:cxn ang="0">
                  <a:pos x="T4" y="T5"/>
                </a:cxn>
              </a:cxnLst>
              <a:rect l="0" t="0" r="r" b="b"/>
              <a:pathLst>
                <a:path w="27" h="15">
                  <a:moveTo>
                    <a:pt x="3" y="6"/>
                  </a:moveTo>
                  <a:cubicBezTo>
                    <a:pt x="6" y="9"/>
                    <a:pt x="24" y="15"/>
                    <a:pt x="27" y="9"/>
                  </a:cubicBezTo>
                  <a:cubicBezTo>
                    <a:pt x="27" y="6"/>
                    <a:pt x="0" y="0"/>
                    <a:pt x="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5" name="Freeform 880"/>
            <p:cNvSpPr>
              <a:spLocks/>
            </p:cNvSpPr>
            <p:nvPr userDrawn="1"/>
          </p:nvSpPr>
          <p:spPr bwMode="auto">
            <a:xfrm>
              <a:off x="2086" y="-1479"/>
              <a:ext cx="43" cy="24"/>
            </a:xfrm>
            <a:custGeom>
              <a:avLst/>
              <a:gdLst>
                <a:gd name="T0" fmla="*/ 3 w 27"/>
                <a:gd name="T1" fmla="*/ 6 h 15"/>
                <a:gd name="T2" fmla="*/ 27 w 27"/>
                <a:gd name="T3" fmla="*/ 9 h 15"/>
                <a:gd name="T4" fmla="*/ 3 w 27"/>
                <a:gd name="T5" fmla="*/ 6 h 15"/>
              </a:gdLst>
              <a:ahLst/>
              <a:cxnLst>
                <a:cxn ang="0">
                  <a:pos x="T0" y="T1"/>
                </a:cxn>
                <a:cxn ang="0">
                  <a:pos x="T2" y="T3"/>
                </a:cxn>
                <a:cxn ang="0">
                  <a:pos x="T4" y="T5"/>
                </a:cxn>
              </a:cxnLst>
              <a:rect l="0" t="0" r="r" b="b"/>
              <a:pathLst>
                <a:path w="27" h="15">
                  <a:moveTo>
                    <a:pt x="3" y="6"/>
                  </a:moveTo>
                  <a:cubicBezTo>
                    <a:pt x="6" y="9"/>
                    <a:pt x="24" y="15"/>
                    <a:pt x="27" y="9"/>
                  </a:cubicBezTo>
                  <a:cubicBezTo>
                    <a:pt x="27" y="6"/>
                    <a:pt x="0" y="0"/>
                    <a:pt x="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6" name="Freeform 881"/>
            <p:cNvSpPr>
              <a:spLocks/>
            </p:cNvSpPr>
            <p:nvPr userDrawn="1"/>
          </p:nvSpPr>
          <p:spPr bwMode="auto">
            <a:xfrm>
              <a:off x="2283" y="-1479"/>
              <a:ext cx="43" cy="24"/>
            </a:xfrm>
            <a:custGeom>
              <a:avLst/>
              <a:gdLst>
                <a:gd name="T0" fmla="*/ 6 w 28"/>
                <a:gd name="T1" fmla="*/ 6 h 15"/>
                <a:gd name="T2" fmla="*/ 25 w 28"/>
                <a:gd name="T3" fmla="*/ 6 h 15"/>
                <a:gd name="T4" fmla="*/ 6 w 28"/>
                <a:gd name="T5" fmla="*/ 6 h 15"/>
              </a:gdLst>
              <a:ahLst/>
              <a:cxnLst>
                <a:cxn ang="0">
                  <a:pos x="T0" y="T1"/>
                </a:cxn>
                <a:cxn ang="0">
                  <a:pos x="T2" y="T3"/>
                </a:cxn>
                <a:cxn ang="0">
                  <a:pos x="T4" y="T5"/>
                </a:cxn>
              </a:cxnLst>
              <a:rect l="0" t="0" r="r" b="b"/>
              <a:pathLst>
                <a:path w="28" h="15">
                  <a:moveTo>
                    <a:pt x="6" y="6"/>
                  </a:moveTo>
                  <a:cubicBezTo>
                    <a:pt x="9" y="15"/>
                    <a:pt x="25" y="9"/>
                    <a:pt x="25" y="6"/>
                  </a:cubicBezTo>
                  <a:cubicBezTo>
                    <a:pt x="28" y="3"/>
                    <a:pt x="0" y="0"/>
                    <a:pt x="6"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7" name="Freeform 882"/>
            <p:cNvSpPr>
              <a:spLocks/>
            </p:cNvSpPr>
            <p:nvPr userDrawn="1"/>
          </p:nvSpPr>
          <p:spPr bwMode="auto">
            <a:xfrm>
              <a:off x="2283" y="-1479"/>
              <a:ext cx="43" cy="24"/>
            </a:xfrm>
            <a:custGeom>
              <a:avLst/>
              <a:gdLst>
                <a:gd name="T0" fmla="*/ 6 w 28"/>
                <a:gd name="T1" fmla="*/ 6 h 15"/>
                <a:gd name="T2" fmla="*/ 25 w 28"/>
                <a:gd name="T3" fmla="*/ 6 h 15"/>
                <a:gd name="T4" fmla="*/ 6 w 28"/>
                <a:gd name="T5" fmla="*/ 6 h 15"/>
              </a:gdLst>
              <a:ahLst/>
              <a:cxnLst>
                <a:cxn ang="0">
                  <a:pos x="T0" y="T1"/>
                </a:cxn>
                <a:cxn ang="0">
                  <a:pos x="T2" y="T3"/>
                </a:cxn>
                <a:cxn ang="0">
                  <a:pos x="T4" y="T5"/>
                </a:cxn>
              </a:cxnLst>
              <a:rect l="0" t="0" r="r" b="b"/>
              <a:pathLst>
                <a:path w="28" h="15">
                  <a:moveTo>
                    <a:pt x="6" y="6"/>
                  </a:moveTo>
                  <a:cubicBezTo>
                    <a:pt x="9" y="15"/>
                    <a:pt x="25" y="9"/>
                    <a:pt x="25" y="6"/>
                  </a:cubicBezTo>
                  <a:cubicBezTo>
                    <a:pt x="28" y="3"/>
                    <a:pt x="0" y="0"/>
                    <a:pt x="6"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8" name="Freeform 883"/>
            <p:cNvSpPr>
              <a:spLocks noEditPoints="1"/>
            </p:cNvSpPr>
            <p:nvPr userDrawn="1"/>
          </p:nvSpPr>
          <p:spPr bwMode="auto">
            <a:xfrm>
              <a:off x="2393" y="-143"/>
              <a:ext cx="63" cy="26"/>
            </a:xfrm>
            <a:custGeom>
              <a:avLst/>
              <a:gdLst>
                <a:gd name="T0" fmla="*/ 40 w 40"/>
                <a:gd name="T1" fmla="*/ 6 h 17"/>
                <a:gd name="T2" fmla="*/ 22 w 40"/>
                <a:gd name="T3" fmla="*/ 14 h 17"/>
                <a:gd name="T4" fmla="*/ 40 w 40"/>
                <a:gd name="T5" fmla="*/ 6 h 17"/>
                <a:gd name="T6" fmla="*/ 19 w 40"/>
                <a:gd name="T7" fmla="*/ 0 h 17"/>
                <a:gd name="T8" fmla="*/ 7 w 40"/>
                <a:gd name="T9" fmla="*/ 14 h 17"/>
                <a:gd name="T10" fmla="*/ 19 w 40"/>
                <a:gd name="T11" fmla="*/ 0 h 17"/>
              </a:gdLst>
              <a:ahLst/>
              <a:cxnLst>
                <a:cxn ang="0">
                  <a:pos x="T0" y="T1"/>
                </a:cxn>
                <a:cxn ang="0">
                  <a:pos x="T2" y="T3"/>
                </a:cxn>
                <a:cxn ang="0">
                  <a:pos x="T4" y="T5"/>
                </a:cxn>
                <a:cxn ang="0">
                  <a:pos x="T6" y="T7"/>
                </a:cxn>
                <a:cxn ang="0">
                  <a:pos x="T8" y="T9"/>
                </a:cxn>
                <a:cxn ang="0">
                  <a:pos x="T10" y="T11"/>
                </a:cxn>
              </a:cxnLst>
              <a:rect l="0" t="0" r="r" b="b"/>
              <a:pathLst>
                <a:path w="40" h="17">
                  <a:moveTo>
                    <a:pt x="40" y="6"/>
                  </a:moveTo>
                  <a:cubicBezTo>
                    <a:pt x="34" y="0"/>
                    <a:pt x="16" y="11"/>
                    <a:pt x="22" y="14"/>
                  </a:cubicBezTo>
                  <a:cubicBezTo>
                    <a:pt x="25" y="17"/>
                    <a:pt x="40" y="9"/>
                    <a:pt x="40" y="6"/>
                  </a:cubicBezTo>
                  <a:close/>
                  <a:moveTo>
                    <a:pt x="19" y="0"/>
                  </a:moveTo>
                  <a:cubicBezTo>
                    <a:pt x="13" y="0"/>
                    <a:pt x="0" y="11"/>
                    <a:pt x="7" y="14"/>
                  </a:cubicBezTo>
                  <a:cubicBezTo>
                    <a:pt x="13" y="17"/>
                    <a:pt x="25" y="3"/>
                    <a:pt x="19"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89" name="Freeform 884"/>
            <p:cNvSpPr>
              <a:spLocks noEditPoints="1"/>
            </p:cNvSpPr>
            <p:nvPr userDrawn="1"/>
          </p:nvSpPr>
          <p:spPr bwMode="auto">
            <a:xfrm>
              <a:off x="2393" y="-143"/>
              <a:ext cx="63" cy="26"/>
            </a:xfrm>
            <a:custGeom>
              <a:avLst/>
              <a:gdLst>
                <a:gd name="T0" fmla="*/ 40 w 40"/>
                <a:gd name="T1" fmla="*/ 6 h 17"/>
                <a:gd name="T2" fmla="*/ 22 w 40"/>
                <a:gd name="T3" fmla="*/ 14 h 17"/>
                <a:gd name="T4" fmla="*/ 40 w 40"/>
                <a:gd name="T5" fmla="*/ 6 h 17"/>
                <a:gd name="T6" fmla="*/ 19 w 40"/>
                <a:gd name="T7" fmla="*/ 0 h 17"/>
                <a:gd name="T8" fmla="*/ 7 w 40"/>
                <a:gd name="T9" fmla="*/ 14 h 17"/>
                <a:gd name="T10" fmla="*/ 19 w 40"/>
                <a:gd name="T11" fmla="*/ 0 h 17"/>
              </a:gdLst>
              <a:ahLst/>
              <a:cxnLst>
                <a:cxn ang="0">
                  <a:pos x="T0" y="T1"/>
                </a:cxn>
                <a:cxn ang="0">
                  <a:pos x="T2" y="T3"/>
                </a:cxn>
                <a:cxn ang="0">
                  <a:pos x="T4" y="T5"/>
                </a:cxn>
                <a:cxn ang="0">
                  <a:pos x="T6" y="T7"/>
                </a:cxn>
                <a:cxn ang="0">
                  <a:pos x="T8" y="T9"/>
                </a:cxn>
                <a:cxn ang="0">
                  <a:pos x="T10" y="T11"/>
                </a:cxn>
              </a:cxnLst>
              <a:rect l="0" t="0" r="r" b="b"/>
              <a:pathLst>
                <a:path w="40" h="17">
                  <a:moveTo>
                    <a:pt x="40" y="6"/>
                  </a:moveTo>
                  <a:cubicBezTo>
                    <a:pt x="34" y="0"/>
                    <a:pt x="16" y="11"/>
                    <a:pt x="22" y="14"/>
                  </a:cubicBezTo>
                  <a:cubicBezTo>
                    <a:pt x="25" y="17"/>
                    <a:pt x="40" y="9"/>
                    <a:pt x="40" y="6"/>
                  </a:cubicBezTo>
                  <a:close/>
                  <a:moveTo>
                    <a:pt x="19" y="0"/>
                  </a:moveTo>
                  <a:cubicBezTo>
                    <a:pt x="13" y="0"/>
                    <a:pt x="0" y="11"/>
                    <a:pt x="7" y="14"/>
                  </a:cubicBezTo>
                  <a:cubicBezTo>
                    <a:pt x="13" y="17"/>
                    <a:pt x="25" y="3"/>
                    <a:pt x="19"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0" name="Freeform 885"/>
            <p:cNvSpPr>
              <a:spLocks noEditPoints="1"/>
            </p:cNvSpPr>
            <p:nvPr userDrawn="1"/>
          </p:nvSpPr>
          <p:spPr bwMode="auto">
            <a:xfrm>
              <a:off x="1853" y="-1170"/>
              <a:ext cx="294" cy="122"/>
            </a:xfrm>
            <a:custGeom>
              <a:avLst/>
              <a:gdLst>
                <a:gd name="T0" fmla="*/ 183 w 189"/>
                <a:gd name="T1" fmla="*/ 21 h 78"/>
                <a:gd name="T2" fmla="*/ 177 w 189"/>
                <a:gd name="T3" fmla="*/ 15 h 78"/>
                <a:gd name="T4" fmla="*/ 168 w 189"/>
                <a:gd name="T5" fmla="*/ 15 h 78"/>
                <a:gd name="T6" fmla="*/ 159 w 189"/>
                <a:gd name="T7" fmla="*/ 9 h 78"/>
                <a:gd name="T8" fmla="*/ 147 w 189"/>
                <a:gd name="T9" fmla="*/ 0 h 78"/>
                <a:gd name="T10" fmla="*/ 147 w 189"/>
                <a:gd name="T11" fmla="*/ 3 h 78"/>
                <a:gd name="T12" fmla="*/ 138 w 189"/>
                <a:gd name="T13" fmla="*/ 6 h 78"/>
                <a:gd name="T14" fmla="*/ 135 w 189"/>
                <a:gd name="T15" fmla="*/ 15 h 78"/>
                <a:gd name="T16" fmla="*/ 129 w 189"/>
                <a:gd name="T17" fmla="*/ 21 h 78"/>
                <a:gd name="T18" fmla="*/ 126 w 189"/>
                <a:gd name="T19" fmla="*/ 27 h 78"/>
                <a:gd name="T20" fmla="*/ 123 w 189"/>
                <a:gd name="T21" fmla="*/ 36 h 78"/>
                <a:gd name="T22" fmla="*/ 123 w 189"/>
                <a:gd name="T23" fmla="*/ 42 h 78"/>
                <a:gd name="T24" fmla="*/ 129 w 189"/>
                <a:gd name="T25" fmla="*/ 48 h 78"/>
                <a:gd name="T26" fmla="*/ 135 w 189"/>
                <a:gd name="T27" fmla="*/ 51 h 78"/>
                <a:gd name="T28" fmla="*/ 129 w 189"/>
                <a:gd name="T29" fmla="*/ 57 h 78"/>
                <a:gd name="T30" fmla="*/ 129 w 189"/>
                <a:gd name="T31" fmla="*/ 57 h 78"/>
                <a:gd name="T32" fmla="*/ 132 w 189"/>
                <a:gd name="T33" fmla="*/ 63 h 78"/>
                <a:gd name="T34" fmla="*/ 132 w 189"/>
                <a:gd name="T35" fmla="*/ 69 h 78"/>
                <a:gd name="T36" fmla="*/ 141 w 189"/>
                <a:gd name="T37" fmla="*/ 72 h 78"/>
                <a:gd name="T38" fmla="*/ 147 w 189"/>
                <a:gd name="T39" fmla="*/ 69 h 78"/>
                <a:gd name="T40" fmla="*/ 159 w 189"/>
                <a:gd name="T41" fmla="*/ 51 h 78"/>
                <a:gd name="T42" fmla="*/ 180 w 189"/>
                <a:gd name="T43" fmla="*/ 39 h 78"/>
                <a:gd name="T44" fmla="*/ 186 w 189"/>
                <a:gd name="T45" fmla="*/ 30 h 78"/>
                <a:gd name="T46" fmla="*/ 183 w 189"/>
                <a:gd name="T47" fmla="*/ 21 h 78"/>
                <a:gd name="T48" fmla="*/ 6 w 189"/>
                <a:gd name="T49" fmla="*/ 18 h 78"/>
                <a:gd name="T50" fmla="*/ 12 w 189"/>
                <a:gd name="T51" fmla="*/ 30 h 78"/>
                <a:gd name="T52" fmla="*/ 6 w 189"/>
                <a:gd name="T53" fmla="*/ 1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78">
                  <a:moveTo>
                    <a:pt x="183" y="21"/>
                  </a:moveTo>
                  <a:cubicBezTo>
                    <a:pt x="180" y="15"/>
                    <a:pt x="177" y="12"/>
                    <a:pt x="177" y="15"/>
                  </a:cubicBezTo>
                  <a:cubicBezTo>
                    <a:pt x="174" y="15"/>
                    <a:pt x="171" y="15"/>
                    <a:pt x="168" y="15"/>
                  </a:cubicBezTo>
                  <a:cubicBezTo>
                    <a:pt x="165" y="12"/>
                    <a:pt x="162" y="9"/>
                    <a:pt x="159" y="9"/>
                  </a:cubicBezTo>
                  <a:cubicBezTo>
                    <a:pt x="159" y="9"/>
                    <a:pt x="150" y="6"/>
                    <a:pt x="147" y="0"/>
                  </a:cubicBezTo>
                  <a:cubicBezTo>
                    <a:pt x="147" y="3"/>
                    <a:pt x="147" y="3"/>
                    <a:pt x="147" y="3"/>
                  </a:cubicBezTo>
                  <a:cubicBezTo>
                    <a:pt x="147" y="6"/>
                    <a:pt x="144" y="6"/>
                    <a:pt x="138" y="6"/>
                  </a:cubicBezTo>
                  <a:cubicBezTo>
                    <a:pt x="135" y="6"/>
                    <a:pt x="135" y="12"/>
                    <a:pt x="135" y="15"/>
                  </a:cubicBezTo>
                  <a:cubicBezTo>
                    <a:pt x="135" y="18"/>
                    <a:pt x="132" y="18"/>
                    <a:pt x="129" y="21"/>
                  </a:cubicBezTo>
                  <a:cubicBezTo>
                    <a:pt x="129" y="24"/>
                    <a:pt x="129" y="27"/>
                    <a:pt x="126" y="27"/>
                  </a:cubicBezTo>
                  <a:cubicBezTo>
                    <a:pt x="123" y="30"/>
                    <a:pt x="123" y="33"/>
                    <a:pt x="123" y="36"/>
                  </a:cubicBezTo>
                  <a:cubicBezTo>
                    <a:pt x="126" y="39"/>
                    <a:pt x="123" y="42"/>
                    <a:pt x="123" y="42"/>
                  </a:cubicBezTo>
                  <a:cubicBezTo>
                    <a:pt x="123" y="45"/>
                    <a:pt x="126" y="45"/>
                    <a:pt x="129" y="48"/>
                  </a:cubicBezTo>
                  <a:cubicBezTo>
                    <a:pt x="132" y="51"/>
                    <a:pt x="135" y="48"/>
                    <a:pt x="135" y="51"/>
                  </a:cubicBezTo>
                  <a:cubicBezTo>
                    <a:pt x="138" y="51"/>
                    <a:pt x="135" y="57"/>
                    <a:pt x="129" y="57"/>
                  </a:cubicBezTo>
                  <a:cubicBezTo>
                    <a:pt x="129" y="57"/>
                    <a:pt x="129" y="57"/>
                    <a:pt x="129" y="57"/>
                  </a:cubicBezTo>
                  <a:cubicBezTo>
                    <a:pt x="132" y="60"/>
                    <a:pt x="132" y="60"/>
                    <a:pt x="132" y="63"/>
                  </a:cubicBezTo>
                  <a:cubicBezTo>
                    <a:pt x="129" y="66"/>
                    <a:pt x="129" y="66"/>
                    <a:pt x="132" y="69"/>
                  </a:cubicBezTo>
                  <a:cubicBezTo>
                    <a:pt x="135" y="72"/>
                    <a:pt x="138" y="66"/>
                    <a:pt x="141" y="72"/>
                  </a:cubicBezTo>
                  <a:cubicBezTo>
                    <a:pt x="144" y="75"/>
                    <a:pt x="144" y="78"/>
                    <a:pt x="147" y="69"/>
                  </a:cubicBezTo>
                  <a:cubicBezTo>
                    <a:pt x="150" y="63"/>
                    <a:pt x="153" y="54"/>
                    <a:pt x="159" y="51"/>
                  </a:cubicBezTo>
                  <a:cubicBezTo>
                    <a:pt x="165" y="51"/>
                    <a:pt x="174" y="48"/>
                    <a:pt x="180" y="39"/>
                  </a:cubicBezTo>
                  <a:cubicBezTo>
                    <a:pt x="186" y="33"/>
                    <a:pt x="183" y="30"/>
                    <a:pt x="186" y="30"/>
                  </a:cubicBezTo>
                  <a:cubicBezTo>
                    <a:pt x="189" y="27"/>
                    <a:pt x="189" y="24"/>
                    <a:pt x="183" y="21"/>
                  </a:cubicBezTo>
                  <a:close/>
                  <a:moveTo>
                    <a:pt x="6" y="18"/>
                  </a:moveTo>
                  <a:cubicBezTo>
                    <a:pt x="0" y="24"/>
                    <a:pt x="12" y="33"/>
                    <a:pt x="12" y="30"/>
                  </a:cubicBezTo>
                  <a:cubicBezTo>
                    <a:pt x="15" y="24"/>
                    <a:pt x="12" y="9"/>
                    <a:pt x="6"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1" name="Freeform 886"/>
            <p:cNvSpPr>
              <a:spLocks noEditPoints="1"/>
            </p:cNvSpPr>
            <p:nvPr userDrawn="1"/>
          </p:nvSpPr>
          <p:spPr bwMode="auto">
            <a:xfrm>
              <a:off x="1853" y="-1170"/>
              <a:ext cx="294" cy="122"/>
            </a:xfrm>
            <a:custGeom>
              <a:avLst/>
              <a:gdLst>
                <a:gd name="T0" fmla="*/ 183 w 189"/>
                <a:gd name="T1" fmla="*/ 21 h 78"/>
                <a:gd name="T2" fmla="*/ 177 w 189"/>
                <a:gd name="T3" fmla="*/ 15 h 78"/>
                <a:gd name="T4" fmla="*/ 168 w 189"/>
                <a:gd name="T5" fmla="*/ 15 h 78"/>
                <a:gd name="T6" fmla="*/ 159 w 189"/>
                <a:gd name="T7" fmla="*/ 9 h 78"/>
                <a:gd name="T8" fmla="*/ 147 w 189"/>
                <a:gd name="T9" fmla="*/ 0 h 78"/>
                <a:gd name="T10" fmla="*/ 147 w 189"/>
                <a:gd name="T11" fmla="*/ 3 h 78"/>
                <a:gd name="T12" fmla="*/ 138 w 189"/>
                <a:gd name="T13" fmla="*/ 6 h 78"/>
                <a:gd name="T14" fmla="*/ 135 w 189"/>
                <a:gd name="T15" fmla="*/ 15 h 78"/>
                <a:gd name="T16" fmla="*/ 129 w 189"/>
                <a:gd name="T17" fmla="*/ 21 h 78"/>
                <a:gd name="T18" fmla="*/ 126 w 189"/>
                <a:gd name="T19" fmla="*/ 27 h 78"/>
                <a:gd name="T20" fmla="*/ 123 w 189"/>
                <a:gd name="T21" fmla="*/ 36 h 78"/>
                <a:gd name="T22" fmla="*/ 123 w 189"/>
                <a:gd name="T23" fmla="*/ 42 h 78"/>
                <a:gd name="T24" fmla="*/ 129 w 189"/>
                <a:gd name="T25" fmla="*/ 48 h 78"/>
                <a:gd name="T26" fmla="*/ 135 w 189"/>
                <a:gd name="T27" fmla="*/ 51 h 78"/>
                <a:gd name="T28" fmla="*/ 129 w 189"/>
                <a:gd name="T29" fmla="*/ 57 h 78"/>
                <a:gd name="T30" fmla="*/ 129 w 189"/>
                <a:gd name="T31" fmla="*/ 57 h 78"/>
                <a:gd name="T32" fmla="*/ 132 w 189"/>
                <a:gd name="T33" fmla="*/ 63 h 78"/>
                <a:gd name="T34" fmla="*/ 132 w 189"/>
                <a:gd name="T35" fmla="*/ 69 h 78"/>
                <a:gd name="T36" fmla="*/ 141 w 189"/>
                <a:gd name="T37" fmla="*/ 72 h 78"/>
                <a:gd name="T38" fmla="*/ 147 w 189"/>
                <a:gd name="T39" fmla="*/ 69 h 78"/>
                <a:gd name="T40" fmla="*/ 159 w 189"/>
                <a:gd name="T41" fmla="*/ 51 h 78"/>
                <a:gd name="T42" fmla="*/ 180 w 189"/>
                <a:gd name="T43" fmla="*/ 39 h 78"/>
                <a:gd name="T44" fmla="*/ 186 w 189"/>
                <a:gd name="T45" fmla="*/ 30 h 78"/>
                <a:gd name="T46" fmla="*/ 183 w 189"/>
                <a:gd name="T47" fmla="*/ 21 h 78"/>
                <a:gd name="T48" fmla="*/ 6 w 189"/>
                <a:gd name="T49" fmla="*/ 18 h 78"/>
                <a:gd name="T50" fmla="*/ 12 w 189"/>
                <a:gd name="T51" fmla="*/ 30 h 78"/>
                <a:gd name="T52" fmla="*/ 6 w 189"/>
                <a:gd name="T53" fmla="*/ 1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78">
                  <a:moveTo>
                    <a:pt x="183" y="21"/>
                  </a:moveTo>
                  <a:cubicBezTo>
                    <a:pt x="180" y="15"/>
                    <a:pt x="177" y="12"/>
                    <a:pt x="177" y="15"/>
                  </a:cubicBezTo>
                  <a:cubicBezTo>
                    <a:pt x="174" y="15"/>
                    <a:pt x="171" y="15"/>
                    <a:pt x="168" y="15"/>
                  </a:cubicBezTo>
                  <a:cubicBezTo>
                    <a:pt x="165" y="12"/>
                    <a:pt x="162" y="9"/>
                    <a:pt x="159" y="9"/>
                  </a:cubicBezTo>
                  <a:cubicBezTo>
                    <a:pt x="159" y="9"/>
                    <a:pt x="150" y="6"/>
                    <a:pt x="147" y="0"/>
                  </a:cubicBezTo>
                  <a:cubicBezTo>
                    <a:pt x="147" y="3"/>
                    <a:pt x="147" y="3"/>
                    <a:pt x="147" y="3"/>
                  </a:cubicBezTo>
                  <a:cubicBezTo>
                    <a:pt x="147" y="6"/>
                    <a:pt x="144" y="6"/>
                    <a:pt x="138" y="6"/>
                  </a:cubicBezTo>
                  <a:cubicBezTo>
                    <a:pt x="135" y="6"/>
                    <a:pt x="135" y="12"/>
                    <a:pt x="135" y="15"/>
                  </a:cubicBezTo>
                  <a:cubicBezTo>
                    <a:pt x="135" y="18"/>
                    <a:pt x="132" y="18"/>
                    <a:pt x="129" y="21"/>
                  </a:cubicBezTo>
                  <a:cubicBezTo>
                    <a:pt x="129" y="24"/>
                    <a:pt x="129" y="27"/>
                    <a:pt x="126" y="27"/>
                  </a:cubicBezTo>
                  <a:cubicBezTo>
                    <a:pt x="123" y="30"/>
                    <a:pt x="123" y="33"/>
                    <a:pt x="123" y="36"/>
                  </a:cubicBezTo>
                  <a:cubicBezTo>
                    <a:pt x="126" y="39"/>
                    <a:pt x="123" y="42"/>
                    <a:pt x="123" y="42"/>
                  </a:cubicBezTo>
                  <a:cubicBezTo>
                    <a:pt x="123" y="45"/>
                    <a:pt x="126" y="45"/>
                    <a:pt x="129" y="48"/>
                  </a:cubicBezTo>
                  <a:cubicBezTo>
                    <a:pt x="132" y="51"/>
                    <a:pt x="135" y="48"/>
                    <a:pt x="135" y="51"/>
                  </a:cubicBezTo>
                  <a:cubicBezTo>
                    <a:pt x="138" y="51"/>
                    <a:pt x="135" y="57"/>
                    <a:pt x="129" y="57"/>
                  </a:cubicBezTo>
                  <a:cubicBezTo>
                    <a:pt x="129" y="57"/>
                    <a:pt x="129" y="57"/>
                    <a:pt x="129" y="57"/>
                  </a:cubicBezTo>
                  <a:cubicBezTo>
                    <a:pt x="132" y="60"/>
                    <a:pt x="132" y="60"/>
                    <a:pt x="132" y="63"/>
                  </a:cubicBezTo>
                  <a:cubicBezTo>
                    <a:pt x="129" y="66"/>
                    <a:pt x="129" y="66"/>
                    <a:pt x="132" y="69"/>
                  </a:cubicBezTo>
                  <a:cubicBezTo>
                    <a:pt x="135" y="72"/>
                    <a:pt x="138" y="66"/>
                    <a:pt x="141" y="72"/>
                  </a:cubicBezTo>
                  <a:cubicBezTo>
                    <a:pt x="144" y="75"/>
                    <a:pt x="144" y="78"/>
                    <a:pt x="147" y="69"/>
                  </a:cubicBezTo>
                  <a:cubicBezTo>
                    <a:pt x="150" y="63"/>
                    <a:pt x="153" y="54"/>
                    <a:pt x="159" y="51"/>
                  </a:cubicBezTo>
                  <a:cubicBezTo>
                    <a:pt x="165" y="51"/>
                    <a:pt x="174" y="48"/>
                    <a:pt x="180" y="39"/>
                  </a:cubicBezTo>
                  <a:cubicBezTo>
                    <a:pt x="186" y="33"/>
                    <a:pt x="183" y="30"/>
                    <a:pt x="186" y="30"/>
                  </a:cubicBezTo>
                  <a:cubicBezTo>
                    <a:pt x="189" y="27"/>
                    <a:pt x="189" y="24"/>
                    <a:pt x="183" y="21"/>
                  </a:cubicBezTo>
                  <a:close/>
                  <a:moveTo>
                    <a:pt x="6" y="18"/>
                  </a:moveTo>
                  <a:cubicBezTo>
                    <a:pt x="0" y="24"/>
                    <a:pt x="12" y="33"/>
                    <a:pt x="12" y="30"/>
                  </a:cubicBezTo>
                  <a:cubicBezTo>
                    <a:pt x="15" y="24"/>
                    <a:pt x="12" y="9"/>
                    <a:pt x="6"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2" name="Freeform 887"/>
            <p:cNvSpPr>
              <a:spLocks noEditPoints="1"/>
            </p:cNvSpPr>
            <p:nvPr userDrawn="1"/>
          </p:nvSpPr>
          <p:spPr bwMode="auto">
            <a:xfrm>
              <a:off x="2194" y="-3160"/>
              <a:ext cx="1075" cy="806"/>
            </a:xfrm>
            <a:custGeom>
              <a:avLst/>
              <a:gdLst>
                <a:gd name="T0" fmla="*/ 606 w 690"/>
                <a:gd name="T1" fmla="*/ 58 h 517"/>
                <a:gd name="T2" fmla="*/ 555 w 690"/>
                <a:gd name="T3" fmla="*/ 82 h 517"/>
                <a:gd name="T4" fmla="*/ 552 w 690"/>
                <a:gd name="T5" fmla="*/ 52 h 517"/>
                <a:gd name="T6" fmla="*/ 492 w 690"/>
                <a:gd name="T7" fmla="*/ 46 h 517"/>
                <a:gd name="T8" fmla="*/ 549 w 690"/>
                <a:gd name="T9" fmla="*/ 37 h 517"/>
                <a:gd name="T10" fmla="*/ 546 w 690"/>
                <a:gd name="T11" fmla="*/ 16 h 517"/>
                <a:gd name="T12" fmla="*/ 465 w 690"/>
                <a:gd name="T13" fmla="*/ 0 h 517"/>
                <a:gd name="T14" fmla="*/ 393 w 690"/>
                <a:gd name="T15" fmla="*/ 9 h 517"/>
                <a:gd name="T16" fmla="*/ 336 w 690"/>
                <a:gd name="T17" fmla="*/ 9 h 517"/>
                <a:gd name="T18" fmla="*/ 291 w 690"/>
                <a:gd name="T19" fmla="*/ 31 h 517"/>
                <a:gd name="T20" fmla="*/ 279 w 690"/>
                <a:gd name="T21" fmla="*/ 37 h 517"/>
                <a:gd name="T22" fmla="*/ 246 w 690"/>
                <a:gd name="T23" fmla="*/ 46 h 517"/>
                <a:gd name="T24" fmla="*/ 216 w 690"/>
                <a:gd name="T25" fmla="*/ 58 h 517"/>
                <a:gd name="T26" fmla="*/ 162 w 690"/>
                <a:gd name="T27" fmla="*/ 46 h 517"/>
                <a:gd name="T28" fmla="*/ 132 w 690"/>
                <a:gd name="T29" fmla="*/ 70 h 517"/>
                <a:gd name="T30" fmla="*/ 87 w 690"/>
                <a:gd name="T31" fmla="*/ 100 h 517"/>
                <a:gd name="T32" fmla="*/ 0 w 690"/>
                <a:gd name="T33" fmla="*/ 142 h 517"/>
                <a:gd name="T34" fmla="*/ 54 w 690"/>
                <a:gd name="T35" fmla="*/ 157 h 517"/>
                <a:gd name="T36" fmla="*/ 15 w 690"/>
                <a:gd name="T37" fmla="*/ 172 h 517"/>
                <a:gd name="T38" fmla="*/ 48 w 690"/>
                <a:gd name="T39" fmla="*/ 193 h 517"/>
                <a:gd name="T40" fmla="*/ 93 w 690"/>
                <a:gd name="T41" fmla="*/ 193 h 517"/>
                <a:gd name="T42" fmla="*/ 162 w 690"/>
                <a:gd name="T43" fmla="*/ 211 h 517"/>
                <a:gd name="T44" fmla="*/ 195 w 690"/>
                <a:gd name="T45" fmla="*/ 256 h 517"/>
                <a:gd name="T46" fmla="*/ 201 w 690"/>
                <a:gd name="T47" fmla="*/ 298 h 517"/>
                <a:gd name="T48" fmla="*/ 243 w 690"/>
                <a:gd name="T49" fmla="*/ 313 h 517"/>
                <a:gd name="T50" fmla="*/ 240 w 690"/>
                <a:gd name="T51" fmla="*/ 328 h 517"/>
                <a:gd name="T52" fmla="*/ 234 w 690"/>
                <a:gd name="T53" fmla="*/ 355 h 517"/>
                <a:gd name="T54" fmla="*/ 225 w 690"/>
                <a:gd name="T55" fmla="*/ 391 h 517"/>
                <a:gd name="T56" fmla="*/ 234 w 690"/>
                <a:gd name="T57" fmla="*/ 436 h 517"/>
                <a:gd name="T58" fmla="*/ 255 w 690"/>
                <a:gd name="T59" fmla="*/ 463 h 517"/>
                <a:gd name="T60" fmla="*/ 285 w 690"/>
                <a:gd name="T61" fmla="*/ 499 h 517"/>
                <a:gd name="T62" fmla="*/ 330 w 690"/>
                <a:gd name="T63" fmla="*/ 514 h 517"/>
                <a:gd name="T64" fmla="*/ 342 w 690"/>
                <a:gd name="T65" fmla="*/ 472 h 517"/>
                <a:gd name="T66" fmla="*/ 363 w 690"/>
                <a:gd name="T67" fmla="*/ 448 h 517"/>
                <a:gd name="T68" fmla="*/ 363 w 690"/>
                <a:gd name="T69" fmla="*/ 427 h 517"/>
                <a:gd name="T70" fmla="*/ 384 w 690"/>
                <a:gd name="T71" fmla="*/ 412 h 517"/>
                <a:gd name="T72" fmla="*/ 399 w 690"/>
                <a:gd name="T73" fmla="*/ 409 h 517"/>
                <a:gd name="T74" fmla="*/ 459 w 690"/>
                <a:gd name="T75" fmla="*/ 370 h 517"/>
                <a:gd name="T76" fmla="*/ 498 w 690"/>
                <a:gd name="T77" fmla="*/ 358 h 517"/>
                <a:gd name="T78" fmla="*/ 576 w 690"/>
                <a:gd name="T79" fmla="*/ 325 h 517"/>
                <a:gd name="T80" fmla="*/ 534 w 690"/>
                <a:gd name="T81" fmla="*/ 316 h 517"/>
                <a:gd name="T82" fmla="*/ 576 w 690"/>
                <a:gd name="T83" fmla="*/ 319 h 517"/>
                <a:gd name="T84" fmla="*/ 567 w 690"/>
                <a:gd name="T85" fmla="*/ 280 h 517"/>
                <a:gd name="T86" fmla="*/ 546 w 690"/>
                <a:gd name="T87" fmla="*/ 262 h 517"/>
                <a:gd name="T88" fmla="*/ 594 w 690"/>
                <a:gd name="T89" fmla="*/ 253 h 517"/>
                <a:gd name="T90" fmla="*/ 609 w 690"/>
                <a:gd name="T91" fmla="*/ 229 h 517"/>
                <a:gd name="T92" fmla="*/ 603 w 690"/>
                <a:gd name="T93" fmla="*/ 193 h 517"/>
                <a:gd name="T94" fmla="*/ 588 w 690"/>
                <a:gd name="T95" fmla="*/ 178 h 517"/>
                <a:gd name="T96" fmla="*/ 594 w 690"/>
                <a:gd name="T97" fmla="*/ 163 h 517"/>
                <a:gd name="T98" fmla="*/ 576 w 690"/>
                <a:gd name="T99" fmla="*/ 154 h 517"/>
                <a:gd name="T100" fmla="*/ 624 w 690"/>
                <a:gd name="T101" fmla="*/ 106 h 517"/>
                <a:gd name="T102" fmla="*/ 612 w 690"/>
                <a:gd name="T103" fmla="*/ 94 h 517"/>
                <a:gd name="T104" fmla="*/ 624 w 690"/>
                <a:gd name="T105" fmla="*/ 82 h 517"/>
                <a:gd name="T106" fmla="*/ 690 w 690"/>
                <a:gd name="T107" fmla="*/ 58 h 517"/>
                <a:gd name="T108" fmla="*/ 228 w 690"/>
                <a:gd name="T109" fmla="*/ 328 h 517"/>
                <a:gd name="T110" fmla="*/ 216 w 690"/>
                <a:gd name="T111" fmla="*/ 34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0" h="517">
                  <a:moveTo>
                    <a:pt x="651" y="46"/>
                  </a:moveTo>
                  <a:cubicBezTo>
                    <a:pt x="639" y="46"/>
                    <a:pt x="630" y="49"/>
                    <a:pt x="627" y="58"/>
                  </a:cubicBezTo>
                  <a:cubicBezTo>
                    <a:pt x="627" y="67"/>
                    <a:pt x="612" y="55"/>
                    <a:pt x="606" y="58"/>
                  </a:cubicBezTo>
                  <a:cubicBezTo>
                    <a:pt x="597" y="61"/>
                    <a:pt x="603" y="52"/>
                    <a:pt x="594" y="55"/>
                  </a:cubicBezTo>
                  <a:cubicBezTo>
                    <a:pt x="588" y="58"/>
                    <a:pt x="582" y="67"/>
                    <a:pt x="573" y="70"/>
                  </a:cubicBezTo>
                  <a:cubicBezTo>
                    <a:pt x="564" y="73"/>
                    <a:pt x="558" y="82"/>
                    <a:pt x="555" y="82"/>
                  </a:cubicBezTo>
                  <a:cubicBezTo>
                    <a:pt x="549" y="82"/>
                    <a:pt x="564" y="67"/>
                    <a:pt x="573" y="58"/>
                  </a:cubicBezTo>
                  <a:cubicBezTo>
                    <a:pt x="582" y="52"/>
                    <a:pt x="576" y="43"/>
                    <a:pt x="567" y="43"/>
                  </a:cubicBezTo>
                  <a:cubicBezTo>
                    <a:pt x="555" y="43"/>
                    <a:pt x="558" y="52"/>
                    <a:pt x="552" y="52"/>
                  </a:cubicBezTo>
                  <a:cubicBezTo>
                    <a:pt x="546" y="52"/>
                    <a:pt x="516" y="67"/>
                    <a:pt x="516" y="64"/>
                  </a:cubicBezTo>
                  <a:cubicBezTo>
                    <a:pt x="513" y="58"/>
                    <a:pt x="540" y="52"/>
                    <a:pt x="540" y="49"/>
                  </a:cubicBezTo>
                  <a:cubicBezTo>
                    <a:pt x="537" y="46"/>
                    <a:pt x="507" y="46"/>
                    <a:pt x="492" y="46"/>
                  </a:cubicBezTo>
                  <a:cubicBezTo>
                    <a:pt x="480" y="49"/>
                    <a:pt x="453" y="58"/>
                    <a:pt x="453" y="52"/>
                  </a:cubicBezTo>
                  <a:cubicBezTo>
                    <a:pt x="453" y="49"/>
                    <a:pt x="483" y="43"/>
                    <a:pt x="498" y="43"/>
                  </a:cubicBezTo>
                  <a:cubicBezTo>
                    <a:pt x="513" y="40"/>
                    <a:pt x="540" y="43"/>
                    <a:pt x="549" y="37"/>
                  </a:cubicBezTo>
                  <a:cubicBezTo>
                    <a:pt x="561" y="34"/>
                    <a:pt x="579" y="34"/>
                    <a:pt x="582" y="31"/>
                  </a:cubicBezTo>
                  <a:cubicBezTo>
                    <a:pt x="585" y="25"/>
                    <a:pt x="570" y="22"/>
                    <a:pt x="561" y="22"/>
                  </a:cubicBezTo>
                  <a:cubicBezTo>
                    <a:pt x="552" y="22"/>
                    <a:pt x="546" y="22"/>
                    <a:pt x="546" y="16"/>
                  </a:cubicBezTo>
                  <a:cubicBezTo>
                    <a:pt x="546" y="13"/>
                    <a:pt x="534" y="13"/>
                    <a:pt x="531" y="9"/>
                  </a:cubicBezTo>
                  <a:cubicBezTo>
                    <a:pt x="531" y="6"/>
                    <a:pt x="504" y="6"/>
                    <a:pt x="501" y="3"/>
                  </a:cubicBezTo>
                  <a:cubicBezTo>
                    <a:pt x="495" y="0"/>
                    <a:pt x="480" y="0"/>
                    <a:pt x="465" y="0"/>
                  </a:cubicBezTo>
                  <a:cubicBezTo>
                    <a:pt x="453" y="0"/>
                    <a:pt x="426" y="0"/>
                    <a:pt x="420" y="0"/>
                  </a:cubicBezTo>
                  <a:cubicBezTo>
                    <a:pt x="411" y="3"/>
                    <a:pt x="408" y="3"/>
                    <a:pt x="402" y="3"/>
                  </a:cubicBezTo>
                  <a:cubicBezTo>
                    <a:pt x="396" y="3"/>
                    <a:pt x="387" y="6"/>
                    <a:pt x="393" y="9"/>
                  </a:cubicBezTo>
                  <a:cubicBezTo>
                    <a:pt x="399" y="16"/>
                    <a:pt x="384" y="19"/>
                    <a:pt x="384" y="13"/>
                  </a:cubicBezTo>
                  <a:cubicBezTo>
                    <a:pt x="384" y="9"/>
                    <a:pt x="372" y="6"/>
                    <a:pt x="366" y="9"/>
                  </a:cubicBezTo>
                  <a:cubicBezTo>
                    <a:pt x="360" y="16"/>
                    <a:pt x="339" y="6"/>
                    <a:pt x="336" y="9"/>
                  </a:cubicBezTo>
                  <a:cubicBezTo>
                    <a:pt x="333" y="16"/>
                    <a:pt x="306" y="13"/>
                    <a:pt x="297" y="16"/>
                  </a:cubicBezTo>
                  <a:cubicBezTo>
                    <a:pt x="291" y="16"/>
                    <a:pt x="309" y="22"/>
                    <a:pt x="309" y="25"/>
                  </a:cubicBezTo>
                  <a:cubicBezTo>
                    <a:pt x="309" y="28"/>
                    <a:pt x="285" y="25"/>
                    <a:pt x="291" y="31"/>
                  </a:cubicBezTo>
                  <a:cubicBezTo>
                    <a:pt x="294" y="37"/>
                    <a:pt x="312" y="43"/>
                    <a:pt x="318" y="49"/>
                  </a:cubicBezTo>
                  <a:cubicBezTo>
                    <a:pt x="327" y="58"/>
                    <a:pt x="312" y="52"/>
                    <a:pt x="303" y="46"/>
                  </a:cubicBezTo>
                  <a:cubicBezTo>
                    <a:pt x="294" y="40"/>
                    <a:pt x="285" y="43"/>
                    <a:pt x="279" y="37"/>
                  </a:cubicBezTo>
                  <a:cubicBezTo>
                    <a:pt x="273" y="31"/>
                    <a:pt x="252" y="28"/>
                    <a:pt x="249" y="31"/>
                  </a:cubicBezTo>
                  <a:cubicBezTo>
                    <a:pt x="243" y="34"/>
                    <a:pt x="261" y="43"/>
                    <a:pt x="261" y="46"/>
                  </a:cubicBezTo>
                  <a:cubicBezTo>
                    <a:pt x="261" y="52"/>
                    <a:pt x="249" y="46"/>
                    <a:pt x="246" y="46"/>
                  </a:cubicBezTo>
                  <a:cubicBezTo>
                    <a:pt x="243" y="49"/>
                    <a:pt x="231" y="37"/>
                    <a:pt x="225" y="37"/>
                  </a:cubicBezTo>
                  <a:cubicBezTo>
                    <a:pt x="219" y="37"/>
                    <a:pt x="225" y="43"/>
                    <a:pt x="225" y="49"/>
                  </a:cubicBezTo>
                  <a:cubicBezTo>
                    <a:pt x="225" y="58"/>
                    <a:pt x="213" y="64"/>
                    <a:pt x="216" y="58"/>
                  </a:cubicBezTo>
                  <a:cubicBezTo>
                    <a:pt x="219" y="52"/>
                    <a:pt x="216" y="37"/>
                    <a:pt x="210" y="34"/>
                  </a:cubicBezTo>
                  <a:cubicBezTo>
                    <a:pt x="201" y="31"/>
                    <a:pt x="183" y="40"/>
                    <a:pt x="174" y="40"/>
                  </a:cubicBezTo>
                  <a:cubicBezTo>
                    <a:pt x="165" y="40"/>
                    <a:pt x="153" y="43"/>
                    <a:pt x="162" y="46"/>
                  </a:cubicBezTo>
                  <a:cubicBezTo>
                    <a:pt x="168" y="52"/>
                    <a:pt x="162" y="55"/>
                    <a:pt x="153" y="49"/>
                  </a:cubicBezTo>
                  <a:cubicBezTo>
                    <a:pt x="147" y="46"/>
                    <a:pt x="123" y="49"/>
                    <a:pt x="129" y="52"/>
                  </a:cubicBezTo>
                  <a:cubicBezTo>
                    <a:pt x="132" y="55"/>
                    <a:pt x="135" y="67"/>
                    <a:pt x="132" y="70"/>
                  </a:cubicBezTo>
                  <a:cubicBezTo>
                    <a:pt x="129" y="73"/>
                    <a:pt x="120" y="67"/>
                    <a:pt x="111" y="67"/>
                  </a:cubicBezTo>
                  <a:cubicBezTo>
                    <a:pt x="102" y="67"/>
                    <a:pt x="57" y="88"/>
                    <a:pt x="60" y="94"/>
                  </a:cubicBezTo>
                  <a:cubicBezTo>
                    <a:pt x="63" y="100"/>
                    <a:pt x="81" y="94"/>
                    <a:pt x="87" y="100"/>
                  </a:cubicBezTo>
                  <a:cubicBezTo>
                    <a:pt x="93" y="103"/>
                    <a:pt x="84" y="115"/>
                    <a:pt x="78" y="118"/>
                  </a:cubicBezTo>
                  <a:cubicBezTo>
                    <a:pt x="69" y="124"/>
                    <a:pt x="42" y="121"/>
                    <a:pt x="42" y="127"/>
                  </a:cubicBezTo>
                  <a:cubicBezTo>
                    <a:pt x="42" y="133"/>
                    <a:pt x="0" y="133"/>
                    <a:pt x="0" y="142"/>
                  </a:cubicBezTo>
                  <a:cubicBezTo>
                    <a:pt x="0" y="145"/>
                    <a:pt x="0" y="151"/>
                    <a:pt x="6" y="151"/>
                  </a:cubicBezTo>
                  <a:cubicBezTo>
                    <a:pt x="12" y="151"/>
                    <a:pt x="18" y="151"/>
                    <a:pt x="24" y="157"/>
                  </a:cubicBezTo>
                  <a:cubicBezTo>
                    <a:pt x="30" y="163"/>
                    <a:pt x="45" y="163"/>
                    <a:pt x="54" y="157"/>
                  </a:cubicBezTo>
                  <a:cubicBezTo>
                    <a:pt x="66" y="154"/>
                    <a:pt x="72" y="160"/>
                    <a:pt x="72" y="166"/>
                  </a:cubicBezTo>
                  <a:cubicBezTo>
                    <a:pt x="72" y="172"/>
                    <a:pt x="51" y="163"/>
                    <a:pt x="42" y="166"/>
                  </a:cubicBezTo>
                  <a:cubicBezTo>
                    <a:pt x="36" y="172"/>
                    <a:pt x="15" y="169"/>
                    <a:pt x="15" y="172"/>
                  </a:cubicBezTo>
                  <a:cubicBezTo>
                    <a:pt x="15" y="178"/>
                    <a:pt x="27" y="175"/>
                    <a:pt x="36" y="178"/>
                  </a:cubicBezTo>
                  <a:cubicBezTo>
                    <a:pt x="45" y="178"/>
                    <a:pt x="36" y="184"/>
                    <a:pt x="36" y="187"/>
                  </a:cubicBezTo>
                  <a:cubicBezTo>
                    <a:pt x="36" y="190"/>
                    <a:pt x="39" y="190"/>
                    <a:pt x="48" y="193"/>
                  </a:cubicBezTo>
                  <a:cubicBezTo>
                    <a:pt x="57" y="199"/>
                    <a:pt x="72" y="202"/>
                    <a:pt x="66" y="196"/>
                  </a:cubicBezTo>
                  <a:cubicBezTo>
                    <a:pt x="63" y="190"/>
                    <a:pt x="75" y="193"/>
                    <a:pt x="78" y="196"/>
                  </a:cubicBezTo>
                  <a:cubicBezTo>
                    <a:pt x="81" y="199"/>
                    <a:pt x="87" y="190"/>
                    <a:pt x="93" y="193"/>
                  </a:cubicBezTo>
                  <a:cubicBezTo>
                    <a:pt x="99" y="193"/>
                    <a:pt x="102" y="187"/>
                    <a:pt x="108" y="190"/>
                  </a:cubicBezTo>
                  <a:cubicBezTo>
                    <a:pt x="111" y="193"/>
                    <a:pt x="135" y="196"/>
                    <a:pt x="144" y="199"/>
                  </a:cubicBezTo>
                  <a:cubicBezTo>
                    <a:pt x="153" y="202"/>
                    <a:pt x="162" y="205"/>
                    <a:pt x="162" y="211"/>
                  </a:cubicBezTo>
                  <a:cubicBezTo>
                    <a:pt x="162" y="217"/>
                    <a:pt x="168" y="223"/>
                    <a:pt x="177" y="226"/>
                  </a:cubicBezTo>
                  <a:cubicBezTo>
                    <a:pt x="186" y="229"/>
                    <a:pt x="189" y="238"/>
                    <a:pt x="189" y="244"/>
                  </a:cubicBezTo>
                  <a:cubicBezTo>
                    <a:pt x="186" y="250"/>
                    <a:pt x="198" y="253"/>
                    <a:pt x="195" y="256"/>
                  </a:cubicBezTo>
                  <a:cubicBezTo>
                    <a:pt x="195" y="259"/>
                    <a:pt x="195" y="262"/>
                    <a:pt x="201" y="268"/>
                  </a:cubicBezTo>
                  <a:cubicBezTo>
                    <a:pt x="207" y="274"/>
                    <a:pt x="192" y="277"/>
                    <a:pt x="195" y="283"/>
                  </a:cubicBezTo>
                  <a:cubicBezTo>
                    <a:pt x="198" y="286"/>
                    <a:pt x="189" y="295"/>
                    <a:pt x="201" y="298"/>
                  </a:cubicBezTo>
                  <a:cubicBezTo>
                    <a:pt x="213" y="298"/>
                    <a:pt x="210" y="289"/>
                    <a:pt x="219" y="289"/>
                  </a:cubicBezTo>
                  <a:cubicBezTo>
                    <a:pt x="225" y="289"/>
                    <a:pt x="219" y="298"/>
                    <a:pt x="222" y="301"/>
                  </a:cubicBezTo>
                  <a:cubicBezTo>
                    <a:pt x="225" y="307"/>
                    <a:pt x="234" y="304"/>
                    <a:pt x="243" y="313"/>
                  </a:cubicBezTo>
                  <a:cubicBezTo>
                    <a:pt x="252" y="319"/>
                    <a:pt x="246" y="322"/>
                    <a:pt x="240" y="316"/>
                  </a:cubicBezTo>
                  <a:cubicBezTo>
                    <a:pt x="231" y="310"/>
                    <a:pt x="210" y="313"/>
                    <a:pt x="210" y="313"/>
                  </a:cubicBezTo>
                  <a:cubicBezTo>
                    <a:pt x="210" y="316"/>
                    <a:pt x="234" y="331"/>
                    <a:pt x="240" y="328"/>
                  </a:cubicBezTo>
                  <a:cubicBezTo>
                    <a:pt x="246" y="325"/>
                    <a:pt x="252" y="337"/>
                    <a:pt x="249" y="340"/>
                  </a:cubicBezTo>
                  <a:cubicBezTo>
                    <a:pt x="246" y="343"/>
                    <a:pt x="249" y="352"/>
                    <a:pt x="246" y="355"/>
                  </a:cubicBezTo>
                  <a:cubicBezTo>
                    <a:pt x="246" y="358"/>
                    <a:pt x="237" y="355"/>
                    <a:pt x="234" y="355"/>
                  </a:cubicBezTo>
                  <a:cubicBezTo>
                    <a:pt x="228" y="358"/>
                    <a:pt x="225" y="358"/>
                    <a:pt x="225" y="364"/>
                  </a:cubicBezTo>
                  <a:cubicBezTo>
                    <a:pt x="225" y="370"/>
                    <a:pt x="216" y="373"/>
                    <a:pt x="213" y="382"/>
                  </a:cubicBezTo>
                  <a:cubicBezTo>
                    <a:pt x="213" y="388"/>
                    <a:pt x="222" y="388"/>
                    <a:pt x="225" y="391"/>
                  </a:cubicBezTo>
                  <a:cubicBezTo>
                    <a:pt x="231" y="394"/>
                    <a:pt x="216" y="394"/>
                    <a:pt x="216" y="400"/>
                  </a:cubicBezTo>
                  <a:cubicBezTo>
                    <a:pt x="216" y="406"/>
                    <a:pt x="228" y="415"/>
                    <a:pt x="231" y="418"/>
                  </a:cubicBezTo>
                  <a:cubicBezTo>
                    <a:pt x="237" y="418"/>
                    <a:pt x="234" y="430"/>
                    <a:pt x="234" y="436"/>
                  </a:cubicBezTo>
                  <a:cubicBezTo>
                    <a:pt x="237" y="442"/>
                    <a:pt x="243" y="436"/>
                    <a:pt x="240" y="442"/>
                  </a:cubicBezTo>
                  <a:cubicBezTo>
                    <a:pt x="240" y="448"/>
                    <a:pt x="246" y="448"/>
                    <a:pt x="246" y="454"/>
                  </a:cubicBezTo>
                  <a:cubicBezTo>
                    <a:pt x="246" y="457"/>
                    <a:pt x="258" y="457"/>
                    <a:pt x="255" y="463"/>
                  </a:cubicBezTo>
                  <a:cubicBezTo>
                    <a:pt x="252" y="469"/>
                    <a:pt x="258" y="472"/>
                    <a:pt x="261" y="478"/>
                  </a:cubicBezTo>
                  <a:cubicBezTo>
                    <a:pt x="264" y="481"/>
                    <a:pt x="273" y="487"/>
                    <a:pt x="273" y="490"/>
                  </a:cubicBezTo>
                  <a:cubicBezTo>
                    <a:pt x="276" y="493"/>
                    <a:pt x="279" y="499"/>
                    <a:pt x="285" y="499"/>
                  </a:cubicBezTo>
                  <a:cubicBezTo>
                    <a:pt x="291" y="496"/>
                    <a:pt x="291" y="502"/>
                    <a:pt x="297" y="502"/>
                  </a:cubicBezTo>
                  <a:cubicBezTo>
                    <a:pt x="303" y="502"/>
                    <a:pt x="309" y="505"/>
                    <a:pt x="309" y="508"/>
                  </a:cubicBezTo>
                  <a:cubicBezTo>
                    <a:pt x="312" y="511"/>
                    <a:pt x="327" y="514"/>
                    <a:pt x="330" y="514"/>
                  </a:cubicBezTo>
                  <a:cubicBezTo>
                    <a:pt x="333" y="517"/>
                    <a:pt x="336" y="508"/>
                    <a:pt x="339" y="505"/>
                  </a:cubicBezTo>
                  <a:cubicBezTo>
                    <a:pt x="342" y="505"/>
                    <a:pt x="342" y="490"/>
                    <a:pt x="345" y="490"/>
                  </a:cubicBezTo>
                  <a:cubicBezTo>
                    <a:pt x="348" y="487"/>
                    <a:pt x="345" y="472"/>
                    <a:pt x="342" y="472"/>
                  </a:cubicBezTo>
                  <a:cubicBezTo>
                    <a:pt x="339" y="469"/>
                    <a:pt x="342" y="463"/>
                    <a:pt x="348" y="466"/>
                  </a:cubicBezTo>
                  <a:cubicBezTo>
                    <a:pt x="357" y="466"/>
                    <a:pt x="354" y="460"/>
                    <a:pt x="357" y="457"/>
                  </a:cubicBezTo>
                  <a:cubicBezTo>
                    <a:pt x="360" y="457"/>
                    <a:pt x="360" y="451"/>
                    <a:pt x="363" y="448"/>
                  </a:cubicBezTo>
                  <a:cubicBezTo>
                    <a:pt x="366" y="448"/>
                    <a:pt x="363" y="445"/>
                    <a:pt x="363" y="442"/>
                  </a:cubicBezTo>
                  <a:cubicBezTo>
                    <a:pt x="360" y="439"/>
                    <a:pt x="363" y="436"/>
                    <a:pt x="366" y="436"/>
                  </a:cubicBezTo>
                  <a:cubicBezTo>
                    <a:pt x="372" y="436"/>
                    <a:pt x="369" y="430"/>
                    <a:pt x="363" y="427"/>
                  </a:cubicBezTo>
                  <a:cubicBezTo>
                    <a:pt x="360" y="424"/>
                    <a:pt x="360" y="418"/>
                    <a:pt x="366" y="424"/>
                  </a:cubicBezTo>
                  <a:cubicBezTo>
                    <a:pt x="372" y="427"/>
                    <a:pt x="375" y="424"/>
                    <a:pt x="372" y="421"/>
                  </a:cubicBezTo>
                  <a:cubicBezTo>
                    <a:pt x="369" y="415"/>
                    <a:pt x="375" y="415"/>
                    <a:pt x="384" y="412"/>
                  </a:cubicBezTo>
                  <a:cubicBezTo>
                    <a:pt x="390" y="412"/>
                    <a:pt x="393" y="409"/>
                    <a:pt x="393" y="403"/>
                  </a:cubicBezTo>
                  <a:cubicBezTo>
                    <a:pt x="390" y="397"/>
                    <a:pt x="399" y="400"/>
                    <a:pt x="399" y="403"/>
                  </a:cubicBezTo>
                  <a:cubicBezTo>
                    <a:pt x="396" y="409"/>
                    <a:pt x="396" y="412"/>
                    <a:pt x="399" y="409"/>
                  </a:cubicBezTo>
                  <a:cubicBezTo>
                    <a:pt x="405" y="406"/>
                    <a:pt x="411" y="409"/>
                    <a:pt x="420" y="406"/>
                  </a:cubicBezTo>
                  <a:cubicBezTo>
                    <a:pt x="432" y="403"/>
                    <a:pt x="444" y="391"/>
                    <a:pt x="447" y="382"/>
                  </a:cubicBezTo>
                  <a:cubicBezTo>
                    <a:pt x="450" y="373"/>
                    <a:pt x="462" y="376"/>
                    <a:pt x="459" y="370"/>
                  </a:cubicBezTo>
                  <a:cubicBezTo>
                    <a:pt x="459" y="364"/>
                    <a:pt x="462" y="361"/>
                    <a:pt x="471" y="364"/>
                  </a:cubicBezTo>
                  <a:cubicBezTo>
                    <a:pt x="480" y="370"/>
                    <a:pt x="474" y="361"/>
                    <a:pt x="483" y="361"/>
                  </a:cubicBezTo>
                  <a:cubicBezTo>
                    <a:pt x="492" y="361"/>
                    <a:pt x="489" y="358"/>
                    <a:pt x="498" y="358"/>
                  </a:cubicBezTo>
                  <a:cubicBezTo>
                    <a:pt x="507" y="358"/>
                    <a:pt x="531" y="355"/>
                    <a:pt x="540" y="349"/>
                  </a:cubicBezTo>
                  <a:cubicBezTo>
                    <a:pt x="546" y="340"/>
                    <a:pt x="564" y="334"/>
                    <a:pt x="570" y="331"/>
                  </a:cubicBezTo>
                  <a:cubicBezTo>
                    <a:pt x="579" y="328"/>
                    <a:pt x="579" y="322"/>
                    <a:pt x="576" y="325"/>
                  </a:cubicBezTo>
                  <a:cubicBezTo>
                    <a:pt x="570" y="328"/>
                    <a:pt x="561" y="328"/>
                    <a:pt x="555" y="325"/>
                  </a:cubicBezTo>
                  <a:cubicBezTo>
                    <a:pt x="549" y="325"/>
                    <a:pt x="537" y="319"/>
                    <a:pt x="531" y="322"/>
                  </a:cubicBezTo>
                  <a:cubicBezTo>
                    <a:pt x="522" y="328"/>
                    <a:pt x="528" y="316"/>
                    <a:pt x="534" y="316"/>
                  </a:cubicBezTo>
                  <a:cubicBezTo>
                    <a:pt x="540" y="316"/>
                    <a:pt x="537" y="313"/>
                    <a:pt x="537" y="304"/>
                  </a:cubicBezTo>
                  <a:cubicBezTo>
                    <a:pt x="534" y="298"/>
                    <a:pt x="546" y="304"/>
                    <a:pt x="552" y="310"/>
                  </a:cubicBezTo>
                  <a:cubicBezTo>
                    <a:pt x="558" y="319"/>
                    <a:pt x="567" y="322"/>
                    <a:pt x="576" y="319"/>
                  </a:cubicBezTo>
                  <a:cubicBezTo>
                    <a:pt x="585" y="316"/>
                    <a:pt x="576" y="310"/>
                    <a:pt x="579" y="304"/>
                  </a:cubicBezTo>
                  <a:cubicBezTo>
                    <a:pt x="585" y="298"/>
                    <a:pt x="552" y="283"/>
                    <a:pt x="552" y="277"/>
                  </a:cubicBezTo>
                  <a:cubicBezTo>
                    <a:pt x="549" y="274"/>
                    <a:pt x="558" y="277"/>
                    <a:pt x="567" y="280"/>
                  </a:cubicBezTo>
                  <a:cubicBezTo>
                    <a:pt x="576" y="283"/>
                    <a:pt x="579" y="274"/>
                    <a:pt x="579" y="268"/>
                  </a:cubicBezTo>
                  <a:cubicBezTo>
                    <a:pt x="579" y="265"/>
                    <a:pt x="561" y="262"/>
                    <a:pt x="552" y="268"/>
                  </a:cubicBezTo>
                  <a:cubicBezTo>
                    <a:pt x="543" y="274"/>
                    <a:pt x="534" y="262"/>
                    <a:pt x="546" y="262"/>
                  </a:cubicBezTo>
                  <a:cubicBezTo>
                    <a:pt x="558" y="259"/>
                    <a:pt x="546" y="256"/>
                    <a:pt x="552" y="250"/>
                  </a:cubicBezTo>
                  <a:cubicBezTo>
                    <a:pt x="555" y="247"/>
                    <a:pt x="567" y="262"/>
                    <a:pt x="576" y="259"/>
                  </a:cubicBezTo>
                  <a:cubicBezTo>
                    <a:pt x="582" y="256"/>
                    <a:pt x="588" y="259"/>
                    <a:pt x="594" y="253"/>
                  </a:cubicBezTo>
                  <a:cubicBezTo>
                    <a:pt x="600" y="250"/>
                    <a:pt x="582" y="244"/>
                    <a:pt x="579" y="241"/>
                  </a:cubicBezTo>
                  <a:cubicBezTo>
                    <a:pt x="576" y="235"/>
                    <a:pt x="597" y="238"/>
                    <a:pt x="606" y="238"/>
                  </a:cubicBezTo>
                  <a:cubicBezTo>
                    <a:pt x="612" y="238"/>
                    <a:pt x="612" y="229"/>
                    <a:pt x="609" y="229"/>
                  </a:cubicBezTo>
                  <a:cubicBezTo>
                    <a:pt x="603" y="232"/>
                    <a:pt x="582" y="223"/>
                    <a:pt x="588" y="217"/>
                  </a:cubicBezTo>
                  <a:cubicBezTo>
                    <a:pt x="591" y="211"/>
                    <a:pt x="600" y="217"/>
                    <a:pt x="606" y="214"/>
                  </a:cubicBezTo>
                  <a:cubicBezTo>
                    <a:pt x="615" y="211"/>
                    <a:pt x="609" y="193"/>
                    <a:pt x="603" y="193"/>
                  </a:cubicBezTo>
                  <a:cubicBezTo>
                    <a:pt x="597" y="193"/>
                    <a:pt x="582" y="190"/>
                    <a:pt x="582" y="187"/>
                  </a:cubicBezTo>
                  <a:cubicBezTo>
                    <a:pt x="582" y="184"/>
                    <a:pt x="570" y="184"/>
                    <a:pt x="573" y="181"/>
                  </a:cubicBezTo>
                  <a:cubicBezTo>
                    <a:pt x="576" y="178"/>
                    <a:pt x="582" y="184"/>
                    <a:pt x="588" y="178"/>
                  </a:cubicBezTo>
                  <a:cubicBezTo>
                    <a:pt x="597" y="172"/>
                    <a:pt x="612" y="178"/>
                    <a:pt x="618" y="178"/>
                  </a:cubicBezTo>
                  <a:cubicBezTo>
                    <a:pt x="627" y="175"/>
                    <a:pt x="615" y="163"/>
                    <a:pt x="612" y="166"/>
                  </a:cubicBezTo>
                  <a:cubicBezTo>
                    <a:pt x="609" y="169"/>
                    <a:pt x="594" y="169"/>
                    <a:pt x="594" y="163"/>
                  </a:cubicBezTo>
                  <a:cubicBezTo>
                    <a:pt x="594" y="154"/>
                    <a:pt x="606" y="163"/>
                    <a:pt x="609" y="157"/>
                  </a:cubicBezTo>
                  <a:cubicBezTo>
                    <a:pt x="612" y="154"/>
                    <a:pt x="591" y="145"/>
                    <a:pt x="585" y="154"/>
                  </a:cubicBezTo>
                  <a:cubicBezTo>
                    <a:pt x="582" y="160"/>
                    <a:pt x="570" y="157"/>
                    <a:pt x="576" y="154"/>
                  </a:cubicBezTo>
                  <a:cubicBezTo>
                    <a:pt x="585" y="151"/>
                    <a:pt x="585" y="139"/>
                    <a:pt x="585" y="133"/>
                  </a:cubicBezTo>
                  <a:cubicBezTo>
                    <a:pt x="585" y="127"/>
                    <a:pt x="606" y="127"/>
                    <a:pt x="603" y="118"/>
                  </a:cubicBezTo>
                  <a:cubicBezTo>
                    <a:pt x="603" y="109"/>
                    <a:pt x="615" y="106"/>
                    <a:pt x="624" y="106"/>
                  </a:cubicBezTo>
                  <a:cubicBezTo>
                    <a:pt x="630" y="106"/>
                    <a:pt x="624" y="97"/>
                    <a:pt x="615" y="97"/>
                  </a:cubicBezTo>
                  <a:cubicBezTo>
                    <a:pt x="609" y="97"/>
                    <a:pt x="600" y="106"/>
                    <a:pt x="597" y="103"/>
                  </a:cubicBezTo>
                  <a:cubicBezTo>
                    <a:pt x="594" y="100"/>
                    <a:pt x="606" y="94"/>
                    <a:pt x="612" y="94"/>
                  </a:cubicBezTo>
                  <a:cubicBezTo>
                    <a:pt x="618" y="94"/>
                    <a:pt x="636" y="94"/>
                    <a:pt x="639" y="91"/>
                  </a:cubicBezTo>
                  <a:cubicBezTo>
                    <a:pt x="645" y="88"/>
                    <a:pt x="630" y="85"/>
                    <a:pt x="621" y="85"/>
                  </a:cubicBezTo>
                  <a:cubicBezTo>
                    <a:pt x="609" y="85"/>
                    <a:pt x="609" y="82"/>
                    <a:pt x="624" y="82"/>
                  </a:cubicBezTo>
                  <a:cubicBezTo>
                    <a:pt x="642" y="82"/>
                    <a:pt x="639" y="79"/>
                    <a:pt x="651" y="76"/>
                  </a:cubicBezTo>
                  <a:cubicBezTo>
                    <a:pt x="660" y="76"/>
                    <a:pt x="657" y="70"/>
                    <a:pt x="663" y="70"/>
                  </a:cubicBezTo>
                  <a:cubicBezTo>
                    <a:pt x="672" y="70"/>
                    <a:pt x="690" y="61"/>
                    <a:pt x="690" y="58"/>
                  </a:cubicBezTo>
                  <a:cubicBezTo>
                    <a:pt x="690" y="55"/>
                    <a:pt x="663" y="46"/>
                    <a:pt x="651" y="46"/>
                  </a:cubicBezTo>
                  <a:close/>
                  <a:moveTo>
                    <a:pt x="237" y="337"/>
                  </a:moveTo>
                  <a:cubicBezTo>
                    <a:pt x="237" y="331"/>
                    <a:pt x="231" y="337"/>
                    <a:pt x="228" y="328"/>
                  </a:cubicBezTo>
                  <a:cubicBezTo>
                    <a:pt x="222" y="322"/>
                    <a:pt x="207" y="319"/>
                    <a:pt x="204" y="325"/>
                  </a:cubicBezTo>
                  <a:cubicBezTo>
                    <a:pt x="204" y="328"/>
                    <a:pt x="198" y="331"/>
                    <a:pt x="204" y="334"/>
                  </a:cubicBezTo>
                  <a:cubicBezTo>
                    <a:pt x="207" y="340"/>
                    <a:pt x="210" y="337"/>
                    <a:pt x="216" y="343"/>
                  </a:cubicBezTo>
                  <a:cubicBezTo>
                    <a:pt x="219" y="346"/>
                    <a:pt x="234" y="343"/>
                    <a:pt x="237" y="33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3" name="Freeform 888"/>
            <p:cNvSpPr>
              <a:spLocks noEditPoints="1"/>
            </p:cNvSpPr>
            <p:nvPr userDrawn="1"/>
          </p:nvSpPr>
          <p:spPr bwMode="auto">
            <a:xfrm>
              <a:off x="2194" y="-3160"/>
              <a:ext cx="1075" cy="806"/>
            </a:xfrm>
            <a:custGeom>
              <a:avLst/>
              <a:gdLst>
                <a:gd name="T0" fmla="*/ 606 w 690"/>
                <a:gd name="T1" fmla="*/ 58 h 517"/>
                <a:gd name="T2" fmla="*/ 555 w 690"/>
                <a:gd name="T3" fmla="*/ 82 h 517"/>
                <a:gd name="T4" fmla="*/ 552 w 690"/>
                <a:gd name="T5" fmla="*/ 52 h 517"/>
                <a:gd name="T6" fmla="*/ 492 w 690"/>
                <a:gd name="T7" fmla="*/ 46 h 517"/>
                <a:gd name="T8" fmla="*/ 549 w 690"/>
                <a:gd name="T9" fmla="*/ 37 h 517"/>
                <a:gd name="T10" fmla="*/ 546 w 690"/>
                <a:gd name="T11" fmla="*/ 16 h 517"/>
                <a:gd name="T12" fmla="*/ 465 w 690"/>
                <a:gd name="T13" fmla="*/ 0 h 517"/>
                <a:gd name="T14" fmla="*/ 393 w 690"/>
                <a:gd name="T15" fmla="*/ 9 h 517"/>
                <a:gd name="T16" fmla="*/ 336 w 690"/>
                <a:gd name="T17" fmla="*/ 9 h 517"/>
                <a:gd name="T18" fmla="*/ 291 w 690"/>
                <a:gd name="T19" fmla="*/ 31 h 517"/>
                <a:gd name="T20" fmla="*/ 279 w 690"/>
                <a:gd name="T21" fmla="*/ 37 h 517"/>
                <a:gd name="T22" fmla="*/ 246 w 690"/>
                <a:gd name="T23" fmla="*/ 46 h 517"/>
                <a:gd name="T24" fmla="*/ 216 w 690"/>
                <a:gd name="T25" fmla="*/ 58 h 517"/>
                <a:gd name="T26" fmla="*/ 162 w 690"/>
                <a:gd name="T27" fmla="*/ 46 h 517"/>
                <a:gd name="T28" fmla="*/ 132 w 690"/>
                <a:gd name="T29" fmla="*/ 70 h 517"/>
                <a:gd name="T30" fmla="*/ 87 w 690"/>
                <a:gd name="T31" fmla="*/ 100 h 517"/>
                <a:gd name="T32" fmla="*/ 0 w 690"/>
                <a:gd name="T33" fmla="*/ 142 h 517"/>
                <a:gd name="T34" fmla="*/ 54 w 690"/>
                <a:gd name="T35" fmla="*/ 157 h 517"/>
                <a:gd name="T36" fmla="*/ 15 w 690"/>
                <a:gd name="T37" fmla="*/ 172 h 517"/>
                <a:gd name="T38" fmla="*/ 48 w 690"/>
                <a:gd name="T39" fmla="*/ 193 h 517"/>
                <a:gd name="T40" fmla="*/ 93 w 690"/>
                <a:gd name="T41" fmla="*/ 193 h 517"/>
                <a:gd name="T42" fmla="*/ 162 w 690"/>
                <a:gd name="T43" fmla="*/ 211 h 517"/>
                <a:gd name="T44" fmla="*/ 195 w 690"/>
                <a:gd name="T45" fmla="*/ 256 h 517"/>
                <a:gd name="T46" fmla="*/ 201 w 690"/>
                <a:gd name="T47" fmla="*/ 298 h 517"/>
                <a:gd name="T48" fmla="*/ 243 w 690"/>
                <a:gd name="T49" fmla="*/ 313 h 517"/>
                <a:gd name="T50" fmla="*/ 240 w 690"/>
                <a:gd name="T51" fmla="*/ 328 h 517"/>
                <a:gd name="T52" fmla="*/ 234 w 690"/>
                <a:gd name="T53" fmla="*/ 355 h 517"/>
                <a:gd name="T54" fmla="*/ 225 w 690"/>
                <a:gd name="T55" fmla="*/ 391 h 517"/>
                <a:gd name="T56" fmla="*/ 234 w 690"/>
                <a:gd name="T57" fmla="*/ 436 h 517"/>
                <a:gd name="T58" fmla="*/ 255 w 690"/>
                <a:gd name="T59" fmla="*/ 463 h 517"/>
                <a:gd name="T60" fmla="*/ 285 w 690"/>
                <a:gd name="T61" fmla="*/ 499 h 517"/>
                <a:gd name="T62" fmla="*/ 330 w 690"/>
                <a:gd name="T63" fmla="*/ 514 h 517"/>
                <a:gd name="T64" fmla="*/ 342 w 690"/>
                <a:gd name="T65" fmla="*/ 472 h 517"/>
                <a:gd name="T66" fmla="*/ 363 w 690"/>
                <a:gd name="T67" fmla="*/ 448 h 517"/>
                <a:gd name="T68" fmla="*/ 363 w 690"/>
                <a:gd name="T69" fmla="*/ 427 h 517"/>
                <a:gd name="T70" fmla="*/ 384 w 690"/>
                <a:gd name="T71" fmla="*/ 412 h 517"/>
                <a:gd name="T72" fmla="*/ 399 w 690"/>
                <a:gd name="T73" fmla="*/ 409 h 517"/>
                <a:gd name="T74" fmla="*/ 459 w 690"/>
                <a:gd name="T75" fmla="*/ 370 h 517"/>
                <a:gd name="T76" fmla="*/ 498 w 690"/>
                <a:gd name="T77" fmla="*/ 358 h 517"/>
                <a:gd name="T78" fmla="*/ 576 w 690"/>
                <a:gd name="T79" fmla="*/ 325 h 517"/>
                <a:gd name="T80" fmla="*/ 534 w 690"/>
                <a:gd name="T81" fmla="*/ 316 h 517"/>
                <a:gd name="T82" fmla="*/ 576 w 690"/>
                <a:gd name="T83" fmla="*/ 319 h 517"/>
                <a:gd name="T84" fmla="*/ 567 w 690"/>
                <a:gd name="T85" fmla="*/ 280 h 517"/>
                <a:gd name="T86" fmla="*/ 546 w 690"/>
                <a:gd name="T87" fmla="*/ 262 h 517"/>
                <a:gd name="T88" fmla="*/ 594 w 690"/>
                <a:gd name="T89" fmla="*/ 253 h 517"/>
                <a:gd name="T90" fmla="*/ 609 w 690"/>
                <a:gd name="T91" fmla="*/ 229 h 517"/>
                <a:gd name="T92" fmla="*/ 603 w 690"/>
                <a:gd name="T93" fmla="*/ 193 h 517"/>
                <a:gd name="T94" fmla="*/ 588 w 690"/>
                <a:gd name="T95" fmla="*/ 178 h 517"/>
                <a:gd name="T96" fmla="*/ 594 w 690"/>
                <a:gd name="T97" fmla="*/ 163 h 517"/>
                <a:gd name="T98" fmla="*/ 576 w 690"/>
                <a:gd name="T99" fmla="*/ 154 h 517"/>
                <a:gd name="T100" fmla="*/ 624 w 690"/>
                <a:gd name="T101" fmla="*/ 106 h 517"/>
                <a:gd name="T102" fmla="*/ 612 w 690"/>
                <a:gd name="T103" fmla="*/ 94 h 517"/>
                <a:gd name="T104" fmla="*/ 624 w 690"/>
                <a:gd name="T105" fmla="*/ 82 h 517"/>
                <a:gd name="T106" fmla="*/ 690 w 690"/>
                <a:gd name="T107" fmla="*/ 58 h 517"/>
                <a:gd name="T108" fmla="*/ 228 w 690"/>
                <a:gd name="T109" fmla="*/ 328 h 517"/>
                <a:gd name="T110" fmla="*/ 216 w 690"/>
                <a:gd name="T111" fmla="*/ 34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0" h="517">
                  <a:moveTo>
                    <a:pt x="651" y="46"/>
                  </a:moveTo>
                  <a:cubicBezTo>
                    <a:pt x="639" y="46"/>
                    <a:pt x="630" y="49"/>
                    <a:pt x="627" y="58"/>
                  </a:cubicBezTo>
                  <a:cubicBezTo>
                    <a:pt x="627" y="67"/>
                    <a:pt x="612" y="55"/>
                    <a:pt x="606" y="58"/>
                  </a:cubicBezTo>
                  <a:cubicBezTo>
                    <a:pt x="597" y="61"/>
                    <a:pt x="603" y="52"/>
                    <a:pt x="594" y="55"/>
                  </a:cubicBezTo>
                  <a:cubicBezTo>
                    <a:pt x="588" y="58"/>
                    <a:pt x="582" y="67"/>
                    <a:pt x="573" y="70"/>
                  </a:cubicBezTo>
                  <a:cubicBezTo>
                    <a:pt x="564" y="73"/>
                    <a:pt x="558" y="82"/>
                    <a:pt x="555" y="82"/>
                  </a:cubicBezTo>
                  <a:cubicBezTo>
                    <a:pt x="549" y="82"/>
                    <a:pt x="564" y="67"/>
                    <a:pt x="573" y="58"/>
                  </a:cubicBezTo>
                  <a:cubicBezTo>
                    <a:pt x="582" y="52"/>
                    <a:pt x="576" y="43"/>
                    <a:pt x="567" y="43"/>
                  </a:cubicBezTo>
                  <a:cubicBezTo>
                    <a:pt x="555" y="43"/>
                    <a:pt x="558" y="52"/>
                    <a:pt x="552" y="52"/>
                  </a:cubicBezTo>
                  <a:cubicBezTo>
                    <a:pt x="546" y="52"/>
                    <a:pt x="516" y="67"/>
                    <a:pt x="516" y="64"/>
                  </a:cubicBezTo>
                  <a:cubicBezTo>
                    <a:pt x="513" y="58"/>
                    <a:pt x="540" y="52"/>
                    <a:pt x="540" y="49"/>
                  </a:cubicBezTo>
                  <a:cubicBezTo>
                    <a:pt x="537" y="46"/>
                    <a:pt x="507" y="46"/>
                    <a:pt x="492" y="46"/>
                  </a:cubicBezTo>
                  <a:cubicBezTo>
                    <a:pt x="480" y="49"/>
                    <a:pt x="453" y="58"/>
                    <a:pt x="453" y="52"/>
                  </a:cubicBezTo>
                  <a:cubicBezTo>
                    <a:pt x="453" y="49"/>
                    <a:pt x="483" y="43"/>
                    <a:pt x="498" y="43"/>
                  </a:cubicBezTo>
                  <a:cubicBezTo>
                    <a:pt x="513" y="40"/>
                    <a:pt x="540" y="43"/>
                    <a:pt x="549" y="37"/>
                  </a:cubicBezTo>
                  <a:cubicBezTo>
                    <a:pt x="561" y="34"/>
                    <a:pt x="579" y="34"/>
                    <a:pt x="582" y="31"/>
                  </a:cubicBezTo>
                  <a:cubicBezTo>
                    <a:pt x="585" y="25"/>
                    <a:pt x="570" y="22"/>
                    <a:pt x="561" y="22"/>
                  </a:cubicBezTo>
                  <a:cubicBezTo>
                    <a:pt x="552" y="22"/>
                    <a:pt x="546" y="22"/>
                    <a:pt x="546" y="16"/>
                  </a:cubicBezTo>
                  <a:cubicBezTo>
                    <a:pt x="546" y="13"/>
                    <a:pt x="534" y="13"/>
                    <a:pt x="531" y="9"/>
                  </a:cubicBezTo>
                  <a:cubicBezTo>
                    <a:pt x="531" y="6"/>
                    <a:pt x="504" y="6"/>
                    <a:pt x="501" y="3"/>
                  </a:cubicBezTo>
                  <a:cubicBezTo>
                    <a:pt x="495" y="0"/>
                    <a:pt x="480" y="0"/>
                    <a:pt x="465" y="0"/>
                  </a:cubicBezTo>
                  <a:cubicBezTo>
                    <a:pt x="453" y="0"/>
                    <a:pt x="426" y="0"/>
                    <a:pt x="420" y="0"/>
                  </a:cubicBezTo>
                  <a:cubicBezTo>
                    <a:pt x="411" y="3"/>
                    <a:pt x="408" y="3"/>
                    <a:pt x="402" y="3"/>
                  </a:cubicBezTo>
                  <a:cubicBezTo>
                    <a:pt x="396" y="3"/>
                    <a:pt x="387" y="6"/>
                    <a:pt x="393" y="9"/>
                  </a:cubicBezTo>
                  <a:cubicBezTo>
                    <a:pt x="399" y="16"/>
                    <a:pt x="384" y="19"/>
                    <a:pt x="384" y="13"/>
                  </a:cubicBezTo>
                  <a:cubicBezTo>
                    <a:pt x="384" y="9"/>
                    <a:pt x="372" y="6"/>
                    <a:pt x="366" y="9"/>
                  </a:cubicBezTo>
                  <a:cubicBezTo>
                    <a:pt x="360" y="16"/>
                    <a:pt x="339" y="6"/>
                    <a:pt x="336" y="9"/>
                  </a:cubicBezTo>
                  <a:cubicBezTo>
                    <a:pt x="333" y="16"/>
                    <a:pt x="306" y="13"/>
                    <a:pt x="297" y="16"/>
                  </a:cubicBezTo>
                  <a:cubicBezTo>
                    <a:pt x="291" y="16"/>
                    <a:pt x="309" y="22"/>
                    <a:pt x="309" y="25"/>
                  </a:cubicBezTo>
                  <a:cubicBezTo>
                    <a:pt x="309" y="28"/>
                    <a:pt x="285" y="25"/>
                    <a:pt x="291" y="31"/>
                  </a:cubicBezTo>
                  <a:cubicBezTo>
                    <a:pt x="294" y="37"/>
                    <a:pt x="312" y="43"/>
                    <a:pt x="318" y="49"/>
                  </a:cubicBezTo>
                  <a:cubicBezTo>
                    <a:pt x="327" y="58"/>
                    <a:pt x="312" y="52"/>
                    <a:pt x="303" y="46"/>
                  </a:cubicBezTo>
                  <a:cubicBezTo>
                    <a:pt x="294" y="40"/>
                    <a:pt x="285" y="43"/>
                    <a:pt x="279" y="37"/>
                  </a:cubicBezTo>
                  <a:cubicBezTo>
                    <a:pt x="273" y="31"/>
                    <a:pt x="252" y="28"/>
                    <a:pt x="249" y="31"/>
                  </a:cubicBezTo>
                  <a:cubicBezTo>
                    <a:pt x="243" y="34"/>
                    <a:pt x="261" y="43"/>
                    <a:pt x="261" y="46"/>
                  </a:cubicBezTo>
                  <a:cubicBezTo>
                    <a:pt x="261" y="52"/>
                    <a:pt x="249" y="46"/>
                    <a:pt x="246" y="46"/>
                  </a:cubicBezTo>
                  <a:cubicBezTo>
                    <a:pt x="243" y="49"/>
                    <a:pt x="231" y="37"/>
                    <a:pt x="225" y="37"/>
                  </a:cubicBezTo>
                  <a:cubicBezTo>
                    <a:pt x="219" y="37"/>
                    <a:pt x="225" y="43"/>
                    <a:pt x="225" y="49"/>
                  </a:cubicBezTo>
                  <a:cubicBezTo>
                    <a:pt x="225" y="58"/>
                    <a:pt x="213" y="64"/>
                    <a:pt x="216" y="58"/>
                  </a:cubicBezTo>
                  <a:cubicBezTo>
                    <a:pt x="219" y="52"/>
                    <a:pt x="216" y="37"/>
                    <a:pt x="210" y="34"/>
                  </a:cubicBezTo>
                  <a:cubicBezTo>
                    <a:pt x="201" y="31"/>
                    <a:pt x="183" y="40"/>
                    <a:pt x="174" y="40"/>
                  </a:cubicBezTo>
                  <a:cubicBezTo>
                    <a:pt x="165" y="40"/>
                    <a:pt x="153" y="43"/>
                    <a:pt x="162" y="46"/>
                  </a:cubicBezTo>
                  <a:cubicBezTo>
                    <a:pt x="168" y="52"/>
                    <a:pt x="162" y="55"/>
                    <a:pt x="153" y="49"/>
                  </a:cubicBezTo>
                  <a:cubicBezTo>
                    <a:pt x="147" y="46"/>
                    <a:pt x="123" y="49"/>
                    <a:pt x="129" y="52"/>
                  </a:cubicBezTo>
                  <a:cubicBezTo>
                    <a:pt x="132" y="55"/>
                    <a:pt x="135" y="67"/>
                    <a:pt x="132" y="70"/>
                  </a:cubicBezTo>
                  <a:cubicBezTo>
                    <a:pt x="129" y="73"/>
                    <a:pt x="120" y="67"/>
                    <a:pt x="111" y="67"/>
                  </a:cubicBezTo>
                  <a:cubicBezTo>
                    <a:pt x="102" y="67"/>
                    <a:pt x="57" y="88"/>
                    <a:pt x="60" y="94"/>
                  </a:cubicBezTo>
                  <a:cubicBezTo>
                    <a:pt x="63" y="100"/>
                    <a:pt x="81" y="94"/>
                    <a:pt x="87" y="100"/>
                  </a:cubicBezTo>
                  <a:cubicBezTo>
                    <a:pt x="93" y="103"/>
                    <a:pt x="84" y="115"/>
                    <a:pt x="78" y="118"/>
                  </a:cubicBezTo>
                  <a:cubicBezTo>
                    <a:pt x="69" y="124"/>
                    <a:pt x="42" y="121"/>
                    <a:pt x="42" y="127"/>
                  </a:cubicBezTo>
                  <a:cubicBezTo>
                    <a:pt x="42" y="133"/>
                    <a:pt x="0" y="133"/>
                    <a:pt x="0" y="142"/>
                  </a:cubicBezTo>
                  <a:cubicBezTo>
                    <a:pt x="0" y="145"/>
                    <a:pt x="0" y="151"/>
                    <a:pt x="6" y="151"/>
                  </a:cubicBezTo>
                  <a:cubicBezTo>
                    <a:pt x="12" y="151"/>
                    <a:pt x="18" y="151"/>
                    <a:pt x="24" y="157"/>
                  </a:cubicBezTo>
                  <a:cubicBezTo>
                    <a:pt x="30" y="163"/>
                    <a:pt x="45" y="163"/>
                    <a:pt x="54" y="157"/>
                  </a:cubicBezTo>
                  <a:cubicBezTo>
                    <a:pt x="66" y="154"/>
                    <a:pt x="72" y="160"/>
                    <a:pt x="72" y="166"/>
                  </a:cubicBezTo>
                  <a:cubicBezTo>
                    <a:pt x="72" y="172"/>
                    <a:pt x="51" y="163"/>
                    <a:pt x="42" y="166"/>
                  </a:cubicBezTo>
                  <a:cubicBezTo>
                    <a:pt x="36" y="172"/>
                    <a:pt x="15" y="169"/>
                    <a:pt x="15" y="172"/>
                  </a:cubicBezTo>
                  <a:cubicBezTo>
                    <a:pt x="15" y="178"/>
                    <a:pt x="27" y="175"/>
                    <a:pt x="36" y="178"/>
                  </a:cubicBezTo>
                  <a:cubicBezTo>
                    <a:pt x="45" y="178"/>
                    <a:pt x="36" y="184"/>
                    <a:pt x="36" y="187"/>
                  </a:cubicBezTo>
                  <a:cubicBezTo>
                    <a:pt x="36" y="190"/>
                    <a:pt x="39" y="190"/>
                    <a:pt x="48" y="193"/>
                  </a:cubicBezTo>
                  <a:cubicBezTo>
                    <a:pt x="57" y="199"/>
                    <a:pt x="72" y="202"/>
                    <a:pt x="66" y="196"/>
                  </a:cubicBezTo>
                  <a:cubicBezTo>
                    <a:pt x="63" y="190"/>
                    <a:pt x="75" y="193"/>
                    <a:pt x="78" y="196"/>
                  </a:cubicBezTo>
                  <a:cubicBezTo>
                    <a:pt x="81" y="199"/>
                    <a:pt x="87" y="190"/>
                    <a:pt x="93" y="193"/>
                  </a:cubicBezTo>
                  <a:cubicBezTo>
                    <a:pt x="99" y="193"/>
                    <a:pt x="102" y="187"/>
                    <a:pt x="108" y="190"/>
                  </a:cubicBezTo>
                  <a:cubicBezTo>
                    <a:pt x="111" y="193"/>
                    <a:pt x="135" y="196"/>
                    <a:pt x="144" y="199"/>
                  </a:cubicBezTo>
                  <a:cubicBezTo>
                    <a:pt x="153" y="202"/>
                    <a:pt x="162" y="205"/>
                    <a:pt x="162" y="211"/>
                  </a:cubicBezTo>
                  <a:cubicBezTo>
                    <a:pt x="162" y="217"/>
                    <a:pt x="168" y="223"/>
                    <a:pt x="177" y="226"/>
                  </a:cubicBezTo>
                  <a:cubicBezTo>
                    <a:pt x="186" y="229"/>
                    <a:pt x="189" y="238"/>
                    <a:pt x="189" y="244"/>
                  </a:cubicBezTo>
                  <a:cubicBezTo>
                    <a:pt x="186" y="250"/>
                    <a:pt x="198" y="253"/>
                    <a:pt x="195" y="256"/>
                  </a:cubicBezTo>
                  <a:cubicBezTo>
                    <a:pt x="195" y="259"/>
                    <a:pt x="195" y="262"/>
                    <a:pt x="201" y="268"/>
                  </a:cubicBezTo>
                  <a:cubicBezTo>
                    <a:pt x="207" y="274"/>
                    <a:pt x="192" y="277"/>
                    <a:pt x="195" y="283"/>
                  </a:cubicBezTo>
                  <a:cubicBezTo>
                    <a:pt x="198" y="286"/>
                    <a:pt x="189" y="295"/>
                    <a:pt x="201" y="298"/>
                  </a:cubicBezTo>
                  <a:cubicBezTo>
                    <a:pt x="213" y="298"/>
                    <a:pt x="210" y="289"/>
                    <a:pt x="219" y="289"/>
                  </a:cubicBezTo>
                  <a:cubicBezTo>
                    <a:pt x="225" y="289"/>
                    <a:pt x="219" y="298"/>
                    <a:pt x="222" y="301"/>
                  </a:cubicBezTo>
                  <a:cubicBezTo>
                    <a:pt x="225" y="307"/>
                    <a:pt x="234" y="304"/>
                    <a:pt x="243" y="313"/>
                  </a:cubicBezTo>
                  <a:cubicBezTo>
                    <a:pt x="252" y="319"/>
                    <a:pt x="246" y="322"/>
                    <a:pt x="240" y="316"/>
                  </a:cubicBezTo>
                  <a:cubicBezTo>
                    <a:pt x="231" y="310"/>
                    <a:pt x="210" y="313"/>
                    <a:pt x="210" y="313"/>
                  </a:cubicBezTo>
                  <a:cubicBezTo>
                    <a:pt x="210" y="316"/>
                    <a:pt x="234" y="331"/>
                    <a:pt x="240" y="328"/>
                  </a:cubicBezTo>
                  <a:cubicBezTo>
                    <a:pt x="246" y="325"/>
                    <a:pt x="252" y="337"/>
                    <a:pt x="249" y="340"/>
                  </a:cubicBezTo>
                  <a:cubicBezTo>
                    <a:pt x="246" y="343"/>
                    <a:pt x="249" y="352"/>
                    <a:pt x="246" y="355"/>
                  </a:cubicBezTo>
                  <a:cubicBezTo>
                    <a:pt x="246" y="358"/>
                    <a:pt x="237" y="355"/>
                    <a:pt x="234" y="355"/>
                  </a:cubicBezTo>
                  <a:cubicBezTo>
                    <a:pt x="228" y="358"/>
                    <a:pt x="225" y="358"/>
                    <a:pt x="225" y="364"/>
                  </a:cubicBezTo>
                  <a:cubicBezTo>
                    <a:pt x="225" y="370"/>
                    <a:pt x="216" y="373"/>
                    <a:pt x="213" y="382"/>
                  </a:cubicBezTo>
                  <a:cubicBezTo>
                    <a:pt x="213" y="388"/>
                    <a:pt x="222" y="388"/>
                    <a:pt x="225" y="391"/>
                  </a:cubicBezTo>
                  <a:cubicBezTo>
                    <a:pt x="231" y="394"/>
                    <a:pt x="216" y="394"/>
                    <a:pt x="216" y="400"/>
                  </a:cubicBezTo>
                  <a:cubicBezTo>
                    <a:pt x="216" y="406"/>
                    <a:pt x="228" y="415"/>
                    <a:pt x="231" y="418"/>
                  </a:cubicBezTo>
                  <a:cubicBezTo>
                    <a:pt x="237" y="418"/>
                    <a:pt x="234" y="430"/>
                    <a:pt x="234" y="436"/>
                  </a:cubicBezTo>
                  <a:cubicBezTo>
                    <a:pt x="237" y="442"/>
                    <a:pt x="243" y="436"/>
                    <a:pt x="240" y="442"/>
                  </a:cubicBezTo>
                  <a:cubicBezTo>
                    <a:pt x="240" y="448"/>
                    <a:pt x="246" y="448"/>
                    <a:pt x="246" y="454"/>
                  </a:cubicBezTo>
                  <a:cubicBezTo>
                    <a:pt x="246" y="457"/>
                    <a:pt x="258" y="457"/>
                    <a:pt x="255" y="463"/>
                  </a:cubicBezTo>
                  <a:cubicBezTo>
                    <a:pt x="252" y="469"/>
                    <a:pt x="258" y="472"/>
                    <a:pt x="261" y="478"/>
                  </a:cubicBezTo>
                  <a:cubicBezTo>
                    <a:pt x="264" y="481"/>
                    <a:pt x="273" y="487"/>
                    <a:pt x="273" y="490"/>
                  </a:cubicBezTo>
                  <a:cubicBezTo>
                    <a:pt x="276" y="493"/>
                    <a:pt x="279" y="499"/>
                    <a:pt x="285" y="499"/>
                  </a:cubicBezTo>
                  <a:cubicBezTo>
                    <a:pt x="291" y="496"/>
                    <a:pt x="291" y="502"/>
                    <a:pt x="297" y="502"/>
                  </a:cubicBezTo>
                  <a:cubicBezTo>
                    <a:pt x="303" y="502"/>
                    <a:pt x="309" y="505"/>
                    <a:pt x="309" y="508"/>
                  </a:cubicBezTo>
                  <a:cubicBezTo>
                    <a:pt x="312" y="511"/>
                    <a:pt x="327" y="514"/>
                    <a:pt x="330" y="514"/>
                  </a:cubicBezTo>
                  <a:cubicBezTo>
                    <a:pt x="333" y="517"/>
                    <a:pt x="336" y="508"/>
                    <a:pt x="339" y="505"/>
                  </a:cubicBezTo>
                  <a:cubicBezTo>
                    <a:pt x="342" y="505"/>
                    <a:pt x="342" y="490"/>
                    <a:pt x="345" y="490"/>
                  </a:cubicBezTo>
                  <a:cubicBezTo>
                    <a:pt x="348" y="487"/>
                    <a:pt x="345" y="472"/>
                    <a:pt x="342" y="472"/>
                  </a:cubicBezTo>
                  <a:cubicBezTo>
                    <a:pt x="339" y="469"/>
                    <a:pt x="342" y="463"/>
                    <a:pt x="348" y="466"/>
                  </a:cubicBezTo>
                  <a:cubicBezTo>
                    <a:pt x="357" y="466"/>
                    <a:pt x="354" y="460"/>
                    <a:pt x="357" y="457"/>
                  </a:cubicBezTo>
                  <a:cubicBezTo>
                    <a:pt x="360" y="457"/>
                    <a:pt x="360" y="451"/>
                    <a:pt x="363" y="448"/>
                  </a:cubicBezTo>
                  <a:cubicBezTo>
                    <a:pt x="366" y="448"/>
                    <a:pt x="363" y="445"/>
                    <a:pt x="363" y="442"/>
                  </a:cubicBezTo>
                  <a:cubicBezTo>
                    <a:pt x="360" y="439"/>
                    <a:pt x="363" y="436"/>
                    <a:pt x="366" y="436"/>
                  </a:cubicBezTo>
                  <a:cubicBezTo>
                    <a:pt x="372" y="436"/>
                    <a:pt x="369" y="430"/>
                    <a:pt x="363" y="427"/>
                  </a:cubicBezTo>
                  <a:cubicBezTo>
                    <a:pt x="360" y="424"/>
                    <a:pt x="360" y="418"/>
                    <a:pt x="366" y="424"/>
                  </a:cubicBezTo>
                  <a:cubicBezTo>
                    <a:pt x="372" y="427"/>
                    <a:pt x="375" y="424"/>
                    <a:pt x="372" y="421"/>
                  </a:cubicBezTo>
                  <a:cubicBezTo>
                    <a:pt x="369" y="415"/>
                    <a:pt x="375" y="415"/>
                    <a:pt x="384" y="412"/>
                  </a:cubicBezTo>
                  <a:cubicBezTo>
                    <a:pt x="390" y="412"/>
                    <a:pt x="393" y="409"/>
                    <a:pt x="393" y="403"/>
                  </a:cubicBezTo>
                  <a:cubicBezTo>
                    <a:pt x="390" y="397"/>
                    <a:pt x="399" y="400"/>
                    <a:pt x="399" y="403"/>
                  </a:cubicBezTo>
                  <a:cubicBezTo>
                    <a:pt x="396" y="409"/>
                    <a:pt x="396" y="412"/>
                    <a:pt x="399" y="409"/>
                  </a:cubicBezTo>
                  <a:cubicBezTo>
                    <a:pt x="405" y="406"/>
                    <a:pt x="411" y="409"/>
                    <a:pt x="420" y="406"/>
                  </a:cubicBezTo>
                  <a:cubicBezTo>
                    <a:pt x="432" y="403"/>
                    <a:pt x="444" y="391"/>
                    <a:pt x="447" y="382"/>
                  </a:cubicBezTo>
                  <a:cubicBezTo>
                    <a:pt x="450" y="373"/>
                    <a:pt x="462" y="376"/>
                    <a:pt x="459" y="370"/>
                  </a:cubicBezTo>
                  <a:cubicBezTo>
                    <a:pt x="459" y="364"/>
                    <a:pt x="462" y="361"/>
                    <a:pt x="471" y="364"/>
                  </a:cubicBezTo>
                  <a:cubicBezTo>
                    <a:pt x="480" y="370"/>
                    <a:pt x="474" y="361"/>
                    <a:pt x="483" y="361"/>
                  </a:cubicBezTo>
                  <a:cubicBezTo>
                    <a:pt x="492" y="361"/>
                    <a:pt x="489" y="358"/>
                    <a:pt x="498" y="358"/>
                  </a:cubicBezTo>
                  <a:cubicBezTo>
                    <a:pt x="507" y="358"/>
                    <a:pt x="531" y="355"/>
                    <a:pt x="540" y="349"/>
                  </a:cubicBezTo>
                  <a:cubicBezTo>
                    <a:pt x="546" y="340"/>
                    <a:pt x="564" y="334"/>
                    <a:pt x="570" y="331"/>
                  </a:cubicBezTo>
                  <a:cubicBezTo>
                    <a:pt x="579" y="328"/>
                    <a:pt x="579" y="322"/>
                    <a:pt x="576" y="325"/>
                  </a:cubicBezTo>
                  <a:cubicBezTo>
                    <a:pt x="570" y="328"/>
                    <a:pt x="561" y="328"/>
                    <a:pt x="555" y="325"/>
                  </a:cubicBezTo>
                  <a:cubicBezTo>
                    <a:pt x="549" y="325"/>
                    <a:pt x="537" y="319"/>
                    <a:pt x="531" y="322"/>
                  </a:cubicBezTo>
                  <a:cubicBezTo>
                    <a:pt x="522" y="328"/>
                    <a:pt x="528" y="316"/>
                    <a:pt x="534" y="316"/>
                  </a:cubicBezTo>
                  <a:cubicBezTo>
                    <a:pt x="540" y="316"/>
                    <a:pt x="537" y="313"/>
                    <a:pt x="537" y="304"/>
                  </a:cubicBezTo>
                  <a:cubicBezTo>
                    <a:pt x="534" y="298"/>
                    <a:pt x="546" y="304"/>
                    <a:pt x="552" y="310"/>
                  </a:cubicBezTo>
                  <a:cubicBezTo>
                    <a:pt x="558" y="319"/>
                    <a:pt x="567" y="322"/>
                    <a:pt x="576" y="319"/>
                  </a:cubicBezTo>
                  <a:cubicBezTo>
                    <a:pt x="585" y="316"/>
                    <a:pt x="576" y="310"/>
                    <a:pt x="579" y="304"/>
                  </a:cubicBezTo>
                  <a:cubicBezTo>
                    <a:pt x="585" y="298"/>
                    <a:pt x="552" y="283"/>
                    <a:pt x="552" y="277"/>
                  </a:cubicBezTo>
                  <a:cubicBezTo>
                    <a:pt x="549" y="274"/>
                    <a:pt x="558" y="277"/>
                    <a:pt x="567" y="280"/>
                  </a:cubicBezTo>
                  <a:cubicBezTo>
                    <a:pt x="576" y="283"/>
                    <a:pt x="579" y="274"/>
                    <a:pt x="579" y="268"/>
                  </a:cubicBezTo>
                  <a:cubicBezTo>
                    <a:pt x="579" y="265"/>
                    <a:pt x="561" y="262"/>
                    <a:pt x="552" y="268"/>
                  </a:cubicBezTo>
                  <a:cubicBezTo>
                    <a:pt x="543" y="274"/>
                    <a:pt x="534" y="262"/>
                    <a:pt x="546" y="262"/>
                  </a:cubicBezTo>
                  <a:cubicBezTo>
                    <a:pt x="558" y="259"/>
                    <a:pt x="546" y="256"/>
                    <a:pt x="552" y="250"/>
                  </a:cubicBezTo>
                  <a:cubicBezTo>
                    <a:pt x="555" y="247"/>
                    <a:pt x="567" y="262"/>
                    <a:pt x="576" y="259"/>
                  </a:cubicBezTo>
                  <a:cubicBezTo>
                    <a:pt x="582" y="256"/>
                    <a:pt x="588" y="259"/>
                    <a:pt x="594" y="253"/>
                  </a:cubicBezTo>
                  <a:cubicBezTo>
                    <a:pt x="600" y="250"/>
                    <a:pt x="582" y="244"/>
                    <a:pt x="579" y="241"/>
                  </a:cubicBezTo>
                  <a:cubicBezTo>
                    <a:pt x="576" y="235"/>
                    <a:pt x="597" y="238"/>
                    <a:pt x="606" y="238"/>
                  </a:cubicBezTo>
                  <a:cubicBezTo>
                    <a:pt x="612" y="238"/>
                    <a:pt x="612" y="229"/>
                    <a:pt x="609" y="229"/>
                  </a:cubicBezTo>
                  <a:cubicBezTo>
                    <a:pt x="603" y="232"/>
                    <a:pt x="582" y="223"/>
                    <a:pt x="588" y="217"/>
                  </a:cubicBezTo>
                  <a:cubicBezTo>
                    <a:pt x="591" y="211"/>
                    <a:pt x="600" y="217"/>
                    <a:pt x="606" y="214"/>
                  </a:cubicBezTo>
                  <a:cubicBezTo>
                    <a:pt x="615" y="211"/>
                    <a:pt x="609" y="193"/>
                    <a:pt x="603" y="193"/>
                  </a:cubicBezTo>
                  <a:cubicBezTo>
                    <a:pt x="597" y="193"/>
                    <a:pt x="582" y="190"/>
                    <a:pt x="582" y="187"/>
                  </a:cubicBezTo>
                  <a:cubicBezTo>
                    <a:pt x="582" y="184"/>
                    <a:pt x="570" y="184"/>
                    <a:pt x="573" y="181"/>
                  </a:cubicBezTo>
                  <a:cubicBezTo>
                    <a:pt x="576" y="178"/>
                    <a:pt x="582" y="184"/>
                    <a:pt x="588" y="178"/>
                  </a:cubicBezTo>
                  <a:cubicBezTo>
                    <a:pt x="597" y="172"/>
                    <a:pt x="612" y="178"/>
                    <a:pt x="618" y="178"/>
                  </a:cubicBezTo>
                  <a:cubicBezTo>
                    <a:pt x="627" y="175"/>
                    <a:pt x="615" y="163"/>
                    <a:pt x="612" y="166"/>
                  </a:cubicBezTo>
                  <a:cubicBezTo>
                    <a:pt x="609" y="169"/>
                    <a:pt x="594" y="169"/>
                    <a:pt x="594" y="163"/>
                  </a:cubicBezTo>
                  <a:cubicBezTo>
                    <a:pt x="594" y="154"/>
                    <a:pt x="606" y="163"/>
                    <a:pt x="609" y="157"/>
                  </a:cubicBezTo>
                  <a:cubicBezTo>
                    <a:pt x="612" y="154"/>
                    <a:pt x="591" y="145"/>
                    <a:pt x="585" y="154"/>
                  </a:cubicBezTo>
                  <a:cubicBezTo>
                    <a:pt x="582" y="160"/>
                    <a:pt x="570" y="157"/>
                    <a:pt x="576" y="154"/>
                  </a:cubicBezTo>
                  <a:cubicBezTo>
                    <a:pt x="585" y="151"/>
                    <a:pt x="585" y="139"/>
                    <a:pt x="585" y="133"/>
                  </a:cubicBezTo>
                  <a:cubicBezTo>
                    <a:pt x="585" y="127"/>
                    <a:pt x="606" y="127"/>
                    <a:pt x="603" y="118"/>
                  </a:cubicBezTo>
                  <a:cubicBezTo>
                    <a:pt x="603" y="109"/>
                    <a:pt x="615" y="106"/>
                    <a:pt x="624" y="106"/>
                  </a:cubicBezTo>
                  <a:cubicBezTo>
                    <a:pt x="630" y="106"/>
                    <a:pt x="624" y="97"/>
                    <a:pt x="615" y="97"/>
                  </a:cubicBezTo>
                  <a:cubicBezTo>
                    <a:pt x="609" y="97"/>
                    <a:pt x="600" y="106"/>
                    <a:pt x="597" y="103"/>
                  </a:cubicBezTo>
                  <a:cubicBezTo>
                    <a:pt x="594" y="100"/>
                    <a:pt x="606" y="94"/>
                    <a:pt x="612" y="94"/>
                  </a:cubicBezTo>
                  <a:cubicBezTo>
                    <a:pt x="618" y="94"/>
                    <a:pt x="636" y="94"/>
                    <a:pt x="639" y="91"/>
                  </a:cubicBezTo>
                  <a:cubicBezTo>
                    <a:pt x="645" y="88"/>
                    <a:pt x="630" y="85"/>
                    <a:pt x="621" y="85"/>
                  </a:cubicBezTo>
                  <a:cubicBezTo>
                    <a:pt x="609" y="85"/>
                    <a:pt x="609" y="82"/>
                    <a:pt x="624" y="82"/>
                  </a:cubicBezTo>
                  <a:cubicBezTo>
                    <a:pt x="642" y="82"/>
                    <a:pt x="639" y="79"/>
                    <a:pt x="651" y="76"/>
                  </a:cubicBezTo>
                  <a:cubicBezTo>
                    <a:pt x="660" y="76"/>
                    <a:pt x="657" y="70"/>
                    <a:pt x="663" y="70"/>
                  </a:cubicBezTo>
                  <a:cubicBezTo>
                    <a:pt x="672" y="70"/>
                    <a:pt x="690" y="61"/>
                    <a:pt x="690" y="58"/>
                  </a:cubicBezTo>
                  <a:cubicBezTo>
                    <a:pt x="690" y="55"/>
                    <a:pt x="663" y="46"/>
                    <a:pt x="651" y="46"/>
                  </a:cubicBezTo>
                  <a:close/>
                  <a:moveTo>
                    <a:pt x="237" y="337"/>
                  </a:moveTo>
                  <a:cubicBezTo>
                    <a:pt x="237" y="331"/>
                    <a:pt x="231" y="337"/>
                    <a:pt x="228" y="328"/>
                  </a:cubicBezTo>
                  <a:cubicBezTo>
                    <a:pt x="222" y="322"/>
                    <a:pt x="207" y="319"/>
                    <a:pt x="204" y="325"/>
                  </a:cubicBezTo>
                  <a:cubicBezTo>
                    <a:pt x="204" y="328"/>
                    <a:pt x="198" y="331"/>
                    <a:pt x="204" y="334"/>
                  </a:cubicBezTo>
                  <a:cubicBezTo>
                    <a:pt x="207" y="340"/>
                    <a:pt x="210" y="337"/>
                    <a:pt x="216" y="343"/>
                  </a:cubicBezTo>
                  <a:cubicBezTo>
                    <a:pt x="219" y="346"/>
                    <a:pt x="234" y="343"/>
                    <a:pt x="237" y="33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4" name="Freeform 889"/>
            <p:cNvSpPr>
              <a:spLocks/>
            </p:cNvSpPr>
            <p:nvPr userDrawn="1"/>
          </p:nvSpPr>
          <p:spPr bwMode="auto">
            <a:xfrm>
              <a:off x="2807" y="-79"/>
              <a:ext cx="42" cy="34"/>
            </a:xfrm>
            <a:custGeom>
              <a:avLst/>
              <a:gdLst>
                <a:gd name="T0" fmla="*/ 0 w 27"/>
                <a:gd name="T1" fmla="*/ 3 h 22"/>
                <a:gd name="T2" fmla="*/ 12 w 27"/>
                <a:gd name="T3" fmla="*/ 9 h 22"/>
                <a:gd name="T4" fmla="*/ 24 w 27"/>
                <a:gd name="T5" fmla="*/ 16 h 22"/>
                <a:gd name="T6" fmla="*/ 0 w 27"/>
                <a:gd name="T7" fmla="*/ 3 h 22"/>
              </a:gdLst>
              <a:ahLst/>
              <a:cxnLst>
                <a:cxn ang="0">
                  <a:pos x="T0" y="T1"/>
                </a:cxn>
                <a:cxn ang="0">
                  <a:pos x="T2" y="T3"/>
                </a:cxn>
                <a:cxn ang="0">
                  <a:pos x="T4" y="T5"/>
                </a:cxn>
                <a:cxn ang="0">
                  <a:pos x="T6" y="T7"/>
                </a:cxn>
              </a:cxnLst>
              <a:rect l="0" t="0" r="r" b="b"/>
              <a:pathLst>
                <a:path w="27" h="22">
                  <a:moveTo>
                    <a:pt x="0" y="3"/>
                  </a:moveTo>
                  <a:cubicBezTo>
                    <a:pt x="3" y="9"/>
                    <a:pt x="6" y="6"/>
                    <a:pt x="12" y="9"/>
                  </a:cubicBezTo>
                  <a:cubicBezTo>
                    <a:pt x="15" y="16"/>
                    <a:pt x="18" y="22"/>
                    <a:pt x="24" y="16"/>
                  </a:cubicBezTo>
                  <a:cubicBezTo>
                    <a:pt x="27" y="9"/>
                    <a:pt x="0" y="0"/>
                    <a:pt x="0"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5" name="Freeform 890"/>
            <p:cNvSpPr>
              <a:spLocks/>
            </p:cNvSpPr>
            <p:nvPr userDrawn="1"/>
          </p:nvSpPr>
          <p:spPr bwMode="auto">
            <a:xfrm>
              <a:off x="2807" y="-79"/>
              <a:ext cx="42" cy="34"/>
            </a:xfrm>
            <a:custGeom>
              <a:avLst/>
              <a:gdLst>
                <a:gd name="T0" fmla="*/ 0 w 27"/>
                <a:gd name="T1" fmla="*/ 3 h 22"/>
                <a:gd name="T2" fmla="*/ 12 w 27"/>
                <a:gd name="T3" fmla="*/ 9 h 22"/>
                <a:gd name="T4" fmla="*/ 24 w 27"/>
                <a:gd name="T5" fmla="*/ 16 h 22"/>
                <a:gd name="T6" fmla="*/ 0 w 27"/>
                <a:gd name="T7" fmla="*/ 3 h 22"/>
              </a:gdLst>
              <a:ahLst/>
              <a:cxnLst>
                <a:cxn ang="0">
                  <a:pos x="T0" y="T1"/>
                </a:cxn>
                <a:cxn ang="0">
                  <a:pos x="T2" y="T3"/>
                </a:cxn>
                <a:cxn ang="0">
                  <a:pos x="T4" y="T5"/>
                </a:cxn>
                <a:cxn ang="0">
                  <a:pos x="T6" y="T7"/>
                </a:cxn>
              </a:cxnLst>
              <a:rect l="0" t="0" r="r" b="b"/>
              <a:pathLst>
                <a:path w="27" h="22">
                  <a:moveTo>
                    <a:pt x="0" y="3"/>
                  </a:moveTo>
                  <a:cubicBezTo>
                    <a:pt x="3" y="9"/>
                    <a:pt x="6" y="6"/>
                    <a:pt x="12" y="9"/>
                  </a:cubicBezTo>
                  <a:cubicBezTo>
                    <a:pt x="15" y="16"/>
                    <a:pt x="18" y="22"/>
                    <a:pt x="24" y="16"/>
                  </a:cubicBezTo>
                  <a:cubicBezTo>
                    <a:pt x="27" y="9"/>
                    <a:pt x="0" y="0"/>
                    <a:pt x="0"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6" name="Freeform 891"/>
            <p:cNvSpPr>
              <a:spLocks noEditPoints="1"/>
            </p:cNvSpPr>
            <p:nvPr userDrawn="1"/>
          </p:nvSpPr>
          <p:spPr bwMode="auto">
            <a:xfrm>
              <a:off x="983" y="-3145"/>
              <a:ext cx="1566" cy="1208"/>
            </a:xfrm>
            <a:custGeom>
              <a:avLst/>
              <a:gdLst>
                <a:gd name="T0" fmla="*/ 204 w 1005"/>
                <a:gd name="T1" fmla="*/ 687 h 774"/>
                <a:gd name="T2" fmla="*/ 249 w 1005"/>
                <a:gd name="T3" fmla="*/ 228 h 774"/>
                <a:gd name="T4" fmla="*/ 411 w 1005"/>
                <a:gd name="T5" fmla="*/ 240 h 774"/>
                <a:gd name="T6" fmla="*/ 312 w 1005"/>
                <a:gd name="T7" fmla="*/ 267 h 774"/>
                <a:gd name="T8" fmla="*/ 270 w 1005"/>
                <a:gd name="T9" fmla="*/ 321 h 774"/>
                <a:gd name="T10" fmla="*/ 267 w 1005"/>
                <a:gd name="T11" fmla="*/ 186 h 774"/>
                <a:gd name="T12" fmla="*/ 285 w 1005"/>
                <a:gd name="T13" fmla="*/ 162 h 774"/>
                <a:gd name="T14" fmla="*/ 270 w 1005"/>
                <a:gd name="T15" fmla="*/ 204 h 774"/>
                <a:gd name="T16" fmla="*/ 366 w 1005"/>
                <a:gd name="T17" fmla="*/ 168 h 774"/>
                <a:gd name="T18" fmla="*/ 318 w 1005"/>
                <a:gd name="T19" fmla="*/ 147 h 774"/>
                <a:gd name="T20" fmla="*/ 426 w 1005"/>
                <a:gd name="T21" fmla="*/ 132 h 774"/>
                <a:gd name="T22" fmla="*/ 468 w 1005"/>
                <a:gd name="T23" fmla="*/ 90 h 774"/>
                <a:gd name="T24" fmla="*/ 438 w 1005"/>
                <a:gd name="T25" fmla="*/ 195 h 774"/>
                <a:gd name="T26" fmla="*/ 543 w 1005"/>
                <a:gd name="T27" fmla="*/ 147 h 774"/>
                <a:gd name="T28" fmla="*/ 501 w 1005"/>
                <a:gd name="T29" fmla="*/ 243 h 774"/>
                <a:gd name="T30" fmla="*/ 633 w 1005"/>
                <a:gd name="T31" fmla="*/ 222 h 774"/>
                <a:gd name="T32" fmla="*/ 555 w 1005"/>
                <a:gd name="T33" fmla="*/ 210 h 774"/>
                <a:gd name="T34" fmla="*/ 633 w 1005"/>
                <a:gd name="T35" fmla="*/ 108 h 774"/>
                <a:gd name="T36" fmla="*/ 510 w 1005"/>
                <a:gd name="T37" fmla="*/ 93 h 774"/>
                <a:gd name="T38" fmla="*/ 678 w 1005"/>
                <a:gd name="T39" fmla="*/ 93 h 774"/>
                <a:gd name="T40" fmla="*/ 609 w 1005"/>
                <a:gd name="T41" fmla="*/ 153 h 774"/>
                <a:gd name="T42" fmla="*/ 711 w 1005"/>
                <a:gd name="T43" fmla="*/ 153 h 774"/>
                <a:gd name="T44" fmla="*/ 897 w 1005"/>
                <a:gd name="T45" fmla="*/ 33 h 774"/>
                <a:gd name="T46" fmla="*/ 690 w 1005"/>
                <a:gd name="T47" fmla="*/ 12 h 774"/>
                <a:gd name="T48" fmla="*/ 696 w 1005"/>
                <a:gd name="T49" fmla="*/ 477 h 774"/>
                <a:gd name="T50" fmla="*/ 651 w 1005"/>
                <a:gd name="T51" fmla="*/ 438 h 774"/>
                <a:gd name="T52" fmla="*/ 843 w 1005"/>
                <a:gd name="T53" fmla="*/ 336 h 774"/>
                <a:gd name="T54" fmla="*/ 747 w 1005"/>
                <a:gd name="T55" fmla="*/ 270 h 774"/>
                <a:gd name="T56" fmla="*/ 618 w 1005"/>
                <a:gd name="T57" fmla="*/ 264 h 774"/>
                <a:gd name="T58" fmla="*/ 705 w 1005"/>
                <a:gd name="T59" fmla="*/ 321 h 774"/>
                <a:gd name="T60" fmla="*/ 795 w 1005"/>
                <a:gd name="T61" fmla="*/ 393 h 774"/>
                <a:gd name="T62" fmla="*/ 822 w 1005"/>
                <a:gd name="T63" fmla="*/ 441 h 774"/>
                <a:gd name="T64" fmla="*/ 684 w 1005"/>
                <a:gd name="T65" fmla="*/ 240 h 774"/>
                <a:gd name="T66" fmla="*/ 984 w 1005"/>
                <a:gd name="T67" fmla="*/ 672 h 774"/>
                <a:gd name="T68" fmla="*/ 975 w 1005"/>
                <a:gd name="T69" fmla="*/ 696 h 774"/>
                <a:gd name="T70" fmla="*/ 903 w 1005"/>
                <a:gd name="T71" fmla="*/ 720 h 774"/>
                <a:gd name="T72" fmla="*/ 837 w 1005"/>
                <a:gd name="T73" fmla="*/ 672 h 774"/>
                <a:gd name="T74" fmla="*/ 924 w 1005"/>
                <a:gd name="T75" fmla="*/ 609 h 774"/>
                <a:gd name="T76" fmla="*/ 900 w 1005"/>
                <a:gd name="T77" fmla="*/ 543 h 774"/>
                <a:gd name="T78" fmla="*/ 828 w 1005"/>
                <a:gd name="T79" fmla="*/ 528 h 774"/>
                <a:gd name="T80" fmla="*/ 753 w 1005"/>
                <a:gd name="T81" fmla="*/ 465 h 774"/>
                <a:gd name="T82" fmla="*/ 729 w 1005"/>
                <a:gd name="T83" fmla="*/ 543 h 774"/>
                <a:gd name="T84" fmla="*/ 675 w 1005"/>
                <a:gd name="T85" fmla="*/ 627 h 774"/>
                <a:gd name="T86" fmla="*/ 552 w 1005"/>
                <a:gd name="T87" fmla="*/ 549 h 774"/>
                <a:gd name="T88" fmla="*/ 537 w 1005"/>
                <a:gd name="T89" fmla="*/ 432 h 774"/>
                <a:gd name="T90" fmla="*/ 633 w 1005"/>
                <a:gd name="T91" fmla="*/ 390 h 774"/>
                <a:gd name="T92" fmla="*/ 672 w 1005"/>
                <a:gd name="T93" fmla="*/ 333 h 774"/>
                <a:gd name="T94" fmla="*/ 606 w 1005"/>
                <a:gd name="T95" fmla="*/ 369 h 774"/>
                <a:gd name="T96" fmla="*/ 558 w 1005"/>
                <a:gd name="T97" fmla="*/ 318 h 774"/>
                <a:gd name="T98" fmla="*/ 543 w 1005"/>
                <a:gd name="T99" fmla="*/ 228 h 774"/>
                <a:gd name="T100" fmla="*/ 534 w 1005"/>
                <a:gd name="T101" fmla="*/ 327 h 774"/>
                <a:gd name="T102" fmla="*/ 513 w 1005"/>
                <a:gd name="T103" fmla="*/ 345 h 774"/>
                <a:gd name="T104" fmla="*/ 483 w 1005"/>
                <a:gd name="T105" fmla="*/ 360 h 774"/>
                <a:gd name="T106" fmla="*/ 384 w 1005"/>
                <a:gd name="T107" fmla="*/ 372 h 774"/>
                <a:gd name="T108" fmla="*/ 252 w 1005"/>
                <a:gd name="T109" fmla="*/ 333 h 774"/>
                <a:gd name="T110" fmla="*/ 99 w 1005"/>
                <a:gd name="T111" fmla="*/ 339 h 774"/>
                <a:gd name="T112" fmla="*/ 66 w 1005"/>
                <a:gd name="T113" fmla="*/ 345 h 774"/>
                <a:gd name="T114" fmla="*/ 114 w 1005"/>
                <a:gd name="T115" fmla="*/ 564 h 774"/>
                <a:gd name="T116" fmla="*/ 153 w 1005"/>
                <a:gd name="T117" fmla="*/ 645 h 774"/>
                <a:gd name="T118" fmla="*/ 558 w 1005"/>
                <a:gd name="T119" fmla="*/ 687 h 774"/>
                <a:gd name="T120" fmla="*/ 666 w 1005"/>
                <a:gd name="T121" fmla="*/ 765 h 774"/>
                <a:gd name="T122" fmla="*/ 789 w 1005"/>
                <a:gd name="T123" fmla="*/ 735 h 774"/>
                <a:gd name="T124" fmla="*/ 879 w 1005"/>
                <a:gd name="T125" fmla="*/ 741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5" h="774">
                  <a:moveTo>
                    <a:pt x="198" y="678"/>
                  </a:moveTo>
                  <a:cubicBezTo>
                    <a:pt x="195" y="675"/>
                    <a:pt x="189" y="675"/>
                    <a:pt x="186" y="672"/>
                  </a:cubicBezTo>
                  <a:cubicBezTo>
                    <a:pt x="186" y="669"/>
                    <a:pt x="177" y="657"/>
                    <a:pt x="174" y="657"/>
                  </a:cubicBezTo>
                  <a:cubicBezTo>
                    <a:pt x="168" y="657"/>
                    <a:pt x="162" y="657"/>
                    <a:pt x="159" y="654"/>
                  </a:cubicBezTo>
                  <a:cubicBezTo>
                    <a:pt x="153" y="651"/>
                    <a:pt x="150" y="648"/>
                    <a:pt x="147" y="651"/>
                  </a:cubicBezTo>
                  <a:cubicBezTo>
                    <a:pt x="144" y="654"/>
                    <a:pt x="150" y="654"/>
                    <a:pt x="150" y="657"/>
                  </a:cubicBezTo>
                  <a:cubicBezTo>
                    <a:pt x="150" y="660"/>
                    <a:pt x="153" y="660"/>
                    <a:pt x="156" y="660"/>
                  </a:cubicBezTo>
                  <a:cubicBezTo>
                    <a:pt x="159" y="660"/>
                    <a:pt x="159" y="666"/>
                    <a:pt x="162" y="666"/>
                  </a:cubicBezTo>
                  <a:cubicBezTo>
                    <a:pt x="165" y="666"/>
                    <a:pt x="168" y="672"/>
                    <a:pt x="171" y="672"/>
                  </a:cubicBezTo>
                  <a:cubicBezTo>
                    <a:pt x="174" y="672"/>
                    <a:pt x="174" y="675"/>
                    <a:pt x="177" y="678"/>
                  </a:cubicBezTo>
                  <a:cubicBezTo>
                    <a:pt x="177" y="681"/>
                    <a:pt x="183" y="678"/>
                    <a:pt x="183" y="681"/>
                  </a:cubicBezTo>
                  <a:cubicBezTo>
                    <a:pt x="183" y="681"/>
                    <a:pt x="186" y="684"/>
                    <a:pt x="186" y="687"/>
                  </a:cubicBezTo>
                  <a:cubicBezTo>
                    <a:pt x="195" y="687"/>
                    <a:pt x="201" y="687"/>
                    <a:pt x="204" y="687"/>
                  </a:cubicBezTo>
                  <a:cubicBezTo>
                    <a:pt x="204" y="684"/>
                    <a:pt x="207" y="684"/>
                    <a:pt x="207" y="681"/>
                  </a:cubicBezTo>
                  <a:cubicBezTo>
                    <a:pt x="207" y="678"/>
                    <a:pt x="204" y="681"/>
                    <a:pt x="198" y="678"/>
                  </a:cubicBezTo>
                  <a:close/>
                  <a:moveTo>
                    <a:pt x="192" y="279"/>
                  </a:moveTo>
                  <a:cubicBezTo>
                    <a:pt x="201" y="282"/>
                    <a:pt x="201" y="297"/>
                    <a:pt x="207" y="297"/>
                  </a:cubicBezTo>
                  <a:cubicBezTo>
                    <a:pt x="210" y="297"/>
                    <a:pt x="207" y="294"/>
                    <a:pt x="213" y="294"/>
                  </a:cubicBezTo>
                  <a:cubicBezTo>
                    <a:pt x="222" y="294"/>
                    <a:pt x="219" y="291"/>
                    <a:pt x="225" y="291"/>
                  </a:cubicBezTo>
                  <a:cubicBezTo>
                    <a:pt x="231" y="291"/>
                    <a:pt x="237" y="288"/>
                    <a:pt x="237" y="282"/>
                  </a:cubicBezTo>
                  <a:cubicBezTo>
                    <a:pt x="237" y="276"/>
                    <a:pt x="240" y="273"/>
                    <a:pt x="246" y="270"/>
                  </a:cubicBezTo>
                  <a:cubicBezTo>
                    <a:pt x="252" y="270"/>
                    <a:pt x="246" y="261"/>
                    <a:pt x="255" y="261"/>
                  </a:cubicBezTo>
                  <a:cubicBezTo>
                    <a:pt x="264" y="258"/>
                    <a:pt x="288" y="249"/>
                    <a:pt x="291" y="246"/>
                  </a:cubicBezTo>
                  <a:cubicBezTo>
                    <a:pt x="297" y="243"/>
                    <a:pt x="288" y="237"/>
                    <a:pt x="279" y="231"/>
                  </a:cubicBezTo>
                  <a:cubicBezTo>
                    <a:pt x="270" y="228"/>
                    <a:pt x="261" y="225"/>
                    <a:pt x="255" y="231"/>
                  </a:cubicBezTo>
                  <a:cubicBezTo>
                    <a:pt x="249" y="234"/>
                    <a:pt x="252" y="225"/>
                    <a:pt x="249" y="228"/>
                  </a:cubicBezTo>
                  <a:cubicBezTo>
                    <a:pt x="243" y="231"/>
                    <a:pt x="228" y="222"/>
                    <a:pt x="225" y="222"/>
                  </a:cubicBezTo>
                  <a:cubicBezTo>
                    <a:pt x="222" y="219"/>
                    <a:pt x="195" y="225"/>
                    <a:pt x="189" y="225"/>
                  </a:cubicBezTo>
                  <a:cubicBezTo>
                    <a:pt x="183" y="225"/>
                    <a:pt x="189" y="234"/>
                    <a:pt x="195" y="237"/>
                  </a:cubicBezTo>
                  <a:cubicBezTo>
                    <a:pt x="198" y="240"/>
                    <a:pt x="183" y="252"/>
                    <a:pt x="186" y="255"/>
                  </a:cubicBezTo>
                  <a:cubicBezTo>
                    <a:pt x="189" y="255"/>
                    <a:pt x="183" y="264"/>
                    <a:pt x="177" y="270"/>
                  </a:cubicBezTo>
                  <a:cubicBezTo>
                    <a:pt x="171" y="279"/>
                    <a:pt x="183" y="279"/>
                    <a:pt x="192" y="279"/>
                  </a:cubicBezTo>
                  <a:close/>
                  <a:moveTo>
                    <a:pt x="441" y="321"/>
                  </a:moveTo>
                  <a:cubicBezTo>
                    <a:pt x="444" y="318"/>
                    <a:pt x="456" y="327"/>
                    <a:pt x="456" y="321"/>
                  </a:cubicBezTo>
                  <a:cubicBezTo>
                    <a:pt x="456" y="312"/>
                    <a:pt x="444" y="309"/>
                    <a:pt x="438" y="306"/>
                  </a:cubicBezTo>
                  <a:cubicBezTo>
                    <a:pt x="432" y="303"/>
                    <a:pt x="429" y="303"/>
                    <a:pt x="420" y="297"/>
                  </a:cubicBezTo>
                  <a:cubicBezTo>
                    <a:pt x="408" y="291"/>
                    <a:pt x="420" y="285"/>
                    <a:pt x="414" y="282"/>
                  </a:cubicBezTo>
                  <a:cubicBezTo>
                    <a:pt x="408" y="276"/>
                    <a:pt x="405" y="261"/>
                    <a:pt x="411" y="255"/>
                  </a:cubicBezTo>
                  <a:cubicBezTo>
                    <a:pt x="414" y="249"/>
                    <a:pt x="420" y="243"/>
                    <a:pt x="411" y="240"/>
                  </a:cubicBezTo>
                  <a:cubicBezTo>
                    <a:pt x="402" y="237"/>
                    <a:pt x="387" y="243"/>
                    <a:pt x="390" y="243"/>
                  </a:cubicBezTo>
                  <a:cubicBezTo>
                    <a:pt x="390" y="246"/>
                    <a:pt x="402" y="252"/>
                    <a:pt x="402" y="255"/>
                  </a:cubicBezTo>
                  <a:cubicBezTo>
                    <a:pt x="402" y="258"/>
                    <a:pt x="393" y="249"/>
                    <a:pt x="387" y="249"/>
                  </a:cubicBezTo>
                  <a:cubicBezTo>
                    <a:pt x="384" y="252"/>
                    <a:pt x="378" y="246"/>
                    <a:pt x="375" y="249"/>
                  </a:cubicBezTo>
                  <a:cubicBezTo>
                    <a:pt x="372" y="255"/>
                    <a:pt x="381" y="273"/>
                    <a:pt x="384" y="279"/>
                  </a:cubicBezTo>
                  <a:cubicBezTo>
                    <a:pt x="387" y="282"/>
                    <a:pt x="381" y="282"/>
                    <a:pt x="375" y="285"/>
                  </a:cubicBezTo>
                  <a:cubicBezTo>
                    <a:pt x="372" y="285"/>
                    <a:pt x="372" y="270"/>
                    <a:pt x="369" y="264"/>
                  </a:cubicBezTo>
                  <a:cubicBezTo>
                    <a:pt x="363" y="258"/>
                    <a:pt x="348" y="252"/>
                    <a:pt x="348" y="255"/>
                  </a:cubicBezTo>
                  <a:cubicBezTo>
                    <a:pt x="345" y="261"/>
                    <a:pt x="357" y="261"/>
                    <a:pt x="354" y="267"/>
                  </a:cubicBezTo>
                  <a:cubicBezTo>
                    <a:pt x="354" y="270"/>
                    <a:pt x="348" y="261"/>
                    <a:pt x="342" y="267"/>
                  </a:cubicBezTo>
                  <a:cubicBezTo>
                    <a:pt x="336" y="270"/>
                    <a:pt x="339" y="267"/>
                    <a:pt x="339" y="264"/>
                  </a:cubicBezTo>
                  <a:cubicBezTo>
                    <a:pt x="339" y="258"/>
                    <a:pt x="330" y="255"/>
                    <a:pt x="321" y="255"/>
                  </a:cubicBezTo>
                  <a:cubicBezTo>
                    <a:pt x="312" y="255"/>
                    <a:pt x="315" y="264"/>
                    <a:pt x="312" y="267"/>
                  </a:cubicBezTo>
                  <a:cubicBezTo>
                    <a:pt x="309" y="267"/>
                    <a:pt x="294" y="264"/>
                    <a:pt x="306" y="261"/>
                  </a:cubicBezTo>
                  <a:cubicBezTo>
                    <a:pt x="315" y="261"/>
                    <a:pt x="309" y="255"/>
                    <a:pt x="306" y="249"/>
                  </a:cubicBezTo>
                  <a:cubicBezTo>
                    <a:pt x="303" y="243"/>
                    <a:pt x="294" y="249"/>
                    <a:pt x="279" y="255"/>
                  </a:cubicBezTo>
                  <a:cubicBezTo>
                    <a:pt x="264" y="261"/>
                    <a:pt x="255" y="267"/>
                    <a:pt x="258" y="267"/>
                  </a:cubicBezTo>
                  <a:cubicBezTo>
                    <a:pt x="261" y="267"/>
                    <a:pt x="261" y="270"/>
                    <a:pt x="255" y="276"/>
                  </a:cubicBezTo>
                  <a:cubicBezTo>
                    <a:pt x="249" y="282"/>
                    <a:pt x="255" y="285"/>
                    <a:pt x="261" y="285"/>
                  </a:cubicBezTo>
                  <a:cubicBezTo>
                    <a:pt x="264" y="285"/>
                    <a:pt x="261" y="288"/>
                    <a:pt x="264" y="291"/>
                  </a:cubicBezTo>
                  <a:cubicBezTo>
                    <a:pt x="267" y="291"/>
                    <a:pt x="285" y="285"/>
                    <a:pt x="291" y="288"/>
                  </a:cubicBezTo>
                  <a:cubicBezTo>
                    <a:pt x="297" y="291"/>
                    <a:pt x="261" y="294"/>
                    <a:pt x="261" y="300"/>
                  </a:cubicBezTo>
                  <a:cubicBezTo>
                    <a:pt x="261" y="306"/>
                    <a:pt x="279" y="309"/>
                    <a:pt x="294" y="306"/>
                  </a:cubicBezTo>
                  <a:cubicBezTo>
                    <a:pt x="309" y="303"/>
                    <a:pt x="333" y="309"/>
                    <a:pt x="333" y="312"/>
                  </a:cubicBezTo>
                  <a:cubicBezTo>
                    <a:pt x="333" y="315"/>
                    <a:pt x="315" y="315"/>
                    <a:pt x="303" y="312"/>
                  </a:cubicBezTo>
                  <a:cubicBezTo>
                    <a:pt x="291" y="312"/>
                    <a:pt x="270" y="318"/>
                    <a:pt x="270" y="321"/>
                  </a:cubicBezTo>
                  <a:cubicBezTo>
                    <a:pt x="273" y="324"/>
                    <a:pt x="273" y="324"/>
                    <a:pt x="285" y="330"/>
                  </a:cubicBezTo>
                  <a:cubicBezTo>
                    <a:pt x="300" y="336"/>
                    <a:pt x="312" y="327"/>
                    <a:pt x="312" y="336"/>
                  </a:cubicBezTo>
                  <a:cubicBezTo>
                    <a:pt x="312" y="345"/>
                    <a:pt x="318" y="348"/>
                    <a:pt x="336" y="348"/>
                  </a:cubicBezTo>
                  <a:cubicBezTo>
                    <a:pt x="354" y="348"/>
                    <a:pt x="363" y="339"/>
                    <a:pt x="372" y="339"/>
                  </a:cubicBezTo>
                  <a:cubicBezTo>
                    <a:pt x="378" y="342"/>
                    <a:pt x="384" y="339"/>
                    <a:pt x="387" y="333"/>
                  </a:cubicBezTo>
                  <a:cubicBezTo>
                    <a:pt x="390" y="327"/>
                    <a:pt x="396" y="330"/>
                    <a:pt x="396" y="333"/>
                  </a:cubicBezTo>
                  <a:cubicBezTo>
                    <a:pt x="396" y="336"/>
                    <a:pt x="408" y="336"/>
                    <a:pt x="411" y="339"/>
                  </a:cubicBezTo>
                  <a:cubicBezTo>
                    <a:pt x="417" y="345"/>
                    <a:pt x="438" y="342"/>
                    <a:pt x="447" y="339"/>
                  </a:cubicBezTo>
                  <a:cubicBezTo>
                    <a:pt x="453" y="336"/>
                    <a:pt x="441" y="324"/>
                    <a:pt x="438" y="330"/>
                  </a:cubicBezTo>
                  <a:cubicBezTo>
                    <a:pt x="435" y="333"/>
                    <a:pt x="432" y="330"/>
                    <a:pt x="429" y="330"/>
                  </a:cubicBezTo>
                  <a:cubicBezTo>
                    <a:pt x="429" y="327"/>
                    <a:pt x="438" y="324"/>
                    <a:pt x="441" y="321"/>
                  </a:cubicBezTo>
                  <a:close/>
                  <a:moveTo>
                    <a:pt x="252" y="198"/>
                  </a:moveTo>
                  <a:cubicBezTo>
                    <a:pt x="261" y="198"/>
                    <a:pt x="270" y="192"/>
                    <a:pt x="267" y="186"/>
                  </a:cubicBezTo>
                  <a:cubicBezTo>
                    <a:pt x="267" y="183"/>
                    <a:pt x="246" y="198"/>
                    <a:pt x="252" y="198"/>
                  </a:cubicBezTo>
                  <a:close/>
                  <a:moveTo>
                    <a:pt x="210" y="183"/>
                  </a:moveTo>
                  <a:cubicBezTo>
                    <a:pt x="213" y="186"/>
                    <a:pt x="210" y="192"/>
                    <a:pt x="213" y="192"/>
                  </a:cubicBezTo>
                  <a:cubicBezTo>
                    <a:pt x="216" y="189"/>
                    <a:pt x="219" y="189"/>
                    <a:pt x="222" y="189"/>
                  </a:cubicBezTo>
                  <a:cubicBezTo>
                    <a:pt x="228" y="192"/>
                    <a:pt x="228" y="186"/>
                    <a:pt x="231" y="183"/>
                  </a:cubicBezTo>
                  <a:cubicBezTo>
                    <a:pt x="234" y="180"/>
                    <a:pt x="231" y="192"/>
                    <a:pt x="237" y="192"/>
                  </a:cubicBezTo>
                  <a:cubicBezTo>
                    <a:pt x="243" y="192"/>
                    <a:pt x="243" y="180"/>
                    <a:pt x="249" y="183"/>
                  </a:cubicBezTo>
                  <a:cubicBezTo>
                    <a:pt x="252" y="189"/>
                    <a:pt x="255" y="183"/>
                    <a:pt x="255" y="180"/>
                  </a:cubicBezTo>
                  <a:cubicBezTo>
                    <a:pt x="255" y="177"/>
                    <a:pt x="255" y="171"/>
                    <a:pt x="261" y="168"/>
                  </a:cubicBezTo>
                  <a:cubicBezTo>
                    <a:pt x="267" y="168"/>
                    <a:pt x="264" y="174"/>
                    <a:pt x="264" y="180"/>
                  </a:cubicBezTo>
                  <a:cubicBezTo>
                    <a:pt x="270" y="186"/>
                    <a:pt x="276" y="180"/>
                    <a:pt x="276" y="177"/>
                  </a:cubicBezTo>
                  <a:cubicBezTo>
                    <a:pt x="276" y="174"/>
                    <a:pt x="285" y="174"/>
                    <a:pt x="285" y="171"/>
                  </a:cubicBezTo>
                  <a:cubicBezTo>
                    <a:pt x="285" y="168"/>
                    <a:pt x="288" y="168"/>
                    <a:pt x="285" y="162"/>
                  </a:cubicBezTo>
                  <a:cubicBezTo>
                    <a:pt x="282" y="159"/>
                    <a:pt x="288" y="159"/>
                    <a:pt x="291" y="156"/>
                  </a:cubicBezTo>
                  <a:cubicBezTo>
                    <a:pt x="294" y="153"/>
                    <a:pt x="288" y="156"/>
                    <a:pt x="282" y="153"/>
                  </a:cubicBezTo>
                  <a:cubicBezTo>
                    <a:pt x="279" y="147"/>
                    <a:pt x="276" y="153"/>
                    <a:pt x="276" y="156"/>
                  </a:cubicBezTo>
                  <a:cubicBezTo>
                    <a:pt x="276" y="159"/>
                    <a:pt x="267" y="156"/>
                    <a:pt x="261" y="156"/>
                  </a:cubicBezTo>
                  <a:cubicBezTo>
                    <a:pt x="255" y="153"/>
                    <a:pt x="249" y="162"/>
                    <a:pt x="240" y="165"/>
                  </a:cubicBezTo>
                  <a:cubicBezTo>
                    <a:pt x="231" y="171"/>
                    <a:pt x="231" y="177"/>
                    <a:pt x="225" y="177"/>
                  </a:cubicBezTo>
                  <a:cubicBezTo>
                    <a:pt x="216" y="177"/>
                    <a:pt x="207" y="183"/>
                    <a:pt x="210" y="183"/>
                  </a:cubicBezTo>
                  <a:close/>
                  <a:moveTo>
                    <a:pt x="288" y="183"/>
                  </a:moveTo>
                  <a:cubicBezTo>
                    <a:pt x="279" y="183"/>
                    <a:pt x="282" y="189"/>
                    <a:pt x="288" y="189"/>
                  </a:cubicBezTo>
                  <a:cubicBezTo>
                    <a:pt x="297" y="189"/>
                    <a:pt x="300" y="192"/>
                    <a:pt x="288" y="192"/>
                  </a:cubicBezTo>
                  <a:cubicBezTo>
                    <a:pt x="276" y="192"/>
                    <a:pt x="270" y="201"/>
                    <a:pt x="279" y="198"/>
                  </a:cubicBezTo>
                  <a:cubicBezTo>
                    <a:pt x="288" y="198"/>
                    <a:pt x="297" y="198"/>
                    <a:pt x="291" y="198"/>
                  </a:cubicBezTo>
                  <a:cubicBezTo>
                    <a:pt x="285" y="201"/>
                    <a:pt x="270" y="201"/>
                    <a:pt x="270" y="204"/>
                  </a:cubicBezTo>
                  <a:cubicBezTo>
                    <a:pt x="273" y="207"/>
                    <a:pt x="279" y="207"/>
                    <a:pt x="285" y="210"/>
                  </a:cubicBezTo>
                  <a:cubicBezTo>
                    <a:pt x="291" y="213"/>
                    <a:pt x="297" y="213"/>
                    <a:pt x="300" y="207"/>
                  </a:cubicBezTo>
                  <a:cubicBezTo>
                    <a:pt x="306" y="201"/>
                    <a:pt x="312" y="198"/>
                    <a:pt x="309" y="204"/>
                  </a:cubicBezTo>
                  <a:cubicBezTo>
                    <a:pt x="306" y="213"/>
                    <a:pt x="318" y="207"/>
                    <a:pt x="330" y="207"/>
                  </a:cubicBezTo>
                  <a:cubicBezTo>
                    <a:pt x="345" y="204"/>
                    <a:pt x="330" y="213"/>
                    <a:pt x="315" y="216"/>
                  </a:cubicBezTo>
                  <a:cubicBezTo>
                    <a:pt x="300" y="216"/>
                    <a:pt x="303" y="222"/>
                    <a:pt x="315" y="225"/>
                  </a:cubicBezTo>
                  <a:cubicBezTo>
                    <a:pt x="324" y="228"/>
                    <a:pt x="348" y="219"/>
                    <a:pt x="354" y="213"/>
                  </a:cubicBezTo>
                  <a:cubicBezTo>
                    <a:pt x="360" y="207"/>
                    <a:pt x="366" y="216"/>
                    <a:pt x="369" y="213"/>
                  </a:cubicBezTo>
                  <a:cubicBezTo>
                    <a:pt x="375" y="207"/>
                    <a:pt x="387" y="213"/>
                    <a:pt x="396" y="210"/>
                  </a:cubicBezTo>
                  <a:cubicBezTo>
                    <a:pt x="405" y="207"/>
                    <a:pt x="408" y="189"/>
                    <a:pt x="399" y="186"/>
                  </a:cubicBezTo>
                  <a:cubicBezTo>
                    <a:pt x="393" y="183"/>
                    <a:pt x="393" y="192"/>
                    <a:pt x="387" y="192"/>
                  </a:cubicBezTo>
                  <a:cubicBezTo>
                    <a:pt x="381" y="192"/>
                    <a:pt x="378" y="186"/>
                    <a:pt x="375" y="180"/>
                  </a:cubicBezTo>
                  <a:cubicBezTo>
                    <a:pt x="369" y="177"/>
                    <a:pt x="372" y="168"/>
                    <a:pt x="366" y="168"/>
                  </a:cubicBezTo>
                  <a:cubicBezTo>
                    <a:pt x="360" y="171"/>
                    <a:pt x="345" y="180"/>
                    <a:pt x="354" y="183"/>
                  </a:cubicBezTo>
                  <a:cubicBezTo>
                    <a:pt x="363" y="183"/>
                    <a:pt x="360" y="186"/>
                    <a:pt x="354" y="189"/>
                  </a:cubicBezTo>
                  <a:cubicBezTo>
                    <a:pt x="351" y="192"/>
                    <a:pt x="366" y="195"/>
                    <a:pt x="363" y="198"/>
                  </a:cubicBezTo>
                  <a:cubicBezTo>
                    <a:pt x="363" y="201"/>
                    <a:pt x="339" y="198"/>
                    <a:pt x="339" y="192"/>
                  </a:cubicBezTo>
                  <a:cubicBezTo>
                    <a:pt x="336" y="189"/>
                    <a:pt x="318" y="180"/>
                    <a:pt x="312" y="180"/>
                  </a:cubicBezTo>
                  <a:cubicBezTo>
                    <a:pt x="303" y="183"/>
                    <a:pt x="306" y="174"/>
                    <a:pt x="300" y="174"/>
                  </a:cubicBezTo>
                  <a:cubicBezTo>
                    <a:pt x="291" y="174"/>
                    <a:pt x="294" y="180"/>
                    <a:pt x="288" y="183"/>
                  </a:cubicBezTo>
                  <a:close/>
                  <a:moveTo>
                    <a:pt x="312" y="147"/>
                  </a:moveTo>
                  <a:cubicBezTo>
                    <a:pt x="315" y="141"/>
                    <a:pt x="297" y="141"/>
                    <a:pt x="297" y="144"/>
                  </a:cubicBezTo>
                  <a:cubicBezTo>
                    <a:pt x="303" y="147"/>
                    <a:pt x="312" y="153"/>
                    <a:pt x="312" y="147"/>
                  </a:cubicBezTo>
                  <a:close/>
                  <a:moveTo>
                    <a:pt x="354" y="144"/>
                  </a:moveTo>
                  <a:cubicBezTo>
                    <a:pt x="360" y="141"/>
                    <a:pt x="357" y="138"/>
                    <a:pt x="348" y="138"/>
                  </a:cubicBezTo>
                  <a:cubicBezTo>
                    <a:pt x="336" y="141"/>
                    <a:pt x="318" y="141"/>
                    <a:pt x="318" y="147"/>
                  </a:cubicBezTo>
                  <a:cubicBezTo>
                    <a:pt x="318" y="153"/>
                    <a:pt x="324" y="156"/>
                    <a:pt x="333" y="159"/>
                  </a:cubicBezTo>
                  <a:cubicBezTo>
                    <a:pt x="345" y="159"/>
                    <a:pt x="357" y="147"/>
                    <a:pt x="351" y="147"/>
                  </a:cubicBezTo>
                  <a:cubicBezTo>
                    <a:pt x="345" y="147"/>
                    <a:pt x="348" y="144"/>
                    <a:pt x="354" y="144"/>
                  </a:cubicBezTo>
                  <a:close/>
                  <a:moveTo>
                    <a:pt x="330" y="135"/>
                  </a:moveTo>
                  <a:cubicBezTo>
                    <a:pt x="336" y="135"/>
                    <a:pt x="339" y="129"/>
                    <a:pt x="345" y="132"/>
                  </a:cubicBezTo>
                  <a:cubicBezTo>
                    <a:pt x="348" y="135"/>
                    <a:pt x="363" y="138"/>
                    <a:pt x="363" y="129"/>
                  </a:cubicBezTo>
                  <a:cubicBezTo>
                    <a:pt x="363" y="123"/>
                    <a:pt x="342" y="120"/>
                    <a:pt x="339" y="123"/>
                  </a:cubicBezTo>
                  <a:cubicBezTo>
                    <a:pt x="333" y="126"/>
                    <a:pt x="309" y="129"/>
                    <a:pt x="318" y="132"/>
                  </a:cubicBezTo>
                  <a:cubicBezTo>
                    <a:pt x="321" y="135"/>
                    <a:pt x="324" y="132"/>
                    <a:pt x="330" y="135"/>
                  </a:cubicBezTo>
                  <a:close/>
                  <a:moveTo>
                    <a:pt x="414" y="117"/>
                  </a:moveTo>
                  <a:cubicBezTo>
                    <a:pt x="420" y="114"/>
                    <a:pt x="432" y="120"/>
                    <a:pt x="429" y="126"/>
                  </a:cubicBezTo>
                  <a:cubicBezTo>
                    <a:pt x="426" y="129"/>
                    <a:pt x="411" y="123"/>
                    <a:pt x="411" y="129"/>
                  </a:cubicBezTo>
                  <a:cubicBezTo>
                    <a:pt x="411" y="129"/>
                    <a:pt x="414" y="135"/>
                    <a:pt x="426" y="132"/>
                  </a:cubicBezTo>
                  <a:cubicBezTo>
                    <a:pt x="438" y="129"/>
                    <a:pt x="447" y="132"/>
                    <a:pt x="456" y="138"/>
                  </a:cubicBezTo>
                  <a:cubicBezTo>
                    <a:pt x="462" y="144"/>
                    <a:pt x="471" y="147"/>
                    <a:pt x="477" y="141"/>
                  </a:cubicBezTo>
                  <a:cubicBezTo>
                    <a:pt x="483" y="135"/>
                    <a:pt x="468" y="132"/>
                    <a:pt x="471" y="129"/>
                  </a:cubicBezTo>
                  <a:cubicBezTo>
                    <a:pt x="474" y="123"/>
                    <a:pt x="465" y="120"/>
                    <a:pt x="459" y="120"/>
                  </a:cubicBezTo>
                  <a:cubicBezTo>
                    <a:pt x="453" y="120"/>
                    <a:pt x="450" y="111"/>
                    <a:pt x="447" y="111"/>
                  </a:cubicBezTo>
                  <a:cubicBezTo>
                    <a:pt x="441" y="114"/>
                    <a:pt x="438" y="117"/>
                    <a:pt x="438" y="111"/>
                  </a:cubicBezTo>
                  <a:cubicBezTo>
                    <a:pt x="438" y="105"/>
                    <a:pt x="414" y="105"/>
                    <a:pt x="405" y="105"/>
                  </a:cubicBezTo>
                  <a:cubicBezTo>
                    <a:pt x="399" y="108"/>
                    <a:pt x="408" y="123"/>
                    <a:pt x="414" y="117"/>
                  </a:cubicBezTo>
                  <a:close/>
                  <a:moveTo>
                    <a:pt x="417" y="159"/>
                  </a:moveTo>
                  <a:cubicBezTo>
                    <a:pt x="420" y="156"/>
                    <a:pt x="402" y="138"/>
                    <a:pt x="399" y="147"/>
                  </a:cubicBezTo>
                  <a:cubicBezTo>
                    <a:pt x="399" y="153"/>
                    <a:pt x="414" y="165"/>
                    <a:pt x="417" y="159"/>
                  </a:cubicBezTo>
                  <a:close/>
                  <a:moveTo>
                    <a:pt x="483" y="96"/>
                  </a:moveTo>
                  <a:cubicBezTo>
                    <a:pt x="486" y="90"/>
                    <a:pt x="462" y="84"/>
                    <a:pt x="468" y="90"/>
                  </a:cubicBezTo>
                  <a:cubicBezTo>
                    <a:pt x="471" y="93"/>
                    <a:pt x="480" y="102"/>
                    <a:pt x="483" y="96"/>
                  </a:cubicBezTo>
                  <a:close/>
                  <a:moveTo>
                    <a:pt x="426" y="207"/>
                  </a:moveTo>
                  <a:cubicBezTo>
                    <a:pt x="429" y="204"/>
                    <a:pt x="417" y="195"/>
                    <a:pt x="414" y="204"/>
                  </a:cubicBezTo>
                  <a:cubicBezTo>
                    <a:pt x="411" y="210"/>
                    <a:pt x="423" y="213"/>
                    <a:pt x="426" y="207"/>
                  </a:cubicBezTo>
                  <a:close/>
                  <a:moveTo>
                    <a:pt x="483" y="174"/>
                  </a:moveTo>
                  <a:cubicBezTo>
                    <a:pt x="483" y="177"/>
                    <a:pt x="471" y="171"/>
                    <a:pt x="462" y="168"/>
                  </a:cubicBezTo>
                  <a:cubicBezTo>
                    <a:pt x="453" y="165"/>
                    <a:pt x="459" y="177"/>
                    <a:pt x="465" y="183"/>
                  </a:cubicBezTo>
                  <a:cubicBezTo>
                    <a:pt x="471" y="189"/>
                    <a:pt x="462" y="186"/>
                    <a:pt x="453" y="177"/>
                  </a:cubicBezTo>
                  <a:cubicBezTo>
                    <a:pt x="441" y="171"/>
                    <a:pt x="444" y="183"/>
                    <a:pt x="447" y="186"/>
                  </a:cubicBezTo>
                  <a:cubicBezTo>
                    <a:pt x="453" y="189"/>
                    <a:pt x="447" y="195"/>
                    <a:pt x="441" y="186"/>
                  </a:cubicBezTo>
                  <a:cubicBezTo>
                    <a:pt x="435" y="180"/>
                    <a:pt x="432" y="171"/>
                    <a:pt x="423" y="171"/>
                  </a:cubicBezTo>
                  <a:cubicBezTo>
                    <a:pt x="414" y="168"/>
                    <a:pt x="417" y="180"/>
                    <a:pt x="420" y="183"/>
                  </a:cubicBezTo>
                  <a:cubicBezTo>
                    <a:pt x="426" y="189"/>
                    <a:pt x="432" y="192"/>
                    <a:pt x="438" y="195"/>
                  </a:cubicBezTo>
                  <a:cubicBezTo>
                    <a:pt x="447" y="201"/>
                    <a:pt x="459" y="195"/>
                    <a:pt x="465" y="195"/>
                  </a:cubicBezTo>
                  <a:cubicBezTo>
                    <a:pt x="471" y="198"/>
                    <a:pt x="459" y="204"/>
                    <a:pt x="462" y="210"/>
                  </a:cubicBezTo>
                  <a:cubicBezTo>
                    <a:pt x="468" y="216"/>
                    <a:pt x="477" y="210"/>
                    <a:pt x="486" y="210"/>
                  </a:cubicBezTo>
                  <a:cubicBezTo>
                    <a:pt x="495" y="210"/>
                    <a:pt x="492" y="204"/>
                    <a:pt x="495" y="201"/>
                  </a:cubicBezTo>
                  <a:cubicBezTo>
                    <a:pt x="501" y="198"/>
                    <a:pt x="492" y="198"/>
                    <a:pt x="495" y="189"/>
                  </a:cubicBezTo>
                  <a:cubicBezTo>
                    <a:pt x="498" y="183"/>
                    <a:pt x="483" y="168"/>
                    <a:pt x="483" y="174"/>
                  </a:cubicBezTo>
                  <a:close/>
                  <a:moveTo>
                    <a:pt x="504" y="144"/>
                  </a:moveTo>
                  <a:cubicBezTo>
                    <a:pt x="510" y="144"/>
                    <a:pt x="516" y="144"/>
                    <a:pt x="522" y="141"/>
                  </a:cubicBezTo>
                  <a:cubicBezTo>
                    <a:pt x="531" y="138"/>
                    <a:pt x="519" y="138"/>
                    <a:pt x="525" y="132"/>
                  </a:cubicBezTo>
                  <a:cubicBezTo>
                    <a:pt x="528" y="126"/>
                    <a:pt x="513" y="126"/>
                    <a:pt x="513" y="126"/>
                  </a:cubicBezTo>
                  <a:cubicBezTo>
                    <a:pt x="510" y="129"/>
                    <a:pt x="492" y="114"/>
                    <a:pt x="489" y="120"/>
                  </a:cubicBezTo>
                  <a:cubicBezTo>
                    <a:pt x="486" y="123"/>
                    <a:pt x="495" y="144"/>
                    <a:pt x="504" y="144"/>
                  </a:cubicBezTo>
                  <a:close/>
                  <a:moveTo>
                    <a:pt x="543" y="147"/>
                  </a:moveTo>
                  <a:cubicBezTo>
                    <a:pt x="543" y="144"/>
                    <a:pt x="504" y="147"/>
                    <a:pt x="510" y="153"/>
                  </a:cubicBezTo>
                  <a:cubicBezTo>
                    <a:pt x="522" y="159"/>
                    <a:pt x="546" y="150"/>
                    <a:pt x="543" y="147"/>
                  </a:cubicBezTo>
                  <a:close/>
                  <a:moveTo>
                    <a:pt x="537" y="219"/>
                  </a:moveTo>
                  <a:cubicBezTo>
                    <a:pt x="546" y="219"/>
                    <a:pt x="543" y="207"/>
                    <a:pt x="534" y="201"/>
                  </a:cubicBezTo>
                  <a:cubicBezTo>
                    <a:pt x="522" y="192"/>
                    <a:pt x="501" y="207"/>
                    <a:pt x="504" y="210"/>
                  </a:cubicBezTo>
                  <a:cubicBezTo>
                    <a:pt x="510" y="216"/>
                    <a:pt x="528" y="219"/>
                    <a:pt x="537" y="219"/>
                  </a:cubicBezTo>
                  <a:close/>
                  <a:moveTo>
                    <a:pt x="474" y="288"/>
                  </a:moveTo>
                  <a:cubicBezTo>
                    <a:pt x="486" y="297"/>
                    <a:pt x="483" y="282"/>
                    <a:pt x="495" y="285"/>
                  </a:cubicBezTo>
                  <a:cubicBezTo>
                    <a:pt x="507" y="285"/>
                    <a:pt x="507" y="264"/>
                    <a:pt x="510" y="255"/>
                  </a:cubicBezTo>
                  <a:cubicBezTo>
                    <a:pt x="510" y="249"/>
                    <a:pt x="498" y="249"/>
                    <a:pt x="501" y="255"/>
                  </a:cubicBezTo>
                  <a:cubicBezTo>
                    <a:pt x="504" y="261"/>
                    <a:pt x="501" y="267"/>
                    <a:pt x="501" y="258"/>
                  </a:cubicBezTo>
                  <a:cubicBezTo>
                    <a:pt x="501" y="252"/>
                    <a:pt x="489" y="258"/>
                    <a:pt x="486" y="255"/>
                  </a:cubicBezTo>
                  <a:cubicBezTo>
                    <a:pt x="483" y="249"/>
                    <a:pt x="498" y="249"/>
                    <a:pt x="501" y="243"/>
                  </a:cubicBezTo>
                  <a:cubicBezTo>
                    <a:pt x="504" y="234"/>
                    <a:pt x="489" y="237"/>
                    <a:pt x="492" y="231"/>
                  </a:cubicBezTo>
                  <a:cubicBezTo>
                    <a:pt x="498" y="225"/>
                    <a:pt x="471" y="231"/>
                    <a:pt x="480" y="234"/>
                  </a:cubicBezTo>
                  <a:cubicBezTo>
                    <a:pt x="486" y="237"/>
                    <a:pt x="480" y="243"/>
                    <a:pt x="471" y="237"/>
                  </a:cubicBezTo>
                  <a:cubicBezTo>
                    <a:pt x="465" y="231"/>
                    <a:pt x="447" y="240"/>
                    <a:pt x="453" y="246"/>
                  </a:cubicBezTo>
                  <a:cubicBezTo>
                    <a:pt x="459" y="249"/>
                    <a:pt x="474" y="243"/>
                    <a:pt x="465" y="255"/>
                  </a:cubicBezTo>
                  <a:cubicBezTo>
                    <a:pt x="456" y="270"/>
                    <a:pt x="453" y="252"/>
                    <a:pt x="444" y="255"/>
                  </a:cubicBezTo>
                  <a:cubicBezTo>
                    <a:pt x="435" y="255"/>
                    <a:pt x="438" y="267"/>
                    <a:pt x="450" y="270"/>
                  </a:cubicBezTo>
                  <a:cubicBezTo>
                    <a:pt x="465" y="273"/>
                    <a:pt x="462" y="282"/>
                    <a:pt x="474" y="288"/>
                  </a:cubicBezTo>
                  <a:close/>
                  <a:moveTo>
                    <a:pt x="555" y="210"/>
                  </a:moveTo>
                  <a:cubicBezTo>
                    <a:pt x="558" y="219"/>
                    <a:pt x="564" y="213"/>
                    <a:pt x="570" y="216"/>
                  </a:cubicBezTo>
                  <a:cubicBezTo>
                    <a:pt x="573" y="219"/>
                    <a:pt x="582" y="222"/>
                    <a:pt x="588" y="219"/>
                  </a:cubicBezTo>
                  <a:cubicBezTo>
                    <a:pt x="591" y="216"/>
                    <a:pt x="594" y="213"/>
                    <a:pt x="594" y="216"/>
                  </a:cubicBezTo>
                  <a:cubicBezTo>
                    <a:pt x="597" y="222"/>
                    <a:pt x="609" y="222"/>
                    <a:pt x="633" y="222"/>
                  </a:cubicBezTo>
                  <a:cubicBezTo>
                    <a:pt x="657" y="222"/>
                    <a:pt x="651" y="213"/>
                    <a:pt x="657" y="216"/>
                  </a:cubicBezTo>
                  <a:cubicBezTo>
                    <a:pt x="666" y="219"/>
                    <a:pt x="681" y="219"/>
                    <a:pt x="687" y="219"/>
                  </a:cubicBezTo>
                  <a:cubicBezTo>
                    <a:pt x="696" y="216"/>
                    <a:pt x="699" y="207"/>
                    <a:pt x="699" y="201"/>
                  </a:cubicBezTo>
                  <a:cubicBezTo>
                    <a:pt x="696" y="195"/>
                    <a:pt x="645" y="192"/>
                    <a:pt x="633" y="195"/>
                  </a:cubicBezTo>
                  <a:cubicBezTo>
                    <a:pt x="624" y="201"/>
                    <a:pt x="609" y="195"/>
                    <a:pt x="603" y="198"/>
                  </a:cubicBezTo>
                  <a:cubicBezTo>
                    <a:pt x="594" y="201"/>
                    <a:pt x="597" y="192"/>
                    <a:pt x="585" y="192"/>
                  </a:cubicBezTo>
                  <a:cubicBezTo>
                    <a:pt x="570" y="192"/>
                    <a:pt x="585" y="186"/>
                    <a:pt x="588" y="183"/>
                  </a:cubicBezTo>
                  <a:cubicBezTo>
                    <a:pt x="591" y="180"/>
                    <a:pt x="567" y="171"/>
                    <a:pt x="558" y="174"/>
                  </a:cubicBezTo>
                  <a:cubicBezTo>
                    <a:pt x="549" y="174"/>
                    <a:pt x="543" y="171"/>
                    <a:pt x="534" y="165"/>
                  </a:cubicBezTo>
                  <a:cubicBezTo>
                    <a:pt x="525" y="162"/>
                    <a:pt x="501" y="162"/>
                    <a:pt x="504" y="171"/>
                  </a:cubicBezTo>
                  <a:cubicBezTo>
                    <a:pt x="507" y="174"/>
                    <a:pt x="537" y="186"/>
                    <a:pt x="540" y="180"/>
                  </a:cubicBezTo>
                  <a:cubicBezTo>
                    <a:pt x="543" y="174"/>
                    <a:pt x="552" y="186"/>
                    <a:pt x="555" y="192"/>
                  </a:cubicBezTo>
                  <a:cubicBezTo>
                    <a:pt x="561" y="198"/>
                    <a:pt x="552" y="198"/>
                    <a:pt x="555" y="210"/>
                  </a:cubicBezTo>
                  <a:close/>
                  <a:moveTo>
                    <a:pt x="582" y="150"/>
                  </a:moveTo>
                  <a:cubicBezTo>
                    <a:pt x="573" y="147"/>
                    <a:pt x="561" y="156"/>
                    <a:pt x="570" y="159"/>
                  </a:cubicBezTo>
                  <a:cubicBezTo>
                    <a:pt x="579" y="162"/>
                    <a:pt x="591" y="156"/>
                    <a:pt x="582" y="150"/>
                  </a:cubicBezTo>
                  <a:close/>
                  <a:moveTo>
                    <a:pt x="510" y="93"/>
                  </a:moveTo>
                  <a:cubicBezTo>
                    <a:pt x="516" y="99"/>
                    <a:pt x="513" y="102"/>
                    <a:pt x="519" y="105"/>
                  </a:cubicBezTo>
                  <a:cubicBezTo>
                    <a:pt x="528" y="111"/>
                    <a:pt x="552" y="102"/>
                    <a:pt x="552" y="108"/>
                  </a:cubicBezTo>
                  <a:cubicBezTo>
                    <a:pt x="555" y="114"/>
                    <a:pt x="531" y="114"/>
                    <a:pt x="534" y="117"/>
                  </a:cubicBezTo>
                  <a:cubicBezTo>
                    <a:pt x="537" y="120"/>
                    <a:pt x="552" y="126"/>
                    <a:pt x="549" y="129"/>
                  </a:cubicBezTo>
                  <a:cubicBezTo>
                    <a:pt x="546" y="132"/>
                    <a:pt x="573" y="141"/>
                    <a:pt x="576" y="135"/>
                  </a:cubicBezTo>
                  <a:cubicBezTo>
                    <a:pt x="579" y="132"/>
                    <a:pt x="585" y="132"/>
                    <a:pt x="591" y="135"/>
                  </a:cubicBezTo>
                  <a:cubicBezTo>
                    <a:pt x="597" y="138"/>
                    <a:pt x="600" y="120"/>
                    <a:pt x="603" y="123"/>
                  </a:cubicBezTo>
                  <a:cubicBezTo>
                    <a:pt x="609" y="126"/>
                    <a:pt x="606" y="117"/>
                    <a:pt x="615" y="114"/>
                  </a:cubicBezTo>
                  <a:cubicBezTo>
                    <a:pt x="621" y="111"/>
                    <a:pt x="633" y="111"/>
                    <a:pt x="633" y="108"/>
                  </a:cubicBezTo>
                  <a:cubicBezTo>
                    <a:pt x="633" y="105"/>
                    <a:pt x="633" y="102"/>
                    <a:pt x="624" y="102"/>
                  </a:cubicBezTo>
                  <a:cubicBezTo>
                    <a:pt x="615" y="102"/>
                    <a:pt x="609" y="99"/>
                    <a:pt x="612" y="96"/>
                  </a:cubicBezTo>
                  <a:cubicBezTo>
                    <a:pt x="615" y="90"/>
                    <a:pt x="603" y="87"/>
                    <a:pt x="606" y="84"/>
                  </a:cubicBezTo>
                  <a:cubicBezTo>
                    <a:pt x="612" y="81"/>
                    <a:pt x="597" y="75"/>
                    <a:pt x="600" y="81"/>
                  </a:cubicBezTo>
                  <a:cubicBezTo>
                    <a:pt x="600" y="87"/>
                    <a:pt x="591" y="84"/>
                    <a:pt x="588" y="78"/>
                  </a:cubicBezTo>
                  <a:cubicBezTo>
                    <a:pt x="588" y="72"/>
                    <a:pt x="567" y="69"/>
                    <a:pt x="552" y="57"/>
                  </a:cubicBezTo>
                  <a:cubicBezTo>
                    <a:pt x="540" y="45"/>
                    <a:pt x="525" y="54"/>
                    <a:pt x="534" y="54"/>
                  </a:cubicBezTo>
                  <a:cubicBezTo>
                    <a:pt x="540" y="57"/>
                    <a:pt x="540" y="60"/>
                    <a:pt x="534" y="60"/>
                  </a:cubicBezTo>
                  <a:cubicBezTo>
                    <a:pt x="528" y="60"/>
                    <a:pt x="516" y="60"/>
                    <a:pt x="528" y="66"/>
                  </a:cubicBezTo>
                  <a:cubicBezTo>
                    <a:pt x="537" y="69"/>
                    <a:pt x="525" y="69"/>
                    <a:pt x="516" y="69"/>
                  </a:cubicBezTo>
                  <a:cubicBezTo>
                    <a:pt x="510" y="69"/>
                    <a:pt x="507" y="81"/>
                    <a:pt x="519" y="84"/>
                  </a:cubicBezTo>
                  <a:cubicBezTo>
                    <a:pt x="531" y="84"/>
                    <a:pt x="522" y="90"/>
                    <a:pt x="513" y="87"/>
                  </a:cubicBezTo>
                  <a:cubicBezTo>
                    <a:pt x="504" y="87"/>
                    <a:pt x="501" y="90"/>
                    <a:pt x="510" y="93"/>
                  </a:cubicBezTo>
                  <a:close/>
                  <a:moveTo>
                    <a:pt x="570" y="45"/>
                  </a:moveTo>
                  <a:cubicBezTo>
                    <a:pt x="576" y="39"/>
                    <a:pt x="582" y="42"/>
                    <a:pt x="576" y="45"/>
                  </a:cubicBezTo>
                  <a:cubicBezTo>
                    <a:pt x="570" y="48"/>
                    <a:pt x="573" y="51"/>
                    <a:pt x="582" y="51"/>
                  </a:cubicBezTo>
                  <a:cubicBezTo>
                    <a:pt x="588" y="51"/>
                    <a:pt x="576" y="54"/>
                    <a:pt x="576" y="57"/>
                  </a:cubicBezTo>
                  <a:cubicBezTo>
                    <a:pt x="576" y="63"/>
                    <a:pt x="588" y="60"/>
                    <a:pt x="588" y="66"/>
                  </a:cubicBezTo>
                  <a:cubicBezTo>
                    <a:pt x="588" y="69"/>
                    <a:pt x="609" y="72"/>
                    <a:pt x="615" y="66"/>
                  </a:cubicBezTo>
                  <a:cubicBezTo>
                    <a:pt x="624" y="60"/>
                    <a:pt x="621" y="69"/>
                    <a:pt x="621" y="72"/>
                  </a:cubicBezTo>
                  <a:cubicBezTo>
                    <a:pt x="618" y="75"/>
                    <a:pt x="651" y="78"/>
                    <a:pt x="651" y="75"/>
                  </a:cubicBezTo>
                  <a:cubicBezTo>
                    <a:pt x="654" y="69"/>
                    <a:pt x="657" y="72"/>
                    <a:pt x="663" y="72"/>
                  </a:cubicBezTo>
                  <a:cubicBezTo>
                    <a:pt x="669" y="75"/>
                    <a:pt x="699" y="66"/>
                    <a:pt x="699" y="60"/>
                  </a:cubicBezTo>
                  <a:cubicBezTo>
                    <a:pt x="699" y="54"/>
                    <a:pt x="708" y="63"/>
                    <a:pt x="699" y="72"/>
                  </a:cubicBezTo>
                  <a:cubicBezTo>
                    <a:pt x="690" y="78"/>
                    <a:pt x="672" y="75"/>
                    <a:pt x="663" y="78"/>
                  </a:cubicBezTo>
                  <a:cubicBezTo>
                    <a:pt x="654" y="81"/>
                    <a:pt x="669" y="87"/>
                    <a:pt x="678" y="93"/>
                  </a:cubicBezTo>
                  <a:cubicBezTo>
                    <a:pt x="684" y="99"/>
                    <a:pt x="666" y="96"/>
                    <a:pt x="657" y="87"/>
                  </a:cubicBezTo>
                  <a:cubicBezTo>
                    <a:pt x="651" y="81"/>
                    <a:pt x="633" y="81"/>
                    <a:pt x="621" y="81"/>
                  </a:cubicBezTo>
                  <a:cubicBezTo>
                    <a:pt x="612" y="81"/>
                    <a:pt x="615" y="99"/>
                    <a:pt x="624" y="99"/>
                  </a:cubicBezTo>
                  <a:cubicBezTo>
                    <a:pt x="630" y="99"/>
                    <a:pt x="636" y="102"/>
                    <a:pt x="645" y="111"/>
                  </a:cubicBezTo>
                  <a:cubicBezTo>
                    <a:pt x="651" y="123"/>
                    <a:pt x="666" y="120"/>
                    <a:pt x="666" y="126"/>
                  </a:cubicBezTo>
                  <a:cubicBezTo>
                    <a:pt x="666" y="129"/>
                    <a:pt x="645" y="120"/>
                    <a:pt x="636" y="120"/>
                  </a:cubicBezTo>
                  <a:cubicBezTo>
                    <a:pt x="624" y="117"/>
                    <a:pt x="606" y="123"/>
                    <a:pt x="606" y="132"/>
                  </a:cubicBezTo>
                  <a:cubicBezTo>
                    <a:pt x="606" y="141"/>
                    <a:pt x="621" y="138"/>
                    <a:pt x="633" y="132"/>
                  </a:cubicBezTo>
                  <a:cubicBezTo>
                    <a:pt x="645" y="126"/>
                    <a:pt x="636" y="135"/>
                    <a:pt x="630" y="141"/>
                  </a:cubicBezTo>
                  <a:cubicBezTo>
                    <a:pt x="624" y="144"/>
                    <a:pt x="645" y="150"/>
                    <a:pt x="645" y="156"/>
                  </a:cubicBezTo>
                  <a:cubicBezTo>
                    <a:pt x="645" y="162"/>
                    <a:pt x="630" y="159"/>
                    <a:pt x="630" y="153"/>
                  </a:cubicBezTo>
                  <a:cubicBezTo>
                    <a:pt x="627" y="147"/>
                    <a:pt x="621" y="141"/>
                    <a:pt x="609" y="144"/>
                  </a:cubicBezTo>
                  <a:cubicBezTo>
                    <a:pt x="597" y="144"/>
                    <a:pt x="600" y="153"/>
                    <a:pt x="609" y="153"/>
                  </a:cubicBezTo>
                  <a:cubicBezTo>
                    <a:pt x="615" y="156"/>
                    <a:pt x="615" y="162"/>
                    <a:pt x="606" y="162"/>
                  </a:cubicBezTo>
                  <a:cubicBezTo>
                    <a:pt x="597" y="162"/>
                    <a:pt x="579" y="168"/>
                    <a:pt x="585" y="174"/>
                  </a:cubicBezTo>
                  <a:cubicBezTo>
                    <a:pt x="591" y="180"/>
                    <a:pt x="618" y="174"/>
                    <a:pt x="621" y="177"/>
                  </a:cubicBezTo>
                  <a:cubicBezTo>
                    <a:pt x="627" y="180"/>
                    <a:pt x="639" y="183"/>
                    <a:pt x="642" y="177"/>
                  </a:cubicBezTo>
                  <a:cubicBezTo>
                    <a:pt x="645" y="174"/>
                    <a:pt x="654" y="174"/>
                    <a:pt x="663" y="174"/>
                  </a:cubicBezTo>
                  <a:cubicBezTo>
                    <a:pt x="675" y="174"/>
                    <a:pt x="678" y="177"/>
                    <a:pt x="681" y="180"/>
                  </a:cubicBezTo>
                  <a:cubicBezTo>
                    <a:pt x="687" y="186"/>
                    <a:pt x="693" y="183"/>
                    <a:pt x="699" y="180"/>
                  </a:cubicBezTo>
                  <a:cubicBezTo>
                    <a:pt x="705" y="174"/>
                    <a:pt x="705" y="174"/>
                    <a:pt x="711" y="174"/>
                  </a:cubicBezTo>
                  <a:cubicBezTo>
                    <a:pt x="720" y="174"/>
                    <a:pt x="720" y="171"/>
                    <a:pt x="717" y="165"/>
                  </a:cubicBezTo>
                  <a:cubicBezTo>
                    <a:pt x="714" y="159"/>
                    <a:pt x="705" y="168"/>
                    <a:pt x="702" y="165"/>
                  </a:cubicBezTo>
                  <a:cubicBezTo>
                    <a:pt x="702" y="159"/>
                    <a:pt x="693" y="159"/>
                    <a:pt x="681" y="162"/>
                  </a:cubicBezTo>
                  <a:cubicBezTo>
                    <a:pt x="666" y="162"/>
                    <a:pt x="672" y="153"/>
                    <a:pt x="681" y="153"/>
                  </a:cubicBezTo>
                  <a:cubicBezTo>
                    <a:pt x="690" y="156"/>
                    <a:pt x="699" y="156"/>
                    <a:pt x="711" y="153"/>
                  </a:cubicBezTo>
                  <a:cubicBezTo>
                    <a:pt x="720" y="150"/>
                    <a:pt x="711" y="147"/>
                    <a:pt x="711" y="141"/>
                  </a:cubicBezTo>
                  <a:cubicBezTo>
                    <a:pt x="711" y="138"/>
                    <a:pt x="723" y="141"/>
                    <a:pt x="732" y="141"/>
                  </a:cubicBezTo>
                  <a:cubicBezTo>
                    <a:pt x="741" y="141"/>
                    <a:pt x="756" y="126"/>
                    <a:pt x="756" y="117"/>
                  </a:cubicBezTo>
                  <a:cubicBezTo>
                    <a:pt x="756" y="108"/>
                    <a:pt x="735" y="111"/>
                    <a:pt x="726" y="111"/>
                  </a:cubicBezTo>
                  <a:cubicBezTo>
                    <a:pt x="714" y="111"/>
                    <a:pt x="732" y="105"/>
                    <a:pt x="750" y="105"/>
                  </a:cubicBezTo>
                  <a:cubicBezTo>
                    <a:pt x="771" y="105"/>
                    <a:pt x="762" y="96"/>
                    <a:pt x="765" y="93"/>
                  </a:cubicBezTo>
                  <a:cubicBezTo>
                    <a:pt x="768" y="90"/>
                    <a:pt x="777" y="99"/>
                    <a:pt x="786" y="96"/>
                  </a:cubicBezTo>
                  <a:cubicBezTo>
                    <a:pt x="795" y="93"/>
                    <a:pt x="789" y="87"/>
                    <a:pt x="795" y="87"/>
                  </a:cubicBezTo>
                  <a:cubicBezTo>
                    <a:pt x="801" y="87"/>
                    <a:pt x="810" y="78"/>
                    <a:pt x="831" y="66"/>
                  </a:cubicBezTo>
                  <a:cubicBezTo>
                    <a:pt x="852" y="57"/>
                    <a:pt x="867" y="57"/>
                    <a:pt x="870" y="51"/>
                  </a:cubicBezTo>
                  <a:cubicBezTo>
                    <a:pt x="870" y="45"/>
                    <a:pt x="840" y="51"/>
                    <a:pt x="837" y="48"/>
                  </a:cubicBezTo>
                  <a:cubicBezTo>
                    <a:pt x="831" y="48"/>
                    <a:pt x="855" y="42"/>
                    <a:pt x="861" y="42"/>
                  </a:cubicBezTo>
                  <a:cubicBezTo>
                    <a:pt x="867" y="45"/>
                    <a:pt x="876" y="42"/>
                    <a:pt x="897" y="33"/>
                  </a:cubicBezTo>
                  <a:cubicBezTo>
                    <a:pt x="918" y="24"/>
                    <a:pt x="909" y="21"/>
                    <a:pt x="900" y="21"/>
                  </a:cubicBezTo>
                  <a:cubicBezTo>
                    <a:pt x="891" y="24"/>
                    <a:pt x="882" y="21"/>
                    <a:pt x="882" y="15"/>
                  </a:cubicBezTo>
                  <a:cubicBezTo>
                    <a:pt x="882" y="9"/>
                    <a:pt x="870" y="15"/>
                    <a:pt x="870" y="12"/>
                  </a:cubicBezTo>
                  <a:cubicBezTo>
                    <a:pt x="870" y="9"/>
                    <a:pt x="858" y="9"/>
                    <a:pt x="843" y="15"/>
                  </a:cubicBezTo>
                  <a:cubicBezTo>
                    <a:pt x="831" y="21"/>
                    <a:pt x="843" y="9"/>
                    <a:pt x="849" y="9"/>
                  </a:cubicBezTo>
                  <a:cubicBezTo>
                    <a:pt x="855" y="6"/>
                    <a:pt x="816" y="9"/>
                    <a:pt x="810" y="3"/>
                  </a:cubicBezTo>
                  <a:cubicBezTo>
                    <a:pt x="801" y="0"/>
                    <a:pt x="795" y="12"/>
                    <a:pt x="789" y="6"/>
                  </a:cubicBezTo>
                  <a:cubicBezTo>
                    <a:pt x="783" y="0"/>
                    <a:pt x="768" y="3"/>
                    <a:pt x="768" y="9"/>
                  </a:cubicBezTo>
                  <a:cubicBezTo>
                    <a:pt x="771" y="12"/>
                    <a:pt x="768" y="12"/>
                    <a:pt x="762" y="9"/>
                  </a:cubicBezTo>
                  <a:cubicBezTo>
                    <a:pt x="756" y="3"/>
                    <a:pt x="744" y="9"/>
                    <a:pt x="732" y="6"/>
                  </a:cubicBezTo>
                  <a:cubicBezTo>
                    <a:pt x="723" y="6"/>
                    <a:pt x="726" y="15"/>
                    <a:pt x="714" y="12"/>
                  </a:cubicBezTo>
                  <a:cubicBezTo>
                    <a:pt x="705" y="6"/>
                    <a:pt x="690" y="9"/>
                    <a:pt x="696" y="9"/>
                  </a:cubicBezTo>
                  <a:cubicBezTo>
                    <a:pt x="699" y="12"/>
                    <a:pt x="693" y="15"/>
                    <a:pt x="690" y="12"/>
                  </a:cubicBezTo>
                  <a:cubicBezTo>
                    <a:pt x="684" y="12"/>
                    <a:pt x="678" y="12"/>
                    <a:pt x="681" y="18"/>
                  </a:cubicBezTo>
                  <a:cubicBezTo>
                    <a:pt x="684" y="24"/>
                    <a:pt x="663" y="18"/>
                    <a:pt x="663" y="21"/>
                  </a:cubicBezTo>
                  <a:cubicBezTo>
                    <a:pt x="663" y="27"/>
                    <a:pt x="657" y="30"/>
                    <a:pt x="651" y="27"/>
                  </a:cubicBezTo>
                  <a:cubicBezTo>
                    <a:pt x="645" y="21"/>
                    <a:pt x="624" y="18"/>
                    <a:pt x="630" y="24"/>
                  </a:cubicBezTo>
                  <a:cubicBezTo>
                    <a:pt x="636" y="27"/>
                    <a:pt x="612" y="27"/>
                    <a:pt x="618" y="30"/>
                  </a:cubicBezTo>
                  <a:cubicBezTo>
                    <a:pt x="624" y="36"/>
                    <a:pt x="612" y="39"/>
                    <a:pt x="612" y="36"/>
                  </a:cubicBezTo>
                  <a:cubicBezTo>
                    <a:pt x="612" y="33"/>
                    <a:pt x="600" y="30"/>
                    <a:pt x="594" y="33"/>
                  </a:cubicBezTo>
                  <a:cubicBezTo>
                    <a:pt x="588" y="39"/>
                    <a:pt x="588" y="42"/>
                    <a:pt x="585" y="39"/>
                  </a:cubicBezTo>
                  <a:cubicBezTo>
                    <a:pt x="582" y="36"/>
                    <a:pt x="573" y="39"/>
                    <a:pt x="561" y="42"/>
                  </a:cubicBezTo>
                  <a:cubicBezTo>
                    <a:pt x="552" y="45"/>
                    <a:pt x="564" y="48"/>
                    <a:pt x="570" y="45"/>
                  </a:cubicBezTo>
                  <a:close/>
                  <a:moveTo>
                    <a:pt x="696" y="477"/>
                  </a:moveTo>
                  <a:cubicBezTo>
                    <a:pt x="699" y="477"/>
                    <a:pt x="705" y="462"/>
                    <a:pt x="696" y="465"/>
                  </a:cubicBezTo>
                  <a:cubicBezTo>
                    <a:pt x="687" y="465"/>
                    <a:pt x="690" y="477"/>
                    <a:pt x="696" y="477"/>
                  </a:cubicBezTo>
                  <a:close/>
                  <a:moveTo>
                    <a:pt x="651" y="465"/>
                  </a:moveTo>
                  <a:cubicBezTo>
                    <a:pt x="660" y="471"/>
                    <a:pt x="672" y="456"/>
                    <a:pt x="672" y="453"/>
                  </a:cubicBezTo>
                  <a:cubicBezTo>
                    <a:pt x="669" y="450"/>
                    <a:pt x="642" y="459"/>
                    <a:pt x="651" y="465"/>
                  </a:cubicBezTo>
                  <a:close/>
                  <a:moveTo>
                    <a:pt x="687" y="438"/>
                  </a:moveTo>
                  <a:cubicBezTo>
                    <a:pt x="690" y="432"/>
                    <a:pt x="672" y="432"/>
                    <a:pt x="672" y="426"/>
                  </a:cubicBezTo>
                  <a:cubicBezTo>
                    <a:pt x="672" y="420"/>
                    <a:pt x="657" y="414"/>
                    <a:pt x="651" y="411"/>
                  </a:cubicBezTo>
                  <a:cubicBezTo>
                    <a:pt x="645" y="408"/>
                    <a:pt x="636" y="408"/>
                    <a:pt x="636" y="402"/>
                  </a:cubicBezTo>
                  <a:cubicBezTo>
                    <a:pt x="636" y="396"/>
                    <a:pt x="624" y="399"/>
                    <a:pt x="624" y="408"/>
                  </a:cubicBezTo>
                  <a:cubicBezTo>
                    <a:pt x="624" y="417"/>
                    <a:pt x="618" y="417"/>
                    <a:pt x="621" y="426"/>
                  </a:cubicBezTo>
                  <a:cubicBezTo>
                    <a:pt x="624" y="432"/>
                    <a:pt x="609" y="435"/>
                    <a:pt x="612" y="441"/>
                  </a:cubicBezTo>
                  <a:cubicBezTo>
                    <a:pt x="612" y="444"/>
                    <a:pt x="618" y="438"/>
                    <a:pt x="624" y="438"/>
                  </a:cubicBezTo>
                  <a:cubicBezTo>
                    <a:pt x="630" y="438"/>
                    <a:pt x="624" y="447"/>
                    <a:pt x="630" y="447"/>
                  </a:cubicBezTo>
                  <a:cubicBezTo>
                    <a:pt x="636" y="450"/>
                    <a:pt x="648" y="441"/>
                    <a:pt x="651" y="438"/>
                  </a:cubicBezTo>
                  <a:cubicBezTo>
                    <a:pt x="654" y="435"/>
                    <a:pt x="657" y="432"/>
                    <a:pt x="666" y="438"/>
                  </a:cubicBezTo>
                  <a:cubicBezTo>
                    <a:pt x="672" y="441"/>
                    <a:pt x="687" y="444"/>
                    <a:pt x="687" y="438"/>
                  </a:cubicBezTo>
                  <a:close/>
                  <a:moveTo>
                    <a:pt x="852" y="393"/>
                  </a:moveTo>
                  <a:cubicBezTo>
                    <a:pt x="858" y="393"/>
                    <a:pt x="858" y="402"/>
                    <a:pt x="867" y="411"/>
                  </a:cubicBezTo>
                  <a:cubicBezTo>
                    <a:pt x="876" y="417"/>
                    <a:pt x="879" y="411"/>
                    <a:pt x="879" y="408"/>
                  </a:cubicBezTo>
                  <a:cubicBezTo>
                    <a:pt x="882" y="402"/>
                    <a:pt x="891" y="405"/>
                    <a:pt x="891" y="399"/>
                  </a:cubicBezTo>
                  <a:cubicBezTo>
                    <a:pt x="891" y="396"/>
                    <a:pt x="900" y="387"/>
                    <a:pt x="906" y="387"/>
                  </a:cubicBezTo>
                  <a:cubicBezTo>
                    <a:pt x="912" y="384"/>
                    <a:pt x="900" y="378"/>
                    <a:pt x="894" y="378"/>
                  </a:cubicBezTo>
                  <a:cubicBezTo>
                    <a:pt x="885" y="378"/>
                    <a:pt x="882" y="372"/>
                    <a:pt x="882" y="369"/>
                  </a:cubicBezTo>
                  <a:cubicBezTo>
                    <a:pt x="882" y="366"/>
                    <a:pt x="867" y="357"/>
                    <a:pt x="864" y="360"/>
                  </a:cubicBezTo>
                  <a:cubicBezTo>
                    <a:pt x="858" y="360"/>
                    <a:pt x="849" y="351"/>
                    <a:pt x="843" y="351"/>
                  </a:cubicBezTo>
                  <a:cubicBezTo>
                    <a:pt x="837" y="351"/>
                    <a:pt x="828" y="345"/>
                    <a:pt x="828" y="339"/>
                  </a:cubicBezTo>
                  <a:cubicBezTo>
                    <a:pt x="828" y="333"/>
                    <a:pt x="840" y="342"/>
                    <a:pt x="843" y="336"/>
                  </a:cubicBezTo>
                  <a:cubicBezTo>
                    <a:pt x="846" y="330"/>
                    <a:pt x="831" y="333"/>
                    <a:pt x="831" y="330"/>
                  </a:cubicBezTo>
                  <a:cubicBezTo>
                    <a:pt x="831" y="324"/>
                    <a:pt x="834" y="327"/>
                    <a:pt x="837" y="324"/>
                  </a:cubicBezTo>
                  <a:cubicBezTo>
                    <a:pt x="840" y="321"/>
                    <a:pt x="834" y="318"/>
                    <a:pt x="831" y="315"/>
                  </a:cubicBezTo>
                  <a:cubicBezTo>
                    <a:pt x="828" y="312"/>
                    <a:pt x="828" y="318"/>
                    <a:pt x="822" y="318"/>
                  </a:cubicBezTo>
                  <a:cubicBezTo>
                    <a:pt x="819" y="318"/>
                    <a:pt x="822" y="312"/>
                    <a:pt x="825" y="309"/>
                  </a:cubicBezTo>
                  <a:cubicBezTo>
                    <a:pt x="828" y="306"/>
                    <a:pt x="813" y="303"/>
                    <a:pt x="807" y="303"/>
                  </a:cubicBezTo>
                  <a:cubicBezTo>
                    <a:pt x="801" y="306"/>
                    <a:pt x="801" y="303"/>
                    <a:pt x="801" y="300"/>
                  </a:cubicBezTo>
                  <a:cubicBezTo>
                    <a:pt x="801" y="294"/>
                    <a:pt x="789" y="300"/>
                    <a:pt x="786" y="303"/>
                  </a:cubicBezTo>
                  <a:cubicBezTo>
                    <a:pt x="780" y="306"/>
                    <a:pt x="777" y="300"/>
                    <a:pt x="780" y="297"/>
                  </a:cubicBezTo>
                  <a:cubicBezTo>
                    <a:pt x="786" y="297"/>
                    <a:pt x="792" y="294"/>
                    <a:pt x="792" y="288"/>
                  </a:cubicBezTo>
                  <a:cubicBezTo>
                    <a:pt x="789" y="285"/>
                    <a:pt x="777" y="285"/>
                    <a:pt x="774" y="291"/>
                  </a:cubicBezTo>
                  <a:cubicBezTo>
                    <a:pt x="771" y="294"/>
                    <a:pt x="762" y="285"/>
                    <a:pt x="762" y="279"/>
                  </a:cubicBezTo>
                  <a:cubicBezTo>
                    <a:pt x="762" y="276"/>
                    <a:pt x="744" y="279"/>
                    <a:pt x="747" y="270"/>
                  </a:cubicBezTo>
                  <a:cubicBezTo>
                    <a:pt x="750" y="264"/>
                    <a:pt x="729" y="261"/>
                    <a:pt x="723" y="261"/>
                  </a:cubicBezTo>
                  <a:cubicBezTo>
                    <a:pt x="717" y="261"/>
                    <a:pt x="708" y="267"/>
                    <a:pt x="711" y="270"/>
                  </a:cubicBezTo>
                  <a:cubicBezTo>
                    <a:pt x="711" y="276"/>
                    <a:pt x="705" y="273"/>
                    <a:pt x="702" y="270"/>
                  </a:cubicBezTo>
                  <a:cubicBezTo>
                    <a:pt x="702" y="264"/>
                    <a:pt x="690" y="276"/>
                    <a:pt x="684" y="276"/>
                  </a:cubicBezTo>
                  <a:cubicBezTo>
                    <a:pt x="681" y="276"/>
                    <a:pt x="687" y="261"/>
                    <a:pt x="684" y="255"/>
                  </a:cubicBezTo>
                  <a:cubicBezTo>
                    <a:pt x="684" y="252"/>
                    <a:pt x="681" y="249"/>
                    <a:pt x="678" y="243"/>
                  </a:cubicBezTo>
                  <a:cubicBezTo>
                    <a:pt x="675" y="234"/>
                    <a:pt x="660" y="237"/>
                    <a:pt x="654" y="243"/>
                  </a:cubicBezTo>
                  <a:cubicBezTo>
                    <a:pt x="651" y="246"/>
                    <a:pt x="639" y="246"/>
                    <a:pt x="630" y="252"/>
                  </a:cubicBezTo>
                  <a:cubicBezTo>
                    <a:pt x="624" y="258"/>
                    <a:pt x="633" y="267"/>
                    <a:pt x="636" y="267"/>
                  </a:cubicBezTo>
                  <a:cubicBezTo>
                    <a:pt x="639" y="270"/>
                    <a:pt x="624" y="276"/>
                    <a:pt x="630" y="279"/>
                  </a:cubicBezTo>
                  <a:cubicBezTo>
                    <a:pt x="633" y="282"/>
                    <a:pt x="639" y="282"/>
                    <a:pt x="642" y="288"/>
                  </a:cubicBezTo>
                  <a:cubicBezTo>
                    <a:pt x="642" y="294"/>
                    <a:pt x="624" y="285"/>
                    <a:pt x="621" y="279"/>
                  </a:cubicBezTo>
                  <a:cubicBezTo>
                    <a:pt x="618" y="273"/>
                    <a:pt x="624" y="270"/>
                    <a:pt x="618" y="264"/>
                  </a:cubicBezTo>
                  <a:cubicBezTo>
                    <a:pt x="615" y="261"/>
                    <a:pt x="618" y="255"/>
                    <a:pt x="624" y="249"/>
                  </a:cubicBezTo>
                  <a:cubicBezTo>
                    <a:pt x="633" y="243"/>
                    <a:pt x="636" y="243"/>
                    <a:pt x="636" y="240"/>
                  </a:cubicBezTo>
                  <a:cubicBezTo>
                    <a:pt x="636" y="234"/>
                    <a:pt x="609" y="234"/>
                    <a:pt x="591" y="249"/>
                  </a:cubicBezTo>
                  <a:cubicBezTo>
                    <a:pt x="576" y="264"/>
                    <a:pt x="582" y="285"/>
                    <a:pt x="582" y="288"/>
                  </a:cubicBezTo>
                  <a:cubicBezTo>
                    <a:pt x="582" y="294"/>
                    <a:pt x="597" y="291"/>
                    <a:pt x="606" y="294"/>
                  </a:cubicBezTo>
                  <a:cubicBezTo>
                    <a:pt x="615" y="297"/>
                    <a:pt x="609" y="300"/>
                    <a:pt x="603" y="300"/>
                  </a:cubicBezTo>
                  <a:cubicBezTo>
                    <a:pt x="597" y="297"/>
                    <a:pt x="585" y="297"/>
                    <a:pt x="585" y="300"/>
                  </a:cubicBezTo>
                  <a:cubicBezTo>
                    <a:pt x="588" y="306"/>
                    <a:pt x="600" y="312"/>
                    <a:pt x="609" y="312"/>
                  </a:cubicBezTo>
                  <a:cubicBezTo>
                    <a:pt x="615" y="309"/>
                    <a:pt x="615" y="309"/>
                    <a:pt x="621" y="315"/>
                  </a:cubicBezTo>
                  <a:cubicBezTo>
                    <a:pt x="624" y="318"/>
                    <a:pt x="633" y="318"/>
                    <a:pt x="642" y="318"/>
                  </a:cubicBezTo>
                  <a:cubicBezTo>
                    <a:pt x="651" y="318"/>
                    <a:pt x="663" y="321"/>
                    <a:pt x="666" y="321"/>
                  </a:cubicBezTo>
                  <a:cubicBezTo>
                    <a:pt x="672" y="321"/>
                    <a:pt x="678" y="318"/>
                    <a:pt x="678" y="318"/>
                  </a:cubicBezTo>
                  <a:cubicBezTo>
                    <a:pt x="681" y="315"/>
                    <a:pt x="699" y="321"/>
                    <a:pt x="705" y="321"/>
                  </a:cubicBezTo>
                  <a:cubicBezTo>
                    <a:pt x="711" y="321"/>
                    <a:pt x="705" y="315"/>
                    <a:pt x="702" y="312"/>
                  </a:cubicBezTo>
                  <a:cubicBezTo>
                    <a:pt x="699" y="312"/>
                    <a:pt x="702" y="306"/>
                    <a:pt x="705" y="309"/>
                  </a:cubicBezTo>
                  <a:cubicBezTo>
                    <a:pt x="711" y="309"/>
                    <a:pt x="717" y="312"/>
                    <a:pt x="720" y="315"/>
                  </a:cubicBezTo>
                  <a:cubicBezTo>
                    <a:pt x="720" y="321"/>
                    <a:pt x="723" y="318"/>
                    <a:pt x="726" y="321"/>
                  </a:cubicBezTo>
                  <a:cubicBezTo>
                    <a:pt x="726" y="324"/>
                    <a:pt x="741" y="330"/>
                    <a:pt x="741" y="333"/>
                  </a:cubicBezTo>
                  <a:cubicBezTo>
                    <a:pt x="741" y="336"/>
                    <a:pt x="726" y="339"/>
                    <a:pt x="732" y="342"/>
                  </a:cubicBezTo>
                  <a:cubicBezTo>
                    <a:pt x="735" y="345"/>
                    <a:pt x="741" y="339"/>
                    <a:pt x="747" y="339"/>
                  </a:cubicBezTo>
                  <a:cubicBezTo>
                    <a:pt x="753" y="336"/>
                    <a:pt x="753" y="351"/>
                    <a:pt x="759" y="348"/>
                  </a:cubicBezTo>
                  <a:cubicBezTo>
                    <a:pt x="765" y="345"/>
                    <a:pt x="771" y="351"/>
                    <a:pt x="777" y="360"/>
                  </a:cubicBezTo>
                  <a:cubicBezTo>
                    <a:pt x="783" y="369"/>
                    <a:pt x="774" y="375"/>
                    <a:pt x="777" y="378"/>
                  </a:cubicBezTo>
                  <a:cubicBezTo>
                    <a:pt x="777" y="381"/>
                    <a:pt x="789" y="381"/>
                    <a:pt x="795" y="378"/>
                  </a:cubicBezTo>
                  <a:cubicBezTo>
                    <a:pt x="801" y="375"/>
                    <a:pt x="807" y="381"/>
                    <a:pt x="813" y="387"/>
                  </a:cubicBezTo>
                  <a:cubicBezTo>
                    <a:pt x="816" y="390"/>
                    <a:pt x="792" y="399"/>
                    <a:pt x="795" y="393"/>
                  </a:cubicBezTo>
                  <a:cubicBezTo>
                    <a:pt x="798" y="390"/>
                    <a:pt x="780" y="378"/>
                    <a:pt x="768" y="384"/>
                  </a:cubicBezTo>
                  <a:cubicBezTo>
                    <a:pt x="753" y="390"/>
                    <a:pt x="762" y="399"/>
                    <a:pt x="765" y="402"/>
                  </a:cubicBezTo>
                  <a:cubicBezTo>
                    <a:pt x="765" y="408"/>
                    <a:pt x="750" y="414"/>
                    <a:pt x="738" y="408"/>
                  </a:cubicBezTo>
                  <a:cubicBezTo>
                    <a:pt x="723" y="405"/>
                    <a:pt x="729" y="411"/>
                    <a:pt x="723" y="411"/>
                  </a:cubicBezTo>
                  <a:cubicBezTo>
                    <a:pt x="717" y="411"/>
                    <a:pt x="711" y="420"/>
                    <a:pt x="717" y="426"/>
                  </a:cubicBezTo>
                  <a:cubicBezTo>
                    <a:pt x="720" y="432"/>
                    <a:pt x="732" y="426"/>
                    <a:pt x="741" y="426"/>
                  </a:cubicBezTo>
                  <a:cubicBezTo>
                    <a:pt x="750" y="426"/>
                    <a:pt x="750" y="429"/>
                    <a:pt x="753" y="423"/>
                  </a:cubicBezTo>
                  <a:cubicBezTo>
                    <a:pt x="753" y="420"/>
                    <a:pt x="762" y="423"/>
                    <a:pt x="768" y="423"/>
                  </a:cubicBezTo>
                  <a:cubicBezTo>
                    <a:pt x="774" y="426"/>
                    <a:pt x="774" y="435"/>
                    <a:pt x="783" y="435"/>
                  </a:cubicBezTo>
                  <a:cubicBezTo>
                    <a:pt x="789" y="435"/>
                    <a:pt x="783" y="444"/>
                    <a:pt x="789" y="450"/>
                  </a:cubicBezTo>
                  <a:cubicBezTo>
                    <a:pt x="792" y="456"/>
                    <a:pt x="810" y="453"/>
                    <a:pt x="816" y="459"/>
                  </a:cubicBezTo>
                  <a:cubicBezTo>
                    <a:pt x="822" y="465"/>
                    <a:pt x="846" y="474"/>
                    <a:pt x="849" y="471"/>
                  </a:cubicBezTo>
                  <a:cubicBezTo>
                    <a:pt x="855" y="465"/>
                    <a:pt x="828" y="444"/>
                    <a:pt x="822" y="441"/>
                  </a:cubicBezTo>
                  <a:cubicBezTo>
                    <a:pt x="813" y="438"/>
                    <a:pt x="828" y="438"/>
                    <a:pt x="837" y="444"/>
                  </a:cubicBezTo>
                  <a:cubicBezTo>
                    <a:pt x="846" y="453"/>
                    <a:pt x="861" y="456"/>
                    <a:pt x="867" y="447"/>
                  </a:cubicBezTo>
                  <a:cubicBezTo>
                    <a:pt x="876" y="438"/>
                    <a:pt x="861" y="441"/>
                    <a:pt x="861" y="432"/>
                  </a:cubicBezTo>
                  <a:cubicBezTo>
                    <a:pt x="861" y="426"/>
                    <a:pt x="858" y="417"/>
                    <a:pt x="852" y="417"/>
                  </a:cubicBezTo>
                  <a:cubicBezTo>
                    <a:pt x="843" y="417"/>
                    <a:pt x="825" y="405"/>
                    <a:pt x="831" y="402"/>
                  </a:cubicBezTo>
                  <a:cubicBezTo>
                    <a:pt x="840" y="399"/>
                    <a:pt x="831" y="393"/>
                    <a:pt x="834" y="387"/>
                  </a:cubicBezTo>
                  <a:cubicBezTo>
                    <a:pt x="840" y="384"/>
                    <a:pt x="846" y="393"/>
                    <a:pt x="852" y="393"/>
                  </a:cubicBezTo>
                  <a:close/>
                  <a:moveTo>
                    <a:pt x="747" y="369"/>
                  </a:moveTo>
                  <a:cubicBezTo>
                    <a:pt x="753" y="369"/>
                    <a:pt x="750" y="360"/>
                    <a:pt x="747" y="354"/>
                  </a:cubicBezTo>
                  <a:cubicBezTo>
                    <a:pt x="744" y="351"/>
                    <a:pt x="738" y="351"/>
                    <a:pt x="732" y="351"/>
                  </a:cubicBezTo>
                  <a:cubicBezTo>
                    <a:pt x="726" y="351"/>
                    <a:pt x="717" y="360"/>
                    <a:pt x="723" y="369"/>
                  </a:cubicBezTo>
                  <a:cubicBezTo>
                    <a:pt x="729" y="378"/>
                    <a:pt x="741" y="372"/>
                    <a:pt x="747" y="369"/>
                  </a:cubicBezTo>
                  <a:close/>
                  <a:moveTo>
                    <a:pt x="684" y="240"/>
                  </a:moveTo>
                  <a:cubicBezTo>
                    <a:pt x="681" y="246"/>
                    <a:pt x="690" y="246"/>
                    <a:pt x="690" y="255"/>
                  </a:cubicBezTo>
                  <a:cubicBezTo>
                    <a:pt x="690" y="261"/>
                    <a:pt x="699" y="264"/>
                    <a:pt x="708" y="258"/>
                  </a:cubicBezTo>
                  <a:cubicBezTo>
                    <a:pt x="714" y="255"/>
                    <a:pt x="735" y="261"/>
                    <a:pt x="735" y="255"/>
                  </a:cubicBezTo>
                  <a:cubicBezTo>
                    <a:pt x="735" y="249"/>
                    <a:pt x="714" y="240"/>
                    <a:pt x="705" y="240"/>
                  </a:cubicBezTo>
                  <a:cubicBezTo>
                    <a:pt x="699" y="243"/>
                    <a:pt x="687" y="234"/>
                    <a:pt x="684" y="240"/>
                  </a:cubicBezTo>
                  <a:close/>
                  <a:moveTo>
                    <a:pt x="870" y="666"/>
                  </a:moveTo>
                  <a:cubicBezTo>
                    <a:pt x="873" y="669"/>
                    <a:pt x="900" y="681"/>
                    <a:pt x="903" y="675"/>
                  </a:cubicBezTo>
                  <a:cubicBezTo>
                    <a:pt x="903" y="669"/>
                    <a:pt x="870" y="663"/>
                    <a:pt x="870" y="666"/>
                  </a:cubicBezTo>
                  <a:close/>
                  <a:moveTo>
                    <a:pt x="999" y="696"/>
                  </a:moveTo>
                  <a:cubicBezTo>
                    <a:pt x="996" y="699"/>
                    <a:pt x="993" y="693"/>
                    <a:pt x="996" y="690"/>
                  </a:cubicBezTo>
                  <a:cubicBezTo>
                    <a:pt x="1002" y="687"/>
                    <a:pt x="996" y="684"/>
                    <a:pt x="993" y="687"/>
                  </a:cubicBezTo>
                  <a:cubicBezTo>
                    <a:pt x="987" y="687"/>
                    <a:pt x="990" y="678"/>
                    <a:pt x="993" y="675"/>
                  </a:cubicBezTo>
                  <a:cubicBezTo>
                    <a:pt x="996" y="672"/>
                    <a:pt x="984" y="669"/>
                    <a:pt x="984" y="672"/>
                  </a:cubicBezTo>
                  <a:cubicBezTo>
                    <a:pt x="984" y="678"/>
                    <a:pt x="975" y="675"/>
                    <a:pt x="975" y="672"/>
                  </a:cubicBezTo>
                  <a:cubicBezTo>
                    <a:pt x="972" y="669"/>
                    <a:pt x="966" y="666"/>
                    <a:pt x="969" y="663"/>
                  </a:cubicBezTo>
                  <a:cubicBezTo>
                    <a:pt x="972" y="663"/>
                    <a:pt x="960" y="660"/>
                    <a:pt x="960" y="666"/>
                  </a:cubicBezTo>
                  <a:cubicBezTo>
                    <a:pt x="960" y="669"/>
                    <a:pt x="957" y="663"/>
                    <a:pt x="960" y="657"/>
                  </a:cubicBezTo>
                  <a:cubicBezTo>
                    <a:pt x="966" y="651"/>
                    <a:pt x="966" y="648"/>
                    <a:pt x="969" y="645"/>
                  </a:cubicBezTo>
                  <a:cubicBezTo>
                    <a:pt x="975" y="642"/>
                    <a:pt x="969" y="639"/>
                    <a:pt x="963" y="639"/>
                  </a:cubicBezTo>
                  <a:cubicBezTo>
                    <a:pt x="960" y="642"/>
                    <a:pt x="945" y="660"/>
                    <a:pt x="945" y="666"/>
                  </a:cubicBezTo>
                  <a:cubicBezTo>
                    <a:pt x="945" y="672"/>
                    <a:pt x="945" y="678"/>
                    <a:pt x="942" y="675"/>
                  </a:cubicBezTo>
                  <a:cubicBezTo>
                    <a:pt x="936" y="675"/>
                    <a:pt x="930" y="681"/>
                    <a:pt x="933" y="684"/>
                  </a:cubicBezTo>
                  <a:cubicBezTo>
                    <a:pt x="939" y="687"/>
                    <a:pt x="924" y="693"/>
                    <a:pt x="930" y="696"/>
                  </a:cubicBezTo>
                  <a:cubicBezTo>
                    <a:pt x="936" y="699"/>
                    <a:pt x="942" y="696"/>
                    <a:pt x="948" y="696"/>
                  </a:cubicBezTo>
                  <a:cubicBezTo>
                    <a:pt x="954" y="696"/>
                    <a:pt x="960" y="696"/>
                    <a:pt x="963" y="693"/>
                  </a:cubicBezTo>
                  <a:cubicBezTo>
                    <a:pt x="969" y="690"/>
                    <a:pt x="969" y="696"/>
                    <a:pt x="975" y="696"/>
                  </a:cubicBezTo>
                  <a:cubicBezTo>
                    <a:pt x="981" y="696"/>
                    <a:pt x="972" y="702"/>
                    <a:pt x="972" y="705"/>
                  </a:cubicBezTo>
                  <a:cubicBezTo>
                    <a:pt x="972" y="708"/>
                    <a:pt x="978" y="702"/>
                    <a:pt x="981" y="699"/>
                  </a:cubicBezTo>
                  <a:cubicBezTo>
                    <a:pt x="987" y="699"/>
                    <a:pt x="990" y="699"/>
                    <a:pt x="990" y="705"/>
                  </a:cubicBezTo>
                  <a:cubicBezTo>
                    <a:pt x="987" y="708"/>
                    <a:pt x="999" y="711"/>
                    <a:pt x="1002" y="705"/>
                  </a:cubicBezTo>
                  <a:cubicBezTo>
                    <a:pt x="1005" y="699"/>
                    <a:pt x="999" y="690"/>
                    <a:pt x="999" y="696"/>
                  </a:cubicBezTo>
                  <a:close/>
                  <a:moveTo>
                    <a:pt x="93" y="603"/>
                  </a:moveTo>
                  <a:cubicBezTo>
                    <a:pt x="84" y="609"/>
                    <a:pt x="108" y="630"/>
                    <a:pt x="111" y="627"/>
                  </a:cubicBezTo>
                  <a:cubicBezTo>
                    <a:pt x="114" y="627"/>
                    <a:pt x="105" y="615"/>
                    <a:pt x="105" y="609"/>
                  </a:cubicBezTo>
                  <a:cubicBezTo>
                    <a:pt x="105" y="603"/>
                    <a:pt x="102" y="597"/>
                    <a:pt x="93" y="603"/>
                  </a:cubicBezTo>
                  <a:close/>
                  <a:moveTo>
                    <a:pt x="918" y="717"/>
                  </a:moveTo>
                  <a:cubicBezTo>
                    <a:pt x="915" y="717"/>
                    <a:pt x="918" y="711"/>
                    <a:pt x="918" y="708"/>
                  </a:cubicBezTo>
                  <a:cubicBezTo>
                    <a:pt x="918" y="708"/>
                    <a:pt x="909" y="711"/>
                    <a:pt x="909" y="714"/>
                  </a:cubicBezTo>
                  <a:cubicBezTo>
                    <a:pt x="909" y="717"/>
                    <a:pt x="903" y="717"/>
                    <a:pt x="903" y="720"/>
                  </a:cubicBezTo>
                  <a:cubicBezTo>
                    <a:pt x="903" y="726"/>
                    <a:pt x="903" y="723"/>
                    <a:pt x="900" y="726"/>
                  </a:cubicBezTo>
                  <a:cubicBezTo>
                    <a:pt x="894" y="726"/>
                    <a:pt x="879" y="726"/>
                    <a:pt x="879" y="723"/>
                  </a:cubicBezTo>
                  <a:cubicBezTo>
                    <a:pt x="879" y="717"/>
                    <a:pt x="867" y="717"/>
                    <a:pt x="867" y="711"/>
                  </a:cubicBezTo>
                  <a:cubicBezTo>
                    <a:pt x="867" y="708"/>
                    <a:pt x="861" y="705"/>
                    <a:pt x="867" y="699"/>
                  </a:cubicBezTo>
                  <a:cubicBezTo>
                    <a:pt x="870" y="696"/>
                    <a:pt x="864" y="693"/>
                    <a:pt x="861" y="696"/>
                  </a:cubicBezTo>
                  <a:cubicBezTo>
                    <a:pt x="855" y="699"/>
                    <a:pt x="855" y="693"/>
                    <a:pt x="861" y="693"/>
                  </a:cubicBezTo>
                  <a:cubicBezTo>
                    <a:pt x="864" y="690"/>
                    <a:pt x="876" y="687"/>
                    <a:pt x="870" y="678"/>
                  </a:cubicBezTo>
                  <a:cubicBezTo>
                    <a:pt x="864" y="666"/>
                    <a:pt x="831" y="681"/>
                    <a:pt x="822" y="684"/>
                  </a:cubicBezTo>
                  <a:cubicBezTo>
                    <a:pt x="813" y="690"/>
                    <a:pt x="801" y="705"/>
                    <a:pt x="798" y="705"/>
                  </a:cubicBezTo>
                  <a:cubicBezTo>
                    <a:pt x="792" y="705"/>
                    <a:pt x="807" y="699"/>
                    <a:pt x="807" y="696"/>
                  </a:cubicBezTo>
                  <a:cubicBezTo>
                    <a:pt x="810" y="690"/>
                    <a:pt x="807" y="687"/>
                    <a:pt x="810" y="690"/>
                  </a:cubicBezTo>
                  <a:cubicBezTo>
                    <a:pt x="813" y="690"/>
                    <a:pt x="819" y="678"/>
                    <a:pt x="825" y="675"/>
                  </a:cubicBezTo>
                  <a:cubicBezTo>
                    <a:pt x="831" y="672"/>
                    <a:pt x="837" y="675"/>
                    <a:pt x="837" y="672"/>
                  </a:cubicBezTo>
                  <a:cubicBezTo>
                    <a:pt x="837" y="669"/>
                    <a:pt x="840" y="666"/>
                    <a:pt x="846" y="660"/>
                  </a:cubicBezTo>
                  <a:cubicBezTo>
                    <a:pt x="852" y="657"/>
                    <a:pt x="909" y="657"/>
                    <a:pt x="915" y="657"/>
                  </a:cubicBezTo>
                  <a:cubicBezTo>
                    <a:pt x="921" y="657"/>
                    <a:pt x="933" y="651"/>
                    <a:pt x="936" y="645"/>
                  </a:cubicBezTo>
                  <a:cubicBezTo>
                    <a:pt x="939" y="639"/>
                    <a:pt x="945" y="639"/>
                    <a:pt x="951" y="642"/>
                  </a:cubicBezTo>
                  <a:cubicBezTo>
                    <a:pt x="960" y="642"/>
                    <a:pt x="963" y="633"/>
                    <a:pt x="969" y="630"/>
                  </a:cubicBezTo>
                  <a:cubicBezTo>
                    <a:pt x="972" y="627"/>
                    <a:pt x="969" y="627"/>
                    <a:pt x="966" y="627"/>
                  </a:cubicBezTo>
                  <a:cubicBezTo>
                    <a:pt x="963" y="627"/>
                    <a:pt x="960" y="624"/>
                    <a:pt x="963" y="624"/>
                  </a:cubicBezTo>
                  <a:cubicBezTo>
                    <a:pt x="966" y="624"/>
                    <a:pt x="969" y="621"/>
                    <a:pt x="969" y="615"/>
                  </a:cubicBezTo>
                  <a:cubicBezTo>
                    <a:pt x="972" y="612"/>
                    <a:pt x="969" y="615"/>
                    <a:pt x="963" y="609"/>
                  </a:cubicBezTo>
                  <a:cubicBezTo>
                    <a:pt x="960" y="600"/>
                    <a:pt x="957" y="609"/>
                    <a:pt x="951" y="609"/>
                  </a:cubicBezTo>
                  <a:cubicBezTo>
                    <a:pt x="948" y="609"/>
                    <a:pt x="954" y="603"/>
                    <a:pt x="951" y="600"/>
                  </a:cubicBezTo>
                  <a:cubicBezTo>
                    <a:pt x="948" y="597"/>
                    <a:pt x="939" y="600"/>
                    <a:pt x="933" y="603"/>
                  </a:cubicBezTo>
                  <a:cubicBezTo>
                    <a:pt x="927" y="609"/>
                    <a:pt x="927" y="603"/>
                    <a:pt x="924" y="609"/>
                  </a:cubicBezTo>
                  <a:cubicBezTo>
                    <a:pt x="918" y="615"/>
                    <a:pt x="918" y="606"/>
                    <a:pt x="921" y="606"/>
                  </a:cubicBezTo>
                  <a:cubicBezTo>
                    <a:pt x="924" y="603"/>
                    <a:pt x="924" y="606"/>
                    <a:pt x="927" y="603"/>
                  </a:cubicBezTo>
                  <a:cubicBezTo>
                    <a:pt x="930" y="600"/>
                    <a:pt x="930" y="603"/>
                    <a:pt x="936" y="597"/>
                  </a:cubicBezTo>
                  <a:cubicBezTo>
                    <a:pt x="942" y="594"/>
                    <a:pt x="948" y="597"/>
                    <a:pt x="951" y="594"/>
                  </a:cubicBezTo>
                  <a:cubicBezTo>
                    <a:pt x="951" y="591"/>
                    <a:pt x="948" y="588"/>
                    <a:pt x="942" y="588"/>
                  </a:cubicBezTo>
                  <a:cubicBezTo>
                    <a:pt x="936" y="588"/>
                    <a:pt x="933" y="582"/>
                    <a:pt x="930" y="582"/>
                  </a:cubicBezTo>
                  <a:cubicBezTo>
                    <a:pt x="924" y="585"/>
                    <a:pt x="927" y="579"/>
                    <a:pt x="921" y="582"/>
                  </a:cubicBezTo>
                  <a:cubicBezTo>
                    <a:pt x="918" y="585"/>
                    <a:pt x="915" y="582"/>
                    <a:pt x="915" y="576"/>
                  </a:cubicBezTo>
                  <a:cubicBezTo>
                    <a:pt x="912" y="573"/>
                    <a:pt x="900" y="564"/>
                    <a:pt x="894" y="561"/>
                  </a:cubicBezTo>
                  <a:cubicBezTo>
                    <a:pt x="888" y="561"/>
                    <a:pt x="894" y="555"/>
                    <a:pt x="897" y="558"/>
                  </a:cubicBezTo>
                  <a:cubicBezTo>
                    <a:pt x="900" y="561"/>
                    <a:pt x="903" y="555"/>
                    <a:pt x="906" y="555"/>
                  </a:cubicBezTo>
                  <a:cubicBezTo>
                    <a:pt x="906" y="552"/>
                    <a:pt x="903" y="549"/>
                    <a:pt x="900" y="549"/>
                  </a:cubicBezTo>
                  <a:cubicBezTo>
                    <a:pt x="900" y="549"/>
                    <a:pt x="900" y="546"/>
                    <a:pt x="900" y="543"/>
                  </a:cubicBezTo>
                  <a:cubicBezTo>
                    <a:pt x="900" y="540"/>
                    <a:pt x="891" y="537"/>
                    <a:pt x="891" y="534"/>
                  </a:cubicBezTo>
                  <a:cubicBezTo>
                    <a:pt x="891" y="531"/>
                    <a:pt x="888" y="531"/>
                    <a:pt x="888" y="528"/>
                  </a:cubicBezTo>
                  <a:cubicBezTo>
                    <a:pt x="888" y="525"/>
                    <a:pt x="882" y="522"/>
                    <a:pt x="882" y="519"/>
                  </a:cubicBezTo>
                  <a:cubicBezTo>
                    <a:pt x="882" y="516"/>
                    <a:pt x="876" y="510"/>
                    <a:pt x="876" y="507"/>
                  </a:cubicBezTo>
                  <a:cubicBezTo>
                    <a:pt x="876" y="504"/>
                    <a:pt x="870" y="501"/>
                    <a:pt x="870" y="498"/>
                  </a:cubicBezTo>
                  <a:cubicBezTo>
                    <a:pt x="867" y="492"/>
                    <a:pt x="867" y="495"/>
                    <a:pt x="864" y="501"/>
                  </a:cubicBezTo>
                  <a:cubicBezTo>
                    <a:pt x="864" y="507"/>
                    <a:pt x="858" y="507"/>
                    <a:pt x="861" y="507"/>
                  </a:cubicBezTo>
                  <a:cubicBezTo>
                    <a:pt x="864" y="513"/>
                    <a:pt x="861" y="513"/>
                    <a:pt x="858" y="516"/>
                  </a:cubicBezTo>
                  <a:cubicBezTo>
                    <a:pt x="855" y="519"/>
                    <a:pt x="861" y="522"/>
                    <a:pt x="855" y="522"/>
                  </a:cubicBezTo>
                  <a:cubicBezTo>
                    <a:pt x="852" y="522"/>
                    <a:pt x="855" y="528"/>
                    <a:pt x="852" y="525"/>
                  </a:cubicBezTo>
                  <a:cubicBezTo>
                    <a:pt x="849" y="522"/>
                    <a:pt x="846" y="522"/>
                    <a:pt x="846" y="528"/>
                  </a:cubicBezTo>
                  <a:cubicBezTo>
                    <a:pt x="846" y="531"/>
                    <a:pt x="837" y="534"/>
                    <a:pt x="834" y="534"/>
                  </a:cubicBezTo>
                  <a:cubicBezTo>
                    <a:pt x="831" y="534"/>
                    <a:pt x="831" y="525"/>
                    <a:pt x="828" y="528"/>
                  </a:cubicBezTo>
                  <a:cubicBezTo>
                    <a:pt x="825" y="531"/>
                    <a:pt x="825" y="522"/>
                    <a:pt x="822" y="522"/>
                  </a:cubicBezTo>
                  <a:cubicBezTo>
                    <a:pt x="816" y="522"/>
                    <a:pt x="813" y="522"/>
                    <a:pt x="816" y="519"/>
                  </a:cubicBezTo>
                  <a:cubicBezTo>
                    <a:pt x="816" y="516"/>
                    <a:pt x="807" y="513"/>
                    <a:pt x="810" y="510"/>
                  </a:cubicBezTo>
                  <a:cubicBezTo>
                    <a:pt x="813" y="510"/>
                    <a:pt x="810" y="504"/>
                    <a:pt x="810" y="498"/>
                  </a:cubicBezTo>
                  <a:cubicBezTo>
                    <a:pt x="810" y="492"/>
                    <a:pt x="813" y="492"/>
                    <a:pt x="813" y="489"/>
                  </a:cubicBezTo>
                  <a:cubicBezTo>
                    <a:pt x="813" y="486"/>
                    <a:pt x="810" y="486"/>
                    <a:pt x="807" y="489"/>
                  </a:cubicBezTo>
                  <a:cubicBezTo>
                    <a:pt x="804" y="489"/>
                    <a:pt x="804" y="486"/>
                    <a:pt x="801" y="486"/>
                  </a:cubicBezTo>
                  <a:cubicBezTo>
                    <a:pt x="798" y="486"/>
                    <a:pt x="789" y="486"/>
                    <a:pt x="789" y="480"/>
                  </a:cubicBezTo>
                  <a:cubicBezTo>
                    <a:pt x="786" y="477"/>
                    <a:pt x="783" y="480"/>
                    <a:pt x="783" y="474"/>
                  </a:cubicBezTo>
                  <a:cubicBezTo>
                    <a:pt x="780" y="471"/>
                    <a:pt x="777" y="474"/>
                    <a:pt x="777" y="471"/>
                  </a:cubicBezTo>
                  <a:cubicBezTo>
                    <a:pt x="777" y="468"/>
                    <a:pt x="774" y="465"/>
                    <a:pt x="771" y="465"/>
                  </a:cubicBezTo>
                  <a:cubicBezTo>
                    <a:pt x="768" y="465"/>
                    <a:pt x="768" y="462"/>
                    <a:pt x="765" y="462"/>
                  </a:cubicBezTo>
                  <a:cubicBezTo>
                    <a:pt x="759" y="462"/>
                    <a:pt x="756" y="465"/>
                    <a:pt x="753" y="465"/>
                  </a:cubicBezTo>
                  <a:cubicBezTo>
                    <a:pt x="750" y="468"/>
                    <a:pt x="744" y="462"/>
                    <a:pt x="744" y="465"/>
                  </a:cubicBezTo>
                  <a:cubicBezTo>
                    <a:pt x="741" y="465"/>
                    <a:pt x="741" y="462"/>
                    <a:pt x="735" y="462"/>
                  </a:cubicBezTo>
                  <a:cubicBezTo>
                    <a:pt x="726" y="459"/>
                    <a:pt x="720" y="459"/>
                    <a:pt x="720" y="462"/>
                  </a:cubicBezTo>
                  <a:cubicBezTo>
                    <a:pt x="717" y="462"/>
                    <a:pt x="714" y="465"/>
                    <a:pt x="714" y="468"/>
                  </a:cubicBezTo>
                  <a:cubicBezTo>
                    <a:pt x="714" y="474"/>
                    <a:pt x="720" y="474"/>
                    <a:pt x="720" y="477"/>
                  </a:cubicBezTo>
                  <a:cubicBezTo>
                    <a:pt x="723" y="480"/>
                    <a:pt x="720" y="480"/>
                    <a:pt x="717" y="483"/>
                  </a:cubicBezTo>
                  <a:cubicBezTo>
                    <a:pt x="717" y="486"/>
                    <a:pt x="714" y="486"/>
                    <a:pt x="714" y="489"/>
                  </a:cubicBezTo>
                  <a:cubicBezTo>
                    <a:pt x="714" y="489"/>
                    <a:pt x="717" y="489"/>
                    <a:pt x="717" y="495"/>
                  </a:cubicBezTo>
                  <a:cubicBezTo>
                    <a:pt x="720" y="498"/>
                    <a:pt x="723" y="498"/>
                    <a:pt x="723" y="504"/>
                  </a:cubicBezTo>
                  <a:cubicBezTo>
                    <a:pt x="723" y="510"/>
                    <a:pt x="720" y="510"/>
                    <a:pt x="717" y="510"/>
                  </a:cubicBezTo>
                  <a:cubicBezTo>
                    <a:pt x="717" y="510"/>
                    <a:pt x="720" y="513"/>
                    <a:pt x="714" y="516"/>
                  </a:cubicBezTo>
                  <a:cubicBezTo>
                    <a:pt x="711" y="522"/>
                    <a:pt x="708" y="525"/>
                    <a:pt x="711" y="528"/>
                  </a:cubicBezTo>
                  <a:cubicBezTo>
                    <a:pt x="714" y="531"/>
                    <a:pt x="723" y="534"/>
                    <a:pt x="729" y="543"/>
                  </a:cubicBezTo>
                  <a:cubicBezTo>
                    <a:pt x="732" y="549"/>
                    <a:pt x="732" y="558"/>
                    <a:pt x="732" y="567"/>
                  </a:cubicBezTo>
                  <a:cubicBezTo>
                    <a:pt x="729" y="573"/>
                    <a:pt x="720" y="576"/>
                    <a:pt x="714" y="582"/>
                  </a:cubicBezTo>
                  <a:cubicBezTo>
                    <a:pt x="708" y="588"/>
                    <a:pt x="702" y="588"/>
                    <a:pt x="699" y="588"/>
                  </a:cubicBezTo>
                  <a:cubicBezTo>
                    <a:pt x="696" y="588"/>
                    <a:pt x="699" y="594"/>
                    <a:pt x="702" y="600"/>
                  </a:cubicBezTo>
                  <a:cubicBezTo>
                    <a:pt x="705" y="603"/>
                    <a:pt x="702" y="606"/>
                    <a:pt x="705" y="609"/>
                  </a:cubicBezTo>
                  <a:cubicBezTo>
                    <a:pt x="708" y="615"/>
                    <a:pt x="705" y="618"/>
                    <a:pt x="708" y="624"/>
                  </a:cubicBezTo>
                  <a:cubicBezTo>
                    <a:pt x="711" y="627"/>
                    <a:pt x="711" y="630"/>
                    <a:pt x="705" y="633"/>
                  </a:cubicBezTo>
                  <a:cubicBezTo>
                    <a:pt x="702" y="636"/>
                    <a:pt x="708" y="636"/>
                    <a:pt x="708" y="639"/>
                  </a:cubicBezTo>
                  <a:cubicBezTo>
                    <a:pt x="708" y="642"/>
                    <a:pt x="705" y="642"/>
                    <a:pt x="702" y="639"/>
                  </a:cubicBezTo>
                  <a:cubicBezTo>
                    <a:pt x="699" y="636"/>
                    <a:pt x="696" y="642"/>
                    <a:pt x="696" y="645"/>
                  </a:cubicBezTo>
                  <a:cubicBezTo>
                    <a:pt x="696" y="648"/>
                    <a:pt x="690" y="642"/>
                    <a:pt x="687" y="642"/>
                  </a:cubicBezTo>
                  <a:cubicBezTo>
                    <a:pt x="684" y="642"/>
                    <a:pt x="687" y="639"/>
                    <a:pt x="684" y="633"/>
                  </a:cubicBezTo>
                  <a:cubicBezTo>
                    <a:pt x="678" y="630"/>
                    <a:pt x="675" y="630"/>
                    <a:pt x="675" y="627"/>
                  </a:cubicBezTo>
                  <a:cubicBezTo>
                    <a:pt x="675" y="624"/>
                    <a:pt x="666" y="621"/>
                    <a:pt x="666" y="615"/>
                  </a:cubicBezTo>
                  <a:cubicBezTo>
                    <a:pt x="666" y="612"/>
                    <a:pt x="669" y="603"/>
                    <a:pt x="666" y="600"/>
                  </a:cubicBezTo>
                  <a:cubicBezTo>
                    <a:pt x="666" y="597"/>
                    <a:pt x="666" y="594"/>
                    <a:pt x="669" y="591"/>
                  </a:cubicBezTo>
                  <a:cubicBezTo>
                    <a:pt x="669" y="588"/>
                    <a:pt x="666" y="582"/>
                    <a:pt x="660" y="582"/>
                  </a:cubicBezTo>
                  <a:cubicBezTo>
                    <a:pt x="657" y="582"/>
                    <a:pt x="651" y="582"/>
                    <a:pt x="645" y="582"/>
                  </a:cubicBezTo>
                  <a:cubicBezTo>
                    <a:pt x="639" y="582"/>
                    <a:pt x="636" y="582"/>
                    <a:pt x="633" y="579"/>
                  </a:cubicBezTo>
                  <a:cubicBezTo>
                    <a:pt x="630" y="579"/>
                    <a:pt x="624" y="573"/>
                    <a:pt x="618" y="573"/>
                  </a:cubicBezTo>
                  <a:cubicBezTo>
                    <a:pt x="609" y="570"/>
                    <a:pt x="606" y="567"/>
                    <a:pt x="606" y="564"/>
                  </a:cubicBezTo>
                  <a:cubicBezTo>
                    <a:pt x="603" y="561"/>
                    <a:pt x="597" y="561"/>
                    <a:pt x="594" y="558"/>
                  </a:cubicBezTo>
                  <a:cubicBezTo>
                    <a:pt x="594" y="555"/>
                    <a:pt x="585" y="555"/>
                    <a:pt x="582" y="555"/>
                  </a:cubicBezTo>
                  <a:cubicBezTo>
                    <a:pt x="579" y="555"/>
                    <a:pt x="573" y="549"/>
                    <a:pt x="567" y="549"/>
                  </a:cubicBezTo>
                  <a:cubicBezTo>
                    <a:pt x="564" y="549"/>
                    <a:pt x="552" y="555"/>
                    <a:pt x="552" y="555"/>
                  </a:cubicBezTo>
                  <a:cubicBezTo>
                    <a:pt x="549" y="555"/>
                    <a:pt x="552" y="549"/>
                    <a:pt x="552" y="549"/>
                  </a:cubicBezTo>
                  <a:cubicBezTo>
                    <a:pt x="555" y="546"/>
                    <a:pt x="549" y="540"/>
                    <a:pt x="546" y="534"/>
                  </a:cubicBezTo>
                  <a:cubicBezTo>
                    <a:pt x="546" y="528"/>
                    <a:pt x="543" y="525"/>
                    <a:pt x="540" y="525"/>
                  </a:cubicBezTo>
                  <a:cubicBezTo>
                    <a:pt x="534" y="525"/>
                    <a:pt x="528" y="522"/>
                    <a:pt x="528" y="522"/>
                  </a:cubicBezTo>
                  <a:cubicBezTo>
                    <a:pt x="525" y="519"/>
                    <a:pt x="525" y="507"/>
                    <a:pt x="525" y="501"/>
                  </a:cubicBezTo>
                  <a:cubicBezTo>
                    <a:pt x="528" y="495"/>
                    <a:pt x="534" y="486"/>
                    <a:pt x="534" y="480"/>
                  </a:cubicBezTo>
                  <a:cubicBezTo>
                    <a:pt x="534" y="477"/>
                    <a:pt x="537" y="477"/>
                    <a:pt x="543" y="474"/>
                  </a:cubicBezTo>
                  <a:cubicBezTo>
                    <a:pt x="546" y="474"/>
                    <a:pt x="543" y="468"/>
                    <a:pt x="546" y="465"/>
                  </a:cubicBezTo>
                  <a:cubicBezTo>
                    <a:pt x="549" y="465"/>
                    <a:pt x="549" y="465"/>
                    <a:pt x="552" y="462"/>
                  </a:cubicBezTo>
                  <a:cubicBezTo>
                    <a:pt x="552" y="459"/>
                    <a:pt x="555" y="459"/>
                    <a:pt x="555" y="459"/>
                  </a:cubicBezTo>
                  <a:cubicBezTo>
                    <a:pt x="552" y="456"/>
                    <a:pt x="552" y="453"/>
                    <a:pt x="558" y="453"/>
                  </a:cubicBezTo>
                  <a:cubicBezTo>
                    <a:pt x="564" y="453"/>
                    <a:pt x="573" y="453"/>
                    <a:pt x="573" y="447"/>
                  </a:cubicBezTo>
                  <a:cubicBezTo>
                    <a:pt x="570" y="441"/>
                    <a:pt x="555" y="444"/>
                    <a:pt x="555" y="441"/>
                  </a:cubicBezTo>
                  <a:cubicBezTo>
                    <a:pt x="555" y="435"/>
                    <a:pt x="537" y="435"/>
                    <a:pt x="537" y="432"/>
                  </a:cubicBezTo>
                  <a:cubicBezTo>
                    <a:pt x="540" y="429"/>
                    <a:pt x="558" y="435"/>
                    <a:pt x="564" y="438"/>
                  </a:cubicBezTo>
                  <a:cubicBezTo>
                    <a:pt x="570" y="441"/>
                    <a:pt x="573" y="438"/>
                    <a:pt x="576" y="438"/>
                  </a:cubicBezTo>
                  <a:cubicBezTo>
                    <a:pt x="582" y="438"/>
                    <a:pt x="579" y="432"/>
                    <a:pt x="579" y="429"/>
                  </a:cubicBezTo>
                  <a:cubicBezTo>
                    <a:pt x="582" y="426"/>
                    <a:pt x="591" y="435"/>
                    <a:pt x="597" y="432"/>
                  </a:cubicBezTo>
                  <a:cubicBezTo>
                    <a:pt x="603" y="432"/>
                    <a:pt x="609" y="420"/>
                    <a:pt x="612" y="417"/>
                  </a:cubicBezTo>
                  <a:cubicBezTo>
                    <a:pt x="618" y="411"/>
                    <a:pt x="612" y="408"/>
                    <a:pt x="603" y="411"/>
                  </a:cubicBezTo>
                  <a:cubicBezTo>
                    <a:pt x="594" y="411"/>
                    <a:pt x="588" y="408"/>
                    <a:pt x="585" y="405"/>
                  </a:cubicBezTo>
                  <a:cubicBezTo>
                    <a:pt x="579" y="399"/>
                    <a:pt x="579" y="396"/>
                    <a:pt x="585" y="396"/>
                  </a:cubicBezTo>
                  <a:cubicBezTo>
                    <a:pt x="591" y="399"/>
                    <a:pt x="603" y="408"/>
                    <a:pt x="609" y="408"/>
                  </a:cubicBezTo>
                  <a:cubicBezTo>
                    <a:pt x="612" y="408"/>
                    <a:pt x="621" y="399"/>
                    <a:pt x="624" y="396"/>
                  </a:cubicBezTo>
                  <a:cubicBezTo>
                    <a:pt x="630" y="393"/>
                    <a:pt x="621" y="393"/>
                    <a:pt x="618" y="390"/>
                  </a:cubicBezTo>
                  <a:cubicBezTo>
                    <a:pt x="615" y="387"/>
                    <a:pt x="624" y="387"/>
                    <a:pt x="627" y="387"/>
                  </a:cubicBezTo>
                  <a:cubicBezTo>
                    <a:pt x="630" y="387"/>
                    <a:pt x="633" y="390"/>
                    <a:pt x="633" y="390"/>
                  </a:cubicBezTo>
                  <a:cubicBezTo>
                    <a:pt x="636" y="393"/>
                    <a:pt x="642" y="390"/>
                    <a:pt x="645" y="390"/>
                  </a:cubicBezTo>
                  <a:cubicBezTo>
                    <a:pt x="651" y="390"/>
                    <a:pt x="645" y="384"/>
                    <a:pt x="639" y="381"/>
                  </a:cubicBezTo>
                  <a:cubicBezTo>
                    <a:pt x="633" y="381"/>
                    <a:pt x="639" y="375"/>
                    <a:pt x="642" y="378"/>
                  </a:cubicBezTo>
                  <a:cubicBezTo>
                    <a:pt x="645" y="381"/>
                    <a:pt x="648" y="381"/>
                    <a:pt x="651" y="387"/>
                  </a:cubicBezTo>
                  <a:cubicBezTo>
                    <a:pt x="654" y="390"/>
                    <a:pt x="654" y="387"/>
                    <a:pt x="660" y="387"/>
                  </a:cubicBezTo>
                  <a:cubicBezTo>
                    <a:pt x="663" y="384"/>
                    <a:pt x="666" y="381"/>
                    <a:pt x="669" y="378"/>
                  </a:cubicBezTo>
                  <a:cubicBezTo>
                    <a:pt x="672" y="375"/>
                    <a:pt x="672" y="378"/>
                    <a:pt x="675" y="375"/>
                  </a:cubicBezTo>
                  <a:cubicBezTo>
                    <a:pt x="678" y="369"/>
                    <a:pt x="675" y="366"/>
                    <a:pt x="672" y="363"/>
                  </a:cubicBezTo>
                  <a:cubicBezTo>
                    <a:pt x="666" y="360"/>
                    <a:pt x="672" y="357"/>
                    <a:pt x="666" y="354"/>
                  </a:cubicBezTo>
                  <a:cubicBezTo>
                    <a:pt x="663" y="351"/>
                    <a:pt x="663" y="348"/>
                    <a:pt x="666" y="348"/>
                  </a:cubicBezTo>
                  <a:cubicBezTo>
                    <a:pt x="672" y="351"/>
                    <a:pt x="675" y="348"/>
                    <a:pt x="678" y="345"/>
                  </a:cubicBezTo>
                  <a:cubicBezTo>
                    <a:pt x="681" y="342"/>
                    <a:pt x="672" y="342"/>
                    <a:pt x="675" y="339"/>
                  </a:cubicBezTo>
                  <a:cubicBezTo>
                    <a:pt x="681" y="336"/>
                    <a:pt x="675" y="333"/>
                    <a:pt x="672" y="333"/>
                  </a:cubicBezTo>
                  <a:cubicBezTo>
                    <a:pt x="666" y="333"/>
                    <a:pt x="663" y="330"/>
                    <a:pt x="663" y="327"/>
                  </a:cubicBezTo>
                  <a:cubicBezTo>
                    <a:pt x="663" y="324"/>
                    <a:pt x="654" y="327"/>
                    <a:pt x="651" y="324"/>
                  </a:cubicBezTo>
                  <a:cubicBezTo>
                    <a:pt x="645" y="321"/>
                    <a:pt x="636" y="321"/>
                    <a:pt x="633" y="321"/>
                  </a:cubicBezTo>
                  <a:cubicBezTo>
                    <a:pt x="630" y="321"/>
                    <a:pt x="630" y="333"/>
                    <a:pt x="633" y="333"/>
                  </a:cubicBezTo>
                  <a:cubicBezTo>
                    <a:pt x="636" y="333"/>
                    <a:pt x="639" y="336"/>
                    <a:pt x="636" y="339"/>
                  </a:cubicBezTo>
                  <a:cubicBezTo>
                    <a:pt x="633" y="339"/>
                    <a:pt x="639" y="345"/>
                    <a:pt x="636" y="342"/>
                  </a:cubicBezTo>
                  <a:cubicBezTo>
                    <a:pt x="633" y="342"/>
                    <a:pt x="630" y="342"/>
                    <a:pt x="627" y="348"/>
                  </a:cubicBezTo>
                  <a:cubicBezTo>
                    <a:pt x="627" y="354"/>
                    <a:pt x="627" y="357"/>
                    <a:pt x="621" y="360"/>
                  </a:cubicBezTo>
                  <a:cubicBezTo>
                    <a:pt x="618" y="363"/>
                    <a:pt x="621" y="351"/>
                    <a:pt x="618" y="354"/>
                  </a:cubicBezTo>
                  <a:cubicBezTo>
                    <a:pt x="612" y="354"/>
                    <a:pt x="612" y="360"/>
                    <a:pt x="615" y="360"/>
                  </a:cubicBezTo>
                  <a:cubicBezTo>
                    <a:pt x="618" y="363"/>
                    <a:pt x="618" y="366"/>
                    <a:pt x="621" y="369"/>
                  </a:cubicBezTo>
                  <a:cubicBezTo>
                    <a:pt x="621" y="372"/>
                    <a:pt x="615" y="369"/>
                    <a:pt x="612" y="375"/>
                  </a:cubicBezTo>
                  <a:cubicBezTo>
                    <a:pt x="609" y="378"/>
                    <a:pt x="609" y="372"/>
                    <a:pt x="606" y="369"/>
                  </a:cubicBezTo>
                  <a:cubicBezTo>
                    <a:pt x="603" y="366"/>
                    <a:pt x="597" y="360"/>
                    <a:pt x="597" y="357"/>
                  </a:cubicBezTo>
                  <a:cubicBezTo>
                    <a:pt x="600" y="354"/>
                    <a:pt x="600" y="354"/>
                    <a:pt x="603" y="351"/>
                  </a:cubicBezTo>
                  <a:cubicBezTo>
                    <a:pt x="606" y="351"/>
                    <a:pt x="603" y="348"/>
                    <a:pt x="603" y="345"/>
                  </a:cubicBezTo>
                  <a:cubicBezTo>
                    <a:pt x="603" y="339"/>
                    <a:pt x="600" y="342"/>
                    <a:pt x="594" y="336"/>
                  </a:cubicBezTo>
                  <a:cubicBezTo>
                    <a:pt x="591" y="333"/>
                    <a:pt x="588" y="333"/>
                    <a:pt x="585" y="333"/>
                  </a:cubicBezTo>
                  <a:cubicBezTo>
                    <a:pt x="582" y="336"/>
                    <a:pt x="585" y="342"/>
                    <a:pt x="582" y="342"/>
                  </a:cubicBezTo>
                  <a:cubicBezTo>
                    <a:pt x="576" y="345"/>
                    <a:pt x="579" y="351"/>
                    <a:pt x="576" y="351"/>
                  </a:cubicBezTo>
                  <a:cubicBezTo>
                    <a:pt x="573" y="351"/>
                    <a:pt x="573" y="339"/>
                    <a:pt x="573" y="339"/>
                  </a:cubicBezTo>
                  <a:cubicBezTo>
                    <a:pt x="570" y="336"/>
                    <a:pt x="570" y="333"/>
                    <a:pt x="573" y="333"/>
                  </a:cubicBezTo>
                  <a:cubicBezTo>
                    <a:pt x="576" y="333"/>
                    <a:pt x="579" y="330"/>
                    <a:pt x="576" y="330"/>
                  </a:cubicBezTo>
                  <a:cubicBezTo>
                    <a:pt x="573" y="330"/>
                    <a:pt x="567" y="324"/>
                    <a:pt x="564" y="324"/>
                  </a:cubicBezTo>
                  <a:cubicBezTo>
                    <a:pt x="564" y="324"/>
                    <a:pt x="558" y="327"/>
                    <a:pt x="555" y="327"/>
                  </a:cubicBezTo>
                  <a:cubicBezTo>
                    <a:pt x="555" y="324"/>
                    <a:pt x="558" y="318"/>
                    <a:pt x="558" y="318"/>
                  </a:cubicBezTo>
                  <a:cubicBezTo>
                    <a:pt x="558" y="315"/>
                    <a:pt x="561" y="318"/>
                    <a:pt x="564" y="315"/>
                  </a:cubicBezTo>
                  <a:cubicBezTo>
                    <a:pt x="567" y="312"/>
                    <a:pt x="555" y="312"/>
                    <a:pt x="555" y="306"/>
                  </a:cubicBezTo>
                  <a:cubicBezTo>
                    <a:pt x="555" y="303"/>
                    <a:pt x="549" y="303"/>
                    <a:pt x="546" y="300"/>
                  </a:cubicBezTo>
                  <a:cubicBezTo>
                    <a:pt x="543" y="300"/>
                    <a:pt x="549" y="294"/>
                    <a:pt x="546" y="291"/>
                  </a:cubicBezTo>
                  <a:cubicBezTo>
                    <a:pt x="546" y="288"/>
                    <a:pt x="537" y="279"/>
                    <a:pt x="531" y="282"/>
                  </a:cubicBezTo>
                  <a:cubicBezTo>
                    <a:pt x="528" y="282"/>
                    <a:pt x="528" y="276"/>
                    <a:pt x="531" y="276"/>
                  </a:cubicBezTo>
                  <a:cubicBezTo>
                    <a:pt x="531" y="276"/>
                    <a:pt x="534" y="276"/>
                    <a:pt x="537" y="270"/>
                  </a:cubicBezTo>
                  <a:cubicBezTo>
                    <a:pt x="543" y="264"/>
                    <a:pt x="543" y="264"/>
                    <a:pt x="540" y="264"/>
                  </a:cubicBezTo>
                  <a:cubicBezTo>
                    <a:pt x="537" y="261"/>
                    <a:pt x="534" y="258"/>
                    <a:pt x="540" y="258"/>
                  </a:cubicBezTo>
                  <a:cubicBezTo>
                    <a:pt x="546" y="258"/>
                    <a:pt x="555" y="264"/>
                    <a:pt x="558" y="261"/>
                  </a:cubicBezTo>
                  <a:cubicBezTo>
                    <a:pt x="561" y="258"/>
                    <a:pt x="570" y="243"/>
                    <a:pt x="573" y="237"/>
                  </a:cubicBezTo>
                  <a:cubicBezTo>
                    <a:pt x="579" y="234"/>
                    <a:pt x="570" y="234"/>
                    <a:pt x="561" y="234"/>
                  </a:cubicBezTo>
                  <a:cubicBezTo>
                    <a:pt x="552" y="234"/>
                    <a:pt x="552" y="231"/>
                    <a:pt x="543" y="228"/>
                  </a:cubicBezTo>
                  <a:cubicBezTo>
                    <a:pt x="537" y="228"/>
                    <a:pt x="522" y="231"/>
                    <a:pt x="519" y="234"/>
                  </a:cubicBezTo>
                  <a:cubicBezTo>
                    <a:pt x="519" y="234"/>
                    <a:pt x="525" y="237"/>
                    <a:pt x="522" y="240"/>
                  </a:cubicBezTo>
                  <a:cubicBezTo>
                    <a:pt x="522" y="243"/>
                    <a:pt x="519" y="237"/>
                    <a:pt x="516" y="240"/>
                  </a:cubicBezTo>
                  <a:cubicBezTo>
                    <a:pt x="513" y="240"/>
                    <a:pt x="516" y="243"/>
                    <a:pt x="516" y="252"/>
                  </a:cubicBezTo>
                  <a:cubicBezTo>
                    <a:pt x="516" y="261"/>
                    <a:pt x="519" y="261"/>
                    <a:pt x="519" y="264"/>
                  </a:cubicBezTo>
                  <a:cubicBezTo>
                    <a:pt x="522" y="267"/>
                    <a:pt x="522" y="273"/>
                    <a:pt x="522" y="279"/>
                  </a:cubicBezTo>
                  <a:cubicBezTo>
                    <a:pt x="522" y="282"/>
                    <a:pt x="516" y="282"/>
                    <a:pt x="516" y="285"/>
                  </a:cubicBezTo>
                  <a:cubicBezTo>
                    <a:pt x="513" y="285"/>
                    <a:pt x="519" y="288"/>
                    <a:pt x="519" y="291"/>
                  </a:cubicBezTo>
                  <a:cubicBezTo>
                    <a:pt x="519" y="294"/>
                    <a:pt x="513" y="288"/>
                    <a:pt x="510" y="291"/>
                  </a:cubicBezTo>
                  <a:cubicBezTo>
                    <a:pt x="507" y="291"/>
                    <a:pt x="504" y="300"/>
                    <a:pt x="507" y="303"/>
                  </a:cubicBezTo>
                  <a:cubicBezTo>
                    <a:pt x="510" y="306"/>
                    <a:pt x="513" y="303"/>
                    <a:pt x="510" y="309"/>
                  </a:cubicBezTo>
                  <a:cubicBezTo>
                    <a:pt x="507" y="312"/>
                    <a:pt x="504" y="315"/>
                    <a:pt x="510" y="321"/>
                  </a:cubicBezTo>
                  <a:cubicBezTo>
                    <a:pt x="516" y="324"/>
                    <a:pt x="528" y="324"/>
                    <a:pt x="534" y="327"/>
                  </a:cubicBezTo>
                  <a:cubicBezTo>
                    <a:pt x="540" y="333"/>
                    <a:pt x="531" y="330"/>
                    <a:pt x="534" y="333"/>
                  </a:cubicBezTo>
                  <a:cubicBezTo>
                    <a:pt x="534" y="339"/>
                    <a:pt x="528" y="339"/>
                    <a:pt x="528" y="342"/>
                  </a:cubicBezTo>
                  <a:cubicBezTo>
                    <a:pt x="528" y="345"/>
                    <a:pt x="531" y="345"/>
                    <a:pt x="534" y="339"/>
                  </a:cubicBezTo>
                  <a:cubicBezTo>
                    <a:pt x="537" y="333"/>
                    <a:pt x="540" y="342"/>
                    <a:pt x="540" y="345"/>
                  </a:cubicBezTo>
                  <a:cubicBezTo>
                    <a:pt x="540" y="351"/>
                    <a:pt x="534" y="348"/>
                    <a:pt x="531" y="351"/>
                  </a:cubicBezTo>
                  <a:cubicBezTo>
                    <a:pt x="528" y="357"/>
                    <a:pt x="525" y="357"/>
                    <a:pt x="522" y="357"/>
                  </a:cubicBezTo>
                  <a:cubicBezTo>
                    <a:pt x="516" y="357"/>
                    <a:pt x="519" y="363"/>
                    <a:pt x="522" y="369"/>
                  </a:cubicBezTo>
                  <a:cubicBezTo>
                    <a:pt x="522" y="372"/>
                    <a:pt x="519" y="372"/>
                    <a:pt x="516" y="372"/>
                  </a:cubicBezTo>
                  <a:cubicBezTo>
                    <a:pt x="510" y="369"/>
                    <a:pt x="507" y="366"/>
                    <a:pt x="510" y="363"/>
                  </a:cubicBezTo>
                  <a:cubicBezTo>
                    <a:pt x="513" y="357"/>
                    <a:pt x="513" y="354"/>
                    <a:pt x="510" y="354"/>
                  </a:cubicBezTo>
                  <a:cubicBezTo>
                    <a:pt x="507" y="354"/>
                    <a:pt x="501" y="354"/>
                    <a:pt x="498" y="351"/>
                  </a:cubicBezTo>
                  <a:cubicBezTo>
                    <a:pt x="495" y="348"/>
                    <a:pt x="498" y="348"/>
                    <a:pt x="507" y="348"/>
                  </a:cubicBezTo>
                  <a:cubicBezTo>
                    <a:pt x="513" y="351"/>
                    <a:pt x="507" y="345"/>
                    <a:pt x="513" y="345"/>
                  </a:cubicBezTo>
                  <a:cubicBezTo>
                    <a:pt x="516" y="345"/>
                    <a:pt x="519" y="348"/>
                    <a:pt x="525" y="342"/>
                  </a:cubicBezTo>
                  <a:cubicBezTo>
                    <a:pt x="528" y="339"/>
                    <a:pt x="522" y="333"/>
                    <a:pt x="519" y="333"/>
                  </a:cubicBezTo>
                  <a:cubicBezTo>
                    <a:pt x="516" y="336"/>
                    <a:pt x="510" y="336"/>
                    <a:pt x="510" y="333"/>
                  </a:cubicBezTo>
                  <a:cubicBezTo>
                    <a:pt x="510" y="330"/>
                    <a:pt x="516" y="333"/>
                    <a:pt x="519" y="330"/>
                  </a:cubicBezTo>
                  <a:cubicBezTo>
                    <a:pt x="522" y="330"/>
                    <a:pt x="516" y="327"/>
                    <a:pt x="513" y="327"/>
                  </a:cubicBezTo>
                  <a:cubicBezTo>
                    <a:pt x="507" y="327"/>
                    <a:pt x="504" y="330"/>
                    <a:pt x="498" y="324"/>
                  </a:cubicBezTo>
                  <a:cubicBezTo>
                    <a:pt x="495" y="321"/>
                    <a:pt x="489" y="318"/>
                    <a:pt x="486" y="327"/>
                  </a:cubicBezTo>
                  <a:cubicBezTo>
                    <a:pt x="486" y="336"/>
                    <a:pt x="477" y="333"/>
                    <a:pt x="474" y="336"/>
                  </a:cubicBezTo>
                  <a:cubicBezTo>
                    <a:pt x="471" y="339"/>
                    <a:pt x="477" y="342"/>
                    <a:pt x="486" y="342"/>
                  </a:cubicBezTo>
                  <a:cubicBezTo>
                    <a:pt x="492" y="342"/>
                    <a:pt x="498" y="348"/>
                    <a:pt x="492" y="348"/>
                  </a:cubicBezTo>
                  <a:cubicBezTo>
                    <a:pt x="489" y="348"/>
                    <a:pt x="492" y="351"/>
                    <a:pt x="489" y="351"/>
                  </a:cubicBezTo>
                  <a:cubicBezTo>
                    <a:pt x="486" y="348"/>
                    <a:pt x="480" y="351"/>
                    <a:pt x="483" y="354"/>
                  </a:cubicBezTo>
                  <a:cubicBezTo>
                    <a:pt x="486" y="357"/>
                    <a:pt x="483" y="357"/>
                    <a:pt x="483" y="360"/>
                  </a:cubicBezTo>
                  <a:cubicBezTo>
                    <a:pt x="483" y="363"/>
                    <a:pt x="477" y="360"/>
                    <a:pt x="471" y="360"/>
                  </a:cubicBezTo>
                  <a:cubicBezTo>
                    <a:pt x="468" y="360"/>
                    <a:pt x="456" y="363"/>
                    <a:pt x="450" y="363"/>
                  </a:cubicBezTo>
                  <a:cubicBezTo>
                    <a:pt x="444" y="366"/>
                    <a:pt x="435" y="363"/>
                    <a:pt x="432" y="360"/>
                  </a:cubicBezTo>
                  <a:cubicBezTo>
                    <a:pt x="429" y="357"/>
                    <a:pt x="426" y="357"/>
                    <a:pt x="420" y="357"/>
                  </a:cubicBezTo>
                  <a:cubicBezTo>
                    <a:pt x="417" y="357"/>
                    <a:pt x="417" y="351"/>
                    <a:pt x="411" y="351"/>
                  </a:cubicBezTo>
                  <a:cubicBezTo>
                    <a:pt x="405" y="351"/>
                    <a:pt x="405" y="345"/>
                    <a:pt x="405" y="342"/>
                  </a:cubicBezTo>
                  <a:cubicBezTo>
                    <a:pt x="405" y="339"/>
                    <a:pt x="390" y="339"/>
                    <a:pt x="387" y="342"/>
                  </a:cubicBezTo>
                  <a:cubicBezTo>
                    <a:pt x="381" y="345"/>
                    <a:pt x="372" y="345"/>
                    <a:pt x="369" y="351"/>
                  </a:cubicBezTo>
                  <a:cubicBezTo>
                    <a:pt x="366" y="357"/>
                    <a:pt x="372" y="354"/>
                    <a:pt x="375" y="354"/>
                  </a:cubicBezTo>
                  <a:cubicBezTo>
                    <a:pt x="378" y="354"/>
                    <a:pt x="378" y="351"/>
                    <a:pt x="384" y="351"/>
                  </a:cubicBezTo>
                  <a:cubicBezTo>
                    <a:pt x="393" y="351"/>
                    <a:pt x="396" y="345"/>
                    <a:pt x="399" y="348"/>
                  </a:cubicBezTo>
                  <a:cubicBezTo>
                    <a:pt x="402" y="351"/>
                    <a:pt x="387" y="357"/>
                    <a:pt x="381" y="357"/>
                  </a:cubicBezTo>
                  <a:cubicBezTo>
                    <a:pt x="375" y="357"/>
                    <a:pt x="378" y="363"/>
                    <a:pt x="384" y="372"/>
                  </a:cubicBezTo>
                  <a:cubicBezTo>
                    <a:pt x="390" y="381"/>
                    <a:pt x="381" y="375"/>
                    <a:pt x="381" y="381"/>
                  </a:cubicBezTo>
                  <a:cubicBezTo>
                    <a:pt x="381" y="384"/>
                    <a:pt x="369" y="378"/>
                    <a:pt x="372" y="378"/>
                  </a:cubicBezTo>
                  <a:cubicBezTo>
                    <a:pt x="378" y="375"/>
                    <a:pt x="375" y="372"/>
                    <a:pt x="372" y="369"/>
                  </a:cubicBezTo>
                  <a:cubicBezTo>
                    <a:pt x="369" y="366"/>
                    <a:pt x="366" y="369"/>
                    <a:pt x="366" y="366"/>
                  </a:cubicBezTo>
                  <a:cubicBezTo>
                    <a:pt x="366" y="363"/>
                    <a:pt x="363" y="366"/>
                    <a:pt x="360" y="363"/>
                  </a:cubicBezTo>
                  <a:cubicBezTo>
                    <a:pt x="354" y="360"/>
                    <a:pt x="354" y="357"/>
                    <a:pt x="348" y="360"/>
                  </a:cubicBezTo>
                  <a:cubicBezTo>
                    <a:pt x="345" y="363"/>
                    <a:pt x="339" y="363"/>
                    <a:pt x="327" y="363"/>
                  </a:cubicBezTo>
                  <a:cubicBezTo>
                    <a:pt x="318" y="366"/>
                    <a:pt x="297" y="366"/>
                    <a:pt x="294" y="363"/>
                  </a:cubicBezTo>
                  <a:cubicBezTo>
                    <a:pt x="291" y="357"/>
                    <a:pt x="303" y="351"/>
                    <a:pt x="309" y="354"/>
                  </a:cubicBezTo>
                  <a:cubicBezTo>
                    <a:pt x="312" y="354"/>
                    <a:pt x="309" y="348"/>
                    <a:pt x="303" y="345"/>
                  </a:cubicBezTo>
                  <a:cubicBezTo>
                    <a:pt x="297" y="339"/>
                    <a:pt x="285" y="336"/>
                    <a:pt x="285" y="339"/>
                  </a:cubicBezTo>
                  <a:cubicBezTo>
                    <a:pt x="285" y="342"/>
                    <a:pt x="279" y="339"/>
                    <a:pt x="270" y="339"/>
                  </a:cubicBezTo>
                  <a:cubicBezTo>
                    <a:pt x="258" y="336"/>
                    <a:pt x="258" y="333"/>
                    <a:pt x="252" y="333"/>
                  </a:cubicBezTo>
                  <a:cubicBezTo>
                    <a:pt x="246" y="333"/>
                    <a:pt x="237" y="330"/>
                    <a:pt x="231" y="327"/>
                  </a:cubicBezTo>
                  <a:cubicBezTo>
                    <a:pt x="222" y="321"/>
                    <a:pt x="207" y="321"/>
                    <a:pt x="204" y="327"/>
                  </a:cubicBezTo>
                  <a:cubicBezTo>
                    <a:pt x="204" y="333"/>
                    <a:pt x="198" y="330"/>
                    <a:pt x="192" y="330"/>
                  </a:cubicBezTo>
                  <a:cubicBezTo>
                    <a:pt x="186" y="330"/>
                    <a:pt x="195" y="324"/>
                    <a:pt x="192" y="324"/>
                  </a:cubicBezTo>
                  <a:cubicBezTo>
                    <a:pt x="189" y="324"/>
                    <a:pt x="192" y="315"/>
                    <a:pt x="189" y="315"/>
                  </a:cubicBezTo>
                  <a:cubicBezTo>
                    <a:pt x="183" y="315"/>
                    <a:pt x="180" y="333"/>
                    <a:pt x="174" y="330"/>
                  </a:cubicBezTo>
                  <a:cubicBezTo>
                    <a:pt x="165" y="330"/>
                    <a:pt x="162" y="312"/>
                    <a:pt x="156" y="309"/>
                  </a:cubicBezTo>
                  <a:cubicBezTo>
                    <a:pt x="150" y="303"/>
                    <a:pt x="144" y="303"/>
                    <a:pt x="150" y="312"/>
                  </a:cubicBezTo>
                  <a:cubicBezTo>
                    <a:pt x="156" y="318"/>
                    <a:pt x="144" y="312"/>
                    <a:pt x="144" y="318"/>
                  </a:cubicBezTo>
                  <a:cubicBezTo>
                    <a:pt x="147" y="321"/>
                    <a:pt x="138" y="327"/>
                    <a:pt x="138" y="324"/>
                  </a:cubicBezTo>
                  <a:cubicBezTo>
                    <a:pt x="138" y="321"/>
                    <a:pt x="132" y="318"/>
                    <a:pt x="126" y="327"/>
                  </a:cubicBezTo>
                  <a:cubicBezTo>
                    <a:pt x="120" y="333"/>
                    <a:pt x="117" y="333"/>
                    <a:pt x="114" y="330"/>
                  </a:cubicBezTo>
                  <a:cubicBezTo>
                    <a:pt x="114" y="327"/>
                    <a:pt x="96" y="336"/>
                    <a:pt x="99" y="339"/>
                  </a:cubicBezTo>
                  <a:cubicBezTo>
                    <a:pt x="99" y="342"/>
                    <a:pt x="96" y="345"/>
                    <a:pt x="90" y="345"/>
                  </a:cubicBezTo>
                  <a:cubicBezTo>
                    <a:pt x="87" y="345"/>
                    <a:pt x="90" y="339"/>
                    <a:pt x="93" y="339"/>
                  </a:cubicBezTo>
                  <a:cubicBezTo>
                    <a:pt x="96" y="336"/>
                    <a:pt x="108" y="327"/>
                    <a:pt x="114" y="327"/>
                  </a:cubicBezTo>
                  <a:cubicBezTo>
                    <a:pt x="120" y="324"/>
                    <a:pt x="132" y="321"/>
                    <a:pt x="132" y="318"/>
                  </a:cubicBezTo>
                  <a:cubicBezTo>
                    <a:pt x="132" y="315"/>
                    <a:pt x="126" y="318"/>
                    <a:pt x="123" y="315"/>
                  </a:cubicBezTo>
                  <a:cubicBezTo>
                    <a:pt x="120" y="315"/>
                    <a:pt x="111" y="321"/>
                    <a:pt x="105" y="324"/>
                  </a:cubicBezTo>
                  <a:cubicBezTo>
                    <a:pt x="99" y="327"/>
                    <a:pt x="90" y="324"/>
                    <a:pt x="93" y="330"/>
                  </a:cubicBezTo>
                  <a:cubicBezTo>
                    <a:pt x="96" y="333"/>
                    <a:pt x="87" y="327"/>
                    <a:pt x="84" y="330"/>
                  </a:cubicBezTo>
                  <a:cubicBezTo>
                    <a:pt x="84" y="333"/>
                    <a:pt x="81" y="330"/>
                    <a:pt x="81" y="330"/>
                  </a:cubicBezTo>
                  <a:cubicBezTo>
                    <a:pt x="84" y="327"/>
                    <a:pt x="75" y="324"/>
                    <a:pt x="75" y="327"/>
                  </a:cubicBezTo>
                  <a:cubicBezTo>
                    <a:pt x="75" y="327"/>
                    <a:pt x="75" y="330"/>
                    <a:pt x="69" y="330"/>
                  </a:cubicBezTo>
                  <a:cubicBezTo>
                    <a:pt x="63" y="330"/>
                    <a:pt x="57" y="336"/>
                    <a:pt x="60" y="339"/>
                  </a:cubicBezTo>
                  <a:cubicBezTo>
                    <a:pt x="66" y="342"/>
                    <a:pt x="66" y="342"/>
                    <a:pt x="66" y="345"/>
                  </a:cubicBezTo>
                  <a:cubicBezTo>
                    <a:pt x="63" y="345"/>
                    <a:pt x="57" y="339"/>
                    <a:pt x="48" y="339"/>
                  </a:cubicBezTo>
                  <a:cubicBezTo>
                    <a:pt x="39" y="342"/>
                    <a:pt x="21" y="330"/>
                    <a:pt x="21" y="327"/>
                  </a:cubicBezTo>
                  <a:cubicBezTo>
                    <a:pt x="21" y="324"/>
                    <a:pt x="9" y="327"/>
                    <a:pt x="0" y="327"/>
                  </a:cubicBezTo>
                  <a:cubicBezTo>
                    <a:pt x="0" y="498"/>
                    <a:pt x="0" y="498"/>
                    <a:pt x="0" y="498"/>
                  </a:cubicBezTo>
                  <a:cubicBezTo>
                    <a:pt x="6" y="501"/>
                    <a:pt x="6" y="501"/>
                    <a:pt x="6" y="501"/>
                  </a:cubicBezTo>
                  <a:cubicBezTo>
                    <a:pt x="9" y="498"/>
                    <a:pt x="12" y="501"/>
                    <a:pt x="18" y="498"/>
                  </a:cubicBezTo>
                  <a:cubicBezTo>
                    <a:pt x="24" y="495"/>
                    <a:pt x="24" y="501"/>
                    <a:pt x="24" y="504"/>
                  </a:cubicBezTo>
                  <a:cubicBezTo>
                    <a:pt x="24" y="507"/>
                    <a:pt x="33" y="510"/>
                    <a:pt x="36" y="516"/>
                  </a:cubicBezTo>
                  <a:cubicBezTo>
                    <a:pt x="39" y="519"/>
                    <a:pt x="42" y="522"/>
                    <a:pt x="45" y="522"/>
                  </a:cubicBezTo>
                  <a:cubicBezTo>
                    <a:pt x="48" y="519"/>
                    <a:pt x="54" y="516"/>
                    <a:pt x="54" y="513"/>
                  </a:cubicBezTo>
                  <a:cubicBezTo>
                    <a:pt x="54" y="507"/>
                    <a:pt x="72" y="507"/>
                    <a:pt x="72" y="513"/>
                  </a:cubicBezTo>
                  <a:cubicBezTo>
                    <a:pt x="72" y="519"/>
                    <a:pt x="87" y="525"/>
                    <a:pt x="96" y="540"/>
                  </a:cubicBezTo>
                  <a:cubicBezTo>
                    <a:pt x="105" y="555"/>
                    <a:pt x="102" y="561"/>
                    <a:pt x="114" y="564"/>
                  </a:cubicBezTo>
                  <a:cubicBezTo>
                    <a:pt x="129" y="570"/>
                    <a:pt x="126" y="573"/>
                    <a:pt x="126" y="576"/>
                  </a:cubicBezTo>
                  <a:cubicBezTo>
                    <a:pt x="123" y="582"/>
                    <a:pt x="132" y="582"/>
                    <a:pt x="129" y="588"/>
                  </a:cubicBezTo>
                  <a:cubicBezTo>
                    <a:pt x="126" y="588"/>
                    <a:pt x="123" y="591"/>
                    <a:pt x="120" y="591"/>
                  </a:cubicBezTo>
                  <a:cubicBezTo>
                    <a:pt x="120" y="594"/>
                    <a:pt x="123" y="597"/>
                    <a:pt x="126" y="597"/>
                  </a:cubicBezTo>
                  <a:cubicBezTo>
                    <a:pt x="129" y="600"/>
                    <a:pt x="120" y="600"/>
                    <a:pt x="123" y="603"/>
                  </a:cubicBezTo>
                  <a:cubicBezTo>
                    <a:pt x="126" y="606"/>
                    <a:pt x="123" y="609"/>
                    <a:pt x="123" y="612"/>
                  </a:cubicBezTo>
                  <a:cubicBezTo>
                    <a:pt x="126" y="615"/>
                    <a:pt x="132" y="612"/>
                    <a:pt x="135" y="612"/>
                  </a:cubicBezTo>
                  <a:cubicBezTo>
                    <a:pt x="138" y="609"/>
                    <a:pt x="138" y="615"/>
                    <a:pt x="135" y="618"/>
                  </a:cubicBezTo>
                  <a:cubicBezTo>
                    <a:pt x="135" y="621"/>
                    <a:pt x="138" y="624"/>
                    <a:pt x="141" y="621"/>
                  </a:cubicBezTo>
                  <a:cubicBezTo>
                    <a:pt x="144" y="618"/>
                    <a:pt x="147" y="627"/>
                    <a:pt x="150" y="627"/>
                  </a:cubicBezTo>
                  <a:cubicBezTo>
                    <a:pt x="153" y="627"/>
                    <a:pt x="156" y="633"/>
                    <a:pt x="150" y="633"/>
                  </a:cubicBezTo>
                  <a:cubicBezTo>
                    <a:pt x="147" y="633"/>
                    <a:pt x="147" y="639"/>
                    <a:pt x="150" y="639"/>
                  </a:cubicBezTo>
                  <a:cubicBezTo>
                    <a:pt x="153" y="639"/>
                    <a:pt x="153" y="642"/>
                    <a:pt x="153" y="645"/>
                  </a:cubicBezTo>
                  <a:cubicBezTo>
                    <a:pt x="153" y="648"/>
                    <a:pt x="162" y="651"/>
                    <a:pt x="165" y="648"/>
                  </a:cubicBezTo>
                  <a:cubicBezTo>
                    <a:pt x="168" y="648"/>
                    <a:pt x="171" y="651"/>
                    <a:pt x="174" y="654"/>
                  </a:cubicBezTo>
                  <a:cubicBezTo>
                    <a:pt x="174" y="657"/>
                    <a:pt x="180" y="660"/>
                    <a:pt x="183" y="657"/>
                  </a:cubicBezTo>
                  <a:cubicBezTo>
                    <a:pt x="186" y="654"/>
                    <a:pt x="186" y="660"/>
                    <a:pt x="186" y="663"/>
                  </a:cubicBezTo>
                  <a:cubicBezTo>
                    <a:pt x="186" y="666"/>
                    <a:pt x="192" y="666"/>
                    <a:pt x="195" y="666"/>
                  </a:cubicBezTo>
                  <a:cubicBezTo>
                    <a:pt x="198" y="666"/>
                    <a:pt x="201" y="669"/>
                    <a:pt x="201" y="669"/>
                  </a:cubicBezTo>
                  <a:cubicBezTo>
                    <a:pt x="207" y="666"/>
                    <a:pt x="207" y="675"/>
                    <a:pt x="210" y="678"/>
                  </a:cubicBezTo>
                  <a:cubicBezTo>
                    <a:pt x="522" y="678"/>
                    <a:pt x="522" y="678"/>
                    <a:pt x="522" y="678"/>
                  </a:cubicBezTo>
                  <a:cubicBezTo>
                    <a:pt x="522" y="678"/>
                    <a:pt x="522" y="669"/>
                    <a:pt x="525" y="672"/>
                  </a:cubicBezTo>
                  <a:cubicBezTo>
                    <a:pt x="528" y="675"/>
                    <a:pt x="525" y="678"/>
                    <a:pt x="531" y="681"/>
                  </a:cubicBezTo>
                  <a:cubicBezTo>
                    <a:pt x="534" y="681"/>
                    <a:pt x="537" y="684"/>
                    <a:pt x="540" y="684"/>
                  </a:cubicBezTo>
                  <a:cubicBezTo>
                    <a:pt x="543" y="684"/>
                    <a:pt x="546" y="681"/>
                    <a:pt x="549" y="684"/>
                  </a:cubicBezTo>
                  <a:cubicBezTo>
                    <a:pt x="555" y="690"/>
                    <a:pt x="558" y="684"/>
                    <a:pt x="558" y="687"/>
                  </a:cubicBezTo>
                  <a:cubicBezTo>
                    <a:pt x="561" y="690"/>
                    <a:pt x="567" y="693"/>
                    <a:pt x="570" y="690"/>
                  </a:cubicBezTo>
                  <a:cubicBezTo>
                    <a:pt x="570" y="687"/>
                    <a:pt x="582" y="690"/>
                    <a:pt x="585" y="693"/>
                  </a:cubicBezTo>
                  <a:cubicBezTo>
                    <a:pt x="591" y="687"/>
                    <a:pt x="594" y="678"/>
                    <a:pt x="600" y="678"/>
                  </a:cubicBezTo>
                  <a:cubicBezTo>
                    <a:pt x="606" y="678"/>
                    <a:pt x="624" y="681"/>
                    <a:pt x="624" y="687"/>
                  </a:cubicBezTo>
                  <a:cubicBezTo>
                    <a:pt x="624" y="696"/>
                    <a:pt x="636" y="690"/>
                    <a:pt x="636" y="696"/>
                  </a:cubicBezTo>
                  <a:cubicBezTo>
                    <a:pt x="636" y="702"/>
                    <a:pt x="642" y="708"/>
                    <a:pt x="642" y="711"/>
                  </a:cubicBezTo>
                  <a:cubicBezTo>
                    <a:pt x="645" y="714"/>
                    <a:pt x="648" y="714"/>
                    <a:pt x="648" y="717"/>
                  </a:cubicBezTo>
                  <a:cubicBezTo>
                    <a:pt x="651" y="717"/>
                    <a:pt x="660" y="717"/>
                    <a:pt x="666" y="720"/>
                  </a:cubicBezTo>
                  <a:cubicBezTo>
                    <a:pt x="672" y="723"/>
                    <a:pt x="684" y="717"/>
                    <a:pt x="687" y="726"/>
                  </a:cubicBezTo>
                  <a:cubicBezTo>
                    <a:pt x="690" y="732"/>
                    <a:pt x="699" y="738"/>
                    <a:pt x="690" y="741"/>
                  </a:cubicBezTo>
                  <a:cubicBezTo>
                    <a:pt x="684" y="741"/>
                    <a:pt x="675" y="732"/>
                    <a:pt x="675" y="738"/>
                  </a:cubicBezTo>
                  <a:cubicBezTo>
                    <a:pt x="678" y="741"/>
                    <a:pt x="672" y="738"/>
                    <a:pt x="672" y="747"/>
                  </a:cubicBezTo>
                  <a:cubicBezTo>
                    <a:pt x="672" y="753"/>
                    <a:pt x="669" y="765"/>
                    <a:pt x="666" y="765"/>
                  </a:cubicBezTo>
                  <a:cubicBezTo>
                    <a:pt x="666" y="765"/>
                    <a:pt x="666" y="765"/>
                    <a:pt x="666" y="765"/>
                  </a:cubicBezTo>
                  <a:cubicBezTo>
                    <a:pt x="663" y="768"/>
                    <a:pt x="663" y="771"/>
                    <a:pt x="666" y="774"/>
                  </a:cubicBezTo>
                  <a:cubicBezTo>
                    <a:pt x="669" y="771"/>
                    <a:pt x="675" y="765"/>
                    <a:pt x="681" y="765"/>
                  </a:cubicBezTo>
                  <a:cubicBezTo>
                    <a:pt x="687" y="765"/>
                    <a:pt x="690" y="771"/>
                    <a:pt x="696" y="768"/>
                  </a:cubicBezTo>
                  <a:cubicBezTo>
                    <a:pt x="699" y="765"/>
                    <a:pt x="702" y="762"/>
                    <a:pt x="702" y="765"/>
                  </a:cubicBezTo>
                  <a:cubicBezTo>
                    <a:pt x="702" y="765"/>
                    <a:pt x="702" y="765"/>
                    <a:pt x="702" y="765"/>
                  </a:cubicBezTo>
                  <a:cubicBezTo>
                    <a:pt x="705" y="765"/>
                    <a:pt x="705" y="765"/>
                    <a:pt x="705" y="762"/>
                  </a:cubicBezTo>
                  <a:cubicBezTo>
                    <a:pt x="705" y="759"/>
                    <a:pt x="705" y="759"/>
                    <a:pt x="705" y="759"/>
                  </a:cubicBezTo>
                  <a:cubicBezTo>
                    <a:pt x="699" y="759"/>
                    <a:pt x="699" y="759"/>
                    <a:pt x="696" y="756"/>
                  </a:cubicBezTo>
                  <a:cubicBezTo>
                    <a:pt x="693" y="750"/>
                    <a:pt x="711" y="747"/>
                    <a:pt x="720" y="747"/>
                  </a:cubicBezTo>
                  <a:cubicBezTo>
                    <a:pt x="726" y="747"/>
                    <a:pt x="732" y="744"/>
                    <a:pt x="735" y="747"/>
                  </a:cubicBezTo>
                  <a:cubicBezTo>
                    <a:pt x="741" y="741"/>
                    <a:pt x="747" y="735"/>
                    <a:pt x="750" y="735"/>
                  </a:cubicBezTo>
                  <a:cubicBezTo>
                    <a:pt x="753" y="735"/>
                    <a:pt x="789" y="735"/>
                    <a:pt x="789" y="735"/>
                  </a:cubicBezTo>
                  <a:cubicBezTo>
                    <a:pt x="789" y="735"/>
                    <a:pt x="801" y="726"/>
                    <a:pt x="804" y="720"/>
                  </a:cubicBezTo>
                  <a:cubicBezTo>
                    <a:pt x="804" y="714"/>
                    <a:pt x="813" y="696"/>
                    <a:pt x="816" y="699"/>
                  </a:cubicBezTo>
                  <a:cubicBezTo>
                    <a:pt x="822" y="702"/>
                    <a:pt x="831" y="702"/>
                    <a:pt x="831" y="705"/>
                  </a:cubicBezTo>
                  <a:cubicBezTo>
                    <a:pt x="831" y="708"/>
                    <a:pt x="828" y="717"/>
                    <a:pt x="843" y="735"/>
                  </a:cubicBezTo>
                  <a:cubicBezTo>
                    <a:pt x="846" y="732"/>
                    <a:pt x="852" y="729"/>
                    <a:pt x="852" y="729"/>
                  </a:cubicBezTo>
                  <a:cubicBezTo>
                    <a:pt x="858" y="732"/>
                    <a:pt x="864" y="726"/>
                    <a:pt x="867" y="720"/>
                  </a:cubicBezTo>
                  <a:cubicBezTo>
                    <a:pt x="870" y="717"/>
                    <a:pt x="870" y="723"/>
                    <a:pt x="867" y="726"/>
                  </a:cubicBezTo>
                  <a:cubicBezTo>
                    <a:pt x="864" y="726"/>
                    <a:pt x="870" y="729"/>
                    <a:pt x="879" y="729"/>
                  </a:cubicBezTo>
                  <a:cubicBezTo>
                    <a:pt x="885" y="729"/>
                    <a:pt x="873" y="732"/>
                    <a:pt x="870" y="732"/>
                  </a:cubicBezTo>
                  <a:cubicBezTo>
                    <a:pt x="864" y="732"/>
                    <a:pt x="861" y="732"/>
                    <a:pt x="855" y="738"/>
                  </a:cubicBezTo>
                  <a:cubicBezTo>
                    <a:pt x="849" y="747"/>
                    <a:pt x="849" y="747"/>
                    <a:pt x="852" y="753"/>
                  </a:cubicBezTo>
                  <a:cubicBezTo>
                    <a:pt x="858" y="756"/>
                    <a:pt x="864" y="753"/>
                    <a:pt x="867" y="750"/>
                  </a:cubicBezTo>
                  <a:cubicBezTo>
                    <a:pt x="873" y="744"/>
                    <a:pt x="873" y="741"/>
                    <a:pt x="879" y="741"/>
                  </a:cubicBezTo>
                  <a:cubicBezTo>
                    <a:pt x="885" y="741"/>
                    <a:pt x="900" y="735"/>
                    <a:pt x="906" y="732"/>
                  </a:cubicBezTo>
                  <a:cubicBezTo>
                    <a:pt x="912" y="732"/>
                    <a:pt x="906" y="729"/>
                    <a:pt x="906" y="726"/>
                  </a:cubicBezTo>
                  <a:cubicBezTo>
                    <a:pt x="906" y="723"/>
                    <a:pt x="918" y="723"/>
                    <a:pt x="921" y="723"/>
                  </a:cubicBezTo>
                  <a:cubicBezTo>
                    <a:pt x="927" y="720"/>
                    <a:pt x="921" y="717"/>
                    <a:pt x="918" y="71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7" name="Freeform 892"/>
            <p:cNvSpPr>
              <a:spLocks noEditPoints="1"/>
            </p:cNvSpPr>
            <p:nvPr userDrawn="1"/>
          </p:nvSpPr>
          <p:spPr bwMode="auto">
            <a:xfrm>
              <a:off x="983" y="-3145"/>
              <a:ext cx="1566" cy="1208"/>
            </a:xfrm>
            <a:custGeom>
              <a:avLst/>
              <a:gdLst>
                <a:gd name="T0" fmla="*/ 204 w 1005"/>
                <a:gd name="T1" fmla="*/ 687 h 774"/>
                <a:gd name="T2" fmla="*/ 249 w 1005"/>
                <a:gd name="T3" fmla="*/ 228 h 774"/>
                <a:gd name="T4" fmla="*/ 411 w 1005"/>
                <a:gd name="T5" fmla="*/ 240 h 774"/>
                <a:gd name="T6" fmla="*/ 312 w 1005"/>
                <a:gd name="T7" fmla="*/ 267 h 774"/>
                <a:gd name="T8" fmla="*/ 270 w 1005"/>
                <a:gd name="T9" fmla="*/ 321 h 774"/>
                <a:gd name="T10" fmla="*/ 267 w 1005"/>
                <a:gd name="T11" fmla="*/ 186 h 774"/>
                <a:gd name="T12" fmla="*/ 285 w 1005"/>
                <a:gd name="T13" fmla="*/ 162 h 774"/>
                <a:gd name="T14" fmla="*/ 270 w 1005"/>
                <a:gd name="T15" fmla="*/ 204 h 774"/>
                <a:gd name="T16" fmla="*/ 366 w 1005"/>
                <a:gd name="T17" fmla="*/ 168 h 774"/>
                <a:gd name="T18" fmla="*/ 318 w 1005"/>
                <a:gd name="T19" fmla="*/ 147 h 774"/>
                <a:gd name="T20" fmla="*/ 426 w 1005"/>
                <a:gd name="T21" fmla="*/ 132 h 774"/>
                <a:gd name="T22" fmla="*/ 468 w 1005"/>
                <a:gd name="T23" fmla="*/ 90 h 774"/>
                <a:gd name="T24" fmla="*/ 438 w 1005"/>
                <a:gd name="T25" fmla="*/ 195 h 774"/>
                <a:gd name="T26" fmla="*/ 543 w 1005"/>
                <a:gd name="T27" fmla="*/ 147 h 774"/>
                <a:gd name="T28" fmla="*/ 501 w 1005"/>
                <a:gd name="T29" fmla="*/ 243 h 774"/>
                <a:gd name="T30" fmla="*/ 633 w 1005"/>
                <a:gd name="T31" fmla="*/ 222 h 774"/>
                <a:gd name="T32" fmla="*/ 555 w 1005"/>
                <a:gd name="T33" fmla="*/ 210 h 774"/>
                <a:gd name="T34" fmla="*/ 633 w 1005"/>
                <a:gd name="T35" fmla="*/ 108 h 774"/>
                <a:gd name="T36" fmla="*/ 510 w 1005"/>
                <a:gd name="T37" fmla="*/ 93 h 774"/>
                <a:gd name="T38" fmla="*/ 678 w 1005"/>
                <a:gd name="T39" fmla="*/ 93 h 774"/>
                <a:gd name="T40" fmla="*/ 609 w 1005"/>
                <a:gd name="T41" fmla="*/ 153 h 774"/>
                <a:gd name="T42" fmla="*/ 711 w 1005"/>
                <a:gd name="T43" fmla="*/ 153 h 774"/>
                <a:gd name="T44" fmla="*/ 897 w 1005"/>
                <a:gd name="T45" fmla="*/ 33 h 774"/>
                <a:gd name="T46" fmla="*/ 690 w 1005"/>
                <a:gd name="T47" fmla="*/ 12 h 774"/>
                <a:gd name="T48" fmla="*/ 696 w 1005"/>
                <a:gd name="T49" fmla="*/ 477 h 774"/>
                <a:gd name="T50" fmla="*/ 651 w 1005"/>
                <a:gd name="T51" fmla="*/ 438 h 774"/>
                <a:gd name="T52" fmla="*/ 843 w 1005"/>
                <a:gd name="T53" fmla="*/ 336 h 774"/>
                <a:gd name="T54" fmla="*/ 747 w 1005"/>
                <a:gd name="T55" fmla="*/ 270 h 774"/>
                <a:gd name="T56" fmla="*/ 618 w 1005"/>
                <a:gd name="T57" fmla="*/ 264 h 774"/>
                <a:gd name="T58" fmla="*/ 705 w 1005"/>
                <a:gd name="T59" fmla="*/ 321 h 774"/>
                <a:gd name="T60" fmla="*/ 795 w 1005"/>
                <a:gd name="T61" fmla="*/ 393 h 774"/>
                <a:gd name="T62" fmla="*/ 822 w 1005"/>
                <a:gd name="T63" fmla="*/ 441 h 774"/>
                <a:gd name="T64" fmla="*/ 684 w 1005"/>
                <a:gd name="T65" fmla="*/ 240 h 774"/>
                <a:gd name="T66" fmla="*/ 984 w 1005"/>
                <a:gd name="T67" fmla="*/ 672 h 774"/>
                <a:gd name="T68" fmla="*/ 975 w 1005"/>
                <a:gd name="T69" fmla="*/ 696 h 774"/>
                <a:gd name="T70" fmla="*/ 903 w 1005"/>
                <a:gd name="T71" fmla="*/ 720 h 774"/>
                <a:gd name="T72" fmla="*/ 837 w 1005"/>
                <a:gd name="T73" fmla="*/ 672 h 774"/>
                <a:gd name="T74" fmla="*/ 924 w 1005"/>
                <a:gd name="T75" fmla="*/ 609 h 774"/>
                <a:gd name="T76" fmla="*/ 900 w 1005"/>
                <a:gd name="T77" fmla="*/ 543 h 774"/>
                <a:gd name="T78" fmla="*/ 828 w 1005"/>
                <a:gd name="T79" fmla="*/ 528 h 774"/>
                <a:gd name="T80" fmla="*/ 753 w 1005"/>
                <a:gd name="T81" fmla="*/ 465 h 774"/>
                <a:gd name="T82" fmla="*/ 729 w 1005"/>
                <a:gd name="T83" fmla="*/ 543 h 774"/>
                <a:gd name="T84" fmla="*/ 675 w 1005"/>
                <a:gd name="T85" fmla="*/ 627 h 774"/>
                <a:gd name="T86" fmla="*/ 552 w 1005"/>
                <a:gd name="T87" fmla="*/ 549 h 774"/>
                <a:gd name="T88" fmla="*/ 537 w 1005"/>
                <a:gd name="T89" fmla="*/ 432 h 774"/>
                <a:gd name="T90" fmla="*/ 633 w 1005"/>
                <a:gd name="T91" fmla="*/ 390 h 774"/>
                <a:gd name="T92" fmla="*/ 672 w 1005"/>
                <a:gd name="T93" fmla="*/ 333 h 774"/>
                <a:gd name="T94" fmla="*/ 606 w 1005"/>
                <a:gd name="T95" fmla="*/ 369 h 774"/>
                <a:gd name="T96" fmla="*/ 558 w 1005"/>
                <a:gd name="T97" fmla="*/ 318 h 774"/>
                <a:gd name="T98" fmla="*/ 543 w 1005"/>
                <a:gd name="T99" fmla="*/ 228 h 774"/>
                <a:gd name="T100" fmla="*/ 534 w 1005"/>
                <a:gd name="T101" fmla="*/ 327 h 774"/>
                <a:gd name="T102" fmla="*/ 513 w 1005"/>
                <a:gd name="T103" fmla="*/ 345 h 774"/>
                <a:gd name="T104" fmla="*/ 483 w 1005"/>
                <a:gd name="T105" fmla="*/ 360 h 774"/>
                <a:gd name="T106" fmla="*/ 384 w 1005"/>
                <a:gd name="T107" fmla="*/ 372 h 774"/>
                <a:gd name="T108" fmla="*/ 252 w 1005"/>
                <a:gd name="T109" fmla="*/ 333 h 774"/>
                <a:gd name="T110" fmla="*/ 99 w 1005"/>
                <a:gd name="T111" fmla="*/ 339 h 774"/>
                <a:gd name="T112" fmla="*/ 66 w 1005"/>
                <a:gd name="T113" fmla="*/ 345 h 774"/>
                <a:gd name="T114" fmla="*/ 114 w 1005"/>
                <a:gd name="T115" fmla="*/ 564 h 774"/>
                <a:gd name="T116" fmla="*/ 153 w 1005"/>
                <a:gd name="T117" fmla="*/ 645 h 774"/>
                <a:gd name="T118" fmla="*/ 558 w 1005"/>
                <a:gd name="T119" fmla="*/ 687 h 774"/>
                <a:gd name="T120" fmla="*/ 666 w 1005"/>
                <a:gd name="T121" fmla="*/ 765 h 774"/>
                <a:gd name="T122" fmla="*/ 789 w 1005"/>
                <a:gd name="T123" fmla="*/ 735 h 774"/>
                <a:gd name="T124" fmla="*/ 879 w 1005"/>
                <a:gd name="T125" fmla="*/ 741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5" h="774">
                  <a:moveTo>
                    <a:pt x="198" y="678"/>
                  </a:moveTo>
                  <a:cubicBezTo>
                    <a:pt x="195" y="675"/>
                    <a:pt x="189" y="675"/>
                    <a:pt x="186" y="672"/>
                  </a:cubicBezTo>
                  <a:cubicBezTo>
                    <a:pt x="186" y="669"/>
                    <a:pt x="177" y="657"/>
                    <a:pt x="174" y="657"/>
                  </a:cubicBezTo>
                  <a:cubicBezTo>
                    <a:pt x="168" y="657"/>
                    <a:pt x="162" y="657"/>
                    <a:pt x="159" y="654"/>
                  </a:cubicBezTo>
                  <a:cubicBezTo>
                    <a:pt x="153" y="651"/>
                    <a:pt x="150" y="648"/>
                    <a:pt x="147" y="651"/>
                  </a:cubicBezTo>
                  <a:cubicBezTo>
                    <a:pt x="144" y="654"/>
                    <a:pt x="150" y="654"/>
                    <a:pt x="150" y="657"/>
                  </a:cubicBezTo>
                  <a:cubicBezTo>
                    <a:pt x="150" y="660"/>
                    <a:pt x="153" y="660"/>
                    <a:pt x="156" y="660"/>
                  </a:cubicBezTo>
                  <a:cubicBezTo>
                    <a:pt x="159" y="660"/>
                    <a:pt x="159" y="666"/>
                    <a:pt x="162" y="666"/>
                  </a:cubicBezTo>
                  <a:cubicBezTo>
                    <a:pt x="165" y="666"/>
                    <a:pt x="168" y="672"/>
                    <a:pt x="171" y="672"/>
                  </a:cubicBezTo>
                  <a:cubicBezTo>
                    <a:pt x="174" y="672"/>
                    <a:pt x="174" y="675"/>
                    <a:pt x="177" y="678"/>
                  </a:cubicBezTo>
                  <a:cubicBezTo>
                    <a:pt x="177" y="681"/>
                    <a:pt x="183" y="678"/>
                    <a:pt x="183" y="681"/>
                  </a:cubicBezTo>
                  <a:cubicBezTo>
                    <a:pt x="183" y="681"/>
                    <a:pt x="186" y="684"/>
                    <a:pt x="186" y="687"/>
                  </a:cubicBezTo>
                  <a:cubicBezTo>
                    <a:pt x="195" y="687"/>
                    <a:pt x="201" y="687"/>
                    <a:pt x="204" y="687"/>
                  </a:cubicBezTo>
                  <a:cubicBezTo>
                    <a:pt x="204" y="684"/>
                    <a:pt x="207" y="684"/>
                    <a:pt x="207" y="681"/>
                  </a:cubicBezTo>
                  <a:cubicBezTo>
                    <a:pt x="207" y="678"/>
                    <a:pt x="204" y="681"/>
                    <a:pt x="198" y="678"/>
                  </a:cubicBezTo>
                  <a:close/>
                  <a:moveTo>
                    <a:pt x="192" y="279"/>
                  </a:moveTo>
                  <a:cubicBezTo>
                    <a:pt x="201" y="282"/>
                    <a:pt x="201" y="297"/>
                    <a:pt x="207" y="297"/>
                  </a:cubicBezTo>
                  <a:cubicBezTo>
                    <a:pt x="210" y="297"/>
                    <a:pt x="207" y="294"/>
                    <a:pt x="213" y="294"/>
                  </a:cubicBezTo>
                  <a:cubicBezTo>
                    <a:pt x="222" y="294"/>
                    <a:pt x="219" y="291"/>
                    <a:pt x="225" y="291"/>
                  </a:cubicBezTo>
                  <a:cubicBezTo>
                    <a:pt x="231" y="291"/>
                    <a:pt x="237" y="288"/>
                    <a:pt x="237" y="282"/>
                  </a:cubicBezTo>
                  <a:cubicBezTo>
                    <a:pt x="237" y="276"/>
                    <a:pt x="240" y="273"/>
                    <a:pt x="246" y="270"/>
                  </a:cubicBezTo>
                  <a:cubicBezTo>
                    <a:pt x="252" y="270"/>
                    <a:pt x="246" y="261"/>
                    <a:pt x="255" y="261"/>
                  </a:cubicBezTo>
                  <a:cubicBezTo>
                    <a:pt x="264" y="258"/>
                    <a:pt x="288" y="249"/>
                    <a:pt x="291" y="246"/>
                  </a:cubicBezTo>
                  <a:cubicBezTo>
                    <a:pt x="297" y="243"/>
                    <a:pt x="288" y="237"/>
                    <a:pt x="279" y="231"/>
                  </a:cubicBezTo>
                  <a:cubicBezTo>
                    <a:pt x="270" y="228"/>
                    <a:pt x="261" y="225"/>
                    <a:pt x="255" y="231"/>
                  </a:cubicBezTo>
                  <a:cubicBezTo>
                    <a:pt x="249" y="234"/>
                    <a:pt x="252" y="225"/>
                    <a:pt x="249" y="228"/>
                  </a:cubicBezTo>
                  <a:cubicBezTo>
                    <a:pt x="243" y="231"/>
                    <a:pt x="228" y="222"/>
                    <a:pt x="225" y="222"/>
                  </a:cubicBezTo>
                  <a:cubicBezTo>
                    <a:pt x="222" y="219"/>
                    <a:pt x="195" y="225"/>
                    <a:pt x="189" y="225"/>
                  </a:cubicBezTo>
                  <a:cubicBezTo>
                    <a:pt x="183" y="225"/>
                    <a:pt x="189" y="234"/>
                    <a:pt x="195" y="237"/>
                  </a:cubicBezTo>
                  <a:cubicBezTo>
                    <a:pt x="198" y="240"/>
                    <a:pt x="183" y="252"/>
                    <a:pt x="186" y="255"/>
                  </a:cubicBezTo>
                  <a:cubicBezTo>
                    <a:pt x="189" y="255"/>
                    <a:pt x="183" y="264"/>
                    <a:pt x="177" y="270"/>
                  </a:cubicBezTo>
                  <a:cubicBezTo>
                    <a:pt x="171" y="279"/>
                    <a:pt x="183" y="279"/>
                    <a:pt x="192" y="279"/>
                  </a:cubicBezTo>
                  <a:close/>
                  <a:moveTo>
                    <a:pt x="441" y="321"/>
                  </a:moveTo>
                  <a:cubicBezTo>
                    <a:pt x="444" y="318"/>
                    <a:pt x="456" y="327"/>
                    <a:pt x="456" y="321"/>
                  </a:cubicBezTo>
                  <a:cubicBezTo>
                    <a:pt x="456" y="312"/>
                    <a:pt x="444" y="309"/>
                    <a:pt x="438" y="306"/>
                  </a:cubicBezTo>
                  <a:cubicBezTo>
                    <a:pt x="432" y="303"/>
                    <a:pt x="429" y="303"/>
                    <a:pt x="420" y="297"/>
                  </a:cubicBezTo>
                  <a:cubicBezTo>
                    <a:pt x="408" y="291"/>
                    <a:pt x="420" y="285"/>
                    <a:pt x="414" y="282"/>
                  </a:cubicBezTo>
                  <a:cubicBezTo>
                    <a:pt x="408" y="276"/>
                    <a:pt x="405" y="261"/>
                    <a:pt x="411" y="255"/>
                  </a:cubicBezTo>
                  <a:cubicBezTo>
                    <a:pt x="414" y="249"/>
                    <a:pt x="420" y="243"/>
                    <a:pt x="411" y="240"/>
                  </a:cubicBezTo>
                  <a:cubicBezTo>
                    <a:pt x="402" y="237"/>
                    <a:pt x="387" y="243"/>
                    <a:pt x="390" y="243"/>
                  </a:cubicBezTo>
                  <a:cubicBezTo>
                    <a:pt x="390" y="246"/>
                    <a:pt x="402" y="252"/>
                    <a:pt x="402" y="255"/>
                  </a:cubicBezTo>
                  <a:cubicBezTo>
                    <a:pt x="402" y="258"/>
                    <a:pt x="393" y="249"/>
                    <a:pt x="387" y="249"/>
                  </a:cubicBezTo>
                  <a:cubicBezTo>
                    <a:pt x="384" y="252"/>
                    <a:pt x="378" y="246"/>
                    <a:pt x="375" y="249"/>
                  </a:cubicBezTo>
                  <a:cubicBezTo>
                    <a:pt x="372" y="255"/>
                    <a:pt x="381" y="273"/>
                    <a:pt x="384" y="279"/>
                  </a:cubicBezTo>
                  <a:cubicBezTo>
                    <a:pt x="387" y="282"/>
                    <a:pt x="381" y="282"/>
                    <a:pt x="375" y="285"/>
                  </a:cubicBezTo>
                  <a:cubicBezTo>
                    <a:pt x="372" y="285"/>
                    <a:pt x="372" y="270"/>
                    <a:pt x="369" y="264"/>
                  </a:cubicBezTo>
                  <a:cubicBezTo>
                    <a:pt x="363" y="258"/>
                    <a:pt x="348" y="252"/>
                    <a:pt x="348" y="255"/>
                  </a:cubicBezTo>
                  <a:cubicBezTo>
                    <a:pt x="345" y="261"/>
                    <a:pt x="357" y="261"/>
                    <a:pt x="354" y="267"/>
                  </a:cubicBezTo>
                  <a:cubicBezTo>
                    <a:pt x="354" y="270"/>
                    <a:pt x="348" y="261"/>
                    <a:pt x="342" y="267"/>
                  </a:cubicBezTo>
                  <a:cubicBezTo>
                    <a:pt x="336" y="270"/>
                    <a:pt x="339" y="267"/>
                    <a:pt x="339" y="264"/>
                  </a:cubicBezTo>
                  <a:cubicBezTo>
                    <a:pt x="339" y="258"/>
                    <a:pt x="330" y="255"/>
                    <a:pt x="321" y="255"/>
                  </a:cubicBezTo>
                  <a:cubicBezTo>
                    <a:pt x="312" y="255"/>
                    <a:pt x="315" y="264"/>
                    <a:pt x="312" y="267"/>
                  </a:cubicBezTo>
                  <a:cubicBezTo>
                    <a:pt x="309" y="267"/>
                    <a:pt x="294" y="264"/>
                    <a:pt x="306" y="261"/>
                  </a:cubicBezTo>
                  <a:cubicBezTo>
                    <a:pt x="315" y="261"/>
                    <a:pt x="309" y="255"/>
                    <a:pt x="306" y="249"/>
                  </a:cubicBezTo>
                  <a:cubicBezTo>
                    <a:pt x="303" y="243"/>
                    <a:pt x="294" y="249"/>
                    <a:pt x="279" y="255"/>
                  </a:cubicBezTo>
                  <a:cubicBezTo>
                    <a:pt x="264" y="261"/>
                    <a:pt x="255" y="267"/>
                    <a:pt x="258" y="267"/>
                  </a:cubicBezTo>
                  <a:cubicBezTo>
                    <a:pt x="261" y="267"/>
                    <a:pt x="261" y="270"/>
                    <a:pt x="255" y="276"/>
                  </a:cubicBezTo>
                  <a:cubicBezTo>
                    <a:pt x="249" y="282"/>
                    <a:pt x="255" y="285"/>
                    <a:pt x="261" y="285"/>
                  </a:cubicBezTo>
                  <a:cubicBezTo>
                    <a:pt x="264" y="285"/>
                    <a:pt x="261" y="288"/>
                    <a:pt x="264" y="291"/>
                  </a:cubicBezTo>
                  <a:cubicBezTo>
                    <a:pt x="267" y="291"/>
                    <a:pt x="285" y="285"/>
                    <a:pt x="291" y="288"/>
                  </a:cubicBezTo>
                  <a:cubicBezTo>
                    <a:pt x="297" y="291"/>
                    <a:pt x="261" y="294"/>
                    <a:pt x="261" y="300"/>
                  </a:cubicBezTo>
                  <a:cubicBezTo>
                    <a:pt x="261" y="306"/>
                    <a:pt x="279" y="309"/>
                    <a:pt x="294" y="306"/>
                  </a:cubicBezTo>
                  <a:cubicBezTo>
                    <a:pt x="309" y="303"/>
                    <a:pt x="333" y="309"/>
                    <a:pt x="333" y="312"/>
                  </a:cubicBezTo>
                  <a:cubicBezTo>
                    <a:pt x="333" y="315"/>
                    <a:pt x="315" y="315"/>
                    <a:pt x="303" y="312"/>
                  </a:cubicBezTo>
                  <a:cubicBezTo>
                    <a:pt x="291" y="312"/>
                    <a:pt x="270" y="318"/>
                    <a:pt x="270" y="321"/>
                  </a:cubicBezTo>
                  <a:cubicBezTo>
                    <a:pt x="273" y="324"/>
                    <a:pt x="273" y="324"/>
                    <a:pt x="285" y="330"/>
                  </a:cubicBezTo>
                  <a:cubicBezTo>
                    <a:pt x="300" y="336"/>
                    <a:pt x="312" y="327"/>
                    <a:pt x="312" y="336"/>
                  </a:cubicBezTo>
                  <a:cubicBezTo>
                    <a:pt x="312" y="345"/>
                    <a:pt x="318" y="348"/>
                    <a:pt x="336" y="348"/>
                  </a:cubicBezTo>
                  <a:cubicBezTo>
                    <a:pt x="354" y="348"/>
                    <a:pt x="363" y="339"/>
                    <a:pt x="372" y="339"/>
                  </a:cubicBezTo>
                  <a:cubicBezTo>
                    <a:pt x="378" y="342"/>
                    <a:pt x="384" y="339"/>
                    <a:pt x="387" y="333"/>
                  </a:cubicBezTo>
                  <a:cubicBezTo>
                    <a:pt x="390" y="327"/>
                    <a:pt x="396" y="330"/>
                    <a:pt x="396" y="333"/>
                  </a:cubicBezTo>
                  <a:cubicBezTo>
                    <a:pt x="396" y="336"/>
                    <a:pt x="408" y="336"/>
                    <a:pt x="411" y="339"/>
                  </a:cubicBezTo>
                  <a:cubicBezTo>
                    <a:pt x="417" y="345"/>
                    <a:pt x="438" y="342"/>
                    <a:pt x="447" y="339"/>
                  </a:cubicBezTo>
                  <a:cubicBezTo>
                    <a:pt x="453" y="336"/>
                    <a:pt x="441" y="324"/>
                    <a:pt x="438" y="330"/>
                  </a:cubicBezTo>
                  <a:cubicBezTo>
                    <a:pt x="435" y="333"/>
                    <a:pt x="432" y="330"/>
                    <a:pt x="429" y="330"/>
                  </a:cubicBezTo>
                  <a:cubicBezTo>
                    <a:pt x="429" y="327"/>
                    <a:pt x="438" y="324"/>
                    <a:pt x="441" y="321"/>
                  </a:cubicBezTo>
                  <a:close/>
                  <a:moveTo>
                    <a:pt x="252" y="198"/>
                  </a:moveTo>
                  <a:cubicBezTo>
                    <a:pt x="261" y="198"/>
                    <a:pt x="270" y="192"/>
                    <a:pt x="267" y="186"/>
                  </a:cubicBezTo>
                  <a:cubicBezTo>
                    <a:pt x="267" y="183"/>
                    <a:pt x="246" y="198"/>
                    <a:pt x="252" y="198"/>
                  </a:cubicBezTo>
                  <a:close/>
                  <a:moveTo>
                    <a:pt x="210" y="183"/>
                  </a:moveTo>
                  <a:cubicBezTo>
                    <a:pt x="213" y="186"/>
                    <a:pt x="210" y="192"/>
                    <a:pt x="213" y="192"/>
                  </a:cubicBezTo>
                  <a:cubicBezTo>
                    <a:pt x="216" y="189"/>
                    <a:pt x="219" y="189"/>
                    <a:pt x="222" y="189"/>
                  </a:cubicBezTo>
                  <a:cubicBezTo>
                    <a:pt x="228" y="192"/>
                    <a:pt x="228" y="186"/>
                    <a:pt x="231" y="183"/>
                  </a:cubicBezTo>
                  <a:cubicBezTo>
                    <a:pt x="234" y="180"/>
                    <a:pt x="231" y="192"/>
                    <a:pt x="237" y="192"/>
                  </a:cubicBezTo>
                  <a:cubicBezTo>
                    <a:pt x="243" y="192"/>
                    <a:pt x="243" y="180"/>
                    <a:pt x="249" y="183"/>
                  </a:cubicBezTo>
                  <a:cubicBezTo>
                    <a:pt x="252" y="189"/>
                    <a:pt x="255" y="183"/>
                    <a:pt x="255" y="180"/>
                  </a:cubicBezTo>
                  <a:cubicBezTo>
                    <a:pt x="255" y="177"/>
                    <a:pt x="255" y="171"/>
                    <a:pt x="261" y="168"/>
                  </a:cubicBezTo>
                  <a:cubicBezTo>
                    <a:pt x="267" y="168"/>
                    <a:pt x="264" y="174"/>
                    <a:pt x="264" y="180"/>
                  </a:cubicBezTo>
                  <a:cubicBezTo>
                    <a:pt x="270" y="186"/>
                    <a:pt x="276" y="180"/>
                    <a:pt x="276" y="177"/>
                  </a:cubicBezTo>
                  <a:cubicBezTo>
                    <a:pt x="276" y="174"/>
                    <a:pt x="285" y="174"/>
                    <a:pt x="285" y="171"/>
                  </a:cubicBezTo>
                  <a:cubicBezTo>
                    <a:pt x="285" y="168"/>
                    <a:pt x="288" y="168"/>
                    <a:pt x="285" y="162"/>
                  </a:cubicBezTo>
                  <a:cubicBezTo>
                    <a:pt x="282" y="159"/>
                    <a:pt x="288" y="159"/>
                    <a:pt x="291" y="156"/>
                  </a:cubicBezTo>
                  <a:cubicBezTo>
                    <a:pt x="294" y="153"/>
                    <a:pt x="288" y="156"/>
                    <a:pt x="282" y="153"/>
                  </a:cubicBezTo>
                  <a:cubicBezTo>
                    <a:pt x="279" y="147"/>
                    <a:pt x="276" y="153"/>
                    <a:pt x="276" y="156"/>
                  </a:cubicBezTo>
                  <a:cubicBezTo>
                    <a:pt x="276" y="159"/>
                    <a:pt x="267" y="156"/>
                    <a:pt x="261" y="156"/>
                  </a:cubicBezTo>
                  <a:cubicBezTo>
                    <a:pt x="255" y="153"/>
                    <a:pt x="249" y="162"/>
                    <a:pt x="240" y="165"/>
                  </a:cubicBezTo>
                  <a:cubicBezTo>
                    <a:pt x="231" y="171"/>
                    <a:pt x="231" y="177"/>
                    <a:pt x="225" y="177"/>
                  </a:cubicBezTo>
                  <a:cubicBezTo>
                    <a:pt x="216" y="177"/>
                    <a:pt x="207" y="183"/>
                    <a:pt x="210" y="183"/>
                  </a:cubicBezTo>
                  <a:close/>
                  <a:moveTo>
                    <a:pt x="288" y="183"/>
                  </a:moveTo>
                  <a:cubicBezTo>
                    <a:pt x="279" y="183"/>
                    <a:pt x="282" y="189"/>
                    <a:pt x="288" y="189"/>
                  </a:cubicBezTo>
                  <a:cubicBezTo>
                    <a:pt x="297" y="189"/>
                    <a:pt x="300" y="192"/>
                    <a:pt x="288" y="192"/>
                  </a:cubicBezTo>
                  <a:cubicBezTo>
                    <a:pt x="276" y="192"/>
                    <a:pt x="270" y="201"/>
                    <a:pt x="279" y="198"/>
                  </a:cubicBezTo>
                  <a:cubicBezTo>
                    <a:pt x="288" y="198"/>
                    <a:pt x="297" y="198"/>
                    <a:pt x="291" y="198"/>
                  </a:cubicBezTo>
                  <a:cubicBezTo>
                    <a:pt x="285" y="201"/>
                    <a:pt x="270" y="201"/>
                    <a:pt x="270" y="204"/>
                  </a:cubicBezTo>
                  <a:cubicBezTo>
                    <a:pt x="273" y="207"/>
                    <a:pt x="279" y="207"/>
                    <a:pt x="285" y="210"/>
                  </a:cubicBezTo>
                  <a:cubicBezTo>
                    <a:pt x="291" y="213"/>
                    <a:pt x="297" y="213"/>
                    <a:pt x="300" y="207"/>
                  </a:cubicBezTo>
                  <a:cubicBezTo>
                    <a:pt x="306" y="201"/>
                    <a:pt x="312" y="198"/>
                    <a:pt x="309" y="204"/>
                  </a:cubicBezTo>
                  <a:cubicBezTo>
                    <a:pt x="306" y="213"/>
                    <a:pt x="318" y="207"/>
                    <a:pt x="330" y="207"/>
                  </a:cubicBezTo>
                  <a:cubicBezTo>
                    <a:pt x="345" y="204"/>
                    <a:pt x="330" y="213"/>
                    <a:pt x="315" y="216"/>
                  </a:cubicBezTo>
                  <a:cubicBezTo>
                    <a:pt x="300" y="216"/>
                    <a:pt x="303" y="222"/>
                    <a:pt x="315" y="225"/>
                  </a:cubicBezTo>
                  <a:cubicBezTo>
                    <a:pt x="324" y="228"/>
                    <a:pt x="348" y="219"/>
                    <a:pt x="354" y="213"/>
                  </a:cubicBezTo>
                  <a:cubicBezTo>
                    <a:pt x="360" y="207"/>
                    <a:pt x="366" y="216"/>
                    <a:pt x="369" y="213"/>
                  </a:cubicBezTo>
                  <a:cubicBezTo>
                    <a:pt x="375" y="207"/>
                    <a:pt x="387" y="213"/>
                    <a:pt x="396" y="210"/>
                  </a:cubicBezTo>
                  <a:cubicBezTo>
                    <a:pt x="405" y="207"/>
                    <a:pt x="408" y="189"/>
                    <a:pt x="399" y="186"/>
                  </a:cubicBezTo>
                  <a:cubicBezTo>
                    <a:pt x="393" y="183"/>
                    <a:pt x="393" y="192"/>
                    <a:pt x="387" y="192"/>
                  </a:cubicBezTo>
                  <a:cubicBezTo>
                    <a:pt x="381" y="192"/>
                    <a:pt x="378" y="186"/>
                    <a:pt x="375" y="180"/>
                  </a:cubicBezTo>
                  <a:cubicBezTo>
                    <a:pt x="369" y="177"/>
                    <a:pt x="372" y="168"/>
                    <a:pt x="366" y="168"/>
                  </a:cubicBezTo>
                  <a:cubicBezTo>
                    <a:pt x="360" y="171"/>
                    <a:pt x="345" y="180"/>
                    <a:pt x="354" y="183"/>
                  </a:cubicBezTo>
                  <a:cubicBezTo>
                    <a:pt x="363" y="183"/>
                    <a:pt x="360" y="186"/>
                    <a:pt x="354" y="189"/>
                  </a:cubicBezTo>
                  <a:cubicBezTo>
                    <a:pt x="351" y="192"/>
                    <a:pt x="366" y="195"/>
                    <a:pt x="363" y="198"/>
                  </a:cubicBezTo>
                  <a:cubicBezTo>
                    <a:pt x="363" y="201"/>
                    <a:pt x="339" y="198"/>
                    <a:pt x="339" y="192"/>
                  </a:cubicBezTo>
                  <a:cubicBezTo>
                    <a:pt x="336" y="189"/>
                    <a:pt x="318" y="180"/>
                    <a:pt x="312" y="180"/>
                  </a:cubicBezTo>
                  <a:cubicBezTo>
                    <a:pt x="303" y="183"/>
                    <a:pt x="306" y="174"/>
                    <a:pt x="300" y="174"/>
                  </a:cubicBezTo>
                  <a:cubicBezTo>
                    <a:pt x="291" y="174"/>
                    <a:pt x="294" y="180"/>
                    <a:pt x="288" y="183"/>
                  </a:cubicBezTo>
                  <a:close/>
                  <a:moveTo>
                    <a:pt x="312" y="147"/>
                  </a:moveTo>
                  <a:cubicBezTo>
                    <a:pt x="315" y="141"/>
                    <a:pt x="297" y="141"/>
                    <a:pt x="297" y="144"/>
                  </a:cubicBezTo>
                  <a:cubicBezTo>
                    <a:pt x="303" y="147"/>
                    <a:pt x="312" y="153"/>
                    <a:pt x="312" y="147"/>
                  </a:cubicBezTo>
                  <a:close/>
                  <a:moveTo>
                    <a:pt x="354" y="144"/>
                  </a:moveTo>
                  <a:cubicBezTo>
                    <a:pt x="360" y="141"/>
                    <a:pt x="357" y="138"/>
                    <a:pt x="348" y="138"/>
                  </a:cubicBezTo>
                  <a:cubicBezTo>
                    <a:pt x="336" y="141"/>
                    <a:pt x="318" y="141"/>
                    <a:pt x="318" y="147"/>
                  </a:cubicBezTo>
                  <a:cubicBezTo>
                    <a:pt x="318" y="153"/>
                    <a:pt x="324" y="156"/>
                    <a:pt x="333" y="159"/>
                  </a:cubicBezTo>
                  <a:cubicBezTo>
                    <a:pt x="345" y="159"/>
                    <a:pt x="357" y="147"/>
                    <a:pt x="351" y="147"/>
                  </a:cubicBezTo>
                  <a:cubicBezTo>
                    <a:pt x="345" y="147"/>
                    <a:pt x="348" y="144"/>
                    <a:pt x="354" y="144"/>
                  </a:cubicBezTo>
                  <a:close/>
                  <a:moveTo>
                    <a:pt x="330" y="135"/>
                  </a:moveTo>
                  <a:cubicBezTo>
                    <a:pt x="336" y="135"/>
                    <a:pt x="339" y="129"/>
                    <a:pt x="345" y="132"/>
                  </a:cubicBezTo>
                  <a:cubicBezTo>
                    <a:pt x="348" y="135"/>
                    <a:pt x="363" y="138"/>
                    <a:pt x="363" y="129"/>
                  </a:cubicBezTo>
                  <a:cubicBezTo>
                    <a:pt x="363" y="123"/>
                    <a:pt x="342" y="120"/>
                    <a:pt x="339" y="123"/>
                  </a:cubicBezTo>
                  <a:cubicBezTo>
                    <a:pt x="333" y="126"/>
                    <a:pt x="309" y="129"/>
                    <a:pt x="318" y="132"/>
                  </a:cubicBezTo>
                  <a:cubicBezTo>
                    <a:pt x="321" y="135"/>
                    <a:pt x="324" y="132"/>
                    <a:pt x="330" y="135"/>
                  </a:cubicBezTo>
                  <a:close/>
                  <a:moveTo>
                    <a:pt x="414" y="117"/>
                  </a:moveTo>
                  <a:cubicBezTo>
                    <a:pt x="420" y="114"/>
                    <a:pt x="432" y="120"/>
                    <a:pt x="429" y="126"/>
                  </a:cubicBezTo>
                  <a:cubicBezTo>
                    <a:pt x="426" y="129"/>
                    <a:pt x="411" y="123"/>
                    <a:pt x="411" y="129"/>
                  </a:cubicBezTo>
                  <a:cubicBezTo>
                    <a:pt x="411" y="129"/>
                    <a:pt x="414" y="135"/>
                    <a:pt x="426" y="132"/>
                  </a:cubicBezTo>
                  <a:cubicBezTo>
                    <a:pt x="438" y="129"/>
                    <a:pt x="447" y="132"/>
                    <a:pt x="456" y="138"/>
                  </a:cubicBezTo>
                  <a:cubicBezTo>
                    <a:pt x="462" y="144"/>
                    <a:pt x="471" y="147"/>
                    <a:pt x="477" y="141"/>
                  </a:cubicBezTo>
                  <a:cubicBezTo>
                    <a:pt x="483" y="135"/>
                    <a:pt x="468" y="132"/>
                    <a:pt x="471" y="129"/>
                  </a:cubicBezTo>
                  <a:cubicBezTo>
                    <a:pt x="474" y="123"/>
                    <a:pt x="465" y="120"/>
                    <a:pt x="459" y="120"/>
                  </a:cubicBezTo>
                  <a:cubicBezTo>
                    <a:pt x="453" y="120"/>
                    <a:pt x="450" y="111"/>
                    <a:pt x="447" y="111"/>
                  </a:cubicBezTo>
                  <a:cubicBezTo>
                    <a:pt x="441" y="114"/>
                    <a:pt x="438" y="117"/>
                    <a:pt x="438" y="111"/>
                  </a:cubicBezTo>
                  <a:cubicBezTo>
                    <a:pt x="438" y="105"/>
                    <a:pt x="414" y="105"/>
                    <a:pt x="405" y="105"/>
                  </a:cubicBezTo>
                  <a:cubicBezTo>
                    <a:pt x="399" y="108"/>
                    <a:pt x="408" y="123"/>
                    <a:pt x="414" y="117"/>
                  </a:cubicBezTo>
                  <a:close/>
                  <a:moveTo>
                    <a:pt x="417" y="159"/>
                  </a:moveTo>
                  <a:cubicBezTo>
                    <a:pt x="420" y="156"/>
                    <a:pt x="402" y="138"/>
                    <a:pt x="399" y="147"/>
                  </a:cubicBezTo>
                  <a:cubicBezTo>
                    <a:pt x="399" y="153"/>
                    <a:pt x="414" y="165"/>
                    <a:pt x="417" y="159"/>
                  </a:cubicBezTo>
                  <a:close/>
                  <a:moveTo>
                    <a:pt x="483" y="96"/>
                  </a:moveTo>
                  <a:cubicBezTo>
                    <a:pt x="486" y="90"/>
                    <a:pt x="462" y="84"/>
                    <a:pt x="468" y="90"/>
                  </a:cubicBezTo>
                  <a:cubicBezTo>
                    <a:pt x="471" y="93"/>
                    <a:pt x="480" y="102"/>
                    <a:pt x="483" y="96"/>
                  </a:cubicBezTo>
                  <a:close/>
                  <a:moveTo>
                    <a:pt x="426" y="207"/>
                  </a:moveTo>
                  <a:cubicBezTo>
                    <a:pt x="429" y="204"/>
                    <a:pt x="417" y="195"/>
                    <a:pt x="414" y="204"/>
                  </a:cubicBezTo>
                  <a:cubicBezTo>
                    <a:pt x="411" y="210"/>
                    <a:pt x="423" y="213"/>
                    <a:pt x="426" y="207"/>
                  </a:cubicBezTo>
                  <a:close/>
                  <a:moveTo>
                    <a:pt x="483" y="174"/>
                  </a:moveTo>
                  <a:cubicBezTo>
                    <a:pt x="483" y="177"/>
                    <a:pt x="471" y="171"/>
                    <a:pt x="462" y="168"/>
                  </a:cubicBezTo>
                  <a:cubicBezTo>
                    <a:pt x="453" y="165"/>
                    <a:pt x="459" y="177"/>
                    <a:pt x="465" y="183"/>
                  </a:cubicBezTo>
                  <a:cubicBezTo>
                    <a:pt x="471" y="189"/>
                    <a:pt x="462" y="186"/>
                    <a:pt x="453" y="177"/>
                  </a:cubicBezTo>
                  <a:cubicBezTo>
                    <a:pt x="441" y="171"/>
                    <a:pt x="444" y="183"/>
                    <a:pt x="447" y="186"/>
                  </a:cubicBezTo>
                  <a:cubicBezTo>
                    <a:pt x="453" y="189"/>
                    <a:pt x="447" y="195"/>
                    <a:pt x="441" y="186"/>
                  </a:cubicBezTo>
                  <a:cubicBezTo>
                    <a:pt x="435" y="180"/>
                    <a:pt x="432" y="171"/>
                    <a:pt x="423" y="171"/>
                  </a:cubicBezTo>
                  <a:cubicBezTo>
                    <a:pt x="414" y="168"/>
                    <a:pt x="417" y="180"/>
                    <a:pt x="420" y="183"/>
                  </a:cubicBezTo>
                  <a:cubicBezTo>
                    <a:pt x="426" y="189"/>
                    <a:pt x="432" y="192"/>
                    <a:pt x="438" y="195"/>
                  </a:cubicBezTo>
                  <a:cubicBezTo>
                    <a:pt x="447" y="201"/>
                    <a:pt x="459" y="195"/>
                    <a:pt x="465" y="195"/>
                  </a:cubicBezTo>
                  <a:cubicBezTo>
                    <a:pt x="471" y="198"/>
                    <a:pt x="459" y="204"/>
                    <a:pt x="462" y="210"/>
                  </a:cubicBezTo>
                  <a:cubicBezTo>
                    <a:pt x="468" y="216"/>
                    <a:pt x="477" y="210"/>
                    <a:pt x="486" y="210"/>
                  </a:cubicBezTo>
                  <a:cubicBezTo>
                    <a:pt x="495" y="210"/>
                    <a:pt x="492" y="204"/>
                    <a:pt x="495" y="201"/>
                  </a:cubicBezTo>
                  <a:cubicBezTo>
                    <a:pt x="501" y="198"/>
                    <a:pt x="492" y="198"/>
                    <a:pt x="495" y="189"/>
                  </a:cubicBezTo>
                  <a:cubicBezTo>
                    <a:pt x="498" y="183"/>
                    <a:pt x="483" y="168"/>
                    <a:pt x="483" y="174"/>
                  </a:cubicBezTo>
                  <a:close/>
                  <a:moveTo>
                    <a:pt x="504" y="144"/>
                  </a:moveTo>
                  <a:cubicBezTo>
                    <a:pt x="510" y="144"/>
                    <a:pt x="516" y="144"/>
                    <a:pt x="522" y="141"/>
                  </a:cubicBezTo>
                  <a:cubicBezTo>
                    <a:pt x="531" y="138"/>
                    <a:pt x="519" y="138"/>
                    <a:pt x="525" y="132"/>
                  </a:cubicBezTo>
                  <a:cubicBezTo>
                    <a:pt x="528" y="126"/>
                    <a:pt x="513" y="126"/>
                    <a:pt x="513" y="126"/>
                  </a:cubicBezTo>
                  <a:cubicBezTo>
                    <a:pt x="510" y="129"/>
                    <a:pt x="492" y="114"/>
                    <a:pt x="489" y="120"/>
                  </a:cubicBezTo>
                  <a:cubicBezTo>
                    <a:pt x="486" y="123"/>
                    <a:pt x="495" y="144"/>
                    <a:pt x="504" y="144"/>
                  </a:cubicBezTo>
                  <a:close/>
                  <a:moveTo>
                    <a:pt x="543" y="147"/>
                  </a:moveTo>
                  <a:cubicBezTo>
                    <a:pt x="543" y="144"/>
                    <a:pt x="504" y="147"/>
                    <a:pt x="510" y="153"/>
                  </a:cubicBezTo>
                  <a:cubicBezTo>
                    <a:pt x="522" y="159"/>
                    <a:pt x="546" y="150"/>
                    <a:pt x="543" y="147"/>
                  </a:cubicBezTo>
                  <a:close/>
                  <a:moveTo>
                    <a:pt x="537" y="219"/>
                  </a:moveTo>
                  <a:cubicBezTo>
                    <a:pt x="546" y="219"/>
                    <a:pt x="543" y="207"/>
                    <a:pt x="534" y="201"/>
                  </a:cubicBezTo>
                  <a:cubicBezTo>
                    <a:pt x="522" y="192"/>
                    <a:pt x="501" y="207"/>
                    <a:pt x="504" y="210"/>
                  </a:cubicBezTo>
                  <a:cubicBezTo>
                    <a:pt x="510" y="216"/>
                    <a:pt x="528" y="219"/>
                    <a:pt x="537" y="219"/>
                  </a:cubicBezTo>
                  <a:close/>
                  <a:moveTo>
                    <a:pt x="474" y="288"/>
                  </a:moveTo>
                  <a:cubicBezTo>
                    <a:pt x="486" y="297"/>
                    <a:pt x="483" y="282"/>
                    <a:pt x="495" y="285"/>
                  </a:cubicBezTo>
                  <a:cubicBezTo>
                    <a:pt x="507" y="285"/>
                    <a:pt x="507" y="264"/>
                    <a:pt x="510" y="255"/>
                  </a:cubicBezTo>
                  <a:cubicBezTo>
                    <a:pt x="510" y="249"/>
                    <a:pt x="498" y="249"/>
                    <a:pt x="501" y="255"/>
                  </a:cubicBezTo>
                  <a:cubicBezTo>
                    <a:pt x="504" y="261"/>
                    <a:pt x="501" y="267"/>
                    <a:pt x="501" y="258"/>
                  </a:cubicBezTo>
                  <a:cubicBezTo>
                    <a:pt x="501" y="252"/>
                    <a:pt x="489" y="258"/>
                    <a:pt x="486" y="255"/>
                  </a:cubicBezTo>
                  <a:cubicBezTo>
                    <a:pt x="483" y="249"/>
                    <a:pt x="498" y="249"/>
                    <a:pt x="501" y="243"/>
                  </a:cubicBezTo>
                  <a:cubicBezTo>
                    <a:pt x="504" y="234"/>
                    <a:pt x="489" y="237"/>
                    <a:pt x="492" y="231"/>
                  </a:cubicBezTo>
                  <a:cubicBezTo>
                    <a:pt x="498" y="225"/>
                    <a:pt x="471" y="231"/>
                    <a:pt x="480" y="234"/>
                  </a:cubicBezTo>
                  <a:cubicBezTo>
                    <a:pt x="486" y="237"/>
                    <a:pt x="480" y="243"/>
                    <a:pt x="471" y="237"/>
                  </a:cubicBezTo>
                  <a:cubicBezTo>
                    <a:pt x="465" y="231"/>
                    <a:pt x="447" y="240"/>
                    <a:pt x="453" y="246"/>
                  </a:cubicBezTo>
                  <a:cubicBezTo>
                    <a:pt x="459" y="249"/>
                    <a:pt x="474" y="243"/>
                    <a:pt x="465" y="255"/>
                  </a:cubicBezTo>
                  <a:cubicBezTo>
                    <a:pt x="456" y="270"/>
                    <a:pt x="453" y="252"/>
                    <a:pt x="444" y="255"/>
                  </a:cubicBezTo>
                  <a:cubicBezTo>
                    <a:pt x="435" y="255"/>
                    <a:pt x="438" y="267"/>
                    <a:pt x="450" y="270"/>
                  </a:cubicBezTo>
                  <a:cubicBezTo>
                    <a:pt x="465" y="273"/>
                    <a:pt x="462" y="282"/>
                    <a:pt x="474" y="288"/>
                  </a:cubicBezTo>
                  <a:close/>
                  <a:moveTo>
                    <a:pt x="555" y="210"/>
                  </a:moveTo>
                  <a:cubicBezTo>
                    <a:pt x="558" y="219"/>
                    <a:pt x="564" y="213"/>
                    <a:pt x="570" y="216"/>
                  </a:cubicBezTo>
                  <a:cubicBezTo>
                    <a:pt x="573" y="219"/>
                    <a:pt x="582" y="222"/>
                    <a:pt x="588" y="219"/>
                  </a:cubicBezTo>
                  <a:cubicBezTo>
                    <a:pt x="591" y="216"/>
                    <a:pt x="594" y="213"/>
                    <a:pt x="594" y="216"/>
                  </a:cubicBezTo>
                  <a:cubicBezTo>
                    <a:pt x="597" y="222"/>
                    <a:pt x="609" y="222"/>
                    <a:pt x="633" y="222"/>
                  </a:cubicBezTo>
                  <a:cubicBezTo>
                    <a:pt x="657" y="222"/>
                    <a:pt x="651" y="213"/>
                    <a:pt x="657" y="216"/>
                  </a:cubicBezTo>
                  <a:cubicBezTo>
                    <a:pt x="666" y="219"/>
                    <a:pt x="681" y="219"/>
                    <a:pt x="687" y="219"/>
                  </a:cubicBezTo>
                  <a:cubicBezTo>
                    <a:pt x="696" y="216"/>
                    <a:pt x="699" y="207"/>
                    <a:pt x="699" y="201"/>
                  </a:cubicBezTo>
                  <a:cubicBezTo>
                    <a:pt x="696" y="195"/>
                    <a:pt x="645" y="192"/>
                    <a:pt x="633" y="195"/>
                  </a:cubicBezTo>
                  <a:cubicBezTo>
                    <a:pt x="624" y="201"/>
                    <a:pt x="609" y="195"/>
                    <a:pt x="603" y="198"/>
                  </a:cubicBezTo>
                  <a:cubicBezTo>
                    <a:pt x="594" y="201"/>
                    <a:pt x="597" y="192"/>
                    <a:pt x="585" y="192"/>
                  </a:cubicBezTo>
                  <a:cubicBezTo>
                    <a:pt x="570" y="192"/>
                    <a:pt x="585" y="186"/>
                    <a:pt x="588" y="183"/>
                  </a:cubicBezTo>
                  <a:cubicBezTo>
                    <a:pt x="591" y="180"/>
                    <a:pt x="567" y="171"/>
                    <a:pt x="558" y="174"/>
                  </a:cubicBezTo>
                  <a:cubicBezTo>
                    <a:pt x="549" y="174"/>
                    <a:pt x="543" y="171"/>
                    <a:pt x="534" y="165"/>
                  </a:cubicBezTo>
                  <a:cubicBezTo>
                    <a:pt x="525" y="162"/>
                    <a:pt x="501" y="162"/>
                    <a:pt x="504" y="171"/>
                  </a:cubicBezTo>
                  <a:cubicBezTo>
                    <a:pt x="507" y="174"/>
                    <a:pt x="537" y="186"/>
                    <a:pt x="540" y="180"/>
                  </a:cubicBezTo>
                  <a:cubicBezTo>
                    <a:pt x="543" y="174"/>
                    <a:pt x="552" y="186"/>
                    <a:pt x="555" y="192"/>
                  </a:cubicBezTo>
                  <a:cubicBezTo>
                    <a:pt x="561" y="198"/>
                    <a:pt x="552" y="198"/>
                    <a:pt x="555" y="210"/>
                  </a:cubicBezTo>
                  <a:close/>
                  <a:moveTo>
                    <a:pt x="582" y="150"/>
                  </a:moveTo>
                  <a:cubicBezTo>
                    <a:pt x="573" y="147"/>
                    <a:pt x="561" y="156"/>
                    <a:pt x="570" y="159"/>
                  </a:cubicBezTo>
                  <a:cubicBezTo>
                    <a:pt x="579" y="162"/>
                    <a:pt x="591" y="156"/>
                    <a:pt x="582" y="150"/>
                  </a:cubicBezTo>
                  <a:close/>
                  <a:moveTo>
                    <a:pt x="510" y="93"/>
                  </a:moveTo>
                  <a:cubicBezTo>
                    <a:pt x="516" y="99"/>
                    <a:pt x="513" y="102"/>
                    <a:pt x="519" y="105"/>
                  </a:cubicBezTo>
                  <a:cubicBezTo>
                    <a:pt x="528" y="111"/>
                    <a:pt x="552" y="102"/>
                    <a:pt x="552" y="108"/>
                  </a:cubicBezTo>
                  <a:cubicBezTo>
                    <a:pt x="555" y="114"/>
                    <a:pt x="531" y="114"/>
                    <a:pt x="534" y="117"/>
                  </a:cubicBezTo>
                  <a:cubicBezTo>
                    <a:pt x="537" y="120"/>
                    <a:pt x="552" y="126"/>
                    <a:pt x="549" y="129"/>
                  </a:cubicBezTo>
                  <a:cubicBezTo>
                    <a:pt x="546" y="132"/>
                    <a:pt x="573" y="141"/>
                    <a:pt x="576" y="135"/>
                  </a:cubicBezTo>
                  <a:cubicBezTo>
                    <a:pt x="579" y="132"/>
                    <a:pt x="585" y="132"/>
                    <a:pt x="591" y="135"/>
                  </a:cubicBezTo>
                  <a:cubicBezTo>
                    <a:pt x="597" y="138"/>
                    <a:pt x="600" y="120"/>
                    <a:pt x="603" y="123"/>
                  </a:cubicBezTo>
                  <a:cubicBezTo>
                    <a:pt x="609" y="126"/>
                    <a:pt x="606" y="117"/>
                    <a:pt x="615" y="114"/>
                  </a:cubicBezTo>
                  <a:cubicBezTo>
                    <a:pt x="621" y="111"/>
                    <a:pt x="633" y="111"/>
                    <a:pt x="633" y="108"/>
                  </a:cubicBezTo>
                  <a:cubicBezTo>
                    <a:pt x="633" y="105"/>
                    <a:pt x="633" y="102"/>
                    <a:pt x="624" y="102"/>
                  </a:cubicBezTo>
                  <a:cubicBezTo>
                    <a:pt x="615" y="102"/>
                    <a:pt x="609" y="99"/>
                    <a:pt x="612" y="96"/>
                  </a:cubicBezTo>
                  <a:cubicBezTo>
                    <a:pt x="615" y="90"/>
                    <a:pt x="603" y="87"/>
                    <a:pt x="606" y="84"/>
                  </a:cubicBezTo>
                  <a:cubicBezTo>
                    <a:pt x="612" y="81"/>
                    <a:pt x="597" y="75"/>
                    <a:pt x="600" y="81"/>
                  </a:cubicBezTo>
                  <a:cubicBezTo>
                    <a:pt x="600" y="87"/>
                    <a:pt x="591" y="84"/>
                    <a:pt x="588" y="78"/>
                  </a:cubicBezTo>
                  <a:cubicBezTo>
                    <a:pt x="588" y="72"/>
                    <a:pt x="567" y="69"/>
                    <a:pt x="552" y="57"/>
                  </a:cubicBezTo>
                  <a:cubicBezTo>
                    <a:pt x="540" y="45"/>
                    <a:pt x="525" y="54"/>
                    <a:pt x="534" y="54"/>
                  </a:cubicBezTo>
                  <a:cubicBezTo>
                    <a:pt x="540" y="57"/>
                    <a:pt x="540" y="60"/>
                    <a:pt x="534" y="60"/>
                  </a:cubicBezTo>
                  <a:cubicBezTo>
                    <a:pt x="528" y="60"/>
                    <a:pt x="516" y="60"/>
                    <a:pt x="528" y="66"/>
                  </a:cubicBezTo>
                  <a:cubicBezTo>
                    <a:pt x="537" y="69"/>
                    <a:pt x="525" y="69"/>
                    <a:pt x="516" y="69"/>
                  </a:cubicBezTo>
                  <a:cubicBezTo>
                    <a:pt x="510" y="69"/>
                    <a:pt x="507" y="81"/>
                    <a:pt x="519" y="84"/>
                  </a:cubicBezTo>
                  <a:cubicBezTo>
                    <a:pt x="531" y="84"/>
                    <a:pt x="522" y="90"/>
                    <a:pt x="513" y="87"/>
                  </a:cubicBezTo>
                  <a:cubicBezTo>
                    <a:pt x="504" y="87"/>
                    <a:pt x="501" y="90"/>
                    <a:pt x="510" y="93"/>
                  </a:cubicBezTo>
                  <a:close/>
                  <a:moveTo>
                    <a:pt x="570" y="45"/>
                  </a:moveTo>
                  <a:cubicBezTo>
                    <a:pt x="576" y="39"/>
                    <a:pt x="582" y="42"/>
                    <a:pt x="576" y="45"/>
                  </a:cubicBezTo>
                  <a:cubicBezTo>
                    <a:pt x="570" y="48"/>
                    <a:pt x="573" y="51"/>
                    <a:pt x="582" y="51"/>
                  </a:cubicBezTo>
                  <a:cubicBezTo>
                    <a:pt x="588" y="51"/>
                    <a:pt x="576" y="54"/>
                    <a:pt x="576" y="57"/>
                  </a:cubicBezTo>
                  <a:cubicBezTo>
                    <a:pt x="576" y="63"/>
                    <a:pt x="588" y="60"/>
                    <a:pt x="588" y="66"/>
                  </a:cubicBezTo>
                  <a:cubicBezTo>
                    <a:pt x="588" y="69"/>
                    <a:pt x="609" y="72"/>
                    <a:pt x="615" y="66"/>
                  </a:cubicBezTo>
                  <a:cubicBezTo>
                    <a:pt x="624" y="60"/>
                    <a:pt x="621" y="69"/>
                    <a:pt x="621" y="72"/>
                  </a:cubicBezTo>
                  <a:cubicBezTo>
                    <a:pt x="618" y="75"/>
                    <a:pt x="651" y="78"/>
                    <a:pt x="651" y="75"/>
                  </a:cubicBezTo>
                  <a:cubicBezTo>
                    <a:pt x="654" y="69"/>
                    <a:pt x="657" y="72"/>
                    <a:pt x="663" y="72"/>
                  </a:cubicBezTo>
                  <a:cubicBezTo>
                    <a:pt x="669" y="75"/>
                    <a:pt x="699" y="66"/>
                    <a:pt x="699" y="60"/>
                  </a:cubicBezTo>
                  <a:cubicBezTo>
                    <a:pt x="699" y="54"/>
                    <a:pt x="708" y="63"/>
                    <a:pt x="699" y="72"/>
                  </a:cubicBezTo>
                  <a:cubicBezTo>
                    <a:pt x="690" y="78"/>
                    <a:pt x="672" y="75"/>
                    <a:pt x="663" y="78"/>
                  </a:cubicBezTo>
                  <a:cubicBezTo>
                    <a:pt x="654" y="81"/>
                    <a:pt x="669" y="87"/>
                    <a:pt x="678" y="93"/>
                  </a:cubicBezTo>
                  <a:cubicBezTo>
                    <a:pt x="684" y="99"/>
                    <a:pt x="666" y="96"/>
                    <a:pt x="657" y="87"/>
                  </a:cubicBezTo>
                  <a:cubicBezTo>
                    <a:pt x="651" y="81"/>
                    <a:pt x="633" y="81"/>
                    <a:pt x="621" y="81"/>
                  </a:cubicBezTo>
                  <a:cubicBezTo>
                    <a:pt x="612" y="81"/>
                    <a:pt x="615" y="99"/>
                    <a:pt x="624" y="99"/>
                  </a:cubicBezTo>
                  <a:cubicBezTo>
                    <a:pt x="630" y="99"/>
                    <a:pt x="636" y="102"/>
                    <a:pt x="645" y="111"/>
                  </a:cubicBezTo>
                  <a:cubicBezTo>
                    <a:pt x="651" y="123"/>
                    <a:pt x="666" y="120"/>
                    <a:pt x="666" y="126"/>
                  </a:cubicBezTo>
                  <a:cubicBezTo>
                    <a:pt x="666" y="129"/>
                    <a:pt x="645" y="120"/>
                    <a:pt x="636" y="120"/>
                  </a:cubicBezTo>
                  <a:cubicBezTo>
                    <a:pt x="624" y="117"/>
                    <a:pt x="606" y="123"/>
                    <a:pt x="606" y="132"/>
                  </a:cubicBezTo>
                  <a:cubicBezTo>
                    <a:pt x="606" y="141"/>
                    <a:pt x="621" y="138"/>
                    <a:pt x="633" y="132"/>
                  </a:cubicBezTo>
                  <a:cubicBezTo>
                    <a:pt x="645" y="126"/>
                    <a:pt x="636" y="135"/>
                    <a:pt x="630" y="141"/>
                  </a:cubicBezTo>
                  <a:cubicBezTo>
                    <a:pt x="624" y="144"/>
                    <a:pt x="645" y="150"/>
                    <a:pt x="645" y="156"/>
                  </a:cubicBezTo>
                  <a:cubicBezTo>
                    <a:pt x="645" y="162"/>
                    <a:pt x="630" y="159"/>
                    <a:pt x="630" y="153"/>
                  </a:cubicBezTo>
                  <a:cubicBezTo>
                    <a:pt x="627" y="147"/>
                    <a:pt x="621" y="141"/>
                    <a:pt x="609" y="144"/>
                  </a:cubicBezTo>
                  <a:cubicBezTo>
                    <a:pt x="597" y="144"/>
                    <a:pt x="600" y="153"/>
                    <a:pt x="609" y="153"/>
                  </a:cubicBezTo>
                  <a:cubicBezTo>
                    <a:pt x="615" y="156"/>
                    <a:pt x="615" y="162"/>
                    <a:pt x="606" y="162"/>
                  </a:cubicBezTo>
                  <a:cubicBezTo>
                    <a:pt x="597" y="162"/>
                    <a:pt x="579" y="168"/>
                    <a:pt x="585" y="174"/>
                  </a:cubicBezTo>
                  <a:cubicBezTo>
                    <a:pt x="591" y="180"/>
                    <a:pt x="618" y="174"/>
                    <a:pt x="621" y="177"/>
                  </a:cubicBezTo>
                  <a:cubicBezTo>
                    <a:pt x="627" y="180"/>
                    <a:pt x="639" y="183"/>
                    <a:pt x="642" y="177"/>
                  </a:cubicBezTo>
                  <a:cubicBezTo>
                    <a:pt x="645" y="174"/>
                    <a:pt x="654" y="174"/>
                    <a:pt x="663" y="174"/>
                  </a:cubicBezTo>
                  <a:cubicBezTo>
                    <a:pt x="675" y="174"/>
                    <a:pt x="678" y="177"/>
                    <a:pt x="681" y="180"/>
                  </a:cubicBezTo>
                  <a:cubicBezTo>
                    <a:pt x="687" y="186"/>
                    <a:pt x="693" y="183"/>
                    <a:pt x="699" y="180"/>
                  </a:cubicBezTo>
                  <a:cubicBezTo>
                    <a:pt x="705" y="174"/>
                    <a:pt x="705" y="174"/>
                    <a:pt x="711" y="174"/>
                  </a:cubicBezTo>
                  <a:cubicBezTo>
                    <a:pt x="720" y="174"/>
                    <a:pt x="720" y="171"/>
                    <a:pt x="717" y="165"/>
                  </a:cubicBezTo>
                  <a:cubicBezTo>
                    <a:pt x="714" y="159"/>
                    <a:pt x="705" y="168"/>
                    <a:pt x="702" y="165"/>
                  </a:cubicBezTo>
                  <a:cubicBezTo>
                    <a:pt x="702" y="159"/>
                    <a:pt x="693" y="159"/>
                    <a:pt x="681" y="162"/>
                  </a:cubicBezTo>
                  <a:cubicBezTo>
                    <a:pt x="666" y="162"/>
                    <a:pt x="672" y="153"/>
                    <a:pt x="681" y="153"/>
                  </a:cubicBezTo>
                  <a:cubicBezTo>
                    <a:pt x="690" y="156"/>
                    <a:pt x="699" y="156"/>
                    <a:pt x="711" y="153"/>
                  </a:cubicBezTo>
                  <a:cubicBezTo>
                    <a:pt x="720" y="150"/>
                    <a:pt x="711" y="147"/>
                    <a:pt x="711" y="141"/>
                  </a:cubicBezTo>
                  <a:cubicBezTo>
                    <a:pt x="711" y="138"/>
                    <a:pt x="723" y="141"/>
                    <a:pt x="732" y="141"/>
                  </a:cubicBezTo>
                  <a:cubicBezTo>
                    <a:pt x="741" y="141"/>
                    <a:pt x="756" y="126"/>
                    <a:pt x="756" y="117"/>
                  </a:cubicBezTo>
                  <a:cubicBezTo>
                    <a:pt x="756" y="108"/>
                    <a:pt x="735" y="111"/>
                    <a:pt x="726" y="111"/>
                  </a:cubicBezTo>
                  <a:cubicBezTo>
                    <a:pt x="714" y="111"/>
                    <a:pt x="732" y="105"/>
                    <a:pt x="750" y="105"/>
                  </a:cubicBezTo>
                  <a:cubicBezTo>
                    <a:pt x="771" y="105"/>
                    <a:pt x="762" y="96"/>
                    <a:pt x="765" y="93"/>
                  </a:cubicBezTo>
                  <a:cubicBezTo>
                    <a:pt x="768" y="90"/>
                    <a:pt x="777" y="99"/>
                    <a:pt x="786" y="96"/>
                  </a:cubicBezTo>
                  <a:cubicBezTo>
                    <a:pt x="795" y="93"/>
                    <a:pt x="789" y="87"/>
                    <a:pt x="795" y="87"/>
                  </a:cubicBezTo>
                  <a:cubicBezTo>
                    <a:pt x="801" y="87"/>
                    <a:pt x="810" y="78"/>
                    <a:pt x="831" y="66"/>
                  </a:cubicBezTo>
                  <a:cubicBezTo>
                    <a:pt x="852" y="57"/>
                    <a:pt x="867" y="57"/>
                    <a:pt x="870" y="51"/>
                  </a:cubicBezTo>
                  <a:cubicBezTo>
                    <a:pt x="870" y="45"/>
                    <a:pt x="840" y="51"/>
                    <a:pt x="837" y="48"/>
                  </a:cubicBezTo>
                  <a:cubicBezTo>
                    <a:pt x="831" y="48"/>
                    <a:pt x="855" y="42"/>
                    <a:pt x="861" y="42"/>
                  </a:cubicBezTo>
                  <a:cubicBezTo>
                    <a:pt x="867" y="45"/>
                    <a:pt x="876" y="42"/>
                    <a:pt x="897" y="33"/>
                  </a:cubicBezTo>
                  <a:cubicBezTo>
                    <a:pt x="918" y="24"/>
                    <a:pt x="909" y="21"/>
                    <a:pt x="900" y="21"/>
                  </a:cubicBezTo>
                  <a:cubicBezTo>
                    <a:pt x="891" y="24"/>
                    <a:pt x="882" y="21"/>
                    <a:pt x="882" y="15"/>
                  </a:cubicBezTo>
                  <a:cubicBezTo>
                    <a:pt x="882" y="9"/>
                    <a:pt x="870" y="15"/>
                    <a:pt x="870" y="12"/>
                  </a:cubicBezTo>
                  <a:cubicBezTo>
                    <a:pt x="870" y="9"/>
                    <a:pt x="858" y="9"/>
                    <a:pt x="843" y="15"/>
                  </a:cubicBezTo>
                  <a:cubicBezTo>
                    <a:pt x="831" y="21"/>
                    <a:pt x="843" y="9"/>
                    <a:pt x="849" y="9"/>
                  </a:cubicBezTo>
                  <a:cubicBezTo>
                    <a:pt x="855" y="6"/>
                    <a:pt x="816" y="9"/>
                    <a:pt x="810" y="3"/>
                  </a:cubicBezTo>
                  <a:cubicBezTo>
                    <a:pt x="801" y="0"/>
                    <a:pt x="795" y="12"/>
                    <a:pt x="789" y="6"/>
                  </a:cubicBezTo>
                  <a:cubicBezTo>
                    <a:pt x="783" y="0"/>
                    <a:pt x="768" y="3"/>
                    <a:pt x="768" y="9"/>
                  </a:cubicBezTo>
                  <a:cubicBezTo>
                    <a:pt x="771" y="12"/>
                    <a:pt x="768" y="12"/>
                    <a:pt x="762" y="9"/>
                  </a:cubicBezTo>
                  <a:cubicBezTo>
                    <a:pt x="756" y="3"/>
                    <a:pt x="744" y="9"/>
                    <a:pt x="732" y="6"/>
                  </a:cubicBezTo>
                  <a:cubicBezTo>
                    <a:pt x="723" y="6"/>
                    <a:pt x="726" y="15"/>
                    <a:pt x="714" y="12"/>
                  </a:cubicBezTo>
                  <a:cubicBezTo>
                    <a:pt x="705" y="6"/>
                    <a:pt x="690" y="9"/>
                    <a:pt x="696" y="9"/>
                  </a:cubicBezTo>
                  <a:cubicBezTo>
                    <a:pt x="699" y="12"/>
                    <a:pt x="693" y="15"/>
                    <a:pt x="690" y="12"/>
                  </a:cubicBezTo>
                  <a:cubicBezTo>
                    <a:pt x="684" y="12"/>
                    <a:pt x="678" y="12"/>
                    <a:pt x="681" y="18"/>
                  </a:cubicBezTo>
                  <a:cubicBezTo>
                    <a:pt x="684" y="24"/>
                    <a:pt x="663" y="18"/>
                    <a:pt x="663" y="21"/>
                  </a:cubicBezTo>
                  <a:cubicBezTo>
                    <a:pt x="663" y="27"/>
                    <a:pt x="657" y="30"/>
                    <a:pt x="651" y="27"/>
                  </a:cubicBezTo>
                  <a:cubicBezTo>
                    <a:pt x="645" y="21"/>
                    <a:pt x="624" y="18"/>
                    <a:pt x="630" y="24"/>
                  </a:cubicBezTo>
                  <a:cubicBezTo>
                    <a:pt x="636" y="27"/>
                    <a:pt x="612" y="27"/>
                    <a:pt x="618" y="30"/>
                  </a:cubicBezTo>
                  <a:cubicBezTo>
                    <a:pt x="624" y="36"/>
                    <a:pt x="612" y="39"/>
                    <a:pt x="612" y="36"/>
                  </a:cubicBezTo>
                  <a:cubicBezTo>
                    <a:pt x="612" y="33"/>
                    <a:pt x="600" y="30"/>
                    <a:pt x="594" y="33"/>
                  </a:cubicBezTo>
                  <a:cubicBezTo>
                    <a:pt x="588" y="39"/>
                    <a:pt x="588" y="42"/>
                    <a:pt x="585" y="39"/>
                  </a:cubicBezTo>
                  <a:cubicBezTo>
                    <a:pt x="582" y="36"/>
                    <a:pt x="573" y="39"/>
                    <a:pt x="561" y="42"/>
                  </a:cubicBezTo>
                  <a:cubicBezTo>
                    <a:pt x="552" y="45"/>
                    <a:pt x="564" y="48"/>
                    <a:pt x="570" y="45"/>
                  </a:cubicBezTo>
                  <a:close/>
                  <a:moveTo>
                    <a:pt x="696" y="477"/>
                  </a:moveTo>
                  <a:cubicBezTo>
                    <a:pt x="699" y="477"/>
                    <a:pt x="705" y="462"/>
                    <a:pt x="696" y="465"/>
                  </a:cubicBezTo>
                  <a:cubicBezTo>
                    <a:pt x="687" y="465"/>
                    <a:pt x="690" y="477"/>
                    <a:pt x="696" y="477"/>
                  </a:cubicBezTo>
                  <a:close/>
                  <a:moveTo>
                    <a:pt x="651" y="465"/>
                  </a:moveTo>
                  <a:cubicBezTo>
                    <a:pt x="660" y="471"/>
                    <a:pt x="672" y="456"/>
                    <a:pt x="672" y="453"/>
                  </a:cubicBezTo>
                  <a:cubicBezTo>
                    <a:pt x="669" y="450"/>
                    <a:pt x="642" y="459"/>
                    <a:pt x="651" y="465"/>
                  </a:cubicBezTo>
                  <a:close/>
                  <a:moveTo>
                    <a:pt x="687" y="438"/>
                  </a:moveTo>
                  <a:cubicBezTo>
                    <a:pt x="690" y="432"/>
                    <a:pt x="672" y="432"/>
                    <a:pt x="672" y="426"/>
                  </a:cubicBezTo>
                  <a:cubicBezTo>
                    <a:pt x="672" y="420"/>
                    <a:pt x="657" y="414"/>
                    <a:pt x="651" y="411"/>
                  </a:cubicBezTo>
                  <a:cubicBezTo>
                    <a:pt x="645" y="408"/>
                    <a:pt x="636" y="408"/>
                    <a:pt x="636" y="402"/>
                  </a:cubicBezTo>
                  <a:cubicBezTo>
                    <a:pt x="636" y="396"/>
                    <a:pt x="624" y="399"/>
                    <a:pt x="624" y="408"/>
                  </a:cubicBezTo>
                  <a:cubicBezTo>
                    <a:pt x="624" y="417"/>
                    <a:pt x="618" y="417"/>
                    <a:pt x="621" y="426"/>
                  </a:cubicBezTo>
                  <a:cubicBezTo>
                    <a:pt x="624" y="432"/>
                    <a:pt x="609" y="435"/>
                    <a:pt x="612" y="441"/>
                  </a:cubicBezTo>
                  <a:cubicBezTo>
                    <a:pt x="612" y="444"/>
                    <a:pt x="618" y="438"/>
                    <a:pt x="624" y="438"/>
                  </a:cubicBezTo>
                  <a:cubicBezTo>
                    <a:pt x="630" y="438"/>
                    <a:pt x="624" y="447"/>
                    <a:pt x="630" y="447"/>
                  </a:cubicBezTo>
                  <a:cubicBezTo>
                    <a:pt x="636" y="450"/>
                    <a:pt x="648" y="441"/>
                    <a:pt x="651" y="438"/>
                  </a:cubicBezTo>
                  <a:cubicBezTo>
                    <a:pt x="654" y="435"/>
                    <a:pt x="657" y="432"/>
                    <a:pt x="666" y="438"/>
                  </a:cubicBezTo>
                  <a:cubicBezTo>
                    <a:pt x="672" y="441"/>
                    <a:pt x="687" y="444"/>
                    <a:pt x="687" y="438"/>
                  </a:cubicBezTo>
                  <a:close/>
                  <a:moveTo>
                    <a:pt x="852" y="393"/>
                  </a:moveTo>
                  <a:cubicBezTo>
                    <a:pt x="858" y="393"/>
                    <a:pt x="858" y="402"/>
                    <a:pt x="867" y="411"/>
                  </a:cubicBezTo>
                  <a:cubicBezTo>
                    <a:pt x="876" y="417"/>
                    <a:pt x="879" y="411"/>
                    <a:pt x="879" y="408"/>
                  </a:cubicBezTo>
                  <a:cubicBezTo>
                    <a:pt x="882" y="402"/>
                    <a:pt x="891" y="405"/>
                    <a:pt x="891" y="399"/>
                  </a:cubicBezTo>
                  <a:cubicBezTo>
                    <a:pt x="891" y="396"/>
                    <a:pt x="900" y="387"/>
                    <a:pt x="906" y="387"/>
                  </a:cubicBezTo>
                  <a:cubicBezTo>
                    <a:pt x="912" y="384"/>
                    <a:pt x="900" y="378"/>
                    <a:pt x="894" y="378"/>
                  </a:cubicBezTo>
                  <a:cubicBezTo>
                    <a:pt x="885" y="378"/>
                    <a:pt x="882" y="372"/>
                    <a:pt x="882" y="369"/>
                  </a:cubicBezTo>
                  <a:cubicBezTo>
                    <a:pt x="882" y="366"/>
                    <a:pt x="867" y="357"/>
                    <a:pt x="864" y="360"/>
                  </a:cubicBezTo>
                  <a:cubicBezTo>
                    <a:pt x="858" y="360"/>
                    <a:pt x="849" y="351"/>
                    <a:pt x="843" y="351"/>
                  </a:cubicBezTo>
                  <a:cubicBezTo>
                    <a:pt x="837" y="351"/>
                    <a:pt x="828" y="345"/>
                    <a:pt x="828" y="339"/>
                  </a:cubicBezTo>
                  <a:cubicBezTo>
                    <a:pt x="828" y="333"/>
                    <a:pt x="840" y="342"/>
                    <a:pt x="843" y="336"/>
                  </a:cubicBezTo>
                  <a:cubicBezTo>
                    <a:pt x="846" y="330"/>
                    <a:pt x="831" y="333"/>
                    <a:pt x="831" y="330"/>
                  </a:cubicBezTo>
                  <a:cubicBezTo>
                    <a:pt x="831" y="324"/>
                    <a:pt x="834" y="327"/>
                    <a:pt x="837" y="324"/>
                  </a:cubicBezTo>
                  <a:cubicBezTo>
                    <a:pt x="840" y="321"/>
                    <a:pt x="834" y="318"/>
                    <a:pt x="831" y="315"/>
                  </a:cubicBezTo>
                  <a:cubicBezTo>
                    <a:pt x="828" y="312"/>
                    <a:pt x="828" y="318"/>
                    <a:pt x="822" y="318"/>
                  </a:cubicBezTo>
                  <a:cubicBezTo>
                    <a:pt x="819" y="318"/>
                    <a:pt x="822" y="312"/>
                    <a:pt x="825" y="309"/>
                  </a:cubicBezTo>
                  <a:cubicBezTo>
                    <a:pt x="828" y="306"/>
                    <a:pt x="813" y="303"/>
                    <a:pt x="807" y="303"/>
                  </a:cubicBezTo>
                  <a:cubicBezTo>
                    <a:pt x="801" y="306"/>
                    <a:pt x="801" y="303"/>
                    <a:pt x="801" y="300"/>
                  </a:cubicBezTo>
                  <a:cubicBezTo>
                    <a:pt x="801" y="294"/>
                    <a:pt x="789" y="300"/>
                    <a:pt x="786" y="303"/>
                  </a:cubicBezTo>
                  <a:cubicBezTo>
                    <a:pt x="780" y="306"/>
                    <a:pt x="777" y="300"/>
                    <a:pt x="780" y="297"/>
                  </a:cubicBezTo>
                  <a:cubicBezTo>
                    <a:pt x="786" y="297"/>
                    <a:pt x="792" y="294"/>
                    <a:pt x="792" y="288"/>
                  </a:cubicBezTo>
                  <a:cubicBezTo>
                    <a:pt x="789" y="285"/>
                    <a:pt x="777" y="285"/>
                    <a:pt x="774" y="291"/>
                  </a:cubicBezTo>
                  <a:cubicBezTo>
                    <a:pt x="771" y="294"/>
                    <a:pt x="762" y="285"/>
                    <a:pt x="762" y="279"/>
                  </a:cubicBezTo>
                  <a:cubicBezTo>
                    <a:pt x="762" y="276"/>
                    <a:pt x="744" y="279"/>
                    <a:pt x="747" y="270"/>
                  </a:cubicBezTo>
                  <a:cubicBezTo>
                    <a:pt x="750" y="264"/>
                    <a:pt x="729" y="261"/>
                    <a:pt x="723" y="261"/>
                  </a:cubicBezTo>
                  <a:cubicBezTo>
                    <a:pt x="717" y="261"/>
                    <a:pt x="708" y="267"/>
                    <a:pt x="711" y="270"/>
                  </a:cubicBezTo>
                  <a:cubicBezTo>
                    <a:pt x="711" y="276"/>
                    <a:pt x="705" y="273"/>
                    <a:pt x="702" y="270"/>
                  </a:cubicBezTo>
                  <a:cubicBezTo>
                    <a:pt x="702" y="264"/>
                    <a:pt x="690" y="276"/>
                    <a:pt x="684" y="276"/>
                  </a:cubicBezTo>
                  <a:cubicBezTo>
                    <a:pt x="681" y="276"/>
                    <a:pt x="687" y="261"/>
                    <a:pt x="684" y="255"/>
                  </a:cubicBezTo>
                  <a:cubicBezTo>
                    <a:pt x="684" y="252"/>
                    <a:pt x="681" y="249"/>
                    <a:pt x="678" y="243"/>
                  </a:cubicBezTo>
                  <a:cubicBezTo>
                    <a:pt x="675" y="234"/>
                    <a:pt x="660" y="237"/>
                    <a:pt x="654" y="243"/>
                  </a:cubicBezTo>
                  <a:cubicBezTo>
                    <a:pt x="651" y="246"/>
                    <a:pt x="639" y="246"/>
                    <a:pt x="630" y="252"/>
                  </a:cubicBezTo>
                  <a:cubicBezTo>
                    <a:pt x="624" y="258"/>
                    <a:pt x="633" y="267"/>
                    <a:pt x="636" y="267"/>
                  </a:cubicBezTo>
                  <a:cubicBezTo>
                    <a:pt x="639" y="270"/>
                    <a:pt x="624" y="276"/>
                    <a:pt x="630" y="279"/>
                  </a:cubicBezTo>
                  <a:cubicBezTo>
                    <a:pt x="633" y="282"/>
                    <a:pt x="639" y="282"/>
                    <a:pt x="642" y="288"/>
                  </a:cubicBezTo>
                  <a:cubicBezTo>
                    <a:pt x="642" y="294"/>
                    <a:pt x="624" y="285"/>
                    <a:pt x="621" y="279"/>
                  </a:cubicBezTo>
                  <a:cubicBezTo>
                    <a:pt x="618" y="273"/>
                    <a:pt x="624" y="270"/>
                    <a:pt x="618" y="264"/>
                  </a:cubicBezTo>
                  <a:cubicBezTo>
                    <a:pt x="615" y="261"/>
                    <a:pt x="618" y="255"/>
                    <a:pt x="624" y="249"/>
                  </a:cubicBezTo>
                  <a:cubicBezTo>
                    <a:pt x="633" y="243"/>
                    <a:pt x="636" y="243"/>
                    <a:pt x="636" y="240"/>
                  </a:cubicBezTo>
                  <a:cubicBezTo>
                    <a:pt x="636" y="234"/>
                    <a:pt x="609" y="234"/>
                    <a:pt x="591" y="249"/>
                  </a:cubicBezTo>
                  <a:cubicBezTo>
                    <a:pt x="576" y="264"/>
                    <a:pt x="582" y="285"/>
                    <a:pt x="582" y="288"/>
                  </a:cubicBezTo>
                  <a:cubicBezTo>
                    <a:pt x="582" y="294"/>
                    <a:pt x="597" y="291"/>
                    <a:pt x="606" y="294"/>
                  </a:cubicBezTo>
                  <a:cubicBezTo>
                    <a:pt x="615" y="297"/>
                    <a:pt x="609" y="300"/>
                    <a:pt x="603" y="300"/>
                  </a:cubicBezTo>
                  <a:cubicBezTo>
                    <a:pt x="597" y="297"/>
                    <a:pt x="585" y="297"/>
                    <a:pt x="585" y="300"/>
                  </a:cubicBezTo>
                  <a:cubicBezTo>
                    <a:pt x="588" y="306"/>
                    <a:pt x="600" y="312"/>
                    <a:pt x="609" y="312"/>
                  </a:cubicBezTo>
                  <a:cubicBezTo>
                    <a:pt x="615" y="309"/>
                    <a:pt x="615" y="309"/>
                    <a:pt x="621" y="315"/>
                  </a:cubicBezTo>
                  <a:cubicBezTo>
                    <a:pt x="624" y="318"/>
                    <a:pt x="633" y="318"/>
                    <a:pt x="642" y="318"/>
                  </a:cubicBezTo>
                  <a:cubicBezTo>
                    <a:pt x="651" y="318"/>
                    <a:pt x="663" y="321"/>
                    <a:pt x="666" y="321"/>
                  </a:cubicBezTo>
                  <a:cubicBezTo>
                    <a:pt x="672" y="321"/>
                    <a:pt x="678" y="318"/>
                    <a:pt x="678" y="318"/>
                  </a:cubicBezTo>
                  <a:cubicBezTo>
                    <a:pt x="681" y="315"/>
                    <a:pt x="699" y="321"/>
                    <a:pt x="705" y="321"/>
                  </a:cubicBezTo>
                  <a:cubicBezTo>
                    <a:pt x="711" y="321"/>
                    <a:pt x="705" y="315"/>
                    <a:pt x="702" y="312"/>
                  </a:cubicBezTo>
                  <a:cubicBezTo>
                    <a:pt x="699" y="312"/>
                    <a:pt x="702" y="306"/>
                    <a:pt x="705" y="309"/>
                  </a:cubicBezTo>
                  <a:cubicBezTo>
                    <a:pt x="711" y="309"/>
                    <a:pt x="717" y="312"/>
                    <a:pt x="720" y="315"/>
                  </a:cubicBezTo>
                  <a:cubicBezTo>
                    <a:pt x="720" y="321"/>
                    <a:pt x="723" y="318"/>
                    <a:pt x="726" y="321"/>
                  </a:cubicBezTo>
                  <a:cubicBezTo>
                    <a:pt x="726" y="324"/>
                    <a:pt x="741" y="330"/>
                    <a:pt x="741" y="333"/>
                  </a:cubicBezTo>
                  <a:cubicBezTo>
                    <a:pt x="741" y="336"/>
                    <a:pt x="726" y="339"/>
                    <a:pt x="732" y="342"/>
                  </a:cubicBezTo>
                  <a:cubicBezTo>
                    <a:pt x="735" y="345"/>
                    <a:pt x="741" y="339"/>
                    <a:pt x="747" y="339"/>
                  </a:cubicBezTo>
                  <a:cubicBezTo>
                    <a:pt x="753" y="336"/>
                    <a:pt x="753" y="351"/>
                    <a:pt x="759" y="348"/>
                  </a:cubicBezTo>
                  <a:cubicBezTo>
                    <a:pt x="765" y="345"/>
                    <a:pt x="771" y="351"/>
                    <a:pt x="777" y="360"/>
                  </a:cubicBezTo>
                  <a:cubicBezTo>
                    <a:pt x="783" y="369"/>
                    <a:pt x="774" y="375"/>
                    <a:pt x="777" y="378"/>
                  </a:cubicBezTo>
                  <a:cubicBezTo>
                    <a:pt x="777" y="381"/>
                    <a:pt x="789" y="381"/>
                    <a:pt x="795" y="378"/>
                  </a:cubicBezTo>
                  <a:cubicBezTo>
                    <a:pt x="801" y="375"/>
                    <a:pt x="807" y="381"/>
                    <a:pt x="813" y="387"/>
                  </a:cubicBezTo>
                  <a:cubicBezTo>
                    <a:pt x="816" y="390"/>
                    <a:pt x="792" y="399"/>
                    <a:pt x="795" y="393"/>
                  </a:cubicBezTo>
                  <a:cubicBezTo>
                    <a:pt x="798" y="390"/>
                    <a:pt x="780" y="378"/>
                    <a:pt x="768" y="384"/>
                  </a:cubicBezTo>
                  <a:cubicBezTo>
                    <a:pt x="753" y="390"/>
                    <a:pt x="762" y="399"/>
                    <a:pt x="765" y="402"/>
                  </a:cubicBezTo>
                  <a:cubicBezTo>
                    <a:pt x="765" y="408"/>
                    <a:pt x="750" y="414"/>
                    <a:pt x="738" y="408"/>
                  </a:cubicBezTo>
                  <a:cubicBezTo>
                    <a:pt x="723" y="405"/>
                    <a:pt x="729" y="411"/>
                    <a:pt x="723" y="411"/>
                  </a:cubicBezTo>
                  <a:cubicBezTo>
                    <a:pt x="717" y="411"/>
                    <a:pt x="711" y="420"/>
                    <a:pt x="717" y="426"/>
                  </a:cubicBezTo>
                  <a:cubicBezTo>
                    <a:pt x="720" y="432"/>
                    <a:pt x="732" y="426"/>
                    <a:pt x="741" y="426"/>
                  </a:cubicBezTo>
                  <a:cubicBezTo>
                    <a:pt x="750" y="426"/>
                    <a:pt x="750" y="429"/>
                    <a:pt x="753" y="423"/>
                  </a:cubicBezTo>
                  <a:cubicBezTo>
                    <a:pt x="753" y="420"/>
                    <a:pt x="762" y="423"/>
                    <a:pt x="768" y="423"/>
                  </a:cubicBezTo>
                  <a:cubicBezTo>
                    <a:pt x="774" y="426"/>
                    <a:pt x="774" y="435"/>
                    <a:pt x="783" y="435"/>
                  </a:cubicBezTo>
                  <a:cubicBezTo>
                    <a:pt x="789" y="435"/>
                    <a:pt x="783" y="444"/>
                    <a:pt x="789" y="450"/>
                  </a:cubicBezTo>
                  <a:cubicBezTo>
                    <a:pt x="792" y="456"/>
                    <a:pt x="810" y="453"/>
                    <a:pt x="816" y="459"/>
                  </a:cubicBezTo>
                  <a:cubicBezTo>
                    <a:pt x="822" y="465"/>
                    <a:pt x="846" y="474"/>
                    <a:pt x="849" y="471"/>
                  </a:cubicBezTo>
                  <a:cubicBezTo>
                    <a:pt x="855" y="465"/>
                    <a:pt x="828" y="444"/>
                    <a:pt x="822" y="441"/>
                  </a:cubicBezTo>
                  <a:cubicBezTo>
                    <a:pt x="813" y="438"/>
                    <a:pt x="828" y="438"/>
                    <a:pt x="837" y="444"/>
                  </a:cubicBezTo>
                  <a:cubicBezTo>
                    <a:pt x="846" y="453"/>
                    <a:pt x="861" y="456"/>
                    <a:pt x="867" y="447"/>
                  </a:cubicBezTo>
                  <a:cubicBezTo>
                    <a:pt x="876" y="438"/>
                    <a:pt x="861" y="441"/>
                    <a:pt x="861" y="432"/>
                  </a:cubicBezTo>
                  <a:cubicBezTo>
                    <a:pt x="861" y="426"/>
                    <a:pt x="858" y="417"/>
                    <a:pt x="852" y="417"/>
                  </a:cubicBezTo>
                  <a:cubicBezTo>
                    <a:pt x="843" y="417"/>
                    <a:pt x="825" y="405"/>
                    <a:pt x="831" y="402"/>
                  </a:cubicBezTo>
                  <a:cubicBezTo>
                    <a:pt x="840" y="399"/>
                    <a:pt x="831" y="393"/>
                    <a:pt x="834" y="387"/>
                  </a:cubicBezTo>
                  <a:cubicBezTo>
                    <a:pt x="840" y="384"/>
                    <a:pt x="846" y="393"/>
                    <a:pt x="852" y="393"/>
                  </a:cubicBezTo>
                  <a:close/>
                  <a:moveTo>
                    <a:pt x="747" y="369"/>
                  </a:moveTo>
                  <a:cubicBezTo>
                    <a:pt x="753" y="369"/>
                    <a:pt x="750" y="360"/>
                    <a:pt x="747" y="354"/>
                  </a:cubicBezTo>
                  <a:cubicBezTo>
                    <a:pt x="744" y="351"/>
                    <a:pt x="738" y="351"/>
                    <a:pt x="732" y="351"/>
                  </a:cubicBezTo>
                  <a:cubicBezTo>
                    <a:pt x="726" y="351"/>
                    <a:pt x="717" y="360"/>
                    <a:pt x="723" y="369"/>
                  </a:cubicBezTo>
                  <a:cubicBezTo>
                    <a:pt x="729" y="378"/>
                    <a:pt x="741" y="372"/>
                    <a:pt x="747" y="369"/>
                  </a:cubicBezTo>
                  <a:close/>
                  <a:moveTo>
                    <a:pt x="684" y="240"/>
                  </a:moveTo>
                  <a:cubicBezTo>
                    <a:pt x="681" y="246"/>
                    <a:pt x="690" y="246"/>
                    <a:pt x="690" y="255"/>
                  </a:cubicBezTo>
                  <a:cubicBezTo>
                    <a:pt x="690" y="261"/>
                    <a:pt x="699" y="264"/>
                    <a:pt x="708" y="258"/>
                  </a:cubicBezTo>
                  <a:cubicBezTo>
                    <a:pt x="714" y="255"/>
                    <a:pt x="735" y="261"/>
                    <a:pt x="735" y="255"/>
                  </a:cubicBezTo>
                  <a:cubicBezTo>
                    <a:pt x="735" y="249"/>
                    <a:pt x="714" y="240"/>
                    <a:pt x="705" y="240"/>
                  </a:cubicBezTo>
                  <a:cubicBezTo>
                    <a:pt x="699" y="243"/>
                    <a:pt x="687" y="234"/>
                    <a:pt x="684" y="240"/>
                  </a:cubicBezTo>
                  <a:close/>
                  <a:moveTo>
                    <a:pt x="870" y="666"/>
                  </a:moveTo>
                  <a:cubicBezTo>
                    <a:pt x="873" y="669"/>
                    <a:pt x="900" y="681"/>
                    <a:pt x="903" y="675"/>
                  </a:cubicBezTo>
                  <a:cubicBezTo>
                    <a:pt x="903" y="669"/>
                    <a:pt x="870" y="663"/>
                    <a:pt x="870" y="666"/>
                  </a:cubicBezTo>
                  <a:close/>
                  <a:moveTo>
                    <a:pt x="999" y="696"/>
                  </a:moveTo>
                  <a:cubicBezTo>
                    <a:pt x="996" y="699"/>
                    <a:pt x="993" y="693"/>
                    <a:pt x="996" y="690"/>
                  </a:cubicBezTo>
                  <a:cubicBezTo>
                    <a:pt x="1002" y="687"/>
                    <a:pt x="996" y="684"/>
                    <a:pt x="993" y="687"/>
                  </a:cubicBezTo>
                  <a:cubicBezTo>
                    <a:pt x="987" y="687"/>
                    <a:pt x="990" y="678"/>
                    <a:pt x="993" y="675"/>
                  </a:cubicBezTo>
                  <a:cubicBezTo>
                    <a:pt x="996" y="672"/>
                    <a:pt x="984" y="669"/>
                    <a:pt x="984" y="672"/>
                  </a:cubicBezTo>
                  <a:cubicBezTo>
                    <a:pt x="984" y="678"/>
                    <a:pt x="975" y="675"/>
                    <a:pt x="975" y="672"/>
                  </a:cubicBezTo>
                  <a:cubicBezTo>
                    <a:pt x="972" y="669"/>
                    <a:pt x="966" y="666"/>
                    <a:pt x="969" y="663"/>
                  </a:cubicBezTo>
                  <a:cubicBezTo>
                    <a:pt x="972" y="663"/>
                    <a:pt x="960" y="660"/>
                    <a:pt x="960" y="666"/>
                  </a:cubicBezTo>
                  <a:cubicBezTo>
                    <a:pt x="960" y="669"/>
                    <a:pt x="957" y="663"/>
                    <a:pt x="960" y="657"/>
                  </a:cubicBezTo>
                  <a:cubicBezTo>
                    <a:pt x="966" y="651"/>
                    <a:pt x="966" y="648"/>
                    <a:pt x="969" y="645"/>
                  </a:cubicBezTo>
                  <a:cubicBezTo>
                    <a:pt x="975" y="642"/>
                    <a:pt x="969" y="639"/>
                    <a:pt x="963" y="639"/>
                  </a:cubicBezTo>
                  <a:cubicBezTo>
                    <a:pt x="960" y="642"/>
                    <a:pt x="945" y="660"/>
                    <a:pt x="945" y="666"/>
                  </a:cubicBezTo>
                  <a:cubicBezTo>
                    <a:pt x="945" y="672"/>
                    <a:pt x="945" y="678"/>
                    <a:pt x="942" y="675"/>
                  </a:cubicBezTo>
                  <a:cubicBezTo>
                    <a:pt x="936" y="675"/>
                    <a:pt x="930" y="681"/>
                    <a:pt x="933" y="684"/>
                  </a:cubicBezTo>
                  <a:cubicBezTo>
                    <a:pt x="939" y="687"/>
                    <a:pt x="924" y="693"/>
                    <a:pt x="930" y="696"/>
                  </a:cubicBezTo>
                  <a:cubicBezTo>
                    <a:pt x="936" y="699"/>
                    <a:pt x="942" y="696"/>
                    <a:pt x="948" y="696"/>
                  </a:cubicBezTo>
                  <a:cubicBezTo>
                    <a:pt x="954" y="696"/>
                    <a:pt x="960" y="696"/>
                    <a:pt x="963" y="693"/>
                  </a:cubicBezTo>
                  <a:cubicBezTo>
                    <a:pt x="969" y="690"/>
                    <a:pt x="969" y="696"/>
                    <a:pt x="975" y="696"/>
                  </a:cubicBezTo>
                  <a:cubicBezTo>
                    <a:pt x="981" y="696"/>
                    <a:pt x="972" y="702"/>
                    <a:pt x="972" y="705"/>
                  </a:cubicBezTo>
                  <a:cubicBezTo>
                    <a:pt x="972" y="708"/>
                    <a:pt x="978" y="702"/>
                    <a:pt x="981" y="699"/>
                  </a:cubicBezTo>
                  <a:cubicBezTo>
                    <a:pt x="987" y="699"/>
                    <a:pt x="990" y="699"/>
                    <a:pt x="990" y="705"/>
                  </a:cubicBezTo>
                  <a:cubicBezTo>
                    <a:pt x="987" y="708"/>
                    <a:pt x="999" y="711"/>
                    <a:pt x="1002" y="705"/>
                  </a:cubicBezTo>
                  <a:cubicBezTo>
                    <a:pt x="1005" y="699"/>
                    <a:pt x="999" y="690"/>
                    <a:pt x="999" y="696"/>
                  </a:cubicBezTo>
                  <a:close/>
                  <a:moveTo>
                    <a:pt x="93" y="603"/>
                  </a:moveTo>
                  <a:cubicBezTo>
                    <a:pt x="84" y="609"/>
                    <a:pt x="108" y="630"/>
                    <a:pt x="111" y="627"/>
                  </a:cubicBezTo>
                  <a:cubicBezTo>
                    <a:pt x="114" y="627"/>
                    <a:pt x="105" y="615"/>
                    <a:pt x="105" y="609"/>
                  </a:cubicBezTo>
                  <a:cubicBezTo>
                    <a:pt x="105" y="603"/>
                    <a:pt x="102" y="597"/>
                    <a:pt x="93" y="603"/>
                  </a:cubicBezTo>
                  <a:close/>
                  <a:moveTo>
                    <a:pt x="918" y="717"/>
                  </a:moveTo>
                  <a:cubicBezTo>
                    <a:pt x="915" y="717"/>
                    <a:pt x="918" y="711"/>
                    <a:pt x="918" y="708"/>
                  </a:cubicBezTo>
                  <a:cubicBezTo>
                    <a:pt x="918" y="708"/>
                    <a:pt x="909" y="711"/>
                    <a:pt x="909" y="714"/>
                  </a:cubicBezTo>
                  <a:cubicBezTo>
                    <a:pt x="909" y="717"/>
                    <a:pt x="903" y="717"/>
                    <a:pt x="903" y="720"/>
                  </a:cubicBezTo>
                  <a:cubicBezTo>
                    <a:pt x="903" y="726"/>
                    <a:pt x="903" y="723"/>
                    <a:pt x="900" y="726"/>
                  </a:cubicBezTo>
                  <a:cubicBezTo>
                    <a:pt x="894" y="726"/>
                    <a:pt x="879" y="726"/>
                    <a:pt x="879" y="723"/>
                  </a:cubicBezTo>
                  <a:cubicBezTo>
                    <a:pt x="879" y="717"/>
                    <a:pt x="867" y="717"/>
                    <a:pt x="867" y="711"/>
                  </a:cubicBezTo>
                  <a:cubicBezTo>
                    <a:pt x="867" y="708"/>
                    <a:pt x="861" y="705"/>
                    <a:pt x="867" y="699"/>
                  </a:cubicBezTo>
                  <a:cubicBezTo>
                    <a:pt x="870" y="696"/>
                    <a:pt x="864" y="693"/>
                    <a:pt x="861" y="696"/>
                  </a:cubicBezTo>
                  <a:cubicBezTo>
                    <a:pt x="855" y="699"/>
                    <a:pt x="855" y="693"/>
                    <a:pt x="861" y="693"/>
                  </a:cubicBezTo>
                  <a:cubicBezTo>
                    <a:pt x="864" y="690"/>
                    <a:pt x="876" y="687"/>
                    <a:pt x="870" y="678"/>
                  </a:cubicBezTo>
                  <a:cubicBezTo>
                    <a:pt x="864" y="666"/>
                    <a:pt x="831" y="681"/>
                    <a:pt x="822" y="684"/>
                  </a:cubicBezTo>
                  <a:cubicBezTo>
                    <a:pt x="813" y="690"/>
                    <a:pt x="801" y="705"/>
                    <a:pt x="798" y="705"/>
                  </a:cubicBezTo>
                  <a:cubicBezTo>
                    <a:pt x="792" y="705"/>
                    <a:pt x="807" y="699"/>
                    <a:pt x="807" y="696"/>
                  </a:cubicBezTo>
                  <a:cubicBezTo>
                    <a:pt x="810" y="690"/>
                    <a:pt x="807" y="687"/>
                    <a:pt x="810" y="690"/>
                  </a:cubicBezTo>
                  <a:cubicBezTo>
                    <a:pt x="813" y="690"/>
                    <a:pt x="819" y="678"/>
                    <a:pt x="825" y="675"/>
                  </a:cubicBezTo>
                  <a:cubicBezTo>
                    <a:pt x="831" y="672"/>
                    <a:pt x="837" y="675"/>
                    <a:pt x="837" y="672"/>
                  </a:cubicBezTo>
                  <a:cubicBezTo>
                    <a:pt x="837" y="669"/>
                    <a:pt x="840" y="666"/>
                    <a:pt x="846" y="660"/>
                  </a:cubicBezTo>
                  <a:cubicBezTo>
                    <a:pt x="852" y="657"/>
                    <a:pt x="909" y="657"/>
                    <a:pt x="915" y="657"/>
                  </a:cubicBezTo>
                  <a:cubicBezTo>
                    <a:pt x="921" y="657"/>
                    <a:pt x="933" y="651"/>
                    <a:pt x="936" y="645"/>
                  </a:cubicBezTo>
                  <a:cubicBezTo>
                    <a:pt x="939" y="639"/>
                    <a:pt x="945" y="639"/>
                    <a:pt x="951" y="642"/>
                  </a:cubicBezTo>
                  <a:cubicBezTo>
                    <a:pt x="960" y="642"/>
                    <a:pt x="963" y="633"/>
                    <a:pt x="969" y="630"/>
                  </a:cubicBezTo>
                  <a:cubicBezTo>
                    <a:pt x="972" y="627"/>
                    <a:pt x="969" y="627"/>
                    <a:pt x="966" y="627"/>
                  </a:cubicBezTo>
                  <a:cubicBezTo>
                    <a:pt x="963" y="627"/>
                    <a:pt x="960" y="624"/>
                    <a:pt x="963" y="624"/>
                  </a:cubicBezTo>
                  <a:cubicBezTo>
                    <a:pt x="966" y="624"/>
                    <a:pt x="969" y="621"/>
                    <a:pt x="969" y="615"/>
                  </a:cubicBezTo>
                  <a:cubicBezTo>
                    <a:pt x="972" y="612"/>
                    <a:pt x="969" y="615"/>
                    <a:pt x="963" y="609"/>
                  </a:cubicBezTo>
                  <a:cubicBezTo>
                    <a:pt x="960" y="600"/>
                    <a:pt x="957" y="609"/>
                    <a:pt x="951" y="609"/>
                  </a:cubicBezTo>
                  <a:cubicBezTo>
                    <a:pt x="948" y="609"/>
                    <a:pt x="954" y="603"/>
                    <a:pt x="951" y="600"/>
                  </a:cubicBezTo>
                  <a:cubicBezTo>
                    <a:pt x="948" y="597"/>
                    <a:pt x="939" y="600"/>
                    <a:pt x="933" y="603"/>
                  </a:cubicBezTo>
                  <a:cubicBezTo>
                    <a:pt x="927" y="609"/>
                    <a:pt x="927" y="603"/>
                    <a:pt x="924" y="609"/>
                  </a:cubicBezTo>
                  <a:cubicBezTo>
                    <a:pt x="918" y="615"/>
                    <a:pt x="918" y="606"/>
                    <a:pt x="921" y="606"/>
                  </a:cubicBezTo>
                  <a:cubicBezTo>
                    <a:pt x="924" y="603"/>
                    <a:pt x="924" y="606"/>
                    <a:pt x="927" y="603"/>
                  </a:cubicBezTo>
                  <a:cubicBezTo>
                    <a:pt x="930" y="600"/>
                    <a:pt x="930" y="603"/>
                    <a:pt x="936" y="597"/>
                  </a:cubicBezTo>
                  <a:cubicBezTo>
                    <a:pt x="942" y="594"/>
                    <a:pt x="948" y="597"/>
                    <a:pt x="951" y="594"/>
                  </a:cubicBezTo>
                  <a:cubicBezTo>
                    <a:pt x="951" y="591"/>
                    <a:pt x="948" y="588"/>
                    <a:pt x="942" y="588"/>
                  </a:cubicBezTo>
                  <a:cubicBezTo>
                    <a:pt x="936" y="588"/>
                    <a:pt x="933" y="582"/>
                    <a:pt x="930" y="582"/>
                  </a:cubicBezTo>
                  <a:cubicBezTo>
                    <a:pt x="924" y="585"/>
                    <a:pt x="927" y="579"/>
                    <a:pt x="921" y="582"/>
                  </a:cubicBezTo>
                  <a:cubicBezTo>
                    <a:pt x="918" y="585"/>
                    <a:pt x="915" y="582"/>
                    <a:pt x="915" y="576"/>
                  </a:cubicBezTo>
                  <a:cubicBezTo>
                    <a:pt x="912" y="573"/>
                    <a:pt x="900" y="564"/>
                    <a:pt x="894" y="561"/>
                  </a:cubicBezTo>
                  <a:cubicBezTo>
                    <a:pt x="888" y="561"/>
                    <a:pt x="894" y="555"/>
                    <a:pt x="897" y="558"/>
                  </a:cubicBezTo>
                  <a:cubicBezTo>
                    <a:pt x="900" y="561"/>
                    <a:pt x="903" y="555"/>
                    <a:pt x="906" y="555"/>
                  </a:cubicBezTo>
                  <a:cubicBezTo>
                    <a:pt x="906" y="552"/>
                    <a:pt x="903" y="549"/>
                    <a:pt x="900" y="549"/>
                  </a:cubicBezTo>
                  <a:cubicBezTo>
                    <a:pt x="900" y="549"/>
                    <a:pt x="900" y="546"/>
                    <a:pt x="900" y="543"/>
                  </a:cubicBezTo>
                  <a:cubicBezTo>
                    <a:pt x="900" y="540"/>
                    <a:pt x="891" y="537"/>
                    <a:pt x="891" y="534"/>
                  </a:cubicBezTo>
                  <a:cubicBezTo>
                    <a:pt x="891" y="531"/>
                    <a:pt x="888" y="531"/>
                    <a:pt x="888" y="528"/>
                  </a:cubicBezTo>
                  <a:cubicBezTo>
                    <a:pt x="888" y="525"/>
                    <a:pt x="882" y="522"/>
                    <a:pt x="882" y="519"/>
                  </a:cubicBezTo>
                  <a:cubicBezTo>
                    <a:pt x="882" y="516"/>
                    <a:pt x="876" y="510"/>
                    <a:pt x="876" y="507"/>
                  </a:cubicBezTo>
                  <a:cubicBezTo>
                    <a:pt x="876" y="504"/>
                    <a:pt x="870" y="501"/>
                    <a:pt x="870" y="498"/>
                  </a:cubicBezTo>
                  <a:cubicBezTo>
                    <a:pt x="867" y="492"/>
                    <a:pt x="867" y="495"/>
                    <a:pt x="864" y="501"/>
                  </a:cubicBezTo>
                  <a:cubicBezTo>
                    <a:pt x="864" y="507"/>
                    <a:pt x="858" y="507"/>
                    <a:pt x="861" y="507"/>
                  </a:cubicBezTo>
                  <a:cubicBezTo>
                    <a:pt x="864" y="513"/>
                    <a:pt x="861" y="513"/>
                    <a:pt x="858" y="516"/>
                  </a:cubicBezTo>
                  <a:cubicBezTo>
                    <a:pt x="855" y="519"/>
                    <a:pt x="861" y="522"/>
                    <a:pt x="855" y="522"/>
                  </a:cubicBezTo>
                  <a:cubicBezTo>
                    <a:pt x="852" y="522"/>
                    <a:pt x="855" y="528"/>
                    <a:pt x="852" y="525"/>
                  </a:cubicBezTo>
                  <a:cubicBezTo>
                    <a:pt x="849" y="522"/>
                    <a:pt x="846" y="522"/>
                    <a:pt x="846" y="528"/>
                  </a:cubicBezTo>
                  <a:cubicBezTo>
                    <a:pt x="846" y="531"/>
                    <a:pt x="837" y="534"/>
                    <a:pt x="834" y="534"/>
                  </a:cubicBezTo>
                  <a:cubicBezTo>
                    <a:pt x="831" y="534"/>
                    <a:pt x="831" y="525"/>
                    <a:pt x="828" y="528"/>
                  </a:cubicBezTo>
                  <a:cubicBezTo>
                    <a:pt x="825" y="531"/>
                    <a:pt x="825" y="522"/>
                    <a:pt x="822" y="522"/>
                  </a:cubicBezTo>
                  <a:cubicBezTo>
                    <a:pt x="816" y="522"/>
                    <a:pt x="813" y="522"/>
                    <a:pt x="816" y="519"/>
                  </a:cubicBezTo>
                  <a:cubicBezTo>
                    <a:pt x="816" y="516"/>
                    <a:pt x="807" y="513"/>
                    <a:pt x="810" y="510"/>
                  </a:cubicBezTo>
                  <a:cubicBezTo>
                    <a:pt x="813" y="510"/>
                    <a:pt x="810" y="504"/>
                    <a:pt x="810" y="498"/>
                  </a:cubicBezTo>
                  <a:cubicBezTo>
                    <a:pt x="810" y="492"/>
                    <a:pt x="813" y="492"/>
                    <a:pt x="813" y="489"/>
                  </a:cubicBezTo>
                  <a:cubicBezTo>
                    <a:pt x="813" y="486"/>
                    <a:pt x="810" y="486"/>
                    <a:pt x="807" y="489"/>
                  </a:cubicBezTo>
                  <a:cubicBezTo>
                    <a:pt x="804" y="489"/>
                    <a:pt x="804" y="486"/>
                    <a:pt x="801" y="486"/>
                  </a:cubicBezTo>
                  <a:cubicBezTo>
                    <a:pt x="798" y="486"/>
                    <a:pt x="789" y="486"/>
                    <a:pt x="789" y="480"/>
                  </a:cubicBezTo>
                  <a:cubicBezTo>
                    <a:pt x="786" y="477"/>
                    <a:pt x="783" y="480"/>
                    <a:pt x="783" y="474"/>
                  </a:cubicBezTo>
                  <a:cubicBezTo>
                    <a:pt x="780" y="471"/>
                    <a:pt x="777" y="474"/>
                    <a:pt x="777" y="471"/>
                  </a:cubicBezTo>
                  <a:cubicBezTo>
                    <a:pt x="777" y="468"/>
                    <a:pt x="774" y="465"/>
                    <a:pt x="771" y="465"/>
                  </a:cubicBezTo>
                  <a:cubicBezTo>
                    <a:pt x="768" y="465"/>
                    <a:pt x="768" y="462"/>
                    <a:pt x="765" y="462"/>
                  </a:cubicBezTo>
                  <a:cubicBezTo>
                    <a:pt x="759" y="462"/>
                    <a:pt x="756" y="465"/>
                    <a:pt x="753" y="465"/>
                  </a:cubicBezTo>
                  <a:cubicBezTo>
                    <a:pt x="750" y="468"/>
                    <a:pt x="744" y="462"/>
                    <a:pt x="744" y="465"/>
                  </a:cubicBezTo>
                  <a:cubicBezTo>
                    <a:pt x="741" y="465"/>
                    <a:pt x="741" y="462"/>
                    <a:pt x="735" y="462"/>
                  </a:cubicBezTo>
                  <a:cubicBezTo>
                    <a:pt x="726" y="459"/>
                    <a:pt x="720" y="459"/>
                    <a:pt x="720" y="462"/>
                  </a:cubicBezTo>
                  <a:cubicBezTo>
                    <a:pt x="717" y="462"/>
                    <a:pt x="714" y="465"/>
                    <a:pt x="714" y="468"/>
                  </a:cubicBezTo>
                  <a:cubicBezTo>
                    <a:pt x="714" y="474"/>
                    <a:pt x="720" y="474"/>
                    <a:pt x="720" y="477"/>
                  </a:cubicBezTo>
                  <a:cubicBezTo>
                    <a:pt x="723" y="480"/>
                    <a:pt x="720" y="480"/>
                    <a:pt x="717" y="483"/>
                  </a:cubicBezTo>
                  <a:cubicBezTo>
                    <a:pt x="717" y="486"/>
                    <a:pt x="714" y="486"/>
                    <a:pt x="714" y="489"/>
                  </a:cubicBezTo>
                  <a:cubicBezTo>
                    <a:pt x="714" y="489"/>
                    <a:pt x="717" y="489"/>
                    <a:pt x="717" y="495"/>
                  </a:cubicBezTo>
                  <a:cubicBezTo>
                    <a:pt x="720" y="498"/>
                    <a:pt x="723" y="498"/>
                    <a:pt x="723" y="504"/>
                  </a:cubicBezTo>
                  <a:cubicBezTo>
                    <a:pt x="723" y="510"/>
                    <a:pt x="720" y="510"/>
                    <a:pt x="717" y="510"/>
                  </a:cubicBezTo>
                  <a:cubicBezTo>
                    <a:pt x="717" y="510"/>
                    <a:pt x="720" y="513"/>
                    <a:pt x="714" y="516"/>
                  </a:cubicBezTo>
                  <a:cubicBezTo>
                    <a:pt x="711" y="522"/>
                    <a:pt x="708" y="525"/>
                    <a:pt x="711" y="528"/>
                  </a:cubicBezTo>
                  <a:cubicBezTo>
                    <a:pt x="714" y="531"/>
                    <a:pt x="723" y="534"/>
                    <a:pt x="729" y="543"/>
                  </a:cubicBezTo>
                  <a:cubicBezTo>
                    <a:pt x="732" y="549"/>
                    <a:pt x="732" y="558"/>
                    <a:pt x="732" y="567"/>
                  </a:cubicBezTo>
                  <a:cubicBezTo>
                    <a:pt x="729" y="573"/>
                    <a:pt x="720" y="576"/>
                    <a:pt x="714" y="582"/>
                  </a:cubicBezTo>
                  <a:cubicBezTo>
                    <a:pt x="708" y="588"/>
                    <a:pt x="702" y="588"/>
                    <a:pt x="699" y="588"/>
                  </a:cubicBezTo>
                  <a:cubicBezTo>
                    <a:pt x="696" y="588"/>
                    <a:pt x="699" y="594"/>
                    <a:pt x="702" y="600"/>
                  </a:cubicBezTo>
                  <a:cubicBezTo>
                    <a:pt x="705" y="603"/>
                    <a:pt x="702" y="606"/>
                    <a:pt x="705" y="609"/>
                  </a:cubicBezTo>
                  <a:cubicBezTo>
                    <a:pt x="708" y="615"/>
                    <a:pt x="705" y="618"/>
                    <a:pt x="708" y="624"/>
                  </a:cubicBezTo>
                  <a:cubicBezTo>
                    <a:pt x="711" y="627"/>
                    <a:pt x="711" y="630"/>
                    <a:pt x="705" y="633"/>
                  </a:cubicBezTo>
                  <a:cubicBezTo>
                    <a:pt x="702" y="636"/>
                    <a:pt x="708" y="636"/>
                    <a:pt x="708" y="639"/>
                  </a:cubicBezTo>
                  <a:cubicBezTo>
                    <a:pt x="708" y="642"/>
                    <a:pt x="705" y="642"/>
                    <a:pt x="702" y="639"/>
                  </a:cubicBezTo>
                  <a:cubicBezTo>
                    <a:pt x="699" y="636"/>
                    <a:pt x="696" y="642"/>
                    <a:pt x="696" y="645"/>
                  </a:cubicBezTo>
                  <a:cubicBezTo>
                    <a:pt x="696" y="648"/>
                    <a:pt x="690" y="642"/>
                    <a:pt x="687" y="642"/>
                  </a:cubicBezTo>
                  <a:cubicBezTo>
                    <a:pt x="684" y="642"/>
                    <a:pt x="687" y="639"/>
                    <a:pt x="684" y="633"/>
                  </a:cubicBezTo>
                  <a:cubicBezTo>
                    <a:pt x="678" y="630"/>
                    <a:pt x="675" y="630"/>
                    <a:pt x="675" y="627"/>
                  </a:cubicBezTo>
                  <a:cubicBezTo>
                    <a:pt x="675" y="624"/>
                    <a:pt x="666" y="621"/>
                    <a:pt x="666" y="615"/>
                  </a:cubicBezTo>
                  <a:cubicBezTo>
                    <a:pt x="666" y="612"/>
                    <a:pt x="669" y="603"/>
                    <a:pt x="666" y="600"/>
                  </a:cubicBezTo>
                  <a:cubicBezTo>
                    <a:pt x="666" y="597"/>
                    <a:pt x="666" y="594"/>
                    <a:pt x="669" y="591"/>
                  </a:cubicBezTo>
                  <a:cubicBezTo>
                    <a:pt x="669" y="588"/>
                    <a:pt x="666" y="582"/>
                    <a:pt x="660" y="582"/>
                  </a:cubicBezTo>
                  <a:cubicBezTo>
                    <a:pt x="657" y="582"/>
                    <a:pt x="651" y="582"/>
                    <a:pt x="645" y="582"/>
                  </a:cubicBezTo>
                  <a:cubicBezTo>
                    <a:pt x="639" y="582"/>
                    <a:pt x="636" y="582"/>
                    <a:pt x="633" y="579"/>
                  </a:cubicBezTo>
                  <a:cubicBezTo>
                    <a:pt x="630" y="579"/>
                    <a:pt x="624" y="573"/>
                    <a:pt x="618" y="573"/>
                  </a:cubicBezTo>
                  <a:cubicBezTo>
                    <a:pt x="609" y="570"/>
                    <a:pt x="606" y="567"/>
                    <a:pt x="606" y="564"/>
                  </a:cubicBezTo>
                  <a:cubicBezTo>
                    <a:pt x="603" y="561"/>
                    <a:pt x="597" y="561"/>
                    <a:pt x="594" y="558"/>
                  </a:cubicBezTo>
                  <a:cubicBezTo>
                    <a:pt x="594" y="555"/>
                    <a:pt x="585" y="555"/>
                    <a:pt x="582" y="555"/>
                  </a:cubicBezTo>
                  <a:cubicBezTo>
                    <a:pt x="579" y="555"/>
                    <a:pt x="573" y="549"/>
                    <a:pt x="567" y="549"/>
                  </a:cubicBezTo>
                  <a:cubicBezTo>
                    <a:pt x="564" y="549"/>
                    <a:pt x="552" y="555"/>
                    <a:pt x="552" y="555"/>
                  </a:cubicBezTo>
                  <a:cubicBezTo>
                    <a:pt x="549" y="555"/>
                    <a:pt x="552" y="549"/>
                    <a:pt x="552" y="549"/>
                  </a:cubicBezTo>
                  <a:cubicBezTo>
                    <a:pt x="555" y="546"/>
                    <a:pt x="549" y="540"/>
                    <a:pt x="546" y="534"/>
                  </a:cubicBezTo>
                  <a:cubicBezTo>
                    <a:pt x="546" y="528"/>
                    <a:pt x="543" y="525"/>
                    <a:pt x="540" y="525"/>
                  </a:cubicBezTo>
                  <a:cubicBezTo>
                    <a:pt x="534" y="525"/>
                    <a:pt x="528" y="522"/>
                    <a:pt x="528" y="522"/>
                  </a:cubicBezTo>
                  <a:cubicBezTo>
                    <a:pt x="525" y="519"/>
                    <a:pt x="525" y="507"/>
                    <a:pt x="525" y="501"/>
                  </a:cubicBezTo>
                  <a:cubicBezTo>
                    <a:pt x="528" y="495"/>
                    <a:pt x="534" y="486"/>
                    <a:pt x="534" y="480"/>
                  </a:cubicBezTo>
                  <a:cubicBezTo>
                    <a:pt x="534" y="477"/>
                    <a:pt x="537" y="477"/>
                    <a:pt x="543" y="474"/>
                  </a:cubicBezTo>
                  <a:cubicBezTo>
                    <a:pt x="546" y="474"/>
                    <a:pt x="543" y="468"/>
                    <a:pt x="546" y="465"/>
                  </a:cubicBezTo>
                  <a:cubicBezTo>
                    <a:pt x="549" y="465"/>
                    <a:pt x="549" y="465"/>
                    <a:pt x="552" y="462"/>
                  </a:cubicBezTo>
                  <a:cubicBezTo>
                    <a:pt x="552" y="459"/>
                    <a:pt x="555" y="459"/>
                    <a:pt x="555" y="459"/>
                  </a:cubicBezTo>
                  <a:cubicBezTo>
                    <a:pt x="552" y="456"/>
                    <a:pt x="552" y="453"/>
                    <a:pt x="558" y="453"/>
                  </a:cubicBezTo>
                  <a:cubicBezTo>
                    <a:pt x="564" y="453"/>
                    <a:pt x="573" y="453"/>
                    <a:pt x="573" y="447"/>
                  </a:cubicBezTo>
                  <a:cubicBezTo>
                    <a:pt x="570" y="441"/>
                    <a:pt x="555" y="444"/>
                    <a:pt x="555" y="441"/>
                  </a:cubicBezTo>
                  <a:cubicBezTo>
                    <a:pt x="555" y="435"/>
                    <a:pt x="537" y="435"/>
                    <a:pt x="537" y="432"/>
                  </a:cubicBezTo>
                  <a:cubicBezTo>
                    <a:pt x="540" y="429"/>
                    <a:pt x="558" y="435"/>
                    <a:pt x="564" y="438"/>
                  </a:cubicBezTo>
                  <a:cubicBezTo>
                    <a:pt x="570" y="441"/>
                    <a:pt x="573" y="438"/>
                    <a:pt x="576" y="438"/>
                  </a:cubicBezTo>
                  <a:cubicBezTo>
                    <a:pt x="582" y="438"/>
                    <a:pt x="579" y="432"/>
                    <a:pt x="579" y="429"/>
                  </a:cubicBezTo>
                  <a:cubicBezTo>
                    <a:pt x="582" y="426"/>
                    <a:pt x="591" y="435"/>
                    <a:pt x="597" y="432"/>
                  </a:cubicBezTo>
                  <a:cubicBezTo>
                    <a:pt x="603" y="432"/>
                    <a:pt x="609" y="420"/>
                    <a:pt x="612" y="417"/>
                  </a:cubicBezTo>
                  <a:cubicBezTo>
                    <a:pt x="618" y="411"/>
                    <a:pt x="612" y="408"/>
                    <a:pt x="603" y="411"/>
                  </a:cubicBezTo>
                  <a:cubicBezTo>
                    <a:pt x="594" y="411"/>
                    <a:pt x="588" y="408"/>
                    <a:pt x="585" y="405"/>
                  </a:cubicBezTo>
                  <a:cubicBezTo>
                    <a:pt x="579" y="399"/>
                    <a:pt x="579" y="396"/>
                    <a:pt x="585" y="396"/>
                  </a:cubicBezTo>
                  <a:cubicBezTo>
                    <a:pt x="591" y="399"/>
                    <a:pt x="603" y="408"/>
                    <a:pt x="609" y="408"/>
                  </a:cubicBezTo>
                  <a:cubicBezTo>
                    <a:pt x="612" y="408"/>
                    <a:pt x="621" y="399"/>
                    <a:pt x="624" y="396"/>
                  </a:cubicBezTo>
                  <a:cubicBezTo>
                    <a:pt x="630" y="393"/>
                    <a:pt x="621" y="393"/>
                    <a:pt x="618" y="390"/>
                  </a:cubicBezTo>
                  <a:cubicBezTo>
                    <a:pt x="615" y="387"/>
                    <a:pt x="624" y="387"/>
                    <a:pt x="627" y="387"/>
                  </a:cubicBezTo>
                  <a:cubicBezTo>
                    <a:pt x="630" y="387"/>
                    <a:pt x="633" y="390"/>
                    <a:pt x="633" y="390"/>
                  </a:cubicBezTo>
                  <a:cubicBezTo>
                    <a:pt x="636" y="393"/>
                    <a:pt x="642" y="390"/>
                    <a:pt x="645" y="390"/>
                  </a:cubicBezTo>
                  <a:cubicBezTo>
                    <a:pt x="651" y="390"/>
                    <a:pt x="645" y="384"/>
                    <a:pt x="639" y="381"/>
                  </a:cubicBezTo>
                  <a:cubicBezTo>
                    <a:pt x="633" y="381"/>
                    <a:pt x="639" y="375"/>
                    <a:pt x="642" y="378"/>
                  </a:cubicBezTo>
                  <a:cubicBezTo>
                    <a:pt x="645" y="381"/>
                    <a:pt x="648" y="381"/>
                    <a:pt x="651" y="387"/>
                  </a:cubicBezTo>
                  <a:cubicBezTo>
                    <a:pt x="654" y="390"/>
                    <a:pt x="654" y="387"/>
                    <a:pt x="660" y="387"/>
                  </a:cubicBezTo>
                  <a:cubicBezTo>
                    <a:pt x="663" y="384"/>
                    <a:pt x="666" y="381"/>
                    <a:pt x="669" y="378"/>
                  </a:cubicBezTo>
                  <a:cubicBezTo>
                    <a:pt x="672" y="375"/>
                    <a:pt x="672" y="378"/>
                    <a:pt x="675" y="375"/>
                  </a:cubicBezTo>
                  <a:cubicBezTo>
                    <a:pt x="678" y="369"/>
                    <a:pt x="675" y="366"/>
                    <a:pt x="672" y="363"/>
                  </a:cubicBezTo>
                  <a:cubicBezTo>
                    <a:pt x="666" y="360"/>
                    <a:pt x="672" y="357"/>
                    <a:pt x="666" y="354"/>
                  </a:cubicBezTo>
                  <a:cubicBezTo>
                    <a:pt x="663" y="351"/>
                    <a:pt x="663" y="348"/>
                    <a:pt x="666" y="348"/>
                  </a:cubicBezTo>
                  <a:cubicBezTo>
                    <a:pt x="672" y="351"/>
                    <a:pt x="675" y="348"/>
                    <a:pt x="678" y="345"/>
                  </a:cubicBezTo>
                  <a:cubicBezTo>
                    <a:pt x="681" y="342"/>
                    <a:pt x="672" y="342"/>
                    <a:pt x="675" y="339"/>
                  </a:cubicBezTo>
                  <a:cubicBezTo>
                    <a:pt x="681" y="336"/>
                    <a:pt x="675" y="333"/>
                    <a:pt x="672" y="333"/>
                  </a:cubicBezTo>
                  <a:cubicBezTo>
                    <a:pt x="666" y="333"/>
                    <a:pt x="663" y="330"/>
                    <a:pt x="663" y="327"/>
                  </a:cubicBezTo>
                  <a:cubicBezTo>
                    <a:pt x="663" y="324"/>
                    <a:pt x="654" y="327"/>
                    <a:pt x="651" y="324"/>
                  </a:cubicBezTo>
                  <a:cubicBezTo>
                    <a:pt x="645" y="321"/>
                    <a:pt x="636" y="321"/>
                    <a:pt x="633" y="321"/>
                  </a:cubicBezTo>
                  <a:cubicBezTo>
                    <a:pt x="630" y="321"/>
                    <a:pt x="630" y="333"/>
                    <a:pt x="633" y="333"/>
                  </a:cubicBezTo>
                  <a:cubicBezTo>
                    <a:pt x="636" y="333"/>
                    <a:pt x="639" y="336"/>
                    <a:pt x="636" y="339"/>
                  </a:cubicBezTo>
                  <a:cubicBezTo>
                    <a:pt x="633" y="339"/>
                    <a:pt x="639" y="345"/>
                    <a:pt x="636" y="342"/>
                  </a:cubicBezTo>
                  <a:cubicBezTo>
                    <a:pt x="633" y="342"/>
                    <a:pt x="630" y="342"/>
                    <a:pt x="627" y="348"/>
                  </a:cubicBezTo>
                  <a:cubicBezTo>
                    <a:pt x="627" y="354"/>
                    <a:pt x="627" y="357"/>
                    <a:pt x="621" y="360"/>
                  </a:cubicBezTo>
                  <a:cubicBezTo>
                    <a:pt x="618" y="363"/>
                    <a:pt x="621" y="351"/>
                    <a:pt x="618" y="354"/>
                  </a:cubicBezTo>
                  <a:cubicBezTo>
                    <a:pt x="612" y="354"/>
                    <a:pt x="612" y="360"/>
                    <a:pt x="615" y="360"/>
                  </a:cubicBezTo>
                  <a:cubicBezTo>
                    <a:pt x="618" y="363"/>
                    <a:pt x="618" y="366"/>
                    <a:pt x="621" y="369"/>
                  </a:cubicBezTo>
                  <a:cubicBezTo>
                    <a:pt x="621" y="372"/>
                    <a:pt x="615" y="369"/>
                    <a:pt x="612" y="375"/>
                  </a:cubicBezTo>
                  <a:cubicBezTo>
                    <a:pt x="609" y="378"/>
                    <a:pt x="609" y="372"/>
                    <a:pt x="606" y="369"/>
                  </a:cubicBezTo>
                  <a:cubicBezTo>
                    <a:pt x="603" y="366"/>
                    <a:pt x="597" y="360"/>
                    <a:pt x="597" y="357"/>
                  </a:cubicBezTo>
                  <a:cubicBezTo>
                    <a:pt x="600" y="354"/>
                    <a:pt x="600" y="354"/>
                    <a:pt x="603" y="351"/>
                  </a:cubicBezTo>
                  <a:cubicBezTo>
                    <a:pt x="606" y="351"/>
                    <a:pt x="603" y="348"/>
                    <a:pt x="603" y="345"/>
                  </a:cubicBezTo>
                  <a:cubicBezTo>
                    <a:pt x="603" y="339"/>
                    <a:pt x="600" y="342"/>
                    <a:pt x="594" y="336"/>
                  </a:cubicBezTo>
                  <a:cubicBezTo>
                    <a:pt x="591" y="333"/>
                    <a:pt x="588" y="333"/>
                    <a:pt x="585" y="333"/>
                  </a:cubicBezTo>
                  <a:cubicBezTo>
                    <a:pt x="582" y="336"/>
                    <a:pt x="585" y="342"/>
                    <a:pt x="582" y="342"/>
                  </a:cubicBezTo>
                  <a:cubicBezTo>
                    <a:pt x="576" y="345"/>
                    <a:pt x="579" y="351"/>
                    <a:pt x="576" y="351"/>
                  </a:cubicBezTo>
                  <a:cubicBezTo>
                    <a:pt x="573" y="351"/>
                    <a:pt x="573" y="339"/>
                    <a:pt x="573" y="339"/>
                  </a:cubicBezTo>
                  <a:cubicBezTo>
                    <a:pt x="570" y="336"/>
                    <a:pt x="570" y="333"/>
                    <a:pt x="573" y="333"/>
                  </a:cubicBezTo>
                  <a:cubicBezTo>
                    <a:pt x="576" y="333"/>
                    <a:pt x="579" y="330"/>
                    <a:pt x="576" y="330"/>
                  </a:cubicBezTo>
                  <a:cubicBezTo>
                    <a:pt x="573" y="330"/>
                    <a:pt x="567" y="324"/>
                    <a:pt x="564" y="324"/>
                  </a:cubicBezTo>
                  <a:cubicBezTo>
                    <a:pt x="564" y="324"/>
                    <a:pt x="558" y="327"/>
                    <a:pt x="555" y="327"/>
                  </a:cubicBezTo>
                  <a:cubicBezTo>
                    <a:pt x="555" y="324"/>
                    <a:pt x="558" y="318"/>
                    <a:pt x="558" y="318"/>
                  </a:cubicBezTo>
                  <a:cubicBezTo>
                    <a:pt x="558" y="315"/>
                    <a:pt x="561" y="318"/>
                    <a:pt x="564" y="315"/>
                  </a:cubicBezTo>
                  <a:cubicBezTo>
                    <a:pt x="567" y="312"/>
                    <a:pt x="555" y="312"/>
                    <a:pt x="555" y="306"/>
                  </a:cubicBezTo>
                  <a:cubicBezTo>
                    <a:pt x="555" y="303"/>
                    <a:pt x="549" y="303"/>
                    <a:pt x="546" y="300"/>
                  </a:cubicBezTo>
                  <a:cubicBezTo>
                    <a:pt x="543" y="300"/>
                    <a:pt x="549" y="294"/>
                    <a:pt x="546" y="291"/>
                  </a:cubicBezTo>
                  <a:cubicBezTo>
                    <a:pt x="546" y="288"/>
                    <a:pt x="537" y="279"/>
                    <a:pt x="531" y="282"/>
                  </a:cubicBezTo>
                  <a:cubicBezTo>
                    <a:pt x="528" y="282"/>
                    <a:pt x="528" y="276"/>
                    <a:pt x="531" y="276"/>
                  </a:cubicBezTo>
                  <a:cubicBezTo>
                    <a:pt x="531" y="276"/>
                    <a:pt x="534" y="276"/>
                    <a:pt x="537" y="270"/>
                  </a:cubicBezTo>
                  <a:cubicBezTo>
                    <a:pt x="543" y="264"/>
                    <a:pt x="543" y="264"/>
                    <a:pt x="540" y="264"/>
                  </a:cubicBezTo>
                  <a:cubicBezTo>
                    <a:pt x="537" y="261"/>
                    <a:pt x="534" y="258"/>
                    <a:pt x="540" y="258"/>
                  </a:cubicBezTo>
                  <a:cubicBezTo>
                    <a:pt x="546" y="258"/>
                    <a:pt x="555" y="264"/>
                    <a:pt x="558" y="261"/>
                  </a:cubicBezTo>
                  <a:cubicBezTo>
                    <a:pt x="561" y="258"/>
                    <a:pt x="570" y="243"/>
                    <a:pt x="573" y="237"/>
                  </a:cubicBezTo>
                  <a:cubicBezTo>
                    <a:pt x="579" y="234"/>
                    <a:pt x="570" y="234"/>
                    <a:pt x="561" y="234"/>
                  </a:cubicBezTo>
                  <a:cubicBezTo>
                    <a:pt x="552" y="234"/>
                    <a:pt x="552" y="231"/>
                    <a:pt x="543" y="228"/>
                  </a:cubicBezTo>
                  <a:cubicBezTo>
                    <a:pt x="537" y="228"/>
                    <a:pt x="522" y="231"/>
                    <a:pt x="519" y="234"/>
                  </a:cubicBezTo>
                  <a:cubicBezTo>
                    <a:pt x="519" y="234"/>
                    <a:pt x="525" y="237"/>
                    <a:pt x="522" y="240"/>
                  </a:cubicBezTo>
                  <a:cubicBezTo>
                    <a:pt x="522" y="243"/>
                    <a:pt x="519" y="237"/>
                    <a:pt x="516" y="240"/>
                  </a:cubicBezTo>
                  <a:cubicBezTo>
                    <a:pt x="513" y="240"/>
                    <a:pt x="516" y="243"/>
                    <a:pt x="516" y="252"/>
                  </a:cubicBezTo>
                  <a:cubicBezTo>
                    <a:pt x="516" y="261"/>
                    <a:pt x="519" y="261"/>
                    <a:pt x="519" y="264"/>
                  </a:cubicBezTo>
                  <a:cubicBezTo>
                    <a:pt x="522" y="267"/>
                    <a:pt x="522" y="273"/>
                    <a:pt x="522" y="279"/>
                  </a:cubicBezTo>
                  <a:cubicBezTo>
                    <a:pt x="522" y="282"/>
                    <a:pt x="516" y="282"/>
                    <a:pt x="516" y="285"/>
                  </a:cubicBezTo>
                  <a:cubicBezTo>
                    <a:pt x="513" y="285"/>
                    <a:pt x="519" y="288"/>
                    <a:pt x="519" y="291"/>
                  </a:cubicBezTo>
                  <a:cubicBezTo>
                    <a:pt x="519" y="294"/>
                    <a:pt x="513" y="288"/>
                    <a:pt x="510" y="291"/>
                  </a:cubicBezTo>
                  <a:cubicBezTo>
                    <a:pt x="507" y="291"/>
                    <a:pt x="504" y="300"/>
                    <a:pt x="507" y="303"/>
                  </a:cubicBezTo>
                  <a:cubicBezTo>
                    <a:pt x="510" y="306"/>
                    <a:pt x="513" y="303"/>
                    <a:pt x="510" y="309"/>
                  </a:cubicBezTo>
                  <a:cubicBezTo>
                    <a:pt x="507" y="312"/>
                    <a:pt x="504" y="315"/>
                    <a:pt x="510" y="321"/>
                  </a:cubicBezTo>
                  <a:cubicBezTo>
                    <a:pt x="516" y="324"/>
                    <a:pt x="528" y="324"/>
                    <a:pt x="534" y="327"/>
                  </a:cubicBezTo>
                  <a:cubicBezTo>
                    <a:pt x="540" y="333"/>
                    <a:pt x="531" y="330"/>
                    <a:pt x="534" y="333"/>
                  </a:cubicBezTo>
                  <a:cubicBezTo>
                    <a:pt x="534" y="339"/>
                    <a:pt x="528" y="339"/>
                    <a:pt x="528" y="342"/>
                  </a:cubicBezTo>
                  <a:cubicBezTo>
                    <a:pt x="528" y="345"/>
                    <a:pt x="531" y="345"/>
                    <a:pt x="534" y="339"/>
                  </a:cubicBezTo>
                  <a:cubicBezTo>
                    <a:pt x="537" y="333"/>
                    <a:pt x="540" y="342"/>
                    <a:pt x="540" y="345"/>
                  </a:cubicBezTo>
                  <a:cubicBezTo>
                    <a:pt x="540" y="351"/>
                    <a:pt x="534" y="348"/>
                    <a:pt x="531" y="351"/>
                  </a:cubicBezTo>
                  <a:cubicBezTo>
                    <a:pt x="528" y="357"/>
                    <a:pt x="525" y="357"/>
                    <a:pt x="522" y="357"/>
                  </a:cubicBezTo>
                  <a:cubicBezTo>
                    <a:pt x="516" y="357"/>
                    <a:pt x="519" y="363"/>
                    <a:pt x="522" y="369"/>
                  </a:cubicBezTo>
                  <a:cubicBezTo>
                    <a:pt x="522" y="372"/>
                    <a:pt x="519" y="372"/>
                    <a:pt x="516" y="372"/>
                  </a:cubicBezTo>
                  <a:cubicBezTo>
                    <a:pt x="510" y="369"/>
                    <a:pt x="507" y="366"/>
                    <a:pt x="510" y="363"/>
                  </a:cubicBezTo>
                  <a:cubicBezTo>
                    <a:pt x="513" y="357"/>
                    <a:pt x="513" y="354"/>
                    <a:pt x="510" y="354"/>
                  </a:cubicBezTo>
                  <a:cubicBezTo>
                    <a:pt x="507" y="354"/>
                    <a:pt x="501" y="354"/>
                    <a:pt x="498" y="351"/>
                  </a:cubicBezTo>
                  <a:cubicBezTo>
                    <a:pt x="495" y="348"/>
                    <a:pt x="498" y="348"/>
                    <a:pt x="507" y="348"/>
                  </a:cubicBezTo>
                  <a:cubicBezTo>
                    <a:pt x="513" y="351"/>
                    <a:pt x="507" y="345"/>
                    <a:pt x="513" y="345"/>
                  </a:cubicBezTo>
                  <a:cubicBezTo>
                    <a:pt x="516" y="345"/>
                    <a:pt x="519" y="348"/>
                    <a:pt x="525" y="342"/>
                  </a:cubicBezTo>
                  <a:cubicBezTo>
                    <a:pt x="528" y="339"/>
                    <a:pt x="522" y="333"/>
                    <a:pt x="519" y="333"/>
                  </a:cubicBezTo>
                  <a:cubicBezTo>
                    <a:pt x="516" y="336"/>
                    <a:pt x="510" y="336"/>
                    <a:pt x="510" y="333"/>
                  </a:cubicBezTo>
                  <a:cubicBezTo>
                    <a:pt x="510" y="330"/>
                    <a:pt x="516" y="333"/>
                    <a:pt x="519" y="330"/>
                  </a:cubicBezTo>
                  <a:cubicBezTo>
                    <a:pt x="522" y="330"/>
                    <a:pt x="516" y="327"/>
                    <a:pt x="513" y="327"/>
                  </a:cubicBezTo>
                  <a:cubicBezTo>
                    <a:pt x="507" y="327"/>
                    <a:pt x="504" y="330"/>
                    <a:pt x="498" y="324"/>
                  </a:cubicBezTo>
                  <a:cubicBezTo>
                    <a:pt x="495" y="321"/>
                    <a:pt x="489" y="318"/>
                    <a:pt x="486" y="327"/>
                  </a:cubicBezTo>
                  <a:cubicBezTo>
                    <a:pt x="486" y="336"/>
                    <a:pt x="477" y="333"/>
                    <a:pt x="474" y="336"/>
                  </a:cubicBezTo>
                  <a:cubicBezTo>
                    <a:pt x="471" y="339"/>
                    <a:pt x="477" y="342"/>
                    <a:pt x="486" y="342"/>
                  </a:cubicBezTo>
                  <a:cubicBezTo>
                    <a:pt x="492" y="342"/>
                    <a:pt x="498" y="348"/>
                    <a:pt x="492" y="348"/>
                  </a:cubicBezTo>
                  <a:cubicBezTo>
                    <a:pt x="489" y="348"/>
                    <a:pt x="492" y="351"/>
                    <a:pt x="489" y="351"/>
                  </a:cubicBezTo>
                  <a:cubicBezTo>
                    <a:pt x="486" y="348"/>
                    <a:pt x="480" y="351"/>
                    <a:pt x="483" y="354"/>
                  </a:cubicBezTo>
                  <a:cubicBezTo>
                    <a:pt x="486" y="357"/>
                    <a:pt x="483" y="357"/>
                    <a:pt x="483" y="360"/>
                  </a:cubicBezTo>
                  <a:cubicBezTo>
                    <a:pt x="483" y="363"/>
                    <a:pt x="477" y="360"/>
                    <a:pt x="471" y="360"/>
                  </a:cubicBezTo>
                  <a:cubicBezTo>
                    <a:pt x="468" y="360"/>
                    <a:pt x="456" y="363"/>
                    <a:pt x="450" y="363"/>
                  </a:cubicBezTo>
                  <a:cubicBezTo>
                    <a:pt x="444" y="366"/>
                    <a:pt x="435" y="363"/>
                    <a:pt x="432" y="360"/>
                  </a:cubicBezTo>
                  <a:cubicBezTo>
                    <a:pt x="429" y="357"/>
                    <a:pt x="426" y="357"/>
                    <a:pt x="420" y="357"/>
                  </a:cubicBezTo>
                  <a:cubicBezTo>
                    <a:pt x="417" y="357"/>
                    <a:pt x="417" y="351"/>
                    <a:pt x="411" y="351"/>
                  </a:cubicBezTo>
                  <a:cubicBezTo>
                    <a:pt x="405" y="351"/>
                    <a:pt x="405" y="345"/>
                    <a:pt x="405" y="342"/>
                  </a:cubicBezTo>
                  <a:cubicBezTo>
                    <a:pt x="405" y="339"/>
                    <a:pt x="390" y="339"/>
                    <a:pt x="387" y="342"/>
                  </a:cubicBezTo>
                  <a:cubicBezTo>
                    <a:pt x="381" y="345"/>
                    <a:pt x="372" y="345"/>
                    <a:pt x="369" y="351"/>
                  </a:cubicBezTo>
                  <a:cubicBezTo>
                    <a:pt x="366" y="357"/>
                    <a:pt x="372" y="354"/>
                    <a:pt x="375" y="354"/>
                  </a:cubicBezTo>
                  <a:cubicBezTo>
                    <a:pt x="378" y="354"/>
                    <a:pt x="378" y="351"/>
                    <a:pt x="384" y="351"/>
                  </a:cubicBezTo>
                  <a:cubicBezTo>
                    <a:pt x="393" y="351"/>
                    <a:pt x="396" y="345"/>
                    <a:pt x="399" y="348"/>
                  </a:cubicBezTo>
                  <a:cubicBezTo>
                    <a:pt x="402" y="351"/>
                    <a:pt x="387" y="357"/>
                    <a:pt x="381" y="357"/>
                  </a:cubicBezTo>
                  <a:cubicBezTo>
                    <a:pt x="375" y="357"/>
                    <a:pt x="378" y="363"/>
                    <a:pt x="384" y="372"/>
                  </a:cubicBezTo>
                  <a:cubicBezTo>
                    <a:pt x="390" y="381"/>
                    <a:pt x="381" y="375"/>
                    <a:pt x="381" y="381"/>
                  </a:cubicBezTo>
                  <a:cubicBezTo>
                    <a:pt x="381" y="384"/>
                    <a:pt x="369" y="378"/>
                    <a:pt x="372" y="378"/>
                  </a:cubicBezTo>
                  <a:cubicBezTo>
                    <a:pt x="378" y="375"/>
                    <a:pt x="375" y="372"/>
                    <a:pt x="372" y="369"/>
                  </a:cubicBezTo>
                  <a:cubicBezTo>
                    <a:pt x="369" y="366"/>
                    <a:pt x="366" y="369"/>
                    <a:pt x="366" y="366"/>
                  </a:cubicBezTo>
                  <a:cubicBezTo>
                    <a:pt x="366" y="363"/>
                    <a:pt x="363" y="366"/>
                    <a:pt x="360" y="363"/>
                  </a:cubicBezTo>
                  <a:cubicBezTo>
                    <a:pt x="354" y="360"/>
                    <a:pt x="354" y="357"/>
                    <a:pt x="348" y="360"/>
                  </a:cubicBezTo>
                  <a:cubicBezTo>
                    <a:pt x="345" y="363"/>
                    <a:pt x="339" y="363"/>
                    <a:pt x="327" y="363"/>
                  </a:cubicBezTo>
                  <a:cubicBezTo>
                    <a:pt x="318" y="366"/>
                    <a:pt x="297" y="366"/>
                    <a:pt x="294" y="363"/>
                  </a:cubicBezTo>
                  <a:cubicBezTo>
                    <a:pt x="291" y="357"/>
                    <a:pt x="303" y="351"/>
                    <a:pt x="309" y="354"/>
                  </a:cubicBezTo>
                  <a:cubicBezTo>
                    <a:pt x="312" y="354"/>
                    <a:pt x="309" y="348"/>
                    <a:pt x="303" y="345"/>
                  </a:cubicBezTo>
                  <a:cubicBezTo>
                    <a:pt x="297" y="339"/>
                    <a:pt x="285" y="336"/>
                    <a:pt x="285" y="339"/>
                  </a:cubicBezTo>
                  <a:cubicBezTo>
                    <a:pt x="285" y="342"/>
                    <a:pt x="279" y="339"/>
                    <a:pt x="270" y="339"/>
                  </a:cubicBezTo>
                  <a:cubicBezTo>
                    <a:pt x="258" y="336"/>
                    <a:pt x="258" y="333"/>
                    <a:pt x="252" y="333"/>
                  </a:cubicBezTo>
                  <a:cubicBezTo>
                    <a:pt x="246" y="333"/>
                    <a:pt x="237" y="330"/>
                    <a:pt x="231" y="327"/>
                  </a:cubicBezTo>
                  <a:cubicBezTo>
                    <a:pt x="222" y="321"/>
                    <a:pt x="207" y="321"/>
                    <a:pt x="204" y="327"/>
                  </a:cubicBezTo>
                  <a:cubicBezTo>
                    <a:pt x="204" y="333"/>
                    <a:pt x="198" y="330"/>
                    <a:pt x="192" y="330"/>
                  </a:cubicBezTo>
                  <a:cubicBezTo>
                    <a:pt x="186" y="330"/>
                    <a:pt x="195" y="324"/>
                    <a:pt x="192" y="324"/>
                  </a:cubicBezTo>
                  <a:cubicBezTo>
                    <a:pt x="189" y="324"/>
                    <a:pt x="192" y="315"/>
                    <a:pt x="189" y="315"/>
                  </a:cubicBezTo>
                  <a:cubicBezTo>
                    <a:pt x="183" y="315"/>
                    <a:pt x="180" y="333"/>
                    <a:pt x="174" y="330"/>
                  </a:cubicBezTo>
                  <a:cubicBezTo>
                    <a:pt x="165" y="330"/>
                    <a:pt x="162" y="312"/>
                    <a:pt x="156" y="309"/>
                  </a:cubicBezTo>
                  <a:cubicBezTo>
                    <a:pt x="150" y="303"/>
                    <a:pt x="144" y="303"/>
                    <a:pt x="150" y="312"/>
                  </a:cubicBezTo>
                  <a:cubicBezTo>
                    <a:pt x="156" y="318"/>
                    <a:pt x="144" y="312"/>
                    <a:pt x="144" y="318"/>
                  </a:cubicBezTo>
                  <a:cubicBezTo>
                    <a:pt x="147" y="321"/>
                    <a:pt x="138" y="327"/>
                    <a:pt x="138" y="324"/>
                  </a:cubicBezTo>
                  <a:cubicBezTo>
                    <a:pt x="138" y="321"/>
                    <a:pt x="132" y="318"/>
                    <a:pt x="126" y="327"/>
                  </a:cubicBezTo>
                  <a:cubicBezTo>
                    <a:pt x="120" y="333"/>
                    <a:pt x="117" y="333"/>
                    <a:pt x="114" y="330"/>
                  </a:cubicBezTo>
                  <a:cubicBezTo>
                    <a:pt x="114" y="327"/>
                    <a:pt x="96" y="336"/>
                    <a:pt x="99" y="339"/>
                  </a:cubicBezTo>
                  <a:cubicBezTo>
                    <a:pt x="99" y="342"/>
                    <a:pt x="96" y="345"/>
                    <a:pt x="90" y="345"/>
                  </a:cubicBezTo>
                  <a:cubicBezTo>
                    <a:pt x="87" y="345"/>
                    <a:pt x="90" y="339"/>
                    <a:pt x="93" y="339"/>
                  </a:cubicBezTo>
                  <a:cubicBezTo>
                    <a:pt x="96" y="336"/>
                    <a:pt x="108" y="327"/>
                    <a:pt x="114" y="327"/>
                  </a:cubicBezTo>
                  <a:cubicBezTo>
                    <a:pt x="120" y="324"/>
                    <a:pt x="132" y="321"/>
                    <a:pt x="132" y="318"/>
                  </a:cubicBezTo>
                  <a:cubicBezTo>
                    <a:pt x="132" y="315"/>
                    <a:pt x="126" y="318"/>
                    <a:pt x="123" y="315"/>
                  </a:cubicBezTo>
                  <a:cubicBezTo>
                    <a:pt x="120" y="315"/>
                    <a:pt x="111" y="321"/>
                    <a:pt x="105" y="324"/>
                  </a:cubicBezTo>
                  <a:cubicBezTo>
                    <a:pt x="99" y="327"/>
                    <a:pt x="90" y="324"/>
                    <a:pt x="93" y="330"/>
                  </a:cubicBezTo>
                  <a:cubicBezTo>
                    <a:pt x="96" y="333"/>
                    <a:pt x="87" y="327"/>
                    <a:pt x="84" y="330"/>
                  </a:cubicBezTo>
                  <a:cubicBezTo>
                    <a:pt x="84" y="333"/>
                    <a:pt x="81" y="330"/>
                    <a:pt x="81" y="330"/>
                  </a:cubicBezTo>
                  <a:cubicBezTo>
                    <a:pt x="84" y="327"/>
                    <a:pt x="75" y="324"/>
                    <a:pt x="75" y="327"/>
                  </a:cubicBezTo>
                  <a:cubicBezTo>
                    <a:pt x="75" y="327"/>
                    <a:pt x="75" y="330"/>
                    <a:pt x="69" y="330"/>
                  </a:cubicBezTo>
                  <a:cubicBezTo>
                    <a:pt x="63" y="330"/>
                    <a:pt x="57" y="336"/>
                    <a:pt x="60" y="339"/>
                  </a:cubicBezTo>
                  <a:cubicBezTo>
                    <a:pt x="66" y="342"/>
                    <a:pt x="66" y="342"/>
                    <a:pt x="66" y="345"/>
                  </a:cubicBezTo>
                  <a:cubicBezTo>
                    <a:pt x="63" y="345"/>
                    <a:pt x="57" y="339"/>
                    <a:pt x="48" y="339"/>
                  </a:cubicBezTo>
                  <a:cubicBezTo>
                    <a:pt x="39" y="342"/>
                    <a:pt x="21" y="330"/>
                    <a:pt x="21" y="327"/>
                  </a:cubicBezTo>
                  <a:cubicBezTo>
                    <a:pt x="21" y="324"/>
                    <a:pt x="9" y="327"/>
                    <a:pt x="0" y="327"/>
                  </a:cubicBezTo>
                  <a:cubicBezTo>
                    <a:pt x="0" y="498"/>
                    <a:pt x="0" y="498"/>
                    <a:pt x="0" y="498"/>
                  </a:cubicBezTo>
                  <a:cubicBezTo>
                    <a:pt x="6" y="501"/>
                    <a:pt x="6" y="501"/>
                    <a:pt x="6" y="501"/>
                  </a:cubicBezTo>
                  <a:cubicBezTo>
                    <a:pt x="9" y="498"/>
                    <a:pt x="12" y="501"/>
                    <a:pt x="18" y="498"/>
                  </a:cubicBezTo>
                  <a:cubicBezTo>
                    <a:pt x="24" y="495"/>
                    <a:pt x="24" y="501"/>
                    <a:pt x="24" y="504"/>
                  </a:cubicBezTo>
                  <a:cubicBezTo>
                    <a:pt x="24" y="507"/>
                    <a:pt x="33" y="510"/>
                    <a:pt x="36" y="516"/>
                  </a:cubicBezTo>
                  <a:cubicBezTo>
                    <a:pt x="39" y="519"/>
                    <a:pt x="42" y="522"/>
                    <a:pt x="45" y="522"/>
                  </a:cubicBezTo>
                  <a:cubicBezTo>
                    <a:pt x="48" y="519"/>
                    <a:pt x="54" y="516"/>
                    <a:pt x="54" y="513"/>
                  </a:cubicBezTo>
                  <a:cubicBezTo>
                    <a:pt x="54" y="507"/>
                    <a:pt x="72" y="507"/>
                    <a:pt x="72" y="513"/>
                  </a:cubicBezTo>
                  <a:cubicBezTo>
                    <a:pt x="72" y="519"/>
                    <a:pt x="87" y="525"/>
                    <a:pt x="96" y="540"/>
                  </a:cubicBezTo>
                  <a:cubicBezTo>
                    <a:pt x="105" y="555"/>
                    <a:pt x="102" y="561"/>
                    <a:pt x="114" y="564"/>
                  </a:cubicBezTo>
                  <a:cubicBezTo>
                    <a:pt x="129" y="570"/>
                    <a:pt x="126" y="573"/>
                    <a:pt x="126" y="576"/>
                  </a:cubicBezTo>
                  <a:cubicBezTo>
                    <a:pt x="123" y="582"/>
                    <a:pt x="132" y="582"/>
                    <a:pt x="129" y="588"/>
                  </a:cubicBezTo>
                  <a:cubicBezTo>
                    <a:pt x="126" y="588"/>
                    <a:pt x="123" y="591"/>
                    <a:pt x="120" y="591"/>
                  </a:cubicBezTo>
                  <a:cubicBezTo>
                    <a:pt x="120" y="594"/>
                    <a:pt x="123" y="597"/>
                    <a:pt x="126" y="597"/>
                  </a:cubicBezTo>
                  <a:cubicBezTo>
                    <a:pt x="129" y="600"/>
                    <a:pt x="120" y="600"/>
                    <a:pt x="123" y="603"/>
                  </a:cubicBezTo>
                  <a:cubicBezTo>
                    <a:pt x="126" y="606"/>
                    <a:pt x="123" y="609"/>
                    <a:pt x="123" y="612"/>
                  </a:cubicBezTo>
                  <a:cubicBezTo>
                    <a:pt x="126" y="615"/>
                    <a:pt x="132" y="612"/>
                    <a:pt x="135" y="612"/>
                  </a:cubicBezTo>
                  <a:cubicBezTo>
                    <a:pt x="138" y="609"/>
                    <a:pt x="138" y="615"/>
                    <a:pt x="135" y="618"/>
                  </a:cubicBezTo>
                  <a:cubicBezTo>
                    <a:pt x="135" y="621"/>
                    <a:pt x="138" y="624"/>
                    <a:pt x="141" y="621"/>
                  </a:cubicBezTo>
                  <a:cubicBezTo>
                    <a:pt x="144" y="618"/>
                    <a:pt x="147" y="627"/>
                    <a:pt x="150" y="627"/>
                  </a:cubicBezTo>
                  <a:cubicBezTo>
                    <a:pt x="153" y="627"/>
                    <a:pt x="156" y="633"/>
                    <a:pt x="150" y="633"/>
                  </a:cubicBezTo>
                  <a:cubicBezTo>
                    <a:pt x="147" y="633"/>
                    <a:pt x="147" y="639"/>
                    <a:pt x="150" y="639"/>
                  </a:cubicBezTo>
                  <a:cubicBezTo>
                    <a:pt x="153" y="639"/>
                    <a:pt x="153" y="642"/>
                    <a:pt x="153" y="645"/>
                  </a:cubicBezTo>
                  <a:cubicBezTo>
                    <a:pt x="153" y="648"/>
                    <a:pt x="162" y="651"/>
                    <a:pt x="165" y="648"/>
                  </a:cubicBezTo>
                  <a:cubicBezTo>
                    <a:pt x="168" y="648"/>
                    <a:pt x="171" y="651"/>
                    <a:pt x="174" y="654"/>
                  </a:cubicBezTo>
                  <a:cubicBezTo>
                    <a:pt x="174" y="657"/>
                    <a:pt x="180" y="660"/>
                    <a:pt x="183" y="657"/>
                  </a:cubicBezTo>
                  <a:cubicBezTo>
                    <a:pt x="186" y="654"/>
                    <a:pt x="186" y="660"/>
                    <a:pt x="186" y="663"/>
                  </a:cubicBezTo>
                  <a:cubicBezTo>
                    <a:pt x="186" y="666"/>
                    <a:pt x="192" y="666"/>
                    <a:pt x="195" y="666"/>
                  </a:cubicBezTo>
                  <a:cubicBezTo>
                    <a:pt x="198" y="666"/>
                    <a:pt x="201" y="669"/>
                    <a:pt x="201" y="669"/>
                  </a:cubicBezTo>
                  <a:cubicBezTo>
                    <a:pt x="207" y="666"/>
                    <a:pt x="207" y="675"/>
                    <a:pt x="210" y="678"/>
                  </a:cubicBezTo>
                  <a:cubicBezTo>
                    <a:pt x="522" y="678"/>
                    <a:pt x="522" y="678"/>
                    <a:pt x="522" y="678"/>
                  </a:cubicBezTo>
                  <a:cubicBezTo>
                    <a:pt x="522" y="678"/>
                    <a:pt x="522" y="669"/>
                    <a:pt x="525" y="672"/>
                  </a:cubicBezTo>
                  <a:cubicBezTo>
                    <a:pt x="528" y="675"/>
                    <a:pt x="525" y="678"/>
                    <a:pt x="531" y="681"/>
                  </a:cubicBezTo>
                  <a:cubicBezTo>
                    <a:pt x="534" y="681"/>
                    <a:pt x="537" y="684"/>
                    <a:pt x="540" y="684"/>
                  </a:cubicBezTo>
                  <a:cubicBezTo>
                    <a:pt x="543" y="684"/>
                    <a:pt x="546" y="681"/>
                    <a:pt x="549" y="684"/>
                  </a:cubicBezTo>
                  <a:cubicBezTo>
                    <a:pt x="555" y="690"/>
                    <a:pt x="558" y="684"/>
                    <a:pt x="558" y="687"/>
                  </a:cubicBezTo>
                  <a:cubicBezTo>
                    <a:pt x="561" y="690"/>
                    <a:pt x="567" y="693"/>
                    <a:pt x="570" y="690"/>
                  </a:cubicBezTo>
                  <a:cubicBezTo>
                    <a:pt x="570" y="687"/>
                    <a:pt x="582" y="690"/>
                    <a:pt x="585" y="693"/>
                  </a:cubicBezTo>
                  <a:cubicBezTo>
                    <a:pt x="591" y="687"/>
                    <a:pt x="594" y="678"/>
                    <a:pt x="600" y="678"/>
                  </a:cubicBezTo>
                  <a:cubicBezTo>
                    <a:pt x="606" y="678"/>
                    <a:pt x="624" y="681"/>
                    <a:pt x="624" y="687"/>
                  </a:cubicBezTo>
                  <a:cubicBezTo>
                    <a:pt x="624" y="696"/>
                    <a:pt x="636" y="690"/>
                    <a:pt x="636" y="696"/>
                  </a:cubicBezTo>
                  <a:cubicBezTo>
                    <a:pt x="636" y="702"/>
                    <a:pt x="642" y="708"/>
                    <a:pt x="642" y="711"/>
                  </a:cubicBezTo>
                  <a:cubicBezTo>
                    <a:pt x="645" y="714"/>
                    <a:pt x="648" y="714"/>
                    <a:pt x="648" y="717"/>
                  </a:cubicBezTo>
                  <a:cubicBezTo>
                    <a:pt x="651" y="717"/>
                    <a:pt x="660" y="717"/>
                    <a:pt x="666" y="720"/>
                  </a:cubicBezTo>
                  <a:cubicBezTo>
                    <a:pt x="672" y="723"/>
                    <a:pt x="684" y="717"/>
                    <a:pt x="687" y="726"/>
                  </a:cubicBezTo>
                  <a:cubicBezTo>
                    <a:pt x="690" y="732"/>
                    <a:pt x="699" y="738"/>
                    <a:pt x="690" y="741"/>
                  </a:cubicBezTo>
                  <a:cubicBezTo>
                    <a:pt x="684" y="741"/>
                    <a:pt x="675" y="732"/>
                    <a:pt x="675" y="738"/>
                  </a:cubicBezTo>
                  <a:cubicBezTo>
                    <a:pt x="678" y="741"/>
                    <a:pt x="672" y="738"/>
                    <a:pt x="672" y="747"/>
                  </a:cubicBezTo>
                  <a:cubicBezTo>
                    <a:pt x="672" y="753"/>
                    <a:pt x="669" y="765"/>
                    <a:pt x="666" y="765"/>
                  </a:cubicBezTo>
                  <a:cubicBezTo>
                    <a:pt x="666" y="765"/>
                    <a:pt x="666" y="765"/>
                    <a:pt x="666" y="765"/>
                  </a:cubicBezTo>
                  <a:cubicBezTo>
                    <a:pt x="663" y="768"/>
                    <a:pt x="663" y="771"/>
                    <a:pt x="666" y="774"/>
                  </a:cubicBezTo>
                  <a:cubicBezTo>
                    <a:pt x="669" y="771"/>
                    <a:pt x="675" y="765"/>
                    <a:pt x="681" y="765"/>
                  </a:cubicBezTo>
                  <a:cubicBezTo>
                    <a:pt x="687" y="765"/>
                    <a:pt x="690" y="771"/>
                    <a:pt x="696" y="768"/>
                  </a:cubicBezTo>
                  <a:cubicBezTo>
                    <a:pt x="699" y="765"/>
                    <a:pt x="702" y="762"/>
                    <a:pt x="702" y="765"/>
                  </a:cubicBezTo>
                  <a:cubicBezTo>
                    <a:pt x="702" y="765"/>
                    <a:pt x="702" y="765"/>
                    <a:pt x="702" y="765"/>
                  </a:cubicBezTo>
                  <a:cubicBezTo>
                    <a:pt x="705" y="765"/>
                    <a:pt x="705" y="765"/>
                    <a:pt x="705" y="762"/>
                  </a:cubicBezTo>
                  <a:cubicBezTo>
                    <a:pt x="705" y="759"/>
                    <a:pt x="705" y="759"/>
                    <a:pt x="705" y="759"/>
                  </a:cubicBezTo>
                  <a:cubicBezTo>
                    <a:pt x="699" y="759"/>
                    <a:pt x="699" y="759"/>
                    <a:pt x="696" y="756"/>
                  </a:cubicBezTo>
                  <a:cubicBezTo>
                    <a:pt x="693" y="750"/>
                    <a:pt x="711" y="747"/>
                    <a:pt x="720" y="747"/>
                  </a:cubicBezTo>
                  <a:cubicBezTo>
                    <a:pt x="726" y="747"/>
                    <a:pt x="732" y="744"/>
                    <a:pt x="735" y="747"/>
                  </a:cubicBezTo>
                  <a:cubicBezTo>
                    <a:pt x="741" y="741"/>
                    <a:pt x="747" y="735"/>
                    <a:pt x="750" y="735"/>
                  </a:cubicBezTo>
                  <a:cubicBezTo>
                    <a:pt x="753" y="735"/>
                    <a:pt x="789" y="735"/>
                    <a:pt x="789" y="735"/>
                  </a:cubicBezTo>
                  <a:cubicBezTo>
                    <a:pt x="789" y="735"/>
                    <a:pt x="801" y="726"/>
                    <a:pt x="804" y="720"/>
                  </a:cubicBezTo>
                  <a:cubicBezTo>
                    <a:pt x="804" y="714"/>
                    <a:pt x="813" y="696"/>
                    <a:pt x="816" y="699"/>
                  </a:cubicBezTo>
                  <a:cubicBezTo>
                    <a:pt x="822" y="702"/>
                    <a:pt x="831" y="702"/>
                    <a:pt x="831" y="705"/>
                  </a:cubicBezTo>
                  <a:cubicBezTo>
                    <a:pt x="831" y="708"/>
                    <a:pt x="828" y="717"/>
                    <a:pt x="843" y="735"/>
                  </a:cubicBezTo>
                  <a:cubicBezTo>
                    <a:pt x="846" y="732"/>
                    <a:pt x="852" y="729"/>
                    <a:pt x="852" y="729"/>
                  </a:cubicBezTo>
                  <a:cubicBezTo>
                    <a:pt x="858" y="732"/>
                    <a:pt x="864" y="726"/>
                    <a:pt x="867" y="720"/>
                  </a:cubicBezTo>
                  <a:cubicBezTo>
                    <a:pt x="870" y="717"/>
                    <a:pt x="870" y="723"/>
                    <a:pt x="867" y="726"/>
                  </a:cubicBezTo>
                  <a:cubicBezTo>
                    <a:pt x="864" y="726"/>
                    <a:pt x="870" y="729"/>
                    <a:pt x="879" y="729"/>
                  </a:cubicBezTo>
                  <a:cubicBezTo>
                    <a:pt x="885" y="729"/>
                    <a:pt x="873" y="732"/>
                    <a:pt x="870" y="732"/>
                  </a:cubicBezTo>
                  <a:cubicBezTo>
                    <a:pt x="864" y="732"/>
                    <a:pt x="861" y="732"/>
                    <a:pt x="855" y="738"/>
                  </a:cubicBezTo>
                  <a:cubicBezTo>
                    <a:pt x="849" y="747"/>
                    <a:pt x="849" y="747"/>
                    <a:pt x="852" y="753"/>
                  </a:cubicBezTo>
                  <a:cubicBezTo>
                    <a:pt x="858" y="756"/>
                    <a:pt x="864" y="753"/>
                    <a:pt x="867" y="750"/>
                  </a:cubicBezTo>
                  <a:cubicBezTo>
                    <a:pt x="873" y="744"/>
                    <a:pt x="873" y="741"/>
                    <a:pt x="879" y="741"/>
                  </a:cubicBezTo>
                  <a:cubicBezTo>
                    <a:pt x="885" y="741"/>
                    <a:pt x="900" y="735"/>
                    <a:pt x="906" y="732"/>
                  </a:cubicBezTo>
                  <a:cubicBezTo>
                    <a:pt x="912" y="732"/>
                    <a:pt x="906" y="729"/>
                    <a:pt x="906" y="726"/>
                  </a:cubicBezTo>
                  <a:cubicBezTo>
                    <a:pt x="906" y="723"/>
                    <a:pt x="918" y="723"/>
                    <a:pt x="921" y="723"/>
                  </a:cubicBezTo>
                  <a:cubicBezTo>
                    <a:pt x="927" y="720"/>
                    <a:pt x="921" y="717"/>
                    <a:pt x="918" y="717"/>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8" name="Freeform 893"/>
            <p:cNvSpPr>
              <a:spLocks noEditPoints="1"/>
            </p:cNvSpPr>
            <p:nvPr userDrawn="1"/>
          </p:nvSpPr>
          <p:spPr bwMode="auto">
            <a:xfrm>
              <a:off x="3316" y="-1970"/>
              <a:ext cx="225" cy="159"/>
            </a:xfrm>
            <a:custGeom>
              <a:avLst/>
              <a:gdLst>
                <a:gd name="T0" fmla="*/ 144 w 144"/>
                <a:gd name="T1" fmla="*/ 18 h 102"/>
                <a:gd name="T2" fmla="*/ 132 w 144"/>
                <a:gd name="T3" fmla="*/ 18 h 102"/>
                <a:gd name="T4" fmla="*/ 117 w 144"/>
                <a:gd name="T5" fmla="*/ 15 h 102"/>
                <a:gd name="T6" fmla="*/ 114 w 144"/>
                <a:gd name="T7" fmla="*/ 12 h 102"/>
                <a:gd name="T8" fmla="*/ 105 w 144"/>
                <a:gd name="T9" fmla="*/ 12 h 102"/>
                <a:gd name="T10" fmla="*/ 93 w 144"/>
                <a:gd name="T11" fmla="*/ 9 h 102"/>
                <a:gd name="T12" fmla="*/ 87 w 144"/>
                <a:gd name="T13" fmla="*/ 6 h 102"/>
                <a:gd name="T14" fmla="*/ 66 w 144"/>
                <a:gd name="T15" fmla="*/ 3 h 102"/>
                <a:gd name="T16" fmla="*/ 30 w 144"/>
                <a:gd name="T17" fmla="*/ 3 h 102"/>
                <a:gd name="T18" fmla="*/ 15 w 144"/>
                <a:gd name="T19" fmla="*/ 0 h 102"/>
                <a:gd name="T20" fmla="*/ 6 w 144"/>
                <a:gd name="T21" fmla="*/ 6 h 102"/>
                <a:gd name="T22" fmla="*/ 6 w 144"/>
                <a:gd name="T23" fmla="*/ 12 h 102"/>
                <a:gd name="T24" fmla="*/ 6 w 144"/>
                <a:gd name="T25" fmla="*/ 24 h 102"/>
                <a:gd name="T26" fmla="*/ 9 w 144"/>
                <a:gd name="T27" fmla="*/ 21 h 102"/>
                <a:gd name="T28" fmla="*/ 15 w 144"/>
                <a:gd name="T29" fmla="*/ 24 h 102"/>
                <a:gd name="T30" fmla="*/ 21 w 144"/>
                <a:gd name="T31" fmla="*/ 24 h 102"/>
                <a:gd name="T32" fmla="*/ 24 w 144"/>
                <a:gd name="T33" fmla="*/ 24 h 102"/>
                <a:gd name="T34" fmla="*/ 33 w 144"/>
                <a:gd name="T35" fmla="*/ 27 h 102"/>
                <a:gd name="T36" fmla="*/ 36 w 144"/>
                <a:gd name="T37" fmla="*/ 30 h 102"/>
                <a:gd name="T38" fmla="*/ 27 w 144"/>
                <a:gd name="T39" fmla="*/ 36 h 102"/>
                <a:gd name="T40" fmla="*/ 27 w 144"/>
                <a:gd name="T41" fmla="*/ 48 h 102"/>
                <a:gd name="T42" fmla="*/ 27 w 144"/>
                <a:gd name="T43" fmla="*/ 54 h 102"/>
                <a:gd name="T44" fmla="*/ 24 w 144"/>
                <a:gd name="T45" fmla="*/ 60 h 102"/>
                <a:gd name="T46" fmla="*/ 27 w 144"/>
                <a:gd name="T47" fmla="*/ 66 h 102"/>
                <a:gd name="T48" fmla="*/ 24 w 144"/>
                <a:gd name="T49" fmla="*/ 72 h 102"/>
                <a:gd name="T50" fmla="*/ 27 w 144"/>
                <a:gd name="T51" fmla="*/ 78 h 102"/>
                <a:gd name="T52" fmla="*/ 21 w 144"/>
                <a:gd name="T53" fmla="*/ 84 h 102"/>
                <a:gd name="T54" fmla="*/ 24 w 144"/>
                <a:gd name="T55" fmla="*/ 87 h 102"/>
                <a:gd name="T56" fmla="*/ 30 w 144"/>
                <a:gd name="T57" fmla="*/ 87 h 102"/>
                <a:gd name="T58" fmla="*/ 42 w 144"/>
                <a:gd name="T59" fmla="*/ 102 h 102"/>
                <a:gd name="T60" fmla="*/ 45 w 144"/>
                <a:gd name="T61" fmla="*/ 99 h 102"/>
                <a:gd name="T62" fmla="*/ 51 w 144"/>
                <a:gd name="T63" fmla="*/ 96 h 102"/>
                <a:gd name="T64" fmla="*/ 63 w 144"/>
                <a:gd name="T65" fmla="*/ 93 h 102"/>
                <a:gd name="T66" fmla="*/ 78 w 144"/>
                <a:gd name="T67" fmla="*/ 93 h 102"/>
                <a:gd name="T68" fmla="*/ 84 w 144"/>
                <a:gd name="T69" fmla="*/ 90 h 102"/>
                <a:gd name="T70" fmla="*/ 93 w 144"/>
                <a:gd name="T71" fmla="*/ 84 h 102"/>
                <a:gd name="T72" fmla="*/ 99 w 144"/>
                <a:gd name="T73" fmla="*/ 75 h 102"/>
                <a:gd name="T74" fmla="*/ 105 w 144"/>
                <a:gd name="T75" fmla="*/ 66 h 102"/>
                <a:gd name="T76" fmla="*/ 108 w 144"/>
                <a:gd name="T77" fmla="*/ 51 h 102"/>
                <a:gd name="T78" fmla="*/ 117 w 144"/>
                <a:gd name="T79" fmla="*/ 39 h 102"/>
                <a:gd name="T80" fmla="*/ 126 w 144"/>
                <a:gd name="T81" fmla="*/ 33 h 102"/>
                <a:gd name="T82" fmla="*/ 138 w 144"/>
                <a:gd name="T83" fmla="*/ 27 h 102"/>
                <a:gd name="T84" fmla="*/ 144 w 144"/>
                <a:gd name="T85" fmla="*/ 18 h 102"/>
                <a:gd name="T86" fmla="*/ 144 w 144"/>
                <a:gd name="T87" fmla="*/ 54 h 102"/>
                <a:gd name="T88" fmla="*/ 135 w 144"/>
                <a:gd name="T89" fmla="*/ 57 h 102"/>
                <a:gd name="T90" fmla="*/ 144 w 144"/>
                <a:gd name="T91"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02">
                  <a:moveTo>
                    <a:pt x="144" y="18"/>
                  </a:moveTo>
                  <a:cubicBezTo>
                    <a:pt x="138" y="18"/>
                    <a:pt x="135" y="18"/>
                    <a:pt x="132" y="18"/>
                  </a:cubicBezTo>
                  <a:cubicBezTo>
                    <a:pt x="129" y="15"/>
                    <a:pt x="120" y="15"/>
                    <a:pt x="117" y="15"/>
                  </a:cubicBezTo>
                  <a:cubicBezTo>
                    <a:pt x="117" y="12"/>
                    <a:pt x="114" y="9"/>
                    <a:pt x="114" y="12"/>
                  </a:cubicBezTo>
                  <a:cubicBezTo>
                    <a:pt x="114" y="15"/>
                    <a:pt x="108" y="15"/>
                    <a:pt x="105" y="12"/>
                  </a:cubicBezTo>
                  <a:cubicBezTo>
                    <a:pt x="102" y="12"/>
                    <a:pt x="96" y="9"/>
                    <a:pt x="93" y="9"/>
                  </a:cubicBezTo>
                  <a:cubicBezTo>
                    <a:pt x="93" y="6"/>
                    <a:pt x="90" y="6"/>
                    <a:pt x="87" y="6"/>
                  </a:cubicBezTo>
                  <a:cubicBezTo>
                    <a:pt x="84" y="6"/>
                    <a:pt x="75" y="3"/>
                    <a:pt x="66" y="3"/>
                  </a:cubicBezTo>
                  <a:cubicBezTo>
                    <a:pt x="60" y="3"/>
                    <a:pt x="39" y="3"/>
                    <a:pt x="30" y="3"/>
                  </a:cubicBezTo>
                  <a:cubicBezTo>
                    <a:pt x="21" y="3"/>
                    <a:pt x="21" y="0"/>
                    <a:pt x="15" y="0"/>
                  </a:cubicBezTo>
                  <a:cubicBezTo>
                    <a:pt x="12" y="0"/>
                    <a:pt x="15" y="3"/>
                    <a:pt x="6" y="6"/>
                  </a:cubicBezTo>
                  <a:cubicBezTo>
                    <a:pt x="0" y="6"/>
                    <a:pt x="0" y="9"/>
                    <a:pt x="6" y="12"/>
                  </a:cubicBezTo>
                  <a:cubicBezTo>
                    <a:pt x="6" y="15"/>
                    <a:pt x="6" y="18"/>
                    <a:pt x="6" y="24"/>
                  </a:cubicBezTo>
                  <a:cubicBezTo>
                    <a:pt x="9" y="24"/>
                    <a:pt x="9" y="24"/>
                    <a:pt x="9" y="21"/>
                  </a:cubicBezTo>
                  <a:cubicBezTo>
                    <a:pt x="12" y="21"/>
                    <a:pt x="15" y="21"/>
                    <a:pt x="15" y="24"/>
                  </a:cubicBezTo>
                  <a:cubicBezTo>
                    <a:pt x="15" y="24"/>
                    <a:pt x="18" y="24"/>
                    <a:pt x="21" y="24"/>
                  </a:cubicBezTo>
                  <a:cubicBezTo>
                    <a:pt x="24" y="24"/>
                    <a:pt x="21" y="27"/>
                    <a:pt x="24" y="24"/>
                  </a:cubicBezTo>
                  <a:cubicBezTo>
                    <a:pt x="27" y="21"/>
                    <a:pt x="33" y="24"/>
                    <a:pt x="33" y="27"/>
                  </a:cubicBezTo>
                  <a:cubicBezTo>
                    <a:pt x="33" y="27"/>
                    <a:pt x="39" y="27"/>
                    <a:pt x="36" y="30"/>
                  </a:cubicBezTo>
                  <a:cubicBezTo>
                    <a:pt x="30" y="33"/>
                    <a:pt x="27" y="33"/>
                    <a:pt x="27" y="36"/>
                  </a:cubicBezTo>
                  <a:cubicBezTo>
                    <a:pt x="27" y="39"/>
                    <a:pt x="30" y="45"/>
                    <a:pt x="27" y="48"/>
                  </a:cubicBezTo>
                  <a:cubicBezTo>
                    <a:pt x="24" y="51"/>
                    <a:pt x="30" y="54"/>
                    <a:pt x="27" y="54"/>
                  </a:cubicBezTo>
                  <a:cubicBezTo>
                    <a:pt x="24" y="54"/>
                    <a:pt x="21" y="57"/>
                    <a:pt x="24" y="60"/>
                  </a:cubicBezTo>
                  <a:cubicBezTo>
                    <a:pt x="27" y="63"/>
                    <a:pt x="30" y="66"/>
                    <a:pt x="27" y="66"/>
                  </a:cubicBezTo>
                  <a:cubicBezTo>
                    <a:pt x="24" y="66"/>
                    <a:pt x="24" y="69"/>
                    <a:pt x="24" y="72"/>
                  </a:cubicBezTo>
                  <a:cubicBezTo>
                    <a:pt x="24" y="72"/>
                    <a:pt x="30" y="75"/>
                    <a:pt x="27" y="78"/>
                  </a:cubicBezTo>
                  <a:cubicBezTo>
                    <a:pt x="21" y="78"/>
                    <a:pt x="21" y="81"/>
                    <a:pt x="21" y="84"/>
                  </a:cubicBezTo>
                  <a:cubicBezTo>
                    <a:pt x="21" y="84"/>
                    <a:pt x="21" y="87"/>
                    <a:pt x="24" y="87"/>
                  </a:cubicBezTo>
                  <a:cubicBezTo>
                    <a:pt x="24" y="87"/>
                    <a:pt x="27" y="87"/>
                    <a:pt x="30" y="87"/>
                  </a:cubicBezTo>
                  <a:cubicBezTo>
                    <a:pt x="33" y="90"/>
                    <a:pt x="36" y="102"/>
                    <a:pt x="42" y="102"/>
                  </a:cubicBezTo>
                  <a:cubicBezTo>
                    <a:pt x="45" y="102"/>
                    <a:pt x="45" y="99"/>
                    <a:pt x="45" y="99"/>
                  </a:cubicBezTo>
                  <a:cubicBezTo>
                    <a:pt x="48" y="96"/>
                    <a:pt x="51" y="96"/>
                    <a:pt x="51" y="96"/>
                  </a:cubicBezTo>
                  <a:cubicBezTo>
                    <a:pt x="54" y="96"/>
                    <a:pt x="57" y="93"/>
                    <a:pt x="63" y="93"/>
                  </a:cubicBezTo>
                  <a:cubicBezTo>
                    <a:pt x="69" y="93"/>
                    <a:pt x="72" y="93"/>
                    <a:pt x="78" y="93"/>
                  </a:cubicBezTo>
                  <a:cubicBezTo>
                    <a:pt x="81" y="93"/>
                    <a:pt x="84" y="93"/>
                    <a:pt x="84" y="90"/>
                  </a:cubicBezTo>
                  <a:cubicBezTo>
                    <a:pt x="87" y="87"/>
                    <a:pt x="90" y="84"/>
                    <a:pt x="93" y="84"/>
                  </a:cubicBezTo>
                  <a:cubicBezTo>
                    <a:pt x="99" y="81"/>
                    <a:pt x="99" y="78"/>
                    <a:pt x="99" y="75"/>
                  </a:cubicBezTo>
                  <a:cubicBezTo>
                    <a:pt x="99" y="72"/>
                    <a:pt x="105" y="69"/>
                    <a:pt x="105" y="66"/>
                  </a:cubicBezTo>
                  <a:cubicBezTo>
                    <a:pt x="108" y="63"/>
                    <a:pt x="102" y="57"/>
                    <a:pt x="108" y="51"/>
                  </a:cubicBezTo>
                  <a:cubicBezTo>
                    <a:pt x="111" y="42"/>
                    <a:pt x="117" y="42"/>
                    <a:pt x="117" y="39"/>
                  </a:cubicBezTo>
                  <a:cubicBezTo>
                    <a:pt x="117" y="36"/>
                    <a:pt x="120" y="33"/>
                    <a:pt x="126" y="33"/>
                  </a:cubicBezTo>
                  <a:cubicBezTo>
                    <a:pt x="132" y="33"/>
                    <a:pt x="135" y="30"/>
                    <a:pt x="138" y="27"/>
                  </a:cubicBezTo>
                  <a:cubicBezTo>
                    <a:pt x="144" y="24"/>
                    <a:pt x="144" y="21"/>
                    <a:pt x="144" y="18"/>
                  </a:cubicBezTo>
                  <a:close/>
                  <a:moveTo>
                    <a:pt x="144" y="54"/>
                  </a:moveTo>
                  <a:cubicBezTo>
                    <a:pt x="144" y="48"/>
                    <a:pt x="132" y="54"/>
                    <a:pt x="135" y="57"/>
                  </a:cubicBezTo>
                  <a:cubicBezTo>
                    <a:pt x="138" y="60"/>
                    <a:pt x="144" y="60"/>
                    <a:pt x="144" y="5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99" name="Freeform 894"/>
            <p:cNvSpPr>
              <a:spLocks noEditPoints="1"/>
            </p:cNvSpPr>
            <p:nvPr userDrawn="1"/>
          </p:nvSpPr>
          <p:spPr bwMode="auto">
            <a:xfrm>
              <a:off x="3316" y="-1970"/>
              <a:ext cx="225" cy="159"/>
            </a:xfrm>
            <a:custGeom>
              <a:avLst/>
              <a:gdLst>
                <a:gd name="T0" fmla="*/ 144 w 144"/>
                <a:gd name="T1" fmla="*/ 18 h 102"/>
                <a:gd name="T2" fmla="*/ 132 w 144"/>
                <a:gd name="T3" fmla="*/ 18 h 102"/>
                <a:gd name="T4" fmla="*/ 117 w 144"/>
                <a:gd name="T5" fmla="*/ 15 h 102"/>
                <a:gd name="T6" fmla="*/ 114 w 144"/>
                <a:gd name="T7" fmla="*/ 12 h 102"/>
                <a:gd name="T8" fmla="*/ 105 w 144"/>
                <a:gd name="T9" fmla="*/ 12 h 102"/>
                <a:gd name="T10" fmla="*/ 93 w 144"/>
                <a:gd name="T11" fmla="*/ 9 h 102"/>
                <a:gd name="T12" fmla="*/ 87 w 144"/>
                <a:gd name="T13" fmla="*/ 6 h 102"/>
                <a:gd name="T14" fmla="*/ 66 w 144"/>
                <a:gd name="T15" fmla="*/ 3 h 102"/>
                <a:gd name="T16" fmla="*/ 30 w 144"/>
                <a:gd name="T17" fmla="*/ 3 h 102"/>
                <a:gd name="T18" fmla="*/ 15 w 144"/>
                <a:gd name="T19" fmla="*/ 0 h 102"/>
                <a:gd name="T20" fmla="*/ 6 w 144"/>
                <a:gd name="T21" fmla="*/ 6 h 102"/>
                <a:gd name="T22" fmla="*/ 6 w 144"/>
                <a:gd name="T23" fmla="*/ 12 h 102"/>
                <a:gd name="T24" fmla="*/ 6 w 144"/>
                <a:gd name="T25" fmla="*/ 24 h 102"/>
                <a:gd name="T26" fmla="*/ 9 w 144"/>
                <a:gd name="T27" fmla="*/ 21 h 102"/>
                <a:gd name="T28" fmla="*/ 15 w 144"/>
                <a:gd name="T29" fmla="*/ 24 h 102"/>
                <a:gd name="T30" fmla="*/ 21 w 144"/>
                <a:gd name="T31" fmla="*/ 24 h 102"/>
                <a:gd name="T32" fmla="*/ 24 w 144"/>
                <a:gd name="T33" fmla="*/ 24 h 102"/>
                <a:gd name="T34" fmla="*/ 33 w 144"/>
                <a:gd name="T35" fmla="*/ 27 h 102"/>
                <a:gd name="T36" fmla="*/ 36 w 144"/>
                <a:gd name="T37" fmla="*/ 30 h 102"/>
                <a:gd name="T38" fmla="*/ 27 w 144"/>
                <a:gd name="T39" fmla="*/ 36 h 102"/>
                <a:gd name="T40" fmla="*/ 27 w 144"/>
                <a:gd name="T41" fmla="*/ 48 h 102"/>
                <a:gd name="T42" fmla="*/ 27 w 144"/>
                <a:gd name="T43" fmla="*/ 54 h 102"/>
                <a:gd name="T44" fmla="*/ 24 w 144"/>
                <a:gd name="T45" fmla="*/ 60 h 102"/>
                <a:gd name="T46" fmla="*/ 27 w 144"/>
                <a:gd name="T47" fmla="*/ 66 h 102"/>
                <a:gd name="T48" fmla="*/ 24 w 144"/>
                <a:gd name="T49" fmla="*/ 72 h 102"/>
                <a:gd name="T50" fmla="*/ 27 w 144"/>
                <a:gd name="T51" fmla="*/ 78 h 102"/>
                <a:gd name="T52" fmla="*/ 21 w 144"/>
                <a:gd name="T53" fmla="*/ 84 h 102"/>
                <a:gd name="T54" fmla="*/ 24 w 144"/>
                <a:gd name="T55" fmla="*/ 87 h 102"/>
                <a:gd name="T56" fmla="*/ 30 w 144"/>
                <a:gd name="T57" fmla="*/ 87 h 102"/>
                <a:gd name="T58" fmla="*/ 42 w 144"/>
                <a:gd name="T59" fmla="*/ 102 h 102"/>
                <a:gd name="T60" fmla="*/ 45 w 144"/>
                <a:gd name="T61" fmla="*/ 99 h 102"/>
                <a:gd name="T62" fmla="*/ 51 w 144"/>
                <a:gd name="T63" fmla="*/ 96 h 102"/>
                <a:gd name="T64" fmla="*/ 63 w 144"/>
                <a:gd name="T65" fmla="*/ 93 h 102"/>
                <a:gd name="T66" fmla="*/ 78 w 144"/>
                <a:gd name="T67" fmla="*/ 93 h 102"/>
                <a:gd name="T68" fmla="*/ 84 w 144"/>
                <a:gd name="T69" fmla="*/ 90 h 102"/>
                <a:gd name="T70" fmla="*/ 93 w 144"/>
                <a:gd name="T71" fmla="*/ 84 h 102"/>
                <a:gd name="T72" fmla="*/ 99 w 144"/>
                <a:gd name="T73" fmla="*/ 75 h 102"/>
                <a:gd name="T74" fmla="*/ 105 w 144"/>
                <a:gd name="T75" fmla="*/ 66 h 102"/>
                <a:gd name="T76" fmla="*/ 108 w 144"/>
                <a:gd name="T77" fmla="*/ 51 h 102"/>
                <a:gd name="T78" fmla="*/ 117 w 144"/>
                <a:gd name="T79" fmla="*/ 39 h 102"/>
                <a:gd name="T80" fmla="*/ 126 w 144"/>
                <a:gd name="T81" fmla="*/ 33 h 102"/>
                <a:gd name="T82" fmla="*/ 138 w 144"/>
                <a:gd name="T83" fmla="*/ 27 h 102"/>
                <a:gd name="T84" fmla="*/ 144 w 144"/>
                <a:gd name="T85" fmla="*/ 18 h 102"/>
                <a:gd name="T86" fmla="*/ 144 w 144"/>
                <a:gd name="T87" fmla="*/ 54 h 102"/>
                <a:gd name="T88" fmla="*/ 135 w 144"/>
                <a:gd name="T89" fmla="*/ 57 h 102"/>
                <a:gd name="T90" fmla="*/ 144 w 144"/>
                <a:gd name="T91" fmla="*/ 5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02">
                  <a:moveTo>
                    <a:pt x="144" y="18"/>
                  </a:moveTo>
                  <a:cubicBezTo>
                    <a:pt x="138" y="18"/>
                    <a:pt x="135" y="18"/>
                    <a:pt x="132" y="18"/>
                  </a:cubicBezTo>
                  <a:cubicBezTo>
                    <a:pt x="129" y="15"/>
                    <a:pt x="120" y="15"/>
                    <a:pt x="117" y="15"/>
                  </a:cubicBezTo>
                  <a:cubicBezTo>
                    <a:pt x="117" y="12"/>
                    <a:pt x="114" y="9"/>
                    <a:pt x="114" y="12"/>
                  </a:cubicBezTo>
                  <a:cubicBezTo>
                    <a:pt x="114" y="15"/>
                    <a:pt x="108" y="15"/>
                    <a:pt x="105" y="12"/>
                  </a:cubicBezTo>
                  <a:cubicBezTo>
                    <a:pt x="102" y="12"/>
                    <a:pt x="96" y="9"/>
                    <a:pt x="93" y="9"/>
                  </a:cubicBezTo>
                  <a:cubicBezTo>
                    <a:pt x="93" y="6"/>
                    <a:pt x="90" y="6"/>
                    <a:pt x="87" y="6"/>
                  </a:cubicBezTo>
                  <a:cubicBezTo>
                    <a:pt x="84" y="6"/>
                    <a:pt x="75" y="3"/>
                    <a:pt x="66" y="3"/>
                  </a:cubicBezTo>
                  <a:cubicBezTo>
                    <a:pt x="60" y="3"/>
                    <a:pt x="39" y="3"/>
                    <a:pt x="30" y="3"/>
                  </a:cubicBezTo>
                  <a:cubicBezTo>
                    <a:pt x="21" y="3"/>
                    <a:pt x="21" y="0"/>
                    <a:pt x="15" y="0"/>
                  </a:cubicBezTo>
                  <a:cubicBezTo>
                    <a:pt x="12" y="0"/>
                    <a:pt x="15" y="3"/>
                    <a:pt x="6" y="6"/>
                  </a:cubicBezTo>
                  <a:cubicBezTo>
                    <a:pt x="0" y="6"/>
                    <a:pt x="0" y="9"/>
                    <a:pt x="6" y="12"/>
                  </a:cubicBezTo>
                  <a:cubicBezTo>
                    <a:pt x="6" y="15"/>
                    <a:pt x="6" y="18"/>
                    <a:pt x="6" y="24"/>
                  </a:cubicBezTo>
                  <a:cubicBezTo>
                    <a:pt x="9" y="24"/>
                    <a:pt x="9" y="24"/>
                    <a:pt x="9" y="21"/>
                  </a:cubicBezTo>
                  <a:cubicBezTo>
                    <a:pt x="12" y="21"/>
                    <a:pt x="15" y="21"/>
                    <a:pt x="15" y="24"/>
                  </a:cubicBezTo>
                  <a:cubicBezTo>
                    <a:pt x="15" y="24"/>
                    <a:pt x="18" y="24"/>
                    <a:pt x="21" y="24"/>
                  </a:cubicBezTo>
                  <a:cubicBezTo>
                    <a:pt x="24" y="24"/>
                    <a:pt x="21" y="27"/>
                    <a:pt x="24" y="24"/>
                  </a:cubicBezTo>
                  <a:cubicBezTo>
                    <a:pt x="27" y="21"/>
                    <a:pt x="33" y="24"/>
                    <a:pt x="33" y="27"/>
                  </a:cubicBezTo>
                  <a:cubicBezTo>
                    <a:pt x="33" y="27"/>
                    <a:pt x="39" y="27"/>
                    <a:pt x="36" y="30"/>
                  </a:cubicBezTo>
                  <a:cubicBezTo>
                    <a:pt x="30" y="33"/>
                    <a:pt x="27" y="33"/>
                    <a:pt x="27" y="36"/>
                  </a:cubicBezTo>
                  <a:cubicBezTo>
                    <a:pt x="27" y="39"/>
                    <a:pt x="30" y="45"/>
                    <a:pt x="27" y="48"/>
                  </a:cubicBezTo>
                  <a:cubicBezTo>
                    <a:pt x="24" y="51"/>
                    <a:pt x="30" y="54"/>
                    <a:pt x="27" y="54"/>
                  </a:cubicBezTo>
                  <a:cubicBezTo>
                    <a:pt x="24" y="54"/>
                    <a:pt x="21" y="57"/>
                    <a:pt x="24" y="60"/>
                  </a:cubicBezTo>
                  <a:cubicBezTo>
                    <a:pt x="27" y="63"/>
                    <a:pt x="30" y="66"/>
                    <a:pt x="27" y="66"/>
                  </a:cubicBezTo>
                  <a:cubicBezTo>
                    <a:pt x="24" y="66"/>
                    <a:pt x="24" y="69"/>
                    <a:pt x="24" y="72"/>
                  </a:cubicBezTo>
                  <a:cubicBezTo>
                    <a:pt x="24" y="72"/>
                    <a:pt x="30" y="75"/>
                    <a:pt x="27" y="78"/>
                  </a:cubicBezTo>
                  <a:cubicBezTo>
                    <a:pt x="21" y="78"/>
                    <a:pt x="21" y="81"/>
                    <a:pt x="21" y="84"/>
                  </a:cubicBezTo>
                  <a:cubicBezTo>
                    <a:pt x="21" y="84"/>
                    <a:pt x="21" y="87"/>
                    <a:pt x="24" y="87"/>
                  </a:cubicBezTo>
                  <a:cubicBezTo>
                    <a:pt x="24" y="87"/>
                    <a:pt x="27" y="87"/>
                    <a:pt x="30" y="87"/>
                  </a:cubicBezTo>
                  <a:cubicBezTo>
                    <a:pt x="33" y="90"/>
                    <a:pt x="36" y="102"/>
                    <a:pt x="42" y="102"/>
                  </a:cubicBezTo>
                  <a:cubicBezTo>
                    <a:pt x="45" y="102"/>
                    <a:pt x="45" y="99"/>
                    <a:pt x="45" y="99"/>
                  </a:cubicBezTo>
                  <a:cubicBezTo>
                    <a:pt x="48" y="96"/>
                    <a:pt x="51" y="96"/>
                    <a:pt x="51" y="96"/>
                  </a:cubicBezTo>
                  <a:cubicBezTo>
                    <a:pt x="54" y="96"/>
                    <a:pt x="57" y="93"/>
                    <a:pt x="63" y="93"/>
                  </a:cubicBezTo>
                  <a:cubicBezTo>
                    <a:pt x="69" y="93"/>
                    <a:pt x="72" y="93"/>
                    <a:pt x="78" y="93"/>
                  </a:cubicBezTo>
                  <a:cubicBezTo>
                    <a:pt x="81" y="93"/>
                    <a:pt x="84" y="93"/>
                    <a:pt x="84" y="90"/>
                  </a:cubicBezTo>
                  <a:cubicBezTo>
                    <a:pt x="87" y="87"/>
                    <a:pt x="90" y="84"/>
                    <a:pt x="93" y="84"/>
                  </a:cubicBezTo>
                  <a:cubicBezTo>
                    <a:pt x="99" y="81"/>
                    <a:pt x="99" y="78"/>
                    <a:pt x="99" y="75"/>
                  </a:cubicBezTo>
                  <a:cubicBezTo>
                    <a:pt x="99" y="72"/>
                    <a:pt x="105" y="69"/>
                    <a:pt x="105" y="66"/>
                  </a:cubicBezTo>
                  <a:cubicBezTo>
                    <a:pt x="108" y="63"/>
                    <a:pt x="102" y="57"/>
                    <a:pt x="108" y="51"/>
                  </a:cubicBezTo>
                  <a:cubicBezTo>
                    <a:pt x="111" y="42"/>
                    <a:pt x="117" y="42"/>
                    <a:pt x="117" y="39"/>
                  </a:cubicBezTo>
                  <a:cubicBezTo>
                    <a:pt x="117" y="36"/>
                    <a:pt x="120" y="33"/>
                    <a:pt x="126" y="33"/>
                  </a:cubicBezTo>
                  <a:cubicBezTo>
                    <a:pt x="132" y="33"/>
                    <a:pt x="135" y="30"/>
                    <a:pt x="138" y="27"/>
                  </a:cubicBezTo>
                  <a:cubicBezTo>
                    <a:pt x="144" y="24"/>
                    <a:pt x="144" y="21"/>
                    <a:pt x="144" y="18"/>
                  </a:cubicBezTo>
                  <a:close/>
                  <a:moveTo>
                    <a:pt x="144" y="54"/>
                  </a:moveTo>
                  <a:cubicBezTo>
                    <a:pt x="144" y="48"/>
                    <a:pt x="132" y="54"/>
                    <a:pt x="135" y="57"/>
                  </a:cubicBezTo>
                  <a:cubicBezTo>
                    <a:pt x="138" y="60"/>
                    <a:pt x="144" y="60"/>
                    <a:pt x="144" y="54"/>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0" name="Freeform 895"/>
            <p:cNvSpPr>
              <a:spLocks/>
            </p:cNvSpPr>
            <p:nvPr userDrawn="1"/>
          </p:nvSpPr>
          <p:spPr bwMode="auto">
            <a:xfrm>
              <a:off x="3707" y="-2040"/>
              <a:ext cx="61" cy="32"/>
            </a:xfrm>
            <a:custGeom>
              <a:avLst/>
              <a:gdLst>
                <a:gd name="T0" fmla="*/ 0 w 39"/>
                <a:gd name="T1" fmla="*/ 18 h 21"/>
                <a:gd name="T2" fmla="*/ 6 w 39"/>
                <a:gd name="T3" fmla="*/ 18 h 21"/>
                <a:gd name="T4" fmla="*/ 9 w 39"/>
                <a:gd name="T5" fmla="*/ 21 h 21"/>
                <a:gd name="T6" fmla="*/ 18 w 39"/>
                <a:gd name="T7" fmla="*/ 18 h 21"/>
                <a:gd name="T8" fmla="*/ 24 w 39"/>
                <a:gd name="T9" fmla="*/ 18 h 21"/>
                <a:gd name="T10" fmla="*/ 27 w 39"/>
                <a:gd name="T11" fmla="*/ 15 h 21"/>
                <a:gd name="T12" fmla="*/ 30 w 39"/>
                <a:gd name="T13" fmla="*/ 9 h 21"/>
                <a:gd name="T14" fmla="*/ 39 w 39"/>
                <a:gd name="T15" fmla="*/ 3 h 21"/>
                <a:gd name="T16" fmla="*/ 36 w 39"/>
                <a:gd name="T17" fmla="*/ 0 h 21"/>
                <a:gd name="T18" fmla="*/ 27 w 39"/>
                <a:gd name="T19" fmla="*/ 3 h 21"/>
                <a:gd name="T20" fmla="*/ 18 w 39"/>
                <a:gd name="T21" fmla="*/ 6 h 21"/>
                <a:gd name="T22" fmla="*/ 6 w 39"/>
                <a:gd name="T23" fmla="*/ 3 h 21"/>
                <a:gd name="T24" fmla="*/ 0 w 39"/>
                <a:gd name="T25" fmla="*/ 3 h 21"/>
                <a:gd name="T26" fmla="*/ 0 w 39"/>
                <a:gd name="T2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1">
                  <a:moveTo>
                    <a:pt x="0" y="18"/>
                  </a:moveTo>
                  <a:cubicBezTo>
                    <a:pt x="3" y="18"/>
                    <a:pt x="6" y="15"/>
                    <a:pt x="6" y="18"/>
                  </a:cubicBezTo>
                  <a:cubicBezTo>
                    <a:pt x="9" y="18"/>
                    <a:pt x="9" y="18"/>
                    <a:pt x="9" y="21"/>
                  </a:cubicBezTo>
                  <a:cubicBezTo>
                    <a:pt x="12" y="21"/>
                    <a:pt x="15" y="18"/>
                    <a:pt x="18" y="18"/>
                  </a:cubicBezTo>
                  <a:cubicBezTo>
                    <a:pt x="18" y="18"/>
                    <a:pt x="24" y="21"/>
                    <a:pt x="24" y="18"/>
                  </a:cubicBezTo>
                  <a:cubicBezTo>
                    <a:pt x="27" y="15"/>
                    <a:pt x="27" y="15"/>
                    <a:pt x="27" y="15"/>
                  </a:cubicBezTo>
                  <a:cubicBezTo>
                    <a:pt x="30" y="15"/>
                    <a:pt x="30" y="9"/>
                    <a:pt x="30" y="9"/>
                  </a:cubicBezTo>
                  <a:cubicBezTo>
                    <a:pt x="33" y="9"/>
                    <a:pt x="39" y="3"/>
                    <a:pt x="39" y="3"/>
                  </a:cubicBezTo>
                  <a:cubicBezTo>
                    <a:pt x="36" y="0"/>
                    <a:pt x="36" y="0"/>
                    <a:pt x="36" y="0"/>
                  </a:cubicBezTo>
                  <a:cubicBezTo>
                    <a:pt x="33" y="0"/>
                    <a:pt x="33" y="3"/>
                    <a:pt x="27" y="3"/>
                  </a:cubicBezTo>
                  <a:cubicBezTo>
                    <a:pt x="24" y="3"/>
                    <a:pt x="21" y="6"/>
                    <a:pt x="18" y="6"/>
                  </a:cubicBezTo>
                  <a:cubicBezTo>
                    <a:pt x="15" y="6"/>
                    <a:pt x="9" y="3"/>
                    <a:pt x="6" y="3"/>
                  </a:cubicBezTo>
                  <a:cubicBezTo>
                    <a:pt x="3" y="3"/>
                    <a:pt x="3" y="3"/>
                    <a:pt x="0" y="3"/>
                  </a:cubicBezTo>
                  <a:cubicBezTo>
                    <a:pt x="0" y="6"/>
                    <a:pt x="0" y="12"/>
                    <a:pt x="0"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1" name="Freeform 896"/>
            <p:cNvSpPr>
              <a:spLocks/>
            </p:cNvSpPr>
            <p:nvPr userDrawn="1"/>
          </p:nvSpPr>
          <p:spPr bwMode="auto">
            <a:xfrm>
              <a:off x="3707" y="-2040"/>
              <a:ext cx="61" cy="32"/>
            </a:xfrm>
            <a:custGeom>
              <a:avLst/>
              <a:gdLst>
                <a:gd name="T0" fmla="*/ 0 w 39"/>
                <a:gd name="T1" fmla="*/ 18 h 21"/>
                <a:gd name="T2" fmla="*/ 6 w 39"/>
                <a:gd name="T3" fmla="*/ 18 h 21"/>
                <a:gd name="T4" fmla="*/ 9 w 39"/>
                <a:gd name="T5" fmla="*/ 21 h 21"/>
                <a:gd name="T6" fmla="*/ 18 w 39"/>
                <a:gd name="T7" fmla="*/ 18 h 21"/>
                <a:gd name="T8" fmla="*/ 24 w 39"/>
                <a:gd name="T9" fmla="*/ 18 h 21"/>
                <a:gd name="T10" fmla="*/ 27 w 39"/>
                <a:gd name="T11" fmla="*/ 15 h 21"/>
                <a:gd name="T12" fmla="*/ 30 w 39"/>
                <a:gd name="T13" fmla="*/ 9 h 21"/>
                <a:gd name="T14" fmla="*/ 39 w 39"/>
                <a:gd name="T15" fmla="*/ 3 h 21"/>
                <a:gd name="T16" fmla="*/ 36 w 39"/>
                <a:gd name="T17" fmla="*/ 0 h 21"/>
                <a:gd name="T18" fmla="*/ 27 w 39"/>
                <a:gd name="T19" fmla="*/ 3 h 21"/>
                <a:gd name="T20" fmla="*/ 18 w 39"/>
                <a:gd name="T21" fmla="*/ 6 h 21"/>
                <a:gd name="T22" fmla="*/ 6 w 39"/>
                <a:gd name="T23" fmla="*/ 3 h 21"/>
                <a:gd name="T24" fmla="*/ 0 w 39"/>
                <a:gd name="T25" fmla="*/ 3 h 21"/>
                <a:gd name="T26" fmla="*/ 0 w 39"/>
                <a:gd name="T2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1">
                  <a:moveTo>
                    <a:pt x="0" y="18"/>
                  </a:moveTo>
                  <a:cubicBezTo>
                    <a:pt x="3" y="18"/>
                    <a:pt x="6" y="15"/>
                    <a:pt x="6" y="18"/>
                  </a:cubicBezTo>
                  <a:cubicBezTo>
                    <a:pt x="9" y="18"/>
                    <a:pt x="9" y="18"/>
                    <a:pt x="9" y="21"/>
                  </a:cubicBezTo>
                  <a:cubicBezTo>
                    <a:pt x="12" y="21"/>
                    <a:pt x="15" y="18"/>
                    <a:pt x="18" y="18"/>
                  </a:cubicBezTo>
                  <a:cubicBezTo>
                    <a:pt x="18" y="18"/>
                    <a:pt x="24" y="21"/>
                    <a:pt x="24" y="18"/>
                  </a:cubicBezTo>
                  <a:cubicBezTo>
                    <a:pt x="27" y="15"/>
                    <a:pt x="27" y="15"/>
                    <a:pt x="27" y="15"/>
                  </a:cubicBezTo>
                  <a:cubicBezTo>
                    <a:pt x="30" y="15"/>
                    <a:pt x="30" y="9"/>
                    <a:pt x="30" y="9"/>
                  </a:cubicBezTo>
                  <a:cubicBezTo>
                    <a:pt x="33" y="9"/>
                    <a:pt x="39" y="3"/>
                    <a:pt x="39" y="3"/>
                  </a:cubicBezTo>
                  <a:cubicBezTo>
                    <a:pt x="36" y="0"/>
                    <a:pt x="36" y="0"/>
                    <a:pt x="36" y="0"/>
                  </a:cubicBezTo>
                  <a:cubicBezTo>
                    <a:pt x="33" y="0"/>
                    <a:pt x="33" y="3"/>
                    <a:pt x="27" y="3"/>
                  </a:cubicBezTo>
                  <a:cubicBezTo>
                    <a:pt x="24" y="3"/>
                    <a:pt x="21" y="6"/>
                    <a:pt x="18" y="6"/>
                  </a:cubicBezTo>
                  <a:cubicBezTo>
                    <a:pt x="15" y="6"/>
                    <a:pt x="9" y="3"/>
                    <a:pt x="6" y="3"/>
                  </a:cubicBezTo>
                  <a:cubicBezTo>
                    <a:pt x="3" y="3"/>
                    <a:pt x="3" y="3"/>
                    <a:pt x="0" y="3"/>
                  </a:cubicBezTo>
                  <a:cubicBezTo>
                    <a:pt x="0" y="6"/>
                    <a:pt x="0" y="12"/>
                    <a:pt x="0"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2" name="Freeform 897"/>
            <p:cNvSpPr>
              <a:spLocks noEditPoints="1"/>
            </p:cNvSpPr>
            <p:nvPr userDrawn="1"/>
          </p:nvSpPr>
          <p:spPr bwMode="auto">
            <a:xfrm>
              <a:off x="3829" y="-1928"/>
              <a:ext cx="112" cy="136"/>
            </a:xfrm>
            <a:custGeom>
              <a:avLst/>
              <a:gdLst>
                <a:gd name="T0" fmla="*/ 69 w 72"/>
                <a:gd name="T1" fmla="*/ 0 h 87"/>
                <a:gd name="T2" fmla="*/ 66 w 72"/>
                <a:gd name="T3" fmla="*/ 0 h 87"/>
                <a:gd name="T4" fmla="*/ 60 w 72"/>
                <a:gd name="T5" fmla="*/ 3 h 87"/>
                <a:gd name="T6" fmla="*/ 48 w 72"/>
                <a:gd name="T7" fmla="*/ 3 h 87"/>
                <a:gd name="T8" fmla="*/ 33 w 72"/>
                <a:gd name="T9" fmla="*/ 3 h 87"/>
                <a:gd name="T10" fmla="*/ 33 w 72"/>
                <a:gd name="T11" fmla="*/ 3 h 87"/>
                <a:gd name="T12" fmla="*/ 24 w 72"/>
                <a:gd name="T13" fmla="*/ 6 h 87"/>
                <a:gd name="T14" fmla="*/ 18 w 72"/>
                <a:gd name="T15" fmla="*/ 9 h 87"/>
                <a:gd name="T16" fmla="*/ 9 w 72"/>
                <a:gd name="T17" fmla="*/ 12 h 87"/>
                <a:gd name="T18" fmla="*/ 6 w 72"/>
                <a:gd name="T19" fmla="*/ 18 h 87"/>
                <a:gd name="T20" fmla="*/ 3 w 72"/>
                <a:gd name="T21" fmla="*/ 21 h 87"/>
                <a:gd name="T22" fmla="*/ 0 w 72"/>
                <a:gd name="T23" fmla="*/ 27 h 87"/>
                <a:gd name="T24" fmla="*/ 0 w 72"/>
                <a:gd name="T25" fmla="*/ 27 h 87"/>
                <a:gd name="T26" fmla="*/ 6 w 72"/>
                <a:gd name="T27" fmla="*/ 39 h 87"/>
                <a:gd name="T28" fmla="*/ 15 w 72"/>
                <a:gd name="T29" fmla="*/ 42 h 87"/>
                <a:gd name="T30" fmla="*/ 24 w 72"/>
                <a:gd name="T31" fmla="*/ 45 h 87"/>
                <a:gd name="T32" fmla="*/ 12 w 72"/>
                <a:gd name="T33" fmla="*/ 45 h 87"/>
                <a:gd name="T34" fmla="*/ 15 w 72"/>
                <a:gd name="T35" fmla="*/ 54 h 87"/>
                <a:gd name="T36" fmla="*/ 21 w 72"/>
                <a:gd name="T37" fmla="*/ 63 h 87"/>
                <a:gd name="T38" fmla="*/ 30 w 72"/>
                <a:gd name="T39" fmla="*/ 69 h 87"/>
                <a:gd name="T40" fmla="*/ 30 w 72"/>
                <a:gd name="T41" fmla="*/ 57 h 87"/>
                <a:gd name="T42" fmla="*/ 36 w 72"/>
                <a:gd name="T43" fmla="*/ 57 h 87"/>
                <a:gd name="T44" fmla="*/ 33 w 72"/>
                <a:gd name="T45" fmla="*/ 51 h 87"/>
                <a:gd name="T46" fmla="*/ 36 w 72"/>
                <a:gd name="T47" fmla="*/ 48 h 87"/>
                <a:gd name="T48" fmla="*/ 45 w 72"/>
                <a:gd name="T49" fmla="*/ 48 h 87"/>
                <a:gd name="T50" fmla="*/ 39 w 72"/>
                <a:gd name="T51" fmla="*/ 39 h 87"/>
                <a:gd name="T52" fmla="*/ 30 w 72"/>
                <a:gd name="T53" fmla="*/ 39 h 87"/>
                <a:gd name="T54" fmla="*/ 36 w 72"/>
                <a:gd name="T55" fmla="*/ 33 h 87"/>
                <a:gd name="T56" fmla="*/ 27 w 72"/>
                <a:gd name="T57" fmla="*/ 21 h 87"/>
                <a:gd name="T58" fmla="*/ 30 w 72"/>
                <a:gd name="T59" fmla="*/ 18 h 87"/>
                <a:gd name="T60" fmla="*/ 39 w 72"/>
                <a:gd name="T61" fmla="*/ 18 h 87"/>
                <a:gd name="T62" fmla="*/ 42 w 72"/>
                <a:gd name="T63" fmla="*/ 12 h 87"/>
                <a:gd name="T64" fmla="*/ 48 w 72"/>
                <a:gd name="T65" fmla="*/ 12 h 87"/>
                <a:gd name="T66" fmla="*/ 57 w 72"/>
                <a:gd name="T67" fmla="*/ 9 h 87"/>
                <a:gd name="T68" fmla="*/ 66 w 72"/>
                <a:gd name="T69" fmla="*/ 12 h 87"/>
                <a:gd name="T70" fmla="*/ 69 w 72"/>
                <a:gd name="T71" fmla="*/ 9 h 87"/>
                <a:gd name="T72" fmla="*/ 72 w 72"/>
                <a:gd name="T73" fmla="*/ 3 h 87"/>
                <a:gd name="T74" fmla="*/ 69 w 72"/>
                <a:gd name="T75" fmla="*/ 0 h 87"/>
                <a:gd name="T76" fmla="*/ 60 w 72"/>
                <a:gd name="T77" fmla="*/ 84 h 87"/>
                <a:gd name="T78" fmla="*/ 42 w 72"/>
                <a:gd name="T79" fmla="*/ 81 h 87"/>
                <a:gd name="T80" fmla="*/ 36 w 72"/>
                <a:gd name="T81" fmla="*/ 84 h 87"/>
                <a:gd name="T82" fmla="*/ 54 w 72"/>
                <a:gd name="T83" fmla="*/ 87 h 87"/>
                <a:gd name="T84" fmla="*/ 69 w 72"/>
                <a:gd name="T85" fmla="*/ 84 h 87"/>
                <a:gd name="T86" fmla="*/ 60 w 72"/>
                <a:gd name="T87"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87">
                  <a:moveTo>
                    <a:pt x="69" y="0"/>
                  </a:moveTo>
                  <a:cubicBezTo>
                    <a:pt x="66" y="0"/>
                    <a:pt x="66" y="0"/>
                    <a:pt x="66" y="0"/>
                  </a:cubicBezTo>
                  <a:cubicBezTo>
                    <a:pt x="66" y="3"/>
                    <a:pt x="63" y="3"/>
                    <a:pt x="60" y="3"/>
                  </a:cubicBezTo>
                  <a:cubicBezTo>
                    <a:pt x="60" y="3"/>
                    <a:pt x="51" y="3"/>
                    <a:pt x="48" y="3"/>
                  </a:cubicBezTo>
                  <a:cubicBezTo>
                    <a:pt x="48" y="0"/>
                    <a:pt x="39" y="0"/>
                    <a:pt x="33" y="3"/>
                  </a:cubicBezTo>
                  <a:cubicBezTo>
                    <a:pt x="33" y="3"/>
                    <a:pt x="33" y="3"/>
                    <a:pt x="33" y="3"/>
                  </a:cubicBezTo>
                  <a:cubicBezTo>
                    <a:pt x="33" y="3"/>
                    <a:pt x="24" y="9"/>
                    <a:pt x="24" y="6"/>
                  </a:cubicBezTo>
                  <a:cubicBezTo>
                    <a:pt x="21" y="6"/>
                    <a:pt x="21" y="9"/>
                    <a:pt x="18" y="9"/>
                  </a:cubicBezTo>
                  <a:cubicBezTo>
                    <a:pt x="15" y="12"/>
                    <a:pt x="9" y="9"/>
                    <a:pt x="9" y="12"/>
                  </a:cubicBezTo>
                  <a:cubicBezTo>
                    <a:pt x="9" y="12"/>
                    <a:pt x="9" y="15"/>
                    <a:pt x="6" y="18"/>
                  </a:cubicBezTo>
                  <a:cubicBezTo>
                    <a:pt x="3" y="21"/>
                    <a:pt x="6" y="21"/>
                    <a:pt x="3" y="21"/>
                  </a:cubicBezTo>
                  <a:cubicBezTo>
                    <a:pt x="0" y="21"/>
                    <a:pt x="0" y="24"/>
                    <a:pt x="0" y="27"/>
                  </a:cubicBezTo>
                  <a:cubicBezTo>
                    <a:pt x="0" y="27"/>
                    <a:pt x="0" y="27"/>
                    <a:pt x="0" y="27"/>
                  </a:cubicBezTo>
                  <a:cubicBezTo>
                    <a:pt x="3" y="30"/>
                    <a:pt x="6" y="33"/>
                    <a:pt x="6" y="39"/>
                  </a:cubicBezTo>
                  <a:cubicBezTo>
                    <a:pt x="6" y="42"/>
                    <a:pt x="12" y="45"/>
                    <a:pt x="15" y="42"/>
                  </a:cubicBezTo>
                  <a:cubicBezTo>
                    <a:pt x="18" y="39"/>
                    <a:pt x="24" y="42"/>
                    <a:pt x="24" y="45"/>
                  </a:cubicBezTo>
                  <a:cubicBezTo>
                    <a:pt x="24" y="45"/>
                    <a:pt x="18" y="42"/>
                    <a:pt x="12" y="45"/>
                  </a:cubicBezTo>
                  <a:cubicBezTo>
                    <a:pt x="9" y="48"/>
                    <a:pt x="15" y="51"/>
                    <a:pt x="15" y="54"/>
                  </a:cubicBezTo>
                  <a:cubicBezTo>
                    <a:pt x="15" y="57"/>
                    <a:pt x="18" y="63"/>
                    <a:pt x="21" y="63"/>
                  </a:cubicBezTo>
                  <a:cubicBezTo>
                    <a:pt x="24" y="63"/>
                    <a:pt x="30" y="69"/>
                    <a:pt x="30" y="69"/>
                  </a:cubicBezTo>
                  <a:cubicBezTo>
                    <a:pt x="33" y="66"/>
                    <a:pt x="27" y="57"/>
                    <a:pt x="30" y="57"/>
                  </a:cubicBezTo>
                  <a:cubicBezTo>
                    <a:pt x="30" y="54"/>
                    <a:pt x="36" y="60"/>
                    <a:pt x="36" y="57"/>
                  </a:cubicBezTo>
                  <a:cubicBezTo>
                    <a:pt x="39" y="54"/>
                    <a:pt x="36" y="51"/>
                    <a:pt x="33" y="51"/>
                  </a:cubicBezTo>
                  <a:cubicBezTo>
                    <a:pt x="27" y="51"/>
                    <a:pt x="33" y="48"/>
                    <a:pt x="36" y="48"/>
                  </a:cubicBezTo>
                  <a:cubicBezTo>
                    <a:pt x="39" y="51"/>
                    <a:pt x="42" y="48"/>
                    <a:pt x="45" y="48"/>
                  </a:cubicBezTo>
                  <a:cubicBezTo>
                    <a:pt x="45" y="48"/>
                    <a:pt x="48" y="42"/>
                    <a:pt x="39" y="39"/>
                  </a:cubicBezTo>
                  <a:cubicBezTo>
                    <a:pt x="33" y="39"/>
                    <a:pt x="36" y="45"/>
                    <a:pt x="30" y="39"/>
                  </a:cubicBezTo>
                  <a:cubicBezTo>
                    <a:pt x="27" y="36"/>
                    <a:pt x="36" y="36"/>
                    <a:pt x="36" y="33"/>
                  </a:cubicBezTo>
                  <a:cubicBezTo>
                    <a:pt x="36" y="30"/>
                    <a:pt x="30" y="24"/>
                    <a:pt x="27" y="21"/>
                  </a:cubicBezTo>
                  <a:cubicBezTo>
                    <a:pt x="24" y="18"/>
                    <a:pt x="30" y="15"/>
                    <a:pt x="30" y="18"/>
                  </a:cubicBezTo>
                  <a:cubicBezTo>
                    <a:pt x="33" y="21"/>
                    <a:pt x="39" y="21"/>
                    <a:pt x="39" y="18"/>
                  </a:cubicBezTo>
                  <a:cubicBezTo>
                    <a:pt x="42" y="18"/>
                    <a:pt x="36" y="12"/>
                    <a:pt x="42" y="12"/>
                  </a:cubicBezTo>
                  <a:cubicBezTo>
                    <a:pt x="48" y="9"/>
                    <a:pt x="48" y="12"/>
                    <a:pt x="48" y="12"/>
                  </a:cubicBezTo>
                  <a:cubicBezTo>
                    <a:pt x="51" y="12"/>
                    <a:pt x="54" y="9"/>
                    <a:pt x="57" y="9"/>
                  </a:cubicBezTo>
                  <a:cubicBezTo>
                    <a:pt x="60" y="9"/>
                    <a:pt x="63" y="9"/>
                    <a:pt x="66" y="12"/>
                  </a:cubicBezTo>
                  <a:cubicBezTo>
                    <a:pt x="69" y="9"/>
                    <a:pt x="69" y="9"/>
                    <a:pt x="69" y="9"/>
                  </a:cubicBezTo>
                  <a:cubicBezTo>
                    <a:pt x="69" y="6"/>
                    <a:pt x="72" y="6"/>
                    <a:pt x="72" y="3"/>
                  </a:cubicBezTo>
                  <a:cubicBezTo>
                    <a:pt x="72" y="3"/>
                    <a:pt x="72" y="0"/>
                    <a:pt x="69" y="0"/>
                  </a:cubicBezTo>
                  <a:close/>
                  <a:moveTo>
                    <a:pt x="60" y="84"/>
                  </a:moveTo>
                  <a:cubicBezTo>
                    <a:pt x="57" y="81"/>
                    <a:pt x="45" y="84"/>
                    <a:pt x="42" y="81"/>
                  </a:cubicBezTo>
                  <a:cubicBezTo>
                    <a:pt x="39" y="78"/>
                    <a:pt x="33" y="84"/>
                    <a:pt x="36" y="84"/>
                  </a:cubicBezTo>
                  <a:cubicBezTo>
                    <a:pt x="39" y="84"/>
                    <a:pt x="45" y="87"/>
                    <a:pt x="54" y="87"/>
                  </a:cubicBezTo>
                  <a:cubicBezTo>
                    <a:pt x="60" y="87"/>
                    <a:pt x="69" y="84"/>
                    <a:pt x="69" y="84"/>
                  </a:cubicBezTo>
                  <a:cubicBezTo>
                    <a:pt x="69" y="81"/>
                    <a:pt x="63" y="84"/>
                    <a:pt x="60" y="8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3" name="Freeform 898"/>
            <p:cNvSpPr>
              <a:spLocks noEditPoints="1"/>
            </p:cNvSpPr>
            <p:nvPr userDrawn="1"/>
          </p:nvSpPr>
          <p:spPr bwMode="auto">
            <a:xfrm>
              <a:off x="3829" y="-1928"/>
              <a:ext cx="112" cy="136"/>
            </a:xfrm>
            <a:custGeom>
              <a:avLst/>
              <a:gdLst>
                <a:gd name="T0" fmla="*/ 69 w 72"/>
                <a:gd name="T1" fmla="*/ 0 h 87"/>
                <a:gd name="T2" fmla="*/ 66 w 72"/>
                <a:gd name="T3" fmla="*/ 0 h 87"/>
                <a:gd name="T4" fmla="*/ 60 w 72"/>
                <a:gd name="T5" fmla="*/ 3 h 87"/>
                <a:gd name="T6" fmla="*/ 48 w 72"/>
                <a:gd name="T7" fmla="*/ 3 h 87"/>
                <a:gd name="T8" fmla="*/ 33 w 72"/>
                <a:gd name="T9" fmla="*/ 3 h 87"/>
                <a:gd name="T10" fmla="*/ 33 w 72"/>
                <a:gd name="T11" fmla="*/ 3 h 87"/>
                <a:gd name="T12" fmla="*/ 24 w 72"/>
                <a:gd name="T13" fmla="*/ 6 h 87"/>
                <a:gd name="T14" fmla="*/ 18 w 72"/>
                <a:gd name="T15" fmla="*/ 9 h 87"/>
                <a:gd name="T16" fmla="*/ 9 w 72"/>
                <a:gd name="T17" fmla="*/ 12 h 87"/>
                <a:gd name="T18" fmla="*/ 6 w 72"/>
                <a:gd name="T19" fmla="*/ 18 h 87"/>
                <a:gd name="T20" fmla="*/ 3 w 72"/>
                <a:gd name="T21" fmla="*/ 21 h 87"/>
                <a:gd name="T22" fmla="*/ 0 w 72"/>
                <a:gd name="T23" fmla="*/ 27 h 87"/>
                <a:gd name="T24" fmla="*/ 0 w 72"/>
                <a:gd name="T25" fmla="*/ 27 h 87"/>
                <a:gd name="T26" fmla="*/ 6 w 72"/>
                <a:gd name="T27" fmla="*/ 39 h 87"/>
                <a:gd name="T28" fmla="*/ 15 w 72"/>
                <a:gd name="T29" fmla="*/ 42 h 87"/>
                <a:gd name="T30" fmla="*/ 24 w 72"/>
                <a:gd name="T31" fmla="*/ 45 h 87"/>
                <a:gd name="T32" fmla="*/ 12 w 72"/>
                <a:gd name="T33" fmla="*/ 45 h 87"/>
                <a:gd name="T34" fmla="*/ 15 w 72"/>
                <a:gd name="T35" fmla="*/ 54 h 87"/>
                <a:gd name="T36" fmla="*/ 21 w 72"/>
                <a:gd name="T37" fmla="*/ 63 h 87"/>
                <a:gd name="T38" fmla="*/ 30 w 72"/>
                <a:gd name="T39" fmla="*/ 69 h 87"/>
                <a:gd name="T40" fmla="*/ 30 w 72"/>
                <a:gd name="T41" fmla="*/ 57 h 87"/>
                <a:gd name="T42" fmla="*/ 36 w 72"/>
                <a:gd name="T43" fmla="*/ 57 h 87"/>
                <a:gd name="T44" fmla="*/ 33 w 72"/>
                <a:gd name="T45" fmla="*/ 51 h 87"/>
                <a:gd name="T46" fmla="*/ 36 w 72"/>
                <a:gd name="T47" fmla="*/ 48 h 87"/>
                <a:gd name="T48" fmla="*/ 45 w 72"/>
                <a:gd name="T49" fmla="*/ 48 h 87"/>
                <a:gd name="T50" fmla="*/ 39 w 72"/>
                <a:gd name="T51" fmla="*/ 39 h 87"/>
                <a:gd name="T52" fmla="*/ 30 w 72"/>
                <a:gd name="T53" fmla="*/ 39 h 87"/>
                <a:gd name="T54" fmla="*/ 36 w 72"/>
                <a:gd name="T55" fmla="*/ 33 h 87"/>
                <a:gd name="T56" fmla="*/ 27 w 72"/>
                <a:gd name="T57" fmla="*/ 21 h 87"/>
                <a:gd name="T58" fmla="*/ 30 w 72"/>
                <a:gd name="T59" fmla="*/ 18 h 87"/>
                <a:gd name="T60" fmla="*/ 39 w 72"/>
                <a:gd name="T61" fmla="*/ 18 h 87"/>
                <a:gd name="T62" fmla="*/ 42 w 72"/>
                <a:gd name="T63" fmla="*/ 12 h 87"/>
                <a:gd name="T64" fmla="*/ 48 w 72"/>
                <a:gd name="T65" fmla="*/ 12 h 87"/>
                <a:gd name="T66" fmla="*/ 57 w 72"/>
                <a:gd name="T67" fmla="*/ 9 h 87"/>
                <a:gd name="T68" fmla="*/ 66 w 72"/>
                <a:gd name="T69" fmla="*/ 12 h 87"/>
                <a:gd name="T70" fmla="*/ 69 w 72"/>
                <a:gd name="T71" fmla="*/ 9 h 87"/>
                <a:gd name="T72" fmla="*/ 72 w 72"/>
                <a:gd name="T73" fmla="*/ 3 h 87"/>
                <a:gd name="T74" fmla="*/ 69 w 72"/>
                <a:gd name="T75" fmla="*/ 0 h 87"/>
                <a:gd name="T76" fmla="*/ 60 w 72"/>
                <a:gd name="T77" fmla="*/ 84 h 87"/>
                <a:gd name="T78" fmla="*/ 42 w 72"/>
                <a:gd name="T79" fmla="*/ 81 h 87"/>
                <a:gd name="T80" fmla="*/ 36 w 72"/>
                <a:gd name="T81" fmla="*/ 84 h 87"/>
                <a:gd name="T82" fmla="*/ 54 w 72"/>
                <a:gd name="T83" fmla="*/ 87 h 87"/>
                <a:gd name="T84" fmla="*/ 69 w 72"/>
                <a:gd name="T85" fmla="*/ 84 h 87"/>
                <a:gd name="T86" fmla="*/ 60 w 72"/>
                <a:gd name="T87"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87">
                  <a:moveTo>
                    <a:pt x="69" y="0"/>
                  </a:moveTo>
                  <a:cubicBezTo>
                    <a:pt x="66" y="0"/>
                    <a:pt x="66" y="0"/>
                    <a:pt x="66" y="0"/>
                  </a:cubicBezTo>
                  <a:cubicBezTo>
                    <a:pt x="66" y="3"/>
                    <a:pt x="63" y="3"/>
                    <a:pt x="60" y="3"/>
                  </a:cubicBezTo>
                  <a:cubicBezTo>
                    <a:pt x="60" y="3"/>
                    <a:pt x="51" y="3"/>
                    <a:pt x="48" y="3"/>
                  </a:cubicBezTo>
                  <a:cubicBezTo>
                    <a:pt x="48" y="0"/>
                    <a:pt x="39" y="0"/>
                    <a:pt x="33" y="3"/>
                  </a:cubicBezTo>
                  <a:cubicBezTo>
                    <a:pt x="33" y="3"/>
                    <a:pt x="33" y="3"/>
                    <a:pt x="33" y="3"/>
                  </a:cubicBezTo>
                  <a:cubicBezTo>
                    <a:pt x="33" y="3"/>
                    <a:pt x="24" y="9"/>
                    <a:pt x="24" y="6"/>
                  </a:cubicBezTo>
                  <a:cubicBezTo>
                    <a:pt x="21" y="6"/>
                    <a:pt x="21" y="9"/>
                    <a:pt x="18" y="9"/>
                  </a:cubicBezTo>
                  <a:cubicBezTo>
                    <a:pt x="15" y="12"/>
                    <a:pt x="9" y="9"/>
                    <a:pt x="9" y="12"/>
                  </a:cubicBezTo>
                  <a:cubicBezTo>
                    <a:pt x="9" y="12"/>
                    <a:pt x="9" y="15"/>
                    <a:pt x="6" y="18"/>
                  </a:cubicBezTo>
                  <a:cubicBezTo>
                    <a:pt x="3" y="21"/>
                    <a:pt x="6" y="21"/>
                    <a:pt x="3" y="21"/>
                  </a:cubicBezTo>
                  <a:cubicBezTo>
                    <a:pt x="0" y="21"/>
                    <a:pt x="0" y="24"/>
                    <a:pt x="0" y="27"/>
                  </a:cubicBezTo>
                  <a:cubicBezTo>
                    <a:pt x="0" y="27"/>
                    <a:pt x="0" y="27"/>
                    <a:pt x="0" y="27"/>
                  </a:cubicBezTo>
                  <a:cubicBezTo>
                    <a:pt x="3" y="30"/>
                    <a:pt x="6" y="33"/>
                    <a:pt x="6" y="39"/>
                  </a:cubicBezTo>
                  <a:cubicBezTo>
                    <a:pt x="6" y="42"/>
                    <a:pt x="12" y="45"/>
                    <a:pt x="15" y="42"/>
                  </a:cubicBezTo>
                  <a:cubicBezTo>
                    <a:pt x="18" y="39"/>
                    <a:pt x="24" y="42"/>
                    <a:pt x="24" y="45"/>
                  </a:cubicBezTo>
                  <a:cubicBezTo>
                    <a:pt x="24" y="45"/>
                    <a:pt x="18" y="42"/>
                    <a:pt x="12" y="45"/>
                  </a:cubicBezTo>
                  <a:cubicBezTo>
                    <a:pt x="9" y="48"/>
                    <a:pt x="15" y="51"/>
                    <a:pt x="15" y="54"/>
                  </a:cubicBezTo>
                  <a:cubicBezTo>
                    <a:pt x="15" y="57"/>
                    <a:pt x="18" y="63"/>
                    <a:pt x="21" y="63"/>
                  </a:cubicBezTo>
                  <a:cubicBezTo>
                    <a:pt x="24" y="63"/>
                    <a:pt x="30" y="69"/>
                    <a:pt x="30" y="69"/>
                  </a:cubicBezTo>
                  <a:cubicBezTo>
                    <a:pt x="33" y="66"/>
                    <a:pt x="27" y="57"/>
                    <a:pt x="30" y="57"/>
                  </a:cubicBezTo>
                  <a:cubicBezTo>
                    <a:pt x="30" y="54"/>
                    <a:pt x="36" y="60"/>
                    <a:pt x="36" y="57"/>
                  </a:cubicBezTo>
                  <a:cubicBezTo>
                    <a:pt x="39" y="54"/>
                    <a:pt x="36" y="51"/>
                    <a:pt x="33" y="51"/>
                  </a:cubicBezTo>
                  <a:cubicBezTo>
                    <a:pt x="27" y="51"/>
                    <a:pt x="33" y="48"/>
                    <a:pt x="36" y="48"/>
                  </a:cubicBezTo>
                  <a:cubicBezTo>
                    <a:pt x="39" y="51"/>
                    <a:pt x="42" y="48"/>
                    <a:pt x="45" y="48"/>
                  </a:cubicBezTo>
                  <a:cubicBezTo>
                    <a:pt x="45" y="48"/>
                    <a:pt x="48" y="42"/>
                    <a:pt x="39" y="39"/>
                  </a:cubicBezTo>
                  <a:cubicBezTo>
                    <a:pt x="33" y="39"/>
                    <a:pt x="36" y="45"/>
                    <a:pt x="30" y="39"/>
                  </a:cubicBezTo>
                  <a:cubicBezTo>
                    <a:pt x="27" y="36"/>
                    <a:pt x="36" y="36"/>
                    <a:pt x="36" y="33"/>
                  </a:cubicBezTo>
                  <a:cubicBezTo>
                    <a:pt x="36" y="30"/>
                    <a:pt x="30" y="24"/>
                    <a:pt x="27" y="21"/>
                  </a:cubicBezTo>
                  <a:cubicBezTo>
                    <a:pt x="24" y="18"/>
                    <a:pt x="30" y="15"/>
                    <a:pt x="30" y="18"/>
                  </a:cubicBezTo>
                  <a:cubicBezTo>
                    <a:pt x="33" y="21"/>
                    <a:pt x="39" y="21"/>
                    <a:pt x="39" y="18"/>
                  </a:cubicBezTo>
                  <a:cubicBezTo>
                    <a:pt x="42" y="18"/>
                    <a:pt x="36" y="12"/>
                    <a:pt x="42" y="12"/>
                  </a:cubicBezTo>
                  <a:cubicBezTo>
                    <a:pt x="48" y="9"/>
                    <a:pt x="48" y="12"/>
                    <a:pt x="48" y="12"/>
                  </a:cubicBezTo>
                  <a:cubicBezTo>
                    <a:pt x="51" y="12"/>
                    <a:pt x="54" y="9"/>
                    <a:pt x="57" y="9"/>
                  </a:cubicBezTo>
                  <a:cubicBezTo>
                    <a:pt x="60" y="9"/>
                    <a:pt x="63" y="9"/>
                    <a:pt x="66" y="12"/>
                  </a:cubicBezTo>
                  <a:cubicBezTo>
                    <a:pt x="69" y="9"/>
                    <a:pt x="69" y="9"/>
                    <a:pt x="69" y="9"/>
                  </a:cubicBezTo>
                  <a:cubicBezTo>
                    <a:pt x="69" y="6"/>
                    <a:pt x="72" y="6"/>
                    <a:pt x="72" y="3"/>
                  </a:cubicBezTo>
                  <a:cubicBezTo>
                    <a:pt x="72" y="3"/>
                    <a:pt x="72" y="0"/>
                    <a:pt x="69" y="0"/>
                  </a:cubicBezTo>
                  <a:close/>
                  <a:moveTo>
                    <a:pt x="60" y="84"/>
                  </a:moveTo>
                  <a:cubicBezTo>
                    <a:pt x="57" y="81"/>
                    <a:pt x="45" y="84"/>
                    <a:pt x="42" y="81"/>
                  </a:cubicBezTo>
                  <a:cubicBezTo>
                    <a:pt x="39" y="78"/>
                    <a:pt x="33" y="84"/>
                    <a:pt x="36" y="84"/>
                  </a:cubicBezTo>
                  <a:cubicBezTo>
                    <a:pt x="39" y="84"/>
                    <a:pt x="45" y="87"/>
                    <a:pt x="54" y="87"/>
                  </a:cubicBezTo>
                  <a:cubicBezTo>
                    <a:pt x="60" y="87"/>
                    <a:pt x="69" y="84"/>
                    <a:pt x="69" y="84"/>
                  </a:cubicBezTo>
                  <a:cubicBezTo>
                    <a:pt x="69" y="81"/>
                    <a:pt x="63" y="84"/>
                    <a:pt x="60" y="8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4" name="Freeform 899"/>
            <p:cNvSpPr>
              <a:spLocks/>
            </p:cNvSpPr>
            <p:nvPr userDrawn="1"/>
          </p:nvSpPr>
          <p:spPr bwMode="auto">
            <a:xfrm>
              <a:off x="4035" y="-1811"/>
              <a:ext cx="48" cy="28"/>
            </a:xfrm>
            <a:custGeom>
              <a:avLst/>
              <a:gdLst>
                <a:gd name="T0" fmla="*/ 22 w 31"/>
                <a:gd name="T1" fmla="*/ 12 h 18"/>
                <a:gd name="T2" fmla="*/ 28 w 31"/>
                <a:gd name="T3" fmla="*/ 6 h 18"/>
                <a:gd name="T4" fmla="*/ 28 w 31"/>
                <a:gd name="T5" fmla="*/ 3 h 18"/>
                <a:gd name="T6" fmla="*/ 9 w 31"/>
                <a:gd name="T7" fmla="*/ 9 h 18"/>
                <a:gd name="T8" fmla="*/ 6 w 31"/>
                <a:gd name="T9" fmla="*/ 15 h 18"/>
                <a:gd name="T10" fmla="*/ 22 w 31"/>
                <a:gd name="T11" fmla="*/ 12 h 18"/>
              </a:gdLst>
              <a:ahLst/>
              <a:cxnLst>
                <a:cxn ang="0">
                  <a:pos x="T0" y="T1"/>
                </a:cxn>
                <a:cxn ang="0">
                  <a:pos x="T2" y="T3"/>
                </a:cxn>
                <a:cxn ang="0">
                  <a:pos x="T4" y="T5"/>
                </a:cxn>
                <a:cxn ang="0">
                  <a:pos x="T6" y="T7"/>
                </a:cxn>
                <a:cxn ang="0">
                  <a:pos x="T8" y="T9"/>
                </a:cxn>
                <a:cxn ang="0">
                  <a:pos x="T10" y="T11"/>
                </a:cxn>
              </a:cxnLst>
              <a:rect l="0" t="0" r="r" b="b"/>
              <a:pathLst>
                <a:path w="31" h="18">
                  <a:moveTo>
                    <a:pt x="22" y="12"/>
                  </a:moveTo>
                  <a:cubicBezTo>
                    <a:pt x="22" y="12"/>
                    <a:pt x="25" y="6"/>
                    <a:pt x="28" y="6"/>
                  </a:cubicBezTo>
                  <a:cubicBezTo>
                    <a:pt x="31" y="3"/>
                    <a:pt x="31" y="0"/>
                    <a:pt x="28" y="3"/>
                  </a:cubicBezTo>
                  <a:cubicBezTo>
                    <a:pt x="25" y="6"/>
                    <a:pt x="19" y="9"/>
                    <a:pt x="9" y="9"/>
                  </a:cubicBezTo>
                  <a:cubicBezTo>
                    <a:pt x="3" y="9"/>
                    <a:pt x="0" y="12"/>
                    <a:pt x="6" y="15"/>
                  </a:cubicBezTo>
                  <a:cubicBezTo>
                    <a:pt x="13" y="18"/>
                    <a:pt x="22" y="15"/>
                    <a:pt x="22"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5" name="Freeform 900"/>
            <p:cNvSpPr>
              <a:spLocks/>
            </p:cNvSpPr>
            <p:nvPr userDrawn="1"/>
          </p:nvSpPr>
          <p:spPr bwMode="auto">
            <a:xfrm>
              <a:off x="4035" y="-1811"/>
              <a:ext cx="48" cy="28"/>
            </a:xfrm>
            <a:custGeom>
              <a:avLst/>
              <a:gdLst>
                <a:gd name="T0" fmla="*/ 22 w 31"/>
                <a:gd name="T1" fmla="*/ 12 h 18"/>
                <a:gd name="T2" fmla="*/ 28 w 31"/>
                <a:gd name="T3" fmla="*/ 6 h 18"/>
                <a:gd name="T4" fmla="*/ 28 w 31"/>
                <a:gd name="T5" fmla="*/ 3 h 18"/>
                <a:gd name="T6" fmla="*/ 9 w 31"/>
                <a:gd name="T7" fmla="*/ 9 h 18"/>
                <a:gd name="T8" fmla="*/ 6 w 31"/>
                <a:gd name="T9" fmla="*/ 15 h 18"/>
                <a:gd name="T10" fmla="*/ 22 w 31"/>
                <a:gd name="T11" fmla="*/ 12 h 18"/>
              </a:gdLst>
              <a:ahLst/>
              <a:cxnLst>
                <a:cxn ang="0">
                  <a:pos x="T0" y="T1"/>
                </a:cxn>
                <a:cxn ang="0">
                  <a:pos x="T2" y="T3"/>
                </a:cxn>
                <a:cxn ang="0">
                  <a:pos x="T4" y="T5"/>
                </a:cxn>
                <a:cxn ang="0">
                  <a:pos x="T6" y="T7"/>
                </a:cxn>
                <a:cxn ang="0">
                  <a:pos x="T8" y="T9"/>
                </a:cxn>
                <a:cxn ang="0">
                  <a:pos x="T10" y="T11"/>
                </a:cxn>
              </a:cxnLst>
              <a:rect l="0" t="0" r="r" b="b"/>
              <a:pathLst>
                <a:path w="31" h="18">
                  <a:moveTo>
                    <a:pt x="22" y="12"/>
                  </a:moveTo>
                  <a:cubicBezTo>
                    <a:pt x="22" y="12"/>
                    <a:pt x="25" y="6"/>
                    <a:pt x="28" y="6"/>
                  </a:cubicBezTo>
                  <a:cubicBezTo>
                    <a:pt x="31" y="3"/>
                    <a:pt x="31" y="0"/>
                    <a:pt x="28" y="3"/>
                  </a:cubicBezTo>
                  <a:cubicBezTo>
                    <a:pt x="25" y="6"/>
                    <a:pt x="19" y="9"/>
                    <a:pt x="9" y="9"/>
                  </a:cubicBezTo>
                  <a:cubicBezTo>
                    <a:pt x="3" y="9"/>
                    <a:pt x="0" y="12"/>
                    <a:pt x="6" y="15"/>
                  </a:cubicBezTo>
                  <a:cubicBezTo>
                    <a:pt x="13" y="18"/>
                    <a:pt x="22" y="15"/>
                    <a:pt x="22"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6" name="Freeform 901"/>
            <p:cNvSpPr>
              <a:spLocks/>
            </p:cNvSpPr>
            <p:nvPr userDrawn="1"/>
          </p:nvSpPr>
          <p:spPr bwMode="auto">
            <a:xfrm>
              <a:off x="3054" y="-2547"/>
              <a:ext cx="187" cy="100"/>
            </a:xfrm>
            <a:custGeom>
              <a:avLst/>
              <a:gdLst>
                <a:gd name="T0" fmla="*/ 102 w 120"/>
                <a:gd name="T1" fmla="*/ 46 h 64"/>
                <a:gd name="T2" fmla="*/ 111 w 120"/>
                <a:gd name="T3" fmla="*/ 37 h 64"/>
                <a:gd name="T4" fmla="*/ 120 w 120"/>
                <a:gd name="T5" fmla="*/ 31 h 64"/>
                <a:gd name="T6" fmla="*/ 114 w 120"/>
                <a:gd name="T7" fmla="*/ 22 h 64"/>
                <a:gd name="T8" fmla="*/ 108 w 120"/>
                <a:gd name="T9" fmla="*/ 16 h 64"/>
                <a:gd name="T10" fmla="*/ 105 w 120"/>
                <a:gd name="T11" fmla="*/ 6 h 64"/>
                <a:gd name="T12" fmla="*/ 99 w 120"/>
                <a:gd name="T13" fmla="*/ 9 h 64"/>
                <a:gd name="T14" fmla="*/ 87 w 120"/>
                <a:gd name="T15" fmla="*/ 3 h 64"/>
                <a:gd name="T16" fmla="*/ 87 w 120"/>
                <a:gd name="T17" fmla="*/ 9 h 64"/>
                <a:gd name="T18" fmla="*/ 78 w 120"/>
                <a:gd name="T19" fmla="*/ 9 h 64"/>
                <a:gd name="T20" fmla="*/ 75 w 120"/>
                <a:gd name="T21" fmla="*/ 9 h 64"/>
                <a:gd name="T22" fmla="*/ 69 w 120"/>
                <a:gd name="T23" fmla="*/ 12 h 64"/>
                <a:gd name="T24" fmla="*/ 63 w 120"/>
                <a:gd name="T25" fmla="*/ 9 h 64"/>
                <a:gd name="T26" fmla="*/ 54 w 120"/>
                <a:gd name="T27" fmla="*/ 16 h 64"/>
                <a:gd name="T28" fmla="*/ 51 w 120"/>
                <a:gd name="T29" fmla="*/ 12 h 64"/>
                <a:gd name="T30" fmla="*/ 45 w 120"/>
                <a:gd name="T31" fmla="*/ 16 h 64"/>
                <a:gd name="T32" fmla="*/ 45 w 120"/>
                <a:gd name="T33" fmla="*/ 22 h 64"/>
                <a:gd name="T34" fmla="*/ 36 w 120"/>
                <a:gd name="T35" fmla="*/ 25 h 64"/>
                <a:gd name="T36" fmla="*/ 33 w 120"/>
                <a:gd name="T37" fmla="*/ 16 h 64"/>
                <a:gd name="T38" fmla="*/ 15 w 120"/>
                <a:gd name="T39" fmla="*/ 3 h 64"/>
                <a:gd name="T40" fmla="*/ 18 w 120"/>
                <a:gd name="T41" fmla="*/ 9 h 64"/>
                <a:gd name="T42" fmla="*/ 15 w 120"/>
                <a:gd name="T43" fmla="*/ 9 h 64"/>
                <a:gd name="T44" fmla="*/ 6 w 120"/>
                <a:gd name="T45" fmla="*/ 12 h 64"/>
                <a:gd name="T46" fmla="*/ 0 w 120"/>
                <a:gd name="T47" fmla="*/ 22 h 64"/>
                <a:gd name="T48" fmla="*/ 12 w 120"/>
                <a:gd name="T49" fmla="*/ 25 h 64"/>
                <a:gd name="T50" fmla="*/ 24 w 120"/>
                <a:gd name="T51" fmla="*/ 25 h 64"/>
                <a:gd name="T52" fmla="*/ 24 w 120"/>
                <a:gd name="T53" fmla="*/ 28 h 64"/>
                <a:gd name="T54" fmla="*/ 18 w 120"/>
                <a:gd name="T55" fmla="*/ 31 h 64"/>
                <a:gd name="T56" fmla="*/ 3 w 120"/>
                <a:gd name="T57" fmla="*/ 37 h 64"/>
                <a:gd name="T58" fmla="*/ 21 w 120"/>
                <a:gd name="T59" fmla="*/ 37 h 64"/>
                <a:gd name="T60" fmla="*/ 24 w 120"/>
                <a:gd name="T61" fmla="*/ 40 h 64"/>
                <a:gd name="T62" fmla="*/ 27 w 120"/>
                <a:gd name="T63" fmla="*/ 43 h 64"/>
                <a:gd name="T64" fmla="*/ 24 w 120"/>
                <a:gd name="T65" fmla="*/ 49 h 64"/>
                <a:gd name="T66" fmla="*/ 18 w 120"/>
                <a:gd name="T67" fmla="*/ 52 h 64"/>
                <a:gd name="T68" fmla="*/ 33 w 120"/>
                <a:gd name="T69" fmla="*/ 52 h 64"/>
                <a:gd name="T70" fmla="*/ 54 w 120"/>
                <a:gd name="T71" fmla="*/ 61 h 64"/>
                <a:gd name="T72" fmla="*/ 72 w 120"/>
                <a:gd name="T73" fmla="*/ 55 h 64"/>
                <a:gd name="T74" fmla="*/ 87 w 120"/>
                <a:gd name="T75" fmla="*/ 52 h 64"/>
                <a:gd name="T76" fmla="*/ 102 w 120"/>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64">
                  <a:moveTo>
                    <a:pt x="102" y="46"/>
                  </a:moveTo>
                  <a:cubicBezTo>
                    <a:pt x="108" y="46"/>
                    <a:pt x="108" y="37"/>
                    <a:pt x="111" y="37"/>
                  </a:cubicBezTo>
                  <a:cubicBezTo>
                    <a:pt x="114" y="40"/>
                    <a:pt x="117" y="34"/>
                    <a:pt x="120" y="31"/>
                  </a:cubicBezTo>
                  <a:cubicBezTo>
                    <a:pt x="120" y="28"/>
                    <a:pt x="117" y="22"/>
                    <a:pt x="114" y="22"/>
                  </a:cubicBezTo>
                  <a:cubicBezTo>
                    <a:pt x="111" y="22"/>
                    <a:pt x="108" y="19"/>
                    <a:pt x="108" y="16"/>
                  </a:cubicBezTo>
                  <a:cubicBezTo>
                    <a:pt x="108" y="12"/>
                    <a:pt x="105" y="9"/>
                    <a:pt x="105" y="6"/>
                  </a:cubicBezTo>
                  <a:cubicBezTo>
                    <a:pt x="105" y="6"/>
                    <a:pt x="102" y="6"/>
                    <a:pt x="99" y="9"/>
                  </a:cubicBezTo>
                  <a:cubicBezTo>
                    <a:pt x="96" y="9"/>
                    <a:pt x="90" y="0"/>
                    <a:pt x="87" y="3"/>
                  </a:cubicBezTo>
                  <a:cubicBezTo>
                    <a:pt x="84" y="3"/>
                    <a:pt x="87" y="6"/>
                    <a:pt x="87" y="9"/>
                  </a:cubicBezTo>
                  <a:cubicBezTo>
                    <a:pt x="84" y="12"/>
                    <a:pt x="78" y="9"/>
                    <a:pt x="78" y="9"/>
                  </a:cubicBezTo>
                  <a:cubicBezTo>
                    <a:pt x="78" y="12"/>
                    <a:pt x="78" y="12"/>
                    <a:pt x="75" y="9"/>
                  </a:cubicBezTo>
                  <a:cubicBezTo>
                    <a:pt x="72" y="9"/>
                    <a:pt x="69" y="9"/>
                    <a:pt x="69" y="12"/>
                  </a:cubicBezTo>
                  <a:cubicBezTo>
                    <a:pt x="69" y="12"/>
                    <a:pt x="66" y="12"/>
                    <a:pt x="63" y="9"/>
                  </a:cubicBezTo>
                  <a:cubicBezTo>
                    <a:pt x="60" y="6"/>
                    <a:pt x="54" y="12"/>
                    <a:pt x="54" y="16"/>
                  </a:cubicBezTo>
                  <a:cubicBezTo>
                    <a:pt x="54" y="19"/>
                    <a:pt x="54" y="19"/>
                    <a:pt x="51" y="12"/>
                  </a:cubicBezTo>
                  <a:cubicBezTo>
                    <a:pt x="48" y="6"/>
                    <a:pt x="45" y="12"/>
                    <a:pt x="45" y="16"/>
                  </a:cubicBezTo>
                  <a:cubicBezTo>
                    <a:pt x="48" y="19"/>
                    <a:pt x="45" y="22"/>
                    <a:pt x="45" y="22"/>
                  </a:cubicBezTo>
                  <a:cubicBezTo>
                    <a:pt x="42" y="19"/>
                    <a:pt x="39" y="22"/>
                    <a:pt x="36" y="25"/>
                  </a:cubicBezTo>
                  <a:cubicBezTo>
                    <a:pt x="36" y="28"/>
                    <a:pt x="30" y="19"/>
                    <a:pt x="33" y="16"/>
                  </a:cubicBezTo>
                  <a:cubicBezTo>
                    <a:pt x="36" y="12"/>
                    <a:pt x="21" y="3"/>
                    <a:pt x="15" y="3"/>
                  </a:cubicBezTo>
                  <a:cubicBezTo>
                    <a:pt x="12" y="3"/>
                    <a:pt x="15" y="6"/>
                    <a:pt x="18" y="9"/>
                  </a:cubicBezTo>
                  <a:cubicBezTo>
                    <a:pt x="21" y="12"/>
                    <a:pt x="15" y="12"/>
                    <a:pt x="15" y="9"/>
                  </a:cubicBezTo>
                  <a:cubicBezTo>
                    <a:pt x="12" y="6"/>
                    <a:pt x="9" y="9"/>
                    <a:pt x="6" y="12"/>
                  </a:cubicBezTo>
                  <a:cubicBezTo>
                    <a:pt x="3" y="16"/>
                    <a:pt x="0" y="19"/>
                    <a:pt x="0" y="22"/>
                  </a:cubicBezTo>
                  <a:cubicBezTo>
                    <a:pt x="0" y="22"/>
                    <a:pt x="6" y="25"/>
                    <a:pt x="12" y="25"/>
                  </a:cubicBezTo>
                  <a:cubicBezTo>
                    <a:pt x="18" y="22"/>
                    <a:pt x="24" y="22"/>
                    <a:pt x="24" y="25"/>
                  </a:cubicBezTo>
                  <a:cubicBezTo>
                    <a:pt x="27" y="25"/>
                    <a:pt x="21" y="28"/>
                    <a:pt x="24" y="28"/>
                  </a:cubicBezTo>
                  <a:cubicBezTo>
                    <a:pt x="27" y="31"/>
                    <a:pt x="24" y="34"/>
                    <a:pt x="18" y="31"/>
                  </a:cubicBezTo>
                  <a:cubicBezTo>
                    <a:pt x="12" y="31"/>
                    <a:pt x="3" y="34"/>
                    <a:pt x="3" y="37"/>
                  </a:cubicBezTo>
                  <a:cubicBezTo>
                    <a:pt x="6" y="37"/>
                    <a:pt x="21" y="34"/>
                    <a:pt x="21" y="37"/>
                  </a:cubicBezTo>
                  <a:cubicBezTo>
                    <a:pt x="21" y="37"/>
                    <a:pt x="21" y="43"/>
                    <a:pt x="24" y="40"/>
                  </a:cubicBezTo>
                  <a:cubicBezTo>
                    <a:pt x="30" y="40"/>
                    <a:pt x="27" y="43"/>
                    <a:pt x="27" y="43"/>
                  </a:cubicBezTo>
                  <a:cubicBezTo>
                    <a:pt x="30" y="46"/>
                    <a:pt x="30" y="49"/>
                    <a:pt x="24" y="49"/>
                  </a:cubicBezTo>
                  <a:cubicBezTo>
                    <a:pt x="18" y="49"/>
                    <a:pt x="15" y="52"/>
                    <a:pt x="18" y="52"/>
                  </a:cubicBezTo>
                  <a:cubicBezTo>
                    <a:pt x="21" y="55"/>
                    <a:pt x="27" y="55"/>
                    <a:pt x="33" y="52"/>
                  </a:cubicBezTo>
                  <a:cubicBezTo>
                    <a:pt x="39" y="52"/>
                    <a:pt x="48" y="58"/>
                    <a:pt x="54" y="61"/>
                  </a:cubicBezTo>
                  <a:cubicBezTo>
                    <a:pt x="60" y="64"/>
                    <a:pt x="72" y="61"/>
                    <a:pt x="72" y="55"/>
                  </a:cubicBezTo>
                  <a:cubicBezTo>
                    <a:pt x="75" y="52"/>
                    <a:pt x="84" y="55"/>
                    <a:pt x="87" y="52"/>
                  </a:cubicBezTo>
                  <a:cubicBezTo>
                    <a:pt x="90" y="49"/>
                    <a:pt x="96" y="46"/>
                    <a:pt x="102" y="4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7" name="Freeform 902"/>
            <p:cNvSpPr>
              <a:spLocks/>
            </p:cNvSpPr>
            <p:nvPr userDrawn="1"/>
          </p:nvSpPr>
          <p:spPr bwMode="auto">
            <a:xfrm>
              <a:off x="3054" y="-2547"/>
              <a:ext cx="187" cy="100"/>
            </a:xfrm>
            <a:custGeom>
              <a:avLst/>
              <a:gdLst>
                <a:gd name="T0" fmla="*/ 102 w 120"/>
                <a:gd name="T1" fmla="*/ 46 h 64"/>
                <a:gd name="T2" fmla="*/ 111 w 120"/>
                <a:gd name="T3" fmla="*/ 37 h 64"/>
                <a:gd name="T4" fmla="*/ 120 w 120"/>
                <a:gd name="T5" fmla="*/ 31 h 64"/>
                <a:gd name="T6" fmla="*/ 114 w 120"/>
                <a:gd name="T7" fmla="*/ 22 h 64"/>
                <a:gd name="T8" fmla="*/ 108 w 120"/>
                <a:gd name="T9" fmla="*/ 16 h 64"/>
                <a:gd name="T10" fmla="*/ 105 w 120"/>
                <a:gd name="T11" fmla="*/ 6 h 64"/>
                <a:gd name="T12" fmla="*/ 99 w 120"/>
                <a:gd name="T13" fmla="*/ 9 h 64"/>
                <a:gd name="T14" fmla="*/ 87 w 120"/>
                <a:gd name="T15" fmla="*/ 3 h 64"/>
                <a:gd name="T16" fmla="*/ 87 w 120"/>
                <a:gd name="T17" fmla="*/ 9 h 64"/>
                <a:gd name="T18" fmla="*/ 78 w 120"/>
                <a:gd name="T19" fmla="*/ 9 h 64"/>
                <a:gd name="T20" fmla="*/ 75 w 120"/>
                <a:gd name="T21" fmla="*/ 9 h 64"/>
                <a:gd name="T22" fmla="*/ 69 w 120"/>
                <a:gd name="T23" fmla="*/ 12 h 64"/>
                <a:gd name="T24" fmla="*/ 63 w 120"/>
                <a:gd name="T25" fmla="*/ 9 h 64"/>
                <a:gd name="T26" fmla="*/ 54 w 120"/>
                <a:gd name="T27" fmla="*/ 16 h 64"/>
                <a:gd name="T28" fmla="*/ 51 w 120"/>
                <a:gd name="T29" fmla="*/ 12 h 64"/>
                <a:gd name="T30" fmla="*/ 45 w 120"/>
                <a:gd name="T31" fmla="*/ 16 h 64"/>
                <a:gd name="T32" fmla="*/ 45 w 120"/>
                <a:gd name="T33" fmla="*/ 22 h 64"/>
                <a:gd name="T34" fmla="*/ 36 w 120"/>
                <a:gd name="T35" fmla="*/ 25 h 64"/>
                <a:gd name="T36" fmla="*/ 33 w 120"/>
                <a:gd name="T37" fmla="*/ 16 h 64"/>
                <a:gd name="T38" fmla="*/ 15 w 120"/>
                <a:gd name="T39" fmla="*/ 3 h 64"/>
                <a:gd name="T40" fmla="*/ 18 w 120"/>
                <a:gd name="T41" fmla="*/ 9 h 64"/>
                <a:gd name="T42" fmla="*/ 15 w 120"/>
                <a:gd name="T43" fmla="*/ 9 h 64"/>
                <a:gd name="T44" fmla="*/ 6 w 120"/>
                <a:gd name="T45" fmla="*/ 12 h 64"/>
                <a:gd name="T46" fmla="*/ 0 w 120"/>
                <a:gd name="T47" fmla="*/ 22 h 64"/>
                <a:gd name="T48" fmla="*/ 12 w 120"/>
                <a:gd name="T49" fmla="*/ 25 h 64"/>
                <a:gd name="T50" fmla="*/ 24 w 120"/>
                <a:gd name="T51" fmla="*/ 25 h 64"/>
                <a:gd name="T52" fmla="*/ 24 w 120"/>
                <a:gd name="T53" fmla="*/ 28 h 64"/>
                <a:gd name="T54" fmla="*/ 18 w 120"/>
                <a:gd name="T55" fmla="*/ 31 h 64"/>
                <a:gd name="T56" fmla="*/ 3 w 120"/>
                <a:gd name="T57" fmla="*/ 37 h 64"/>
                <a:gd name="T58" fmla="*/ 21 w 120"/>
                <a:gd name="T59" fmla="*/ 37 h 64"/>
                <a:gd name="T60" fmla="*/ 24 w 120"/>
                <a:gd name="T61" fmla="*/ 40 h 64"/>
                <a:gd name="T62" fmla="*/ 27 w 120"/>
                <a:gd name="T63" fmla="*/ 43 h 64"/>
                <a:gd name="T64" fmla="*/ 24 w 120"/>
                <a:gd name="T65" fmla="*/ 49 h 64"/>
                <a:gd name="T66" fmla="*/ 18 w 120"/>
                <a:gd name="T67" fmla="*/ 52 h 64"/>
                <a:gd name="T68" fmla="*/ 33 w 120"/>
                <a:gd name="T69" fmla="*/ 52 h 64"/>
                <a:gd name="T70" fmla="*/ 54 w 120"/>
                <a:gd name="T71" fmla="*/ 61 h 64"/>
                <a:gd name="T72" fmla="*/ 72 w 120"/>
                <a:gd name="T73" fmla="*/ 55 h 64"/>
                <a:gd name="T74" fmla="*/ 87 w 120"/>
                <a:gd name="T75" fmla="*/ 52 h 64"/>
                <a:gd name="T76" fmla="*/ 102 w 120"/>
                <a:gd name="T77"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64">
                  <a:moveTo>
                    <a:pt x="102" y="46"/>
                  </a:moveTo>
                  <a:cubicBezTo>
                    <a:pt x="108" y="46"/>
                    <a:pt x="108" y="37"/>
                    <a:pt x="111" y="37"/>
                  </a:cubicBezTo>
                  <a:cubicBezTo>
                    <a:pt x="114" y="40"/>
                    <a:pt x="117" y="34"/>
                    <a:pt x="120" y="31"/>
                  </a:cubicBezTo>
                  <a:cubicBezTo>
                    <a:pt x="120" y="28"/>
                    <a:pt x="117" y="22"/>
                    <a:pt x="114" y="22"/>
                  </a:cubicBezTo>
                  <a:cubicBezTo>
                    <a:pt x="111" y="22"/>
                    <a:pt x="108" y="19"/>
                    <a:pt x="108" y="16"/>
                  </a:cubicBezTo>
                  <a:cubicBezTo>
                    <a:pt x="108" y="12"/>
                    <a:pt x="105" y="9"/>
                    <a:pt x="105" y="6"/>
                  </a:cubicBezTo>
                  <a:cubicBezTo>
                    <a:pt x="105" y="6"/>
                    <a:pt x="102" y="6"/>
                    <a:pt x="99" y="9"/>
                  </a:cubicBezTo>
                  <a:cubicBezTo>
                    <a:pt x="96" y="9"/>
                    <a:pt x="90" y="0"/>
                    <a:pt x="87" y="3"/>
                  </a:cubicBezTo>
                  <a:cubicBezTo>
                    <a:pt x="84" y="3"/>
                    <a:pt x="87" y="6"/>
                    <a:pt x="87" y="9"/>
                  </a:cubicBezTo>
                  <a:cubicBezTo>
                    <a:pt x="84" y="12"/>
                    <a:pt x="78" y="9"/>
                    <a:pt x="78" y="9"/>
                  </a:cubicBezTo>
                  <a:cubicBezTo>
                    <a:pt x="78" y="12"/>
                    <a:pt x="78" y="12"/>
                    <a:pt x="75" y="9"/>
                  </a:cubicBezTo>
                  <a:cubicBezTo>
                    <a:pt x="72" y="9"/>
                    <a:pt x="69" y="9"/>
                    <a:pt x="69" y="12"/>
                  </a:cubicBezTo>
                  <a:cubicBezTo>
                    <a:pt x="69" y="12"/>
                    <a:pt x="66" y="12"/>
                    <a:pt x="63" y="9"/>
                  </a:cubicBezTo>
                  <a:cubicBezTo>
                    <a:pt x="60" y="6"/>
                    <a:pt x="54" y="12"/>
                    <a:pt x="54" y="16"/>
                  </a:cubicBezTo>
                  <a:cubicBezTo>
                    <a:pt x="54" y="19"/>
                    <a:pt x="54" y="19"/>
                    <a:pt x="51" y="12"/>
                  </a:cubicBezTo>
                  <a:cubicBezTo>
                    <a:pt x="48" y="6"/>
                    <a:pt x="45" y="12"/>
                    <a:pt x="45" y="16"/>
                  </a:cubicBezTo>
                  <a:cubicBezTo>
                    <a:pt x="48" y="19"/>
                    <a:pt x="45" y="22"/>
                    <a:pt x="45" y="22"/>
                  </a:cubicBezTo>
                  <a:cubicBezTo>
                    <a:pt x="42" y="19"/>
                    <a:pt x="39" y="22"/>
                    <a:pt x="36" y="25"/>
                  </a:cubicBezTo>
                  <a:cubicBezTo>
                    <a:pt x="36" y="28"/>
                    <a:pt x="30" y="19"/>
                    <a:pt x="33" y="16"/>
                  </a:cubicBezTo>
                  <a:cubicBezTo>
                    <a:pt x="36" y="12"/>
                    <a:pt x="21" y="3"/>
                    <a:pt x="15" y="3"/>
                  </a:cubicBezTo>
                  <a:cubicBezTo>
                    <a:pt x="12" y="3"/>
                    <a:pt x="15" y="6"/>
                    <a:pt x="18" y="9"/>
                  </a:cubicBezTo>
                  <a:cubicBezTo>
                    <a:pt x="21" y="12"/>
                    <a:pt x="15" y="12"/>
                    <a:pt x="15" y="9"/>
                  </a:cubicBezTo>
                  <a:cubicBezTo>
                    <a:pt x="12" y="6"/>
                    <a:pt x="9" y="9"/>
                    <a:pt x="6" y="12"/>
                  </a:cubicBezTo>
                  <a:cubicBezTo>
                    <a:pt x="3" y="16"/>
                    <a:pt x="0" y="19"/>
                    <a:pt x="0" y="22"/>
                  </a:cubicBezTo>
                  <a:cubicBezTo>
                    <a:pt x="0" y="22"/>
                    <a:pt x="6" y="25"/>
                    <a:pt x="12" y="25"/>
                  </a:cubicBezTo>
                  <a:cubicBezTo>
                    <a:pt x="18" y="22"/>
                    <a:pt x="24" y="22"/>
                    <a:pt x="24" y="25"/>
                  </a:cubicBezTo>
                  <a:cubicBezTo>
                    <a:pt x="27" y="25"/>
                    <a:pt x="21" y="28"/>
                    <a:pt x="24" y="28"/>
                  </a:cubicBezTo>
                  <a:cubicBezTo>
                    <a:pt x="27" y="31"/>
                    <a:pt x="24" y="34"/>
                    <a:pt x="18" y="31"/>
                  </a:cubicBezTo>
                  <a:cubicBezTo>
                    <a:pt x="12" y="31"/>
                    <a:pt x="3" y="34"/>
                    <a:pt x="3" y="37"/>
                  </a:cubicBezTo>
                  <a:cubicBezTo>
                    <a:pt x="6" y="37"/>
                    <a:pt x="21" y="34"/>
                    <a:pt x="21" y="37"/>
                  </a:cubicBezTo>
                  <a:cubicBezTo>
                    <a:pt x="21" y="37"/>
                    <a:pt x="21" y="43"/>
                    <a:pt x="24" y="40"/>
                  </a:cubicBezTo>
                  <a:cubicBezTo>
                    <a:pt x="30" y="40"/>
                    <a:pt x="27" y="43"/>
                    <a:pt x="27" y="43"/>
                  </a:cubicBezTo>
                  <a:cubicBezTo>
                    <a:pt x="30" y="46"/>
                    <a:pt x="30" y="49"/>
                    <a:pt x="24" y="49"/>
                  </a:cubicBezTo>
                  <a:cubicBezTo>
                    <a:pt x="18" y="49"/>
                    <a:pt x="15" y="52"/>
                    <a:pt x="18" y="52"/>
                  </a:cubicBezTo>
                  <a:cubicBezTo>
                    <a:pt x="21" y="55"/>
                    <a:pt x="27" y="55"/>
                    <a:pt x="33" y="52"/>
                  </a:cubicBezTo>
                  <a:cubicBezTo>
                    <a:pt x="39" y="52"/>
                    <a:pt x="48" y="58"/>
                    <a:pt x="54" y="61"/>
                  </a:cubicBezTo>
                  <a:cubicBezTo>
                    <a:pt x="60" y="64"/>
                    <a:pt x="72" y="61"/>
                    <a:pt x="72" y="55"/>
                  </a:cubicBezTo>
                  <a:cubicBezTo>
                    <a:pt x="75" y="52"/>
                    <a:pt x="84" y="55"/>
                    <a:pt x="87" y="52"/>
                  </a:cubicBezTo>
                  <a:cubicBezTo>
                    <a:pt x="90" y="49"/>
                    <a:pt x="96" y="46"/>
                    <a:pt x="102" y="4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8" name="Freeform 903"/>
            <p:cNvSpPr>
              <a:spLocks/>
            </p:cNvSpPr>
            <p:nvPr userDrawn="1"/>
          </p:nvSpPr>
          <p:spPr bwMode="auto">
            <a:xfrm>
              <a:off x="3297" y="-2237"/>
              <a:ext cx="80" cy="89"/>
            </a:xfrm>
            <a:custGeom>
              <a:avLst/>
              <a:gdLst>
                <a:gd name="T0" fmla="*/ 45 w 51"/>
                <a:gd name="T1" fmla="*/ 18 h 57"/>
                <a:gd name="T2" fmla="*/ 42 w 51"/>
                <a:gd name="T3" fmla="*/ 15 h 57"/>
                <a:gd name="T4" fmla="*/ 36 w 51"/>
                <a:gd name="T5" fmla="*/ 18 h 57"/>
                <a:gd name="T6" fmla="*/ 27 w 51"/>
                <a:gd name="T7" fmla="*/ 15 h 57"/>
                <a:gd name="T8" fmla="*/ 30 w 51"/>
                <a:gd name="T9" fmla="*/ 9 h 57"/>
                <a:gd name="T10" fmla="*/ 33 w 51"/>
                <a:gd name="T11" fmla="*/ 3 h 57"/>
                <a:gd name="T12" fmla="*/ 33 w 51"/>
                <a:gd name="T13" fmla="*/ 3 h 57"/>
                <a:gd name="T14" fmla="*/ 21 w 51"/>
                <a:gd name="T15" fmla="*/ 6 h 57"/>
                <a:gd name="T16" fmla="*/ 27 w 51"/>
                <a:gd name="T17" fmla="*/ 9 h 57"/>
                <a:gd name="T18" fmla="*/ 18 w 51"/>
                <a:gd name="T19" fmla="*/ 15 h 57"/>
                <a:gd name="T20" fmla="*/ 6 w 51"/>
                <a:gd name="T21" fmla="*/ 15 h 57"/>
                <a:gd name="T22" fmla="*/ 6 w 51"/>
                <a:gd name="T23" fmla="*/ 24 h 57"/>
                <a:gd name="T24" fmla="*/ 12 w 51"/>
                <a:gd name="T25" fmla="*/ 30 h 57"/>
                <a:gd name="T26" fmla="*/ 9 w 51"/>
                <a:gd name="T27" fmla="*/ 42 h 57"/>
                <a:gd name="T28" fmla="*/ 0 w 51"/>
                <a:gd name="T29" fmla="*/ 48 h 57"/>
                <a:gd name="T30" fmla="*/ 12 w 51"/>
                <a:gd name="T31" fmla="*/ 57 h 57"/>
                <a:gd name="T32" fmla="*/ 33 w 51"/>
                <a:gd name="T33" fmla="*/ 48 h 57"/>
                <a:gd name="T34" fmla="*/ 45 w 51"/>
                <a:gd name="T35" fmla="*/ 45 h 57"/>
                <a:gd name="T36" fmla="*/ 45 w 51"/>
                <a:gd name="T37" fmla="*/ 21 h 57"/>
                <a:gd name="T38" fmla="*/ 45 w 51"/>
                <a:gd name="T3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7">
                  <a:moveTo>
                    <a:pt x="45" y="18"/>
                  </a:moveTo>
                  <a:cubicBezTo>
                    <a:pt x="42" y="15"/>
                    <a:pt x="42" y="15"/>
                    <a:pt x="42" y="15"/>
                  </a:cubicBezTo>
                  <a:cubicBezTo>
                    <a:pt x="36" y="9"/>
                    <a:pt x="36" y="15"/>
                    <a:pt x="36" y="18"/>
                  </a:cubicBezTo>
                  <a:cubicBezTo>
                    <a:pt x="36" y="21"/>
                    <a:pt x="30" y="15"/>
                    <a:pt x="27" y="15"/>
                  </a:cubicBezTo>
                  <a:cubicBezTo>
                    <a:pt x="30" y="9"/>
                    <a:pt x="30" y="9"/>
                    <a:pt x="30" y="9"/>
                  </a:cubicBezTo>
                  <a:cubicBezTo>
                    <a:pt x="33" y="9"/>
                    <a:pt x="33" y="6"/>
                    <a:pt x="33" y="3"/>
                  </a:cubicBezTo>
                  <a:cubicBezTo>
                    <a:pt x="33" y="3"/>
                    <a:pt x="33" y="3"/>
                    <a:pt x="33" y="3"/>
                  </a:cubicBezTo>
                  <a:cubicBezTo>
                    <a:pt x="27" y="0"/>
                    <a:pt x="21" y="0"/>
                    <a:pt x="21" y="6"/>
                  </a:cubicBezTo>
                  <a:cubicBezTo>
                    <a:pt x="21" y="9"/>
                    <a:pt x="27" y="6"/>
                    <a:pt x="27" y="9"/>
                  </a:cubicBezTo>
                  <a:cubicBezTo>
                    <a:pt x="27" y="12"/>
                    <a:pt x="21" y="12"/>
                    <a:pt x="18" y="15"/>
                  </a:cubicBezTo>
                  <a:cubicBezTo>
                    <a:pt x="12" y="18"/>
                    <a:pt x="9" y="12"/>
                    <a:pt x="6" y="15"/>
                  </a:cubicBezTo>
                  <a:cubicBezTo>
                    <a:pt x="0" y="18"/>
                    <a:pt x="9" y="18"/>
                    <a:pt x="6" y="24"/>
                  </a:cubicBezTo>
                  <a:cubicBezTo>
                    <a:pt x="3" y="27"/>
                    <a:pt x="6" y="27"/>
                    <a:pt x="12" y="30"/>
                  </a:cubicBezTo>
                  <a:cubicBezTo>
                    <a:pt x="18" y="36"/>
                    <a:pt x="9" y="36"/>
                    <a:pt x="9" y="42"/>
                  </a:cubicBezTo>
                  <a:cubicBezTo>
                    <a:pt x="9" y="45"/>
                    <a:pt x="3" y="45"/>
                    <a:pt x="0" y="48"/>
                  </a:cubicBezTo>
                  <a:cubicBezTo>
                    <a:pt x="0" y="51"/>
                    <a:pt x="6" y="57"/>
                    <a:pt x="12" y="57"/>
                  </a:cubicBezTo>
                  <a:cubicBezTo>
                    <a:pt x="15" y="57"/>
                    <a:pt x="27" y="54"/>
                    <a:pt x="33" y="48"/>
                  </a:cubicBezTo>
                  <a:cubicBezTo>
                    <a:pt x="36" y="45"/>
                    <a:pt x="39" y="48"/>
                    <a:pt x="45" y="45"/>
                  </a:cubicBezTo>
                  <a:cubicBezTo>
                    <a:pt x="51" y="45"/>
                    <a:pt x="48" y="24"/>
                    <a:pt x="45" y="21"/>
                  </a:cubicBezTo>
                  <a:cubicBezTo>
                    <a:pt x="45" y="18"/>
                    <a:pt x="45" y="18"/>
                    <a:pt x="4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09" name="Freeform 904"/>
            <p:cNvSpPr>
              <a:spLocks/>
            </p:cNvSpPr>
            <p:nvPr userDrawn="1"/>
          </p:nvSpPr>
          <p:spPr bwMode="auto">
            <a:xfrm>
              <a:off x="3297" y="-2237"/>
              <a:ext cx="80" cy="89"/>
            </a:xfrm>
            <a:custGeom>
              <a:avLst/>
              <a:gdLst>
                <a:gd name="T0" fmla="*/ 45 w 51"/>
                <a:gd name="T1" fmla="*/ 18 h 57"/>
                <a:gd name="T2" fmla="*/ 42 w 51"/>
                <a:gd name="T3" fmla="*/ 15 h 57"/>
                <a:gd name="T4" fmla="*/ 36 w 51"/>
                <a:gd name="T5" fmla="*/ 18 h 57"/>
                <a:gd name="T6" fmla="*/ 27 w 51"/>
                <a:gd name="T7" fmla="*/ 15 h 57"/>
                <a:gd name="T8" fmla="*/ 30 w 51"/>
                <a:gd name="T9" fmla="*/ 9 h 57"/>
                <a:gd name="T10" fmla="*/ 33 w 51"/>
                <a:gd name="T11" fmla="*/ 3 h 57"/>
                <a:gd name="T12" fmla="*/ 33 w 51"/>
                <a:gd name="T13" fmla="*/ 3 h 57"/>
                <a:gd name="T14" fmla="*/ 21 w 51"/>
                <a:gd name="T15" fmla="*/ 6 h 57"/>
                <a:gd name="T16" fmla="*/ 27 w 51"/>
                <a:gd name="T17" fmla="*/ 9 h 57"/>
                <a:gd name="T18" fmla="*/ 18 w 51"/>
                <a:gd name="T19" fmla="*/ 15 h 57"/>
                <a:gd name="T20" fmla="*/ 6 w 51"/>
                <a:gd name="T21" fmla="*/ 15 h 57"/>
                <a:gd name="T22" fmla="*/ 6 w 51"/>
                <a:gd name="T23" fmla="*/ 24 h 57"/>
                <a:gd name="T24" fmla="*/ 12 w 51"/>
                <a:gd name="T25" fmla="*/ 30 h 57"/>
                <a:gd name="T26" fmla="*/ 9 w 51"/>
                <a:gd name="T27" fmla="*/ 42 h 57"/>
                <a:gd name="T28" fmla="*/ 0 w 51"/>
                <a:gd name="T29" fmla="*/ 48 h 57"/>
                <a:gd name="T30" fmla="*/ 12 w 51"/>
                <a:gd name="T31" fmla="*/ 57 h 57"/>
                <a:gd name="T32" fmla="*/ 33 w 51"/>
                <a:gd name="T33" fmla="*/ 48 h 57"/>
                <a:gd name="T34" fmla="*/ 45 w 51"/>
                <a:gd name="T35" fmla="*/ 45 h 57"/>
                <a:gd name="T36" fmla="*/ 45 w 51"/>
                <a:gd name="T37" fmla="*/ 21 h 57"/>
                <a:gd name="T38" fmla="*/ 45 w 51"/>
                <a:gd name="T3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 h="57">
                  <a:moveTo>
                    <a:pt x="45" y="18"/>
                  </a:moveTo>
                  <a:cubicBezTo>
                    <a:pt x="42" y="15"/>
                    <a:pt x="42" y="15"/>
                    <a:pt x="42" y="15"/>
                  </a:cubicBezTo>
                  <a:cubicBezTo>
                    <a:pt x="36" y="9"/>
                    <a:pt x="36" y="15"/>
                    <a:pt x="36" y="18"/>
                  </a:cubicBezTo>
                  <a:cubicBezTo>
                    <a:pt x="36" y="21"/>
                    <a:pt x="30" y="15"/>
                    <a:pt x="27" y="15"/>
                  </a:cubicBezTo>
                  <a:cubicBezTo>
                    <a:pt x="30" y="9"/>
                    <a:pt x="30" y="9"/>
                    <a:pt x="30" y="9"/>
                  </a:cubicBezTo>
                  <a:cubicBezTo>
                    <a:pt x="33" y="9"/>
                    <a:pt x="33" y="6"/>
                    <a:pt x="33" y="3"/>
                  </a:cubicBezTo>
                  <a:cubicBezTo>
                    <a:pt x="33" y="3"/>
                    <a:pt x="33" y="3"/>
                    <a:pt x="33" y="3"/>
                  </a:cubicBezTo>
                  <a:cubicBezTo>
                    <a:pt x="27" y="0"/>
                    <a:pt x="21" y="0"/>
                    <a:pt x="21" y="6"/>
                  </a:cubicBezTo>
                  <a:cubicBezTo>
                    <a:pt x="21" y="9"/>
                    <a:pt x="27" y="6"/>
                    <a:pt x="27" y="9"/>
                  </a:cubicBezTo>
                  <a:cubicBezTo>
                    <a:pt x="27" y="12"/>
                    <a:pt x="21" y="12"/>
                    <a:pt x="18" y="15"/>
                  </a:cubicBezTo>
                  <a:cubicBezTo>
                    <a:pt x="12" y="18"/>
                    <a:pt x="9" y="12"/>
                    <a:pt x="6" y="15"/>
                  </a:cubicBezTo>
                  <a:cubicBezTo>
                    <a:pt x="0" y="18"/>
                    <a:pt x="9" y="18"/>
                    <a:pt x="6" y="24"/>
                  </a:cubicBezTo>
                  <a:cubicBezTo>
                    <a:pt x="3" y="27"/>
                    <a:pt x="6" y="27"/>
                    <a:pt x="12" y="30"/>
                  </a:cubicBezTo>
                  <a:cubicBezTo>
                    <a:pt x="18" y="36"/>
                    <a:pt x="9" y="36"/>
                    <a:pt x="9" y="42"/>
                  </a:cubicBezTo>
                  <a:cubicBezTo>
                    <a:pt x="9" y="45"/>
                    <a:pt x="3" y="45"/>
                    <a:pt x="0" y="48"/>
                  </a:cubicBezTo>
                  <a:cubicBezTo>
                    <a:pt x="0" y="51"/>
                    <a:pt x="6" y="57"/>
                    <a:pt x="12" y="57"/>
                  </a:cubicBezTo>
                  <a:cubicBezTo>
                    <a:pt x="15" y="57"/>
                    <a:pt x="27" y="54"/>
                    <a:pt x="33" y="48"/>
                  </a:cubicBezTo>
                  <a:cubicBezTo>
                    <a:pt x="36" y="45"/>
                    <a:pt x="39" y="48"/>
                    <a:pt x="45" y="45"/>
                  </a:cubicBezTo>
                  <a:cubicBezTo>
                    <a:pt x="51" y="45"/>
                    <a:pt x="48" y="24"/>
                    <a:pt x="45" y="21"/>
                  </a:cubicBezTo>
                  <a:cubicBezTo>
                    <a:pt x="45" y="18"/>
                    <a:pt x="45" y="18"/>
                    <a:pt x="4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0" name="Freeform 905"/>
            <p:cNvSpPr>
              <a:spLocks noEditPoints="1"/>
            </p:cNvSpPr>
            <p:nvPr userDrawn="1"/>
          </p:nvSpPr>
          <p:spPr bwMode="auto">
            <a:xfrm>
              <a:off x="3338" y="-2382"/>
              <a:ext cx="175" cy="272"/>
            </a:xfrm>
            <a:custGeom>
              <a:avLst/>
              <a:gdLst>
                <a:gd name="T0" fmla="*/ 6 w 112"/>
                <a:gd name="T1" fmla="*/ 96 h 174"/>
                <a:gd name="T2" fmla="*/ 0 w 112"/>
                <a:gd name="T3" fmla="*/ 108 h 174"/>
                <a:gd name="T4" fmla="*/ 16 w 112"/>
                <a:gd name="T5" fmla="*/ 108 h 174"/>
                <a:gd name="T6" fmla="*/ 28 w 112"/>
                <a:gd name="T7" fmla="*/ 105 h 174"/>
                <a:gd name="T8" fmla="*/ 112 w 112"/>
                <a:gd name="T9" fmla="*/ 135 h 174"/>
                <a:gd name="T10" fmla="*/ 97 w 112"/>
                <a:gd name="T11" fmla="*/ 129 h 174"/>
                <a:gd name="T12" fmla="*/ 91 w 112"/>
                <a:gd name="T13" fmla="*/ 117 h 174"/>
                <a:gd name="T14" fmla="*/ 76 w 112"/>
                <a:gd name="T15" fmla="*/ 90 h 174"/>
                <a:gd name="T16" fmla="*/ 58 w 112"/>
                <a:gd name="T17" fmla="*/ 81 h 174"/>
                <a:gd name="T18" fmla="*/ 70 w 112"/>
                <a:gd name="T19" fmla="*/ 54 h 174"/>
                <a:gd name="T20" fmla="*/ 46 w 112"/>
                <a:gd name="T21" fmla="*/ 51 h 174"/>
                <a:gd name="T22" fmla="*/ 55 w 112"/>
                <a:gd name="T23" fmla="*/ 33 h 174"/>
                <a:gd name="T24" fmla="*/ 40 w 112"/>
                <a:gd name="T25" fmla="*/ 39 h 174"/>
                <a:gd name="T26" fmla="*/ 28 w 112"/>
                <a:gd name="T27" fmla="*/ 54 h 174"/>
                <a:gd name="T28" fmla="*/ 16 w 112"/>
                <a:gd name="T29" fmla="*/ 57 h 174"/>
                <a:gd name="T30" fmla="*/ 22 w 112"/>
                <a:gd name="T31" fmla="*/ 72 h 174"/>
                <a:gd name="T32" fmla="*/ 19 w 112"/>
                <a:gd name="T33" fmla="*/ 84 h 174"/>
                <a:gd name="T34" fmla="*/ 31 w 112"/>
                <a:gd name="T35" fmla="*/ 87 h 174"/>
                <a:gd name="T36" fmla="*/ 37 w 112"/>
                <a:gd name="T37" fmla="*/ 87 h 174"/>
                <a:gd name="T38" fmla="*/ 49 w 112"/>
                <a:gd name="T39" fmla="*/ 96 h 174"/>
                <a:gd name="T40" fmla="*/ 55 w 112"/>
                <a:gd name="T41" fmla="*/ 108 h 174"/>
                <a:gd name="T42" fmla="*/ 58 w 112"/>
                <a:gd name="T43" fmla="*/ 123 h 174"/>
                <a:gd name="T44" fmla="*/ 43 w 112"/>
                <a:gd name="T45" fmla="*/ 123 h 174"/>
                <a:gd name="T46" fmla="*/ 46 w 112"/>
                <a:gd name="T47" fmla="*/ 135 h 174"/>
                <a:gd name="T48" fmla="*/ 40 w 112"/>
                <a:gd name="T49" fmla="*/ 147 h 174"/>
                <a:gd name="T50" fmla="*/ 58 w 112"/>
                <a:gd name="T51" fmla="*/ 150 h 174"/>
                <a:gd name="T52" fmla="*/ 46 w 112"/>
                <a:gd name="T53" fmla="*/ 156 h 174"/>
                <a:gd name="T54" fmla="*/ 40 w 112"/>
                <a:gd name="T55" fmla="*/ 168 h 174"/>
                <a:gd name="T56" fmla="*/ 52 w 112"/>
                <a:gd name="T57" fmla="*/ 165 h 174"/>
                <a:gd name="T58" fmla="*/ 70 w 112"/>
                <a:gd name="T59" fmla="*/ 162 h 174"/>
                <a:gd name="T60" fmla="*/ 91 w 112"/>
                <a:gd name="T61" fmla="*/ 162 h 174"/>
                <a:gd name="T62" fmla="*/ 103 w 112"/>
                <a:gd name="T63" fmla="*/ 153 h 174"/>
                <a:gd name="T64" fmla="*/ 112 w 112"/>
                <a:gd name="T65" fmla="*/ 135 h 174"/>
                <a:gd name="T66" fmla="*/ 19 w 112"/>
                <a:gd name="T67" fmla="*/ 42 h 174"/>
                <a:gd name="T68" fmla="*/ 76 w 112"/>
                <a:gd name="T69" fmla="*/ 15 h 174"/>
                <a:gd name="T70" fmla="*/ 76 w 112"/>
                <a:gd name="T71" fmla="*/ 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174">
                  <a:moveTo>
                    <a:pt x="22" y="93"/>
                  </a:moveTo>
                  <a:cubicBezTo>
                    <a:pt x="19" y="90"/>
                    <a:pt x="13" y="96"/>
                    <a:pt x="6" y="96"/>
                  </a:cubicBezTo>
                  <a:cubicBezTo>
                    <a:pt x="6" y="99"/>
                    <a:pt x="6" y="102"/>
                    <a:pt x="3" y="102"/>
                  </a:cubicBezTo>
                  <a:cubicBezTo>
                    <a:pt x="0" y="108"/>
                    <a:pt x="0" y="108"/>
                    <a:pt x="0" y="108"/>
                  </a:cubicBezTo>
                  <a:cubicBezTo>
                    <a:pt x="3" y="108"/>
                    <a:pt x="10" y="114"/>
                    <a:pt x="10" y="111"/>
                  </a:cubicBezTo>
                  <a:cubicBezTo>
                    <a:pt x="10" y="108"/>
                    <a:pt x="10" y="102"/>
                    <a:pt x="16" y="108"/>
                  </a:cubicBezTo>
                  <a:cubicBezTo>
                    <a:pt x="19" y="111"/>
                    <a:pt x="19" y="111"/>
                    <a:pt x="19" y="111"/>
                  </a:cubicBezTo>
                  <a:cubicBezTo>
                    <a:pt x="19" y="108"/>
                    <a:pt x="25" y="108"/>
                    <a:pt x="28" y="105"/>
                  </a:cubicBezTo>
                  <a:cubicBezTo>
                    <a:pt x="31" y="102"/>
                    <a:pt x="25" y="99"/>
                    <a:pt x="22" y="93"/>
                  </a:cubicBezTo>
                  <a:close/>
                  <a:moveTo>
                    <a:pt x="112" y="135"/>
                  </a:moveTo>
                  <a:cubicBezTo>
                    <a:pt x="112" y="129"/>
                    <a:pt x="103" y="126"/>
                    <a:pt x="100" y="129"/>
                  </a:cubicBezTo>
                  <a:cubicBezTo>
                    <a:pt x="100" y="132"/>
                    <a:pt x="97" y="132"/>
                    <a:pt x="97" y="129"/>
                  </a:cubicBezTo>
                  <a:cubicBezTo>
                    <a:pt x="94" y="126"/>
                    <a:pt x="97" y="123"/>
                    <a:pt x="94" y="123"/>
                  </a:cubicBezTo>
                  <a:cubicBezTo>
                    <a:pt x="91" y="117"/>
                    <a:pt x="91" y="117"/>
                    <a:pt x="91" y="117"/>
                  </a:cubicBezTo>
                  <a:cubicBezTo>
                    <a:pt x="91" y="114"/>
                    <a:pt x="88" y="105"/>
                    <a:pt x="82" y="102"/>
                  </a:cubicBezTo>
                  <a:cubicBezTo>
                    <a:pt x="79" y="102"/>
                    <a:pt x="76" y="93"/>
                    <a:pt x="76" y="90"/>
                  </a:cubicBezTo>
                  <a:cubicBezTo>
                    <a:pt x="76" y="84"/>
                    <a:pt x="70" y="87"/>
                    <a:pt x="67" y="84"/>
                  </a:cubicBezTo>
                  <a:cubicBezTo>
                    <a:pt x="64" y="78"/>
                    <a:pt x="61" y="81"/>
                    <a:pt x="58" y="81"/>
                  </a:cubicBezTo>
                  <a:cubicBezTo>
                    <a:pt x="55" y="81"/>
                    <a:pt x="58" y="78"/>
                    <a:pt x="61" y="75"/>
                  </a:cubicBezTo>
                  <a:cubicBezTo>
                    <a:pt x="67" y="72"/>
                    <a:pt x="70" y="57"/>
                    <a:pt x="70" y="54"/>
                  </a:cubicBezTo>
                  <a:cubicBezTo>
                    <a:pt x="70" y="51"/>
                    <a:pt x="52" y="51"/>
                    <a:pt x="49" y="54"/>
                  </a:cubicBezTo>
                  <a:cubicBezTo>
                    <a:pt x="46" y="54"/>
                    <a:pt x="43" y="51"/>
                    <a:pt x="46" y="51"/>
                  </a:cubicBezTo>
                  <a:cubicBezTo>
                    <a:pt x="49" y="48"/>
                    <a:pt x="55" y="42"/>
                    <a:pt x="55" y="39"/>
                  </a:cubicBezTo>
                  <a:cubicBezTo>
                    <a:pt x="55" y="39"/>
                    <a:pt x="58" y="36"/>
                    <a:pt x="55" y="33"/>
                  </a:cubicBezTo>
                  <a:cubicBezTo>
                    <a:pt x="55" y="30"/>
                    <a:pt x="52" y="36"/>
                    <a:pt x="52" y="39"/>
                  </a:cubicBezTo>
                  <a:cubicBezTo>
                    <a:pt x="49" y="39"/>
                    <a:pt x="43" y="39"/>
                    <a:pt x="40" y="39"/>
                  </a:cubicBezTo>
                  <a:cubicBezTo>
                    <a:pt x="34" y="36"/>
                    <a:pt x="31" y="45"/>
                    <a:pt x="31" y="48"/>
                  </a:cubicBezTo>
                  <a:cubicBezTo>
                    <a:pt x="31" y="51"/>
                    <a:pt x="25" y="54"/>
                    <a:pt x="28" y="54"/>
                  </a:cubicBezTo>
                  <a:cubicBezTo>
                    <a:pt x="28" y="57"/>
                    <a:pt x="25" y="60"/>
                    <a:pt x="25" y="60"/>
                  </a:cubicBezTo>
                  <a:cubicBezTo>
                    <a:pt x="22" y="57"/>
                    <a:pt x="22" y="54"/>
                    <a:pt x="16" y="57"/>
                  </a:cubicBezTo>
                  <a:cubicBezTo>
                    <a:pt x="13" y="60"/>
                    <a:pt x="22" y="63"/>
                    <a:pt x="25" y="63"/>
                  </a:cubicBezTo>
                  <a:cubicBezTo>
                    <a:pt x="31" y="63"/>
                    <a:pt x="22" y="66"/>
                    <a:pt x="22" y="72"/>
                  </a:cubicBezTo>
                  <a:cubicBezTo>
                    <a:pt x="22" y="75"/>
                    <a:pt x="28" y="75"/>
                    <a:pt x="28" y="78"/>
                  </a:cubicBezTo>
                  <a:cubicBezTo>
                    <a:pt x="28" y="81"/>
                    <a:pt x="19" y="81"/>
                    <a:pt x="19" y="84"/>
                  </a:cubicBezTo>
                  <a:cubicBezTo>
                    <a:pt x="19" y="87"/>
                    <a:pt x="25" y="84"/>
                    <a:pt x="25" y="81"/>
                  </a:cubicBezTo>
                  <a:cubicBezTo>
                    <a:pt x="28" y="81"/>
                    <a:pt x="25" y="90"/>
                    <a:pt x="31" y="87"/>
                  </a:cubicBezTo>
                  <a:cubicBezTo>
                    <a:pt x="37" y="87"/>
                    <a:pt x="34" y="78"/>
                    <a:pt x="37" y="78"/>
                  </a:cubicBezTo>
                  <a:cubicBezTo>
                    <a:pt x="40" y="81"/>
                    <a:pt x="37" y="84"/>
                    <a:pt x="37" y="87"/>
                  </a:cubicBezTo>
                  <a:cubicBezTo>
                    <a:pt x="40" y="90"/>
                    <a:pt x="34" y="96"/>
                    <a:pt x="34" y="99"/>
                  </a:cubicBezTo>
                  <a:cubicBezTo>
                    <a:pt x="34" y="102"/>
                    <a:pt x="46" y="102"/>
                    <a:pt x="49" y="96"/>
                  </a:cubicBezTo>
                  <a:cubicBezTo>
                    <a:pt x="55" y="93"/>
                    <a:pt x="55" y="96"/>
                    <a:pt x="52" y="99"/>
                  </a:cubicBezTo>
                  <a:cubicBezTo>
                    <a:pt x="52" y="102"/>
                    <a:pt x="52" y="105"/>
                    <a:pt x="55" y="108"/>
                  </a:cubicBezTo>
                  <a:cubicBezTo>
                    <a:pt x="58" y="108"/>
                    <a:pt x="61" y="108"/>
                    <a:pt x="58" y="111"/>
                  </a:cubicBezTo>
                  <a:cubicBezTo>
                    <a:pt x="58" y="114"/>
                    <a:pt x="58" y="120"/>
                    <a:pt x="58" y="123"/>
                  </a:cubicBezTo>
                  <a:cubicBezTo>
                    <a:pt x="55" y="123"/>
                    <a:pt x="46" y="123"/>
                    <a:pt x="46" y="123"/>
                  </a:cubicBezTo>
                  <a:cubicBezTo>
                    <a:pt x="46" y="120"/>
                    <a:pt x="40" y="123"/>
                    <a:pt x="43" y="123"/>
                  </a:cubicBezTo>
                  <a:cubicBezTo>
                    <a:pt x="43" y="126"/>
                    <a:pt x="37" y="129"/>
                    <a:pt x="40" y="132"/>
                  </a:cubicBezTo>
                  <a:cubicBezTo>
                    <a:pt x="40" y="132"/>
                    <a:pt x="46" y="132"/>
                    <a:pt x="46" y="135"/>
                  </a:cubicBezTo>
                  <a:cubicBezTo>
                    <a:pt x="46" y="138"/>
                    <a:pt x="40" y="141"/>
                    <a:pt x="34" y="144"/>
                  </a:cubicBezTo>
                  <a:cubicBezTo>
                    <a:pt x="28" y="144"/>
                    <a:pt x="37" y="150"/>
                    <a:pt x="40" y="147"/>
                  </a:cubicBezTo>
                  <a:cubicBezTo>
                    <a:pt x="43" y="144"/>
                    <a:pt x="40" y="150"/>
                    <a:pt x="46" y="150"/>
                  </a:cubicBezTo>
                  <a:cubicBezTo>
                    <a:pt x="49" y="150"/>
                    <a:pt x="52" y="153"/>
                    <a:pt x="58" y="150"/>
                  </a:cubicBezTo>
                  <a:cubicBezTo>
                    <a:pt x="61" y="150"/>
                    <a:pt x="61" y="150"/>
                    <a:pt x="58" y="153"/>
                  </a:cubicBezTo>
                  <a:cubicBezTo>
                    <a:pt x="55" y="156"/>
                    <a:pt x="49" y="153"/>
                    <a:pt x="46" y="156"/>
                  </a:cubicBezTo>
                  <a:cubicBezTo>
                    <a:pt x="43" y="156"/>
                    <a:pt x="28" y="171"/>
                    <a:pt x="31" y="174"/>
                  </a:cubicBezTo>
                  <a:cubicBezTo>
                    <a:pt x="34" y="174"/>
                    <a:pt x="34" y="171"/>
                    <a:pt x="40" y="168"/>
                  </a:cubicBezTo>
                  <a:cubicBezTo>
                    <a:pt x="46" y="165"/>
                    <a:pt x="46" y="171"/>
                    <a:pt x="49" y="171"/>
                  </a:cubicBezTo>
                  <a:cubicBezTo>
                    <a:pt x="52" y="171"/>
                    <a:pt x="52" y="165"/>
                    <a:pt x="52" y="165"/>
                  </a:cubicBezTo>
                  <a:cubicBezTo>
                    <a:pt x="55" y="165"/>
                    <a:pt x="58" y="162"/>
                    <a:pt x="61" y="165"/>
                  </a:cubicBezTo>
                  <a:cubicBezTo>
                    <a:pt x="64" y="165"/>
                    <a:pt x="67" y="162"/>
                    <a:pt x="70" y="162"/>
                  </a:cubicBezTo>
                  <a:cubicBezTo>
                    <a:pt x="73" y="159"/>
                    <a:pt x="79" y="165"/>
                    <a:pt x="79" y="162"/>
                  </a:cubicBezTo>
                  <a:cubicBezTo>
                    <a:pt x="82" y="162"/>
                    <a:pt x="88" y="162"/>
                    <a:pt x="91" y="162"/>
                  </a:cubicBezTo>
                  <a:cubicBezTo>
                    <a:pt x="97" y="162"/>
                    <a:pt x="106" y="156"/>
                    <a:pt x="109" y="156"/>
                  </a:cubicBezTo>
                  <a:cubicBezTo>
                    <a:pt x="109" y="153"/>
                    <a:pt x="106" y="153"/>
                    <a:pt x="103" y="153"/>
                  </a:cubicBezTo>
                  <a:cubicBezTo>
                    <a:pt x="100" y="153"/>
                    <a:pt x="100" y="150"/>
                    <a:pt x="103" y="147"/>
                  </a:cubicBezTo>
                  <a:cubicBezTo>
                    <a:pt x="106" y="141"/>
                    <a:pt x="112" y="141"/>
                    <a:pt x="112" y="135"/>
                  </a:cubicBezTo>
                  <a:close/>
                  <a:moveTo>
                    <a:pt x="13" y="51"/>
                  </a:moveTo>
                  <a:cubicBezTo>
                    <a:pt x="16" y="51"/>
                    <a:pt x="22" y="42"/>
                    <a:pt x="19" y="42"/>
                  </a:cubicBezTo>
                  <a:cubicBezTo>
                    <a:pt x="19" y="39"/>
                    <a:pt x="10" y="51"/>
                    <a:pt x="13" y="51"/>
                  </a:cubicBezTo>
                  <a:close/>
                  <a:moveTo>
                    <a:pt x="76" y="15"/>
                  </a:moveTo>
                  <a:cubicBezTo>
                    <a:pt x="79" y="12"/>
                    <a:pt x="82" y="0"/>
                    <a:pt x="79" y="3"/>
                  </a:cubicBezTo>
                  <a:cubicBezTo>
                    <a:pt x="76" y="3"/>
                    <a:pt x="76" y="15"/>
                    <a:pt x="76"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1" name="Freeform 906"/>
            <p:cNvSpPr>
              <a:spLocks noEditPoints="1"/>
            </p:cNvSpPr>
            <p:nvPr userDrawn="1"/>
          </p:nvSpPr>
          <p:spPr bwMode="auto">
            <a:xfrm>
              <a:off x="3338" y="-2382"/>
              <a:ext cx="175" cy="272"/>
            </a:xfrm>
            <a:custGeom>
              <a:avLst/>
              <a:gdLst>
                <a:gd name="T0" fmla="*/ 6 w 112"/>
                <a:gd name="T1" fmla="*/ 96 h 174"/>
                <a:gd name="T2" fmla="*/ 0 w 112"/>
                <a:gd name="T3" fmla="*/ 108 h 174"/>
                <a:gd name="T4" fmla="*/ 16 w 112"/>
                <a:gd name="T5" fmla="*/ 108 h 174"/>
                <a:gd name="T6" fmla="*/ 28 w 112"/>
                <a:gd name="T7" fmla="*/ 105 h 174"/>
                <a:gd name="T8" fmla="*/ 112 w 112"/>
                <a:gd name="T9" fmla="*/ 135 h 174"/>
                <a:gd name="T10" fmla="*/ 97 w 112"/>
                <a:gd name="T11" fmla="*/ 129 h 174"/>
                <a:gd name="T12" fmla="*/ 91 w 112"/>
                <a:gd name="T13" fmla="*/ 117 h 174"/>
                <a:gd name="T14" fmla="*/ 76 w 112"/>
                <a:gd name="T15" fmla="*/ 90 h 174"/>
                <a:gd name="T16" fmla="*/ 58 w 112"/>
                <a:gd name="T17" fmla="*/ 81 h 174"/>
                <a:gd name="T18" fmla="*/ 70 w 112"/>
                <a:gd name="T19" fmla="*/ 54 h 174"/>
                <a:gd name="T20" fmla="*/ 46 w 112"/>
                <a:gd name="T21" fmla="*/ 51 h 174"/>
                <a:gd name="T22" fmla="*/ 55 w 112"/>
                <a:gd name="T23" fmla="*/ 33 h 174"/>
                <a:gd name="T24" fmla="*/ 40 w 112"/>
                <a:gd name="T25" fmla="*/ 39 h 174"/>
                <a:gd name="T26" fmla="*/ 28 w 112"/>
                <a:gd name="T27" fmla="*/ 54 h 174"/>
                <a:gd name="T28" fmla="*/ 16 w 112"/>
                <a:gd name="T29" fmla="*/ 57 h 174"/>
                <a:gd name="T30" fmla="*/ 22 w 112"/>
                <a:gd name="T31" fmla="*/ 72 h 174"/>
                <a:gd name="T32" fmla="*/ 19 w 112"/>
                <a:gd name="T33" fmla="*/ 84 h 174"/>
                <a:gd name="T34" fmla="*/ 31 w 112"/>
                <a:gd name="T35" fmla="*/ 87 h 174"/>
                <a:gd name="T36" fmla="*/ 37 w 112"/>
                <a:gd name="T37" fmla="*/ 87 h 174"/>
                <a:gd name="T38" fmla="*/ 49 w 112"/>
                <a:gd name="T39" fmla="*/ 96 h 174"/>
                <a:gd name="T40" fmla="*/ 55 w 112"/>
                <a:gd name="T41" fmla="*/ 108 h 174"/>
                <a:gd name="T42" fmla="*/ 58 w 112"/>
                <a:gd name="T43" fmla="*/ 123 h 174"/>
                <a:gd name="T44" fmla="*/ 43 w 112"/>
                <a:gd name="T45" fmla="*/ 123 h 174"/>
                <a:gd name="T46" fmla="*/ 46 w 112"/>
                <a:gd name="T47" fmla="*/ 135 h 174"/>
                <a:gd name="T48" fmla="*/ 40 w 112"/>
                <a:gd name="T49" fmla="*/ 147 h 174"/>
                <a:gd name="T50" fmla="*/ 58 w 112"/>
                <a:gd name="T51" fmla="*/ 150 h 174"/>
                <a:gd name="T52" fmla="*/ 46 w 112"/>
                <a:gd name="T53" fmla="*/ 156 h 174"/>
                <a:gd name="T54" fmla="*/ 40 w 112"/>
                <a:gd name="T55" fmla="*/ 168 h 174"/>
                <a:gd name="T56" fmla="*/ 52 w 112"/>
                <a:gd name="T57" fmla="*/ 165 h 174"/>
                <a:gd name="T58" fmla="*/ 70 w 112"/>
                <a:gd name="T59" fmla="*/ 162 h 174"/>
                <a:gd name="T60" fmla="*/ 91 w 112"/>
                <a:gd name="T61" fmla="*/ 162 h 174"/>
                <a:gd name="T62" fmla="*/ 103 w 112"/>
                <a:gd name="T63" fmla="*/ 153 h 174"/>
                <a:gd name="T64" fmla="*/ 112 w 112"/>
                <a:gd name="T65" fmla="*/ 135 h 174"/>
                <a:gd name="T66" fmla="*/ 19 w 112"/>
                <a:gd name="T67" fmla="*/ 42 h 174"/>
                <a:gd name="T68" fmla="*/ 76 w 112"/>
                <a:gd name="T69" fmla="*/ 15 h 174"/>
                <a:gd name="T70" fmla="*/ 76 w 112"/>
                <a:gd name="T71" fmla="*/ 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174">
                  <a:moveTo>
                    <a:pt x="22" y="93"/>
                  </a:moveTo>
                  <a:cubicBezTo>
                    <a:pt x="19" y="90"/>
                    <a:pt x="13" y="96"/>
                    <a:pt x="6" y="96"/>
                  </a:cubicBezTo>
                  <a:cubicBezTo>
                    <a:pt x="6" y="99"/>
                    <a:pt x="6" y="102"/>
                    <a:pt x="3" y="102"/>
                  </a:cubicBezTo>
                  <a:cubicBezTo>
                    <a:pt x="0" y="108"/>
                    <a:pt x="0" y="108"/>
                    <a:pt x="0" y="108"/>
                  </a:cubicBezTo>
                  <a:cubicBezTo>
                    <a:pt x="3" y="108"/>
                    <a:pt x="10" y="114"/>
                    <a:pt x="10" y="111"/>
                  </a:cubicBezTo>
                  <a:cubicBezTo>
                    <a:pt x="10" y="108"/>
                    <a:pt x="10" y="102"/>
                    <a:pt x="16" y="108"/>
                  </a:cubicBezTo>
                  <a:cubicBezTo>
                    <a:pt x="19" y="111"/>
                    <a:pt x="19" y="111"/>
                    <a:pt x="19" y="111"/>
                  </a:cubicBezTo>
                  <a:cubicBezTo>
                    <a:pt x="19" y="108"/>
                    <a:pt x="25" y="108"/>
                    <a:pt x="28" y="105"/>
                  </a:cubicBezTo>
                  <a:cubicBezTo>
                    <a:pt x="31" y="102"/>
                    <a:pt x="25" y="99"/>
                    <a:pt x="22" y="93"/>
                  </a:cubicBezTo>
                  <a:close/>
                  <a:moveTo>
                    <a:pt x="112" y="135"/>
                  </a:moveTo>
                  <a:cubicBezTo>
                    <a:pt x="112" y="129"/>
                    <a:pt x="103" y="126"/>
                    <a:pt x="100" y="129"/>
                  </a:cubicBezTo>
                  <a:cubicBezTo>
                    <a:pt x="100" y="132"/>
                    <a:pt x="97" y="132"/>
                    <a:pt x="97" y="129"/>
                  </a:cubicBezTo>
                  <a:cubicBezTo>
                    <a:pt x="94" y="126"/>
                    <a:pt x="97" y="123"/>
                    <a:pt x="94" y="123"/>
                  </a:cubicBezTo>
                  <a:cubicBezTo>
                    <a:pt x="91" y="117"/>
                    <a:pt x="91" y="117"/>
                    <a:pt x="91" y="117"/>
                  </a:cubicBezTo>
                  <a:cubicBezTo>
                    <a:pt x="91" y="114"/>
                    <a:pt x="88" y="105"/>
                    <a:pt x="82" y="102"/>
                  </a:cubicBezTo>
                  <a:cubicBezTo>
                    <a:pt x="79" y="102"/>
                    <a:pt x="76" y="93"/>
                    <a:pt x="76" y="90"/>
                  </a:cubicBezTo>
                  <a:cubicBezTo>
                    <a:pt x="76" y="84"/>
                    <a:pt x="70" y="87"/>
                    <a:pt x="67" y="84"/>
                  </a:cubicBezTo>
                  <a:cubicBezTo>
                    <a:pt x="64" y="78"/>
                    <a:pt x="61" y="81"/>
                    <a:pt x="58" y="81"/>
                  </a:cubicBezTo>
                  <a:cubicBezTo>
                    <a:pt x="55" y="81"/>
                    <a:pt x="58" y="78"/>
                    <a:pt x="61" y="75"/>
                  </a:cubicBezTo>
                  <a:cubicBezTo>
                    <a:pt x="67" y="72"/>
                    <a:pt x="70" y="57"/>
                    <a:pt x="70" y="54"/>
                  </a:cubicBezTo>
                  <a:cubicBezTo>
                    <a:pt x="70" y="51"/>
                    <a:pt x="52" y="51"/>
                    <a:pt x="49" y="54"/>
                  </a:cubicBezTo>
                  <a:cubicBezTo>
                    <a:pt x="46" y="54"/>
                    <a:pt x="43" y="51"/>
                    <a:pt x="46" y="51"/>
                  </a:cubicBezTo>
                  <a:cubicBezTo>
                    <a:pt x="49" y="48"/>
                    <a:pt x="55" y="42"/>
                    <a:pt x="55" y="39"/>
                  </a:cubicBezTo>
                  <a:cubicBezTo>
                    <a:pt x="55" y="39"/>
                    <a:pt x="58" y="36"/>
                    <a:pt x="55" y="33"/>
                  </a:cubicBezTo>
                  <a:cubicBezTo>
                    <a:pt x="55" y="30"/>
                    <a:pt x="52" y="36"/>
                    <a:pt x="52" y="39"/>
                  </a:cubicBezTo>
                  <a:cubicBezTo>
                    <a:pt x="49" y="39"/>
                    <a:pt x="43" y="39"/>
                    <a:pt x="40" y="39"/>
                  </a:cubicBezTo>
                  <a:cubicBezTo>
                    <a:pt x="34" y="36"/>
                    <a:pt x="31" y="45"/>
                    <a:pt x="31" y="48"/>
                  </a:cubicBezTo>
                  <a:cubicBezTo>
                    <a:pt x="31" y="51"/>
                    <a:pt x="25" y="54"/>
                    <a:pt x="28" y="54"/>
                  </a:cubicBezTo>
                  <a:cubicBezTo>
                    <a:pt x="28" y="57"/>
                    <a:pt x="25" y="60"/>
                    <a:pt x="25" y="60"/>
                  </a:cubicBezTo>
                  <a:cubicBezTo>
                    <a:pt x="22" y="57"/>
                    <a:pt x="22" y="54"/>
                    <a:pt x="16" y="57"/>
                  </a:cubicBezTo>
                  <a:cubicBezTo>
                    <a:pt x="13" y="60"/>
                    <a:pt x="22" y="63"/>
                    <a:pt x="25" y="63"/>
                  </a:cubicBezTo>
                  <a:cubicBezTo>
                    <a:pt x="31" y="63"/>
                    <a:pt x="22" y="66"/>
                    <a:pt x="22" y="72"/>
                  </a:cubicBezTo>
                  <a:cubicBezTo>
                    <a:pt x="22" y="75"/>
                    <a:pt x="28" y="75"/>
                    <a:pt x="28" y="78"/>
                  </a:cubicBezTo>
                  <a:cubicBezTo>
                    <a:pt x="28" y="81"/>
                    <a:pt x="19" y="81"/>
                    <a:pt x="19" y="84"/>
                  </a:cubicBezTo>
                  <a:cubicBezTo>
                    <a:pt x="19" y="87"/>
                    <a:pt x="25" y="84"/>
                    <a:pt x="25" y="81"/>
                  </a:cubicBezTo>
                  <a:cubicBezTo>
                    <a:pt x="28" y="81"/>
                    <a:pt x="25" y="90"/>
                    <a:pt x="31" y="87"/>
                  </a:cubicBezTo>
                  <a:cubicBezTo>
                    <a:pt x="37" y="87"/>
                    <a:pt x="34" y="78"/>
                    <a:pt x="37" y="78"/>
                  </a:cubicBezTo>
                  <a:cubicBezTo>
                    <a:pt x="40" y="81"/>
                    <a:pt x="37" y="84"/>
                    <a:pt x="37" y="87"/>
                  </a:cubicBezTo>
                  <a:cubicBezTo>
                    <a:pt x="40" y="90"/>
                    <a:pt x="34" y="96"/>
                    <a:pt x="34" y="99"/>
                  </a:cubicBezTo>
                  <a:cubicBezTo>
                    <a:pt x="34" y="102"/>
                    <a:pt x="46" y="102"/>
                    <a:pt x="49" y="96"/>
                  </a:cubicBezTo>
                  <a:cubicBezTo>
                    <a:pt x="55" y="93"/>
                    <a:pt x="55" y="96"/>
                    <a:pt x="52" y="99"/>
                  </a:cubicBezTo>
                  <a:cubicBezTo>
                    <a:pt x="52" y="102"/>
                    <a:pt x="52" y="105"/>
                    <a:pt x="55" y="108"/>
                  </a:cubicBezTo>
                  <a:cubicBezTo>
                    <a:pt x="58" y="108"/>
                    <a:pt x="61" y="108"/>
                    <a:pt x="58" y="111"/>
                  </a:cubicBezTo>
                  <a:cubicBezTo>
                    <a:pt x="58" y="114"/>
                    <a:pt x="58" y="120"/>
                    <a:pt x="58" y="123"/>
                  </a:cubicBezTo>
                  <a:cubicBezTo>
                    <a:pt x="55" y="123"/>
                    <a:pt x="46" y="123"/>
                    <a:pt x="46" y="123"/>
                  </a:cubicBezTo>
                  <a:cubicBezTo>
                    <a:pt x="46" y="120"/>
                    <a:pt x="40" y="123"/>
                    <a:pt x="43" y="123"/>
                  </a:cubicBezTo>
                  <a:cubicBezTo>
                    <a:pt x="43" y="126"/>
                    <a:pt x="37" y="129"/>
                    <a:pt x="40" y="132"/>
                  </a:cubicBezTo>
                  <a:cubicBezTo>
                    <a:pt x="40" y="132"/>
                    <a:pt x="46" y="132"/>
                    <a:pt x="46" y="135"/>
                  </a:cubicBezTo>
                  <a:cubicBezTo>
                    <a:pt x="46" y="138"/>
                    <a:pt x="40" y="141"/>
                    <a:pt x="34" y="144"/>
                  </a:cubicBezTo>
                  <a:cubicBezTo>
                    <a:pt x="28" y="144"/>
                    <a:pt x="37" y="150"/>
                    <a:pt x="40" y="147"/>
                  </a:cubicBezTo>
                  <a:cubicBezTo>
                    <a:pt x="43" y="144"/>
                    <a:pt x="40" y="150"/>
                    <a:pt x="46" y="150"/>
                  </a:cubicBezTo>
                  <a:cubicBezTo>
                    <a:pt x="49" y="150"/>
                    <a:pt x="52" y="153"/>
                    <a:pt x="58" y="150"/>
                  </a:cubicBezTo>
                  <a:cubicBezTo>
                    <a:pt x="61" y="150"/>
                    <a:pt x="61" y="150"/>
                    <a:pt x="58" y="153"/>
                  </a:cubicBezTo>
                  <a:cubicBezTo>
                    <a:pt x="55" y="156"/>
                    <a:pt x="49" y="153"/>
                    <a:pt x="46" y="156"/>
                  </a:cubicBezTo>
                  <a:cubicBezTo>
                    <a:pt x="43" y="156"/>
                    <a:pt x="28" y="171"/>
                    <a:pt x="31" y="174"/>
                  </a:cubicBezTo>
                  <a:cubicBezTo>
                    <a:pt x="34" y="174"/>
                    <a:pt x="34" y="171"/>
                    <a:pt x="40" y="168"/>
                  </a:cubicBezTo>
                  <a:cubicBezTo>
                    <a:pt x="46" y="165"/>
                    <a:pt x="46" y="171"/>
                    <a:pt x="49" y="171"/>
                  </a:cubicBezTo>
                  <a:cubicBezTo>
                    <a:pt x="52" y="171"/>
                    <a:pt x="52" y="165"/>
                    <a:pt x="52" y="165"/>
                  </a:cubicBezTo>
                  <a:cubicBezTo>
                    <a:pt x="55" y="165"/>
                    <a:pt x="58" y="162"/>
                    <a:pt x="61" y="165"/>
                  </a:cubicBezTo>
                  <a:cubicBezTo>
                    <a:pt x="64" y="165"/>
                    <a:pt x="67" y="162"/>
                    <a:pt x="70" y="162"/>
                  </a:cubicBezTo>
                  <a:cubicBezTo>
                    <a:pt x="73" y="159"/>
                    <a:pt x="79" y="165"/>
                    <a:pt x="79" y="162"/>
                  </a:cubicBezTo>
                  <a:cubicBezTo>
                    <a:pt x="82" y="162"/>
                    <a:pt x="88" y="162"/>
                    <a:pt x="91" y="162"/>
                  </a:cubicBezTo>
                  <a:cubicBezTo>
                    <a:pt x="97" y="162"/>
                    <a:pt x="106" y="156"/>
                    <a:pt x="109" y="156"/>
                  </a:cubicBezTo>
                  <a:cubicBezTo>
                    <a:pt x="109" y="153"/>
                    <a:pt x="106" y="153"/>
                    <a:pt x="103" y="153"/>
                  </a:cubicBezTo>
                  <a:cubicBezTo>
                    <a:pt x="100" y="153"/>
                    <a:pt x="100" y="150"/>
                    <a:pt x="103" y="147"/>
                  </a:cubicBezTo>
                  <a:cubicBezTo>
                    <a:pt x="106" y="141"/>
                    <a:pt x="112" y="141"/>
                    <a:pt x="112" y="135"/>
                  </a:cubicBezTo>
                  <a:close/>
                  <a:moveTo>
                    <a:pt x="13" y="51"/>
                  </a:moveTo>
                  <a:cubicBezTo>
                    <a:pt x="16" y="51"/>
                    <a:pt x="22" y="42"/>
                    <a:pt x="19" y="42"/>
                  </a:cubicBezTo>
                  <a:cubicBezTo>
                    <a:pt x="19" y="39"/>
                    <a:pt x="10" y="51"/>
                    <a:pt x="13" y="51"/>
                  </a:cubicBezTo>
                  <a:close/>
                  <a:moveTo>
                    <a:pt x="76" y="15"/>
                  </a:moveTo>
                  <a:cubicBezTo>
                    <a:pt x="79" y="12"/>
                    <a:pt x="82" y="0"/>
                    <a:pt x="79" y="3"/>
                  </a:cubicBezTo>
                  <a:cubicBezTo>
                    <a:pt x="76" y="3"/>
                    <a:pt x="76" y="15"/>
                    <a:pt x="76" y="15"/>
                  </a:cubicBezTo>
                  <a:close/>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2" name="Freeform 907"/>
            <p:cNvSpPr>
              <a:spLocks noEditPoints="1"/>
            </p:cNvSpPr>
            <p:nvPr userDrawn="1"/>
          </p:nvSpPr>
          <p:spPr bwMode="auto">
            <a:xfrm>
              <a:off x="3338" y="-2382"/>
              <a:ext cx="175" cy="272"/>
            </a:xfrm>
            <a:custGeom>
              <a:avLst/>
              <a:gdLst>
                <a:gd name="T0" fmla="*/ 6 w 112"/>
                <a:gd name="T1" fmla="*/ 96 h 174"/>
                <a:gd name="T2" fmla="*/ 0 w 112"/>
                <a:gd name="T3" fmla="*/ 108 h 174"/>
                <a:gd name="T4" fmla="*/ 16 w 112"/>
                <a:gd name="T5" fmla="*/ 108 h 174"/>
                <a:gd name="T6" fmla="*/ 28 w 112"/>
                <a:gd name="T7" fmla="*/ 105 h 174"/>
                <a:gd name="T8" fmla="*/ 112 w 112"/>
                <a:gd name="T9" fmla="*/ 135 h 174"/>
                <a:gd name="T10" fmla="*/ 97 w 112"/>
                <a:gd name="T11" fmla="*/ 129 h 174"/>
                <a:gd name="T12" fmla="*/ 91 w 112"/>
                <a:gd name="T13" fmla="*/ 117 h 174"/>
                <a:gd name="T14" fmla="*/ 76 w 112"/>
                <a:gd name="T15" fmla="*/ 90 h 174"/>
                <a:gd name="T16" fmla="*/ 58 w 112"/>
                <a:gd name="T17" fmla="*/ 81 h 174"/>
                <a:gd name="T18" fmla="*/ 70 w 112"/>
                <a:gd name="T19" fmla="*/ 54 h 174"/>
                <a:gd name="T20" fmla="*/ 46 w 112"/>
                <a:gd name="T21" fmla="*/ 51 h 174"/>
                <a:gd name="T22" fmla="*/ 55 w 112"/>
                <a:gd name="T23" fmla="*/ 33 h 174"/>
                <a:gd name="T24" fmla="*/ 40 w 112"/>
                <a:gd name="T25" fmla="*/ 39 h 174"/>
                <a:gd name="T26" fmla="*/ 28 w 112"/>
                <a:gd name="T27" fmla="*/ 54 h 174"/>
                <a:gd name="T28" fmla="*/ 16 w 112"/>
                <a:gd name="T29" fmla="*/ 57 h 174"/>
                <a:gd name="T30" fmla="*/ 22 w 112"/>
                <a:gd name="T31" fmla="*/ 72 h 174"/>
                <a:gd name="T32" fmla="*/ 19 w 112"/>
                <a:gd name="T33" fmla="*/ 84 h 174"/>
                <a:gd name="T34" fmla="*/ 31 w 112"/>
                <a:gd name="T35" fmla="*/ 87 h 174"/>
                <a:gd name="T36" fmla="*/ 37 w 112"/>
                <a:gd name="T37" fmla="*/ 87 h 174"/>
                <a:gd name="T38" fmla="*/ 49 w 112"/>
                <a:gd name="T39" fmla="*/ 96 h 174"/>
                <a:gd name="T40" fmla="*/ 55 w 112"/>
                <a:gd name="T41" fmla="*/ 108 h 174"/>
                <a:gd name="T42" fmla="*/ 58 w 112"/>
                <a:gd name="T43" fmla="*/ 123 h 174"/>
                <a:gd name="T44" fmla="*/ 43 w 112"/>
                <a:gd name="T45" fmla="*/ 123 h 174"/>
                <a:gd name="T46" fmla="*/ 46 w 112"/>
                <a:gd name="T47" fmla="*/ 135 h 174"/>
                <a:gd name="T48" fmla="*/ 40 w 112"/>
                <a:gd name="T49" fmla="*/ 147 h 174"/>
                <a:gd name="T50" fmla="*/ 58 w 112"/>
                <a:gd name="T51" fmla="*/ 150 h 174"/>
                <a:gd name="T52" fmla="*/ 46 w 112"/>
                <a:gd name="T53" fmla="*/ 156 h 174"/>
                <a:gd name="T54" fmla="*/ 40 w 112"/>
                <a:gd name="T55" fmla="*/ 168 h 174"/>
                <a:gd name="T56" fmla="*/ 52 w 112"/>
                <a:gd name="T57" fmla="*/ 165 h 174"/>
                <a:gd name="T58" fmla="*/ 70 w 112"/>
                <a:gd name="T59" fmla="*/ 162 h 174"/>
                <a:gd name="T60" fmla="*/ 91 w 112"/>
                <a:gd name="T61" fmla="*/ 162 h 174"/>
                <a:gd name="T62" fmla="*/ 103 w 112"/>
                <a:gd name="T63" fmla="*/ 153 h 174"/>
                <a:gd name="T64" fmla="*/ 112 w 112"/>
                <a:gd name="T65" fmla="*/ 135 h 174"/>
                <a:gd name="T66" fmla="*/ 19 w 112"/>
                <a:gd name="T67" fmla="*/ 42 h 174"/>
                <a:gd name="T68" fmla="*/ 76 w 112"/>
                <a:gd name="T69" fmla="*/ 15 h 174"/>
                <a:gd name="T70" fmla="*/ 76 w 112"/>
                <a:gd name="T71" fmla="*/ 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174">
                  <a:moveTo>
                    <a:pt x="22" y="93"/>
                  </a:moveTo>
                  <a:cubicBezTo>
                    <a:pt x="19" y="90"/>
                    <a:pt x="13" y="96"/>
                    <a:pt x="6" y="96"/>
                  </a:cubicBezTo>
                  <a:cubicBezTo>
                    <a:pt x="6" y="99"/>
                    <a:pt x="6" y="102"/>
                    <a:pt x="3" y="102"/>
                  </a:cubicBezTo>
                  <a:cubicBezTo>
                    <a:pt x="0" y="108"/>
                    <a:pt x="0" y="108"/>
                    <a:pt x="0" y="108"/>
                  </a:cubicBezTo>
                  <a:cubicBezTo>
                    <a:pt x="3" y="108"/>
                    <a:pt x="10" y="114"/>
                    <a:pt x="10" y="111"/>
                  </a:cubicBezTo>
                  <a:cubicBezTo>
                    <a:pt x="10" y="108"/>
                    <a:pt x="10" y="102"/>
                    <a:pt x="16" y="108"/>
                  </a:cubicBezTo>
                  <a:cubicBezTo>
                    <a:pt x="19" y="111"/>
                    <a:pt x="19" y="111"/>
                    <a:pt x="19" y="111"/>
                  </a:cubicBezTo>
                  <a:cubicBezTo>
                    <a:pt x="19" y="108"/>
                    <a:pt x="25" y="108"/>
                    <a:pt x="28" y="105"/>
                  </a:cubicBezTo>
                  <a:cubicBezTo>
                    <a:pt x="31" y="102"/>
                    <a:pt x="25" y="99"/>
                    <a:pt x="22" y="93"/>
                  </a:cubicBezTo>
                  <a:close/>
                  <a:moveTo>
                    <a:pt x="112" y="135"/>
                  </a:moveTo>
                  <a:cubicBezTo>
                    <a:pt x="112" y="129"/>
                    <a:pt x="103" y="126"/>
                    <a:pt x="100" y="129"/>
                  </a:cubicBezTo>
                  <a:cubicBezTo>
                    <a:pt x="100" y="132"/>
                    <a:pt x="97" y="132"/>
                    <a:pt x="97" y="129"/>
                  </a:cubicBezTo>
                  <a:cubicBezTo>
                    <a:pt x="94" y="126"/>
                    <a:pt x="97" y="123"/>
                    <a:pt x="94" y="123"/>
                  </a:cubicBezTo>
                  <a:cubicBezTo>
                    <a:pt x="91" y="117"/>
                    <a:pt x="91" y="117"/>
                    <a:pt x="91" y="117"/>
                  </a:cubicBezTo>
                  <a:cubicBezTo>
                    <a:pt x="91" y="114"/>
                    <a:pt x="88" y="105"/>
                    <a:pt x="82" y="102"/>
                  </a:cubicBezTo>
                  <a:cubicBezTo>
                    <a:pt x="79" y="102"/>
                    <a:pt x="76" y="93"/>
                    <a:pt x="76" y="90"/>
                  </a:cubicBezTo>
                  <a:cubicBezTo>
                    <a:pt x="76" y="84"/>
                    <a:pt x="70" y="87"/>
                    <a:pt x="67" y="84"/>
                  </a:cubicBezTo>
                  <a:cubicBezTo>
                    <a:pt x="64" y="78"/>
                    <a:pt x="61" y="81"/>
                    <a:pt x="58" y="81"/>
                  </a:cubicBezTo>
                  <a:cubicBezTo>
                    <a:pt x="55" y="81"/>
                    <a:pt x="58" y="78"/>
                    <a:pt x="61" y="75"/>
                  </a:cubicBezTo>
                  <a:cubicBezTo>
                    <a:pt x="67" y="72"/>
                    <a:pt x="70" y="57"/>
                    <a:pt x="70" y="54"/>
                  </a:cubicBezTo>
                  <a:cubicBezTo>
                    <a:pt x="70" y="51"/>
                    <a:pt x="52" y="51"/>
                    <a:pt x="49" y="54"/>
                  </a:cubicBezTo>
                  <a:cubicBezTo>
                    <a:pt x="46" y="54"/>
                    <a:pt x="43" y="51"/>
                    <a:pt x="46" y="51"/>
                  </a:cubicBezTo>
                  <a:cubicBezTo>
                    <a:pt x="49" y="48"/>
                    <a:pt x="55" y="42"/>
                    <a:pt x="55" y="39"/>
                  </a:cubicBezTo>
                  <a:cubicBezTo>
                    <a:pt x="55" y="39"/>
                    <a:pt x="58" y="36"/>
                    <a:pt x="55" y="33"/>
                  </a:cubicBezTo>
                  <a:cubicBezTo>
                    <a:pt x="55" y="30"/>
                    <a:pt x="52" y="36"/>
                    <a:pt x="52" y="39"/>
                  </a:cubicBezTo>
                  <a:cubicBezTo>
                    <a:pt x="49" y="39"/>
                    <a:pt x="43" y="39"/>
                    <a:pt x="40" y="39"/>
                  </a:cubicBezTo>
                  <a:cubicBezTo>
                    <a:pt x="34" y="36"/>
                    <a:pt x="31" y="45"/>
                    <a:pt x="31" y="48"/>
                  </a:cubicBezTo>
                  <a:cubicBezTo>
                    <a:pt x="31" y="51"/>
                    <a:pt x="25" y="54"/>
                    <a:pt x="28" y="54"/>
                  </a:cubicBezTo>
                  <a:cubicBezTo>
                    <a:pt x="28" y="57"/>
                    <a:pt x="25" y="60"/>
                    <a:pt x="25" y="60"/>
                  </a:cubicBezTo>
                  <a:cubicBezTo>
                    <a:pt x="22" y="57"/>
                    <a:pt x="22" y="54"/>
                    <a:pt x="16" y="57"/>
                  </a:cubicBezTo>
                  <a:cubicBezTo>
                    <a:pt x="13" y="60"/>
                    <a:pt x="22" y="63"/>
                    <a:pt x="25" y="63"/>
                  </a:cubicBezTo>
                  <a:cubicBezTo>
                    <a:pt x="31" y="63"/>
                    <a:pt x="22" y="66"/>
                    <a:pt x="22" y="72"/>
                  </a:cubicBezTo>
                  <a:cubicBezTo>
                    <a:pt x="22" y="75"/>
                    <a:pt x="28" y="75"/>
                    <a:pt x="28" y="78"/>
                  </a:cubicBezTo>
                  <a:cubicBezTo>
                    <a:pt x="28" y="81"/>
                    <a:pt x="19" y="81"/>
                    <a:pt x="19" y="84"/>
                  </a:cubicBezTo>
                  <a:cubicBezTo>
                    <a:pt x="19" y="87"/>
                    <a:pt x="25" y="84"/>
                    <a:pt x="25" y="81"/>
                  </a:cubicBezTo>
                  <a:cubicBezTo>
                    <a:pt x="28" y="81"/>
                    <a:pt x="25" y="90"/>
                    <a:pt x="31" y="87"/>
                  </a:cubicBezTo>
                  <a:cubicBezTo>
                    <a:pt x="37" y="87"/>
                    <a:pt x="34" y="78"/>
                    <a:pt x="37" y="78"/>
                  </a:cubicBezTo>
                  <a:cubicBezTo>
                    <a:pt x="40" y="81"/>
                    <a:pt x="37" y="84"/>
                    <a:pt x="37" y="87"/>
                  </a:cubicBezTo>
                  <a:cubicBezTo>
                    <a:pt x="40" y="90"/>
                    <a:pt x="34" y="96"/>
                    <a:pt x="34" y="99"/>
                  </a:cubicBezTo>
                  <a:cubicBezTo>
                    <a:pt x="34" y="102"/>
                    <a:pt x="46" y="102"/>
                    <a:pt x="49" y="96"/>
                  </a:cubicBezTo>
                  <a:cubicBezTo>
                    <a:pt x="55" y="93"/>
                    <a:pt x="55" y="96"/>
                    <a:pt x="52" y="99"/>
                  </a:cubicBezTo>
                  <a:cubicBezTo>
                    <a:pt x="52" y="102"/>
                    <a:pt x="52" y="105"/>
                    <a:pt x="55" y="108"/>
                  </a:cubicBezTo>
                  <a:cubicBezTo>
                    <a:pt x="58" y="108"/>
                    <a:pt x="61" y="108"/>
                    <a:pt x="58" y="111"/>
                  </a:cubicBezTo>
                  <a:cubicBezTo>
                    <a:pt x="58" y="114"/>
                    <a:pt x="58" y="120"/>
                    <a:pt x="58" y="123"/>
                  </a:cubicBezTo>
                  <a:cubicBezTo>
                    <a:pt x="55" y="123"/>
                    <a:pt x="46" y="123"/>
                    <a:pt x="46" y="123"/>
                  </a:cubicBezTo>
                  <a:cubicBezTo>
                    <a:pt x="46" y="120"/>
                    <a:pt x="40" y="123"/>
                    <a:pt x="43" y="123"/>
                  </a:cubicBezTo>
                  <a:cubicBezTo>
                    <a:pt x="43" y="126"/>
                    <a:pt x="37" y="129"/>
                    <a:pt x="40" y="132"/>
                  </a:cubicBezTo>
                  <a:cubicBezTo>
                    <a:pt x="40" y="132"/>
                    <a:pt x="46" y="132"/>
                    <a:pt x="46" y="135"/>
                  </a:cubicBezTo>
                  <a:cubicBezTo>
                    <a:pt x="46" y="138"/>
                    <a:pt x="40" y="141"/>
                    <a:pt x="34" y="144"/>
                  </a:cubicBezTo>
                  <a:cubicBezTo>
                    <a:pt x="28" y="144"/>
                    <a:pt x="37" y="150"/>
                    <a:pt x="40" y="147"/>
                  </a:cubicBezTo>
                  <a:cubicBezTo>
                    <a:pt x="43" y="144"/>
                    <a:pt x="40" y="150"/>
                    <a:pt x="46" y="150"/>
                  </a:cubicBezTo>
                  <a:cubicBezTo>
                    <a:pt x="49" y="150"/>
                    <a:pt x="52" y="153"/>
                    <a:pt x="58" y="150"/>
                  </a:cubicBezTo>
                  <a:cubicBezTo>
                    <a:pt x="61" y="150"/>
                    <a:pt x="61" y="150"/>
                    <a:pt x="58" y="153"/>
                  </a:cubicBezTo>
                  <a:cubicBezTo>
                    <a:pt x="55" y="156"/>
                    <a:pt x="49" y="153"/>
                    <a:pt x="46" y="156"/>
                  </a:cubicBezTo>
                  <a:cubicBezTo>
                    <a:pt x="43" y="156"/>
                    <a:pt x="28" y="171"/>
                    <a:pt x="31" y="174"/>
                  </a:cubicBezTo>
                  <a:cubicBezTo>
                    <a:pt x="34" y="174"/>
                    <a:pt x="34" y="171"/>
                    <a:pt x="40" y="168"/>
                  </a:cubicBezTo>
                  <a:cubicBezTo>
                    <a:pt x="46" y="165"/>
                    <a:pt x="46" y="171"/>
                    <a:pt x="49" y="171"/>
                  </a:cubicBezTo>
                  <a:cubicBezTo>
                    <a:pt x="52" y="171"/>
                    <a:pt x="52" y="165"/>
                    <a:pt x="52" y="165"/>
                  </a:cubicBezTo>
                  <a:cubicBezTo>
                    <a:pt x="55" y="165"/>
                    <a:pt x="58" y="162"/>
                    <a:pt x="61" y="165"/>
                  </a:cubicBezTo>
                  <a:cubicBezTo>
                    <a:pt x="64" y="165"/>
                    <a:pt x="67" y="162"/>
                    <a:pt x="70" y="162"/>
                  </a:cubicBezTo>
                  <a:cubicBezTo>
                    <a:pt x="73" y="159"/>
                    <a:pt x="79" y="165"/>
                    <a:pt x="79" y="162"/>
                  </a:cubicBezTo>
                  <a:cubicBezTo>
                    <a:pt x="82" y="162"/>
                    <a:pt x="88" y="162"/>
                    <a:pt x="91" y="162"/>
                  </a:cubicBezTo>
                  <a:cubicBezTo>
                    <a:pt x="97" y="162"/>
                    <a:pt x="106" y="156"/>
                    <a:pt x="109" y="156"/>
                  </a:cubicBezTo>
                  <a:cubicBezTo>
                    <a:pt x="109" y="153"/>
                    <a:pt x="106" y="153"/>
                    <a:pt x="103" y="153"/>
                  </a:cubicBezTo>
                  <a:cubicBezTo>
                    <a:pt x="100" y="153"/>
                    <a:pt x="100" y="150"/>
                    <a:pt x="103" y="147"/>
                  </a:cubicBezTo>
                  <a:cubicBezTo>
                    <a:pt x="106" y="141"/>
                    <a:pt x="112" y="141"/>
                    <a:pt x="112" y="135"/>
                  </a:cubicBezTo>
                  <a:close/>
                  <a:moveTo>
                    <a:pt x="13" y="51"/>
                  </a:moveTo>
                  <a:cubicBezTo>
                    <a:pt x="16" y="51"/>
                    <a:pt x="22" y="42"/>
                    <a:pt x="19" y="42"/>
                  </a:cubicBezTo>
                  <a:cubicBezTo>
                    <a:pt x="19" y="39"/>
                    <a:pt x="10" y="51"/>
                    <a:pt x="13" y="51"/>
                  </a:cubicBezTo>
                  <a:close/>
                  <a:moveTo>
                    <a:pt x="76" y="15"/>
                  </a:moveTo>
                  <a:cubicBezTo>
                    <a:pt x="79" y="12"/>
                    <a:pt x="82" y="0"/>
                    <a:pt x="79" y="3"/>
                  </a:cubicBezTo>
                  <a:cubicBezTo>
                    <a:pt x="76" y="3"/>
                    <a:pt x="76" y="15"/>
                    <a:pt x="76"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3" name="Freeform 908"/>
            <p:cNvSpPr>
              <a:spLocks noEditPoints="1"/>
            </p:cNvSpPr>
            <p:nvPr userDrawn="1"/>
          </p:nvSpPr>
          <p:spPr bwMode="auto">
            <a:xfrm>
              <a:off x="3338" y="-2382"/>
              <a:ext cx="175" cy="272"/>
            </a:xfrm>
            <a:custGeom>
              <a:avLst/>
              <a:gdLst>
                <a:gd name="T0" fmla="*/ 6 w 112"/>
                <a:gd name="T1" fmla="*/ 96 h 174"/>
                <a:gd name="T2" fmla="*/ 0 w 112"/>
                <a:gd name="T3" fmla="*/ 108 h 174"/>
                <a:gd name="T4" fmla="*/ 16 w 112"/>
                <a:gd name="T5" fmla="*/ 108 h 174"/>
                <a:gd name="T6" fmla="*/ 28 w 112"/>
                <a:gd name="T7" fmla="*/ 105 h 174"/>
                <a:gd name="T8" fmla="*/ 112 w 112"/>
                <a:gd name="T9" fmla="*/ 135 h 174"/>
                <a:gd name="T10" fmla="*/ 97 w 112"/>
                <a:gd name="T11" fmla="*/ 129 h 174"/>
                <a:gd name="T12" fmla="*/ 91 w 112"/>
                <a:gd name="T13" fmla="*/ 117 h 174"/>
                <a:gd name="T14" fmla="*/ 76 w 112"/>
                <a:gd name="T15" fmla="*/ 90 h 174"/>
                <a:gd name="T16" fmla="*/ 58 w 112"/>
                <a:gd name="T17" fmla="*/ 81 h 174"/>
                <a:gd name="T18" fmla="*/ 70 w 112"/>
                <a:gd name="T19" fmla="*/ 54 h 174"/>
                <a:gd name="T20" fmla="*/ 46 w 112"/>
                <a:gd name="T21" fmla="*/ 51 h 174"/>
                <a:gd name="T22" fmla="*/ 55 w 112"/>
                <a:gd name="T23" fmla="*/ 33 h 174"/>
                <a:gd name="T24" fmla="*/ 40 w 112"/>
                <a:gd name="T25" fmla="*/ 39 h 174"/>
                <a:gd name="T26" fmla="*/ 28 w 112"/>
                <a:gd name="T27" fmla="*/ 54 h 174"/>
                <a:gd name="T28" fmla="*/ 16 w 112"/>
                <a:gd name="T29" fmla="*/ 57 h 174"/>
                <a:gd name="T30" fmla="*/ 22 w 112"/>
                <a:gd name="T31" fmla="*/ 72 h 174"/>
                <a:gd name="T32" fmla="*/ 19 w 112"/>
                <a:gd name="T33" fmla="*/ 84 h 174"/>
                <a:gd name="T34" fmla="*/ 31 w 112"/>
                <a:gd name="T35" fmla="*/ 87 h 174"/>
                <a:gd name="T36" fmla="*/ 37 w 112"/>
                <a:gd name="T37" fmla="*/ 87 h 174"/>
                <a:gd name="T38" fmla="*/ 49 w 112"/>
                <a:gd name="T39" fmla="*/ 96 h 174"/>
                <a:gd name="T40" fmla="*/ 55 w 112"/>
                <a:gd name="T41" fmla="*/ 108 h 174"/>
                <a:gd name="T42" fmla="*/ 58 w 112"/>
                <a:gd name="T43" fmla="*/ 123 h 174"/>
                <a:gd name="T44" fmla="*/ 43 w 112"/>
                <a:gd name="T45" fmla="*/ 123 h 174"/>
                <a:gd name="T46" fmla="*/ 46 w 112"/>
                <a:gd name="T47" fmla="*/ 135 h 174"/>
                <a:gd name="T48" fmla="*/ 40 w 112"/>
                <a:gd name="T49" fmla="*/ 147 h 174"/>
                <a:gd name="T50" fmla="*/ 58 w 112"/>
                <a:gd name="T51" fmla="*/ 150 h 174"/>
                <a:gd name="T52" fmla="*/ 46 w 112"/>
                <a:gd name="T53" fmla="*/ 156 h 174"/>
                <a:gd name="T54" fmla="*/ 40 w 112"/>
                <a:gd name="T55" fmla="*/ 168 h 174"/>
                <a:gd name="T56" fmla="*/ 52 w 112"/>
                <a:gd name="T57" fmla="*/ 165 h 174"/>
                <a:gd name="T58" fmla="*/ 70 w 112"/>
                <a:gd name="T59" fmla="*/ 162 h 174"/>
                <a:gd name="T60" fmla="*/ 91 w 112"/>
                <a:gd name="T61" fmla="*/ 162 h 174"/>
                <a:gd name="T62" fmla="*/ 103 w 112"/>
                <a:gd name="T63" fmla="*/ 153 h 174"/>
                <a:gd name="T64" fmla="*/ 112 w 112"/>
                <a:gd name="T65" fmla="*/ 135 h 174"/>
                <a:gd name="T66" fmla="*/ 19 w 112"/>
                <a:gd name="T67" fmla="*/ 42 h 174"/>
                <a:gd name="T68" fmla="*/ 76 w 112"/>
                <a:gd name="T69" fmla="*/ 15 h 174"/>
                <a:gd name="T70" fmla="*/ 76 w 112"/>
                <a:gd name="T71" fmla="*/ 1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2" h="174">
                  <a:moveTo>
                    <a:pt x="22" y="93"/>
                  </a:moveTo>
                  <a:cubicBezTo>
                    <a:pt x="19" y="90"/>
                    <a:pt x="13" y="96"/>
                    <a:pt x="6" y="96"/>
                  </a:cubicBezTo>
                  <a:cubicBezTo>
                    <a:pt x="6" y="99"/>
                    <a:pt x="6" y="102"/>
                    <a:pt x="3" y="102"/>
                  </a:cubicBezTo>
                  <a:cubicBezTo>
                    <a:pt x="0" y="108"/>
                    <a:pt x="0" y="108"/>
                    <a:pt x="0" y="108"/>
                  </a:cubicBezTo>
                  <a:cubicBezTo>
                    <a:pt x="3" y="108"/>
                    <a:pt x="10" y="114"/>
                    <a:pt x="10" y="111"/>
                  </a:cubicBezTo>
                  <a:cubicBezTo>
                    <a:pt x="10" y="108"/>
                    <a:pt x="10" y="102"/>
                    <a:pt x="16" y="108"/>
                  </a:cubicBezTo>
                  <a:cubicBezTo>
                    <a:pt x="19" y="111"/>
                    <a:pt x="19" y="111"/>
                    <a:pt x="19" y="111"/>
                  </a:cubicBezTo>
                  <a:cubicBezTo>
                    <a:pt x="19" y="108"/>
                    <a:pt x="25" y="108"/>
                    <a:pt x="28" y="105"/>
                  </a:cubicBezTo>
                  <a:cubicBezTo>
                    <a:pt x="31" y="102"/>
                    <a:pt x="25" y="99"/>
                    <a:pt x="22" y="93"/>
                  </a:cubicBezTo>
                  <a:close/>
                  <a:moveTo>
                    <a:pt x="112" y="135"/>
                  </a:moveTo>
                  <a:cubicBezTo>
                    <a:pt x="112" y="129"/>
                    <a:pt x="103" y="126"/>
                    <a:pt x="100" y="129"/>
                  </a:cubicBezTo>
                  <a:cubicBezTo>
                    <a:pt x="100" y="132"/>
                    <a:pt x="97" y="132"/>
                    <a:pt x="97" y="129"/>
                  </a:cubicBezTo>
                  <a:cubicBezTo>
                    <a:pt x="94" y="126"/>
                    <a:pt x="97" y="123"/>
                    <a:pt x="94" y="123"/>
                  </a:cubicBezTo>
                  <a:cubicBezTo>
                    <a:pt x="91" y="117"/>
                    <a:pt x="91" y="117"/>
                    <a:pt x="91" y="117"/>
                  </a:cubicBezTo>
                  <a:cubicBezTo>
                    <a:pt x="91" y="114"/>
                    <a:pt x="88" y="105"/>
                    <a:pt x="82" y="102"/>
                  </a:cubicBezTo>
                  <a:cubicBezTo>
                    <a:pt x="79" y="102"/>
                    <a:pt x="76" y="93"/>
                    <a:pt x="76" y="90"/>
                  </a:cubicBezTo>
                  <a:cubicBezTo>
                    <a:pt x="76" y="84"/>
                    <a:pt x="70" y="87"/>
                    <a:pt x="67" y="84"/>
                  </a:cubicBezTo>
                  <a:cubicBezTo>
                    <a:pt x="64" y="78"/>
                    <a:pt x="61" y="81"/>
                    <a:pt x="58" y="81"/>
                  </a:cubicBezTo>
                  <a:cubicBezTo>
                    <a:pt x="55" y="81"/>
                    <a:pt x="58" y="78"/>
                    <a:pt x="61" y="75"/>
                  </a:cubicBezTo>
                  <a:cubicBezTo>
                    <a:pt x="67" y="72"/>
                    <a:pt x="70" y="57"/>
                    <a:pt x="70" y="54"/>
                  </a:cubicBezTo>
                  <a:cubicBezTo>
                    <a:pt x="70" y="51"/>
                    <a:pt x="52" y="51"/>
                    <a:pt x="49" y="54"/>
                  </a:cubicBezTo>
                  <a:cubicBezTo>
                    <a:pt x="46" y="54"/>
                    <a:pt x="43" y="51"/>
                    <a:pt x="46" y="51"/>
                  </a:cubicBezTo>
                  <a:cubicBezTo>
                    <a:pt x="49" y="48"/>
                    <a:pt x="55" y="42"/>
                    <a:pt x="55" y="39"/>
                  </a:cubicBezTo>
                  <a:cubicBezTo>
                    <a:pt x="55" y="39"/>
                    <a:pt x="58" y="36"/>
                    <a:pt x="55" y="33"/>
                  </a:cubicBezTo>
                  <a:cubicBezTo>
                    <a:pt x="55" y="30"/>
                    <a:pt x="52" y="36"/>
                    <a:pt x="52" y="39"/>
                  </a:cubicBezTo>
                  <a:cubicBezTo>
                    <a:pt x="49" y="39"/>
                    <a:pt x="43" y="39"/>
                    <a:pt x="40" y="39"/>
                  </a:cubicBezTo>
                  <a:cubicBezTo>
                    <a:pt x="34" y="36"/>
                    <a:pt x="31" y="45"/>
                    <a:pt x="31" y="48"/>
                  </a:cubicBezTo>
                  <a:cubicBezTo>
                    <a:pt x="31" y="51"/>
                    <a:pt x="25" y="54"/>
                    <a:pt x="28" y="54"/>
                  </a:cubicBezTo>
                  <a:cubicBezTo>
                    <a:pt x="28" y="57"/>
                    <a:pt x="25" y="60"/>
                    <a:pt x="25" y="60"/>
                  </a:cubicBezTo>
                  <a:cubicBezTo>
                    <a:pt x="22" y="57"/>
                    <a:pt x="22" y="54"/>
                    <a:pt x="16" y="57"/>
                  </a:cubicBezTo>
                  <a:cubicBezTo>
                    <a:pt x="13" y="60"/>
                    <a:pt x="22" y="63"/>
                    <a:pt x="25" y="63"/>
                  </a:cubicBezTo>
                  <a:cubicBezTo>
                    <a:pt x="31" y="63"/>
                    <a:pt x="22" y="66"/>
                    <a:pt x="22" y="72"/>
                  </a:cubicBezTo>
                  <a:cubicBezTo>
                    <a:pt x="22" y="75"/>
                    <a:pt x="28" y="75"/>
                    <a:pt x="28" y="78"/>
                  </a:cubicBezTo>
                  <a:cubicBezTo>
                    <a:pt x="28" y="81"/>
                    <a:pt x="19" y="81"/>
                    <a:pt x="19" y="84"/>
                  </a:cubicBezTo>
                  <a:cubicBezTo>
                    <a:pt x="19" y="87"/>
                    <a:pt x="25" y="84"/>
                    <a:pt x="25" y="81"/>
                  </a:cubicBezTo>
                  <a:cubicBezTo>
                    <a:pt x="28" y="81"/>
                    <a:pt x="25" y="90"/>
                    <a:pt x="31" y="87"/>
                  </a:cubicBezTo>
                  <a:cubicBezTo>
                    <a:pt x="37" y="87"/>
                    <a:pt x="34" y="78"/>
                    <a:pt x="37" y="78"/>
                  </a:cubicBezTo>
                  <a:cubicBezTo>
                    <a:pt x="40" y="81"/>
                    <a:pt x="37" y="84"/>
                    <a:pt x="37" y="87"/>
                  </a:cubicBezTo>
                  <a:cubicBezTo>
                    <a:pt x="40" y="90"/>
                    <a:pt x="34" y="96"/>
                    <a:pt x="34" y="99"/>
                  </a:cubicBezTo>
                  <a:cubicBezTo>
                    <a:pt x="34" y="102"/>
                    <a:pt x="46" y="102"/>
                    <a:pt x="49" y="96"/>
                  </a:cubicBezTo>
                  <a:cubicBezTo>
                    <a:pt x="55" y="93"/>
                    <a:pt x="55" y="96"/>
                    <a:pt x="52" y="99"/>
                  </a:cubicBezTo>
                  <a:cubicBezTo>
                    <a:pt x="52" y="102"/>
                    <a:pt x="52" y="105"/>
                    <a:pt x="55" y="108"/>
                  </a:cubicBezTo>
                  <a:cubicBezTo>
                    <a:pt x="58" y="108"/>
                    <a:pt x="61" y="108"/>
                    <a:pt x="58" y="111"/>
                  </a:cubicBezTo>
                  <a:cubicBezTo>
                    <a:pt x="58" y="114"/>
                    <a:pt x="58" y="120"/>
                    <a:pt x="58" y="123"/>
                  </a:cubicBezTo>
                  <a:cubicBezTo>
                    <a:pt x="55" y="123"/>
                    <a:pt x="46" y="123"/>
                    <a:pt x="46" y="123"/>
                  </a:cubicBezTo>
                  <a:cubicBezTo>
                    <a:pt x="46" y="120"/>
                    <a:pt x="40" y="123"/>
                    <a:pt x="43" y="123"/>
                  </a:cubicBezTo>
                  <a:cubicBezTo>
                    <a:pt x="43" y="126"/>
                    <a:pt x="37" y="129"/>
                    <a:pt x="40" y="132"/>
                  </a:cubicBezTo>
                  <a:cubicBezTo>
                    <a:pt x="40" y="132"/>
                    <a:pt x="46" y="132"/>
                    <a:pt x="46" y="135"/>
                  </a:cubicBezTo>
                  <a:cubicBezTo>
                    <a:pt x="46" y="138"/>
                    <a:pt x="40" y="141"/>
                    <a:pt x="34" y="144"/>
                  </a:cubicBezTo>
                  <a:cubicBezTo>
                    <a:pt x="28" y="144"/>
                    <a:pt x="37" y="150"/>
                    <a:pt x="40" y="147"/>
                  </a:cubicBezTo>
                  <a:cubicBezTo>
                    <a:pt x="43" y="144"/>
                    <a:pt x="40" y="150"/>
                    <a:pt x="46" y="150"/>
                  </a:cubicBezTo>
                  <a:cubicBezTo>
                    <a:pt x="49" y="150"/>
                    <a:pt x="52" y="153"/>
                    <a:pt x="58" y="150"/>
                  </a:cubicBezTo>
                  <a:cubicBezTo>
                    <a:pt x="61" y="150"/>
                    <a:pt x="61" y="150"/>
                    <a:pt x="58" y="153"/>
                  </a:cubicBezTo>
                  <a:cubicBezTo>
                    <a:pt x="55" y="156"/>
                    <a:pt x="49" y="153"/>
                    <a:pt x="46" y="156"/>
                  </a:cubicBezTo>
                  <a:cubicBezTo>
                    <a:pt x="43" y="156"/>
                    <a:pt x="28" y="171"/>
                    <a:pt x="31" y="174"/>
                  </a:cubicBezTo>
                  <a:cubicBezTo>
                    <a:pt x="34" y="174"/>
                    <a:pt x="34" y="171"/>
                    <a:pt x="40" y="168"/>
                  </a:cubicBezTo>
                  <a:cubicBezTo>
                    <a:pt x="46" y="165"/>
                    <a:pt x="46" y="171"/>
                    <a:pt x="49" y="171"/>
                  </a:cubicBezTo>
                  <a:cubicBezTo>
                    <a:pt x="52" y="171"/>
                    <a:pt x="52" y="165"/>
                    <a:pt x="52" y="165"/>
                  </a:cubicBezTo>
                  <a:cubicBezTo>
                    <a:pt x="55" y="165"/>
                    <a:pt x="58" y="162"/>
                    <a:pt x="61" y="165"/>
                  </a:cubicBezTo>
                  <a:cubicBezTo>
                    <a:pt x="64" y="165"/>
                    <a:pt x="67" y="162"/>
                    <a:pt x="70" y="162"/>
                  </a:cubicBezTo>
                  <a:cubicBezTo>
                    <a:pt x="73" y="159"/>
                    <a:pt x="79" y="165"/>
                    <a:pt x="79" y="162"/>
                  </a:cubicBezTo>
                  <a:cubicBezTo>
                    <a:pt x="82" y="162"/>
                    <a:pt x="88" y="162"/>
                    <a:pt x="91" y="162"/>
                  </a:cubicBezTo>
                  <a:cubicBezTo>
                    <a:pt x="97" y="162"/>
                    <a:pt x="106" y="156"/>
                    <a:pt x="109" y="156"/>
                  </a:cubicBezTo>
                  <a:cubicBezTo>
                    <a:pt x="109" y="153"/>
                    <a:pt x="106" y="153"/>
                    <a:pt x="103" y="153"/>
                  </a:cubicBezTo>
                  <a:cubicBezTo>
                    <a:pt x="100" y="153"/>
                    <a:pt x="100" y="150"/>
                    <a:pt x="103" y="147"/>
                  </a:cubicBezTo>
                  <a:cubicBezTo>
                    <a:pt x="106" y="141"/>
                    <a:pt x="112" y="141"/>
                    <a:pt x="112" y="135"/>
                  </a:cubicBezTo>
                  <a:close/>
                  <a:moveTo>
                    <a:pt x="13" y="51"/>
                  </a:moveTo>
                  <a:cubicBezTo>
                    <a:pt x="16" y="51"/>
                    <a:pt x="22" y="42"/>
                    <a:pt x="19" y="42"/>
                  </a:cubicBezTo>
                  <a:cubicBezTo>
                    <a:pt x="19" y="39"/>
                    <a:pt x="10" y="51"/>
                    <a:pt x="13" y="51"/>
                  </a:cubicBezTo>
                  <a:close/>
                  <a:moveTo>
                    <a:pt x="76" y="15"/>
                  </a:moveTo>
                  <a:cubicBezTo>
                    <a:pt x="79" y="12"/>
                    <a:pt x="82" y="0"/>
                    <a:pt x="79" y="3"/>
                  </a:cubicBezTo>
                  <a:cubicBezTo>
                    <a:pt x="76" y="3"/>
                    <a:pt x="76" y="15"/>
                    <a:pt x="76"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4" name="Freeform 909"/>
            <p:cNvSpPr>
              <a:spLocks noEditPoints="1"/>
            </p:cNvSpPr>
            <p:nvPr userDrawn="1"/>
          </p:nvSpPr>
          <p:spPr bwMode="auto">
            <a:xfrm>
              <a:off x="3623" y="-2302"/>
              <a:ext cx="84" cy="79"/>
            </a:xfrm>
            <a:custGeom>
              <a:avLst/>
              <a:gdLst>
                <a:gd name="T0" fmla="*/ 27 w 54"/>
                <a:gd name="T1" fmla="*/ 21 h 51"/>
                <a:gd name="T2" fmla="*/ 27 w 54"/>
                <a:gd name="T3" fmla="*/ 12 h 51"/>
                <a:gd name="T4" fmla="*/ 27 w 54"/>
                <a:gd name="T5" fmla="*/ 3 h 51"/>
                <a:gd name="T6" fmla="*/ 18 w 54"/>
                <a:gd name="T7" fmla="*/ 6 h 51"/>
                <a:gd name="T8" fmla="*/ 12 w 54"/>
                <a:gd name="T9" fmla="*/ 9 h 51"/>
                <a:gd name="T10" fmla="*/ 12 w 54"/>
                <a:gd name="T11" fmla="*/ 15 h 51"/>
                <a:gd name="T12" fmla="*/ 6 w 54"/>
                <a:gd name="T13" fmla="*/ 12 h 51"/>
                <a:gd name="T14" fmla="*/ 0 w 54"/>
                <a:gd name="T15" fmla="*/ 21 h 51"/>
                <a:gd name="T16" fmla="*/ 0 w 54"/>
                <a:gd name="T17" fmla="*/ 33 h 51"/>
                <a:gd name="T18" fmla="*/ 6 w 54"/>
                <a:gd name="T19" fmla="*/ 42 h 51"/>
                <a:gd name="T20" fmla="*/ 6 w 54"/>
                <a:gd name="T21" fmla="*/ 48 h 51"/>
                <a:gd name="T22" fmla="*/ 18 w 54"/>
                <a:gd name="T23" fmla="*/ 48 h 51"/>
                <a:gd name="T24" fmla="*/ 21 w 54"/>
                <a:gd name="T25" fmla="*/ 48 h 51"/>
                <a:gd name="T26" fmla="*/ 18 w 54"/>
                <a:gd name="T27" fmla="*/ 42 h 51"/>
                <a:gd name="T28" fmla="*/ 24 w 54"/>
                <a:gd name="T29" fmla="*/ 45 h 51"/>
                <a:gd name="T30" fmla="*/ 30 w 54"/>
                <a:gd name="T31" fmla="*/ 42 h 51"/>
                <a:gd name="T32" fmla="*/ 27 w 54"/>
                <a:gd name="T33" fmla="*/ 36 h 51"/>
                <a:gd name="T34" fmla="*/ 21 w 54"/>
                <a:gd name="T35" fmla="*/ 36 h 51"/>
                <a:gd name="T36" fmla="*/ 24 w 54"/>
                <a:gd name="T37" fmla="*/ 30 h 51"/>
                <a:gd name="T38" fmla="*/ 33 w 54"/>
                <a:gd name="T39" fmla="*/ 24 h 51"/>
                <a:gd name="T40" fmla="*/ 27 w 54"/>
                <a:gd name="T41" fmla="*/ 21 h 51"/>
                <a:gd name="T42" fmla="*/ 51 w 54"/>
                <a:gd name="T43" fmla="*/ 30 h 51"/>
                <a:gd name="T44" fmla="*/ 48 w 54"/>
                <a:gd name="T45" fmla="*/ 33 h 51"/>
                <a:gd name="T46" fmla="*/ 45 w 54"/>
                <a:gd name="T47" fmla="*/ 30 h 51"/>
                <a:gd name="T48" fmla="*/ 36 w 54"/>
                <a:gd name="T49" fmla="*/ 33 h 51"/>
                <a:gd name="T50" fmla="*/ 42 w 54"/>
                <a:gd name="T51" fmla="*/ 42 h 51"/>
                <a:gd name="T52" fmla="*/ 39 w 54"/>
                <a:gd name="T53" fmla="*/ 45 h 51"/>
                <a:gd name="T54" fmla="*/ 42 w 54"/>
                <a:gd name="T55" fmla="*/ 51 h 51"/>
                <a:gd name="T56" fmla="*/ 48 w 54"/>
                <a:gd name="T57" fmla="*/ 42 h 51"/>
                <a:gd name="T58" fmla="*/ 51 w 54"/>
                <a:gd name="T59"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51">
                  <a:moveTo>
                    <a:pt x="27" y="21"/>
                  </a:moveTo>
                  <a:cubicBezTo>
                    <a:pt x="24" y="18"/>
                    <a:pt x="24" y="12"/>
                    <a:pt x="27" y="12"/>
                  </a:cubicBezTo>
                  <a:cubicBezTo>
                    <a:pt x="27" y="9"/>
                    <a:pt x="30" y="3"/>
                    <a:pt x="27" y="3"/>
                  </a:cubicBezTo>
                  <a:cubicBezTo>
                    <a:pt x="27" y="0"/>
                    <a:pt x="21" y="3"/>
                    <a:pt x="18" y="6"/>
                  </a:cubicBezTo>
                  <a:cubicBezTo>
                    <a:pt x="18" y="12"/>
                    <a:pt x="15" y="9"/>
                    <a:pt x="12" y="9"/>
                  </a:cubicBezTo>
                  <a:cubicBezTo>
                    <a:pt x="12" y="12"/>
                    <a:pt x="15" y="12"/>
                    <a:pt x="12" y="15"/>
                  </a:cubicBezTo>
                  <a:cubicBezTo>
                    <a:pt x="12" y="18"/>
                    <a:pt x="9" y="12"/>
                    <a:pt x="6" y="12"/>
                  </a:cubicBezTo>
                  <a:cubicBezTo>
                    <a:pt x="3" y="12"/>
                    <a:pt x="3" y="18"/>
                    <a:pt x="0" y="21"/>
                  </a:cubicBezTo>
                  <a:cubicBezTo>
                    <a:pt x="0" y="24"/>
                    <a:pt x="0" y="30"/>
                    <a:pt x="0" y="33"/>
                  </a:cubicBezTo>
                  <a:cubicBezTo>
                    <a:pt x="0" y="36"/>
                    <a:pt x="6" y="39"/>
                    <a:pt x="6" y="42"/>
                  </a:cubicBezTo>
                  <a:cubicBezTo>
                    <a:pt x="6" y="45"/>
                    <a:pt x="6" y="45"/>
                    <a:pt x="6" y="48"/>
                  </a:cubicBezTo>
                  <a:cubicBezTo>
                    <a:pt x="12" y="48"/>
                    <a:pt x="15" y="48"/>
                    <a:pt x="18" y="48"/>
                  </a:cubicBezTo>
                  <a:cubicBezTo>
                    <a:pt x="18" y="48"/>
                    <a:pt x="18" y="48"/>
                    <a:pt x="21" y="48"/>
                  </a:cubicBezTo>
                  <a:cubicBezTo>
                    <a:pt x="21" y="45"/>
                    <a:pt x="15" y="45"/>
                    <a:pt x="18" y="42"/>
                  </a:cubicBezTo>
                  <a:cubicBezTo>
                    <a:pt x="18" y="39"/>
                    <a:pt x="21" y="42"/>
                    <a:pt x="24" y="45"/>
                  </a:cubicBezTo>
                  <a:cubicBezTo>
                    <a:pt x="24" y="45"/>
                    <a:pt x="30" y="45"/>
                    <a:pt x="30" y="42"/>
                  </a:cubicBezTo>
                  <a:cubicBezTo>
                    <a:pt x="30" y="42"/>
                    <a:pt x="30" y="36"/>
                    <a:pt x="27" y="36"/>
                  </a:cubicBezTo>
                  <a:cubicBezTo>
                    <a:pt x="24" y="39"/>
                    <a:pt x="24" y="36"/>
                    <a:pt x="21" y="36"/>
                  </a:cubicBezTo>
                  <a:cubicBezTo>
                    <a:pt x="21" y="33"/>
                    <a:pt x="24" y="30"/>
                    <a:pt x="24" y="30"/>
                  </a:cubicBezTo>
                  <a:cubicBezTo>
                    <a:pt x="24" y="27"/>
                    <a:pt x="30" y="27"/>
                    <a:pt x="33" y="24"/>
                  </a:cubicBezTo>
                  <a:cubicBezTo>
                    <a:pt x="27" y="21"/>
                    <a:pt x="27" y="21"/>
                    <a:pt x="27" y="21"/>
                  </a:cubicBezTo>
                  <a:close/>
                  <a:moveTo>
                    <a:pt x="51" y="30"/>
                  </a:moveTo>
                  <a:cubicBezTo>
                    <a:pt x="48" y="33"/>
                    <a:pt x="48" y="33"/>
                    <a:pt x="48" y="33"/>
                  </a:cubicBezTo>
                  <a:cubicBezTo>
                    <a:pt x="45" y="33"/>
                    <a:pt x="45" y="27"/>
                    <a:pt x="45" y="30"/>
                  </a:cubicBezTo>
                  <a:cubicBezTo>
                    <a:pt x="42" y="33"/>
                    <a:pt x="39" y="27"/>
                    <a:pt x="36" y="33"/>
                  </a:cubicBezTo>
                  <a:cubicBezTo>
                    <a:pt x="33" y="39"/>
                    <a:pt x="39" y="42"/>
                    <a:pt x="42" y="42"/>
                  </a:cubicBezTo>
                  <a:cubicBezTo>
                    <a:pt x="42" y="45"/>
                    <a:pt x="42" y="48"/>
                    <a:pt x="39" y="45"/>
                  </a:cubicBezTo>
                  <a:cubicBezTo>
                    <a:pt x="36" y="45"/>
                    <a:pt x="36" y="51"/>
                    <a:pt x="42" y="51"/>
                  </a:cubicBezTo>
                  <a:cubicBezTo>
                    <a:pt x="45" y="51"/>
                    <a:pt x="48" y="45"/>
                    <a:pt x="48" y="42"/>
                  </a:cubicBezTo>
                  <a:cubicBezTo>
                    <a:pt x="48" y="39"/>
                    <a:pt x="54" y="30"/>
                    <a:pt x="51"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5" name="Freeform 910"/>
            <p:cNvSpPr>
              <a:spLocks noEditPoints="1"/>
            </p:cNvSpPr>
            <p:nvPr userDrawn="1"/>
          </p:nvSpPr>
          <p:spPr bwMode="auto">
            <a:xfrm>
              <a:off x="3623" y="-2302"/>
              <a:ext cx="84" cy="79"/>
            </a:xfrm>
            <a:custGeom>
              <a:avLst/>
              <a:gdLst>
                <a:gd name="T0" fmla="*/ 27 w 54"/>
                <a:gd name="T1" fmla="*/ 21 h 51"/>
                <a:gd name="T2" fmla="*/ 27 w 54"/>
                <a:gd name="T3" fmla="*/ 12 h 51"/>
                <a:gd name="T4" fmla="*/ 27 w 54"/>
                <a:gd name="T5" fmla="*/ 3 h 51"/>
                <a:gd name="T6" fmla="*/ 18 w 54"/>
                <a:gd name="T7" fmla="*/ 6 h 51"/>
                <a:gd name="T8" fmla="*/ 12 w 54"/>
                <a:gd name="T9" fmla="*/ 9 h 51"/>
                <a:gd name="T10" fmla="*/ 12 w 54"/>
                <a:gd name="T11" fmla="*/ 15 h 51"/>
                <a:gd name="T12" fmla="*/ 6 w 54"/>
                <a:gd name="T13" fmla="*/ 12 h 51"/>
                <a:gd name="T14" fmla="*/ 0 w 54"/>
                <a:gd name="T15" fmla="*/ 21 h 51"/>
                <a:gd name="T16" fmla="*/ 0 w 54"/>
                <a:gd name="T17" fmla="*/ 33 h 51"/>
                <a:gd name="T18" fmla="*/ 6 w 54"/>
                <a:gd name="T19" fmla="*/ 42 h 51"/>
                <a:gd name="T20" fmla="*/ 6 w 54"/>
                <a:gd name="T21" fmla="*/ 48 h 51"/>
                <a:gd name="T22" fmla="*/ 18 w 54"/>
                <a:gd name="T23" fmla="*/ 48 h 51"/>
                <a:gd name="T24" fmla="*/ 21 w 54"/>
                <a:gd name="T25" fmla="*/ 48 h 51"/>
                <a:gd name="T26" fmla="*/ 18 w 54"/>
                <a:gd name="T27" fmla="*/ 42 h 51"/>
                <a:gd name="T28" fmla="*/ 24 w 54"/>
                <a:gd name="T29" fmla="*/ 45 h 51"/>
                <a:gd name="T30" fmla="*/ 30 w 54"/>
                <a:gd name="T31" fmla="*/ 42 h 51"/>
                <a:gd name="T32" fmla="*/ 27 w 54"/>
                <a:gd name="T33" fmla="*/ 36 h 51"/>
                <a:gd name="T34" fmla="*/ 21 w 54"/>
                <a:gd name="T35" fmla="*/ 36 h 51"/>
                <a:gd name="T36" fmla="*/ 24 w 54"/>
                <a:gd name="T37" fmla="*/ 30 h 51"/>
                <a:gd name="T38" fmla="*/ 33 w 54"/>
                <a:gd name="T39" fmla="*/ 24 h 51"/>
                <a:gd name="T40" fmla="*/ 27 w 54"/>
                <a:gd name="T41" fmla="*/ 21 h 51"/>
                <a:gd name="T42" fmla="*/ 51 w 54"/>
                <a:gd name="T43" fmla="*/ 30 h 51"/>
                <a:gd name="T44" fmla="*/ 48 w 54"/>
                <a:gd name="T45" fmla="*/ 33 h 51"/>
                <a:gd name="T46" fmla="*/ 45 w 54"/>
                <a:gd name="T47" fmla="*/ 30 h 51"/>
                <a:gd name="T48" fmla="*/ 36 w 54"/>
                <a:gd name="T49" fmla="*/ 33 h 51"/>
                <a:gd name="T50" fmla="*/ 42 w 54"/>
                <a:gd name="T51" fmla="*/ 42 h 51"/>
                <a:gd name="T52" fmla="*/ 39 w 54"/>
                <a:gd name="T53" fmla="*/ 45 h 51"/>
                <a:gd name="T54" fmla="*/ 42 w 54"/>
                <a:gd name="T55" fmla="*/ 51 h 51"/>
                <a:gd name="T56" fmla="*/ 48 w 54"/>
                <a:gd name="T57" fmla="*/ 42 h 51"/>
                <a:gd name="T58" fmla="*/ 51 w 54"/>
                <a:gd name="T59"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51">
                  <a:moveTo>
                    <a:pt x="27" y="21"/>
                  </a:moveTo>
                  <a:cubicBezTo>
                    <a:pt x="24" y="18"/>
                    <a:pt x="24" y="12"/>
                    <a:pt x="27" y="12"/>
                  </a:cubicBezTo>
                  <a:cubicBezTo>
                    <a:pt x="27" y="9"/>
                    <a:pt x="30" y="3"/>
                    <a:pt x="27" y="3"/>
                  </a:cubicBezTo>
                  <a:cubicBezTo>
                    <a:pt x="27" y="0"/>
                    <a:pt x="21" y="3"/>
                    <a:pt x="18" y="6"/>
                  </a:cubicBezTo>
                  <a:cubicBezTo>
                    <a:pt x="18" y="12"/>
                    <a:pt x="15" y="9"/>
                    <a:pt x="12" y="9"/>
                  </a:cubicBezTo>
                  <a:cubicBezTo>
                    <a:pt x="12" y="12"/>
                    <a:pt x="15" y="12"/>
                    <a:pt x="12" y="15"/>
                  </a:cubicBezTo>
                  <a:cubicBezTo>
                    <a:pt x="12" y="18"/>
                    <a:pt x="9" y="12"/>
                    <a:pt x="6" y="12"/>
                  </a:cubicBezTo>
                  <a:cubicBezTo>
                    <a:pt x="3" y="12"/>
                    <a:pt x="3" y="18"/>
                    <a:pt x="0" y="21"/>
                  </a:cubicBezTo>
                  <a:cubicBezTo>
                    <a:pt x="0" y="24"/>
                    <a:pt x="0" y="30"/>
                    <a:pt x="0" y="33"/>
                  </a:cubicBezTo>
                  <a:cubicBezTo>
                    <a:pt x="0" y="36"/>
                    <a:pt x="6" y="39"/>
                    <a:pt x="6" y="42"/>
                  </a:cubicBezTo>
                  <a:cubicBezTo>
                    <a:pt x="6" y="45"/>
                    <a:pt x="6" y="45"/>
                    <a:pt x="6" y="48"/>
                  </a:cubicBezTo>
                  <a:cubicBezTo>
                    <a:pt x="12" y="48"/>
                    <a:pt x="15" y="48"/>
                    <a:pt x="18" y="48"/>
                  </a:cubicBezTo>
                  <a:cubicBezTo>
                    <a:pt x="18" y="48"/>
                    <a:pt x="18" y="48"/>
                    <a:pt x="21" y="48"/>
                  </a:cubicBezTo>
                  <a:cubicBezTo>
                    <a:pt x="21" y="45"/>
                    <a:pt x="15" y="45"/>
                    <a:pt x="18" y="42"/>
                  </a:cubicBezTo>
                  <a:cubicBezTo>
                    <a:pt x="18" y="39"/>
                    <a:pt x="21" y="42"/>
                    <a:pt x="24" y="45"/>
                  </a:cubicBezTo>
                  <a:cubicBezTo>
                    <a:pt x="24" y="45"/>
                    <a:pt x="30" y="45"/>
                    <a:pt x="30" y="42"/>
                  </a:cubicBezTo>
                  <a:cubicBezTo>
                    <a:pt x="30" y="42"/>
                    <a:pt x="30" y="36"/>
                    <a:pt x="27" y="36"/>
                  </a:cubicBezTo>
                  <a:cubicBezTo>
                    <a:pt x="24" y="39"/>
                    <a:pt x="24" y="36"/>
                    <a:pt x="21" y="36"/>
                  </a:cubicBezTo>
                  <a:cubicBezTo>
                    <a:pt x="21" y="33"/>
                    <a:pt x="24" y="30"/>
                    <a:pt x="24" y="30"/>
                  </a:cubicBezTo>
                  <a:cubicBezTo>
                    <a:pt x="24" y="27"/>
                    <a:pt x="30" y="27"/>
                    <a:pt x="33" y="24"/>
                  </a:cubicBezTo>
                  <a:cubicBezTo>
                    <a:pt x="27" y="21"/>
                    <a:pt x="27" y="21"/>
                    <a:pt x="27" y="21"/>
                  </a:cubicBezTo>
                  <a:close/>
                  <a:moveTo>
                    <a:pt x="51" y="30"/>
                  </a:moveTo>
                  <a:cubicBezTo>
                    <a:pt x="48" y="33"/>
                    <a:pt x="48" y="33"/>
                    <a:pt x="48" y="33"/>
                  </a:cubicBezTo>
                  <a:cubicBezTo>
                    <a:pt x="45" y="33"/>
                    <a:pt x="45" y="27"/>
                    <a:pt x="45" y="30"/>
                  </a:cubicBezTo>
                  <a:cubicBezTo>
                    <a:pt x="42" y="33"/>
                    <a:pt x="39" y="27"/>
                    <a:pt x="36" y="33"/>
                  </a:cubicBezTo>
                  <a:cubicBezTo>
                    <a:pt x="33" y="39"/>
                    <a:pt x="39" y="42"/>
                    <a:pt x="42" y="42"/>
                  </a:cubicBezTo>
                  <a:cubicBezTo>
                    <a:pt x="42" y="45"/>
                    <a:pt x="42" y="48"/>
                    <a:pt x="39" y="45"/>
                  </a:cubicBezTo>
                  <a:cubicBezTo>
                    <a:pt x="36" y="45"/>
                    <a:pt x="36" y="51"/>
                    <a:pt x="42" y="51"/>
                  </a:cubicBezTo>
                  <a:cubicBezTo>
                    <a:pt x="45" y="51"/>
                    <a:pt x="48" y="45"/>
                    <a:pt x="48" y="42"/>
                  </a:cubicBezTo>
                  <a:cubicBezTo>
                    <a:pt x="48" y="39"/>
                    <a:pt x="54" y="30"/>
                    <a:pt x="51" y="3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6" name="Freeform 911"/>
            <p:cNvSpPr>
              <a:spLocks noEditPoints="1"/>
            </p:cNvSpPr>
            <p:nvPr userDrawn="1"/>
          </p:nvSpPr>
          <p:spPr bwMode="auto">
            <a:xfrm>
              <a:off x="3679" y="-2625"/>
              <a:ext cx="222" cy="388"/>
            </a:xfrm>
            <a:custGeom>
              <a:avLst/>
              <a:gdLst>
                <a:gd name="T0" fmla="*/ 139 w 142"/>
                <a:gd name="T1" fmla="*/ 54 h 249"/>
                <a:gd name="T2" fmla="*/ 136 w 142"/>
                <a:gd name="T3" fmla="*/ 33 h 249"/>
                <a:gd name="T4" fmla="*/ 118 w 142"/>
                <a:gd name="T5" fmla="*/ 12 h 249"/>
                <a:gd name="T6" fmla="*/ 100 w 142"/>
                <a:gd name="T7" fmla="*/ 12 h 249"/>
                <a:gd name="T8" fmla="*/ 78 w 142"/>
                <a:gd name="T9" fmla="*/ 12 h 249"/>
                <a:gd name="T10" fmla="*/ 69 w 142"/>
                <a:gd name="T11" fmla="*/ 24 h 249"/>
                <a:gd name="T12" fmla="*/ 57 w 142"/>
                <a:gd name="T13" fmla="*/ 39 h 249"/>
                <a:gd name="T14" fmla="*/ 48 w 142"/>
                <a:gd name="T15" fmla="*/ 51 h 249"/>
                <a:gd name="T16" fmla="*/ 36 w 142"/>
                <a:gd name="T17" fmla="*/ 60 h 249"/>
                <a:gd name="T18" fmla="*/ 30 w 142"/>
                <a:gd name="T19" fmla="*/ 87 h 249"/>
                <a:gd name="T20" fmla="*/ 30 w 142"/>
                <a:gd name="T21" fmla="*/ 99 h 249"/>
                <a:gd name="T22" fmla="*/ 12 w 142"/>
                <a:gd name="T23" fmla="*/ 105 h 249"/>
                <a:gd name="T24" fmla="*/ 12 w 142"/>
                <a:gd name="T25" fmla="*/ 129 h 249"/>
                <a:gd name="T26" fmla="*/ 18 w 142"/>
                <a:gd name="T27" fmla="*/ 147 h 249"/>
                <a:gd name="T28" fmla="*/ 15 w 142"/>
                <a:gd name="T29" fmla="*/ 159 h 249"/>
                <a:gd name="T30" fmla="*/ 9 w 142"/>
                <a:gd name="T31" fmla="*/ 171 h 249"/>
                <a:gd name="T32" fmla="*/ 3 w 142"/>
                <a:gd name="T33" fmla="*/ 189 h 249"/>
                <a:gd name="T34" fmla="*/ 0 w 142"/>
                <a:gd name="T35" fmla="*/ 189 h 249"/>
                <a:gd name="T36" fmla="*/ 9 w 142"/>
                <a:gd name="T37" fmla="*/ 213 h 249"/>
                <a:gd name="T38" fmla="*/ 18 w 142"/>
                <a:gd name="T39" fmla="*/ 231 h 249"/>
                <a:gd name="T40" fmla="*/ 21 w 142"/>
                <a:gd name="T41" fmla="*/ 246 h 249"/>
                <a:gd name="T42" fmla="*/ 33 w 142"/>
                <a:gd name="T43" fmla="*/ 240 h 249"/>
                <a:gd name="T44" fmla="*/ 45 w 142"/>
                <a:gd name="T45" fmla="*/ 234 h 249"/>
                <a:gd name="T46" fmla="*/ 57 w 142"/>
                <a:gd name="T47" fmla="*/ 231 h 249"/>
                <a:gd name="T48" fmla="*/ 60 w 142"/>
                <a:gd name="T49" fmla="*/ 222 h 249"/>
                <a:gd name="T50" fmla="*/ 60 w 142"/>
                <a:gd name="T51" fmla="*/ 198 h 249"/>
                <a:gd name="T52" fmla="*/ 78 w 142"/>
                <a:gd name="T53" fmla="*/ 180 h 249"/>
                <a:gd name="T54" fmla="*/ 72 w 142"/>
                <a:gd name="T55" fmla="*/ 159 h 249"/>
                <a:gd name="T56" fmla="*/ 63 w 142"/>
                <a:gd name="T57" fmla="*/ 144 h 249"/>
                <a:gd name="T58" fmla="*/ 72 w 142"/>
                <a:gd name="T59" fmla="*/ 126 h 249"/>
                <a:gd name="T60" fmla="*/ 85 w 142"/>
                <a:gd name="T61" fmla="*/ 111 h 249"/>
                <a:gd name="T62" fmla="*/ 112 w 142"/>
                <a:gd name="T63" fmla="*/ 93 h 249"/>
                <a:gd name="T64" fmla="*/ 115 w 142"/>
                <a:gd name="T65" fmla="*/ 72 h 249"/>
                <a:gd name="T66" fmla="*/ 136 w 142"/>
                <a:gd name="T67" fmla="*/ 66 h 249"/>
                <a:gd name="T68" fmla="*/ 139 w 142"/>
                <a:gd name="T69" fmla="*/ 60 h 249"/>
                <a:gd name="T70" fmla="*/ 75 w 142"/>
                <a:gd name="T71" fmla="*/ 22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249">
                  <a:moveTo>
                    <a:pt x="139" y="60"/>
                  </a:moveTo>
                  <a:cubicBezTo>
                    <a:pt x="139" y="57"/>
                    <a:pt x="136" y="54"/>
                    <a:pt x="139" y="54"/>
                  </a:cubicBezTo>
                  <a:cubicBezTo>
                    <a:pt x="139" y="54"/>
                    <a:pt x="142" y="45"/>
                    <a:pt x="139" y="45"/>
                  </a:cubicBezTo>
                  <a:cubicBezTo>
                    <a:pt x="136" y="42"/>
                    <a:pt x="139" y="36"/>
                    <a:pt x="136" y="33"/>
                  </a:cubicBezTo>
                  <a:cubicBezTo>
                    <a:pt x="133" y="33"/>
                    <a:pt x="136" y="27"/>
                    <a:pt x="136" y="24"/>
                  </a:cubicBezTo>
                  <a:cubicBezTo>
                    <a:pt x="136" y="18"/>
                    <a:pt x="124" y="15"/>
                    <a:pt x="118" y="12"/>
                  </a:cubicBezTo>
                  <a:cubicBezTo>
                    <a:pt x="112" y="12"/>
                    <a:pt x="109" y="6"/>
                    <a:pt x="106" y="3"/>
                  </a:cubicBezTo>
                  <a:cubicBezTo>
                    <a:pt x="100" y="0"/>
                    <a:pt x="100" y="9"/>
                    <a:pt x="100" y="12"/>
                  </a:cubicBezTo>
                  <a:cubicBezTo>
                    <a:pt x="100" y="18"/>
                    <a:pt x="94" y="18"/>
                    <a:pt x="91" y="15"/>
                  </a:cubicBezTo>
                  <a:cubicBezTo>
                    <a:pt x="88" y="12"/>
                    <a:pt x="85" y="15"/>
                    <a:pt x="78" y="12"/>
                  </a:cubicBezTo>
                  <a:cubicBezTo>
                    <a:pt x="75" y="9"/>
                    <a:pt x="75" y="18"/>
                    <a:pt x="75" y="21"/>
                  </a:cubicBezTo>
                  <a:cubicBezTo>
                    <a:pt x="75" y="24"/>
                    <a:pt x="72" y="24"/>
                    <a:pt x="69" y="24"/>
                  </a:cubicBezTo>
                  <a:cubicBezTo>
                    <a:pt x="63" y="24"/>
                    <a:pt x="60" y="27"/>
                    <a:pt x="60" y="30"/>
                  </a:cubicBezTo>
                  <a:cubicBezTo>
                    <a:pt x="60" y="33"/>
                    <a:pt x="54" y="36"/>
                    <a:pt x="57" y="39"/>
                  </a:cubicBezTo>
                  <a:cubicBezTo>
                    <a:pt x="57" y="39"/>
                    <a:pt x="54" y="42"/>
                    <a:pt x="54" y="45"/>
                  </a:cubicBezTo>
                  <a:cubicBezTo>
                    <a:pt x="51" y="45"/>
                    <a:pt x="48" y="51"/>
                    <a:pt x="48" y="51"/>
                  </a:cubicBezTo>
                  <a:cubicBezTo>
                    <a:pt x="45" y="54"/>
                    <a:pt x="48" y="57"/>
                    <a:pt x="45" y="60"/>
                  </a:cubicBezTo>
                  <a:cubicBezTo>
                    <a:pt x="42" y="60"/>
                    <a:pt x="39" y="60"/>
                    <a:pt x="36" y="60"/>
                  </a:cubicBezTo>
                  <a:cubicBezTo>
                    <a:pt x="36" y="63"/>
                    <a:pt x="36" y="66"/>
                    <a:pt x="36" y="72"/>
                  </a:cubicBezTo>
                  <a:cubicBezTo>
                    <a:pt x="36" y="75"/>
                    <a:pt x="33" y="81"/>
                    <a:pt x="30" y="87"/>
                  </a:cubicBezTo>
                  <a:cubicBezTo>
                    <a:pt x="24" y="90"/>
                    <a:pt x="30" y="90"/>
                    <a:pt x="30" y="93"/>
                  </a:cubicBezTo>
                  <a:cubicBezTo>
                    <a:pt x="33" y="93"/>
                    <a:pt x="33" y="96"/>
                    <a:pt x="30" y="99"/>
                  </a:cubicBezTo>
                  <a:cubicBezTo>
                    <a:pt x="30" y="102"/>
                    <a:pt x="27" y="99"/>
                    <a:pt x="24" y="99"/>
                  </a:cubicBezTo>
                  <a:cubicBezTo>
                    <a:pt x="21" y="99"/>
                    <a:pt x="15" y="102"/>
                    <a:pt x="12" y="105"/>
                  </a:cubicBezTo>
                  <a:cubicBezTo>
                    <a:pt x="9" y="111"/>
                    <a:pt x="9" y="114"/>
                    <a:pt x="12" y="117"/>
                  </a:cubicBezTo>
                  <a:cubicBezTo>
                    <a:pt x="12" y="120"/>
                    <a:pt x="9" y="123"/>
                    <a:pt x="12" y="129"/>
                  </a:cubicBezTo>
                  <a:cubicBezTo>
                    <a:pt x="15" y="135"/>
                    <a:pt x="9" y="135"/>
                    <a:pt x="12" y="138"/>
                  </a:cubicBezTo>
                  <a:cubicBezTo>
                    <a:pt x="12" y="144"/>
                    <a:pt x="18" y="144"/>
                    <a:pt x="18" y="147"/>
                  </a:cubicBezTo>
                  <a:cubicBezTo>
                    <a:pt x="18" y="153"/>
                    <a:pt x="15" y="153"/>
                    <a:pt x="15" y="153"/>
                  </a:cubicBezTo>
                  <a:cubicBezTo>
                    <a:pt x="12" y="153"/>
                    <a:pt x="12" y="156"/>
                    <a:pt x="15" y="159"/>
                  </a:cubicBezTo>
                  <a:cubicBezTo>
                    <a:pt x="18" y="159"/>
                    <a:pt x="15" y="168"/>
                    <a:pt x="15" y="168"/>
                  </a:cubicBezTo>
                  <a:cubicBezTo>
                    <a:pt x="15" y="171"/>
                    <a:pt x="6" y="168"/>
                    <a:pt x="9" y="171"/>
                  </a:cubicBezTo>
                  <a:cubicBezTo>
                    <a:pt x="9" y="174"/>
                    <a:pt x="6" y="180"/>
                    <a:pt x="6" y="180"/>
                  </a:cubicBezTo>
                  <a:cubicBezTo>
                    <a:pt x="6" y="183"/>
                    <a:pt x="6" y="189"/>
                    <a:pt x="3" y="189"/>
                  </a:cubicBezTo>
                  <a:cubicBezTo>
                    <a:pt x="0" y="189"/>
                    <a:pt x="0" y="189"/>
                    <a:pt x="0" y="189"/>
                  </a:cubicBezTo>
                  <a:cubicBezTo>
                    <a:pt x="0" y="189"/>
                    <a:pt x="0" y="189"/>
                    <a:pt x="0" y="189"/>
                  </a:cubicBezTo>
                  <a:cubicBezTo>
                    <a:pt x="0" y="192"/>
                    <a:pt x="0" y="198"/>
                    <a:pt x="6" y="201"/>
                  </a:cubicBezTo>
                  <a:cubicBezTo>
                    <a:pt x="9" y="204"/>
                    <a:pt x="6" y="207"/>
                    <a:pt x="9" y="213"/>
                  </a:cubicBezTo>
                  <a:cubicBezTo>
                    <a:pt x="12" y="216"/>
                    <a:pt x="12" y="219"/>
                    <a:pt x="15" y="222"/>
                  </a:cubicBezTo>
                  <a:cubicBezTo>
                    <a:pt x="18" y="225"/>
                    <a:pt x="18" y="228"/>
                    <a:pt x="18" y="231"/>
                  </a:cubicBezTo>
                  <a:cubicBezTo>
                    <a:pt x="15" y="234"/>
                    <a:pt x="21" y="234"/>
                    <a:pt x="21" y="237"/>
                  </a:cubicBezTo>
                  <a:cubicBezTo>
                    <a:pt x="21" y="237"/>
                    <a:pt x="18" y="243"/>
                    <a:pt x="21" y="246"/>
                  </a:cubicBezTo>
                  <a:cubicBezTo>
                    <a:pt x="21" y="249"/>
                    <a:pt x="24" y="246"/>
                    <a:pt x="30" y="246"/>
                  </a:cubicBezTo>
                  <a:cubicBezTo>
                    <a:pt x="33" y="246"/>
                    <a:pt x="33" y="243"/>
                    <a:pt x="33" y="240"/>
                  </a:cubicBezTo>
                  <a:cubicBezTo>
                    <a:pt x="33" y="234"/>
                    <a:pt x="36" y="237"/>
                    <a:pt x="36" y="234"/>
                  </a:cubicBezTo>
                  <a:cubicBezTo>
                    <a:pt x="36" y="234"/>
                    <a:pt x="42" y="231"/>
                    <a:pt x="45" y="234"/>
                  </a:cubicBezTo>
                  <a:cubicBezTo>
                    <a:pt x="51" y="237"/>
                    <a:pt x="51" y="234"/>
                    <a:pt x="54" y="228"/>
                  </a:cubicBezTo>
                  <a:cubicBezTo>
                    <a:pt x="54" y="225"/>
                    <a:pt x="54" y="231"/>
                    <a:pt x="57" y="231"/>
                  </a:cubicBezTo>
                  <a:cubicBezTo>
                    <a:pt x="57" y="231"/>
                    <a:pt x="60" y="225"/>
                    <a:pt x="63" y="219"/>
                  </a:cubicBezTo>
                  <a:cubicBezTo>
                    <a:pt x="66" y="216"/>
                    <a:pt x="63" y="216"/>
                    <a:pt x="60" y="222"/>
                  </a:cubicBezTo>
                  <a:cubicBezTo>
                    <a:pt x="54" y="225"/>
                    <a:pt x="57" y="216"/>
                    <a:pt x="60" y="213"/>
                  </a:cubicBezTo>
                  <a:cubicBezTo>
                    <a:pt x="60" y="210"/>
                    <a:pt x="60" y="198"/>
                    <a:pt x="60" y="198"/>
                  </a:cubicBezTo>
                  <a:cubicBezTo>
                    <a:pt x="60" y="195"/>
                    <a:pt x="63" y="192"/>
                    <a:pt x="66" y="189"/>
                  </a:cubicBezTo>
                  <a:cubicBezTo>
                    <a:pt x="72" y="189"/>
                    <a:pt x="78" y="183"/>
                    <a:pt x="78" y="180"/>
                  </a:cubicBezTo>
                  <a:cubicBezTo>
                    <a:pt x="75" y="177"/>
                    <a:pt x="85" y="174"/>
                    <a:pt x="85" y="171"/>
                  </a:cubicBezTo>
                  <a:cubicBezTo>
                    <a:pt x="85" y="168"/>
                    <a:pt x="75" y="162"/>
                    <a:pt x="72" y="159"/>
                  </a:cubicBezTo>
                  <a:cubicBezTo>
                    <a:pt x="69" y="159"/>
                    <a:pt x="66" y="159"/>
                    <a:pt x="66" y="156"/>
                  </a:cubicBezTo>
                  <a:cubicBezTo>
                    <a:pt x="66" y="156"/>
                    <a:pt x="63" y="147"/>
                    <a:pt x="63" y="144"/>
                  </a:cubicBezTo>
                  <a:cubicBezTo>
                    <a:pt x="63" y="141"/>
                    <a:pt x="69" y="138"/>
                    <a:pt x="69" y="135"/>
                  </a:cubicBezTo>
                  <a:cubicBezTo>
                    <a:pt x="69" y="129"/>
                    <a:pt x="69" y="126"/>
                    <a:pt x="72" y="126"/>
                  </a:cubicBezTo>
                  <a:cubicBezTo>
                    <a:pt x="75" y="123"/>
                    <a:pt x="72" y="120"/>
                    <a:pt x="75" y="120"/>
                  </a:cubicBezTo>
                  <a:cubicBezTo>
                    <a:pt x="82" y="120"/>
                    <a:pt x="82" y="114"/>
                    <a:pt x="85" y="111"/>
                  </a:cubicBezTo>
                  <a:cubicBezTo>
                    <a:pt x="91" y="108"/>
                    <a:pt x="91" y="108"/>
                    <a:pt x="97" y="105"/>
                  </a:cubicBezTo>
                  <a:cubicBezTo>
                    <a:pt x="103" y="102"/>
                    <a:pt x="112" y="96"/>
                    <a:pt x="112" y="93"/>
                  </a:cubicBezTo>
                  <a:cubicBezTo>
                    <a:pt x="115" y="87"/>
                    <a:pt x="106" y="84"/>
                    <a:pt x="112" y="81"/>
                  </a:cubicBezTo>
                  <a:cubicBezTo>
                    <a:pt x="118" y="78"/>
                    <a:pt x="112" y="72"/>
                    <a:pt x="115" y="72"/>
                  </a:cubicBezTo>
                  <a:cubicBezTo>
                    <a:pt x="121" y="69"/>
                    <a:pt x="121" y="69"/>
                    <a:pt x="124" y="66"/>
                  </a:cubicBezTo>
                  <a:cubicBezTo>
                    <a:pt x="127" y="63"/>
                    <a:pt x="130" y="66"/>
                    <a:pt x="136" y="66"/>
                  </a:cubicBezTo>
                  <a:cubicBezTo>
                    <a:pt x="139" y="63"/>
                    <a:pt x="139" y="66"/>
                    <a:pt x="142" y="66"/>
                  </a:cubicBezTo>
                  <a:cubicBezTo>
                    <a:pt x="142" y="63"/>
                    <a:pt x="142" y="60"/>
                    <a:pt x="139" y="60"/>
                  </a:cubicBezTo>
                  <a:close/>
                  <a:moveTo>
                    <a:pt x="85" y="207"/>
                  </a:moveTo>
                  <a:cubicBezTo>
                    <a:pt x="75" y="207"/>
                    <a:pt x="72" y="219"/>
                    <a:pt x="75" y="222"/>
                  </a:cubicBezTo>
                  <a:cubicBezTo>
                    <a:pt x="75" y="222"/>
                    <a:pt x="91" y="207"/>
                    <a:pt x="85" y="20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7" name="Freeform 912"/>
            <p:cNvSpPr>
              <a:spLocks noEditPoints="1"/>
            </p:cNvSpPr>
            <p:nvPr userDrawn="1"/>
          </p:nvSpPr>
          <p:spPr bwMode="auto">
            <a:xfrm>
              <a:off x="3679" y="-2625"/>
              <a:ext cx="222" cy="388"/>
            </a:xfrm>
            <a:custGeom>
              <a:avLst/>
              <a:gdLst>
                <a:gd name="T0" fmla="*/ 139 w 142"/>
                <a:gd name="T1" fmla="*/ 54 h 249"/>
                <a:gd name="T2" fmla="*/ 136 w 142"/>
                <a:gd name="T3" fmla="*/ 33 h 249"/>
                <a:gd name="T4" fmla="*/ 118 w 142"/>
                <a:gd name="T5" fmla="*/ 12 h 249"/>
                <a:gd name="T6" fmla="*/ 100 w 142"/>
                <a:gd name="T7" fmla="*/ 12 h 249"/>
                <a:gd name="T8" fmla="*/ 78 w 142"/>
                <a:gd name="T9" fmla="*/ 12 h 249"/>
                <a:gd name="T10" fmla="*/ 69 w 142"/>
                <a:gd name="T11" fmla="*/ 24 h 249"/>
                <a:gd name="T12" fmla="*/ 57 w 142"/>
                <a:gd name="T13" fmla="*/ 39 h 249"/>
                <a:gd name="T14" fmla="*/ 48 w 142"/>
                <a:gd name="T15" fmla="*/ 51 h 249"/>
                <a:gd name="T16" fmla="*/ 36 w 142"/>
                <a:gd name="T17" fmla="*/ 60 h 249"/>
                <a:gd name="T18" fmla="*/ 30 w 142"/>
                <a:gd name="T19" fmla="*/ 87 h 249"/>
                <a:gd name="T20" fmla="*/ 30 w 142"/>
                <a:gd name="T21" fmla="*/ 99 h 249"/>
                <a:gd name="T22" fmla="*/ 12 w 142"/>
                <a:gd name="T23" fmla="*/ 105 h 249"/>
                <a:gd name="T24" fmla="*/ 12 w 142"/>
                <a:gd name="T25" fmla="*/ 129 h 249"/>
                <a:gd name="T26" fmla="*/ 18 w 142"/>
                <a:gd name="T27" fmla="*/ 147 h 249"/>
                <a:gd name="T28" fmla="*/ 15 w 142"/>
                <a:gd name="T29" fmla="*/ 159 h 249"/>
                <a:gd name="T30" fmla="*/ 9 w 142"/>
                <a:gd name="T31" fmla="*/ 171 h 249"/>
                <a:gd name="T32" fmla="*/ 3 w 142"/>
                <a:gd name="T33" fmla="*/ 189 h 249"/>
                <a:gd name="T34" fmla="*/ 0 w 142"/>
                <a:gd name="T35" fmla="*/ 189 h 249"/>
                <a:gd name="T36" fmla="*/ 9 w 142"/>
                <a:gd name="T37" fmla="*/ 213 h 249"/>
                <a:gd name="T38" fmla="*/ 18 w 142"/>
                <a:gd name="T39" fmla="*/ 231 h 249"/>
                <a:gd name="T40" fmla="*/ 21 w 142"/>
                <a:gd name="T41" fmla="*/ 246 h 249"/>
                <a:gd name="T42" fmla="*/ 33 w 142"/>
                <a:gd name="T43" fmla="*/ 240 h 249"/>
                <a:gd name="T44" fmla="*/ 45 w 142"/>
                <a:gd name="T45" fmla="*/ 234 h 249"/>
                <a:gd name="T46" fmla="*/ 57 w 142"/>
                <a:gd name="T47" fmla="*/ 231 h 249"/>
                <a:gd name="T48" fmla="*/ 60 w 142"/>
                <a:gd name="T49" fmla="*/ 222 h 249"/>
                <a:gd name="T50" fmla="*/ 60 w 142"/>
                <a:gd name="T51" fmla="*/ 198 h 249"/>
                <a:gd name="T52" fmla="*/ 78 w 142"/>
                <a:gd name="T53" fmla="*/ 180 h 249"/>
                <a:gd name="T54" fmla="*/ 72 w 142"/>
                <a:gd name="T55" fmla="*/ 159 h 249"/>
                <a:gd name="T56" fmla="*/ 63 w 142"/>
                <a:gd name="T57" fmla="*/ 144 h 249"/>
                <a:gd name="T58" fmla="*/ 72 w 142"/>
                <a:gd name="T59" fmla="*/ 126 h 249"/>
                <a:gd name="T60" fmla="*/ 85 w 142"/>
                <a:gd name="T61" fmla="*/ 111 h 249"/>
                <a:gd name="T62" fmla="*/ 112 w 142"/>
                <a:gd name="T63" fmla="*/ 93 h 249"/>
                <a:gd name="T64" fmla="*/ 115 w 142"/>
                <a:gd name="T65" fmla="*/ 72 h 249"/>
                <a:gd name="T66" fmla="*/ 136 w 142"/>
                <a:gd name="T67" fmla="*/ 66 h 249"/>
                <a:gd name="T68" fmla="*/ 139 w 142"/>
                <a:gd name="T69" fmla="*/ 60 h 249"/>
                <a:gd name="T70" fmla="*/ 75 w 142"/>
                <a:gd name="T71" fmla="*/ 22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 h="249">
                  <a:moveTo>
                    <a:pt x="139" y="60"/>
                  </a:moveTo>
                  <a:cubicBezTo>
                    <a:pt x="139" y="57"/>
                    <a:pt x="136" y="54"/>
                    <a:pt x="139" y="54"/>
                  </a:cubicBezTo>
                  <a:cubicBezTo>
                    <a:pt x="139" y="54"/>
                    <a:pt x="142" y="45"/>
                    <a:pt x="139" y="45"/>
                  </a:cubicBezTo>
                  <a:cubicBezTo>
                    <a:pt x="136" y="42"/>
                    <a:pt x="139" y="36"/>
                    <a:pt x="136" y="33"/>
                  </a:cubicBezTo>
                  <a:cubicBezTo>
                    <a:pt x="133" y="33"/>
                    <a:pt x="136" y="27"/>
                    <a:pt x="136" y="24"/>
                  </a:cubicBezTo>
                  <a:cubicBezTo>
                    <a:pt x="136" y="18"/>
                    <a:pt x="124" y="15"/>
                    <a:pt x="118" y="12"/>
                  </a:cubicBezTo>
                  <a:cubicBezTo>
                    <a:pt x="112" y="12"/>
                    <a:pt x="109" y="6"/>
                    <a:pt x="106" y="3"/>
                  </a:cubicBezTo>
                  <a:cubicBezTo>
                    <a:pt x="100" y="0"/>
                    <a:pt x="100" y="9"/>
                    <a:pt x="100" y="12"/>
                  </a:cubicBezTo>
                  <a:cubicBezTo>
                    <a:pt x="100" y="18"/>
                    <a:pt x="94" y="18"/>
                    <a:pt x="91" y="15"/>
                  </a:cubicBezTo>
                  <a:cubicBezTo>
                    <a:pt x="88" y="12"/>
                    <a:pt x="85" y="15"/>
                    <a:pt x="78" y="12"/>
                  </a:cubicBezTo>
                  <a:cubicBezTo>
                    <a:pt x="75" y="9"/>
                    <a:pt x="75" y="18"/>
                    <a:pt x="75" y="21"/>
                  </a:cubicBezTo>
                  <a:cubicBezTo>
                    <a:pt x="75" y="24"/>
                    <a:pt x="72" y="24"/>
                    <a:pt x="69" y="24"/>
                  </a:cubicBezTo>
                  <a:cubicBezTo>
                    <a:pt x="63" y="24"/>
                    <a:pt x="60" y="27"/>
                    <a:pt x="60" y="30"/>
                  </a:cubicBezTo>
                  <a:cubicBezTo>
                    <a:pt x="60" y="33"/>
                    <a:pt x="54" y="36"/>
                    <a:pt x="57" y="39"/>
                  </a:cubicBezTo>
                  <a:cubicBezTo>
                    <a:pt x="57" y="39"/>
                    <a:pt x="54" y="42"/>
                    <a:pt x="54" y="45"/>
                  </a:cubicBezTo>
                  <a:cubicBezTo>
                    <a:pt x="51" y="45"/>
                    <a:pt x="48" y="51"/>
                    <a:pt x="48" y="51"/>
                  </a:cubicBezTo>
                  <a:cubicBezTo>
                    <a:pt x="45" y="54"/>
                    <a:pt x="48" y="57"/>
                    <a:pt x="45" y="60"/>
                  </a:cubicBezTo>
                  <a:cubicBezTo>
                    <a:pt x="42" y="60"/>
                    <a:pt x="39" y="60"/>
                    <a:pt x="36" y="60"/>
                  </a:cubicBezTo>
                  <a:cubicBezTo>
                    <a:pt x="36" y="63"/>
                    <a:pt x="36" y="66"/>
                    <a:pt x="36" y="72"/>
                  </a:cubicBezTo>
                  <a:cubicBezTo>
                    <a:pt x="36" y="75"/>
                    <a:pt x="33" y="81"/>
                    <a:pt x="30" y="87"/>
                  </a:cubicBezTo>
                  <a:cubicBezTo>
                    <a:pt x="24" y="90"/>
                    <a:pt x="30" y="90"/>
                    <a:pt x="30" y="93"/>
                  </a:cubicBezTo>
                  <a:cubicBezTo>
                    <a:pt x="33" y="93"/>
                    <a:pt x="33" y="96"/>
                    <a:pt x="30" y="99"/>
                  </a:cubicBezTo>
                  <a:cubicBezTo>
                    <a:pt x="30" y="102"/>
                    <a:pt x="27" y="99"/>
                    <a:pt x="24" y="99"/>
                  </a:cubicBezTo>
                  <a:cubicBezTo>
                    <a:pt x="21" y="99"/>
                    <a:pt x="15" y="102"/>
                    <a:pt x="12" y="105"/>
                  </a:cubicBezTo>
                  <a:cubicBezTo>
                    <a:pt x="9" y="111"/>
                    <a:pt x="9" y="114"/>
                    <a:pt x="12" y="117"/>
                  </a:cubicBezTo>
                  <a:cubicBezTo>
                    <a:pt x="12" y="120"/>
                    <a:pt x="9" y="123"/>
                    <a:pt x="12" y="129"/>
                  </a:cubicBezTo>
                  <a:cubicBezTo>
                    <a:pt x="15" y="135"/>
                    <a:pt x="9" y="135"/>
                    <a:pt x="12" y="138"/>
                  </a:cubicBezTo>
                  <a:cubicBezTo>
                    <a:pt x="12" y="144"/>
                    <a:pt x="18" y="144"/>
                    <a:pt x="18" y="147"/>
                  </a:cubicBezTo>
                  <a:cubicBezTo>
                    <a:pt x="18" y="153"/>
                    <a:pt x="15" y="153"/>
                    <a:pt x="15" y="153"/>
                  </a:cubicBezTo>
                  <a:cubicBezTo>
                    <a:pt x="12" y="153"/>
                    <a:pt x="12" y="156"/>
                    <a:pt x="15" y="159"/>
                  </a:cubicBezTo>
                  <a:cubicBezTo>
                    <a:pt x="18" y="159"/>
                    <a:pt x="15" y="168"/>
                    <a:pt x="15" y="168"/>
                  </a:cubicBezTo>
                  <a:cubicBezTo>
                    <a:pt x="15" y="171"/>
                    <a:pt x="6" y="168"/>
                    <a:pt x="9" y="171"/>
                  </a:cubicBezTo>
                  <a:cubicBezTo>
                    <a:pt x="9" y="174"/>
                    <a:pt x="6" y="180"/>
                    <a:pt x="6" y="180"/>
                  </a:cubicBezTo>
                  <a:cubicBezTo>
                    <a:pt x="6" y="183"/>
                    <a:pt x="6" y="189"/>
                    <a:pt x="3" y="189"/>
                  </a:cubicBezTo>
                  <a:cubicBezTo>
                    <a:pt x="0" y="189"/>
                    <a:pt x="0" y="189"/>
                    <a:pt x="0" y="189"/>
                  </a:cubicBezTo>
                  <a:cubicBezTo>
                    <a:pt x="0" y="189"/>
                    <a:pt x="0" y="189"/>
                    <a:pt x="0" y="189"/>
                  </a:cubicBezTo>
                  <a:cubicBezTo>
                    <a:pt x="0" y="192"/>
                    <a:pt x="0" y="198"/>
                    <a:pt x="6" y="201"/>
                  </a:cubicBezTo>
                  <a:cubicBezTo>
                    <a:pt x="9" y="204"/>
                    <a:pt x="6" y="207"/>
                    <a:pt x="9" y="213"/>
                  </a:cubicBezTo>
                  <a:cubicBezTo>
                    <a:pt x="12" y="216"/>
                    <a:pt x="12" y="219"/>
                    <a:pt x="15" y="222"/>
                  </a:cubicBezTo>
                  <a:cubicBezTo>
                    <a:pt x="18" y="225"/>
                    <a:pt x="18" y="228"/>
                    <a:pt x="18" y="231"/>
                  </a:cubicBezTo>
                  <a:cubicBezTo>
                    <a:pt x="15" y="234"/>
                    <a:pt x="21" y="234"/>
                    <a:pt x="21" y="237"/>
                  </a:cubicBezTo>
                  <a:cubicBezTo>
                    <a:pt x="21" y="237"/>
                    <a:pt x="18" y="243"/>
                    <a:pt x="21" y="246"/>
                  </a:cubicBezTo>
                  <a:cubicBezTo>
                    <a:pt x="21" y="249"/>
                    <a:pt x="24" y="246"/>
                    <a:pt x="30" y="246"/>
                  </a:cubicBezTo>
                  <a:cubicBezTo>
                    <a:pt x="33" y="246"/>
                    <a:pt x="33" y="243"/>
                    <a:pt x="33" y="240"/>
                  </a:cubicBezTo>
                  <a:cubicBezTo>
                    <a:pt x="33" y="234"/>
                    <a:pt x="36" y="237"/>
                    <a:pt x="36" y="234"/>
                  </a:cubicBezTo>
                  <a:cubicBezTo>
                    <a:pt x="36" y="234"/>
                    <a:pt x="42" y="231"/>
                    <a:pt x="45" y="234"/>
                  </a:cubicBezTo>
                  <a:cubicBezTo>
                    <a:pt x="51" y="237"/>
                    <a:pt x="51" y="234"/>
                    <a:pt x="54" y="228"/>
                  </a:cubicBezTo>
                  <a:cubicBezTo>
                    <a:pt x="54" y="225"/>
                    <a:pt x="54" y="231"/>
                    <a:pt x="57" y="231"/>
                  </a:cubicBezTo>
                  <a:cubicBezTo>
                    <a:pt x="57" y="231"/>
                    <a:pt x="60" y="225"/>
                    <a:pt x="63" y="219"/>
                  </a:cubicBezTo>
                  <a:cubicBezTo>
                    <a:pt x="66" y="216"/>
                    <a:pt x="63" y="216"/>
                    <a:pt x="60" y="222"/>
                  </a:cubicBezTo>
                  <a:cubicBezTo>
                    <a:pt x="54" y="225"/>
                    <a:pt x="57" y="216"/>
                    <a:pt x="60" y="213"/>
                  </a:cubicBezTo>
                  <a:cubicBezTo>
                    <a:pt x="60" y="210"/>
                    <a:pt x="60" y="198"/>
                    <a:pt x="60" y="198"/>
                  </a:cubicBezTo>
                  <a:cubicBezTo>
                    <a:pt x="60" y="195"/>
                    <a:pt x="63" y="192"/>
                    <a:pt x="66" y="189"/>
                  </a:cubicBezTo>
                  <a:cubicBezTo>
                    <a:pt x="72" y="189"/>
                    <a:pt x="78" y="183"/>
                    <a:pt x="78" y="180"/>
                  </a:cubicBezTo>
                  <a:cubicBezTo>
                    <a:pt x="75" y="177"/>
                    <a:pt x="85" y="174"/>
                    <a:pt x="85" y="171"/>
                  </a:cubicBezTo>
                  <a:cubicBezTo>
                    <a:pt x="85" y="168"/>
                    <a:pt x="75" y="162"/>
                    <a:pt x="72" y="159"/>
                  </a:cubicBezTo>
                  <a:cubicBezTo>
                    <a:pt x="69" y="159"/>
                    <a:pt x="66" y="159"/>
                    <a:pt x="66" y="156"/>
                  </a:cubicBezTo>
                  <a:cubicBezTo>
                    <a:pt x="66" y="156"/>
                    <a:pt x="63" y="147"/>
                    <a:pt x="63" y="144"/>
                  </a:cubicBezTo>
                  <a:cubicBezTo>
                    <a:pt x="63" y="141"/>
                    <a:pt x="69" y="138"/>
                    <a:pt x="69" y="135"/>
                  </a:cubicBezTo>
                  <a:cubicBezTo>
                    <a:pt x="69" y="129"/>
                    <a:pt x="69" y="126"/>
                    <a:pt x="72" y="126"/>
                  </a:cubicBezTo>
                  <a:cubicBezTo>
                    <a:pt x="75" y="123"/>
                    <a:pt x="72" y="120"/>
                    <a:pt x="75" y="120"/>
                  </a:cubicBezTo>
                  <a:cubicBezTo>
                    <a:pt x="82" y="120"/>
                    <a:pt x="82" y="114"/>
                    <a:pt x="85" y="111"/>
                  </a:cubicBezTo>
                  <a:cubicBezTo>
                    <a:pt x="91" y="108"/>
                    <a:pt x="91" y="108"/>
                    <a:pt x="97" y="105"/>
                  </a:cubicBezTo>
                  <a:cubicBezTo>
                    <a:pt x="103" y="102"/>
                    <a:pt x="112" y="96"/>
                    <a:pt x="112" y="93"/>
                  </a:cubicBezTo>
                  <a:cubicBezTo>
                    <a:pt x="115" y="87"/>
                    <a:pt x="106" y="84"/>
                    <a:pt x="112" y="81"/>
                  </a:cubicBezTo>
                  <a:cubicBezTo>
                    <a:pt x="118" y="78"/>
                    <a:pt x="112" y="72"/>
                    <a:pt x="115" y="72"/>
                  </a:cubicBezTo>
                  <a:cubicBezTo>
                    <a:pt x="121" y="69"/>
                    <a:pt x="121" y="69"/>
                    <a:pt x="124" y="66"/>
                  </a:cubicBezTo>
                  <a:cubicBezTo>
                    <a:pt x="127" y="63"/>
                    <a:pt x="130" y="66"/>
                    <a:pt x="136" y="66"/>
                  </a:cubicBezTo>
                  <a:cubicBezTo>
                    <a:pt x="139" y="63"/>
                    <a:pt x="139" y="66"/>
                    <a:pt x="142" y="66"/>
                  </a:cubicBezTo>
                  <a:cubicBezTo>
                    <a:pt x="142" y="63"/>
                    <a:pt x="142" y="60"/>
                    <a:pt x="139" y="60"/>
                  </a:cubicBezTo>
                  <a:close/>
                  <a:moveTo>
                    <a:pt x="85" y="207"/>
                  </a:moveTo>
                  <a:cubicBezTo>
                    <a:pt x="75" y="207"/>
                    <a:pt x="72" y="219"/>
                    <a:pt x="75" y="222"/>
                  </a:cubicBezTo>
                  <a:cubicBezTo>
                    <a:pt x="75" y="222"/>
                    <a:pt x="91" y="207"/>
                    <a:pt x="85" y="20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8" name="Freeform 913"/>
            <p:cNvSpPr>
              <a:spLocks noEditPoints="1"/>
            </p:cNvSpPr>
            <p:nvPr userDrawn="1"/>
          </p:nvSpPr>
          <p:spPr bwMode="auto">
            <a:xfrm>
              <a:off x="3863" y="-2354"/>
              <a:ext cx="106" cy="56"/>
            </a:xfrm>
            <a:custGeom>
              <a:avLst/>
              <a:gdLst>
                <a:gd name="T0" fmla="*/ 62 w 68"/>
                <a:gd name="T1" fmla="*/ 12 h 36"/>
                <a:gd name="T2" fmla="*/ 65 w 68"/>
                <a:gd name="T3" fmla="*/ 3 h 36"/>
                <a:gd name="T4" fmla="*/ 62 w 68"/>
                <a:gd name="T5" fmla="*/ 6 h 36"/>
                <a:gd name="T6" fmla="*/ 42 w 68"/>
                <a:gd name="T7" fmla="*/ 3 h 36"/>
                <a:gd name="T8" fmla="*/ 21 w 68"/>
                <a:gd name="T9" fmla="*/ 6 h 36"/>
                <a:gd name="T10" fmla="*/ 15 w 68"/>
                <a:gd name="T11" fmla="*/ 12 h 36"/>
                <a:gd name="T12" fmla="*/ 18 w 68"/>
                <a:gd name="T13" fmla="*/ 21 h 36"/>
                <a:gd name="T14" fmla="*/ 24 w 68"/>
                <a:gd name="T15" fmla="*/ 24 h 36"/>
                <a:gd name="T16" fmla="*/ 27 w 68"/>
                <a:gd name="T17" fmla="*/ 30 h 36"/>
                <a:gd name="T18" fmla="*/ 27 w 68"/>
                <a:gd name="T19" fmla="*/ 30 h 36"/>
                <a:gd name="T20" fmla="*/ 39 w 68"/>
                <a:gd name="T21" fmla="*/ 30 h 36"/>
                <a:gd name="T22" fmla="*/ 50 w 68"/>
                <a:gd name="T23" fmla="*/ 36 h 36"/>
                <a:gd name="T24" fmla="*/ 59 w 68"/>
                <a:gd name="T25" fmla="*/ 36 h 36"/>
                <a:gd name="T26" fmla="*/ 59 w 68"/>
                <a:gd name="T27" fmla="*/ 33 h 36"/>
                <a:gd name="T28" fmla="*/ 62 w 68"/>
                <a:gd name="T29" fmla="*/ 30 h 36"/>
                <a:gd name="T30" fmla="*/ 59 w 68"/>
                <a:gd name="T31" fmla="*/ 24 h 36"/>
                <a:gd name="T32" fmla="*/ 59 w 68"/>
                <a:gd name="T33" fmla="*/ 18 h 36"/>
                <a:gd name="T34" fmla="*/ 62 w 68"/>
                <a:gd name="T35" fmla="*/ 12 h 36"/>
                <a:gd name="T36" fmla="*/ 6 w 68"/>
                <a:gd name="T37" fmla="*/ 18 h 36"/>
                <a:gd name="T38" fmla="*/ 0 w 68"/>
                <a:gd name="T39" fmla="*/ 30 h 36"/>
                <a:gd name="T40" fmla="*/ 12 w 68"/>
                <a:gd name="T41" fmla="*/ 21 h 36"/>
                <a:gd name="T42" fmla="*/ 6 w 68"/>
                <a:gd name="T43" fmla="*/ 18 h 36"/>
                <a:gd name="T44" fmla="*/ 9 w 68"/>
                <a:gd name="T45" fmla="*/ 15 h 36"/>
                <a:gd name="T46" fmla="*/ 3 w 68"/>
                <a:gd name="T47" fmla="*/ 15 h 36"/>
                <a:gd name="T48" fmla="*/ 9 w 68"/>
                <a:gd name="T49"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6">
                  <a:moveTo>
                    <a:pt x="62" y="12"/>
                  </a:moveTo>
                  <a:cubicBezTo>
                    <a:pt x="65" y="9"/>
                    <a:pt x="68" y="6"/>
                    <a:pt x="65" y="3"/>
                  </a:cubicBezTo>
                  <a:cubicBezTo>
                    <a:pt x="65" y="3"/>
                    <a:pt x="65" y="3"/>
                    <a:pt x="62" y="6"/>
                  </a:cubicBezTo>
                  <a:cubicBezTo>
                    <a:pt x="59" y="6"/>
                    <a:pt x="47" y="0"/>
                    <a:pt x="42" y="3"/>
                  </a:cubicBezTo>
                  <a:cubicBezTo>
                    <a:pt x="36" y="3"/>
                    <a:pt x="24" y="3"/>
                    <a:pt x="21" y="6"/>
                  </a:cubicBezTo>
                  <a:cubicBezTo>
                    <a:pt x="18" y="9"/>
                    <a:pt x="12" y="9"/>
                    <a:pt x="15" y="12"/>
                  </a:cubicBezTo>
                  <a:cubicBezTo>
                    <a:pt x="18" y="15"/>
                    <a:pt x="15" y="18"/>
                    <a:pt x="18" y="21"/>
                  </a:cubicBezTo>
                  <a:cubicBezTo>
                    <a:pt x="21" y="24"/>
                    <a:pt x="21" y="24"/>
                    <a:pt x="24" y="24"/>
                  </a:cubicBezTo>
                  <a:cubicBezTo>
                    <a:pt x="27" y="24"/>
                    <a:pt x="30" y="24"/>
                    <a:pt x="27" y="30"/>
                  </a:cubicBezTo>
                  <a:cubicBezTo>
                    <a:pt x="27" y="30"/>
                    <a:pt x="27" y="30"/>
                    <a:pt x="27" y="30"/>
                  </a:cubicBezTo>
                  <a:cubicBezTo>
                    <a:pt x="33" y="27"/>
                    <a:pt x="39" y="27"/>
                    <a:pt x="39" y="30"/>
                  </a:cubicBezTo>
                  <a:cubicBezTo>
                    <a:pt x="39" y="30"/>
                    <a:pt x="47" y="36"/>
                    <a:pt x="50" y="36"/>
                  </a:cubicBezTo>
                  <a:cubicBezTo>
                    <a:pt x="50" y="36"/>
                    <a:pt x="56" y="36"/>
                    <a:pt x="59" y="36"/>
                  </a:cubicBezTo>
                  <a:cubicBezTo>
                    <a:pt x="59" y="33"/>
                    <a:pt x="59" y="33"/>
                    <a:pt x="59" y="33"/>
                  </a:cubicBezTo>
                  <a:cubicBezTo>
                    <a:pt x="62" y="33"/>
                    <a:pt x="65" y="33"/>
                    <a:pt x="62" y="30"/>
                  </a:cubicBezTo>
                  <a:cubicBezTo>
                    <a:pt x="62" y="27"/>
                    <a:pt x="62" y="27"/>
                    <a:pt x="59" y="24"/>
                  </a:cubicBezTo>
                  <a:cubicBezTo>
                    <a:pt x="59" y="21"/>
                    <a:pt x="59" y="18"/>
                    <a:pt x="59" y="18"/>
                  </a:cubicBezTo>
                  <a:cubicBezTo>
                    <a:pt x="59" y="15"/>
                    <a:pt x="62" y="15"/>
                    <a:pt x="62" y="12"/>
                  </a:cubicBezTo>
                  <a:close/>
                  <a:moveTo>
                    <a:pt x="6" y="18"/>
                  </a:moveTo>
                  <a:cubicBezTo>
                    <a:pt x="0" y="21"/>
                    <a:pt x="0" y="30"/>
                    <a:pt x="0" y="30"/>
                  </a:cubicBezTo>
                  <a:cubicBezTo>
                    <a:pt x="3" y="30"/>
                    <a:pt x="12" y="24"/>
                    <a:pt x="12" y="21"/>
                  </a:cubicBezTo>
                  <a:cubicBezTo>
                    <a:pt x="15" y="18"/>
                    <a:pt x="12" y="18"/>
                    <a:pt x="6" y="18"/>
                  </a:cubicBezTo>
                  <a:close/>
                  <a:moveTo>
                    <a:pt x="9" y="15"/>
                  </a:moveTo>
                  <a:cubicBezTo>
                    <a:pt x="12" y="12"/>
                    <a:pt x="0" y="12"/>
                    <a:pt x="3" y="15"/>
                  </a:cubicBezTo>
                  <a:cubicBezTo>
                    <a:pt x="6" y="18"/>
                    <a:pt x="9" y="18"/>
                    <a:pt x="9"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19" name="Freeform 914"/>
            <p:cNvSpPr>
              <a:spLocks noEditPoints="1"/>
            </p:cNvSpPr>
            <p:nvPr userDrawn="1"/>
          </p:nvSpPr>
          <p:spPr bwMode="auto">
            <a:xfrm>
              <a:off x="3863" y="-2354"/>
              <a:ext cx="106" cy="56"/>
            </a:xfrm>
            <a:custGeom>
              <a:avLst/>
              <a:gdLst>
                <a:gd name="T0" fmla="*/ 62 w 68"/>
                <a:gd name="T1" fmla="*/ 12 h 36"/>
                <a:gd name="T2" fmla="*/ 65 w 68"/>
                <a:gd name="T3" fmla="*/ 3 h 36"/>
                <a:gd name="T4" fmla="*/ 62 w 68"/>
                <a:gd name="T5" fmla="*/ 6 h 36"/>
                <a:gd name="T6" fmla="*/ 42 w 68"/>
                <a:gd name="T7" fmla="*/ 3 h 36"/>
                <a:gd name="T8" fmla="*/ 21 w 68"/>
                <a:gd name="T9" fmla="*/ 6 h 36"/>
                <a:gd name="T10" fmla="*/ 15 w 68"/>
                <a:gd name="T11" fmla="*/ 12 h 36"/>
                <a:gd name="T12" fmla="*/ 18 w 68"/>
                <a:gd name="T13" fmla="*/ 21 h 36"/>
                <a:gd name="T14" fmla="*/ 24 w 68"/>
                <a:gd name="T15" fmla="*/ 24 h 36"/>
                <a:gd name="T16" fmla="*/ 27 w 68"/>
                <a:gd name="T17" fmla="*/ 30 h 36"/>
                <a:gd name="T18" fmla="*/ 27 w 68"/>
                <a:gd name="T19" fmla="*/ 30 h 36"/>
                <a:gd name="T20" fmla="*/ 39 w 68"/>
                <a:gd name="T21" fmla="*/ 30 h 36"/>
                <a:gd name="T22" fmla="*/ 50 w 68"/>
                <a:gd name="T23" fmla="*/ 36 h 36"/>
                <a:gd name="T24" fmla="*/ 59 w 68"/>
                <a:gd name="T25" fmla="*/ 36 h 36"/>
                <a:gd name="T26" fmla="*/ 59 w 68"/>
                <a:gd name="T27" fmla="*/ 33 h 36"/>
                <a:gd name="T28" fmla="*/ 62 w 68"/>
                <a:gd name="T29" fmla="*/ 30 h 36"/>
                <a:gd name="T30" fmla="*/ 59 w 68"/>
                <a:gd name="T31" fmla="*/ 24 h 36"/>
                <a:gd name="T32" fmla="*/ 59 w 68"/>
                <a:gd name="T33" fmla="*/ 18 h 36"/>
                <a:gd name="T34" fmla="*/ 62 w 68"/>
                <a:gd name="T35" fmla="*/ 12 h 36"/>
                <a:gd name="T36" fmla="*/ 6 w 68"/>
                <a:gd name="T37" fmla="*/ 18 h 36"/>
                <a:gd name="T38" fmla="*/ 0 w 68"/>
                <a:gd name="T39" fmla="*/ 30 h 36"/>
                <a:gd name="T40" fmla="*/ 12 w 68"/>
                <a:gd name="T41" fmla="*/ 21 h 36"/>
                <a:gd name="T42" fmla="*/ 6 w 68"/>
                <a:gd name="T43" fmla="*/ 18 h 36"/>
                <a:gd name="T44" fmla="*/ 9 w 68"/>
                <a:gd name="T45" fmla="*/ 15 h 36"/>
                <a:gd name="T46" fmla="*/ 3 w 68"/>
                <a:gd name="T47" fmla="*/ 15 h 36"/>
                <a:gd name="T48" fmla="*/ 9 w 68"/>
                <a:gd name="T49"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36">
                  <a:moveTo>
                    <a:pt x="62" y="12"/>
                  </a:moveTo>
                  <a:cubicBezTo>
                    <a:pt x="65" y="9"/>
                    <a:pt x="68" y="6"/>
                    <a:pt x="65" y="3"/>
                  </a:cubicBezTo>
                  <a:cubicBezTo>
                    <a:pt x="65" y="3"/>
                    <a:pt x="65" y="3"/>
                    <a:pt x="62" y="6"/>
                  </a:cubicBezTo>
                  <a:cubicBezTo>
                    <a:pt x="59" y="6"/>
                    <a:pt x="47" y="0"/>
                    <a:pt x="42" y="3"/>
                  </a:cubicBezTo>
                  <a:cubicBezTo>
                    <a:pt x="36" y="3"/>
                    <a:pt x="24" y="3"/>
                    <a:pt x="21" y="6"/>
                  </a:cubicBezTo>
                  <a:cubicBezTo>
                    <a:pt x="18" y="9"/>
                    <a:pt x="12" y="9"/>
                    <a:pt x="15" y="12"/>
                  </a:cubicBezTo>
                  <a:cubicBezTo>
                    <a:pt x="18" y="15"/>
                    <a:pt x="15" y="18"/>
                    <a:pt x="18" y="21"/>
                  </a:cubicBezTo>
                  <a:cubicBezTo>
                    <a:pt x="21" y="24"/>
                    <a:pt x="21" y="24"/>
                    <a:pt x="24" y="24"/>
                  </a:cubicBezTo>
                  <a:cubicBezTo>
                    <a:pt x="27" y="24"/>
                    <a:pt x="30" y="24"/>
                    <a:pt x="27" y="30"/>
                  </a:cubicBezTo>
                  <a:cubicBezTo>
                    <a:pt x="27" y="30"/>
                    <a:pt x="27" y="30"/>
                    <a:pt x="27" y="30"/>
                  </a:cubicBezTo>
                  <a:cubicBezTo>
                    <a:pt x="33" y="27"/>
                    <a:pt x="39" y="27"/>
                    <a:pt x="39" y="30"/>
                  </a:cubicBezTo>
                  <a:cubicBezTo>
                    <a:pt x="39" y="30"/>
                    <a:pt x="47" y="36"/>
                    <a:pt x="50" y="36"/>
                  </a:cubicBezTo>
                  <a:cubicBezTo>
                    <a:pt x="50" y="36"/>
                    <a:pt x="56" y="36"/>
                    <a:pt x="59" y="36"/>
                  </a:cubicBezTo>
                  <a:cubicBezTo>
                    <a:pt x="59" y="33"/>
                    <a:pt x="59" y="33"/>
                    <a:pt x="59" y="33"/>
                  </a:cubicBezTo>
                  <a:cubicBezTo>
                    <a:pt x="62" y="33"/>
                    <a:pt x="65" y="33"/>
                    <a:pt x="62" y="30"/>
                  </a:cubicBezTo>
                  <a:cubicBezTo>
                    <a:pt x="62" y="27"/>
                    <a:pt x="62" y="27"/>
                    <a:pt x="59" y="24"/>
                  </a:cubicBezTo>
                  <a:cubicBezTo>
                    <a:pt x="59" y="21"/>
                    <a:pt x="59" y="18"/>
                    <a:pt x="59" y="18"/>
                  </a:cubicBezTo>
                  <a:cubicBezTo>
                    <a:pt x="59" y="15"/>
                    <a:pt x="62" y="15"/>
                    <a:pt x="62" y="12"/>
                  </a:cubicBezTo>
                  <a:close/>
                  <a:moveTo>
                    <a:pt x="6" y="18"/>
                  </a:moveTo>
                  <a:cubicBezTo>
                    <a:pt x="0" y="21"/>
                    <a:pt x="0" y="30"/>
                    <a:pt x="0" y="30"/>
                  </a:cubicBezTo>
                  <a:cubicBezTo>
                    <a:pt x="3" y="30"/>
                    <a:pt x="12" y="24"/>
                    <a:pt x="12" y="21"/>
                  </a:cubicBezTo>
                  <a:cubicBezTo>
                    <a:pt x="15" y="18"/>
                    <a:pt x="12" y="18"/>
                    <a:pt x="6" y="18"/>
                  </a:cubicBezTo>
                  <a:close/>
                  <a:moveTo>
                    <a:pt x="9" y="15"/>
                  </a:moveTo>
                  <a:cubicBezTo>
                    <a:pt x="12" y="12"/>
                    <a:pt x="0" y="12"/>
                    <a:pt x="3" y="15"/>
                  </a:cubicBezTo>
                  <a:cubicBezTo>
                    <a:pt x="6" y="18"/>
                    <a:pt x="9" y="18"/>
                    <a:pt x="9" y="1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0" name="Freeform 915"/>
            <p:cNvSpPr>
              <a:spLocks/>
            </p:cNvSpPr>
            <p:nvPr userDrawn="1"/>
          </p:nvSpPr>
          <p:spPr bwMode="auto">
            <a:xfrm>
              <a:off x="4064" y="-1231"/>
              <a:ext cx="141" cy="174"/>
            </a:xfrm>
            <a:custGeom>
              <a:avLst/>
              <a:gdLst>
                <a:gd name="T0" fmla="*/ 81 w 90"/>
                <a:gd name="T1" fmla="*/ 24 h 111"/>
                <a:gd name="T2" fmla="*/ 84 w 90"/>
                <a:gd name="T3" fmla="*/ 18 h 111"/>
                <a:gd name="T4" fmla="*/ 90 w 90"/>
                <a:gd name="T5" fmla="*/ 9 h 111"/>
                <a:gd name="T6" fmla="*/ 84 w 90"/>
                <a:gd name="T7" fmla="*/ 12 h 111"/>
                <a:gd name="T8" fmla="*/ 81 w 90"/>
                <a:gd name="T9" fmla="*/ 9 h 111"/>
                <a:gd name="T10" fmla="*/ 69 w 90"/>
                <a:gd name="T11" fmla="*/ 9 h 111"/>
                <a:gd name="T12" fmla="*/ 63 w 90"/>
                <a:gd name="T13" fmla="*/ 15 h 111"/>
                <a:gd name="T14" fmla="*/ 48 w 90"/>
                <a:gd name="T15" fmla="*/ 15 h 111"/>
                <a:gd name="T16" fmla="*/ 36 w 90"/>
                <a:gd name="T17" fmla="*/ 6 h 111"/>
                <a:gd name="T18" fmla="*/ 24 w 90"/>
                <a:gd name="T19" fmla="*/ 3 h 111"/>
                <a:gd name="T20" fmla="*/ 18 w 90"/>
                <a:gd name="T21" fmla="*/ 0 h 111"/>
                <a:gd name="T22" fmla="*/ 12 w 90"/>
                <a:gd name="T23" fmla="*/ 0 h 111"/>
                <a:gd name="T24" fmla="*/ 3 w 90"/>
                <a:gd name="T25" fmla="*/ 6 h 111"/>
                <a:gd name="T26" fmla="*/ 0 w 90"/>
                <a:gd name="T27" fmla="*/ 9 h 111"/>
                <a:gd name="T28" fmla="*/ 6 w 90"/>
                <a:gd name="T29" fmla="*/ 12 h 111"/>
                <a:gd name="T30" fmla="*/ 6 w 90"/>
                <a:gd name="T31" fmla="*/ 21 h 111"/>
                <a:gd name="T32" fmla="*/ 12 w 90"/>
                <a:gd name="T33" fmla="*/ 24 h 111"/>
                <a:gd name="T34" fmla="*/ 12 w 90"/>
                <a:gd name="T35" fmla="*/ 33 h 111"/>
                <a:gd name="T36" fmla="*/ 3 w 90"/>
                <a:gd name="T37" fmla="*/ 48 h 111"/>
                <a:gd name="T38" fmla="*/ 0 w 90"/>
                <a:gd name="T39" fmla="*/ 54 h 111"/>
                <a:gd name="T40" fmla="*/ 9 w 90"/>
                <a:gd name="T41" fmla="*/ 60 h 111"/>
                <a:gd name="T42" fmla="*/ 0 w 90"/>
                <a:gd name="T43" fmla="*/ 66 h 111"/>
                <a:gd name="T44" fmla="*/ 0 w 90"/>
                <a:gd name="T45" fmla="*/ 66 h 111"/>
                <a:gd name="T46" fmla="*/ 42 w 90"/>
                <a:gd name="T47" fmla="*/ 90 h 111"/>
                <a:gd name="T48" fmla="*/ 42 w 90"/>
                <a:gd name="T49" fmla="*/ 96 h 111"/>
                <a:gd name="T50" fmla="*/ 60 w 90"/>
                <a:gd name="T51" fmla="*/ 111 h 111"/>
                <a:gd name="T52" fmla="*/ 72 w 90"/>
                <a:gd name="T53" fmla="*/ 84 h 111"/>
                <a:gd name="T54" fmla="*/ 78 w 90"/>
                <a:gd name="T55" fmla="*/ 81 h 111"/>
                <a:gd name="T56" fmla="*/ 84 w 90"/>
                <a:gd name="T57" fmla="*/ 75 h 111"/>
                <a:gd name="T58" fmla="*/ 87 w 90"/>
                <a:gd name="T59" fmla="*/ 75 h 111"/>
                <a:gd name="T60" fmla="*/ 81 w 90"/>
                <a:gd name="T61" fmla="*/ 66 h 111"/>
                <a:gd name="T62" fmla="*/ 81 w 90"/>
                <a:gd name="T63" fmla="*/ 24 h 111"/>
                <a:gd name="T64" fmla="*/ 81 w 90"/>
                <a:gd name="T65"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11">
                  <a:moveTo>
                    <a:pt x="81" y="24"/>
                  </a:moveTo>
                  <a:cubicBezTo>
                    <a:pt x="84" y="18"/>
                    <a:pt x="84" y="18"/>
                    <a:pt x="84" y="18"/>
                  </a:cubicBezTo>
                  <a:cubicBezTo>
                    <a:pt x="90" y="9"/>
                    <a:pt x="90" y="9"/>
                    <a:pt x="90" y="9"/>
                  </a:cubicBezTo>
                  <a:cubicBezTo>
                    <a:pt x="87" y="9"/>
                    <a:pt x="87" y="9"/>
                    <a:pt x="84" y="12"/>
                  </a:cubicBezTo>
                  <a:cubicBezTo>
                    <a:pt x="81" y="9"/>
                    <a:pt x="81" y="9"/>
                    <a:pt x="81" y="9"/>
                  </a:cubicBezTo>
                  <a:cubicBezTo>
                    <a:pt x="78" y="6"/>
                    <a:pt x="75" y="9"/>
                    <a:pt x="69" y="9"/>
                  </a:cubicBezTo>
                  <a:cubicBezTo>
                    <a:pt x="66" y="12"/>
                    <a:pt x="63" y="18"/>
                    <a:pt x="63" y="15"/>
                  </a:cubicBezTo>
                  <a:cubicBezTo>
                    <a:pt x="60" y="15"/>
                    <a:pt x="51" y="15"/>
                    <a:pt x="48" y="15"/>
                  </a:cubicBezTo>
                  <a:cubicBezTo>
                    <a:pt x="48" y="15"/>
                    <a:pt x="39" y="9"/>
                    <a:pt x="36" y="6"/>
                  </a:cubicBezTo>
                  <a:cubicBezTo>
                    <a:pt x="33" y="3"/>
                    <a:pt x="27" y="6"/>
                    <a:pt x="24" y="3"/>
                  </a:cubicBezTo>
                  <a:cubicBezTo>
                    <a:pt x="24" y="3"/>
                    <a:pt x="21" y="3"/>
                    <a:pt x="18" y="0"/>
                  </a:cubicBezTo>
                  <a:cubicBezTo>
                    <a:pt x="18" y="0"/>
                    <a:pt x="15" y="0"/>
                    <a:pt x="12" y="0"/>
                  </a:cubicBezTo>
                  <a:cubicBezTo>
                    <a:pt x="9" y="0"/>
                    <a:pt x="3" y="3"/>
                    <a:pt x="3" y="6"/>
                  </a:cubicBezTo>
                  <a:cubicBezTo>
                    <a:pt x="3" y="6"/>
                    <a:pt x="3" y="9"/>
                    <a:pt x="0" y="9"/>
                  </a:cubicBezTo>
                  <a:cubicBezTo>
                    <a:pt x="6" y="12"/>
                    <a:pt x="6" y="12"/>
                    <a:pt x="6" y="12"/>
                  </a:cubicBezTo>
                  <a:cubicBezTo>
                    <a:pt x="6" y="21"/>
                    <a:pt x="6" y="21"/>
                    <a:pt x="6" y="21"/>
                  </a:cubicBezTo>
                  <a:cubicBezTo>
                    <a:pt x="12" y="24"/>
                    <a:pt x="12" y="24"/>
                    <a:pt x="12" y="24"/>
                  </a:cubicBezTo>
                  <a:cubicBezTo>
                    <a:pt x="12" y="24"/>
                    <a:pt x="12" y="30"/>
                    <a:pt x="12" y="33"/>
                  </a:cubicBezTo>
                  <a:cubicBezTo>
                    <a:pt x="12" y="39"/>
                    <a:pt x="6" y="45"/>
                    <a:pt x="3" y="48"/>
                  </a:cubicBezTo>
                  <a:cubicBezTo>
                    <a:pt x="3" y="48"/>
                    <a:pt x="3" y="51"/>
                    <a:pt x="0" y="54"/>
                  </a:cubicBezTo>
                  <a:cubicBezTo>
                    <a:pt x="6" y="57"/>
                    <a:pt x="9" y="57"/>
                    <a:pt x="9" y="60"/>
                  </a:cubicBezTo>
                  <a:cubicBezTo>
                    <a:pt x="9" y="60"/>
                    <a:pt x="0" y="60"/>
                    <a:pt x="0" y="66"/>
                  </a:cubicBezTo>
                  <a:cubicBezTo>
                    <a:pt x="0" y="66"/>
                    <a:pt x="0" y="66"/>
                    <a:pt x="0" y="66"/>
                  </a:cubicBezTo>
                  <a:cubicBezTo>
                    <a:pt x="42" y="90"/>
                    <a:pt x="42" y="90"/>
                    <a:pt x="42" y="90"/>
                  </a:cubicBezTo>
                  <a:cubicBezTo>
                    <a:pt x="42" y="96"/>
                    <a:pt x="42" y="96"/>
                    <a:pt x="42" y="96"/>
                  </a:cubicBezTo>
                  <a:cubicBezTo>
                    <a:pt x="42" y="96"/>
                    <a:pt x="51" y="102"/>
                    <a:pt x="60" y="111"/>
                  </a:cubicBezTo>
                  <a:cubicBezTo>
                    <a:pt x="66" y="99"/>
                    <a:pt x="72" y="87"/>
                    <a:pt x="72" y="84"/>
                  </a:cubicBezTo>
                  <a:cubicBezTo>
                    <a:pt x="75" y="81"/>
                    <a:pt x="78" y="81"/>
                    <a:pt x="78" y="81"/>
                  </a:cubicBezTo>
                  <a:cubicBezTo>
                    <a:pt x="81" y="78"/>
                    <a:pt x="81" y="81"/>
                    <a:pt x="84" y="75"/>
                  </a:cubicBezTo>
                  <a:cubicBezTo>
                    <a:pt x="87" y="75"/>
                    <a:pt x="87" y="75"/>
                    <a:pt x="87" y="75"/>
                  </a:cubicBezTo>
                  <a:cubicBezTo>
                    <a:pt x="81" y="66"/>
                    <a:pt x="81" y="66"/>
                    <a:pt x="81" y="66"/>
                  </a:cubicBezTo>
                  <a:cubicBezTo>
                    <a:pt x="81" y="24"/>
                    <a:pt x="81" y="24"/>
                    <a:pt x="81" y="24"/>
                  </a:cubicBezTo>
                  <a:cubicBezTo>
                    <a:pt x="81" y="24"/>
                    <a:pt x="81" y="24"/>
                    <a:pt x="81"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1" name="Freeform 916"/>
            <p:cNvSpPr>
              <a:spLocks/>
            </p:cNvSpPr>
            <p:nvPr userDrawn="1"/>
          </p:nvSpPr>
          <p:spPr bwMode="auto">
            <a:xfrm>
              <a:off x="4064" y="-1231"/>
              <a:ext cx="141" cy="174"/>
            </a:xfrm>
            <a:custGeom>
              <a:avLst/>
              <a:gdLst>
                <a:gd name="T0" fmla="*/ 81 w 90"/>
                <a:gd name="T1" fmla="*/ 24 h 111"/>
                <a:gd name="T2" fmla="*/ 84 w 90"/>
                <a:gd name="T3" fmla="*/ 18 h 111"/>
                <a:gd name="T4" fmla="*/ 90 w 90"/>
                <a:gd name="T5" fmla="*/ 9 h 111"/>
                <a:gd name="T6" fmla="*/ 84 w 90"/>
                <a:gd name="T7" fmla="*/ 12 h 111"/>
                <a:gd name="T8" fmla="*/ 81 w 90"/>
                <a:gd name="T9" fmla="*/ 9 h 111"/>
                <a:gd name="T10" fmla="*/ 69 w 90"/>
                <a:gd name="T11" fmla="*/ 9 h 111"/>
                <a:gd name="T12" fmla="*/ 63 w 90"/>
                <a:gd name="T13" fmla="*/ 15 h 111"/>
                <a:gd name="T14" fmla="*/ 48 w 90"/>
                <a:gd name="T15" fmla="*/ 15 h 111"/>
                <a:gd name="T16" fmla="*/ 36 w 90"/>
                <a:gd name="T17" fmla="*/ 6 h 111"/>
                <a:gd name="T18" fmla="*/ 24 w 90"/>
                <a:gd name="T19" fmla="*/ 3 h 111"/>
                <a:gd name="T20" fmla="*/ 18 w 90"/>
                <a:gd name="T21" fmla="*/ 0 h 111"/>
                <a:gd name="T22" fmla="*/ 12 w 90"/>
                <a:gd name="T23" fmla="*/ 0 h 111"/>
                <a:gd name="T24" fmla="*/ 3 w 90"/>
                <a:gd name="T25" fmla="*/ 6 h 111"/>
                <a:gd name="T26" fmla="*/ 0 w 90"/>
                <a:gd name="T27" fmla="*/ 9 h 111"/>
                <a:gd name="T28" fmla="*/ 6 w 90"/>
                <a:gd name="T29" fmla="*/ 12 h 111"/>
                <a:gd name="T30" fmla="*/ 6 w 90"/>
                <a:gd name="T31" fmla="*/ 21 h 111"/>
                <a:gd name="T32" fmla="*/ 12 w 90"/>
                <a:gd name="T33" fmla="*/ 24 h 111"/>
                <a:gd name="T34" fmla="*/ 12 w 90"/>
                <a:gd name="T35" fmla="*/ 33 h 111"/>
                <a:gd name="T36" fmla="*/ 3 w 90"/>
                <a:gd name="T37" fmla="*/ 48 h 111"/>
                <a:gd name="T38" fmla="*/ 0 w 90"/>
                <a:gd name="T39" fmla="*/ 54 h 111"/>
                <a:gd name="T40" fmla="*/ 9 w 90"/>
                <a:gd name="T41" fmla="*/ 60 h 111"/>
                <a:gd name="T42" fmla="*/ 0 w 90"/>
                <a:gd name="T43" fmla="*/ 66 h 111"/>
                <a:gd name="T44" fmla="*/ 0 w 90"/>
                <a:gd name="T45" fmla="*/ 66 h 111"/>
                <a:gd name="T46" fmla="*/ 42 w 90"/>
                <a:gd name="T47" fmla="*/ 90 h 111"/>
                <a:gd name="T48" fmla="*/ 42 w 90"/>
                <a:gd name="T49" fmla="*/ 96 h 111"/>
                <a:gd name="T50" fmla="*/ 60 w 90"/>
                <a:gd name="T51" fmla="*/ 111 h 111"/>
                <a:gd name="T52" fmla="*/ 72 w 90"/>
                <a:gd name="T53" fmla="*/ 84 h 111"/>
                <a:gd name="T54" fmla="*/ 78 w 90"/>
                <a:gd name="T55" fmla="*/ 81 h 111"/>
                <a:gd name="T56" fmla="*/ 84 w 90"/>
                <a:gd name="T57" fmla="*/ 75 h 111"/>
                <a:gd name="T58" fmla="*/ 87 w 90"/>
                <a:gd name="T59" fmla="*/ 75 h 111"/>
                <a:gd name="T60" fmla="*/ 81 w 90"/>
                <a:gd name="T61" fmla="*/ 66 h 111"/>
                <a:gd name="T62" fmla="*/ 81 w 90"/>
                <a:gd name="T63" fmla="*/ 24 h 111"/>
                <a:gd name="T64" fmla="*/ 81 w 90"/>
                <a:gd name="T65"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11">
                  <a:moveTo>
                    <a:pt x="81" y="24"/>
                  </a:moveTo>
                  <a:cubicBezTo>
                    <a:pt x="84" y="18"/>
                    <a:pt x="84" y="18"/>
                    <a:pt x="84" y="18"/>
                  </a:cubicBezTo>
                  <a:cubicBezTo>
                    <a:pt x="90" y="9"/>
                    <a:pt x="90" y="9"/>
                    <a:pt x="90" y="9"/>
                  </a:cubicBezTo>
                  <a:cubicBezTo>
                    <a:pt x="87" y="9"/>
                    <a:pt x="87" y="9"/>
                    <a:pt x="84" y="12"/>
                  </a:cubicBezTo>
                  <a:cubicBezTo>
                    <a:pt x="81" y="9"/>
                    <a:pt x="81" y="9"/>
                    <a:pt x="81" y="9"/>
                  </a:cubicBezTo>
                  <a:cubicBezTo>
                    <a:pt x="78" y="6"/>
                    <a:pt x="75" y="9"/>
                    <a:pt x="69" y="9"/>
                  </a:cubicBezTo>
                  <a:cubicBezTo>
                    <a:pt x="66" y="12"/>
                    <a:pt x="63" y="18"/>
                    <a:pt x="63" y="15"/>
                  </a:cubicBezTo>
                  <a:cubicBezTo>
                    <a:pt x="60" y="15"/>
                    <a:pt x="51" y="15"/>
                    <a:pt x="48" y="15"/>
                  </a:cubicBezTo>
                  <a:cubicBezTo>
                    <a:pt x="48" y="15"/>
                    <a:pt x="39" y="9"/>
                    <a:pt x="36" y="6"/>
                  </a:cubicBezTo>
                  <a:cubicBezTo>
                    <a:pt x="33" y="3"/>
                    <a:pt x="27" y="6"/>
                    <a:pt x="24" y="3"/>
                  </a:cubicBezTo>
                  <a:cubicBezTo>
                    <a:pt x="24" y="3"/>
                    <a:pt x="21" y="3"/>
                    <a:pt x="18" y="0"/>
                  </a:cubicBezTo>
                  <a:cubicBezTo>
                    <a:pt x="18" y="0"/>
                    <a:pt x="15" y="0"/>
                    <a:pt x="12" y="0"/>
                  </a:cubicBezTo>
                  <a:cubicBezTo>
                    <a:pt x="9" y="0"/>
                    <a:pt x="3" y="3"/>
                    <a:pt x="3" y="6"/>
                  </a:cubicBezTo>
                  <a:cubicBezTo>
                    <a:pt x="3" y="6"/>
                    <a:pt x="3" y="9"/>
                    <a:pt x="0" y="9"/>
                  </a:cubicBezTo>
                  <a:cubicBezTo>
                    <a:pt x="6" y="12"/>
                    <a:pt x="6" y="12"/>
                    <a:pt x="6" y="12"/>
                  </a:cubicBezTo>
                  <a:cubicBezTo>
                    <a:pt x="6" y="21"/>
                    <a:pt x="6" y="21"/>
                    <a:pt x="6" y="21"/>
                  </a:cubicBezTo>
                  <a:cubicBezTo>
                    <a:pt x="12" y="24"/>
                    <a:pt x="12" y="24"/>
                    <a:pt x="12" y="24"/>
                  </a:cubicBezTo>
                  <a:cubicBezTo>
                    <a:pt x="12" y="24"/>
                    <a:pt x="12" y="30"/>
                    <a:pt x="12" y="33"/>
                  </a:cubicBezTo>
                  <a:cubicBezTo>
                    <a:pt x="12" y="39"/>
                    <a:pt x="6" y="45"/>
                    <a:pt x="3" y="48"/>
                  </a:cubicBezTo>
                  <a:cubicBezTo>
                    <a:pt x="3" y="48"/>
                    <a:pt x="3" y="51"/>
                    <a:pt x="0" y="54"/>
                  </a:cubicBezTo>
                  <a:cubicBezTo>
                    <a:pt x="6" y="57"/>
                    <a:pt x="9" y="57"/>
                    <a:pt x="9" y="60"/>
                  </a:cubicBezTo>
                  <a:cubicBezTo>
                    <a:pt x="9" y="60"/>
                    <a:pt x="0" y="60"/>
                    <a:pt x="0" y="66"/>
                  </a:cubicBezTo>
                  <a:cubicBezTo>
                    <a:pt x="0" y="66"/>
                    <a:pt x="0" y="66"/>
                    <a:pt x="0" y="66"/>
                  </a:cubicBezTo>
                  <a:cubicBezTo>
                    <a:pt x="42" y="90"/>
                    <a:pt x="42" y="90"/>
                    <a:pt x="42" y="90"/>
                  </a:cubicBezTo>
                  <a:cubicBezTo>
                    <a:pt x="42" y="96"/>
                    <a:pt x="42" y="96"/>
                    <a:pt x="42" y="96"/>
                  </a:cubicBezTo>
                  <a:cubicBezTo>
                    <a:pt x="42" y="96"/>
                    <a:pt x="51" y="102"/>
                    <a:pt x="60" y="111"/>
                  </a:cubicBezTo>
                  <a:cubicBezTo>
                    <a:pt x="66" y="99"/>
                    <a:pt x="72" y="87"/>
                    <a:pt x="72" y="84"/>
                  </a:cubicBezTo>
                  <a:cubicBezTo>
                    <a:pt x="75" y="81"/>
                    <a:pt x="78" y="81"/>
                    <a:pt x="78" y="81"/>
                  </a:cubicBezTo>
                  <a:cubicBezTo>
                    <a:pt x="81" y="78"/>
                    <a:pt x="81" y="81"/>
                    <a:pt x="84" y="75"/>
                  </a:cubicBezTo>
                  <a:cubicBezTo>
                    <a:pt x="87" y="75"/>
                    <a:pt x="87" y="75"/>
                    <a:pt x="87" y="75"/>
                  </a:cubicBezTo>
                  <a:cubicBezTo>
                    <a:pt x="81" y="66"/>
                    <a:pt x="81" y="66"/>
                    <a:pt x="81" y="66"/>
                  </a:cubicBezTo>
                  <a:cubicBezTo>
                    <a:pt x="81" y="24"/>
                    <a:pt x="81" y="24"/>
                    <a:pt x="81" y="24"/>
                  </a:cubicBezTo>
                  <a:cubicBezTo>
                    <a:pt x="81" y="24"/>
                    <a:pt x="81" y="24"/>
                    <a:pt x="81"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2" name="Freeform 917"/>
            <p:cNvSpPr>
              <a:spLocks/>
            </p:cNvSpPr>
            <p:nvPr userDrawn="1"/>
          </p:nvSpPr>
          <p:spPr bwMode="auto">
            <a:xfrm>
              <a:off x="3990" y="-1215"/>
              <a:ext cx="93" cy="98"/>
            </a:xfrm>
            <a:custGeom>
              <a:avLst/>
              <a:gdLst>
                <a:gd name="T0" fmla="*/ 54 w 60"/>
                <a:gd name="T1" fmla="*/ 12 h 63"/>
                <a:gd name="T2" fmla="*/ 54 w 60"/>
                <a:gd name="T3" fmla="*/ 3 h 63"/>
                <a:gd name="T4" fmla="*/ 48 w 60"/>
                <a:gd name="T5" fmla="*/ 0 h 63"/>
                <a:gd name="T6" fmla="*/ 45 w 60"/>
                <a:gd name="T7" fmla="*/ 3 h 63"/>
                <a:gd name="T8" fmla="*/ 39 w 60"/>
                <a:gd name="T9" fmla="*/ 3 h 63"/>
                <a:gd name="T10" fmla="*/ 30 w 60"/>
                <a:gd name="T11" fmla="*/ 6 h 63"/>
                <a:gd name="T12" fmla="*/ 24 w 60"/>
                <a:gd name="T13" fmla="*/ 3 h 63"/>
                <a:gd name="T14" fmla="*/ 15 w 60"/>
                <a:gd name="T15" fmla="*/ 6 h 63"/>
                <a:gd name="T16" fmla="*/ 15 w 60"/>
                <a:gd name="T17" fmla="*/ 15 h 63"/>
                <a:gd name="T18" fmla="*/ 18 w 60"/>
                <a:gd name="T19" fmla="*/ 21 h 63"/>
                <a:gd name="T20" fmla="*/ 15 w 60"/>
                <a:gd name="T21" fmla="*/ 27 h 63"/>
                <a:gd name="T22" fmla="*/ 9 w 60"/>
                <a:gd name="T23" fmla="*/ 30 h 63"/>
                <a:gd name="T24" fmla="*/ 6 w 60"/>
                <a:gd name="T25" fmla="*/ 36 h 63"/>
                <a:gd name="T26" fmla="*/ 3 w 60"/>
                <a:gd name="T27" fmla="*/ 45 h 63"/>
                <a:gd name="T28" fmla="*/ 0 w 60"/>
                <a:gd name="T29" fmla="*/ 54 h 63"/>
                <a:gd name="T30" fmla="*/ 0 w 60"/>
                <a:gd name="T31" fmla="*/ 63 h 63"/>
                <a:gd name="T32" fmla="*/ 3 w 60"/>
                <a:gd name="T33" fmla="*/ 60 h 63"/>
                <a:gd name="T34" fmla="*/ 15 w 60"/>
                <a:gd name="T35" fmla="*/ 57 h 63"/>
                <a:gd name="T36" fmla="*/ 24 w 60"/>
                <a:gd name="T37" fmla="*/ 57 h 63"/>
                <a:gd name="T38" fmla="*/ 33 w 60"/>
                <a:gd name="T39" fmla="*/ 45 h 63"/>
                <a:gd name="T40" fmla="*/ 48 w 60"/>
                <a:gd name="T41" fmla="*/ 45 h 63"/>
                <a:gd name="T42" fmla="*/ 51 w 60"/>
                <a:gd name="T43" fmla="*/ 39 h 63"/>
                <a:gd name="T44" fmla="*/ 60 w 60"/>
                <a:gd name="T45" fmla="*/ 24 h 63"/>
                <a:gd name="T46" fmla="*/ 60 w 60"/>
                <a:gd name="T47" fmla="*/ 15 h 63"/>
                <a:gd name="T48" fmla="*/ 54 w 60"/>
                <a:gd name="T49" fmla="*/ 12 h 63"/>
                <a:gd name="T50" fmla="*/ 54 w 60"/>
                <a:gd name="T5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63">
                  <a:moveTo>
                    <a:pt x="54" y="12"/>
                  </a:moveTo>
                  <a:cubicBezTo>
                    <a:pt x="54" y="3"/>
                    <a:pt x="54" y="3"/>
                    <a:pt x="54" y="3"/>
                  </a:cubicBezTo>
                  <a:cubicBezTo>
                    <a:pt x="48" y="0"/>
                    <a:pt x="48" y="0"/>
                    <a:pt x="48" y="0"/>
                  </a:cubicBezTo>
                  <a:cubicBezTo>
                    <a:pt x="45" y="3"/>
                    <a:pt x="45" y="3"/>
                    <a:pt x="45" y="3"/>
                  </a:cubicBezTo>
                  <a:cubicBezTo>
                    <a:pt x="45" y="6"/>
                    <a:pt x="39" y="3"/>
                    <a:pt x="39" y="3"/>
                  </a:cubicBezTo>
                  <a:cubicBezTo>
                    <a:pt x="36" y="3"/>
                    <a:pt x="30" y="6"/>
                    <a:pt x="30" y="6"/>
                  </a:cubicBezTo>
                  <a:cubicBezTo>
                    <a:pt x="30" y="9"/>
                    <a:pt x="27" y="3"/>
                    <a:pt x="24" y="3"/>
                  </a:cubicBezTo>
                  <a:cubicBezTo>
                    <a:pt x="21" y="3"/>
                    <a:pt x="15" y="6"/>
                    <a:pt x="15" y="6"/>
                  </a:cubicBezTo>
                  <a:cubicBezTo>
                    <a:pt x="15" y="6"/>
                    <a:pt x="15" y="12"/>
                    <a:pt x="15" y="15"/>
                  </a:cubicBezTo>
                  <a:cubicBezTo>
                    <a:pt x="15" y="18"/>
                    <a:pt x="18" y="18"/>
                    <a:pt x="18" y="21"/>
                  </a:cubicBezTo>
                  <a:cubicBezTo>
                    <a:pt x="18" y="24"/>
                    <a:pt x="15" y="27"/>
                    <a:pt x="15" y="27"/>
                  </a:cubicBezTo>
                  <a:cubicBezTo>
                    <a:pt x="15" y="30"/>
                    <a:pt x="12" y="30"/>
                    <a:pt x="9" y="30"/>
                  </a:cubicBezTo>
                  <a:cubicBezTo>
                    <a:pt x="6" y="30"/>
                    <a:pt x="6" y="36"/>
                    <a:pt x="6" y="36"/>
                  </a:cubicBezTo>
                  <a:cubicBezTo>
                    <a:pt x="3" y="39"/>
                    <a:pt x="3" y="42"/>
                    <a:pt x="3" y="45"/>
                  </a:cubicBezTo>
                  <a:cubicBezTo>
                    <a:pt x="0" y="48"/>
                    <a:pt x="0" y="51"/>
                    <a:pt x="0" y="54"/>
                  </a:cubicBezTo>
                  <a:cubicBezTo>
                    <a:pt x="0" y="57"/>
                    <a:pt x="0" y="60"/>
                    <a:pt x="0" y="63"/>
                  </a:cubicBezTo>
                  <a:cubicBezTo>
                    <a:pt x="3" y="63"/>
                    <a:pt x="3" y="63"/>
                    <a:pt x="3" y="60"/>
                  </a:cubicBezTo>
                  <a:cubicBezTo>
                    <a:pt x="6" y="60"/>
                    <a:pt x="15" y="57"/>
                    <a:pt x="15" y="57"/>
                  </a:cubicBezTo>
                  <a:cubicBezTo>
                    <a:pt x="24" y="57"/>
                    <a:pt x="24" y="57"/>
                    <a:pt x="24" y="57"/>
                  </a:cubicBezTo>
                  <a:cubicBezTo>
                    <a:pt x="27" y="51"/>
                    <a:pt x="30" y="45"/>
                    <a:pt x="33" y="45"/>
                  </a:cubicBezTo>
                  <a:cubicBezTo>
                    <a:pt x="39" y="45"/>
                    <a:pt x="45" y="45"/>
                    <a:pt x="48" y="45"/>
                  </a:cubicBezTo>
                  <a:cubicBezTo>
                    <a:pt x="51" y="42"/>
                    <a:pt x="51" y="39"/>
                    <a:pt x="51" y="39"/>
                  </a:cubicBezTo>
                  <a:cubicBezTo>
                    <a:pt x="54" y="36"/>
                    <a:pt x="60" y="30"/>
                    <a:pt x="60" y="24"/>
                  </a:cubicBezTo>
                  <a:cubicBezTo>
                    <a:pt x="60" y="21"/>
                    <a:pt x="60" y="15"/>
                    <a:pt x="60" y="15"/>
                  </a:cubicBezTo>
                  <a:cubicBezTo>
                    <a:pt x="54" y="12"/>
                    <a:pt x="54" y="12"/>
                    <a:pt x="54" y="12"/>
                  </a:cubicBezTo>
                  <a:cubicBezTo>
                    <a:pt x="54" y="12"/>
                    <a:pt x="54" y="12"/>
                    <a:pt x="54"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3" name="Freeform 918"/>
            <p:cNvSpPr>
              <a:spLocks/>
            </p:cNvSpPr>
            <p:nvPr userDrawn="1"/>
          </p:nvSpPr>
          <p:spPr bwMode="auto">
            <a:xfrm>
              <a:off x="3990" y="-1215"/>
              <a:ext cx="93" cy="98"/>
            </a:xfrm>
            <a:custGeom>
              <a:avLst/>
              <a:gdLst>
                <a:gd name="T0" fmla="*/ 54 w 60"/>
                <a:gd name="T1" fmla="*/ 12 h 63"/>
                <a:gd name="T2" fmla="*/ 54 w 60"/>
                <a:gd name="T3" fmla="*/ 3 h 63"/>
                <a:gd name="T4" fmla="*/ 48 w 60"/>
                <a:gd name="T5" fmla="*/ 0 h 63"/>
                <a:gd name="T6" fmla="*/ 45 w 60"/>
                <a:gd name="T7" fmla="*/ 3 h 63"/>
                <a:gd name="T8" fmla="*/ 39 w 60"/>
                <a:gd name="T9" fmla="*/ 3 h 63"/>
                <a:gd name="T10" fmla="*/ 30 w 60"/>
                <a:gd name="T11" fmla="*/ 6 h 63"/>
                <a:gd name="T12" fmla="*/ 24 w 60"/>
                <a:gd name="T13" fmla="*/ 3 h 63"/>
                <a:gd name="T14" fmla="*/ 15 w 60"/>
                <a:gd name="T15" fmla="*/ 6 h 63"/>
                <a:gd name="T16" fmla="*/ 15 w 60"/>
                <a:gd name="T17" fmla="*/ 15 h 63"/>
                <a:gd name="T18" fmla="*/ 18 w 60"/>
                <a:gd name="T19" fmla="*/ 21 h 63"/>
                <a:gd name="T20" fmla="*/ 15 w 60"/>
                <a:gd name="T21" fmla="*/ 27 h 63"/>
                <a:gd name="T22" fmla="*/ 9 w 60"/>
                <a:gd name="T23" fmla="*/ 30 h 63"/>
                <a:gd name="T24" fmla="*/ 6 w 60"/>
                <a:gd name="T25" fmla="*/ 36 h 63"/>
                <a:gd name="T26" fmla="*/ 3 w 60"/>
                <a:gd name="T27" fmla="*/ 45 h 63"/>
                <a:gd name="T28" fmla="*/ 0 w 60"/>
                <a:gd name="T29" fmla="*/ 54 h 63"/>
                <a:gd name="T30" fmla="*/ 0 w 60"/>
                <a:gd name="T31" fmla="*/ 63 h 63"/>
                <a:gd name="T32" fmla="*/ 3 w 60"/>
                <a:gd name="T33" fmla="*/ 60 h 63"/>
                <a:gd name="T34" fmla="*/ 15 w 60"/>
                <a:gd name="T35" fmla="*/ 57 h 63"/>
                <a:gd name="T36" fmla="*/ 24 w 60"/>
                <a:gd name="T37" fmla="*/ 57 h 63"/>
                <a:gd name="T38" fmla="*/ 33 w 60"/>
                <a:gd name="T39" fmla="*/ 45 h 63"/>
                <a:gd name="T40" fmla="*/ 48 w 60"/>
                <a:gd name="T41" fmla="*/ 45 h 63"/>
                <a:gd name="T42" fmla="*/ 51 w 60"/>
                <a:gd name="T43" fmla="*/ 39 h 63"/>
                <a:gd name="T44" fmla="*/ 60 w 60"/>
                <a:gd name="T45" fmla="*/ 24 h 63"/>
                <a:gd name="T46" fmla="*/ 60 w 60"/>
                <a:gd name="T47" fmla="*/ 15 h 63"/>
                <a:gd name="T48" fmla="*/ 54 w 60"/>
                <a:gd name="T49" fmla="*/ 12 h 63"/>
                <a:gd name="T50" fmla="*/ 54 w 60"/>
                <a:gd name="T51" fmla="*/ 1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63">
                  <a:moveTo>
                    <a:pt x="54" y="12"/>
                  </a:moveTo>
                  <a:cubicBezTo>
                    <a:pt x="54" y="3"/>
                    <a:pt x="54" y="3"/>
                    <a:pt x="54" y="3"/>
                  </a:cubicBezTo>
                  <a:cubicBezTo>
                    <a:pt x="48" y="0"/>
                    <a:pt x="48" y="0"/>
                    <a:pt x="48" y="0"/>
                  </a:cubicBezTo>
                  <a:cubicBezTo>
                    <a:pt x="45" y="3"/>
                    <a:pt x="45" y="3"/>
                    <a:pt x="45" y="3"/>
                  </a:cubicBezTo>
                  <a:cubicBezTo>
                    <a:pt x="45" y="6"/>
                    <a:pt x="39" y="3"/>
                    <a:pt x="39" y="3"/>
                  </a:cubicBezTo>
                  <a:cubicBezTo>
                    <a:pt x="36" y="3"/>
                    <a:pt x="30" y="6"/>
                    <a:pt x="30" y="6"/>
                  </a:cubicBezTo>
                  <a:cubicBezTo>
                    <a:pt x="30" y="9"/>
                    <a:pt x="27" y="3"/>
                    <a:pt x="24" y="3"/>
                  </a:cubicBezTo>
                  <a:cubicBezTo>
                    <a:pt x="21" y="3"/>
                    <a:pt x="15" y="6"/>
                    <a:pt x="15" y="6"/>
                  </a:cubicBezTo>
                  <a:cubicBezTo>
                    <a:pt x="15" y="6"/>
                    <a:pt x="15" y="12"/>
                    <a:pt x="15" y="15"/>
                  </a:cubicBezTo>
                  <a:cubicBezTo>
                    <a:pt x="15" y="18"/>
                    <a:pt x="18" y="18"/>
                    <a:pt x="18" y="21"/>
                  </a:cubicBezTo>
                  <a:cubicBezTo>
                    <a:pt x="18" y="24"/>
                    <a:pt x="15" y="27"/>
                    <a:pt x="15" y="27"/>
                  </a:cubicBezTo>
                  <a:cubicBezTo>
                    <a:pt x="15" y="30"/>
                    <a:pt x="12" y="30"/>
                    <a:pt x="9" y="30"/>
                  </a:cubicBezTo>
                  <a:cubicBezTo>
                    <a:pt x="6" y="30"/>
                    <a:pt x="6" y="36"/>
                    <a:pt x="6" y="36"/>
                  </a:cubicBezTo>
                  <a:cubicBezTo>
                    <a:pt x="3" y="39"/>
                    <a:pt x="3" y="42"/>
                    <a:pt x="3" y="45"/>
                  </a:cubicBezTo>
                  <a:cubicBezTo>
                    <a:pt x="0" y="48"/>
                    <a:pt x="0" y="51"/>
                    <a:pt x="0" y="54"/>
                  </a:cubicBezTo>
                  <a:cubicBezTo>
                    <a:pt x="0" y="57"/>
                    <a:pt x="0" y="60"/>
                    <a:pt x="0" y="63"/>
                  </a:cubicBezTo>
                  <a:cubicBezTo>
                    <a:pt x="3" y="63"/>
                    <a:pt x="3" y="63"/>
                    <a:pt x="3" y="60"/>
                  </a:cubicBezTo>
                  <a:cubicBezTo>
                    <a:pt x="6" y="60"/>
                    <a:pt x="15" y="57"/>
                    <a:pt x="15" y="57"/>
                  </a:cubicBezTo>
                  <a:cubicBezTo>
                    <a:pt x="24" y="57"/>
                    <a:pt x="24" y="57"/>
                    <a:pt x="24" y="57"/>
                  </a:cubicBezTo>
                  <a:cubicBezTo>
                    <a:pt x="27" y="51"/>
                    <a:pt x="30" y="45"/>
                    <a:pt x="33" y="45"/>
                  </a:cubicBezTo>
                  <a:cubicBezTo>
                    <a:pt x="39" y="45"/>
                    <a:pt x="45" y="45"/>
                    <a:pt x="48" y="45"/>
                  </a:cubicBezTo>
                  <a:cubicBezTo>
                    <a:pt x="51" y="42"/>
                    <a:pt x="51" y="39"/>
                    <a:pt x="51" y="39"/>
                  </a:cubicBezTo>
                  <a:cubicBezTo>
                    <a:pt x="54" y="36"/>
                    <a:pt x="60" y="30"/>
                    <a:pt x="60" y="24"/>
                  </a:cubicBezTo>
                  <a:cubicBezTo>
                    <a:pt x="60" y="21"/>
                    <a:pt x="60" y="15"/>
                    <a:pt x="60" y="15"/>
                  </a:cubicBezTo>
                  <a:cubicBezTo>
                    <a:pt x="54" y="12"/>
                    <a:pt x="54" y="12"/>
                    <a:pt x="54" y="12"/>
                  </a:cubicBezTo>
                  <a:cubicBezTo>
                    <a:pt x="54" y="12"/>
                    <a:pt x="54" y="12"/>
                    <a:pt x="54"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4" name="Freeform 919"/>
            <p:cNvSpPr>
              <a:spLocks/>
            </p:cNvSpPr>
            <p:nvPr userDrawn="1"/>
          </p:nvSpPr>
          <p:spPr bwMode="auto">
            <a:xfrm>
              <a:off x="4460" y="-2012"/>
              <a:ext cx="309" cy="182"/>
            </a:xfrm>
            <a:custGeom>
              <a:avLst/>
              <a:gdLst>
                <a:gd name="T0" fmla="*/ 192 w 198"/>
                <a:gd name="T1" fmla="*/ 66 h 117"/>
                <a:gd name="T2" fmla="*/ 177 w 198"/>
                <a:gd name="T3" fmla="*/ 60 h 117"/>
                <a:gd name="T4" fmla="*/ 168 w 198"/>
                <a:gd name="T5" fmla="*/ 60 h 117"/>
                <a:gd name="T6" fmla="*/ 159 w 198"/>
                <a:gd name="T7" fmla="*/ 57 h 117"/>
                <a:gd name="T8" fmla="*/ 147 w 198"/>
                <a:gd name="T9" fmla="*/ 66 h 117"/>
                <a:gd name="T10" fmla="*/ 141 w 198"/>
                <a:gd name="T11" fmla="*/ 66 h 117"/>
                <a:gd name="T12" fmla="*/ 132 w 198"/>
                <a:gd name="T13" fmla="*/ 60 h 117"/>
                <a:gd name="T14" fmla="*/ 123 w 198"/>
                <a:gd name="T15" fmla="*/ 60 h 117"/>
                <a:gd name="T16" fmla="*/ 117 w 198"/>
                <a:gd name="T17" fmla="*/ 48 h 117"/>
                <a:gd name="T18" fmla="*/ 114 w 198"/>
                <a:gd name="T19" fmla="*/ 36 h 117"/>
                <a:gd name="T20" fmla="*/ 105 w 198"/>
                <a:gd name="T21" fmla="*/ 30 h 117"/>
                <a:gd name="T22" fmla="*/ 81 w 198"/>
                <a:gd name="T23" fmla="*/ 30 h 117"/>
                <a:gd name="T24" fmla="*/ 66 w 198"/>
                <a:gd name="T25" fmla="*/ 30 h 117"/>
                <a:gd name="T26" fmla="*/ 54 w 198"/>
                <a:gd name="T27" fmla="*/ 15 h 117"/>
                <a:gd name="T28" fmla="*/ 51 w 198"/>
                <a:gd name="T29" fmla="*/ 21 h 117"/>
                <a:gd name="T30" fmla="*/ 36 w 198"/>
                <a:gd name="T31" fmla="*/ 18 h 117"/>
                <a:gd name="T32" fmla="*/ 36 w 198"/>
                <a:gd name="T33" fmla="*/ 3 h 117"/>
                <a:gd name="T34" fmla="*/ 30 w 198"/>
                <a:gd name="T35" fmla="*/ 18 h 117"/>
                <a:gd name="T36" fmla="*/ 30 w 198"/>
                <a:gd name="T37" fmla="*/ 0 h 117"/>
                <a:gd name="T38" fmla="*/ 0 w 198"/>
                <a:gd name="T39" fmla="*/ 9 h 117"/>
                <a:gd name="T40" fmla="*/ 0 w 198"/>
                <a:gd name="T41" fmla="*/ 57 h 117"/>
                <a:gd name="T42" fmla="*/ 0 w 198"/>
                <a:gd name="T43" fmla="*/ 57 h 117"/>
                <a:gd name="T44" fmla="*/ 6 w 198"/>
                <a:gd name="T45" fmla="*/ 60 h 117"/>
                <a:gd name="T46" fmla="*/ 12 w 198"/>
                <a:gd name="T47" fmla="*/ 54 h 117"/>
                <a:gd name="T48" fmla="*/ 18 w 198"/>
                <a:gd name="T49" fmla="*/ 48 h 117"/>
                <a:gd name="T50" fmla="*/ 24 w 198"/>
                <a:gd name="T51" fmla="*/ 45 h 117"/>
                <a:gd name="T52" fmla="*/ 27 w 198"/>
                <a:gd name="T53" fmla="*/ 42 h 117"/>
                <a:gd name="T54" fmla="*/ 36 w 198"/>
                <a:gd name="T55" fmla="*/ 45 h 117"/>
                <a:gd name="T56" fmla="*/ 45 w 198"/>
                <a:gd name="T57" fmla="*/ 48 h 117"/>
                <a:gd name="T58" fmla="*/ 48 w 198"/>
                <a:gd name="T59" fmla="*/ 60 h 117"/>
                <a:gd name="T60" fmla="*/ 66 w 198"/>
                <a:gd name="T61" fmla="*/ 60 h 117"/>
                <a:gd name="T62" fmla="*/ 69 w 198"/>
                <a:gd name="T63" fmla="*/ 69 h 117"/>
                <a:gd name="T64" fmla="*/ 75 w 198"/>
                <a:gd name="T65" fmla="*/ 78 h 117"/>
                <a:gd name="T66" fmla="*/ 87 w 198"/>
                <a:gd name="T67" fmla="*/ 87 h 117"/>
                <a:gd name="T68" fmla="*/ 99 w 198"/>
                <a:gd name="T69" fmla="*/ 93 h 117"/>
                <a:gd name="T70" fmla="*/ 111 w 198"/>
                <a:gd name="T71" fmla="*/ 102 h 117"/>
                <a:gd name="T72" fmla="*/ 120 w 198"/>
                <a:gd name="T73" fmla="*/ 105 h 117"/>
                <a:gd name="T74" fmla="*/ 123 w 198"/>
                <a:gd name="T75" fmla="*/ 111 h 117"/>
                <a:gd name="T76" fmla="*/ 123 w 198"/>
                <a:gd name="T77" fmla="*/ 111 h 117"/>
                <a:gd name="T78" fmla="*/ 132 w 198"/>
                <a:gd name="T79" fmla="*/ 114 h 117"/>
                <a:gd name="T80" fmla="*/ 135 w 198"/>
                <a:gd name="T81" fmla="*/ 117 h 117"/>
                <a:gd name="T82" fmla="*/ 141 w 198"/>
                <a:gd name="T83" fmla="*/ 105 h 117"/>
                <a:gd name="T84" fmla="*/ 141 w 198"/>
                <a:gd name="T85" fmla="*/ 96 h 117"/>
                <a:gd name="T86" fmla="*/ 132 w 198"/>
                <a:gd name="T87" fmla="*/ 87 h 117"/>
                <a:gd name="T88" fmla="*/ 144 w 198"/>
                <a:gd name="T89" fmla="*/ 84 h 117"/>
                <a:gd name="T90" fmla="*/ 147 w 198"/>
                <a:gd name="T91" fmla="*/ 78 h 117"/>
                <a:gd name="T92" fmla="*/ 153 w 198"/>
                <a:gd name="T93" fmla="*/ 72 h 117"/>
                <a:gd name="T94" fmla="*/ 162 w 198"/>
                <a:gd name="T95" fmla="*/ 69 h 117"/>
                <a:gd name="T96" fmla="*/ 168 w 198"/>
                <a:gd name="T97" fmla="*/ 66 h 117"/>
                <a:gd name="T98" fmla="*/ 165 w 198"/>
                <a:gd name="T99" fmla="*/ 75 h 117"/>
                <a:gd name="T100" fmla="*/ 177 w 198"/>
                <a:gd name="T101" fmla="*/ 75 h 117"/>
                <a:gd name="T102" fmla="*/ 189 w 198"/>
                <a:gd name="T103" fmla="*/ 72 h 117"/>
                <a:gd name="T104" fmla="*/ 192 w 198"/>
                <a:gd name="T105" fmla="*/ 6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8" h="117">
                  <a:moveTo>
                    <a:pt x="192" y="66"/>
                  </a:moveTo>
                  <a:cubicBezTo>
                    <a:pt x="189" y="63"/>
                    <a:pt x="180" y="57"/>
                    <a:pt x="177" y="60"/>
                  </a:cubicBezTo>
                  <a:cubicBezTo>
                    <a:pt x="177" y="63"/>
                    <a:pt x="171" y="63"/>
                    <a:pt x="168" y="60"/>
                  </a:cubicBezTo>
                  <a:cubicBezTo>
                    <a:pt x="168" y="57"/>
                    <a:pt x="165" y="54"/>
                    <a:pt x="159" y="57"/>
                  </a:cubicBezTo>
                  <a:cubicBezTo>
                    <a:pt x="150" y="60"/>
                    <a:pt x="147" y="63"/>
                    <a:pt x="147" y="66"/>
                  </a:cubicBezTo>
                  <a:cubicBezTo>
                    <a:pt x="147" y="69"/>
                    <a:pt x="141" y="72"/>
                    <a:pt x="141" y="66"/>
                  </a:cubicBezTo>
                  <a:cubicBezTo>
                    <a:pt x="141" y="63"/>
                    <a:pt x="135" y="63"/>
                    <a:pt x="132" y="60"/>
                  </a:cubicBezTo>
                  <a:cubicBezTo>
                    <a:pt x="129" y="60"/>
                    <a:pt x="123" y="63"/>
                    <a:pt x="123" y="60"/>
                  </a:cubicBezTo>
                  <a:cubicBezTo>
                    <a:pt x="123" y="54"/>
                    <a:pt x="117" y="51"/>
                    <a:pt x="117" y="48"/>
                  </a:cubicBezTo>
                  <a:cubicBezTo>
                    <a:pt x="114" y="42"/>
                    <a:pt x="117" y="36"/>
                    <a:pt x="114" y="36"/>
                  </a:cubicBezTo>
                  <a:cubicBezTo>
                    <a:pt x="111" y="36"/>
                    <a:pt x="108" y="30"/>
                    <a:pt x="105" y="30"/>
                  </a:cubicBezTo>
                  <a:cubicBezTo>
                    <a:pt x="102" y="30"/>
                    <a:pt x="84" y="30"/>
                    <a:pt x="81" y="30"/>
                  </a:cubicBezTo>
                  <a:cubicBezTo>
                    <a:pt x="78" y="27"/>
                    <a:pt x="69" y="33"/>
                    <a:pt x="66" y="30"/>
                  </a:cubicBezTo>
                  <a:cubicBezTo>
                    <a:pt x="66" y="27"/>
                    <a:pt x="57" y="18"/>
                    <a:pt x="54" y="15"/>
                  </a:cubicBezTo>
                  <a:cubicBezTo>
                    <a:pt x="54" y="18"/>
                    <a:pt x="51" y="18"/>
                    <a:pt x="51" y="21"/>
                  </a:cubicBezTo>
                  <a:cubicBezTo>
                    <a:pt x="42" y="27"/>
                    <a:pt x="33" y="24"/>
                    <a:pt x="36" y="18"/>
                  </a:cubicBezTo>
                  <a:cubicBezTo>
                    <a:pt x="39" y="12"/>
                    <a:pt x="39" y="3"/>
                    <a:pt x="36" y="3"/>
                  </a:cubicBezTo>
                  <a:cubicBezTo>
                    <a:pt x="30" y="3"/>
                    <a:pt x="33" y="18"/>
                    <a:pt x="30" y="18"/>
                  </a:cubicBezTo>
                  <a:cubicBezTo>
                    <a:pt x="27" y="18"/>
                    <a:pt x="27" y="6"/>
                    <a:pt x="30" y="0"/>
                  </a:cubicBezTo>
                  <a:cubicBezTo>
                    <a:pt x="0" y="9"/>
                    <a:pt x="0" y="9"/>
                    <a:pt x="0" y="9"/>
                  </a:cubicBezTo>
                  <a:cubicBezTo>
                    <a:pt x="0" y="57"/>
                    <a:pt x="0" y="57"/>
                    <a:pt x="0" y="57"/>
                  </a:cubicBezTo>
                  <a:cubicBezTo>
                    <a:pt x="0" y="57"/>
                    <a:pt x="0" y="57"/>
                    <a:pt x="0" y="57"/>
                  </a:cubicBezTo>
                  <a:cubicBezTo>
                    <a:pt x="3" y="60"/>
                    <a:pt x="6" y="60"/>
                    <a:pt x="6" y="60"/>
                  </a:cubicBezTo>
                  <a:cubicBezTo>
                    <a:pt x="12" y="60"/>
                    <a:pt x="12" y="57"/>
                    <a:pt x="12" y="54"/>
                  </a:cubicBezTo>
                  <a:cubicBezTo>
                    <a:pt x="12" y="54"/>
                    <a:pt x="15" y="48"/>
                    <a:pt x="18" y="48"/>
                  </a:cubicBezTo>
                  <a:cubicBezTo>
                    <a:pt x="21" y="48"/>
                    <a:pt x="21" y="45"/>
                    <a:pt x="24" y="45"/>
                  </a:cubicBezTo>
                  <a:cubicBezTo>
                    <a:pt x="24" y="45"/>
                    <a:pt x="27" y="45"/>
                    <a:pt x="27" y="42"/>
                  </a:cubicBezTo>
                  <a:cubicBezTo>
                    <a:pt x="30" y="42"/>
                    <a:pt x="33" y="42"/>
                    <a:pt x="36" y="45"/>
                  </a:cubicBezTo>
                  <a:cubicBezTo>
                    <a:pt x="36" y="45"/>
                    <a:pt x="42" y="48"/>
                    <a:pt x="45" y="48"/>
                  </a:cubicBezTo>
                  <a:cubicBezTo>
                    <a:pt x="48" y="48"/>
                    <a:pt x="48" y="57"/>
                    <a:pt x="48" y="60"/>
                  </a:cubicBezTo>
                  <a:cubicBezTo>
                    <a:pt x="48" y="60"/>
                    <a:pt x="63" y="60"/>
                    <a:pt x="66" y="60"/>
                  </a:cubicBezTo>
                  <a:cubicBezTo>
                    <a:pt x="66" y="63"/>
                    <a:pt x="66" y="66"/>
                    <a:pt x="69" y="69"/>
                  </a:cubicBezTo>
                  <a:cubicBezTo>
                    <a:pt x="72" y="72"/>
                    <a:pt x="75" y="75"/>
                    <a:pt x="75" y="78"/>
                  </a:cubicBezTo>
                  <a:cubicBezTo>
                    <a:pt x="75" y="81"/>
                    <a:pt x="84" y="84"/>
                    <a:pt x="87" y="87"/>
                  </a:cubicBezTo>
                  <a:cubicBezTo>
                    <a:pt x="87" y="90"/>
                    <a:pt x="93" y="93"/>
                    <a:pt x="99" y="93"/>
                  </a:cubicBezTo>
                  <a:cubicBezTo>
                    <a:pt x="105" y="96"/>
                    <a:pt x="108" y="102"/>
                    <a:pt x="111" y="102"/>
                  </a:cubicBezTo>
                  <a:cubicBezTo>
                    <a:pt x="114" y="102"/>
                    <a:pt x="120" y="105"/>
                    <a:pt x="120" y="105"/>
                  </a:cubicBezTo>
                  <a:cubicBezTo>
                    <a:pt x="123" y="111"/>
                    <a:pt x="123" y="111"/>
                    <a:pt x="123" y="111"/>
                  </a:cubicBezTo>
                  <a:cubicBezTo>
                    <a:pt x="123" y="111"/>
                    <a:pt x="123" y="111"/>
                    <a:pt x="123" y="111"/>
                  </a:cubicBezTo>
                  <a:cubicBezTo>
                    <a:pt x="126" y="111"/>
                    <a:pt x="129" y="114"/>
                    <a:pt x="132" y="114"/>
                  </a:cubicBezTo>
                  <a:cubicBezTo>
                    <a:pt x="135" y="117"/>
                    <a:pt x="135" y="117"/>
                    <a:pt x="135" y="117"/>
                  </a:cubicBezTo>
                  <a:cubicBezTo>
                    <a:pt x="135" y="111"/>
                    <a:pt x="138" y="108"/>
                    <a:pt x="141" y="105"/>
                  </a:cubicBezTo>
                  <a:cubicBezTo>
                    <a:pt x="144" y="102"/>
                    <a:pt x="138" y="99"/>
                    <a:pt x="141" y="96"/>
                  </a:cubicBezTo>
                  <a:cubicBezTo>
                    <a:pt x="141" y="93"/>
                    <a:pt x="132" y="90"/>
                    <a:pt x="132" y="87"/>
                  </a:cubicBezTo>
                  <a:cubicBezTo>
                    <a:pt x="132" y="84"/>
                    <a:pt x="141" y="84"/>
                    <a:pt x="144" y="84"/>
                  </a:cubicBezTo>
                  <a:cubicBezTo>
                    <a:pt x="147" y="81"/>
                    <a:pt x="144" y="78"/>
                    <a:pt x="147" y="78"/>
                  </a:cubicBezTo>
                  <a:cubicBezTo>
                    <a:pt x="150" y="78"/>
                    <a:pt x="150" y="75"/>
                    <a:pt x="153" y="72"/>
                  </a:cubicBezTo>
                  <a:cubicBezTo>
                    <a:pt x="153" y="69"/>
                    <a:pt x="159" y="72"/>
                    <a:pt x="162" y="69"/>
                  </a:cubicBezTo>
                  <a:cubicBezTo>
                    <a:pt x="165" y="66"/>
                    <a:pt x="168" y="66"/>
                    <a:pt x="168" y="66"/>
                  </a:cubicBezTo>
                  <a:cubicBezTo>
                    <a:pt x="171" y="69"/>
                    <a:pt x="165" y="75"/>
                    <a:pt x="165" y="75"/>
                  </a:cubicBezTo>
                  <a:cubicBezTo>
                    <a:pt x="168" y="75"/>
                    <a:pt x="177" y="75"/>
                    <a:pt x="177" y="75"/>
                  </a:cubicBezTo>
                  <a:cubicBezTo>
                    <a:pt x="180" y="72"/>
                    <a:pt x="186" y="75"/>
                    <a:pt x="189" y="72"/>
                  </a:cubicBezTo>
                  <a:cubicBezTo>
                    <a:pt x="192" y="69"/>
                    <a:pt x="198" y="72"/>
                    <a:pt x="192" y="6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5" name="Freeform 920"/>
            <p:cNvSpPr>
              <a:spLocks/>
            </p:cNvSpPr>
            <p:nvPr userDrawn="1"/>
          </p:nvSpPr>
          <p:spPr bwMode="auto">
            <a:xfrm>
              <a:off x="4460" y="-2012"/>
              <a:ext cx="309" cy="182"/>
            </a:xfrm>
            <a:custGeom>
              <a:avLst/>
              <a:gdLst>
                <a:gd name="T0" fmla="*/ 192 w 198"/>
                <a:gd name="T1" fmla="*/ 66 h 117"/>
                <a:gd name="T2" fmla="*/ 177 w 198"/>
                <a:gd name="T3" fmla="*/ 60 h 117"/>
                <a:gd name="T4" fmla="*/ 168 w 198"/>
                <a:gd name="T5" fmla="*/ 60 h 117"/>
                <a:gd name="T6" fmla="*/ 159 w 198"/>
                <a:gd name="T7" fmla="*/ 57 h 117"/>
                <a:gd name="T8" fmla="*/ 147 w 198"/>
                <a:gd name="T9" fmla="*/ 66 h 117"/>
                <a:gd name="T10" fmla="*/ 141 w 198"/>
                <a:gd name="T11" fmla="*/ 66 h 117"/>
                <a:gd name="T12" fmla="*/ 132 w 198"/>
                <a:gd name="T13" fmla="*/ 60 h 117"/>
                <a:gd name="T14" fmla="*/ 123 w 198"/>
                <a:gd name="T15" fmla="*/ 60 h 117"/>
                <a:gd name="T16" fmla="*/ 117 w 198"/>
                <a:gd name="T17" fmla="*/ 48 h 117"/>
                <a:gd name="T18" fmla="*/ 114 w 198"/>
                <a:gd name="T19" fmla="*/ 36 h 117"/>
                <a:gd name="T20" fmla="*/ 105 w 198"/>
                <a:gd name="T21" fmla="*/ 30 h 117"/>
                <a:gd name="T22" fmla="*/ 81 w 198"/>
                <a:gd name="T23" fmla="*/ 30 h 117"/>
                <a:gd name="T24" fmla="*/ 66 w 198"/>
                <a:gd name="T25" fmla="*/ 30 h 117"/>
                <a:gd name="T26" fmla="*/ 54 w 198"/>
                <a:gd name="T27" fmla="*/ 15 h 117"/>
                <a:gd name="T28" fmla="*/ 51 w 198"/>
                <a:gd name="T29" fmla="*/ 21 h 117"/>
                <a:gd name="T30" fmla="*/ 36 w 198"/>
                <a:gd name="T31" fmla="*/ 18 h 117"/>
                <a:gd name="T32" fmla="*/ 36 w 198"/>
                <a:gd name="T33" fmla="*/ 3 h 117"/>
                <a:gd name="T34" fmla="*/ 30 w 198"/>
                <a:gd name="T35" fmla="*/ 18 h 117"/>
                <a:gd name="T36" fmla="*/ 30 w 198"/>
                <a:gd name="T37" fmla="*/ 0 h 117"/>
                <a:gd name="T38" fmla="*/ 0 w 198"/>
                <a:gd name="T39" fmla="*/ 9 h 117"/>
                <a:gd name="T40" fmla="*/ 0 w 198"/>
                <a:gd name="T41" fmla="*/ 57 h 117"/>
                <a:gd name="T42" fmla="*/ 0 w 198"/>
                <a:gd name="T43" fmla="*/ 57 h 117"/>
                <a:gd name="T44" fmla="*/ 6 w 198"/>
                <a:gd name="T45" fmla="*/ 60 h 117"/>
                <a:gd name="T46" fmla="*/ 12 w 198"/>
                <a:gd name="T47" fmla="*/ 54 h 117"/>
                <a:gd name="T48" fmla="*/ 18 w 198"/>
                <a:gd name="T49" fmla="*/ 48 h 117"/>
                <a:gd name="T50" fmla="*/ 24 w 198"/>
                <a:gd name="T51" fmla="*/ 45 h 117"/>
                <a:gd name="T52" fmla="*/ 27 w 198"/>
                <a:gd name="T53" fmla="*/ 42 h 117"/>
                <a:gd name="T54" fmla="*/ 36 w 198"/>
                <a:gd name="T55" fmla="*/ 45 h 117"/>
                <a:gd name="T56" fmla="*/ 45 w 198"/>
                <a:gd name="T57" fmla="*/ 48 h 117"/>
                <a:gd name="T58" fmla="*/ 48 w 198"/>
                <a:gd name="T59" fmla="*/ 60 h 117"/>
                <a:gd name="T60" fmla="*/ 66 w 198"/>
                <a:gd name="T61" fmla="*/ 60 h 117"/>
                <a:gd name="T62" fmla="*/ 69 w 198"/>
                <a:gd name="T63" fmla="*/ 69 h 117"/>
                <a:gd name="T64" fmla="*/ 75 w 198"/>
                <a:gd name="T65" fmla="*/ 78 h 117"/>
                <a:gd name="T66" fmla="*/ 87 w 198"/>
                <a:gd name="T67" fmla="*/ 87 h 117"/>
                <a:gd name="T68" fmla="*/ 99 w 198"/>
                <a:gd name="T69" fmla="*/ 93 h 117"/>
                <a:gd name="T70" fmla="*/ 111 w 198"/>
                <a:gd name="T71" fmla="*/ 102 h 117"/>
                <a:gd name="T72" fmla="*/ 120 w 198"/>
                <a:gd name="T73" fmla="*/ 105 h 117"/>
                <a:gd name="T74" fmla="*/ 123 w 198"/>
                <a:gd name="T75" fmla="*/ 111 h 117"/>
                <a:gd name="T76" fmla="*/ 123 w 198"/>
                <a:gd name="T77" fmla="*/ 111 h 117"/>
                <a:gd name="T78" fmla="*/ 132 w 198"/>
                <a:gd name="T79" fmla="*/ 114 h 117"/>
                <a:gd name="T80" fmla="*/ 135 w 198"/>
                <a:gd name="T81" fmla="*/ 117 h 117"/>
                <a:gd name="T82" fmla="*/ 141 w 198"/>
                <a:gd name="T83" fmla="*/ 105 h 117"/>
                <a:gd name="T84" fmla="*/ 141 w 198"/>
                <a:gd name="T85" fmla="*/ 96 h 117"/>
                <a:gd name="T86" fmla="*/ 132 w 198"/>
                <a:gd name="T87" fmla="*/ 87 h 117"/>
                <a:gd name="T88" fmla="*/ 144 w 198"/>
                <a:gd name="T89" fmla="*/ 84 h 117"/>
                <a:gd name="T90" fmla="*/ 147 w 198"/>
                <a:gd name="T91" fmla="*/ 78 h 117"/>
                <a:gd name="T92" fmla="*/ 153 w 198"/>
                <a:gd name="T93" fmla="*/ 72 h 117"/>
                <a:gd name="T94" fmla="*/ 162 w 198"/>
                <a:gd name="T95" fmla="*/ 69 h 117"/>
                <a:gd name="T96" fmla="*/ 168 w 198"/>
                <a:gd name="T97" fmla="*/ 66 h 117"/>
                <a:gd name="T98" fmla="*/ 165 w 198"/>
                <a:gd name="T99" fmla="*/ 75 h 117"/>
                <a:gd name="T100" fmla="*/ 177 w 198"/>
                <a:gd name="T101" fmla="*/ 75 h 117"/>
                <a:gd name="T102" fmla="*/ 189 w 198"/>
                <a:gd name="T103" fmla="*/ 72 h 117"/>
                <a:gd name="T104" fmla="*/ 192 w 198"/>
                <a:gd name="T105" fmla="*/ 6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8" h="117">
                  <a:moveTo>
                    <a:pt x="192" y="66"/>
                  </a:moveTo>
                  <a:cubicBezTo>
                    <a:pt x="189" y="63"/>
                    <a:pt x="180" y="57"/>
                    <a:pt x="177" y="60"/>
                  </a:cubicBezTo>
                  <a:cubicBezTo>
                    <a:pt x="177" y="63"/>
                    <a:pt x="171" y="63"/>
                    <a:pt x="168" y="60"/>
                  </a:cubicBezTo>
                  <a:cubicBezTo>
                    <a:pt x="168" y="57"/>
                    <a:pt x="165" y="54"/>
                    <a:pt x="159" y="57"/>
                  </a:cubicBezTo>
                  <a:cubicBezTo>
                    <a:pt x="150" y="60"/>
                    <a:pt x="147" y="63"/>
                    <a:pt x="147" y="66"/>
                  </a:cubicBezTo>
                  <a:cubicBezTo>
                    <a:pt x="147" y="69"/>
                    <a:pt x="141" y="72"/>
                    <a:pt x="141" y="66"/>
                  </a:cubicBezTo>
                  <a:cubicBezTo>
                    <a:pt x="141" y="63"/>
                    <a:pt x="135" y="63"/>
                    <a:pt x="132" y="60"/>
                  </a:cubicBezTo>
                  <a:cubicBezTo>
                    <a:pt x="129" y="60"/>
                    <a:pt x="123" y="63"/>
                    <a:pt x="123" y="60"/>
                  </a:cubicBezTo>
                  <a:cubicBezTo>
                    <a:pt x="123" y="54"/>
                    <a:pt x="117" y="51"/>
                    <a:pt x="117" y="48"/>
                  </a:cubicBezTo>
                  <a:cubicBezTo>
                    <a:pt x="114" y="42"/>
                    <a:pt x="117" y="36"/>
                    <a:pt x="114" y="36"/>
                  </a:cubicBezTo>
                  <a:cubicBezTo>
                    <a:pt x="111" y="36"/>
                    <a:pt x="108" y="30"/>
                    <a:pt x="105" y="30"/>
                  </a:cubicBezTo>
                  <a:cubicBezTo>
                    <a:pt x="102" y="30"/>
                    <a:pt x="84" y="30"/>
                    <a:pt x="81" y="30"/>
                  </a:cubicBezTo>
                  <a:cubicBezTo>
                    <a:pt x="78" y="27"/>
                    <a:pt x="69" y="33"/>
                    <a:pt x="66" y="30"/>
                  </a:cubicBezTo>
                  <a:cubicBezTo>
                    <a:pt x="66" y="27"/>
                    <a:pt x="57" y="18"/>
                    <a:pt x="54" y="15"/>
                  </a:cubicBezTo>
                  <a:cubicBezTo>
                    <a:pt x="54" y="18"/>
                    <a:pt x="51" y="18"/>
                    <a:pt x="51" y="21"/>
                  </a:cubicBezTo>
                  <a:cubicBezTo>
                    <a:pt x="42" y="27"/>
                    <a:pt x="33" y="24"/>
                    <a:pt x="36" y="18"/>
                  </a:cubicBezTo>
                  <a:cubicBezTo>
                    <a:pt x="39" y="12"/>
                    <a:pt x="39" y="3"/>
                    <a:pt x="36" y="3"/>
                  </a:cubicBezTo>
                  <a:cubicBezTo>
                    <a:pt x="30" y="3"/>
                    <a:pt x="33" y="18"/>
                    <a:pt x="30" y="18"/>
                  </a:cubicBezTo>
                  <a:cubicBezTo>
                    <a:pt x="27" y="18"/>
                    <a:pt x="27" y="6"/>
                    <a:pt x="30" y="0"/>
                  </a:cubicBezTo>
                  <a:cubicBezTo>
                    <a:pt x="0" y="9"/>
                    <a:pt x="0" y="9"/>
                    <a:pt x="0" y="9"/>
                  </a:cubicBezTo>
                  <a:cubicBezTo>
                    <a:pt x="0" y="57"/>
                    <a:pt x="0" y="57"/>
                    <a:pt x="0" y="57"/>
                  </a:cubicBezTo>
                  <a:cubicBezTo>
                    <a:pt x="0" y="57"/>
                    <a:pt x="0" y="57"/>
                    <a:pt x="0" y="57"/>
                  </a:cubicBezTo>
                  <a:cubicBezTo>
                    <a:pt x="3" y="60"/>
                    <a:pt x="6" y="60"/>
                    <a:pt x="6" y="60"/>
                  </a:cubicBezTo>
                  <a:cubicBezTo>
                    <a:pt x="12" y="60"/>
                    <a:pt x="12" y="57"/>
                    <a:pt x="12" y="54"/>
                  </a:cubicBezTo>
                  <a:cubicBezTo>
                    <a:pt x="12" y="54"/>
                    <a:pt x="15" y="48"/>
                    <a:pt x="18" y="48"/>
                  </a:cubicBezTo>
                  <a:cubicBezTo>
                    <a:pt x="21" y="48"/>
                    <a:pt x="21" y="45"/>
                    <a:pt x="24" y="45"/>
                  </a:cubicBezTo>
                  <a:cubicBezTo>
                    <a:pt x="24" y="45"/>
                    <a:pt x="27" y="45"/>
                    <a:pt x="27" y="42"/>
                  </a:cubicBezTo>
                  <a:cubicBezTo>
                    <a:pt x="30" y="42"/>
                    <a:pt x="33" y="42"/>
                    <a:pt x="36" y="45"/>
                  </a:cubicBezTo>
                  <a:cubicBezTo>
                    <a:pt x="36" y="45"/>
                    <a:pt x="42" y="48"/>
                    <a:pt x="45" y="48"/>
                  </a:cubicBezTo>
                  <a:cubicBezTo>
                    <a:pt x="48" y="48"/>
                    <a:pt x="48" y="57"/>
                    <a:pt x="48" y="60"/>
                  </a:cubicBezTo>
                  <a:cubicBezTo>
                    <a:pt x="48" y="60"/>
                    <a:pt x="63" y="60"/>
                    <a:pt x="66" y="60"/>
                  </a:cubicBezTo>
                  <a:cubicBezTo>
                    <a:pt x="66" y="63"/>
                    <a:pt x="66" y="66"/>
                    <a:pt x="69" y="69"/>
                  </a:cubicBezTo>
                  <a:cubicBezTo>
                    <a:pt x="72" y="72"/>
                    <a:pt x="75" y="75"/>
                    <a:pt x="75" y="78"/>
                  </a:cubicBezTo>
                  <a:cubicBezTo>
                    <a:pt x="75" y="81"/>
                    <a:pt x="84" y="84"/>
                    <a:pt x="87" y="87"/>
                  </a:cubicBezTo>
                  <a:cubicBezTo>
                    <a:pt x="87" y="90"/>
                    <a:pt x="93" y="93"/>
                    <a:pt x="99" y="93"/>
                  </a:cubicBezTo>
                  <a:cubicBezTo>
                    <a:pt x="105" y="96"/>
                    <a:pt x="108" y="102"/>
                    <a:pt x="111" y="102"/>
                  </a:cubicBezTo>
                  <a:cubicBezTo>
                    <a:pt x="114" y="102"/>
                    <a:pt x="120" y="105"/>
                    <a:pt x="120" y="105"/>
                  </a:cubicBezTo>
                  <a:cubicBezTo>
                    <a:pt x="123" y="111"/>
                    <a:pt x="123" y="111"/>
                    <a:pt x="123" y="111"/>
                  </a:cubicBezTo>
                  <a:cubicBezTo>
                    <a:pt x="123" y="111"/>
                    <a:pt x="123" y="111"/>
                    <a:pt x="123" y="111"/>
                  </a:cubicBezTo>
                  <a:cubicBezTo>
                    <a:pt x="126" y="111"/>
                    <a:pt x="129" y="114"/>
                    <a:pt x="132" y="114"/>
                  </a:cubicBezTo>
                  <a:cubicBezTo>
                    <a:pt x="135" y="117"/>
                    <a:pt x="135" y="117"/>
                    <a:pt x="135" y="117"/>
                  </a:cubicBezTo>
                  <a:cubicBezTo>
                    <a:pt x="135" y="111"/>
                    <a:pt x="138" y="108"/>
                    <a:pt x="141" y="105"/>
                  </a:cubicBezTo>
                  <a:cubicBezTo>
                    <a:pt x="144" y="102"/>
                    <a:pt x="138" y="99"/>
                    <a:pt x="141" y="96"/>
                  </a:cubicBezTo>
                  <a:cubicBezTo>
                    <a:pt x="141" y="93"/>
                    <a:pt x="132" y="90"/>
                    <a:pt x="132" y="87"/>
                  </a:cubicBezTo>
                  <a:cubicBezTo>
                    <a:pt x="132" y="84"/>
                    <a:pt x="141" y="84"/>
                    <a:pt x="144" y="84"/>
                  </a:cubicBezTo>
                  <a:cubicBezTo>
                    <a:pt x="147" y="81"/>
                    <a:pt x="144" y="78"/>
                    <a:pt x="147" y="78"/>
                  </a:cubicBezTo>
                  <a:cubicBezTo>
                    <a:pt x="150" y="78"/>
                    <a:pt x="150" y="75"/>
                    <a:pt x="153" y="72"/>
                  </a:cubicBezTo>
                  <a:cubicBezTo>
                    <a:pt x="153" y="69"/>
                    <a:pt x="159" y="72"/>
                    <a:pt x="162" y="69"/>
                  </a:cubicBezTo>
                  <a:cubicBezTo>
                    <a:pt x="165" y="66"/>
                    <a:pt x="168" y="66"/>
                    <a:pt x="168" y="66"/>
                  </a:cubicBezTo>
                  <a:cubicBezTo>
                    <a:pt x="171" y="69"/>
                    <a:pt x="165" y="75"/>
                    <a:pt x="165" y="75"/>
                  </a:cubicBezTo>
                  <a:cubicBezTo>
                    <a:pt x="168" y="75"/>
                    <a:pt x="177" y="75"/>
                    <a:pt x="177" y="75"/>
                  </a:cubicBezTo>
                  <a:cubicBezTo>
                    <a:pt x="180" y="72"/>
                    <a:pt x="186" y="75"/>
                    <a:pt x="189" y="72"/>
                  </a:cubicBezTo>
                  <a:cubicBezTo>
                    <a:pt x="192" y="69"/>
                    <a:pt x="198" y="72"/>
                    <a:pt x="192" y="6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6" name="Freeform 921"/>
            <p:cNvSpPr>
              <a:spLocks noEditPoints="1"/>
            </p:cNvSpPr>
            <p:nvPr userDrawn="1"/>
          </p:nvSpPr>
          <p:spPr bwMode="auto">
            <a:xfrm>
              <a:off x="3569" y="-3028"/>
              <a:ext cx="453" cy="721"/>
            </a:xfrm>
            <a:custGeom>
              <a:avLst/>
              <a:gdLst>
                <a:gd name="T0" fmla="*/ 276 w 291"/>
                <a:gd name="T1" fmla="*/ 240 h 462"/>
                <a:gd name="T2" fmla="*/ 276 w 291"/>
                <a:gd name="T3" fmla="*/ 228 h 462"/>
                <a:gd name="T4" fmla="*/ 261 w 291"/>
                <a:gd name="T5" fmla="*/ 225 h 462"/>
                <a:gd name="T6" fmla="*/ 243 w 291"/>
                <a:gd name="T7" fmla="*/ 225 h 462"/>
                <a:gd name="T8" fmla="*/ 234 w 291"/>
                <a:gd name="T9" fmla="*/ 222 h 462"/>
                <a:gd name="T10" fmla="*/ 216 w 291"/>
                <a:gd name="T11" fmla="*/ 228 h 462"/>
                <a:gd name="T12" fmla="*/ 201 w 291"/>
                <a:gd name="T13" fmla="*/ 243 h 462"/>
                <a:gd name="T14" fmla="*/ 201 w 291"/>
                <a:gd name="T15" fmla="*/ 225 h 462"/>
                <a:gd name="T16" fmla="*/ 183 w 291"/>
                <a:gd name="T17" fmla="*/ 237 h 462"/>
                <a:gd name="T18" fmla="*/ 174 w 291"/>
                <a:gd name="T19" fmla="*/ 240 h 462"/>
                <a:gd name="T20" fmla="*/ 165 w 291"/>
                <a:gd name="T21" fmla="*/ 240 h 462"/>
                <a:gd name="T22" fmla="*/ 150 w 291"/>
                <a:gd name="T23" fmla="*/ 249 h 462"/>
                <a:gd name="T24" fmla="*/ 138 w 291"/>
                <a:gd name="T25" fmla="*/ 258 h 462"/>
                <a:gd name="T26" fmla="*/ 129 w 291"/>
                <a:gd name="T27" fmla="*/ 264 h 462"/>
                <a:gd name="T28" fmla="*/ 111 w 291"/>
                <a:gd name="T29" fmla="*/ 267 h 462"/>
                <a:gd name="T30" fmla="*/ 105 w 291"/>
                <a:gd name="T31" fmla="*/ 279 h 462"/>
                <a:gd name="T32" fmla="*/ 129 w 291"/>
                <a:gd name="T33" fmla="*/ 279 h 462"/>
                <a:gd name="T34" fmla="*/ 111 w 291"/>
                <a:gd name="T35" fmla="*/ 291 h 462"/>
                <a:gd name="T36" fmla="*/ 87 w 291"/>
                <a:gd name="T37" fmla="*/ 318 h 462"/>
                <a:gd name="T38" fmla="*/ 69 w 291"/>
                <a:gd name="T39" fmla="*/ 339 h 462"/>
                <a:gd name="T40" fmla="*/ 57 w 291"/>
                <a:gd name="T41" fmla="*/ 360 h 462"/>
                <a:gd name="T42" fmla="*/ 36 w 291"/>
                <a:gd name="T43" fmla="*/ 372 h 462"/>
                <a:gd name="T44" fmla="*/ 15 w 291"/>
                <a:gd name="T45" fmla="*/ 387 h 462"/>
                <a:gd name="T46" fmla="*/ 6 w 291"/>
                <a:gd name="T47" fmla="*/ 402 h 462"/>
                <a:gd name="T48" fmla="*/ 3 w 291"/>
                <a:gd name="T49" fmla="*/ 423 h 462"/>
                <a:gd name="T50" fmla="*/ 12 w 291"/>
                <a:gd name="T51" fmla="*/ 432 h 462"/>
                <a:gd name="T52" fmla="*/ 9 w 291"/>
                <a:gd name="T53" fmla="*/ 438 h 462"/>
                <a:gd name="T54" fmla="*/ 21 w 291"/>
                <a:gd name="T55" fmla="*/ 456 h 462"/>
                <a:gd name="T56" fmla="*/ 66 w 291"/>
                <a:gd name="T57" fmla="*/ 435 h 462"/>
                <a:gd name="T58" fmla="*/ 78 w 291"/>
                <a:gd name="T59" fmla="*/ 438 h 462"/>
                <a:gd name="T60" fmla="*/ 87 w 291"/>
                <a:gd name="T61" fmla="*/ 411 h 462"/>
                <a:gd name="T62" fmla="*/ 84 w 291"/>
                <a:gd name="T63" fmla="*/ 375 h 462"/>
                <a:gd name="T64" fmla="*/ 102 w 291"/>
                <a:gd name="T65" fmla="*/ 351 h 462"/>
                <a:gd name="T66" fmla="*/ 117 w 291"/>
                <a:gd name="T67" fmla="*/ 318 h 462"/>
                <a:gd name="T68" fmla="*/ 132 w 291"/>
                <a:gd name="T69" fmla="*/ 288 h 462"/>
                <a:gd name="T70" fmla="*/ 162 w 291"/>
                <a:gd name="T71" fmla="*/ 273 h 462"/>
                <a:gd name="T72" fmla="*/ 186 w 291"/>
                <a:gd name="T73" fmla="*/ 258 h 462"/>
                <a:gd name="T74" fmla="*/ 225 w 291"/>
                <a:gd name="T75" fmla="*/ 270 h 462"/>
                <a:gd name="T76" fmla="*/ 249 w 291"/>
                <a:gd name="T77" fmla="*/ 243 h 462"/>
                <a:gd name="T78" fmla="*/ 276 w 291"/>
                <a:gd name="T79" fmla="*/ 255 h 462"/>
                <a:gd name="T80" fmla="*/ 81 w 291"/>
                <a:gd name="T81" fmla="*/ 33 h 462"/>
                <a:gd name="T82" fmla="*/ 108 w 291"/>
                <a:gd name="T83" fmla="*/ 48 h 462"/>
                <a:gd name="T84" fmla="*/ 129 w 291"/>
                <a:gd name="T85" fmla="*/ 54 h 462"/>
                <a:gd name="T86" fmla="*/ 132 w 291"/>
                <a:gd name="T87" fmla="*/ 69 h 462"/>
                <a:gd name="T88" fmla="*/ 111 w 291"/>
                <a:gd name="T89" fmla="*/ 87 h 462"/>
                <a:gd name="T90" fmla="*/ 132 w 291"/>
                <a:gd name="T91" fmla="*/ 96 h 462"/>
                <a:gd name="T92" fmla="*/ 159 w 291"/>
                <a:gd name="T93" fmla="*/ 51 h 462"/>
                <a:gd name="T94" fmla="*/ 180 w 291"/>
                <a:gd name="T95" fmla="*/ 63 h 462"/>
                <a:gd name="T96" fmla="*/ 210 w 291"/>
                <a:gd name="T97" fmla="*/ 75 h 462"/>
                <a:gd name="T98" fmla="*/ 201 w 291"/>
                <a:gd name="T99" fmla="*/ 60 h 462"/>
                <a:gd name="T100" fmla="*/ 177 w 291"/>
                <a:gd name="T101" fmla="*/ 39 h 462"/>
                <a:gd name="T102" fmla="*/ 150 w 291"/>
                <a:gd name="T103" fmla="*/ 24 h 462"/>
                <a:gd name="T104" fmla="*/ 126 w 291"/>
                <a:gd name="T105" fmla="*/ 12 h 462"/>
                <a:gd name="T106" fmla="*/ 117 w 291"/>
                <a:gd name="T107" fmla="*/ 24 h 462"/>
                <a:gd name="T108" fmla="*/ 93 w 291"/>
                <a:gd name="T109" fmla="*/ 24 h 462"/>
                <a:gd name="T110" fmla="*/ 78 w 291"/>
                <a:gd name="T111" fmla="*/ 18 h 462"/>
                <a:gd name="T112" fmla="*/ 72 w 291"/>
                <a:gd name="T113" fmla="*/ 54 h 462"/>
                <a:gd name="T114" fmla="*/ 72 w 291"/>
                <a:gd name="T115" fmla="*/ 54 h 462"/>
                <a:gd name="T116" fmla="*/ 168 w 291"/>
                <a:gd name="T117" fmla="*/ 27 h 462"/>
                <a:gd name="T118" fmla="*/ 234 w 291"/>
                <a:gd name="T119" fmla="*/ 24 h 462"/>
                <a:gd name="T120" fmla="*/ 204 w 291"/>
                <a:gd name="T121" fmla="*/ 9 h 462"/>
                <a:gd name="T122" fmla="*/ 177 w 291"/>
                <a:gd name="T123" fmla="*/ 6 h 462"/>
                <a:gd name="T124" fmla="*/ 159 w 291"/>
                <a:gd name="T125" fmla="*/ 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462">
                  <a:moveTo>
                    <a:pt x="282" y="246"/>
                  </a:moveTo>
                  <a:cubicBezTo>
                    <a:pt x="282" y="249"/>
                    <a:pt x="279" y="249"/>
                    <a:pt x="279" y="246"/>
                  </a:cubicBezTo>
                  <a:cubicBezTo>
                    <a:pt x="279" y="243"/>
                    <a:pt x="270" y="240"/>
                    <a:pt x="270" y="240"/>
                  </a:cubicBezTo>
                  <a:cubicBezTo>
                    <a:pt x="270" y="240"/>
                    <a:pt x="273" y="240"/>
                    <a:pt x="276" y="240"/>
                  </a:cubicBezTo>
                  <a:cubicBezTo>
                    <a:pt x="279" y="243"/>
                    <a:pt x="282" y="240"/>
                    <a:pt x="285" y="237"/>
                  </a:cubicBezTo>
                  <a:cubicBezTo>
                    <a:pt x="288" y="234"/>
                    <a:pt x="291" y="237"/>
                    <a:pt x="291" y="234"/>
                  </a:cubicBezTo>
                  <a:cubicBezTo>
                    <a:pt x="285" y="231"/>
                    <a:pt x="285" y="231"/>
                    <a:pt x="285" y="231"/>
                  </a:cubicBezTo>
                  <a:cubicBezTo>
                    <a:pt x="285" y="228"/>
                    <a:pt x="282" y="225"/>
                    <a:pt x="276" y="228"/>
                  </a:cubicBezTo>
                  <a:cubicBezTo>
                    <a:pt x="273" y="228"/>
                    <a:pt x="273" y="225"/>
                    <a:pt x="270" y="225"/>
                  </a:cubicBezTo>
                  <a:cubicBezTo>
                    <a:pt x="270" y="222"/>
                    <a:pt x="261" y="225"/>
                    <a:pt x="261" y="231"/>
                  </a:cubicBezTo>
                  <a:cubicBezTo>
                    <a:pt x="261" y="234"/>
                    <a:pt x="258" y="234"/>
                    <a:pt x="258" y="231"/>
                  </a:cubicBezTo>
                  <a:cubicBezTo>
                    <a:pt x="261" y="228"/>
                    <a:pt x="258" y="225"/>
                    <a:pt x="261" y="225"/>
                  </a:cubicBezTo>
                  <a:cubicBezTo>
                    <a:pt x="264" y="225"/>
                    <a:pt x="261" y="219"/>
                    <a:pt x="255" y="219"/>
                  </a:cubicBezTo>
                  <a:cubicBezTo>
                    <a:pt x="249" y="219"/>
                    <a:pt x="249" y="222"/>
                    <a:pt x="249" y="225"/>
                  </a:cubicBezTo>
                  <a:cubicBezTo>
                    <a:pt x="252" y="225"/>
                    <a:pt x="246" y="234"/>
                    <a:pt x="243" y="234"/>
                  </a:cubicBezTo>
                  <a:cubicBezTo>
                    <a:pt x="240" y="234"/>
                    <a:pt x="243" y="228"/>
                    <a:pt x="243" y="225"/>
                  </a:cubicBezTo>
                  <a:cubicBezTo>
                    <a:pt x="243" y="222"/>
                    <a:pt x="240" y="222"/>
                    <a:pt x="234" y="228"/>
                  </a:cubicBezTo>
                  <a:cubicBezTo>
                    <a:pt x="231" y="234"/>
                    <a:pt x="228" y="237"/>
                    <a:pt x="225" y="237"/>
                  </a:cubicBezTo>
                  <a:cubicBezTo>
                    <a:pt x="222" y="240"/>
                    <a:pt x="222" y="234"/>
                    <a:pt x="228" y="231"/>
                  </a:cubicBezTo>
                  <a:cubicBezTo>
                    <a:pt x="231" y="228"/>
                    <a:pt x="231" y="222"/>
                    <a:pt x="234" y="222"/>
                  </a:cubicBezTo>
                  <a:cubicBezTo>
                    <a:pt x="237" y="222"/>
                    <a:pt x="237" y="219"/>
                    <a:pt x="234" y="219"/>
                  </a:cubicBezTo>
                  <a:cubicBezTo>
                    <a:pt x="228" y="216"/>
                    <a:pt x="228" y="222"/>
                    <a:pt x="225" y="222"/>
                  </a:cubicBezTo>
                  <a:cubicBezTo>
                    <a:pt x="225" y="225"/>
                    <a:pt x="219" y="222"/>
                    <a:pt x="219" y="222"/>
                  </a:cubicBezTo>
                  <a:cubicBezTo>
                    <a:pt x="219" y="225"/>
                    <a:pt x="216" y="225"/>
                    <a:pt x="216" y="228"/>
                  </a:cubicBezTo>
                  <a:cubicBezTo>
                    <a:pt x="219" y="228"/>
                    <a:pt x="216" y="231"/>
                    <a:pt x="213" y="228"/>
                  </a:cubicBezTo>
                  <a:cubicBezTo>
                    <a:pt x="213" y="225"/>
                    <a:pt x="207" y="228"/>
                    <a:pt x="207" y="231"/>
                  </a:cubicBezTo>
                  <a:cubicBezTo>
                    <a:pt x="204" y="234"/>
                    <a:pt x="201" y="234"/>
                    <a:pt x="204" y="234"/>
                  </a:cubicBezTo>
                  <a:cubicBezTo>
                    <a:pt x="204" y="237"/>
                    <a:pt x="204" y="240"/>
                    <a:pt x="201" y="243"/>
                  </a:cubicBezTo>
                  <a:cubicBezTo>
                    <a:pt x="198" y="243"/>
                    <a:pt x="201" y="234"/>
                    <a:pt x="198" y="234"/>
                  </a:cubicBezTo>
                  <a:cubicBezTo>
                    <a:pt x="195" y="234"/>
                    <a:pt x="198" y="231"/>
                    <a:pt x="201" y="231"/>
                  </a:cubicBezTo>
                  <a:cubicBezTo>
                    <a:pt x="204" y="231"/>
                    <a:pt x="207" y="225"/>
                    <a:pt x="207" y="225"/>
                  </a:cubicBezTo>
                  <a:cubicBezTo>
                    <a:pt x="207" y="222"/>
                    <a:pt x="201" y="222"/>
                    <a:pt x="201" y="225"/>
                  </a:cubicBezTo>
                  <a:cubicBezTo>
                    <a:pt x="201" y="228"/>
                    <a:pt x="198" y="228"/>
                    <a:pt x="192" y="228"/>
                  </a:cubicBezTo>
                  <a:cubicBezTo>
                    <a:pt x="189" y="228"/>
                    <a:pt x="189" y="231"/>
                    <a:pt x="195" y="234"/>
                  </a:cubicBezTo>
                  <a:cubicBezTo>
                    <a:pt x="198" y="237"/>
                    <a:pt x="192" y="240"/>
                    <a:pt x="192" y="237"/>
                  </a:cubicBezTo>
                  <a:cubicBezTo>
                    <a:pt x="189" y="234"/>
                    <a:pt x="186" y="237"/>
                    <a:pt x="183" y="237"/>
                  </a:cubicBezTo>
                  <a:cubicBezTo>
                    <a:pt x="180" y="237"/>
                    <a:pt x="189" y="240"/>
                    <a:pt x="189" y="243"/>
                  </a:cubicBezTo>
                  <a:cubicBezTo>
                    <a:pt x="189" y="243"/>
                    <a:pt x="183" y="240"/>
                    <a:pt x="183" y="243"/>
                  </a:cubicBezTo>
                  <a:cubicBezTo>
                    <a:pt x="183" y="243"/>
                    <a:pt x="177" y="240"/>
                    <a:pt x="177" y="237"/>
                  </a:cubicBezTo>
                  <a:cubicBezTo>
                    <a:pt x="177" y="237"/>
                    <a:pt x="168" y="240"/>
                    <a:pt x="174" y="240"/>
                  </a:cubicBezTo>
                  <a:cubicBezTo>
                    <a:pt x="177" y="243"/>
                    <a:pt x="177" y="243"/>
                    <a:pt x="177" y="249"/>
                  </a:cubicBezTo>
                  <a:cubicBezTo>
                    <a:pt x="177" y="252"/>
                    <a:pt x="171" y="249"/>
                    <a:pt x="171" y="246"/>
                  </a:cubicBezTo>
                  <a:cubicBezTo>
                    <a:pt x="174" y="243"/>
                    <a:pt x="168" y="243"/>
                    <a:pt x="165" y="246"/>
                  </a:cubicBezTo>
                  <a:cubicBezTo>
                    <a:pt x="162" y="246"/>
                    <a:pt x="168" y="240"/>
                    <a:pt x="165" y="240"/>
                  </a:cubicBezTo>
                  <a:cubicBezTo>
                    <a:pt x="165" y="237"/>
                    <a:pt x="162" y="240"/>
                    <a:pt x="156" y="240"/>
                  </a:cubicBezTo>
                  <a:cubicBezTo>
                    <a:pt x="153" y="240"/>
                    <a:pt x="153" y="240"/>
                    <a:pt x="153" y="243"/>
                  </a:cubicBezTo>
                  <a:cubicBezTo>
                    <a:pt x="156" y="246"/>
                    <a:pt x="156" y="249"/>
                    <a:pt x="153" y="249"/>
                  </a:cubicBezTo>
                  <a:cubicBezTo>
                    <a:pt x="150" y="246"/>
                    <a:pt x="150" y="249"/>
                    <a:pt x="150" y="249"/>
                  </a:cubicBezTo>
                  <a:cubicBezTo>
                    <a:pt x="150" y="252"/>
                    <a:pt x="147" y="252"/>
                    <a:pt x="147" y="252"/>
                  </a:cubicBezTo>
                  <a:cubicBezTo>
                    <a:pt x="144" y="249"/>
                    <a:pt x="141" y="249"/>
                    <a:pt x="138" y="252"/>
                  </a:cubicBezTo>
                  <a:cubicBezTo>
                    <a:pt x="135" y="255"/>
                    <a:pt x="132" y="255"/>
                    <a:pt x="132" y="258"/>
                  </a:cubicBezTo>
                  <a:cubicBezTo>
                    <a:pt x="132" y="261"/>
                    <a:pt x="135" y="258"/>
                    <a:pt x="138" y="258"/>
                  </a:cubicBezTo>
                  <a:cubicBezTo>
                    <a:pt x="141" y="261"/>
                    <a:pt x="138" y="261"/>
                    <a:pt x="141" y="264"/>
                  </a:cubicBezTo>
                  <a:cubicBezTo>
                    <a:pt x="141" y="267"/>
                    <a:pt x="141" y="267"/>
                    <a:pt x="141" y="267"/>
                  </a:cubicBezTo>
                  <a:cubicBezTo>
                    <a:pt x="138" y="264"/>
                    <a:pt x="135" y="264"/>
                    <a:pt x="135" y="267"/>
                  </a:cubicBezTo>
                  <a:cubicBezTo>
                    <a:pt x="132" y="270"/>
                    <a:pt x="132" y="267"/>
                    <a:pt x="129" y="264"/>
                  </a:cubicBezTo>
                  <a:cubicBezTo>
                    <a:pt x="126" y="261"/>
                    <a:pt x="126" y="267"/>
                    <a:pt x="123" y="267"/>
                  </a:cubicBezTo>
                  <a:cubicBezTo>
                    <a:pt x="120" y="264"/>
                    <a:pt x="126" y="261"/>
                    <a:pt x="126" y="258"/>
                  </a:cubicBezTo>
                  <a:cubicBezTo>
                    <a:pt x="123" y="255"/>
                    <a:pt x="123" y="258"/>
                    <a:pt x="120" y="264"/>
                  </a:cubicBezTo>
                  <a:cubicBezTo>
                    <a:pt x="114" y="267"/>
                    <a:pt x="111" y="267"/>
                    <a:pt x="111" y="267"/>
                  </a:cubicBezTo>
                  <a:cubicBezTo>
                    <a:pt x="114" y="270"/>
                    <a:pt x="108" y="270"/>
                    <a:pt x="108" y="273"/>
                  </a:cubicBezTo>
                  <a:cubicBezTo>
                    <a:pt x="105" y="276"/>
                    <a:pt x="99" y="279"/>
                    <a:pt x="93" y="282"/>
                  </a:cubicBezTo>
                  <a:cubicBezTo>
                    <a:pt x="87" y="285"/>
                    <a:pt x="93" y="285"/>
                    <a:pt x="96" y="282"/>
                  </a:cubicBezTo>
                  <a:cubicBezTo>
                    <a:pt x="99" y="279"/>
                    <a:pt x="102" y="282"/>
                    <a:pt x="105" y="279"/>
                  </a:cubicBezTo>
                  <a:cubicBezTo>
                    <a:pt x="111" y="276"/>
                    <a:pt x="114" y="273"/>
                    <a:pt x="117" y="273"/>
                  </a:cubicBezTo>
                  <a:cubicBezTo>
                    <a:pt x="117" y="276"/>
                    <a:pt x="120" y="276"/>
                    <a:pt x="123" y="273"/>
                  </a:cubicBezTo>
                  <a:cubicBezTo>
                    <a:pt x="126" y="270"/>
                    <a:pt x="129" y="270"/>
                    <a:pt x="129" y="273"/>
                  </a:cubicBezTo>
                  <a:cubicBezTo>
                    <a:pt x="132" y="273"/>
                    <a:pt x="126" y="276"/>
                    <a:pt x="129" y="279"/>
                  </a:cubicBezTo>
                  <a:cubicBezTo>
                    <a:pt x="132" y="282"/>
                    <a:pt x="126" y="282"/>
                    <a:pt x="126" y="279"/>
                  </a:cubicBezTo>
                  <a:cubicBezTo>
                    <a:pt x="126" y="279"/>
                    <a:pt x="123" y="276"/>
                    <a:pt x="120" y="279"/>
                  </a:cubicBezTo>
                  <a:cubicBezTo>
                    <a:pt x="117" y="282"/>
                    <a:pt x="117" y="282"/>
                    <a:pt x="117" y="282"/>
                  </a:cubicBezTo>
                  <a:cubicBezTo>
                    <a:pt x="114" y="282"/>
                    <a:pt x="111" y="288"/>
                    <a:pt x="111" y="291"/>
                  </a:cubicBezTo>
                  <a:cubicBezTo>
                    <a:pt x="111" y="294"/>
                    <a:pt x="108" y="291"/>
                    <a:pt x="108" y="294"/>
                  </a:cubicBezTo>
                  <a:cubicBezTo>
                    <a:pt x="108" y="297"/>
                    <a:pt x="102" y="303"/>
                    <a:pt x="96" y="309"/>
                  </a:cubicBezTo>
                  <a:cubicBezTo>
                    <a:pt x="93" y="312"/>
                    <a:pt x="96" y="315"/>
                    <a:pt x="96" y="318"/>
                  </a:cubicBezTo>
                  <a:cubicBezTo>
                    <a:pt x="93" y="321"/>
                    <a:pt x="87" y="318"/>
                    <a:pt x="87" y="318"/>
                  </a:cubicBezTo>
                  <a:cubicBezTo>
                    <a:pt x="84" y="321"/>
                    <a:pt x="87" y="327"/>
                    <a:pt x="84" y="330"/>
                  </a:cubicBezTo>
                  <a:cubicBezTo>
                    <a:pt x="81" y="330"/>
                    <a:pt x="84" y="333"/>
                    <a:pt x="84" y="336"/>
                  </a:cubicBezTo>
                  <a:cubicBezTo>
                    <a:pt x="84" y="339"/>
                    <a:pt x="78" y="336"/>
                    <a:pt x="78" y="336"/>
                  </a:cubicBezTo>
                  <a:cubicBezTo>
                    <a:pt x="78" y="339"/>
                    <a:pt x="72" y="339"/>
                    <a:pt x="69" y="339"/>
                  </a:cubicBezTo>
                  <a:cubicBezTo>
                    <a:pt x="69" y="342"/>
                    <a:pt x="72" y="345"/>
                    <a:pt x="75" y="348"/>
                  </a:cubicBezTo>
                  <a:cubicBezTo>
                    <a:pt x="78" y="348"/>
                    <a:pt x="72" y="351"/>
                    <a:pt x="72" y="348"/>
                  </a:cubicBezTo>
                  <a:cubicBezTo>
                    <a:pt x="72" y="345"/>
                    <a:pt x="69" y="351"/>
                    <a:pt x="63" y="351"/>
                  </a:cubicBezTo>
                  <a:cubicBezTo>
                    <a:pt x="57" y="354"/>
                    <a:pt x="60" y="360"/>
                    <a:pt x="57" y="360"/>
                  </a:cubicBezTo>
                  <a:cubicBezTo>
                    <a:pt x="51" y="360"/>
                    <a:pt x="54" y="366"/>
                    <a:pt x="51" y="369"/>
                  </a:cubicBezTo>
                  <a:cubicBezTo>
                    <a:pt x="48" y="369"/>
                    <a:pt x="48" y="363"/>
                    <a:pt x="45" y="363"/>
                  </a:cubicBezTo>
                  <a:cubicBezTo>
                    <a:pt x="39" y="363"/>
                    <a:pt x="39" y="366"/>
                    <a:pt x="42" y="369"/>
                  </a:cubicBezTo>
                  <a:cubicBezTo>
                    <a:pt x="45" y="372"/>
                    <a:pt x="39" y="369"/>
                    <a:pt x="36" y="372"/>
                  </a:cubicBezTo>
                  <a:cubicBezTo>
                    <a:pt x="33" y="375"/>
                    <a:pt x="27" y="375"/>
                    <a:pt x="27" y="378"/>
                  </a:cubicBezTo>
                  <a:cubicBezTo>
                    <a:pt x="24" y="381"/>
                    <a:pt x="30" y="381"/>
                    <a:pt x="33" y="381"/>
                  </a:cubicBezTo>
                  <a:cubicBezTo>
                    <a:pt x="33" y="384"/>
                    <a:pt x="27" y="384"/>
                    <a:pt x="21" y="381"/>
                  </a:cubicBezTo>
                  <a:cubicBezTo>
                    <a:pt x="18" y="381"/>
                    <a:pt x="18" y="387"/>
                    <a:pt x="15" y="387"/>
                  </a:cubicBezTo>
                  <a:cubicBezTo>
                    <a:pt x="12" y="384"/>
                    <a:pt x="9" y="390"/>
                    <a:pt x="12" y="390"/>
                  </a:cubicBezTo>
                  <a:cubicBezTo>
                    <a:pt x="12" y="393"/>
                    <a:pt x="9" y="393"/>
                    <a:pt x="6" y="393"/>
                  </a:cubicBezTo>
                  <a:cubicBezTo>
                    <a:pt x="3" y="390"/>
                    <a:pt x="3" y="396"/>
                    <a:pt x="0" y="396"/>
                  </a:cubicBezTo>
                  <a:cubicBezTo>
                    <a:pt x="0" y="399"/>
                    <a:pt x="6" y="402"/>
                    <a:pt x="6" y="402"/>
                  </a:cubicBezTo>
                  <a:cubicBezTo>
                    <a:pt x="6" y="405"/>
                    <a:pt x="0" y="408"/>
                    <a:pt x="3" y="408"/>
                  </a:cubicBezTo>
                  <a:cubicBezTo>
                    <a:pt x="6" y="408"/>
                    <a:pt x="6" y="411"/>
                    <a:pt x="3" y="411"/>
                  </a:cubicBezTo>
                  <a:cubicBezTo>
                    <a:pt x="0" y="411"/>
                    <a:pt x="0" y="414"/>
                    <a:pt x="3" y="417"/>
                  </a:cubicBezTo>
                  <a:cubicBezTo>
                    <a:pt x="6" y="420"/>
                    <a:pt x="0" y="420"/>
                    <a:pt x="3" y="423"/>
                  </a:cubicBezTo>
                  <a:cubicBezTo>
                    <a:pt x="6" y="426"/>
                    <a:pt x="6" y="423"/>
                    <a:pt x="9" y="426"/>
                  </a:cubicBezTo>
                  <a:cubicBezTo>
                    <a:pt x="9" y="429"/>
                    <a:pt x="12" y="426"/>
                    <a:pt x="15" y="423"/>
                  </a:cubicBezTo>
                  <a:cubicBezTo>
                    <a:pt x="21" y="420"/>
                    <a:pt x="21" y="426"/>
                    <a:pt x="18" y="426"/>
                  </a:cubicBezTo>
                  <a:cubicBezTo>
                    <a:pt x="15" y="426"/>
                    <a:pt x="12" y="429"/>
                    <a:pt x="12" y="432"/>
                  </a:cubicBezTo>
                  <a:cubicBezTo>
                    <a:pt x="12" y="435"/>
                    <a:pt x="9" y="432"/>
                    <a:pt x="9" y="429"/>
                  </a:cubicBezTo>
                  <a:cubicBezTo>
                    <a:pt x="9" y="426"/>
                    <a:pt x="3" y="429"/>
                    <a:pt x="3" y="432"/>
                  </a:cubicBezTo>
                  <a:cubicBezTo>
                    <a:pt x="6" y="435"/>
                    <a:pt x="3" y="438"/>
                    <a:pt x="3" y="438"/>
                  </a:cubicBezTo>
                  <a:cubicBezTo>
                    <a:pt x="3" y="441"/>
                    <a:pt x="9" y="441"/>
                    <a:pt x="9" y="438"/>
                  </a:cubicBezTo>
                  <a:cubicBezTo>
                    <a:pt x="12" y="435"/>
                    <a:pt x="15" y="435"/>
                    <a:pt x="15" y="438"/>
                  </a:cubicBezTo>
                  <a:cubicBezTo>
                    <a:pt x="18" y="441"/>
                    <a:pt x="12" y="441"/>
                    <a:pt x="12" y="444"/>
                  </a:cubicBezTo>
                  <a:cubicBezTo>
                    <a:pt x="12" y="447"/>
                    <a:pt x="9" y="444"/>
                    <a:pt x="9" y="447"/>
                  </a:cubicBezTo>
                  <a:cubicBezTo>
                    <a:pt x="6" y="450"/>
                    <a:pt x="18" y="456"/>
                    <a:pt x="21" y="456"/>
                  </a:cubicBezTo>
                  <a:cubicBezTo>
                    <a:pt x="24" y="456"/>
                    <a:pt x="27" y="462"/>
                    <a:pt x="33" y="459"/>
                  </a:cubicBezTo>
                  <a:cubicBezTo>
                    <a:pt x="39" y="459"/>
                    <a:pt x="51" y="447"/>
                    <a:pt x="54" y="444"/>
                  </a:cubicBezTo>
                  <a:cubicBezTo>
                    <a:pt x="57" y="441"/>
                    <a:pt x="60" y="444"/>
                    <a:pt x="63" y="444"/>
                  </a:cubicBezTo>
                  <a:cubicBezTo>
                    <a:pt x="63" y="441"/>
                    <a:pt x="63" y="435"/>
                    <a:pt x="66" y="435"/>
                  </a:cubicBezTo>
                  <a:cubicBezTo>
                    <a:pt x="69" y="441"/>
                    <a:pt x="69" y="441"/>
                    <a:pt x="69" y="441"/>
                  </a:cubicBezTo>
                  <a:cubicBezTo>
                    <a:pt x="72" y="441"/>
                    <a:pt x="72" y="444"/>
                    <a:pt x="72" y="447"/>
                  </a:cubicBezTo>
                  <a:cubicBezTo>
                    <a:pt x="75" y="447"/>
                    <a:pt x="75" y="447"/>
                    <a:pt x="75" y="447"/>
                  </a:cubicBezTo>
                  <a:cubicBezTo>
                    <a:pt x="78" y="447"/>
                    <a:pt x="78" y="441"/>
                    <a:pt x="78" y="438"/>
                  </a:cubicBezTo>
                  <a:cubicBezTo>
                    <a:pt x="78" y="438"/>
                    <a:pt x="81" y="432"/>
                    <a:pt x="81" y="429"/>
                  </a:cubicBezTo>
                  <a:cubicBezTo>
                    <a:pt x="78" y="426"/>
                    <a:pt x="87" y="429"/>
                    <a:pt x="87" y="426"/>
                  </a:cubicBezTo>
                  <a:cubicBezTo>
                    <a:pt x="87" y="426"/>
                    <a:pt x="90" y="417"/>
                    <a:pt x="87" y="417"/>
                  </a:cubicBezTo>
                  <a:cubicBezTo>
                    <a:pt x="84" y="414"/>
                    <a:pt x="84" y="411"/>
                    <a:pt x="87" y="411"/>
                  </a:cubicBezTo>
                  <a:cubicBezTo>
                    <a:pt x="87" y="411"/>
                    <a:pt x="90" y="411"/>
                    <a:pt x="90" y="405"/>
                  </a:cubicBezTo>
                  <a:cubicBezTo>
                    <a:pt x="90" y="402"/>
                    <a:pt x="84" y="402"/>
                    <a:pt x="84" y="396"/>
                  </a:cubicBezTo>
                  <a:cubicBezTo>
                    <a:pt x="81" y="393"/>
                    <a:pt x="87" y="393"/>
                    <a:pt x="84" y="387"/>
                  </a:cubicBezTo>
                  <a:cubicBezTo>
                    <a:pt x="81" y="381"/>
                    <a:pt x="84" y="378"/>
                    <a:pt x="84" y="375"/>
                  </a:cubicBezTo>
                  <a:cubicBezTo>
                    <a:pt x="81" y="372"/>
                    <a:pt x="81" y="369"/>
                    <a:pt x="84" y="363"/>
                  </a:cubicBezTo>
                  <a:cubicBezTo>
                    <a:pt x="87" y="360"/>
                    <a:pt x="93" y="357"/>
                    <a:pt x="96" y="357"/>
                  </a:cubicBezTo>
                  <a:cubicBezTo>
                    <a:pt x="99" y="357"/>
                    <a:pt x="102" y="360"/>
                    <a:pt x="102" y="357"/>
                  </a:cubicBezTo>
                  <a:cubicBezTo>
                    <a:pt x="105" y="354"/>
                    <a:pt x="105" y="351"/>
                    <a:pt x="102" y="351"/>
                  </a:cubicBezTo>
                  <a:cubicBezTo>
                    <a:pt x="102" y="348"/>
                    <a:pt x="96" y="348"/>
                    <a:pt x="102" y="345"/>
                  </a:cubicBezTo>
                  <a:cubicBezTo>
                    <a:pt x="105" y="339"/>
                    <a:pt x="108" y="333"/>
                    <a:pt x="108" y="330"/>
                  </a:cubicBezTo>
                  <a:cubicBezTo>
                    <a:pt x="108" y="324"/>
                    <a:pt x="108" y="321"/>
                    <a:pt x="108" y="318"/>
                  </a:cubicBezTo>
                  <a:cubicBezTo>
                    <a:pt x="111" y="318"/>
                    <a:pt x="114" y="318"/>
                    <a:pt x="117" y="318"/>
                  </a:cubicBezTo>
                  <a:cubicBezTo>
                    <a:pt x="120" y="315"/>
                    <a:pt x="117" y="312"/>
                    <a:pt x="120" y="309"/>
                  </a:cubicBezTo>
                  <a:cubicBezTo>
                    <a:pt x="120" y="309"/>
                    <a:pt x="123" y="303"/>
                    <a:pt x="126" y="303"/>
                  </a:cubicBezTo>
                  <a:cubicBezTo>
                    <a:pt x="126" y="300"/>
                    <a:pt x="129" y="297"/>
                    <a:pt x="129" y="297"/>
                  </a:cubicBezTo>
                  <a:cubicBezTo>
                    <a:pt x="126" y="294"/>
                    <a:pt x="132" y="291"/>
                    <a:pt x="132" y="288"/>
                  </a:cubicBezTo>
                  <a:cubicBezTo>
                    <a:pt x="132" y="285"/>
                    <a:pt x="135" y="282"/>
                    <a:pt x="141" y="282"/>
                  </a:cubicBezTo>
                  <a:cubicBezTo>
                    <a:pt x="144" y="282"/>
                    <a:pt x="147" y="282"/>
                    <a:pt x="147" y="279"/>
                  </a:cubicBezTo>
                  <a:cubicBezTo>
                    <a:pt x="147" y="276"/>
                    <a:pt x="147" y="267"/>
                    <a:pt x="150" y="270"/>
                  </a:cubicBezTo>
                  <a:cubicBezTo>
                    <a:pt x="156" y="273"/>
                    <a:pt x="159" y="270"/>
                    <a:pt x="162" y="273"/>
                  </a:cubicBezTo>
                  <a:cubicBezTo>
                    <a:pt x="165" y="276"/>
                    <a:pt x="171" y="276"/>
                    <a:pt x="171" y="270"/>
                  </a:cubicBezTo>
                  <a:cubicBezTo>
                    <a:pt x="171" y="267"/>
                    <a:pt x="171" y="258"/>
                    <a:pt x="177" y="261"/>
                  </a:cubicBezTo>
                  <a:cubicBezTo>
                    <a:pt x="177" y="261"/>
                    <a:pt x="177" y="261"/>
                    <a:pt x="177" y="261"/>
                  </a:cubicBezTo>
                  <a:cubicBezTo>
                    <a:pt x="180" y="258"/>
                    <a:pt x="183" y="258"/>
                    <a:pt x="186" y="258"/>
                  </a:cubicBezTo>
                  <a:cubicBezTo>
                    <a:pt x="189" y="258"/>
                    <a:pt x="192" y="264"/>
                    <a:pt x="198" y="267"/>
                  </a:cubicBezTo>
                  <a:cubicBezTo>
                    <a:pt x="204" y="267"/>
                    <a:pt x="207" y="270"/>
                    <a:pt x="210" y="267"/>
                  </a:cubicBezTo>
                  <a:cubicBezTo>
                    <a:pt x="210" y="264"/>
                    <a:pt x="216" y="267"/>
                    <a:pt x="219" y="267"/>
                  </a:cubicBezTo>
                  <a:cubicBezTo>
                    <a:pt x="222" y="267"/>
                    <a:pt x="222" y="273"/>
                    <a:pt x="225" y="270"/>
                  </a:cubicBezTo>
                  <a:cubicBezTo>
                    <a:pt x="228" y="264"/>
                    <a:pt x="225" y="261"/>
                    <a:pt x="231" y="261"/>
                  </a:cubicBezTo>
                  <a:cubicBezTo>
                    <a:pt x="234" y="264"/>
                    <a:pt x="231" y="255"/>
                    <a:pt x="231" y="252"/>
                  </a:cubicBezTo>
                  <a:cubicBezTo>
                    <a:pt x="231" y="249"/>
                    <a:pt x="240" y="249"/>
                    <a:pt x="240" y="246"/>
                  </a:cubicBezTo>
                  <a:cubicBezTo>
                    <a:pt x="240" y="243"/>
                    <a:pt x="249" y="246"/>
                    <a:pt x="249" y="243"/>
                  </a:cubicBezTo>
                  <a:cubicBezTo>
                    <a:pt x="252" y="240"/>
                    <a:pt x="258" y="240"/>
                    <a:pt x="258" y="243"/>
                  </a:cubicBezTo>
                  <a:cubicBezTo>
                    <a:pt x="261" y="246"/>
                    <a:pt x="270" y="246"/>
                    <a:pt x="270" y="249"/>
                  </a:cubicBezTo>
                  <a:cubicBezTo>
                    <a:pt x="270" y="252"/>
                    <a:pt x="270" y="255"/>
                    <a:pt x="270" y="258"/>
                  </a:cubicBezTo>
                  <a:cubicBezTo>
                    <a:pt x="273" y="255"/>
                    <a:pt x="273" y="255"/>
                    <a:pt x="276" y="255"/>
                  </a:cubicBezTo>
                  <a:cubicBezTo>
                    <a:pt x="279" y="255"/>
                    <a:pt x="282" y="249"/>
                    <a:pt x="285" y="249"/>
                  </a:cubicBezTo>
                  <a:cubicBezTo>
                    <a:pt x="288" y="249"/>
                    <a:pt x="291" y="249"/>
                    <a:pt x="291" y="246"/>
                  </a:cubicBezTo>
                  <a:cubicBezTo>
                    <a:pt x="288" y="243"/>
                    <a:pt x="282" y="243"/>
                    <a:pt x="282" y="246"/>
                  </a:cubicBezTo>
                  <a:close/>
                  <a:moveTo>
                    <a:pt x="81" y="33"/>
                  </a:moveTo>
                  <a:cubicBezTo>
                    <a:pt x="87" y="33"/>
                    <a:pt x="75" y="39"/>
                    <a:pt x="75" y="45"/>
                  </a:cubicBezTo>
                  <a:cubicBezTo>
                    <a:pt x="72" y="48"/>
                    <a:pt x="81" y="54"/>
                    <a:pt x="87" y="57"/>
                  </a:cubicBezTo>
                  <a:cubicBezTo>
                    <a:pt x="90" y="60"/>
                    <a:pt x="99" y="60"/>
                    <a:pt x="102" y="57"/>
                  </a:cubicBezTo>
                  <a:cubicBezTo>
                    <a:pt x="105" y="54"/>
                    <a:pt x="105" y="48"/>
                    <a:pt x="108" y="48"/>
                  </a:cubicBezTo>
                  <a:cubicBezTo>
                    <a:pt x="114" y="48"/>
                    <a:pt x="111" y="45"/>
                    <a:pt x="114" y="42"/>
                  </a:cubicBezTo>
                  <a:cubicBezTo>
                    <a:pt x="117" y="42"/>
                    <a:pt x="117" y="48"/>
                    <a:pt x="114" y="51"/>
                  </a:cubicBezTo>
                  <a:cubicBezTo>
                    <a:pt x="111" y="54"/>
                    <a:pt x="120" y="54"/>
                    <a:pt x="126" y="48"/>
                  </a:cubicBezTo>
                  <a:cubicBezTo>
                    <a:pt x="129" y="45"/>
                    <a:pt x="129" y="48"/>
                    <a:pt x="129" y="54"/>
                  </a:cubicBezTo>
                  <a:cubicBezTo>
                    <a:pt x="129" y="57"/>
                    <a:pt x="120" y="54"/>
                    <a:pt x="117" y="60"/>
                  </a:cubicBezTo>
                  <a:cubicBezTo>
                    <a:pt x="111" y="63"/>
                    <a:pt x="102" y="60"/>
                    <a:pt x="99" y="66"/>
                  </a:cubicBezTo>
                  <a:cubicBezTo>
                    <a:pt x="93" y="69"/>
                    <a:pt x="102" y="69"/>
                    <a:pt x="108" y="69"/>
                  </a:cubicBezTo>
                  <a:cubicBezTo>
                    <a:pt x="114" y="69"/>
                    <a:pt x="126" y="66"/>
                    <a:pt x="132" y="69"/>
                  </a:cubicBezTo>
                  <a:cubicBezTo>
                    <a:pt x="135" y="69"/>
                    <a:pt x="129" y="72"/>
                    <a:pt x="120" y="72"/>
                  </a:cubicBezTo>
                  <a:cubicBezTo>
                    <a:pt x="114" y="72"/>
                    <a:pt x="111" y="72"/>
                    <a:pt x="111" y="75"/>
                  </a:cubicBezTo>
                  <a:cubicBezTo>
                    <a:pt x="111" y="78"/>
                    <a:pt x="99" y="72"/>
                    <a:pt x="99" y="78"/>
                  </a:cubicBezTo>
                  <a:cubicBezTo>
                    <a:pt x="99" y="81"/>
                    <a:pt x="111" y="84"/>
                    <a:pt x="111" y="87"/>
                  </a:cubicBezTo>
                  <a:cubicBezTo>
                    <a:pt x="111" y="90"/>
                    <a:pt x="120" y="87"/>
                    <a:pt x="123" y="87"/>
                  </a:cubicBezTo>
                  <a:cubicBezTo>
                    <a:pt x="126" y="87"/>
                    <a:pt x="117" y="90"/>
                    <a:pt x="117" y="93"/>
                  </a:cubicBezTo>
                  <a:cubicBezTo>
                    <a:pt x="114" y="93"/>
                    <a:pt x="123" y="96"/>
                    <a:pt x="126" y="96"/>
                  </a:cubicBezTo>
                  <a:cubicBezTo>
                    <a:pt x="126" y="99"/>
                    <a:pt x="132" y="99"/>
                    <a:pt x="132" y="96"/>
                  </a:cubicBezTo>
                  <a:cubicBezTo>
                    <a:pt x="132" y="90"/>
                    <a:pt x="138" y="78"/>
                    <a:pt x="147" y="75"/>
                  </a:cubicBezTo>
                  <a:cubicBezTo>
                    <a:pt x="153" y="72"/>
                    <a:pt x="150" y="69"/>
                    <a:pt x="150" y="66"/>
                  </a:cubicBezTo>
                  <a:cubicBezTo>
                    <a:pt x="150" y="60"/>
                    <a:pt x="156" y="63"/>
                    <a:pt x="156" y="60"/>
                  </a:cubicBezTo>
                  <a:cubicBezTo>
                    <a:pt x="153" y="57"/>
                    <a:pt x="156" y="57"/>
                    <a:pt x="159" y="51"/>
                  </a:cubicBezTo>
                  <a:cubicBezTo>
                    <a:pt x="165" y="48"/>
                    <a:pt x="168" y="51"/>
                    <a:pt x="174" y="48"/>
                  </a:cubicBezTo>
                  <a:cubicBezTo>
                    <a:pt x="180" y="45"/>
                    <a:pt x="183" y="48"/>
                    <a:pt x="174" y="51"/>
                  </a:cubicBezTo>
                  <a:cubicBezTo>
                    <a:pt x="171" y="51"/>
                    <a:pt x="174" y="57"/>
                    <a:pt x="177" y="57"/>
                  </a:cubicBezTo>
                  <a:cubicBezTo>
                    <a:pt x="183" y="60"/>
                    <a:pt x="177" y="63"/>
                    <a:pt x="180" y="63"/>
                  </a:cubicBezTo>
                  <a:cubicBezTo>
                    <a:pt x="186" y="63"/>
                    <a:pt x="183" y="69"/>
                    <a:pt x="180" y="72"/>
                  </a:cubicBezTo>
                  <a:cubicBezTo>
                    <a:pt x="174" y="78"/>
                    <a:pt x="180" y="78"/>
                    <a:pt x="189" y="75"/>
                  </a:cubicBezTo>
                  <a:cubicBezTo>
                    <a:pt x="198" y="72"/>
                    <a:pt x="192" y="78"/>
                    <a:pt x="195" y="81"/>
                  </a:cubicBezTo>
                  <a:cubicBezTo>
                    <a:pt x="198" y="84"/>
                    <a:pt x="207" y="78"/>
                    <a:pt x="210" y="75"/>
                  </a:cubicBezTo>
                  <a:cubicBezTo>
                    <a:pt x="213" y="69"/>
                    <a:pt x="219" y="69"/>
                    <a:pt x="219" y="69"/>
                  </a:cubicBezTo>
                  <a:cubicBezTo>
                    <a:pt x="219" y="66"/>
                    <a:pt x="216" y="63"/>
                    <a:pt x="213" y="66"/>
                  </a:cubicBezTo>
                  <a:cubicBezTo>
                    <a:pt x="210" y="66"/>
                    <a:pt x="201" y="66"/>
                    <a:pt x="204" y="63"/>
                  </a:cubicBezTo>
                  <a:cubicBezTo>
                    <a:pt x="207" y="60"/>
                    <a:pt x="204" y="60"/>
                    <a:pt x="201" y="60"/>
                  </a:cubicBezTo>
                  <a:cubicBezTo>
                    <a:pt x="195" y="60"/>
                    <a:pt x="189" y="57"/>
                    <a:pt x="192" y="57"/>
                  </a:cubicBezTo>
                  <a:cubicBezTo>
                    <a:pt x="195" y="54"/>
                    <a:pt x="189" y="48"/>
                    <a:pt x="186" y="51"/>
                  </a:cubicBezTo>
                  <a:cubicBezTo>
                    <a:pt x="183" y="51"/>
                    <a:pt x="183" y="45"/>
                    <a:pt x="183" y="42"/>
                  </a:cubicBezTo>
                  <a:cubicBezTo>
                    <a:pt x="183" y="39"/>
                    <a:pt x="174" y="39"/>
                    <a:pt x="177" y="39"/>
                  </a:cubicBezTo>
                  <a:cubicBezTo>
                    <a:pt x="177" y="36"/>
                    <a:pt x="171" y="36"/>
                    <a:pt x="171" y="36"/>
                  </a:cubicBezTo>
                  <a:cubicBezTo>
                    <a:pt x="168" y="39"/>
                    <a:pt x="165" y="39"/>
                    <a:pt x="165" y="36"/>
                  </a:cubicBezTo>
                  <a:cubicBezTo>
                    <a:pt x="165" y="33"/>
                    <a:pt x="159" y="33"/>
                    <a:pt x="156" y="33"/>
                  </a:cubicBezTo>
                  <a:cubicBezTo>
                    <a:pt x="153" y="33"/>
                    <a:pt x="153" y="27"/>
                    <a:pt x="150" y="24"/>
                  </a:cubicBezTo>
                  <a:cubicBezTo>
                    <a:pt x="147" y="21"/>
                    <a:pt x="144" y="30"/>
                    <a:pt x="141" y="30"/>
                  </a:cubicBezTo>
                  <a:cubicBezTo>
                    <a:pt x="138" y="27"/>
                    <a:pt x="144" y="24"/>
                    <a:pt x="144" y="21"/>
                  </a:cubicBezTo>
                  <a:cubicBezTo>
                    <a:pt x="144" y="18"/>
                    <a:pt x="135" y="15"/>
                    <a:pt x="132" y="18"/>
                  </a:cubicBezTo>
                  <a:cubicBezTo>
                    <a:pt x="132" y="21"/>
                    <a:pt x="129" y="12"/>
                    <a:pt x="126" y="12"/>
                  </a:cubicBezTo>
                  <a:cubicBezTo>
                    <a:pt x="123" y="12"/>
                    <a:pt x="126" y="15"/>
                    <a:pt x="123" y="18"/>
                  </a:cubicBezTo>
                  <a:cubicBezTo>
                    <a:pt x="120" y="18"/>
                    <a:pt x="117" y="21"/>
                    <a:pt x="123" y="21"/>
                  </a:cubicBezTo>
                  <a:cubicBezTo>
                    <a:pt x="126" y="24"/>
                    <a:pt x="129" y="36"/>
                    <a:pt x="129" y="39"/>
                  </a:cubicBezTo>
                  <a:cubicBezTo>
                    <a:pt x="129" y="42"/>
                    <a:pt x="117" y="30"/>
                    <a:pt x="117" y="24"/>
                  </a:cubicBezTo>
                  <a:cubicBezTo>
                    <a:pt x="117" y="21"/>
                    <a:pt x="111" y="15"/>
                    <a:pt x="108" y="18"/>
                  </a:cubicBezTo>
                  <a:cubicBezTo>
                    <a:pt x="108" y="24"/>
                    <a:pt x="102" y="24"/>
                    <a:pt x="105" y="27"/>
                  </a:cubicBezTo>
                  <a:cubicBezTo>
                    <a:pt x="105" y="33"/>
                    <a:pt x="102" y="33"/>
                    <a:pt x="102" y="30"/>
                  </a:cubicBezTo>
                  <a:cubicBezTo>
                    <a:pt x="102" y="27"/>
                    <a:pt x="96" y="24"/>
                    <a:pt x="93" y="24"/>
                  </a:cubicBezTo>
                  <a:cubicBezTo>
                    <a:pt x="90" y="24"/>
                    <a:pt x="99" y="21"/>
                    <a:pt x="102" y="21"/>
                  </a:cubicBezTo>
                  <a:cubicBezTo>
                    <a:pt x="105" y="18"/>
                    <a:pt x="99" y="15"/>
                    <a:pt x="96" y="18"/>
                  </a:cubicBezTo>
                  <a:cubicBezTo>
                    <a:pt x="93" y="21"/>
                    <a:pt x="87" y="15"/>
                    <a:pt x="87" y="18"/>
                  </a:cubicBezTo>
                  <a:cubicBezTo>
                    <a:pt x="84" y="21"/>
                    <a:pt x="81" y="18"/>
                    <a:pt x="78" y="18"/>
                  </a:cubicBezTo>
                  <a:cubicBezTo>
                    <a:pt x="75" y="18"/>
                    <a:pt x="72" y="24"/>
                    <a:pt x="69" y="21"/>
                  </a:cubicBezTo>
                  <a:cubicBezTo>
                    <a:pt x="66" y="21"/>
                    <a:pt x="66" y="27"/>
                    <a:pt x="69" y="33"/>
                  </a:cubicBezTo>
                  <a:cubicBezTo>
                    <a:pt x="72" y="39"/>
                    <a:pt x="75" y="33"/>
                    <a:pt x="81" y="33"/>
                  </a:cubicBezTo>
                  <a:close/>
                  <a:moveTo>
                    <a:pt x="72" y="54"/>
                  </a:moveTo>
                  <a:cubicBezTo>
                    <a:pt x="75" y="54"/>
                    <a:pt x="75" y="60"/>
                    <a:pt x="78" y="57"/>
                  </a:cubicBezTo>
                  <a:cubicBezTo>
                    <a:pt x="81" y="57"/>
                    <a:pt x="75" y="51"/>
                    <a:pt x="72" y="48"/>
                  </a:cubicBezTo>
                  <a:cubicBezTo>
                    <a:pt x="69" y="45"/>
                    <a:pt x="69" y="42"/>
                    <a:pt x="63" y="42"/>
                  </a:cubicBezTo>
                  <a:cubicBezTo>
                    <a:pt x="60" y="45"/>
                    <a:pt x="69" y="51"/>
                    <a:pt x="72" y="54"/>
                  </a:cubicBezTo>
                  <a:close/>
                  <a:moveTo>
                    <a:pt x="150" y="12"/>
                  </a:moveTo>
                  <a:cubicBezTo>
                    <a:pt x="153" y="15"/>
                    <a:pt x="147" y="15"/>
                    <a:pt x="150" y="18"/>
                  </a:cubicBezTo>
                  <a:cubicBezTo>
                    <a:pt x="156" y="24"/>
                    <a:pt x="186" y="15"/>
                    <a:pt x="189" y="18"/>
                  </a:cubicBezTo>
                  <a:cubicBezTo>
                    <a:pt x="195" y="21"/>
                    <a:pt x="165" y="24"/>
                    <a:pt x="168" y="27"/>
                  </a:cubicBezTo>
                  <a:cubicBezTo>
                    <a:pt x="168" y="30"/>
                    <a:pt x="192" y="30"/>
                    <a:pt x="192" y="30"/>
                  </a:cubicBezTo>
                  <a:cubicBezTo>
                    <a:pt x="195" y="27"/>
                    <a:pt x="198" y="33"/>
                    <a:pt x="207" y="33"/>
                  </a:cubicBezTo>
                  <a:cubicBezTo>
                    <a:pt x="213" y="33"/>
                    <a:pt x="213" y="30"/>
                    <a:pt x="219" y="30"/>
                  </a:cubicBezTo>
                  <a:cubicBezTo>
                    <a:pt x="225" y="30"/>
                    <a:pt x="234" y="27"/>
                    <a:pt x="234" y="24"/>
                  </a:cubicBezTo>
                  <a:cubicBezTo>
                    <a:pt x="234" y="21"/>
                    <a:pt x="252" y="18"/>
                    <a:pt x="249" y="12"/>
                  </a:cubicBezTo>
                  <a:cubicBezTo>
                    <a:pt x="249" y="6"/>
                    <a:pt x="231" y="9"/>
                    <a:pt x="228" y="9"/>
                  </a:cubicBezTo>
                  <a:cubicBezTo>
                    <a:pt x="222" y="6"/>
                    <a:pt x="213" y="3"/>
                    <a:pt x="210" y="6"/>
                  </a:cubicBezTo>
                  <a:cubicBezTo>
                    <a:pt x="210" y="9"/>
                    <a:pt x="207" y="9"/>
                    <a:pt x="204" y="9"/>
                  </a:cubicBezTo>
                  <a:cubicBezTo>
                    <a:pt x="204" y="6"/>
                    <a:pt x="204" y="0"/>
                    <a:pt x="198" y="3"/>
                  </a:cubicBezTo>
                  <a:cubicBezTo>
                    <a:pt x="189" y="3"/>
                    <a:pt x="198" y="12"/>
                    <a:pt x="195" y="12"/>
                  </a:cubicBezTo>
                  <a:cubicBezTo>
                    <a:pt x="195" y="15"/>
                    <a:pt x="186" y="12"/>
                    <a:pt x="186" y="9"/>
                  </a:cubicBezTo>
                  <a:cubicBezTo>
                    <a:pt x="186" y="3"/>
                    <a:pt x="177" y="12"/>
                    <a:pt x="177" y="6"/>
                  </a:cubicBezTo>
                  <a:cubicBezTo>
                    <a:pt x="177" y="3"/>
                    <a:pt x="168" y="0"/>
                    <a:pt x="165" y="0"/>
                  </a:cubicBezTo>
                  <a:cubicBezTo>
                    <a:pt x="162" y="0"/>
                    <a:pt x="168" y="3"/>
                    <a:pt x="165" y="6"/>
                  </a:cubicBezTo>
                  <a:cubicBezTo>
                    <a:pt x="159" y="3"/>
                    <a:pt x="159" y="3"/>
                    <a:pt x="159" y="3"/>
                  </a:cubicBezTo>
                  <a:cubicBezTo>
                    <a:pt x="156" y="3"/>
                    <a:pt x="159" y="6"/>
                    <a:pt x="159" y="9"/>
                  </a:cubicBezTo>
                  <a:cubicBezTo>
                    <a:pt x="156" y="12"/>
                    <a:pt x="153" y="3"/>
                    <a:pt x="150" y="3"/>
                  </a:cubicBezTo>
                  <a:cubicBezTo>
                    <a:pt x="147" y="3"/>
                    <a:pt x="147" y="6"/>
                    <a:pt x="144" y="6"/>
                  </a:cubicBezTo>
                  <a:cubicBezTo>
                    <a:pt x="141" y="9"/>
                    <a:pt x="147" y="12"/>
                    <a:pt x="150"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7" name="Freeform 922"/>
            <p:cNvSpPr>
              <a:spLocks noEditPoints="1"/>
            </p:cNvSpPr>
            <p:nvPr userDrawn="1"/>
          </p:nvSpPr>
          <p:spPr bwMode="auto">
            <a:xfrm>
              <a:off x="3569" y="-3028"/>
              <a:ext cx="453" cy="721"/>
            </a:xfrm>
            <a:custGeom>
              <a:avLst/>
              <a:gdLst>
                <a:gd name="T0" fmla="*/ 276 w 291"/>
                <a:gd name="T1" fmla="*/ 240 h 462"/>
                <a:gd name="T2" fmla="*/ 276 w 291"/>
                <a:gd name="T3" fmla="*/ 228 h 462"/>
                <a:gd name="T4" fmla="*/ 261 w 291"/>
                <a:gd name="T5" fmla="*/ 225 h 462"/>
                <a:gd name="T6" fmla="*/ 243 w 291"/>
                <a:gd name="T7" fmla="*/ 225 h 462"/>
                <a:gd name="T8" fmla="*/ 234 w 291"/>
                <a:gd name="T9" fmla="*/ 222 h 462"/>
                <a:gd name="T10" fmla="*/ 216 w 291"/>
                <a:gd name="T11" fmla="*/ 228 h 462"/>
                <a:gd name="T12" fmla="*/ 201 w 291"/>
                <a:gd name="T13" fmla="*/ 243 h 462"/>
                <a:gd name="T14" fmla="*/ 201 w 291"/>
                <a:gd name="T15" fmla="*/ 225 h 462"/>
                <a:gd name="T16" fmla="*/ 183 w 291"/>
                <a:gd name="T17" fmla="*/ 237 h 462"/>
                <a:gd name="T18" fmla="*/ 174 w 291"/>
                <a:gd name="T19" fmla="*/ 240 h 462"/>
                <a:gd name="T20" fmla="*/ 165 w 291"/>
                <a:gd name="T21" fmla="*/ 240 h 462"/>
                <a:gd name="T22" fmla="*/ 150 w 291"/>
                <a:gd name="T23" fmla="*/ 249 h 462"/>
                <a:gd name="T24" fmla="*/ 138 w 291"/>
                <a:gd name="T25" fmla="*/ 258 h 462"/>
                <a:gd name="T26" fmla="*/ 129 w 291"/>
                <a:gd name="T27" fmla="*/ 264 h 462"/>
                <a:gd name="T28" fmla="*/ 111 w 291"/>
                <a:gd name="T29" fmla="*/ 267 h 462"/>
                <a:gd name="T30" fmla="*/ 105 w 291"/>
                <a:gd name="T31" fmla="*/ 279 h 462"/>
                <a:gd name="T32" fmla="*/ 129 w 291"/>
                <a:gd name="T33" fmla="*/ 279 h 462"/>
                <a:gd name="T34" fmla="*/ 111 w 291"/>
                <a:gd name="T35" fmla="*/ 291 h 462"/>
                <a:gd name="T36" fmla="*/ 87 w 291"/>
                <a:gd name="T37" fmla="*/ 318 h 462"/>
                <a:gd name="T38" fmla="*/ 69 w 291"/>
                <a:gd name="T39" fmla="*/ 339 h 462"/>
                <a:gd name="T40" fmla="*/ 57 w 291"/>
                <a:gd name="T41" fmla="*/ 360 h 462"/>
                <a:gd name="T42" fmla="*/ 36 w 291"/>
                <a:gd name="T43" fmla="*/ 372 h 462"/>
                <a:gd name="T44" fmla="*/ 15 w 291"/>
                <a:gd name="T45" fmla="*/ 387 h 462"/>
                <a:gd name="T46" fmla="*/ 6 w 291"/>
                <a:gd name="T47" fmla="*/ 402 h 462"/>
                <a:gd name="T48" fmla="*/ 3 w 291"/>
                <a:gd name="T49" fmla="*/ 423 h 462"/>
                <a:gd name="T50" fmla="*/ 12 w 291"/>
                <a:gd name="T51" fmla="*/ 432 h 462"/>
                <a:gd name="T52" fmla="*/ 9 w 291"/>
                <a:gd name="T53" fmla="*/ 438 h 462"/>
                <a:gd name="T54" fmla="*/ 21 w 291"/>
                <a:gd name="T55" fmla="*/ 456 h 462"/>
                <a:gd name="T56" fmla="*/ 66 w 291"/>
                <a:gd name="T57" fmla="*/ 435 h 462"/>
                <a:gd name="T58" fmla="*/ 78 w 291"/>
                <a:gd name="T59" fmla="*/ 438 h 462"/>
                <a:gd name="T60" fmla="*/ 87 w 291"/>
                <a:gd name="T61" fmla="*/ 411 h 462"/>
                <a:gd name="T62" fmla="*/ 84 w 291"/>
                <a:gd name="T63" fmla="*/ 375 h 462"/>
                <a:gd name="T64" fmla="*/ 102 w 291"/>
                <a:gd name="T65" fmla="*/ 351 h 462"/>
                <a:gd name="T66" fmla="*/ 117 w 291"/>
                <a:gd name="T67" fmla="*/ 318 h 462"/>
                <a:gd name="T68" fmla="*/ 132 w 291"/>
                <a:gd name="T69" fmla="*/ 288 h 462"/>
                <a:gd name="T70" fmla="*/ 162 w 291"/>
                <a:gd name="T71" fmla="*/ 273 h 462"/>
                <a:gd name="T72" fmla="*/ 186 w 291"/>
                <a:gd name="T73" fmla="*/ 258 h 462"/>
                <a:gd name="T74" fmla="*/ 225 w 291"/>
                <a:gd name="T75" fmla="*/ 270 h 462"/>
                <a:gd name="T76" fmla="*/ 249 w 291"/>
                <a:gd name="T77" fmla="*/ 243 h 462"/>
                <a:gd name="T78" fmla="*/ 276 w 291"/>
                <a:gd name="T79" fmla="*/ 255 h 462"/>
                <a:gd name="T80" fmla="*/ 81 w 291"/>
                <a:gd name="T81" fmla="*/ 33 h 462"/>
                <a:gd name="T82" fmla="*/ 108 w 291"/>
                <a:gd name="T83" fmla="*/ 48 h 462"/>
                <a:gd name="T84" fmla="*/ 129 w 291"/>
                <a:gd name="T85" fmla="*/ 54 h 462"/>
                <a:gd name="T86" fmla="*/ 132 w 291"/>
                <a:gd name="T87" fmla="*/ 69 h 462"/>
                <a:gd name="T88" fmla="*/ 111 w 291"/>
                <a:gd name="T89" fmla="*/ 87 h 462"/>
                <a:gd name="T90" fmla="*/ 132 w 291"/>
                <a:gd name="T91" fmla="*/ 96 h 462"/>
                <a:gd name="T92" fmla="*/ 159 w 291"/>
                <a:gd name="T93" fmla="*/ 51 h 462"/>
                <a:gd name="T94" fmla="*/ 180 w 291"/>
                <a:gd name="T95" fmla="*/ 63 h 462"/>
                <a:gd name="T96" fmla="*/ 210 w 291"/>
                <a:gd name="T97" fmla="*/ 75 h 462"/>
                <a:gd name="T98" fmla="*/ 201 w 291"/>
                <a:gd name="T99" fmla="*/ 60 h 462"/>
                <a:gd name="T100" fmla="*/ 177 w 291"/>
                <a:gd name="T101" fmla="*/ 39 h 462"/>
                <a:gd name="T102" fmla="*/ 150 w 291"/>
                <a:gd name="T103" fmla="*/ 24 h 462"/>
                <a:gd name="T104" fmla="*/ 126 w 291"/>
                <a:gd name="T105" fmla="*/ 12 h 462"/>
                <a:gd name="T106" fmla="*/ 117 w 291"/>
                <a:gd name="T107" fmla="*/ 24 h 462"/>
                <a:gd name="T108" fmla="*/ 93 w 291"/>
                <a:gd name="T109" fmla="*/ 24 h 462"/>
                <a:gd name="T110" fmla="*/ 78 w 291"/>
                <a:gd name="T111" fmla="*/ 18 h 462"/>
                <a:gd name="T112" fmla="*/ 72 w 291"/>
                <a:gd name="T113" fmla="*/ 54 h 462"/>
                <a:gd name="T114" fmla="*/ 72 w 291"/>
                <a:gd name="T115" fmla="*/ 54 h 462"/>
                <a:gd name="T116" fmla="*/ 168 w 291"/>
                <a:gd name="T117" fmla="*/ 27 h 462"/>
                <a:gd name="T118" fmla="*/ 234 w 291"/>
                <a:gd name="T119" fmla="*/ 24 h 462"/>
                <a:gd name="T120" fmla="*/ 204 w 291"/>
                <a:gd name="T121" fmla="*/ 9 h 462"/>
                <a:gd name="T122" fmla="*/ 177 w 291"/>
                <a:gd name="T123" fmla="*/ 6 h 462"/>
                <a:gd name="T124" fmla="*/ 159 w 291"/>
                <a:gd name="T125" fmla="*/ 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462">
                  <a:moveTo>
                    <a:pt x="282" y="246"/>
                  </a:moveTo>
                  <a:cubicBezTo>
                    <a:pt x="282" y="249"/>
                    <a:pt x="279" y="249"/>
                    <a:pt x="279" y="246"/>
                  </a:cubicBezTo>
                  <a:cubicBezTo>
                    <a:pt x="279" y="243"/>
                    <a:pt x="270" y="240"/>
                    <a:pt x="270" y="240"/>
                  </a:cubicBezTo>
                  <a:cubicBezTo>
                    <a:pt x="270" y="240"/>
                    <a:pt x="273" y="240"/>
                    <a:pt x="276" y="240"/>
                  </a:cubicBezTo>
                  <a:cubicBezTo>
                    <a:pt x="279" y="243"/>
                    <a:pt x="282" y="240"/>
                    <a:pt x="285" y="237"/>
                  </a:cubicBezTo>
                  <a:cubicBezTo>
                    <a:pt x="288" y="234"/>
                    <a:pt x="291" y="237"/>
                    <a:pt x="291" y="234"/>
                  </a:cubicBezTo>
                  <a:cubicBezTo>
                    <a:pt x="285" y="231"/>
                    <a:pt x="285" y="231"/>
                    <a:pt x="285" y="231"/>
                  </a:cubicBezTo>
                  <a:cubicBezTo>
                    <a:pt x="285" y="228"/>
                    <a:pt x="282" y="225"/>
                    <a:pt x="276" y="228"/>
                  </a:cubicBezTo>
                  <a:cubicBezTo>
                    <a:pt x="273" y="228"/>
                    <a:pt x="273" y="225"/>
                    <a:pt x="270" y="225"/>
                  </a:cubicBezTo>
                  <a:cubicBezTo>
                    <a:pt x="270" y="222"/>
                    <a:pt x="261" y="225"/>
                    <a:pt x="261" y="231"/>
                  </a:cubicBezTo>
                  <a:cubicBezTo>
                    <a:pt x="261" y="234"/>
                    <a:pt x="258" y="234"/>
                    <a:pt x="258" y="231"/>
                  </a:cubicBezTo>
                  <a:cubicBezTo>
                    <a:pt x="261" y="228"/>
                    <a:pt x="258" y="225"/>
                    <a:pt x="261" y="225"/>
                  </a:cubicBezTo>
                  <a:cubicBezTo>
                    <a:pt x="264" y="225"/>
                    <a:pt x="261" y="219"/>
                    <a:pt x="255" y="219"/>
                  </a:cubicBezTo>
                  <a:cubicBezTo>
                    <a:pt x="249" y="219"/>
                    <a:pt x="249" y="222"/>
                    <a:pt x="249" y="225"/>
                  </a:cubicBezTo>
                  <a:cubicBezTo>
                    <a:pt x="252" y="225"/>
                    <a:pt x="246" y="234"/>
                    <a:pt x="243" y="234"/>
                  </a:cubicBezTo>
                  <a:cubicBezTo>
                    <a:pt x="240" y="234"/>
                    <a:pt x="243" y="228"/>
                    <a:pt x="243" y="225"/>
                  </a:cubicBezTo>
                  <a:cubicBezTo>
                    <a:pt x="243" y="222"/>
                    <a:pt x="240" y="222"/>
                    <a:pt x="234" y="228"/>
                  </a:cubicBezTo>
                  <a:cubicBezTo>
                    <a:pt x="231" y="234"/>
                    <a:pt x="228" y="237"/>
                    <a:pt x="225" y="237"/>
                  </a:cubicBezTo>
                  <a:cubicBezTo>
                    <a:pt x="222" y="240"/>
                    <a:pt x="222" y="234"/>
                    <a:pt x="228" y="231"/>
                  </a:cubicBezTo>
                  <a:cubicBezTo>
                    <a:pt x="231" y="228"/>
                    <a:pt x="231" y="222"/>
                    <a:pt x="234" y="222"/>
                  </a:cubicBezTo>
                  <a:cubicBezTo>
                    <a:pt x="237" y="222"/>
                    <a:pt x="237" y="219"/>
                    <a:pt x="234" y="219"/>
                  </a:cubicBezTo>
                  <a:cubicBezTo>
                    <a:pt x="228" y="216"/>
                    <a:pt x="228" y="222"/>
                    <a:pt x="225" y="222"/>
                  </a:cubicBezTo>
                  <a:cubicBezTo>
                    <a:pt x="225" y="225"/>
                    <a:pt x="219" y="222"/>
                    <a:pt x="219" y="222"/>
                  </a:cubicBezTo>
                  <a:cubicBezTo>
                    <a:pt x="219" y="225"/>
                    <a:pt x="216" y="225"/>
                    <a:pt x="216" y="228"/>
                  </a:cubicBezTo>
                  <a:cubicBezTo>
                    <a:pt x="219" y="228"/>
                    <a:pt x="216" y="231"/>
                    <a:pt x="213" y="228"/>
                  </a:cubicBezTo>
                  <a:cubicBezTo>
                    <a:pt x="213" y="225"/>
                    <a:pt x="207" y="228"/>
                    <a:pt x="207" y="231"/>
                  </a:cubicBezTo>
                  <a:cubicBezTo>
                    <a:pt x="204" y="234"/>
                    <a:pt x="201" y="234"/>
                    <a:pt x="204" y="234"/>
                  </a:cubicBezTo>
                  <a:cubicBezTo>
                    <a:pt x="204" y="237"/>
                    <a:pt x="204" y="240"/>
                    <a:pt x="201" y="243"/>
                  </a:cubicBezTo>
                  <a:cubicBezTo>
                    <a:pt x="198" y="243"/>
                    <a:pt x="201" y="234"/>
                    <a:pt x="198" y="234"/>
                  </a:cubicBezTo>
                  <a:cubicBezTo>
                    <a:pt x="195" y="234"/>
                    <a:pt x="198" y="231"/>
                    <a:pt x="201" y="231"/>
                  </a:cubicBezTo>
                  <a:cubicBezTo>
                    <a:pt x="204" y="231"/>
                    <a:pt x="207" y="225"/>
                    <a:pt x="207" y="225"/>
                  </a:cubicBezTo>
                  <a:cubicBezTo>
                    <a:pt x="207" y="222"/>
                    <a:pt x="201" y="222"/>
                    <a:pt x="201" y="225"/>
                  </a:cubicBezTo>
                  <a:cubicBezTo>
                    <a:pt x="201" y="228"/>
                    <a:pt x="198" y="228"/>
                    <a:pt x="192" y="228"/>
                  </a:cubicBezTo>
                  <a:cubicBezTo>
                    <a:pt x="189" y="228"/>
                    <a:pt x="189" y="231"/>
                    <a:pt x="195" y="234"/>
                  </a:cubicBezTo>
                  <a:cubicBezTo>
                    <a:pt x="198" y="237"/>
                    <a:pt x="192" y="240"/>
                    <a:pt x="192" y="237"/>
                  </a:cubicBezTo>
                  <a:cubicBezTo>
                    <a:pt x="189" y="234"/>
                    <a:pt x="186" y="237"/>
                    <a:pt x="183" y="237"/>
                  </a:cubicBezTo>
                  <a:cubicBezTo>
                    <a:pt x="180" y="237"/>
                    <a:pt x="189" y="240"/>
                    <a:pt x="189" y="243"/>
                  </a:cubicBezTo>
                  <a:cubicBezTo>
                    <a:pt x="189" y="243"/>
                    <a:pt x="183" y="240"/>
                    <a:pt x="183" y="243"/>
                  </a:cubicBezTo>
                  <a:cubicBezTo>
                    <a:pt x="183" y="243"/>
                    <a:pt x="177" y="240"/>
                    <a:pt x="177" y="237"/>
                  </a:cubicBezTo>
                  <a:cubicBezTo>
                    <a:pt x="177" y="237"/>
                    <a:pt x="168" y="240"/>
                    <a:pt x="174" y="240"/>
                  </a:cubicBezTo>
                  <a:cubicBezTo>
                    <a:pt x="177" y="243"/>
                    <a:pt x="177" y="243"/>
                    <a:pt x="177" y="249"/>
                  </a:cubicBezTo>
                  <a:cubicBezTo>
                    <a:pt x="177" y="252"/>
                    <a:pt x="171" y="249"/>
                    <a:pt x="171" y="246"/>
                  </a:cubicBezTo>
                  <a:cubicBezTo>
                    <a:pt x="174" y="243"/>
                    <a:pt x="168" y="243"/>
                    <a:pt x="165" y="246"/>
                  </a:cubicBezTo>
                  <a:cubicBezTo>
                    <a:pt x="162" y="246"/>
                    <a:pt x="168" y="240"/>
                    <a:pt x="165" y="240"/>
                  </a:cubicBezTo>
                  <a:cubicBezTo>
                    <a:pt x="165" y="237"/>
                    <a:pt x="162" y="240"/>
                    <a:pt x="156" y="240"/>
                  </a:cubicBezTo>
                  <a:cubicBezTo>
                    <a:pt x="153" y="240"/>
                    <a:pt x="153" y="240"/>
                    <a:pt x="153" y="243"/>
                  </a:cubicBezTo>
                  <a:cubicBezTo>
                    <a:pt x="156" y="246"/>
                    <a:pt x="156" y="249"/>
                    <a:pt x="153" y="249"/>
                  </a:cubicBezTo>
                  <a:cubicBezTo>
                    <a:pt x="150" y="246"/>
                    <a:pt x="150" y="249"/>
                    <a:pt x="150" y="249"/>
                  </a:cubicBezTo>
                  <a:cubicBezTo>
                    <a:pt x="150" y="252"/>
                    <a:pt x="147" y="252"/>
                    <a:pt x="147" y="252"/>
                  </a:cubicBezTo>
                  <a:cubicBezTo>
                    <a:pt x="144" y="249"/>
                    <a:pt x="141" y="249"/>
                    <a:pt x="138" y="252"/>
                  </a:cubicBezTo>
                  <a:cubicBezTo>
                    <a:pt x="135" y="255"/>
                    <a:pt x="132" y="255"/>
                    <a:pt x="132" y="258"/>
                  </a:cubicBezTo>
                  <a:cubicBezTo>
                    <a:pt x="132" y="261"/>
                    <a:pt x="135" y="258"/>
                    <a:pt x="138" y="258"/>
                  </a:cubicBezTo>
                  <a:cubicBezTo>
                    <a:pt x="141" y="261"/>
                    <a:pt x="138" y="261"/>
                    <a:pt x="141" y="264"/>
                  </a:cubicBezTo>
                  <a:cubicBezTo>
                    <a:pt x="141" y="267"/>
                    <a:pt x="141" y="267"/>
                    <a:pt x="141" y="267"/>
                  </a:cubicBezTo>
                  <a:cubicBezTo>
                    <a:pt x="138" y="264"/>
                    <a:pt x="135" y="264"/>
                    <a:pt x="135" y="267"/>
                  </a:cubicBezTo>
                  <a:cubicBezTo>
                    <a:pt x="132" y="270"/>
                    <a:pt x="132" y="267"/>
                    <a:pt x="129" y="264"/>
                  </a:cubicBezTo>
                  <a:cubicBezTo>
                    <a:pt x="126" y="261"/>
                    <a:pt x="126" y="267"/>
                    <a:pt x="123" y="267"/>
                  </a:cubicBezTo>
                  <a:cubicBezTo>
                    <a:pt x="120" y="264"/>
                    <a:pt x="126" y="261"/>
                    <a:pt x="126" y="258"/>
                  </a:cubicBezTo>
                  <a:cubicBezTo>
                    <a:pt x="123" y="255"/>
                    <a:pt x="123" y="258"/>
                    <a:pt x="120" y="264"/>
                  </a:cubicBezTo>
                  <a:cubicBezTo>
                    <a:pt x="114" y="267"/>
                    <a:pt x="111" y="267"/>
                    <a:pt x="111" y="267"/>
                  </a:cubicBezTo>
                  <a:cubicBezTo>
                    <a:pt x="114" y="270"/>
                    <a:pt x="108" y="270"/>
                    <a:pt x="108" y="273"/>
                  </a:cubicBezTo>
                  <a:cubicBezTo>
                    <a:pt x="105" y="276"/>
                    <a:pt x="99" y="279"/>
                    <a:pt x="93" y="282"/>
                  </a:cubicBezTo>
                  <a:cubicBezTo>
                    <a:pt x="87" y="285"/>
                    <a:pt x="93" y="285"/>
                    <a:pt x="96" y="282"/>
                  </a:cubicBezTo>
                  <a:cubicBezTo>
                    <a:pt x="99" y="279"/>
                    <a:pt x="102" y="282"/>
                    <a:pt x="105" y="279"/>
                  </a:cubicBezTo>
                  <a:cubicBezTo>
                    <a:pt x="111" y="276"/>
                    <a:pt x="114" y="273"/>
                    <a:pt x="117" y="273"/>
                  </a:cubicBezTo>
                  <a:cubicBezTo>
                    <a:pt x="117" y="276"/>
                    <a:pt x="120" y="276"/>
                    <a:pt x="123" y="273"/>
                  </a:cubicBezTo>
                  <a:cubicBezTo>
                    <a:pt x="126" y="270"/>
                    <a:pt x="129" y="270"/>
                    <a:pt x="129" y="273"/>
                  </a:cubicBezTo>
                  <a:cubicBezTo>
                    <a:pt x="132" y="273"/>
                    <a:pt x="126" y="276"/>
                    <a:pt x="129" y="279"/>
                  </a:cubicBezTo>
                  <a:cubicBezTo>
                    <a:pt x="132" y="282"/>
                    <a:pt x="126" y="282"/>
                    <a:pt x="126" y="279"/>
                  </a:cubicBezTo>
                  <a:cubicBezTo>
                    <a:pt x="126" y="279"/>
                    <a:pt x="123" y="276"/>
                    <a:pt x="120" y="279"/>
                  </a:cubicBezTo>
                  <a:cubicBezTo>
                    <a:pt x="117" y="282"/>
                    <a:pt x="117" y="282"/>
                    <a:pt x="117" y="282"/>
                  </a:cubicBezTo>
                  <a:cubicBezTo>
                    <a:pt x="114" y="282"/>
                    <a:pt x="111" y="288"/>
                    <a:pt x="111" y="291"/>
                  </a:cubicBezTo>
                  <a:cubicBezTo>
                    <a:pt x="111" y="294"/>
                    <a:pt x="108" y="291"/>
                    <a:pt x="108" y="294"/>
                  </a:cubicBezTo>
                  <a:cubicBezTo>
                    <a:pt x="108" y="297"/>
                    <a:pt x="102" y="303"/>
                    <a:pt x="96" y="309"/>
                  </a:cubicBezTo>
                  <a:cubicBezTo>
                    <a:pt x="93" y="312"/>
                    <a:pt x="96" y="315"/>
                    <a:pt x="96" y="318"/>
                  </a:cubicBezTo>
                  <a:cubicBezTo>
                    <a:pt x="93" y="321"/>
                    <a:pt x="87" y="318"/>
                    <a:pt x="87" y="318"/>
                  </a:cubicBezTo>
                  <a:cubicBezTo>
                    <a:pt x="84" y="321"/>
                    <a:pt x="87" y="327"/>
                    <a:pt x="84" y="330"/>
                  </a:cubicBezTo>
                  <a:cubicBezTo>
                    <a:pt x="81" y="330"/>
                    <a:pt x="84" y="333"/>
                    <a:pt x="84" y="336"/>
                  </a:cubicBezTo>
                  <a:cubicBezTo>
                    <a:pt x="84" y="339"/>
                    <a:pt x="78" y="336"/>
                    <a:pt x="78" y="336"/>
                  </a:cubicBezTo>
                  <a:cubicBezTo>
                    <a:pt x="78" y="339"/>
                    <a:pt x="72" y="339"/>
                    <a:pt x="69" y="339"/>
                  </a:cubicBezTo>
                  <a:cubicBezTo>
                    <a:pt x="69" y="342"/>
                    <a:pt x="72" y="345"/>
                    <a:pt x="75" y="348"/>
                  </a:cubicBezTo>
                  <a:cubicBezTo>
                    <a:pt x="78" y="348"/>
                    <a:pt x="72" y="351"/>
                    <a:pt x="72" y="348"/>
                  </a:cubicBezTo>
                  <a:cubicBezTo>
                    <a:pt x="72" y="345"/>
                    <a:pt x="69" y="351"/>
                    <a:pt x="63" y="351"/>
                  </a:cubicBezTo>
                  <a:cubicBezTo>
                    <a:pt x="57" y="354"/>
                    <a:pt x="60" y="360"/>
                    <a:pt x="57" y="360"/>
                  </a:cubicBezTo>
                  <a:cubicBezTo>
                    <a:pt x="51" y="360"/>
                    <a:pt x="54" y="366"/>
                    <a:pt x="51" y="369"/>
                  </a:cubicBezTo>
                  <a:cubicBezTo>
                    <a:pt x="48" y="369"/>
                    <a:pt x="48" y="363"/>
                    <a:pt x="45" y="363"/>
                  </a:cubicBezTo>
                  <a:cubicBezTo>
                    <a:pt x="39" y="363"/>
                    <a:pt x="39" y="366"/>
                    <a:pt x="42" y="369"/>
                  </a:cubicBezTo>
                  <a:cubicBezTo>
                    <a:pt x="45" y="372"/>
                    <a:pt x="39" y="369"/>
                    <a:pt x="36" y="372"/>
                  </a:cubicBezTo>
                  <a:cubicBezTo>
                    <a:pt x="33" y="375"/>
                    <a:pt x="27" y="375"/>
                    <a:pt x="27" y="378"/>
                  </a:cubicBezTo>
                  <a:cubicBezTo>
                    <a:pt x="24" y="381"/>
                    <a:pt x="30" y="381"/>
                    <a:pt x="33" y="381"/>
                  </a:cubicBezTo>
                  <a:cubicBezTo>
                    <a:pt x="33" y="384"/>
                    <a:pt x="27" y="384"/>
                    <a:pt x="21" y="381"/>
                  </a:cubicBezTo>
                  <a:cubicBezTo>
                    <a:pt x="18" y="381"/>
                    <a:pt x="18" y="387"/>
                    <a:pt x="15" y="387"/>
                  </a:cubicBezTo>
                  <a:cubicBezTo>
                    <a:pt x="12" y="384"/>
                    <a:pt x="9" y="390"/>
                    <a:pt x="12" y="390"/>
                  </a:cubicBezTo>
                  <a:cubicBezTo>
                    <a:pt x="12" y="393"/>
                    <a:pt x="9" y="393"/>
                    <a:pt x="6" y="393"/>
                  </a:cubicBezTo>
                  <a:cubicBezTo>
                    <a:pt x="3" y="390"/>
                    <a:pt x="3" y="396"/>
                    <a:pt x="0" y="396"/>
                  </a:cubicBezTo>
                  <a:cubicBezTo>
                    <a:pt x="0" y="399"/>
                    <a:pt x="6" y="402"/>
                    <a:pt x="6" y="402"/>
                  </a:cubicBezTo>
                  <a:cubicBezTo>
                    <a:pt x="6" y="405"/>
                    <a:pt x="0" y="408"/>
                    <a:pt x="3" y="408"/>
                  </a:cubicBezTo>
                  <a:cubicBezTo>
                    <a:pt x="6" y="408"/>
                    <a:pt x="6" y="411"/>
                    <a:pt x="3" y="411"/>
                  </a:cubicBezTo>
                  <a:cubicBezTo>
                    <a:pt x="0" y="411"/>
                    <a:pt x="0" y="414"/>
                    <a:pt x="3" y="417"/>
                  </a:cubicBezTo>
                  <a:cubicBezTo>
                    <a:pt x="6" y="420"/>
                    <a:pt x="0" y="420"/>
                    <a:pt x="3" y="423"/>
                  </a:cubicBezTo>
                  <a:cubicBezTo>
                    <a:pt x="6" y="426"/>
                    <a:pt x="6" y="423"/>
                    <a:pt x="9" y="426"/>
                  </a:cubicBezTo>
                  <a:cubicBezTo>
                    <a:pt x="9" y="429"/>
                    <a:pt x="12" y="426"/>
                    <a:pt x="15" y="423"/>
                  </a:cubicBezTo>
                  <a:cubicBezTo>
                    <a:pt x="21" y="420"/>
                    <a:pt x="21" y="426"/>
                    <a:pt x="18" y="426"/>
                  </a:cubicBezTo>
                  <a:cubicBezTo>
                    <a:pt x="15" y="426"/>
                    <a:pt x="12" y="429"/>
                    <a:pt x="12" y="432"/>
                  </a:cubicBezTo>
                  <a:cubicBezTo>
                    <a:pt x="12" y="435"/>
                    <a:pt x="9" y="432"/>
                    <a:pt x="9" y="429"/>
                  </a:cubicBezTo>
                  <a:cubicBezTo>
                    <a:pt x="9" y="426"/>
                    <a:pt x="3" y="429"/>
                    <a:pt x="3" y="432"/>
                  </a:cubicBezTo>
                  <a:cubicBezTo>
                    <a:pt x="6" y="435"/>
                    <a:pt x="3" y="438"/>
                    <a:pt x="3" y="438"/>
                  </a:cubicBezTo>
                  <a:cubicBezTo>
                    <a:pt x="3" y="441"/>
                    <a:pt x="9" y="441"/>
                    <a:pt x="9" y="438"/>
                  </a:cubicBezTo>
                  <a:cubicBezTo>
                    <a:pt x="12" y="435"/>
                    <a:pt x="15" y="435"/>
                    <a:pt x="15" y="438"/>
                  </a:cubicBezTo>
                  <a:cubicBezTo>
                    <a:pt x="18" y="441"/>
                    <a:pt x="12" y="441"/>
                    <a:pt x="12" y="444"/>
                  </a:cubicBezTo>
                  <a:cubicBezTo>
                    <a:pt x="12" y="447"/>
                    <a:pt x="9" y="444"/>
                    <a:pt x="9" y="447"/>
                  </a:cubicBezTo>
                  <a:cubicBezTo>
                    <a:pt x="6" y="450"/>
                    <a:pt x="18" y="456"/>
                    <a:pt x="21" y="456"/>
                  </a:cubicBezTo>
                  <a:cubicBezTo>
                    <a:pt x="24" y="456"/>
                    <a:pt x="27" y="462"/>
                    <a:pt x="33" y="459"/>
                  </a:cubicBezTo>
                  <a:cubicBezTo>
                    <a:pt x="39" y="459"/>
                    <a:pt x="51" y="447"/>
                    <a:pt x="54" y="444"/>
                  </a:cubicBezTo>
                  <a:cubicBezTo>
                    <a:pt x="57" y="441"/>
                    <a:pt x="60" y="444"/>
                    <a:pt x="63" y="444"/>
                  </a:cubicBezTo>
                  <a:cubicBezTo>
                    <a:pt x="63" y="441"/>
                    <a:pt x="63" y="435"/>
                    <a:pt x="66" y="435"/>
                  </a:cubicBezTo>
                  <a:cubicBezTo>
                    <a:pt x="69" y="441"/>
                    <a:pt x="69" y="441"/>
                    <a:pt x="69" y="441"/>
                  </a:cubicBezTo>
                  <a:cubicBezTo>
                    <a:pt x="72" y="441"/>
                    <a:pt x="72" y="444"/>
                    <a:pt x="72" y="447"/>
                  </a:cubicBezTo>
                  <a:cubicBezTo>
                    <a:pt x="75" y="447"/>
                    <a:pt x="75" y="447"/>
                    <a:pt x="75" y="447"/>
                  </a:cubicBezTo>
                  <a:cubicBezTo>
                    <a:pt x="78" y="447"/>
                    <a:pt x="78" y="441"/>
                    <a:pt x="78" y="438"/>
                  </a:cubicBezTo>
                  <a:cubicBezTo>
                    <a:pt x="78" y="438"/>
                    <a:pt x="81" y="432"/>
                    <a:pt x="81" y="429"/>
                  </a:cubicBezTo>
                  <a:cubicBezTo>
                    <a:pt x="78" y="426"/>
                    <a:pt x="87" y="429"/>
                    <a:pt x="87" y="426"/>
                  </a:cubicBezTo>
                  <a:cubicBezTo>
                    <a:pt x="87" y="426"/>
                    <a:pt x="90" y="417"/>
                    <a:pt x="87" y="417"/>
                  </a:cubicBezTo>
                  <a:cubicBezTo>
                    <a:pt x="84" y="414"/>
                    <a:pt x="84" y="411"/>
                    <a:pt x="87" y="411"/>
                  </a:cubicBezTo>
                  <a:cubicBezTo>
                    <a:pt x="87" y="411"/>
                    <a:pt x="90" y="411"/>
                    <a:pt x="90" y="405"/>
                  </a:cubicBezTo>
                  <a:cubicBezTo>
                    <a:pt x="90" y="402"/>
                    <a:pt x="84" y="402"/>
                    <a:pt x="84" y="396"/>
                  </a:cubicBezTo>
                  <a:cubicBezTo>
                    <a:pt x="81" y="393"/>
                    <a:pt x="87" y="393"/>
                    <a:pt x="84" y="387"/>
                  </a:cubicBezTo>
                  <a:cubicBezTo>
                    <a:pt x="81" y="381"/>
                    <a:pt x="84" y="378"/>
                    <a:pt x="84" y="375"/>
                  </a:cubicBezTo>
                  <a:cubicBezTo>
                    <a:pt x="81" y="372"/>
                    <a:pt x="81" y="369"/>
                    <a:pt x="84" y="363"/>
                  </a:cubicBezTo>
                  <a:cubicBezTo>
                    <a:pt x="87" y="360"/>
                    <a:pt x="93" y="357"/>
                    <a:pt x="96" y="357"/>
                  </a:cubicBezTo>
                  <a:cubicBezTo>
                    <a:pt x="99" y="357"/>
                    <a:pt x="102" y="360"/>
                    <a:pt x="102" y="357"/>
                  </a:cubicBezTo>
                  <a:cubicBezTo>
                    <a:pt x="105" y="354"/>
                    <a:pt x="105" y="351"/>
                    <a:pt x="102" y="351"/>
                  </a:cubicBezTo>
                  <a:cubicBezTo>
                    <a:pt x="102" y="348"/>
                    <a:pt x="96" y="348"/>
                    <a:pt x="102" y="345"/>
                  </a:cubicBezTo>
                  <a:cubicBezTo>
                    <a:pt x="105" y="339"/>
                    <a:pt x="108" y="333"/>
                    <a:pt x="108" y="330"/>
                  </a:cubicBezTo>
                  <a:cubicBezTo>
                    <a:pt x="108" y="324"/>
                    <a:pt x="108" y="321"/>
                    <a:pt x="108" y="318"/>
                  </a:cubicBezTo>
                  <a:cubicBezTo>
                    <a:pt x="111" y="318"/>
                    <a:pt x="114" y="318"/>
                    <a:pt x="117" y="318"/>
                  </a:cubicBezTo>
                  <a:cubicBezTo>
                    <a:pt x="120" y="315"/>
                    <a:pt x="117" y="312"/>
                    <a:pt x="120" y="309"/>
                  </a:cubicBezTo>
                  <a:cubicBezTo>
                    <a:pt x="120" y="309"/>
                    <a:pt x="123" y="303"/>
                    <a:pt x="126" y="303"/>
                  </a:cubicBezTo>
                  <a:cubicBezTo>
                    <a:pt x="126" y="300"/>
                    <a:pt x="129" y="297"/>
                    <a:pt x="129" y="297"/>
                  </a:cubicBezTo>
                  <a:cubicBezTo>
                    <a:pt x="126" y="294"/>
                    <a:pt x="132" y="291"/>
                    <a:pt x="132" y="288"/>
                  </a:cubicBezTo>
                  <a:cubicBezTo>
                    <a:pt x="132" y="285"/>
                    <a:pt x="135" y="282"/>
                    <a:pt x="141" y="282"/>
                  </a:cubicBezTo>
                  <a:cubicBezTo>
                    <a:pt x="144" y="282"/>
                    <a:pt x="147" y="282"/>
                    <a:pt x="147" y="279"/>
                  </a:cubicBezTo>
                  <a:cubicBezTo>
                    <a:pt x="147" y="276"/>
                    <a:pt x="147" y="267"/>
                    <a:pt x="150" y="270"/>
                  </a:cubicBezTo>
                  <a:cubicBezTo>
                    <a:pt x="156" y="273"/>
                    <a:pt x="159" y="270"/>
                    <a:pt x="162" y="273"/>
                  </a:cubicBezTo>
                  <a:cubicBezTo>
                    <a:pt x="165" y="276"/>
                    <a:pt x="171" y="276"/>
                    <a:pt x="171" y="270"/>
                  </a:cubicBezTo>
                  <a:cubicBezTo>
                    <a:pt x="171" y="267"/>
                    <a:pt x="171" y="258"/>
                    <a:pt x="177" y="261"/>
                  </a:cubicBezTo>
                  <a:cubicBezTo>
                    <a:pt x="177" y="261"/>
                    <a:pt x="177" y="261"/>
                    <a:pt x="177" y="261"/>
                  </a:cubicBezTo>
                  <a:cubicBezTo>
                    <a:pt x="180" y="258"/>
                    <a:pt x="183" y="258"/>
                    <a:pt x="186" y="258"/>
                  </a:cubicBezTo>
                  <a:cubicBezTo>
                    <a:pt x="189" y="258"/>
                    <a:pt x="192" y="264"/>
                    <a:pt x="198" y="267"/>
                  </a:cubicBezTo>
                  <a:cubicBezTo>
                    <a:pt x="204" y="267"/>
                    <a:pt x="207" y="270"/>
                    <a:pt x="210" y="267"/>
                  </a:cubicBezTo>
                  <a:cubicBezTo>
                    <a:pt x="210" y="264"/>
                    <a:pt x="216" y="267"/>
                    <a:pt x="219" y="267"/>
                  </a:cubicBezTo>
                  <a:cubicBezTo>
                    <a:pt x="222" y="267"/>
                    <a:pt x="222" y="273"/>
                    <a:pt x="225" y="270"/>
                  </a:cubicBezTo>
                  <a:cubicBezTo>
                    <a:pt x="228" y="264"/>
                    <a:pt x="225" y="261"/>
                    <a:pt x="231" y="261"/>
                  </a:cubicBezTo>
                  <a:cubicBezTo>
                    <a:pt x="234" y="264"/>
                    <a:pt x="231" y="255"/>
                    <a:pt x="231" y="252"/>
                  </a:cubicBezTo>
                  <a:cubicBezTo>
                    <a:pt x="231" y="249"/>
                    <a:pt x="240" y="249"/>
                    <a:pt x="240" y="246"/>
                  </a:cubicBezTo>
                  <a:cubicBezTo>
                    <a:pt x="240" y="243"/>
                    <a:pt x="249" y="246"/>
                    <a:pt x="249" y="243"/>
                  </a:cubicBezTo>
                  <a:cubicBezTo>
                    <a:pt x="252" y="240"/>
                    <a:pt x="258" y="240"/>
                    <a:pt x="258" y="243"/>
                  </a:cubicBezTo>
                  <a:cubicBezTo>
                    <a:pt x="261" y="246"/>
                    <a:pt x="270" y="246"/>
                    <a:pt x="270" y="249"/>
                  </a:cubicBezTo>
                  <a:cubicBezTo>
                    <a:pt x="270" y="252"/>
                    <a:pt x="270" y="255"/>
                    <a:pt x="270" y="258"/>
                  </a:cubicBezTo>
                  <a:cubicBezTo>
                    <a:pt x="273" y="255"/>
                    <a:pt x="273" y="255"/>
                    <a:pt x="276" y="255"/>
                  </a:cubicBezTo>
                  <a:cubicBezTo>
                    <a:pt x="279" y="255"/>
                    <a:pt x="282" y="249"/>
                    <a:pt x="285" y="249"/>
                  </a:cubicBezTo>
                  <a:cubicBezTo>
                    <a:pt x="288" y="249"/>
                    <a:pt x="291" y="249"/>
                    <a:pt x="291" y="246"/>
                  </a:cubicBezTo>
                  <a:cubicBezTo>
                    <a:pt x="288" y="243"/>
                    <a:pt x="282" y="243"/>
                    <a:pt x="282" y="246"/>
                  </a:cubicBezTo>
                  <a:close/>
                  <a:moveTo>
                    <a:pt x="81" y="33"/>
                  </a:moveTo>
                  <a:cubicBezTo>
                    <a:pt x="87" y="33"/>
                    <a:pt x="75" y="39"/>
                    <a:pt x="75" y="45"/>
                  </a:cubicBezTo>
                  <a:cubicBezTo>
                    <a:pt x="72" y="48"/>
                    <a:pt x="81" y="54"/>
                    <a:pt x="87" y="57"/>
                  </a:cubicBezTo>
                  <a:cubicBezTo>
                    <a:pt x="90" y="60"/>
                    <a:pt x="99" y="60"/>
                    <a:pt x="102" y="57"/>
                  </a:cubicBezTo>
                  <a:cubicBezTo>
                    <a:pt x="105" y="54"/>
                    <a:pt x="105" y="48"/>
                    <a:pt x="108" y="48"/>
                  </a:cubicBezTo>
                  <a:cubicBezTo>
                    <a:pt x="114" y="48"/>
                    <a:pt x="111" y="45"/>
                    <a:pt x="114" y="42"/>
                  </a:cubicBezTo>
                  <a:cubicBezTo>
                    <a:pt x="117" y="42"/>
                    <a:pt x="117" y="48"/>
                    <a:pt x="114" y="51"/>
                  </a:cubicBezTo>
                  <a:cubicBezTo>
                    <a:pt x="111" y="54"/>
                    <a:pt x="120" y="54"/>
                    <a:pt x="126" y="48"/>
                  </a:cubicBezTo>
                  <a:cubicBezTo>
                    <a:pt x="129" y="45"/>
                    <a:pt x="129" y="48"/>
                    <a:pt x="129" y="54"/>
                  </a:cubicBezTo>
                  <a:cubicBezTo>
                    <a:pt x="129" y="57"/>
                    <a:pt x="120" y="54"/>
                    <a:pt x="117" y="60"/>
                  </a:cubicBezTo>
                  <a:cubicBezTo>
                    <a:pt x="111" y="63"/>
                    <a:pt x="102" y="60"/>
                    <a:pt x="99" y="66"/>
                  </a:cubicBezTo>
                  <a:cubicBezTo>
                    <a:pt x="93" y="69"/>
                    <a:pt x="102" y="69"/>
                    <a:pt x="108" y="69"/>
                  </a:cubicBezTo>
                  <a:cubicBezTo>
                    <a:pt x="114" y="69"/>
                    <a:pt x="126" y="66"/>
                    <a:pt x="132" y="69"/>
                  </a:cubicBezTo>
                  <a:cubicBezTo>
                    <a:pt x="135" y="69"/>
                    <a:pt x="129" y="72"/>
                    <a:pt x="120" y="72"/>
                  </a:cubicBezTo>
                  <a:cubicBezTo>
                    <a:pt x="114" y="72"/>
                    <a:pt x="111" y="72"/>
                    <a:pt x="111" y="75"/>
                  </a:cubicBezTo>
                  <a:cubicBezTo>
                    <a:pt x="111" y="78"/>
                    <a:pt x="99" y="72"/>
                    <a:pt x="99" y="78"/>
                  </a:cubicBezTo>
                  <a:cubicBezTo>
                    <a:pt x="99" y="81"/>
                    <a:pt x="111" y="84"/>
                    <a:pt x="111" y="87"/>
                  </a:cubicBezTo>
                  <a:cubicBezTo>
                    <a:pt x="111" y="90"/>
                    <a:pt x="120" y="87"/>
                    <a:pt x="123" y="87"/>
                  </a:cubicBezTo>
                  <a:cubicBezTo>
                    <a:pt x="126" y="87"/>
                    <a:pt x="117" y="90"/>
                    <a:pt x="117" y="93"/>
                  </a:cubicBezTo>
                  <a:cubicBezTo>
                    <a:pt x="114" y="93"/>
                    <a:pt x="123" y="96"/>
                    <a:pt x="126" y="96"/>
                  </a:cubicBezTo>
                  <a:cubicBezTo>
                    <a:pt x="126" y="99"/>
                    <a:pt x="132" y="99"/>
                    <a:pt x="132" y="96"/>
                  </a:cubicBezTo>
                  <a:cubicBezTo>
                    <a:pt x="132" y="90"/>
                    <a:pt x="138" y="78"/>
                    <a:pt x="147" y="75"/>
                  </a:cubicBezTo>
                  <a:cubicBezTo>
                    <a:pt x="153" y="72"/>
                    <a:pt x="150" y="69"/>
                    <a:pt x="150" y="66"/>
                  </a:cubicBezTo>
                  <a:cubicBezTo>
                    <a:pt x="150" y="60"/>
                    <a:pt x="156" y="63"/>
                    <a:pt x="156" y="60"/>
                  </a:cubicBezTo>
                  <a:cubicBezTo>
                    <a:pt x="153" y="57"/>
                    <a:pt x="156" y="57"/>
                    <a:pt x="159" y="51"/>
                  </a:cubicBezTo>
                  <a:cubicBezTo>
                    <a:pt x="165" y="48"/>
                    <a:pt x="168" y="51"/>
                    <a:pt x="174" y="48"/>
                  </a:cubicBezTo>
                  <a:cubicBezTo>
                    <a:pt x="180" y="45"/>
                    <a:pt x="183" y="48"/>
                    <a:pt x="174" y="51"/>
                  </a:cubicBezTo>
                  <a:cubicBezTo>
                    <a:pt x="171" y="51"/>
                    <a:pt x="174" y="57"/>
                    <a:pt x="177" y="57"/>
                  </a:cubicBezTo>
                  <a:cubicBezTo>
                    <a:pt x="183" y="60"/>
                    <a:pt x="177" y="63"/>
                    <a:pt x="180" y="63"/>
                  </a:cubicBezTo>
                  <a:cubicBezTo>
                    <a:pt x="186" y="63"/>
                    <a:pt x="183" y="69"/>
                    <a:pt x="180" y="72"/>
                  </a:cubicBezTo>
                  <a:cubicBezTo>
                    <a:pt x="174" y="78"/>
                    <a:pt x="180" y="78"/>
                    <a:pt x="189" y="75"/>
                  </a:cubicBezTo>
                  <a:cubicBezTo>
                    <a:pt x="198" y="72"/>
                    <a:pt x="192" y="78"/>
                    <a:pt x="195" y="81"/>
                  </a:cubicBezTo>
                  <a:cubicBezTo>
                    <a:pt x="198" y="84"/>
                    <a:pt x="207" y="78"/>
                    <a:pt x="210" y="75"/>
                  </a:cubicBezTo>
                  <a:cubicBezTo>
                    <a:pt x="213" y="69"/>
                    <a:pt x="219" y="69"/>
                    <a:pt x="219" y="69"/>
                  </a:cubicBezTo>
                  <a:cubicBezTo>
                    <a:pt x="219" y="66"/>
                    <a:pt x="216" y="63"/>
                    <a:pt x="213" y="66"/>
                  </a:cubicBezTo>
                  <a:cubicBezTo>
                    <a:pt x="210" y="66"/>
                    <a:pt x="201" y="66"/>
                    <a:pt x="204" y="63"/>
                  </a:cubicBezTo>
                  <a:cubicBezTo>
                    <a:pt x="207" y="60"/>
                    <a:pt x="204" y="60"/>
                    <a:pt x="201" y="60"/>
                  </a:cubicBezTo>
                  <a:cubicBezTo>
                    <a:pt x="195" y="60"/>
                    <a:pt x="189" y="57"/>
                    <a:pt x="192" y="57"/>
                  </a:cubicBezTo>
                  <a:cubicBezTo>
                    <a:pt x="195" y="54"/>
                    <a:pt x="189" y="48"/>
                    <a:pt x="186" y="51"/>
                  </a:cubicBezTo>
                  <a:cubicBezTo>
                    <a:pt x="183" y="51"/>
                    <a:pt x="183" y="45"/>
                    <a:pt x="183" y="42"/>
                  </a:cubicBezTo>
                  <a:cubicBezTo>
                    <a:pt x="183" y="39"/>
                    <a:pt x="174" y="39"/>
                    <a:pt x="177" y="39"/>
                  </a:cubicBezTo>
                  <a:cubicBezTo>
                    <a:pt x="177" y="36"/>
                    <a:pt x="171" y="36"/>
                    <a:pt x="171" y="36"/>
                  </a:cubicBezTo>
                  <a:cubicBezTo>
                    <a:pt x="168" y="39"/>
                    <a:pt x="165" y="39"/>
                    <a:pt x="165" y="36"/>
                  </a:cubicBezTo>
                  <a:cubicBezTo>
                    <a:pt x="165" y="33"/>
                    <a:pt x="159" y="33"/>
                    <a:pt x="156" y="33"/>
                  </a:cubicBezTo>
                  <a:cubicBezTo>
                    <a:pt x="153" y="33"/>
                    <a:pt x="153" y="27"/>
                    <a:pt x="150" y="24"/>
                  </a:cubicBezTo>
                  <a:cubicBezTo>
                    <a:pt x="147" y="21"/>
                    <a:pt x="144" y="30"/>
                    <a:pt x="141" y="30"/>
                  </a:cubicBezTo>
                  <a:cubicBezTo>
                    <a:pt x="138" y="27"/>
                    <a:pt x="144" y="24"/>
                    <a:pt x="144" y="21"/>
                  </a:cubicBezTo>
                  <a:cubicBezTo>
                    <a:pt x="144" y="18"/>
                    <a:pt x="135" y="15"/>
                    <a:pt x="132" y="18"/>
                  </a:cubicBezTo>
                  <a:cubicBezTo>
                    <a:pt x="132" y="21"/>
                    <a:pt x="129" y="12"/>
                    <a:pt x="126" y="12"/>
                  </a:cubicBezTo>
                  <a:cubicBezTo>
                    <a:pt x="123" y="12"/>
                    <a:pt x="126" y="15"/>
                    <a:pt x="123" y="18"/>
                  </a:cubicBezTo>
                  <a:cubicBezTo>
                    <a:pt x="120" y="18"/>
                    <a:pt x="117" y="21"/>
                    <a:pt x="123" y="21"/>
                  </a:cubicBezTo>
                  <a:cubicBezTo>
                    <a:pt x="126" y="24"/>
                    <a:pt x="129" y="36"/>
                    <a:pt x="129" y="39"/>
                  </a:cubicBezTo>
                  <a:cubicBezTo>
                    <a:pt x="129" y="42"/>
                    <a:pt x="117" y="30"/>
                    <a:pt x="117" y="24"/>
                  </a:cubicBezTo>
                  <a:cubicBezTo>
                    <a:pt x="117" y="21"/>
                    <a:pt x="111" y="15"/>
                    <a:pt x="108" y="18"/>
                  </a:cubicBezTo>
                  <a:cubicBezTo>
                    <a:pt x="108" y="24"/>
                    <a:pt x="102" y="24"/>
                    <a:pt x="105" y="27"/>
                  </a:cubicBezTo>
                  <a:cubicBezTo>
                    <a:pt x="105" y="33"/>
                    <a:pt x="102" y="33"/>
                    <a:pt x="102" y="30"/>
                  </a:cubicBezTo>
                  <a:cubicBezTo>
                    <a:pt x="102" y="27"/>
                    <a:pt x="96" y="24"/>
                    <a:pt x="93" y="24"/>
                  </a:cubicBezTo>
                  <a:cubicBezTo>
                    <a:pt x="90" y="24"/>
                    <a:pt x="99" y="21"/>
                    <a:pt x="102" y="21"/>
                  </a:cubicBezTo>
                  <a:cubicBezTo>
                    <a:pt x="105" y="18"/>
                    <a:pt x="99" y="15"/>
                    <a:pt x="96" y="18"/>
                  </a:cubicBezTo>
                  <a:cubicBezTo>
                    <a:pt x="93" y="21"/>
                    <a:pt x="87" y="15"/>
                    <a:pt x="87" y="18"/>
                  </a:cubicBezTo>
                  <a:cubicBezTo>
                    <a:pt x="84" y="21"/>
                    <a:pt x="81" y="18"/>
                    <a:pt x="78" y="18"/>
                  </a:cubicBezTo>
                  <a:cubicBezTo>
                    <a:pt x="75" y="18"/>
                    <a:pt x="72" y="24"/>
                    <a:pt x="69" y="21"/>
                  </a:cubicBezTo>
                  <a:cubicBezTo>
                    <a:pt x="66" y="21"/>
                    <a:pt x="66" y="27"/>
                    <a:pt x="69" y="33"/>
                  </a:cubicBezTo>
                  <a:cubicBezTo>
                    <a:pt x="72" y="39"/>
                    <a:pt x="75" y="33"/>
                    <a:pt x="81" y="33"/>
                  </a:cubicBezTo>
                  <a:close/>
                  <a:moveTo>
                    <a:pt x="72" y="54"/>
                  </a:moveTo>
                  <a:cubicBezTo>
                    <a:pt x="75" y="54"/>
                    <a:pt x="75" y="60"/>
                    <a:pt x="78" y="57"/>
                  </a:cubicBezTo>
                  <a:cubicBezTo>
                    <a:pt x="81" y="57"/>
                    <a:pt x="75" y="51"/>
                    <a:pt x="72" y="48"/>
                  </a:cubicBezTo>
                  <a:cubicBezTo>
                    <a:pt x="69" y="45"/>
                    <a:pt x="69" y="42"/>
                    <a:pt x="63" y="42"/>
                  </a:cubicBezTo>
                  <a:cubicBezTo>
                    <a:pt x="60" y="45"/>
                    <a:pt x="69" y="51"/>
                    <a:pt x="72" y="54"/>
                  </a:cubicBezTo>
                  <a:close/>
                  <a:moveTo>
                    <a:pt x="150" y="12"/>
                  </a:moveTo>
                  <a:cubicBezTo>
                    <a:pt x="153" y="15"/>
                    <a:pt x="147" y="15"/>
                    <a:pt x="150" y="18"/>
                  </a:cubicBezTo>
                  <a:cubicBezTo>
                    <a:pt x="156" y="24"/>
                    <a:pt x="186" y="15"/>
                    <a:pt x="189" y="18"/>
                  </a:cubicBezTo>
                  <a:cubicBezTo>
                    <a:pt x="195" y="21"/>
                    <a:pt x="165" y="24"/>
                    <a:pt x="168" y="27"/>
                  </a:cubicBezTo>
                  <a:cubicBezTo>
                    <a:pt x="168" y="30"/>
                    <a:pt x="192" y="30"/>
                    <a:pt x="192" y="30"/>
                  </a:cubicBezTo>
                  <a:cubicBezTo>
                    <a:pt x="195" y="27"/>
                    <a:pt x="198" y="33"/>
                    <a:pt x="207" y="33"/>
                  </a:cubicBezTo>
                  <a:cubicBezTo>
                    <a:pt x="213" y="33"/>
                    <a:pt x="213" y="30"/>
                    <a:pt x="219" y="30"/>
                  </a:cubicBezTo>
                  <a:cubicBezTo>
                    <a:pt x="225" y="30"/>
                    <a:pt x="234" y="27"/>
                    <a:pt x="234" y="24"/>
                  </a:cubicBezTo>
                  <a:cubicBezTo>
                    <a:pt x="234" y="21"/>
                    <a:pt x="252" y="18"/>
                    <a:pt x="249" y="12"/>
                  </a:cubicBezTo>
                  <a:cubicBezTo>
                    <a:pt x="249" y="6"/>
                    <a:pt x="231" y="9"/>
                    <a:pt x="228" y="9"/>
                  </a:cubicBezTo>
                  <a:cubicBezTo>
                    <a:pt x="222" y="6"/>
                    <a:pt x="213" y="3"/>
                    <a:pt x="210" y="6"/>
                  </a:cubicBezTo>
                  <a:cubicBezTo>
                    <a:pt x="210" y="9"/>
                    <a:pt x="207" y="9"/>
                    <a:pt x="204" y="9"/>
                  </a:cubicBezTo>
                  <a:cubicBezTo>
                    <a:pt x="204" y="6"/>
                    <a:pt x="204" y="0"/>
                    <a:pt x="198" y="3"/>
                  </a:cubicBezTo>
                  <a:cubicBezTo>
                    <a:pt x="189" y="3"/>
                    <a:pt x="198" y="12"/>
                    <a:pt x="195" y="12"/>
                  </a:cubicBezTo>
                  <a:cubicBezTo>
                    <a:pt x="195" y="15"/>
                    <a:pt x="186" y="12"/>
                    <a:pt x="186" y="9"/>
                  </a:cubicBezTo>
                  <a:cubicBezTo>
                    <a:pt x="186" y="3"/>
                    <a:pt x="177" y="12"/>
                    <a:pt x="177" y="6"/>
                  </a:cubicBezTo>
                  <a:cubicBezTo>
                    <a:pt x="177" y="3"/>
                    <a:pt x="168" y="0"/>
                    <a:pt x="165" y="0"/>
                  </a:cubicBezTo>
                  <a:cubicBezTo>
                    <a:pt x="162" y="0"/>
                    <a:pt x="168" y="3"/>
                    <a:pt x="165" y="6"/>
                  </a:cubicBezTo>
                  <a:cubicBezTo>
                    <a:pt x="159" y="3"/>
                    <a:pt x="159" y="3"/>
                    <a:pt x="159" y="3"/>
                  </a:cubicBezTo>
                  <a:cubicBezTo>
                    <a:pt x="156" y="3"/>
                    <a:pt x="159" y="6"/>
                    <a:pt x="159" y="9"/>
                  </a:cubicBezTo>
                  <a:cubicBezTo>
                    <a:pt x="156" y="12"/>
                    <a:pt x="153" y="3"/>
                    <a:pt x="150" y="3"/>
                  </a:cubicBezTo>
                  <a:cubicBezTo>
                    <a:pt x="147" y="3"/>
                    <a:pt x="147" y="6"/>
                    <a:pt x="144" y="6"/>
                  </a:cubicBezTo>
                  <a:cubicBezTo>
                    <a:pt x="141" y="9"/>
                    <a:pt x="147" y="12"/>
                    <a:pt x="150"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8" name="Freeform 923"/>
            <p:cNvSpPr>
              <a:spLocks/>
            </p:cNvSpPr>
            <p:nvPr userDrawn="1"/>
          </p:nvSpPr>
          <p:spPr bwMode="auto">
            <a:xfrm>
              <a:off x="6780" y="-2452"/>
              <a:ext cx="60" cy="19"/>
            </a:xfrm>
            <a:custGeom>
              <a:avLst/>
              <a:gdLst>
                <a:gd name="T0" fmla="*/ 18 w 39"/>
                <a:gd name="T1" fmla="*/ 0 h 12"/>
                <a:gd name="T2" fmla="*/ 3 w 39"/>
                <a:gd name="T3" fmla="*/ 6 h 12"/>
                <a:gd name="T4" fmla="*/ 24 w 39"/>
                <a:gd name="T5" fmla="*/ 9 h 12"/>
                <a:gd name="T6" fmla="*/ 39 w 39"/>
                <a:gd name="T7" fmla="*/ 9 h 12"/>
                <a:gd name="T8" fmla="*/ 18 w 39"/>
                <a:gd name="T9" fmla="*/ 0 h 12"/>
              </a:gdLst>
              <a:ahLst/>
              <a:cxnLst>
                <a:cxn ang="0">
                  <a:pos x="T0" y="T1"/>
                </a:cxn>
                <a:cxn ang="0">
                  <a:pos x="T2" y="T3"/>
                </a:cxn>
                <a:cxn ang="0">
                  <a:pos x="T4" y="T5"/>
                </a:cxn>
                <a:cxn ang="0">
                  <a:pos x="T6" y="T7"/>
                </a:cxn>
                <a:cxn ang="0">
                  <a:pos x="T8" y="T9"/>
                </a:cxn>
              </a:cxnLst>
              <a:rect l="0" t="0" r="r" b="b"/>
              <a:pathLst>
                <a:path w="39" h="12">
                  <a:moveTo>
                    <a:pt x="18" y="0"/>
                  </a:moveTo>
                  <a:cubicBezTo>
                    <a:pt x="15" y="3"/>
                    <a:pt x="0" y="0"/>
                    <a:pt x="3" y="6"/>
                  </a:cubicBezTo>
                  <a:cubicBezTo>
                    <a:pt x="6" y="9"/>
                    <a:pt x="18" y="6"/>
                    <a:pt x="24" y="9"/>
                  </a:cubicBezTo>
                  <a:cubicBezTo>
                    <a:pt x="30" y="12"/>
                    <a:pt x="39" y="9"/>
                    <a:pt x="39" y="9"/>
                  </a:cubicBezTo>
                  <a:cubicBezTo>
                    <a:pt x="39" y="6"/>
                    <a:pt x="18" y="0"/>
                    <a:pt x="18"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29" name="Freeform 924"/>
            <p:cNvSpPr>
              <a:spLocks/>
            </p:cNvSpPr>
            <p:nvPr userDrawn="1"/>
          </p:nvSpPr>
          <p:spPr bwMode="auto">
            <a:xfrm>
              <a:off x="6780" y="-2452"/>
              <a:ext cx="60" cy="19"/>
            </a:xfrm>
            <a:custGeom>
              <a:avLst/>
              <a:gdLst>
                <a:gd name="T0" fmla="*/ 18 w 39"/>
                <a:gd name="T1" fmla="*/ 0 h 12"/>
                <a:gd name="T2" fmla="*/ 3 w 39"/>
                <a:gd name="T3" fmla="*/ 6 h 12"/>
                <a:gd name="T4" fmla="*/ 24 w 39"/>
                <a:gd name="T5" fmla="*/ 9 h 12"/>
                <a:gd name="T6" fmla="*/ 39 w 39"/>
                <a:gd name="T7" fmla="*/ 9 h 12"/>
                <a:gd name="T8" fmla="*/ 18 w 39"/>
                <a:gd name="T9" fmla="*/ 0 h 12"/>
              </a:gdLst>
              <a:ahLst/>
              <a:cxnLst>
                <a:cxn ang="0">
                  <a:pos x="T0" y="T1"/>
                </a:cxn>
                <a:cxn ang="0">
                  <a:pos x="T2" y="T3"/>
                </a:cxn>
                <a:cxn ang="0">
                  <a:pos x="T4" y="T5"/>
                </a:cxn>
                <a:cxn ang="0">
                  <a:pos x="T6" y="T7"/>
                </a:cxn>
                <a:cxn ang="0">
                  <a:pos x="T8" y="T9"/>
                </a:cxn>
              </a:cxnLst>
              <a:rect l="0" t="0" r="r" b="b"/>
              <a:pathLst>
                <a:path w="39" h="12">
                  <a:moveTo>
                    <a:pt x="18" y="0"/>
                  </a:moveTo>
                  <a:cubicBezTo>
                    <a:pt x="15" y="3"/>
                    <a:pt x="0" y="0"/>
                    <a:pt x="3" y="6"/>
                  </a:cubicBezTo>
                  <a:cubicBezTo>
                    <a:pt x="6" y="9"/>
                    <a:pt x="18" y="6"/>
                    <a:pt x="24" y="9"/>
                  </a:cubicBezTo>
                  <a:cubicBezTo>
                    <a:pt x="30" y="12"/>
                    <a:pt x="39" y="9"/>
                    <a:pt x="39" y="9"/>
                  </a:cubicBezTo>
                  <a:cubicBezTo>
                    <a:pt x="39" y="6"/>
                    <a:pt x="18" y="0"/>
                    <a:pt x="18"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0" name="Freeform 925"/>
            <p:cNvSpPr>
              <a:spLocks noEditPoints="1"/>
            </p:cNvSpPr>
            <p:nvPr userDrawn="1"/>
          </p:nvSpPr>
          <p:spPr bwMode="auto">
            <a:xfrm>
              <a:off x="5737" y="-2008"/>
              <a:ext cx="304" cy="300"/>
            </a:xfrm>
            <a:custGeom>
              <a:avLst/>
              <a:gdLst>
                <a:gd name="T0" fmla="*/ 171 w 195"/>
                <a:gd name="T1" fmla="*/ 24 h 192"/>
                <a:gd name="T2" fmla="*/ 141 w 195"/>
                <a:gd name="T3" fmla="*/ 9 h 192"/>
                <a:gd name="T4" fmla="*/ 135 w 195"/>
                <a:gd name="T5" fmla="*/ 30 h 192"/>
                <a:gd name="T6" fmla="*/ 123 w 195"/>
                <a:gd name="T7" fmla="*/ 39 h 192"/>
                <a:gd name="T8" fmla="*/ 120 w 195"/>
                <a:gd name="T9" fmla="*/ 57 h 192"/>
                <a:gd name="T10" fmla="*/ 132 w 195"/>
                <a:gd name="T11" fmla="*/ 51 h 192"/>
                <a:gd name="T12" fmla="*/ 135 w 195"/>
                <a:gd name="T13" fmla="*/ 42 h 192"/>
                <a:gd name="T14" fmla="*/ 159 w 195"/>
                <a:gd name="T15" fmla="*/ 45 h 192"/>
                <a:gd name="T16" fmla="*/ 180 w 195"/>
                <a:gd name="T17" fmla="*/ 30 h 192"/>
                <a:gd name="T18" fmla="*/ 183 w 195"/>
                <a:gd name="T19" fmla="*/ 21 h 192"/>
                <a:gd name="T20" fmla="*/ 120 w 195"/>
                <a:gd name="T21" fmla="*/ 81 h 192"/>
                <a:gd name="T22" fmla="*/ 108 w 195"/>
                <a:gd name="T23" fmla="*/ 108 h 192"/>
                <a:gd name="T24" fmla="*/ 90 w 195"/>
                <a:gd name="T25" fmla="*/ 111 h 192"/>
                <a:gd name="T26" fmla="*/ 75 w 195"/>
                <a:gd name="T27" fmla="*/ 132 h 192"/>
                <a:gd name="T28" fmla="*/ 54 w 195"/>
                <a:gd name="T29" fmla="*/ 135 h 192"/>
                <a:gd name="T30" fmla="*/ 21 w 195"/>
                <a:gd name="T31" fmla="*/ 150 h 192"/>
                <a:gd name="T32" fmla="*/ 33 w 195"/>
                <a:gd name="T33" fmla="*/ 153 h 192"/>
                <a:gd name="T34" fmla="*/ 66 w 195"/>
                <a:gd name="T35" fmla="*/ 156 h 192"/>
                <a:gd name="T36" fmla="*/ 81 w 195"/>
                <a:gd name="T37" fmla="*/ 147 h 192"/>
                <a:gd name="T38" fmla="*/ 99 w 195"/>
                <a:gd name="T39" fmla="*/ 144 h 192"/>
                <a:gd name="T40" fmla="*/ 114 w 195"/>
                <a:gd name="T41" fmla="*/ 138 h 192"/>
                <a:gd name="T42" fmla="*/ 129 w 195"/>
                <a:gd name="T43" fmla="*/ 120 h 192"/>
                <a:gd name="T44" fmla="*/ 141 w 195"/>
                <a:gd name="T45" fmla="*/ 93 h 192"/>
                <a:gd name="T46" fmla="*/ 123 w 195"/>
                <a:gd name="T47" fmla="*/ 66 h 192"/>
                <a:gd name="T48" fmla="*/ 39 w 195"/>
                <a:gd name="T49" fmla="*/ 156 h 192"/>
                <a:gd name="T50" fmla="*/ 42 w 195"/>
                <a:gd name="T51" fmla="*/ 168 h 192"/>
                <a:gd name="T52" fmla="*/ 60 w 195"/>
                <a:gd name="T53" fmla="*/ 153 h 192"/>
                <a:gd name="T54" fmla="*/ 27 w 195"/>
                <a:gd name="T55" fmla="*/ 165 h 192"/>
                <a:gd name="T56" fmla="*/ 9 w 195"/>
                <a:gd name="T57" fmla="*/ 162 h 192"/>
                <a:gd name="T58" fmla="*/ 9 w 195"/>
                <a:gd name="T59" fmla="*/ 168 h 192"/>
                <a:gd name="T60" fmla="*/ 15 w 195"/>
                <a:gd name="T61" fmla="*/ 192 h 192"/>
                <a:gd name="T62" fmla="*/ 27 w 195"/>
                <a:gd name="T63" fmla="*/ 16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92">
                  <a:moveTo>
                    <a:pt x="183" y="21"/>
                  </a:moveTo>
                  <a:cubicBezTo>
                    <a:pt x="180" y="18"/>
                    <a:pt x="177" y="21"/>
                    <a:pt x="171" y="24"/>
                  </a:cubicBezTo>
                  <a:cubicBezTo>
                    <a:pt x="168" y="24"/>
                    <a:pt x="150" y="12"/>
                    <a:pt x="147" y="6"/>
                  </a:cubicBezTo>
                  <a:cubicBezTo>
                    <a:pt x="144" y="0"/>
                    <a:pt x="138" y="3"/>
                    <a:pt x="141" y="9"/>
                  </a:cubicBezTo>
                  <a:cubicBezTo>
                    <a:pt x="144" y="12"/>
                    <a:pt x="138" y="15"/>
                    <a:pt x="138" y="21"/>
                  </a:cubicBezTo>
                  <a:cubicBezTo>
                    <a:pt x="138" y="27"/>
                    <a:pt x="135" y="27"/>
                    <a:pt x="135" y="30"/>
                  </a:cubicBezTo>
                  <a:cubicBezTo>
                    <a:pt x="138" y="33"/>
                    <a:pt x="132" y="33"/>
                    <a:pt x="126" y="33"/>
                  </a:cubicBezTo>
                  <a:cubicBezTo>
                    <a:pt x="123" y="33"/>
                    <a:pt x="126" y="39"/>
                    <a:pt x="123" y="39"/>
                  </a:cubicBezTo>
                  <a:cubicBezTo>
                    <a:pt x="117" y="42"/>
                    <a:pt x="117" y="45"/>
                    <a:pt x="120" y="48"/>
                  </a:cubicBezTo>
                  <a:cubicBezTo>
                    <a:pt x="123" y="48"/>
                    <a:pt x="120" y="54"/>
                    <a:pt x="120" y="57"/>
                  </a:cubicBezTo>
                  <a:cubicBezTo>
                    <a:pt x="120" y="60"/>
                    <a:pt x="123" y="57"/>
                    <a:pt x="126" y="54"/>
                  </a:cubicBezTo>
                  <a:cubicBezTo>
                    <a:pt x="129" y="51"/>
                    <a:pt x="132" y="54"/>
                    <a:pt x="132" y="51"/>
                  </a:cubicBezTo>
                  <a:cubicBezTo>
                    <a:pt x="132" y="48"/>
                    <a:pt x="126" y="48"/>
                    <a:pt x="126" y="45"/>
                  </a:cubicBezTo>
                  <a:cubicBezTo>
                    <a:pt x="126" y="39"/>
                    <a:pt x="132" y="45"/>
                    <a:pt x="135" y="42"/>
                  </a:cubicBezTo>
                  <a:cubicBezTo>
                    <a:pt x="138" y="42"/>
                    <a:pt x="147" y="42"/>
                    <a:pt x="153" y="48"/>
                  </a:cubicBezTo>
                  <a:cubicBezTo>
                    <a:pt x="156" y="51"/>
                    <a:pt x="159" y="48"/>
                    <a:pt x="159" y="45"/>
                  </a:cubicBezTo>
                  <a:cubicBezTo>
                    <a:pt x="159" y="39"/>
                    <a:pt x="168" y="36"/>
                    <a:pt x="174" y="36"/>
                  </a:cubicBezTo>
                  <a:cubicBezTo>
                    <a:pt x="183" y="36"/>
                    <a:pt x="183" y="33"/>
                    <a:pt x="180" y="30"/>
                  </a:cubicBezTo>
                  <a:cubicBezTo>
                    <a:pt x="180" y="30"/>
                    <a:pt x="195" y="21"/>
                    <a:pt x="195" y="18"/>
                  </a:cubicBezTo>
                  <a:cubicBezTo>
                    <a:pt x="192" y="15"/>
                    <a:pt x="186" y="24"/>
                    <a:pt x="183" y="21"/>
                  </a:cubicBezTo>
                  <a:close/>
                  <a:moveTo>
                    <a:pt x="123" y="66"/>
                  </a:moveTo>
                  <a:cubicBezTo>
                    <a:pt x="120" y="66"/>
                    <a:pt x="117" y="78"/>
                    <a:pt x="120" y="81"/>
                  </a:cubicBezTo>
                  <a:cubicBezTo>
                    <a:pt x="123" y="84"/>
                    <a:pt x="114" y="90"/>
                    <a:pt x="114" y="96"/>
                  </a:cubicBezTo>
                  <a:cubicBezTo>
                    <a:pt x="114" y="102"/>
                    <a:pt x="108" y="102"/>
                    <a:pt x="108" y="108"/>
                  </a:cubicBezTo>
                  <a:cubicBezTo>
                    <a:pt x="105" y="111"/>
                    <a:pt x="102" y="111"/>
                    <a:pt x="96" y="114"/>
                  </a:cubicBezTo>
                  <a:cubicBezTo>
                    <a:pt x="90" y="120"/>
                    <a:pt x="87" y="114"/>
                    <a:pt x="90" y="111"/>
                  </a:cubicBezTo>
                  <a:cubicBezTo>
                    <a:pt x="90" y="108"/>
                    <a:pt x="81" y="114"/>
                    <a:pt x="81" y="120"/>
                  </a:cubicBezTo>
                  <a:cubicBezTo>
                    <a:pt x="81" y="126"/>
                    <a:pt x="72" y="129"/>
                    <a:pt x="75" y="132"/>
                  </a:cubicBezTo>
                  <a:cubicBezTo>
                    <a:pt x="78" y="135"/>
                    <a:pt x="66" y="138"/>
                    <a:pt x="66" y="135"/>
                  </a:cubicBezTo>
                  <a:cubicBezTo>
                    <a:pt x="69" y="132"/>
                    <a:pt x="60" y="132"/>
                    <a:pt x="54" y="135"/>
                  </a:cubicBezTo>
                  <a:cubicBezTo>
                    <a:pt x="45" y="138"/>
                    <a:pt x="42" y="132"/>
                    <a:pt x="36" y="135"/>
                  </a:cubicBezTo>
                  <a:cubicBezTo>
                    <a:pt x="33" y="141"/>
                    <a:pt x="24" y="147"/>
                    <a:pt x="21" y="150"/>
                  </a:cubicBezTo>
                  <a:cubicBezTo>
                    <a:pt x="15" y="150"/>
                    <a:pt x="18" y="156"/>
                    <a:pt x="21" y="156"/>
                  </a:cubicBezTo>
                  <a:cubicBezTo>
                    <a:pt x="24" y="153"/>
                    <a:pt x="30" y="156"/>
                    <a:pt x="33" y="153"/>
                  </a:cubicBezTo>
                  <a:cubicBezTo>
                    <a:pt x="33" y="150"/>
                    <a:pt x="51" y="147"/>
                    <a:pt x="60" y="147"/>
                  </a:cubicBezTo>
                  <a:cubicBezTo>
                    <a:pt x="69" y="147"/>
                    <a:pt x="63" y="150"/>
                    <a:pt x="66" y="156"/>
                  </a:cubicBezTo>
                  <a:cubicBezTo>
                    <a:pt x="66" y="162"/>
                    <a:pt x="75" y="159"/>
                    <a:pt x="78" y="156"/>
                  </a:cubicBezTo>
                  <a:cubicBezTo>
                    <a:pt x="84" y="150"/>
                    <a:pt x="87" y="150"/>
                    <a:pt x="81" y="147"/>
                  </a:cubicBezTo>
                  <a:cubicBezTo>
                    <a:pt x="78" y="144"/>
                    <a:pt x="84" y="141"/>
                    <a:pt x="87" y="147"/>
                  </a:cubicBezTo>
                  <a:cubicBezTo>
                    <a:pt x="87" y="150"/>
                    <a:pt x="96" y="150"/>
                    <a:pt x="99" y="144"/>
                  </a:cubicBezTo>
                  <a:cubicBezTo>
                    <a:pt x="102" y="141"/>
                    <a:pt x="105" y="147"/>
                    <a:pt x="108" y="147"/>
                  </a:cubicBezTo>
                  <a:cubicBezTo>
                    <a:pt x="111" y="144"/>
                    <a:pt x="114" y="135"/>
                    <a:pt x="114" y="138"/>
                  </a:cubicBezTo>
                  <a:cubicBezTo>
                    <a:pt x="114" y="144"/>
                    <a:pt x="123" y="141"/>
                    <a:pt x="126" y="138"/>
                  </a:cubicBezTo>
                  <a:cubicBezTo>
                    <a:pt x="129" y="132"/>
                    <a:pt x="126" y="126"/>
                    <a:pt x="129" y="120"/>
                  </a:cubicBezTo>
                  <a:cubicBezTo>
                    <a:pt x="132" y="117"/>
                    <a:pt x="135" y="108"/>
                    <a:pt x="132" y="105"/>
                  </a:cubicBezTo>
                  <a:cubicBezTo>
                    <a:pt x="129" y="99"/>
                    <a:pt x="138" y="96"/>
                    <a:pt x="141" y="93"/>
                  </a:cubicBezTo>
                  <a:cubicBezTo>
                    <a:pt x="147" y="87"/>
                    <a:pt x="138" y="69"/>
                    <a:pt x="135" y="63"/>
                  </a:cubicBezTo>
                  <a:cubicBezTo>
                    <a:pt x="135" y="57"/>
                    <a:pt x="126" y="63"/>
                    <a:pt x="123" y="66"/>
                  </a:cubicBezTo>
                  <a:close/>
                  <a:moveTo>
                    <a:pt x="48" y="153"/>
                  </a:moveTo>
                  <a:cubicBezTo>
                    <a:pt x="48" y="156"/>
                    <a:pt x="42" y="153"/>
                    <a:pt x="39" y="156"/>
                  </a:cubicBezTo>
                  <a:cubicBezTo>
                    <a:pt x="33" y="156"/>
                    <a:pt x="33" y="168"/>
                    <a:pt x="36" y="171"/>
                  </a:cubicBezTo>
                  <a:cubicBezTo>
                    <a:pt x="39" y="171"/>
                    <a:pt x="42" y="171"/>
                    <a:pt x="42" y="168"/>
                  </a:cubicBezTo>
                  <a:cubicBezTo>
                    <a:pt x="45" y="162"/>
                    <a:pt x="48" y="162"/>
                    <a:pt x="51" y="165"/>
                  </a:cubicBezTo>
                  <a:cubicBezTo>
                    <a:pt x="57" y="165"/>
                    <a:pt x="60" y="159"/>
                    <a:pt x="60" y="153"/>
                  </a:cubicBezTo>
                  <a:cubicBezTo>
                    <a:pt x="60" y="150"/>
                    <a:pt x="51" y="150"/>
                    <a:pt x="48" y="153"/>
                  </a:cubicBezTo>
                  <a:close/>
                  <a:moveTo>
                    <a:pt x="27" y="165"/>
                  </a:moveTo>
                  <a:cubicBezTo>
                    <a:pt x="27" y="162"/>
                    <a:pt x="18" y="162"/>
                    <a:pt x="18" y="159"/>
                  </a:cubicBezTo>
                  <a:cubicBezTo>
                    <a:pt x="18" y="156"/>
                    <a:pt x="12" y="159"/>
                    <a:pt x="9" y="162"/>
                  </a:cubicBezTo>
                  <a:cubicBezTo>
                    <a:pt x="3" y="165"/>
                    <a:pt x="0" y="165"/>
                    <a:pt x="3" y="171"/>
                  </a:cubicBezTo>
                  <a:cubicBezTo>
                    <a:pt x="6" y="174"/>
                    <a:pt x="9" y="171"/>
                    <a:pt x="9" y="168"/>
                  </a:cubicBezTo>
                  <a:cubicBezTo>
                    <a:pt x="12" y="162"/>
                    <a:pt x="15" y="171"/>
                    <a:pt x="12" y="177"/>
                  </a:cubicBezTo>
                  <a:cubicBezTo>
                    <a:pt x="9" y="183"/>
                    <a:pt x="12" y="192"/>
                    <a:pt x="15" y="192"/>
                  </a:cubicBezTo>
                  <a:cubicBezTo>
                    <a:pt x="18" y="192"/>
                    <a:pt x="24" y="180"/>
                    <a:pt x="27" y="174"/>
                  </a:cubicBezTo>
                  <a:cubicBezTo>
                    <a:pt x="33" y="165"/>
                    <a:pt x="27" y="168"/>
                    <a:pt x="27" y="16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1" name="Freeform 926"/>
            <p:cNvSpPr>
              <a:spLocks noEditPoints="1"/>
            </p:cNvSpPr>
            <p:nvPr userDrawn="1"/>
          </p:nvSpPr>
          <p:spPr bwMode="auto">
            <a:xfrm>
              <a:off x="5737" y="-2008"/>
              <a:ext cx="304" cy="300"/>
            </a:xfrm>
            <a:custGeom>
              <a:avLst/>
              <a:gdLst>
                <a:gd name="T0" fmla="*/ 171 w 195"/>
                <a:gd name="T1" fmla="*/ 24 h 192"/>
                <a:gd name="T2" fmla="*/ 141 w 195"/>
                <a:gd name="T3" fmla="*/ 9 h 192"/>
                <a:gd name="T4" fmla="*/ 135 w 195"/>
                <a:gd name="T5" fmla="*/ 30 h 192"/>
                <a:gd name="T6" fmla="*/ 123 w 195"/>
                <a:gd name="T7" fmla="*/ 39 h 192"/>
                <a:gd name="T8" fmla="*/ 120 w 195"/>
                <a:gd name="T9" fmla="*/ 57 h 192"/>
                <a:gd name="T10" fmla="*/ 132 w 195"/>
                <a:gd name="T11" fmla="*/ 51 h 192"/>
                <a:gd name="T12" fmla="*/ 135 w 195"/>
                <a:gd name="T13" fmla="*/ 42 h 192"/>
                <a:gd name="T14" fmla="*/ 159 w 195"/>
                <a:gd name="T15" fmla="*/ 45 h 192"/>
                <a:gd name="T16" fmla="*/ 180 w 195"/>
                <a:gd name="T17" fmla="*/ 30 h 192"/>
                <a:gd name="T18" fmla="*/ 183 w 195"/>
                <a:gd name="T19" fmla="*/ 21 h 192"/>
                <a:gd name="T20" fmla="*/ 120 w 195"/>
                <a:gd name="T21" fmla="*/ 81 h 192"/>
                <a:gd name="T22" fmla="*/ 108 w 195"/>
                <a:gd name="T23" fmla="*/ 108 h 192"/>
                <a:gd name="T24" fmla="*/ 90 w 195"/>
                <a:gd name="T25" fmla="*/ 111 h 192"/>
                <a:gd name="T26" fmla="*/ 75 w 195"/>
                <a:gd name="T27" fmla="*/ 132 h 192"/>
                <a:gd name="T28" fmla="*/ 54 w 195"/>
                <a:gd name="T29" fmla="*/ 135 h 192"/>
                <a:gd name="T30" fmla="*/ 21 w 195"/>
                <a:gd name="T31" fmla="*/ 150 h 192"/>
                <a:gd name="T32" fmla="*/ 33 w 195"/>
                <a:gd name="T33" fmla="*/ 153 h 192"/>
                <a:gd name="T34" fmla="*/ 66 w 195"/>
                <a:gd name="T35" fmla="*/ 156 h 192"/>
                <a:gd name="T36" fmla="*/ 81 w 195"/>
                <a:gd name="T37" fmla="*/ 147 h 192"/>
                <a:gd name="T38" fmla="*/ 99 w 195"/>
                <a:gd name="T39" fmla="*/ 144 h 192"/>
                <a:gd name="T40" fmla="*/ 114 w 195"/>
                <a:gd name="T41" fmla="*/ 138 h 192"/>
                <a:gd name="T42" fmla="*/ 129 w 195"/>
                <a:gd name="T43" fmla="*/ 120 h 192"/>
                <a:gd name="T44" fmla="*/ 141 w 195"/>
                <a:gd name="T45" fmla="*/ 93 h 192"/>
                <a:gd name="T46" fmla="*/ 123 w 195"/>
                <a:gd name="T47" fmla="*/ 66 h 192"/>
                <a:gd name="T48" fmla="*/ 39 w 195"/>
                <a:gd name="T49" fmla="*/ 156 h 192"/>
                <a:gd name="T50" fmla="*/ 42 w 195"/>
                <a:gd name="T51" fmla="*/ 168 h 192"/>
                <a:gd name="T52" fmla="*/ 60 w 195"/>
                <a:gd name="T53" fmla="*/ 153 h 192"/>
                <a:gd name="T54" fmla="*/ 27 w 195"/>
                <a:gd name="T55" fmla="*/ 165 h 192"/>
                <a:gd name="T56" fmla="*/ 9 w 195"/>
                <a:gd name="T57" fmla="*/ 162 h 192"/>
                <a:gd name="T58" fmla="*/ 9 w 195"/>
                <a:gd name="T59" fmla="*/ 168 h 192"/>
                <a:gd name="T60" fmla="*/ 15 w 195"/>
                <a:gd name="T61" fmla="*/ 192 h 192"/>
                <a:gd name="T62" fmla="*/ 27 w 195"/>
                <a:gd name="T63" fmla="*/ 16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192">
                  <a:moveTo>
                    <a:pt x="183" y="21"/>
                  </a:moveTo>
                  <a:cubicBezTo>
                    <a:pt x="180" y="18"/>
                    <a:pt x="177" y="21"/>
                    <a:pt x="171" y="24"/>
                  </a:cubicBezTo>
                  <a:cubicBezTo>
                    <a:pt x="168" y="24"/>
                    <a:pt x="150" y="12"/>
                    <a:pt x="147" y="6"/>
                  </a:cubicBezTo>
                  <a:cubicBezTo>
                    <a:pt x="144" y="0"/>
                    <a:pt x="138" y="3"/>
                    <a:pt x="141" y="9"/>
                  </a:cubicBezTo>
                  <a:cubicBezTo>
                    <a:pt x="144" y="12"/>
                    <a:pt x="138" y="15"/>
                    <a:pt x="138" y="21"/>
                  </a:cubicBezTo>
                  <a:cubicBezTo>
                    <a:pt x="138" y="27"/>
                    <a:pt x="135" y="27"/>
                    <a:pt x="135" y="30"/>
                  </a:cubicBezTo>
                  <a:cubicBezTo>
                    <a:pt x="138" y="33"/>
                    <a:pt x="132" y="33"/>
                    <a:pt x="126" y="33"/>
                  </a:cubicBezTo>
                  <a:cubicBezTo>
                    <a:pt x="123" y="33"/>
                    <a:pt x="126" y="39"/>
                    <a:pt x="123" y="39"/>
                  </a:cubicBezTo>
                  <a:cubicBezTo>
                    <a:pt x="117" y="42"/>
                    <a:pt x="117" y="45"/>
                    <a:pt x="120" y="48"/>
                  </a:cubicBezTo>
                  <a:cubicBezTo>
                    <a:pt x="123" y="48"/>
                    <a:pt x="120" y="54"/>
                    <a:pt x="120" y="57"/>
                  </a:cubicBezTo>
                  <a:cubicBezTo>
                    <a:pt x="120" y="60"/>
                    <a:pt x="123" y="57"/>
                    <a:pt x="126" y="54"/>
                  </a:cubicBezTo>
                  <a:cubicBezTo>
                    <a:pt x="129" y="51"/>
                    <a:pt x="132" y="54"/>
                    <a:pt x="132" y="51"/>
                  </a:cubicBezTo>
                  <a:cubicBezTo>
                    <a:pt x="132" y="48"/>
                    <a:pt x="126" y="48"/>
                    <a:pt x="126" y="45"/>
                  </a:cubicBezTo>
                  <a:cubicBezTo>
                    <a:pt x="126" y="39"/>
                    <a:pt x="132" y="45"/>
                    <a:pt x="135" y="42"/>
                  </a:cubicBezTo>
                  <a:cubicBezTo>
                    <a:pt x="138" y="42"/>
                    <a:pt x="147" y="42"/>
                    <a:pt x="153" y="48"/>
                  </a:cubicBezTo>
                  <a:cubicBezTo>
                    <a:pt x="156" y="51"/>
                    <a:pt x="159" y="48"/>
                    <a:pt x="159" y="45"/>
                  </a:cubicBezTo>
                  <a:cubicBezTo>
                    <a:pt x="159" y="39"/>
                    <a:pt x="168" y="36"/>
                    <a:pt x="174" y="36"/>
                  </a:cubicBezTo>
                  <a:cubicBezTo>
                    <a:pt x="183" y="36"/>
                    <a:pt x="183" y="33"/>
                    <a:pt x="180" y="30"/>
                  </a:cubicBezTo>
                  <a:cubicBezTo>
                    <a:pt x="180" y="30"/>
                    <a:pt x="195" y="21"/>
                    <a:pt x="195" y="18"/>
                  </a:cubicBezTo>
                  <a:cubicBezTo>
                    <a:pt x="192" y="15"/>
                    <a:pt x="186" y="24"/>
                    <a:pt x="183" y="21"/>
                  </a:cubicBezTo>
                  <a:close/>
                  <a:moveTo>
                    <a:pt x="123" y="66"/>
                  </a:moveTo>
                  <a:cubicBezTo>
                    <a:pt x="120" y="66"/>
                    <a:pt x="117" y="78"/>
                    <a:pt x="120" y="81"/>
                  </a:cubicBezTo>
                  <a:cubicBezTo>
                    <a:pt x="123" y="84"/>
                    <a:pt x="114" y="90"/>
                    <a:pt x="114" y="96"/>
                  </a:cubicBezTo>
                  <a:cubicBezTo>
                    <a:pt x="114" y="102"/>
                    <a:pt x="108" y="102"/>
                    <a:pt x="108" y="108"/>
                  </a:cubicBezTo>
                  <a:cubicBezTo>
                    <a:pt x="105" y="111"/>
                    <a:pt x="102" y="111"/>
                    <a:pt x="96" y="114"/>
                  </a:cubicBezTo>
                  <a:cubicBezTo>
                    <a:pt x="90" y="120"/>
                    <a:pt x="87" y="114"/>
                    <a:pt x="90" y="111"/>
                  </a:cubicBezTo>
                  <a:cubicBezTo>
                    <a:pt x="90" y="108"/>
                    <a:pt x="81" y="114"/>
                    <a:pt x="81" y="120"/>
                  </a:cubicBezTo>
                  <a:cubicBezTo>
                    <a:pt x="81" y="126"/>
                    <a:pt x="72" y="129"/>
                    <a:pt x="75" y="132"/>
                  </a:cubicBezTo>
                  <a:cubicBezTo>
                    <a:pt x="78" y="135"/>
                    <a:pt x="66" y="138"/>
                    <a:pt x="66" y="135"/>
                  </a:cubicBezTo>
                  <a:cubicBezTo>
                    <a:pt x="69" y="132"/>
                    <a:pt x="60" y="132"/>
                    <a:pt x="54" y="135"/>
                  </a:cubicBezTo>
                  <a:cubicBezTo>
                    <a:pt x="45" y="138"/>
                    <a:pt x="42" y="132"/>
                    <a:pt x="36" y="135"/>
                  </a:cubicBezTo>
                  <a:cubicBezTo>
                    <a:pt x="33" y="141"/>
                    <a:pt x="24" y="147"/>
                    <a:pt x="21" y="150"/>
                  </a:cubicBezTo>
                  <a:cubicBezTo>
                    <a:pt x="15" y="150"/>
                    <a:pt x="18" y="156"/>
                    <a:pt x="21" y="156"/>
                  </a:cubicBezTo>
                  <a:cubicBezTo>
                    <a:pt x="24" y="153"/>
                    <a:pt x="30" y="156"/>
                    <a:pt x="33" y="153"/>
                  </a:cubicBezTo>
                  <a:cubicBezTo>
                    <a:pt x="33" y="150"/>
                    <a:pt x="51" y="147"/>
                    <a:pt x="60" y="147"/>
                  </a:cubicBezTo>
                  <a:cubicBezTo>
                    <a:pt x="69" y="147"/>
                    <a:pt x="63" y="150"/>
                    <a:pt x="66" y="156"/>
                  </a:cubicBezTo>
                  <a:cubicBezTo>
                    <a:pt x="66" y="162"/>
                    <a:pt x="75" y="159"/>
                    <a:pt x="78" y="156"/>
                  </a:cubicBezTo>
                  <a:cubicBezTo>
                    <a:pt x="84" y="150"/>
                    <a:pt x="87" y="150"/>
                    <a:pt x="81" y="147"/>
                  </a:cubicBezTo>
                  <a:cubicBezTo>
                    <a:pt x="78" y="144"/>
                    <a:pt x="84" y="141"/>
                    <a:pt x="87" y="147"/>
                  </a:cubicBezTo>
                  <a:cubicBezTo>
                    <a:pt x="87" y="150"/>
                    <a:pt x="96" y="150"/>
                    <a:pt x="99" y="144"/>
                  </a:cubicBezTo>
                  <a:cubicBezTo>
                    <a:pt x="102" y="141"/>
                    <a:pt x="105" y="147"/>
                    <a:pt x="108" y="147"/>
                  </a:cubicBezTo>
                  <a:cubicBezTo>
                    <a:pt x="111" y="144"/>
                    <a:pt x="114" y="135"/>
                    <a:pt x="114" y="138"/>
                  </a:cubicBezTo>
                  <a:cubicBezTo>
                    <a:pt x="114" y="144"/>
                    <a:pt x="123" y="141"/>
                    <a:pt x="126" y="138"/>
                  </a:cubicBezTo>
                  <a:cubicBezTo>
                    <a:pt x="129" y="132"/>
                    <a:pt x="126" y="126"/>
                    <a:pt x="129" y="120"/>
                  </a:cubicBezTo>
                  <a:cubicBezTo>
                    <a:pt x="132" y="117"/>
                    <a:pt x="135" y="108"/>
                    <a:pt x="132" y="105"/>
                  </a:cubicBezTo>
                  <a:cubicBezTo>
                    <a:pt x="129" y="99"/>
                    <a:pt x="138" y="96"/>
                    <a:pt x="141" y="93"/>
                  </a:cubicBezTo>
                  <a:cubicBezTo>
                    <a:pt x="147" y="87"/>
                    <a:pt x="138" y="69"/>
                    <a:pt x="135" y="63"/>
                  </a:cubicBezTo>
                  <a:cubicBezTo>
                    <a:pt x="135" y="57"/>
                    <a:pt x="126" y="63"/>
                    <a:pt x="123" y="66"/>
                  </a:cubicBezTo>
                  <a:close/>
                  <a:moveTo>
                    <a:pt x="48" y="153"/>
                  </a:moveTo>
                  <a:cubicBezTo>
                    <a:pt x="48" y="156"/>
                    <a:pt x="42" y="153"/>
                    <a:pt x="39" y="156"/>
                  </a:cubicBezTo>
                  <a:cubicBezTo>
                    <a:pt x="33" y="156"/>
                    <a:pt x="33" y="168"/>
                    <a:pt x="36" y="171"/>
                  </a:cubicBezTo>
                  <a:cubicBezTo>
                    <a:pt x="39" y="171"/>
                    <a:pt x="42" y="171"/>
                    <a:pt x="42" y="168"/>
                  </a:cubicBezTo>
                  <a:cubicBezTo>
                    <a:pt x="45" y="162"/>
                    <a:pt x="48" y="162"/>
                    <a:pt x="51" y="165"/>
                  </a:cubicBezTo>
                  <a:cubicBezTo>
                    <a:pt x="57" y="165"/>
                    <a:pt x="60" y="159"/>
                    <a:pt x="60" y="153"/>
                  </a:cubicBezTo>
                  <a:cubicBezTo>
                    <a:pt x="60" y="150"/>
                    <a:pt x="51" y="150"/>
                    <a:pt x="48" y="153"/>
                  </a:cubicBezTo>
                  <a:close/>
                  <a:moveTo>
                    <a:pt x="27" y="165"/>
                  </a:moveTo>
                  <a:cubicBezTo>
                    <a:pt x="27" y="162"/>
                    <a:pt x="18" y="162"/>
                    <a:pt x="18" y="159"/>
                  </a:cubicBezTo>
                  <a:cubicBezTo>
                    <a:pt x="18" y="156"/>
                    <a:pt x="12" y="159"/>
                    <a:pt x="9" y="162"/>
                  </a:cubicBezTo>
                  <a:cubicBezTo>
                    <a:pt x="3" y="165"/>
                    <a:pt x="0" y="165"/>
                    <a:pt x="3" y="171"/>
                  </a:cubicBezTo>
                  <a:cubicBezTo>
                    <a:pt x="6" y="174"/>
                    <a:pt x="9" y="171"/>
                    <a:pt x="9" y="168"/>
                  </a:cubicBezTo>
                  <a:cubicBezTo>
                    <a:pt x="12" y="162"/>
                    <a:pt x="15" y="171"/>
                    <a:pt x="12" y="177"/>
                  </a:cubicBezTo>
                  <a:cubicBezTo>
                    <a:pt x="9" y="183"/>
                    <a:pt x="12" y="192"/>
                    <a:pt x="15" y="192"/>
                  </a:cubicBezTo>
                  <a:cubicBezTo>
                    <a:pt x="18" y="192"/>
                    <a:pt x="24" y="180"/>
                    <a:pt x="27" y="174"/>
                  </a:cubicBezTo>
                  <a:cubicBezTo>
                    <a:pt x="33" y="165"/>
                    <a:pt x="27" y="168"/>
                    <a:pt x="27" y="16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2" name="Freeform 927"/>
            <p:cNvSpPr>
              <a:spLocks noEditPoints="1"/>
            </p:cNvSpPr>
            <p:nvPr userDrawn="1"/>
          </p:nvSpPr>
          <p:spPr bwMode="auto">
            <a:xfrm>
              <a:off x="5517" y="-1474"/>
              <a:ext cx="173" cy="240"/>
            </a:xfrm>
            <a:custGeom>
              <a:avLst/>
              <a:gdLst>
                <a:gd name="T0" fmla="*/ 60 w 111"/>
                <a:gd name="T1" fmla="*/ 60 h 154"/>
                <a:gd name="T2" fmla="*/ 72 w 111"/>
                <a:gd name="T3" fmla="*/ 70 h 154"/>
                <a:gd name="T4" fmla="*/ 75 w 111"/>
                <a:gd name="T5" fmla="*/ 79 h 154"/>
                <a:gd name="T6" fmla="*/ 81 w 111"/>
                <a:gd name="T7" fmla="*/ 85 h 154"/>
                <a:gd name="T8" fmla="*/ 87 w 111"/>
                <a:gd name="T9" fmla="*/ 100 h 154"/>
                <a:gd name="T10" fmla="*/ 90 w 111"/>
                <a:gd name="T11" fmla="*/ 97 h 154"/>
                <a:gd name="T12" fmla="*/ 96 w 111"/>
                <a:gd name="T13" fmla="*/ 88 h 154"/>
                <a:gd name="T14" fmla="*/ 93 w 111"/>
                <a:gd name="T15" fmla="*/ 76 h 154"/>
                <a:gd name="T16" fmla="*/ 78 w 111"/>
                <a:gd name="T17" fmla="*/ 66 h 154"/>
                <a:gd name="T18" fmla="*/ 72 w 111"/>
                <a:gd name="T19" fmla="*/ 57 h 154"/>
                <a:gd name="T20" fmla="*/ 57 w 111"/>
                <a:gd name="T21" fmla="*/ 54 h 154"/>
                <a:gd name="T22" fmla="*/ 51 w 111"/>
                <a:gd name="T23" fmla="*/ 42 h 154"/>
                <a:gd name="T24" fmla="*/ 57 w 111"/>
                <a:gd name="T25" fmla="*/ 27 h 154"/>
                <a:gd name="T26" fmla="*/ 57 w 111"/>
                <a:gd name="T27" fmla="*/ 9 h 154"/>
                <a:gd name="T28" fmla="*/ 54 w 111"/>
                <a:gd name="T29" fmla="*/ 3 h 154"/>
                <a:gd name="T30" fmla="*/ 39 w 111"/>
                <a:gd name="T31" fmla="*/ 3 h 154"/>
                <a:gd name="T32" fmla="*/ 36 w 111"/>
                <a:gd name="T33" fmla="*/ 30 h 154"/>
                <a:gd name="T34" fmla="*/ 30 w 111"/>
                <a:gd name="T35" fmla="*/ 27 h 154"/>
                <a:gd name="T36" fmla="*/ 33 w 111"/>
                <a:gd name="T37" fmla="*/ 42 h 154"/>
                <a:gd name="T38" fmla="*/ 36 w 111"/>
                <a:gd name="T39" fmla="*/ 51 h 154"/>
                <a:gd name="T40" fmla="*/ 48 w 111"/>
                <a:gd name="T41" fmla="*/ 57 h 154"/>
                <a:gd name="T42" fmla="*/ 60 w 111"/>
                <a:gd name="T43" fmla="*/ 60 h 154"/>
                <a:gd name="T44" fmla="*/ 39 w 111"/>
                <a:gd name="T45" fmla="*/ 63 h 154"/>
                <a:gd name="T46" fmla="*/ 48 w 111"/>
                <a:gd name="T47" fmla="*/ 76 h 154"/>
                <a:gd name="T48" fmla="*/ 39 w 111"/>
                <a:gd name="T49" fmla="*/ 63 h 154"/>
                <a:gd name="T50" fmla="*/ 57 w 111"/>
                <a:gd name="T51" fmla="*/ 94 h 154"/>
                <a:gd name="T52" fmla="*/ 63 w 111"/>
                <a:gd name="T53" fmla="*/ 91 h 154"/>
                <a:gd name="T54" fmla="*/ 63 w 111"/>
                <a:gd name="T55" fmla="*/ 100 h 154"/>
                <a:gd name="T56" fmla="*/ 66 w 111"/>
                <a:gd name="T57" fmla="*/ 112 h 154"/>
                <a:gd name="T58" fmla="*/ 78 w 111"/>
                <a:gd name="T59" fmla="*/ 94 h 154"/>
                <a:gd name="T60" fmla="*/ 72 w 111"/>
                <a:gd name="T61" fmla="*/ 94 h 154"/>
                <a:gd name="T62" fmla="*/ 57 w 111"/>
                <a:gd name="T63" fmla="*/ 79 h 154"/>
                <a:gd name="T64" fmla="*/ 57 w 111"/>
                <a:gd name="T65" fmla="*/ 94 h 154"/>
                <a:gd name="T66" fmla="*/ 18 w 111"/>
                <a:gd name="T67" fmla="*/ 103 h 154"/>
                <a:gd name="T68" fmla="*/ 3 w 111"/>
                <a:gd name="T69" fmla="*/ 121 h 154"/>
                <a:gd name="T70" fmla="*/ 24 w 111"/>
                <a:gd name="T71" fmla="*/ 100 h 154"/>
                <a:gd name="T72" fmla="*/ 27 w 111"/>
                <a:gd name="T73" fmla="*/ 88 h 154"/>
                <a:gd name="T74" fmla="*/ 18 w 111"/>
                <a:gd name="T75" fmla="*/ 103 h 154"/>
                <a:gd name="T76" fmla="*/ 75 w 111"/>
                <a:gd name="T77" fmla="*/ 109 h 154"/>
                <a:gd name="T78" fmla="*/ 84 w 111"/>
                <a:gd name="T79" fmla="*/ 103 h 154"/>
                <a:gd name="T80" fmla="*/ 75 w 111"/>
                <a:gd name="T81" fmla="*/ 109 h 154"/>
                <a:gd name="T82" fmla="*/ 105 w 111"/>
                <a:gd name="T83" fmla="*/ 133 h 154"/>
                <a:gd name="T84" fmla="*/ 105 w 111"/>
                <a:gd name="T85" fmla="*/ 109 h 154"/>
                <a:gd name="T86" fmla="*/ 96 w 111"/>
                <a:gd name="T87" fmla="*/ 109 h 154"/>
                <a:gd name="T88" fmla="*/ 90 w 111"/>
                <a:gd name="T89" fmla="*/ 115 h 154"/>
                <a:gd name="T90" fmla="*/ 84 w 111"/>
                <a:gd name="T91" fmla="*/ 121 h 154"/>
                <a:gd name="T92" fmla="*/ 72 w 111"/>
                <a:gd name="T93" fmla="*/ 118 h 154"/>
                <a:gd name="T94" fmla="*/ 60 w 111"/>
                <a:gd name="T95" fmla="*/ 124 h 154"/>
                <a:gd name="T96" fmla="*/ 54 w 111"/>
                <a:gd name="T97" fmla="*/ 136 h 154"/>
                <a:gd name="T98" fmla="*/ 66 w 111"/>
                <a:gd name="T99" fmla="*/ 130 h 154"/>
                <a:gd name="T100" fmla="*/ 75 w 111"/>
                <a:gd name="T101" fmla="*/ 127 h 154"/>
                <a:gd name="T102" fmla="*/ 84 w 111"/>
                <a:gd name="T103" fmla="*/ 148 h 154"/>
                <a:gd name="T104" fmla="*/ 96 w 111"/>
                <a:gd name="T105" fmla="*/ 154 h 154"/>
                <a:gd name="T106" fmla="*/ 93 w 111"/>
                <a:gd name="T107" fmla="*/ 139 h 154"/>
                <a:gd name="T108" fmla="*/ 105 w 111"/>
                <a:gd name="T109" fmla="*/ 13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154">
                  <a:moveTo>
                    <a:pt x="60" y="60"/>
                  </a:moveTo>
                  <a:cubicBezTo>
                    <a:pt x="66" y="57"/>
                    <a:pt x="75" y="66"/>
                    <a:pt x="72" y="70"/>
                  </a:cubicBezTo>
                  <a:cubicBezTo>
                    <a:pt x="72" y="73"/>
                    <a:pt x="72" y="82"/>
                    <a:pt x="75" y="79"/>
                  </a:cubicBezTo>
                  <a:cubicBezTo>
                    <a:pt x="78" y="76"/>
                    <a:pt x="84" y="82"/>
                    <a:pt x="81" y="85"/>
                  </a:cubicBezTo>
                  <a:cubicBezTo>
                    <a:pt x="78" y="88"/>
                    <a:pt x="84" y="94"/>
                    <a:pt x="87" y="100"/>
                  </a:cubicBezTo>
                  <a:cubicBezTo>
                    <a:pt x="87" y="103"/>
                    <a:pt x="90" y="100"/>
                    <a:pt x="90" y="97"/>
                  </a:cubicBezTo>
                  <a:cubicBezTo>
                    <a:pt x="90" y="91"/>
                    <a:pt x="90" y="91"/>
                    <a:pt x="96" y="88"/>
                  </a:cubicBezTo>
                  <a:cubicBezTo>
                    <a:pt x="99" y="85"/>
                    <a:pt x="96" y="82"/>
                    <a:pt x="93" y="76"/>
                  </a:cubicBezTo>
                  <a:cubicBezTo>
                    <a:pt x="90" y="70"/>
                    <a:pt x="78" y="73"/>
                    <a:pt x="78" y="66"/>
                  </a:cubicBezTo>
                  <a:cubicBezTo>
                    <a:pt x="78" y="60"/>
                    <a:pt x="72" y="60"/>
                    <a:pt x="72" y="57"/>
                  </a:cubicBezTo>
                  <a:cubicBezTo>
                    <a:pt x="72" y="54"/>
                    <a:pt x="63" y="51"/>
                    <a:pt x="57" y="54"/>
                  </a:cubicBezTo>
                  <a:cubicBezTo>
                    <a:pt x="51" y="57"/>
                    <a:pt x="54" y="48"/>
                    <a:pt x="51" y="42"/>
                  </a:cubicBezTo>
                  <a:cubicBezTo>
                    <a:pt x="45" y="39"/>
                    <a:pt x="54" y="33"/>
                    <a:pt x="57" y="27"/>
                  </a:cubicBezTo>
                  <a:cubicBezTo>
                    <a:pt x="63" y="21"/>
                    <a:pt x="57" y="12"/>
                    <a:pt x="57" y="9"/>
                  </a:cubicBezTo>
                  <a:cubicBezTo>
                    <a:pt x="57" y="3"/>
                    <a:pt x="57" y="3"/>
                    <a:pt x="54" y="3"/>
                  </a:cubicBezTo>
                  <a:cubicBezTo>
                    <a:pt x="54" y="6"/>
                    <a:pt x="42" y="0"/>
                    <a:pt x="39" y="3"/>
                  </a:cubicBezTo>
                  <a:cubicBezTo>
                    <a:pt x="36" y="6"/>
                    <a:pt x="39" y="27"/>
                    <a:pt x="36" y="30"/>
                  </a:cubicBezTo>
                  <a:cubicBezTo>
                    <a:pt x="36" y="30"/>
                    <a:pt x="33" y="27"/>
                    <a:pt x="30" y="27"/>
                  </a:cubicBezTo>
                  <a:cubicBezTo>
                    <a:pt x="30" y="30"/>
                    <a:pt x="33" y="42"/>
                    <a:pt x="33" y="42"/>
                  </a:cubicBezTo>
                  <a:cubicBezTo>
                    <a:pt x="36" y="42"/>
                    <a:pt x="39" y="48"/>
                    <a:pt x="36" y="51"/>
                  </a:cubicBezTo>
                  <a:cubicBezTo>
                    <a:pt x="36" y="57"/>
                    <a:pt x="42" y="57"/>
                    <a:pt x="48" y="57"/>
                  </a:cubicBezTo>
                  <a:cubicBezTo>
                    <a:pt x="54" y="54"/>
                    <a:pt x="54" y="60"/>
                    <a:pt x="60" y="60"/>
                  </a:cubicBezTo>
                  <a:close/>
                  <a:moveTo>
                    <a:pt x="39" y="63"/>
                  </a:moveTo>
                  <a:cubicBezTo>
                    <a:pt x="39" y="66"/>
                    <a:pt x="42" y="76"/>
                    <a:pt x="48" y="76"/>
                  </a:cubicBezTo>
                  <a:cubicBezTo>
                    <a:pt x="57" y="73"/>
                    <a:pt x="36" y="57"/>
                    <a:pt x="39" y="63"/>
                  </a:cubicBezTo>
                  <a:close/>
                  <a:moveTo>
                    <a:pt x="57" y="94"/>
                  </a:moveTo>
                  <a:cubicBezTo>
                    <a:pt x="57" y="94"/>
                    <a:pt x="63" y="94"/>
                    <a:pt x="63" y="91"/>
                  </a:cubicBezTo>
                  <a:cubicBezTo>
                    <a:pt x="63" y="88"/>
                    <a:pt x="66" y="97"/>
                    <a:pt x="63" y="100"/>
                  </a:cubicBezTo>
                  <a:cubicBezTo>
                    <a:pt x="60" y="103"/>
                    <a:pt x="60" y="112"/>
                    <a:pt x="66" y="112"/>
                  </a:cubicBezTo>
                  <a:cubicBezTo>
                    <a:pt x="69" y="115"/>
                    <a:pt x="78" y="97"/>
                    <a:pt x="78" y="94"/>
                  </a:cubicBezTo>
                  <a:cubicBezTo>
                    <a:pt x="75" y="91"/>
                    <a:pt x="72" y="97"/>
                    <a:pt x="72" y="94"/>
                  </a:cubicBezTo>
                  <a:cubicBezTo>
                    <a:pt x="75" y="88"/>
                    <a:pt x="60" y="79"/>
                    <a:pt x="57" y="79"/>
                  </a:cubicBezTo>
                  <a:cubicBezTo>
                    <a:pt x="51" y="82"/>
                    <a:pt x="51" y="97"/>
                    <a:pt x="57" y="94"/>
                  </a:cubicBezTo>
                  <a:close/>
                  <a:moveTo>
                    <a:pt x="18" y="103"/>
                  </a:moveTo>
                  <a:cubicBezTo>
                    <a:pt x="12" y="109"/>
                    <a:pt x="0" y="118"/>
                    <a:pt x="3" y="121"/>
                  </a:cubicBezTo>
                  <a:cubicBezTo>
                    <a:pt x="6" y="124"/>
                    <a:pt x="18" y="106"/>
                    <a:pt x="24" y="100"/>
                  </a:cubicBezTo>
                  <a:cubicBezTo>
                    <a:pt x="30" y="97"/>
                    <a:pt x="27" y="94"/>
                    <a:pt x="27" y="88"/>
                  </a:cubicBezTo>
                  <a:cubicBezTo>
                    <a:pt x="24" y="85"/>
                    <a:pt x="21" y="97"/>
                    <a:pt x="18" y="103"/>
                  </a:cubicBezTo>
                  <a:close/>
                  <a:moveTo>
                    <a:pt x="75" y="109"/>
                  </a:moveTo>
                  <a:cubicBezTo>
                    <a:pt x="78" y="112"/>
                    <a:pt x="87" y="106"/>
                    <a:pt x="84" y="103"/>
                  </a:cubicBezTo>
                  <a:cubicBezTo>
                    <a:pt x="81" y="100"/>
                    <a:pt x="75" y="106"/>
                    <a:pt x="75" y="109"/>
                  </a:cubicBezTo>
                  <a:close/>
                  <a:moveTo>
                    <a:pt x="105" y="133"/>
                  </a:moveTo>
                  <a:cubicBezTo>
                    <a:pt x="111" y="130"/>
                    <a:pt x="105" y="118"/>
                    <a:pt x="105" y="109"/>
                  </a:cubicBezTo>
                  <a:cubicBezTo>
                    <a:pt x="105" y="100"/>
                    <a:pt x="93" y="103"/>
                    <a:pt x="96" y="109"/>
                  </a:cubicBezTo>
                  <a:cubicBezTo>
                    <a:pt x="99" y="115"/>
                    <a:pt x="90" y="109"/>
                    <a:pt x="90" y="115"/>
                  </a:cubicBezTo>
                  <a:cubicBezTo>
                    <a:pt x="90" y="121"/>
                    <a:pt x="81" y="115"/>
                    <a:pt x="84" y="121"/>
                  </a:cubicBezTo>
                  <a:cubicBezTo>
                    <a:pt x="84" y="124"/>
                    <a:pt x="75" y="121"/>
                    <a:pt x="72" y="118"/>
                  </a:cubicBezTo>
                  <a:cubicBezTo>
                    <a:pt x="69" y="115"/>
                    <a:pt x="66" y="124"/>
                    <a:pt x="60" y="124"/>
                  </a:cubicBezTo>
                  <a:cubicBezTo>
                    <a:pt x="54" y="127"/>
                    <a:pt x="51" y="136"/>
                    <a:pt x="54" y="136"/>
                  </a:cubicBezTo>
                  <a:cubicBezTo>
                    <a:pt x="60" y="136"/>
                    <a:pt x="60" y="130"/>
                    <a:pt x="66" y="130"/>
                  </a:cubicBezTo>
                  <a:cubicBezTo>
                    <a:pt x="69" y="133"/>
                    <a:pt x="69" y="127"/>
                    <a:pt x="75" y="127"/>
                  </a:cubicBezTo>
                  <a:cubicBezTo>
                    <a:pt x="78" y="130"/>
                    <a:pt x="75" y="145"/>
                    <a:pt x="84" y="148"/>
                  </a:cubicBezTo>
                  <a:cubicBezTo>
                    <a:pt x="90" y="148"/>
                    <a:pt x="90" y="154"/>
                    <a:pt x="96" y="154"/>
                  </a:cubicBezTo>
                  <a:cubicBezTo>
                    <a:pt x="99" y="154"/>
                    <a:pt x="93" y="142"/>
                    <a:pt x="93" y="139"/>
                  </a:cubicBezTo>
                  <a:cubicBezTo>
                    <a:pt x="96" y="136"/>
                    <a:pt x="102" y="139"/>
                    <a:pt x="105" y="1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3" name="Freeform 928"/>
            <p:cNvSpPr>
              <a:spLocks noEditPoints="1"/>
            </p:cNvSpPr>
            <p:nvPr userDrawn="1"/>
          </p:nvSpPr>
          <p:spPr bwMode="auto">
            <a:xfrm>
              <a:off x="5517" y="-1474"/>
              <a:ext cx="173" cy="240"/>
            </a:xfrm>
            <a:custGeom>
              <a:avLst/>
              <a:gdLst>
                <a:gd name="T0" fmla="*/ 60 w 111"/>
                <a:gd name="T1" fmla="*/ 60 h 154"/>
                <a:gd name="T2" fmla="*/ 72 w 111"/>
                <a:gd name="T3" fmla="*/ 70 h 154"/>
                <a:gd name="T4" fmla="*/ 75 w 111"/>
                <a:gd name="T5" fmla="*/ 79 h 154"/>
                <a:gd name="T6" fmla="*/ 81 w 111"/>
                <a:gd name="T7" fmla="*/ 85 h 154"/>
                <a:gd name="T8" fmla="*/ 87 w 111"/>
                <a:gd name="T9" fmla="*/ 100 h 154"/>
                <a:gd name="T10" fmla="*/ 90 w 111"/>
                <a:gd name="T11" fmla="*/ 97 h 154"/>
                <a:gd name="T12" fmla="*/ 96 w 111"/>
                <a:gd name="T13" fmla="*/ 88 h 154"/>
                <a:gd name="T14" fmla="*/ 93 w 111"/>
                <a:gd name="T15" fmla="*/ 76 h 154"/>
                <a:gd name="T16" fmla="*/ 78 w 111"/>
                <a:gd name="T17" fmla="*/ 66 h 154"/>
                <a:gd name="T18" fmla="*/ 72 w 111"/>
                <a:gd name="T19" fmla="*/ 57 h 154"/>
                <a:gd name="T20" fmla="*/ 57 w 111"/>
                <a:gd name="T21" fmla="*/ 54 h 154"/>
                <a:gd name="T22" fmla="*/ 51 w 111"/>
                <a:gd name="T23" fmla="*/ 42 h 154"/>
                <a:gd name="T24" fmla="*/ 57 w 111"/>
                <a:gd name="T25" fmla="*/ 27 h 154"/>
                <a:gd name="T26" fmla="*/ 57 w 111"/>
                <a:gd name="T27" fmla="*/ 9 h 154"/>
                <a:gd name="T28" fmla="*/ 54 w 111"/>
                <a:gd name="T29" fmla="*/ 3 h 154"/>
                <a:gd name="T30" fmla="*/ 39 w 111"/>
                <a:gd name="T31" fmla="*/ 3 h 154"/>
                <a:gd name="T32" fmla="*/ 36 w 111"/>
                <a:gd name="T33" fmla="*/ 30 h 154"/>
                <a:gd name="T34" fmla="*/ 30 w 111"/>
                <a:gd name="T35" fmla="*/ 27 h 154"/>
                <a:gd name="T36" fmla="*/ 33 w 111"/>
                <a:gd name="T37" fmla="*/ 42 h 154"/>
                <a:gd name="T38" fmla="*/ 36 w 111"/>
                <a:gd name="T39" fmla="*/ 51 h 154"/>
                <a:gd name="T40" fmla="*/ 48 w 111"/>
                <a:gd name="T41" fmla="*/ 57 h 154"/>
                <a:gd name="T42" fmla="*/ 60 w 111"/>
                <a:gd name="T43" fmla="*/ 60 h 154"/>
                <a:gd name="T44" fmla="*/ 39 w 111"/>
                <a:gd name="T45" fmla="*/ 63 h 154"/>
                <a:gd name="T46" fmla="*/ 48 w 111"/>
                <a:gd name="T47" fmla="*/ 76 h 154"/>
                <a:gd name="T48" fmla="*/ 39 w 111"/>
                <a:gd name="T49" fmla="*/ 63 h 154"/>
                <a:gd name="T50" fmla="*/ 57 w 111"/>
                <a:gd name="T51" fmla="*/ 94 h 154"/>
                <a:gd name="T52" fmla="*/ 63 w 111"/>
                <a:gd name="T53" fmla="*/ 91 h 154"/>
                <a:gd name="T54" fmla="*/ 63 w 111"/>
                <a:gd name="T55" fmla="*/ 100 h 154"/>
                <a:gd name="T56" fmla="*/ 66 w 111"/>
                <a:gd name="T57" fmla="*/ 112 h 154"/>
                <a:gd name="T58" fmla="*/ 78 w 111"/>
                <a:gd name="T59" fmla="*/ 94 h 154"/>
                <a:gd name="T60" fmla="*/ 72 w 111"/>
                <a:gd name="T61" fmla="*/ 94 h 154"/>
                <a:gd name="T62" fmla="*/ 57 w 111"/>
                <a:gd name="T63" fmla="*/ 79 h 154"/>
                <a:gd name="T64" fmla="*/ 57 w 111"/>
                <a:gd name="T65" fmla="*/ 94 h 154"/>
                <a:gd name="T66" fmla="*/ 18 w 111"/>
                <a:gd name="T67" fmla="*/ 103 h 154"/>
                <a:gd name="T68" fmla="*/ 3 w 111"/>
                <a:gd name="T69" fmla="*/ 121 h 154"/>
                <a:gd name="T70" fmla="*/ 24 w 111"/>
                <a:gd name="T71" fmla="*/ 100 h 154"/>
                <a:gd name="T72" fmla="*/ 27 w 111"/>
                <a:gd name="T73" fmla="*/ 88 h 154"/>
                <a:gd name="T74" fmla="*/ 18 w 111"/>
                <a:gd name="T75" fmla="*/ 103 h 154"/>
                <a:gd name="T76" fmla="*/ 75 w 111"/>
                <a:gd name="T77" fmla="*/ 109 h 154"/>
                <a:gd name="T78" fmla="*/ 84 w 111"/>
                <a:gd name="T79" fmla="*/ 103 h 154"/>
                <a:gd name="T80" fmla="*/ 75 w 111"/>
                <a:gd name="T81" fmla="*/ 109 h 154"/>
                <a:gd name="T82" fmla="*/ 105 w 111"/>
                <a:gd name="T83" fmla="*/ 133 h 154"/>
                <a:gd name="T84" fmla="*/ 105 w 111"/>
                <a:gd name="T85" fmla="*/ 109 h 154"/>
                <a:gd name="T86" fmla="*/ 96 w 111"/>
                <a:gd name="T87" fmla="*/ 109 h 154"/>
                <a:gd name="T88" fmla="*/ 90 w 111"/>
                <a:gd name="T89" fmla="*/ 115 h 154"/>
                <a:gd name="T90" fmla="*/ 84 w 111"/>
                <a:gd name="T91" fmla="*/ 121 h 154"/>
                <a:gd name="T92" fmla="*/ 72 w 111"/>
                <a:gd name="T93" fmla="*/ 118 h 154"/>
                <a:gd name="T94" fmla="*/ 60 w 111"/>
                <a:gd name="T95" fmla="*/ 124 h 154"/>
                <a:gd name="T96" fmla="*/ 54 w 111"/>
                <a:gd name="T97" fmla="*/ 136 h 154"/>
                <a:gd name="T98" fmla="*/ 66 w 111"/>
                <a:gd name="T99" fmla="*/ 130 h 154"/>
                <a:gd name="T100" fmla="*/ 75 w 111"/>
                <a:gd name="T101" fmla="*/ 127 h 154"/>
                <a:gd name="T102" fmla="*/ 84 w 111"/>
                <a:gd name="T103" fmla="*/ 148 h 154"/>
                <a:gd name="T104" fmla="*/ 96 w 111"/>
                <a:gd name="T105" fmla="*/ 154 h 154"/>
                <a:gd name="T106" fmla="*/ 93 w 111"/>
                <a:gd name="T107" fmla="*/ 139 h 154"/>
                <a:gd name="T108" fmla="*/ 105 w 111"/>
                <a:gd name="T109" fmla="*/ 13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154">
                  <a:moveTo>
                    <a:pt x="60" y="60"/>
                  </a:moveTo>
                  <a:cubicBezTo>
                    <a:pt x="66" y="57"/>
                    <a:pt x="75" y="66"/>
                    <a:pt x="72" y="70"/>
                  </a:cubicBezTo>
                  <a:cubicBezTo>
                    <a:pt x="72" y="73"/>
                    <a:pt x="72" y="82"/>
                    <a:pt x="75" y="79"/>
                  </a:cubicBezTo>
                  <a:cubicBezTo>
                    <a:pt x="78" y="76"/>
                    <a:pt x="84" y="82"/>
                    <a:pt x="81" y="85"/>
                  </a:cubicBezTo>
                  <a:cubicBezTo>
                    <a:pt x="78" y="88"/>
                    <a:pt x="84" y="94"/>
                    <a:pt x="87" y="100"/>
                  </a:cubicBezTo>
                  <a:cubicBezTo>
                    <a:pt x="87" y="103"/>
                    <a:pt x="90" y="100"/>
                    <a:pt x="90" y="97"/>
                  </a:cubicBezTo>
                  <a:cubicBezTo>
                    <a:pt x="90" y="91"/>
                    <a:pt x="90" y="91"/>
                    <a:pt x="96" y="88"/>
                  </a:cubicBezTo>
                  <a:cubicBezTo>
                    <a:pt x="99" y="85"/>
                    <a:pt x="96" y="82"/>
                    <a:pt x="93" y="76"/>
                  </a:cubicBezTo>
                  <a:cubicBezTo>
                    <a:pt x="90" y="70"/>
                    <a:pt x="78" y="73"/>
                    <a:pt x="78" y="66"/>
                  </a:cubicBezTo>
                  <a:cubicBezTo>
                    <a:pt x="78" y="60"/>
                    <a:pt x="72" y="60"/>
                    <a:pt x="72" y="57"/>
                  </a:cubicBezTo>
                  <a:cubicBezTo>
                    <a:pt x="72" y="54"/>
                    <a:pt x="63" y="51"/>
                    <a:pt x="57" y="54"/>
                  </a:cubicBezTo>
                  <a:cubicBezTo>
                    <a:pt x="51" y="57"/>
                    <a:pt x="54" y="48"/>
                    <a:pt x="51" y="42"/>
                  </a:cubicBezTo>
                  <a:cubicBezTo>
                    <a:pt x="45" y="39"/>
                    <a:pt x="54" y="33"/>
                    <a:pt x="57" y="27"/>
                  </a:cubicBezTo>
                  <a:cubicBezTo>
                    <a:pt x="63" y="21"/>
                    <a:pt x="57" y="12"/>
                    <a:pt x="57" y="9"/>
                  </a:cubicBezTo>
                  <a:cubicBezTo>
                    <a:pt x="57" y="3"/>
                    <a:pt x="57" y="3"/>
                    <a:pt x="54" y="3"/>
                  </a:cubicBezTo>
                  <a:cubicBezTo>
                    <a:pt x="54" y="6"/>
                    <a:pt x="42" y="0"/>
                    <a:pt x="39" y="3"/>
                  </a:cubicBezTo>
                  <a:cubicBezTo>
                    <a:pt x="36" y="6"/>
                    <a:pt x="39" y="27"/>
                    <a:pt x="36" y="30"/>
                  </a:cubicBezTo>
                  <a:cubicBezTo>
                    <a:pt x="36" y="30"/>
                    <a:pt x="33" y="27"/>
                    <a:pt x="30" y="27"/>
                  </a:cubicBezTo>
                  <a:cubicBezTo>
                    <a:pt x="30" y="30"/>
                    <a:pt x="33" y="42"/>
                    <a:pt x="33" y="42"/>
                  </a:cubicBezTo>
                  <a:cubicBezTo>
                    <a:pt x="36" y="42"/>
                    <a:pt x="39" y="48"/>
                    <a:pt x="36" y="51"/>
                  </a:cubicBezTo>
                  <a:cubicBezTo>
                    <a:pt x="36" y="57"/>
                    <a:pt x="42" y="57"/>
                    <a:pt x="48" y="57"/>
                  </a:cubicBezTo>
                  <a:cubicBezTo>
                    <a:pt x="54" y="54"/>
                    <a:pt x="54" y="60"/>
                    <a:pt x="60" y="60"/>
                  </a:cubicBezTo>
                  <a:close/>
                  <a:moveTo>
                    <a:pt x="39" y="63"/>
                  </a:moveTo>
                  <a:cubicBezTo>
                    <a:pt x="39" y="66"/>
                    <a:pt x="42" y="76"/>
                    <a:pt x="48" y="76"/>
                  </a:cubicBezTo>
                  <a:cubicBezTo>
                    <a:pt x="57" y="73"/>
                    <a:pt x="36" y="57"/>
                    <a:pt x="39" y="63"/>
                  </a:cubicBezTo>
                  <a:close/>
                  <a:moveTo>
                    <a:pt x="57" y="94"/>
                  </a:moveTo>
                  <a:cubicBezTo>
                    <a:pt x="57" y="94"/>
                    <a:pt x="63" y="94"/>
                    <a:pt x="63" y="91"/>
                  </a:cubicBezTo>
                  <a:cubicBezTo>
                    <a:pt x="63" y="88"/>
                    <a:pt x="66" y="97"/>
                    <a:pt x="63" y="100"/>
                  </a:cubicBezTo>
                  <a:cubicBezTo>
                    <a:pt x="60" y="103"/>
                    <a:pt x="60" y="112"/>
                    <a:pt x="66" y="112"/>
                  </a:cubicBezTo>
                  <a:cubicBezTo>
                    <a:pt x="69" y="115"/>
                    <a:pt x="78" y="97"/>
                    <a:pt x="78" y="94"/>
                  </a:cubicBezTo>
                  <a:cubicBezTo>
                    <a:pt x="75" y="91"/>
                    <a:pt x="72" y="97"/>
                    <a:pt x="72" y="94"/>
                  </a:cubicBezTo>
                  <a:cubicBezTo>
                    <a:pt x="75" y="88"/>
                    <a:pt x="60" y="79"/>
                    <a:pt x="57" y="79"/>
                  </a:cubicBezTo>
                  <a:cubicBezTo>
                    <a:pt x="51" y="82"/>
                    <a:pt x="51" y="97"/>
                    <a:pt x="57" y="94"/>
                  </a:cubicBezTo>
                  <a:close/>
                  <a:moveTo>
                    <a:pt x="18" y="103"/>
                  </a:moveTo>
                  <a:cubicBezTo>
                    <a:pt x="12" y="109"/>
                    <a:pt x="0" y="118"/>
                    <a:pt x="3" y="121"/>
                  </a:cubicBezTo>
                  <a:cubicBezTo>
                    <a:pt x="6" y="124"/>
                    <a:pt x="18" y="106"/>
                    <a:pt x="24" y="100"/>
                  </a:cubicBezTo>
                  <a:cubicBezTo>
                    <a:pt x="30" y="97"/>
                    <a:pt x="27" y="94"/>
                    <a:pt x="27" y="88"/>
                  </a:cubicBezTo>
                  <a:cubicBezTo>
                    <a:pt x="24" y="85"/>
                    <a:pt x="21" y="97"/>
                    <a:pt x="18" y="103"/>
                  </a:cubicBezTo>
                  <a:close/>
                  <a:moveTo>
                    <a:pt x="75" y="109"/>
                  </a:moveTo>
                  <a:cubicBezTo>
                    <a:pt x="78" y="112"/>
                    <a:pt x="87" y="106"/>
                    <a:pt x="84" y="103"/>
                  </a:cubicBezTo>
                  <a:cubicBezTo>
                    <a:pt x="81" y="100"/>
                    <a:pt x="75" y="106"/>
                    <a:pt x="75" y="109"/>
                  </a:cubicBezTo>
                  <a:close/>
                  <a:moveTo>
                    <a:pt x="105" y="133"/>
                  </a:moveTo>
                  <a:cubicBezTo>
                    <a:pt x="111" y="130"/>
                    <a:pt x="105" y="118"/>
                    <a:pt x="105" y="109"/>
                  </a:cubicBezTo>
                  <a:cubicBezTo>
                    <a:pt x="105" y="100"/>
                    <a:pt x="93" y="103"/>
                    <a:pt x="96" y="109"/>
                  </a:cubicBezTo>
                  <a:cubicBezTo>
                    <a:pt x="99" y="115"/>
                    <a:pt x="90" y="109"/>
                    <a:pt x="90" y="115"/>
                  </a:cubicBezTo>
                  <a:cubicBezTo>
                    <a:pt x="90" y="121"/>
                    <a:pt x="81" y="115"/>
                    <a:pt x="84" y="121"/>
                  </a:cubicBezTo>
                  <a:cubicBezTo>
                    <a:pt x="84" y="124"/>
                    <a:pt x="75" y="121"/>
                    <a:pt x="72" y="118"/>
                  </a:cubicBezTo>
                  <a:cubicBezTo>
                    <a:pt x="69" y="115"/>
                    <a:pt x="66" y="124"/>
                    <a:pt x="60" y="124"/>
                  </a:cubicBezTo>
                  <a:cubicBezTo>
                    <a:pt x="54" y="127"/>
                    <a:pt x="51" y="136"/>
                    <a:pt x="54" y="136"/>
                  </a:cubicBezTo>
                  <a:cubicBezTo>
                    <a:pt x="60" y="136"/>
                    <a:pt x="60" y="130"/>
                    <a:pt x="66" y="130"/>
                  </a:cubicBezTo>
                  <a:cubicBezTo>
                    <a:pt x="69" y="133"/>
                    <a:pt x="69" y="127"/>
                    <a:pt x="75" y="127"/>
                  </a:cubicBezTo>
                  <a:cubicBezTo>
                    <a:pt x="78" y="130"/>
                    <a:pt x="75" y="145"/>
                    <a:pt x="84" y="148"/>
                  </a:cubicBezTo>
                  <a:cubicBezTo>
                    <a:pt x="90" y="148"/>
                    <a:pt x="90" y="154"/>
                    <a:pt x="96" y="154"/>
                  </a:cubicBezTo>
                  <a:cubicBezTo>
                    <a:pt x="99" y="154"/>
                    <a:pt x="93" y="142"/>
                    <a:pt x="93" y="139"/>
                  </a:cubicBezTo>
                  <a:cubicBezTo>
                    <a:pt x="96" y="136"/>
                    <a:pt x="102" y="139"/>
                    <a:pt x="105" y="1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4" name="Freeform 929"/>
            <p:cNvSpPr>
              <a:spLocks noEditPoints="1"/>
            </p:cNvSpPr>
            <p:nvPr userDrawn="1"/>
          </p:nvSpPr>
          <p:spPr bwMode="auto">
            <a:xfrm>
              <a:off x="5938" y="-1089"/>
              <a:ext cx="224" cy="139"/>
            </a:xfrm>
            <a:custGeom>
              <a:avLst/>
              <a:gdLst>
                <a:gd name="T0" fmla="*/ 102 w 144"/>
                <a:gd name="T1" fmla="*/ 83 h 89"/>
                <a:gd name="T2" fmla="*/ 96 w 144"/>
                <a:gd name="T3" fmla="*/ 74 h 89"/>
                <a:gd name="T4" fmla="*/ 84 w 144"/>
                <a:gd name="T5" fmla="*/ 71 h 89"/>
                <a:gd name="T6" fmla="*/ 75 w 144"/>
                <a:gd name="T7" fmla="*/ 56 h 89"/>
                <a:gd name="T8" fmla="*/ 72 w 144"/>
                <a:gd name="T9" fmla="*/ 47 h 89"/>
                <a:gd name="T10" fmla="*/ 75 w 144"/>
                <a:gd name="T11" fmla="*/ 38 h 89"/>
                <a:gd name="T12" fmla="*/ 54 w 144"/>
                <a:gd name="T13" fmla="*/ 27 h 89"/>
                <a:gd name="T14" fmla="*/ 9 w 144"/>
                <a:gd name="T15" fmla="*/ 3 h 89"/>
                <a:gd name="T16" fmla="*/ 0 w 144"/>
                <a:gd name="T17" fmla="*/ 0 h 89"/>
                <a:gd name="T18" fmla="*/ 0 w 144"/>
                <a:gd name="T19" fmla="*/ 71 h 89"/>
                <a:gd name="T20" fmla="*/ 12 w 144"/>
                <a:gd name="T21" fmla="*/ 74 h 89"/>
                <a:gd name="T22" fmla="*/ 27 w 144"/>
                <a:gd name="T23" fmla="*/ 68 h 89"/>
                <a:gd name="T24" fmla="*/ 33 w 144"/>
                <a:gd name="T25" fmla="*/ 59 h 89"/>
                <a:gd name="T26" fmla="*/ 57 w 144"/>
                <a:gd name="T27" fmla="*/ 65 h 89"/>
                <a:gd name="T28" fmla="*/ 81 w 144"/>
                <a:gd name="T29" fmla="*/ 86 h 89"/>
                <a:gd name="T30" fmla="*/ 105 w 144"/>
                <a:gd name="T31" fmla="*/ 89 h 89"/>
                <a:gd name="T32" fmla="*/ 102 w 144"/>
                <a:gd name="T33" fmla="*/ 83 h 89"/>
                <a:gd name="T34" fmla="*/ 123 w 144"/>
                <a:gd name="T35" fmla="*/ 24 h 89"/>
                <a:gd name="T36" fmla="*/ 108 w 144"/>
                <a:gd name="T37" fmla="*/ 32 h 89"/>
                <a:gd name="T38" fmla="*/ 84 w 144"/>
                <a:gd name="T39" fmla="*/ 32 h 89"/>
                <a:gd name="T40" fmla="*/ 102 w 144"/>
                <a:gd name="T41" fmla="*/ 41 h 89"/>
                <a:gd name="T42" fmla="*/ 126 w 144"/>
                <a:gd name="T43" fmla="*/ 30 h 89"/>
                <a:gd name="T44" fmla="*/ 129 w 144"/>
                <a:gd name="T45" fmla="*/ 21 h 89"/>
                <a:gd name="T46" fmla="*/ 123 w 144"/>
                <a:gd name="T47" fmla="*/ 24 h 89"/>
                <a:gd name="T48" fmla="*/ 135 w 144"/>
                <a:gd name="T49" fmla="*/ 12 h 89"/>
                <a:gd name="T50" fmla="*/ 129 w 144"/>
                <a:gd name="T51" fmla="*/ 12 h 89"/>
                <a:gd name="T52" fmla="*/ 138 w 144"/>
                <a:gd name="T53" fmla="*/ 24 h 89"/>
                <a:gd name="T54" fmla="*/ 135 w 144"/>
                <a:gd name="T55" fmla="*/ 1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 h="89">
                  <a:moveTo>
                    <a:pt x="102" y="83"/>
                  </a:moveTo>
                  <a:cubicBezTo>
                    <a:pt x="102" y="83"/>
                    <a:pt x="96" y="77"/>
                    <a:pt x="96" y="74"/>
                  </a:cubicBezTo>
                  <a:cubicBezTo>
                    <a:pt x="96" y="74"/>
                    <a:pt x="90" y="74"/>
                    <a:pt x="84" y="71"/>
                  </a:cubicBezTo>
                  <a:cubicBezTo>
                    <a:pt x="78" y="68"/>
                    <a:pt x="81" y="56"/>
                    <a:pt x="75" y="56"/>
                  </a:cubicBezTo>
                  <a:cubicBezTo>
                    <a:pt x="72" y="53"/>
                    <a:pt x="66" y="44"/>
                    <a:pt x="72" y="47"/>
                  </a:cubicBezTo>
                  <a:cubicBezTo>
                    <a:pt x="78" y="47"/>
                    <a:pt x="81" y="44"/>
                    <a:pt x="75" y="38"/>
                  </a:cubicBezTo>
                  <a:cubicBezTo>
                    <a:pt x="72" y="35"/>
                    <a:pt x="54" y="32"/>
                    <a:pt x="54" y="27"/>
                  </a:cubicBezTo>
                  <a:cubicBezTo>
                    <a:pt x="54" y="21"/>
                    <a:pt x="21" y="6"/>
                    <a:pt x="9" y="3"/>
                  </a:cubicBezTo>
                  <a:cubicBezTo>
                    <a:pt x="6" y="3"/>
                    <a:pt x="3" y="0"/>
                    <a:pt x="0" y="0"/>
                  </a:cubicBezTo>
                  <a:cubicBezTo>
                    <a:pt x="0" y="71"/>
                    <a:pt x="0" y="71"/>
                    <a:pt x="0" y="71"/>
                  </a:cubicBezTo>
                  <a:cubicBezTo>
                    <a:pt x="3" y="71"/>
                    <a:pt x="9" y="74"/>
                    <a:pt x="12" y="74"/>
                  </a:cubicBezTo>
                  <a:cubicBezTo>
                    <a:pt x="27" y="74"/>
                    <a:pt x="24" y="68"/>
                    <a:pt x="27" y="68"/>
                  </a:cubicBezTo>
                  <a:cubicBezTo>
                    <a:pt x="30" y="68"/>
                    <a:pt x="30" y="62"/>
                    <a:pt x="33" y="59"/>
                  </a:cubicBezTo>
                  <a:cubicBezTo>
                    <a:pt x="36" y="56"/>
                    <a:pt x="48" y="59"/>
                    <a:pt x="57" y="65"/>
                  </a:cubicBezTo>
                  <a:cubicBezTo>
                    <a:pt x="63" y="71"/>
                    <a:pt x="72" y="86"/>
                    <a:pt x="81" y="86"/>
                  </a:cubicBezTo>
                  <a:cubicBezTo>
                    <a:pt x="90" y="83"/>
                    <a:pt x="99" y="89"/>
                    <a:pt x="105" y="89"/>
                  </a:cubicBezTo>
                  <a:cubicBezTo>
                    <a:pt x="111" y="89"/>
                    <a:pt x="105" y="83"/>
                    <a:pt x="102" y="83"/>
                  </a:cubicBezTo>
                  <a:close/>
                  <a:moveTo>
                    <a:pt x="123" y="24"/>
                  </a:moveTo>
                  <a:cubicBezTo>
                    <a:pt x="123" y="27"/>
                    <a:pt x="117" y="30"/>
                    <a:pt x="108" y="32"/>
                  </a:cubicBezTo>
                  <a:cubicBezTo>
                    <a:pt x="99" y="35"/>
                    <a:pt x="84" y="30"/>
                    <a:pt x="84" y="32"/>
                  </a:cubicBezTo>
                  <a:cubicBezTo>
                    <a:pt x="84" y="35"/>
                    <a:pt x="93" y="41"/>
                    <a:pt x="102" y="41"/>
                  </a:cubicBezTo>
                  <a:cubicBezTo>
                    <a:pt x="111" y="41"/>
                    <a:pt x="126" y="32"/>
                    <a:pt x="126" y="30"/>
                  </a:cubicBezTo>
                  <a:cubicBezTo>
                    <a:pt x="126" y="27"/>
                    <a:pt x="132" y="24"/>
                    <a:pt x="129" y="21"/>
                  </a:cubicBezTo>
                  <a:cubicBezTo>
                    <a:pt x="126" y="18"/>
                    <a:pt x="123" y="21"/>
                    <a:pt x="123" y="24"/>
                  </a:cubicBezTo>
                  <a:close/>
                  <a:moveTo>
                    <a:pt x="135" y="12"/>
                  </a:moveTo>
                  <a:cubicBezTo>
                    <a:pt x="129" y="9"/>
                    <a:pt x="123" y="6"/>
                    <a:pt x="129" y="12"/>
                  </a:cubicBezTo>
                  <a:cubicBezTo>
                    <a:pt x="138" y="18"/>
                    <a:pt x="132" y="24"/>
                    <a:pt x="138" y="24"/>
                  </a:cubicBezTo>
                  <a:cubicBezTo>
                    <a:pt x="144" y="21"/>
                    <a:pt x="138" y="15"/>
                    <a:pt x="135"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5" name="Freeform 930"/>
            <p:cNvSpPr>
              <a:spLocks noEditPoints="1"/>
            </p:cNvSpPr>
            <p:nvPr userDrawn="1"/>
          </p:nvSpPr>
          <p:spPr bwMode="auto">
            <a:xfrm>
              <a:off x="5938" y="-1089"/>
              <a:ext cx="224" cy="139"/>
            </a:xfrm>
            <a:custGeom>
              <a:avLst/>
              <a:gdLst>
                <a:gd name="T0" fmla="*/ 102 w 144"/>
                <a:gd name="T1" fmla="*/ 83 h 89"/>
                <a:gd name="T2" fmla="*/ 96 w 144"/>
                <a:gd name="T3" fmla="*/ 74 h 89"/>
                <a:gd name="T4" fmla="*/ 84 w 144"/>
                <a:gd name="T5" fmla="*/ 71 h 89"/>
                <a:gd name="T6" fmla="*/ 75 w 144"/>
                <a:gd name="T7" fmla="*/ 56 h 89"/>
                <a:gd name="T8" fmla="*/ 72 w 144"/>
                <a:gd name="T9" fmla="*/ 47 h 89"/>
                <a:gd name="T10" fmla="*/ 75 w 144"/>
                <a:gd name="T11" fmla="*/ 38 h 89"/>
                <a:gd name="T12" fmla="*/ 54 w 144"/>
                <a:gd name="T13" fmla="*/ 27 h 89"/>
                <a:gd name="T14" fmla="*/ 9 w 144"/>
                <a:gd name="T15" fmla="*/ 3 h 89"/>
                <a:gd name="T16" fmla="*/ 0 w 144"/>
                <a:gd name="T17" fmla="*/ 0 h 89"/>
                <a:gd name="T18" fmla="*/ 0 w 144"/>
                <a:gd name="T19" fmla="*/ 71 h 89"/>
                <a:gd name="T20" fmla="*/ 12 w 144"/>
                <a:gd name="T21" fmla="*/ 74 h 89"/>
                <a:gd name="T22" fmla="*/ 27 w 144"/>
                <a:gd name="T23" fmla="*/ 68 h 89"/>
                <a:gd name="T24" fmla="*/ 33 w 144"/>
                <a:gd name="T25" fmla="*/ 59 h 89"/>
                <a:gd name="T26" fmla="*/ 57 w 144"/>
                <a:gd name="T27" fmla="*/ 65 h 89"/>
                <a:gd name="T28" fmla="*/ 81 w 144"/>
                <a:gd name="T29" fmla="*/ 86 h 89"/>
                <a:gd name="T30" fmla="*/ 105 w 144"/>
                <a:gd name="T31" fmla="*/ 89 h 89"/>
                <a:gd name="T32" fmla="*/ 102 w 144"/>
                <a:gd name="T33" fmla="*/ 83 h 89"/>
                <a:gd name="T34" fmla="*/ 123 w 144"/>
                <a:gd name="T35" fmla="*/ 24 h 89"/>
                <a:gd name="T36" fmla="*/ 108 w 144"/>
                <a:gd name="T37" fmla="*/ 32 h 89"/>
                <a:gd name="T38" fmla="*/ 84 w 144"/>
                <a:gd name="T39" fmla="*/ 32 h 89"/>
                <a:gd name="T40" fmla="*/ 102 w 144"/>
                <a:gd name="T41" fmla="*/ 41 h 89"/>
                <a:gd name="T42" fmla="*/ 126 w 144"/>
                <a:gd name="T43" fmla="*/ 30 h 89"/>
                <a:gd name="T44" fmla="*/ 129 w 144"/>
                <a:gd name="T45" fmla="*/ 21 h 89"/>
                <a:gd name="T46" fmla="*/ 123 w 144"/>
                <a:gd name="T47" fmla="*/ 24 h 89"/>
                <a:gd name="T48" fmla="*/ 135 w 144"/>
                <a:gd name="T49" fmla="*/ 12 h 89"/>
                <a:gd name="T50" fmla="*/ 129 w 144"/>
                <a:gd name="T51" fmla="*/ 12 h 89"/>
                <a:gd name="T52" fmla="*/ 138 w 144"/>
                <a:gd name="T53" fmla="*/ 24 h 89"/>
                <a:gd name="T54" fmla="*/ 135 w 144"/>
                <a:gd name="T55" fmla="*/ 1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 h="89">
                  <a:moveTo>
                    <a:pt x="102" y="83"/>
                  </a:moveTo>
                  <a:cubicBezTo>
                    <a:pt x="102" y="83"/>
                    <a:pt x="96" y="77"/>
                    <a:pt x="96" y="74"/>
                  </a:cubicBezTo>
                  <a:cubicBezTo>
                    <a:pt x="96" y="74"/>
                    <a:pt x="90" y="74"/>
                    <a:pt x="84" y="71"/>
                  </a:cubicBezTo>
                  <a:cubicBezTo>
                    <a:pt x="78" y="68"/>
                    <a:pt x="81" y="56"/>
                    <a:pt x="75" y="56"/>
                  </a:cubicBezTo>
                  <a:cubicBezTo>
                    <a:pt x="72" y="53"/>
                    <a:pt x="66" y="44"/>
                    <a:pt x="72" y="47"/>
                  </a:cubicBezTo>
                  <a:cubicBezTo>
                    <a:pt x="78" y="47"/>
                    <a:pt x="81" y="44"/>
                    <a:pt x="75" y="38"/>
                  </a:cubicBezTo>
                  <a:cubicBezTo>
                    <a:pt x="72" y="35"/>
                    <a:pt x="54" y="32"/>
                    <a:pt x="54" y="27"/>
                  </a:cubicBezTo>
                  <a:cubicBezTo>
                    <a:pt x="54" y="21"/>
                    <a:pt x="21" y="6"/>
                    <a:pt x="9" y="3"/>
                  </a:cubicBezTo>
                  <a:cubicBezTo>
                    <a:pt x="6" y="3"/>
                    <a:pt x="3" y="0"/>
                    <a:pt x="0" y="0"/>
                  </a:cubicBezTo>
                  <a:cubicBezTo>
                    <a:pt x="0" y="71"/>
                    <a:pt x="0" y="71"/>
                    <a:pt x="0" y="71"/>
                  </a:cubicBezTo>
                  <a:cubicBezTo>
                    <a:pt x="3" y="71"/>
                    <a:pt x="9" y="74"/>
                    <a:pt x="12" y="74"/>
                  </a:cubicBezTo>
                  <a:cubicBezTo>
                    <a:pt x="27" y="74"/>
                    <a:pt x="24" y="68"/>
                    <a:pt x="27" y="68"/>
                  </a:cubicBezTo>
                  <a:cubicBezTo>
                    <a:pt x="30" y="68"/>
                    <a:pt x="30" y="62"/>
                    <a:pt x="33" y="59"/>
                  </a:cubicBezTo>
                  <a:cubicBezTo>
                    <a:pt x="36" y="56"/>
                    <a:pt x="48" y="59"/>
                    <a:pt x="57" y="65"/>
                  </a:cubicBezTo>
                  <a:cubicBezTo>
                    <a:pt x="63" y="71"/>
                    <a:pt x="72" y="86"/>
                    <a:pt x="81" y="86"/>
                  </a:cubicBezTo>
                  <a:cubicBezTo>
                    <a:pt x="90" y="83"/>
                    <a:pt x="99" y="89"/>
                    <a:pt x="105" y="89"/>
                  </a:cubicBezTo>
                  <a:cubicBezTo>
                    <a:pt x="111" y="89"/>
                    <a:pt x="105" y="83"/>
                    <a:pt x="102" y="83"/>
                  </a:cubicBezTo>
                  <a:close/>
                  <a:moveTo>
                    <a:pt x="123" y="24"/>
                  </a:moveTo>
                  <a:cubicBezTo>
                    <a:pt x="123" y="27"/>
                    <a:pt x="117" y="30"/>
                    <a:pt x="108" y="32"/>
                  </a:cubicBezTo>
                  <a:cubicBezTo>
                    <a:pt x="99" y="35"/>
                    <a:pt x="84" y="30"/>
                    <a:pt x="84" y="32"/>
                  </a:cubicBezTo>
                  <a:cubicBezTo>
                    <a:pt x="84" y="35"/>
                    <a:pt x="93" y="41"/>
                    <a:pt x="102" y="41"/>
                  </a:cubicBezTo>
                  <a:cubicBezTo>
                    <a:pt x="111" y="41"/>
                    <a:pt x="126" y="32"/>
                    <a:pt x="126" y="30"/>
                  </a:cubicBezTo>
                  <a:cubicBezTo>
                    <a:pt x="126" y="27"/>
                    <a:pt x="132" y="24"/>
                    <a:pt x="129" y="21"/>
                  </a:cubicBezTo>
                  <a:cubicBezTo>
                    <a:pt x="126" y="18"/>
                    <a:pt x="123" y="21"/>
                    <a:pt x="123" y="24"/>
                  </a:cubicBezTo>
                  <a:close/>
                  <a:moveTo>
                    <a:pt x="135" y="12"/>
                  </a:moveTo>
                  <a:cubicBezTo>
                    <a:pt x="129" y="9"/>
                    <a:pt x="123" y="6"/>
                    <a:pt x="129" y="12"/>
                  </a:cubicBezTo>
                  <a:cubicBezTo>
                    <a:pt x="138" y="18"/>
                    <a:pt x="132" y="24"/>
                    <a:pt x="138" y="24"/>
                  </a:cubicBezTo>
                  <a:cubicBezTo>
                    <a:pt x="144" y="21"/>
                    <a:pt x="138" y="15"/>
                    <a:pt x="135"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6" name="Freeform 931"/>
            <p:cNvSpPr>
              <a:spLocks/>
            </p:cNvSpPr>
            <p:nvPr userDrawn="1"/>
          </p:nvSpPr>
          <p:spPr bwMode="auto">
            <a:xfrm>
              <a:off x="4876" y="-1310"/>
              <a:ext cx="38" cy="70"/>
            </a:xfrm>
            <a:custGeom>
              <a:avLst/>
              <a:gdLst>
                <a:gd name="T0" fmla="*/ 6 w 24"/>
                <a:gd name="T1" fmla="*/ 0 h 45"/>
                <a:gd name="T2" fmla="*/ 3 w 24"/>
                <a:gd name="T3" fmla="*/ 9 h 45"/>
                <a:gd name="T4" fmla="*/ 3 w 24"/>
                <a:gd name="T5" fmla="*/ 24 h 45"/>
                <a:gd name="T6" fmla="*/ 6 w 24"/>
                <a:gd name="T7" fmla="*/ 42 h 45"/>
                <a:gd name="T8" fmla="*/ 24 w 24"/>
                <a:gd name="T9" fmla="*/ 27 h 45"/>
                <a:gd name="T10" fmla="*/ 6 w 24"/>
                <a:gd name="T11" fmla="*/ 0 h 45"/>
              </a:gdLst>
              <a:ahLst/>
              <a:cxnLst>
                <a:cxn ang="0">
                  <a:pos x="T0" y="T1"/>
                </a:cxn>
                <a:cxn ang="0">
                  <a:pos x="T2" y="T3"/>
                </a:cxn>
                <a:cxn ang="0">
                  <a:pos x="T4" y="T5"/>
                </a:cxn>
                <a:cxn ang="0">
                  <a:pos x="T6" y="T7"/>
                </a:cxn>
                <a:cxn ang="0">
                  <a:pos x="T8" y="T9"/>
                </a:cxn>
                <a:cxn ang="0">
                  <a:pos x="T10" y="T11"/>
                </a:cxn>
              </a:cxnLst>
              <a:rect l="0" t="0" r="r" b="b"/>
              <a:pathLst>
                <a:path w="24" h="45">
                  <a:moveTo>
                    <a:pt x="6" y="0"/>
                  </a:moveTo>
                  <a:cubicBezTo>
                    <a:pt x="3" y="0"/>
                    <a:pt x="3" y="6"/>
                    <a:pt x="3" y="9"/>
                  </a:cubicBezTo>
                  <a:cubicBezTo>
                    <a:pt x="0" y="15"/>
                    <a:pt x="0" y="18"/>
                    <a:pt x="3" y="24"/>
                  </a:cubicBezTo>
                  <a:cubicBezTo>
                    <a:pt x="3" y="30"/>
                    <a:pt x="3" y="39"/>
                    <a:pt x="6" y="42"/>
                  </a:cubicBezTo>
                  <a:cubicBezTo>
                    <a:pt x="15" y="45"/>
                    <a:pt x="24" y="36"/>
                    <a:pt x="24" y="27"/>
                  </a:cubicBezTo>
                  <a:cubicBezTo>
                    <a:pt x="24" y="15"/>
                    <a:pt x="9" y="0"/>
                    <a:pt x="6"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7" name="Freeform 932"/>
            <p:cNvSpPr>
              <a:spLocks/>
            </p:cNvSpPr>
            <p:nvPr userDrawn="1"/>
          </p:nvSpPr>
          <p:spPr bwMode="auto">
            <a:xfrm>
              <a:off x="4876" y="-1310"/>
              <a:ext cx="38" cy="70"/>
            </a:xfrm>
            <a:custGeom>
              <a:avLst/>
              <a:gdLst>
                <a:gd name="T0" fmla="*/ 6 w 24"/>
                <a:gd name="T1" fmla="*/ 0 h 45"/>
                <a:gd name="T2" fmla="*/ 3 w 24"/>
                <a:gd name="T3" fmla="*/ 9 h 45"/>
                <a:gd name="T4" fmla="*/ 3 w 24"/>
                <a:gd name="T5" fmla="*/ 24 h 45"/>
                <a:gd name="T6" fmla="*/ 6 w 24"/>
                <a:gd name="T7" fmla="*/ 42 h 45"/>
                <a:gd name="T8" fmla="*/ 24 w 24"/>
                <a:gd name="T9" fmla="*/ 27 h 45"/>
                <a:gd name="T10" fmla="*/ 6 w 24"/>
                <a:gd name="T11" fmla="*/ 0 h 45"/>
              </a:gdLst>
              <a:ahLst/>
              <a:cxnLst>
                <a:cxn ang="0">
                  <a:pos x="T0" y="T1"/>
                </a:cxn>
                <a:cxn ang="0">
                  <a:pos x="T2" y="T3"/>
                </a:cxn>
                <a:cxn ang="0">
                  <a:pos x="T4" y="T5"/>
                </a:cxn>
                <a:cxn ang="0">
                  <a:pos x="T6" y="T7"/>
                </a:cxn>
                <a:cxn ang="0">
                  <a:pos x="T8" y="T9"/>
                </a:cxn>
                <a:cxn ang="0">
                  <a:pos x="T10" y="T11"/>
                </a:cxn>
              </a:cxnLst>
              <a:rect l="0" t="0" r="r" b="b"/>
              <a:pathLst>
                <a:path w="24" h="45">
                  <a:moveTo>
                    <a:pt x="6" y="0"/>
                  </a:moveTo>
                  <a:cubicBezTo>
                    <a:pt x="3" y="0"/>
                    <a:pt x="3" y="6"/>
                    <a:pt x="3" y="9"/>
                  </a:cubicBezTo>
                  <a:cubicBezTo>
                    <a:pt x="0" y="15"/>
                    <a:pt x="0" y="18"/>
                    <a:pt x="3" y="24"/>
                  </a:cubicBezTo>
                  <a:cubicBezTo>
                    <a:pt x="3" y="30"/>
                    <a:pt x="3" y="39"/>
                    <a:pt x="6" y="42"/>
                  </a:cubicBezTo>
                  <a:cubicBezTo>
                    <a:pt x="15" y="45"/>
                    <a:pt x="24" y="36"/>
                    <a:pt x="24" y="27"/>
                  </a:cubicBezTo>
                  <a:cubicBezTo>
                    <a:pt x="24" y="15"/>
                    <a:pt x="9" y="0"/>
                    <a:pt x="6"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8" name="Freeform 933"/>
            <p:cNvSpPr>
              <a:spLocks/>
            </p:cNvSpPr>
            <p:nvPr userDrawn="1"/>
          </p:nvSpPr>
          <p:spPr bwMode="auto">
            <a:xfrm>
              <a:off x="4223" y="-936"/>
              <a:ext cx="131" cy="259"/>
            </a:xfrm>
            <a:custGeom>
              <a:avLst/>
              <a:gdLst>
                <a:gd name="T0" fmla="*/ 72 w 84"/>
                <a:gd name="T1" fmla="*/ 6 h 166"/>
                <a:gd name="T2" fmla="*/ 69 w 84"/>
                <a:gd name="T3" fmla="*/ 9 h 166"/>
                <a:gd name="T4" fmla="*/ 66 w 84"/>
                <a:gd name="T5" fmla="*/ 18 h 166"/>
                <a:gd name="T6" fmla="*/ 60 w 84"/>
                <a:gd name="T7" fmla="*/ 21 h 166"/>
                <a:gd name="T8" fmla="*/ 54 w 84"/>
                <a:gd name="T9" fmla="*/ 28 h 166"/>
                <a:gd name="T10" fmla="*/ 54 w 84"/>
                <a:gd name="T11" fmla="*/ 34 h 166"/>
                <a:gd name="T12" fmla="*/ 45 w 84"/>
                <a:gd name="T13" fmla="*/ 40 h 166"/>
                <a:gd name="T14" fmla="*/ 30 w 84"/>
                <a:gd name="T15" fmla="*/ 49 h 166"/>
                <a:gd name="T16" fmla="*/ 15 w 84"/>
                <a:gd name="T17" fmla="*/ 52 h 166"/>
                <a:gd name="T18" fmla="*/ 12 w 84"/>
                <a:gd name="T19" fmla="*/ 67 h 166"/>
                <a:gd name="T20" fmla="*/ 12 w 84"/>
                <a:gd name="T21" fmla="*/ 88 h 166"/>
                <a:gd name="T22" fmla="*/ 9 w 84"/>
                <a:gd name="T23" fmla="*/ 109 h 166"/>
                <a:gd name="T24" fmla="*/ 6 w 84"/>
                <a:gd name="T25" fmla="*/ 136 h 166"/>
                <a:gd name="T26" fmla="*/ 12 w 84"/>
                <a:gd name="T27" fmla="*/ 157 h 166"/>
                <a:gd name="T28" fmla="*/ 33 w 84"/>
                <a:gd name="T29" fmla="*/ 163 h 166"/>
                <a:gd name="T30" fmla="*/ 45 w 84"/>
                <a:gd name="T31" fmla="*/ 160 h 166"/>
                <a:gd name="T32" fmla="*/ 60 w 84"/>
                <a:gd name="T33" fmla="*/ 112 h 166"/>
                <a:gd name="T34" fmla="*/ 72 w 84"/>
                <a:gd name="T35" fmla="*/ 67 h 166"/>
                <a:gd name="T36" fmla="*/ 75 w 84"/>
                <a:gd name="T37" fmla="*/ 55 h 166"/>
                <a:gd name="T38" fmla="*/ 78 w 84"/>
                <a:gd name="T39" fmla="*/ 49 h 166"/>
                <a:gd name="T40" fmla="*/ 84 w 84"/>
                <a:gd name="T41" fmla="*/ 46 h 166"/>
                <a:gd name="T42" fmla="*/ 81 w 84"/>
                <a:gd name="T43" fmla="*/ 24 h 166"/>
                <a:gd name="T44" fmla="*/ 72 w 84"/>
                <a:gd name="T45" fmla="*/ 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66">
                  <a:moveTo>
                    <a:pt x="72" y="6"/>
                  </a:moveTo>
                  <a:cubicBezTo>
                    <a:pt x="72" y="0"/>
                    <a:pt x="69" y="6"/>
                    <a:pt x="69" y="9"/>
                  </a:cubicBezTo>
                  <a:cubicBezTo>
                    <a:pt x="66" y="9"/>
                    <a:pt x="66" y="15"/>
                    <a:pt x="66" y="18"/>
                  </a:cubicBezTo>
                  <a:cubicBezTo>
                    <a:pt x="66" y="18"/>
                    <a:pt x="63" y="21"/>
                    <a:pt x="60" y="21"/>
                  </a:cubicBezTo>
                  <a:cubicBezTo>
                    <a:pt x="57" y="21"/>
                    <a:pt x="54" y="24"/>
                    <a:pt x="54" y="28"/>
                  </a:cubicBezTo>
                  <a:cubicBezTo>
                    <a:pt x="54" y="31"/>
                    <a:pt x="51" y="31"/>
                    <a:pt x="54" y="34"/>
                  </a:cubicBezTo>
                  <a:cubicBezTo>
                    <a:pt x="54" y="37"/>
                    <a:pt x="51" y="40"/>
                    <a:pt x="45" y="40"/>
                  </a:cubicBezTo>
                  <a:cubicBezTo>
                    <a:pt x="42" y="40"/>
                    <a:pt x="36" y="49"/>
                    <a:pt x="30" y="49"/>
                  </a:cubicBezTo>
                  <a:cubicBezTo>
                    <a:pt x="24" y="49"/>
                    <a:pt x="21" y="52"/>
                    <a:pt x="15" y="52"/>
                  </a:cubicBezTo>
                  <a:cubicBezTo>
                    <a:pt x="12" y="52"/>
                    <a:pt x="15" y="61"/>
                    <a:pt x="12" y="67"/>
                  </a:cubicBezTo>
                  <a:cubicBezTo>
                    <a:pt x="6" y="73"/>
                    <a:pt x="9" y="79"/>
                    <a:pt x="12" y="88"/>
                  </a:cubicBezTo>
                  <a:cubicBezTo>
                    <a:pt x="15" y="94"/>
                    <a:pt x="18" y="100"/>
                    <a:pt x="9" y="109"/>
                  </a:cubicBezTo>
                  <a:cubicBezTo>
                    <a:pt x="0" y="118"/>
                    <a:pt x="3" y="130"/>
                    <a:pt x="6" y="136"/>
                  </a:cubicBezTo>
                  <a:cubicBezTo>
                    <a:pt x="9" y="142"/>
                    <a:pt x="9" y="154"/>
                    <a:pt x="12" y="157"/>
                  </a:cubicBezTo>
                  <a:cubicBezTo>
                    <a:pt x="18" y="163"/>
                    <a:pt x="30" y="166"/>
                    <a:pt x="33" y="163"/>
                  </a:cubicBezTo>
                  <a:cubicBezTo>
                    <a:pt x="36" y="160"/>
                    <a:pt x="39" y="163"/>
                    <a:pt x="45" y="160"/>
                  </a:cubicBezTo>
                  <a:cubicBezTo>
                    <a:pt x="48" y="154"/>
                    <a:pt x="54" y="127"/>
                    <a:pt x="60" y="112"/>
                  </a:cubicBezTo>
                  <a:cubicBezTo>
                    <a:pt x="66" y="94"/>
                    <a:pt x="72" y="73"/>
                    <a:pt x="72" y="67"/>
                  </a:cubicBezTo>
                  <a:cubicBezTo>
                    <a:pt x="72" y="64"/>
                    <a:pt x="78" y="61"/>
                    <a:pt x="75" y="55"/>
                  </a:cubicBezTo>
                  <a:cubicBezTo>
                    <a:pt x="72" y="49"/>
                    <a:pt x="75" y="43"/>
                    <a:pt x="78" y="49"/>
                  </a:cubicBezTo>
                  <a:cubicBezTo>
                    <a:pt x="81" y="52"/>
                    <a:pt x="84" y="52"/>
                    <a:pt x="84" y="46"/>
                  </a:cubicBezTo>
                  <a:cubicBezTo>
                    <a:pt x="84" y="40"/>
                    <a:pt x="81" y="34"/>
                    <a:pt x="81" y="24"/>
                  </a:cubicBezTo>
                  <a:cubicBezTo>
                    <a:pt x="81" y="15"/>
                    <a:pt x="72" y="9"/>
                    <a:pt x="72"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39" name="Freeform 934"/>
            <p:cNvSpPr>
              <a:spLocks/>
            </p:cNvSpPr>
            <p:nvPr userDrawn="1"/>
          </p:nvSpPr>
          <p:spPr bwMode="auto">
            <a:xfrm>
              <a:off x="4223" y="-936"/>
              <a:ext cx="131" cy="259"/>
            </a:xfrm>
            <a:custGeom>
              <a:avLst/>
              <a:gdLst>
                <a:gd name="T0" fmla="*/ 72 w 84"/>
                <a:gd name="T1" fmla="*/ 6 h 166"/>
                <a:gd name="T2" fmla="*/ 69 w 84"/>
                <a:gd name="T3" fmla="*/ 9 h 166"/>
                <a:gd name="T4" fmla="*/ 66 w 84"/>
                <a:gd name="T5" fmla="*/ 18 h 166"/>
                <a:gd name="T6" fmla="*/ 60 w 84"/>
                <a:gd name="T7" fmla="*/ 21 h 166"/>
                <a:gd name="T8" fmla="*/ 54 w 84"/>
                <a:gd name="T9" fmla="*/ 28 h 166"/>
                <a:gd name="T10" fmla="*/ 54 w 84"/>
                <a:gd name="T11" fmla="*/ 34 h 166"/>
                <a:gd name="T12" fmla="*/ 45 w 84"/>
                <a:gd name="T13" fmla="*/ 40 h 166"/>
                <a:gd name="T14" fmla="*/ 30 w 84"/>
                <a:gd name="T15" fmla="*/ 49 h 166"/>
                <a:gd name="T16" fmla="*/ 15 w 84"/>
                <a:gd name="T17" fmla="*/ 52 h 166"/>
                <a:gd name="T18" fmla="*/ 12 w 84"/>
                <a:gd name="T19" fmla="*/ 67 h 166"/>
                <a:gd name="T20" fmla="*/ 12 w 84"/>
                <a:gd name="T21" fmla="*/ 88 h 166"/>
                <a:gd name="T22" fmla="*/ 9 w 84"/>
                <a:gd name="T23" fmla="*/ 109 h 166"/>
                <a:gd name="T24" fmla="*/ 6 w 84"/>
                <a:gd name="T25" fmla="*/ 136 h 166"/>
                <a:gd name="T26" fmla="*/ 12 w 84"/>
                <a:gd name="T27" fmla="*/ 157 h 166"/>
                <a:gd name="T28" fmla="*/ 33 w 84"/>
                <a:gd name="T29" fmla="*/ 163 h 166"/>
                <a:gd name="T30" fmla="*/ 45 w 84"/>
                <a:gd name="T31" fmla="*/ 160 h 166"/>
                <a:gd name="T32" fmla="*/ 60 w 84"/>
                <a:gd name="T33" fmla="*/ 112 h 166"/>
                <a:gd name="T34" fmla="*/ 72 w 84"/>
                <a:gd name="T35" fmla="*/ 67 h 166"/>
                <a:gd name="T36" fmla="*/ 75 w 84"/>
                <a:gd name="T37" fmla="*/ 55 h 166"/>
                <a:gd name="T38" fmla="*/ 78 w 84"/>
                <a:gd name="T39" fmla="*/ 49 h 166"/>
                <a:gd name="T40" fmla="*/ 84 w 84"/>
                <a:gd name="T41" fmla="*/ 46 h 166"/>
                <a:gd name="T42" fmla="*/ 81 w 84"/>
                <a:gd name="T43" fmla="*/ 24 h 166"/>
                <a:gd name="T44" fmla="*/ 72 w 84"/>
                <a:gd name="T45" fmla="*/ 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66">
                  <a:moveTo>
                    <a:pt x="72" y="6"/>
                  </a:moveTo>
                  <a:cubicBezTo>
                    <a:pt x="72" y="0"/>
                    <a:pt x="69" y="6"/>
                    <a:pt x="69" y="9"/>
                  </a:cubicBezTo>
                  <a:cubicBezTo>
                    <a:pt x="66" y="9"/>
                    <a:pt x="66" y="15"/>
                    <a:pt x="66" y="18"/>
                  </a:cubicBezTo>
                  <a:cubicBezTo>
                    <a:pt x="66" y="18"/>
                    <a:pt x="63" y="21"/>
                    <a:pt x="60" y="21"/>
                  </a:cubicBezTo>
                  <a:cubicBezTo>
                    <a:pt x="57" y="21"/>
                    <a:pt x="54" y="24"/>
                    <a:pt x="54" y="28"/>
                  </a:cubicBezTo>
                  <a:cubicBezTo>
                    <a:pt x="54" y="31"/>
                    <a:pt x="51" y="31"/>
                    <a:pt x="54" y="34"/>
                  </a:cubicBezTo>
                  <a:cubicBezTo>
                    <a:pt x="54" y="37"/>
                    <a:pt x="51" y="40"/>
                    <a:pt x="45" y="40"/>
                  </a:cubicBezTo>
                  <a:cubicBezTo>
                    <a:pt x="42" y="40"/>
                    <a:pt x="36" y="49"/>
                    <a:pt x="30" y="49"/>
                  </a:cubicBezTo>
                  <a:cubicBezTo>
                    <a:pt x="24" y="49"/>
                    <a:pt x="21" y="52"/>
                    <a:pt x="15" y="52"/>
                  </a:cubicBezTo>
                  <a:cubicBezTo>
                    <a:pt x="12" y="52"/>
                    <a:pt x="15" y="61"/>
                    <a:pt x="12" y="67"/>
                  </a:cubicBezTo>
                  <a:cubicBezTo>
                    <a:pt x="6" y="73"/>
                    <a:pt x="9" y="79"/>
                    <a:pt x="12" y="88"/>
                  </a:cubicBezTo>
                  <a:cubicBezTo>
                    <a:pt x="15" y="94"/>
                    <a:pt x="18" y="100"/>
                    <a:pt x="9" y="109"/>
                  </a:cubicBezTo>
                  <a:cubicBezTo>
                    <a:pt x="0" y="118"/>
                    <a:pt x="3" y="130"/>
                    <a:pt x="6" y="136"/>
                  </a:cubicBezTo>
                  <a:cubicBezTo>
                    <a:pt x="9" y="142"/>
                    <a:pt x="9" y="154"/>
                    <a:pt x="12" y="157"/>
                  </a:cubicBezTo>
                  <a:cubicBezTo>
                    <a:pt x="18" y="163"/>
                    <a:pt x="30" y="166"/>
                    <a:pt x="33" y="163"/>
                  </a:cubicBezTo>
                  <a:cubicBezTo>
                    <a:pt x="36" y="160"/>
                    <a:pt x="39" y="163"/>
                    <a:pt x="45" y="160"/>
                  </a:cubicBezTo>
                  <a:cubicBezTo>
                    <a:pt x="48" y="154"/>
                    <a:pt x="54" y="127"/>
                    <a:pt x="60" y="112"/>
                  </a:cubicBezTo>
                  <a:cubicBezTo>
                    <a:pt x="66" y="94"/>
                    <a:pt x="72" y="73"/>
                    <a:pt x="72" y="67"/>
                  </a:cubicBezTo>
                  <a:cubicBezTo>
                    <a:pt x="72" y="64"/>
                    <a:pt x="78" y="61"/>
                    <a:pt x="75" y="55"/>
                  </a:cubicBezTo>
                  <a:cubicBezTo>
                    <a:pt x="72" y="49"/>
                    <a:pt x="75" y="43"/>
                    <a:pt x="78" y="49"/>
                  </a:cubicBezTo>
                  <a:cubicBezTo>
                    <a:pt x="81" y="52"/>
                    <a:pt x="84" y="52"/>
                    <a:pt x="84" y="46"/>
                  </a:cubicBezTo>
                  <a:cubicBezTo>
                    <a:pt x="84" y="40"/>
                    <a:pt x="81" y="34"/>
                    <a:pt x="81" y="24"/>
                  </a:cubicBezTo>
                  <a:cubicBezTo>
                    <a:pt x="81" y="15"/>
                    <a:pt x="72" y="9"/>
                    <a:pt x="72" y="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0" name="Freeform 935"/>
            <p:cNvSpPr>
              <a:spLocks noEditPoints="1"/>
            </p:cNvSpPr>
            <p:nvPr userDrawn="1"/>
          </p:nvSpPr>
          <p:spPr bwMode="auto">
            <a:xfrm>
              <a:off x="4217" y="-1483"/>
              <a:ext cx="212" cy="126"/>
            </a:xfrm>
            <a:custGeom>
              <a:avLst/>
              <a:gdLst>
                <a:gd name="T0" fmla="*/ 96 w 136"/>
                <a:gd name="T1" fmla="*/ 3 h 81"/>
                <a:gd name="T2" fmla="*/ 75 w 136"/>
                <a:gd name="T3" fmla="*/ 3 h 81"/>
                <a:gd name="T4" fmla="*/ 57 w 136"/>
                <a:gd name="T5" fmla="*/ 21 h 81"/>
                <a:gd name="T6" fmla="*/ 48 w 136"/>
                <a:gd name="T7" fmla="*/ 21 h 81"/>
                <a:gd name="T8" fmla="*/ 33 w 136"/>
                <a:gd name="T9" fmla="*/ 21 h 81"/>
                <a:gd name="T10" fmla="*/ 21 w 136"/>
                <a:gd name="T11" fmla="*/ 18 h 81"/>
                <a:gd name="T12" fmla="*/ 12 w 136"/>
                <a:gd name="T13" fmla="*/ 18 h 81"/>
                <a:gd name="T14" fmla="*/ 6 w 136"/>
                <a:gd name="T15" fmla="*/ 21 h 81"/>
                <a:gd name="T16" fmla="*/ 6 w 136"/>
                <a:gd name="T17" fmla="*/ 27 h 81"/>
                <a:gd name="T18" fmla="*/ 0 w 136"/>
                <a:gd name="T19" fmla="*/ 30 h 81"/>
                <a:gd name="T20" fmla="*/ 3 w 136"/>
                <a:gd name="T21" fmla="*/ 36 h 81"/>
                <a:gd name="T22" fmla="*/ 6 w 136"/>
                <a:gd name="T23" fmla="*/ 54 h 81"/>
                <a:gd name="T24" fmla="*/ 9 w 136"/>
                <a:gd name="T25" fmla="*/ 72 h 81"/>
                <a:gd name="T26" fmla="*/ 30 w 136"/>
                <a:gd name="T27" fmla="*/ 69 h 81"/>
                <a:gd name="T28" fmla="*/ 45 w 136"/>
                <a:gd name="T29" fmla="*/ 66 h 81"/>
                <a:gd name="T30" fmla="*/ 57 w 136"/>
                <a:gd name="T31" fmla="*/ 60 h 81"/>
                <a:gd name="T32" fmla="*/ 69 w 136"/>
                <a:gd name="T33" fmla="*/ 57 h 81"/>
                <a:gd name="T34" fmla="*/ 78 w 136"/>
                <a:gd name="T35" fmla="*/ 51 h 81"/>
                <a:gd name="T36" fmla="*/ 102 w 136"/>
                <a:gd name="T37" fmla="*/ 42 h 81"/>
                <a:gd name="T38" fmla="*/ 112 w 136"/>
                <a:gd name="T39" fmla="*/ 33 h 81"/>
                <a:gd name="T40" fmla="*/ 121 w 136"/>
                <a:gd name="T41" fmla="*/ 27 h 81"/>
                <a:gd name="T42" fmla="*/ 109 w 136"/>
                <a:gd name="T43" fmla="*/ 0 h 81"/>
                <a:gd name="T44" fmla="*/ 96 w 136"/>
                <a:gd name="T45" fmla="*/ 3 h 81"/>
                <a:gd name="T46" fmla="*/ 124 w 136"/>
                <a:gd name="T47" fmla="*/ 78 h 81"/>
                <a:gd name="T48" fmla="*/ 136 w 136"/>
                <a:gd name="T49" fmla="*/ 75 h 81"/>
                <a:gd name="T50" fmla="*/ 124 w 136"/>
                <a:gd name="T51" fmla="*/ 7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 h="81">
                  <a:moveTo>
                    <a:pt x="96" y="3"/>
                  </a:moveTo>
                  <a:cubicBezTo>
                    <a:pt x="90" y="3"/>
                    <a:pt x="75" y="3"/>
                    <a:pt x="75" y="3"/>
                  </a:cubicBezTo>
                  <a:cubicBezTo>
                    <a:pt x="72" y="6"/>
                    <a:pt x="60" y="15"/>
                    <a:pt x="57" y="21"/>
                  </a:cubicBezTo>
                  <a:cubicBezTo>
                    <a:pt x="54" y="24"/>
                    <a:pt x="51" y="24"/>
                    <a:pt x="48" y="21"/>
                  </a:cubicBezTo>
                  <a:cubicBezTo>
                    <a:pt x="45" y="21"/>
                    <a:pt x="33" y="21"/>
                    <a:pt x="33" y="21"/>
                  </a:cubicBezTo>
                  <a:cubicBezTo>
                    <a:pt x="33" y="18"/>
                    <a:pt x="24" y="18"/>
                    <a:pt x="21" y="18"/>
                  </a:cubicBezTo>
                  <a:cubicBezTo>
                    <a:pt x="15" y="18"/>
                    <a:pt x="12" y="18"/>
                    <a:pt x="12" y="18"/>
                  </a:cubicBezTo>
                  <a:cubicBezTo>
                    <a:pt x="9" y="18"/>
                    <a:pt x="6" y="21"/>
                    <a:pt x="6" y="21"/>
                  </a:cubicBezTo>
                  <a:cubicBezTo>
                    <a:pt x="6" y="24"/>
                    <a:pt x="6" y="27"/>
                    <a:pt x="6" y="27"/>
                  </a:cubicBezTo>
                  <a:cubicBezTo>
                    <a:pt x="6" y="27"/>
                    <a:pt x="3" y="30"/>
                    <a:pt x="0" y="30"/>
                  </a:cubicBezTo>
                  <a:cubicBezTo>
                    <a:pt x="3" y="33"/>
                    <a:pt x="3" y="36"/>
                    <a:pt x="3" y="36"/>
                  </a:cubicBezTo>
                  <a:cubicBezTo>
                    <a:pt x="0" y="42"/>
                    <a:pt x="3" y="51"/>
                    <a:pt x="6" y="54"/>
                  </a:cubicBezTo>
                  <a:cubicBezTo>
                    <a:pt x="9" y="60"/>
                    <a:pt x="9" y="69"/>
                    <a:pt x="9" y="72"/>
                  </a:cubicBezTo>
                  <a:cubicBezTo>
                    <a:pt x="12" y="75"/>
                    <a:pt x="24" y="72"/>
                    <a:pt x="30" y="69"/>
                  </a:cubicBezTo>
                  <a:cubicBezTo>
                    <a:pt x="36" y="66"/>
                    <a:pt x="39" y="66"/>
                    <a:pt x="45" y="66"/>
                  </a:cubicBezTo>
                  <a:cubicBezTo>
                    <a:pt x="48" y="66"/>
                    <a:pt x="54" y="60"/>
                    <a:pt x="57" y="60"/>
                  </a:cubicBezTo>
                  <a:cubicBezTo>
                    <a:pt x="57" y="57"/>
                    <a:pt x="66" y="57"/>
                    <a:pt x="69" y="57"/>
                  </a:cubicBezTo>
                  <a:cubicBezTo>
                    <a:pt x="72" y="57"/>
                    <a:pt x="75" y="54"/>
                    <a:pt x="78" y="51"/>
                  </a:cubicBezTo>
                  <a:cubicBezTo>
                    <a:pt x="81" y="48"/>
                    <a:pt x="90" y="48"/>
                    <a:pt x="102" y="42"/>
                  </a:cubicBezTo>
                  <a:cubicBezTo>
                    <a:pt x="112" y="39"/>
                    <a:pt x="109" y="36"/>
                    <a:pt x="112" y="33"/>
                  </a:cubicBezTo>
                  <a:cubicBezTo>
                    <a:pt x="115" y="30"/>
                    <a:pt x="118" y="30"/>
                    <a:pt x="121" y="27"/>
                  </a:cubicBezTo>
                  <a:cubicBezTo>
                    <a:pt x="118" y="18"/>
                    <a:pt x="112" y="6"/>
                    <a:pt x="109" y="0"/>
                  </a:cubicBezTo>
                  <a:cubicBezTo>
                    <a:pt x="102" y="0"/>
                    <a:pt x="99" y="3"/>
                    <a:pt x="96" y="3"/>
                  </a:cubicBezTo>
                  <a:close/>
                  <a:moveTo>
                    <a:pt x="124" y="78"/>
                  </a:moveTo>
                  <a:cubicBezTo>
                    <a:pt x="130" y="81"/>
                    <a:pt x="136" y="78"/>
                    <a:pt x="136" y="75"/>
                  </a:cubicBezTo>
                  <a:cubicBezTo>
                    <a:pt x="136" y="75"/>
                    <a:pt x="121" y="72"/>
                    <a:pt x="124" y="7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1" name="Freeform 936"/>
            <p:cNvSpPr>
              <a:spLocks noEditPoints="1"/>
            </p:cNvSpPr>
            <p:nvPr userDrawn="1"/>
          </p:nvSpPr>
          <p:spPr bwMode="auto">
            <a:xfrm>
              <a:off x="4217" y="-1483"/>
              <a:ext cx="212" cy="126"/>
            </a:xfrm>
            <a:custGeom>
              <a:avLst/>
              <a:gdLst>
                <a:gd name="T0" fmla="*/ 96 w 136"/>
                <a:gd name="T1" fmla="*/ 3 h 81"/>
                <a:gd name="T2" fmla="*/ 75 w 136"/>
                <a:gd name="T3" fmla="*/ 3 h 81"/>
                <a:gd name="T4" fmla="*/ 57 w 136"/>
                <a:gd name="T5" fmla="*/ 21 h 81"/>
                <a:gd name="T6" fmla="*/ 48 w 136"/>
                <a:gd name="T7" fmla="*/ 21 h 81"/>
                <a:gd name="T8" fmla="*/ 33 w 136"/>
                <a:gd name="T9" fmla="*/ 21 h 81"/>
                <a:gd name="T10" fmla="*/ 21 w 136"/>
                <a:gd name="T11" fmla="*/ 18 h 81"/>
                <a:gd name="T12" fmla="*/ 12 w 136"/>
                <a:gd name="T13" fmla="*/ 18 h 81"/>
                <a:gd name="T14" fmla="*/ 6 w 136"/>
                <a:gd name="T15" fmla="*/ 21 h 81"/>
                <a:gd name="T16" fmla="*/ 6 w 136"/>
                <a:gd name="T17" fmla="*/ 27 h 81"/>
                <a:gd name="T18" fmla="*/ 0 w 136"/>
                <a:gd name="T19" fmla="*/ 30 h 81"/>
                <a:gd name="T20" fmla="*/ 3 w 136"/>
                <a:gd name="T21" fmla="*/ 36 h 81"/>
                <a:gd name="T22" fmla="*/ 6 w 136"/>
                <a:gd name="T23" fmla="*/ 54 h 81"/>
                <a:gd name="T24" fmla="*/ 9 w 136"/>
                <a:gd name="T25" fmla="*/ 72 h 81"/>
                <a:gd name="T26" fmla="*/ 30 w 136"/>
                <a:gd name="T27" fmla="*/ 69 h 81"/>
                <a:gd name="T28" fmla="*/ 45 w 136"/>
                <a:gd name="T29" fmla="*/ 66 h 81"/>
                <a:gd name="T30" fmla="*/ 57 w 136"/>
                <a:gd name="T31" fmla="*/ 60 h 81"/>
                <a:gd name="T32" fmla="*/ 69 w 136"/>
                <a:gd name="T33" fmla="*/ 57 h 81"/>
                <a:gd name="T34" fmla="*/ 78 w 136"/>
                <a:gd name="T35" fmla="*/ 51 h 81"/>
                <a:gd name="T36" fmla="*/ 102 w 136"/>
                <a:gd name="T37" fmla="*/ 42 h 81"/>
                <a:gd name="T38" fmla="*/ 112 w 136"/>
                <a:gd name="T39" fmla="*/ 33 h 81"/>
                <a:gd name="T40" fmla="*/ 121 w 136"/>
                <a:gd name="T41" fmla="*/ 27 h 81"/>
                <a:gd name="T42" fmla="*/ 109 w 136"/>
                <a:gd name="T43" fmla="*/ 0 h 81"/>
                <a:gd name="T44" fmla="*/ 96 w 136"/>
                <a:gd name="T45" fmla="*/ 3 h 81"/>
                <a:gd name="T46" fmla="*/ 124 w 136"/>
                <a:gd name="T47" fmla="*/ 78 h 81"/>
                <a:gd name="T48" fmla="*/ 136 w 136"/>
                <a:gd name="T49" fmla="*/ 75 h 81"/>
                <a:gd name="T50" fmla="*/ 124 w 136"/>
                <a:gd name="T51" fmla="*/ 7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 h="81">
                  <a:moveTo>
                    <a:pt x="96" y="3"/>
                  </a:moveTo>
                  <a:cubicBezTo>
                    <a:pt x="90" y="3"/>
                    <a:pt x="75" y="3"/>
                    <a:pt x="75" y="3"/>
                  </a:cubicBezTo>
                  <a:cubicBezTo>
                    <a:pt x="72" y="6"/>
                    <a:pt x="60" y="15"/>
                    <a:pt x="57" y="21"/>
                  </a:cubicBezTo>
                  <a:cubicBezTo>
                    <a:pt x="54" y="24"/>
                    <a:pt x="51" y="24"/>
                    <a:pt x="48" y="21"/>
                  </a:cubicBezTo>
                  <a:cubicBezTo>
                    <a:pt x="45" y="21"/>
                    <a:pt x="33" y="21"/>
                    <a:pt x="33" y="21"/>
                  </a:cubicBezTo>
                  <a:cubicBezTo>
                    <a:pt x="33" y="18"/>
                    <a:pt x="24" y="18"/>
                    <a:pt x="21" y="18"/>
                  </a:cubicBezTo>
                  <a:cubicBezTo>
                    <a:pt x="15" y="18"/>
                    <a:pt x="12" y="18"/>
                    <a:pt x="12" y="18"/>
                  </a:cubicBezTo>
                  <a:cubicBezTo>
                    <a:pt x="9" y="18"/>
                    <a:pt x="6" y="21"/>
                    <a:pt x="6" y="21"/>
                  </a:cubicBezTo>
                  <a:cubicBezTo>
                    <a:pt x="6" y="24"/>
                    <a:pt x="6" y="27"/>
                    <a:pt x="6" y="27"/>
                  </a:cubicBezTo>
                  <a:cubicBezTo>
                    <a:pt x="6" y="27"/>
                    <a:pt x="3" y="30"/>
                    <a:pt x="0" y="30"/>
                  </a:cubicBezTo>
                  <a:cubicBezTo>
                    <a:pt x="3" y="33"/>
                    <a:pt x="3" y="36"/>
                    <a:pt x="3" y="36"/>
                  </a:cubicBezTo>
                  <a:cubicBezTo>
                    <a:pt x="0" y="42"/>
                    <a:pt x="3" y="51"/>
                    <a:pt x="6" y="54"/>
                  </a:cubicBezTo>
                  <a:cubicBezTo>
                    <a:pt x="9" y="60"/>
                    <a:pt x="9" y="69"/>
                    <a:pt x="9" y="72"/>
                  </a:cubicBezTo>
                  <a:cubicBezTo>
                    <a:pt x="12" y="75"/>
                    <a:pt x="24" y="72"/>
                    <a:pt x="30" y="69"/>
                  </a:cubicBezTo>
                  <a:cubicBezTo>
                    <a:pt x="36" y="66"/>
                    <a:pt x="39" y="66"/>
                    <a:pt x="45" y="66"/>
                  </a:cubicBezTo>
                  <a:cubicBezTo>
                    <a:pt x="48" y="66"/>
                    <a:pt x="54" y="60"/>
                    <a:pt x="57" y="60"/>
                  </a:cubicBezTo>
                  <a:cubicBezTo>
                    <a:pt x="57" y="57"/>
                    <a:pt x="66" y="57"/>
                    <a:pt x="69" y="57"/>
                  </a:cubicBezTo>
                  <a:cubicBezTo>
                    <a:pt x="72" y="57"/>
                    <a:pt x="75" y="54"/>
                    <a:pt x="78" y="51"/>
                  </a:cubicBezTo>
                  <a:cubicBezTo>
                    <a:pt x="81" y="48"/>
                    <a:pt x="90" y="48"/>
                    <a:pt x="102" y="42"/>
                  </a:cubicBezTo>
                  <a:cubicBezTo>
                    <a:pt x="112" y="39"/>
                    <a:pt x="109" y="36"/>
                    <a:pt x="112" y="33"/>
                  </a:cubicBezTo>
                  <a:cubicBezTo>
                    <a:pt x="115" y="30"/>
                    <a:pt x="118" y="30"/>
                    <a:pt x="121" y="27"/>
                  </a:cubicBezTo>
                  <a:cubicBezTo>
                    <a:pt x="118" y="18"/>
                    <a:pt x="112" y="6"/>
                    <a:pt x="109" y="0"/>
                  </a:cubicBezTo>
                  <a:cubicBezTo>
                    <a:pt x="102" y="0"/>
                    <a:pt x="99" y="3"/>
                    <a:pt x="96" y="3"/>
                  </a:cubicBezTo>
                  <a:close/>
                  <a:moveTo>
                    <a:pt x="124" y="78"/>
                  </a:moveTo>
                  <a:cubicBezTo>
                    <a:pt x="130" y="81"/>
                    <a:pt x="136" y="78"/>
                    <a:pt x="136" y="75"/>
                  </a:cubicBezTo>
                  <a:cubicBezTo>
                    <a:pt x="136" y="75"/>
                    <a:pt x="121" y="72"/>
                    <a:pt x="124" y="7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2" name="Freeform 937"/>
            <p:cNvSpPr>
              <a:spLocks/>
            </p:cNvSpPr>
            <p:nvPr userDrawn="1"/>
          </p:nvSpPr>
          <p:spPr bwMode="auto">
            <a:xfrm>
              <a:off x="4666" y="-201"/>
              <a:ext cx="47" cy="30"/>
            </a:xfrm>
            <a:custGeom>
              <a:avLst/>
              <a:gdLst>
                <a:gd name="T0" fmla="*/ 12 w 30"/>
                <a:gd name="T1" fmla="*/ 3 h 19"/>
                <a:gd name="T2" fmla="*/ 9 w 30"/>
                <a:gd name="T3" fmla="*/ 15 h 19"/>
                <a:gd name="T4" fmla="*/ 18 w 30"/>
                <a:gd name="T5" fmla="*/ 15 h 19"/>
                <a:gd name="T6" fmla="*/ 27 w 30"/>
                <a:gd name="T7" fmla="*/ 12 h 19"/>
                <a:gd name="T8" fmla="*/ 12 w 30"/>
                <a:gd name="T9" fmla="*/ 3 h 19"/>
              </a:gdLst>
              <a:ahLst/>
              <a:cxnLst>
                <a:cxn ang="0">
                  <a:pos x="T0" y="T1"/>
                </a:cxn>
                <a:cxn ang="0">
                  <a:pos x="T2" y="T3"/>
                </a:cxn>
                <a:cxn ang="0">
                  <a:pos x="T4" y="T5"/>
                </a:cxn>
                <a:cxn ang="0">
                  <a:pos x="T6" y="T7"/>
                </a:cxn>
                <a:cxn ang="0">
                  <a:pos x="T8" y="T9"/>
                </a:cxn>
              </a:cxnLst>
              <a:rect l="0" t="0" r="r" b="b"/>
              <a:pathLst>
                <a:path w="30" h="19">
                  <a:moveTo>
                    <a:pt x="12" y="3"/>
                  </a:moveTo>
                  <a:cubicBezTo>
                    <a:pt x="12" y="0"/>
                    <a:pt x="0" y="12"/>
                    <a:pt x="9" y="15"/>
                  </a:cubicBezTo>
                  <a:cubicBezTo>
                    <a:pt x="12" y="19"/>
                    <a:pt x="15" y="12"/>
                    <a:pt x="18" y="15"/>
                  </a:cubicBezTo>
                  <a:cubicBezTo>
                    <a:pt x="21" y="19"/>
                    <a:pt x="27" y="19"/>
                    <a:pt x="27" y="12"/>
                  </a:cubicBezTo>
                  <a:cubicBezTo>
                    <a:pt x="30" y="6"/>
                    <a:pt x="15"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3" name="Freeform 938"/>
            <p:cNvSpPr>
              <a:spLocks/>
            </p:cNvSpPr>
            <p:nvPr userDrawn="1"/>
          </p:nvSpPr>
          <p:spPr bwMode="auto">
            <a:xfrm>
              <a:off x="4666" y="-201"/>
              <a:ext cx="47" cy="30"/>
            </a:xfrm>
            <a:custGeom>
              <a:avLst/>
              <a:gdLst>
                <a:gd name="T0" fmla="*/ 12 w 30"/>
                <a:gd name="T1" fmla="*/ 3 h 19"/>
                <a:gd name="T2" fmla="*/ 9 w 30"/>
                <a:gd name="T3" fmla="*/ 15 h 19"/>
                <a:gd name="T4" fmla="*/ 18 w 30"/>
                <a:gd name="T5" fmla="*/ 15 h 19"/>
                <a:gd name="T6" fmla="*/ 27 w 30"/>
                <a:gd name="T7" fmla="*/ 12 h 19"/>
                <a:gd name="T8" fmla="*/ 12 w 30"/>
                <a:gd name="T9" fmla="*/ 3 h 19"/>
              </a:gdLst>
              <a:ahLst/>
              <a:cxnLst>
                <a:cxn ang="0">
                  <a:pos x="T0" y="T1"/>
                </a:cxn>
                <a:cxn ang="0">
                  <a:pos x="T2" y="T3"/>
                </a:cxn>
                <a:cxn ang="0">
                  <a:pos x="T4" y="T5"/>
                </a:cxn>
                <a:cxn ang="0">
                  <a:pos x="T6" y="T7"/>
                </a:cxn>
                <a:cxn ang="0">
                  <a:pos x="T8" y="T9"/>
                </a:cxn>
              </a:cxnLst>
              <a:rect l="0" t="0" r="r" b="b"/>
              <a:pathLst>
                <a:path w="30" h="19">
                  <a:moveTo>
                    <a:pt x="12" y="3"/>
                  </a:moveTo>
                  <a:cubicBezTo>
                    <a:pt x="12" y="0"/>
                    <a:pt x="0" y="12"/>
                    <a:pt x="9" y="15"/>
                  </a:cubicBezTo>
                  <a:cubicBezTo>
                    <a:pt x="12" y="19"/>
                    <a:pt x="15" y="12"/>
                    <a:pt x="18" y="15"/>
                  </a:cubicBezTo>
                  <a:cubicBezTo>
                    <a:pt x="21" y="19"/>
                    <a:pt x="27" y="19"/>
                    <a:pt x="27" y="12"/>
                  </a:cubicBezTo>
                  <a:cubicBezTo>
                    <a:pt x="30" y="6"/>
                    <a:pt x="15"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4" name="Freeform 939"/>
            <p:cNvSpPr>
              <a:spLocks noEditPoints="1"/>
            </p:cNvSpPr>
            <p:nvPr userDrawn="1"/>
          </p:nvSpPr>
          <p:spPr bwMode="auto">
            <a:xfrm>
              <a:off x="6181" y="-1043"/>
              <a:ext cx="143" cy="103"/>
            </a:xfrm>
            <a:custGeom>
              <a:avLst/>
              <a:gdLst>
                <a:gd name="T0" fmla="*/ 0 w 92"/>
                <a:gd name="T1" fmla="*/ 3 h 66"/>
                <a:gd name="T2" fmla="*/ 15 w 92"/>
                <a:gd name="T3" fmla="*/ 18 h 66"/>
                <a:gd name="T4" fmla="*/ 0 w 92"/>
                <a:gd name="T5" fmla="*/ 3 h 66"/>
                <a:gd name="T6" fmla="*/ 21 w 92"/>
                <a:gd name="T7" fmla="*/ 18 h 66"/>
                <a:gd name="T8" fmla="*/ 33 w 92"/>
                <a:gd name="T9" fmla="*/ 24 h 66"/>
                <a:gd name="T10" fmla="*/ 21 w 92"/>
                <a:gd name="T11" fmla="*/ 18 h 66"/>
                <a:gd name="T12" fmla="*/ 60 w 92"/>
                <a:gd name="T13" fmla="*/ 36 h 66"/>
                <a:gd name="T14" fmla="*/ 45 w 92"/>
                <a:gd name="T15" fmla="*/ 27 h 66"/>
                <a:gd name="T16" fmla="*/ 60 w 92"/>
                <a:gd name="T17" fmla="*/ 36 h 66"/>
                <a:gd name="T18" fmla="*/ 57 w 92"/>
                <a:gd name="T19" fmla="*/ 48 h 66"/>
                <a:gd name="T20" fmla="*/ 69 w 92"/>
                <a:gd name="T21" fmla="*/ 54 h 66"/>
                <a:gd name="T22" fmla="*/ 57 w 92"/>
                <a:gd name="T23" fmla="*/ 48 h 66"/>
                <a:gd name="T24" fmla="*/ 77 w 92"/>
                <a:gd name="T25" fmla="*/ 57 h 66"/>
                <a:gd name="T26" fmla="*/ 89 w 92"/>
                <a:gd name="T27" fmla="*/ 63 h 66"/>
                <a:gd name="T28" fmla="*/ 77 w 92"/>
                <a:gd name="T29" fmla="*/ 57 h 66"/>
                <a:gd name="T30" fmla="*/ 69 w 92"/>
                <a:gd name="T31" fmla="*/ 36 h 66"/>
                <a:gd name="T32" fmla="*/ 77 w 92"/>
                <a:gd name="T33" fmla="*/ 51 h 66"/>
                <a:gd name="T34" fmla="*/ 69 w 92"/>
                <a:gd name="T3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66">
                  <a:moveTo>
                    <a:pt x="0" y="3"/>
                  </a:moveTo>
                  <a:cubicBezTo>
                    <a:pt x="0" y="6"/>
                    <a:pt x="12" y="21"/>
                    <a:pt x="15" y="18"/>
                  </a:cubicBezTo>
                  <a:cubicBezTo>
                    <a:pt x="21" y="15"/>
                    <a:pt x="3" y="0"/>
                    <a:pt x="0" y="3"/>
                  </a:cubicBezTo>
                  <a:close/>
                  <a:moveTo>
                    <a:pt x="21" y="18"/>
                  </a:moveTo>
                  <a:cubicBezTo>
                    <a:pt x="21" y="18"/>
                    <a:pt x="30" y="27"/>
                    <a:pt x="33" y="24"/>
                  </a:cubicBezTo>
                  <a:cubicBezTo>
                    <a:pt x="33" y="24"/>
                    <a:pt x="24" y="15"/>
                    <a:pt x="21" y="18"/>
                  </a:cubicBezTo>
                  <a:close/>
                  <a:moveTo>
                    <a:pt x="60" y="36"/>
                  </a:moveTo>
                  <a:cubicBezTo>
                    <a:pt x="63" y="36"/>
                    <a:pt x="45" y="24"/>
                    <a:pt x="45" y="27"/>
                  </a:cubicBezTo>
                  <a:cubicBezTo>
                    <a:pt x="45" y="30"/>
                    <a:pt x="57" y="39"/>
                    <a:pt x="60" y="36"/>
                  </a:cubicBezTo>
                  <a:close/>
                  <a:moveTo>
                    <a:pt x="57" y="48"/>
                  </a:moveTo>
                  <a:cubicBezTo>
                    <a:pt x="60" y="51"/>
                    <a:pt x="66" y="54"/>
                    <a:pt x="69" y="54"/>
                  </a:cubicBezTo>
                  <a:cubicBezTo>
                    <a:pt x="71" y="51"/>
                    <a:pt x="57" y="42"/>
                    <a:pt x="57" y="48"/>
                  </a:cubicBezTo>
                  <a:close/>
                  <a:moveTo>
                    <a:pt x="77" y="57"/>
                  </a:moveTo>
                  <a:cubicBezTo>
                    <a:pt x="77" y="60"/>
                    <a:pt x="83" y="66"/>
                    <a:pt x="89" y="63"/>
                  </a:cubicBezTo>
                  <a:cubicBezTo>
                    <a:pt x="92" y="60"/>
                    <a:pt x="77" y="57"/>
                    <a:pt x="77" y="57"/>
                  </a:cubicBezTo>
                  <a:close/>
                  <a:moveTo>
                    <a:pt x="69" y="36"/>
                  </a:moveTo>
                  <a:cubicBezTo>
                    <a:pt x="66" y="42"/>
                    <a:pt x="77" y="51"/>
                    <a:pt x="77" y="51"/>
                  </a:cubicBezTo>
                  <a:cubicBezTo>
                    <a:pt x="80" y="51"/>
                    <a:pt x="71" y="33"/>
                    <a:pt x="69"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5" name="Freeform 940"/>
            <p:cNvSpPr>
              <a:spLocks noEditPoints="1"/>
            </p:cNvSpPr>
            <p:nvPr userDrawn="1"/>
          </p:nvSpPr>
          <p:spPr bwMode="auto">
            <a:xfrm>
              <a:off x="6181" y="-1043"/>
              <a:ext cx="143" cy="103"/>
            </a:xfrm>
            <a:custGeom>
              <a:avLst/>
              <a:gdLst>
                <a:gd name="T0" fmla="*/ 0 w 92"/>
                <a:gd name="T1" fmla="*/ 3 h 66"/>
                <a:gd name="T2" fmla="*/ 15 w 92"/>
                <a:gd name="T3" fmla="*/ 18 h 66"/>
                <a:gd name="T4" fmla="*/ 0 w 92"/>
                <a:gd name="T5" fmla="*/ 3 h 66"/>
                <a:gd name="T6" fmla="*/ 21 w 92"/>
                <a:gd name="T7" fmla="*/ 18 h 66"/>
                <a:gd name="T8" fmla="*/ 33 w 92"/>
                <a:gd name="T9" fmla="*/ 24 h 66"/>
                <a:gd name="T10" fmla="*/ 21 w 92"/>
                <a:gd name="T11" fmla="*/ 18 h 66"/>
                <a:gd name="T12" fmla="*/ 60 w 92"/>
                <a:gd name="T13" fmla="*/ 36 h 66"/>
                <a:gd name="T14" fmla="*/ 45 w 92"/>
                <a:gd name="T15" fmla="*/ 27 h 66"/>
                <a:gd name="T16" fmla="*/ 60 w 92"/>
                <a:gd name="T17" fmla="*/ 36 h 66"/>
                <a:gd name="T18" fmla="*/ 57 w 92"/>
                <a:gd name="T19" fmla="*/ 48 h 66"/>
                <a:gd name="T20" fmla="*/ 69 w 92"/>
                <a:gd name="T21" fmla="*/ 54 h 66"/>
                <a:gd name="T22" fmla="*/ 57 w 92"/>
                <a:gd name="T23" fmla="*/ 48 h 66"/>
                <a:gd name="T24" fmla="*/ 77 w 92"/>
                <a:gd name="T25" fmla="*/ 57 h 66"/>
                <a:gd name="T26" fmla="*/ 89 w 92"/>
                <a:gd name="T27" fmla="*/ 63 h 66"/>
                <a:gd name="T28" fmla="*/ 77 w 92"/>
                <a:gd name="T29" fmla="*/ 57 h 66"/>
                <a:gd name="T30" fmla="*/ 69 w 92"/>
                <a:gd name="T31" fmla="*/ 36 h 66"/>
                <a:gd name="T32" fmla="*/ 77 w 92"/>
                <a:gd name="T33" fmla="*/ 51 h 66"/>
                <a:gd name="T34" fmla="*/ 69 w 92"/>
                <a:gd name="T3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66">
                  <a:moveTo>
                    <a:pt x="0" y="3"/>
                  </a:moveTo>
                  <a:cubicBezTo>
                    <a:pt x="0" y="6"/>
                    <a:pt x="12" y="21"/>
                    <a:pt x="15" y="18"/>
                  </a:cubicBezTo>
                  <a:cubicBezTo>
                    <a:pt x="21" y="15"/>
                    <a:pt x="3" y="0"/>
                    <a:pt x="0" y="3"/>
                  </a:cubicBezTo>
                  <a:close/>
                  <a:moveTo>
                    <a:pt x="21" y="18"/>
                  </a:moveTo>
                  <a:cubicBezTo>
                    <a:pt x="21" y="18"/>
                    <a:pt x="30" y="27"/>
                    <a:pt x="33" y="24"/>
                  </a:cubicBezTo>
                  <a:cubicBezTo>
                    <a:pt x="33" y="24"/>
                    <a:pt x="24" y="15"/>
                    <a:pt x="21" y="18"/>
                  </a:cubicBezTo>
                  <a:close/>
                  <a:moveTo>
                    <a:pt x="60" y="36"/>
                  </a:moveTo>
                  <a:cubicBezTo>
                    <a:pt x="63" y="36"/>
                    <a:pt x="45" y="24"/>
                    <a:pt x="45" y="27"/>
                  </a:cubicBezTo>
                  <a:cubicBezTo>
                    <a:pt x="45" y="30"/>
                    <a:pt x="57" y="39"/>
                    <a:pt x="60" y="36"/>
                  </a:cubicBezTo>
                  <a:close/>
                  <a:moveTo>
                    <a:pt x="57" y="48"/>
                  </a:moveTo>
                  <a:cubicBezTo>
                    <a:pt x="60" y="51"/>
                    <a:pt x="66" y="54"/>
                    <a:pt x="69" y="54"/>
                  </a:cubicBezTo>
                  <a:cubicBezTo>
                    <a:pt x="71" y="51"/>
                    <a:pt x="57" y="42"/>
                    <a:pt x="57" y="48"/>
                  </a:cubicBezTo>
                  <a:close/>
                  <a:moveTo>
                    <a:pt x="77" y="57"/>
                  </a:moveTo>
                  <a:cubicBezTo>
                    <a:pt x="77" y="60"/>
                    <a:pt x="83" y="66"/>
                    <a:pt x="89" y="63"/>
                  </a:cubicBezTo>
                  <a:cubicBezTo>
                    <a:pt x="92" y="60"/>
                    <a:pt x="77" y="57"/>
                    <a:pt x="77" y="57"/>
                  </a:cubicBezTo>
                  <a:close/>
                  <a:moveTo>
                    <a:pt x="69" y="36"/>
                  </a:moveTo>
                  <a:cubicBezTo>
                    <a:pt x="66" y="42"/>
                    <a:pt x="77" y="51"/>
                    <a:pt x="77" y="51"/>
                  </a:cubicBezTo>
                  <a:cubicBezTo>
                    <a:pt x="80" y="51"/>
                    <a:pt x="71" y="33"/>
                    <a:pt x="69" y="36"/>
                  </a:cubicBezTo>
                  <a:close/>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6" name="Freeform 941"/>
            <p:cNvSpPr>
              <a:spLocks noEditPoints="1"/>
            </p:cNvSpPr>
            <p:nvPr userDrawn="1"/>
          </p:nvSpPr>
          <p:spPr bwMode="auto">
            <a:xfrm>
              <a:off x="6181" y="-1043"/>
              <a:ext cx="143" cy="103"/>
            </a:xfrm>
            <a:custGeom>
              <a:avLst/>
              <a:gdLst>
                <a:gd name="T0" fmla="*/ 0 w 92"/>
                <a:gd name="T1" fmla="*/ 3 h 66"/>
                <a:gd name="T2" fmla="*/ 15 w 92"/>
                <a:gd name="T3" fmla="*/ 18 h 66"/>
                <a:gd name="T4" fmla="*/ 0 w 92"/>
                <a:gd name="T5" fmla="*/ 3 h 66"/>
                <a:gd name="T6" fmla="*/ 21 w 92"/>
                <a:gd name="T7" fmla="*/ 18 h 66"/>
                <a:gd name="T8" fmla="*/ 33 w 92"/>
                <a:gd name="T9" fmla="*/ 24 h 66"/>
                <a:gd name="T10" fmla="*/ 21 w 92"/>
                <a:gd name="T11" fmla="*/ 18 h 66"/>
                <a:gd name="T12" fmla="*/ 60 w 92"/>
                <a:gd name="T13" fmla="*/ 36 h 66"/>
                <a:gd name="T14" fmla="*/ 45 w 92"/>
                <a:gd name="T15" fmla="*/ 27 h 66"/>
                <a:gd name="T16" fmla="*/ 60 w 92"/>
                <a:gd name="T17" fmla="*/ 36 h 66"/>
                <a:gd name="T18" fmla="*/ 57 w 92"/>
                <a:gd name="T19" fmla="*/ 48 h 66"/>
                <a:gd name="T20" fmla="*/ 69 w 92"/>
                <a:gd name="T21" fmla="*/ 54 h 66"/>
                <a:gd name="T22" fmla="*/ 57 w 92"/>
                <a:gd name="T23" fmla="*/ 48 h 66"/>
                <a:gd name="T24" fmla="*/ 77 w 92"/>
                <a:gd name="T25" fmla="*/ 57 h 66"/>
                <a:gd name="T26" fmla="*/ 89 w 92"/>
                <a:gd name="T27" fmla="*/ 63 h 66"/>
                <a:gd name="T28" fmla="*/ 77 w 92"/>
                <a:gd name="T29" fmla="*/ 57 h 66"/>
                <a:gd name="T30" fmla="*/ 69 w 92"/>
                <a:gd name="T31" fmla="*/ 36 h 66"/>
                <a:gd name="T32" fmla="*/ 77 w 92"/>
                <a:gd name="T33" fmla="*/ 51 h 66"/>
                <a:gd name="T34" fmla="*/ 69 w 92"/>
                <a:gd name="T3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66">
                  <a:moveTo>
                    <a:pt x="0" y="3"/>
                  </a:moveTo>
                  <a:cubicBezTo>
                    <a:pt x="0" y="6"/>
                    <a:pt x="12" y="21"/>
                    <a:pt x="15" y="18"/>
                  </a:cubicBezTo>
                  <a:cubicBezTo>
                    <a:pt x="21" y="15"/>
                    <a:pt x="3" y="0"/>
                    <a:pt x="0" y="3"/>
                  </a:cubicBezTo>
                  <a:close/>
                  <a:moveTo>
                    <a:pt x="21" y="18"/>
                  </a:moveTo>
                  <a:cubicBezTo>
                    <a:pt x="21" y="18"/>
                    <a:pt x="30" y="27"/>
                    <a:pt x="33" y="24"/>
                  </a:cubicBezTo>
                  <a:cubicBezTo>
                    <a:pt x="33" y="24"/>
                    <a:pt x="24" y="15"/>
                    <a:pt x="21" y="18"/>
                  </a:cubicBezTo>
                  <a:close/>
                  <a:moveTo>
                    <a:pt x="60" y="36"/>
                  </a:moveTo>
                  <a:cubicBezTo>
                    <a:pt x="63" y="36"/>
                    <a:pt x="45" y="24"/>
                    <a:pt x="45" y="27"/>
                  </a:cubicBezTo>
                  <a:cubicBezTo>
                    <a:pt x="45" y="30"/>
                    <a:pt x="57" y="39"/>
                    <a:pt x="60" y="36"/>
                  </a:cubicBezTo>
                  <a:close/>
                  <a:moveTo>
                    <a:pt x="57" y="48"/>
                  </a:moveTo>
                  <a:cubicBezTo>
                    <a:pt x="60" y="51"/>
                    <a:pt x="66" y="54"/>
                    <a:pt x="69" y="54"/>
                  </a:cubicBezTo>
                  <a:cubicBezTo>
                    <a:pt x="71" y="51"/>
                    <a:pt x="57" y="42"/>
                    <a:pt x="57" y="48"/>
                  </a:cubicBezTo>
                  <a:close/>
                  <a:moveTo>
                    <a:pt x="77" y="57"/>
                  </a:moveTo>
                  <a:cubicBezTo>
                    <a:pt x="77" y="60"/>
                    <a:pt x="83" y="66"/>
                    <a:pt x="89" y="63"/>
                  </a:cubicBezTo>
                  <a:cubicBezTo>
                    <a:pt x="92" y="60"/>
                    <a:pt x="77" y="57"/>
                    <a:pt x="77" y="57"/>
                  </a:cubicBezTo>
                  <a:close/>
                  <a:moveTo>
                    <a:pt x="69" y="36"/>
                  </a:moveTo>
                  <a:cubicBezTo>
                    <a:pt x="66" y="42"/>
                    <a:pt x="77" y="51"/>
                    <a:pt x="77" y="51"/>
                  </a:cubicBezTo>
                  <a:cubicBezTo>
                    <a:pt x="80" y="51"/>
                    <a:pt x="71" y="33"/>
                    <a:pt x="69"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7" name="Freeform 942"/>
            <p:cNvSpPr>
              <a:spLocks noEditPoints="1"/>
            </p:cNvSpPr>
            <p:nvPr userDrawn="1"/>
          </p:nvSpPr>
          <p:spPr bwMode="auto">
            <a:xfrm>
              <a:off x="6181" y="-1043"/>
              <a:ext cx="143" cy="103"/>
            </a:xfrm>
            <a:custGeom>
              <a:avLst/>
              <a:gdLst>
                <a:gd name="T0" fmla="*/ 0 w 92"/>
                <a:gd name="T1" fmla="*/ 3 h 66"/>
                <a:gd name="T2" fmla="*/ 15 w 92"/>
                <a:gd name="T3" fmla="*/ 18 h 66"/>
                <a:gd name="T4" fmla="*/ 0 w 92"/>
                <a:gd name="T5" fmla="*/ 3 h 66"/>
                <a:gd name="T6" fmla="*/ 21 w 92"/>
                <a:gd name="T7" fmla="*/ 18 h 66"/>
                <a:gd name="T8" fmla="*/ 33 w 92"/>
                <a:gd name="T9" fmla="*/ 24 h 66"/>
                <a:gd name="T10" fmla="*/ 21 w 92"/>
                <a:gd name="T11" fmla="*/ 18 h 66"/>
                <a:gd name="T12" fmla="*/ 60 w 92"/>
                <a:gd name="T13" fmla="*/ 36 h 66"/>
                <a:gd name="T14" fmla="*/ 45 w 92"/>
                <a:gd name="T15" fmla="*/ 27 h 66"/>
                <a:gd name="T16" fmla="*/ 60 w 92"/>
                <a:gd name="T17" fmla="*/ 36 h 66"/>
                <a:gd name="T18" fmla="*/ 57 w 92"/>
                <a:gd name="T19" fmla="*/ 48 h 66"/>
                <a:gd name="T20" fmla="*/ 69 w 92"/>
                <a:gd name="T21" fmla="*/ 54 h 66"/>
                <a:gd name="T22" fmla="*/ 57 w 92"/>
                <a:gd name="T23" fmla="*/ 48 h 66"/>
                <a:gd name="T24" fmla="*/ 77 w 92"/>
                <a:gd name="T25" fmla="*/ 57 h 66"/>
                <a:gd name="T26" fmla="*/ 89 w 92"/>
                <a:gd name="T27" fmla="*/ 63 h 66"/>
                <a:gd name="T28" fmla="*/ 77 w 92"/>
                <a:gd name="T29" fmla="*/ 57 h 66"/>
                <a:gd name="T30" fmla="*/ 69 w 92"/>
                <a:gd name="T31" fmla="*/ 36 h 66"/>
                <a:gd name="T32" fmla="*/ 77 w 92"/>
                <a:gd name="T33" fmla="*/ 51 h 66"/>
                <a:gd name="T34" fmla="*/ 69 w 92"/>
                <a:gd name="T35"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66">
                  <a:moveTo>
                    <a:pt x="0" y="3"/>
                  </a:moveTo>
                  <a:cubicBezTo>
                    <a:pt x="0" y="6"/>
                    <a:pt x="12" y="21"/>
                    <a:pt x="15" y="18"/>
                  </a:cubicBezTo>
                  <a:cubicBezTo>
                    <a:pt x="21" y="15"/>
                    <a:pt x="3" y="0"/>
                    <a:pt x="0" y="3"/>
                  </a:cubicBezTo>
                  <a:close/>
                  <a:moveTo>
                    <a:pt x="21" y="18"/>
                  </a:moveTo>
                  <a:cubicBezTo>
                    <a:pt x="21" y="18"/>
                    <a:pt x="30" y="27"/>
                    <a:pt x="33" y="24"/>
                  </a:cubicBezTo>
                  <a:cubicBezTo>
                    <a:pt x="33" y="24"/>
                    <a:pt x="24" y="15"/>
                    <a:pt x="21" y="18"/>
                  </a:cubicBezTo>
                  <a:close/>
                  <a:moveTo>
                    <a:pt x="60" y="36"/>
                  </a:moveTo>
                  <a:cubicBezTo>
                    <a:pt x="63" y="36"/>
                    <a:pt x="45" y="24"/>
                    <a:pt x="45" y="27"/>
                  </a:cubicBezTo>
                  <a:cubicBezTo>
                    <a:pt x="45" y="30"/>
                    <a:pt x="57" y="39"/>
                    <a:pt x="60" y="36"/>
                  </a:cubicBezTo>
                  <a:close/>
                  <a:moveTo>
                    <a:pt x="57" y="48"/>
                  </a:moveTo>
                  <a:cubicBezTo>
                    <a:pt x="60" y="51"/>
                    <a:pt x="66" y="54"/>
                    <a:pt x="69" y="54"/>
                  </a:cubicBezTo>
                  <a:cubicBezTo>
                    <a:pt x="71" y="51"/>
                    <a:pt x="57" y="42"/>
                    <a:pt x="57" y="48"/>
                  </a:cubicBezTo>
                  <a:close/>
                  <a:moveTo>
                    <a:pt x="77" y="57"/>
                  </a:moveTo>
                  <a:cubicBezTo>
                    <a:pt x="77" y="60"/>
                    <a:pt x="83" y="66"/>
                    <a:pt x="89" y="63"/>
                  </a:cubicBezTo>
                  <a:cubicBezTo>
                    <a:pt x="92" y="60"/>
                    <a:pt x="77" y="57"/>
                    <a:pt x="77" y="57"/>
                  </a:cubicBezTo>
                  <a:close/>
                  <a:moveTo>
                    <a:pt x="69" y="36"/>
                  </a:moveTo>
                  <a:cubicBezTo>
                    <a:pt x="66" y="42"/>
                    <a:pt x="77" y="51"/>
                    <a:pt x="77" y="51"/>
                  </a:cubicBezTo>
                  <a:cubicBezTo>
                    <a:pt x="80" y="51"/>
                    <a:pt x="71" y="33"/>
                    <a:pt x="69"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8" name="Freeform 943"/>
            <p:cNvSpPr>
              <a:spLocks noEditPoints="1"/>
            </p:cNvSpPr>
            <p:nvPr userDrawn="1"/>
          </p:nvSpPr>
          <p:spPr bwMode="auto">
            <a:xfrm>
              <a:off x="5442" y="-950"/>
              <a:ext cx="720" cy="643"/>
            </a:xfrm>
            <a:custGeom>
              <a:avLst/>
              <a:gdLst>
                <a:gd name="T0" fmla="*/ 456 w 462"/>
                <a:gd name="T1" fmla="*/ 180 h 412"/>
                <a:gd name="T2" fmla="*/ 438 w 462"/>
                <a:gd name="T3" fmla="*/ 159 h 412"/>
                <a:gd name="T4" fmla="*/ 423 w 462"/>
                <a:gd name="T5" fmla="*/ 138 h 412"/>
                <a:gd name="T6" fmla="*/ 411 w 462"/>
                <a:gd name="T7" fmla="*/ 123 h 412"/>
                <a:gd name="T8" fmla="*/ 378 w 462"/>
                <a:gd name="T9" fmla="*/ 93 h 412"/>
                <a:gd name="T10" fmla="*/ 366 w 462"/>
                <a:gd name="T11" fmla="*/ 54 h 412"/>
                <a:gd name="T12" fmla="*/ 348 w 462"/>
                <a:gd name="T13" fmla="*/ 33 h 412"/>
                <a:gd name="T14" fmla="*/ 330 w 462"/>
                <a:gd name="T15" fmla="*/ 9 h 412"/>
                <a:gd name="T16" fmla="*/ 324 w 462"/>
                <a:gd name="T17" fmla="*/ 51 h 412"/>
                <a:gd name="T18" fmla="*/ 297 w 462"/>
                <a:gd name="T19" fmla="*/ 75 h 412"/>
                <a:gd name="T20" fmla="*/ 264 w 462"/>
                <a:gd name="T21" fmla="*/ 60 h 412"/>
                <a:gd name="T22" fmla="*/ 258 w 462"/>
                <a:gd name="T23" fmla="*/ 36 h 412"/>
                <a:gd name="T24" fmla="*/ 267 w 462"/>
                <a:gd name="T25" fmla="*/ 18 h 412"/>
                <a:gd name="T26" fmla="*/ 252 w 462"/>
                <a:gd name="T27" fmla="*/ 18 h 412"/>
                <a:gd name="T28" fmla="*/ 222 w 462"/>
                <a:gd name="T29" fmla="*/ 12 h 412"/>
                <a:gd name="T30" fmla="*/ 195 w 462"/>
                <a:gd name="T31" fmla="*/ 33 h 412"/>
                <a:gd name="T32" fmla="*/ 183 w 462"/>
                <a:gd name="T33" fmla="*/ 51 h 412"/>
                <a:gd name="T34" fmla="*/ 168 w 462"/>
                <a:gd name="T35" fmla="*/ 45 h 412"/>
                <a:gd name="T36" fmla="*/ 147 w 462"/>
                <a:gd name="T37" fmla="*/ 45 h 412"/>
                <a:gd name="T38" fmla="*/ 132 w 462"/>
                <a:gd name="T39" fmla="*/ 54 h 412"/>
                <a:gd name="T40" fmla="*/ 123 w 462"/>
                <a:gd name="T41" fmla="*/ 72 h 412"/>
                <a:gd name="T42" fmla="*/ 105 w 462"/>
                <a:gd name="T43" fmla="*/ 75 h 412"/>
                <a:gd name="T44" fmla="*/ 69 w 462"/>
                <a:gd name="T45" fmla="*/ 111 h 412"/>
                <a:gd name="T46" fmla="*/ 33 w 462"/>
                <a:gd name="T47" fmla="*/ 120 h 412"/>
                <a:gd name="T48" fmla="*/ 12 w 462"/>
                <a:gd name="T49" fmla="*/ 129 h 412"/>
                <a:gd name="T50" fmla="*/ 6 w 462"/>
                <a:gd name="T51" fmla="*/ 168 h 412"/>
                <a:gd name="T52" fmla="*/ 9 w 462"/>
                <a:gd name="T53" fmla="*/ 186 h 412"/>
                <a:gd name="T54" fmla="*/ 21 w 462"/>
                <a:gd name="T55" fmla="*/ 228 h 412"/>
                <a:gd name="T56" fmla="*/ 24 w 462"/>
                <a:gd name="T57" fmla="*/ 277 h 412"/>
                <a:gd name="T58" fmla="*/ 57 w 462"/>
                <a:gd name="T59" fmla="*/ 295 h 412"/>
                <a:gd name="T60" fmla="*/ 105 w 462"/>
                <a:gd name="T61" fmla="*/ 280 h 412"/>
                <a:gd name="T62" fmla="*/ 156 w 462"/>
                <a:gd name="T63" fmla="*/ 262 h 412"/>
                <a:gd name="T64" fmla="*/ 219 w 462"/>
                <a:gd name="T65" fmla="*/ 255 h 412"/>
                <a:gd name="T66" fmla="*/ 240 w 462"/>
                <a:gd name="T67" fmla="*/ 268 h 412"/>
                <a:gd name="T68" fmla="*/ 261 w 462"/>
                <a:gd name="T69" fmla="*/ 289 h 412"/>
                <a:gd name="T70" fmla="*/ 279 w 462"/>
                <a:gd name="T71" fmla="*/ 286 h 412"/>
                <a:gd name="T72" fmla="*/ 288 w 462"/>
                <a:gd name="T73" fmla="*/ 289 h 412"/>
                <a:gd name="T74" fmla="*/ 303 w 462"/>
                <a:gd name="T75" fmla="*/ 319 h 412"/>
                <a:gd name="T76" fmla="*/ 345 w 462"/>
                <a:gd name="T77" fmla="*/ 346 h 412"/>
                <a:gd name="T78" fmla="*/ 366 w 462"/>
                <a:gd name="T79" fmla="*/ 343 h 412"/>
                <a:gd name="T80" fmla="*/ 378 w 462"/>
                <a:gd name="T81" fmla="*/ 349 h 412"/>
                <a:gd name="T82" fmla="*/ 420 w 462"/>
                <a:gd name="T83" fmla="*/ 331 h 412"/>
                <a:gd name="T84" fmla="*/ 444 w 462"/>
                <a:gd name="T85" fmla="*/ 268 h 412"/>
                <a:gd name="T86" fmla="*/ 459 w 462"/>
                <a:gd name="T87" fmla="*/ 228 h 412"/>
                <a:gd name="T88" fmla="*/ 210 w 462"/>
                <a:gd name="T89" fmla="*/ 12 h 412"/>
                <a:gd name="T90" fmla="*/ 267 w 462"/>
                <a:gd name="T91" fmla="*/ 307 h 412"/>
                <a:gd name="T92" fmla="*/ 378 w 462"/>
                <a:gd name="T93" fmla="*/ 376 h 412"/>
                <a:gd name="T94" fmla="*/ 381 w 462"/>
                <a:gd name="T95" fmla="*/ 412 h 412"/>
                <a:gd name="T96" fmla="*/ 396 w 462"/>
                <a:gd name="T97" fmla="*/ 403 h 412"/>
                <a:gd name="T98" fmla="*/ 378 w 462"/>
                <a:gd name="T99" fmla="*/ 37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2" h="412">
                  <a:moveTo>
                    <a:pt x="459" y="207"/>
                  </a:moveTo>
                  <a:cubicBezTo>
                    <a:pt x="462" y="204"/>
                    <a:pt x="459" y="198"/>
                    <a:pt x="456" y="198"/>
                  </a:cubicBezTo>
                  <a:cubicBezTo>
                    <a:pt x="456" y="201"/>
                    <a:pt x="456" y="186"/>
                    <a:pt x="456" y="180"/>
                  </a:cubicBezTo>
                  <a:cubicBezTo>
                    <a:pt x="459" y="174"/>
                    <a:pt x="456" y="174"/>
                    <a:pt x="453" y="177"/>
                  </a:cubicBezTo>
                  <a:cubicBezTo>
                    <a:pt x="450" y="180"/>
                    <a:pt x="447" y="171"/>
                    <a:pt x="447" y="168"/>
                  </a:cubicBezTo>
                  <a:cubicBezTo>
                    <a:pt x="447" y="165"/>
                    <a:pt x="441" y="159"/>
                    <a:pt x="438" y="159"/>
                  </a:cubicBezTo>
                  <a:cubicBezTo>
                    <a:pt x="435" y="162"/>
                    <a:pt x="435" y="153"/>
                    <a:pt x="432" y="156"/>
                  </a:cubicBezTo>
                  <a:cubicBezTo>
                    <a:pt x="429" y="156"/>
                    <a:pt x="429" y="150"/>
                    <a:pt x="429" y="144"/>
                  </a:cubicBezTo>
                  <a:cubicBezTo>
                    <a:pt x="429" y="138"/>
                    <a:pt x="426" y="141"/>
                    <a:pt x="423" y="138"/>
                  </a:cubicBezTo>
                  <a:cubicBezTo>
                    <a:pt x="423" y="138"/>
                    <a:pt x="420" y="138"/>
                    <a:pt x="417" y="141"/>
                  </a:cubicBezTo>
                  <a:cubicBezTo>
                    <a:pt x="414" y="141"/>
                    <a:pt x="414" y="135"/>
                    <a:pt x="414" y="132"/>
                  </a:cubicBezTo>
                  <a:cubicBezTo>
                    <a:pt x="414" y="129"/>
                    <a:pt x="414" y="126"/>
                    <a:pt x="411" y="123"/>
                  </a:cubicBezTo>
                  <a:cubicBezTo>
                    <a:pt x="408" y="120"/>
                    <a:pt x="405" y="120"/>
                    <a:pt x="408" y="117"/>
                  </a:cubicBezTo>
                  <a:cubicBezTo>
                    <a:pt x="408" y="111"/>
                    <a:pt x="384" y="102"/>
                    <a:pt x="381" y="99"/>
                  </a:cubicBezTo>
                  <a:cubicBezTo>
                    <a:pt x="375" y="99"/>
                    <a:pt x="381" y="93"/>
                    <a:pt x="378" y="93"/>
                  </a:cubicBezTo>
                  <a:cubicBezTo>
                    <a:pt x="375" y="90"/>
                    <a:pt x="375" y="84"/>
                    <a:pt x="375" y="78"/>
                  </a:cubicBezTo>
                  <a:cubicBezTo>
                    <a:pt x="375" y="72"/>
                    <a:pt x="369" y="72"/>
                    <a:pt x="369" y="66"/>
                  </a:cubicBezTo>
                  <a:cubicBezTo>
                    <a:pt x="369" y="63"/>
                    <a:pt x="366" y="57"/>
                    <a:pt x="366" y="54"/>
                  </a:cubicBezTo>
                  <a:cubicBezTo>
                    <a:pt x="366" y="48"/>
                    <a:pt x="360" y="48"/>
                    <a:pt x="360" y="45"/>
                  </a:cubicBezTo>
                  <a:cubicBezTo>
                    <a:pt x="360" y="42"/>
                    <a:pt x="354" y="45"/>
                    <a:pt x="351" y="45"/>
                  </a:cubicBezTo>
                  <a:cubicBezTo>
                    <a:pt x="345" y="45"/>
                    <a:pt x="348" y="39"/>
                    <a:pt x="348" y="33"/>
                  </a:cubicBezTo>
                  <a:cubicBezTo>
                    <a:pt x="348" y="27"/>
                    <a:pt x="345" y="18"/>
                    <a:pt x="342" y="15"/>
                  </a:cubicBezTo>
                  <a:cubicBezTo>
                    <a:pt x="339" y="12"/>
                    <a:pt x="339" y="3"/>
                    <a:pt x="336" y="3"/>
                  </a:cubicBezTo>
                  <a:cubicBezTo>
                    <a:pt x="336" y="0"/>
                    <a:pt x="330" y="6"/>
                    <a:pt x="330" y="9"/>
                  </a:cubicBezTo>
                  <a:cubicBezTo>
                    <a:pt x="330" y="12"/>
                    <a:pt x="330" y="18"/>
                    <a:pt x="327" y="18"/>
                  </a:cubicBezTo>
                  <a:cubicBezTo>
                    <a:pt x="324" y="21"/>
                    <a:pt x="327" y="30"/>
                    <a:pt x="324" y="30"/>
                  </a:cubicBezTo>
                  <a:cubicBezTo>
                    <a:pt x="321" y="33"/>
                    <a:pt x="324" y="45"/>
                    <a:pt x="324" y="51"/>
                  </a:cubicBezTo>
                  <a:cubicBezTo>
                    <a:pt x="324" y="57"/>
                    <a:pt x="324" y="63"/>
                    <a:pt x="321" y="69"/>
                  </a:cubicBezTo>
                  <a:cubicBezTo>
                    <a:pt x="318" y="72"/>
                    <a:pt x="318" y="81"/>
                    <a:pt x="312" y="81"/>
                  </a:cubicBezTo>
                  <a:cubicBezTo>
                    <a:pt x="306" y="84"/>
                    <a:pt x="297" y="78"/>
                    <a:pt x="297" y="75"/>
                  </a:cubicBezTo>
                  <a:cubicBezTo>
                    <a:pt x="297" y="72"/>
                    <a:pt x="291" y="72"/>
                    <a:pt x="288" y="72"/>
                  </a:cubicBezTo>
                  <a:cubicBezTo>
                    <a:pt x="285" y="72"/>
                    <a:pt x="282" y="66"/>
                    <a:pt x="276" y="63"/>
                  </a:cubicBezTo>
                  <a:cubicBezTo>
                    <a:pt x="270" y="57"/>
                    <a:pt x="267" y="63"/>
                    <a:pt x="264" y="60"/>
                  </a:cubicBezTo>
                  <a:cubicBezTo>
                    <a:pt x="264" y="54"/>
                    <a:pt x="261" y="54"/>
                    <a:pt x="258" y="51"/>
                  </a:cubicBezTo>
                  <a:cubicBezTo>
                    <a:pt x="252" y="48"/>
                    <a:pt x="255" y="48"/>
                    <a:pt x="258" y="45"/>
                  </a:cubicBezTo>
                  <a:cubicBezTo>
                    <a:pt x="261" y="42"/>
                    <a:pt x="261" y="39"/>
                    <a:pt x="258" y="36"/>
                  </a:cubicBezTo>
                  <a:cubicBezTo>
                    <a:pt x="258" y="33"/>
                    <a:pt x="261" y="33"/>
                    <a:pt x="267" y="30"/>
                  </a:cubicBezTo>
                  <a:cubicBezTo>
                    <a:pt x="270" y="27"/>
                    <a:pt x="267" y="24"/>
                    <a:pt x="270" y="21"/>
                  </a:cubicBezTo>
                  <a:cubicBezTo>
                    <a:pt x="273" y="21"/>
                    <a:pt x="273" y="18"/>
                    <a:pt x="267" y="18"/>
                  </a:cubicBezTo>
                  <a:cubicBezTo>
                    <a:pt x="264" y="15"/>
                    <a:pt x="264" y="21"/>
                    <a:pt x="264" y="21"/>
                  </a:cubicBezTo>
                  <a:cubicBezTo>
                    <a:pt x="261" y="21"/>
                    <a:pt x="261" y="15"/>
                    <a:pt x="258" y="15"/>
                  </a:cubicBezTo>
                  <a:cubicBezTo>
                    <a:pt x="258" y="15"/>
                    <a:pt x="252" y="21"/>
                    <a:pt x="252" y="18"/>
                  </a:cubicBezTo>
                  <a:cubicBezTo>
                    <a:pt x="249" y="15"/>
                    <a:pt x="234" y="12"/>
                    <a:pt x="228" y="12"/>
                  </a:cubicBezTo>
                  <a:cubicBezTo>
                    <a:pt x="222" y="12"/>
                    <a:pt x="222" y="3"/>
                    <a:pt x="219" y="6"/>
                  </a:cubicBezTo>
                  <a:cubicBezTo>
                    <a:pt x="216" y="6"/>
                    <a:pt x="219" y="9"/>
                    <a:pt x="222" y="12"/>
                  </a:cubicBezTo>
                  <a:cubicBezTo>
                    <a:pt x="225" y="18"/>
                    <a:pt x="210" y="21"/>
                    <a:pt x="204" y="18"/>
                  </a:cubicBezTo>
                  <a:cubicBezTo>
                    <a:pt x="201" y="18"/>
                    <a:pt x="207" y="21"/>
                    <a:pt x="201" y="21"/>
                  </a:cubicBezTo>
                  <a:cubicBezTo>
                    <a:pt x="198" y="21"/>
                    <a:pt x="198" y="27"/>
                    <a:pt x="195" y="33"/>
                  </a:cubicBezTo>
                  <a:cubicBezTo>
                    <a:pt x="192" y="36"/>
                    <a:pt x="192" y="39"/>
                    <a:pt x="189" y="39"/>
                  </a:cubicBezTo>
                  <a:cubicBezTo>
                    <a:pt x="186" y="42"/>
                    <a:pt x="186" y="45"/>
                    <a:pt x="189" y="51"/>
                  </a:cubicBezTo>
                  <a:cubicBezTo>
                    <a:pt x="195" y="54"/>
                    <a:pt x="189" y="54"/>
                    <a:pt x="183" y="51"/>
                  </a:cubicBezTo>
                  <a:cubicBezTo>
                    <a:pt x="180" y="48"/>
                    <a:pt x="177" y="48"/>
                    <a:pt x="177" y="51"/>
                  </a:cubicBezTo>
                  <a:cubicBezTo>
                    <a:pt x="177" y="57"/>
                    <a:pt x="171" y="54"/>
                    <a:pt x="174" y="48"/>
                  </a:cubicBezTo>
                  <a:cubicBezTo>
                    <a:pt x="174" y="45"/>
                    <a:pt x="168" y="45"/>
                    <a:pt x="168" y="45"/>
                  </a:cubicBezTo>
                  <a:cubicBezTo>
                    <a:pt x="165" y="42"/>
                    <a:pt x="162" y="36"/>
                    <a:pt x="156" y="36"/>
                  </a:cubicBezTo>
                  <a:cubicBezTo>
                    <a:pt x="153" y="36"/>
                    <a:pt x="153" y="39"/>
                    <a:pt x="150" y="39"/>
                  </a:cubicBezTo>
                  <a:cubicBezTo>
                    <a:pt x="147" y="39"/>
                    <a:pt x="147" y="42"/>
                    <a:pt x="147" y="45"/>
                  </a:cubicBezTo>
                  <a:cubicBezTo>
                    <a:pt x="147" y="48"/>
                    <a:pt x="141" y="45"/>
                    <a:pt x="138" y="45"/>
                  </a:cubicBezTo>
                  <a:cubicBezTo>
                    <a:pt x="135" y="45"/>
                    <a:pt x="138" y="51"/>
                    <a:pt x="138" y="51"/>
                  </a:cubicBezTo>
                  <a:cubicBezTo>
                    <a:pt x="135" y="51"/>
                    <a:pt x="135" y="54"/>
                    <a:pt x="132" y="54"/>
                  </a:cubicBezTo>
                  <a:cubicBezTo>
                    <a:pt x="129" y="54"/>
                    <a:pt x="129" y="63"/>
                    <a:pt x="129" y="66"/>
                  </a:cubicBezTo>
                  <a:cubicBezTo>
                    <a:pt x="129" y="69"/>
                    <a:pt x="123" y="63"/>
                    <a:pt x="120" y="66"/>
                  </a:cubicBezTo>
                  <a:cubicBezTo>
                    <a:pt x="117" y="66"/>
                    <a:pt x="123" y="69"/>
                    <a:pt x="123" y="72"/>
                  </a:cubicBezTo>
                  <a:cubicBezTo>
                    <a:pt x="123" y="78"/>
                    <a:pt x="120" y="78"/>
                    <a:pt x="120" y="78"/>
                  </a:cubicBezTo>
                  <a:cubicBezTo>
                    <a:pt x="117" y="81"/>
                    <a:pt x="114" y="75"/>
                    <a:pt x="114" y="72"/>
                  </a:cubicBezTo>
                  <a:cubicBezTo>
                    <a:pt x="114" y="66"/>
                    <a:pt x="111" y="69"/>
                    <a:pt x="105" y="75"/>
                  </a:cubicBezTo>
                  <a:cubicBezTo>
                    <a:pt x="102" y="81"/>
                    <a:pt x="108" y="87"/>
                    <a:pt x="105" y="87"/>
                  </a:cubicBezTo>
                  <a:cubicBezTo>
                    <a:pt x="102" y="90"/>
                    <a:pt x="93" y="99"/>
                    <a:pt x="90" y="105"/>
                  </a:cubicBezTo>
                  <a:cubicBezTo>
                    <a:pt x="84" y="111"/>
                    <a:pt x="72" y="108"/>
                    <a:pt x="69" y="111"/>
                  </a:cubicBezTo>
                  <a:cubicBezTo>
                    <a:pt x="66" y="114"/>
                    <a:pt x="63" y="111"/>
                    <a:pt x="57" y="114"/>
                  </a:cubicBezTo>
                  <a:cubicBezTo>
                    <a:pt x="54" y="117"/>
                    <a:pt x="48" y="120"/>
                    <a:pt x="48" y="117"/>
                  </a:cubicBezTo>
                  <a:cubicBezTo>
                    <a:pt x="48" y="114"/>
                    <a:pt x="39" y="117"/>
                    <a:pt x="33" y="120"/>
                  </a:cubicBezTo>
                  <a:cubicBezTo>
                    <a:pt x="30" y="126"/>
                    <a:pt x="24" y="129"/>
                    <a:pt x="21" y="129"/>
                  </a:cubicBezTo>
                  <a:cubicBezTo>
                    <a:pt x="15" y="129"/>
                    <a:pt x="15" y="135"/>
                    <a:pt x="15" y="138"/>
                  </a:cubicBezTo>
                  <a:cubicBezTo>
                    <a:pt x="12" y="138"/>
                    <a:pt x="12" y="132"/>
                    <a:pt x="12" y="129"/>
                  </a:cubicBezTo>
                  <a:cubicBezTo>
                    <a:pt x="12" y="129"/>
                    <a:pt x="9" y="132"/>
                    <a:pt x="6" y="138"/>
                  </a:cubicBezTo>
                  <a:cubicBezTo>
                    <a:pt x="6" y="144"/>
                    <a:pt x="12" y="147"/>
                    <a:pt x="9" y="150"/>
                  </a:cubicBezTo>
                  <a:cubicBezTo>
                    <a:pt x="3" y="156"/>
                    <a:pt x="0" y="162"/>
                    <a:pt x="6" y="168"/>
                  </a:cubicBezTo>
                  <a:cubicBezTo>
                    <a:pt x="12" y="177"/>
                    <a:pt x="15" y="180"/>
                    <a:pt x="12" y="183"/>
                  </a:cubicBezTo>
                  <a:cubicBezTo>
                    <a:pt x="9" y="189"/>
                    <a:pt x="6" y="177"/>
                    <a:pt x="6" y="180"/>
                  </a:cubicBezTo>
                  <a:cubicBezTo>
                    <a:pt x="3" y="180"/>
                    <a:pt x="9" y="183"/>
                    <a:pt x="9" y="186"/>
                  </a:cubicBezTo>
                  <a:cubicBezTo>
                    <a:pt x="6" y="189"/>
                    <a:pt x="3" y="177"/>
                    <a:pt x="0" y="180"/>
                  </a:cubicBezTo>
                  <a:cubicBezTo>
                    <a:pt x="0" y="183"/>
                    <a:pt x="12" y="201"/>
                    <a:pt x="12" y="207"/>
                  </a:cubicBezTo>
                  <a:cubicBezTo>
                    <a:pt x="12" y="213"/>
                    <a:pt x="21" y="219"/>
                    <a:pt x="21" y="228"/>
                  </a:cubicBezTo>
                  <a:cubicBezTo>
                    <a:pt x="21" y="237"/>
                    <a:pt x="30" y="252"/>
                    <a:pt x="33" y="252"/>
                  </a:cubicBezTo>
                  <a:cubicBezTo>
                    <a:pt x="33" y="255"/>
                    <a:pt x="27" y="262"/>
                    <a:pt x="30" y="268"/>
                  </a:cubicBezTo>
                  <a:cubicBezTo>
                    <a:pt x="30" y="277"/>
                    <a:pt x="27" y="277"/>
                    <a:pt x="24" y="277"/>
                  </a:cubicBezTo>
                  <a:cubicBezTo>
                    <a:pt x="18" y="277"/>
                    <a:pt x="21" y="286"/>
                    <a:pt x="27" y="286"/>
                  </a:cubicBezTo>
                  <a:cubicBezTo>
                    <a:pt x="30" y="286"/>
                    <a:pt x="30" y="289"/>
                    <a:pt x="33" y="292"/>
                  </a:cubicBezTo>
                  <a:cubicBezTo>
                    <a:pt x="39" y="298"/>
                    <a:pt x="51" y="295"/>
                    <a:pt x="57" y="295"/>
                  </a:cubicBezTo>
                  <a:cubicBezTo>
                    <a:pt x="60" y="295"/>
                    <a:pt x="60" y="289"/>
                    <a:pt x="66" y="289"/>
                  </a:cubicBezTo>
                  <a:cubicBezTo>
                    <a:pt x="72" y="289"/>
                    <a:pt x="72" y="286"/>
                    <a:pt x="75" y="283"/>
                  </a:cubicBezTo>
                  <a:cubicBezTo>
                    <a:pt x="78" y="280"/>
                    <a:pt x="90" y="280"/>
                    <a:pt x="105" y="280"/>
                  </a:cubicBezTo>
                  <a:cubicBezTo>
                    <a:pt x="117" y="283"/>
                    <a:pt x="123" y="277"/>
                    <a:pt x="126" y="274"/>
                  </a:cubicBezTo>
                  <a:cubicBezTo>
                    <a:pt x="126" y="268"/>
                    <a:pt x="135" y="268"/>
                    <a:pt x="141" y="265"/>
                  </a:cubicBezTo>
                  <a:cubicBezTo>
                    <a:pt x="144" y="262"/>
                    <a:pt x="147" y="258"/>
                    <a:pt x="156" y="262"/>
                  </a:cubicBezTo>
                  <a:cubicBezTo>
                    <a:pt x="168" y="262"/>
                    <a:pt x="177" y="255"/>
                    <a:pt x="183" y="252"/>
                  </a:cubicBezTo>
                  <a:cubicBezTo>
                    <a:pt x="189" y="249"/>
                    <a:pt x="201" y="252"/>
                    <a:pt x="207" y="249"/>
                  </a:cubicBezTo>
                  <a:cubicBezTo>
                    <a:pt x="213" y="249"/>
                    <a:pt x="213" y="258"/>
                    <a:pt x="219" y="255"/>
                  </a:cubicBezTo>
                  <a:cubicBezTo>
                    <a:pt x="225" y="255"/>
                    <a:pt x="228" y="258"/>
                    <a:pt x="234" y="258"/>
                  </a:cubicBezTo>
                  <a:cubicBezTo>
                    <a:pt x="237" y="258"/>
                    <a:pt x="237" y="262"/>
                    <a:pt x="240" y="262"/>
                  </a:cubicBezTo>
                  <a:cubicBezTo>
                    <a:pt x="243" y="262"/>
                    <a:pt x="243" y="265"/>
                    <a:pt x="240" y="268"/>
                  </a:cubicBezTo>
                  <a:cubicBezTo>
                    <a:pt x="237" y="274"/>
                    <a:pt x="246" y="271"/>
                    <a:pt x="249" y="280"/>
                  </a:cubicBezTo>
                  <a:cubicBezTo>
                    <a:pt x="255" y="286"/>
                    <a:pt x="249" y="286"/>
                    <a:pt x="252" y="292"/>
                  </a:cubicBezTo>
                  <a:cubicBezTo>
                    <a:pt x="255" y="295"/>
                    <a:pt x="258" y="295"/>
                    <a:pt x="261" y="289"/>
                  </a:cubicBezTo>
                  <a:cubicBezTo>
                    <a:pt x="267" y="280"/>
                    <a:pt x="273" y="286"/>
                    <a:pt x="273" y="280"/>
                  </a:cubicBezTo>
                  <a:cubicBezTo>
                    <a:pt x="273" y="274"/>
                    <a:pt x="279" y="268"/>
                    <a:pt x="282" y="271"/>
                  </a:cubicBezTo>
                  <a:cubicBezTo>
                    <a:pt x="285" y="274"/>
                    <a:pt x="279" y="274"/>
                    <a:pt x="279" y="286"/>
                  </a:cubicBezTo>
                  <a:cubicBezTo>
                    <a:pt x="276" y="298"/>
                    <a:pt x="273" y="292"/>
                    <a:pt x="270" y="295"/>
                  </a:cubicBezTo>
                  <a:cubicBezTo>
                    <a:pt x="270" y="298"/>
                    <a:pt x="282" y="298"/>
                    <a:pt x="282" y="292"/>
                  </a:cubicBezTo>
                  <a:cubicBezTo>
                    <a:pt x="282" y="286"/>
                    <a:pt x="282" y="286"/>
                    <a:pt x="288" y="289"/>
                  </a:cubicBezTo>
                  <a:cubicBezTo>
                    <a:pt x="291" y="295"/>
                    <a:pt x="285" y="301"/>
                    <a:pt x="285" y="304"/>
                  </a:cubicBezTo>
                  <a:cubicBezTo>
                    <a:pt x="288" y="304"/>
                    <a:pt x="291" y="301"/>
                    <a:pt x="294" y="301"/>
                  </a:cubicBezTo>
                  <a:cubicBezTo>
                    <a:pt x="300" y="301"/>
                    <a:pt x="306" y="313"/>
                    <a:pt x="303" y="319"/>
                  </a:cubicBezTo>
                  <a:cubicBezTo>
                    <a:pt x="303" y="322"/>
                    <a:pt x="300" y="328"/>
                    <a:pt x="309" y="331"/>
                  </a:cubicBezTo>
                  <a:cubicBezTo>
                    <a:pt x="318" y="337"/>
                    <a:pt x="315" y="337"/>
                    <a:pt x="321" y="337"/>
                  </a:cubicBezTo>
                  <a:cubicBezTo>
                    <a:pt x="327" y="337"/>
                    <a:pt x="342" y="343"/>
                    <a:pt x="345" y="346"/>
                  </a:cubicBezTo>
                  <a:cubicBezTo>
                    <a:pt x="348" y="349"/>
                    <a:pt x="357" y="343"/>
                    <a:pt x="357" y="337"/>
                  </a:cubicBezTo>
                  <a:cubicBezTo>
                    <a:pt x="360" y="331"/>
                    <a:pt x="366" y="337"/>
                    <a:pt x="363" y="340"/>
                  </a:cubicBezTo>
                  <a:cubicBezTo>
                    <a:pt x="360" y="340"/>
                    <a:pt x="366" y="346"/>
                    <a:pt x="366" y="343"/>
                  </a:cubicBezTo>
                  <a:cubicBezTo>
                    <a:pt x="366" y="340"/>
                    <a:pt x="366" y="337"/>
                    <a:pt x="369" y="340"/>
                  </a:cubicBezTo>
                  <a:cubicBezTo>
                    <a:pt x="369" y="343"/>
                    <a:pt x="375" y="343"/>
                    <a:pt x="375" y="346"/>
                  </a:cubicBezTo>
                  <a:cubicBezTo>
                    <a:pt x="378" y="349"/>
                    <a:pt x="378" y="352"/>
                    <a:pt x="378" y="349"/>
                  </a:cubicBezTo>
                  <a:cubicBezTo>
                    <a:pt x="378" y="346"/>
                    <a:pt x="381" y="346"/>
                    <a:pt x="384" y="343"/>
                  </a:cubicBezTo>
                  <a:cubicBezTo>
                    <a:pt x="387" y="343"/>
                    <a:pt x="390" y="340"/>
                    <a:pt x="396" y="334"/>
                  </a:cubicBezTo>
                  <a:cubicBezTo>
                    <a:pt x="399" y="331"/>
                    <a:pt x="417" y="331"/>
                    <a:pt x="420" y="331"/>
                  </a:cubicBezTo>
                  <a:cubicBezTo>
                    <a:pt x="420" y="331"/>
                    <a:pt x="420" y="316"/>
                    <a:pt x="423" y="307"/>
                  </a:cubicBezTo>
                  <a:cubicBezTo>
                    <a:pt x="423" y="301"/>
                    <a:pt x="429" y="298"/>
                    <a:pt x="432" y="292"/>
                  </a:cubicBezTo>
                  <a:cubicBezTo>
                    <a:pt x="432" y="283"/>
                    <a:pt x="441" y="268"/>
                    <a:pt x="444" y="268"/>
                  </a:cubicBezTo>
                  <a:cubicBezTo>
                    <a:pt x="444" y="265"/>
                    <a:pt x="450" y="265"/>
                    <a:pt x="450" y="258"/>
                  </a:cubicBezTo>
                  <a:cubicBezTo>
                    <a:pt x="450" y="252"/>
                    <a:pt x="456" y="249"/>
                    <a:pt x="456" y="243"/>
                  </a:cubicBezTo>
                  <a:cubicBezTo>
                    <a:pt x="456" y="237"/>
                    <a:pt x="459" y="231"/>
                    <a:pt x="459" y="228"/>
                  </a:cubicBezTo>
                  <a:cubicBezTo>
                    <a:pt x="459" y="225"/>
                    <a:pt x="456" y="222"/>
                    <a:pt x="459" y="216"/>
                  </a:cubicBezTo>
                  <a:cubicBezTo>
                    <a:pt x="462" y="213"/>
                    <a:pt x="459" y="207"/>
                    <a:pt x="459" y="207"/>
                  </a:cubicBezTo>
                  <a:close/>
                  <a:moveTo>
                    <a:pt x="210" y="12"/>
                  </a:moveTo>
                  <a:cubicBezTo>
                    <a:pt x="210" y="9"/>
                    <a:pt x="192" y="12"/>
                    <a:pt x="195" y="15"/>
                  </a:cubicBezTo>
                  <a:cubicBezTo>
                    <a:pt x="198" y="15"/>
                    <a:pt x="210" y="15"/>
                    <a:pt x="210" y="12"/>
                  </a:cubicBezTo>
                  <a:close/>
                  <a:moveTo>
                    <a:pt x="267" y="307"/>
                  </a:moveTo>
                  <a:cubicBezTo>
                    <a:pt x="270" y="310"/>
                    <a:pt x="279" y="310"/>
                    <a:pt x="279" y="307"/>
                  </a:cubicBezTo>
                  <a:cubicBezTo>
                    <a:pt x="282" y="304"/>
                    <a:pt x="264" y="307"/>
                    <a:pt x="267" y="307"/>
                  </a:cubicBezTo>
                  <a:close/>
                  <a:moveTo>
                    <a:pt x="378" y="376"/>
                  </a:moveTo>
                  <a:cubicBezTo>
                    <a:pt x="372" y="379"/>
                    <a:pt x="363" y="370"/>
                    <a:pt x="360" y="373"/>
                  </a:cubicBezTo>
                  <a:cubicBezTo>
                    <a:pt x="357" y="373"/>
                    <a:pt x="369" y="391"/>
                    <a:pt x="366" y="394"/>
                  </a:cubicBezTo>
                  <a:cubicBezTo>
                    <a:pt x="360" y="400"/>
                    <a:pt x="375" y="412"/>
                    <a:pt x="381" y="412"/>
                  </a:cubicBezTo>
                  <a:cubicBezTo>
                    <a:pt x="384" y="412"/>
                    <a:pt x="384" y="406"/>
                    <a:pt x="387" y="406"/>
                  </a:cubicBezTo>
                  <a:cubicBezTo>
                    <a:pt x="390" y="409"/>
                    <a:pt x="387" y="403"/>
                    <a:pt x="390" y="403"/>
                  </a:cubicBezTo>
                  <a:cubicBezTo>
                    <a:pt x="390" y="400"/>
                    <a:pt x="393" y="403"/>
                    <a:pt x="396" y="403"/>
                  </a:cubicBezTo>
                  <a:cubicBezTo>
                    <a:pt x="399" y="400"/>
                    <a:pt x="393" y="391"/>
                    <a:pt x="399" y="391"/>
                  </a:cubicBezTo>
                  <a:cubicBezTo>
                    <a:pt x="402" y="391"/>
                    <a:pt x="399" y="379"/>
                    <a:pt x="399" y="373"/>
                  </a:cubicBezTo>
                  <a:cubicBezTo>
                    <a:pt x="396" y="370"/>
                    <a:pt x="387" y="376"/>
                    <a:pt x="378" y="37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49" name="Freeform 944"/>
            <p:cNvSpPr>
              <a:spLocks noEditPoints="1"/>
            </p:cNvSpPr>
            <p:nvPr userDrawn="1"/>
          </p:nvSpPr>
          <p:spPr bwMode="auto">
            <a:xfrm>
              <a:off x="5442" y="-950"/>
              <a:ext cx="720" cy="643"/>
            </a:xfrm>
            <a:custGeom>
              <a:avLst/>
              <a:gdLst>
                <a:gd name="T0" fmla="*/ 456 w 462"/>
                <a:gd name="T1" fmla="*/ 180 h 412"/>
                <a:gd name="T2" fmla="*/ 438 w 462"/>
                <a:gd name="T3" fmla="*/ 159 h 412"/>
                <a:gd name="T4" fmla="*/ 423 w 462"/>
                <a:gd name="T5" fmla="*/ 138 h 412"/>
                <a:gd name="T6" fmla="*/ 411 w 462"/>
                <a:gd name="T7" fmla="*/ 123 h 412"/>
                <a:gd name="T8" fmla="*/ 378 w 462"/>
                <a:gd name="T9" fmla="*/ 93 h 412"/>
                <a:gd name="T10" fmla="*/ 366 w 462"/>
                <a:gd name="T11" fmla="*/ 54 h 412"/>
                <a:gd name="T12" fmla="*/ 348 w 462"/>
                <a:gd name="T13" fmla="*/ 33 h 412"/>
                <a:gd name="T14" fmla="*/ 330 w 462"/>
                <a:gd name="T15" fmla="*/ 9 h 412"/>
                <a:gd name="T16" fmla="*/ 324 w 462"/>
                <a:gd name="T17" fmla="*/ 51 h 412"/>
                <a:gd name="T18" fmla="*/ 297 w 462"/>
                <a:gd name="T19" fmla="*/ 75 h 412"/>
                <a:gd name="T20" fmla="*/ 264 w 462"/>
                <a:gd name="T21" fmla="*/ 60 h 412"/>
                <a:gd name="T22" fmla="*/ 258 w 462"/>
                <a:gd name="T23" fmla="*/ 36 h 412"/>
                <a:gd name="T24" fmla="*/ 267 w 462"/>
                <a:gd name="T25" fmla="*/ 18 h 412"/>
                <a:gd name="T26" fmla="*/ 252 w 462"/>
                <a:gd name="T27" fmla="*/ 18 h 412"/>
                <a:gd name="T28" fmla="*/ 222 w 462"/>
                <a:gd name="T29" fmla="*/ 12 h 412"/>
                <a:gd name="T30" fmla="*/ 195 w 462"/>
                <a:gd name="T31" fmla="*/ 33 h 412"/>
                <a:gd name="T32" fmla="*/ 183 w 462"/>
                <a:gd name="T33" fmla="*/ 51 h 412"/>
                <a:gd name="T34" fmla="*/ 168 w 462"/>
                <a:gd name="T35" fmla="*/ 45 h 412"/>
                <a:gd name="T36" fmla="*/ 147 w 462"/>
                <a:gd name="T37" fmla="*/ 45 h 412"/>
                <a:gd name="T38" fmla="*/ 132 w 462"/>
                <a:gd name="T39" fmla="*/ 54 h 412"/>
                <a:gd name="T40" fmla="*/ 123 w 462"/>
                <a:gd name="T41" fmla="*/ 72 h 412"/>
                <a:gd name="T42" fmla="*/ 105 w 462"/>
                <a:gd name="T43" fmla="*/ 75 h 412"/>
                <a:gd name="T44" fmla="*/ 69 w 462"/>
                <a:gd name="T45" fmla="*/ 111 h 412"/>
                <a:gd name="T46" fmla="*/ 33 w 462"/>
                <a:gd name="T47" fmla="*/ 120 h 412"/>
                <a:gd name="T48" fmla="*/ 12 w 462"/>
                <a:gd name="T49" fmla="*/ 129 h 412"/>
                <a:gd name="T50" fmla="*/ 6 w 462"/>
                <a:gd name="T51" fmla="*/ 168 h 412"/>
                <a:gd name="T52" fmla="*/ 9 w 462"/>
                <a:gd name="T53" fmla="*/ 186 h 412"/>
                <a:gd name="T54" fmla="*/ 21 w 462"/>
                <a:gd name="T55" fmla="*/ 228 h 412"/>
                <a:gd name="T56" fmla="*/ 24 w 462"/>
                <a:gd name="T57" fmla="*/ 277 h 412"/>
                <a:gd name="T58" fmla="*/ 57 w 462"/>
                <a:gd name="T59" fmla="*/ 295 h 412"/>
                <a:gd name="T60" fmla="*/ 105 w 462"/>
                <a:gd name="T61" fmla="*/ 280 h 412"/>
                <a:gd name="T62" fmla="*/ 156 w 462"/>
                <a:gd name="T63" fmla="*/ 262 h 412"/>
                <a:gd name="T64" fmla="*/ 219 w 462"/>
                <a:gd name="T65" fmla="*/ 255 h 412"/>
                <a:gd name="T66" fmla="*/ 240 w 462"/>
                <a:gd name="T67" fmla="*/ 268 h 412"/>
                <a:gd name="T68" fmla="*/ 261 w 462"/>
                <a:gd name="T69" fmla="*/ 289 h 412"/>
                <a:gd name="T70" fmla="*/ 279 w 462"/>
                <a:gd name="T71" fmla="*/ 286 h 412"/>
                <a:gd name="T72" fmla="*/ 288 w 462"/>
                <a:gd name="T73" fmla="*/ 289 h 412"/>
                <a:gd name="T74" fmla="*/ 303 w 462"/>
                <a:gd name="T75" fmla="*/ 319 h 412"/>
                <a:gd name="T76" fmla="*/ 345 w 462"/>
                <a:gd name="T77" fmla="*/ 346 h 412"/>
                <a:gd name="T78" fmla="*/ 366 w 462"/>
                <a:gd name="T79" fmla="*/ 343 h 412"/>
                <a:gd name="T80" fmla="*/ 378 w 462"/>
                <a:gd name="T81" fmla="*/ 349 h 412"/>
                <a:gd name="T82" fmla="*/ 420 w 462"/>
                <a:gd name="T83" fmla="*/ 331 h 412"/>
                <a:gd name="T84" fmla="*/ 444 w 462"/>
                <a:gd name="T85" fmla="*/ 268 h 412"/>
                <a:gd name="T86" fmla="*/ 459 w 462"/>
                <a:gd name="T87" fmla="*/ 228 h 412"/>
                <a:gd name="T88" fmla="*/ 210 w 462"/>
                <a:gd name="T89" fmla="*/ 12 h 412"/>
                <a:gd name="T90" fmla="*/ 267 w 462"/>
                <a:gd name="T91" fmla="*/ 307 h 412"/>
                <a:gd name="T92" fmla="*/ 378 w 462"/>
                <a:gd name="T93" fmla="*/ 376 h 412"/>
                <a:gd name="T94" fmla="*/ 381 w 462"/>
                <a:gd name="T95" fmla="*/ 412 h 412"/>
                <a:gd name="T96" fmla="*/ 396 w 462"/>
                <a:gd name="T97" fmla="*/ 403 h 412"/>
                <a:gd name="T98" fmla="*/ 378 w 462"/>
                <a:gd name="T99" fmla="*/ 37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2" h="412">
                  <a:moveTo>
                    <a:pt x="459" y="207"/>
                  </a:moveTo>
                  <a:cubicBezTo>
                    <a:pt x="462" y="204"/>
                    <a:pt x="459" y="198"/>
                    <a:pt x="456" y="198"/>
                  </a:cubicBezTo>
                  <a:cubicBezTo>
                    <a:pt x="456" y="201"/>
                    <a:pt x="456" y="186"/>
                    <a:pt x="456" y="180"/>
                  </a:cubicBezTo>
                  <a:cubicBezTo>
                    <a:pt x="459" y="174"/>
                    <a:pt x="456" y="174"/>
                    <a:pt x="453" y="177"/>
                  </a:cubicBezTo>
                  <a:cubicBezTo>
                    <a:pt x="450" y="180"/>
                    <a:pt x="447" y="171"/>
                    <a:pt x="447" y="168"/>
                  </a:cubicBezTo>
                  <a:cubicBezTo>
                    <a:pt x="447" y="165"/>
                    <a:pt x="441" y="159"/>
                    <a:pt x="438" y="159"/>
                  </a:cubicBezTo>
                  <a:cubicBezTo>
                    <a:pt x="435" y="162"/>
                    <a:pt x="435" y="153"/>
                    <a:pt x="432" y="156"/>
                  </a:cubicBezTo>
                  <a:cubicBezTo>
                    <a:pt x="429" y="156"/>
                    <a:pt x="429" y="150"/>
                    <a:pt x="429" y="144"/>
                  </a:cubicBezTo>
                  <a:cubicBezTo>
                    <a:pt x="429" y="138"/>
                    <a:pt x="426" y="141"/>
                    <a:pt x="423" y="138"/>
                  </a:cubicBezTo>
                  <a:cubicBezTo>
                    <a:pt x="423" y="138"/>
                    <a:pt x="420" y="138"/>
                    <a:pt x="417" y="141"/>
                  </a:cubicBezTo>
                  <a:cubicBezTo>
                    <a:pt x="414" y="141"/>
                    <a:pt x="414" y="135"/>
                    <a:pt x="414" y="132"/>
                  </a:cubicBezTo>
                  <a:cubicBezTo>
                    <a:pt x="414" y="129"/>
                    <a:pt x="414" y="126"/>
                    <a:pt x="411" y="123"/>
                  </a:cubicBezTo>
                  <a:cubicBezTo>
                    <a:pt x="408" y="120"/>
                    <a:pt x="405" y="120"/>
                    <a:pt x="408" y="117"/>
                  </a:cubicBezTo>
                  <a:cubicBezTo>
                    <a:pt x="408" y="111"/>
                    <a:pt x="384" y="102"/>
                    <a:pt x="381" y="99"/>
                  </a:cubicBezTo>
                  <a:cubicBezTo>
                    <a:pt x="375" y="99"/>
                    <a:pt x="381" y="93"/>
                    <a:pt x="378" y="93"/>
                  </a:cubicBezTo>
                  <a:cubicBezTo>
                    <a:pt x="375" y="90"/>
                    <a:pt x="375" y="84"/>
                    <a:pt x="375" y="78"/>
                  </a:cubicBezTo>
                  <a:cubicBezTo>
                    <a:pt x="375" y="72"/>
                    <a:pt x="369" y="72"/>
                    <a:pt x="369" y="66"/>
                  </a:cubicBezTo>
                  <a:cubicBezTo>
                    <a:pt x="369" y="63"/>
                    <a:pt x="366" y="57"/>
                    <a:pt x="366" y="54"/>
                  </a:cubicBezTo>
                  <a:cubicBezTo>
                    <a:pt x="366" y="48"/>
                    <a:pt x="360" y="48"/>
                    <a:pt x="360" y="45"/>
                  </a:cubicBezTo>
                  <a:cubicBezTo>
                    <a:pt x="360" y="42"/>
                    <a:pt x="354" y="45"/>
                    <a:pt x="351" y="45"/>
                  </a:cubicBezTo>
                  <a:cubicBezTo>
                    <a:pt x="345" y="45"/>
                    <a:pt x="348" y="39"/>
                    <a:pt x="348" y="33"/>
                  </a:cubicBezTo>
                  <a:cubicBezTo>
                    <a:pt x="348" y="27"/>
                    <a:pt x="345" y="18"/>
                    <a:pt x="342" y="15"/>
                  </a:cubicBezTo>
                  <a:cubicBezTo>
                    <a:pt x="339" y="12"/>
                    <a:pt x="339" y="3"/>
                    <a:pt x="336" y="3"/>
                  </a:cubicBezTo>
                  <a:cubicBezTo>
                    <a:pt x="336" y="0"/>
                    <a:pt x="330" y="6"/>
                    <a:pt x="330" y="9"/>
                  </a:cubicBezTo>
                  <a:cubicBezTo>
                    <a:pt x="330" y="12"/>
                    <a:pt x="330" y="18"/>
                    <a:pt x="327" y="18"/>
                  </a:cubicBezTo>
                  <a:cubicBezTo>
                    <a:pt x="324" y="21"/>
                    <a:pt x="327" y="30"/>
                    <a:pt x="324" y="30"/>
                  </a:cubicBezTo>
                  <a:cubicBezTo>
                    <a:pt x="321" y="33"/>
                    <a:pt x="324" y="45"/>
                    <a:pt x="324" y="51"/>
                  </a:cubicBezTo>
                  <a:cubicBezTo>
                    <a:pt x="324" y="57"/>
                    <a:pt x="324" y="63"/>
                    <a:pt x="321" y="69"/>
                  </a:cubicBezTo>
                  <a:cubicBezTo>
                    <a:pt x="318" y="72"/>
                    <a:pt x="318" y="81"/>
                    <a:pt x="312" y="81"/>
                  </a:cubicBezTo>
                  <a:cubicBezTo>
                    <a:pt x="306" y="84"/>
                    <a:pt x="297" y="78"/>
                    <a:pt x="297" y="75"/>
                  </a:cubicBezTo>
                  <a:cubicBezTo>
                    <a:pt x="297" y="72"/>
                    <a:pt x="291" y="72"/>
                    <a:pt x="288" y="72"/>
                  </a:cubicBezTo>
                  <a:cubicBezTo>
                    <a:pt x="285" y="72"/>
                    <a:pt x="282" y="66"/>
                    <a:pt x="276" y="63"/>
                  </a:cubicBezTo>
                  <a:cubicBezTo>
                    <a:pt x="270" y="57"/>
                    <a:pt x="267" y="63"/>
                    <a:pt x="264" y="60"/>
                  </a:cubicBezTo>
                  <a:cubicBezTo>
                    <a:pt x="264" y="54"/>
                    <a:pt x="261" y="54"/>
                    <a:pt x="258" y="51"/>
                  </a:cubicBezTo>
                  <a:cubicBezTo>
                    <a:pt x="252" y="48"/>
                    <a:pt x="255" y="48"/>
                    <a:pt x="258" y="45"/>
                  </a:cubicBezTo>
                  <a:cubicBezTo>
                    <a:pt x="261" y="42"/>
                    <a:pt x="261" y="39"/>
                    <a:pt x="258" y="36"/>
                  </a:cubicBezTo>
                  <a:cubicBezTo>
                    <a:pt x="258" y="33"/>
                    <a:pt x="261" y="33"/>
                    <a:pt x="267" y="30"/>
                  </a:cubicBezTo>
                  <a:cubicBezTo>
                    <a:pt x="270" y="27"/>
                    <a:pt x="267" y="24"/>
                    <a:pt x="270" y="21"/>
                  </a:cubicBezTo>
                  <a:cubicBezTo>
                    <a:pt x="273" y="21"/>
                    <a:pt x="273" y="18"/>
                    <a:pt x="267" y="18"/>
                  </a:cubicBezTo>
                  <a:cubicBezTo>
                    <a:pt x="264" y="15"/>
                    <a:pt x="264" y="21"/>
                    <a:pt x="264" y="21"/>
                  </a:cubicBezTo>
                  <a:cubicBezTo>
                    <a:pt x="261" y="21"/>
                    <a:pt x="261" y="15"/>
                    <a:pt x="258" y="15"/>
                  </a:cubicBezTo>
                  <a:cubicBezTo>
                    <a:pt x="258" y="15"/>
                    <a:pt x="252" y="21"/>
                    <a:pt x="252" y="18"/>
                  </a:cubicBezTo>
                  <a:cubicBezTo>
                    <a:pt x="249" y="15"/>
                    <a:pt x="234" y="12"/>
                    <a:pt x="228" y="12"/>
                  </a:cubicBezTo>
                  <a:cubicBezTo>
                    <a:pt x="222" y="12"/>
                    <a:pt x="222" y="3"/>
                    <a:pt x="219" y="6"/>
                  </a:cubicBezTo>
                  <a:cubicBezTo>
                    <a:pt x="216" y="6"/>
                    <a:pt x="219" y="9"/>
                    <a:pt x="222" y="12"/>
                  </a:cubicBezTo>
                  <a:cubicBezTo>
                    <a:pt x="225" y="18"/>
                    <a:pt x="210" y="21"/>
                    <a:pt x="204" y="18"/>
                  </a:cubicBezTo>
                  <a:cubicBezTo>
                    <a:pt x="201" y="18"/>
                    <a:pt x="207" y="21"/>
                    <a:pt x="201" y="21"/>
                  </a:cubicBezTo>
                  <a:cubicBezTo>
                    <a:pt x="198" y="21"/>
                    <a:pt x="198" y="27"/>
                    <a:pt x="195" y="33"/>
                  </a:cubicBezTo>
                  <a:cubicBezTo>
                    <a:pt x="192" y="36"/>
                    <a:pt x="192" y="39"/>
                    <a:pt x="189" y="39"/>
                  </a:cubicBezTo>
                  <a:cubicBezTo>
                    <a:pt x="186" y="42"/>
                    <a:pt x="186" y="45"/>
                    <a:pt x="189" y="51"/>
                  </a:cubicBezTo>
                  <a:cubicBezTo>
                    <a:pt x="195" y="54"/>
                    <a:pt x="189" y="54"/>
                    <a:pt x="183" y="51"/>
                  </a:cubicBezTo>
                  <a:cubicBezTo>
                    <a:pt x="180" y="48"/>
                    <a:pt x="177" y="48"/>
                    <a:pt x="177" y="51"/>
                  </a:cubicBezTo>
                  <a:cubicBezTo>
                    <a:pt x="177" y="57"/>
                    <a:pt x="171" y="54"/>
                    <a:pt x="174" y="48"/>
                  </a:cubicBezTo>
                  <a:cubicBezTo>
                    <a:pt x="174" y="45"/>
                    <a:pt x="168" y="45"/>
                    <a:pt x="168" y="45"/>
                  </a:cubicBezTo>
                  <a:cubicBezTo>
                    <a:pt x="165" y="42"/>
                    <a:pt x="162" y="36"/>
                    <a:pt x="156" y="36"/>
                  </a:cubicBezTo>
                  <a:cubicBezTo>
                    <a:pt x="153" y="36"/>
                    <a:pt x="153" y="39"/>
                    <a:pt x="150" y="39"/>
                  </a:cubicBezTo>
                  <a:cubicBezTo>
                    <a:pt x="147" y="39"/>
                    <a:pt x="147" y="42"/>
                    <a:pt x="147" y="45"/>
                  </a:cubicBezTo>
                  <a:cubicBezTo>
                    <a:pt x="147" y="48"/>
                    <a:pt x="141" y="45"/>
                    <a:pt x="138" y="45"/>
                  </a:cubicBezTo>
                  <a:cubicBezTo>
                    <a:pt x="135" y="45"/>
                    <a:pt x="138" y="51"/>
                    <a:pt x="138" y="51"/>
                  </a:cubicBezTo>
                  <a:cubicBezTo>
                    <a:pt x="135" y="51"/>
                    <a:pt x="135" y="54"/>
                    <a:pt x="132" y="54"/>
                  </a:cubicBezTo>
                  <a:cubicBezTo>
                    <a:pt x="129" y="54"/>
                    <a:pt x="129" y="63"/>
                    <a:pt x="129" y="66"/>
                  </a:cubicBezTo>
                  <a:cubicBezTo>
                    <a:pt x="129" y="69"/>
                    <a:pt x="123" y="63"/>
                    <a:pt x="120" y="66"/>
                  </a:cubicBezTo>
                  <a:cubicBezTo>
                    <a:pt x="117" y="66"/>
                    <a:pt x="123" y="69"/>
                    <a:pt x="123" y="72"/>
                  </a:cubicBezTo>
                  <a:cubicBezTo>
                    <a:pt x="123" y="78"/>
                    <a:pt x="120" y="78"/>
                    <a:pt x="120" y="78"/>
                  </a:cubicBezTo>
                  <a:cubicBezTo>
                    <a:pt x="117" y="81"/>
                    <a:pt x="114" y="75"/>
                    <a:pt x="114" y="72"/>
                  </a:cubicBezTo>
                  <a:cubicBezTo>
                    <a:pt x="114" y="66"/>
                    <a:pt x="111" y="69"/>
                    <a:pt x="105" y="75"/>
                  </a:cubicBezTo>
                  <a:cubicBezTo>
                    <a:pt x="102" y="81"/>
                    <a:pt x="108" y="87"/>
                    <a:pt x="105" y="87"/>
                  </a:cubicBezTo>
                  <a:cubicBezTo>
                    <a:pt x="102" y="90"/>
                    <a:pt x="93" y="99"/>
                    <a:pt x="90" y="105"/>
                  </a:cubicBezTo>
                  <a:cubicBezTo>
                    <a:pt x="84" y="111"/>
                    <a:pt x="72" y="108"/>
                    <a:pt x="69" y="111"/>
                  </a:cubicBezTo>
                  <a:cubicBezTo>
                    <a:pt x="66" y="114"/>
                    <a:pt x="63" y="111"/>
                    <a:pt x="57" y="114"/>
                  </a:cubicBezTo>
                  <a:cubicBezTo>
                    <a:pt x="54" y="117"/>
                    <a:pt x="48" y="120"/>
                    <a:pt x="48" y="117"/>
                  </a:cubicBezTo>
                  <a:cubicBezTo>
                    <a:pt x="48" y="114"/>
                    <a:pt x="39" y="117"/>
                    <a:pt x="33" y="120"/>
                  </a:cubicBezTo>
                  <a:cubicBezTo>
                    <a:pt x="30" y="126"/>
                    <a:pt x="24" y="129"/>
                    <a:pt x="21" y="129"/>
                  </a:cubicBezTo>
                  <a:cubicBezTo>
                    <a:pt x="15" y="129"/>
                    <a:pt x="15" y="135"/>
                    <a:pt x="15" y="138"/>
                  </a:cubicBezTo>
                  <a:cubicBezTo>
                    <a:pt x="12" y="138"/>
                    <a:pt x="12" y="132"/>
                    <a:pt x="12" y="129"/>
                  </a:cubicBezTo>
                  <a:cubicBezTo>
                    <a:pt x="12" y="129"/>
                    <a:pt x="9" y="132"/>
                    <a:pt x="6" y="138"/>
                  </a:cubicBezTo>
                  <a:cubicBezTo>
                    <a:pt x="6" y="144"/>
                    <a:pt x="12" y="147"/>
                    <a:pt x="9" y="150"/>
                  </a:cubicBezTo>
                  <a:cubicBezTo>
                    <a:pt x="3" y="156"/>
                    <a:pt x="0" y="162"/>
                    <a:pt x="6" y="168"/>
                  </a:cubicBezTo>
                  <a:cubicBezTo>
                    <a:pt x="12" y="177"/>
                    <a:pt x="15" y="180"/>
                    <a:pt x="12" y="183"/>
                  </a:cubicBezTo>
                  <a:cubicBezTo>
                    <a:pt x="9" y="189"/>
                    <a:pt x="6" y="177"/>
                    <a:pt x="6" y="180"/>
                  </a:cubicBezTo>
                  <a:cubicBezTo>
                    <a:pt x="3" y="180"/>
                    <a:pt x="9" y="183"/>
                    <a:pt x="9" y="186"/>
                  </a:cubicBezTo>
                  <a:cubicBezTo>
                    <a:pt x="6" y="189"/>
                    <a:pt x="3" y="177"/>
                    <a:pt x="0" y="180"/>
                  </a:cubicBezTo>
                  <a:cubicBezTo>
                    <a:pt x="0" y="183"/>
                    <a:pt x="12" y="201"/>
                    <a:pt x="12" y="207"/>
                  </a:cubicBezTo>
                  <a:cubicBezTo>
                    <a:pt x="12" y="213"/>
                    <a:pt x="21" y="219"/>
                    <a:pt x="21" y="228"/>
                  </a:cubicBezTo>
                  <a:cubicBezTo>
                    <a:pt x="21" y="237"/>
                    <a:pt x="30" y="252"/>
                    <a:pt x="33" y="252"/>
                  </a:cubicBezTo>
                  <a:cubicBezTo>
                    <a:pt x="33" y="255"/>
                    <a:pt x="27" y="262"/>
                    <a:pt x="30" y="268"/>
                  </a:cubicBezTo>
                  <a:cubicBezTo>
                    <a:pt x="30" y="277"/>
                    <a:pt x="27" y="277"/>
                    <a:pt x="24" y="277"/>
                  </a:cubicBezTo>
                  <a:cubicBezTo>
                    <a:pt x="18" y="277"/>
                    <a:pt x="21" y="286"/>
                    <a:pt x="27" y="286"/>
                  </a:cubicBezTo>
                  <a:cubicBezTo>
                    <a:pt x="30" y="286"/>
                    <a:pt x="30" y="289"/>
                    <a:pt x="33" y="292"/>
                  </a:cubicBezTo>
                  <a:cubicBezTo>
                    <a:pt x="39" y="298"/>
                    <a:pt x="51" y="295"/>
                    <a:pt x="57" y="295"/>
                  </a:cubicBezTo>
                  <a:cubicBezTo>
                    <a:pt x="60" y="295"/>
                    <a:pt x="60" y="289"/>
                    <a:pt x="66" y="289"/>
                  </a:cubicBezTo>
                  <a:cubicBezTo>
                    <a:pt x="72" y="289"/>
                    <a:pt x="72" y="286"/>
                    <a:pt x="75" y="283"/>
                  </a:cubicBezTo>
                  <a:cubicBezTo>
                    <a:pt x="78" y="280"/>
                    <a:pt x="90" y="280"/>
                    <a:pt x="105" y="280"/>
                  </a:cubicBezTo>
                  <a:cubicBezTo>
                    <a:pt x="117" y="283"/>
                    <a:pt x="123" y="277"/>
                    <a:pt x="126" y="274"/>
                  </a:cubicBezTo>
                  <a:cubicBezTo>
                    <a:pt x="126" y="268"/>
                    <a:pt x="135" y="268"/>
                    <a:pt x="141" y="265"/>
                  </a:cubicBezTo>
                  <a:cubicBezTo>
                    <a:pt x="144" y="262"/>
                    <a:pt x="147" y="258"/>
                    <a:pt x="156" y="262"/>
                  </a:cubicBezTo>
                  <a:cubicBezTo>
                    <a:pt x="168" y="262"/>
                    <a:pt x="177" y="255"/>
                    <a:pt x="183" y="252"/>
                  </a:cubicBezTo>
                  <a:cubicBezTo>
                    <a:pt x="189" y="249"/>
                    <a:pt x="201" y="252"/>
                    <a:pt x="207" y="249"/>
                  </a:cubicBezTo>
                  <a:cubicBezTo>
                    <a:pt x="213" y="249"/>
                    <a:pt x="213" y="258"/>
                    <a:pt x="219" y="255"/>
                  </a:cubicBezTo>
                  <a:cubicBezTo>
                    <a:pt x="225" y="255"/>
                    <a:pt x="228" y="258"/>
                    <a:pt x="234" y="258"/>
                  </a:cubicBezTo>
                  <a:cubicBezTo>
                    <a:pt x="237" y="258"/>
                    <a:pt x="237" y="262"/>
                    <a:pt x="240" y="262"/>
                  </a:cubicBezTo>
                  <a:cubicBezTo>
                    <a:pt x="243" y="262"/>
                    <a:pt x="243" y="265"/>
                    <a:pt x="240" y="268"/>
                  </a:cubicBezTo>
                  <a:cubicBezTo>
                    <a:pt x="237" y="274"/>
                    <a:pt x="246" y="271"/>
                    <a:pt x="249" y="280"/>
                  </a:cubicBezTo>
                  <a:cubicBezTo>
                    <a:pt x="255" y="286"/>
                    <a:pt x="249" y="286"/>
                    <a:pt x="252" y="292"/>
                  </a:cubicBezTo>
                  <a:cubicBezTo>
                    <a:pt x="255" y="295"/>
                    <a:pt x="258" y="295"/>
                    <a:pt x="261" y="289"/>
                  </a:cubicBezTo>
                  <a:cubicBezTo>
                    <a:pt x="267" y="280"/>
                    <a:pt x="273" y="286"/>
                    <a:pt x="273" y="280"/>
                  </a:cubicBezTo>
                  <a:cubicBezTo>
                    <a:pt x="273" y="274"/>
                    <a:pt x="279" y="268"/>
                    <a:pt x="282" y="271"/>
                  </a:cubicBezTo>
                  <a:cubicBezTo>
                    <a:pt x="285" y="274"/>
                    <a:pt x="279" y="274"/>
                    <a:pt x="279" y="286"/>
                  </a:cubicBezTo>
                  <a:cubicBezTo>
                    <a:pt x="276" y="298"/>
                    <a:pt x="273" y="292"/>
                    <a:pt x="270" y="295"/>
                  </a:cubicBezTo>
                  <a:cubicBezTo>
                    <a:pt x="270" y="298"/>
                    <a:pt x="282" y="298"/>
                    <a:pt x="282" y="292"/>
                  </a:cubicBezTo>
                  <a:cubicBezTo>
                    <a:pt x="282" y="286"/>
                    <a:pt x="282" y="286"/>
                    <a:pt x="288" y="289"/>
                  </a:cubicBezTo>
                  <a:cubicBezTo>
                    <a:pt x="291" y="295"/>
                    <a:pt x="285" y="301"/>
                    <a:pt x="285" y="304"/>
                  </a:cubicBezTo>
                  <a:cubicBezTo>
                    <a:pt x="288" y="304"/>
                    <a:pt x="291" y="301"/>
                    <a:pt x="294" y="301"/>
                  </a:cubicBezTo>
                  <a:cubicBezTo>
                    <a:pt x="300" y="301"/>
                    <a:pt x="306" y="313"/>
                    <a:pt x="303" y="319"/>
                  </a:cubicBezTo>
                  <a:cubicBezTo>
                    <a:pt x="303" y="322"/>
                    <a:pt x="300" y="328"/>
                    <a:pt x="309" y="331"/>
                  </a:cubicBezTo>
                  <a:cubicBezTo>
                    <a:pt x="318" y="337"/>
                    <a:pt x="315" y="337"/>
                    <a:pt x="321" y="337"/>
                  </a:cubicBezTo>
                  <a:cubicBezTo>
                    <a:pt x="327" y="337"/>
                    <a:pt x="342" y="343"/>
                    <a:pt x="345" y="346"/>
                  </a:cubicBezTo>
                  <a:cubicBezTo>
                    <a:pt x="348" y="349"/>
                    <a:pt x="357" y="343"/>
                    <a:pt x="357" y="337"/>
                  </a:cubicBezTo>
                  <a:cubicBezTo>
                    <a:pt x="360" y="331"/>
                    <a:pt x="366" y="337"/>
                    <a:pt x="363" y="340"/>
                  </a:cubicBezTo>
                  <a:cubicBezTo>
                    <a:pt x="360" y="340"/>
                    <a:pt x="366" y="346"/>
                    <a:pt x="366" y="343"/>
                  </a:cubicBezTo>
                  <a:cubicBezTo>
                    <a:pt x="366" y="340"/>
                    <a:pt x="366" y="337"/>
                    <a:pt x="369" y="340"/>
                  </a:cubicBezTo>
                  <a:cubicBezTo>
                    <a:pt x="369" y="343"/>
                    <a:pt x="375" y="343"/>
                    <a:pt x="375" y="346"/>
                  </a:cubicBezTo>
                  <a:cubicBezTo>
                    <a:pt x="378" y="349"/>
                    <a:pt x="378" y="352"/>
                    <a:pt x="378" y="349"/>
                  </a:cubicBezTo>
                  <a:cubicBezTo>
                    <a:pt x="378" y="346"/>
                    <a:pt x="381" y="346"/>
                    <a:pt x="384" y="343"/>
                  </a:cubicBezTo>
                  <a:cubicBezTo>
                    <a:pt x="387" y="343"/>
                    <a:pt x="390" y="340"/>
                    <a:pt x="396" y="334"/>
                  </a:cubicBezTo>
                  <a:cubicBezTo>
                    <a:pt x="399" y="331"/>
                    <a:pt x="417" y="331"/>
                    <a:pt x="420" y="331"/>
                  </a:cubicBezTo>
                  <a:cubicBezTo>
                    <a:pt x="420" y="331"/>
                    <a:pt x="420" y="316"/>
                    <a:pt x="423" y="307"/>
                  </a:cubicBezTo>
                  <a:cubicBezTo>
                    <a:pt x="423" y="301"/>
                    <a:pt x="429" y="298"/>
                    <a:pt x="432" y="292"/>
                  </a:cubicBezTo>
                  <a:cubicBezTo>
                    <a:pt x="432" y="283"/>
                    <a:pt x="441" y="268"/>
                    <a:pt x="444" y="268"/>
                  </a:cubicBezTo>
                  <a:cubicBezTo>
                    <a:pt x="444" y="265"/>
                    <a:pt x="450" y="265"/>
                    <a:pt x="450" y="258"/>
                  </a:cubicBezTo>
                  <a:cubicBezTo>
                    <a:pt x="450" y="252"/>
                    <a:pt x="456" y="249"/>
                    <a:pt x="456" y="243"/>
                  </a:cubicBezTo>
                  <a:cubicBezTo>
                    <a:pt x="456" y="237"/>
                    <a:pt x="459" y="231"/>
                    <a:pt x="459" y="228"/>
                  </a:cubicBezTo>
                  <a:cubicBezTo>
                    <a:pt x="459" y="225"/>
                    <a:pt x="456" y="222"/>
                    <a:pt x="459" y="216"/>
                  </a:cubicBezTo>
                  <a:cubicBezTo>
                    <a:pt x="462" y="213"/>
                    <a:pt x="459" y="207"/>
                    <a:pt x="459" y="207"/>
                  </a:cubicBezTo>
                  <a:close/>
                  <a:moveTo>
                    <a:pt x="210" y="12"/>
                  </a:moveTo>
                  <a:cubicBezTo>
                    <a:pt x="210" y="9"/>
                    <a:pt x="192" y="12"/>
                    <a:pt x="195" y="15"/>
                  </a:cubicBezTo>
                  <a:cubicBezTo>
                    <a:pt x="198" y="15"/>
                    <a:pt x="210" y="15"/>
                    <a:pt x="210" y="12"/>
                  </a:cubicBezTo>
                  <a:close/>
                  <a:moveTo>
                    <a:pt x="267" y="307"/>
                  </a:moveTo>
                  <a:cubicBezTo>
                    <a:pt x="270" y="310"/>
                    <a:pt x="279" y="310"/>
                    <a:pt x="279" y="307"/>
                  </a:cubicBezTo>
                  <a:cubicBezTo>
                    <a:pt x="282" y="304"/>
                    <a:pt x="264" y="307"/>
                    <a:pt x="267" y="307"/>
                  </a:cubicBezTo>
                  <a:close/>
                  <a:moveTo>
                    <a:pt x="378" y="376"/>
                  </a:moveTo>
                  <a:cubicBezTo>
                    <a:pt x="372" y="379"/>
                    <a:pt x="363" y="370"/>
                    <a:pt x="360" y="373"/>
                  </a:cubicBezTo>
                  <a:cubicBezTo>
                    <a:pt x="357" y="373"/>
                    <a:pt x="369" y="391"/>
                    <a:pt x="366" y="394"/>
                  </a:cubicBezTo>
                  <a:cubicBezTo>
                    <a:pt x="360" y="400"/>
                    <a:pt x="375" y="412"/>
                    <a:pt x="381" y="412"/>
                  </a:cubicBezTo>
                  <a:cubicBezTo>
                    <a:pt x="384" y="412"/>
                    <a:pt x="384" y="406"/>
                    <a:pt x="387" y="406"/>
                  </a:cubicBezTo>
                  <a:cubicBezTo>
                    <a:pt x="390" y="409"/>
                    <a:pt x="387" y="403"/>
                    <a:pt x="390" y="403"/>
                  </a:cubicBezTo>
                  <a:cubicBezTo>
                    <a:pt x="390" y="400"/>
                    <a:pt x="393" y="403"/>
                    <a:pt x="396" y="403"/>
                  </a:cubicBezTo>
                  <a:cubicBezTo>
                    <a:pt x="399" y="400"/>
                    <a:pt x="393" y="391"/>
                    <a:pt x="399" y="391"/>
                  </a:cubicBezTo>
                  <a:cubicBezTo>
                    <a:pt x="402" y="391"/>
                    <a:pt x="399" y="379"/>
                    <a:pt x="399" y="373"/>
                  </a:cubicBezTo>
                  <a:cubicBezTo>
                    <a:pt x="396" y="370"/>
                    <a:pt x="387" y="376"/>
                    <a:pt x="378" y="37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0" name="Freeform 945"/>
            <p:cNvSpPr>
              <a:spLocks noEditPoints="1"/>
            </p:cNvSpPr>
            <p:nvPr userDrawn="1"/>
          </p:nvSpPr>
          <p:spPr bwMode="auto">
            <a:xfrm>
              <a:off x="6387" y="-491"/>
              <a:ext cx="220" cy="262"/>
            </a:xfrm>
            <a:custGeom>
              <a:avLst/>
              <a:gdLst>
                <a:gd name="T0" fmla="*/ 87 w 141"/>
                <a:gd name="T1" fmla="*/ 81 h 168"/>
                <a:gd name="T2" fmla="*/ 78 w 141"/>
                <a:gd name="T3" fmla="*/ 84 h 168"/>
                <a:gd name="T4" fmla="*/ 66 w 141"/>
                <a:gd name="T5" fmla="*/ 78 h 168"/>
                <a:gd name="T6" fmla="*/ 60 w 141"/>
                <a:gd name="T7" fmla="*/ 87 h 168"/>
                <a:gd name="T8" fmla="*/ 51 w 141"/>
                <a:gd name="T9" fmla="*/ 105 h 168"/>
                <a:gd name="T10" fmla="*/ 21 w 141"/>
                <a:gd name="T11" fmla="*/ 123 h 168"/>
                <a:gd name="T12" fmla="*/ 6 w 141"/>
                <a:gd name="T13" fmla="*/ 138 h 168"/>
                <a:gd name="T14" fmla="*/ 3 w 141"/>
                <a:gd name="T15" fmla="*/ 150 h 168"/>
                <a:gd name="T16" fmla="*/ 15 w 141"/>
                <a:gd name="T17" fmla="*/ 156 h 168"/>
                <a:gd name="T18" fmla="*/ 21 w 141"/>
                <a:gd name="T19" fmla="*/ 159 h 168"/>
                <a:gd name="T20" fmla="*/ 42 w 141"/>
                <a:gd name="T21" fmla="*/ 153 h 168"/>
                <a:gd name="T22" fmla="*/ 51 w 141"/>
                <a:gd name="T23" fmla="*/ 141 h 168"/>
                <a:gd name="T24" fmla="*/ 57 w 141"/>
                <a:gd name="T25" fmla="*/ 129 h 168"/>
                <a:gd name="T26" fmla="*/ 69 w 141"/>
                <a:gd name="T27" fmla="*/ 120 h 168"/>
                <a:gd name="T28" fmla="*/ 72 w 141"/>
                <a:gd name="T29" fmla="*/ 114 h 168"/>
                <a:gd name="T30" fmla="*/ 81 w 141"/>
                <a:gd name="T31" fmla="*/ 105 h 168"/>
                <a:gd name="T32" fmla="*/ 90 w 141"/>
                <a:gd name="T33" fmla="*/ 90 h 168"/>
                <a:gd name="T34" fmla="*/ 87 w 141"/>
                <a:gd name="T35" fmla="*/ 81 h 168"/>
                <a:gd name="T36" fmla="*/ 15 w 141"/>
                <a:gd name="T37" fmla="*/ 165 h 168"/>
                <a:gd name="T38" fmla="*/ 18 w 141"/>
                <a:gd name="T39" fmla="*/ 162 h 168"/>
                <a:gd name="T40" fmla="*/ 15 w 141"/>
                <a:gd name="T41" fmla="*/ 165 h 168"/>
                <a:gd name="T42" fmla="*/ 129 w 141"/>
                <a:gd name="T43" fmla="*/ 39 h 168"/>
                <a:gd name="T44" fmla="*/ 117 w 141"/>
                <a:gd name="T45" fmla="*/ 39 h 168"/>
                <a:gd name="T46" fmla="*/ 111 w 141"/>
                <a:gd name="T47" fmla="*/ 33 h 168"/>
                <a:gd name="T48" fmla="*/ 105 w 141"/>
                <a:gd name="T49" fmla="*/ 24 h 168"/>
                <a:gd name="T50" fmla="*/ 105 w 141"/>
                <a:gd name="T51" fmla="*/ 30 h 168"/>
                <a:gd name="T52" fmla="*/ 99 w 141"/>
                <a:gd name="T53" fmla="*/ 27 h 168"/>
                <a:gd name="T54" fmla="*/ 96 w 141"/>
                <a:gd name="T55" fmla="*/ 18 h 168"/>
                <a:gd name="T56" fmla="*/ 93 w 141"/>
                <a:gd name="T57" fmla="*/ 9 h 168"/>
                <a:gd name="T58" fmla="*/ 78 w 141"/>
                <a:gd name="T59" fmla="*/ 0 h 168"/>
                <a:gd name="T60" fmla="*/ 81 w 141"/>
                <a:gd name="T61" fmla="*/ 12 h 168"/>
                <a:gd name="T62" fmla="*/ 90 w 141"/>
                <a:gd name="T63" fmla="*/ 18 h 168"/>
                <a:gd name="T64" fmla="*/ 96 w 141"/>
                <a:gd name="T65" fmla="*/ 27 h 168"/>
                <a:gd name="T66" fmla="*/ 93 w 141"/>
                <a:gd name="T67" fmla="*/ 45 h 168"/>
                <a:gd name="T68" fmla="*/ 84 w 141"/>
                <a:gd name="T69" fmla="*/ 54 h 168"/>
                <a:gd name="T70" fmla="*/ 99 w 141"/>
                <a:gd name="T71" fmla="*/ 69 h 168"/>
                <a:gd name="T72" fmla="*/ 96 w 141"/>
                <a:gd name="T73" fmla="*/ 87 h 168"/>
                <a:gd name="T74" fmla="*/ 108 w 141"/>
                <a:gd name="T75" fmla="*/ 87 h 168"/>
                <a:gd name="T76" fmla="*/ 120 w 141"/>
                <a:gd name="T77" fmla="*/ 69 h 168"/>
                <a:gd name="T78" fmla="*/ 123 w 141"/>
                <a:gd name="T79" fmla="*/ 60 h 168"/>
                <a:gd name="T80" fmla="*/ 129 w 141"/>
                <a:gd name="T81" fmla="*/ 57 h 168"/>
                <a:gd name="T82" fmla="*/ 135 w 141"/>
                <a:gd name="T83" fmla="*/ 48 h 168"/>
                <a:gd name="T84" fmla="*/ 138 w 141"/>
                <a:gd name="T85" fmla="*/ 39 h 168"/>
                <a:gd name="T86" fmla="*/ 129 w 141"/>
                <a:gd name="T87" fmla="*/ 3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168">
                  <a:moveTo>
                    <a:pt x="87" y="81"/>
                  </a:moveTo>
                  <a:cubicBezTo>
                    <a:pt x="84" y="78"/>
                    <a:pt x="81" y="81"/>
                    <a:pt x="78" y="84"/>
                  </a:cubicBezTo>
                  <a:cubicBezTo>
                    <a:pt x="75" y="84"/>
                    <a:pt x="72" y="75"/>
                    <a:pt x="66" y="78"/>
                  </a:cubicBezTo>
                  <a:cubicBezTo>
                    <a:pt x="63" y="81"/>
                    <a:pt x="66" y="84"/>
                    <a:pt x="60" y="87"/>
                  </a:cubicBezTo>
                  <a:cubicBezTo>
                    <a:pt x="57" y="93"/>
                    <a:pt x="57" y="93"/>
                    <a:pt x="51" y="105"/>
                  </a:cubicBezTo>
                  <a:cubicBezTo>
                    <a:pt x="45" y="114"/>
                    <a:pt x="24" y="120"/>
                    <a:pt x="21" y="123"/>
                  </a:cubicBezTo>
                  <a:cubicBezTo>
                    <a:pt x="18" y="129"/>
                    <a:pt x="6" y="135"/>
                    <a:pt x="6" y="138"/>
                  </a:cubicBezTo>
                  <a:cubicBezTo>
                    <a:pt x="6" y="141"/>
                    <a:pt x="0" y="144"/>
                    <a:pt x="3" y="150"/>
                  </a:cubicBezTo>
                  <a:cubicBezTo>
                    <a:pt x="6" y="153"/>
                    <a:pt x="12" y="150"/>
                    <a:pt x="15" y="156"/>
                  </a:cubicBezTo>
                  <a:cubicBezTo>
                    <a:pt x="18" y="159"/>
                    <a:pt x="21" y="156"/>
                    <a:pt x="21" y="159"/>
                  </a:cubicBezTo>
                  <a:cubicBezTo>
                    <a:pt x="24" y="162"/>
                    <a:pt x="36" y="162"/>
                    <a:pt x="42" y="153"/>
                  </a:cubicBezTo>
                  <a:cubicBezTo>
                    <a:pt x="51" y="147"/>
                    <a:pt x="48" y="141"/>
                    <a:pt x="51" y="141"/>
                  </a:cubicBezTo>
                  <a:cubicBezTo>
                    <a:pt x="54" y="138"/>
                    <a:pt x="54" y="132"/>
                    <a:pt x="57" y="129"/>
                  </a:cubicBezTo>
                  <a:cubicBezTo>
                    <a:pt x="57" y="126"/>
                    <a:pt x="60" y="120"/>
                    <a:pt x="69" y="120"/>
                  </a:cubicBezTo>
                  <a:cubicBezTo>
                    <a:pt x="78" y="120"/>
                    <a:pt x="72" y="120"/>
                    <a:pt x="72" y="114"/>
                  </a:cubicBezTo>
                  <a:cubicBezTo>
                    <a:pt x="72" y="111"/>
                    <a:pt x="81" y="111"/>
                    <a:pt x="81" y="105"/>
                  </a:cubicBezTo>
                  <a:cubicBezTo>
                    <a:pt x="81" y="99"/>
                    <a:pt x="90" y="93"/>
                    <a:pt x="90" y="90"/>
                  </a:cubicBezTo>
                  <a:cubicBezTo>
                    <a:pt x="87" y="84"/>
                    <a:pt x="90" y="84"/>
                    <a:pt x="87" y="81"/>
                  </a:cubicBezTo>
                  <a:close/>
                  <a:moveTo>
                    <a:pt x="15" y="165"/>
                  </a:moveTo>
                  <a:cubicBezTo>
                    <a:pt x="18" y="168"/>
                    <a:pt x="21" y="165"/>
                    <a:pt x="18" y="162"/>
                  </a:cubicBezTo>
                  <a:cubicBezTo>
                    <a:pt x="15" y="156"/>
                    <a:pt x="12" y="165"/>
                    <a:pt x="15" y="165"/>
                  </a:cubicBezTo>
                  <a:close/>
                  <a:moveTo>
                    <a:pt x="129" y="39"/>
                  </a:moveTo>
                  <a:cubicBezTo>
                    <a:pt x="126" y="45"/>
                    <a:pt x="120" y="39"/>
                    <a:pt x="117" y="39"/>
                  </a:cubicBezTo>
                  <a:cubicBezTo>
                    <a:pt x="114" y="39"/>
                    <a:pt x="111" y="36"/>
                    <a:pt x="111" y="33"/>
                  </a:cubicBezTo>
                  <a:cubicBezTo>
                    <a:pt x="111" y="27"/>
                    <a:pt x="108" y="24"/>
                    <a:pt x="105" y="24"/>
                  </a:cubicBezTo>
                  <a:cubicBezTo>
                    <a:pt x="102" y="24"/>
                    <a:pt x="105" y="27"/>
                    <a:pt x="105" y="30"/>
                  </a:cubicBezTo>
                  <a:cubicBezTo>
                    <a:pt x="102" y="30"/>
                    <a:pt x="102" y="27"/>
                    <a:pt x="99" y="27"/>
                  </a:cubicBezTo>
                  <a:cubicBezTo>
                    <a:pt x="99" y="27"/>
                    <a:pt x="96" y="24"/>
                    <a:pt x="96" y="18"/>
                  </a:cubicBezTo>
                  <a:cubicBezTo>
                    <a:pt x="96" y="15"/>
                    <a:pt x="93" y="15"/>
                    <a:pt x="93" y="9"/>
                  </a:cubicBezTo>
                  <a:cubicBezTo>
                    <a:pt x="93" y="3"/>
                    <a:pt x="84" y="0"/>
                    <a:pt x="78" y="0"/>
                  </a:cubicBezTo>
                  <a:cubicBezTo>
                    <a:pt x="72" y="0"/>
                    <a:pt x="78" y="9"/>
                    <a:pt x="81" y="12"/>
                  </a:cubicBezTo>
                  <a:cubicBezTo>
                    <a:pt x="84" y="15"/>
                    <a:pt x="90" y="18"/>
                    <a:pt x="90" y="18"/>
                  </a:cubicBezTo>
                  <a:cubicBezTo>
                    <a:pt x="90" y="21"/>
                    <a:pt x="93" y="27"/>
                    <a:pt x="96" y="27"/>
                  </a:cubicBezTo>
                  <a:cubicBezTo>
                    <a:pt x="99" y="30"/>
                    <a:pt x="93" y="39"/>
                    <a:pt x="93" y="45"/>
                  </a:cubicBezTo>
                  <a:cubicBezTo>
                    <a:pt x="93" y="51"/>
                    <a:pt x="90" y="51"/>
                    <a:pt x="84" y="54"/>
                  </a:cubicBezTo>
                  <a:cubicBezTo>
                    <a:pt x="81" y="60"/>
                    <a:pt x="93" y="63"/>
                    <a:pt x="99" y="69"/>
                  </a:cubicBezTo>
                  <a:cubicBezTo>
                    <a:pt x="105" y="72"/>
                    <a:pt x="96" y="84"/>
                    <a:pt x="96" y="87"/>
                  </a:cubicBezTo>
                  <a:cubicBezTo>
                    <a:pt x="96" y="87"/>
                    <a:pt x="102" y="90"/>
                    <a:pt x="108" y="87"/>
                  </a:cubicBezTo>
                  <a:cubicBezTo>
                    <a:pt x="114" y="87"/>
                    <a:pt x="114" y="75"/>
                    <a:pt x="120" y="69"/>
                  </a:cubicBezTo>
                  <a:cubicBezTo>
                    <a:pt x="123" y="66"/>
                    <a:pt x="120" y="60"/>
                    <a:pt x="123" y="60"/>
                  </a:cubicBezTo>
                  <a:cubicBezTo>
                    <a:pt x="126" y="57"/>
                    <a:pt x="129" y="57"/>
                    <a:pt x="129" y="57"/>
                  </a:cubicBezTo>
                  <a:cubicBezTo>
                    <a:pt x="132" y="57"/>
                    <a:pt x="132" y="48"/>
                    <a:pt x="135" y="48"/>
                  </a:cubicBezTo>
                  <a:cubicBezTo>
                    <a:pt x="138" y="48"/>
                    <a:pt x="138" y="45"/>
                    <a:pt x="138" y="39"/>
                  </a:cubicBezTo>
                  <a:cubicBezTo>
                    <a:pt x="141" y="33"/>
                    <a:pt x="129" y="36"/>
                    <a:pt x="129" y="3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1" name="Freeform 946"/>
            <p:cNvSpPr>
              <a:spLocks noEditPoints="1"/>
            </p:cNvSpPr>
            <p:nvPr userDrawn="1"/>
          </p:nvSpPr>
          <p:spPr bwMode="auto">
            <a:xfrm>
              <a:off x="6387" y="-491"/>
              <a:ext cx="220" cy="262"/>
            </a:xfrm>
            <a:custGeom>
              <a:avLst/>
              <a:gdLst>
                <a:gd name="T0" fmla="*/ 87 w 141"/>
                <a:gd name="T1" fmla="*/ 81 h 168"/>
                <a:gd name="T2" fmla="*/ 78 w 141"/>
                <a:gd name="T3" fmla="*/ 84 h 168"/>
                <a:gd name="T4" fmla="*/ 66 w 141"/>
                <a:gd name="T5" fmla="*/ 78 h 168"/>
                <a:gd name="T6" fmla="*/ 60 w 141"/>
                <a:gd name="T7" fmla="*/ 87 h 168"/>
                <a:gd name="T8" fmla="*/ 51 w 141"/>
                <a:gd name="T9" fmla="*/ 105 h 168"/>
                <a:gd name="T10" fmla="*/ 21 w 141"/>
                <a:gd name="T11" fmla="*/ 123 h 168"/>
                <a:gd name="T12" fmla="*/ 6 w 141"/>
                <a:gd name="T13" fmla="*/ 138 h 168"/>
                <a:gd name="T14" fmla="*/ 3 w 141"/>
                <a:gd name="T15" fmla="*/ 150 h 168"/>
                <a:gd name="T16" fmla="*/ 15 w 141"/>
                <a:gd name="T17" fmla="*/ 156 h 168"/>
                <a:gd name="T18" fmla="*/ 21 w 141"/>
                <a:gd name="T19" fmla="*/ 159 h 168"/>
                <a:gd name="T20" fmla="*/ 42 w 141"/>
                <a:gd name="T21" fmla="*/ 153 h 168"/>
                <a:gd name="T22" fmla="*/ 51 w 141"/>
                <a:gd name="T23" fmla="*/ 141 h 168"/>
                <a:gd name="T24" fmla="*/ 57 w 141"/>
                <a:gd name="T25" fmla="*/ 129 h 168"/>
                <a:gd name="T26" fmla="*/ 69 w 141"/>
                <a:gd name="T27" fmla="*/ 120 h 168"/>
                <a:gd name="T28" fmla="*/ 72 w 141"/>
                <a:gd name="T29" fmla="*/ 114 h 168"/>
                <a:gd name="T30" fmla="*/ 81 w 141"/>
                <a:gd name="T31" fmla="*/ 105 h 168"/>
                <a:gd name="T32" fmla="*/ 90 w 141"/>
                <a:gd name="T33" fmla="*/ 90 h 168"/>
                <a:gd name="T34" fmla="*/ 87 w 141"/>
                <a:gd name="T35" fmla="*/ 81 h 168"/>
                <a:gd name="T36" fmla="*/ 15 w 141"/>
                <a:gd name="T37" fmla="*/ 165 h 168"/>
                <a:gd name="T38" fmla="*/ 18 w 141"/>
                <a:gd name="T39" fmla="*/ 162 h 168"/>
                <a:gd name="T40" fmla="*/ 15 w 141"/>
                <a:gd name="T41" fmla="*/ 165 h 168"/>
                <a:gd name="T42" fmla="*/ 129 w 141"/>
                <a:gd name="T43" fmla="*/ 39 h 168"/>
                <a:gd name="T44" fmla="*/ 117 w 141"/>
                <a:gd name="T45" fmla="*/ 39 h 168"/>
                <a:gd name="T46" fmla="*/ 111 w 141"/>
                <a:gd name="T47" fmla="*/ 33 h 168"/>
                <a:gd name="T48" fmla="*/ 105 w 141"/>
                <a:gd name="T49" fmla="*/ 24 h 168"/>
                <a:gd name="T50" fmla="*/ 105 w 141"/>
                <a:gd name="T51" fmla="*/ 30 h 168"/>
                <a:gd name="T52" fmla="*/ 99 w 141"/>
                <a:gd name="T53" fmla="*/ 27 h 168"/>
                <a:gd name="T54" fmla="*/ 96 w 141"/>
                <a:gd name="T55" fmla="*/ 18 h 168"/>
                <a:gd name="T56" fmla="*/ 93 w 141"/>
                <a:gd name="T57" fmla="*/ 9 h 168"/>
                <a:gd name="T58" fmla="*/ 78 w 141"/>
                <a:gd name="T59" fmla="*/ 0 h 168"/>
                <a:gd name="T60" fmla="*/ 81 w 141"/>
                <a:gd name="T61" fmla="*/ 12 h 168"/>
                <a:gd name="T62" fmla="*/ 90 w 141"/>
                <a:gd name="T63" fmla="*/ 18 h 168"/>
                <a:gd name="T64" fmla="*/ 96 w 141"/>
                <a:gd name="T65" fmla="*/ 27 h 168"/>
                <a:gd name="T66" fmla="*/ 93 w 141"/>
                <a:gd name="T67" fmla="*/ 45 h 168"/>
                <a:gd name="T68" fmla="*/ 84 w 141"/>
                <a:gd name="T69" fmla="*/ 54 h 168"/>
                <a:gd name="T70" fmla="*/ 99 w 141"/>
                <a:gd name="T71" fmla="*/ 69 h 168"/>
                <a:gd name="T72" fmla="*/ 96 w 141"/>
                <a:gd name="T73" fmla="*/ 87 h 168"/>
                <a:gd name="T74" fmla="*/ 108 w 141"/>
                <a:gd name="T75" fmla="*/ 87 h 168"/>
                <a:gd name="T76" fmla="*/ 120 w 141"/>
                <a:gd name="T77" fmla="*/ 69 h 168"/>
                <a:gd name="T78" fmla="*/ 123 w 141"/>
                <a:gd name="T79" fmla="*/ 60 h 168"/>
                <a:gd name="T80" fmla="*/ 129 w 141"/>
                <a:gd name="T81" fmla="*/ 57 h 168"/>
                <a:gd name="T82" fmla="*/ 135 w 141"/>
                <a:gd name="T83" fmla="*/ 48 h 168"/>
                <a:gd name="T84" fmla="*/ 138 w 141"/>
                <a:gd name="T85" fmla="*/ 39 h 168"/>
                <a:gd name="T86" fmla="*/ 129 w 141"/>
                <a:gd name="T87" fmla="*/ 3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168">
                  <a:moveTo>
                    <a:pt x="87" y="81"/>
                  </a:moveTo>
                  <a:cubicBezTo>
                    <a:pt x="84" y="78"/>
                    <a:pt x="81" y="81"/>
                    <a:pt x="78" y="84"/>
                  </a:cubicBezTo>
                  <a:cubicBezTo>
                    <a:pt x="75" y="84"/>
                    <a:pt x="72" y="75"/>
                    <a:pt x="66" y="78"/>
                  </a:cubicBezTo>
                  <a:cubicBezTo>
                    <a:pt x="63" y="81"/>
                    <a:pt x="66" y="84"/>
                    <a:pt x="60" y="87"/>
                  </a:cubicBezTo>
                  <a:cubicBezTo>
                    <a:pt x="57" y="93"/>
                    <a:pt x="57" y="93"/>
                    <a:pt x="51" y="105"/>
                  </a:cubicBezTo>
                  <a:cubicBezTo>
                    <a:pt x="45" y="114"/>
                    <a:pt x="24" y="120"/>
                    <a:pt x="21" y="123"/>
                  </a:cubicBezTo>
                  <a:cubicBezTo>
                    <a:pt x="18" y="129"/>
                    <a:pt x="6" y="135"/>
                    <a:pt x="6" y="138"/>
                  </a:cubicBezTo>
                  <a:cubicBezTo>
                    <a:pt x="6" y="141"/>
                    <a:pt x="0" y="144"/>
                    <a:pt x="3" y="150"/>
                  </a:cubicBezTo>
                  <a:cubicBezTo>
                    <a:pt x="6" y="153"/>
                    <a:pt x="12" y="150"/>
                    <a:pt x="15" y="156"/>
                  </a:cubicBezTo>
                  <a:cubicBezTo>
                    <a:pt x="18" y="159"/>
                    <a:pt x="21" y="156"/>
                    <a:pt x="21" y="159"/>
                  </a:cubicBezTo>
                  <a:cubicBezTo>
                    <a:pt x="24" y="162"/>
                    <a:pt x="36" y="162"/>
                    <a:pt x="42" y="153"/>
                  </a:cubicBezTo>
                  <a:cubicBezTo>
                    <a:pt x="51" y="147"/>
                    <a:pt x="48" y="141"/>
                    <a:pt x="51" y="141"/>
                  </a:cubicBezTo>
                  <a:cubicBezTo>
                    <a:pt x="54" y="138"/>
                    <a:pt x="54" y="132"/>
                    <a:pt x="57" y="129"/>
                  </a:cubicBezTo>
                  <a:cubicBezTo>
                    <a:pt x="57" y="126"/>
                    <a:pt x="60" y="120"/>
                    <a:pt x="69" y="120"/>
                  </a:cubicBezTo>
                  <a:cubicBezTo>
                    <a:pt x="78" y="120"/>
                    <a:pt x="72" y="120"/>
                    <a:pt x="72" y="114"/>
                  </a:cubicBezTo>
                  <a:cubicBezTo>
                    <a:pt x="72" y="111"/>
                    <a:pt x="81" y="111"/>
                    <a:pt x="81" y="105"/>
                  </a:cubicBezTo>
                  <a:cubicBezTo>
                    <a:pt x="81" y="99"/>
                    <a:pt x="90" y="93"/>
                    <a:pt x="90" y="90"/>
                  </a:cubicBezTo>
                  <a:cubicBezTo>
                    <a:pt x="87" y="84"/>
                    <a:pt x="90" y="84"/>
                    <a:pt x="87" y="81"/>
                  </a:cubicBezTo>
                  <a:close/>
                  <a:moveTo>
                    <a:pt x="15" y="165"/>
                  </a:moveTo>
                  <a:cubicBezTo>
                    <a:pt x="18" y="168"/>
                    <a:pt x="21" y="165"/>
                    <a:pt x="18" y="162"/>
                  </a:cubicBezTo>
                  <a:cubicBezTo>
                    <a:pt x="15" y="156"/>
                    <a:pt x="12" y="165"/>
                    <a:pt x="15" y="165"/>
                  </a:cubicBezTo>
                  <a:close/>
                  <a:moveTo>
                    <a:pt x="129" y="39"/>
                  </a:moveTo>
                  <a:cubicBezTo>
                    <a:pt x="126" y="45"/>
                    <a:pt x="120" y="39"/>
                    <a:pt x="117" y="39"/>
                  </a:cubicBezTo>
                  <a:cubicBezTo>
                    <a:pt x="114" y="39"/>
                    <a:pt x="111" y="36"/>
                    <a:pt x="111" y="33"/>
                  </a:cubicBezTo>
                  <a:cubicBezTo>
                    <a:pt x="111" y="27"/>
                    <a:pt x="108" y="24"/>
                    <a:pt x="105" y="24"/>
                  </a:cubicBezTo>
                  <a:cubicBezTo>
                    <a:pt x="102" y="24"/>
                    <a:pt x="105" y="27"/>
                    <a:pt x="105" y="30"/>
                  </a:cubicBezTo>
                  <a:cubicBezTo>
                    <a:pt x="102" y="30"/>
                    <a:pt x="102" y="27"/>
                    <a:pt x="99" y="27"/>
                  </a:cubicBezTo>
                  <a:cubicBezTo>
                    <a:pt x="99" y="27"/>
                    <a:pt x="96" y="24"/>
                    <a:pt x="96" y="18"/>
                  </a:cubicBezTo>
                  <a:cubicBezTo>
                    <a:pt x="96" y="15"/>
                    <a:pt x="93" y="15"/>
                    <a:pt x="93" y="9"/>
                  </a:cubicBezTo>
                  <a:cubicBezTo>
                    <a:pt x="93" y="3"/>
                    <a:pt x="84" y="0"/>
                    <a:pt x="78" y="0"/>
                  </a:cubicBezTo>
                  <a:cubicBezTo>
                    <a:pt x="72" y="0"/>
                    <a:pt x="78" y="9"/>
                    <a:pt x="81" y="12"/>
                  </a:cubicBezTo>
                  <a:cubicBezTo>
                    <a:pt x="84" y="15"/>
                    <a:pt x="90" y="18"/>
                    <a:pt x="90" y="18"/>
                  </a:cubicBezTo>
                  <a:cubicBezTo>
                    <a:pt x="90" y="21"/>
                    <a:pt x="93" y="27"/>
                    <a:pt x="96" y="27"/>
                  </a:cubicBezTo>
                  <a:cubicBezTo>
                    <a:pt x="99" y="30"/>
                    <a:pt x="93" y="39"/>
                    <a:pt x="93" y="45"/>
                  </a:cubicBezTo>
                  <a:cubicBezTo>
                    <a:pt x="93" y="51"/>
                    <a:pt x="90" y="51"/>
                    <a:pt x="84" y="54"/>
                  </a:cubicBezTo>
                  <a:cubicBezTo>
                    <a:pt x="81" y="60"/>
                    <a:pt x="93" y="63"/>
                    <a:pt x="99" y="69"/>
                  </a:cubicBezTo>
                  <a:cubicBezTo>
                    <a:pt x="105" y="72"/>
                    <a:pt x="96" y="84"/>
                    <a:pt x="96" y="87"/>
                  </a:cubicBezTo>
                  <a:cubicBezTo>
                    <a:pt x="96" y="87"/>
                    <a:pt x="102" y="90"/>
                    <a:pt x="108" y="87"/>
                  </a:cubicBezTo>
                  <a:cubicBezTo>
                    <a:pt x="114" y="87"/>
                    <a:pt x="114" y="75"/>
                    <a:pt x="120" y="69"/>
                  </a:cubicBezTo>
                  <a:cubicBezTo>
                    <a:pt x="123" y="66"/>
                    <a:pt x="120" y="60"/>
                    <a:pt x="123" y="60"/>
                  </a:cubicBezTo>
                  <a:cubicBezTo>
                    <a:pt x="126" y="57"/>
                    <a:pt x="129" y="57"/>
                    <a:pt x="129" y="57"/>
                  </a:cubicBezTo>
                  <a:cubicBezTo>
                    <a:pt x="132" y="57"/>
                    <a:pt x="132" y="48"/>
                    <a:pt x="135" y="48"/>
                  </a:cubicBezTo>
                  <a:cubicBezTo>
                    <a:pt x="138" y="48"/>
                    <a:pt x="138" y="45"/>
                    <a:pt x="138" y="39"/>
                  </a:cubicBezTo>
                  <a:cubicBezTo>
                    <a:pt x="141" y="33"/>
                    <a:pt x="129" y="36"/>
                    <a:pt x="129" y="39"/>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2" name="Freeform 947"/>
            <p:cNvSpPr>
              <a:spLocks noEditPoints="1"/>
            </p:cNvSpPr>
            <p:nvPr userDrawn="1"/>
          </p:nvSpPr>
          <p:spPr bwMode="auto">
            <a:xfrm>
              <a:off x="6578" y="-845"/>
              <a:ext cx="47" cy="42"/>
            </a:xfrm>
            <a:custGeom>
              <a:avLst/>
              <a:gdLst>
                <a:gd name="T0" fmla="*/ 3 w 30"/>
                <a:gd name="T1" fmla="*/ 24 h 27"/>
                <a:gd name="T2" fmla="*/ 18 w 30"/>
                <a:gd name="T3" fmla="*/ 18 h 27"/>
                <a:gd name="T4" fmla="*/ 3 w 30"/>
                <a:gd name="T5" fmla="*/ 24 h 27"/>
                <a:gd name="T6" fmla="*/ 21 w 30"/>
                <a:gd name="T7" fmla="*/ 9 h 27"/>
                <a:gd name="T8" fmla="*/ 30 w 30"/>
                <a:gd name="T9" fmla="*/ 3 h 27"/>
                <a:gd name="T10" fmla="*/ 21 w 30"/>
                <a:gd name="T11" fmla="*/ 9 h 27"/>
              </a:gdLst>
              <a:ahLst/>
              <a:cxnLst>
                <a:cxn ang="0">
                  <a:pos x="T0" y="T1"/>
                </a:cxn>
                <a:cxn ang="0">
                  <a:pos x="T2" y="T3"/>
                </a:cxn>
                <a:cxn ang="0">
                  <a:pos x="T4" y="T5"/>
                </a:cxn>
                <a:cxn ang="0">
                  <a:pos x="T6" y="T7"/>
                </a:cxn>
                <a:cxn ang="0">
                  <a:pos x="T8" y="T9"/>
                </a:cxn>
                <a:cxn ang="0">
                  <a:pos x="T10" y="T11"/>
                </a:cxn>
              </a:cxnLst>
              <a:rect l="0" t="0" r="r" b="b"/>
              <a:pathLst>
                <a:path w="30" h="27">
                  <a:moveTo>
                    <a:pt x="3" y="24"/>
                  </a:moveTo>
                  <a:cubicBezTo>
                    <a:pt x="9" y="27"/>
                    <a:pt x="18" y="27"/>
                    <a:pt x="18" y="18"/>
                  </a:cubicBezTo>
                  <a:cubicBezTo>
                    <a:pt x="18" y="12"/>
                    <a:pt x="0" y="18"/>
                    <a:pt x="3" y="24"/>
                  </a:cubicBezTo>
                  <a:close/>
                  <a:moveTo>
                    <a:pt x="21" y="9"/>
                  </a:moveTo>
                  <a:cubicBezTo>
                    <a:pt x="21" y="9"/>
                    <a:pt x="30" y="6"/>
                    <a:pt x="30" y="3"/>
                  </a:cubicBezTo>
                  <a:cubicBezTo>
                    <a:pt x="30" y="0"/>
                    <a:pt x="15" y="9"/>
                    <a:pt x="21"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3" name="Freeform 948"/>
            <p:cNvSpPr>
              <a:spLocks noEditPoints="1"/>
            </p:cNvSpPr>
            <p:nvPr userDrawn="1"/>
          </p:nvSpPr>
          <p:spPr bwMode="auto">
            <a:xfrm>
              <a:off x="6578" y="-845"/>
              <a:ext cx="47" cy="42"/>
            </a:xfrm>
            <a:custGeom>
              <a:avLst/>
              <a:gdLst>
                <a:gd name="T0" fmla="*/ 3 w 30"/>
                <a:gd name="T1" fmla="*/ 24 h 27"/>
                <a:gd name="T2" fmla="*/ 18 w 30"/>
                <a:gd name="T3" fmla="*/ 18 h 27"/>
                <a:gd name="T4" fmla="*/ 3 w 30"/>
                <a:gd name="T5" fmla="*/ 24 h 27"/>
                <a:gd name="T6" fmla="*/ 21 w 30"/>
                <a:gd name="T7" fmla="*/ 9 h 27"/>
                <a:gd name="T8" fmla="*/ 30 w 30"/>
                <a:gd name="T9" fmla="*/ 3 h 27"/>
                <a:gd name="T10" fmla="*/ 21 w 30"/>
                <a:gd name="T11" fmla="*/ 9 h 27"/>
              </a:gdLst>
              <a:ahLst/>
              <a:cxnLst>
                <a:cxn ang="0">
                  <a:pos x="T0" y="T1"/>
                </a:cxn>
                <a:cxn ang="0">
                  <a:pos x="T2" y="T3"/>
                </a:cxn>
                <a:cxn ang="0">
                  <a:pos x="T4" y="T5"/>
                </a:cxn>
                <a:cxn ang="0">
                  <a:pos x="T6" y="T7"/>
                </a:cxn>
                <a:cxn ang="0">
                  <a:pos x="T8" y="T9"/>
                </a:cxn>
                <a:cxn ang="0">
                  <a:pos x="T10" y="T11"/>
                </a:cxn>
              </a:cxnLst>
              <a:rect l="0" t="0" r="r" b="b"/>
              <a:pathLst>
                <a:path w="30" h="27">
                  <a:moveTo>
                    <a:pt x="3" y="24"/>
                  </a:moveTo>
                  <a:cubicBezTo>
                    <a:pt x="9" y="27"/>
                    <a:pt x="18" y="27"/>
                    <a:pt x="18" y="18"/>
                  </a:cubicBezTo>
                  <a:cubicBezTo>
                    <a:pt x="18" y="12"/>
                    <a:pt x="0" y="18"/>
                    <a:pt x="3" y="24"/>
                  </a:cubicBezTo>
                  <a:close/>
                  <a:moveTo>
                    <a:pt x="21" y="9"/>
                  </a:moveTo>
                  <a:cubicBezTo>
                    <a:pt x="21" y="9"/>
                    <a:pt x="30" y="6"/>
                    <a:pt x="30" y="3"/>
                  </a:cubicBezTo>
                  <a:cubicBezTo>
                    <a:pt x="30" y="0"/>
                    <a:pt x="15" y="9"/>
                    <a:pt x="21"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4" name="Freeform 949"/>
            <p:cNvSpPr>
              <a:spLocks/>
            </p:cNvSpPr>
            <p:nvPr userDrawn="1"/>
          </p:nvSpPr>
          <p:spPr bwMode="auto">
            <a:xfrm>
              <a:off x="4399" y="-1947"/>
              <a:ext cx="253" cy="159"/>
            </a:xfrm>
            <a:custGeom>
              <a:avLst/>
              <a:gdLst>
                <a:gd name="T0" fmla="*/ 159 w 162"/>
                <a:gd name="T1" fmla="*/ 63 h 102"/>
                <a:gd name="T2" fmla="*/ 150 w 162"/>
                <a:gd name="T3" fmla="*/ 60 h 102"/>
                <a:gd name="T4" fmla="*/ 138 w 162"/>
                <a:gd name="T5" fmla="*/ 51 h 102"/>
                <a:gd name="T6" fmla="*/ 126 w 162"/>
                <a:gd name="T7" fmla="*/ 45 h 102"/>
                <a:gd name="T8" fmla="*/ 114 w 162"/>
                <a:gd name="T9" fmla="*/ 36 h 102"/>
                <a:gd name="T10" fmla="*/ 108 w 162"/>
                <a:gd name="T11" fmla="*/ 27 h 102"/>
                <a:gd name="T12" fmla="*/ 105 w 162"/>
                <a:gd name="T13" fmla="*/ 18 h 102"/>
                <a:gd name="T14" fmla="*/ 87 w 162"/>
                <a:gd name="T15" fmla="*/ 18 h 102"/>
                <a:gd name="T16" fmla="*/ 84 w 162"/>
                <a:gd name="T17" fmla="*/ 6 h 102"/>
                <a:gd name="T18" fmla="*/ 75 w 162"/>
                <a:gd name="T19" fmla="*/ 3 h 102"/>
                <a:gd name="T20" fmla="*/ 66 w 162"/>
                <a:gd name="T21" fmla="*/ 0 h 102"/>
                <a:gd name="T22" fmla="*/ 63 w 162"/>
                <a:gd name="T23" fmla="*/ 3 h 102"/>
                <a:gd name="T24" fmla="*/ 57 w 162"/>
                <a:gd name="T25" fmla="*/ 6 h 102"/>
                <a:gd name="T26" fmla="*/ 51 w 162"/>
                <a:gd name="T27" fmla="*/ 12 h 102"/>
                <a:gd name="T28" fmla="*/ 45 w 162"/>
                <a:gd name="T29" fmla="*/ 18 h 102"/>
                <a:gd name="T30" fmla="*/ 39 w 162"/>
                <a:gd name="T31" fmla="*/ 15 h 102"/>
                <a:gd name="T32" fmla="*/ 30 w 162"/>
                <a:gd name="T33" fmla="*/ 15 h 102"/>
                <a:gd name="T34" fmla="*/ 15 w 162"/>
                <a:gd name="T35" fmla="*/ 3 h 102"/>
                <a:gd name="T36" fmla="*/ 6 w 162"/>
                <a:gd name="T37" fmla="*/ 9 h 102"/>
                <a:gd name="T38" fmla="*/ 9 w 162"/>
                <a:gd name="T39" fmla="*/ 9 h 102"/>
                <a:gd name="T40" fmla="*/ 18 w 162"/>
                <a:gd name="T41" fmla="*/ 18 h 102"/>
                <a:gd name="T42" fmla="*/ 24 w 162"/>
                <a:gd name="T43" fmla="*/ 24 h 102"/>
                <a:gd name="T44" fmla="*/ 12 w 162"/>
                <a:gd name="T45" fmla="*/ 27 h 102"/>
                <a:gd name="T46" fmla="*/ 3 w 162"/>
                <a:gd name="T47" fmla="*/ 27 h 102"/>
                <a:gd name="T48" fmla="*/ 6 w 162"/>
                <a:gd name="T49" fmla="*/ 36 h 102"/>
                <a:gd name="T50" fmla="*/ 6 w 162"/>
                <a:gd name="T51" fmla="*/ 45 h 102"/>
                <a:gd name="T52" fmla="*/ 12 w 162"/>
                <a:gd name="T53" fmla="*/ 45 h 102"/>
                <a:gd name="T54" fmla="*/ 15 w 162"/>
                <a:gd name="T55" fmla="*/ 54 h 102"/>
                <a:gd name="T56" fmla="*/ 15 w 162"/>
                <a:gd name="T57" fmla="*/ 69 h 102"/>
                <a:gd name="T58" fmla="*/ 24 w 162"/>
                <a:gd name="T59" fmla="*/ 69 h 102"/>
                <a:gd name="T60" fmla="*/ 33 w 162"/>
                <a:gd name="T61" fmla="*/ 63 h 102"/>
                <a:gd name="T62" fmla="*/ 42 w 162"/>
                <a:gd name="T63" fmla="*/ 60 h 102"/>
                <a:gd name="T64" fmla="*/ 54 w 162"/>
                <a:gd name="T65" fmla="*/ 60 h 102"/>
                <a:gd name="T66" fmla="*/ 63 w 162"/>
                <a:gd name="T67" fmla="*/ 66 h 102"/>
                <a:gd name="T68" fmla="*/ 69 w 162"/>
                <a:gd name="T69" fmla="*/ 66 h 102"/>
                <a:gd name="T70" fmla="*/ 78 w 162"/>
                <a:gd name="T71" fmla="*/ 69 h 102"/>
                <a:gd name="T72" fmla="*/ 84 w 162"/>
                <a:gd name="T73" fmla="*/ 75 h 102"/>
                <a:gd name="T74" fmla="*/ 90 w 162"/>
                <a:gd name="T75" fmla="*/ 81 h 102"/>
                <a:gd name="T76" fmla="*/ 99 w 162"/>
                <a:gd name="T77" fmla="*/ 81 h 102"/>
                <a:gd name="T78" fmla="*/ 99 w 162"/>
                <a:gd name="T79" fmla="*/ 96 h 102"/>
                <a:gd name="T80" fmla="*/ 102 w 162"/>
                <a:gd name="T81" fmla="*/ 96 h 102"/>
                <a:gd name="T82" fmla="*/ 111 w 162"/>
                <a:gd name="T83" fmla="*/ 99 h 102"/>
                <a:gd name="T84" fmla="*/ 120 w 162"/>
                <a:gd name="T85" fmla="*/ 93 h 102"/>
                <a:gd name="T86" fmla="*/ 138 w 162"/>
                <a:gd name="T87" fmla="*/ 84 h 102"/>
                <a:gd name="T88" fmla="*/ 144 w 162"/>
                <a:gd name="T89" fmla="*/ 75 h 102"/>
                <a:gd name="T90" fmla="*/ 153 w 162"/>
                <a:gd name="T91" fmla="*/ 69 h 102"/>
                <a:gd name="T92" fmla="*/ 162 w 162"/>
                <a:gd name="T93" fmla="*/ 69 h 102"/>
                <a:gd name="T94" fmla="*/ 159 w 162"/>
                <a:gd name="T95" fmla="*/ 63 h 102"/>
                <a:gd name="T96" fmla="*/ 159 w 162"/>
                <a:gd name="T97" fmla="*/ 6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2" h="102">
                  <a:moveTo>
                    <a:pt x="159" y="63"/>
                  </a:moveTo>
                  <a:cubicBezTo>
                    <a:pt x="159" y="63"/>
                    <a:pt x="153" y="60"/>
                    <a:pt x="150" y="60"/>
                  </a:cubicBezTo>
                  <a:cubicBezTo>
                    <a:pt x="147" y="60"/>
                    <a:pt x="144" y="54"/>
                    <a:pt x="138" y="51"/>
                  </a:cubicBezTo>
                  <a:cubicBezTo>
                    <a:pt x="132" y="51"/>
                    <a:pt x="126" y="48"/>
                    <a:pt x="126" y="45"/>
                  </a:cubicBezTo>
                  <a:cubicBezTo>
                    <a:pt x="123" y="42"/>
                    <a:pt x="114" y="39"/>
                    <a:pt x="114" y="36"/>
                  </a:cubicBezTo>
                  <a:cubicBezTo>
                    <a:pt x="114" y="33"/>
                    <a:pt x="111" y="30"/>
                    <a:pt x="108" y="27"/>
                  </a:cubicBezTo>
                  <a:cubicBezTo>
                    <a:pt x="105" y="24"/>
                    <a:pt x="105" y="21"/>
                    <a:pt x="105" y="18"/>
                  </a:cubicBezTo>
                  <a:cubicBezTo>
                    <a:pt x="102" y="18"/>
                    <a:pt x="87" y="18"/>
                    <a:pt x="87" y="18"/>
                  </a:cubicBezTo>
                  <a:cubicBezTo>
                    <a:pt x="87" y="15"/>
                    <a:pt x="87" y="6"/>
                    <a:pt x="84" y="6"/>
                  </a:cubicBezTo>
                  <a:cubicBezTo>
                    <a:pt x="81" y="6"/>
                    <a:pt x="75" y="3"/>
                    <a:pt x="75" y="3"/>
                  </a:cubicBezTo>
                  <a:cubicBezTo>
                    <a:pt x="72" y="0"/>
                    <a:pt x="69" y="0"/>
                    <a:pt x="66" y="0"/>
                  </a:cubicBezTo>
                  <a:cubicBezTo>
                    <a:pt x="66" y="3"/>
                    <a:pt x="63" y="3"/>
                    <a:pt x="63" y="3"/>
                  </a:cubicBezTo>
                  <a:cubicBezTo>
                    <a:pt x="60" y="3"/>
                    <a:pt x="60" y="6"/>
                    <a:pt x="57" y="6"/>
                  </a:cubicBezTo>
                  <a:cubicBezTo>
                    <a:pt x="54" y="6"/>
                    <a:pt x="51" y="12"/>
                    <a:pt x="51" y="12"/>
                  </a:cubicBezTo>
                  <a:cubicBezTo>
                    <a:pt x="51" y="15"/>
                    <a:pt x="51" y="18"/>
                    <a:pt x="45" y="18"/>
                  </a:cubicBezTo>
                  <a:cubicBezTo>
                    <a:pt x="45" y="18"/>
                    <a:pt x="42" y="18"/>
                    <a:pt x="39" y="15"/>
                  </a:cubicBezTo>
                  <a:cubicBezTo>
                    <a:pt x="39" y="18"/>
                    <a:pt x="33" y="18"/>
                    <a:pt x="30" y="15"/>
                  </a:cubicBezTo>
                  <a:cubicBezTo>
                    <a:pt x="27" y="9"/>
                    <a:pt x="21" y="3"/>
                    <a:pt x="15" y="3"/>
                  </a:cubicBezTo>
                  <a:cubicBezTo>
                    <a:pt x="12" y="3"/>
                    <a:pt x="3" y="3"/>
                    <a:pt x="6" y="9"/>
                  </a:cubicBezTo>
                  <a:cubicBezTo>
                    <a:pt x="6" y="9"/>
                    <a:pt x="6" y="9"/>
                    <a:pt x="9" y="9"/>
                  </a:cubicBezTo>
                  <a:cubicBezTo>
                    <a:pt x="18" y="9"/>
                    <a:pt x="15" y="18"/>
                    <a:pt x="18" y="18"/>
                  </a:cubicBezTo>
                  <a:cubicBezTo>
                    <a:pt x="24" y="18"/>
                    <a:pt x="27" y="24"/>
                    <a:pt x="24" y="24"/>
                  </a:cubicBezTo>
                  <a:cubicBezTo>
                    <a:pt x="21" y="24"/>
                    <a:pt x="18" y="30"/>
                    <a:pt x="12" y="27"/>
                  </a:cubicBezTo>
                  <a:cubicBezTo>
                    <a:pt x="9" y="27"/>
                    <a:pt x="3" y="24"/>
                    <a:pt x="3" y="27"/>
                  </a:cubicBezTo>
                  <a:cubicBezTo>
                    <a:pt x="0" y="33"/>
                    <a:pt x="0" y="36"/>
                    <a:pt x="6" y="36"/>
                  </a:cubicBezTo>
                  <a:cubicBezTo>
                    <a:pt x="9" y="36"/>
                    <a:pt x="9" y="39"/>
                    <a:pt x="6" y="45"/>
                  </a:cubicBezTo>
                  <a:cubicBezTo>
                    <a:pt x="3" y="48"/>
                    <a:pt x="12" y="42"/>
                    <a:pt x="12" y="45"/>
                  </a:cubicBezTo>
                  <a:cubicBezTo>
                    <a:pt x="12" y="51"/>
                    <a:pt x="15" y="51"/>
                    <a:pt x="15" y="54"/>
                  </a:cubicBezTo>
                  <a:cubicBezTo>
                    <a:pt x="12" y="60"/>
                    <a:pt x="15" y="66"/>
                    <a:pt x="15" y="69"/>
                  </a:cubicBezTo>
                  <a:cubicBezTo>
                    <a:pt x="18" y="69"/>
                    <a:pt x="21" y="69"/>
                    <a:pt x="24" y="69"/>
                  </a:cubicBezTo>
                  <a:cubicBezTo>
                    <a:pt x="24" y="66"/>
                    <a:pt x="30" y="63"/>
                    <a:pt x="33" y="63"/>
                  </a:cubicBezTo>
                  <a:cubicBezTo>
                    <a:pt x="36" y="63"/>
                    <a:pt x="39" y="63"/>
                    <a:pt x="42" y="60"/>
                  </a:cubicBezTo>
                  <a:cubicBezTo>
                    <a:pt x="42" y="57"/>
                    <a:pt x="54" y="60"/>
                    <a:pt x="54" y="60"/>
                  </a:cubicBezTo>
                  <a:cubicBezTo>
                    <a:pt x="57" y="63"/>
                    <a:pt x="60" y="66"/>
                    <a:pt x="63" y="66"/>
                  </a:cubicBezTo>
                  <a:cubicBezTo>
                    <a:pt x="63" y="66"/>
                    <a:pt x="66" y="69"/>
                    <a:pt x="69" y="66"/>
                  </a:cubicBezTo>
                  <a:cubicBezTo>
                    <a:pt x="72" y="66"/>
                    <a:pt x="78" y="69"/>
                    <a:pt x="78" y="69"/>
                  </a:cubicBezTo>
                  <a:cubicBezTo>
                    <a:pt x="78" y="72"/>
                    <a:pt x="81" y="75"/>
                    <a:pt x="84" y="75"/>
                  </a:cubicBezTo>
                  <a:cubicBezTo>
                    <a:pt x="84" y="75"/>
                    <a:pt x="87" y="81"/>
                    <a:pt x="90" y="81"/>
                  </a:cubicBezTo>
                  <a:cubicBezTo>
                    <a:pt x="93" y="81"/>
                    <a:pt x="99" y="81"/>
                    <a:pt x="99" y="81"/>
                  </a:cubicBezTo>
                  <a:cubicBezTo>
                    <a:pt x="99" y="84"/>
                    <a:pt x="99" y="90"/>
                    <a:pt x="99" y="96"/>
                  </a:cubicBezTo>
                  <a:cubicBezTo>
                    <a:pt x="102" y="96"/>
                    <a:pt x="102" y="96"/>
                    <a:pt x="102" y="96"/>
                  </a:cubicBezTo>
                  <a:cubicBezTo>
                    <a:pt x="105" y="96"/>
                    <a:pt x="111" y="96"/>
                    <a:pt x="111" y="99"/>
                  </a:cubicBezTo>
                  <a:cubicBezTo>
                    <a:pt x="111" y="102"/>
                    <a:pt x="120" y="99"/>
                    <a:pt x="120" y="93"/>
                  </a:cubicBezTo>
                  <a:cubicBezTo>
                    <a:pt x="120" y="90"/>
                    <a:pt x="135" y="90"/>
                    <a:pt x="138" y="84"/>
                  </a:cubicBezTo>
                  <a:cubicBezTo>
                    <a:pt x="138" y="81"/>
                    <a:pt x="141" y="72"/>
                    <a:pt x="144" y="75"/>
                  </a:cubicBezTo>
                  <a:cubicBezTo>
                    <a:pt x="147" y="75"/>
                    <a:pt x="150" y="69"/>
                    <a:pt x="153" y="69"/>
                  </a:cubicBezTo>
                  <a:cubicBezTo>
                    <a:pt x="156" y="69"/>
                    <a:pt x="156" y="72"/>
                    <a:pt x="162" y="69"/>
                  </a:cubicBezTo>
                  <a:cubicBezTo>
                    <a:pt x="159" y="63"/>
                    <a:pt x="159" y="63"/>
                    <a:pt x="159" y="63"/>
                  </a:cubicBezTo>
                  <a:cubicBezTo>
                    <a:pt x="159" y="63"/>
                    <a:pt x="159" y="63"/>
                    <a:pt x="159" y="6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5" name="Freeform 950"/>
            <p:cNvSpPr>
              <a:spLocks/>
            </p:cNvSpPr>
            <p:nvPr userDrawn="1"/>
          </p:nvSpPr>
          <p:spPr bwMode="auto">
            <a:xfrm>
              <a:off x="4399" y="-1947"/>
              <a:ext cx="253" cy="159"/>
            </a:xfrm>
            <a:custGeom>
              <a:avLst/>
              <a:gdLst>
                <a:gd name="T0" fmla="*/ 159 w 162"/>
                <a:gd name="T1" fmla="*/ 63 h 102"/>
                <a:gd name="T2" fmla="*/ 150 w 162"/>
                <a:gd name="T3" fmla="*/ 60 h 102"/>
                <a:gd name="T4" fmla="*/ 138 w 162"/>
                <a:gd name="T5" fmla="*/ 51 h 102"/>
                <a:gd name="T6" fmla="*/ 126 w 162"/>
                <a:gd name="T7" fmla="*/ 45 h 102"/>
                <a:gd name="T8" fmla="*/ 114 w 162"/>
                <a:gd name="T9" fmla="*/ 36 h 102"/>
                <a:gd name="T10" fmla="*/ 108 w 162"/>
                <a:gd name="T11" fmla="*/ 27 h 102"/>
                <a:gd name="T12" fmla="*/ 105 w 162"/>
                <a:gd name="T13" fmla="*/ 18 h 102"/>
                <a:gd name="T14" fmla="*/ 87 w 162"/>
                <a:gd name="T15" fmla="*/ 18 h 102"/>
                <a:gd name="T16" fmla="*/ 84 w 162"/>
                <a:gd name="T17" fmla="*/ 6 h 102"/>
                <a:gd name="T18" fmla="*/ 75 w 162"/>
                <a:gd name="T19" fmla="*/ 3 h 102"/>
                <a:gd name="T20" fmla="*/ 66 w 162"/>
                <a:gd name="T21" fmla="*/ 0 h 102"/>
                <a:gd name="T22" fmla="*/ 63 w 162"/>
                <a:gd name="T23" fmla="*/ 3 h 102"/>
                <a:gd name="T24" fmla="*/ 57 w 162"/>
                <a:gd name="T25" fmla="*/ 6 h 102"/>
                <a:gd name="T26" fmla="*/ 51 w 162"/>
                <a:gd name="T27" fmla="*/ 12 h 102"/>
                <a:gd name="T28" fmla="*/ 45 w 162"/>
                <a:gd name="T29" fmla="*/ 18 h 102"/>
                <a:gd name="T30" fmla="*/ 39 w 162"/>
                <a:gd name="T31" fmla="*/ 15 h 102"/>
                <a:gd name="T32" fmla="*/ 30 w 162"/>
                <a:gd name="T33" fmla="*/ 15 h 102"/>
                <a:gd name="T34" fmla="*/ 15 w 162"/>
                <a:gd name="T35" fmla="*/ 3 h 102"/>
                <a:gd name="T36" fmla="*/ 6 w 162"/>
                <a:gd name="T37" fmla="*/ 9 h 102"/>
                <a:gd name="T38" fmla="*/ 9 w 162"/>
                <a:gd name="T39" fmla="*/ 9 h 102"/>
                <a:gd name="T40" fmla="*/ 18 w 162"/>
                <a:gd name="T41" fmla="*/ 18 h 102"/>
                <a:gd name="T42" fmla="*/ 24 w 162"/>
                <a:gd name="T43" fmla="*/ 24 h 102"/>
                <a:gd name="T44" fmla="*/ 12 w 162"/>
                <a:gd name="T45" fmla="*/ 27 h 102"/>
                <a:gd name="T46" fmla="*/ 3 w 162"/>
                <a:gd name="T47" fmla="*/ 27 h 102"/>
                <a:gd name="T48" fmla="*/ 6 w 162"/>
                <a:gd name="T49" fmla="*/ 36 h 102"/>
                <a:gd name="T50" fmla="*/ 6 w 162"/>
                <a:gd name="T51" fmla="*/ 45 h 102"/>
                <a:gd name="T52" fmla="*/ 12 w 162"/>
                <a:gd name="T53" fmla="*/ 45 h 102"/>
                <a:gd name="T54" fmla="*/ 15 w 162"/>
                <a:gd name="T55" fmla="*/ 54 h 102"/>
                <a:gd name="T56" fmla="*/ 15 w 162"/>
                <a:gd name="T57" fmla="*/ 69 h 102"/>
                <a:gd name="T58" fmla="*/ 24 w 162"/>
                <a:gd name="T59" fmla="*/ 69 h 102"/>
                <a:gd name="T60" fmla="*/ 33 w 162"/>
                <a:gd name="T61" fmla="*/ 63 h 102"/>
                <a:gd name="T62" fmla="*/ 42 w 162"/>
                <a:gd name="T63" fmla="*/ 60 h 102"/>
                <a:gd name="T64" fmla="*/ 54 w 162"/>
                <a:gd name="T65" fmla="*/ 60 h 102"/>
                <a:gd name="T66" fmla="*/ 63 w 162"/>
                <a:gd name="T67" fmla="*/ 66 h 102"/>
                <a:gd name="T68" fmla="*/ 69 w 162"/>
                <a:gd name="T69" fmla="*/ 66 h 102"/>
                <a:gd name="T70" fmla="*/ 78 w 162"/>
                <a:gd name="T71" fmla="*/ 69 h 102"/>
                <a:gd name="T72" fmla="*/ 84 w 162"/>
                <a:gd name="T73" fmla="*/ 75 h 102"/>
                <a:gd name="T74" fmla="*/ 90 w 162"/>
                <a:gd name="T75" fmla="*/ 81 h 102"/>
                <a:gd name="T76" fmla="*/ 99 w 162"/>
                <a:gd name="T77" fmla="*/ 81 h 102"/>
                <a:gd name="T78" fmla="*/ 99 w 162"/>
                <a:gd name="T79" fmla="*/ 96 h 102"/>
                <a:gd name="T80" fmla="*/ 102 w 162"/>
                <a:gd name="T81" fmla="*/ 96 h 102"/>
                <a:gd name="T82" fmla="*/ 111 w 162"/>
                <a:gd name="T83" fmla="*/ 99 h 102"/>
                <a:gd name="T84" fmla="*/ 120 w 162"/>
                <a:gd name="T85" fmla="*/ 93 h 102"/>
                <a:gd name="T86" fmla="*/ 138 w 162"/>
                <a:gd name="T87" fmla="*/ 84 h 102"/>
                <a:gd name="T88" fmla="*/ 144 w 162"/>
                <a:gd name="T89" fmla="*/ 75 h 102"/>
                <a:gd name="T90" fmla="*/ 153 w 162"/>
                <a:gd name="T91" fmla="*/ 69 h 102"/>
                <a:gd name="T92" fmla="*/ 162 w 162"/>
                <a:gd name="T93" fmla="*/ 69 h 102"/>
                <a:gd name="T94" fmla="*/ 159 w 162"/>
                <a:gd name="T95" fmla="*/ 63 h 102"/>
                <a:gd name="T96" fmla="*/ 159 w 162"/>
                <a:gd name="T97" fmla="*/ 6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2" h="102">
                  <a:moveTo>
                    <a:pt x="159" y="63"/>
                  </a:moveTo>
                  <a:cubicBezTo>
                    <a:pt x="159" y="63"/>
                    <a:pt x="153" y="60"/>
                    <a:pt x="150" y="60"/>
                  </a:cubicBezTo>
                  <a:cubicBezTo>
                    <a:pt x="147" y="60"/>
                    <a:pt x="144" y="54"/>
                    <a:pt x="138" y="51"/>
                  </a:cubicBezTo>
                  <a:cubicBezTo>
                    <a:pt x="132" y="51"/>
                    <a:pt x="126" y="48"/>
                    <a:pt x="126" y="45"/>
                  </a:cubicBezTo>
                  <a:cubicBezTo>
                    <a:pt x="123" y="42"/>
                    <a:pt x="114" y="39"/>
                    <a:pt x="114" y="36"/>
                  </a:cubicBezTo>
                  <a:cubicBezTo>
                    <a:pt x="114" y="33"/>
                    <a:pt x="111" y="30"/>
                    <a:pt x="108" y="27"/>
                  </a:cubicBezTo>
                  <a:cubicBezTo>
                    <a:pt x="105" y="24"/>
                    <a:pt x="105" y="21"/>
                    <a:pt x="105" y="18"/>
                  </a:cubicBezTo>
                  <a:cubicBezTo>
                    <a:pt x="102" y="18"/>
                    <a:pt x="87" y="18"/>
                    <a:pt x="87" y="18"/>
                  </a:cubicBezTo>
                  <a:cubicBezTo>
                    <a:pt x="87" y="15"/>
                    <a:pt x="87" y="6"/>
                    <a:pt x="84" y="6"/>
                  </a:cubicBezTo>
                  <a:cubicBezTo>
                    <a:pt x="81" y="6"/>
                    <a:pt x="75" y="3"/>
                    <a:pt x="75" y="3"/>
                  </a:cubicBezTo>
                  <a:cubicBezTo>
                    <a:pt x="72" y="0"/>
                    <a:pt x="69" y="0"/>
                    <a:pt x="66" y="0"/>
                  </a:cubicBezTo>
                  <a:cubicBezTo>
                    <a:pt x="66" y="3"/>
                    <a:pt x="63" y="3"/>
                    <a:pt x="63" y="3"/>
                  </a:cubicBezTo>
                  <a:cubicBezTo>
                    <a:pt x="60" y="3"/>
                    <a:pt x="60" y="6"/>
                    <a:pt x="57" y="6"/>
                  </a:cubicBezTo>
                  <a:cubicBezTo>
                    <a:pt x="54" y="6"/>
                    <a:pt x="51" y="12"/>
                    <a:pt x="51" y="12"/>
                  </a:cubicBezTo>
                  <a:cubicBezTo>
                    <a:pt x="51" y="15"/>
                    <a:pt x="51" y="18"/>
                    <a:pt x="45" y="18"/>
                  </a:cubicBezTo>
                  <a:cubicBezTo>
                    <a:pt x="45" y="18"/>
                    <a:pt x="42" y="18"/>
                    <a:pt x="39" y="15"/>
                  </a:cubicBezTo>
                  <a:cubicBezTo>
                    <a:pt x="39" y="18"/>
                    <a:pt x="33" y="18"/>
                    <a:pt x="30" y="15"/>
                  </a:cubicBezTo>
                  <a:cubicBezTo>
                    <a:pt x="27" y="9"/>
                    <a:pt x="21" y="3"/>
                    <a:pt x="15" y="3"/>
                  </a:cubicBezTo>
                  <a:cubicBezTo>
                    <a:pt x="12" y="3"/>
                    <a:pt x="3" y="3"/>
                    <a:pt x="6" y="9"/>
                  </a:cubicBezTo>
                  <a:cubicBezTo>
                    <a:pt x="6" y="9"/>
                    <a:pt x="6" y="9"/>
                    <a:pt x="9" y="9"/>
                  </a:cubicBezTo>
                  <a:cubicBezTo>
                    <a:pt x="18" y="9"/>
                    <a:pt x="15" y="18"/>
                    <a:pt x="18" y="18"/>
                  </a:cubicBezTo>
                  <a:cubicBezTo>
                    <a:pt x="24" y="18"/>
                    <a:pt x="27" y="24"/>
                    <a:pt x="24" y="24"/>
                  </a:cubicBezTo>
                  <a:cubicBezTo>
                    <a:pt x="21" y="24"/>
                    <a:pt x="18" y="30"/>
                    <a:pt x="12" y="27"/>
                  </a:cubicBezTo>
                  <a:cubicBezTo>
                    <a:pt x="9" y="27"/>
                    <a:pt x="3" y="24"/>
                    <a:pt x="3" y="27"/>
                  </a:cubicBezTo>
                  <a:cubicBezTo>
                    <a:pt x="0" y="33"/>
                    <a:pt x="0" y="36"/>
                    <a:pt x="6" y="36"/>
                  </a:cubicBezTo>
                  <a:cubicBezTo>
                    <a:pt x="9" y="36"/>
                    <a:pt x="9" y="39"/>
                    <a:pt x="6" y="45"/>
                  </a:cubicBezTo>
                  <a:cubicBezTo>
                    <a:pt x="3" y="48"/>
                    <a:pt x="12" y="42"/>
                    <a:pt x="12" y="45"/>
                  </a:cubicBezTo>
                  <a:cubicBezTo>
                    <a:pt x="12" y="51"/>
                    <a:pt x="15" y="51"/>
                    <a:pt x="15" y="54"/>
                  </a:cubicBezTo>
                  <a:cubicBezTo>
                    <a:pt x="12" y="60"/>
                    <a:pt x="15" y="66"/>
                    <a:pt x="15" y="69"/>
                  </a:cubicBezTo>
                  <a:cubicBezTo>
                    <a:pt x="18" y="69"/>
                    <a:pt x="21" y="69"/>
                    <a:pt x="24" y="69"/>
                  </a:cubicBezTo>
                  <a:cubicBezTo>
                    <a:pt x="24" y="66"/>
                    <a:pt x="30" y="63"/>
                    <a:pt x="33" y="63"/>
                  </a:cubicBezTo>
                  <a:cubicBezTo>
                    <a:pt x="36" y="63"/>
                    <a:pt x="39" y="63"/>
                    <a:pt x="42" y="60"/>
                  </a:cubicBezTo>
                  <a:cubicBezTo>
                    <a:pt x="42" y="57"/>
                    <a:pt x="54" y="60"/>
                    <a:pt x="54" y="60"/>
                  </a:cubicBezTo>
                  <a:cubicBezTo>
                    <a:pt x="57" y="63"/>
                    <a:pt x="60" y="66"/>
                    <a:pt x="63" y="66"/>
                  </a:cubicBezTo>
                  <a:cubicBezTo>
                    <a:pt x="63" y="66"/>
                    <a:pt x="66" y="69"/>
                    <a:pt x="69" y="66"/>
                  </a:cubicBezTo>
                  <a:cubicBezTo>
                    <a:pt x="72" y="66"/>
                    <a:pt x="78" y="69"/>
                    <a:pt x="78" y="69"/>
                  </a:cubicBezTo>
                  <a:cubicBezTo>
                    <a:pt x="78" y="72"/>
                    <a:pt x="81" y="75"/>
                    <a:pt x="84" y="75"/>
                  </a:cubicBezTo>
                  <a:cubicBezTo>
                    <a:pt x="84" y="75"/>
                    <a:pt x="87" y="81"/>
                    <a:pt x="90" y="81"/>
                  </a:cubicBezTo>
                  <a:cubicBezTo>
                    <a:pt x="93" y="81"/>
                    <a:pt x="99" y="81"/>
                    <a:pt x="99" y="81"/>
                  </a:cubicBezTo>
                  <a:cubicBezTo>
                    <a:pt x="99" y="84"/>
                    <a:pt x="99" y="90"/>
                    <a:pt x="99" y="96"/>
                  </a:cubicBezTo>
                  <a:cubicBezTo>
                    <a:pt x="102" y="96"/>
                    <a:pt x="102" y="96"/>
                    <a:pt x="102" y="96"/>
                  </a:cubicBezTo>
                  <a:cubicBezTo>
                    <a:pt x="105" y="96"/>
                    <a:pt x="111" y="96"/>
                    <a:pt x="111" y="99"/>
                  </a:cubicBezTo>
                  <a:cubicBezTo>
                    <a:pt x="111" y="102"/>
                    <a:pt x="120" y="99"/>
                    <a:pt x="120" y="93"/>
                  </a:cubicBezTo>
                  <a:cubicBezTo>
                    <a:pt x="120" y="90"/>
                    <a:pt x="135" y="90"/>
                    <a:pt x="138" y="84"/>
                  </a:cubicBezTo>
                  <a:cubicBezTo>
                    <a:pt x="138" y="81"/>
                    <a:pt x="141" y="72"/>
                    <a:pt x="144" y="75"/>
                  </a:cubicBezTo>
                  <a:cubicBezTo>
                    <a:pt x="147" y="75"/>
                    <a:pt x="150" y="69"/>
                    <a:pt x="153" y="69"/>
                  </a:cubicBezTo>
                  <a:cubicBezTo>
                    <a:pt x="156" y="69"/>
                    <a:pt x="156" y="72"/>
                    <a:pt x="162" y="69"/>
                  </a:cubicBezTo>
                  <a:cubicBezTo>
                    <a:pt x="159" y="63"/>
                    <a:pt x="159" y="63"/>
                    <a:pt x="159" y="63"/>
                  </a:cubicBezTo>
                  <a:cubicBezTo>
                    <a:pt x="159" y="63"/>
                    <a:pt x="159" y="63"/>
                    <a:pt x="159" y="6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6" name="Freeform 951"/>
            <p:cNvSpPr>
              <a:spLocks/>
            </p:cNvSpPr>
            <p:nvPr userDrawn="1"/>
          </p:nvSpPr>
          <p:spPr bwMode="auto">
            <a:xfrm>
              <a:off x="4247" y="-1891"/>
              <a:ext cx="346" cy="295"/>
            </a:xfrm>
            <a:custGeom>
              <a:avLst/>
              <a:gdLst>
                <a:gd name="T0" fmla="*/ 216 w 222"/>
                <a:gd name="T1" fmla="*/ 162 h 189"/>
                <a:gd name="T2" fmla="*/ 213 w 222"/>
                <a:gd name="T3" fmla="*/ 150 h 189"/>
                <a:gd name="T4" fmla="*/ 201 w 222"/>
                <a:gd name="T5" fmla="*/ 141 h 189"/>
                <a:gd name="T6" fmla="*/ 192 w 222"/>
                <a:gd name="T7" fmla="*/ 129 h 189"/>
                <a:gd name="T8" fmla="*/ 204 w 222"/>
                <a:gd name="T9" fmla="*/ 114 h 189"/>
                <a:gd name="T10" fmla="*/ 192 w 222"/>
                <a:gd name="T11" fmla="*/ 108 h 189"/>
                <a:gd name="T12" fmla="*/ 192 w 222"/>
                <a:gd name="T13" fmla="*/ 96 h 189"/>
                <a:gd name="T14" fmla="*/ 192 w 222"/>
                <a:gd name="T15" fmla="*/ 84 h 189"/>
                <a:gd name="T16" fmla="*/ 192 w 222"/>
                <a:gd name="T17" fmla="*/ 75 h 189"/>
                <a:gd name="T18" fmla="*/ 198 w 222"/>
                <a:gd name="T19" fmla="*/ 66 h 189"/>
                <a:gd name="T20" fmla="*/ 198 w 222"/>
                <a:gd name="T21" fmla="*/ 60 h 189"/>
                <a:gd name="T22" fmla="*/ 198 w 222"/>
                <a:gd name="T23" fmla="*/ 45 h 189"/>
                <a:gd name="T24" fmla="*/ 189 w 222"/>
                <a:gd name="T25" fmla="*/ 45 h 189"/>
                <a:gd name="T26" fmla="*/ 183 w 222"/>
                <a:gd name="T27" fmla="*/ 39 h 189"/>
                <a:gd name="T28" fmla="*/ 177 w 222"/>
                <a:gd name="T29" fmla="*/ 33 h 189"/>
                <a:gd name="T30" fmla="*/ 168 w 222"/>
                <a:gd name="T31" fmla="*/ 30 h 189"/>
                <a:gd name="T32" fmla="*/ 162 w 222"/>
                <a:gd name="T33" fmla="*/ 30 h 189"/>
                <a:gd name="T34" fmla="*/ 153 w 222"/>
                <a:gd name="T35" fmla="*/ 24 h 189"/>
                <a:gd name="T36" fmla="*/ 141 w 222"/>
                <a:gd name="T37" fmla="*/ 24 h 189"/>
                <a:gd name="T38" fmla="*/ 132 w 222"/>
                <a:gd name="T39" fmla="*/ 27 h 189"/>
                <a:gd name="T40" fmla="*/ 123 w 222"/>
                <a:gd name="T41" fmla="*/ 33 h 189"/>
                <a:gd name="T42" fmla="*/ 114 w 222"/>
                <a:gd name="T43" fmla="*/ 33 h 189"/>
                <a:gd name="T44" fmla="*/ 114 w 222"/>
                <a:gd name="T45" fmla="*/ 39 h 189"/>
                <a:gd name="T46" fmla="*/ 87 w 222"/>
                <a:gd name="T47" fmla="*/ 45 h 189"/>
                <a:gd name="T48" fmla="*/ 69 w 222"/>
                <a:gd name="T49" fmla="*/ 33 h 189"/>
                <a:gd name="T50" fmla="*/ 54 w 222"/>
                <a:gd name="T51" fmla="*/ 21 h 189"/>
                <a:gd name="T52" fmla="*/ 45 w 222"/>
                <a:gd name="T53" fmla="*/ 15 h 189"/>
                <a:gd name="T54" fmla="*/ 45 w 222"/>
                <a:gd name="T55" fmla="*/ 3 h 189"/>
                <a:gd name="T56" fmla="*/ 21 w 222"/>
                <a:gd name="T57" fmla="*/ 15 h 189"/>
                <a:gd name="T58" fmla="*/ 15 w 222"/>
                <a:gd name="T59" fmla="*/ 9 h 189"/>
                <a:gd name="T60" fmla="*/ 6 w 222"/>
                <a:gd name="T61" fmla="*/ 0 h 189"/>
                <a:gd name="T62" fmla="*/ 3 w 222"/>
                <a:gd name="T63" fmla="*/ 6 h 189"/>
                <a:gd name="T64" fmla="*/ 3 w 222"/>
                <a:gd name="T65" fmla="*/ 15 h 189"/>
                <a:gd name="T66" fmla="*/ 3 w 222"/>
                <a:gd name="T67" fmla="*/ 27 h 189"/>
                <a:gd name="T68" fmla="*/ 9 w 222"/>
                <a:gd name="T69" fmla="*/ 36 h 189"/>
                <a:gd name="T70" fmla="*/ 12 w 222"/>
                <a:gd name="T71" fmla="*/ 45 h 189"/>
                <a:gd name="T72" fmla="*/ 18 w 222"/>
                <a:gd name="T73" fmla="*/ 51 h 189"/>
                <a:gd name="T74" fmla="*/ 24 w 222"/>
                <a:gd name="T75" fmla="*/ 57 h 189"/>
                <a:gd name="T76" fmla="*/ 21 w 222"/>
                <a:gd name="T77" fmla="*/ 63 h 189"/>
                <a:gd name="T78" fmla="*/ 18 w 222"/>
                <a:gd name="T79" fmla="*/ 72 h 189"/>
                <a:gd name="T80" fmla="*/ 18 w 222"/>
                <a:gd name="T81" fmla="*/ 81 h 189"/>
                <a:gd name="T82" fmla="*/ 24 w 222"/>
                <a:gd name="T83" fmla="*/ 87 h 189"/>
                <a:gd name="T84" fmla="*/ 36 w 222"/>
                <a:gd name="T85" fmla="*/ 96 h 189"/>
                <a:gd name="T86" fmla="*/ 42 w 222"/>
                <a:gd name="T87" fmla="*/ 102 h 189"/>
                <a:gd name="T88" fmla="*/ 42 w 222"/>
                <a:gd name="T89" fmla="*/ 111 h 189"/>
                <a:gd name="T90" fmla="*/ 45 w 222"/>
                <a:gd name="T91" fmla="*/ 120 h 189"/>
                <a:gd name="T92" fmla="*/ 51 w 222"/>
                <a:gd name="T93" fmla="*/ 126 h 189"/>
                <a:gd name="T94" fmla="*/ 54 w 222"/>
                <a:gd name="T95" fmla="*/ 126 h 189"/>
                <a:gd name="T96" fmla="*/ 60 w 222"/>
                <a:gd name="T97" fmla="*/ 126 h 189"/>
                <a:gd name="T98" fmla="*/ 66 w 222"/>
                <a:gd name="T99" fmla="*/ 126 h 189"/>
                <a:gd name="T100" fmla="*/ 78 w 222"/>
                <a:gd name="T101" fmla="*/ 144 h 189"/>
                <a:gd name="T102" fmla="*/ 84 w 222"/>
                <a:gd name="T103" fmla="*/ 153 h 189"/>
                <a:gd name="T104" fmla="*/ 99 w 222"/>
                <a:gd name="T105" fmla="*/ 159 h 189"/>
                <a:gd name="T106" fmla="*/ 126 w 222"/>
                <a:gd name="T107" fmla="*/ 171 h 189"/>
                <a:gd name="T108" fmla="*/ 144 w 222"/>
                <a:gd name="T109" fmla="*/ 165 h 189"/>
                <a:gd name="T110" fmla="*/ 150 w 222"/>
                <a:gd name="T111" fmla="*/ 180 h 189"/>
                <a:gd name="T112" fmla="*/ 192 w 222"/>
                <a:gd name="T113" fmla="*/ 186 h 189"/>
                <a:gd name="T114" fmla="*/ 204 w 222"/>
                <a:gd name="T115" fmla="*/ 189 h 189"/>
                <a:gd name="T116" fmla="*/ 201 w 222"/>
                <a:gd name="T117" fmla="*/ 186 h 189"/>
                <a:gd name="T118" fmla="*/ 210 w 222"/>
                <a:gd name="T119" fmla="*/ 174 h 189"/>
                <a:gd name="T120" fmla="*/ 219 w 222"/>
                <a:gd name="T121" fmla="*/ 171 h 189"/>
                <a:gd name="T122" fmla="*/ 216 w 222"/>
                <a:gd name="T123" fmla="*/ 16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189">
                  <a:moveTo>
                    <a:pt x="216" y="162"/>
                  </a:moveTo>
                  <a:cubicBezTo>
                    <a:pt x="213" y="162"/>
                    <a:pt x="216" y="153"/>
                    <a:pt x="213" y="150"/>
                  </a:cubicBezTo>
                  <a:cubicBezTo>
                    <a:pt x="207" y="147"/>
                    <a:pt x="201" y="144"/>
                    <a:pt x="201" y="141"/>
                  </a:cubicBezTo>
                  <a:cubicBezTo>
                    <a:pt x="198" y="135"/>
                    <a:pt x="192" y="132"/>
                    <a:pt x="192" y="129"/>
                  </a:cubicBezTo>
                  <a:cubicBezTo>
                    <a:pt x="192" y="129"/>
                    <a:pt x="207" y="120"/>
                    <a:pt x="204" y="114"/>
                  </a:cubicBezTo>
                  <a:cubicBezTo>
                    <a:pt x="201" y="108"/>
                    <a:pt x="195" y="111"/>
                    <a:pt x="192" y="108"/>
                  </a:cubicBezTo>
                  <a:cubicBezTo>
                    <a:pt x="192" y="108"/>
                    <a:pt x="192" y="99"/>
                    <a:pt x="192" y="96"/>
                  </a:cubicBezTo>
                  <a:cubicBezTo>
                    <a:pt x="189" y="90"/>
                    <a:pt x="192" y="87"/>
                    <a:pt x="192" y="84"/>
                  </a:cubicBezTo>
                  <a:cubicBezTo>
                    <a:pt x="189" y="81"/>
                    <a:pt x="192" y="75"/>
                    <a:pt x="192" y="75"/>
                  </a:cubicBezTo>
                  <a:cubicBezTo>
                    <a:pt x="192" y="72"/>
                    <a:pt x="198" y="69"/>
                    <a:pt x="198" y="66"/>
                  </a:cubicBezTo>
                  <a:cubicBezTo>
                    <a:pt x="198" y="63"/>
                    <a:pt x="198" y="60"/>
                    <a:pt x="198" y="60"/>
                  </a:cubicBezTo>
                  <a:cubicBezTo>
                    <a:pt x="198" y="54"/>
                    <a:pt x="198" y="48"/>
                    <a:pt x="198" y="45"/>
                  </a:cubicBezTo>
                  <a:cubicBezTo>
                    <a:pt x="198" y="45"/>
                    <a:pt x="192" y="45"/>
                    <a:pt x="189" y="45"/>
                  </a:cubicBezTo>
                  <a:cubicBezTo>
                    <a:pt x="186" y="45"/>
                    <a:pt x="183" y="39"/>
                    <a:pt x="183" y="39"/>
                  </a:cubicBezTo>
                  <a:cubicBezTo>
                    <a:pt x="180" y="39"/>
                    <a:pt x="177" y="36"/>
                    <a:pt x="177" y="33"/>
                  </a:cubicBezTo>
                  <a:cubicBezTo>
                    <a:pt x="177" y="33"/>
                    <a:pt x="171" y="30"/>
                    <a:pt x="168" y="30"/>
                  </a:cubicBezTo>
                  <a:cubicBezTo>
                    <a:pt x="165" y="33"/>
                    <a:pt x="162" y="30"/>
                    <a:pt x="162" y="30"/>
                  </a:cubicBezTo>
                  <a:cubicBezTo>
                    <a:pt x="159" y="30"/>
                    <a:pt x="156" y="27"/>
                    <a:pt x="153" y="24"/>
                  </a:cubicBezTo>
                  <a:cubicBezTo>
                    <a:pt x="153" y="24"/>
                    <a:pt x="141" y="21"/>
                    <a:pt x="141" y="24"/>
                  </a:cubicBezTo>
                  <a:cubicBezTo>
                    <a:pt x="138" y="27"/>
                    <a:pt x="135" y="27"/>
                    <a:pt x="132" y="27"/>
                  </a:cubicBezTo>
                  <a:cubicBezTo>
                    <a:pt x="129" y="27"/>
                    <a:pt x="123" y="30"/>
                    <a:pt x="123" y="33"/>
                  </a:cubicBezTo>
                  <a:cubicBezTo>
                    <a:pt x="120" y="33"/>
                    <a:pt x="117" y="33"/>
                    <a:pt x="114" y="33"/>
                  </a:cubicBezTo>
                  <a:cubicBezTo>
                    <a:pt x="114" y="36"/>
                    <a:pt x="114" y="39"/>
                    <a:pt x="114" y="39"/>
                  </a:cubicBezTo>
                  <a:cubicBezTo>
                    <a:pt x="111" y="42"/>
                    <a:pt x="99" y="45"/>
                    <a:pt x="87" y="45"/>
                  </a:cubicBezTo>
                  <a:cubicBezTo>
                    <a:pt x="78" y="45"/>
                    <a:pt x="78" y="33"/>
                    <a:pt x="69" y="33"/>
                  </a:cubicBezTo>
                  <a:cubicBezTo>
                    <a:pt x="60" y="33"/>
                    <a:pt x="54" y="27"/>
                    <a:pt x="54" y="21"/>
                  </a:cubicBezTo>
                  <a:cubicBezTo>
                    <a:pt x="51" y="18"/>
                    <a:pt x="45" y="15"/>
                    <a:pt x="45" y="15"/>
                  </a:cubicBezTo>
                  <a:cubicBezTo>
                    <a:pt x="48" y="12"/>
                    <a:pt x="48" y="0"/>
                    <a:pt x="45" y="3"/>
                  </a:cubicBezTo>
                  <a:cubicBezTo>
                    <a:pt x="39" y="6"/>
                    <a:pt x="30" y="15"/>
                    <a:pt x="21" y="15"/>
                  </a:cubicBezTo>
                  <a:cubicBezTo>
                    <a:pt x="12" y="12"/>
                    <a:pt x="18" y="12"/>
                    <a:pt x="15" y="9"/>
                  </a:cubicBezTo>
                  <a:cubicBezTo>
                    <a:pt x="9" y="6"/>
                    <a:pt x="12" y="3"/>
                    <a:pt x="6" y="0"/>
                  </a:cubicBezTo>
                  <a:cubicBezTo>
                    <a:pt x="3" y="0"/>
                    <a:pt x="6" y="6"/>
                    <a:pt x="3" y="6"/>
                  </a:cubicBezTo>
                  <a:cubicBezTo>
                    <a:pt x="0" y="6"/>
                    <a:pt x="3" y="15"/>
                    <a:pt x="3" y="15"/>
                  </a:cubicBezTo>
                  <a:cubicBezTo>
                    <a:pt x="3" y="18"/>
                    <a:pt x="3" y="27"/>
                    <a:pt x="3" y="27"/>
                  </a:cubicBezTo>
                  <a:cubicBezTo>
                    <a:pt x="6" y="27"/>
                    <a:pt x="9" y="36"/>
                    <a:pt x="9" y="36"/>
                  </a:cubicBezTo>
                  <a:cubicBezTo>
                    <a:pt x="9" y="39"/>
                    <a:pt x="12" y="42"/>
                    <a:pt x="12" y="45"/>
                  </a:cubicBezTo>
                  <a:cubicBezTo>
                    <a:pt x="12" y="48"/>
                    <a:pt x="18" y="51"/>
                    <a:pt x="18" y="51"/>
                  </a:cubicBezTo>
                  <a:cubicBezTo>
                    <a:pt x="21" y="51"/>
                    <a:pt x="24" y="54"/>
                    <a:pt x="24" y="57"/>
                  </a:cubicBezTo>
                  <a:cubicBezTo>
                    <a:pt x="21" y="60"/>
                    <a:pt x="24" y="63"/>
                    <a:pt x="21" y="63"/>
                  </a:cubicBezTo>
                  <a:cubicBezTo>
                    <a:pt x="18" y="63"/>
                    <a:pt x="21" y="72"/>
                    <a:pt x="18" y="72"/>
                  </a:cubicBezTo>
                  <a:cubicBezTo>
                    <a:pt x="15" y="72"/>
                    <a:pt x="18" y="81"/>
                    <a:pt x="18" y="81"/>
                  </a:cubicBezTo>
                  <a:cubicBezTo>
                    <a:pt x="21" y="84"/>
                    <a:pt x="24" y="84"/>
                    <a:pt x="24" y="87"/>
                  </a:cubicBezTo>
                  <a:cubicBezTo>
                    <a:pt x="24" y="90"/>
                    <a:pt x="33" y="96"/>
                    <a:pt x="36" y="96"/>
                  </a:cubicBezTo>
                  <a:cubicBezTo>
                    <a:pt x="39" y="96"/>
                    <a:pt x="39" y="102"/>
                    <a:pt x="42" y="102"/>
                  </a:cubicBezTo>
                  <a:cubicBezTo>
                    <a:pt x="45" y="105"/>
                    <a:pt x="42" y="108"/>
                    <a:pt x="42" y="111"/>
                  </a:cubicBezTo>
                  <a:cubicBezTo>
                    <a:pt x="42" y="114"/>
                    <a:pt x="45" y="114"/>
                    <a:pt x="45" y="120"/>
                  </a:cubicBezTo>
                  <a:cubicBezTo>
                    <a:pt x="45" y="120"/>
                    <a:pt x="48" y="123"/>
                    <a:pt x="51" y="126"/>
                  </a:cubicBezTo>
                  <a:cubicBezTo>
                    <a:pt x="54" y="126"/>
                    <a:pt x="54" y="126"/>
                    <a:pt x="54" y="126"/>
                  </a:cubicBezTo>
                  <a:cubicBezTo>
                    <a:pt x="57" y="126"/>
                    <a:pt x="57" y="123"/>
                    <a:pt x="60" y="126"/>
                  </a:cubicBezTo>
                  <a:cubicBezTo>
                    <a:pt x="63" y="129"/>
                    <a:pt x="66" y="126"/>
                    <a:pt x="66" y="126"/>
                  </a:cubicBezTo>
                  <a:cubicBezTo>
                    <a:pt x="69" y="126"/>
                    <a:pt x="75" y="138"/>
                    <a:pt x="78" y="144"/>
                  </a:cubicBezTo>
                  <a:cubicBezTo>
                    <a:pt x="81" y="150"/>
                    <a:pt x="81" y="150"/>
                    <a:pt x="84" y="153"/>
                  </a:cubicBezTo>
                  <a:cubicBezTo>
                    <a:pt x="90" y="156"/>
                    <a:pt x="93" y="156"/>
                    <a:pt x="99" y="159"/>
                  </a:cubicBezTo>
                  <a:cubicBezTo>
                    <a:pt x="105" y="165"/>
                    <a:pt x="120" y="171"/>
                    <a:pt x="126" y="171"/>
                  </a:cubicBezTo>
                  <a:cubicBezTo>
                    <a:pt x="132" y="171"/>
                    <a:pt x="135" y="165"/>
                    <a:pt x="144" y="165"/>
                  </a:cubicBezTo>
                  <a:cubicBezTo>
                    <a:pt x="150" y="168"/>
                    <a:pt x="150" y="177"/>
                    <a:pt x="150" y="180"/>
                  </a:cubicBezTo>
                  <a:cubicBezTo>
                    <a:pt x="153" y="183"/>
                    <a:pt x="186" y="186"/>
                    <a:pt x="192" y="186"/>
                  </a:cubicBezTo>
                  <a:cubicBezTo>
                    <a:pt x="192" y="189"/>
                    <a:pt x="198" y="189"/>
                    <a:pt x="204" y="189"/>
                  </a:cubicBezTo>
                  <a:cubicBezTo>
                    <a:pt x="201" y="186"/>
                    <a:pt x="201" y="186"/>
                    <a:pt x="201" y="186"/>
                  </a:cubicBezTo>
                  <a:cubicBezTo>
                    <a:pt x="201" y="180"/>
                    <a:pt x="207" y="177"/>
                    <a:pt x="210" y="174"/>
                  </a:cubicBezTo>
                  <a:cubicBezTo>
                    <a:pt x="213" y="171"/>
                    <a:pt x="216" y="171"/>
                    <a:pt x="219" y="171"/>
                  </a:cubicBezTo>
                  <a:cubicBezTo>
                    <a:pt x="222" y="171"/>
                    <a:pt x="219" y="162"/>
                    <a:pt x="216" y="16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7" name="Freeform 952"/>
            <p:cNvSpPr>
              <a:spLocks/>
            </p:cNvSpPr>
            <p:nvPr userDrawn="1"/>
          </p:nvSpPr>
          <p:spPr bwMode="auto">
            <a:xfrm>
              <a:off x="4247" y="-1891"/>
              <a:ext cx="346" cy="295"/>
            </a:xfrm>
            <a:custGeom>
              <a:avLst/>
              <a:gdLst>
                <a:gd name="T0" fmla="*/ 216 w 222"/>
                <a:gd name="T1" fmla="*/ 162 h 189"/>
                <a:gd name="T2" fmla="*/ 213 w 222"/>
                <a:gd name="T3" fmla="*/ 150 h 189"/>
                <a:gd name="T4" fmla="*/ 201 w 222"/>
                <a:gd name="T5" fmla="*/ 141 h 189"/>
                <a:gd name="T6" fmla="*/ 192 w 222"/>
                <a:gd name="T7" fmla="*/ 129 h 189"/>
                <a:gd name="T8" fmla="*/ 204 w 222"/>
                <a:gd name="T9" fmla="*/ 114 h 189"/>
                <a:gd name="T10" fmla="*/ 192 w 222"/>
                <a:gd name="T11" fmla="*/ 108 h 189"/>
                <a:gd name="T12" fmla="*/ 192 w 222"/>
                <a:gd name="T13" fmla="*/ 96 h 189"/>
                <a:gd name="T14" fmla="*/ 192 w 222"/>
                <a:gd name="T15" fmla="*/ 84 h 189"/>
                <a:gd name="T16" fmla="*/ 192 w 222"/>
                <a:gd name="T17" fmla="*/ 75 h 189"/>
                <a:gd name="T18" fmla="*/ 198 w 222"/>
                <a:gd name="T19" fmla="*/ 66 h 189"/>
                <a:gd name="T20" fmla="*/ 198 w 222"/>
                <a:gd name="T21" fmla="*/ 60 h 189"/>
                <a:gd name="T22" fmla="*/ 198 w 222"/>
                <a:gd name="T23" fmla="*/ 45 h 189"/>
                <a:gd name="T24" fmla="*/ 189 w 222"/>
                <a:gd name="T25" fmla="*/ 45 h 189"/>
                <a:gd name="T26" fmla="*/ 183 w 222"/>
                <a:gd name="T27" fmla="*/ 39 h 189"/>
                <a:gd name="T28" fmla="*/ 177 w 222"/>
                <a:gd name="T29" fmla="*/ 33 h 189"/>
                <a:gd name="T30" fmla="*/ 168 w 222"/>
                <a:gd name="T31" fmla="*/ 30 h 189"/>
                <a:gd name="T32" fmla="*/ 162 w 222"/>
                <a:gd name="T33" fmla="*/ 30 h 189"/>
                <a:gd name="T34" fmla="*/ 153 w 222"/>
                <a:gd name="T35" fmla="*/ 24 h 189"/>
                <a:gd name="T36" fmla="*/ 141 w 222"/>
                <a:gd name="T37" fmla="*/ 24 h 189"/>
                <a:gd name="T38" fmla="*/ 132 w 222"/>
                <a:gd name="T39" fmla="*/ 27 h 189"/>
                <a:gd name="T40" fmla="*/ 123 w 222"/>
                <a:gd name="T41" fmla="*/ 33 h 189"/>
                <a:gd name="T42" fmla="*/ 114 w 222"/>
                <a:gd name="T43" fmla="*/ 33 h 189"/>
                <a:gd name="T44" fmla="*/ 114 w 222"/>
                <a:gd name="T45" fmla="*/ 39 h 189"/>
                <a:gd name="T46" fmla="*/ 87 w 222"/>
                <a:gd name="T47" fmla="*/ 45 h 189"/>
                <a:gd name="T48" fmla="*/ 69 w 222"/>
                <a:gd name="T49" fmla="*/ 33 h 189"/>
                <a:gd name="T50" fmla="*/ 54 w 222"/>
                <a:gd name="T51" fmla="*/ 21 h 189"/>
                <a:gd name="T52" fmla="*/ 45 w 222"/>
                <a:gd name="T53" fmla="*/ 15 h 189"/>
                <a:gd name="T54" fmla="*/ 45 w 222"/>
                <a:gd name="T55" fmla="*/ 3 h 189"/>
                <a:gd name="T56" fmla="*/ 21 w 222"/>
                <a:gd name="T57" fmla="*/ 15 h 189"/>
                <a:gd name="T58" fmla="*/ 15 w 222"/>
                <a:gd name="T59" fmla="*/ 9 h 189"/>
                <a:gd name="T60" fmla="*/ 6 w 222"/>
                <a:gd name="T61" fmla="*/ 0 h 189"/>
                <a:gd name="T62" fmla="*/ 3 w 222"/>
                <a:gd name="T63" fmla="*/ 6 h 189"/>
                <a:gd name="T64" fmla="*/ 3 w 222"/>
                <a:gd name="T65" fmla="*/ 15 h 189"/>
                <a:gd name="T66" fmla="*/ 3 w 222"/>
                <a:gd name="T67" fmla="*/ 27 h 189"/>
                <a:gd name="T68" fmla="*/ 9 w 222"/>
                <a:gd name="T69" fmla="*/ 36 h 189"/>
                <a:gd name="T70" fmla="*/ 12 w 222"/>
                <a:gd name="T71" fmla="*/ 45 h 189"/>
                <a:gd name="T72" fmla="*/ 18 w 222"/>
                <a:gd name="T73" fmla="*/ 51 h 189"/>
                <a:gd name="T74" fmla="*/ 24 w 222"/>
                <a:gd name="T75" fmla="*/ 57 h 189"/>
                <a:gd name="T76" fmla="*/ 21 w 222"/>
                <a:gd name="T77" fmla="*/ 63 h 189"/>
                <a:gd name="T78" fmla="*/ 18 w 222"/>
                <a:gd name="T79" fmla="*/ 72 h 189"/>
                <a:gd name="T80" fmla="*/ 18 w 222"/>
                <a:gd name="T81" fmla="*/ 81 h 189"/>
                <a:gd name="T82" fmla="*/ 24 w 222"/>
                <a:gd name="T83" fmla="*/ 87 h 189"/>
                <a:gd name="T84" fmla="*/ 36 w 222"/>
                <a:gd name="T85" fmla="*/ 96 h 189"/>
                <a:gd name="T86" fmla="*/ 42 w 222"/>
                <a:gd name="T87" fmla="*/ 102 h 189"/>
                <a:gd name="T88" fmla="*/ 42 w 222"/>
                <a:gd name="T89" fmla="*/ 111 h 189"/>
                <a:gd name="T90" fmla="*/ 45 w 222"/>
                <a:gd name="T91" fmla="*/ 120 h 189"/>
                <a:gd name="T92" fmla="*/ 51 w 222"/>
                <a:gd name="T93" fmla="*/ 126 h 189"/>
                <a:gd name="T94" fmla="*/ 54 w 222"/>
                <a:gd name="T95" fmla="*/ 126 h 189"/>
                <a:gd name="T96" fmla="*/ 60 w 222"/>
                <a:gd name="T97" fmla="*/ 126 h 189"/>
                <a:gd name="T98" fmla="*/ 66 w 222"/>
                <a:gd name="T99" fmla="*/ 126 h 189"/>
                <a:gd name="T100" fmla="*/ 78 w 222"/>
                <a:gd name="T101" fmla="*/ 144 h 189"/>
                <a:gd name="T102" fmla="*/ 84 w 222"/>
                <a:gd name="T103" fmla="*/ 153 h 189"/>
                <a:gd name="T104" fmla="*/ 99 w 222"/>
                <a:gd name="T105" fmla="*/ 159 h 189"/>
                <a:gd name="T106" fmla="*/ 126 w 222"/>
                <a:gd name="T107" fmla="*/ 171 h 189"/>
                <a:gd name="T108" fmla="*/ 144 w 222"/>
                <a:gd name="T109" fmla="*/ 165 h 189"/>
                <a:gd name="T110" fmla="*/ 150 w 222"/>
                <a:gd name="T111" fmla="*/ 180 h 189"/>
                <a:gd name="T112" fmla="*/ 192 w 222"/>
                <a:gd name="T113" fmla="*/ 186 h 189"/>
                <a:gd name="T114" fmla="*/ 204 w 222"/>
                <a:gd name="T115" fmla="*/ 189 h 189"/>
                <a:gd name="T116" fmla="*/ 201 w 222"/>
                <a:gd name="T117" fmla="*/ 186 h 189"/>
                <a:gd name="T118" fmla="*/ 210 w 222"/>
                <a:gd name="T119" fmla="*/ 174 h 189"/>
                <a:gd name="T120" fmla="*/ 219 w 222"/>
                <a:gd name="T121" fmla="*/ 171 h 189"/>
                <a:gd name="T122" fmla="*/ 216 w 222"/>
                <a:gd name="T123" fmla="*/ 16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189">
                  <a:moveTo>
                    <a:pt x="216" y="162"/>
                  </a:moveTo>
                  <a:cubicBezTo>
                    <a:pt x="213" y="162"/>
                    <a:pt x="216" y="153"/>
                    <a:pt x="213" y="150"/>
                  </a:cubicBezTo>
                  <a:cubicBezTo>
                    <a:pt x="207" y="147"/>
                    <a:pt x="201" y="144"/>
                    <a:pt x="201" y="141"/>
                  </a:cubicBezTo>
                  <a:cubicBezTo>
                    <a:pt x="198" y="135"/>
                    <a:pt x="192" y="132"/>
                    <a:pt x="192" y="129"/>
                  </a:cubicBezTo>
                  <a:cubicBezTo>
                    <a:pt x="192" y="129"/>
                    <a:pt x="207" y="120"/>
                    <a:pt x="204" y="114"/>
                  </a:cubicBezTo>
                  <a:cubicBezTo>
                    <a:pt x="201" y="108"/>
                    <a:pt x="195" y="111"/>
                    <a:pt x="192" y="108"/>
                  </a:cubicBezTo>
                  <a:cubicBezTo>
                    <a:pt x="192" y="108"/>
                    <a:pt x="192" y="99"/>
                    <a:pt x="192" y="96"/>
                  </a:cubicBezTo>
                  <a:cubicBezTo>
                    <a:pt x="189" y="90"/>
                    <a:pt x="192" y="87"/>
                    <a:pt x="192" y="84"/>
                  </a:cubicBezTo>
                  <a:cubicBezTo>
                    <a:pt x="189" y="81"/>
                    <a:pt x="192" y="75"/>
                    <a:pt x="192" y="75"/>
                  </a:cubicBezTo>
                  <a:cubicBezTo>
                    <a:pt x="192" y="72"/>
                    <a:pt x="198" y="69"/>
                    <a:pt x="198" y="66"/>
                  </a:cubicBezTo>
                  <a:cubicBezTo>
                    <a:pt x="198" y="63"/>
                    <a:pt x="198" y="60"/>
                    <a:pt x="198" y="60"/>
                  </a:cubicBezTo>
                  <a:cubicBezTo>
                    <a:pt x="198" y="54"/>
                    <a:pt x="198" y="48"/>
                    <a:pt x="198" y="45"/>
                  </a:cubicBezTo>
                  <a:cubicBezTo>
                    <a:pt x="198" y="45"/>
                    <a:pt x="192" y="45"/>
                    <a:pt x="189" y="45"/>
                  </a:cubicBezTo>
                  <a:cubicBezTo>
                    <a:pt x="186" y="45"/>
                    <a:pt x="183" y="39"/>
                    <a:pt x="183" y="39"/>
                  </a:cubicBezTo>
                  <a:cubicBezTo>
                    <a:pt x="180" y="39"/>
                    <a:pt x="177" y="36"/>
                    <a:pt x="177" y="33"/>
                  </a:cubicBezTo>
                  <a:cubicBezTo>
                    <a:pt x="177" y="33"/>
                    <a:pt x="171" y="30"/>
                    <a:pt x="168" y="30"/>
                  </a:cubicBezTo>
                  <a:cubicBezTo>
                    <a:pt x="165" y="33"/>
                    <a:pt x="162" y="30"/>
                    <a:pt x="162" y="30"/>
                  </a:cubicBezTo>
                  <a:cubicBezTo>
                    <a:pt x="159" y="30"/>
                    <a:pt x="156" y="27"/>
                    <a:pt x="153" y="24"/>
                  </a:cubicBezTo>
                  <a:cubicBezTo>
                    <a:pt x="153" y="24"/>
                    <a:pt x="141" y="21"/>
                    <a:pt x="141" y="24"/>
                  </a:cubicBezTo>
                  <a:cubicBezTo>
                    <a:pt x="138" y="27"/>
                    <a:pt x="135" y="27"/>
                    <a:pt x="132" y="27"/>
                  </a:cubicBezTo>
                  <a:cubicBezTo>
                    <a:pt x="129" y="27"/>
                    <a:pt x="123" y="30"/>
                    <a:pt x="123" y="33"/>
                  </a:cubicBezTo>
                  <a:cubicBezTo>
                    <a:pt x="120" y="33"/>
                    <a:pt x="117" y="33"/>
                    <a:pt x="114" y="33"/>
                  </a:cubicBezTo>
                  <a:cubicBezTo>
                    <a:pt x="114" y="36"/>
                    <a:pt x="114" y="39"/>
                    <a:pt x="114" y="39"/>
                  </a:cubicBezTo>
                  <a:cubicBezTo>
                    <a:pt x="111" y="42"/>
                    <a:pt x="99" y="45"/>
                    <a:pt x="87" y="45"/>
                  </a:cubicBezTo>
                  <a:cubicBezTo>
                    <a:pt x="78" y="45"/>
                    <a:pt x="78" y="33"/>
                    <a:pt x="69" y="33"/>
                  </a:cubicBezTo>
                  <a:cubicBezTo>
                    <a:pt x="60" y="33"/>
                    <a:pt x="54" y="27"/>
                    <a:pt x="54" y="21"/>
                  </a:cubicBezTo>
                  <a:cubicBezTo>
                    <a:pt x="51" y="18"/>
                    <a:pt x="45" y="15"/>
                    <a:pt x="45" y="15"/>
                  </a:cubicBezTo>
                  <a:cubicBezTo>
                    <a:pt x="48" y="12"/>
                    <a:pt x="48" y="0"/>
                    <a:pt x="45" y="3"/>
                  </a:cubicBezTo>
                  <a:cubicBezTo>
                    <a:pt x="39" y="6"/>
                    <a:pt x="30" y="15"/>
                    <a:pt x="21" y="15"/>
                  </a:cubicBezTo>
                  <a:cubicBezTo>
                    <a:pt x="12" y="12"/>
                    <a:pt x="18" y="12"/>
                    <a:pt x="15" y="9"/>
                  </a:cubicBezTo>
                  <a:cubicBezTo>
                    <a:pt x="9" y="6"/>
                    <a:pt x="12" y="3"/>
                    <a:pt x="6" y="0"/>
                  </a:cubicBezTo>
                  <a:cubicBezTo>
                    <a:pt x="3" y="0"/>
                    <a:pt x="6" y="6"/>
                    <a:pt x="3" y="6"/>
                  </a:cubicBezTo>
                  <a:cubicBezTo>
                    <a:pt x="0" y="6"/>
                    <a:pt x="3" y="15"/>
                    <a:pt x="3" y="15"/>
                  </a:cubicBezTo>
                  <a:cubicBezTo>
                    <a:pt x="3" y="18"/>
                    <a:pt x="3" y="27"/>
                    <a:pt x="3" y="27"/>
                  </a:cubicBezTo>
                  <a:cubicBezTo>
                    <a:pt x="6" y="27"/>
                    <a:pt x="9" y="36"/>
                    <a:pt x="9" y="36"/>
                  </a:cubicBezTo>
                  <a:cubicBezTo>
                    <a:pt x="9" y="39"/>
                    <a:pt x="12" y="42"/>
                    <a:pt x="12" y="45"/>
                  </a:cubicBezTo>
                  <a:cubicBezTo>
                    <a:pt x="12" y="48"/>
                    <a:pt x="18" y="51"/>
                    <a:pt x="18" y="51"/>
                  </a:cubicBezTo>
                  <a:cubicBezTo>
                    <a:pt x="21" y="51"/>
                    <a:pt x="24" y="54"/>
                    <a:pt x="24" y="57"/>
                  </a:cubicBezTo>
                  <a:cubicBezTo>
                    <a:pt x="21" y="60"/>
                    <a:pt x="24" y="63"/>
                    <a:pt x="21" y="63"/>
                  </a:cubicBezTo>
                  <a:cubicBezTo>
                    <a:pt x="18" y="63"/>
                    <a:pt x="21" y="72"/>
                    <a:pt x="18" y="72"/>
                  </a:cubicBezTo>
                  <a:cubicBezTo>
                    <a:pt x="15" y="72"/>
                    <a:pt x="18" y="81"/>
                    <a:pt x="18" y="81"/>
                  </a:cubicBezTo>
                  <a:cubicBezTo>
                    <a:pt x="21" y="84"/>
                    <a:pt x="24" y="84"/>
                    <a:pt x="24" y="87"/>
                  </a:cubicBezTo>
                  <a:cubicBezTo>
                    <a:pt x="24" y="90"/>
                    <a:pt x="33" y="96"/>
                    <a:pt x="36" y="96"/>
                  </a:cubicBezTo>
                  <a:cubicBezTo>
                    <a:pt x="39" y="96"/>
                    <a:pt x="39" y="102"/>
                    <a:pt x="42" y="102"/>
                  </a:cubicBezTo>
                  <a:cubicBezTo>
                    <a:pt x="45" y="105"/>
                    <a:pt x="42" y="108"/>
                    <a:pt x="42" y="111"/>
                  </a:cubicBezTo>
                  <a:cubicBezTo>
                    <a:pt x="42" y="114"/>
                    <a:pt x="45" y="114"/>
                    <a:pt x="45" y="120"/>
                  </a:cubicBezTo>
                  <a:cubicBezTo>
                    <a:pt x="45" y="120"/>
                    <a:pt x="48" y="123"/>
                    <a:pt x="51" y="126"/>
                  </a:cubicBezTo>
                  <a:cubicBezTo>
                    <a:pt x="54" y="126"/>
                    <a:pt x="54" y="126"/>
                    <a:pt x="54" y="126"/>
                  </a:cubicBezTo>
                  <a:cubicBezTo>
                    <a:pt x="57" y="126"/>
                    <a:pt x="57" y="123"/>
                    <a:pt x="60" y="126"/>
                  </a:cubicBezTo>
                  <a:cubicBezTo>
                    <a:pt x="63" y="129"/>
                    <a:pt x="66" y="126"/>
                    <a:pt x="66" y="126"/>
                  </a:cubicBezTo>
                  <a:cubicBezTo>
                    <a:pt x="69" y="126"/>
                    <a:pt x="75" y="138"/>
                    <a:pt x="78" y="144"/>
                  </a:cubicBezTo>
                  <a:cubicBezTo>
                    <a:pt x="81" y="150"/>
                    <a:pt x="81" y="150"/>
                    <a:pt x="84" y="153"/>
                  </a:cubicBezTo>
                  <a:cubicBezTo>
                    <a:pt x="90" y="156"/>
                    <a:pt x="93" y="156"/>
                    <a:pt x="99" y="159"/>
                  </a:cubicBezTo>
                  <a:cubicBezTo>
                    <a:pt x="105" y="165"/>
                    <a:pt x="120" y="171"/>
                    <a:pt x="126" y="171"/>
                  </a:cubicBezTo>
                  <a:cubicBezTo>
                    <a:pt x="132" y="171"/>
                    <a:pt x="135" y="165"/>
                    <a:pt x="144" y="165"/>
                  </a:cubicBezTo>
                  <a:cubicBezTo>
                    <a:pt x="150" y="168"/>
                    <a:pt x="150" y="177"/>
                    <a:pt x="150" y="180"/>
                  </a:cubicBezTo>
                  <a:cubicBezTo>
                    <a:pt x="153" y="183"/>
                    <a:pt x="186" y="186"/>
                    <a:pt x="192" y="186"/>
                  </a:cubicBezTo>
                  <a:cubicBezTo>
                    <a:pt x="192" y="189"/>
                    <a:pt x="198" y="189"/>
                    <a:pt x="204" y="189"/>
                  </a:cubicBezTo>
                  <a:cubicBezTo>
                    <a:pt x="201" y="186"/>
                    <a:pt x="201" y="186"/>
                    <a:pt x="201" y="186"/>
                  </a:cubicBezTo>
                  <a:cubicBezTo>
                    <a:pt x="201" y="180"/>
                    <a:pt x="207" y="177"/>
                    <a:pt x="210" y="174"/>
                  </a:cubicBezTo>
                  <a:cubicBezTo>
                    <a:pt x="213" y="171"/>
                    <a:pt x="216" y="171"/>
                    <a:pt x="219" y="171"/>
                  </a:cubicBezTo>
                  <a:cubicBezTo>
                    <a:pt x="222" y="171"/>
                    <a:pt x="219" y="162"/>
                    <a:pt x="216" y="16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8" name="Freeform 953"/>
            <p:cNvSpPr>
              <a:spLocks noEditPoints="1"/>
            </p:cNvSpPr>
            <p:nvPr userDrawn="1"/>
          </p:nvSpPr>
          <p:spPr bwMode="auto">
            <a:xfrm>
              <a:off x="4292" y="-2237"/>
              <a:ext cx="717" cy="337"/>
            </a:xfrm>
            <a:custGeom>
              <a:avLst/>
              <a:gdLst>
                <a:gd name="T0" fmla="*/ 445 w 460"/>
                <a:gd name="T1" fmla="*/ 87 h 216"/>
                <a:gd name="T2" fmla="*/ 430 w 460"/>
                <a:gd name="T3" fmla="*/ 75 h 216"/>
                <a:gd name="T4" fmla="*/ 400 w 460"/>
                <a:gd name="T5" fmla="*/ 69 h 216"/>
                <a:gd name="T6" fmla="*/ 373 w 460"/>
                <a:gd name="T7" fmla="*/ 51 h 216"/>
                <a:gd name="T8" fmla="*/ 340 w 460"/>
                <a:gd name="T9" fmla="*/ 15 h 216"/>
                <a:gd name="T10" fmla="*/ 310 w 460"/>
                <a:gd name="T11" fmla="*/ 30 h 216"/>
                <a:gd name="T12" fmla="*/ 301 w 460"/>
                <a:gd name="T13" fmla="*/ 21 h 216"/>
                <a:gd name="T14" fmla="*/ 285 w 460"/>
                <a:gd name="T15" fmla="*/ 18 h 216"/>
                <a:gd name="T16" fmla="*/ 276 w 460"/>
                <a:gd name="T17" fmla="*/ 0 h 216"/>
                <a:gd name="T18" fmla="*/ 237 w 460"/>
                <a:gd name="T19" fmla="*/ 9 h 216"/>
                <a:gd name="T20" fmla="*/ 192 w 460"/>
                <a:gd name="T21" fmla="*/ 18 h 216"/>
                <a:gd name="T22" fmla="*/ 168 w 460"/>
                <a:gd name="T23" fmla="*/ 30 h 216"/>
                <a:gd name="T24" fmla="*/ 165 w 460"/>
                <a:gd name="T25" fmla="*/ 45 h 216"/>
                <a:gd name="T26" fmla="*/ 168 w 460"/>
                <a:gd name="T27" fmla="*/ 60 h 216"/>
                <a:gd name="T28" fmla="*/ 156 w 460"/>
                <a:gd name="T29" fmla="*/ 69 h 216"/>
                <a:gd name="T30" fmla="*/ 141 w 460"/>
                <a:gd name="T31" fmla="*/ 66 h 216"/>
                <a:gd name="T32" fmla="*/ 111 w 460"/>
                <a:gd name="T33" fmla="*/ 69 h 216"/>
                <a:gd name="T34" fmla="*/ 90 w 460"/>
                <a:gd name="T35" fmla="*/ 69 h 216"/>
                <a:gd name="T36" fmla="*/ 60 w 460"/>
                <a:gd name="T37" fmla="*/ 57 h 216"/>
                <a:gd name="T38" fmla="*/ 33 w 460"/>
                <a:gd name="T39" fmla="*/ 66 h 216"/>
                <a:gd name="T40" fmla="*/ 24 w 460"/>
                <a:gd name="T41" fmla="*/ 84 h 216"/>
                <a:gd name="T42" fmla="*/ 3 w 460"/>
                <a:gd name="T43" fmla="*/ 87 h 216"/>
                <a:gd name="T44" fmla="*/ 0 w 460"/>
                <a:gd name="T45" fmla="*/ 102 h 216"/>
                <a:gd name="T46" fmla="*/ 15 w 460"/>
                <a:gd name="T47" fmla="*/ 114 h 216"/>
                <a:gd name="T48" fmla="*/ 27 w 460"/>
                <a:gd name="T49" fmla="*/ 132 h 216"/>
                <a:gd name="T50" fmla="*/ 57 w 460"/>
                <a:gd name="T51" fmla="*/ 126 h 216"/>
                <a:gd name="T52" fmla="*/ 63 w 460"/>
                <a:gd name="T53" fmla="*/ 150 h 216"/>
                <a:gd name="T54" fmla="*/ 42 w 460"/>
                <a:gd name="T55" fmla="*/ 165 h 216"/>
                <a:gd name="T56" fmla="*/ 63 w 460"/>
                <a:gd name="T57" fmla="*/ 183 h 216"/>
                <a:gd name="T58" fmla="*/ 75 w 460"/>
                <a:gd name="T59" fmla="*/ 195 h 216"/>
                <a:gd name="T60" fmla="*/ 108 w 460"/>
                <a:gd name="T61" fmla="*/ 201 h 216"/>
                <a:gd name="T62" fmla="*/ 138 w 460"/>
                <a:gd name="T63" fmla="*/ 144 h 216"/>
                <a:gd name="T64" fmla="*/ 156 w 460"/>
                <a:gd name="T65" fmla="*/ 144 h 216"/>
                <a:gd name="T66" fmla="*/ 189 w 460"/>
                <a:gd name="T67" fmla="*/ 174 h 216"/>
                <a:gd name="T68" fmla="*/ 225 w 460"/>
                <a:gd name="T69" fmla="*/ 192 h 216"/>
                <a:gd name="T70" fmla="*/ 249 w 460"/>
                <a:gd name="T71" fmla="*/ 210 h 216"/>
                <a:gd name="T72" fmla="*/ 273 w 460"/>
                <a:gd name="T73" fmla="*/ 201 h 216"/>
                <a:gd name="T74" fmla="*/ 297 w 460"/>
                <a:gd name="T75" fmla="*/ 186 h 216"/>
                <a:gd name="T76" fmla="*/ 337 w 460"/>
                <a:gd name="T77" fmla="*/ 183 h 216"/>
                <a:gd name="T78" fmla="*/ 385 w 460"/>
                <a:gd name="T79" fmla="*/ 192 h 216"/>
                <a:gd name="T80" fmla="*/ 385 w 460"/>
                <a:gd name="T81" fmla="*/ 165 h 216"/>
                <a:gd name="T82" fmla="*/ 400 w 460"/>
                <a:gd name="T83" fmla="*/ 150 h 216"/>
                <a:gd name="T84" fmla="*/ 415 w 460"/>
                <a:gd name="T85" fmla="*/ 126 h 216"/>
                <a:gd name="T86" fmla="*/ 445 w 460"/>
                <a:gd name="T87" fmla="*/ 123 h 216"/>
                <a:gd name="T88" fmla="*/ 454 w 460"/>
                <a:gd name="T89" fmla="*/ 99 h 216"/>
                <a:gd name="T90" fmla="*/ 171 w 460"/>
                <a:gd name="T91" fmla="*/ 135 h 216"/>
                <a:gd name="T92" fmla="*/ 361 w 460"/>
                <a:gd name="T93" fmla="*/ 135 h 216"/>
                <a:gd name="T94" fmla="*/ 316 w 460"/>
                <a:gd name="T95" fmla="*/ 135 h 216"/>
                <a:gd name="T96" fmla="*/ 361 w 460"/>
                <a:gd name="T97" fmla="*/ 13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0" h="216">
                  <a:moveTo>
                    <a:pt x="457" y="87"/>
                  </a:moveTo>
                  <a:cubicBezTo>
                    <a:pt x="457" y="84"/>
                    <a:pt x="454" y="87"/>
                    <a:pt x="454" y="87"/>
                  </a:cubicBezTo>
                  <a:cubicBezTo>
                    <a:pt x="451" y="87"/>
                    <a:pt x="445" y="87"/>
                    <a:pt x="445" y="87"/>
                  </a:cubicBezTo>
                  <a:cubicBezTo>
                    <a:pt x="442" y="87"/>
                    <a:pt x="439" y="87"/>
                    <a:pt x="439" y="84"/>
                  </a:cubicBezTo>
                  <a:cubicBezTo>
                    <a:pt x="439" y="81"/>
                    <a:pt x="439" y="78"/>
                    <a:pt x="436" y="78"/>
                  </a:cubicBezTo>
                  <a:cubicBezTo>
                    <a:pt x="433" y="78"/>
                    <a:pt x="430" y="78"/>
                    <a:pt x="430" y="75"/>
                  </a:cubicBezTo>
                  <a:cubicBezTo>
                    <a:pt x="427" y="69"/>
                    <a:pt x="424" y="69"/>
                    <a:pt x="421" y="69"/>
                  </a:cubicBezTo>
                  <a:cubicBezTo>
                    <a:pt x="418" y="66"/>
                    <a:pt x="412" y="69"/>
                    <a:pt x="409" y="72"/>
                  </a:cubicBezTo>
                  <a:cubicBezTo>
                    <a:pt x="406" y="72"/>
                    <a:pt x="403" y="69"/>
                    <a:pt x="400" y="69"/>
                  </a:cubicBezTo>
                  <a:cubicBezTo>
                    <a:pt x="397" y="69"/>
                    <a:pt x="394" y="63"/>
                    <a:pt x="391" y="63"/>
                  </a:cubicBezTo>
                  <a:cubicBezTo>
                    <a:pt x="388" y="63"/>
                    <a:pt x="385" y="69"/>
                    <a:pt x="385" y="69"/>
                  </a:cubicBezTo>
                  <a:cubicBezTo>
                    <a:pt x="382" y="69"/>
                    <a:pt x="376" y="57"/>
                    <a:pt x="373" y="51"/>
                  </a:cubicBezTo>
                  <a:cubicBezTo>
                    <a:pt x="367" y="42"/>
                    <a:pt x="358" y="27"/>
                    <a:pt x="352" y="24"/>
                  </a:cubicBezTo>
                  <a:cubicBezTo>
                    <a:pt x="343" y="24"/>
                    <a:pt x="346" y="18"/>
                    <a:pt x="349" y="18"/>
                  </a:cubicBezTo>
                  <a:cubicBezTo>
                    <a:pt x="349" y="15"/>
                    <a:pt x="343" y="15"/>
                    <a:pt x="340" y="15"/>
                  </a:cubicBezTo>
                  <a:cubicBezTo>
                    <a:pt x="337" y="18"/>
                    <a:pt x="334" y="21"/>
                    <a:pt x="331" y="21"/>
                  </a:cubicBezTo>
                  <a:cubicBezTo>
                    <a:pt x="328" y="24"/>
                    <a:pt x="322" y="27"/>
                    <a:pt x="319" y="27"/>
                  </a:cubicBezTo>
                  <a:cubicBezTo>
                    <a:pt x="313" y="27"/>
                    <a:pt x="313" y="33"/>
                    <a:pt x="310" y="30"/>
                  </a:cubicBezTo>
                  <a:cubicBezTo>
                    <a:pt x="307" y="27"/>
                    <a:pt x="313" y="24"/>
                    <a:pt x="313" y="21"/>
                  </a:cubicBezTo>
                  <a:cubicBezTo>
                    <a:pt x="313" y="18"/>
                    <a:pt x="310" y="21"/>
                    <a:pt x="307" y="21"/>
                  </a:cubicBezTo>
                  <a:cubicBezTo>
                    <a:pt x="307" y="18"/>
                    <a:pt x="301" y="18"/>
                    <a:pt x="301" y="21"/>
                  </a:cubicBezTo>
                  <a:cubicBezTo>
                    <a:pt x="301" y="21"/>
                    <a:pt x="297" y="21"/>
                    <a:pt x="297" y="18"/>
                  </a:cubicBezTo>
                  <a:cubicBezTo>
                    <a:pt x="297" y="18"/>
                    <a:pt x="297" y="15"/>
                    <a:pt x="294" y="18"/>
                  </a:cubicBezTo>
                  <a:cubicBezTo>
                    <a:pt x="291" y="18"/>
                    <a:pt x="285" y="21"/>
                    <a:pt x="285" y="18"/>
                  </a:cubicBezTo>
                  <a:cubicBezTo>
                    <a:pt x="282" y="18"/>
                    <a:pt x="285" y="15"/>
                    <a:pt x="285" y="15"/>
                  </a:cubicBezTo>
                  <a:cubicBezTo>
                    <a:pt x="285" y="12"/>
                    <a:pt x="282" y="9"/>
                    <a:pt x="282" y="6"/>
                  </a:cubicBezTo>
                  <a:cubicBezTo>
                    <a:pt x="282" y="3"/>
                    <a:pt x="279" y="0"/>
                    <a:pt x="276" y="0"/>
                  </a:cubicBezTo>
                  <a:cubicBezTo>
                    <a:pt x="273" y="3"/>
                    <a:pt x="270" y="0"/>
                    <a:pt x="267" y="0"/>
                  </a:cubicBezTo>
                  <a:cubicBezTo>
                    <a:pt x="264" y="0"/>
                    <a:pt x="252" y="0"/>
                    <a:pt x="252" y="3"/>
                  </a:cubicBezTo>
                  <a:cubicBezTo>
                    <a:pt x="252" y="6"/>
                    <a:pt x="240" y="9"/>
                    <a:pt x="237" y="9"/>
                  </a:cubicBezTo>
                  <a:cubicBezTo>
                    <a:pt x="234" y="9"/>
                    <a:pt x="225" y="12"/>
                    <a:pt x="219" y="12"/>
                  </a:cubicBezTo>
                  <a:cubicBezTo>
                    <a:pt x="216" y="12"/>
                    <a:pt x="213" y="15"/>
                    <a:pt x="210" y="15"/>
                  </a:cubicBezTo>
                  <a:cubicBezTo>
                    <a:pt x="204" y="15"/>
                    <a:pt x="195" y="15"/>
                    <a:pt x="192" y="18"/>
                  </a:cubicBezTo>
                  <a:cubicBezTo>
                    <a:pt x="189" y="21"/>
                    <a:pt x="180" y="18"/>
                    <a:pt x="177" y="21"/>
                  </a:cubicBezTo>
                  <a:cubicBezTo>
                    <a:pt x="174" y="21"/>
                    <a:pt x="171" y="21"/>
                    <a:pt x="168" y="21"/>
                  </a:cubicBezTo>
                  <a:cubicBezTo>
                    <a:pt x="168" y="21"/>
                    <a:pt x="168" y="27"/>
                    <a:pt x="168" y="30"/>
                  </a:cubicBezTo>
                  <a:cubicBezTo>
                    <a:pt x="171" y="33"/>
                    <a:pt x="180" y="33"/>
                    <a:pt x="180" y="36"/>
                  </a:cubicBezTo>
                  <a:cubicBezTo>
                    <a:pt x="180" y="36"/>
                    <a:pt x="171" y="36"/>
                    <a:pt x="168" y="36"/>
                  </a:cubicBezTo>
                  <a:cubicBezTo>
                    <a:pt x="162" y="39"/>
                    <a:pt x="165" y="42"/>
                    <a:pt x="165" y="45"/>
                  </a:cubicBezTo>
                  <a:cubicBezTo>
                    <a:pt x="165" y="48"/>
                    <a:pt x="162" y="51"/>
                    <a:pt x="159" y="51"/>
                  </a:cubicBezTo>
                  <a:cubicBezTo>
                    <a:pt x="156" y="51"/>
                    <a:pt x="159" y="57"/>
                    <a:pt x="162" y="57"/>
                  </a:cubicBezTo>
                  <a:cubicBezTo>
                    <a:pt x="165" y="57"/>
                    <a:pt x="168" y="60"/>
                    <a:pt x="168" y="60"/>
                  </a:cubicBezTo>
                  <a:cubicBezTo>
                    <a:pt x="171" y="60"/>
                    <a:pt x="171" y="66"/>
                    <a:pt x="171" y="69"/>
                  </a:cubicBezTo>
                  <a:cubicBezTo>
                    <a:pt x="171" y="72"/>
                    <a:pt x="168" y="72"/>
                    <a:pt x="165" y="72"/>
                  </a:cubicBezTo>
                  <a:cubicBezTo>
                    <a:pt x="162" y="72"/>
                    <a:pt x="159" y="69"/>
                    <a:pt x="156" y="69"/>
                  </a:cubicBezTo>
                  <a:cubicBezTo>
                    <a:pt x="153" y="69"/>
                    <a:pt x="156" y="72"/>
                    <a:pt x="153" y="75"/>
                  </a:cubicBezTo>
                  <a:cubicBezTo>
                    <a:pt x="150" y="75"/>
                    <a:pt x="150" y="69"/>
                    <a:pt x="147" y="69"/>
                  </a:cubicBezTo>
                  <a:cubicBezTo>
                    <a:pt x="144" y="69"/>
                    <a:pt x="141" y="69"/>
                    <a:pt x="141" y="66"/>
                  </a:cubicBezTo>
                  <a:cubicBezTo>
                    <a:pt x="138" y="63"/>
                    <a:pt x="132" y="63"/>
                    <a:pt x="129" y="66"/>
                  </a:cubicBezTo>
                  <a:cubicBezTo>
                    <a:pt x="126" y="69"/>
                    <a:pt x="126" y="69"/>
                    <a:pt x="123" y="66"/>
                  </a:cubicBezTo>
                  <a:cubicBezTo>
                    <a:pt x="120" y="63"/>
                    <a:pt x="111" y="66"/>
                    <a:pt x="111" y="69"/>
                  </a:cubicBezTo>
                  <a:cubicBezTo>
                    <a:pt x="111" y="72"/>
                    <a:pt x="105" y="72"/>
                    <a:pt x="102" y="69"/>
                  </a:cubicBezTo>
                  <a:cubicBezTo>
                    <a:pt x="96" y="69"/>
                    <a:pt x="93" y="66"/>
                    <a:pt x="93" y="69"/>
                  </a:cubicBezTo>
                  <a:cubicBezTo>
                    <a:pt x="93" y="75"/>
                    <a:pt x="90" y="72"/>
                    <a:pt x="90" y="69"/>
                  </a:cubicBezTo>
                  <a:cubicBezTo>
                    <a:pt x="90" y="66"/>
                    <a:pt x="84" y="63"/>
                    <a:pt x="81" y="60"/>
                  </a:cubicBezTo>
                  <a:cubicBezTo>
                    <a:pt x="78" y="60"/>
                    <a:pt x="69" y="60"/>
                    <a:pt x="69" y="57"/>
                  </a:cubicBezTo>
                  <a:cubicBezTo>
                    <a:pt x="69" y="54"/>
                    <a:pt x="63" y="54"/>
                    <a:pt x="60" y="57"/>
                  </a:cubicBezTo>
                  <a:cubicBezTo>
                    <a:pt x="60" y="60"/>
                    <a:pt x="57" y="57"/>
                    <a:pt x="54" y="57"/>
                  </a:cubicBezTo>
                  <a:cubicBezTo>
                    <a:pt x="54" y="57"/>
                    <a:pt x="48" y="57"/>
                    <a:pt x="45" y="60"/>
                  </a:cubicBezTo>
                  <a:cubicBezTo>
                    <a:pt x="45" y="60"/>
                    <a:pt x="39" y="66"/>
                    <a:pt x="33" y="66"/>
                  </a:cubicBezTo>
                  <a:cubicBezTo>
                    <a:pt x="30" y="66"/>
                    <a:pt x="33" y="69"/>
                    <a:pt x="27" y="69"/>
                  </a:cubicBezTo>
                  <a:cubicBezTo>
                    <a:pt x="24" y="72"/>
                    <a:pt x="24" y="75"/>
                    <a:pt x="24" y="75"/>
                  </a:cubicBezTo>
                  <a:cubicBezTo>
                    <a:pt x="27" y="78"/>
                    <a:pt x="27" y="81"/>
                    <a:pt x="24" y="84"/>
                  </a:cubicBezTo>
                  <a:cubicBezTo>
                    <a:pt x="21" y="84"/>
                    <a:pt x="18" y="78"/>
                    <a:pt x="15" y="75"/>
                  </a:cubicBezTo>
                  <a:cubicBezTo>
                    <a:pt x="12" y="72"/>
                    <a:pt x="9" y="75"/>
                    <a:pt x="9" y="81"/>
                  </a:cubicBezTo>
                  <a:cubicBezTo>
                    <a:pt x="9" y="84"/>
                    <a:pt x="6" y="84"/>
                    <a:pt x="3" y="87"/>
                  </a:cubicBezTo>
                  <a:cubicBezTo>
                    <a:pt x="0" y="90"/>
                    <a:pt x="6" y="90"/>
                    <a:pt x="6" y="93"/>
                  </a:cubicBezTo>
                  <a:cubicBezTo>
                    <a:pt x="3" y="96"/>
                    <a:pt x="3" y="96"/>
                    <a:pt x="3" y="96"/>
                  </a:cubicBezTo>
                  <a:cubicBezTo>
                    <a:pt x="0" y="96"/>
                    <a:pt x="0" y="102"/>
                    <a:pt x="0" y="102"/>
                  </a:cubicBezTo>
                  <a:cubicBezTo>
                    <a:pt x="0" y="105"/>
                    <a:pt x="6" y="105"/>
                    <a:pt x="6" y="108"/>
                  </a:cubicBezTo>
                  <a:cubicBezTo>
                    <a:pt x="6" y="111"/>
                    <a:pt x="6" y="114"/>
                    <a:pt x="9" y="114"/>
                  </a:cubicBezTo>
                  <a:cubicBezTo>
                    <a:pt x="12" y="111"/>
                    <a:pt x="15" y="114"/>
                    <a:pt x="15" y="114"/>
                  </a:cubicBezTo>
                  <a:cubicBezTo>
                    <a:pt x="18" y="114"/>
                    <a:pt x="21" y="117"/>
                    <a:pt x="24" y="120"/>
                  </a:cubicBezTo>
                  <a:cubicBezTo>
                    <a:pt x="27" y="126"/>
                    <a:pt x="27" y="126"/>
                    <a:pt x="24" y="129"/>
                  </a:cubicBezTo>
                  <a:cubicBezTo>
                    <a:pt x="21" y="129"/>
                    <a:pt x="24" y="132"/>
                    <a:pt x="27" y="132"/>
                  </a:cubicBezTo>
                  <a:cubicBezTo>
                    <a:pt x="30" y="132"/>
                    <a:pt x="30" y="135"/>
                    <a:pt x="30" y="135"/>
                  </a:cubicBezTo>
                  <a:cubicBezTo>
                    <a:pt x="33" y="135"/>
                    <a:pt x="33" y="135"/>
                    <a:pt x="33" y="132"/>
                  </a:cubicBezTo>
                  <a:cubicBezTo>
                    <a:pt x="39" y="129"/>
                    <a:pt x="48" y="123"/>
                    <a:pt x="57" y="126"/>
                  </a:cubicBezTo>
                  <a:cubicBezTo>
                    <a:pt x="63" y="129"/>
                    <a:pt x="72" y="123"/>
                    <a:pt x="75" y="129"/>
                  </a:cubicBezTo>
                  <a:cubicBezTo>
                    <a:pt x="78" y="135"/>
                    <a:pt x="75" y="141"/>
                    <a:pt x="75" y="147"/>
                  </a:cubicBezTo>
                  <a:cubicBezTo>
                    <a:pt x="78" y="150"/>
                    <a:pt x="69" y="150"/>
                    <a:pt x="63" y="150"/>
                  </a:cubicBezTo>
                  <a:cubicBezTo>
                    <a:pt x="60" y="147"/>
                    <a:pt x="48" y="150"/>
                    <a:pt x="51" y="153"/>
                  </a:cubicBezTo>
                  <a:cubicBezTo>
                    <a:pt x="51" y="156"/>
                    <a:pt x="54" y="165"/>
                    <a:pt x="48" y="159"/>
                  </a:cubicBezTo>
                  <a:cubicBezTo>
                    <a:pt x="42" y="156"/>
                    <a:pt x="39" y="165"/>
                    <a:pt x="42" y="165"/>
                  </a:cubicBezTo>
                  <a:cubicBezTo>
                    <a:pt x="48" y="165"/>
                    <a:pt x="51" y="168"/>
                    <a:pt x="51" y="171"/>
                  </a:cubicBezTo>
                  <a:cubicBezTo>
                    <a:pt x="51" y="174"/>
                    <a:pt x="51" y="180"/>
                    <a:pt x="54" y="180"/>
                  </a:cubicBezTo>
                  <a:cubicBezTo>
                    <a:pt x="60" y="180"/>
                    <a:pt x="60" y="186"/>
                    <a:pt x="63" y="183"/>
                  </a:cubicBezTo>
                  <a:cubicBezTo>
                    <a:pt x="69" y="183"/>
                    <a:pt x="72" y="186"/>
                    <a:pt x="69" y="189"/>
                  </a:cubicBezTo>
                  <a:cubicBezTo>
                    <a:pt x="66" y="195"/>
                    <a:pt x="72" y="207"/>
                    <a:pt x="72" y="204"/>
                  </a:cubicBezTo>
                  <a:cubicBezTo>
                    <a:pt x="72" y="201"/>
                    <a:pt x="72" y="198"/>
                    <a:pt x="75" y="195"/>
                  </a:cubicBezTo>
                  <a:cubicBezTo>
                    <a:pt x="72" y="189"/>
                    <a:pt x="81" y="189"/>
                    <a:pt x="84" y="189"/>
                  </a:cubicBezTo>
                  <a:cubicBezTo>
                    <a:pt x="90" y="189"/>
                    <a:pt x="96" y="195"/>
                    <a:pt x="99" y="201"/>
                  </a:cubicBezTo>
                  <a:cubicBezTo>
                    <a:pt x="102" y="207"/>
                    <a:pt x="108" y="201"/>
                    <a:pt x="108" y="201"/>
                  </a:cubicBezTo>
                  <a:cubicBezTo>
                    <a:pt x="108" y="153"/>
                    <a:pt x="108" y="153"/>
                    <a:pt x="108" y="153"/>
                  </a:cubicBezTo>
                  <a:cubicBezTo>
                    <a:pt x="138" y="144"/>
                    <a:pt x="138" y="144"/>
                    <a:pt x="138" y="144"/>
                  </a:cubicBezTo>
                  <a:cubicBezTo>
                    <a:pt x="138" y="144"/>
                    <a:pt x="138" y="144"/>
                    <a:pt x="138" y="144"/>
                  </a:cubicBezTo>
                  <a:cubicBezTo>
                    <a:pt x="141" y="138"/>
                    <a:pt x="147" y="141"/>
                    <a:pt x="147" y="144"/>
                  </a:cubicBezTo>
                  <a:cubicBezTo>
                    <a:pt x="150" y="144"/>
                    <a:pt x="150" y="138"/>
                    <a:pt x="153" y="138"/>
                  </a:cubicBezTo>
                  <a:cubicBezTo>
                    <a:pt x="156" y="138"/>
                    <a:pt x="153" y="144"/>
                    <a:pt x="156" y="144"/>
                  </a:cubicBezTo>
                  <a:cubicBezTo>
                    <a:pt x="159" y="144"/>
                    <a:pt x="162" y="153"/>
                    <a:pt x="162" y="159"/>
                  </a:cubicBezTo>
                  <a:cubicBezTo>
                    <a:pt x="165" y="162"/>
                    <a:pt x="174" y="171"/>
                    <a:pt x="174" y="174"/>
                  </a:cubicBezTo>
                  <a:cubicBezTo>
                    <a:pt x="177" y="177"/>
                    <a:pt x="186" y="171"/>
                    <a:pt x="189" y="174"/>
                  </a:cubicBezTo>
                  <a:cubicBezTo>
                    <a:pt x="192" y="174"/>
                    <a:pt x="210" y="174"/>
                    <a:pt x="213" y="174"/>
                  </a:cubicBezTo>
                  <a:cubicBezTo>
                    <a:pt x="216" y="174"/>
                    <a:pt x="219" y="180"/>
                    <a:pt x="222" y="180"/>
                  </a:cubicBezTo>
                  <a:cubicBezTo>
                    <a:pt x="225" y="180"/>
                    <a:pt x="222" y="186"/>
                    <a:pt x="225" y="192"/>
                  </a:cubicBezTo>
                  <a:cubicBezTo>
                    <a:pt x="225" y="195"/>
                    <a:pt x="231" y="198"/>
                    <a:pt x="231" y="204"/>
                  </a:cubicBezTo>
                  <a:cubicBezTo>
                    <a:pt x="231" y="207"/>
                    <a:pt x="237" y="204"/>
                    <a:pt x="240" y="204"/>
                  </a:cubicBezTo>
                  <a:cubicBezTo>
                    <a:pt x="243" y="207"/>
                    <a:pt x="249" y="207"/>
                    <a:pt x="249" y="210"/>
                  </a:cubicBezTo>
                  <a:cubicBezTo>
                    <a:pt x="249" y="216"/>
                    <a:pt x="255" y="213"/>
                    <a:pt x="255" y="210"/>
                  </a:cubicBezTo>
                  <a:cubicBezTo>
                    <a:pt x="255" y="207"/>
                    <a:pt x="258" y="204"/>
                    <a:pt x="267" y="201"/>
                  </a:cubicBezTo>
                  <a:cubicBezTo>
                    <a:pt x="270" y="198"/>
                    <a:pt x="270" y="198"/>
                    <a:pt x="273" y="201"/>
                  </a:cubicBezTo>
                  <a:cubicBezTo>
                    <a:pt x="273" y="198"/>
                    <a:pt x="276" y="195"/>
                    <a:pt x="276" y="195"/>
                  </a:cubicBezTo>
                  <a:cubicBezTo>
                    <a:pt x="279" y="192"/>
                    <a:pt x="282" y="189"/>
                    <a:pt x="282" y="186"/>
                  </a:cubicBezTo>
                  <a:cubicBezTo>
                    <a:pt x="282" y="183"/>
                    <a:pt x="291" y="183"/>
                    <a:pt x="297" y="186"/>
                  </a:cubicBezTo>
                  <a:cubicBezTo>
                    <a:pt x="304" y="189"/>
                    <a:pt x="310" y="189"/>
                    <a:pt x="310" y="183"/>
                  </a:cubicBezTo>
                  <a:cubicBezTo>
                    <a:pt x="310" y="180"/>
                    <a:pt x="319" y="177"/>
                    <a:pt x="322" y="180"/>
                  </a:cubicBezTo>
                  <a:cubicBezTo>
                    <a:pt x="325" y="180"/>
                    <a:pt x="331" y="186"/>
                    <a:pt x="337" y="183"/>
                  </a:cubicBezTo>
                  <a:cubicBezTo>
                    <a:pt x="340" y="183"/>
                    <a:pt x="361" y="183"/>
                    <a:pt x="364" y="186"/>
                  </a:cubicBezTo>
                  <a:cubicBezTo>
                    <a:pt x="370" y="186"/>
                    <a:pt x="370" y="183"/>
                    <a:pt x="376" y="189"/>
                  </a:cubicBezTo>
                  <a:cubicBezTo>
                    <a:pt x="379" y="192"/>
                    <a:pt x="382" y="189"/>
                    <a:pt x="385" y="192"/>
                  </a:cubicBezTo>
                  <a:cubicBezTo>
                    <a:pt x="385" y="192"/>
                    <a:pt x="385" y="189"/>
                    <a:pt x="385" y="186"/>
                  </a:cubicBezTo>
                  <a:cubicBezTo>
                    <a:pt x="385" y="183"/>
                    <a:pt x="391" y="180"/>
                    <a:pt x="391" y="180"/>
                  </a:cubicBezTo>
                  <a:cubicBezTo>
                    <a:pt x="391" y="177"/>
                    <a:pt x="385" y="168"/>
                    <a:pt x="385" y="165"/>
                  </a:cubicBezTo>
                  <a:cubicBezTo>
                    <a:pt x="385" y="165"/>
                    <a:pt x="385" y="159"/>
                    <a:pt x="385" y="156"/>
                  </a:cubicBezTo>
                  <a:cubicBezTo>
                    <a:pt x="382" y="156"/>
                    <a:pt x="388" y="153"/>
                    <a:pt x="391" y="153"/>
                  </a:cubicBezTo>
                  <a:cubicBezTo>
                    <a:pt x="394" y="153"/>
                    <a:pt x="400" y="147"/>
                    <a:pt x="400" y="150"/>
                  </a:cubicBezTo>
                  <a:cubicBezTo>
                    <a:pt x="403" y="153"/>
                    <a:pt x="406" y="153"/>
                    <a:pt x="409" y="153"/>
                  </a:cubicBezTo>
                  <a:cubicBezTo>
                    <a:pt x="412" y="153"/>
                    <a:pt x="412" y="147"/>
                    <a:pt x="409" y="147"/>
                  </a:cubicBezTo>
                  <a:cubicBezTo>
                    <a:pt x="406" y="144"/>
                    <a:pt x="415" y="129"/>
                    <a:pt x="415" y="126"/>
                  </a:cubicBezTo>
                  <a:cubicBezTo>
                    <a:pt x="418" y="120"/>
                    <a:pt x="421" y="126"/>
                    <a:pt x="424" y="126"/>
                  </a:cubicBezTo>
                  <a:cubicBezTo>
                    <a:pt x="427" y="126"/>
                    <a:pt x="433" y="126"/>
                    <a:pt x="433" y="126"/>
                  </a:cubicBezTo>
                  <a:cubicBezTo>
                    <a:pt x="436" y="126"/>
                    <a:pt x="442" y="126"/>
                    <a:pt x="445" y="123"/>
                  </a:cubicBezTo>
                  <a:cubicBezTo>
                    <a:pt x="445" y="120"/>
                    <a:pt x="442" y="120"/>
                    <a:pt x="442" y="114"/>
                  </a:cubicBezTo>
                  <a:cubicBezTo>
                    <a:pt x="442" y="108"/>
                    <a:pt x="448" y="105"/>
                    <a:pt x="451" y="105"/>
                  </a:cubicBezTo>
                  <a:cubicBezTo>
                    <a:pt x="454" y="105"/>
                    <a:pt x="454" y="102"/>
                    <a:pt x="454" y="99"/>
                  </a:cubicBezTo>
                  <a:cubicBezTo>
                    <a:pt x="454" y="96"/>
                    <a:pt x="457" y="93"/>
                    <a:pt x="460" y="90"/>
                  </a:cubicBezTo>
                  <a:cubicBezTo>
                    <a:pt x="457" y="90"/>
                    <a:pt x="457" y="87"/>
                    <a:pt x="457" y="87"/>
                  </a:cubicBezTo>
                  <a:close/>
                  <a:moveTo>
                    <a:pt x="171" y="135"/>
                  </a:moveTo>
                  <a:cubicBezTo>
                    <a:pt x="168" y="138"/>
                    <a:pt x="156" y="135"/>
                    <a:pt x="156" y="132"/>
                  </a:cubicBezTo>
                  <a:cubicBezTo>
                    <a:pt x="153" y="129"/>
                    <a:pt x="174" y="132"/>
                    <a:pt x="171" y="135"/>
                  </a:cubicBezTo>
                  <a:close/>
                  <a:moveTo>
                    <a:pt x="361" y="135"/>
                  </a:moveTo>
                  <a:cubicBezTo>
                    <a:pt x="352" y="135"/>
                    <a:pt x="331" y="129"/>
                    <a:pt x="322" y="138"/>
                  </a:cubicBezTo>
                  <a:cubicBezTo>
                    <a:pt x="313" y="147"/>
                    <a:pt x="319" y="153"/>
                    <a:pt x="316" y="153"/>
                  </a:cubicBezTo>
                  <a:cubicBezTo>
                    <a:pt x="313" y="153"/>
                    <a:pt x="310" y="141"/>
                    <a:pt x="316" y="135"/>
                  </a:cubicBezTo>
                  <a:cubicBezTo>
                    <a:pt x="319" y="129"/>
                    <a:pt x="334" y="129"/>
                    <a:pt x="343" y="132"/>
                  </a:cubicBezTo>
                  <a:cubicBezTo>
                    <a:pt x="352" y="132"/>
                    <a:pt x="370" y="129"/>
                    <a:pt x="373" y="129"/>
                  </a:cubicBezTo>
                  <a:cubicBezTo>
                    <a:pt x="376" y="129"/>
                    <a:pt x="370" y="135"/>
                    <a:pt x="361" y="13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59" name="Freeform 954"/>
            <p:cNvSpPr>
              <a:spLocks noEditPoints="1"/>
            </p:cNvSpPr>
            <p:nvPr userDrawn="1"/>
          </p:nvSpPr>
          <p:spPr bwMode="auto">
            <a:xfrm>
              <a:off x="4292" y="-2237"/>
              <a:ext cx="717" cy="337"/>
            </a:xfrm>
            <a:custGeom>
              <a:avLst/>
              <a:gdLst>
                <a:gd name="T0" fmla="*/ 445 w 460"/>
                <a:gd name="T1" fmla="*/ 87 h 216"/>
                <a:gd name="T2" fmla="*/ 430 w 460"/>
                <a:gd name="T3" fmla="*/ 75 h 216"/>
                <a:gd name="T4" fmla="*/ 400 w 460"/>
                <a:gd name="T5" fmla="*/ 69 h 216"/>
                <a:gd name="T6" fmla="*/ 373 w 460"/>
                <a:gd name="T7" fmla="*/ 51 h 216"/>
                <a:gd name="T8" fmla="*/ 340 w 460"/>
                <a:gd name="T9" fmla="*/ 15 h 216"/>
                <a:gd name="T10" fmla="*/ 310 w 460"/>
                <a:gd name="T11" fmla="*/ 30 h 216"/>
                <a:gd name="T12" fmla="*/ 301 w 460"/>
                <a:gd name="T13" fmla="*/ 21 h 216"/>
                <a:gd name="T14" fmla="*/ 285 w 460"/>
                <a:gd name="T15" fmla="*/ 18 h 216"/>
                <a:gd name="T16" fmla="*/ 276 w 460"/>
                <a:gd name="T17" fmla="*/ 0 h 216"/>
                <a:gd name="T18" fmla="*/ 237 w 460"/>
                <a:gd name="T19" fmla="*/ 9 h 216"/>
                <a:gd name="T20" fmla="*/ 192 w 460"/>
                <a:gd name="T21" fmla="*/ 18 h 216"/>
                <a:gd name="T22" fmla="*/ 168 w 460"/>
                <a:gd name="T23" fmla="*/ 30 h 216"/>
                <a:gd name="T24" fmla="*/ 165 w 460"/>
                <a:gd name="T25" fmla="*/ 45 h 216"/>
                <a:gd name="T26" fmla="*/ 168 w 460"/>
                <a:gd name="T27" fmla="*/ 60 h 216"/>
                <a:gd name="T28" fmla="*/ 156 w 460"/>
                <a:gd name="T29" fmla="*/ 69 h 216"/>
                <a:gd name="T30" fmla="*/ 141 w 460"/>
                <a:gd name="T31" fmla="*/ 66 h 216"/>
                <a:gd name="T32" fmla="*/ 111 w 460"/>
                <a:gd name="T33" fmla="*/ 69 h 216"/>
                <a:gd name="T34" fmla="*/ 90 w 460"/>
                <a:gd name="T35" fmla="*/ 69 h 216"/>
                <a:gd name="T36" fmla="*/ 60 w 460"/>
                <a:gd name="T37" fmla="*/ 57 h 216"/>
                <a:gd name="T38" fmla="*/ 33 w 460"/>
                <a:gd name="T39" fmla="*/ 66 h 216"/>
                <a:gd name="T40" fmla="*/ 24 w 460"/>
                <a:gd name="T41" fmla="*/ 84 h 216"/>
                <a:gd name="T42" fmla="*/ 3 w 460"/>
                <a:gd name="T43" fmla="*/ 87 h 216"/>
                <a:gd name="T44" fmla="*/ 0 w 460"/>
                <a:gd name="T45" fmla="*/ 102 h 216"/>
                <a:gd name="T46" fmla="*/ 15 w 460"/>
                <a:gd name="T47" fmla="*/ 114 h 216"/>
                <a:gd name="T48" fmla="*/ 27 w 460"/>
                <a:gd name="T49" fmla="*/ 132 h 216"/>
                <a:gd name="T50" fmla="*/ 57 w 460"/>
                <a:gd name="T51" fmla="*/ 126 h 216"/>
                <a:gd name="T52" fmla="*/ 63 w 460"/>
                <a:gd name="T53" fmla="*/ 150 h 216"/>
                <a:gd name="T54" fmla="*/ 42 w 460"/>
                <a:gd name="T55" fmla="*/ 165 h 216"/>
                <a:gd name="T56" fmla="*/ 63 w 460"/>
                <a:gd name="T57" fmla="*/ 183 h 216"/>
                <a:gd name="T58" fmla="*/ 75 w 460"/>
                <a:gd name="T59" fmla="*/ 195 h 216"/>
                <a:gd name="T60" fmla="*/ 108 w 460"/>
                <a:gd name="T61" fmla="*/ 201 h 216"/>
                <a:gd name="T62" fmla="*/ 138 w 460"/>
                <a:gd name="T63" fmla="*/ 144 h 216"/>
                <a:gd name="T64" fmla="*/ 156 w 460"/>
                <a:gd name="T65" fmla="*/ 144 h 216"/>
                <a:gd name="T66" fmla="*/ 189 w 460"/>
                <a:gd name="T67" fmla="*/ 174 h 216"/>
                <a:gd name="T68" fmla="*/ 225 w 460"/>
                <a:gd name="T69" fmla="*/ 192 h 216"/>
                <a:gd name="T70" fmla="*/ 249 w 460"/>
                <a:gd name="T71" fmla="*/ 210 h 216"/>
                <a:gd name="T72" fmla="*/ 273 w 460"/>
                <a:gd name="T73" fmla="*/ 201 h 216"/>
                <a:gd name="T74" fmla="*/ 297 w 460"/>
                <a:gd name="T75" fmla="*/ 186 h 216"/>
                <a:gd name="T76" fmla="*/ 337 w 460"/>
                <a:gd name="T77" fmla="*/ 183 h 216"/>
                <a:gd name="T78" fmla="*/ 385 w 460"/>
                <a:gd name="T79" fmla="*/ 192 h 216"/>
                <a:gd name="T80" fmla="*/ 385 w 460"/>
                <a:gd name="T81" fmla="*/ 165 h 216"/>
                <a:gd name="T82" fmla="*/ 400 w 460"/>
                <a:gd name="T83" fmla="*/ 150 h 216"/>
                <a:gd name="T84" fmla="*/ 415 w 460"/>
                <a:gd name="T85" fmla="*/ 126 h 216"/>
                <a:gd name="T86" fmla="*/ 445 w 460"/>
                <a:gd name="T87" fmla="*/ 123 h 216"/>
                <a:gd name="T88" fmla="*/ 454 w 460"/>
                <a:gd name="T89" fmla="*/ 99 h 216"/>
                <a:gd name="T90" fmla="*/ 171 w 460"/>
                <a:gd name="T91" fmla="*/ 135 h 216"/>
                <a:gd name="T92" fmla="*/ 361 w 460"/>
                <a:gd name="T93" fmla="*/ 135 h 216"/>
                <a:gd name="T94" fmla="*/ 316 w 460"/>
                <a:gd name="T95" fmla="*/ 135 h 216"/>
                <a:gd name="T96" fmla="*/ 361 w 460"/>
                <a:gd name="T97" fmla="*/ 13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0" h="216">
                  <a:moveTo>
                    <a:pt x="457" y="87"/>
                  </a:moveTo>
                  <a:cubicBezTo>
                    <a:pt x="457" y="84"/>
                    <a:pt x="454" y="87"/>
                    <a:pt x="454" y="87"/>
                  </a:cubicBezTo>
                  <a:cubicBezTo>
                    <a:pt x="451" y="87"/>
                    <a:pt x="445" y="87"/>
                    <a:pt x="445" y="87"/>
                  </a:cubicBezTo>
                  <a:cubicBezTo>
                    <a:pt x="442" y="87"/>
                    <a:pt x="439" y="87"/>
                    <a:pt x="439" y="84"/>
                  </a:cubicBezTo>
                  <a:cubicBezTo>
                    <a:pt x="439" y="81"/>
                    <a:pt x="439" y="78"/>
                    <a:pt x="436" y="78"/>
                  </a:cubicBezTo>
                  <a:cubicBezTo>
                    <a:pt x="433" y="78"/>
                    <a:pt x="430" y="78"/>
                    <a:pt x="430" y="75"/>
                  </a:cubicBezTo>
                  <a:cubicBezTo>
                    <a:pt x="427" y="69"/>
                    <a:pt x="424" y="69"/>
                    <a:pt x="421" y="69"/>
                  </a:cubicBezTo>
                  <a:cubicBezTo>
                    <a:pt x="418" y="66"/>
                    <a:pt x="412" y="69"/>
                    <a:pt x="409" y="72"/>
                  </a:cubicBezTo>
                  <a:cubicBezTo>
                    <a:pt x="406" y="72"/>
                    <a:pt x="403" y="69"/>
                    <a:pt x="400" y="69"/>
                  </a:cubicBezTo>
                  <a:cubicBezTo>
                    <a:pt x="397" y="69"/>
                    <a:pt x="394" y="63"/>
                    <a:pt x="391" y="63"/>
                  </a:cubicBezTo>
                  <a:cubicBezTo>
                    <a:pt x="388" y="63"/>
                    <a:pt x="385" y="69"/>
                    <a:pt x="385" y="69"/>
                  </a:cubicBezTo>
                  <a:cubicBezTo>
                    <a:pt x="382" y="69"/>
                    <a:pt x="376" y="57"/>
                    <a:pt x="373" y="51"/>
                  </a:cubicBezTo>
                  <a:cubicBezTo>
                    <a:pt x="367" y="42"/>
                    <a:pt x="358" y="27"/>
                    <a:pt x="352" y="24"/>
                  </a:cubicBezTo>
                  <a:cubicBezTo>
                    <a:pt x="343" y="24"/>
                    <a:pt x="346" y="18"/>
                    <a:pt x="349" y="18"/>
                  </a:cubicBezTo>
                  <a:cubicBezTo>
                    <a:pt x="349" y="15"/>
                    <a:pt x="343" y="15"/>
                    <a:pt x="340" y="15"/>
                  </a:cubicBezTo>
                  <a:cubicBezTo>
                    <a:pt x="337" y="18"/>
                    <a:pt x="334" y="21"/>
                    <a:pt x="331" y="21"/>
                  </a:cubicBezTo>
                  <a:cubicBezTo>
                    <a:pt x="328" y="24"/>
                    <a:pt x="322" y="27"/>
                    <a:pt x="319" y="27"/>
                  </a:cubicBezTo>
                  <a:cubicBezTo>
                    <a:pt x="313" y="27"/>
                    <a:pt x="313" y="33"/>
                    <a:pt x="310" y="30"/>
                  </a:cubicBezTo>
                  <a:cubicBezTo>
                    <a:pt x="307" y="27"/>
                    <a:pt x="313" y="24"/>
                    <a:pt x="313" y="21"/>
                  </a:cubicBezTo>
                  <a:cubicBezTo>
                    <a:pt x="313" y="18"/>
                    <a:pt x="310" y="21"/>
                    <a:pt x="307" y="21"/>
                  </a:cubicBezTo>
                  <a:cubicBezTo>
                    <a:pt x="307" y="18"/>
                    <a:pt x="301" y="18"/>
                    <a:pt x="301" y="21"/>
                  </a:cubicBezTo>
                  <a:cubicBezTo>
                    <a:pt x="301" y="21"/>
                    <a:pt x="297" y="21"/>
                    <a:pt x="297" y="18"/>
                  </a:cubicBezTo>
                  <a:cubicBezTo>
                    <a:pt x="297" y="18"/>
                    <a:pt x="297" y="15"/>
                    <a:pt x="294" y="18"/>
                  </a:cubicBezTo>
                  <a:cubicBezTo>
                    <a:pt x="291" y="18"/>
                    <a:pt x="285" y="21"/>
                    <a:pt x="285" y="18"/>
                  </a:cubicBezTo>
                  <a:cubicBezTo>
                    <a:pt x="282" y="18"/>
                    <a:pt x="285" y="15"/>
                    <a:pt x="285" y="15"/>
                  </a:cubicBezTo>
                  <a:cubicBezTo>
                    <a:pt x="285" y="12"/>
                    <a:pt x="282" y="9"/>
                    <a:pt x="282" y="6"/>
                  </a:cubicBezTo>
                  <a:cubicBezTo>
                    <a:pt x="282" y="3"/>
                    <a:pt x="279" y="0"/>
                    <a:pt x="276" y="0"/>
                  </a:cubicBezTo>
                  <a:cubicBezTo>
                    <a:pt x="273" y="3"/>
                    <a:pt x="270" y="0"/>
                    <a:pt x="267" y="0"/>
                  </a:cubicBezTo>
                  <a:cubicBezTo>
                    <a:pt x="264" y="0"/>
                    <a:pt x="252" y="0"/>
                    <a:pt x="252" y="3"/>
                  </a:cubicBezTo>
                  <a:cubicBezTo>
                    <a:pt x="252" y="6"/>
                    <a:pt x="240" y="9"/>
                    <a:pt x="237" y="9"/>
                  </a:cubicBezTo>
                  <a:cubicBezTo>
                    <a:pt x="234" y="9"/>
                    <a:pt x="225" y="12"/>
                    <a:pt x="219" y="12"/>
                  </a:cubicBezTo>
                  <a:cubicBezTo>
                    <a:pt x="216" y="12"/>
                    <a:pt x="213" y="15"/>
                    <a:pt x="210" y="15"/>
                  </a:cubicBezTo>
                  <a:cubicBezTo>
                    <a:pt x="204" y="15"/>
                    <a:pt x="195" y="15"/>
                    <a:pt x="192" y="18"/>
                  </a:cubicBezTo>
                  <a:cubicBezTo>
                    <a:pt x="189" y="21"/>
                    <a:pt x="180" y="18"/>
                    <a:pt x="177" y="21"/>
                  </a:cubicBezTo>
                  <a:cubicBezTo>
                    <a:pt x="174" y="21"/>
                    <a:pt x="171" y="21"/>
                    <a:pt x="168" y="21"/>
                  </a:cubicBezTo>
                  <a:cubicBezTo>
                    <a:pt x="168" y="21"/>
                    <a:pt x="168" y="27"/>
                    <a:pt x="168" y="30"/>
                  </a:cubicBezTo>
                  <a:cubicBezTo>
                    <a:pt x="171" y="33"/>
                    <a:pt x="180" y="33"/>
                    <a:pt x="180" y="36"/>
                  </a:cubicBezTo>
                  <a:cubicBezTo>
                    <a:pt x="180" y="36"/>
                    <a:pt x="171" y="36"/>
                    <a:pt x="168" y="36"/>
                  </a:cubicBezTo>
                  <a:cubicBezTo>
                    <a:pt x="162" y="39"/>
                    <a:pt x="165" y="42"/>
                    <a:pt x="165" y="45"/>
                  </a:cubicBezTo>
                  <a:cubicBezTo>
                    <a:pt x="165" y="48"/>
                    <a:pt x="162" y="51"/>
                    <a:pt x="159" y="51"/>
                  </a:cubicBezTo>
                  <a:cubicBezTo>
                    <a:pt x="156" y="51"/>
                    <a:pt x="159" y="57"/>
                    <a:pt x="162" y="57"/>
                  </a:cubicBezTo>
                  <a:cubicBezTo>
                    <a:pt x="165" y="57"/>
                    <a:pt x="168" y="60"/>
                    <a:pt x="168" y="60"/>
                  </a:cubicBezTo>
                  <a:cubicBezTo>
                    <a:pt x="171" y="60"/>
                    <a:pt x="171" y="66"/>
                    <a:pt x="171" y="69"/>
                  </a:cubicBezTo>
                  <a:cubicBezTo>
                    <a:pt x="171" y="72"/>
                    <a:pt x="168" y="72"/>
                    <a:pt x="165" y="72"/>
                  </a:cubicBezTo>
                  <a:cubicBezTo>
                    <a:pt x="162" y="72"/>
                    <a:pt x="159" y="69"/>
                    <a:pt x="156" y="69"/>
                  </a:cubicBezTo>
                  <a:cubicBezTo>
                    <a:pt x="153" y="69"/>
                    <a:pt x="156" y="72"/>
                    <a:pt x="153" y="75"/>
                  </a:cubicBezTo>
                  <a:cubicBezTo>
                    <a:pt x="150" y="75"/>
                    <a:pt x="150" y="69"/>
                    <a:pt x="147" y="69"/>
                  </a:cubicBezTo>
                  <a:cubicBezTo>
                    <a:pt x="144" y="69"/>
                    <a:pt x="141" y="69"/>
                    <a:pt x="141" y="66"/>
                  </a:cubicBezTo>
                  <a:cubicBezTo>
                    <a:pt x="138" y="63"/>
                    <a:pt x="132" y="63"/>
                    <a:pt x="129" y="66"/>
                  </a:cubicBezTo>
                  <a:cubicBezTo>
                    <a:pt x="126" y="69"/>
                    <a:pt x="126" y="69"/>
                    <a:pt x="123" y="66"/>
                  </a:cubicBezTo>
                  <a:cubicBezTo>
                    <a:pt x="120" y="63"/>
                    <a:pt x="111" y="66"/>
                    <a:pt x="111" y="69"/>
                  </a:cubicBezTo>
                  <a:cubicBezTo>
                    <a:pt x="111" y="72"/>
                    <a:pt x="105" y="72"/>
                    <a:pt x="102" y="69"/>
                  </a:cubicBezTo>
                  <a:cubicBezTo>
                    <a:pt x="96" y="69"/>
                    <a:pt x="93" y="66"/>
                    <a:pt x="93" y="69"/>
                  </a:cubicBezTo>
                  <a:cubicBezTo>
                    <a:pt x="93" y="75"/>
                    <a:pt x="90" y="72"/>
                    <a:pt x="90" y="69"/>
                  </a:cubicBezTo>
                  <a:cubicBezTo>
                    <a:pt x="90" y="66"/>
                    <a:pt x="84" y="63"/>
                    <a:pt x="81" y="60"/>
                  </a:cubicBezTo>
                  <a:cubicBezTo>
                    <a:pt x="78" y="60"/>
                    <a:pt x="69" y="60"/>
                    <a:pt x="69" y="57"/>
                  </a:cubicBezTo>
                  <a:cubicBezTo>
                    <a:pt x="69" y="54"/>
                    <a:pt x="63" y="54"/>
                    <a:pt x="60" y="57"/>
                  </a:cubicBezTo>
                  <a:cubicBezTo>
                    <a:pt x="60" y="60"/>
                    <a:pt x="57" y="57"/>
                    <a:pt x="54" y="57"/>
                  </a:cubicBezTo>
                  <a:cubicBezTo>
                    <a:pt x="54" y="57"/>
                    <a:pt x="48" y="57"/>
                    <a:pt x="45" y="60"/>
                  </a:cubicBezTo>
                  <a:cubicBezTo>
                    <a:pt x="45" y="60"/>
                    <a:pt x="39" y="66"/>
                    <a:pt x="33" y="66"/>
                  </a:cubicBezTo>
                  <a:cubicBezTo>
                    <a:pt x="30" y="66"/>
                    <a:pt x="33" y="69"/>
                    <a:pt x="27" y="69"/>
                  </a:cubicBezTo>
                  <a:cubicBezTo>
                    <a:pt x="24" y="72"/>
                    <a:pt x="24" y="75"/>
                    <a:pt x="24" y="75"/>
                  </a:cubicBezTo>
                  <a:cubicBezTo>
                    <a:pt x="27" y="78"/>
                    <a:pt x="27" y="81"/>
                    <a:pt x="24" y="84"/>
                  </a:cubicBezTo>
                  <a:cubicBezTo>
                    <a:pt x="21" y="84"/>
                    <a:pt x="18" y="78"/>
                    <a:pt x="15" y="75"/>
                  </a:cubicBezTo>
                  <a:cubicBezTo>
                    <a:pt x="12" y="72"/>
                    <a:pt x="9" y="75"/>
                    <a:pt x="9" y="81"/>
                  </a:cubicBezTo>
                  <a:cubicBezTo>
                    <a:pt x="9" y="84"/>
                    <a:pt x="6" y="84"/>
                    <a:pt x="3" y="87"/>
                  </a:cubicBezTo>
                  <a:cubicBezTo>
                    <a:pt x="0" y="90"/>
                    <a:pt x="6" y="90"/>
                    <a:pt x="6" y="93"/>
                  </a:cubicBezTo>
                  <a:cubicBezTo>
                    <a:pt x="3" y="96"/>
                    <a:pt x="3" y="96"/>
                    <a:pt x="3" y="96"/>
                  </a:cubicBezTo>
                  <a:cubicBezTo>
                    <a:pt x="0" y="96"/>
                    <a:pt x="0" y="102"/>
                    <a:pt x="0" y="102"/>
                  </a:cubicBezTo>
                  <a:cubicBezTo>
                    <a:pt x="0" y="105"/>
                    <a:pt x="6" y="105"/>
                    <a:pt x="6" y="108"/>
                  </a:cubicBezTo>
                  <a:cubicBezTo>
                    <a:pt x="6" y="111"/>
                    <a:pt x="6" y="114"/>
                    <a:pt x="9" y="114"/>
                  </a:cubicBezTo>
                  <a:cubicBezTo>
                    <a:pt x="12" y="111"/>
                    <a:pt x="15" y="114"/>
                    <a:pt x="15" y="114"/>
                  </a:cubicBezTo>
                  <a:cubicBezTo>
                    <a:pt x="18" y="114"/>
                    <a:pt x="21" y="117"/>
                    <a:pt x="24" y="120"/>
                  </a:cubicBezTo>
                  <a:cubicBezTo>
                    <a:pt x="27" y="126"/>
                    <a:pt x="27" y="126"/>
                    <a:pt x="24" y="129"/>
                  </a:cubicBezTo>
                  <a:cubicBezTo>
                    <a:pt x="21" y="129"/>
                    <a:pt x="24" y="132"/>
                    <a:pt x="27" y="132"/>
                  </a:cubicBezTo>
                  <a:cubicBezTo>
                    <a:pt x="30" y="132"/>
                    <a:pt x="30" y="135"/>
                    <a:pt x="30" y="135"/>
                  </a:cubicBezTo>
                  <a:cubicBezTo>
                    <a:pt x="33" y="135"/>
                    <a:pt x="33" y="135"/>
                    <a:pt x="33" y="132"/>
                  </a:cubicBezTo>
                  <a:cubicBezTo>
                    <a:pt x="39" y="129"/>
                    <a:pt x="48" y="123"/>
                    <a:pt x="57" y="126"/>
                  </a:cubicBezTo>
                  <a:cubicBezTo>
                    <a:pt x="63" y="129"/>
                    <a:pt x="72" y="123"/>
                    <a:pt x="75" y="129"/>
                  </a:cubicBezTo>
                  <a:cubicBezTo>
                    <a:pt x="78" y="135"/>
                    <a:pt x="75" y="141"/>
                    <a:pt x="75" y="147"/>
                  </a:cubicBezTo>
                  <a:cubicBezTo>
                    <a:pt x="78" y="150"/>
                    <a:pt x="69" y="150"/>
                    <a:pt x="63" y="150"/>
                  </a:cubicBezTo>
                  <a:cubicBezTo>
                    <a:pt x="60" y="147"/>
                    <a:pt x="48" y="150"/>
                    <a:pt x="51" y="153"/>
                  </a:cubicBezTo>
                  <a:cubicBezTo>
                    <a:pt x="51" y="156"/>
                    <a:pt x="54" y="165"/>
                    <a:pt x="48" y="159"/>
                  </a:cubicBezTo>
                  <a:cubicBezTo>
                    <a:pt x="42" y="156"/>
                    <a:pt x="39" y="165"/>
                    <a:pt x="42" y="165"/>
                  </a:cubicBezTo>
                  <a:cubicBezTo>
                    <a:pt x="48" y="165"/>
                    <a:pt x="51" y="168"/>
                    <a:pt x="51" y="171"/>
                  </a:cubicBezTo>
                  <a:cubicBezTo>
                    <a:pt x="51" y="174"/>
                    <a:pt x="51" y="180"/>
                    <a:pt x="54" y="180"/>
                  </a:cubicBezTo>
                  <a:cubicBezTo>
                    <a:pt x="60" y="180"/>
                    <a:pt x="60" y="186"/>
                    <a:pt x="63" y="183"/>
                  </a:cubicBezTo>
                  <a:cubicBezTo>
                    <a:pt x="69" y="183"/>
                    <a:pt x="72" y="186"/>
                    <a:pt x="69" y="189"/>
                  </a:cubicBezTo>
                  <a:cubicBezTo>
                    <a:pt x="66" y="195"/>
                    <a:pt x="72" y="207"/>
                    <a:pt x="72" y="204"/>
                  </a:cubicBezTo>
                  <a:cubicBezTo>
                    <a:pt x="72" y="201"/>
                    <a:pt x="72" y="198"/>
                    <a:pt x="75" y="195"/>
                  </a:cubicBezTo>
                  <a:cubicBezTo>
                    <a:pt x="72" y="189"/>
                    <a:pt x="81" y="189"/>
                    <a:pt x="84" y="189"/>
                  </a:cubicBezTo>
                  <a:cubicBezTo>
                    <a:pt x="90" y="189"/>
                    <a:pt x="96" y="195"/>
                    <a:pt x="99" y="201"/>
                  </a:cubicBezTo>
                  <a:cubicBezTo>
                    <a:pt x="102" y="207"/>
                    <a:pt x="108" y="201"/>
                    <a:pt x="108" y="201"/>
                  </a:cubicBezTo>
                  <a:cubicBezTo>
                    <a:pt x="108" y="153"/>
                    <a:pt x="108" y="153"/>
                    <a:pt x="108" y="153"/>
                  </a:cubicBezTo>
                  <a:cubicBezTo>
                    <a:pt x="138" y="144"/>
                    <a:pt x="138" y="144"/>
                    <a:pt x="138" y="144"/>
                  </a:cubicBezTo>
                  <a:cubicBezTo>
                    <a:pt x="138" y="144"/>
                    <a:pt x="138" y="144"/>
                    <a:pt x="138" y="144"/>
                  </a:cubicBezTo>
                  <a:cubicBezTo>
                    <a:pt x="141" y="138"/>
                    <a:pt x="147" y="141"/>
                    <a:pt x="147" y="144"/>
                  </a:cubicBezTo>
                  <a:cubicBezTo>
                    <a:pt x="150" y="144"/>
                    <a:pt x="150" y="138"/>
                    <a:pt x="153" y="138"/>
                  </a:cubicBezTo>
                  <a:cubicBezTo>
                    <a:pt x="156" y="138"/>
                    <a:pt x="153" y="144"/>
                    <a:pt x="156" y="144"/>
                  </a:cubicBezTo>
                  <a:cubicBezTo>
                    <a:pt x="159" y="144"/>
                    <a:pt x="162" y="153"/>
                    <a:pt x="162" y="159"/>
                  </a:cubicBezTo>
                  <a:cubicBezTo>
                    <a:pt x="165" y="162"/>
                    <a:pt x="174" y="171"/>
                    <a:pt x="174" y="174"/>
                  </a:cubicBezTo>
                  <a:cubicBezTo>
                    <a:pt x="177" y="177"/>
                    <a:pt x="186" y="171"/>
                    <a:pt x="189" y="174"/>
                  </a:cubicBezTo>
                  <a:cubicBezTo>
                    <a:pt x="192" y="174"/>
                    <a:pt x="210" y="174"/>
                    <a:pt x="213" y="174"/>
                  </a:cubicBezTo>
                  <a:cubicBezTo>
                    <a:pt x="216" y="174"/>
                    <a:pt x="219" y="180"/>
                    <a:pt x="222" y="180"/>
                  </a:cubicBezTo>
                  <a:cubicBezTo>
                    <a:pt x="225" y="180"/>
                    <a:pt x="222" y="186"/>
                    <a:pt x="225" y="192"/>
                  </a:cubicBezTo>
                  <a:cubicBezTo>
                    <a:pt x="225" y="195"/>
                    <a:pt x="231" y="198"/>
                    <a:pt x="231" y="204"/>
                  </a:cubicBezTo>
                  <a:cubicBezTo>
                    <a:pt x="231" y="207"/>
                    <a:pt x="237" y="204"/>
                    <a:pt x="240" y="204"/>
                  </a:cubicBezTo>
                  <a:cubicBezTo>
                    <a:pt x="243" y="207"/>
                    <a:pt x="249" y="207"/>
                    <a:pt x="249" y="210"/>
                  </a:cubicBezTo>
                  <a:cubicBezTo>
                    <a:pt x="249" y="216"/>
                    <a:pt x="255" y="213"/>
                    <a:pt x="255" y="210"/>
                  </a:cubicBezTo>
                  <a:cubicBezTo>
                    <a:pt x="255" y="207"/>
                    <a:pt x="258" y="204"/>
                    <a:pt x="267" y="201"/>
                  </a:cubicBezTo>
                  <a:cubicBezTo>
                    <a:pt x="270" y="198"/>
                    <a:pt x="270" y="198"/>
                    <a:pt x="273" y="201"/>
                  </a:cubicBezTo>
                  <a:cubicBezTo>
                    <a:pt x="273" y="198"/>
                    <a:pt x="276" y="195"/>
                    <a:pt x="276" y="195"/>
                  </a:cubicBezTo>
                  <a:cubicBezTo>
                    <a:pt x="279" y="192"/>
                    <a:pt x="282" y="189"/>
                    <a:pt x="282" y="186"/>
                  </a:cubicBezTo>
                  <a:cubicBezTo>
                    <a:pt x="282" y="183"/>
                    <a:pt x="291" y="183"/>
                    <a:pt x="297" y="186"/>
                  </a:cubicBezTo>
                  <a:cubicBezTo>
                    <a:pt x="304" y="189"/>
                    <a:pt x="310" y="189"/>
                    <a:pt x="310" y="183"/>
                  </a:cubicBezTo>
                  <a:cubicBezTo>
                    <a:pt x="310" y="180"/>
                    <a:pt x="319" y="177"/>
                    <a:pt x="322" y="180"/>
                  </a:cubicBezTo>
                  <a:cubicBezTo>
                    <a:pt x="325" y="180"/>
                    <a:pt x="331" y="186"/>
                    <a:pt x="337" y="183"/>
                  </a:cubicBezTo>
                  <a:cubicBezTo>
                    <a:pt x="340" y="183"/>
                    <a:pt x="361" y="183"/>
                    <a:pt x="364" y="186"/>
                  </a:cubicBezTo>
                  <a:cubicBezTo>
                    <a:pt x="370" y="186"/>
                    <a:pt x="370" y="183"/>
                    <a:pt x="376" y="189"/>
                  </a:cubicBezTo>
                  <a:cubicBezTo>
                    <a:pt x="379" y="192"/>
                    <a:pt x="382" y="189"/>
                    <a:pt x="385" y="192"/>
                  </a:cubicBezTo>
                  <a:cubicBezTo>
                    <a:pt x="385" y="192"/>
                    <a:pt x="385" y="189"/>
                    <a:pt x="385" y="186"/>
                  </a:cubicBezTo>
                  <a:cubicBezTo>
                    <a:pt x="385" y="183"/>
                    <a:pt x="391" y="180"/>
                    <a:pt x="391" y="180"/>
                  </a:cubicBezTo>
                  <a:cubicBezTo>
                    <a:pt x="391" y="177"/>
                    <a:pt x="385" y="168"/>
                    <a:pt x="385" y="165"/>
                  </a:cubicBezTo>
                  <a:cubicBezTo>
                    <a:pt x="385" y="165"/>
                    <a:pt x="385" y="159"/>
                    <a:pt x="385" y="156"/>
                  </a:cubicBezTo>
                  <a:cubicBezTo>
                    <a:pt x="382" y="156"/>
                    <a:pt x="388" y="153"/>
                    <a:pt x="391" y="153"/>
                  </a:cubicBezTo>
                  <a:cubicBezTo>
                    <a:pt x="394" y="153"/>
                    <a:pt x="400" y="147"/>
                    <a:pt x="400" y="150"/>
                  </a:cubicBezTo>
                  <a:cubicBezTo>
                    <a:pt x="403" y="153"/>
                    <a:pt x="406" y="153"/>
                    <a:pt x="409" y="153"/>
                  </a:cubicBezTo>
                  <a:cubicBezTo>
                    <a:pt x="412" y="153"/>
                    <a:pt x="412" y="147"/>
                    <a:pt x="409" y="147"/>
                  </a:cubicBezTo>
                  <a:cubicBezTo>
                    <a:pt x="406" y="144"/>
                    <a:pt x="415" y="129"/>
                    <a:pt x="415" y="126"/>
                  </a:cubicBezTo>
                  <a:cubicBezTo>
                    <a:pt x="418" y="120"/>
                    <a:pt x="421" y="126"/>
                    <a:pt x="424" y="126"/>
                  </a:cubicBezTo>
                  <a:cubicBezTo>
                    <a:pt x="427" y="126"/>
                    <a:pt x="433" y="126"/>
                    <a:pt x="433" y="126"/>
                  </a:cubicBezTo>
                  <a:cubicBezTo>
                    <a:pt x="436" y="126"/>
                    <a:pt x="442" y="126"/>
                    <a:pt x="445" y="123"/>
                  </a:cubicBezTo>
                  <a:cubicBezTo>
                    <a:pt x="445" y="120"/>
                    <a:pt x="442" y="120"/>
                    <a:pt x="442" y="114"/>
                  </a:cubicBezTo>
                  <a:cubicBezTo>
                    <a:pt x="442" y="108"/>
                    <a:pt x="448" y="105"/>
                    <a:pt x="451" y="105"/>
                  </a:cubicBezTo>
                  <a:cubicBezTo>
                    <a:pt x="454" y="105"/>
                    <a:pt x="454" y="102"/>
                    <a:pt x="454" y="99"/>
                  </a:cubicBezTo>
                  <a:cubicBezTo>
                    <a:pt x="454" y="96"/>
                    <a:pt x="457" y="93"/>
                    <a:pt x="460" y="90"/>
                  </a:cubicBezTo>
                  <a:cubicBezTo>
                    <a:pt x="457" y="90"/>
                    <a:pt x="457" y="87"/>
                    <a:pt x="457" y="87"/>
                  </a:cubicBezTo>
                  <a:close/>
                  <a:moveTo>
                    <a:pt x="171" y="135"/>
                  </a:moveTo>
                  <a:cubicBezTo>
                    <a:pt x="168" y="138"/>
                    <a:pt x="156" y="135"/>
                    <a:pt x="156" y="132"/>
                  </a:cubicBezTo>
                  <a:cubicBezTo>
                    <a:pt x="153" y="129"/>
                    <a:pt x="174" y="132"/>
                    <a:pt x="171" y="135"/>
                  </a:cubicBezTo>
                  <a:close/>
                  <a:moveTo>
                    <a:pt x="361" y="135"/>
                  </a:moveTo>
                  <a:cubicBezTo>
                    <a:pt x="352" y="135"/>
                    <a:pt x="331" y="129"/>
                    <a:pt x="322" y="138"/>
                  </a:cubicBezTo>
                  <a:cubicBezTo>
                    <a:pt x="313" y="147"/>
                    <a:pt x="319" y="153"/>
                    <a:pt x="316" y="153"/>
                  </a:cubicBezTo>
                  <a:cubicBezTo>
                    <a:pt x="313" y="153"/>
                    <a:pt x="310" y="141"/>
                    <a:pt x="316" y="135"/>
                  </a:cubicBezTo>
                  <a:cubicBezTo>
                    <a:pt x="319" y="129"/>
                    <a:pt x="334" y="129"/>
                    <a:pt x="343" y="132"/>
                  </a:cubicBezTo>
                  <a:cubicBezTo>
                    <a:pt x="352" y="132"/>
                    <a:pt x="370" y="129"/>
                    <a:pt x="373" y="129"/>
                  </a:cubicBezTo>
                  <a:cubicBezTo>
                    <a:pt x="376" y="129"/>
                    <a:pt x="370" y="135"/>
                    <a:pt x="361" y="13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0" name="Freeform 955"/>
            <p:cNvSpPr>
              <a:spLocks noEditPoints="1"/>
            </p:cNvSpPr>
            <p:nvPr userDrawn="1"/>
          </p:nvSpPr>
          <p:spPr bwMode="auto">
            <a:xfrm>
              <a:off x="3821" y="-3070"/>
              <a:ext cx="2999" cy="1156"/>
            </a:xfrm>
            <a:custGeom>
              <a:avLst/>
              <a:gdLst>
                <a:gd name="T0" fmla="*/ 959 w 1924"/>
                <a:gd name="T1" fmla="*/ 78 h 741"/>
                <a:gd name="T2" fmla="*/ 896 w 1924"/>
                <a:gd name="T3" fmla="*/ 51 h 741"/>
                <a:gd name="T4" fmla="*/ 821 w 1924"/>
                <a:gd name="T5" fmla="*/ 30 h 741"/>
                <a:gd name="T6" fmla="*/ 1793 w 1924"/>
                <a:gd name="T7" fmla="*/ 255 h 741"/>
                <a:gd name="T8" fmla="*/ 1376 w 1924"/>
                <a:gd name="T9" fmla="*/ 153 h 741"/>
                <a:gd name="T10" fmla="*/ 1364 w 1924"/>
                <a:gd name="T11" fmla="*/ 183 h 741"/>
                <a:gd name="T12" fmla="*/ 1376 w 1924"/>
                <a:gd name="T13" fmla="*/ 600 h 741"/>
                <a:gd name="T14" fmla="*/ 1921 w 1924"/>
                <a:gd name="T15" fmla="*/ 348 h 741"/>
                <a:gd name="T16" fmla="*/ 1736 w 1924"/>
                <a:gd name="T17" fmla="*/ 276 h 741"/>
                <a:gd name="T18" fmla="*/ 1592 w 1924"/>
                <a:gd name="T19" fmla="*/ 282 h 741"/>
                <a:gd name="T20" fmla="*/ 1409 w 1924"/>
                <a:gd name="T21" fmla="*/ 234 h 741"/>
                <a:gd name="T22" fmla="*/ 1331 w 1924"/>
                <a:gd name="T23" fmla="*/ 240 h 741"/>
                <a:gd name="T24" fmla="*/ 1229 w 1924"/>
                <a:gd name="T25" fmla="*/ 222 h 741"/>
                <a:gd name="T26" fmla="*/ 1121 w 1924"/>
                <a:gd name="T27" fmla="*/ 207 h 741"/>
                <a:gd name="T28" fmla="*/ 962 w 1924"/>
                <a:gd name="T29" fmla="*/ 210 h 741"/>
                <a:gd name="T30" fmla="*/ 1040 w 1924"/>
                <a:gd name="T31" fmla="*/ 126 h 741"/>
                <a:gd name="T32" fmla="*/ 926 w 1924"/>
                <a:gd name="T33" fmla="*/ 102 h 741"/>
                <a:gd name="T34" fmla="*/ 824 w 1924"/>
                <a:gd name="T35" fmla="*/ 141 h 741"/>
                <a:gd name="T36" fmla="*/ 761 w 1924"/>
                <a:gd name="T37" fmla="*/ 180 h 741"/>
                <a:gd name="T38" fmla="*/ 662 w 1924"/>
                <a:gd name="T39" fmla="*/ 219 h 741"/>
                <a:gd name="T40" fmla="*/ 626 w 1924"/>
                <a:gd name="T41" fmla="*/ 228 h 741"/>
                <a:gd name="T42" fmla="*/ 650 w 1924"/>
                <a:gd name="T43" fmla="*/ 297 h 741"/>
                <a:gd name="T44" fmla="*/ 590 w 1924"/>
                <a:gd name="T45" fmla="*/ 333 h 741"/>
                <a:gd name="T46" fmla="*/ 593 w 1924"/>
                <a:gd name="T47" fmla="*/ 210 h 741"/>
                <a:gd name="T48" fmla="*/ 524 w 1924"/>
                <a:gd name="T49" fmla="*/ 288 h 741"/>
                <a:gd name="T50" fmla="*/ 429 w 1924"/>
                <a:gd name="T51" fmla="*/ 300 h 741"/>
                <a:gd name="T52" fmla="*/ 291 w 1924"/>
                <a:gd name="T53" fmla="*/ 324 h 741"/>
                <a:gd name="T54" fmla="*/ 258 w 1924"/>
                <a:gd name="T55" fmla="*/ 339 h 741"/>
                <a:gd name="T56" fmla="*/ 177 w 1924"/>
                <a:gd name="T57" fmla="*/ 378 h 741"/>
                <a:gd name="T58" fmla="*/ 237 w 1924"/>
                <a:gd name="T59" fmla="*/ 312 h 741"/>
                <a:gd name="T60" fmla="*/ 114 w 1924"/>
                <a:gd name="T61" fmla="*/ 282 h 741"/>
                <a:gd name="T62" fmla="*/ 123 w 1924"/>
                <a:gd name="T63" fmla="*/ 381 h 741"/>
                <a:gd name="T64" fmla="*/ 87 w 1924"/>
                <a:gd name="T65" fmla="*/ 483 h 741"/>
                <a:gd name="T66" fmla="*/ 147 w 1924"/>
                <a:gd name="T67" fmla="*/ 561 h 741"/>
                <a:gd name="T68" fmla="*/ 198 w 1924"/>
                <a:gd name="T69" fmla="*/ 609 h 741"/>
                <a:gd name="T70" fmla="*/ 210 w 1924"/>
                <a:gd name="T71" fmla="*/ 669 h 741"/>
                <a:gd name="T72" fmla="*/ 306 w 1924"/>
                <a:gd name="T73" fmla="*/ 732 h 741"/>
                <a:gd name="T74" fmla="*/ 306 w 1924"/>
                <a:gd name="T75" fmla="*/ 630 h 741"/>
                <a:gd name="T76" fmla="*/ 396 w 1924"/>
                <a:gd name="T77" fmla="*/ 603 h 741"/>
                <a:gd name="T78" fmla="*/ 471 w 1924"/>
                <a:gd name="T79" fmla="*/ 570 h 741"/>
                <a:gd name="T80" fmla="*/ 596 w 1924"/>
                <a:gd name="T81" fmla="*/ 552 h 741"/>
                <a:gd name="T82" fmla="*/ 710 w 1924"/>
                <a:gd name="T83" fmla="*/ 606 h 741"/>
                <a:gd name="T84" fmla="*/ 818 w 1924"/>
                <a:gd name="T85" fmla="*/ 606 h 741"/>
                <a:gd name="T86" fmla="*/ 920 w 1924"/>
                <a:gd name="T87" fmla="*/ 597 h 741"/>
                <a:gd name="T88" fmla="*/ 1067 w 1924"/>
                <a:gd name="T89" fmla="*/ 615 h 741"/>
                <a:gd name="T90" fmla="*/ 1190 w 1924"/>
                <a:gd name="T91" fmla="*/ 579 h 741"/>
                <a:gd name="T92" fmla="*/ 1274 w 1924"/>
                <a:gd name="T93" fmla="*/ 678 h 741"/>
                <a:gd name="T94" fmla="*/ 1358 w 1924"/>
                <a:gd name="T95" fmla="*/ 597 h 741"/>
                <a:gd name="T96" fmla="*/ 1313 w 1924"/>
                <a:gd name="T97" fmla="*/ 546 h 741"/>
                <a:gd name="T98" fmla="*/ 1469 w 1924"/>
                <a:gd name="T99" fmla="*/ 465 h 741"/>
                <a:gd name="T100" fmla="*/ 1574 w 1924"/>
                <a:gd name="T101" fmla="*/ 429 h 741"/>
                <a:gd name="T102" fmla="*/ 1592 w 1924"/>
                <a:gd name="T103" fmla="*/ 462 h 741"/>
                <a:gd name="T104" fmla="*/ 1586 w 1924"/>
                <a:gd name="T105" fmla="*/ 549 h 741"/>
                <a:gd name="T106" fmla="*/ 1649 w 1924"/>
                <a:gd name="T107" fmla="*/ 459 h 741"/>
                <a:gd name="T108" fmla="*/ 1784 w 1924"/>
                <a:gd name="T109" fmla="*/ 384 h 741"/>
                <a:gd name="T110" fmla="*/ 1838 w 1924"/>
                <a:gd name="T111" fmla="*/ 360 h 741"/>
                <a:gd name="T112" fmla="*/ 1915 w 1924"/>
                <a:gd name="T113" fmla="*/ 360 h 741"/>
                <a:gd name="T114" fmla="*/ 324 w 1924"/>
                <a:gd name="T115" fmla="*/ 30 h 741"/>
                <a:gd name="T116" fmla="*/ 387 w 1924"/>
                <a:gd name="T117" fmla="*/ 249 h 741"/>
                <a:gd name="T118" fmla="*/ 485 w 1924"/>
                <a:gd name="T119" fmla="*/ 135 h 741"/>
                <a:gd name="T120" fmla="*/ 414 w 1924"/>
                <a:gd name="T121" fmla="*/ 39 h 741"/>
                <a:gd name="T122" fmla="*/ 387 w 1924"/>
                <a:gd name="T123" fmla="*/ 3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4" h="741">
                  <a:moveTo>
                    <a:pt x="30" y="534"/>
                  </a:moveTo>
                  <a:cubicBezTo>
                    <a:pt x="27" y="537"/>
                    <a:pt x="24" y="534"/>
                    <a:pt x="24" y="534"/>
                  </a:cubicBezTo>
                  <a:cubicBezTo>
                    <a:pt x="21" y="531"/>
                    <a:pt x="18" y="531"/>
                    <a:pt x="15" y="531"/>
                  </a:cubicBezTo>
                  <a:cubicBezTo>
                    <a:pt x="15" y="534"/>
                    <a:pt x="18" y="534"/>
                    <a:pt x="18" y="534"/>
                  </a:cubicBezTo>
                  <a:cubicBezTo>
                    <a:pt x="18" y="537"/>
                    <a:pt x="12" y="537"/>
                    <a:pt x="15" y="540"/>
                  </a:cubicBezTo>
                  <a:cubicBezTo>
                    <a:pt x="15" y="543"/>
                    <a:pt x="9" y="543"/>
                    <a:pt x="9" y="540"/>
                  </a:cubicBezTo>
                  <a:cubicBezTo>
                    <a:pt x="9" y="537"/>
                    <a:pt x="0" y="537"/>
                    <a:pt x="0" y="540"/>
                  </a:cubicBezTo>
                  <a:cubicBezTo>
                    <a:pt x="0" y="543"/>
                    <a:pt x="0" y="543"/>
                    <a:pt x="0" y="543"/>
                  </a:cubicBezTo>
                  <a:cubicBezTo>
                    <a:pt x="3" y="543"/>
                    <a:pt x="6" y="546"/>
                    <a:pt x="6" y="546"/>
                  </a:cubicBezTo>
                  <a:cubicBezTo>
                    <a:pt x="6" y="546"/>
                    <a:pt x="27" y="549"/>
                    <a:pt x="36" y="546"/>
                  </a:cubicBezTo>
                  <a:cubicBezTo>
                    <a:pt x="36" y="540"/>
                    <a:pt x="36" y="540"/>
                    <a:pt x="36" y="540"/>
                  </a:cubicBezTo>
                  <a:cubicBezTo>
                    <a:pt x="36" y="537"/>
                    <a:pt x="30" y="534"/>
                    <a:pt x="30" y="534"/>
                  </a:cubicBezTo>
                  <a:close/>
                  <a:moveTo>
                    <a:pt x="890" y="93"/>
                  </a:moveTo>
                  <a:cubicBezTo>
                    <a:pt x="896" y="96"/>
                    <a:pt x="911" y="90"/>
                    <a:pt x="920" y="90"/>
                  </a:cubicBezTo>
                  <a:cubicBezTo>
                    <a:pt x="929" y="90"/>
                    <a:pt x="959" y="84"/>
                    <a:pt x="959" y="78"/>
                  </a:cubicBezTo>
                  <a:cubicBezTo>
                    <a:pt x="959" y="72"/>
                    <a:pt x="950" y="72"/>
                    <a:pt x="944" y="69"/>
                  </a:cubicBezTo>
                  <a:cubicBezTo>
                    <a:pt x="941" y="63"/>
                    <a:pt x="932" y="66"/>
                    <a:pt x="929" y="72"/>
                  </a:cubicBezTo>
                  <a:cubicBezTo>
                    <a:pt x="926" y="75"/>
                    <a:pt x="923" y="72"/>
                    <a:pt x="929" y="66"/>
                  </a:cubicBezTo>
                  <a:cubicBezTo>
                    <a:pt x="935" y="60"/>
                    <a:pt x="923" y="54"/>
                    <a:pt x="923" y="57"/>
                  </a:cubicBezTo>
                  <a:cubicBezTo>
                    <a:pt x="923" y="63"/>
                    <a:pt x="911" y="57"/>
                    <a:pt x="911" y="63"/>
                  </a:cubicBezTo>
                  <a:cubicBezTo>
                    <a:pt x="911" y="66"/>
                    <a:pt x="908" y="66"/>
                    <a:pt x="908" y="72"/>
                  </a:cubicBezTo>
                  <a:cubicBezTo>
                    <a:pt x="908" y="75"/>
                    <a:pt x="899" y="69"/>
                    <a:pt x="899" y="78"/>
                  </a:cubicBezTo>
                  <a:cubicBezTo>
                    <a:pt x="899" y="87"/>
                    <a:pt x="887" y="90"/>
                    <a:pt x="890" y="93"/>
                  </a:cubicBezTo>
                  <a:close/>
                  <a:moveTo>
                    <a:pt x="839" y="45"/>
                  </a:moveTo>
                  <a:cubicBezTo>
                    <a:pt x="839" y="51"/>
                    <a:pt x="827" y="54"/>
                    <a:pt x="830" y="57"/>
                  </a:cubicBezTo>
                  <a:cubicBezTo>
                    <a:pt x="833" y="60"/>
                    <a:pt x="836" y="57"/>
                    <a:pt x="839" y="60"/>
                  </a:cubicBezTo>
                  <a:cubicBezTo>
                    <a:pt x="842" y="60"/>
                    <a:pt x="845" y="69"/>
                    <a:pt x="851" y="66"/>
                  </a:cubicBezTo>
                  <a:cubicBezTo>
                    <a:pt x="857" y="66"/>
                    <a:pt x="872" y="72"/>
                    <a:pt x="884" y="72"/>
                  </a:cubicBezTo>
                  <a:cubicBezTo>
                    <a:pt x="893" y="72"/>
                    <a:pt x="893" y="66"/>
                    <a:pt x="890" y="66"/>
                  </a:cubicBezTo>
                  <a:cubicBezTo>
                    <a:pt x="887" y="63"/>
                    <a:pt x="890" y="60"/>
                    <a:pt x="896" y="51"/>
                  </a:cubicBezTo>
                  <a:cubicBezTo>
                    <a:pt x="902" y="45"/>
                    <a:pt x="878" y="39"/>
                    <a:pt x="878" y="45"/>
                  </a:cubicBezTo>
                  <a:cubicBezTo>
                    <a:pt x="878" y="51"/>
                    <a:pt x="872" y="42"/>
                    <a:pt x="869" y="39"/>
                  </a:cubicBezTo>
                  <a:cubicBezTo>
                    <a:pt x="869" y="36"/>
                    <a:pt x="839" y="42"/>
                    <a:pt x="839" y="45"/>
                  </a:cubicBezTo>
                  <a:close/>
                  <a:moveTo>
                    <a:pt x="821" y="36"/>
                  </a:moveTo>
                  <a:cubicBezTo>
                    <a:pt x="827" y="39"/>
                    <a:pt x="824" y="42"/>
                    <a:pt x="818" y="42"/>
                  </a:cubicBezTo>
                  <a:cubicBezTo>
                    <a:pt x="812" y="42"/>
                    <a:pt x="806" y="42"/>
                    <a:pt x="812" y="45"/>
                  </a:cubicBezTo>
                  <a:cubicBezTo>
                    <a:pt x="815" y="48"/>
                    <a:pt x="815" y="51"/>
                    <a:pt x="821" y="51"/>
                  </a:cubicBezTo>
                  <a:cubicBezTo>
                    <a:pt x="827" y="54"/>
                    <a:pt x="836" y="48"/>
                    <a:pt x="833" y="45"/>
                  </a:cubicBezTo>
                  <a:cubicBezTo>
                    <a:pt x="833" y="39"/>
                    <a:pt x="857" y="36"/>
                    <a:pt x="866" y="36"/>
                  </a:cubicBezTo>
                  <a:cubicBezTo>
                    <a:pt x="872" y="33"/>
                    <a:pt x="860" y="27"/>
                    <a:pt x="869" y="24"/>
                  </a:cubicBezTo>
                  <a:cubicBezTo>
                    <a:pt x="875" y="24"/>
                    <a:pt x="872" y="21"/>
                    <a:pt x="863" y="21"/>
                  </a:cubicBezTo>
                  <a:cubicBezTo>
                    <a:pt x="854" y="18"/>
                    <a:pt x="857" y="12"/>
                    <a:pt x="854" y="9"/>
                  </a:cubicBezTo>
                  <a:cubicBezTo>
                    <a:pt x="851" y="6"/>
                    <a:pt x="851" y="12"/>
                    <a:pt x="839" y="15"/>
                  </a:cubicBezTo>
                  <a:cubicBezTo>
                    <a:pt x="827" y="15"/>
                    <a:pt x="821" y="18"/>
                    <a:pt x="827" y="21"/>
                  </a:cubicBezTo>
                  <a:cubicBezTo>
                    <a:pt x="830" y="24"/>
                    <a:pt x="827" y="30"/>
                    <a:pt x="821" y="30"/>
                  </a:cubicBezTo>
                  <a:cubicBezTo>
                    <a:pt x="815" y="30"/>
                    <a:pt x="815" y="33"/>
                    <a:pt x="821" y="36"/>
                  </a:cubicBezTo>
                  <a:close/>
                  <a:moveTo>
                    <a:pt x="671" y="213"/>
                  </a:moveTo>
                  <a:cubicBezTo>
                    <a:pt x="677" y="216"/>
                    <a:pt x="683" y="213"/>
                    <a:pt x="680" y="210"/>
                  </a:cubicBezTo>
                  <a:cubicBezTo>
                    <a:pt x="680" y="204"/>
                    <a:pt x="668" y="210"/>
                    <a:pt x="671" y="213"/>
                  </a:cubicBezTo>
                  <a:close/>
                  <a:moveTo>
                    <a:pt x="812" y="12"/>
                  </a:moveTo>
                  <a:cubicBezTo>
                    <a:pt x="815" y="9"/>
                    <a:pt x="791" y="9"/>
                    <a:pt x="797" y="15"/>
                  </a:cubicBezTo>
                  <a:cubicBezTo>
                    <a:pt x="800" y="18"/>
                    <a:pt x="812" y="18"/>
                    <a:pt x="812" y="12"/>
                  </a:cubicBezTo>
                  <a:close/>
                  <a:moveTo>
                    <a:pt x="1421" y="162"/>
                  </a:moveTo>
                  <a:cubicBezTo>
                    <a:pt x="1430" y="162"/>
                    <a:pt x="1433" y="171"/>
                    <a:pt x="1448" y="171"/>
                  </a:cubicBezTo>
                  <a:cubicBezTo>
                    <a:pt x="1463" y="171"/>
                    <a:pt x="1475" y="168"/>
                    <a:pt x="1475" y="165"/>
                  </a:cubicBezTo>
                  <a:cubicBezTo>
                    <a:pt x="1475" y="162"/>
                    <a:pt x="1463" y="156"/>
                    <a:pt x="1457" y="159"/>
                  </a:cubicBezTo>
                  <a:cubicBezTo>
                    <a:pt x="1454" y="162"/>
                    <a:pt x="1451" y="156"/>
                    <a:pt x="1445" y="156"/>
                  </a:cubicBezTo>
                  <a:cubicBezTo>
                    <a:pt x="1439" y="159"/>
                    <a:pt x="1433" y="159"/>
                    <a:pt x="1430" y="153"/>
                  </a:cubicBezTo>
                  <a:cubicBezTo>
                    <a:pt x="1427" y="150"/>
                    <a:pt x="1418" y="162"/>
                    <a:pt x="1421" y="162"/>
                  </a:cubicBezTo>
                  <a:close/>
                  <a:moveTo>
                    <a:pt x="1793" y="255"/>
                  </a:moveTo>
                  <a:cubicBezTo>
                    <a:pt x="1799" y="258"/>
                    <a:pt x="1805" y="252"/>
                    <a:pt x="1811" y="255"/>
                  </a:cubicBezTo>
                  <a:cubicBezTo>
                    <a:pt x="1814" y="258"/>
                    <a:pt x="1829" y="252"/>
                    <a:pt x="1832" y="252"/>
                  </a:cubicBezTo>
                  <a:cubicBezTo>
                    <a:pt x="1838" y="252"/>
                    <a:pt x="1835" y="243"/>
                    <a:pt x="1820" y="243"/>
                  </a:cubicBezTo>
                  <a:cubicBezTo>
                    <a:pt x="1805" y="240"/>
                    <a:pt x="1787" y="252"/>
                    <a:pt x="1793" y="255"/>
                  </a:cubicBezTo>
                  <a:close/>
                  <a:moveTo>
                    <a:pt x="512" y="21"/>
                  </a:moveTo>
                  <a:cubicBezTo>
                    <a:pt x="524" y="21"/>
                    <a:pt x="524" y="15"/>
                    <a:pt x="515" y="12"/>
                  </a:cubicBezTo>
                  <a:cubicBezTo>
                    <a:pt x="509" y="12"/>
                    <a:pt x="509" y="15"/>
                    <a:pt x="506" y="15"/>
                  </a:cubicBezTo>
                  <a:cubicBezTo>
                    <a:pt x="503" y="15"/>
                    <a:pt x="488" y="18"/>
                    <a:pt x="491" y="21"/>
                  </a:cubicBezTo>
                  <a:cubicBezTo>
                    <a:pt x="494" y="24"/>
                    <a:pt x="503" y="24"/>
                    <a:pt x="512" y="21"/>
                  </a:cubicBezTo>
                  <a:close/>
                  <a:moveTo>
                    <a:pt x="1322" y="162"/>
                  </a:moveTo>
                  <a:cubicBezTo>
                    <a:pt x="1325" y="165"/>
                    <a:pt x="1328" y="168"/>
                    <a:pt x="1331" y="168"/>
                  </a:cubicBezTo>
                  <a:cubicBezTo>
                    <a:pt x="1331" y="171"/>
                    <a:pt x="1343" y="168"/>
                    <a:pt x="1346" y="168"/>
                  </a:cubicBezTo>
                  <a:cubicBezTo>
                    <a:pt x="1349" y="165"/>
                    <a:pt x="1352" y="174"/>
                    <a:pt x="1358" y="168"/>
                  </a:cubicBezTo>
                  <a:cubicBezTo>
                    <a:pt x="1364" y="165"/>
                    <a:pt x="1370" y="168"/>
                    <a:pt x="1376" y="168"/>
                  </a:cubicBezTo>
                  <a:cubicBezTo>
                    <a:pt x="1385" y="168"/>
                    <a:pt x="1376" y="159"/>
                    <a:pt x="1376" y="153"/>
                  </a:cubicBezTo>
                  <a:cubicBezTo>
                    <a:pt x="1376" y="150"/>
                    <a:pt x="1385" y="153"/>
                    <a:pt x="1382" y="156"/>
                  </a:cubicBezTo>
                  <a:cubicBezTo>
                    <a:pt x="1379" y="159"/>
                    <a:pt x="1385" y="168"/>
                    <a:pt x="1397" y="165"/>
                  </a:cubicBezTo>
                  <a:cubicBezTo>
                    <a:pt x="1406" y="165"/>
                    <a:pt x="1400" y="159"/>
                    <a:pt x="1406" y="156"/>
                  </a:cubicBezTo>
                  <a:cubicBezTo>
                    <a:pt x="1409" y="153"/>
                    <a:pt x="1409" y="150"/>
                    <a:pt x="1403" y="147"/>
                  </a:cubicBezTo>
                  <a:cubicBezTo>
                    <a:pt x="1394" y="141"/>
                    <a:pt x="1385" y="144"/>
                    <a:pt x="1376" y="141"/>
                  </a:cubicBezTo>
                  <a:cubicBezTo>
                    <a:pt x="1370" y="138"/>
                    <a:pt x="1361" y="138"/>
                    <a:pt x="1361" y="147"/>
                  </a:cubicBezTo>
                  <a:cubicBezTo>
                    <a:pt x="1361" y="153"/>
                    <a:pt x="1346" y="138"/>
                    <a:pt x="1340" y="135"/>
                  </a:cubicBezTo>
                  <a:cubicBezTo>
                    <a:pt x="1331" y="132"/>
                    <a:pt x="1310" y="156"/>
                    <a:pt x="1322" y="162"/>
                  </a:cubicBezTo>
                  <a:close/>
                  <a:moveTo>
                    <a:pt x="1391" y="204"/>
                  </a:moveTo>
                  <a:cubicBezTo>
                    <a:pt x="1397" y="204"/>
                    <a:pt x="1385" y="192"/>
                    <a:pt x="1376" y="192"/>
                  </a:cubicBezTo>
                  <a:cubicBezTo>
                    <a:pt x="1364" y="189"/>
                    <a:pt x="1355" y="198"/>
                    <a:pt x="1358" y="198"/>
                  </a:cubicBezTo>
                  <a:cubicBezTo>
                    <a:pt x="1361" y="204"/>
                    <a:pt x="1385" y="207"/>
                    <a:pt x="1391" y="204"/>
                  </a:cubicBezTo>
                  <a:close/>
                  <a:moveTo>
                    <a:pt x="1364" y="183"/>
                  </a:moveTo>
                  <a:cubicBezTo>
                    <a:pt x="1364" y="177"/>
                    <a:pt x="1346" y="183"/>
                    <a:pt x="1352" y="186"/>
                  </a:cubicBezTo>
                  <a:cubicBezTo>
                    <a:pt x="1358" y="189"/>
                    <a:pt x="1364" y="189"/>
                    <a:pt x="1364" y="183"/>
                  </a:cubicBezTo>
                  <a:close/>
                  <a:moveTo>
                    <a:pt x="575" y="207"/>
                  </a:moveTo>
                  <a:cubicBezTo>
                    <a:pt x="578" y="207"/>
                    <a:pt x="590" y="207"/>
                    <a:pt x="593" y="204"/>
                  </a:cubicBezTo>
                  <a:cubicBezTo>
                    <a:pt x="593" y="201"/>
                    <a:pt x="587" y="198"/>
                    <a:pt x="581" y="198"/>
                  </a:cubicBezTo>
                  <a:cubicBezTo>
                    <a:pt x="572" y="198"/>
                    <a:pt x="572" y="207"/>
                    <a:pt x="575" y="207"/>
                  </a:cubicBezTo>
                  <a:close/>
                  <a:moveTo>
                    <a:pt x="309" y="27"/>
                  </a:moveTo>
                  <a:cubicBezTo>
                    <a:pt x="318" y="18"/>
                    <a:pt x="327" y="27"/>
                    <a:pt x="327" y="24"/>
                  </a:cubicBezTo>
                  <a:cubicBezTo>
                    <a:pt x="330" y="18"/>
                    <a:pt x="315" y="18"/>
                    <a:pt x="309" y="21"/>
                  </a:cubicBezTo>
                  <a:cubicBezTo>
                    <a:pt x="303" y="24"/>
                    <a:pt x="288" y="21"/>
                    <a:pt x="291" y="27"/>
                  </a:cubicBezTo>
                  <a:cubicBezTo>
                    <a:pt x="291" y="27"/>
                    <a:pt x="300" y="33"/>
                    <a:pt x="309" y="27"/>
                  </a:cubicBezTo>
                  <a:close/>
                  <a:moveTo>
                    <a:pt x="1388" y="591"/>
                  </a:moveTo>
                  <a:cubicBezTo>
                    <a:pt x="1385" y="579"/>
                    <a:pt x="1394" y="570"/>
                    <a:pt x="1385" y="567"/>
                  </a:cubicBezTo>
                  <a:cubicBezTo>
                    <a:pt x="1379" y="561"/>
                    <a:pt x="1382" y="549"/>
                    <a:pt x="1379" y="552"/>
                  </a:cubicBezTo>
                  <a:cubicBezTo>
                    <a:pt x="1376" y="555"/>
                    <a:pt x="1379" y="564"/>
                    <a:pt x="1373" y="564"/>
                  </a:cubicBezTo>
                  <a:cubicBezTo>
                    <a:pt x="1367" y="564"/>
                    <a:pt x="1373" y="570"/>
                    <a:pt x="1370" y="576"/>
                  </a:cubicBezTo>
                  <a:cubicBezTo>
                    <a:pt x="1370" y="582"/>
                    <a:pt x="1373" y="594"/>
                    <a:pt x="1376" y="600"/>
                  </a:cubicBezTo>
                  <a:cubicBezTo>
                    <a:pt x="1379" y="606"/>
                    <a:pt x="1370" y="636"/>
                    <a:pt x="1373" y="642"/>
                  </a:cubicBezTo>
                  <a:cubicBezTo>
                    <a:pt x="1376" y="648"/>
                    <a:pt x="1370" y="672"/>
                    <a:pt x="1373" y="675"/>
                  </a:cubicBezTo>
                  <a:cubicBezTo>
                    <a:pt x="1376" y="678"/>
                    <a:pt x="1373" y="666"/>
                    <a:pt x="1379" y="666"/>
                  </a:cubicBezTo>
                  <a:cubicBezTo>
                    <a:pt x="1385" y="666"/>
                    <a:pt x="1385" y="672"/>
                    <a:pt x="1388" y="675"/>
                  </a:cubicBezTo>
                  <a:cubicBezTo>
                    <a:pt x="1394" y="675"/>
                    <a:pt x="1391" y="663"/>
                    <a:pt x="1388" y="666"/>
                  </a:cubicBezTo>
                  <a:cubicBezTo>
                    <a:pt x="1385" y="666"/>
                    <a:pt x="1382" y="657"/>
                    <a:pt x="1379" y="651"/>
                  </a:cubicBezTo>
                  <a:cubicBezTo>
                    <a:pt x="1379" y="645"/>
                    <a:pt x="1382" y="639"/>
                    <a:pt x="1382" y="633"/>
                  </a:cubicBezTo>
                  <a:cubicBezTo>
                    <a:pt x="1382" y="627"/>
                    <a:pt x="1391" y="627"/>
                    <a:pt x="1397" y="633"/>
                  </a:cubicBezTo>
                  <a:cubicBezTo>
                    <a:pt x="1400" y="636"/>
                    <a:pt x="1403" y="633"/>
                    <a:pt x="1400" y="630"/>
                  </a:cubicBezTo>
                  <a:cubicBezTo>
                    <a:pt x="1397" y="627"/>
                    <a:pt x="1391" y="600"/>
                    <a:pt x="1388" y="591"/>
                  </a:cubicBezTo>
                  <a:close/>
                  <a:moveTo>
                    <a:pt x="327" y="294"/>
                  </a:moveTo>
                  <a:cubicBezTo>
                    <a:pt x="336" y="300"/>
                    <a:pt x="342" y="288"/>
                    <a:pt x="348" y="288"/>
                  </a:cubicBezTo>
                  <a:cubicBezTo>
                    <a:pt x="351" y="288"/>
                    <a:pt x="345" y="282"/>
                    <a:pt x="336" y="282"/>
                  </a:cubicBezTo>
                  <a:cubicBezTo>
                    <a:pt x="330" y="279"/>
                    <a:pt x="318" y="285"/>
                    <a:pt x="327" y="294"/>
                  </a:cubicBezTo>
                  <a:close/>
                  <a:moveTo>
                    <a:pt x="1921" y="348"/>
                  </a:moveTo>
                  <a:cubicBezTo>
                    <a:pt x="1918" y="348"/>
                    <a:pt x="1906" y="342"/>
                    <a:pt x="1903" y="339"/>
                  </a:cubicBezTo>
                  <a:cubicBezTo>
                    <a:pt x="1903" y="333"/>
                    <a:pt x="1888" y="333"/>
                    <a:pt x="1888" y="333"/>
                  </a:cubicBezTo>
                  <a:cubicBezTo>
                    <a:pt x="1888" y="336"/>
                    <a:pt x="1885" y="333"/>
                    <a:pt x="1885" y="330"/>
                  </a:cubicBezTo>
                  <a:cubicBezTo>
                    <a:pt x="1882" y="330"/>
                    <a:pt x="1870" y="330"/>
                    <a:pt x="1870" y="330"/>
                  </a:cubicBezTo>
                  <a:cubicBezTo>
                    <a:pt x="1870" y="333"/>
                    <a:pt x="1873" y="333"/>
                    <a:pt x="1873" y="336"/>
                  </a:cubicBezTo>
                  <a:cubicBezTo>
                    <a:pt x="1876" y="339"/>
                    <a:pt x="1870" y="339"/>
                    <a:pt x="1873" y="342"/>
                  </a:cubicBezTo>
                  <a:cubicBezTo>
                    <a:pt x="1873" y="345"/>
                    <a:pt x="1867" y="342"/>
                    <a:pt x="1864" y="339"/>
                  </a:cubicBezTo>
                  <a:cubicBezTo>
                    <a:pt x="1864" y="339"/>
                    <a:pt x="1864" y="333"/>
                    <a:pt x="1864" y="330"/>
                  </a:cubicBezTo>
                  <a:cubicBezTo>
                    <a:pt x="1864" y="324"/>
                    <a:pt x="1861" y="327"/>
                    <a:pt x="1861" y="324"/>
                  </a:cubicBezTo>
                  <a:cubicBezTo>
                    <a:pt x="1861" y="318"/>
                    <a:pt x="1847" y="312"/>
                    <a:pt x="1841" y="309"/>
                  </a:cubicBezTo>
                  <a:cubicBezTo>
                    <a:pt x="1832" y="306"/>
                    <a:pt x="1826" y="306"/>
                    <a:pt x="1823" y="303"/>
                  </a:cubicBezTo>
                  <a:cubicBezTo>
                    <a:pt x="1820" y="297"/>
                    <a:pt x="1808" y="297"/>
                    <a:pt x="1805" y="294"/>
                  </a:cubicBezTo>
                  <a:cubicBezTo>
                    <a:pt x="1802" y="288"/>
                    <a:pt x="1781" y="282"/>
                    <a:pt x="1775" y="279"/>
                  </a:cubicBezTo>
                  <a:cubicBezTo>
                    <a:pt x="1766" y="279"/>
                    <a:pt x="1766" y="276"/>
                    <a:pt x="1763" y="276"/>
                  </a:cubicBezTo>
                  <a:cubicBezTo>
                    <a:pt x="1760" y="276"/>
                    <a:pt x="1742" y="276"/>
                    <a:pt x="1736" y="276"/>
                  </a:cubicBezTo>
                  <a:cubicBezTo>
                    <a:pt x="1730" y="273"/>
                    <a:pt x="1730" y="279"/>
                    <a:pt x="1727" y="276"/>
                  </a:cubicBezTo>
                  <a:cubicBezTo>
                    <a:pt x="1724" y="276"/>
                    <a:pt x="1703" y="267"/>
                    <a:pt x="1700" y="270"/>
                  </a:cubicBezTo>
                  <a:cubicBezTo>
                    <a:pt x="1697" y="273"/>
                    <a:pt x="1700" y="276"/>
                    <a:pt x="1697" y="279"/>
                  </a:cubicBezTo>
                  <a:cubicBezTo>
                    <a:pt x="1694" y="279"/>
                    <a:pt x="1697" y="282"/>
                    <a:pt x="1703" y="288"/>
                  </a:cubicBezTo>
                  <a:cubicBezTo>
                    <a:pt x="1709" y="291"/>
                    <a:pt x="1703" y="297"/>
                    <a:pt x="1700" y="297"/>
                  </a:cubicBezTo>
                  <a:cubicBezTo>
                    <a:pt x="1694" y="300"/>
                    <a:pt x="1685" y="297"/>
                    <a:pt x="1685" y="291"/>
                  </a:cubicBezTo>
                  <a:cubicBezTo>
                    <a:pt x="1682" y="288"/>
                    <a:pt x="1676" y="291"/>
                    <a:pt x="1673" y="285"/>
                  </a:cubicBezTo>
                  <a:cubicBezTo>
                    <a:pt x="1670" y="279"/>
                    <a:pt x="1676" y="279"/>
                    <a:pt x="1679" y="282"/>
                  </a:cubicBezTo>
                  <a:cubicBezTo>
                    <a:pt x="1682" y="285"/>
                    <a:pt x="1685" y="282"/>
                    <a:pt x="1688" y="279"/>
                  </a:cubicBezTo>
                  <a:cubicBezTo>
                    <a:pt x="1688" y="276"/>
                    <a:pt x="1679" y="273"/>
                    <a:pt x="1673" y="273"/>
                  </a:cubicBezTo>
                  <a:cubicBezTo>
                    <a:pt x="1667" y="273"/>
                    <a:pt x="1664" y="279"/>
                    <a:pt x="1658" y="282"/>
                  </a:cubicBezTo>
                  <a:cubicBezTo>
                    <a:pt x="1655" y="285"/>
                    <a:pt x="1634" y="282"/>
                    <a:pt x="1631" y="279"/>
                  </a:cubicBezTo>
                  <a:cubicBezTo>
                    <a:pt x="1628" y="279"/>
                    <a:pt x="1601" y="279"/>
                    <a:pt x="1598" y="282"/>
                  </a:cubicBezTo>
                  <a:cubicBezTo>
                    <a:pt x="1595" y="285"/>
                    <a:pt x="1595" y="291"/>
                    <a:pt x="1595" y="294"/>
                  </a:cubicBezTo>
                  <a:cubicBezTo>
                    <a:pt x="1592" y="294"/>
                    <a:pt x="1592" y="285"/>
                    <a:pt x="1592" y="282"/>
                  </a:cubicBezTo>
                  <a:cubicBezTo>
                    <a:pt x="1592" y="279"/>
                    <a:pt x="1589" y="279"/>
                    <a:pt x="1583" y="279"/>
                  </a:cubicBezTo>
                  <a:cubicBezTo>
                    <a:pt x="1577" y="279"/>
                    <a:pt x="1574" y="279"/>
                    <a:pt x="1577" y="276"/>
                  </a:cubicBezTo>
                  <a:cubicBezTo>
                    <a:pt x="1580" y="273"/>
                    <a:pt x="1574" y="273"/>
                    <a:pt x="1580" y="270"/>
                  </a:cubicBezTo>
                  <a:cubicBezTo>
                    <a:pt x="1583" y="267"/>
                    <a:pt x="1571" y="258"/>
                    <a:pt x="1562" y="252"/>
                  </a:cubicBezTo>
                  <a:cubicBezTo>
                    <a:pt x="1550" y="249"/>
                    <a:pt x="1526" y="252"/>
                    <a:pt x="1517" y="252"/>
                  </a:cubicBezTo>
                  <a:cubicBezTo>
                    <a:pt x="1511" y="255"/>
                    <a:pt x="1499" y="255"/>
                    <a:pt x="1493" y="255"/>
                  </a:cubicBezTo>
                  <a:cubicBezTo>
                    <a:pt x="1484" y="255"/>
                    <a:pt x="1490" y="252"/>
                    <a:pt x="1490" y="249"/>
                  </a:cubicBezTo>
                  <a:cubicBezTo>
                    <a:pt x="1487" y="246"/>
                    <a:pt x="1475" y="243"/>
                    <a:pt x="1475" y="246"/>
                  </a:cubicBezTo>
                  <a:cubicBezTo>
                    <a:pt x="1472" y="249"/>
                    <a:pt x="1469" y="246"/>
                    <a:pt x="1469" y="243"/>
                  </a:cubicBezTo>
                  <a:cubicBezTo>
                    <a:pt x="1469" y="243"/>
                    <a:pt x="1460" y="237"/>
                    <a:pt x="1457" y="240"/>
                  </a:cubicBezTo>
                  <a:cubicBezTo>
                    <a:pt x="1451" y="240"/>
                    <a:pt x="1451" y="234"/>
                    <a:pt x="1454" y="234"/>
                  </a:cubicBezTo>
                  <a:cubicBezTo>
                    <a:pt x="1460" y="234"/>
                    <a:pt x="1466" y="237"/>
                    <a:pt x="1463" y="231"/>
                  </a:cubicBezTo>
                  <a:cubicBezTo>
                    <a:pt x="1460" y="225"/>
                    <a:pt x="1430" y="225"/>
                    <a:pt x="1427" y="225"/>
                  </a:cubicBezTo>
                  <a:cubicBezTo>
                    <a:pt x="1424" y="225"/>
                    <a:pt x="1427" y="231"/>
                    <a:pt x="1421" y="237"/>
                  </a:cubicBezTo>
                  <a:cubicBezTo>
                    <a:pt x="1415" y="243"/>
                    <a:pt x="1409" y="237"/>
                    <a:pt x="1409" y="234"/>
                  </a:cubicBezTo>
                  <a:cubicBezTo>
                    <a:pt x="1409" y="231"/>
                    <a:pt x="1418" y="231"/>
                    <a:pt x="1418" y="228"/>
                  </a:cubicBezTo>
                  <a:cubicBezTo>
                    <a:pt x="1418" y="225"/>
                    <a:pt x="1406" y="228"/>
                    <a:pt x="1406" y="225"/>
                  </a:cubicBezTo>
                  <a:cubicBezTo>
                    <a:pt x="1403" y="222"/>
                    <a:pt x="1406" y="222"/>
                    <a:pt x="1412" y="222"/>
                  </a:cubicBezTo>
                  <a:cubicBezTo>
                    <a:pt x="1415" y="225"/>
                    <a:pt x="1421" y="225"/>
                    <a:pt x="1424" y="222"/>
                  </a:cubicBezTo>
                  <a:cubicBezTo>
                    <a:pt x="1424" y="222"/>
                    <a:pt x="1418" y="219"/>
                    <a:pt x="1412" y="219"/>
                  </a:cubicBezTo>
                  <a:cubicBezTo>
                    <a:pt x="1406" y="219"/>
                    <a:pt x="1388" y="213"/>
                    <a:pt x="1382" y="216"/>
                  </a:cubicBezTo>
                  <a:cubicBezTo>
                    <a:pt x="1373" y="216"/>
                    <a:pt x="1367" y="213"/>
                    <a:pt x="1364" y="210"/>
                  </a:cubicBezTo>
                  <a:cubicBezTo>
                    <a:pt x="1358" y="210"/>
                    <a:pt x="1358" y="213"/>
                    <a:pt x="1361" y="216"/>
                  </a:cubicBezTo>
                  <a:cubicBezTo>
                    <a:pt x="1364" y="219"/>
                    <a:pt x="1358" y="222"/>
                    <a:pt x="1352" y="219"/>
                  </a:cubicBezTo>
                  <a:cubicBezTo>
                    <a:pt x="1346" y="219"/>
                    <a:pt x="1337" y="222"/>
                    <a:pt x="1340" y="228"/>
                  </a:cubicBezTo>
                  <a:cubicBezTo>
                    <a:pt x="1343" y="231"/>
                    <a:pt x="1346" y="225"/>
                    <a:pt x="1349" y="228"/>
                  </a:cubicBezTo>
                  <a:cubicBezTo>
                    <a:pt x="1352" y="228"/>
                    <a:pt x="1343" y="231"/>
                    <a:pt x="1346" y="234"/>
                  </a:cubicBezTo>
                  <a:cubicBezTo>
                    <a:pt x="1352" y="234"/>
                    <a:pt x="1349" y="240"/>
                    <a:pt x="1349" y="240"/>
                  </a:cubicBezTo>
                  <a:cubicBezTo>
                    <a:pt x="1349" y="243"/>
                    <a:pt x="1343" y="243"/>
                    <a:pt x="1340" y="240"/>
                  </a:cubicBezTo>
                  <a:cubicBezTo>
                    <a:pt x="1340" y="237"/>
                    <a:pt x="1334" y="240"/>
                    <a:pt x="1331" y="240"/>
                  </a:cubicBezTo>
                  <a:cubicBezTo>
                    <a:pt x="1325" y="240"/>
                    <a:pt x="1322" y="243"/>
                    <a:pt x="1328" y="243"/>
                  </a:cubicBezTo>
                  <a:cubicBezTo>
                    <a:pt x="1331" y="243"/>
                    <a:pt x="1334" y="246"/>
                    <a:pt x="1328" y="246"/>
                  </a:cubicBezTo>
                  <a:cubicBezTo>
                    <a:pt x="1322" y="249"/>
                    <a:pt x="1322" y="240"/>
                    <a:pt x="1319" y="243"/>
                  </a:cubicBezTo>
                  <a:cubicBezTo>
                    <a:pt x="1313" y="243"/>
                    <a:pt x="1307" y="240"/>
                    <a:pt x="1301" y="240"/>
                  </a:cubicBezTo>
                  <a:cubicBezTo>
                    <a:pt x="1295" y="240"/>
                    <a:pt x="1295" y="243"/>
                    <a:pt x="1289" y="243"/>
                  </a:cubicBezTo>
                  <a:cubicBezTo>
                    <a:pt x="1283" y="243"/>
                    <a:pt x="1274" y="240"/>
                    <a:pt x="1271" y="237"/>
                  </a:cubicBezTo>
                  <a:cubicBezTo>
                    <a:pt x="1268" y="234"/>
                    <a:pt x="1268" y="231"/>
                    <a:pt x="1265" y="237"/>
                  </a:cubicBezTo>
                  <a:cubicBezTo>
                    <a:pt x="1262" y="240"/>
                    <a:pt x="1262" y="246"/>
                    <a:pt x="1259" y="249"/>
                  </a:cubicBezTo>
                  <a:cubicBezTo>
                    <a:pt x="1256" y="249"/>
                    <a:pt x="1253" y="255"/>
                    <a:pt x="1250" y="258"/>
                  </a:cubicBezTo>
                  <a:cubicBezTo>
                    <a:pt x="1247" y="258"/>
                    <a:pt x="1247" y="255"/>
                    <a:pt x="1244" y="255"/>
                  </a:cubicBezTo>
                  <a:cubicBezTo>
                    <a:pt x="1241" y="255"/>
                    <a:pt x="1229" y="243"/>
                    <a:pt x="1226" y="240"/>
                  </a:cubicBezTo>
                  <a:cubicBezTo>
                    <a:pt x="1226" y="237"/>
                    <a:pt x="1220" y="228"/>
                    <a:pt x="1217" y="228"/>
                  </a:cubicBezTo>
                  <a:cubicBezTo>
                    <a:pt x="1214" y="225"/>
                    <a:pt x="1220" y="225"/>
                    <a:pt x="1223" y="228"/>
                  </a:cubicBezTo>
                  <a:cubicBezTo>
                    <a:pt x="1223" y="231"/>
                    <a:pt x="1226" y="231"/>
                    <a:pt x="1229" y="228"/>
                  </a:cubicBezTo>
                  <a:cubicBezTo>
                    <a:pt x="1232" y="228"/>
                    <a:pt x="1232" y="222"/>
                    <a:pt x="1229" y="222"/>
                  </a:cubicBezTo>
                  <a:cubicBezTo>
                    <a:pt x="1223" y="222"/>
                    <a:pt x="1226" y="216"/>
                    <a:pt x="1226" y="216"/>
                  </a:cubicBezTo>
                  <a:cubicBezTo>
                    <a:pt x="1229" y="216"/>
                    <a:pt x="1223" y="210"/>
                    <a:pt x="1226" y="210"/>
                  </a:cubicBezTo>
                  <a:cubicBezTo>
                    <a:pt x="1226" y="207"/>
                    <a:pt x="1226" y="204"/>
                    <a:pt x="1223" y="204"/>
                  </a:cubicBezTo>
                  <a:cubicBezTo>
                    <a:pt x="1220" y="204"/>
                    <a:pt x="1214" y="201"/>
                    <a:pt x="1214" y="198"/>
                  </a:cubicBezTo>
                  <a:cubicBezTo>
                    <a:pt x="1214" y="198"/>
                    <a:pt x="1199" y="198"/>
                    <a:pt x="1199" y="201"/>
                  </a:cubicBezTo>
                  <a:cubicBezTo>
                    <a:pt x="1202" y="201"/>
                    <a:pt x="1196" y="201"/>
                    <a:pt x="1196" y="198"/>
                  </a:cubicBezTo>
                  <a:cubicBezTo>
                    <a:pt x="1196" y="198"/>
                    <a:pt x="1190" y="198"/>
                    <a:pt x="1184" y="195"/>
                  </a:cubicBezTo>
                  <a:cubicBezTo>
                    <a:pt x="1175" y="195"/>
                    <a:pt x="1175" y="189"/>
                    <a:pt x="1172" y="189"/>
                  </a:cubicBezTo>
                  <a:cubicBezTo>
                    <a:pt x="1169" y="189"/>
                    <a:pt x="1172" y="195"/>
                    <a:pt x="1169" y="195"/>
                  </a:cubicBezTo>
                  <a:cubicBezTo>
                    <a:pt x="1163" y="192"/>
                    <a:pt x="1160" y="195"/>
                    <a:pt x="1163" y="201"/>
                  </a:cubicBezTo>
                  <a:cubicBezTo>
                    <a:pt x="1163" y="204"/>
                    <a:pt x="1163" y="204"/>
                    <a:pt x="1163" y="207"/>
                  </a:cubicBezTo>
                  <a:cubicBezTo>
                    <a:pt x="1160" y="213"/>
                    <a:pt x="1160" y="210"/>
                    <a:pt x="1154" y="210"/>
                  </a:cubicBezTo>
                  <a:cubicBezTo>
                    <a:pt x="1151" y="207"/>
                    <a:pt x="1151" y="213"/>
                    <a:pt x="1142" y="210"/>
                  </a:cubicBezTo>
                  <a:cubicBezTo>
                    <a:pt x="1133" y="207"/>
                    <a:pt x="1127" y="210"/>
                    <a:pt x="1127" y="207"/>
                  </a:cubicBezTo>
                  <a:cubicBezTo>
                    <a:pt x="1124" y="204"/>
                    <a:pt x="1121" y="204"/>
                    <a:pt x="1121" y="207"/>
                  </a:cubicBezTo>
                  <a:cubicBezTo>
                    <a:pt x="1121" y="210"/>
                    <a:pt x="1106" y="207"/>
                    <a:pt x="1106" y="204"/>
                  </a:cubicBezTo>
                  <a:cubicBezTo>
                    <a:pt x="1103" y="201"/>
                    <a:pt x="1109" y="201"/>
                    <a:pt x="1109" y="198"/>
                  </a:cubicBezTo>
                  <a:cubicBezTo>
                    <a:pt x="1112" y="198"/>
                    <a:pt x="1109" y="195"/>
                    <a:pt x="1100" y="198"/>
                  </a:cubicBezTo>
                  <a:cubicBezTo>
                    <a:pt x="1091" y="198"/>
                    <a:pt x="1088" y="192"/>
                    <a:pt x="1079" y="195"/>
                  </a:cubicBezTo>
                  <a:cubicBezTo>
                    <a:pt x="1070" y="195"/>
                    <a:pt x="1052" y="195"/>
                    <a:pt x="1052" y="198"/>
                  </a:cubicBezTo>
                  <a:cubicBezTo>
                    <a:pt x="1049" y="198"/>
                    <a:pt x="1052" y="204"/>
                    <a:pt x="1049" y="204"/>
                  </a:cubicBezTo>
                  <a:cubicBezTo>
                    <a:pt x="1046" y="204"/>
                    <a:pt x="1049" y="195"/>
                    <a:pt x="1049" y="192"/>
                  </a:cubicBezTo>
                  <a:cubicBezTo>
                    <a:pt x="1046" y="189"/>
                    <a:pt x="1040" y="189"/>
                    <a:pt x="1043" y="192"/>
                  </a:cubicBezTo>
                  <a:cubicBezTo>
                    <a:pt x="1043" y="195"/>
                    <a:pt x="1034" y="195"/>
                    <a:pt x="1031" y="192"/>
                  </a:cubicBezTo>
                  <a:cubicBezTo>
                    <a:pt x="1028" y="189"/>
                    <a:pt x="1025" y="189"/>
                    <a:pt x="1016" y="186"/>
                  </a:cubicBezTo>
                  <a:cubicBezTo>
                    <a:pt x="1010" y="183"/>
                    <a:pt x="1004" y="192"/>
                    <a:pt x="1004" y="192"/>
                  </a:cubicBezTo>
                  <a:cubicBezTo>
                    <a:pt x="1007" y="195"/>
                    <a:pt x="1010" y="195"/>
                    <a:pt x="1010" y="195"/>
                  </a:cubicBezTo>
                  <a:cubicBezTo>
                    <a:pt x="1013" y="198"/>
                    <a:pt x="998" y="198"/>
                    <a:pt x="998" y="198"/>
                  </a:cubicBezTo>
                  <a:cubicBezTo>
                    <a:pt x="998" y="201"/>
                    <a:pt x="983" y="204"/>
                    <a:pt x="980" y="204"/>
                  </a:cubicBezTo>
                  <a:cubicBezTo>
                    <a:pt x="968" y="207"/>
                    <a:pt x="968" y="207"/>
                    <a:pt x="962" y="210"/>
                  </a:cubicBezTo>
                  <a:cubicBezTo>
                    <a:pt x="956" y="216"/>
                    <a:pt x="962" y="207"/>
                    <a:pt x="965" y="204"/>
                  </a:cubicBezTo>
                  <a:cubicBezTo>
                    <a:pt x="968" y="198"/>
                    <a:pt x="974" y="201"/>
                    <a:pt x="974" y="198"/>
                  </a:cubicBezTo>
                  <a:cubicBezTo>
                    <a:pt x="977" y="195"/>
                    <a:pt x="980" y="195"/>
                    <a:pt x="989" y="195"/>
                  </a:cubicBezTo>
                  <a:cubicBezTo>
                    <a:pt x="995" y="192"/>
                    <a:pt x="995" y="189"/>
                    <a:pt x="998" y="189"/>
                  </a:cubicBezTo>
                  <a:cubicBezTo>
                    <a:pt x="1001" y="186"/>
                    <a:pt x="1007" y="183"/>
                    <a:pt x="1007" y="180"/>
                  </a:cubicBezTo>
                  <a:cubicBezTo>
                    <a:pt x="1010" y="177"/>
                    <a:pt x="1025" y="171"/>
                    <a:pt x="1028" y="174"/>
                  </a:cubicBezTo>
                  <a:cubicBezTo>
                    <a:pt x="1031" y="174"/>
                    <a:pt x="1031" y="168"/>
                    <a:pt x="1034" y="168"/>
                  </a:cubicBezTo>
                  <a:cubicBezTo>
                    <a:pt x="1034" y="168"/>
                    <a:pt x="1043" y="162"/>
                    <a:pt x="1046" y="162"/>
                  </a:cubicBezTo>
                  <a:cubicBezTo>
                    <a:pt x="1049" y="159"/>
                    <a:pt x="1052" y="156"/>
                    <a:pt x="1052" y="153"/>
                  </a:cubicBezTo>
                  <a:cubicBezTo>
                    <a:pt x="1052" y="153"/>
                    <a:pt x="1046" y="153"/>
                    <a:pt x="1046" y="150"/>
                  </a:cubicBezTo>
                  <a:cubicBezTo>
                    <a:pt x="1046" y="150"/>
                    <a:pt x="1049" y="150"/>
                    <a:pt x="1052" y="150"/>
                  </a:cubicBezTo>
                  <a:cubicBezTo>
                    <a:pt x="1055" y="147"/>
                    <a:pt x="1052" y="144"/>
                    <a:pt x="1049" y="144"/>
                  </a:cubicBezTo>
                  <a:cubicBezTo>
                    <a:pt x="1046" y="144"/>
                    <a:pt x="1052" y="141"/>
                    <a:pt x="1049" y="138"/>
                  </a:cubicBezTo>
                  <a:cubicBezTo>
                    <a:pt x="1046" y="135"/>
                    <a:pt x="1040" y="141"/>
                    <a:pt x="1040" y="138"/>
                  </a:cubicBezTo>
                  <a:cubicBezTo>
                    <a:pt x="1040" y="132"/>
                    <a:pt x="1040" y="129"/>
                    <a:pt x="1040" y="126"/>
                  </a:cubicBezTo>
                  <a:cubicBezTo>
                    <a:pt x="1037" y="126"/>
                    <a:pt x="1034" y="132"/>
                    <a:pt x="1028" y="129"/>
                  </a:cubicBezTo>
                  <a:cubicBezTo>
                    <a:pt x="1025" y="126"/>
                    <a:pt x="1013" y="123"/>
                    <a:pt x="1013" y="123"/>
                  </a:cubicBezTo>
                  <a:cubicBezTo>
                    <a:pt x="1013" y="126"/>
                    <a:pt x="1007" y="123"/>
                    <a:pt x="1007" y="123"/>
                  </a:cubicBezTo>
                  <a:cubicBezTo>
                    <a:pt x="1004" y="126"/>
                    <a:pt x="995" y="123"/>
                    <a:pt x="992" y="123"/>
                  </a:cubicBezTo>
                  <a:cubicBezTo>
                    <a:pt x="989" y="123"/>
                    <a:pt x="986" y="126"/>
                    <a:pt x="986" y="129"/>
                  </a:cubicBezTo>
                  <a:cubicBezTo>
                    <a:pt x="983" y="132"/>
                    <a:pt x="974" y="129"/>
                    <a:pt x="971" y="129"/>
                  </a:cubicBezTo>
                  <a:cubicBezTo>
                    <a:pt x="968" y="129"/>
                    <a:pt x="980" y="120"/>
                    <a:pt x="980" y="120"/>
                  </a:cubicBezTo>
                  <a:cubicBezTo>
                    <a:pt x="980" y="117"/>
                    <a:pt x="962" y="120"/>
                    <a:pt x="959" y="117"/>
                  </a:cubicBezTo>
                  <a:cubicBezTo>
                    <a:pt x="959" y="117"/>
                    <a:pt x="950" y="114"/>
                    <a:pt x="947" y="114"/>
                  </a:cubicBezTo>
                  <a:cubicBezTo>
                    <a:pt x="944" y="114"/>
                    <a:pt x="947" y="114"/>
                    <a:pt x="950" y="114"/>
                  </a:cubicBezTo>
                  <a:cubicBezTo>
                    <a:pt x="953" y="114"/>
                    <a:pt x="956" y="111"/>
                    <a:pt x="962" y="111"/>
                  </a:cubicBezTo>
                  <a:cubicBezTo>
                    <a:pt x="965" y="108"/>
                    <a:pt x="965" y="108"/>
                    <a:pt x="962" y="105"/>
                  </a:cubicBezTo>
                  <a:cubicBezTo>
                    <a:pt x="959" y="102"/>
                    <a:pt x="956" y="105"/>
                    <a:pt x="953" y="102"/>
                  </a:cubicBezTo>
                  <a:cubicBezTo>
                    <a:pt x="950" y="102"/>
                    <a:pt x="944" y="99"/>
                    <a:pt x="941" y="99"/>
                  </a:cubicBezTo>
                  <a:cubicBezTo>
                    <a:pt x="938" y="99"/>
                    <a:pt x="935" y="102"/>
                    <a:pt x="926" y="102"/>
                  </a:cubicBezTo>
                  <a:cubicBezTo>
                    <a:pt x="917" y="105"/>
                    <a:pt x="917" y="111"/>
                    <a:pt x="914" y="114"/>
                  </a:cubicBezTo>
                  <a:cubicBezTo>
                    <a:pt x="908" y="114"/>
                    <a:pt x="902" y="123"/>
                    <a:pt x="905" y="123"/>
                  </a:cubicBezTo>
                  <a:cubicBezTo>
                    <a:pt x="908" y="123"/>
                    <a:pt x="908" y="126"/>
                    <a:pt x="908" y="126"/>
                  </a:cubicBezTo>
                  <a:cubicBezTo>
                    <a:pt x="908" y="129"/>
                    <a:pt x="905" y="129"/>
                    <a:pt x="902" y="129"/>
                  </a:cubicBezTo>
                  <a:cubicBezTo>
                    <a:pt x="899" y="129"/>
                    <a:pt x="884" y="129"/>
                    <a:pt x="884" y="132"/>
                  </a:cubicBezTo>
                  <a:cubicBezTo>
                    <a:pt x="884" y="135"/>
                    <a:pt x="893" y="135"/>
                    <a:pt x="893" y="138"/>
                  </a:cubicBezTo>
                  <a:cubicBezTo>
                    <a:pt x="890" y="138"/>
                    <a:pt x="887" y="138"/>
                    <a:pt x="884" y="135"/>
                  </a:cubicBezTo>
                  <a:cubicBezTo>
                    <a:pt x="881" y="135"/>
                    <a:pt x="875" y="135"/>
                    <a:pt x="872" y="138"/>
                  </a:cubicBezTo>
                  <a:cubicBezTo>
                    <a:pt x="872" y="141"/>
                    <a:pt x="866" y="141"/>
                    <a:pt x="866" y="138"/>
                  </a:cubicBezTo>
                  <a:cubicBezTo>
                    <a:pt x="863" y="138"/>
                    <a:pt x="860" y="141"/>
                    <a:pt x="860" y="141"/>
                  </a:cubicBezTo>
                  <a:cubicBezTo>
                    <a:pt x="857" y="138"/>
                    <a:pt x="863" y="135"/>
                    <a:pt x="863" y="135"/>
                  </a:cubicBezTo>
                  <a:cubicBezTo>
                    <a:pt x="860" y="132"/>
                    <a:pt x="851" y="132"/>
                    <a:pt x="851" y="135"/>
                  </a:cubicBezTo>
                  <a:cubicBezTo>
                    <a:pt x="851" y="138"/>
                    <a:pt x="845" y="135"/>
                    <a:pt x="845" y="135"/>
                  </a:cubicBezTo>
                  <a:cubicBezTo>
                    <a:pt x="842" y="135"/>
                    <a:pt x="839" y="138"/>
                    <a:pt x="836" y="138"/>
                  </a:cubicBezTo>
                  <a:cubicBezTo>
                    <a:pt x="833" y="141"/>
                    <a:pt x="827" y="138"/>
                    <a:pt x="824" y="141"/>
                  </a:cubicBezTo>
                  <a:cubicBezTo>
                    <a:pt x="824" y="144"/>
                    <a:pt x="833" y="144"/>
                    <a:pt x="833" y="144"/>
                  </a:cubicBezTo>
                  <a:cubicBezTo>
                    <a:pt x="833" y="147"/>
                    <a:pt x="815" y="147"/>
                    <a:pt x="815" y="147"/>
                  </a:cubicBezTo>
                  <a:cubicBezTo>
                    <a:pt x="812" y="150"/>
                    <a:pt x="806" y="150"/>
                    <a:pt x="800" y="150"/>
                  </a:cubicBezTo>
                  <a:cubicBezTo>
                    <a:pt x="791" y="150"/>
                    <a:pt x="794" y="153"/>
                    <a:pt x="788" y="153"/>
                  </a:cubicBezTo>
                  <a:cubicBezTo>
                    <a:pt x="782" y="156"/>
                    <a:pt x="779" y="156"/>
                    <a:pt x="779" y="159"/>
                  </a:cubicBezTo>
                  <a:cubicBezTo>
                    <a:pt x="776" y="162"/>
                    <a:pt x="773" y="162"/>
                    <a:pt x="770" y="159"/>
                  </a:cubicBezTo>
                  <a:cubicBezTo>
                    <a:pt x="767" y="159"/>
                    <a:pt x="761" y="162"/>
                    <a:pt x="764" y="162"/>
                  </a:cubicBezTo>
                  <a:cubicBezTo>
                    <a:pt x="767" y="162"/>
                    <a:pt x="764" y="165"/>
                    <a:pt x="764" y="165"/>
                  </a:cubicBezTo>
                  <a:cubicBezTo>
                    <a:pt x="761" y="162"/>
                    <a:pt x="755" y="168"/>
                    <a:pt x="758" y="168"/>
                  </a:cubicBezTo>
                  <a:cubicBezTo>
                    <a:pt x="761" y="168"/>
                    <a:pt x="764" y="168"/>
                    <a:pt x="761" y="171"/>
                  </a:cubicBezTo>
                  <a:cubicBezTo>
                    <a:pt x="761" y="174"/>
                    <a:pt x="755" y="168"/>
                    <a:pt x="752" y="171"/>
                  </a:cubicBezTo>
                  <a:cubicBezTo>
                    <a:pt x="752" y="171"/>
                    <a:pt x="755" y="174"/>
                    <a:pt x="758" y="174"/>
                  </a:cubicBezTo>
                  <a:cubicBezTo>
                    <a:pt x="761" y="174"/>
                    <a:pt x="764" y="177"/>
                    <a:pt x="764" y="177"/>
                  </a:cubicBezTo>
                  <a:cubicBezTo>
                    <a:pt x="764" y="180"/>
                    <a:pt x="758" y="177"/>
                    <a:pt x="755" y="177"/>
                  </a:cubicBezTo>
                  <a:cubicBezTo>
                    <a:pt x="755" y="180"/>
                    <a:pt x="755" y="180"/>
                    <a:pt x="761" y="180"/>
                  </a:cubicBezTo>
                  <a:cubicBezTo>
                    <a:pt x="764" y="183"/>
                    <a:pt x="761" y="183"/>
                    <a:pt x="764" y="186"/>
                  </a:cubicBezTo>
                  <a:cubicBezTo>
                    <a:pt x="764" y="186"/>
                    <a:pt x="764" y="186"/>
                    <a:pt x="764" y="186"/>
                  </a:cubicBezTo>
                  <a:cubicBezTo>
                    <a:pt x="764" y="189"/>
                    <a:pt x="761" y="189"/>
                    <a:pt x="764" y="192"/>
                  </a:cubicBezTo>
                  <a:cubicBezTo>
                    <a:pt x="764" y="192"/>
                    <a:pt x="758" y="195"/>
                    <a:pt x="758" y="192"/>
                  </a:cubicBezTo>
                  <a:cubicBezTo>
                    <a:pt x="758" y="189"/>
                    <a:pt x="752" y="189"/>
                    <a:pt x="749" y="192"/>
                  </a:cubicBezTo>
                  <a:cubicBezTo>
                    <a:pt x="746" y="192"/>
                    <a:pt x="746" y="195"/>
                    <a:pt x="743" y="192"/>
                  </a:cubicBezTo>
                  <a:cubicBezTo>
                    <a:pt x="740" y="192"/>
                    <a:pt x="734" y="192"/>
                    <a:pt x="728" y="195"/>
                  </a:cubicBezTo>
                  <a:cubicBezTo>
                    <a:pt x="719" y="195"/>
                    <a:pt x="701" y="195"/>
                    <a:pt x="698" y="195"/>
                  </a:cubicBezTo>
                  <a:cubicBezTo>
                    <a:pt x="692" y="198"/>
                    <a:pt x="689" y="204"/>
                    <a:pt x="695" y="207"/>
                  </a:cubicBezTo>
                  <a:cubicBezTo>
                    <a:pt x="698" y="210"/>
                    <a:pt x="695" y="213"/>
                    <a:pt x="695" y="216"/>
                  </a:cubicBezTo>
                  <a:cubicBezTo>
                    <a:pt x="695" y="219"/>
                    <a:pt x="704" y="222"/>
                    <a:pt x="710" y="225"/>
                  </a:cubicBezTo>
                  <a:cubicBezTo>
                    <a:pt x="716" y="225"/>
                    <a:pt x="719" y="231"/>
                    <a:pt x="716" y="234"/>
                  </a:cubicBezTo>
                  <a:cubicBezTo>
                    <a:pt x="713" y="240"/>
                    <a:pt x="704" y="234"/>
                    <a:pt x="698" y="228"/>
                  </a:cubicBezTo>
                  <a:cubicBezTo>
                    <a:pt x="689" y="222"/>
                    <a:pt x="677" y="222"/>
                    <a:pt x="671" y="222"/>
                  </a:cubicBezTo>
                  <a:cubicBezTo>
                    <a:pt x="665" y="222"/>
                    <a:pt x="668" y="216"/>
                    <a:pt x="662" y="219"/>
                  </a:cubicBezTo>
                  <a:cubicBezTo>
                    <a:pt x="656" y="219"/>
                    <a:pt x="650" y="222"/>
                    <a:pt x="656" y="222"/>
                  </a:cubicBezTo>
                  <a:cubicBezTo>
                    <a:pt x="659" y="222"/>
                    <a:pt x="662" y="222"/>
                    <a:pt x="659" y="225"/>
                  </a:cubicBezTo>
                  <a:cubicBezTo>
                    <a:pt x="659" y="228"/>
                    <a:pt x="662" y="225"/>
                    <a:pt x="665" y="228"/>
                  </a:cubicBezTo>
                  <a:cubicBezTo>
                    <a:pt x="671" y="231"/>
                    <a:pt x="662" y="234"/>
                    <a:pt x="656" y="231"/>
                  </a:cubicBezTo>
                  <a:cubicBezTo>
                    <a:pt x="653" y="228"/>
                    <a:pt x="647" y="231"/>
                    <a:pt x="644" y="234"/>
                  </a:cubicBezTo>
                  <a:cubicBezTo>
                    <a:pt x="644" y="234"/>
                    <a:pt x="650" y="243"/>
                    <a:pt x="659" y="243"/>
                  </a:cubicBezTo>
                  <a:cubicBezTo>
                    <a:pt x="668" y="246"/>
                    <a:pt x="665" y="249"/>
                    <a:pt x="671" y="249"/>
                  </a:cubicBezTo>
                  <a:cubicBezTo>
                    <a:pt x="674" y="252"/>
                    <a:pt x="671" y="252"/>
                    <a:pt x="668" y="252"/>
                  </a:cubicBezTo>
                  <a:cubicBezTo>
                    <a:pt x="665" y="255"/>
                    <a:pt x="659" y="249"/>
                    <a:pt x="656" y="246"/>
                  </a:cubicBezTo>
                  <a:cubicBezTo>
                    <a:pt x="650" y="243"/>
                    <a:pt x="638" y="249"/>
                    <a:pt x="635" y="246"/>
                  </a:cubicBezTo>
                  <a:cubicBezTo>
                    <a:pt x="635" y="243"/>
                    <a:pt x="638" y="240"/>
                    <a:pt x="635" y="237"/>
                  </a:cubicBezTo>
                  <a:cubicBezTo>
                    <a:pt x="632" y="237"/>
                    <a:pt x="635" y="231"/>
                    <a:pt x="638" y="228"/>
                  </a:cubicBezTo>
                  <a:cubicBezTo>
                    <a:pt x="641" y="222"/>
                    <a:pt x="638" y="213"/>
                    <a:pt x="632" y="213"/>
                  </a:cubicBezTo>
                  <a:cubicBezTo>
                    <a:pt x="629" y="210"/>
                    <a:pt x="629" y="216"/>
                    <a:pt x="629" y="216"/>
                  </a:cubicBezTo>
                  <a:cubicBezTo>
                    <a:pt x="632" y="219"/>
                    <a:pt x="632" y="225"/>
                    <a:pt x="626" y="228"/>
                  </a:cubicBezTo>
                  <a:cubicBezTo>
                    <a:pt x="623" y="234"/>
                    <a:pt x="614" y="234"/>
                    <a:pt x="614" y="237"/>
                  </a:cubicBezTo>
                  <a:cubicBezTo>
                    <a:pt x="614" y="240"/>
                    <a:pt x="608" y="240"/>
                    <a:pt x="608" y="243"/>
                  </a:cubicBezTo>
                  <a:cubicBezTo>
                    <a:pt x="611" y="246"/>
                    <a:pt x="620" y="255"/>
                    <a:pt x="623" y="258"/>
                  </a:cubicBezTo>
                  <a:cubicBezTo>
                    <a:pt x="623" y="261"/>
                    <a:pt x="614" y="273"/>
                    <a:pt x="617" y="276"/>
                  </a:cubicBezTo>
                  <a:cubicBezTo>
                    <a:pt x="617" y="282"/>
                    <a:pt x="614" y="285"/>
                    <a:pt x="617" y="288"/>
                  </a:cubicBezTo>
                  <a:cubicBezTo>
                    <a:pt x="617" y="291"/>
                    <a:pt x="623" y="288"/>
                    <a:pt x="626" y="291"/>
                  </a:cubicBezTo>
                  <a:cubicBezTo>
                    <a:pt x="626" y="291"/>
                    <a:pt x="632" y="288"/>
                    <a:pt x="638" y="288"/>
                  </a:cubicBezTo>
                  <a:cubicBezTo>
                    <a:pt x="644" y="285"/>
                    <a:pt x="656" y="294"/>
                    <a:pt x="659" y="294"/>
                  </a:cubicBezTo>
                  <a:cubicBezTo>
                    <a:pt x="665" y="297"/>
                    <a:pt x="662" y="300"/>
                    <a:pt x="665" y="303"/>
                  </a:cubicBezTo>
                  <a:cubicBezTo>
                    <a:pt x="665" y="306"/>
                    <a:pt x="659" y="306"/>
                    <a:pt x="659" y="312"/>
                  </a:cubicBezTo>
                  <a:cubicBezTo>
                    <a:pt x="659" y="318"/>
                    <a:pt x="671" y="318"/>
                    <a:pt x="671" y="321"/>
                  </a:cubicBezTo>
                  <a:cubicBezTo>
                    <a:pt x="671" y="321"/>
                    <a:pt x="662" y="321"/>
                    <a:pt x="659" y="318"/>
                  </a:cubicBezTo>
                  <a:cubicBezTo>
                    <a:pt x="656" y="318"/>
                    <a:pt x="656" y="312"/>
                    <a:pt x="653" y="312"/>
                  </a:cubicBezTo>
                  <a:cubicBezTo>
                    <a:pt x="653" y="312"/>
                    <a:pt x="656" y="306"/>
                    <a:pt x="656" y="303"/>
                  </a:cubicBezTo>
                  <a:cubicBezTo>
                    <a:pt x="656" y="300"/>
                    <a:pt x="653" y="300"/>
                    <a:pt x="650" y="297"/>
                  </a:cubicBezTo>
                  <a:cubicBezTo>
                    <a:pt x="650" y="294"/>
                    <a:pt x="647" y="291"/>
                    <a:pt x="644" y="291"/>
                  </a:cubicBezTo>
                  <a:cubicBezTo>
                    <a:pt x="641" y="294"/>
                    <a:pt x="629" y="294"/>
                    <a:pt x="626" y="297"/>
                  </a:cubicBezTo>
                  <a:cubicBezTo>
                    <a:pt x="623" y="300"/>
                    <a:pt x="626" y="309"/>
                    <a:pt x="629" y="312"/>
                  </a:cubicBezTo>
                  <a:cubicBezTo>
                    <a:pt x="632" y="318"/>
                    <a:pt x="620" y="324"/>
                    <a:pt x="620" y="327"/>
                  </a:cubicBezTo>
                  <a:cubicBezTo>
                    <a:pt x="620" y="330"/>
                    <a:pt x="617" y="330"/>
                    <a:pt x="611" y="333"/>
                  </a:cubicBezTo>
                  <a:cubicBezTo>
                    <a:pt x="605" y="336"/>
                    <a:pt x="599" y="339"/>
                    <a:pt x="602" y="342"/>
                  </a:cubicBezTo>
                  <a:cubicBezTo>
                    <a:pt x="602" y="348"/>
                    <a:pt x="593" y="345"/>
                    <a:pt x="590" y="342"/>
                  </a:cubicBezTo>
                  <a:cubicBezTo>
                    <a:pt x="587" y="339"/>
                    <a:pt x="581" y="345"/>
                    <a:pt x="578" y="342"/>
                  </a:cubicBezTo>
                  <a:cubicBezTo>
                    <a:pt x="572" y="342"/>
                    <a:pt x="572" y="339"/>
                    <a:pt x="569" y="342"/>
                  </a:cubicBezTo>
                  <a:cubicBezTo>
                    <a:pt x="563" y="342"/>
                    <a:pt x="563" y="339"/>
                    <a:pt x="563" y="336"/>
                  </a:cubicBezTo>
                  <a:cubicBezTo>
                    <a:pt x="563" y="333"/>
                    <a:pt x="569" y="336"/>
                    <a:pt x="569" y="336"/>
                  </a:cubicBezTo>
                  <a:cubicBezTo>
                    <a:pt x="569" y="339"/>
                    <a:pt x="572" y="339"/>
                    <a:pt x="575" y="336"/>
                  </a:cubicBezTo>
                  <a:cubicBezTo>
                    <a:pt x="578" y="336"/>
                    <a:pt x="578" y="339"/>
                    <a:pt x="581" y="339"/>
                  </a:cubicBezTo>
                  <a:cubicBezTo>
                    <a:pt x="587" y="339"/>
                    <a:pt x="584" y="336"/>
                    <a:pt x="587" y="336"/>
                  </a:cubicBezTo>
                  <a:cubicBezTo>
                    <a:pt x="590" y="336"/>
                    <a:pt x="593" y="336"/>
                    <a:pt x="590" y="333"/>
                  </a:cubicBezTo>
                  <a:cubicBezTo>
                    <a:pt x="590" y="333"/>
                    <a:pt x="593" y="330"/>
                    <a:pt x="596" y="330"/>
                  </a:cubicBezTo>
                  <a:cubicBezTo>
                    <a:pt x="599" y="330"/>
                    <a:pt x="596" y="324"/>
                    <a:pt x="599" y="324"/>
                  </a:cubicBezTo>
                  <a:cubicBezTo>
                    <a:pt x="602" y="324"/>
                    <a:pt x="599" y="321"/>
                    <a:pt x="602" y="321"/>
                  </a:cubicBezTo>
                  <a:cubicBezTo>
                    <a:pt x="605" y="321"/>
                    <a:pt x="605" y="318"/>
                    <a:pt x="608" y="318"/>
                  </a:cubicBezTo>
                  <a:cubicBezTo>
                    <a:pt x="611" y="318"/>
                    <a:pt x="611" y="312"/>
                    <a:pt x="608" y="312"/>
                  </a:cubicBezTo>
                  <a:cubicBezTo>
                    <a:pt x="608" y="309"/>
                    <a:pt x="611" y="306"/>
                    <a:pt x="611" y="303"/>
                  </a:cubicBezTo>
                  <a:cubicBezTo>
                    <a:pt x="614" y="303"/>
                    <a:pt x="614" y="300"/>
                    <a:pt x="614" y="300"/>
                  </a:cubicBezTo>
                  <a:cubicBezTo>
                    <a:pt x="611" y="297"/>
                    <a:pt x="602" y="294"/>
                    <a:pt x="605" y="291"/>
                  </a:cubicBezTo>
                  <a:cubicBezTo>
                    <a:pt x="605" y="288"/>
                    <a:pt x="602" y="282"/>
                    <a:pt x="605" y="279"/>
                  </a:cubicBezTo>
                  <a:cubicBezTo>
                    <a:pt x="605" y="276"/>
                    <a:pt x="605" y="270"/>
                    <a:pt x="602" y="267"/>
                  </a:cubicBezTo>
                  <a:cubicBezTo>
                    <a:pt x="602" y="264"/>
                    <a:pt x="605" y="261"/>
                    <a:pt x="605" y="255"/>
                  </a:cubicBezTo>
                  <a:cubicBezTo>
                    <a:pt x="608" y="252"/>
                    <a:pt x="599" y="246"/>
                    <a:pt x="596" y="243"/>
                  </a:cubicBezTo>
                  <a:cubicBezTo>
                    <a:pt x="593" y="243"/>
                    <a:pt x="596" y="240"/>
                    <a:pt x="602" y="234"/>
                  </a:cubicBezTo>
                  <a:cubicBezTo>
                    <a:pt x="605" y="231"/>
                    <a:pt x="605" y="219"/>
                    <a:pt x="605" y="216"/>
                  </a:cubicBezTo>
                  <a:cubicBezTo>
                    <a:pt x="605" y="213"/>
                    <a:pt x="596" y="210"/>
                    <a:pt x="593" y="210"/>
                  </a:cubicBezTo>
                  <a:cubicBezTo>
                    <a:pt x="587" y="210"/>
                    <a:pt x="575" y="210"/>
                    <a:pt x="569" y="210"/>
                  </a:cubicBezTo>
                  <a:cubicBezTo>
                    <a:pt x="566" y="210"/>
                    <a:pt x="566" y="213"/>
                    <a:pt x="563" y="216"/>
                  </a:cubicBezTo>
                  <a:cubicBezTo>
                    <a:pt x="563" y="219"/>
                    <a:pt x="557" y="225"/>
                    <a:pt x="557" y="231"/>
                  </a:cubicBezTo>
                  <a:cubicBezTo>
                    <a:pt x="554" y="240"/>
                    <a:pt x="545" y="243"/>
                    <a:pt x="542" y="243"/>
                  </a:cubicBezTo>
                  <a:cubicBezTo>
                    <a:pt x="536" y="246"/>
                    <a:pt x="536" y="252"/>
                    <a:pt x="536" y="255"/>
                  </a:cubicBezTo>
                  <a:cubicBezTo>
                    <a:pt x="539" y="255"/>
                    <a:pt x="542" y="255"/>
                    <a:pt x="542" y="255"/>
                  </a:cubicBezTo>
                  <a:cubicBezTo>
                    <a:pt x="545" y="255"/>
                    <a:pt x="542" y="264"/>
                    <a:pt x="542" y="264"/>
                  </a:cubicBezTo>
                  <a:cubicBezTo>
                    <a:pt x="539" y="264"/>
                    <a:pt x="545" y="267"/>
                    <a:pt x="542" y="270"/>
                  </a:cubicBezTo>
                  <a:cubicBezTo>
                    <a:pt x="539" y="270"/>
                    <a:pt x="536" y="276"/>
                    <a:pt x="536" y="276"/>
                  </a:cubicBezTo>
                  <a:cubicBezTo>
                    <a:pt x="539" y="279"/>
                    <a:pt x="548" y="279"/>
                    <a:pt x="551" y="282"/>
                  </a:cubicBezTo>
                  <a:cubicBezTo>
                    <a:pt x="554" y="285"/>
                    <a:pt x="554" y="288"/>
                    <a:pt x="554" y="291"/>
                  </a:cubicBezTo>
                  <a:cubicBezTo>
                    <a:pt x="557" y="294"/>
                    <a:pt x="560" y="294"/>
                    <a:pt x="563" y="294"/>
                  </a:cubicBezTo>
                  <a:cubicBezTo>
                    <a:pt x="563" y="297"/>
                    <a:pt x="557" y="306"/>
                    <a:pt x="554" y="306"/>
                  </a:cubicBezTo>
                  <a:cubicBezTo>
                    <a:pt x="554" y="306"/>
                    <a:pt x="545" y="297"/>
                    <a:pt x="542" y="294"/>
                  </a:cubicBezTo>
                  <a:cubicBezTo>
                    <a:pt x="539" y="294"/>
                    <a:pt x="527" y="291"/>
                    <a:pt x="524" y="288"/>
                  </a:cubicBezTo>
                  <a:cubicBezTo>
                    <a:pt x="518" y="285"/>
                    <a:pt x="515" y="285"/>
                    <a:pt x="509" y="282"/>
                  </a:cubicBezTo>
                  <a:cubicBezTo>
                    <a:pt x="503" y="276"/>
                    <a:pt x="497" y="276"/>
                    <a:pt x="488" y="276"/>
                  </a:cubicBezTo>
                  <a:cubicBezTo>
                    <a:pt x="477" y="276"/>
                    <a:pt x="471" y="273"/>
                    <a:pt x="468" y="273"/>
                  </a:cubicBezTo>
                  <a:cubicBezTo>
                    <a:pt x="465" y="273"/>
                    <a:pt x="465" y="270"/>
                    <a:pt x="459" y="267"/>
                  </a:cubicBezTo>
                  <a:cubicBezTo>
                    <a:pt x="453" y="264"/>
                    <a:pt x="450" y="261"/>
                    <a:pt x="447" y="264"/>
                  </a:cubicBezTo>
                  <a:cubicBezTo>
                    <a:pt x="441" y="264"/>
                    <a:pt x="444" y="273"/>
                    <a:pt x="450" y="273"/>
                  </a:cubicBezTo>
                  <a:cubicBezTo>
                    <a:pt x="453" y="273"/>
                    <a:pt x="453" y="276"/>
                    <a:pt x="456" y="276"/>
                  </a:cubicBezTo>
                  <a:cubicBezTo>
                    <a:pt x="462" y="276"/>
                    <a:pt x="465" y="279"/>
                    <a:pt x="465" y="282"/>
                  </a:cubicBezTo>
                  <a:cubicBezTo>
                    <a:pt x="465" y="285"/>
                    <a:pt x="468" y="288"/>
                    <a:pt x="471" y="291"/>
                  </a:cubicBezTo>
                  <a:cubicBezTo>
                    <a:pt x="471" y="294"/>
                    <a:pt x="471" y="297"/>
                    <a:pt x="465" y="297"/>
                  </a:cubicBezTo>
                  <a:cubicBezTo>
                    <a:pt x="462" y="297"/>
                    <a:pt x="456" y="297"/>
                    <a:pt x="459" y="300"/>
                  </a:cubicBezTo>
                  <a:cubicBezTo>
                    <a:pt x="462" y="303"/>
                    <a:pt x="456" y="303"/>
                    <a:pt x="453" y="303"/>
                  </a:cubicBezTo>
                  <a:cubicBezTo>
                    <a:pt x="447" y="300"/>
                    <a:pt x="450" y="297"/>
                    <a:pt x="453" y="297"/>
                  </a:cubicBezTo>
                  <a:cubicBezTo>
                    <a:pt x="456" y="294"/>
                    <a:pt x="450" y="291"/>
                    <a:pt x="447" y="291"/>
                  </a:cubicBezTo>
                  <a:cubicBezTo>
                    <a:pt x="444" y="291"/>
                    <a:pt x="432" y="297"/>
                    <a:pt x="429" y="300"/>
                  </a:cubicBezTo>
                  <a:cubicBezTo>
                    <a:pt x="426" y="300"/>
                    <a:pt x="417" y="297"/>
                    <a:pt x="411" y="300"/>
                  </a:cubicBezTo>
                  <a:cubicBezTo>
                    <a:pt x="402" y="303"/>
                    <a:pt x="402" y="309"/>
                    <a:pt x="399" y="306"/>
                  </a:cubicBezTo>
                  <a:cubicBezTo>
                    <a:pt x="396" y="306"/>
                    <a:pt x="387" y="309"/>
                    <a:pt x="384" y="306"/>
                  </a:cubicBezTo>
                  <a:cubicBezTo>
                    <a:pt x="381" y="303"/>
                    <a:pt x="384" y="303"/>
                    <a:pt x="387" y="303"/>
                  </a:cubicBezTo>
                  <a:cubicBezTo>
                    <a:pt x="390" y="303"/>
                    <a:pt x="390" y="303"/>
                    <a:pt x="390" y="300"/>
                  </a:cubicBezTo>
                  <a:cubicBezTo>
                    <a:pt x="387" y="297"/>
                    <a:pt x="393" y="294"/>
                    <a:pt x="393" y="291"/>
                  </a:cubicBezTo>
                  <a:cubicBezTo>
                    <a:pt x="393" y="291"/>
                    <a:pt x="378" y="294"/>
                    <a:pt x="378" y="297"/>
                  </a:cubicBezTo>
                  <a:cubicBezTo>
                    <a:pt x="375" y="297"/>
                    <a:pt x="378" y="303"/>
                    <a:pt x="375" y="303"/>
                  </a:cubicBezTo>
                  <a:cubicBezTo>
                    <a:pt x="372" y="303"/>
                    <a:pt x="372" y="300"/>
                    <a:pt x="369" y="300"/>
                  </a:cubicBezTo>
                  <a:cubicBezTo>
                    <a:pt x="366" y="300"/>
                    <a:pt x="348" y="303"/>
                    <a:pt x="345" y="309"/>
                  </a:cubicBezTo>
                  <a:cubicBezTo>
                    <a:pt x="339" y="312"/>
                    <a:pt x="333" y="312"/>
                    <a:pt x="333" y="315"/>
                  </a:cubicBezTo>
                  <a:cubicBezTo>
                    <a:pt x="333" y="318"/>
                    <a:pt x="324" y="315"/>
                    <a:pt x="321" y="318"/>
                  </a:cubicBezTo>
                  <a:cubicBezTo>
                    <a:pt x="318" y="321"/>
                    <a:pt x="318" y="327"/>
                    <a:pt x="318" y="330"/>
                  </a:cubicBezTo>
                  <a:cubicBezTo>
                    <a:pt x="318" y="333"/>
                    <a:pt x="303" y="333"/>
                    <a:pt x="300" y="333"/>
                  </a:cubicBezTo>
                  <a:cubicBezTo>
                    <a:pt x="294" y="333"/>
                    <a:pt x="294" y="324"/>
                    <a:pt x="291" y="324"/>
                  </a:cubicBezTo>
                  <a:cubicBezTo>
                    <a:pt x="285" y="324"/>
                    <a:pt x="288" y="318"/>
                    <a:pt x="288" y="318"/>
                  </a:cubicBezTo>
                  <a:cubicBezTo>
                    <a:pt x="291" y="315"/>
                    <a:pt x="294" y="315"/>
                    <a:pt x="297" y="315"/>
                  </a:cubicBezTo>
                  <a:cubicBezTo>
                    <a:pt x="300" y="312"/>
                    <a:pt x="306" y="315"/>
                    <a:pt x="306" y="312"/>
                  </a:cubicBezTo>
                  <a:cubicBezTo>
                    <a:pt x="309" y="312"/>
                    <a:pt x="300" y="306"/>
                    <a:pt x="300" y="303"/>
                  </a:cubicBezTo>
                  <a:cubicBezTo>
                    <a:pt x="300" y="297"/>
                    <a:pt x="291" y="297"/>
                    <a:pt x="285" y="297"/>
                  </a:cubicBezTo>
                  <a:cubicBezTo>
                    <a:pt x="282" y="300"/>
                    <a:pt x="276" y="300"/>
                    <a:pt x="273" y="297"/>
                  </a:cubicBezTo>
                  <a:cubicBezTo>
                    <a:pt x="270" y="294"/>
                    <a:pt x="270" y="300"/>
                    <a:pt x="273" y="300"/>
                  </a:cubicBezTo>
                  <a:cubicBezTo>
                    <a:pt x="279" y="303"/>
                    <a:pt x="276" y="306"/>
                    <a:pt x="276" y="309"/>
                  </a:cubicBezTo>
                  <a:cubicBezTo>
                    <a:pt x="279" y="312"/>
                    <a:pt x="276" y="318"/>
                    <a:pt x="273" y="321"/>
                  </a:cubicBezTo>
                  <a:cubicBezTo>
                    <a:pt x="270" y="327"/>
                    <a:pt x="273" y="327"/>
                    <a:pt x="276" y="327"/>
                  </a:cubicBezTo>
                  <a:cubicBezTo>
                    <a:pt x="282" y="324"/>
                    <a:pt x="282" y="330"/>
                    <a:pt x="282" y="336"/>
                  </a:cubicBezTo>
                  <a:cubicBezTo>
                    <a:pt x="282" y="339"/>
                    <a:pt x="276" y="342"/>
                    <a:pt x="276" y="345"/>
                  </a:cubicBezTo>
                  <a:cubicBezTo>
                    <a:pt x="276" y="348"/>
                    <a:pt x="273" y="342"/>
                    <a:pt x="273" y="345"/>
                  </a:cubicBezTo>
                  <a:cubicBezTo>
                    <a:pt x="270" y="345"/>
                    <a:pt x="270" y="342"/>
                    <a:pt x="270" y="342"/>
                  </a:cubicBezTo>
                  <a:cubicBezTo>
                    <a:pt x="270" y="339"/>
                    <a:pt x="261" y="339"/>
                    <a:pt x="258" y="339"/>
                  </a:cubicBezTo>
                  <a:cubicBezTo>
                    <a:pt x="255" y="339"/>
                    <a:pt x="252" y="339"/>
                    <a:pt x="252" y="342"/>
                  </a:cubicBezTo>
                  <a:cubicBezTo>
                    <a:pt x="249" y="345"/>
                    <a:pt x="243" y="345"/>
                    <a:pt x="240" y="345"/>
                  </a:cubicBezTo>
                  <a:cubicBezTo>
                    <a:pt x="237" y="348"/>
                    <a:pt x="234" y="351"/>
                    <a:pt x="231" y="354"/>
                  </a:cubicBezTo>
                  <a:cubicBezTo>
                    <a:pt x="228" y="357"/>
                    <a:pt x="225" y="360"/>
                    <a:pt x="231" y="363"/>
                  </a:cubicBezTo>
                  <a:cubicBezTo>
                    <a:pt x="234" y="369"/>
                    <a:pt x="237" y="372"/>
                    <a:pt x="234" y="372"/>
                  </a:cubicBezTo>
                  <a:cubicBezTo>
                    <a:pt x="234" y="375"/>
                    <a:pt x="225" y="375"/>
                    <a:pt x="222" y="372"/>
                  </a:cubicBezTo>
                  <a:cubicBezTo>
                    <a:pt x="219" y="369"/>
                    <a:pt x="213" y="369"/>
                    <a:pt x="210" y="369"/>
                  </a:cubicBezTo>
                  <a:cubicBezTo>
                    <a:pt x="207" y="369"/>
                    <a:pt x="201" y="363"/>
                    <a:pt x="198" y="363"/>
                  </a:cubicBezTo>
                  <a:cubicBezTo>
                    <a:pt x="195" y="363"/>
                    <a:pt x="192" y="366"/>
                    <a:pt x="189" y="369"/>
                  </a:cubicBezTo>
                  <a:cubicBezTo>
                    <a:pt x="189" y="369"/>
                    <a:pt x="192" y="372"/>
                    <a:pt x="195" y="375"/>
                  </a:cubicBezTo>
                  <a:cubicBezTo>
                    <a:pt x="195" y="378"/>
                    <a:pt x="201" y="378"/>
                    <a:pt x="204" y="378"/>
                  </a:cubicBezTo>
                  <a:cubicBezTo>
                    <a:pt x="207" y="378"/>
                    <a:pt x="207" y="384"/>
                    <a:pt x="207" y="384"/>
                  </a:cubicBezTo>
                  <a:cubicBezTo>
                    <a:pt x="204" y="387"/>
                    <a:pt x="198" y="390"/>
                    <a:pt x="198" y="387"/>
                  </a:cubicBezTo>
                  <a:cubicBezTo>
                    <a:pt x="195" y="384"/>
                    <a:pt x="189" y="387"/>
                    <a:pt x="189" y="384"/>
                  </a:cubicBezTo>
                  <a:cubicBezTo>
                    <a:pt x="189" y="381"/>
                    <a:pt x="183" y="378"/>
                    <a:pt x="177" y="378"/>
                  </a:cubicBezTo>
                  <a:cubicBezTo>
                    <a:pt x="174" y="378"/>
                    <a:pt x="171" y="375"/>
                    <a:pt x="171" y="372"/>
                  </a:cubicBezTo>
                  <a:cubicBezTo>
                    <a:pt x="174" y="369"/>
                    <a:pt x="168" y="366"/>
                    <a:pt x="171" y="363"/>
                  </a:cubicBezTo>
                  <a:cubicBezTo>
                    <a:pt x="171" y="363"/>
                    <a:pt x="168" y="357"/>
                    <a:pt x="171" y="357"/>
                  </a:cubicBezTo>
                  <a:cubicBezTo>
                    <a:pt x="174" y="354"/>
                    <a:pt x="171" y="351"/>
                    <a:pt x="171" y="348"/>
                  </a:cubicBezTo>
                  <a:cubicBezTo>
                    <a:pt x="171" y="345"/>
                    <a:pt x="165" y="342"/>
                    <a:pt x="162" y="342"/>
                  </a:cubicBezTo>
                  <a:cubicBezTo>
                    <a:pt x="159" y="342"/>
                    <a:pt x="159" y="339"/>
                    <a:pt x="156" y="339"/>
                  </a:cubicBezTo>
                  <a:cubicBezTo>
                    <a:pt x="153" y="336"/>
                    <a:pt x="144" y="330"/>
                    <a:pt x="144" y="327"/>
                  </a:cubicBezTo>
                  <a:cubicBezTo>
                    <a:pt x="144" y="327"/>
                    <a:pt x="138" y="327"/>
                    <a:pt x="141" y="324"/>
                  </a:cubicBezTo>
                  <a:cubicBezTo>
                    <a:pt x="141" y="324"/>
                    <a:pt x="147" y="324"/>
                    <a:pt x="150" y="327"/>
                  </a:cubicBezTo>
                  <a:cubicBezTo>
                    <a:pt x="153" y="330"/>
                    <a:pt x="156" y="333"/>
                    <a:pt x="165" y="336"/>
                  </a:cubicBezTo>
                  <a:cubicBezTo>
                    <a:pt x="174" y="336"/>
                    <a:pt x="177" y="339"/>
                    <a:pt x="186" y="342"/>
                  </a:cubicBezTo>
                  <a:cubicBezTo>
                    <a:pt x="192" y="342"/>
                    <a:pt x="198" y="342"/>
                    <a:pt x="210" y="345"/>
                  </a:cubicBezTo>
                  <a:cubicBezTo>
                    <a:pt x="222" y="348"/>
                    <a:pt x="240" y="333"/>
                    <a:pt x="243" y="330"/>
                  </a:cubicBezTo>
                  <a:cubicBezTo>
                    <a:pt x="246" y="327"/>
                    <a:pt x="243" y="321"/>
                    <a:pt x="243" y="318"/>
                  </a:cubicBezTo>
                  <a:cubicBezTo>
                    <a:pt x="243" y="315"/>
                    <a:pt x="237" y="315"/>
                    <a:pt x="237" y="312"/>
                  </a:cubicBezTo>
                  <a:cubicBezTo>
                    <a:pt x="234" y="312"/>
                    <a:pt x="231" y="306"/>
                    <a:pt x="228" y="306"/>
                  </a:cubicBezTo>
                  <a:cubicBezTo>
                    <a:pt x="222" y="306"/>
                    <a:pt x="222" y="300"/>
                    <a:pt x="216" y="303"/>
                  </a:cubicBezTo>
                  <a:cubicBezTo>
                    <a:pt x="213" y="303"/>
                    <a:pt x="210" y="300"/>
                    <a:pt x="201" y="294"/>
                  </a:cubicBezTo>
                  <a:cubicBezTo>
                    <a:pt x="192" y="288"/>
                    <a:pt x="177" y="282"/>
                    <a:pt x="174" y="282"/>
                  </a:cubicBezTo>
                  <a:cubicBezTo>
                    <a:pt x="171" y="285"/>
                    <a:pt x="171" y="285"/>
                    <a:pt x="168" y="282"/>
                  </a:cubicBezTo>
                  <a:cubicBezTo>
                    <a:pt x="168" y="279"/>
                    <a:pt x="162" y="279"/>
                    <a:pt x="162" y="282"/>
                  </a:cubicBezTo>
                  <a:cubicBezTo>
                    <a:pt x="159" y="285"/>
                    <a:pt x="156" y="279"/>
                    <a:pt x="150" y="282"/>
                  </a:cubicBezTo>
                  <a:cubicBezTo>
                    <a:pt x="144" y="282"/>
                    <a:pt x="144" y="279"/>
                    <a:pt x="144" y="279"/>
                  </a:cubicBezTo>
                  <a:cubicBezTo>
                    <a:pt x="144" y="276"/>
                    <a:pt x="153" y="279"/>
                    <a:pt x="153" y="276"/>
                  </a:cubicBezTo>
                  <a:cubicBezTo>
                    <a:pt x="153" y="273"/>
                    <a:pt x="150" y="276"/>
                    <a:pt x="144" y="273"/>
                  </a:cubicBezTo>
                  <a:cubicBezTo>
                    <a:pt x="141" y="270"/>
                    <a:pt x="138" y="270"/>
                    <a:pt x="138" y="273"/>
                  </a:cubicBezTo>
                  <a:cubicBezTo>
                    <a:pt x="135" y="276"/>
                    <a:pt x="132" y="276"/>
                    <a:pt x="129" y="273"/>
                  </a:cubicBezTo>
                  <a:cubicBezTo>
                    <a:pt x="129" y="273"/>
                    <a:pt x="129" y="273"/>
                    <a:pt x="129" y="273"/>
                  </a:cubicBezTo>
                  <a:cubicBezTo>
                    <a:pt x="129" y="276"/>
                    <a:pt x="126" y="276"/>
                    <a:pt x="123" y="276"/>
                  </a:cubicBezTo>
                  <a:cubicBezTo>
                    <a:pt x="120" y="276"/>
                    <a:pt x="117" y="282"/>
                    <a:pt x="114" y="282"/>
                  </a:cubicBezTo>
                  <a:cubicBezTo>
                    <a:pt x="111" y="282"/>
                    <a:pt x="108" y="285"/>
                    <a:pt x="105" y="288"/>
                  </a:cubicBezTo>
                  <a:cubicBezTo>
                    <a:pt x="105" y="291"/>
                    <a:pt x="102" y="288"/>
                    <a:pt x="102" y="291"/>
                  </a:cubicBezTo>
                  <a:cubicBezTo>
                    <a:pt x="102" y="294"/>
                    <a:pt x="102" y="294"/>
                    <a:pt x="99" y="297"/>
                  </a:cubicBezTo>
                  <a:cubicBezTo>
                    <a:pt x="99" y="300"/>
                    <a:pt x="99" y="300"/>
                    <a:pt x="102" y="303"/>
                  </a:cubicBezTo>
                  <a:cubicBezTo>
                    <a:pt x="105" y="306"/>
                    <a:pt x="108" y="306"/>
                    <a:pt x="108" y="309"/>
                  </a:cubicBezTo>
                  <a:cubicBezTo>
                    <a:pt x="111" y="309"/>
                    <a:pt x="117" y="315"/>
                    <a:pt x="117" y="315"/>
                  </a:cubicBezTo>
                  <a:cubicBezTo>
                    <a:pt x="117" y="318"/>
                    <a:pt x="111" y="324"/>
                    <a:pt x="111" y="324"/>
                  </a:cubicBezTo>
                  <a:cubicBezTo>
                    <a:pt x="108" y="327"/>
                    <a:pt x="105" y="330"/>
                    <a:pt x="108" y="330"/>
                  </a:cubicBezTo>
                  <a:cubicBezTo>
                    <a:pt x="108" y="333"/>
                    <a:pt x="114" y="342"/>
                    <a:pt x="117" y="348"/>
                  </a:cubicBezTo>
                  <a:cubicBezTo>
                    <a:pt x="120" y="354"/>
                    <a:pt x="117" y="351"/>
                    <a:pt x="114" y="354"/>
                  </a:cubicBezTo>
                  <a:cubicBezTo>
                    <a:pt x="111" y="357"/>
                    <a:pt x="114" y="360"/>
                    <a:pt x="114" y="363"/>
                  </a:cubicBezTo>
                  <a:cubicBezTo>
                    <a:pt x="117" y="366"/>
                    <a:pt x="111" y="366"/>
                    <a:pt x="114" y="366"/>
                  </a:cubicBezTo>
                  <a:cubicBezTo>
                    <a:pt x="114" y="369"/>
                    <a:pt x="117" y="369"/>
                    <a:pt x="117" y="369"/>
                  </a:cubicBezTo>
                  <a:cubicBezTo>
                    <a:pt x="120" y="372"/>
                    <a:pt x="114" y="372"/>
                    <a:pt x="117" y="375"/>
                  </a:cubicBezTo>
                  <a:cubicBezTo>
                    <a:pt x="117" y="378"/>
                    <a:pt x="123" y="378"/>
                    <a:pt x="123" y="381"/>
                  </a:cubicBezTo>
                  <a:cubicBezTo>
                    <a:pt x="123" y="384"/>
                    <a:pt x="114" y="387"/>
                    <a:pt x="117" y="387"/>
                  </a:cubicBezTo>
                  <a:cubicBezTo>
                    <a:pt x="117" y="390"/>
                    <a:pt x="126" y="393"/>
                    <a:pt x="129" y="399"/>
                  </a:cubicBezTo>
                  <a:cubicBezTo>
                    <a:pt x="135" y="405"/>
                    <a:pt x="135" y="405"/>
                    <a:pt x="132" y="408"/>
                  </a:cubicBezTo>
                  <a:cubicBezTo>
                    <a:pt x="132" y="414"/>
                    <a:pt x="120" y="417"/>
                    <a:pt x="117" y="423"/>
                  </a:cubicBezTo>
                  <a:cubicBezTo>
                    <a:pt x="114" y="429"/>
                    <a:pt x="105" y="435"/>
                    <a:pt x="99" y="438"/>
                  </a:cubicBezTo>
                  <a:cubicBezTo>
                    <a:pt x="96" y="441"/>
                    <a:pt x="96" y="444"/>
                    <a:pt x="93" y="444"/>
                  </a:cubicBezTo>
                  <a:cubicBezTo>
                    <a:pt x="96" y="444"/>
                    <a:pt x="96" y="444"/>
                    <a:pt x="99" y="444"/>
                  </a:cubicBezTo>
                  <a:cubicBezTo>
                    <a:pt x="102" y="441"/>
                    <a:pt x="102" y="450"/>
                    <a:pt x="105" y="450"/>
                  </a:cubicBezTo>
                  <a:cubicBezTo>
                    <a:pt x="108" y="453"/>
                    <a:pt x="114" y="450"/>
                    <a:pt x="114" y="453"/>
                  </a:cubicBezTo>
                  <a:cubicBezTo>
                    <a:pt x="117" y="456"/>
                    <a:pt x="114" y="456"/>
                    <a:pt x="111" y="453"/>
                  </a:cubicBezTo>
                  <a:cubicBezTo>
                    <a:pt x="105" y="453"/>
                    <a:pt x="105" y="456"/>
                    <a:pt x="99" y="459"/>
                  </a:cubicBezTo>
                  <a:cubicBezTo>
                    <a:pt x="96" y="459"/>
                    <a:pt x="96" y="462"/>
                    <a:pt x="93" y="462"/>
                  </a:cubicBezTo>
                  <a:cubicBezTo>
                    <a:pt x="96" y="465"/>
                    <a:pt x="93" y="468"/>
                    <a:pt x="90" y="471"/>
                  </a:cubicBezTo>
                  <a:cubicBezTo>
                    <a:pt x="90" y="474"/>
                    <a:pt x="87" y="474"/>
                    <a:pt x="87" y="477"/>
                  </a:cubicBezTo>
                  <a:cubicBezTo>
                    <a:pt x="87" y="477"/>
                    <a:pt x="87" y="480"/>
                    <a:pt x="87" y="483"/>
                  </a:cubicBezTo>
                  <a:cubicBezTo>
                    <a:pt x="90" y="486"/>
                    <a:pt x="90" y="486"/>
                    <a:pt x="90" y="489"/>
                  </a:cubicBezTo>
                  <a:cubicBezTo>
                    <a:pt x="93" y="492"/>
                    <a:pt x="90" y="492"/>
                    <a:pt x="87" y="492"/>
                  </a:cubicBezTo>
                  <a:cubicBezTo>
                    <a:pt x="87" y="492"/>
                    <a:pt x="87" y="495"/>
                    <a:pt x="90" y="498"/>
                  </a:cubicBezTo>
                  <a:cubicBezTo>
                    <a:pt x="90" y="501"/>
                    <a:pt x="90" y="501"/>
                    <a:pt x="90" y="504"/>
                  </a:cubicBezTo>
                  <a:cubicBezTo>
                    <a:pt x="90" y="507"/>
                    <a:pt x="93" y="510"/>
                    <a:pt x="93" y="510"/>
                  </a:cubicBezTo>
                  <a:cubicBezTo>
                    <a:pt x="96" y="513"/>
                    <a:pt x="96" y="516"/>
                    <a:pt x="96" y="519"/>
                  </a:cubicBezTo>
                  <a:cubicBezTo>
                    <a:pt x="99" y="519"/>
                    <a:pt x="99" y="522"/>
                    <a:pt x="102" y="519"/>
                  </a:cubicBezTo>
                  <a:cubicBezTo>
                    <a:pt x="105" y="519"/>
                    <a:pt x="108" y="522"/>
                    <a:pt x="108" y="522"/>
                  </a:cubicBezTo>
                  <a:cubicBezTo>
                    <a:pt x="111" y="525"/>
                    <a:pt x="111" y="525"/>
                    <a:pt x="114" y="522"/>
                  </a:cubicBezTo>
                  <a:cubicBezTo>
                    <a:pt x="117" y="522"/>
                    <a:pt x="123" y="525"/>
                    <a:pt x="126" y="525"/>
                  </a:cubicBezTo>
                  <a:cubicBezTo>
                    <a:pt x="126" y="528"/>
                    <a:pt x="126" y="531"/>
                    <a:pt x="126" y="534"/>
                  </a:cubicBezTo>
                  <a:cubicBezTo>
                    <a:pt x="126" y="537"/>
                    <a:pt x="126" y="540"/>
                    <a:pt x="129" y="543"/>
                  </a:cubicBezTo>
                  <a:cubicBezTo>
                    <a:pt x="129" y="543"/>
                    <a:pt x="129" y="546"/>
                    <a:pt x="132" y="549"/>
                  </a:cubicBezTo>
                  <a:cubicBezTo>
                    <a:pt x="135" y="549"/>
                    <a:pt x="138" y="555"/>
                    <a:pt x="138" y="555"/>
                  </a:cubicBezTo>
                  <a:cubicBezTo>
                    <a:pt x="141" y="555"/>
                    <a:pt x="144" y="558"/>
                    <a:pt x="147" y="561"/>
                  </a:cubicBezTo>
                  <a:cubicBezTo>
                    <a:pt x="147" y="564"/>
                    <a:pt x="141" y="564"/>
                    <a:pt x="141" y="567"/>
                  </a:cubicBezTo>
                  <a:cubicBezTo>
                    <a:pt x="138" y="567"/>
                    <a:pt x="132" y="564"/>
                    <a:pt x="132" y="564"/>
                  </a:cubicBezTo>
                  <a:cubicBezTo>
                    <a:pt x="129" y="567"/>
                    <a:pt x="132" y="570"/>
                    <a:pt x="135" y="576"/>
                  </a:cubicBezTo>
                  <a:cubicBezTo>
                    <a:pt x="135" y="582"/>
                    <a:pt x="135" y="582"/>
                    <a:pt x="138" y="582"/>
                  </a:cubicBezTo>
                  <a:cubicBezTo>
                    <a:pt x="141" y="582"/>
                    <a:pt x="141" y="579"/>
                    <a:pt x="144" y="579"/>
                  </a:cubicBezTo>
                  <a:cubicBezTo>
                    <a:pt x="144" y="576"/>
                    <a:pt x="150" y="579"/>
                    <a:pt x="150" y="579"/>
                  </a:cubicBezTo>
                  <a:cubicBezTo>
                    <a:pt x="153" y="576"/>
                    <a:pt x="159" y="576"/>
                    <a:pt x="159" y="579"/>
                  </a:cubicBezTo>
                  <a:cubicBezTo>
                    <a:pt x="162" y="582"/>
                    <a:pt x="162" y="585"/>
                    <a:pt x="162" y="588"/>
                  </a:cubicBezTo>
                  <a:cubicBezTo>
                    <a:pt x="162" y="588"/>
                    <a:pt x="162" y="591"/>
                    <a:pt x="165" y="594"/>
                  </a:cubicBezTo>
                  <a:cubicBezTo>
                    <a:pt x="165" y="597"/>
                    <a:pt x="171" y="594"/>
                    <a:pt x="174" y="597"/>
                  </a:cubicBezTo>
                  <a:cubicBezTo>
                    <a:pt x="174" y="597"/>
                    <a:pt x="177" y="603"/>
                    <a:pt x="177" y="606"/>
                  </a:cubicBezTo>
                  <a:cubicBezTo>
                    <a:pt x="177" y="606"/>
                    <a:pt x="180" y="609"/>
                    <a:pt x="183" y="606"/>
                  </a:cubicBezTo>
                  <a:cubicBezTo>
                    <a:pt x="186" y="609"/>
                    <a:pt x="186" y="609"/>
                    <a:pt x="186" y="609"/>
                  </a:cubicBezTo>
                  <a:cubicBezTo>
                    <a:pt x="189" y="612"/>
                    <a:pt x="192" y="609"/>
                    <a:pt x="192" y="609"/>
                  </a:cubicBezTo>
                  <a:cubicBezTo>
                    <a:pt x="195" y="609"/>
                    <a:pt x="198" y="606"/>
                    <a:pt x="198" y="609"/>
                  </a:cubicBezTo>
                  <a:cubicBezTo>
                    <a:pt x="201" y="609"/>
                    <a:pt x="204" y="612"/>
                    <a:pt x="204" y="615"/>
                  </a:cubicBezTo>
                  <a:cubicBezTo>
                    <a:pt x="204" y="615"/>
                    <a:pt x="210" y="615"/>
                    <a:pt x="213" y="615"/>
                  </a:cubicBezTo>
                  <a:cubicBezTo>
                    <a:pt x="216" y="618"/>
                    <a:pt x="219" y="618"/>
                    <a:pt x="222" y="618"/>
                  </a:cubicBezTo>
                  <a:cubicBezTo>
                    <a:pt x="225" y="621"/>
                    <a:pt x="228" y="621"/>
                    <a:pt x="231" y="621"/>
                  </a:cubicBezTo>
                  <a:cubicBezTo>
                    <a:pt x="231" y="624"/>
                    <a:pt x="225" y="627"/>
                    <a:pt x="225" y="627"/>
                  </a:cubicBezTo>
                  <a:cubicBezTo>
                    <a:pt x="228" y="630"/>
                    <a:pt x="228" y="630"/>
                    <a:pt x="228" y="630"/>
                  </a:cubicBezTo>
                  <a:cubicBezTo>
                    <a:pt x="228" y="633"/>
                    <a:pt x="225" y="633"/>
                    <a:pt x="225" y="633"/>
                  </a:cubicBezTo>
                  <a:cubicBezTo>
                    <a:pt x="228" y="636"/>
                    <a:pt x="228" y="636"/>
                    <a:pt x="228" y="636"/>
                  </a:cubicBezTo>
                  <a:cubicBezTo>
                    <a:pt x="228" y="639"/>
                    <a:pt x="225" y="642"/>
                    <a:pt x="225" y="645"/>
                  </a:cubicBezTo>
                  <a:cubicBezTo>
                    <a:pt x="225" y="645"/>
                    <a:pt x="219" y="645"/>
                    <a:pt x="216" y="645"/>
                  </a:cubicBezTo>
                  <a:cubicBezTo>
                    <a:pt x="216" y="645"/>
                    <a:pt x="210" y="651"/>
                    <a:pt x="207" y="651"/>
                  </a:cubicBezTo>
                  <a:cubicBezTo>
                    <a:pt x="207" y="654"/>
                    <a:pt x="207" y="654"/>
                    <a:pt x="207" y="654"/>
                  </a:cubicBezTo>
                  <a:cubicBezTo>
                    <a:pt x="213" y="654"/>
                    <a:pt x="219" y="654"/>
                    <a:pt x="219" y="654"/>
                  </a:cubicBezTo>
                  <a:cubicBezTo>
                    <a:pt x="219" y="657"/>
                    <a:pt x="207" y="663"/>
                    <a:pt x="204" y="663"/>
                  </a:cubicBezTo>
                  <a:cubicBezTo>
                    <a:pt x="204" y="663"/>
                    <a:pt x="210" y="666"/>
                    <a:pt x="210" y="669"/>
                  </a:cubicBezTo>
                  <a:cubicBezTo>
                    <a:pt x="210" y="672"/>
                    <a:pt x="201" y="672"/>
                    <a:pt x="204" y="675"/>
                  </a:cubicBezTo>
                  <a:cubicBezTo>
                    <a:pt x="204" y="681"/>
                    <a:pt x="201" y="681"/>
                    <a:pt x="195" y="681"/>
                  </a:cubicBezTo>
                  <a:cubicBezTo>
                    <a:pt x="192" y="681"/>
                    <a:pt x="192" y="684"/>
                    <a:pt x="192" y="684"/>
                  </a:cubicBezTo>
                  <a:cubicBezTo>
                    <a:pt x="195" y="684"/>
                    <a:pt x="195" y="690"/>
                    <a:pt x="201" y="690"/>
                  </a:cubicBezTo>
                  <a:cubicBezTo>
                    <a:pt x="210" y="693"/>
                    <a:pt x="216" y="699"/>
                    <a:pt x="222" y="705"/>
                  </a:cubicBezTo>
                  <a:cubicBezTo>
                    <a:pt x="225" y="708"/>
                    <a:pt x="225" y="708"/>
                    <a:pt x="225" y="708"/>
                  </a:cubicBezTo>
                  <a:cubicBezTo>
                    <a:pt x="228" y="708"/>
                    <a:pt x="228" y="705"/>
                    <a:pt x="231" y="705"/>
                  </a:cubicBezTo>
                  <a:cubicBezTo>
                    <a:pt x="234" y="705"/>
                    <a:pt x="240" y="708"/>
                    <a:pt x="243" y="711"/>
                  </a:cubicBezTo>
                  <a:cubicBezTo>
                    <a:pt x="246" y="714"/>
                    <a:pt x="261" y="711"/>
                    <a:pt x="261" y="711"/>
                  </a:cubicBezTo>
                  <a:cubicBezTo>
                    <a:pt x="264" y="714"/>
                    <a:pt x="267" y="717"/>
                    <a:pt x="267" y="717"/>
                  </a:cubicBezTo>
                  <a:cubicBezTo>
                    <a:pt x="270" y="717"/>
                    <a:pt x="273" y="720"/>
                    <a:pt x="276" y="720"/>
                  </a:cubicBezTo>
                  <a:cubicBezTo>
                    <a:pt x="276" y="717"/>
                    <a:pt x="285" y="717"/>
                    <a:pt x="288" y="717"/>
                  </a:cubicBezTo>
                  <a:cubicBezTo>
                    <a:pt x="288" y="717"/>
                    <a:pt x="288" y="720"/>
                    <a:pt x="291" y="720"/>
                  </a:cubicBezTo>
                  <a:cubicBezTo>
                    <a:pt x="294" y="720"/>
                    <a:pt x="294" y="726"/>
                    <a:pt x="294" y="726"/>
                  </a:cubicBezTo>
                  <a:cubicBezTo>
                    <a:pt x="297" y="726"/>
                    <a:pt x="300" y="732"/>
                    <a:pt x="306" y="732"/>
                  </a:cubicBezTo>
                  <a:cubicBezTo>
                    <a:pt x="309" y="732"/>
                    <a:pt x="312" y="738"/>
                    <a:pt x="312" y="738"/>
                  </a:cubicBezTo>
                  <a:cubicBezTo>
                    <a:pt x="315" y="738"/>
                    <a:pt x="318" y="741"/>
                    <a:pt x="318" y="738"/>
                  </a:cubicBezTo>
                  <a:cubicBezTo>
                    <a:pt x="318" y="735"/>
                    <a:pt x="324" y="735"/>
                    <a:pt x="327" y="732"/>
                  </a:cubicBezTo>
                  <a:cubicBezTo>
                    <a:pt x="318" y="723"/>
                    <a:pt x="312" y="717"/>
                    <a:pt x="312" y="714"/>
                  </a:cubicBezTo>
                  <a:cubicBezTo>
                    <a:pt x="312" y="708"/>
                    <a:pt x="315" y="702"/>
                    <a:pt x="309" y="696"/>
                  </a:cubicBezTo>
                  <a:cubicBezTo>
                    <a:pt x="300" y="690"/>
                    <a:pt x="309" y="687"/>
                    <a:pt x="315" y="681"/>
                  </a:cubicBezTo>
                  <a:cubicBezTo>
                    <a:pt x="318" y="675"/>
                    <a:pt x="327" y="672"/>
                    <a:pt x="333" y="669"/>
                  </a:cubicBezTo>
                  <a:cubicBezTo>
                    <a:pt x="333" y="669"/>
                    <a:pt x="333" y="666"/>
                    <a:pt x="330" y="666"/>
                  </a:cubicBezTo>
                  <a:cubicBezTo>
                    <a:pt x="327" y="666"/>
                    <a:pt x="324" y="663"/>
                    <a:pt x="327" y="663"/>
                  </a:cubicBezTo>
                  <a:cubicBezTo>
                    <a:pt x="330" y="660"/>
                    <a:pt x="330" y="660"/>
                    <a:pt x="327" y="654"/>
                  </a:cubicBezTo>
                  <a:cubicBezTo>
                    <a:pt x="324" y="651"/>
                    <a:pt x="321" y="648"/>
                    <a:pt x="318" y="648"/>
                  </a:cubicBezTo>
                  <a:cubicBezTo>
                    <a:pt x="318" y="648"/>
                    <a:pt x="315" y="645"/>
                    <a:pt x="312" y="648"/>
                  </a:cubicBezTo>
                  <a:cubicBezTo>
                    <a:pt x="309" y="648"/>
                    <a:pt x="309" y="645"/>
                    <a:pt x="309" y="642"/>
                  </a:cubicBezTo>
                  <a:cubicBezTo>
                    <a:pt x="309" y="639"/>
                    <a:pt x="303" y="639"/>
                    <a:pt x="303" y="636"/>
                  </a:cubicBezTo>
                  <a:cubicBezTo>
                    <a:pt x="303" y="636"/>
                    <a:pt x="303" y="630"/>
                    <a:pt x="306" y="630"/>
                  </a:cubicBezTo>
                  <a:cubicBezTo>
                    <a:pt x="309" y="627"/>
                    <a:pt x="309" y="627"/>
                    <a:pt x="309" y="627"/>
                  </a:cubicBezTo>
                  <a:cubicBezTo>
                    <a:pt x="309" y="624"/>
                    <a:pt x="303" y="624"/>
                    <a:pt x="306" y="621"/>
                  </a:cubicBezTo>
                  <a:cubicBezTo>
                    <a:pt x="309" y="618"/>
                    <a:pt x="312" y="618"/>
                    <a:pt x="312" y="615"/>
                  </a:cubicBezTo>
                  <a:cubicBezTo>
                    <a:pt x="312" y="609"/>
                    <a:pt x="315" y="606"/>
                    <a:pt x="318" y="609"/>
                  </a:cubicBezTo>
                  <a:cubicBezTo>
                    <a:pt x="321" y="612"/>
                    <a:pt x="324" y="618"/>
                    <a:pt x="327" y="618"/>
                  </a:cubicBezTo>
                  <a:cubicBezTo>
                    <a:pt x="330" y="615"/>
                    <a:pt x="330" y="612"/>
                    <a:pt x="327" y="609"/>
                  </a:cubicBezTo>
                  <a:cubicBezTo>
                    <a:pt x="327" y="609"/>
                    <a:pt x="327" y="606"/>
                    <a:pt x="330" y="603"/>
                  </a:cubicBezTo>
                  <a:cubicBezTo>
                    <a:pt x="336" y="603"/>
                    <a:pt x="333" y="600"/>
                    <a:pt x="336" y="600"/>
                  </a:cubicBezTo>
                  <a:cubicBezTo>
                    <a:pt x="342" y="600"/>
                    <a:pt x="348" y="594"/>
                    <a:pt x="348" y="594"/>
                  </a:cubicBezTo>
                  <a:cubicBezTo>
                    <a:pt x="351" y="591"/>
                    <a:pt x="357" y="591"/>
                    <a:pt x="357" y="591"/>
                  </a:cubicBezTo>
                  <a:cubicBezTo>
                    <a:pt x="360" y="591"/>
                    <a:pt x="363" y="594"/>
                    <a:pt x="363" y="591"/>
                  </a:cubicBezTo>
                  <a:cubicBezTo>
                    <a:pt x="366" y="588"/>
                    <a:pt x="372" y="588"/>
                    <a:pt x="372" y="591"/>
                  </a:cubicBezTo>
                  <a:cubicBezTo>
                    <a:pt x="372" y="594"/>
                    <a:pt x="381" y="594"/>
                    <a:pt x="384" y="594"/>
                  </a:cubicBezTo>
                  <a:cubicBezTo>
                    <a:pt x="387" y="597"/>
                    <a:pt x="393" y="600"/>
                    <a:pt x="393" y="603"/>
                  </a:cubicBezTo>
                  <a:cubicBezTo>
                    <a:pt x="393" y="606"/>
                    <a:pt x="396" y="609"/>
                    <a:pt x="396" y="603"/>
                  </a:cubicBezTo>
                  <a:cubicBezTo>
                    <a:pt x="396" y="600"/>
                    <a:pt x="399" y="603"/>
                    <a:pt x="405" y="603"/>
                  </a:cubicBezTo>
                  <a:cubicBezTo>
                    <a:pt x="408" y="606"/>
                    <a:pt x="414" y="606"/>
                    <a:pt x="414" y="603"/>
                  </a:cubicBezTo>
                  <a:cubicBezTo>
                    <a:pt x="414" y="600"/>
                    <a:pt x="423" y="597"/>
                    <a:pt x="426" y="600"/>
                  </a:cubicBezTo>
                  <a:cubicBezTo>
                    <a:pt x="429" y="603"/>
                    <a:pt x="429" y="603"/>
                    <a:pt x="432" y="600"/>
                  </a:cubicBezTo>
                  <a:cubicBezTo>
                    <a:pt x="435" y="597"/>
                    <a:pt x="441" y="597"/>
                    <a:pt x="444" y="600"/>
                  </a:cubicBezTo>
                  <a:cubicBezTo>
                    <a:pt x="444" y="603"/>
                    <a:pt x="447" y="603"/>
                    <a:pt x="450" y="603"/>
                  </a:cubicBezTo>
                  <a:cubicBezTo>
                    <a:pt x="453" y="603"/>
                    <a:pt x="453" y="609"/>
                    <a:pt x="456" y="609"/>
                  </a:cubicBezTo>
                  <a:cubicBezTo>
                    <a:pt x="459" y="606"/>
                    <a:pt x="456" y="603"/>
                    <a:pt x="459" y="603"/>
                  </a:cubicBezTo>
                  <a:cubicBezTo>
                    <a:pt x="462" y="603"/>
                    <a:pt x="465" y="606"/>
                    <a:pt x="468" y="606"/>
                  </a:cubicBezTo>
                  <a:cubicBezTo>
                    <a:pt x="471" y="606"/>
                    <a:pt x="474" y="606"/>
                    <a:pt x="474" y="603"/>
                  </a:cubicBezTo>
                  <a:cubicBezTo>
                    <a:pt x="474" y="600"/>
                    <a:pt x="474" y="594"/>
                    <a:pt x="471" y="594"/>
                  </a:cubicBezTo>
                  <a:cubicBezTo>
                    <a:pt x="471" y="594"/>
                    <a:pt x="468" y="591"/>
                    <a:pt x="465" y="591"/>
                  </a:cubicBezTo>
                  <a:cubicBezTo>
                    <a:pt x="462" y="591"/>
                    <a:pt x="459" y="585"/>
                    <a:pt x="462" y="585"/>
                  </a:cubicBezTo>
                  <a:cubicBezTo>
                    <a:pt x="465" y="585"/>
                    <a:pt x="468" y="582"/>
                    <a:pt x="468" y="579"/>
                  </a:cubicBezTo>
                  <a:cubicBezTo>
                    <a:pt x="468" y="576"/>
                    <a:pt x="465" y="573"/>
                    <a:pt x="471" y="570"/>
                  </a:cubicBezTo>
                  <a:cubicBezTo>
                    <a:pt x="474" y="570"/>
                    <a:pt x="482" y="570"/>
                    <a:pt x="482" y="570"/>
                  </a:cubicBezTo>
                  <a:cubicBezTo>
                    <a:pt x="482" y="567"/>
                    <a:pt x="474" y="567"/>
                    <a:pt x="471" y="564"/>
                  </a:cubicBezTo>
                  <a:cubicBezTo>
                    <a:pt x="471" y="561"/>
                    <a:pt x="471" y="555"/>
                    <a:pt x="471" y="555"/>
                  </a:cubicBezTo>
                  <a:cubicBezTo>
                    <a:pt x="474" y="555"/>
                    <a:pt x="477" y="555"/>
                    <a:pt x="479" y="555"/>
                  </a:cubicBezTo>
                  <a:cubicBezTo>
                    <a:pt x="482" y="552"/>
                    <a:pt x="491" y="555"/>
                    <a:pt x="494" y="552"/>
                  </a:cubicBezTo>
                  <a:cubicBezTo>
                    <a:pt x="497" y="549"/>
                    <a:pt x="506" y="549"/>
                    <a:pt x="512" y="549"/>
                  </a:cubicBezTo>
                  <a:cubicBezTo>
                    <a:pt x="515" y="549"/>
                    <a:pt x="518" y="546"/>
                    <a:pt x="521" y="546"/>
                  </a:cubicBezTo>
                  <a:cubicBezTo>
                    <a:pt x="527" y="546"/>
                    <a:pt x="536" y="543"/>
                    <a:pt x="539" y="543"/>
                  </a:cubicBezTo>
                  <a:cubicBezTo>
                    <a:pt x="542" y="543"/>
                    <a:pt x="554" y="540"/>
                    <a:pt x="554" y="537"/>
                  </a:cubicBezTo>
                  <a:cubicBezTo>
                    <a:pt x="554" y="534"/>
                    <a:pt x="566" y="534"/>
                    <a:pt x="569" y="534"/>
                  </a:cubicBezTo>
                  <a:cubicBezTo>
                    <a:pt x="572" y="534"/>
                    <a:pt x="575" y="537"/>
                    <a:pt x="578" y="534"/>
                  </a:cubicBezTo>
                  <a:cubicBezTo>
                    <a:pt x="581" y="534"/>
                    <a:pt x="584" y="537"/>
                    <a:pt x="584" y="540"/>
                  </a:cubicBezTo>
                  <a:cubicBezTo>
                    <a:pt x="584" y="543"/>
                    <a:pt x="587" y="546"/>
                    <a:pt x="587" y="549"/>
                  </a:cubicBezTo>
                  <a:cubicBezTo>
                    <a:pt x="587" y="549"/>
                    <a:pt x="584" y="552"/>
                    <a:pt x="587" y="552"/>
                  </a:cubicBezTo>
                  <a:cubicBezTo>
                    <a:pt x="587" y="555"/>
                    <a:pt x="593" y="552"/>
                    <a:pt x="596" y="552"/>
                  </a:cubicBezTo>
                  <a:cubicBezTo>
                    <a:pt x="599" y="549"/>
                    <a:pt x="599" y="552"/>
                    <a:pt x="599" y="552"/>
                  </a:cubicBezTo>
                  <a:cubicBezTo>
                    <a:pt x="599" y="555"/>
                    <a:pt x="602" y="555"/>
                    <a:pt x="602" y="555"/>
                  </a:cubicBezTo>
                  <a:cubicBezTo>
                    <a:pt x="602" y="552"/>
                    <a:pt x="608" y="552"/>
                    <a:pt x="608" y="555"/>
                  </a:cubicBezTo>
                  <a:cubicBezTo>
                    <a:pt x="611" y="555"/>
                    <a:pt x="614" y="552"/>
                    <a:pt x="614" y="555"/>
                  </a:cubicBezTo>
                  <a:cubicBezTo>
                    <a:pt x="614" y="558"/>
                    <a:pt x="608" y="561"/>
                    <a:pt x="611" y="564"/>
                  </a:cubicBezTo>
                  <a:cubicBezTo>
                    <a:pt x="614" y="567"/>
                    <a:pt x="614" y="561"/>
                    <a:pt x="620" y="561"/>
                  </a:cubicBezTo>
                  <a:cubicBezTo>
                    <a:pt x="623" y="561"/>
                    <a:pt x="629" y="558"/>
                    <a:pt x="632" y="555"/>
                  </a:cubicBezTo>
                  <a:cubicBezTo>
                    <a:pt x="635" y="555"/>
                    <a:pt x="638" y="552"/>
                    <a:pt x="641" y="549"/>
                  </a:cubicBezTo>
                  <a:cubicBezTo>
                    <a:pt x="644" y="549"/>
                    <a:pt x="650" y="549"/>
                    <a:pt x="650" y="552"/>
                  </a:cubicBezTo>
                  <a:cubicBezTo>
                    <a:pt x="647" y="552"/>
                    <a:pt x="644" y="558"/>
                    <a:pt x="653" y="558"/>
                  </a:cubicBezTo>
                  <a:cubicBezTo>
                    <a:pt x="659" y="561"/>
                    <a:pt x="668" y="576"/>
                    <a:pt x="674" y="585"/>
                  </a:cubicBezTo>
                  <a:cubicBezTo>
                    <a:pt x="677" y="591"/>
                    <a:pt x="683" y="603"/>
                    <a:pt x="686" y="603"/>
                  </a:cubicBezTo>
                  <a:cubicBezTo>
                    <a:pt x="686" y="603"/>
                    <a:pt x="689" y="597"/>
                    <a:pt x="692" y="597"/>
                  </a:cubicBezTo>
                  <a:cubicBezTo>
                    <a:pt x="695" y="597"/>
                    <a:pt x="698" y="603"/>
                    <a:pt x="701" y="603"/>
                  </a:cubicBezTo>
                  <a:cubicBezTo>
                    <a:pt x="704" y="603"/>
                    <a:pt x="707" y="606"/>
                    <a:pt x="710" y="606"/>
                  </a:cubicBezTo>
                  <a:cubicBezTo>
                    <a:pt x="713" y="603"/>
                    <a:pt x="719" y="600"/>
                    <a:pt x="722" y="603"/>
                  </a:cubicBezTo>
                  <a:cubicBezTo>
                    <a:pt x="725" y="603"/>
                    <a:pt x="728" y="603"/>
                    <a:pt x="731" y="609"/>
                  </a:cubicBezTo>
                  <a:cubicBezTo>
                    <a:pt x="731" y="612"/>
                    <a:pt x="734" y="612"/>
                    <a:pt x="737" y="612"/>
                  </a:cubicBezTo>
                  <a:cubicBezTo>
                    <a:pt x="740" y="612"/>
                    <a:pt x="740" y="615"/>
                    <a:pt x="740" y="618"/>
                  </a:cubicBezTo>
                  <a:cubicBezTo>
                    <a:pt x="740" y="621"/>
                    <a:pt x="743" y="621"/>
                    <a:pt x="746" y="621"/>
                  </a:cubicBezTo>
                  <a:cubicBezTo>
                    <a:pt x="746" y="621"/>
                    <a:pt x="752" y="621"/>
                    <a:pt x="755" y="621"/>
                  </a:cubicBezTo>
                  <a:cubicBezTo>
                    <a:pt x="755" y="621"/>
                    <a:pt x="758" y="618"/>
                    <a:pt x="758" y="621"/>
                  </a:cubicBezTo>
                  <a:cubicBezTo>
                    <a:pt x="758" y="624"/>
                    <a:pt x="761" y="627"/>
                    <a:pt x="764" y="627"/>
                  </a:cubicBezTo>
                  <a:cubicBezTo>
                    <a:pt x="764" y="627"/>
                    <a:pt x="770" y="630"/>
                    <a:pt x="770" y="627"/>
                  </a:cubicBezTo>
                  <a:cubicBezTo>
                    <a:pt x="770" y="624"/>
                    <a:pt x="776" y="624"/>
                    <a:pt x="776" y="624"/>
                  </a:cubicBezTo>
                  <a:cubicBezTo>
                    <a:pt x="779" y="624"/>
                    <a:pt x="785" y="621"/>
                    <a:pt x="788" y="618"/>
                  </a:cubicBezTo>
                  <a:cubicBezTo>
                    <a:pt x="788" y="615"/>
                    <a:pt x="794" y="615"/>
                    <a:pt x="797" y="615"/>
                  </a:cubicBezTo>
                  <a:cubicBezTo>
                    <a:pt x="797" y="612"/>
                    <a:pt x="803" y="612"/>
                    <a:pt x="803" y="609"/>
                  </a:cubicBezTo>
                  <a:cubicBezTo>
                    <a:pt x="803" y="606"/>
                    <a:pt x="809" y="609"/>
                    <a:pt x="812" y="606"/>
                  </a:cubicBezTo>
                  <a:cubicBezTo>
                    <a:pt x="812" y="603"/>
                    <a:pt x="818" y="603"/>
                    <a:pt x="818" y="606"/>
                  </a:cubicBezTo>
                  <a:cubicBezTo>
                    <a:pt x="821" y="606"/>
                    <a:pt x="833" y="609"/>
                    <a:pt x="836" y="606"/>
                  </a:cubicBezTo>
                  <a:cubicBezTo>
                    <a:pt x="836" y="606"/>
                    <a:pt x="836" y="612"/>
                    <a:pt x="839" y="615"/>
                  </a:cubicBezTo>
                  <a:cubicBezTo>
                    <a:pt x="839" y="615"/>
                    <a:pt x="845" y="618"/>
                    <a:pt x="848" y="618"/>
                  </a:cubicBezTo>
                  <a:cubicBezTo>
                    <a:pt x="848" y="615"/>
                    <a:pt x="854" y="615"/>
                    <a:pt x="857" y="618"/>
                  </a:cubicBezTo>
                  <a:cubicBezTo>
                    <a:pt x="860" y="618"/>
                    <a:pt x="863" y="621"/>
                    <a:pt x="866" y="618"/>
                  </a:cubicBezTo>
                  <a:cubicBezTo>
                    <a:pt x="866" y="618"/>
                    <a:pt x="872" y="615"/>
                    <a:pt x="875" y="615"/>
                  </a:cubicBezTo>
                  <a:cubicBezTo>
                    <a:pt x="875" y="612"/>
                    <a:pt x="875" y="609"/>
                    <a:pt x="875" y="609"/>
                  </a:cubicBezTo>
                  <a:cubicBezTo>
                    <a:pt x="872" y="606"/>
                    <a:pt x="872" y="600"/>
                    <a:pt x="869" y="597"/>
                  </a:cubicBezTo>
                  <a:cubicBezTo>
                    <a:pt x="875" y="594"/>
                    <a:pt x="875" y="594"/>
                    <a:pt x="875" y="594"/>
                  </a:cubicBezTo>
                  <a:cubicBezTo>
                    <a:pt x="875" y="591"/>
                    <a:pt x="881" y="591"/>
                    <a:pt x="881" y="588"/>
                  </a:cubicBezTo>
                  <a:cubicBezTo>
                    <a:pt x="884" y="585"/>
                    <a:pt x="884" y="585"/>
                    <a:pt x="884" y="585"/>
                  </a:cubicBezTo>
                  <a:cubicBezTo>
                    <a:pt x="887" y="585"/>
                    <a:pt x="893" y="588"/>
                    <a:pt x="893" y="588"/>
                  </a:cubicBezTo>
                  <a:cubicBezTo>
                    <a:pt x="899" y="591"/>
                    <a:pt x="899" y="591"/>
                    <a:pt x="899" y="591"/>
                  </a:cubicBezTo>
                  <a:cubicBezTo>
                    <a:pt x="902" y="591"/>
                    <a:pt x="905" y="591"/>
                    <a:pt x="908" y="594"/>
                  </a:cubicBezTo>
                  <a:cubicBezTo>
                    <a:pt x="911" y="594"/>
                    <a:pt x="917" y="594"/>
                    <a:pt x="920" y="597"/>
                  </a:cubicBezTo>
                  <a:cubicBezTo>
                    <a:pt x="920" y="600"/>
                    <a:pt x="920" y="603"/>
                    <a:pt x="920" y="606"/>
                  </a:cubicBezTo>
                  <a:cubicBezTo>
                    <a:pt x="923" y="609"/>
                    <a:pt x="926" y="612"/>
                    <a:pt x="929" y="612"/>
                  </a:cubicBezTo>
                  <a:cubicBezTo>
                    <a:pt x="929" y="612"/>
                    <a:pt x="935" y="615"/>
                    <a:pt x="938" y="615"/>
                  </a:cubicBezTo>
                  <a:cubicBezTo>
                    <a:pt x="941" y="615"/>
                    <a:pt x="944" y="612"/>
                    <a:pt x="947" y="612"/>
                  </a:cubicBezTo>
                  <a:cubicBezTo>
                    <a:pt x="947" y="612"/>
                    <a:pt x="953" y="609"/>
                    <a:pt x="956" y="609"/>
                  </a:cubicBezTo>
                  <a:cubicBezTo>
                    <a:pt x="959" y="609"/>
                    <a:pt x="965" y="612"/>
                    <a:pt x="968" y="612"/>
                  </a:cubicBezTo>
                  <a:cubicBezTo>
                    <a:pt x="968" y="612"/>
                    <a:pt x="974" y="612"/>
                    <a:pt x="974" y="615"/>
                  </a:cubicBezTo>
                  <a:cubicBezTo>
                    <a:pt x="977" y="615"/>
                    <a:pt x="986" y="615"/>
                    <a:pt x="986" y="618"/>
                  </a:cubicBezTo>
                  <a:cubicBezTo>
                    <a:pt x="986" y="621"/>
                    <a:pt x="989" y="621"/>
                    <a:pt x="992" y="624"/>
                  </a:cubicBezTo>
                  <a:cubicBezTo>
                    <a:pt x="992" y="627"/>
                    <a:pt x="1004" y="627"/>
                    <a:pt x="1004" y="627"/>
                  </a:cubicBezTo>
                  <a:cubicBezTo>
                    <a:pt x="1007" y="630"/>
                    <a:pt x="1019" y="630"/>
                    <a:pt x="1019" y="627"/>
                  </a:cubicBezTo>
                  <a:cubicBezTo>
                    <a:pt x="1019" y="627"/>
                    <a:pt x="1031" y="624"/>
                    <a:pt x="1034" y="624"/>
                  </a:cubicBezTo>
                  <a:cubicBezTo>
                    <a:pt x="1037" y="621"/>
                    <a:pt x="1043" y="624"/>
                    <a:pt x="1043" y="621"/>
                  </a:cubicBezTo>
                  <a:cubicBezTo>
                    <a:pt x="1043" y="618"/>
                    <a:pt x="1049" y="615"/>
                    <a:pt x="1052" y="615"/>
                  </a:cubicBezTo>
                  <a:cubicBezTo>
                    <a:pt x="1055" y="612"/>
                    <a:pt x="1067" y="612"/>
                    <a:pt x="1067" y="615"/>
                  </a:cubicBezTo>
                  <a:cubicBezTo>
                    <a:pt x="1067" y="618"/>
                    <a:pt x="1073" y="618"/>
                    <a:pt x="1076" y="618"/>
                  </a:cubicBezTo>
                  <a:cubicBezTo>
                    <a:pt x="1079" y="615"/>
                    <a:pt x="1085" y="618"/>
                    <a:pt x="1088" y="621"/>
                  </a:cubicBezTo>
                  <a:cubicBezTo>
                    <a:pt x="1097" y="624"/>
                    <a:pt x="1097" y="624"/>
                    <a:pt x="1097" y="624"/>
                  </a:cubicBezTo>
                  <a:cubicBezTo>
                    <a:pt x="1100" y="621"/>
                    <a:pt x="1106" y="618"/>
                    <a:pt x="1109" y="618"/>
                  </a:cubicBezTo>
                  <a:cubicBezTo>
                    <a:pt x="1112" y="618"/>
                    <a:pt x="1115" y="615"/>
                    <a:pt x="1115" y="612"/>
                  </a:cubicBezTo>
                  <a:cubicBezTo>
                    <a:pt x="1112" y="609"/>
                    <a:pt x="1118" y="603"/>
                    <a:pt x="1118" y="600"/>
                  </a:cubicBezTo>
                  <a:cubicBezTo>
                    <a:pt x="1121" y="597"/>
                    <a:pt x="1124" y="591"/>
                    <a:pt x="1127" y="591"/>
                  </a:cubicBezTo>
                  <a:cubicBezTo>
                    <a:pt x="1127" y="588"/>
                    <a:pt x="1130" y="585"/>
                    <a:pt x="1130" y="585"/>
                  </a:cubicBezTo>
                  <a:cubicBezTo>
                    <a:pt x="1130" y="582"/>
                    <a:pt x="1130" y="576"/>
                    <a:pt x="1127" y="576"/>
                  </a:cubicBezTo>
                  <a:cubicBezTo>
                    <a:pt x="1127" y="576"/>
                    <a:pt x="1121" y="576"/>
                    <a:pt x="1127" y="570"/>
                  </a:cubicBezTo>
                  <a:cubicBezTo>
                    <a:pt x="1130" y="564"/>
                    <a:pt x="1139" y="564"/>
                    <a:pt x="1142" y="564"/>
                  </a:cubicBezTo>
                  <a:cubicBezTo>
                    <a:pt x="1142" y="564"/>
                    <a:pt x="1154" y="564"/>
                    <a:pt x="1157" y="564"/>
                  </a:cubicBezTo>
                  <a:cubicBezTo>
                    <a:pt x="1163" y="564"/>
                    <a:pt x="1166" y="564"/>
                    <a:pt x="1169" y="567"/>
                  </a:cubicBezTo>
                  <a:cubicBezTo>
                    <a:pt x="1175" y="570"/>
                    <a:pt x="1181" y="567"/>
                    <a:pt x="1184" y="570"/>
                  </a:cubicBezTo>
                  <a:cubicBezTo>
                    <a:pt x="1187" y="573"/>
                    <a:pt x="1193" y="573"/>
                    <a:pt x="1190" y="579"/>
                  </a:cubicBezTo>
                  <a:cubicBezTo>
                    <a:pt x="1190" y="582"/>
                    <a:pt x="1196" y="579"/>
                    <a:pt x="1196" y="588"/>
                  </a:cubicBezTo>
                  <a:cubicBezTo>
                    <a:pt x="1199" y="597"/>
                    <a:pt x="1202" y="597"/>
                    <a:pt x="1202" y="603"/>
                  </a:cubicBezTo>
                  <a:cubicBezTo>
                    <a:pt x="1205" y="606"/>
                    <a:pt x="1211" y="612"/>
                    <a:pt x="1208" y="615"/>
                  </a:cubicBezTo>
                  <a:cubicBezTo>
                    <a:pt x="1208" y="618"/>
                    <a:pt x="1208" y="621"/>
                    <a:pt x="1214" y="621"/>
                  </a:cubicBezTo>
                  <a:cubicBezTo>
                    <a:pt x="1220" y="621"/>
                    <a:pt x="1223" y="627"/>
                    <a:pt x="1223" y="627"/>
                  </a:cubicBezTo>
                  <a:cubicBezTo>
                    <a:pt x="1226" y="624"/>
                    <a:pt x="1232" y="627"/>
                    <a:pt x="1235" y="630"/>
                  </a:cubicBezTo>
                  <a:cubicBezTo>
                    <a:pt x="1238" y="633"/>
                    <a:pt x="1244" y="633"/>
                    <a:pt x="1244" y="636"/>
                  </a:cubicBezTo>
                  <a:cubicBezTo>
                    <a:pt x="1244" y="639"/>
                    <a:pt x="1247" y="642"/>
                    <a:pt x="1247" y="645"/>
                  </a:cubicBezTo>
                  <a:cubicBezTo>
                    <a:pt x="1247" y="648"/>
                    <a:pt x="1253" y="651"/>
                    <a:pt x="1256" y="651"/>
                  </a:cubicBezTo>
                  <a:cubicBezTo>
                    <a:pt x="1262" y="651"/>
                    <a:pt x="1265" y="651"/>
                    <a:pt x="1268" y="648"/>
                  </a:cubicBezTo>
                  <a:cubicBezTo>
                    <a:pt x="1268" y="645"/>
                    <a:pt x="1277" y="645"/>
                    <a:pt x="1277" y="645"/>
                  </a:cubicBezTo>
                  <a:cubicBezTo>
                    <a:pt x="1280" y="642"/>
                    <a:pt x="1286" y="639"/>
                    <a:pt x="1286" y="645"/>
                  </a:cubicBezTo>
                  <a:cubicBezTo>
                    <a:pt x="1286" y="651"/>
                    <a:pt x="1292" y="654"/>
                    <a:pt x="1286" y="657"/>
                  </a:cubicBezTo>
                  <a:cubicBezTo>
                    <a:pt x="1283" y="657"/>
                    <a:pt x="1283" y="666"/>
                    <a:pt x="1280" y="669"/>
                  </a:cubicBezTo>
                  <a:cubicBezTo>
                    <a:pt x="1280" y="675"/>
                    <a:pt x="1274" y="675"/>
                    <a:pt x="1274" y="678"/>
                  </a:cubicBezTo>
                  <a:cubicBezTo>
                    <a:pt x="1274" y="684"/>
                    <a:pt x="1268" y="684"/>
                    <a:pt x="1268" y="687"/>
                  </a:cubicBezTo>
                  <a:cubicBezTo>
                    <a:pt x="1268" y="690"/>
                    <a:pt x="1262" y="687"/>
                    <a:pt x="1259" y="687"/>
                  </a:cubicBezTo>
                  <a:cubicBezTo>
                    <a:pt x="1256" y="684"/>
                    <a:pt x="1253" y="690"/>
                    <a:pt x="1250" y="690"/>
                  </a:cubicBezTo>
                  <a:cubicBezTo>
                    <a:pt x="1247" y="690"/>
                    <a:pt x="1247" y="696"/>
                    <a:pt x="1247" y="699"/>
                  </a:cubicBezTo>
                  <a:cubicBezTo>
                    <a:pt x="1250" y="702"/>
                    <a:pt x="1247" y="705"/>
                    <a:pt x="1250" y="708"/>
                  </a:cubicBezTo>
                  <a:cubicBezTo>
                    <a:pt x="1250" y="711"/>
                    <a:pt x="1250" y="714"/>
                    <a:pt x="1250" y="717"/>
                  </a:cubicBezTo>
                  <a:cubicBezTo>
                    <a:pt x="1253" y="714"/>
                    <a:pt x="1259" y="714"/>
                    <a:pt x="1259" y="714"/>
                  </a:cubicBezTo>
                  <a:cubicBezTo>
                    <a:pt x="1262" y="714"/>
                    <a:pt x="1268" y="720"/>
                    <a:pt x="1271" y="720"/>
                  </a:cubicBezTo>
                  <a:cubicBezTo>
                    <a:pt x="1277" y="720"/>
                    <a:pt x="1298" y="708"/>
                    <a:pt x="1298" y="705"/>
                  </a:cubicBezTo>
                  <a:cubicBezTo>
                    <a:pt x="1298" y="702"/>
                    <a:pt x="1310" y="690"/>
                    <a:pt x="1316" y="684"/>
                  </a:cubicBezTo>
                  <a:cubicBezTo>
                    <a:pt x="1322" y="678"/>
                    <a:pt x="1331" y="669"/>
                    <a:pt x="1334" y="663"/>
                  </a:cubicBezTo>
                  <a:cubicBezTo>
                    <a:pt x="1334" y="657"/>
                    <a:pt x="1343" y="648"/>
                    <a:pt x="1346" y="645"/>
                  </a:cubicBezTo>
                  <a:cubicBezTo>
                    <a:pt x="1346" y="642"/>
                    <a:pt x="1349" y="642"/>
                    <a:pt x="1352" y="633"/>
                  </a:cubicBezTo>
                  <a:cubicBezTo>
                    <a:pt x="1355" y="627"/>
                    <a:pt x="1355" y="606"/>
                    <a:pt x="1358" y="606"/>
                  </a:cubicBezTo>
                  <a:cubicBezTo>
                    <a:pt x="1358" y="603"/>
                    <a:pt x="1358" y="600"/>
                    <a:pt x="1358" y="597"/>
                  </a:cubicBezTo>
                  <a:cubicBezTo>
                    <a:pt x="1361" y="594"/>
                    <a:pt x="1361" y="591"/>
                    <a:pt x="1364" y="591"/>
                  </a:cubicBezTo>
                  <a:cubicBezTo>
                    <a:pt x="1367" y="588"/>
                    <a:pt x="1367" y="585"/>
                    <a:pt x="1364" y="582"/>
                  </a:cubicBezTo>
                  <a:cubicBezTo>
                    <a:pt x="1364" y="579"/>
                    <a:pt x="1364" y="576"/>
                    <a:pt x="1364" y="573"/>
                  </a:cubicBezTo>
                  <a:cubicBezTo>
                    <a:pt x="1364" y="573"/>
                    <a:pt x="1364" y="570"/>
                    <a:pt x="1367" y="570"/>
                  </a:cubicBezTo>
                  <a:cubicBezTo>
                    <a:pt x="1367" y="570"/>
                    <a:pt x="1364" y="567"/>
                    <a:pt x="1361" y="564"/>
                  </a:cubicBezTo>
                  <a:cubicBezTo>
                    <a:pt x="1358" y="564"/>
                    <a:pt x="1355" y="561"/>
                    <a:pt x="1355" y="558"/>
                  </a:cubicBezTo>
                  <a:cubicBezTo>
                    <a:pt x="1355" y="555"/>
                    <a:pt x="1349" y="552"/>
                    <a:pt x="1346" y="552"/>
                  </a:cubicBezTo>
                  <a:cubicBezTo>
                    <a:pt x="1343" y="552"/>
                    <a:pt x="1334" y="549"/>
                    <a:pt x="1337" y="552"/>
                  </a:cubicBezTo>
                  <a:cubicBezTo>
                    <a:pt x="1337" y="555"/>
                    <a:pt x="1337" y="558"/>
                    <a:pt x="1334" y="558"/>
                  </a:cubicBezTo>
                  <a:cubicBezTo>
                    <a:pt x="1331" y="555"/>
                    <a:pt x="1331" y="558"/>
                    <a:pt x="1328" y="561"/>
                  </a:cubicBezTo>
                  <a:cubicBezTo>
                    <a:pt x="1328" y="564"/>
                    <a:pt x="1319" y="564"/>
                    <a:pt x="1322" y="561"/>
                  </a:cubicBezTo>
                  <a:cubicBezTo>
                    <a:pt x="1325" y="558"/>
                    <a:pt x="1322" y="558"/>
                    <a:pt x="1322" y="555"/>
                  </a:cubicBezTo>
                  <a:cubicBezTo>
                    <a:pt x="1322" y="552"/>
                    <a:pt x="1325" y="549"/>
                    <a:pt x="1322" y="549"/>
                  </a:cubicBezTo>
                  <a:cubicBezTo>
                    <a:pt x="1319" y="552"/>
                    <a:pt x="1319" y="558"/>
                    <a:pt x="1316" y="558"/>
                  </a:cubicBezTo>
                  <a:cubicBezTo>
                    <a:pt x="1313" y="558"/>
                    <a:pt x="1313" y="549"/>
                    <a:pt x="1313" y="546"/>
                  </a:cubicBezTo>
                  <a:cubicBezTo>
                    <a:pt x="1316" y="543"/>
                    <a:pt x="1307" y="546"/>
                    <a:pt x="1301" y="546"/>
                  </a:cubicBezTo>
                  <a:cubicBezTo>
                    <a:pt x="1295" y="546"/>
                    <a:pt x="1295" y="540"/>
                    <a:pt x="1301" y="537"/>
                  </a:cubicBezTo>
                  <a:cubicBezTo>
                    <a:pt x="1307" y="534"/>
                    <a:pt x="1307" y="531"/>
                    <a:pt x="1310" y="531"/>
                  </a:cubicBezTo>
                  <a:cubicBezTo>
                    <a:pt x="1313" y="531"/>
                    <a:pt x="1319" y="525"/>
                    <a:pt x="1322" y="522"/>
                  </a:cubicBezTo>
                  <a:cubicBezTo>
                    <a:pt x="1328" y="519"/>
                    <a:pt x="1328" y="516"/>
                    <a:pt x="1331" y="513"/>
                  </a:cubicBezTo>
                  <a:cubicBezTo>
                    <a:pt x="1331" y="513"/>
                    <a:pt x="1340" y="507"/>
                    <a:pt x="1346" y="501"/>
                  </a:cubicBezTo>
                  <a:cubicBezTo>
                    <a:pt x="1352" y="495"/>
                    <a:pt x="1355" y="492"/>
                    <a:pt x="1358" y="489"/>
                  </a:cubicBezTo>
                  <a:cubicBezTo>
                    <a:pt x="1361" y="486"/>
                    <a:pt x="1370" y="483"/>
                    <a:pt x="1370" y="480"/>
                  </a:cubicBezTo>
                  <a:cubicBezTo>
                    <a:pt x="1370" y="477"/>
                    <a:pt x="1382" y="471"/>
                    <a:pt x="1391" y="468"/>
                  </a:cubicBezTo>
                  <a:cubicBezTo>
                    <a:pt x="1400" y="465"/>
                    <a:pt x="1415" y="468"/>
                    <a:pt x="1415" y="471"/>
                  </a:cubicBezTo>
                  <a:cubicBezTo>
                    <a:pt x="1418" y="474"/>
                    <a:pt x="1421" y="474"/>
                    <a:pt x="1421" y="471"/>
                  </a:cubicBezTo>
                  <a:cubicBezTo>
                    <a:pt x="1424" y="468"/>
                    <a:pt x="1427" y="471"/>
                    <a:pt x="1433" y="471"/>
                  </a:cubicBezTo>
                  <a:cubicBezTo>
                    <a:pt x="1439" y="471"/>
                    <a:pt x="1439" y="468"/>
                    <a:pt x="1442" y="468"/>
                  </a:cubicBezTo>
                  <a:cubicBezTo>
                    <a:pt x="1448" y="471"/>
                    <a:pt x="1451" y="471"/>
                    <a:pt x="1454" y="468"/>
                  </a:cubicBezTo>
                  <a:cubicBezTo>
                    <a:pt x="1454" y="462"/>
                    <a:pt x="1466" y="462"/>
                    <a:pt x="1469" y="465"/>
                  </a:cubicBezTo>
                  <a:cubicBezTo>
                    <a:pt x="1472" y="468"/>
                    <a:pt x="1472" y="468"/>
                    <a:pt x="1478" y="465"/>
                  </a:cubicBezTo>
                  <a:cubicBezTo>
                    <a:pt x="1481" y="465"/>
                    <a:pt x="1481" y="471"/>
                    <a:pt x="1484" y="471"/>
                  </a:cubicBezTo>
                  <a:cubicBezTo>
                    <a:pt x="1490" y="471"/>
                    <a:pt x="1487" y="474"/>
                    <a:pt x="1484" y="474"/>
                  </a:cubicBezTo>
                  <a:cubicBezTo>
                    <a:pt x="1481" y="474"/>
                    <a:pt x="1475" y="477"/>
                    <a:pt x="1478" y="477"/>
                  </a:cubicBezTo>
                  <a:cubicBezTo>
                    <a:pt x="1484" y="480"/>
                    <a:pt x="1487" y="477"/>
                    <a:pt x="1490" y="477"/>
                  </a:cubicBezTo>
                  <a:cubicBezTo>
                    <a:pt x="1493" y="477"/>
                    <a:pt x="1499" y="477"/>
                    <a:pt x="1502" y="474"/>
                  </a:cubicBezTo>
                  <a:cubicBezTo>
                    <a:pt x="1508" y="471"/>
                    <a:pt x="1508" y="477"/>
                    <a:pt x="1511" y="474"/>
                  </a:cubicBezTo>
                  <a:cubicBezTo>
                    <a:pt x="1514" y="471"/>
                    <a:pt x="1520" y="471"/>
                    <a:pt x="1523" y="471"/>
                  </a:cubicBezTo>
                  <a:cubicBezTo>
                    <a:pt x="1526" y="471"/>
                    <a:pt x="1523" y="468"/>
                    <a:pt x="1517" y="468"/>
                  </a:cubicBezTo>
                  <a:cubicBezTo>
                    <a:pt x="1514" y="468"/>
                    <a:pt x="1514" y="465"/>
                    <a:pt x="1517" y="459"/>
                  </a:cubicBezTo>
                  <a:cubicBezTo>
                    <a:pt x="1520" y="450"/>
                    <a:pt x="1529" y="447"/>
                    <a:pt x="1532" y="444"/>
                  </a:cubicBezTo>
                  <a:cubicBezTo>
                    <a:pt x="1538" y="438"/>
                    <a:pt x="1541" y="441"/>
                    <a:pt x="1541" y="438"/>
                  </a:cubicBezTo>
                  <a:cubicBezTo>
                    <a:pt x="1541" y="435"/>
                    <a:pt x="1544" y="429"/>
                    <a:pt x="1547" y="429"/>
                  </a:cubicBezTo>
                  <a:cubicBezTo>
                    <a:pt x="1550" y="429"/>
                    <a:pt x="1559" y="429"/>
                    <a:pt x="1565" y="426"/>
                  </a:cubicBezTo>
                  <a:cubicBezTo>
                    <a:pt x="1571" y="423"/>
                    <a:pt x="1571" y="429"/>
                    <a:pt x="1574" y="429"/>
                  </a:cubicBezTo>
                  <a:cubicBezTo>
                    <a:pt x="1577" y="432"/>
                    <a:pt x="1580" y="426"/>
                    <a:pt x="1583" y="426"/>
                  </a:cubicBezTo>
                  <a:cubicBezTo>
                    <a:pt x="1583" y="429"/>
                    <a:pt x="1577" y="432"/>
                    <a:pt x="1577" y="438"/>
                  </a:cubicBezTo>
                  <a:cubicBezTo>
                    <a:pt x="1574" y="441"/>
                    <a:pt x="1580" y="441"/>
                    <a:pt x="1583" y="441"/>
                  </a:cubicBezTo>
                  <a:cubicBezTo>
                    <a:pt x="1586" y="444"/>
                    <a:pt x="1580" y="444"/>
                    <a:pt x="1580" y="447"/>
                  </a:cubicBezTo>
                  <a:cubicBezTo>
                    <a:pt x="1580" y="447"/>
                    <a:pt x="1586" y="447"/>
                    <a:pt x="1592" y="441"/>
                  </a:cubicBezTo>
                  <a:cubicBezTo>
                    <a:pt x="1601" y="432"/>
                    <a:pt x="1607" y="432"/>
                    <a:pt x="1613" y="432"/>
                  </a:cubicBezTo>
                  <a:cubicBezTo>
                    <a:pt x="1616" y="432"/>
                    <a:pt x="1613" y="426"/>
                    <a:pt x="1613" y="420"/>
                  </a:cubicBezTo>
                  <a:cubicBezTo>
                    <a:pt x="1616" y="414"/>
                    <a:pt x="1628" y="411"/>
                    <a:pt x="1634" y="414"/>
                  </a:cubicBezTo>
                  <a:cubicBezTo>
                    <a:pt x="1637" y="414"/>
                    <a:pt x="1637" y="417"/>
                    <a:pt x="1634" y="417"/>
                  </a:cubicBezTo>
                  <a:cubicBezTo>
                    <a:pt x="1628" y="414"/>
                    <a:pt x="1625" y="420"/>
                    <a:pt x="1625" y="426"/>
                  </a:cubicBezTo>
                  <a:cubicBezTo>
                    <a:pt x="1625" y="429"/>
                    <a:pt x="1622" y="432"/>
                    <a:pt x="1622" y="435"/>
                  </a:cubicBezTo>
                  <a:cubicBezTo>
                    <a:pt x="1625" y="435"/>
                    <a:pt x="1619" y="438"/>
                    <a:pt x="1619" y="438"/>
                  </a:cubicBezTo>
                  <a:cubicBezTo>
                    <a:pt x="1619" y="441"/>
                    <a:pt x="1619" y="444"/>
                    <a:pt x="1616" y="444"/>
                  </a:cubicBezTo>
                  <a:cubicBezTo>
                    <a:pt x="1613" y="444"/>
                    <a:pt x="1601" y="447"/>
                    <a:pt x="1601" y="450"/>
                  </a:cubicBezTo>
                  <a:cubicBezTo>
                    <a:pt x="1601" y="456"/>
                    <a:pt x="1595" y="456"/>
                    <a:pt x="1592" y="462"/>
                  </a:cubicBezTo>
                  <a:cubicBezTo>
                    <a:pt x="1589" y="465"/>
                    <a:pt x="1580" y="471"/>
                    <a:pt x="1571" y="480"/>
                  </a:cubicBezTo>
                  <a:cubicBezTo>
                    <a:pt x="1565" y="492"/>
                    <a:pt x="1553" y="492"/>
                    <a:pt x="1553" y="492"/>
                  </a:cubicBezTo>
                  <a:cubicBezTo>
                    <a:pt x="1553" y="495"/>
                    <a:pt x="1544" y="495"/>
                    <a:pt x="1544" y="495"/>
                  </a:cubicBezTo>
                  <a:cubicBezTo>
                    <a:pt x="1541" y="495"/>
                    <a:pt x="1544" y="501"/>
                    <a:pt x="1538" y="510"/>
                  </a:cubicBezTo>
                  <a:cubicBezTo>
                    <a:pt x="1532" y="516"/>
                    <a:pt x="1529" y="525"/>
                    <a:pt x="1529" y="534"/>
                  </a:cubicBezTo>
                  <a:cubicBezTo>
                    <a:pt x="1529" y="543"/>
                    <a:pt x="1532" y="570"/>
                    <a:pt x="1535" y="576"/>
                  </a:cubicBezTo>
                  <a:cubicBezTo>
                    <a:pt x="1538" y="582"/>
                    <a:pt x="1535" y="594"/>
                    <a:pt x="1538" y="594"/>
                  </a:cubicBezTo>
                  <a:cubicBezTo>
                    <a:pt x="1541" y="597"/>
                    <a:pt x="1541" y="603"/>
                    <a:pt x="1541" y="603"/>
                  </a:cubicBezTo>
                  <a:cubicBezTo>
                    <a:pt x="1544" y="606"/>
                    <a:pt x="1550" y="597"/>
                    <a:pt x="1553" y="594"/>
                  </a:cubicBezTo>
                  <a:cubicBezTo>
                    <a:pt x="1556" y="591"/>
                    <a:pt x="1556" y="588"/>
                    <a:pt x="1559" y="588"/>
                  </a:cubicBezTo>
                  <a:cubicBezTo>
                    <a:pt x="1562" y="585"/>
                    <a:pt x="1559" y="576"/>
                    <a:pt x="1562" y="576"/>
                  </a:cubicBezTo>
                  <a:cubicBezTo>
                    <a:pt x="1562" y="573"/>
                    <a:pt x="1568" y="573"/>
                    <a:pt x="1568" y="570"/>
                  </a:cubicBezTo>
                  <a:cubicBezTo>
                    <a:pt x="1571" y="567"/>
                    <a:pt x="1574" y="570"/>
                    <a:pt x="1577" y="570"/>
                  </a:cubicBezTo>
                  <a:cubicBezTo>
                    <a:pt x="1580" y="567"/>
                    <a:pt x="1577" y="561"/>
                    <a:pt x="1577" y="558"/>
                  </a:cubicBezTo>
                  <a:cubicBezTo>
                    <a:pt x="1574" y="555"/>
                    <a:pt x="1583" y="552"/>
                    <a:pt x="1586" y="549"/>
                  </a:cubicBezTo>
                  <a:cubicBezTo>
                    <a:pt x="1592" y="546"/>
                    <a:pt x="1595" y="552"/>
                    <a:pt x="1601" y="546"/>
                  </a:cubicBezTo>
                  <a:cubicBezTo>
                    <a:pt x="1604" y="543"/>
                    <a:pt x="1601" y="537"/>
                    <a:pt x="1598" y="534"/>
                  </a:cubicBezTo>
                  <a:cubicBezTo>
                    <a:pt x="1598" y="534"/>
                    <a:pt x="1604" y="522"/>
                    <a:pt x="1607" y="522"/>
                  </a:cubicBezTo>
                  <a:cubicBezTo>
                    <a:pt x="1610" y="522"/>
                    <a:pt x="1613" y="525"/>
                    <a:pt x="1616" y="522"/>
                  </a:cubicBezTo>
                  <a:cubicBezTo>
                    <a:pt x="1619" y="519"/>
                    <a:pt x="1613" y="513"/>
                    <a:pt x="1610" y="513"/>
                  </a:cubicBezTo>
                  <a:cubicBezTo>
                    <a:pt x="1607" y="513"/>
                    <a:pt x="1607" y="504"/>
                    <a:pt x="1613" y="501"/>
                  </a:cubicBezTo>
                  <a:cubicBezTo>
                    <a:pt x="1619" y="498"/>
                    <a:pt x="1616" y="495"/>
                    <a:pt x="1613" y="495"/>
                  </a:cubicBezTo>
                  <a:cubicBezTo>
                    <a:pt x="1607" y="495"/>
                    <a:pt x="1607" y="495"/>
                    <a:pt x="1604" y="495"/>
                  </a:cubicBezTo>
                  <a:cubicBezTo>
                    <a:pt x="1601" y="495"/>
                    <a:pt x="1598" y="489"/>
                    <a:pt x="1604" y="483"/>
                  </a:cubicBezTo>
                  <a:cubicBezTo>
                    <a:pt x="1607" y="477"/>
                    <a:pt x="1613" y="480"/>
                    <a:pt x="1613" y="474"/>
                  </a:cubicBezTo>
                  <a:cubicBezTo>
                    <a:pt x="1613" y="468"/>
                    <a:pt x="1619" y="462"/>
                    <a:pt x="1622" y="459"/>
                  </a:cubicBezTo>
                  <a:cubicBezTo>
                    <a:pt x="1622" y="456"/>
                    <a:pt x="1628" y="459"/>
                    <a:pt x="1631" y="459"/>
                  </a:cubicBezTo>
                  <a:cubicBezTo>
                    <a:pt x="1634" y="459"/>
                    <a:pt x="1634" y="465"/>
                    <a:pt x="1634" y="462"/>
                  </a:cubicBezTo>
                  <a:cubicBezTo>
                    <a:pt x="1637" y="459"/>
                    <a:pt x="1643" y="450"/>
                    <a:pt x="1646" y="450"/>
                  </a:cubicBezTo>
                  <a:cubicBezTo>
                    <a:pt x="1652" y="450"/>
                    <a:pt x="1649" y="456"/>
                    <a:pt x="1649" y="459"/>
                  </a:cubicBezTo>
                  <a:cubicBezTo>
                    <a:pt x="1649" y="465"/>
                    <a:pt x="1652" y="459"/>
                    <a:pt x="1661" y="453"/>
                  </a:cubicBezTo>
                  <a:cubicBezTo>
                    <a:pt x="1667" y="450"/>
                    <a:pt x="1682" y="450"/>
                    <a:pt x="1688" y="453"/>
                  </a:cubicBezTo>
                  <a:cubicBezTo>
                    <a:pt x="1694" y="453"/>
                    <a:pt x="1694" y="459"/>
                    <a:pt x="1697" y="459"/>
                  </a:cubicBezTo>
                  <a:cubicBezTo>
                    <a:pt x="1700" y="459"/>
                    <a:pt x="1697" y="453"/>
                    <a:pt x="1700" y="453"/>
                  </a:cubicBezTo>
                  <a:cubicBezTo>
                    <a:pt x="1706" y="450"/>
                    <a:pt x="1712" y="447"/>
                    <a:pt x="1718" y="444"/>
                  </a:cubicBezTo>
                  <a:cubicBezTo>
                    <a:pt x="1721" y="438"/>
                    <a:pt x="1721" y="441"/>
                    <a:pt x="1724" y="438"/>
                  </a:cubicBezTo>
                  <a:cubicBezTo>
                    <a:pt x="1727" y="435"/>
                    <a:pt x="1730" y="438"/>
                    <a:pt x="1730" y="435"/>
                  </a:cubicBezTo>
                  <a:cubicBezTo>
                    <a:pt x="1730" y="432"/>
                    <a:pt x="1739" y="429"/>
                    <a:pt x="1748" y="426"/>
                  </a:cubicBezTo>
                  <a:cubicBezTo>
                    <a:pt x="1760" y="423"/>
                    <a:pt x="1772" y="417"/>
                    <a:pt x="1772" y="414"/>
                  </a:cubicBezTo>
                  <a:cubicBezTo>
                    <a:pt x="1772" y="411"/>
                    <a:pt x="1778" y="411"/>
                    <a:pt x="1778" y="414"/>
                  </a:cubicBezTo>
                  <a:cubicBezTo>
                    <a:pt x="1778" y="417"/>
                    <a:pt x="1781" y="414"/>
                    <a:pt x="1787" y="417"/>
                  </a:cubicBezTo>
                  <a:cubicBezTo>
                    <a:pt x="1793" y="417"/>
                    <a:pt x="1796" y="420"/>
                    <a:pt x="1799" y="414"/>
                  </a:cubicBezTo>
                  <a:cubicBezTo>
                    <a:pt x="1805" y="411"/>
                    <a:pt x="1799" y="408"/>
                    <a:pt x="1799" y="405"/>
                  </a:cubicBezTo>
                  <a:cubicBezTo>
                    <a:pt x="1799" y="402"/>
                    <a:pt x="1793" y="399"/>
                    <a:pt x="1793" y="396"/>
                  </a:cubicBezTo>
                  <a:cubicBezTo>
                    <a:pt x="1793" y="393"/>
                    <a:pt x="1787" y="384"/>
                    <a:pt x="1784" y="384"/>
                  </a:cubicBezTo>
                  <a:cubicBezTo>
                    <a:pt x="1784" y="387"/>
                    <a:pt x="1778" y="384"/>
                    <a:pt x="1778" y="381"/>
                  </a:cubicBezTo>
                  <a:cubicBezTo>
                    <a:pt x="1778" y="378"/>
                    <a:pt x="1778" y="375"/>
                    <a:pt x="1775" y="375"/>
                  </a:cubicBezTo>
                  <a:cubicBezTo>
                    <a:pt x="1772" y="378"/>
                    <a:pt x="1766" y="378"/>
                    <a:pt x="1766" y="375"/>
                  </a:cubicBezTo>
                  <a:cubicBezTo>
                    <a:pt x="1763" y="372"/>
                    <a:pt x="1772" y="369"/>
                    <a:pt x="1778" y="372"/>
                  </a:cubicBezTo>
                  <a:cubicBezTo>
                    <a:pt x="1781" y="372"/>
                    <a:pt x="1781" y="375"/>
                    <a:pt x="1784" y="378"/>
                  </a:cubicBezTo>
                  <a:cubicBezTo>
                    <a:pt x="1784" y="378"/>
                    <a:pt x="1793" y="378"/>
                    <a:pt x="1796" y="375"/>
                  </a:cubicBezTo>
                  <a:cubicBezTo>
                    <a:pt x="1799" y="375"/>
                    <a:pt x="1808" y="372"/>
                    <a:pt x="1811" y="369"/>
                  </a:cubicBezTo>
                  <a:cubicBezTo>
                    <a:pt x="1811" y="366"/>
                    <a:pt x="1811" y="363"/>
                    <a:pt x="1814" y="363"/>
                  </a:cubicBezTo>
                  <a:cubicBezTo>
                    <a:pt x="1817" y="360"/>
                    <a:pt x="1814" y="357"/>
                    <a:pt x="1811" y="357"/>
                  </a:cubicBezTo>
                  <a:cubicBezTo>
                    <a:pt x="1808" y="354"/>
                    <a:pt x="1808" y="351"/>
                    <a:pt x="1811" y="351"/>
                  </a:cubicBezTo>
                  <a:cubicBezTo>
                    <a:pt x="1814" y="351"/>
                    <a:pt x="1814" y="348"/>
                    <a:pt x="1817" y="348"/>
                  </a:cubicBezTo>
                  <a:cubicBezTo>
                    <a:pt x="1820" y="345"/>
                    <a:pt x="1820" y="348"/>
                    <a:pt x="1823" y="345"/>
                  </a:cubicBezTo>
                  <a:cubicBezTo>
                    <a:pt x="1826" y="345"/>
                    <a:pt x="1823" y="348"/>
                    <a:pt x="1820" y="351"/>
                  </a:cubicBezTo>
                  <a:cubicBezTo>
                    <a:pt x="1820" y="354"/>
                    <a:pt x="1826" y="357"/>
                    <a:pt x="1826" y="360"/>
                  </a:cubicBezTo>
                  <a:cubicBezTo>
                    <a:pt x="1826" y="363"/>
                    <a:pt x="1832" y="363"/>
                    <a:pt x="1838" y="360"/>
                  </a:cubicBezTo>
                  <a:cubicBezTo>
                    <a:pt x="1841" y="357"/>
                    <a:pt x="1852" y="363"/>
                    <a:pt x="1852" y="366"/>
                  </a:cubicBezTo>
                  <a:cubicBezTo>
                    <a:pt x="1855" y="369"/>
                    <a:pt x="1855" y="372"/>
                    <a:pt x="1861" y="375"/>
                  </a:cubicBezTo>
                  <a:cubicBezTo>
                    <a:pt x="1867" y="378"/>
                    <a:pt x="1873" y="378"/>
                    <a:pt x="1873" y="381"/>
                  </a:cubicBezTo>
                  <a:cubicBezTo>
                    <a:pt x="1873" y="381"/>
                    <a:pt x="1876" y="384"/>
                    <a:pt x="1879" y="384"/>
                  </a:cubicBezTo>
                  <a:cubicBezTo>
                    <a:pt x="1882" y="381"/>
                    <a:pt x="1882" y="387"/>
                    <a:pt x="1885" y="384"/>
                  </a:cubicBezTo>
                  <a:cubicBezTo>
                    <a:pt x="1888" y="381"/>
                    <a:pt x="1888" y="384"/>
                    <a:pt x="1891" y="381"/>
                  </a:cubicBezTo>
                  <a:cubicBezTo>
                    <a:pt x="1894" y="381"/>
                    <a:pt x="1885" y="378"/>
                    <a:pt x="1888" y="375"/>
                  </a:cubicBezTo>
                  <a:cubicBezTo>
                    <a:pt x="1891" y="378"/>
                    <a:pt x="1891" y="378"/>
                    <a:pt x="1891" y="378"/>
                  </a:cubicBezTo>
                  <a:cubicBezTo>
                    <a:pt x="1894" y="378"/>
                    <a:pt x="1891" y="372"/>
                    <a:pt x="1894" y="372"/>
                  </a:cubicBezTo>
                  <a:cubicBezTo>
                    <a:pt x="1894" y="372"/>
                    <a:pt x="1894" y="360"/>
                    <a:pt x="1891" y="360"/>
                  </a:cubicBezTo>
                  <a:cubicBezTo>
                    <a:pt x="1891" y="360"/>
                    <a:pt x="1891" y="357"/>
                    <a:pt x="1894" y="360"/>
                  </a:cubicBezTo>
                  <a:cubicBezTo>
                    <a:pt x="1900" y="363"/>
                    <a:pt x="1906" y="363"/>
                    <a:pt x="1909" y="363"/>
                  </a:cubicBezTo>
                  <a:cubicBezTo>
                    <a:pt x="1912" y="363"/>
                    <a:pt x="1909" y="360"/>
                    <a:pt x="1906" y="360"/>
                  </a:cubicBezTo>
                  <a:cubicBezTo>
                    <a:pt x="1903" y="357"/>
                    <a:pt x="1906" y="357"/>
                    <a:pt x="1909" y="357"/>
                  </a:cubicBezTo>
                  <a:cubicBezTo>
                    <a:pt x="1909" y="360"/>
                    <a:pt x="1912" y="360"/>
                    <a:pt x="1915" y="360"/>
                  </a:cubicBezTo>
                  <a:cubicBezTo>
                    <a:pt x="1915" y="357"/>
                    <a:pt x="1915" y="351"/>
                    <a:pt x="1921" y="351"/>
                  </a:cubicBezTo>
                  <a:cubicBezTo>
                    <a:pt x="1924" y="354"/>
                    <a:pt x="1924" y="351"/>
                    <a:pt x="1921" y="348"/>
                  </a:cubicBezTo>
                  <a:close/>
                  <a:moveTo>
                    <a:pt x="992" y="567"/>
                  </a:moveTo>
                  <a:cubicBezTo>
                    <a:pt x="983" y="576"/>
                    <a:pt x="965" y="579"/>
                    <a:pt x="965" y="585"/>
                  </a:cubicBezTo>
                  <a:cubicBezTo>
                    <a:pt x="965" y="594"/>
                    <a:pt x="941" y="597"/>
                    <a:pt x="938" y="594"/>
                  </a:cubicBezTo>
                  <a:cubicBezTo>
                    <a:pt x="938" y="591"/>
                    <a:pt x="956" y="591"/>
                    <a:pt x="959" y="579"/>
                  </a:cubicBezTo>
                  <a:cubicBezTo>
                    <a:pt x="965" y="570"/>
                    <a:pt x="983" y="564"/>
                    <a:pt x="989" y="552"/>
                  </a:cubicBezTo>
                  <a:cubicBezTo>
                    <a:pt x="995" y="543"/>
                    <a:pt x="1001" y="528"/>
                    <a:pt x="1004" y="528"/>
                  </a:cubicBezTo>
                  <a:cubicBezTo>
                    <a:pt x="1007" y="528"/>
                    <a:pt x="1001" y="561"/>
                    <a:pt x="992" y="567"/>
                  </a:cubicBezTo>
                  <a:close/>
                  <a:moveTo>
                    <a:pt x="1034" y="177"/>
                  </a:moveTo>
                  <a:cubicBezTo>
                    <a:pt x="1034" y="180"/>
                    <a:pt x="1025" y="180"/>
                    <a:pt x="1028" y="183"/>
                  </a:cubicBezTo>
                  <a:cubicBezTo>
                    <a:pt x="1031" y="186"/>
                    <a:pt x="1049" y="183"/>
                    <a:pt x="1049" y="180"/>
                  </a:cubicBezTo>
                  <a:cubicBezTo>
                    <a:pt x="1049" y="174"/>
                    <a:pt x="1037" y="174"/>
                    <a:pt x="1034" y="177"/>
                  </a:cubicBezTo>
                  <a:close/>
                  <a:moveTo>
                    <a:pt x="339" y="24"/>
                  </a:moveTo>
                  <a:cubicBezTo>
                    <a:pt x="345" y="27"/>
                    <a:pt x="327" y="27"/>
                    <a:pt x="324" y="30"/>
                  </a:cubicBezTo>
                  <a:cubicBezTo>
                    <a:pt x="324" y="33"/>
                    <a:pt x="312" y="30"/>
                    <a:pt x="315" y="36"/>
                  </a:cubicBezTo>
                  <a:cubicBezTo>
                    <a:pt x="315" y="39"/>
                    <a:pt x="333" y="39"/>
                    <a:pt x="333" y="36"/>
                  </a:cubicBezTo>
                  <a:cubicBezTo>
                    <a:pt x="333" y="33"/>
                    <a:pt x="342" y="36"/>
                    <a:pt x="342" y="33"/>
                  </a:cubicBezTo>
                  <a:cubicBezTo>
                    <a:pt x="342" y="30"/>
                    <a:pt x="345" y="27"/>
                    <a:pt x="354" y="27"/>
                  </a:cubicBezTo>
                  <a:cubicBezTo>
                    <a:pt x="366" y="24"/>
                    <a:pt x="366" y="21"/>
                    <a:pt x="357" y="18"/>
                  </a:cubicBezTo>
                  <a:cubicBezTo>
                    <a:pt x="348" y="15"/>
                    <a:pt x="336" y="21"/>
                    <a:pt x="339" y="24"/>
                  </a:cubicBezTo>
                  <a:close/>
                  <a:moveTo>
                    <a:pt x="384" y="204"/>
                  </a:moveTo>
                  <a:cubicBezTo>
                    <a:pt x="384" y="207"/>
                    <a:pt x="384" y="210"/>
                    <a:pt x="378" y="210"/>
                  </a:cubicBezTo>
                  <a:cubicBezTo>
                    <a:pt x="369" y="210"/>
                    <a:pt x="381" y="213"/>
                    <a:pt x="381" y="216"/>
                  </a:cubicBezTo>
                  <a:cubicBezTo>
                    <a:pt x="381" y="219"/>
                    <a:pt x="375" y="219"/>
                    <a:pt x="375" y="222"/>
                  </a:cubicBezTo>
                  <a:cubicBezTo>
                    <a:pt x="372" y="228"/>
                    <a:pt x="360" y="222"/>
                    <a:pt x="360" y="231"/>
                  </a:cubicBezTo>
                  <a:cubicBezTo>
                    <a:pt x="357" y="237"/>
                    <a:pt x="366" y="237"/>
                    <a:pt x="372" y="237"/>
                  </a:cubicBezTo>
                  <a:cubicBezTo>
                    <a:pt x="375" y="237"/>
                    <a:pt x="369" y="243"/>
                    <a:pt x="372" y="246"/>
                  </a:cubicBezTo>
                  <a:cubicBezTo>
                    <a:pt x="378" y="249"/>
                    <a:pt x="381" y="249"/>
                    <a:pt x="378" y="243"/>
                  </a:cubicBezTo>
                  <a:cubicBezTo>
                    <a:pt x="375" y="237"/>
                    <a:pt x="390" y="243"/>
                    <a:pt x="387" y="249"/>
                  </a:cubicBezTo>
                  <a:cubicBezTo>
                    <a:pt x="381" y="252"/>
                    <a:pt x="393" y="255"/>
                    <a:pt x="402" y="255"/>
                  </a:cubicBezTo>
                  <a:cubicBezTo>
                    <a:pt x="408" y="258"/>
                    <a:pt x="429" y="261"/>
                    <a:pt x="429" y="255"/>
                  </a:cubicBezTo>
                  <a:cubicBezTo>
                    <a:pt x="429" y="252"/>
                    <a:pt x="423" y="249"/>
                    <a:pt x="414" y="243"/>
                  </a:cubicBezTo>
                  <a:cubicBezTo>
                    <a:pt x="408" y="234"/>
                    <a:pt x="402" y="222"/>
                    <a:pt x="411" y="219"/>
                  </a:cubicBezTo>
                  <a:cubicBezTo>
                    <a:pt x="420" y="213"/>
                    <a:pt x="411" y="210"/>
                    <a:pt x="420" y="204"/>
                  </a:cubicBezTo>
                  <a:cubicBezTo>
                    <a:pt x="429" y="201"/>
                    <a:pt x="423" y="195"/>
                    <a:pt x="429" y="195"/>
                  </a:cubicBezTo>
                  <a:cubicBezTo>
                    <a:pt x="435" y="192"/>
                    <a:pt x="429" y="186"/>
                    <a:pt x="435" y="186"/>
                  </a:cubicBezTo>
                  <a:cubicBezTo>
                    <a:pt x="441" y="186"/>
                    <a:pt x="444" y="177"/>
                    <a:pt x="444" y="174"/>
                  </a:cubicBezTo>
                  <a:cubicBezTo>
                    <a:pt x="441" y="171"/>
                    <a:pt x="450" y="174"/>
                    <a:pt x="453" y="171"/>
                  </a:cubicBezTo>
                  <a:cubicBezTo>
                    <a:pt x="456" y="168"/>
                    <a:pt x="465" y="171"/>
                    <a:pt x="468" y="165"/>
                  </a:cubicBezTo>
                  <a:cubicBezTo>
                    <a:pt x="471" y="159"/>
                    <a:pt x="509" y="147"/>
                    <a:pt x="530" y="141"/>
                  </a:cubicBezTo>
                  <a:cubicBezTo>
                    <a:pt x="551" y="135"/>
                    <a:pt x="566" y="126"/>
                    <a:pt x="560" y="120"/>
                  </a:cubicBezTo>
                  <a:cubicBezTo>
                    <a:pt x="551" y="114"/>
                    <a:pt x="530" y="123"/>
                    <a:pt x="524" y="126"/>
                  </a:cubicBezTo>
                  <a:cubicBezTo>
                    <a:pt x="518" y="132"/>
                    <a:pt x="512" y="129"/>
                    <a:pt x="506" y="132"/>
                  </a:cubicBezTo>
                  <a:cubicBezTo>
                    <a:pt x="500" y="135"/>
                    <a:pt x="488" y="138"/>
                    <a:pt x="485" y="135"/>
                  </a:cubicBezTo>
                  <a:cubicBezTo>
                    <a:pt x="479" y="129"/>
                    <a:pt x="471" y="138"/>
                    <a:pt x="468" y="138"/>
                  </a:cubicBezTo>
                  <a:cubicBezTo>
                    <a:pt x="465" y="138"/>
                    <a:pt x="459" y="141"/>
                    <a:pt x="453" y="141"/>
                  </a:cubicBezTo>
                  <a:cubicBezTo>
                    <a:pt x="450" y="141"/>
                    <a:pt x="441" y="144"/>
                    <a:pt x="438" y="147"/>
                  </a:cubicBezTo>
                  <a:cubicBezTo>
                    <a:pt x="438" y="150"/>
                    <a:pt x="432" y="150"/>
                    <a:pt x="432" y="153"/>
                  </a:cubicBezTo>
                  <a:cubicBezTo>
                    <a:pt x="432" y="156"/>
                    <a:pt x="423" y="159"/>
                    <a:pt x="420" y="156"/>
                  </a:cubicBezTo>
                  <a:cubicBezTo>
                    <a:pt x="417" y="153"/>
                    <a:pt x="414" y="159"/>
                    <a:pt x="417" y="165"/>
                  </a:cubicBezTo>
                  <a:cubicBezTo>
                    <a:pt x="423" y="168"/>
                    <a:pt x="411" y="168"/>
                    <a:pt x="411" y="171"/>
                  </a:cubicBezTo>
                  <a:cubicBezTo>
                    <a:pt x="414" y="174"/>
                    <a:pt x="408" y="177"/>
                    <a:pt x="408" y="180"/>
                  </a:cubicBezTo>
                  <a:cubicBezTo>
                    <a:pt x="411" y="183"/>
                    <a:pt x="405" y="183"/>
                    <a:pt x="399" y="183"/>
                  </a:cubicBezTo>
                  <a:cubicBezTo>
                    <a:pt x="393" y="186"/>
                    <a:pt x="390" y="192"/>
                    <a:pt x="399" y="192"/>
                  </a:cubicBezTo>
                  <a:cubicBezTo>
                    <a:pt x="405" y="192"/>
                    <a:pt x="393" y="192"/>
                    <a:pt x="396" y="198"/>
                  </a:cubicBezTo>
                  <a:cubicBezTo>
                    <a:pt x="396" y="204"/>
                    <a:pt x="384" y="201"/>
                    <a:pt x="384" y="204"/>
                  </a:cubicBezTo>
                  <a:close/>
                  <a:moveTo>
                    <a:pt x="429" y="30"/>
                  </a:moveTo>
                  <a:cubicBezTo>
                    <a:pt x="432" y="33"/>
                    <a:pt x="429" y="33"/>
                    <a:pt x="423" y="33"/>
                  </a:cubicBezTo>
                  <a:cubicBezTo>
                    <a:pt x="414" y="33"/>
                    <a:pt x="411" y="36"/>
                    <a:pt x="414" y="39"/>
                  </a:cubicBezTo>
                  <a:cubicBezTo>
                    <a:pt x="420" y="42"/>
                    <a:pt x="438" y="42"/>
                    <a:pt x="441" y="39"/>
                  </a:cubicBezTo>
                  <a:cubicBezTo>
                    <a:pt x="444" y="33"/>
                    <a:pt x="450" y="36"/>
                    <a:pt x="453" y="33"/>
                  </a:cubicBezTo>
                  <a:cubicBezTo>
                    <a:pt x="453" y="30"/>
                    <a:pt x="429" y="27"/>
                    <a:pt x="429" y="30"/>
                  </a:cubicBezTo>
                  <a:close/>
                  <a:moveTo>
                    <a:pt x="429" y="12"/>
                  </a:moveTo>
                  <a:cubicBezTo>
                    <a:pt x="438" y="12"/>
                    <a:pt x="435" y="6"/>
                    <a:pt x="441" y="9"/>
                  </a:cubicBezTo>
                  <a:cubicBezTo>
                    <a:pt x="444" y="9"/>
                    <a:pt x="453" y="9"/>
                    <a:pt x="450" y="6"/>
                  </a:cubicBezTo>
                  <a:cubicBezTo>
                    <a:pt x="447" y="0"/>
                    <a:pt x="426" y="3"/>
                    <a:pt x="429" y="6"/>
                  </a:cubicBezTo>
                  <a:cubicBezTo>
                    <a:pt x="432" y="9"/>
                    <a:pt x="414" y="6"/>
                    <a:pt x="414" y="9"/>
                  </a:cubicBezTo>
                  <a:cubicBezTo>
                    <a:pt x="414" y="9"/>
                    <a:pt x="420" y="12"/>
                    <a:pt x="429" y="12"/>
                  </a:cubicBezTo>
                  <a:close/>
                  <a:moveTo>
                    <a:pt x="485" y="24"/>
                  </a:moveTo>
                  <a:cubicBezTo>
                    <a:pt x="488" y="21"/>
                    <a:pt x="482" y="21"/>
                    <a:pt x="482" y="18"/>
                  </a:cubicBezTo>
                  <a:cubicBezTo>
                    <a:pt x="482" y="15"/>
                    <a:pt x="462" y="15"/>
                    <a:pt x="465" y="18"/>
                  </a:cubicBezTo>
                  <a:cubicBezTo>
                    <a:pt x="465" y="21"/>
                    <a:pt x="450" y="24"/>
                    <a:pt x="456" y="27"/>
                  </a:cubicBezTo>
                  <a:cubicBezTo>
                    <a:pt x="462" y="33"/>
                    <a:pt x="485" y="27"/>
                    <a:pt x="485" y="24"/>
                  </a:cubicBezTo>
                  <a:close/>
                  <a:moveTo>
                    <a:pt x="387" y="33"/>
                  </a:moveTo>
                  <a:cubicBezTo>
                    <a:pt x="387" y="30"/>
                    <a:pt x="369" y="36"/>
                    <a:pt x="372" y="36"/>
                  </a:cubicBezTo>
                  <a:cubicBezTo>
                    <a:pt x="375" y="36"/>
                    <a:pt x="387" y="39"/>
                    <a:pt x="387" y="33"/>
                  </a:cubicBezTo>
                  <a:close/>
                  <a:moveTo>
                    <a:pt x="435" y="18"/>
                  </a:moveTo>
                  <a:cubicBezTo>
                    <a:pt x="435" y="12"/>
                    <a:pt x="423" y="18"/>
                    <a:pt x="414" y="12"/>
                  </a:cubicBezTo>
                  <a:cubicBezTo>
                    <a:pt x="405" y="9"/>
                    <a:pt x="402" y="9"/>
                    <a:pt x="408" y="15"/>
                  </a:cubicBezTo>
                  <a:cubicBezTo>
                    <a:pt x="411" y="18"/>
                    <a:pt x="393" y="18"/>
                    <a:pt x="396" y="21"/>
                  </a:cubicBezTo>
                  <a:cubicBezTo>
                    <a:pt x="402" y="27"/>
                    <a:pt x="432" y="24"/>
                    <a:pt x="43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1" name="Freeform 956"/>
            <p:cNvSpPr>
              <a:spLocks noEditPoints="1"/>
            </p:cNvSpPr>
            <p:nvPr userDrawn="1"/>
          </p:nvSpPr>
          <p:spPr bwMode="auto">
            <a:xfrm>
              <a:off x="3821" y="-3070"/>
              <a:ext cx="2999" cy="1156"/>
            </a:xfrm>
            <a:custGeom>
              <a:avLst/>
              <a:gdLst>
                <a:gd name="T0" fmla="*/ 959 w 1924"/>
                <a:gd name="T1" fmla="*/ 78 h 741"/>
                <a:gd name="T2" fmla="*/ 896 w 1924"/>
                <a:gd name="T3" fmla="*/ 51 h 741"/>
                <a:gd name="T4" fmla="*/ 821 w 1924"/>
                <a:gd name="T5" fmla="*/ 30 h 741"/>
                <a:gd name="T6" fmla="*/ 1793 w 1924"/>
                <a:gd name="T7" fmla="*/ 255 h 741"/>
                <a:gd name="T8" fmla="*/ 1376 w 1924"/>
                <a:gd name="T9" fmla="*/ 153 h 741"/>
                <a:gd name="T10" fmla="*/ 1364 w 1924"/>
                <a:gd name="T11" fmla="*/ 183 h 741"/>
                <a:gd name="T12" fmla="*/ 1376 w 1924"/>
                <a:gd name="T13" fmla="*/ 600 h 741"/>
                <a:gd name="T14" fmla="*/ 1921 w 1924"/>
                <a:gd name="T15" fmla="*/ 348 h 741"/>
                <a:gd name="T16" fmla="*/ 1736 w 1924"/>
                <a:gd name="T17" fmla="*/ 276 h 741"/>
                <a:gd name="T18" fmla="*/ 1592 w 1924"/>
                <a:gd name="T19" fmla="*/ 282 h 741"/>
                <a:gd name="T20" fmla="*/ 1409 w 1924"/>
                <a:gd name="T21" fmla="*/ 234 h 741"/>
                <a:gd name="T22" fmla="*/ 1331 w 1924"/>
                <a:gd name="T23" fmla="*/ 240 h 741"/>
                <a:gd name="T24" fmla="*/ 1229 w 1924"/>
                <a:gd name="T25" fmla="*/ 222 h 741"/>
                <a:gd name="T26" fmla="*/ 1121 w 1924"/>
                <a:gd name="T27" fmla="*/ 207 h 741"/>
                <a:gd name="T28" fmla="*/ 962 w 1924"/>
                <a:gd name="T29" fmla="*/ 210 h 741"/>
                <a:gd name="T30" fmla="*/ 1040 w 1924"/>
                <a:gd name="T31" fmla="*/ 126 h 741"/>
                <a:gd name="T32" fmla="*/ 926 w 1924"/>
                <a:gd name="T33" fmla="*/ 102 h 741"/>
                <a:gd name="T34" fmla="*/ 824 w 1924"/>
                <a:gd name="T35" fmla="*/ 141 h 741"/>
                <a:gd name="T36" fmla="*/ 761 w 1924"/>
                <a:gd name="T37" fmla="*/ 180 h 741"/>
                <a:gd name="T38" fmla="*/ 662 w 1924"/>
                <a:gd name="T39" fmla="*/ 219 h 741"/>
                <a:gd name="T40" fmla="*/ 626 w 1924"/>
                <a:gd name="T41" fmla="*/ 228 h 741"/>
                <a:gd name="T42" fmla="*/ 650 w 1924"/>
                <a:gd name="T43" fmla="*/ 297 h 741"/>
                <a:gd name="T44" fmla="*/ 590 w 1924"/>
                <a:gd name="T45" fmla="*/ 333 h 741"/>
                <a:gd name="T46" fmla="*/ 593 w 1924"/>
                <a:gd name="T47" fmla="*/ 210 h 741"/>
                <a:gd name="T48" fmla="*/ 524 w 1924"/>
                <a:gd name="T49" fmla="*/ 288 h 741"/>
                <a:gd name="T50" fmla="*/ 429 w 1924"/>
                <a:gd name="T51" fmla="*/ 300 h 741"/>
                <a:gd name="T52" fmla="*/ 291 w 1924"/>
                <a:gd name="T53" fmla="*/ 324 h 741"/>
                <a:gd name="T54" fmla="*/ 258 w 1924"/>
                <a:gd name="T55" fmla="*/ 339 h 741"/>
                <a:gd name="T56" fmla="*/ 177 w 1924"/>
                <a:gd name="T57" fmla="*/ 378 h 741"/>
                <a:gd name="T58" fmla="*/ 237 w 1924"/>
                <a:gd name="T59" fmla="*/ 312 h 741"/>
                <a:gd name="T60" fmla="*/ 114 w 1924"/>
                <a:gd name="T61" fmla="*/ 282 h 741"/>
                <a:gd name="T62" fmla="*/ 123 w 1924"/>
                <a:gd name="T63" fmla="*/ 381 h 741"/>
                <a:gd name="T64" fmla="*/ 87 w 1924"/>
                <a:gd name="T65" fmla="*/ 483 h 741"/>
                <a:gd name="T66" fmla="*/ 147 w 1924"/>
                <a:gd name="T67" fmla="*/ 561 h 741"/>
                <a:gd name="T68" fmla="*/ 198 w 1924"/>
                <a:gd name="T69" fmla="*/ 609 h 741"/>
                <a:gd name="T70" fmla="*/ 210 w 1924"/>
                <a:gd name="T71" fmla="*/ 669 h 741"/>
                <a:gd name="T72" fmla="*/ 306 w 1924"/>
                <a:gd name="T73" fmla="*/ 732 h 741"/>
                <a:gd name="T74" fmla="*/ 306 w 1924"/>
                <a:gd name="T75" fmla="*/ 630 h 741"/>
                <a:gd name="T76" fmla="*/ 396 w 1924"/>
                <a:gd name="T77" fmla="*/ 603 h 741"/>
                <a:gd name="T78" fmla="*/ 471 w 1924"/>
                <a:gd name="T79" fmla="*/ 570 h 741"/>
                <a:gd name="T80" fmla="*/ 596 w 1924"/>
                <a:gd name="T81" fmla="*/ 552 h 741"/>
                <a:gd name="T82" fmla="*/ 710 w 1924"/>
                <a:gd name="T83" fmla="*/ 606 h 741"/>
                <a:gd name="T84" fmla="*/ 818 w 1924"/>
                <a:gd name="T85" fmla="*/ 606 h 741"/>
                <a:gd name="T86" fmla="*/ 920 w 1924"/>
                <a:gd name="T87" fmla="*/ 597 h 741"/>
                <a:gd name="T88" fmla="*/ 1067 w 1924"/>
                <a:gd name="T89" fmla="*/ 615 h 741"/>
                <a:gd name="T90" fmla="*/ 1190 w 1924"/>
                <a:gd name="T91" fmla="*/ 579 h 741"/>
                <a:gd name="T92" fmla="*/ 1274 w 1924"/>
                <a:gd name="T93" fmla="*/ 678 h 741"/>
                <a:gd name="T94" fmla="*/ 1358 w 1924"/>
                <a:gd name="T95" fmla="*/ 597 h 741"/>
                <a:gd name="T96" fmla="*/ 1313 w 1924"/>
                <a:gd name="T97" fmla="*/ 546 h 741"/>
                <a:gd name="T98" fmla="*/ 1469 w 1924"/>
                <a:gd name="T99" fmla="*/ 465 h 741"/>
                <a:gd name="T100" fmla="*/ 1574 w 1924"/>
                <a:gd name="T101" fmla="*/ 429 h 741"/>
                <a:gd name="T102" fmla="*/ 1592 w 1924"/>
                <a:gd name="T103" fmla="*/ 462 h 741"/>
                <a:gd name="T104" fmla="*/ 1586 w 1924"/>
                <a:gd name="T105" fmla="*/ 549 h 741"/>
                <a:gd name="T106" fmla="*/ 1649 w 1924"/>
                <a:gd name="T107" fmla="*/ 459 h 741"/>
                <a:gd name="T108" fmla="*/ 1784 w 1924"/>
                <a:gd name="T109" fmla="*/ 384 h 741"/>
                <a:gd name="T110" fmla="*/ 1838 w 1924"/>
                <a:gd name="T111" fmla="*/ 360 h 741"/>
                <a:gd name="T112" fmla="*/ 1915 w 1924"/>
                <a:gd name="T113" fmla="*/ 360 h 741"/>
                <a:gd name="T114" fmla="*/ 324 w 1924"/>
                <a:gd name="T115" fmla="*/ 30 h 741"/>
                <a:gd name="T116" fmla="*/ 387 w 1924"/>
                <a:gd name="T117" fmla="*/ 249 h 741"/>
                <a:gd name="T118" fmla="*/ 485 w 1924"/>
                <a:gd name="T119" fmla="*/ 135 h 741"/>
                <a:gd name="T120" fmla="*/ 414 w 1924"/>
                <a:gd name="T121" fmla="*/ 39 h 741"/>
                <a:gd name="T122" fmla="*/ 387 w 1924"/>
                <a:gd name="T123" fmla="*/ 3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4" h="741">
                  <a:moveTo>
                    <a:pt x="30" y="534"/>
                  </a:moveTo>
                  <a:cubicBezTo>
                    <a:pt x="27" y="537"/>
                    <a:pt x="24" y="534"/>
                    <a:pt x="24" y="534"/>
                  </a:cubicBezTo>
                  <a:cubicBezTo>
                    <a:pt x="21" y="531"/>
                    <a:pt x="18" y="531"/>
                    <a:pt x="15" y="531"/>
                  </a:cubicBezTo>
                  <a:cubicBezTo>
                    <a:pt x="15" y="534"/>
                    <a:pt x="18" y="534"/>
                    <a:pt x="18" y="534"/>
                  </a:cubicBezTo>
                  <a:cubicBezTo>
                    <a:pt x="18" y="537"/>
                    <a:pt x="12" y="537"/>
                    <a:pt x="15" y="540"/>
                  </a:cubicBezTo>
                  <a:cubicBezTo>
                    <a:pt x="15" y="543"/>
                    <a:pt x="9" y="543"/>
                    <a:pt x="9" y="540"/>
                  </a:cubicBezTo>
                  <a:cubicBezTo>
                    <a:pt x="9" y="537"/>
                    <a:pt x="0" y="537"/>
                    <a:pt x="0" y="540"/>
                  </a:cubicBezTo>
                  <a:cubicBezTo>
                    <a:pt x="0" y="543"/>
                    <a:pt x="0" y="543"/>
                    <a:pt x="0" y="543"/>
                  </a:cubicBezTo>
                  <a:cubicBezTo>
                    <a:pt x="3" y="543"/>
                    <a:pt x="6" y="546"/>
                    <a:pt x="6" y="546"/>
                  </a:cubicBezTo>
                  <a:cubicBezTo>
                    <a:pt x="6" y="546"/>
                    <a:pt x="27" y="549"/>
                    <a:pt x="36" y="546"/>
                  </a:cubicBezTo>
                  <a:cubicBezTo>
                    <a:pt x="36" y="540"/>
                    <a:pt x="36" y="540"/>
                    <a:pt x="36" y="540"/>
                  </a:cubicBezTo>
                  <a:cubicBezTo>
                    <a:pt x="36" y="537"/>
                    <a:pt x="30" y="534"/>
                    <a:pt x="30" y="534"/>
                  </a:cubicBezTo>
                  <a:close/>
                  <a:moveTo>
                    <a:pt x="890" y="93"/>
                  </a:moveTo>
                  <a:cubicBezTo>
                    <a:pt x="896" y="96"/>
                    <a:pt x="911" y="90"/>
                    <a:pt x="920" y="90"/>
                  </a:cubicBezTo>
                  <a:cubicBezTo>
                    <a:pt x="929" y="90"/>
                    <a:pt x="959" y="84"/>
                    <a:pt x="959" y="78"/>
                  </a:cubicBezTo>
                  <a:cubicBezTo>
                    <a:pt x="959" y="72"/>
                    <a:pt x="950" y="72"/>
                    <a:pt x="944" y="69"/>
                  </a:cubicBezTo>
                  <a:cubicBezTo>
                    <a:pt x="941" y="63"/>
                    <a:pt x="932" y="66"/>
                    <a:pt x="929" y="72"/>
                  </a:cubicBezTo>
                  <a:cubicBezTo>
                    <a:pt x="926" y="75"/>
                    <a:pt x="923" y="72"/>
                    <a:pt x="929" y="66"/>
                  </a:cubicBezTo>
                  <a:cubicBezTo>
                    <a:pt x="935" y="60"/>
                    <a:pt x="923" y="54"/>
                    <a:pt x="923" y="57"/>
                  </a:cubicBezTo>
                  <a:cubicBezTo>
                    <a:pt x="923" y="63"/>
                    <a:pt x="911" y="57"/>
                    <a:pt x="911" y="63"/>
                  </a:cubicBezTo>
                  <a:cubicBezTo>
                    <a:pt x="911" y="66"/>
                    <a:pt x="908" y="66"/>
                    <a:pt x="908" y="72"/>
                  </a:cubicBezTo>
                  <a:cubicBezTo>
                    <a:pt x="908" y="75"/>
                    <a:pt x="899" y="69"/>
                    <a:pt x="899" y="78"/>
                  </a:cubicBezTo>
                  <a:cubicBezTo>
                    <a:pt x="899" y="87"/>
                    <a:pt x="887" y="90"/>
                    <a:pt x="890" y="93"/>
                  </a:cubicBezTo>
                  <a:close/>
                  <a:moveTo>
                    <a:pt x="839" y="45"/>
                  </a:moveTo>
                  <a:cubicBezTo>
                    <a:pt x="839" y="51"/>
                    <a:pt x="827" y="54"/>
                    <a:pt x="830" y="57"/>
                  </a:cubicBezTo>
                  <a:cubicBezTo>
                    <a:pt x="833" y="60"/>
                    <a:pt x="836" y="57"/>
                    <a:pt x="839" y="60"/>
                  </a:cubicBezTo>
                  <a:cubicBezTo>
                    <a:pt x="842" y="60"/>
                    <a:pt x="845" y="69"/>
                    <a:pt x="851" y="66"/>
                  </a:cubicBezTo>
                  <a:cubicBezTo>
                    <a:pt x="857" y="66"/>
                    <a:pt x="872" y="72"/>
                    <a:pt x="884" y="72"/>
                  </a:cubicBezTo>
                  <a:cubicBezTo>
                    <a:pt x="893" y="72"/>
                    <a:pt x="893" y="66"/>
                    <a:pt x="890" y="66"/>
                  </a:cubicBezTo>
                  <a:cubicBezTo>
                    <a:pt x="887" y="63"/>
                    <a:pt x="890" y="60"/>
                    <a:pt x="896" y="51"/>
                  </a:cubicBezTo>
                  <a:cubicBezTo>
                    <a:pt x="902" y="45"/>
                    <a:pt x="878" y="39"/>
                    <a:pt x="878" y="45"/>
                  </a:cubicBezTo>
                  <a:cubicBezTo>
                    <a:pt x="878" y="51"/>
                    <a:pt x="872" y="42"/>
                    <a:pt x="869" y="39"/>
                  </a:cubicBezTo>
                  <a:cubicBezTo>
                    <a:pt x="869" y="36"/>
                    <a:pt x="839" y="42"/>
                    <a:pt x="839" y="45"/>
                  </a:cubicBezTo>
                  <a:close/>
                  <a:moveTo>
                    <a:pt x="821" y="36"/>
                  </a:moveTo>
                  <a:cubicBezTo>
                    <a:pt x="827" y="39"/>
                    <a:pt x="824" y="42"/>
                    <a:pt x="818" y="42"/>
                  </a:cubicBezTo>
                  <a:cubicBezTo>
                    <a:pt x="812" y="42"/>
                    <a:pt x="806" y="42"/>
                    <a:pt x="812" y="45"/>
                  </a:cubicBezTo>
                  <a:cubicBezTo>
                    <a:pt x="815" y="48"/>
                    <a:pt x="815" y="51"/>
                    <a:pt x="821" y="51"/>
                  </a:cubicBezTo>
                  <a:cubicBezTo>
                    <a:pt x="827" y="54"/>
                    <a:pt x="836" y="48"/>
                    <a:pt x="833" y="45"/>
                  </a:cubicBezTo>
                  <a:cubicBezTo>
                    <a:pt x="833" y="39"/>
                    <a:pt x="857" y="36"/>
                    <a:pt x="866" y="36"/>
                  </a:cubicBezTo>
                  <a:cubicBezTo>
                    <a:pt x="872" y="33"/>
                    <a:pt x="860" y="27"/>
                    <a:pt x="869" y="24"/>
                  </a:cubicBezTo>
                  <a:cubicBezTo>
                    <a:pt x="875" y="24"/>
                    <a:pt x="872" y="21"/>
                    <a:pt x="863" y="21"/>
                  </a:cubicBezTo>
                  <a:cubicBezTo>
                    <a:pt x="854" y="18"/>
                    <a:pt x="857" y="12"/>
                    <a:pt x="854" y="9"/>
                  </a:cubicBezTo>
                  <a:cubicBezTo>
                    <a:pt x="851" y="6"/>
                    <a:pt x="851" y="12"/>
                    <a:pt x="839" y="15"/>
                  </a:cubicBezTo>
                  <a:cubicBezTo>
                    <a:pt x="827" y="15"/>
                    <a:pt x="821" y="18"/>
                    <a:pt x="827" y="21"/>
                  </a:cubicBezTo>
                  <a:cubicBezTo>
                    <a:pt x="830" y="24"/>
                    <a:pt x="827" y="30"/>
                    <a:pt x="821" y="30"/>
                  </a:cubicBezTo>
                  <a:cubicBezTo>
                    <a:pt x="815" y="30"/>
                    <a:pt x="815" y="33"/>
                    <a:pt x="821" y="36"/>
                  </a:cubicBezTo>
                  <a:close/>
                  <a:moveTo>
                    <a:pt x="671" y="213"/>
                  </a:moveTo>
                  <a:cubicBezTo>
                    <a:pt x="677" y="216"/>
                    <a:pt x="683" y="213"/>
                    <a:pt x="680" y="210"/>
                  </a:cubicBezTo>
                  <a:cubicBezTo>
                    <a:pt x="680" y="204"/>
                    <a:pt x="668" y="210"/>
                    <a:pt x="671" y="213"/>
                  </a:cubicBezTo>
                  <a:close/>
                  <a:moveTo>
                    <a:pt x="812" y="12"/>
                  </a:moveTo>
                  <a:cubicBezTo>
                    <a:pt x="815" y="9"/>
                    <a:pt x="791" y="9"/>
                    <a:pt x="797" y="15"/>
                  </a:cubicBezTo>
                  <a:cubicBezTo>
                    <a:pt x="800" y="18"/>
                    <a:pt x="812" y="18"/>
                    <a:pt x="812" y="12"/>
                  </a:cubicBezTo>
                  <a:close/>
                  <a:moveTo>
                    <a:pt x="1421" y="162"/>
                  </a:moveTo>
                  <a:cubicBezTo>
                    <a:pt x="1430" y="162"/>
                    <a:pt x="1433" y="171"/>
                    <a:pt x="1448" y="171"/>
                  </a:cubicBezTo>
                  <a:cubicBezTo>
                    <a:pt x="1463" y="171"/>
                    <a:pt x="1475" y="168"/>
                    <a:pt x="1475" y="165"/>
                  </a:cubicBezTo>
                  <a:cubicBezTo>
                    <a:pt x="1475" y="162"/>
                    <a:pt x="1463" y="156"/>
                    <a:pt x="1457" y="159"/>
                  </a:cubicBezTo>
                  <a:cubicBezTo>
                    <a:pt x="1454" y="162"/>
                    <a:pt x="1451" y="156"/>
                    <a:pt x="1445" y="156"/>
                  </a:cubicBezTo>
                  <a:cubicBezTo>
                    <a:pt x="1439" y="159"/>
                    <a:pt x="1433" y="159"/>
                    <a:pt x="1430" y="153"/>
                  </a:cubicBezTo>
                  <a:cubicBezTo>
                    <a:pt x="1427" y="150"/>
                    <a:pt x="1418" y="162"/>
                    <a:pt x="1421" y="162"/>
                  </a:cubicBezTo>
                  <a:close/>
                  <a:moveTo>
                    <a:pt x="1793" y="255"/>
                  </a:moveTo>
                  <a:cubicBezTo>
                    <a:pt x="1799" y="258"/>
                    <a:pt x="1805" y="252"/>
                    <a:pt x="1811" y="255"/>
                  </a:cubicBezTo>
                  <a:cubicBezTo>
                    <a:pt x="1814" y="258"/>
                    <a:pt x="1829" y="252"/>
                    <a:pt x="1832" y="252"/>
                  </a:cubicBezTo>
                  <a:cubicBezTo>
                    <a:pt x="1838" y="252"/>
                    <a:pt x="1835" y="243"/>
                    <a:pt x="1820" y="243"/>
                  </a:cubicBezTo>
                  <a:cubicBezTo>
                    <a:pt x="1805" y="240"/>
                    <a:pt x="1787" y="252"/>
                    <a:pt x="1793" y="255"/>
                  </a:cubicBezTo>
                  <a:close/>
                  <a:moveTo>
                    <a:pt x="512" y="21"/>
                  </a:moveTo>
                  <a:cubicBezTo>
                    <a:pt x="524" y="21"/>
                    <a:pt x="524" y="15"/>
                    <a:pt x="515" y="12"/>
                  </a:cubicBezTo>
                  <a:cubicBezTo>
                    <a:pt x="509" y="12"/>
                    <a:pt x="509" y="15"/>
                    <a:pt x="506" y="15"/>
                  </a:cubicBezTo>
                  <a:cubicBezTo>
                    <a:pt x="503" y="15"/>
                    <a:pt x="488" y="18"/>
                    <a:pt x="491" y="21"/>
                  </a:cubicBezTo>
                  <a:cubicBezTo>
                    <a:pt x="494" y="24"/>
                    <a:pt x="503" y="24"/>
                    <a:pt x="512" y="21"/>
                  </a:cubicBezTo>
                  <a:close/>
                  <a:moveTo>
                    <a:pt x="1322" y="162"/>
                  </a:moveTo>
                  <a:cubicBezTo>
                    <a:pt x="1325" y="165"/>
                    <a:pt x="1328" y="168"/>
                    <a:pt x="1331" y="168"/>
                  </a:cubicBezTo>
                  <a:cubicBezTo>
                    <a:pt x="1331" y="171"/>
                    <a:pt x="1343" y="168"/>
                    <a:pt x="1346" y="168"/>
                  </a:cubicBezTo>
                  <a:cubicBezTo>
                    <a:pt x="1349" y="165"/>
                    <a:pt x="1352" y="174"/>
                    <a:pt x="1358" y="168"/>
                  </a:cubicBezTo>
                  <a:cubicBezTo>
                    <a:pt x="1364" y="165"/>
                    <a:pt x="1370" y="168"/>
                    <a:pt x="1376" y="168"/>
                  </a:cubicBezTo>
                  <a:cubicBezTo>
                    <a:pt x="1385" y="168"/>
                    <a:pt x="1376" y="159"/>
                    <a:pt x="1376" y="153"/>
                  </a:cubicBezTo>
                  <a:cubicBezTo>
                    <a:pt x="1376" y="150"/>
                    <a:pt x="1385" y="153"/>
                    <a:pt x="1382" y="156"/>
                  </a:cubicBezTo>
                  <a:cubicBezTo>
                    <a:pt x="1379" y="159"/>
                    <a:pt x="1385" y="168"/>
                    <a:pt x="1397" y="165"/>
                  </a:cubicBezTo>
                  <a:cubicBezTo>
                    <a:pt x="1406" y="165"/>
                    <a:pt x="1400" y="159"/>
                    <a:pt x="1406" y="156"/>
                  </a:cubicBezTo>
                  <a:cubicBezTo>
                    <a:pt x="1409" y="153"/>
                    <a:pt x="1409" y="150"/>
                    <a:pt x="1403" y="147"/>
                  </a:cubicBezTo>
                  <a:cubicBezTo>
                    <a:pt x="1394" y="141"/>
                    <a:pt x="1385" y="144"/>
                    <a:pt x="1376" y="141"/>
                  </a:cubicBezTo>
                  <a:cubicBezTo>
                    <a:pt x="1370" y="138"/>
                    <a:pt x="1361" y="138"/>
                    <a:pt x="1361" y="147"/>
                  </a:cubicBezTo>
                  <a:cubicBezTo>
                    <a:pt x="1361" y="153"/>
                    <a:pt x="1346" y="138"/>
                    <a:pt x="1340" y="135"/>
                  </a:cubicBezTo>
                  <a:cubicBezTo>
                    <a:pt x="1331" y="132"/>
                    <a:pt x="1310" y="156"/>
                    <a:pt x="1322" y="162"/>
                  </a:cubicBezTo>
                  <a:close/>
                  <a:moveTo>
                    <a:pt x="1391" y="204"/>
                  </a:moveTo>
                  <a:cubicBezTo>
                    <a:pt x="1397" y="204"/>
                    <a:pt x="1385" y="192"/>
                    <a:pt x="1376" y="192"/>
                  </a:cubicBezTo>
                  <a:cubicBezTo>
                    <a:pt x="1364" y="189"/>
                    <a:pt x="1355" y="198"/>
                    <a:pt x="1358" y="198"/>
                  </a:cubicBezTo>
                  <a:cubicBezTo>
                    <a:pt x="1361" y="204"/>
                    <a:pt x="1385" y="207"/>
                    <a:pt x="1391" y="204"/>
                  </a:cubicBezTo>
                  <a:close/>
                  <a:moveTo>
                    <a:pt x="1364" y="183"/>
                  </a:moveTo>
                  <a:cubicBezTo>
                    <a:pt x="1364" y="177"/>
                    <a:pt x="1346" y="183"/>
                    <a:pt x="1352" y="186"/>
                  </a:cubicBezTo>
                  <a:cubicBezTo>
                    <a:pt x="1358" y="189"/>
                    <a:pt x="1364" y="189"/>
                    <a:pt x="1364" y="183"/>
                  </a:cubicBezTo>
                  <a:close/>
                  <a:moveTo>
                    <a:pt x="575" y="207"/>
                  </a:moveTo>
                  <a:cubicBezTo>
                    <a:pt x="578" y="207"/>
                    <a:pt x="590" y="207"/>
                    <a:pt x="593" y="204"/>
                  </a:cubicBezTo>
                  <a:cubicBezTo>
                    <a:pt x="593" y="201"/>
                    <a:pt x="587" y="198"/>
                    <a:pt x="581" y="198"/>
                  </a:cubicBezTo>
                  <a:cubicBezTo>
                    <a:pt x="572" y="198"/>
                    <a:pt x="572" y="207"/>
                    <a:pt x="575" y="207"/>
                  </a:cubicBezTo>
                  <a:close/>
                  <a:moveTo>
                    <a:pt x="309" y="27"/>
                  </a:moveTo>
                  <a:cubicBezTo>
                    <a:pt x="318" y="18"/>
                    <a:pt x="327" y="27"/>
                    <a:pt x="327" y="24"/>
                  </a:cubicBezTo>
                  <a:cubicBezTo>
                    <a:pt x="330" y="18"/>
                    <a:pt x="315" y="18"/>
                    <a:pt x="309" y="21"/>
                  </a:cubicBezTo>
                  <a:cubicBezTo>
                    <a:pt x="303" y="24"/>
                    <a:pt x="288" y="21"/>
                    <a:pt x="291" y="27"/>
                  </a:cubicBezTo>
                  <a:cubicBezTo>
                    <a:pt x="291" y="27"/>
                    <a:pt x="300" y="33"/>
                    <a:pt x="309" y="27"/>
                  </a:cubicBezTo>
                  <a:close/>
                  <a:moveTo>
                    <a:pt x="1388" y="591"/>
                  </a:moveTo>
                  <a:cubicBezTo>
                    <a:pt x="1385" y="579"/>
                    <a:pt x="1394" y="570"/>
                    <a:pt x="1385" y="567"/>
                  </a:cubicBezTo>
                  <a:cubicBezTo>
                    <a:pt x="1379" y="561"/>
                    <a:pt x="1382" y="549"/>
                    <a:pt x="1379" y="552"/>
                  </a:cubicBezTo>
                  <a:cubicBezTo>
                    <a:pt x="1376" y="555"/>
                    <a:pt x="1379" y="564"/>
                    <a:pt x="1373" y="564"/>
                  </a:cubicBezTo>
                  <a:cubicBezTo>
                    <a:pt x="1367" y="564"/>
                    <a:pt x="1373" y="570"/>
                    <a:pt x="1370" y="576"/>
                  </a:cubicBezTo>
                  <a:cubicBezTo>
                    <a:pt x="1370" y="582"/>
                    <a:pt x="1373" y="594"/>
                    <a:pt x="1376" y="600"/>
                  </a:cubicBezTo>
                  <a:cubicBezTo>
                    <a:pt x="1379" y="606"/>
                    <a:pt x="1370" y="636"/>
                    <a:pt x="1373" y="642"/>
                  </a:cubicBezTo>
                  <a:cubicBezTo>
                    <a:pt x="1376" y="648"/>
                    <a:pt x="1370" y="672"/>
                    <a:pt x="1373" y="675"/>
                  </a:cubicBezTo>
                  <a:cubicBezTo>
                    <a:pt x="1376" y="678"/>
                    <a:pt x="1373" y="666"/>
                    <a:pt x="1379" y="666"/>
                  </a:cubicBezTo>
                  <a:cubicBezTo>
                    <a:pt x="1385" y="666"/>
                    <a:pt x="1385" y="672"/>
                    <a:pt x="1388" y="675"/>
                  </a:cubicBezTo>
                  <a:cubicBezTo>
                    <a:pt x="1394" y="675"/>
                    <a:pt x="1391" y="663"/>
                    <a:pt x="1388" y="666"/>
                  </a:cubicBezTo>
                  <a:cubicBezTo>
                    <a:pt x="1385" y="666"/>
                    <a:pt x="1382" y="657"/>
                    <a:pt x="1379" y="651"/>
                  </a:cubicBezTo>
                  <a:cubicBezTo>
                    <a:pt x="1379" y="645"/>
                    <a:pt x="1382" y="639"/>
                    <a:pt x="1382" y="633"/>
                  </a:cubicBezTo>
                  <a:cubicBezTo>
                    <a:pt x="1382" y="627"/>
                    <a:pt x="1391" y="627"/>
                    <a:pt x="1397" y="633"/>
                  </a:cubicBezTo>
                  <a:cubicBezTo>
                    <a:pt x="1400" y="636"/>
                    <a:pt x="1403" y="633"/>
                    <a:pt x="1400" y="630"/>
                  </a:cubicBezTo>
                  <a:cubicBezTo>
                    <a:pt x="1397" y="627"/>
                    <a:pt x="1391" y="600"/>
                    <a:pt x="1388" y="591"/>
                  </a:cubicBezTo>
                  <a:close/>
                  <a:moveTo>
                    <a:pt x="327" y="294"/>
                  </a:moveTo>
                  <a:cubicBezTo>
                    <a:pt x="336" y="300"/>
                    <a:pt x="342" y="288"/>
                    <a:pt x="348" y="288"/>
                  </a:cubicBezTo>
                  <a:cubicBezTo>
                    <a:pt x="351" y="288"/>
                    <a:pt x="345" y="282"/>
                    <a:pt x="336" y="282"/>
                  </a:cubicBezTo>
                  <a:cubicBezTo>
                    <a:pt x="330" y="279"/>
                    <a:pt x="318" y="285"/>
                    <a:pt x="327" y="294"/>
                  </a:cubicBezTo>
                  <a:close/>
                  <a:moveTo>
                    <a:pt x="1921" y="348"/>
                  </a:moveTo>
                  <a:cubicBezTo>
                    <a:pt x="1918" y="348"/>
                    <a:pt x="1906" y="342"/>
                    <a:pt x="1903" y="339"/>
                  </a:cubicBezTo>
                  <a:cubicBezTo>
                    <a:pt x="1903" y="333"/>
                    <a:pt x="1888" y="333"/>
                    <a:pt x="1888" y="333"/>
                  </a:cubicBezTo>
                  <a:cubicBezTo>
                    <a:pt x="1888" y="336"/>
                    <a:pt x="1885" y="333"/>
                    <a:pt x="1885" y="330"/>
                  </a:cubicBezTo>
                  <a:cubicBezTo>
                    <a:pt x="1882" y="330"/>
                    <a:pt x="1870" y="330"/>
                    <a:pt x="1870" y="330"/>
                  </a:cubicBezTo>
                  <a:cubicBezTo>
                    <a:pt x="1870" y="333"/>
                    <a:pt x="1873" y="333"/>
                    <a:pt x="1873" y="336"/>
                  </a:cubicBezTo>
                  <a:cubicBezTo>
                    <a:pt x="1876" y="339"/>
                    <a:pt x="1870" y="339"/>
                    <a:pt x="1873" y="342"/>
                  </a:cubicBezTo>
                  <a:cubicBezTo>
                    <a:pt x="1873" y="345"/>
                    <a:pt x="1867" y="342"/>
                    <a:pt x="1864" y="339"/>
                  </a:cubicBezTo>
                  <a:cubicBezTo>
                    <a:pt x="1864" y="339"/>
                    <a:pt x="1864" y="333"/>
                    <a:pt x="1864" y="330"/>
                  </a:cubicBezTo>
                  <a:cubicBezTo>
                    <a:pt x="1864" y="324"/>
                    <a:pt x="1861" y="327"/>
                    <a:pt x="1861" y="324"/>
                  </a:cubicBezTo>
                  <a:cubicBezTo>
                    <a:pt x="1861" y="318"/>
                    <a:pt x="1847" y="312"/>
                    <a:pt x="1841" y="309"/>
                  </a:cubicBezTo>
                  <a:cubicBezTo>
                    <a:pt x="1832" y="306"/>
                    <a:pt x="1826" y="306"/>
                    <a:pt x="1823" y="303"/>
                  </a:cubicBezTo>
                  <a:cubicBezTo>
                    <a:pt x="1820" y="297"/>
                    <a:pt x="1808" y="297"/>
                    <a:pt x="1805" y="294"/>
                  </a:cubicBezTo>
                  <a:cubicBezTo>
                    <a:pt x="1802" y="288"/>
                    <a:pt x="1781" y="282"/>
                    <a:pt x="1775" y="279"/>
                  </a:cubicBezTo>
                  <a:cubicBezTo>
                    <a:pt x="1766" y="279"/>
                    <a:pt x="1766" y="276"/>
                    <a:pt x="1763" y="276"/>
                  </a:cubicBezTo>
                  <a:cubicBezTo>
                    <a:pt x="1760" y="276"/>
                    <a:pt x="1742" y="276"/>
                    <a:pt x="1736" y="276"/>
                  </a:cubicBezTo>
                  <a:cubicBezTo>
                    <a:pt x="1730" y="273"/>
                    <a:pt x="1730" y="279"/>
                    <a:pt x="1727" y="276"/>
                  </a:cubicBezTo>
                  <a:cubicBezTo>
                    <a:pt x="1724" y="276"/>
                    <a:pt x="1703" y="267"/>
                    <a:pt x="1700" y="270"/>
                  </a:cubicBezTo>
                  <a:cubicBezTo>
                    <a:pt x="1697" y="273"/>
                    <a:pt x="1700" y="276"/>
                    <a:pt x="1697" y="279"/>
                  </a:cubicBezTo>
                  <a:cubicBezTo>
                    <a:pt x="1694" y="279"/>
                    <a:pt x="1697" y="282"/>
                    <a:pt x="1703" y="288"/>
                  </a:cubicBezTo>
                  <a:cubicBezTo>
                    <a:pt x="1709" y="291"/>
                    <a:pt x="1703" y="297"/>
                    <a:pt x="1700" y="297"/>
                  </a:cubicBezTo>
                  <a:cubicBezTo>
                    <a:pt x="1694" y="300"/>
                    <a:pt x="1685" y="297"/>
                    <a:pt x="1685" y="291"/>
                  </a:cubicBezTo>
                  <a:cubicBezTo>
                    <a:pt x="1682" y="288"/>
                    <a:pt x="1676" y="291"/>
                    <a:pt x="1673" y="285"/>
                  </a:cubicBezTo>
                  <a:cubicBezTo>
                    <a:pt x="1670" y="279"/>
                    <a:pt x="1676" y="279"/>
                    <a:pt x="1679" y="282"/>
                  </a:cubicBezTo>
                  <a:cubicBezTo>
                    <a:pt x="1682" y="285"/>
                    <a:pt x="1685" y="282"/>
                    <a:pt x="1688" y="279"/>
                  </a:cubicBezTo>
                  <a:cubicBezTo>
                    <a:pt x="1688" y="276"/>
                    <a:pt x="1679" y="273"/>
                    <a:pt x="1673" y="273"/>
                  </a:cubicBezTo>
                  <a:cubicBezTo>
                    <a:pt x="1667" y="273"/>
                    <a:pt x="1664" y="279"/>
                    <a:pt x="1658" y="282"/>
                  </a:cubicBezTo>
                  <a:cubicBezTo>
                    <a:pt x="1655" y="285"/>
                    <a:pt x="1634" y="282"/>
                    <a:pt x="1631" y="279"/>
                  </a:cubicBezTo>
                  <a:cubicBezTo>
                    <a:pt x="1628" y="279"/>
                    <a:pt x="1601" y="279"/>
                    <a:pt x="1598" y="282"/>
                  </a:cubicBezTo>
                  <a:cubicBezTo>
                    <a:pt x="1595" y="285"/>
                    <a:pt x="1595" y="291"/>
                    <a:pt x="1595" y="294"/>
                  </a:cubicBezTo>
                  <a:cubicBezTo>
                    <a:pt x="1592" y="294"/>
                    <a:pt x="1592" y="285"/>
                    <a:pt x="1592" y="282"/>
                  </a:cubicBezTo>
                  <a:cubicBezTo>
                    <a:pt x="1592" y="279"/>
                    <a:pt x="1589" y="279"/>
                    <a:pt x="1583" y="279"/>
                  </a:cubicBezTo>
                  <a:cubicBezTo>
                    <a:pt x="1577" y="279"/>
                    <a:pt x="1574" y="279"/>
                    <a:pt x="1577" y="276"/>
                  </a:cubicBezTo>
                  <a:cubicBezTo>
                    <a:pt x="1580" y="273"/>
                    <a:pt x="1574" y="273"/>
                    <a:pt x="1580" y="270"/>
                  </a:cubicBezTo>
                  <a:cubicBezTo>
                    <a:pt x="1583" y="267"/>
                    <a:pt x="1571" y="258"/>
                    <a:pt x="1562" y="252"/>
                  </a:cubicBezTo>
                  <a:cubicBezTo>
                    <a:pt x="1550" y="249"/>
                    <a:pt x="1526" y="252"/>
                    <a:pt x="1517" y="252"/>
                  </a:cubicBezTo>
                  <a:cubicBezTo>
                    <a:pt x="1511" y="255"/>
                    <a:pt x="1499" y="255"/>
                    <a:pt x="1493" y="255"/>
                  </a:cubicBezTo>
                  <a:cubicBezTo>
                    <a:pt x="1484" y="255"/>
                    <a:pt x="1490" y="252"/>
                    <a:pt x="1490" y="249"/>
                  </a:cubicBezTo>
                  <a:cubicBezTo>
                    <a:pt x="1487" y="246"/>
                    <a:pt x="1475" y="243"/>
                    <a:pt x="1475" y="246"/>
                  </a:cubicBezTo>
                  <a:cubicBezTo>
                    <a:pt x="1472" y="249"/>
                    <a:pt x="1469" y="246"/>
                    <a:pt x="1469" y="243"/>
                  </a:cubicBezTo>
                  <a:cubicBezTo>
                    <a:pt x="1469" y="243"/>
                    <a:pt x="1460" y="237"/>
                    <a:pt x="1457" y="240"/>
                  </a:cubicBezTo>
                  <a:cubicBezTo>
                    <a:pt x="1451" y="240"/>
                    <a:pt x="1451" y="234"/>
                    <a:pt x="1454" y="234"/>
                  </a:cubicBezTo>
                  <a:cubicBezTo>
                    <a:pt x="1460" y="234"/>
                    <a:pt x="1466" y="237"/>
                    <a:pt x="1463" y="231"/>
                  </a:cubicBezTo>
                  <a:cubicBezTo>
                    <a:pt x="1460" y="225"/>
                    <a:pt x="1430" y="225"/>
                    <a:pt x="1427" y="225"/>
                  </a:cubicBezTo>
                  <a:cubicBezTo>
                    <a:pt x="1424" y="225"/>
                    <a:pt x="1427" y="231"/>
                    <a:pt x="1421" y="237"/>
                  </a:cubicBezTo>
                  <a:cubicBezTo>
                    <a:pt x="1415" y="243"/>
                    <a:pt x="1409" y="237"/>
                    <a:pt x="1409" y="234"/>
                  </a:cubicBezTo>
                  <a:cubicBezTo>
                    <a:pt x="1409" y="231"/>
                    <a:pt x="1418" y="231"/>
                    <a:pt x="1418" y="228"/>
                  </a:cubicBezTo>
                  <a:cubicBezTo>
                    <a:pt x="1418" y="225"/>
                    <a:pt x="1406" y="228"/>
                    <a:pt x="1406" y="225"/>
                  </a:cubicBezTo>
                  <a:cubicBezTo>
                    <a:pt x="1403" y="222"/>
                    <a:pt x="1406" y="222"/>
                    <a:pt x="1412" y="222"/>
                  </a:cubicBezTo>
                  <a:cubicBezTo>
                    <a:pt x="1415" y="225"/>
                    <a:pt x="1421" y="225"/>
                    <a:pt x="1424" y="222"/>
                  </a:cubicBezTo>
                  <a:cubicBezTo>
                    <a:pt x="1424" y="222"/>
                    <a:pt x="1418" y="219"/>
                    <a:pt x="1412" y="219"/>
                  </a:cubicBezTo>
                  <a:cubicBezTo>
                    <a:pt x="1406" y="219"/>
                    <a:pt x="1388" y="213"/>
                    <a:pt x="1382" y="216"/>
                  </a:cubicBezTo>
                  <a:cubicBezTo>
                    <a:pt x="1373" y="216"/>
                    <a:pt x="1367" y="213"/>
                    <a:pt x="1364" y="210"/>
                  </a:cubicBezTo>
                  <a:cubicBezTo>
                    <a:pt x="1358" y="210"/>
                    <a:pt x="1358" y="213"/>
                    <a:pt x="1361" y="216"/>
                  </a:cubicBezTo>
                  <a:cubicBezTo>
                    <a:pt x="1364" y="219"/>
                    <a:pt x="1358" y="222"/>
                    <a:pt x="1352" y="219"/>
                  </a:cubicBezTo>
                  <a:cubicBezTo>
                    <a:pt x="1346" y="219"/>
                    <a:pt x="1337" y="222"/>
                    <a:pt x="1340" y="228"/>
                  </a:cubicBezTo>
                  <a:cubicBezTo>
                    <a:pt x="1343" y="231"/>
                    <a:pt x="1346" y="225"/>
                    <a:pt x="1349" y="228"/>
                  </a:cubicBezTo>
                  <a:cubicBezTo>
                    <a:pt x="1352" y="228"/>
                    <a:pt x="1343" y="231"/>
                    <a:pt x="1346" y="234"/>
                  </a:cubicBezTo>
                  <a:cubicBezTo>
                    <a:pt x="1352" y="234"/>
                    <a:pt x="1349" y="240"/>
                    <a:pt x="1349" y="240"/>
                  </a:cubicBezTo>
                  <a:cubicBezTo>
                    <a:pt x="1349" y="243"/>
                    <a:pt x="1343" y="243"/>
                    <a:pt x="1340" y="240"/>
                  </a:cubicBezTo>
                  <a:cubicBezTo>
                    <a:pt x="1340" y="237"/>
                    <a:pt x="1334" y="240"/>
                    <a:pt x="1331" y="240"/>
                  </a:cubicBezTo>
                  <a:cubicBezTo>
                    <a:pt x="1325" y="240"/>
                    <a:pt x="1322" y="243"/>
                    <a:pt x="1328" y="243"/>
                  </a:cubicBezTo>
                  <a:cubicBezTo>
                    <a:pt x="1331" y="243"/>
                    <a:pt x="1334" y="246"/>
                    <a:pt x="1328" y="246"/>
                  </a:cubicBezTo>
                  <a:cubicBezTo>
                    <a:pt x="1322" y="249"/>
                    <a:pt x="1322" y="240"/>
                    <a:pt x="1319" y="243"/>
                  </a:cubicBezTo>
                  <a:cubicBezTo>
                    <a:pt x="1313" y="243"/>
                    <a:pt x="1307" y="240"/>
                    <a:pt x="1301" y="240"/>
                  </a:cubicBezTo>
                  <a:cubicBezTo>
                    <a:pt x="1295" y="240"/>
                    <a:pt x="1295" y="243"/>
                    <a:pt x="1289" y="243"/>
                  </a:cubicBezTo>
                  <a:cubicBezTo>
                    <a:pt x="1283" y="243"/>
                    <a:pt x="1274" y="240"/>
                    <a:pt x="1271" y="237"/>
                  </a:cubicBezTo>
                  <a:cubicBezTo>
                    <a:pt x="1268" y="234"/>
                    <a:pt x="1268" y="231"/>
                    <a:pt x="1265" y="237"/>
                  </a:cubicBezTo>
                  <a:cubicBezTo>
                    <a:pt x="1262" y="240"/>
                    <a:pt x="1262" y="246"/>
                    <a:pt x="1259" y="249"/>
                  </a:cubicBezTo>
                  <a:cubicBezTo>
                    <a:pt x="1256" y="249"/>
                    <a:pt x="1253" y="255"/>
                    <a:pt x="1250" y="258"/>
                  </a:cubicBezTo>
                  <a:cubicBezTo>
                    <a:pt x="1247" y="258"/>
                    <a:pt x="1247" y="255"/>
                    <a:pt x="1244" y="255"/>
                  </a:cubicBezTo>
                  <a:cubicBezTo>
                    <a:pt x="1241" y="255"/>
                    <a:pt x="1229" y="243"/>
                    <a:pt x="1226" y="240"/>
                  </a:cubicBezTo>
                  <a:cubicBezTo>
                    <a:pt x="1226" y="237"/>
                    <a:pt x="1220" y="228"/>
                    <a:pt x="1217" y="228"/>
                  </a:cubicBezTo>
                  <a:cubicBezTo>
                    <a:pt x="1214" y="225"/>
                    <a:pt x="1220" y="225"/>
                    <a:pt x="1223" y="228"/>
                  </a:cubicBezTo>
                  <a:cubicBezTo>
                    <a:pt x="1223" y="231"/>
                    <a:pt x="1226" y="231"/>
                    <a:pt x="1229" y="228"/>
                  </a:cubicBezTo>
                  <a:cubicBezTo>
                    <a:pt x="1232" y="228"/>
                    <a:pt x="1232" y="222"/>
                    <a:pt x="1229" y="222"/>
                  </a:cubicBezTo>
                  <a:cubicBezTo>
                    <a:pt x="1223" y="222"/>
                    <a:pt x="1226" y="216"/>
                    <a:pt x="1226" y="216"/>
                  </a:cubicBezTo>
                  <a:cubicBezTo>
                    <a:pt x="1229" y="216"/>
                    <a:pt x="1223" y="210"/>
                    <a:pt x="1226" y="210"/>
                  </a:cubicBezTo>
                  <a:cubicBezTo>
                    <a:pt x="1226" y="207"/>
                    <a:pt x="1226" y="204"/>
                    <a:pt x="1223" y="204"/>
                  </a:cubicBezTo>
                  <a:cubicBezTo>
                    <a:pt x="1220" y="204"/>
                    <a:pt x="1214" y="201"/>
                    <a:pt x="1214" y="198"/>
                  </a:cubicBezTo>
                  <a:cubicBezTo>
                    <a:pt x="1214" y="198"/>
                    <a:pt x="1199" y="198"/>
                    <a:pt x="1199" y="201"/>
                  </a:cubicBezTo>
                  <a:cubicBezTo>
                    <a:pt x="1202" y="201"/>
                    <a:pt x="1196" y="201"/>
                    <a:pt x="1196" y="198"/>
                  </a:cubicBezTo>
                  <a:cubicBezTo>
                    <a:pt x="1196" y="198"/>
                    <a:pt x="1190" y="198"/>
                    <a:pt x="1184" y="195"/>
                  </a:cubicBezTo>
                  <a:cubicBezTo>
                    <a:pt x="1175" y="195"/>
                    <a:pt x="1175" y="189"/>
                    <a:pt x="1172" y="189"/>
                  </a:cubicBezTo>
                  <a:cubicBezTo>
                    <a:pt x="1169" y="189"/>
                    <a:pt x="1172" y="195"/>
                    <a:pt x="1169" y="195"/>
                  </a:cubicBezTo>
                  <a:cubicBezTo>
                    <a:pt x="1163" y="192"/>
                    <a:pt x="1160" y="195"/>
                    <a:pt x="1163" y="201"/>
                  </a:cubicBezTo>
                  <a:cubicBezTo>
                    <a:pt x="1163" y="204"/>
                    <a:pt x="1163" y="204"/>
                    <a:pt x="1163" y="207"/>
                  </a:cubicBezTo>
                  <a:cubicBezTo>
                    <a:pt x="1160" y="213"/>
                    <a:pt x="1160" y="210"/>
                    <a:pt x="1154" y="210"/>
                  </a:cubicBezTo>
                  <a:cubicBezTo>
                    <a:pt x="1151" y="207"/>
                    <a:pt x="1151" y="213"/>
                    <a:pt x="1142" y="210"/>
                  </a:cubicBezTo>
                  <a:cubicBezTo>
                    <a:pt x="1133" y="207"/>
                    <a:pt x="1127" y="210"/>
                    <a:pt x="1127" y="207"/>
                  </a:cubicBezTo>
                  <a:cubicBezTo>
                    <a:pt x="1124" y="204"/>
                    <a:pt x="1121" y="204"/>
                    <a:pt x="1121" y="207"/>
                  </a:cubicBezTo>
                  <a:cubicBezTo>
                    <a:pt x="1121" y="210"/>
                    <a:pt x="1106" y="207"/>
                    <a:pt x="1106" y="204"/>
                  </a:cubicBezTo>
                  <a:cubicBezTo>
                    <a:pt x="1103" y="201"/>
                    <a:pt x="1109" y="201"/>
                    <a:pt x="1109" y="198"/>
                  </a:cubicBezTo>
                  <a:cubicBezTo>
                    <a:pt x="1112" y="198"/>
                    <a:pt x="1109" y="195"/>
                    <a:pt x="1100" y="198"/>
                  </a:cubicBezTo>
                  <a:cubicBezTo>
                    <a:pt x="1091" y="198"/>
                    <a:pt x="1088" y="192"/>
                    <a:pt x="1079" y="195"/>
                  </a:cubicBezTo>
                  <a:cubicBezTo>
                    <a:pt x="1070" y="195"/>
                    <a:pt x="1052" y="195"/>
                    <a:pt x="1052" y="198"/>
                  </a:cubicBezTo>
                  <a:cubicBezTo>
                    <a:pt x="1049" y="198"/>
                    <a:pt x="1052" y="204"/>
                    <a:pt x="1049" y="204"/>
                  </a:cubicBezTo>
                  <a:cubicBezTo>
                    <a:pt x="1046" y="204"/>
                    <a:pt x="1049" y="195"/>
                    <a:pt x="1049" y="192"/>
                  </a:cubicBezTo>
                  <a:cubicBezTo>
                    <a:pt x="1046" y="189"/>
                    <a:pt x="1040" y="189"/>
                    <a:pt x="1043" y="192"/>
                  </a:cubicBezTo>
                  <a:cubicBezTo>
                    <a:pt x="1043" y="195"/>
                    <a:pt x="1034" y="195"/>
                    <a:pt x="1031" y="192"/>
                  </a:cubicBezTo>
                  <a:cubicBezTo>
                    <a:pt x="1028" y="189"/>
                    <a:pt x="1025" y="189"/>
                    <a:pt x="1016" y="186"/>
                  </a:cubicBezTo>
                  <a:cubicBezTo>
                    <a:pt x="1010" y="183"/>
                    <a:pt x="1004" y="192"/>
                    <a:pt x="1004" y="192"/>
                  </a:cubicBezTo>
                  <a:cubicBezTo>
                    <a:pt x="1007" y="195"/>
                    <a:pt x="1010" y="195"/>
                    <a:pt x="1010" y="195"/>
                  </a:cubicBezTo>
                  <a:cubicBezTo>
                    <a:pt x="1013" y="198"/>
                    <a:pt x="998" y="198"/>
                    <a:pt x="998" y="198"/>
                  </a:cubicBezTo>
                  <a:cubicBezTo>
                    <a:pt x="998" y="201"/>
                    <a:pt x="983" y="204"/>
                    <a:pt x="980" y="204"/>
                  </a:cubicBezTo>
                  <a:cubicBezTo>
                    <a:pt x="968" y="207"/>
                    <a:pt x="968" y="207"/>
                    <a:pt x="962" y="210"/>
                  </a:cubicBezTo>
                  <a:cubicBezTo>
                    <a:pt x="956" y="216"/>
                    <a:pt x="962" y="207"/>
                    <a:pt x="965" y="204"/>
                  </a:cubicBezTo>
                  <a:cubicBezTo>
                    <a:pt x="968" y="198"/>
                    <a:pt x="974" y="201"/>
                    <a:pt x="974" y="198"/>
                  </a:cubicBezTo>
                  <a:cubicBezTo>
                    <a:pt x="977" y="195"/>
                    <a:pt x="980" y="195"/>
                    <a:pt x="989" y="195"/>
                  </a:cubicBezTo>
                  <a:cubicBezTo>
                    <a:pt x="995" y="192"/>
                    <a:pt x="995" y="189"/>
                    <a:pt x="998" y="189"/>
                  </a:cubicBezTo>
                  <a:cubicBezTo>
                    <a:pt x="1001" y="186"/>
                    <a:pt x="1007" y="183"/>
                    <a:pt x="1007" y="180"/>
                  </a:cubicBezTo>
                  <a:cubicBezTo>
                    <a:pt x="1010" y="177"/>
                    <a:pt x="1025" y="171"/>
                    <a:pt x="1028" y="174"/>
                  </a:cubicBezTo>
                  <a:cubicBezTo>
                    <a:pt x="1031" y="174"/>
                    <a:pt x="1031" y="168"/>
                    <a:pt x="1034" y="168"/>
                  </a:cubicBezTo>
                  <a:cubicBezTo>
                    <a:pt x="1034" y="168"/>
                    <a:pt x="1043" y="162"/>
                    <a:pt x="1046" y="162"/>
                  </a:cubicBezTo>
                  <a:cubicBezTo>
                    <a:pt x="1049" y="159"/>
                    <a:pt x="1052" y="156"/>
                    <a:pt x="1052" y="153"/>
                  </a:cubicBezTo>
                  <a:cubicBezTo>
                    <a:pt x="1052" y="153"/>
                    <a:pt x="1046" y="153"/>
                    <a:pt x="1046" y="150"/>
                  </a:cubicBezTo>
                  <a:cubicBezTo>
                    <a:pt x="1046" y="150"/>
                    <a:pt x="1049" y="150"/>
                    <a:pt x="1052" y="150"/>
                  </a:cubicBezTo>
                  <a:cubicBezTo>
                    <a:pt x="1055" y="147"/>
                    <a:pt x="1052" y="144"/>
                    <a:pt x="1049" y="144"/>
                  </a:cubicBezTo>
                  <a:cubicBezTo>
                    <a:pt x="1046" y="144"/>
                    <a:pt x="1052" y="141"/>
                    <a:pt x="1049" y="138"/>
                  </a:cubicBezTo>
                  <a:cubicBezTo>
                    <a:pt x="1046" y="135"/>
                    <a:pt x="1040" y="141"/>
                    <a:pt x="1040" y="138"/>
                  </a:cubicBezTo>
                  <a:cubicBezTo>
                    <a:pt x="1040" y="132"/>
                    <a:pt x="1040" y="129"/>
                    <a:pt x="1040" y="126"/>
                  </a:cubicBezTo>
                  <a:cubicBezTo>
                    <a:pt x="1037" y="126"/>
                    <a:pt x="1034" y="132"/>
                    <a:pt x="1028" y="129"/>
                  </a:cubicBezTo>
                  <a:cubicBezTo>
                    <a:pt x="1025" y="126"/>
                    <a:pt x="1013" y="123"/>
                    <a:pt x="1013" y="123"/>
                  </a:cubicBezTo>
                  <a:cubicBezTo>
                    <a:pt x="1013" y="126"/>
                    <a:pt x="1007" y="123"/>
                    <a:pt x="1007" y="123"/>
                  </a:cubicBezTo>
                  <a:cubicBezTo>
                    <a:pt x="1004" y="126"/>
                    <a:pt x="995" y="123"/>
                    <a:pt x="992" y="123"/>
                  </a:cubicBezTo>
                  <a:cubicBezTo>
                    <a:pt x="989" y="123"/>
                    <a:pt x="986" y="126"/>
                    <a:pt x="986" y="129"/>
                  </a:cubicBezTo>
                  <a:cubicBezTo>
                    <a:pt x="983" y="132"/>
                    <a:pt x="974" y="129"/>
                    <a:pt x="971" y="129"/>
                  </a:cubicBezTo>
                  <a:cubicBezTo>
                    <a:pt x="968" y="129"/>
                    <a:pt x="980" y="120"/>
                    <a:pt x="980" y="120"/>
                  </a:cubicBezTo>
                  <a:cubicBezTo>
                    <a:pt x="980" y="117"/>
                    <a:pt x="962" y="120"/>
                    <a:pt x="959" y="117"/>
                  </a:cubicBezTo>
                  <a:cubicBezTo>
                    <a:pt x="959" y="117"/>
                    <a:pt x="950" y="114"/>
                    <a:pt x="947" y="114"/>
                  </a:cubicBezTo>
                  <a:cubicBezTo>
                    <a:pt x="944" y="114"/>
                    <a:pt x="947" y="114"/>
                    <a:pt x="950" y="114"/>
                  </a:cubicBezTo>
                  <a:cubicBezTo>
                    <a:pt x="953" y="114"/>
                    <a:pt x="956" y="111"/>
                    <a:pt x="962" y="111"/>
                  </a:cubicBezTo>
                  <a:cubicBezTo>
                    <a:pt x="965" y="108"/>
                    <a:pt x="965" y="108"/>
                    <a:pt x="962" y="105"/>
                  </a:cubicBezTo>
                  <a:cubicBezTo>
                    <a:pt x="959" y="102"/>
                    <a:pt x="956" y="105"/>
                    <a:pt x="953" y="102"/>
                  </a:cubicBezTo>
                  <a:cubicBezTo>
                    <a:pt x="950" y="102"/>
                    <a:pt x="944" y="99"/>
                    <a:pt x="941" y="99"/>
                  </a:cubicBezTo>
                  <a:cubicBezTo>
                    <a:pt x="938" y="99"/>
                    <a:pt x="935" y="102"/>
                    <a:pt x="926" y="102"/>
                  </a:cubicBezTo>
                  <a:cubicBezTo>
                    <a:pt x="917" y="105"/>
                    <a:pt x="917" y="111"/>
                    <a:pt x="914" y="114"/>
                  </a:cubicBezTo>
                  <a:cubicBezTo>
                    <a:pt x="908" y="114"/>
                    <a:pt x="902" y="123"/>
                    <a:pt x="905" y="123"/>
                  </a:cubicBezTo>
                  <a:cubicBezTo>
                    <a:pt x="908" y="123"/>
                    <a:pt x="908" y="126"/>
                    <a:pt x="908" y="126"/>
                  </a:cubicBezTo>
                  <a:cubicBezTo>
                    <a:pt x="908" y="129"/>
                    <a:pt x="905" y="129"/>
                    <a:pt x="902" y="129"/>
                  </a:cubicBezTo>
                  <a:cubicBezTo>
                    <a:pt x="899" y="129"/>
                    <a:pt x="884" y="129"/>
                    <a:pt x="884" y="132"/>
                  </a:cubicBezTo>
                  <a:cubicBezTo>
                    <a:pt x="884" y="135"/>
                    <a:pt x="893" y="135"/>
                    <a:pt x="893" y="138"/>
                  </a:cubicBezTo>
                  <a:cubicBezTo>
                    <a:pt x="890" y="138"/>
                    <a:pt x="887" y="138"/>
                    <a:pt x="884" y="135"/>
                  </a:cubicBezTo>
                  <a:cubicBezTo>
                    <a:pt x="881" y="135"/>
                    <a:pt x="875" y="135"/>
                    <a:pt x="872" y="138"/>
                  </a:cubicBezTo>
                  <a:cubicBezTo>
                    <a:pt x="872" y="141"/>
                    <a:pt x="866" y="141"/>
                    <a:pt x="866" y="138"/>
                  </a:cubicBezTo>
                  <a:cubicBezTo>
                    <a:pt x="863" y="138"/>
                    <a:pt x="860" y="141"/>
                    <a:pt x="860" y="141"/>
                  </a:cubicBezTo>
                  <a:cubicBezTo>
                    <a:pt x="857" y="138"/>
                    <a:pt x="863" y="135"/>
                    <a:pt x="863" y="135"/>
                  </a:cubicBezTo>
                  <a:cubicBezTo>
                    <a:pt x="860" y="132"/>
                    <a:pt x="851" y="132"/>
                    <a:pt x="851" y="135"/>
                  </a:cubicBezTo>
                  <a:cubicBezTo>
                    <a:pt x="851" y="138"/>
                    <a:pt x="845" y="135"/>
                    <a:pt x="845" y="135"/>
                  </a:cubicBezTo>
                  <a:cubicBezTo>
                    <a:pt x="842" y="135"/>
                    <a:pt x="839" y="138"/>
                    <a:pt x="836" y="138"/>
                  </a:cubicBezTo>
                  <a:cubicBezTo>
                    <a:pt x="833" y="141"/>
                    <a:pt x="827" y="138"/>
                    <a:pt x="824" y="141"/>
                  </a:cubicBezTo>
                  <a:cubicBezTo>
                    <a:pt x="824" y="144"/>
                    <a:pt x="833" y="144"/>
                    <a:pt x="833" y="144"/>
                  </a:cubicBezTo>
                  <a:cubicBezTo>
                    <a:pt x="833" y="147"/>
                    <a:pt x="815" y="147"/>
                    <a:pt x="815" y="147"/>
                  </a:cubicBezTo>
                  <a:cubicBezTo>
                    <a:pt x="812" y="150"/>
                    <a:pt x="806" y="150"/>
                    <a:pt x="800" y="150"/>
                  </a:cubicBezTo>
                  <a:cubicBezTo>
                    <a:pt x="791" y="150"/>
                    <a:pt x="794" y="153"/>
                    <a:pt x="788" y="153"/>
                  </a:cubicBezTo>
                  <a:cubicBezTo>
                    <a:pt x="782" y="156"/>
                    <a:pt x="779" y="156"/>
                    <a:pt x="779" y="159"/>
                  </a:cubicBezTo>
                  <a:cubicBezTo>
                    <a:pt x="776" y="162"/>
                    <a:pt x="773" y="162"/>
                    <a:pt x="770" y="159"/>
                  </a:cubicBezTo>
                  <a:cubicBezTo>
                    <a:pt x="767" y="159"/>
                    <a:pt x="761" y="162"/>
                    <a:pt x="764" y="162"/>
                  </a:cubicBezTo>
                  <a:cubicBezTo>
                    <a:pt x="767" y="162"/>
                    <a:pt x="764" y="165"/>
                    <a:pt x="764" y="165"/>
                  </a:cubicBezTo>
                  <a:cubicBezTo>
                    <a:pt x="761" y="162"/>
                    <a:pt x="755" y="168"/>
                    <a:pt x="758" y="168"/>
                  </a:cubicBezTo>
                  <a:cubicBezTo>
                    <a:pt x="761" y="168"/>
                    <a:pt x="764" y="168"/>
                    <a:pt x="761" y="171"/>
                  </a:cubicBezTo>
                  <a:cubicBezTo>
                    <a:pt x="761" y="174"/>
                    <a:pt x="755" y="168"/>
                    <a:pt x="752" y="171"/>
                  </a:cubicBezTo>
                  <a:cubicBezTo>
                    <a:pt x="752" y="171"/>
                    <a:pt x="755" y="174"/>
                    <a:pt x="758" y="174"/>
                  </a:cubicBezTo>
                  <a:cubicBezTo>
                    <a:pt x="761" y="174"/>
                    <a:pt x="764" y="177"/>
                    <a:pt x="764" y="177"/>
                  </a:cubicBezTo>
                  <a:cubicBezTo>
                    <a:pt x="764" y="180"/>
                    <a:pt x="758" y="177"/>
                    <a:pt x="755" y="177"/>
                  </a:cubicBezTo>
                  <a:cubicBezTo>
                    <a:pt x="755" y="180"/>
                    <a:pt x="755" y="180"/>
                    <a:pt x="761" y="180"/>
                  </a:cubicBezTo>
                  <a:cubicBezTo>
                    <a:pt x="764" y="183"/>
                    <a:pt x="761" y="183"/>
                    <a:pt x="764" y="186"/>
                  </a:cubicBezTo>
                  <a:cubicBezTo>
                    <a:pt x="764" y="186"/>
                    <a:pt x="764" y="186"/>
                    <a:pt x="764" y="186"/>
                  </a:cubicBezTo>
                  <a:cubicBezTo>
                    <a:pt x="764" y="189"/>
                    <a:pt x="761" y="189"/>
                    <a:pt x="764" y="192"/>
                  </a:cubicBezTo>
                  <a:cubicBezTo>
                    <a:pt x="764" y="192"/>
                    <a:pt x="758" y="195"/>
                    <a:pt x="758" y="192"/>
                  </a:cubicBezTo>
                  <a:cubicBezTo>
                    <a:pt x="758" y="189"/>
                    <a:pt x="752" y="189"/>
                    <a:pt x="749" y="192"/>
                  </a:cubicBezTo>
                  <a:cubicBezTo>
                    <a:pt x="746" y="192"/>
                    <a:pt x="746" y="195"/>
                    <a:pt x="743" y="192"/>
                  </a:cubicBezTo>
                  <a:cubicBezTo>
                    <a:pt x="740" y="192"/>
                    <a:pt x="734" y="192"/>
                    <a:pt x="728" y="195"/>
                  </a:cubicBezTo>
                  <a:cubicBezTo>
                    <a:pt x="719" y="195"/>
                    <a:pt x="701" y="195"/>
                    <a:pt x="698" y="195"/>
                  </a:cubicBezTo>
                  <a:cubicBezTo>
                    <a:pt x="692" y="198"/>
                    <a:pt x="689" y="204"/>
                    <a:pt x="695" y="207"/>
                  </a:cubicBezTo>
                  <a:cubicBezTo>
                    <a:pt x="698" y="210"/>
                    <a:pt x="695" y="213"/>
                    <a:pt x="695" y="216"/>
                  </a:cubicBezTo>
                  <a:cubicBezTo>
                    <a:pt x="695" y="219"/>
                    <a:pt x="704" y="222"/>
                    <a:pt x="710" y="225"/>
                  </a:cubicBezTo>
                  <a:cubicBezTo>
                    <a:pt x="716" y="225"/>
                    <a:pt x="719" y="231"/>
                    <a:pt x="716" y="234"/>
                  </a:cubicBezTo>
                  <a:cubicBezTo>
                    <a:pt x="713" y="240"/>
                    <a:pt x="704" y="234"/>
                    <a:pt x="698" y="228"/>
                  </a:cubicBezTo>
                  <a:cubicBezTo>
                    <a:pt x="689" y="222"/>
                    <a:pt x="677" y="222"/>
                    <a:pt x="671" y="222"/>
                  </a:cubicBezTo>
                  <a:cubicBezTo>
                    <a:pt x="665" y="222"/>
                    <a:pt x="668" y="216"/>
                    <a:pt x="662" y="219"/>
                  </a:cubicBezTo>
                  <a:cubicBezTo>
                    <a:pt x="656" y="219"/>
                    <a:pt x="650" y="222"/>
                    <a:pt x="656" y="222"/>
                  </a:cubicBezTo>
                  <a:cubicBezTo>
                    <a:pt x="659" y="222"/>
                    <a:pt x="662" y="222"/>
                    <a:pt x="659" y="225"/>
                  </a:cubicBezTo>
                  <a:cubicBezTo>
                    <a:pt x="659" y="228"/>
                    <a:pt x="662" y="225"/>
                    <a:pt x="665" y="228"/>
                  </a:cubicBezTo>
                  <a:cubicBezTo>
                    <a:pt x="671" y="231"/>
                    <a:pt x="662" y="234"/>
                    <a:pt x="656" y="231"/>
                  </a:cubicBezTo>
                  <a:cubicBezTo>
                    <a:pt x="653" y="228"/>
                    <a:pt x="647" y="231"/>
                    <a:pt x="644" y="234"/>
                  </a:cubicBezTo>
                  <a:cubicBezTo>
                    <a:pt x="644" y="234"/>
                    <a:pt x="650" y="243"/>
                    <a:pt x="659" y="243"/>
                  </a:cubicBezTo>
                  <a:cubicBezTo>
                    <a:pt x="668" y="246"/>
                    <a:pt x="665" y="249"/>
                    <a:pt x="671" y="249"/>
                  </a:cubicBezTo>
                  <a:cubicBezTo>
                    <a:pt x="674" y="252"/>
                    <a:pt x="671" y="252"/>
                    <a:pt x="668" y="252"/>
                  </a:cubicBezTo>
                  <a:cubicBezTo>
                    <a:pt x="665" y="255"/>
                    <a:pt x="659" y="249"/>
                    <a:pt x="656" y="246"/>
                  </a:cubicBezTo>
                  <a:cubicBezTo>
                    <a:pt x="650" y="243"/>
                    <a:pt x="638" y="249"/>
                    <a:pt x="635" y="246"/>
                  </a:cubicBezTo>
                  <a:cubicBezTo>
                    <a:pt x="635" y="243"/>
                    <a:pt x="638" y="240"/>
                    <a:pt x="635" y="237"/>
                  </a:cubicBezTo>
                  <a:cubicBezTo>
                    <a:pt x="632" y="237"/>
                    <a:pt x="635" y="231"/>
                    <a:pt x="638" y="228"/>
                  </a:cubicBezTo>
                  <a:cubicBezTo>
                    <a:pt x="641" y="222"/>
                    <a:pt x="638" y="213"/>
                    <a:pt x="632" y="213"/>
                  </a:cubicBezTo>
                  <a:cubicBezTo>
                    <a:pt x="629" y="210"/>
                    <a:pt x="629" y="216"/>
                    <a:pt x="629" y="216"/>
                  </a:cubicBezTo>
                  <a:cubicBezTo>
                    <a:pt x="632" y="219"/>
                    <a:pt x="632" y="225"/>
                    <a:pt x="626" y="228"/>
                  </a:cubicBezTo>
                  <a:cubicBezTo>
                    <a:pt x="623" y="234"/>
                    <a:pt x="614" y="234"/>
                    <a:pt x="614" y="237"/>
                  </a:cubicBezTo>
                  <a:cubicBezTo>
                    <a:pt x="614" y="240"/>
                    <a:pt x="608" y="240"/>
                    <a:pt x="608" y="243"/>
                  </a:cubicBezTo>
                  <a:cubicBezTo>
                    <a:pt x="611" y="246"/>
                    <a:pt x="620" y="255"/>
                    <a:pt x="623" y="258"/>
                  </a:cubicBezTo>
                  <a:cubicBezTo>
                    <a:pt x="623" y="261"/>
                    <a:pt x="614" y="273"/>
                    <a:pt x="617" y="276"/>
                  </a:cubicBezTo>
                  <a:cubicBezTo>
                    <a:pt x="617" y="282"/>
                    <a:pt x="614" y="285"/>
                    <a:pt x="617" y="288"/>
                  </a:cubicBezTo>
                  <a:cubicBezTo>
                    <a:pt x="617" y="291"/>
                    <a:pt x="623" y="288"/>
                    <a:pt x="626" y="291"/>
                  </a:cubicBezTo>
                  <a:cubicBezTo>
                    <a:pt x="626" y="291"/>
                    <a:pt x="632" y="288"/>
                    <a:pt x="638" y="288"/>
                  </a:cubicBezTo>
                  <a:cubicBezTo>
                    <a:pt x="644" y="285"/>
                    <a:pt x="656" y="294"/>
                    <a:pt x="659" y="294"/>
                  </a:cubicBezTo>
                  <a:cubicBezTo>
                    <a:pt x="665" y="297"/>
                    <a:pt x="662" y="300"/>
                    <a:pt x="665" y="303"/>
                  </a:cubicBezTo>
                  <a:cubicBezTo>
                    <a:pt x="665" y="306"/>
                    <a:pt x="659" y="306"/>
                    <a:pt x="659" y="312"/>
                  </a:cubicBezTo>
                  <a:cubicBezTo>
                    <a:pt x="659" y="318"/>
                    <a:pt x="671" y="318"/>
                    <a:pt x="671" y="321"/>
                  </a:cubicBezTo>
                  <a:cubicBezTo>
                    <a:pt x="671" y="321"/>
                    <a:pt x="662" y="321"/>
                    <a:pt x="659" y="318"/>
                  </a:cubicBezTo>
                  <a:cubicBezTo>
                    <a:pt x="656" y="318"/>
                    <a:pt x="656" y="312"/>
                    <a:pt x="653" y="312"/>
                  </a:cubicBezTo>
                  <a:cubicBezTo>
                    <a:pt x="653" y="312"/>
                    <a:pt x="656" y="306"/>
                    <a:pt x="656" y="303"/>
                  </a:cubicBezTo>
                  <a:cubicBezTo>
                    <a:pt x="656" y="300"/>
                    <a:pt x="653" y="300"/>
                    <a:pt x="650" y="297"/>
                  </a:cubicBezTo>
                  <a:cubicBezTo>
                    <a:pt x="650" y="294"/>
                    <a:pt x="647" y="291"/>
                    <a:pt x="644" y="291"/>
                  </a:cubicBezTo>
                  <a:cubicBezTo>
                    <a:pt x="641" y="294"/>
                    <a:pt x="629" y="294"/>
                    <a:pt x="626" y="297"/>
                  </a:cubicBezTo>
                  <a:cubicBezTo>
                    <a:pt x="623" y="300"/>
                    <a:pt x="626" y="309"/>
                    <a:pt x="629" y="312"/>
                  </a:cubicBezTo>
                  <a:cubicBezTo>
                    <a:pt x="632" y="318"/>
                    <a:pt x="620" y="324"/>
                    <a:pt x="620" y="327"/>
                  </a:cubicBezTo>
                  <a:cubicBezTo>
                    <a:pt x="620" y="330"/>
                    <a:pt x="617" y="330"/>
                    <a:pt x="611" y="333"/>
                  </a:cubicBezTo>
                  <a:cubicBezTo>
                    <a:pt x="605" y="336"/>
                    <a:pt x="599" y="339"/>
                    <a:pt x="602" y="342"/>
                  </a:cubicBezTo>
                  <a:cubicBezTo>
                    <a:pt x="602" y="348"/>
                    <a:pt x="593" y="345"/>
                    <a:pt x="590" y="342"/>
                  </a:cubicBezTo>
                  <a:cubicBezTo>
                    <a:pt x="587" y="339"/>
                    <a:pt x="581" y="345"/>
                    <a:pt x="578" y="342"/>
                  </a:cubicBezTo>
                  <a:cubicBezTo>
                    <a:pt x="572" y="342"/>
                    <a:pt x="572" y="339"/>
                    <a:pt x="569" y="342"/>
                  </a:cubicBezTo>
                  <a:cubicBezTo>
                    <a:pt x="563" y="342"/>
                    <a:pt x="563" y="339"/>
                    <a:pt x="563" y="336"/>
                  </a:cubicBezTo>
                  <a:cubicBezTo>
                    <a:pt x="563" y="333"/>
                    <a:pt x="569" y="336"/>
                    <a:pt x="569" y="336"/>
                  </a:cubicBezTo>
                  <a:cubicBezTo>
                    <a:pt x="569" y="339"/>
                    <a:pt x="572" y="339"/>
                    <a:pt x="575" y="336"/>
                  </a:cubicBezTo>
                  <a:cubicBezTo>
                    <a:pt x="578" y="336"/>
                    <a:pt x="578" y="339"/>
                    <a:pt x="581" y="339"/>
                  </a:cubicBezTo>
                  <a:cubicBezTo>
                    <a:pt x="587" y="339"/>
                    <a:pt x="584" y="336"/>
                    <a:pt x="587" y="336"/>
                  </a:cubicBezTo>
                  <a:cubicBezTo>
                    <a:pt x="590" y="336"/>
                    <a:pt x="593" y="336"/>
                    <a:pt x="590" y="333"/>
                  </a:cubicBezTo>
                  <a:cubicBezTo>
                    <a:pt x="590" y="333"/>
                    <a:pt x="593" y="330"/>
                    <a:pt x="596" y="330"/>
                  </a:cubicBezTo>
                  <a:cubicBezTo>
                    <a:pt x="599" y="330"/>
                    <a:pt x="596" y="324"/>
                    <a:pt x="599" y="324"/>
                  </a:cubicBezTo>
                  <a:cubicBezTo>
                    <a:pt x="602" y="324"/>
                    <a:pt x="599" y="321"/>
                    <a:pt x="602" y="321"/>
                  </a:cubicBezTo>
                  <a:cubicBezTo>
                    <a:pt x="605" y="321"/>
                    <a:pt x="605" y="318"/>
                    <a:pt x="608" y="318"/>
                  </a:cubicBezTo>
                  <a:cubicBezTo>
                    <a:pt x="611" y="318"/>
                    <a:pt x="611" y="312"/>
                    <a:pt x="608" y="312"/>
                  </a:cubicBezTo>
                  <a:cubicBezTo>
                    <a:pt x="608" y="309"/>
                    <a:pt x="611" y="306"/>
                    <a:pt x="611" y="303"/>
                  </a:cubicBezTo>
                  <a:cubicBezTo>
                    <a:pt x="614" y="303"/>
                    <a:pt x="614" y="300"/>
                    <a:pt x="614" y="300"/>
                  </a:cubicBezTo>
                  <a:cubicBezTo>
                    <a:pt x="611" y="297"/>
                    <a:pt x="602" y="294"/>
                    <a:pt x="605" y="291"/>
                  </a:cubicBezTo>
                  <a:cubicBezTo>
                    <a:pt x="605" y="288"/>
                    <a:pt x="602" y="282"/>
                    <a:pt x="605" y="279"/>
                  </a:cubicBezTo>
                  <a:cubicBezTo>
                    <a:pt x="605" y="276"/>
                    <a:pt x="605" y="270"/>
                    <a:pt x="602" y="267"/>
                  </a:cubicBezTo>
                  <a:cubicBezTo>
                    <a:pt x="602" y="264"/>
                    <a:pt x="605" y="261"/>
                    <a:pt x="605" y="255"/>
                  </a:cubicBezTo>
                  <a:cubicBezTo>
                    <a:pt x="608" y="252"/>
                    <a:pt x="599" y="246"/>
                    <a:pt x="596" y="243"/>
                  </a:cubicBezTo>
                  <a:cubicBezTo>
                    <a:pt x="593" y="243"/>
                    <a:pt x="596" y="240"/>
                    <a:pt x="602" y="234"/>
                  </a:cubicBezTo>
                  <a:cubicBezTo>
                    <a:pt x="605" y="231"/>
                    <a:pt x="605" y="219"/>
                    <a:pt x="605" y="216"/>
                  </a:cubicBezTo>
                  <a:cubicBezTo>
                    <a:pt x="605" y="213"/>
                    <a:pt x="596" y="210"/>
                    <a:pt x="593" y="210"/>
                  </a:cubicBezTo>
                  <a:cubicBezTo>
                    <a:pt x="587" y="210"/>
                    <a:pt x="575" y="210"/>
                    <a:pt x="569" y="210"/>
                  </a:cubicBezTo>
                  <a:cubicBezTo>
                    <a:pt x="566" y="210"/>
                    <a:pt x="566" y="213"/>
                    <a:pt x="563" y="216"/>
                  </a:cubicBezTo>
                  <a:cubicBezTo>
                    <a:pt x="563" y="219"/>
                    <a:pt x="557" y="225"/>
                    <a:pt x="557" y="231"/>
                  </a:cubicBezTo>
                  <a:cubicBezTo>
                    <a:pt x="554" y="240"/>
                    <a:pt x="545" y="243"/>
                    <a:pt x="542" y="243"/>
                  </a:cubicBezTo>
                  <a:cubicBezTo>
                    <a:pt x="536" y="246"/>
                    <a:pt x="536" y="252"/>
                    <a:pt x="536" y="255"/>
                  </a:cubicBezTo>
                  <a:cubicBezTo>
                    <a:pt x="539" y="255"/>
                    <a:pt x="542" y="255"/>
                    <a:pt x="542" y="255"/>
                  </a:cubicBezTo>
                  <a:cubicBezTo>
                    <a:pt x="545" y="255"/>
                    <a:pt x="542" y="264"/>
                    <a:pt x="542" y="264"/>
                  </a:cubicBezTo>
                  <a:cubicBezTo>
                    <a:pt x="539" y="264"/>
                    <a:pt x="545" y="267"/>
                    <a:pt x="542" y="270"/>
                  </a:cubicBezTo>
                  <a:cubicBezTo>
                    <a:pt x="539" y="270"/>
                    <a:pt x="536" y="276"/>
                    <a:pt x="536" y="276"/>
                  </a:cubicBezTo>
                  <a:cubicBezTo>
                    <a:pt x="539" y="279"/>
                    <a:pt x="548" y="279"/>
                    <a:pt x="551" y="282"/>
                  </a:cubicBezTo>
                  <a:cubicBezTo>
                    <a:pt x="554" y="285"/>
                    <a:pt x="554" y="288"/>
                    <a:pt x="554" y="291"/>
                  </a:cubicBezTo>
                  <a:cubicBezTo>
                    <a:pt x="557" y="294"/>
                    <a:pt x="560" y="294"/>
                    <a:pt x="563" y="294"/>
                  </a:cubicBezTo>
                  <a:cubicBezTo>
                    <a:pt x="563" y="297"/>
                    <a:pt x="557" y="306"/>
                    <a:pt x="554" y="306"/>
                  </a:cubicBezTo>
                  <a:cubicBezTo>
                    <a:pt x="554" y="306"/>
                    <a:pt x="545" y="297"/>
                    <a:pt x="542" y="294"/>
                  </a:cubicBezTo>
                  <a:cubicBezTo>
                    <a:pt x="539" y="294"/>
                    <a:pt x="527" y="291"/>
                    <a:pt x="524" y="288"/>
                  </a:cubicBezTo>
                  <a:cubicBezTo>
                    <a:pt x="518" y="285"/>
                    <a:pt x="515" y="285"/>
                    <a:pt x="509" y="282"/>
                  </a:cubicBezTo>
                  <a:cubicBezTo>
                    <a:pt x="503" y="276"/>
                    <a:pt x="497" y="276"/>
                    <a:pt x="488" y="276"/>
                  </a:cubicBezTo>
                  <a:cubicBezTo>
                    <a:pt x="477" y="276"/>
                    <a:pt x="471" y="273"/>
                    <a:pt x="468" y="273"/>
                  </a:cubicBezTo>
                  <a:cubicBezTo>
                    <a:pt x="465" y="273"/>
                    <a:pt x="465" y="270"/>
                    <a:pt x="459" y="267"/>
                  </a:cubicBezTo>
                  <a:cubicBezTo>
                    <a:pt x="453" y="264"/>
                    <a:pt x="450" y="261"/>
                    <a:pt x="447" y="264"/>
                  </a:cubicBezTo>
                  <a:cubicBezTo>
                    <a:pt x="441" y="264"/>
                    <a:pt x="444" y="273"/>
                    <a:pt x="450" y="273"/>
                  </a:cubicBezTo>
                  <a:cubicBezTo>
                    <a:pt x="453" y="273"/>
                    <a:pt x="453" y="276"/>
                    <a:pt x="456" y="276"/>
                  </a:cubicBezTo>
                  <a:cubicBezTo>
                    <a:pt x="462" y="276"/>
                    <a:pt x="465" y="279"/>
                    <a:pt x="465" y="282"/>
                  </a:cubicBezTo>
                  <a:cubicBezTo>
                    <a:pt x="465" y="285"/>
                    <a:pt x="468" y="288"/>
                    <a:pt x="471" y="291"/>
                  </a:cubicBezTo>
                  <a:cubicBezTo>
                    <a:pt x="471" y="294"/>
                    <a:pt x="471" y="297"/>
                    <a:pt x="465" y="297"/>
                  </a:cubicBezTo>
                  <a:cubicBezTo>
                    <a:pt x="462" y="297"/>
                    <a:pt x="456" y="297"/>
                    <a:pt x="459" y="300"/>
                  </a:cubicBezTo>
                  <a:cubicBezTo>
                    <a:pt x="462" y="303"/>
                    <a:pt x="456" y="303"/>
                    <a:pt x="453" y="303"/>
                  </a:cubicBezTo>
                  <a:cubicBezTo>
                    <a:pt x="447" y="300"/>
                    <a:pt x="450" y="297"/>
                    <a:pt x="453" y="297"/>
                  </a:cubicBezTo>
                  <a:cubicBezTo>
                    <a:pt x="456" y="294"/>
                    <a:pt x="450" y="291"/>
                    <a:pt x="447" y="291"/>
                  </a:cubicBezTo>
                  <a:cubicBezTo>
                    <a:pt x="444" y="291"/>
                    <a:pt x="432" y="297"/>
                    <a:pt x="429" y="300"/>
                  </a:cubicBezTo>
                  <a:cubicBezTo>
                    <a:pt x="426" y="300"/>
                    <a:pt x="417" y="297"/>
                    <a:pt x="411" y="300"/>
                  </a:cubicBezTo>
                  <a:cubicBezTo>
                    <a:pt x="402" y="303"/>
                    <a:pt x="402" y="309"/>
                    <a:pt x="399" y="306"/>
                  </a:cubicBezTo>
                  <a:cubicBezTo>
                    <a:pt x="396" y="306"/>
                    <a:pt x="387" y="309"/>
                    <a:pt x="384" y="306"/>
                  </a:cubicBezTo>
                  <a:cubicBezTo>
                    <a:pt x="381" y="303"/>
                    <a:pt x="384" y="303"/>
                    <a:pt x="387" y="303"/>
                  </a:cubicBezTo>
                  <a:cubicBezTo>
                    <a:pt x="390" y="303"/>
                    <a:pt x="390" y="303"/>
                    <a:pt x="390" y="300"/>
                  </a:cubicBezTo>
                  <a:cubicBezTo>
                    <a:pt x="387" y="297"/>
                    <a:pt x="393" y="294"/>
                    <a:pt x="393" y="291"/>
                  </a:cubicBezTo>
                  <a:cubicBezTo>
                    <a:pt x="393" y="291"/>
                    <a:pt x="378" y="294"/>
                    <a:pt x="378" y="297"/>
                  </a:cubicBezTo>
                  <a:cubicBezTo>
                    <a:pt x="375" y="297"/>
                    <a:pt x="378" y="303"/>
                    <a:pt x="375" y="303"/>
                  </a:cubicBezTo>
                  <a:cubicBezTo>
                    <a:pt x="372" y="303"/>
                    <a:pt x="372" y="300"/>
                    <a:pt x="369" y="300"/>
                  </a:cubicBezTo>
                  <a:cubicBezTo>
                    <a:pt x="366" y="300"/>
                    <a:pt x="348" y="303"/>
                    <a:pt x="345" y="309"/>
                  </a:cubicBezTo>
                  <a:cubicBezTo>
                    <a:pt x="339" y="312"/>
                    <a:pt x="333" y="312"/>
                    <a:pt x="333" y="315"/>
                  </a:cubicBezTo>
                  <a:cubicBezTo>
                    <a:pt x="333" y="318"/>
                    <a:pt x="324" y="315"/>
                    <a:pt x="321" y="318"/>
                  </a:cubicBezTo>
                  <a:cubicBezTo>
                    <a:pt x="318" y="321"/>
                    <a:pt x="318" y="327"/>
                    <a:pt x="318" y="330"/>
                  </a:cubicBezTo>
                  <a:cubicBezTo>
                    <a:pt x="318" y="333"/>
                    <a:pt x="303" y="333"/>
                    <a:pt x="300" y="333"/>
                  </a:cubicBezTo>
                  <a:cubicBezTo>
                    <a:pt x="294" y="333"/>
                    <a:pt x="294" y="324"/>
                    <a:pt x="291" y="324"/>
                  </a:cubicBezTo>
                  <a:cubicBezTo>
                    <a:pt x="285" y="324"/>
                    <a:pt x="288" y="318"/>
                    <a:pt x="288" y="318"/>
                  </a:cubicBezTo>
                  <a:cubicBezTo>
                    <a:pt x="291" y="315"/>
                    <a:pt x="294" y="315"/>
                    <a:pt x="297" y="315"/>
                  </a:cubicBezTo>
                  <a:cubicBezTo>
                    <a:pt x="300" y="312"/>
                    <a:pt x="306" y="315"/>
                    <a:pt x="306" y="312"/>
                  </a:cubicBezTo>
                  <a:cubicBezTo>
                    <a:pt x="309" y="312"/>
                    <a:pt x="300" y="306"/>
                    <a:pt x="300" y="303"/>
                  </a:cubicBezTo>
                  <a:cubicBezTo>
                    <a:pt x="300" y="297"/>
                    <a:pt x="291" y="297"/>
                    <a:pt x="285" y="297"/>
                  </a:cubicBezTo>
                  <a:cubicBezTo>
                    <a:pt x="282" y="300"/>
                    <a:pt x="276" y="300"/>
                    <a:pt x="273" y="297"/>
                  </a:cubicBezTo>
                  <a:cubicBezTo>
                    <a:pt x="270" y="294"/>
                    <a:pt x="270" y="300"/>
                    <a:pt x="273" y="300"/>
                  </a:cubicBezTo>
                  <a:cubicBezTo>
                    <a:pt x="279" y="303"/>
                    <a:pt x="276" y="306"/>
                    <a:pt x="276" y="309"/>
                  </a:cubicBezTo>
                  <a:cubicBezTo>
                    <a:pt x="279" y="312"/>
                    <a:pt x="276" y="318"/>
                    <a:pt x="273" y="321"/>
                  </a:cubicBezTo>
                  <a:cubicBezTo>
                    <a:pt x="270" y="327"/>
                    <a:pt x="273" y="327"/>
                    <a:pt x="276" y="327"/>
                  </a:cubicBezTo>
                  <a:cubicBezTo>
                    <a:pt x="282" y="324"/>
                    <a:pt x="282" y="330"/>
                    <a:pt x="282" y="336"/>
                  </a:cubicBezTo>
                  <a:cubicBezTo>
                    <a:pt x="282" y="339"/>
                    <a:pt x="276" y="342"/>
                    <a:pt x="276" y="345"/>
                  </a:cubicBezTo>
                  <a:cubicBezTo>
                    <a:pt x="276" y="348"/>
                    <a:pt x="273" y="342"/>
                    <a:pt x="273" y="345"/>
                  </a:cubicBezTo>
                  <a:cubicBezTo>
                    <a:pt x="270" y="345"/>
                    <a:pt x="270" y="342"/>
                    <a:pt x="270" y="342"/>
                  </a:cubicBezTo>
                  <a:cubicBezTo>
                    <a:pt x="270" y="339"/>
                    <a:pt x="261" y="339"/>
                    <a:pt x="258" y="339"/>
                  </a:cubicBezTo>
                  <a:cubicBezTo>
                    <a:pt x="255" y="339"/>
                    <a:pt x="252" y="339"/>
                    <a:pt x="252" y="342"/>
                  </a:cubicBezTo>
                  <a:cubicBezTo>
                    <a:pt x="249" y="345"/>
                    <a:pt x="243" y="345"/>
                    <a:pt x="240" y="345"/>
                  </a:cubicBezTo>
                  <a:cubicBezTo>
                    <a:pt x="237" y="348"/>
                    <a:pt x="234" y="351"/>
                    <a:pt x="231" y="354"/>
                  </a:cubicBezTo>
                  <a:cubicBezTo>
                    <a:pt x="228" y="357"/>
                    <a:pt x="225" y="360"/>
                    <a:pt x="231" y="363"/>
                  </a:cubicBezTo>
                  <a:cubicBezTo>
                    <a:pt x="234" y="369"/>
                    <a:pt x="237" y="372"/>
                    <a:pt x="234" y="372"/>
                  </a:cubicBezTo>
                  <a:cubicBezTo>
                    <a:pt x="234" y="375"/>
                    <a:pt x="225" y="375"/>
                    <a:pt x="222" y="372"/>
                  </a:cubicBezTo>
                  <a:cubicBezTo>
                    <a:pt x="219" y="369"/>
                    <a:pt x="213" y="369"/>
                    <a:pt x="210" y="369"/>
                  </a:cubicBezTo>
                  <a:cubicBezTo>
                    <a:pt x="207" y="369"/>
                    <a:pt x="201" y="363"/>
                    <a:pt x="198" y="363"/>
                  </a:cubicBezTo>
                  <a:cubicBezTo>
                    <a:pt x="195" y="363"/>
                    <a:pt x="192" y="366"/>
                    <a:pt x="189" y="369"/>
                  </a:cubicBezTo>
                  <a:cubicBezTo>
                    <a:pt x="189" y="369"/>
                    <a:pt x="192" y="372"/>
                    <a:pt x="195" y="375"/>
                  </a:cubicBezTo>
                  <a:cubicBezTo>
                    <a:pt x="195" y="378"/>
                    <a:pt x="201" y="378"/>
                    <a:pt x="204" y="378"/>
                  </a:cubicBezTo>
                  <a:cubicBezTo>
                    <a:pt x="207" y="378"/>
                    <a:pt x="207" y="384"/>
                    <a:pt x="207" y="384"/>
                  </a:cubicBezTo>
                  <a:cubicBezTo>
                    <a:pt x="204" y="387"/>
                    <a:pt x="198" y="390"/>
                    <a:pt x="198" y="387"/>
                  </a:cubicBezTo>
                  <a:cubicBezTo>
                    <a:pt x="195" y="384"/>
                    <a:pt x="189" y="387"/>
                    <a:pt x="189" y="384"/>
                  </a:cubicBezTo>
                  <a:cubicBezTo>
                    <a:pt x="189" y="381"/>
                    <a:pt x="183" y="378"/>
                    <a:pt x="177" y="378"/>
                  </a:cubicBezTo>
                  <a:cubicBezTo>
                    <a:pt x="174" y="378"/>
                    <a:pt x="171" y="375"/>
                    <a:pt x="171" y="372"/>
                  </a:cubicBezTo>
                  <a:cubicBezTo>
                    <a:pt x="174" y="369"/>
                    <a:pt x="168" y="366"/>
                    <a:pt x="171" y="363"/>
                  </a:cubicBezTo>
                  <a:cubicBezTo>
                    <a:pt x="171" y="363"/>
                    <a:pt x="168" y="357"/>
                    <a:pt x="171" y="357"/>
                  </a:cubicBezTo>
                  <a:cubicBezTo>
                    <a:pt x="174" y="354"/>
                    <a:pt x="171" y="351"/>
                    <a:pt x="171" y="348"/>
                  </a:cubicBezTo>
                  <a:cubicBezTo>
                    <a:pt x="171" y="345"/>
                    <a:pt x="165" y="342"/>
                    <a:pt x="162" y="342"/>
                  </a:cubicBezTo>
                  <a:cubicBezTo>
                    <a:pt x="159" y="342"/>
                    <a:pt x="159" y="339"/>
                    <a:pt x="156" y="339"/>
                  </a:cubicBezTo>
                  <a:cubicBezTo>
                    <a:pt x="153" y="336"/>
                    <a:pt x="144" y="330"/>
                    <a:pt x="144" y="327"/>
                  </a:cubicBezTo>
                  <a:cubicBezTo>
                    <a:pt x="144" y="327"/>
                    <a:pt x="138" y="327"/>
                    <a:pt x="141" y="324"/>
                  </a:cubicBezTo>
                  <a:cubicBezTo>
                    <a:pt x="141" y="324"/>
                    <a:pt x="147" y="324"/>
                    <a:pt x="150" y="327"/>
                  </a:cubicBezTo>
                  <a:cubicBezTo>
                    <a:pt x="153" y="330"/>
                    <a:pt x="156" y="333"/>
                    <a:pt x="165" y="336"/>
                  </a:cubicBezTo>
                  <a:cubicBezTo>
                    <a:pt x="174" y="336"/>
                    <a:pt x="177" y="339"/>
                    <a:pt x="186" y="342"/>
                  </a:cubicBezTo>
                  <a:cubicBezTo>
                    <a:pt x="192" y="342"/>
                    <a:pt x="198" y="342"/>
                    <a:pt x="210" y="345"/>
                  </a:cubicBezTo>
                  <a:cubicBezTo>
                    <a:pt x="222" y="348"/>
                    <a:pt x="240" y="333"/>
                    <a:pt x="243" y="330"/>
                  </a:cubicBezTo>
                  <a:cubicBezTo>
                    <a:pt x="246" y="327"/>
                    <a:pt x="243" y="321"/>
                    <a:pt x="243" y="318"/>
                  </a:cubicBezTo>
                  <a:cubicBezTo>
                    <a:pt x="243" y="315"/>
                    <a:pt x="237" y="315"/>
                    <a:pt x="237" y="312"/>
                  </a:cubicBezTo>
                  <a:cubicBezTo>
                    <a:pt x="234" y="312"/>
                    <a:pt x="231" y="306"/>
                    <a:pt x="228" y="306"/>
                  </a:cubicBezTo>
                  <a:cubicBezTo>
                    <a:pt x="222" y="306"/>
                    <a:pt x="222" y="300"/>
                    <a:pt x="216" y="303"/>
                  </a:cubicBezTo>
                  <a:cubicBezTo>
                    <a:pt x="213" y="303"/>
                    <a:pt x="210" y="300"/>
                    <a:pt x="201" y="294"/>
                  </a:cubicBezTo>
                  <a:cubicBezTo>
                    <a:pt x="192" y="288"/>
                    <a:pt x="177" y="282"/>
                    <a:pt x="174" y="282"/>
                  </a:cubicBezTo>
                  <a:cubicBezTo>
                    <a:pt x="171" y="285"/>
                    <a:pt x="171" y="285"/>
                    <a:pt x="168" y="282"/>
                  </a:cubicBezTo>
                  <a:cubicBezTo>
                    <a:pt x="168" y="279"/>
                    <a:pt x="162" y="279"/>
                    <a:pt x="162" y="282"/>
                  </a:cubicBezTo>
                  <a:cubicBezTo>
                    <a:pt x="159" y="285"/>
                    <a:pt x="156" y="279"/>
                    <a:pt x="150" y="282"/>
                  </a:cubicBezTo>
                  <a:cubicBezTo>
                    <a:pt x="144" y="282"/>
                    <a:pt x="144" y="279"/>
                    <a:pt x="144" y="279"/>
                  </a:cubicBezTo>
                  <a:cubicBezTo>
                    <a:pt x="144" y="276"/>
                    <a:pt x="153" y="279"/>
                    <a:pt x="153" y="276"/>
                  </a:cubicBezTo>
                  <a:cubicBezTo>
                    <a:pt x="153" y="273"/>
                    <a:pt x="150" y="276"/>
                    <a:pt x="144" y="273"/>
                  </a:cubicBezTo>
                  <a:cubicBezTo>
                    <a:pt x="141" y="270"/>
                    <a:pt x="138" y="270"/>
                    <a:pt x="138" y="273"/>
                  </a:cubicBezTo>
                  <a:cubicBezTo>
                    <a:pt x="135" y="276"/>
                    <a:pt x="132" y="276"/>
                    <a:pt x="129" y="273"/>
                  </a:cubicBezTo>
                  <a:cubicBezTo>
                    <a:pt x="129" y="273"/>
                    <a:pt x="129" y="273"/>
                    <a:pt x="129" y="273"/>
                  </a:cubicBezTo>
                  <a:cubicBezTo>
                    <a:pt x="129" y="276"/>
                    <a:pt x="126" y="276"/>
                    <a:pt x="123" y="276"/>
                  </a:cubicBezTo>
                  <a:cubicBezTo>
                    <a:pt x="120" y="276"/>
                    <a:pt x="117" y="282"/>
                    <a:pt x="114" y="282"/>
                  </a:cubicBezTo>
                  <a:cubicBezTo>
                    <a:pt x="111" y="282"/>
                    <a:pt x="108" y="285"/>
                    <a:pt x="105" y="288"/>
                  </a:cubicBezTo>
                  <a:cubicBezTo>
                    <a:pt x="105" y="291"/>
                    <a:pt x="102" y="288"/>
                    <a:pt x="102" y="291"/>
                  </a:cubicBezTo>
                  <a:cubicBezTo>
                    <a:pt x="102" y="294"/>
                    <a:pt x="102" y="294"/>
                    <a:pt x="99" y="297"/>
                  </a:cubicBezTo>
                  <a:cubicBezTo>
                    <a:pt x="99" y="300"/>
                    <a:pt x="99" y="300"/>
                    <a:pt x="102" y="303"/>
                  </a:cubicBezTo>
                  <a:cubicBezTo>
                    <a:pt x="105" y="306"/>
                    <a:pt x="108" y="306"/>
                    <a:pt x="108" y="309"/>
                  </a:cubicBezTo>
                  <a:cubicBezTo>
                    <a:pt x="111" y="309"/>
                    <a:pt x="117" y="315"/>
                    <a:pt x="117" y="315"/>
                  </a:cubicBezTo>
                  <a:cubicBezTo>
                    <a:pt x="117" y="318"/>
                    <a:pt x="111" y="324"/>
                    <a:pt x="111" y="324"/>
                  </a:cubicBezTo>
                  <a:cubicBezTo>
                    <a:pt x="108" y="327"/>
                    <a:pt x="105" y="330"/>
                    <a:pt x="108" y="330"/>
                  </a:cubicBezTo>
                  <a:cubicBezTo>
                    <a:pt x="108" y="333"/>
                    <a:pt x="114" y="342"/>
                    <a:pt x="117" y="348"/>
                  </a:cubicBezTo>
                  <a:cubicBezTo>
                    <a:pt x="120" y="354"/>
                    <a:pt x="117" y="351"/>
                    <a:pt x="114" y="354"/>
                  </a:cubicBezTo>
                  <a:cubicBezTo>
                    <a:pt x="111" y="357"/>
                    <a:pt x="114" y="360"/>
                    <a:pt x="114" y="363"/>
                  </a:cubicBezTo>
                  <a:cubicBezTo>
                    <a:pt x="117" y="366"/>
                    <a:pt x="111" y="366"/>
                    <a:pt x="114" y="366"/>
                  </a:cubicBezTo>
                  <a:cubicBezTo>
                    <a:pt x="114" y="369"/>
                    <a:pt x="117" y="369"/>
                    <a:pt x="117" y="369"/>
                  </a:cubicBezTo>
                  <a:cubicBezTo>
                    <a:pt x="120" y="372"/>
                    <a:pt x="114" y="372"/>
                    <a:pt x="117" y="375"/>
                  </a:cubicBezTo>
                  <a:cubicBezTo>
                    <a:pt x="117" y="378"/>
                    <a:pt x="123" y="378"/>
                    <a:pt x="123" y="381"/>
                  </a:cubicBezTo>
                  <a:cubicBezTo>
                    <a:pt x="123" y="384"/>
                    <a:pt x="114" y="387"/>
                    <a:pt x="117" y="387"/>
                  </a:cubicBezTo>
                  <a:cubicBezTo>
                    <a:pt x="117" y="390"/>
                    <a:pt x="126" y="393"/>
                    <a:pt x="129" y="399"/>
                  </a:cubicBezTo>
                  <a:cubicBezTo>
                    <a:pt x="135" y="405"/>
                    <a:pt x="135" y="405"/>
                    <a:pt x="132" y="408"/>
                  </a:cubicBezTo>
                  <a:cubicBezTo>
                    <a:pt x="132" y="414"/>
                    <a:pt x="120" y="417"/>
                    <a:pt x="117" y="423"/>
                  </a:cubicBezTo>
                  <a:cubicBezTo>
                    <a:pt x="114" y="429"/>
                    <a:pt x="105" y="435"/>
                    <a:pt x="99" y="438"/>
                  </a:cubicBezTo>
                  <a:cubicBezTo>
                    <a:pt x="96" y="441"/>
                    <a:pt x="96" y="444"/>
                    <a:pt x="93" y="444"/>
                  </a:cubicBezTo>
                  <a:cubicBezTo>
                    <a:pt x="96" y="444"/>
                    <a:pt x="96" y="444"/>
                    <a:pt x="99" y="444"/>
                  </a:cubicBezTo>
                  <a:cubicBezTo>
                    <a:pt x="102" y="441"/>
                    <a:pt x="102" y="450"/>
                    <a:pt x="105" y="450"/>
                  </a:cubicBezTo>
                  <a:cubicBezTo>
                    <a:pt x="108" y="453"/>
                    <a:pt x="114" y="450"/>
                    <a:pt x="114" y="453"/>
                  </a:cubicBezTo>
                  <a:cubicBezTo>
                    <a:pt x="117" y="456"/>
                    <a:pt x="114" y="456"/>
                    <a:pt x="111" y="453"/>
                  </a:cubicBezTo>
                  <a:cubicBezTo>
                    <a:pt x="105" y="453"/>
                    <a:pt x="105" y="456"/>
                    <a:pt x="99" y="459"/>
                  </a:cubicBezTo>
                  <a:cubicBezTo>
                    <a:pt x="96" y="459"/>
                    <a:pt x="96" y="462"/>
                    <a:pt x="93" y="462"/>
                  </a:cubicBezTo>
                  <a:cubicBezTo>
                    <a:pt x="96" y="465"/>
                    <a:pt x="93" y="468"/>
                    <a:pt x="90" y="471"/>
                  </a:cubicBezTo>
                  <a:cubicBezTo>
                    <a:pt x="90" y="474"/>
                    <a:pt x="87" y="474"/>
                    <a:pt x="87" y="477"/>
                  </a:cubicBezTo>
                  <a:cubicBezTo>
                    <a:pt x="87" y="477"/>
                    <a:pt x="87" y="480"/>
                    <a:pt x="87" y="483"/>
                  </a:cubicBezTo>
                  <a:cubicBezTo>
                    <a:pt x="90" y="486"/>
                    <a:pt x="90" y="486"/>
                    <a:pt x="90" y="489"/>
                  </a:cubicBezTo>
                  <a:cubicBezTo>
                    <a:pt x="93" y="492"/>
                    <a:pt x="90" y="492"/>
                    <a:pt x="87" y="492"/>
                  </a:cubicBezTo>
                  <a:cubicBezTo>
                    <a:pt x="87" y="492"/>
                    <a:pt x="87" y="495"/>
                    <a:pt x="90" y="498"/>
                  </a:cubicBezTo>
                  <a:cubicBezTo>
                    <a:pt x="90" y="501"/>
                    <a:pt x="90" y="501"/>
                    <a:pt x="90" y="504"/>
                  </a:cubicBezTo>
                  <a:cubicBezTo>
                    <a:pt x="90" y="507"/>
                    <a:pt x="93" y="510"/>
                    <a:pt x="93" y="510"/>
                  </a:cubicBezTo>
                  <a:cubicBezTo>
                    <a:pt x="96" y="513"/>
                    <a:pt x="96" y="516"/>
                    <a:pt x="96" y="519"/>
                  </a:cubicBezTo>
                  <a:cubicBezTo>
                    <a:pt x="99" y="519"/>
                    <a:pt x="99" y="522"/>
                    <a:pt x="102" y="519"/>
                  </a:cubicBezTo>
                  <a:cubicBezTo>
                    <a:pt x="105" y="519"/>
                    <a:pt x="108" y="522"/>
                    <a:pt x="108" y="522"/>
                  </a:cubicBezTo>
                  <a:cubicBezTo>
                    <a:pt x="111" y="525"/>
                    <a:pt x="111" y="525"/>
                    <a:pt x="114" y="522"/>
                  </a:cubicBezTo>
                  <a:cubicBezTo>
                    <a:pt x="117" y="522"/>
                    <a:pt x="123" y="525"/>
                    <a:pt x="126" y="525"/>
                  </a:cubicBezTo>
                  <a:cubicBezTo>
                    <a:pt x="126" y="528"/>
                    <a:pt x="126" y="531"/>
                    <a:pt x="126" y="534"/>
                  </a:cubicBezTo>
                  <a:cubicBezTo>
                    <a:pt x="126" y="537"/>
                    <a:pt x="126" y="540"/>
                    <a:pt x="129" y="543"/>
                  </a:cubicBezTo>
                  <a:cubicBezTo>
                    <a:pt x="129" y="543"/>
                    <a:pt x="129" y="546"/>
                    <a:pt x="132" y="549"/>
                  </a:cubicBezTo>
                  <a:cubicBezTo>
                    <a:pt x="135" y="549"/>
                    <a:pt x="138" y="555"/>
                    <a:pt x="138" y="555"/>
                  </a:cubicBezTo>
                  <a:cubicBezTo>
                    <a:pt x="141" y="555"/>
                    <a:pt x="144" y="558"/>
                    <a:pt x="147" y="561"/>
                  </a:cubicBezTo>
                  <a:cubicBezTo>
                    <a:pt x="147" y="564"/>
                    <a:pt x="141" y="564"/>
                    <a:pt x="141" y="567"/>
                  </a:cubicBezTo>
                  <a:cubicBezTo>
                    <a:pt x="138" y="567"/>
                    <a:pt x="132" y="564"/>
                    <a:pt x="132" y="564"/>
                  </a:cubicBezTo>
                  <a:cubicBezTo>
                    <a:pt x="129" y="567"/>
                    <a:pt x="132" y="570"/>
                    <a:pt x="135" y="576"/>
                  </a:cubicBezTo>
                  <a:cubicBezTo>
                    <a:pt x="135" y="582"/>
                    <a:pt x="135" y="582"/>
                    <a:pt x="138" y="582"/>
                  </a:cubicBezTo>
                  <a:cubicBezTo>
                    <a:pt x="141" y="582"/>
                    <a:pt x="141" y="579"/>
                    <a:pt x="144" y="579"/>
                  </a:cubicBezTo>
                  <a:cubicBezTo>
                    <a:pt x="144" y="576"/>
                    <a:pt x="150" y="579"/>
                    <a:pt x="150" y="579"/>
                  </a:cubicBezTo>
                  <a:cubicBezTo>
                    <a:pt x="153" y="576"/>
                    <a:pt x="159" y="576"/>
                    <a:pt x="159" y="579"/>
                  </a:cubicBezTo>
                  <a:cubicBezTo>
                    <a:pt x="162" y="582"/>
                    <a:pt x="162" y="585"/>
                    <a:pt x="162" y="588"/>
                  </a:cubicBezTo>
                  <a:cubicBezTo>
                    <a:pt x="162" y="588"/>
                    <a:pt x="162" y="591"/>
                    <a:pt x="165" y="594"/>
                  </a:cubicBezTo>
                  <a:cubicBezTo>
                    <a:pt x="165" y="597"/>
                    <a:pt x="171" y="594"/>
                    <a:pt x="174" y="597"/>
                  </a:cubicBezTo>
                  <a:cubicBezTo>
                    <a:pt x="174" y="597"/>
                    <a:pt x="177" y="603"/>
                    <a:pt x="177" y="606"/>
                  </a:cubicBezTo>
                  <a:cubicBezTo>
                    <a:pt x="177" y="606"/>
                    <a:pt x="180" y="609"/>
                    <a:pt x="183" y="606"/>
                  </a:cubicBezTo>
                  <a:cubicBezTo>
                    <a:pt x="186" y="609"/>
                    <a:pt x="186" y="609"/>
                    <a:pt x="186" y="609"/>
                  </a:cubicBezTo>
                  <a:cubicBezTo>
                    <a:pt x="189" y="612"/>
                    <a:pt x="192" y="609"/>
                    <a:pt x="192" y="609"/>
                  </a:cubicBezTo>
                  <a:cubicBezTo>
                    <a:pt x="195" y="609"/>
                    <a:pt x="198" y="606"/>
                    <a:pt x="198" y="609"/>
                  </a:cubicBezTo>
                  <a:cubicBezTo>
                    <a:pt x="201" y="609"/>
                    <a:pt x="204" y="612"/>
                    <a:pt x="204" y="615"/>
                  </a:cubicBezTo>
                  <a:cubicBezTo>
                    <a:pt x="204" y="615"/>
                    <a:pt x="210" y="615"/>
                    <a:pt x="213" y="615"/>
                  </a:cubicBezTo>
                  <a:cubicBezTo>
                    <a:pt x="216" y="618"/>
                    <a:pt x="219" y="618"/>
                    <a:pt x="222" y="618"/>
                  </a:cubicBezTo>
                  <a:cubicBezTo>
                    <a:pt x="225" y="621"/>
                    <a:pt x="228" y="621"/>
                    <a:pt x="231" y="621"/>
                  </a:cubicBezTo>
                  <a:cubicBezTo>
                    <a:pt x="231" y="624"/>
                    <a:pt x="225" y="627"/>
                    <a:pt x="225" y="627"/>
                  </a:cubicBezTo>
                  <a:cubicBezTo>
                    <a:pt x="228" y="630"/>
                    <a:pt x="228" y="630"/>
                    <a:pt x="228" y="630"/>
                  </a:cubicBezTo>
                  <a:cubicBezTo>
                    <a:pt x="228" y="633"/>
                    <a:pt x="225" y="633"/>
                    <a:pt x="225" y="633"/>
                  </a:cubicBezTo>
                  <a:cubicBezTo>
                    <a:pt x="228" y="636"/>
                    <a:pt x="228" y="636"/>
                    <a:pt x="228" y="636"/>
                  </a:cubicBezTo>
                  <a:cubicBezTo>
                    <a:pt x="228" y="639"/>
                    <a:pt x="225" y="642"/>
                    <a:pt x="225" y="645"/>
                  </a:cubicBezTo>
                  <a:cubicBezTo>
                    <a:pt x="225" y="645"/>
                    <a:pt x="219" y="645"/>
                    <a:pt x="216" y="645"/>
                  </a:cubicBezTo>
                  <a:cubicBezTo>
                    <a:pt x="216" y="645"/>
                    <a:pt x="210" y="651"/>
                    <a:pt x="207" y="651"/>
                  </a:cubicBezTo>
                  <a:cubicBezTo>
                    <a:pt x="207" y="654"/>
                    <a:pt x="207" y="654"/>
                    <a:pt x="207" y="654"/>
                  </a:cubicBezTo>
                  <a:cubicBezTo>
                    <a:pt x="213" y="654"/>
                    <a:pt x="219" y="654"/>
                    <a:pt x="219" y="654"/>
                  </a:cubicBezTo>
                  <a:cubicBezTo>
                    <a:pt x="219" y="657"/>
                    <a:pt x="207" y="663"/>
                    <a:pt x="204" y="663"/>
                  </a:cubicBezTo>
                  <a:cubicBezTo>
                    <a:pt x="204" y="663"/>
                    <a:pt x="210" y="666"/>
                    <a:pt x="210" y="669"/>
                  </a:cubicBezTo>
                  <a:cubicBezTo>
                    <a:pt x="210" y="672"/>
                    <a:pt x="201" y="672"/>
                    <a:pt x="204" y="675"/>
                  </a:cubicBezTo>
                  <a:cubicBezTo>
                    <a:pt x="204" y="681"/>
                    <a:pt x="201" y="681"/>
                    <a:pt x="195" y="681"/>
                  </a:cubicBezTo>
                  <a:cubicBezTo>
                    <a:pt x="192" y="681"/>
                    <a:pt x="192" y="684"/>
                    <a:pt x="192" y="684"/>
                  </a:cubicBezTo>
                  <a:cubicBezTo>
                    <a:pt x="195" y="684"/>
                    <a:pt x="195" y="690"/>
                    <a:pt x="201" y="690"/>
                  </a:cubicBezTo>
                  <a:cubicBezTo>
                    <a:pt x="210" y="693"/>
                    <a:pt x="216" y="699"/>
                    <a:pt x="222" y="705"/>
                  </a:cubicBezTo>
                  <a:cubicBezTo>
                    <a:pt x="225" y="708"/>
                    <a:pt x="225" y="708"/>
                    <a:pt x="225" y="708"/>
                  </a:cubicBezTo>
                  <a:cubicBezTo>
                    <a:pt x="228" y="708"/>
                    <a:pt x="228" y="705"/>
                    <a:pt x="231" y="705"/>
                  </a:cubicBezTo>
                  <a:cubicBezTo>
                    <a:pt x="234" y="705"/>
                    <a:pt x="240" y="708"/>
                    <a:pt x="243" y="711"/>
                  </a:cubicBezTo>
                  <a:cubicBezTo>
                    <a:pt x="246" y="714"/>
                    <a:pt x="261" y="711"/>
                    <a:pt x="261" y="711"/>
                  </a:cubicBezTo>
                  <a:cubicBezTo>
                    <a:pt x="264" y="714"/>
                    <a:pt x="267" y="717"/>
                    <a:pt x="267" y="717"/>
                  </a:cubicBezTo>
                  <a:cubicBezTo>
                    <a:pt x="270" y="717"/>
                    <a:pt x="273" y="720"/>
                    <a:pt x="276" y="720"/>
                  </a:cubicBezTo>
                  <a:cubicBezTo>
                    <a:pt x="276" y="717"/>
                    <a:pt x="285" y="717"/>
                    <a:pt x="288" y="717"/>
                  </a:cubicBezTo>
                  <a:cubicBezTo>
                    <a:pt x="288" y="717"/>
                    <a:pt x="288" y="720"/>
                    <a:pt x="291" y="720"/>
                  </a:cubicBezTo>
                  <a:cubicBezTo>
                    <a:pt x="294" y="720"/>
                    <a:pt x="294" y="726"/>
                    <a:pt x="294" y="726"/>
                  </a:cubicBezTo>
                  <a:cubicBezTo>
                    <a:pt x="297" y="726"/>
                    <a:pt x="300" y="732"/>
                    <a:pt x="306" y="732"/>
                  </a:cubicBezTo>
                  <a:cubicBezTo>
                    <a:pt x="309" y="732"/>
                    <a:pt x="312" y="738"/>
                    <a:pt x="312" y="738"/>
                  </a:cubicBezTo>
                  <a:cubicBezTo>
                    <a:pt x="315" y="738"/>
                    <a:pt x="318" y="741"/>
                    <a:pt x="318" y="738"/>
                  </a:cubicBezTo>
                  <a:cubicBezTo>
                    <a:pt x="318" y="735"/>
                    <a:pt x="324" y="735"/>
                    <a:pt x="327" y="732"/>
                  </a:cubicBezTo>
                  <a:cubicBezTo>
                    <a:pt x="318" y="723"/>
                    <a:pt x="312" y="717"/>
                    <a:pt x="312" y="714"/>
                  </a:cubicBezTo>
                  <a:cubicBezTo>
                    <a:pt x="312" y="708"/>
                    <a:pt x="315" y="702"/>
                    <a:pt x="309" y="696"/>
                  </a:cubicBezTo>
                  <a:cubicBezTo>
                    <a:pt x="300" y="690"/>
                    <a:pt x="309" y="687"/>
                    <a:pt x="315" y="681"/>
                  </a:cubicBezTo>
                  <a:cubicBezTo>
                    <a:pt x="318" y="675"/>
                    <a:pt x="327" y="672"/>
                    <a:pt x="333" y="669"/>
                  </a:cubicBezTo>
                  <a:cubicBezTo>
                    <a:pt x="333" y="669"/>
                    <a:pt x="333" y="666"/>
                    <a:pt x="330" y="666"/>
                  </a:cubicBezTo>
                  <a:cubicBezTo>
                    <a:pt x="327" y="666"/>
                    <a:pt x="324" y="663"/>
                    <a:pt x="327" y="663"/>
                  </a:cubicBezTo>
                  <a:cubicBezTo>
                    <a:pt x="330" y="660"/>
                    <a:pt x="330" y="660"/>
                    <a:pt x="327" y="654"/>
                  </a:cubicBezTo>
                  <a:cubicBezTo>
                    <a:pt x="324" y="651"/>
                    <a:pt x="321" y="648"/>
                    <a:pt x="318" y="648"/>
                  </a:cubicBezTo>
                  <a:cubicBezTo>
                    <a:pt x="318" y="648"/>
                    <a:pt x="315" y="645"/>
                    <a:pt x="312" y="648"/>
                  </a:cubicBezTo>
                  <a:cubicBezTo>
                    <a:pt x="309" y="648"/>
                    <a:pt x="309" y="645"/>
                    <a:pt x="309" y="642"/>
                  </a:cubicBezTo>
                  <a:cubicBezTo>
                    <a:pt x="309" y="639"/>
                    <a:pt x="303" y="639"/>
                    <a:pt x="303" y="636"/>
                  </a:cubicBezTo>
                  <a:cubicBezTo>
                    <a:pt x="303" y="636"/>
                    <a:pt x="303" y="630"/>
                    <a:pt x="306" y="630"/>
                  </a:cubicBezTo>
                  <a:cubicBezTo>
                    <a:pt x="309" y="627"/>
                    <a:pt x="309" y="627"/>
                    <a:pt x="309" y="627"/>
                  </a:cubicBezTo>
                  <a:cubicBezTo>
                    <a:pt x="309" y="624"/>
                    <a:pt x="303" y="624"/>
                    <a:pt x="306" y="621"/>
                  </a:cubicBezTo>
                  <a:cubicBezTo>
                    <a:pt x="309" y="618"/>
                    <a:pt x="312" y="618"/>
                    <a:pt x="312" y="615"/>
                  </a:cubicBezTo>
                  <a:cubicBezTo>
                    <a:pt x="312" y="609"/>
                    <a:pt x="315" y="606"/>
                    <a:pt x="318" y="609"/>
                  </a:cubicBezTo>
                  <a:cubicBezTo>
                    <a:pt x="321" y="612"/>
                    <a:pt x="324" y="618"/>
                    <a:pt x="327" y="618"/>
                  </a:cubicBezTo>
                  <a:cubicBezTo>
                    <a:pt x="330" y="615"/>
                    <a:pt x="330" y="612"/>
                    <a:pt x="327" y="609"/>
                  </a:cubicBezTo>
                  <a:cubicBezTo>
                    <a:pt x="327" y="609"/>
                    <a:pt x="327" y="606"/>
                    <a:pt x="330" y="603"/>
                  </a:cubicBezTo>
                  <a:cubicBezTo>
                    <a:pt x="336" y="603"/>
                    <a:pt x="333" y="600"/>
                    <a:pt x="336" y="600"/>
                  </a:cubicBezTo>
                  <a:cubicBezTo>
                    <a:pt x="342" y="600"/>
                    <a:pt x="348" y="594"/>
                    <a:pt x="348" y="594"/>
                  </a:cubicBezTo>
                  <a:cubicBezTo>
                    <a:pt x="351" y="591"/>
                    <a:pt x="357" y="591"/>
                    <a:pt x="357" y="591"/>
                  </a:cubicBezTo>
                  <a:cubicBezTo>
                    <a:pt x="360" y="591"/>
                    <a:pt x="363" y="594"/>
                    <a:pt x="363" y="591"/>
                  </a:cubicBezTo>
                  <a:cubicBezTo>
                    <a:pt x="366" y="588"/>
                    <a:pt x="372" y="588"/>
                    <a:pt x="372" y="591"/>
                  </a:cubicBezTo>
                  <a:cubicBezTo>
                    <a:pt x="372" y="594"/>
                    <a:pt x="381" y="594"/>
                    <a:pt x="384" y="594"/>
                  </a:cubicBezTo>
                  <a:cubicBezTo>
                    <a:pt x="387" y="597"/>
                    <a:pt x="393" y="600"/>
                    <a:pt x="393" y="603"/>
                  </a:cubicBezTo>
                  <a:cubicBezTo>
                    <a:pt x="393" y="606"/>
                    <a:pt x="396" y="609"/>
                    <a:pt x="396" y="603"/>
                  </a:cubicBezTo>
                  <a:cubicBezTo>
                    <a:pt x="396" y="600"/>
                    <a:pt x="399" y="603"/>
                    <a:pt x="405" y="603"/>
                  </a:cubicBezTo>
                  <a:cubicBezTo>
                    <a:pt x="408" y="606"/>
                    <a:pt x="414" y="606"/>
                    <a:pt x="414" y="603"/>
                  </a:cubicBezTo>
                  <a:cubicBezTo>
                    <a:pt x="414" y="600"/>
                    <a:pt x="423" y="597"/>
                    <a:pt x="426" y="600"/>
                  </a:cubicBezTo>
                  <a:cubicBezTo>
                    <a:pt x="429" y="603"/>
                    <a:pt x="429" y="603"/>
                    <a:pt x="432" y="600"/>
                  </a:cubicBezTo>
                  <a:cubicBezTo>
                    <a:pt x="435" y="597"/>
                    <a:pt x="441" y="597"/>
                    <a:pt x="444" y="600"/>
                  </a:cubicBezTo>
                  <a:cubicBezTo>
                    <a:pt x="444" y="603"/>
                    <a:pt x="447" y="603"/>
                    <a:pt x="450" y="603"/>
                  </a:cubicBezTo>
                  <a:cubicBezTo>
                    <a:pt x="453" y="603"/>
                    <a:pt x="453" y="609"/>
                    <a:pt x="456" y="609"/>
                  </a:cubicBezTo>
                  <a:cubicBezTo>
                    <a:pt x="459" y="606"/>
                    <a:pt x="456" y="603"/>
                    <a:pt x="459" y="603"/>
                  </a:cubicBezTo>
                  <a:cubicBezTo>
                    <a:pt x="462" y="603"/>
                    <a:pt x="465" y="606"/>
                    <a:pt x="468" y="606"/>
                  </a:cubicBezTo>
                  <a:cubicBezTo>
                    <a:pt x="471" y="606"/>
                    <a:pt x="474" y="606"/>
                    <a:pt x="474" y="603"/>
                  </a:cubicBezTo>
                  <a:cubicBezTo>
                    <a:pt x="474" y="600"/>
                    <a:pt x="474" y="594"/>
                    <a:pt x="471" y="594"/>
                  </a:cubicBezTo>
                  <a:cubicBezTo>
                    <a:pt x="471" y="594"/>
                    <a:pt x="468" y="591"/>
                    <a:pt x="465" y="591"/>
                  </a:cubicBezTo>
                  <a:cubicBezTo>
                    <a:pt x="462" y="591"/>
                    <a:pt x="459" y="585"/>
                    <a:pt x="462" y="585"/>
                  </a:cubicBezTo>
                  <a:cubicBezTo>
                    <a:pt x="465" y="585"/>
                    <a:pt x="468" y="582"/>
                    <a:pt x="468" y="579"/>
                  </a:cubicBezTo>
                  <a:cubicBezTo>
                    <a:pt x="468" y="576"/>
                    <a:pt x="465" y="573"/>
                    <a:pt x="471" y="570"/>
                  </a:cubicBezTo>
                  <a:cubicBezTo>
                    <a:pt x="474" y="570"/>
                    <a:pt x="482" y="570"/>
                    <a:pt x="482" y="570"/>
                  </a:cubicBezTo>
                  <a:cubicBezTo>
                    <a:pt x="482" y="567"/>
                    <a:pt x="474" y="567"/>
                    <a:pt x="471" y="564"/>
                  </a:cubicBezTo>
                  <a:cubicBezTo>
                    <a:pt x="471" y="561"/>
                    <a:pt x="471" y="555"/>
                    <a:pt x="471" y="555"/>
                  </a:cubicBezTo>
                  <a:cubicBezTo>
                    <a:pt x="474" y="555"/>
                    <a:pt x="477" y="555"/>
                    <a:pt x="479" y="555"/>
                  </a:cubicBezTo>
                  <a:cubicBezTo>
                    <a:pt x="482" y="552"/>
                    <a:pt x="491" y="555"/>
                    <a:pt x="494" y="552"/>
                  </a:cubicBezTo>
                  <a:cubicBezTo>
                    <a:pt x="497" y="549"/>
                    <a:pt x="506" y="549"/>
                    <a:pt x="512" y="549"/>
                  </a:cubicBezTo>
                  <a:cubicBezTo>
                    <a:pt x="515" y="549"/>
                    <a:pt x="518" y="546"/>
                    <a:pt x="521" y="546"/>
                  </a:cubicBezTo>
                  <a:cubicBezTo>
                    <a:pt x="527" y="546"/>
                    <a:pt x="536" y="543"/>
                    <a:pt x="539" y="543"/>
                  </a:cubicBezTo>
                  <a:cubicBezTo>
                    <a:pt x="542" y="543"/>
                    <a:pt x="554" y="540"/>
                    <a:pt x="554" y="537"/>
                  </a:cubicBezTo>
                  <a:cubicBezTo>
                    <a:pt x="554" y="534"/>
                    <a:pt x="566" y="534"/>
                    <a:pt x="569" y="534"/>
                  </a:cubicBezTo>
                  <a:cubicBezTo>
                    <a:pt x="572" y="534"/>
                    <a:pt x="575" y="537"/>
                    <a:pt x="578" y="534"/>
                  </a:cubicBezTo>
                  <a:cubicBezTo>
                    <a:pt x="581" y="534"/>
                    <a:pt x="584" y="537"/>
                    <a:pt x="584" y="540"/>
                  </a:cubicBezTo>
                  <a:cubicBezTo>
                    <a:pt x="584" y="543"/>
                    <a:pt x="587" y="546"/>
                    <a:pt x="587" y="549"/>
                  </a:cubicBezTo>
                  <a:cubicBezTo>
                    <a:pt x="587" y="549"/>
                    <a:pt x="584" y="552"/>
                    <a:pt x="587" y="552"/>
                  </a:cubicBezTo>
                  <a:cubicBezTo>
                    <a:pt x="587" y="555"/>
                    <a:pt x="593" y="552"/>
                    <a:pt x="596" y="552"/>
                  </a:cubicBezTo>
                  <a:cubicBezTo>
                    <a:pt x="599" y="549"/>
                    <a:pt x="599" y="552"/>
                    <a:pt x="599" y="552"/>
                  </a:cubicBezTo>
                  <a:cubicBezTo>
                    <a:pt x="599" y="555"/>
                    <a:pt x="602" y="555"/>
                    <a:pt x="602" y="555"/>
                  </a:cubicBezTo>
                  <a:cubicBezTo>
                    <a:pt x="602" y="552"/>
                    <a:pt x="608" y="552"/>
                    <a:pt x="608" y="555"/>
                  </a:cubicBezTo>
                  <a:cubicBezTo>
                    <a:pt x="611" y="555"/>
                    <a:pt x="614" y="552"/>
                    <a:pt x="614" y="555"/>
                  </a:cubicBezTo>
                  <a:cubicBezTo>
                    <a:pt x="614" y="558"/>
                    <a:pt x="608" y="561"/>
                    <a:pt x="611" y="564"/>
                  </a:cubicBezTo>
                  <a:cubicBezTo>
                    <a:pt x="614" y="567"/>
                    <a:pt x="614" y="561"/>
                    <a:pt x="620" y="561"/>
                  </a:cubicBezTo>
                  <a:cubicBezTo>
                    <a:pt x="623" y="561"/>
                    <a:pt x="629" y="558"/>
                    <a:pt x="632" y="555"/>
                  </a:cubicBezTo>
                  <a:cubicBezTo>
                    <a:pt x="635" y="555"/>
                    <a:pt x="638" y="552"/>
                    <a:pt x="641" y="549"/>
                  </a:cubicBezTo>
                  <a:cubicBezTo>
                    <a:pt x="644" y="549"/>
                    <a:pt x="650" y="549"/>
                    <a:pt x="650" y="552"/>
                  </a:cubicBezTo>
                  <a:cubicBezTo>
                    <a:pt x="647" y="552"/>
                    <a:pt x="644" y="558"/>
                    <a:pt x="653" y="558"/>
                  </a:cubicBezTo>
                  <a:cubicBezTo>
                    <a:pt x="659" y="561"/>
                    <a:pt x="668" y="576"/>
                    <a:pt x="674" y="585"/>
                  </a:cubicBezTo>
                  <a:cubicBezTo>
                    <a:pt x="677" y="591"/>
                    <a:pt x="683" y="603"/>
                    <a:pt x="686" y="603"/>
                  </a:cubicBezTo>
                  <a:cubicBezTo>
                    <a:pt x="686" y="603"/>
                    <a:pt x="689" y="597"/>
                    <a:pt x="692" y="597"/>
                  </a:cubicBezTo>
                  <a:cubicBezTo>
                    <a:pt x="695" y="597"/>
                    <a:pt x="698" y="603"/>
                    <a:pt x="701" y="603"/>
                  </a:cubicBezTo>
                  <a:cubicBezTo>
                    <a:pt x="704" y="603"/>
                    <a:pt x="707" y="606"/>
                    <a:pt x="710" y="606"/>
                  </a:cubicBezTo>
                  <a:cubicBezTo>
                    <a:pt x="713" y="603"/>
                    <a:pt x="719" y="600"/>
                    <a:pt x="722" y="603"/>
                  </a:cubicBezTo>
                  <a:cubicBezTo>
                    <a:pt x="725" y="603"/>
                    <a:pt x="728" y="603"/>
                    <a:pt x="731" y="609"/>
                  </a:cubicBezTo>
                  <a:cubicBezTo>
                    <a:pt x="731" y="612"/>
                    <a:pt x="734" y="612"/>
                    <a:pt x="737" y="612"/>
                  </a:cubicBezTo>
                  <a:cubicBezTo>
                    <a:pt x="740" y="612"/>
                    <a:pt x="740" y="615"/>
                    <a:pt x="740" y="618"/>
                  </a:cubicBezTo>
                  <a:cubicBezTo>
                    <a:pt x="740" y="621"/>
                    <a:pt x="743" y="621"/>
                    <a:pt x="746" y="621"/>
                  </a:cubicBezTo>
                  <a:cubicBezTo>
                    <a:pt x="746" y="621"/>
                    <a:pt x="752" y="621"/>
                    <a:pt x="755" y="621"/>
                  </a:cubicBezTo>
                  <a:cubicBezTo>
                    <a:pt x="755" y="621"/>
                    <a:pt x="758" y="618"/>
                    <a:pt x="758" y="621"/>
                  </a:cubicBezTo>
                  <a:cubicBezTo>
                    <a:pt x="758" y="624"/>
                    <a:pt x="761" y="627"/>
                    <a:pt x="764" y="627"/>
                  </a:cubicBezTo>
                  <a:cubicBezTo>
                    <a:pt x="764" y="627"/>
                    <a:pt x="770" y="630"/>
                    <a:pt x="770" y="627"/>
                  </a:cubicBezTo>
                  <a:cubicBezTo>
                    <a:pt x="770" y="624"/>
                    <a:pt x="776" y="624"/>
                    <a:pt x="776" y="624"/>
                  </a:cubicBezTo>
                  <a:cubicBezTo>
                    <a:pt x="779" y="624"/>
                    <a:pt x="785" y="621"/>
                    <a:pt x="788" y="618"/>
                  </a:cubicBezTo>
                  <a:cubicBezTo>
                    <a:pt x="788" y="615"/>
                    <a:pt x="794" y="615"/>
                    <a:pt x="797" y="615"/>
                  </a:cubicBezTo>
                  <a:cubicBezTo>
                    <a:pt x="797" y="612"/>
                    <a:pt x="803" y="612"/>
                    <a:pt x="803" y="609"/>
                  </a:cubicBezTo>
                  <a:cubicBezTo>
                    <a:pt x="803" y="606"/>
                    <a:pt x="809" y="609"/>
                    <a:pt x="812" y="606"/>
                  </a:cubicBezTo>
                  <a:cubicBezTo>
                    <a:pt x="812" y="603"/>
                    <a:pt x="818" y="603"/>
                    <a:pt x="818" y="606"/>
                  </a:cubicBezTo>
                  <a:cubicBezTo>
                    <a:pt x="821" y="606"/>
                    <a:pt x="833" y="609"/>
                    <a:pt x="836" y="606"/>
                  </a:cubicBezTo>
                  <a:cubicBezTo>
                    <a:pt x="836" y="606"/>
                    <a:pt x="836" y="612"/>
                    <a:pt x="839" y="615"/>
                  </a:cubicBezTo>
                  <a:cubicBezTo>
                    <a:pt x="839" y="615"/>
                    <a:pt x="845" y="618"/>
                    <a:pt x="848" y="618"/>
                  </a:cubicBezTo>
                  <a:cubicBezTo>
                    <a:pt x="848" y="615"/>
                    <a:pt x="854" y="615"/>
                    <a:pt x="857" y="618"/>
                  </a:cubicBezTo>
                  <a:cubicBezTo>
                    <a:pt x="860" y="618"/>
                    <a:pt x="863" y="621"/>
                    <a:pt x="866" y="618"/>
                  </a:cubicBezTo>
                  <a:cubicBezTo>
                    <a:pt x="866" y="618"/>
                    <a:pt x="872" y="615"/>
                    <a:pt x="875" y="615"/>
                  </a:cubicBezTo>
                  <a:cubicBezTo>
                    <a:pt x="875" y="612"/>
                    <a:pt x="875" y="609"/>
                    <a:pt x="875" y="609"/>
                  </a:cubicBezTo>
                  <a:cubicBezTo>
                    <a:pt x="872" y="606"/>
                    <a:pt x="872" y="600"/>
                    <a:pt x="869" y="597"/>
                  </a:cubicBezTo>
                  <a:cubicBezTo>
                    <a:pt x="875" y="594"/>
                    <a:pt x="875" y="594"/>
                    <a:pt x="875" y="594"/>
                  </a:cubicBezTo>
                  <a:cubicBezTo>
                    <a:pt x="875" y="591"/>
                    <a:pt x="881" y="591"/>
                    <a:pt x="881" y="588"/>
                  </a:cubicBezTo>
                  <a:cubicBezTo>
                    <a:pt x="884" y="585"/>
                    <a:pt x="884" y="585"/>
                    <a:pt x="884" y="585"/>
                  </a:cubicBezTo>
                  <a:cubicBezTo>
                    <a:pt x="887" y="585"/>
                    <a:pt x="893" y="588"/>
                    <a:pt x="893" y="588"/>
                  </a:cubicBezTo>
                  <a:cubicBezTo>
                    <a:pt x="899" y="591"/>
                    <a:pt x="899" y="591"/>
                    <a:pt x="899" y="591"/>
                  </a:cubicBezTo>
                  <a:cubicBezTo>
                    <a:pt x="902" y="591"/>
                    <a:pt x="905" y="591"/>
                    <a:pt x="908" y="594"/>
                  </a:cubicBezTo>
                  <a:cubicBezTo>
                    <a:pt x="911" y="594"/>
                    <a:pt x="917" y="594"/>
                    <a:pt x="920" y="597"/>
                  </a:cubicBezTo>
                  <a:cubicBezTo>
                    <a:pt x="920" y="600"/>
                    <a:pt x="920" y="603"/>
                    <a:pt x="920" y="606"/>
                  </a:cubicBezTo>
                  <a:cubicBezTo>
                    <a:pt x="923" y="609"/>
                    <a:pt x="926" y="612"/>
                    <a:pt x="929" y="612"/>
                  </a:cubicBezTo>
                  <a:cubicBezTo>
                    <a:pt x="929" y="612"/>
                    <a:pt x="935" y="615"/>
                    <a:pt x="938" y="615"/>
                  </a:cubicBezTo>
                  <a:cubicBezTo>
                    <a:pt x="941" y="615"/>
                    <a:pt x="944" y="612"/>
                    <a:pt x="947" y="612"/>
                  </a:cubicBezTo>
                  <a:cubicBezTo>
                    <a:pt x="947" y="612"/>
                    <a:pt x="953" y="609"/>
                    <a:pt x="956" y="609"/>
                  </a:cubicBezTo>
                  <a:cubicBezTo>
                    <a:pt x="959" y="609"/>
                    <a:pt x="965" y="612"/>
                    <a:pt x="968" y="612"/>
                  </a:cubicBezTo>
                  <a:cubicBezTo>
                    <a:pt x="968" y="612"/>
                    <a:pt x="974" y="612"/>
                    <a:pt x="974" y="615"/>
                  </a:cubicBezTo>
                  <a:cubicBezTo>
                    <a:pt x="977" y="615"/>
                    <a:pt x="986" y="615"/>
                    <a:pt x="986" y="618"/>
                  </a:cubicBezTo>
                  <a:cubicBezTo>
                    <a:pt x="986" y="621"/>
                    <a:pt x="989" y="621"/>
                    <a:pt x="992" y="624"/>
                  </a:cubicBezTo>
                  <a:cubicBezTo>
                    <a:pt x="992" y="627"/>
                    <a:pt x="1004" y="627"/>
                    <a:pt x="1004" y="627"/>
                  </a:cubicBezTo>
                  <a:cubicBezTo>
                    <a:pt x="1007" y="630"/>
                    <a:pt x="1019" y="630"/>
                    <a:pt x="1019" y="627"/>
                  </a:cubicBezTo>
                  <a:cubicBezTo>
                    <a:pt x="1019" y="627"/>
                    <a:pt x="1031" y="624"/>
                    <a:pt x="1034" y="624"/>
                  </a:cubicBezTo>
                  <a:cubicBezTo>
                    <a:pt x="1037" y="621"/>
                    <a:pt x="1043" y="624"/>
                    <a:pt x="1043" y="621"/>
                  </a:cubicBezTo>
                  <a:cubicBezTo>
                    <a:pt x="1043" y="618"/>
                    <a:pt x="1049" y="615"/>
                    <a:pt x="1052" y="615"/>
                  </a:cubicBezTo>
                  <a:cubicBezTo>
                    <a:pt x="1055" y="612"/>
                    <a:pt x="1067" y="612"/>
                    <a:pt x="1067" y="615"/>
                  </a:cubicBezTo>
                  <a:cubicBezTo>
                    <a:pt x="1067" y="618"/>
                    <a:pt x="1073" y="618"/>
                    <a:pt x="1076" y="618"/>
                  </a:cubicBezTo>
                  <a:cubicBezTo>
                    <a:pt x="1079" y="615"/>
                    <a:pt x="1085" y="618"/>
                    <a:pt x="1088" y="621"/>
                  </a:cubicBezTo>
                  <a:cubicBezTo>
                    <a:pt x="1097" y="624"/>
                    <a:pt x="1097" y="624"/>
                    <a:pt x="1097" y="624"/>
                  </a:cubicBezTo>
                  <a:cubicBezTo>
                    <a:pt x="1100" y="621"/>
                    <a:pt x="1106" y="618"/>
                    <a:pt x="1109" y="618"/>
                  </a:cubicBezTo>
                  <a:cubicBezTo>
                    <a:pt x="1112" y="618"/>
                    <a:pt x="1115" y="615"/>
                    <a:pt x="1115" y="612"/>
                  </a:cubicBezTo>
                  <a:cubicBezTo>
                    <a:pt x="1112" y="609"/>
                    <a:pt x="1118" y="603"/>
                    <a:pt x="1118" y="600"/>
                  </a:cubicBezTo>
                  <a:cubicBezTo>
                    <a:pt x="1121" y="597"/>
                    <a:pt x="1124" y="591"/>
                    <a:pt x="1127" y="591"/>
                  </a:cubicBezTo>
                  <a:cubicBezTo>
                    <a:pt x="1127" y="588"/>
                    <a:pt x="1130" y="585"/>
                    <a:pt x="1130" y="585"/>
                  </a:cubicBezTo>
                  <a:cubicBezTo>
                    <a:pt x="1130" y="582"/>
                    <a:pt x="1130" y="576"/>
                    <a:pt x="1127" y="576"/>
                  </a:cubicBezTo>
                  <a:cubicBezTo>
                    <a:pt x="1127" y="576"/>
                    <a:pt x="1121" y="576"/>
                    <a:pt x="1127" y="570"/>
                  </a:cubicBezTo>
                  <a:cubicBezTo>
                    <a:pt x="1130" y="564"/>
                    <a:pt x="1139" y="564"/>
                    <a:pt x="1142" y="564"/>
                  </a:cubicBezTo>
                  <a:cubicBezTo>
                    <a:pt x="1142" y="564"/>
                    <a:pt x="1154" y="564"/>
                    <a:pt x="1157" y="564"/>
                  </a:cubicBezTo>
                  <a:cubicBezTo>
                    <a:pt x="1163" y="564"/>
                    <a:pt x="1166" y="564"/>
                    <a:pt x="1169" y="567"/>
                  </a:cubicBezTo>
                  <a:cubicBezTo>
                    <a:pt x="1175" y="570"/>
                    <a:pt x="1181" y="567"/>
                    <a:pt x="1184" y="570"/>
                  </a:cubicBezTo>
                  <a:cubicBezTo>
                    <a:pt x="1187" y="573"/>
                    <a:pt x="1193" y="573"/>
                    <a:pt x="1190" y="579"/>
                  </a:cubicBezTo>
                  <a:cubicBezTo>
                    <a:pt x="1190" y="582"/>
                    <a:pt x="1196" y="579"/>
                    <a:pt x="1196" y="588"/>
                  </a:cubicBezTo>
                  <a:cubicBezTo>
                    <a:pt x="1199" y="597"/>
                    <a:pt x="1202" y="597"/>
                    <a:pt x="1202" y="603"/>
                  </a:cubicBezTo>
                  <a:cubicBezTo>
                    <a:pt x="1205" y="606"/>
                    <a:pt x="1211" y="612"/>
                    <a:pt x="1208" y="615"/>
                  </a:cubicBezTo>
                  <a:cubicBezTo>
                    <a:pt x="1208" y="618"/>
                    <a:pt x="1208" y="621"/>
                    <a:pt x="1214" y="621"/>
                  </a:cubicBezTo>
                  <a:cubicBezTo>
                    <a:pt x="1220" y="621"/>
                    <a:pt x="1223" y="627"/>
                    <a:pt x="1223" y="627"/>
                  </a:cubicBezTo>
                  <a:cubicBezTo>
                    <a:pt x="1226" y="624"/>
                    <a:pt x="1232" y="627"/>
                    <a:pt x="1235" y="630"/>
                  </a:cubicBezTo>
                  <a:cubicBezTo>
                    <a:pt x="1238" y="633"/>
                    <a:pt x="1244" y="633"/>
                    <a:pt x="1244" y="636"/>
                  </a:cubicBezTo>
                  <a:cubicBezTo>
                    <a:pt x="1244" y="639"/>
                    <a:pt x="1247" y="642"/>
                    <a:pt x="1247" y="645"/>
                  </a:cubicBezTo>
                  <a:cubicBezTo>
                    <a:pt x="1247" y="648"/>
                    <a:pt x="1253" y="651"/>
                    <a:pt x="1256" y="651"/>
                  </a:cubicBezTo>
                  <a:cubicBezTo>
                    <a:pt x="1262" y="651"/>
                    <a:pt x="1265" y="651"/>
                    <a:pt x="1268" y="648"/>
                  </a:cubicBezTo>
                  <a:cubicBezTo>
                    <a:pt x="1268" y="645"/>
                    <a:pt x="1277" y="645"/>
                    <a:pt x="1277" y="645"/>
                  </a:cubicBezTo>
                  <a:cubicBezTo>
                    <a:pt x="1280" y="642"/>
                    <a:pt x="1286" y="639"/>
                    <a:pt x="1286" y="645"/>
                  </a:cubicBezTo>
                  <a:cubicBezTo>
                    <a:pt x="1286" y="651"/>
                    <a:pt x="1292" y="654"/>
                    <a:pt x="1286" y="657"/>
                  </a:cubicBezTo>
                  <a:cubicBezTo>
                    <a:pt x="1283" y="657"/>
                    <a:pt x="1283" y="666"/>
                    <a:pt x="1280" y="669"/>
                  </a:cubicBezTo>
                  <a:cubicBezTo>
                    <a:pt x="1280" y="675"/>
                    <a:pt x="1274" y="675"/>
                    <a:pt x="1274" y="678"/>
                  </a:cubicBezTo>
                  <a:cubicBezTo>
                    <a:pt x="1274" y="684"/>
                    <a:pt x="1268" y="684"/>
                    <a:pt x="1268" y="687"/>
                  </a:cubicBezTo>
                  <a:cubicBezTo>
                    <a:pt x="1268" y="690"/>
                    <a:pt x="1262" y="687"/>
                    <a:pt x="1259" y="687"/>
                  </a:cubicBezTo>
                  <a:cubicBezTo>
                    <a:pt x="1256" y="684"/>
                    <a:pt x="1253" y="690"/>
                    <a:pt x="1250" y="690"/>
                  </a:cubicBezTo>
                  <a:cubicBezTo>
                    <a:pt x="1247" y="690"/>
                    <a:pt x="1247" y="696"/>
                    <a:pt x="1247" y="699"/>
                  </a:cubicBezTo>
                  <a:cubicBezTo>
                    <a:pt x="1250" y="702"/>
                    <a:pt x="1247" y="705"/>
                    <a:pt x="1250" y="708"/>
                  </a:cubicBezTo>
                  <a:cubicBezTo>
                    <a:pt x="1250" y="711"/>
                    <a:pt x="1250" y="714"/>
                    <a:pt x="1250" y="717"/>
                  </a:cubicBezTo>
                  <a:cubicBezTo>
                    <a:pt x="1253" y="714"/>
                    <a:pt x="1259" y="714"/>
                    <a:pt x="1259" y="714"/>
                  </a:cubicBezTo>
                  <a:cubicBezTo>
                    <a:pt x="1262" y="714"/>
                    <a:pt x="1268" y="720"/>
                    <a:pt x="1271" y="720"/>
                  </a:cubicBezTo>
                  <a:cubicBezTo>
                    <a:pt x="1277" y="720"/>
                    <a:pt x="1298" y="708"/>
                    <a:pt x="1298" y="705"/>
                  </a:cubicBezTo>
                  <a:cubicBezTo>
                    <a:pt x="1298" y="702"/>
                    <a:pt x="1310" y="690"/>
                    <a:pt x="1316" y="684"/>
                  </a:cubicBezTo>
                  <a:cubicBezTo>
                    <a:pt x="1322" y="678"/>
                    <a:pt x="1331" y="669"/>
                    <a:pt x="1334" y="663"/>
                  </a:cubicBezTo>
                  <a:cubicBezTo>
                    <a:pt x="1334" y="657"/>
                    <a:pt x="1343" y="648"/>
                    <a:pt x="1346" y="645"/>
                  </a:cubicBezTo>
                  <a:cubicBezTo>
                    <a:pt x="1346" y="642"/>
                    <a:pt x="1349" y="642"/>
                    <a:pt x="1352" y="633"/>
                  </a:cubicBezTo>
                  <a:cubicBezTo>
                    <a:pt x="1355" y="627"/>
                    <a:pt x="1355" y="606"/>
                    <a:pt x="1358" y="606"/>
                  </a:cubicBezTo>
                  <a:cubicBezTo>
                    <a:pt x="1358" y="603"/>
                    <a:pt x="1358" y="600"/>
                    <a:pt x="1358" y="597"/>
                  </a:cubicBezTo>
                  <a:cubicBezTo>
                    <a:pt x="1361" y="594"/>
                    <a:pt x="1361" y="591"/>
                    <a:pt x="1364" y="591"/>
                  </a:cubicBezTo>
                  <a:cubicBezTo>
                    <a:pt x="1367" y="588"/>
                    <a:pt x="1367" y="585"/>
                    <a:pt x="1364" y="582"/>
                  </a:cubicBezTo>
                  <a:cubicBezTo>
                    <a:pt x="1364" y="579"/>
                    <a:pt x="1364" y="576"/>
                    <a:pt x="1364" y="573"/>
                  </a:cubicBezTo>
                  <a:cubicBezTo>
                    <a:pt x="1364" y="573"/>
                    <a:pt x="1364" y="570"/>
                    <a:pt x="1367" y="570"/>
                  </a:cubicBezTo>
                  <a:cubicBezTo>
                    <a:pt x="1367" y="570"/>
                    <a:pt x="1364" y="567"/>
                    <a:pt x="1361" y="564"/>
                  </a:cubicBezTo>
                  <a:cubicBezTo>
                    <a:pt x="1358" y="564"/>
                    <a:pt x="1355" y="561"/>
                    <a:pt x="1355" y="558"/>
                  </a:cubicBezTo>
                  <a:cubicBezTo>
                    <a:pt x="1355" y="555"/>
                    <a:pt x="1349" y="552"/>
                    <a:pt x="1346" y="552"/>
                  </a:cubicBezTo>
                  <a:cubicBezTo>
                    <a:pt x="1343" y="552"/>
                    <a:pt x="1334" y="549"/>
                    <a:pt x="1337" y="552"/>
                  </a:cubicBezTo>
                  <a:cubicBezTo>
                    <a:pt x="1337" y="555"/>
                    <a:pt x="1337" y="558"/>
                    <a:pt x="1334" y="558"/>
                  </a:cubicBezTo>
                  <a:cubicBezTo>
                    <a:pt x="1331" y="555"/>
                    <a:pt x="1331" y="558"/>
                    <a:pt x="1328" y="561"/>
                  </a:cubicBezTo>
                  <a:cubicBezTo>
                    <a:pt x="1328" y="564"/>
                    <a:pt x="1319" y="564"/>
                    <a:pt x="1322" y="561"/>
                  </a:cubicBezTo>
                  <a:cubicBezTo>
                    <a:pt x="1325" y="558"/>
                    <a:pt x="1322" y="558"/>
                    <a:pt x="1322" y="555"/>
                  </a:cubicBezTo>
                  <a:cubicBezTo>
                    <a:pt x="1322" y="552"/>
                    <a:pt x="1325" y="549"/>
                    <a:pt x="1322" y="549"/>
                  </a:cubicBezTo>
                  <a:cubicBezTo>
                    <a:pt x="1319" y="552"/>
                    <a:pt x="1319" y="558"/>
                    <a:pt x="1316" y="558"/>
                  </a:cubicBezTo>
                  <a:cubicBezTo>
                    <a:pt x="1313" y="558"/>
                    <a:pt x="1313" y="549"/>
                    <a:pt x="1313" y="546"/>
                  </a:cubicBezTo>
                  <a:cubicBezTo>
                    <a:pt x="1316" y="543"/>
                    <a:pt x="1307" y="546"/>
                    <a:pt x="1301" y="546"/>
                  </a:cubicBezTo>
                  <a:cubicBezTo>
                    <a:pt x="1295" y="546"/>
                    <a:pt x="1295" y="540"/>
                    <a:pt x="1301" y="537"/>
                  </a:cubicBezTo>
                  <a:cubicBezTo>
                    <a:pt x="1307" y="534"/>
                    <a:pt x="1307" y="531"/>
                    <a:pt x="1310" y="531"/>
                  </a:cubicBezTo>
                  <a:cubicBezTo>
                    <a:pt x="1313" y="531"/>
                    <a:pt x="1319" y="525"/>
                    <a:pt x="1322" y="522"/>
                  </a:cubicBezTo>
                  <a:cubicBezTo>
                    <a:pt x="1328" y="519"/>
                    <a:pt x="1328" y="516"/>
                    <a:pt x="1331" y="513"/>
                  </a:cubicBezTo>
                  <a:cubicBezTo>
                    <a:pt x="1331" y="513"/>
                    <a:pt x="1340" y="507"/>
                    <a:pt x="1346" y="501"/>
                  </a:cubicBezTo>
                  <a:cubicBezTo>
                    <a:pt x="1352" y="495"/>
                    <a:pt x="1355" y="492"/>
                    <a:pt x="1358" y="489"/>
                  </a:cubicBezTo>
                  <a:cubicBezTo>
                    <a:pt x="1361" y="486"/>
                    <a:pt x="1370" y="483"/>
                    <a:pt x="1370" y="480"/>
                  </a:cubicBezTo>
                  <a:cubicBezTo>
                    <a:pt x="1370" y="477"/>
                    <a:pt x="1382" y="471"/>
                    <a:pt x="1391" y="468"/>
                  </a:cubicBezTo>
                  <a:cubicBezTo>
                    <a:pt x="1400" y="465"/>
                    <a:pt x="1415" y="468"/>
                    <a:pt x="1415" y="471"/>
                  </a:cubicBezTo>
                  <a:cubicBezTo>
                    <a:pt x="1418" y="474"/>
                    <a:pt x="1421" y="474"/>
                    <a:pt x="1421" y="471"/>
                  </a:cubicBezTo>
                  <a:cubicBezTo>
                    <a:pt x="1424" y="468"/>
                    <a:pt x="1427" y="471"/>
                    <a:pt x="1433" y="471"/>
                  </a:cubicBezTo>
                  <a:cubicBezTo>
                    <a:pt x="1439" y="471"/>
                    <a:pt x="1439" y="468"/>
                    <a:pt x="1442" y="468"/>
                  </a:cubicBezTo>
                  <a:cubicBezTo>
                    <a:pt x="1448" y="471"/>
                    <a:pt x="1451" y="471"/>
                    <a:pt x="1454" y="468"/>
                  </a:cubicBezTo>
                  <a:cubicBezTo>
                    <a:pt x="1454" y="462"/>
                    <a:pt x="1466" y="462"/>
                    <a:pt x="1469" y="465"/>
                  </a:cubicBezTo>
                  <a:cubicBezTo>
                    <a:pt x="1472" y="468"/>
                    <a:pt x="1472" y="468"/>
                    <a:pt x="1478" y="465"/>
                  </a:cubicBezTo>
                  <a:cubicBezTo>
                    <a:pt x="1481" y="465"/>
                    <a:pt x="1481" y="471"/>
                    <a:pt x="1484" y="471"/>
                  </a:cubicBezTo>
                  <a:cubicBezTo>
                    <a:pt x="1490" y="471"/>
                    <a:pt x="1487" y="474"/>
                    <a:pt x="1484" y="474"/>
                  </a:cubicBezTo>
                  <a:cubicBezTo>
                    <a:pt x="1481" y="474"/>
                    <a:pt x="1475" y="477"/>
                    <a:pt x="1478" y="477"/>
                  </a:cubicBezTo>
                  <a:cubicBezTo>
                    <a:pt x="1484" y="480"/>
                    <a:pt x="1487" y="477"/>
                    <a:pt x="1490" y="477"/>
                  </a:cubicBezTo>
                  <a:cubicBezTo>
                    <a:pt x="1493" y="477"/>
                    <a:pt x="1499" y="477"/>
                    <a:pt x="1502" y="474"/>
                  </a:cubicBezTo>
                  <a:cubicBezTo>
                    <a:pt x="1508" y="471"/>
                    <a:pt x="1508" y="477"/>
                    <a:pt x="1511" y="474"/>
                  </a:cubicBezTo>
                  <a:cubicBezTo>
                    <a:pt x="1514" y="471"/>
                    <a:pt x="1520" y="471"/>
                    <a:pt x="1523" y="471"/>
                  </a:cubicBezTo>
                  <a:cubicBezTo>
                    <a:pt x="1526" y="471"/>
                    <a:pt x="1523" y="468"/>
                    <a:pt x="1517" y="468"/>
                  </a:cubicBezTo>
                  <a:cubicBezTo>
                    <a:pt x="1514" y="468"/>
                    <a:pt x="1514" y="465"/>
                    <a:pt x="1517" y="459"/>
                  </a:cubicBezTo>
                  <a:cubicBezTo>
                    <a:pt x="1520" y="450"/>
                    <a:pt x="1529" y="447"/>
                    <a:pt x="1532" y="444"/>
                  </a:cubicBezTo>
                  <a:cubicBezTo>
                    <a:pt x="1538" y="438"/>
                    <a:pt x="1541" y="441"/>
                    <a:pt x="1541" y="438"/>
                  </a:cubicBezTo>
                  <a:cubicBezTo>
                    <a:pt x="1541" y="435"/>
                    <a:pt x="1544" y="429"/>
                    <a:pt x="1547" y="429"/>
                  </a:cubicBezTo>
                  <a:cubicBezTo>
                    <a:pt x="1550" y="429"/>
                    <a:pt x="1559" y="429"/>
                    <a:pt x="1565" y="426"/>
                  </a:cubicBezTo>
                  <a:cubicBezTo>
                    <a:pt x="1571" y="423"/>
                    <a:pt x="1571" y="429"/>
                    <a:pt x="1574" y="429"/>
                  </a:cubicBezTo>
                  <a:cubicBezTo>
                    <a:pt x="1577" y="432"/>
                    <a:pt x="1580" y="426"/>
                    <a:pt x="1583" y="426"/>
                  </a:cubicBezTo>
                  <a:cubicBezTo>
                    <a:pt x="1583" y="429"/>
                    <a:pt x="1577" y="432"/>
                    <a:pt x="1577" y="438"/>
                  </a:cubicBezTo>
                  <a:cubicBezTo>
                    <a:pt x="1574" y="441"/>
                    <a:pt x="1580" y="441"/>
                    <a:pt x="1583" y="441"/>
                  </a:cubicBezTo>
                  <a:cubicBezTo>
                    <a:pt x="1586" y="444"/>
                    <a:pt x="1580" y="444"/>
                    <a:pt x="1580" y="447"/>
                  </a:cubicBezTo>
                  <a:cubicBezTo>
                    <a:pt x="1580" y="447"/>
                    <a:pt x="1586" y="447"/>
                    <a:pt x="1592" y="441"/>
                  </a:cubicBezTo>
                  <a:cubicBezTo>
                    <a:pt x="1601" y="432"/>
                    <a:pt x="1607" y="432"/>
                    <a:pt x="1613" y="432"/>
                  </a:cubicBezTo>
                  <a:cubicBezTo>
                    <a:pt x="1616" y="432"/>
                    <a:pt x="1613" y="426"/>
                    <a:pt x="1613" y="420"/>
                  </a:cubicBezTo>
                  <a:cubicBezTo>
                    <a:pt x="1616" y="414"/>
                    <a:pt x="1628" y="411"/>
                    <a:pt x="1634" y="414"/>
                  </a:cubicBezTo>
                  <a:cubicBezTo>
                    <a:pt x="1637" y="414"/>
                    <a:pt x="1637" y="417"/>
                    <a:pt x="1634" y="417"/>
                  </a:cubicBezTo>
                  <a:cubicBezTo>
                    <a:pt x="1628" y="414"/>
                    <a:pt x="1625" y="420"/>
                    <a:pt x="1625" y="426"/>
                  </a:cubicBezTo>
                  <a:cubicBezTo>
                    <a:pt x="1625" y="429"/>
                    <a:pt x="1622" y="432"/>
                    <a:pt x="1622" y="435"/>
                  </a:cubicBezTo>
                  <a:cubicBezTo>
                    <a:pt x="1625" y="435"/>
                    <a:pt x="1619" y="438"/>
                    <a:pt x="1619" y="438"/>
                  </a:cubicBezTo>
                  <a:cubicBezTo>
                    <a:pt x="1619" y="441"/>
                    <a:pt x="1619" y="444"/>
                    <a:pt x="1616" y="444"/>
                  </a:cubicBezTo>
                  <a:cubicBezTo>
                    <a:pt x="1613" y="444"/>
                    <a:pt x="1601" y="447"/>
                    <a:pt x="1601" y="450"/>
                  </a:cubicBezTo>
                  <a:cubicBezTo>
                    <a:pt x="1601" y="456"/>
                    <a:pt x="1595" y="456"/>
                    <a:pt x="1592" y="462"/>
                  </a:cubicBezTo>
                  <a:cubicBezTo>
                    <a:pt x="1589" y="465"/>
                    <a:pt x="1580" y="471"/>
                    <a:pt x="1571" y="480"/>
                  </a:cubicBezTo>
                  <a:cubicBezTo>
                    <a:pt x="1565" y="492"/>
                    <a:pt x="1553" y="492"/>
                    <a:pt x="1553" y="492"/>
                  </a:cubicBezTo>
                  <a:cubicBezTo>
                    <a:pt x="1553" y="495"/>
                    <a:pt x="1544" y="495"/>
                    <a:pt x="1544" y="495"/>
                  </a:cubicBezTo>
                  <a:cubicBezTo>
                    <a:pt x="1541" y="495"/>
                    <a:pt x="1544" y="501"/>
                    <a:pt x="1538" y="510"/>
                  </a:cubicBezTo>
                  <a:cubicBezTo>
                    <a:pt x="1532" y="516"/>
                    <a:pt x="1529" y="525"/>
                    <a:pt x="1529" y="534"/>
                  </a:cubicBezTo>
                  <a:cubicBezTo>
                    <a:pt x="1529" y="543"/>
                    <a:pt x="1532" y="570"/>
                    <a:pt x="1535" y="576"/>
                  </a:cubicBezTo>
                  <a:cubicBezTo>
                    <a:pt x="1538" y="582"/>
                    <a:pt x="1535" y="594"/>
                    <a:pt x="1538" y="594"/>
                  </a:cubicBezTo>
                  <a:cubicBezTo>
                    <a:pt x="1541" y="597"/>
                    <a:pt x="1541" y="603"/>
                    <a:pt x="1541" y="603"/>
                  </a:cubicBezTo>
                  <a:cubicBezTo>
                    <a:pt x="1544" y="606"/>
                    <a:pt x="1550" y="597"/>
                    <a:pt x="1553" y="594"/>
                  </a:cubicBezTo>
                  <a:cubicBezTo>
                    <a:pt x="1556" y="591"/>
                    <a:pt x="1556" y="588"/>
                    <a:pt x="1559" y="588"/>
                  </a:cubicBezTo>
                  <a:cubicBezTo>
                    <a:pt x="1562" y="585"/>
                    <a:pt x="1559" y="576"/>
                    <a:pt x="1562" y="576"/>
                  </a:cubicBezTo>
                  <a:cubicBezTo>
                    <a:pt x="1562" y="573"/>
                    <a:pt x="1568" y="573"/>
                    <a:pt x="1568" y="570"/>
                  </a:cubicBezTo>
                  <a:cubicBezTo>
                    <a:pt x="1571" y="567"/>
                    <a:pt x="1574" y="570"/>
                    <a:pt x="1577" y="570"/>
                  </a:cubicBezTo>
                  <a:cubicBezTo>
                    <a:pt x="1580" y="567"/>
                    <a:pt x="1577" y="561"/>
                    <a:pt x="1577" y="558"/>
                  </a:cubicBezTo>
                  <a:cubicBezTo>
                    <a:pt x="1574" y="555"/>
                    <a:pt x="1583" y="552"/>
                    <a:pt x="1586" y="549"/>
                  </a:cubicBezTo>
                  <a:cubicBezTo>
                    <a:pt x="1592" y="546"/>
                    <a:pt x="1595" y="552"/>
                    <a:pt x="1601" y="546"/>
                  </a:cubicBezTo>
                  <a:cubicBezTo>
                    <a:pt x="1604" y="543"/>
                    <a:pt x="1601" y="537"/>
                    <a:pt x="1598" y="534"/>
                  </a:cubicBezTo>
                  <a:cubicBezTo>
                    <a:pt x="1598" y="534"/>
                    <a:pt x="1604" y="522"/>
                    <a:pt x="1607" y="522"/>
                  </a:cubicBezTo>
                  <a:cubicBezTo>
                    <a:pt x="1610" y="522"/>
                    <a:pt x="1613" y="525"/>
                    <a:pt x="1616" y="522"/>
                  </a:cubicBezTo>
                  <a:cubicBezTo>
                    <a:pt x="1619" y="519"/>
                    <a:pt x="1613" y="513"/>
                    <a:pt x="1610" y="513"/>
                  </a:cubicBezTo>
                  <a:cubicBezTo>
                    <a:pt x="1607" y="513"/>
                    <a:pt x="1607" y="504"/>
                    <a:pt x="1613" y="501"/>
                  </a:cubicBezTo>
                  <a:cubicBezTo>
                    <a:pt x="1619" y="498"/>
                    <a:pt x="1616" y="495"/>
                    <a:pt x="1613" y="495"/>
                  </a:cubicBezTo>
                  <a:cubicBezTo>
                    <a:pt x="1607" y="495"/>
                    <a:pt x="1607" y="495"/>
                    <a:pt x="1604" y="495"/>
                  </a:cubicBezTo>
                  <a:cubicBezTo>
                    <a:pt x="1601" y="495"/>
                    <a:pt x="1598" y="489"/>
                    <a:pt x="1604" y="483"/>
                  </a:cubicBezTo>
                  <a:cubicBezTo>
                    <a:pt x="1607" y="477"/>
                    <a:pt x="1613" y="480"/>
                    <a:pt x="1613" y="474"/>
                  </a:cubicBezTo>
                  <a:cubicBezTo>
                    <a:pt x="1613" y="468"/>
                    <a:pt x="1619" y="462"/>
                    <a:pt x="1622" y="459"/>
                  </a:cubicBezTo>
                  <a:cubicBezTo>
                    <a:pt x="1622" y="456"/>
                    <a:pt x="1628" y="459"/>
                    <a:pt x="1631" y="459"/>
                  </a:cubicBezTo>
                  <a:cubicBezTo>
                    <a:pt x="1634" y="459"/>
                    <a:pt x="1634" y="465"/>
                    <a:pt x="1634" y="462"/>
                  </a:cubicBezTo>
                  <a:cubicBezTo>
                    <a:pt x="1637" y="459"/>
                    <a:pt x="1643" y="450"/>
                    <a:pt x="1646" y="450"/>
                  </a:cubicBezTo>
                  <a:cubicBezTo>
                    <a:pt x="1652" y="450"/>
                    <a:pt x="1649" y="456"/>
                    <a:pt x="1649" y="459"/>
                  </a:cubicBezTo>
                  <a:cubicBezTo>
                    <a:pt x="1649" y="465"/>
                    <a:pt x="1652" y="459"/>
                    <a:pt x="1661" y="453"/>
                  </a:cubicBezTo>
                  <a:cubicBezTo>
                    <a:pt x="1667" y="450"/>
                    <a:pt x="1682" y="450"/>
                    <a:pt x="1688" y="453"/>
                  </a:cubicBezTo>
                  <a:cubicBezTo>
                    <a:pt x="1694" y="453"/>
                    <a:pt x="1694" y="459"/>
                    <a:pt x="1697" y="459"/>
                  </a:cubicBezTo>
                  <a:cubicBezTo>
                    <a:pt x="1700" y="459"/>
                    <a:pt x="1697" y="453"/>
                    <a:pt x="1700" y="453"/>
                  </a:cubicBezTo>
                  <a:cubicBezTo>
                    <a:pt x="1706" y="450"/>
                    <a:pt x="1712" y="447"/>
                    <a:pt x="1718" y="444"/>
                  </a:cubicBezTo>
                  <a:cubicBezTo>
                    <a:pt x="1721" y="438"/>
                    <a:pt x="1721" y="441"/>
                    <a:pt x="1724" y="438"/>
                  </a:cubicBezTo>
                  <a:cubicBezTo>
                    <a:pt x="1727" y="435"/>
                    <a:pt x="1730" y="438"/>
                    <a:pt x="1730" y="435"/>
                  </a:cubicBezTo>
                  <a:cubicBezTo>
                    <a:pt x="1730" y="432"/>
                    <a:pt x="1739" y="429"/>
                    <a:pt x="1748" y="426"/>
                  </a:cubicBezTo>
                  <a:cubicBezTo>
                    <a:pt x="1760" y="423"/>
                    <a:pt x="1772" y="417"/>
                    <a:pt x="1772" y="414"/>
                  </a:cubicBezTo>
                  <a:cubicBezTo>
                    <a:pt x="1772" y="411"/>
                    <a:pt x="1778" y="411"/>
                    <a:pt x="1778" y="414"/>
                  </a:cubicBezTo>
                  <a:cubicBezTo>
                    <a:pt x="1778" y="417"/>
                    <a:pt x="1781" y="414"/>
                    <a:pt x="1787" y="417"/>
                  </a:cubicBezTo>
                  <a:cubicBezTo>
                    <a:pt x="1793" y="417"/>
                    <a:pt x="1796" y="420"/>
                    <a:pt x="1799" y="414"/>
                  </a:cubicBezTo>
                  <a:cubicBezTo>
                    <a:pt x="1805" y="411"/>
                    <a:pt x="1799" y="408"/>
                    <a:pt x="1799" y="405"/>
                  </a:cubicBezTo>
                  <a:cubicBezTo>
                    <a:pt x="1799" y="402"/>
                    <a:pt x="1793" y="399"/>
                    <a:pt x="1793" y="396"/>
                  </a:cubicBezTo>
                  <a:cubicBezTo>
                    <a:pt x="1793" y="393"/>
                    <a:pt x="1787" y="384"/>
                    <a:pt x="1784" y="384"/>
                  </a:cubicBezTo>
                  <a:cubicBezTo>
                    <a:pt x="1784" y="387"/>
                    <a:pt x="1778" y="384"/>
                    <a:pt x="1778" y="381"/>
                  </a:cubicBezTo>
                  <a:cubicBezTo>
                    <a:pt x="1778" y="378"/>
                    <a:pt x="1778" y="375"/>
                    <a:pt x="1775" y="375"/>
                  </a:cubicBezTo>
                  <a:cubicBezTo>
                    <a:pt x="1772" y="378"/>
                    <a:pt x="1766" y="378"/>
                    <a:pt x="1766" y="375"/>
                  </a:cubicBezTo>
                  <a:cubicBezTo>
                    <a:pt x="1763" y="372"/>
                    <a:pt x="1772" y="369"/>
                    <a:pt x="1778" y="372"/>
                  </a:cubicBezTo>
                  <a:cubicBezTo>
                    <a:pt x="1781" y="372"/>
                    <a:pt x="1781" y="375"/>
                    <a:pt x="1784" y="378"/>
                  </a:cubicBezTo>
                  <a:cubicBezTo>
                    <a:pt x="1784" y="378"/>
                    <a:pt x="1793" y="378"/>
                    <a:pt x="1796" y="375"/>
                  </a:cubicBezTo>
                  <a:cubicBezTo>
                    <a:pt x="1799" y="375"/>
                    <a:pt x="1808" y="372"/>
                    <a:pt x="1811" y="369"/>
                  </a:cubicBezTo>
                  <a:cubicBezTo>
                    <a:pt x="1811" y="366"/>
                    <a:pt x="1811" y="363"/>
                    <a:pt x="1814" y="363"/>
                  </a:cubicBezTo>
                  <a:cubicBezTo>
                    <a:pt x="1817" y="360"/>
                    <a:pt x="1814" y="357"/>
                    <a:pt x="1811" y="357"/>
                  </a:cubicBezTo>
                  <a:cubicBezTo>
                    <a:pt x="1808" y="354"/>
                    <a:pt x="1808" y="351"/>
                    <a:pt x="1811" y="351"/>
                  </a:cubicBezTo>
                  <a:cubicBezTo>
                    <a:pt x="1814" y="351"/>
                    <a:pt x="1814" y="348"/>
                    <a:pt x="1817" y="348"/>
                  </a:cubicBezTo>
                  <a:cubicBezTo>
                    <a:pt x="1820" y="345"/>
                    <a:pt x="1820" y="348"/>
                    <a:pt x="1823" y="345"/>
                  </a:cubicBezTo>
                  <a:cubicBezTo>
                    <a:pt x="1826" y="345"/>
                    <a:pt x="1823" y="348"/>
                    <a:pt x="1820" y="351"/>
                  </a:cubicBezTo>
                  <a:cubicBezTo>
                    <a:pt x="1820" y="354"/>
                    <a:pt x="1826" y="357"/>
                    <a:pt x="1826" y="360"/>
                  </a:cubicBezTo>
                  <a:cubicBezTo>
                    <a:pt x="1826" y="363"/>
                    <a:pt x="1832" y="363"/>
                    <a:pt x="1838" y="360"/>
                  </a:cubicBezTo>
                  <a:cubicBezTo>
                    <a:pt x="1841" y="357"/>
                    <a:pt x="1852" y="363"/>
                    <a:pt x="1852" y="366"/>
                  </a:cubicBezTo>
                  <a:cubicBezTo>
                    <a:pt x="1855" y="369"/>
                    <a:pt x="1855" y="372"/>
                    <a:pt x="1861" y="375"/>
                  </a:cubicBezTo>
                  <a:cubicBezTo>
                    <a:pt x="1867" y="378"/>
                    <a:pt x="1873" y="378"/>
                    <a:pt x="1873" y="381"/>
                  </a:cubicBezTo>
                  <a:cubicBezTo>
                    <a:pt x="1873" y="381"/>
                    <a:pt x="1876" y="384"/>
                    <a:pt x="1879" y="384"/>
                  </a:cubicBezTo>
                  <a:cubicBezTo>
                    <a:pt x="1882" y="381"/>
                    <a:pt x="1882" y="387"/>
                    <a:pt x="1885" y="384"/>
                  </a:cubicBezTo>
                  <a:cubicBezTo>
                    <a:pt x="1888" y="381"/>
                    <a:pt x="1888" y="384"/>
                    <a:pt x="1891" y="381"/>
                  </a:cubicBezTo>
                  <a:cubicBezTo>
                    <a:pt x="1894" y="381"/>
                    <a:pt x="1885" y="378"/>
                    <a:pt x="1888" y="375"/>
                  </a:cubicBezTo>
                  <a:cubicBezTo>
                    <a:pt x="1891" y="378"/>
                    <a:pt x="1891" y="378"/>
                    <a:pt x="1891" y="378"/>
                  </a:cubicBezTo>
                  <a:cubicBezTo>
                    <a:pt x="1894" y="378"/>
                    <a:pt x="1891" y="372"/>
                    <a:pt x="1894" y="372"/>
                  </a:cubicBezTo>
                  <a:cubicBezTo>
                    <a:pt x="1894" y="372"/>
                    <a:pt x="1894" y="360"/>
                    <a:pt x="1891" y="360"/>
                  </a:cubicBezTo>
                  <a:cubicBezTo>
                    <a:pt x="1891" y="360"/>
                    <a:pt x="1891" y="357"/>
                    <a:pt x="1894" y="360"/>
                  </a:cubicBezTo>
                  <a:cubicBezTo>
                    <a:pt x="1900" y="363"/>
                    <a:pt x="1906" y="363"/>
                    <a:pt x="1909" y="363"/>
                  </a:cubicBezTo>
                  <a:cubicBezTo>
                    <a:pt x="1912" y="363"/>
                    <a:pt x="1909" y="360"/>
                    <a:pt x="1906" y="360"/>
                  </a:cubicBezTo>
                  <a:cubicBezTo>
                    <a:pt x="1903" y="357"/>
                    <a:pt x="1906" y="357"/>
                    <a:pt x="1909" y="357"/>
                  </a:cubicBezTo>
                  <a:cubicBezTo>
                    <a:pt x="1909" y="360"/>
                    <a:pt x="1912" y="360"/>
                    <a:pt x="1915" y="360"/>
                  </a:cubicBezTo>
                  <a:cubicBezTo>
                    <a:pt x="1915" y="357"/>
                    <a:pt x="1915" y="351"/>
                    <a:pt x="1921" y="351"/>
                  </a:cubicBezTo>
                  <a:cubicBezTo>
                    <a:pt x="1924" y="354"/>
                    <a:pt x="1924" y="351"/>
                    <a:pt x="1921" y="348"/>
                  </a:cubicBezTo>
                  <a:close/>
                  <a:moveTo>
                    <a:pt x="992" y="567"/>
                  </a:moveTo>
                  <a:cubicBezTo>
                    <a:pt x="983" y="576"/>
                    <a:pt x="965" y="579"/>
                    <a:pt x="965" y="585"/>
                  </a:cubicBezTo>
                  <a:cubicBezTo>
                    <a:pt x="965" y="594"/>
                    <a:pt x="941" y="597"/>
                    <a:pt x="938" y="594"/>
                  </a:cubicBezTo>
                  <a:cubicBezTo>
                    <a:pt x="938" y="591"/>
                    <a:pt x="956" y="591"/>
                    <a:pt x="959" y="579"/>
                  </a:cubicBezTo>
                  <a:cubicBezTo>
                    <a:pt x="965" y="570"/>
                    <a:pt x="983" y="564"/>
                    <a:pt x="989" y="552"/>
                  </a:cubicBezTo>
                  <a:cubicBezTo>
                    <a:pt x="995" y="543"/>
                    <a:pt x="1001" y="528"/>
                    <a:pt x="1004" y="528"/>
                  </a:cubicBezTo>
                  <a:cubicBezTo>
                    <a:pt x="1007" y="528"/>
                    <a:pt x="1001" y="561"/>
                    <a:pt x="992" y="567"/>
                  </a:cubicBezTo>
                  <a:close/>
                  <a:moveTo>
                    <a:pt x="1034" y="177"/>
                  </a:moveTo>
                  <a:cubicBezTo>
                    <a:pt x="1034" y="180"/>
                    <a:pt x="1025" y="180"/>
                    <a:pt x="1028" y="183"/>
                  </a:cubicBezTo>
                  <a:cubicBezTo>
                    <a:pt x="1031" y="186"/>
                    <a:pt x="1049" y="183"/>
                    <a:pt x="1049" y="180"/>
                  </a:cubicBezTo>
                  <a:cubicBezTo>
                    <a:pt x="1049" y="174"/>
                    <a:pt x="1037" y="174"/>
                    <a:pt x="1034" y="177"/>
                  </a:cubicBezTo>
                  <a:close/>
                  <a:moveTo>
                    <a:pt x="339" y="24"/>
                  </a:moveTo>
                  <a:cubicBezTo>
                    <a:pt x="345" y="27"/>
                    <a:pt x="327" y="27"/>
                    <a:pt x="324" y="30"/>
                  </a:cubicBezTo>
                  <a:cubicBezTo>
                    <a:pt x="324" y="33"/>
                    <a:pt x="312" y="30"/>
                    <a:pt x="315" y="36"/>
                  </a:cubicBezTo>
                  <a:cubicBezTo>
                    <a:pt x="315" y="39"/>
                    <a:pt x="333" y="39"/>
                    <a:pt x="333" y="36"/>
                  </a:cubicBezTo>
                  <a:cubicBezTo>
                    <a:pt x="333" y="33"/>
                    <a:pt x="342" y="36"/>
                    <a:pt x="342" y="33"/>
                  </a:cubicBezTo>
                  <a:cubicBezTo>
                    <a:pt x="342" y="30"/>
                    <a:pt x="345" y="27"/>
                    <a:pt x="354" y="27"/>
                  </a:cubicBezTo>
                  <a:cubicBezTo>
                    <a:pt x="366" y="24"/>
                    <a:pt x="366" y="21"/>
                    <a:pt x="357" y="18"/>
                  </a:cubicBezTo>
                  <a:cubicBezTo>
                    <a:pt x="348" y="15"/>
                    <a:pt x="336" y="21"/>
                    <a:pt x="339" y="24"/>
                  </a:cubicBezTo>
                  <a:close/>
                  <a:moveTo>
                    <a:pt x="384" y="204"/>
                  </a:moveTo>
                  <a:cubicBezTo>
                    <a:pt x="384" y="207"/>
                    <a:pt x="384" y="210"/>
                    <a:pt x="378" y="210"/>
                  </a:cubicBezTo>
                  <a:cubicBezTo>
                    <a:pt x="369" y="210"/>
                    <a:pt x="381" y="213"/>
                    <a:pt x="381" y="216"/>
                  </a:cubicBezTo>
                  <a:cubicBezTo>
                    <a:pt x="381" y="219"/>
                    <a:pt x="375" y="219"/>
                    <a:pt x="375" y="222"/>
                  </a:cubicBezTo>
                  <a:cubicBezTo>
                    <a:pt x="372" y="228"/>
                    <a:pt x="360" y="222"/>
                    <a:pt x="360" y="231"/>
                  </a:cubicBezTo>
                  <a:cubicBezTo>
                    <a:pt x="357" y="237"/>
                    <a:pt x="366" y="237"/>
                    <a:pt x="372" y="237"/>
                  </a:cubicBezTo>
                  <a:cubicBezTo>
                    <a:pt x="375" y="237"/>
                    <a:pt x="369" y="243"/>
                    <a:pt x="372" y="246"/>
                  </a:cubicBezTo>
                  <a:cubicBezTo>
                    <a:pt x="378" y="249"/>
                    <a:pt x="381" y="249"/>
                    <a:pt x="378" y="243"/>
                  </a:cubicBezTo>
                  <a:cubicBezTo>
                    <a:pt x="375" y="237"/>
                    <a:pt x="390" y="243"/>
                    <a:pt x="387" y="249"/>
                  </a:cubicBezTo>
                  <a:cubicBezTo>
                    <a:pt x="381" y="252"/>
                    <a:pt x="393" y="255"/>
                    <a:pt x="402" y="255"/>
                  </a:cubicBezTo>
                  <a:cubicBezTo>
                    <a:pt x="408" y="258"/>
                    <a:pt x="429" y="261"/>
                    <a:pt x="429" y="255"/>
                  </a:cubicBezTo>
                  <a:cubicBezTo>
                    <a:pt x="429" y="252"/>
                    <a:pt x="423" y="249"/>
                    <a:pt x="414" y="243"/>
                  </a:cubicBezTo>
                  <a:cubicBezTo>
                    <a:pt x="408" y="234"/>
                    <a:pt x="402" y="222"/>
                    <a:pt x="411" y="219"/>
                  </a:cubicBezTo>
                  <a:cubicBezTo>
                    <a:pt x="420" y="213"/>
                    <a:pt x="411" y="210"/>
                    <a:pt x="420" y="204"/>
                  </a:cubicBezTo>
                  <a:cubicBezTo>
                    <a:pt x="429" y="201"/>
                    <a:pt x="423" y="195"/>
                    <a:pt x="429" y="195"/>
                  </a:cubicBezTo>
                  <a:cubicBezTo>
                    <a:pt x="435" y="192"/>
                    <a:pt x="429" y="186"/>
                    <a:pt x="435" y="186"/>
                  </a:cubicBezTo>
                  <a:cubicBezTo>
                    <a:pt x="441" y="186"/>
                    <a:pt x="444" y="177"/>
                    <a:pt x="444" y="174"/>
                  </a:cubicBezTo>
                  <a:cubicBezTo>
                    <a:pt x="441" y="171"/>
                    <a:pt x="450" y="174"/>
                    <a:pt x="453" y="171"/>
                  </a:cubicBezTo>
                  <a:cubicBezTo>
                    <a:pt x="456" y="168"/>
                    <a:pt x="465" y="171"/>
                    <a:pt x="468" y="165"/>
                  </a:cubicBezTo>
                  <a:cubicBezTo>
                    <a:pt x="471" y="159"/>
                    <a:pt x="509" y="147"/>
                    <a:pt x="530" y="141"/>
                  </a:cubicBezTo>
                  <a:cubicBezTo>
                    <a:pt x="551" y="135"/>
                    <a:pt x="566" y="126"/>
                    <a:pt x="560" y="120"/>
                  </a:cubicBezTo>
                  <a:cubicBezTo>
                    <a:pt x="551" y="114"/>
                    <a:pt x="530" y="123"/>
                    <a:pt x="524" y="126"/>
                  </a:cubicBezTo>
                  <a:cubicBezTo>
                    <a:pt x="518" y="132"/>
                    <a:pt x="512" y="129"/>
                    <a:pt x="506" y="132"/>
                  </a:cubicBezTo>
                  <a:cubicBezTo>
                    <a:pt x="500" y="135"/>
                    <a:pt x="488" y="138"/>
                    <a:pt x="485" y="135"/>
                  </a:cubicBezTo>
                  <a:cubicBezTo>
                    <a:pt x="479" y="129"/>
                    <a:pt x="471" y="138"/>
                    <a:pt x="468" y="138"/>
                  </a:cubicBezTo>
                  <a:cubicBezTo>
                    <a:pt x="465" y="138"/>
                    <a:pt x="459" y="141"/>
                    <a:pt x="453" y="141"/>
                  </a:cubicBezTo>
                  <a:cubicBezTo>
                    <a:pt x="450" y="141"/>
                    <a:pt x="441" y="144"/>
                    <a:pt x="438" y="147"/>
                  </a:cubicBezTo>
                  <a:cubicBezTo>
                    <a:pt x="438" y="150"/>
                    <a:pt x="432" y="150"/>
                    <a:pt x="432" y="153"/>
                  </a:cubicBezTo>
                  <a:cubicBezTo>
                    <a:pt x="432" y="156"/>
                    <a:pt x="423" y="159"/>
                    <a:pt x="420" y="156"/>
                  </a:cubicBezTo>
                  <a:cubicBezTo>
                    <a:pt x="417" y="153"/>
                    <a:pt x="414" y="159"/>
                    <a:pt x="417" y="165"/>
                  </a:cubicBezTo>
                  <a:cubicBezTo>
                    <a:pt x="423" y="168"/>
                    <a:pt x="411" y="168"/>
                    <a:pt x="411" y="171"/>
                  </a:cubicBezTo>
                  <a:cubicBezTo>
                    <a:pt x="414" y="174"/>
                    <a:pt x="408" y="177"/>
                    <a:pt x="408" y="180"/>
                  </a:cubicBezTo>
                  <a:cubicBezTo>
                    <a:pt x="411" y="183"/>
                    <a:pt x="405" y="183"/>
                    <a:pt x="399" y="183"/>
                  </a:cubicBezTo>
                  <a:cubicBezTo>
                    <a:pt x="393" y="186"/>
                    <a:pt x="390" y="192"/>
                    <a:pt x="399" y="192"/>
                  </a:cubicBezTo>
                  <a:cubicBezTo>
                    <a:pt x="405" y="192"/>
                    <a:pt x="393" y="192"/>
                    <a:pt x="396" y="198"/>
                  </a:cubicBezTo>
                  <a:cubicBezTo>
                    <a:pt x="396" y="204"/>
                    <a:pt x="384" y="201"/>
                    <a:pt x="384" y="204"/>
                  </a:cubicBezTo>
                  <a:close/>
                  <a:moveTo>
                    <a:pt x="429" y="30"/>
                  </a:moveTo>
                  <a:cubicBezTo>
                    <a:pt x="432" y="33"/>
                    <a:pt x="429" y="33"/>
                    <a:pt x="423" y="33"/>
                  </a:cubicBezTo>
                  <a:cubicBezTo>
                    <a:pt x="414" y="33"/>
                    <a:pt x="411" y="36"/>
                    <a:pt x="414" y="39"/>
                  </a:cubicBezTo>
                  <a:cubicBezTo>
                    <a:pt x="420" y="42"/>
                    <a:pt x="438" y="42"/>
                    <a:pt x="441" y="39"/>
                  </a:cubicBezTo>
                  <a:cubicBezTo>
                    <a:pt x="444" y="33"/>
                    <a:pt x="450" y="36"/>
                    <a:pt x="453" y="33"/>
                  </a:cubicBezTo>
                  <a:cubicBezTo>
                    <a:pt x="453" y="30"/>
                    <a:pt x="429" y="27"/>
                    <a:pt x="429" y="30"/>
                  </a:cubicBezTo>
                  <a:close/>
                  <a:moveTo>
                    <a:pt x="429" y="12"/>
                  </a:moveTo>
                  <a:cubicBezTo>
                    <a:pt x="438" y="12"/>
                    <a:pt x="435" y="6"/>
                    <a:pt x="441" y="9"/>
                  </a:cubicBezTo>
                  <a:cubicBezTo>
                    <a:pt x="444" y="9"/>
                    <a:pt x="453" y="9"/>
                    <a:pt x="450" y="6"/>
                  </a:cubicBezTo>
                  <a:cubicBezTo>
                    <a:pt x="447" y="0"/>
                    <a:pt x="426" y="3"/>
                    <a:pt x="429" y="6"/>
                  </a:cubicBezTo>
                  <a:cubicBezTo>
                    <a:pt x="432" y="9"/>
                    <a:pt x="414" y="6"/>
                    <a:pt x="414" y="9"/>
                  </a:cubicBezTo>
                  <a:cubicBezTo>
                    <a:pt x="414" y="9"/>
                    <a:pt x="420" y="12"/>
                    <a:pt x="429" y="12"/>
                  </a:cubicBezTo>
                  <a:close/>
                  <a:moveTo>
                    <a:pt x="485" y="24"/>
                  </a:moveTo>
                  <a:cubicBezTo>
                    <a:pt x="488" y="21"/>
                    <a:pt x="482" y="21"/>
                    <a:pt x="482" y="18"/>
                  </a:cubicBezTo>
                  <a:cubicBezTo>
                    <a:pt x="482" y="15"/>
                    <a:pt x="462" y="15"/>
                    <a:pt x="465" y="18"/>
                  </a:cubicBezTo>
                  <a:cubicBezTo>
                    <a:pt x="465" y="21"/>
                    <a:pt x="450" y="24"/>
                    <a:pt x="456" y="27"/>
                  </a:cubicBezTo>
                  <a:cubicBezTo>
                    <a:pt x="462" y="33"/>
                    <a:pt x="485" y="27"/>
                    <a:pt x="485" y="24"/>
                  </a:cubicBezTo>
                  <a:close/>
                  <a:moveTo>
                    <a:pt x="387" y="33"/>
                  </a:moveTo>
                  <a:cubicBezTo>
                    <a:pt x="387" y="30"/>
                    <a:pt x="369" y="36"/>
                    <a:pt x="372" y="36"/>
                  </a:cubicBezTo>
                  <a:cubicBezTo>
                    <a:pt x="375" y="36"/>
                    <a:pt x="387" y="39"/>
                    <a:pt x="387" y="33"/>
                  </a:cubicBezTo>
                  <a:close/>
                  <a:moveTo>
                    <a:pt x="435" y="18"/>
                  </a:moveTo>
                  <a:cubicBezTo>
                    <a:pt x="435" y="12"/>
                    <a:pt x="423" y="18"/>
                    <a:pt x="414" y="12"/>
                  </a:cubicBezTo>
                  <a:cubicBezTo>
                    <a:pt x="405" y="9"/>
                    <a:pt x="402" y="9"/>
                    <a:pt x="408" y="15"/>
                  </a:cubicBezTo>
                  <a:cubicBezTo>
                    <a:pt x="411" y="18"/>
                    <a:pt x="393" y="18"/>
                    <a:pt x="396" y="21"/>
                  </a:cubicBezTo>
                  <a:cubicBezTo>
                    <a:pt x="402" y="27"/>
                    <a:pt x="432" y="24"/>
                    <a:pt x="435" y="18"/>
                  </a:cubicBezTo>
                  <a:close/>
                </a:path>
              </a:pathLst>
            </a:custGeom>
            <a:grpFill/>
            <a:ln w="7938"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2" name="Freeform 957"/>
            <p:cNvSpPr>
              <a:spLocks noEditPoints="1"/>
            </p:cNvSpPr>
            <p:nvPr userDrawn="1"/>
          </p:nvSpPr>
          <p:spPr bwMode="auto">
            <a:xfrm>
              <a:off x="3821" y="-3070"/>
              <a:ext cx="2999" cy="1156"/>
            </a:xfrm>
            <a:custGeom>
              <a:avLst/>
              <a:gdLst>
                <a:gd name="T0" fmla="*/ 959 w 1924"/>
                <a:gd name="T1" fmla="*/ 78 h 741"/>
                <a:gd name="T2" fmla="*/ 896 w 1924"/>
                <a:gd name="T3" fmla="*/ 51 h 741"/>
                <a:gd name="T4" fmla="*/ 821 w 1924"/>
                <a:gd name="T5" fmla="*/ 30 h 741"/>
                <a:gd name="T6" fmla="*/ 1793 w 1924"/>
                <a:gd name="T7" fmla="*/ 255 h 741"/>
                <a:gd name="T8" fmla="*/ 1376 w 1924"/>
                <a:gd name="T9" fmla="*/ 153 h 741"/>
                <a:gd name="T10" fmla="*/ 1364 w 1924"/>
                <a:gd name="T11" fmla="*/ 183 h 741"/>
                <a:gd name="T12" fmla="*/ 1376 w 1924"/>
                <a:gd name="T13" fmla="*/ 600 h 741"/>
                <a:gd name="T14" fmla="*/ 1921 w 1924"/>
                <a:gd name="T15" fmla="*/ 348 h 741"/>
                <a:gd name="T16" fmla="*/ 1736 w 1924"/>
                <a:gd name="T17" fmla="*/ 276 h 741"/>
                <a:gd name="T18" fmla="*/ 1592 w 1924"/>
                <a:gd name="T19" fmla="*/ 282 h 741"/>
                <a:gd name="T20" fmla="*/ 1409 w 1924"/>
                <a:gd name="T21" fmla="*/ 234 h 741"/>
                <a:gd name="T22" fmla="*/ 1331 w 1924"/>
                <a:gd name="T23" fmla="*/ 240 h 741"/>
                <a:gd name="T24" fmla="*/ 1229 w 1924"/>
                <a:gd name="T25" fmla="*/ 222 h 741"/>
                <a:gd name="T26" fmla="*/ 1121 w 1924"/>
                <a:gd name="T27" fmla="*/ 207 h 741"/>
                <a:gd name="T28" fmla="*/ 962 w 1924"/>
                <a:gd name="T29" fmla="*/ 210 h 741"/>
                <a:gd name="T30" fmla="*/ 1040 w 1924"/>
                <a:gd name="T31" fmla="*/ 126 h 741"/>
                <a:gd name="T32" fmla="*/ 926 w 1924"/>
                <a:gd name="T33" fmla="*/ 102 h 741"/>
                <a:gd name="T34" fmla="*/ 824 w 1924"/>
                <a:gd name="T35" fmla="*/ 141 h 741"/>
                <a:gd name="T36" fmla="*/ 761 w 1924"/>
                <a:gd name="T37" fmla="*/ 180 h 741"/>
                <a:gd name="T38" fmla="*/ 662 w 1924"/>
                <a:gd name="T39" fmla="*/ 219 h 741"/>
                <a:gd name="T40" fmla="*/ 626 w 1924"/>
                <a:gd name="T41" fmla="*/ 228 h 741"/>
                <a:gd name="T42" fmla="*/ 650 w 1924"/>
                <a:gd name="T43" fmla="*/ 297 h 741"/>
                <a:gd name="T44" fmla="*/ 590 w 1924"/>
                <a:gd name="T45" fmla="*/ 333 h 741"/>
                <a:gd name="T46" fmla="*/ 593 w 1924"/>
                <a:gd name="T47" fmla="*/ 210 h 741"/>
                <a:gd name="T48" fmla="*/ 524 w 1924"/>
                <a:gd name="T49" fmla="*/ 288 h 741"/>
                <a:gd name="T50" fmla="*/ 429 w 1924"/>
                <a:gd name="T51" fmla="*/ 300 h 741"/>
                <a:gd name="T52" fmla="*/ 291 w 1924"/>
                <a:gd name="T53" fmla="*/ 324 h 741"/>
                <a:gd name="T54" fmla="*/ 258 w 1924"/>
                <a:gd name="T55" fmla="*/ 339 h 741"/>
                <a:gd name="T56" fmla="*/ 177 w 1924"/>
                <a:gd name="T57" fmla="*/ 378 h 741"/>
                <a:gd name="T58" fmla="*/ 237 w 1924"/>
                <a:gd name="T59" fmla="*/ 312 h 741"/>
                <a:gd name="T60" fmla="*/ 114 w 1924"/>
                <a:gd name="T61" fmla="*/ 282 h 741"/>
                <a:gd name="T62" fmla="*/ 123 w 1924"/>
                <a:gd name="T63" fmla="*/ 381 h 741"/>
                <a:gd name="T64" fmla="*/ 87 w 1924"/>
                <a:gd name="T65" fmla="*/ 483 h 741"/>
                <a:gd name="T66" fmla="*/ 147 w 1924"/>
                <a:gd name="T67" fmla="*/ 561 h 741"/>
                <a:gd name="T68" fmla="*/ 198 w 1924"/>
                <a:gd name="T69" fmla="*/ 609 h 741"/>
                <a:gd name="T70" fmla="*/ 210 w 1924"/>
                <a:gd name="T71" fmla="*/ 669 h 741"/>
                <a:gd name="T72" fmla="*/ 306 w 1924"/>
                <a:gd name="T73" fmla="*/ 732 h 741"/>
                <a:gd name="T74" fmla="*/ 306 w 1924"/>
                <a:gd name="T75" fmla="*/ 630 h 741"/>
                <a:gd name="T76" fmla="*/ 396 w 1924"/>
                <a:gd name="T77" fmla="*/ 603 h 741"/>
                <a:gd name="T78" fmla="*/ 471 w 1924"/>
                <a:gd name="T79" fmla="*/ 570 h 741"/>
                <a:gd name="T80" fmla="*/ 596 w 1924"/>
                <a:gd name="T81" fmla="*/ 552 h 741"/>
                <a:gd name="T82" fmla="*/ 710 w 1924"/>
                <a:gd name="T83" fmla="*/ 606 h 741"/>
                <a:gd name="T84" fmla="*/ 818 w 1924"/>
                <a:gd name="T85" fmla="*/ 606 h 741"/>
                <a:gd name="T86" fmla="*/ 920 w 1924"/>
                <a:gd name="T87" fmla="*/ 597 h 741"/>
                <a:gd name="T88" fmla="*/ 1067 w 1924"/>
                <a:gd name="T89" fmla="*/ 615 h 741"/>
                <a:gd name="T90" fmla="*/ 1190 w 1924"/>
                <a:gd name="T91" fmla="*/ 579 h 741"/>
                <a:gd name="T92" fmla="*/ 1274 w 1924"/>
                <a:gd name="T93" fmla="*/ 678 h 741"/>
                <a:gd name="T94" fmla="*/ 1358 w 1924"/>
                <a:gd name="T95" fmla="*/ 597 h 741"/>
                <a:gd name="T96" fmla="*/ 1313 w 1924"/>
                <a:gd name="T97" fmla="*/ 546 h 741"/>
                <a:gd name="T98" fmla="*/ 1469 w 1924"/>
                <a:gd name="T99" fmla="*/ 465 h 741"/>
                <a:gd name="T100" fmla="*/ 1574 w 1924"/>
                <a:gd name="T101" fmla="*/ 429 h 741"/>
                <a:gd name="T102" fmla="*/ 1592 w 1924"/>
                <a:gd name="T103" fmla="*/ 462 h 741"/>
                <a:gd name="T104" fmla="*/ 1586 w 1924"/>
                <a:gd name="T105" fmla="*/ 549 h 741"/>
                <a:gd name="T106" fmla="*/ 1649 w 1924"/>
                <a:gd name="T107" fmla="*/ 459 h 741"/>
                <a:gd name="T108" fmla="*/ 1784 w 1924"/>
                <a:gd name="T109" fmla="*/ 384 h 741"/>
                <a:gd name="T110" fmla="*/ 1838 w 1924"/>
                <a:gd name="T111" fmla="*/ 360 h 741"/>
                <a:gd name="T112" fmla="*/ 1915 w 1924"/>
                <a:gd name="T113" fmla="*/ 360 h 741"/>
                <a:gd name="T114" fmla="*/ 324 w 1924"/>
                <a:gd name="T115" fmla="*/ 30 h 741"/>
                <a:gd name="T116" fmla="*/ 387 w 1924"/>
                <a:gd name="T117" fmla="*/ 249 h 741"/>
                <a:gd name="T118" fmla="*/ 485 w 1924"/>
                <a:gd name="T119" fmla="*/ 135 h 741"/>
                <a:gd name="T120" fmla="*/ 414 w 1924"/>
                <a:gd name="T121" fmla="*/ 39 h 741"/>
                <a:gd name="T122" fmla="*/ 387 w 1924"/>
                <a:gd name="T123" fmla="*/ 3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4" h="741">
                  <a:moveTo>
                    <a:pt x="30" y="534"/>
                  </a:moveTo>
                  <a:cubicBezTo>
                    <a:pt x="27" y="537"/>
                    <a:pt x="24" y="534"/>
                    <a:pt x="24" y="534"/>
                  </a:cubicBezTo>
                  <a:cubicBezTo>
                    <a:pt x="21" y="531"/>
                    <a:pt x="18" y="531"/>
                    <a:pt x="15" y="531"/>
                  </a:cubicBezTo>
                  <a:cubicBezTo>
                    <a:pt x="15" y="534"/>
                    <a:pt x="18" y="534"/>
                    <a:pt x="18" y="534"/>
                  </a:cubicBezTo>
                  <a:cubicBezTo>
                    <a:pt x="18" y="537"/>
                    <a:pt x="12" y="537"/>
                    <a:pt x="15" y="540"/>
                  </a:cubicBezTo>
                  <a:cubicBezTo>
                    <a:pt x="15" y="543"/>
                    <a:pt x="9" y="543"/>
                    <a:pt x="9" y="540"/>
                  </a:cubicBezTo>
                  <a:cubicBezTo>
                    <a:pt x="9" y="537"/>
                    <a:pt x="0" y="537"/>
                    <a:pt x="0" y="540"/>
                  </a:cubicBezTo>
                  <a:cubicBezTo>
                    <a:pt x="0" y="543"/>
                    <a:pt x="0" y="543"/>
                    <a:pt x="0" y="543"/>
                  </a:cubicBezTo>
                  <a:cubicBezTo>
                    <a:pt x="3" y="543"/>
                    <a:pt x="6" y="546"/>
                    <a:pt x="6" y="546"/>
                  </a:cubicBezTo>
                  <a:cubicBezTo>
                    <a:pt x="6" y="546"/>
                    <a:pt x="27" y="549"/>
                    <a:pt x="36" y="546"/>
                  </a:cubicBezTo>
                  <a:cubicBezTo>
                    <a:pt x="36" y="540"/>
                    <a:pt x="36" y="540"/>
                    <a:pt x="36" y="540"/>
                  </a:cubicBezTo>
                  <a:cubicBezTo>
                    <a:pt x="36" y="537"/>
                    <a:pt x="30" y="534"/>
                    <a:pt x="30" y="534"/>
                  </a:cubicBezTo>
                  <a:close/>
                  <a:moveTo>
                    <a:pt x="890" y="93"/>
                  </a:moveTo>
                  <a:cubicBezTo>
                    <a:pt x="896" y="96"/>
                    <a:pt x="911" y="90"/>
                    <a:pt x="920" y="90"/>
                  </a:cubicBezTo>
                  <a:cubicBezTo>
                    <a:pt x="929" y="90"/>
                    <a:pt x="959" y="84"/>
                    <a:pt x="959" y="78"/>
                  </a:cubicBezTo>
                  <a:cubicBezTo>
                    <a:pt x="959" y="72"/>
                    <a:pt x="950" y="72"/>
                    <a:pt x="944" y="69"/>
                  </a:cubicBezTo>
                  <a:cubicBezTo>
                    <a:pt x="941" y="63"/>
                    <a:pt x="932" y="66"/>
                    <a:pt x="929" y="72"/>
                  </a:cubicBezTo>
                  <a:cubicBezTo>
                    <a:pt x="926" y="75"/>
                    <a:pt x="923" y="72"/>
                    <a:pt x="929" y="66"/>
                  </a:cubicBezTo>
                  <a:cubicBezTo>
                    <a:pt x="935" y="60"/>
                    <a:pt x="923" y="54"/>
                    <a:pt x="923" y="57"/>
                  </a:cubicBezTo>
                  <a:cubicBezTo>
                    <a:pt x="923" y="63"/>
                    <a:pt x="911" y="57"/>
                    <a:pt x="911" y="63"/>
                  </a:cubicBezTo>
                  <a:cubicBezTo>
                    <a:pt x="911" y="66"/>
                    <a:pt x="908" y="66"/>
                    <a:pt x="908" y="72"/>
                  </a:cubicBezTo>
                  <a:cubicBezTo>
                    <a:pt x="908" y="75"/>
                    <a:pt x="899" y="69"/>
                    <a:pt x="899" y="78"/>
                  </a:cubicBezTo>
                  <a:cubicBezTo>
                    <a:pt x="899" y="87"/>
                    <a:pt x="887" y="90"/>
                    <a:pt x="890" y="93"/>
                  </a:cubicBezTo>
                  <a:close/>
                  <a:moveTo>
                    <a:pt x="839" y="45"/>
                  </a:moveTo>
                  <a:cubicBezTo>
                    <a:pt x="839" y="51"/>
                    <a:pt x="827" y="54"/>
                    <a:pt x="830" y="57"/>
                  </a:cubicBezTo>
                  <a:cubicBezTo>
                    <a:pt x="833" y="60"/>
                    <a:pt x="836" y="57"/>
                    <a:pt x="839" y="60"/>
                  </a:cubicBezTo>
                  <a:cubicBezTo>
                    <a:pt x="842" y="60"/>
                    <a:pt x="845" y="69"/>
                    <a:pt x="851" y="66"/>
                  </a:cubicBezTo>
                  <a:cubicBezTo>
                    <a:pt x="857" y="66"/>
                    <a:pt x="872" y="72"/>
                    <a:pt x="884" y="72"/>
                  </a:cubicBezTo>
                  <a:cubicBezTo>
                    <a:pt x="893" y="72"/>
                    <a:pt x="893" y="66"/>
                    <a:pt x="890" y="66"/>
                  </a:cubicBezTo>
                  <a:cubicBezTo>
                    <a:pt x="887" y="63"/>
                    <a:pt x="890" y="60"/>
                    <a:pt x="896" y="51"/>
                  </a:cubicBezTo>
                  <a:cubicBezTo>
                    <a:pt x="902" y="45"/>
                    <a:pt x="878" y="39"/>
                    <a:pt x="878" y="45"/>
                  </a:cubicBezTo>
                  <a:cubicBezTo>
                    <a:pt x="878" y="51"/>
                    <a:pt x="872" y="42"/>
                    <a:pt x="869" y="39"/>
                  </a:cubicBezTo>
                  <a:cubicBezTo>
                    <a:pt x="869" y="36"/>
                    <a:pt x="839" y="42"/>
                    <a:pt x="839" y="45"/>
                  </a:cubicBezTo>
                  <a:close/>
                  <a:moveTo>
                    <a:pt x="821" y="36"/>
                  </a:moveTo>
                  <a:cubicBezTo>
                    <a:pt x="827" y="39"/>
                    <a:pt x="824" y="42"/>
                    <a:pt x="818" y="42"/>
                  </a:cubicBezTo>
                  <a:cubicBezTo>
                    <a:pt x="812" y="42"/>
                    <a:pt x="806" y="42"/>
                    <a:pt x="812" y="45"/>
                  </a:cubicBezTo>
                  <a:cubicBezTo>
                    <a:pt x="815" y="48"/>
                    <a:pt x="815" y="51"/>
                    <a:pt x="821" y="51"/>
                  </a:cubicBezTo>
                  <a:cubicBezTo>
                    <a:pt x="827" y="54"/>
                    <a:pt x="836" y="48"/>
                    <a:pt x="833" y="45"/>
                  </a:cubicBezTo>
                  <a:cubicBezTo>
                    <a:pt x="833" y="39"/>
                    <a:pt x="857" y="36"/>
                    <a:pt x="866" y="36"/>
                  </a:cubicBezTo>
                  <a:cubicBezTo>
                    <a:pt x="872" y="33"/>
                    <a:pt x="860" y="27"/>
                    <a:pt x="869" y="24"/>
                  </a:cubicBezTo>
                  <a:cubicBezTo>
                    <a:pt x="875" y="24"/>
                    <a:pt x="872" y="21"/>
                    <a:pt x="863" y="21"/>
                  </a:cubicBezTo>
                  <a:cubicBezTo>
                    <a:pt x="854" y="18"/>
                    <a:pt x="857" y="12"/>
                    <a:pt x="854" y="9"/>
                  </a:cubicBezTo>
                  <a:cubicBezTo>
                    <a:pt x="851" y="6"/>
                    <a:pt x="851" y="12"/>
                    <a:pt x="839" y="15"/>
                  </a:cubicBezTo>
                  <a:cubicBezTo>
                    <a:pt x="827" y="15"/>
                    <a:pt x="821" y="18"/>
                    <a:pt x="827" y="21"/>
                  </a:cubicBezTo>
                  <a:cubicBezTo>
                    <a:pt x="830" y="24"/>
                    <a:pt x="827" y="30"/>
                    <a:pt x="821" y="30"/>
                  </a:cubicBezTo>
                  <a:cubicBezTo>
                    <a:pt x="815" y="30"/>
                    <a:pt x="815" y="33"/>
                    <a:pt x="821" y="36"/>
                  </a:cubicBezTo>
                  <a:close/>
                  <a:moveTo>
                    <a:pt x="671" y="213"/>
                  </a:moveTo>
                  <a:cubicBezTo>
                    <a:pt x="677" y="216"/>
                    <a:pt x="683" y="213"/>
                    <a:pt x="680" y="210"/>
                  </a:cubicBezTo>
                  <a:cubicBezTo>
                    <a:pt x="680" y="204"/>
                    <a:pt x="668" y="210"/>
                    <a:pt x="671" y="213"/>
                  </a:cubicBezTo>
                  <a:close/>
                  <a:moveTo>
                    <a:pt x="812" y="12"/>
                  </a:moveTo>
                  <a:cubicBezTo>
                    <a:pt x="815" y="9"/>
                    <a:pt x="791" y="9"/>
                    <a:pt x="797" y="15"/>
                  </a:cubicBezTo>
                  <a:cubicBezTo>
                    <a:pt x="800" y="18"/>
                    <a:pt x="812" y="18"/>
                    <a:pt x="812" y="12"/>
                  </a:cubicBezTo>
                  <a:close/>
                  <a:moveTo>
                    <a:pt x="1421" y="162"/>
                  </a:moveTo>
                  <a:cubicBezTo>
                    <a:pt x="1430" y="162"/>
                    <a:pt x="1433" y="171"/>
                    <a:pt x="1448" y="171"/>
                  </a:cubicBezTo>
                  <a:cubicBezTo>
                    <a:pt x="1463" y="171"/>
                    <a:pt x="1475" y="168"/>
                    <a:pt x="1475" y="165"/>
                  </a:cubicBezTo>
                  <a:cubicBezTo>
                    <a:pt x="1475" y="162"/>
                    <a:pt x="1463" y="156"/>
                    <a:pt x="1457" y="159"/>
                  </a:cubicBezTo>
                  <a:cubicBezTo>
                    <a:pt x="1454" y="162"/>
                    <a:pt x="1451" y="156"/>
                    <a:pt x="1445" y="156"/>
                  </a:cubicBezTo>
                  <a:cubicBezTo>
                    <a:pt x="1439" y="159"/>
                    <a:pt x="1433" y="159"/>
                    <a:pt x="1430" y="153"/>
                  </a:cubicBezTo>
                  <a:cubicBezTo>
                    <a:pt x="1427" y="150"/>
                    <a:pt x="1418" y="162"/>
                    <a:pt x="1421" y="162"/>
                  </a:cubicBezTo>
                  <a:close/>
                  <a:moveTo>
                    <a:pt x="1793" y="255"/>
                  </a:moveTo>
                  <a:cubicBezTo>
                    <a:pt x="1799" y="258"/>
                    <a:pt x="1805" y="252"/>
                    <a:pt x="1811" y="255"/>
                  </a:cubicBezTo>
                  <a:cubicBezTo>
                    <a:pt x="1814" y="258"/>
                    <a:pt x="1829" y="252"/>
                    <a:pt x="1832" y="252"/>
                  </a:cubicBezTo>
                  <a:cubicBezTo>
                    <a:pt x="1838" y="252"/>
                    <a:pt x="1835" y="243"/>
                    <a:pt x="1820" y="243"/>
                  </a:cubicBezTo>
                  <a:cubicBezTo>
                    <a:pt x="1805" y="240"/>
                    <a:pt x="1787" y="252"/>
                    <a:pt x="1793" y="255"/>
                  </a:cubicBezTo>
                  <a:close/>
                  <a:moveTo>
                    <a:pt x="512" y="21"/>
                  </a:moveTo>
                  <a:cubicBezTo>
                    <a:pt x="524" y="21"/>
                    <a:pt x="524" y="15"/>
                    <a:pt x="515" y="12"/>
                  </a:cubicBezTo>
                  <a:cubicBezTo>
                    <a:pt x="509" y="12"/>
                    <a:pt x="509" y="15"/>
                    <a:pt x="506" y="15"/>
                  </a:cubicBezTo>
                  <a:cubicBezTo>
                    <a:pt x="503" y="15"/>
                    <a:pt x="488" y="18"/>
                    <a:pt x="491" y="21"/>
                  </a:cubicBezTo>
                  <a:cubicBezTo>
                    <a:pt x="494" y="24"/>
                    <a:pt x="503" y="24"/>
                    <a:pt x="512" y="21"/>
                  </a:cubicBezTo>
                  <a:close/>
                  <a:moveTo>
                    <a:pt x="1322" y="162"/>
                  </a:moveTo>
                  <a:cubicBezTo>
                    <a:pt x="1325" y="165"/>
                    <a:pt x="1328" y="168"/>
                    <a:pt x="1331" y="168"/>
                  </a:cubicBezTo>
                  <a:cubicBezTo>
                    <a:pt x="1331" y="171"/>
                    <a:pt x="1343" y="168"/>
                    <a:pt x="1346" y="168"/>
                  </a:cubicBezTo>
                  <a:cubicBezTo>
                    <a:pt x="1349" y="165"/>
                    <a:pt x="1352" y="174"/>
                    <a:pt x="1358" y="168"/>
                  </a:cubicBezTo>
                  <a:cubicBezTo>
                    <a:pt x="1364" y="165"/>
                    <a:pt x="1370" y="168"/>
                    <a:pt x="1376" y="168"/>
                  </a:cubicBezTo>
                  <a:cubicBezTo>
                    <a:pt x="1385" y="168"/>
                    <a:pt x="1376" y="159"/>
                    <a:pt x="1376" y="153"/>
                  </a:cubicBezTo>
                  <a:cubicBezTo>
                    <a:pt x="1376" y="150"/>
                    <a:pt x="1385" y="153"/>
                    <a:pt x="1382" y="156"/>
                  </a:cubicBezTo>
                  <a:cubicBezTo>
                    <a:pt x="1379" y="159"/>
                    <a:pt x="1385" y="168"/>
                    <a:pt x="1397" y="165"/>
                  </a:cubicBezTo>
                  <a:cubicBezTo>
                    <a:pt x="1406" y="165"/>
                    <a:pt x="1400" y="159"/>
                    <a:pt x="1406" y="156"/>
                  </a:cubicBezTo>
                  <a:cubicBezTo>
                    <a:pt x="1409" y="153"/>
                    <a:pt x="1409" y="150"/>
                    <a:pt x="1403" y="147"/>
                  </a:cubicBezTo>
                  <a:cubicBezTo>
                    <a:pt x="1394" y="141"/>
                    <a:pt x="1385" y="144"/>
                    <a:pt x="1376" y="141"/>
                  </a:cubicBezTo>
                  <a:cubicBezTo>
                    <a:pt x="1370" y="138"/>
                    <a:pt x="1361" y="138"/>
                    <a:pt x="1361" y="147"/>
                  </a:cubicBezTo>
                  <a:cubicBezTo>
                    <a:pt x="1361" y="153"/>
                    <a:pt x="1346" y="138"/>
                    <a:pt x="1340" y="135"/>
                  </a:cubicBezTo>
                  <a:cubicBezTo>
                    <a:pt x="1331" y="132"/>
                    <a:pt x="1310" y="156"/>
                    <a:pt x="1322" y="162"/>
                  </a:cubicBezTo>
                  <a:close/>
                  <a:moveTo>
                    <a:pt x="1391" y="204"/>
                  </a:moveTo>
                  <a:cubicBezTo>
                    <a:pt x="1397" y="204"/>
                    <a:pt x="1385" y="192"/>
                    <a:pt x="1376" y="192"/>
                  </a:cubicBezTo>
                  <a:cubicBezTo>
                    <a:pt x="1364" y="189"/>
                    <a:pt x="1355" y="198"/>
                    <a:pt x="1358" y="198"/>
                  </a:cubicBezTo>
                  <a:cubicBezTo>
                    <a:pt x="1361" y="204"/>
                    <a:pt x="1385" y="207"/>
                    <a:pt x="1391" y="204"/>
                  </a:cubicBezTo>
                  <a:close/>
                  <a:moveTo>
                    <a:pt x="1364" y="183"/>
                  </a:moveTo>
                  <a:cubicBezTo>
                    <a:pt x="1364" y="177"/>
                    <a:pt x="1346" y="183"/>
                    <a:pt x="1352" y="186"/>
                  </a:cubicBezTo>
                  <a:cubicBezTo>
                    <a:pt x="1358" y="189"/>
                    <a:pt x="1364" y="189"/>
                    <a:pt x="1364" y="183"/>
                  </a:cubicBezTo>
                  <a:close/>
                  <a:moveTo>
                    <a:pt x="575" y="207"/>
                  </a:moveTo>
                  <a:cubicBezTo>
                    <a:pt x="578" y="207"/>
                    <a:pt x="590" y="207"/>
                    <a:pt x="593" y="204"/>
                  </a:cubicBezTo>
                  <a:cubicBezTo>
                    <a:pt x="593" y="201"/>
                    <a:pt x="587" y="198"/>
                    <a:pt x="581" y="198"/>
                  </a:cubicBezTo>
                  <a:cubicBezTo>
                    <a:pt x="572" y="198"/>
                    <a:pt x="572" y="207"/>
                    <a:pt x="575" y="207"/>
                  </a:cubicBezTo>
                  <a:close/>
                  <a:moveTo>
                    <a:pt x="309" y="27"/>
                  </a:moveTo>
                  <a:cubicBezTo>
                    <a:pt x="318" y="18"/>
                    <a:pt x="327" y="27"/>
                    <a:pt x="327" y="24"/>
                  </a:cubicBezTo>
                  <a:cubicBezTo>
                    <a:pt x="330" y="18"/>
                    <a:pt x="315" y="18"/>
                    <a:pt x="309" y="21"/>
                  </a:cubicBezTo>
                  <a:cubicBezTo>
                    <a:pt x="303" y="24"/>
                    <a:pt x="288" y="21"/>
                    <a:pt x="291" y="27"/>
                  </a:cubicBezTo>
                  <a:cubicBezTo>
                    <a:pt x="291" y="27"/>
                    <a:pt x="300" y="33"/>
                    <a:pt x="309" y="27"/>
                  </a:cubicBezTo>
                  <a:close/>
                  <a:moveTo>
                    <a:pt x="1388" y="591"/>
                  </a:moveTo>
                  <a:cubicBezTo>
                    <a:pt x="1385" y="579"/>
                    <a:pt x="1394" y="570"/>
                    <a:pt x="1385" y="567"/>
                  </a:cubicBezTo>
                  <a:cubicBezTo>
                    <a:pt x="1379" y="561"/>
                    <a:pt x="1382" y="549"/>
                    <a:pt x="1379" y="552"/>
                  </a:cubicBezTo>
                  <a:cubicBezTo>
                    <a:pt x="1376" y="555"/>
                    <a:pt x="1379" y="564"/>
                    <a:pt x="1373" y="564"/>
                  </a:cubicBezTo>
                  <a:cubicBezTo>
                    <a:pt x="1367" y="564"/>
                    <a:pt x="1373" y="570"/>
                    <a:pt x="1370" y="576"/>
                  </a:cubicBezTo>
                  <a:cubicBezTo>
                    <a:pt x="1370" y="582"/>
                    <a:pt x="1373" y="594"/>
                    <a:pt x="1376" y="600"/>
                  </a:cubicBezTo>
                  <a:cubicBezTo>
                    <a:pt x="1379" y="606"/>
                    <a:pt x="1370" y="636"/>
                    <a:pt x="1373" y="642"/>
                  </a:cubicBezTo>
                  <a:cubicBezTo>
                    <a:pt x="1376" y="648"/>
                    <a:pt x="1370" y="672"/>
                    <a:pt x="1373" y="675"/>
                  </a:cubicBezTo>
                  <a:cubicBezTo>
                    <a:pt x="1376" y="678"/>
                    <a:pt x="1373" y="666"/>
                    <a:pt x="1379" y="666"/>
                  </a:cubicBezTo>
                  <a:cubicBezTo>
                    <a:pt x="1385" y="666"/>
                    <a:pt x="1385" y="672"/>
                    <a:pt x="1388" y="675"/>
                  </a:cubicBezTo>
                  <a:cubicBezTo>
                    <a:pt x="1394" y="675"/>
                    <a:pt x="1391" y="663"/>
                    <a:pt x="1388" y="666"/>
                  </a:cubicBezTo>
                  <a:cubicBezTo>
                    <a:pt x="1385" y="666"/>
                    <a:pt x="1382" y="657"/>
                    <a:pt x="1379" y="651"/>
                  </a:cubicBezTo>
                  <a:cubicBezTo>
                    <a:pt x="1379" y="645"/>
                    <a:pt x="1382" y="639"/>
                    <a:pt x="1382" y="633"/>
                  </a:cubicBezTo>
                  <a:cubicBezTo>
                    <a:pt x="1382" y="627"/>
                    <a:pt x="1391" y="627"/>
                    <a:pt x="1397" y="633"/>
                  </a:cubicBezTo>
                  <a:cubicBezTo>
                    <a:pt x="1400" y="636"/>
                    <a:pt x="1403" y="633"/>
                    <a:pt x="1400" y="630"/>
                  </a:cubicBezTo>
                  <a:cubicBezTo>
                    <a:pt x="1397" y="627"/>
                    <a:pt x="1391" y="600"/>
                    <a:pt x="1388" y="591"/>
                  </a:cubicBezTo>
                  <a:close/>
                  <a:moveTo>
                    <a:pt x="327" y="294"/>
                  </a:moveTo>
                  <a:cubicBezTo>
                    <a:pt x="336" y="300"/>
                    <a:pt x="342" y="288"/>
                    <a:pt x="348" y="288"/>
                  </a:cubicBezTo>
                  <a:cubicBezTo>
                    <a:pt x="351" y="288"/>
                    <a:pt x="345" y="282"/>
                    <a:pt x="336" y="282"/>
                  </a:cubicBezTo>
                  <a:cubicBezTo>
                    <a:pt x="330" y="279"/>
                    <a:pt x="318" y="285"/>
                    <a:pt x="327" y="294"/>
                  </a:cubicBezTo>
                  <a:close/>
                  <a:moveTo>
                    <a:pt x="1921" y="348"/>
                  </a:moveTo>
                  <a:cubicBezTo>
                    <a:pt x="1918" y="348"/>
                    <a:pt x="1906" y="342"/>
                    <a:pt x="1903" y="339"/>
                  </a:cubicBezTo>
                  <a:cubicBezTo>
                    <a:pt x="1903" y="333"/>
                    <a:pt x="1888" y="333"/>
                    <a:pt x="1888" y="333"/>
                  </a:cubicBezTo>
                  <a:cubicBezTo>
                    <a:pt x="1888" y="336"/>
                    <a:pt x="1885" y="333"/>
                    <a:pt x="1885" y="330"/>
                  </a:cubicBezTo>
                  <a:cubicBezTo>
                    <a:pt x="1882" y="330"/>
                    <a:pt x="1870" y="330"/>
                    <a:pt x="1870" y="330"/>
                  </a:cubicBezTo>
                  <a:cubicBezTo>
                    <a:pt x="1870" y="333"/>
                    <a:pt x="1873" y="333"/>
                    <a:pt x="1873" y="336"/>
                  </a:cubicBezTo>
                  <a:cubicBezTo>
                    <a:pt x="1876" y="339"/>
                    <a:pt x="1870" y="339"/>
                    <a:pt x="1873" y="342"/>
                  </a:cubicBezTo>
                  <a:cubicBezTo>
                    <a:pt x="1873" y="345"/>
                    <a:pt x="1867" y="342"/>
                    <a:pt x="1864" y="339"/>
                  </a:cubicBezTo>
                  <a:cubicBezTo>
                    <a:pt x="1864" y="339"/>
                    <a:pt x="1864" y="333"/>
                    <a:pt x="1864" y="330"/>
                  </a:cubicBezTo>
                  <a:cubicBezTo>
                    <a:pt x="1864" y="324"/>
                    <a:pt x="1861" y="327"/>
                    <a:pt x="1861" y="324"/>
                  </a:cubicBezTo>
                  <a:cubicBezTo>
                    <a:pt x="1861" y="318"/>
                    <a:pt x="1847" y="312"/>
                    <a:pt x="1841" y="309"/>
                  </a:cubicBezTo>
                  <a:cubicBezTo>
                    <a:pt x="1832" y="306"/>
                    <a:pt x="1826" y="306"/>
                    <a:pt x="1823" y="303"/>
                  </a:cubicBezTo>
                  <a:cubicBezTo>
                    <a:pt x="1820" y="297"/>
                    <a:pt x="1808" y="297"/>
                    <a:pt x="1805" y="294"/>
                  </a:cubicBezTo>
                  <a:cubicBezTo>
                    <a:pt x="1802" y="288"/>
                    <a:pt x="1781" y="282"/>
                    <a:pt x="1775" y="279"/>
                  </a:cubicBezTo>
                  <a:cubicBezTo>
                    <a:pt x="1766" y="279"/>
                    <a:pt x="1766" y="276"/>
                    <a:pt x="1763" y="276"/>
                  </a:cubicBezTo>
                  <a:cubicBezTo>
                    <a:pt x="1760" y="276"/>
                    <a:pt x="1742" y="276"/>
                    <a:pt x="1736" y="276"/>
                  </a:cubicBezTo>
                  <a:cubicBezTo>
                    <a:pt x="1730" y="273"/>
                    <a:pt x="1730" y="279"/>
                    <a:pt x="1727" y="276"/>
                  </a:cubicBezTo>
                  <a:cubicBezTo>
                    <a:pt x="1724" y="276"/>
                    <a:pt x="1703" y="267"/>
                    <a:pt x="1700" y="270"/>
                  </a:cubicBezTo>
                  <a:cubicBezTo>
                    <a:pt x="1697" y="273"/>
                    <a:pt x="1700" y="276"/>
                    <a:pt x="1697" y="279"/>
                  </a:cubicBezTo>
                  <a:cubicBezTo>
                    <a:pt x="1694" y="279"/>
                    <a:pt x="1697" y="282"/>
                    <a:pt x="1703" y="288"/>
                  </a:cubicBezTo>
                  <a:cubicBezTo>
                    <a:pt x="1709" y="291"/>
                    <a:pt x="1703" y="297"/>
                    <a:pt x="1700" y="297"/>
                  </a:cubicBezTo>
                  <a:cubicBezTo>
                    <a:pt x="1694" y="300"/>
                    <a:pt x="1685" y="297"/>
                    <a:pt x="1685" y="291"/>
                  </a:cubicBezTo>
                  <a:cubicBezTo>
                    <a:pt x="1682" y="288"/>
                    <a:pt x="1676" y="291"/>
                    <a:pt x="1673" y="285"/>
                  </a:cubicBezTo>
                  <a:cubicBezTo>
                    <a:pt x="1670" y="279"/>
                    <a:pt x="1676" y="279"/>
                    <a:pt x="1679" y="282"/>
                  </a:cubicBezTo>
                  <a:cubicBezTo>
                    <a:pt x="1682" y="285"/>
                    <a:pt x="1685" y="282"/>
                    <a:pt x="1688" y="279"/>
                  </a:cubicBezTo>
                  <a:cubicBezTo>
                    <a:pt x="1688" y="276"/>
                    <a:pt x="1679" y="273"/>
                    <a:pt x="1673" y="273"/>
                  </a:cubicBezTo>
                  <a:cubicBezTo>
                    <a:pt x="1667" y="273"/>
                    <a:pt x="1664" y="279"/>
                    <a:pt x="1658" y="282"/>
                  </a:cubicBezTo>
                  <a:cubicBezTo>
                    <a:pt x="1655" y="285"/>
                    <a:pt x="1634" y="282"/>
                    <a:pt x="1631" y="279"/>
                  </a:cubicBezTo>
                  <a:cubicBezTo>
                    <a:pt x="1628" y="279"/>
                    <a:pt x="1601" y="279"/>
                    <a:pt x="1598" y="282"/>
                  </a:cubicBezTo>
                  <a:cubicBezTo>
                    <a:pt x="1595" y="285"/>
                    <a:pt x="1595" y="291"/>
                    <a:pt x="1595" y="294"/>
                  </a:cubicBezTo>
                  <a:cubicBezTo>
                    <a:pt x="1592" y="294"/>
                    <a:pt x="1592" y="285"/>
                    <a:pt x="1592" y="282"/>
                  </a:cubicBezTo>
                  <a:cubicBezTo>
                    <a:pt x="1592" y="279"/>
                    <a:pt x="1589" y="279"/>
                    <a:pt x="1583" y="279"/>
                  </a:cubicBezTo>
                  <a:cubicBezTo>
                    <a:pt x="1577" y="279"/>
                    <a:pt x="1574" y="279"/>
                    <a:pt x="1577" y="276"/>
                  </a:cubicBezTo>
                  <a:cubicBezTo>
                    <a:pt x="1580" y="273"/>
                    <a:pt x="1574" y="273"/>
                    <a:pt x="1580" y="270"/>
                  </a:cubicBezTo>
                  <a:cubicBezTo>
                    <a:pt x="1583" y="267"/>
                    <a:pt x="1571" y="258"/>
                    <a:pt x="1562" y="252"/>
                  </a:cubicBezTo>
                  <a:cubicBezTo>
                    <a:pt x="1550" y="249"/>
                    <a:pt x="1526" y="252"/>
                    <a:pt x="1517" y="252"/>
                  </a:cubicBezTo>
                  <a:cubicBezTo>
                    <a:pt x="1511" y="255"/>
                    <a:pt x="1499" y="255"/>
                    <a:pt x="1493" y="255"/>
                  </a:cubicBezTo>
                  <a:cubicBezTo>
                    <a:pt x="1484" y="255"/>
                    <a:pt x="1490" y="252"/>
                    <a:pt x="1490" y="249"/>
                  </a:cubicBezTo>
                  <a:cubicBezTo>
                    <a:pt x="1487" y="246"/>
                    <a:pt x="1475" y="243"/>
                    <a:pt x="1475" y="246"/>
                  </a:cubicBezTo>
                  <a:cubicBezTo>
                    <a:pt x="1472" y="249"/>
                    <a:pt x="1469" y="246"/>
                    <a:pt x="1469" y="243"/>
                  </a:cubicBezTo>
                  <a:cubicBezTo>
                    <a:pt x="1469" y="243"/>
                    <a:pt x="1460" y="237"/>
                    <a:pt x="1457" y="240"/>
                  </a:cubicBezTo>
                  <a:cubicBezTo>
                    <a:pt x="1451" y="240"/>
                    <a:pt x="1451" y="234"/>
                    <a:pt x="1454" y="234"/>
                  </a:cubicBezTo>
                  <a:cubicBezTo>
                    <a:pt x="1460" y="234"/>
                    <a:pt x="1466" y="237"/>
                    <a:pt x="1463" y="231"/>
                  </a:cubicBezTo>
                  <a:cubicBezTo>
                    <a:pt x="1460" y="225"/>
                    <a:pt x="1430" y="225"/>
                    <a:pt x="1427" y="225"/>
                  </a:cubicBezTo>
                  <a:cubicBezTo>
                    <a:pt x="1424" y="225"/>
                    <a:pt x="1427" y="231"/>
                    <a:pt x="1421" y="237"/>
                  </a:cubicBezTo>
                  <a:cubicBezTo>
                    <a:pt x="1415" y="243"/>
                    <a:pt x="1409" y="237"/>
                    <a:pt x="1409" y="234"/>
                  </a:cubicBezTo>
                  <a:cubicBezTo>
                    <a:pt x="1409" y="231"/>
                    <a:pt x="1418" y="231"/>
                    <a:pt x="1418" y="228"/>
                  </a:cubicBezTo>
                  <a:cubicBezTo>
                    <a:pt x="1418" y="225"/>
                    <a:pt x="1406" y="228"/>
                    <a:pt x="1406" y="225"/>
                  </a:cubicBezTo>
                  <a:cubicBezTo>
                    <a:pt x="1403" y="222"/>
                    <a:pt x="1406" y="222"/>
                    <a:pt x="1412" y="222"/>
                  </a:cubicBezTo>
                  <a:cubicBezTo>
                    <a:pt x="1415" y="225"/>
                    <a:pt x="1421" y="225"/>
                    <a:pt x="1424" y="222"/>
                  </a:cubicBezTo>
                  <a:cubicBezTo>
                    <a:pt x="1424" y="222"/>
                    <a:pt x="1418" y="219"/>
                    <a:pt x="1412" y="219"/>
                  </a:cubicBezTo>
                  <a:cubicBezTo>
                    <a:pt x="1406" y="219"/>
                    <a:pt x="1388" y="213"/>
                    <a:pt x="1382" y="216"/>
                  </a:cubicBezTo>
                  <a:cubicBezTo>
                    <a:pt x="1373" y="216"/>
                    <a:pt x="1367" y="213"/>
                    <a:pt x="1364" y="210"/>
                  </a:cubicBezTo>
                  <a:cubicBezTo>
                    <a:pt x="1358" y="210"/>
                    <a:pt x="1358" y="213"/>
                    <a:pt x="1361" y="216"/>
                  </a:cubicBezTo>
                  <a:cubicBezTo>
                    <a:pt x="1364" y="219"/>
                    <a:pt x="1358" y="222"/>
                    <a:pt x="1352" y="219"/>
                  </a:cubicBezTo>
                  <a:cubicBezTo>
                    <a:pt x="1346" y="219"/>
                    <a:pt x="1337" y="222"/>
                    <a:pt x="1340" y="228"/>
                  </a:cubicBezTo>
                  <a:cubicBezTo>
                    <a:pt x="1343" y="231"/>
                    <a:pt x="1346" y="225"/>
                    <a:pt x="1349" y="228"/>
                  </a:cubicBezTo>
                  <a:cubicBezTo>
                    <a:pt x="1352" y="228"/>
                    <a:pt x="1343" y="231"/>
                    <a:pt x="1346" y="234"/>
                  </a:cubicBezTo>
                  <a:cubicBezTo>
                    <a:pt x="1352" y="234"/>
                    <a:pt x="1349" y="240"/>
                    <a:pt x="1349" y="240"/>
                  </a:cubicBezTo>
                  <a:cubicBezTo>
                    <a:pt x="1349" y="243"/>
                    <a:pt x="1343" y="243"/>
                    <a:pt x="1340" y="240"/>
                  </a:cubicBezTo>
                  <a:cubicBezTo>
                    <a:pt x="1340" y="237"/>
                    <a:pt x="1334" y="240"/>
                    <a:pt x="1331" y="240"/>
                  </a:cubicBezTo>
                  <a:cubicBezTo>
                    <a:pt x="1325" y="240"/>
                    <a:pt x="1322" y="243"/>
                    <a:pt x="1328" y="243"/>
                  </a:cubicBezTo>
                  <a:cubicBezTo>
                    <a:pt x="1331" y="243"/>
                    <a:pt x="1334" y="246"/>
                    <a:pt x="1328" y="246"/>
                  </a:cubicBezTo>
                  <a:cubicBezTo>
                    <a:pt x="1322" y="249"/>
                    <a:pt x="1322" y="240"/>
                    <a:pt x="1319" y="243"/>
                  </a:cubicBezTo>
                  <a:cubicBezTo>
                    <a:pt x="1313" y="243"/>
                    <a:pt x="1307" y="240"/>
                    <a:pt x="1301" y="240"/>
                  </a:cubicBezTo>
                  <a:cubicBezTo>
                    <a:pt x="1295" y="240"/>
                    <a:pt x="1295" y="243"/>
                    <a:pt x="1289" y="243"/>
                  </a:cubicBezTo>
                  <a:cubicBezTo>
                    <a:pt x="1283" y="243"/>
                    <a:pt x="1274" y="240"/>
                    <a:pt x="1271" y="237"/>
                  </a:cubicBezTo>
                  <a:cubicBezTo>
                    <a:pt x="1268" y="234"/>
                    <a:pt x="1268" y="231"/>
                    <a:pt x="1265" y="237"/>
                  </a:cubicBezTo>
                  <a:cubicBezTo>
                    <a:pt x="1262" y="240"/>
                    <a:pt x="1262" y="246"/>
                    <a:pt x="1259" y="249"/>
                  </a:cubicBezTo>
                  <a:cubicBezTo>
                    <a:pt x="1256" y="249"/>
                    <a:pt x="1253" y="255"/>
                    <a:pt x="1250" y="258"/>
                  </a:cubicBezTo>
                  <a:cubicBezTo>
                    <a:pt x="1247" y="258"/>
                    <a:pt x="1247" y="255"/>
                    <a:pt x="1244" y="255"/>
                  </a:cubicBezTo>
                  <a:cubicBezTo>
                    <a:pt x="1241" y="255"/>
                    <a:pt x="1229" y="243"/>
                    <a:pt x="1226" y="240"/>
                  </a:cubicBezTo>
                  <a:cubicBezTo>
                    <a:pt x="1226" y="237"/>
                    <a:pt x="1220" y="228"/>
                    <a:pt x="1217" y="228"/>
                  </a:cubicBezTo>
                  <a:cubicBezTo>
                    <a:pt x="1214" y="225"/>
                    <a:pt x="1220" y="225"/>
                    <a:pt x="1223" y="228"/>
                  </a:cubicBezTo>
                  <a:cubicBezTo>
                    <a:pt x="1223" y="231"/>
                    <a:pt x="1226" y="231"/>
                    <a:pt x="1229" y="228"/>
                  </a:cubicBezTo>
                  <a:cubicBezTo>
                    <a:pt x="1232" y="228"/>
                    <a:pt x="1232" y="222"/>
                    <a:pt x="1229" y="222"/>
                  </a:cubicBezTo>
                  <a:cubicBezTo>
                    <a:pt x="1223" y="222"/>
                    <a:pt x="1226" y="216"/>
                    <a:pt x="1226" y="216"/>
                  </a:cubicBezTo>
                  <a:cubicBezTo>
                    <a:pt x="1229" y="216"/>
                    <a:pt x="1223" y="210"/>
                    <a:pt x="1226" y="210"/>
                  </a:cubicBezTo>
                  <a:cubicBezTo>
                    <a:pt x="1226" y="207"/>
                    <a:pt x="1226" y="204"/>
                    <a:pt x="1223" y="204"/>
                  </a:cubicBezTo>
                  <a:cubicBezTo>
                    <a:pt x="1220" y="204"/>
                    <a:pt x="1214" y="201"/>
                    <a:pt x="1214" y="198"/>
                  </a:cubicBezTo>
                  <a:cubicBezTo>
                    <a:pt x="1214" y="198"/>
                    <a:pt x="1199" y="198"/>
                    <a:pt x="1199" y="201"/>
                  </a:cubicBezTo>
                  <a:cubicBezTo>
                    <a:pt x="1202" y="201"/>
                    <a:pt x="1196" y="201"/>
                    <a:pt x="1196" y="198"/>
                  </a:cubicBezTo>
                  <a:cubicBezTo>
                    <a:pt x="1196" y="198"/>
                    <a:pt x="1190" y="198"/>
                    <a:pt x="1184" y="195"/>
                  </a:cubicBezTo>
                  <a:cubicBezTo>
                    <a:pt x="1175" y="195"/>
                    <a:pt x="1175" y="189"/>
                    <a:pt x="1172" y="189"/>
                  </a:cubicBezTo>
                  <a:cubicBezTo>
                    <a:pt x="1169" y="189"/>
                    <a:pt x="1172" y="195"/>
                    <a:pt x="1169" y="195"/>
                  </a:cubicBezTo>
                  <a:cubicBezTo>
                    <a:pt x="1163" y="192"/>
                    <a:pt x="1160" y="195"/>
                    <a:pt x="1163" y="201"/>
                  </a:cubicBezTo>
                  <a:cubicBezTo>
                    <a:pt x="1163" y="204"/>
                    <a:pt x="1163" y="204"/>
                    <a:pt x="1163" y="207"/>
                  </a:cubicBezTo>
                  <a:cubicBezTo>
                    <a:pt x="1160" y="213"/>
                    <a:pt x="1160" y="210"/>
                    <a:pt x="1154" y="210"/>
                  </a:cubicBezTo>
                  <a:cubicBezTo>
                    <a:pt x="1151" y="207"/>
                    <a:pt x="1151" y="213"/>
                    <a:pt x="1142" y="210"/>
                  </a:cubicBezTo>
                  <a:cubicBezTo>
                    <a:pt x="1133" y="207"/>
                    <a:pt x="1127" y="210"/>
                    <a:pt x="1127" y="207"/>
                  </a:cubicBezTo>
                  <a:cubicBezTo>
                    <a:pt x="1124" y="204"/>
                    <a:pt x="1121" y="204"/>
                    <a:pt x="1121" y="207"/>
                  </a:cubicBezTo>
                  <a:cubicBezTo>
                    <a:pt x="1121" y="210"/>
                    <a:pt x="1106" y="207"/>
                    <a:pt x="1106" y="204"/>
                  </a:cubicBezTo>
                  <a:cubicBezTo>
                    <a:pt x="1103" y="201"/>
                    <a:pt x="1109" y="201"/>
                    <a:pt x="1109" y="198"/>
                  </a:cubicBezTo>
                  <a:cubicBezTo>
                    <a:pt x="1112" y="198"/>
                    <a:pt x="1109" y="195"/>
                    <a:pt x="1100" y="198"/>
                  </a:cubicBezTo>
                  <a:cubicBezTo>
                    <a:pt x="1091" y="198"/>
                    <a:pt x="1088" y="192"/>
                    <a:pt x="1079" y="195"/>
                  </a:cubicBezTo>
                  <a:cubicBezTo>
                    <a:pt x="1070" y="195"/>
                    <a:pt x="1052" y="195"/>
                    <a:pt x="1052" y="198"/>
                  </a:cubicBezTo>
                  <a:cubicBezTo>
                    <a:pt x="1049" y="198"/>
                    <a:pt x="1052" y="204"/>
                    <a:pt x="1049" y="204"/>
                  </a:cubicBezTo>
                  <a:cubicBezTo>
                    <a:pt x="1046" y="204"/>
                    <a:pt x="1049" y="195"/>
                    <a:pt x="1049" y="192"/>
                  </a:cubicBezTo>
                  <a:cubicBezTo>
                    <a:pt x="1046" y="189"/>
                    <a:pt x="1040" y="189"/>
                    <a:pt x="1043" y="192"/>
                  </a:cubicBezTo>
                  <a:cubicBezTo>
                    <a:pt x="1043" y="195"/>
                    <a:pt x="1034" y="195"/>
                    <a:pt x="1031" y="192"/>
                  </a:cubicBezTo>
                  <a:cubicBezTo>
                    <a:pt x="1028" y="189"/>
                    <a:pt x="1025" y="189"/>
                    <a:pt x="1016" y="186"/>
                  </a:cubicBezTo>
                  <a:cubicBezTo>
                    <a:pt x="1010" y="183"/>
                    <a:pt x="1004" y="192"/>
                    <a:pt x="1004" y="192"/>
                  </a:cubicBezTo>
                  <a:cubicBezTo>
                    <a:pt x="1007" y="195"/>
                    <a:pt x="1010" y="195"/>
                    <a:pt x="1010" y="195"/>
                  </a:cubicBezTo>
                  <a:cubicBezTo>
                    <a:pt x="1013" y="198"/>
                    <a:pt x="998" y="198"/>
                    <a:pt x="998" y="198"/>
                  </a:cubicBezTo>
                  <a:cubicBezTo>
                    <a:pt x="998" y="201"/>
                    <a:pt x="983" y="204"/>
                    <a:pt x="980" y="204"/>
                  </a:cubicBezTo>
                  <a:cubicBezTo>
                    <a:pt x="968" y="207"/>
                    <a:pt x="968" y="207"/>
                    <a:pt x="962" y="210"/>
                  </a:cubicBezTo>
                  <a:cubicBezTo>
                    <a:pt x="956" y="216"/>
                    <a:pt x="962" y="207"/>
                    <a:pt x="965" y="204"/>
                  </a:cubicBezTo>
                  <a:cubicBezTo>
                    <a:pt x="968" y="198"/>
                    <a:pt x="974" y="201"/>
                    <a:pt x="974" y="198"/>
                  </a:cubicBezTo>
                  <a:cubicBezTo>
                    <a:pt x="977" y="195"/>
                    <a:pt x="980" y="195"/>
                    <a:pt x="989" y="195"/>
                  </a:cubicBezTo>
                  <a:cubicBezTo>
                    <a:pt x="995" y="192"/>
                    <a:pt x="995" y="189"/>
                    <a:pt x="998" y="189"/>
                  </a:cubicBezTo>
                  <a:cubicBezTo>
                    <a:pt x="1001" y="186"/>
                    <a:pt x="1007" y="183"/>
                    <a:pt x="1007" y="180"/>
                  </a:cubicBezTo>
                  <a:cubicBezTo>
                    <a:pt x="1010" y="177"/>
                    <a:pt x="1025" y="171"/>
                    <a:pt x="1028" y="174"/>
                  </a:cubicBezTo>
                  <a:cubicBezTo>
                    <a:pt x="1031" y="174"/>
                    <a:pt x="1031" y="168"/>
                    <a:pt x="1034" y="168"/>
                  </a:cubicBezTo>
                  <a:cubicBezTo>
                    <a:pt x="1034" y="168"/>
                    <a:pt x="1043" y="162"/>
                    <a:pt x="1046" y="162"/>
                  </a:cubicBezTo>
                  <a:cubicBezTo>
                    <a:pt x="1049" y="159"/>
                    <a:pt x="1052" y="156"/>
                    <a:pt x="1052" y="153"/>
                  </a:cubicBezTo>
                  <a:cubicBezTo>
                    <a:pt x="1052" y="153"/>
                    <a:pt x="1046" y="153"/>
                    <a:pt x="1046" y="150"/>
                  </a:cubicBezTo>
                  <a:cubicBezTo>
                    <a:pt x="1046" y="150"/>
                    <a:pt x="1049" y="150"/>
                    <a:pt x="1052" y="150"/>
                  </a:cubicBezTo>
                  <a:cubicBezTo>
                    <a:pt x="1055" y="147"/>
                    <a:pt x="1052" y="144"/>
                    <a:pt x="1049" y="144"/>
                  </a:cubicBezTo>
                  <a:cubicBezTo>
                    <a:pt x="1046" y="144"/>
                    <a:pt x="1052" y="141"/>
                    <a:pt x="1049" y="138"/>
                  </a:cubicBezTo>
                  <a:cubicBezTo>
                    <a:pt x="1046" y="135"/>
                    <a:pt x="1040" y="141"/>
                    <a:pt x="1040" y="138"/>
                  </a:cubicBezTo>
                  <a:cubicBezTo>
                    <a:pt x="1040" y="132"/>
                    <a:pt x="1040" y="129"/>
                    <a:pt x="1040" y="126"/>
                  </a:cubicBezTo>
                  <a:cubicBezTo>
                    <a:pt x="1037" y="126"/>
                    <a:pt x="1034" y="132"/>
                    <a:pt x="1028" y="129"/>
                  </a:cubicBezTo>
                  <a:cubicBezTo>
                    <a:pt x="1025" y="126"/>
                    <a:pt x="1013" y="123"/>
                    <a:pt x="1013" y="123"/>
                  </a:cubicBezTo>
                  <a:cubicBezTo>
                    <a:pt x="1013" y="126"/>
                    <a:pt x="1007" y="123"/>
                    <a:pt x="1007" y="123"/>
                  </a:cubicBezTo>
                  <a:cubicBezTo>
                    <a:pt x="1004" y="126"/>
                    <a:pt x="995" y="123"/>
                    <a:pt x="992" y="123"/>
                  </a:cubicBezTo>
                  <a:cubicBezTo>
                    <a:pt x="989" y="123"/>
                    <a:pt x="986" y="126"/>
                    <a:pt x="986" y="129"/>
                  </a:cubicBezTo>
                  <a:cubicBezTo>
                    <a:pt x="983" y="132"/>
                    <a:pt x="974" y="129"/>
                    <a:pt x="971" y="129"/>
                  </a:cubicBezTo>
                  <a:cubicBezTo>
                    <a:pt x="968" y="129"/>
                    <a:pt x="980" y="120"/>
                    <a:pt x="980" y="120"/>
                  </a:cubicBezTo>
                  <a:cubicBezTo>
                    <a:pt x="980" y="117"/>
                    <a:pt x="962" y="120"/>
                    <a:pt x="959" y="117"/>
                  </a:cubicBezTo>
                  <a:cubicBezTo>
                    <a:pt x="959" y="117"/>
                    <a:pt x="950" y="114"/>
                    <a:pt x="947" y="114"/>
                  </a:cubicBezTo>
                  <a:cubicBezTo>
                    <a:pt x="944" y="114"/>
                    <a:pt x="947" y="114"/>
                    <a:pt x="950" y="114"/>
                  </a:cubicBezTo>
                  <a:cubicBezTo>
                    <a:pt x="953" y="114"/>
                    <a:pt x="956" y="111"/>
                    <a:pt x="962" y="111"/>
                  </a:cubicBezTo>
                  <a:cubicBezTo>
                    <a:pt x="965" y="108"/>
                    <a:pt x="965" y="108"/>
                    <a:pt x="962" y="105"/>
                  </a:cubicBezTo>
                  <a:cubicBezTo>
                    <a:pt x="959" y="102"/>
                    <a:pt x="956" y="105"/>
                    <a:pt x="953" y="102"/>
                  </a:cubicBezTo>
                  <a:cubicBezTo>
                    <a:pt x="950" y="102"/>
                    <a:pt x="944" y="99"/>
                    <a:pt x="941" y="99"/>
                  </a:cubicBezTo>
                  <a:cubicBezTo>
                    <a:pt x="938" y="99"/>
                    <a:pt x="935" y="102"/>
                    <a:pt x="926" y="102"/>
                  </a:cubicBezTo>
                  <a:cubicBezTo>
                    <a:pt x="917" y="105"/>
                    <a:pt x="917" y="111"/>
                    <a:pt x="914" y="114"/>
                  </a:cubicBezTo>
                  <a:cubicBezTo>
                    <a:pt x="908" y="114"/>
                    <a:pt x="902" y="123"/>
                    <a:pt x="905" y="123"/>
                  </a:cubicBezTo>
                  <a:cubicBezTo>
                    <a:pt x="908" y="123"/>
                    <a:pt x="908" y="126"/>
                    <a:pt x="908" y="126"/>
                  </a:cubicBezTo>
                  <a:cubicBezTo>
                    <a:pt x="908" y="129"/>
                    <a:pt x="905" y="129"/>
                    <a:pt x="902" y="129"/>
                  </a:cubicBezTo>
                  <a:cubicBezTo>
                    <a:pt x="899" y="129"/>
                    <a:pt x="884" y="129"/>
                    <a:pt x="884" y="132"/>
                  </a:cubicBezTo>
                  <a:cubicBezTo>
                    <a:pt x="884" y="135"/>
                    <a:pt x="893" y="135"/>
                    <a:pt x="893" y="138"/>
                  </a:cubicBezTo>
                  <a:cubicBezTo>
                    <a:pt x="890" y="138"/>
                    <a:pt x="887" y="138"/>
                    <a:pt x="884" y="135"/>
                  </a:cubicBezTo>
                  <a:cubicBezTo>
                    <a:pt x="881" y="135"/>
                    <a:pt x="875" y="135"/>
                    <a:pt x="872" y="138"/>
                  </a:cubicBezTo>
                  <a:cubicBezTo>
                    <a:pt x="872" y="141"/>
                    <a:pt x="866" y="141"/>
                    <a:pt x="866" y="138"/>
                  </a:cubicBezTo>
                  <a:cubicBezTo>
                    <a:pt x="863" y="138"/>
                    <a:pt x="860" y="141"/>
                    <a:pt x="860" y="141"/>
                  </a:cubicBezTo>
                  <a:cubicBezTo>
                    <a:pt x="857" y="138"/>
                    <a:pt x="863" y="135"/>
                    <a:pt x="863" y="135"/>
                  </a:cubicBezTo>
                  <a:cubicBezTo>
                    <a:pt x="860" y="132"/>
                    <a:pt x="851" y="132"/>
                    <a:pt x="851" y="135"/>
                  </a:cubicBezTo>
                  <a:cubicBezTo>
                    <a:pt x="851" y="138"/>
                    <a:pt x="845" y="135"/>
                    <a:pt x="845" y="135"/>
                  </a:cubicBezTo>
                  <a:cubicBezTo>
                    <a:pt x="842" y="135"/>
                    <a:pt x="839" y="138"/>
                    <a:pt x="836" y="138"/>
                  </a:cubicBezTo>
                  <a:cubicBezTo>
                    <a:pt x="833" y="141"/>
                    <a:pt x="827" y="138"/>
                    <a:pt x="824" y="141"/>
                  </a:cubicBezTo>
                  <a:cubicBezTo>
                    <a:pt x="824" y="144"/>
                    <a:pt x="833" y="144"/>
                    <a:pt x="833" y="144"/>
                  </a:cubicBezTo>
                  <a:cubicBezTo>
                    <a:pt x="833" y="147"/>
                    <a:pt x="815" y="147"/>
                    <a:pt x="815" y="147"/>
                  </a:cubicBezTo>
                  <a:cubicBezTo>
                    <a:pt x="812" y="150"/>
                    <a:pt x="806" y="150"/>
                    <a:pt x="800" y="150"/>
                  </a:cubicBezTo>
                  <a:cubicBezTo>
                    <a:pt x="791" y="150"/>
                    <a:pt x="794" y="153"/>
                    <a:pt x="788" y="153"/>
                  </a:cubicBezTo>
                  <a:cubicBezTo>
                    <a:pt x="782" y="156"/>
                    <a:pt x="779" y="156"/>
                    <a:pt x="779" y="159"/>
                  </a:cubicBezTo>
                  <a:cubicBezTo>
                    <a:pt x="776" y="162"/>
                    <a:pt x="773" y="162"/>
                    <a:pt x="770" y="159"/>
                  </a:cubicBezTo>
                  <a:cubicBezTo>
                    <a:pt x="767" y="159"/>
                    <a:pt x="761" y="162"/>
                    <a:pt x="764" y="162"/>
                  </a:cubicBezTo>
                  <a:cubicBezTo>
                    <a:pt x="767" y="162"/>
                    <a:pt x="764" y="165"/>
                    <a:pt x="764" y="165"/>
                  </a:cubicBezTo>
                  <a:cubicBezTo>
                    <a:pt x="761" y="162"/>
                    <a:pt x="755" y="168"/>
                    <a:pt x="758" y="168"/>
                  </a:cubicBezTo>
                  <a:cubicBezTo>
                    <a:pt x="761" y="168"/>
                    <a:pt x="764" y="168"/>
                    <a:pt x="761" y="171"/>
                  </a:cubicBezTo>
                  <a:cubicBezTo>
                    <a:pt x="761" y="174"/>
                    <a:pt x="755" y="168"/>
                    <a:pt x="752" y="171"/>
                  </a:cubicBezTo>
                  <a:cubicBezTo>
                    <a:pt x="752" y="171"/>
                    <a:pt x="755" y="174"/>
                    <a:pt x="758" y="174"/>
                  </a:cubicBezTo>
                  <a:cubicBezTo>
                    <a:pt x="761" y="174"/>
                    <a:pt x="764" y="177"/>
                    <a:pt x="764" y="177"/>
                  </a:cubicBezTo>
                  <a:cubicBezTo>
                    <a:pt x="764" y="180"/>
                    <a:pt x="758" y="177"/>
                    <a:pt x="755" y="177"/>
                  </a:cubicBezTo>
                  <a:cubicBezTo>
                    <a:pt x="755" y="180"/>
                    <a:pt x="755" y="180"/>
                    <a:pt x="761" y="180"/>
                  </a:cubicBezTo>
                  <a:cubicBezTo>
                    <a:pt x="764" y="183"/>
                    <a:pt x="761" y="183"/>
                    <a:pt x="764" y="186"/>
                  </a:cubicBezTo>
                  <a:cubicBezTo>
                    <a:pt x="764" y="186"/>
                    <a:pt x="764" y="186"/>
                    <a:pt x="764" y="186"/>
                  </a:cubicBezTo>
                  <a:cubicBezTo>
                    <a:pt x="764" y="189"/>
                    <a:pt x="761" y="189"/>
                    <a:pt x="764" y="192"/>
                  </a:cubicBezTo>
                  <a:cubicBezTo>
                    <a:pt x="764" y="192"/>
                    <a:pt x="758" y="195"/>
                    <a:pt x="758" y="192"/>
                  </a:cubicBezTo>
                  <a:cubicBezTo>
                    <a:pt x="758" y="189"/>
                    <a:pt x="752" y="189"/>
                    <a:pt x="749" y="192"/>
                  </a:cubicBezTo>
                  <a:cubicBezTo>
                    <a:pt x="746" y="192"/>
                    <a:pt x="746" y="195"/>
                    <a:pt x="743" y="192"/>
                  </a:cubicBezTo>
                  <a:cubicBezTo>
                    <a:pt x="740" y="192"/>
                    <a:pt x="734" y="192"/>
                    <a:pt x="728" y="195"/>
                  </a:cubicBezTo>
                  <a:cubicBezTo>
                    <a:pt x="719" y="195"/>
                    <a:pt x="701" y="195"/>
                    <a:pt x="698" y="195"/>
                  </a:cubicBezTo>
                  <a:cubicBezTo>
                    <a:pt x="692" y="198"/>
                    <a:pt x="689" y="204"/>
                    <a:pt x="695" y="207"/>
                  </a:cubicBezTo>
                  <a:cubicBezTo>
                    <a:pt x="698" y="210"/>
                    <a:pt x="695" y="213"/>
                    <a:pt x="695" y="216"/>
                  </a:cubicBezTo>
                  <a:cubicBezTo>
                    <a:pt x="695" y="219"/>
                    <a:pt x="704" y="222"/>
                    <a:pt x="710" y="225"/>
                  </a:cubicBezTo>
                  <a:cubicBezTo>
                    <a:pt x="716" y="225"/>
                    <a:pt x="719" y="231"/>
                    <a:pt x="716" y="234"/>
                  </a:cubicBezTo>
                  <a:cubicBezTo>
                    <a:pt x="713" y="240"/>
                    <a:pt x="704" y="234"/>
                    <a:pt x="698" y="228"/>
                  </a:cubicBezTo>
                  <a:cubicBezTo>
                    <a:pt x="689" y="222"/>
                    <a:pt x="677" y="222"/>
                    <a:pt x="671" y="222"/>
                  </a:cubicBezTo>
                  <a:cubicBezTo>
                    <a:pt x="665" y="222"/>
                    <a:pt x="668" y="216"/>
                    <a:pt x="662" y="219"/>
                  </a:cubicBezTo>
                  <a:cubicBezTo>
                    <a:pt x="656" y="219"/>
                    <a:pt x="650" y="222"/>
                    <a:pt x="656" y="222"/>
                  </a:cubicBezTo>
                  <a:cubicBezTo>
                    <a:pt x="659" y="222"/>
                    <a:pt x="662" y="222"/>
                    <a:pt x="659" y="225"/>
                  </a:cubicBezTo>
                  <a:cubicBezTo>
                    <a:pt x="659" y="228"/>
                    <a:pt x="662" y="225"/>
                    <a:pt x="665" y="228"/>
                  </a:cubicBezTo>
                  <a:cubicBezTo>
                    <a:pt x="671" y="231"/>
                    <a:pt x="662" y="234"/>
                    <a:pt x="656" y="231"/>
                  </a:cubicBezTo>
                  <a:cubicBezTo>
                    <a:pt x="653" y="228"/>
                    <a:pt x="647" y="231"/>
                    <a:pt x="644" y="234"/>
                  </a:cubicBezTo>
                  <a:cubicBezTo>
                    <a:pt x="644" y="234"/>
                    <a:pt x="650" y="243"/>
                    <a:pt x="659" y="243"/>
                  </a:cubicBezTo>
                  <a:cubicBezTo>
                    <a:pt x="668" y="246"/>
                    <a:pt x="665" y="249"/>
                    <a:pt x="671" y="249"/>
                  </a:cubicBezTo>
                  <a:cubicBezTo>
                    <a:pt x="674" y="252"/>
                    <a:pt x="671" y="252"/>
                    <a:pt x="668" y="252"/>
                  </a:cubicBezTo>
                  <a:cubicBezTo>
                    <a:pt x="665" y="255"/>
                    <a:pt x="659" y="249"/>
                    <a:pt x="656" y="246"/>
                  </a:cubicBezTo>
                  <a:cubicBezTo>
                    <a:pt x="650" y="243"/>
                    <a:pt x="638" y="249"/>
                    <a:pt x="635" y="246"/>
                  </a:cubicBezTo>
                  <a:cubicBezTo>
                    <a:pt x="635" y="243"/>
                    <a:pt x="638" y="240"/>
                    <a:pt x="635" y="237"/>
                  </a:cubicBezTo>
                  <a:cubicBezTo>
                    <a:pt x="632" y="237"/>
                    <a:pt x="635" y="231"/>
                    <a:pt x="638" y="228"/>
                  </a:cubicBezTo>
                  <a:cubicBezTo>
                    <a:pt x="641" y="222"/>
                    <a:pt x="638" y="213"/>
                    <a:pt x="632" y="213"/>
                  </a:cubicBezTo>
                  <a:cubicBezTo>
                    <a:pt x="629" y="210"/>
                    <a:pt x="629" y="216"/>
                    <a:pt x="629" y="216"/>
                  </a:cubicBezTo>
                  <a:cubicBezTo>
                    <a:pt x="632" y="219"/>
                    <a:pt x="632" y="225"/>
                    <a:pt x="626" y="228"/>
                  </a:cubicBezTo>
                  <a:cubicBezTo>
                    <a:pt x="623" y="234"/>
                    <a:pt x="614" y="234"/>
                    <a:pt x="614" y="237"/>
                  </a:cubicBezTo>
                  <a:cubicBezTo>
                    <a:pt x="614" y="240"/>
                    <a:pt x="608" y="240"/>
                    <a:pt x="608" y="243"/>
                  </a:cubicBezTo>
                  <a:cubicBezTo>
                    <a:pt x="611" y="246"/>
                    <a:pt x="620" y="255"/>
                    <a:pt x="623" y="258"/>
                  </a:cubicBezTo>
                  <a:cubicBezTo>
                    <a:pt x="623" y="261"/>
                    <a:pt x="614" y="273"/>
                    <a:pt x="617" y="276"/>
                  </a:cubicBezTo>
                  <a:cubicBezTo>
                    <a:pt x="617" y="282"/>
                    <a:pt x="614" y="285"/>
                    <a:pt x="617" y="288"/>
                  </a:cubicBezTo>
                  <a:cubicBezTo>
                    <a:pt x="617" y="291"/>
                    <a:pt x="623" y="288"/>
                    <a:pt x="626" y="291"/>
                  </a:cubicBezTo>
                  <a:cubicBezTo>
                    <a:pt x="626" y="291"/>
                    <a:pt x="632" y="288"/>
                    <a:pt x="638" y="288"/>
                  </a:cubicBezTo>
                  <a:cubicBezTo>
                    <a:pt x="644" y="285"/>
                    <a:pt x="656" y="294"/>
                    <a:pt x="659" y="294"/>
                  </a:cubicBezTo>
                  <a:cubicBezTo>
                    <a:pt x="665" y="297"/>
                    <a:pt x="662" y="300"/>
                    <a:pt x="665" y="303"/>
                  </a:cubicBezTo>
                  <a:cubicBezTo>
                    <a:pt x="665" y="306"/>
                    <a:pt x="659" y="306"/>
                    <a:pt x="659" y="312"/>
                  </a:cubicBezTo>
                  <a:cubicBezTo>
                    <a:pt x="659" y="318"/>
                    <a:pt x="671" y="318"/>
                    <a:pt x="671" y="321"/>
                  </a:cubicBezTo>
                  <a:cubicBezTo>
                    <a:pt x="671" y="321"/>
                    <a:pt x="662" y="321"/>
                    <a:pt x="659" y="318"/>
                  </a:cubicBezTo>
                  <a:cubicBezTo>
                    <a:pt x="656" y="318"/>
                    <a:pt x="656" y="312"/>
                    <a:pt x="653" y="312"/>
                  </a:cubicBezTo>
                  <a:cubicBezTo>
                    <a:pt x="653" y="312"/>
                    <a:pt x="656" y="306"/>
                    <a:pt x="656" y="303"/>
                  </a:cubicBezTo>
                  <a:cubicBezTo>
                    <a:pt x="656" y="300"/>
                    <a:pt x="653" y="300"/>
                    <a:pt x="650" y="297"/>
                  </a:cubicBezTo>
                  <a:cubicBezTo>
                    <a:pt x="650" y="294"/>
                    <a:pt x="647" y="291"/>
                    <a:pt x="644" y="291"/>
                  </a:cubicBezTo>
                  <a:cubicBezTo>
                    <a:pt x="641" y="294"/>
                    <a:pt x="629" y="294"/>
                    <a:pt x="626" y="297"/>
                  </a:cubicBezTo>
                  <a:cubicBezTo>
                    <a:pt x="623" y="300"/>
                    <a:pt x="626" y="309"/>
                    <a:pt x="629" y="312"/>
                  </a:cubicBezTo>
                  <a:cubicBezTo>
                    <a:pt x="632" y="318"/>
                    <a:pt x="620" y="324"/>
                    <a:pt x="620" y="327"/>
                  </a:cubicBezTo>
                  <a:cubicBezTo>
                    <a:pt x="620" y="330"/>
                    <a:pt x="617" y="330"/>
                    <a:pt x="611" y="333"/>
                  </a:cubicBezTo>
                  <a:cubicBezTo>
                    <a:pt x="605" y="336"/>
                    <a:pt x="599" y="339"/>
                    <a:pt x="602" y="342"/>
                  </a:cubicBezTo>
                  <a:cubicBezTo>
                    <a:pt x="602" y="348"/>
                    <a:pt x="593" y="345"/>
                    <a:pt x="590" y="342"/>
                  </a:cubicBezTo>
                  <a:cubicBezTo>
                    <a:pt x="587" y="339"/>
                    <a:pt x="581" y="345"/>
                    <a:pt x="578" y="342"/>
                  </a:cubicBezTo>
                  <a:cubicBezTo>
                    <a:pt x="572" y="342"/>
                    <a:pt x="572" y="339"/>
                    <a:pt x="569" y="342"/>
                  </a:cubicBezTo>
                  <a:cubicBezTo>
                    <a:pt x="563" y="342"/>
                    <a:pt x="563" y="339"/>
                    <a:pt x="563" y="336"/>
                  </a:cubicBezTo>
                  <a:cubicBezTo>
                    <a:pt x="563" y="333"/>
                    <a:pt x="569" y="336"/>
                    <a:pt x="569" y="336"/>
                  </a:cubicBezTo>
                  <a:cubicBezTo>
                    <a:pt x="569" y="339"/>
                    <a:pt x="572" y="339"/>
                    <a:pt x="575" y="336"/>
                  </a:cubicBezTo>
                  <a:cubicBezTo>
                    <a:pt x="578" y="336"/>
                    <a:pt x="578" y="339"/>
                    <a:pt x="581" y="339"/>
                  </a:cubicBezTo>
                  <a:cubicBezTo>
                    <a:pt x="587" y="339"/>
                    <a:pt x="584" y="336"/>
                    <a:pt x="587" y="336"/>
                  </a:cubicBezTo>
                  <a:cubicBezTo>
                    <a:pt x="590" y="336"/>
                    <a:pt x="593" y="336"/>
                    <a:pt x="590" y="333"/>
                  </a:cubicBezTo>
                  <a:cubicBezTo>
                    <a:pt x="590" y="333"/>
                    <a:pt x="593" y="330"/>
                    <a:pt x="596" y="330"/>
                  </a:cubicBezTo>
                  <a:cubicBezTo>
                    <a:pt x="599" y="330"/>
                    <a:pt x="596" y="324"/>
                    <a:pt x="599" y="324"/>
                  </a:cubicBezTo>
                  <a:cubicBezTo>
                    <a:pt x="602" y="324"/>
                    <a:pt x="599" y="321"/>
                    <a:pt x="602" y="321"/>
                  </a:cubicBezTo>
                  <a:cubicBezTo>
                    <a:pt x="605" y="321"/>
                    <a:pt x="605" y="318"/>
                    <a:pt x="608" y="318"/>
                  </a:cubicBezTo>
                  <a:cubicBezTo>
                    <a:pt x="611" y="318"/>
                    <a:pt x="611" y="312"/>
                    <a:pt x="608" y="312"/>
                  </a:cubicBezTo>
                  <a:cubicBezTo>
                    <a:pt x="608" y="309"/>
                    <a:pt x="611" y="306"/>
                    <a:pt x="611" y="303"/>
                  </a:cubicBezTo>
                  <a:cubicBezTo>
                    <a:pt x="614" y="303"/>
                    <a:pt x="614" y="300"/>
                    <a:pt x="614" y="300"/>
                  </a:cubicBezTo>
                  <a:cubicBezTo>
                    <a:pt x="611" y="297"/>
                    <a:pt x="602" y="294"/>
                    <a:pt x="605" y="291"/>
                  </a:cubicBezTo>
                  <a:cubicBezTo>
                    <a:pt x="605" y="288"/>
                    <a:pt x="602" y="282"/>
                    <a:pt x="605" y="279"/>
                  </a:cubicBezTo>
                  <a:cubicBezTo>
                    <a:pt x="605" y="276"/>
                    <a:pt x="605" y="270"/>
                    <a:pt x="602" y="267"/>
                  </a:cubicBezTo>
                  <a:cubicBezTo>
                    <a:pt x="602" y="264"/>
                    <a:pt x="605" y="261"/>
                    <a:pt x="605" y="255"/>
                  </a:cubicBezTo>
                  <a:cubicBezTo>
                    <a:pt x="608" y="252"/>
                    <a:pt x="599" y="246"/>
                    <a:pt x="596" y="243"/>
                  </a:cubicBezTo>
                  <a:cubicBezTo>
                    <a:pt x="593" y="243"/>
                    <a:pt x="596" y="240"/>
                    <a:pt x="602" y="234"/>
                  </a:cubicBezTo>
                  <a:cubicBezTo>
                    <a:pt x="605" y="231"/>
                    <a:pt x="605" y="219"/>
                    <a:pt x="605" y="216"/>
                  </a:cubicBezTo>
                  <a:cubicBezTo>
                    <a:pt x="605" y="213"/>
                    <a:pt x="596" y="210"/>
                    <a:pt x="593" y="210"/>
                  </a:cubicBezTo>
                  <a:cubicBezTo>
                    <a:pt x="587" y="210"/>
                    <a:pt x="575" y="210"/>
                    <a:pt x="569" y="210"/>
                  </a:cubicBezTo>
                  <a:cubicBezTo>
                    <a:pt x="566" y="210"/>
                    <a:pt x="566" y="213"/>
                    <a:pt x="563" y="216"/>
                  </a:cubicBezTo>
                  <a:cubicBezTo>
                    <a:pt x="563" y="219"/>
                    <a:pt x="557" y="225"/>
                    <a:pt x="557" y="231"/>
                  </a:cubicBezTo>
                  <a:cubicBezTo>
                    <a:pt x="554" y="240"/>
                    <a:pt x="545" y="243"/>
                    <a:pt x="542" y="243"/>
                  </a:cubicBezTo>
                  <a:cubicBezTo>
                    <a:pt x="536" y="246"/>
                    <a:pt x="536" y="252"/>
                    <a:pt x="536" y="255"/>
                  </a:cubicBezTo>
                  <a:cubicBezTo>
                    <a:pt x="539" y="255"/>
                    <a:pt x="542" y="255"/>
                    <a:pt x="542" y="255"/>
                  </a:cubicBezTo>
                  <a:cubicBezTo>
                    <a:pt x="545" y="255"/>
                    <a:pt x="542" y="264"/>
                    <a:pt x="542" y="264"/>
                  </a:cubicBezTo>
                  <a:cubicBezTo>
                    <a:pt x="539" y="264"/>
                    <a:pt x="545" y="267"/>
                    <a:pt x="542" y="270"/>
                  </a:cubicBezTo>
                  <a:cubicBezTo>
                    <a:pt x="539" y="270"/>
                    <a:pt x="536" y="276"/>
                    <a:pt x="536" y="276"/>
                  </a:cubicBezTo>
                  <a:cubicBezTo>
                    <a:pt x="539" y="279"/>
                    <a:pt x="548" y="279"/>
                    <a:pt x="551" y="282"/>
                  </a:cubicBezTo>
                  <a:cubicBezTo>
                    <a:pt x="554" y="285"/>
                    <a:pt x="554" y="288"/>
                    <a:pt x="554" y="291"/>
                  </a:cubicBezTo>
                  <a:cubicBezTo>
                    <a:pt x="557" y="294"/>
                    <a:pt x="560" y="294"/>
                    <a:pt x="563" y="294"/>
                  </a:cubicBezTo>
                  <a:cubicBezTo>
                    <a:pt x="563" y="297"/>
                    <a:pt x="557" y="306"/>
                    <a:pt x="554" y="306"/>
                  </a:cubicBezTo>
                  <a:cubicBezTo>
                    <a:pt x="554" y="306"/>
                    <a:pt x="545" y="297"/>
                    <a:pt x="542" y="294"/>
                  </a:cubicBezTo>
                  <a:cubicBezTo>
                    <a:pt x="539" y="294"/>
                    <a:pt x="527" y="291"/>
                    <a:pt x="524" y="288"/>
                  </a:cubicBezTo>
                  <a:cubicBezTo>
                    <a:pt x="518" y="285"/>
                    <a:pt x="515" y="285"/>
                    <a:pt x="509" y="282"/>
                  </a:cubicBezTo>
                  <a:cubicBezTo>
                    <a:pt x="503" y="276"/>
                    <a:pt x="497" y="276"/>
                    <a:pt x="488" y="276"/>
                  </a:cubicBezTo>
                  <a:cubicBezTo>
                    <a:pt x="477" y="276"/>
                    <a:pt x="471" y="273"/>
                    <a:pt x="468" y="273"/>
                  </a:cubicBezTo>
                  <a:cubicBezTo>
                    <a:pt x="465" y="273"/>
                    <a:pt x="465" y="270"/>
                    <a:pt x="459" y="267"/>
                  </a:cubicBezTo>
                  <a:cubicBezTo>
                    <a:pt x="453" y="264"/>
                    <a:pt x="450" y="261"/>
                    <a:pt x="447" y="264"/>
                  </a:cubicBezTo>
                  <a:cubicBezTo>
                    <a:pt x="441" y="264"/>
                    <a:pt x="444" y="273"/>
                    <a:pt x="450" y="273"/>
                  </a:cubicBezTo>
                  <a:cubicBezTo>
                    <a:pt x="453" y="273"/>
                    <a:pt x="453" y="276"/>
                    <a:pt x="456" y="276"/>
                  </a:cubicBezTo>
                  <a:cubicBezTo>
                    <a:pt x="462" y="276"/>
                    <a:pt x="465" y="279"/>
                    <a:pt x="465" y="282"/>
                  </a:cubicBezTo>
                  <a:cubicBezTo>
                    <a:pt x="465" y="285"/>
                    <a:pt x="468" y="288"/>
                    <a:pt x="471" y="291"/>
                  </a:cubicBezTo>
                  <a:cubicBezTo>
                    <a:pt x="471" y="294"/>
                    <a:pt x="471" y="297"/>
                    <a:pt x="465" y="297"/>
                  </a:cubicBezTo>
                  <a:cubicBezTo>
                    <a:pt x="462" y="297"/>
                    <a:pt x="456" y="297"/>
                    <a:pt x="459" y="300"/>
                  </a:cubicBezTo>
                  <a:cubicBezTo>
                    <a:pt x="462" y="303"/>
                    <a:pt x="456" y="303"/>
                    <a:pt x="453" y="303"/>
                  </a:cubicBezTo>
                  <a:cubicBezTo>
                    <a:pt x="447" y="300"/>
                    <a:pt x="450" y="297"/>
                    <a:pt x="453" y="297"/>
                  </a:cubicBezTo>
                  <a:cubicBezTo>
                    <a:pt x="456" y="294"/>
                    <a:pt x="450" y="291"/>
                    <a:pt x="447" y="291"/>
                  </a:cubicBezTo>
                  <a:cubicBezTo>
                    <a:pt x="444" y="291"/>
                    <a:pt x="432" y="297"/>
                    <a:pt x="429" y="300"/>
                  </a:cubicBezTo>
                  <a:cubicBezTo>
                    <a:pt x="426" y="300"/>
                    <a:pt x="417" y="297"/>
                    <a:pt x="411" y="300"/>
                  </a:cubicBezTo>
                  <a:cubicBezTo>
                    <a:pt x="402" y="303"/>
                    <a:pt x="402" y="309"/>
                    <a:pt x="399" y="306"/>
                  </a:cubicBezTo>
                  <a:cubicBezTo>
                    <a:pt x="396" y="306"/>
                    <a:pt x="387" y="309"/>
                    <a:pt x="384" y="306"/>
                  </a:cubicBezTo>
                  <a:cubicBezTo>
                    <a:pt x="381" y="303"/>
                    <a:pt x="384" y="303"/>
                    <a:pt x="387" y="303"/>
                  </a:cubicBezTo>
                  <a:cubicBezTo>
                    <a:pt x="390" y="303"/>
                    <a:pt x="390" y="303"/>
                    <a:pt x="390" y="300"/>
                  </a:cubicBezTo>
                  <a:cubicBezTo>
                    <a:pt x="387" y="297"/>
                    <a:pt x="393" y="294"/>
                    <a:pt x="393" y="291"/>
                  </a:cubicBezTo>
                  <a:cubicBezTo>
                    <a:pt x="393" y="291"/>
                    <a:pt x="378" y="294"/>
                    <a:pt x="378" y="297"/>
                  </a:cubicBezTo>
                  <a:cubicBezTo>
                    <a:pt x="375" y="297"/>
                    <a:pt x="378" y="303"/>
                    <a:pt x="375" y="303"/>
                  </a:cubicBezTo>
                  <a:cubicBezTo>
                    <a:pt x="372" y="303"/>
                    <a:pt x="372" y="300"/>
                    <a:pt x="369" y="300"/>
                  </a:cubicBezTo>
                  <a:cubicBezTo>
                    <a:pt x="366" y="300"/>
                    <a:pt x="348" y="303"/>
                    <a:pt x="345" y="309"/>
                  </a:cubicBezTo>
                  <a:cubicBezTo>
                    <a:pt x="339" y="312"/>
                    <a:pt x="333" y="312"/>
                    <a:pt x="333" y="315"/>
                  </a:cubicBezTo>
                  <a:cubicBezTo>
                    <a:pt x="333" y="318"/>
                    <a:pt x="324" y="315"/>
                    <a:pt x="321" y="318"/>
                  </a:cubicBezTo>
                  <a:cubicBezTo>
                    <a:pt x="318" y="321"/>
                    <a:pt x="318" y="327"/>
                    <a:pt x="318" y="330"/>
                  </a:cubicBezTo>
                  <a:cubicBezTo>
                    <a:pt x="318" y="333"/>
                    <a:pt x="303" y="333"/>
                    <a:pt x="300" y="333"/>
                  </a:cubicBezTo>
                  <a:cubicBezTo>
                    <a:pt x="294" y="333"/>
                    <a:pt x="294" y="324"/>
                    <a:pt x="291" y="324"/>
                  </a:cubicBezTo>
                  <a:cubicBezTo>
                    <a:pt x="285" y="324"/>
                    <a:pt x="288" y="318"/>
                    <a:pt x="288" y="318"/>
                  </a:cubicBezTo>
                  <a:cubicBezTo>
                    <a:pt x="291" y="315"/>
                    <a:pt x="294" y="315"/>
                    <a:pt x="297" y="315"/>
                  </a:cubicBezTo>
                  <a:cubicBezTo>
                    <a:pt x="300" y="312"/>
                    <a:pt x="306" y="315"/>
                    <a:pt x="306" y="312"/>
                  </a:cubicBezTo>
                  <a:cubicBezTo>
                    <a:pt x="309" y="312"/>
                    <a:pt x="300" y="306"/>
                    <a:pt x="300" y="303"/>
                  </a:cubicBezTo>
                  <a:cubicBezTo>
                    <a:pt x="300" y="297"/>
                    <a:pt x="291" y="297"/>
                    <a:pt x="285" y="297"/>
                  </a:cubicBezTo>
                  <a:cubicBezTo>
                    <a:pt x="282" y="300"/>
                    <a:pt x="276" y="300"/>
                    <a:pt x="273" y="297"/>
                  </a:cubicBezTo>
                  <a:cubicBezTo>
                    <a:pt x="270" y="294"/>
                    <a:pt x="270" y="300"/>
                    <a:pt x="273" y="300"/>
                  </a:cubicBezTo>
                  <a:cubicBezTo>
                    <a:pt x="279" y="303"/>
                    <a:pt x="276" y="306"/>
                    <a:pt x="276" y="309"/>
                  </a:cubicBezTo>
                  <a:cubicBezTo>
                    <a:pt x="279" y="312"/>
                    <a:pt x="276" y="318"/>
                    <a:pt x="273" y="321"/>
                  </a:cubicBezTo>
                  <a:cubicBezTo>
                    <a:pt x="270" y="327"/>
                    <a:pt x="273" y="327"/>
                    <a:pt x="276" y="327"/>
                  </a:cubicBezTo>
                  <a:cubicBezTo>
                    <a:pt x="282" y="324"/>
                    <a:pt x="282" y="330"/>
                    <a:pt x="282" y="336"/>
                  </a:cubicBezTo>
                  <a:cubicBezTo>
                    <a:pt x="282" y="339"/>
                    <a:pt x="276" y="342"/>
                    <a:pt x="276" y="345"/>
                  </a:cubicBezTo>
                  <a:cubicBezTo>
                    <a:pt x="276" y="348"/>
                    <a:pt x="273" y="342"/>
                    <a:pt x="273" y="345"/>
                  </a:cubicBezTo>
                  <a:cubicBezTo>
                    <a:pt x="270" y="345"/>
                    <a:pt x="270" y="342"/>
                    <a:pt x="270" y="342"/>
                  </a:cubicBezTo>
                  <a:cubicBezTo>
                    <a:pt x="270" y="339"/>
                    <a:pt x="261" y="339"/>
                    <a:pt x="258" y="339"/>
                  </a:cubicBezTo>
                  <a:cubicBezTo>
                    <a:pt x="255" y="339"/>
                    <a:pt x="252" y="339"/>
                    <a:pt x="252" y="342"/>
                  </a:cubicBezTo>
                  <a:cubicBezTo>
                    <a:pt x="249" y="345"/>
                    <a:pt x="243" y="345"/>
                    <a:pt x="240" y="345"/>
                  </a:cubicBezTo>
                  <a:cubicBezTo>
                    <a:pt x="237" y="348"/>
                    <a:pt x="234" y="351"/>
                    <a:pt x="231" y="354"/>
                  </a:cubicBezTo>
                  <a:cubicBezTo>
                    <a:pt x="228" y="357"/>
                    <a:pt x="225" y="360"/>
                    <a:pt x="231" y="363"/>
                  </a:cubicBezTo>
                  <a:cubicBezTo>
                    <a:pt x="234" y="369"/>
                    <a:pt x="237" y="372"/>
                    <a:pt x="234" y="372"/>
                  </a:cubicBezTo>
                  <a:cubicBezTo>
                    <a:pt x="234" y="375"/>
                    <a:pt x="225" y="375"/>
                    <a:pt x="222" y="372"/>
                  </a:cubicBezTo>
                  <a:cubicBezTo>
                    <a:pt x="219" y="369"/>
                    <a:pt x="213" y="369"/>
                    <a:pt x="210" y="369"/>
                  </a:cubicBezTo>
                  <a:cubicBezTo>
                    <a:pt x="207" y="369"/>
                    <a:pt x="201" y="363"/>
                    <a:pt x="198" y="363"/>
                  </a:cubicBezTo>
                  <a:cubicBezTo>
                    <a:pt x="195" y="363"/>
                    <a:pt x="192" y="366"/>
                    <a:pt x="189" y="369"/>
                  </a:cubicBezTo>
                  <a:cubicBezTo>
                    <a:pt x="189" y="369"/>
                    <a:pt x="192" y="372"/>
                    <a:pt x="195" y="375"/>
                  </a:cubicBezTo>
                  <a:cubicBezTo>
                    <a:pt x="195" y="378"/>
                    <a:pt x="201" y="378"/>
                    <a:pt x="204" y="378"/>
                  </a:cubicBezTo>
                  <a:cubicBezTo>
                    <a:pt x="207" y="378"/>
                    <a:pt x="207" y="384"/>
                    <a:pt x="207" y="384"/>
                  </a:cubicBezTo>
                  <a:cubicBezTo>
                    <a:pt x="204" y="387"/>
                    <a:pt x="198" y="390"/>
                    <a:pt x="198" y="387"/>
                  </a:cubicBezTo>
                  <a:cubicBezTo>
                    <a:pt x="195" y="384"/>
                    <a:pt x="189" y="387"/>
                    <a:pt x="189" y="384"/>
                  </a:cubicBezTo>
                  <a:cubicBezTo>
                    <a:pt x="189" y="381"/>
                    <a:pt x="183" y="378"/>
                    <a:pt x="177" y="378"/>
                  </a:cubicBezTo>
                  <a:cubicBezTo>
                    <a:pt x="174" y="378"/>
                    <a:pt x="171" y="375"/>
                    <a:pt x="171" y="372"/>
                  </a:cubicBezTo>
                  <a:cubicBezTo>
                    <a:pt x="174" y="369"/>
                    <a:pt x="168" y="366"/>
                    <a:pt x="171" y="363"/>
                  </a:cubicBezTo>
                  <a:cubicBezTo>
                    <a:pt x="171" y="363"/>
                    <a:pt x="168" y="357"/>
                    <a:pt x="171" y="357"/>
                  </a:cubicBezTo>
                  <a:cubicBezTo>
                    <a:pt x="174" y="354"/>
                    <a:pt x="171" y="351"/>
                    <a:pt x="171" y="348"/>
                  </a:cubicBezTo>
                  <a:cubicBezTo>
                    <a:pt x="171" y="345"/>
                    <a:pt x="165" y="342"/>
                    <a:pt x="162" y="342"/>
                  </a:cubicBezTo>
                  <a:cubicBezTo>
                    <a:pt x="159" y="342"/>
                    <a:pt x="159" y="339"/>
                    <a:pt x="156" y="339"/>
                  </a:cubicBezTo>
                  <a:cubicBezTo>
                    <a:pt x="153" y="336"/>
                    <a:pt x="144" y="330"/>
                    <a:pt x="144" y="327"/>
                  </a:cubicBezTo>
                  <a:cubicBezTo>
                    <a:pt x="144" y="327"/>
                    <a:pt x="138" y="327"/>
                    <a:pt x="141" y="324"/>
                  </a:cubicBezTo>
                  <a:cubicBezTo>
                    <a:pt x="141" y="324"/>
                    <a:pt x="147" y="324"/>
                    <a:pt x="150" y="327"/>
                  </a:cubicBezTo>
                  <a:cubicBezTo>
                    <a:pt x="153" y="330"/>
                    <a:pt x="156" y="333"/>
                    <a:pt x="165" y="336"/>
                  </a:cubicBezTo>
                  <a:cubicBezTo>
                    <a:pt x="174" y="336"/>
                    <a:pt x="177" y="339"/>
                    <a:pt x="186" y="342"/>
                  </a:cubicBezTo>
                  <a:cubicBezTo>
                    <a:pt x="192" y="342"/>
                    <a:pt x="198" y="342"/>
                    <a:pt x="210" y="345"/>
                  </a:cubicBezTo>
                  <a:cubicBezTo>
                    <a:pt x="222" y="348"/>
                    <a:pt x="240" y="333"/>
                    <a:pt x="243" y="330"/>
                  </a:cubicBezTo>
                  <a:cubicBezTo>
                    <a:pt x="246" y="327"/>
                    <a:pt x="243" y="321"/>
                    <a:pt x="243" y="318"/>
                  </a:cubicBezTo>
                  <a:cubicBezTo>
                    <a:pt x="243" y="315"/>
                    <a:pt x="237" y="315"/>
                    <a:pt x="237" y="312"/>
                  </a:cubicBezTo>
                  <a:cubicBezTo>
                    <a:pt x="234" y="312"/>
                    <a:pt x="231" y="306"/>
                    <a:pt x="228" y="306"/>
                  </a:cubicBezTo>
                  <a:cubicBezTo>
                    <a:pt x="222" y="306"/>
                    <a:pt x="222" y="300"/>
                    <a:pt x="216" y="303"/>
                  </a:cubicBezTo>
                  <a:cubicBezTo>
                    <a:pt x="213" y="303"/>
                    <a:pt x="210" y="300"/>
                    <a:pt x="201" y="294"/>
                  </a:cubicBezTo>
                  <a:cubicBezTo>
                    <a:pt x="192" y="288"/>
                    <a:pt x="177" y="282"/>
                    <a:pt x="174" y="282"/>
                  </a:cubicBezTo>
                  <a:cubicBezTo>
                    <a:pt x="171" y="285"/>
                    <a:pt x="171" y="285"/>
                    <a:pt x="168" y="282"/>
                  </a:cubicBezTo>
                  <a:cubicBezTo>
                    <a:pt x="168" y="279"/>
                    <a:pt x="162" y="279"/>
                    <a:pt x="162" y="282"/>
                  </a:cubicBezTo>
                  <a:cubicBezTo>
                    <a:pt x="159" y="285"/>
                    <a:pt x="156" y="279"/>
                    <a:pt x="150" y="282"/>
                  </a:cubicBezTo>
                  <a:cubicBezTo>
                    <a:pt x="144" y="282"/>
                    <a:pt x="144" y="279"/>
                    <a:pt x="144" y="279"/>
                  </a:cubicBezTo>
                  <a:cubicBezTo>
                    <a:pt x="144" y="276"/>
                    <a:pt x="153" y="279"/>
                    <a:pt x="153" y="276"/>
                  </a:cubicBezTo>
                  <a:cubicBezTo>
                    <a:pt x="153" y="273"/>
                    <a:pt x="150" y="276"/>
                    <a:pt x="144" y="273"/>
                  </a:cubicBezTo>
                  <a:cubicBezTo>
                    <a:pt x="141" y="270"/>
                    <a:pt x="138" y="270"/>
                    <a:pt x="138" y="273"/>
                  </a:cubicBezTo>
                  <a:cubicBezTo>
                    <a:pt x="135" y="276"/>
                    <a:pt x="132" y="276"/>
                    <a:pt x="129" y="273"/>
                  </a:cubicBezTo>
                  <a:cubicBezTo>
                    <a:pt x="129" y="273"/>
                    <a:pt x="129" y="273"/>
                    <a:pt x="129" y="273"/>
                  </a:cubicBezTo>
                  <a:cubicBezTo>
                    <a:pt x="129" y="276"/>
                    <a:pt x="126" y="276"/>
                    <a:pt x="123" y="276"/>
                  </a:cubicBezTo>
                  <a:cubicBezTo>
                    <a:pt x="120" y="276"/>
                    <a:pt x="117" y="282"/>
                    <a:pt x="114" y="282"/>
                  </a:cubicBezTo>
                  <a:cubicBezTo>
                    <a:pt x="111" y="282"/>
                    <a:pt x="108" y="285"/>
                    <a:pt x="105" y="288"/>
                  </a:cubicBezTo>
                  <a:cubicBezTo>
                    <a:pt x="105" y="291"/>
                    <a:pt x="102" y="288"/>
                    <a:pt x="102" y="291"/>
                  </a:cubicBezTo>
                  <a:cubicBezTo>
                    <a:pt x="102" y="294"/>
                    <a:pt x="102" y="294"/>
                    <a:pt x="99" y="297"/>
                  </a:cubicBezTo>
                  <a:cubicBezTo>
                    <a:pt x="99" y="300"/>
                    <a:pt x="99" y="300"/>
                    <a:pt x="102" y="303"/>
                  </a:cubicBezTo>
                  <a:cubicBezTo>
                    <a:pt x="105" y="306"/>
                    <a:pt x="108" y="306"/>
                    <a:pt x="108" y="309"/>
                  </a:cubicBezTo>
                  <a:cubicBezTo>
                    <a:pt x="111" y="309"/>
                    <a:pt x="117" y="315"/>
                    <a:pt x="117" y="315"/>
                  </a:cubicBezTo>
                  <a:cubicBezTo>
                    <a:pt x="117" y="318"/>
                    <a:pt x="111" y="324"/>
                    <a:pt x="111" y="324"/>
                  </a:cubicBezTo>
                  <a:cubicBezTo>
                    <a:pt x="108" y="327"/>
                    <a:pt x="105" y="330"/>
                    <a:pt x="108" y="330"/>
                  </a:cubicBezTo>
                  <a:cubicBezTo>
                    <a:pt x="108" y="333"/>
                    <a:pt x="114" y="342"/>
                    <a:pt x="117" y="348"/>
                  </a:cubicBezTo>
                  <a:cubicBezTo>
                    <a:pt x="120" y="354"/>
                    <a:pt x="117" y="351"/>
                    <a:pt x="114" y="354"/>
                  </a:cubicBezTo>
                  <a:cubicBezTo>
                    <a:pt x="111" y="357"/>
                    <a:pt x="114" y="360"/>
                    <a:pt x="114" y="363"/>
                  </a:cubicBezTo>
                  <a:cubicBezTo>
                    <a:pt x="117" y="366"/>
                    <a:pt x="111" y="366"/>
                    <a:pt x="114" y="366"/>
                  </a:cubicBezTo>
                  <a:cubicBezTo>
                    <a:pt x="114" y="369"/>
                    <a:pt x="117" y="369"/>
                    <a:pt x="117" y="369"/>
                  </a:cubicBezTo>
                  <a:cubicBezTo>
                    <a:pt x="120" y="372"/>
                    <a:pt x="114" y="372"/>
                    <a:pt x="117" y="375"/>
                  </a:cubicBezTo>
                  <a:cubicBezTo>
                    <a:pt x="117" y="378"/>
                    <a:pt x="123" y="378"/>
                    <a:pt x="123" y="381"/>
                  </a:cubicBezTo>
                  <a:cubicBezTo>
                    <a:pt x="123" y="384"/>
                    <a:pt x="114" y="387"/>
                    <a:pt x="117" y="387"/>
                  </a:cubicBezTo>
                  <a:cubicBezTo>
                    <a:pt x="117" y="390"/>
                    <a:pt x="126" y="393"/>
                    <a:pt x="129" y="399"/>
                  </a:cubicBezTo>
                  <a:cubicBezTo>
                    <a:pt x="135" y="405"/>
                    <a:pt x="135" y="405"/>
                    <a:pt x="132" y="408"/>
                  </a:cubicBezTo>
                  <a:cubicBezTo>
                    <a:pt x="132" y="414"/>
                    <a:pt x="120" y="417"/>
                    <a:pt x="117" y="423"/>
                  </a:cubicBezTo>
                  <a:cubicBezTo>
                    <a:pt x="114" y="429"/>
                    <a:pt x="105" y="435"/>
                    <a:pt x="99" y="438"/>
                  </a:cubicBezTo>
                  <a:cubicBezTo>
                    <a:pt x="96" y="441"/>
                    <a:pt x="96" y="444"/>
                    <a:pt x="93" y="444"/>
                  </a:cubicBezTo>
                  <a:cubicBezTo>
                    <a:pt x="96" y="444"/>
                    <a:pt x="96" y="444"/>
                    <a:pt x="99" y="444"/>
                  </a:cubicBezTo>
                  <a:cubicBezTo>
                    <a:pt x="102" y="441"/>
                    <a:pt x="102" y="450"/>
                    <a:pt x="105" y="450"/>
                  </a:cubicBezTo>
                  <a:cubicBezTo>
                    <a:pt x="108" y="453"/>
                    <a:pt x="114" y="450"/>
                    <a:pt x="114" y="453"/>
                  </a:cubicBezTo>
                  <a:cubicBezTo>
                    <a:pt x="117" y="456"/>
                    <a:pt x="114" y="456"/>
                    <a:pt x="111" y="453"/>
                  </a:cubicBezTo>
                  <a:cubicBezTo>
                    <a:pt x="105" y="453"/>
                    <a:pt x="105" y="456"/>
                    <a:pt x="99" y="459"/>
                  </a:cubicBezTo>
                  <a:cubicBezTo>
                    <a:pt x="96" y="459"/>
                    <a:pt x="96" y="462"/>
                    <a:pt x="93" y="462"/>
                  </a:cubicBezTo>
                  <a:cubicBezTo>
                    <a:pt x="96" y="465"/>
                    <a:pt x="93" y="468"/>
                    <a:pt x="90" y="471"/>
                  </a:cubicBezTo>
                  <a:cubicBezTo>
                    <a:pt x="90" y="474"/>
                    <a:pt x="87" y="474"/>
                    <a:pt x="87" y="477"/>
                  </a:cubicBezTo>
                  <a:cubicBezTo>
                    <a:pt x="87" y="477"/>
                    <a:pt x="87" y="480"/>
                    <a:pt x="87" y="483"/>
                  </a:cubicBezTo>
                  <a:cubicBezTo>
                    <a:pt x="90" y="486"/>
                    <a:pt x="90" y="486"/>
                    <a:pt x="90" y="489"/>
                  </a:cubicBezTo>
                  <a:cubicBezTo>
                    <a:pt x="93" y="492"/>
                    <a:pt x="90" y="492"/>
                    <a:pt x="87" y="492"/>
                  </a:cubicBezTo>
                  <a:cubicBezTo>
                    <a:pt x="87" y="492"/>
                    <a:pt x="87" y="495"/>
                    <a:pt x="90" y="498"/>
                  </a:cubicBezTo>
                  <a:cubicBezTo>
                    <a:pt x="90" y="501"/>
                    <a:pt x="90" y="501"/>
                    <a:pt x="90" y="504"/>
                  </a:cubicBezTo>
                  <a:cubicBezTo>
                    <a:pt x="90" y="507"/>
                    <a:pt x="93" y="510"/>
                    <a:pt x="93" y="510"/>
                  </a:cubicBezTo>
                  <a:cubicBezTo>
                    <a:pt x="96" y="513"/>
                    <a:pt x="96" y="516"/>
                    <a:pt x="96" y="519"/>
                  </a:cubicBezTo>
                  <a:cubicBezTo>
                    <a:pt x="99" y="519"/>
                    <a:pt x="99" y="522"/>
                    <a:pt x="102" y="519"/>
                  </a:cubicBezTo>
                  <a:cubicBezTo>
                    <a:pt x="105" y="519"/>
                    <a:pt x="108" y="522"/>
                    <a:pt x="108" y="522"/>
                  </a:cubicBezTo>
                  <a:cubicBezTo>
                    <a:pt x="111" y="525"/>
                    <a:pt x="111" y="525"/>
                    <a:pt x="114" y="522"/>
                  </a:cubicBezTo>
                  <a:cubicBezTo>
                    <a:pt x="117" y="522"/>
                    <a:pt x="123" y="525"/>
                    <a:pt x="126" y="525"/>
                  </a:cubicBezTo>
                  <a:cubicBezTo>
                    <a:pt x="126" y="528"/>
                    <a:pt x="126" y="531"/>
                    <a:pt x="126" y="534"/>
                  </a:cubicBezTo>
                  <a:cubicBezTo>
                    <a:pt x="126" y="537"/>
                    <a:pt x="126" y="540"/>
                    <a:pt x="129" y="543"/>
                  </a:cubicBezTo>
                  <a:cubicBezTo>
                    <a:pt x="129" y="543"/>
                    <a:pt x="129" y="546"/>
                    <a:pt x="132" y="549"/>
                  </a:cubicBezTo>
                  <a:cubicBezTo>
                    <a:pt x="135" y="549"/>
                    <a:pt x="138" y="555"/>
                    <a:pt x="138" y="555"/>
                  </a:cubicBezTo>
                  <a:cubicBezTo>
                    <a:pt x="141" y="555"/>
                    <a:pt x="144" y="558"/>
                    <a:pt x="147" y="561"/>
                  </a:cubicBezTo>
                  <a:cubicBezTo>
                    <a:pt x="147" y="564"/>
                    <a:pt x="141" y="564"/>
                    <a:pt x="141" y="567"/>
                  </a:cubicBezTo>
                  <a:cubicBezTo>
                    <a:pt x="138" y="567"/>
                    <a:pt x="132" y="564"/>
                    <a:pt x="132" y="564"/>
                  </a:cubicBezTo>
                  <a:cubicBezTo>
                    <a:pt x="129" y="567"/>
                    <a:pt x="132" y="570"/>
                    <a:pt x="135" y="576"/>
                  </a:cubicBezTo>
                  <a:cubicBezTo>
                    <a:pt x="135" y="582"/>
                    <a:pt x="135" y="582"/>
                    <a:pt x="138" y="582"/>
                  </a:cubicBezTo>
                  <a:cubicBezTo>
                    <a:pt x="141" y="582"/>
                    <a:pt x="141" y="579"/>
                    <a:pt x="144" y="579"/>
                  </a:cubicBezTo>
                  <a:cubicBezTo>
                    <a:pt x="144" y="576"/>
                    <a:pt x="150" y="579"/>
                    <a:pt x="150" y="579"/>
                  </a:cubicBezTo>
                  <a:cubicBezTo>
                    <a:pt x="153" y="576"/>
                    <a:pt x="159" y="576"/>
                    <a:pt x="159" y="579"/>
                  </a:cubicBezTo>
                  <a:cubicBezTo>
                    <a:pt x="162" y="582"/>
                    <a:pt x="162" y="585"/>
                    <a:pt x="162" y="588"/>
                  </a:cubicBezTo>
                  <a:cubicBezTo>
                    <a:pt x="162" y="588"/>
                    <a:pt x="162" y="591"/>
                    <a:pt x="165" y="594"/>
                  </a:cubicBezTo>
                  <a:cubicBezTo>
                    <a:pt x="165" y="597"/>
                    <a:pt x="171" y="594"/>
                    <a:pt x="174" y="597"/>
                  </a:cubicBezTo>
                  <a:cubicBezTo>
                    <a:pt x="174" y="597"/>
                    <a:pt x="177" y="603"/>
                    <a:pt x="177" y="606"/>
                  </a:cubicBezTo>
                  <a:cubicBezTo>
                    <a:pt x="177" y="606"/>
                    <a:pt x="180" y="609"/>
                    <a:pt x="183" y="606"/>
                  </a:cubicBezTo>
                  <a:cubicBezTo>
                    <a:pt x="186" y="609"/>
                    <a:pt x="186" y="609"/>
                    <a:pt x="186" y="609"/>
                  </a:cubicBezTo>
                  <a:cubicBezTo>
                    <a:pt x="189" y="612"/>
                    <a:pt x="192" y="609"/>
                    <a:pt x="192" y="609"/>
                  </a:cubicBezTo>
                  <a:cubicBezTo>
                    <a:pt x="195" y="609"/>
                    <a:pt x="198" y="606"/>
                    <a:pt x="198" y="609"/>
                  </a:cubicBezTo>
                  <a:cubicBezTo>
                    <a:pt x="201" y="609"/>
                    <a:pt x="204" y="612"/>
                    <a:pt x="204" y="615"/>
                  </a:cubicBezTo>
                  <a:cubicBezTo>
                    <a:pt x="204" y="615"/>
                    <a:pt x="210" y="615"/>
                    <a:pt x="213" y="615"/>
                  </a:cubicBezTo>
                  <a:cubicBezTo>
                    <a:pt x="216" y="618"/>
                    <a:pt x="219" y="618"/>
                    <a:pt x="222" y="618"/>
                  </a:cubicBezTo>
                  <a:cubicBezTo>
                    <a:pt x="225" y="621"/>
                    <a:pt x="228" y="621"/>
                    <a:pt x="231" y="621"/>
                  </a:cubicBezTo>
                  <a:cubicBezTo>
                    <a:pt x="231" y="624"/>
                    <a:pt x="225" y="627"/>
                    <a:pt x="225" y="627"/>
                  </a:cubicBezTo>
                  <a:cubicBezTo>
                    <a:pt x="228" y="630"/>
                    <a:pt x="228" y="630"/>
                    <a:pt x="228" y="630"/>
                  </a:cubicBezTo>
                  <a:cubicBezTo>
                    <a:pt x="228" y="633"/>
                    <a:pt x="225" y="633"/>
                    <a:pt x="225" y="633"/>
                  </a:cubicBezTo>
                  <a:cubicBezTo>
                    <a:pt x="228" y="636"/>
                    <a:pt x="228" y="636"/>
                    <a:pt x="228" y="636"/>
                  </a:cubicBezTo>
                  <a:cubicBezTo>
                    <a:pt x="228" y="639"/>
                    <a:pt x="225" y="642"/>
                    <a:pt x="225" y="645"/>
                  </a:cubicBezTo>
                  <a:cubicBezTo>
                    <a:pt x="225" y="645"/>
                    <a:pt x="219" y="645"/>
                    <a:pt x="216" y="645"/>
                  </a:cubicBezTo>
                  <a:cubicBezTo>
                    <a:pt x="216" y="645"/>
                    <a:pt x="210" y="651"/>
                    <a:pt x="207" y="651"/>
                  </a:cubicBezTo>
                  <a:cubicBezTo>
                    <a:pt x="207" y="654"/>
                    <a:pt x="207" y="654"/>
                    <a:pt x="207" y="654"/>
                  </a:cubicBezTo>
                  <a:cubicBezTo>
                    <a:pt x="213" y="654"/>
                    <a:pt x="219" y="654"/>
                    <a:pt x="219" y="654"/>
                  </a:cubicBezTo>
                  <a:cubicBezTo>
                    <a:pt x="219" y="657"/>
                    <a:pt x="207" y="663"/>
                    <a:pt x="204" y="663"/>
                  </a:cubicBezTo>
                  <a:cubicBezTo>
                    <a:pt x="204" y="663"/>
                    <a:pt x="210" y="666"/>
                    <a:pt x="210" y="669"/>
                  </a:cubicBezTo>
                  <a:cubicBezTo>
                    <a:pt x="210" y="672"/>
                    <a:pt x="201" y="672"/>
                    <a:pt x="204" y="675"/>
                  </a:cubicBezTo>
                  <a:cubicBezTo>
                    <a:pt x="204" y="681"/>
                    <a:pt x="201" y="681"/>
                    <a:pt x="195" y="681"/>
                  </a:cubicBezTo>
                  <a:cubicBezTo>
                    <a:pt x="192" y="681"/>
                    <a:pt x="192" y="684"/>
                    <a:pt x="192" y="684"/>
                  </a:cubicBezTo>
                  <a:cubicBezTo>
                    <a:pt x="195" y="684"/>
                    <a:pt x="195" y="690"/>
                    <a:pt x="201" y="690"/>
                  </a:cubicBezTo>
                  <a:cubicBezTo>
                    <a:pt x="210" y="693"/>
                    <a:pt x="216" y="699"/>
                    <a:pt x="222" y="705"/>
                  </a:cubicBezTo>
                  <a:cubicBezTo>
                    <a:pt x="225" y="708"/>
                    <a:pt x="225" y="708"/>
                    <a:pt x="225" y="708"/>
                  </a:cubicBezTo>
                  <a:cubicBezTo>
                    <a:pt x="228" y="708"/>
                    <a:pt x="228" y="705"/>
                    <a:pt x="231" y="705"/>
                  </a:cubicBezTo>
                  <a:cubicBezTo>
                    <a:pt x="234" y="705"/>
                    <a:pt x="240" y="708"/>
                    <a:pt x="243" y="711"/>
                  </a:cubicBezTo>
                  <a:cubicBezTo>
                    <a:pt x="246" y="714"/>
                    <a:pt x="261" y="711"/>
                    <a:pt x="261" y="711"/>
                  </a:cubicBezTo>
                  <a:cubicBezTo>
                    <a:pt x="264" y="714"/>
                    <a:pt x="267" y="717"/>
                    <a:pt x="267" y="717"/>
                  </a:cubicBezTo>
                  <a:cubicBezTo>
                    <a:pt x="270" y="717"/>
                    <a:pt x="273" y="720"/>
                    <a:pt x="276" y="720"/>
                  </a:cubicBezTo>
                  <a:cubicBezTo>
                    <a:pt x="276" y="717"/>
                    <a:pt x="285" y="717"/>
                    <a:pt x="288" y="717"/>
                  </a:cubicBezTo>
                  <a:cubicBezTo>
                    <a:pt x="288" y="717"/>
                    <a:pt x="288" y="720"/>
                    <a:pt x="291" y="720"/>
                  </a:cubicBezTo>
                  <a:cubicBezTo>
                    <a:pt x="294" y="720"/>
                    <a:pt x="294" y="726"/>
                    <a:pt x="294" y="726"/>
                  </a:cubicBezTo>
                  <a:cubicBezTo>
                    <a:pt x="297" y="726"/>
                    <a:pt x="300" y="732"/>
                    <a:pt x="306" y="732"/>
                  </a:cubicBezTo>
                  <a:cubicBezTo>
                    <a:pt x="309" y="732"/>
                    <a:pt x="312" y="738"/>
                    <a:pt x="312" y="738"/>
                  </a:cubicBezTo>
                  <a:cubicBezTo>
                    <a:pt x="315" y="738"/>
                    <a:pt x="318" y="741"/>
                    <a:pt x="318" y="738"/>
                  </a:cubicBezTo>
                  <a:cubicBezTo>
                    <a:pt x="318" y="735"/>
                    <a:pt x="324" y="735"/>
                    <a:pt x="327" y="732"/>
                  </a:cubicBezTo>
                  <a:cubicBezTo>
                    <a:pt x="318" y="723"/>
                    <a:pt x="312" y="717"/>
                    <a:pt x="312" y="714"/>
                  </a:cubicBezTo>
                  <a:cubicBezTo>
                    <a:pt x="312" y="708"/>
                    <a:pt x="315" y="702"/>
                    <a:pt x="309" y="696"/>
                  </a:cubicBezTo>
                  <a:cubicBezTo>
                    <a:pt x="300" y="690"/>
                    <a:pt x="309" y="687"/>
                    <a:pt x="315" y="681"/>
                  </a:cubicBezTo>
                  <a:cubicBezTo>
                    <a:pt x="318" y="675"/>
                    <a:pt x="327" y="672"/>
                    <a:pt x="333" y="669"/>
                  </a:cubicBezTo>
                  <a:cubicBezTo>
                    <a:pt x="333" y="669"/>
                    <a:pt x="333" y="666"/>
                    <a:pt x="330" y="666"/>
                  </a:cubicBezTo>
                  <a:cubicBezTo>
                    <a:pt x="327" y="666"/>
                    <a:pt x="324" y="663"/>
                    <a:pt x="327" y="663"/>
                  </a:cubicBezTo>
                  <a:cubicBezTo>
                    <a:pt x="330" y="660"/>
                    <a:pt x="330" y="660"/>
                    <a:pt x="327" y="654"/>
                  </a:cubicBezTo>
                  <a:cubicBezTo>
                    <a:pt x="324" y="651"/>
                    <a:pt x="321" y="648"/>
                    <a:pt x="318" y="648"/>
                  </a:cubicBezTo>
                  <a:cubicBezTo>
                    <a:pt x="318" y="648"/>
                    <a:pt x="315" y="645"/>
                    <a:pt x="312" y="648"/>
                  </a:cubicBezTo>
                  <a:cubicBezTo>
                    <a:pt x="309" y="648"/>
                    <a:pt x="309" y="645"/>
                    <a:pt x="309" y="642"/>
                  </a:cubicBezTo>
                  <a:cubicBezTo>
                    <a:pt x="309" y="639"/>
                    <a:pt x="303" y="639"/>
                    <a:pt x="303" y="636"/>
                  </a:cubicBezTo>
                  <a:cubicBezTo>
                    <a:pt x="303" y="636"/>
                    <a:pt x="303" y="630"/>
                    <a:pt x="306" y="630"/>
                  </a:cubicBezTo>
                  <a:cubicBezTo>
                    <a:pt x="309" y="627"/>
                    <a:pt x="309" y="627"/>
                    <a:pt x="309" y="627"/>
                  </a:cubicBezTo>
                  <a:cubicBezTo>
                    <a:pt x="309" y="624"/>
                    <a:pt x="303" y="624"/>
                    <a:pt x="306" y="621"/>
                  </a:cubicBezTo>
                  <a:cubicBezTo>
                    <a:pt x="309" y="618"/>
                    <a:pt x="312" y="618"/>
                    <a:pt x="312" y="615"/>
                  </a:cubicBezTo>
                  <a:cubicBezTo>
                    <a:pt x="312" y="609"/>
                    <a:pt x="315" y="606"/>
                    <a:pt x="318" y="609"/>
                  </a:cubicBezTo>
                  <a:cubicBezTo>
                    <a:pt x="321" y="612"/>
                    <a:pt x="324" y="618"/>
                    <a:pt x="327" y="618"/>
                  </a:cubicBezTo>
                  <a:cubicBezTo>
                    <a:pt x="330" y="615"/>
                    <a:pt x="330" y="612"/>
                    <a:pt x="327" y="609"/>
                  </a:cubicBezTo>
                  <a:cubicBezTo>
                    <a:pt x="327" y="609"/>
                    <a:pt x="327" y="606"/>
                    <a:pt x="330" y="603"/>
                  </a:cubicBezTo>
                  <a:cubicBezTo>
                    <a:pt x="336" y="603"/>
                    <a:pt x="333" y="600"/>
                    <a:pt x="336" y="600"/>
                  </a:cubicBezTo>
                  <a:cubicBezTo>
                    <a:pt x="342" y="600"/>
                    <a:pt x="348" y="594"/>
                    <a:pt x="348" y="594"/>
                  </a:cubicBezTo>
                  <a:cubicBezTo>
                    <a:pt x="351" y="591"/>
                    <a:pt x="357" y="591"/>
                    <a:pt x="357" y="591"/>
                  </a:cubicBezTo>
                  <a:cubicBezTo>
                    <a:pt x="360" y="591"/>
                    <a:pt x="363" y="594"/>
                    <a:pt x="363" y="591"/>
                  </a:cubicBezTo>
                  <a:cubicBezTo>
                    <a:pt x="366" y="588"/>
                    <a:pt x="372" y="588"/>
                    <a:pt x="372" y="591"/>
                  </a:cubicBezTo>
                  <a:cubicBezTo>
                    <a:pt x="372" y="594"/>
                    <a:pt x="381" y="594"/>
                    <a:pt x="384" y="594"/>
                  </a:cubicBezTo>
                  <a:cubicBezTo>
                    <a:pt x="387" y="597"/>
                    <a:pt x="393" y="600"/>
                    <a:pt x="393" y="603"/>
                  </a:cubicBezTo>
                  <a:cubicBezTo>
                    <a:pt x="393" y="606"/>
                    <a:pt x="396" y="609"/>
                    <a:pt x="396" y="603"/>
                  </a:cubicBezTo>
                  <a:cubicBezTo>
                    <a:pt x="396" y="600"/>
                    <a:pt x="399" y="603"/>
                    <a:pt x="405" y="603"/>
                  </a:cubicBezTo>
                  <a:cubicBezTo>
                    <a:pt x="408" y="606"/>
                    <a:pt x="414" y="606"/>
                    <a:pt x="414" y="603"/>
                  </a:cubicBezTo>
                  <a:cubicBezTo>
                    <a:pt x="414" y="600"/>
                    <a:pt x="423" y="597"/>
                    <a:pt x="426" y="600"/>
                  </a:cubicBezTo>
                  <a:cubicBezTo>
                    <a:pt x="429" y="603"/>
                    <a:pt x="429" y="603"/>
                    <a:pt x="432" y="600"/>
                  </a:cubicBezTo>
                  <a:cubicBezTo>
                    <a:pt x="435" y="597"/>
                    <a:pt x="441" y="597"/>
                    <a:pt x="444" y="600"/>
                  </a:cubicBezTo>
                  <a:cubicBezTo>
                    <a:pt x="444" y="603"/>
                    <a:pt x="447" y="603"/>
                    <a:pt x="450" y="603"/>
                  </a:cubicBezTo>
                  <a:cubicBezTo>
                    <a:pt x="453" y="603"/>
                    <a:pt x="453" y="609"/>
                    <a:pt x="456" y="609"/>
                  </a:cubicBezTo>
                  <a:cubicBezTo>
                    <a:pt x="459" y="606"/>
                    <a:pt x="456" y="603"/>
                    <a:pt x="459" y="603"/>
                  </a:cubicBezTo>
                  <a:cubicBezTo>
                    <a:pt x="462" y="603"/>
                    <a:pt x="465" y="606"/>
                    <a:pt x="468" y="606"/>
                  </a:cubicBezTo>
                  <a:cubicBezTo>
                    <a:pt x="471" y="606"/>
                    <a:pt x="474" y="606"/>
                    <a:pt x="474" y="603"/>
                  </a:cubicBezTo>
                  <a:cubicBezTo>
                    <a:pt x="474" y="600"/>
                    <a:pt x="474" y="594"/>
                    <a:pt x="471" y="594"/>
                  </a:cubicBezTo>
                  <a:cubicBezTo>
                    <a:pt x="471" y="594"/>
                    <a:pt x="468" y="591"/>
                    <a:pt x="465" y="591"/>
                  </a:cubicBezTo>
                  <a:cubicBezTo>
                    <a:pt x="462" y="591"/>
                    <a:pt x="459" y="585"/>
                    <a:pt x="462" y="585"/>
                  </a:cubicBezTo>
                  <a:cubicBezTo>
                    <a:pt x="465" y="585"/>
                    <a:pt x="468" y="582"/>
                    <a:pt x="468" y="579"/>
                  </a:cubicBezTo>
                  <a:cubicBezTo>
                    <a:pt x="468" y="576"/>
                    <a:pt x="465" y="573"/>
                    <a:pt x="471" y="570"/>
                  </a:cubicBezTo>
                  <a:cubicBezTo>
                    <a:pt x="474" y="570"/>
                    <a:pt x="482" y="570"/>
                    <a:pt x="482" y="570"/>
                  </a:cubicBezTo>
                  <a:cubicBezTo>
                    <a:pt x="482" y="567"/>
                    <a:pt x="474" y="567"/>
                    <a:pt x="471" y="564"/>
                  </a:cubicBezTo>
                  <a:cubicBezTo>
                    <a:pt x="471" y="561"/>
                    <a:pt x="471" y="555"/>
                    <a:pt x="471" y="555"/>
                  </a:cubicBezTo>
                  <a:cubicBezTo>
                    <a:pt x="474" y="555"/>
                    <a:pt x="477" y="555"/>
                    <a:pt x="479" y="555"/>
                  </a:cubicBezTo>
                  <a:cubicBezTo>
                    <a:pt x="482" y="552"/>
                    <a:pt x="491" y="555"/>
                    <a:pt x="494" y="552"/>
                  </a:cubicBezTo>
                  <a:cubicBezTo>
                    <a:pt x="497" y="549"/>
                    <a:pt x="506" y="549"/>
                    <a:pt x="512" y="549"/>
                  </a:cubicBezTo>
                  <a:cubicBezTo>
                    <a:pt x="515" y="549"/>
                    <a:pt x="518" y="546"/>
                    <a:pt x="521" y="546"/>
                  </a:cubicBezTo>
                  <a:cubicBezTo>
                    <a:pt x="527" y="546"/>
                    <a:pt x="536" y="543"/>
                    <a:pt x="539" y="543"/>
                  </a:cubicBezTo>
                  <a:cubicBezTo>
                    <a:pt x="542" y="543"/>
                    <a:pt x="554" y="540"/>
                    <a:pt x="554" y="537"/>
                  </a:cubicBezTo>
                  <a:cubicBezTo>
                    <a:pt x="554" y="534"/>
                    <a:pt x="566" y="534"/>
                    <a:pt x="569" y="534"/>
                  </a:cubicBezTo>
                  <a:cubicBezTo>
                    <a:pt x="572" y="534"/>
                    <a:pt x="575" y="537"/>
                    <a:pt x="578" y="534"/>
                  </a:cubicBezTo>
                  <a:cubicBezTo>
                    <a:pt x="581" y="534"/>
                    <a:pt x="584" y="537"/>
                    <a:pt x="584" y="540"/>
                  </a:cubicBezTo>
                  <a:cubicBezTo>
                    <a:pt x="584" y="543"/>
                    <a:pt x="587" y="546"/>
                    <a:pt x="587" y="549"/>
                  </a:cubicBezTo>
                  <a:cubicBezTo>
                    <a:pt x="587" y="549"/>
                    <a:pt x="584" y="552"/>
                    <a:pt x="587" y="552"/>
                  </a:cubicBezTo>
                  <a:cubicBezTo>
                    <a:pt x="587" y="555"/>
                    <a:pt x="593" y="552"/>
                    <a:pt x="596" y="552"/>
                  </a:cubicBezTo>
                  <a:cubicBezTo>
                    <a:pt x="599" y="549"/>
                    <a:pt x="599" y="552"/>
                    <a:pt x="599" y="552"/>
                  </a:cubicBezTo>
                  <a:cubicBezTo>
                    <a:pt x="599" y="555"/>
                    <a:pt x="602" y="555"/>
                    <a:pt x="602" y="555"/>
                  </a:cubicBezTo>
                  <a:cubicBezTo>
                    <a:pt x="602" y="552"/>
                    <a:pt x="608" y="552"/>
                    <a:pt x="608" y="555"/>
                  </a:cubicBezTo>
                  <a:cubicBezTo>
                    <a:pt x="611" y="555"/>
                    <a:pt x="614" y="552"/>
                    <a:pt x="614" y="555"/>
                  </a:cubicBezTo>
                  <a:cubicBezTo>
                    <a:pt x="614" y="558"/>
                    <a:pt x="608" y="561"/>
                    <a:pt x="611" y="564"/>
                  </a:cubicBezTo>
                  <a:cubicBezTo>
                    <a:pt x="614" y="567"/>
                    <a:pt x="614" y="561"/>
                    <a:pt x="620" y="561"/>
                  </a:cubicBezTo>
                  <a:cubicBezTo>
                    <a:pt x="623" y="561"/>
                    <a:pt x="629" y="558"/>
                    <a:pt x="632" y="555"/>
                  </a:cubicBezTo>
                  <a:cubicBezTo>
                    <a:pt x="635" y="555"/>
                    <a:pt x="638" y="552"/>
                    <a:pt x="641" y="549"/>
                  </a:cubicBezTo>
                  <a:cubicBezTo>
                    <a:pt x="644" y="549"/>
                    <a:pt x="650" y="549"/>
                    <a:pt x="650" y="552"/>
                  </a:cubicBezTo>
                  <a:cubicBezTo>
                    <a:pt x="647" y="552"/>
                    <a:pt x="644" y="558"/>
                    <a:pt x="653" y="558"/>
                  </a:cubicBezTo>
                  <a:cubicBezTo>
                    <a:pt x="659" y="561"/>
                    <a:pt x="668" y="576"/>
                    <a:pt x="674" y="585"/>
                  </a:cubicBezTo>
                  <a:cubicBezTo>
                    <a:pt x="677" y="591"/>
                    <a:pt x="683" y="603"/>
                    <a:pt x="686" y="603"/>
                  </a:cubicBezTo>
                  <a:cubicBezTo>
                    <a:pt x="686" y="603"/>
                    <a:pt x="689" y="597"/>
                    <a:pt x="692" y="597"/>
                  </a:cubicBezTo>
                  <a:cubicBezTo>
                    <a:pt x="695" y="597"/>
                    <a:pt x="698" y="603"/>
                    <a:pt x="701" y="603"/>
                  </a:cubicBezTo>
                  <a:cubicBezTo>
                    <a:pt x="704" y="603"/>
                    <a:pt x="707" y="606"/>
                    <a:pt x="710" y="606"/>
                  </a:cubicBezTo>
                  <a:cubicBezTo>
                    <a:pt x="713" y="603"/>
                    <a:pt x="719" y="600"/>
                    <a:pt x="722" y="603"/>
                  </a:cubicBezTo>
                  <a:cubicBezTo>
                    <a:pt x="725" y="603"/>
                    <a:pt x="728" y="603"/>
                    <a:pt x="731" y="609"/>
                  </a:cubicBezTo>
                  <a:cubicBezTo>
                    <a:pt x="731" y="612"/>
                    <a:pt x="734" y="612"/>
                    <a:pt x="737" y="612"/>
                  </a:cubicBezTo>
                  <a:cubicBezTo>
                    <a:pt x="740" y="612"/>
                    <a:pt x="740" y="615"/>
                    <a:pt x="740" y="618"/>
                  </a:cubicBezTo>
                  <a:cubicBezTo>
                    <a:pt x="740" y="621"/>
                    <a:pt x="743" y="621"/>
                    <a:pt x="746" y="621"/>
                  </a:cubicBezTo>
                  <a:cubicBezTo>
                    <a:pt x="746" y="621"/>
                    <a:pt x="752" y="621"/>
                    <a:pt x="755" y="621"/>
                  </a:cubicBezTo>
                  <a:cubicBezTo>
                    <a:pt x="755" y="621"/>
                    <a:pt x="758" y="618"/>
                    <a:pt x="758" y="621"/>
                  </a:cubicBezTo>
                  <a:cubicBezTo>
                    <a:pt x="758" y="624"/>
                    <a:pt x="761" y="627"/>
                    <a:pt x="764" y="627"/>
                  </a:cubicBezTo>
                  <a:cubicBezTo>
                    <a:pt x="764" y="627"/>
                    <a:pt x="770" y="630"/>
                    <a:pt x="770" y="627"/>
                  </a:cubicBezTo>
                  <a:cubicBezTo>
                    <a:pt x="770" y="624"/>
                    <a:pt x="776" y="624"/>
                    <a:pt x="776" y="624"/>
                  </a:cubicBezTo>
                  <a:cubicBezTo>
                    <a:pt x="779" y="624"/>
                    <a:pt x="785" y="621"/>
                    <a:pt x="788" y="618"/>
                  </a:cubicBezTo>
                  <a:cubicBezTo>
                    <a:pt x="788" y="615"/>
                    <a:pt x="794" y="615"/>
                    <a:pt x="797" y="615"/>
                  </a:cubicBezTo>
                  <a:cubicBezTo>
                    <a:pt x="797" y="612"/>
                    <a:pt x="803" y="612"/>
                    <a:pt x="803" y="609"/>
                  </a:cubicBezTo>
                  <a:cubicBezTo>
                    <a:pt x="803" y="606"/>
                    <a:pt x="809" y="609"/>
                    <a:pt x="812" y="606"/>
                  </a:cubicBezTo>
                  <a:cubicBezTo>
                    <a:pt x="812" y="603"/>
                    <a:pt x="818" y="603"/>
                    <a:pt x="818" y="606"/>
                  </a:cubicBezTo>
                  <a:cubicBezTo>
                    <a:pt x="821" y="606"/>
                    <a:pt x="833" y="609"/>
                    <a:pt x="836" y="606"/>
                  </a:cubicBezTo>
                  <a:cubicBezTo>
                    <a:pt x="836" y="606"/>
                    <a:pt x="836" y="612"/>
                    <a:pt x="839" y="615"/>
                  </a:cubicBezTo>
                  <a:cubicBezTo>
                    <a:pt x="839" y="615"/>
                    <a:pt x="845" y="618"/>
                    <a:pt x="848" y="618"/>
                  </a:cubicBezTo>
                  <a:cubicBezTo>
                    <a:pt x="848" y="615"/>
                    <a:pt x="854" y="615"/>
                    <a:pt x="857" y="618"/>
                  </a:cubicBezTo>
                  <a:cubicBezTo>
                    <a:pt x="860" y="618"/>
                    <a:pt x="863" y="621"/>
                    <a:pt x="866" y="618"/>
                  </a:cubicBezTo>
                  <a:cubicBezTo>
                    <a:pt x="866" y="618"/>
                    <a:pt x="872" y="615"/>
                    <a:pt x="875" y="615"/>
                  </a:cubicBezTo>
                  <a:cubicBezTo>
                    <a:pt x="875" y="612"/>
                    <a:pt x="875" y="609"/>
                    <a:pt x="875" y="609"/>
                  </a:cubicBezTo>
                  <a:cubicBezTo>
                    <a:pt x="872" y="606"/>
                    <a:pt x="872" y="600"/>
                    <a:pt x="869" y="597"/>
                  </a:cubicBezTo>
                  <a:cubicBezTo>
                    <a:pt x="875" y="594"/>
                    <a:pt x="875" y="594"/>
                    <a:pt x="875" y="594"/>
                  </a:cubicBezTo>
                  <a:cubicBezTo>
                    <a:pt x="875" y="591"/>
                    <a:pt x="881" y="591"/>
                    <a:pt x="881" y="588"/>
                  </a:cubicBezTo>
                  <a:cubicBezTo>
                    <a:pt x="884" y="585"/>
                    <a:pt x="884" y="585"/>
                    <a:pt x="884" y="585"/>
                  </a:cubicBezTo>
                  <a:cubicBezTo>
                    <a:pt x="887" y="585"/>
                    <a:pt x="893" y="588"/>
                    <a:pt x="893" y="588"/>
                  </a:cubicBezTo>
                  <a:cubicBezTo>
                    <a:pt x="899" y="591"/>
                    <a:pt x="899" y="591"/>
                    <a:pt x="899" y="591"/>
                  </a:cubicBezTo>
                  <a:cubicBezTo>
                    <a:pt x="902" y="591"/>
                    <a:pt x="905" y="591"/>
                    <a:pt x="908" y="594"/>
                  </a:cubicBezTo>
                  <a:cubicBezTo>
                    <a:pt x="911" y="594"/>
                    <a:pt x="917" y="594"/>
                    <a:pt x="920" y="597"/>
                  </a:cubicBezTo>
                  <a:cubicBezTo>
                    <a:pt x="920" y="600"/>
                    <a:pt x="920" y="603"/>
                    <a:pt x="920" y="606"/>
                  </a:cubicBezTo>
                  <a:cubicBezTo>
                    <a:pt x="923" y="609"/>
                    <a:pt x="926" y="612"/>
                    <a:pt x="929" y="612"/>
                  </a:cubicBezTo>
                  <a:cubicBezTo>
                    <a:pt x="929" y="612"/>
                    <a:pt x="935" y="615"/>
                    <a:pt x="938" y="615"/>
                  </a:cubicBezTo>
                  <a:cubicBezTo>
                    <a:pt x="941" y="615"/>
                    <a:pt x="944" y="612"/>
                    <a:pt x="947" y="612"/>
                  </a:cubicBezTo>
                  <a:cubicBezTo>
                    <a:pt x="947" y="612"/>
                    <a:pt x="953" y="609"/>
                    <a:pt x="956" y="609"/>
                  </a:cubicBezTo>
                  <a:cubicBezTo>
                    <a:pt x="959" y="609"/>
                    <a:pt x="965" y="612"/>
                    <a:pt x="968" y="612"/>
                  </a:cubicBezTo>
                  <a:cubicBezTo>
                    <a:pt x="968" y="612"/>
                    <a:pt x="974" y="612"/>
                    <a:pt x="974" y="615"/>
                  </a:cubicBezTo>
                  <a:cubicBezTo>
                    <a:pt x="977" y="615"/>
                    <a:pt x="986" y="615"/>
                    <a:pt x="986" y="618"/>
                  </a:cubicBezTo>
                  <a:cubicBezTo>
                    <a:pt x="986" y="621"/>
                    <a:pt x="989" y="621"/>
                    <a:pt x="992" y="624"/>
                  </a:cubicBezTo>
                  <a:cubicBezTo>
                    <a:pt x="992" y="627"/>
                    <a:pt x="1004" y="627"/>
                    <a:pt x="1004" y="627"/>
                  </a:cubicBezTo>
                  <a:cubicBezTo>
                    <a:pt x="1007" y="630"/>
                    <a:pt x="1019" y="630"/>
                    <a:pt x="1019" y="627"/>
                  </a:cubicBezTo>
                  <a:cubicBezTo>
                    <a:pt x="1019" y="627"/>
                    <a:pt x="1031" y="624"/>
                    <a:pt x="1034" y="624"/>
                  </a:cubicBezTo>
                  <a:cubicBezTo>
                    <a:pt x="1037" y="621"/>
                    <a:pt x="1043" y="624"/>
                    <a:pt x="1043" y="621"/>
                  </a:cubicBezTo>
                  <a:cubicBezTo>
                    <a:pt x="1043" y="618"/>
                    <a:pt x="1049" y="615"/>
                    <a:pt x="1052" y="615"/>
                  </a:cubicBezTo>
                  <a:cubicBezTo>
                    <a:pt x="1055" y="612"/>
                    <a:pt x="1067" y="612"/>
                    <a:pt x="1067" y="615"/>
                  </a:cubicBezTo>
                  <a:cubicBezTo>
                    <a:pt x="1067" y="618"/>
                    <a:pt x="1073" y="618"/>
                    <a:pt x="1076" y="618"/>
                  </a:cubicBezTo>
                  <a:cubicBezTo>
                    <a:pt x="1079" y="615"/>
                    <a:pt x="1085" y="618"/>
                    <a:pt x="1088" y="621"/>
                  </a:cubicBezTo>
                  <a:cubicBezTo>
                    <a:pt x="1097" y="624"/>
                    <a:pt x="1097" y="624"/>
                    <a:pt x="1097" y="624"/>
                  </a:cubicBezTo>
                  <a:cubicBezTo>
                    <a:pt x="1100" y="621"/>
                    <a:pt x="1106" y="618"/>
                    <a:pt x="1109" y="618"/>
                  </a:cubicBezTo>
                  <a:cubicBezTo>
                    <a:pt x="1112" y="618"/>
                    <a:pt x="1115" y="615"/>
                    <a:pt x="1115" y="612"/>
                  </a:cubicBezTo>
                  <a:cubicBezTo>
                    <a:pt x="1112" y="609"/>
                    <a:pt x="1118" y="603"/>
                    <a:pt x="1118" y="600"/>
                  </a:cubicBezTo>
                  <a:cubicBezTo>
                    <a:pt x="1121" y="597"/>
                    <a:pt x="1124" y="591"/>
                    <a:pt x="1127" y="591"/>
                  </a:cubicBezTo>
                  <a:cubicBezTo>
                    <a:pt x="1127" y="588"/>
                    <a:pt x="1130" y="585"/>
                    <a:pt x="1130" y="585"/>
                  </a:cubicBezTo>
                  <a:cubicBezTo>
                    <a:pt x="1130" y="582"/>
                    <a:pt x="1130" y="576"/>
                    <a:pt x="1127" y="576"/>
                  </a:cubicBezTo>
                  <a:cubicBezTo>
                    <a:pt x="1127" y="576"/>
                    <a:pt x="1121" y="576"/>
                    <a:pt x="1127" y="570"/>
                  </a:cubicBezTo>
                  <a:cubicBezTo>
                    <a:pt x="1130" y="564"/>
                    <a:pt x="1139" y="564"/>
                    <a:pt x="1142" y="564"/>
                  </a:cubicBezTo>
                  <a:cubicBezTo>
                    <a:pt x="1142" y="564"/>
                    <a:pt x="1154" y="564"/>
                    <a:pt x="1157" y="564"/>
                  </a:cubicBezTo>
                  <a:cubicBezTo>
                    <a:pt x="1163" y="564"/>
                    <a:pt x="1166" y="564"/>
                    <a:pt x="1169" y="567"/>
                  </a:cubicBezTo>
                  <a:cubicBezTo>
                    <a:pt x="1175" y="570"/>
                    <a:pt x="1181" y="567"/>
                    <a:pt x="1184" y="570"/>
                  </a:cubicBezTo>
                  <a:cubicBezTo>
                    <a:pt x="1187" y="573"/>
                    <a:pt x="1193" y="573"/>
                    <a:pt x="1190" y="579"/>
                  </a:cubicBezTo>
                  <a:cubicBezTo>
                    <a:pt x="1190" y="582"/>
                    <a:pt x="1196" y="579"/>
                    <a:pt x="1196" y="588"/>
                  </a:cubicBezTo>
                  <a:cubicBezTo>
                    <a:pt x="1199" y="597"/>
                    <a:pt x="1202" y="597"/>
                    <a:pt x="1202" y="603"/>
                  </a:cubicBezTo>
                  <a:cubicBezTo>
                    <a:pt x="1205" y="606"/>
                    <a:pt x="1211" y="612"/>
                    <a:pt x="1208" y="615"/>
                  </a:cubicBezTo>
                  <a:cubicBezTo>
                    <a:pt x="1208" y="618"/>
                    <a:pt x="1208" y="621"/>
                    <a:pt x="1214" y="621"/>
                  </a:cubicBezTo>
                  <a:cubicBezTo>
                    <a:pt x="1220" y="621"/>
                    <a:pt x="1223" y="627"/>
                    <a:pt x="1223" y="627"/>
                  </a:cubicBezTo>
                  <a:cubicBezTo>
                    <a:pt x="1226" y="624"/>
                    <a:pt x="1232" y="627"/>
                    <a:pt x="1235" y="630"/>
                  </a:cubicBezTo>
                  <a:cubicBezTo>
                    <a:pt x="1238" y="633"/>
                    <a:pt x="1244" y="633"/>
                    <a:pt x="1244" y="636"/>
                  </a:cubicBezTo>
                  <a:cubicBezTo>
                    <a:pt x="1244" y="639"/>
                    <a:pt x="1247" y="642"/>
                    <a:pt x="1247" y="645"/>
                  </a:cubicBezTo>
                  <a:cubicBezTo>
                    <a:pt x="1247" y="648"/>
                    <a:pt x="1253" y="651"/>
                    <a:pt x="1256" y="651"/>
                  </a:cubicBezTo>
                  <a:cubicBezTo>
                    <a:pt x="1262" y="651"/>
                    <a:pt x="1265" y="651"/>
                    <a:pt x="1268" y="648"/>
                  </a:cubicBezTo>
                  <a:cubicBezTo>
                    <a:pt x="1268" y="645"/>
                    <a:pt x="1277" y="645"/>
                    <a:pt x="1277" y="645"/>
                  </a:cubicBezTo>
                  <a:cubicBezTo>
                    <a:pt x="1280" y="642"/>
                    <a:pt x="1286" y="639"/>
                    <a:pt x="1286" y="645"/>
                  </a:cubicBezTo>
                  <a:cubicBezTo>
                    <a:pt x="1286" y="651"/>
                    <a:pt x="1292" y="654"/>
                    <a:pt x="1286" y="657"/>
                  </a:cubicBezTo>
                  <a:cubicBezTo>
                    <a:pt x="1283" y="657"/>
                    <a:pt x="1283" y="666"/>
                    <a:pt x="1280" y="669"/>
                  </a:cubicBezTo>
                  <a:cubicBezTo>
                    <a:pt x="1280" y="675"/>
                    <a:pt x="1274" y="675"/>
                    <a:pt x="1274" y="678"/>
                  </a:cubicBezTo>
                  <a:cubicBezTo>
                    <a:pt x="1274" y="684"/>
                    <a:pt x="1268" y="684"/>
                    <a:pt x="1268" y="687"/>
                  </a:cubicBezTo>
                  <a:cubicBezTo>
                    <a:pt x="1268" y="690"/>
                    <a:pt x="1262" y="687"/>
                    <a:pt x="1259" y="687"/>
                  </a:cubicBezTo>
                  <a:cubicBezTo>
                    <a:pt x="1256" y="684"/>
                    <a:pt x="1253" y="690"/>
                    <a:pt x="1250" y="690"/>
                  </a:cubicBezTo>
                  <a:cubicBezTo>
                    <a:pt x="1247" y="690"/>
                    <a:pt x="1247" y="696"/>
                    <a:pt x="1247" y="699"/>
                  </a:cubicBezTo>
                  <a:cubicBezTo>
                    <a:pt x="1250" y="702"/>
                    <a:pt x="1247" y="705"/>
                    <a:pt x="1250" y="708"/>
                  </a:cubicBezTo>
                  <a:cubicBezTo>
                    <a:pt x="1250" y="711"/>
                    <a:pt x="1250" y="714"/>
                    <a:pt x="1250" y="717"/>
                  </a:cubicBezTo>
                  <a:cubicBezTo>
                    <a:pt x="1253" y="714"/>
                    <a:pt x="1259" y="714"/>
                    <a:pt x="1259" y="714"/>
                  </a:cubicBezTo>
                  <a:cubicBezTo>
                    <a:pt x="1262" y="714"/>
                    <a:pt x="1268" y="720"/>
                    <a:pt x="1271" y="720"/>
                  </a:cubicBezTo>
                  <a:cubicBezTo>
                    <a:pt x="1277" y="720"/>
                    <a:pt x="1298" y="708"/>
                    <a:pt x="1298" y="705"/>
                  </a:cubicBezTo>
                  <a:cubicBezTo>
                    <a:pt x="1298" y="702"/>
                    <a:pt x="1310" y="690"/>
                    <a:pt x="1316" y="684"/>
                  </a:cubicBezTo>
                  <a:cubicBezTo>
                    <a:pt x="1322" y="678"/>
                    <a:pt x="1331" y="669"/>
                    <a:pt x="1334" y="663"/>
                  </a:cubicBezTo>
                  <a:cubicBezTo>
                    <a:pt x="1334" y="657"/>
                    <a:pt x="1343" y="648"/>
                    <a:pt x="1346" y="645"/>
                  </a:cubicBezTo>
                  <a:cubicBezTo>
                    <a:pt x="1346" y="642"/>
                    <a:pt x="1349" y="642"/>
                    <a:pt x="1352" y="633"/>
                  </a:cubicBezTo>
                  <a:cubicBezTo>
                    <a:pt x="1355" y="627"/>
                    <a:pt x="1355" y="606"/>
                    <a:pt x="1358" y="606"/>
                  </a:cubicBezTo>
                  <a:cubicBezTo>
                    <a:pt x="1358" y="603"/>
                    <a:pt x="1358" y="600"/>
                    <a:pt x="1358" y="597"/>
                  </a:cubicBezTo>
                  <a:cubicBezTo>
                    <a:pt x="1361" y="594"/>
                    <a:pt x="1361" y="591"/>
                    <a:pt x="1364" y="591"/>
                  </a:cubicBezTo>
                  <a:cubicBezTo>
                    <a:pt x="1367" y="588"/>
                    <a:pt x="1367" y="585"/>
                    <a:pt x="1364" y="582"/>
                  </a:cubicBezTo>
                  <a:cubicBezTo>
                    <a:pt x="1364" y="579"/>
                    <a:pt x="1364" y="576"/>
                    <a:pt x="1364" y="573"/>
                  </a:cubicBezTo>
                  <a:cubicBezTo>
                    <a:pt x="1364" y="573"/>
                    <a:pt x="1364" y="570"/>
                    <a:pt x="1367" y="570"/>
                  </a:cubicBezTo>
                  <a:cubicBezTo>
                    <a:pt x="1367" y="570"/>
                    <a:pt x="1364" y="567"/>
                    <a:pt x="1361" y="564"/>
                  </a:cubicBezTo>
                  <a:cubicBezTo>
                    <a:pt x="1358" y="564"/>
                    <a:pt x="1355" y="561"/>
                    <a:pt x="1355" y="558"/>
                  </a:cubicBezTo>
                  <a:cubicBezTo>
                    <a:pt x="1355" y="555"/>
                    <a:pt x="1349" y="552"/>
                    <a:pt x="1346" y="552"/>
                  </a:cubicBezTo>
                  <a:cubicBezTo>
                    <a:pt x="1343" y="552"/>
                    <a:pt x="1334" y="549"/>
                    <a:pt x="1337" y="552"/>
                  </a:cubicBezTo>
                  <a:cubicBezTo>
                    <a:pt x="1337" y="555"/>
                    <a:pt x="1337" y="558"/>
                    <a:pt x="1334" y="558"/>
                  </a:cubicBezTo>
                  <a:cubicBezTo>
                    <a:pt x="1331" y="555"/>
                    <a:pt x="1331" y="558"/>
                    <a:pt x="1328" y="561"/>
                  </a:cubicBezTo>
                  <a:cubicBezTo>
                    <a:pt x="1328" y="564"/>
                    <a:pt x="1319" y="564"/>
                    <a:pt x="1322" y="561"/>
                  </a:cubicBezTo>
                  <a:cubicBezTo>
                    <a:pt x="1325" y="558"/>
                    <a:pt x="1322" y="558"/>
                    <a:pt x="1322" y="555"/>
                  </a:cubicBezTo>
                  <a:cubicBezTo>
                    <a:pt x="1322" y="552"/>
                    <a:pt x="1325" y="549"/>
                    <a:pt x="1322" y="549"/>
                  </a:cubicBezTo>
                  <a:cubicBezTo>
                    <a:pt x="1319" y="552"/>
                    <a:pt x="1319" y="558"/>
                    <a:pt x="1316" y="558"/>
                  </a:cubicBezTo>
                  <a:cubicBezTo>
                    <a:pt x="1313" y="558"/>
                    <a:pt x="1313" y="549"/>
                    <a:pt x="1313" y="546"/>
                  </a:cubicBezTo>
                  <a:cubicBezTo>
                    <a:pt x="1316" y="543"/>
                    <a:pt x="1307" y="546"/>
                    <a:pt x="1301" y="546"/>
                  </a:cubicBezTo>
                  <a:cubicBezTo>
                    <a:pt x="1295" y="546"/>
                    <a:pt x="1295" y="540"/>
                    <a:pt x="1301" y="537"/>
                  </a:cubicBezTo>
                  <a:cubicBezTo>
                    <a:pt x="1307" y="534"/>
                    <a:pt x="1307" y="531"/>
                    <a:pt x="1310" y="531"/>
                  </a:cubicBezTo>
                  <a:cubicBezTo>
                    <a:pt x="1313" y="531"/>
                    <a:pt x="1319" y="525"/>
                    <a:pt x="1322" y="522"/>
                  </a:cubicBezTo>
                  <a:cubicBezTo>
                    <a:pt x="1328" y="519"/>
                    <a:pt x="1328" y="516"/>
                    <a:pt x="1331" y="513"/>
                  </a:cubicBezTo>
                  <a:cubicBezTo>
                    <a:pt x="1331" y="513"/>
                    <a:pt x="1340" y="507"/>
                    <a:pt x="1346" y="501"/>
                  </a:cubicBezTo>
                  <a:cubicBezTo>
                    <a:pt x="1352" y="495"/>
                    <a:pt x="1355" y="492"/>
                    <a:pt x="1358" y="489"/>
                  </a:cubicBezTo>
                  <a:cubicBezTo>
                    <a:pt x="1361" y="486"/>
                    <a:pt x="1370" y="483"/>
                    <a:pt x="1370" y="480"/>
                  </a:cubicBezTo>
                  <a:cubicBezTo>
                    <a:pt x="1370" y="477"/>
                    <a:pt x="1382" y="471"/>
                    <a:pt x="1391" y="468"/>
                  </a:cubicBezTo>
                  <a:cubicBezTo>
                    <a:pt x="1400" y="465"/>
                    <a:pt x="1415" y="468"/>
                    <a:pt x="1415" y="471"/>
                  </a:cubicBezTo>
                  <a:cubicBezTo>
                    <a:pt x="1418" y="474"/>
                    <a:pt x="1421" y="474"/>
                    <a:pt x="1421" y="471"/>
                  </a:cubicBezTo>
                  <a:cubicBezTo>
                    <a:pt x="1424" y="468"/>
                    <a:pt x="1427" y="471"/>
                    <a:pt x="1433" y="471"/>
                  </a:cubicBezTo>
                  <a:cubicBezTo>
                    <a:pt x="1439" y="471"/>
                    <a:pt x="1439" y="468"/>
                    <a:pt x="1442" y="468"/>
                  </a:cubicBezTo>
                  <a:cubicBezTo>
                    <a:pt x="1448" y="471"/>
                    <a:pt x="1451" y="471"/>
                    <a:pt x="1454" y="468"/>
                  </a:cubicBezTo>
                  <a:cubicBezTo>
                    <a:pt x="1454" y="462"/>
                    <a:pt x="1466" y="462"/>
                    <a:pt x="1469" y="465"/>
                  </a:cubicBezTo>
                  <a:cubicBezTo>
                    <a:pt x="1472" y="468"/>
                    <a:pt x="1472" y="468"/>
                    <a:pt x="1478" y="465"/>
                  </a:cubicBezTo>
                  <a:cubicBezTo>
                    <a:pt x="1481" y="465"/>
                    <a:pt x="1481" y="471"/>
                    <a:pt x="1484" y="471"/>
                  </a:cubicBezTo>
                  <a:cubicBezTo>
                    <a:pt x="1490" y="471"/>
                    <a:pt x="1487" y="474"/>
                    <a:pt x="1484" y="474"/>
                  </a:cubicBezTo>
                  <a:cubicBezTo>
                    <a:pt x="1481" y="474"/>
                    <a:pt x="1475" y="477"/>
                    <a:pt x="1478" y="477"/>
                  </a:cubicBezTo>
                  <a:cubicBezTo>
                    <a:pt x="1484" y="480"/>
                    <a:pt x="1487" y="477"/>
                    <a:pt x="1490" y="477"/>
                  </a:cubicBezTo>
                  <a:cubicBezTo>
                    <a:pt x="1493" y="477"/>
                    <a:pt x="1499" y="477"/>
                    <a:pt x="1502" y="474"/>
                  </a:cubicBezTo>
                  <a:cubicBezTo>
                    <a:pt x="1508" y="471"/>
                    <a:pt x="1508" y="477"/>
                    <a:pt x="1511" y="474"/>
                  </a:cubicBezTo>
                  <a:cubicBezTo>
                    <a:pt x="1514" y="471"/>
                    <a:pt x="1520" y="471"/>
                    <a:pt x="1523" y="471"/>
                  </a:cubicBezTo>
                  <a:cubicBezTo>
                    <a:pt x="1526" y="471"/>
                    <a:pt x="1523" y="468"/>
                    <a:pt x="1517" y="468"/>
                  </a:cubicBezTo>
                  <a:cubicBezTo>
                    <a:pt x="1514" y="468"/>
                    <a:pt x="1514" y="465"/>
                    <a:pt x="1517" y="459"/>
                  </a:cubicBezTo>
                  <a:cubicBezTo>
                    <a:pt x="1520" y="450"/>
                    <a:pt x="1529" y="447"/>
                    <a:pt x="1532" y="444"/>
                  </a:cubicBezTo>
                  <a:cubicBezTo>
                    <a:pt x="1538" y="438"/>
                    <a:pt x="1541" y="441"/>
                    <a:pt x="1541" y="438"/>
                  </a:cubicBezTo>
                  <a:cubicBezTo>
                    <a:pt x="1541" y="435"/>
                    <a:pt x="1544" y="429"/>
                    <a:pt x="1547" y="429"/>
                  </a:cubicBezTo>
                  <a:cubicBezTo>
                    <a:pt x="1550" y="429"/>
                    <a:pt x="1559" y="429"/>
                    <a:pt x="1565" y="426"/>
                  </a:cubicBezTo>
                  <a:cubicBezTo>
                    <a:pt x="1571" y="423"/>
                    <a:pt x="1571" y="429"/>
                    <a:pt x="1574" y="429"/>
                  </a:cubicBezTo>
                  <a:cubicBezTo>
                    <a:pt x="1577" y="432"/>
                    <a:pt x="1580" y="426"/>
                    <a:pt x="1583" y="426"/>
                  </a:cubicBezTo>
                  <a:cubicBezTo>
                    <a:pt x="1583" y="429"/>
                    <a:pt x="1577" y="432"/>
                    <a:pt x="1577" y="438"/>
                  </a:cubicBezTo>
                  <a:cubicBezTo>
                    <a:pt x="1574" y="441"/>
                    <a:pt x="1580" y="441"/>
                    <a:pt x="1583" y="441"/>
                  </a:cubicBezTo>
                  <a:cubicBezTo>
                    <a:pt x="1586" y="444"/>
                    <a:pt x="1580" y="444"/>
                    <a:pt x="1580" y="447"/>
                  </a:cubicBezTo>
                  <a:cubicBezTo>
                    <a:pt x="1580" y="447"/>
                    <a:pt x="1586" y="447"/>
                    <a:pt x="1592" y="441"/>
                  </a:cubicBezTo>
                  <a:cubicBezTo>
                    <a:pt x="1601" y="432"/>
                    <a:pt x="1607" y="432"/>
                    <a:pt x="1613" y="432"/>
                  </a:cubicBezTo>
                  <a:cubicBezTo>
                    <a:pt x="1616" y="432"/>
                    <a:pt x="1613" y="426"/>
                    <a:pt x="1613" y="420"/>
                  </a:cubicBezTo>
                  <a:cubicBezTo>
                    <a:pt x="1616" y="414"/>
                    <a:pt x="1628" y="411"/>
                    <a:pt x="1634" y="414"/>
                  </a:cubicBezTo>
                  <a:cubicBezTo>
                    <a:pt x="1637" y="414"/>
                    <a:pt x="1637" y="417"/>
                    <a:pt x="1634" y="417"/>
                  </a:cubicBezTo>
                  <a:cubicBezTo>
                    <a:pt x="1628" y="414"/>
                    <a:pt x="1625" y="420"/>
                    <a:pt x="1625" y="426"/>
                  </a:cubicBezTo>
                  <a:cubicBezTo>
                    <a:pt x="1625" y="429"/>
                    <a:pt x="1622" y="432"/>
                    <a:pt x="1622" y="435"/>
                  </a:cubicBezTo>
                  <a:cubicBezTo>
                    <a:pt x="1625" y="435"/>
                    <a:pt x="1619" y="438"/>
                    <a:pt x="1619" y="438"/>
                  </a:cubicBezTo>
                  <a:cubicBezTo>
                    <a:pt x="1619" y="441"/>
                    <a:pt x="1619" y="444"/>
                    <a:pt x="1616" y="444"/>
                  </a:cubicBezTo>
                  <a:cubicBezTo>
                    <a:pt x="1613" y="444"/>
                    <a:pt x="1601" y="447"/>
                    <a:pt x="1601" y="450"/>
                  </a:cubicBezTo>
                  <a:cubicBezTo>
                    <a:pt x="1601" y="456"/>
                    <a:pt x="1595" y="456"/>
                    <a:pt x="1592" y="462"/>
                  </a:cubicBezTo>
                  <a:cubicBezTo>
                    <a:pt x="1589" y="465"/>
                    <a:pt x="1580" y="471"/>
                    <a:pt x="1571" y="480"/>
                  </a:cubicBezTo>
                  <a:cubicBezTo>
                    <a:pt x="1565" y="492"/>
                    <a:pt x="1553" y="492"/>
                    <a:pt x="1553" y="492"/>
                  </a:cubicBezTo>
                  <a:cubicBezTo>
                    <a:pt x="1553" y="495"/>
                    <a:pt x="1544" y="495"/>
                    <a:pt x="1544" y="495"/>
                  </a:cubicBezTo>
                  <a:cubicBezTo>
                    <a:pt x="1541" y="495"/>
                    <a:pt x="1544" y="501"/>
                    <a:pt x="1538" y="510"/>
                  </a:cubicBezTo>
                  <a:cubicBezTo>
                    <a:pt x="1532" y="516"/>
                    <a:pt x="1529" y="525"/>
                    <a:pt x="1529" y="534"/>
                  </a:cubicBezTo>
                  <a:cubicBezTo>
                    <a:pt x="1529" y="543"/>
                    <a:pt x="1532" y="570"/>
                    <a:pt x="1535" y="576"/>
                  </a:cubicBezTo>
                  <a:cubicBezTo>
                    <a:pt x="1538" y="582"/>
                    <a:pt x="1535" y="594"/>
                    <a:pt x="1538" y="594"/>
                  </a:cubicBezTo>
                  <a:cubicBezTo>
                    <a:pt x="1541" y="597"/>
                    <a:pt x="1541" y="603"/>
                    <a:pt x="1541" y="603"/>
                  </a:cubicBezTo>
                  <a:cubicBezTo>
                    <a:pt x="1544" y="606"/>
                    <a:pt x="1550" y="597"/>
                    <a:pt x="1553" y="594"/>
                  </a:cubicBezTo>
                  <a:cubicBezTo>
                    <a:pt x="1556" y="591"/>
                    <a:pt x="1556" y="588"/>
                    <a:pt x="1559" y="588"/>
                  </a:cubicBezTo>
                  <a:cubicBezTo>
                    <a:pt x="1562" y="585"/>
                    <a:pt x="1559" y="576"/>
                    <a:pt x="1562" y="576"/>
                  </a:cubicBezTo>
                  <a:cubicBezTo>
                    <a:pt x="1562" y="573"/>
                    <a:pt x="1568" y="573"/>
                    <a:pt x="1568" y="570"/>
                  </a:cubicBezTo>
                  <a:cubicBezTo>
                    <a:pt x="1571" y="567"/>
                    <a:pt x="1574" y="570"/>
                    <a:pt x="1577" y="570"/>
                  </a:cubicBezTo>
                  <a:cubicBezTo>
                    <a:pt x="1580" y="567"/>
                    <a:pt x="1577" y="561"/>
                    <a:pt x="1577" y="558"/>
                  </a:cubicBezTo>
                  <a:cubicBezTo>
                    <a:pt x="1574" y="555"/>
                    <a:pt x="1583" y="552"/>
                    <a:pt x="1586" y="549"/>
                  </a:cubicBezTo>
                  <a:cubicBezTo>
                    <a:pt x="1592" y="546"/>
                    <a:pt x="1595" y="552"/>
                    <a:pt x="1601" y="546"/>
                  </a:cubicBezTo>
                  <a:cubicBezTo>
                    <a:pt x="1604" y="543"/>
                    <a:pt x="1601" y="537"/>
                    <a:pt x="1598" y="534"/>
                  </a:cubicBezTo>
                  <a:cubicBezTo>
                    <a:pt x="1598" y="534"/>
                    <a:pt x="1604" y="522"/>
                    <a:pt x="1607" y="522"/>
                  </a:cubicBezTo>
                  <a:cubicBezTo>
                    <a:pt x="1610" y="522"/>
                    <a:pt x="1613" y="525"/>
                    <a:pt x="1616" y="522"/>
                  </a:cubicBezTo>
                  <a:cubicBezTo>
                    <a:pt x="1619" y="519"/>
                    <a:pt x="1613" y="513"/>
                    <a:pt x="1610" y="513"/>
                  </a:cubicBezTo>
                  <a:cubicBezTo>
                    <a:pt x="1607" y="513"/>
                    <a:pt x="1607" y="504"/>
                    <a:pt x="1613" y="501"/>
                  </a:cubicBezTo>
                  <a:cubicBezTo>
                    <a:pt x="1619" y="498"/>
                    <a:pt x="1616" y="495"/>
                    <a:pt x="1613" y="495"/>
                  </a:cubicBezTo>
                  <a:cubicBezTo>
                    <a:pt x="1607" y="495"/>
                    <a:pt x="1607" y="495"/>
                    <a:pt x="1604" y="495"/>
                  </a:cubicBezTo>
                  <a:cubicBezTo>
                    <a:pt x="1601" y="495"/>
                    <a:pt x="1598" y="489"/>
                    <a:pt x="1604" y="483"/>
                  </a:cubicBezTo>
                  <a:cubicBezTo>
                    <a:pt x="1607" y="477"/>
                    <a:pt x="1613" y="480"/>
                    <a:pt x="1613" y="474"/>
                  </a:cubicBezTo>
                  <a:cubicBezTo>
                    <a:pt x="1613" y="468"/>
                    <a:pt x="1619" y="462"/>
                    <a:pt x="1622" y="459"/>
                  </a:cubicBezTo>
                  <a:cubicBezTo>
                    <a:pt x="1622" y="456"/>
                    <a:pt x="1628" y="459"/>
                    <a:pt x="1631" y="459"/>
                  </a:cubicBezTo>
                  <a:cubicBezTo>
                    <a:pt x="1634" y="459"/>
                    <a:pt x="1634" y="465"/>
                    <a:pt x="1634" y="462"/>
                  </a:cubicBezTo>
                  <a:cubicBezTo>
                    <a:pt x="1637" y="459"/>
                    <a:pt x="1643" y="450"/>
                    <a:pt x="1646" y="450"/>
                  </a:cubicBezTo>
                  <a:cubicBezTo>
                    <a:pt x="1652" y="450"/>
                    <a:pt x="1649" y="456"/>
                    <a:pt x="1649" y="459"/>
                  </a:cubicBezTo>
                  <a:cubicBezTo>
                    <a:pt x="1649" y="465"/>
                    <a:pt x="1652" y="459"/>
                    <a:pt x="1661" y="453"/>
                  </a:cubicBezTo>
                  <a:cubicBezTo>
                    <a:pt x="1667" y="450"/>
                    <a:pt x="1682" y="450"/>
                    <a:pt x="1688" y="453"/>
                  </a:cubicBezTo>
                  <a:cubicBezTo>
                    <a:pt x="1694" y="453"/>
                    <a:pt x="1694" y="459"/>
                    <a:pt x="1697" y="459"/>
                  </a:cubicBezTo>
                  <a:cubicBezTo>
                    <a:pt x="1700" y="459"/>
                    <a:pt x="1697" y="453"/>
                    <a:pt x="1700" y="453"/>
                  </a:cubicBezTo>
                  <a:cubicBezTo>
                    <a:pt x="1706" y="450"/>
                    <a:pt x="1712" y="447"/>
                    <a:pt x="1718" y="444"/>
                  </a:cubicBezTo>
                  <a:cubicBezTo>
                    <a:pt x="1721" y="438"/>
                    <a:pt x="1721" y="441"/>
                    <a:pt x="1724" y="438"/>
                  </a:cubicBezTo>
                  <a:cubicBezTo>
                    <a:pt x="1727" y="435"/>
                    <a:pt x="1730" y="438"/>
                    <a:pt x="1730" y="435"/>
                  </a:cubicBezTo>
                  <a:cubicBezTo>
                    <a:pt x="1730" y="432"/>
                    <a:pt x="1739" y="429"/>
                    <a:pt x="1748" y="426"/>
                  </a:cubicBezTo>
                  <a:cubicBezTo>
                    <a:pt x="1760" y="423"/>
                    <a:pt x="1772" y="417"/>
                    <a:pt x="1772" y="414"/>
                  </a:cubicBezTo>
                  <a:cubicBezTo>
                    <a:pt x="1772" y="411"/>
                    <a:pt x="1778" y="411"/>
                    <a:pt x="1778" y="414"/>
                  </a:cubicBezTo>
                  <a:cubicBezTo>
                    <a:pt x="1778" y="417"/>
                    <a:pt x="1781" y="414"/>
                    <a:pt x="1787" y="417"/>
                  </a:cubicBezTo>
                  <a:cubicBezTo>
                    <a:pt x="1793" y="417"/>
                    <a:pt x="1796" y="420"/>
                    <a:pt x="1799" y="414"/>
                  </a:cubicBezTo>
                  <a:cubicBezTo>
                    <a:pt x="1805" y="411"/>
                    <a:pt x="1799" y="408"/>
                    <a:pt x="1799" y="405"/>
                  </a:cubicBezTo>
                  <a:cubicBezTo>
                    <a:pt x="1799" y="402"/>
                    <a:pt x="1793" y="399"/>
                    <a:pt x="1793" y="396"/>
                  </a:cubicBezTo>
                  <a:cubicBezTo>
                    <a:pt x="1793" y="393"/>
                    <a:pt x="1787" y="384"/>
                    <a:pt x="1784" y="384"/>
                  </a:cubicBezTo>
                  <a:cubicBezTo>
                    <a:pt x="1784" y="387"/>
                    <a:pt x="1778" y="384"/>
                    <a:pt x="1778" y="381"/>
                  </a:cubicBezTo>
                  <a:cubicBezTo>
                    <a:pt x="1778" y="378"/>
                    <a:pt x="1778" y="375"/>
                    <a:pt x="1775" y="375"/>
                  </a:cubicBezTo>
                  <a:cubicBezTo>
                    <a:pt x="1772" y="378"/>
                    <a:pt x="1766" y="378"/>
                    <a:pt x="1766" y="375"/>
                  </a:cubicBezTo>
                  <a:cubicBezTo>
                    <a:pt x="1763" y="372"/>
                    <a:pt x="1772" y="369"/>
                    <a:pt x="1778" y="372"/>
                  </a:cubicBezTo>
                  <a:cubicBezTo>
                    <a:pt x="1781" y="372"/>
                    <a:pt x="1781" y="375"/>
                    <a:pt x="1784" y="378"/>
                  </a:cubicBezTo>
                  <a:cubicBezTo>
                    <a:pt x="1784" y="378"/>
                    <a:pt x="1793" y="378"/>
                    <a:pt x="1796" y="375"/>
                  </a:cubicBezTo>
                  <a:cubicBezTo>
                    <a:pt x="1799" y="375"/>
                    <a:pt x="1808" y="372"/>
                    <a:pt x="1811" y="369"/>
                  </a:cubicBezTo>
                  <a:cubicBezTo>
                    <a:pt x="1811" y="366"/>
                    <a:pt x="1811" y="363"/>
                    <a:pt x="1814" y="363"/>
                  </a:cubicBezTo>
                  <a:cubicBezTo>
                    <a:pt x="1817" y="360"/>
                    <a:pt x="1814" y="357"/>
                    <a:pt x="1811" y="357"/>
                  </a:cubicBezTo>
                  <a:cubicBezTo>
                    <a:pt x="1808" y="354"/>
                    <a:pt x="1808" y="351"/>
                    <a:pt x="1811" y="351"/>
                  </a:cubicBezTo>
                  <a:cubicBezTo>
                    <a:pt x="1814" y="351"/>
                    <a:pt x="1814" y="348"/>
                    <a:pt x="1817" y="348"/>
                  </a:cubicBezTo>
                  <a:cubicBezTo>
                    <a:pt x="1820" y="345"/>
                    <a:pt x="1820" y="348"/>
                    <a:pt x="1823" y="345"/>
                  </a:cubicBezTo>
                  <a:cubicBezTo>
                    <a:pt x="1826" y="345"/>
                    <a:pt x="1823" y="348"/>
                    <a:pt x="1820" y="351"/>
                  </a:cubicBezTo>
                  <a:cubicBezTo>
                    <a:pt x="1820" y="354"/>
                    <a:pt x="1826" y="357"/>
                    <a:pt x="1826" y="360"/>
                  </a:cubicBezTo>
                  <a:cubicBezTo>
                    <a:pt x="1826" y="363"/>
                    <a:pt x="1832" y="363"/>
                    <a:pt x="1838" y="360"/>
                  </a:cubicBezTo>
                  <a:cubicBezTo>
                    <a:pt x="1841" y="357"/>
                    <a:pt x="1852" y="363"/>
                    <a:pt x="1852" y="366"/>
                  </a:cubicBezTo>
                  <a:cubicBezTo>
                    <a:pt x="1855" y="369"/>
                    <a:pt x="1855" y="372"/>
                    <a:pt x="1861" y="375"/>
                  </a:cubicBezTo>
                  <a:cubicBezTo>
                    <a:pt x="1867" y="378"/>
                    <a:pt x="1873" y="378"/>
                    <a:pt x="1873" y="381"/>
                  </a:cubicBezTo>
                  <a:cubicBezTo>
                    <a:pt x="1873" y="381"/>
                    <a:pt x="1876" y="384"/>
                    <a:pt x="1879" y="384"/>
                  </a:cubicBezTo>
                  <a:cubicBezTo>
                    <a:pt x="1882" y="381"/>
                    <a:pt x="1882" y="387"/>
                    <a:pt x="1885" y="384"/>
                  </a:cubicBezTo>
                  <a:cubicBezTo>
                    <a:pt x="1888" y="381"/>
                    <a:pt x="1888" y="384"/>
                    <a:pt x="1891" y="381"/>
                  </a:cubicBezTo>
                  <a:cubicBezTo>
                    <a:pt x="1894" y="381"/>
                    <a:pt x="1885" y="378"/>
                    <a:pt x="1888" y="375"/>
                  </a:cubicBezTo>
                  <a:cubicBezTo>
                    <a:pt x="1891" y="378"/>
                    <a:pt x="1891" y="378"/>
                    <a:pt x="1891" y="378"/>
                  </a:cubicBezTo>
                  <a:cubicBezTo>
                    <a:pt x="1894" y="378"/>
                    <a:pt x="1891" y="372"/>
                    <a:pt x="1894" y="372"/>
                  </a:cubicBezTo>
                  <a:cubicBezTo>
                    <a:pt x="1894" y="372"/>
                    <a:pt x="1894" y="360"/>
                    <a:pt x="1891" y="360"/>
                  </a:cubicBezTo>
                  <a:cubicBezTo>
                    <a:pt x="1891" y="360"/>
                    <a:pt x="1891" y="357"/>
                    <a:pt x="1894" y="360"/>
                  </a:cubicBezTo>
                  <a:cubicBezTo>
                    <a:pt x="1900" y="363"/>
                    <a:pt x="1906" y="363"/>
                    <a:pt x="1909" y="363"/>
                  </a:cubicBezTo>
                  <a:cubicBezTo>
                    <a:pt x="1912" y="363"/>
                    <a:pt x="1909" y="360"/>
                    <a:pt x="1906" y="360"/>
                  </a:cubicBezTo>
                  <a:cubicBezTo>
                    <a:pt x="1903" y="357"/>
                    <a:pt x="1906" y="357"/>
                    <a:pt x="1909" y="357"/>
                  </a:cubicBezTo>
                  <a:cubicBezTo>
                    <a:pt x="1909" y="360"/>
                    <a:pt x="1912" y="360"/>
                    <a:pt x="1915" y="360"/>
                  </a:cubicBezTo>
                  <a:cubicBezTo>
                    <a:pt x="1915" y="357"/>
                    <a:pt x="1915" y="351"/>
                    <a:pt x="1921" y="351"/>
                  </a:cubicBezTo>
                  <a:cubicBezTo>
                    <a:pt x="1924" y="354"/>
                    <a:pt x="1924" y="351"/>
                    <a:pt x="1921" y="348"/>
                  </a:cubicBezTo>
                  <a:close/>
                  <a:moveTo>
                    <a:pt x="992" y="567"/>
                  </a:moveTo>
                  <a:cubicBezTo>
                    <a:pt x="983" y="576"/>
                    <a:pt x="965" y="579"/>
                    <a:pt x="965" y="585"/>
                  </a:cubicBezTo>
                  <a:cubicBezTo>
                    <a:pt x="965" y="594"/>
                    <a:pt x="941" y="597"/>
                    <a:pt x="938" y="594"/>
                  </a:cubicBezTo>
                  <a:cubicBezTo>
                    <a:pt x="938" y="591"/>
                    <a:pt x="956" y="591"/>
                    <a:pt x="959" y="579"/>
                  </a:cubicBezTo>
                  <a:cubicBezTo>
                    <a:pt x="965" y="570"/>
                    <a:pt x="983" y="564"/>
                    <a:pt x="989" y="552"/>
                  </a:cubicBezTo>
                  <a:cubicBezTo>
                    <a:pt x="995" y="543"/>
                    <a:pt x="1001" y="528"/>
                    <a:pt x="1004" y="528"/>
                  </a:cubicBezTo>
                  <a:cubicBezTo>
                    <a:pt x="1007" y="528"/>
                    <a:pt x="1001" y="561"/>
                    <a:pt x="992" y="567"/>
                  </a:cubicBezTo>
                  <a:close/>
                  <a:moveTo>
                    <a:pt x="1034" y="177"/>
                  </a:moveTo>
                  <a:cubicBezTo>
                    <a:pt x="1034" y="180"/>
                    <a:pt x="1025" y="180"/>
                    <a:pt x="1028" y="183"/>
                  </a:cubicBezTo>
                  <a:cubicBezTo>
                    <a:pt x="1031" y="186"/>
                    <a:pt x="1049" y="183"/>
                    <a:pt x="1049" y="180"/>
                  </a:cubicBezTo>
                  <a:cubicBezTo>
                    <a:pt x="1049" y="174"/>
                    <a:pt x="1037" y="174"/>
                    <a:pt x="1034" y="177"/>
                  </a:cubicBezTo>
                  <a:close/>
                  <a:moveTo>
                    <a:pt x="339" y="24"/>
                  </a:moveTo>
                  <a:cubicBezTo>
                    <a:pt x="345" y="27"/>
                    <a:pt x="327" y="27"/>
                    <a:pt x="324" y="30"/>
                  </a:cubicBezTo>
                  <a:cubicBezTo>
                    <a:pt x="324" y="33"/>
                    <a:pt x="312" y="30"/>
                    <a:pt x="315" y="36"/>
                  </a:cubicBezTo>
                  <a:cubicBezTo>
                    <a:pt x="315" y="39"/>
                    <a:pt x="333" y="39"/>
                    <a:pt x="333" y="36"/>
                  </a:cubicBezTo>
                  <a:cubicBezTo>
                    <a:pt x="333" y="33"/>
                    <a:pt x="342" y="36"/>
                    <a:pt x="342" y="33"/>
                  </a:cubicBezTo>
                  <a:cubicBezTo>
                    <a:pt x="342" y="30"/>
                    <a:pt x="345" y="27"/>
                    <a:pt x="354" y="27"/>
                  </a:cubicBezTo>
                  <a:cubicBezTo>
                    <a:pt x="366" y="24"/>
                    <a:pt x="366" y="21"/>
                    <a:pt x="357" y="18"/>
                  </a:cubicBezTo>
                  <a:cubicBezTo>
                    <a:pt x="348" y="15"/>
                    <a:pt x="336" y="21"/>
                    <a:pt x="339" y="24"/>
                  </a:cubicBezTo>
                  <a:close/>
                  <a:moveTo>
                    <a:pt x="384" y="204"/>
                  </a:moveTo>
                  <a:cubicBezTo>
                    <a:pt x="384" y="207"/>
                    <a:pt x="384" y="210"/>
                    <a:pt x="378" y="210"/>
                  </a:cubicBezTo>
                  <a:cubicBezTo>
                    <a:pt x="369" y="210"/>
                    <a:pt x="381" y="213"/>
                    <a:pt x="381" y="216"/>
                  </a:cubicBezTo>
                  <a:cubicBezTo>
                    <a:pt x="381" y="219"/>
                    <a:pt x="375" y="219"/>
                    <a:pt x="375" y="222"/>
                  </a:cubicBezTo>
                  <a:cubicBezTo>
                    <a:pt x="372" y="228"/>
                    <a:pt x="360" y="222"/>
                    <a:pt x="360" y="231"/>
                  </a:cubicBezTo>
                  <a:cubicBezTo>
                    <a:pt x="357" y="237"/>
                    <a:pt x="366" y="237"/>
                    <a:pt x="372" y="237"/>
                  </a:cubicBezTo>
                  <a:cubicBezTo>
                    <a:pt x="375" y="237"/>
                    <a:pt x="369" y="243"/>
                    <a:pt x="372" y="246"/>
                  </a:cubicBezTo>
                  <a:cubicBezTo>
                    <a:pt x="378" y="249"/>
                    <a:pt x="381" y="249"/>
                    <a:pt x="378" y="243"/>
                  </a:cubicBezTo>
                  <a:cubicBezTo>
                    <a:pt x="375" y="237"/>
                    <a:pt x="390" y="243"/>
                    <a:pt x="387" y="249"/>
                  </a:cubicBezTo>
                  <a:cubicBezTo>
                    <a:pt x="381" y="252"/>
                    <a:pt x="393" y="255"/>
                    <a:pt x="402" y="255"/>
                  </a:cubicBezTo>
                  <a:cubicBezTo>
                    <a:pt x="408" y="258"/>
                    <a:pt x="429" y="261"/>
                    <a:pt x="429" y="255"/>
                  </a:cubicBezTo>
                  <a:cubicBezTo>
                    <a:pt x="429" y="252"/>
                    <a:pt x="423" y="249"/>
                    <a:pt x="414" y="243"/>
                  </a:cubicBezTo>
                  <a:cubicBezTo>
                    <a:pt x="408" y="234"/>
                    <a:pt x="402" y="222"/>
                    <a:pt x="411" y="219"/>
                  </a:cubicBezTo>
                  <a:cubicBezTo>
                    <a:pt x="420" y="213"/>
                    <a:pt x="411" y="210"/>
                    <a:pt x="420" y="204"/>
                  </a:cubicBezTo>
                  <a:cubicBezTo>
                    <a:pt x="429" y="201"/>
                    <a:pt x="423" y="195"/>
                    <a:pt x="429" y="195"/>
                  </a:cubicBezTo>
                  <a:cubicBezTo>
                    <a:pt x="435" y="192"/>
                    <a:pt x="429" y="186"/>
                    <a:pt x="435" y="186"/>
                  </a:cubicBezTo>
                  <a:cubicBezTo>
                    <a:pt x="441" y="186"/>
                    <a:pt x="444" y="177"/>
                    <a:pt x="444" y="174"/>
                  </a:cubicBezTo>
                  <a:cubicBezTo>
                    <a:pt x="441" y="171"/>
                    <a:pt x="450" y="174"/>
                    <a:pt x="453" y="171"/>
                  </a:cubicBezTo>
                  <a:cubicBezTo>
                    <a:pt x="456" y="168"/>
                    <a:pt x="465" y="171"/>
                    <a:pt x="468" y="165"/>
                  </a:cubicBezTo>
                  <a:cubicBezTo>
                    <a:pt x="471" y="159"/>
                    <a:pt x="509" y="147"/>
                    <a:pt x="530" y="141"/>
                  </a:cubicBezTo>
                  <a:cubicBezTo>
                    <a:pt x="551" y="135"/>
                    <a:pt x="566" y="126"/>
                    <a:pt x="560" y="120"/>
                  </a:cubicBezTo>
                  <a:cubicBezTo>
                    <a:pt x="551" y="114"/>
                    <a:pt x="530" y="123"/>
                    <a:pt x="524" y="126"/>
                  </a:cubicBezTo>
                  <a:cubicBezTo>
                    <a:pt x="518" y="132"/>
                    <a:pt x="512" y="129"/>
                    <a:pt x="506" y="132"/>
                  </a:cubicBezTo>
                  <a:cubicBezTo>
                    <a:pt x="500" y="135"/>
                    <a:pt x="488" y="138"/>
                    <a:pt x="485" y="135"/>
                  </a:cubicBezTo>
                  <a:cubicBezTo>
                    <a:pt x="479" y="129"/>
                    <a:pt x="471" y="138"/>
                    <a:pt x="468" y="138"/>
                  </a:cubicBezTo>
                  <a:cubicBezTo>
                    <a:pt x="465" y="138"/>
                    <a:pt x="459" y="141"/>
                    <a:pt x="453" y="141"/>
                  </a:cubicBezTo>
                  <a:cubicBezTo>
                    <a:pt x="450" y="141"/>
                    <a:pt x="441" y="144"/>
                    <a:pt x="438" y="147"/>
                  </a:cubicBezTo>
                  <a:cubicBezTo>
                    <a:pt x="438" y="150"/>
                    <a:pt x="432" y="150"/>
                    <a:pt x="432" y="153"/>
                  </a:cubicBezTo>
                  <a:cubicBezTo>
                    <a:pt x="432" y="156"/>
                    <a:pt x="423" y="159"/>
                    <a:pt x="420" y="156"/>
                  </a:cubicBezTo>
                  <a:cubicBezTo>
                    <a:pt x="417" y="153"/>
                    <a:pt x="414" y="159"/>
                    <a:pt x="417" y="165"/>
                  </a:cubicBezTo>
                  <a:cubicBezTo>
                    <a:pt x="423" y="168"/>
                    <a:pt x="411" y="168"/>
                    <a:pt x="411" y="171"/>
                  </a:cubicBezTo>
                  <a:cubicBezTo>
                    <a:pt x="414" y="174"/>
                    <a:pt x="408" y="177"/>
                    <a:pt x="408" y="180"/>
                  </a:cubicBezTo>
                  <a:cubicBezTo>
                    <a:pt x="411" y="183"/>
                    <a:pt x="405" y="183"/>
                    <a:pt x="399" y="183"/>
                  </a:cubicBezTo>
                  <a:cubicBezTo>
                    <a:pt x="393" y="186"/>
                    <a:pt x="390" y="192"/>
                    <a:pt x="399" y="192"/>
                  </a:cubicBezTo>
                  <a:cubicBezTo>
                    <a:pt x="405" y="192"/>
                    <a:pt x="393" y="192"/>
                    <a:pt x="396" y="198"/>
                  </a:cubicBezTo>
                  <a:cubicBezTo>
                    <a:pt x="396" y="204"/>
                    <a:pt x="384" y="201"/>
                    <a:pt x="384" y="204"/>
                  </a:cubicBezTo>
                  <a:close/>
                  <a:moveTo>
                    <a:pt x="429" y="30"/>
                  </a:moveTo>
                  <a:cubicBezTo>
                    <a:pt x="432" y="33"/>
                    <a:pt x="429" y="33"/>
                    <a:pt x="423" y="33"/>
                  </a:cubicBezTo>
                  <a:cubicBezTo>
                    <a:pt x="414" y="33"/>
                    <a:pt x="411" y="36"/>
                    <a:pt x="414" y="39"/>
                  </a:cubicBezTo>
                  <a:cubicBezTo>
                    <a:pt x="420" y="42"/>
                    <a:pt x="438" y="42"/>
                    <a:pt x="441" y="39"/>
                  </a:cubicBezTo>
                  <a:cubicBezTo>
                    <a:pt x="444" y="33"/>
                    <a:pt x="450" y="36"/>
                    <a:pt x="453" y="33"/>
                  </a:cubicBezTo>
                  <a:cubicBezTo>
                    <a:pt x="453" y="30"/>
                    <a:pt x="429" y="27"/>
                    <a:pt x="429" y="30"/>
                  </a:cubicBezTo>
                  <a:close/>
                  <a:moveTo>
                    <a:pt x="429" y="12"/>
                  </a:moveTo>
                  <a:cubicBezTo>
                    <a:pt x="438" y="12"/>
                    <a:pt x="435" y="6"/>
                    <a:pt x="441" y="9"/>
                  </a:cubicBezTo>
                  <a:cubicBezTo>
                    <a:pt x="444" y="9"/>
                    <a:pt x="453" y="9"/>
                    <a:pt x="450" y="6"/>
                  </a:cubicBezTo>
                  <a:cubicBezTo>
                    <a:pt x="447" y="0"/>
                    <a:pt x="426" y="3"/>
                    <a:pt x="429" y="6"/>
                  </a:cubicBezTo>
                  <a:cubicBezTo>
                    <a:pt x="432" y="9"/>
                    <a:pt x="414" y="6"/>
                    <a:pt x="414" y="9"/>
                  </a:cubicBezTo>
                  <a:cubicBezTo>
                    <a:pt x="414" y="9"/>
                    <a:pt x="420" y="12"/>
                    <a:pt x="429" y="12"/>
                  </a:cubicBezTo>
                  <a:close/>
                  <a:moveTo>
                    <a:pt x="485" y="24"/>
                  </a:moveTo>
                  <a:cubicBezTo>
                    <a:pt x="488" y="21"/>
                    <a:pt x="482" y="21"/>
                    <a:pt x="482" y="18"/>
                  </a:cubicBezTo>
                  <a:cubicBezTo>
                    <a:pt x="482" y="15"/>
                    <a:pt x="462" y="15"/>
                    <a:pt x="465" y="18"/>
                  </a:cubicBezTo>
                  <a:cubicBezTo>
                    <a:pt x="465" y="21"/>
                    <a:pt x="450" y="24"/>
                    <a:pt x="456" y="27"/>
                  </a:cubicBezTo>
                  <a:cubicBezTo>
                    <a:pt x="462" y="33"/>
                    <a:pt x="485" y="27"/>
                    <a:pt x="485" y="24"/>
                  </a:cubicBezTo>
                  <a:close/>
                  <a:moveTo>
                    <a:pt x="387" y="33"/>
                  </a:moveTo>
                  <a:cubicBezTo>
                    <a:pt x="387" y="30"/>
                    <a:pt x="369" y="36"/>
                    <a:pt x="372" y="36"/>
                  </a:cubicBezTo>
                  <a:cubicBezTo>
                    <a:pt x="375" y="36"/>
                    <a:pt x="387" y="39"/>
                    <a:pt x="387" y="33"/>
                  </a:cubicBezTo>
                  <a:close/>
                  <a:moveTo>
                    <a:pt x="435" y="18"/>
                  </a:moveTo>
                  <a:cubicBezTo>
                    <a:pt x="435" y="12"/>
                    <a:pt x="423" y="18"/>
                    <a:pt x="414" y="12"/>
                  </a:cubicBezTo>
                  <a:cubicBezTo>
                    <a:pt x="405" y="9"/>
                    <a:pt x="402" y="9"/>
                    <a:pt x="408" y="15"/>
                  </a:cubicBezTo>
                  <a:cubicBezTo>
                    <a:pt x="411" y="18"/>
                    <a:pt x="393" y="18"/>
                    <a:pt x="396" y="21"/>
                  </a:cubicBezTo>
                  <a:cubicBezTo>
                    <a:pt x="402" y="27"/>
                    <a:pt x="432" y="24"/>
                    <a:pt x="43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3" name="Freeform 958"/>
            <p:cNvSpPr>
              <a:spLocks noEditPoints="1"/>
            </p:cNvSpPr>
            <p:nvPr userDrawn="1"/>
          </p:nvSpPr>
          <p:spPr bwMode="auto">
            <a:xfrm>
              <a:off x="3821" y="-3070"/>
              <a:ext cx="2999" cy="1156"/>
            </a:xfrm>
            <a:custGeom>
              <a:avLst/>
              <a:gdLst>
                <a:gd name="T0" fmla="*/ 959 w 1924"/>
                <a:gd name="T1" fmla="*/ 78 h 741"/>
                <a:gd name="T2" fmla="*/ 896 w 1924"/>
                <a:gd name="T3" fmla="*/ 51 h 741"/>
                <a:gd name="T4" fmla="*/ 821 w 1924"/>
                <a:gd name="T5" fmla="*/ 30 h 741"/>
                <a:gd name="T6" fmla="*/ 1793 w 1924"/>
                <a:gd name="T7" fmla="*/ 255 h 741"/>
                <a:gd name="T8" fmla="*/ 1376 w 1924"/>
                <a:gd name="T9" fmla="*/ 153 h 741"/>
                <a:gd name="T10" fmla="*/ 1364 w 1924"/>
                <a:gd name="T11" fmla="*/ 183 h 741"/>
                <a:gd name="T12" fmla="*/ 1376 w 1924"/>
                <a:gd name="T13" fmla="*/ 600 h 741"/>
                <a:gd name="T14" fmla="*/ 1921 w 1924"/>
                <a:gd name="T15" fmla="*/ 348 h 741"/>
                <a:gd name="T16" fmla="*/ 1736 w 1924"/>
                <a:gd name="T17" fmla="*/ 276 h 741"/>
                <a:gd name="T18" fmla="*/ 1592 w 1924"/>
                <a:gd name="T19" fmla="*/ 282 h 741"/>
                <a:gd name="T20" fmla="*/ 1409 w 1924"/>
                <a:gd name="T21" fmla="*/ 234 h 741"/>
                <a:gd name="T22" fmla="*/ 1331 w 1924"/>
                <a:gd name="T23" fmla="*/ 240 h 741"/>
                <a:gd name="T24" fmla="*/ 1229 w 1924"/>
                <a:gd name="T25" fmla="*/ 222 h 741"/>
                <a:gd name="T26" fmla="*/ 1121 w 1924"/>
                <a:gd name="T27" fmla="*/ 207 h 741"/>
                <a:gd name="T28" fmla="*/ 962 w 1924"/>
                <a:gd name="T29" fmla="*/ 210 h 741"/>
                <a:gd name="T30" fmla="*/ 1040 w 1924"/>
                <a:gd name="T31" fmla="*/ 126 h 741"/>
                <a:gd name="T32" fmla="*/ 926 w 1924"/>
                <a:gd name="T33" fmla="*/ 102 h 741"/>
                <a:gd name="T34" fmla="*/ 824 w 1924"/>
                <a:gd name="T35" fmla="*/ 141 h 741"/>
                <a:gd name="T36" fmla="*/ 761 w 1924"/>
                <a:gd name="T37" fmla="*/ 180 h 741"/>
                <a:gd name="T38" fmla="*/ 662 w 1924"/>
                <a:gd name="T39" fmla="*/ 219 h 741"/>
                <a:gd name="T40" fmla="*/ 626 w 1924"/>
                <a:gd name="T41" fmla="*/ 228 h 741"/>
                <a:gd name="T42" fmla="*/ 650 w 1924"/>
                <a:gd name="T43" fmla="*/ 297 h 741"/>
                <a:gd name="T44" fmla="*/ 590 w 1924"/>
                <a:gd name="T45" fmla="*/ 333 h 741"/>
                <a:gd name="T46" fmla="*/ 593 w 1924"/>
                <a:gd name="T47" fmla="*/ 210 h 741"/>
                <a:gd name="T48" fmla="*/ 524 w 1924"/>
                <a:gd name="T49" fmla="*/ 288 h 741"/>
                <a:gd name="T50" fmla="*/ 429 w 1924"/>
                <a:gd name="T51" fmla="*/ 300 h 741"/>
                <a:gd name="T52" fmla="*/ 291 w 1924"/>
                <a:gd name="T53" fmla="*/ 324 h 741"/>
                <a:gd name="T54" fmla="*/ 258 w 1924"/>
                <a:gd name="T55" fmla="*/ 339 h 741"/>
                <a:gd name="T56" fmla="*/ 177 w 1924"/>
                <a:gd name="T57" fmla="*/ 378 h 741"/>
                <a:gd name="T58" fmla="*/ 237 w 1924"/>
                <a:gd name="T59" fmla="*/ 312 h 741"/>
                <a:gd name="T60" fmla="*/ 114 w 1924"/>
                <a:gd name="T61" fmla="*/ 282 h 741"/>
                <a:gd name="T62" fmla="*/ 123 w 1924"/>
                <a:gd name="T63" fmla="*/ 381 h 741"/>
                <a:gd name="T64" fmla="*/ 87 w 1924"/>
                <a:gd name="T65" fmla="*/ 483 h 741"/>
                <a:gd name="T66" fmla="*/ 147 w 1924"/>
                <a:gd name="T67" fmla="*/ 561 h 741"/>
                <a:gd name="T68" fmla="*/ 198 w 1924"/>
                <a:gd name="T69" fmla="*/ 609 h 741"/>
                <a:gd name="T70" fmla="*/ 210 w 1924"/>
                <a:gd name="T71" fmla="*/ 669 h 741"/>
                <a:gd name="T72" fmla="*/ 306 w 1924"/>
                <a:gd name="T73" fmla="*/ 732 h 741"/>
                <a:gd name="T74" fmla="*/ 306 w 1924"/>
                <a:gd name="T75" fmla="*/ 630 h 741"/>
                <a:gd name="T76" fmla="*/ 396 w 1924"/>
                <a:gd name="T77" fmla="*/ 603 h 741"/>
                <a:gd name="T78" fmla="*/ 471 w 1924"/>
                <a:gd name="T79" fmla="*/ 570 h 741"/>
                <a:gd name="T80" fmla="*/ 596 w 1924"/>
                <a:gd name="T81" fmla="*/ 552 h 741"/>
                <a:gd name="T82" fmla="*/ 710 w 1924"/>
                <a:gd name="T83" fmla="*/ 606 h 741"/>
                <a:gd name="T84" fmla="*/ 818 w 1924"/>
                <a:gd name="T85" fmla="*/ 606 h 741"/>
                <a:gd name="T86" fmla="*/ 920 w 1924"/>
                <a:gd name="T87" fmla="*/ 597 h 741"/>
                <a:gd name="T88" fmla="*/ 1067 w 1924"/>
                <a:gd name="T89" fmla="*/ 615 h 741"/>
                <a:gd name="T90" fmla="*/ 1190 w 1924"/>
                <a:gd name="T91" fmla="*/ 579 h 741"/>
                <a:gd name="T92" fmla="*/ 1274 w 1924"/>
                <a:gd name="T93" fmla="*/ 678 h 741"/>
                <a:gd name="T94" fmla="*/ 1358 w 1924"/>
                <a:gd name="T95" fmla="*/ 597 h 741"/>
                <a:gd name="T96" fmla="*/ 1313 w 1924"/>
                <a:gd name="T97" fmla="*/ 546 h 741"/>
                <a:gd name="T98" fmla="*/ 1469 w 1924"/>
                <a:gd name="T99" fmla="*/ 465 h 741"/>
                <a:gd name="T100" fmla="*/ 1574 w 1924"/>
                <a:gd name="T101" fmla="*/ 429 h 741"/>
                <a:gd name="T102" fmla="*/ 1592 w 1924"/>
                <a:gd name="T103" fmla="*/ 462 h 741"/>
                <a:gd name="T104" fmla="*/ 1586 w 1924"/>
                <a:gd name="T105" fmla="*/ 549 h 741"/>
                <a:gd name="T106" fmla="*/ 1649 w 1924"/>
                <a:gd name="T107" fmla="*/ 459 h 741"/>
                <a:gd name="T108" fmla="*/ 1784 w 1924"/>
                <a:gd name="T109" fmla="*/ 384 h 741"/>
                <a:gd name="T110" fmla="*/ 1838 w 1924"/>
                <a:gd name="T111" fmla="*/ 360 h 741"/>
                <a:gd name="T112" fmla="*/ 1915 w 1924"/>
                <a:gd name="T113" fmla="*/ 360 h 741"/>
                <a:gd name="T114" fmla="*/ 324 w 1924"/>
                <a:gd name="T115" fmla="*/ 30 h 741"/>
                <a:gd name="T116" fmla="*/ 387 w 1924"/>
                <a:gd name="T117" fmla="*/ 249 h 741"/>
                <a:gd name="T118" fmla="*/ 485 w 1924"/>
                <a:gd name="T119" fmla="*/ 135 h 741"/>
                <a:gd name="T120" fmla="*/ 414 w 1924"/>
                <a:gd name="T121" fmla="*/ 39 h 741"/>
                <a:gd name="T122" fmla="*/ 387 w 1924"/>
                <a:gd name="T123" fmla="*/ 33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4" h="741">
                  <a:moveTo>
                    <a:pt x="30" y="534"/>
                  </a:moveTo>
                  <a:cubicBezTo>
                    <a:pt x="27" y="537"/>
                    <a:pt x="24" y="534"/>
                    <a:pt x="24" y="534"/>
                  </a:cubicBezTo>
                  <a:cubicBezTo>
                    <a:pt x="21" y="531"/>
                    <a:pt x="18" y="531"/>
                    <a:pt x="15" y="531"/>
                  </a:cubicBezTo>
                  <a:cubicBezTo>
                    <a:pt x="15" y="534"/>
                    <a:pt x="18" y="534"/>
                    <a:pt x="18" y="534"/>
                  </a:cubicBezTo>
                  <a:cubicBezTo>
                    <a:pt x="18" y="537"/>
                    <a:pt x="12" y="537"/>
                    <a:pt x="15" y="540"/>
                  </a:cubicBezTo>
                  <a:cubicBezTo>
                    <a:pt x="15" y="543"/>
                    <a:pt x="9" y="543"/>
                    <a:pt x="9" y="540"/>
                  </a:cubicBezTo>
                  <a:cubicBezTo>
                    <a:pt x="9" y="537"/>
                    <a:pt x="0" y="537"/>
                    <a:pt x="0" y="540"/>
                  </a:cubicBezTo>
                  <a:cubicBezTo>
                    <a:pt x="0" y="543"/>
                    <a:pt x="0" y="543"/>
                    <a:pt x="0" y="543"/>
                  </a:cubicBezTo>
                  <a:cubicBezTo>
                    <a:pt x="3" y="543"/>
                    <a:pt x="6" y="546"/>
                    <a:pt x="6" y="546"/>
                  </a:cubicBezTo>
                  <a:cubicBezTo>
                    <a:pt x="6" y="546"/>
                    <a:pt x="27" y="549"/>
                    <a:pt x="36" y="546"/>
                  </a:cubicBezTo>
                  <a:cubicBezTo>
                    <a:pt x="36" y="540"/>
                    <a:pt x="36" y="540"/>
                    <a:pt x="36" y="540"/>
                  </a:cubicBezTo>
                  <a:cubicBezTo>
                    <a:pt x="36" y="537"/>
                    <a:pt x="30" y="534"/>
                    <a:pt x="30" y="534"/>
                  </a:cubicBezTo>
                  <a:close/>
                  <a:moveTo>
                    <a:pt x="890" y="93"/>
                  </a:moveTo>
                  <a:cubicBezTo>
                    <a:pt x="896" y="96"/>
                    <a:pt x="911" y="90"/>
                    <a:pt x="920" y="90"/>
                  </a:cubicBezTo>
                  <a:cubicBezTo>
                    <a:pt x="929" y="90"/>
                    <a:pt x="959" y="84"/>
                    <a:pt x="959" y="78"/>
                  </a:cubicBezTo>
                  <a:cubicBezTo>
                    <a:pt x="959" y="72"/>
                    <a:pt x="950" y="72"/>
                    <a:pt x="944" y="69"/>
                  </a:cubicBezTo>
                  <a:cubicBezTo>
                    <a:pt x="941" y="63"/>
                    <a:pt x="932" y="66"/>
                    <a:pt x="929" y="72"/>
                  </a:cubicBezTo>
                  <a:cubicBezTo>
                    <a:pt x="926" y="75"/>
                    <a:pt x="923" y="72"/>
                    <a:pt x="929" y="66"/>
                  </a:cubicBezTo>
                  <a:cubicBezTo>
                    <a:pt x="935" y="60"/>
                    <a:pt x="923" y="54"/>
                    <a:pt x="923" y="57"/>
                  </a:cubicBezTo>
                  <a:cubicBezTo>
                    <a:pt x="923" y="63"/>
                    <a:pt x="911" y="57"/>
                    <a:pt x="911" y="63"/>
                  </a:cubicBezTo>
                  <a:cubicBezTo>
                    <a:pt x="911" y="66"/>
                    <a:pt x="908" y="66"/>
                    <a:pt x="908" y="72"/>
                  </a:cubicBezTo>
                  <a:cubicBezTo>
                    <a:pt x="908" y="75"/>
                    <a:pt x="899" y="69"/>
                    <a:pt x="899" y="78"/>
                  </a:cubicBezTo>
                  <a:cubicBezTo>
                    <a:pt x="899" y="87"/>
                    <a:pt x="887" y="90"/>
                    <a:pt x="890" y="93"/>
                  </a:cubicBezTo>
                  <a:close/>
                  <a:moveTo>
                    <a:pt x="839" y="45"/>
                  </a:moveTo>
                  <a:cubicBezTo>
                    <a:pt x="839" y="51"/>
                    <a:pt x="827" y="54"/>
                    <a:pt x="830" y="57"/>
                  </a:cubicBezTo>
                  <a:cubicBezTo>
                    <a:pt x="833" y="60"/>
                    <a:pt x="836" y="57"/>
                    <a:pt x="839" y="60"/>
                  </a:cubicBezTo>
                  <a:cubicBezTo>
                    <a:pt x="842" y="60"/>
                    <a:pt x="845" y="69"/>
                    <a:pt x="851" y="66"/>
                  </a:cubicBezTo>
                  <a:cubicBezTo>
                    <a:pt x="857" y="66"/>
                    <a:pt x="872" y="72"/>
                    <a:pt x="884" y="72"/>
                  </a:cubicBezTo>
                  <a:cubicBezTo>
                    <a:pt x="893" y="72"/>
                    <a:pt x="893" y="66"/>
                    <a:pt x="890" y="66"/>
                  </a:cubicBezTo>
                  <a:cubicBezTo>
                    <a:pt x="887" y="63"/>
                    <a:pt x="890" y="60"/>
                    <a:pt x="896" y="51"/>
                  </a:cubicBezTo>
                  <a:cubicBezTo>
                    <a:pt x="902" y="45"/>
                    <a:pt x="878" y="39"/>
                    <a:pt x="878" y="45"/>
                  </a:cubicBezTo>
                  <a:cubicBezTo>
                    <a:pt x="878" y="51"/>
                    <a:pt x="872" y="42"/>
                    <a:pt x="869" y="39"/>
                  </a:cubicBezTo>
                  <a:cubicBezTo>
                    <a:pt x="869" y="36"/>
                    <a:pt x="839" y="42"/>
                    <a:pt x="839" y="45"/>
                  </a:cubicBezTo>
                  <a:close/>
                  <a:moveTo>
                    <a:pt x="821" y="36"/>
                  </a:moveTo>
                  <a:cubicBezTo>
                    <a:pt x="827" y="39"/>
                    <a:pt x="824" y="42"/>
                    <a:pt x="818" y="42"/>
                  </a:cubicBezTo>
                  <a:cubicBezTo>
                    <a:pt x="812" y="42"/>
                    <a:pt x="806" y="42"/>
                    <a:pt x="812" y="45"/>
                  </a:cubicBezTo>
                  <a:cubicBezTo>
                    <a:pt x="815" y="48"/>
                    <a:pt x="815" y="51"/>
                    <a:pt x="821" y="51"/>
                  </a:cubicBezTo>
                  <a:cubicBezTo>
                    <a:pt x="827" y="54"/>
                    <a:pt x="836" y="48"/>
                    <a:pt x="833" y="45"/>
                  </a:cubicBezTo>
                  <a:cubicBezTo>
                    <a:pt x="833" y="39"/>
                    <a:pt x="857" y="36"/>
                    <a:pt x="866" y="36"/>
                  </a:cubicBezTo>
                  <a:cubicBezTo>
                    <a:pt x="872" y="33"/>
                    <a:pt x="860" y="27"/>
                    <a:pt x="869" y="24"/>
                  </a:cubicBezTo>
                  <a:cubicBezTo>
                    <a:pt x="875" y="24"/>
                    <a:pt x="872" y="21"/>
                    <a:pt x="863" y="21"/>
                  </a:cubicBezTo>
                  <a:cubicBezTo>
                    <a:pt x="854" y="18"/>
                    <a:pt x="857" y="12"/>
                    <a:pt x="854" y="9"/>
                  </a:cubicBezTo>
                  <a:cubicBezTo>
                    <a:pt x="851" y="6"/>
                    <a:pt x="851" y="12"/>
                    <a:pt x="839" y="15"/>
                  </a:cubicBezTo>
                  <a:cubicBezTo>
                    <a:pt x="827" y="15"/>
                    <a:pt x="821" y="18"/>
                    <a:pt x="827" y="21"/>
                  </a:cubicBezTo>
                  <a:cubicBezTo>
                    <a:pt x="830" y="24"/>
                    <a:pt x="827" y="30"/>
                    <a:pt x="821" y="30"/>
                  </a:cubicBezTo>
                  <a:cubicBezTo>
                    <a:pt x="815" y="30"/>
                    <a:pt x="815" y="33"/>
                    <a:pt x="821" y="36"/>
                  </a:cubicBezTo>
                  <a:close/>
                  <a:moveTo>
                    <a:pt x="671" y="213"/>
                  </a:moveTo>
                  <a:cubicBezTo>
                    <a:pt x="677" y="216"/>
                    <a:pt x="683" y="213"/>
                    <a:pt x="680" y="210"/>
                  </a:cubicBezTo>
                  <a:cubicBezTo>
                    <a:pt x="680" y="204"/>
                    <a:pt x="668" y="210"/>
                    <a:pt x="671" y="213"/>
                  </a:cubicBezTo>
                  <a:close/>
                  <a:moveTo>
                    <a:pt x="812" y="12"/>
                  </a:moveTo>
                  <a:cubicBezTo>
                    <a:pt x="815" y="9"/>
                    <a:pt x="791" y="9"/>
                    <a:pt x="797" y="15"/>
                  </a:cubicBezTo>
                  <a:cubicBezTo>
                    <a:pt x="800" y="18"/>
                    <a:pt x="812" y="18"/>
                    <a:pt x="812" y="12"/>
                  </a:cubicBezTo>
                  <a:close/>
                  <a:moveTo>
                    <a:pt x="1421" y="162"/>
                  </a:moveTo>
                  <a:cubicBezTo>
                    <a:pt x="1430" y="162"/>
                    <a:pt x="1433" y="171"/>
                    <a:pt x="1448" y="171"/>
                  </a:cubicBezTo>
                  <a:cubicBezTo>
                    <a:pt x="1463" y="171"/>
                    <a:pt x="1475" y="168"/>
                    <a:pt x="1475" y="165"/>
                  </a:cubicBezTo>
                  <a:cubicBezTo>
                    <a:pt x="1475" y="162"/>
                    <a:pt x="1463" y="156"/>
                    <a:pt x="1457" y="159"/>
                  </a:cubicBezTo>
                  <a:cubicBezTo>
                    <a:pt x="1454" y="162"/>
                    <a:pt x="1451" y="156"/>
                    <a:pt x="1445" y="156"/>
                  </a:cubicBezTo>
                  <a:cubicBezTo>
                    <a:pt x="1439" y="159"/>
                    <a:pt x="1433" y="159"/>
                    <a:pt x="1430" y="153"/>
                  </a:cubicBezTo>
                  <a:cubicBezTo>
                    <a:pt x="1427" y="150"/>
                    <a:pt x="1418" y="162"/>
                    <a:pt x="1421" y="162"/>
                  </a:cubicBezTo>
                  <a:close/>
                  <a:moveTo>
                    <a:pt x="1793" y="255"/>
                  </a:moveTo>
                  <a:cubicBezTo>
                    <a:pt x="1799" y="258"/>
                    <a:pt x="1805" y="252"/>
                    <a:pt x="1811" y="255"/>
                  </a:cubicBezTo>
                  <a:cubicBezTo>
                    <a:pt x="1814" y="258"/>
                    <a:pt x="1829" y="252"/>
                    <a:pt x="1832" y="252"/>
                  </a:cubicBezTo>
                  <a:cubicBezTo>
                    <a:pt x="1838" y="252"/>
                    <a:pt x="1835" y="243"/>
                    <a:pt x="1820" y="243"/>
                  </a:cubicBezTo>
                  <a:cubicBezTo>
                    <a:pt x="1805" y="240"/>
                    <a:pt x="1787" y="252"/>
                    <a:pt x="1793" y="255"/>
                  </a:cubicBezTo>
                  <a:close/>
                  <a:moveTo>
                    <a:pt x="512" y="21"/>
                  </a:moveTo>
                  <a:cubicBezTo>
                    <a:pt x="524" y="21"/>
                    <a:pt x="524" y="15"/>
                    <a:pt x="515" y="12"/>
                  </a:cubicBezTo>
                  <a:cubicBezTo>
                    <a:pt x="509" y="12"/>
                    <a:pt x="509" y="15"/>
                    <a:pt x="506" y="15"/>
                  </a:cubicBezTo>
                  <a:cubicBezTo>
                    <a:pt x="503" y="15"/>
                    <a:pt x="488" y="18"/>
                    <a:pt x="491" y="21"/>
                  </a:cubicBezTo>
                  <a:cubicBezTo>
                    <a:pt x="494" y="24"/>
                    <a:pt x="503" y="24"/>
                    <a:pt x="512" y="21"/>
                  </a:cubicBezTo>
                  <a:close/>
                  <a:moveTo>
                    <a:pt x="1322" y="162"/>
                  </a:moveTo>
                  <a:cubicBezTo>
                    <a:pt x="1325" y="165"/>
                    <a:pt x="1328" y="168"/>
                    <a:pt x="1331" y="168"/>
                  </a:cubicBezTo>
                  <a:cubicBezTo>
                    <a:pt x="1331" y="171"/>
                    <a:pt x="1343" y="168"/>
                    <a:pt x="1346" y="168"/>
                  </a:cubicBezTo>
                  <a:cubicBezTo>
                    <a:pt x="1349" y="165"/>
                    <a:pt x="1352" y="174"/>
                    <a:pt x="1358" y="168"/>
                  </a:cubicBezTo>
                  <a:cubicBezTo>
                    <a:pt x="1364" y="165"/>
                    <a:pt x="1370" y="168"/>
                    <a:pt x="1376" y="168"/>
                  </a:cubicBezTo>
                  <a:cubicBezTo>
                    <a:pt x="1385" y="168"/>
                    <a:pt x="1376" y="159"/>
                    <a:pt x="1376" y="153"/>
                  </a:cubicBezTo>
                  <a:cubicBezTo>
                    <a:pt x="1376" y="150"/>
                    <a:pt x="1385" y="153"/>
                    <a:pt x="1382" y="156"/>
                  </a:cubicBezTo>
                  <a:cubicBezTo>
                    <a:pt x="1379" y="159"/>
                    <a:pt x="1385" y="168"/>
                    <a:pt x="1397" y="165"/>
                  </a:cubicBezTo>
                  <a:cubicBezTo>
                    <a:pt x="1406" y="165"/>
                    <a:pt x="1400" y="159"/>
                    <a:pt x="1406" y="156"/>
                  </a:cubicBezTo>
                  <a:cubicBezTo>
                    <a:pt x="1409" y="153"/>
                    <a:pt x="1409" y="150"/>
                    <a:pt x="1403" y="147"/>
                  </a:cubicBezTo>
                  <a:cubicBezTo>
                    <a:pt x="1394" y="141"/>
                    <a:pt x="1385" y="144"/>
                    <a:pt x="1376" y="141"/>
                  </a:cubicBezTo>
                  <a:cubicBezTo>
                    <a:pt x="1370" y="138"/>
                    <a:pt x="1361" y="138"/>
                    <a:pt x="1361" y="147"/>
                  </a:cubicBezTo>
                  <a:cubicBezTo>
                    <a:pt x="1361" y="153"/>
                    <a:pt x="1346" y="138"/>
                    <a:pt x="1340" y="135"/>
                  </a:cubicBezTo>
                  <a:cubicBezTo>
                    <a:pt x="1331" y="132"/>
                    <a:pt x="1310" y="156"/>
                    <a:pt x="1322" y="162"/>
                  </a:cubicBezTo>
                  <a:close/>
                  <a:moveTo>
                    <a:pt x="1391" y="204"/>
                  </a:moveTo>
                  <a:cubicBezTo>
                    <a:pt x="1397" y="204"/>
                    <a:pt x="1385" y="192"/>
                    <a:pt x="1376" y="192"/>
                  </a:cubicBezTo>
                  <a:cubicBezTo>
                    <a:pt x="1364" y="189"/>
                    <a:pt x="1355" y="198"/>
                    <a:pt x="1358" y="198"/>
                  </a:cubicBezTo>
                  <a:cubicBezTo>
                    <a:pt x="1361" y="204"/>
                    <a:pt x="1385" y="207"/>
                    <a:pt x="1391" y="204"/>
                  </a:cubicBezTo>
                  <a:close/>
                  <a:moveTo>
                    <a:pt x="1364" y="183"/>
                  </a:moveTo>
                  <a:cubicBezTo>
                    <a:pt x="1364" y="177"/>
                    <a:pt x="1346" y="183"/>
                    <a:pt x="1352" y="186"/>
                  </a:cubicBezTo>
                  <a:cubicBezTo>
                    <a:pt x="1358" y="189"/>
                    <a:pt x="1364" y="189"/>
                    <a:pt x="1364" y="183"/>
                  </a:cubicBezTo>
                  <a:close/>
                  <a:moveTo>
                    <a:pt x="575" y="207"/>
                  </a:moveTo>
                  <a:cubicBezTo>
                    <a:pt x="578" y="207"/>
                    <a:pt x="590" y="207"/>
                    <a:pt x="593" y="204"/>
                  </a:cubicBezTo>
                  <a:cubicBezTo>
                    <a:pt x="593" y="201"/>
                    <a:pt x="587" y="198"/>
                    <a:pt x="581" y="198"/>
                  </a:cubicBezTo>
                  <a:cubicBezTo>
                    <a:pt x="572" y="198"/>
                    <a:pt x="572" y="207"/>
                    <a:pt x="575" y="207"/>
                  </a:cubicBezTo>
                  <a:close/>
                  <a:moveTo>
                    <a:pt x="309" y="27"/>
                  </a:moveTo>
                  <a:cubicBezTo>
                    <a:pt x="318" y="18"/>
                    <a:pt x="327" y="27"/>
                    <a:pt x="327" y="24"/>
                  </a:cubicBezTo>
                  <a:cubicBezTo>
                    <a:pt x="330" y="18"/>
                    <a:pt x="315" y="18"/>
                    <a:pt x="309" y="21"/>
                  </a:cubicBezTo>
                  <a:cubicBezTo>
                    <a:pt x="303" y="24"/>
                    <a:pt x="288" y="21"/>
                    <a:pt x="291" y="27"/>
                  </a:cubicBezTo>
                  <a:cubicBezTo>
                    <a:pt x="291" y="27"/>
                    <a:pt x="300" y="33"/>
                    <a:pt x="309" y="27"/>
                  </a:cubicBezTo>
                  <a:close/>
                  <a:moveTo>
                    <a:pt x="1388" y="591"/>
                  </a:moveTo>
                  <a:cubicBezTo>
                    <a:pt x="1385" y="579"/>
                    <a:pt x="1394" y="570"/>
                    <a:pt x="1385" y="567"/>
                  </a:cubicBezTo>
                  <a:cubicBezTo>
                    <a:pt x="1379" y="561"/>
                    <a:pt x="1382" y="549"/>
                    <a:pt x="1379" y="552"/>
                  </a:cubicBezTo>
                  <a:cubicBezTo>
                    <a:pt x="1376" y="555"/>
                    <a:pt x="1379" y="564"/>
                    <a:pt x="1373" y="564"/>
                  </a:cubicBezTo>
                  <a:cubicBezTo>
                    <a:pt x="1367" y="564"/>
                    <a:pt x="1373" y="570"/>
                    <a:pt x="1370" y="576"/>
                  </a:cubicBezTo>
                  <a:cubicBezTo>
                    <a:pt x="1370" y="582"/>
                    <a:pt x="1373" y="594"/>
                    <a:pt x="1376" y="600"/>
                  </a:cubicBezTo>
                  <a:cubicBezTo>
                    <a:pt x="1379" y="606"/>
                    <a:pt x="1370" y="636"/>
                    <a:pt x="1373" y="642"/>
                  </a:cubicBezTo>
                  <a:cubicBezTo>
                    <a:pt x="1376" y="648"/>
                    <a:pt x="1370" y="672"/>
                    <a:pt x="1373" y="675"/>
                  </a:cubicBezTo>
                  <a:cubicBezTo>
                    <a:pt x="1376" y="678"/>
                    <a:pt x="1373" y="666"/>
                    <a:pt x="1379" y="666"/>
                  </a:cubicBezTo>
                  <a:cubicBezTo>
                    <a:pt x="1385" y="666"/>
                    <a:pt x="1385" y="672"/>
                    <a:pt x="1388" y="675"/>
                  </a:cubicBezTo>
                  <a:cubicBezTo>
                    <a:pt x="1394" y="675"/>
                    <a:pt x="1391" y="663"/>
                    <a:pt x="1388" y="666"/>
                  </a:cubicBezTo>
                  <a:cubicBezTo>
                    <a:pt x="1385" y="666"/>
                    <a:pt x="1382" y="657"/>
                    <a:pt x="1379" y="651"/>
                  </a:cubicBezTo>
                  <a:cubicBezTo>
                    <a:pt x="1379" y="645"/>
                    <a:pt x="1382" y="639"/>
                    <a:pt x="1382" y="633"/>
                  </a:cubicBezTo>
                  <a:cubicBezTo>
                    <a:pt x="1382" y="627"/>
                    <a:pt x="1391" y="627"/>
                    <a:pt x="1397" y="633"/>
                  </a:cubicBezTo>
                  <a:cubicBezTo>
                    <a:pt x="1400" y="636"/>
                    <a:pt x="1403" y="633"/>
                    <a:pt x="1400" y="630"/>
                  </a:cubicBezTo>
                  <a:cubicBezTo>
                    <a:pt x="1397" y="627"/>
                    <a:pt x="1391" y="600"/>
                    <a:pt x="1388" y="591"/>
                  </a:cubicBezTo>
                  <a:close/>
                  <a:moveTo>
                    <a:pt x="327" y="294"/>
                  </a:moveTo>
                  <a:cubicBezTo>
                    <a:pt x="336" y="300"/>
                    <a:pt x="342" y="288"/>
                    <a:pt x="348" y="288"/>
                  </a:cubicBezTo>
                  <a:cubicBezTo>
                    <a:pt x="351" y="288"/>
                    <a:pt x="345" y="282"/>
                    <a:pt x="336" y="282"/>
                  </a:cubicBezTo>
                  <a:cubicBezTo>
                    <a:pt x="330" y="279"/>
                    <a:pt x="318" y="285"/>
                    <a:pt x="327" y="294"/>
                  </a:cubicBezTo>
                  <a:close/>
                  <a:moveTo>
                    <a:pt x="1921" y="348"/>
                  </a:moveTo>
                  <a:cubicBezTo>
                    <a:pt x="1918" y="348"/>
                    <a:pt x="1906" y="342"/>
                    <a:pt x="1903" y="339"/>
                  </a:cubicBezTo>
                  <a:cubicBezTo>
                    <a:pt x="1903" y="333"/>
                    <a:pt x="1888" y="333"/>
                    <a:pt x="1888" y="333"/>
                  </a:cubicBezTo>
                  <a:cubicBezTo>
                    <a:pt x="1888" y="336"/>
                    <a:pt x="1885" y="333"/>
                    <a:pt x="1885" y="330"/>
                  </a:cubicBezTo>
                  <a:cubicBezTo>
                    <a:pt x="1882" y="330"/>
                    <a:pt x="1870" y="330"/>
                    <a:pt x="1870" y="330"/>
                  </a:cubicBezTo>
                  <a:cubicBezTo>
                    <a:pt x="1870" y="333"/>
                    <a:pt x="1873" y="333"/>
                    <a:pt x="1873" y="336"/>
                  </a:cubicBezTo>
                  <a:cubicBezTo>
                    <a:pt x="1876" y="339"/>
                    <a:pt x="1870" y="339"/>
                    <a:pt x="1873" y="342"/>
                  </a:cubicBezTo>
                  <a:cubicBezTo>
                    <a:pt x="1873" y="345"/>
                    <a:pt x="1867" y="342"/>
                    <a:pt x="1864" y="339"/>
                  </a:cubicBezTo>
                  <a:cubicBezTo>
                    <a:pt x="1864" y="339"/>
                    <a:pt x="1864" y="333"/>
                    <a:pt x="1864" y="330"/>
                  </a:cubicBezTo>
                  <a:cubicBezTo>
                    <a:pt x="1864" y="324"/>
                    <a:pt x="1861" y="327"/>
                    <a:pt x="1861" y="324"/>
                  </a:cubicBezTo>
                  <a:cubicBezTo>
                    <a:pt x="1861" y="318"/>
                    <a:pt x="1847" y="312"/>
                    <a:pt x="1841" y="309"/>
                  </a:cubicBezTo>
                  <a:cubicBezTo>
                    <a:pt x="1832" y="306"/>
                    <a:pt x="1826" y="306"/>
                    <a:pt x="1823" y="303"/>
                  </a:cubicBezTo>
                  <a:cubicBezTo>
                    <a:pt x="1820" y="297"/>
                    <a:pt x="1808" y="297"/>
                    <a:pt x="1805" y="294"/>
                  </a:cubicBezTo>
                  <a:cubicBezTo>
                    <a:pt x="1802" y="288"/>
                    <a:pt x="1781" y="282"/>
                    <a:pt x="1775" y="279"/>
                  </a:cubicBezTo>
                  <a:cubicBezTo>
                    <a:pt x="1766" y="279"/>
                    <a:pt x="1766" y="276"/>
                    <a:pt x="1763" y="276"/>
                  </a:cubicBezTo>
                  <a:cubicBezTo>
                    <a:pt x="1760" y="276"/>
                    <a:pt x="1742" y="276"/>
                    <a:pt x="1736" y="276"/>
                  </a:cubicBezTo>
                  <a:cubicBezTo>
                    <a:pt x="1730" y="273"/>
                    <a:pt x="1730" y="279"/>
                    <a:pt x="1727" y="276"/>
                  </a:cubicBezTo>
                  <a:cubicBezTo>
                    <a:pt x="1724" y="276"/>
                    <a:pt x="1703" y="267"/>
                    <a:pt x="1700" y="270"/>
                  </a:cubicBezTo>
                  <a:cubicBezTo>
                    <a:pt x="1697" y="273"/>
                    <a:pt x="1700" y="276"/>
                    <a:pt x="1697" y="279"/>
                  </a:cubicBezTo>
                  <a:cubicBezTo>
                    <a:pt x="1694" y="279"/>
                    <a:pt x="1697" y="282"/>
                    <a:pt x="1703" y="288"/>
                  </a:cubicBezTo>
                  <a:cubicBezTo>
                    <a:pt x="1709" y="291"/>
                    <a:pt x="1703" y="297"/>
                    <a:pt x="1700" y="297"/>
                  </a:cubicBezTo>
                  <a:cubicBezTo>
                    <a:pt x="1694" y="300"/>
                    <a:pt x="1685" y="297"/>
                    <a:pt x="1685" y="291"/>
                  </a:cubicBezTo>
                  <a:cubicBezTo>
                    <a:pt x="1682" y="288"/>
                    <a:pt x="1676" y="291"/>
                    <a:pt x="1673" y="285"/>
                  </a:cubicBezTo>
                  <a:cubicBezTo>
                    <a:pt x="1670" y="279"/>
                    <a:pt x="1676" y="279"/>
                    <a:pt x="1679" y="282"/>
                  </a:cubicBezTo>
                  <a:cubicBezTo>
                    <a:pt x="1682" y="285"/>
                    <a:pt x="1685" y="282"/>
                    <a:pt x="1688" y="279"/>
                  </a:cubicBezTo>
                  <a:cubicBezTo>
                    <a:pt x="1688" y="276"/>
                    <a:pt x="1679" y="273"/>
                    <a:pt x="1673" y="273"/>
                  </a:cubicBezTo>
                  <a:cubicBezTo>
                    <a:pt x="1667" y="273"/>
                    <a:pt x="1664" y="279"/>
                    <a:pt x="1658" y="282"/>
                  </a:cubicBezTo>
                  <a:cubicBezTo>
                    <a:pt x="1655" y="285"/>
                    <a:pt x="1634" y="282"/>
                    <a:pt x="1631" y="279"/>
                  </a:cubicBezTo>
                  <a:cubicBezTo>
                    <a:pt x="1628" y="279"/>
                    <a:pt x="1601" y="279"/>
                    <a:pt x="1598" y="282"/>
                  </a:cubicBezTo>
                  <a:cubicBezTo>
                    <a:pt x="1595" y="285"/>
                    <a:pt x="1595" y="291"/>
                    <a:pt x="1595" y="294"/>
                  </a:cubicBezTo>
                  <a:cubicBezTo>
                    <a:pt x="1592" y="294"/>
                    <a:pt x="1592" y="285"/>
                    <a:pt x="1592" y="282"/>
                  </a:cubicBezTo>
                  <a:cubicBezTo>
                    <a:pt x="1592" y="279"/>
                    <a:pt x="1589" y="279"/>
                    <a:pt x="1583" y="279"/>
                  </a:cubicBezTo>
                  <a:cubicBezTo>
                    <a:pt x="1577" y="279"/>
                    <a:pt x="1574" y="279"/>
                    <a:pt x="1577" y="276"/>
                  </a:cubicBezTo>
                  <a:cubicBezTo>
                    <a:pt x="1580" y="273"/>
                    <a:pt x="1574" y="273"/>
                    <a:pt x="1580" y="270"/>
                  </a:cubicBezTo>
                  <a:cubicBezTo>
                    <a:pt x="1583" y="267"/>
                    <a:pt x="1571" y="258"/>
                    <a:pt x="1562" y="252"/>
                  </a:cubicBezTo>
                  <a:cubicBezTo>
                    <a:pt x="1550" y="249"/>
                    <a:pt x="1526" y="252"/>
                    <a:pt x="1517" y="252"/>
                  </a:cubicBezTo>
                  <a:cubicBezTo>
                    <a:pt x="1511" y="255"/>
                    <a:pt x="1499" y="255"/>
                    <a:pt x="1493" y="255"/>
                  </a:cubicBezTo>
                  <a:cubicBezTo>
                    <a:pt x="1484" y="255"/>
                    <a:pt x="1490" y="252"/>
                    <a:pt x="1490" y="249"/>
                  </a:cubicBezTo>
                  <a:cubicBezTo>
                    <a:pt x="1487" y="246"/>
                    <a:pt x="1475" y="243"/>
                    <a:pt x="1475" y="246"/>
                  </a:cubicBezTo>
                  <a:cubicBezTo>
                    <a:pt x="1472" y="249"/>
                    <a:pt x="1469" y="246"/>
                    <a:pt x="1469" y="243"/>
                  </a:cubicBezTo>
                  <a:cubicBezTo>
                    <a:pt x="1469" y="243"/>
                    <a:pt x="1460" y="237"/>
                    <a:pt x="1457" y="240"/>
                  </a:cubicBezTo>
                  <a:cubicBezTo>
                    <a:pt x="1451" y="240"/>
                    <a:pt x="1451" y="234"/>
                    <a:pt x="1454" y="234"/>
                  </a:cubicBezTo>
                  <a:cubicBezTo>
                    <a:pt x="1460" y="234"/>
                    <a:pt x="1466" y="237"/>
                    <a:pt x="1463" y="231"/>
                  </a:cubicBezTo>
                  <a:cubicBezTo>
                    <a:pt x="1460" y="225"/>
                    <a:pt x="1430" y="225"/>
                    <a:pt x="1427" y="225"/>
                  </a:cubicBezTo>
                  <a:cubicBezTo>
                    <a:pt x="1424" y="225"/>
                    <a:pt x="1427" y="231"/>
                    <a:pt x="1421" y="237"/>
                  </a:cubicBezTo>
                  <a:cubicBezTo>
                    <a:pt x="1415" y="243"/>
                    <a:pt x="1409" y="237"/>
                    <a:pt x="1409" y="234"/>
                  </a:cubicBezTo>
                  <a:cubicBezTo>
                    <a:pt x="1409" y="231"/>
                    <a:pt x="1418" y="231"/>
                    <a:pt x="1418" y="228"/>
                  </a:cubicBezTo>
                  <a:cubicBezTo>
                    <a:pt x="1418" y="225"/>
                    <a:pt x="1406" y="228"/>
                    <a:pt x="1406" y="225"/>
                  </a:cubicBezTo>
                  <a:cubicBezTo>
                    <a:pt x="1403" y="222"/>
                    <a:pt x="1406" y="222"/>
                    <a:pt x="1412" y="222"/>
                  </a:cubicBezTo>
                  <a:cubicBezTo>
                    <a:pt x="1415" y="225"/>
                    <a:pt x="1421" y="225"/>
                    <a:pt x="1424" y="222"/>
                  </a:cubicBezTo>
                  <a:cubicBezTo>
                    <a:pt x="1424" y="222"/>
                    <a:pt x="1418" y="219"/>
                    <a:pt x="1412" y="219"/>
                  </a:cubicBezTo>
                  <a:cubicBezTo>
                    <a:pt x="1406" y="219"/>
                    <a:pt x="1388" y="213"/>
                    <a:pt x="1382" y="216"/>
                  </a:cubicBezTo>
                  <a:cubicBezTo>
                    <a:pt x="1373" y="216"/>
                    <a:pt x="1367" y="213"/>
                    <a:pt x="1364" y="210"/>
                  </a:cubicBezTo>
                  <a:cubicBezTo>
                    <a:pt x="1358" y="210"/>
                    <a:pt x="1358" y="213"/>
                    <a:pt x="1361" y="216"/>
                  </a:cubicBezTo>
                  <a:cubicBezTo>
                    <a:pt x="1364" y="219"/>
                    <a:pt x="1358" y="222"/>
                    <a:pt x="1352" y="219"/>
                  </a:cubicBezTo>
                  <a:cubicBezTo>
                    <a:pt x="1346" y="219"/>
                    <a:pt x="1337" y="222"/>
                    <a:pt x="1340" y="228"/>
                  </a:cubicBezTo>
                  <a:cubicBezTo>
                    <a:pt x="1343" y="231"/>
                    <a:pt x="1346" y="225"/>
                    <a:pt x="1349" y="228"/>
                  </a:cubicBezTo>
                  <a:cubicBezTo>
                    <a:pt x="1352" y="228"/>
                    <a:pt x="1343" y="231"/>
                    <a:pt x="1346" y="234"/>
                  </a:cubicBezTo>
                  <a:cubicBezTo>
                    <a:pt x="1352" y="234"/>
                    <a:pt x="1349" y="240"/>
                    <a:pt x="1349" y="240"/>
                  </a:cubicBezTo>
                  <a:cubicBezTo>
                    <a:pt x="1349" y="243"/>
                    <a:pt x="1343" y="243"/>
                    <a:pt x="1340" y="240"/>
                  </a:cubicBezTo>
                  <a:cubicBezTo>
                    <a:pt x="1340" y="237"/>
                    <a:pt x="1334" y="240"/>
                    <a:pt x="1331" y="240"/>
                  </a:cubicBezTo>
                  <a:cubicBezTo>
                    <a:pt x="1325" y="240"/>
                    <a:pt x="1322" y="243"/>
                    <a:pt x="1328" y="243"/>
                  </a:cubicBezTo>
                  <a:cubicBezTo>
                    <a:pt x="1331" y="243"/>
                    <a:pt x="1334" y="246"/>
                    <a:pt x="1328" y="246"/>
                  </a:cubicBezTo>
                  <a:cubicBezTo>
                    <a:pt x="1322" y="249"/>
                    <a:pt x="1322" y="240"/>
                    <a:pt x="1319" y="243"/>
                  </a:cubicBezTo>
                  <a:cubicBezTo>
                    <a:pt x="1313" y="243"/>
                    <a:pt x="1307" y="240"/>
                    <a:pt x="1301" y="240"/>
                  </a:cubicBezTo>
                  <a:cubicBezTo>
                    <a:pt x="1295" y="240"/>
                    <a:pt x="1295" y="243"/>
                    <a:pt x="1289" y="243"/>
                  </a:cubicBezTo>
                  <a:cubicBezTo>
                    <a:pt x="1283" y="243"/>
                    <a:pt x="1274" y="240"/>
                    <a:pt x="1271" y="237"/>
                  </a:cubicBezTo>
                  <a:cubicBezTo>
                    <a:pt x="1268" y="234"/>
                    <a:pt x="1268" y="231"/>
                    <a:pt x="1265" y="237"/>
                  </a:cubicBezTo>
                  <a:cubicBezTo>
                    <a:pt x="1262" y="240"/>
                    <a:pt x="1262" y="246"/>
                    <a:pt x="1259" y="249"/>
                  </a:cubicBezTo>
                  <a:cubicBezTo>
                    <a:pt x="1256" y="249"/>
                    <a:pt x="1253" y="255"/>
                    <a:pt x="1250" y="258"/>
                  </a:cubicBezTo>
                  <a:cubicBezTo>
                    <a:pt x="1247" y="258"/>
                    <a:pt x="1247" y="255"/>
                    <a:pt x="1244" y="255"/>
                  </a:cubicBezTo>
                  <a:cubicBezTo>
                    <a:pt x="1241" y="255"/>
                    <a:pt x="1229" y="243"/>
                    <a:pt x="1226" y="240"/>
                  </a:cubicBezTo>
                  <a:cubicBezTo>
                    <a:pt x="1226" y="237"/>
                    <a:pt x="1220" y="228"/>
                    <a:pt x="1217" y="228"/>
                  </a:cubicBezTo>
                  <a:cubicBezTo>
                    <a:pt x="1214" y="225"/>
                    <a:pt x="1220" y="225"/>
                    <a:pt x="1223" y="228"/>
                  </a:cubicBezTo>
                  <a:cubicBezTo>
                    <a:pt x="1223" y="231"/>
                    <a:pt x="1226" y="231"/>
                    <a:pt x="1229" y="228"/>
                  </a:cubicBezTo>
                  <a:cubicBezTo>
                    <a:pt x="1232" y="228"/>
                    <a:pt x="1232" y="222"/>
                    <a:pt x="1229" y="222"/>
                  </a:cubicBezTo>
                  <a:cubicBezTo>
                    <a:pt x="1223" y="222"/>
                    <a:pt x="1226" y="216"/>
                    <a:pt x="1226" y="216"/>
                  </a:cubicBezTo>
                  <a:cubicBezTo>
                    <a:pt x="1229" y="216"/>
                    <a:pt x="1223" y="210"/>
                    <a:pt x="1226" y="210"/>
                  </a:cubicBezTo>
                  <a:cubicBezTo>
                    <a:pt x="1226" y="207"/>
                    <a:pt x="1226" y="204"/>
                    <a:pt x="1223" y="204"/>
                  </a:cubicBezTo>
                  <a:cubicBezTo>
                    <a:pt x="1220" y="204"/>
                    <a:pt x="1214" y="201"/>
                    <a:pt x="1214" y="198"/>
                  </a:cubicBezTo>
                  <a:cubicBezTo>
                    <a:pt x="1214" y="198"/>
                    <a:pt x="1199" y="198"/>
                    <a:pt x="1199" y="201"/>
                  </a:cubicBezTo>
                  <a:cubicBezTo>
                    <a:pt x="1202" y="201"/>
                    <a:pt x="1196" y="201"/>
                    <a:pt x="1196" y="198"/>
                  </a:cubicBezTo>
                  <a:cubicBezTo>
                    <a:pt x="1196" y="198"/>
                    <a:pt x="1190" y="198"/>
                    <a:pt x="1184" y="195"/>
                  </a:cubicBezTo>
                  <a:cubicBezTo>
                    <a:pt x="1175" y="195"/>
                    <a:pt x="1175" y="189"/>
                    <a:pt x="1172" y="189"/>
                  </a:cubicBezTo>
                  <a:cubicBezTo>
                    <a:pt x="1169" y="189"/>
                    <a:pt x="1172" y="195"/>
                    <a:pt x="1169" y="195"/>
                  </a:cubicBezTo>
                  <a:cubicBezTo>
                    <a:pt x="1163" y="192"/>
                    <a:pt x="1160" y="195"/>
                    <a:pt x="1163" y="201"/>
                  </a:cubicBezTo>
                  <a:cubicBezTo>
                    <a:pt x="1163" y="204"/>
                    <a:pt x="1163" y="204"/>
                    <a:pt x="1163" y="207"/>
                  </a:cubicBezTo>
                  <a:cubicBezTo>
                    <a:pt x="1160" y="213"/>
                    <a:pt x="1160" y="210"/>
                    <a:pt x="1154" y="210"/>
                  </a:cubicBezTo>
                  <a:cubicBezTo>
                    <a:pt x="1151" y="207"/>
                    <a:pt x="1151" y="213"/>
                    <a:pt x="1142" y="210"/>
                  </a:cubicBezTo>
                  <a:cubicBezTo>
                    <a:pt x="1133" y="207"/>
                    <a:pt x="1127" y="210"/>
                    <a:pt x="1127" y="207"/>
                  </a:cubicBezTo>
                  <a:cubicBezTo>
                    <a:pt x="1124" y="204"/>
                    <a:pt x="1121" y="204"/>
                    <a:pt x="1121" y="207"/>
                  </a:cubicBezTo>
                  <a:cubicBezTo>
                    <a:pt x="1121" y="210"/>
                    <a:pt x="1106" y="207"/>
                    <a:pt x="1106" y="204"/>
                  </a:cubicBezTo>
                  <a:cubicBezTo>
                    <a:pt x="1103" y="201"/>
                    <a:pt x="1109" y="201"/>
                    <a:pt x="1109" y="198"/>
                  </a:cubicBezTo>
                  <a:cubicBezTo>
                    <a:pt x="1112" y="198"/>
                    <a:pt x="1109" y="195"/>
                    <a:pt x="1100" y="198"/>
                  </a:cubicBezTo>
                  <a:cubicBezTo>
                    <a:pt x="1091" y="198"/>
                    <a:pt x="1088" y="192"/>
                    <a:pt x="1079" y="195"/>
                  </a:cubicBezTo>
                  <a:cubicBezTo>
                    <a:pt x="1070" y="195"/>
                    <a:pt x="1052" y="195"/>
                    <a:pt x="1052" y="198"/>
                  </a:cubicBezTo>
                  <a:cubicBezTo>
                    <a:pt x="1049" y="198"/>
                    <a:pt x="1052" y="204"/>
                    <a:pt x="1049" y="204"/>
                  </a:cubicBezTo>
                  <a:cubicBezTo>
                    <a:pt x="1046" y="204"/>
                    <a:pt x="1049" y="195"/>
                    <a:pt x="1049" y="192"/>
                  </a:cubicBezTo>
                  <a:cubicBezTo>
                    <a:pt x="1046" y="189"/>
                    <a:pt x="1040" y="189"/>
                    <a:pt x="1043" y="192"/>
                  </a:cubicBezTo>
                  <a:cubicBezTo>
                    <a:pt x="1043" y="195"/>
                    <a:pt x="1034" y="195"/>
                    <a:pt x="1031" y="192"/>
                  </a:cubicBezTo>
                  <a:cubicBezTo>
                    <a:pt x="1028" y="189"/>
                    <a:pt x="1025" y="189"/>
                    <a:pt x="1016" y="186"/>
                  </a:cubicBezTo>
                  <a:cubicBezTo>
                    <a:pt x="1010" y="183"/>
                    <a:pt x="1004" y="192"/>
                    <a:pt x="1004" y="192"/>
                  </a:cubicBezTo>
                  <a:cubicBezTo>
                    <a:pt x="1007" y="195"/>
                    <a:pt x="1010" y="195"/>
                    <a:pt x="1010" y="195"/>
                  </a:cubicBezTo>
                  <a:cubicBezTo>
                    <a:pt x="1013" y="198"/>
                    <a:pt x="998" y="198"/>
                    <a:pt x="998" y="198"/>
                  </a:cubicBezTo>
                  <a:cubicBezTo>
                    <a:pt x="998" y="201"/>
                    <a:pt x="983" y="204"/>
                    <a:pt x="980" y="204"/>
                  </a:cubicBezTo>
                  <a:cubicBezTo>
                    <a:pt x="968" y="207"/>
                    <a:pt x="968" y="207"/>
                    <a:pt x="962" y="210"/>
                  </a:cubicBezTo>
                  <a:cubicBezTo>
                    <a:pt x="956" y="216"/>
                    <a:pt x="962" y="207"/>
                    <a:pt x="965" y="204"/>
                  </a:cubicBezTo>
                  <a:cubicBezTo>
                    <a:pt x="968" y="198"/>
                    <a:pt x="974" y="201"/>
                    <a:pt x="974" y="198"/>
                  </a:cubicBezTo>
                  <a:cubicBezTo>
                    <a:pt x="977" y="195"/>
                    <a:pt x="980" y="195"/>
                    <a:pt x="989" y="195"/>
                  </a:cubicBezTo>
                  <a:cubicBezTo>
                    <a:pt x="995" y="192"/>
                    <a:pt x="995" y="189"/>
                    <a:pt x="998" y="189"/>
                  </a:cubicBezTo>
                  <a:cubicBezTo>
                    <a:pt x="1001" y="186"/>
                    <a:pt x="1007" y="183"/>
                    <a:pt x="1007" y="180"/>
                  </a:cubicBezTo>
                  <a:cubicBezTo>
                    <a:pt x="1010" y="177"/>
                    <a:pt x="1025" y="171"/>
                    <a:pt x="1028" y="174"/>
                  </a:cubicBezTo>
                  <a:cubicBezTo>
                    <a:pt x="1031" y="174"/>
                    <a:pt x="1031" y="168"/>
                    <a:pt x="1034" y="168"/>
                  </a:cubicBezTo>
                  <a:cubicBezTo>
                    <a:pt x="1034" y="168"/>
                    <a:pt x="1043" y="162"/>
                    <a:pt x="1046" y="162"/>
                  </a:cubicBezTo>
                  <a:cubicBezTo>
                    <a:pt x="1049" y="159"/>
                    <a:pt x="1052" y="156"/>
                    <a:pt x="1052" y="153"/>
                  </a:cubicBezTo>
                  <a:cubicBezTo>
                    <a:pt x="1052" y="153"/>
                    <a:pt x="1046" y="153"/>
                    <a:pt x="1046" y="150"/>
                  </a:cubicBezTo>
                  <a:cubicBezTo>
                    <a:pt x="1046" y="150"/>
                    <a:pt x="1049" y="150"/>
                    <a:pt x="1052" y="150"/>
                  </a:cubicBezTo>
                  <a:cubicBezTo>
                    <a:pt x="1055" y="147"/>
                    <a:pt x="1052" y="144"/>
                    <a:pt x="1049" y="144"/>
                  </a:cubicBezTo>
                  <a:cubicBezTo>
                    <a:pt x="1046" y="144"/>
                    <a:pt x="1052" y="141"/>
                    <a:pt x="1049" y="138"/>
                  </a:cubicBezTo>
                  <a:cubicBezTo>
                    <a:pt x="1046" y="135"/>
                    <a:pt x="1040" y="141"/>
                    <a:pt x="1040" y="138"/>
                  </a:cubicBezTo>
                  <a:cubicBezTo>
                    <a:pt x="1040" y="132"/>
                    <a:pt x="1040" y="129"/>
                    <a:pt x="1040" y="126"/>
                  </a:cubicBezTo>
                  <a:cubicBezTo>
                    <a:pt x="1037" y="126"/>
                    <a:pt x="1034" y="132"/>
                    <a:pt x="1028" y="129"/>
                  </a:cubicBezTo>
                  <a:cubicBezTo>
                    <a:pt x="1025" y="126"/>
                    <a:pt x="1013" y="123"/>
                    <a:pt x="1013" y="123"/>
                  </a:cubicBezTo>
                  <a:cubicBezTo>
                    <a:pt x="1013" y="126"/>
                    <a:pt x="1007" y="123"/>
                    <a:pt x="1007" y="123"/>
                  </a:cubicBezTo>
                  <a:cubicBezTo>
                    <a:pt x="1004" y="126"/>
                    <a:pt x="995" y="123"/>
                    <a:pt x="992" y="123"/>
                  </a:cubicBezTo>
                  <a:cubicBezTo>
                    <a:pt x="989" y="123"/>
                    <a:pt x="986" y="126"/>
                    <a:pt x="986" y="129"/>
                  </a:cubicBezTo>
                  <a:cubicBezTo>
                    <a:pt x="983" y="132"/>
                    <a:pt x="974" y="129"/>
                    <a:pt x="971" y="129"/>
                  </a:cubicBezTo>
                  <a:cubicBezTo>
                    <a:pt x="968" y="129"/>
                    <a:pt x="980" y="120"/>
                    <a:pt x="980" y="120"/>
                  </a:cubicBezTo>
                  <a:cubicBezTo>
                    <a:pt x="980" y="117"/>
                    <a:pt x="962" y="120"/>
                    <a:pt x="959" y="117"/>
                  </a:cubicBezTo>
                  <a:cubicBezTo>
                    <a:pt x="959" y="117"/>
                    <a:pt x="950" y="114"/>
                    <a:pt x="947" y="114"/>
                  </a:cubicBezTo>
                  <a:cubicBezTo>
                    <a:pt x="944" y="114"/>
                    <a:pt x="947" y="114"/>
                    <a:pt x="950" y="114"/>
                  </a:cubicBezTo>
                  <a:cubicBezTo>
                    <a:pt x="953" y="114"/>
                    <a:pt x="956" y="111"/>
                    <a:pt x="962" y="111"/>
                  </a:cubicBezTo>
                  <a:cubicBezTo>
                    <a:pt x="965" y="108"/>
                    <a:pt x="965" y="108"/>
                    <a:pt x="962" y="105"/>
                  </a:cubicBezTo>
                  <a:cubicBezTo>
                    <a:pt x="959" y="102"/>
                    <a:pt x="956" y="105"/>
                    <a:pt x="953" y="102"/>
                  </a:cubicBezTo>
                  <a:cubicBezTo>
                    <a:pt x="950" y="102"/>
                    <a:pt x="944" y="99"/>
                    <a:pt x="941" y="99"/>
                  </a:cubicBezTo>
                  <a:cubicBezTo>
                    <a:pt x="938" y="99"/>
                    <a:pt x="935" y="102"/>
                    <a:pt x="926" y="102"/>
                  </a:cubicBezTo>
                  <a:cubicBezTo>
                    <a:pt x="917" y="105"/>
                    <a:pt x="917" y="111"/>
                    <a:pt x="914" y="114"/>
                  </a:cubicBezTo>
                  <a:cubicBezTo>
                    <a:pt x="908" y="114"/>
                    <a:pt x="902" y="123"/>
                    <a:pt x="905" y="123"/>
                  </a:cubicBezTo>
                  <a:cubicBezTo>
                    <a:pt x="908" y="123"/>
                    <a:pt x="908" y="126"/>
                    <a:pt x="908" y="126"/>
                  </a:cubicBezTo>
                  <a:cubicBezTo>
                    <a:pt x="908" y="129"/>
                    <a:pt x="905" y="129"/>
                    <a:pt x="902" y="129"/>
                  </a:cubicBezTo>
                  <a:cubicBezTo>
                    <a:pt x="899" y="129"/>
                    <a:pt x="884" y="129"/>
                    <a:pt x="884" y="132"/>
                  </a:cubicBezTo>
                  <a:cubicBezTo>
                    <a:pt x="884" y="135"/>
                    <a:pt x="893" y="135"/>
                    <a:pt x="893" y="138"/>
                  </a:cubicBezTo>
                  <a:cubicBezTo>
                    <a:pt x="890" y="138"/>
                    <a:pt x="887" y="138"/>
                    <a:pt x="884" y="135"/>
                  </a:cubicBezTo>
                  <a:cubicBezTo>
                    <a:pt x="881" y="135"/>
                    <a:pt x="875" y="135"/>
                    <a:pt x="872" y="138"/>
                  </a:cubicBezTo>
                  <a:cubicBezTo>
                    <a:pt x="872" y="141"/>
                    <a:pt x="866" y="141"/>
                    <a:pt x="866" y="138"/>
                  </a:cubicBezTo>
                  <a:cubicBezTo>
                    <a:pt x="863" y="138"/>
                    <a:pt x="860" y="141"/>
                    <a:pt x="860" y="141"/>
                  </a:cubicBezTo>
                  <a:cubicBezTo>
                    <a:pt x="857" y="138"/>
                    <a:pt x="863" y="135"/>
                    <a:pt x="863" y="135"/>
                  </a:cubicBezTo>
                  <a:cubicBezTo>
                    <a:pt x="860" y="132"/>
                    <a:pt x="851" y="132"/>
                    <a:pt x="851" y="135"/>
                  </a:cubicBezTo>
                  <a:cubicBezTo>
                    <a:pt x="851" y="138"/>
                    <a:pt x="845" y="135"/>
                    <a:pt x="845" y="135"/>
                  </a:cubicBezTo>
                  <a:cubicBezTo>
                    <a:pt x="842" y="135"/>
                    <a:pt x="839" y="138"/>
                    <a:pt x="836" y="138"/>
                  </a:cubicBezTo>
                  <a:cubicBezTo>
                    <a:pt x="833" y="141"/>
                    <a:pt x="827" y="138"/>
                    <a:pt x="824" y="141"/>
                  </a:cubicBezTo>
                  <a:cubicBezTo>
                    <a:pt x="824" y="144"/>
                    <a:pt x="833" y="144"/>
                    <a:pt x="833" y="144"/>
                  </a:cubicBezTo>
                  <a:cubicBezTo>
                    <a:pt x="833" y="147"/>
                    <a:pt x="815" y="147"/>
                    <a:pt x="815" y="147"/>
                  </a:cubicBezTo>
                  <a:cubicBezTo>
                    <a:pt x="812" y="150"/>
                    <a:pt x="806" y="150"/>
                    <a:pt x="800" y="150"/>
                  </a:cubicBezTo>
                  <a:cubicBezTo>
                    <a:pt x="791" y="150"/>
                    <a:pt x="794" y="153"/>
                    <a:pt x="788" y="153"/>
                  </a:cubicBezTo>
                  <a:cubicBezTo>
                    <a:pt x="782" y="156"/>
                    <a:pt x="779" y="156"/>
                    <a:pt x="779" y="159"/>
                  </a:cubicBezTo>
                  <a:cubicBezTo>
                    <a:pt x="776" y="162"/>
                    <a:pt x="773" y="162"/>
                    <a:pt x="770" y="159"/>
                  </a:cubicBezTo>
                  <a:cubicBezTo>
                    <a:pt x="767" y="159"/>
                    <a:pt x="761" y="162"/>
                    <a:pt x="764" y="162"/>
                  </a:cubicBezTo>
                  <a:cubicBezTo>
                    <a:pt x="767" y="162"/>
                    <a:pt x="764" y="165"/>
                    <a:pt x="764" y="165"/>
                  </a:cubicBezTo>
                  <a:cubicBezTo>
                    <a:pt x="761" y="162"/>
                    <a:pt x="755" y="168"/>
                    <a:pt x="758" y="168"/>
                  </a:cubicBezTo>
                  <a:cubicBezTo>
                    <a:pt x="761" y="168"/>
                    <a:pt x="764" y="168"/>
                    <a:pt x="761" y="171"/>
                  </a:cubicBezTo>
                  <a:cubicBezTo>
                    <a:pt x="761" y="174"/>
                    <a:pt x="755" y="168"/>
                    <a:pt x="752" y="171"/>
                  </a:cubicBezTo>
                  <a:cubicBezTo>
                    <a:pt x="752" y="171"/>
                    <a:pt x="755" y="174"/>
                    <a:pt x="758" y="174"/>
                  </a:cubicBezTo>
                  <a:cubicBezTo>
                    <a:pt x="761" y="174"/>
                    <a:pt x="764" y="177"/>
                    <a:pt x="764" y="177"/>
                  </a:cubicBezTo>
                  <a:cubicBezTo>
                    <a:pt x="764" y="180"/>
                    <a:pt x="758" y="177"/>
                    <a:pt x="755" y="177"/>
                  </a:cubicBezTo>
                  <a:cubicBezTo>
                    <a:pt x="755" y="180"/>
                    <a:pt x="755" y="180"/>
                    <a:pt x="761" y="180"/>
                  </a:cubicBezTo>
                  <a:cubicBezTo>
                    <a:pt x="764" y="183"/>
                    <a:pt x="761" y="183"/>
                    <a:pt x="764" y="186"/>
                  </a:cubicBezTo>
                  <a:cubicBezTo>
                    <a:pt x="764" y="186"/>
                    <a:pt x="764" y="186"/>
                    <a:pt x="764" y="186"/>
                  </a:cubicBezTo>
                  <a:cubicBezTo>
                    <a:pt x="764" y="189"/>
                    <a:pt x="761" y="189"/>
                    <a:pt x="764" y="192"/>
                  </a:cubicBezTo>
                  <a:cubicBezTo>
                    <a:pt x="764" y="192"/>
                    <a:pt x="758" y="195"/>
                    <a:pt x="758" y="192"/>
                  </a:cubicBezTo>
                  <a:cubicBezTo>
                    <a:pt x="758" y="189"/>
                    <a:pt x="752" y="189"/>
                    <a:pt x="749" y="192"/>
                  </a:cubicBezTo>
                  <a:cubicBezTo>
                    <a:pt x="746" y="192"/>
                    <a:pt x="746" y="195"/>
                    <a:pt x="743" y="192"/>
                  </a:cubicBezTo>
                  <a:cubicBezTo>
                    <a:pt x="740" y="192"/>
                    <a:pt x="734" y="192"/>
                    <a:pt x="728" y="195"/>
                  </a:cubicBezTo>
                  <a:cubicBezTo>
                    <a:pt x="719" y="195"/>
                    <a:pt x="701" y="195"/>
                    <a:pt x="698" y="195"/>
                  </a:cubicBezTo>
                  <a:cubicBezTo>
                    <a:pt x="692" y="198"/>
                    <a:pt x="689" y="204"/>
                    <a:pt x="695" y="207"/>
                  </a:cubicBezTo>
                  <a:cubicBezTo>
                    <a:pt x="698" y="210"/>
                    <a:pt x="695" y="213"/>
                    <a:pt x="695" y="216"/>
                  </a:cubicBezTo>
                  <a:cubicBezTo>
                    <a:pt x="695" y="219"/>
                    <a:pt x="704" y="222"/>
                    <a:pt x="710" y="225"/>
                  </a:cubicBezTo>
                  <a:cubicBezTo>
                    <a:pt x="716" y="225"/>
                    <a:pt x="719" y="231"/>
                    <a:pt x="716" y="234"/>
                  </a:cubicBezTo>
                  <a:cubicBezTo>
                    <a:pt x="713" y="240"/>
                    <a:pt x="704" y="234"/>
                    <a:pt x="698" y="228"/>
                  </a:cubicBezTo>
                  <a:cubicBezTo>
                    <a:pt x="689" y="222"/>
                    <a:pt x="677" y="222"/>
                    <a:pt x="671" y="222"/>
                  </a:cubicBezTo>
                  <a:cubicBezTo>
                    <a:pt x="665" y="222"/>
                    <a:pt x="668" y="216"/>
                    <a:pt x="662" y="219"/>
                  </a:cubicBezTo>
                  <a:cubicBezTo>
                    <a:pt x="656" y="219"/>
                    <a:pt x="650" y="222"/>
                    <a:pt x="656" y="222"/>
                  </a:cubicBezTo>
                  <a:cubicBezTo>
                    <a:pt x="659" y="222"/>
                    <a:pt x="662" y="222"/>
                    <a:pt x="659" y="225"/>
                  </a:cubicBezTo>
                  <a:cubicBezTo>
                    <a:pt x="659" y="228"/>
                    <a:pt x="662" y="225"/>
                    <a:pt x="665" y="228"/>
                  </a:cubicBezTo>
                  <a:cubicBezTo>
                    <a:pt x="671" y="231"/>
                    <a:pt x="662" y="234"/>
                    <a:pt x="656" y="231"/>
                  </a:cubicBezTo>
                  <a:cubicBezTo>
                    <a:pt x="653" y="228"/>
                    <a:pt x="647" y="231"/>
                    <a:pt x="644" y="234"/>
                  </a:cubicBezTo>
                  <a:cubicBezTo>
                    <a:pt x="644" y="234"/>
                    <a:pt x="650" y="243"/>
                    <a:pt x="659" y="243"/>
                  </a:cubicBezTo>
                  <a:cubicBezTo>
                    <a:pt x="668" y="246"/>
                    <a:pt x="665" y="249"/>
                    <a:pt x="671" y="249"/>
                  </a:cubicBezTo>
                  <a:cubicBezTo>
                    <a:pt x="674" y="252"/>
                    <a:pt x="671" y="252"/>
                    <a:pt x="668" y="252"/>
                  </a:cubicBezTo>
                  <a:cubicBezTo>
                    <a:pt x="665" y="255"/>
                    <a:pt x="659" y="249"/>
                    <a:pt x="656" y="246"/>
                  </a:cubicBezTo>
                  <a:cubicBezTo>
                    <a:pt x="650" y="243"/>
                    <a:pt x="638" y="249"/>
                    <a:pt x="635" y="246"/>
                  </a:cubicBezTo>
                  <a:cubicBezTo>
                    <a:pt x="635" y="243"/>
                    <a:pt x="638" y="240"/>
                    <a:pt x="635" y="237"/>
                  </a:cubicBezTo>
                  <a:cubicBezTo>
                    <a:pt x="632" y="237"/>
                    <a:pt x="635" y="231"/>
                    <a:pt x="638" y="228"/>
                  </a:cubicBezTo>
                  <a:cubicBezTo>
                    <a:pt x="641" y="222"/>
                    <a:pt x="638" y="213"/>
                    <a:pt x="632" y="213"/>
                  </a:cubicBezTo>
                  <a:cubicBezTo>
                    <a:pt x="629" y="210"/>
                    <a:pt x="629" y="216"/>
                    <a:pt x="629" y="216"/>
                  </a:cubicBezTo>
                  <a:cubicBezTo>
                    <a:pt x="632" y="219"/>
                    <a:pt x="632" y="225"/>
                    <a:pt x="626" y="228"/>
                  </a:cubicBezTo>
                  <a:cubicBezTo>
                    <a:pt x="623" y="234"/>
                    <a:pt x="614" y="234"/>
                    <a:pt x="614" y="237"/>
                  </a:cubicBezTo>
                  <a:cubicBezTo>
                    <a:pt x="614" y="240"/>
                    <a:pt x="608" y="240"/>
                    <a:pt x="608" y="243"/>
                  </a:cubicBezTo>
                  <a:cubicBezTo>
                    <a:pt x="611" y="246"/>
                    <a:pt x="620" y="255"/>
                    <a:pt x="623" y="258"/>
                  </a:cubicBezTo>
                  <a:cubicBezTo>
                    <a:pt x="623" y="261"/>
                    <a:pt x="614" y="273"/>
                    <a:pt x="617" y="276"/>
                  </a:cubicBezTo>
                  <a:cubicBezTo>
                    <a:pt x="617" y="282"/>
                    <a:pt x="614" y="285"/>
                    <a:pt x="617" y="288"/>
                  </a:cubicBezTo>
                  <a:cubicBezTo>
                    <a:pt x="617" y="291"/>
                    <a:pt x="623" y="288"/>
                    <a:pt x="626" y="291"/>
                  </a:cubicBezTo>
                  <a:cubicBezTo>
                    <a:pt x="626" y="291"/>
                    <a:pt x="632" y="288"/>
                    <a:pt x="638" y="288"/>
                  </a:cubicBezTo>
                  <a:cubicBezTo>
                    <a:pt x="644" y="285"/>
                    <a:pt x="656" y="294"/>
                    <a:pt x="659" y="294"/>
                  </a:cubicBezTo>
                  <a:cubicBezTo>
                    <a:pt x="665" y="297"/>
                    <a:pt x="662" y="300"/>
                    <a:pt x="665" y="303"/>
                  </a:cubicBezTo>
                  <a:cubicBezTo>
                    <a:pt x="665" y="306"/>
                    <a:pt x="659" y="306"/>
                    <a:pt x="659" y="312"/>
                  </a:cubicBezTo>
                  <a:cubicBezTo>
                    <a:pt x="659" y="318"/>
                    <a:pt x="671" y="318"/>
                    <a:pt x="671" y="321"/>
                  </a:cubicBezTo>
                  <a:cubicBezTo>
                    <a:pt x="671" y="321"/>
                    <a:pt x="662" y="321"/>
                    <a:pt x="659" y="318"/>
                  </a:cubicBezTo>
                  <a:cubicBezTo>
                    <a:pt x="656" y="318"/>
                    <a:pt x="656" y="312"/>
                    <a:pt x="653" y="312"/>
                  </a:cubicBezTo>
                  <a:cubicBezTo>
                    <a:pt x="653" y="312"/>
                    <a:pt x="656" y="306"/>
                    <a:pt x="656" y="303"/>
                  </a:cubicBezTo>
                  <a:cubicBezTo>
                    <a:pt x="656" y="300"/>
                    <a:pt x="653" y="300"/>
                    <a:pt x="650" y="297"/>
                  </a:cubicBezTo>
                  <a:cubicBezTo>
                    <a:pt x="650" y="294"/>
                    <a:pt x="647" y="291"/>
                    <a:pt x="644" y="291"/>
                  </a:cubicBezTo>
                  <a:cubicBezTo>
                    <a:pt x="641" y="294"/>
                    <a:pt x="629" y="294"/>
                    <a:pt x="626" y="297"/>
                  </a:cubicBezTo>
                  <a:cubicBezTo>
                    <a:pt x="623" y="300"/>
                    <a:pt x="626" y="309"/>
                    <a:pt x="629" y="312"/>
                  </a:cubicBezTo>
                  <a:cubicBezTo>
                    <a:pt x="632" y="318"/>
                    <a:pt x="620" y="324"/>
                    <a:pt x="620" y="327"/>
                  </a:cubicBezTo>
                  <a:cubicBezTo>
                    <a:pt x="620" y="330"/>
                    <a:pt x="617" y="330"/>
                    <a:pt x="611" y="333"/>
                  </a:cubicBezTo>
                  <a:cubicBezTo>
                    <a:pt x="605" y="336"/>
                    <a:pt x="599" y="339"/>
                    <a:pt x="602" y="342"/>
                  </a:cubicBezTo>
                  <a:cubicBezTo>
                    <a:pt x="602" y="348"/>
                    <a:pt x="593" y="345"/>
                    <a:pt x="590" y="342"/>
                  </a:cubicBezTo>
                  <a:cubicBezTo>
                    <a:pt x="587" y="339"/>
                    <a:pt x="581" y="345"/>
                    <a:pt x="578" y="342"/>
                  </a:cubicBezTo>
                  <a:cubicBezTo>
                    <a:pt x="572" y="342"/>
                    <a:pt x="572" y="339"/>
                    <a:pt x="569" y="342"/>
                  </a:cubicBezTo>
                  <a:cubicBezTo>
                    <a:pt x="563" y="342"/>
                    <a:pt x="563" y="339"/>
                    <a:pt x="563" y="336"/>
                  </a:cubicBezTo>
                  <a:cubicBezTo>
                    <a:pt x="563" y="333"/>
                    <a:pt x="569" y="336"/>
                    <a:pt x="569" y="336"/>
                  </a:cubicBezTo>
                  <a:cubicBezTo>
                    <a:pt x="569" y="339"/>
                    <a:pt x="572" y="339"/>
                    <a:pt x="575" y="336"/>
                  </a:cubicBezTo>
                  <a:cubicBezTo>
                    <a:pt x="578" y="336"/>
                    <a:pt x="578" y="339"/>
                    <a:pt x="581" y="339"/>
                  </a:cubicBezTo>
                  <a:cubicBezTo>
                    <a:pt x="587" y="339"/>
                    <a:pt x="584" y="336"/>
                    <a:pt x="587" y="336"/>
                  </a:cubicBezTo>
                  <a:cubicBezTo>
                    <a:pt x="590" y="336"/>
                    <a:pt x="593" y="336"/>
                    <a:pt x="590" y="333"/>
                  </a:cubicBezTo>
                  <a:cubicBezTo>
                    <a:pt x="590" y="333"/>
                    <a:pt x="593" y="330"/>
                    <a:pt x="596" y="330"/>
                  </a:cubicBezTo>
                  <a:cubicBezTo>
                    <a:pt x="599" y="330"/>
                    <a:pt x="596" y="324"/>
                    <a:pt x="599" y="324"/>
                  </a:cubicBezTo>
                  <a:cubicBezTo>
                    <a:pt x="602" y="324"/>
                    <a:pt x="599" y="321"/>
                    <a:pt x="602" y="321"/>
                  </a:cubicBezTo>
                  <a:cubicBezTo>
                    <a:pt x="605" y="321"/>
                    <a:pt x="605" y="318"/>
                    <a:pt x="608" y="318"/>
                  </a:cubicBezTo>
                  <a:cubicBezTo>
                    <a:pt x="611" y="318"/>
                    <a:pt x="611" y="312"/>
                    <a:pt x="608" y="312"/>
                  </a:cubicBezTo>
                  <a:cubicBezTo>
                    <a:pt x="608" y="309"/>
                    <a:pt x="611" y="306"/>
                    <a:pt x="611" y="303"/>
                  </a:cubicBezTo>
                  <a:cubicBezTo>
                    <a:pt x="614" y="303"/>
                    <a:pt x="614" y="300"/>
                    <a:pt x="614" y="300"/>
                  </a:cubicBezTo>
                  <a:cubicBezTo>
                    <a:pt x="611" y="297"/>
                    <a:pt x="602" y="294"/>
                    <a:pt x="605" y="291"/>
                  </a:cubicBezTo>
                  <a:cubicBezTo>
                    <a:pt x="605" y="288"/>
                    <a:pt x="602" y="282"/>
                    <a:pt x="605" y="279"/>
                  </a:cubicBezTo>
                  <a:cubicBezTo>
                    <a:pt x="605" y="276"/>
                    <a:pt x="605" y="270"/>
                    <a:pt x="602" y="267"/>
                  </a:cubicBezTo>
                  <a:cubicBezTo>
                    <a:pt x="602" y="264"/>
                    <a:pt x="605" y="261"/>
                    <a:pt x="605" y="255"/>
                  </a:cubicBezTo>
                  <a:cubicBezTo>
                    <a:pt x="608" y="252"/>
                    <a:pt x="599" y="246"/>
                    <a:pt x="596" y="243"/>
                  </a:cubicBezTo>
                  <a:cubicBezTo>
                    <a:pt x="593" y="243"/>
                    <a:pt x="596" y="240"/>
                    <a:pt x="602" y="234"/>
                  </a:cubicBezTo>
                  <a:cubicBezTo>
                    <a:pt x="605" y="231"/>
                    <a:pt x="605" y="219"/>
                    <a:pt x="605" y="216"/>
                  </a:cubicBezTo>
                  <a:cubicBezTo>
                    <a:pt x="605" y="213"/>
                    <a:pt x="596" y="210"/>
                    <a:pt x="593" y="210"/>
                  </a:cubicBezTo>
                  <a:cubicBezTo>
                    <a:pt x="587" y="210"/>
                    <a:pt x="575" y="210"/>
                    <a:pt x="569" y="210"/>
                  </a:cubicBezTo>
                  <a:cubicBezTo>
                    <a:pt x="566" y="210"/>
                    <a:pt x="566" y="213"/>
                    <a:pt x="563" y="216"/>
                  </a:cubicBezTo>
                  <a:cubicBezTo>
                    <a:pt x="563" y="219"/>
                    <a:pt x="557" y="225"/>
                    <a:pt x="557" y="231"/>
                  </a:cubicBezTo>
                  <a:cubicBezTo>
                    <a:pt x="554" y="240"/>
                    <a:pt x="545" y="243"/>
                    <a:pt x="542" y="243"/>
                  </a:cubicBezTo>
                  <a:cubicBezTo>
                    <a:pt x="536" y="246"/>
                    <a:pt x="536" y="252"/>
                    <a:pt x="536" y="255"/>
                  </a:cubicBezTo>
                  <a:cubicBezTo>
                    <a:pt x="539" y="255"/>
                    <a:pt x="542" y="255"/>
                    <a:pt x="542" y="255"/>
                  </a:cubicBezTo>
                  <a:cubicBezTo>
                    <a:pt x="545" y="255"/>
                    <a:pt x="542" y="264"/>
                    <a:pt x="542" y="264"/>
                  </a:cubicBezTo>
                  <a:cubicBezTo>
                    <a:pt x="539" y="264"/>
                    <a:pt x="545" y="267"/>
                    <a:pt x="542" y="270"/>
                  </a:cubicBezTo>
                  <a:cubicBezTo>
                    <a:pt x="539" y="270"/>
                    <a:pt x="536" y="276"/>
                    <a:pt x="536" y="276"/>
                  </a:cubicBezTo>
                  <a:cubicBezTo>
                    <a:pt x="539" y="279"/>
                    <a:pt x="548" y="279"/>
                    <a:pt x="551" y="282"/>
                  </a:cubicBezTo>
                  <a:cubicBezTo>
                    <a:pt x="554" y="285"/>
                    <a:pt x="554" y="288"/>
                    <a:pt x="554" y="291"/>
                  </a:cubicBezTo>
                  <a:cubicBezTo>
                    <a:pt x="557" y="294"/>
                    <a:pt x="560" y="294"/>
                    <a:pt x="563" y="294"/>
                  </a:cubicBezTo>
                  <a:cubicBezTo>
                    <a:pt x="563" y="297"/>
                    <a:pt x="557" y="306"/>
                    <a:pt x="554" y="306"/>
                  </a:cubicBezTo>
                  <a:cubicBezTo>
                    <a:pt x="554" y="306"/>
                    <a:pt x="545" y="297"/>
                    <a:pt x="542" y="294"/>
                  </a:cubicBezTo>
                  <a:cubicBezTo>
                    <a:pt x="539" y="294"/>
                    <a:pt x="527" y="291"/>
                    <a:pt x="524" y="288"/>
                  </a:cubicBezTo>
                  <a:cubicBezTo>
                    <a:pt x="518" y="285"/>
                    <a:pt x="515" y="285"/>
                    <a:pt x="509" y="282"/>
                  </a:cubicBezTo>
                  <a:cubicBezTo>
                    <a:pt x="503" y="276"/>
                    <a:pt x="497" y="276"/>
                    <a:pt x="488" y="276"/>
                  </a:cubicBezTo>
                  <a:cubicBezTo>
                    <a:pt x="477" y="276"/>
                    <a:pt x="471" y="273"/>
                    <a:pt x="468" y="273"/>
                  </a:cubicBezTo>
                  <a:cubicBezTo>
                    <a:pt x="465" y="273"/>
                    <a:pt x="465" y="270"/>
                    <a:pt x="459" y="267"/>
                  </a:cubicBezTo>
                  <a:cubicBezTo>
                    <a:pt x="453" y="264"/>
                    <a:pt x="450" y="261"/>
                    <a:pt x="447" y="264"/>
                  </a:cubicBezTo>
                  <a:cubicBezTo>
                    <a:pt x="441" y="264"/>
                    <a:pt x="444" y="273"/>
                    <a:pt x="450" y="273"/>
                  </a:cubicBezTo>
                  <a:cubicBezTo>
                    <a:pt x="453" y="273"/>
                    <a:pt x="453" y="276"/>
                    <a:pt x="456" y="276"/>
                  </a:cubicBezTo>
                  <a:cubicBezTo>
                    <a:pt x="462" y="276"/>
                    <a:pt x="465" y="279"/>
                    <a:pt x="465" y="282"/>
                  </a:cubicBezTo>
                  <a:cubicBezTo>
                    <a:pt x="465" y="285"/>
                    <a:pt x="468" y="288"/>
                    <a:pt x="471" y="291"/>
                  </a:cubicBezTo>
                  <a:cubicBezTo>
                    <a:pt x="471" y="294"/>
                    <a:pt x="471" y="297"/>
                    <a:pt x="465" y="297"/>
                  </a:cubicBezTo>
                  <a:cubicBezTo>
                    <a:pt x="462" y="297"/>
                    <a:pt x="456" y="297"/>
                    <a:pt x="459" y="300"/>
                  </a:cubicBezTo>
                  <a:cubicBezTo>
                    <a:pt x="462" y="303"/>
                    <a:pt x="456" y="303"/>
                    <a:pt x="453" y="303"/>
                  </a:cubicBezTo>
                  <a:cubicBezTo>
                    <a:pt x="447" y="300"/>
                    <a:pt x="450" y="297"/>
                    <a:pt x="453" y="297"/>
                  </a:cubicBezTo>
                  <a:cubicBezTo>
                    <a:pt x="456" y="294"/>
                    <a:pt x="450" y="291"/>
                    <a:pt x="447" y="291"/>
                  </a:cubicBezTo>
                  <a:cubicBezTo>
                    <a:pt x="444" y="291"/>
                    <a:pt x="432" y="297"/>
                    <a:pt x="429" y="300"/>
                  </a:cubicBezTo>
                  <a:cubicBezTo>
                    <a:pt x="426" y="300"/>
                    <a:pt x="417" y="297"/>
                    <a:pt x="411" y="300"/>
                  </a:cubicBezTo>
                  <a:cubicBezTo>
                    <a:pt x="402" y="303"/>
                    <a:pt x="402" y="309"/>
                    <a:pt x="399" y="306"/>
                  </a:cubicBezTo>
                  <a:cubicBezTo>
                    <a:pt x="396" y="306"/>
                    <a:pt x="387" y="309"/>
                    <a:pt x="384" y="306"/>
                  </a:cubicBezTo>
                  <a:cubicBezTo>
                    <a:pt x="381" y="303"/>
                    <a:pt x="384" y="303"/>
                    <a:pt x="387" y="303"/>
                  </a:cubicBezTo>
                  <a:cubicBezTo>
                    <a:pt x="390" y="303"/>
                    <a:pt x="390" y="303"/>
                    <a:pt x="390" y="300"/>
                  </a:cubicBezTo>
                  <a:cubicBezTo>
                    <a:pt x="387" y="297"/>
                    <a:pt x="393" y="294"/>
                    <a:pt x="393" y="291"/>
                  </a:cubicBezTo>
                  <a:cubicBezTo>
                    <a:pt x="393" y="291"/>
                    <a:pt x="378" y="294"/>
                    <a:pt x="378" y="297"/>
                  </a:cubicBezTo>
                  <a:cubicBezTo>
                    <a:pt x="375" y="297"/>
                    <a:pt x="378" y="303"/>
                    <a:pt x="375" y="303"/>
                  </a:cubicBezTo>
                  <a:cubicBezTo>
                    <a:pt x="372" y="303"/>
                    <a:pt x="372" y="300"/>
                    <a:pt x="369" y="300"/>
                  </a:cubicBezTo>
                  <a:cubicBezTo>
                    <a:pt x="366" y="300"/>
                    <a:pt x="348" y="303"/>
                    <a:pt x="345" y="309"/>
                  </a:cubicBezTo>
                  <a:cubicBezTo>
                    <a:pt x="339" y="312"/>
                    <a:pt x="333" y="312"/>
                    <a:pt x="333" y="315"/>
                  </a:cubicBezTo>
                  <a:cubicBezTo>
                    <a:pt x="333" y="318"/>
                    <a:pt x="324" y="315"/>
                    <a:pt x="321" y="318"/>
                  </a:cubicBezTo>
                  <a:cubicBezTo>
                    <a:pt x="318" y="321"/>
                    <a:pt x="318" y="327"/>
                    <a:pt x="318" y="330"/>
                  </a:cubicBezTo>
                  <a:cubicBezTo>
                    <a:pt x="318" y="333"/>
                    <a:pt x="303" y="333"/>
                    <a:pt x="300" y="333"/>
                  </a:cubicBezTo>
                  <a:cubicBezTo>
                    <a:pt x="294" y="333"/>
                    <a:pt x="294" y="324"/>
                    <a:pt x="291" y="324"/>
                  </a:cubicBezTo>
                  <a:cubicBezTo>
                    <a:pt x="285" y="324"/>
                    <a:pt x="288" y="318"/>
                    <a:pt x="288" y="318"/>
                  </a:cubicBezTo>
                  <a:cubicBezTo>
                    <a:pt x="291" y="315"/>
                    <a:pt x="294" y="315"/>
                    <a:pt x="297" y="315"/>
                  </a:cubicBezTo>
                  <a:cubicBezTo>
                    <a:pt x="300" y="312"/>
                    <a:pt x="306" y="315"/>
                    <a:pt x="306" y="312"/>
                  </a:cubicBezTo>
                  <a:cubicBezTo>
                    <a:pt x="309" y="312"/>
                    <a:pt x="300" y="306"/>
                    <a:pt x="300" y="303"/>
                  </a:cubicBezTo>
                  <a:cubicBezTo>
                    <a:pt x="300" y="297"/>
                    <a:pt x="291" y="297"/>
                    <a:pt x="285" y="297"/>
                  </a:cubicBezTo>
                  <a:cubicBezTo>
                    <a:pt x="282" y="300"/>
                    <a:pt x="276" y="300"/>
                    <a:pt x="273" y="297"/>
                  </a:cubicBezTo>
                  <a:cubicBezTo>
                    <a:pt x="270" y="294"/>
                    <a:pt x="270" y="300"/>
                    <a:pt x="273" y="300"/>
                  </a:cubicBezTo>
                  <a:cubicBezTo>
                    <a:pt x="279" y="303"/>
                    <a:pt x="276" y="306"/>
                    <a:pt x="276" y="309"/>
                  </a:cubicBezTo>
                  <a:cubicBezTo>
                    <a:pt x="279" y="312"/>
                    <a:pt x="276" y="318"/>
                    <a:pt x="273" y="321"/>
                  </a:cubicBezTo>
                  <a:cubicBezTo>
                    <a:pt x="270" y="327"/>
                    <a:pt x="273" y="327"/>
                    <a:pt x="276" y="327"/>
                  </a:cubicBezTo>
                  <a:cubicBezTo>
                    <a:pt x="282" y="324"/>
                    <a:pt x="282" y="330"/>
                    <a:pt x="282" y="336"/>
                  </a:cubicBezTo>
                  <a:cubicBezTo>
                    <a:pt x="282" y="339"/>
                    <a:pt x="276" y="342"/>
                    <a:pt x="276" y="345"/>
                  </a:cubicBezTo>
                  <a:cubicBezTo>
                    <a:pt x="276" y="348"/>
                    <a:pt x="273" y="342"/>
                    <a:pt x="273" y="345"/>
                  </a:cubicBezTo>
                  <a:cubicBezTo>
                    <a:pt x="270" y="345"/>
                    <a:pt x="270" y="342"/>
                    <a:pt x="270" y="342"/>
                  </a:cubicBezTo>
                  <a:cubicBezTo>
                    <a:pt x="270" y="339"/>
                    <a:pt x="261" y="339"/>
                    <a:pt x="258" y="339"/>
                  </a:cubicBezTo>
                  <a:cubicBezTo>
                    <a:pt x="255" y="339"/>
                    <a:pt x="252" y="339"/>
                    <a:pt x="252" y="342"/>
                  </a:cubicBezTo>
                  <a:cubicBezTo>
                    <a:pt x="249" y="345"/>
                    <a:pt x="243" y="345"/>
                    <a:pt x="240" y="345"/>
                  </a:cubicBezTo>
                  <a:cubicBezTo>
                    <a:pt x="237" y="348"/>
                    <a:pt x="234" y="351"/>
                    <a:pt x="231" y="354"/>
                  </a:cubicBezTo>
                  <a:cubicBezTo>
                    <a:pt x="228" y="357"/>
                    <a:pt x="225" y="360"/>
                    <a:pt x="231" y="363"/>
                  </a:cubicBezTo>
                  <a:cubicBezTo>
                    <a:pt x="234" y="369"/>
                    <a:pt x="237" y="372"/>
                    <a:pt x="234" y="372"/>
                  </a:cubicBezTo>
                  <a:cubicBezTo>
                    <a:pt x="234" y="375"/>
                    <a:pt x="225" y="375"/>
                    <a:pt x="222" y="372"/>
                  </a:cubicBezTo>
                  <a:cubicBezTo>
                    <a:pt x="219" y="369"/>
                    <a:pt x="213" y="369"/>
                    <a:pt x="210" y="369"/>
                  </a:cubicBezTo>
                  <a:cubicBezTo>
                    <a:pt x="207" y="369"/>
                    <a:pt x="201" y="363"/>
                    <a:pt x="198" y="363"/>
                  </a:cubicBezTo>
                  <a:cubicBezTo>
                    <a:pt x="195" y="363"/>
                    <a:pt x="192" y="366"/>
                    <a:pt x="189" y="369"/>
                  </a:cubicBezTo>
                  <a:cubicBezTo>
                    <a:pt x="189" y="369"/>
                    <a:pt x="192" y="372"/>
                    <a:pt x="195" y="375"/>
                  </a:cubicBezTo>
                  <a:cubicBezTo>
                    <a:pt x="195" y="378"/>
                    <a:pt x="201" y="378"/>
                    <a:pt x="204" y="378"/>
                  </a:cubicBezTo>
                  <a:cubicBezTo>
                    <a:pt x="207" y="378"/>
                    <a:pt x="207" y="384"/>
                    <a:pt x="207" y="384"/>
                  </a:cubicBezTo>
                  <a:cubicBezTo>
                    <a:pt x="204" y="387"/>
                    <a:pt x="198" y="390"/>
                    <a:pt x="198" y="387"/>
                  </a:cubicBezTo>
                  <a:cubicBezTo>
                    <a:pt x="195" y="384"/>
                    <a:pt x="189" y="387"/>
                    <a:pt x="189" y="384"/>
                  </a:cubicBezTo>
                  <a:cubicBezTo>
                    <a:pt x="189" y="381"/>
                    <a:pt x="183" y="378"/>
                    <a:pt x="177" y="378"/>
                  </a:cubicBezTo>
                  <a:cubicBezTo>
                    <a:pt x="174" y="378"/>
                    <a:pt x="171" y="375"/>
                    <a:pt x="171" y="372"/>
                  </a:cubicBezTo>
                  <a:cubicBezTo>
                    <a:pt x="174" y="369"/>
                    <a:pt x="168" y="366"/>
                    <a:pt x="171" y="363"/>
                  </a:cubicBezTo>
                  <a:cubicBezTo>
                    <a:pt x="171" y="363"/>
                    <a:pt x="168" y="357"/>
                    <a:pt x="171" y="357"/>
                  </a:cubicBezTo>
                  <a:cubicBezTo>
                    <a:pt x="174" y="354"/>
                    <a:pt x="171" y="351"/>
                    <a:pt x="171" y="348"/>
                  </a:cubicBezTo>
                  <a:cubicBezTo>
                    <a:pt x="171" y="345"/>
                    <a:pt x="165" y="342"/>
                    <a:pt x="162" y="342"/>
                  </a:cubicBezTo>
                  <a:cubicBezTo>
                    <a:pt x="159" y="342"/>
                    <a:pt x="159" y="339"/>
                    <a:pt x="156" y="339"/>
                  </a:cubicBezTo>
                  <a:cubicBezTo>
                    <a:pt x="153" y="336"/>
                    <a:pt x="144" y="330"/>
                    <a:pt x="144" y="327"/>
                  </a:cubicBezTo>
                  <a:cubicBezTo>
                    <a:pt x="144" y="327"/>
                    <a:pt x="138" y="327"/>
                    <a:pt x="141" y="324"/>
                  </a:cubicBezTo>
                  <a:cubicBezTo>
                    <a:pt x="141" y="324"/>
                    <a:pt x="147" y="324"/>
                    <a:pt x="150" y="327"/>
                  </a:cubicBezTo>
                  <a:cubicBezTo>
                    <a:pt x="153" y="330"/>
                    <a:pt x="156" y="333"/>
                    <a:pt x="165" y="336"/>
                  </a:cubicBezTo>
                  <a:cubicBezTo>
                    <a:pt x="174" y="336"/>
                    <a:pt x="177" y="339"/>
                    <a:pt x="186" y="342"/>
                  </a:cubicBezTo>
                  <a:cubicBezTo>
                    <a:pt x="192" y="342"/>
                    <a:pt x="198" y="342"/>
                    <a:pt x="210" y="345"/>
                  </a:cubicBezTo>
                  <a:cubicBezTo>
                    <a:pt x="222" y="348"/>
                    <a:pt x="240" y="333"/>
                    <a:pt x="243" y="330"/>
                  </a:cubicBezTo>
                  <a:cubicBezTo>
                    <a:pt x="246" y="327"/>
                    <a:pt x="243" y="321"/>
                    <a:pt x="243" y="318"/>
                  </a:cubicBezTo>
                  <a:cubicBezTo>
                    <a:pt x="243" y="315"/>
                    <a:pt x="237" y="315"/>
                    <a:pt x="237" y="312"/>
                  </a:cubicBezTo>
                  <a:cubicBezTo>
                    <a:pt x="234" y="312"/>
                    <a:pt x="231" y="306"/>
                    <a:pt x="228" y="306"/>
                  </a:cubicBezTo>
                  <a:cubicBezTo>
                    <a:pt x="222" y="306"/>
                    <a:pt x="222" y="300"/>
                    <a:pt x="216" y="303"/>
                  </a:cubicBezTo>
                  <a:cubicBezTo>
                    <a:pt x="213" y="303"/>
                    <a:pt x="210" y="300"/>
                    <a:pt x="201" y="294"/>
                  </a:cubicBezTo>
                  <a:cubicBezTo>
                    <a:pt x="192" y="288"/>
                    <a:pt x="177" y="282"/>
                    <a:pt x="174" y="282"/>
                  </a:cubicBezTo>
                  <a:cubicBezTo>
                    <a:pt x="171" y="285"/>
                    <a:pt x="171" y="285"/>
                    <a:pt x="168" y="282"/>
                  </a:cubicBezTo>
                  <a:cubicBezTo>
                    <a:pt x="168" y="279"/>
                    <a:pt x="162" y="279"/>
                    <a:pt x="162" y="282"/>
                  </a:cubicBezTo>
                  <a:cubicBezTo>
                    <a:pt x="159" y="285"/>
                    <a:pt x="156" y="279"/>
                    <a:pt x="150" y="282"/>
                  </a:cubicBezTo>
                  <a:cubicBezTo>
                    <a:pt x="144" y="282"/>
                    <a:pt x="144" y="279"/>
                    <a:pt x="144" y="279"/>
                  </a:cubicBezTo>
                  <a:cubicBezTo>
                    <a:pt x="144" y="276"/>
                    <a:pt x="153" y="279"/>
                    <a:pt x="153" y="276"/>
                  </a:cubicBezTo>
                  <a:cubicBezTo>
                    <a:pt x="153" y="273"/>
                    <a:pt x="150" y="276"/>
                    <a:pt x="144" y="273"/>
                  </a:cubicBezTo>
                  <a:cubicBezTo>
                    <a:pt x="141" y="270"/>
                    <a:pt x="138" y="270"/>
                    <a:pt x="138" y="273"/>
                  </a:cubicBezTo>
                  <a:cubicBezTo>
                    <a:pt x="135" y="276"/>
                    <a:pt x="132" y="276"/>
                    <a:pt x="129" y="273"/>
                  </a:cubicBezTo>
                  <a:cubicBezTo>
                    <a:pt x="129" y="273"/>
                    <a:pt x="129" y="273"/>
                    <a:pt x="129" y="273"/>
                  </a:cubicBezTo>
                  <a:cubicBezTo>
                    <a:pt x="129" y="276"/>
                    <a:pt x="126" y="276"/>
                    <a:pt x="123" y="276"/>
                  </a:cubicBezTo>
                  <a:cubicBezTo>
                    <a:pt x="120" y="276"/>
                    <a:pt x="117" y="282"/>
                    <a:pt x="114" y="282"/>
                  </a:cubicBezTo>
                  <a:cubicBezTo>
                    <a:pt x="111" y="282"/>
                    <a:pt x="108" y="285"/>
                    <a:pt x="105" y="288"/>
                  </a:cubicBezTo>
                  <a:cubicBezTo>
                    <a:pt x="105" y="291"/>
                    <a:pt x="102" y="288"/>
                    <a:pt x="102" y="291"/>
                  </a:cubicBezTo>
                  <a:cubicBezTo>
                    <a:pt x="102" y="294"/>
                    <a:pt x="102" y="294"/>
                    <a:pt x="99" y="297"/>
                  </a:cubicBezTo>
                  <a:cubicBezTo>
                    <a:pt x="99" y="300"/>
                    <a:pt x="99" y="300"/>
                    <a:pt x="102" y="303"/>
                  </a:cubicBezTo>
                  <a:cubicBezTo>
                    <a:pt x="105" y="306"/>
                    <a:pt x="108" y="306"/>
                    <a:pt x="108" y="309"/>
                  </a:cubicBezTo>
                  <a:cubicBezTo>
                    <a:pt x="111" y="309"/>
                    <a:pt x="117" y="315"/>
                    <a:pt x="117" y="315"/>
                  </a:cubicBezTo>
                  <a:cubicBezTo>
                    <a:pt x="117" y="318"/>
                    <a:pt x="111" y="324"/>
                    <a:pt x="111" y="324"/>
                  </a:cubicBezTo>
                  <a:cubicBezTo>
                    <a:pt x="108" y="327"/>
                    <a:pt x="105" y="330"/>
                    <a:pt x="108" y="330"/>
                  </a:cubicBezTo>
                  <a:cubicBezTo>
                    <a:pt x="108" y="333"/>
                    <a:pt x="114" y="342"/>
                    <a:pt x="117" y="348"/>
                  </a:cubicBezTo>
                  <a:cubicBezTo>
                    <a:pt x="120" y="354"/>
                    <a:pt x="117" y="351"/>
                    <a:pt x="114" y="354"/>
                  </a:cubicBezTo>
                  <a:cubicBezTo>
                    <a:pt x="111" y="357"/>
                    <a:pt x="114" y="360"/>
                    <a:pt x="114" y="363"/>
                  </a:cubicBezTo>
                  <a:cubicBezTo>
                    <a:pt x="117" y="366"/>
                    <a:pt x="111" y="366"/>
                    <a:pt x="114" y="366"/>
                  </a:cubicBezTo>
                  <a:cubicBezTo>
                    <a:pt x="114" y="369"/>
                    <a:pt x="117" y="369"/>
                    <a:pt x="117" y="369"/>
                  </a:cubicBezTo>
                  <a:cubicBezTo>
                    <a:pt x="120" y="372"/>
                    <a:pt x="114" y="372"/>
                    <a:pt x="117" y="375"/>
                  </a:cubicBezTo>
                  <a:cubicBezTo>
                    <a:pt x="117" y="378"/>
                    <a:pt x="123" y="378"/>
                    <a:pt x="123" y="381"/>
                  </a:cubicBezTo>
                  <a:cubicBezTo>
                    <a:pt x="123" y="384"/>
                    <a:pt x="114" y="387"/>
                    <a:pt x="117" y="387"/>
                  </a:cubicBezTo>
                  <a:cubicBezTo>
                    <a:pt x="117" y="390"/>
                    <a:pt x="126" y="393"/>
                    <a:pt x="129" y="399"/>
                  </a:cubicBezTo>
                  <a:cubicBezTo>
                    <a:pt x="135" y="405"/>
                    <a:pt x="135" y="405"/>
                    <a:pt x="132" y="408"/>
                  </a:cubicBezTo>
                  <a:cubicBezTo>
                    <a:pt x="132" y="414"/>
                    <a:pt x="120" y="417"/>
                    <a:pt x="117" y="423"/>
                  </a:cubicBezTo>
                  <a:cubicBezTo>
                    <a:pt x="114" y="429"/>
                    <a:pt x="105" y="435"/>
                    <a:pt x="99" y="438"/>
                  </a:cubicBezTo>
                  <a:cubicBezTo>
                    <a:pt x="96" y="441"/>
                    <a:pt x="96" y="444"/>
                    <a:pt x="93" y="444"/>
                  </a:cubicBezTo>
                  <a:cubicBezTo>
                    <a:pt x="96" y="444"/>
                    <a:pt x="96" y="444"/>
                    <a:pt x="99" y="444"/>
                  </a:cubicBezTo>
                  <a:cubicBezTo>
                    <a:pt x="102" y="441"/>
                    <a:pt x="102" y="450"/>
                    <a:pt x="105" y="450"/>
                  </a:cubicBezTo>
                  <a:cubicBezTo>
                    <a:pt x="108" y="453"/>
                    <a:pt x="114" y="450"/>
                    <a:pt x="114" y="453"/>
                  </a:cubicBezTo>
                  <a:cubicBezTo>
                    <a:pt x="117" y="456"/>
                    <a:pt x="114" y="456"/>
                    <a:pt x="111" y="453"/>
                  </a:cubicBezTo>
                  <a:cubicBezTo>
                    <a:pt x="105" y="453"/>
                    <a:pt x="105" y="456"/>
                    <a:pt x="99" y="459"/>
                  </a:cubicBezTo>
                  <a:cubicBezTo>
                    <a:pt x="96" y="459"/>
                    <a:pt x="96" y="462"/>
                    <a:pt x="93" y="462"/>
                  </a:cubicBezTo>
                  <a:cubicBezTo>
                    <a:pt x="96" y="465"/>
                    <a:pt x="93" y="468"/>
                    <a:pt x="90" y="471"/>
                  </a:cubicBezTo>
                  <a:cubicBezTo>
                    <a:pt x="90" y="474"/>
                    <a:pt x="87" y="474"/>
                    <a:pt x="87" y="477"/>
                  </a:cubicBezTo>
                  <a:cubicBezTo>
                    <a:pt x="87" y="477"/>
                    <a:pt x="87" y="480"/>
                    <a:pt x="87" y="483"/>
                  </a:cubicBezTo>
                  <a:cubicBezTo>
                    <a:pt x="90" y="486"/>
                    <a:pt x="90" y="486"/>
                    <a:pt x="90" y="489"/>
                  </a:cubicBezTo>
                  <a:cubicBezTo>
                    <a:pt x="93" y="492"/>
                    <a:pt x="90" y="492"/>
                    <a:pt x="87" y="492"/>
                  </a:cubicBezTo>
                  <a:cubicBezTo>
                    <a:pt x="87" y="492"/>
                    <a:pt x="87" y="495"/>
                    <a:pt x="90" y="498"/>
                  </a:cubicBezTo>
                  <a:cubicBezTo>
                    <a:pt x="90" y="501"/>
                    <a:pt x="90" y="501"/>
                    <a:pt x="90" y="504"/>
                  </a:cubicBezTo>
                  <a:cubicBezTo>
                    <a:pt x="90" y="507"/>
                    <a:pt x="93" y="510"/>
                    <a:pt x="93" y="510"/>
                  </a:cubicBezTo>
                  <a:cubicBezTo>
                    <a:pt x="96" y="513"/>
                    <a:pt x="96" y="516"/>
                    <a:pt x="96" y="519"/>
                  </a:cubicBezTo>
                  <a:cubicBezTo>
                    <a:pt x="99" y="519"/>
                    <a:pt x="99" y="522"/>
                    <a:pt x="102" y="519"/>
                  </a:cubicBezTo>
                  <a:cubicBezTo>
                    <a:pt x="105" y="519"/>
                    <a:pt x="108" y="522"/>
                    <a:pt x="108" y="522"/>
                  </a:cubicBezTo>
                  <a:cubicBezTo>
                    <a:pt x="111" y="525"/>
                    <a:pt x="111" y="525"/>
                    <a:pt x="114" y="522"/>
                  </a:cubicBezTo>
                  <a:cubicBezTo>
                    <a:pt x="117" y="522"/>
                    <a:pt x="123" y="525"/>
                    <a:pt x="126" y="525"/>
                  </a:cubicBezTo>
                  <a:cubicBezTo>
                    <a:pt x="126" y="528"/>
                    <a:pt x="126" y="531"/>
                    <a:pt x="126" y="534"/>
                  </a:cubicBezTo>
                  <a:cubicBezTo>
                    <a:pt x="126" y="537"/>
                    <a:pt x="126" y="540"/>
                    <a:pt x="129" y="543"/>
                  </a:cubicBezTo>
                  <a:cubicBezTo>
                    <a:pt x="129" y="543"/>
                    <a:pt x="129" y="546"/>
                    <a:pt x="132" y="549"/>
                  </a:cubicBezTo>
                  <a:cubicBezTo>
                    <a:pt x="135" y="549"/>
                    <a:pt x="138" y="555"/>
                    <a:pt x="138" y="555"/>
                  </a:cubicBezTo>
                  <a:cubicBezTo>
                    <a:pt x="141" y="555"/>
                    <a:pt x="144" y="558"/>
                    <a:pt x="147" y="561"/>
                  </a:cubicBezTo>
                  <a:cubicBezTo>
                    <a:pt x="147" y="564"/>
                    <a:pt x="141" y="564"/>
                    <a:pt x="141" y="567"/>
                  </a:cubicBezTo>
                  <a:cubicBezTo>
                    <a:pt x="138" y="567"/>
                    <a:pt x="132" y="564"/>
                    <a:pt x="132" y="564"/>
                  </a:cubicBezTo>
                  <a:cubicBezTo>
                    <a:pt x="129" y="567"/>
                    <a:pt x="132" y="570"/>
                    <a:pt x="135" y="576"/>
                  </a:cubicBezTo>
                  <a:cubicBezTo>
                    <a:pt x="135" y="582"/>
                    <a:pt x="135" y="582"/>
                    <a:pt x="138" y="582"/>
                  </a:cubicBezTo>
                  <a:cubicBezTo>
                    <a:pt x="141" y="582"/>
                    <a:pt x="141" y="579"/>
                    <a:pt x="144" y="579"/>
                  </a:cubicBezTo>
                  <a:cubicBezTo>
                    <a:pt x="144" y="576"/>
                    <a:pt x="150" y="579"/>
                    <a:pt x="150" y="579"/>
                  </a:cubicBezTo>
                  <a:cubicBezTo>
                    <a:pt x="153" y="576"/>
                    <a:pt x="159" y="576"/>
                    <a:pt x="159" y="579"/>
                  </a:cubicBezTo>
                  <a:cubicBezTo>
                    <a:pt x="162" y="582"/>
                    <a:pt x="162" y="585"/>
                    <a:pt x="162" y="588"/>
                  </a:cubicBezTo>
                  <a:cubicBezTo>
                    <a:pt x="162" y="588"/>
                    <a:pt x="162" y="591"/>
                    <a:pt x="165" y="594"/>
                  </a:cubicBezTo>
                  <a:cubicBezTo>
                    <a:pt x="165" y="597"/>
                    <a:pt x="171" y="594"/>
                    <a:pt x="174" y="597"/>
                  </a:cubicBezTo>
                  <a:cubicBezTo>
                    <a:pt x="174" y="597"/>
                    <a:pt x="177" y="603"/>
                    <a:pt x="177" y="606"/>
                  </a:cubicBezTo>
                  <a:cubicBezTo>
                    <a:pt x="177" y="606"/>
                    <a:pt x="180" y="609"/>
                    <a:pt x="183" y="606"/>
                  </a:cubicBezTo>
                  <a:cubicBezTo>
                    <a:pt x="186" y="609"/>
                    <a:pt x="186" y="609"/>
                    <a:pt x="186" y="609"/>
                  </a:cubicBezTo>
                  <a:cubicBezTo>
                    <a:pt x="189" y="612"/>
                    <a:pt x="192" y="609"/>
                    <a:pt x="192" y="609"/>
                  </a:cubicBezTo>
                  <a:cubicBezTo>
                    <a:pt x="195" y="609"/>
                    <a:pt x="198" y="606"/>
                    <a:pt x="198" y="609"/>
                  </a:cubicBezTo>
                  <a:cubicBezTo>
                    <a:pt x="201" y="609"/>
                    <a:pt x="204" y="612"/>
                    <a:pt x="204" y="615"/>
                  </a:cubicBezTo>
                  <a:cubicBezTo>
                    <a:pt x="204" y="615"/>
                    <a:pt x="210" y="615"/>
                    <a:pt x="213" y="615"/>
                  </a:cubicBezTo>
                  <a:cubicBezTo>
                    <a:pt x="216" y="618"/>
                    <a:pt x="219" y="618"/>
                    <a:pt x="222" y="618"/>
                  </a:cubicBezTo>
                  <a:cubicBezTo>
                    <a:pt x="225" y="621"/>
                    <a:pt x="228" y="621"/>
                    <a:pt x="231" y="621"/>
                  </a:cubicBezTo>
                  <a:cubicBezTo>
                    <a:pt x="231" y="624"/>
                    <a:pt x="225" y="627"/>
                    <a:pt x="225" y="627"/>
                  </a:cubicBezTo>
                  <a:cubicBezTo>
                    <a:pt x="228" y="630"/>
                    <a:pt x="228" y="630"/>
                    <a:pt x="228" y="630"/>
                  </a:cubicBezTo>
                  <a:cubicBezTo>
                    <a:pt x="228" y="633"/>
                    <a:pt x="225" y="633"/>
                    <a:pt x="225" y="633"/>
                  </a:cubicBezTo>
                  <a:cubicBezTo>
                    <a:pt x="228" y="636"/>
                    <a:pt x="228" y="636"/>
                    <a:pt x="228" y="636"/>
                  </a:cubicBezTo>
                  <a:cubicBezTo>
                    <a:pt x="228" y="639"/>
                    <a:pt x="225" y="642"/>
                    <a:pt x="225" y="645"/>
                  </a:cubicBezTo>
                  <a:cubicBezTo>
                    <a:pt x="225" y="645"/>
                    <a:pt x="219" y="645"/>
                    <a:pt x="216" y="645"/>
                  </a:cubicBezTo>
                  <a:cubicBezTo>
                    <a:pt x="216" y="645"/>
                    <a:pt x="210" y="651"/>
                    <a:pt x="207" y="651"/>
                  </a:cubicBezTo>
                  <a:cubicBezTo>
                    <a:pt x="207" y="654"/>
                    <a:pt x="207" y="654"/>
                    <a:pt x="207" y="654"/>
                  </a:cubicBezTo>
                  <a:cubicBezTo>
                    <a:pt x="213" y="654"/>
                    <a:pt x="219" y="654"/>
                    <a:pt x="219" y="654"/>
                  </a:cubicBezTo>
                  <a:cubicBezTo>
                    <a:pt x="219" y="657"/>
                    <a:pt x="207" y="663"/>
                    <a:pt x="204" y="663"/>
                  </a:cubicBezTo>
                  <a:cubicBezTo>
                    <a:pt x="204" y="663"/>
                    <a:pt x="210" y="666"/>
                    <a:pt x="210" y="669"/>
                  </a:cubicBezTo>
                  <a:cubicBezTo>
                    <a:pt x="210" y="672"/>
                    <a:pt x="201" y="672"/>
                    <a:pt x="204" y="675"/>
                  </a:cubicBezTo>
                  <a:cubicBezTo>
                    <a:pt x="204" y="681"/>
                    <a:pt x="201" y="681"/>
                    <a:pt x="195" y="681"/>
                  </a:cubicBezTo>
                  <a:cubicBezTo>
                    <a:pt x="192" y="681"/>
                    <a:pt x="192" y="684"/>
                    <a:pt x="192" y="684"/>
                  </a:cubicBezTo>
                  <a:cubicBezTo>
                    <a:pt x="195" y="684"/>
                    <a:pt x="195" y="690"/>
                    <a:pt x="201" y="690"/>
                  </a:cubicBezTo>
                  <a:cubicBezTo>
                    <a:pt x="210" y="693"/>
                    <a:pt x="216" y="699"/>
                    <a:pt x="222" y="705"/>
                  </a:cubicBezTo>
                  <a:cubicBezTo>
                    <a:pt x="225" y="708"/>
                    <a:pt x="225" y="708"/>
                    <a:pt x="225" y="708"/>
                  </a:cubicBezTo>
                  <a:cubicBezTo>
                    <a:pt x="228" y="708"/>
                    <a:pt x="228" y="705"/>
                    <a:pt x="231" y="705"/>
                  </a:cubicBezTo>
                  <a:cubicBezTo>
                    <a:pt x="234" y="705"/>
                    <a:pt x="240" y="708"/>
                    <a:pt x="243" y="711"/>
                  </a:cubicBezTo>
                  <a:cubicBezTo>
                    <a:pt x="246" y="714"/>
                    <a:pt x="261" y="711"/>
                    <a:pt x="261" y="711"/>
                  </a:cubicBezTo>
                  <a:cubicBezTo>
                    <a:pt x="264" y="714"/>
                    <a:pt x="267" y="717"/>
                    <a:pt x="267" y="717"/>
                  </a:cubicBezTo>
                  <a:cubicBezTo>
                    <a:pt x="270" y="717"/>
                    <a:pt x="273" y="720"/>
                    <a:pt x="276" y="720"/>
                  </a:cubicBezTo>
                  <a:cubicBezTo>
                    <a:pt x="276" y="717"/>
                    <a:pt x="285" y="717"/>
                    <a:pt x="288" y="717"/>
                  </a:cubicBezTo>
                  <a:cubicBezTo>
                    <a:pt x="288" y="717"/>
                    <a:pt x="288" y="720"/>
                    <a:pt x="291" y="720"/>
                  </a:cubicBezTo>
                  <a:cubicBezTo>
                    <a:pt x="294" y="720"/>
                    <a:pt x="294" y="726"/>
                    <a:pt x="294" y="726"/>
                  </a:cubicBezTo>
                  <a:cubicBezTo>
                    <a:pt x="297" y="726"/>
                    <a:pt x="300" y="732"/>
                    <a:pt x="306" y="732"/>
                  </a:cubicBezTo>
                  <a:cubicBezTo>
                    <a:pt x="309" y="732"/>
                    <a:pt x="312" y="738"/>
                    <a:pt x="312" y="738"/>
                  </a:cubicBezTo>
                  <a:cubicBezTo>
                    <a:pt x="315" y="738"/>
                    <a:pt x="318" y="741"/>
                    <a:pt x="318" y="738"/>
                  </a:cubicBezTo>
                  <a:cubicBezTo>
                    <a:pt x="318" y="735"/>
                    <a:pt x="324" y="735"/>
                    <a:pt x="327" y="732"/>
                  </a:cubicBezTo>
                  <a:cubicBezTo>
                    <a:pt x="318" y="723"/>
                    <a:pt x="312" y="717"/>
                    <a:pt x="312" y="714"/>
                  </a:cubicBezTo>
                  <a:cubicBezTo>
                    <a:pt x="312" y="708"/>
                    <a:pt x="315" y="702"/>
                    <a:pt x="309" y="696"/>
                  </a:cubicBezTo>
                  <a:cubicBezTo>
                    <a:pt x="300" y="690"/>
                    <a:pt x="309" y="687"/>
                    <a:pt x="315" y="681"/>
                  </a:cubicBezTo>
                  <a:cubicBezTo>
                    <a:pt x="318" y="675"/>
                    <a:pt x="327" y="672"/>
                    <a:pt x="333" y="669"/>
                  </a:cubicBezTo>
                  <a:cubicBezTo>
                    <a:pt x="333" y="669"/>
                    <a:pt x="333" y="666"/>
                    <a:pt x="330" y="666"/>
                  </a:cubicBezTo>
                  <a:cubicBezTo>
                    <a:pt x="327" y="666"/>
                    <a:pt x="324" y="663"/>
                    <a:pt x="327" y="663"/>
                  </a:cubicBezTo>
                  <a:cubicBezTo>
                    <a:pt x="330" y="660"/>
                    <a:pt x="330" y="660"/>
                    <a:pt x="327" y="654"/>
                  </a:cubicBezTo>
                  <a:cubicBezTo>
                    <a:pt x="324" y="651"/>
                    <a:pt x="321" y="648"/>
                    <a:pt x="318" y="648"/>
                  </a:cubicBezTo>
                  <a:cubicBezTo>
                    <a:pt x="318" y="648"/>
                    <a:pt x="315" y="645"/>
                    <a:pt x="312" y="648"/>
                  </a:cubicBezTo>
                  <a:cubicBezTo>
                    <a:pt x="309" y="648"/>
                    <a:pt x="309" y="645"/>
                    <a:pt x="309" y="642"/>
                  </a:cubicBezTo>
                  <a:cubicBezTo>
                    <a:pt x="309" y="639"/>
                    <a:pt x="303" y="639"/>
                    <a:pt x="303" y="636"/>
                  </a:cubicBezTo>
                  <a:cubicBezTo>
                    <a:pt x="303" y="636"/>
                    <a:pt x="303" y="630"/>
                    <a:pt x="306" y="630"/>
                  </a:cubicBezTo>
                  <a:cubicBezTo>
                    <a:pt x="309" y="627"/>
                    <a:pt x="309" y="627"/>
                    <a:pt x="309" y="627"/>
                  </a:cubicBezTo>
                  <a:cubicBezTo>
                    <a:pt x="309" y="624"/>
                    <a:pt x="303" y="624"/>
                    <a:pt x="306" y="621"/>
                  </a:cubicBezTo>
                  <a:cubicBezTo>
                    <a:pt x="309" y="618"/>
                    <a:pt x="312" y="618"/>
                    <a:pt x="312" y="615"/>
                  </a:cubicBezTo>
                  <a:cubicBezTo>
                    <a:pt x="312" y="609"/>
                    <a:pt x="315" y="606"/>
                    <a:pt x="318" y="609"/>
                  </a:cubicBezTo>
                  <a:cubicBezTo>
                    <a:pt x="321" y="612"/>
                    <a:pt x="324" y="618"/>
                    <a:pt x="327" y="618"/>
                  </a:cubicBezTo>
                  <a:cubicBezTo>
                    <a:pt x="330" y="615"/>
                    <a:pt x="330" y="612"/>
                    <a:pt x="327" y="609"/>
                  </a:cubicBezTo>
                  <a:cubicBezTo>
                    <a:pt x="327" y="609"/>
                    <a:pt x="327" y="606"/>
                    <a:pt x="330" y="603"/>
                  </a:cubicBezTo>
                  <a:cubicBezTo>
                    <a:pt x="336" y="603"/>
                    <a:pt x="333" y="600"/>
                    <a:pt x="336" y="600"/>
                  </a:cubicBezTo>
                  <a:cubicBezTo>
                    <a:pt x="342" y="600"/>
                    <a:pt x="348" y="594"/>
                    <a:pt x="348" y="594"/>
                  </a:cubicBezTo>
                  <a:cubicBezTo>
                    <a:pt x="351" y="591"/>
                    <a:pt x="357" y="591"/>
                    <a:pt x="357" y="591"/>
                  </a:cubicBezTo>
                  <a:cubicBezTo>
                    <a:pt x="360" y="591"/>
                    <a:pt x="363" y="594"/>
                    <a:pt x="363" y="591"/>
                  </a:cubicBezTo>
                  <a:cubicBezTo>
                    <a:pt x="366" y="588"/>
                    <a:pt x="372" y="588"/>
                    <a:pt x="372" y="591"/>
                  </a:cubicBezTo>
                  <a:cubicBezTo>
                    <a:pt x="372" y="594"/>
                    <a:pt x="381" y="594"/>
                    <a:pt x="384" y="594"/>
                  </a:cubicBezTo>
                  <a:cubicBezTo>
                    <a:pt x="387" y="597"/>
                    <a:pt x="393" y="600"/>
                    <a:pt x="393" y="603"/>
                  </a:cubicBezTo>
                  <a:cubicBezTo>
                    <a:pt x="393" y="606"/>
                    <a:pt x="396" y="609"/>
                    <a:pt x="396" y="603"/>
                  </a:cubicBezTo>
                  <a:cubicBezTo>
                    <a:pt x="396" y="600"/>
                    <a:pt x="399" y="603"/>
                    <a:pt x="405" y="603"/>
                  </a:cubicBezTo>
                  <a:cubicBezTo>
                    <a:pt x="408" y="606"/>
                    <a:pt x="414" y="606"/>
                    <a:pt x="414" y="603"/>
                  </a:cubicBezTo>
                  <a:cubicBezTo>
                    <a:pt x="414" y="600"/>
                    <a:pt x="423" y="597"/>
                    <a:pt x="426" y="600"/>
                  </a:cubicBezTo>
                  <a:cubicBezTo>
                    <a:pt x="429" y="603"/>
                    <a:pt x="429" y="603"/>
                    <a:pt x="432" y="600"/>
                  </a:cubicBezTo>
                  <a:cubicBezTo>
                    <a:pt x="435" y="597"/>
                    <a:pt x="441" y="597"/>
                    <a:pt x="444" y="600"/>
                  </a:cubicBezTo>
                  <a:cubicBezTo>
                    <a:pt x="444" y="603"/>
                    <a:pt x="447" y="603"/>
                    <a:pt x="450" y="603"/>
                  </a:cubicBezTo>
                  <a:cubicBezTo>
                    <a:pt x="453" y="603"/>
                    <a:pt x="453" y="609"/>
                    <a:pt x="456" y="609"/>
                  </a:cubicBezTo>
                  <a:cubicBezTo>
                    <a:pt x="459" y="606"/>
                    <a:pt x="456" y="603"/>
                    <a:pt x="459" y="603"/>
                  </a:cubicBezTo>
                  <a:cubicBezTo>
                    <a:pt x="462" y="603"/>
                    <a:pt x="465" y="606"/>
                    <a:pt x="468" y="606"/>
                  </a:cubicBezTo>
                  <a:cubicBezTo>
                    <a:pt x="471" y="606"/>
                    <a:pt x="474" y="606"/>
                    <a:pt x="474" y="603"/>
                  </a:cubicBezTo>
                  <a:cubicBezTo>
                    <a:pt x="474" y="600"/>
                    <a:pt x="474" y="594"/>
                    <a:pt x="471" y="594"/>
                  </a:cubicBezTo>
                  <a:cubicBezTo>
                    <a:pt x="471" y="594"/>
                    <a:pt x="468" y="591"/>
                    <a:pt x="465" y="591"/>
                  </a:cubicBezTo>
                  <a:cubicBezTo>
                    <a:pt x="462" y="591"/>
                    <a:pt x="459" y="585"/>
                    <a:pt x="462" y="585"/>
                  </a:cubicBezTo>
                  <a:cubicBezTo>
                    <a:pt x="465" y="585"/>
                    <a:pt x="468" y="582"/>
                    <a:pt x="468" y="579"/>
                  </a:cubicBezTo>
                  <a:cubicBezTo>
                    <a:pt x="468" y="576"/>
                    <a:pt x="465" y="573"/>
                    <a:pt x="471" y="570"/>
                  </a:cubicBezTo>
                  <a:cubicBezTo>
                    <a:pt x="474" y="570"/>
                    <a:pt x="482" y="570"/>
                    <a:pt x="482" y="570"/>
                  </a:cubicBezTo>
                  <a:cubicBezTo>
                    <a:pt x="482" y="567"/>
                    <a:pt x="474" y="567"/>
                    <a:pt x="471" y="564"/>
                  </a:cubicBezTo>
                  <a:cubicBezTo>
                    <a:pt x="471" y="561"/>
                    <a:pt x="471" y="555"/>
                    <a:pt x="471" y="555"/>
                  </a:cubicBezTo>
                  <a:cubicBezTo>
                    <a:pt x="474" y="555"/>
                    <a:pt x="477" y="555"/>
                    <a:pt x="479" y="555"/>
                  </a:cubicBezTo>
                  <a:cubicBezTo>
                    <a:pt x="482" y="552"/>
                    <a:pt x="491" y="555"/>
                    <a:pt x="494" y="552"/>
                  </a:cubicBezTo>
                  <a:cubicBezTo>
                    <a:pt x="497" y="549"/>
                    <a:pt x="506" y="549"/>
                    <a:pt x="512" y="549"/>
                  </a:cubicBezTo>
                  <a:cubicBezTo>
                    <a:pt x="515" y="549"/>
                    <a:pt x="518" y="546"/>
                    <a:pt x="521" y="546"/>
                  </a:cubicBezTo>
                  <a:cubicBezTo>
                    <a:pt x="527" y="546"/>
                    <a:pt x="536" y="543"/>
                    <a:pt x="539" y="543"/>
                  </a:cubicBezTo>
                  <a:cubicBezTo>
                    <a:pt x="542" y="543"/>
                    <a:pt x="554" y="540"/>
                    <a:pt x="554" y="537"/>
                  </a:cubicBezTo>
                  <a:cubicBezTo>
                    <a:pt x="554" y="534"/>
                    <a:pt x="566" y="534"/>
                    <a:pt x="569" y="534"/>
                  </a:cubicBezTo>
                  <a:cubicBezTo>
                    <a:pt x="572" y="534"/>
                    <a:pt x="575" y="537"/>
                    <a:pt x="578" y="534"/>
                  </a:cubicBezTo>
                  <a:cubicBezTo>
                    <a:pt x="581" y="534"/>
                    <a:pt x="584" y="537"/>
                    <a:pt x="584" y="540"/>
                  </a:cubicBezTo>
                  <a:cubicBezTo>
                    <a:pt x="584" y="543"/>
                    <a:pt x="587" y="546"/>
                    <a:pt x="587" y="549"/>
                  </a:cubicBezTo>
                  <a:cubicBezTo>
                    <a:pt x="587" y="549"/>
                    <a:pt x="584" y="552"/>
                    <a:pt x="587" y="552"/>
                  </a:cubicBezTo>
                  <a:cubicBezTo>
                    <a:pt x="587" y="555"/>
                    <a:pt x="593" y="552"/>
                    <a:pt x="596" y="552"/>
                  </a:cubicBezTo>
                  <a:cubicBezTo>
                    <a:pt x="599" y="549"/>
                    <a:pt x="599" y="552"/>
                    <a:pt x="599" y="552"/>
                  </a:cubicBezTo>
                  <a:cubicBezTo>
                    <a:pt x="599" y="555"/>
                    <a:pt x="602" y="555"/>
                    <a:pt x="602" y="555"/>
                  </a:cubicBezTo>
                  <a:cubicBezTo>
                    <a:pt x="602" y="552"/>
                    <a:pt x="608" y="552"/>
                    <a:pt x="608" y="555"/>
                  </a:cubicBezTo>
                  <a:cubicBezTo>
                    <a:pt x="611" y="555"/>
                    <a:pt x="614" y="552"/>
                    <a:pt x="614" y="555"/>
                  </a:cubicBezTo>
                  <a:cubicBezTo>
                    <a:pt x="614" y="558"/>
                    <a:pt x="608" y="561"/>
                    <a:pt x="611" y="564"/>
                  </a:cubicBezTo>
                  <a:cubicBezTo>
                    <a:pt x="614" y="567"/>
                    <a:pt x="614" y="561"/>
                    <a:pt x="620" y="561"/>
                  </a:cubicBezTo>
                  <a:cubicBezTo>
                    <a:pt x="623" y="561"/>
                    <a:pt x="629" y="558"/>
                    <a:pt x="632" y="555"/>
                  </a:cubicBezTo>
                  <a:cubicBezTo>
                    <a:pt x="635" y="555"/>
                    <a:pt x="638" y="552"/>
                    <a:pt x="641" y="549"/>
                  </a:cubicBezTo>
                  <a:cubicBezTo>
                    <a:pt x="644" y="549"/>
                    <a:pt x="650" y="549"/>
                    <a:pt x="650" y="552"/>
                  </a:cubicBezTo>
                  <a:cubicBezTo>
                    <a:pt x="647" y="552"/>
                    <a:pt x="644" y="558"/>
                    <a:pt x="653" y="558"/>
                  </a:cubicBezTo>
                  <a:cubicBezTo>
                    <a:pt x="659" y="561"/>
                    <a:pt x="668" y="576"/>
                    <a:pt x="674" y="585"/>
                  </a:cubicBezTo>
                  <a:cubicBezTo>
                    <a:pt x="677" y="591"/>
                    <a:pt x="683" y="603"/>
                    <a:pt x="686" y="603"/>
                  </a:cubicBezTo>
                  <a:cubicBezTo>
                    <a:pt x="686" y="603"/>
                    <a:pt x="689" y="597"/>
                    <a:pt x="692" y="597"/>
                  </a:cubicBezTo>
                  <a:cubicBezTo>
                    <a:pt x="695" y="597"/>
                    <a:pt x="698" y="603"/>
                    <a:pt x="701" y="603"/>
                  </a:cubicBezTo>
                  <a:cubicBezTo>
                    <a:pt x="704" y="603"/>
                    <a:pt x="707" y="606"/>
                    <a:pt x="710" y="606"/>
                  </a:cubicBezTo>
                  <a:cubicBezTo>
                    <a:pt x="713" y="603"/>
                    <a:pt x="719" y="600"/>
                    <a:pt x="722" y="603"/>
                  </a:cubicBezTo>
                  <a:cubicBezTo>
                    <a:pt x="725" y="603"/>
                    <a:pt x="728" y="603"/>
                    <a:pt x="731" y="609"/>
                  </a:cubicBezTo>
                  <a:cubicBezTo>
                    <a:pt x="731" y="612"/>
                    <a:pt x="734" y="612"/>
                    <a:pt x="737" y="612"/>
                  </a:cubicBezTo>
                  <a:cubicBezTo>
                    <a:pt x="740" y="612"/>
                    <a:pt x="740" y="615"/>
                    <a:pt x="740" y="618"/>
                  </a:cubicBezTo>
                  <a:cubicBezTo>
                    <a:pt x="740" y="621"/>
                    <a:pt x="743" y="621"/>
                    <a:pt x="746" y="621"/>
                  </a:cubicBezTo>
                  <a:cubicBezTo>
                    <a:pt x="746" y="621"/>
                    <a:pt x="752" y="621"/>
                    <a:pt x="755" y="621"/>
                  </a:cubicBezTo>
                  <a:cubicBezTo>
                    <a:pt x="755" y="621"/>
                    <a:pt x="758" y="618"/>
                    <a:pt x="758" y="621"/>
                  </a:cubicBezTo>
                  <a:cubicBezTo>
                    <a:pt x="758" y="624"/>
                    <a:pt x="761" y="627"/>
                    <a:pt x="764" y="627"/>
                  </a:cubicBezTo>
                  <a:cubicBezTo>
                    <a:pt x="764" y="627"/>
                    <a:pt x="770" y="630"/>
                    <a:pt x="770" y="627"/>
                  </a:cubicBezTo>
                  <a:cubicBezTo>
                    <a:pt x="770" y="624"/>
                    <a:pt x="776" y="624"/>
                    <a:pt x="776" y="624"/>
                  </a:cubicBezTo>
                  <a:cubicBezTo>
                    <a:pt x="779" y="624"/>
                    <a:pt x="785" y="621"/>
                    <a:pt x="788" y="618"/>
                  </a:cubicBezTo>
                  <a:cubicBezTo>
                    <a:pt x="788" y="615"/>
                    <a:pt x="794" y="615"/>
                    <a:pt x="797" y="615"/>
                  </a:cubicBezTo>
                  <a:cubicBezTo>
                    <a:pt x="797" y="612"/>
                    <a:pt x="803" y="612"/>
                    <a:pt x="803" y="609"/>
                  </a:cubicBezTo>
                  <a:cubicBezTo>
                    <a:pt x="803" y="606"/>
                    <a:pt x="809" y="609"/>
                    <a:pt x="812" y="606"/>
                  </a:cubicBezTo>
                  <a:cubicBezTo>
                    <a:pt x="812" y="603"/>
                    <a:pt x="818" y="603"/>
                    <a:pt x="818" y="606"/>
                  </a:cubicBezTo>
                  <a:cubicBezTo>
                    <a:pt x="821" y="606"/>
                    <a:pt x="833" y="609"/>
                    <a:pt x="836" y="606"/>
                  </a:cubicBezTo>
                  <a:cubicBezTo>
                    <a:pt x="836" y="606"/>
                    <a:pt x="836" y="612"/>
                    <a:pt x="839" y="615"/>
                  </a:cubicBezTo>
                  <a:cubicBezTo>
                    <a:pt x="839" y="615"/>
                    <a:pt x="845" y="618"/>
                    <a:pt x="848" y="618"/>
                  </a:cubicBezTo>
                  <a:cubicBezTo>
                    <a:pt x="848" y="615"/>
                    <a:pt x="854" y="615"/>
                    <a:pt x="857" y="618"/>
                  </a:cubicBezTo>
                  <a:cubicBezTo>
                    <a:pt x="860" y="618"/>
                    <a:pt x="863" y="621"/>
                    <a:pt x="866" y="618"/>
                  </a:cubicBezTo>
                  <a:cubicBezTo>
                    <a:pt x="866" y="618"/>
                    <a:pt x="872" y="615"/>
                    <a:pt x="875" y="615"/>
                  </a:cubicBezTo>
                  <a:cubicBezTo>
                    <a:pt x="875" y="612"/>
                    <a:pt x="875" y="609"/>
                    <a:pt x="875" y="609"/>
                  </a:cubicBezTo>
                  <a:cubicBezTo>
                    <a:pt x="872" y="606"/>
                    <a:pt x="872" y="600"/>
                    <a:pt x="869" y="597"/>
                  </a:cubicBezTo>
                  <a:cubicBezTo>
                    <a:pt x="875" y="594"/>
                    <a:pt x="875" y="594"/>
                    <a:pt x="875" y="594"/>
                  </a:cubicBezTo>
                  <a:cubicBezTo>
                    <a:pt x="875" y="591"/>
                    <a:pt x="881" y="591"/>
                    <a:pt x="881" y="588"/>
                  </a:cubicBezTo>
                  <a:cubicBezTo>
                    <a:pt x="884" y="585"/>
                    <a:pt x="884" y="585"/>
                    <a:pt x="884" y="585"/>
                  </a:cubicBezTo>
                  <a:cubicBezTo>
                    <a:pt x="887" y="585"/>
                    <a:pt x="893" y="588"/>
                    <a:pt x="893" y="588"/>
                  </a:cubicBezTo>
                  <a:cubicBezTo>
                    <a:pt x="899" y="591"/>
                    <a:pt x="899" y="591"/>
                    <a:pt x="899" y="591"/>
                  </a:cubicBezTo>
                  <a:cubicBezTo>
                    <a:pt x="902" y="591"/>
                    <a:pt x="905" y="591"/>
                    <a:pt x="908" y="594"/>
                  </a:cubicBezTo>
                  <a:cubicBezTo>
                    <a:pt x="911" y="594"/>
                    <a:pt x="917" y="594"/>
                    <a:pt x="920" y="597"/>
                  </a:cubicBezTo>
                  <a:cubicBezTo>
                    <a:pt x="920" y="600"/>
                    <a:pt x="920" y="603"/>
                    <a:pt x="920" y="606"/>
                  </a:cubicBezTo>
                  <a:cubicBezTo>
                    <a:pt x="923" y="609"/>
                    <a:pt x="926" y="612"/>
                    <a:pt x="929" y="612"/>
                  </a:cubicBezTo>
                  <a:cubicBezTo>
                    <a:pt x="929" y="612"/>
                    <a:pt x="935" y="615"/>
                    <a:pt x="938" y="615"/>
                  </a:cubicBezTo>
                  <a:cubicBezTo>
                    <a:pt x="941" y="615"/>
                    <a:pt x="944" y="612"/>
                    <a:pt x="947" y="612"/>
                  </a:cubicBezTo>
                  <a:cubicBezTo>
                    <a:pt x="947" y="612"/>
                    <a:pt x="953" y="609"/>
                    <a:pt x="956" y="609"/>
                  </a:cubicBezTo>
                  <a:cubicBezTo>
                    <a:pt x="959" y="609"/>
                    <a:pt x="965" y="612"/>
                    <a:pt x="968" y="612"/>
                  </a:cubicBezTo>
                  <a:cubicBezTo>
                    <a:pt x="968" y="612"/>
                    <a:pt x="974" y="612"/>
                    <a:pt x="974" y="615"/>
                  </a:cubicBezTo>
                  <a:cubicBezTo>
                    <a:pt x="977" y="615"/>
                    <a:pt x="986" y="615"/>
                    <a:pt x="986" y="618"/>
                  </a:cubicBezTo>
                  <a:cubicBezTo>
                    <a:pt x="986" y="621"/>
                    <a:pt x="989" y="621"/>
                    <a:pt x="992" y="624"/>
                  </a:cubicBezTo>
                  <a:cubicBezTo>
                    <a:pt x="992" y="627"/>
                    <a:pt x="1004" y="627"/>
                    <a:pt x="1004" y="627"/>
                  </a:cubicBezTo>
                  <a:cubicBezTo>
                    <a:pt x="1007" y="630"/>
                    <a:pt x="1019" y="630"/>
                    <a:pt x="1019" y="627"/>
                  </a:cubicBezTo>
                  <a:cubicBezTo>
                    <a:pt x="1019" y="627"/>
                    <a:pt x="1031" y="624"/>
                    <a:pt x="1034" y="624"/>
                  </a:cubicBezTo>
                  <a:cubicBezTo>
                    <a:pt x="1037" y="621"/>
                    <a:pt x="1043" y="624"/>
                    <a:pt x="1043" y="621"/>
                  </a:cubicBezTo>
                  <a:cubicBezTo>
                    <a:pt x="1043" y="618"/>
                    <a:pt x="1049" y="615"/>
                    <a:pt x="1052" y="615"/>
                  </a:cubicBezTo>
                  <a:cubicBezTo>
                    <a:pt x="1055" y="612"/>
                    <a:pt x="1067" y="612"/>
                    <a:pt x="1067" y="615"/>
                  </a:cubicBezTo>
                  <a:cubicBezTo>
                    <a:pt x="1067" y="618"/>
                    <a:pt x="1073" y="618"/>
                    <a:pt x="1076" y="618"/>
                  </a:cubicBezTo>
                  <a:cubicBezTo>
                    <a:pt x="1079" y="615"/>
                    <a:pt x="1085" y="618"/>
                    <a:pt x="1088" y="621"/>
                  </a:cubicBezTo>
                  <a:cubicBezTo>
                    <a:pt x="1097" y="624"/>
                    <a:pt x="1097" y="624"/>
                    <a:pt x="1097" y="624"/>
                  </a:cubicBezTo>
                  <a:cubicBezTo>
                    <a:pt x="1100" y="621"/>
                    <a:pt x="1106" y="618"/>
                    <a:pt x="1109" y="618"/>
                  </a:cubicBezTo>
                  <a:cubicBezTo>
                    <a:pt x="1112" y="618"/>
                    <a:pt x="1115" y="615"/>
                    <a:pt x="1115" y="612"/>
                  </a:cubicBezTo>
                  <a:cubicBezTo>
                    <a:pt x="1112" y="609"/>
                    <a:pt x="1118" y="603"/>
                    <a:pt x="1118" y="600"/>
                  </a:cubicBezTo>
                  <a:cubicBezTo>
                    <a:pt x="1121" y="597"/>
                    <a:pt x="1124" y="591"/>
                    <a:pt x="1127" y="591"/>
                  </a:cubicBezTo>
                  <a:cubicBezTo>
                    <a:pt x="1127" y="588"/>
                    <a:pt x="1130" y="585"/>
                    <a:pt x="1130" y="585"/>
                  </a:cubicBezTo>
                  <a:cubicBezTo>
                    <a:pt x="1130" y="582"/>
                    <a:pt x="1130" y="576"/>
                    <a:pt x="1127" y="576"/>
                  </a:cubicBezTo>
                  <a:cubicBezTo>
                    <a:pt x="1127" y="576"/>
                    <a:pt x="1121" y="576"/>
                    <a:pt x="1127" y="570"/>
                  </a:cubicBezTo>
                  <a:cubicBezTo>
                    <a:pt x="1130" y="564"/>
                    <a:pt x="1139" y="564"/>
                    <a:pt x="1142" y="564"/>
                  </a:cubicBezTo>
                  <a:cubicBezTo>
                    <a:pt x="1142" y="564"/>
                    <a:pt x="1154" y="564"/>
                    <a:pt x="1157" y="564"/>
                  </a:cubicBezTo>
                  <a:cubicBezTo>
                    <a:pt x="1163" y="564"/>
                    <a:pt x="1166" y="564"/>
                    <a:pt x="1169" y="567"/>
                  </a:cubicBezTo>
                  <a:cubicBezTo>
                    <a:pt x="1175" y="570"/>
                    <a:pt x="1181" y="567"/>
                    <a:pt x="1184" y="570"/>
                  </a:cubicBezTo>
                  <a:cubicBezTo>
                    <a:pt x="1187" y="573"/>
                    <a:pt x="1193" y="573"/>
                    <a:pt x="1190" y="579"/>
                  </a:cubicBezTo>
                  <a:cubicBezTo>
                    <a:pt x="1190" y="582"/>
                    <a:pt x="1196" y="579"/>
                    <a:pt x="1196" y="588"/>
                  </a:cubicBezTo>
                  <a:cubicBezTo>
                    <a:pt x="1199" y="597"/>
                    <a:pt x="1202" y="597"/>
                    <a:pt x="1202" y="603"/>
                  </a:cubicBezTo>
                  <a:cubicBezTo>
                    <a:pt x="1205" y="606"/>
                    <a:pt x="1211" y="612"/>
                    <a:pt x="1208" y="615"/>
                  </a:cubicBezTo>
                  <a:cubicBezTo>
                    <a:pt x="1208" y="618"/>
                    <a:pt x="1208" y="621"/>
                    <a:pt x="1214" y="621"/>
                  </a:cubicBezTo>
                  <a:cubicBezTo>
                    <a:pt x="1220" y="621"/>
                    <a:pt x="1223" y="627"/>
                    <a:pt x="1223" y="627"/>
                  </a:cubicBezTo>
                  <a:cubicBezTo>
                    <a:pt x="1226" y="624"/>
                    <a:pt x="1232" y="627"/>
                    <a:pt x="1235" y="630"/>
                  </a:cubicBezTo>
                  <a:cubicBezTo>
                    <a:pt x="1238" y="633"/>
                    <a:pt x="1244" y="633"/>
                    <a:pt x="1244" y="636"/>
                  </a:cubicBezTo>
                  <a:cubicBezTo>
                    <a:pt x="1244" y="639"/>
                    <a:pt x="1247" y="642"/>
                    <a:pt x="1247" y="645"/>
                  </a:cubicBezTo>
                  <a:cubicBezTo>
                    <a:pt x="1247" y="648"/>
                    <a:pt x="1253" y="651"/>
                    <a:pt x="1256" y="651"/>
                  </a:cubicBezTo>
                  <a:cubicBezTo>
                    <a:pt x="1262" y="651"/>
                    <a:pt x="1265" y="651"/>
                    <a:pt x="1268" y="648"/>
                  </a:cubicBezTo>
                  <a:cubicBezTo>
                    <a:pt x="1268" y="645"/>
                    <a:pt x="1277" y="645"/>
                    <a:pt x="1277" y="645"/>
                  </a:cubicBezTo>
                  <a:cubicBezTo>
                    <a:pt x="1280" y="642"/>
                    <a:pt x="1286" y="639"/>
                    <a:pt x="1286" y="645"/>
                  </a:cubicBezTo>
                  <a:cubicBezTo>
                    <a:pt x="1286" y="651"/>
                    <a:pt x="1292" y="654"/>
                    <a:pt x="1286" y="657"/>
                  </a:cubicBezTo>
                  <a:cubicBezTo>
                    <a:pt x="1283" y="657"/>
                    <a:pt x="1283" y="666"/>
                    <a:pt x="1280" y="669"/>
                  </a:cubicBezTo>
                  <a:cubicBezTo>
                    <a:pt x="1280" y="675"/>
                    <a:pt x="1274" y="675"/>
                    <a:pt x="1274" y="678"/>
                  </a:cubicBezTo>
                  <a:cubicBezTo>
                    <a:pt x="1274" y="684"/>
                    <a:pt x="1268" y="684"/>
                    <a:pt x="1268" y="687"/>
                  </a:cubicBezTo>
                  <a:cubicBezTo>
                    <a:pt x="1268" y="690"/>
                    <a:pt x="1262" y="687"/>
                    <a:pt x="1259" y="687"/>
                  </a:cubicBezTo>
                  <a:cubicBezTo>
                    <a:pt x="1256" y="684"/>
                    <a:pt x="1253" y="690"/>
                    <a:pt x="1250" y="690"/>
                  </a:cubicBezTo>
                  <a:cubicBezTo>
                    <a:pt x="1247" y="690"/>
                    <a:pt x="1247" y="696"/>
                    <a:pt x="1247" y="699"/>
                  </a:cubicBezTo>
                  <a:cubicBezTo>
                    <a:pt x="1250" y="702"/>
                    <a:pt x="1247" y="705"/>
                    <a:pt x="1250" y="708"/>
                  </a:cubicBezTo>
                  <a:cubicBezTo>
                    <a:pt x="1250" y="711"/>
                    <a:pt x="1250" y="714"/>
                    <a:pt x="1250" y="717"/>
                  </a:cubicBezTo>
                  <a:cubicBezTo>
                    <a:pt x="1253" y="714"/>
                    <a:pt x="1259" y="714"/>
                    <a:pt x="1259" y="714"/>
                  </a:cubicBezTo>
                  <a:cubicBezTo>
                    <a:pt x="1262" y="714"/>
                    <a:pt x="1268" y="720"/>
                    <a:pt x="1271" y="720"/>
                  </a:cubicBezTo>
                  <a:cubicBezTo>
                    <a:pt x="1277" y="720"/>
                    <a:pt x="1298" y="708"/>
                    <a:pt x="1298" y="705"/>
                  </a:cubicBezTo>
                  <a:cubicBezTo>
                    <a:pt x="1298" y="702"/>
                    <a:pt x="1310" y="690"/>
                    <a:pt x="1316" y="684"/>
                  </a:cubicBezTo>
                  <a:cubicBezTo>
                    <a:pt x="1322" y="678"/>
                    <a:pt x="1331" y="669"/>
                    <a:pt x="1334" y="663"/>
                  </a:cubicBezTo>
                  <a:cubicBezTo>
                    <a:pt x="1334" y="657"/>
                    <a:pt x="1343" y="648"/>
                    <a:pt x="1346" y="645"/>
                  </a:cubicBezTo>
                  <a:cubicBezTo>
                    <a:pt x="1346" y="642"/>
                    <a:pt x="1349" y="642"/>
                    <a:pt x="1352" y="633"/>
                  </a:cubicBezTo>
                  <a:cubicBezTo>
                    <a:pt x="1355" y="627"/>
                    <a:pt x="1355" y="606"/>
                    <a:pt x="1358" y="606"/>
                  </a:cubicBezTo>
                  <a:cubicBezTo>
                    <a:pt x="1358" y="603"/>
                    <a:pt x="1358" y="600"/>
                    <a:pt x="1358" y="597"/>
                  </a:cubicBezTo>
                  <a:cubicBezTo>
                    <a:pt x="1361" y="594"/>
                    <a:pt x="1361" y="591"/>
                    <a:pt x="1364" y="591"/>
                  </a:cubicBezTo>
                  <a:cubicBezTo>
                    <a:pt x="1367" y="588"/>
                    <a:pt x="1367" y="585"/>
                    <a:pt x="1364" y="582"/>
                  </a:cubicBezTo>
                  <a:cubicBezTo>
                    <a:pt x="1364" y="579"/>
                    <a:pt x="1364" y="576"/>
                    <a:pt x="1364" y="573"/>
                  </a:cubicBezTo>
                  <a:cubicBezTo>
                    <a:pt x="1364" y="573"/>
                    <a:pt x="1364" y="570"/>
                    <a:pt x="1367" y="570"/>
                  </a:cubicBezTo>
                  <a:cubicBezTo>
                    <a:pt x="1367" y="570"/>
                    <a:pt x="1364" y="567"/>
                    <a:pt x="1361" y="564"/>
                  </a:cubicBezTo>
                  <a:cubicBezTo>
                    <a:pt x="1358" y="564"/>
                    <a:pt x="1355" y="561"/>
                    <a:pt x="1355" y="558"/>
                  </a:cubicBezTo>
                  <a:cubicBezTo>
                    <a:pt x="1355" y="555"/>
                    <a:pt x="1349" y="552"/>
                    <a:pt x="1346" y="552"/>
                  </a:cubicBezTo>
                  <a:cubicBezTo>
                    <a:pt x="1343" y="552"/>
                    <a:pt x="1334" y="549"/>
                    <a:pt x="1337" y="552"/>
                  </a:cubicBezTo>
                  <a:cubicBezTo>
                    <a:pt x="1337" y="555"/>
                    <a:pt x="1337" y="558"/>
                    <a:pt x="1334" y="558"/>
                  </a:cubicBezTo>
                  <a:cubicBezTo>
                    <a:pt x="1331" y="555"/>
                    <a:pt x="1331" y="558"/>
                    <a:pt x="1328" y="561"/>
                  </a:cubicBezTo>
                  <a:cubicBezTo>
                    <a:pt x="1328" y="564"/>
                    <a:pt x="1319" y="564"/>
                    <a:pt x="1322" y="561"/>
                  </a:cubicBezTo>
                  <a:cubicBezTo>
                    <a:pt x="1325" y="558"/>
                    <a:pt x="1322" y="558"/>
                    <a:pt x="1322" y="555"/>
                  </a:cubicBezTo>
                  <a:cubicBezTo>
                    <a:pt x="1322" y="552"/>
                    <a:pt x="1325" y="549"/>
                    <a:pt x="1322" y="549"/>
                  </a:cubicBezTo>
                  <a:cubicBezTo>
                    <a:pt x="1319" y="552"/>
                    <a:pt x="1319" y="558"/>
                    <a:pt x="1316" y="558"/>
                  </a:cubicBezTo>
                  <a:cubicBezTo>
                    <a:pt x="1313" y="558"/>
                    <a:pt x="1313" y="549"/>
                    <a:pt x="1313" y="546"/>
                  </a:cubicBezTo>
                  <a:cubicBezTo>
                    <a:pt x="1316" y="543"/>
                    <a:pt x="1307" y="546"/>
                    <a:pt x="1301" y="546"/>
                  </a:cubicBezTo>
                  <a:cubicBezTo>
                    <a:pt x="1295" y="546"/>
                    <a:pt x="1295" y="540"/>
                    <a:pt x="1301" y="537"/>
                  </a:cubicBezTo>
                  <a:cubicBezTo>
                    <a:pt x="1307" y="534"/>
                    <a:pt x="1307" y="531"/>
                    <a:pt x="1310" y="531"/>
                  </a:cubicBezTo>
                  <a:cubicBezTo>
                    <a:pt x="1313" y="531"/>
                    <a:pt x="1319" y="525"/>
                    <a:pt x="1322" y="522"/>
                  </a:cubicBezTo>
                  <a:cubicBezTo>
                    <a:pt x="1328" y="519"/>
                    <a:pt x="1328" y="516"/>
                    <a:pt x="1331" y="513"/>
                  </a:cubicBezTo>
                  <a:cubicBezTo>
                    <a:pt x="1331" y="513"/>
                    <a:pt x="1340" y="507"/>
                    <a:pt x="1346" y="501"/>
                  </a:cubicBezTo>
                  <a:cubicBezTo>
                    <a:pt x="1352" y="495"/>
                    <a:pt x="1355" y="492"/>
                    <a:pt x="1358" y="489"/>
                  </a:cubicBezTo>
                  <a:cubicBezTo>
                    <a:pt x="1361" y="486"/>
                    <a:pt x="1370" y="483"/>
                    <a:pt x="1370" y="480"/>
                  </a:cubicBezTo>
                  <a:cubicBezTo>
                    <a:pt x="1370" y="477"/>
                    <a:pt x="1382" y="471"/>
                    <a:pt x="1391" y="468"/>
                  </a:cubicBezTo>
                  <a:cubicBezTo>
                    <a:pt x="1400" y="465"/>
                    <a:pt x="1415" y="468"/>
                    <a:pt x="1415" y="471"/>
                  </a:cubicBezTo>
                  <a:cubicBezTo>
                    <a:pt x="1418" y="474"/>
                    <a:pt x="1421" y="474"/>
                    <a:pt x="1421" y="471"/>
                  </a:cubicBezTo>
                  <a:cubicBezTo>
                    <a:pt x="1424" y="468"/>
                    <a:pt x="1427" y="471"/>
                    <a:pt x="1433" y="471"/>
                  </a:cubicBezTo>
                  <a:cubicBezTo>
                    <a:pt x="1439" y="471"/>
                    <a:pt x="1439" y="468"/>
                    <a:pt x="1442" y="468"/>
                  </a:cubicBezTo>
                  <a:cubicBezTo>
                    <a:pt x="1448" y="471"/>
                    <a:pt x="1451" y="471"/>
                    <a:pt x="1454" y="468"/>
                  </a:cubicBezTo>
                  <a:cubicBezTo>
                    <a:pt x="1454" y="462"/>
                    <a:pt x="1466" y="462"/>
                    <a:pt x="1469" y="465"/>
                  </a:cubicBezTo>
                  <a:cubicBezTo>
                    <a:pt x="1472" y="468"/>
                    <a:pt x="1472" y="468"/>
                    <a:pt x="1478" y="465"/>
                  </a:cubicBezTo>
                  <a:cubicBezTo>
                    <a:pt x="1481" y="465"/>
                    <a:pt x="1481" y="471"/>
                    <a:pt x="1484" y="471"/>
                  </a:cubicBezTo>
                  <a:cubicBezTo>
                    <a:pt x="1490" y="471"/>
                    <a:pt x="1487" y="474"/>
                    <a:pt x="1484" y="474"/>
                  </a:cubicBezTo>
                  <a:cubicBezTo>
                    <a:pt x="1481" y="474"/>
                    <a:pt x="1475" y="477"/>
                    <a:pt x="1478" y="477"/>
                  </a:cubicBezTo>
                  <a:cubicBezTo>
                    <a:pt x="1484" y="480"/>
                    <a:pt x="1487" y="477"/>
                    <a:pt x="1490" y="477"/>
                  </a:cubicBezTo>
                  <a:cubicBezTo>
                    <a:pt x="1493" y="477"/>
                    <a:pt x="1499" y="477"/>
                    <a:pt x="1502" y="474"/>
                  </a:cubicBezTo>
                  <a:cubicBezTo>
                    <a:pt x="1508" y="471"/>
                    <a:pt x="1508" y="477"/>
                    <a:pt x="1511" y="474"/>
                  </a:cubicBezTo>
                  <a:cubicBezTo>
                    <a:pt x="1514" y="471"/>
                    <a:pt x="1520" y="471"/>
                    <a:pt x="1523" y="471"/>
                  </a:cubicBezTo>
                  <a:cubicBezTo>
                    <a:pt x="1526" y="471"/>
                    <a:pt x="1523" y="468"/>
                    <a:pt x="1517" y="468"/>
                  </a:cubicBezTo>
                  <a:cubicBezTo>
                    <a:pt x="1514" y="468"/>
                    <a:pt x="1514" y="465"/>
                    <a:pt x="1517" y="459"/>
                  </a:cubicBezTo>
                  <a:cubicBezTo>
                    <a:pt x="1520" y="450"/>
                    <a:pt x="1529" y="447"/>
                    <a:pt x="1532" y="444"/>
                  </a:cubicBezTo>
                  <a:cubicBezTo>
                    <a:pt x="1538" y="438"/>
                    <a:pt x="1541" y="441"/>
                    <a:pt x="1541" y="438"/>
                  </a:cubicBezTo>
                  <a:cubicBezTo>
                    <a:pt x="1541" y="435"/>
                    <a:pt x="1544" y="429"/>
                    <a:pt x="1547" y="429"/>
                  </a:cubicBezTo>
                  <a:cubicBezTo>
                    <a:pt x="1550" y="429"/>
                    <a:pt x="1559" y="429"/>
                    <a:pt x="1565" y="426"/>
                  </a:cubicBezTo>
                  <a:cubicBezTo>
                    <a:pt x="1571" y="423"/>
                    <a:pt x="1571" y="429"/>
                    <a:pt x="1574" y="429"/>
                  </a:cubicBezTo>
                  <a:cubicBezTo>
                    <a:pt x="1577" y="432"/>
                    <a:pt x="1580" y="426"/>
                    <a:pt x="1583" y="426"/>
                  </a:cubicBezTo>
                  <a:cubicBezTo>
                    <a:pt x="1583" y="429"/>
                    <a:pt x="1577" y="432"/>
                    <a:pt x="1577" y="438"/>
                  </a:cubicBezTo>
                  <a:cubicBezTo>
                    <a:pt x="1574" y="441"/>
                    <a:pt x="1580" y="441"/>
                    <a:pt x="1583" y="441"/>
                  </a:cubicBezTo>
                  <a:cubicBezTo>
                    <a:pt x="1586" y="444"/>
                    <a:pt x="1580" y="444"/>
                    <a:pt x="1580" y="447"/>
                  </a:cubicBezTo>
                  <a:cubicBezTo>
                    <a:pt x="1580" y="447"/>
                    <a:pt x="1586" y="447"/>
                    <a:pt x="1592" y="441"/>
                  </a:cubicBezTo>
                  <a:cubicBezTo>
                    <a:pt x="1601" y="432"/>
                    <a:pt x="1607" y="432"/>
                    <a:pt x="1613" y="432"/>
                  </a:cubicBezTo>
                  <a:cubicBezTo>
                    <a:pt x="1616" y="432"/>
                    <a:pt x="1613" y="426"/>
                    <a:pt x="1613" y="420"/>
                  </a:cubicBezTo>
                  <a:cubicBezTo>
                    <a:pt x="1616" y="414"/>
                    <a:pt x="1628" y="411"/>
                    <a:pt x="1634" y="414"/>
                  </a:cubicBezTo>
                  <a:cubicBezTo>
                    <a:pt x="1637" y="414"/>
                    <a:pt x="1637" y="417"/>
                    <a:pt x="1634" y="417"/>
                  </a:cubicBezTo>
                  <a:cubicBezTo>
                    <a:pt x="1628" y="414"/>
                    <a:pt x="1625" y="420"/>
                    <a:pt x="1625" y="426"/>
                  </a:cubicBezTo>
                  <a:cubicBezTo>
                    <a:pt x="1625" y="429"/>
                    <a:pt x="1622" y="432"/>
                    <a:pt x="1622" y="435"/>
                  </a:cubicBezTo>
                  <a:cubicBezTo>
                    <a:pt x="1625" y="435"/>
                    <a:pt x="1619" y="438"/>
                    <a:pt x="1619" y="438"/>
                  </a:cubicBezTo>
                  <a:cubicBezTo>
                    <a:pt x="1619" y="441"/>
                    <a:pt x="1619" y="444"/>
                    <a:pt x="1616" y="444"/>
                  </a:cubicBezTo>
                  <a:cubicBezTo>
                    <a:pt x="1613" y="444"/>
                    <a:pt x="1601" y="447"/>
                    <a:pt x="1601" y="450"/>
                  </a:cubicBezTo>
                  <a:cubicBezTo>
                    <a:pt x="1601" y="456"/>
                    <a:pt x="1595" y="456"/>
                    <a:pt x="1592" y="462"/>
                  </a:cubicBezTo>
                  <a:cubicBezTo>
                    <a:pt x="1589" y="465"/>
                    <a:pt x="1580" y="471"/>
                    <a:pt x="1571" y="480"/>
                  </a:cubicBezTo>
                  <a:cubicBezTo>
                    <a:pt x="1565" y="492"/>
                    <a:pt x="1553" y="492"/>
                    <a:pt x="1553" y="492"/>
                  </a:cubicBezTo>
                  <a:cubicBezTo>
                    <a:pt x="1553" y="495"/>
                    <a:pt x="1544" y="495"/>
                    <a:pt x="1544" y="495"/>
                  </a:cubicBezTo>
                  <a:cubicBezTo>
                    <a:pt x="1541" y="495"/>
                    <a:pt x="1544" y="501"/>
                    <a:pt x="1538" y="510"/>
                  </a:cubicBezTo>
                  <a:cubicBezTo>
                    <a:pt x="1532" y="516"/>
                    <a:pt x="1529" y="525"/>
                    <a:pt x="1529" y="534"/>
                  </a:cubicBezTo>
                  <a:cubicBezTo>
                    <a:pt x="1529" y="543"/>
                    <a:pt x="1532" y="570"/>
                    <a:pt x="1535" y="576"/>
                  </a:cubicBezTo>
                  <a:cubicBezTo>
                    <a:pt x="1538" y="582"/>
                    <a:pt x="1535" y="594"/>
                    <a:pt x="1538" y="594"/>
                  </a:cubicBezTo>
                  <a:cubicBezTo>
                    <a:pt x="1541" y="597"/>
                    <a:pt x="1541" y="603"/>
                    <a:pt x="1541" y="603"/>
                  </a:cubicBezTo>
                  <a:cubicBezTo>
                    <a:pt x="1544" y="606"/>
                    <a:pt x="1550" y="597"/>
                    <a:pt x="1553" y="594"/>
                  </a:cubicBezTo>
                  <a:cubicBezTo>
                    <a:pt x="1556" y="591"/>
                    <a:pt x="1556" y="588"/>
                    <a:pt x="1559" y="588"/>
                  </a:cubicBezTo>
                  <a:cubicBezTo>
                    <a:pt x="1562" y="585"/>
                    <a:pt x="1559" y="576"/>
                    <a:pt x="1562" y="576"/>
                  </a:cubicBezTo>
                  <a:cubicBezTo>
                    <a:pt x="1562" y="573"/>
                    <a:pt x="1568" y="573"/>
                    <a:pt x="1568" y="570"/>
                  </a:cubicBezTo>
                  <a:cubicBezTo>
                    <a:pt x="1571" y="567"/>
                    <a:pt x="1574" y="570"/>
                    <a:pt x="1577" y="570"/>
                  </a:cubicBezTo>
                  <a:cubicBezTo>
                    <a:pt x="1580" y="567"/>
                    <a:pt x="1577" y="561"/>
                    <a:pt x="1577" y="558"/>
                  </a:cubicBezTo>
                  <a:cubicBezTo>
                    <a:pt x="1574" y="555"/>
                    <a:pt x="1583" y="552"/>
                    <a:pt x="1586" y="549"/>
                  </a:cubicBezTo>
                  <a:cubicBezTo>
                    <a:pt x="1592" y="546"/>
                    <a:pt x="1595" y="552"/>
                    <a:pt x="1601" y="546"/>
                  </a:cubicBezTo>
                  <a:cubicBezTo>
                    <a:pt x="1604" y="543"/>
                    <a:pt x="1601" y="537"/>
                    <a:pt x="1598" y="534"/>
                  </a:cubicBezTo>
                  <a:cubicBezTo>
                    <a:pt x="1598" y="534"/>
                    <a:pt x="1604" y="522"/>
                    <a:pt x="1607" y="522"/>
                  </a:cubicBezTo>
                  <a:cubicBezTo>
                    <a:pt x="1610" y="522"/>
                    <a:pt x="1613" y="525"/>
                    <a:pt x="1616" y="522"/>
                  </a:cubicBezTo>
                  <a:cubicBezTo>
                    <a:pt x="1619" y="519"/>
                    <a:pt x="1613" y="513"/>
                    <a:pt x="1610" y="513"/>
                  </a:cubicBezTo>
                  <a:cubicBezTo>
                    <a:pt x="1607" y="513"/>
                    <a:pt x="1607" y="504"/>
                    <a:pt x="1613" y="501"/>
                  </a:cubicBezTo>
                  <a:cubicBezTo>
                    <a:pt x="1619" y="498"/>
                    <a:pt x="1616" y="495"/>
                    <a:pt x="1613" y="495"/>
                  </a:cubicBezTo>
                  <a:cubicBezTo>
                    <a:pt x="1607" y="495"/>
                    <a:pt x="1607" y="495"/>
                    <a:pt x="1604" y="495"/>
                  </a:cubicBezTo>
                  <a:cubicBezTo>
                    <a:pt x="1601" y="495"/>
                    <a:pt x="1598" y="489"/>
                    <a:pt x="1604" y="483"/>
                  </a:cubicBezTo>
                  <a:cubicBezTo>
                    <a:pt x="1607" y="477"/>
                    <a:pt x="1613" y="480"/>
                    <a:pt x="1613" y="474"/>
                  </a:cubicBezTo>
                  <a:cubicBezTo>
                    <a:pt x="1613" y="468"/>
                    <a:pt x="1619" y="462"/>
                    <a:pt x="1622" y="459"/>
                  </a:cubicBezTo>
                  <a:cubicBezTo>
                    <a:pt x="1622" y="456"/>
                    <a:pt x="1628" y="459"/>
                    <a:pt x="1631" y="459"/>
                  </a:cubicBezTo>
                  <a:cubicBezTo>
                    <a:pt x="1634" y="459"/>
                    <a:pt x="1634" y="465"/>
                    <a:pt x="1634" y="462"/>
                  </a:cubicBezTo>
                  <a:cubicBezTo>
                    <a:pt x="1637" y="459"/>
                    <a:pt x="1643" y="450"/>
                    <a:pt x="1646" y="450"/>
                  </a:cubicBezTo>
                  <a:cubicBezTo>
                    <a:pt x="1652" y="450"/>
                    <a:pt x="1649" y="456"/>
                    <a:pt x="1649" y="459"/>
                  </a:cubicBezTo>
                  <a:cubicBezTo>
                    <a:pt x="1649" y="465"/>
                    <a:pt x="1652" y="459"/>
                    <a:pt x="1661" y="453"/>
                  </a:cubicBezTo>
                  <a:cubicBezTo>
                    <a:pt x="1667" y="450"/>
                    <a:pt x="1682" y="450"/>
                    <a:pt x="1688" y="453"/>
                  </a:cubicBezTo>
                  <a:cubicBezTo>
                    <a:pt x="1694" y="453"/>
                    <a:pt x="1694" y="459"/>
                    <a:pt x="1697" y="459"/>
                  </a:cubicBezTo>
                  <a:cubicBezTo>
                    <a:pt x="1700" y="459"/>
                    <a:pt x="1697" y="453"/>
                    <a:pt x="1700" y="453"/>
                  </a:cubicBezTo>
                  <a:cubicBezTo>
                    <a:pt x="1706" y="450"/>
                    <a:pt x="1712" y="447"/>
                    <a:pt x="1718" y="444"/>
                  </a:cubicBezTo>
                  <a:cubicBezTo>
                    <a:pt x="1721" y="438"/>
                    <a:pt x="1721" y="441"/>
                    <a:pt x="1724" y="438"/>
                  </a:cubicBezTo>
                  <a:cubicBezTo>
                    <a:pt x="1727" y="435"/>
                    <a:pt x="1730" y="438"/>
                    <a:pt x="1730" y="435"/>
                  </a:cubicBezTo>
                  <a:cubicBezTo>
                    <a:pt x="1730" y="432"/>
                    <a:pt x="1739" y="429"/>
                    <a:pt x="1748" y="426"/>
                  </a:cubicBezTo>
                  <a:cubicBezTo>
                    <a:pt x="1760" y="423"/>
                    <a:pt x="1772" y="417"/>
                    <a:pt x="1772" y="414"/>
                  </a:cubicBezTo>
                  <a:cubicBezTo>
                    <a:pt x="1772" y="411"/>
                    <a:pt x="1778" y="411"/>
                    <a:pt x="1778" y="414"/>
                  </a:cubicBezTo>
                  <a:cubicBezTo>
                    <a:pt x="1778" y="417"/>
                    <a:pt x="1781" y="414"/>
                    <a:pt x="1787" y="417"/>
                  </a:cubicBezTo>
                  <a:cubicBezTo>
                    <a:pt x="1793" y="417"/>
                    <a:pt x="1796" y="420"/>
                    <a:pt x="1799" y="414"/>
                  </a:cubicBezTo>
                  <a:cubicBezTo>
                    <a:pt x="1805" y="411"/>
                    <a:pt x="1799" y="408"/>
                    <a:pt x="1799" y="405"/>
                  </a:cubicBezTo>
                  <a:cubicBezTo>
                    <a:pt x="1799" y="402"/>
                    <a:pt x="1793" y="399"/>
                    <a:pt x="1793" y="396"/>
                  </a:cubicBezTo>
                  <a:cubicBezTo>
                    <a:pt x="1793" y="393"/>
                    <a:pt x="1787" y="384"/>
                    <a:pt x="1784" y="384"/>
                  </a:cubicBezTo>
                  <a:cubicBezTo>
                    <a:pt x="1784" y="387"/>
                    <a:pt x="1778" y="384"/>
                    <a:pt x="1778" y="381"/>
                  </a:cubicBezTo>
                  <a:cubicBezTo>
                    <a:pt x="1778" y="378"/>
                    <a:pt x="1778" y="375"/>
                    <a:pt x="1775" y="375"/>
                  </a:cubicBezTo>
                  <a:cubicBezTo>
                    <a:pt x="1772" y="378"/>
                    <a:pt x="1766" y="378"/>
                    <a:pt x="1766" y="375"/>
                  </a:cubicBezTo>
                  <a:cubicBezTo>
                    <a:pt x="1763" y="372"/>
                    <a:pt x="1772" y="369"/>
                    <a:pt x="1778" y="372"/>
                  </a:cubicBezTo>
                  <a:cubicBezTo>
                    <a:pt x="1781" y="372"/>
                    <a:pt x="1781" y="375"/>
                    <a:pt x="1784" y="378"/>
                  </a:cubicBezTo>
                  <a:cubicBezTo>
                    <a:pt x="1784" y="378"/>
                    <a:pt x="1793" y="378"/>
                    <a:pt x="1796" y="375"/>
                  </a:cubicBezTo>
                  <a:cubicBezTo>
                    <a:pt x="1799" y="375"/>
                    <a:pt x="1808" y="372"/>
                    <a:pt x="1811" y="369"/>
                  </a:cubicBezTo>
                  <a:cubicBezTo>
                    <a:pt x="1811" y="366"/>
                    <a:pt x="1811" y="363"/>
                    <a:pt x="1814" y="363"/>
                  </a:cubicBezTo>
                  <a:cubicBezTo>
                    <a:pt x="1817" y="360"/>
                    <a:pt x="1814" y="357"/>
                    <a:pt x="1811" y="357"/>
                  </a:cubicBezTo>
                  <a:cubicBezTo>
                    <a:pt x="1808" y="354"/>
                    <a:pt x="1808" y="351"/>
                    <a:pt x="1811" y="351"/>
                  </a:cubicBezTo>
                  <a:cubicBezTo>
                    <a:pt x="1814" y="351"/>
                    <a:pt x="1814" y="348"/>
                    <a:pt x="1817" y="348"/>
                  </a:cubicBezTo>
                  <a:cubicBezTo>
                    <a:pt x="1820" y="345"/>
                    <a:pt x="1820" y="348"/>
                    <a:pt x="1823" y="345"/>
                  </a:cubicBezTo>
                  <a:cubicBezTo>
                    <a:pt x="1826" y="345"/>
                    <a:pt x="1823" y="348"/>
                    <a:pt x="1820" y="351"/>
                  </a:cubicBezTo>
                  <a:cubicBezTo>
                    <a:pt x="1820" y="354"/>
                    <a:pt x="1826" y="357"/>
                    <a:pt x="1826" y="360"/>
                  </a:cubicBezTo>
                  <a:cubicBezTo>
                    <a:pt x="1826" y="363"/>
                    <a:pt x="1832" y="363"/>
                    <a:pt x="1838" y="360"/>
                  </a:cubicBezTo>
                  <a:cubicBezTo>
                    <a:pt x="1841" y="357"/>
                    <a:pt x="1852" y="363"/>
                    <a:pt x="1852" y="366"/>
                  </a:cubicBezTo>
                  <a:cubicBezTo>
                    <a:pt x="1855" y="369"/>
                    <a:pt x="1855" y="372"/>
                    <a:pt x="1861" y="375"/>
                  </a:cubicBezTo>
                  <a:cubicBezTo>
                    <a:pt x="1867" y="378"/>
                    <a:pt x="1873" y="378"/>
                    <a:pt x="1873" y="381"/>
                  </a:cubicBezTo>
                  <a:cubicBezTo>
                    <a:pt x="1873" y="381"/>
                    <a:pt x="1876" y="384"/>
                    <a:pt x="1879" y="384"/>
                  </a:cubicBezTo>
                  <a:cubicBezTo>
                    <a:pt x="1882" y="381"/>
                    <a:pt x="1882" y="387"/>
                    <a:pt x="1885" y="384"/>
                  </a:cubicBezTo>
                  <a:cubicBezTo>
                    <a:pt x="1888" y="381"/>
                    <a:pt x="1888" y="384"/>
                    <a:pt x="1891" y="381"/>
                  </a:cubicBezTo>
                  <a:cubicBezTo>
                    <a:pt x="1894" y="381"/>
                    <a:pt x="1885" y="378"/>
                    <a:pt x="1888" y="375"/>
                  </a:cubicBezTo>
                  <a:cubicBezTo>
                    <a:pt x="1891" y="378"/>
                    <a:pt x="1891" y="378"/>
                    <a:pt x="1891" y="378"/>
                  </a:cubicBezTo>
                  <a:cubicBezTo>
                    <a:pt x="1894" y="378"/>
                    <a:pt x="1891" y="372"/>
                    <a:pt x="1894" y="372"/>
                  </a:cubicBezTo>
                  <a:cubicBezTo>
                    <a:pt x="1894" y="372"/>
                    <a:pt x="1894" y="360"/>
                    <a:pt x="1891" y="360"/>
                  </a:cubicBezTo>
                  <a:cubicBezTo>
                    <a:pt x="1891" y="360"/>
                    <a:pt x="1891" y="357"/>
                    <a:pt x="1894" y="360"/>
                  </a:cubicBezTo>
                  <a:cubicBezTo>
                    <a:pt x="1900" y="363"/>
                    <a:pt x="1906" y="363"/>
                    <a:pt x="1909" y="363"/>
                  </a:cubicBezTo>
                  <a:cubicBezTo>
                    <a:pt x="1912" y="363"/>
                    <a:pt x="1909" y="360"/>
                    <a:pt x="1906" y="360"/>
                  </a:cubicBezTo>
                  <a:cubicBezTo>
                    <a:pt x="1903" y="357"/>
                    <a:pt x="1906" y="357"/>
                    <a:pt x="1909" y="357"/>
                  </a:cubicBezTo>
                  <a:cubicBezTo>
                    <a:pt x="1909" y="360"/>
                    <a:pt x="1912" y="360"/>
                    <a:pt x="1915" y="360"/>
                  </a:cubicBezTo>
                  <a:cubicBezTo>
                    <a:pt x="1915" y="357"/>
                    <a:pt x="1915" y="351"/>
                    <a:pt x="1921" y="351"/>
                  </a:cubicBezTo>
                  <a:cubicBezTo>
                    <a:pt x="1924" y="354"/>
                    <a:pt x="1924" y="351"/>
                    <a:pt x="1921" y="348"/>
                  </a:cubicBezTo>
                  <a:close/>
                  <a:moveTo>
                    <a:pt x="992" y="567"/>
                  </a:moveTo>
                  <a:cubicBezTo>
                    <a:pt x="983" y="576"/>
                    <a:pt x="965" y="579"/>
                    <a:pt x="965" y="585"/>
                  </a:cubicBezTo>
                  <a:cubicBezTo>
                    <a:pt x="965" y="594"/>
                    <a:pt x="941" y="597"/>
                    <a:pt x="938" y="594"/>
                  </a:cubicBezTo>
                  <a:cubicBezTo>
                    <a:pt x="938" y="591"/>
                    <a:pt x="956" y="591"/>
                    <a:pt x="959" y="579"/>
                  </a:cubicBezTo>
                  <a:cubicBezTo>
                    <a:pt x="965" y="570"/>
                    <a:pt x="983" y="564"/>
                    <a:pt x="989" y="552"/>
                  </a:cubicBezTo>
                  <a:cubicBezTo>
                    <a:pt x="995" y="543"/>
                    <a:pt x="1001" y="528"/>
                    <a:pt x="1004" y="528"/>
                  </a:cubicBezTo>
                  <a:cubicBezTo>
                    <a:pt x="1007" y="528"/>
                    <a:pt x="1001" y="561"/>
                    <a:pt x="992" y="567"/>
                  </a:cubicBezTo>
                  <a:close/>
                  <a:moveTo>
                    <a:pt x="1034" y="177"/>
                  </a:moveTo>
                  <a:cubicBezTo>
                    <a:pt x="1034" y="180"/>
                    <a:pt x="1025" y="180"/>
                    <a:pt x="1028" y="183"/>
                  </a:cubicBezTo>
                  <a:cubicBezTo>
                    <a:pt x="1031" y="186"/>
                    <a:pt x="1049" y="183"/>
                    <a:pt x="1049" y="180"/>
                  </a:cubicBezTo>
                  <a:cubicBezTo>
                    <a:pt x="1049" y="174"/>
                    <a:pt x="1037" y="174"/>
                    <a:pt x="1034" y="177"/>
                  </a:cubicBezTo>
                  <a:close/>
                  <a:moveTo>
                    <a:pt x="339" y="24"/>
                  </a:moveTo>
                  <a:cubicBezTo>
                    <a:pt x="345" y="27"/>
                    <a:pt x="327" y="27"/>
                    <a:pt x="324" y="30"/>
                  </a:cubicBezTo>
                  <a:cubicBezTo>
                    <a:pt x="324" y="33"/>
                    <a:pt x="312" y="30"/>
                    <a:pt x="315" y="36"/>
                  </a:cubicBezTo>
                  <a:cubicBezTo>
                    <a:pt x="315" y="39"/>
                    <a:pt x="333" y="39"/>
                    <a:pt x="333" y="36"/>
                  </a:cubicBezTo>
                  <a:cubicBezTo>
                    <a:pt x="333" y="33"/>
                    <a:pt x="342" y="36"/>
                    <a:pt x="342" y="33"/>
                  </a:cubicBezTo>
                  <a:cubicBezTo>
                    <a:pt x="342" y="30"/>
                    <a:pt x="345" y="27"/>
                    <a:pt x="354" y="27"/>
                  </a:cubicBezTo>
                  <a:cubicBezTo>
                    <a:pt x="366" y="24"/>
                    <a:pt x="366" y="21"/>
                    <a:pt x="357" y="18"/>
                  </a:cubicBezTo>
                  <a:cubicBezTo>
                    <a:pt x="348" y="15"/>
                    <a:pt x="336" y="21"/>
                    <a:pt x="339" y="24"/>
                  </a:cubicBezTo>
                  <a:close/>
                  <a:moveTo>
                    <a:pt x="384" y="204"/>
                  </a:moveTo>
                  <a:cubicBezTo>
                    <a:pt x="384" y="207"/>
                    <a:pt x="384" y="210"/>
                    <a:pt x="378" y="210"/>
                  </a:cubicBezTo>
                  <a:cubicBezTo>
                    <a:pt x="369" y="210"/>
                    <a:pt x="381" y="213"/>
                    <a:pt x="381" y="216"/>
                  </a:cubicBezTo>
                  <a:cubicBezTo>
                    <a:pt x="381" y="219"/>
                    <a:pt x="375" y="219"/>
                    <a:pt x="375" y="222"/>
                  </a:cubicBezTo>
                  <a:cubicBezTo>
                    <a:pt x="372" y="228"/>
                    <a:pt x="360" y="222"/>
                    <a:pt x="360" y="231"/>
                  </a:cubicBezTo>
                  <a:cubicBezTo>
                    <a:pt x="357" y="237"/>
                    <a:pt x="366" y="237"/>
                    <a:pt x="372" y="237"/>
                  </a:cubicBezTo>
                  <a:cubicBezTo>
                    <a:pt x="375" y="237"/>
                    <a:pt x="369" y="243"/>
                    <a:pt x="372" y="246"/>
                  </a:cubicBezTo>
                  <a:cubicBezTo>
                    <a:pt x="378" y="249"/>
                    <a:pt x="381" y="249"/>
                    <a:pt x="378" y="243"/>
                  </a:cubicBezTo>
                  <a:cubicBezTo>
                    <a:pt x="375" y="237"/>
                    <a:pt x="390" y="243"/>
                    <a:pt x="387" y="249"/>
                  </a:cubicBezTo>
                  <a:cubicBezTo>
                    <a:pt x="381" y="252"/>
                    <a:pt x="393" y="255"/>
                    <a:pt x="402" y="255"/>
                  </a:cubicBezTo>
                  <a:cubicBezTo>
                    <a:pt x="408" y="258"/>
                    <a:pt x="429" y="261"/>
                    <a:pt x="429" y="255"/>
                  </a:cubicBezTo>
                  <a:cubicBezTo>
                    <a:pt x="429" y="252"/>
                    <a:pt x="423" y="249"/>
                    <a:pt x="414" y="243"/>
                  </a:cubicBezTo>
                  <a:cubicBezTo>
                    <a:pt x="408" y="234"/>
                    <a:pt x="402" y="222"/>
                    <a:pt x="411" y="219"/>
                  </a:cubicBezTo>
                  <a:cubicBezTo>
                    <a:pt x="420" y="213"/>
                    <a:pt x="411" y="210"/>
                    <a:pt x="420" y="204"/>
                  </a:cubicBezTo>
                  <a:cubicBezTo>
                    <a:pt x="429" y="201"/>
                    <a:pt x="423" y="195"/>
                    <a:pt x="429" y="195"/>
                  </a:cubicBezTo>
                  <a:cubicBezTo>
                    <a:pt x="435" y="192"/>
                    <a:pt x="429" y="186"/>
                    <a:pt x="435" y="186"/>
                  </a:cubicBezTo>
                  <a:cubicBezTo>
                    <a:pt x="441" y="186"/>
                    <a:pt x="444" y="177"/>
                    <a:pt x="444" y="174"/>
                  </a:cubicBezTo>
                  <a:cubicBezTo>
                    <a:pt x="441" y="171"/>
                    <a:pt x="450" y="174"/>
                    <a:pt x="453" y="171"/>
                  </a:cubicBezTo>
                  <a:cubicBezTo>
                    <a:pt x="456" y="168"/>
                    <a:pt x="465" y="171"/>
                    <a:pt x="468" y="165"/>
                  </a:cubicBezTo>
                  <a:cubicBezTo>
                    <a:pt x="471" y="159"/>
                    <a:pt x="509" y="147"/>
                    <a:pt x="530" y="141"/>
                  </a:cubicBezTo>
                  <a:cubicBezTo>
                    <a:pt x="551" y="135"/>
                    <a:pt x="566" y="126"/>
                    <a:pt x="560" y="120"/>
                  </a:cubicBezTo>
                  <a:cubicBezTo>
                    <a:pt x="551" y="114"/>
                    <a:pt x="530" y="123"/>
                    <a:pt x="524" y="126"/>
                  </a:cubicBezTo>
                  <a:cubicBezTo>
                    <a:pt x="518" y="132"/>
                    <a:pt x="512" y="129"/>
                    <a:pt x="506" y="132"/>
                  </a:cubicBezTo>
                  <a:cubicBezTo>
                    <a:pt x="500" y="135"/>
                    <a:pt x="488" y="138"/>
                    <a:pt x="485" y="135"/>
                  </a:cubicBezTo>
                  <a:cubicBezTo>
                    <a:pt x="479" y="129"/>
                    <a:pt x="471" y="138"/>
                    <a:pt x="468" y="138"/>
                  </a:cubicBezTo>
                  <a:cubicBezTo>
                    <a:pt x="465" y="138"/>
                    <a:pt x="459" y="141"/>
                    <a:pt x="453" y="141"/>
                  </a:cubicBezTo>
                  <a:cubicBezTo>
                    <a:pt x="450" y="141"/>
                    <a:pt x="441" y="144"/>
                    <a:pt x="438" y="147"/>
                  </a:cubicBezTo>
                  <a:cubicBezTo>
                    <a:pt x="438" y="150"/>
                    <a:pt x="432" y="150"/>
                    <a:pt x="432" y="153"/>
                  </a:cubicBezTo>
                  <a:cubicBezTo>
                    <a:pt x="432" y="156"/>
                    <a:pt x="423" y="159"/>
                    <a:pt x="420" y="156"/>
                  </a:cubicBezTo>
                  <a:cubicBezTo>
                    <a:pt x="417" y="153"/>
                    <a:pt x="414" y="159"/>
                    <a:pt x="417" y="165"/>
                  </a:cubicBezTo>
                  <a:cubicBezTo>
                    <a:pt x="423" y="168"/>
                    <a:pt x="411" y="168"/>
                    <a:pt x="411" y="171"/>
                  </a:cubicBezTo>
                  <a:cubicBezTo>
                    <a:pt x="414" y="174"/>
                    <a:pt x="408" y="177"/>
                    <a:pt x="408" y="180"/>
                  </a:cubicBezTo>
                  <a:cubicBezTo>
                    <a:pt x="411" y="183"/>
                    <a:pt x="405" y="183"/>
                    <a:pt x="399" y="183"/>
                  </a:cubicBezTo>
                  <a:cubicBezTo>
                    <a:pt x="393" y="186"/>
                    <a:pt x="390" y="192"/>
                    <a:pt x="399" y="192"/>
                  </a:cubicBezTo>
                  <a:cubicBezTo>
                    <a:pt x="405" y="192"/>
                    <a:pt x="393" y="192"/>
                    <a:pt x="396" y="198"/>
                  </a:cubicBezTo>
                  <a:cubicBezTo>
                    <a:pt x="396" y="204"/>
                    <a:pt x="384" y="201"/>
                    <a:pt x="384" y="204"/>
                  </a:cubicBezTo>
                  <a:close/>
                  <a:moveTo>
                    <a:pt x="429" y="30"/>
                  </a:moveTo>
                  <a:cubicBezTo>
                    <a:pt x="432" y="33"/>
                    <a:pt x="429" y="33"/>
                    <a:pt x="423" y="33"/>
                  </a:cubicBezTo>
                  <a:cubicBezTo>
                    <a:pt x="414" y="33"/>
                    <a:pt x="411" y="36"/>
                    <a:pt x="414" y="39"/>
                  </a:cubicBezTo>
                  <a:cubicBezTo>
                    <a:pt x="420" y="42"/>
                    <a:pt x="438" y="42"/>
                    <a:pt x="441" y="39"/>
                  </a:cubicBezTo>
                  <a:cubicBezTo>
                    <a:pt x="444" y="33"/>
                    <a:pt x="450" y="36"/>
                    <a:pt x="453" y="33"/>
                  </a:cubicBezTo>
                  <a:cubicBezTo>
                    <a:pt x="453" y="30"/>
                    <a:pt x="429" y="27"/>
                    <a:pt x="429" y="30"/>
                  </a:cubicBezTo>
                  <a:close/>
                  <a:moveTo>
                    <a:pt x="429" y="12"/>
                  </a:moveTo>
                  <a:cubicBezTo>
                    <a:pt x="438" y="12"/>
                    <a:pt x="435" y="6"/>
                    <a:pt x="441" y="9"/>
                  </a:cubicBezTo>
                  <a:cubicBezTo>
                    <a:pt x="444" y="9"/>
                    <a:pt x="453" y="9"/>
                    <a:pt x="450" y="6"/>
                  </a:cubicBezTo>
                  <a:cubicBezTo>
                    <a:pt x="447" y="0"/>
                    <a:pt x="426" y="3"/>
                    <a:pt x="429" y="6"/>
                  </a:cubicBezTo>
                  <a:cubicBezTo>
                    <a:pt x="432" y="9"/>
                    <a:pt x="414" y="6"/>
                    <a:pt x="414" y="9"/>
                  </a:cubicBezTo>
                  <a:cubicBezTo>
                    <a:pt x="414" y="9"/>
                    <a:pt x="420" y="12"/>
                    <a:pt x="429" y="12"/>
                  </a:cubicBezTo>
                  <a:close/>
                  <a:moveTo>
                    <a:pt x="485" y="24"/>
                  </a:moveTo>
                  <a:cubicBezTo>
                    <a:pt x="488" y="21"/>
                    <a:pt x="482" y="21"/>
                    <a:pt x="482" y="18"/>
                  </a:cubicBezTo>
                  <a:cubicBezTo>
                    <a:pt x="482" y="15"/>
                    <a:pt x="462" y="15"/>
                    <a:pt x="465" y="18"/>
                  </a:cubicBezTo>
                  <a:cubicBezTo>
                    <a:pt x="465" y="21"/>
                    <a:pt x="450" y="24"/>
                    <a:pt x="456" y="27"/>
                  </a:cubicBezTo>
                  <a:cubicBezTo>
                    <a:pt x="462" y="33"/>
                    <a:pt x="485" y="27"/>
                    <a:pt x="485" y="24"/>
                  </a:cubicBezTo>
                  <a:close/>
                  <a:moveTo>
                    <a:pt x="387" y="33"/>
                  </a:moveTo>
                  <a:cubicBezTo>
                    <a:pt x="387" y="30"/>
                    <a:pt x="369" y="36"/>
                    <a:pt x="372" y="36"/>
                  </a:cubicBezTo>
                  <a:cubicBezTo>
                    <a:pt x="375" y="36"/>
                    <a:pt x="387" y="39"/>
                    <a:pt x="387" y="33"/>
                  </a:cubicBezTo>
                  <a:close/>
                  <a:moveTo>
                    <a:pt x="435" y="18"/>
                  </a:moveTo>
                  <a:cubicBezTo>
                    <a:pt x="435" y="12"/>
                    <a:pt x="423" y="18"/>
                    <a:pt x="414" y="12"/>
                  </a:cubicBezTo>
                  <a:cubicBezTo>
                    <a:pt x="405" y="9"/>
                    <a:pt x="402" y="9"/>
                    <a:pt x="408" y="15"/>
                  </a:cubicBezTo>
                  <a:cubicBezTo>
                    <a:pt x="411" y="18"/>
                    <a:pt x="393" y="18"/>
                    <a:pt x="396" y="21"/>
                  </a:cubicBezTo>
                  <a:cubicBezTo>
                    <a:pt x="402" y="27"/>
                    <a:pt x="432" y="24"/>
                    <a:pt x="435" y="1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4" name="Freeform 959"/>
            <p:cNvSpPr>
              <a:spLocks/>
            </p:cNvSpPr>
            <p:nvPr userDrawn="1"/>
          </p:nvSpPr>
          <p:spPr bwMode="auto">
            <a:xfrm>
              <a:off x="3695" y="-1245"/>
              <a:ext cx="323" cy="344"/>
            </a:xfrm>
            <a:custGeom>
              <a:avLst/>
              <a:gdLst>
                <a:gd name="T0" fmla="*/ 183 w 207"/>
                <a:gd name="T1" fmla="*/ 103 h 220"/>
                <a:gd name="T2" fmla="*/ 183 w 207"/>
                <a:gd name="T3" fmla="*/ 97 h 220"/>
                <a:gd name="T4" fmla="*/ 180 w 207"/>
                <a:gd name="T5" fmla="*/ 94 h 220"/>
                <a:gd name="T6" fmla="*/ 186 w 207"/>
                <a:gd name="T7" fmla="*/ 82 h 220"/>
                <a:gd name="T8" fmla="*/ 189 w 207"/>
                <a:gd name="T9" fmla="*/ 73 h 220"/>
                <a:gd name="T10" fmla="*/ 195 w 207"/>
                <a:gd name="T11" fmla="*/ 55 h 220"/>
                <a:gd name="T12" fmla="*/ 204 w 207"/>
                <a:gd name="T13" fmla="*/ 46 h 220"/>
                <a:gd name="T14" fmla="*/ 204 w 207"/>
                <a:gd name="T15" fmla="*/ 33 h 220"/>
                <a:gd name="T16" fmla="*/ 204 w 207"/>
                <a:gd name="T17" fmla="*/ 24 h 220"/>
                <a:gd name="T18" fmla="*/ 186 w 207"/>
                <a:gd name="T19" fmla="*/ 15 h 220"/>
                <a:gd name="T20" fmla="*/ 171 w 207"/>
                <a:gd name="T21" fmla="*/ 15 h 220"/>
                <a:gd name="T22" fmla="*/ 165 w 207"/>
                <a:gd name="T23" fmla="*/ 6 h 220"/>
                <a:gd name="T24" fmla="*/ 156 w 207"/>
                <a:gd name="T25" fmla="*/ 6 h 220"/>
                <a:gd name="T26" fmla="*/ 135 w 207"/>
                <a:gd name="T27" fmla="*/ 6 h 220"/>
                <a:gd name="T28" fmla="*/ 114 w 207"/>
                <a:gd name="T29" fmla="*/ 9 h 220"/>
                <a:gd name="T30" fmla="*/ 90 w 207"/>
                <a:gd name="T31" fmla="*/ 15 h 220"/>
                <a:gd name="T32" fmla="*/ 69 w 207"/>
                <a:gd name="T33" fmla="*/ 18 h 220"/>
                <a:gd name="T34" fmla="*/ 66 w 207"/>
                <a:gd name="T35" fmla="*/ 36 h 220"/>
                <a:gd name="T36" fmla="*/ 54 w 207"/>
                <a:gd name="T37" fmla="*/ 73 h 220"/>
                <a:gd name="T38" fmla="*/ 42 w 207"/>
                <a:gd name="T39" fmla="*/ 103 h 220"/>
                <a:gd name="T40" fmla="*/ 33 w 207"/>
                <a:gd name="T41" fmla="*/ 118 h 220"/>
                <a:gd name="T42" fmla="*/ 18 w 207"/>
                <a:gd name="T43" fmla="*/ 118 h 220"/>
                <a:gd name="T44" fmla="*/ 0 w 207"/>
                <a:gd name="T45" fmla="*/ 124 h 220"/>
                <a:gd name="T46" fmla="*/ 3 w 207"/>
                <a:gd name="T47" fmla="*/ 136 h 220"/>
                <a:gd name="T48" fmla="*/ 48 w 207"/>
                <a:gd name="T49" fmla="*/ 133 h 220"/>
                <a:gd name="T50" fmla="*/ 54 w 207"/>
                <a:gd name="T51" fmla="*/ 151 h 220"/>
                <a:gd name="T52" fmla="*/ 75 w 207"/>
                <a:gd name="T53" fmla="*/ 157 h 220"/>
                <a:gd name="T54" fmla="*/ 90 w 207"/>
                <a:gd name="T55" fmla="*/ 148 h 220"/>
                <a:gd name="T56" fmla="*/ 102 w 207"/>
                <a:gd name="T57" fmla="*/ 151 h 220"/>
                <a:gd name="T58" fmla="*/ 102 w 207"/>
                <a:gd name="T59" fmla="*/ 175 h 220"/>
                <a:gd name="T60" fmla="*/ 108 w 207"/>
                <a:gd name="T61" fmla="*/ 193 h 220"/>
                <a:gd name="T62" fmla="*/ 123 w 207"/>
                <a:gd name="T63" fmla="*/ 190 h 220"/>
                <a:gd name="T64" fmla="*/ 129 w 207"/>
                <a:gd name="T65" fmla="*/ 193 h 220"/>
                <a:gd name="T66" fmla="*/ 141 w 207"/>
                <a:gd name="T67" fmla="*/ 196 h 220"/>
                <a:gd name="T68" fmla="*/ 153 w 207"/>
                <a:gd name="T69" fmla="*/ 202 h 220"/>
                <a:gd name="T70" fmla="*/ 162 w 207"/>
                <a:gd name="T71" fmla="*/ 199 h 220"/>
                <a:gd name="T72" fmla="*/ 177 w 207"/>
                <a:gd name="T73" fmla="*/ 208 h 220"/>
                <a:gd name="T74" fmla="*/ 189 w 207"/>
                <a:gd name="T75" fmla="*/ 217 h 220"/>
                <a:gd name="T76" fmla="*/ 189 w 207"/>
                <a:gd name="T77" fmla="*/ 205 h 220"/>
                <a:gd name="T78" fmla="*/ 174 w 207"/>
                <a:gd name="T79" fmla="*/ 199 h 220"/>
                <a:gd name="T80" fmla="*/ 177 w 207"/>
                <a:gd name="T81" fmla="*/ 175 h 220"/>
                <a:gd name="T82" fmla="*/ 183 w 207"/>
                <a:gd name="T83" fmla="*/ 163 h 220"/>
                <a:gd name="T84" fmla="*/ 195 w 207"/>
                <a:gd name="T85" fmla="*/ 160 h 220"/>
                <a:gd name="T86" fmla="*/ 189 w 207"/>
                <a:gd name="T87" fmla="*/ 14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7" h="220">
                  <a:moveTo>
                    <a:pt x="189" y="145"/>
                  </a:moveTo>
                  <a:cubicBezTo>
                    <a:pt x="183" y="142"/>
                    <a:pt x="180" y="106"/>
                    <a:pt x="183" y="103"/>
                  </a:cubicBezTo>
                  <a:cubicBezTo>
                    <a:pt x="183" y="103"/>
                    <a:pt x="186" y="103"/>
                    <a:pt x="186" y="106"/>
                  </a:cubicBezTo>
                  <a:cubicBezTo>
                    <a:pt x="183" y="97"/>
                    <a:pt x="183" y="97"/>
                    <a:pt x="183" y="97"/>
                  </a:cubicBezTo>
                  <a:cubicBezTo>
                    <a:pt x="183" y="97"/>
                    <a:pt x="183" y="97"/>
                    <a:pt x="183" y="97"/>
                  </a:cubicBezTo>
                  <a:cubicBezTo>
                    <a:pt x="180" y="94"/>
                    <a:pt x="180" y="94"/>
                    <a:pt x="180" y="94"/>
                  </a:cubicBezTo>
                  <a:cubicBezTo>
                    <a:pt x="180" y="91"/>
                    <a:pt x="183" y="91"/>
                    <a:pt x="183" y="91"/>
                  </a:cubicBezTo>
                  <a:cubicBezTo>
                    <a:pt x="183" y="91"/>
                    <a:pt x="183" y="85"/>
                    <a:pt x="186" y="82"/>
                  </a:cubicBezTo>
                  <a:cubicBezTo>
                    <a:pt x="186" y="82"/>
                    <a:pt x="186" y="82"/>
                    <a:pt x="189" y="82"/>
                  </a:cubicBezTo>
                  <a:cubicBezTo>
                    <a:pt x="189" y="79"/>
                    <a:pt x="189" y="76"/>
                    <a:pt x="189" y="73"/>
                  </a:cubicBezTo>
                  <a:cubicBezTo>
                    <a:pt x="189" y="70"/>
                    <a:pt x="189" y="67"/>
                    <a:pt x="192" y="64"/>
                  </a:cubicBezTo>
                  <a:cubicBezTo>
                    <a:pt x="192" y="61"/>
                    <a:pt x="192" y="58"/>
                    <a:pt x="195" y="55"/>
                  </a:cubicBezTo>
                  <a:cubicBezTo>
                    <a:pt x="195" y="55"/>
                    <a:pt x="195" y="49"/>
                    <a:pt x="198" y="49"/>
                  </a:cubicBezTo>
                  <a:cubicBezTo>
                    <a:pt x="201" y="49"/>
                    <a:pt x="204" y="49"/>
                    <a:pt x="204" y="46"/>
                  </a:cubicBezTo>
                  <a:cubicBezTo>
                    <a:pt x="204" y="46"/>
                    <a:pt x="207" y="43"/>
                    <a:pt x="207" y="39"/>
                  </a:cubicBezTo>
                  <a:cubicBezTo>
                    <a:pt x="207" y="36"/>
                    <a:pt x="204" y="36"/>
                    <a:pt x="204" y="33"/>
                  </a:cubicBezTo>
                  <a:cubicBezTo>
                    <a:pt x="204" y="30"/>
                    <a:pt x="204" y="24"/>
                    <a:pt x="204" y="24"/>
                  </a:cubicBezTo>
                  <a:cubicBezTo>
                    <a:pt x="204" y="24"/>
                    <a:pt x="204" y="24"/>
                    <a:pt x="204" y="24"/>
                  </a:cubicBezTo>
                  <a:cubicBezTo>
                    <a:pt x="198" y="18"/>
                    <a:pt x="192" y="15"/>
                    <a:pt x="192" y="12"/>
                  </a:cubicBezTo>
                  <a:cubicBezTo>
                    <a:pt x="189" y="12"/>
                    <a:pt x="186" y="15"/>
                    <a:pt x="186" y="15"/>
                  </a:cubicBezTo>
                  <a:cubicBezTo>
                    <a:pt x="186" y="15"/>
                    <a:pt x="183" y="12"/>
                    <a:pt x="180" y="15"/>
                  </a:cubicBezTo>
                  <a:cubicBezTo>
                    <a:pt x="177" y="15"/>
                    <a:pt x="171" y="15"/>
                    <a:pt x="171" y="15"/>
                  </a:cubicBezTo>
                  <a:cubicBezTo>
                    <a:pt x="171" y="15"/>
                    <a:pt x="168" y="12"/>
                    <a:pt x="168" y="9"/>
                  </a:cubicBezTo>
                  <a:cubicBezTo>
                    <a:pt x="168" y="6"/>
                    <a:pt x="165" y="6"/>
                    <a:pt x="165" y="6"/>
                  </a:cubicBezTo>
                  <a:cubicBezTo>
                    <a:pt x="165" y="6"/>
                    <a:pt x="165" y="6"/>
                    <a:pt x="165" y="6"/>
                  </a:cubicBezTo>
                  <a:cubicBezTo>
                    <a:pt x="156" y="6"/>
                    <a:pt x="156" y="6"/>
                    <a:pt x="156" y="6"/>
                  </a:cubicBezTo>
                  <a:cubicBezTo>
                    <a:pt x="156" y="6"/>
                    <a:pt x="147" y="0"/>
                    <a:pt x="144" y="6"/>
                  </a:cubicBezTo>
                  <a:cubicBezTo>
                    <a:pt x="141" y="9"/>
                    <a:pt x="138" y="6"/>
                    <a:pt x="135" y="6"/>
                  </a:cubicBezTo>
                  <a:cubicBezTo>
                    <a:pt x="129" y="6"/>
                    <a:pt x="126" y="9"/>
                    <a:pt x="123" y="9"/>
                  </a:cubicBezTo>
                  <a:cubicBezTo>
                    <a:pt x="120" y="12"/>
                    <a:pt x="117" y="9"/>
                    <a:pt x="114" y="9"/>
                  </a:cubicBezTo>
                  <a:cubicBezTo>
                    <a:pt x="111" y="12"/>
                    <a:pt x="111" y="18"/>
                    <a:pt x="111" y="18"/>
                  </a:cubicBezTo>
                  <a:cubicBezTo>
                    <a:pt x="90" y="15"/>
                    <a:pt x="90" y="15"/>
                    <a:pt x="90" y="15"/>
                  </a:cubicBezTo>
                  <a:cubicBezTo>
                    <a:pt x="90" y="15"/>
                    <a:pt x="84" y="9"/>
                    <a:pt x="81" y="9"/>
                  </a:cubicBezTo>
                  <a:cubicBezTo>
                    <a:pt x="75" y="9"/>
                    <a:pt x="69" y="18"/>
                    <a:pt x="69" y="18"/>
                  </a:cubicBezTo>
                  <a:cubicBezTo>
                    <a:pt x="69" y="24"/>
                    <a:pt x="69" y="24"/>
                    <a:pt x="69" y="24"/>
                  </a:cubicBezTo>
                  <a:cubicBezTo>
                    <a:pt x="69" y="30"/>
                    <a:pt x="66" y="33"/>
                    <a:pt x="66" y="36"/>
                  </a:cubicBezTo>
                  <a:cubicBezTo>
                    <a:pt x="63" y="39"/>
                    <a:pt x="63" y="43"/>
                    <a:pt x="63" y="49"/>
                  </a:cubicBezTo>
                  <a:cubicBezTo>
                    <a:pt x="63" y="55"/>
                    <a:pt x="54" y="67"/>
                    <a:pt x="54" y="73"/>
                  </a:cubicBezTo>
                  <a:cubicBezTo>
                    <a:pt x="54" y="79"/>
                    <a:pt x="45" y="82"/>
                    <a:pt x="45" y="85"/>
                  </a:cubicBezTo>
                  <a:cubicBezTo>
                    <a:pt x="45" y="88"/>
                    <a:pt x="42" y="97"/>
                    <a:pt x="42" y="103"/>
                  </a:cubicBezTo>
                  <a:cubicBezTo>
                    <a:pt x="42" y="112"/>
                    <a:pt x="39" y="106"/>
                    <a:pt x="39" y="112"/>
                  </a:cubicBezTo>
                  <a:cubicBezTo>
                    <a:pt x="39" y="118"/>
                    <a:pt x="36" y="115"/>
                    <a:pt x="33" y="118"/>
                  </a:cubicBezTo>
                  <a:cubicBezTo>
                    <a:pt x="27" y="121"/>
                    <a:pt x="27" y="124"/>
                    <a:pt x="27" y="118"/>
                  </a:cubicBezTo>
                  <a:cubicBezTo>
                    <a:pt x="27" y="115"/>
                    <a:pt x="21" y="115"/>
                    <a:pt x="18" y="118"/>
                  </a:cubicBezTo>
                  <a:cubicBezTo>
                    <a:pt x="15" y="121"/>
                    <a:pt x="12" y="118"/>
                    <a:pt x="9" y="118"/>
                  </a:cubicBezTo>
                  <a:cubicBezTo>
                    <a:pt x="9" y="118"/>
                    <a:pt x="3" y="121"/>
                    <a:pt x="0" y="124"/>
                  </a:cubicBezTo>
                  <a:cubicBezTo>
                    <a:pt x="3" y="127"/>
                    <a:pt x="3" y="133"/>
                    <a:pt x="3" y="136"/>
                  </a:cubicBezTo>
                  <a:cubicBezTo>
                    <a:pt x="3" y="136"/>
                    <a:pt x="3" y="136"/>
                    <a:pt x="3" y="136"/>
                  </a:cubicBezTo>
                  <a:cubicBezTo>
                    <a:pt x="6" y="136"/>
                    <a:pt x="9" y="133"/>
                    <a:pt x="9" y="133"/>
                  </a:cubicBezTo>
                  <a:cubicBezTo>
                    <a:pt x="15" y="133"/>
                    <a:pt x="48" y="133"/>
                    <a:pt x="48" y="133"/>
                  </a:cubicBezTo>
                  <a:cubicBezTo>
                    <a:pt x="48" y="133"/>
                    <a:pt x="51" y="139"/>
                    <a:pt x="48" y="142"/>
                  </a:cubicBezTo>
                  <a:cubicBezTo>
                    <a:pt x="48" y="148"/>
                    <a:pt x="51" y="145"/>
                    <a:pt x="54" y="151"/>
                  </a:cubicBezTo>
                  <a:cubicBezTo>
                    <a:pt x="57" y="157"/>
                    <a:pt x="57" y="160"/>
                    <a:pt x="63" y="160"/>
                  </a:cubicBezTo>
                  <a:cubicBezTo>
                    <a:pt x="69" y="157"/>
                    <a:pt x="75" y="157"/>
                    <a:pt x="75" y="157"/>
                  </a:cubicBezTo>
                  <a:cubicBezTo>
                    <a:pt x="78" y="157"/>
                    <a:pt x="78" y="148"/>
                    <a:pt x="81" y="148"/>
                  </a:cubicBezTo>
                  <a:cubicBezTo>
                    <a:pt x="84" y="145"/>
                    <a:pt x="90" y="148"/>
                    <a:pt x="90" y="148"/>
                  </a:cubicBezTo>
                  <a:cubicBezTo>
                    <a:pt x="90" y="148"/>
                    <a:pt x="90" y="148"/>
                    <a:pt x="96" y="148"/>
                  </a:cubicBezTo>
                  <a:cubicBezTo>
                    <a:pt x="99" y="148"/>
                    <a:pt x="102" y="148"/>
                    <a:pt x="102" y="151"/>
                  </a:cubicBezTo>
                  <a:cubicBezTo>
                    <a:pt x="102" y="154"/>
                    <a:pt x="102" y="157"/>
                    <a:pt x="105" y="160"/>
                  </a:cubicBezTo>
                  <a:cubicBezTo>
                    <a:pt x="105" y="160"/>
                    <a:pt x="99" y="175"/>
                    <a:pt x="102" y="175"/>
                  </a:cubicBezTo>
                  <a:cubicBezTo>
                    <a:pt x="105" y="178"/>
                    <a:pt x="108" y="181"/>
                    <a:pt x="108" y="184"/>
                  </a:cubicBezTo>
                  <a:cubicBezTo>
                    <a:pt x="108" y="187"/>
                    <a:pt x="105" y="193"/>
                    <a:pt x="108" y="193"/>
                  </a:cubicBezTo>
                  <a:cubicBezTo>
                    <a:pt x="111" y="193"/>
                    <a:pt x="111" y="190"/>
                    <a:pt x="114" y="190"/>
                  </a:cubicBezTo>
                  <a:cubicBezTo>
                    <a:pt x="117" y="190"/>
                    <a:pt x="120" y="190"/>
                    <a:pt x="123" y="190"/>
                  </a:cubicBezTo>
                  <a:cubicBezTo>
                    <a:pt x="126" y="190"/>
                    <a:pt x="126" y="190"/>
                    <a:pt x="126" y="190"/>
                  </a:cubicBezTo>
                  <a:cubicBezTo>
                    <a:pt x="129" y="190"/>
                    <a:pt x="129" y="193"/>
                    <a:pt x="129" y="193"/>
                  </a:cubicBezTo>
                  <a:cubicBezTo>
                    <a:pt x="132" y="196"/>
                    <a:pt x="132" y="196"/>
                    <a:pt x="132" y="196"/>
                  </a:cubicBezTo>
                  <a:cubicBezTo>
                    <a:pt x="135" y="193"/>
                    <a:pt x="141" y="193"/>
                    <a:pt x="141" y="196"/>
                  </a:cubicBezTo>
                  <a:cubicBezTo>
                    <a:pt x="141" y="196"/>
                    <a:pt x="141" y="202"/>
                    <a:pt x="144" y="199"/>
                  </a:cubicBezTo>
                  <a:cubicBezTo>
                    <a:pt x="147" y="199"/>
                    <a:pt x="150" y="202"/>
                    <a:pt x="153" y="202"/>
                  </a:cubicBezTo>
                  <a:cubicBezTo>
                    <a:pt x="156" y="202"/>
                    <a:pt x="159" y="202"/>
                    <a:pt x="159" y="202"/>
                  </a:cubicBezTo>
                  <a:cubicBezTo>
                    <a:pt x="159" y="199"/>
                    <a:pt x="162" y="199"/>
                    <a:pt x="162" y="199"/>
                  </a:cubicBezTo>
                  <a:cubicBezTo>
                    <a:pt x="162" y="202"/>
                    <a:pt x="165" y="205"/>
                    <a:pt x="168" y="205"/>
                  </a:cubicBezTo>
                  <a:cubicBezTo>
                    <a:pt x="171" y="205"/>
                    <a:pt x="177" y="205"/>
                    <a:pt x="177" y="208"/>
                  </a:cubicBezTo>
                  <a:cubicBezTo>
                    <a:pt x="177" y="211"/>
                    <a:pt x="180" y="217"/>
                    <a:pt x="180" y="217"/>
                  </a:cubicBezTo>
                  <a:cubicBezTo>
                    <a:pt x="183" y="220"/>
                    <a:pt x="189" y="217"/>
                    <a:pt x="189" y="217"/>
                  </a:cubicBezTo>
                  <a:cubicBezTo>
                    <a:pt x="189" y="217"/>
                    <a:pt x="192" y="217"/>
                    <a:pt x="192" y="214"/>
                  </a:cubicBezTo>
                  <a:cubicBezTo>
                    <a:pt x="192" y="208"/>
                    <a:pt x="192" y="205"/>
                    <a:pt x="189" y="205"/>
                  </a:cubicBezTo>
                  <a:cubicBezTo>
                    <a:pt x="189" y="205"/>
                    <a:pt x="186" y="208"/>
                    <a:pt x="183" y="208"/>
                  </a:cubicBezTo>
                  <a:cubicBezTo>
                    <a:pt x="180" y="205"/>
                    <a:pt x="177" y="199"/>
                    <a:pt x="174" y="199"/>
                  </a:cubicBezTo>
                  <a:cubicBezTo>
                    <a:pt x="174" y="196"/>
                    <a:pt x="177" y="190"/>
                    <a:pt x="177" y="187"/>
                  </a:cubicBezTo>
                  <a:cubicBezTo>
                    <a:pt x="177" y="184"/>
                    <a:pt x="180" y="175"/>
                    <a:pt x="177" y="175"/>
                  </a:cubicBezTo>
                  <a:cubicBezTo>
                    <a:pt x="177" y="175"/>
                    <a:pt x="177" y="172"/>
                    <a:pt x="180" y="169"/>
                  </a:cubicBezTo>
                  <a:cubicBezTo>
                    <a:pt x="183" y="166"/>
                    <a:pt x="177" y="163"/>
                    <a:pt x="183" y="163"/>
                  </a:cubicBezTo>
                  <a:cubicBezTo>
                    <a:pt x="186" y="163"/>
                    <a:pt x="195" y="163"/>
                    <a:pt x="195" y="160"/>
                  </a:cubicBezTo>
                  <a:cubicBezTo>
                    <a:pt x="195" y="160"/>
                    <a:pt x="195" y="160"/>
                    <a:pt x="195" y="160"/>
                  </a:cubicBezTo>
                  <a:cubicBezTo>
                    <a:pt x="198" y="157"/>
                    <a:pt x="198" y="157"/>
                    <a:pt x="198" y="157"/>
                  </a:cubicBezTo>
                  <a:cubicBezTo>
                    <a:pt x="195" y="154"/>
                    <a:pt x="192" y="148"/>
                    <a:pt x="189" y="1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5" name="Freeform 960"/>
            <p:cNvSpPr>
              <a:spLocks/>
            </p:cNvSpPr>
            <p:nvPr userDrawn="1"/>
          </p:nvSpPr>
          <p:spPr bwMode="auto">
            <a:xfrm>
              <a:off x="3695" y="-1245"/>
              <a:ext cx="323" cy="344"/>
            </a:xfrm>
            <a:custGeom>
              <a:avLst/>
              <a:gdLst>
                <a:gd name="T0" fmla="*/ 183 w 207"/>
                <a:gd name="T1" fmla="*/ 103 h 220"/>
                <a:gd name="T2" fmla="*/ 183 w 207"/>
                <a:gd name="T3" fmla="*/ 97 h 220"/>
                <a:gd name="T4" fmla="*/ 180 w 207"/>
                <a:gd name="T5" fmla="*/ 94 h 220"/>
                <a:gd name="T6" fmla="*/ 186 w 207"/>
                <a:gd name="T7" fmla="*/ 82 h 220"/>
                <a:gd name="T8" fmla="*/ 189 w 207"/>
                <a:gd name="T9" fmla="*/ 73 h 220"/>
                <a:gd name="T10" fmla="*/ 195 w 207"/>
                <a:gd name="T11" fmla="*/ 55 h 220"/>
                <a:gd name="T12" fmla="*/ 204 w 207"/>
                <a:gd name="T13" fmla="*/ 46 h 220"/>
                <a:gd name="T14" fmla="*/ 204 w 207"/>
                <a:gd name="T15" fmla="*/ 33 h 220"/>
                <a:gd name="T16" fmla="*/ 204 w 207"/>
                <a:gd name="T17" fmla="*/ 24 h 220"/>
                <a:gd name="T18" fmla="*/ 186 w 207"/>
                <a:gd name="T19" fmla="*/ 15 h 220"/>
                <a:gd name="T20" fmla="*/ 171 w 207"/>
                <a:gd name="T21" fmla="*/ 15 h 220"/>
                <a:gd name="T22" fmla="*/ 165 w 207"/>
                <a:gd name="T23" fmla="*/ 6 h 220"/>
                <a:gd name="T24" fmla="*/ 156 w 207"/>
                <a:gd name="T25" fmla="*/ 6 h 220"/>
                <a:gd name="T26" fmla="*/ 135 w 207"/>
                <a:gd name="T27" fmla="*/ 6 h 220"/>
                <a:gd name="T28" fmla="*/ 114 w 207"/>
                <a:gd name="T29" fmla="*/ 9 h 220"/>
                <a:gd name="T30" fmla="*/ 90 w 207"/>
                <a:gd name="T31" fmla="*/ 15 h 220"/>
                <a:gd name="T32" fmla="*/ 69 w 207"/>
                <a:gd name="T33" fmla="*/ 18 h 220"/>
                <a:gd name="T34" fmla="*/ 66 w 207"/>
                <a:gd name="T35" fmla="*/ 36 h 220"/>
                <a:gd name="T36" fmla="*/ 54 w 207"/>
                <a:gd name="T37" fmla="*/ 73 h 220"/>
                <a:gd name="T38" fmla="*/ 42 w 207"/>
                <a:gd name="T39" fmla="*/ 103 h 220"/>
                <a:gd name="T40" fmla="*/ 33 w 207"/>
                <a:gd name="T41" fmla="*/ 118 h 220"/>
                <a:gd name="T42" fmla="*/ 18 w 207"/>
                <a:gd name="T43" fmla="*/ 118 h 220"/>
                <a:gd name="T44" fmla="*/ 0 w 207"/>
                <a:gd name="T45" fmla="*/ 124 h 220"/>
                <a:gd name="T46" fmla="*/ 3 w 207"/>
                <a:gd name="T47" fmla="*/ 136 h 220"/>
                <a:gd name="T48" fmla="*/ 48 w 207"/>
                <a:gd name="T49" fmla="*/ 133 h 220"/>
                <a:gd name="T50" fmla="*/ 54 w 207"/>
                <a:gd name="T51" fmla="*/ 151 h 220"/>
                <a:gd name="T52" fmla="*/ 75 w 207"/>
                <a:gd name="T53" fmla="*/ 157 h 220"/>
                <a:gd name="T54" fmla="*/ 90 w 207"/>
                <a:gd name="T55" fmla="*/ 148 h 220"/>
                <a:gd name="T56" fmla="*/ 102 w 207"/>
                <a:gd name="T57" fmla="*/ 151 h 220"/>
                <a:gd name="T58" fmla="*/ 102 w 207"/>
                <a:gd name="T59" fmla="*/ 175 h 220"/>
                <a:gd name="T60" fmla="*/ 108 w 207"/>
                <a:gd name="T61" fmla="*/ 193 h 220"/>
                <a:gd name="T62" fmla="*/ 123 w 207"/>
                <a:gd name="T63" fmla="*/ 190 h 220"/>
                <a:gd name="T64" fmla="*/ 129 w 207"/>
                <a:gd name="T65" fmla="*/ 193 h 220"/>
                <a:gd name="T66" fmla="*/ 141 w 207"/>
                <a:gd name="T67" fmla="*/ 196 h 220"/>
                <a:gd name="T68" fmla="*/ 153 w 207"/>
                <a:gd name="T69" fmla="*/ 202 h 220"/>
                <a:gd name="T70" fmla="*/ 162 w 207"/>
                <a:gd name="T71" fmla="*/ 199 h 220"/>
                <a:gd name="T72" fmla="*/ 177 w 207"/>
                <a:gd name="T73" fmla="*/ 208 h 220"/>
                <a:gd name="T74" fmla="*/ 189 w 207"/>
                <a:gd name="T75" fmla="*/ 217 h 220"/>
                <a:gd name="T76" fmla="*/ 189 w 207"/>
                <a:gd name="T77" fmla="*/ 205 h 220"/>
                <a:gd name="T78" fmla="*/ 174 w 207"/>
                <a:gd name="T79" fmla="*/ 199 h 220"/>
                <a:gd name="T80" fmla="*/ 177 w 207"/>
                <a:gd name="T81" fmla="*/ 175 h 220"/>
                <a:gd name="T82" fmla="*/ 183 w 207"/>
                <a:gd name="T83" fmla="*/ 163 h 220"/>
                <a:gd name="T84" fmla="*/ 195 w 207"/>
                <a:gd name="T85" fmla="*/ 160 h 220"/>
                <a:gd name="T86" fmla="*/ 189 w 207"/>
                <a:gd name="T87" fmla="*/ 14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7" h="220">
                  <a:moveTo>
                    <a:pt x="189" y="145"/>
                  </a:moveTo>
                  <a:cubicBezTo>
                    <a:pt x="183" y="142"/>
                    <a:pt x="180" y="106"/>
                    <a:pt x="183" y="103"/>
                  </a:cubicBezTo>
                  <a:cubicBezTo>
                    <a:pt x="183" y="103"/>
                    <a:pt x="186" y="103"/>
                    <a:pt x="186" y="106"/>
                  </a:cubicBezTo>
                  <a:cubicBezTo>
                    <a:pt x="183" y="97"/>
                    <a:pt x="183" y="97"/>
                    <a:pt x="183" y="97"/>
                  </a:cubicBezTo>
                  <a:cubicBezTo>
                    <a:pt x="183" y="97"/>
                    <a:pt x="183" y="97"/>
                    <a:pt x="183" y="97"/>
                  </a:cubicBezTo>
                  <a:cubicBezTo>
                    <a:pt x="180" y="94"/>
                    <a:pt x="180" y="94"/>
                    <a:pt x="180" y="94"/>
                  </a:cubicBezTo>
                  <a:cubicBezTo>
                    <a:pt x="180" y="91"/>
                    <a:pt x="183" y="91"/>
                    <a:pt x="183" y="91"/>
                  </a:cubicBezTo>
                  <a:cubicBezTo>
                    <a:pt x="183" y="91"/>
                    <a:pt x="183" y="85"/>
                    <a:pt x="186" y="82"/>
                  </a:cubicBezTo>
                  <a:cubicBezTo>
                    <a:pt x="186" y="82"/>
                    <a:pt x="186" y="82"/>
                    <a:pt x="189" y="82"/>
                  </a:cubicBezTo>
                  <a:cubicBezTo>
                    <a:pt x="189" y="79"/>
                    <a:pt x="189" y="76"/>
                    <a:pt x="189" y="73"/>
                  </a:cubicBezTo>
                  <a:cubicBezTo>
                    <a:pt x="189" y="70"/>
                    <a:pt x="189" y="67"/>
                    <a:pt x="192" y="64"/>
                  </a:cubicBezTo>
                  <a:cubicBezTo>
                    <a:pt x="192" y="61"/>
                    <a:pt x="192" y="58"/>
                    <a:pt x="195" y="55"/>
                  </a:cubicBezTo>
                  <a:cubicBezTo>
                    <a:pt x="195" y="55"/>
                    <a:pt x="195" y="49"/>
                    <a:pt x="198" y="49"/>
                  </a:cubicBezTo>
                  <a:cubicBezTo>
                    <a:pt x="201" y="49"/>
                    <a:pt x="204" y="49"/>
                    <a:pt x="204" y="46"/>
                  </a:cubicBezTo>
                  <a:cubicBezTo>
                    <a:pt x="204" y="46"/>
                    <a:pt x="207" y="43"/>
                    <a:pt x="207" y="39"/>
                  </a:cubicBezTo>
                  <a:cubicBezTo>
                    <a:pt x="207" y="36"/>
                    <a:pt x="204" y="36"/>
                    <a:pt x="204" y="33"/>
                  </a:cubicBezTo>
                  <a:cubicBezTo>
                    <a:pt x="204" y="30"/>
                    <a:pt x="204" y="24"/>
                    <a:pt x="204" y="24"/>
                  </a:cubicBezTo>
                  <a:cubicBezTo>
                    <a:pt x="204" y="24"/>
                    <a:pt x="204" y="24"/>
                    <a:pt x="204" y="24"/>
                  </a:cubicBezTo>
                  <a:cubicBezTo>
                    <a:pt x="198" y="18"/>
                    <a:pt x="192" y="15"/>
                    <a:pt x="192" y="12"/>
                  </a:cubicBezTo>
                  <a:cubicBezTo>
                    <a:pt x="189" y="12"/>
                    <a:pt x="186" y="15"/>
                    <a:pt x="186" y="15"/>
                  </a:cubicBezTo>
                  <a:cubicBezTo>
                    <a:pt x="186" y="15"/>
                    <a:pt x="183" y="12"/>
                    <a:pt x="180" y="15"/>
                  </a:cubicBezTo>
                  <a:cubicBezTo>
                    <a:pt x="177" y="15"/>
                    <a:pt x="171" y="15"/>
                    <a:pt x="171" y="15"/>
                  </a:cubicBezTo>
                  <a:cubicBezTo>
                    <a:pt x="171" y="15"/>
                    <a:pt x="168" y="12"/>
                    <a:pt x="168" y="9"/>
                  </a:cubicBezTo>
                  <a:cubicBezTo>
                    <a:pt x="168" y="6"/>
                    <a:pt x="165" y="6"/>
                    <a:pt x="165" y="6"/>
                  </a:cubicBezTo>
                  <a:cubicBezTo>
                    <a:pt x="165" y="6"/>
                    <a:pt x="165" y="6"/>
                    <a:pt x="165" y="6"/>
                  </a:cubicBezTo>
                  <a:cubicBezTo>
                    <a:pt x="156" y="6"/>
                    <a:pt x="156" y="6"/>
                    <a:pt x="156" y="6"/>
                  </a:cubicBezTo>
                  <a:cubicBezTo>
                    <a:pt x="156" y="6"/>
                    <a:pt x="147" y="0"/>
                    <a:pt x="144" y="6"/>
                  </a:cubicBezTo>
                  <a:cubicBezTo>
                    <a:pt x="141" y="9"/>
                    <a:pt x="138" y="6"/>
                    <a:pt x="135" y="6"/>
                  </a:cubicBezTo>
                  <a:cubicBezTo>
                    <a:pt x="129" y="6"/>
                    <a:pt x="126" y="9"/>
                    <a:pt x="123" y="9"/>
                  </a:cubicBezTo>
                  <a:cubicBezTo>
                    <a:pt x="120" y="12"/>
                    <a:pt x="117" y="9"/>
                    <a:pt x="114" y="9"/>
                  </a:cubicBezTo>
                  <a:cubicBezTo>
                    <a:pt x="111" y="12"/>
                    <a:pt x="111" y="18"/>
                    <a:pt x="111" y="18"/>
                  </a:cubicBezTo>
                  <a:cubicBezTo>
                    <a:pt x="90" y="15"/>
                    <a:pt x="90" y="15"/>
                    <a:pt x="90" y="15"/>
                  </a:cubicBezTo>
                  <a:cubicBezTo>
                    <a:pt x="90" y="15"/>
                    <a:pt x="84" y="9"/>
                    <a:pt x="81" y="9"/>
                  </a:cubicBezTo>
                  <a:cubicBezTo>
                    <a:pt x="75" y="9"/>
                    <a:pt x="69" y="18"/>
                    <a:pt x="69" y="18"/>
                  </a:cubicBezTo>
                  <a:cubicBezTo>
                    <a:pt x="69" y="24"/>
                    <a:pt x="69" y="24"/>
                    <a:pt x="69" y="24"/>
                  </a:cubicBezTo>
                  <a:cubicBezTo>
                    <a:pt x="69" y="30"/>
                    <a:pt x="66" y="33"/>
                    <a:pt x="66" y="36"/>
                  </a:cubicBezTo>
                  <a:cubicBezTo>
                    <a:pt x="63" y="39"/>
                    <a:pt x="63" y="43"/>
                    <a:pt x="63" y="49"/>
                  </a:cubicBezTo>
                  <a:cubicBezTo>
                    <a:pt x="63" y="55"/>
                    <a:pt x="54" y="67"/>
                    <a:pt x="54" y="73"/>
                  </a:cubicBezTo>
                  <a:cubicBezTo>
                    <a:pt x="54" y="79"/>
                    <a:pt x="45" y="82"/>
                    <a:pt x="45" y="85"/>
                  </a:cubicBezTo>
                  <a:cubicBezTo>
                    <a:pt x="45" y="88"/>
                    <a:pt x="42" y="97"/>
                    <a:pt x="42" y="103"/>
                  </a:cubicBezTo>
                  <a:cubicBezTo>
                    <a:pt x="42" y="112"/>
                    <a:pt x="39" y="106"/>
                    <a:pt x="39" y="112"/>
                  </a:cubicBezTo>
                  <a:cubicBezTo>
                    <a:pt x="39" y="118"/>
                    <a:pt x="36" y="115"/>
                    <a:pt x="33" y="118"/>
                  </a:cubicBezTo>
                  <a:cubicBezTo>
                    <a:pt x="27" y="121"/>
                    <a:pt x="27" y="124"/>
                    <a:pt x="27" y="118"/>
                  </a:cubicBezTo>
                  <a:cubicBezTo>
                    <a:pt x="27" y="115"/>
                    <a:pt x="21" y="115"/>
                    <a:pt x="18" y="118"/>
                  </a:cubicBezTo>
                  <a:cubicBezTo>
                    <a:pt x="15" y="121"/>
                    <a:pt x="12" y="118"/>
                    <a:pt x="9" y="118"/>
                  </a:cubicBezTo>
                  <a:cubicBezTo>
                    <a:pt x="9" y="118"/>
                    <a:pt x="3" y="121"/>
                    <a:pt x="0" y="124"/>
                  </a:cubicBezTo>
                  <a:cubicBezTo>
                    <a:pt x="3" y="127"/>
                    <a:pt x="3" y="133"/>
                    <a:pt x="3" y="136"/>
                  </a:cubicBezTo>
                  <a:cubicBezTo>
                    <a:pt x="3" y="136"/>
                    <a:pt x="3" y="136"/>
                    <a:pt x="3" y="136"/>
                  </a:cubicBezTo>
                  <a:cubicBezTo>
                    <a:pt x="6" y="136"/>
                    <a:pt x="9" y="133"/>
                    <a:pt x="9" y="133"/>
                  </a:cubicBezTo>
                  <a:cubicBezTo>
                    <a:pt x="15" y="133"/>
                    <a:pt x="48" y="133"/>
                    <a:pt x="48" y="133"/>
                  </a:cubicBezTo>
                  <a:cubicBezTo>
                    <a:pt x="48" y="133"/>
                    <a:pt x="51" y="139"/>
                    <a:pt x="48" y="142"/>
                  </a:cubicBezTo>
                  <a:cubicBezTo>
                    <a:pt x="48" y="148"/>
                    <a:pt x="51" y="145"/>
                    <a:pt x="54" y="151"/>
                  </a:cubicBezTo>
                  <a:cubicBezTo>
                    <a:pt x="57" y="157"/>
                    <a:pt x="57" y="160"/>
                    <a:pt x="63" y="160"/>
                  </a:cubicBezTo>
                  <a:cubicBezTo>
                    <a:pt x="69" y="157"/>
                    <a:pt x="75" y="157"/>
                    <a:pt x="75" y="157"/>
                  </a:cubicBezTo>
                  <a:cubicBezTo>
                    <a:pt x="78" y="157"/>
                    <a:pt x="78" y="148"/>
                    <a:pt x="81" y="148"/>
                  </a:cubicBezTo>
                  <a:cubicBezTo>
                    <a:pt x="84" y="145"/>
                    <a:pt x="90" y="148"/>
                    <a:pt x="90" y="148"/>
                  </a:cubicBezTo>
                  <a:cubicBezTo>
                    <a:pt x="90" y="148"/>
                    <a:pt x="90" y="148"/>
                    <a:pt x="96" y="148"/>
                  </a:cubicBezTo>
                  <a:cubicBezTo>
                    <a:pt x="99" y="148"/>
                    <a:pt x="102" y="148"/>
                    <a:pt x="102" y="151"/>
                  </a:cubicBezTo>
                  <a:cubicBezTo>
                    <a:pt x="102" y="154"/>
                    <a:pt x="102" y="157"/>
                    <a:pt x="105" y="160"/>
                  </a:cubicBezTo>
                  <a:cubicBezTo>
                    <a:pt x="105" y="160"/>
                    <a:pt x="99" y="175"/>
                    <a:pt x="102" y="175"/>
                  </a:cubicBezTo>
                  <a:cubicBezTo>
                    <a:pt x="105" y="178"/>
                    <a:pt x="108" y="181"/>
                    <a:pt x="108" y="184"/>
                  </a:cubicBezTo>
                  <a:cubicBezTo>
                    <a:pt x="108" y="187"/>
                    <a:pt x="105" y="193"/>
                    <a:pt x="108" y="193"/>
                  </a:cubicBezTo>
                  <a:cubicBezTo>
                    <a:pt x="111" y="193"/>
                    <a:pt x="111" y="190"/>
                    <a:pt x="114" y="190"/>
                  </a:cubicBezTo>
                  <a:cubicBezTo>
                    <a:pt x="117" y="190"/>
                    <a:pt x="120" y="190"/>
                    <a:pt x="123" y="190"/>
                  </a:cubicBezTo>
                  <a:cubicBezTo>
                    <a:pt x="126" y="190"/>
                    <a:pt x="126" y="190"/>
                    <a:pt x="126" y="190"/>
                  </a:cubicBezTo>
                  <a:cubicBezTo>
                    <a:pt x="129" y="190"/>
                    <a:pt x="129" y="193"/>
                    <a:pt x="129" y="193"/>
                  </a:cubicBezTo>
                  <a:cubicBezTo>
                    <a:pt x="132" y="196"/>
                    <a:pt x="132" y="196"/>
                    <a:pt x="132" y="196"/>
                  </a:cubicBezTo>
                  <a:cubicBezTo>
                    <a:pt x="135" y="193"/>
                    <a:pt x="141" y="193"/>
                    <a:pt x="141" y="196"/>
                  </a:cubicBezTo>
                  <a:cubicBezTo>
                    <a:pt x="141" y="196"/>
                    <a:pt x="141" y="202"/>
                    <a:pt x="144" y="199"/>
                  </a:cubicBezTo>
                  <a:cubicBezTo>
                    <a:pt x="147" y="199"/>
                    <a:pt x="150" y="202"/>
                    <a:pt x="153" y="202"/>
                  </a:cubicBezTo>
                  <a:cubicBezTo>
                    <a:pt x="156" y="202"/>
                    <a:pt x="159" y="202"/>
                    <a:pt x="159" y="202"/>
                  </a:cubicBezTo>
                  <a:cubicBezTo>
                    <a:pt x="159" y="199"/>
                    <a:pt x="162" y="199"/>
                    <a:pt x="162" y="199"/>
                  </a:cubicBezTo>
                  <a:cubicBezTo>
                    <a:pt x="162" y="202"/>
                    <a:pt x="165" y="205"/>
                    <a:pt x="168" y="205"/>
                  </a:cubicBezTo>
                  <a:cubicBezTo>
                    <a:pt x="171" y="205"/>
                    <a:pt x="177" y="205"/>
                    <a:pt x="177" y="208"/>
                  </a:cubicBezTo>
                  <a:cubicBezTo>
                    <a:pt x="177" y="211"/>
                    <a:pt x="180" y="217"/>
                    <a:pt x="180" y="217"/>
                  </a:cubicBezTo>
                  <a:cubicBezTo>
                    <a:pt x="183" y="220"/>
                    <a:pt x="189" y="217"/>
                    <a:pt x="189" y="217"/>
                  </a:cubicBezTo>
                  <a:cubicBezTo>
                    <a:pt x="189" y="217"/>
                    <a:pt x="192" y="217"/>
                    <a:pt x="192" y="214"/>
                  </a:cubicBezTo>
                  <a:cubicBezTo>
                    <a:pt x="192" y="208"/>
                    <a:pt x="192" y="205"/>
                    <a:pt x="189" y="205"/>
                  </a:cubicBezTo>
                  <a:cubicBezTo>
                    <a:pt x="189" y="205"/>
                    <a:pt x="186" y="208"/>
                    <a:pt x="183" y="208"/>
                  </a:cubicBezTo>
                  <a:cubicBezTo>
                    <a:pt x="180" y="205"/>
                    <a:pt x="177" y="199"/>
                    <a:pt x="174" y="199"/>
                  </a:cubicBezTo>
                  <a:cubicBezTo>
                    <a:pt x="174" y="196"/>
                    <a:pt x="177" y="190"/>
                    <a:pt x="177" y="187"/>
                  </a:cubicBezTo>
                  <a:cubicBezTo>
                    <a:pt x="177" y="184"/>
                    <a:pt x="180" y="175"/>
                    <a:pt x="177" y="175"/>
                  </a:cubicBezTo>
                  <a:cubicBezTo>
                    <a:pt x="177" y="175"/>
                    <a:pt x="177" y="172"/>
                    <a:pt x="180" y="169"/>
                  </a:cubicBezTo>
                  <a:cubicBezTo>
                    <a:pt x="183" y="166"/>
                    <a:pt x="177" y="163"/>
                    <a:pt x="183" y="163"/>
                  </a:cubicBezTo>
                  <a:cubicBezTo>
                    <a:pt x="186" y="163"/>
                    <a:pt x="195" y="163"/>
                    <a:pt x="195" y="160"/>
                  </a:cubicBezTo>
                  <a:cubicBezTo>
                    <a:pt x="195" y="160"/>
                    <a:pt x="195" y="160"/>
                    <a:pt x="195" y="160"/>
                  </a:cubicBezTo>
                  <a:cubicBezTo>
                    <a:pt x="198" y="157"/>
                    <a:pt x="198" y="157"/>
                    <a:pt x="198" y="157"/>
                  </a:cubicBezTo>
                  <a:cubicBezTo>
                    <a:pt x="195" y="154"/>
                    <a:pt x="192" y="148"/>
                    <a:pt x="189" y="145"/>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6" name="Freeform 961"/>
            <p:cNvSpPr>
              <a:spLocks/>
            </p:cNvSpPr>
            <p:nvPr userDrawn="1"/>
          </p:nvSpPr>
          <p:spPr bwMode="auto">
            <a:xfrm>
              <a:off x="3980" y="-1100"/>
              <a:ext cx="28" cy="38"/>
            </a:xfrm>
            <a:custGeom>
              <a:avLst/>
              <a:gdLst>
                <a:gd name="T0" fmla="*/ 3 w 18"/>
                <a:gd name="T1" fmla="*/ 12 h 24"/>
                <a:gd name="T2" fmla="*/ 6 w 18"/>
                <a:gd name="T3" fmla="*/ 24 h 24"/>
                <a:gd name="T4" fmla="*/ 9 w 18"/>
                <a:gd name="T5" fmla="*/ 21 h 24"/>
                <a:gd name="T6" fmla="*/ 18 w 18"/>
                <a:gd name="T7" fmla="*/ 6 h 24"/>
                <a:gd name="T8" fmla="*/ 15 w 18"/>
                <a:gd name="T9" fmla="*/ 6 h 24"/>
                <a:gd name="T10" fmla="*/ 15 w 18"/>
                <a:gd name="T11" fmla="*/ 0 h 24"/>
                <a:gd name="T12" fmla="*/ 9 w 18"/>
                <a:gd name="T13" fmla="*/ 0 h 24"/>
                <a:gd name="T14" fmla="*/ 3 w 18"/>
                <a:gd name="T15" fmla="*/ 3 h 24"/>
                <a:gd name="T16" fmla="*/ 0 w 18"/>
                <a:gd name="T17" fmla="*/ 3 h 24"/>
                <a:gd name="T18" fmla="*/ 0 w 18"/>
                <a:gd name="T19" fmla="*/ 3 h 24"/>
                <a:gd name="T20" fmla="*/ 3 w 18"/>
                <a:gd name="T21" fmla="*/ 12 h 24"/>
                <a:gd name="T22" fmla="*/ 3 w 18"/>
                <a:gd name="T2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4">
                  <a:moveTo>
                    <a:pt x="3" y="12"/>
                  </a:moveTo>
                  <a:cubicBezTo>
                    <a:pt x="3" y="12"/>
                    <a:pt x="3" y="18"/>
                    <a:pt x="6" y="24"/>
                  </a:cubicBezTo>
                  <a:cubicBezTo>
                    <a:pt x="6" y="21"/>
                    <a:pt x="9" y="21"/>
                    <a:pt x="9" y="21"/>
                  </a:cubicBezTo>
                  <a:cubicBezTo>
                    <a:pt x="12" y="18"/>
                    <a:pt x="18" y="6"/>
                    <a:pt x="18" y="6"/>
                  </a:cubicBezTo>
                  <a:cubicBezTo>
                    <a:pt x="15" y="6"/>
                    <a:pt x="15" y="6"/>
                    <a:pt x="15" y="6"/>
                  </a:cubicBezTo>
                  <a:cubicBezTo>
                    <a:pt x="15" y="6"/>
                    <a:pt x="15" y="3"/>
                    <a:pt x="15" y="0"/>
                  </a:cubicBezTo>
                  <a:cubicBezTo>
                    <a:pt x="12" y="0"/>
                    <a:pt x="9" y="0"/>
                    <a:pt x="9" y="0"/>
                  </a:cubicBezTo>
                  <a:cubicBezTo>
                    <a:pt x="9" y="0"/>
                    <a:pt x="12" y="3"/>
                    <a:pt x="3" y="3"/>
                  </a:cubicBezTo>
                  <a:cubicBezTo>
                    <a:pt x="3" y="3"/>
                    <a:pt x="3" y="3"/>
                    <a:pt x="0" y="3"/>
                  </a:cubicBezTo>
                  <a:cubicBezTo>
                    <a:pt x="0" y="3"/>
                    <a:pt x="0" y="3"/>
                    <a:pt x="0" y="3"/>
                  </a:cubicBezTo>
                  <a:cubicBezTo>
                    <a:pt x="3" y="12"/>
                    <a:pt x="3" y="12"/>
                    <a:pt x="3" y="12"/>
                  </a:cubicBezTo>
                  <a:cubicBezTo>
                    <a:pt x="3" y="12"/>
                    <a:pt x="3" y="12"/>
                    <a:pt x="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7" name="Freeform 962"/>
            <p:cNvSpPr>
              <a:spLocks/>
            </p:cNvSpPr>
            <p:nvPr userDrawn="1"/>
          </p:nvSpPr>
          <p:spPr bwMode="auto">
            <a:xfrm>
              <a:off x="3980" y="-1100"/>
              <a:ext cx="28" cy="38"/>
            </a:xfrm>
            <a:custGeom>
              <a:avLst/>
              <a:gdLst>
                <a:gd name="T0" fmla="*/ 3 w 18"/>
                <a:gd name="T1" fmla="*/ 12 h 24"/>
                <a:gd name="T2" fmla="*/ 6 w 18"/>
                <a:gd name="T3" fmla="*/ 24 h 24"/>
                <a:gd name="T4" fmla="*/ 9 w 18"/>
                <a:gd name="T5" fmla="*/ 21 h 24"/>
                <a:gd name="T6" fmla="*/ 18 w 18"/>
                <a:gd name="T7" fmla="*/ 6 h 24"/>
                <a:gd name="T8" fmla="*/ 15 w 18"/>
                <a:gd name="T9" fmla="*/ 6 h 24"/>
                <a:gd name="T10" fmla="*/ 15 w 18"/>
                <a:gd name="T11" fmla="*/ 0 h 24"/>
                <a:gd name="T12" fmla="*/ 9 w 18"/>
                <a:gd name="T13" fmla="*/ 0 h 24"/>
                <a:gd name="T14" fmla="*/ 3 w 18"/>
                <a:gd name="T15" fmla="*/ 3 h 24"/>
                <a:gd name="T16" fmla="*/ 0 w 18"/>
                <a:gd name="T17" fmla="*/ 3 h 24"/>
                <a:gd name="T18" fmla="*/ 0 w 18"/>
                <a:gd name="T19" fmla="*/ 3 h 24"/>
                <a:gd name="T20" fmla="*/ 3 w 18"/>
                <a:gd name="T21" fmla="*/ 12 h 24"/>
                <a:gd name="T22" fmla="*/ 3 w 18"/>
                <a:gd name="T2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4">
                  <a:moveTo>
                    <a:pt x="3" y="12"/>
                  </a:moveTo>
                  <a:cubicBezTo>
                    <a:pt x="3" y="12"/>
                    <a:pt x="3" y="18"/>
                    <a:pt x="6" y="24"/>
                  </a:cubicBezTo>
                  <a:cubicBezTo>
                    <a:pt x="6" y="21"/>
                    <a:pt x="9" y="21"/>
                    <a:pt x="9" y="21"/>
                  </a:cubicBezTo>
                  <a:cubicBezTo>
                    <a:pt x="12" y="18"/>
                    <a:pt x="18" y="6"/>
                    <a:pt x="18" y="6"/>
                  </a:cubicBezTo>
                  <a:cubicBezTo>
                    <a:pt x="15" y="6"/>
                    <a:pt x="15" y="6"/>
                    <a:pt x="15" y="6"/>
                  </a:cubicBezTo>
                  <a:cubicBezTo>
                    <a:pt x="15" y="6"/>
                    <a:pt x="15" y="3"/>
                    <a:pt x="15" y="0"/>
                  </a:cubicBezTo>
                  <a:cubicBezTo>
                    <a:pt x="12" y="0"/>
                    <a:pt x="9" y="0"/>
                    <a:pt x="9" y="0"/>
                  </a:cubicBezTo>
                  <a:cubicBezTo>
                    <a:pt x="9" y="0"/>
                    <a:pt x="12" y="3"/>
                    <a:pt x="3" y="3"/>
                  </a:cubicBezTo>
                  <a:cubicBezTo>
                    <a:pt x="3" y="3"/>
                    <a:pt x="3" y="3"/>
                    <a:pt x="0" y="3"/>
                  </a:cubicBezTo>
                  <a:cubicBezTo>
                    <a:pt x="0" y="3"/>
                    <a:pt x="0" y="3"/>
                    <a:pt x="0" y="3"/>
                  </a:cubicBezTo>
                  <a:cubicBezTo>
                    <a:pt x="3" y="12"/>
                    <a:pt x="3" y="12"/>
                    <a:pt x="3" y="12"/>
                  </a:cubicBezTo>
                  <a:cubicBezTo>
                    <a:pt x="3" y="12"/>
                    <a:pt x="3" y="12"/>
                    <a:pt x="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8" name="Freeform 963"/>
            <p:cNvSpPr>
              <a:spLocks/>
            </p:cNvSpPr>
            <p:nvPr userDrawn="1"/>
          </p:nvSpPr>
          <p:spPr bwMode="auto">
            <a:xfrm>
              <a:off x="3999" y="-953"/>
              <a:ext cx="185" cy="298"/>
            </a:xfrm>
            <a:custGeom>
              <a:avLst/>
              <a:gdLst>
                <a:gd name="T0" fmla="*/ 119 w 119"/>
                <a:gd name="T1" fmla="*/ 47 h 191"/>
                <a:gd name="T2" fmla="*/ 116 w 119"/>
                <a:gd name="T3" fmla="*/ 26 h 191"/>
                <a:gd name="T4" fmla="*/ 113 w 119"/>
                <a:gd name="T5" fmla="*/ 0 h 191"/>
                <a:gd name="T6" fmla="*/ 113 w 119"/>
                <a:gd name="T7" fmla="*/ 0 h 191"/>
                <a:gd name="T8" fmla="*/ 101 w 119"/>
                <a:gd name="T9" fmla="*/ 5 h 191"/>
                <a:gd name="T10" fmla="*/ 95 w 119"/>
                <a:gd name="T11" fmla="*/ 8 h 191"/>
                <a:gd name="T12" fmla="*/ 89 w 119"/>
                <a:gd name="T13" fmla="*/ 5 h 191"/>
                <a:gd name="T14" fmla="*/ 83 w 119"/>
                <a:gd name="T15" fmla="*/ 11 h 191"/>
                <a:gd name="T16" fmla="*/ 77 w 119"/>
                <a:gd name="T17" fmla="*/ 11 h 191"/>
                <a:gd name="T18" fmla="*/ 68 w 119"/>
                <a:gd name="T19" fmla="*/ 14 h 191"/>
                <a:gd name="T20" fmla="*/ 65 w 119"/>
                <a:gd name="T21" fmla="*/ 8 h 191"/>
                <a:gd name="T22" fmla="*/ 56 w 119"/>
                <a:gd name="T23" fmla="*/ 11 h 191"/>
                <a:gd name="T24" fmla="*/ 50 w 119"/>
                <a:gd name="T25" fmla="*/ 11 h 191"/>
                <a:gd name="T26" fmla="*/ 50 w 119"/>
                <a:gd name="T27" fmla="*/ 14 h 191"/>
                <a:gd name="T28" fmla="*/ 56 w 119"/>
                <a:gd name="T29" fmla="*/ 38 h 191"/>
                <a:gd name="T30" fmla="*/ 62 w 119"/>
                <a:gd name="T31" fmla="*/ 44 h 191"/>
                <a:gd name="T32" fmla="*/ 62 w 119"/>
                <a:gd name="T33" fmla="*/ 56 h 191"/>
                <a:gd name="T34" fmla="*/ 56 w 119"/>
                <a:gd name="T35" fmla="*/ 62 h 191"/>
                <a:gd name="T36" fmla="*/ 56 w 119"/>
                <a:gd name="T37" fmla="*/ 74 h 191"/>
                <a:gd name="T38" fmla="*/ 44 w 119"/>
                <a:gd name="T39" fmla="*/ 59 h 191"/>
                <a:gd name="T40" fmla="*/ 47 w 119"/>
                <a:gd name="T41" fmla="*/ 44 h 191"/>
                <a:gd name="T42" fmla="*/ 38 w 119"/>
                <a:gd name="T43" fmla="*/ 44 h 191"/>
                <a:gd name="T44" fmla="*/ 29 w 119"/>
                <a:gd name="T45" fmla="*/ 38 h 191"/>
                <a:gd name="T46" fmla="*/ 0 w 119"/>
                <a:gd name="T47" fmla="*/ 50 h 191"/>
                <a:gd name="T48" fmla="*/ 3 w 119"/>
                <a:gd name="T49" fmla="*/ 59 h 191"/>
                <a:gd name="T50" fmla="*/ 3 w 119"/>
                <a:gd name="T51" fmla="*/ 59 h 191"/>
                <a:gd name="T52" fmla="*/ 3 w 119"/>
                <a:gd name="T53" fmla="*/ 62 h 191"/>
                <a:gd name="T54" fmla="*/ 17 w 119"/>
                <a:gd name="T55" fmla="*/ 65 h 191"/>
                <a:gd name="T56" fmla="*/ 29 w 119"/>
                <a:gd name="T57" fmla="*/ 71 h 191"/>
                <a:gd name="T58" fmla="*/ 29 w 119"/>
                <a:gd name="T59" fmla="*/ 86 h 191"/>
                <a:gd name="T60" fmla="*/ 26 w 119"/>
                <a:gd name="T61" fmla="*/ 98 h 191"/>
                <a:gd name="T62" fmla="*/ 32 w 119"/>
                <a:gd name="T63" fmla="*/ 107 h 191"/>
                <a:gd name="T64" fmla="*/ 26 w 119"/>
                <a:gd name="T65" fmla="*/ 113 h 191"/>
                <a:gd name="T66" fmla="*/ 23 w 119"/>
                <a:gd name="T67" fmla="*/ 125 h 191"/>
                <a:gd name="T68" fmla="*/ 12 w 119"/>
                <a:gd name="T69" fmla="*/ 137 h 191"/>
                <a:gd name="T70" fmla="*/ 12 w 119"/>
                <a:gd name="T71" fmla="*/ 137 h 191"/>
                <a:gd name="T72" fmla="*/ 17 w 119"/>
                <a:gd name="T73" fmla="*/ 158 h 191"/>
                <a:gd name="T74" fmla="*/ 20 w 119"/>
                <a:gd name="T75" fmla="*/ 179 h 191"/>
                <a:gd name="T76" fmla="*/ 20 w 119"/>
                <a:gd name="T77" fmla="*/ 191 h 191"/>
                <a:gd name="T78" fmla="*/ 29 w 119"/>
                <a:gd name="T79" fmla="*/ 191 h 191"/>
                <a:gd name="T80" fmla="*/ 29 w 119"/>
                <a:gd name="T81" fmla="*/ 185 h 191"/>
                <a:gd name="T82" fmla="*/ 26 w 119"/>
                <a:gd name="T83" fmla="*/ 182 h 191"/>
                <a:gd name="T84" fmla="*/ 41 w 119"/>
                <a:gd name="T85" fmla="*/ 167 h 191"/>
                <a:gd name="T86" fmla="*/ 56 w 119"/>
                <a:gd name="T87" fmla="*/ 158 h 191"/>
                <a:gd name="T88" fmla="*/ 59 w 119"/>
                <a:gd name="T89" fmla="*/ 143 h 191"/>
                <a:gd name="T90" fmla="*/ 56 w 119"/>
                <a:gd name="T91" fmla="*/ 128 h 191"/>
                <a:gd name="T92" fmla="*/ 50 w 119"/>
                <a:gd name="T93" fmla="*/ 113 h 191"/>
                <a:gd name="T94" fmla="*/ 53 w 119"/>
                <a:gd name="T95" fmla="*/ 107 h 191"/>
                <a:gd name="T96" fmla="*/ 56 w 119"/>
                <a:gd name="T97" fmla="*/ 101 h 191"/>
                <a:gd name="T98" fmla="*/ 68 w 119"/>
                <a:gd name="T99" fmla="*/ 95 h 191"/>
                <a:gd name="T100" fmla="*/ 77 w 119"/>
                <a:gd name="T101" fmla="*/ 80 h 191"/>
                <a:gd name="T102" fmla="*/ 101 w 119"/>
                <a:gd name="T103" fmla="*/ 71 h 191"/>
                <a:gd name="T104" fmla="*/ 119 w 119"/>
                <a:gd name="T105" fmla="*/ 4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 h="191">
                  <a:moveTo>
                    <a:pt x="119" y="47"/>
                  </a:moveTo>
                  <a:cubicBezTo>
                    <a:pt x="116" y="44"/>
                    <a:pt x="116" y="32"/>
                    <a:pt x="116" y="26"/>
                  </a:cubicBezTo>
                  <a:cubicBezTo>
                    <a:pt x="116" y="20"/>
                    <a:pt x="113" y="5"/>
                    <a:pt x="113" y="0"/>
                  </a:cubicBezTo>
                  <a:cubicBezTo>
                    <a:pt x="113" y="0"/>
                    <a:pt x="113" y="0"/>
                    <a:pt x="113" y="0"/>
                  </a:cubicBezTo>
                  <a:cubicBezTo>
                    <a:pt x="110" y="3"/>
                    <a:pt x="104" y="3"/>
                    <a:pt x="101" y="5"/>
                  </a:cubicBezTo>
                  <a:cubicBezTo>
                    <a:pt x="101" y="8"/>
                    <a:pt x="98" y="5"/>
                    <a:pt x="95" y="8"/>
                  </a:cubicBezTo>
                  <a:cubicBezTo>
                    <a:pt x="92" y="8"/>
                    <a:pt x="89" y="8"/>
                    <a:pt x="89" y="5"/>
                  </a:cubicBezTo>
                  <a:cubicBezTo>
                    <a:pt x="86" y="5"/>
                    <a:pt x="83" y="8"/>
                    <a:pt x="83" y="11"/>
                  </a:cubicBezTo>
                  <a:cubicBezTo>
                    <a:pt x="83" y="14"/>
                    <a:pt x="80" y="11"/>
                    <a:pt x="77" y="11"/>
                  </a:cubicBezTo>
                  <a:cubicBezTo>
                    <a:pt x="77" y="11"/>
                    <a:pt x="71" y="14"/>
                    <a:pt x="68" y="14"/>
                  </a:cubicBezTo>
                  <a:cubicBezTo>
                    <a:pt x="65" y="14"/>
                    <a:pt x="68" y="11"/>
                    <a:pt x="65" y="8"/>
                  </a:cubicBezTo>
                  <a:cubicBezTo>
                    <a:pt x="62" y="8"/>
                    <a:pt x="59" y="11"/>
                    <a:pt x="56" y="11"/>
                  </a:cubicBezTo>
                  <a:cubicBezTo>
                    <a:pt x="56" y="11"/>
                    <a:pt x="53" y="11"/>
                    <a:pt x="50" y="11"/>
                  </a:cubicBezTo>
                  <a:cubicBezTo>
                    <a:pt x="50" y="14"/>
                    <a:pt x="50" y="14"/>
                    <a:pt x="50" y="14"/>
                  </a:cubicBezTo>
                  <a:cubicBezTo>
                    <a:pt x="47" y="20"/>
                    <a:pt x="56" y="32"/>
                    <a:pt x="56" y="38"/>
                  </a:cubicBezTo>
                  <a:cubicBezTo>
                    <a:pt x="59" y="41"/>
                    <a:pt x="62" y="41"/>
                    <a:pt x="62" y="44"/>
                  </a:cubicBezTo>
                  <a:cubicBezTo>
                    <a:pt x="65" y="47"/>
                    <a:pt x="62" y="47"/>
                    <a:pt x="62" y="56"/>
                  </a:cubicBezTo>
                  <a:cubicBezTo>
                    <a:pt x="62" y="65"/>
                    <a:pt x="59" y="59"/>
                    <a:pt x="56" y="62"/>
                  </a:cubicBezTo>
                  <a:cubicBezTo>
                    <a:pt x="53" y="65"/>
                    <a:pt x="56" y="71"/>
                    <a:pt x="56" y="74"/>
                  </a:cubicBezTo>
                  <a:cubicBezTo>
                    <a:pt x="53" y="74"/>
                    <a:pt x="44" y="62"/>
                    <a:pt x="44" y="59"/>
                  </a:cubicBezTo>
                  <a:cubicBezTo>
                    <a:pt x="44" y="59"/>
                    <a:pt x="47" y="50"/>
                    <a:pt x="47" y="44"/>
                  </a:cubicBezTo>
                  <a:cubicBezTo>
                    <a:pt x="47" y="41"/>
                    <a:pt x="41" y="44"/>
                    <a:pt x="38" y="44"/>
                  </a:cubicBezTo>
                  <a:cubicBezTo>
                    <a:pt x="35" y="44"/>
                    <a:pt x="32" y="38"/>
                    <a:pt x="29" y="38"/>
                  </a:cubicBezTo>
                  <a:cubicBezTo>
                    <a:pt x="0" y="50"/>
                    <a:pt x="0" y="50"/>
                    <a:pt x="0" y="50"/>
                  </a:cubicBezTo>
                  <a:cubicBezTo>
                    <a:pt x="3" y="59"/>
                    <a:pt x="3" y="59"/>
                    <a:pt x="3" y="59"/>
                  </a:cubicBezTo>
                  <a:cubicBezTo>
                    <a:pt x="3" y="59"/>
                    <a:pt x="3" y="59"/>
                    <a:pt x="3" y="59"/>
                  </a:cubicBezTo>
                  <a:cubicBezTo>
                    <a:pt x="3" y="62"/>
                    <a:pt x="3" y="62"/>
                    <a:pt x="3" y="62"/>
                  </a:cubicBezTo>
                  <a:cubicBezTo>
                    <a:pt x="3" y="62"/>
                    <a:pt x="12" y="62"/>
                    <a:pt x="17" y="65"/>
                  </a:cubicBezTo>
                  <a:cubicBezTo>
                    <a:pt x="20" y="68"/>
                    <a:pt x="29" y="68"/>
                    <a:pt x="29" y="71"/>
                  </a:cubicBezTo>
                  <a:cubicBezTo>
                    <a:pt x="32" y="71"/>
                    <a:pt x="29" y="83"/>
                    <a:pt x="29" y="86"/>
                  </a:cubicBezTo>
                  <a:cubicBezTo>
                    <a:pt x="32" y="92"/>
                    <a:pt x="23" y="95"/>
                    <a:pt x="26" y="98"/>
                  </a:cubicBezTo>
                  <a:cubicBezTo>
                    <a:pt x="29" y="101"/>
                    <a:pt x="29" y="104"/>
                    <a:pt x="32" y="107"/>
                  </a:cubicBezTo>
                  <a:cubicBezTo>
                    <a:pt x="26" y="113"/>
                    <a:pt x="26" y="113"/>
                    <a:pt x="26" y="113"/>
                  </a:cubicBezTo>
                  <a:cubicBezTo>
                    <a:pt x="23" y="116"/>
                    <a:pt x="26" y="122"/>
                    <a:pt x="23" y="125"/>
                  </a:cubicBezTo>
                  <a:cubicBezTo>
                    <a:pt x="20" y="128"/>
                    <a:pt x="14" y="134"/>
                    <a:pt x="12" y="137"/>
                  </a:cubicBezTo>
                  <a:cubicBezTo>
                    <a:pt x="12" y="137"/>
                    <a:pt x="12" y="137"/>
                    <a:pt x="12" y="137"/>
                  </a:cubicBezTo>
                  <a:cubicBezTo>
                    <a:pt x="12" y="140"/>
                    <a:pt x="14" y="155"/>
                    <a:pt x="17" y="158"/>
                  </a:cubicBezTo>
                  <a:cubicBezTo>
                    <a:pt x="20" y="161"/>
                    <a:pt x="20" y="176"/>
                    <a:pt x="20" y="179"/>
                  </a:cubicBezTo>
                  <a:cubicBezTo>
                    <a:pt x="20" y="191"/>
                    <a:pt x="20" y="191"/>
                    <a:pt x="20" y="191"/>
                  </a:cubicBezTo>
                  <a:cubicBezTo>
                    <a:pt x="20" y="191"/>
                    <a:pt x="26" y="191"/>
                    <a:pt x="29" y="191"/>
                  </a:cubicBezTo>
                  <a:cubicBezTo>
                    <a:pt x="29" y="188"/>
                    <a:pt x="29" y="185"/>
                    <a:pt x="29" y="185"/>
                  </a:cubicBezTo>
                  <a:cubicBezTo>
                    <a:pt x="29" y="179"/>
                    <a:pt x="26" y="185"/>
                    <a:pt x="26" y="182"/>
                  </a:cubicBezTo>
                  <a:cubicBezTo>
                    <a:pt x="23" y="176"/>
                    <a:pt x="32" y="170"/>
                    <a:pt x="41" y="167"/>
                  </a:cubicBezTo>
                  <a:cubicBezTo>
                    <a:pt x="53" y="164"/>
                    <a:pt x="56" y="161"/>
                    <a:pt x="56" y="158"/>
                  </a:cubicBezTo>
                  <a:cubicBezTo>
                    <a:pt x="56" y="155"/>
                    <a:pt x="56" y="146"/>
                    <a:pt x="59" y="143"/>
                  </a:cubicBezTo>
                  <a:cubicBezTo>
                    <a:pt x="59" y="140"/>
                    <a:pt x="56" y="137"/>
                    <a:pt x="56" y="128"/>
                  </a:cubicBezTo>
                  <a:cubicBezTo>
                    <a:pt x="53" y="119"/>
                    <a:pt x="50" y="119"/>
                    <a:pt x="50" y="113"/>
                  </a:cubicBezTo>
                  <a:cubicBezTo>
                    <a:pt x="50" y="110"/>
                    <a:pt x="50" y="107"/>
                    <a:pt x="53" y="107"/>
                  </a:cubicBezTo>
                  <a:cubicBezTo>
                    <a:pt x="56" y="104"/>
                    <a:pt x="56" y="104"/>
                    <a:pt x="56" y="101"/>
                  </a:cubicBezTo>
                  <a:cubicBezTo>
                    <a:pt x="59" y="95"/>
                    <a:pt x="62" y="98"/>
                    <a:pt x="68" y="95"/>
                  </a:cubicBezTo>
                  <a:cubicBezTo>
                    <a:pt x="71" y="89"/>
                    <a:pt x="71" y="86"/>
                    <a:pt x="77" y="80"/>
                  </a:cubicBezTo>
                  <a:cubicBezTo>
                    <a:pt x="86" y="74"/>
                    <a:pt x="92" y="74"/>
                    <a:pt x="101" y="71"/>
                  </a:cubicBezTo>
                  <a:cubicBezTo>
                    <a:pt x="107" y="68"/>
                    <a:pt x="119" y="50"/>
                    <a:pt x="119" y="4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69" name="Freeform 964"/>
            <p:cNvSpPr>
              <a:spLocks/>
            </p:cNvSpPr>
            <p:nvPr userDrawn="1"/>
          </p:nvSpPr>
          <p:spPr bwMode="auto">
            <a:xfrm>
              <a:off x="3999" y="-953"/>
              <a:ext cx="185" cy="298"/>
            </a:xfrm>
            <a:custGeom>
              <a:avLst/>
              <a:gdLst>
                <a:gd name="T0" fmla="*/ 119 w 119"/>
                <a:gd name="T1" fmla="*/ 47 h 191"/>
                <a:gd name="T2" fmla="*/ 116 w 119"/>
                <a:gd name="T3" fmla="*/ 26 h 191"/>
                <a:gd name="T4" fmla="*/ 113 w 119"/>
                <a:gd name="T5" fmla="*/ 0 h 191"/>
                <a:gd name="T6" fmla="*/ 113 w 119"/>
                <a:gd name="T7" fmla="*/ 0 h 191"/>
                <a:gd name="T8" fmla="*/ 101 w 119"/>
                <a:gd name="T9" fmla="*/ 5 h 191"/>
                <a:gd name="T10" fmla="*/ 95 w 119"/>
                <a:gd name="T11" fmla="*/ 8 h 191"/>
                <a:gd name="T12" fmla="*/ 89 w 119"/>
                <a:gd name="T13" fmla="*/ 5 h 191"/>
                <a:gd name="T14" fmla="*/ 83 w 119"/>
                <a:gd name="T15" fmla="*/ 11 h 191"/>
                <a:gd name="T16" fmla="*/ 77 w 119"/>
                <a:gd name="T17" fmla="*/ 11 h 191"/>
                <a:gd name="T18" fmla="*/ 68 w 119"/>
                <a:gd name="T19" fmla="*/ 14 h 191"/>
                <a:gd name="T20" fmla="*/ 65 w 119"/>
                <a:gd name="T21" fmla="*/ 8 h 191"/>
                <a:gd name="T22" fmla="*/ 56 w 119"/>
                <a:gd name="T23" fmla="*/ 11 h 191"/>
                <a:gd name="T24" fmla="*/ 50 w 119"/>
                <a:gd name="T25" fmla="*/ 11 h 191"/>
                <a:gd name="T26" fmla="*/ 50 w 119"/>
                <a:gd name="T27" fmla="*/ 14 h 191"/>
                <a:gd name="T28" fmla="*/ 56 w 119"/>
                <a:gd name="T29" fmla="*/ 38 h 191"/>
                <a:gd name="T30" fmla="*/ 62 w 119"/>
                <a:gd name="T31" fmla="*/ 44 h 191"/>
                <a:gd name="T32" fmla="*/ 62 w 119"/>
                <a:gd name="T33" fmla="*/ 56 h 191"/>
                <a:gd name="T34" fmla="*/ 56 w 119"/>
                <a:gd name="T35" fmla="*/ 62 h 191"/>
                <a:gd name="T36" fmla="*/ 56 w 119"/>
                <a:gd name="T37" fmla="*/ 74 h 191"/>
                <a:gd name="T38" fmla="*/ 44 w 119"/>
                <a:gd name="T39" fmla="*/ 59 h 191"/>
                <a:gd name="T40" fmla="*/ 47 w 119"/>
                <a:gd name="T41" fmla="*/ 44 h 191"/>
                <a:gd name="T42" fmla="*/ 38 w 119"/>
                <a:gd name="T43" fmla="*/ 44 h 191"/>
                <a:gd name="T44" fmla="*/ 29 w 119"/>
                <a:gd name="T45" fmla="*/ 38 h 191"/>
                <a:gd name="T46" fmla="*/ 0 w 119"/>
                <a:gd name="T47" fmla="*/ 50 h 191"/>
                <a:gd name="T48" fmla="*/ 3 w 119"/>
                <a:gd name="T49" fmla="*/ 59 h 191"/>
                <a:gd name="T50" fmla="*/ 3 w 119"/>
                <a:gd name="T51" fmla="*/ 59 h 191"/>
                <a:gd name="T52" fmla="*/ 3 w 119"/>
                <a:gd name="T53" fmla="*/ 62 h 191"/>
                <a:gd name="T54" fmla="*/ 17 w 119"/>
                <a:gd name="T55" fmla="*/ 65 h 191"/>
                <a:gd name="T56" fmla="*/ 29 w 119"/>
                <a:gd name="T57" fmla="*/ 71 h 191"/>
                <a:gd name="T58" fmla="*/ 29 w 119"/>
                <a:gd name="T59" fmla="*/ 86 h 191"/>
                <a:gd name="T60" fmla="*/ 26 w 119"/>
                <a:gd name="T61" fmla="*/ 98 h 191"/>
                <a:gd name="T62" fmla="*/ 32 w 119"/>
                <a:gd name="T63" fmla="*/ 107 h 191"/>
                <a:gd name="T64" fmla="*/ 26 w 119"/>
                <a:gd name="T65" fmla="*/ 113 h 191"/>
                <a:gd name="T66" fmla="*/ 23 w 119"/>
                <a:gd name="T67" fmla="*/ 125 h 191"/>
                <a:gd name="T68" fmla="*/ 12 w 119"/>
                <a:gd name="T69" fmla="*/ 137 h 191"/>
                <a:gd name="T70" fmla="*/ 12 w 119"/>
                <a:gd name="T71" fmla="*/ 137 h 191"/>
                <a:gd name="T72" fmla="*/ 17 w 119"/>
                <a:gd name="T73" fmla="*/ 158 h 191"/>
                <a:gd name="T74" fmla="*/ 20 w 119"/>
                <a:gd name="T75" fmla="*/ 179 h 191"/>
                <a:gd name="T76" fmla="*/ 20 w 119"/>
                <a:gd name="T77" fmla="*/ 191 h 191"/>
                <a:gd name="T78" fmla="*/ 29 w 119"/>
                <a:gd name="T79" fmla="*/ 191 h 191"/>
                <a:gd name="T80" fmla="*/ 29 w 119"/>
                <a:gd name="T81" fmla="*/ 185 h 191"/>
                <a:gd name="T82" fmla="*/ 26 w 119"/>
                <a:gd name="T83" fmla="*/ 182 h 191"/>
                <a:gd name="T84" fmla="*/ 41 w 119"/>
                <a:gd name="T85" fmla="*/ 167 h 191"/>
                <a:gd name="T86" fmla="*/ 56 w 119"/>
                <a:gd name="T87" fmla="*/ 158 h 191"/>
                <a:gd name="T88" fmla="*/ 59 w 119"/>
                <a:gd name="T89" fmla="*/ 143 h 191"/>
                <a:gd name="T90" fmla="*/ 56 w 119"/>
                <a:gd name="T91" fmla="*/ 128 h 191"/>
                <a:gd name="T92" fmla="*/ 50 w 119"/>
                <a:gd name="T93" fmla="*/ 113 h 191"/>
                <a:gd name="T94" fmla="*/ 53 w 119"/>
                <a:gd name="T95" fmla="*/ 107 h 191"/>
                <a:gd name="T96" fmla="*/ 56 w 119"/>
                <a:gd name="T97" fmla="*/ 101 h 191"/>
                <a:gd name="T98" fmla="*/ 68 w 119"/>
                <a:gd name="T99" fmla="*/ 95 h 191"/>
                <a:gd name="T100" fmla="*/ 77 w 119"/>
                <a:gd name="T101" fmla="*/ 80 h 191"/>
                <a:gd name="T102" fmla="*/ 101 w 119"/>
                <a:gd name="T103" fmla="*/ 71 h 191"/>
                <a:gd name="T104" fmla="*/ 119 w 119"/>
                <a:gd name="T105" fmla="*/ 4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 h="191">
                  <a:moveTo>
                    <a:pt x="119" y="47"/>
                  </a:moveTo>
                  <a:cubicBezTo>
                    <a:pt x="116" y="44"/>
                    <a:pt x="116" y="32"/>
                    <a:pt x="116" y="26"/>
                  </a:cubicBezTo>
                  <a:cubicBezTo>
                    <a:pt x="116" y="20"/>
                    <a:pt x="113" y="5"/>
                    <a:pt x="113" y="0"/>
                  </a:cubicBezTo>
                  <a:cubicBezTo>
                    <a:pt x="113" y="0"/>
                    <a:pt x="113" y="0"/>
                    <a:pt x="113" y="0"/>
                  </a:cubicBezTo>
                  <a:cubicBezTo>
                    <a:pt x="110" y="3"/>
                    <a:pt x="104" y="3"/>
                    <a:pt x="101" y="5"/>
                  </a:cubicBezTo>
                  <a:cubicBezTo>
                    <a:pt x="101" y="8"/>
                    <a:pt x="98" y="5"/>
                    <a:pt x="95" y="8"/>
                  </a:cubicBezTo>
                  <a:cubicBezTo>
                    <a:pt x="92" y="8"/>
                    <a:pt x="89" y="8"/>
                    <a:pt x="89" y="5"/>
                  </a:cubicBezTo>
                  <a:cubicBezTo>
                    <a:pt x="86" y="5"/>
                    <a:pt x="83" y="8"/>
                    <a:pt x="83" y="11"/>
                  </a:cubicBezTo>
                  <a:cubicBezTo>
                    <a:pt x="83" y="14"/>
                    <a:pt x="80" y="11"/>
                    <a:pt x="77" y="11"/>
                  </a:cubicBezTo>
                  <a:cubicBezTo>
                    <a:pt x="77" y="11"/>
                    <a:pt x="71" y="14"/>
                    <a:pt x="68" y="14"/>
                  </a:cubicBezTo>
                  <a:cubicBezTo>
                    <a:pt x="65" y="14"/>
                    <a:pt x="68" y="11"/>
                    <a:pt x="65" y="8"/>
                  </a:cubicBezTo>
                  <a:cubicBezTo>
                    <a:pt x="62" y="8"/>
                    <a:pt x="59" y="11"/>
                    <a:pt x="56" y="11"/>
                  </a:cubicBezTo>
                  <a:cubicBezTo>
                    <a:pt x="56" y="11"/>
                    <a:pt x="53" y="11"/>
                    <a:pt x="50" y="11"/>
                  </a:cubicBezTo>
                  <a:cubicBezTo>
                    <a:pt x="50" y="14"/>
                    <a:pt x="50" y="14"/>
                    <a:pt x="50" y="14"/>
                  </a:cubicBezTo>
                  <a:cubicBezTo>
                    <a:pt x="47" y="20"/>
                    <a:pt x="56" y="32"/>
                    <a:pt x="56" y="38"/>
                  </a:cubicBezTo>
                  <a:cubicBezTo>
                    <a:pt x="59" y="41"/>
                    <a:pt x="62" y="41"/>
                    <a:pt x="62" y="44"/>
                  </a:cubicBezTo>
                  <a:cubicBezTo>
                    <a:pt x="65" y="47"/>
                    <a:pt x="62" y="47"/>
                    <a:pt x="62" y="56"/>
                  </a:cubicBezTo>
                  <a:cubicBezTo>
                    <a:pt x="62" y="65"/>
                    <a:pt x="59" y="59"/>
                    <a:pt x="56" y="62"/>
                  </a:cubicBezTo>
                  <a:cubicBezTo>
                    <a:pt x="53" y="65"/>
                    <a:pt x="56" y="71"/>
                    <a:pt x="56" y="74"/>
                  </a:cubicBezTo>
                  <a:cubicBezTo>
                    <a:pt x="53" y="74"/>
                    <a:pt x="44" y="62"/>
                    <a:pt x="44" y="59"/>
                  </a:cubicBezTo>
                  <a:cubicBezTo>
                    <a:pt x="44" y="59"/>
                    <a:pt x="47" y="50"/>
                    <a:pt x="47" y="44"/>
                  </a:cubicBezTo>
                  <a:cubicBezTo>
                    <a:pt x="47" y="41"/>
                    <a:pt x="41" y="44"/>
                    <a:pt x="38" y="44"/>
                  </a:cubicBezTo>
                  <a:cubicBezTo>
                    <a:pt x="35" y="44"/>
                    <a:pt x="32" y="38"/>
                    <a:pt x="29" y="38"/>
                  </a:cubicBezTo>
                  <a:cubicBezTo>
                    <a:pt x="0" y="50"/>
                    <a:pt x="0" y="50"/>
                    <a:pt x="0" y="50"/>
                  </a:cubicBezTo>
                  <a:cubicBezTo>
                    <a:pt x="3" y="59"/>
                    <a:pt x="3" y="59"/>
                    <a:pt x="3" y="59"/>
                  </a:cubicBezTo>
                  <a:cubicBezTo>
                    <a:pt x="3" y="59"/>
                    <a:pt x="3" y="59"/>
                    <a:pt x="3" y="59"/>
                  </a:cubicBezTo>
                  <a:cubicBezTo>
                    <a:pt x="3" y="62"/>
                    <a:pt x="3" y="62"/>
                    <a:pt x="3" y="62"/>
                  </a:cubicBezTo>
                  <a:cubicBezTo>
                    <a:pt x="3" y="62"/>
                    <a:pt x="12" y="62"/>
                    <a:pt x="17" y="65"/>
                  </a:cubicBezTo>
                  <a:cubicBezTo>
                    <a:pt x="20" y="68"/>
                    <a:pt x="29" y="68"/>
                    <a:pt x="29" y="71"/>
                  </a:cubicBezTo>
                  <a:cubicBezTo>
                    <a:pt x="32" y="71"/>
                    <a:pt x="29" y="83"/>
                    <a:pt x="29" y="86"/>
                  </a:cubicBezTo>
                  <a:cubicBezTo>
                    <a:pt x="32" y="92"/>
                    <a:pt x="23" y="95"/>
                    <a:pt x="26" y="98"/>
                  </a:cubicBezTo>
                  <a:cubicBezTo>
                    <a:pt x="29" y="101"/>
                    <a:pt x="29" y="104"/>
                    <a:pt x="32" y="107"/>
                  </a:cubicBezTo>
                  <a:cubicBezTo>
                    <a:pt x="26" y="113"/>
                    <a:pt x="26" y="113"/>
                    <a:pt x="26" y="113"/>
                  </a:cubicBezTo>
                  <a:cubicBezTo>
                    <a:pt x="23" y="116"/>
                    <a:pt x="26" y="122"/>
                    <a:pt x="23" y="125"/>
                  </a:cubicBezTo>
                  <a:cubicBezTo>
                    <a:pt x="20" y="128"/>
                    <a:pt x="14" y="134"/>
                    <a:pt x="12" y="137"/>
                  </a:cubicBezTo>
                  <a:cubicBezTo>
                    <a:pt x="12" y="137"/>
                    <a:pt x="12" y="137"/>
                    <a:pt x="12" y="137"/>
                  </a:cubicBezTo>
                  <a:cubicBezTo>
                    <a:pt x="12" y="140"/>
                    <a:pt x="14" y="155"/>
                    <a:pt x="17" y="158"/>
                  </a:cubicBezTo>
                  <a:cubicBezTo>
                    <a:pt x="20" y="161"/>
                    <a:pt x="20" y="176"/>
                    <a:pt x="20" y="179"/>
                  </a:cubicBezTo>
                  <a:cubicBezTo>
                    <a:pt x="20" y="191"/>
                    <a:pt x="20" y="191"/>
                    <a:pt x="20" y="191"/>
                  </a:cubicBezTo>
                  <a:cubicBezTo>
                    <a:pt x="20" y="191"/>
                    <a:pt x="26" y="191"/>
                    <a:pt x="29" y="191"/>
                  </a:cubicBezTo>
                  <a:cubicBezTo>
                    <a:pt x="29" y="188"/>
                    <a:pt x="29" y="185"/>
                    <a:pt x="29" y="185"/>
                  </a:cubicBezTo>
                  <a:cubicBezTo>
                    <a:pt x="29" y="179"/>
                    <a:pt x="26" y="185"/>
                    <a:pt x="26" y="182"/>
                  </a:cubicBezTo>
                  <a:cubicBezTo>
                    <a:pt x="23" y="176"/>
                    <a:pt x="32" y="170"/>
                    <a:pt x="41" y="167"/>
                  </a:cubicBezTo>
                  <a:cubicBezTo>
                    <a:pt x="53" y="164"/>
                    <a:pt x="56" y="161"/>
                    <a:pt x="56" y="158"/>
                  </a:cubicBezTo>
                  <a:cubicBezTo>
                    <a:pt x="56" y="155"/>
                    <a:pt x="56" y="146"/>
                    <a:pt x="59" y="143"/>
                  </a:cubicBezTo>
                  <a:cubicBezTo>
                    <a:pt x="59" y="140"/>
                    <a:pt x="56" y="137"/>
                    <a:pt x="56" y="128"/>
                  </a:cubicBezTo>
                  <a:cubicBezTo>
                    <a:pt x="53" y="119"/>
                    <a:pt x="50" y="119"/>
                    <a:pt x="50" y="113"/>
                  </a:cubicBezTo>
                  <a:cubicBezTo>
                    <a:pt x="50" y="110"/>
                    <a:pt x="50" y="107"/>
                    <a:pt x="53" y="107"/>
                  </a:cubicBezTo>
                  <a:cubicBezTo>
                    <a:pt x="56" y="104"/>
                    <a:pt x="56" y="104"/>
                    <a:pt x="56" y="101"/>
                  </a:cubicBezTo>
                  <a:cubicBezTo>
                    <a:pt x="59" y="95"/>
                    <a:pt x="62" y="98"/>
                    <a:pt x="68" y="95"/>
                  </a:cubicBezTo>
                  <a:cubicBezTo>
                    <a:pt x="71" y="89"/>
                    <a:pt x="71" y="86"/>
                    <a:pt x="77" y="80"/>
                  </a:cubicBezTo>
                  <a:cubicBezTo>
                    <a:pt x="86" y="74"/>
                    <a:pt x="92" y="74"/>
                    <a:pt x="101" y="71"/>
                  </a:cubicBezTo>
                  <a:cubicBezTo>
                    <a:pt x="107" y="68"/>
                    <a:pt x="119" y="50"/>
                    <a:pt x="119" y="47"/>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0" name="Freeform 965"/>
            <p:cNvSpPr>
              <a:spLocks/>
            </p:cNvSpPr>
            <p:nvPr userDrawn="1"/>
          </p:nvSpPr>
          <p:spPr bwMode="auto">
            <a:xfrm>
              <a:off x="3990" y="-1128"/>
              <a:ext cx="185" cy="198"/>
            </a:xfrm>
            <a:custGeom>
              <a:avLst/>
              <a:gdLst>
                <a:gd name="T0" fmla="*/ 113 w 119"/>
                <a:gd name="T1" fmla="*/ 100 h 127"/>
                <a:gd name="T2" fmla="*/ 107 w 119"/>
                <a:gd name="T3" fmla="*/ 87 h 127"/>
                <a:gd name="T4" fmla="*/ 107 w 119"/>
                <a:gd name="T5" fmla="*/ 78 h 127"/>
                <a:gd name="T6" fmla="*/ 110 w 119"/>
                <a:gd name="T7" fmla="*/ 72 h 127"/>
                <a:gd name="T8" fmla="*/ 104 w 119"/>
                <a:gd name="T9" fmla="*/ 60 h 127"/>
                <a:gd name="T10" fmla="*/ 107 w 119"/>
                <a:gd name="T11" fmla="*/ 45 h 127"/>
                <a:gd name="T12" fmla="*/ 89 w 119"/>
                <a:gd name="T13" fmla="*/ 30 h 127"/>
                <a:gd name="T14" fmla="*/ 89 w 119"/>
                <a:gd name="T15" fmla="*/ 24 h 127"/>
                <a:gd name="T16" fmla="*/ 48 w 119"/>
                <a:gd name="T17" fmla="*/ 0 h 127"/>
                <a:gd name="T18" fmla="*/ 42 w 119"/>
                <a:gd name="T19" fmla="*/ 12 h 127"/>
                <a:gd name="T20" fmla="*/ 42 w 119"/>
                <a:gd name="T21" fmla="*/ 18 h 127"/>
                <a:gd name="T22" fmla="*/ 24 w 119"/>
                <a:gd name="T23" fmla="*/ 18 h 127"/>
                <a:gd name="T24" fmla="*/ 24 w 119"/>
                <a:gd name="T25" fmla="*/ 0 h 127"/>
                <a:gd name="T26" fmla="*/ 15 w 119"/>
                <a:gd name="T27" fmla="*/ 0 h 127"/>
                <a:gd name="T28" fmla="*/ 9 w 119"/>
                <a:gd name="T29" fmla="*/ 3 h 127"/>
                <a:gd name="T30" fmla="*/ 12 w 119"/>
                <a:gd name="T31" fmla="*/ 6 h 127"/>
                <a:gd name="T32" fmla="*/ 15 w 119"/>
                <a:gd name="T33" fmla="*/ 15 h 127"/>
                <a:gd name="T34" fmla="*/ 9 w 119"/>
                <a:gd name="T35" fmla="*/ 18 h 127"/>
                <a:gd name="T36" fmla="*/ 9 w 119"/>
                <a:gd name="T37" fmla="*/ 24 h 127"/>
                <a:gd name="T38" fmla="*/ 12 w 119"/>
                <a:gd name="T39" fmla="*/ 24 h 127"/>
                <a:gd name="T40" fmla="*/ 3 w 119"/>
                <a:gd name="T41" fmla="*/ 39 h 127"/>
                <a:gd name="T42" fmla="*/ 0 w 119"/>
                <a:gd name="T43" fmla="*/ 42 h 127"/>
                <a:gd name="T44" fmla="*/ 6 w 119"/>
                <a:gd name="T45" fmla="*/ 63 h 127"/>
                <a:gd name="T46" fmla="*/ 12 w 119"/>
                <a:gd name="T47" fmla="*/ 78 h 127"/>
                <a:gd name="T48" fmla="*/ 15 w 119"/>
                <a:gd name="T49" fmla="*/ 87 h 127"/>
                <a:gd name="T50" fmla="*/ 9 w 119"/>
                <a:gd name="T51" fmla="*/ 81 h 127"/>
                <a:gd name="T52" fmla="*/ 6 w 119"/>
                <a:gd name="T53" fmla="*/ 84 h 127"/>
                <a:gd name="T54" fmla="*/ 6 w 119"/>
                <a:gd name="T55" fmla="*/ 84 h 127"/>
                <a:gd name="T56" fmla="*/ 15 w 119"/>
                <a:gd name="T57" fmla="*/ 87 h 127"/>
                <a:gd name="T58" fmla="*/ 24 w 119"/>
                <a:gd name="T59" fmla="*/ 93 h 127"/>
                <a:gd name="T60" fmla="*/ 39 w 119"/>
                <a:gd name="T61" fmla="*/ 100 h 127"/>
                <a:gd name="T62" fmla="*/ 42 w 119"/>
                <a:gd name="T63" fmla="*/ 100 h 127"/>
                <a:gd name="T64" fmla="*/ 48 w 119"/>
                <a:gd name="T65" fmla="*/ 100 h 127"/>
                <a:gd name="T66" fmla="*/ 51 w 119"/>
                <a:gd name="T67" fmla="*/ 100 h 127"/>
                <a:gd name="T68" fmla="*/ 57 w 119"/>
                <a:gd name="T69" fmla="*/ 124 h 127"/>
                <a:gd name="T70" fmla="*/ 63 w 119"/>
                <a:gd name="T71" fmla="*/ 124 h 127"/>
                <a:gd name="T72" fmla="*/ 72 w 119"/>
                <a:gd name="T73" fmla="*/ 121 h 127"/>
                <a:gd name="T74" fmla="*/ 75 w 119"/>
                <a:gd name="T75" fmla="*/ 127 h 127"/>
                <a:gd name="T76" fmla="*/ 84 w 119"/>
                <a:gd name="T77" fmla="*/ 124 h 127"/>
                <a:gd name="T78" fmla="*/ 89 w 119"/>
                <a:gd name="T79" fmla="*/ 124 h 127"/>
                <a:gd name="T80" fmla="*/ 95 w 119"/>
                <a:gd name="T81" fmla="*/ 118 h 127"/>
                <a:gd name="T82" fmla="*/ 101 w 119"/>
                <a:gd name="T83" fmla="*/ 121 h 127"/>
                <a:gd name="T84" fmla="*/ 107 w 119"/>
                <a:gd name="T85" fmla="*/ 118 h 127"/>
                <a:gd name="T86" fmla="*/ 119 w 119"/>
                <a:gd name="T87" fmla="*/ 112 h 127"/>
                <a:gd name="T88" fmla="*/ 113 w 119"/>
                <a:gd name="T89"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27">
                  <a:moveTo>
                    <a:pt x="113" y="100"/>
                  </a:moveTo>
                  <a:cubicBezTo>
                    <a:pt x="113" y="93"/>
                    <a:pt x="107" y="93"/>
                    <a:pt x="107" y="87"/>
                  </a:cubicBezTo>
                  <a:cubicBezTo>
                    <a:pt x="107" y="84"/>
                    <a:pt x="110" y="81"/>
                    <a:pt x="107" y="78"/>
                  </a:cubicBezTo>
                  <a:cubicBezTo>
                    <a:pt x="104" y="78"/>
                    <a:pt x="107" y="75"/>
                    <a:pt x="110" y="72"/>
                  </a:cubicBezTo>
                  <a:cubicBezTo>
                    <a:pt x="113" y="66"/>
                    <a:pt x="104" y="66"/>
                    <a:pt x="104" y="60"/>
                  </a:cubicBezTo>
                  <a:cubicBezTo>
                    <a:pt x="104" y="60"/>
                    <a:pt x="104" y="51"/>
                    <a:pt x="107" y="45"/>
                  </a:cubicBezTo>
                  <a:cubicBezTo>
                    <a:pt x="98" y="36"/>
                    <a:pt x="89" y="30"/>
                    <a:pt x="89" y="30"/>
                  </a:cubicBezTo>
                  <a:cubicBezTo>
                    <a:pt x="89" y="24"/>
                    <a:pt x="89" y="24"/>
                    <a:pt x="89" y="24"/>
                  </a:cubicBezTo>
                  <a:cubicBezTo>
                    <a:pt x="48" y="0"/>
                    <a:pt x="48" y="0"/>
                    <a:pt x="48" y="0"/>
                  </a:cubicBezTo>
                  <a:cubicBezTo>
                    <a:pt x="48" y="6"/>
                    <a:pt x="45" y="9"/>
                    <a:pt x="42" y="12"/>
                  </a:cubicBezTo>
                  <a:cubicBezTo>
                    <a:pt x="39" y="12"/>
                    <a:pt x="48" y="18"/>
                    <a:pt x="42" y="18"/>
                  </a:cubicBezTo>
                  <a:cubicBezTo>
                    <a:pt x="39" y="18"/>
                    <a:pt x="30" y="15"/>
                    <a:pt x="24" y="18"/>
                  </a:cubicBezTo>
                  <a:cubicBezTo>
                    <a:pt x="21" y="18"/>
                    <a:pt x="21" y="9"/>
                    <a:pt x="24" y="0"/>
                  </a:cubicBezTo>
                  <a:cubicBezTo>
                    <a:pt x="15" y="0"/>
                    <a:pt x="15" y="0"/>
                    <a:pt x="15" y="0"/>
                  </a:cubicBezTo>
                  <a:cubicBezTo>
                    <a:pt x="15" y="0"/>
                    <a:pt x="12" y="3"/>
                    <a:pt x="9" y="3"/>
                  </a:cubicBezTo>
                  <a:cubicBezTo>
                    <a:pt x="12" y="6"/>
                    <a:pt x="12" y="6"/>
                    <a:pt x="12" y="6"/>
                  </a:cubicBezTo>
                  <a:cubicBezTo>
                    <a:pt x="12" y="6"/>
                    <a:pt x="15" y="12"/>
                    <a:pt x="15" y="15"/>
                  </a:cubicBezTo>
                  <a:cubicBezTo>
                    <a:pt x="15" y="15"/>
                    <a:pt x="12" y="18"/>
                    <a:pt x="9" y="18"/>
                  </a:cubicBezTo>
                  <a:cubicBezTo>
                    <a:pt x="9" y="21"/>
                    <a:pt x="9" y="24"/>
                    <a:pt x="9" y="24"/>
                  </a:cubicBezTo>
                  <a:cubicBezTo>
                    <a:pt x="12" y="24"/>
                    <a:pt x="12" y="24"/>
                    <a:pt x="12" y="24"/>
                  </a:cubicBezTo>
                  <a:cubicBezTo>
                    <a:pt x="12" y="24"/>
                    <a:pt x="6" y="36"/>
                    <a:pt x="3" y="39"/>
                  </a:cubicBezTo>
                  <a:cubicBezTo>
                    <a:pt x="3" y="39"/>
                    <a:pt x="0" y="39"/>
                    <a:pt x="0" y="42"/>
                  </a:cubicBezTo>
                  <a:cubicBezTo>
                    <a:pt x="0" y="48"/>
                    <a:pt x="3" y="60"/>
                    <a:pt x="6" y="63"/>
                  </a:cubicBezTo>
                  <a:cubicBezTo>
                    <a:pt x="12" y="69"/>
                    <a:pt x="9" y="75"/>
                    <a:pt x="12" y="78"/>
                  </a:cubicBezTo>
                  <a:cubicBezTo>
                    <a:pt x="12" y="81"/>
                    <a:pt x="18" y="84"/>
                    <a:pt x="15" y="87"/>
                  </a:cubicBezTo>
                  <a:cubicBezTo>
                    <a:pt x="12" y="87"/>
                    <a:pt x="9" y="84"/>
                    <a:pt x="9" y="81"/>
                  </a:cubicBezTo>
                  <a:cubicBezTo>
                    <a:pt x="9" y="81"/>
                    <a:pt x="9" y="81"/>
                    <a:pt x="6" y="84"/>
                  </a:cubicBezTo>
                  <a:cubicBezTo>
                    <a:pt x="6" y="84"/>
                    <a:pt x="6" y="84"/>
                    <a:pt x="6" y="84"/>
                  </a:cubicBezTo>
                  <a:cubicBezTo>
                    <a:pt x="9" y="87"/>
                    <a:pt x="15" y="87"/>
                    <a:pt x="15" y="87"/>
                  </a:cubicBezTo>
                  <a:cubicBezTo>
                    <a:pt x="18" y="87"/>
                    <a:pt x="24" y="93"/>
                    <a:pt x="24" y="93"/>
                  </a:cubicBezTo>
                  <a:cubicBezTo>
                    <a:pt x="27" y="93"/>
                    <a:pt x="39" y="97"/>
                    <a:pt x="39" y="100"/>
                  </a:cubicBezTo>
                  <a:cubicBezTo>
                    <a:pt x="39" y="100"/>
                    <a:pt x="39" y="100"/>
                    <a:pt x="42" y="100"/>
                  </a:cubicBezTo>
                  <a:cubicBezTo>
                    <a:pt x="42" y="100"/>
                    <a:pt x="45" y="100"/>
                    <a:pt x="48" y="100"/>
                  </a:cubicBezTo>
                  <a:cubicBezTo>
                    <a:pt x="48" y="100"/>
                    <a:pt x="48" y="100"/>
                    <a:pt x="51" y="100"/>
                  </a:cubicBezTo>
                  <a:cubicBezTo>
                    <a:pt x="54" y="100"/>
                    <a:pt x="57" y="115"/>
                    <a:pt x="57" y="124"/>
                  </a:cubicBezTo>
                  <a:cubicBezTo>
                    <a:pt x="60" y="124"/>
                    <a:pt x="63" y="124"/>
                    <a:pt x="63" y="124"/>
                  </a:cubicBezTo>
                  <a:cubicBezTo>
                    <a:pt x="66" y="124"/>
                    <a:pt x="69" y="121"/>
                    <a:pt x="72" y="121"/>
                  </a:cubicBezTo>
                  <a:cubicBezTo>
                    <a:pt x="75" y="124"/>
                    <a:pt x="72" y="127"/>
                    <a:pt x="75" y="127"/>
                  </a:cubicBezTo>
                  <a:cubicBezTo>
                    <a:pt x="78" y="127"/>
                    <a:pt x="84" y="124"/>
                    <a:pt x="84" y="124"/>
                  </a:cubicBezTo>
                  <a:cubicBezTo>
                    <a:pt x="86" y="124"/>
                    <a:pt x="89" y="127"/>
                    <a:pt x="89" y="124"/>
                  </a:cubicBezTo>
                  <a:cubicBezTo>
                    <a:pt x="89" y="121"/>
                    <a:pt x="92" y="118"/>
                    <a:pt x="95" y="118"/>
                  </a:cubicBezTo>
                  <a:cubicBezTo>
                    <a:pt x="95" y="121"/>
                    <a:pt x="98" y="121"/>
                    <a:pt x="101" y="121"/>
                  </a:cubicBezTo>
                  <a:cubicBezTo>
                    <a:pt x="104" y="118"/>
                    <a:pt x="107" y="121"/>
                    <a:pt x="107" y="118"/>
                  </a:cubicBezTo>
                  <a:cubicBezTo>
                    <a:pt x="110" y="115"/>
                    <a:pt x="116" y="115"/>
                    <a:pt x="119" y="112"/>
                  </a:cubicBezTo>
                  <a:cubicBezTo>
                    <a:pt x="119" y="106"/>
                    <a:pt x="113" y="109"/>
                    <a:pt x="113" y="10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1" name="Freeform 966"/>
            <p:cNvSpPr>
              <a:spLocks/>
            </p:cNvSpPr>
            <p:nvPr userDrawn="1"/>
          </p:nvSpPr>
          <p:spPr bwMode="auto">
            <a:xfrm>
              <a:off x="3990" y="-1128"/>
              <a:ext cx="185" cy="198"/>
            </a:xfrm>
            <a:custGeom>
              <a:avLst/>
              <a:gdLst>
                <a:gd name="T0" fmla="*/ 113 w 119"/>
                <a:gd name="T1" fmla="*/ 100 h 127"/>
                <a:gd name="T2" fmla="*/ 107 w 119"/>
                <a:gd name="T3" fmla="*/ 87 h 127"/>
                <a:gd name="T4" fmla="*/ 107 w 119"/>
                <a:gd name="T5" fmla="*/ 78 h 127"/>
                <a:gd name="T6" fmla="*/ 110 w 119"/>
                <a:gd name="T7" fmla="*/ 72 h 127"/>
                <a:gd name="T8" fmla="*/ 104 w 119"/>
                <a:gd name="T9" fmla="*/ 60 h 127"/>
                <a:gd name="T10" fmla="*/ 107 w 119"/>
                <a:gd name="T11" fmla="*/ 45 h 127"/>
                <a:gd name="T12" fmla="*/ 89 w 119"/>
                <a:gd name="T13" fmla="*/ 30 h 127"/>
                <a:gd name="T14" fmla="*/ 89 w 119"/>
                <a:gd name="T15" fmla="*/ 24 h 127"/>
                <a:gd name="T16" fmla="*/ 48 w 119"/>
                <a:gd name="T17" fmla="*/ 0 h 127"/>
                <a:gd name="T18" fmla="*/ 42 w 119"/>
                <a:gd name="T19" fmla="*/ 12 h 127"/>
                <a:gd name="T20" fmla="*/ 42 w 119"/>
                <a:gd name="T21" fmla="*/ 18 h 127"/>
                <a:gd name="T22" fmla="*/ 24 w 119"/>
                <a:gd name="T23" fmla="*/ 18 h 127"/>
                <a:gd name="T24" fmla="*/ 24 w 119"/>
                <a:gd name="T25" fmla="*/ 0 h 127"/>
                <a:gd name="T26" fmla="*/ 15 w 119"/>
                <a:gd name="T27" fmla="*/ 0 h 127"/>
                <a:gd name="T28" fmla="*/ 9 w 119"/>
                <a:gd name="T29" fmla="*/ 3 h 127"/>
                <a:gd name="T30" fmla="*/ 12 w 119"/>
                <a:gd name="T31" fmla="*/ 6 h 127"/>
                <a:gd name="T32" fmla="*/ 15 w 119"/>
                <a:gd name="T33" fmla="*/ 15 h 127"/>
                <a:gd name="T34" fmla="*/ 9 w 119"/>
                <a:gd name="T35" fmla="*/ 18 h 127"/>
                <a:gd name="T36" fmla="*/ 9 w 119"/>
                <a:gd name="T37" fmla="*/ 24 h 127"/>
                <a:gd name="T38" fmla="*/ 12 w 119"/>
                <a:gd name="T39" fmla="*/ 24 h 127"/>
                <a:gd name="T40" fmla="*/ 3 w 119"/>
                <a:gd name="T41" fmla="*/ 39 h 127"/>
                <a:gd name="T42" fmla="*/ 0 w 119"/>
                <a:gd name="T43" fmla="*/ 42 h 127"/>
                <a:gd name="T44" fmla="*/ 6 w 119"/>
                <a:gd name="T45" fmla="*/ 63 h 127"/>
                <a:gd name="T46" fmla="*/ 12 w 119"/>
                <a:gd name="T47" fmla="*/ 78 h 127"/>
                <a:gd name="T48" fmla="*/ 15 w 119"/>
                <a:gd name="T49" fmla="*/ 87 h 127"/>
                <a:gd name="T50" fmla="*/ 9 w 119"/>
                <a:gd name="T51" fmla="*/ 81 h 127"/>
                <a:gd name="T52" fmla="*/ 6 w 119"/>
                <a:gd name="T53" fmla="*/ 84 h 127"/>
                <a:gd name="T54" fmla="*/ 6 w 119"/>
                <a:gd name="T55" fmla="*/ 84 h 127"/>
                <a:gd name="T56" fmla="*/ 15 w 119"/>
                <a:gd name="T57" fmla="*/ 87 h 127"/>
                <a:gd name="T58" fmla="*/ 24 w 119"/>
                <a:gd name="T59" fmla="*/ 93 h 127"/>
                <a:gd name="T60" fmla="*/ 39 w 119"/>
                <a:gd name="T61" fmla="*/ 100 h 127"/>
                <a:gd name="T62" fmla="*/ 42 w 119"/>
                <a:gd name="T63" fmla="*/ 100 h 127"/>
                <a:gd name="T64" fmla="*/ 48 w 119"/>
                <a:gd name="T65" fmla="*/ 100 h 127"/>
                <a:gd name="T66" fmla="*/ 51 w 119"/>
                <a:gd name="T67" fmla="*/ 100 h 127"/>
                <a:gd name="T68" fmla="*/ 57 w 119"/>
                <a:gd name="T69" fmla="*/ 124 h 127"/>
                <a:gd name="T70" fmla="*/ 63 w 119"/>
                <a:gd name="T71" fmla="*/ 124 h 127"/>
                <a:gd name="T72" fmla="*/ 72 w 119"/>
                <a:gd name="T73" fmla="*/ 121 h 127"/>
                <a:gd name="T74" fmla="*/ 75 w 119"/>
                <a:gd name="T75" fmla="*/ 127 h 127"/>
                <a:gd name="T76" fmla="*/ 84 w 119"/>
                <a:gd name="T77" fmla="*/ 124 h 127"/>
                <a:gd name="T78" fmla="*/ 89 w 119"/>
                <a:gd name="T79" fmla="*/ 124 h 127"/>
                <a:gd name="T80" fmla="*/ 95 w 119"/>
                <a:gd name="T81" fmla="*/ 118 h 127"/>
                <a:gd name="T82" fmla="*/ 101 w 119"/>
                <a:gd name="T83" fmla="*/ 121 h 127"/>
                <a:gd name="T84" fmla="*/ 107 w 119"/>
                <a:gd name="T85" fmla="*/ 118 h 127"/>
                <a:gd name="T86" fmla="*/ 119 w 119"/>
                <a:gd name="T87" fmla="*/ 112 h 127"/>
                <a:gd name="T88" fmla="*/ 113 w 119"/>
                <a:gd name="T89"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27">
                  <a:moveTo>
                    <a:pt x="113" y="100"/>
                  </a:moveTo>
                  <a:cubicBezTo>
                    <a:pt x="113" y="93"/>
                    <a:pt x="107" y="93"/>
                    <a:pt x="107" y="87"/>
                  </a:cubicBezTo>
                  <a:cubicBezTo>
                    <a:pt x="107" y="84"/>
                    <a:pt x="110" y="81"/>
                    <a:pt x="107" y="78"/>
                  </a:cubicBezTo>
                  <a:cubicBezTo>
                    <a:pt x="104" y="78"/>
                    <a:pt x="107" y="75"/>
                    <a:pt x="110" y="72"/>
                  </a:cubicBezTo>
                  <a:cubicBezTo>
                    <a:pt x="113" y="66"/>
                    <a:pt x="104" y="66"/>
                    <a:pt x="104" y="60"/>
                  </a:cubicBezTo>
                  <a:cubicBezTo>
                    <a:pt x="104" y="60"/>
                    <a:pt x="104" y="51"/>
                    <a:pt x="107" y="45"/>
                  </a:cubicBezTo>
                  <a:cubicBezTo>
                    <a:pt x="98" y="36"/>
                    <a:pt x="89" y="30"/>
                    <a:pt x="89" y="30"/>
                  </a:cubicBezTo>
                  <a:cubicBezTo>
                    <a:pt x="89" y="24"/>
                    <a:pt x="89" y="24"/>
                    <a:pt x="89" y="24"/>
                  </a:cubicBezTo>
                  <a:cubicBezTo>
                    <a:pt x="48" y="0"/>
                    <a:pt x="48" y="0"/>
                    <a:pt x="48" y="0"/>
                  </a:cubicBezTo>
                  <a:cubicBezTo>
                    <a:pt x="48" y="6"/>
                    <a:pt x="45" y="9"/>
                    <a:pt x="42" y="12"/>
                  </a:cubicBezTo>
                  <a:cubicBezTo>
                    <a:pt x="39" y="12"/>
                    <a:pt x="48" y="18"/>
                    <a:pt x="42" y="18"/>
                  </a:cubicBezTo>
                  <a:cubicBezTo>
                    <a:pt x="39" y="18"/>
                    <a:pt x="30" y="15"/>
                    <a:pt x="24" y="18"/>
                  </a:cubicBezTo>
                  <a:cubicBezTo>
                    <a:pt x="21" y="18"/>
                    <a:pt x="21" y="9"/>
                    <a:pt x="24" y="0"/>
                  </a:cubicBezTo>
                  <a:cubicBezTo>
                    <a:pt x="15" y="0"/>
                    <a:pt x="15" y="0"/>
                    <a:pt x="15" y="0"/>
                  </a:cubicBezTo>
                  <a:cubicBezTo>
                    <a:pt x="15" y="0"/>
                    <a:pt x="12" y="3"/>
                    <a:pt x="9" y="3"/>
                  </a:cubicBezTo>
                  <a:cubicBezTo>
                    <a:pt x="12" y="6"/>
                    <a:pt x="12" y="6"/>
                    <a:pt x="12" y="6"/>
                  </a:cubicBezTo>
                  <a:cubicBezTo>
                    <a:pt x="12" y="6"/>
                    <a:pt x="15" y="12"/>
                    <a:pt x="15" y="15"/>
                  </a:cubicBezTo>
                  <a:cubicBezTo>
                    <a:pt x="15" y="15"/>
                    <a:pt x="12" y="18"/>
                    <a:pt x="9" y="18"/>
                  </a:cubicBezTo>
                  <a:cubicBezTo>
                    <a:pt x="9" y="21"/>
                    <a:pt x="9" y="24"/>
                    <a:pt x="9" y="24"/>
                  </a:cubicBezTo>
                  <a:cubicBezTo>
                    <a:pt x="12" y="24"/>
                    <a:pt x="12" y="24"/>
                    <a:pt x="12" y="24"/>
                  </a:cubicBezTo>
                  <a:cubicBezTo>
                    <a:pt x="12" y="24"/>
                    <a:pt x="6" y="36"/>
                    <a:pt x="3" y="39"/>
                  </a:cubicBezTo>
                  <a:cubicBezTo>
                    <a:pt x="3" y="39"/>
                    <a:pt x="0" y="39"/>
                    <a:pt x="0" y="42"/>
                  </a:cubicBezTo>
                  <a:cubicBezTo>
                    <a:pt x="0" y="48"/>
                    <a:pt x="3" y="60"/>
                    <a:pt x="6" y="63"/>
                  </a:cubicBezTo>
                  <a:cubicBezTo>
                    <a:pt x="12" y="69"/>
                    <a:pt x="9" y="75"/>
                    <a:pt x="12" y="78"/>
                  </a:cubicBezTo>
                  <a:cubicBezTo>
                    <a:pt x="12" y="81"/>
                    <a:pt x="18" y="84"/>
                    <a:pt x="15" y="87"/>
                  </a:cubicBezTo>
                  <a:cubicBezTo>
                    <a:pt x="12" y="87"/>
                    <a:pt x="9" y="84"/>
                    <a:pt x="9" y="81"/>
                  </a:cubicBezTo>
                  <a:cubicBezTo>
                    <a:pt x="9" y="81"/>
                    <a:pt x="9" y="81"/>
                    <a:pt x="6" y="84"/>
                  </a:cubicBezTo>
                  <a:cubicBezTo>
                    <a:pt x="6" y="84"/>
                    <a:pt x="6" y="84"/>
                    <a:pt x="6" y="84"/>
                  </a:cubicBezTo>
                  <a:cubicBezTo>
                    <a:pt x="9" y="87"/>
                    <a:pt x="15" y="87"/>
                    <a:pt x="15" y="87"/>
                  </a:cubicBezTo>
                  <a:cubicBezTo>
                    <a:pt x="18" y="87"/>
                    <a:pt x="24" y="93"/>
                    <a:pt x="24" y="93"/>
                  </a:cubicBezTo>
                  <a:cubicBezTo>
                    <a:pt x="27" y="93"/>
                    <a:pt x="39" y="97"/>
                    <a:pt x="39" y="100"/>
                  </a:cubicBezTo>
                  <a:cubicBezTo>
                    <a:pt x="39" y="100"/>
                    <a:pt x="39" y="100"/>
                    <a:pt x="42" y="100"/>
                  </a:cubicBezTo>
                  <a:cubicBezTo>
                    <a:pt x="42" y="100"/>
                    <a:pt x="45" y="100"/>
                    <a:pt x="48" y="100"/>
                  </a:cubicBezTo>
                  <a:cubicBezTo>
                    <a:pt x="48" y="100"/>
                    <a:pt x="48" y="100"/>
                    <a:pt x="51" y="100"/>
                  </a:cubicBezTo>
                  <a:cubicBezTo>
                    <a:pt x="54" y="100"/>
                    <a:pt x="57" y="115"/>
                    <a:pt x="57" y="124"/>
                  </a:cubicBezTo>
                  <a:cubicBezTo>
                    <a:pt x="60" y="124"/>
                    <a:pt x="63" y="124"/>
                    <a:pt x="63" y="124"/>
                  </a:cubicBezTo>
                  <a:cubicBezTo>
                    <a:pt x="66" y="124"/>
                    <a:pt x="69" y="121"/>
                    <a:pt x="72" y="121"/>
                  </a:cubicBezTo>
                  <a:cubicBezTo>
                    <a:pt x="75" y="124"/>
                    <a:pt x="72" y="127"/>
                    <a:pt x="75" y="127"/>
                  </a:cubicBezTo>
                  <a:cubicBezTo>
                    <a:pt x="78" y="127"/>
                    <a:pt x="84" y="124"/>
                    <a:pt x="84" y="124"/>
                  </a:cubicBezTo>
                  <a:cubicBezTo>
                    <a:pt x="86" y="124"/>
                    <a:pt x="89" y="127"/>
                    <a:pt x="89" y="124"/>
                  </a:cubicBezTo>
                  <a:cubicBezTo>
                    <a:pt x="89" y="121"/>
                    <a:pt x="92" y="118"/>
                    <a:pt x="95" y="118"/>
                  </a:cubicBezTo>
                  <a:cubicBezTo>
                    <a:pt x="95" y="121"/>
                    <a:pt x="98" y="121"/>
                    <a:pt x="101" y="121"/>
                  </a:cubicBezTo>
                  <a:cubicBezTo>
                    <a:pt x="104" y="118"/>
                    <a:pt x="107" y="121"/>
                    <a:pt x="107" y="118"/>
                  </a:cubicBezTo>
                  <a:cubicBezTo>
                    <a:pt x="110" y="115"/>
                    <a:pt x="116" y="115"/>
                    <a:pt x="119" y="112"/>
                  </a:cubicBezTo>
                  <a:cubicBezTo>
                    <a:pt x="119" y="106"/>
                    <a:pt x="113" y="109"/>
                    <a:pt x="113" y="10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2" name="Freeform 967"/>
            <p:cNvSpPr>
              <a:spLocks/>
            </p:cNvSpPr>
            <p:nvPr userDrawn="1"/>
          </p:nvSpPr>
          <p:spPr bwMode="auto">
            <a:xfrm>
              <a:off x="4046" y="-972"/>
              <a:ext cx="56" cy="135"/>
            </a:xfrm>
            <a:custGeom>
              <a:avLst/>
              <a:gdLst>
                <a:gd name="T0" fmla="*/ 33 w 36"/>
                <a:gd name="T1" fmla="*/ 56 h 86"/>
                <a:gd name="T2" fmla="*/ 27 w 36"/>
                <a:gd name="T3" fmla="*/ 50 h 86"/>
                <a:gd name="T4" fmla="*/ 27 w 36"/>
                <a:gd name="T5" fmla="*/ 53 h 86"/>
                <a:gd name="T6" fmla="*/ 15 w 36"/>
                <a:gd name="T7" fmla="*/ 35 h 86"/>
                <a:gd name="T8" fmla="*/ 15 w 36"/>
                <a:gd name="T9" fmla="*/ 15 h 86"/>
                <a:gd name="T10" fmla="*/ 12 w 36"/>
                <a:gd name="T11" fmla="*/ 0 h 86"/>
                <a:gd name="T12" fmla="*/ 6 w 36"/>
                <a:gd name="T13" fmla="*/ 0 h 86"/>
                <a:gd name="T14" fmla="*/ 9 w 36"/>
                <a:gd name="T15" fmla="*/ 12 h 86"/>
                <a:gd name="T16" fmla="*/ 6 w 36"/>
                <a:gd name="T17" fmla="*/ 15 h 86"/>
                <a:gd name="T18" fmla="*/ 6 w 36"/>
                <a:gd name="T19" fmla="*/ 32 h 86"/>
                <a:gd name="T20" fmla="*/ 0 w 36"/>
                <a:gd name="T21" fmla="*/ 35 h 86"/>
                <a:gd name="T22" fmla="*/ 0 w 36"/>
                <a:gd name="T23" fmla="*/ 44 h 86"/>
                <a:gd name="T24" fmla="*/ 0 w 36"/>
                <a:gd name="T25" fmla="*/ 50 h 86"/>
                <a:gd name="T26" fmla="*/ 0 w 36"/>
                <a:gd name="T27" fmla="*/ 50 h 86"/>
                <a:gd name="T28" fmla="*/ 9 w 36"/>
                <a:gd name="T29" fmla="*/ 56 h 86"/>
                <a:gd name="T30" fmla="*/ 18 w 36"/>
                <a:gd name="T31" fmla="*/ 56 h 86"/>
                <a:gd name="T32" fmla="*/ 15 w 36"/>
                <a:gd name="T33" fmla="*/ 71 h 86"/>
                <a:gd name="T34" fmla="*/ 27 w 36"/>
                <a:gd name="T35" fmla="*/ 86 h 86"/>
                <a:gd name="T36" fmla="*/ 27 w 36"/>
                <a:gd name="T37" fmla="*/ 74 h 86"/>
                <a:gd name="T38" fmla="*/ 33 w 36"/>
                <a:gd name="T39" fmla="*/ 68 h 86"/>
                <a:gd name="T40" fmla="*/ 33 w 36"/>
                <a:gd name="T41" fmla="*/ 5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86">
                  <a:moveTo>
                    <a:pt x="33" y="56"/>
                  </a:moveTo>
                  <a:cubicBezTo>
                    <a:pt x="33" y="53"/>
                    <a:pt x="30" y="53"/>
                    <a:pt x="27" y="50"/>
                  </a:cubicBezTo>
                  <a:cubicBezTo>
                    <a:pt x="27" y="50"/>
                    <a:pt x="27" y="50"/>
                    <a:pt x="27" y="53"/>
                  </a:cubicBezTo>
                  <a:cubicBezTo>
                    <a:pt x="24" y="56"/>
                    <a:pt x="15" y="44"/>
                    <a:pt x="15" y="35"/>
                  </a:cubicBezTo>
                  <a:cubicBezTo>
                    <a:pt x="12" y="26"/>
                    <a:pt x="18" y="23"/>
                    <a:pt x="15" y="15"/>
                  </a:cubicBezTo>
                  <a:cubicBezTo>
                    <a:pt x="12" y="9"/>
                    <a:pt x="9" y="3"/>
                    <a:pt x="12" y="0"/>
                  </a:cubicBezTo>
                  <a:cubicBezTo>
                    <a:pt x="9" y="0"/>
                    <a:pt x="6" y="0"/>
                    <a:pt x="6" y="0"/>
                  </a:cubicBezTo>
                  <a:cubicBezTo>
                    <a:pt x="6" y="3"/>
                    <a:pt x="9" y="9"/>
                    <a:pt x="9" y="12"/>
                  </a:cubicBezTo>
                  <a:cubicBezTo>
                    <a:pt x="9" y="15"/>
                    <a:pt x="6" y="12"/>
                    <a:pt x="6" y="15"/>
                  </a:cubicBezTo>
                  <a:cubicBezTo>
                    <a:pt x="3" y="18"/>
                    <a:pt x="3" y="29"/>
                    <a:pt x="6" y="32"/>
                  </a:cubicBezTo>
                  <a:cubicBezTo>
                    <a:pt x="9" y="35"/>
                    <a:pt x="0" y="32"/>
                    <a:pt x="0" y="35"/>
                  </a:cubicBezTo>
                  <a:cubicBezTo>
                    <a:pt x="0" y="38"/>
                    <a:pt x="0" y="44"/>
                    <a:pt x="0" y="44"/>
                  </a:cubicBezTo>
                  <a:cubicBezTo>
                    <a:pt x="0" y="47"/>
                    <a:pt x="0" y="47"/>
                    <a:pt x="0" y="50"/>
                  </a:cubicBezTo>
                  <a:cubicBezTo>
                    <a:pt x="0" y="50"/>
                    <a:pt x="0" y="50"/>
                    <a:pt x="0" y="50"/>
                  </a:cubicBezTo>
                  <a:cubicBezTo>
                    <a:pt x="3" y="50"/>
                    <a:pt x="6" y="56"/>
                    <a:pt x="9" y="56"/>
                  </a:cubicBezTo>
                  <a:cubicBezTo>
                    <a:pt x="12" y="56"/>
                    <a:pt x="18" y="53"/>
                    <a:pt x="18" y="56"/>
                  </a:cubicBezTo>
                  <a:cubicBezTo>
                    <a:pt x="18" y="62"/>
                    <a:pt x="15" y="71"/>
                    <a:pt x="15" y="71"/>
                  </a:cubicBezTo>
                  <a:cubicBezTo>
                    <a:pt x="15" y="74"/>
                    <a:pt x="24" y="86"/>
                    <a:pt x="27" y="86"/>
                  </a:cubicBezTo>
                  <a:cubicBezTo>
                    <a:pt x="27" y="83"/>
                    <a:pt x="24" y="77"/>
                    <a:pt x="27" y="74"/>
                  </a:cubicBezTo>
                  <a:cubicBezTo>
                    <a:pt x="30" y="71"/>
                    <a:pt x="33" y="77"/>
                    <a:pt x="33" y="68"/>
                  </a:cubicBezTo>
                  <a:cubicBezTo>
                    <a:pt x="33" y="59"/>
                    <a:pt x="36" y="59"/>
                    <a:pt x="33" y="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3" name="Freeform 968"/>
            <p:cNvSpPr>
              <a:spLocks/>
            </p:cNvSpPr>
            <p:nvPr userDrawn="1"/>
          </p:nvSpPr>
          <p:spPr bwMode="auto">
            <a:xfrm>
              <a:off x="4046" y="-972"/>
              <a:ext cx="56" cy="135"/>
            </a:xfrm>
            <a:custGeom>
              <a:avLst/>
              <a:gdLst>
                <a:gd name="T0" fmla="*/ 33 w 36"/>
                <a:gd name="T1" fmla="*/ 56 h 86"/>
                <a:gd name="T2" fmla="*/ 27 w 36"/>
                <a:gd name="T3" fmla="*/ 50 h 86"/>
                <a:gd name="T4" fmla="*/ 27 w 36"/>
                <a:gd name="T5" fmla="*/ 53 h 86"/>
                <a:gd name="T6" fmla="*/ 15 w 36"/>
                <a:gd name="T7" fmla="*/ 35 h 86"/>
                <a:gd name="T8" fmla="*/ 15 w 36"/>
                <a:gd name="T9" fmla="*/ 15 h 86"/>
                <a:gd name="T10" fmla="*/ 12 w 36"/>
                <a:gd name="T11" fmla="*/ 0 h 86"/>
                <a:gd name="T12" fmla="*/ 6 w 36"/>
                <a:gd name="T13" fmla="*/ 0 h 86"/>
                <a:gd name="T14" fmla="*/ 9 w 36"/>
                <a:gd name="T15" fmla="*/ 12 h 86"/>
                <a:gd name="T16" fmla="*/ 6 w 36"/>
                <a:gd name="T17" fmla="*/ 15 h 86"/>
                <a:gd name="T18" fmla="*/ 6 w 36"/>
                <a:gd name="T19" fmla="*/ 32 h 86"/>
                <a:gd name="T20" fmla="*/ 0 w 36"/>
                <a:gd name="T21" fmla="*/ 35 h 86"/>
                <a:gd name="T22" fmla="*/ 0 w 36"/>
                <a:gd name="T23" fmla="*/ 44 h 86"/>
                <a:gd name="T24" fmla="*/ 0 w 36"/>
                <a:gd name="T25" fmla="*/ 50 h 86"/>
                <a:gd name="T26" fmla="*/ 0 w 36"/>
                <a:gd name="T27" fmla="*/ 50 h 86"/>
                <a:gd name="T28" fmla="*/ 9 w 36"/>
                <a:gd name="T29" fmla="*/ 56 h 86"/>
                <a:gd name="T30" fmla="*/ 18 w 36"/>
                <a:gd name="T31" fmla="*/ 56 h 86"/>
                <a:gd name="T32" fmla="*/ 15 w 36"/>
                <a:gd name="T33" fmla="*/ 71 h 86"/>
                <a:gd name="T34" fmla="*/ 27 w 36"/>
                <a:gd name="T35" fmla="*/ 86 h 86"/>
                <a:gd name="T36" fmla="*/ 27 w 36"/>
                <a:gd name="T37" fmla="*/ 74 h 86"/>
                <a:gd name="T38" fmla="*/ 33 w 36"/>
                <a:gd name="T39" fmla="*/ 68 h 86"/>
                <a:gd name="T40" fmla="*/ 33 w 36"/>
                <a:gd name="T41" fmla="*/ 5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86">
                  <a:moveTo>
                    <a:pt x="33" y="56"/>
                  </a:moveTo>
                  <a:cubicBezTo>
                    <a:pt x="33" y="53"/>
                    <a:pt x="30" y="53"/>
                    <a:pt x="27" y="50"/>
                  </a:cubicBezTo>
                  <a:cubicBezTo>
                    <a:pt x="27" y="50"/>
                    <a:pt x="27" y="50"/>
                    <a:pt x="27" y="53"/>
                  </a:cubicBezTo>
                  <a:cubicBezTo>
                    <a:pt x="24" y="56"/>
                    <a:pt x="15" y="44"/>
                    <a:pt x="15" y="35"/>
                  </a:cubicBezTo>
                  <a:cubicBezTo>
                    <a:pt x="12" y="26"/>
                    <a:pt x="18" y="23"/>
                    <a:pt x="15" y="15"/>
                  </a:cubicBezTo>
                  <a:cubicBezTo>
                    <a:pt x="12" y="9"/>
                    <a:pt x="9" y="3"/>
                    <a:pt x="12" y="0"/>
                  </a:cubicBezTo>
                  <a:cubicBezTo>
                    <a:pt x="9" y="0"/>
                    <a:pt x="6" y="0"/>
                    <a:pt x="6" y="0"/>
                  </a:cubicBezTo>
                  <a:cubicBezTo>
                    <a:pt x="6" y="3"/>
                    <a:pt x="9" y="9"/>
                    <a:pt x="9" y="12"/>
                  </a:cubicBezTo>
                  <a:cubicBezTo>
                    <a:pt x="9" y="15"/>
                    <a:pt x="6" y="12"/>
                    <a:pt x="6" y="15"/>
                  </a:cubicBezTo>
                  <a:cubicBezTo>
                    <a:pt x="3" y="18"/>
                    <a:pt x="3" y="29"/>
                    <a:pt x="6" y="32"/>
                  </a:cubicBezTo>
                  <a:cubicBezTo>
                    <a:pt x="9" y="35"/>
                    <a:pt x="0" y="32"/>
                    <a:pt x="0" y="35"/>
                  </a:cubicBezTo>
                  <a:cubicBezTo>
                    <a:pt x="0" y="38"/>
                    <a:pt x="0" y="44"/>
                    <a:pt x="0" y="44"/>
                  </a:cubicBezTo>
                  <a:cubicBezTo>
                    <a:pt x="0" y="47"/>
                    <a:pt x="0" y="47"/>
                    <a:pt x="0" y="50"/>
                  </a:cubicBezTo>
                  <a:cubicBezTo>
                    <a:pt x="0" y="50"/>
                    <a:pt x="0" y="50"/>
                    <a:pt x="0" y="50"/>
                  </a:cubicBezTo>
                  <a:cubicBezTo>
                    <a:pt x="3" y="50"/>
                    <a:pt x="6" y="56"/>
                    <a:pt x="9" y="56"/>
                  </a:cubicBezTo>
                  <a:cubicBezTo>
                    <a:pt x="12" y="56"/>
                    <a:pt x="18" y="53"/>
                    <a:pt x="18" y="56"/>
                  </a:cubicBezTo>
                  <a:cubicBezTo>
                    <a:pt x="18" y="62"/>
                    <a:pt x="15" y="71"/>
                    <a:pt x="15" y="71"/>
                  </a:cubicBezTo>
                  <a:cubicBezTo>
                    <a:pt x="15" y="74"/>
                    <a:pt x="24" y="86"/>
                    <a:pt x="27" y="86"/>
                  </a:cubicBezTo>
                  <a:cubicBezTo>
                    <a:pt x="27" y="83"/>
                    <a:pt x="24" y="77"/>
                    <a:pt x="27" y="74"/>
                  </a:cubicBezTo>
                  <a:cubicBezTo>
                    <a:pt x="30" y="71"/>
                    <a:pt x="33" y="77"/>
                    <a:pt x="33" y="68"/>
                  </a:cubicBezTo>
                  <a:cubicBezTo>
                    <a:pt x="33" y="59"/>
                    <a:pt x="36" y="59"/>
                    <a:pt x="33" y="5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4" name="Freeform 969"/>
            <p:cNvSpPr>
              <a:spLocks/>
            </p:cNvSpPr>
            <p:nvPr userDrawn="1"/>
          </p:nvSpPr>
          <p:spPr bwMode="auto">
            <a:xfrm>
              <a:off x="6349" y="-775"/>
              <a:ext cx="56" cy="45"/>
            </a:xfrm>
            <a:custGeom>
              <a:avLst/>
              <a:gdLst>
                <a:gd name="T0" fmla="*/ 0 w 36"/>
                <a:gd name="T1" fmla="*/ 6 h 29"/>
                <a:gd name="T2" fmla="*/ 33 w 36"/>
                <a:gd name="T3" fmla="*/ 27 h 29"/>
                <a:gd name="T4" fmla="*/ 0 w 36"/>
                <a:gd name="T5" fmla="*/ 6 h 29"/>
              </a:gdLst>
              <a:ahLst/>
              <a:cxnLst>
                <a:cxn ang="0">
                  <a:pos x="T0" y="T1"/>
                </a:cxn>
                <a:cxn ang="0">
                  <a:pos x="T2" y="T3"/>
                </a:cxn>
                <a:cxn ang="0">
                  <a:pos x="T4" y="T5"/>
                </a:cxn>
              </a:cxnLst>
              <a:rect l="0" t="0" r="r" b="b"/>
              <a:pathLst>
                <a:path w="36" h="29">
                  <a:moveTo>
                    <a:pt x="0" y="6"/>
                  </a:moveTo>
                  <a:cubicBezTo>
                    <a:pt x="0" y="0"/>
                    <a:pt x="36" y="24"/>
                    <a:pt x="33" y="27"/>
                  </a:cubicBezTo>
                  <a:cubicBezTo>
                    <a:pt x="30" y="29"/>
                    <a:pt x="0" y="9"/>
                    <a:pt x="0"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5" name="Freeform 970"/>
            <p:cNvSpPr>
              <a:spLocks/>
            </p:cNvSpPr>
            <p:nvPr userDrawn="1"/>
          </p:nvSpPr>
          <p:spPr bwMode="auto">
            <a:xfrm>
              <a:off x="6349" y="-775"/>
              <a:ext cx="56" cy="45"/>
            </a:xfrm>
            <a:custGeom>
              <a:avLst/>
              <a:gdLst>
                <a:gd name="T0" fmla="*/ 0 w 36"/>
                <a:gd name="T1" fmla="*/ 6 h 29"/>
                <a:gd name="T2" fmla="*/ 33 w 36"/>
                <a:gd name="T3" fmla="*/ 27 h 29"/>
                <a:gd name="T4" fmla="*/ 0 w 36"/>
                <a:gd name="T5" fmla="*/ 6 h 29"/>
              </a:gdLst>
              <a:ahLst/>
              <a:cxnLst>
                <a:cxn ang="0">
                  <a:pos x="T0" y="T1"/>
                </a:cxn>
                <a:cxn ang="0">
                  <a:pos x="T2" y="T3"/>
                </a:cxn>
                <a:cxn ang="0">
                  <a:pos x="T4" y="T5"/>
                </a:cxn>
              </a:cxnLst>
              <a:rect l="0" t="0" r="r" b="b"/>
              <a:pathLst>
                <a:path w="36" h="29">
                  <a:moveTo>
                    <a:pt x="0" y="6"/>
                  </a:moveTo>
                  <a:cubicBezTo>
                    <a:pt x="0" y="0"/>
                    <a:pt x="36" y="24"/>
                    <a:pt x="33" y="27"/>
                  </a:cubicBezTo>
                  <a:cubicBezTo>
                    <a:pt x="30" y="29"/>
                    <a:pt x="0" y="9"/>
                    <a:pt x="0"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6" name="Freeform 971"/>
            <p:cNvSpPr>
              <a:spLocks/>
            </p:cNvSpPr>
            <p:nvPr userDrawn="1"/>
          </p:nvSpPr>
          <p:spPr bwMode="auto">
            <a:xfrm>
              <a:off x="2091" y="-1600"/>
              <a:ext cx="19" cy="34"/>
            </a:xfrm>
            <a:custGeom>
              <a:avLst/>
              <a:gdLst>
                <a:gd name="T0" fmla="*/ 9 w 12"/>
                <a:gd name="T1" fmla="*/ 19 h 22"/>
                <a:gd name="T2" fmla="*/ 6 w 12"/>
                <a:gd name="T3" fmla="*/ 15 h 22"/>
                <a:gd name="T4" fmla="*/ 0 w 12"/>
                <a:gd name="T5" fmla="*/ 6 h 22"/>
                <a:gd name="T6" fmla="*/ 6 w 12"/>
                <a:gd name="T7" fmla="*/ 3 h 22"/>
                <a:gd name="T8" fmla="*/ 6 w 12"/>
                <a:gd name="T9" fmla="*/ 12 h 22"/>
                <a:gd name="T10" fmla="*/ 9 w 12"/>
                <a:gd name="T11" fmla="*/ 19 h 22"/>
              </a:gdLst>
              <a:ahLst/>
              <a:cxnLst>
                <a:cxn ang="0">
                  <a:pos x="T0" y="T1"/>
                </a:cxn>
                <a:cxn ang="0">
                  <a:pos x="T2" y="T3"/>
                </a:cxn>
                <a:cxn ang="0">
                  <a:pos x="T4" y="T5"/>
                </a:cxn>
                <a:cxn ang="0">
                  <a:pos x="T6" y="T7"/>
                </a:cxn>
                <a:cxn ang="0">
                  <a:pos x="T8" y="T9"/>
                </a:cxn>
                <a:cxn ang="0">
                  <a:pos x="T10" y="T11"/>
                </a:cxn>
              </a:cxnLst>
              <a:rect l="0" t="0" r="r" b="b"/>
              <a:pathLst>
                <a:path w="12" h="22">
                  <a:moveTo>
                    <a:pt x="9" y="19"/>
                  </a:moveTo>
                  <a:cubicBezTo>
                    <a:pt x="9" y="22"/>
                    <a:pt x="6" y="15"/>
                    <a:pt x="6" y="15"/>
                  </a:cubicBezTo>
                  <a:cubicBezTo>
                    <a:pt x="6" y="12"/>
                    <a:pt x="0" y="12"/>
                    <a:pt x="0" y="6"/>
                  </a:cubicBezTo>
                  <a:cubicBezTo>
                    <a:pt x="0" y="3"/>
                    <a:pt x="3" y="0"/>
                    <a:pt x="6" y="3"/>
                  </a:cubicBezTo>
                  <a:cubicBezTo>
                    <a:pt x="9" y="6"/>
                    <a:pt x="6" y="9"/>
                    <a:pt x="6" y="12"/>
                  </a:cubicBezTo>
                  <a:cubicBezTo>
                    <a:pt x="6" y="12"/>
                    <a:pt x="12" y="15"/>
                    <a:pt x="9" y="1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7" name="Freeform 972"/>
            <p:cNvSpPr>
              <a:spLocks/>
            </p:cNvSpPr>
            <p:nvPr userDrawn="1"/>
          </p:nvSpPr>
          <p:spPr bwMode="auto">
            <a:xfrm>
              <a:off x="2091" y="-1600"/>
              <a:ext cx="19" cy="34"/>
            </a:xfrm>
            <a:custGeom>
              <a:avLst/>
              <a:gdLst>
                <a:gd name="T0" fmla="*/ 9 w 12"/>
                <a:gd name="T1" fmla="*/ 19 h 22"/>
                <a:gd name="T2" fmla="*/ 6 w 12"/>
                <a:gd name="T3" fmla="*/ 15 h 22"/>
                <a:gd name="T4" fmla="*/ 0 w 12"/>
                <a:gd name="T5" fmla="*/ 6 h 22"/>
                <a:gd name="T6" fmla="*/ 6 w 12"/>
                <a:gd name="T7" fmla="*/ 3 h 22"/>
                <a:gd name="T8" fmla="*/ 6 w 12"/>
                <a:gd name="T9" fmla="*/ 12 h 22"/>
                <a:gd name="T10" fmla="*/ 9 w 12"/>
                <a:gd name="T11" fmla="*/ 19 h 22"/>
              </a:gdLst>
              <a:ahLst/>
              <a:cxnLst>
                <a:cxn ang="0">
                  <a:pos x="T0" y="T1"/>
                </a:cxn>
                <a:cxn ang="0">
                  <a:pos x="T2" y="T3"/>
                </a:cxn>
                <a:cxn ang="0">
                  <a:pos x="T4" y="T5"/>
                </a:cxn>
                <a:cxn ang="0">
                  <a:pos x="T6" y="T7"/>
                </a:cxn>
                <a:cxn ang="0">
                  <a:pos x="T8" y="T9"/>
                </a:cxn>
                <a:cxn ang="0">
                  <a:pos x="T10" y="T11"/>
                </a:cxn>
              </a:cxnLst>
              <a:rect l="0" t="0" r="r" b="b"/>
              <a:pathLst>
                <a:path w="12" h="22">
                  <a:moveTo>
                    <a:pt x="9" y="19"/>
                  </a:moveTo>
                  <a:cubicBezTo>
                    <a:pt x="9" y="22"/>
                    <a:pt x="6" y="15"/>
                    <a:pt x="6" y="15"/>
                  </a:cubicBezTo>
                  <a:cubicBezTo>
                    <a:pt x="6" y="12"/>
                    <a:pt x="0" y="12"/>
                    <a:pt x="0" y="6"/>
                  </a:cubicBezTo>
                  <a:cubicBezTo>
                    <a:pt x="0" y="3"/>
                    <a:pt x="3" y="0"/>
                    <a:pt x="6" y="3"/>
                  </a:cubicBezTo>
                  <a:cubicBezTo>
                    <a:pt x="9" y="6"/>
                    <a:pt x="6" y="9"/>
                    <a:pt x="6" y="12"/>
                  </a:cubicBezTo>
                  <a:cubicBezTo>
                    <a:pt x="6" y="12"/>
                    <a:pt x="12" y="15"/>
                    <a:pt x="9" y="1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8" name="Freeform 973"/>
            <p:cNvSpPr>
              <a:spLocks/>
            </p:cNvSpPr>
            <p:nvPr userDrawn="1"/>
          </p:nvSpPr>
          <p:spPr bwMode="auto">
            <a:xfrm>
              <a:off x="2383" y="-1334"/>
              <a:ext cx="21" cy="14"/>
            </a:xfrm>
            <a:custGeom>
              <a:avLst/>
              <a:gdLst>
                <a:gd name="T0" fmla="*/ 2 w 14"/>
                <a:gd name="T1" fmla="*/ 9 h 9"/>
                <a:gd name="T2" fmla="*/ 2 w 14"/>
                <a:gd name="T3" fmla="*/ 3 h 9"/>
                <a:gd name="T4" fmla="*/ 11 w 14"/>
                <a:gd name="T5" fmla="*/ 0 h 9"/>
                <a:gd name="T6" fmla="*/ 11 w 14"/>
                <a:gd name="T7" fmla="*/ 6 h 9"/>
                <a:gd name="T8" fmla="*/ 2 w 14"/>
                <a:gd name="T9" fmla="*/ 9 h 9"/>
              </a:gdLst>
              <a:ahLst/>
              <a:cxnLst>
                <a:cxn ang="0">
                  <a:pos x="T0" y="T1"/>
                </a:cxn>
                <a:cxn ang="0">
                  <a:pos x="T2" y="T3"/>
                </a:cxn>
                <a:cxn ang="0">
                  <a:pos x="T4" y="T5"/>
                </a:cxn>
                <a:cxn ang="0">
                  <a:pos x="T6" y="T7"/>
                </a:cxn>
                <a:cxn ang="0">
                  <a:pos x="T8" y="T9"/>
                </a:cxn>
              </a:cxnLst>
              <a:rect l="0" t="0" r="r" b="b"/>
              <a:pathLst>
                <a:path w="14" h="9">
                  <a:moveTo>
                    <a:pt x="2" y="9"/>
                  </a:moveTo>
                  <a:cubicBezTo>
                    <a:pt x="2" y="6"/>
                    <a:pt x="5" y="3"/>
                    <a:pt x="2" y="3"/>
                  </a:cubicBezTo>
                  <a:cubicBezTo>
                    <a:pt x="0" y="3"/>
                    <a:pt x="8" y="0"/>
                    <a:pt x="11" y="0"/>
                  </a:cubicBezTo>
                  <a:cubicBezTo>
                    <a:pt x="14" y="3"/>
                    <a:pt x="14" y="6"/>
                    <a:pt x="11" y="6"/>
                  </a:cubicBezTo>
                  <a:cubicBezTo>
                    <a:pt x="8" y="9"/>
                    <a:pt x="5" y="9"/>
                    <a:pt x="2"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79" name="Freeform 974"/>
            <p:cNvSpPr>
              <a:spLocks/>
            </p:cNvSpPr>
            <p:nvPr userDrawn="1"/>
          </p:nvSpPr>
          <p:spPr bwMode="auto">
            <a:xfrm>
              <a:off x="2383" y="-1334"/>
              <a:ext cx="21" cy="14"/>
            </a:xfrm>
            <a:custGeom>
              <a:avLst/>
              <a:gdLst>
                <a:gd name="T0" fmla="*/ 2 w 14"/>
                <a:gd name="T1" fmla="*/ 9 h 9"/>
                <a:gd name="T2" fmla="*/ 2 w 14"/>
                <a:gd name="T3" fmla="*/ 3 h 9"/>
                <a:gd name="T4" fmla="*/ 11 w 14"/>
                <a:gd name="T5" fmla="*/ 0 h 9"/>
                <a:gd name="T6" fmla="*/ 11 w 14"/>
                <a:gd name="T7" fmla="*/ 6 h 9"/>
                <a:gd name="T8" fmla="*/ 2 w 14"/>
                <a:gd name="T9" fmla="*/ 9 h 9"/>
              </a:gdLst>
              <a:ahLst/>
              <a:cxnLst>
                <a:cxn ang="0">
                  <a:pos x="T0" y="T1"/>
                </a:cxn>
                <a:cxn ang="0">
                  <a:pos x="T2" y="T3"/>
                </a:cxn>
                <a:cxn ang="0">
                  <a:pos x="T4" y="T5"/>
                </a:cxn>
                <a:cxn ang="0">
                  <a:pos x="T6" y="T7"/>
                </a:cxn>
                <a:cxn ang="0">
                  <a:pos x="T8" y="T9"/>
                </a:cxn>
              </a:cxnLst>
              <a:rect l="0" t="0" r="r" b="b"/>
              <a:pathLst>
                <a:path w="14" h="9">
                  <a:moveTo>
                    <a:pt x="2" y="9"/>
                  </a:moveTo>
                  <a:cubicBezTo>
                    <a:pt x="2" y="6"/>
                    <a:pt x="5" y="3"/>
                    <a:pt x="2" y="3"/>
                  </a:cubicBezTo>
                  <a:cubicBezTo>
                    <a:pt x="0" y="3"/>
                    <a:pt x="8" y="0"/>
                    <a:pt x="11" y="0"/>
                  </a:cubicBezTo>
                  <a:cubicBezTo>
                    <a:pt x="14" y="3"/>
                    <a:pt x="14" y="6"/>
                    <a:pt x="11" y="6"/>
                  </a:cubicBezTo>
                  <a:cubicBezTo>
                    <a:pt x="8" y="9"/>
                    <a:pt x="5" y="9"/>
                    <a:pt x="2" y="9"/>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0" name="Freeform 975"/>
            <p:cNvSpPr>
              <a:spLocks/>
            </p:cNvSpPr>
            <p:nvPr userDrawn="1"/>
          </p:nvSpPr>
          <p:spPr bwMode="auto">
            <a:xfrm>
              <a:off x="4236" y="-1919"/>
              <a:ext cx="56" cy="52"/>
            </a:xfrm>
            <a:custGeom>
              <a:avLst/>
              <a:gdLst>
                <a:gd name="T0" fmla="*/ 33 w 36"/>
                <a:gd name="T1" fmla="*/ 24 h 33"/>
                <a:gd name="T2" fmla="*/ 27 w 36"/>
                <a:gd name="T3" fmla="*/ 15 h 33"/>
                <a:gd name="T4" fmla="*/ 24 w 36"/>
                <a:gd name="T5" fmla="*/ 6 h 33"/>
                <a:gd name="T6" fmla="*/ 21 w 36"/>
                <a:gd name="T7" fmla="*/ 0 h 33"/>
                <a:gd name="T8" fmla="*/ 9 w 36"/>
                <a:gd name="T9" fmla="*/ 0 h 33"/>
                <a:gd name="T10" fmla="*/ 0 w 36"/>
                <a:gd name="T11" fmla="*/ 3 h 33"/>
                <a:gd name="T12" fmla="*/ 0 w 36"/>
                <a:gd name="T13" fmla="*/ 12 h 33"/>
                <a:gd name="T14" fmla="*/ 9 w 36"/>
                <a:gd name="T15" fmla="*/ 15 h 33"/>
                <a:gd name="T16" fmla="*/ 12 w 36"/>
                <a:gd name="T17" fmla="*/ 18 h 33"/>
                <a:gd name="T18" fmla="*/ 12 w 36"/>
                <a:gd name="T19" fmla="*/ 18 h 33"/>
                <a:gd name="T20" fmla="*/ 15 w 36"/>
                <a:gd name="T21" fmla="*/ 21 h 33"/>
                <a:gd name="T22" fmla="*/ 21 w 36"/>
                <a:gd name="T23" fmla="*/ 24 h 33"/>
                <a:gd name="T24" fmla="*/ 27 w 36"/>
                <a:gd name="T25" fmla="*/ 27 h 33"/>
                <a:gd name="T26" fmla="*/ 30 w 36"/>
                <a:gd name="T27" fmla="*/ 33 h 33"/>
                <a:gd name="T28" fmla="*/ 36 w 36"/>
                <a:gd name="T29" fmla="*/ 30 h 33"/>
                <a:gd name="T30" fmla="*/ 33 w 36"/>
                <a:gd name="T31"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3">
                  <a:moveTo>
                    <a:pt x="33" y="24"/>
                  </a:moveTo>
                  <a:cubicBezTo>
                    <a:pt x="33" y="21"/>
                    <a:pt x="27" y="21"/>
                    <a:pt x="27" y="15"/>
                  </a:cubicBezTo>
                  <a:cubicBezTo>
                    <a:pt x="27" y="12"/>
                    <a:pt x="21" y="9"/>
                    <a:pt x="24" y="6"/>
                  </a:cubicBezTo>
                  <a:cubicBezTo>
                    <a:pt x="24" y="6"/>
                    <a:pt x="21" y="3"/>
                    <a:pt x="21" y="0"/>
                  </a:cubicBezTo>
                  <a:cubicBezTo>
                    <a:pt x="18" y="0"/>
                    <a:pt x="12" y="0"/>
                    <a:pt x="9" y="0"/>
                  </a:cubicBezTo>
                  <a:cubicBezTo>
                    <a:pt x="6" y="0"/>
                    <a:pt x="3" y="0"/>
                    <a:pt x="0" y="3"/>
                  </a:cubicBezTo>
                  <a:cubicBezTo>
                    <a:pt x="0" y="6"/>
                    <a:pt x="0" y="6"/>
                    <a:pt x="0" y="12"/>
                  </a:cubicBezTo>
                  <a:cubicBezTo>
                    <a:pt x="3" y="15"/>
                    <a:pt x="9" y="12"/>
                    <a:pt x="9" y="15"/>
                  </a:cubicBezTo>
                  <a:cubicBezTo>
                    <a:pt x="12" y="18"/>
                    <a:pt x="12" y="18"/>
                    <a:pt x="12" y="18"/>
                  </a:cubicBezTo>
                  <a:cubicBezTo>
                    <a:pt x="12" y="18"/>
                    <a:pt x="12" y="18"/>
                    <a:pt x="12" y="18"/>
                  </a:cubicBezTo>
                  <a:cubicBezTo>
                    <a:pt x="15" y="18"/>
                    <a:pt x="15" y="21"/>
                    <a:pt x="15" y="21"/>
                  </a:cubicBezTo>
                  <a:cubicBezTo>
                    <a:pt x="18" y="21"/>
                    <a:pt x="21" y="24"/>
                    <a:pt x="21" y="24"/>
                  </a:cubicBezTo>
                  <a:cubicBezTo>
                    <a:pt x="24" y="24"/>
                    <a:pt x="24" y="21"/>
                    <a:pt x="27" y="27"/>
                  </a:cubicBezTo>
                  <a:cubicBezTo>
                    <a:pt x="30" y="27"/>
                    <a:pt x="30" y="30"/>
                    <a:pt x="30" y="33"/>
                  </a:cubicBezTo>
                  <a:cubicBezTo>
                    <a:pt x="33" y="33"/>
                    <a:pt x="33" y="30"/>
                    <a:pt x="36" y="30"/>
                  </a:cubicBezTo>
                  <a:cubicBezTo>
                    <a:pt x="36" y="27"/>
                    <a:pt x="33" y="27"/>
                    <a:pt x="33"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1" name="Freeform 976"/>
            <p:cNvSpPr>
              <a:spLocks/>
            </p:cNvSpPr>
            <p:nvPr userDrawn="1"/>
          </p:nvSpPr>
          <p:spPr bwMode="auto">
            <a:xfrm>
              <a:off x="4236" y="-1919"/>
              <a:ext cx="56" cy="52"/>
            </a:xfrm>
            <a:custGeom>
              <a:avLst/>
              <a:gdLst>
                <a:gd name="T0" fmla="*/ 33 w 36"/>
                <a:gd name="T1" fmla="*/ 24 h 33"/>
                <a:gd name="T2" fmla="*/ 27 w 36"/>
                <a:gd name="T3" fmla="*/ 15 h 33"/>
                <a:gd name="T4" fmla="*/ 24 w 36"/>
                <a:gd name="T5" fmla="*/ 6 h 33"/>
                <a:gd name="T6" fmla="*/ 21 w 36"/>
                <a:gd name="T7" fmla="*/ 0 h 33"/>
                <a:gd name="T8" fmla="*/ 9 w 36"/>
                <a:gd name="T9" fmla="*/ 0 h 33"/>
                <a:gd name="T10" fmla="*/ 0 w 36"/>
                <a:gd name="T11" fmla="*/ 3 h 33"/>
                <a:gd name="T12" fmla="*/ 0 w 36"/>
                <a:gd name="T13" fmla="*/ 12 h 33"/>
                <a:gd name="T14" fmla="*/ 9 w 36"/>
                <a:gd name="T15" fmla="*/ 15 h 33"/>
                <a:gd name="T16" fmla="*/ 12 w 36"/>
                <a:gd name="T17" fmla="*/ 18 h 33"/>
                <a:gd name="T18" fmla="*/ 12 w 36"/>
                <a:gd name="T19" fmla="*/ 18 h 33"/>
                <a:gd name="T20" fmla="*/ 15 w 36"/>
                <a:gd name="T21" fmla="*/ 21 h 33"/>
                <a:gd name="T22" fmla="*/ 21 w 36"/>
                <a:gd name="T23" fmla="*/ 24 h 33"/>
                <a:gd name="T24" fmla="*/ 27 w 36"/>
                <a:gd name="T25" fmla="*/ 27 h 33"/>
                <a:gd name="T26" fmla="*/ 30 w 36"/>
                <a:gd name="T27" fmla="*/ 33 h 33"/>
                <a:gd name="T28" fmla="*/ 36 w 36"/>
                <a:gd name="T29" fmla="*/ 30 h 33"/>
                <a:gd name="T30" fmla="*/ 33 w 36"/>
                <a:gd name="T31"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3">
                  <a:moveTo>
                    <a:pt x="33" y="24"/>
                  </a:moveTo>
                  <a:cubicBezTo>
                    <a:pt x="33" y="21"/>
                    <a:pt x="27" y="21"/>
                    <a:pt x="27" y="15"/>
                  </a:cubicBezTo>
                  <a:cubicBezTo>
                    <a:pt x="27" y="12"/>
                    <a:pt x="21" y="9"/>
                    <a:pt x="24" y="6"/>
                  </a:cubicBezTo>
                  <a:cubicBezTo>
                    <a:pt x="24" y="6"/>
                    <a:pt x="21" y="3"/>
                    <a:pt x="21" y="0"/>
                  </a:cubicBezTo>
                  <a:cubicBezTo>
                    <a:pt x="18" y="0"/>
                    <a:pt x="12" y="0"/>
                    <a:pt x="9" y="0"/>
                  </a:cubicBezTo>
                  <a:cubicBezTo>
                    <a:pt x="6" y="0"/>
                    <a:pt x="3" y="0"/>
                    <a:pt x="0" y="3"/>
                  </a:cubicBezTo>
                  <a:cubicBezTo>
                    <a:pt x="0" y="6"/>
                    <a:pt x="0" y="6"/>
                    <a:pt x="0" y="12"/>
                  </a:cubicBezTo>
                  <a:cubicBezTo>
                    <a:pt x="3" y="15"/>
                    <a:pt x="9" y="12"/>
                    <a:pt x="9" y="15"/>
                  </a:cubicBezTo>
                  <a:cubicBezTo>
                    <a:pt x="12" y="18"/>
                    <a:pt x="12" y="18"/>
                    <a:pt x="12" y="18"/>
                  </a:cubicBezTo>
                  <a:cubicBezTo>
                    <a:pt x="12" y="18"/>
                    <a:pt x="12" y="18"/>
                    <a:pt x="12" y="18"/>
                  </a:cubicBezTo>
                  <a:cubicBezTo>
                    <a:pt x="15" y="18"/>
                    <a:pt x="15" y="21"/>
                    <a:pt x="15" y="21"/>
                  </a:cubicBezTo>
                  <a:cubicBezTo>
                    <a:pt x="18" y="21"/>
                    <a:pt x="21" y="24"/>
                    <a:pt x="21" y="24"/>
                  </a:cubicBezTo>
                  <a:cubicBezTo>
                    <a:pt x="24" y="24"/>
                    <a:pt x="24" y="21"/>
                    <a:pt x="27" y="27"/>
                  </a:cubicBezTo>
                  <a:cubicBezTo>
                    <a:pt x="30" y="27"/>
                    <a:pt x="30" y="30"/>
                    <a:pt x="30" y="33"/>
                  </a:cubicBezTo>
                  <a:cubicBezTo>
                    <a:pt x="33" y="33"/>
                    <a:pt x="33" y="30"/>
                    <a:pt x="36" y="30"/>
                  </a:cubicBezTo>
                  <a:cubicBezTo>
                    <a:pt x="36" y="27"/>
                    <a:pt x="33" y="27"/>
                    <a:pt x="33" y="24"/>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2" name="Freeform 977"/>
            <p:cNvSpPr>
              <a:spLocks noEditPoints="1"/>
            </p:cNvSpPr>
            <p:nvPr userDrawn="1"/>
          </p:nvSpPr>
          <p:spPr bwMode="auto">
            <a:xfrm>
              <a:off x="4261" y="-1933"/>
              <a:ext cx="89" cy="77"/>
            </a:xfrm>
            <a:custGeom>
              <a:avLst/>
              <a:gdLst>
                <a:gd name="T0" fmla="*/ 54 w 57"/>
                <a:gd name="T1" fmla="*/ 15 h 49"/>
                <a:gd name="T2" fmla="*/ 45 w 57"/>
                <a:gd name="T3" fmla="*/ 3 h 49"/>
                <a:gd name="T4" fmla="*/ 36 w 57"/>
                <a:gd name="T5" fmla="*/ 9 h 49"/>
                <a:gd name="T6" fmla="*/ 30 w 57"/>
                <a:gd name="T7" fmla="*/ 9 h 49"/>
                <a:gd name="T8" fmla="*/ 24 w 57"/>
                <a:gd name="T9" fmla="*/ 3 h 49"/>
                <a:gd name="T10" fmla="*/ 18 w 57"/>
                <a:gd name="T11" fmla="*/ 0 h 49"/>
                <a:gd name="T12" fmla="*/ 18 w 57"/>
                <a:gd name="T13" fmla="*/ 6 h 49"/>
                <a:gd name="T14" fmla="*/ 21 w 57"/>
                <a:gd name="T15" fmla="*/ 9 h 49"/>
                <a:gd name="T16" fmla="*/ 12 w 57"/>
                <a:gd name="T17" fmla="*/ 9 h 49"/>
                <a:gd name="T18" fmla="*/ 3 w 57"/>
                <a:gd name="T19" fmla="*/ 6 h 49"/>
                <a:gd name="T20" fmla="*/ 9 w 57"/>
                <a:gd name="T21" fmla="*/ 15 h 49"/>
                <a:gd name="T22" fmla="*/ 12 w 57"/>
                <a:gd name="T23" fmla="*/ 24 h 49"/>
                <a:gd name="T24" fmla="*/ 18 w 57"/>
                <a:gd name="T25" fmla="*/ 33 h 49"/>
                <a:gd name="T26" fmla="*/ 21 w 57"/>
                <a:gd name="T27" fmla="*/ 39 h 49"/>
                <a:gd name="T28" fmla="*/ 36 w 57"/>
                <a:gd name="T29" fmla="*/ 30 h 49"/>
                <a:gd name="T30" fmla="*/ 36 w 57"/>
                <a:gd name="T31" fmla="*/ 42 h 49"/>
                <a:gd name="T32" fmla="*/ 45 w 57"/>
                <a:gd name="T33" fmla="*/ 49 h 49"/>
                <a:gd name="T34" fmla="*/ 48 w 57"/>
                <a:gd name="T35" fmla="*/ 39 h 49"/>
                <a:gd name="T36" fmla="*/ 54 w 57"/>
                <a:gd name="T37" fmla="*/ 15 h 49"/>
                <a:gd name="T38" fmla="*/ 6 w 57"/>
                <a:gd name="T39" fmla="*/ 33 h 49"/>
                <a:gd name="T40" fmla="*/ 0 w 57"/>
                <a:gd name="T41" fmla="*/ 30 h 49"/>
                <a:gd name="T42" fmla="*/ 6 w 57"/>
                <a:gd name="T43" fmla="*/ 36 h 49"/>
                <a:gd name="T44" fmla="*/ 12 w 57"/>
                <a:gd name="T45" fmla="*/ 42 h 49"/>
                <a:gd name="T46" fmla="*/ 15 w 57"/>
                <a:gd name="T47" fmla="*/ 42 h 49"/>
                <a:gd name="T48" fmla="*/ 12 w 57"/>
                <a:gd name="T49" fmla="*/ 36 h 49"/>
                <a:gd name="T50" fmla="*/ 6 w 57"/>
                <a:gd name="T5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49">
                  <a:moveTo>
                    <a:pt x="54" y="15"/>
                  </a:moveTo>
                  <a:cubicBezTo>
                    <a:pt x="51" y="15"/>
                    <a:pt x="48" y="9"/>
                    <a:pt x="45" y="3"/>
                  </a:cubicBezTo>
                  <a:cubicBezTo>
                    <a:pt x="42" y="6"/>
                    <a:pt x="36" y="6"/>
                    <a:pt x="36" y="9"/>
                  </a:cubicBezTo>
                  <a:cubicBezTo>
                    <a:pt x="36" y="12"/>
                    <a:pt x="33" y="9"/>
                    <a:pt x="30" y="9"/>
                  </a:cubicBezTo>
                  <a:cubicBezTo>
                    <a:pt x="30" y="9"/>
                    <a:pt x="27" y="3"/>
                    <a:pt x="24" y="3"/>
                  </a:cubicBezTo>
                  <a:cubicBezTo>
                    <a:pt x="21" y="3"/>
                    <a:pt x="21" y="3"/>
                    <a:pt x="18" y="0"/>
                  </a:cubicBezTo>
                  <a:cubicBezTo>
                    <a:pt x="18" y="3"/>
                    <a:pt x="18" y="3"/>
                    <a:pt x="18" y="6"/>
                  </a:cubicBezTo>
                  <a:cubicBezTo>
                    <a:pt x="21" y="9"/>
                    <a:pt x="21" y="9"/>
                    <a:pt x="21" y="9"/>
                  </a:cubicBezTo>
                  <a:cubicBezTo>
                    <a:pt x="18" y="12"/>
                    <a:pt x="15" y="12"/>
                    <a:pt x="12" y="9"/>
                  </a:cubicBezTo>
                  <a:cubicBezTo>
                    <a:pt x="9" y="9"/>
                    <a:pt x="6" y="6"/>
                    <a:pt x="3" y="6"/>
                  </a:cubicBezTo>
                  <a:cubicBezTo>
                    <a:pt x="3" y="9"/>
                    <a:pt x="9" y="15"/>
                    <a:pt x="9" y="15"/>
                  </a:cubicBezTo>
                  <a:cubicBezTo>
                    <a:pt x="6" y="18"/>
                    <a:pt x="12" y="21"/>
                    <a:pt x="12" y="24"/>
                  </a:cubicBezTo>
                  <a:cubicBezTo>
                    <a:pt x="12" y="30"/>
                    <a:pt x="18" y="30"/>
                    <a:pt x="18" y="33"/>
                  </a:cubicBezTo>
                  <a:cubicBezTo>
                    <a:pt x="18" y="36"/>
                    <a:pt x="21" y="36"/>
                    <a:pt x="21" y="39"/>
                  </a:cubicBezTo>
                  <a:cubicBezTo>
                    <a:pt x="27" y="36"/>
                    <a:pt x="30" y="33"/>
                    <a:pt x="36" y="30"/>
                  </a:cubicBezTo>
                  <a:cubicBezTo>
                    <a:pt x="39" y="27"/>
                    <a:pt x="39" y="39"/>
                    <a:pt x="36" y="42"/>
                  </a:cubicBezTo>
                  <a:cubicBezTo>
                    <a:pt x="36" y="42"/>
                    <a:pt x="42" y="46"/>
                    <a:pt x="45" y="49"/>
                  </a:cubicBezTo>
                  <a:cubicBezTo>
                    <a:pt x="45" y="46"/>
                    <a:pt x="45" y="42"/>
                    <a:pt x="48" y="39"/>
                  </a:cubicBezTo>
                  <a:cubicBezTo>
                    <a:pt x="54" y="33"/>
                    <a:pt x="57" y="21"/>
                    <a:pt x="54" y="15"/>
                  </a:cubicBezTo>
                  <a:close/>
                  <a:moveTo>
                    <a:pt x="6" y="33"/>
                  </a:moveTo>
                  <a:cubicBezTo>
                    <a:pt x="6" y="33"/>
                    <a:pt x="3" y="30"/>
                    <a:pt x="0" y="30"/>
                  </a:cubicBezTo>
                  <a:cubicBezTo>
                    <a:pt x="3" y="33"/>
                    <a:pt x="0" y="36"/>
                    <a:pt x="6" y="36"/>
                  </a:cubicBezTo>
                  <a:cubicBezTo>
                    <a:pt x="9" y="39"/>
                    <a:pt x="3" y="39"/>
                    <a:pt x="12" y="42"/>
                  </a:cubicBezTo>
                  <a:cubicBezTo>
                    <a:pt x="12" y="42"/>
                    <a:pt x="12" y="42"/>
                    <a:pt x="15" y="42"/>
                  </a:cubicBezTo>
                  <a:cubicBezTo>
                    <a:pt x="15" y="39"/>
                    <a:pt x="15" y="36"/>
                    <a:pt x="12" y="36"/>
                  </a:cubicBezTo>
                  <a:cubicBezTo>
                    <a:pt x="9" y="30"/>
                    <a:pt x="9" y="33"/>
                    <a:pt x="6"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3" name="Freeform 978"/>
            <p:cNvSpPr>
              <a:spLocks noEditPoints="1"/>
            </p:cNvSpPr>
            <p:nvPr userDrawn="1"/>
          </p:nvSpPr>
          <p:spPr bwMode="auto">
            <a:xfrm>
              <a:off x="4261" y="-1933"/>
              <a:ext cx="89" cy="77"/>
            </a:xfrm>
            <a:custGeom>
              <a:avLst/>
              <a:gdLst>
                <a:gd name="T0" fmla="*/ 54 w 57"/>
                <a:gd name="T1" fmla="*/ 15 h 49"/>
                <a:gd name="T2" fmla="*/ 45 w 57"/>
                <a:gd name="T3" fmla="*/ 3 h 49"/>
                <a:gd name="T4" fmla="*/ 36 w 57"/>
                <a:gd name="T5" fmla="*/ 9 h 49"/>
                <a:gd name="T6" fmla="*/ 30 w 57"/>
                <a:gd name="T7" fmla="*/ 9 h 49"/>
                <a:gd name="T8" fmla="*/ 24 w 57"/>
                <a:gd name="T9" fmla="*/ 3 h 49"/>
                <a:gd name="T10" fmla="*/ 18 w 57"/>
                <a:gd name="T11" fmla="*/ 0 h 49"/>
                <a:gd name="T12" fmla="*/ 18 w 57"/>
                <a:gd name="T13" fmla="*/ 6 h 49"/>
                <a:gd name="T14" fmla="*/ 21 w 57"/>
                <a:gd name="T15" fmla="*/ 9 h 49"/>
                <a:gd name="T16" fmla="*/ 12 w 57"/>
                <a:gd name="T17" fmla="*/ 9 h 49"/>
                <a:gd name="T18" fmla="*/ 3 w 57"/>
                <a:gd name="T19" fmla="*/ 6 h 49"/>
                <a:gd name="T20" fmla="*/ 9 w 57"/>
                <a:gd name="T21" fmla="*/ 15 h 49"/>
                <a:gd name="T22" fmla="*/ 12 w 57"/>
                <a:gd name="T23" fmla="*/ 24 h 49"/>
                <a:gd name="T24" fmla="*/ 18 w 57"/>
                <a:gd name="T25" fmla="*/ 33 h 49"/>
                <a:gd name="T26" fmla="*/ 21 w 57"/>
                <a:gd name="T27" fmla="*/ 39 h 49"/>
                <a:gd name="T28" fmla="*/ 36 w 57"/>
                <a:gd name="T29" fmla="*/ 30 h 49"/>
                <a:gd name="T30" fmla="*/ 36 w 57"/>
                <a:gd name="T31" fmla="*/ 42 h 49"/>
                <a:gd name="T32" fmla="*/ 45 w 57"/>
                <a:gd name="T33" fmla="*/ 49 h 49"/>
                <a:gd name="T34" fmla="*/ 48 w 57"/>
                <a:gd name="T35" fmla="*/ 39 h 49"/>
                <a:gd name="T36" fmla="*/ 54 w 57"/>
                <a:gd name="T37" fmla="*/ 15 h 49"/>
                <a:gd name="T38" fmla="*/ 6 w 57"/>
                <a:gd name="T39" fmla="*/ 33 h 49"/>
                <a:gd name="T40" fmla="*/ 0 w 57"/>
                <a:gd name="T41" fmla="*/ 30 h 49"/>
                <a:gd name="T42" fmla="*/ 6 w 57"/>
                <a:gd name="T43" fmla="*/ 36 h 49"/>
                <a:gd name="T44" fmla="*/ 12 w 57"/>
                <a:gd name="T45" fmla="*/ 42 h 49"/>
                <a:gd name="T46" fmla="*/ 15 w 57"/>
                <a:gd name="T47" fmla="*/ 42 h 49"/>
                <a:gd name="T48" fmla="*/ 12 w 57"/>
                <a:gd name="T49" fmla="*/ 36 h 49"/>
                <a:gd name="T50" fmla="*/ 6 w 57"/>
                <a:gd name="T51" fmla="*/ 3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49">
                  <a:moveTo>
                    <a:pt x="54" y="15"/>
                  </a:moveTo>
                  <a:cubicBezTo>
                    <a:pt x="51" y="15"/>
                    <a:pt x="48" y="9"/>
                    <a:pt x="45" y="3"/>
                  </a:cubicBezTo>
                  <a:cubicBezTo>
                    <a:pt x="42" y="6"/>
                    <a:pt x="36" y="6"/>
                    <a:pt x="36" y="9"/>
                  </a:cubicBezTo>
                  <a:cubicBezTo>
                    <a:pt x="36" y="12"/>
                    <a:pt x="33" y="9"/>
                    <a:pt x="30" y="9"/>
                  </a:cubicBezTo>
                  <a:cubicBezTo>
                    <a:pt x="30" y="9"/>
                    <a:pt x="27" y="3"/>
                    <a:pt x="24" y="3"/>
                  </a:cubicBezTo>
                  <a:cubicBezTo>
                    <a:pt x="21" y="3"/>
                    <a:pt x="21" y="3"/>
                    <a:pt x="18" y="0"/>
                  </a:cubicBezTo>
                  <a:cubicBezTo>
                    <a:pt x="18" y="3"/>
                    <a:pt x="18" y="3"/>
                    <a:pt x="18" y="6"/>
                  </a:cubicBezTo>
                  <a:cubicBezTo>
                    <a:pt x="21" y="9"/>
                    <a:pt x="21" y="9"/>
                    <a:pt x="21" y="9"/>
                  </a:cubicBezTo>
                  <a:cubicBezTo>
                    <a:pt x="18" y="12"/>
                    <a:pt x="15" y="12"/>
                    <a:pt x="12" y="9"/>
                  </a:cubicBezTo>
                  <a:cubicBezTo>
                    <a:pt x="9" y="9"/>
                    <a:pt x="6" y="6"/>
                    <a:pt x="3" y="6"/>
                  </a:cubicBezTo>
                  <a:cubicBezTo>
                    <a:pt x="3" y="9"/>
                    <a:pt x="9" y="15"/>
                    <a:pt x="9" y="15"/>
                  </a:cubicBezTo>
                  <a:cubicBezTo>
                    <a:pt x="6" y="18"/>
                    <a:pt x="12" y="21"/>
                    <a:pt x="12" y="24"/>
                  </a:cubicBezTo>
                  <a:cubicBezTo>
                    <a:pt x="12" y="30"/>
                    <a:pt x="18" y="30"/>
                    <a:pt x="18" y="33"/>
                  </a:cubicBezTo>
                  <a:cubicBezTo>
                    <a:pt x="18" y="36"/>
                    <a:pt x="21" y="36"/>
                    <a:pt x="21" y="39"/>
                  </a:cubicBezTo>
                  <a:cubicBezTo>
                    <a:pt x="27" y="36"/>
                    <a:pt x="30" y="33"/>
                    <a:pt x="36" y="30"/>
                  </a:cubicBezTo>
                  <a:cubicBezTo>
                    <a:pt x="39" y="27"/>
                    <a:pt x="39" y="39"/>
                    <a:pt x="36" y="42"/>
                  </a:cubicBezTo>
                  <a:cubicBezTo>
                    <a:pt x="36" y="42"/>
                    <a:pt x="42" y="46"/>
                    <a:pt x="45" y="49"/>
                  </a:cubicBezTo>
                  <a:cubicBezTo>
                    <a:pt x="45" y="46"/>
                    <a:pt x="45" y="42"/>
                    <a:pt x="48" y="39"/>
                  </a:cubicBezTo>
                  <a:cubicBezTo>
                    <a:pt x="54" y="33"/>
                    <a:pt x="57" y="21"/>
                    <a:pt x="54" y="15"/>
                  </a:cubicBezTo>
                  <a:close/>
                  <a:moveTo>
                    <a:pt x="6" y="33"/>
                  </a:moveTo>
                  <a:cubicBezTo>
                    <a:pt x="6" y="33"/>
                    <a:pt x="3" y="30"/>
                    <a:pt x="0" y="30"/>
                  </a:cubicBezTo>
                  <a:cubicBezTo>
                    <a:pt x="3" y="33"/>
                    <a:pt x="0" y="36"/>
                    <a:pt x="6" y="36"/>
                  </a:cubicBezTo>
                  <a:cubicBezTo>
                    <a:pt x="9" y="39"/>
                    <a:pt x="3" y="39"/>
                    <a:pt x="12" y="42"/>
                  </a:cubicBezTo>
                  <a:cubicBezTo>
                    <a:pt x="12" y="42"/>
                    <a:pt x="12" y="42"/>
                    <a:pt x="15" y="42"/>
                  </a:cubicBezTo>
                  <a:cubicBezTo>
                    <a:pt x="15" y="39"/>
                    <a:pt x="15" y="36"/>
                    <a:pt x="12" y="36"/>
                  </a:cubicBezTo>
                  <a:cubicBezTo>
                    <a:pt x="9" y="30"/>
                    <a:pt x="9" y="33"/>
                    <a:pt x="6" y="3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4" name="Freeform 979"/>
            <p:cNvSpPr>
              <a:spLocks noEditPoints="1"/>
            </p:cNvSpPr>
            <p:nvPr userDrawn="1"/>
          </p:nvSpPr>
          <p:spPr bwMode="auto">
            <a:xfrm>
              <a:off x="5129" y="-1245"/>
              <a:ext cx="809" cy="295"/>
            </a:xfrm>
            <a:custGeom>
              <a:avLst/>
              <a:gdLst>
                <a:gd name="T0" fmla="*/ 39 w 519"/>
                <a:gd name="T1" fmla="*/ 81 h 189"/>
                <a:gd name="T2" fmla="*/ 147 w 519"/>
                <a:gd name="T3" fmla="*/ 102 h 189"/>
                <a:gd name="T4" fmla="*/ 24 w 519"/>
                <a:gd name="T5" fmla="*/ 51 h 189"/>
                <a:gd name="T6" fmla="*/ 279 w 519"/>
                <a:gd name="T7" fmla="*/ 135 h 189"/>
                <a:gd name="T8" fmla="*/ 291 w 519"/>
                <a:gd name="T9" fmla="*/ 108 h 189"/>
                <a:gd name="T10" fmla="*/ 306 w 519"/>
                <a:gd name="T11" fmla="*/ 111 h 189"/>
                <a:gd name="T12" fmla="*/ 318 w 519"/>
                <a:gd name="T13" fmla="*/ 75 h 189"/>
                <a:gd name="T14" fmla="*/ 318 w 519"/>
                <a:gd name="T15" fmla="*/ 63 h 189"/>
                <a:gd name="T16" fmla="*/ 297 w 519"/>
                <a:gd name="T17" fmla="*/ 54 h 189"/>
                <a:gd name="T18" fmla="*/ 267 w 519"/>
                <a:gd name="T19" fmla="*/ 96 h 189"/>
                <a:gd name="T20" fmla="*/ 123 w 519"/>
                <a:gd name="T21" fmla="*/ 105 h 189"/>
                <a:gd name="T22" fmla="*/ 120 w 519"/>
                <a:gd name="T23" fmla="*/ 87 h 189"/>
                <a:gd name="T24" fmla="*/ 114 w 519"/>
                <a:gd name="T25" fmla="*/ 96 h 189"/>
                <a:gd name="T26" fmla="*/ 96 w 519"/>
                <a:gd name="T27" fmla="*/ 72 h 189"/>
                <a:gd name="T28" fmla="*/ 78 w 519"/>
                <a:gd name="T29" fmla="*/ 51 h 189"/>
                <a:gd name="T30" fmla="*/ 54 w 519"/>
                <a:gd name="T31" fmla="*/ 33 h 189"/>
                <a:gd name="T32" fmla="*/ 3 w 519"/>
                <a:gd name="T33" fmla="*/ 6 h 189"/>
                <a:gd name="T34" fmla="*/ 45 w 519"/>
                <a:gd name="T35" fmla="*/ 66 h 189"/>
                <a:gd name="T36" fmla="*/ 99 w 519"/>
                <a:gd name="T37" fmla="*/ 129 h 189"/>
                <a:gd name="T38" fmla="*/ 123 w 519"/>
                <a:gd name="T39" fmla="*/ 117 h 189"/>
                <a:gd name="T40" fmla="*/ 375 w 519"/>
                <a:gd name="T41" fmla="*/ 54 h 189"/>
                <a:gd name="T42" fmla="*/ 378 w 519"/>
                <a:gd name="T43" fmla="*/ 63 h 189"/>
                <a:gd name="T44" fmla="*/ 348 w 519"/>
                <a:gd name="T45" fmla="*/ 105 h 189"/>
                <a:gd name="T46" fmla="*/ 279 w 519"/>
                <a:gd name="T47" fmla="*/ 168 h 189"/>
                <a:gd name="T48" fmla="*/ 324 w 519"/>
                <a:gd name="T49" fmla="*/ 162 h 189"/>
                <a:gd name="T50" fmla="*/ 387 w 519"/>
                <a:gd name="T51" fmla="*/ 108 h 189"/>
                <a:gd name="T52" fmla="*/ 219 w 519"/>
                <a:gd name="T53" fmla="*/ 159 h 189"/>
                <a:gd name="T54" fmla="*/ 198 w 519"/>
                <a:gd name="T55" fmla="*/ 147 h 189"/>
                <a:gd name="T56" fmla="*/ 123 w 519"/>
                <a:gd name="T57" fmla="*/ 138 h 189"/>
                <a:gd name="T58" fmla="*/ 132 w 519"/>
                <a:gd name="T59" fmla="*/ 153 h 189"/>
                <a:gd name="T60" fmla="*/ 201 w 519"/>
                <a:gd name="T61" fmla="*/ 165 h 189"/>
                <a:gd name="T62" fmla="*/ 219 w 519"/>
                <a:gd name="T63" fmla="*/ 159 h 189"/>
                <a:gd name="T64" fmla="*/ 453 w 519"/>
                <a:gd name="T65" fmla="*/ 105 h 189"/>
                <a:gd name="T66" fmla="*/ 405 w 519"/>
                <a:gd name="T67" fmla="*/ 81 h 189"/>
                <a:gd name="T68" fmla="*/ 435 w 519"/>
                <a:gd name="T69" fmla="*/ 93 h 189"/>
                <a:gd name="T70" fmla="*/ 417 w 519"/>
                <a:gd name="T71" fmla="*/ 102 h 189"/>
                <a:gd name="T72" fmla="*/ 444 w 519"/>
                <a:gd name="T73" fmla="*/ 114 h 189"/>
                <a:gd name="T74" fmla="*/ 492 w 519"/>
                <a:gd name="T75" fmla="*/ 144 h 189"/>
                <a:gd name="T76" fmla="*/ 507 w 519"/>
                <a:gd name="T77" fmla="*/ 162 h 189"/>
                <a:gd name="T78" fmla="*/ 480 w 519"/>
                <a:gd name="T79" fmla="*/ 87 h 189"/>
                <a:gd name="T80" fmla="*/ 330 w 519"/>
                <a:gd name="T81" fmla="*/ 174 h 189"/>
                <a:gd name="T82" fmla="*/ 336 w 519"/>
                <a:gd name="T83" fmla="*/ 177 h 189"/>
                <a:gd name="T84" fmla="*/ 339 w 519"/>
                <a:gd name="T85" fmla="*/ 174 h 189"/>
                <a:gd name="T86" fmla="*/ 252 w 519"/>
                <a:gd name="T87" fmla="*/ 66 h 189"/>
                <a:gd name="T88" fmla="*/ 255 w 519"/>
                <a:gd name="T89" fmla="*/ 39 h 189"/>
                <a:gd name="T90" fmla="*/ 255 w 519"/>
                <a:gd name="T91" fmla="*/ 21 h 189"/>
                <a:gd name="T92" fmla="*/ 225 w 519"/>
                <a:gd name="T93" fmla="*/ 36 h 189"/>
                <a:gd name="T94" fmla="*/ 201 w 519"/>
                <a:gd name="T95" fmla="*/ 51 h 189"/>
                <a:gd name="T96" fmla="*/ 165 w 519"/>
                <a:gd name="T97" fmla="*/ 51 h 189"/>
                <a:gd name="T98" fmla="*/ 153 w 519"/>
                <a:gd name="T99" fmla="*/ 60 h 189"/>
                <a:gd name="T100" fmla="*/ 180 w 519"/>
                <a:gd name="T101" fmla="*/ 102 h 189"/>
                <a:gd name="T102" fmla="*/ 219 w 519"/>
                <a:gd name="T103" fmla="*/ 111 h 189"/>
                <a:gd name="T104" fmla="*/ 270 w 519"/>
                <a:gd name="T105" fmla="*/ 177 h 189"/>
                <a:gd name="T106" fmla="*/ 270 w 519"/>
                <a:gd name="T107" fmla="*/ 177 h 189"/>
                <a:gd name="T108" fmla="*/ 237 w 519"/>
                <a:gd name="T109" fmla="*/ 168 h 189"/>
                <a:gd name="T110" fmla="*/ 252 w 519"/>
                <a:gd name="T111" fmla="*/ 16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9" h="189">
                  <a:moveTo>
                    <a:pt x="39" y="81"/>
                  </a:moveTo>
                  <a:cubicBezTo>
                    <a:pt x="39" y="81"/>
                    <a:pt x="42" y="90"/>
                    <a:pt x="45" y="87"/>
                  </a:cubicBezTo>
                  <a:cubicBezTo>
                    <a:pt x="48" y="84"/>
                    <a:pt x="42" y="75"/>
                    <a:pt x="39" y="81"/>
                  </a:cubicBezTo>
                  <a:close/>
                  <a:moveTo>
                    <a:pt x="147" y="102"/>
                  </a:moveTo>
                  <a:cubicBezTo>
                    <a:pt x="147" y="99"/>
                    <a:pt x="138" y="99"/>
                    <a:pt x="141" y="102"/>
                  </a:cubicBezTo>
                  <a:cubicBezTo>
                    <a:pt x="144" y="108"/>
                    <a:pt x="147" y="105"/>
                    <a:pt x="147" y="102"/>
                  </a:cubicBezTo>
                  <a:close/>
                  <a:moveTo>
                    <a:pt x="24" y="51"/>
                  </a:moveTo>
                  <a:cubicBezTo>
                    <a:pt x="21" y="54"/>
                    <a:pt x="27" y="66"/>
                    <a:pt x="30" y="60"/>
                  </a:cubicBezTo>
                  <a:cubicBezTo>
                    <a:pt x="33" y="57"/>
                    <a:pt x="24" y="48"/>
                    <a:pt x="24" y="51"/>
                  </a:cubicBezTo>
                  <a:close/>
                  <a:moveTo>
                    <a:pt x="273" y="108"/>
                  </a:moveTo>
                  <a:cubicBezTo>
                    <a:pt x="279" y="108"/>
                    <a:pt x="279" y="117"/>
                    <a:pt x="279" y="120"/>
                  </a:cubicBezTo>
                  <a:cubicBezTo>
                    <a:pt x="276" y="126"/>
                    <a:pt x="276" y="135"/>
                    <a:pt x="279" y="135"/>
                  </a:cubicBezTo>
                  <a:cubicBezTo>
                    <a:pt x="285" y="132"/>
                    <a:pt x="288" y="126"/>
                    <a:pt x="285" y="123"/>
                  </a:cubicBezTo>
                  <a:cubicBezTo>
                    <a:pt x="282" y="120"/>
                    <a:pt x="282" y="105"/>
                    <a:pt x="282" y="102"/>
                  </a:cubicBezTo>
                  <a:cubicBezTo>
                    <a:pt x="285" y="99"/>
                    <a:pt x="294" y="102"/>
                    <a:pt x="291" y="108"/>
                  </a:cubicBezTo>
                  <a:cubicBezTo>
                    <a:pt x="288" y="111"/>
                    <a:pt x="297" y="111"/>
                    <a:pt x="297" y="117"/>
                  </a:cubicBezTo>
                  <a:cubicBezTo>
                    <a:pt x="297" y="123"/>
                    <a:pt x="300" y="120"/>
                    <a:pt x="306" y="120"/>
                  </a:cubicBezTo>
                  <a:cubicBezTo>
                    <a:pt x="312" y="117"/>
                    <a:pt x="312" y="114"/>
                    <a:pt x="306" y="111"/>
                  </a:cubicBezTo>
                  <a:cubicBezTo>
                    <a:pt x="303" y="108"/>
                    <a:pt x="309" y="102"/>
                    <a:pt x="306" y="99"/>
                  </a:cubicBezTo>
                  <a:cubicBezTo>
                    <a:pt x="300" y="93"/>
                    <a:pt x="297" y="90"/>
                    <a:pt x="300" y="87"/>
                  </a:cubicBezTo>
                  <a:cubicBezTo>
                    <a:pt x="306" y="87"/>
                    <a:pt x="321" y="78"/>
                    <a:pt x="318" y="75"/>
                  </a:cubicBezTo>
                  <a:cubicBezTo>
                    <a:pt x="318" y="72"/>
                    <a:pt x="297" y="78"/>
                    <a:pt x="294" y="84"/>
                  </a:cubicBezTo>
                  <a:cubicBezTo>
                    <a:pt x="294" y="90"/>
                    <a:pt x="279" y="81"/>
                    <a:pt x="282" y="72"/>
                  </a:cubicBezTo>
                  <a:cubicBezTo>
                    <a:pt x="282" y="60"/>
                    <a:pt x="312" y="60"/>
                    <a:pt x="318" y="63"/>
                  </a:cubicBezTo>
                  <a:cubicBezTo>
                    <a:pt x="327" y="66"/>
                    <a:pt x="336" y="57"/>
                    <a:pt x="339" y="51"/>
                  </a:cubicBezTo>
                  <a:cubicBezTo>
                    <a:pt x="342" y="45"/>
                    <a:pt x="333" y="54"/>
                    <a:pt x="327" y="57"/>
                  </a:cubicBezTo>
                  <a:cubicBezTo>
                    <a:pt x="321" y="60"/>
                    <a:pt x="306" y="57"/>
                    <a:pt x="297" y="54"/>
                  </a:cubicBezTo>
                  <a:cubicBezTo>
                    <a:pt x="291" y="51"/>
                    <a:pt x="291" y="57"/>
                    <a:pt x="285" y="60"/>
                  </a:cubicBezTo>
                  <a:cubicBezTo>
                    <a:pt x="279" y="60"/>
                    <a:pt x="279" y="75"/>
                    <a:pt x="276" y="75"/>
                  </a:cubicBezTo>
                  <a:cubicBezTo>
                    <a:pt x="273" y="78"/>
                    <a:pt x="273" y="87"/>
                    <a:pt x="267" y="96"/>
                  </a:cubicBezTo>
                  <a:cubicBezTo>
                    <a:pt x="261" y="108"/>
                    <a:pt x="270" y="108"/>
                    <a:pt x="273" y="108"/>
                  </a:cubicBezTo>
                  <a:close/>
                  <a:moveTo>
                    <a:pt x="123" y="117"/>
                  </a:moveTo>
                  <a:cubicBezTo>
                    <a:pt x="123" y="114"/>
                    <a:pt x="123" y="108"/>
                    <a:pt x="123" y="105"/>
                  </a:cubicBezTo>
                  <a:cubicBezTo>
                    <a:pt x="123" y="102"/>
                    <a:pt x="126" y="102"/>
                    <a:pt x="129" y="102"/>
                  </a:cubicBezTo>
                  <a:cubicBezTo>
                    <a:pt x="132" y="105"/>
                    <a:pt x="132" y="96"/>
                    <a:pt x="129" y="96"/>
                  </a:cubicBezTo>
                  <a:cubicBezTo>
                    <a:pt x="126" y="96"/>
                    <a:pt x="126" y="87"/>
                    <a:pt x="120" y="87"/>
                  </a:cubicBezTo>
                  <a:cubicBezTo>
                    <a:pt x="114" y="87"/>
                    <a:pt x="114" y="93"/>
                    <a:pt x="117" y="93"/>
                  </a:cubicBezTo>
                  <a:cubicBezTo>
                    <a:pt x="120" y="93"/>
                    <a:pt x="123" y="96"/>
                    <a:pt x="123" y="96"/>
                  </a:cubicBezTo>
                  <a:cubicBezTo>
                    <a:pt x="120" y="99"/>
                    <a:pt x="120" y="96"/>
                    <a:pt x="114" y="96"/>
                  </a:cubicBezTo>
                  <a:cubicBezTo>
                    <a:pt x="111" y="96"/>
                    <a:pt x="114" y="90"/>
                    <a:pt x="108" y="90"/>
                  </a:cubicBezTo>
                  <a:cubicBezTo>
                    <a:pt x="102" y="90"/>
                    <a:pt x="105" y="78"/>
                    <a:pt x="99" y="78"/>
                  </a:cubicBezTo>
                  <a:cubicBezTo>
                    <a:pt x="93" y="78"/>
                    <a:pt x="93" y="75"/>
                    <a:pt x="96" y="72"/>
                  </a:cubicBezTo>
                  <a:cubicBezTo>
                    <a:pt x="99" y="69"/>
                    <a:pt x="90" y="66"/>
                    <a:pt x="90" y="60"/>
                  </a:cubicBezTo>
                  <a:cubicBezTo>
                    <a:pt x="90" y="57"/>
                    <a:pt x="84" y="60"/>
                    <a:pt x="84" y="57"/>
                  </a:cubicBezTo>
                  <a:cubicBezTo>
                    <a:pt x="84" y="54"/>
                    <a:pt x="81" y="54"/>
                    <a:pt x="78" y="51"/>
                  </a:cubicBezTo>
                  <a:cubicBezTo>
                    <a:pt x="75" y="45"/>
                    <a:pt x="75" y="51"/>
                    <a:pt x="72" y="48"/>
                  </a:cubicBezTo>
                  <a:cubicBezTo>
                    <a:pt x="69" y="45"/>
                    <a:pt x="66" y="42"/>
                    <a:pt x="63" y="42"/>
                  </a:cubicBezTo>
                  <a:cubicBezTo>
                    <a:pt x="60" y="45"/>
                    <a:pt x="54" y="39"/>
                    <a:pt x="54" y="33"/>
                  </a:cubicBezTo>
                  <a:cubicBezTo>
                    <a:pt x="51" y="30"/>
                    <a:pt x="36" y="21"/>
                    <a:pt x="33" y="18"/>
                  </a:cubicBezTo>
                  <a:cubicBezTo>
                    <a:pt x="33" y="12"/>
                    <a:pt x="27" y="9"/>
                    <a:pt x="18" y="9"/>
                  </a:cubicBezTo>
                  <a:cubicBezTo>
                    <a:pt x="9" y="9"/>
                    <a:pt x="6" y="0"/>
                    <a:pt x="3" y="6"/>
                  </a:cubicBezTo>
                  <a:cubicBezTo>
                    <a:pt x="0" y="9"/>
                    <a:pt x="12" y="24"/>
                    <a:pt x="18" y="27"/>
                  </a:cubicBezTo>
                  <a:cubicBezTo>
                    <a:pt x="24" y="30"/>
                    <a:pt x="27" y="42"/>
                    <a:pt x="33" y="42"/>
                  </a:cubicBezTo>
                  <a:cubicBezTo>
                    <a:pt x="42" y="42"/>
                    <a:pt x="42" y="63"/>
                    <a:pt x="45" y="66"/>
                  </a:cubicBezTo>
                  <a:cubicBezTo>
                    <a:pt x="51" y="66"/>
                    <a:pt x="63" y="81"/>
                    <a:pt x="63" y="90"/>
                  </a:cubicBezTo>
                  <a:cubicBezTo>
                    <a:pt x="66" y="99"/>
                    <a:pt x="75" y="105"/>
                    <a:pt x="81" y="111"/>
                  </a:cubicBezTo>
                  <a:cubicBezTo>
                    <a:pt x="84" y="117"/>
                    <a:pt x="99" y="126"/>
                    <a:pt x="99" y="129"/>
                  </a:cubicBezTo>
                  <a:cubicBezTo>
                    <a:pt x="102" y="132"/>
                    <a:pt x="105" y="138"/>
                    <a:pt x="105" y="135"/>
                  </a:cubicBezTo>
                  <a:cubicBezTo>
                    <a:pt x="108" y="132"/>
                    <a:pt x="114" y="135"/>
                    <a:pt x="117" y="135"/>
                  </a:cubicBezTo>
                  <a:cubicBezTo>
                    <a:pt x="120" y="135"/>
                    <a:pt x="123" y="123"/>
                    <a:pt x="123" y="117"/>
                  </a:cubicBezTo>
                  <a:close/>
                  <a:moveTo>
                    <a:pt x="378" y="63"/>
                  </a:moveTo>
                  <a:cubicBezTo>
                    <a:pt x="384" y="66"/>
                    <a:pt x="381" y="60"/>
                    <a:pt x="381" y="57"/>
                  </a:cubicBezTo>
                  <a:cubicBezTo>
                    <a:pt x="381" y="51"/>
                    <a:pt x="375" y="54"/>
                    <a:pt x="375" y="54"/>
                  </a:cubicBezTo>
                  <a:cubicBezTo>
                    <a:pt x="375" y="51"/>
                    <a:pt x="372" y="42"/>
                    <a:pt x="366" y="48"/>
                  </a:cubicBezTo>
                  <a:cubicBezTo>
                    <a:pt x="360" y="57"/>
                    <a:pt x="369" y="75"/>
                    <a:pt x="372" y="72"/>
                  </a:cubicBezTo>
                  <a:cubicBezTo>
                    <a:pt x="375" y="72"/>
                    <a:pt x="369" y="63"/>
                    <a:pt x="378" y="63"/>
                  </a:cubicBezTo>
                  <a:close/>
                  <a:moveTo>
                    <a:pt x="348" y="105"/>
                  </a:moveTo>
                  <a:cubicBezTo>
                    <a:pt x="351" y="111"/>
                    <a:pt x="360" y="114"/>
                    <a:pt x="363" y="108"/>
                  </a:cubicBezTo>
                  <a:cubicBezTo>
                    <a:pt x="366" y="105"/>
                    <a:pt x="348" y="99"/>
                    <a:pt x="348" y="105"/>
                  </a:cubicBezTo>
                  <a:close/>
                  <a:moveTo>
                    <a:pt x="324" y="162"/>
                  </a:moveTo>
                  <a:cubicBezTo>
                    <a:pt x="315" y="162"/>
                    <a:pt x="309" y="168"/>
                    <a:pt x="300" y="165"/>
                  </a:cubicBezTo>
                  <a:cubicBezTo>
                    <a:pt x="291" y="162"/>
                    <a:pt x="276" y="165"/>
                    <a:pt x="279" y="168"/>
                  </a:cubicBezTo>
                  <a:cubicBezTo>
                    <a:pt x="279" y="171"/>
                    <a:pt x="288" y="171"/>
                    <a:pt x="297" y="171"/>
                  </a:cubicBezTo>
                  <a:cubicBezTo>
                    <a:pt x="306" y="171"/>
                    <a:pt x="312" y="165"/>
                    <a:pt x="318" y="165"/>
                  </a:cubicBezTo>
                  <a:cubicBezTo>
                    <a:pt x="324" y="165"/>
                    <a:pt x="333" y="162"/>
                    <a:pt x="324" y="162"/>
                  </a:cubicBezTo>
                  <a:close/>
                  <a:moveTo>
                    <a:pt x="393" y="102"/>
                  </a:moveTo>
                  <a:cubicBezTo>
                    <a:pt x="387" y="99"/>
                    <a:pt x="372" y="99"/>
                    <a:pt x="372" y="105"/>
                  </a:cubicBezTo>
                  <a:cubicBezTo>
                    <a:pt x="375" y="108"/>
                    <a:pt x="381" y="108"/>
                    <a:pt x="387" y="108"/>
                  </a:cubicBezTo>
                  <a:cubicBezTo>
                    <a:pt x="396" y="108"/>
                    <a:pt x="399" y="111"/>
                    <a:pt x="402" y="111"/>
                  </a:cubicBezTo>
                  <a:cubicBezTo>
                    <a:pt x="405" y="111"/>
                    <a:pt x="402" y="105"/>
                    <a:pt x="393" y="102"/>
                  </a:cubicBezTo>
                  <a:close/>
                  <a:moveTo>
                    <a:pt x="219" y="159"/>
                  </a:moveTo>
                  <a:cubicBezTo>
                    <a:pt x="219" y="153"/>
                    <a:pt x="204" y="159"/>
                    <a:pt x="198" y="156"/>
                  </a:cubicBezTo>
                  <a:cubicBezTo>
                    <a:pt x="192" y="153"/>
                    <a:pt x="207" y="150"/>
                    <a:pt x="210" y="147"/>
                  </a:cubicBezTo>
                  <a:cubicBezTo>
                    <a:pt x="216" y="144"/>
                    <a:pt x="207" y="144"/>
                    <a:pt x="198" y="147"/>
                  </a:cubicBezTo>
                  <a:cubicBezTo>
                    <a:pt x="186" y="150"/>
                    <a:pt x="174" y="141"/>
                    <a:pt x="174" y="144"/>
                  </a:cubicBezTo>
                  <a:cubicBezTo>
                    <a:pt x="174" y="150"/>
                    <a:pt x="153" y="144"/>
                    <a:pt x="150" y="138"/>
                  </a:cubicBezTo>
                  <a:cubicBezTo>
                    <a:pt x="144" y="135"/>
                    <a:pt x="126" y="132"/>
                    <a:pt x="123" y="138"/>
                  </a:cubicBezTo>
                  <a:cubicBezTo>
                    <a:pt x="120" y="144"/>
                    <a:pt x="117" y="138"/>
                    <a:pt x="117" y="144"/>
                  </a:cubicBezTo>
                  <a:cubicBezTo>
                    <a:pt x="120" y="150"/>
                    <a:pt x="123" y="147"/>
                    <a:pt x="126" y="147"/>
                  </a:cubicBezTo>
                  <a:cubicBezTo>
                    <a:pt x="129" y="147"/>
                    <a:pt x="129" y="153"/>
                    <a:pt x="132" y="153"/>
                  </a:cubicBezTo>
                  <a:cubicBezTo>
                    <a:pt x="138" y="153"/>
                    <a:pt x="150" y="156"/>
                    <a:pt x="153" y="153"/>
                  </a:cubicBezTo>
                  <a:cubicBezTo>
                    <a:pt x="153" y="150"/>
                    <a:pt x="168" y="153"/>
                    <a:pt x="174" y="159"/>
                  </a:cubicBezTo>
                  <a:cubicBezTo>
                    <a:pt x="180" y="165"/>
                    <a:pt x="195" y="165"/>
                    <a:pt x="201" y="165"/>
                  </a:cubicBezTo>
                  <a:cubicBezTo>
                    <a:pt x="207" y="162"/>
                    <a:pt x="213" y="168"/>
                    <a:pt x="216" y="165"/>
                  </a:cubicBezTo>
                  <a:cubicBezTo>
                    <a:pt x="219" y="162"/>
                    <a:pt x="222" y="171"/>
                    <a:pt x="231" y="165"/>
                  </a:cubicBezTo>
                  <a:cubicBezTo>
                    <a:pt x="237" y="159"/>
                    <a:pt x="219" y="162"/>
                    <a:pt x="219" y="159"/>
                  </a:cubicBezTo>
                  <a:close/>
                  <a:moveTo>
                    <a:pt x="480" y="87"/>
                  </a:moveTo>
                  <a:cubicBezTo>
                    <a:pt x="477" y="87"/>
                    <a:pt x="474" y="96"/>
                    <a:pt x="471" y="96"/>
                  </a:cubicBezTo>
                  <a:cubicBezTo>
                    <a:pt x="468" y="96"/>
                    <a:pt x="462" y="105"/>
                    <a:pt x="453" y="105"/>
                  </a:cubicBezTo>
                  <a:cubicBezTo>
                    <a:pt x="444" y="108"/>
                    <a:pt x="444" y="84"/>
                    <a:pt x="441" y="78"/>
                  </a:cubicBezTo>
                  <a:cubicBezTo>
                    <a:pt x="438" y="72"/>
                    <a:pt x="417" y="69"/>
                    <a:pt x="414" y="75"/>
                  </a:cubicBezTo>
                  <a:cubicBezTo>
                    <a:pt x="414" y="81"/>
                    <a:pt x="405" y="78"/>
                    <a:pt x="405" y="81"/>
                  </a:cubicBezTo>
                  <a:cubicBezTo>
                    <a:pt x="405" y="87"/>
                    <a:pt x="408" y="84"/>
                    <a:pt x="411" y="84"/>
                  </a:cubicBezTo>
                  <a:cubicBezTo>
                    <a:pt x="417" y="84"/>
                    <a:pt x="417" y="90"/>
                    <a:pt x="417" y="93"/>
                  </a:cubicBezTo>
                  <a:cubicBezTo>
                    <a:pt x="420" y="96"/>
                    <a:pt x="432" y="93"/>
                    <a:pt x="435" y="93"/>
                  </a:cubicBezTo>
                  <a:cubicBezTo>
                    <a:pt x="441" y="93"/>
                    <a:pt x="441" y="99"/>
                    <a:pt x="435" y="96"/>
                  </a:cubicBezTo>
                  <a:cubicBezTo>
                    <a:pt x="429" y="96"/>
                    <a:pt x="429" y="99"/>
                    <a:pt x="426" y="99"/>
                  </a:cubicBezTo>
                  <a:cubicBezTo>
                    <a:pt x="420" y="99"/>
                    <a:pt x="417" y="99"/>
                    <a:pt x="417" y="102"/>
                  </a:cubicBezTo>
                  <a:cubicBezTo>
                    <a:pt x="420" y="102"/>
                    <a:pt x="426" y="105"/>
                    <a:pt x="426" y="111"/>
                  </a:cubicBezTo>
                  <a:cubicBezTo>
                    <a:pt x="426" y="117"/>
                    <a:pt x="432" y="114"/>
                    <a:pt x="432" y="111"/>
                  </a:cubicBezTo>
                  <a:cubicBezTo>
                    <a:pt x="432" y="105"/>
                    <a:pt x="438" y="111"/>
                    <a:pt x="444" y="114"/>
                  </a:cubicBezTo>
                  <a:cubicBezTo>
                    <a:pt x="453" y="117"/>
                    <a:pt x="447" y="120"/>
                    <a:pt x="456" y="120"/>
                  </a:cubicBezTo>
                  <a:cubicBezTo>
                    <a:pt x="462" y="120"/>
                    <a:pt x="480" y="126"/>
                    <a:pt x="486" y="129"/>
                  </a:cubicBezTo>
                  <a:cubicBezTo>
                    <a:pt x="492" y="135"/>
                    <a:pt x="489" y="138"/>
                    <a:pt x="492" y="144"/>
                  </a:cubicBezTo>
                  <a:cubicBezTo>
                    <a:pt x="498" y="147"/>
                    <a:pt x="498" y="153"/>
                    <a:pt x="492" y="153"/>
                  </a:cubicBezTo>
                  <a:cubicBezTo>
                    <a:pt x="486" y="153"/>
                    <a:pt x="480" y="159"/>
                    <a:pt x="483" y="162"/>
                  </a:cubicBezTo>
                  <a:cubicBezTo>
                    <a:pt x="483" y="165"/>
                    <a:pt x="504" y="162"/>
                    <a:pt x="507" y="162"/>
                  </a:cubicBezTo>
                  <a:cubicBezTo>
                    <a:pt x="510" y="162"/>
                    <a:pt x="513" y="165"/>
                    <a:pt x="519" y="171"/>
                  </a:cubicBezTo>
                  <a:cubicBezTo>
                    <a:pt x="519" y="99"/>
                    <a:pt x="519" y="99"/>
                    <a:pt x="519" y="99"/>
                  </a:cubicBezTo>
                  <a:cubicBezTo>
                    <a:pt x="504" y="93"/>
                    <a:pt x="486" y="84"/>
                    <a:pt x="480" y="87"/>
                  </a:cubicBezTo>
                  <a:close/>
                  <a:moveTo>
                    <a:pt x="336" y="171"/>
                  </a:moveTo>
                  <a:cubicBezTo>
                    <a:pt x="336" y="171"/>
                    <a:pt x="336" y="171"/>
                    <a:pt x="333" y="171"/>
                  </a:cubicBezTo>
                  <a:cubicBezTo>
                    <a:pt x="333" y="174"/>
                    <a:pt x="333" y="174"/>
                    <a:pt x="330" y="174"/>
                  </a:cubicBezTo>
                  <a:cubicBezTo>
                    <a:pt x="330" y="177"/>
                    <a:pt x="330" y="174"/>
                    <a:pt x="327" y="174"/>
                  </a:cubicBezTo>
                  <a:cubicBezTo>
                    <a:pt x="321" y="174"/>
                    <a:pt x="318" y="183"/>
                    <a:pt x="321" y="186"/>
                  </a:cubicBezTo>
                  <a:cubicBezTo>
                    <a:pt x="327" y="189"/>
                    <a:pt x="333" y="183"/>
                    <a:pt x="336" y="177"/>
                  </a:cubicBezTo>
                  <a:cubicBezTo>
                    <a:pt x="339" y="177"/>
                    <a:pt x="339" y="177"/>
                    <a:pt x="339" y="177"/>
                  </a:cubicBezTo>
                  <a:cubicBezTo>
                    <a:pt x="339" y="174"/>
                    <a:pt x="339" y="174"/>
                    <a:pt x="339" y="174"/>
                  </a:cubicBezTo>
                  <a:cubicBezTo>
                    <a:pt x="339" y="174"/>
                    <a:pt x="339" y="174"/>
                    <a:pt x="339" y="174"/>
                  </a:cubicBezTo>
                  <a:cubicBezTo>
                    <a:pt x="339" y="171"/>
                    <a:pt x="339" y="171"/>
                    <a:pt x="336" y="171"/>
                  </a:cubicBezTo>
                  <a:close/>
                  <a:moveTo>
                    <a:pt x="243" y="84"/>
                  </a:moveTo>
                  <a:cubicBezTo>
                    <a:pt x="249" y="81"/>
                    <a:pt x="252" y="75"/>
                    <a:pt x="252" y="66"/>
                  </a:cubicBezTo>
                  <a:cubicBezTo>
                    <a:pt x="249" y="60"/>
                    <a:pt x="264" y="60"/>
                    <a:pt x="267" y="57"/>
                  </a:cubicBezTo>
                  <a:cubicBezTo>
                    <a:pt x="270" y="54"/>
                    <a:pt x="264" y="51"/>
                    <a:pt x="261" y="48"/>
                  </a:cubicBezTo>
                  <a:cubicBezTo>
                    <a:pt x="255" y="45"/>
                    <a:pt x="258" y="42"/>
                    <a:pt x="255" y="39"/>
                  </a:cubicBezTo>
                  <a:cubicBezTo>
                    <a:pt x="252" y="36"/>
                    <a:pt x="249" y="30"/>
                    <a:pt x="252" y="30"/>
                  </a:cubicBezTo>
                  <a:cubicBezTo>
                    <a:pt x="258" y="30"/>
                    <a:pt x="249" y="24"/>
                    <a:pt x="252" y="21"/>
                  </a:cubicBezTo>
                  <a:cubicBezTo>
                    <a:pt x="255" y="21"/>
                    <a:pt x="255" y="21"/>
                    <a:pt x="255" y="21"/>
                  </a:cubicBezTo>
                  <a:cubicBezTo>
                    <a:pt x="252" y="18"/>
                    <a:pt x="252" y="18"/>
                    <a:pt x="249" y="18"/>
                  </a:cubicBezTo>
                  <a:cubicBezTo>
                    <a:pt x="243" y="18"/>
                    <a:pt x="231" y="18"/>
                    <a:pt x="231" y="27"/>
                  </a:cubicBezTo>
                  <a:cubicBezTo>
                    <a:pt x="234" y="33"/>
                    <a:pt x="225" y="30"/>
                    <a:pt x="225" y="36"/>
                  </a:cubicBezTo>
                  <a:cubicBezTo>
                    <a:pt x="225" y="39"/>
                    <a:pt x="222" y="39"/>
                    <a:pt x="222" y="45"/>
                  </a:cubicBezTo>
                  <a:cubicBezTo>
                    <a:pt x="222" y="51"/>
                    <a:pt x="219" y="51"/>
                    <a:pt x="213" y="54"/>
                  </a:cubicBezTo>
                  <a:cubicBezTo>
                    <a:pt x="207" y="57"/>
                    <a:pt x="207" y="51"/>
                    <a:pt x="201" y="51"/>
                  </a:cubicBezTo>
                  <a:cubicBezTo>
                    <a:pt x="195" y="51"/>
                    <a:pt x="195" y="54"/>
                    <a:pt x="189" y="57"/>
                  </a:cubicBezTo>
                  <a:cubicBezTo>
                    <a:pt x="186" y="57"/>
                    <a:pt x="177" y="54"/>
                    <a:pt x="177" y="57"/>
                  </a:cubicBezTo>
                  <a:cubicBezTo>
                    <a:pt x="174" y="60"/>
                    <a:pt x="168" y="51"/>
                    <a:pt x="165" y="51"/>
                  </a:cubicBezTo>
                  <a:cubicBezTo>
                    <a:pt x="165" y="51"/>
                    <a:pt x="165" y="48"/>
                    <a:pt x="162" y="45"/>
                  </a:cubicBezTo>
                  <a:cubicBezTo>
                    <a:pt x="162" y="45"/>
                    <a:pt x="162" y="45"/>
                    <a:pt x="162" y="45"/>
                  </a:cubicBezTo>
                  <a:cubicBezTo>
                    <a:pt x="156" y="45"/>
                    <a:pt x="150" y="57"/>
                    <a:pt x="153" y="60"/>
                  </a:cubicBezTo>
                  <a:cubicBezTo>
                    <a:pt x="159" y="66"/>
                    <a:pt x="159" y="72"/>
                    <a:pt x="159" y="75"/>
                  </a:cubicBezTo>
                  <a:cubicBezTo>
                    <a:pt x="162" y="81"/>
                    <a:pt x="171" y="81"/>
                    <a:pt x="171" y="87"/>
                  </a:cubicBezTo>
                  <a:cubicBezTo>
                    <a:pt x="171" y="96"/>
                    <a:pt x="177" y="105"/>
                    <a:pt x="180" y="102"/>
                  </a:cubicBezTo>
                  <a:cubicBezTo>
                    <a:pt x="186" y="99"/>
                    <a:pt x="189" y="105"/>
                    <a:pt x="189" y="108"/>
                  </a:cubicBezTo>
                  <a:cubicBezTo>
                    <a:pt x="192" y="111"/>
                    <a:pt x="201" y="105"/>
                    <a:pt x="204" y="105"/>
                  </a:cubicBezTo>
                  <a:cubicBezTo>
                    <a:pt x="207" y="105"/>
                    <a:pt x="219" y="108"/>
                    <a:pt x="219" y="111"/>
                  </a:cubicBezTo>
                  <a:cubicBezTo>
                    <a:pt x="219" y="117"/>
                    <a:pt x="228" y="111"/>
                    <a:pt x="234" y="108"/>
                  </a:cubicBezTo>
                  <a:cubicBezTo>
                    <a:pt x="243" y="108"/>
                    <a:pt x="237" y="87"/>
                    <a:pt x="243" y="84"/>
                  </a:cubicBezTo>
                  <a:close/>
                  <a:moveTo>
                    <a:pt x="270" y="177"/>
                  </a:moveTo>
                  <a:cubicBezTo>
                    <a:pt x="270" y="180"/>
                    <a:pt x="276" y="180"/>
                    <a:pt x="279" y="183"/>
                  </a:cubicBezTo>
                  <a:cubicBezTo>
                    <a:pt x="282" y="186"/>
                    <a:pt x="291" y="189"/>
                    <a:pt x="291" y="183"/>
                  </a:cubicBezTo>
                  <a:cubicBezTo>
                    <a:pt x="291" y="177"/>
                    <a:pt x="267" y="174"/>
                    <a:pt x="270" y="177"/>
                  </a:cubicBezTo>
                  <a:close/>
                  <a:moveTo>
                    <a:pt x="252" y="162"/>
                  </a:moveTo>
                  <a:cubicBezTo>
                    <a:pt x="252" y="165"/>
                    <a:pt x="246" y="165"/>
                    <a:pt x="243" y="162"/>
                  </a:cubicBezTo>
                  <a:cubicBezTo>
                    <a:pt x="240" y="159"/>
                    <a:pt x="234" y="165"/>
                    <a:pt x="237" y="168"/>
                  </a:cubicBezTo>
                  <a:cubicBezTo>
                    <a:pt x="237" y="171"/>
                    <a:pt x="246" y="174"/>
                    <a:pt x="252" y="171"/>
                  </a:cubicBezTo>
                  <a:cubicBezTo>
                    <a:pt x="261" y="168"/>
                    <a:pt x="267" y="171"/>
                    <a:pt x="270" y="168"/>
                  </a:cubicBezTo>
                  <a:cubicBezTo>
                    <a:pt x="270" y="162"/>
                    <a:pt x="255" y="159"/>
                    <a:pt x="252" y="16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5" name="Freeform 980"/>
            <p:cNvSpPr>
              <a:spLocks noEditPoints="1"/>
            </p:cNvSpPr>
            <p:nvPr userDrawn="1"/>
          </p:nvSpPr>
          <p:spPr bwMode="auto">
            <a:xfrm>
              <a:off x="5129" y="-1245"/>
              <a:ext cx="809" cy="295"/>
            </a:xfrm>
            <a:custGeom>
              <a:avLst/>
              <a:gdLst>
                <a:gd name="T0" fmla="*/ 39 w 519"/>
                <a:gd name="T1" fmla="*/ 81 h 189"/>
                <a:gd name="T2" fmla="*/ 147 w 519"/>
                <a:gd name="T3" fmla="*/ 102 h 189"/>
                <a:gd name="T4" fmla="*/ 24 w 519"/>
                <a:gd name="T5" fmla="*/ 51 h 189"/>
                <a:gd name="T6" fmla="*/ 279 w 519"/>
                <a:gd name="T7" fmla="*/ 135 h 189"/>
                <a:gd name="T8" fmla="*/ 291 w 519"/>
                <a:gd name="T9" fmla="*/ 108 h 189"/>
                <a:gd name="T10" fmla="*/ 306 w 519"/>
                <a:gd name="T11" fmla="*/ 111 h 189"/>
                <a:gd name="T12" fmla="*/ 318 w 519"/>
                <a:gd name="T13" fmla="*/ 75 h 189"/>
                <a:gd name="T14" fmla="*/ 318 w 519"/>
                <a:gd name="T15" fmla="*/ 63 h 189"/>
                <a:gd name="T16" fmla="*/ 297 w 519"/>
                <a:gd name="T17" fmla="*/ 54 h 189"/>
                <a:gd name="T18" fmla="*/ 267 w 519"/>
                <a:gd name="T19" fmla="*/ 96 h 189"/>
                <a:gd name="T20" fmla="*/ 123 w 519"/>
                <a:gd name="T21" fmla="*/ 105 h 189"/>
                <a:gd name="T22" fmla="*/ 120 w 519"/>
                <a:gd name="T23" fmla="*/ 87 h 189"/>
                <a:gd name="T24" fmla="*/ 114 w 519"/>
                <a:gd name="T25" fmla="*/ 96 h 189"/>
                <a:gd name="T26" fmla="*/ 96 w 519"/>
                <a:gd name="T27" fmla="*/ 72 h 189"/>
                <a:gd name="T28" fmla="*/ 78 w 519"/>
                <a:gd name="T29" fmla="*/ 51 h 189"/>
                <a:gd name="T30" fmla="*/ 54 w 519"/>
                <a:gd name="T31" fmla="*/ 33 h 189"/>
                <a:gd name="T32" fmla="*/ 3 w 519"/>
                <a:gd name="T33" fmla="*/ 6 h 189"/>
                <a:gd name="T34" fmla="*/ 45 w 519"/>
                <a:gd name="T35" fmla="*/ 66 h 189"/>
                <a:gd name="T36" fmla="*/ 99 w 519"/>
                <a:gd name="T37" fmla="*/ 129 h 189"/>
                <a:gd name="T38" fmla="*/ 123 w 519"/>
                <a:gd name="T39" fmla="*/ 117 h 189"/>
                <a:gd name="T40" fmla="*/ 375 w 519"/>
                <a:gd name="T41" fmla="*/ 54 h 189"/>
                <a:gd name="T42" fmla="*/ 378 w 519"/>
                <a:gd name="T43" fmla="*/ 63 h 189"/>
                <a:gd name="T44" fmla="*/ 348 w 519"/>
                <a:gd name="T45" fmla="*/ 105 h 189"/>
                <a:gd name="T46" fmla="*/ 279 w 519"/>
                <a:gd name="T47" fmla="*/ 168 h 189"/>
                <a:gd name="T48" fmla="*/ 324 w 519"/>
                <a:gd name="T49" fmla="*/ 162 h 189"/>
                <a:gd name="T50" fmla="*/ 387 w 519"/>
                <a:gd name="T51" fmla="*/ 108 h 189"/>
                <a:gd name="T52" fmla="*/ 219 w 519"/>
                <a:gd name="T53" fmla="*/ 159 h 189"/>
                <a:gd name="T54" fmla="*/ 198 w 519"/>
                <a:gd name="T55" fmla="*/ 147 h 189"/>
                <a:gd name="T56" fmla="*/ 123 w 519"/>
                <a:gd name="T57" fmla="*/ 138 h 189"/>
                <a:gd name="T58" fmla="*/ 132 w 519"/>
                <a:gd name="T59" fmla="*/ 153 h 189"/>
                <a:gd name="T60" fmla="*/ 201 w 519"/>
                <a:gd name="T61" fmla="*/ 165 h 189"/>
                <a:gd name="T62" fmla="*/ 219 w 519"/>
                <a:gd name="T63" fmla="*/ 159 h 189"/>
                <a:gd name="T64" fmla="*/ 453 w 519"/>
                <a:gd name="T65" fmla="*/ 105 h 189"/>
                <a:gd name="T66" fmla="*/ 405 w 519"/>
                <a:gd name="T67" fmla="*/ 81 h 189"/>
                <a:gd name="T68" fmla="*/ 435 w 519"/>
                <a:gd name="T69" fmla="*/ 93 h 189"/>
                <a:gd name="T70" fmla="*/ 417 w 519"/>
                <a:gd name="T71" fmla="*/ 102 h 189"/>
                <a:gd name="T72" fmla="*/ 444 w 519"/>
                <a:gd name="T73" fmla="*/ 114 h 189"/>
                <a:gd name="T74" fmla="*/ 492 w 519"/>
                <a:gd name="T75" fmla="*/ 144 h 189"/>
                <a:gd name="T76" fmla="*/ 507 w 519"/>
                <a:gd name="T77" fmla="*/ 162 h 189"/>
                <a:gd name="T78" fmla="*/ 480 w 519"/>
                <a:gd name="T79" fmla="*/ 87 h 189"/>
                <a:gd name="T80" fmla="*/ 330 w 519"/>
                <a:gd name="T81" fmla="*/ 174 h 189"/>
                <a:gd name="T82" fmla="*/ 336 w 519"/>
                <a:gd name="T83" fmla="*/ 177 h 189"/>
                <a:gd name="T84" fmla="*/ 339 w 519"/>
                <a:gd name="T85" fmla="*/ 174 h 189"/>
                <a:gd name="T86" fmla="*/ 252 w 519"/>
                <a:gd name="T87" fmla="*/ 66 h 189"/>
                <a:gd name="T88" fmla="*/ 255 w 519"/>
                <a:gd name="T89" fmla="*/ 39 h 189"/>
                <a:gd name="T90" fmla="*/ 255 w 519"/>
                <a:gd name="T91" fmla="*/ 21 h 189"/>
                <a:gd name="T92" fmla="*/ 225 w 519"/>
                <a:gd name="T93" fmla="*/ 36 h 189"/>
                <a:gd name="T94" fmla="*/ 201 w 519"/>
                <a:gd name="T95" fmla="*/ 51 h 189"/>
                <a:gd name="T96" fmla="*/ 165 w 519"/>
                <a:gd name="T97" fmla="*/ 51 h 189"/>
                <a:gd name="T98" fmla="*/ 153 w 519"/>
                <a:gd name="T99" fmla="*/ 60 h 189"/>
                <a:gd name="T100" fmla="*/ 180 w 519"/>
                <a:gd name="T101" fmla="*/ 102 h 189"/>
                <a:gd name="T102" fmla="*/ 219 w 519"/>
                <a:gd name="T103" fmla="*/ 111 h 189"/>
                <a:gd name="T104" fmla="*/ 270 w 519"/>
                <a:gd name="T105" fmla="*/ 177 h 189"/>
                <a:gd name="T106" fmla="*/ 270 w 519"/>
                <a:gd name="T107" fmla="*/ 177 h 189"/>
                <a:gd name="T108" fmla="*/ 237 w 519"/>
                <a:gd name="T109" fmla="*/ 168 h 189"/>
                <a:gd name="T110" fmla="*/ 252 w 519"/>
                <a:gd name="T111" fmla="*/ 16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9" h="189">
                  <a:moveTo>
                    <a:pt x="39" y="81"/>
                  </a:moveTo>
                  <a:cubicBezTo>
                    <a:pt x="39" y="81"/>
                    <a:pt x="42" y="90"/>
                    <a:pt x="45" y="87"/>
                  </a:cubicBezTo>
                  <a:cubicBezTo>
                    <a:pt x="48" y="84"/>
                    <a:pt x="42" y="75"/>
                    <a:pt x="39" y="81"/>
                  </a:cubicBezTo>
                  <a:close/>
                  <a:moveTo>
                    <a:pt x="147" y="102"/>
                  </a:moveTo>
                  <a:cubicBezTo>
                    <a:pt x="147" y="99"/>
                    <a:pt x="138" y="99"/>
                    <a:pt x="141" y="102"/>
                  </a:cubicBezTo>
                  <a:cubicBezTo>
                    <a:pt x="144" y="108"/>
                    <a:pt x="147" y="105"/>
                    <a:pt x="147" y="102"/>
                  </a:cubicBezTo>
                  <a:close/>
                  <a:moveTo>
                    <a:pt x="24" y="51"/>
                  </a:moveTo>
                  <a:cubicBezTo>
                    <a:pt x="21" y="54"/>
                    <a:pt x="27" y="66"/>
                    <a:pt x="30" y="60"/>
                  </a:cubicBezTo>
                  <a:cubicBezTo>
                    <a:pt x="33" y="57"/>
                    <a:pt x="24" y="48"/>
                    <a:pt x="24" y="51"/>
                  </a:cubicBezTo>
                  <a:close/>
                  <a:moveTo>
                    <a:pt x="273" y="108"/>
                  </a:moveTo>
                  <a:cubicBezTo>
                    <a:pt x="279" y="108"/>
                    <a:pt x="279" y="117"/>
                    <a:pt x="279" y="120"/>
                  </a:cubicBezTo>
                  <a:cubicBezTo>
                    <a:pt x="276" y="126"/>
                    <a:pt x="276" y="135"/>
                    <a:pt x="279" y="135"/>
                  </a:cubicBezTo>
                  <a:cubicBezTo>
                    <a:pt x="285" y="132"/>
                    <a:pt x="288" y="126"/>
                    <a:pt x="285" y="123"/>
                  </a:cubicBezTo>
                  <a:cubicBezTo>
                    <a:pt x="282" y="120"/>
                    <a:pt x="282" y="105"/>
                    <a:pt x="282" y="102"/>
                  </a:cubicBezTo>
                  <a:cubicBezTo>
                    <a:pt x="285" y="99"/>
                    <a:pt x="294" y="102"/>
                    <a:pt x="291" y="108"/>
                  </a:cubicBezTo>
                  <a:cubicBezTo>
                    <a:pt x="288" y="111"/>
                    <a:pt x="297" y="111"/>
                    <a:pt x="297" y="117"/>
                  </a:cubicBezTo>
                  <a:cubicBezTo>
                    <a:pt x="297" y="123"/>
                    <a:pt x="300" y="120"/>
                    <a:pt x="306" y="120"/>
                  </a:cubicBezTo>
                  <a:cubicBezTo>
                    <a:pt x="312" y="117"/>
                    <a:pt x="312" y="114"/>
                    <a:pt x="306" y="111"/>
                  </a:cubicBezTo>
                  <a:cubicBezTo>
                    <a:pt x="303" y="108"/>
                    <a:pt x="309" y="102"/>
                    <a:pt x="306" y="99"/>
                  </a:cubicBezTo>
                  <a:cubicBezTo>
                    <a:pt x="300" y="93"/>
                    <a:pt x="297" y="90"/>
                    <a:pt x="300" y="87"/>
                  </a:cubicBezTo>
                  <a:cubicBezTo>
                    <a:pt x="306" y="87"/>
                    <a:pt x="321" y="78"/>
                    <a:pt x="318" y="75"/>
                  </a:cubicBezTo>
                  <a:cubicBezTo>
                    <a:pt x="318" y="72"/>
                    <a:pt x="297" y="78"/>
                    <a:pt x="294" y="84"/>
                  </a:cubicBezTo>
                  <a:cubicBezTo>
                    <a:pt x="294" y="90"/>
                    <a:pt x="279" y="81"/>
                    <a:pt x="282" y="72"/>
                  </a:cubicBezTo>
                  <a:cubicBezTo>
                    <a:pt x="282" y="60"/>
                    <a:pt x="312" y="60"/>
                    <a:pt x="318" y="63"/>
                  </a:cubicBezTo>
                  <a:cubicBezTo>
                    <a:pt x="327" y="66"/>
                    <a:pt x="336" y="57"/>
                    <a:pt x="339" y="51"/>
                  </a:cubicBezTo>
                  <a:cubicBezTo>
                    <a:pt x="342" y="45"/>
                    <a:pt x="333" y="54"/>
                    <a:pt x="327" y="57"/>
                  </a:cubicBezTo>
                  <a:cubicBezTo>
                    <a:pt x="321" y="60"/>
                    <a:pt x="306" y="57"/>
                    <a:pt x="297" y="54"/>
                  </a:cubicBezTo>
                  <a:cubicBezTo>
                    <a:pt x="291" y="51"/>
                    <a:pt x="291" y="57"/>
                    <a:pt x="285" y="60"/>
                  </a:cubicBezTo>
                  <a:cubicBezTo>
                    <a:pt x="279" y="60"/>
                    <a:pt x="279" y="75"/>
                    <a:pt x="276" y="75"/>
                  </a:cubicBezTo>
                  <a:cubicBezTo>
                    <a:pt x="273" y="78"/>
                    <a:pt x="273" y="87"/>
                    <a:pt x="267" y="96"/>
                  </a:cubicBezTo>
                  <a:cubicBezTo>
                    <a:pt x="261" y="108"/>
                    <a:pt x="270" y="108"/>
                    <a:pt x="273" y="108"/>
                  </a:cubicBezTo>
                  <a:close/>
                  <a:moveTo>
                    <a:pt x="123" y="117"/>
                  </a:moveTo>
                  <a:cubicBezTo>
                    <a:pt x="123" y="114"/>
                    <a:pt x="123" y="108"/>
                    <a:pt x="123" y="105"/>
                  </a:cubicBezTo>
                  <a:cubicBezTo>
                    <a:pt x="123" y="102"/>
                    <a:pt x="126" y="102"/>
                    <a:pt x="129" y="102"/>
                  </a:cubicBezTo>
                  <a:cubicBezTo>
                    <a:pt x="132" y="105"/>
                    <a:pt x="132" y="96"/>
                    <a:pt x="129" y="96"/>
                  </a:cubicBezTo>
                  <a:cubicBezTo>
                    <a:pt x="126" y="96"/>
                    <a:pt x="126" y="87"/>
                    <a:pt x="120" y="87"/>
                  </a:cubicBezTo>
                  <a:cubicBezTo>
                    <a:pt x="114" y="87"/>
                    <a:pt x="114" y="93"/>
                    <a:pt x="117" y="93"/>
                  </a:cubicBezTo>
                  <a:cubicBezTo>
                    <a:pt x="120" y="93"/>
                    <a:pt x="123" y="96"/>
                    <a:pt x="123" y="96"/>
                  </a:cubicBezTo>
                  <a:cubicBezTo>
                    <a:pt x="120" y="99"/>
                    <a:pt x="120" y="96"/>
                    <a:pt x="114" y="96"/>
                  </a:cubicBezTo>
                  <a:cubicBezTo>
                    <a:pt x="111" y="96"/>
                    <a:pt x="114" y="90"/>
                    <a:pt x="108" y="90"/>
                  </a:cubicBezTo>
                  <a:cubicBezTo>
                    <a:pt x="102" y="90"/>
                    <a:pt x="105" y="78"/>
                    <a:pt x="99" y="78"/>
                  </a:cubicBezTo>
                  <a:cubicBezTo>
                    <a:pt x="93" y="78"/>
                    <a:pt x="93" y="75"/>
                    <a:pt x="96" y="72"/>
                  </a:cubicBezTo>
                  <a:cubicBezTo>
                    <a:pt x="99" y="69"/>
                    <a:pt x="90" y="66"/>
                    <a:pt x="90" y="60"/>
                  </a:cubicBezTo>
                  <a:cubicBezTo>
                    <a:pt x="90" y="57"/>
                    <a:pt x="84" y="60"/>
                    <a:pt x="84" y="57"/>
                  </a:cubicBezTo>
                  <a:cubicBezTo>
                    <a:pt x="84" y="54"/>
                    <a:pt x="81" y="54"/>
                    <a:pt x="78" y="51"/>
                  </a:cubicBezTo>
                  <a:cubicBezTo>
                    <a:pt x="75" y="45"/>
                    <a:pt x="75" y="51"/>
                    <a:pt x="72" y="48"/>
                  </a:cubicBezTo>
                  <a:cubicBezTo>
                    <a:pt x="69" y="45"/>
                    <a:pt x="66" y="42"/>
                    <a:pt x="63" y="42"/>
                  </a:cubicBezTo>
                  <a:cubicBezTo>
                    <a:pt x="60" y="45"/>
                    <a:pt x="54" y="39"/>
                    <a:pt x="54" y="33"/>
                  </a:cubicBezTo>
                  <a:cubicBezTo>
                    <a:pt x="51" y="30"/>
                    <a:pt x="36" y="21"/>
                    <a:pt x="33" y="18"/>
                  </a:cubicBezTo>
                  <a:cubicBezTo>
                    <a:pt x="33" y="12"/>
                    <a:pt x="27" y="9"/>
                    <a:pt x="18" y="9"/>
                  </a:cubicBezTo>
                  <a:cubicBezTo>
                    <a:pt x="9" y="9"/>
                    <a:pt x="6" y="0"/>
                    <a:pt x="3" y="6"/>
                  </a:cubicBezTo>
                  <a:cubicBezTo>
                    <a:pt x="0" y="9"/>
                    <a:pt x="12" y="24"/>
                    <a:pt x="18" y="27"/>
                  </a:cubicBezTo>
                  <a:cubicBezTo>
                    <a:pt x="24" y="30"/>
                    <a:pt x="27" y="42"/>
                    <a:pt x="33" y="42"/>
                  </a:cubicBezTo>
                  <a:cubicBezTo>
                    <a:pt x="42" y="42"/>
                    <a:pt x="42" y="63"/>
                    <a:pt x="45" y="66"/>
                  </a:cubicBezTo>
                  <a:cubicBezTo>
                    <a:pt x="51" y="66"/>
                    <a:pt x="63" y="81"/>
                    <a:pt x="63" y="90"/>
                  </a:cubicBezTo>
                  <a:cubicBezTo>
                    <a:pt x="66" y="99"/>
                    <a:pt x="75" y="105"/>
                    <a:pt x="81" y="111"/>
                  </a:cubicBezTo>
                  <a:cubicBezTo>
                    <a:pt x="84" y="117"/>
                    <a:pt x="99" y="126"/>
                    <a:pt x="99" y="129"/>
                  </a:cubicBezTo>
                  <a:cubicBezTo>
                    <a:pt x="102" y="132"/>
                    <a:pt x="105" y="138"/>
                    <a:pt x="105" y="135"/>
                  </a:cubicBezTo>
                  <a:cubicBezTo>
                    <a:pt x="108" y="132"/>
                    <a:pt x="114" y="135"/>
                    <a:pt x="117" y="135"/>
                  </a:cubicBezTo>
                  <a:cubicBezTo>
                    <a:pt x="120" y="135"/>
                    <a:pt x="123" y="123"/>
                    <a:pt x="123" y="117"/>
                  </a:cubicBezTo>
                  <a:close/>
                  <a:moveTo>
                    <a:pt x="378" y="63"/>
                  </a:moveTo>
                  <a:cubicBezTo>
                    <a:pt x="384" y="66"/>
                    <a:pt x="381" y="60"/>
                    <a:pt x="381" y="57"/>
                  </a:cubicBezTo>
                  <a:cubicBezTo>
                    <a:pt x="381" y="51"/>
                    <a:pt x="375" y="54"/>
                    <a:pt x="375" y="54"/>
                  </a:cubicBezTo>
                  <a:cubicBezTo>
                    <a:pt x="375" y="51"/>
                    <a:pt x="372" y="42"/>
                    <a:pt x="366" y="48"/>
                  </a:cubicBezTo>
                  <a:cubicBezTo>
                    <a:pt x="360" y="57"/>
                    <a:pt x="369" y="75"/>
                    <a:pt x="372" y="72"/>
                  </a:cubicBezTo>
                  <a:cubicBezTo>
                    <a:pt x="375" y="72"/>
                    <a:pt x="369" y="63"/>
                    <a:pt x="378" y="63"/>
                  </a:cubicBezTo>
                  <a:close/>
                  <a:moveTo>
                    <a:pt x="348" y="105"/>
                  </a:moveTo>
                  <a:cubicBezTo>
                    <a:pt x="351" y="111"/>
                    <a:pt x="360" y="114"/>
                    <a:pt x="363" y="108"/>
                  </a:cubicBezTo>
                  <a:cubicBezTo>
                    <a:pt x="366" y="105"/>
                    <a:pt x="348" y="99"/>
                    <a:pt x="348" y="105"/>
                  </a:cubicBezTo>
                  <a:close/>
                  <a:moveTo>
                    <a:pt x="324" y="162"/>
                  </a:moveTo>
                  <a:cubicBezTo>
                    <a:pt x="315" y="162"/>
                    <a:pt x="309" y="168"/>
                    <a:pt x="300" y="165"/>
                  </a:cubicBezTo>
                  <a:cubicBezTo>
                    <a:pt x="291" y="162"/>
                    <a:pt x="276" y="165"/>
                    <a:pt x="279" y="168"/>
                  </a:cubicBezTo>
                  <a:cubicBezTo>
                    <a:pt x="279" y="171"/>
                    <a:pt x="288" y="171"/>
                    <a:pt x="297" y="171"/>
                  </a:cubicBezTo>
                  <a:cubicBezTo>
                    <a:pt x="306" y="171"/>
                    <a:pt x="312" y="165"/>
                    <a:pt x="318" y="165"/>
                  </a:cubicBezTo>
                  <a:cubicBezTo>
                    <a:pt x="324" y="165"/>
                    <a:pt x="333" y="162"/>
                    <a:pt x="324" y="162"/>
                  </a:cubicBezTo>
                  <a:close/>
                  <a:moveTo>
                    <a:pt x="393" y="102"/>
                  </a:moveTo>
                  <a:cubicBezTo>
                    <a:pt x="387" y="99"/>
                    <a:pt x="372" y="99"/>
                    <a:pt x="372" y="105"/>
                  </a:cubicBezTo>
                  <a:cubicBezTo>
                    <a:pt x="375" y="108"/>
                    <a:pt x="381" y="108"/>
                    <a:pt x="387" y="108"/>
                  </a:cubicBezTo>
                  <a:cubicBezTo>
                    <a:pt x="396" y="108"/>
                    <a:pt x="399" y="111"/>
                    <a:pt x="402" y="111"/>
                  </a:cubicBezTo>
                  <a:cubicBezTo>
                    <a:pt x="405" y="111"/>
                    <a:pt x="402" y="105"/>
                    <a:pt x="393" y="102"/>
                  </a:cubicBezTo>
                  <a:close/>
                  <a:moveTo>
                    <a:pt x="219" y="159"/>
                  </a:moveTo>
                  <a:cubicBezTo>
                    <a:pt x="219" y="153"/>
                    <a:pt x="204" y="159"/>
                    <a:pt x="198" y="156"/>
                  </a:cubicBezTo>
                  <a:cubicBezTo>
                    <a:pt x="192" y="153"/>
                    <a:pt x="207" y="150"/>
                    <a:pt x="210" y="147"/>
                  </a:cubicBezTo>
                  <a:cubicBezTo>
                    <a:pt x="216" y="144"/>
                    <a:pt x="207" y="144"/>
                    <a:pt x="198" y="147"/>
                  </a:cubicBezTo>
                  <a:cubicBezTo>
                    <a:pt x="186" y="150"/>
                    <a:pt x="174" y="141"/>
                    <a:pt x="174" y="144"/>
                  </a:cubicBezTo>
                  <a:cubicBezTo>
                    <a:pt x="174" y="150"/>
                    <a:pt x="153" y="144"/>
                    <a:pt x="150" y="138"/>
                  </a:cubicBezTo>
                  <a:cubicBezTo>
                    <a:pt x="144" y="135"/>
                    <a:pt x="126" y="132"/>
                    <a:pt x="123" y="138"/>
                  </a:cubicBezTo>
                  <a:cubicBezTo>
                    <a:pt x="120" y="144"/>
                    <a:pt x="117" y="138"/>
                    <a:pt x="117" y="144"/>
                  </a:cubicBezTo>
                  <a:cubicBezTo>
                    <a:pt x="120" y="150"/>
                    <a:pt x="123" y="147"/>
                    <a:pt x="126" y="147"/>
                  </a:cubicBezTo>
                  <a:cubicBezTo>
                    <a:pt x="129" y="147"/>
                    <a:pt x="129" y="153"/>
                    <a:pt x="132" y="153"/>
                  </a:cubicBezTo>
                  <a:cubicBezTo>
                    <a:pt x="138" y="153"/>
                    <a:pt x="150" y="156"/>
                    <a:pt x="153" y="153"/>
                  </a:cubicBezTo>
                  <a:cubicBezTo>
                    <a:pt x="153" y="150"/>
                    <a:pt x="168" y="153"/>
                    <a:pt x="174" y="159"/>
                  </a:cubicBezTo>
                  <a:cubicBezTo>
                    <a:pt x="180" y="165"/>
                    <a:pt x="195" y="165"/>
                    <a:pt x="201" y="165"/>
                  </a:cubicBezTo>
                  <a:cubicBezTo>
                    <a:pt x="207" y="162"/>
                    <a:pt x="213" y="168"/>
                    <a:pt x="216" y="165"/>
                  </a:cubicBezTo>
                  <a:cubicBezTo>
                    <a:pt x="219" y="162"/>
                    <a:pt x="222" y="171"/>
                    <a:pt x="231" y="165"/>
                  </a:cubicBezTo>
                  <a:cubicBezTo>
                    <a:pt x="237" y="159"/>
                    <a:pt x="219" y="162"/>
                    <a:pt x="219" y="159"/>
                  </a:cubicBezTo>
                  <a:close/>
                  <a:moveTo>
                    <a:pt x="480" y="87"/>
                  </a:moveTo>
                  <a:cubicBezTo>
                    <a:pt x="477" y="87"/>
                    <a:pt x="474" y="96"/>
                    <a:pt x="471" y="96"/>
                  </a:cubicBezTo>
                  <a:cubicBezTo>
                    <a:pt x="468" y="96"/>
                    <a:pt x="462" y="105"/>
                    <a:pt x="453" y="105"/>
                  </a:cubicBezTo>
                  <a:cubicBezTo>
                    <a:pt x="444" y="108"/>
                    <a:pt x="444" y="84"/>
                    <a:pt x="441" y="78"/>
                  </a:cubicBezTo>
                  <a:cubicBezTo>
                    <a:pt x="438" y="72"/>
                    <a:pt x="417" y="69"/>
                    <a:pt x="414" y="75"/>
                  </a:cubicBezTo>
                  <a:cubicBezTo>
                    <a:pt x="414" y="81"/>
                    <a:pt x="405" y="78"/>
                    <a:pt x="405" y="81"/>
                  </a:cubicBezTo>
                  <a:cubicBezTo>
                    <a:pt x="405" y="87"/>
                    <a:pt x="408" y="84"/>
                    <a:pt x="411" y="84"/>
                  </a:cubicBezTo>
                  <a:cubicBezTo>
                    <a:pt x="417" y="84"/>
                    <a:pt x="417" y="90"/>
                    <a:pt x="417" y="93"/>
                  </a:cubicBezTo>
                  <a:cubicBezTo>
                    <a:pt x="420" y="96"/>
                    <a:pt x="432" y="93"/>
                    <a:pt x="435" y="93"/>
                  </a:cubicBezTo>
                  <a:cubicBezTo>
                    <a:pt x="441" y="93"/>
                    <a:pt x="441" y="99"/>
                    <a:pt x="435" y="96"/>
                  </a:cubicBezTo>
                  <a:cubicBezTo>
                    <a:pt x="429" y="96"/>
                    <a:pt x="429" y="99"/>
                    <a:pt x="426" y="99"/>
                  </a:cubicBezTo>
                  <a:cubicBezTo>
                    <a:pt x="420" y="99"/>
                    <a:pt x="417" y="99"/>
                    <a:pt x="417" y="102"/>
                  </a:cubicBezTo>
                  <a:cubicBezTo>
                    <a:pt x="420" y="102"/>
                    <a:pt x="426" y="105"/>
                    <a:pt x="426" y="111"/>
                  </a:cubicBezTo>
                  <a:cubicBezTo>
                    <a:pt x="426" y="117"/>
                    <a:pt x="432" y="114"/>
                    <a:pt x="432" y="111"/>
                  </a:cubicBezTo>
                  <a:cubicBezTo>
                    <a:pt x="432" y="105"/>
                    <a:pt x="438" y="111"/>
                    <a:pt x="444" y="114"/>
                  </a:cubicBezTo>
                  <a:cubicBezTo>
                    <a:pt x="453" y="117"/>
                    <a:pt x="447" y="120"/>
                    <a:pt x="456" y="120"/>
                  </a:cubicBezTo>
                  <a:cubicBezTo>
                    <a:pt x="462" y="120"/>
                    <a:pt x="480" y="126"/>
                    <a:pt x="486" y="129"/>
                  </a:cubicBezTo>
                  <a:cubicBezTo>
                    <a:pt x="492" y="135"/>
                    <a:pt x="489" y="138"/>
                    <a:pt x="492" y="144"/>
                  </a:cubicBezTo>
                  <a:cubicBezTo>
                    <a:pt x="498" y="147"/>
                    <a:pt x="498" y="153"/>
                    <a:pt x="492" y="153"/>
                  </a:cubicBezTo>
                  <a:cubicBezTo>
                    <a:pt x="486" y="153"/>
                    <a:pt x="480" y="159"/>
                    <a:pt x="483" y="162"/>
                  </a:cubicBezTo>
                  <a:cubicBezTo>
                    <a:pt x="483" y="165"/>
                    <a:pt x="504" y="162"/>
                    <a:pt x="507" y="162"/>
                  </a:cubicBezTo>
                  <a:cubicBezTo>
                    <a:pt x="510" y="162"/>
                    <a:pt x="513" y="165"/>
                    <a:pt x="519" y="171"/>
                  </a:cubicBezTo>
                  <a:cubicBezTo>
                    <a:pt x="519" y="99"/>
                    <a:pt x="519" y="99"/>
                    <a:pt x="519" y="99"/>
                  </a:cubicBezTo>
                  <a:cubicBezTo>
                    <a:pt x="504" y="93"/>
                    <a:pt x="486" y="84"/>
                    <a:pt x="480" y="87"/>
                  </a:cubicBezTo>
                  <a:close/>
                  <a:moveTo>
                    <a:pt x="336" y="171"/>
                  </a:moveTo>
                  <a:cubicBezTo>
                    <a:pt x="336" y="171"/>
                    <a:pt x="336" y="171"/>
                    <a:pt x="333" y="171"/>
                  </a:cubicBezTo>
                  <a:cubicBezTo>
                    <a:pt x="333" y="174"/>
                    <a:pt x="333" y="174"/>
                    <a:pt x="330" y="174"/>
                  </a:cubicBezTo>
                  <a:cubicBezTo>
                    <a:pt x="330" y="177"/>
                    <a:pt x="330" y="174"/>
                    <a:pt x="327" y="174"/>
                  </a:cubicBezTo>
                  <a:cubicBezTo>
                    <a:pt x="321" y="174"/>
                    <a:pt x="318" y="183"/>
                    <a:pt x="321" y="186"/>
                  </a:cubicBezTo>
                  <a:cubicBezTo>
                    <a:pt x="327" y="189"/>
                    <a:pt x="333" y="183"/>
                    <a:pt x="336" y="177"/>
                  </a:cubicBezTo>
                  <a:cubicBezTo>
                    <a:pt x="339" y="177"/>
                    <a:pt x="339" y="177"/>
                    <a:pt x="339" y="177"/>
                  </a:cubicBezTo>
                  <a:cubicBezTo>
                    <a:pt x="339" y="174"/>
                    <a:pt x="339" y="174"/>
                    <a:pt x="339" y="174"/>
                  </a:cubicBezTo>
                  <a:cubicBezTo>
                    <a:pt x="339" y="174"/>
                    <a:pt x="339" y="174"/>
                    <a:pt x="339" y="174"/>
                  </a:cubicBezTo>
                  <a:cubicBezTo>
                    <a:pt x="339" y="171"/>
                    <a:pt x="339" y="171"/>
                    <a:pt x="336" y="171"/>
                  </a:cubicBezTo>
                  <a:close/>
                  <a:moveTo>
                    <a:pt x="243" y="84"/>
                  </a:moveTo>
                  <a:cubicBezTo>
                    <a:pt x="249" y="81"/>
                    <a:pt x="252" y="75"/>
                    <a:pt x="252" y="66"/>
                  </a:cubicBezTo>
                  <a:cubicBezTo>
                    <a:pt x="249" y="60"/>
                    <a:pt x="264" y="60"/>
                    <a:pt x="267" y="57"/>
                  </a:cubicBezTo>
                  <a:cubicBezTo>
                    <a:pt x="270" y="54"/>
                    <a:pt x="264" y="51"/>
                    <a:pt x="261" y="48"/>
                  </a:cubicBezTo>
                  <a:cubicBezTo>
                    <a:pt x="255" y="45"/>
                    <a:pt x="258" y="42"/>
                    <a:pt x="255" y="39"/>
                  </a:cubicBezTo>
                  <a:cubicBezTo>
                    <a:pt x="252" y="36"/>
                    <a:pt x="249" y="30"/>
                    <a:pt x="252" y="30"/>
                  </a:cubicBezTo>
                  <a:cubicBezTo>
                    <a:pt x="258" y="30"/>
                    <a:pt x="249" y="24"/>
                    <a:pt x="252" y="21"/>
                  </a:cubicBezTo>
                  <a:cubicBezTo>
                    <a:pt x="255" y="21"/>
                    <a:pt x="255" y="21"/>
                    <a:pt x="255" y="21"/>
                  </a:cubicBezTo>
                  <a:cubicBezTo>
                    <a:pt x="252" y="18"/>
                    <a:pt x="252" y="18"/>
                    <a:pt x="249" y="18"/>
                  </a:cubicBezTo>
                  <a:cubicBezTo>
                    <a:pt x="243" y="18"/>
                    <a:pt x="231" y="18"/>
                    <a:pt x="231" y="27"/>
                  </a:cubicBezTo>
                  <a:cubicBezTo>
                    <a:pt x="234" y="33"/>
                    <a:pt x="225" y="30"/>
                    <a:pt x="225" y="36"/>
                  </a:cubicBezTo>
                  <a:cubicBezTo>
                    <a:pt x="225" y="39"/>
                    <a:pt x="222" y="39"/>
                    <a:pt x="222" y="45"/>
                  </a:cubicBezTo>
                  <a:cubicBezTo>
                    <a:pt x="222" y="51"/>
                    <a:pt x="219" y="51"/>
                    <a:pt x="213" y="54"/>
                  </a:cubicBezTo>
                  <a:cubicBezTo>
                    <a:pt x="207" y="57"/>
                    <a:pt x="207" y="51"/>
                    <a:pt x="201" y="51"/>
                  </a:cubicBezTo>
                  <a:cubicBezTo>
                    <a:pt x="195" y="51"/>
                    <a:pt x="195" y="54"/>
                    <a:pt x="189" y="57"/>
                  </a:cubicBezTo>
                  <a:cubicBezTo>
                    <a:pt x="186" y="57"/>
                    <a:pt x="177" y="54"/>
                    <a:pt x="177" y="57"/>
                  </a:cubicBezTo>
                  <a:cubicBezTo>
                    <a:pt x="174" y="60"/>
                    <a:pt x="168" y="51"/>
                    <a:pt x="165" y="51"/>
                  </a:cubicBezTo>
                  <a:cubicBezTo>
                    <a:pt x="165" y="51"/>
                    <a:pt x="165" y="48"/>
                    <a:pt x="162" y="45"/>
                  </a:cubicBezTo>
                  <a:cubicBezTo>
                    <a:pt x="162" y="45"/>
                    <a:pt x="162" y="45"/>
                    <a:pt x="162" y="45"/>
                  </a:cubicBezTo>
                  <a:cubicBezTo>
                    <a:pt x="156" y="45"/>
                    <a:pt x="150" y="57"/>
                    <a:pt x="153" y="60"/>
                  </a:cubicBezTo>
                  <a:cubicBezTo>
                    <a:pt x="159" y="66"/>
                    <a:pt x="159" y="72"/>
                    <a:pt x="159" y="75"/>
                  </a:cubicBezTo>
                  <a:cubicBezTo>
                    <a:pt x="162" y="81"/>
                    <a:pt x="171" y="81"/>
                    <a:pt x="171" y="87"/>
                  </a:cubicBezTo>
                  <a:cubicBezTo>
                    <a:pt x="171" y="96"/>
                    <a:pt x="177" y="105"/>
                    <a:pt x="180" y="102"/>
                  </a:cubicBezTo>
                  <a:cubicBezTo>
                    <a:pt x="186" y="99"/>
                    <a:pt x="189" y="105"/>
                    <a:pt x="189" y="108"/>
                  </a:cubicBezTo>
                  <a:cubicBezTo>
                    <a:pt x="192" y="111"/>
                    <a:pt x="201" y="105"/>
                    <a:pt x="204" y="105"/>
                  </a:cubicBezTo>
                  <a:cubicBezTo>
                    <a:pt x="207" y="105"/>
                    <a:pt x="219" y="108"/>
                    <a:pt x="219" y="111"/>
                  </a:cubicBezTo>
                  <a:cubicBezTo>
                    <a:pt x="219" y="117"/>
                    <a:pt x="228" y="111"/>
                    <a:pt x="234" y="108"/>
                  </a:cubicBezTo>
                  <a:cubicBezTo>
                    <a:pt x="243" y="108"/>
                    <a:pt x="237" y="87"/>
                    <a:pt x="243" y="84"/>
                  </a:cubicBezTo>
                  <a:close/>
                  <a:moveTo>
                    <a:pt x="270" y="177"/>
                  </a:moveTo>
                  <a:cubicBezTo>
                    <a:pt x="270" y="180"/>
                    <a:pt x="276" y="180"/>
                    <a:pt x="279" y="183"/>
                  </a:cubicBezTo>
                  <a:cubicBezTo>
                    <a:pt x="282" y="186"/>
                    <a:pt x="291" y="189"/>
                    <a:pt x="291" y="183"/>
                  </a:cubicBezTo>
                  <a:cubicBezTo>
                    <a:pt x="291" y="177"/>
                    <a:pt x="267" y="174"/>
                    <a:pt x="270" y="177"/>
                  </a:cubicBezTo>
                  <a:close/>
                  <a:moveTo>
                    <a:pt x="252" y="162"/>
                  </a:moveTo>
                  <a:cubicBezTo>
                    <a:pt x="252" y="165"/>
                    <a:pt x="246" y="165"/>
                    <a:pt x="243" y="162"/>
                  </a:cubicBezTo>
                  <a:cubicBezTo>
                    <a:pt x="240" y="159"/>
                    <a:pt x="234" y="165"/>
                    <a:pt x="237" y="168"/>
                  </a:cubicBezTo>
                  <a:cubicBezTo>
                    <a:pt x="237" y="171"/>
                    <a:pt x="246" y="174"/>
                    <a:pt x="252" y="171"/>
                  </a:cubicBezTo>
                  <a:cubicBezTo>
                    <a:pt x="261" y="168"/>
                    <a:pt x="267" y="171"/>
                    <a:pt x="270" y="168"/>
                  </a:cubicBezTo>
                  <a:cubicBezTo>
                    <a:pt x="270" y="162"/>
                    <a:pt x="255" y="159"/>
                    <a:pt x="252" y="162"/>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6" name="Freeform 981"/>
            <p:cNvSpPr>
              <a:spLocks noEditPoints="1"/>
            </p:cNvSpPr>
            <p:nvPr userDrawn="1"/>
          </p:nvSpPr>
          <p:spPr bwMode="auto">
            <a:xfrm>
              <a:off x="5640" y="-997"/>
              <a:ext cx="61" cy="28"/>
            </a:xfrm>
            <a:custGeom>
              <a:avLst/>
              <a:gdLst>
                <a:gd name="T0" fmla="*/ 3 w 39"/>
                <a:gd name="T1" fmla="*/ 12 h 18"/>
                <a:gd name="T2" fmla="*/ 0 w 39"/>
                <a:gd name="T3" fmla="*/ 15 h 18"/>
                <a:gd name="T4" fmla="*/ 3 w 39"/>
                <a:gd name="T5" fmla="*/ 15 h 18"/>
                <a:gd name="T6" fmla="*/ 6 w 39"/>
                <a:gd name="T7" fmla="*/ 12 h 18"/>
                <a:gd name="T8" fmla="*/ 6 w 39"/>
                <a:gd name="T9" fmla="*/ 12 h 18"/>
                <a:gd name="T10" fmla="*/ 3 w 39"/>
                <a:gd name="T11" fmla="*/ 12 h 18"/>
                <a:gd name="T12" fmla="*/ 21 w 39"/>
                <a:gd name="T13" fmla="*/ 3 h 18"/>
                <a:gd name="T14" fmla="*/ 12 w 39"/>
                <a:gd name="T15" fmla="*/ 9 h 18"/>
                <a:gd name="T16" fmla="*/ 9 w 39"/>
                <a:gd name="T17" fmla="*/ 12 h 18"/>
                <a:gd name="T18" fmla="*/ 12 w 39"/>
                <a:gd name="T19" fmla="*/ 15 h 18"/>
                <a:gd name="T20" fmla="*/ 36 w 39"/>
                <a:gd name="T21" fmla="*/ 3 h 18"/>
                <a:gd name="T22" fmla="*/ 21 w 39"/>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8">
                  <a:moveTo>
                    <a:pt x="3" y="12"/>
                  </a:moveTo>
                  <a:cubicBezTo>
                    <a:pt x="3" y="12"/>
                    <a:pt x="3" y="12"/>
                    <a:pt x="0" y="15"/>
                  </a:cubicBezTo>
                  <a:cubicBezTo>
                    <a:pt x="3" y="15"/>
                    <a:pt x="3" y="18"/>
                    <a:pt x="3" y="15"/>
                  </a:cubicBezTo>
                  <a:cubicBezTo>
                    <a:pt x="6" y="15"/>
                    <a:pt x="6" y="15"/>
                    <a:pt x="6" y="12"/>
                  </a:cubicBezTo>
                  <a:cubicBezTo>
                    <a:pt x="6" y="12"/>
                    <a:pt x="6" y="12"/>
                    <a:pt x="6" y="12"/>
                  </a:cubicBezTo>
                  <a:cubicBezTo>
                    <a:pt x="3" y="12"/>
                    <a:pt x="3" y="12"/>
                    <a:pt x="3" y="12"/>
                  </a:cubicBezTo>
                  <a:close/>
                  <a:moveTo>
                    <a:pt x="21" y="3"/>
                  </a:moveTo>
                  <a:cubicBezTo>
                    <a:pt x="15" y="3"/>
                    <a:pt x="15" y="9"/>
                    <a:pt x="12" y="9"/>
                  </a:cubicBezTo>
                  <a:cubicBezTo>
                    <a:pt x="9" y="12"/>
                    <a:pt x="9" y="12"/>
                    <a:pt x="9" y="12"/>
                  </a:cubicBezTo>
                  <a:cubicBezTo>
                    <a:pt x="12" y="12"/>
                    <a:pt x="12" y="12"/>
                    <a:pt x="12" y="15"/>
                  </a:cubicBezTo>
                  <a:cubicBezTo>
                    <a:pt x="21" y="12"/>
                    <a:pt x="36" y="6"/>
                    <a:pt x="36" y="3"/>
                  </a:cubicBezTo>
                  <a:cubicBezTo>
                    <a:pt x="39" y="0"/>
                    <a:pt x="27" y="6"/>
                    <a:pt x="21"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7" name="Freeform 982"/>
            <p:cNvSpPr>
              <a:spLocks noEditPoints="1"/>
            </p:cNvSpPr>
            <p:nvPr userDrawn="1"/>
          </p:nvSpPr>
          <p:spPr bwMode="auto">
            <a:xfrm>
              <a:off x="5640" y="-997"/>
              <a:ext cx="61" cy="28"/>
            </a:xfrm>
            <a:custGeom>
              <a:avLst/>
              <a:gdLst>
                <a:gd name="T0" fmla="*/ 3 w 39"/>
                <a:gd name="T1" fmla="*/ 12 h 18"/>
                <a:gd name="T2" fmla="*/ 0 w 39"/>
                <a:gd name="T3" fmla="*/ 15 h 18"/>
                <a:gd name="T4" fmla="*/ 3 w 39"/>
                <a:gd name="T5" fmla="*/ 15 h 18"/>
                <a:gd name="T6" fmla="*/ 6 w 39"/>
                <a:gd name="T7" fmla="*/ 12 h 18"/>
                <a:gd name="T8" fmla="*/ 6 w 39"/>
                <a:gd name="T9" fmla="*/ 12 h 18"/>
                <a:gd name="T10" fmla="*/ 3 w 39"/>
                <a:gd name="T11" fmla="*/ 12 h 18"/>
                <a:gd name="T12" fmla="*/ 21 w 39"/>
                <a:gd name="T13" fmla="*/ 3 h 18"/>
                <a:gd name="T14" fmla="*/ 12 w 39"/>
                <a:gd name="T15" fmla="*/ 9 h 18"/>
                <a:gd name="T16" fmla="*/ 9 w 39"/>
                <a:gd name="T17" fmla="*/ 12 h 18"/>
                <a:gd name="T18" fmla="*/ 12 w 39"/>
                <a:gd name="T19" fmla="*/ 15 h 18"/>
                <a:gd name="T20" fmla="*/ 36 w 39"/>
                <a:gd name="T21" fmla="*/ 3 h 18"/>
                <a:gd name="T22" fmla="*/ 21 w 39"/>
                <a:gd name="T2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8">
                  <a:moveTo>
                    <a:pt x="3" y="12"/>
                  </a:moveTo>
                  <a:cubicBezTo>
                    <a:pt x="3" y="12"/>
                    <a:pt x="3" y="12"/>
                    <a:pt x="0" y="15"/>
                  </a:cubicBezTo>
                  <a:cubicBezTo>
                    <a:pt x="3" y="15"/>
                    <a:pt x="3" y="18"/>
                    <a:pt x="3" y="15"/>
                  </a:cubicBezTo>
                  <a:cubicBezTo>
                    <a:pt x="6" y="15"/>
                    <a:pt x="6" y="15"/>
                    <a:pt x="6" y="12"/>
                  </a:cubicBezTo>
                  <a:cubicBezTo>
                    <a:pt x="6" y="12"/>
                    <a:pt x="6" y="12"/>
                    <a:pt x="6" y="12"/>
                  </a:cubicBezTo>
                  <a:cubicBezTo>
                    <a:pt x="3" y="12"/>
                    <a:pt x="3" y="12"/>
                    <a:pt x="3" y="12"/>
                  </a:cubicBezTo>
                  <a:close/>
                  <a:moveTo>
                    <a:pt x="21" y="3"/>
                  </a:moveTo>
                  <a:cubicBezTo>
                    <a:pt x="15" y="3"/>
                    <a:pt x="15" y="9"/>
                    <a:pt x="12" y="9"/>
                  </a:cubicBezTo>
                  <a:cubicBezTo>
                    <a:pt x="9" y="12"/>
                    <a:pt x="9" y="12"/>
                    <a:pt x="9" y="12"/>
                  </a:cubicBezTo>
                  <a:cubicBezTo>
                    <a:pt x="12" y="12"/>
                    <a:pt x="12" y="12"/>
                    <a:pt x="12" y="15"/>
                  </a:cubicBezTo>
                  <a:cubicBezTo>
                    <a:pt x="21" y="12"/>
                    <a:pt x="36" y="6"/>
                    <a:pt x="36" y="3"/>
                  </a:cubicBezTo>
                  <a:cubicBezTo>
                    <a:pt x="39" y="0"/>
                    <a:pt x="27" y="6"/>
                    <a:pt x="21"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8" name="Freeform 983"/>
            <p:cNvSpPr>
              <a:spLocks noEditPoints="1"/>
            </p:cNvSpPr>
            <p:nvPr userDrawn="1"/>
          </p:nvSpPr>
          <p:spPr bwMode="auto">
            <a:xfrm>
              <a:off x="3597" y="-2045"/>
              <a:ext cx="206" cy="220"/>
            </a:xfrm>
            <a:custGeom>
              <a:avLst/>
              <a:gdLst>
                <a:gd name="T0" fmla="*/ 90 w 132"/>
                <a:gd name="T1" fmla="*/ 123 h 141"/>
                <a:gd name="T2" fmla="*/ 78 w 132"/>
                <a:gd name="T3" fmla="*/ 123 h 141"/>
                <a:gd name="T4" fmla="*/ 69 w 132"/>
                <a:gd name="T5" fmla="*/ 126 h 141"/>
                <a:gd name="T6" fmla="*/ 81 w 132"/>
                <a:gd name="T7" fmla="*/ 132 h 141"/>
                <a:gd name="T8" fmla="*/ 93 w 132"/>
                <a:gd name="T9" fmla="*/ 141 h 141"/>
                <a:gd name="T10" fmla="*/ 96 w 132"/>
                <a:gd name="T11" fmla="*/ 135 h 141"/>
                <a:gd name="T12" fmla="*/ 99 w 132"/>
                <a:gd name="T13" fmla="*/ 123 h 141"/>
                <a:gd name="T14" fmla="*/ 90 w 132"/>
                <a:gd name="T15" fmla="*/ 123 h 141"/>
                <a:gd name="T16" fmla="*/ 27 w 132"/>
                <a:gd name="T17" fmla="*/ 84 h 141"/>
                <a:gd name="T18" fmla="*/ 18 w 132"/>
                <a:gd name="T19" fmla="*/ 87 h 141"/>
                <a:gd name="T20" fmla="*/ 24 w 132"/>
                <a:gd name="T21" fmla="*/ 102 h 141"/>
                <a:gd name="T22" fmla="*/ 27 w 132"/>
                <a:gd name="T23" fmla="*/ 111 h 141"/>
                <a:gd name="T24" fmla="*/ 36 w 132"/>
                <a:gd name="T25" fmla="*/ 108 h 141"/>
                <a:gd name="T26" fmla="*/ 36 w 132"/>
                <a:gd name="T27" fmla="*/ 90 h 141"/>
                <a:gd name="T28" fmla="*/ 27 w 132"/>
                <a:gd name="T29" fmla="*/ 84 h 141"/>
                <a:gd name="T30" fmla="*/ 108 w 132"/>
                <a:gd name="T31" fmla="*/ 78 h 141"/>
                <a:gd name="T32" fmla="*/ 99 w 132"/>
                <a:gd name="T33" fmla="*/ 72 h 141"/>
                <a:gd name="T34" fmla="*/ 84 w 132"/>
                <a:gd name="T35" fmla="*/ 54 h 141"/>
                <a:gd name="T36" fmla="*/ 66 w 132"/>
                <a:gd name="T37" fmla="*/ 39 h 141"/>
                <a:gd name="T38" fmla="*/ 66 w 132"/>
                <a:gd name="T39" fmla="*/ 27 h 141"/>
                <a:gd name="T40" fmla="*/ 72 w 132"/>
                <a:gd name="T41" fmla="*/ 21 h 141"/>
                <a:gd name="T42" fmla="*/ 72 w 132"/>
                <a:gd name="T43" fmla="*/ 6 h 141"/>
                <a:gd name="T44" fmla="*/ 66 w 132"/>
                <a:gd name="T45" fmla="*/ 6 h 141"/>
                <a:gd name="T46" fmla="*/ 66 w 132"/>
                <a:gd name="T47" fmla="*/ 0 h 141"/>
                <a:gd name="T48" fmla="*/ 57 w 132"/>
                <a:gd name="T49" fmla="*/ 0 h 141"/>
                <a:gd name="T50" fmla="*/ 48 w 132"/>
                <a:gd name="T51" fmla="*/ 3 h 141"/>
                <a:gd name="T52" fmla="*/ 48 w 132"/>
                <a:gd name="T53" fmla="*/ 3 h 141"/>
                <a:gd name="T54" fmla="*/ 45 w 132"/>
                <a:gd name="T55" fmla="*/ 6 h 141"/>
                <a:gd name="T56" fmla="*/ 42 w 132"/>
                <a:gd name="T57" fmla="*/ 6 h 141"/>
                <a:gd name="T58" fmla="*/ 39 w 132"/>
                <a:gd name="T59" fmla="*/ 9 h 141"/>
                <a:gd name="T60" fmla="*/ 36 w 132"/>
                <a:gd name="T61" fmla="*/ 9 h 141"/>
                <a:gd name="T62" fmla="*/ 30 w 132"/>
                <a:gd name="T63" fmla="*/ 12 h 141"/>
                <a:gd name="T64" fmla="*/ 27 w 132"/>
                <a:gd name="T65" fmla="*/ 15 h 141"/>
                <a:gd name="T66" fmla="*/ 21 w 132"/>
                <a:gd name="T67" fmla="*/ 9 h 141"/>
                <a:gd name="T68" fmla="*/ 15 w 132"/>
                <a:gd name="T69" fmla="*/ 18 h 141"/>
                <a:gd name="T70" fmla="*/ 6 w 132"/>
                <a:gd name="T71" fmla="*/ 18 h 141"/>
                <a:gd name="T72" fmla="*/ 6 w 132"/>
                <a:gd name="T73" fmla="*/ 24 h 141"/>
                <a:gd name="T74" fmla="*/ 6 w 132"/>
                <a:gd name="T75" fmla="*/ 27 h 141"/>
                <a:gd name="T76" fmla="*/ 3 w 132"/>
                <a:gd name="T77" fmla="*/ 30 h 141"/>
                <a:gd name="T78" fmla="*/ 6 w 132"/>
                <a:gd name="T79" fmla="*/ 36 h 141"/>
                <a:gd name="T80" fmla="*/ 9 w 132"/>
                <a:gd name="T81" fmla="*/ 42 h 141"/>
                <a:gd name="T82" fmla="*/ 15 w 132"/>
                <a:gd name="T83" fmla="*/ 42 h 141"/>
                <a:gd name="T84" fmla="*/ 12 w 132"/>
                <a:gd name="T85" fmla="*/ 48 h 141"/>
                <a:gd name="T86" fmla="*/ 18 w 132"/>
                <a:gd name="T87" fmla="*/ 45 h 141"/>
                <a:gd name="T88" fmla="*/ 27 w 132"/>
                <a:gd name="T89" fmla="*/ 39 h 141"/>
                <a:gd name="T90" fmla="*/ 42 w 132"/>
                <a:gd name="T91" fmla="*/ 45 h 141"/>
                <a:gd name="T92" fmla="*/ 45 w 132"/>
                <a:gd name="T93" fmla="*/ 51 h 141"/>
                <a:gd name="T94" fmla="*/ 57 w 132"/>
                <a:gd name="T95" fmla="*/ 66 h 141"/>
                <a:gd name="T96" fmla="*/ 72 w 132"/>
                <a:gd name="T97" fmla="*/ 78 h 141"/>
                <a:gd name="T98" fmla="*/ 81 w 132"/>
                <a:gd name="T99" fmla="*/ 84 h 141"/>
                <a:gd name="T100" fmla="*/ 93 w 132"/>
                <a:gd name="T101" fmla="*/ 90 h 141"/>
                <a:gd name="T102" fmla="*/ 99 w 132"/>
                <a:gd name="T103" fmla="*/ 96 h 141"/>
                <a:gd name="T104" fmla="*/ 105 w 132"/>
                <a:gd name="T105" fmla="*/ 102 h 141"/>
                <a:gd name="T106" fmla="*/ 105 w 132"/>
                <a:gd name="T107" fmla="*/ 114 h 141"/>
                <a:gd name="T108" fmla="*/ 105 w 132"/>
                <a:gd name="T109" fmla="*/ 123 h 141"/>
                <a:gd name="T110" fmla="*/ 111 w 132"/>
                <a:gd name="T111" fmla="*/ 114 h 141"/>
                <a:gd name="T112" fmla="*/ 117 w 132"/>
                <a:gd name="T113" fmla="*/ 108 h 141"/>
                <a:gd name="T114" fmla="*/ 111 w 132"/>
                <a:gd name="T115" fmla="*/ 99 h 141"/>
                <a:gd name="T116" fmla="*/ 123 w 132"/>
                <a:gd name="T117" fmla="*/ 96 h 141"/>
                <a:gd name="T118" fmla="*/ 132 w 132"/>
                <a:gd name="T119" fmla="*/ 96 h 141"/>
                <a:gd name="T120" fmla="*/ 108 w 132"/>
                <a:gd name="T121"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1">
                  <a:moveTo>
                    <a:pt x="90" y="123"/>
                  </a:moveTo>
                  <a:cubicBezTo>
                    <a:pt x="84" y="123"/>
                    <a:pt x="81" y="123"/>
                    <a:pt x="78" y="123"/>
                  </a:cubicBezTo>
                  <a:cubicBezTo>
                    <a:pt x="75" y="120"/>
                    <a:pt x="66" y="123"/>
                    <a:pt x="69" y="126"/>
                  </a:cubicBezTo>
                  <a:cubicBezTo>
                    <a:pt x="69" y="129"/>
                    <a:pt x="72" y="132"/>
                    <a:pt x="81" y="132"/>
                  </a:cubicBezTo>
                  <a:cubicBezTo>
                    <a:pt x="87" y="135"/>
                    <a:pt x="90" y="141"/>
                    <a:pt x="93" y="141"/>
                  </a:cubicBezTo>
                  <a:cubicBezTo>
                    <a:pt x="96" y="141"/>
                    <a:pt x="96" y="138"/>
                    <a:pt x="96" y="135"/>
                  </a:cubicBezTo>
                  <a:cubicBezTo>
                    <a:pt x="96" y="129"/>
                    <a:pt x="99" y="123"/>
                    <a:pt x="99" y="123"/>
                  </a:cubicBezTo>
                  <a:cubicBezTo>
                    <a:pt x="102" y="123"/>
                    <a:pt x="99" y="120"/>
                    <a:pt x="90" y="123"/>
                  </a:cubicBezTo>
                  <a:close/>
                  <a:moveTo>
                    <a:pt x="27" y="84"/>
                  </a:moveTo>
                  <a:cubicBezTo>
                    <a:pt x="24" y="87"/>
                    <a:pt x="21" y="84"/>
                    <a:pt x="18" y="87"/>
                  </a:cubicBezTo>
                  <a:cubicBezTo>
                    <a:pt x="18" y="90"/>
                    <a:pt x="24" y="96"/>
                    <a:pt x="24" y="102"/>
                  </a:cubicBezTo>
                  <a:cubicBezTo>
                    <a:pt x="21" y="108"/>
                    <a:pt x="24" y="117"/>
                    <a:pt x="27" y="111"/>
                  </a:cubicBezTo>
                  <a:cubicBezTo>
                    <a:pt x="30" y="108"/>
                    <a:pt x="33" y="111"/>
                    <a:pt x="36" y="108"/>
                  </a:cubicBezTo>
                  <a:cubicBezTo>
                    <a:pt x="39" y="105"/>
                    <a:pt x="36" y="93"/>
                    <a:pt x="36" y="90"/>
                  </a:cubicBezTo>
                  <a:cubicBezTo>
                    <a:pt x="39" y="84"/>
                    <a:pt x="30" y="81"/>
                    <a:pt x="27" y="84"/>
                  </a:cubicBezTo>
                  <a:close/>
                  <a:moveTo>
                    <a:pt x="108" y="78"/>
                  </a:moveTo>
                  <a:cubicBezTo>
                    <a:pt x="105" y="78"/>
                    <a:pt x="108" y="72"/>
                    <a:pt x="99" y="72"/>
                  </a:cubicBezTo>
                  <a:cubicBezTo>
                    <a:pt x="93" y="72"/>
                    <a:pt x="84" y="63"/>
                    <a:pt x="84" y="54"/>
                  </a:cubicBezTo>
                  <a:cubicBezTo>
                    <a:pt x="81" y="45"/>
                    <a:pt x="69" y="45"/>
                    <a:pt x="66" y="39"/>
                  </a:cubicBezTo>
                  <a:cubicBezTo>
                    <a:pt x="63" y="33"/>
                    <a:pt x="69" y="33"/>
                    <a:pt x="66" y="27"/>
                  </a:cubicBezTo>
                  <a:cubicBezTo>
                    <a:pt x="66" y="24"/>
                    <a:pt x="69" y="21"/>
                    <a:pt x="72" y="21"/>
                  </a:cubicBezTo>
                  <a:cubicBezTo>
                    <a:pt x="72" y="15"/>
                    <a:pt x="72" y="9"/>
                    <a:pt x="72" y="6"/>
                  </a:cubicBezTo>
                  <a:cubicBezTo>
                    <a:pt x="69" y="6"/>
                    <a:pt x="69" y="6"/>
                    <a:pt x="66" y="6"/>
                  </a:cubicBezTo>
                  <a:cubicBezTo>
                    <a:pt x="66" y="3"/>
                    <a:pt x="66" y="0"/>
                    <a:pt x="66" y="0"/>
                  </a:cubicBezTo>
                  <a:cubicBezTo>
                    <a:pt x="63" y="0"/>
                    <a:pt x="57" y="0"/>
                    <a:pt x="57" y="0"/>
                  </a:cubicBezTo>
                  <a:cubicBezTo>
                    <a:pt x="54" y="3"/>
                    <a:pt x="51" y="6"/>
                    <a:pt x="48" y="3"/>
                  </a:cubicBezTo>
                  <a:cubicBezTo>
                    <a:pt x="48" y="3"/>
                    <a:pt x="48" y="3"/>
                    <a:pt x="48" y="3"/>
                  </a:cubicBezTo>
                  <a:cubicBezTo>
                    <a:pt x="45" y="6"/>
                    <a:pt x="45" y="6"/>
                    <a:pt x="45" y="6"/>
                  </a:cubicBezTo>
                  <a:cubicBezTo>
                    <a:pt x="45" y="6"/>
                    <a:pt x="45" y="6"/>
                    <a:pt x="42" y="6"/>
                  </a:cubicBezTo>
                  <a:cubicBezTo>
                    <a:pt x="42" y="6"/>
                    <a:pt x="39" y="6"/>
                    <a:pt x="39" y="9"/>
                  </a:cubicBezTo>
                  <a:cubicBezTo>
                    <a:pt x="39" y="12"/>
                    <a:pt x="36" y="9"/>
                    <a:pt x="36" y="9"/>
                  </a:cubicBezTo>
                  <a:cubicBezTo>
                    <a:pt x="33" y="9"/>
                    <a:pt x="30" y="9"/>
                    <a:pt x="30" y="12"/>
                  </a:cubicBezTo>
                  <a:cubicBezTo>
                    <a:pt x="30" y="15"/>
                    <a:pt x="30" y="18"/>
                    <a:pt x="27" y="15"/>
                  </a:cubicBezTo>
                  <a:cubicBezTo>
                    <a:pt x="24" y="15"/>
                    <a:pt x="21" y="9"/>
                    <a:pt x="21" y="9"/>
                  </a:cubicBezTo>
                  <a:cubicBezTo>
                    <a:pt x="21" y="9"/>
                    <a:pt x="18" y="18"/>
                    <a:pt x="15" y="18"/>
                  </a:cubicBezTo>
                  <a:cubicBezTo>
                    <a:pt x="15" y="18"/>
                    <a:pt x="9" y="18"/>
                    <a:pt x="6" y="18"/>
                  </a:cubicBezTo>
                  <a:cubicBezTo>
                    <a:pt x="6" y="21"/>
                    <a:pt x="6" y="21"/>
                    <a:pt x="6" y="24"/>
                  </a:cubicBezTo>
                  <a:cubicBezTo>
                    <a:pt x="9" y="24"/>
                    <a:pt x="6" y="27"/>
                    <a:pt x="6" y="27"/>
                  </a:cubicBezTo>
                  <a:cubicBezTo>
                    <a:pt x="3" y="27"/>
                    <a:pt x="0" y="27"/>
                    <a:pt x="3" y="30"/>
                  </a:cubicBezTo>
                  <a:cubicBezTo>
                    <a:pt x="6" y="33"/>
                    <a:pt x="9" y="33"/>
                    <a:pt x="6" y="36"/>
                  </a:cubicBezTo>
                  <a:cubicBezTo>
                    <a:pt x="3" y="39"/>
                    <a:pt x="6" y="42"/>
                    <a:pt x="9" y="42"/>
                  </a:cubicBezTo>
                  <a:cubicBezTo>
                    <a:pt x="12" y="42"/>
                    <a:pt x="15" y="42"/>
                    <a:pt x="15" y="42"/>
                  </a:cubicBezTo>
                  <a:cubicBezTo>
                    <a:pt x="12" y="45"/>
                    <a:pt x="12" y="45"/>
                    <a:pt x="12" y="48"/>
                  </a:cubicBezTo>
                  <a:cubicBezTo>
                    <a:pt x="15" y="45"/>
                    <a:pt x="15" y="45"/>
                    <a:pt x="18" y="45"/>
                  </a:cubicBezTo>
                  <a:cubicBezTo>
                    <a:pt x="21" y="42"/>
                    <a:pt x="21" y="39"/>
                    <a:pt x="27" y="39"/>
                  </a:cubicBezTo>
                  <a:cubicBezTo>
                    <a:pt x="33" y="36"/>
                    <a:pt x="39" y="42"/>
                    <a:pt x="42" y="45"/>
                  </a:cubicBezTo>
                  <a:cubicBezTo>
                    <a:pt x="45" y="48"/>
                    <a:pt x="45" y="48"/>
                    <a:pt x="45" y="51"/>
                  </a:cubicBezTo>
                  <a:cubicBezTo>
                    <a:pt x="45" y="54"/>
                    <a:pt x="48" y="60"/>
                    <a:pt x="57" y="66"/>
                  </a:cubicBezTo>
                  <a:cubicBezTo>
                    <a:pt x="63" y="72"/>
                    <a:pt x="66" y="75"/>
                    <a:pt x="72" y="78"/>
                  </a:cubicBezTo>
                  <a:cubicBezTo>
                    <a:pt x="75" y="81"/>
                    <a:pt x="81" y="81"/>
                    <a:pt x="81" y="84"/>
                  </a:cubicBezTo>
                  <a:cubicBezTo>
                    <a:pt x="84" y="87"/>
                    <a:pt x="87" y="87"/>
                    <a:pt x="93" y="90"/>
                  </a:cubicBezTo>
                  <a:cubicBezTo>
                    <a:pt x="96" y="93"/>
                    <a:pt x="96" y="96"/>
                    <a:pt x="99" y="96"/>
                  </a:cubicBezTo>
                  <a:cubicBezTo>
                    <a:pt x="105" y="96"/>
                    <a:pt x="102" y="99"/>
                    <a:pt x="105" y="102"/>
                  </a:cubicBezTo>
                  <a:cubicBezTo>
                    <a:pt x="105" y="105"/>
                    <a:pt x="108" y="111"/>
                    <a:pt x="105" y="114"/>
                  </a:cubicBezTo>
                  <a:cubicBezTo>
                    <a:pt x="102" y="120"/>
                    <a:pt x="102" y="123"/>
                    <a:pt x="105" y="123"/>
                  </a:cubicBezTo>
                  <a:cubicBezTo>
                    <a:pt x="105" y="123"/>
                    <a:pt x="111" y="117"/>
                    <a:pt x="111" y="114"/>
                  </a:cubicBezTo>
                  <a:cubicBezTo>
                    <a:pt x="111" y="111"/>
                    <a:pt x="114" y="111"/>
                    <a:pt x="117" y="108"/>
                  </a:cubicBezTo>
                  <a:cubicBezTo>
                    <a:pt x="120" y="105"/>
                    <a:pt x="114" y="105"/>
                    <a:pt x="111" y="99"/>
                  </a:cubicBezTo>
                  <a:cubicBezTo>
                    <a:pt x="111" y="96"/>
                    <a:pt x="117" y="90"/>
                    <a:pt x="123" y="96"/>
                  </a:cubicBezTo>
                  <a:cubicBezTo>
                    <a:pt x="129" y="99"/>
                    <a:pt x="132" y="102"/>
                    <a:pt x="132" y="96"/>
                  </a:cubicBezTo>
                  <a:cubicBezTo>
                    <a:pt x="132" y="90"/>
                    <a:pt x="114" y="81"/>
                    <a:pt x="108" y="7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89" name="Freeform 984"/>
            <p:cNvSpPr>
              <a:spLocks noEditPoints="1"/>
            </p:cNvSpPr>
            <p:nvPr userDrawn="1"/>
          </p:nvSpPr>
          <p:spPr bwMode="auto">
            <a:xfrm>
              <a:off x="3597" y="-2045"/>
              <a:ext cx="206" cy="220"/>
            </a:xfrm>
            <a:custGeom>
              <a:avLst/>
              <a:gdLst>
                <a:gd name="T0" fmla="*/ 90 w 132"/>
                <a:gd name="T1" fmla="*/ 123 h 141"/>
                <a:gd name="T2" fmla="*/ 78 w 132"/>
                <a:gd name="T3" fmla="*/ 123 h 141"/>
                <a:gd name="T4" fmla="*/ 69 w 132"/>
                <a:gd name="T5" fmla="*/ 126 h 141"/>
                <a:gd name="T6" fmla="*/ 81 w 132"/>
                <a:gd name="T7" fmla="*/ 132 h 141"/>
                <a:gd name="T8" fmla="*/ 93 w 132"/>
                <a:gd name="T9" fmla="*/ 141 h 141"/>
                <a:gd name="T10" fmla="*/ 96 w 132"/>
                <a:gd name="T11" fmla="*/ 135 h 141"/>
                <a:gd name="T12" fmla="*/ 99 w 132"/>
                <a:gd name="T13" fmla="*/ 123 h 141"/>
                <a:gd name="T14" fmla="*/ 90 w 132"/>
                <a:gd name="T15" fmla="*/ 123 h 141"/>
                <a:gd name="T16" fmla="*/ 27 w 132"/>
                <a:gd name="T17" fmla="*/ 84 h 141"/>
                <a:gd name="T18" fmla="*/ 18 w 132"/>
                <a:gd name="T19" fmla="*/ 87 h 141"/>
                <a:gd name="T20" fmla="*/ 24 w 132"/>
                <a:gd name="T21" fmla="*/ 102 h 141"/>
                <a:gd name="T22" fmla="*/ 27 w 132"/>
                <a:gd name="T23" fmla="*/ 111 h 141"/>
                <a:gd name="T24" fmla="*/ 36 w 132"/>
                <a:gd name="T25" fmla="*/ 108 h 141"/>
                <a:gd name="T26" fmla="*/ 36 w 132"/>
                <a:gd name="T27" fmla="*/ 90 h 141"/>
                <a:gd name="T28" fmla="*/ 27 w 132"/>
                <a:gd name="T29" fmla="*/ 84 h 141"/>
                <a:gd name="T30" fmla="*/ 108 w 132"/>
                <a:gd name="T31" fmla="*/ 78 h 141"/>
                <a:gd name="T32" fmla="*/ 99 w 132"/>
                <a:gd name="T33" fmla="*/ 72 h 141"/>
                <a:gd name="T34" fmla="*/ 84 w 132"/>
                <a:gd name="T35" fmla="*/ 54 h 141"/>
                <a:gd name="T36" fmla="*/ 66 w 132"/>
                <a:gd name="T37" fmla="*/ 39 h 141"/>
                <a:gd name="T38" fmla="*/ 66 w 132"/>
                <a:gd name="T39" fmla="*/ 27 h 141"/>
                <a:gd name="T40" fmla="*/ 72 w 132"/>
                <a:gd name="T41" fmla="*/ 21 h 141"/>
                <a:gd name="T42" fmla="*/ 72 w 132"/>
                <a:gd name="T43" fmla="*/ 6 h 141"/>
                <a:gd name="T44" fmla="*/ 66 w 132"/>
                <a:gd name="T45" fmla="*/ 6 h 141"/>
                <a:gd name="T46" fmla="*/ 66 w 132"/>
                <a:gd name="T47" fmla="*/ 0 h 141"/>
                <a:gd name="T48" fmla="*/ 57 w 132"/>
                <a:gd name="T49" fmla="*/ 0 h 141"/>
                <a:gd name="T50" fmla="*/ 48 w 132"/>
                <a:gd name="T51" fmla="*/ 3 h 141"/>
                <a:gd name="T52" fmla="*/ 48 w 132"/>
                <a:gd name="T53" fmla="*/ 3 h 141"/>
                <a:gd name="T54" fmla="*/ 45 w 132"/>
                <a:gd name="T55" fmla="*/ 6 h 141"/>
                <a:gd name="T56" fmla="*/ 42 w 132"/>
                <a:gd name="T57" fmla="*/ 6 h 141"/>
                <a:gd name="T58" fmla="*/ 39 w 132"/>
                <a:gd name="T59" fmla="*/ 9 h 141"/>
                <a:gd name="T60" fmla="*/ 36 w 132"/>
                <a:gd name="T61" fmla="*/ 9 h 141"/>
                <a:gd name="T62" fmla="*/ 30 w 132"/>
                <a:gd name="T63" fmla="*/ 12 h 141"/>
                <a:gd name="T64" fmla="*/ 27 w 132"/>
                <a:gd name="T65" fmla="*/ 15 h 141"/>
                <a:gd name="T66" fmla="*/ 21 w 132"/>
                <a:gd name="T67" fmla="*/ 9 h 141"/>
                <a:gd name="T68" fmla="*/ 15 w 132"/>
                <a:gd name="T69" fmla="*/ 18 h 141"/>
                <a:gd name="T70" fmla="*/ 6 w 132"/>
                <a:gd name="T71" fmla="*/ 18 h 141"/>
                <a:gd name="T72" fmla="*/ 6 w 132"/>
                <a:gd name="T73" fmla="*/ 24 h 141"/>
                <a:gd name="T74" fmla="*/ 6 w 132"/>
                <a:gd name="T75" fmla="*/ 27 h 141"/>
                <a:gd name="T76" fmla="*/ 3 w 132"/>
                <a:gd name="T77" fmla="*/ 30 h 141"/>
                <a:gd name="T78" fmla="*/ 6 w 132"/>
                <a:gd name="T79" fmla="*/ 36 h 141"/>
                <a:gd name="T80" fmla="*/ 9 w 132"/>
                <a:gd name="T81" fmla="*/ 42 h 141"/>
                <a:gd name="T82" fmla="*/ 15 w 132"/>
                <a:gd name="T83" fmla="*/ 42 h 141"/>
                <a:gd name="T84" fmla="*/ 12 w 132"/>
                <a:gd name="T85" fmla="*/ 48 h 141"/>
                <a:gd name="T86" fmla="*/ 18 w 132"/>
                <a:gd name="T87" fmla="*/ 45 h 141"/>
                <a:gd name="T88" fmla="*/ 27 w 132"/>
                <a:gd name="T89" fmla="*/ 39 h 141"/>
                <a:gd name="T90" fmla="*/ 42 w 132"/>
                <a:gd name="T91" fmla="*/ 45 h 141"/>
                <a:gd name="T92" fmla="*/ 45 w 132"/>
                <a:gd name="T93" fmla="*/ 51 h 141"/>
                <a:gd name="T94" fmla="*/ 57 w 132"/>
                <a:gd name="T95" fmla="*/ 66 h 141"/>
                <a:gd name="T96" fmla="*/ 72 w 132"/>
                <a:gd name="T97" fmla="*/ 78 h 141"/>
                <a:gd name="T98" fmla="*/ 81 w 132"/>
                <a:gd name="T99" fmla="*/ 84 h 141"/>
                <a:gd name="T100" fmla="*/ 93 w 132"/>
                <a:gd name="T101" fmla="*/ 90 h 141"/>
                <a:gd name="T102" fmla="*/ 99 w 132"/>
                <a:gd name="T103" fmla="*/ 96 h 141"/>
                <a:gd name="T104" fmla="*/ 105 w 132"/>
                <a:gd name="T105" fmla="*/ 102 h 141"/>
                <a:gd name="T106" fmla="*/ 105 w 132"/>
                <a:gd name="T107" fmla="*/ 114 h 141"/>
                <a:gd name="T108" fmla="*/ 105 w 132"/>
                <a:gd name="T109" fmla="*/ 123 h 141"/>
                <a:gd name="T110" fmla="*/ 111 w 132"/>
                <a:gd name="T111" fmla="*/ 114 h 141"/>
                <a:gd name="T112" fmla="*/ 117 w 132"/>
                <a:gd name="T113" fmla="*/ 108 h 141"/>
                <a:gd name="T114" fmla="*/ 111 w 132"/>
                <a:gd name="T115" fmla="*/ 99 h 141"/>
                <a:gd name="T116" fmla="*/ 123 w 132"/>
                <a:gd name="T117" fmla="*/ 96 h 141"/>
                <a:gd name="T118" fmla="*/ 132 w 132"/>
                <a:gd name="T119" fmla="*/ 96 h 141"/>
                <a:gd name="T120" fmla="*/ 108 w 132"/>
                <a:gd name="T121"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1">
                  <a:moveTo>
                    <a:pt x="90" y="123"/>
                  </a:moveTo>
                  <a:cubicBezTo>
                    <a:pt x="84" y="123"/>
                    <a:pt x="81" y="123"/>
                    <a:pt x="78" y="123"/>
                  </a:cubicBezTo>
                  <a:cubicBezTo>
                    <a:pt x="75" y="120"/>
                    <a:pt x="66" y="123"/>
                    <a:pt x="69" y="126"/>
                  </a:cubicBezTo>
                  <a:cubicBezTo>
                    <a:pt x="69" y="129"/>
                    <a:pt x="72" y="132"/>
                    <a:pt x="81" y="132"/>
                  </a:cubicBezTo>
                  <a:cubicBezTo>
                    <a:pt x="87" y="135"/>
                    <a:pt x="90" y="141"/>
                    <a:pt x="93" y="141"/>
                  </a:cubicBezTo>
                  <a:cubicBezTo>
                    <a:pt x="96" y="141"/>
                    <a:pt x="96" y="138"/>
                    <a:pt x="96" y="135"/>
                  </a:cubicBezTo>
                  <a:cubicBezTo>
                    <a:pt x="96" y="129"/>
                    <a:pt x="99" y="123"/>
                    <a:pt x="99" y="123"/>
                  </a:cubicBezTo>
                  <a:cubicBezTo>
                    <a:pt x="102" y="123"/>
                    <a:pt x="99" y="120"/>
                    <a:pt x="90" y="123"/>
                  </a:cubicBezTo>
                  <a:close/>
                  <a:moveTo>
                    <a:pt x="27" y="84"/>
                  </a:moveTo>
                  <a:cubicBezTo>
                    <a:pt x="24" y="87"/>
                    <a:pt x="21" y="84"/>
                    <a:pt x="18" y="87"/>
                  </a:cubicBezTo>
                  <a:cubicBezTo>
                    <a:pt x="18" y="90"/>
                    <a:pt x="24" y="96"/>
                    <a:pt x="24" y="102"/>
                  </a:cubicBezTo>
                  <a:cubicBezTo>
                    <a:pt x="21" y="108"/>
                    <a:pt x="24" y="117"/>
                    <a:pt x="27" y="111"/>
                  </a:cubicBezTo>
                  <a:cubicBezTo>
                    <a:pt x="30" y="108"/>
                    <a:pt x="33" y="111"/>
                    <a:pt x="36" y="108"/>
                  </a:cubicBezTo>
                  <a:cubicBezTo>
                    <a:pt x="39" y="105"/>
                    <a:pt x="36" y="93"/>
                    <a:pt x="36" y="90"/>
                  </a:cubicBezTo>
                  <a:cubicBezTo>
                    <a:pt x="39" y="84"/>
                    <a:pt x="30" y="81"/>
                    <a:pt x="27" y="84"/>
                  </a:cubicBezTo>
                  <a:close/>
                  <a:moveTo>
                    <a:pt x="108" y="78"/>
                  </a:moveTo>
                  <a:cubicBezTo>
                    <a:pt x="105" y="78"/>
                    <a:pt x="108" y="72"/>
                    <a:pt x="99" y="72"/>
                  </a:cubicBezTo>
                  <a:cubicBezTo>
                    <a:pt x="93" y="72"/>
                    <a:pt x="84" y="63"/>
                    <a:pt x="84" y="54"/>
                  </a:cubicBezTo>
                  <a:cubicBezTo>
                    <a:pt x="81" y="45"/>
                    <a:pt x="69" y="45"/>
                    <a:pt x="66" y="39"/>
                  </a:cubicBezTo>
                  <a:cubicBezTo>
                    <a:pt x="63" y="33"/>
                    <a:pt x="69" y="33"/>
                    <a:pt x="66" y="27"/>
                  </a:cubicBezTo>
                  <a:cubicBezTo>
                    <a:pt x="66" y="24"/>
                    <a:pt x="69" y="21"/>
                    <a:pt x="72" y="21"/>
                  </a:cubicBezTo>
                  <a:cubicBezTo>
                    <a:pt x="72" y="15"/>
                    <a:pt x="72" y="9"/>
                    <a:pt x="72" y="6"/>
                  </a:cubicBezTo>
                  <a:cubicBezTo>
                    <a:pt x="69" y="6"/>
                    <a:pt x="69" y="6"/>
                    <a:pt x="66" y="6"/>
                  </a:cubicBezTo>
                  <a:cubicBezTo>
                    <a:pt x="66" y="3"/>
                    <a:pt x="66" y="0"/>
                    <a:pt x="66" y="0"/>
                  </a:cubicBezTo>
                  <a:cubicBezTo>
                    <a:pt x="63" y="0"/>
                    <a:pt x="57" y="0"/>
                    <a:pt x="57" y="0"/>
                  </a:cubicBezTo>
                  <a:cubicBezTo>
                    <a:pt x="54" y="3"/>
                    <a:pt x="51" y="6"/>
                    <a:pt x="48" y="3"/>
                  </a:cubicBezTo>
                  <a:cubicBezTo>
                    <a:pt x="48" y="3"/>
                    <a:pt x="48" y="3"/>
                    <a:pt x="48" y="3"/>
                  </a:cubicBezTo>
                  <a:cubicBezTo>
                    <a:pt x="45" y="6"/>
                    <a:pt x="45" y="6"/>
                    <a:pt x="45" y="6"/>
                  </a:cubicBezTo>
                  <a:cubicBezTo>
                    <a:pt x="45" y="6"/>
                    <a:pt x="45" y="6"/>
                    <a:pt x="42" y="6"/>
                  </a:cubicBezTo>
                  <a:cubicBezTo>
                    <a:pt x="42" y="6"/>
                    <a:pt x="39" y="6"/>
                    <a:pt x="39" y="9"/>
                  </a:cubicBezTo>
                  <a:cubicBezTo>
                    <a:pt x="39" y="12"/>
                    <a:pt x="36" y="9"/>
                    <a:pt x="36" y="9"/>
                  </a:cubicBezTo>
                  <a:cubicBezTo>
                    <a:pt x="33" y="9"/>
                    <a:pt x="30" y="9"/>
                    <a:pt x="30" y="12"/>
                  </a:cubicBezTo>
                  <a:cubicBezTo>
                    <a:pt x="30" y="15"/>
                    <a:pt x="30" y="18"/>
                    <a:pt x="27" y="15"/>
                  </a:cubicBezTo>
                  <a:cubicBezTo>
                    <a:pt x="24" y="15"/>
                    <a:pt x="21" y="9"/>
                    <a:pt x="21" y="9"/>
                  </a:cubicBezTo>
                  <a:cubicBezTo>
                    <a:pt x="21" y="9"/>
                    <a:pt x="18" y="18"/>
                    <a:pt x="15" y="18"/>
                  </a:cubicBezTo>
                  <a:cubicBezTo>
                    <a:pt x="15" y="18"/>
                    <a:pt x="9" y="18"/>
                    <a:pt x="6" y="18"/>
                  </a:cubicBezTo>
                  <a:cubicBezTo>
                    <a:pt x="6" y="21"/>
                    <a:pt x="6" y="21"/>
                    <a:pt x="6" y="24"/>
                  </a:cubicBezTo>
                  <a:cubicBezTo>
                    <a:pt x="9" y="24"/>
                    <a:pt x="6" y="27"/>
                    <a:pt x="6" y="27"/>
                  </a:cubicBezTo>
                  <a:cubicBezTo>
                    <a:pt x="3" y="27"/>
                    <a:pt x="0" y="27"/>
                    <a:pt x="3" y="30"/>
                  </a:cubicBezTo>
                  <a:cubicBezTo>
                    <a:pt x="6" y="33"/>
                    <a:pt x="9" y="33"/>
                    <a:pt x="6" y="36"/>
                  </a:cubicBezTo>
                  <a:cubicBezTo>
                    <a:pt x="3" y="39"/>
                    <a:pt x="6" y="42"/>
                    <a:pt x="9" y="42"/>
                  </a:cubicBezTo>
                  <a:cubicBezTo>
                    <a:pt x="12" y="42"/>
                    <a:pt x="15" y="42"/>
                    <a:pt x="15" y="42"/>
                  </a:cubicBezTo>
                  <a:cubicBezTo>
                    <a:pt x="12" y="45"/>
                    <a:pt x="12" y="45"/>
                    <a:pt x="12" y="48"/>
                  </a:cubicBezTo>
                  <a:cubicBezTo>
                    <a:pt x="15" y="45"/>
                    <a:pt x="15" y="45"/>
                    <a:pt x="18" y="45"/>
                  </a:cubicBezTo>
                  <a:cubicBezTo>
                    <a:pt x="21" y="42"/>
                    <a:pt x="21" y="39"/>
                    <a:pt x="27" y="39"/>
                  </a:cubicBezTo>
                  <a:cubicBezTo>
                    <a:pt x="33" y="36"/>
                    <a:pt x="39" y="42"/>
                    <a:pt x="42" y="45"/>
                  </a:cubicBezTo>
                  <a:cubicBezTo>
                    <a:pt x="45" y="48"/>
                    <a:pt x="45" y="48"/>
                    <a:pt x="45" y="51"/>
                  </a:cubicBezTo>
                  <a:cubicBezTo>
                    <a:pt x="45" y="54"/>
                    <a:pt x="48" y="60"/>
                    <a:pt x="57" y="66"/>
                  </a:cubicBezTo>
                  <a:cubicBezTo>
                    <a:pt x="63" y="72"/>
                    <a:pt x="66" y="75"/>
                    <a:pt x="72" y="78"/>
                  </a:cubicBezTo>
                  <a:cubicBezTo>
                    <a:pt x="75" y="81"/>
                    <a:pt x="81" y="81"/>
                    <a:pt x="81" y="84"/>
                  </a:cubicBezTo>
                  <a:cubicBezTo>
                    <a:pt x="84" y="87"/>
                    <a:pt x="87" y="87"/>
                    <a:pt x="93" y="90"/>
                  </a:cubicBezTo>
                  <a:cubicBezTo>
                    <a:pt x="96" y="93"/>
                    <a:pt x="96" y="96"/>
                    <a:pt x="99" y="96"/>
                  </a:cubicBezTo>
                  <a:cubicBezTo>
                    <a:pt x="105" y="96"/>
                    <a:pt x="102" y="99"/>
                    <a:pt x="105" y="102"/>
                  </a:cubicBezTo>
                  <a:cubicBezTo>
                    <a:pt x="105" y="105"/>
                    <a:pt x="108" y="111"/>
                    <a:pt x="105" y="114"/>
                  </a:cubicBezTo>
                  <a:cubicBezTo>
                    <a:pt x="102" y="120"/>
                    <a:pt x="102" y="123"/>
                    <a:pt x="105" y="123"/>
                  </a:cubicBezTo>
                  <a:cubicBezTo>
                    <a:pt x="105" y="123"/>
                    <a:pt x="111" y="117"/>
                    <a:pt x="111" y="114"/>
                  </a:cubicBezTo>
                  <a:cubicBezTo>
                    <a:pt x="111" y="111"/>
                    <a:pt x="114" y="111"/>
                    <a:pt x="117" y="108"/>
                  </a:cubicBezTo>
                  <a:cubicBezTo>
                    <a:pt x="120" y="105"/>
                    <a:pt x="114" y="105"/>
                    <a:pt x="111" y="99"/>
                  </a:cubicBezTo>
                  <a:cubicBezTo>
                    <a:pt x="111" y="96"/>
                    <a:pt x="117" y="90"/>
                    <a:pt x="123" y="96"/>
                  </a:cubicBezTo>
                  <a:cubicBezTo>
                    <a:pt x="129" y="99"/>
                    <a:pt x="132" y="102"/>
                    <a:pt x="132" y="96"/>
                  </a:cubicBezTo>
                  <a:cubicBezTo>
                    <a:pt x="132" y="90"/>
                    <a:pt x="114" y="81"/>
                    <a:pt x="108" y="7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0" name="Freeform 985"/>
            <p:cNvSpPr>
              <a:spLocks/>
            </p:cNvSpPr>
            <p:nvPr userDrawn="1"/>
          </p:nvSpPr>
          <p:spPr bwMode="auto">
            <a:xfrm>
              <a:off x="3803" y="-1965"/>
              <a:ext cx="18" cy="28"/>
            </a:xfrm>
            <a:custGeom>
              <a:avLst/>
              <a:gdLst>
                <a:gd name="T0" fmla="*/ 3 w 12"/>
                <a:gd name="T1" fmla="*/ 0 h 18"/>
                <a:gd name="T2" fmla="*/ 0 w 12"/>
                <a:gd name="T3" fmla="*/ 9 h 18"/>
                <a:gd name="T4" fmla="*/ 0 w 12"/>
                <a:gd name="T5" fmla="*/ 12 h 18"/>
                <a:gd name="T6" fmla="*/ 6 w 12"/>
                <a:gd name="T7" fmla="*/ 18 h 18"/>
                <a:gd name="T8" fmla="*/ 9 w 12"/>
                <a:gd name="T9" fmla="*/ 18 h 18"/>
                <a:gd name="T10" fmla="*/ 12 w 12"/>
                <a:gd name="T11" fmla="*/ 12 h 18"/>
                <a:gd name="T12" fmla="*/ 3 w 12"/>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3" y="0"/>
                  </a:moveTo>
                  <a:cubicBezTo>
                    <a:pt x="3" y="3"/>
                    <a:pt x="0" y="9"/>
                    <a:pt x="0" y="9"/>
                  </a:cubicBezTo>
                  <a:cubicBezTo>
                    <a:pt x="0" y="12"/>
                    <a:pt x="0" y="12"/>
                    <a:pt x="0" y="12"/>
                  </a:cubicBezTo>
                  <a:cubicBezTo>
                    <a:pt x="3" y="15"/>
                    <a:pt x="6" y="18"/>
                    <a:pt x="6" y="18"/>
                  </a:cubicBezTo>
                  <a:cubicBezTo>
                    <a:pt x="6" y="18"/>
                    <a:pt x="6" y="18"/>
                    <a:pt x="9" y="18"/>
                  </a:cubicBezTo>
                  <a:cubicBezTo>
                    <a:pt x="9" y="15"/>
                    <a:pt x="12" y="12"/>
                    <a:pt x="12" y="12"/>
                  </a:cubicBezTo>
                  <a:cubicBezTo>
                    <a:pt x="9" y="9"/>
                    <a:pt x="6" y="3"/>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1" name="Freeform 986"/>
            <p:cNvSpPr>
              <a:spLocks/>
            </p:cNvSpPr>
            <p:nvPr userDrawn="1"/>
          </p:nvSpPr>
          <p:spPr bwMode="auto">
            <a:xfrm>
              <a:off x="3803" y="-1965"/>
              <a:ext cx="18" cy="28"/>
            </a:xfrm>
            <a:custGeom>
              <a:avLst/>
              <a:gdLst>
                <a:gd name="T0" fmla="*/ 3 w 12"/>
                <a:gd name="T1" fmla="*/ 0 h 18"/>
                <a:gd name="T2" fmla="*/ 0 w 12"/>
                <a:gd name="T3" fmla="*/ 9 h 18"/>
                <a:gd name="T4" fmla="*/ 0 w 12"/>
                <a:gd name="T5" fmla="*/ 12 h 18"/>
                <a:gd name="T6" fmla="*/ 6 w 12"/>
                <a:gd name="T7" fmla="*/ 18 h 18"/>
                <a:gd name="T8" fmla="*/ 9 w 12"/>
                <a:gd name="T9" fmla="*/ 18 h 18"/>
                <a:gd name="T10" fmla="*/ 12 w 12"/>
                <a:gd name="T11" fmla="*/ 12 h 18"/>
                <a:gd name="T12" fmla="*/ 3 w 12"/>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3" y="0"/>
                  </a:moveTo>
                  <a:cubicBezTo>
                    <a:pt x="3" y="3"/>
                    <a:pt x="0" y="9"/>
                    <a:pt x="0" y="9"/>
                  </a:cubicBezTo>
                  <a:cubicBezTo>
                    <a:pt x="0" y="12"/>
                    <a:pt x="0" y="12"/>
                    <a:pt x="0" y="12"/>
                  </a:cubicBezTo>
                  <a:cubicBezTo>
                    <a:pt x="3" y="15"/>
                    <a:pt x="6" y="18"/>
                    <a:pt x="6" y="18"/>
                  </a:cubicBezTo>
                  <a:cubicBezTo>
                    <a:pt x="6" y="18"/>
                    <a:pt x="6" y="18"/>
                    <a:pt x="9" y="18"/>
                  </a:cubicBezTo>
                  <a:cubicBezTo>
                    <a:pt x="9" y="15"/>
                    <a:pt x="12" y="12"/>
                    <a:pt x="12" y="12"/>
                  </a:cubicBezTo>
                  <a:cubicBezTo>
                    <a:pt x="9" y="9"/>
                    <a:pt x="6" y="3"/>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2" name="Freeform 987"/>
            <p:cNvSpPr>
              <a:spLocks/>
            </p:cNvSpPr>
            <p:nvPr userDrawn="1"/>
          </p:nvSpPr>
          <p:spPr bwMode="auto">
            <a:xfrm>
              <a:off x="3806" y="-2026"/>
              <a:ext cx="71" cy="89"/>
            </a:xfrm>
            <a:custGeom>
              <a:avLst/>
              <a:gdLst>
                <a:gd name="T0" fmla="*/ 40 w 46"/>
                <a:gd name="T1" fmla="*/ 36 h 57"/>
                <a:gd name="T2" fmla="*/ 40 w 46"/>
                <a:gd name="T3" fmla="*/ 30 h 57"/>
                <a:gd name="T4" fmla="*/ 43 w 46"/>
                <a:gd name="T5" fmla="*/ 24 h 57"/>
                <a:gd name="T6" fmla="*/ 28 w 46"/>
                <a:gd name="T7" fmla="*/ 21 h 57"/>
                <a:gd name="T8" fmla="*/ 28 w 46"/>
                <a:gd name="T9" fmla="*/ 12 h 57"/>
                <a:gd name="T10" fmla="*/ 24 w 46"/>
                <a:gd name="T11" fmla="*/ 9 h 57"/>
                <a:gd name="T12" fmla="*/ 18 w 46"/>
                <a:gd name="T13" fmla="*/ 3 h 57"/>
                <a:gd name="T14" fmla="*/ 18 w 46"/>
                <a:gd name="T15" fmla="*/ 3 h 57"/>
                <a:gd name="T16" fmla="*/ 15 w 46"/>
                <a:gd name="T17" fmla="*/ 0 h 57"/>
                <a:gd name="T18" fmla="*/ 12 w 46"/>
                <a:gd name="T19" fmla="*/ 0 h 57"/>
                <a:gd name="T20" fmla="*/ 0 w 46"/>
                <a:gd name="T21" fmla="*/ 3 h 57"/>
                <a:gd name="T22" fmla="*/ 3 w 46"/>
                <a:gd name="T23" fmla="*/ 9 h 57"/>
                <a:gd name="T24" fmla="*/ 6 w 46"/>
                <a:gd name="T25" fmla="*/ 18 h 57"/>
                <a:gd name="T26" fmla="*/ 6 w 46"/>
                <a:gd name="T27" fmla="*/ 36 h 57"/>
                <a:gd name="T28" fmla="*/ 0 w 46"/>
                <a:gd name="T29" fmla="*/ 39 h 57"/>
                <a:gd name="T30" fmla="*/ 9 w 46"/>
                <a:gd name="T31" fmla="*/ 51 h 57"/>
                <a:gd name="T32" fmla="*/ 9 w 46"/>
                <a:gd name="T33" fmla="*/ 51 h 57"/>
                <a:gd name="T34" fmla="*/ 21 w 46"/>
                <a:gd name="T35" fmla="*/ 57 h 57"/>
                <a:gd name="T36" fmla="*/ 40 w 46"/>
                <a:gd name="T37" fmla="*/ 51 h 57"/>
                <a:gd name="T38" fmla="*/ 40 w 46"/>
                <a:gd name="T39" fmla="*/ 48 h 57"/>
                <a:gd name="T40" fmla="*/ 46 w 46"/>
                <a:gd name="T41" fmla="*/ 45 h 57"/>
                <a:gd name="T42" fmla="*/ 40 w 46"/>
                <a:gd name="T43"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57">
                  <a:moveTo>
                    <a:pt x="40" y="36"/>
                  </a:moveTo>
                  <a:cubicBezTo>
                    <a:pt x="40" y="30"/>
                    <a:pt x="40" y="30"/>
                    <a:pt x="40" y="30"/>
                  </a:cubicBezTo>
                  <a:cubicBezTo>
                    <a:pt x="43" y="27"/>
                    <a:pt x="43" y="27"/>
                    <a:pt x="43" y="24"/>
                  </a:cubicBezTo>
                  <a:cubicBezTo>
                    <a:pt x="43" y="21"/>
                    <a:pt x="31" y="21"/>
                    <a:pt x="28" y="21"/>
                  </a:cubicBezTo>
                  <a:cubicBezTo>
                    <a:pt x="28" y="18"/>
                    <a:pt x="31" y="12"/>
                    <a:pt x="28" y="12"/>
                  </a:cubicBezTo>
                  <a:cubicBezTo>
                    <a:pt x="24" y="12"/>
                    <a:pt x="24" y="12"/>
                    <a:pt x="24" y="9"/>
                  </a:cubicBezTo>
                  <a:cubicBezTo>
                    <a:pt x="24" y="6"/>
                    <a:pt x="18" y="3"/>
                    <a:pt x="18" y="3"/>
                  </a:cubicBezTo>
                  <a:cubicBezTo>
                    <a:pt x="18" y="3"/>
                    <a:pt x="18" y="3"/>
                    <a:pt x="18" y="3"/>
                  </a:cubicBezTo>
                  <a:cubicBezTo>
                    <a:pt x="18" y="0"/>
                    <a:pt x="15" y="0"/>
                    <a:pt x="15" y="0"/>
                  </a:cubicBezTo>
                  <a:cubicBezTo>
                    <a:pt x="12" y="0"/>
                    <a:pt x="12" y="0"/>
                    <a:pt x="12" y="0"/>
                  </a:cubicBezTo>
                  <a:cubicBezTo>
                    <a:pt x="12" y="0"/>
                    <a:pt x="3" y="3"/>
                    <a:pt x="0" y="3"/>
                  </a:cubicBezTo>
                  <a:cubicBezTo>
                    <a:pt x="0" y="6"/>
                    <a:pt x="0" y="9"/>
                    <a:pt x="3" y="9"/>
                  </a:cubicBezTo>
                  <a:cubicBezTo>
                    <a:pt x="6" y="12"/>
                    <a:pt x="6" y="15"/>
                    <a:pt x="6" y="18"/>
                  </a:cubicBezTo>
                  <a:cubicBezTo>
                    <a:pt x="6" y="21"/>
                    <a:pt x="6" y="36"/>
                    <a:pt x="6" y="36"/>
                  </a:cubicBezTo>
                  <a:cubicBezTo>
                    <a:pt x="3" y="36"/>
                    <a:pt x="3" y="36"/>
                    <a:pt x="0" y="39"/>
                  </a:cubicBezTo>
                  <a:cubicBezTo>
                    <a:pt x="3" y="42"/>
                    <a:pt x="6" y="48"/>
                    <a:pt x="9" y="51"/>
                  </a:cubicBezTo>
                  <a:cubicBezTo>
                    <a:pt x="9" y="51"/>
                    <a:pt x="9" y="51"/>
                    <a:pt x="9" y="51"/>
                  </a:cubicBezTo>
                  <a:cubicBezTo>
                    <a:pt x="12" y="51"/>
                    <a:pt x="21" y="57"/>
                    <a:pt x="21" y="57"/>
                  </a:cubicBezTo>
                  <a:cubicBezTo>
                    <a:pt x="21" y="57"/>
                    <a:pt x="34" y="54"/>
                    <a:pt x="40" y="51"/>
                  </a:cubicBezTo>
                  <a:cubicBezTo>
                    <a:pt x="40" y="51"/>
                    <a:pt x="40" y="51"/>
                    <a:pt x="40" y="48"/>
                  </a:cubicBezTo>
                  <a:cubicBezTo>
                    <a:pt x="40" y="48"/>
                    <a:pt x="43" y="45"/>
                    <a:pt x="46" y="45"/>
                  </a:cubicBezTo>
                  <a:cubicBezTo>
                    <a:pt x="46" y="45"/>
                    <a:pt x="43" y="39"/>
                    <a:pt x="40" y="3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3" name="Freeform 988"/>
            <p:cNvSpPr>
              <a:spLocks/>
            </p:cNvSpPr>
            <p:nvPr userDrawn="1"/>
          </p:nvSpPr>
          <p:spPr bwMode="auto">
            <a:xfrm>
              <a:off x="3806" y="-2026"/>
              <a:ext cx="71" cy="89"/>
            </a:xfrm>
            <a:custGeom>
              <a:avLst/>
              <a:gdLst>
                <a:gd name="T0" fmla="*/ 40 w 46"/>
                <a:gd name="T1" fmla="*/ 36 h 57"/>
                <a:gd name="T2" fmla="*/ 40 w 46"/>
                <a:gd name="T3" fmla="*/ 30 h 57"/>
                <a:gd name="T4" fmla="*/ 43 w 46"/>
                <a:gd name="T5" fmla="*/ 24 h 57"/>
                <a:gd name="T6" fmla="*/ 28 w 46"/>
                <a:gd name="T7" fmla="*/ 21 h 57"/>
                <a:gd name="T8" fmla="*/ 28 w 46"/>
                <a:gd name="T9" fmla="*/ 12 h 57"/>
                <a:gd name="T10" fmla="*/ 24 w 46"/>
                <a:gd name="T11" fmla="*/ 9 h 57"/>
                <a:gd name="T12" fmla="*/ 18 w 46"/>
                <a:gd name="T13" fmla="*/ 3 h 57"/>
                <a:gd name="T14" fmla="*/ 18 w 46"/>
                <a:gd name="T15" fmla="*/ 3 h 57"/>
                <a:gd name="T16" fmla="*/ 15 w 46"/>
                <a:gd name="T17" fmla="*/ 0 h 57"/>
                <a:gd name="T18" fmla="*/ 12 w 46"/>
                <a:gd name="T19" fmla="*/ 0 h 57"/>
                <a:gd name="T20" fmla="*/ 0 w 46"/>
                <a:gd name="T21" fmla="*/ 3 h 57"/>
                <a:gd name="T22" fmla="*/ 3 w 46"/>
                <a:gd name="T23" fmla="*/ 9 h 57"/>
                <a:gd name="T24" fmla="*/ 6 w 46"/>
                <a:gd name="T25" fmla="*/ 18 h 57"/>
                <a:gd name="T26" fmla="*/ 6 w 46"/>
                <a:gd name="T27" fmla="*/ 36 h 57"/>
                <a:gd name="T28" fmla="*/ 0 w 46"/>
                <a:gd name="T29" fmla="*/ 39 h 57"/>
                <a:gd name="T30" fmla="*/ 9 w 46"/>
                <a:gd name="T31" fmla="*/ 51 h 57"/>
                <a:gd name="T32" fmla="*/ 9 w 46"/>
                <a:gd name="T33" fmla="*/ 51 h 57"/>
                <a:gd name="T34" fmla="*/ 21 w 46"/>
                <a:gd name="T35" fmla="*/ 57 h 57"/>
                <a:gd name="T36" fmla="*/ 40 w 46"/>
                <a:gd name="T37" fmla="*/ 51 h 57"/>
                <a:gd name="T38" fmla="*/ 40 w 46"/>
                <a:gd name="T39" fmla="*/ 48 h 57"/>
                <a:gd name="T40" fmla="*/ 46 w 46"/>
                <a:gd name="T41" fmla="*/ 45 h 57"/>
                <a:gd name="T42" fmla="*/ 40 w 46"/>
                <a:gd name="T43"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57">
                  <a:moveTo>
                    <a:pt x="40" y="36"/>
                  </a:moveTo>
                  <a:cubicBezTo>
                    <a:pt x="40" y="30"/>
                    <a:pt x="40" y="30"/>
                    <a:pt x="40" y="30"/>
                  </a:cubicBezTo>
                  <a:cubicBezTo>
                    <a:pt x="43" y="27"/>
                    <a:pt x="43" y="27"/>
                    <a:pt x="43" y="24"/>
                  </a:cubicBezTo>
                  <a:cubicBezTo>
                    <a:pt x="43" y="21"/>
                    <a:pt x="31" y="21"/>
                    <a:pt x="28" y="21"/>
                  </a:cubicBezTo>
                  <a:cubicBezTo>
                    <a:pt x="28" y="18"/>
                    <a:pt x="31" y="12"/>
                    <a:pt x="28" y="12"/>
                  </a:cubicBezTo>
                  <a:cubicBezTo>
                    <a:pt x="24" y="12"/>
                    <a:pt x="24" y="12"/>
                    <a:pt x="24" y="9"/>
                  </a:cubicBezTo>
                  <a:cubicBezTo>
                    <a:pt x="24" y="6"/>
                    <a:pt x="18" y="3"/>
                    <a:pt x="18" y="3"/>
                  </a:cubicBezTo>
                  <a:cubicBezTo>
                    <a:pt x="18" y="3"/>
                    <a:pt x="18" y="3"/>
                    <a:pt x="18" y="3"/>
                  </a:cubicBezTo>
                  <a:cubicBezTo>
                    <a:pt x="18" y="0"/>
                    <a:pt x="15" y="0"/>
                    <a:pt x="15" y="0"/>
                  </a:cubicBezTo>
                  <a:cubicBezTo>
                    <a:pt x="12" y="0"/>
                    <a:pt x="12" y="0"/>
                    <a:pt x="12" y="0"/>
                  </a:cubicBezTo>
                  <a:cubicBezTo>
                    <a:pt x="12" y="0"/>
                    <a:pt x="3" y="3"/>
                    <a:pt x="0" y="3"/>
                  </a:cubicBezTo>
                  <a:cubicBezTo>
                    <a:pt x="0" y="6"/>
                    <a:pt x="0" y="9"/>
                    <a:pt x="3" y="9"/>
                  </a:cubicBezTo>
                  <a:cubicBezTo>
                    <a:pt x="6" y="12"/>
                    <a:pt x="6" y="15"/>
                    <a:pt x="6" y="18"/>
                  </a:cubicBezTo>
                  <a:cubicBezTo>
                    <a:pt x="6" y="21"/>
                    <a:pt x="6" y="36"/>
                    <a:pt x="6" y="36"/>
                  </a:cubicBezTo>
                  <a:cubicBezTo>
                    <a:pt x="3" y="36"/>
                    <a:pt x="3" y="36"/>
                    <a:pt x="0" y="39"/>
                  </a:cubicBezTo>
                  <a:cubicBezTo>
                    <a:pt x="3" y="42"/>
                    <a:pt x="6" y="48"/>
                    <a:pt x="9" y="51"/>
                  </a:cubicBezTo>
                  <a:cubicBezTo>
                    <a:pt x="9" y="51"/>
                    <a:pt x="9" y="51"/>
                    <a:pt x="9" y="51"/>
                  </a:cubicBezTo>
                  <a:cubicBezTo>
                    <a:pt x="12" y="51"/>
                    <a:pt x="21" y="57"/>
                    <a:pt x="21" y="57"/>
                  </a:cubicBezTo>
                  <a:cubicBezTo>
                    <a:pt x="21" y="57"/>
                    <a:pt x="34" y="54"/>
                    <a:pt x="40" y="51"/>
                  </a:cubicBezTo>
                  <a:cubicBezTo>
                    <a:pt x="40" y="51"/>
                    <a:pt x="40" y="51"/>
                    <a:pt x="40" y="48"/>
                  </a:cubicBezTo>
                  <a:cubicBezTo>
                    <a:pt x="40" y="48"/>
                    <a:pt x="43" y="45"/>
                    <a:pt x="46" y="45"/>
                  </a:cubicBezTo>
                  <a:cubicBezTo>
                    <a:pt x="46" y="45"/>
                    <a:pt x="43" y="39"/>
                    <a:pt x="40" y="3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4" name="Freeform 989"/>
            <p:cNvSpPr>
              <a:spLocks/>
            </p:cNvSpPr>
            <p:nvPr userDrawn="1"/>
          </p:nvSpPr>
          <p:spPr bwMode="auto">
            <a:xfrm>
              <a:off x="5363" y="-1502"/>
              <a:ext cx="46" cy="42"/>
            </a:xfrm>
            <a:custGeom>
              <a:avLst/>
              <a:gdLst>
                <a:gd name="T0" fmla="*/ 15 w 30"/>
                <a:gd name="T1" fmla="*/ 3 h 27"/>
                <a:gd name="T2" fmla="*/ 6 w 30"/>
                <a:gd name="T3" fmla="*/ 18 h 27"/>
                <a:gd name="T4" fmla="*/ 24 w 30"/>
                <a:gd name="T5" fmla="*/ 18 h 27"/>
                <a:gd name="T6" fmla="*/ 30 w 30"/>
                <a:gd name="T7" fmla="*/ 3 h 27"/>
                <a:gd name="T8" fmla="*/ 15 w 30"/>
                <a:gd name="T9" fmla="*/ 3 h 27"/>
              </a:gdLst>
              <a:ahLst/>
              <a:cxnLst>
                <a:cxn ang="0">
                  <a:pos x="T0" y="T1"/>
                </a:cxn>
                <a:cxn ang="0">
                  <a:pos x="T2" y="T3"/>
                </a:cxn>
                <a:cxn ang="0">
                  <a:pos x="T4" y="T5"/>
                </a:cxn>
                <a:cxn ang="0">
                  <a:pos x="T6" y="T7"/>
                </a:cxn>
                <a:cxn ang="0">
                  <a:pos x="T8" y="T9"/>
                </a:cxn>
              </a:cxnLst>
              <a:rect l="0" t="0" r="r" b="b"/>
              <a:pathLst>
                <a:path w="30" h="27">
                  <a:moveTo>
                    <a:pt x="15" y="3"/>
                  </a:moveTo>
                  <a:cubicBezTo>
                    <a:pt x="12" y="3"/>
                    <a:pt x="0" y="9"/>
                    <a:pt x="6" y="18"/>
                  </a:cubicBezTo>
                  <a:cubicBezTo>
                    <a:pt x="9" y="27"/>
                    <a:pt x="24" y="21"/>
                    <a:pt x="24" y="18"/>
                  </a:cubicBezTo>
                  <a:cubicBezTo>
                    <a:pt x="24" y="12"/>
                    <a:pt x="30" y="6"/>
                    <a:pt x="30" y="3"/>
                  </a:cubicBezTo>
                  <a:cubicBezTo>
                    <a:pt x="30" y="0"/>
                    <a:pt x="21" y="3"/>
                    <a:pt x="15"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5" name="Freeform 990"/>
            <p:cNvSpPr>
              <a:spLocks/>
            </p:cNvSpPr>
            <p:nvPr userDrawn="1"/>
          </p:nvSpPr>
          <p:spPr bwMode="auto">
            <a:xfrm>
              <a:off x="5363" y="-1502"/>
              <a:ext cx="46" cy="42"/>
            </a:xfrm>
            <a:custGeom>
              <a:avLst/>
              <a:gdLst>
                <a:gd name="T0" fmla="*/ 15 w 30"/>
                <a:gd name="T1" fmla="*/ 3 h 27"/>
                <a:gd name="T2" fmla="*/ 6 w 30"/>
                <a:gd name="T3" fmla="*/ 18 h 27"/>
                <a:gd name="T4" fmla="*/ 24 w 30"/>
                <a:gd name="T5" fmla="*/ 18 h 27"/>
                <a:gd name="T6" fmla="*/ 30 w 30"/>
                <a:gd name="T7" fmla="*/ 3 h 27"/>
                <a:gd name="T8" fmla="*/ 15 w 30"/>
                <a:gd name="T9" fmla="*/ 3 h 27"/>
              </a:gdLst>
              <a:ahLst/>
              <a:cxnLst>
                <a:cxn ang="0">
                  <a:pos x="T0" y="T1"/>
                </a:cxn>
                <a:cxn ang="0">
                  <a:pos x="T2" y="T3"/>
                </a:cxn>
                <a:cxn ang="0">
                  <a:pos x="T4" y="T5"/>
                </a:cxn>
                <a:cxn ang="0">
                  <a:pos x="T6" y="T7"/>
                </a:cxn>
                <a:cxn ang="0">
                  <a:pos x="T8" y="T9"/>
                </a:cxn>
              </a:cxnLst>
              <a:rect l="0" t="0" r="r" b="b"/>
              <a:pathLst>
                <a:path w="30" h="27">
                  <a:moveTo>
                    <a:pt x="15" y="3"/>
                  </a:moveTo>
                  <a:cubicBezTo>
                    <a:pt x="12" y="3"/>
                    <a:pt x="0" y="9"/>
                    <a:pt x="6" y="18"/>
                  </a:cubicBezTo>
                  <a:cubicBezTo>
                    <a:pt x="9" y="27"/>
                    <a:pt x="24" y="21"/>
                    <a:pt x="24" y="18"/>
                  </a:cubicBezTo>
                  <a:cubicBezTo>
                    <a:pt x="24" y="12"/>
                    <a:pt x="30" y="6"/>
                    <a:pt x="30" y="3"/>
                  </a:cubicBezTo>
                  <a:cubicBezTo>
                    <a:pt x="30" y="0"/>
                    <a:pt x="21" y="3"/>
                    <a:pt x="15"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6" name="Freeform 991"/>
            <p:cNvSpPr>
              <a:spLocks/>
            </p:cNvSpPr>
            <p:nvPr userDrawn="1"/>
          </p:nvSpPr>
          <p:spPr bwMode="auto">
            <a:xfrm>
              <a:off x="5568" y="-1600"/>
              <a:ext cx="43" cy="60"/>
            </a:xfrm>
            <a:custGeom>
              <a:avLst/>
              <a:gdLst>
                <a:gd name="T0" fmla="*/ 3 w 27"/>
                <a:gd name="T1" fmla="*/ 21 h 39"/>
                <a:gd name="T2" fmla="*/ 9 w 27"/>
                <a:gd name="T3" fmla="*/ 39 h 39"/>
                <a:gd name="T4" fmla="*/ 24 w 27"/>
                <a:gd name="T5" fmla="*/ 3 h 39"/>
                <a:gd name="T6" fmla="*/ 3 w 27"/>
                <a:gd name="T7" fmla="*/ 21 h 39"/>
              </a:gdLst>
              <a:ahLst/>
              <a:cxnLst>
                <a:cxn ang="0">
                  <a:pos x="T0" y="T1"/>
                </a:cxn>
                <a:cxn ang="0">
                  <a:pos x="T2" y="T3"/>
                </a:cxn>
                <a:cxn ang="0">
                  <a:pos x="T4" y="T5"/>
                </a:cxn>
                <a:cxn ang="0">
                  <a:pos x="T6" y="T7"/>
                </a:cxn>
              </a:cxnLst>
              <a:rect l="0" t="0" r="r" b="b"/>
              <a:pathLst>
                <a:path w="27" h="39">
                  <a:moveTo>
                    <a:pt x="3" y="21"/>
                  </a:moveTo>
                  <a:cubicBezTo>
                    <a:pt x="0" y="33"/>
                    <a:pt x="9" y="39"/>
                    <a:pt x="9" y="39"/>
                  </a:cubicBezTo>
                  <a:cubicBezTo>
                    <a:pt x="12" y="36"/>
                    <a:pt x="27" y="9"/>
                    <a:pt x="24" y="3"/>
                  </a:cubicBezTo>
                  <a:cubicBezTo>
                    <a:pt x="21" y="0"/>
                    <a:pt x="6" y="6"/>
                    <a:pt x="3"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7" name="Freeform 992"/>
            <p:cNvSpPr>
              <a:spLocks/>
            </p:cNvSpPr>
            <p:nvPr userDrawn="1"/>
          </p:nvSpPr>
          <p:spPr bwMode="auto">
            <a:xfrm>
              <a:off x="5568" y="-1600"/>
              <a:ext cx="43" cy="60"/>
            </a:xfrm>
            <a:custGeom>
              <a:avLst/>
              <a:gdLst>
                <a:gd name="T0" fmla="*/ 3 w 27"/>
                <a:gd name="T1" fmla="*/ 21 h 39"/>
                <a:gd name="T2" fmla="*/ 9 w 27"/>
                <a:gd name="T3" fmla="*/ 39 h 39"/>
                <a:gd name="T4" fmla="*/ 24 w 27"/>
                <a:gd name="T5" fmla="*/ 3 h 39"/>
                <a:gd name="T6" fmla="*/ 3 w 27"/>
                <a:gd name="T7" fmla="*/ 21 h 39"/>
              </a:gdLst>
              <a:ahLst/>
              <a:cxnLst>
                <a:cxn ang="0">
                  <a:pos x="T0" y="T1"/>
                </a:cxn>
                <a:cxn ang="0">
                  <a:pos x="T2" y="T3"/>
                </a:cxn>
                <a:cxn ang="0">
                  <a:pos x="T4" y="T5"/>
                </a:cxn>
                <a:cxn ang="0">
                  <a:pos x="T6" y="T7"/>
                </a:cxn>
              </a:cxnLst>
              <a:rect l="0" t="0" r="r" b="b"/>
              <a:pathLst>
                <a:path w="27" h="39">
                  <a:moveTo>
                    <a:pt x="3" y="21"/>
                  </a:moveTo>
                  <a:cubicBezTo>
                    <a:pt x="0" y="33"/>
                    <a:pt x="9" y="39"/>
                    <a:pt x="9" y="39"/>
                  </a:cubicBezTo>
                  <a:cubicBezTo>
                    <a:pt x="12" y="36"/>
                    <a:pt x="27" y="9"/>
                    <a:pt x="24" y="3"/>
                  </a:cubicBezTo>
                  <a:cubicBezTo>
                    <a:pt x="21" y="0"/>
                    <a:pt x="6" y="6"/>
                    <a:pt x="3" y="21"/>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8" name="Freeform 993"/>
            <p:cNvSpPr>
              <a:spLocks/>
            </p:cNvSpPr>
            <p:nvPr userDrawn="1"/>
          </p:nvSpPr>
          <p:spPr bwMode="auto">
            <a:xfrm>
              <a:off x="4549" y="-1825"/>
              <a:ext cx="257" cy="259"/>
            </a:xfrm>
            <a:custGeom>
              <a:avLst/>
              <a:gdLst>
                <a:gd name="T0" fmla="*/ 93 w 165"/>
                <a:gd name="T1" fmla="*/ 157 h 166"/>
                <a:gd name="T2" fmla="*/ 105 w 165"/>
                <a:gd name="T3" fmla="*/ 157 h 166"/>
                <a:gd name="T4" fmla="*/ 114 w 165"/>
                <a:gd name="T5" fmla="*/ 157 h 166"/>
                <a:gd name="T6" fmla="*/ 111 w 165"/>
                <a:gd name="T7" fmla="*/ 145 h 166"/>
                <a:gd name="T8" fmla="*/ 105 w 165"/>
                <a:gd name="T9" fmla="*/ 133 h 166"/>
                <a:gd name="T10" fmla="*/ 99 w 165"/>
                <a:gd name="T11" fmla="*/ 127 h 166"/>
                <a:gd name="T12" fmla="*/ 105 w 165"/>
                <a:gd name="T13" fmla="*/ 115 h 166"/>
                <a:gd name="T14" fmla="*/ 114 w 165"/>
                <a:gd name="T15" fmla="*/ 115 h 166"/>
                <a:gd name="T16" fmla="*/ 123 w 165"/>
                <a:gd name="T17" fmla="*/ 115 h 166"/>
                <a:gd name="T18" fmla="*/ 129 w 165"/>
                <a:gd name="T19" fmla="*/ 105 h 166"/>
                <a:gd name="T20" fmla="*/ 138 w 165"/>
                <a:gd name="T21" fmla="*/ 99 h 166"/>
                <a:gd name="T22" fmla="*/ 141 w 165"/>
                <a:gd name="T23" fmla="*/ 87 h 166"/>
                <a:gd name="T24" fmla="*/ 150 w 165"/>
                <a:gd name="T25" fmla="*/ 84 h 166"/>
                <a:gd name="T26" fmla="*/ 153 w 165"/>
                <a:gd name="T27" fmla="*/ 78 h 166"/>
                <a:gd name="T28" fmla="*/ 156 w 165"/>
                <a:gd name="T29" fmla="*/ 69 h 166"/>
                <a:gd name="T30" fmla="*/ 162 w 165"/>
                <a:gd name="T31" fmla="*/ 60 h 166"/>
                <a:gd name="T32" fmla="*/ 156 w 165"/>
                <a:gd name="T33" fmla="*/ 54 h 166"/>
                <a:gd name="T34" fmla="*/ 150 w 165"/>
                <a:gd name="T35" fmla="*/ 45 h 166"/>
                <a:gd name="T36" fmla="*/ 147 w 165"/>
                <a:gd name="T37" fmla="*/ 33 h 166"/>
                <a:gd name="T38" fmla="*/ 153 w 165"/>
                <a:gd name="T39" fmla="*/ 27 h 166"/>
                <a:gd name="T40" fmla="*/ 147 w 165"/>
                <a:gd name="T41" fmla="*/ 19 h 166"/>
                <a:gd name="T42" fmla="*/ 135 w 165"/>
                <a:gd name="T43" fmla="*/ 10 h 166"/>
                <a:gd name="T44" fmla="*/ 143 w 165"/>
                <a:gd name="T45" fmla="*/ 3 h 166"/>
                <a:gd name="T46" fmla="*/ 152 w 165"/>
                <a:gd name="T47" fmla="*/ 0 h 166"/>
                <a:gd name="T48" fmla="*/ 144 w 165"/>
                <a:gd name="T49" fmla="*/ 0 h 166"/>
                <a:gd name="T50" fmla="*/ 129 w 165"/>
                <a:gd name="T51" fmla="*/ 6 h 166"/>
                <a:gd name="T52" fmla="*/ 123 w 165"/>
                <a:gd name="T53" fmla="*/ 6 h 166"/>
                <a:gd name="T54" fmla="*/ 123 w 165"/>
                <a:gd name="T55" fmla="*/ 9 h 166"/>
                <a:gd name="T56" fmla="*/ 120 w 165"/>
                <a:gd name="T57" fmla="*/ 12 h 166"/>
                <a:gd name="T58" fmla="*/ 123 w 165"/>
                <a:gd name="T59" fmla="*/ 21 h 166"/>
                <a:gd name="T60" fmla="*/ 117 w 165"/>
                <a:gd name="T61" fmla="*/ 27 h 166"/>
                <a:gd name="T62" fmla="*/ 117 w 165"/>
                <a:gd name="T63" fmla="*/ 36 h 166"/>
                <a:gd name="T64" fmla="*/ 102 w 165"/>
                <a:gd name="T65" fmla="*/ 36 h 166"/>
                <a:gd name="T66" fmla="*/ 108 w 165"/>
                <a:gd name="T67" fmla="*/ 45 h 166"/>
                <a:gd name="T68" fmla="*/ 99 w 165"/>
                <a:gd name="T69" fmla="*/ 48 h 166"/>
                <a:gd name="T70" fmla="*/ 96 w 165"/>
                <a:gd name="T71" fmla="*/ 60 h 166"/>
                <a:gd name="T72" fmla="*/ 90 w 165"/>
                <a:gd name="T73" fmla="*/ 66 h 166"/>
                <a:gd name="T74" fmla="*/ 78 w 165"/>
                <a:gd name="T75" fmla="*/ 69 h 166"/>
                <a:gd name="T76" fmla="*/ 69 w 165"/>
                <a:gd name="T77" fmla="*/ 72 h 166"/>
                <a:gd name="T78" fmla="*/ 60 w 165"/>
                <a:gd name="T79" fmla="*/ 78 h 166"/>
                <a:gd name="T80" fmla="*/ 63 w 165"/>
                <a:gd name="T81" fmla="*/ 87 h 166"/>
                <a:gd name="T82" fmla="*/ 18 w 165"/>
                <a:gd name="T83" fmla="*/ 93 h 166"/>
                <a:gd name="T84" fmla="*/ 0 w 165"/>
                <a:gd name="T85" fmla="*/ 93 h 166"/>
                <a:gd name="T86" fmla="*/ 6 w 165"/>
                <a:gd name="T87" fmla="*/ 99 h 166"/>
                <a:gd name="T88" fmla="*/ 18 w 165"/>
                <a:gd name="T89" fmla="*/ 108 h 166"/>
                <a:gd name="T90" fmla="*/ 21 w 165"/>
                <a:gd name="T91" fmla="*/ 121 h 166"/>
                <a:gd name="T92" fmla="*/ 24 w 165"/>
                <a:gd name="T93" fmla="*/ 130 h 166"/>
                <a:gd name="T94" fmla="*/ 15 w 165"/>
                <a:gd name="T95" fmla="*/ 133 h 166"/>
                <a:gd name="T96" fmla="*/ 6 w 165"/>
                <a:gd name="T97" fmla="*/ 145 h 166"/>
                <a:gd name="T98" fmla="*/ 9 w 165"/>
                <a:gd name="T99" fmla="*/ 148 h 166"/>
                <a:gd name="T100" fmla="*/ 30 w 165"/>
                <a:gd name="T101" fmla="*/ 145 h 166"/>
                <a:gd name="T102" fmla="*/ 36 w 165"/>
                <a:gd name="T103" fmla="*/ 145 h 166"/>
                <a:gd name="T104" fmla="*/ 54 w 165"/>
                <a:gd name="T105" fmla="*/ 145 h 166"/>
                <a:gd name="T106" fmla="*/ 63 w 165"/>
                <a:gd name="T107" fmla="*/ 148 h 166"/>
                <a:gd name="T108" fmla="*/ 69 w 165"/>
                <a:gd name="T109" fmla="*/ 154 h 166"/>
                <a:gd name="T110" fmla="*/ 72 w 165"/>
                <a:gd name="T111" fmla="*/ 160 h 166"/>
                <a:gd name="T112" fmla="*/ 81 w 165"/>
                <a:gd name="T113" fmla="*/ 166 h 166"/>
                <a:gd name="T114" fmla="*/ 84 w 165"/>
                <a:gd name="T115" fmla="*/ 166 h 166"/>
                <a:gd name="T116" fmla="*/ 93 w 165"/>
                <a:gd name="T117"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6">
                  <a:moveTo>
                    <a:pt x="93" y="157"/>
                  </a:moveTo>
                  <a:cubicBezTo>
                    <a:pt x="102" y="160"/>
                    <a:pt x="102" y="157"/>
                    <a:pt x="105" y="157"/>
                  </a:cubicBezTo>
                  <a:cubicBezTo>
                    <a:pt x="108" y="160"/>
                    <a:pt x="111" y="157"/>
                    <a:pt x="114" y="157"/>
                  </a:cubicBezTo>
                  <a:cubicBezTo>
                    <a:pt x="114" y="154"/>
                    <a:pt x="111" y="148"/>
                    <a:pt x="111" y="145"/>
                  </a:cubicBezTo>
                  <a:cubicBezTo>
                    <a:pt x="108" y="142"/>
                    <a:pt x="105" y="139"/>
                    <a:pt x="105" y="133"/>
                  </a:cubicBezTo>
                  <a:cubicBezTo>
                    <a:pt x="105" y="130"/>
                    <a:pt x="99" y="130"/>
                    <a:pt x="99" y="127"/>
                  </a:cubicBezTo>
                  <a:cubicBezTo>
                    <a:pt x="99" y="121"/>
                    <a:pt x="105" y="115"/>
                    <a:pt x="105" y="115"/>
                  </a:cubicBezTo>
                  <a:cubicBezTo>
                    <a:pt x="108" y="115"/>
                    <a:pt x="114" y="118"/>
                    <a:pt x="114" y="115"/>
                  </a:cubicBezTo>
                  <a:cubicBezTo>
                    <a:pt x="117" y="111"/>
                    <a:pt x="120" y="115"/>
                    <a:pt x="123" y="115"/>
                  </a:cubicBezTo>
                  <a:cubicBezTo>
                    <a:pt x="123" y="115"/>
                    <a:pt x="129" y="111"/>
                    <a:pt x="129" y="105"/>
                  </a:cubicBezTo>
                  <a:cubicBezTo>
                    <a:pt x="129" y="102"/>
                    <a:pt x="135" y="102"/>
                    <a:pt x="138" y="99"/>
                  </a:cubicBezTo>
                  <a:cubicBezTo>
                    <a:pt x="138" y="99"/>
                    <a:pt x="141" y="90"/>
                    <a:pt x="141" y="87"/>
                  </a:cubicBezTo>
                  <a:cubicBezTo>
                    <a:pt x="144" y="87"/>
                    <a:pt x="150" y="87"/>
                    <a:pt x="150" y="84"/>
                  </a:cubicBezTo>
                  <a:cubicBezTo>
                    <a:pt x="150" y="78"/>
                    <a:pt x="150" y="78"/>
                    <a:pt x="153" y="78"/>
                  </a:cubicBezTo>
                  <a:cubicBezTo>
                    <a:pt x="156" y="75"/>
                    <a:pt x="156" y="72"/>
                    <a:pt x="156" y="69"/>
                  </a:cubicBezTo>
                  <a:cubicBezTo>
                    <a:pt x="156" y="66"/>
                    <a:pt x="159" y="60"/>
                    <a:pt x="162" y="60"/>
                  </a:cubicBezTo>
                  <a:cubicBezTo>
                    <a:pt x="165" y="60"/>
                    <a:pt x="162" y="54"/>
                    <a:pt x="156" y="54"/>
                  </a:cubicBezTo>
                  <a:cubicBezTo>
                    <a:pt x="153" y="57"/>
                    <a:pt x="150" y="45"/>
                    <a:pt x="150" y="45"/>
                  </a:cubicBezTo>
                  <a:cubicBezTo>
                    <a:pt x="150" y="45"/>
                    <a:pt x="150" y="36"/>
                    <a:pt x="147" y="33"/>
                  </a:cubicBezTo>
                  <a:cubicBezTo>
                    <a:pt x="147" y="33"/>
                    <a:pt x="150" y="27"/>
                    <a:pt x="153" y="27"/>
                  </a:cubicBezTo>
                  <a:cubicBezTo>
                    <a:pt x="153" y="26"/>
                    <a:pt x="152" y="23"/>
                    <a:pt x="147" y="19"/>
                  </a:cubicBezTo>
                  <a:cubicBezTo>
                    <a:pt x="141" y="15"/>
                    <a:pt x="134" y="11"/>
                    <a:pt x="135" y="10"/>
                  </a:cubicBezTo>
                  <a:cubicBezTo>
                    <a:pt x="138" y="7"/>
                    <a:pt x="140" y="3"/>
                    <a:pt x="143" y="3"/>
                  </a:cubicBezTo>
                  <a:cubicBezTo>
                    <a:pt x="149" y="3"/>
                    <a:pt x="152" y="0"/>
                    <a:pt x="152" y="0"/>
                  </a:cubicBezTo>
                  <a:cubicBezTo>
                    <a:pt x="149" y="0"/>
                    <a:pt x="146" y="0"/>
                    <a:pt x="144" y="0"/>
                  </a:cubicBezTo>
                  <a:cubicBezTo>
                    <a:pt x="141" y="0"/>
                    <a:pt x="132" y="3"/>
                    <a:pt x="129" y="6"/>
                  </a:cubicBezTo>
                  <a:cubicBezTo>
                    <a:pt x="129" y="6"/>
                    <a:pt x="126" y="6"/>
                    <a:pt x="123" y="6"/>
                  </a:cubicBezTo>
                  <a:cubicBezTo>
                    <a:pt x="123" y="6"/>
                    <a:pt x="123" y="6"/>
                    <a:pt x="123" y="9"/>
                  </a:cubicBezTo>
                  <a:cubicBezTo>
                    <a:pt x="120" y="9"/>
                    <a:pt x="117" y="12"/>
                    <a:pt x="120" y="12"/>
                  </a:cubicBezTo>
                  <a:cubicBezTo>
                    <a:pt x="123" y="15"/>
                    <a:pt x="123" y="18"/>
                    <a:pt x="123" y="21"/>
                  </a:cubicBezTo>
                  <a:cubicBezTo>
                    <a:pt x="123" y="24"/>
                    <a:pt x="117" y="24"/>
                    <a:pt x="117" y="27"/>
                  </a:cubicBezTo>
                  <a:cubicBezTo>
                    <a:pt x="114" y="30"/>
                    <a:pt x="117" y="33"/>
                    <a:pt x="117" y="36"/>
                  </a:cubicBezTo>
                  <a:cubicBezTo>
                    <a:pt x="114" y="39"/>
                    <a:pt x="105" y="36"/>
                    <a:pt x="102" y="36"/>
                  </a:cubicBezTo>
                  <a:cubicBezTo>
                    <a:pt x="102" y="39"/>
                    <a:pt x="105" y="42"/>
                    <a:pt x="108" y="45"/>
                  </a:cubicBezTo>
                  <a:cubicBezTo>
                    <a:pt x="108" y="45"/>
                    <a:pt x="102" y="48"/>
                    <a:pt x="99" y="48"/>
                  </a:cubicBezTo>
                  <a:cubicBezTo>
                    <a:pt x="96" y="48"/>
                    <a:pt x="96" y="54"/>
                    <a:pt x="96" y="60"/>
                  </a:cubicBezTo>
                  <a:cubicBezTo>
                    <a:pt x="96" y="66"/>
                    <a:pt x="90" y="69"/>
                    <a:pt x="90" y="66"/>
                  </a:cubicBezTo>
                  <a:cubicBezTo>
                    <a:pt x="90" y="63"/>
                    <a:pt x="78" y="66"/>
                    <a:pt x="78" y="69"/>
                  </a:cubicBezTo>
                  <a:cubicBezTo>
                    <a:pt x="78" y="72"/>
                    <a:pt x="75" y="72"/>
                    <a:pt x="69" y="72"/>
                  </a:cubicBezTo>
                  <a:cubicBezTo>
                    <a:pt x="66" y="72"/>
                    <a:pt x="63" y="75"/>
                    <a:pt x="60" y="78"/>
                  </a:cubicBezTo>
                  <a:cubicBezTo>
                    <a:pt x="63" y="87"/>
                    <a:pt x="63" y="87"/>
                    <a:pt x="63" y="87"/>
                  </a:cubicBezTo>
                  <a:cubicBezTo>
                    <a:pt x="63" y="90"/>
                    <a:pt x="24" y="96"/>
                    <a:pt x="18" y="93"/>
                  </a:cubicBezTo>
                  <a:cubicBezTo>
                    <a:pt x="12" y="93"/>
                    <a:pt x="6" y="93"/>
                    <a:pt x="0" y="93"/>
                  </a:cubicBezTo>
                  <a:cubicBezTo>
                    <a:pt x="3" y="93"/>
                    <a:pt x="3" y="96"/>
                    <a:pt x="6" y="99"/>
                  </a:cubicBezTo>
                  <a:cubicBezTo>
                    <a:pt x="6" y="102"/>
                    <a:pt x="12" y="105"/>
                    <a:pt x="18" y="108"/>
                  </a:cubicBezTo>
                  <a:cubicBezTo>
                    <a:pt x="21" y="111"/>
                    <a:pt x="18" y="121"/>
                    <a:pt x="21" y="121"/>
                  </a:cubicBezTo>
                  <a:cubicBezTo>
                    <a:pt x="24" y="121"/>
                    <a:pt x="27" y="130"/>
                    <a:pt x="24" y="130"/>
                  </a:cubicBezTo>
                  <a:cubicBezTo>
                    <a:pt x="21" y="130"/>
                    <a:pt x="18" y="130"/>
                    <a:pt x="15" y="133"/>
                  </a:cubicBezTo>
                  <a:cubicBezTo>
                    <a:pt x="12" y="136"/>
                    <a:pt x="6" y="139"/>
                    <a:pt x="6" y="145"/>
                  </a:cubicBezTo>
                  <a:cubicBezTo>
                    <a:pt x="6" y="145"/>
                    <a:pt x="6" y="145"/>
                    <a:pt x="9" y="148"/>
                  </a:cubicBezTo>
                  <a:cubicBezTo>
                    <a:pt x="18" y="148"/>
                    <a:pt x="27" y="148"/>
                    <a:pt x="30" y="145"/>
                  </a:cubicBezTo>
                  <a:cubicBezTo>
                    <a:pt x="30" y="145"/>
                    <a:pt x="36" y="142"/>
                    <a:pt x="36" y="145"/>
                  </a:cubicBezTo>
                  <a:cubicBezTo>
                    <a:pt x="39" y="145"/>
                    <a:pt x="51" y="148"/>
                    <a:pt x="54" y="145"/>
                  </a:cubicBezTo>
                  <a:cubicBezTo>
                    <a:pt x="60" y="142"/>
                    <a:pt x="63" y="145"/>
                    <a:pt x="63" y="148"/>
                  </a:cubicBezTo>
                  <a:cubicBezTo>
                    <a:pt x="66" y="151"/>
                    <a:pt x="66" y="151"/>
                    <a:pt x="69" y="154"/>
                  </a:cubicBezTo>
                  <a:cubicBezTo>
                    <a:pt x="72" y="154"/>
                    <a:pt x="69" y="157"/>
                    <a:pt x="72" y="160"/>
                  </a:cubicBezTo>
                  <a:cubicBezTo>
                    <a:pt x="75" y="163"/>
                    <a:pt x="78" y="163"/>
                    <a:pt x="81" y="166"/>
                  </a:cubicBezTo>
                  <a:cubicBezTo>
                    <a:pt x="84" y="166"/>
                    <a:pt x="84" y="166"/>
                    <a:pt x="84" y="166"/>
                  </a:cubicBezTo>
                  <a:cubicBezTo>
                    <a:pt x="87" y="163"/>
                    <a:pt x="87" y="157"/>
                    <a:pt x="93" y="1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99" name="Freeform 994"/>
            <p:cNvSpPr>
              <a:spLocks/>
            </p:cNvSpPr>
            <p:nvPr userDrawn="1"/>
          </p:nvSpPr>
          <p:spPr bwMode="auto">
            <a:xfrm>
              <a:off x="4549" y="-1825"/>
              <a:ext cx="257" cy="259"/>
            </a:xfrm>
            <a:custGeom>
              <a:avLst/>
              <a:gdLst>
                <a:gd name="T0" fmla="*/ 93 w 165"/>
                <a:gd name="T1" fmla="*/ 157 h 166"/>
                <a:gd name="T2" fmla="*/ 105 w 165"/>
                <a:gd name="T3" fmla="*/ 157 h 166"/>
                <a:gd name="T4" fmla="*/ 114 w 165"/>
                <a:gd name="T5" fmla="*/ 157 h 166"/>
                <a:gd name="T6" fmla="*/ 111 w 165"/>
                <a:gd name="T7" fmla="*/ 145 h 166"/>
                <a:gd name="T8" fmla="*/ 105 w 165"/>
                <a:gd name="T9" fmla="*/ 133 h 166"/>
                <a:gd name="T10" fmla="*/ 99 w 165"/>
                <a:gd name="T11" fmla="*/ 127 h 166"/>
                <a:gd name="T12" fmla="*/ 105 w 165"/>
                <a:gd name="T13" fmla="*/ 115 h 166"/>
                <a:gd name="T14" fmla="*/ 114 w 165"/>
                <a:gd name="T15" fmla="*/ 115 h 166"/>
                <a:gd name="T16" fmla="*/ 123 w 165"/>
                <a:gd name="T17" fmla="*/ 115 h 166"/>
                <a:gd name="T18" fmla="*/ 129 w 165"/>
                <a:gd name="T19" fmla="*/ 105 h 166"/>
                <a:gd name="T20" fmla="*/ 138 w 165"/>
                <a:gd name="T21" fmla="*/ 99 h 166"/>
                <a:gd name="T22" fmla="*/ 141 w 165"/>
                <a:gd name="T23" fmla="*/ 87 h 166"/>
                <a:gd name="T24" fmla="*/ 150 w 165"/>
                <a:gd name="T25" fmla="*/ 84 h 166"/>
                <a:gd name="T26" fmla="*/ 153 w 165"/>
                <a:gd name="T27" fmla="*/ 78 h 166"/>
                <a:gd name="T28" fmla="*/ 156 w 165"/>
                <a:gd name="T29" fmla="*/ 69 h 166"/>
                <a:gd name="T30" fmla="*/ 162 w 165"/>
                <a:gd name="T31" fmla="*/ 60 h 166"/>
                <a:gd name="T32" fmla="*/ 156 w 165"/>
                <a:gd name="T33" fmla="*/ 54 h 166"/>
                <a:gd name="T34" fmla="*/ 150 w 165"/>
                <a:gd name="T35" fmla="*/ 45 h 166"/>
                <a:gd name="T36" fmla="*/ 147 w 165"/>
                <a:gd name="T37" fmla="*/ 33 h 166"/>
                <a:gd name="T38" fmla="*/ 153 w 165"/>
                <a:gd name="T39" fmla="*/ 27 h 166"/>
                <a:gd name="T40" fmla="*/ 147 w 165"/>
                <a:gd name="T41" fmla="*/ 19 h 166"/>
                <a:gd name="T42" fmla="*/ 135 w 165"/>
                <a:gd name="T43" fmla="*/ 10 h 166"/>
                <a:gd name="T44" fmla="*/ 143 w 165"/>
                <a:gd name="T45" fmla="*/ 3 h 166"/>
                <a:gd name="T46" fmla="*/ 152 w 165"/>
                <a:gd name="T47" fmla="*/ 0 h 166"/>
                <a:gd name="T48" fmla="*/ 144 w 165"/>
                <a:gd name="T49" fmla="*/ 0 h 166"/>
                <a:gd name="T50" fmla="*/ 129 w 165"/>
                <a:gd name="T51" fmla="*/ 6 h 166"/>
                <a:gd name="T52" fmla="*/ 123 w 165"/>
                <a:gd name="T53" fmla="*/ 6 h 166"/>
                <a:gd name="T54" fmla="*/ 123 w 165"/>
                <a:gd name="T55" fmla="*/ 9 h 166"/>
                <a:gd name="T56" fmla="*/ 120 w 165"/>
                <a:gd name="T57" fmla="*/ 12 h 166"/>
                <a:gd name="T58" fmla="*/ 123 w 165"/>
                <a:gd name="T59" fmla="*/ 21 h 166"/>
                <a:gd name="T60" fmla="*/ 117 w 165"/>
                <a:gd name="T61" fmla="*/ 27 h 166"/>
                <a:gd name="T62" fmla="*/ 117 w 165"/>
                <a:gd name="T63" fmla="*/ 36 h 166"/>
                <a:gd name="T64" fmla="*/ 102 w 165"/>
                <a:gd name="T65" fmla="*/ 36 h 166"/>
                <a:gd name="T66" fmla="*/ 108 w 165"/>
                <a:gd name="T67" fmla="*/ 45 h 166"/>
                <a:gd name="T68" fmla="*/ 99 w 165"/>
                <a:gd name="T69" fmla="*/ 48 h 166"/>
                <a:gd name="T70" fmla="*/ 96 w 165"/>
                <a:gd name="T71" fmla="*/ 60 h 166"/>
                <a:gd name="T72" fmla="*/ 90 w 165"/>
                <a:gd name="T73" fmla="*/ 66 h 166"/>
                <a:gd name="T74" fmla="*/ 78 w 165"/>
                <a:gd name="T75" fmla="*/ 69 h 166"/>
                <a:gd name="T76" fmla="*/ 69 w 165"/>
                <a:gd name="T77" fmla="*/ 72 h 166"/>
                <a:gd name="T78" fmla="*/ 60 w 165"/>
                <a:gd name="T79" fmla="*/ 78 h 166"/>
                <a:gd name="T80" fmla="*/ 63 w 165"/>
                <a:gd name="T81" fmla="*/ 87 h 166"/>
                <a:gd name="T82" fmla="*/ 18 w 165"/>
                <a:gd name="T83" fmla="*/ 93 h 166"/>
                <a:gd name="T84" fmla="*/ 0 w 165"/>
                <a:gd name="T85" fmla="*/ 93 h 166"/>
                <a:gd name="T86" fmla="*/ 6 w 165"/>
                <a:gd name="T87" fmla="*/ 99 h 166"/>
                <a:gd name="T88" fmla="*/ 18 w 165"/>
                <a:gd name="T89" fmla="*/ 108 h 166"/>
                <a:gd name="T90" fmla="*/ 21 w 165"/>
                <a:gd name="T91" fmla="*/ 121 h 166"/>
                <a:gd name="T92" fmla="*/ 24 w 165"/>
                <a:gd name="T93" fmla="*/ 130 h 166"/>
                <a:gd name="T94" fmla="*/ 15 w 165"/>
                <a:gd name="T95" fmla="*/ 133 h 166"/>
                <a:gd name="T96" fmla="*/ 6 w 165"/>
                <a:gd name="T97" fmla="*/ 145 h 166"/>
                <a:gd name="T98" fmla="*/ 9 w 165"/>
                <a:gd name="T99" fmla="*/ 148 h 166"/>
                <a:gd name="T100" fmla="*/ 30 w 165"/>
                <a:gd name="T101" fmla="*/ 145 h 166"/>
                <a:gd name="T102" fmla="*/ 36 w 165"/>
                <a:gd name="T103" fmla="*/ 145 h 166"/>
                <a:gd name="T104" fmla="*/ 54 w 165"/>
                <a:gd name="T105" fmla="*/ 145 h 166"/>
                <a:gd name="T106" fmla="*/ 63 w 165"/>
                <a:gd name="T107" fmla="*/ 148 h 166"/>
                <a:gd name="T108" fmla="*/ 69 w 165"/>
                <a:gd name="T109" fmla="*/ 154 h 166"/>
                <a:gd name="T110" fmla="*/ 72 w 165"/>
                <a:gd name="T111" fmla="*/ 160 h 166"/>
                <a:gd name="T112" fmla="*/ 81 w 165"/>
                <a:gd name="T113" fmla="*/ 166 h 166"/>
                <a:gd name="T114" fmla="*/ 84 w 165"/>
                <a:gd name="T115" fmla="*/ 166 h 166"/>
                <a:gd name="T116" fmla="*/ 93 w 165"/>
                <a:gd name="T117"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6">
                  <a:moveTo>
                    <a:pt x="93" y="157"/>
                  </a:moveTo>
                  <a:cubicBezTo>
                    <a:pt x="102" y="160"/>
                    <a:pt x="102" y="157"/>
                    <a:pt x="105" y="157"/>
                  </a:cubicBezTo>
                  <a:cubicBezTo>
                    <a:pt x="108" y="160"/>
                    <a:pt x="111" y="157"/>
                    <a:pt x="114" y="157"/>
                  </a:cubicBezTo>
                  <a:cubicBezTo>
                    <a:pt x="114" y="154"/>
                    <a:pt x="111" y="148"/>
                    <a:pt x="111" y="145"/>
                  </a:cubicBezTo>
                  <a:cubicBezTo>
                    <a:pt x="108" y="142"/>
                    <a:pt x="105" y="139"/>
                    <a:pt x="105" y="133"/>
                  </a:cubicBezTo>
                  <a:cubicBezTo>
                    <a:pt x="105" y="130"/>
                    <a:pt x="99" y="130"/>
                    <a:pt x="99" y="127"/>
                  </a:cubicBezTo>
                  <a:cubicBezTo>
                    <a:pt x="99" y="121"/>
                    <a:pt x="105" y="115"/>
                    <a:pt x="105" y="115"/>
                  </a:cubicBezTo>
                  <a:cubicBezTo>
                    <a:pt x="108" y="115"/>
                    <a:pt x="114" y="118"/>
                    <a:pt x="114" y="115"/>
                  </a:cubicBezTo>
                  <a:cubicBezTo>
                    <a:pt x="117" y="111"/>
                    <a:pt x="120" y="115"/>
                    <a:pt x="123" y="115"/>
                  </a:cubicBezTo>
                  <a:cubicBezTo>
                    <a:pt x="123" y="115"/>
                    <a:pt x="129" y="111"/>
                    <a:pt x="129" y="105"/>
                  </a:cubicBezTo>
                  <a:cubicBezTo>
                    <a:pt x="129" y="102"/>
                    <a:pt x="135" y="102"/>
                    <a:pt x="138" y="99"/>
                  </a:cubicBezTo>
                  <a:cubicBezTo>
                    <a:pt x="138" y="99"/>
                    <a:pt x="141" y="90"/>
                    <a:pt x="141" y="87"/>
                  </a:cubicBezTo>
                  <a:cubicBezTo>
                    <a:pt x="144" y="87"/>
                    <a:pt x="150" y="87"/>
                    <a:pt x="150" y="84"/>
                  </a:cubicBezTo>
                  <a:cubicBezTo>
                    <a:pt x="150" y="78"/>
                    <a:pt x="150" y="78"/>
                    <a:pt x="153" y="78"/>
                  </a:cubicBezTo>
                  <a:cubicBezTo>
                    <a:pt x="156" y="75"/>
                    <a:pt x="156" y="72"/>
                    <a:pt x="156" y="69"/>
                  </a:cubicBezTo>
                  <a:cubicBezTo>
                    <a:pt x="156" y="66"/>
                    <a:pt x="159" y="60"/>
                    <a:pt x="162" y="60"/>
                  </a:cubicBezTo>
                  <a:cubicBezTo>
                    <a:pt x="165" y="60"/>
                    <a:pt x="162" y="54"/>
                    <a:pt x="156" y="54"/>
                  </a:cubicBezTo>
                  <a:cubicBezTo>
                    <a:pt x="153" y="57"/>
                    <a:pt x="150" y="45"/>
                    <a:pt x="150" y="45"/>
                  </a:cubicBezTo>
                  <a:cubicBezTo>
                    <a:pt x="150" y="45"/>
                    <a:pt x="150" y="36"/>
                    <a:pt x="147" y="33"/>
                  </a:cubicBezTo>
                  <a:cubicBezTo>
                    <a:pt x="147" y="33"/>
                    <a:pt x="150" y="27"/>
                    <a:pt x="153" y="27"/>
                  </a:cubicBezTo>
                  <a:cubicBezTo>
                    <a:pt x="153" y="26"/>
                    <a:pt x="152" y="23"/>
                    <a:pt x="147" y="19"/>
                  </a:cubicBezTo>
                  <a:cubicBezTo>
                    <a:pt x="141" y="15"/>
                    <a:pt x="134" y="11"/>
                    <a:pt x="135" y="10"/>
                  </a:cubicBezTo>
                  <a:cubicBezTo>
                    <a:pt x="138" y="7"/>
                    <a:pt x="140" y="3"/>
                    <a:pt x="143" y="3"/>
                  </a:cubicBezTo>
                  <a:cubicBezTo>
                    <a:pt x="149" y="3"/>
                    <a:pt x="152" y="0"/>
                    <a:pt x="152" y="0"/>
                  </a:cubicBezTo>
                  <a:cubicBezTo>
                    <a:pt x="149" y="0"/>
                    <a:pt x="146" y="0"/>
                    <a:pt x="144" y="0"/>
                  </a:cubicBezTo>
                  <a:cubicBezTo>
                    <a:pt x="141" y="0"/>
                    <a:pt x="132" y="3"/>
                    <a:pt x="129" y="6"/>
                  </a:cubicBezTo>
                  <a:cubicBezTo>
                    <a:pt x="129" y="6"/>
                    <a:pt x="126" y="6"/>
                    <a:pt x="123" y="6"/>
                  </a:cubicBezTo>
                  <a:cubicBezTo>
                    <a:pt x="123" y="6"/>
                    <a:pt x="123" y="6"/>
                    <a:pt x="123" y="9"/>
                  </a:cubicBezTo>
                  <a:cubicBezTo>
                    <a:pt x="120" y="9"/>
                    <a:pt x="117" y="12"/>
                    <a:pt x="120" y="12"/>
                  </a:cubicBezTo>
                  <a:cubicBezTo>
                    <a:pt x="123" y="15"/>
                    <a:pt x="123" y="18"/>
                    <a:pt x="123" y="21"/>
                  </a:cubicBezTo>
                  <a:cubicBezTo>
                    <a:pt x="123" y="24"/>
                    <a:pt x="117" y="24"/>
                    <a:pt x="117" y="27"/>
                  </a:cubicBezTo>
                  <a:cubicBezTo>
                    <a:pt x="114" y="30"/>
                    <a:pt x="117" y="33"/>
                    <a:pt x="117" y="36"/>
                  </a:cubicBezTo>
                  <a:cubicBezTo>
                    <a:pt x="114" y="39"/>
                    <a:pt x="105" y="36"/>
                    <a:pt x="102" y="36"/>
                  </a:cubicBezTo>
                  <a:cubicBezTo>
                    <a:pt x="102" y="39"/>
                    <a:pt x="105" y="42"/>
                    <a:pt x="108" y="45"/>
                  </a:cubicBezTo>
                  <a:cubicBezTo>
                    <a:pt x="108" y="45"/>
                    <a:pt x="102" y="48"/>
                    <a:pt x="99" y="48"/>
                  </a:cubicBezTo>
                  <a:cubicBezTo>
                    <a:pt x="96" y="48"/>
                    <a:pt x="96" y="54"/>
                    <a:pt x="96" y="60"/>
                  </a:cubicBezTo>
                  <a:cubicBezTo>
                    <a:pt x="96" y="66"/>
                    <a:pt x="90" y="69"/>
                    <a:pt x="90" y="66"/>
                  </a:cubicBezTo>
                  <a:cubicBezTo>
                    <a:pt x="90" y="63"/>
                    <a:pt x="78" y="66"/>
                    <a:pt x="78" y="69"/>
                  </a:cubicBezTo>
                  <a:cubicBezTo>
                    <a:pt x="78" y="72"/>
                    <a:pt x="75" y="72"/>
                    <a:pt x="69" y="72"/>
                  </a:cubicBezTo>
                  <a:cubicBezTo>
                    <a:pt x="66" y="72"/>
                    <a:pt x="63" y="75"/>
                    <a:pt x="60" y="78"/>
                  </a:cubicBezTo>
                  <a:cubicBezTo>
                    <a:pt x="63" y="87"/>
                    <a:pt x="63" y="87"/>
                    <a:pt x="63" y="87"/>
                  </a:cubicBezTo>
                  <a:cubicBezTo>
                    <a:pt x="63" y="90"/>
                    <a:pt x="24" y="96"/>
                    <a:pt x="18" y="93"/>
                  </a:cubicBezTo>
                  <a:cubicBezTo>
                    <a:pt x="12" y="93"/>
                    <a:pt x="6" y="93"/>
                    <a:pt x="0" y="93"/>
                  </a:cubicBezTo>
                  <a:cubicBezTo>
                    <a:pt x="3" y="93"/>
                    <a:pt x="3" y="96"/>
                    <a:pt x="6" y="99"/>
                  </a:cubicBezTo>
                  <a:cubicBezTo>
                    <a:pt x="6" y="102"/>
                    <a:pt x="12" y="105"/>
                    <a:pt x="18" y="108"/>
                  </a:cubicBezTo>
                  <a:cubicBezTo>
                    <a:pt x="21" y="111"/>
                    <a:pt x="18" y="121"/>
                    <a:pt x="21" y="121"/>
                  </a:cubicBezTo>
                  <a:cubicBezTo>
                    <a:pt x="24" y="121"/>
                    <a:pt x="27" y="130"/>
                    <a:pt x="24" y="130"/>
                  </a:cubicBezTo>
                  <a:cubicBezTo>
                    <a:pt x="21" y="130"/>
                    <a:pt x="18" y="130"/>
                    <a:pt x="15" y="133"/>
                  </a:cubicBezTo>
                  <a:cubicBezTo>
                    <a:pt x="12" y="136"/>
                    <a:pt x="6" y="139"/>
                    <a:pt x="6" y="145"/>
                  </a:cubicBezTo>
                  <a:cubicBezTo>
                    <a:pt x="6" y="145"/>
                    <a:pt x="6" y="145"/>
                    <a:pt x="9" y="148"/>
                  </a:cubicBezTo>
                  <a:cubicBezTo>
                    <a:pt x="18" y="148"/>
                    <a:pt x="27" y="148"/>
                    <a:pt x="30" y="145"/>
                  </a:cubicBezTo>
                  <a:cubicBezTo>
                    <a:pt x="30" y="145"/>
                    <a:pt x="36" y="142"/>
                    <a:pt x="36" y="145"/>
                  </a:cubicBezTo>
                  <a:cubicBezTo>
                    <a:pt x="39" y="145"/>
                    <a:pt x="51" y="148"/>
                    <a:pt x="54" y="145"/>
                  </a:cubicBezTo>
                  <a:cubicBezTo>
                    <a:pt x="60" y="142"/>
                    <a:pt x="63" y="145"/>
                    <a:pt x="63" y="148"/>
                  </a:cubicBezTo>
                  <a:cubicBezTo>
                    <a:pt x="66" y="151"/>
                    <a:pt x="66" y="151"/>
                    <a:pt x="69" y="154"/>
                  </a:cubicBezTo>
                  <a:cubicBezTo>
                    <a:pt x="72" y="154"/>
                    <a:pt x="69" y="157"/>
                    <a:pt x="72" y="160"/>
                  </a:cubicBezTo>
                  <a:cubicBezTo>
                    <a:pt x="75" y="163"/>
                    <a:pt x="78" y="163"/>
                    <a:pt x="81" y="166"/>
                  </a:cubicBezTo>
                  <a:cubicBezTo>
                    <a:pt x="84" y="166"/>
                    <a:pt x="84" y="166"/>
                    <a:pt x="84" y="166"/>
                  </a:cubicBezTo>
                  <a:cubicBezTo>
                    <a:pt x="87" y="163"/>
                    <a:pt x="87" y="157"/>
                    <a:pt x="93" y="1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0" name="Freeform 995"/>
            <p:cNvSpPr>
              <a:spLocks/>
            </p:cNvSpPr>
            <p:nvPr userDrawn="1"/>
          </p:nvSpPr>
          <p:spPr bwMode="auto">
            <a:xfrm>
              <a:off x="4549" y="-1825"/>
              <a:ext cx="257" cy="259"/>
            </a:xfrm>
            <a:custGeom>
              <a:avLst/>
              <a:gdLst>
                <a:gd name="T0" fmla="*/ 93 w 165"/>
                <a:gd name="T1" fmla="*/ 157 h 166"/>
                <a:gd name="T2" fmla="*/ 105 w 165"/>
                <a:gd name="T3" fmla="*/ 157 h 166"/>
                <a:gd name="T4" fmla="*/ 114 w 165"/>
                <a:gd name="T5" fmla="*/ 157 h 166"/>
                <a:gd name="T6" fmla="*/ 111 w 165"/>
                <a:gd name="T7" fmla="*/ 145 h 166"/>
                <a:gd name="T8" fmla="*/ 105 w 165"/>
                <a:gd name="T9" fmla="*/ 133 h 166"/>
                <a:gd name="T10" fmla="*/ 99 w 165"/>
                <a:gd name="T11" fmla="*/ 127 h 166"/>
                <a:gd name="T12" fmla="*/ 105 w 165"/>
                <a:gd name="T13" fmla="*/ 115 h 166"/>
                <a:gd name="T14" fmla="*/ 114 w 165"/>
                <a:gd name="T15" fmla="*/ 115 h 166"/>
                <a:gd name="T16" fmla="*/ 123 w 165"/>
                <a:gd name="T17" fmla="*/ 115 h 166"/>
                <a:gd name="T18" fmla="*/ 129 w 165"/>
                <a:gd name="T19" fmla="*/ 105 h 166"/>
                <a:gd name="T20" fmla="*/ 138 w 165"/>
                <a:gd name="T21" fmla="*/ 99 h 166"/>
                <a:gd name="T22" fmla="*/ 141 w 165"/>
                <a:gd name="T23" fmla="*/ 87 h 166"/>
                <a:gd name="T24" fmla="*/ 150 w 165"/>
                <a:gd name="T25" fmla="*/ 84 h 166"/>
                <a:gd name="T26" fmla="*/ 153 w 165"/>
                <a:gd name="T27" fmla="*/ 78 h 166"/>
                <a:gd name="T28" fmla="*/ 156 w 165"/>
                <a:gd name="T29" fmla="*/ 69 h 166"/>
                <a:gd name="T30" fmla="*/ 162 w 165"/>
                <a:gd name="T31" fmla="*/ 60 h 166"/>
                <a:gd name="T32" fmla="*/ 156 w 165"/>
                <a:gd name="T33" fmla="*/ 54 h 166"/>
                <a:gd name="T34" fmla="*/ 150 w 165"/>
                <a:gd name="T35" fmla="*/ 45 h 166"/>
                <a:gd name="T36" fmla="*/ 147 w 165"/>
                <a:gd name="T37" fmla="*/ 33 h 166"/>
                <a:gd name="T38" fmla="*/ 153 w 165"/>
                <a:gd name="T39" fmla="*/ 27 h 166"/>
                <a:gd name="T40" fmla="*/ 147 w 165"/>
                <a:gd name="T41" fmla="*/ 19 h 166"/>
                <a:gd name="T42" fmla="*/ 135 w 165"/>
                <a:gd name="T43" fmla="*/ 10 h 166"/>
                <a:gd name="T44" fmla="*/ 143 w 165"/>
                <a:gd name="T45" fmla="*/ 3 h 166"/>
                <a:gd name="T46" fmla="*/ 152 w 165"/>
                <a:gd name="T47" fmla="*/ 0 h 166"/>
                <a:gd name="T48" fmla="*/ 144 w 165"/>
                <a:gd name="T49" fmla="*/ 0 h 166"/>
                <a:gd name="T50" fmla="*/ 129 w 165"/>
                <a:gd name="T51" fmla="*/ 6 h 166"/>
                <a:gd name="T52" fmla="*/ 123 w 165"/>
                <a:gd name="T53" fmla="*/ 6 h 166"/>
                <a:gd name="T54" fmla="*/ 123 w 165"/>
                <a:gd name="T55" fmla="*/ 9 h 166"/>
                <a:gd name="T56" fmla="*/ 120 w 165"/>
                <a:gd name="T57" fmla="*/ 12 h 166"/>
                <a:gd name="T58" fmla="*/ 123 w 165"/>
                <a:gd name="T59" fmla="*/ 21 h 166"/>
                <a:gd name="T60" fmla="*/ 117 w 165"/>
                <a:gd name="T61" fmla="*/ 27 h 166"/>
                <a:gd name="T62" fmla="*/ 117 w 165"/>
                <a:gd name="T63" fmla="*/ 36 h 166"/>
                <a:gd name="T64" fmla="*/ 102 w 165"/>
                <a:gd name="T65" fmla="*/ 36 h 166"/>
                <a:gd name="T66" fmla="*/ 108 w 165"/>
                <a:gd name="T67" fmla="*/ 45 h 166"/>
                <a:gd name="T68" fmla="*/ 99 w 165"/>
                <a:gd name="T69" fmla="*/ 48 h 166"/>
                <a:gd name="T70" fmla="*/ 96 w 165"/>
                <a:gd name="T71" fmla="*/ 60 h 166"/>
                <a:gd name="T72" fmla="*/ 90 w 165"/>
                <a:gd name="T73" fmla="*/ 66 h 166"/>
                <a:gd name="T74" fmla="*/ 78 w 165"/>
                <a:gd name="T75" fmla="*/ 69 h 166"/>
                <a:gd name="T76" fmla="*/ 69 w 165"/>
                <a:gd name="T77" fmla="*/ 72 h 166"/>
                <a:gd name="T78" fmla="*/ 60 w 165"/>
                <a:gd name="T79" fmla="*/ 78 h 166"/>
                <a:gd name="T80" fmla="*/ 63 w 165"/>
                <a:gd name="T81" fmla="*/ 87 h 166"/>
                <a:gd name="T82" fmla="*/ 18 w 165"/>
                <a:gd name="T83" fmla="*/ 93 h 166"/>
                <a:gd name="T84" fmla="*/ 0 w 165"/>
                <a:gd name="T85" fmla="*/ 93 h 166"/>
                <a:gd name="T86" fmla="*/ 6 w 165"/>
                <a:gd name="T87" fmla="*/ 99 h 166"/>
                <a:gd name="T88" fmla="*/ 18 w 165"/>
                <a:gd name="T89" fmla="*/ 108 h 166"/>
                <a:gd name="T90" fmla="*/ 21 w 165"/>
                <a:gd name="T91" fmla="*/ 121 h 166"/>
                <a:gd name="T92" fmla="*/ 24 w 165"/>
                <a:gd name="T93" fmla="*/ 130 h 166"/>
                <a:gd name="T94" fmla="*/ 15 w 165"/>
                <a:gd name="T95" fmla="*/ 133 h 166"/>
                <a:gd name="T96" fmla="*/ 6 w 165"/>
                <a:gd name="T97" fmla="*/ 145 h 166"/>
                <a:gd name="T98" fmla="*/ 9 w 165"/>
                <a:gd name="T99" fmla="*/ 148 h 166"/>
                <a:gd name="T100" fmla="*/ 30 w 165"/>
                <a:gd name="T101" fmla="*/ 145 h 166"/>
                <a:gd name="T102" fmla="*/ 36 w 165"/>
                <a:gd name="T103" fmla="*/ 145 h 166"/>
                <a:gd name="T104" fmla="*/ 54 w 165"/>
                <a:gd name="T105" fmla="*/ 145 h 166"/>
                <a:gd name="T106" fmla="*/ 63 w 165"/>
                <a:gd name="T107" fmla="*/ 148 h 166"/>
                <a:gd name="T108" fmla="*/ 69 w 165"/>
                <a:gd name="T109" fmla="*/ 154 h 166"/>
                <a:gd name="T110" fmla="*/ 72 w 165"/>
                <a:gd name="T111" fmla="*/ 160 h 166"/>
                <a:gd name="T112" fmla="*/ 81 w 165"/>
                <a:gd name="T113" fmla="*/ 166 h 166"/>
                <a:gd name="T114" fmla="*/ 84 w 165"/>
                <a:gd name="T115" fmla="*/ 166 h 166"/>
                <a:gd name="T116" fmla="*/ 93 w 165"/>
                <a:gd name="T117"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6">
                  <a:moveTo>
                    <a:pt x="93" y="157"/>
                  </a:moveTo>
                  <a:cubicBezTo>
                    <a:pt x="102" y="160"/>
                    <a:pt x="102" y="157"/>
                    <a:pt x="105" y="157"/>
                  </a:cubicBezTo>
                  <a:cubicBezTo>
                    <a:pt x="108" y="160"/>
                    <a:pt x="111" y="157"/>
                    <a:pt x="114" y="157"/>
                  </a:cubicBezTo>
                  <a:cubicBezTo>
                    <a:pt x="114" y="154"/>
                    <a:pt x="111" y="148"/>
                    <a:pt x="111" y="145"/>
                  </a:cubicBezTo>
                  <a:cubicBezTo>
                    <a:pt x="108" y="142"/>
                    <a:pt x="105" y="139"/>
                    <a:pt x="105" y="133"/>
                  </a:cubicBezTo>
                  <a:cubicBezTo>
                    <a:pt x="105" y="130"/>
                    <a:pt x="99" y="130"/>
                    <a:pt x="99" y="127"/>
                  </a:cubicBezTo>
                  <a:cubicBezTo>
                    <a:pt x="99" y="121"/>
                    <a:pt x="105" y="115"/>
                    <a:pt x="105" y="115"/>
                  </a:cubicBezTo>
                  <a:cubicBezTo>
                    <a:pt x="108" y="115"/>
                    <a:pt x="114" y="118"/>
                    <a:pt x="114" y="115"/>
                  </a:cubicBezTo>
                  <a:cubicBezTo>
                    <a:pt x="117" y="111"/>
                    <a:pt x="120" y="115"/>
                    <a:pt x="123" y="115"/>
                  </a:cubicBezTo>
                  <a:cubicBezTo>
                    <a:pt x="123" y="115"/>
                    <a:pt x="129" y="111"/>
                    <a:pt x="129" y="105"/>
                  </a:cubicBezTo>
                  <a:cubicBezTo>
                    <a:pt x="129" y="102"/>
                    <a:pt x="135" y="102"/>
                    <a:pt x="138" y="99"/>
                  </a:cubicBezTo>
                  <a:cubicBezTo>
                    <a:pt x="138" y="99"/>
                    <a:pt x="141" y="90"/>
                    <a:pt x="141" y="87"/>
                  </a:cubicBezTo>
                  <a:cubicBezTo>
                    <a:pt x="144" y="87"/>
                    <a:pt x="150" y="87"/>
                    <a:pt x="150" y="84"/>
                  </a:cubicBezTo>
                  <a:cubicBezTo>
                    <a:pt x="150" y="78"/>
                    <a:pt x="150" y="78"/>
                    <a:pt x="153" y="78"/>
                  </a:cubicBezTo>
                  <a:cubicBezTo>
                    <a:pt x="156" y="75"/>
                    <a:pt x="156" y="72"/>
                    <a:pt x="156" y="69"/>
                  </a:cubicBezTo>
                  <a:cubicBezTo>
                    <a:pt x="156" y="66"/>
                    <a:pt x="159" y="60"/>
                    <a:pt x="162" y="60"/>
                  </a:cubicBezTo>
                  <a:cubicBezTo>
                    <a:pt x="165" y="60"/>
                    <a:pt x="162" y="54"/>
                    <a:pt x="156" y="54"/>
                  </a:cubicBezTo>
                  <a:cubicBezTo>
                    <a:pt x="153" y="57"/>
                    <a:pt x="150" y="45"/>
                    <a:pt x="150" y="45"/>
                  </a:cubicBezTo>
                  <a:cubicBezTo>
                    <a:pt x="150" y="45"/>
                    <a:pt x="150" y="36"/>
                    <a:pt x="147" y="33"/>
                  </a:cubicBezTo>
                  <a:cubicBezTo>
                    <a:pt x="147" y="33"/>
                    <a:pt x="150" y="27"/>
                    <a:pt x="153" y="27"/>
                  </a:cubicBezTo>
                  <a:cubicBezTo>
                    <a:pt x="153" y="26"/>
                    <a:pt x="152" y="23"/>
                    <a:pt x="147" y="19"/>
                  </a:cubicBezTo>
                  <a:cubicBezTo>
                    <a:pt x="141" y="15"/>
                    <a:pt x="134" y="11"/>
                    <a:pt x="135" y="10"/>
                  </a:cubicBezTo>
                  <a:cubicBezTo>
                    <a:pt x="138" y="7"/>
                    <a:pt x="140" y="3"/>
                    <a:pt x="143" y="3"/>
                  </a:cubicBezTo>
                  <a:cubicBezTo>
                    <a:pt x="149" y="3"/>
                    <a:pt x="152" y="0"/>
                    <a:pt x="152" y="0"/>
                  </a:cubicBezTo>
                  <a:cubicBezTo>
                    <a:pt x="149" y="0"/>
                    <a:pt x="146" y="0"/>
                    <a:pt x="144" y="0"/>
                  </a:cubicBezTo>
                  <a:cubicBezTo>
                    <a:pt x="141" y="0"/>
                    <a:pt x="132" y="3"/>
                    <a:pt x="129" y="6"/>
                  </a:cubicBezTo>
                  <a:cubicBezTo>
                    <a:pt x="129" y="6"/>
                    <a:pt x="126" y="6"/>
                    <a:pt x="123" y="6"/>
                  </a:cubicBezTo>
                  <a:cubicBezTo>
                    <a:pt x="123" y="6"/>
                    <a:pt x="123" y="6"/>
                    <a:pt x="123" y="9"/>
                  </a:cubicBezTo>
                  <a:cubicBezTo>
                    <a:pt x="120" y="9"/>
                    <a:pt x="117" y="12"/>
                    <a:pt x="120" y="12"/>
                  </a:cubicBezTo>
                  <a:cubicBezTo>
                    <a:pt x="123" y="15"/>
                    <a:pt x="123" y="18"/>
                    <a:pt x="123" y="21"/>
                  </a:cubicBezTo>
                  <a:cubicBezTo>
                    <a:pt x="123" y="24"/>
                    <a:pt x="117" y="24"/>
                    <a:pt x="117" y="27"/>
                  </a:cubicBezTo>
                  <a:cubicBezTo>
                    <a:pt x="114" y="30"/>
                    <a:pt x="117" y="33"/>
                    <a:pt x="117" y="36"/>
                  </a:cubicBezTo>
                  <a:cubicBezTo>
                    <a:pt x="114" y="39"/>
                    <a:pt x="105" y="36"/>
                    <a:pt x="102" y="36"/>
                  </a:cubicBezTo>
                  <a:cubicBezTo>
                    <a:pt x="102" y="39"/>
                    <a:pt x="105" y="42"/>
                    <a:pt x="108" y="45"/>
                  </a:cubicBezTo>
                  <a:cubicBezTo>
                    <a:pt x="108" y="45"/>
                    <a:pt x="102" y="48"/>
                    <a:pt x="99" y="48"/>
                  </a:cubicBezTo>
                  <a:cubicBezTo>
                    <a:pt x="96" y="48"/>
                    <a:pt x="96" y="54"/>
                    <a:pt x="96" y="60"/>
                  </a:cubicBezTo>
                  <a:cubicBezTo>
                    <a:pt x="96" y="66"/>
                    <a:pt x="90" y="69"/>
                    <a:pt x="90" y="66"/>
                  </a:cubicBezTo>
                  <a:cubicBezTo>
                    <a:pt x="90" y="63"/>
                    <a:pt x="78" y="66"/>
                    <a:pt x="78" y="69"/>
                  </a:cubicBezTo>
                  <a:cubicBezTo>
                    <a:pt x="78" y="72"/>
                    <a:pt x="75" y="72"/>
                    <a:pt x="69" y="72"/>
                  </a:cubicBezTo>
                  <a:cubicBezTo>
                    <a:pt x="66" y="72"/>
                    <a:pt x="63" y="75"/>
                    <a:pt x="60" y="78"/>
                  </a:cubicBezTo>
                  <a:cubicBezTo>
                    <a:pt x="63" y="87"/>
                    <a:pt x="63" y="87"/>
                    <a:pt x="63" y="87"/>
                  </a:cubicBezTo>
                  <a:cubicBezTo>
                    <a:pt x="63" y="90"/>
                    <a:pt x="24" y="96"/>
                    <a:pt x="18" y="93"/>
                  </a:cubicBezTo>
                  <a:cubicBezTo>
                    <a:pt x="12" y="93"/>
                    <a:pt x="6" y="93"/>
                    <a:pt x="0" y="93"/>
                  </a:cubicBezTo>
                  <a:cubicBezTo>
                    <a:pt x="3" y="93"/>
                    <a:pt x="3" y="96"/>
                    <a:pt x="6" y="99"/>
                  </a:cubicBezTo>
                  <a:cubicBezTo>
                    <a:pt x="6" y="102"/>
                    <a:pt x="12" y="105"/>
                    <a:pt x="18" y="108"/>
                  </a:cubicBezTo>
                  <a:cubicBezTo>
                    <a:pt x="21" y="111"/>
                    <a:pt x="18" y="121"/>
                    <a:pt x="21" y="121"/>
                  </a:cubicBezTo>
                  <a:cubicBezTo>
                    <a:pt x="24" y="121"/>
                    <a:pt x="27" y="130"/>
                    <a:pt x="24" y="130"/>
                  </a:cubicBezTo>
                  <a:cubicBezTo>
                    <a:pt x="21" y="130"/>
                    <a:pt x="18" y="130"/>
                    <a:pt x="15" y="133"/>
                  </a:cubicBezTo>
                  <a:cubicBezTo>
                    <a:pt x="12" y="136"/>
                    <a:pt x="6" y="139"/>
                    <a:pt x="6" y="145"/>
                  </a:cubicBezTo>
                  <a:cubicBezTo>
                    <a:pt x="6" y="145"/>
                    <a:pt x="6" y="145"/>
                    <a:pt x="9" y="148"/>
                  </a:cubicBezTo>
                  <a:cubicBezTo>
                    <a:pt x="18" y="148"/>
                    <a:pt x="27" y="148"/>
                    <a:pt x="30" y="145"/>
                  </a:cubicBezTo>
                  <a:cubicBezTo>
                    <a:pt x="30" y="145"/>
                    <a:pt x="36" y="142"/>
                    <a:pt x="36" y="145"/>
                  </a:cubicBezTo>
                  <a:cubicBezTo>
                    <a:pt x="39" y="145"/>
                    <a:pt x="51" y="148"/>
                    <a:pt x="54" y="145"/>
                  </a:cubicBezTo>
                  <a:cubicBezTo>
                    <a:pt x="60" y="142"/>
                    <a:pt x="63" y="145"/>
                    <a:pt x="63" y="148"/>
                  </a:cubicBezTo>
                  <a:cubicBezTo>
                    <a:pt x="66" y="151"/>
                    <a:pt x="66" y="151"/>
                    <a:pt x="69" y="154"/>
                  </a:cubicBezTo>
                  <a:cubicBezTo>
                    <a:pt x="72" y="154"/>
                    <a:pt x="69" y="157"/>
                    <a:pt x="72" y="160"/>
                  </a:cubicBezTo>
                  <a:cubicBezTo>
                    <a:pt x="75" y="163"/>
                    <a:pt x="78" y="163"/>
                    <a:pt x="81" y="166"/>
                  </a:cubicBezTo>
                  <a:cubicBezTo>
                    <a:pt x="84" y="166"/>
                    <a:pt x="84" y="166"/>
                    <a:pt x="84" y="166"/>
                  </a:cubicBezTo>
                  <a:cubicBezTo>
                    <a:pt x="87" y="163"/>
                    <a:pt x="87" y="157"/>
                    <a:pt x="93" y="1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1" name="Freeform 996"/>
            <p:cNvSpPr>
              <a:spLocks/>
            </p:cNvSpPr>
            <p:nvPr userDrawn="1"/>
          </p:nvSpPr>
          <p:spPr bwMode="auto">
            <a:xfrm>
              <a:off x="4549" y="-1825"/>
              <a:ext cx="257" cy="259"/>
            </a:xfrm>
            <a:custGeom>
              <a:avLst/>
              <a:gdLst>
                <a:gd name="T0" fmla="*/ 93 w 165"/>
                <a:gd name="T1" fmla="*/ 157 h 166"/>
                <a:gd name="T2" fmla="*/ 105 w 165"/>
                <a:gd name="T3" fmla="*/ 157 h 166"/>
                <a:gd name="T4" fmla="*/ 114 w 165"/>
                <a:gd name="T5" fmla="*/ 157 h 166"/>
                <a:gd name="T6" fmla="*/ 111 w 165"/>
                <a:gd name="T7" fmla="*/ 145 h 166"/>
                <a:gd name="T8" fmla="*/ 105 w 165"/>
                <a:gd name="T9" fmla="*/ 133 h 166"/>
                <a:gd name="T10" fmla="*/ 99 w 165"/>
                <a:gd name="T11" fmla="*/ 127 h 166"/>
                <a:gd name="T12" fmla="*/ 105 w 165"/>
                <a:gd name="T13" fmla="*/ 115 h 166"/>
                <a:gd name="T14" fmla="*/ 114 w 165"/>
                <a:gd name="T15" fmla="*/ 115 h 166"/>
                <a:gd name="T16" fmla="*/ 123 w 165"/>
                <a:gd name="T17" fmla="*/ 115 h 166"/>
                <a:gd name="T18" fmla="*/ 129 w 165"/>
                <a:gd name="T19" fmla="*/ 105 h 166"/>
                <a:gd name="T20" fmla="*/ 138 w 165"/>
                <a:gd name="T21" fmla="*/ 99 h 166"/>
                <a:gd name="T22" fmla="*/ 141 w 165"/>
                <a:gd name="T23" fmla="*/ 87 h 166"/>
                <a:gd name="T24" fmla="*/ 150 w 165"/>
                <a:gd name="T25" fmla="*/ 84 h 166"/>
                <a:gd name="T26" fmla="*/ 153 w 165"/>
                <a:gd name="T27" fmla="*/ 78 h 166"/>
                <a:gd name="T28" fmla="*/ 156 w 165"/>
                <a:gd name="T29" fmla="*/ 69 h 166"/>
                <a:gd name="T30" fmla="*/ 162 w 165"/>
                <a:gd name="T31" fmla="*/ 60 h 166"/>
                <a:gd name="T32" fmla="*/ 156 w 165"/>
                <a:gd name="T33" fmla="*/ 54 h 166"/>
                <a:gd name="T34" fmla="*/ 150 w 165"/>
                <a:gd name="T35" fmla="*/ 45 h 166"/>
                <a:gd name="T36" fmla="*/ 147 w 165"/>
                <a:gd name="T37" fmla="*/ 33 h 166"/>
                <a:gd name="T38" fmla="*/ 153 w 165"/>
                <a:gd name="T39" fmla="*/ 27 h 166"/>
                <a:gd name="T40" fmla="*/ 147 w 165"/>
                <a:gd name="T41" fmla="*/ 19 h 166"/>
                <a:gd name="T42" fmla="*/ 135 w 165"/>
                <a:gd name="T43" fmla="*/ 10 h 166"/>
                <a:gd name="T44" fmla="*/ 143 w 165"/>
                <a:gd name="T45" fmla="*/ 3 h 166"/>
                <a:gd name="T46" fmla="*/ 152 w 165"/>
                <a:gd name="T47" fmla="*/ 0 h 166"/>
                <a:gd name="T48" fmla="*/ 144 w 165"/>
                <a:gd name="T49" fmla="*/ 0 h 166"/>
                <a:gd name="T50" fmla="*/ 129 w 165"/>
                <a:gd name="T51" fmla="*/ 6 h 166"/>
                <a:gd name="T52" fmla="*/ 123 w 165"/>
                <a:gd name="T53" fmla="*/ 6 h 166"/>
                <a:gd name="T54" fmla="*/ 123 w 165"/>
                <a:gd name="T55" fmla="*/ 9 h 166"/>
                <a:gd name="T56" fmla="*/ 120 w 165"/>
                <a:gd name="T57" fmla="*/ 12 h 166"/>
                <a:gd name="T58" fmla="*/ 123 w 165"/>
                <a:gd name="T59" fmla="*/ 21 h 166"/>
                <a:gd name="T60" fmla="*/ 117 w 165"/>
                <a:gd name="T61" fmla="*/ 27 h 166"/>
                <a:gd name="T62" fmla="*/ 117 w 165"/>
                <a:gd name="T63" fmla="*/ 36 h 166"/>
                <a:gd name="T64" fmla="*/ 102 w 165"/>
                <a:gd name="T65" fmla="*/ 36 h 166"/>
                <a:gd name="T66" fmla="*/ 108 w 165"/>
                <a:gd name="T67" fmla="*/ 45 h 166"/>
                <a:gd name="T68" fmla="*/ 99 w 165"/>
                <a:gd name="T69" fmla="*/ 48 h 166"/>
                <a:gd name="T70" fmla="*/ 96 w 165"/>
                <a:gd name="T71" fmla="*/ 60 h 166"/>
                <a:gd name="T72" fmla="*/ 90 w 165"/>
                <a:gd name="T73" fmla="*/ 66 h 166"/>
                <a:gd name="T74" fmla="*/ 78 w 165"/>
                <a:gd name="T75" fmla="*/ 69 h 166"/>
                <a:gd name="T76" fmla="*/ 69 w 165"/>
                <a:gd name="T77" fmla="*/ 72 h 166"/>
                <a:gd name="T78" fmla="*/ 60 w 165"/>
                <a:gd name="T79" fmla="*/ 78 h 166"/>
                <a:gd name="T80" fmla="*/ 63 w 165"/>
                <a:gd name="T81" fmla="*/ 87 h 166"/>
                <a:gd name="T82" fmla="*/ 18 w 165"/>
                <a:gd name="T83" fmla="*/ 93 h 166"/>
                <a:gd name="T84" fmla="*/ 0 w 165"/>
                <a:gd name="T85" fmla="*/ 93 h 166"/>
                <a:gd name="T86" fmla="*/ 6 w 165"/>
                <a:gd name="T87" fmla="*/ 99 h 166"/>
                <a:gd name="T88" fmla="*/ 18 w 165"/>
                <a:gd name="T89" fmla="*/ 108 h 166"/>
                <a:gd name="T90" fmla="*/ 21 w 165"/>
                <a:gd name="T91" fmla="*/ 121 h 166"/>
                <a:gd name="T92" fmla="*/ 24 w 165"/>
                <a:gd name="T93" fmla="*/ 130 h 166"/>
                <a:gd name="T94" fmla="*/ 15 w 165"/>
                <a:gd name="T95" fmla="*/ 133 h 166"/>
                <a:gd name="T96" fmla="*/ 6 w 165"/>
                <a:gd name="T97" fmla="*/ 145 h 166"/>
                <a:gd name="T98" fmla="*/ 9 w 165"/>
                <a:gd name="T99" fmla="*/ 148 h 166"/>
                <a:gd name="T100" fmla="*/ 30 w 165"/>
                <a:gd name="T101" fmla="*/ 145 h 166"/>
                <a:gd name="T102" fmla="*/ 36 w 165"/>
                <a:gd name="T103" fmla="*/ 145 h 166"/>
                <a:gd name="T104" fmla="*/ 54 w 165"/>
                <a:gd name="T105" fmla="*/ 145 h 166"/>
                <a:gd name="T106" fmla="*/ 63 w 165"/>
                <a:gd name="T107" fmla="*/ 148 h 166"/>
                <a:gd name="T108" fmla="*/ 69 w 165"/>
                <a:gd name="T109" fmla="*/ 154 h 166"/>
                <a:gd name="T110" fmla="*/ 72 w 165"/>
                <a:gd name="T111" fmla="*/ 160 h 166"/>
                <a:gd name="T112" fmla="*/ 81 w 165"/>
                <a:gd name="T113" fmla="*/ 166 h 166"/>
                <a:gd name="T114" fmla="*/ 84 w 165"/>
                <a:gd name="T115" fmla="*/ 166 h 166"/>
                <a:gd name="T116" fmla="*/ 93 w 165"/>
                <a:gd name="T117"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6">
                  <a:moveTo>
                    <a:pt x="93" y="157"/>
                  </a:moveTo>
                  <a:cubicBezTo>
                    <a:pt x="102" y="160"/>
                    <a:pt x="102" y="157"/>
                    <a:pt x="105" y="157"/>
                  </a:cubicBezTo>
                  <a:cubicBezTo>
                    <a:pt x="108" y="160"/>
                    <a:pt x="111" y="157"/>
                    <a:pt x="114" y="157"/>
                  </a:cubicBezTo>
                  <a:cubicBezTo>
                    <a:pt x="114" y="154"/>
                    <a:pt x="111" y="148"/>
                    <a:pt x="111" y="145"/>
                  </a:cubicBezTo>
                  <a:cubicBezTo>
                    <a:pt x="108" y="142"/>
                    <a:pt x="105" y="139"/>
                    <a:pt x="105" y="133"/>
                  </a:cubicBezTo>
                  <a:cubicBezTo>
                    <a:pt x="105" y="130"/>
                    <a:pt x="99" y="130"/>
                    <a:pt x="99" y="127"/>
                  </a:cubicBezTo>
                  <a:cubicBezTo>
                    <a:pt x="99" y="121"/>
                    <a:pt x="105" y="115"/>
                    <a:pt x="105" y="115"/>
                  </a:cubicBezTo>
                  <a:cubicBezTo>
                    <a:pt x="108" y="115"/>
                    <a:pt x="114" y="118"/>
                    <a:pt x="114" y="115"/>
                  </a:cubicBezTo>
                  <a:cubicBezTo>
                    <a:pt x="117" y="111"/>
                    <a:pt x="120" y="115"/>
                    <a:pt x="123" y="115"/>
                  </a:cubicBezTo>
                  <a:cubicBezTo>
                    <a:pt x="123" y="115"/>
                    <a:pt x="129" y="111"/>
                    <a:pt x="129" y="105"/>
                  </a:cubicBezTo>
                  <a:cubicBezTo>
                    <a:pt x="129" y="102"/>
                    <a:pt x="135" y="102"/>
                    <a:pt x="138" y="99"/>
                  </a:cubicBezTo>
                  <a:cubicBezTo>
                    <a:pt x="138" y="99"/>
                    <a:pt x="141" y="90"/>
                    <a:pt x="141" y="87"/>
                  </a:cubicBezTo>
                  <a:cubicBezTo>
                    <a:pt x="144" y="87"/>
                    <a:pt x="150" y="87"/>
                    <a:pt x="150" y="84"/>
                  </a:cubicBezTo>
                  <a:cubicBezTo>
                    <a:pt x="150" y="78"/>
                    <a:pt x="150" y="78"/>
                    <a:pt x="153" y="78"/>
                  </a:cubicBezTo>
                  <a:cubicBezTo>
                    <a:pt x="156" y="75"/>
                    <a:pt x="156" y="72"/>
                    <a:pt x="156" y="69"/>
                  </a:cubicBezTo>
                  <a:cubicBezTo>
                    <a:pt x="156" y="66"/>
                    <a:pt x="159" y="60"/>
                    <a:pt x="162" y="60"/>
                  </a:cubicBezTo>
                  <a:cubicBezTo>
                    <a:pt x="165" y="60"/>
                    <a:pt x="162" y="54"/>
                    <a:pt x="156" y="54"/>
                  </a:cubicBezTo>
                  <a:cubicBezTo>
                    <a:pt x="153" y="57"/>
                    <a:pt x="150" y="45"/>
                    <a:pt x="150" y="45"/>
                  </a:cubicBezTo>
                  <a:cubicBezTo>
                    <a:pt x="150" y="45"/>
                    <a:pt x="150" y="36"/>
                    <a:pt x="147" y="33"/>
                  </a:cubicBezTo>
                  <a:cubicBezTo>
                    <a:pt x="147" y="33"/>
                    <a:pt x="150" y="27"/>
                    <a:pt x="153" y="27"/>
                  </a:cubicBezTo>
                  <a:cubicBezTo>
                    <a:pt x="153" y="26"/>
                    <a:pt x="152" y="23"/>
                    <a:pt x="147" y="19"/>
                  </a:cubicBezTo>
                  <a:cubicBezTo>
                    <a:pt x="141" y="15"/>
                    <a:pt x="134" y="11"/>
                    <a:pt x="135" y="10"/>
                  </a:cubicBezTo>
                  <a:cubicBezTo>
                    <a:pt x="138" y="7"/>
                    <a:pt x="140" y="3"/>
                    <a:pt x="143" y="3"/>
                  </a:cubicBezTo>
                  <a:cubicBezTo>
                    <a:pt x="149" y="3"/>
                    <a:pt x="152" y="0"/>
                    <a:pt x="152" y="0"/>
                  </a:cubicBezTo>
                  <a:cubicBezTo>
                    <a:pt x="149" y="0"/>
                    <a:pt x="146" y="0"/>
                    <a:pt x="144" y="0"/>
                  </a:cubicBezTo>
                  <a:cubicBezTo>
                    <a:pt x="141" y="0"/>
                    <a:pt x="132" y="3"/>
                    <a:pt x="129" y="6"/>
                  </a:cubicBezTo>
                  <a:cubicBezTo>
                    <a:pt x="129" y="6"/>
                    <a:pt x="126" y="6"/>
                    <a:pt x="123" y="6"/>
                  </a:cubicBezTo>
                  <a:cubicBezTo>
                    <a:pt x="123" y="6"/>
                    <a:pt x="123" y="6"/>
                    <a:pt x="123" y="9"/>
                  </a:cubicBezTo>
                  <a:cubicBezTo>
                    <a:pt x="120" y="9"/>
                    <a:pt x="117" y="12"/>
                    <a:pt x="120" y="12"/>
                  </a:cubicBezTo>
                  <a:cubicBezTo>
                    <a:pt x="123" y="15"/>
                    <a:pt x="123" y="18"/>
                    <a:pt x="123" y="21"/>
                  </a:cubicBezTo>
                  <a:cubicBezTo>
                    <a:pt x="123" y="24"/>
                    <a:pt x="117" y="24"/>
                    <a:pt x="117" y="27"/>
                  </a:cubicBezTo>
                  <a:cubicBezTo>
                    <a:pt x="114" y="30"/>
                    <a:pt x="117" y="33"/>
                    <a:pt x="117" y="36"/>
                  </a:cubicBezTo>
                  <a:cubicBezTo>
                    <a:pt x="114" y="39"/>
                    <a:pt x="105" y="36"/>
                    <a:pt x="102" y="36"/>
                  </a:cubicBezTo>
                  <a:cubicBezTo>
                    <a:pt x="102" y="39"/>
                    <a:pt x="105" y="42"/>
                    <a:pt x="108" y="45"/>
                  </a:cubicBezTo>
                  <a:cubicBezTo>
                    <a:pt x="108" y="45"/>
                    <a:pt x="102" y="48"/>
                    <a:pt x="99" y="48"/>
                  </a:cubicBezTo>
                  <a:cubicBezTo>
                    <a:pt x="96" y="48"/>
                    <a:pt x="96" y="54"/>
                    <a:pt x="96" y="60"/>
                  </a:cubicBezTo>
                  <a:cubicBezTo>
                    <a:pt x="96" y="66"/>
                    <a:pt x="90" y="69"/>
                    <a:pt x="90" y="66"/>
                  </a:cubicBezTo>
                  <a:cubicBezTo>
                    <a:pt x="90" y="63"/>
                    <a:pt x="78" y="66"/>
                    <a:pt x="78" y="69"/>
                  </a:cubicBezTo>
                  <a:cubicBezTo>
                    <a:pt x="78" y="72"/>
                    <a:pt x="75" y="72"/>
                    <a:pt x="69" y="72"/>
                  </a:cubicBezTo>
                  <a:cubicBezTo>
                    <a:pt x="66" y="72"/>
                    <a:pt x="63" y="75"/>
                    <a:pt x="60" y="78"/>
                  </a:cubicBezTo>
                  <a:cubicBezTo>
                    <a:pt x="63" y="87"/>
                    <a:pt x="63" y="87"/>
                    <a:pt x="63" y="87"/>
                  </a:cubicBezTo>
                  <a:cubicBezTo>
                    <a:pt x="63" y="90"/>
                    <a:pt x="24" y="96"/>
                    <a:pt x="18" y="93"/>
                  </a:cubicBezTo>
                  <a:cubicBezTo>
                    <a:pt x="12" y="93"/>
                    <a:pt x="6" y="93"/>
                    <a:pt x="0" y="93"/>
                  </a:cubicBezTo>
                  <a:cubicBezTo>
                    <a:pt x="3" y="93"/>
                    <a:pt x="3" y="96"/>
                    <a:pt x="6" y="99"/>
                  </a:cubicBezTo>
                  <a:cubicBezTo>
                    <a:pt x="6" y="102"/>
                    <a:pt x="12" y="105"/>
                    <a:pt x="18" y="108"/>
                  </a:cubicBezTo>
                  <a:cubicBezTo>
                    <a:pt x="21" y="111"/>
                    <a:pt x="18" y="121"/>
                    <a:pt x="21" y="121"/>
                  </a:cubicBezTo>
                  <a:cubicBezTo>
                    <a:pt x="24" y="121"/>
                    <a:pt x="27" y="130"/>
                    <a:pt x="24" y="130"/>
                  </a:cubicBezTo>
                  <a:cubicBezTo>
                    <a:pt x="21" y="130"/>
                    <a:pt x="18" y="130"/>
                    <a:pt x="15" y="133"/>
                  </a:cubicBezTo>
                  <a:cubicBezTo>
                    <a:pt x="12" y="136"/>
                    <a:pt x="6" y="139"/>
                    <a:pt x="6" y="145"/>
                  </a:cubicBezTo>
                  <a:cubicBezTo>
                    <a:pt x="6" y="145"/>
                    <a:pt x="6" y="145"/>
                    <a:pt x="9" y="148"/>
                  </a:cubicBezTo>
                  <a:cubicBezTo>
                    <a:pt x="18" y="148"/>
                    <a:pt x="27" y="148"/>
                    <a:pt x="30" y="145"/>
                  </a:cubicBezTo>
                  <a:cubicBezTo>
                    <a:pt x="30" y="145"/>
                    <a:pt x="36" y="142"/>
                    <a:pt x="36" y="145"/>
                  </a:cubicBezTo>
                  <a:cubicBezTo>
                    <a:pt x="39" y="145"/>
                    <a:pt x="51" y="148"/>
                    <a:pt x="54" y="145"/>
                  </a:cubicBezTo>
                  <a:cubicBezTo>
                    <a:pt x="60" y="142"/>
                    <a:pt x="63" y="145"/>
                    <a:pt x="63" y="148"/>
                  </a:cubicBezTo>
                  <a:cubicBezTo>
                    <a:pt x="66" y="151"/>
                    <a:pt x="66" y="151"/>
                    <a:pt x="69" y="154"/>
                  </a:cubicBezTo>
                  <a:cubicBezTo>
                    <a:pt x="72" y="154"/>
                    <a:pt x="69" y="157"/>
                    <a:pt x="72" y="160"/>
                  </a:cubicBezTo>
                  <a:cubicBezTo>
                    <a:pt x="75" y="163"/>
                    <a:pt x="78" y="163"/>
                    <a:pt x="81" y="166"/>
                  </a:cubicBezTo>
                  <a:cubicBezTo>
                    <a:pt x="84" y="166"/>
                    <a:pt x="84" y="166"/>
                    <a:pt x="84" y="166"/>
                  </a:cubicBezTo>
                  <a:cubicBezTo>
                    <a:pt x="87" y="163"/>
                    <a:pt x="87" y="157"/>
                    <a:pt x="93" y="157"/>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2" name="Freeform 997"/>
            <p:cNvSpPr>
              <a:spLocks/>
            </p:cNvSpPr>
            <p:nvPr userDrawn="1"/>
          </p:nvSpPr>
          <p:spPr bwMode="auto">
            <a:xfrm>
              <a:off x="4666" y="-1909"/>
              <a:ext cx="134" cy="89"/>
            </a:xfrm>
            <a:custGeom>
              <a:avLst/>
              <a:gdLst>
                <a:gd name="T0" fmla="*/ 21 w 86"/>
                <a:gd name="T1" fmla="*/ 48 h 57"/>
                <a:gd name="T2" fmla="*/ 33 w 86"/>
                <a:gd name="T3" fmla="*/ 42 h 57"/>
                <a:gd name="T4" fmla="*/ 42 w 86"/>
                <a:gd name="T5" fmla="*/ 33 h 57"/>
                <a:gd name="T6" fmla="*/ 48 w 86"/>
                <a:gd name="T7" fmla="*/ 42 h 57"/>
                <a:gd name="T8" fmla="*/ 48 w 86"/>
                <a:gd name="T9" fmla="*/ 57 h 57"/>
                <a:gd name="T10" fmla="*/ 51 w 86"/>
                <a:gd name="T11" fmla="*/ 57 h 57"/>
                <a:gd name="T12" fmla="*/ 57 w 86"/>
                <a:gd name="T13" fmla="*/ 54 h 57"/>
                <a:gd name="T14" fmla="*/ 72 w 86"/>
                <a:gd name="T15" fmla="*/ 45 h 57"/>
                <a:gd name="T16" fmla="*/ 75 w 86"/>
                <a:gd name="T17" fmla="*/ 51 h 57"/>
                <a:gd name="T18" fmla="*/ 81 w 86"/>
                <a:gd name="T19" fmla="*/ 51 h 57"/>
                <a:gd name="T20" fmla="*/ 86 w 86"/>
                <a:gd name="T21" fmla="*/ 49 h 57"/>
                <a:gd name="T22" fmla="*/ 84 w 86"/>
                <a:gd name="T23" fmla="*/ 36 h 57"/>
                <a:gd name="T24" fmla="*/ 72 w 86"/>
                <a:gd name="T25" fmla="*/ 30 h 57"/>
                <a:gd name="T26" fmla="*/ 72 w 86"/>
                <a:gd name="T27" fmla="*/ 18 h 57"/>
                <a:gd name="T28" fmla="*/ 57 w 86"/>
                <a:gd name="T29" fmla="*/ 21 h 57"/>
                <a:gd name="T30" fmla="*/ 48 w 86"/>
                <a:gd name="T31" fmla="*/ 18 h 57"/>
                <a:gd name="T32" fmla="*/ 36 w 86"/>
                <a:gd name="T33" fmla="*/ 18 h 57"/>
                <a:gd name="T34" fmla="*/ 21 w 86"/>
                <a:gd name="T35" fmla="*/ 18 h 57"/>
                <a:gd name="T36" fmla="*/ 30 w 86"/>
                <a:gd name="T37" fmla="*/ 9 h 57"/>
                <a:gd name="T38" fmla="*/ 33 w 86"/>
                <a:gd name="T39" fmla="*/ 9 h 57"/>
                <a:gd name="T40" fmla="*/ 36 w 86"/>
                <a:gd name="T41" fmla="*/ 0 h 57"/>
                <a:gd name="T42" fmla="*/ 30 w 86"/>
                <a:gd name="T43" fmla="*/ 3 h 57"/>
                <a:gd name="T44" fmla="*/ 21 w 86"/>
                <a:gd name="T45" fmla="*/ 6 h 57"/>
                <a:gd name="T46" fmla="*/ 15 w 86"/>
                <a:gd name="T47" fmla="*/ 12 h 57"/>
                <a:gd name="T48" fmla="*/ 12 w 86"/>
                <a:gd name="T49" fmla="*/ 18 h 57"/>
                <a:gd name="T50" fmla="*/ 0 w 86"/>
                <a:gd name="T51" fmla="*/ 21 h 57"/>
                <a:gd name="T52" fmla="*/ 9 w 86"/>
                <a:gd name="T53" fmla="*/ 30 h 57"/>
                <a:gd name="T54" fmla="*/ 9 w 86"/>
                <a:gd name="T55" fmla="*/ 39 h 57"/>
                <a:gd name="T56" fmla="*/ 3 w 86"/>
                <a:gd name="T57" fmla="*/ 51 h 57"/>
                <a:gd name="T58" fmla="*/ 9 w 86"/>
                <a:gd name="T59" fmla="*/ 51 h 57"/>
                <a:gd name="T60" fmla="*/ 21 w 86"/>
                <a:gd name="T61"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7">
                  <a:moveTo>
                    <a:pt x="21" y="48"/>
                  </a:moveTo>
                  <a:cubicBezTo>
                    <a:pt x="21" y="45"/>
                    <a:pt x="33" y="48"/>
                    <a:pt x="33" y="42"/>
                  </a:cubicBezTo>
                  <a:cubicBezTo>
                    <a:pt x="33" y="39"/>
                    <a:pt x="39" y="33"/>
                    <a:pt x="42" y="33"/>
                  </a:cubicBezTo>
                  <a:cubicBezTo>
                    <a:pt x="45" y="33"/>
                    <a:pt x="42" y="42"/>
                    <a:pt x="48" y="42"/>
                  </a:cubicBezTo>
                  <a:cubicBezTo>
                    <a:pt x="51" y="45"/>
                    <a:pt x="45" y="54"/>
                    <a:pt x="48" y="57"/>
                  </a:cubicBezTo>
                  <a:cubicBezTo>
                    <a:pt x="51" y="57"/>
                    <a:pt x="51" y="57"/>
                    <a:pt x="51" y="57"/>
                  </a:cubicBezTo>
                  <a:cubicBezTo>
                    <a:pt x="54" y="57"/>
                    <a:pt x="57" y="54"/>
                    <a:pt x="57" y="54"/>
                  </a:cubicBezTo>
                  <a:cubicBezTo>
                    <a:pt x="63" y="51"/>
                    <a:pt x="69" y="45"/>
                    <a:pt x="72" y="45"/>
                  </a:cubicBezTo>
                  <a:cubicBezTo>
                    <a:pt x="72" y="48"/>
                    <a:pt x="72" y="51"/>
                    <a:pt x="75" y="51"/>
                  </a:cubicBezTo>
                  <a:cubicBezTo>
                    <a:pt x="77" y="49"/>
                    <a:pt x="79" y="50"/>
                    <a:pt x="81" y="51"/>
                  </a:cubicBezTo>
                  <a:cubicBezTo>
                    <a:pt x="83" y="50"/>
                    <a:pt x="84" y="49"/>
                    <a:pt x="86" y="49"/>
                  </a:cubicBezTo>
                  <a:cubicBezTo>
                    <a:pt x="85" y="45"/>
                    <a:pt x="84" y="39"/>
                    <a:pt x="84" y="36"/>
                  </a:cubicBezTo>
                  <a:cubicBezTo>
                    <a:pt x="84" y="33"/>
                    <a:pt x="72" y="30"/>
                    <a:pt x="72" y="30"/>
                  </a:cubicBezTo>
                  <a:cubicBezTo>
                    <a:pt x="72" y="18"/>
                    <a:pt x="72" y="18"/>
                    <a:pt x="72" y="18"/>
                  </a:cubicBezTo>
                  <a:cubicBezTo>
                    <a:pt x="72" y="18"/>
                    <a:pt x="60" y="21"/>
                    <a:pt x="57" y="21"/>
                  </a:cubicBezTo>
                  <a:cubicBezTo>
                    <a:pt x="54" y="18"/>
                    <a:pt x="51" y="21"/>
                    <a:pt x="48" y="18"/>
                  </a:cubicBezTo>
                  <a:cubicBezTo>
                    <a:pt x="45" y="15"/>
                    <a:pt x="42" y="21"/>
                    <a:pt x="36" y="18"/>
                  </a:cubicBezTo>
                  <a:cubicBezTo>
                    <a:pt x="33" y="15"/>
                    <a:pt x="21" y="18"/>
                    <a:pt x="21" y="18"/>
                  </a:cubicBezTo>
                  <a:cubicBezTo>
                    <a:pt x="21" y="15"/>
                    <a:pt x="27" y="9"/>
                    <a:pt x="30" y="9"/>
                  </a:cubicBezTo>
                  <a:cubicBezTo>
                    <a:pt x="30" y="9"/>
                    <a:pt x="30" y="9"/>
                    <a:pt x="33" y="9"/>
                  </a:cubicBezTo>
                  <a:cubicBezTo>
                    <a:pt x="33" y="9"/>
                    <a:pt x="39" y="3"/>
                    <a:pt x="36" y="0"/>
                  </a:cubicBezTo>
                  <a:cubicBezTo>
                    <a:pt x="36" y="0"/>
                    <a:pt x="33" y="0"/>
                    <a:pt x="30" y="3"/>
                  </a:cubicBezTo>
                  <a:cubicBezTo>
                    <a:pt x="27" y="6"/>
                    <a:pt x="21" y="3"/>
                    <a:pt x="21" y="6"/>
                  </a:cubicBezTo>
                  <a:cubicBezTo>
                    <a:pt x="18" y="9"/>
                    <a:pt x="18" y="12"/>
                    <a:pt x="15" y="12"/>
                  </a:cubicBezTo>
                  <a:cubicBezTo>
                    <a:pt x="12" y="12"/>
                    <a:pt x="15" y="15"/>
                    <a:pt x="12" y="18"/>
                  </a:cubicBezTo>
                  <a:cubicBezTo>
                    <a:pt x="9" y="18"/>
                    <a:pt x="0" y="18"/>
                    <a:pt x="0" y="21"/>
                  </a:cubicBezTo>
                  <a:cubicBezTo>
                    <a:pt x="0" y="24"/>
                    <a:pt x="9" y="27"/>
                    <a:pt x="9" y="30"/>
                  </a:cubicBezTo>
                  <a:cubicBezTo>
                    <a:pt x="6" y="33"/>
                    <a:pt x="12" y="36"/>
                    <a:pt x="9" y="39"/>
                  </a:cubicBezTo>
                  <a:cubicBezTo>
                    <a:pt x="6" y="42"/>
                    <a:pt x="3" y="45"/>
                    <a:pt x="3" y="51"/>
                  </a:cubicBezTo>
                  <a:cubicBezTo>
                    <a:pt x="6" y="54"/>
                    <a:pt x="9" y="54"/>
                    <a:pt x="9" y="51"/>
                  </a:cubicBezTo>
                  <a:cubicBezTo>
                    <a:pt x="12" y="48"/>
                    <a:pt x="21" y="51"/>
                    <a:pt x="21"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3" name="Freeform 998"/>
            <p:cNvSpPr>
              <a:spLocks/>
            </p:cNvSpPr>
            <p:nvPr userDrawn="1"/>
          </p:nvSpPr>
          <p:spPr bwMode="auto">
            <a:xfrm>
              <a:off x="4666" y="-1909"/>
              <a:ext cx="134" cy="89"/>
            </a:xfrm>
            <a:custGeom>
              <a:avLst/>
              <a:gdLst>
                <a:gd name="T0" fmla="*/ 21 w 86"/>
                <a:gd name="T1" fmla="*/ 48 h 57"/>
                <a:gd name="T2" fmla="*/ 33 w 86"/>
                <a:gd name="T3" fmla="*/ 42 h 57"/>
                <a:gd name="T4" fmla="*/ 42 w 86"/>
                <a:gd name="T5" fmla="*/ 33 h 57"/>
                <a:gd name="T6" fmla="*/ 48 w 86"/>
                <a:gd name="T7" fmla="*/ 42 h 57"/>
                <a:gd name="T8" fmla="*/ 48 w 86"/>
                <a:gd name="T9" fmla="*/ 57 h 57"/>
                <a:gd name="T10" fmla="*/ 51 w 86"/>
                <a:gd name="T11" fmla="*/ 57 h 57"/>
                <a:gd name="T12" fmla="*/ 57 w 86"/>
                <a:gd name="T13" fmla="*/ 54 h 57"/>
                <a:gd name="T14" fmla="*/ 72 w 86"/>
                <a:gd name="T15" fmla="*/ 45 h 57"/>
                <a:gd name="T16" fmla="*/ 75 w 86"/>
                <a:gd name="T17" fmla="*/ 51 h 57"/>
                <a:gd name="T18" fmla="*/ 81 w 86"/>
                <a:gd name="T19" fmla="*/ 51 h 57"/>
                <a:gd name="T20" fmla="*/ 86 w 86"/>
                <a:gd name="T21" fmla="*/ 49 h 57"/>
                <a:gd name="T22" fmla="*/ 84 w 86"/>
                <a:gd name="T23" fmla="*/ 36 h 57"/>
                <a:gd name="T24" fmla="*/ 72 w 86"/>
                <a:gd name="T25" fmla="*/ 30 h 57"/>
                <a:gd name="T26" fmla="*/ 72 w 86"/>
                <a:gd name="T27" fmla="*/ 18 h 57"/>
                <a:gd name="T28" fmla="*/ 57 w 86"/>
                <a:gd name="T29" fmla="*/ 21 h 57"/>
                <a:gd name="T30" fmla="*/ 48 w 86"/>
                <a:gd name="T31" fmla="*/ 18 h 57"/>
                <a:gd name="T32" fmla="*/ 36 w 86"/>
                <a:gd name="T33" fmla="*/ 18 h 57"/>
                <a:gd name="T34" fmla="*/ 21 w 86"/>
                <a:gd name="T35" fmla="*/ 18 h 57"/>
                <a:gd name="T36" fmla="*/ 30 w 86"/>
                <a:gd name="T37" fmla="*/ 9 h 57"/>
                <a:gd name="T38" fmla="*/ 33 w 86"/>
                <a:gd name="T39" fmla="*/ 9 h 57"/>
                <a:gd name="T40" fmla="*/ 36 w 86"/>
                <a:gd name="T41" fmla="*/ 0 h 57"/>
                <a:gd name="T42" fmla="*/ 30 w 86"/>
                <a:gd name="T43" fmla="*/ 3 h 57"/>
                <a:gd name="T44" fmla="*/ 21 w 86"/>
                <a:gd name="T45" fmla="*/ 6 h 57"/>
                <a:gd name="T46" fmla="*/ 15 w 86"/>
                <a:gd name="T47" fmla="*/ 12 h 57"/>
                <a:gd name="T48" fmla="*/ 12 w 86"/>
                <a:gd name="T49" fmla="*/ 18 h 57"/>
                <a:gd name="T50" fmla="*/ 0 w 86"/>
                <a:gd name="T51" fmla="*/ 21 h 57"/>
                <a:gd name="T52" fmla="*/ 9 w 86"/>
                <a:gd name="T53" fmla="*/ 30 h 57"/>
                <a:gd name="T54" fmla="*/ 9 w 86"/>
                <a:gd name="T55" fmla="*/ 39 h 57"/>
                <a:gd name="T56" fmla="*/ 3 w 86"/>
                <a:gd name="T57" fmla="*/ 51 h 57"/>
                <a:gd name="T58" fmla="*/ 9 w 86"/>
                <a:gd name="T59" fmla="*/ 51 h 57"/>
                <a:gd name="T60" fmla="*/ 21 w 86"/>
                <a:gd name="T61"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 h="57">
                  <a:moveTo>
                    <a:pt x="21" y="48"/>
                  </a:moveTo>
                  <a:cubicBezTo>
                    <a:pt x="21" y="45"/>
                    <a:pt x="33" y="48"/>
                    <a:pt x="33" y="42"/>
                  </a:cubicBezTo>
                  <a:cubicBezTo>
                    <a:pt x="33" y="39"/>
                    <a:pt x="39" y="33"/>
                    <a:pt x="42" y="33"/>
                  </a:cubicBezTo>
                  <a:cubicBezTo>
                    <a:pt x="45" y="33"/>
                    <a:pt x="42" y="42"/>
                    <a:pt x="48" y="42"/>
                  </a:cubicBezTo>
                  <a:cubicBezTo>
                    <a:pt x="51" y="45"/>
                    <a:pt x="45" y="54"/>
                    <a:pt x="48" y="57"/>
                  </a:cubicBezTo>
                  <a:cubicBezTo>
                    <a:pt x="51" y="57"/>
                    <a:pt x="51" y="57"/>
                    <a:pt x="51" y="57"/>
                  </a:cubicBezTo>
                  <a:cubicBezTo>
                    <a:pt x="54" y="57"/>
                    <a:pt x="57" y="54"/>
                    <a:pt x="57" y="54"/>
                  </a:cubicBezTo>
                  <a:cubicBezTo>
                    <a:pt x="63" y="51"/>
                    <a:pt x="69" y="45"/>
                    <a:pt x="72" y="45"/>
                  </a:cubicBezTo>
                  <a:cubicBezTo>
                    <a:pt x="72" y="48"/>
                    <a:pt x="72" y="51"/>
                    <a:pt x="75" y="51"/>
                  </a:cubicBezTo>
                  <a:cubicBezTo>
                    <a:pt x="77" y="49"/>
                    <a:pt x="79" y="50"/>
                    <a:pt x="81" y="51"/>
                  </a:cubicBezTo>
                  <a:cubicBezTo>
                    <a:pt x="83" y="50"/>
                    <a:pt x="84" y="49"/>
                    <a:pt x="86" y="49"/>
                  </a:cubicBezTo>
                  <a:cubicBezTo>
                    <a:pt x="85" y="45"/>
                    <a:pt x="84" y="39"/>
                    <a:pt x="84" y="36"/>
                  </a:cubicBezTo>
                  <a:cubicBezTo>
                    <a:pt x="84" y="33"/>
                    <a:pt x="72" y="30"/>
                    <a:pt x="72" y="30"/>
                  </a:cubicBezTo>
                  <a:cubicBezTo>
                    <a:pt x="72" y="18"/>
                    <a:pt x="72" y="18"/>
                    <a:pt x="72" y="18"/>
                  </a:cubicBezTo>
                  <a:cubicBezTo>
                    <a:pt x="72" y="18"/>
                    <a:pt x="60" y="21"/>
                    <a:pt x="57" y="21"/>
                  </a:cubicBezTo>
                  <a:cubicBezTo>
                    <a:pt x="54" y="18"/>
                    <a:pt x="51" y="21"/>
                    <a:pt x="48" y="18"/>
                  </a:cubicBezTo>
                  <a:cubicBezTo>
                    <a:pt x="45" y="15"/>
                    <a:pt x="42" y="21"/>
                    <a:pt x="36" y="18"/>
                  </a:cubicBezTo>
                  <a:cubicBezTo>
                    <a:pt x="33" y="15"/>
                    <a:pt x="21" y="18"/>
                    <a:pt x="21" y="18"/>
                  </a:cubicBezTo>
                  <a:cubicBezTo>
                    <a:pt x="21" y="15"/>
                    <a:pt x="27" y="9"/>
                    <a:pt x="30" y="9"/>
                  </a:cubicBezTo>
                  <a:cubicBezTo>
                    <a:pt x="30" y="9"/>
                    <a:pt x="30" y="9"/>
                    <a:pt x="33" y="9"/>
                  </a:cubicBezTo>
                  <a:cubicBezTo>
                    <a:pt x="33" y="9"/>
                    <a:pt x="39" y="3"/>
                    <a:pt x="36" y="0"/>
                  </a:cubicBezTo>
                  <a:cubicBezTo>
                    <a:pt x="36" y="0"/>
                    <a:pt x="33" y="0"/>
                    <a:pt x="30" y="3"/>
                  </a:cubicBezTo>
                  <a:cubicBezTo>
                    <a:pt x="27" y="6"/>
                    <a:pt x="21" y="3"/>
                    <a:pt x="21" y="6"/>
                  </a:cubicBezTo>
                  <a:cubicBezTo>
                    <a:pt x="18" y="9"/>
                    <a:pt x="18" y="12"/>
                    <a:pt x="15" y="12"/>
                  </a:cubicBezTo>
                  <a:cubicBezTo>
                    <a:pt x="12" y="12"/>
                    <a:pt x="15" y="15"/>
                    <a:pt x="12" y="18"/>
                  </a:cubicBezTo>
                  <a:cubicBezTo>
                    <a:pt x="9" y="18"/>
                    <a:pt x="0" y="18"/>
                    <a:pt x="0" y="21"/>
                  </a:cubicBezTo>
                  <a:cubicBezTo>
                    <a:pt x="0" y="24"/>
                    <a:pt x="9" y="27"/>
                    <a:pt x="9" y="30"/>
                  </a:cubicBezTo>
                  <a:cubicBezTo>
                    <a:pt x="6" y="33"/>
                    <a:pt x="12" y="36"/>
                    <a:pt x="9" y="39"/>
                  </a:cubicBezTo>
                  <a:cubicBezTo>
                    <a:pt x="6" y="42"/>
                    <a:pt x="3" y="45"/>
                    <a:pt x="3" y="51"/>
                  </a:cubicBezTo>
                  <a:cubicBezTo>
                    <a:pt x="6" y="54"/>
                    <a:pt x="9" y="54"/>
                    <a:pt x="9" y="51"/>
                  </a:cubicBezTo>
                  <a:cubicBezTo>
                    <a:pt x="12" y="48"/>
                    <a:pt x="21" y="51"/>
                    <a:pt x="21" y="48"/>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4" name="Freeform 999"/>
            <p:cNvSpPr>
              <a:spLocks/>
            </p:cNvSpPr>
            <p:nvPr userDrawn="1"/>
          </p:nvSpPr>
          <p:spPr bwMode="auto">
            <a:xfrm>
              <a:off x="4541" y="-1856"/>
              <a:ext cx="251" cy="181"/>
            </a:xfrm>
            <a:custGeom>
              <a:avLst/>
              <a:gdLst>
                <a:gd name="T0" fmla="*/ 96 w 161"/>
                <a:gd name="T1" fmla="*/ 86 h 116"/>
                <a:gd name="T2" fmla="*/ 102 w 161"/>
                <a:gd name="T3" fmla="*/ 80 h 116"/>
                <a:gd name="T4" fmla="*/ 105 w 161"/>
                <a:gd name="T5" fmla="*/ 68 h 116"/>
                <a:gd name="T6" fmla="*/ 114 w 161"/>
                <a:gd name="T7" fmla="*/ 65 h 116"/>
                <a:gd name="T8" fmla="*/ 108 w 161"/>
                <a:gd name="T9" fmla="*/ 56 h 116"/>
                <a:gd name="T10" fmla="*/ 122 w 161"/>
                <a:gd name="T11" fmla="*/ 56 h 116"/>
                <a:gd name="T12" fmla="*/ 122 w 161"/>
                <a:gd name="T13" fmla="*/ 47 h 116"/>
                <a:gd name="T14" fmla="*/ 128 w 161"/>
                <a:gd name="T15" fmla="*/ 42 h 116"/>
                <a:gd name="T16" fmla="*/ 125 w 161"/>
                <a:gd name="T17" fmla="*/ 33 h 116"/>
                <a:gd name="T18" fmla="*/ 128 w 161"/>
                <a:gd name="T19" fmla="*/ 30 h 116"/>
                <a:gd name="T20" fmla="*/ 128 w 161"/>
                <a:gd name="T21" fmla="*/ 27 h 116"/>
                <a:gd name="T22" fmla="*/ 134 w 161"/>
                <a:gd name="T23" fmla="*/ 27 h 116"/>
                <a:gd name="T24" fmla="*/ 149 w 161"/>
                <a:gd name="T25" fmla="*/ 21 h 116"/>
                <a:gd name="T26" fmla="*/ 157 w 161"/>
                <a:gd name="T27" fmla="*/ 21 h 116"/>
                <a:gd name="T28" fmla="*/ 161 w 161"/>
                <a:gd name="T29" fmla="*/ 18 h 116"/>
                <a:gd name="T30" fmla="*/ 161 w 161"/>
                <a:gd name="T31" fmla="*/ 18 h 116"/>
                <a:gd name="T32" fmla="*/ 155 w 161"/>
                <a:gd name="T33" fmla="*/ 18 h 116"/>
                <a:gd name="T34" fmla="*/ 152 w 161"/>
                <a:gd name="T35" fmla="*/ 12 h 116"/>
                <a:gd name="T36" fmla="*/ 137 w 161"/>
                <a:gd name="T37" fmla="*/ 21 h 116"/>
                <a:gd name="T38" fmla="*/ 134 w 161"/>
                <a:gd name="T39" fmla="*/ 24 h 116"/>
                <a:gd name="T40" fmla="*/ 128 w 161"/>
                <a:gd name="T41" fmla="*/ 24 h 116"/>
                <a:gd name="T42" fmla="*/ 128 w 161"/>
                <a:gd name="T43" fmla="*/ 9 h 116"/>
                <a:gd name="T44" fmla="*/ 122 w 161"/>
                <a:gd name="T45" fmla="*/ 0 h 116"/>
                <a:gd name="T46" fmla="*/ 114 w 161"/>
                <a:gd name="T47" fmla="*/ 9 h 116"/>
                <a:gd name="T48" fmla="*/ 102 w 161"/>
                <a:gd name="T49" fmla="*/ 15 h 116"/>
                <a:gd name="T50" fmla="*/ 90 w 161"/>
                <a:gd name="T51" fmla="*/ 18 h 116"/>
                <a:gd name="T52" fmla="*/ 81 w 161"/>
                <a:gd name="T53" fmla="*/ 15 h 116"/>
                <a:gd name="T54" fmla="*/ 72 w 161"/>
                <a:gd name="T55" fmla="*/ 12 h 116"/>
                <a:gd name="T56" fmla="*/ 63 w 161"/>
                <a:gd name="T57" fmla="*/ 12 h 116"/>
                <a:gd name="T58" fmla="*/ 54 w 161"/>
                <a:gd name="T59" fmla="*/ 18 h 116"/>
                <a:gd name="T60" fmla="*/ 48 w 161"/>
                <a:gd name="T61" fmla="*/ 27 h 116"/>
                <a:gd name="T62" fmla="*/ 30 w 161"/>
                <a:gd name="T63" fmla="*/ 36 h 116"/>
                <a:gd name="T64" fmla="*/ 21 w 161"/>
                <a:gd name="T65" fmla="*/ 42 h 116"/>
                <a:gd name="T66" fmla="*/ 12 w 161"/>
                <a:gd name="T67" fmla="*/ 39 h 116"/>
                <a:gd name="T68" fmla="*/ 9 w 161"/>
                <a:gd name="T69" fmla="*/ 45 h 116"/>
                <a:gd name="T70" fmla="*/ 3 w 161"/>
                <a:gd name="T71" fmla="*/ 53 h 116"/>
                <a:gd name="T72" fmla="*/ 3 w 161"/>
                <a:gd name="T73" fmla="*/ 62 h 116"/>
                <a:gd name="T74" fmla="*/ 3 w 161"/>
                <a:gd name="T75" fmla="*/ 74 h 116"/>
                <a:gd name="T76" fmla="*/ 3 w 161"/>
                <a:gd name="T77" fmla="*/ 86 h 116"/>
                <a:gd name="T78" fmla="*/ 15 w 161"/>
                <a:gd name="T79" fmla="*/ 92 h 116"/>
                <a:gd name="T80" fmla="*/ 3 w 161"/>
                <a:gd name="T81" fmla="*/ 107 h 116"/>
                <a:gd name="T82" fmla="*/ 6 w 161"/>
                <a:gd name="T83" fmla="*/ 113 h 116"/>
                <a:gd name="T84" fmla="*/ 24 w 161"/>
                <a:gd name="T85" fmla="*/ 113 h 116"/>
                <a:gd name="T86" fmla="*/ 69 w 161"/>
                <a:gd name="T87" fmla="*/ 107 h 116"/>
                <a:gd name="T88" fmla="*/ 66 w 161"/>
                <a:gd name="T89" fmla="*/ 98 h 116"/>
                <a:gd name="T90" fmla="*/ 75 w 161"/>
                <a:gd name="T91" fmla="*/ 92 h 116"/>
                <a:gd name="T92" fmla="*/ 84 w 161"/>
                <a:gd name="T93" fmla="*/ 89 h 116"/>
                <a:gd name="T94" fmla="*/ 96 w 161"/>
                <a:gd name="T95" fmla="*/ 8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 h="116">
                  <a:moveTo>
                    <a:pt x="96" y="86"/>
                  </a:moveTo>
                  <a:cubicBezTo>
                    <a:pt x="96" y="89"/>
                    <a:pt x="102" y="86"/>
                    <a:pt x="102" y="80"/>
                  </a:cubicBezTo>
                  <a:cubicBezTo>
                    <a:pt x="102" y="74"/>
                    <a:pt x="102" y="68"/>
                    <a:pt x="105" y="68"/>
                  </a:cubicBezTo>
                  <a:cubicBezTo>
                    <a:pt x="108" y="68"/>
                    <a:pt x="114" y="65"/>
                    <a:pt x="114" y="65"/>
                  </a:cubicBezTo>
                  <a:cubicBezTo>
                    <a:pt x="111" y="62"/>
                    <a:pt x="108" y="59"/>
                    <a:pt x="108" y="56"/>
                  </a:cubicBezTo>
                  <a:cubicBezTo>
                    <a:pt x="111" y="56"/>
                    <a:pt x="119" y="59"/>
                    <a:pt x="122" y="56"/>
                  </a:cubicBezTo>
                  <a:cubicBezTo>
                    <a:pt x="122" y="53"/>
                    <a:pt x="119" y="50"/>
                    <a:pt x="122" y="47"/>
                  </a:cubicBezTo>
                  <a:cubicBezTo>
                    <a:pt x="122" y="45"/>
                    <a:pt x="128" y="45"/>
                    <a:pt x="128" y="42"/>
                  </a:cubicBezTo>
                  <a:cubicBezTo>
                    <a:pt x="128" y="39"/>
                    <a:pt x="128" y="36"/>
                    <a:pt x="125" y="33"/>
                  </a:cubicBezTo>
                  <a:cubicBezTo>
                    <a:pt x="122" y="33"/>
                    <a:pt x="125" y="30"/>
                    <a:pt x="128" y="30"/>
                  </a:cubicBezTo>
                  <a:cubicBezTo>
                    <a:pt x="128" y="27"/>
                    <a:pt x="128" y="27"/>
                    <a:pt x="128" y="27"/>
                  </a:cubicBezTo>
                  <a:cubicBezTo>
                    <a:pt x="131" y="27"/>
                    <a:pt x="134" y="27"/>
                    <a:pt x="134" y="27"/>
                  </a:cubicBezTo>
                  <a:cubicBezTo>
                    <a:pt x="137" y="24"/>
                    <a:pt x="146" y="21"/>
                    <a:pt x="149" y="21"/>
                  </a:cubicBezTo>
                  <a:cubicBezTo>
                    <a:pt x="151" y="21"/>
                    <a:pt x="154" y="22"/>
                    <a:pt x="157" y="21"/>
                  </a:cubicBezTo>
                  <a:cubicBezTo>
                    <a:pt x="157" y="20"/>
                    <a:pt x="159" y="19"/>
                    <a:pt x="161" y="18"/>
                  </a:cubicBezTo>
                  <a:cubicBezTo>
                    <a:pt x="161" y="18"/>
                    <a:pt x="161" y="18"/>
                    <a:pt x="161" y="18"/>
                  </a:cubicBezTo>
                  <a:cubicBezTo>
                    <a:pt x="159" y="17"/>
                    <a:pt x="157" y="16"/>
                    <a:pt x="155" y="18"/>
                  </a:cubicBezTo>
                  <a:cubicBezTo>
                    <a:pt x="152" y="18"/>
                    <a:pt x="152" y="15"/>
                    <a:pt x="152" y="12"/>
                  </a:cubicBezTo>
                  <a:cubicBezTo>
                    <a:pt x="149" y="12"/>
                    <a:pt x="143" y="18"/>
                    <a:pt x="137" y="21"/>
                  </a:cubicBezTo>
                  <a:cubicBezTo>
                    <a:pt x="134" y="24"/>
                    <a:pt x="134" y="24"/>
                    <a:pt x="134" y="24"/>
                  </a:cubicBezTo>
                  <a:cubicBezTo>
                    <a:pt x="131" y="24"/>
                    <a:pt x="128" y="24"/>
                    <a:pt x="128" y="24"/>
                  </a:cubicBezTo>
                  <a:cubicBezTo>
                    <a:pt x="125" y="21"/>
                    <a:pt x="131" y="12"/>
                    <a:pt x="128" y="9"/>
                  </a:cubicBezTo>
                  <a:cubicBezTo>
                    <a:pt x="122" y="9"/>
                    <a:pt x="125" y="0"/>
                    <a:pt x="122" y="0"/>
                  </a:cubicBezTo>
                  <a:cubicBezTo>
                    <a:pt x="119" y="0"/>
                    <a:pt x="114" y="6"/>
                    <a:pt x="114" y="9"/>
                  </a:cubicBezTo>
                  <a:cubicBezTo>
                    <a:pt x="114" y="15"/>
                    <a:pt x="102" y="12"/>
                    <a:pt x="102" y="15"/>
                  </a:cubicBezTo>
                  <a:cubicBezTo>
                    <a:pt x="102" y="18"/>
                    <a:pt x="93" y="15"/>
                    <a:pt x="90" y="18"/>
                  </a:cubicBezTo>
                  <a:cubicBezTo>
                    <a:pt x="90" y="21"/>
                    <a:pt x="84" y="15"/>
                    <a:pt x="81" y="15"/>
                  </a:cubicBezTo>
                  <a:cubicBezTo>
                    <a:pt x="78" y="15"/>
                    <a:pt x="75" y="12"/>
                    <a:pt x="72" y="12"/>
                  </a:cubicBezTo>
                  <a:cubicBezTo>
                    <a:pt x="69" y="15"/>
                    <a:pt x="66" y="12"/>
                    <a:pt x="63" y="12"/>
                  </a:cubicBezTo>
                  <a:cubicBezTo>
                    <a:pt x="60" y="12"/>
                    <a:pt x="57" y="18"/>
                    <a:pt x="54" y="18"/>
                  </a:cubicBezTo>
                  <a:cubicBezTo>
                    <a:pt x="51" y="15"/>
                    <a:pt x="48" y="24"/>
                    <a:pt x="48" y="27"/>
                  </a:cubicBezTo>
                  <a:cubicBezTo>
                    <a:pt x="45" y="33"/>
                    <a:pt x="30" y="33"/>
                    <a:pt x="30" y="36"/>
                  </a:cubicBezTo>
                  <a:cubicBezTo>
                    <a:pt x="30" y="42"/>
                    <a:pt x="21" y="45"/>
                    <a:pt x="21" y="42"/>
                  </a:cubicBezTo>
                  <a:cubicBezTo>
                    <a:pt x="21" y="39"/>
                    <a:pt x="15" y="39"/>
                    <a:pt x="12" y="39"/>
                  </a:cubicBezTo>
                  <a:cubicBezTo>
                    <a:pt x="12" y="39"/>
                    <a:pt x="6" y="39"/>
                    <a:pt x="9" y="45"/>
                  </a:cubicBezTo>
                  <a:cubicBezTo>
                    <a:pt x="9" y="47"/>
                    <a:pt x="3" y="50"/>
                    <a:pt x="3" y="53"/>
                  </a:cubicBezTo>
                  <a:cubicBezTo>
                    <a:pt x="3" y="53"/>
                    <a:pt x="0" y="59"/>
                    <a:pt x="3" y="62"/>
                  </a:cubicBezTo>
                  <a:cubicBezTo>
                    <a:pt x="3" y="65"/>
                    <a:pt x="0" y="68"/>
                    <a:pt x="3" y="74"/>
                  </a:cubicBezTo>
                  <a:cubicBezTo>
                    <a:pt x="3" y="77"/>
                    <a:pt x="3" y="86"/>
                    <a:pt x="3" y="86"/>
                  </a:cubicBezTo>
                  <a:cubicBezTo>
                    <a:pt x="6" y="89"/>
                    <a:pt x="12" y="86"/>
                    <a:pt x="15" y="92"/>
                  </a:cubicBezTo>
                  <a:cubicBezTo>
                    <a:pt x="18" y="98"/>
                    <a:pt x="3" y="107"/>
                    <a:pt x="3" y="107"/>
                  </a:cubicBezTo>
                  <a:cubicBezTo>
                    <a:pt x="3" y="110"/>
                    <a:pt x="3" y="110"/>
                    <a:pt x="6" y="113"/>
                  </a:cubicBezTo>
                  <a:cubicBezTo>
                    <a:pt x="12" y="113"/>
                    <a:pt x="18" y="113"/>
                    <a:pt x="24" y="113"/>
                  </a:cubicBezTo>
                  <a:cubicBezTo>
                    <a:pt x="30" y="116"/>
                    <a:pt x="69" y="110"/>
                    <a:pt x="69" y="107"/>
                  </a:cubicBezTo>
                  <a:cubicBezTo>
                    <a:pt x="66" y="98"/>
                    <a:pt x="66" y="98"/>
                    <a:pt x="66" y="98"/>
                  </a:cubicBezTo>
                  <a:cubicBezTo>
                    <a:pt x="69" y="95"/>
                    <a:pt x="72" y="92"/>
                    <a:pt x="75" y="92"/>
                  </a:cubicBezTo>
                  <a:cubicBezTo>
                    <a:pt x="81" y="92"/>
                    <a:pt x="84" y="92"/>
                    <a:pt x="84" y="89"/>
                  </a:cubicBezTo>
                  <a:cubicBezTo>
                    <a:pt x="84" y="86"/>
                    <a:pt x="96" y="83"/>
                    <a:pt x="96" y="8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5" name="Freeform 1000"/>
            <p:cNvSpPr>
              <a:spLocks/>
            </p:cNvSpPr>
            <p:nvPr userDrawn="1"/>
          </p:nvSpPr>
          <p:spPr bwMode="auto">
            <a:xfrm>
              <a:off x="4541" y="-1856"/>
              <a:ext cx="251" cy="181"/>
            </a:xfrm>
            <a:custGeom>
              <a:avLst/>
              <a:gdLst>
                <a:gd name="T0" fmla="*/ 96 w 161"/>
                <a:gd name="T1" fmla="*/ 86 h 116"/>
                <a:gd name="T2" fmla="*/ 102 w 161"/>
                <a:gd name="T3" fmla="*/ 80 h 116"/>
                <a:gd name="T4" fmla="*/ 105 w 161"/>
                <a:gd name="T5" fmla="*/ 68 h 116"/>
                <a:gd name="T6" fmla="*/ 114 w 161"/>
                <a:gd name="T7" fmla="*/ 65 h 116"/>
                <a:gd name="T8" fmla="*/ 108 w 161"/>
                <a:gd name="T9" fmla="*/ 56 h 116"/>
                <a:gd name="T10" fmla="*/ 122 w 161"/>
                <a:gd name="T11" fmla="*/ 56 h 116"/>
                <a:gd name="T12" fmla="*/ 122 w 161"/>
                <a:gd name="T13" fmla="*/ 47 h 116"/>
                <a:gd name="T14" fmla="*/ 128 w 161"/>
                <a:gd name="T15" fmla="*/ 42 h 116"/>
                <a:gd name="T16" fmla="*/ 125 w 161"/>
                <a:gd name="T17" fmla="*/ 33 h 116"/>
                <a:gd name="T18" fmla="*/ 128 w 161"/>
                <a:gd name="T19" fmla="*/ 30 h 116"/>
                <a:gd name="T20" fmla="*/ 128 w 161"/>
                <a:gd name="T21" fmla="*/ 27 h 116"/>
                <a:gd name="T22" fmla="*/ 134 w 161"/>
                <a:gd name="T23" fmla="*/ 27 h 116"/>
                <a:gd name="T24" fmla="*/ 149 w 161"/>
                <a:gd name="T25" fmla="*/ 21 h 116"/>
                <a:gd name="T26" fmla="*/ 157 w 161"/>
                <a:gd name="T27" fmla="*/ 21 h 116"/>
                <a:gd name="T28" fmla="*/ 161 w 161"/>
                <a:gd name="T29" fmla="*/ 18 h 116"/>
                <a:gd name="T30" fmla="*/ 161 w 161"/>
                <a:gd name="T31" fmla="*/ 18 h 116"/>
                <a:gd name="T32" fmla="*/ 155 w 161"/>
                <a:gd name="T33" fmla="*/ 18 h 116"/>
                <a:gd name="T34" fmla="*/ 152 w 161"/>
                <a:gd name="T35" fmla="*/ 12 h 116"/>
                <a:gd name="T36" fmla="*/ 137 w 161"/>
                <a:gd name="T37" fmla="*/ 21 h 116"/>
                <a:gd name="T38" fmla="*/ 134 w 161"/>
                <a:gd name="T39" fmla="*/ 24 h 116"/>
                <a:gd name="T40" fmla="*/ 128 w 161"/>
                <a:gd name="T41" fmla="*/ 24 h 116"/>
                <a:gd name="T42" fmla="*/ 128 w 161"/>
                <a:gd name="T43" fmla="*/ 9 h 116"/>
                <a:gd name="T44" fmla="*/ 122 w 161"/>
                <a:gd name="T45" fmla="*/ 0 h 116"/>
                <a:gd name="T46" fmla="*/ 114 w 161"/>
                <a:gd name="T47" fmla="*/ 9 h 116"/>
                <a:gd name="T48" fmla="*/ 102 w 161"/>
                <a:gd name="T49" fmla="*/ 15 h 116"/>
                <a:gd name="T50" fmla="*/ 90 w 161"/>
                <a:gd name="T51" fmla="*/ 18 h 116"/>
                <a:gd name="T52" fmla="*/ 81 w 161"/>
                <a:gd name="T53" fmla="*/ 15 h 116"/>
                <a:gd name="T54" fmla="*/ 72 w 161"/>
                <a:gd name="T55" fmla="*/ 12 h 116"/>
                <a:gd name="T56" fmla="*/ 63 w 161"/>
                <a:gd name="T57" fmla="*/ 12 h 116"/>
                <a:gd name="T58" fmla="*/ 54 w 161"/>
                <a:gd name="T59" fmla="*/ 18 h 116"/>
                <a:gd name="T60" fmla="*/ 48 w 161"/>
                <a:gd name="T61" fmla="*/ 27 h 116"/>
                <a:gd name="T62" fmla="*/ 30 w 161"/>
                <a:gd name="T63" fmla="*/ 36 h 116"/>
                <a:gd name="T64" fmla="*/ 21 w 161"/>
                <a:gd name="T65" fmla="*/ 42 h 116"/>
                <a:gd name="T66" fmla="*/ 12 w 161"/>
                <a:gd name="T67" fmla="*/ 39 h 116"/>
                <a:gd name="T68" fmla="*/ 9 w 161"/>
                <a:gd name="T69" fmla="*/ 45 h 116"/>
                <a:gd name="T70" fmla="*/ 3 w 161"/>
                <a:gd name="T71" fmla="*/ 53 h 116"/>
                <a:gd name="T72" fmla="*/ 3 w 161"/>
                <a:gd name="T73" fmla="*/ 62 h 116"/>
                <a:gd name="T74" fmla="*/ 3 w 161"/>
                <a:gd name="T75" fmla="*/ 74 h 116"/>
                <a:gd name="T76" fmla="*/ 3 w 161"/>
                <a:gd name="T77" fmla="*/ 86 h 116"/>
                <a:gd name="T78" fmla="*/ 15 w 161"/>
                <a:gd name="T79" fmla="*/ 92 h 116"/>
                <a:gd name="T80" fmla="*/ 3 w 161"/>
                <a:gd name="T81" fmla="*/ 107 h 116"/>
                <a:gd name="T82" fmla="*/ 6 w 161"/>
                <a:gd name="T83" fmla="*/ 113 h 116"/>
                <a:gd name="T84" fmla="*/ 24 w 161"/>
                <a:gd name="T85" fmla="*/ 113 h 116"/>
                <a:gd name="T86" fmla="*/ 69 w 161"/>
                <a:gd name="T87" fmla="*/ 107 h 116"/>
                <a:gd name="T88" fmla="*/ 66 w 161"/>
                <a:gd name="T89" fmla="*/ 98 h 116"/>
                <a:gd name="T90" fmla="*/ 75 w 161"/>
                <a:gd name="T91" fmla="*/ 92 h 116"/>
                <a:gd name="T92" fmla="*/ 84 w 161"/>
                <a:gd name="T93" fmla="*/ 89 h 116"/>
                <a:gd name="T94" fmla="*/ 96 w 161"/>
                <a:gd name="T95" fmla="*/ 8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 h="116">
                  <a:moveTo>
                    <a:pt x="96" y="86"/>
                  </a:moveTo>
                  <a:cubicBezTo>
                    <a:pt x="96" y="89"/>
                    <a:pt x="102" y="86"/>
                    <a:pt x="102" y="80"/>
                  </a:cubicBezTo>
                  <a:cubicBezTo>
                    <a:pt x="102" y="74"/>
                    <a:pt x="102" y="68"/>
                    <a:pt x="105" y="68"/>
                  </a:cubicBezTo>
                  <a:cubicBezTo>
                    <a:pt x="108" y="68"/>
                    <a:pt x="114" y="65"/>
                    <a:pt x="114" y="65"/>
                  </a:cubicBezTo>
                  <a:cubicBezTo>
                    <a:pt x="111" y="62"/>
                    <a:pt x="108" y="59"/>
                    <a:pt x="108" y="56"/>
                  </a:cubicBezTo>
                  <a:cubicBezTo>
                    <a:pt x="111" y="56"/>
                    <a:pt x="119" y="59"/>
                    <a:pt x="122" y="56"/>
                  </a:cubicBezTo>
                  <a:cubicBezTo>
                    <a:pt x="122" y="53"/>
                    <a:pt x="119" y="50"/>
                    <a:pt x="122" y="47"/>
                  </a:cubicBezTo>
                  <a:cubicBezTo>
                    <a:pt x="122" y="45"/>
                    <a:pt x="128" y="45"/>
                    <a:pt x="128" y="42"/>
                  </a:cubicBezTo>
                  <a:cubicBezTo>
                    <a:pt x="128" y="39"/>
                    <a:pt x="128" y="36"/>
                    <a:pt x="125" y="33"/>
                  </a:cubicBezTo>
                  <a:cubicBezTo>
                    <a:pt x="122" y="33"/>
                    <a:pt x="125" y="30"/>
                    <a:pt x="128" y="30"/>
                  </a:cubicBezTo>
                  <a:cubicBezTo>
                    <a:pt x="128" y="27"/>
                    <a:pt x="128" y="27"/>
                    <a:pt x="128" y="27"/>
                  </a:cubicBezTo>
                  <a:cubicBezTo>
                    <a:pt x="131" y="27"/>
                    <a:pt x="134" y="27"/>
                    <a:pt x="134" y="27"/>
                  </a:cubicBezTo>
                  <a:cubicBezTo>
                    <a:pt x="137" y="24"/>
                    <a:pt x="146" y="21"/>
                    <a:pt x="149" y="21"/>
                  </a:cubicBezTo>
                  <a:cubicBezTo>
                    <a:pt x="151" y="21"/>
                    <a:pt x="154" y="22"/>
                    <a:pt x="157" y="21"/>
                  </a:cubicBezTo>
                  <a:cubicBezTo>
                    <a:pt x="157" y="20"/>
                    <a:pt x="159" y="19"/>
                    <a:pt x="161" y="18"/>
                  </a:cubicBezTo>
                  <a:cubicBezTo>
                    <a:pt x="161" y="18"/>
                    <a:pt x="161" y="18"/>
                    <a:pt x="161" y="18"/>
                  </a:cubicBezTo>
                  <a:cubicBezTo>
                    <a:pt x="159" y="17"/>
                    <a:pt x="157" y="16"/>
                    <a:pt x="155" y="18"/>
                  </a:cubicBezTo>
                  <a:cubicBezTo>
                    <a:pt x="152" y="18"/>
                    <a:pt x="152" y="15"/>
                    <a:pt x="152" y="12"/>
                  </a:cubicBezTo>
                  <a:cubicBezTo>
                    <a:pt x="149" y="12"/>
                    <a:pt x="143" y="18"/>
                    <a:pt x="137" y="21"/>
                  </a:cubicBezTo>
                  <a:cubicBezTo>
                    <a:pt x="134" y="24"/>
                    <a:pt x="134" y="24"/>
                    <a:pt x="134" y="24"/>
                  </a:cubicBezTo>
                  <a:cubicBezTo>
                    <a:pt x="131" y="24"/>
                    <a:pt x="128" y="24"/>
                    <a:pt x="128" y="24"/>
                  </a:cubicBezTo>
                  <a:cubicBezTo>
                    <a:pt x="125" y="21"/>
                    <a:pt x="131" y="12"/>
                    <a:pt x="128" y="9"/>
                  </a:cubicBezTo>
                  <a:cubicBezTo>
                    <a:pt x="122" y="9"/>
                    <a:pt x="125" y="0"/>
                    <a:pt x="122" y="0"/>
                  </a:cubicBezTo>
                  <a:cubicBezTo>
                    <a:pt x="119" y="0"/>
                    <a:pt x="114" y="6"/>
                    <a:pt x="114" y="9"/>
                  </a:cubicBezTo>
                  <a:cubicBezTo>
                    <a:pt x="114" y="15"/>
                    <a:pt x="102" y="12"/>
                    <a:pt x="102" y="15"/>
                  </a:cubicBezTo>
                  <a:cubicBezTo>
                    <a:pt x="102" y="18"/>
                    <a:pt x="93" y="15"/>
                    <a:pt x="90" y="18"/>
                  </a:cubicBezTo>
                  <a:cubicBezTo>
                    <a:pt x="90" y="21"/>
                    <a:pt x="84" y="15"/>
                    <a:pt x="81" y="15"/>
                  </a:cubicBezTo>
                  <a:cubicBezTo>
                    <a:pt x="78" y="15"/>
                    <a:pt x="75" y="12"/>
                    <a:pt x="72" y="12"/>
                  </a:cubicBezTo>
                  <a:cubicBezTo>
                    <a:pt x="69" y="15"/>
                    <a:pt x="66" y="12"/>
                    <a:pt x="63" y="12"/>
                  </a:cubicBezTo>
                  <a:cubicBezTo>
                    <a:pt x="60" y="12"/>
                    <a:pt x="57" y="18"/>
                    <a:pt x="54" y="18"/>
                  </a:cubicBezTo>
                  <a:cubicBezTo>
                    <a:pt x="51" y="15"/>
                    <a:pt x="48" y="24"/>
                    <a:pt x="48" y="27"/>
                  </a:cubicBezTo>
                  <a:cubicBezTo>
                    <a:pt x="45" y="33"/>
                    <a:pt x="30" y="33"/>
                    <a:pt x="30" y="36"/>
                  </a:cubicBezTo>
                  <a:cubicBezTo>
                    <a:pt x="30" y="42"/>
                    <a:pt x="21" y="45"/>
                    <a:pt x="21" y="42"/>
                  </a:cubicBezTo>
                  <a:cubicBezTo>
                    <a:pt x="21" y="39"/>
                    <a:pt x="15" y="39"/>
                    <a:pt x="12" y="39"/>
                  </a:cubicBezTo>
                  <a:cubicBezTo>
                    <a:pt x="12" y="39"/>
                    <a:pt x="6" y="39"/>
                    <a:pt x="9" y="45"/>
                  </a:cubicBezTo>
                  <a:cubicBezTo>
                    <a:pt x="9" y="47"/>
                    <a:pt x="3" y="50"/>
                    <a:pt x="3" y="53"/>
                  </a:cubicBezTo>
                  <a:cubicBezTo>
                    <a:pt x="3" y="53"/>
                    <a:pt x="0" y="59"/>
                    <a:pt x="3" y="62"/>
                  </a:cubicBezTo>
                  <a:cubicBezTo>
                    <a:pt x="3" y="65"/>
                    <a:pt x="0" y="68"/>
                    <a:pt x="3" y="74"/>
                  </a:cubicBezTo>
                  <a:cubicBezTo>
                    <a:pt x="3" y="77"/>
                    <a:pt x="3" y="86"/>
                    <a:pt x="3" y="86"/>
                  </a:cubicBezTo>
                  <a:cubicBezTo>
                    <a:pt x="6" y="89"/>
                    <a:pt x="12" y="86"/>
                    <a:pt x="15" y="92"/>
                  </a:cubicBezTo>
                  <a:cubicBezTo>
                    <a:pt x="18" y="98"/>
                    <a:pt x="3" y="107"/>
                    <a:pt x="3" y="107"/>
                  </a:cubicBezTo>
                  <a:cubicBezTo>
                    <a:pt x="3" y="110"/>
                    <a:pt x="3" y="110"/>
                    <a:pt x="6" y="113"/>
                  </a:cubicBezTo>
                  <a:cubicBezTo>
                    <a:pt x="12" y="113"/>
                    <a:pt x="18" y="113"/>
                    <a:pt x="24" y="113"/>
                  </a:cubicBezTo>
                  <a:cubicBezTo>
                    <a:pt x="30" y="116"/>
                    <a:pt x="69" y="110"/>
                    <a:pt x="69" y="107"/>
                  </a:cubicBezTo>
                  <a:cubicBezTo>
                    <a:pt x="66" y="98"/>
                    <a:pt x="66" y="98"/>
                    <a:pt x="66" y="98"/>
                  </a:cubicBezTo>
                  <a:cubicBezTo>
                    <a:pt x="69" y="95"/>
                    <a:pt x="72" y="92"/>
                    <a:pt x="75" y="92"/>
                  </a:cubicBezTo>
                  <a:cubicBezTo>
                    <a:pt x="81" y="92"/>
                    <a:pt x="84" y="92"/>
                    <a:pt x="84" y="89"/>
                  </a:cubicBezTo>
                  <a:cubicBezTo>
                    <a:pt x="84" y="86"/>
                    <a:pt x="96" y="83"/>
                    <a:pt x="96" y="8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6" name="Freeform 1001"/>
            <p:cNvSpPr>
              <a:spLocks/>
            </p:cNvSpPr>
            <p:nvPr userDrawn="1"/>
          </p:nvSpPr>
          <p:spPr bwMode="auto">
            <a:xfrm>
              <a:off x="4410" y="-791"/>
              <a:ext cx="47" cy="27"/>
            </a:xfrm>
            <a:custGeom>
              <a:avLst/>
              <a:gdLst>
                <a:gd name="T0" fmla="*/ 12 w 30"/>
                <a:gd name="T1" fmla="*/ 3 h 17"/>
                <a:gd name="T2" fmla="*/ 9 w 30"/>
                <a:gd name="T3" fmla="*/ 14 h 17"/>
                <a:gd name="T4" fmla="*/ 18 w 30"/>
                <a:gd name="T5" fmla="*/ 14 h 17"/>
                <a:gd name="T6" fmla="*/ 27 w 30"/>
                <a:gd name="T7" fmla="*/ 11 h 17"/>
                <a:gd name="T8" fmla="*/ 12 w 30"/>
                <a:gd name="T9" fmla="*/ 3 h 17"/>
              </a:gdLst>
              <a:ahLst/>
              <a:cxnLst>
                <a:cxn ang="0">
                  <a:pos x="T0" y="T1"/>
                </a:cxn>
                <a:cxn ang="0">
                  <a:pos x="T2" y="T3"/>
                </a:cxn>
                <a:cxn ang="0">
                  <a:pos x="T4" y="T5"/>
                </a:cxn>
                <a:cxn ang="0">
                  <a:pos x="T6" y="T7"/>
                </a:cxn>
                <a:cxn ang="0">
                  <a:pos x="T8" y="T9"/>
                </a:cxn>
              </a:cxnLst>
              <a:rect l="0" t="0" r="r" b="b"/>
              <a:pathLst>
                <a:path w="30" h="17">
                  <a:moveTo>
                    <a:pt x="12" y="3"/>
                  </a:moveTo>
                  <a:cubicBezTo>
                    <a:pt x="12" y="0"/>
                    <a:pt x="0" y="11"/>
                    <a:pt x="9" y="14"/>
                  </a:cubicBezTo>
                  <a:cubicBezTo>
                    <a:pt x="12" y="17"/>
                    <a:pt x="15" y="11"/>
                    <a:pt x="18" y="14"/>
                  </a:cubicBezTo>
                  <a:cubicBezTo>
                    <a:pt x="21" y="17"/>
                    <a:pt x="27" y="17"/>
                    <a:pt x="27" y="11"/>
                  </a:cubicBezTo>
                  <a:cubicBezTo>
                    <a:pt x="30" y="6"/>
                    <a:pt x="15"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7" name="Freeform 1002"/>
            <p:cNvSpPr>
              <a:spLocks/>
            </p:cNvSpPr>
            <p:nvPr userDrawn="1"/>
          </p:nvSpPr>
          <p:spPr bwMode="auto">
            <a:xfrm>
              <a:off x="4410" y="-791"/>
              <a:ext cx="47" cy="27"/>
            </a:xfrm>
            <a:custGeom>
              <a:avLst/>
              <a:gdLst>
                <a:gd name="T0" fmla="*/ 12 w 30"/>
                <a:gd name="T1" fmla="*/ 3 h 17"/>
                <a:gd name="T2" fmla="*/ 9 w 30"/>
                <a:gd name="T3" fmla="*/ 14 h 17"/>
                <a:gd name="T4" fmla="*/ 18 w 30"/>
                <a:gd name="T5" fmla="*/ 14 h 17"/>
                <a:gd name="T6" fmla="*/ 27 w 30"/>
                <a:gd name="T7" fmla="*/ 11 h 17"/>
                <a:gd name="T8" fmla="*/ 12 w 30"/>
                <a:gd name="T9" fmla="*/ 3 h 17"/>
              </a:gdLst>
              <a:ahLst/>
              <a:cxnLst>
                <a:cxn ang="0">
                  <a:pos x="T0" y="T1"/>
                </a:cxn>
                <a:cxn ang="0">
                  <a:pos x="T2" y="T3"/>
                </a:cxn>
                <a:cxn ang="0">
                  <a:pos x="T4" y="T5"/>
                </a:cxn>
                <a:cxn ang="0">
                  <a:pos x="T6" y="T7"/>
                </a:cxn>
                <a:cxn ang="0">
                  <a:pos x="T8" y="T9"/>
                </a:cxn>
              </a:cxnLst>
              <a:rect l="0" t="0" r="r" b="b"/>
              <a:pathLst>
                <a:path w="30" h="17">
                  <a:moveTo>
                    <a:pt x="12" y="3"/>
                  </a:moveTo>
                  <a:cubicBezTo>
                    <a:pt x="12" y="0"/>
                    <a:pt x="0" y="11"/>
                    <a:pt x="9" y="14"/>
                  </a:cubicBezTo>
                  <a:cubicBezTo>
                    <a:pt x="12" y="17"/>
                    <a:pt x="15" y="11"/>
                    <a:pt x="18" y="14"/>
                  </a:cubicBezTo>
                  <a:cubicBezTo>
                    <a:pt x="21" y="17"/>
                    <a:pt x="27" y="17"/>
                    <a:pt x="27" y="11"/>
                  </a:cubicBezTo>
                  <a:cubicBezTo>
                    <a:pt x="30" y="6"/>
                    <a:pt x="15"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8" name="Freeform 1003"/>
            <p:cNvSpPr>
              <a:spLocks/>
            </p:cNvSpPr>
            <p:nvPr userDrawn="1"/>
          </p:nvSpPr>
          <p:spPr bwMode="auto">
            <a:xfrm>
              <a:off x="4476" y="-759"/>
              <a:ext cx="42" cy="23"/>
            </a:xfrm>
            <a:custGeom>
              <a:avLst/>
              <a:gdLst>
                <a:gd name="T0" fmla="*/ 6 w 27"/>
                <a:gd name="T1" fmla="*/ 6 h 15"/>
                <a:gd name="T2" fmla="*/ 24 w 27"/>
                <a:gd name="T3" fmla="*/ 6 h 15"/>
                <a:gd name="T4" fmla="*/ 6 w 27"/>
                <a:gd name="T5" fmla="*/ 6 h 15"/>
              </a:gdLst>
              <a:ahLst/>
              <a:cxnLst>
                <a:cxn ang="0">
                  <a:pos x="T0" y="T1"/>
                </a:cxn>
                <a:cxn ang="0">
                  <a:pos x="T2" y="T3"/>
                </a:cxn>
                <a:cxn ang="0">
                  <a:pos x="T4" y="T5"/>
                </a:cxn>
              </a:cxnLst>
              <a:rect l="0" t="0" r="r" b="b"/>
              <a:pathLst>
                <a:path w="27" h="15">
                  <a:moveTo>
                    <a:pt x="6" y="6"/>
                  </a:moveTo>
                  <a:cubicBezTo>
                    <a:pt x="9" y="15"/>
                    <a:pt x="24" y="9"/>
                    <a:pt x="24" y="6"/>
                  </a:cubicBezTo>
                  <a:cubicBezTo>
                    <a:pt x="27" y="3"/>
                    <a:pt x="0" y="0"/>
                    <a:pt x="6"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09" name="Freeform 1004"/>
            <p:cNvSpPr>
              <a:spLocks/>
            </p:cNvSpPr>
            <p:nvPr userDrawn="1"/>
          </p:nvSpPr>
          <p:spPr bwMode="auto">
            <a:xfrm>
              <a:off x="4476" y="-759"/>
              <a:ext cx="42" cy="23"/>
            </a:xfrm>
            <a:custGeom>
              <a:avLst/>
              <a:gdLst>
                <a:gd name="T0" fmla="*/ 6 w 27"/>
                <a:gd name="T1" fmla="*/ 6 h 15"/>
                <a:gd name="T2" fmla="*/ 24 w 27"/>
                <a:gd name="T3" fmla="*/ 6 h 15"/>
                <a:gd name="T4" fmla="*/ 6 w 27"/>
                <a:gd name="T5" fmla="*/ 6 h 15"/>
              </a:gdLst>
              <a:ahLst/>
              <a:cxnLst>
                <a:cxn ang="0">
                  <a:pos x="T0" y="T1"/>
                </a:cxn>
                <a:cxn ang="0">
                  <a:pos x="T2" y="T3"/>
                </a:cxn>
                <a:cxn ang="0">
                  <a:pos x="T4" y="T5"/>
                </a:cxn>
              </a:cxnLst>
              <a:rect l="0" t="0" r="r" b="b"/>
              <a:pathLst>
                <a:path w="27" h="15">
                  <a:moveTo>
                    <a:pt x="6" y="6"/>
                  </a:moveTo>
                  <a:cubicBezTo>
                    <a:pt x="9" y="15"/>
                    <a:pt x="24" y="9"/>
                    <a:pt x="24" y="6"/>
                  </a:cubicBezTo>
                  <a:cubicBezTo>
                    <a:pt x="27" y="3"/>
                    <a:pt x="0" y="0"/>
                    <a:pt x="6"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0" name="Freeform 1005"/>
            <p:cNvSpPr>
              <a:spLocks/>
            </p:cNvSpPr>
            <p:nvPr userDrawn="1"/>
          </p:nvSpPr>
          <p:spPr bwMode="auto">
            <a:xfrm>
              <a:off x="646" y="-1544"/>
              <a:ext cx="19" cy="14"/>
            </a:xfrm>
            <a:custGeom>
              <a:avLst/>
              <a:gdLst>
                <a:gd name="T0" fmla="*/ 3 w 12"/>
                <a:gd name="T1" fmla="*/ 6 h 9"/>
                <a:gd name="T2" fmla="*/ 12 w 12"/>
                <a:gd name="T3" fmla="*/ 3 h 9"/>
                <a:gd name="T4" fmla="*/ 3 w 12"/>
                <a:gd name="T5" fmla="*/ 6 h 9"/>
              </a:gdLst>
              <a:ahLst/>
              <a:cxnLst>
                <a:cxn ang="0">
                  <a:pos x="T0" y="T1"/>
                </a:cxn>
                <a:cxn ang="0">
                  <a:pos x="T2" y="T3"/>
                </a:cxn>
                <a:cxn ang="0">
                  <a:pos x="T4" y="T5"/>
                </a:cxn>
              </a:cxnLst>
              <a:rect l="0" t="0" r="r" b="b"/>
              <a:pathLst>
                <a:path w="12" h="9">
                  <a:moveTo>
                    <a:pt x="3" y="6"/>
                  </a:moveTo>
                  <a:cubicBezTo>
                    <a:pt x="9" y="9"/>
                    <a:pt x="9" y="9"/>
                    <a:pt x="12" y="3"/>
                  </a:cubicBezTo>
                  <a:cubicBezTo>
                    <a:pt x="12" y="0"/>
                    <a:pt x="0" y="0"/>
                    <a:pt x="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1" name="Freeform 1006"/>
            <p:cNvSpPr>
              <a:spLocks/>
            </p:cNvSpPr>
            <p:nvPr userDrawn="1"/>
          </p:nvSpPr>
          <p:spPr bwMode="auto">
            <a:xfrm>
              <a:off x="557" y="-2227"/>
              <a:ext cx="38" cy="14"/>
            </a:xfrm>
            <a:custGeom>
              <a:avLst/>
              <a:gdLst>
                <a:gd name="T0" fmla="*/ 18 w 24"/>
                <a:gd name="T1" fmla="*/ 3 h 9"/>
                <a:gd name="T2" fmla="*/ 3 w 24"/>
                <a:gd name="T3" fmla="*/ 9 h 9"/>
                <a:gd name="T4" fmla="*/ 12 w 24"/>
                <a:gd name="T5" fmla="*/ 6 h 9"/>
                <a:gd name="T6" fmla="*/ 18 w 24"/>
                <a:gd name="T7" fmla="*/ 3 h 9"/>
              </a:gdLst>
              <a:ahLst/>
              <a:cxnLst>
                <a:cxn ang="0">
                  <a:pos x="T0" y="T1"/>
                </a:cxn>
                <a:cxn ang="0">
                  <a:pos x="T2" y="T3"/>
                </a:cxn>
                <a:cxn ang="0">
                  <a:pos x="T4" y="T5"/>
                </a:cxn>
                <a:cxn ang="0">
                  <a:pos x="T6" y="T7"/>
                </a:cxn>
              </a:cxnLst>
              <a:rect l="0" t="0" r="r" b="b"/>
              <a:pathLst>
                <a:path w="24" h="9">
                  <a:moveTo>
                    <a:pt x="18" y="3"/>
                  </a:moveTo>
                  <a:cubicBezTo>
                    <a:pt x="15" y="0"/>
                    <a:pt x="0" y="9"/>
                    <a:pt x="3" y="9"/>
                  </a:cubicBezTo>
                  <a:cubicBezTo>
                    <a:pt x="9" y="9"/>
                    <a:pt x="9" y="6"/>
                    <a:pt x="12" y="6"/>
                  </a:cubicBezTo>
                  <a:cubicBezTo>
                    <a:pt x="18" y="6"/>
                    <a:pt x="24" y="3"/>
                    <a:pt x="18"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2" name="Freeform 1007"/>
            <p:cNvSpPr>
              <a:spLocks/>
            </p:cNvSpPr>
            <p:nvPr userDrawn="1"/>
          </p:nvSpPr>
          <p:spPr bwMode="auto">
            <a:xfrm>
              <a:off x="515" y="-2209"/>
              <a:ext cx="19" cy="24"/>
            </a:xfrm>
            <a:custGeom>
              <a:avLst/>
              <a:gdLst>
                <a:gd name="T0" fmla="*/ 3 w 12"/>
                <a:gd name="T1" fmla="*/ 12 h 15"/>
                <a:gd name="T2" fmla="*/ 9 w 12"/>
                <a:gd name="T3" fmla="*/ 3 h 15"/>
                <a:gd name="T4" fmla="*/ 3 w 12"/>
                <a:gd name="T5" fmla="*/ 12 h 15"/>
              </a:gdLst>
              <a:ahLst/>
              <a:cxnLst>
                <a:cxn ang="0">
                  <a:pos x="T0" y="T1"/>
                </a:cxn>
                <a:cxn ang="0">
                  <a:pos x="T2" y="T3"/>
                </a:cxn>
                <a:cxn ang="0">
                  <a:pos x="T4" y="T5"/>
                </a:cxn>
              </a:cxnLst>
              <a:rect l="0" t="0" r="r" b="b"/>
              <a:pathLst>
                <a:path w="12" h="15">
                  <a:moveTo>
                    <a:pt x="3" y="12"/>
                  </a:moveTo>
                  <a:cubicBezTo>
                    <a:pt x="9" y="9"/>
                    <a:pt x="12" y="6"/>
                    <a:pt x="9" y="3"/>
                  </a:cubicBezTo>
                  <a:cubicBezTo>
                    <a:pt x="6" y="0"/>
                    <a:pt x="0" y="15"/>
                    <a:pt x="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3" name="Freeform 1008"/>
            <p:cNvSpPr>
              <a:spLocks/>
            </p:cNvSpPr>
            <p:nvPr userDrawn="1"/>
          </p:nvSpPr>
          <p:spPr bwMode="auto">
            <a:xfrm>
              <a:off x="674" y="-1530"/>
              <a:ext cx="19" cy="14"/>
            </a:xfrm>
            <a:custGeom>
              <a:avLst/>
              <a:gdLst>
                <a:gd name="T0" fmla="*/ 3 w 12"/>
                <a:gd name="T1" fmla="*/ 3 h 9"/>
                <a:gd name="T2" fmla="*/ 12 w 12"/>
                <a:gd name="T3" fmla="*/ 6 h 9"/>
                <a:gd name="T4" fmla="*/ 3 w 12"/>
                <a:gd name="T5" fmla="*/ 3 h 9"/>
              </a:gdLst>
              <a:ahLst/>
              <a:cxnLst>
                <a:cxn ang="0">
                  <a:pos x="T0" y="T1"/>
                </a:cxn>
                <a:cxn ang="0">
                  <a:pos x="T2" y="T3"/>
                </a:cxn>
                <a:cxn ang="0">
                  <a:pos x="T4" y="T5"/>
                </a:cxn>
              </a:cxnLst>
              <a:rect l="0" t="0" r="r" b="b"/>
              <a:pathLst>
                <a:path w="12" h="9">
                  <a:moveTo>
                    <a:pt x="3" y="3"/>
                  </a:moveTo>
                  <a:cubicBezTo>
                    <a:pt x="6" y="6"/>
                    <a:pt x="9" y="9"/>
                    <a:pt x="12" y="6"/>
                  </a:cubicBezTo>
                  <a:cubicBezTo>
                    <a:pt x="12" y="0"/>
                    <a:pt x="0" y="0"/>
                    <a:pt x="3"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4" name="Freeform 1009"/>
            <p:cNvSpPr>
              <a:spLocks/>
            </p:cNvSpPr>
            <p:nvPr userDrawn="1"/>
          </p:nvSpPr>
          <p:spPr bwMode="auto">
            <a:xfrm>
              <a:off x="520" y="-2368"/>
              <a:ext cx="33" cy="19"/>
            </a:xfrm>
            <a:custGeom>
              <a:avLst/>
              <a:gdLst>
                <a:gd name="T0" fmla="*/ 12 w 21"/>
                <a:gd name="T1" fmla="*/ 3 h 12"/>
                <a:gd name="T2" fmla="*/ 0 w 21"/>
                <a:gd name="T3" fmla="*/ 6 h 12"/>
                <a:gd name="T4" fmla="*/ 18 w 21"/>
                <a:gd name="T5" fmla="*/ 12 h 12"/>
                <a:gd name="T6" fmla="*/ 18 w 21"/>
                <a:gd name="T7" fmla="*/ 3 h 12"/>
                <a:gd name="T8" fmla="*/ 12 w 21"/>
                <a:gd name="T9" fmla="*/ 3 h 12"/>
              </a:gdLst>
              <a:ahLst/>
              <a:cxnLst>
                <a:cxn ang="0">
                  <a:pos x="T0" y="T1"/>
                </a:cxn>
                <a:cxn ang="0">
                  <a:pos x="T2" y="T3"/>
                </a:cxn>
                <a:cxn ang="0">
                  <a:pos x="T4" y="T5"/>
                </a:cxn>
                <a:cxn ang="0">
                  <a:pos x="T6" y="T7"/>
                </a:cxn>
                <a:cxn ang="0">
                  <a:pos x="T8" y="T9"/>
                </a:cxn>
              </a:cxnLst>
              <a:rect l="0" t="0" r="r" b="b"/>
              <a:pathLst>
                <a:path w="21" h="12">
                  <a:moveTo>
                    <a:pt x="12" y="3"/>
                  </a:moveTo>
                  <a:cubicBezTo>
                    <a:pt x="9" y="0"/>
                    <a:pt x="0" y="3"/>
                    <a:pt x="0" y="6"/>
                  </a:cubicBezTo>
                  <a:cubicBezTo>
                    <a:pt x="3" y="12"/>
                    <a:pt x="12" y="12"/>
                    <a:pt x="18" y="12"/>
                  </a:cubicBezTo>
                  <a:cubicBezTo>
                    <a:pt x="21" y="9"/>
                    <a:pt x="21" y="6"/>
                    <a:pt x="18" y="3"/>
                  </a:cubicBezTo>
                  <a:cubicBezTo>
                    <a:pt x="15" y="0"/>
                    <a:pt x="12"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5" name="Freeform 1010"/>
            <p:cNvSpPr>
              <a:spLocks/>
            </p:cNvSpPr>
            <p:nvPr userDrawn="1"/>
          </p:nvSpPr>
          <p:spPr bwMode="auto">
            <a:xfrm>
              <a:off x="506" y="-2692"/>
              <a:ext cx="683" cy="474"/>
            </a:xfrm>
            <a:custGeom>
              <a:avLst/>
              <a:gdLst>
                <a:gd name="T0" fmla="*/ 402 w 438"/>
                <a:gd name="T1" fmla="*/ 250 h 304"/>
                <a:gd name="T2" fmla="*/ 351 w 438"/>
                <a:gd name="T3" fmla="*/ 232 h 304"/>
                <a:gd name="T4" fmla="*/ 324 w 438"/>
                <a:gd name="T5" fmla="*/ 208 h 304"/>
                <a:gd name="T6" fmla="*/ 306 w 438"/>
                <a:gd name="T7" fmla="*/ 36 h 304"/>
                <a:gd name="T8" fmla="*/ 258 w 438"/>
                <a:gd name="T9" fmla="*/ 27 h 304"/>
                <a:gd name="T10" fmla="*/ 186 w 438"/>
                <a:gd name="T11" fmla="*/ 21 h 304"/>
                <a:gd name="T12" fmla="*/ 156 w 438"/>
                <a:gd name="T13" fmla="*/ 12 h 304"/>
                <a:gd name="T14" fmla="*/ 135 w 438"/>
                <a:gd name="T15" fmla="*/ 9 h 304"/>
                <a:gd name="T16" fmla="*/ 120 w 438"/>
                <a:gd name="T17" fmla="*/ 9 h 304"/>
                <a:gd name="T18" fmla="*/ 93 w 438"/>
                <a:gd name="T19" fmla="*/ 21 h 304"/>
                <a:gd name="T20" fmla="*/ 57 w 438"/>
                <a:gd name="T21" fmla="*/ 33 h 304"/>
                <a:gd name="T22" fmla="*/ 21 w 438"/>
                <a:gd name="T23" fmla="*/ 60 h 304"/>
                <a:gd name="T24" fmla="*/ 69 w 438"/>
                <a:gd name="T25" fmla="*/ 87 h 304"/>
                <a:gd name="T26" fmla="*/ 72 w 438"/>
                <a:gd name="T27" fmla="*/ 102 h 304"/>
                <a:gd name="T28" fmla="*/ 48 w 438"/>
                <a:gd name="T29" fmla="*/ 99 h 304"/>
                <a:gd name="T30" fmla="*/ 18 w 438"/>
                <a:gd name="T31" fmla="*/ 105 h 304"/>
                <a:gd name="T32" fmla="*/ 18 w 438"/>
                <a:gd name="T33" fmla="*/ 126 h 304"/>
                <a:gd name="T34" fmla="*/ 60 w 438"/>
                <a:gd name="T35" fmla="*/ 135 h 304"/>
                <a:gd name="T36" fmla="*/ 78 w 438"/>
                <a:gd name="T37" fmla="*/ 153 h 304"/>
                <a:gd name="T38" fmla="*/ 45 w 438"/>
                <a:gd name="T39" fmla="*/ 160 h 304"/>
                <a:gd name="T40" fmla="*/ 24 w 438"/>
                <a:gd name="T41" fmla="*/ 190 h 304"/>
                <a:gd name="T42" fmla="*/ 45 w 438"/>
                <a:gd name="T43" fmla="*/ 220 h 304"/>
                <a:gd name="T44" fmla="*/ 69 w 438"/>
                <a:gd name="T45" fmla="*/ 226 h 304"/>
                <a:gd name="T46" fmla="*/ 96 w 438"/>
                <a:gd name="T47" fmla="*/ 238 h 304"/>
                <a:gd name="T48" fmla="*/ 120 w 438"/>
                <a:gd name="T49" fmla="*/ 235 h 304"/>
                <a:gd name="T50" fmla="*/ 102 w 438"/>
                <a:gd name="T51" fmla="*/ 271 h 304"/>
                <a:gd name="T52" fmla="*/ 57 w 438"/>
                <a:gd name="T53" fmla="*/ 298 h 304"/>
                <a:gd name="T54" fmla="*/ 84 w 438"/>
                <a:gd name="T55" fmla="*/ 289 h 304"/>
                <a:gd name="T56" fmla="*/ 111 w 438"/>
                <a:gd name="T57" fmla="*/ 277 h 304"/>
                <a:gd name="T58" fmla="*/ 147 w 438"/>
                <a:gd name="T59" fmla="*/ 250 h 304"/>
                <a:gd name="T60" fmla="*/ 165 w 438"/>
                <a:gd name="T61" fmla="*/ 235 h 304"/>
                <a:gd name="T62" fmla="*/ 174 w 438"/>
                <a:gd name="T63" fmla="*/ 214 h 304"/>
                <a:gd name="T64" fmla="*/ 198 w 438"/>
                <a:gd name="T65" fmla="*/ 193 h 304"/>
                <a:gd name="T66" fmla="*/ 192 w 438"/>
                <a:gd name="T67" fmla="*/ 202 h 304"/>
                <a:gd name="T68" fmla="*/ 183 w 438"/>
                <a:gd name="T69" fmla="*/ 226 h 304"/>
                <a:gd name="T70" fmla="*/ 228 w 438"/>
                <a:gd name="T71" fmla="*/ 217 h 304"/>
                <a:gd name="T72" fmla="*/ 225 w 438"/>
                <a:gd name="T73" fmla="*/ 199 h 304"/>
                <a:gd name="T74" fmla="*/ 249 w 438"/>
                <a:gd name="T75" fmla="*/ 202 h 304"/>
                <a:gd name="T76" fmla="*/ 255 w 438"/>
                <a:gd name="T77" fmla="*/ 208 h 304"/>
                <a:gd name="T78" fmla="*/ 276 w 438"/>
                <a:gd name="T79" fmla="*/ 214 h 304"/>
                <a:gd name="T80" fmla="*/ 324 w 438"/>
                <a:gd name="T81" fmla="*/ 214 h 304"/>
                <a:gd name="T82" fmla="*/ 342 w 438"/>
                <a:gd name="T83" fmla="*/ 232 h 304"/>
                <a:gd name="T84" fmla="*/ 369 w 438"/>
                <a:gd name="T85" fmla="*/ 244 h 304"/>
                <a:gd name="T86" fmla="*/ 375 w 438"/>
                <a:gd name="T87" fmla="*/ 250 h 304"/>
                <a:gd name="T88" fmla="*/ 369 w 438"/>
                <a:gd name="T89" fmla="*/ 259 h 304"/>
                <a:gd name="T90" fmla="*/ 378 w 438"/>
                <a:gd name="T91" fmla="*/ 262 h 304"/>
                <a:gd name="T92" fmla="*/ 387 w 438"/>
                <a:gd name="T93" fmla="*/ 259 h 304"/>
                <a:gd name="T94" fmla="*/ 390 w 438"/>
                <a:gd name="T95" fmla="*/ 265 h 304"/>
                <a:gd name="T96" fmla="*/ 390 w 438"/>
                <a:gd name="T97" fmla="*/ 274 h 304"/>
                <a:gd name="T98" fmla="*/ 402 w 438"/>
                <a:gd name="T99" fmla="*/ 274 h 304"/>
                <a:gd name="T100" fmla="*/ 405 w 438"/>
                <a:gd name="T101" fmla="*/ 286 h 304"/>
                <a:gd name="T102" fmla="*/ 396 w 438"/>
                <a:gd name="T103" fmla="*/ 301 h 304"/>
                <a:gd name="T104" fmla="*/ 411 w 438"/>
                <a:gd name="T105" fmla="*/ 292 h 304"/>
                <a:gd name="T106" fmla="*/ 423 w 438"/>
                <a:gd name="T107" fmla="*/ 301 h 304"/>
                <a:gd name="T108" fmla="*/ 432 w 438"/>
                <a:gd name="T109" fmla="*/ 28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304">
                  <a:moveTo>
                    <a:pt x="432" y="286"/>
                  </a:moveTo>
                  <a:cubicBezTo>
                    <a:pt x="432" y="283"/>
                    <a:pt x="435" y="280"/>
                    <a:pt x="420" y="274"/>
                  </a:cubicBezTo>
                  <a:cubicBezTo>
                    <a:pt x="408" y="271"/>
                    <a:pt x="411" y="265"/>
                    <a:pt x="402" y="250"/>
                  </a:cubicBezTo>
                  <a:cubicBezTo>
                    <a:pt x="393" y="235"/>
                    <a:pt x="378" y="229"/>
                    <a:pt x="378" y="223"/>
                  </a:cubicBezTo>
                  <a:cubicBezTo>
                    <a:pt x="378" y="217"/>
                    <a:pt x="360" y="217"/>
                    <a:pt x="360" y="223"/>
                  </a:cubicBezTo>
                  <a:cubicBezTo>
                    <a:pt x="360" y="226"/>
                    <a:pt x="354" y="229"/>
                    <a:pt x="351" y="232"/>
                  </a:cubicBezTo>
                  <a:cubicBezTo>
                    <a:pt x="348" y="232"/>
                    <a:pt x="345" y="229"/>
                    <a:pt x="342" y="226"/>
                  </a:cubicBezTo>
                  <a:cubicBezTo>
                    <a:pt x="339" y="220"/>
                    <a:pt x="330" y="217"/>
                    <a:pt x="330" y="214"/>
                  </a:cubicBezTo>
                  <a:cubicBezTo>
                    <a:pt x="330" y="211"/>
                    <a:pt x="330" y="205"/>
                    <a:pt x="324" y="208"/>
                  </a:cubicBezTo>
                  <a:cubicBezTo>
                    <a:pt x="318" y="211"/>
                    <a:pt x="315" y="208"/>
                    <a:pt x="312" y="211"/>
                  </a:cubicBezTo>
                  <a:cubicBezTo>
                    <a:pt x="306" y="208"/>
                    <a:pt x="306" y="208"/>
                    <a:pt x="306" y="208"/>
                  </a:cubicBezTo>
                  <a:cubicBezTo>
                    <a:pt x="306" y="36"/>
                    <a:pt x="306" y="36"/>
                    <a:pt x="306" y="36"/>
                  </a:cubicBezTo>
                  <a:cubicBezTo>
                    <a:pt x="303" y="33"/>
                    <a:pt x="303" y="33"/>
                    <a:pt x="303" y="33"/>
                  </a:cubicBezTo>
                  <a:cubicBezTo>
                    <a:pt x="294" y="30"/>
                    <a:pt x="285" y="27"/>
                    <a:pt x="279" y="27"/>
                  </a:cubicBezTo>
                  <a:cubicBezTo>
                    <a:pt x="273" y="30"/>
                    <a:pt x="261" y="30"/>
                    <a:pt x="258" y="27"/>
                  </a:cubicBezTo>
                  <a:cubicBezTo>
                    <a:pt x="252" y="27"/>
                    <a:pt x="246" y="24"/>
                    <a:pt x="240" y="27"/>
                  </a:cubicBezTo>
                  <a:cubicBezTo>
                    <a:pt x="231" y="27"/>
                    <a:pt x="225" y="21"/>
                    <a:pt x="216" y="18"/>
                  </a:cubicBezTo>
                  <a:cubicBezTo>
                    <a:pt x="204" y="15"/>
                    <a:pt x="189" y="18"/>
                    <a:pt x="186" y="21"/>
                  </a:cubicBezTo>
                  <a:cubicBezTo>
                    <a:pt x="183" y="21"/>
                    <a:pt x="183" y="18"/>
                    <a:pt x="180" y="18"/>
                  </a:cubicBezTo>
                  <a:cubicBezTo>
                    <a:pt x="174" y="18"/>
                    <a:pt x="177" y="15"/>
                    <a:pt x="177" y="12"/>
                  </a:cubicBezTo>
                  <a:cubicBezTo>
                    <a:pt x="174" y="9"/>
                    <a:pt x="162" y="12"/>
                    <a:pt x="156" y="12"/>
                  </a:cubicBezTo>
                  <a:cubicBezTo>
                    <a:pt x="153" y="12"/>
                    <a:pt x="150" y="9"/>
                    <a:pt x="150" y="6"/>
                  </a:cubicBezTo>
                  <a:cubicBezTo>
                    <a:pt x="150" y="6"/>
                    <a:pt x="147" y="6"/>
                    <a:pt x="144" y="9"/>
                  </a:cubicBezTo>
                  <a:cubicBezTo>
                    <a:pt x="144" y="12"/>
                    <a:pt x="138" y="12"/>
                    <a:pt x="135" y="9"/>
                  </a:cubicBezTo>
                  <a:cubicBezTo>
                    <a:pt x="135" y="9"/>
                    <a:pt x="141" y="9"/>
                    <a:pt x="141" y="6"/>
                  </a:cubicBezTo>
                  <a:cubicBezTo>
                    <a:pt x="141" y="3"/>
                    <a:pt x="135" y="3"/>
                    <a:pt x="132" y="0"/>
                  </a:cubicBezTo>
                  <a:cubicBezTo>
                    <a:pt x="129" y="0"/>
                    <a:pt x="126" y="3"/>
                    <a:pt x="120" y="9"/>
                  </a:cubicBezTo>
                  <a:cubicBezTo>
                    <a:pt x="114" y="12"/>
                    <a:pt x="108" y="12"/>
                    <a:pt x="102" y="12"/>
                  </a:cubicBezTo>
                  <a:cubicBezTo>
                    <a:pt x="96" y="12"/>
                    <a:pt x="90" y="12"/>
                    <a:pt x="93" y="15"/>
                  </a:cubicBezTo>
                  <a:cubicBezTo>
                    <a:pt x="93" y="18"/>
                    <a:pt x="99" y="18"/>
                    <a:pt x="93" y="21"/>
                  </a:cubicBezTo>
                  <a:cubicBezTo>
                    <a:pt x="90" y="24"/>
                    <a:pt x="90" y="18"/>
                    <a:pt x="87" y="21"/>
                  </a:cubicBezTo>
                  <a:cubicBezTo>
                    <a:pt x="81" y="24"/>
                    <a:pt x="72" y="24"/>
                    <a:pt x="69" y="24"/>
                  </a:cubicBezTo>
                  <a:cubicBezTo>
                    <a:pt x="66" y="24"/>
                    <a:pt x="60" y="33"/>
                    <a:pt x="57" y="33"/>
                  </a:cubicBezTo>
                  <a:cubicBezTo>
                    <a:pt x="54" y="36"/>
                    <a:pt x="57" y="39"/>
                    <a:pt x="51" y="45"/>
                  </a:cubicBezTo>
                  <a:cubicBezTo>
                    <a:pt x="45" y="54"/>
                    <a:pt x="27" y="51"/>
                    <a:pt x="24" y="51"/>
                  </a:cubicBezTo>
                  <a:cubicBezTo>
                    <a:pt x="18" y="51"/>
                    <a:pt x="21" y="57"/>
                    <a:pt x="21" y="60"/>
                  </a:cubicBezTo>
                  <a:cubicBezTo>
                    <a:pt x="18" y="63"/>
                    <a:pt x="21" y="63"/>
                    <a:pt x="33" y="66"/>
                  </a:cubicBezTo>
                  <a:cubicBezTo>
                    <a:pt x="42" y="69"/>
                    <a:pt x="51" y="84"/>
                    <a:pt x="51" y="87"/>
                  </a:cubicBezTo>
                  <a:cubicBezTo>
                    <a:pt x="51" y="90"/>
                    <a:pt x="66" y="87"/>
                    <a:pt x="69" y="87"/>
                  </a:cubicBezTo>
                  <a:cubicBezTo>
                    <a:pt x="75" y="87"/>
                    <a:pt x="69" y="96"/>
                    <a:pt x="75" y="96"/>
                  </a:cubicBezTo>
                  <a:cubicBezTo>
                    <a:pt x="78" y="99"/>
                    <a:pt x="84" y="96"/>
                    <a:pt x="87" y="99"/>
                  </a:cubicBezTo>
                  <a:cubicBezTo>
                    <a:pt x="87" y="102"/>
                    <a:pt x="78" y="99"/>
                    <a:pt x="72" y="102"/>
                  </a:cubicBezTo>
                  <a:cubicBezTo>
                    <a:pt x="66" y="108"/>
                    <a:pt x="66" y="108"/>
                    <a:pt x="63" y="105"/>
                  </a:cubicBezTo>
                  <a:cubicBezTo>
                    <a:pt x="60" y="102"/>
                    <a:pt x="51" y="105"/>
                    <a:pt x="48" y="105"/>
                  </a:cubicBezTo>
                  <a:cubicBezTo>
                    <a:pt x="45" y="105"/>
                    <a:pt x="48" y="99"/>
                    <a:pt x="48" y="99"/>
                  </a:cubicBezTo>
                  <a:cubicBezTo>
                    <a:pt x="48" y="96"/>
                    <a:pt x="42" y="93"/>
                    <a:pt x="33" y="99"/>
                  </a:cubicBezTo>
                  <a:cubicBezTo>
                    <a:pt x="27" y="102"/>
                    <a:pt x="30" y="102"/>
                    <a:pt x="27" y="105"/>
                  </a:cubicBezTo>
                  <a:cubicBezTo>
                    <a:pt x="27" y="108"/>
                    <a:pt x="24" y="102"/>
                    <a:pt x="18" y="105"/>
                  </a:cubicBezTo>
                  <a:cubicBezTo>
                    <a:pt x="12" y="108"/>
                    <a:pt x="3" y="111"/>
                    <a:pt x="3" y="114"/>
                  </a:cubicBezTo>
                  <a:cubicBezTo>
                    <a:pt x="0" y="117"/>
                    <a:pt x="15" y="120"/>
                    <a:pt x="18" y="120"/>
                  </a:cubicBezTo>
                  <a:cubicBezTo>
                    <a:pt x="24" y="123"/>
                    <a:pt x="12" y="126"/>
                    <a:pt x="18" y="126"/>
                  </a:cubicBezTo>
                  <a:cubicBezTo>
                    <a:pt x="21" y="129"/>
                    <a:pt x="18" y="132"/>
                    <a:pt x="27" y="135"/>
                  </a:cubicBezTo>
                  <a:cubicBezTo>
                    <a:pt x="33" y="138"/>
                    <a:pt x="45" y="135"/>
                    <a:pt x="51" y="135"/>
                  </a:cubicBezTo>
                  <a:cubicBezTo>
                    <a:pt x="54" y="135"/>
                    <a:pt x="57" y="138"/>
                    <a:pt x="60" y="135"/>
                  </a:cubicBezTo>
                  <a:cubicBezTo>
                    <a:pt x="63" y="132"/>
                    <a:pt x="75" y="123"/>
                    <a:pt x="81" y="129"/>
                  </a:cubicBezTo>
                  <a:cubicBezTo>
                    <a:pt x="87" y="135"/>
                    <a:pt x="75" y="135"/>
                    <a:pt x="78" y="138"/>
                  </a:cubicBezTo>
                  <a:cubicBezTo>
                    <a:pt x="81" y="141"/>
                    <a:pt x="84" y="147"/>
                    <a:pt x="78" y="153"/>
                  </a:cubicBezTo>
                  <a:cubicBezTo>
                    <a:pt x="72" y="157"/>
                    <a:pt x="66" y="153"/>
                    <a:pt x="63" y="153"/>
                  </a:cubicBezTo>
                  <a:cubicBezTo>
                    <a:pt x="60" y="153"/>
                    <a:pt x="63" y="160"/>
                    <a:pt x="57" y="163"/>
                  </a:cubicBezTo>
                  <a:cubicBezTo>
                    <a:pt x="54" y="166"/>
                    <a:pt x="51" y="160"/>
                    <a:pt x="45" y="160"/>
                  </a:cubicBezTo>
                  <a:cubicBezTo>
                    <a:pt x="39" y="160"/>
                    <a:pt x="39" y="166"/>
                    <a:pt x="39" y="172"/>
                  </a:cubicBezTo>
                  <a:cubicBezTo>
                    <a:pt x="39" y="175"/>
                    <a:pt x="30" y="169"/>
                    <a:pt x="27" y="178"/>
                  </a:cubicBezTo>
                  <a:cubicBezTo>
                    <a:pt x="27" y="187"/>
                    <a:pt x="15" y="181"/>
                    <a:pt x="24" y="190"/>
                  </a:cubicBezTo>
                  <a:cubicBezTo>
                    <a:pt x="30" y="199"/>
                    <a:pt x="27" y="193"/>
                    <a:pt x="33" y="196"/>
                  </a:cubicBezTo>
                  <a:cubicBezTo>
                    <a:pt x="39" y="199"/>
                    <a:pt x="27" y="205"/>
                    <a:pt x="33" y="205"/>
                  </a:cubicBezTo>
                  <a:cubicBezTo>
                    <a:pt x="36" y="208"/>
                    <a:pt x="42" y="217"/>
                    <a:pt x="45" y="220"/>
                  </a:cubicBezTo>
                  <a:cubicBezTo>
                    <a:pt x="51" y="223"/>
                    <a:pt x="54" y="217"/>
                    <a:pt x="60" y="217"/>
                  </a:cubicBezTo>
                  <a:cubicBezTo>
                    <a:pt x="66" y="217"/>
                    <a:pt x="63" y="211"/>
                    <a:pt x="66" y="214"/>
                  </a:cubicBezTo>
                  <a:cubicBezTo>
                    <a:pt x="69" y="217"/>
                    <a:pt x="72" y="223"/>
                    <a:pt x="69" y="226"/>
                  </a:cubicBezTo>
                  <a:cubicBezTo>
                    <a:pt x="66" y="229"/>
                    <a:pt x="69" y="235"/>
                    <a:pt x="69" y="238"/>
                  </a:cubicBezTo>
                  <a:cubicBezTo>
                    <a:pt x="69" y="241"/>
                    <a:pt x="81" y="238"/>
                    <a:pt x="81" y="235"/>
                  </a:cubicBezTo>
                  <a:cubicBezTo>
                    <a:pt x="81" y="232"/>
                    <a:pt x="90" y="232"/>
                    <a:pt x="96" y="238"/>
                  </a:cubicBezTo>
                  <a:cubicBezTo>
                    <a:pt x="102" y="241"/>
                    <a:pt x="105" y="244"/>
                    <a:pt x="105" y="238"/>
                  </a:cubicBezTo>
                  <a:cubicBezTo>
                    <a:pt x="105" y="235"/>
                    <a:pt x="108" y="229"/>
                    <a:pt x="108" y="232"/>
                  </a:cubicBezTo>
                  <a:cubicBezTo>
                    <a:pt x="108" y="238"/>
                    <a:pt x="114" y="238"/>
                    <a:pt x="120" y="235"/>
                  </a:cubicBezTo>
                  <a:cubicBezTo>
                    <a:pt x="129" y="232"/>
                    <a:pt x="126" y="235"/>
                    <a:pt x="120" y="241"/>
                  </a:cubicBezTo>
                  <a:cubicBezTo>
                    <a:pt x="114" y="247"/>
                    <a:pt x="120" y="256"/>
                    <a:pt x="117" y="259"/>
                  </a:cubicBezTo>
                  <a:cubicBezTo>
                    <a:pt x="114" y="259"/>
                    <a:pt x="111" y="268"/>
                    <a:pt x="102" y="271"/>
                  </a:cubicBezTo>
                  <a:cubicBezTo>
                    <a:pt x="96" y="271"/>
                    <a:pt x="87" y="283"/>
                    <a:pt x="84" y="286"/>
                  </a:cubicBezTo>
                  <a:cubicBezTo>
                    <a:pt x="84" y="286"/>
                    <a:pt x="69" y="280"/>
                    <a:pt x="66" y="286"/>
                  </a:cubicBezTo>
                  <a:cubicBezTo>
                    <a:pt x="66" y="292"/>
                    <a:pt x="57" y="295"/>
                    <a:pt x="57" y="298"/>
                  </a:cubicBezTo>
                  <a:cubicBezTo>
                    <a:pt x="60" y="301"/>
                    <a:pt x="72" y="295"/>
                    <a:pt x="72" y="292"/>
                  </a:cubicBezTo>
                  <a:cubicBezTo>
                    <a:pt x="72" y="289"/>
                    <a:pt x="75" y="289"/>
                    <a:pt x="75" y="292"/>
                  </a:cubicBezTo>
                  <a:cubicBezTo>
                    <a:pt x="78" y="292"/>
                    <a:pt x="84" y="289"/>
                    <a:pt x="84" y="289"/>
                  </a:cubicBezTo>
                  <a:cubicBezTo>
                    <a:pt x="87" y="286"/>
                    <a:pt x="90" y="286"/>
                    <a:pt x="93" y="286"/>
                  </a:cubicBezTo>
                  <a:cubicBezTo>
                    <a:pt x="96" y="286"/>
                    <a:pt x="96" y="283"/>
                    <a:pt x="102" y="283"/>
                  </a:cubicBezTo>
                  <a:cubicBezTo>
                    <a:pt x="111" y="283"/>
                    <a:pt x="108" y="280"/>
                    <a:pt x="111" y="277"/>
                  </a:cubicBezTo>
                  <a:cubicBezTo>
                    <a:pt x="111" y="274"/>
                    <a:pt x="129" y="265"/>
                    <a:pt x="132" y="265"/>
                  </a:cubicBezTo>
                  <a:cubicBezTo>
                    <a:pt x="135" y="265"/>
                    <a:pt x="132" y="259"/>
                    <a:pt x="135" y="259"/>
                  </a:cubicBezTo>
                  <a:cubicBezTo>
                    <a:pt x="138" y="259"/>
                    <a:pt x="144" y="253"/>
                    <a:pt x="147" y="250"/>
                  </a:cubicBezTo>
                  <a:cubicBezTo>
                    <a:pt x="153" y="247"/>
                    <a:pt x="153" y="250"/>
                    <a:pt x="156" y="247"/>
                  </a:cubicBezTo>
                  <a:cubicBezTo>
                    <a:pt x="159" y="247"/>
                    <a:pt x="156" y="241"/>
                    <a:pt x="159" y="238"/>
                  </a:cubicBezTo>
                  <a:cubicBezTo>
                    <a:pt x="162" y="238"/>
                    <a:pt x="165" y="235"/>
                    <a:pt x="165" y="235"/>
                  </a:cubicBezTo>
                  <a:cubicBezTo>
                    <a:pt x="165" y="232"/>
                    <a:pt x="159" y="232"/>
                    <a:pt x="156" y="229"/>
                  </a:cubicBezTo>
                  <a:cubicBezTo>
                    <a:pt x="156" y="226"/>
                    <a:pt x="162" y="220"/>
                    <a:pt x="165" y="220"/>
                  </a:cubicBezTo>
                  <a:cubicBezTo>
                    <a:pt x="168" y="220"/>
                    <a:pt x="174" y="217"/>
                    <a:pt x="174" y="214"/>
                  </a:cubicBezTo>
                  <a:cubicBezTo>
                    <a:pt x="174" y="211"/>
                    <a:pt x="177" y="211"/>
                    <a:pt x="180" y="205"/>
                  </a:cubicBezTo>
                  <a:cubicBezTo>
                    <a:pt x="183" y="202"/>
                    <a:pt x="183" y="199"/>
                    <a:pt x="186" y="199"/>
                  </a:cubicBezTo>
                  <a:cubicBezTo>
                    <a:pt x="189" y="199"/>
                    <a:pt x="192" y="196"/>
                    <a:pt x="198" y="193"/>
                  </a:cubicBezTo>
                  <a:cubicBezTo>
                    <a:pt x="201" y="190"/>
                    <a:pt x="198" y="196"/>
                    <a:pt x="204" y="196"/>
                  </a:cubicBezTo>
                  <a:cubicBezTo>
                    <a:pt x="210" y="196"/>
                    <a:pt x="210" y="202"/>
                    <a:pt x="204" y="199"/>
                  </a:cubicBezTo>
                  <a:cubicBezTo>
                    <a:pt x="198" y="196"/>
                    <a:pt x="195" y="199"/>
                    <a:pt x="192" y="202"/>
                  </a:cubicBezTo>
                  <a:cubicBezTo>
                    <a:pt x="186" y="205"/>
                    <a:pt x="192" y="208"/>
                    <a:pt x="186" y="211"/>
                  </a:cubicBezTo>
                  <a:cubicBezTo>
                    <a:pt x="183" y="217"/>
                    <a:pt x="183" y="220"/>
                    <a:pt x="189" y="220"/>
                  </a:cubicBezTo>
                  <a:cubicBezTo>
                    <a:pt x="192" y="220"/>
                    <a:pt x="189" y="223"/>
                    <a:pt x="183" y="226"/>
                  </a:cubicBezTo>
                  <a:cubicBezTo>
                    <a:pt x="180" y="226"/>
                    <a:pt x="183" y="229"/>
                    <a:pt x="189" y="229"/>
                  </a:cubicBezTo>
                  <a:cubicBezTo>
                    <a:pt x="195" y="229"/>
                    <a:pt x="204" y="220"/>
                    <a:pt x="210" y="217"/>
                  </a:cubicBezTo>
                  <a:cubicBezTo>
                    <a:pt x="219" y="214"/>
                    <a:pt x="225" y="217"/>
                    <a:pt x="228" y="217"/>
                  </a:cubicBezTo>
                  <a:cubicBezTo>
                    <a:pt x="228" y="214"/>
                    <a:pt x="225" y="211"/>
                    <a:pt x="228" y="211"/>
                  </a:cubicBezTo>
                  <a:cubicBezTo>
                    <a:pt x="231" y="208"/>
                    <a:pt x="225" y="208"/>
                    <a:pt x="222" y="205"/>
                  </a:cubicBezTo>
                  <a:cubicBezTo>
                    <a:pt x="222" y="199"/>
                    <a:pt x="225" y="202"/>
                    <a:pt x="225" y="199"/>
                  </a:cubicBezTo>
                  <a:cubicBezTo>
                    <a:pt x="228" y="193"/>
                    <a:pt x="231" y="196"/>
                    <a:pt x="231" y="199"/>
                  </a:cubicBezTo>
                  <a:cubicBezTo>
                    <a:pt x="234" y="199"/>
                    <a:pt x="237" y="196"/>
                    <a:pt x="240" y="202"/>
                  </a:cubicBezTo>
                  <a:cubicBezTo>
                    <a:pt x="243" y="205"/>
                    <a:pt x="246" y="199"/>
                    <a:pt x="249" y="202"/>
                  </a:cubicBezTo>
                  <a:cubicBezTo>
                    <a:pt x="252" y="205"/>
                    <a:pt x="249" y="205"/>
                    <a:pt x="243" y="205"/>
                  </a:cubicBezTo>
                  <a:cubicBezTo>
                    <a:pt x="240" y="208"/>
                    <a:pt x="243" y="214"/>
                    <a:pt x="246" y="211"/>
                  </a:cubicBezTo>
                  <a:cubicBezTo>
                    <a:pt x="249" y="208"/>
                    <a:pt x="252" y="205"/>
                    <a:pt x="255" y="208"/>
                  </a:cubicBezTo>
                  <a:cubicBezTo>
                    <a:pt x="258" y="211"/>
                    <a:pt x="258" y="211"/>
                    <a:pt x="261" y="208"/>
                  </a:cubicBezTo>
                  <a:cubicBezTo>
                    <a:pt x="264" y="205"/>
                    <a:pt x="264" y="208"/>
                    <a:pt x="264" y="211"/>
                  </a:cubicBezTo>
                  <a:cubicBezTo>
                    <a:pt x="264" y="211"/>
                    <a:pt x="270" y="214"/>
                    <a:pt x="276" y="214"/>
                  </a:cubicBezTo>
                  <a:cubicBezTo>
                    <a:pt x="285" y="214"/>
                    <a:pt x="297" y="214"/>
                    <a:pt x="300" y="214"/>
                  </a:cubicBezTo>
                  <a:cubicBezTo>
                    <a:pt x="306" y="214"/>
                    <a:pt x="303" y="217"/>
                    <a:pt x="312" y="220"/>
                  </a:cubicBezTo>
                  <a:cubicBezTo>
                    <a:pt x="318" y="220"/>
                    <a:pt x="321" y="211"/>
                    <a:pt x="324" y="214"/>
                  </a:cubicBezTo>
                  <a:cubicBezTo>
                    <a:pt x="330" y="220"/>
                    <a:pt x="324" y="220"/>
                    <a:pt x="324" y="223"/>
                  </a:cubicBezTo>
                  <a:cubicBezTo>
                    <a:pt x="321" y="226"/>
                    <a:pt x="324" y="226"/>
                    <a:pt x="327" y="226"/>
                  </a:cubicBezTo>
                  <a:cubicBezTo>
                    <a:pt x="330" y="229"/>
                    <a:pt x="339" y="229"/>
                    <a:pt x="342" y="232"/>
                  </a:cubicBezTo>
                  <a:cubicBezTo>
                    <a:pt x="345" y="235"/>
                    <a:pt x="348" y="241"/>
                    <a:pt x="354" y="244"/>
                  </a:cubicBezTo>
                  <a:cubicBezTo>
                    <a:pt x="363" y="247"/>
                    <a:pt x="354" y="235"/>
                    <a:pt x="360" y="238"/>
                  </a:cubicBezTo>
                  <a:cubicBezTo>
                    <a:pt x="366" y="244"/>
                    <a:pt x="366" y="238"/>
                    <a:pt x="369" y="244"/>
                  </a:cubicBezTo>
                  <a:cubicBezTo>
                    <a:pt x="375" y="247"/>
                    <a:pt x="372" y="241"/>
                    <a:pt x="372" y="232"/>
                  </a:cubicBezTo>
                  <a:cubicBezTo>
                    <a:pt x="369" y="226"/>
                    <a:pt x="372" y="232"/>
                    <a:pt x="375" y="235"/>
                  </a:cubicBezTo>
                  <a:cubicBezTo>
                    <a:pt x="378" y="238"/>
                    <a:pt x="378" y="244"/>
                    <a:pt x="375" y="250"/>
                  </a:cubicBezTo>
                  <a:cubicBezTo>
                    <a:pt x="375" y="253"/>
                    <a:pt x="366" y="250"/>
                    <a:pt x="369" y="247"/>
                  </a:cubicBezTo>
                  <a:cubicBezTo>
                    <a:pt x="369" y="244"/>
                    <a:pt x="360" y="247"/>
                    <a:pt x="360" y="250"/>
                  </a:cubicBezTo>
                  <a:cubicBezTo>
                    <a:pt x="360" y="253"/>
                    <a:pt x="366" y="259"/>
                    <a:pt x="369" y="259"/>
                  </a:cubicBezTo>
                  <a:cubicBezTo>
                    <a:pt x="375" y="262"/>
                    <a:pt x="372" y="268"/>
                    <a:pt x="372" y="268"/>
                  </a:cubicBezTo>
                  <a:cubicBezTo>
                    <a:pt x="378" y="268"/>
                    <a:pt x="375" y="277"/>
                    <a:pt x="378" y="274"/>
                  </a:cubicBezTo>
                  <a:cubicBezTo>
                    <a:pt x="381" y="274"/>
                    <a:pt x="381" y="265"/>
                    <a:pt x="378" y="262"/>
                  </a:cubicBezTo>
                  <a:cubicBezTo>
                    <a:pt x="375" y="259"/>
                    <a:pt x="375" y="253"/>
                    <a:pt x="378" y="256"/>
                  </a:cubicBezTo>
                  <a:cubicBezTo>
                    <a:pt x="381" y="256"/>
                    <a:pt x="378" y="262"/>
                    <a:pt x="381" y="262"/>
                  </a:cubicBezTo>
                  <a:cubicBezTo>
                    <a:pt x="381" y="265"/>
                    <a:pt x="384" y="262"/>
                    <a:pt x="387" y="259"/>
                  </a:cubicBezTo>
                  <a:cubicBezTo>
                    <a:pt x="390" y="256"/>
                    <a:pt x="387" y="250"/>
                    <a:pt x="387" y="247"/>
                  </a:cubicBezTo>
                  <a:cubicBezTo>
                    <a:pt x="387" y="244"/>
                    <a:pt x="393" y="250"/>
                    <a:pt x="393" y="256"/>
                  </a:cubicBezTo>
                  <a:cubicBezTo>
                    <a:pt x="396" y="262"/>
                    <a:pt x="390" y="262"/>
                    <a:pt x="390" y="265"/>
                  </a:cubicBezTo>
                  <a:cubicBezTo>
                    <a:pt x="390" y="268"/>
                    <a:pt x="384" y="265"/>
                    <a:pt x="384" y="268"/>
                  </a:cubicBezTo>
                  <a:cubicBezTo>
                    <a:pt x="381" y="268"/>
                    <a:pt x="384" y="277"/>
                    <a:pt x="384" y="280"/>
                  </a:cubicBezTo>
                  <a:cubicBezTo>
                    <a:pt x="387" y="280"/>
                    <a:pt x="387" y="271"/>
                    <a:pt x="390" y="274"/>
                  </a:cubicBezTo>
                  <a:cubicBezTo>
                    <a:pt x="390" y="280"/>
                    <a:pt x="396" y="268"/>
                    <a:pt x="396" y="274"/>
                  </a:cubicBezTo>
                  <a:cubicBezTo>
                    <a:pt x="399" y="277"/>
                    <a:pt x="405" y="283"/>
                    <a:pt x="405" y="280"/>
                  </a:cubicBezTo>
                  <a:cubicBezTo>
                    <a:pt x="408" y="280"/>
                    <a:pt x="405" y="274"/>
                    <a:pt x="402" y="274"/>
                  </a:cubicBezTo>
                  <a:cubicBezTo>
                    <a:pt x="399" y="274"/>
                    <a:pt x="399" y="268"/>
                    <a:pt x="402" y="268"/>
                  </a:cubicBezTo>
                  <a:cubicBezTo>
                    <a:pt x="405" y="268"/>
                    <a:pt x="411" y="277"/>
                    <a:pt x="411" y="280"/>
                  </a:cubicBezTo>
                  <a:cubicBezTo>
                    <a:pt x="411" y="283"/>
                    <a:pt x="408" y="283"/>
                    <a:pt x="405" y="286"/>
                  </a:cubicBezTo>
                  <a:cubicBezTo>
                    <a:pt x="402" y="289"/>
                    <a:pt x="399" y="280"/>
                    <a:pt x="396" y="280"/>
                  </a:cubicBezTo>
                  <a:cubicBezTo>
                    <a:pt x="393" y="280"/>
                    <a:pt x="396" y="286"/>
                    <a:pt x="396" y="289"/>
                  </a:cubicBezTo>
                  <a:cubicBezTo>
                    <a:pt x="399" y="292"/>
                    <a:pt x="393" y="298"/>
                    <a:pt x="396" y="301"/>
                  </a:cubicBezTo>
                  <a:cubicBezTo>
                    <a:pt x="402" y="304"/>
                    <a:pt x="399" y="298"/>
                    <a:pt x="402" y="298"/>
                  </a:cubicBezTo>
                  <a:cubicBezTo>
                    <a:pt x="402" y="295"/>
                    <a:pt x="405" y="298"/>
                    <a:pt x="408" y="298"/>
                  </a:cubicBezTo>
                  <a:cubicBezTo>
                    <a:pt x="408" y="301"/>
                    <a:pt x="411" y="295"/>
                    <a:pt x="411" y="292"/>
                  </a:cubicBezTo>
                  <a:cubicBezTo>
                    <a:pt x="411" y="292"/>
                    <a:pt x="414" y="292"/>
                    <a:pt x="414" y="295"/>
                  </a:cubicBezTo>
                  <a:cubicBezTo>
                    <a:pt x="417" y="298"/>
                    <a:pt x="417" y="292"/>
                    <a:pt x="420" y="292"/>
                  </a:cubicBezTo>
                  <a:cubicBezTo>
                    <a:pt x="423" y="292"/>
                    <a:pt x="423" y="298"/>
                    <a:pt x="423" y="301"/>
                  </a:cubicBezTo>
                  <a:cubicBezTo>
                    <a:pt x="423" y="304"/>
                    <a:pt x="426" y="298"/>
                    <a:pt x="426" y="301"/>
                  </a:cubicBezTo>
                  <a:cubicBezTo>
                    <a:pt x="429" y="301"/>
                    <a:pt x="432" y="298"/>
                    <a:pt x="435" y="298"/>
                  </a:cubicBezTo>
                  <a:cubicBezTo>
                    <a:pt x="438" y="292"/>
                    <a:pt x="429" y="292"/>
                    <a:pt x="432" y="28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6" name="Freeform 1011"/>
            <p:cNvSpPr>
              <a:spLocks/>
            </p:cNvSpPr>
            <p:nvPr userDrawn="1"/>
          </p:nvSpPr>
          <p:spPr bwMode="auto">
            <a:xfrm>
              <a:off x="740" y="-2321"/>
              <a:ext cx="51" cy="51"/>
            </a:xfrm>
            <a:custGeom>
              <a:avLst/>
              <a:gdLst>
                <a:gd name="T0" fmla="*/ 21 w 33"/>
                <a:gd name="T1" fmla="*/ 6 h 33"/>
                <a:gd name="T2" fmla="*/ 9 w 33"/>
                <a:gd name="T3" fmla="*/ 18 h 33"/>
                <a:gd name="T4" fmla="*/ 3 w 33"/>
                <a:gd name="T5" fmla="*/ 21 h 33"/>
                <a:gd name="T6" fmla="*/ 6 w 33"/>
                <a:gd name="T7" fmla="*/ 30 h 33"/>
                <a:gd name="T8" fmla="*/ 12 w 33"/>
                <a:gd name="T9" fmla="*/ 30 h 33"/>
                <a:gd name="T10" fmla="*/ 27 w 33"/>
                <a:gd name="T11" fmla="*/ 18 h 33"/>
                <a:gd name="T12" fmla="*/ 24 w 33"/>
                <a:gd name="T13" fmla="*/ 12 h 33"/>
                <a:gd name="T14" fmla="*/ 30 w 33"/>
                <a:gd name="T15" fmla="*/ 9 h 33"/>
                <a:gd name="T16" fmla="*/ 30 w 33"/>
                <a:gd name="T17" fmla="*/ 3 h 33"/>
                <a:gd name="T18" fmla="*/ 21 w 33"/>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21" y="6"/>
                  </a:moveTo>
                  <a:cubicBezTo>
                    <a:pt x="15" y="12"/>
                    <a:pt x="12" y="15"/>
                    <a:pt x="9" y="18"/>
                  </a:cubicBezTo>
                  <a:cubicBezTo>
                    <a:pt x="9" y="21"/>
                    <a:pt x="3" y="18"/>
                    <a:pt x="3" y="21"/>
                  </a:cubicBezTo>
                  <a:cubicBezTo>
                    <a:pt x="0" y="24"/>
                    <a:pt x="3" y="33"/>
                    <a:pt x="6" y="30"/>
                  </a:cubicBezTo>
                  <a:cubicBezTo>
                    <a:pt x="9" y="27"/>
                    <a:pt x="12" y="30"/>
                    <a:pt x="12" y="30"/>
                  </a:cubicBezTo>
                  <a:cubicBezTo>
                    <a:pt x="15" y="30"/>
                    <a:pt x="24" y="21"/>
                    <a:pt x="27" y="18"/>
                  </a:cubicBezTo>
                  <a:cubicBezTo>
                    <a:pt x="30" y="15"/>
                    <a:pt x="24" y="15"/>
                    <a:pt x="24" y="12"/>
                  </a:cubicBezTo>
                  <a:cubicBezTo>
                    <a:pt x="24" y="9"/>
                    <a:pt x="30" y="9"/>
                    <a:pt x="30" y="9"/>
                  </a:cubicBezTo>
                  <a:cubicBezTo>
                    <a:pt x="33" y="6"/>
                    <a:pt x="30" y="6"/>
                    <a:pt x="30" y="3"/>
                  </a:cubicBezTo>
                  <a:cubicBezTo>
                    <a:pt x="30" y="0"/>
                    <a:pt x="24" y="0"/>
                    <a:pt x="21"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7" name="Freeform 1012"/>
            <p:cNvSpPr>
              <a:spLocks/>
            </p:cNvSpPr>
            <p:nvPr userDrawn="1"/>
          </p:nvSpPr>
          <p:spPr bwMode="auto">
            <a:xfrm>
              <a:off x="707" y="-1516"/>
              <a:ext cx="14" cy="9"/>
            </a:xfrm>
            <a:custGeom>
              <a:avLst/>
              <a:gdLst>
                <a:gd name="T0" fmla="*/ 3 w 9"/>
                <a:gd name="T1" fmla="*/ 0 h 6"/>
                <a:gd name="T2" fmla="*/ 6 w 9"/>
                <a:gd name="T3" fmla="*/ 6 h 6"/>
                <a:gd name="T4" fmla="*/ 3 w 9"/>
                <a:gd name="T5" fmla="*/ 0 h 6"/>
              </a:gdLst>
              <a:ahLst/>
              <a:cxnLst>
                <a:cxn ang="0">
                  <a:pos x="T0" y="T1"/>
                </a:cxn>
                <a:cxn ang="0">
                  <a:pos x="T2" y="T3"/>
                </a:cxn>
                <a:cxn ang="0">
                  <a:pos x="T4" y="T5"/>
                </a:cxn>
              </a:cxnLst>
              <a:rect l="0" t="0" r="r" b="b"/>
              <a:pathLst>
                <a:path w="9" h="6">
                  <a:moveTo>
                    <a:pt x="3" y="0"/>
                  </a:moveTo>
                  <a:cubicBezTo>
                    <a:pt x="0" y="0"/>
                    <a:pt x="3" y="6"/>
                    <a:pt x="6" y="6"/>
                  </a:cubicBezTo>
                  <a:cubicBezTo>
                    <a:pt x="9" y="3"/>
                    <a:pt x="9" y="0"/>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8" name="Freeform 1013"/>
            <p:cNvSpPr>
              <a:spLocks/>
            </p:cNvSpPr>
            <p:nvPr userDrawn="1"/>
          </p:nvSpPr>
          <p:spPr bwMode="auto">
            <a:xfrm>
              <a:off x="716" y="-1502"/>
              <a:ext cx="28" cy="28"/>
            </a:xfrm>
            <a:custGeom>
              <a:avLst/>
              <a:gdLst>
                <a:gd name="T0" fmla="*/ 6 w 18"/>
                <a:gd name="T1" fmla="*/ 0 h 18"/>
                <a:gd name="T2" fmla="*/ 6 w 18"/>
                <a:gd name="T3" fmla="*/ 15 h 18"/>
                <a:gd name="T4" fmla="*/ 15 w 18"/>
                <a:gd name="T5" fmla="*/ 9 h 18"/>
                <a:gd name="T6" fmla="*/ 6 w 18"/>
                <a:gd name="T7" fmla="*/ 0 h 18"/>
              </a:gdLst>
              <a:ahLst/>
              <a:cxnLst>
                <a:cxn ang="0">
                  <a:pos x="T0" y="T1"/>
                </a:cxn>
                <a:cxn ang="0">
                  <a:pos x="T2" y="T3"/>
                </a:cxn>
                <a:cxn ang="0">
                  <a:pos x="T4" y="T5"/>
                </a:cxn>
                <a:cxn ang="0">
                  <a:pos x="T6" y="T7"/>
                </a:cxn>
              </a:cxnLst>
              <a:rect l="0" t="0" r="r" b="b"/>
              <a:pathLst>
                <a:path w="18" h="18">
                  <a:moveTo>
                    <a:pt x="6" y="0"/>
                  </a:moveTo>
                  <a:cubicBezTo>
                    <a:pt x="0" y="0"/>
                    <a:pt x="3" y="18"/>
                    <a:pt x="6" y="15"/>
                  </a:cubicBezTo>
                  <a:cubicBezTo>
                    <a:pt x="9" y="12"/>
                    <a:pt x="15" y="12"/>
                    <a:pt x="15" y="9"/>
                  </a:cubicBezTo>
                  <a:cubicBezTo>
                    <a:pt x="18" y="6"/>
                    <a:pt x="12" y="0"/>
                    <a:pt x="6"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19" name="Freeform 1014"/>
            <p:cNvSpPr>
              <a:spLocks/>
            </p:cNvSpPr>
            <p:nvPr userDrawn="1"/>
          </p:nvSpPr>
          <p:spPr bwMode="auto">
            <a:xfrm>
              <a:off x="1277" y="-2101"/>
              <a:ext cx="1020" cy="510"/>
            </a:xfrm>
            <a:custGeom>
              <a:avLst/>
              <a:gdLst>
                <a:gd name="T0" fmla="*/ 644 w 654"/>
                <a:gd name="T1" fmla="*/ 49 h 327"/>
                <a:gd name="T2" fmla="*/ 642 w 654"/>
                <a:gd name="T3" fmla="*/ 36 h 327"/>
                <a:gd name="T4" fmla="*/ 638 w 654"/>
                <a:gd name="T5" fmla="*/ 33 h 327"/>
                <a:gd name="T6" fmla="*/ 626 w 654"/>
                <a:gd name="T7" fmla="*/ 29 h 327"/>
                <a:gd name="T8" fmla="*/ 623 w 654"/>
                <a:gd name="T9" fmla="*/ 32 h 327"/>
                <a:gd name="T10" fmla="*/ 615 w 654"/>
                <a:gd name="T11" fmla="*/ 51 h 327"/>
                <a:gd name="T12" fmla="*/ 596 w 654"/>
                <a:gd name="T13" fmla="*/ 66 h 327"/>
                <a:gd name="T14" fmla="*/ 547 w 654"/>
                <a:gd name="T15" fmla="*/ 77 h 327"/>
                <a:gd name="T16" fmla="*/ 518 w 654"/>
                <a:gd name="T17" fmla="*/ 79 h 327"/>
                <a:gd name="T18" fmla="*/ 516 w 654"/>
                <a:gd name="T19" fmla="*/ 90 h 327"/>
                <a:gd name="T20" fmla="*/ 509 w 654"/>
                <a:gd name="T21" fmla="*/ 97 h 327"/>
                <a:gd name="T22" fmla="*/ 482 w 654"/>
                <a:gd name="T23" fmla="*/ 100 h 327"/>
                <a:gd name="T24" fmla="*/ 475 w 654"/>
                <a:gd name="T25" fmla="*/ 103 h 327"/>
                <a:gd name="T26" fmla="*/ 483 w 654"/>
                <a:gd name="T27" fmla="*/ 77 h 327"/>
                <a:gd name="T28" fmla="*/ 496 w 654"/>
                <a:gd name="T29" fmla="*/ 71 h 327"/>
                <a:gd name="T30" fmla="*/ 500 w 654"/>
                <a:gd name="T31" fmla="*/ 59 h 327"/>
                <a:gd name="T32" fmla="*/ 481 w 654"/>
                <a:gd name="T33" fmla="*/ 52 h 327"/>
                <a:gd name="T34" fmla="*/ 458 w 654"/>
                <a:gd name="T35" fmla="*/ 46 h 327"/>
                <a:gd name="T36" fmla="*/ 455 w 654"/>
                <a:gd name="T37" fmla="*/ 44 h 327"/>
                <a:gd name="T38" fmla="*/ 448 w 654"/>
                <a:gd name="T39" fmla="*/ 30 h 327"/>
                <a:gd name="T40" fmla="*/ 435 w 654"/>
                <a:gd name="T41" fmla="*/ 16 h 327"/>
                <a:gd name="T42" fmla="*/ 396 w 654"/>
                <a:gd name="T43" fmla="*/ 24 h 327"/>
                <a:gd name="T44" fmla="*/ 381 w 654"/>
                <a:gd name="T45" fmla="*/ 21 h 327"/>
                <a:gd name="T46" fmla="*/ 369 w 654"/>
                <a:gd name="T47" fmla="*/ 18 h 327"/>
                <a:gd name="T48" fmla="*/ 336 w 654"/>
                <a:gd name="T49" fmla="*/ 3 h 327"/>
                <a:gd name="T50" fmla="*/ 24 w 654"/>
                <a:gd name="T51" fmla="*/ 24 h 327"/>
                <a:gd name="T52" fmla="*/ 15 w 654"/>
                <a:gd name="T53" fmla="*/ 18 h 327"/>
                <a:gd name="T54" fmla="*/ 9 w 654"/>
                <a:gd name="T55" fmla="*/ 48 h 327"/>
                <a:gd name="T56" fmla="*/ 6 w 654"/>
                <a:gd name="T57" fmla="*/ 120 h 327"/>
                <a:gd name="T58" fmla="*/ 24 w 654"/>
                <a:gd name="T59" fmla="*/ 168 h 327"/>
                <a:gd name="T60" fmla="*/ 48 w 654"/>
                <a:gd name="T61" fmla="*/ 207 h 327"/>
                <a:gd name="T62" fmla="*/ 84 w 654"/>
                <a:gd name="T63" fmla="*/ 234 h 327"/>
                <a:gd name="T64" fmla="*/ 186 w 654"/>
                <a:gd name="T65" fmla="*/ 246 h 327"/>
                <a:gd name="T66" fmla="*/ 225 w 654"/>
                <a:gd name="T67" fmla="*/ 261 h 327"/>
                <a:gd name="T68" fmla="*/ 273 w 654"/>
                <a:gd name="T69" fmla="*/ 276 h 327"/>
                <a:gd name="T70" fmla="*/ 303 w 654"/>
                <a:gd name="T71" fmla="*/ 312 h 327"/>
                <a:gd name="T72" fmla="*/ 318 w 654"/>
                <a:gd name="T73" fmla="*/ 282 h 327"/>
                <a:gd name="T74" fmla="*/ 348 w 654"/>
                <a:gd name="T75" fmla="*/ 264 h 327"/>
                <a:gd name="T76" fmla="*/ 375 w 654"/>
                <a:gd name="T77" fmla="*/ 270 h 327"/>
                <a:gd name="T78" fmla="*/ 396 w 654"/>
                <a:gd name="T79" fmla="*/ 270 h 327"/>
                <a:gd name="T80" fmla="*/ 417 w 654"/>
                <a:gd name="T81" fmla="*/ 261 h 327"/>
                <a:gd name="T82" fmla="*/ 462 w 654"/>
                <a:gd name="T83" fmla="*/ 264 h 327"/>
                <a:gd name="T84" fmla="*/ 483 w 654"/>
                <a:gd name="T85" fmla="*/ 312 h 327"/>
                <a:gd name="T86" fmla="*/ 498 w 654"/>
                <a:gd name="T87" fmla="*/ 288 h 327"/>
                <a:gd name="T88" fmla="*/ 510 w 654"/>
                <a:gd name="T89" fmla="*/ 225 h 327"/>
                <a:gd name="T90" fmla="*/ 540 w 654"/>
                <a:gd name="T91" fmla="*/ 198 h 327"/>
                <a:gd name="T92" fmla="*/ 549 w 654"/>
                <a:gd name="T93" fmla="*/ 183 h 327"/>
                <a:gd name="T94" fmla="*/ 543 w 654"/>
                <a:gd name="T95" fmla="*/ 156 h 327"/>
                <a:gd name="T96" fmla="*/ 549 w 654"/>
                <a:gd name="T97" fmla="*/ 165 h 327"/>
                <a:gd name="T98" fmla="*/ 564 w 654"/>
                <a:gd name="T99" fmla="*/ 144 h 327"/>
                <a:gd name="T100" fmla="*/ 576 w 654"/>
                <a:gd name="T101" fmla="*/ 120 h 327"/>
                <a:gd name="T102" fmla="*/ 606 w 654"/>
                <a:gd name="T103" fmla="*/ 102 h 327"/>
                <a:gd name="T104" fmla="*/ 630 w 654"/>
                <a:gd name="T105" fmla="*/ 7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4" h="327">
                  <a:moveTo>
                    <a:pt x="654" y="66"/>
                  </a:moveTo>
                  <a:cubicBezTo>
                    <a:pt x="651" y="62"/>
                    <a:pt x="651" y="62"/>
                    <a:pt x="651" y="62"/>
                  </a:cubicBezTo>
                  <a:cubicBezTo>
                    <a:pt x="647" y="57"/>
                    <a:pt x="647" y="57"/>
                    <a:pt x="647" y="57"/>
                  </a:cubicBezTo>
                  <a:cubicBezTo>
                    <a:pt x="644" y="49"/>
                    <a:pt x="644" y="49"/>
                    <a:pt x="644" y="49"/>
                  </a:cubicBezTo>
                  <a:cubicBezTo>
                    <a:pt x="642" y="40"/>
                    <a:pt x="642" y="40"/>
                    <a:pt x="642" y="40"/>
                  </a:cubicBezTo>
                  <a:cubicBezTo>
                    <a:pt x="642" y="37"/>
                    <a:pt x="642" y="37"/>
                    <a:pt x="642" y="37"/>
                  </a:cubicBezTo>
                  <a:cubicBezTo>
                    <a:pt x="642" y="36"/>
                    <a:pt x="642" y="36"/>
                    <a:pt x="642" y="36"/>
                  </a:cubicBezTo>
                  <a:cubicBezTo>
                    <a:pt x="642" y="36"/>
                    <a:pt x="642" y="36"/>
                    <a:pt x="642" y="36"/>
                  </a:cubicBezTo>
                  <a:cubicBezTo>
                    <a:pt x="642" y="35"/>
                    <a:pt x="642" y="35"/>
                    <a:pt x="642" y="35"/>
                  </a:cubicBezTo>
                  <a:cubicBezTo>
                    <a:pt x="641" y="34"/>
                    <a:pt x="641" y="34"/>
                    <a:pt x="641" y="34"/>
                  </a:cubicBezTo>
                  <a:cubicBezTo>
                    <a:pt x="640" y="34"/>
                    <a:pt x="639" y="34"/>
                    <a:pt x="638" y="33"/>
                  </a:cubicBezTo>
                  <a:cubicBezTo>
                    <a:pt x="638" y="33"/>
                    <a:pt x="638" y="33"/>
                    <a:pt x="638" y="33"/>
                  </a:cubicBezTo>
                  <a:cubicBezTo>
                    <a:pt x="632" y="32"/>
                    <a:pt x="632" y="32"/>
                    <a:pt x="632" y="32"/>
                  </a:cubicBezTo>
                  <a:cubicBezTo>
                    <a:pt x="627" y="30"/>
                    <a:pt x="627" y="30"/>
                    <a:pt x="627" y="30"/>
                  </a:cubicBezTo>
                  <a:cubicBezTo>
                    <a:pt x="626" y="30"/>
                    <a:pt x="626" y="30"/>
                    <a:pt x="626" y="30"/>
                  </a:cubicBezTo>
                  <a:cubicBezTo>
                    <a:pt x="626" y="29"/>
                    <a:pt x="626" y="29"/>
                    <a:pt x="626" y="29"/>
                  </a:cubicBezTo>
                  <a:cubicBezTo>
                    <a:pt x="626" y="30"/>
                    <a:pt x="626" y="30"/>
                    <a:pt x="626" y="30"/>
                  </a:cubicBezTo>
                  <a:cubicBezTo>
                    <a:pt x="625" y="30"/>
                    <a:pt x="624" y="31"/>
                    <a:pt x="623" y="32"/>
                  </a:cubicBezTo>
                  <a:cubicBezTo>
                    <a:pt x="623" y="32"/>
                    <a:pt x="623" y="32"/>
                    <a:pt x="623" y="32"/>
                  </a:cubicBezTo>
                  <a:cubicBezTo>
                    <a:pt x="623" y="32"/>
                    <a:pt x="623" y="32"/>
                    <a:pt x="623" y="32"/>
                  </a:cubicBezTo>
                  <a:cubicBezTo>
                    <a:pt x="622" y="33"/>
                    <a:pt x="620" y="35"/>
                    <a:pt x="619" y="37"/>
                  </a:cubicBezTo>
                  <a:cubicBezTo>
                    <a:pt x="619" y="38"/>
                    <a:pt x="619" y="38"/>
                    <a:pt x="619" y="38"/>
                  </a:cubicBezTo>
                  <a:cubicBezTo>
                    <a:pt x="619" y="38"/>
                    <a:pt x="619" y="38"/>
                    <a:pt x="619" y="38"/>
                  </a:cubicBezTo>
                  <a:cubicBezTo>
                    <a:pt x="617" y="42"/>
                    <a:pt x="615" y="48"/>
                    <a:pt x="615" y="51"/>
                  </a:cubicBezTo>
                  <a:cubicBezTo>
                    <a:pt x="614" y="53"/>
                    <a:pt x="611" y="55"/>
                    <a:pt x="609" y="58"/>
                  </a:cubicBezTo>
                  <a:cubicBezTo>
                    <a:pt x="606" y="61"/>
                    <a:pt x="606" y="61"/>
                    <a:pt x="606" y="61"/>
                  </a:cubicBezTo>
                  <a:cubicBezTo>
                    <a:pt x="603" y="63"/>
                    <a:pt x="601" y="65"/>
                    <a:pt x="600" y="66"/>
                  </a:cubicBezTo>
                  <a:cubicBezTo>
                    <a:pt x="596" y="66"/>
                    <a:pt x="596" y="66"/>
                    <a:pt x="596" y="66"/>
                  </a:cubicBezTo>
                  <a:cubicBezTo>
                    <a:pt x="574" y="66"/>
                    <a:pt x="574" y="66"/>
                    <a:pt x="574" y="66"/>
                  </a:cubicBezTo>
                  <a:cubicBezTo>
                    <a:pt x="565" y="66"/>
                    <a:pt x="565" y="66"/>
                    <a:pt x="565" y="66"/>
                  </a:cubicBezTo>
                  <a:cubicBezTo>
                    <a:pt x="563" y="66"/>
                    <a:pt x="561" y="66"/>
                    <a:pt x="561" y="66"/>
                  </a:cubicBezTo>
                  <a:cubicBezTo>
                    <a:pt x="558" y="66"/>
                    <a:pt x="552" y="71"/>
                    <a:pt x="547" y="77"/>
                  </a:cubicBezTo>
                  <a:cubicBezTo>
                    <a:pt x="543" y="77"/>
                    <a:pt x="543" y="77"/>
                    <a:pt x="543" y="77"/>
                  </a:cubicBezTo>
                  <a:cubicBezTo>
                    <a:pt x="536" y="76"/>
                    <a:pt x="536" y="76"/>
                    <a:pt x="536" y="76"/>
                  </a:cubicBezTo>
                  <a:cubicBezTo>
                    <a:pt x="527" y="77"/>
                    <a:pt x="527" y="77"/>
                    <a:pt x="527" y="77"/>
                  </a:cubicBezTo>
                  <a:cubicBezTo>
                    <a:pt x="518" y="79"/>
                    <a:pt x="518" y="79"/>
                    <a:pt x="518" y="79"/>
                  </a:cubicBezTo>
                  <a:cubicBezTo>
                    <a:pt x="510" y="82"/>
                    <a:pt x="510" y="82"/>
                    <a:pt x="510" y="82"/>
                  </a:cubicBezTo>
                  <a:cubicBezTo>
                    <a:pt x="507" y="85"/>
                    <a:pt x="507" y="85"/>
                    <a:pt x="507" y="85"/>
                  </a:cubicBezTo>
                  <a:cubicBezTo>
                    <a:pt x="510" y="89"/>
                    <a:pt x="510" y="89"/>
                    <a:pt x="510" y="89"/>
                  </a:cubicBezTo>
                  <a:cubicBezTo>
                    <a:pt x="516" y="90"/>
                    <a:pt x="516" y="90"/>
                    <a:pt x="516" y="90"/>
                  </a:cubicBezTo>
                  <a:cubicBezTo>
                    <a:pt x="515" y="96"/>
                    <a:pt x="515" y="96"/>
                    <a:pt x="515" y="96"/>
                  </a:cubicBezTo>
                  <a:cubicBezTo>
                    <a:pt x="515" y="96"/>
                    <a:pt x="515" y="96"/>
                    <a:pt x="515" y="96"/>
                  </a:cubicBezTo>
                  <a:cubicBezTo>
                    <a:pt x="513" y="96"/>
                    <a:pt x="513" y="96"/>
                    <a:pt x="513" y="96"/>
                  </a:cubicBezTo>
                  <a:cubicBezTo>
                    <a:pt x="509" y="97"/>
                    <a:pt x="509" y="97"/>
                    <a:pt x="509" y="97"/>
                  </a:cubicBezTo>
                  <a:cubicBezTo>
                    <a:pt x="503" y="100"/>
                    <a:pt x="503" y="100"/>
                    <a:pt x="503" y="100"/>
                  </a:cubicBezTo>
                  <a:cubicBezTo>
                    <a:pt x="495" y="96"/>
                    <a:pt x="495" y="96"/>
                    <a:pt x="495" y="96"/>
                  </a:cubicBezTo>
                  <a:cubicBezTo>
                    <a:pt x="489" y="96"/>
                    <a:pt x="489" y="96"/>
                    <a:pt x="489" y="96"/>
                  </a:cubicBezTo>
                  <a:cubicBezTo>
                    <a:pt x="482" y="100"/>
                    <a:pt x="482" y="100"/>
                    <a:pt x="482" y="100"/>
                  </a:cubicBezTo>
                  <a:cubicBezTo>
                    <a:pt x="477" y="106"/>
                    <a:pt x="477" y="106"/>
                    <a:pt x="477" y="106"/>
                  </a:cubicBezTo>
                  <a:cubicBezTo>
                    <a:pt x="476" y="105"/>
                    <a:pt x="476" y="105"/>
                    <a:pt x="476" y="105"/>
                  </a:cubicBezTo>
                  <a:cubicBezTo>
                    <a:pt x="476" y="105"/>
                    <a:pt x="477" y="105"/>
                    <a:pt x="477" y="105"/>
                  </a:cubicBezTo>
                  <a:cubicBezTo>
                    <a:pt x="476" y="104"/>
                    <a:pt x="476" y="104"/>
                    <a:pt x="475" y="103"/>
                  </a:cubicBezTo>
                  <a:cubicBezTo>
                    <a:pt x="475" y="102"/>
                    <a:pt x="475" y="102"/>
                    <a:pt x="475" y="102"/>
                  </a:cubicBezTo>
                  <a:cubicBezTo>
                    <a:pt x="477" y="96"/>
                    <a:pt x="477" y="96"/>
                    <a:pt x="477" y="96"/>
                  </a:cubicBezTo>
                  <a:cubicBezTo>
                    <a:pt x="482" y="87"/>
                    <a:pt x="482" y="87"/>
                    <a:pt x="482" y="87"/>
                  </a:cubicBezTo>
                  <a:cubicBezTo>
                    <a:pt x="483" y="77"/>
                    <a:pt x="483" y="77"/>
                    <a:pt x="483" y="77"/>
                  </a:cubicBezTo>
                  <a:cubicBezTo>
                    <a:pt x="487" y="70"/>
                    <a:pt x="487" y="70"/>
                    <a:pt x="487" y="70"/>
                  </a:cubicBezTo>
                  <a:cubicBezTo>
                    <a:pt x="487" y="67"/>
                    <a:pt x="487" y="67"/>
                    <a:pt x="487" y="67"/>
                  </a:cubicBezTo>
                  <a:cubicBezTo>
                    <a:pt x="490" y="67"/>
                    <a:pt x="490" y="67"/>
                    <a:pt x="490" y="67"/>
                  </a:cubicBezTo>
                  <a:cubicBezTo>
                    <a:pt x="496" y="71"/>
                    <a:pt x="496" y="71"/>
                    <a:pt x="496" y="71"/>
                  </a:cubicBezTo>
                  <a:cubicBezTo>
                    <a:pt x="501" y="72"/>
                    <a:pt x="501" y="72"/>
                    <a:pt x="501" y="72"/>
                  </a:cubicBezTo>
                  <a:cubicBezTo>
                    <a:pt x="505" y="69"/>
                    <a:pt x="505" y="69"/>
                    <a:pt x="505" y="69"/>
                  </a:cubicBezTo>
                  <a:cubicBezTo>
                    <a:pt x="504" y="66"/>
                    <a:pt x="504" y="66"/>
                    <a:pt x="504" y="66"/>
                  </a:cubicBezTo>
                  <a:cubicBezTo>
                    <a:pt x="500" y="59"/>
                    <a:pt x="500" y="59"/>
                    <a:pt x="500" y="59"/>
                  </a:cubicBezTo>
                  <a:cubicBezTo>
                    <a:pt x="497" y="54"/>
                    <a:pt x="497" y="54"/>
                    <a:pt x="497" y="54"/>
                  </a:cubicBezTo>
                  <a:cubicBezTo>
                    <a:pt x="492" y="52"/>
                    <a:pt x="492" y="52"/>
                    <a:pt x="492" y="52"/>
                  </a:cubicBezTo>
                  <a:cubicBezTo>
                    <a:pt x="485" y="52"/>
                    <a:pt x="485" y="52"/>
                    <a:pt x="485" y="52"/>
                  </a:cubicBezTo>
                  <a:cubicBezTo>
                    <a:pt x="481" y="52"/>
                    <a:pt x="481" y="52"/>
                    <a:pt x="481" y="52"/>
                  </a:cubicBezTo>
                  <a:cubicBezTo>
                    <a:pt x="476" y="50"/>
                    <a:pt x="476" y="50"/>
                    <a:pt x="476" y="50"/>
                  </a:cubicBezTo>
                  <a:cubicBezTo>
                    <a:pt x="467" y="48"/>
                    <a:pt x="467" y="48"/>
                    <a:pt x="467" y="48"/>
                  </a:cubicBezTo>
                  <a:cubicBezTo>
                    <a:pt x="460" y="48"/>
                    <a:pt x="460" y="48"/>
                    <a:pt x="460" y="48"/>
                  </a:cubicBezTo>
                  <a:cubicBezTo>
                    <a:pt x="458" y="46"/>
                    <a:pt x="458" y="46"/>
                    <a:pt x="458" y="46"/>
                  </a:cubicBezTo>
                  <a:cubicBezTo>
                    <a:pt x="458" y="46"/>
                    <a:pt x="458" y="46"/>
                    <a:pt x="458" y="46"/>
                  </a:cubicBezTo>
                  <a:cubicBezTo>
                    <a:pt x="458" y="46"/>
                    <a:pt x="458" y="46"/>
                    <a:pt x="458" y="46"/>
                  </a:cubicBezTo>
                  <a:cubicBezTo>
                    <a:pt x="458" y="46"/>
                    <a:pt x="458" y="46"/>
                    <a:pt x="458" y="46"/>
                  </a:cubicBezTo>
                  <a:cubicBezTo>
                    <a:pt x="457" y="45"/>
                    <a:pt x="456" y="44"/>
                    <a:pt x="455" y="44"/>
                  </a:cubicBezTo>
                  <a:cubicBezTo>
                    <a:pt x="454" y="43"/>
                    <a:pt x="454" y="43"/>
                    <a:pt x="454" y="43"/>
                  </a:cubicBezTo>
                  <a:cubicBezTo>
                    <a:pt x="454" y="43"/>
                    <a:pt x="454" y="43"/>
                    <a:pt x="454" y="43"/>
                  </a:cubicBezTo>
                  <a:cubicBezTo>
                    <a:pt x="452" y="39"/>
                    <a:pt x="452" y="39"/>
                    <a:pt x="452" y="39"/>
                  </a:cubicBezTo>
                  <a:cubicBezTo>
                    <a:pt x="448" y="30"/>
                    <a:pt x="448" y="30"/>
                    <a:pt x="448" y="30"/>
                  </a:cubicBezTo>
                  <a:cubicBezTo>
                    <a:pt x="447" y="25"/>
                    <a:pt x="447" y="25"/>
                    <a:pt x="447" y="25"/>
                  </a:cubicBezTo>
                  <a:cubicBezTo>
                    <a:pt x="444" y="24"/>
                    <a:pt x="444" y="24"/>
                    <a:pt x="444" y="24"/>
                  </a:cubicBezTo>
                  <a:cubicBezTo>
                    <a:pt x="437" y="22"/>
                    <a:pt x="437" y="22"/>
                    <a:pt x="437" y="22"/>
                  </a:cubicBezTo>
                  <a:cubicBezTo>
                    <a:pt x="435" y="16"/>
                    <a:pt x="435" y="16"/>
                    <a:pt x="435" y="16"/>
                  </a:cubicBezTo>
                  <a:cubicBezTo>
                    <a:pt x="427" y="12"/>
                    <a:pt x="427" y="12"/>
                    <a:pt x="427" y="12"/>
                  </a:cubicBezTo>
                  <a:cubicBezTo>
                    <a:pt x="411" y="9"/>
                    <a:pt x="411" y="9"/>
                    <a:pt x="411" y="9"/>
                  </a:cubicBezTo>
                  <a:cubicBezTo>
                    <a:pt x="407" y="10"/>
                    <a:pt x="407" y="10"/>
                    <a:pt x="407" y="10"/>
                  </a:cubicBezTo>
                  <a:cubicBezTo>
                    <a:pt x="396" y="24"/>
                    <a:pt x="396" y="24"/>
                    <a:pt x="396" y="24"/>
                  </a:cubicBezTo>
                  <a:cubicBezTo>
                    <a:pt x="394" y="22"/>
                    <a:pt x="390" y="21"/>
                    <a:pt x="386" y="20"/>
                  </a:cubicBezTo>
                  <a:cubicBezTo>
                    <a:pt x="386" y="20"/>
                    <a:pt x="386" y="20"/>
                    <a:pt x="386" y="20"/>
                  </a:cubicBezTo>
                  <a:cubicBezTo>
                    <a:pt x="386" y="20"/>
                    <a:pt x="386" y="20"/>
                    <a:pt x="386" y="20"/>
                  </a:cubicBezTo>
                  <a:cubicBezTo>
                    <a:pt x="383" y="19"/>
                    <a:pt x="381" y="19"/>
                    <a:pt x="381" y="21"/>
                  </a:cubicBezTo>
                  <a:cubicBezTo>
                    <a:pt x="380" y="21"/>
                    <a:pt x="379" y="22"/>
                    <a:pt x="379" y="22"/>
                  </a:cubicBezTo>
                  <a:cubicBezTo>
                    <a:pt x="371" y="20"/>
                    <a:pt x="371" y="20"/>
                    <a:pt x="371" y="20"/>
                  </a:cubicBezTo>
                  <a:cubicBezTo>
                    <a:pt x="371" y="20"/>
                    <a:pt x="371" y="20"/>
                    <a:pt x="371" y="20"/>
                  </a:cubicBezTo>
                  <a:cubicBezTo>
                    <a:pt x="370" y="19"/>
                    <a:pt x="369" y="18"/>
                    <a:pt x="369" y="18"/>
                  </a:cubicBezTo>
                  <a:cubicBezTo>
                    <a:pt x="369" y="15"/>
                    <a:pt x="366" y="21"/>
                    <a:pt x="360" y="15"/>
                  </a:cubicBezTo>
                  <a:cubicBezTo>
                    <a:pt x="357" y="12"/>
                    <a:pt x="354" y="15"/>
                    <a:pt x="351" y="15"/>
                  </a:cubicBezTo>
                  <a:cubicBezTo>
                    <a:pt x="348" y="15"/>
                    <a:pt x="345" y="12"/>
                    <a:pt x="342" y="12"/>
                  </a:cubicBezTo>
                  <a:cubicBezTo>
                    <a:pt x="336" y="9"/>
                    <a:pt x="339" y="6"/>
                    <a:pt x="336" y="3"/>
                  </a:cubicBezTo>
                  <a:cubicBezTo>
                    <a:pt x="333" y="0"/>
                    <a:pt x="333" y="9"/>
                    <a:pt x="333" y="9"/>
                  </a:cubicBezTo>
                  <a:cubicBezTo>
                    <a:pt x="21" y="9"/>
                    <a:pt x="21" y="9"/>
                    <a:pt x="21" y="9"/>
                  </a:cubicBezTo>
                  <a:cubicBezTo>
                    <a:pt x="24" y="12"/>
                    <a:pt x="24" y="12"/>
                    <a:pt x="24" y="12"/>
                  </a:cubicBezTo>
                  <a:cubicBezTo>
                    <a:pt x="27" y="15"/>
                    <a:pt x="24" y="18"/>
                    <a:pt x="24" y="24"/>
                  </a:cubicBezTo>
                  <a:cubicBezTo>
                    <a:pt x="27" y="27"/>
                    <a:pt x="24" y="33"/>
                    <a:pt x="21" y="33"/>
                  </a:cubicBezTo>
                  <a:cubicBezTo>
                    <a:pt x="18" y="33"/>
                    <a:pt x="18" y="30"/>
                    <a:pt x="21" y="30"/>
                  </a:cubicBezTo>
                  <a:cubicBezTo>
                    <a:pt x="24" y="27"/>
                    <a:pt x="21" y="21"/>
                    <a:pt x="18" y="21"/>
                  </a:cubicBezTo>
                  <a:cubicBezTo>
                    <a:pt x="18" y="21"/>
                    <a:pt x="15" y="21"/>
                    <a:pt x="15" y="18"/>
                  </a:cubicBezTo>
                  <a:cubicBezTo>
                    <a:pt x="12" y="18"/>
                    <a:pt x="7" y="18"/>
                    <a:pt x="0" y="18"/>
                  </a:cubicBezTo>
                  <a:cubicBezTo>
                    <a:pt x="0" y="21"/>
                    <a:pt x="0" y="27"/>
                    <a:pt x="3" y="33"/>
                  </a:cubicBezTo>
                  <a:cubicBezTo>
                    <a:pt x="9" y="39"/>
                    <a:pt x="6" y="42"/>
                    <a:pt x="9" y="45"/>
                  </a:cubicBezTo>
                  <a:cubicBezTo>
                    <a:pt x="12" y="45"/>
                    <a:pt x="12" y="48"/>
                    <a:pt x="9" y="48"/>
                  </a:cubicBezTo>
                  <a:cubicBezTo>
                    <a:pt x="6" y="48"/>
                    <a:pt x="9" y="51"/>
                    <a:pt x="6" y="57"/>
                  </a:cubicBezTo>
                  <a:cubicBezTo>
                    <a:pt x="6" y="66"/>
                    <a:pt x="6" y="81"/>
                    <a:pt x="6" y="87"/>
                  </a:cubicBezTo>
                  <a:cubicBezTo>
                    <a:pt x="6" y="90"/>
                    <a:pt x="0" y="99"/>
                    <a:pt x="3" y="102"/>
                  </a:cubicBezTo>
                  <a:cubicBezTo>
                    <a:pt x="6" y="108"/>
                    <a:pt x="9" y="114"/>
                    <a:pt x="6" y="120"/>
                  </a:cubicBezTo>
                  <a:cubicBezTo>
                    <a:pt x="3" y="129"/>
                    <a:pt x="6" y="132"/>
                    <a:pt x="6" y="135"/>
                  </a:cubicBezTo>
                  <a:cubicBezTo>
                    <a:pt x="9" y="141"/>
                    <a:pt x="9" y="150"/>
                    <a:pt x="12" y="150"/>
                  </a:cubicBezTo>
                  <a:cubicBezTo>
                    <a:pt x="15" y="153"/>
                    <a:pt x="18" y="156"/>
                    <a:pt x="18" y="162"/>
                  </a:cubicBezTo>
                  <a:cubicBezTo>
                    <a:pt x="21" y="165"/>
                    <a:pt x="24" y="162"/>
                    <a:pt x="24" y="168"/>
                  </a:cubicBezTo>
                  <a:cubicBezTo>
                    <a:pt x="27" y="171"/>
                    <a:pt x="27" y="171"/>
                    <a:pt x="30" y="174"/>
                  </a:cubicBezTo>
                  <a:cubicBezTo>
                    <a:pt x="33" y="177"/>
                    <a:pt x="30" y="180"/>
                    <a:pt x="30" y="183"/>
                  </a:cubicBezTo>
                  <a:cubicBezTo>
                    <a:pt x="30" y="186"/>
                    <a:pt x="36" y="189"/>
                    <a:pt x="42" y="195"/>
                  </a:cubicBezTo>
                  <a:cubicBezTo>
                    <a:pt x="48" y="201"/>
                    <a:pt x="45" y="207"/>
                    <a:pt x="48" y="207"/>
                  </a:cubicBezTo>
                  <a:cubicBezTo>
                    <a:pt x="54" y="207"/>
                    <a:pt x="57" y="210"/>
                    <a:pt x="63" y="213"/>
                  </a:cubicBezTo>
                  <a:cubicBezTo>
                    <a:pt x="66" y="216"/>
                    <a:pt x="69" y="213"/>
                    <a:pt x="72" y="213"/>
                  </a:cubicBezTo>
                  <a:cubicBezTo>
                    <a:pt x="75" y="213"/>
                    <a:pt x="81" y="222"/>
                    <a:pt x="84" y="225"/>
                  </a:cubicBezTo>
                  <a:cubicBezTo>
                    <a:pt x="84" y="228"/>
                    <a:pt x="84" y="231"/>
                    <a:pt x="84" y="234"/>
                  </a:cubicBezTo>
                  <a:cubicBezTo>
                    <a:pt x="111" y="231"/>
                    <a:pt x="111" y="231"/>
                    <a:pt x="111" y="231"/>
                  </a:cubicBezTo>
                  <a:cubicBezTo>
                    <a:pt x="111" y="231"/>
                    <a:pt x="120" y="234"/>
                    <a:pt x="123" y="237"/>
                  </a:cubicBezTo>
                  <a:cubicBezTo>
                    <a:pt x="129" y="237"/>
                    <a:pt x="153" y="246"/>
                    <a:pt x="153" y="246"/>
                  </a:cubicBezTo>
                  <a:cubicBezTo>
                    <a:pt x="186" y="246"/>
                    <a:pt x="186" y="246"/>
                    <a:pt x="186" y="246"/>
                  </a:cubicBezTo>
                  <a:cubicBezTo>
                    <a:pt x="189" y="240"/>
                    <a:pt x="189" y="240"/>
                    <a:pt x="189" y="240"/>
                  </a:cubicBezTo>
                  <a:cubicBezTo>
                    <a:pt x="207" y="240"/>
                    <a:pt x="207" y="240"/>
                    <a:pt x="207" y="240"/>
                  </a:cubicBezTo>
                  <a:cubicBezTo>
                    <a:pt x="207" y="240"/>
                    <a:pt x="216" y="252"/>
                    <a:pt x="219" y="252"/>
                  </a:cubicBezTo>
                  <a:cubicBezTo>
                    <a:pt x="222" y="255"/>
                    <a:pt x="225" y="258"/>
                    <a:pt x="225" y="261"/>
                  </a:cubicBezTo>
                  <a:cubicBezTo>
                    <a:pt x="225" y="264"/>
                    <a:pt x="228" y="267"/>
                    <a:pt x="231" y="270"/>
                  </a:cubicBezTo>
                  <a:cubicBezTo>
                    <a:pt x="234" y="270"/>
                    <a:pt x="243" y="276"/>
                    <a:pt x="243" y="276"/>
                  </a:cubicBezTo>
                  <a:cubicBezTo>
                    <a:pt x="246" y="276"/>
                    <a:pt x="246" y="264"/>
                    <a:pt x="252" y="264"/>
                  </a:cubicBezTo>
                  <a:cubicBezTo>
                    <a:pt x="258" y="267"/>
                    <a:pt x="270" y="270"/>
                    <a:pt x="273" y="276"/>
                  </a:cubicBezTo>
                  <a:cubicBezTo>
                    <a:pt x="273" y="285"/>
                    <a:pt x="282" y="291"/>
                    <a:pt x="282" y="291"/>
                  </a:cubicBezTo>
                  <a:cubicBezTo>
                    <a:pt x="285" y="294"/>
                    <a:pt x="285" y="297"/>
                    <a:pt x="285" y="300"/>
                  </a:cubicBezTo>
                  <a:cubicBezTo>
                    <a:pt x="288" y="303"/>
                    <a:pt x="288" y="306"/>
                    <a:pt x="288" y="306"/>
                  </a:cubicBezTo>
                  <a:cubicBezTo>
                    <a:pt x="291" y="306"/>
                    <a:pt x="300" y="312"/>
                    <a:pt x="303" y="312"/>
                  </a:cubicBezTo>
                  <a:cubicBezTo>
                    <a:pt x="306" y="312"/>
                    <a:pt x="306" y="315"/>
                    <a:pt x="309" y="315"/>
                  </a:cubicBezTo>
                  <a:cubicBezTo>
                    <a:pt x="309" y="306"/>
                    <a:pt x="300" y="303"/>
                    <a:pt x="306" y="300"/>
                  </a:cubicBezTo>
                  <a:cubicBezTo>
                    <a:pt x="312" y="297"/>
                    <a:pt x="306" y="291"/>
                    <a:pt x="309" y="291"/>
                  </a:cubicBezTo>
                  <a:cubicBezTo>
                    <a:pt x="312" y="288"/>
                    <a:pt x="318" y="285"/>
                    <a:pt x="318" y="282"/>
                  </a:cubicBezTo>
                  <a:cubicBezTo>
                    <a:pt x="318" y="279"/>
                    <a:pt x="321" y="279"/>
                    <a:pt x="324" y="279"/>
                  </a:cubicBezTo>
                  <a:cubicBezTo>
                    <a:pt x="327" y="282"/>
                    <a:pt x="336" y="273"/>
                    <a:pt x="336" y="270"/>
                  </a:cubicBezTo>
                  <a:cubicBezTo>
                    <a:pt x="333" y="267"/>
                    <a:pt x="336" y="267"/>
                    <a:pt x="339" y="270"/>
                  </a:cubicBezTo>
                  <a:cubicBezTo>
                    <a:pt x="345" y="270"/>
                    <a:pt x="345" y="264"/>
                    <a:pt x="348" y="264"/>
                  </a:cubicBezTo>
                  <a:cubicBezTo>
                    <a:pt x="351" y="264"/>
                    <a:pt x="354" y="267"/>
                    <a:pt x="354" y="264"/>
                  </a:cubicBezTo>
                  <a:cubicBezTo>
                    <a:pt x="354" y="261"/>
                    <a:pt x="357" y="264"/>
                    <a:pt x="357" y="267"/>
                  </a:cubicBezTo>
                  <a:cubicBezTo>
                    <a:pt x="360" y="270"/>
                    <a:pt x="366" y="270"/>
                    <a:pt x="369" y="267"/>
                  </a:cubicBezTo>
                  <a:cubicBezTo>
                    <a:pt x="369" y="264"/>
                    <a:pt x="372" y="267"/>
                    <a:pt x="375" y="270"/>
                  </a:cubicBezTo>
                  <a:cubicBezTo>
                    <a:pt x="378" y="273"/>
                    <a:pt x="381" y="273"/>
                    <a:pt x="384" y="273"/>
                  </a:cubicBezTo>
                  <a:cubicBezTo>
                    <a:pt x="390" y="273"/>
                    <a:pt x="390" y="270"/>
                    <a:pt x="390" y="267"/>
                  </a:cubicBezTo>
                  <a:cubicBezTo>
                    <a:pt x="390" y="264"/>
                    <a:pt x="396" y="276"/>
                    <a:pt x="399" y="276"/>
                  </a:cubicBezTo>
                  <a:cubicBezTo>
                    <a:pt x="405" y="276"/>
                    <a:pt x="402" y="273"/>
                    <a:pt x="396" y="270"/>
                  </a:cubicBezTo>
                  <a:cubicBezTo>
                    <a:pt x="393" y="267"/>
                    <a:pt x="399" y="267"/>
                    <a:pt x="396" y="264"/>
                  </a:cubicBezTo>
                  <a:cubicBezTo>
                    <a:pt x="393" y="261"/>
                    <a:pt x="399" y="258"/>
                    <a:pt x="405" y="258"/>
                  </a:cubicBezTo>
                  <a:cubicBezTo>
                    <a:pt x="411" y="258"/>
                    <a:pt x="411" y="261"/>
                    <a:pt x="414" y="258"/>
                  </a:cubicBezTo>
                  <a:cubicBezTo>
                    <a:pt x="414" y="252"/>
                    <a:pt x="417" y="258"/>
                    <a:pt x="417" y="261"/>
                  </a:cubicBezTo>
                  <a:cubicBezTo>
                    <a:pt x="417" y="264"/>
                    <a:pt x="426" y="258"/>
                    <a:pt x="432" y="258"/>
                  </a:cubicBezTo>
                  <a:cubicBezTo>
                    <a:pt x="438" y="258"/>
                    <a:pt x="441" y="261"/>
                    <a:pt x="444" y="264"/>
                  </a:cubicBezTo>
                  <a:cubicBezTo>
                    <a:pt x="444" y="267"/>
                    <a:pt x="447" y="270"/>
                    <a:pt x="450" y="267"/>
                  </a:cubicBezTo>
                  <a:cubicBezTo>
                    <a:pt x="453" y="264"/>
                    <a:pt x="456" y="261"/>
                    <a:pt x="462" y="264"/>
                  </a:cubicBezTo>
                  <a:cubicBezTo>
                    <a:pt x="465" y="267"/>
                    <a:pt x="468" y="270"/>
                    <a:pt x="471" y="276"/>
                  </a:cubicBezTo>
                  <a:cubicBezTo>
                    <a:pt x="477" y="279"/>
                    <a:pt x="471" y="285"/>
                    <a:pt x="471" y="288"/>
                  </a:cubicBezTo>
                  <a:cubicBezTo>
                    <a:pt x="474" y="291"/>
                    <a:pt x="471" y="297"/>
                    <a:pt x="477" y="300"/>
                  </a:cubicBezTo>
                  <a:cubicBezTo>
                    <a:pt x="483" y="303"/>
                    <a:pt x="477" y="309"/>
                    <a:pt x="483" y="312"/>
                  </a:cubicBezTo>
                  <a:cubicBezTo>
                    <a:pt x="486" y="312"/>
                    <a:pt x="489" y="318"/>
                    <a:pt x="489" y="321"/>
                  </a:cubicBezTo>
                  <a:cubicBezTo>
                    <a:pt x="489" y="324"/>
                    <a:pt x="498" y="327"/>
                    <a:pt x="498" y="324"/>
                  </a:cubicBezTo>
                  <a:cubicBezTo>
                    <a:pt x="498" y="318"/>
                    <a:pt x="501" y="312"/>
                    <a:pt x="504" y="309"/>
                  </a:cubicBezTo>
                  <a:cubicBezTo>
                    <a:pt x="504" y="306"/>
                    <a:pt x="501" y="291"/>
                    <a:pt x="498" y="288"/>
                  </a:cubicBezTo>
                  <a:cubicBezTo>
                    <a:pt x="492" y="282"/>
                    <a:pt x="498" y="282"/>
                    <a:pt x="492" y="276"/>
                  </a:cubicBezTo>
                  <a:cubicBezTo>
                    <a:pt x="489" y="270"/>
                    <a:pt x="486" y="261"/>
                    <a:pt x="486" y="255"/>
                  </a:cubicBezTo>
                  <a:cubicBezTo>
                    <a:pt x="486" y="246"/>
                    <a:pt x="495" y="234"/>
                    <a:pt x="501" y="231"/>
                  </a:cubicBezTo>
                  <a:cubicBezTo>
                    <a:pt x="504" y="228"/>
                    <a:pt x="510" y="228"/>
                    <a:pt x="510" y="225"/>
                  </a:cubicBezTo>
                  <a:cubicBezTo>
                    <a:pt x="510" y="222"/>
                    <a:pt x="516" y="216"/>
                    <a:pt x="519" y="216"/>
                  </a:cubicBezTo>
                  <a:cubicBezTo>
                    <a:pt x="522" y="216"/>
                    <a:pt x="525" y="216"/>
                    <a:pt x="525" y="213"/>
                  </a:cubicBezTo>
                  <a:cubicBezTo>
                    <a:pt x="528" y="210"/>
                    <a:pt x="531" y="207"/>
                    <a:pt x="537" y="204"/>
                  </a:cubicBezTo>
                  <a:cubicBezTo>
                    <a:pt x="546" y="204"/>
                    <a:pt x="540" y="201"/>
                    <a:pt x="540" y="198"/>
                  </a:cubicBezTo>
                  <a:cubicBezTo>
                    <a:pt x="537" y="195"/>
                    <a:pt x="540" y="192"/>
                    <a:pt x="543" y="192"/>
                  </a:cubicBezTo>
                  <a:cubicBezTo>
                    <a:pt x="543" y="195"/>
                    <a:pt x="546" y="195"/>
                    <a:pt x="549" y="195"/>
                  </a:cubicBezTo>
                  <a:cubicBezTo>
                    <a:pt x="552" y="192"/>
                    <a:pt x="558" y="186"/>
                    <a:pt x="552" y="186"/>
                  </a:cubicBezTo>
                  <a:cubicBezTo>
                    <a:pt x="546" y="186"/>
                    <a:pt x="546" y="186"/>
                    <a:pt x="549" y="183"/>
                  </a:cubicBezTo>
                  <a:cubicBezTo>
                    <a:pt x="552" y="183"/>
                    <a:pt x="549" y="177"/>
                    <a:pt x="546" y="177"/>
                  </a:cubicBezTo>
                  <a:cubicBezTo>
                    <a:pt x="540" y="174"/>
                    <a:pt x="543" y="174"/>
                    <a:pt x="546" y="171"/>
                  </a:cubicBezTo>
                  <a:cubicBezTo>
                    <a:pt x="549" y="168"/>
                    <a:pt x="540" y="162"/>
                    <a:pt x="537" y="162"/>
                  </a:cubicBezTo>
                  <a:cubicBezTo>
                    <a:pt x="534" y="159"/>
                    <a:pt x="540" y="156"/>
                    <a:pt x="543" y="156"/>
                  </a:cubicBezTo>
                  <a:cubicBezTo>
                    <a:pt x="546" y="156"/>
                    <a:pt x="543" y="144"/>
                    <a:pt x="543" y="141"/>
                  </a:cubicBezTo>
                  <a:cubicBezTo>
                    <a:pt x="546" y="138"/>
                    <a:pt x="549" y="138"/>
                    <a:pt x="549" y="141"/>
                  </a:cubicBezTo>
                  <a:cubicBezTo>
                    <a:pt x="546" y="144"/>
                    <a:pt x="543" y="150"/>
                    <a:pt x="546" y="153"/>
                  </a:cubicBezTo>
                  <a:cubicBezTo>
                    <a:pt x="549" y="156"/>
                    <a:pt x="552" y="162"/>
                    <a:pt x="549" y="165"/>
                  </a:cubicBezTo>
                  <a:cubicBezTo>
                    <a:pt x="549" y="171"/>
                    <a:pt x="552" y="171"/>
                    <a:pt x="555" y="162"/>
                  </a:cubicBezTo>
                  <a:cubicBezTo>
                    <a:pt x="558" y="156"/>
                    <a:pt x="558" y="150"/>
                    <a:pt x="555" y="147"/>
                  </a:cubicBezTo>
                  <a:cubicBezTo>
                    <a:pt x="555" y="147"/>
                    <a:pt x="555" y="141"/>
                    <a:pt x="558" y="144"/>
                  </a:cubicBezTo>
                  <a:cubicBezTo>
                    <a:pt x="561" y="147"/>
                    <a:pt x="561" y="147"/>
                    <a:pt x="564" y="144"/>
                  </a:cubicBezTo>
                  <a:cubicBezTo>
                    <a:pt x="570" y="138"/>
                    <a:pt x="573" y="132"/>
                    <a:pt x="570" y="129"/>
                  </a:cubicBezTo>
                  <a:cubicBezTo>
                    <a:pt x="567" y="126"/>
                    <a:pt x="573" y="126"/>
                    <a:pt x="576" y="126"/>
                  </a:cubicBezTo>
                  <a:cubicBezTo>
                    <a:pt x="582" y="126"/>
                    <a:pt x="594" y="123"/>
                    <a:pt x="594" y="120"/>
                  </a:cubicBezTo>
                  <a:cubicBezTo>
                    <a:pt x="597" y="117"/>
                    <a:pt x="576" y="123"/>
                    <a:pt x="576" y="120"/>
                  </a:cubicBezTo>
                  <a:cubicBezTo>
                    <a:pt x="576" y="117"/>
                    <a:pt x="588" y="114"/>
                    <a:pt x="594" y="114"/>
                  </a:cubicBezTo>
                  <a:cubicBezTo>
                    <a:pt x="600" y="114"/>
                    <a:pt x="597" y="108"/>
                    <a:pt x="600" y="111"/>
                  </a:cubicBezTo>
                  <a:cubicBezTo>
                    <a:pt x="603" y="114"/>
                    <a:pt x="606" y="114"/>
                    <a:pt x="609" y="111"/>
                  </a:cubicBezTo>
                  <a:cubicBezTo>
                    <a:pt x="612" y="108"/>
                    <a:pt x="609" y="102"/>
                    <a:pt x="606" y="102"/>
                  </a:cubicBezTo>
                  <a:cubicBezTo>
                    <a:pt x="603" y="102"/>
                    <a:pt x="609" y="99"/>
                    <a:pt x="609" y="96"/>
                  </a:cubicBezTo>
                  <a:cubicBezTo>
                    <a:pt x="606" y="93"/>
                    <a:pt x="612" y="84"/>
                    <a:pt x="615" y="84"/>
                  </a:cubicBezTo>
                  <a:cubicBezTo>
                    <a:pt x="621" y="84"/>
                    <a:pt x="618" y="81"/>
                    <a:pt x="621" y="81"/>
                  </a:cubicBezTo>
                  <a:cubicBezTo>
                    <a:pt x="627" y="81"/>
                    <a:pt x="627" y="75"/>
                    <a:pt x="630" y="72"/>
                  </a:cubicBezTo>
                  <a:cubicBezTo>
                    <a:pt x="633" y="69"/>
                    <a:pt x="639" y="78"/>
                    <a:pt x="645" y="72"/>
                  </a:cubicBezTo>
                  <a:cubicBezTo>
                    <a:pt x="645" y="69"/>
                    <a:pt x="648" y="69"/>
                    <a:pt x="654" y="6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0" name="Freeform 1015"/>
            <p:cNvSpPr>
              <a:spLocks/>
            </p:cNvSpPr>
            <p:nvPr userDrawn="1"/>
          </p:nvSpPr>
          <p:spPr bwMode="auto">
            <a:xfrm>
              <a:off x="646" y="-1544"/>
              <a:ext cx="19" cy="14"/>
            </a:xfrm>
            <a:custGeom>
              <a:avLst/>
              <a:gdLst>
                <a:gd name="T0" fmla="*/ 3 w 12"/>
                <a:gd name="T1" fmla="*/ 6 h 9"/>
                <a:gd name="T2" fmla="*/ 12 w 12"/>
                <a:gd name="T3" fmla="*/ 3 h 9"/>
                <a:gd name="T4" fmla="*/ 3 w 12"/>
                <a:gd name="T5" fmla="*/ 6 h 9"/>
              </a:gdLst>
              <a:ahLst/>
              <a:cxnLst>
                <a:cxn ang="0">
                  <a:pos x="T0" y="T1"/>
                </a:cxn>
                <a:cxn ang="0">
                  <a:pos x="T2" y="T3"/>
                </a:cxn>
                <a:cxn ang="0">
                  <a:pos x="T4" y="T5"/>
                </a:cxn>
              </a:cxnLst>
              <a:rect l="0" t="0" r="r" b="b"/>
              <a:pathLst>
                <a:path w="12" h="9">
                  <a:moveTo>
                    <a:pt x="3" y="6"/>
                  </a:moveTo>
                  <a:cubicBezTo>
                    <a:pt x="9" y="9"/>
                    <a:pt x="9" y="9"/>
                    <a:pt x="12" y="3"/>
                  </a:cubicBezTo>
                  <a:cubicBezTo>
                    <a:pt x="12" y="0"/>
                    <a:pt x="0" y="0"/>
                    <a:pt x="3"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1" name="Freeform 1016"/>
            <p:cNvSpPr>
              <a:spLocks/>
            </p:cNvSpPr>
            <p:nvPr userDrawn="1"/>
          </p:nvSpPr>
          <p:spPr bwMode="auto">
            <a:xfrm>
              <a:off x="557" y="-2227"/>
              <a:ext cx="38" cy="14"/>
            </a:xfrm>
            <a:custGeom>
              <a:avLst/>
              <a:gdLst>
                <a:gd name="T0" fmla="*/ 18 w 24"/>
                <a:gd name="T1" fmla="*/ 3 h 9"/>
                <a:gd name="T2" fmla="*/ 3 w 24"/>
                <a:gd name="T3" fmla="*/ 9 h 9"/>
                <a:gd name="T4" fmla="*/ 12 w 24"/>
                <a:gd name="T5" fmla="*/ 6 h 9"/>
                <a:gd name="T6" fmla="*/ 18 w 24"/>
                <a:gd name="T7" fmla="*/ 3 h 9"/>
              </a:gdLst>
              <a:ahLst/>
              <a:cxnLst>
                <a:cxn ang="0">
                  <a:pos x="T0" y="T1"/>
                </a:cxn>
                <a:cxn ang="0">
                  <a:pos x="T2" y="T3"/>
                </a:cxn>
                <a:cxn ang="0">
                  <a:pos x="T4" y="T5"/>
                </a:cxn>
                <a:cxn ang="0">
                  <a:pos x="T6" y="T7"/>
                </a:cxn>
              </a:cxnLst>
              <a:rect l="0" t="0" r="r" b="b"/>
              <a:pathLst>
                <a:path w="24" h="9">
                  <a:moveTo>
                    <a:pt x="18" y="3"/>
                  </a:moveTo>
                  <a:cubicBezTo>
                    <a:pt x="15" y="0"/>
                    <a:pt x="0" y="9"/>
                    <a:pt x="3" y="9"/>
                  </a:cubicBezTo>
                  <a:cubicBezTo>
                    <a:pt x="9" y="9"/>
                    <a:pt x="9" y="6"/>
                    <a:pt x="12" y="6"/>
                  </a:cubicBezTo>
                  <a:cubicBezTo>
                    <a:pt x="18" y="6"/>
                    <a:pt x="24" y="3"/>
                    <a:pt x="18"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2" name="Freeform 1017"/>
            <p:cNvSpPr>
              <a:spLocks/>
            </p:cNvSpPr>
            <p:nvPr userDrawn="1"/>
          </p:nvSpPr>
          <p:spPr bwMode="auto">
            <a:xfrm>
              <a:off x="520" y="-2368"/>
              <a:ext cx="33" cy="19"/>
            </a:xfrm>
            <a:custGeom>
              <a:avLst/>
              <a:gdLst>
                <a:gd name="T0" fmla="*/ 12 w 21"/>
                <a:gd name="T1" fmla="*/ 3 h 12"/>
                <a:gd name="T2" fmla="*/ 0 w 21"/>
                <a:gd name="T3" fmla="*/ 6 h 12"/>
                <a:gd name="T4" fmla="*/ 18 w 21"/>
                <a:gd name="T5" fmla="*/ 12 h 12"/>
                <a:gd name="T6" fmla="*/ 18 w 21"/>
                <a:gd name="T7" fmla="*/ 3 h 12"/>
                <a:gd name="T8" fmla="*/ 12 w 21"/>
                <a:gd name="T9" fmla="*/ 3 h 12"/>
              </a:gdLst>
              <a:ahLst/>
              <a:cxnLst>
                <a:cxn ang="0">
                  <a:pos x="T0" y="T1"/>
                </a:cxn>
                <a:cxn ang="0">
                  <a:pos x="T2" y="T3"/>
                </a:cxn>
                <a:cxn ang="0">
                  <a:pos x="T4" y="T5"/>
                </a:cxn>
                <a:cxn ang="0">
                  <a:pos x="T6" y="T7"/>
                </a:cxn>
                <a:cxn ang="0">
                  <a:pos x="T8" y="T9"/>
                </a:cxn>
              </a:cxnLst>
              <a:rect l="0" t="0" r="r" b="b"/>
              <a:pathLst>
                <a:path w="21" h="12">
                  <a:moveTo>
                    <a:pt x="12" y="3"/>
                  </a:moveTo>
                  <a:cubicBezTo>
                    <a:pt x="9" y="0"/>
                    <a:pt x="0" y="3"/>
                    <a:pt x="0" y="6"/>
                  </a:cubicBezTo>
                  <a:cubicBezTo>
                    <a:pt x="3" y="12"/>
                    <a:pt x="12" y="12"/>
                    <a:pt x="18" y="12"/>
                  </a:cubicBezTo>
                  <a:cubicBezTo>
                    <a:pt x="21" y="9"/>
                    <a:pt x="21" y="6"/>
                    <a:pt x="18" y="3"/>
                  </a:cubicBezTo>
                  <a:cubicBezTo>
                    <a:pt x="15" y="0"/>
                    <a:pt x="12" y="6"/>
                    <a:pt x="12"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3" name="Freeform 1018"/>
            <p:cNvSpPr>
              <a:spLocks/>
            </p:cNvSpPr>
            <p:nvPr userDrawn="1"/>
          </p:nvSpPr>
          <p:spPr bwMode="auto">
            <a:xfrm>
              <a:off x="515" y="-2209"/>
              <a:ext cx="19" cy="24"/>
            </a:xfrm>
            <a:custGeom>
              <a:avLst/>
              <a:gdLst>
                <a:gd name="T0" fmla="*/ 3 w 12"/>
                <a:gd name="T1" fmla="*/ 12 h 15"/>
                <a:gd name="T2" fmla="*/ 9 w 12"/>
                <a:gd name="T3" fmla="*/ 3 h 15"/>
                <a:gd name="T4" fmla="*/ 3 w 12"/>
                <a:gd name="T5" fmla="*/ 12 h 15"/>
              </a:gdLst>
              <a:ahLst/>
              <a:cxnLst>
                <a:cxn ang="0">
                  <a:pos x="T0" y="T1"/>
                </a:cxn>
                <a:cxn ang="0">
                  <a:pos x="T2" y="T3"/>
                </a:cxn>
                <a:cxn ang="0">
                  <a:pos x="T4" y="T5"/>
                </a:cxn>
              </a:cxnLst>
              <a:rect l="0" t="0" r="r" b="b"/>
              <a:pathLst>
                <a:path w="12" h="15">
                  <a:moveTo>
                    <a:pt x="3" y="12"/>
                  </a:moveTo>
                  <a:cubicBezTo>
                    <a:pt x="9" y="9"/>
                    <a:pt x="12" y="6"/>
                    <a:pt x="9" y="3"/>
                  </a:cubicBezTo>
                  <a:cubicBezTo>
                    <a:pt x="6" y="0"/>
                    <a:pt x="0" y="15"/>
                    <a:pt x="3" y="12"/>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4" name="Freeform 1019"/>
            <p:cNvSpPr>
              <a:spLocks/>
            </p:cNvSpPr>
            <p:nvPr userDrawn="1"/>
          </p:nvSpPr>
          <p:spPr bwMode="auto">
            <a:xfrm>
              <a:off x="674" y="-1530"/>
              <a:ext cx="19" cy="14"/>
            </a:xfrm>
            <a:custGeom>
              <a:avLst/>
              <a:gdLst>
                <a:gd name="T0" fmla="*/ 3 w 12"/>
                <a:gd name="T1" fmla="*/ 3 h 9"/>
                <a:gd name="T2" fmla="*/ 12 w 12"/>
                <a:gd name="T3" fmla="*/ 6 h 9"/>
                <a:gd name="T4" fmla="*/ 3 w 12"/>
                <a:gd name="T5" fmla="*/ 3 h 9"/>
              </a:gdLst>
              <a:ahLst/>
              <a:cxnLst>
                <a:cxn ang="0">
                  <a:pos x="T0" y="T1"/>
                </a:cxn>
                <a:cxn ang="0">
                  <a:pos x="T2" y="T3"/>
                </a:cxn>
                <a:cxn ang="0">
                  <a:pos x="T4" y="T5"/>
                </a:cxn>
              </a:cxnLst>
              <a:rect l="0" t="0" r="r" b="b"/>
              <a:pathLst>
                <a:path w="12" h="9">
                  <a:moveTo>
                    <a:pt x="3" y="3"/>
                  </a:moveTo>
                  <a:cubicBezTo>
                    <a:pt x="6" y="6"/>
                    <a:pt x="9" y="9"/>
                    <a:pt x="12" y="6"/>
                  </a:cubicBezTo>
                  <a:cubicBezTo>
                    <a:pt x="12" y="0"/>
                    <a:pt x="0" y="0"/>
                    <a:pt x="3" y="3"/>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5" name="Freeform 1020"/>
            <p:cNvSpPr>
              <a:spLocks/>
            </p:cNvSpPr>
            <p:nvPr userDrawn="1"/>
          </p:nvSpPr>
          <p:spPr bwMode="auto">
            <a:xfrm>
              <a:off x="506" y="-2692"/>
              <a:ext cx="683" cy="474"/>
            </a:xfrm>
            <a:custGeom>
              <a:avLst/>
              <a:gdLst>
                <a:gd name="T0" fmla="*/ 402 w 438"/>
                <a:gd name="T1" fmla="*/ 250 h 304"/>
                <a:gd name="T2" fmla="*/ 351 w 438"/>
                <a:gd name="T3" fmla="*/ 232 h 304"/>
                <a:gd name="T4" fmla="*/ 324 w 438"/>
                <a:gd name="T5" fmla="*/ 208 h 304"/>
                <a:gd name="T6" fmla="*/ 306 w 438"/>
                <a:gd name="T7" fmla="*/ 36 h 304"/>
                <a:gd name="T8" fmla="*/ 258 w 438"/>
                <a:gd name="T9" fmla="*/ 27 h 304"/>
                <a:gd name="T10" fmla="*/ 186 w 438"/>
                <a:gd name="T11" fmla="*/ 21 h 304"/>
                <a:gd name="T12" fmla="*/ 156 w 438"/>
                <a:gd name="T13" fmla="*/ 12 h 304"/>
                <a:gd name="T14" fmla="*/ 135 w 438"/>
                <a:gd name="T15" fmla="*/ 9 h 304"/>
                <a:gd name="T16" fmla="*/ 120 w 438"/>
                <a:gd name="T17" fmla="*/ 9 h 304"/>
                <a:gd name="T18" fmla="*/ 93 w 438"/>
                <a:gd name="T19" fmla="*/ 21 h 304"/>
                <a:gd name="T20" fmla="*/ 57 w 438"/>
                <a:gd name="T21" fmla="*/ 33 h 304"/>
                <a:gd name="T22" fmla="*/ 21 w 438"/>
                <a:gd name="T23" fmla="*/ 60 h 304"/>
                <a:gd name="T24" fmla="*/ 69 w 438"/>
                <a:gd name="T25" fmla="*/ 87 h 304"/>
                <a:gd name="T26" fmla="*/ 72 w 438"/>
                <a:gd name="T27" fmla="*/ 102 h 304"/>
                <a:gd name="T28" fmla="*/ 48 w 438"/>
                <a:gd name="T29" fmla="*/ 99 h 304"/>
                <a:gd name="T30" fmla="*/ 18 w 438"/>
                <a:gd name="T31" fmla="*/ 105 h 304"/>
                <a:gd name="T32" fmla="*/ 18 w 438"/>
                <a:gd name="T33" fmla="*/ 126 h 304"/>
                <a:gd name="T34" fmla="*/ 60 w 438"/>
                <a:gd name="T35" fmla="*/ 135 h 304"/>
                <a:gd name="T36" fmla="*/ 78 w 438"/>
                <a:gd name="T37" fmla="*/ 153 h 304"/>
                <a:gd name="T38" fmla="*/ 45 w 438"/>
                <a:gd name="T39" fmla="*/ 160 h 304"/>
                <a:gd name="T40" fmla="*/ 24 w 438"/>
                <a:gd name="T41" fmla="*/ 190 h 304"/>
                <a:gd name="T42" fmla="*/ 45 w 438"/>
                <a:gd name="T43" fmla="*/ 220 h 304"/>
                <a:gd name="T44" fmla="*/ 69 w 438"/>
                <a:gd name="T45" fmla="*/ 226 h 304"/>
                <a:gd name="T46" fmla="*/ 96 w 438"/>
                <a:gd name="T47" fmla="*/ 238 h 304"/>
                <a:gd name="T48" fmla="*/ 120 w 438"/>
                <a:gd name="T49" fmla="*/ 235 h 304"/>
                <a:gd name="T50" fmla="*/ 102 w 438"/>
                <a:gd name="T51" fmla="*/ 271 h 304"/>
                <a:gd name="T52" fmla="*/ 57 w 438"/>
                <a:gd name="T53" fmla="*/ 298 h 304"/>
                <a:gd name="T54" fmla="*/ 84 w 438"/>
                <a:gd name="T55" fmla="*/ 289 h 304"/>
                <a:gd name="T56" fmla="*/ 111 w 438"/>
                <a:gd name="T57" fmla="*/ 277 h 304"/>
                <a:gd name="T58" fmla="*/ 147 w 438"/>
                <a:gd name="T59" fmla="*/ 250 h 304"/>
                <a:gd name="T60" fmla="*/ 165 w 438"/>
                <a:gd name="T61" fmla="*/ 235 h 304"/>
                <a:gd name="T62" fmla="*/ 174 w 438"/>
                <a:gd name="T63" fmla="*/ 214 h 304"/>
                <a:gd name="T64" fmla="*/ 198 w 438"/>
                <a:gd name="T65" fmla="*/ 193 h 304"/>
                <a:gd name="T66" fmla="*/ 192 w 438"/>
                <a:gd name="T67" fmla="*/ 202 h 304"/>
                <a:gd name="T68" fmla="*/ 183 w 438"/>
                <a:gd name="T69" fmla="*/ 226 h 304"/>
                <a:gd name="T70" fmla="*/ 228 w 438"/>
                <a:gd name="T71" fmla="*/ 217 h 304"/>
                <a:gd name="T72" fmla="*/ 225 w 438"/>
                <a:gd name="T73" fmla="*/ 199 h 304"/>
                <a:gd name="T74" fmla="*/ 249 w 438"/>
                <a:gd name="T75" fmla="*/ 202 h 304"/>
                <a:gd name="T76" fmla="*/ 255 w 438"/>
                <a:gd name="T77" fmla="*/ 208 h 304"/>
                <a:gd name="T78" fmla="*/ 276 w 438"/>
                <a:gd name="T79" fmla="*/ 214 h 304"/>
                <a:gd name="T80" fmla="*/ 324 w 438"/>
                <a:gd name="T81" fmla="*/ 214 h 304"/>
                <a:gd name="T82" fmla="*/ 342 w 438"/>
                <a:gd name="T83" fmla="*/ 232 h 304"/>
                <a:gd name="T84" fmla="*/ 369 w 438"/>
                <a:gd name="T85" fmla="*/ 244 h 304"/>
                <a:gd name="T86" fmla="*/ 375 w 438"/>
                <a:gd name="T87" fmla="*/ 250 h 304"/>
                <a:gd name="T88" fmla="*/ 369 w 438"/>
                <a:gd name="T89" fmla="*/ 259 h 304"/>
                <a:gd name="T90" fmla="*/ 378 w 438"/>
                <a:gd name="T91" fmla="*/ 262 h 304"/>
                <a:gd name="T92" fmla="*/ 387 w 438"/>
                <a:gd name="T93" fmla="*/ 259 h 304"/>
                <a:gd name="T94" fmla="*/ 390 w 438"/>
                <a:gd name="T95" fmla="*/ 265 h 304"/>
                <a:gd name="T96" fmla="*/ 390 w 438"/>
                <a:gd name="T97" fmla="*/ 274 h 304"/>
                <a:gd name="T98" fmla="*/ 402 w 438"/>
                <a:gd name="T99" fmla="*/ 274 h 304"/>
                <a:gd name="T100" fmla="*/ 405 w 438"/>
                <a:gd name="T101" fmla="*/ 286 h 304"/>
                <a:gd name="T102" fmla="*/ 396 w 438"/>
                <a:gd name="T103" fmla="*/ 301 h 304"/>
                <a:gd name="T104" fmla="*/ 411 w 438"/>
                <a:gd name="T105" fmla="*/ 292 h 304"/>
                <a:gd name="T106" fmla="*/ 423 w 438"/>
                <a:gd name="T107" fmla="*/ 301 h 304"/>
                <a:gd name="T108" fmla="*/ 432 w 438"/>
                <a:gd name="T109" fmla="*/ 286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304">
                  <a:moveTo>
                    <a:pt x="432" y="286"/>
                  </a:moveTo>
                  <a:cubicBezTo>
                    <a:pt x="432" y="283"/>
                    <a:pt x="435" y="280"/>
                    <a:pt x="420" y="274"/>
                  </a:cubicBezTo>
                  <a:cubicBezTo>
                    <a:pt x="408" y="271"/>
                    <a:pt x="411" y="265"/>
                    <a:pt x="402" y="250"/>
                  </a:cubicBezTo>
                  <a:cubicBezTo>
                    <a:pt x="393" y="235"/>
                    <a:pt x="378" y="229"/>
                    <a:pt x="378" y="223"/>
                  </a:cubicBezTo>
                  <a:cubicBezTo>
                    <a:pt x="378" y="217"/>
                    <a:pt x="360" y="217"/>
                    <a:pt x="360" y="223"/>
                  </a:cubicBezTo>
                  <a:cubicBezTo>
                    <a:pt x="360" y="226"/>
                    <a:pt x="354" y="229"/>
                    <a:pt x="351" y="232"/>
                  </a:cubicBezTo>
                  <a:cubicBezTo>
                    <a:pt x="348" y="232"/>
                    <a:pt x="345" y="229"/>
                    <a:pt x="342" y="226"/>
                  </a:cubicBezTo>
                  <a:cubicBezTo>
                    <a:pt x="339" y="220"/>
                    <a:pt x="330" y="217"/>
                    <a:pt x="330" y="214"/>
                  </a:cubicBezTo>
                  <a:cubicBezTo>
                    <a:pt x="330" y="211"/>
                    <a:pt x="330" y="205"/>
                    <a:pt x="324" y="208"/>
                  </a:cubicBezTo>
                  <a:cubicBezTo>
                    <a:pt x="318" y="211"/>
                    <a:pt x="315" y="208"/>
                    <a:pt x="312" y="211"/>
                  </a:cubicBezTo>
                  <a:cubicBezTo>
                    <a:pt x="306" y="208"/>
                    <a:pt x="306" y="208"/>
                    <a:pt x="306" y="208"/>
                  </a:cubicBezTo>
                  <a:cubicBezTo>
                    <a:pt x="306" y="36"/>
                    <a:pt x="306" y="36"/>
                    <a:pt x="306" y="36"/>
                  </a:cubicBezTo>
                  <a:cubicBezTo>
                    <a:pt x="303" y="33"/>
                    <a:pt x="303" y="33"/>
                    <a:pt x="303" y="33"/>
                  </a:cubicBezTo>
                  <a:cubicBezTo>
                    <a:pt x="294" y="30"/>
                    <a:pt x="285" y="27"/>
                    <a:pt x="279" y="27"/>
                  </a:cubicBezTo>
                  <a:cubicBezTo>
                    <a:pt x="273" y="30"/>
                    <a:pt x="261" y="30"/>
                    <a:pt x="258" y="27"/>
                  </a:cubicBezTo>
                  <a:cubicBezTo>
                    <a:pt x="252" y="27"/>
                    <a:pt x="246" y="24"/>
                    <a:pt x="240" y="27"/>
                  </a:cubicBezTo>
                  <a:cubicBezTo>
                    <a:pt x="231" y="27"/>
                    <a:pt x="225" y="21"/>
                    <a:pt x="216" y="18"/>
                  </a:cubicBezTo>
                  <a:cubicBezTo>
                    <a:pt x="204" y="15"/>
                    <a:pt x="189" y="18"/>
                    <a:pt x="186" y="21"/>
                  </a:cubicBezTo>
                  <a:cubicBezTo>
                    <a:pt x="183" y="21"/>
                    <a:pt x="183" y="18"/>
                    <a:pt x="180" y="18"/>
                  </a:cubicBezTo>
                  <a:cubicBezTo>
                    <a:pt x="174" y="18"/>
                    <a:pt x="177" y="15"/>
                    <a:pt x="177" y="12"/>
                  </a:cubicBezTo>
                  <a:cubicBezTo>
                    <a:pt x="174" y="9"/>
                    <a:pt x="162" y="12"/>
                    <a:pt x="156" y="12"/>
                  </a:cubicBezTo>
                  <a:cubicBezTo>
                    <a:pt x="153" y="12"/>
                    <a:pt x="150" y="9"/>
                    <a:pt x="150" y="6"/>
                  </a:cubicBezTo>
                  <a:cubicBezTo>
                    <a:pt x="150" y="6"/>
                    <a:pt x="147" y="6"/>
                    <a:pt x="144" y="9"/>
                  </a:cubicBezTo>
                  <a:cubicBezTo>
                    <a:pt x="144" y="12"/>
                    <a:pt x="138" y="12"/>
                    <a:pt x="135" y="9"/>
                  </a:cubicBezTo>
                  <a:cubicBezTo>
                    <a:pt x="135" y="9"/>
                    <a:pt x="141" y="9"/>
                    <a:pt x="141" y="6"/>
                  </a:cubicBezTo>
                  <a:cubicBezTo>
                    <a:pt x="141" y="3"/>
                    <a:pt x="135" y="3"/>
                    <a:pt x="132" y="0"/>
                  </a:cubicBezTo>
                  <a:cubicBezTo>
                    <a:pt x="129" y="0"/>
                    <a:pt x="126" y="3"/>
                    <a:pt x="120" y="9"/>
                  </a:cubicBezTo>
                  <a:cubicBezTo>
                    <a:pt x="114" y="12"/>
                    <a:pt x="108" y="12"/>
                    <a:pt x="102" y="12"/>
                  </a:cubicBezTo>
                  <a:cubicBezTo>
                    <a:pt x="96" y="12"/>
                    <a:pt x="90" y="12"/>
                    <a:pt x="93" y="15"/>
                  </a:cubicBezTo>
                  <a:cubicBezTo>
                    <a:pt x="93" y="18"/>
                    <a:pt x="99" y="18"/>
                    <a:pt x="93" y="21"/>
                  </a:cubicBezTo>
                  <a:cubicBezTo>
                    <a:pt x="90" y="24"/>
                    <a:pt x="90" y="18"/>
                    <a:pt x="87" y="21"/>
                  </a:cubicBezTo>
                  <a:cubicBezTo>
                    <a:pt x="81" y="24"/>
                    <a:pt x="72" y="24"/>
                    <a:pt x="69" y="24"/>
                  </a:cubicBezTo>
                  <a:cubicBezTo>
                    <a:pt x="66" y="24"/>
                    <a:pt x="60" y="33"/>
                    <a:pt x="57" y="33"/>
                  </a:cubicBezTo>
                  <a:cubicBezTo>
                    <a:pt x="54" y="36"/>
                    <a:pt x="57" y="39"/>
                    <a:pt x="51" y="45"/>
                  </a:cubicBezTo>
                  <a:cubicBezTo>
                    <a:pt x="45" y="54"/>
                    <a:pt x="27" y="51"/>
                    <a:pt x="24" y="51"/>
                  </a:cubicBezTo>
                  <a:cubicBezTo>
                    <a:pt x="18" y="51"/>
                    <a:pt x="21" y="57"/>
                    <a:pt x="21" y="60"/>
                  </a:cubicBezTo>
                  <a:cubicBezTo>
                    <a:pt x="18" y="63"/>
                    <a:pt x="21" y="63"/>
                    <a:pt x="33" y="66"/>
                  </a:cubicBezTo>
                  <a:cubicBezTo>
                    <a:pt x="42" y="69"/>
                    <a:pt x="51" y="84"/>
                    <a:pt x="51" y="87"/>
                  </a:cubicBezTo>
                  <a:cubicBezTo>
                    <a:pt x="51" y="90"/>
                    <a:pt x="66" y="87"/>
                    <a:pt x="69" y="87"/>
                  </a:cubicBezTo>
                  <a:cubicBezTo>
                    <a:pt x="75" y="87"/>
                    <a:pt x="69" y="96"/>
                    <a:pt x="75" y="96"/>
                  </a:cubicBezTo>
                  <a:cubicBezTo>
                    <a:pt x="78" y="99"/>
                    <a:pt x="84" y="96"/>
                    <a:pt x="87" y="99"/>
                  </a:cubicBezTo>
                  <a:cubicBezTo>
                    <a:pt x="87" y="102"/>
                    <a:pt x="78" y="99"/>
                    <a:pt x="72" y="102"/>
                  </a:cubicBezTo>
                  <a:cubicBezTo>
                    <a:pt x="66" y="108"/>
                    <a:pt x="66" y="108"/>
                    <a:pt x="63" y="105"/>
                  </a:cubicBezTo>
                  <a:cubicBezTo>
                    <a:pt x="60" y="102"/>
                    <a:pt x="51" y="105"/>
                    <a:pt x="48" y="105"/>
                  </a:cubicBezTo>
                  <a:cubicBezTo>
                    <a:pt x="45" y="105"/>
                    <a:pt x="48" y="99"/>
                    <a:pt x="48" y="99"/>
                  </a:cubicBezTo>
                  <a:cubicBezTo>
                    <a:pt x="48" y="96"/>
                    <a:pt x="42" y="93"/>
                    <a:pt x="33" y="99"/>
                  </a:cubicBezTo>
                  <a:cubicBezTo>
                    <a:pt x="27" y="102"/>
                    <a:pt x="30" y="102"/>
                    <a:pt x="27" y="105"/>
                  </a:cubicBezTo>
                  <a:cubicBezTo>
                    <a:pt x="27" y="108"/>
                    <a:pt x="24" y="102"/>
                    <a:pt x="18" y="105"/>
                  </a:cubicBezTo>
                  <a:cubicBezTo>
                    <a:pt x="12" y="108"/>
                    <a:pt x="3" y="111"/>
                    <a:pt x="3" y="114"/>
                  </a:cubicBezTo>
                  <a:cubicBezTo>
                    <a:pt x="0" y="117"/>
                    <a:pt x="15" y="120"/>
                    <a:pt x="18" y="120"/>
                  </a:cubicBezTo>
                  <a:cubicBezTo>
                    <a:pt x="24" y="123"/>
                    <a:pt x="12" y="126"/>
                    <a:pt x="18" y="126"/>
                  </a:cubicBezTo>
                  <a:cubicBezTo>
                    <a:pt x="21" y="129"/>
                    <a:pt x="18" y="132"/>
                    <a:pt x="27" y="135"/>
                  </a:cubicBezTo>
                  <a:cubicBezTo>
                    <a:pt x="33" y="138"/>
                    <a:pt x="45" y="135"/>
                    <a:pt x="51" y="135"/>
                  </a:cubicBezTo>
                  <a:cubicBezTo>
                    <a:pt x="54" y="135"/>
                    <a:pt x="57" y="138"/>
                    <a:pt x="60" y="135"/>
                  </a:cubicBezTo>
                  <a:cubicBezTo>
                    <a:pt x="63" y="132"/>
                    <a:pt x="75" y="123"/>
                    <a:pt x="81" y="129"/>
                  </a:cubicBezTo>
                  <a:cubicBezTo>
                    <a:pt x="87" y="135"/>
                    <a:pt x="75" y="135"/>
                    <a:pt x="78" y="138"/>
                  </a:cubicBezTo>
                  <a:cubicBezTo>
                    <a:pt x="81" y="141"/>
                    <a:pt x="84" y="147"/>
                    <a:pt x="78" y="153"/>
                  </a:cubicBezTo>
                  <a:cubicBezTo>
                    <a:pt x="72" y="157"/>
                    <a:pt x="66" y="153"/>
                    <a:pt x="63" y="153"/>
                  </a:cubicBezTo>
                  <a:cubicBezTo>
                    <a:pt x="60" y="153"/>
                    <a:pt x="63" y="160"/>
                    <a:pt x="57" y="163"/>
                  </a:cubicBezTo>
                  <a:cubicBezTo>
                    <a:pt x="54" y="166"/>
                    <a:pt x="51" y="160"/>
                    <a:pt x="45" y="160"/>
                  </a:cubicBezTo>
                  <a:cubicBezTo>
                    <a:pt x="39" y="160"/>
                    <a:pt x="39" y="166"/>
                    <a:pt x="39" y="172"/>
                  </a:cubicBezTo>
                  <a:cubicBezTo>
                    <a:pt x="39" y="175"/>
                    <a:pt x="30" y="169"/>
                    <a:pt x="27" y="178"/>
                  </a:cubicBezTo>
                  <a:cubicBezTo>
                    <a:pt x="27" y="187"/>
                    <a:pt x="15" y="181"/>
                    <a:pt x="24" y="190"/>
                  </a:cubicBezTo>
                  <a:cubicBezTo>
                    <a:pt x="30" y="199"/>
                    <a:pt x="27" y="193"/>
                    <a:pt x="33" y="196"/>
                  </a:cubicBezTo>
                  <a:cubicBezTo>
                    <a:pt x="39" y="199"/>
                    <a:pt x="27" y="205"/>
                    <a:pt x="33" y="205"/>
                  </a:cubicBezTo>
                  <a:cubicBezTo>
                    <a:pt x="36" y="208"/>
                    <a:pt x="42" y="217"/>
                    <a:pt x="45" y="220"/>
                  </a:cubicBezTo>
                  <a:cubicBezTo>
                    <a:pt x="51" y="223"/>
                    <a:pt x="54" y="217"/>
                    <a:pt x="60" y="217"/>
                  </a:cubicBezTo>
                  <a:cubicBezTo>
                    <a:pt x="66" y="217"/>
                    <a:pt x="63" y="211"/>
                    <a:pt x="66" y="214"/>
                  </a:cubicBezTo>
                  <a:cubicBezTo>
                    <a:pt x="69" y="217"/>
                    <a:pt x="72" y="223"/>
                    <a:pt x="69" y="226"/>
                  </a:cubicBezTo>
                  <a:cubicBezTo>
                    <a:pt x="66" y="229"/>
                    <a:pt x="69" y="235"/>
                    <a:pt x="69" y="238"/>
                  </a:cubicBezTo>
                  <a:cubicBezTo>
                    <a:pt x="69" y="241"/>
                    <a:pt x="81" y="238"/>
                    <a:pt x="81" y="235"/>
                  </a:cubicBezTo>
                  <a:cubicBezTo>
                    <a:pt x="81" y="232"/>
                    <a:pt x="90" y="232"/>
                    <a:pt x="96" y="238"/>
                  </a:cubicBezTo>
                  <a:cubicBezTo>
                    <a:pt x="102" y="241"/>
                    <a:pt x="105" y="244"/>
                    <a:pt x="105" y="238"/>
                  </a:cubicBezTo>
                  <a:cubicBezTo>
                    <a:pt x="105" y="235"/>
                    <a:pt x="108" y="229"/>
                    <a:pt x="108" y="232"/>
                  </a:cubicBezTo>
                  <a:cubicBezTo>
                    <a:pt x="108" y="238"/>
                    <a:pt x="114" y="238"/>
                    <a:pt x="120" y="235"/>
                  </a:cubicBezTo>
                  <a:cubicBezTo>
                    <a:pt x="129" y="232"/>
                    <a:pt x="126" y="235"/>
                    <a:pt x="120" y="241"/>
                  </a:cubicBezTo>
                  <a:cubicBezTo>
                    <a:pt x="114" y="247"/>
                    <a:pt x="120" y="256"/>
                    <a:pt x="117" y="259"/>
                  </a:cubicBezTo>
                  <a:cubicBezTo>
                    <a:pt x="114" y="259"/>
                    <a:pt x="111" y="268"/>
                    <a:pt x="102" y="271"/>
                  </a:cubicBezTo>
                  <a:cubicBezTo>
                    <a:pt x="96" y="271"/>
                    <a:pt x="87" y="283"/>
                    <a:pt x="84" y="286"/>
                  </a:cubicBezTo>
                  <a:cubicBezTo>
                    <a:pt x="84" y="286"/>
                    <a:pt x="69" y="280"/>
                    <a:pt x="66" y="286"/>
                  </a:cubicBezTo>
                  <a:cubicBezTo>
                    <a:pt x="66" y="292"/>
                    <a:pt x="57" y="295"/>
                    <a:pt x="57" y="298"/>
                  </a:cubicBezTo>
                  <a:cubicBezTo>
                    <a:pt x="60" y="301"/>
                    <a:pt x="72" y="295"/>
                    <a:pt x="72" y="292"/>
                  </a:cubicBezTo>
                  <a:cubicBezTo>
                    <a:pt x="72" y="289"/>
                    <a:pt x="75" y="289"/>
                    <a:pt x="75" y="292"/>
                  </a:cubicBezTo>
                  <a:cubicBezTo>
                    <a:pt x="78" y="292"/>
                    <a:pt x="84" y="289"/>
                    <a:pt x="84" y="289"/>
                  </a:cubicBezTo>
                  <a:cubicBezTo>
                    <a:pt x="87" y="286"/>
                    <a:pt x="90" y="286"/>
                    <a:pt x="93" y="286"/>
                  </a:cubicBezTo>
                  <a:cubicBezTo>
                    <a:pt x="96" y="286"/>
                    <a:pt x="96" y="283"/>
                    <a:pt x="102" y="283"/>
                  </a:cubicBezTo>
                  <a:cubicBezTo>
                    <a:pt x="111" y="283"/>
                    <a:pt x="108" y="280"/>
                    <a:pt x="111" y="277"/>
                  </a:cubicBezTo>
                  <a:cubicBezTo>
                    <a:pt x="111" y="274"/>
                    <a:pt x="129" y="265"/>
                    <a:pt x="132" y="265"/>
                  </a:cubicBezTo>
                  <a:cubicBezTo>
                    <a:pt x="135" y="265"/>
                    <a:pt x="132" y="259"/>
                    <a:pt x="135" y="259"/>
                  </a:cubicBezTo>
                  <a:cubicBezTo>
                    <a:pt x="138" y="259"/>
                    <a:pt x="144" y="253"/>
                    <a:pt x="147" y="250"/>
                  </a:cubicBezTo>
                  <a:cubicBezTo>
                    <a:pt x="153" y="247"/>
                    <a:pt x="153" y="250"/>
                    <a:pt x="156" y="247"/>
                  </a:cubicBezTo>
                  <a:cubicBezTo>
                    <a:pt x="159" y="247"/>
                    <a:pt x="156" y="241"/>
                    <a:pt x="159" y="238"/>
                  </a:cubicBezTo>
                  <a:cubicBezTo>
                    <a:pt x="162" y="238"/>
                    <a:pt x="165" y="235"/>
                    <a:pt x="165" y="235"/>
                  </a:cubicBezTo>
                  <a:cubicBezTo>
                    <a:pt x="165" y="232"/>
                    <a:pt x="159" y="232"/>
                    <a:pt x="156" y="229"/>
                  </a:cubicBezTo>
                  <a:cubicBezTo>
                    <a:pt x="156" y="226"/>
                    <a:pt x="162" y="220"/>
                    <a:pt x="165" y="220"/>
                  </a:cubicBezTo>
                  <a:cubicBezTo>
                    <a:pt x="168" y="220"/>
                    <a:pt x="174" y="217"/>
                    <a:pt x="174" y="214"/>
                  </a:cubicBezTo>
                  <a:cubicBezTo>
                    <a:pt x="174" y="211"/>
                    <a:pt x="177" y="211"/>
                    <a:pt x="180" y="205"/>
                  </a:cubicBezTo>
                  <a:cubicBezTo>
                    <a:pt x="183" y="202"/>
                    <a:pt x="183" y="199"/>
                    <a:pt x="186" y="199"/>
                  </a:cubicBezTo>
                  <a:cubicBezTo>
                    <a:pt x="189" y="199"/>
                    <a:pt x="192" y="196"/>
                    <a:pt x="198" y="193"/>
                  </a:cubicBezTo>
                  <a:cubicBezTo>
                    <a:pt x="201" y="190"/>
                    <a:pt x="198" y="196"/>
                    <a:pt x="204" y="196"/>
                  </a:cubicBezTo>
                  <a:cubicBezTo>
                    <a:pt x="210" y="196"/>
                    <a:pt x="210" y="202"/>
                    <a:pt x="204" y="199"/>
                  </a:cubicBezTo>
                  <a:cubicBezTo>
                    <a:pt x="198" y="196"/>
                    <a:pt x="195" y="199"/>
                    <a:pt x="192" y="202"/>
                  </a:cubicBezTo>
                  <a:cubicBezTo>
                    <a:pt x="186" y="205"/>
                    <a:pt x="192" y="208"/>
                    <a:pt x="186" y="211"/>
                  </a:cubicBezTo>
                  <a:cubicBezTo>
                    <a:pt x="183" y="217"/>
                    <a:pt x="183" y="220"/>
                    <a:pt x="189" y="220"/>
                  </a:cubicBezTo>
                  <a:cubicBezTo>
                    <a:pt x="192" y="220"/>
                    <a:pt x="189" y="223"/>
                    <a:pt x="183" y="226"/>
                  </a:cubicBezTo>
                  <a:cubicBezTo>
                    <a:pt x="180" y="226"/>
                    <a:pt x="183" y="229"/>
                    <a:pt x="189" y="229"/>
                  </a:cubicBezTo>
                  <a:cubicBezTo>
                    <a:pt x="195" y="229"/>
                    <a:pt x="204" y="220"/>
                    <a:pt x="210" y="217"/>
                  </a:cubicBezTo>
                  <a:cubicBezTo>
                    <a:pt x="219" y="214"/>
                    <a:pt x="225" y="217"/>
                    <a:pt x="228" y="217"/>
                  </a:cubicBezTo>
                  <a:cubicBezTo>
                    <a:pt x="228" y="214"/>
                    <a:pt x="225" y="211"/>
                    <a:pt x="228" y="211"/>
                  </a:cubicBezTo>
                  <a:cubicBezTo>
                    <a:pt x="231" y="208"/>
                    <a:pt x="225" y="208"/>
                    <a:pt x="222" y="205"/>
                  </a:cubicBezTo>
                  <a:cubicBezTo>
                    <a:pt x="222" y="199"/>
                    <a:pt x="225" y="202"/>
                    <a:pt x="225" y="199"/>
                  </a:cubicBezTo>
                  <a:cubicBezTo>
                    <a:pt x="228" y="193"/>
                    <a:pt x="231" y="196"/>
                    <a:pt x="231" y="199"/>
                  </a:cubicBezTo>
                  <a:cubicBezTo>
                    <a:pt x="234" y="199"/>
                    <a:pt x="237" y="196"/>
                    <a:pt x="240" y="202"/>
                  </a:cubicBezTo>
                  <a:cubicBezTo>
                    <a:pt x="243" y="205"/>
                    <a:pt x="246" y="199"/>
                    <a:pt x="249" y="202"/>
                  </a:cubicBezTo>
                  <a:cubicBezTo>
                    <a:pt x="252" y="205"/>
                    <a:pt x="249" y="205"/>
                    <a:pt x="243" y="205"/>
                  </a:cubicBezTo>
                  <a:cubicBezTo>
                    <a:pt x="240" y="208"/>
                    <a:pt x="243" y="214"/>
                    <a:pt x="246" y="211"/>
                  </a:cubicBezTo>
                  <a:cubicBezTo>
                    <a:pt x="249" y="208"/>
                    <a:pt x="252" y="205"/>
                    <a:pt x="255" y="208"/>
                  </a:cubicBezTo>
                  <a:cubicBezTo>
                    <a:pt x="258" y="211"/>
                    <a:pt x="258" y="211"/>
                    <a:pt x="261" y="208"/>
                  </a:cubicBezTo>
                  <a:cubicBezTo>
                    <a:pt x="264" y="205"/>
                    <a:pt x="264" y="208"/>
                    <a:pt x="264" y="211"/>
                  </a:cubicBezTo>
                  <a:cubicBezTo>
                    <a:pt x="264" y="211"/>
                    <a:pt x="270" y="214"/>
                    <a:pt x="276" y="214"/>
                  </a:cubicBezTo>
                  <a:cubicBezTo>
                    <a:pt x="285" y="214"/>
                    <a:pt x="297" y="214"/>
                    <a:pt x="300" y="214"/>
                  </a:cubicBezTo>
                  <a:cubicBezTo>
                    <a:pt x="306" y="214"/>
                    <a:pt x="303" y="217"/>
                    <a:pt x="312" y="220"/>
                  </a:cubicBezTo>
                  <a:cubicBezTo>
                    <a:pt x="318" y="220"/>
                    <a:pt x="321" y="211"/>
                    <a:pt x="324" y="214"/>
                  </a:cubicBezTo>
                  <a:cubicBezTo>
                    <a:pt x="330" y="220"/>
                    <a:pt x="324" y="220"/>
                    <a:pt x="324" y="223"/>
                  </a:cubicBezTo>
                  <a:cubicBezTo>
                    <a:pt x="321" y="226"/>
                    <a:pt x="324" y="226"/>
                    <a:pt x="327" y="226"/>
                  </a:cubicBezTo>
                  <a:cubicBezTo>
                    <a:pt x="330" y="229"/>
                    <a:pt x="339" y="229"/>
                    <a:pt x="342" y="232"/>
                  </a:cubicBezTo>
                  <a:cubicBezTo>
                    <a:pt x="345" y="235"/>
                    <a:pt x="348" y="241"/>
                    <a:pt x="354" y="244"/>
                  </a:cubicBezTo>
                  <a:cubicBezTo>
                    <a:pt x="363" y="247"/>
                    <a:pt x="354" y="235"/>
                    <a:pt x="360" y="238"/>
                  </a:cubicBezTo>
                  <a:cubicBezTo>
                    <a:pt x="366" y="244"/>
                    <a:pt x="366" y="238"/>
                    <a:pt x="369" y="244"/>
                  </a:cubicBezTo>
                  <a:cubicBezTo>
                    <a:pt x="375" y="247"/>
                    <a:pt x="372" y="241"/>
                    <a:pt x="372" y="232"/>
                  </a:cubicBezTo>
                  <a:cubicBezTo>
                    <a:pt x="369" y="226"/>
                    <a:pt x="372" y="232"/>
                    <a:pt x="375" y="235"/>
                  </a:cubicBezTo>
                  <a:cubicBezTo>
                    <a:pt x="378" y="238"/>
                    <a:pt x="378" y="244"/>
                    <a:pt x="375" y="250"/>
                  </a:cubicBezTo>
                  <a:cubicBezTo>
                    <a:pt x="375" y="253"/>
                    <a:pt x="366" y="250"/>
                    <a:pt x="369" y="247"/>
                  </a:cubicBezTo>
                  <a:cubicBezTo>
                    <a:pt x="369" y="244"/>
                    <a:pt x="360" y="247"/>
                    <a:pt x="360" y="250"/>
                  </a:cubicBezTo>
                  <a:cubicBezTo>
                    <a:pt x="360" y="253"/>
                    <a:pt x="366" y="259"/>
                    <a:pt x="369" y="259"/>
                  </a:cubicBezTo>
                  <a:cubicBezTo>
                    <a:pt x="375" y="262"/>
                    <a:pt x="372" y="268"/>
                    <a:pt x="372" y="268"/>
                  </a:cubicBezTo>
                  <a:cubicBezTo>
                    <a:pt x="378" y="268"/>
                    <a:pt x="375" y="277"/>
                    <a:pt x="378" y="274"/>
                  </a:cubicBezTo>
                  <a:cubicBezTo>
                    <a:pt x="381" y="274"/>
                    <a:pt x="381" y="265"/>
                    <a:pt x="378" y="262"/>
                  </a:cubicBezTo>
                  <a:cubicBezTo>
                    <a:pt x="375" y="259"/>
                    <a:pt x="375" y="253"/>
                    <a:pt x="378" y="256"/>
                  </a:cubicBezTo>
                  <a:cubicBezTo>
                    <a:pt x="381" y="256"/>
                    <a:pt x="378" y="262"/>
                    <a:pt x="381" y="262"/>
                  </a:cubicBezTo>
                  <a:cubicBezTo>
                    <a:pt x="381" y="265"/>
                    <a:pt x="384" y="262"/>
                    <a:pt x="387" y="259"/>
                  </a:cubicBezTo>
                  <a:cubicBezTo>
                    <a:pt x="390" y="256"/>
                    <a:pt x="387" y="250"/>
                    <a:pt x="387" y="247"/>
                  </a:cubicBezTo>
                  <a:cubicBezTo>
                    <a:pt x="387" y="244"/>
                    <a:pt x="393" y="250"/>
                    <a:pt x="393" y="256"/>
                  </a:cubicBezTo>
                  <a:cubicBezTo>
                    <a:pt x="396" y="262"/>
                    <a:pt x="390" y="262"/>
                    <a:pt x="390" y="265"/>
                  </a:cubicBezTo>
                  <a:cubicBezTo>
                    <a:pt x="390" y="268"/>
                    <a:pt x="384" y="265"/>
                    <a:pt x="384" y="268"/>
                  </a:cubicBezTo>
                  <a:cubicBezTo>
                    <a:pt x="381" y="268"/>
                    <a:pt x="384" y="277"/>
                    <a:pt x="384" y="280"/>
                  </a:cubicBezTo>
                  <a:cubicBezTo>
                    <a:pt x="387" y="280"/>
                    <a:pt x="387" y="271"/>
                    <a:pt x="390" y="274"/>
                  </a:cubicBezTo>
                  <a:cubicBezTo>
                    <a:pt x="390" y="280"/>
                    <a:pt x="396" y="268"/>
                    <a:pt x="396" y="274"/>
                  </a:cubicBezTo>
                  <a:cubicBezTo>
                    <a:pt x="399" y="277"/>
                    <a:pt x="405" y="283"/>
                    <a:pt x="405" y="280"/>
                  </a:cubicBezTo>
                  <a:cubicBezTo>
                    <a:pt x="408" y="280"/>
                    <a:pt x="405" y="274"/>
                    <a:pt x="402" y="274"/>
                  </a:cubicBezTo>
                  <a:cubicBezTo>
                    <a:pt x="399" y="274"/>
                    <a:pt x="399" y="268"/>
                    <a:pt x="402" y="268"/>
                  </a:cubicBezTo>
                  <a:cubicBezTo>
                    <a:pt x="405" y="268"/>
                    <a:pt x="411" y="277"/>
                    <a:pt x="411" y="280"/>
                  </a:cubicBezTo>
                  <a:cubicBezTo>
                    <a:pt x="411" y="283"/>
                    <a:pt x="408" y="283"/>
                    <a:pt x="405" y="286"/>
                  </a:cubicBezTo>
                  <a:cubicBezTo>
                    <a:pt x="402" y="289"/>
                    <a:pt x="399" y="280"/>
                    <a:pt x="396" y="280"/>
                  </a:cubicBezTo>
                  <a:cubicBezTo>
                    <a:pt x="393" y="280"/>
                    <a:pt x="396" y="286"/>
                    <a:pt x="396" y="289"/>
                  </a:cubicBezTo>
                  <a:cubicBezTo>
                    <a:pt x="399" y="292"/>
                    <a:pt x="393" y="298"/>
                    <a:pt x="396" y="301"/>
                  </a:cubicBezTo>
                  <a:cubicBezTo>
                    <a:pt x="402" y="304"/>
                    <a:pt x="399" y="298"/>
                    <a:pt x="402" y="298"/>
                  </a:cubicBezTo>
                  <a:cubicBezTo>
                    <a:pt x="402" y="295"/>
                    <a:pt x="405" y="298"/>
                    <a:pt x="408" y="298"/>
                  </a:cubicBezTo>
                  <a:cubicBezTo>
                    <a:pt x="408" y="301"/>
                    <a:pt x="411" y="295"/>
                    <a:pt x="411" y="292"/>
                  </a:cubicBezTo>
                  <a:cubicBezTo>
                    <a:pt x="411" y="292"/>
                    <a:pt x="414" y="292"/>
                    <a:pt x="414" y="295"/>
                  </a:cubicBezTo>
                  <a:cubicBezTo>
                    <a:pt x="417" y="298"/>
                    <a:pt x="417" y="292"/>
                    <a:pt x="420" y="292"/>
                  </a:cubicBezTo>
                  <a:cubicBezTo>
                    <a:pt x="423" y="292"/>
                    <a:pt x="423" y="298"/>
                    <a:pt x="423" y="301"/>
                  </a:cubicBezTo>
                  <a:cubicBezTo>
                    <a:pt x="423" y="304"/>
                    <a:pt x="426" y="298"/>
                    <a:pt x="426" y="301"/>
                  </a:cubicBezTo>
                  <a:cubicBezTo>
                    <a:pt x="429" y="301"/>
                    <a:pt x="432" y="298"/>
                    <a:pt x="435" y="298"/>
                  </a:cubicBezTo>
                  <a:cubicBezTo>
                    <a:pt x="438" y="292"/>
                    <a:pt x="429" y="292"/>
                    <a:pt x="432" y="28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6" name="Freeform 1021"/>
            <p:cNvSpPr>
              <a:spLocks/>
            </p:cNvSpPr>
            <p:nvPr userDrawn="1"/>
          </p:nvSpPr>
          <p:spPr bwMode="auto">
            <a:xfrm>
              <a:off x="740" y="-2321"/>
              <a:ext cx="51" cy="51"/>
            </a:xfrm>
            <a:custGeom>
              <a:avLst/>
              <a:gdLst>
                <a:gd name="T0" fmla="*/ 21 w 33"/>
                <a:gd name="T1" fmla="*/ 6 h 33"/>
                <a:gd name="T2" fmla="*/ 9 w 33"/>
                <a:gd name="T3" fmla="*/ 18 h 33"/>
                <a:gd name="T4" fmla="*/ 3 w 33"/>
                <a:gd name="T5" fmla="*/ 21 h 33"/>
                <a:gd name="T6" fmla="*/ 6 w 33"/>
                <a:gd name="T7" fmla="*/ 30 h 33"/>
                <a:gd name="T8" fmla="*/ 12 w 33"/>
                <a:gd name="T9" fmla="*/ 30 h 33"/>
                <a:gd name="T10" fmla="*/ 27 w 33"/>
                <a:gd name="T11" fmla="*/ 18 h 33"/>
                <a:gd name="T12" fmla="*/ 24 w 33"/>
                <a:gd name="T13" fmla="*/ 12 h 33"/>
                <a:gd name="T14" fmla="*/ 30 w 33"/>
                <a:gd name="T15" fmla="*/ 9 h 33"/>
                <a:gd name="T16" fmla="*/ 30 w 33"/>
                <a:gd name="T17" fmla="*/ 3 h 33"/>
                <a:gd name="T18" fmla="*/ 21 w 33"/>
                <a:gd name="T1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21" y="6"/>
                  </a:moveTo>
                  <a:cubicBezTo>
                    <a:pt x="15" y="12"/>
                    <a:pt x="12" y="15"/>
                    <a:pt x="9" y="18"/>
                  </a:cubicBezTo>
                  <a:cubicBezTo>
                    <a:pt x="9" y="21"/>
                    <a:pt x="3" y="18"/>
                    <a:pt x="3" y="21"/>
                  </a:cubicBezTo>
                  <a:cubicBezTo>
                    <a:pt x="0" y="24"/>
                    <a:pt x="3" y="33"/>
                    <a:pt x="6" y="30"/>
                  </a:cubicBezTo>
                  <a:cubicBezTo>
                    <a:pt x="9" y="27"/>
                    <a:pt x="12" y="30"/>
                    <a:pt x="12" y="30"/>
                  </a:cubicBezTo>
                  <a:cubicBezTo>
                    <a:pt x="15" y="30"/>
                    <a:pt x="24" y="21"/>
                    <a:pt x="27" y="18"/>
                  </a:cubicBezTo>
                  <a:cubicBezTo>
                    <a:pt x="30" y="15"/>
                    <a:pt x="24" y="15"/>
                    <a:pt x="24" y="12"/>
                  </a:cubicBezTo>
                  <a:cubicBezTo>
                    <a:pt x="24" y="9"/>
                    <a:pt x="30" y="9"/>
                    <a:pt x="30" y="9"/>
                  </a:cubicBezTo>
                  <a:cubicBezTo>
                    <a:pt x="33" y="6"/>
                    <a:pt x="30" y="6"/>
                    <a:pt x="30" y="3"/>
                  </a:cubicBezTo>
                  <a:cubicBezTo>
                    <a:pt x="30" y="0"/>
                    <a:pt x="24" y="0"/>
                    <a:pt x="21" y="6"/>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7" name="Freeform 1022"/>
            <p:cNvSpPr>
              <a:spLocks/>
            </p:cNvSpPr>
            <p:nvPr userDrawn="1"/>
          </p:nvSpPr>
          <p:spPr bwMode="auto">
            <a:xfrm>
              <a:off x="716" y="-1502"/>
              <a:ext cx="28" cy="28"/>
            </a:xfrm>
            <a:custGeom>
              <a:avLst/>
              <a:gdLst>
                <a:gd name="T0" fmla="*/ 6 w 18"/>
                <a:gd name="T1" fmla="*/ 0 h 18"/>
                <a:gd name="T2" fmla="*/ 6 w 18"/>
                <a:gd name="T3" fmla="*/ 15 h 18"/>
                <a:gd name="T4" fmla="*/ 15 w 18"/>
                <a:gd name="T5" fmla="*/ 9 h 18"/>
                <a:gd name="T6" fmla="*/ 6 w 18"/>
                <a:gd name="T7" fmla="*/ 0 h 18"/>
              </a:gdLst>
              <a:ahLst/>
              <a:cxnLst>
                <a:cxn ang="0">
                  <a:pos x="T0" y="T1"/>
                </a:cxn>
                <a:cxn ang="0">
                  <a:pos x="T2" y="T3"/>
                </a:cxn>
                <a:cxn ang="0">
                  <a:pos x="T4" y="T5"/>
                </a:cxn>
                <a:cxn ang="0">
                  <a:pos x="T6" y="T7"/>
                </a:cxn>
              </a:cxnLst>
              <a:rect l="0" t="0" r="r" b="b"/>
              <a:pathLst>
                <a:path w="18" h="18">
                  <a:moveTo>
                    <a:pt x="6" y="0"/>
                  </a:moveTo>
                  <a:cubicBezTo>
                    <a:pt x="0" y="0"/>
                    <a:pt x="3" y="18"/>
                    <a:pt x="6" y="15"/>
                  </a:cubicBezTo>
                  <a:cubicBezTo>
                    <a:pt x="9" y="12"/>
                    <a:pt x="15" y="12"/>
                    <a:pt x="15" y="9"/>
                  </a:cubicBezTo>
                  <a:cubicBezTo>
                    <a:pt x="18" y="6"/>
                    <a:pt x="12" y="0"/>
                    <a:pt x="6"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8" name="Freeform 1023"/>
            <p:cNvSpPr>
              <a:spLocks/>
            </p:cNvSpPr>
            <p:nvPr userDrawn="1"/>
          </p:nvSpPr>
          <p:spPr bwMode="auto">
            <a:xfrm>
              <a:off x="707" y="-1516"/>
              <a:ext cx="14" cy="9"/>
            </a:xfrm>
            <a:custGeom>
              <a:avLst/>
              <a:gdLst>
                <a:gd name="T0" fmla="*/ 3 w 9"/>
                <a:gd name="T1" fmla="*/ 0 h 6"/>
                <a:gd name="T2" fmla="*/ 6 w 9"/>
                <a:gd name="T3" fmla="*/ 6 h 6"/>
                <a:gd name="T4" fmla="*/ 3 w 9"/>
                <a:gd name="T5" fmla="*/ 0 h 6"/>
              </a:gdLst>
              <a:ahLst/>
              <a:cxnLst>
                <a:cxn ang="0">
                  <a:pos x="T0" y="T1"/>
                </a:cxn>
                <a:cxn ang="0">
                  <a:pos x="T2" y="T3"/>
                </a:cxn>
                <a:cxn ang="0">
                  <a:pos x="T4" y="T5"/>
                </a:cxn>
              </a:cxnLst>
              <a:rect l="0" t="0" r="r" b="b"/>
              <a:pathLst>
                <a:path w="9" h="6">
                  <a:moveTo>
                    <a:pt x="3" y="0"/>
                  </a:moveTo>
                  <a:cubicBezTo>
                    <a:pt x="0" y="0"/>
                    <a:pt x="3" y="6"/>
                    <a:pt x="6" y="6"/>
                  </a:cubicBezTo>
                  <a:cubicBezTo>
                    <a:pt x="9" y="3"/>
                    <a:pt x="9" y="0"/>
                    <a:pt x="3" y="0"/>
                  </a:cubicBezTo>
                  <a:close/>
                </a:path>
              </a:pathLst>
            </a:custGeom>
            <a:grp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29" name="Freeform 1024"/>
            <p:cNvSpPr>
              <a:spLocks/>
            </p:cNvSpPr>
            <p:nvPr userDrawn="1"/>
          </p:nvSpPr>
          <p:spPr bwMode="auto">
            <a:xfrm>
              <a:off x="1277" y="-2101"/>
              <a:ext cx="1020" cy="510"/>
            </a:xfrm>
            <a:custGeom>
              <a:avLst/>
              <a:gdLst>
                <a:gd name="T0" fmla="*/ 644 w 654"/>
                <a:gd name="T1" fmla="*/ 49 h 327"/>
                <a:gd name="T2" fmla="*/ 642 w 654"/>
                <a:gd name="T3" fmla="*/ 36 h 327"/>
                <a:gd name="T4" fmla="*/ 638 w 654"/>
                <a:gd name="T5" fmla="*/ 33 h 327"/>
                <a:gd name="T6" fmla="*/ 626 w 654"/>
                <a:gd name="T7" fmla="*/ 29 h 327"/>
                <a:gd name="T8" fmla="*/ 623 w 654"/>
                <a:gd name="T9" fmla="*/ 32 h 327"/>
                <a:gd name="T10" fmla="*/ 615 w 654"/>
                <a:gd name="T11" fmla="*/ 51 h 327"/>
                <a:gd name="T12" fmla="*/ 596 w 654"/>
                <a:gd name="T13" fmla="*/ 66 h 327"/>
                <a:gd name="T14" fmla="*/ 547 w 654"/>
                <a:gd name="T15" fmla="*/ 77 h 327"/>
                <a:gd name="T16" fmla="*/ 518 w 654"/>
                <a:gd name="T17" fmla="*/ 79 h 327"/>
                <a:gd name="T18" fmla="*/ 516 w 654"/>
                <a:gd name="T19" fmla="*/ 90 h 327"/>
                <a:gd name="T20" fmla="*/ 509 w 654"/>
                <a:gd name="T21" fmla="*/ 97 h 327"/>
                <a:gd name="T22" fmla="*/ 482 w 654"/>
                <a:gd name="T23" fmla="*/ 100 h 327"/>
                <a:gd name="T24" fmla="*/ 475 w 654"/>
                <a:gd name="T25" fmla="*/ 103 h 327"/>
                <a:gd name="T26" fmla="*/ 483 w 654"/>
                <a:gd name="T27" fmla="*/ 77 h 327"/>
                <a:gd name="T28" fmla="*/ 496 w 654"/>
                <a:gd name="T29" fmla="*/ 71 h 327"/>
                <a:gd name="T30" fmla="*/ 500 w 654"/>
                <a:gd name="T31" fmla="*/ 59 h 327"/>
                <a:gd name="T32" fmla="*/ 481 w 654"/>
                <a:gd name="T33" fmla="*/ 52 h 327"/>
                <a:gd name="T34" fmla="*/ 458 w 654"/>
                <a:gd name="T35" fmla="*/ 46 h 327"/>
                <a:gd name="T36" fmla="*/ 455 w 654"/>
                <a:gd name="T37" fmla="*/ 44 h 327"/>
                <a:gd name="T38" fmla="*/ 448 w 654"/>
                <a:gd name="T39" fmla="*/ 30 h 327"/>
                <a:gd name="T40" fmla="*/ 435 w 654"/>
                <a:gd name="T41" fmla="*/ 16 h 327"/>
                <a:gd name="T42" fmla="*/ 396 w 654"/>
                <a:gd name="T43" fmla="*/ 24 h 327"/>
                <a:gd name="T44" fmla="*/ 381 w 654"/>
                <a:gd name="T45" fmla="*/ 21 h 327"/>
                <a:gd name="T46" fmla="*/ 369 w 654"/>
                <a:gd name="T47" fmla="*/ 18 h 327"/>
                <a:gd name="T48" fmla="*/ 336 w 654"/>
                <a:gd name="T49" fmla="*/ 3 h 327"/>
                <a:gd name="T50" fmla="*/ 24 w 654"/>
                <a:gd name="T51" fmla="*/ 24 h 327"/>
                <a:gd name="T52" fmla="*/ 15 w 654"/>
                <a:gd name="T53" fmla="*/ 18 h 327"/>
                <a:gd name="T54" fmla="*/ 9 w 654"/>
                <a:gd name="T55" fmla="*/ 48 h 327"/>
                <a:gd name="T56" fmla="*/ 6 w 654"/>
                <a:gd name="T57" fmla="*/ 120 h 327"/>
                <a:gd name="T58" fmla="*/ 24 w 654"/>
                <a:gd name="T59" fmla="*/ 168 h 327"/>
                <a:gd name="T60" fmla="*/ 48 w 654"/>
                <a:gd name="T61" fmla="*/ 207 h 327"/>
                <a:gd name="T62" fmla="*/ 84 w 654"/>
                <a:gd name="T63" fmla="*/ 234 h 327"/>
                <a:gd name="T64" fmla="*/ 186 w 654"/>
                <a:gd name="T65" fmla="*/ 246 h 327"/>
                <a:gd name="T66" fmla="*/ 225 w 654"/>
                <a:gd name="T67" fmla="*/ 261 h 327"/>
                <a:gd name="T68" fmla="*/ 273 w 654"/>
                <a:gd name="T69" fmla="*/ 276 h 327"/>
                <a:gd name="T70" fmla="*/ 303 w 654"/>
                <a:gd name="T71" fmla="*/ 312 h 327"/>
                <a:gd name="T72" fmla="*/ 318 w 654"/>
                <a:gd name="T73" fmla="*/ 282 h 327"/>
                <a:gd name="T74" fmla="*/ 348 w 654"/>
                <a:gd name="T75" fmla="*/ 264 h 327"/>
                <a:gd name="T76" fmla="*/ 375 w 654"/>
                <a:gd name="T77" fmla="*/ 270 h 327"/>
                <a:gd name="T78" fmla="*/ 396 w 654"/>
                <a:gd name="T79" fmla="*/ 270 h 327"/>
                <a:gd name="T80" fmla="*/ 417 w 654"/>
                <a:gd name="T81" fmla="*/ 261 h 327"/>
                <a:gd name="T82" fmla="*/ 462 w 654"/>
                <a:gd name="T83" fmla="*/ 264 h 327"/>
                <a:gd name="T84" fmla="*/ 483 w 654"/>
                <a:gd name="T85" fmla="*/ 312 h 327"/>
                <a:gd name="T86" fmla="*/ 498 w 654"/>
                <a:gd name="T87" fmla="*/ 288 h 327"/>
                <a:gd name="T88" fmla="*/ 510 w 654"/>
                <a:gd name="T89" fmla="*/ 225 h 327"/>
                <a:gd name="T90" fmla="*/ 540 w 654"/>
                <a:gd name="T91" fmla="*/ 198 h 327"/>
                <a:gd name="T92" fmla="*/ 549 w 654"/>
                <a:gd name="T93" fmla="*/ 183 h 327"/>
                <a:gd name="T94" fmla="*/ 543 w 654"/>
                <a:gd name="T95" fmla="*/ 156 h 327"/>
                <a:gd name="T96" fmla="*/ 549 w 654"/>
                <a:gd name="T97" fmla="*/ 165 h 327"/>
                <a:gd name="T98" fmla="*/ 564 w 654"/>
                <a:gd name="T99" fmla="*/ 144 h 327"/>
                <a:gd name="T100" fmla="*/ 576 w 654"/>
                <a:gd name="T101" fmla="*/ 120 h 327"/>
                <a:gd name="T102" fmla="*/ 606 w 654"/>
                <a:gd name="T103" fmla="*/ 102 h 327"/>
                <a:gd name="T104" fmla="*/ 630 w 654"/>
                <a:gd name="T105" fmla="*/ 7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4" h="327">
                  <a:moveTo>
                    <a:pt x="654" y="66"/>
                  </a:moveTo>
                  <a:cubicBezTo>
                    <a:pt x="651" y="62"/>
                    <a:pt x="651" y="62"/>
                    <a:pt x="651" y="62"/>
                  </a:cubicBezTo>
                  <a:cubicBezTo>
                    <a:pt x="647" y="57"/>
                    <a:pt x="647" y="57"/>
                    <a:pt x="647" y="57"/>
                  </a:cubicBezTo>
                  <a:cubicBezTo>
                    <a:pt x="644" y="49"/>
                    <a:pt x="644" y="49"/>
                    <a:pt x="644" y="49"/>
                  </a:cubicBezTo>
                  <a:cubicBezTo>
                    <a:pt x="642" y="40"/>
                    <a:pt x="642" y="40"/>
                    <a:pt x="642" y="40"/>
                  </a:cubicBezTo>
                  <a:cubicBezTo>
                    <a:pt x="642" y="37"/>
                    <a:pt x="642" y="37"/>
                    <a:pt x="642" y="37"/>
                  </a:cubicBezTo>
                  <a:cubicBezTo>
                    <a:pt x="642" y="36"/>
                    <a:pt x="642" y="36"/>
                    <a:pt x="642" y="36"/>
                  </a:cubicBezTo>
                  <a:cubicBezTo>
                    <a:pt x="642" y="36"/>
                    <a:pt x="642" y="36"/>
                    <a:pt x="642" y="36"/>
                  </a:cubicBezTo>
                  <a:cubicBezTo>
                    <a:pt x="642" y="35"/>
                    <a:pt x="642" y="35"/>
                    <a:pt x="642" y="35"/>
                  </a:cubicBezTo>
                  <a:cubicBezTo>
                    <a:pt x="641" y="34"/>
                    <a:pt x="641" y="34"/>
                    <a:pt x="641" y="34"/>
                  </a:cubicBezTo>
                  <a:cubicBezTo>
                    <a:pt x="640" y="34"/>
                    <a:pt x="639" y="34"/>
                    <a:pt x="638" y="33"/>
                  </a:cubicBezTo>
                  <a:cubicBezTo>
                    <a:pt x="638" y="33"/>
                    <a:pt x="638" y="33"/>
                    <a:pt x="638" y="33"/>
                  </a:cubicBezTo>
                  <a:cubicBezTo>
                    <a:pt x="632" y="32"/>
                    <a:pt x="632" y="32"/>
                    <a:pt x="632" y="32"/>
                  </a:cubicBezTo>
                  <a:cubicBezTo>
                    <a:pt x="627" y="30"/>
                    <a:pt x="627" y="30"/>
                    <a:pt x="627" y="30"/>
                  </a:cubicBezTo>
                  <a:cubicBezTo>
                    <a:pt x="626" y="30"/>
                    <a:pt x="626" y="30"/>
                    <a:pt x="626" y="30"/>
                  </a:cubicBezTo>
                  <a:cubicBezTo>
                    <a:pt x="626" y="29"/>
                    <a:pt x="626" y="29"/>
                    <a:pt x="626" y="29"/>
                  </a:cubicBezTo>
                  <a:cubicBezTo>
                    <a:pt x="626" y="30"/>
                    <a:pt x="626" y="30"/>
                    <a:pt x="626" y="30"/>
                  </a:cubicBezTo>
                  <a:cubicBezTo>
                    <a:pt x="625" y="30"/>
                    <a:pt x="624" y="31"/>
                    <a:pt x="623" y="32"/>
                  </a:cubicBezTo>
                  <a:cubicBezTo>
                    <a:pt x="623" y="32"/>
                    <a:pt x="623" y="32"/>
                    <a:pt x="623" y="32"/>
                  </a:cubicBezTo>
                  <a:cubicBezTo>
                    <a:pt x="623" y="32"/>
                    <a:pt x="623" y="32"/>
                    <a:pt x="623" y="32"/>
                  </a:cubicBezTo>
                  <a:cubicBezTo>
                    <a:pt x="622" y="33"/>
                    <a:pt x="620" y="35"/>
                    <a:pt x="619" y="37"/>
                  </a:cubicBezTo>
                  <a:cubicBezTo>
                    <a:pt x="619" y="38"/>
                    <a:pt x="619" y="38"/>
                    <a:pt x="619" y="38"/>
                  </a:cubicBezTo>
                  <a:cubicBezTo>
                    <a:pt x="619" y="38"/>
                    <a:pt x="619" y="38"/>
                    <a:pt x="619" y="38"/>
                  </a:cubicBezTo>
                  <a:cubicBezTo>
                    <a:pt x="617" y="42"/>
                    <a:pt x="615" y="48"/>
                    <a:pt x="615" y="51"/>
                  </a:cubicBezTo>
                  <a:cubicBezTo>
                    <a:pt x="614" y="53"/>
                    <a:pt x="611" y="55"/>
                    <a:pt x="609" y="58"/>
                  </a:cubicBezTo>
                  <a:cubicBezTo>
                    <a:pt x="606" y="61"/>
                    <a:pt x="606" y="61"/>
                    <a:pt x="606" y="61"/>
                  </a:cubicBezTo>
                  <a:cubicBezTo>
                    <a:pt x="603" y="63"/>
                    <a:pt x="601" y="65"/>
                    <a:pt x="600" y="66"/>
                  </a:cubicBezTo>
                  <a:cubicBezTo>
                    <a:pt x="596" y="66"/>
                    <a:pt x="596" y="66"/>
                    <a:pt x="596" y="66"/>
                  </a:cubicBezTo>
                  <a:cubicBezTo>
                    <a:pt x="574" y="66"/>
                    <a:pt x="574" y="66"/>
                    <a:pt x="574" y="66"/>
                  </a:cubicBezTo>
                  <a:cubicBezTo>
                    <a:pt x="565" y="66"/>
                    <a:pt x="565" y="66"/>
                    <a:pt x="565" y="66"/>
                  </a:cubicBezTo>
                  <a:cubicBezTo>
                    <a:pt x="563" y="66"/>
                    <a:pt x="561" y="66"/>
                    <a:pt x="561" y="66"/>
                  </a:cubicBezTo>
                  <a:cubicBezTo>
                    <a:pt x="558" y="66"/>
                    <a:pt x="552" y="71"/>
                    <a:pt x="547" y="77"/>
                  </a:cubicBezTo>
                  <a:cubicBezTo>
                    <a:pt x="543" y="77"/>
                    <a:pt x="543" y="77"/>
                    <a:pt x="543" y="77"/>
                  </a:cubicBezTo>
                  <a:cubicBezTo>
                    <a:pt x="536" y="76"/>
                    <a:pt x="536" y="76"/>
                    <a:pt x="536" y="76"/>
                  </a:cubicBezTo>
                  <a:cubicBezTo>
                    <a:pt x="527" y="77"/>
                    <a:pt x="527" y="77"/>
                    <a:pt x="527" y="77"/>
                  </a:cubicBezTo>
                  <a:cubicBezTo>
                    <a:pt x="518" y="79"/>
                    <a:pt x="518" y="79"/>
                    <a:pt x="518" y="79"/>
                  </a:cubicBezTo>
                  <a:cubicBezTo>
                    <a:pt x="510" y="82"/>
                    <a:pt x="510" y="82"/>
                    <a:pt x="510" y="82"/>
                  </a:cubicBezTo>
                  <a:cubicBezTo>
                    <a:pt x="507" y="85"/>
                    <a:pt x="507" y="85"/>
                    <a:pt x="507" y="85"/>
                  </a:cubicBezTo>
                  <a:cubicBezTo>
                    <a:pt x="510" y="89"/>
                    <a:pt x="510" y="89"/>
                    <a:pt x="510" y="89"/>
                  </a:cubicBezTo>
                  <a:cubicBezTo>
                    <a:pt x="516" y="90"/>
                    <a:pt x="516" y="90"/>
                    <a:pt x="516" y="90"/>
                  </a:cubicBezTo>
                  <a:cubicBezTo>
                    <a:pt x="515" y="96"/>
                    <a:pt x="515" y="96"/>
                    <a:pt x="515" y="96"/>
                  </a:cubicBezTo>
                  <a:cubicBezTo>
                    <a:pt x="515" y="96"/>
                    <a:pt x="515" y="96"/>
                    <a:pt x="515" y="96"/>
                  </a:cubicBezTo>
                  <a:cubicBezTo>
                    <a:pt x="513" y="96"/>
                    <a:pt x="513" y="96"/>
                    <a:pt x="513" y="96"/>
                  </a:cubicBezTo>
                  <a:cubicBezTo>
                    <a:pt x="509" y="97"/>
                    <a:pt x="509" y="97"/>
                    <a:pt x="509" y="97"/>
                  </a:cubicBezTo>
                  <a:cubicBezTo>
                    <a:pt x="503" y="100"/>
                    <a:pt x="503" y="100"/>
                    <a:pt x="503" y="100"/>
                  </a:cubicBezTo>
                  <a:cubicBezTo>
                    <a:pt x="495" y="96"/>
                    <a:pt x="495" y="96"/>
                    <a:pt x="495" y="96"/>
                  </a:cubicBezTo>
                  <a:cubicBezTo>
                    <a:pt x="489" y="96"/>
                    <a:pt x="489" y="96"/>
                    <a:pt x="489" y="96"/>
                  </a:cubicBezTo>
                  <a:cubicBezTo>
                    <a:pt x="482" y="100"/>
                    <a:pt x="482" y="100"/>
                    <a:pt x="482" y="100"/>
                  </a:cubicBezTo>
                  <a:cubicBezTo>
                    <a:pt x="477" y="106"/>
                    <a:pt x="477" y="106"/>
                    <a:pt x="477" y="106"/>
                  </a:cubicBezTo>
                  <a:cubicBezTo>
                    <a:pt x="476" y="105"/>
                    <a:pt x="476" y="105"/>
                    <a:pt x="476" y="105"/>
                  </a:cubicBezTo>
                  <a:cubicBezTo>
                    <a:pt x="476" y="105"/>
                    <a:pt x="477" y="105"/>
                    <a:pt x="477" y="105"/>
                  </a:cubicBezTo>
                  <a:cubicBezTo>
                    <a:pt x="476" y="104"/>
                    <a:pt x="476" y="104"/>
                    <a:pt x="475" y="103"/>
                  </a:cubicBezTo>
                  <a:cubicBezTo>
                    <a:pt x="475" y="102"/>
                    <a:pt x="475" y="102"/>
                    <a:pt x="475" y="102"/>
                  </a:cubicBezTo>
                  <a:cubicBezTo>
                    <a:pt x="477" y="96"/>
                    <a:pt x="477" y="96"/>
                    <a:pt x="477" y="96"/>
                  </a:cubicBezTo>
                  <a:cubicBezTo>
                    <a:pt x="482" y="87"/>
                    <a:pt x="482" y="87"/>
                    <a:pt x="482" y="87"/>
                  </a:cubicBezTo>
                  <a:cubicBezTo>
                    <a:pt x="483" y="77"/>
                    <a:pt x="483" y="77"/>
                    <a:pt x="483" y="77"/>
                  </a:cubicBezTo>
                  <a:cubicBezTo>
                    <a:pt x="487" y="70"/>
                    <a:pt x="487" y="70"/>
                    <a:pt x="487" y="70"/>
                  </a:cubicBezTo>
                  <a:cubicBezTo>
                    <a:pt x="487" y="67"/>
                    <a:pt x="487" y="67"/>
                    <a:pt x="487" y="67"/>
                  </a:cubicBezTo>
                  <a:cubicBezTo>
                    <a:pt x="490" y="67"/>
                    <a:pt x="490" y="67"/>
                    <a:pt x="490" y="67"/>
                  </a:cubicBezTo>
                  <a:cubicBezTo>
                    <a:pt x="496" y="71"/>
                    <a:pt x="496" y="71"/>
                    <a:pt x="496" y="71"/>
                  </a:cubicBezTo>
                  <a:cubicBezTo>
                    <a:pt x="501" y="72"/>
                    <a:pt x="501" y="72"/>
                    <a:pt x="501" y="72"/>
                  </a:cubicBezTo>
                  <a:cubicBezTo>
                    <a:pt x="505" y="69"/>
                    <a:pt x="505" y="69"/>
                    <a:pt x="505" y="69"/>
                  </a:cubicBezTo>
                  <a:cubicBezTo>
                    <a:pt x="504" y="66"/>
                    <a:pt x="504" y="66"/>
                    <a:pt x="504" y="66"/>
                  </a:cubicBezTo>
                  <a:cubicBezTo>
                    <a:pt x="500" y="59"/>
                    <a:pt x="500" y="59"/>
                    <a:pt x="500" y="59"/>
                  </a:cubicBezTo>
                  <a:cubicBezTo>
                    <a:pt x="497" y="54"/>
                    <a:pt x="497" y="54"/>
                    <a:pt x="497" y="54"/>
                  </a:cubicBezTo>
                  <a:cubicBezTo>
                    <a:pt x="492" y="52"/>
                    <a:pt x="492" y="52"/>
                    <a:pt x="492" y="52"/>
                  </a:cubicBezTo>
                  <a:cubicBezTo>
                    <a:pt x="485" y="52"/>
                    <a:pt x="485" y="52"/>
                    <a:pt x="485" y="52"/>
                  </a:cubicBezTo>
                  <a:cubicBezTo>
                    <a:pt x="481" y="52"/>
                    <a:pt x="481" y="52"/>
                    <a:pt x="481" y="52"/>
                  </a:cubicBezTo>
                  <a:cubicBezTo>
                    <a:pt x="476" y="50"/>
                    <a:pt x="476" y="50"/>
                    <a:pt x="476" y="50"/>
                  </a:cubicBezTo>
                  <a:cubicBezTo>
                    <a:pt x="467" y="48"/>
                    <a:pt x="467" y="48"/>
                    <a:pt x="467" y="48"/>
                  </a:cubicBezTo>
                  <a:cubicBezTo>
                    <a:pt x="460" y="48"/>
                    <a:pt x="460" y="48"/>
                    <a:pt x="460" y="48"/>
                  </a:cubicBezTo>
                  <a:cubicBezTo>
                    <a:pt x="458" y="46"/>
                    <a:pt x="458" y="46"/>
                    <a:pt x="458" y="46"/>
                  </a:cubicBezTo>
                  <a:cubicBezTo>
                    <a:pt x="458" y="46"/>
                    <a:pt x="458" y="46"/>
                    <a:pt x="458" y="46"/>
                  </a:cubicBezTo>
                  <a:cubicBezTo>
                    <a:pt x="458" y="46"/>
                    <a:pt x="458" y="46"/>
                    <a:pt x="458" y="46"/>
                  </a:cubicBezTo>
                  <a:cubicBezTo>
                    <a:pt x="458" y="46"/>
                    <a:pt x="458" y="46"/>
                    <a:pt x="458" y="46"/>
                  </a:cubicBezTo>
                  <a:cubicBezTo>
                    <a:pt x="457" y="45"/>
                    <a:pt x="456" y="44"/>
                    <a:pt x="455" y="44"/>
                  </a:cubicBezTo>
                  <a:cubicBezTo>
                    <a:pt x="454" y="43"/>
                    <a:pt x="454" y="43"/>
                    <a:pt x="454" y="43"/>
                  </a:cubicBezTo>
                  <a:cubicBezTo>
                    <a:pt x="454" y="43"/>
                    <a:pt x="454" y="43"/>
                    <a:pt x="454" y="43"/>
                  </a:cubicBezTo>
                  <a:cubicBezTo>
                    <a:pt x="452" y="39"/>
                    <a:pt x="452" y="39"/>
                    <a:pt x="452" y="39"/>
                  </a:cubicBezTo>
                  <a:cubicBezTo>
                    <a:pt x="448" y="30"/>
                    <a:pt x="448" y="30"/>
                    <a:pt x="448" y="30"/>
                  </a:cubicBezTo>
                  <a:cubicBezTo>
                    <a:pt x="447" y="25"/>
                    <a:pt x="447" y="25"/>
                    <a:pt x="447" y="25"/>
                  </a:cubicBezTo>
                  <a:cubicBezTo>
                    <a:pt x="444" y="24"/>
                    <a:pt x="444" y="24"/>
                    <a:pt x="444" y="24"/>
                  </a:cubicBezTo>
                  <a:cubicBezTo>
                    <a:pt x="437" y="22"/>
                    <a:pt x="437" y="22"/>
                    <a:pt x="437" y="22"/>
                  </a:cubicBezTo>
                  <a:cubicBezTo>
                    <a:pt x="435" y="16"/>
                    <a:pt x="435" y="16"/>
                    <a:pt x="435" y="16"/>
                  </a:cubicBezTo>
                  <a:cubicBezTo>
                    <a:pt x="427" y="12"/>
                    <a:pt x="427" y="12"/>
                    <a:pt x="427" y="12"/>
                  </a:cubicBezTo>
                  <a:cubicBezTo>
                    <a:pt x="411" y="9"/>
                    <a:pt x="411" y="9"/>
                    <a:pt x="411" y="9"/>
                  </a:cubicBezTo>
                  <a:cubicBezTo>
                    <a:pt x="407" y="10"/>
                    <a:pt x="407" y="10"/>
                    <a:pt x="407" y="10"/>
                  </a:cubicBezTo>
                  <a:cubicBezTo>
                    <a:pt x="396" y="24"/>
                    <a:pt x="396" y="24"/>
                    <a:pt x="396" y="24"/>
                  </a:cubicBezTo>
                  <a:cubicBezTo>
                    <a:pt x="394" y="22"/>
                    <a:pt x="390" y="21"/>
                    <a:pt x="386" y="20"/>
                  </a:cubicBezTo>
                  <a:cubicBezTo>
                    <a:pt x="386" y="20"/>
                    <a:pt x="386" y="20"/>
                    <a:pt x="386" y="20"/>
                  </a:cubicBezTo>
                  <a:cubicBezTo>
                    <a:pt x="386" y="20"/>
                    <a:pt x="386" y="20"/>
                    <a:pt x="386" y="20"/>
                  </a:cubicBezTo>
                  <a:cubicBezTo>
                    <a:pt x="383" y="19"/>
                    <a:pt x="381" y="19"/>
                    <a:pt x="381" y="21"/>
                  </a:cubicBezTo>
                  <a:cubicBezTo>
                    <a:pt x="380" y="21"/>
                    <a:pt x="379" y="22"/>
                    <a:pt x="379" y="22"/>
                  </a:cubicBezTo>
                  <a:cubicBezTo>
                    <a:pt x="371" y="20"/>
                    <a:pt x="371" y="20"/>
                    <a:pt x="371" y="20"/>
                  </a:cubicBezTo>
                  <a:cubicBezTo>
                    <a:pt x="371" y="20"/>
                    <a:pt x="371" y="20"/>
                    <a:pt x="371" y="20"/>
                  </a:cubicBezTo>
                  <a:cubicBezTo>
                    <a:pt x="370" y="19"/>
                    <a:pt x="369" y="18"/>
                    <a:pt x="369" y="18"/>
                  </a:cubicBezTo>
                  <a:cubicBezTo>
                    <a:pt x="369" y="15"/>
                    <a:pt x="366" y="21"/>
                    <a:pt x="360" y="15"/>
                  </a:cubicBezTo>
                  <a:cubicBezTo>
                    <a:pt x="357" y="12"/>
                    <a:pt x="354" y="15"/>
                    <a:pt x="351" y="15"/>
                  </a:cubicBezTo>
                  <a:cubicBezTo>
                    <a:pt x="348" y="15"/>
                    <a:pt x="345" y="12"/>
                    <a:pt x="342" y="12"/>
                  </a:cubicBezTo>
                  <a:cubicBezTo>
                    <a:pt x="336" y="9"/>
                    <a:pt x="339" y="6"/>
                    <a:pt x="336" y="3"/>
                  </a:cubicBezTo>
                  <a:cubicBezTo>
                    <a:pt x="333" y="0"/>
                    <a:pt x="333" y="9"/>
                    <a:pt x="333" y="9"/>
                  </a:cubicBezTo>
                  <a:cubicBezTo>
                    <a:pt x="21" y="9"/>
                    <a:pt x="21" y="9"/>
                    <a:pt x="21" y="9"/>
                  </a:cubicBezTo>
                  <a:cubicBezTo>
                    <a:pt x="24" y="12"/>
                    <a:pt x="24" y="12"/>
                    <a:pt x="24" y="12"/>
                  </a:cubicBezTo>
                  <a:cubicBezTo>
                    <a:pt x="27" y="15"/>
                    <a:pt x="24" y="18"/>
                    <a:pt x="24" y="24"/>
                  </a:cubicBezTo>
                  <a:cubicBezTo>
                    <a:pt x="27" y="27"/>
                    <a:pt x="24" y="33"/>
                    <a:pt x="21" y="33"/>
                  </a:cubicBezTo>
                  <a:cubicBezTo>
                    <a:pt x="18" y="33"/>
                    <a:pt x="18" y="30"/>
                    <a:pt x="21" y="30"/>
                  </a:cubicBezTo>
                  <a:cubicBezTo>
                    <a:pt x="24" y="27"/>
                    <a:pt x="21" y="21"/>
                    <a:pt x="18" y="21"/>
                  </a:cubicBezTo>
                  <a:cubicBezTo>
                    <a:pt x="18" y="21"/>
                    <a:pt x="15" y="21"/>
                    <a:pt x="15" y="18"/>
                  </a:cubicBezTo>
                  <a:cubicBezTo>
                    <a:pt x="12" y="18"/>
                    <a:pt x="7" y="18"/>
                    <a:pt x="0" y="18"/>
                  </a:cubicBezTo>
                  <a:cubicBezTo>
                    <a:pt x="0" y="21"/>
                    <a:pt x="0" y="27"/>
                    <a:pt x="3" y="33"/>
                  </a:cubicBezTo>
                  <a:cubicBezTo>
                    <a:pt x="9" y="39"/>
                    <a:pt x="6" y="42"/>
                    <a:pt x="9" y="45"/>
                  </a:cubicBezTo>
                  <a:cubicBezTo>
                    <a:pt x="12" y="45"/>
                    <a:pt x="12" y="48"/>
                    <a:pt x="9" y="48"/>
                  </a:cubicBezTo>
                  <a:cubicBezTo>
                    <a:pt x="6" y="48"/>
                    <a:pt x="9" y="51"/>
                    <a:pt x="6" y="57"/>
                  </a:cubicBezTo>
                  <a:cubicBezTo>
                    <a:pt x="6" y="66"/>
                    <a:pt x="6" y="81"/>
                    <a:pt x="6" y="87"/>
                  </a:cubicBezTo>
                  <a:cubicBezTo>
                    <a:pt x="6" y="90"/>
                    <a:pt x="0" y="99"/>
                    <a:pt x="3" y="102"/>
                  </a:cubicBezTo>
                  <a:cubicBezTo>
                    <a:pt x="6" y="108"/>
                    <a:pt x="9" y="114"/>
                    <a:pt x="6" y="120"/>
                  </a:cubicBezTo>
                  <a:cubicBezTo>
                    <a:pt x="3" y="129"/>
                    <a:pt x="6" y="132"/>
                    <a:pt x="6" y="135"/>
                  </a:cubicBezTo>
                  <a:cubicBezTo>
                    <a:pt x="9" y="141"/>
                    <a:pt x="9" y="150"/>
                    <a:pt x="12" y="150"/>
                  </a:cubicBezTo>
                  <a:cubicBezTo>
                    <a:pt x="15" y="153"/>
                    <a:pt x="18" y="156"/>
                    <a:pt x="18" y="162"/>
                  </a:cubicBezTo>
                  <a:cubicBezTo>
                    <a:pt x="21" y="165"/>
                    <a:pt x="24" y="162"/>
                    <a:pt x="24" y="168"/>
                  </a:cubicBezTo>
                  <a:cubicBezTo>
                    <a:pt x="27" y="171"/>
                    <a:pt x="27" y="171"/>
                    <a:pt x="30" y="174"/>
                  </a:cubicBezTo>
                  <a:cubicBezTo>
                    <a:pt x="33" y="177"/>
                    <a:pt x="30" y="180"/>
                    <a:pt x="30" y="183"/>
                  </a:cubicBezTo>
                  <a:cubicBezTo>
                    <a:pt x="30" y="186"/>
                    <a:pt x="36" y="189"/>
                    <a:pt x="42" y="195"/>
                  </a:cubicBezTo>
                  <a:cubicBezTo>
                    <a:pt x="48" y="201"/>
                    <a:pt x="45" y="207"/>
                    <a:pt x="48" y="207"/>
                  </a:cubicBezTo>
                  <a:cubicBezTo>
                    <a:pt x="54" y="207"/>
                    <a:pt x="57" y="210"/>
                    <a:pt x="63" y="213"/>
                  </a:cubicBezTo>
                  <a:cubicBezTo>
                    <a:pt x="66" y="216"/>
                    <a:pt x="69" y="213"/>
                    <a:pt x="72" y="213"/>
                  </a:cubicBezTo>
                  <a:cubicBezTo>
                    <a:pt x="75" y="213"/>
                    <a:pt x="81" y="222"/>
                    <a:pt x="84" y="225"/>
                  </a:cubicBezTo>
                  <a:cubicBezTo>
                    <a:pt x="84" y="228"/>
                    <a:pt x="84" y="231"/>
                    <a:pt x="84" y="234"/>
                  </a:cubicBezTo>
                  <a:cubicBezTo>
                    <a:pt x="111" y="231"/>
                    <a:pt x="111" y="231"/>
                    <a:pt x="111" y="231"/>
                  </a:cubicBezTo>
                  <a:cubicBezTo>
                    <a:pt x="111" y="231"/>
                    <a:pt x="120" y="234"/>
                    <a:pt x="123" y="237"/>
                  </a:cubicBezTo>
                  <a:cubicBezTo>
                    <a:pt x="129" y="237"/>
                    <a:pt x="153" y="246"/>
                    <a:pt x="153" y="246"/>
                  </a:cubicBezTo>
                  <a:cubicBezTo>
                    <a:pt x="186" y="246"/>
                    <a:pt x="186" y="246"/>
                    <a:pt x="186" y="246"/>
                  </a:cubicBezTo>
                  <a:cubicBezTo>
                    <a:pt x="189" y="240"/>
                    <a:pt x="189" y="240"/>
                    <a:pt x="189" y="240"/>
                  </a:cubicBezTo>
                  <a:cubicBezTo>
                    <a:pt x="207" y="240"/>
                    <a:pt x="207" y="240"/>
                    <a:pt x="207" y="240"/>
                  </a:cubicBezTo>
                  <a:cubicBezTo>
                    <a:pt x="207" y="240"/>
                    <a:pt x="216" y="252"/>
                    <a:pt x="219" y="252"/>
                  </a:cubicBezTo>
                  <a:cubicBezTo>
                    <a:pt x="222" y="255"/>
                    <a:pt x="225" y="258"/>
                    <a:pt x="225" y="261"/>
                  </a:cubicBezTo>
                  <a:cubicBezTo>
                    <a:pt x="225" y="264"/>
                    <a:pt x="228" y="267"/>
                    <a:pt x="231" y="270"/>
                  </a:cubicBezTo>
                  <a:cubicBezTo>
                    <a:pt x="234" y="270"/>
                    <a:pt x="243" y="276"/>
                    <a:pt x="243" y="276"/>
                  </a:cubicBezTo>
                  <a:cubicBezTo>
                    <a:pt x="246" y="276"/>
                    <a:pt x="246" y="264"/>
                    <a:pt x="252" y="264"/>
                  </a:cubicBezTo>
                  <a:cubicBezTo>
                    <a:pt x="258" y="267"/>
                    <a:pt x="270" y="270"/>
                    <a:pt x="273" y="276"/>
                  </a:cubicBezTo>
                  <a:cubicBezTo>
                    <a:pt x="273" y="285"/>
                    <a:pt x="282" y="291"/>
                    <a:pt x="282" y="291"/>
                  </a:cubicBezTo>
                  <a:cubicBezTo>
                    <a:pt x="285" y="294"/>
                    <a:pt x="285" y="297"/>
                    <a:pt x="285" y="300"/>
                  </a:cubicBezTo>
                  <a:cubicBezTo>
                    <a:pt x="288" y="303"/>
                    <a:pt x="288" y="306"/>
                    <a:pt x="288" y="306"/>
                  </a:cubicBezTo>
                  <a:cubicBezTo>
                    <a:pt x="291" y="306"/>
                    <a:pt x="300" y="312"/>
                    <a:pt x="303" y="312"/>
                  </a:cubicBezTo>
                  <a:cubicBezTo>
                    <a:pt x="306" y="312"/>
                    <a:pt x="306" y="315"/>
                    <a:pt x="309" y="315"/>
                  </a:cubicBezTo>
                  <a:cubicBezTo>
                    <a:pt x="309" y="306"/>
                    <a:pt x="300" y="303"/>
                    <a:pt x="306" y="300"/>
                  </a:cubicBezTo>
                  <a:cubicBezTo>
                    <a:pt x="312" y="297"/>
                    <a:pt x="306" y="291"/>
                    <a:pt x="309" y="291"/>
                  </a:cubicBezTo>
                  <a:cubicBezTo>
                    <a:pt x="312" y="288"/>
                    <a:pt x="318" y="285"/>
                    <a:pt x="318" y="282"/>
                  </a:cubicBezTo>
                  <a:cubicBezTo>
                    <a:pt x="318" y="279"/>
                    <a:pt x="321" y="279"/>
                    <a:pt x="324" y="279"/>
                  </a:cubicBezTo>
                  <a:cubicBezTo>
                    <a:pt x="327" y="282"/>
                    <a:pt x="336" y="273"/>
                    <a:pt x="336" y="270"/>
                  </a:cubicBezTo>
                  <a:cubicBezTo>
                    <a:pt x="333" y="267"/>
                    <a:pt x="336" y="267"/>
                    <a:pt x="339" y="270"/>
                  </a:cubicBezTo>
                  <a:cubicBezTo>
                    <a:pt x="345" y="270"/>
                    <a:pt x="345" y="264"/>
                    <a:pt x="348" y="264"/>
                  </a:cubicBezTo>
                  <a:cubicBezTo>
                    <a:pt x="351" y="264"/>
                    <a:pt x="354" y="267"/>
                    <a:pt x="354" y="264"/>
                  </a:cubicBezTo>
                  <a:cubicBezTo>
                    <a:pt x="354" y="261"/>
                    <a:pt x="357" y="264"/>
                    <a:pt x="357" y="267"/>
                  </a:cubicBezTo>
                  <a:cubicBezTo>
                    <a:pt x="360" y="270"/>
                    <a:pt x="366" y="270"/>
                    <a:pt x="369" y="267"/>
                  </a:cubicBezTo>
                  <a:cubicBezTo>
                    <a:pt x="369" y="264"/>
                    <a:pt x="372" y="267"/>
                    <a:pt x="375" y="270"/>
                  </a:cubicBezTo>
                  <a:cubicBezTo>
                    <a:pt x="378" y="273"/>
                    <a:pt x="381" y="273"/>
                    <a:pt x="384" y="273"/>
                  </a:cubicBezTo>
                  <a:cubicBezTo>
                    <a:pt x="390" y="273"/>
                    <a:pt x="390" y="270"/>
                    <a:pt x="390" y="267"/>
                  </a:cubicBezTo>
                  <a:cubicBezTo>
                    <a:pt x="390" y="264"/>
                    <a:pt x="396" y="276"/>
                    <a:pt x="399" y="276"/>
                  </a:cubicBezTo>
                  <a:cubicBezTo>
                    <a:pt x="405" y="276"/>
                    <a:pt x="402" y="273"/>
                    <a:pt x="396" y="270"/>
                  </a:cubicBezTo>
                  <a:cubicBezTo>
                    <a:pt x="393" y="267"/>
                    <a:pt x="399" y="267"/>
                    <a:pt x="396" y="264"/>
                  </a:cubicBezTo>
                  <a:cubicBezTo>
                    <a:pt x="393" y="261"/>
                    <a:pt x="399" y="258"/>
                    <a:pt x="405" y="258"/>
                  </a:cubicBezTo>
                  <a:cubicBezTo>
                    <a:pt x="411" y="258"/>
                    <a:pt x="411" y="261"/>
                    <a:pt x="414" y="258"/>
                  </a:cubicBezTo>
                  <a:cubicBezTo>
                    <a:pt x="414" y="252"/>
                    <a:pt x="417" y="258"/>
                    <a:pt x="417" y="261"/>
                  </a:cubicBezTo>
                  <a:cubicBezTo>
                    <a:pt x="417" y="264"/>
                    <a:pt x="426" y="258"/>
                    <a:pt x="432" y="258"/>
                  </a:cubicBezTo>
                  <a:cubicBezTo>
                    <a:pt x="438" y="258"/>
                    <a:pt x="441" y="261"/>
                    <a:pt x="444" y="264"/>
                  </a:cubicBezTo>
                  <a:cubicBezTo>
                    <a:pt x="444" y="267"/>
                    <a:pt x="447" y="270"/>
                    <a:pt x="450" y="267"/>
                  </a:cubicBezTo>
                  <a:cubicBezTo>
                    <a:pt x="453" y="264"/>
                    <a:pt x="456" y="261"/>
                    <a:pt x="462" y="264"/>
                  </a:cubicBezTo>
                  <a:cubicBezTo>
                    <a:pt x="465" y="267"/>
                    <a:pt x="468" y="270"/>
                    <a:pt x="471" y="276"/>
                  </a:cubicBezTo>
                  <a:cubicBezTo>
                    <a:pt x="477" y="279"/>
                    <a:pt x="471" y="285"/>
                    <a:pt x="471" y="288"/>
                  </a:cubicBezTo>
                  <a:cubicBezTo>
                    <a:pt x="474" y="291"/>
                    <a:pt x="471" y="297"/>
                    <a:pt x="477" y="300"/>
                  </a:cubicBezTo>
                  <a:cubicBezTo>
                    <a:pt x="483" y="303"/>
                    <a:pt x="477" y="309"/>
                    <a:pt x="483" y="312"/>
                  </a:cubicBezTo>
                  <a:cubicBezTo>
                    <a:pt x="486" y="312"/>
                    <a:pt x="489" y="318"/>
                    <a:pt x="489" y="321"/>
                  </a:cubicBezTo>
                  <a:cubicBezTo>
                    <a:pt x="489" y="324"/>
                    <a:pt x="498" y="327"/>
                    <a:pt x="498" y="324"/>
                  </a:cubicBezTo>
                  <a:cubicBezTo>
                    <a:pt x="498" y="318"/>
                    <a:pt x="501" y="312"/>
                    <a:pt x="504" y="309"/>
                  </a:cubicBezTo>
                  <a:cubicBezTo>
                    <a:pt x="504" y="306"/>
                    <a:pt x="501" y="291"/>
                    <a:pt x="498" y="288"/>
                  </a:cubicBezTo>
                  <a:cubicBezTo>
                    <a:pt x="492" y="282"/>
                    <a:pt x="498" y="282"/>
                    <a:pt x="492" y="276"/>
                  </a:cubicBezTo>
                  <a:cubicBezTo>
                    <a:pt x="489" y="270"/>
                    <a:pt x="486" y="261"/>
                    <a:pt x="486" y="255"/>
                  </a:cubicBezTo>
                  <a:cubicBezTo>
                    <a:pt x="486" y="246"/>
                    <a:pt x="495" y="234"/>
                    <a:pt x="501" y="231"/>
                  </a:cubicBezTo>
                  <a:cubicBezTo>
                    <a:pt x="504" y="228"/>
                    <a:pt x="510" y="228"/>
                    <a:pt x="510" y="225"/>
                  </a:cubicBezTo>
                  <a:cubicBezTo>
                    <a:pt x="510" y="222"/>
                    <a:pt x="516" y="216"/>
                    <a:pt x="519" y="216"/>
                  </a:cubicBezTo>
                  <a:cubicBezTo>
                    <a:pt x="522" y="216"/>
                    <a:pt x="525" y="216"/>
                    <a:pt x="525" y="213"/>
                  </a:cubicBezTo>
                  <a:cubicBezTo>
                    <a:pt x="528" y="210"/>
                    <a:pt x="531" y="207"/>
                    <a:pt x="537" y="204"/>
                  </a:cubicBezTo>
                  <a:cubicBezTo>
                    <a:pt x="546" y="204"/>
                    <a:pt x="540" y="201"/>
                    <a:pt x="540" y="198"/>
                  </a:cubicBezTo>
                  <a:cubicBezTo>
                    <a:pt x="537" y="195"/>
                    <a:pt x="540" y="192"/>
                    <a:pt x="543" y="192"/>
                  </a:cubicBezTo>
                  <a:cubicBezTo>
                    <a:pt x="543" y="195"/>
                    <a:pt x="546" y="195"/>
                    <a:pt x="549" y="195"/>
                  </a:cubicBezTo>
                  <a:cubicBezTo>
                    <a:pt x="552" y="192"/>
                    <a:pt x="558" y="186"/>
                    <a:pt x="552" y="186"/>
                  </a:cubicBezTo>
                  <a:cubicBezTo>
                    <a:pt x="546" y="186"/>
                    <a:pt x="546" y="186"/>
                    <a:pt x="549" y="183"/>
                  </a:cubicBezTo>
                  <a:cubicBezTo>
                    <a:pt x="552" y="183"/>
                    <a:pt x="549" y="177"/>
                    <a:pt x="546" y="177"/>
                  </a:cubicBezTo>
                  <a:cubicBezTo>
                    <a:pt x="540" y="174"/>
                    <a:pt x="543" y="174"/>
                    <a:pt x="546" y="171"/>
                  </a:cubicBezTo>
                  <a:cubicBezTo>
                    <a:pt x="549" y="168"/>
                    <a:pt x="540" y="162"/>
                    <a:pt x="537" y="162"/>
                  </a:cubicBezTo>
                  <a:cubicBezTo>
                    <a:pt x="534" y="159"/>
                    <a:pt x="540" y="156"/>
                    <a:pt x="543" y="156"/>
                  </a:cubicBezTo>
                  <a:cubicBezTo>
                    <a:pt x="546" y="156"/>
                    <a:pt x="543" y="144"/>
                    <a:pt x="543" y="141"/>
                  </a:cubicBezTo>
                  <a:cubicBezTo>
                    <a:pt x="546" y="138"/>
                    <a:pt x="549" y="138"/>
                    <a:pt x="549" y="141"/>
                  </a:cubicBezTo>
                  <a:cubicBezTo>
                    <a:pt x="546" y="144"/>
                    <a:pt x="543" y="150"/>
                    <a:pt x="546" y="153"/>
                  </a:cubicBezTo>
                  <a:cubicBezTo>
                    <a:pt x="549" y="156"/>
                    <a:pt x="552" y="162"/>
                    <a:pt x="549" y="165"/>
                  </a:cubicBezTo>
                  <a:cubicBezTo>
                    <a:pt x="549" y="171"/>
                    <a:pt x="552" y="171"/>
                    <a:pt x="555" y="162"/>
                  </a:cubicBezTo>
                  <a:cubicBezTo>
                    <a:pt x="558" y="156"/>
                    <a:pt x="558" y="150"/>
                    <a:pt x="555" y="147"/>
                  </a:cubicBezTo>
                  <a:cubicBezTo>
                    <a:pt x="555" y="147"/>
                    <a:pt x="555" y="141"/>
                    <a:pt x="558" y="144"/>
                  </a:cubicBezTo>
                  <a:cubicBezTo>
                    <a:pt x="561" y="147"/>
                    <a:pt x="561" y="147"/>
                    <a:pt x="564" y="144"/>
                  </a:cubicBezTo>
                  <a:cubicBezTo>
                    <a:pt x="570" y="138"/>
                    <a:pt x="573" y="132"/>
                    <a:pt x="570" y="129"/>
                  </a:cubicBezTo>
                  <a:cubicBezTo>
                    <a:pt x="567" y="126"/>
                    <a:pt x="573" y="126"/>
                    <a:pt x="576" y="126"/>
                  </a:cubicBezTo>
                  <a:cubicBezTo>
                    <a:pt x="582" y="126"/>
                    <a:pt x="594" y="123"/>
                    <a:pt x="594" y="120"/>
                  </a:cubicBezTo>
                  <a:cubicBezTo>
                    <a:pt x="597" y="117"/>
                    <a:pt x="576" y="123"/>
                    <a:pt x="576" y="120"/>
                  </a:cubicBezTo>
                  <a:cubicBezTo>
                    <a:pt x="576" y="117"/>
                    <a:pt x="588" y="114"/>
                    <a:pt x="594" y="114"/>
                  </a:cubicBezTo>
                  <a:cubicBezTo>
                    <a:pt x="600" y="114"/>
                    <a:pt x="597" y="108"/>
                    <a:pt x="600" y="111"/>
                  </a:cubicBezTo>
                  <a:cubicBezTo>
                    <a:pt x="603" y="114"/>
                    <a:pt x="606" y="114"/>
                    <a:pt x="609" y="111"/>
                  </a:cubicBezTo>
                  <a:cubicBezTo>
                    <a:pt x="612" y="108"/>
                    <a:pt x="609" y="102"/>
                    <a:pt x="606" y="102"/>
                  </a:cubicBezTo>
                  <a:cubicBezTo>
                    <a:pt x="603" y="102"/>
                    <a:pt x="609" y="99"/>
                    <a:pt x="609" y="96"/>
                  </a:cubicBezTo>
                  <a:cubicBezTo>
                    <a:pt x="606" y="93"/>
                    <a:pt x="612" y="84"/>
                    <a:pt x="615" y="84"/>
                  </a:cubicBezTo>
                  <a:cubicBezTo>
                    <a:pt x="621" y="84"/>
                    <a:pt x="618" y="81"/>
                    <a:pt x="621" y="81"/>
                  </a:cubicBezTo>
                  <a:cubicBezTo>
                    <a:pt x="627" y="81"/>
                    <a:pt x="627" y="75"/>
                    <a:pt x="630" y="72"/>
                  </a:cubicBezTo>
                  <a:cubicBezTo>
                    <a:pt x="633" y="69"/>
                    <a:pt x="639" y="78"/>
                    <a:pt x="645" y="72"/>
                  </a:cubicBezTo>
                  <a:cubicBezTo>
                    <a:pt x="645" y="69"/>
                    <a:pt x="648" y="69"/>
                    <a:pt x="654" y="66"/>
                  </a:cubicBezTo>
                  <a:close/>
                </a:path>
              </a:pathLst>
            </a:custGeom>
            <a:solidFill>
              <a:srgbClr val="646464"/>
            </a:solidFill>
            <a:ln w="793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4430" name="Group 4429"/>
          <p:cNvGrpSpPr/>
          <p:nvPr/>
        </p:nvGrpSpPr>
        <p:grpSpPr>
          <a:xfrm>
            <a:off x="1576825" y="3051787"/>
            <a:ext cx="7982478" cy="2761143"/>
            <a:chOff x="616604" y="3305019"/>
            <a:chExt cx="8649948" cy="2992022"/>
          </a:xfrm>
        </p:grpSpPr>
        <p:sp>
          <p:nvSpPr>
            <p:cNvPr id="4431" name="Rectangle 54"/>
            <p:cNvSpPr>
              <a:spLocks noChangeArrowheads="1"/>
            </p:cNvSpPr>
            <p:nvPr/>
          </p:nvSpPr>
          <p:spPr bwMode="auto">
            <a:xfrm>
              <a:off x="3706340" y="3623027"/>
              <a:ext cx="1033463" cy="307777"/>
            </a:xfrm>
            <a:prstGeom prst="rect">
              <a:avLst/>
            </a:prstGeom>
            <a:noFill/>
            <a:ln w="9525">
              <a:noFill/>
              <a:miter lim="800000"/>
              <a:headEnd/>
              <a:tailEnd/>
            </a:ln>
          </p:spPr>
          <p:txBody>
            <a:bodyPr wrap="square">
              <a:prstTxWarp prst="textNoShape">
                <a:avLst/>
              </a:prstTxWarp>
              <a:spAutoFit/>
            </a:bodyPr>
            <a:lstStyle/>
            <a:p>
              <a:pPr algn="r"/>
              <a:r>
                <a:rPr lang="en-GB" sz="1400" b="1" dirty="0">
                  <a:solidFill>
                    <a:srgbClr val="000000"/>
                  </a:solidFill>
                </a:rPr>
                <a:t>Europe</a:t>
              </a:r>
            </a:p>
          </p:txBody>
        </p:sp>
        <p:sp>
          <p:nvSpPr>
            <p:cNvPr id="4432" name="Rectangle 55"/>
            <p:cNvSpPr>
              <a:spLocks noChangeArrowheads="1"/>
            </p:cNvSpPr>
            <p:nvPr/>
          </p:nvSpPr>
          <p:spPr bwMode="auto">
            <a:xfrm>
              <a:off x="2081915" y="5406121"/>
              <a:ext cx="893256" cy="457390"/>
            </a:xfrm>
            <a:prstGeom prst="rect">
              <a:avLst/>
            </a:prstGeom>
            <a:noFill/>
            <a:ln w="9525">
              <a:noFill/>
              <a:miter lim="800000"/>
              <a:headEnd/>
              <a:tailEnd/>
            </a:ln>
          </p:spPr>
          <p:txBody>
            <a:bodyPr wrap="none">
              <a:prstTxWarp prst="textNoShape">
                <a:avLst/>
              </a:prstTxWarp>
              <a:spAutoFit/>
            </a:bodyPr>
            <a:lstStyle/>
            <a:p>
              <a:pPr algn="ctr">
                <a:lnSpc>
                  <a:spcPts val="1400"/>
                </a:lnSpc>
              </a:pPr>
              <a:r>
                <a:rPr lang="en-GB" sz="1400" b="1">
                  <a:solidFill>
                    <a:srgbClr val="000000"/>
                  </a:solidFill>
                </a:rPr>
                <a:t>South</a:t>
              </a:r>
              <a:br>
                <a:rPr lang="en-GB" sz="1400" b="1">
                  <a:solidFill>
                    <a:srgbClr val="000000"/>
                  </a:solidFill>
                </a:rPr>
              </a:br>
              <a:r>
                <a:rPr lang="en-GB" sz="1400" b="1">
                  <a:solidFill>
                    <a:srgbClr val="000000"/>
                  </a:solidFill>
                </a:rPr>
                <a:t>America</a:t>
              </a:r>
            </a:p>
          </p:txBody>
        </p:sp>
        <p:sp>
          <p:nvSpPr>
            <p:cNvPr id="4433" name="Rectangle 58"/>
            <p:cNvSpPr>
              <a:spLocks noChangeArrowheads="1"/>
            </p:cNvSpPr>
            <p:nvPr/>
          </p:nvSpPr>
          <p:spPr bwMode="auto">
            <a:xfrm>
              <a:off x="7324624" y="5989264"/>
              <a:ext cx="1438275" cy="307777"/>
            </a:xfrm>
            <a:prstGeom prst="rect">
              <a:avLst/>
            </a:prstGeom>
            <a:noFill/>
            <a:ln w="9525">
              <a:noFill/>
              <a:miter lim="800000"/>
              <a:headEnd/>
              <a:tailEnd/>
            </a:ln>
          </p:spPr>
          <p:txBody>
            <a:bodyPr wrap="square">
              <a:prstTxWarp prst="textNoShape">
                <a:avLst/>
              </a:prstTxWarp>
              <a:spAutoFit/>
            </a:bodyPr>
            <a:lstStyle/>
            <a:p>
              <a:pPr algn="r"/>
              <a:r>
                <a:rPr lang="en-GB" sz="1400" b="1" dirty="0">
                  <a:solidFill>
                    <a:srgbClr val="000000"/>
                  </a:solidFill>
                </a:rPr>
                <a:t>Australasia</a:t>
              </a:r>
            </a:p>
          </p:txBody>
        </p:sp>
        <p:sp>
          <p:nvSpPr>
            <p:cNvPr id="4434" name="Rectangle 3"/>
            <p:cNvSpPr>
              <a:spLocks noChangeArrowheads="1"/>
            </p:cNvSpPr>
            <p:nvPr/>
          </p:nvSpPr>
          <p:spPr bwMode="auto">
            <a:xfrm>
              <a:off x="6223563" y="4950686"/>
              <a:ext cx="930275" cy="307777"/>
            </a:xfrm>
            <a:prstGeom prst="rect">
              <a:avLst/>
            </a:prstGeom>
            <a:noFill/>
            <a:ln w="9525">
              <a:noFill/>
              <a:miter lim="800000"/>
              <a:headEnd/>
              <a:tailEnd/>
            </a:ln>
          </p:spPr>
          <p:txBody>
            <a:bodyPr wrap="square">
              <a:prstTxWarp prst="textNoShape">
                <a:avLst/>
              </a:prstTxWarp>
              <a:spAutoFit/>
            </a:bodyPr>
            <a:lstStyle/>
            <a:p>
              <a:r>
                <a:rPr lang="en-GB" sz="1400" b="1" dirty="0">
                  <a:solidFill>
                    <a:srgbClr val="000000"/>
                  </a:solidFill>
                </a:rPr>
                <a:t>Africa</a:t>
              </a:r>
            </a:p>
          </p:txBody>
        </p:sp>
        <p:sp>
          <p:nvSpPr>
            <p:cNvPr id="4435" name="Rectangle 59"/>
            <p:cNvSpPr>
              <a:spLocks noChangeArrowheads="1"/>
            </p:cNvSpPr>
            <p:nvPr/>
          </p:nvSpPr>
          <p:spPr bwMode="auto">
            <a:xfrm>
              <a:off x="8374377" y="4128737"/>
              <a:ext cx="892175" cy="307777"/>
            </a:xfrm>
            <a:prstGeom prst="rect">
              <a:avLst/>
            </a:prstGeom>
            <a:noFill/>
            <a:ln w="9525">
              <a:noFill/>
              <a:miter lim="800000"/>
              <a:headEnd/>
              <a:tailEnd/>
            </a:ln>
          </p:spPr>
          <p:txBody>
            <a:bodyPr wrap="square">
              <a:prstTxWarp prst="textNoShape">
                <a:avLst/>
              </a:prstTxWarp>
              <a:spAutoFit/>
            </a:bodyPr>
            <a:lstStyle/>
            <a:p>
              <a:r>
                <a:rPr lang="en-GB" sz="1400" b="1" dirty="0">
                  <a:solidFill>
                    <a:srgbClr val="000000"/>
                  </a:solidFill>
                </a:rPr>
                <a:t>Asia</a:t>
              </a:r>
            </a:p>
          </p:txBody>
        </p:sp>
        <p:sp>
          <p:nvSpPr>
            <p:cNvPr id="4436" name="Rectangle 56"/>
            <p:cNvSpPr>
              <a:spLocks noChangeArrowheads="1"/>
            </p:cNvSpPr>
            <p:nvPr/>
          </p:nvSpPr>
          <p:spPr bwMode="auto">
            <a:xfrm>
              <a:off x="616604" y="3305019"/>
              <a:ext cx="893256" cy="457390"/>
            </a:xfrm>
            <a:prstGeom prst="rect">
              <a:avLst/>
            </a:prstGeom>
            <a:noFill/>
            <a:ln w="9525">
              <a:noFill/>
              <a:miter lim="800000"/>
              <a:headEnd/>
              <a:tailEnd/>
            </a:ln>
          </p:spPr>
          <p:txBody>
            <a:bodyPr wrap="none">
              <a:prstTxWarp prst="textNoShape">
                <a:avLst/>
              </a:prstTxWarp>
              <a:spAutoFit/>
            </a:bodyPr>
            <a:lstStyle/>
            <a:p>
              <a:pPr algn="ctr">
                <a:lnSpc>
                  <a:spcPts val="1400"/>
                </a:lnSpc>
              </a:pPr>
              <a:r>
                <a:rPr lang="en-GB" sz="1400" b="1" dirty="0">
                  <a:solidFill>
                    <a:srgbClr val="000000"/>
                  </a:solidFill>
                </a:rPr>
                <a:t>North</a:t>
              </a:r>
              <a:br>
                <a:rPr lang="en-GB" sz="1400" b="1" dirty="0">
                  <a:solidFill>
                    <a:srgbClr val="000000"/>
                  </a:solidFill>
                </a:rPr>
              </a:br>
              <a:r>
                <a:rPr lang="en-GB" sz="1400" b="1" dirty="0">
                  <a:solidFill>
                    <a:srgbClr val="000000"/>
                  </a:solidFill>
                </a:rPr>
                <a:t>America</a:t>
              </a:r>
            </a:p>
          </p:txBody>
        </p:sp>
      </p:grpSp>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151543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Map Asia ">
    <p:spTree>
      <p:nvGrpSpPr>
        <p:cNvPr id="1" name=""/>
        <p:cNvGrpSpPr/>
        <p:nvPr/>
      </p:nvGrpSpPr>
      <p:grpSpPr>
        <a:xfrm>
          <a:off x="0" y="0"/>
          <a:ext cx="0" cy="0"/>
          <a:chOff x="0" y="0"/>
          <a:chExt cx="0" cy="0"/>
        </a:xfrm>
      </p:grpSpPr>
      <p:grpSp>
        <p:nvGrpSpPr>
          <p:cNvPr id="408" name="Group 407"/>
          <p:cNvGrpSpPr>
            <a:grpSpLocks noChangeAspect="1"/>
          </p:cNvGrpSpPr>
          <p:nvPr userDrawn="1"/>
        </p:nvGrpSpPr>
        <p:grpSpPr>
          <a:xfrm>
            <a:off x="1658516" y="1630400"/>
            <a:ext cx="8717851" cy="4874400"/>
            <a:chOff x="822073" y="1974213"/>
            <a:chExt cx="8012149" cy="4479822"/>
          </a:xfrm>
        </p:grpSpPr>
        <p:grpSp>
          <p:nvGrpSpPr>
            <p:cNvPr id="409" name="Group 408"/>
            <p:cNvGrpSpPr/>
            <p:nvPr/>
          </p:nvGrpSpPr>
          <p:grpSpPr>
            <a:xfrm>
              <a:off x="822073" y="1974213"/>
              <a:ext cx="8012149" cy="4479822"/>
              <a:chOff x="822073" y="1974213"/>
              <a:chExt cx="8012149" cy="4479822"/>
            </a:xfrm>
          </p:grpSpPr>
          <p:sp>
            <p:nvSpPr>
              <p:cNvPr id="423" name="Freeform 3049"/>
              <p:cNvSpPr>
                <a:spLocks/>
              </p:cNvSpPr>
              <p:nvPr/>
            </p:nvSpPr>
            <p:spPr bwMode="auto">
              <a:xfrm>
                <a:off x="5031776" y="4463465"/>
                <a:ext cx="436346" cy="511149"/>
              </a:xfrm>
              <a:custGeom>
                <a:avLst/>
                <a:gdLst/>
                <a:ahLst/>
                <a:cxnLst>
                  <a:cxn ang="0">
                    <a:pos x="104" y="122"/>
                  </a:cxn>
                  <a:cxn ang="0">
                    <a:pos x="88" y="122"/>
                  </a:cxn>
                  <a:cxn ang="0">
                    <a:pos x="80" y="130"/>
                  </a:cxn>
                  <a:cxn ang="0">
                    <a:pos x="62" y="130"/>
                  </a:cxn>
                  <a:cxn ang="0">
                    <a:pos x="50" y="130"/>
                  </a:cxn>
                  <a:cxn ang="0">
                    <a:pos x="40" y="136"/>
                  </a:cxn>
                  <a:cxn ang="0">
                    <a:pos x="24" y="142"/>
                  </a:cxn>
                  <a:cxn ang="0">
                    <a:pos x="28" y="132"/>
                  </a:cxn>
                  <a:cxn ang="0">
                    <a:pos x="34" y="112"/>
                  </a:cxn>
                  <a:cxn ang="0">
                    <a:pos x="34" y="100"/>
                  </a:cxn>
                  <a:cxn ang="0">
                    <a:pos x="28" y="86"/>
                  </a:cxn>
                  <a:cxn ang="0">
                    <a:pos x="16" y="86"/>
                  </a:cxn>
                  <a:cxn ang="0">
                    <a:pos x="14" y="72"/>
                  </a:cxn>
                  <a:cxn ang="0">
                    <a:pos x="10" y="62"/>
                  </a:cxn>
                  <a:cxn ang="0">
                    <a:pos x="2" y="62"/>
                  </a:cxn>
                  <a:cxn ang="0">
                    <a:pos x="14" y="50"/>
                  </a:cxn>
                  <a:cxn ang="0">
                    <a:pos x="18" y="34"/>
                  </a:cxn>
                  <a:cxn ang="0">
                    <a:pos x="34" y="32"/>
                  </a:cxn>
                  <a:cxn ang="0">
                    <a:pos x="42" y="38"/>
                  </a:cxn>
                  <a:cxn ang="0">
                    <a:pos x="48" y="36"/>
                  </a:cxn>
                  <a:cxn ang="0">
                    <a:pos x="44" y="16"/>
                  </a:cxn>
                  <a:cxn ang="0">
                    <a:pos x="52" y="2"/>
                  </a:cxn>
                  <a:cxn ang="0">
                    <a:pos x="64" y="10"/>
                  </a:cxn>
                  <a:cxn ang="0">
                    <a:pos x="74" y="24"/>
                  </a:cxn>
                  <a:cxn ang="0">
                    <a:pos x="78" y="38"/>
                  </a:cxn>
                  <a:cxn ang="0">
                    <a:pos x="98" y="52"/>
                  </a:cxn>
                  <a:cxn ang="0">
                    <a:pos x="116" y="46"/>
                  </a:cxn>
                  <a:cxn ang="0">
                    <a:pos x="120" y="60"/>
                  </a:cxn>
                  <a:cxn ang="0">
                    <a:pos x="134" y="70"/>
                  </a:cxn>
                  <a:cxn ang="0">
                    <a:pos x="130" y="80"/>
                  </a:cxn>
                  <a:cxn ang="0">
                    <a:pos x="120" y="82"/>
                  </a:cxn>
                  <a:cxn ang="0">
                    <a:pos x="110" y="86"/>
                  </a:cxn>
                  <a:cxn ang="0">
                    <a:pos x="116" y="98"/>
                  </a:cxn>
                  <a:cxn ang="0">
                    <a:pos x="140" y="114"/>
                  </a:cxn>
                  <a:cxn ang="0">
                    <a:pos x="146" y="126"/>
                  </a:cxn>
                  <a:cxn ang="0">
                    <a:pos x="158" y="140"/>
                  </a:cxn>
                  <a:cxn ang="0">
                    <a:pos x="176" y="160"/>
                  </a:cxn>
                  <a:cxn ang="0">
                    <a:pos x="184" y="176"/>
                  </a:cxn>
                  <a:cxn ang="0">
                    <a:pos x="194" y="180"/>
                  </a:cxn>
                  <a:cxn ang="0">
                    <a:pos x="202" y="188"/>
                  </a:cxn>
                  <a:cxn ang="0">
                    <a:pos x="204" y="202"/>
                  </a:cxn>
                  <a:cxn ang="0">
                    <a:pos x="204" y="218"/>
                  </a:cxn>
                  <a:cxn ang="0">
                    <a:pos x="186" y="236"/>
                  </a:cxn>
                  <a:cxn ang="0">
                    <a:pos x="178" y="228"/>
                  </a:cxn>
                  <a:cxn ang="0">
                    <a:pos x="168" y="234"/>
                  </a:cxn>
                  <a:cxn ang="0">
                    <a:pos x="166" y="246"/>
                  </a:cxn>
                  <a:cxn ang="0">
                    <a:pos x="148" y="242"/>
                  </a:cxn>
                  <a:cxn ang="0">
                    <a:pos x="148" y="232"/>
                  </a:cxn>
                  <a:cxn ang="0">
                    <a:pos x="152" y="216"/>
                  </a:cxn>
                  <a:cxn ang="0">
                    <a:pos x="152" y="198"/>
                  </a:cxn>
                  <a:cxn ang="0">
                    <a:pos x="146" y="192"/>
                  </a:cxn>
                  <a:cxn ang="0">
                    <a:pos x="136" y="184"/>
                  </a:cxn>
                  <a:cxn ang="0">
                    <a:pos x="128" y="156"/>
                  </a:cxn>
                  <a:cxn ang="0">
                    <a:pos x="128" y="144"/>
                  </a:cxn>
                </a:cxnLst>
                <a:rect l="0" t="0" r="r" b="b"/>
                <a:pathLst>
                  <a:path w="210" h="246">
                    <a:moveTo>
                      <a:pt x="116" y="134"/>
                    </a:moveTo>
                    <a:lnTo>
                      <a:pt x="114" y="132"/>
                    </a:lnTo>
                    <a:lnTo>
                      <a:pt x="114" y="130"/>
                    </a:lnTo>
                    <a:lnTo>
                      <a:pt x="110" y="126"/>
                    </a:lnTo>
                    <a:lnTo>
                      <a:pt x="108" y="122"/>
                    </a:lnTo>
                    <a:lnTo>
                      <a:pt x="104" y="122"/>
                    </a:lnTo>
                    <a:lnTo>
                      <a:pt x="102" y="120"/>
                    </a:lnTo>
                    <a:lnTo>
                      <a:pt x="98" y="120"/>
                    </a:lnTo>
                    <a:lnTo>
                      <a:pt x="94" y="118"/>
                    </a:lnTo>
                    <a:lnTo>
                      <a:pt x="90" y="118"/>
                    </a:lnTo>
                    <a:lnTo>
                      <a:pt x="88" y="120"/>
                    </a:lnTo>
                    <a:lnTo>
                      <a:pt x="88" y="122"/>
                    </a:lnTo>
                    <a:lnTo>
                      <a:pt x="84" y="126"/>
                    </a:lnTo>
                    <a:lnTo>
                      <a:pt x="82" y="126"/>
                    </a:lnTo>
                    <a:lnTo>
                      <a:pt x="82" y="130"/>
                    </a:lnTo>
                    <a:lnTo>
                      <a:pt x="82" y="132"/>
                    </a:lnTo>
                    <a:lnTo>
                      <a:pt x="80" y="132"/>
                    </a:lnTo>
                    <a:lnTo>
                      <a:pt x="80" y="130"/>
                    </a:lnTo>
                    <a:lnTo>
                      <a:pt x="76" y="132"/>
                    </a:lnTo>
                    <a:lnTo>
                      <a:pt x="72" y="136"/>
                    </a:lnTo>
                    <a:lnTo>
                      <a:pt x="70" y="134"/>
                    </a:lnTo>
                    <a:lnTo>
                      <a:pt x="70" y="132"/>
                    </a:lnTo>
                    <a:lnTo>
                      <a:pt x="66" y="132"/>
                    </a:lnTo>
                    <a:lnTo>
                      <a:pt x="62" y="130"/>
                    </a:lnTo>
                    <a:lnTo>
                      <a:pt x="58" y="126"/>
                    </a:lnTo>
                    <a:lnTo>
                      <a:pt x="56" y="126"/>
                    </a:lnTo>
                    <a:lnTo>
                      <a:pt x="56" y="124"/>
                    </a:lnTo>
                    <a:lnTo>
                      <a:pt x="56" y="126"/>
                    </a:lnTo>
                    <a:lnTo>
                      <a:pt x="54" y="126"/>
                    </a:lnTo>
                    <a:lnTo>
                      <a:pt x="50" y="130"/>
                    </a:lnTo>
                    <a:lnTo>
                      <a:pt x="48" y="128"/>
                    </a:lnTo>
                    <a:lnTo>
                      <a:pt x="46" y="130"/>
                    </a:lnTo>
                    <a:lnTo>
                      <a:pt x="46" y="134"/>
                    </a:lnTo>
                    <a:lnTo>
                      <a:pt x="44" y="134"/>
                    </a:lnTo>
                    <a:lnTo>
                      <a:pt x="42" y="134"/>
                    </a:lnTo>
                    <a:lnTo>
                      <a:pt x="40" y="136"/>
                    </a:lnTo>
                    <a:lnTo>
                      <a:pt x="42" y="136"/>
                    </a:lnTo>
                    <a:lnTo>
                      <a:pt x="34" y="142"/>
                    </a:lnTo>
                    <a:lnTo>
                      <a:pt x="30" y="146"/>
                    </a:lnTo>
                    <a:lnTo>
                      <a:pt x="26" y="144"/>
                    </a:lnTo>
                    <a:lnTo>
                      <a:pt x="24" y="144"/>
                    </a:lnTo>
                    <a:lnTo>
                      <a:pt x="24" y="142"/>
                    </a:lnTo>
                    <a:lnTo>
                      <a:pt x="24" y="140"/>
                    </a:lnTo>
                    <a:lnTo>
                      <a:pt x="26" y="138"/>
                    </a:lnTo>
                    <a:lnTo>
                      <a:pt x="26" y="136"/>
                    </a:lnTo>
                    <a:lnTo>
                      <a:pt x="26" y="134"/>
                    </a:lnTo>
                    <a:lnTo>
                      <a:pt x="28" y="134"/>
                    </a:lnTo>
                    <a:lnTo>
                      <a:pt x="28" y="132"/>
                    </a:lnTo>
                    <a:lnTo>
                      <a:pt x="30" y="128"/>
                    </a:lnTo>
                    <a:lnTo>
                      <a:pt x="30" y="120"/>
                    </a:lnTo>
                    <a:lnTo>
                      <a:pt x="28" y="120"/>
                    </a:lnTo>
                    <a:lnTo>
                      <a:pt x="28" y="118"/>
                    </a:lnTo>
                    <a:lnTo>
                      <a:pt x="30" y="114"/>
                    </a:lnTo>
                    <a:lnTo>
                      <a:pt x="34" y="112"/>
                    </a:lnTo>
                    <a:lnTo>
                      <a:pt x="32" y="110"/>
                    </a:lnTo>
                    <a:lnTo>
                      <a:pt x="32" y="106"/>
                    </a:lnTo>
                    <a:lnTo>
                      <a:pt x="34" y="104"/>
                    </a:lnTo>
                    <a:lnTo>
                      <a:pt x="34" y="102"/>
                    </a:lnTo>
                    <a:lnTo>
                      <a:pt x="36" y="100"/>
                    </a:lnTo>
                    <a:lnTo>
                      <a:pt x="34" y="100"/>
                    </a:lnTo>
                    <a:lnTo>
                      <a:pt x="34" y="98"/>
                    </a:lnTo>
                    <a:lnTo>
                      <a:pt x="32" y="92"/>
                    </a:lnTo>
                    <a:lnTo>
                      <a:pt x="32" y="88"/>
                    </a:lnTo>
                    <a:lnTo>
                      <a:pt x="34" y="88"/>
                    </a:lnTo>
                    <a:lnTo>
                      <a:pt x="34" y="86"/>
                    </a:lnTo>
                    <a:lnTo>
                      <a:pt x="28" y="86"/>
                    </a:lnTo>
                    <a:lnTo>
                      <a:pt x="28" y="84"/>
                    </a:lnTo>
                    <a:lnTo>
                      <a:pt x="24" y="84"/>
                    </a:lnTo>
                    <a:lnTo>
                      <a:pt x="22" y="86"/>
                    </a:lnTo>
                    <a:lnTo>
                      <a:pt x="20" y="86"/>
                    </a:lnTo>
                    <a:lnTo>
                      <a:pt x="20" y="88"/>
                    </a:lnTo>
                    <a:lnTo>
                      <a:pt x="16" y="86"/>
                    </a:lnTo>
                    <a:lnTo>
                      <a:pt x="14" y="88"/>
                    </a:lnTo>
                    <a:lnTo>
                      <a:pt x="12" y="86"/>
                    </a:lnTo>
                    <a:lnTo>
                      <a:pt x="10" y="80"/>
                    </a:lnTo>
                    <a:lnTo>
                      <a:pt x="12" y="78"/>
                    </a:lnTo>
                    <a:lnTo>
                      <a:pt x="12" y="76"/>
                    </a:lnTo>
                    <a:lnTo>
                      <a:pt x="14" y="72"/>
                    </a:lnTo>
                    <a:lnTo>
                      <a:pt x="14" y="70"/>
                    </a:lnTo>
                    <a:lnTo>
                      <a:pt x="14" y="68"/>
                    </a:lnTo>
                    <a:lnTo>
                      <a:pt x="12" y="68"/>
                    </a:lnTo>
                    <a:lnTo>
                      <a:pt x="10" y="66"/>
                    </a:lnTo>
                    <a:lnTo>
                      <a:pt x="10" y="64"/>
                    </a:lnTo>
                    <a:lnTo>
                      <a:pt x="10" y="62"/>
                    </a:lnTo>
                    <a:lnTo>
                      <a:pt x="8" y="62"/>
                    </a:lnTo>
                    <a:lnTo>
                      <a:pt x="6" y="62"/>
                    </a:lnTo>
                    <a:lnTo>
                      <a:pt x="4" y="64"/>
                    </a:lnTo>
                    <a:lnTo>
                      <a:pt x="2" y="64"/>
                    </a:lnTo>
                    <a:lnTo>
                      <a:pt x="0" y="62"/>
                    </a:lnTo>
                    <a:lnTo>
                      <a:pt x="2" y="62"/>
                    </a:lnTo>
                    <a:lnTo>
                      <a:pt x="2" y="58"/>
                    </a:lnTo>
                    <a:lnTo>
                      <a:pt x="2" y="56"/>
                    </a:lnTo>
                    <a:lnTo>
                      <a:pt x="4" y="52"/>
                    </a:lnTo>
                    <a:lnTo>
                      <a:pt x="6" y="50"/>
                    </a:lnTo>
                    <a:lnTo>
                      <a:pt x="8" y="50"/>
                    </a:lnTo>
                    <a:lnTo>
                      <a:pt x="14" y="50"/>
                    </a:lnTo>
                    <a:lnTo>
                      <a:pt x="16" y="48"/>
                    </a:lnTo>
                    <a:lnTo>
                      <a:pt x="12" y="48"/>
                    </a:lnTo>
                    <a:lnTo>
                      <a:pt x="12" y="44"/>
                    </a:lnTo>
                    <a:lnTo>
                      <a:pt x="14" y="44"/>
                    </a:lnTo>
                    <a:lnTo>
                      <a:pt x="18" y="38"/>
                    </a:lnTo>
                    <a:lnTo>
                      <a:pt x="18" y="34"/>
                    </a:lnTo>
                    <a:lnTo>
                      <a:pt x="22" y="34"/>
                    </a:lnTo>
                    <a:lnTo>
                      <a:pt x="30" y="30"/>
                    </a:lnTo>
                    <a:lnTo>
                      <a:pt x="30" y="28"/>
                    </a:lnTo>
                    <a:lnTo>
                      <a:pt x="30" y="26"/>
                    </a:lnTo>
                    <a:lnTo>
                      <a:pt x="30" y="28"/>
                    </a:lnTo>
                    <a:lnTo>
                      <a:pt x="34" y="32"/>
                    </a:lnTo>
                    <a:lnTo>
                      <a:pt x="32" y="34"/>
                    </a:lnTo>
                    <a:lnTo>
                      <a:pt x="32" y="36"/>
                    </a:lnTo>
                    <a:lnTo>
                      <a:pt x="34" y="38"/>
                    </a:lnTo>
                    <a:lnTo>
                      <a:pt x="40" y="36"/>
                    </a:lnTo>
                    <a:lnTo>
                      <a:pt x="42" y="36"/>
                    </a:lnTo>
                    <a:lnTo>
                      <a:pt x="42" y="38"/>
                    </a:lnTo>
                    <a:lnTo>
                      <a:pt x="44" y="38"/>
                    </a:lnTo>
                    <a:lnTo>
                      <a:pt x="46" y="40"/>
                    </a:lnTo>
                    <a:lnTo>
                      <a:pt x="48" y="40"/>
                    </a:lnTo>
                    <a:lnTo>
                      <a:pt x="50" y="38"/>
                    </a:lnTo>
                    <a:lnTo>
                      <a:pt x="50" y="36"/>
                    </a:lnTo>
                    <a:lnTo>
                      <a:pt x="48" y="36"/>
                    </a:lnTo>
                    <a:lnTo>
                      <a:pt x="46" y="36"/>
                    </a:lnTo>
                    <a:lnTo>
                      <a:pt x="46" y="34"/>
                    </a:lnTo>
                    <a:lnTo>
                      <a:pt x="46" y="32"/>
                    </a:lnTo>
                    <a:lnTo>
                      <a:pt x="46" y="30"/>
                    </a:lnTo>
                    <a:lnTo>
                      <a:pt x="46" y="20"/>
                    </a:lnTo>
                    <a:lnTo>
                      <a:pt x="44" y="16"/>
                    </a:lnTo>
                    <a:lnTo>
                      <a:pt x="42" y="8"/>
                    </a:lnTo>
                    <a:lnTo>
                      <a:pt x="44" y="4"/>
                    </a:lnTo>
                    <a:lnTo>
                      <a:pt x="44" y="2"/>
                    </a:lnTo>
                    <a:lnTo>
                      <a:pt x="46" y="0"/>
                    </a:lnTo>
                    <a:lnTo>
                      <a:pt x="48" y="0"/>
                    </a:lnTo>
                    <a:lnTo>
                      <a:pt x="52" y="2"/>
                    </a:lnTo>
                    <a:lnTo>
                      <a:pt x="56" y="2"/>
                    </a:lnTo>
                    <a:lnTo>
                      <a:pt x="58" y="4"/>
                    </a:lnTo>
                    <a:lnTo>
                      <a:pt x="58" y="6"/>
                    </a:lnTo>
                    <a:lnTo>
                      <a:pt x="60" y="8"/>
                    </a:lnTo>
                    <a:lnTo>
                      <a:pt x="62" y="8"/>
                    </a:lnTo>
                    <a:lnTo>
                      <a:pt x="64" y="10"/>
                    </a:lnTo>
                    <a:lnTo>
                      <a:pt x="68" y="16"/>
                    </a:lnTo>
                    <a:lnTo>
                      <a:pt x="70" y="16"/>
                    </a:lnTo>
                    <a:lnTo>
                      <a:pt x="72" y="22"/>
                    </a:lnTo>
                    <a:lnTo>
                      <a:pt x="70" y="22"/>
                    </a:lnTo>
                    <a:lnTo>
                      <a:pt x="72" y="24"/>
                    </a:lnTo>
                    <a:lnTo>
                      <a:pt x="74" y="24"/>
                    </a:lnTo>
                    <a:lnTo>
                      <a:pt x="76" y="22"/>
                    </a:lnTo>
                    <a:lnTo>
                      <a:pt x="80" y="22"/>
                    </a:lnTo>
                    <a:lnTo>
                      <a:pt x="80" y="28"/>
                    </a:lnTo>
                    <a:lnTo>
                      <a:pt x="78" y="30"/>
                    </a:lnTo>
                    <a:lnTo>
                      <a:pt x="78" y="36"/>
                    </a:lnTo>
                    <a:lnTo>
                      <a:pt x="78" y="38"/>
                    </a:lnTo>
                    <a:lnTo>
                      <a:pt x="82" y="42"/>
                    </a:lnTo>
                    <a:lnTo>
                      <a:pt x="84" y="46"/>
                    </a:lnTo>
                    <a:lnTo>
                      <a:pt x="86" y="48"/>
                    </a:lnTo>
                    <a:lnTo>
                      <a:pt x="86" y="50"/>
                    </a:lnTo>
                    <a:lnTo>
                      <a:pt x="90" y="50"/>
                    </a:lnTo>
                    <a:lnTo>
                      <a:pt x="98" y="52"/>
                    </a:lnTo>
                    <a:lnTo>
                      <a:pt x="100" y="54"/>
                    </a:lnTo>
                    <a:lnTo>
                      <a:pt x="102" y="52"/>
                    </a:lnTo>
                    <a:lnTo>
                      <a:pt x="102" y="50"/>
                    </a:lnTo>
                    <a:lnTo>
                      <a:pt x="110" y="44"/>
                    </a:lnTo>
                    <a:lnTo>
                      <a:pt x="114" y="46"/>
                    </a:lnTo>
                    <a:lnTo>
                      <a:pt x="116" y="46"/>
                    </a:lnTo>
                    <a:lnTo>
                      <a:pt x="122" y="52"/>
                    </a:lnTo>
                    <a:lnTo>
                      <a:pt x="124" y="54"/>
                    </a:lnTo>
                    <a:lnTo>
                      <a:pt x="126" y="54"/>
                    </a:lnTo>
                    <a:lnTo>
                      <a:pt x="126" y="56"/>
                    </a:lnTo>
                    <a:lnTo>
                      <a:pt x="118" y="60"/>
                    </a:lnTo>
                    <a:lnTo>
                      <a:pt x="120" y="60"/>
                    </a:lnTo>
                    <a:lnTo>
                      <a:pt x="122" y="62"/>
                    </a:lnTo>
                    <a:lnTo>
                      <a:pt x="124" y="62"/>
                    </a:lnTo>
                    <a:lnTo>
                      <a:pt x="128" y="62"/>
                    </a:lnTo>
                    <a:lnTo>
                      <a:pt x="128" y="64"/>
                    </a:lnTo>
                    <a:lnTo>
                      <a:pt x="134" y="68"/>
                    </a:lnTo>
                    <a:lnTo>
                      <a:pt x="134" y="70"/>
                    </a:lnTo>
                    <a:lnTo>
                      <a:pt x="134" y="74"/>
                    </a:lnTo>
                    <a:lnTo>
                      <a:pt x="130" y="74"/>
                    </a:lnTo>
                    <a:lnTo>
                      <a:pt x="130" y="76"/>
                    </a:lnTo>
                    <a:lnTo>
                      <a:pt x="130" y="78"/>
                    </a:lnTo>
                    <a:lnTo>
                      <a:pt x="132" y="78"/>
                    </a:lnTo>
                    <a:lnTo>
                      <a:pt x="130" y="80"/>
                    </a:lnTo>
                    <a:lnTo>
                      <a:pt x="128" y="80"/>
                    </a:lnTo>
                    <a:lnTo>
                      <a:pt x="126" y="82"/>
                    </a:lnTo>
                    <a:lnTo>
                      <a:pt x="126" y="84"/>
                    </a:lnTo>
                    <a:lnTo>
                      <a:pt x="122" y="84"/>
                    </a:lnTo>
                    <a:lnTo>
                      <a:pt x="120" y="84"/>
                    </a:lnTo>
                    <a:lnTo>
                      <a:pt x="120" y="82"/>
                    </a:lnTo>
                    <a:lnTo>
                      <a:pt x="114" y="82"/>
                    </a:lnTo>
                    <a:lnTo>
                      <a:pt x="112" y="82"/>
                    </a:lnTo>
                    <a:lnTo>
                      <a:pt x="110" y="82"/>
                    </a:lnTo>
                    <a:lnTo>
                      <a:pt x="108" y="82"/>
                    </a:lnTo>
                    <a:lnTo>
                      <a:pt x="110" y="84"/>
                    </a:lnTo>
                    <a:lnTo>
                      <a:pt x="110" y="86"/>
                    </a:lnTo>
                    <a:lnTo>
                      <a:pt x="110" y="88"/>
                    </a:lnTo>
                    <a:lnTo>
                      <a:pt x="106" y="92"/>
                    </a:lnTo>
                    <a:lnTo>
                      <a:pt x="108" y="96"/>
                    </a:lnTo>
                    <a:lnTo>
                      <a:pt x="112" y="96"/>
                    </a:lnTo>
                    <a:lnTo>
                      <a:pt x="114" y="98"/>
                    </a:lnTo>
                    <a:lnTo>
                      <a:pt x="116" y="98"/>
                    </a:lnTo>
                    <a:lnTo>
                      <a:pt x="128" y="108"/>
                    </a:lnTo>
                    <a:lnTo>
                      <a:pt x="134" y="110"/>
                    </a:lnTo>
                    <a:lnTo>
                      <a:pt x="136" y="110"/>
                    </a:lnTo>
                    <a:lnTo>
                      <a:pt x="138" y="110"/>
                    </a:lnTo>
                    <a:lnTo>
                      <a:pt x="140" y="112"/>
                    </a:lnTo>
                    <a:lnTo>
                      <a:pt x="140" y="114"/>
                    </a:lnTo>
                    <a:lnTo>
                      <a:pt x="138" y="116"/>
                    </a:lnTo>
                    <a:lnTo>
                      <a:pt x="138" y="118"/>
                    </a:lnTo>
                    <a:lnTo>
                      <a:pt x="142" y="124"/>
                    </a:lnTo>
                    <a:lnTo>
                      <a:pt x="144" y="124"/>
                    </a:lnTo>
                    <a:lnTo>
                      <a:pt x="144" y="126"/>
                    </a:lnTo>
                    <a:lnTo>
                      <a:pt x="146" y="126"/>
                    </a:lnTo>
                    <a:lnTo>
                      <a:pt x="150" y="126"/>
                    </a:lnTo>
                    <a:lnTo>
                      <a:pt x="152" y="130"/>
                    </a:lnTo>
                    <a:lnTo>
                      <a:pt x="152" y="132"/>
                    </a:lnTo>
                    <a:lnTo>
                      <a:pt x="154" y="136"/>
                    </a:lnTo>
                    <a:lnTo>
                      <a:pt x="156" y="140"/>
                    </a:lnTo>
                    <a:lnTo>
                      <a:pt x="158" y="140"/>
                    </a:lnTo>
                    <a:lnTo>
                      <a:pt x="158" y="142"/>
                    </a:lnTo>
                    <a:lnTo>
                      <a:pt x="166" y="150"/>
                    </a:lnTo>
                    <a:lnTo>
                      <a:pt x="170" y="152"/>
                    </a:lnTo>
                    <a:lnTo>
                      <a:pt x="174" y="158"/>
                    </a:lnTo>
                    <a:lnTo>
                      <a:pt x="174" y="160"/>
                    </a:lnTo>
                    <a:lnTo>
                      <a:pt x="176" y="160"/>
                    </a:lnTo>
                    <a:lnTo>
                      <a:pt x="178" y="160"/>
                    </a:lnTo>
                    <a:lnTo>
                      <a:pt x="178" y="162"/>
                    </a:lnTo>
                    <a:lnTo>
                      <a:pt x="178" y="170"/>
                    </a:lnTo>
                    <a:lnTo>
                      <a:pt x="182" y="174"/>
                    </a:lnTo>
                    <a:lnTo>
                      <a:pt x="182" y="176"/>
                    </a:lnTo>
                    <a:lnTo>
                      <a:pt x="184" y="176"/>
                    </a:lnTo>
                    <a:lnTo>
                      <a:pt x="186" y="174"/>
                    </a:lnTo>
                    <a:lnTo>
                      <a:pt x="188" y="174"/>
                    </a:lnTo>
                    <a:lnTo>
                      <a:pt x="190" y="178"/>
                    </a:lnTo>
                    <a:lnTo>
                      <a:pt x="190" y="180"/>
                    </a:lnTo>
                    <a:lnTo>
                      <a:pt x="192" y="180"/>
                    </a:lnTo>
                    <a:lnTo>
                      <a:pt x="194" y="180"/>
                    </a:lnTo>
                    <a:lnTo>
                      <a:pt x="194" y="182"/>
                    </a:lnTo>
                    <a:lnTo>
                      <a:pt x="198" y="186"/>
                    </a:lnTo>
                    <a:lnTo>
                      <a:pt x="200" y="186"/>
                    </a:lnTo>
                    <a:lnTo>
                      <a:pt x="202" y="186"/>
                    </a:lnTo>
                    <a:lnTo>
                      <a:pt x="204" y="188"/>
                    </a:lnTo>
                    <a:lnTo>
                      <a:pt x="202" y="188"/>
                    </a:lnTo>
                    <a:lnTo>
                      <a:pt x="200" y="190"/>
                    </a:lnTo>
                    <a:lnTo>
                      <a:pt x="198" y="192"/>
                    </a:lnTo>
                    <a:lnTo>
                      <a:pt x="196" y="192"/>
                    </a:lnTo>
                    <a:lnTo>
                      <a:pt x="194" y="194"/>
                    </a:lnTo>
                    <a:lnTo>
                      <a:pt x="202" y="202"/>
                    </a:lnTo>
                    <a:lnTo>
                      <a:pt x="204" y="202"/>
                    </a:lnTo>
                    <a:lnTo>
                      <a:pt x="210" y="208"/>
                    </a:lnTo>
                    <a:lnTo>
                      <a:pt x="210" y="210"/>
                    </a:lnTo>
                    <a:lnTo>
                      <a:pt x="208" y="210"/>
                    </a:lnTo>
                    <a:lnTo>
                      <a:pt x="206" y="214"/>
                    </a:lnTo>
                    <a:lnTo>
                      <a:pt x="204" y="216"/>
                    </a:lnTo>
                    <a:lnTo>
                      <a:pt x="204" y="218"/>
                    </a:lnTo>
                    <a:lnTo>
                      <a:pt x="204" y="220"/>
                    </a:lnTo>
                    <a:lnTo>
                      <a:pt x="204" y="224"/>
                    </a:lnTo>
                    <a:lnTo>
                      <a:pt x="204" y="226"/>
                    </a:lnTo>
                    <a:lnTo>
                      <a:pt x="200" y="228"/>
                    </a:lnTo>
                    <a:lnTo>
                      <a:pt x="194" y="234"/>
                    </a:lnTo>
                    <a:lnTo>
                      <a:pt x="186" y="236"/>
                    </a:lnTo>
                    <a:lnTo>
                      <a:pt x="184" y="236"/>
                    </a:lnTo>
                    <a:lnTo>
                      <a:pt x="184" y="234"/>
                    </a:lnTo>
                    <a:lnTo>
                      <a:pt x="184" y="232"/>
                    </a:lnTo>
                    <a:lnTo>
                      <a:pt x="182" y="232"/>
                    </a:lnTo>
                    <a:lnTo>
                      <a:pt x="180" y="232"/>
                    </a:lnTo>
                    <a:lnTo>
                      <a:pt x="178" y="228"/>
                    </a:lnTo>
                    <a:lnTo>
                      <a:pt x="176" y="228"/>
                    </a:lnTo>
                    <a:lnTo>
                      <a:pt x="174" y="230"/>
                    </a:lnTo>
                    <a:lnTo>
                      <a:pt x="174" y="232"/>
                    </a:lnTo>
                    <a:lnTo>
                      <a:pt x="170" y="232"/>
                    </a:lnTo>
                    <a:lnTo>
                      <a:pt x="170" y="234"/>
                    </a:lnTo>
                    <a:lnTo>
                      <a:pt x="168" y="234"/>
                    </a:lnTo>
                    <a:lnTo>
                      <a:pt x="166" y="234"/>
                    </a:lnTo>
                    <a:lnTo>
                      <a:pt x="164" y="234"/>
                    </a:lnTo>
                    <a:lnTo>
                      <a:pt x="162" y="236"/>
                    </a:lnTo>
                    <a:lnTo>
                      <a:pt x="168" y="242"/>
                    </a:lnTo>
                    <a:lnTo>
                      <a:pt x="168" y="244"/>
                    </a:lnTo>
                    <a:lnTo>
                      <a:pt x="166" y="246"/>
                    </a:lnTo>
                    <a:lnTo>
                      <a:pt x="160" y="246"/>
                    </a:lnTo>
                    <a:lnTo>
                      <a:pt x="158" y="244"/>
                    </a:lnTo>
                    <a:lnTo>
                      <a:pt x="158" y="242"/>
                    </a:lnTo>
                    <a:lnTo>
                      <a:pt x="150" y="240"/>
                    </a:lnTo>
                    <a:lnTo>
                      <a:pt x="148" y="240"/>
                    </a:lnTo>
                    <a:lnTo>
                      <a:pt x="148" y="242"/>
                    </a:lnTo>
                    <a:lnTo>
                      <a:pt x="146" y="242"/>
                    </a:lnTo>
                    <a:lnTo>
                      <a:pt x="144" y="240"/>
                    </a:lnTo>
                    <a:lnTo>
                      <a:pt x="140" y="236"/>
                    </a:lnTo>
                    <a:lnTo>
                      <a:pt x="140" y="234"/>
                    </a:lnTo>
                    <a:lnTo>
                      <a:pt x="142" y="236"/>
                    </a:lnTo>
                    <a:lnTo>
                      <a:pt x="148" y="232"/>
                    </a:lnTo>
                    <a:lnTo>
                      <a:pt x="148" y="230"/>
                    </a:lnTo>
                    <a:lnTo>
                      <a:pt x="150" y="228"/>
                    </a:lnTo>
                    <a:lnTo>
                      <a:pt x="150" y="226"/>
                    </a:lnTo>
                    <a:lnTo>
                      <a:pt x="150" y="222"/>
                    </a:lnTo>
                    <a:lnTo>
                      <a:pt x="152" y="220"/>
                    </a:lnTo>
                    <a:lnTo>
                      <a:pt x="152" y="216"/>
                    </a:lnTo>
                    <a:lnTo>
                      <a:pt x="150" y="214"/>
                    </a:lnTo>
                    <a:lnTo>
                      <a:pt x="148" y="214"/>
                    </a:lnTo>
                    <a:lnTo>
                      <a:pt x="148" y="212"/>
                    </a:lnTo>
                    <a:lnTo>
                      <a:pt x="150" y="206"/>
                    </a:lnTo>
                    <a:lnTo>
                      <a:pt x="152" y="204"/>
                    </a:lnTo>
                    <a:lnTo>
                      <a:pt x="152" y="198"/>
                    </a:lnTo>
                    <a:lnTo>
                      <a:pt x="152" y="196"/>
                    </a:lnTo>
                    <a:lnTo>
                      <a:pt x="150" y="196"/>
                    </a:lnTo>
                    <a:lnTo>
                      <a:pt x="150" y="194"/>
                    </a:lnTo>
                    <a:lnTo>
                      <a:pt x="148" y="196"/>
                    </a:lnTo>
                    <a:lnTo>
                      <a:pt x="146" y="194"/>
                    </a:lnTo>
                    <a:lnTo>
                      <a:pt x="146" y="192"/>
                    </a:lnTo>
                    <a:lnTo>
                      <a:pt x="146" y="190"/>
                    </a:lnTo>
                    <a:lnTo>
                      <a:pt x="146" y="188"/>
                    </a:lnTo>
                    <a:lnTo>
                      <a:pt x="140" y="186"/>
                    </a:lnTo>
                    <a:lnTo>
                      <a:pt x="138" y="186"/>
                    </a:lnTo>
                    <a:lnTo>
                      <a:pt x="136" y="186"/>
                    </a:lnTo>
                    <a:lnTo>
                      <a:pt x="136" y="184"/>
                    </a:lnTo>
                    <a:lnTo>
                      <a:pt x="136" y="180"/>
                    </a:lnTo>
                    <a:lnTo>
                      <a:pt x="134" y="180"/>
                    </a:lnTo>
                    <a:lnTo>
                      <a:pt x="128" y="172"/>
                    </a:lnTo>
                    <a:lnTo>
                      <a:pt x="128" y="170"/>
                    </a:lnTo>
                    <a:lnTo>
                      <a:pt x="128" y="158"/>
                    </a:lnTo>
                    <a:lnTo>
                      <a:pt x="128" y="156"/>
                    </a:lnTo>
                    <a:lnTo>
                      <a:pt x="130" y="156"/>
                    </a:lnTo>
                    <a:lnTo>
                      <a:pt x="130" y="154"/>
                    </a:lnTo>
                    <a:lnTo>
                      <a:pt x="130" y="152"/>
                    </a:lnTo>
                    <a:lnTo>
                      <a:pt x="130" y="150"/>
                    </a:lnTo>
                    <a:lnTo>
                      <a:pt x="130" y="148"/>
                    </a:lnTo>
                    <a:lnTo>
                      <a:pt x="128" y="144"/>
                    </a:lnTo>
                    <a:lnTo>
                      <a:pt x="126" y="144"/>
                    </a:lnTo>
                    <a:lnTo>
                      <a:pt x="118" y="138"/>
                    </a:lnTo>
                    <a:lnTo>
                      <a:pt x="116" y="136"/>
                    </a:lnTo>
                    <a:lnTo>
                      <a:pt x="116" y="1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24" name="Freeform 3373"/>
              <p:cNvSpPr>
                <a:spLocks/>
              </p:cNvSpPr>
              <p:nvPr/>
            </p:nvSpPr>
            <p:spPr bwMode="auto">
              <a:xfrm>
                <a:off x="5152290" y="4409441"/>
                <a:ext cx="415568" cy="876848"/>
              </a:xfrm>
              <a:custGeom>
                <a:avLst/>
                <a:gdLst/>
                <a:ahLst/>
                <a:cxnLst>
                  <a:cxn ang="0">
                    <a:pos x="130" y="324"/>
                  </a:cxn>
                  <a:cxn ang="0">
                    <a:pos x="148" y="304"/>
                  </a:cxn>
                  <a:cxn ang="0">
                    <a:pos x="142" y="270"/>
                  </a:cxn>
                  <a:cxn ang="0">
                    <a:pos x="146" y="242"/>
                  </a:cxn>
                  <a:cxn ang="0">
                    <a:pos x="140" y="218"/>
                  </a:cxn>
                  <a:cxn ang="0">
                    <a:pos x="134" y="206"/>
                  </a:cxn>
                  <a:cxn ang="0">
                    <a:pos x="120" y="188"/>
                  </a:cxn>
                  <a:cxn ang="0">
                    <a:pos x="100" y="166"/>
                  </a:cxn>
                  <a:cxn ang="0">
                    <a:pos x="84" y="150"/>
                  </a:cxn>
                  <a:cxn ang="0">
                    <a:pos x="58" y="124"/>
                  </a:cxn>
                  <a:cxn ang="0">
                    <a:pos x="52" y="108"/>
                  </a:cxn>
                  <a:cxn ang="0">
                    <a:pos x="72" y="106"/>
                  </a:cxn>
                  <a:cxn ang="0">
                    <a:pos x="70" y="88"/>
                  </a:cxn>
                  <a:cxn ang="0">
                    <a:pos x="58" y="72"/>
                  </a:cxn>
                  <a:cxn ang="0">
                    <a:pos x="28" y="74"/>
                  </a:cxn>
                  <a:cxn ang="0">
                    <a:pos x="16" y="50"/>
                  </a:cxn>
                  <a:cxn ang="0">
                    <a:pos x="0" y="32"/>
                  </a:cxn>
                  <a:cxn ang="0">
                    <a:pos x="28" y="24"/>
                  </a:cxn>
                  <a:cxn ang="0">
                    <a:pos x="48" y="24"/>
                  </a:cxn>
                  <a:cxn ang="0">
                    <a:pos x="64" y="16"/>
                  </a:cxn>
                  <a:cxn ang="0">
                    <a:pos x="98" y="10"/>
                  </a:cxn>
                  <a:cxn ang="0">
                    <a:pos x="112" y="14"/>
                  </a:cxn>
                  <a:cxn ang="0">
                    <a:pos x="122" y="22"/>
                  </a:cxn>
                  <a:cxn ang="0">
                    <a:pos x="134" y="44"/>
                  </a:cxn>
                  <a:cxn ang="0">
                    <a:pos x="152" y="52"/>
                  </a:cxn>
                  <a:cxn ang="0">
                    <a:pos x="156" y="54"/>
                  </a:cxn>
                  <a:cxn ang="0">
                    <a:pos x="142" y="70"/>
                  </a:cxn>
                  <a:cxn ang="0">
                    <a:pos x="128" y="70"/>
                  </a:cxn>
                  <a:cxn ang="0">
                    <a:pos x="122" y="70"/>
                  </a:cxn>
                  <a:cxn ang="0">
                    <a:pos x="122" y="82"/>
                  </a:cxn>
                  <a:cxn ang="0">
                    <a:pos x="106" y="100"/>
                  </a:cxn>
                  <a:cxn ang="0">
                    <a:pos x="94" y="130"/>
                  </a:cxn>
                  <a:cxn ang="0">
                    <a:pos x="112" y="150"/>
                  </a:cxn>
                  <a:cxn ang="0">
                    <a:pos x="134" y="182"/>
                  </a:cxn>
                  <a:cxn ang="0">
                    <a:pos x="152" y="200"/>
                  </a:cxn>
                  <a:cxn ang="0">
                    <a:pos x="166" y="212"/>
                  </a:cxn>
                  <a:cxn ang="0">
                    <a:pos x="168" y="216"/>
                  </a:cxn>
                  <a:cxn ang="0">
                    <a:pos x="188" y="248"/>
                  </a:cxn>
                  <a:cxn ang="0">
                    <a:pos x="194" y="276"/>
                  </a:cxn>
                  <a:cxn ang="0">
                    <a:pos x="198" y="302"/>
                  </a:cxn>
                  <a:cxn ang="0">
                    <a:pos x="190" y="314"/>
                  </a:cxn>
                  <a:cxn ang="0">
                    <a:pos x="192" y="328"/>
                  </a:cxn>
                  <a:cxn ang="0">
                    <a:pos x="188" y="340"/>
                  </a:cxn>
                  <a:cxn ang="0">
                    <a:pos x="164" y="358"/>
                  </a:cxn>
                  <a:cxn ang="0">
                    <a:pos x="152" y="364"/>
                  </a:cxn>
                  <a:cxn ang="0">
                    <a:pos x="134" y="370"/>
                  </a:cxn>
                  <a:cxn ang="0">
                    <a:pos x="130" y="364"/>
                  </a:cxn>
                  <a:cxn ang="0">
                    <a:pos x="126" y="372"/>
                  </a:cxn>
                  <a:cxn ang="0">
                    <a:pos x="124" y="376"/>
                  </a:cxn>
                  <a:cxn ang="0">
                    <a:pos x="124" y="386"/>
                  </a:cxn>
                  <a:cxn ang="0">
                    <a:pos x="112" y="382"/>
                  </a:cxn>
                  <a:cxn ang="0">
                    <a:pos x="102" y="384"/>
                  </a:cxn>
                  <a:cxn ang="0">
                    <a:pos x="88" y="414"/>
                  </a:cxn>
                  <a:cxn ang="0">
                    <a:pos x="72" y="394"/>
                  </a:cxn>
                  <a:cxn ang="0">
                    <a:pos x="78" y="382"/>
                  </a:cxn>
                  <a:cxn ang="0">
                    <a:pos x="64" y="370"/>
                  </a:cxn>
                  <a:cxn ang="0">
                    <a:pos x="80" y="362"/>
                  </a:cxn>
                  <a:cxn ang="0">
                    <a:pos x="96" y="354"/>
                  </a:cxn>
                  <a:cxn ang="0">
                    <a:pos x="110" y="354"/>
                  </a:cxn>
                  <a:cxn ang="0">
                    <a:pos x="104" y="336"/>
                  </a:cxn>
                </a:cxnLst>
                <a:rect l="0" t="0" r="r" b="b"/>
                <a:pathLst>
                  <a:path w="200" h="422">
                    <a:moveTo>
                      <a:pt x="118" y="336"/>
                    </a:moveTo>
                    <a:lnTo>
                      <a:pt x="118" y="330"/>
                    </a:lnTo>
                    <a:lnTo>
                      <a:pt x="116" y="328"/>
                    </a:lnTo>
                    <a:lnTo>
                      <a:pt x="118" y="328"/>
                    </a:lnTo>
                    <a:lnTo>
                      <a:pt x="124" y="328"/>
                    </a:lnTo>
                    <a:lnTo>
                      <a:pt x="126" y="324"/>
                    </a:lnTo>
                    <a:lnTo>
                      <a:pt x="128" y="324"/>
                    </a:lnTo>
                    <a:lnTo>
                      <a:pt x="130" y="326"/>
                    </a:lnTo>
                    <a:lnTo>
                      <a:pt x="130" y="324"/>
                    </a:lnTo>
                    <a:lnTo>
                      <a:pt x="132" y="324"/>
                    </a:lnTo>
                    <a:lnTo>
                      <a:pt x="138" y="318"/>
                    </a:lnTo>
                    <a:lnTo>
                      <a:pt x="140" y="318"/>
                    </a:lnTo>
                    <a:lnTo>
                      <a:pt x="142" y="318"/>
                    </a:lnTo>
                    <a:lnTo>
                      <a:pt x="144" y="320"/>
                    </a:lnTo>
                    <a:lnTo>
                      <a:pt x="146" y="318"/>
                    </a:lnTo>
                    <a:lnTo>
                      <a:pt x="146" y="316"/>
                    </a:lnTo>
                    <a:lnTo>
                      <a:pt x="148" y="310"/>
                    </a:lnTo>
                    <a:lnTo>
                      <a:pt x="148" y="304"/>
                    </a:lnTo>
                    <a:lnTo>
                      <a:pt x="146" y="302"/>
                    </a:lnTo>
                    <a:lnTo>
                      <a:pt x="146" y="300"/>
                    </a:lnTo>
                    <a:lnTo>
                      <a:pt x="146" y="298"/>
                    </a:lnTo>
                    <a:lnTo>
                      <a:pt x="150" y="288"/>
                    </a:lnTo>
                    <a:lnTo>
                      <a:pt x="150" y="284"/>
                    </a:lnTo>
                    <a:lnTo>
                      <a:pt x="144" y="276"/>
                    </a:lnTo>
                    <a:lnTo>
                      <a:pt x="146" y="276"/>
                    </a:lnTo>
                    <a:lnTo>
                      <a:pt x="146" y="272"/>
                    </a:lnTo>
                    <a:lnTo>
                      <a:pt x="142" y="270"/>
                    </a:lnTo>
                    <a:lnTo>
                      <a:pt x="142" y="266"/>
                    </a:lnTo>
                    <a:lnTo>
                      <a:pt x="142" y="264"/>
                    </a:lnTo>
                    <a:lnTo>
                      <a:pt x="142" y="262"/>
                    </a:lnTo>
                    <a:lnTo>
                      <a:pt x="144" y="258"/>
                    </a:lnTo>
                    <a:lnTo>
                      <a:pt x="146" y="258"/>
                    </a:lnTo>
                    <a:lnTo>
                      <a:pt x="146" y="256"/>
                    </a:lnTo>
                    <a:lnTo>
                      <a:pt x="146" y="246"/>
                    </a:lnTo>
                    <a:lnTo>
                      <a:pt x="146" y="244"/>
                    </a:lnTo>
                    <a:lnTo>
                      <a:pt x="146" y="242"/>
                    </a:lnTo>
                    <a:lnTo>
                      <a:pt x="148" y="240"/>
                    </a:lnTo>
                    <a:lnTo>
                      <a:pt x="150" y="236"/>
                    </a:lnTo>
                    <a:lnTo>
                      <a:pt x="152" y="236"/>
                    </a:lnTo>
                    <a:lnTo>
                      <a:pt x="152" y="234"/>
                    </a:lnTo>
                    <a:lnTo>
                      <a:pt x="146" y="228"/>
                    </a:lnTo>
                    <a:lnTo>
                      <a:pt x="144" y="228"/>
                    </a:lnTo>
                    <a:lnTo>
                      <a:pt x="136" y="220"/>
                    </a:lnTo>
                    <a:lnTo>
                      <a:pt x="138" y="218"/>
                    </a:lnTo>
                    <a:lnTo>
                      <a:pt x="140" y="218"/>
                    </a:lnTo>
                    <a:lnTo>
                      <a:pt x="142" y="216"/>
                    </a:lnTo>
                    <a:lnTo>
                      <a:pt x="144" y="214"/>
                    </a:lnTo>
                    <a:lnTo>
                      <a:pt x="146" y="214"/>
                    </a:lnTo>
                    <a:lnTo>
                      <a:pt x="144" y="212"/>
                    </a:lnTo>
                    <a:lnTo>
                      <a:pt x="142" y="212"/>
                    </a:lnTo>
                    <a:lnTo>
                      <a:pt x="140" y="212"/>
                    </a:lnTo>
                    <a:lnTo>
                      <a:pt x="136" y="208"/>
                    </a:lnTo>
                    <a:lnTo>
                      <a:pt x="136" y="206"/>
                    </a:lnTo>
                    <a:lnTo>
                      <a:pt x="134" y="206"/>
                    </a:lnTo>
                    <a:lnTo>
                      <a:pt x="132" y="206"/>
                    </a:lnTo>
                    <a:lnTo>
                      <a:pt x="132" y="204"/>
                    </a:lnTo>
                    <a:lnTo>
                      <a:pt x="130" y="200"/>
                    </a:lnTo>
                    <a:lnTo>
                      <a:pt x="128" y="200"/>
                    </a:lnTo>
                    <a:lnTo>
                      <a:pt x="126" y="202"/>
                    </a:lnTo>
                    <a:lnTo>
                      <a:pt x="124" y="202"/>
                    </a:lnTo>
                    <a:lnTo>
                      <a:pt x="124" y="200"/>
                    </a:lnTo>
                    <a:lnTo>
                      <a:pt x="120" y="196"/>
                    </a:lnTo>
                    <a:lnTo>
                      <a:pt x="120" y="188"/>
                    </a:lnTo>
                    <a:lnTo>
                      <a:pt x="120" y="186"/>
                    </a:lnTo>
                    <a:lnTo>
                      <a:pt x="118" y="186"/>
                    </a:lnTo>
                    <a:lnTo>
                      <a:pt x="116" y="186"/>
                    </a:lnTo>
                    <a:lnTo>
                      <a:pt x="116" y="184"/>
                    </a:lnTo>
                    <a:lnTo>
                      <a:pt x="112" y="178"/>
                    </a:lnTo>
                    <a:lnTo>
                      <a:pt x="108" y="176"/>
                    </a:lnTo>
                    <a:lnTo>
                      <a:pt x="102" y="170"/>
                    </a:lnTo>
                    <a:lnTo>
                      <a:pt x="100" y="168"/>
                    </a:lnTo>
                    <a:lnTo>
                      <a:pt x="100" y="166"/>
                    </a:lnTo>
                    <a:lnTo>
                      <a:pt x="98" y="166"/>
                    </a:lnTo>
                    <a:lnTo>
                      <a:pt x="96" y="162"/>
                    </a:lnTo>
                    <a:lnTo>
                      <a:pt x="94" y="158"/>
                    </a:lnTo>
                    <a:lnTo>
                      <a:pt x="94" y="156"/>
                    </a:lnTo>
                    <a:lnTo>
                      <a:pt x="92" y="152"/>
                    </a:lnTo>
                    <a:lnTo>
                      <a:pt x="88" y="152"/>
                    </a:lnTo>
                    <a:lnTo>
                      <a:pt x="86" y="152"/>
                    </a:lnTo>
                    <a:lnTo>
                      <a:pt x="86" y="150"/>
                    </a:lnTo>
                    <a:lnTo>
                      <a:pt x="84" y="150"/>
                    </a:lnTo>
                    <a:lnTo>
                      <a:pt x="80" y="144"/>
                    </a:lnTo>
                    <a:lnTo>
                      <a:pt x="80" y="142"/>
                    </a:lnTo>
                    <a:lnTo>
                      <a:pt x="82" y="140"/>
                    </a:lnTo>
                    <a:lnTo>
                      <a:pt x="82" y="138"/>
                    </a:lnTo>
                    <a:lnTo>
                      <a:pt x="80" y="136"/>
                    </a:lnTo>
                    <a:lnTo>
                      <a:pt x="78" y="136"/>
                    </a:lnTo>
                    <a:lnTo>
                      <a:pt x="76" y="136"/>
                    </a:lnTo>
                    <a:lnTo>
                      <a:pt x="70" y="134"/>
                    </a:lnTo>
                    <a:lnTo>
                      <a:pt x="58" y="124"/>
                    </a:lnTo>
                    <a:lnTo>
                      <a:pt x="56" y="124"/>
                    </a:lnTo>
                    <a:lnTo>
                      <a:pt x="54" y="122"/>
                    </a:lnTo>
                    <a:lnTo>
                      <a:pt x="50" y="122"/>
                    </a:lnTo>
                    <a:lnTo>
                      <a:pt x="48" y="118"/>
                    </a:lnTo>
                    <a:lnTo>
                      <a:pt x="52" y="114"/>
                    </a:lnTo>
                    <a:lnTo>
                      <a:pt x="52" y="112"/>
                    </a:lnTo>
                    <a:lnTo>
                      <a:pt x="52" y="110"/>
                    </a:lnTo>
                    <a:lnTo>
                      <a:pt x="50" y="108"/>
                    </a:lnTo>
                    <a:lnTo>
                      <a:pt x="52" y="108"/>
                    </a:lnTo>
                    <a:lnTo>
                      <a:pt x="54" y="108"/>
                    </a:lnTo>
                    <a:lnTo>
                      <a:pt x="56" y="108"/>
                    </a:lnTo>
                    <a:lnTo>
                      <a:pt x="62" y="108"/>
                    </a:lnTo>
                    <a:lnTo>
                      <a:pt x="62" y="110"/>
                    </a:lnTo>
                    <a:lnTo>
                      <a:pt x="64" y="110"/>
                    </a:lnTo>
                    <a:lnTo>
                      <a:pt x="68" y="110"/>
                    </a:lnTo>
                    <a:lnTo>
                      <a:pt x="68" y="108"/>
                    </a:lnTo>
                    <a:lnTo>
                      <a:pt x="70" y="106"/>
                    </a:lnTo>
                    <a:lnTo>
                      <a:pt x="72" y="106"/>
                    </a:lnTo>
                    <a:lnTo>
                      <a:pt x="74" y="104"/>
                    </a:lnTo>
                    <a:lnTo>
                      <a:pt x="72" y="104"/>
                    </a:lnTo>
                    <a:lnTo>
                      <a:pt x="72" y="102"/>
                    </a:lnTo>
                    <a:lnTo>
                      <a:pt x="72" y="100"/>
                    </a:lnTo>
                    <a:lnTo>
                      <a:pt x="76" y="100"/>
                    </a:lnTo>
                    <a:lnTo>
                      <a:pt x="76" y="96"/>
                    </a:lnTo>
                    <a:lnTo>
                      <a:pt x="76" y="94"/>
                    </a:lnTo>
                    <a:lnTo>
                      <a:pt x="70" y="90"/>
                    </a:lnTo>
                    <a:lnTo>
                      <a:pt x="70" y="88"/>
                    </a:lnTo>
                    <a:lnTo>
                      <a:pt x="66" y="88"/>
                    </a:lnTo>
                    <a:lnTo>
                      <a:pt x="64" y="88"/>
                    </a:lnTo>
                    <a:lnTo>
                      <a:pt x="62" y="86"/>
                    </a:lnTo>
                    <a:lnTo>
                      <a:pt x="60" y="86"/>
                    </a:lnTo>
                    <a:lnTo>
                      <a:pt x="68" y="82"/>
                    </a:lnTo>
                    <a:lnTo>
                      <a:pt x="68" y="80"/>
                    </a:lnTo>
                    <a:lnTo>
                      <a:pt x="66" y="80"/>
                    </a:lnTo>
                    <a:lnTo>
                      <a:pt x="64" y="78"/>
                    </a:lnTo>
                    <a:lnTo>
                      <a:pt x="58" y="72"/>
                    </a:lnTo>
                    <a:lnTo>
                      <a:pt x="56" y="72"/>
                    </a:lnTo>
                    <a:lnTo>
                      <a:pt x="52" y="70"/>
                    </a:lnTo>
                    <a:lnTo>
                      <a:pt x="44" y="76"/>
                    </a:lnTo>
                    <a:lnTo>
                      <a:pt x="44" y="78"/>
                    </a:lnTo>
                    <a:lnTo>
                      <a:pt x="42" y="80"/>
                    </a:lnTo>
                    <a:lnTo>
                      <a:pt x="40" y="78"/>
                    </a:lnTo>
                    <a:lnTo>
                      <a:pt x="32" y="76"/>
                    </a:lnTo>
                    <a:lnTo>
                      <a:pt x="28" y="76"/>
                    </a:lnTo>
                    <a:lnTo>
                      <a:pt x="28" y="74"/>
                    </a:lnTo>
                    <a:lnTo>
                      <a:pt x="26" y="72"/>
                    </a:lnTo>
                    <a:lnTo>
                      <a:pt x="24" y="68"/>
                    </a:lnTo>
                    <a:lnTo>
                      <a:pt x="20" y="64"/>
                    </a:lnTo>
                    <a:lnTo>
                      <a:pt x="20" y="62"/>
                    </a:lnTo>
                    <a:lnTo>
                      <a:pt x="20" y="56"/>
                    </a:lnTo>
                    <a:lnTo>
                      <a:pt x="22" y="54"/>
                    </a:lnTo>
                    <a:lnTo>
                      <a:pt x="22" y="48"/>
                    </a:lnTo>
                    <a:lnTo>
                      <a:pt x="18" y="48"/>
                    </a:lnTo>
                    <a:lnTo>
                      <a:pt x="16" y="50"/>
                    </a:lnTo>
                    <a:lnTo>
                      <a:pt x="14" y="50"/>
                    </a:lnTo>
                    <a:lnTo>
                      <a:pt x="12" y="48"/>
                    </a:lnTo>
                    <a:lnTo>
                      <a:pt x="14" y="48"/>
                    </a:lnTo>
                    <a:lnTo>
                      <a:pt x="12" y="42"/>
                    </a:lnTo>
                    <a:lnTo>
                      <a:pt x="10" y="42"/>
                    </a:lnTo>
                    <a:lnTo>
                      <a:pt x="6" y="36"/>
                    </a:lnTo>
                    <a:lnTo>
                      <a:pt x="4" y="34"/>
                    </a:lnTo>
                    <a:lnTo>
                      <a:pt x="2" y="34"/>
                    </a:lnTo>
                    <a:lnTo>
                      <a:pt x="0" y="32"/>
                    </a:lnTo>
                    <a:lnTo>
                      <a:pt x="0" y="30"/>
                    </a:lnTo>
                    <a:lnTo>
                      <a:pt x="6" y="22"/>
                    </a:lnTo>
                    <a:lnTo>
                      <a:pt x="8" y="18"/>
                    </a:lnTo>
                    <a:lnTo>
                      <a:pt x="10" y="18"/>
                    </a:lnTo>
                    <a:lnTo>
                      <a:pt x="18" y="24"/>
                    </a:lnTo>
                    <a:lnTo>
                      <a:pt x="20" y="24"/>
                    </a:lnTo>
                    <a:lnTo>
                      <a:pt x="20" y="26"/>
                    </a:lnTo>
                    <a:lnTo>
                      <a:pt x="24" y="28"/>
                    </a:lnTo>
                    <a:lnTo>
                      <a:pt x="28" y="24"/>
                    </a:lnTo>
                    <a:lnTo>
                      <a:pt x="32" y="18"/>
                    </a:lnTo>
                    <a:lnTo>
                      <a:pt x="34" y="18"/>
                    </a:lnTo>
                    <a:lnTo>
                      <a:pt x="36" y="22"/>
                    </a:lnTo>
                    <a:lnTo>
                      <a:pt x="36" y="24"/>
                    </a:lnTo>
                    <a:lnTo>
                      <a:pt x="38" y="24"/>
                    </a:lnTo>
                    <a:lnTo>
                      <a:pt x="38" y="22"/>
                    </a:lnTo>
                    <a:lnTo>
                      <a:pt x="38" y="20"/>
                    </a:lnTo>
                    <a:lnTo>
                      <a:pt x="40" y="18"/>
                    </a:lnTo>
                    <a:lnTo>
                      <a:pt x="48" y="24"/>
                    </a:lnTo>
                    <a:lnTo>
                      <a:pt x="50" y="26"/>
                    </a:lnTo>
                    <a:lnTo>
                      <a:pt x="50" y="24"/>
                    </a:lnTo>
                    <a:lnTo>
                      <a:pt x="52" y="20"/>
                    </a:lnTo>
                    <a:lnTo>
                      <a:pt x="52" y="18"/>
                    </a:lnTo>
                    <a:lnTo>
                      <a:pt x="58" y="16"/>
                    </a:lnTo>
                    <a:lnTo>
                      <a:pt x="58" y="18"/>
                    </a:lnTo>
                    <a:lnTo>
                      <a:pt x="60" y="20"/>
                    </a:lnTo>
                    <a:lnTo>
                      <a:pt x="62" y="18"/>
                    </a:lnTo>
                    <a:lnTo>
                      <a:pt x="64" y="16"/>
                    </a:lnTo>
                    <a:lnTo>
                      <a:pt x="70" y="16"/>
                    </a:lnTo>
                    <a:lnTo>
                      <a:pt x="74" y="12"/>
                    </a:lnTo>
                    <a:lnTo>
                      <a:pt x="72" y="8"/>
                    </a:lnTo>
                    <a:lnTo>
                      <a:pt x="76" y="6"/>
                    </a:lnTo>
                    <a:lnTo>
                      <a:pt x="88" y="0"/>
                    </a:lnTo>
                    <a:lnTo>
                      <a:pt x="88" y="2"/>
                    </a:lnTo>
                    <a:lnTo>
                      <a:pt x="94" y="6"/>
                    </a:lnTo>
                    <a:lnTo>
                      <a:pt x="94" y="8"/>
                    </a:lnTo>
                    <a:lnTo>
                      <a:pt x="98" y="10"/>
                    </a:lnTo>
                    <a:lnTo>
                      <a:pt x="100" y="10"/>
                    </a:lnTo>
                    <a:lnTo>
                      <a:pt x="100" y="12"/>
                    </a:lnTo>
                    <a:lnTo>
                      <a:pt x="102" y="14"/>
                    </a:lnTo>
                    <a:lnTo>
                      <a:pt x="104" y="12"/>
                    </a:lnTo>
                    <a:lnTo>
                      <a:pt x="106" y="12"/>
                    </a:lnTo>
                    <a:lnTo>
                      <a:pt x="108" y="12"/>
                    </a:lnTo>
                    <a:lnTo>
                      <a:pt x="110" y="12"/>
                    </a:lnTo>
                    <a:lnTo>
                      <a:pt x="112" y="12"/>
                    </a:lnTo>
                    <a:lnTo>
                      <a:pt x="112" y="14"/>
                    </a:lnTo>
                    <a:lnTo>
                      <a:pt x="112" y="16"/>
                    </a:lnTo>
                    <a:lnTo>
                      <a:pt x="114" y="16"/>
                    </a:lnTo>
                    <a:lnTo>
                      <a:pt x="118" y="14"/>
                    </a:lnTo>
                    <a:lnTo>
                      <a:pt x="118" y="12"/>
                    </a:lnTo>
                    <a:lnTo>
                      <a:pt x="124" y="14"/>
                    </a:lnTo>
                    <a:lnTo>
                      <a:pt x="126" y="16"/>
                    </a:lnTo>
                    <a:lnTo>
                      <a:pt x="126" y="18"/>
                    </a:lnTo>
                    <a:lnTo>
                      <a:pt x="124" y="22"/>
                    </a:lnTo>
                    <a:lnTo>
                      <a:pt x="122" y="22"/>
                    </a:lnTo>
                    <a:lnTo>
                      <a:pt x="120" y="26"/>
                    </a:lnTo>
                    <a:lnTo>
                      <a:pt x="120" y="28"/>
                    </a:lnTo>
                    <a:lnTo>
                      <a:pt x="120" y="30"/>
                    </a:lnTo>
                    <a:lnTo>
                      <a:pt x="122" y="30"/>
                    </a:lnTo>
                    <a:lnTo>
                      <a:pt x="124" y="34"/>
                    </a:lnTo>
                    <a:lnTo>
                      <a:pt x="124" y="40"/>
                    </a:lnTo>
                    <a:lnTo>
                      <a:pt x="132" y="42"/>
                    </a:lnTo>
                    <a:lnTo>
                      <a:pt x="134" y="42"/>
                    </a:lnTo>
                    <a:lnTo>
                      <a:pt x="134" y="44"/>
                    </a:lnTo>
                    <a:lnTo>
                      <a:pt x="132" y="44"/>
                    </a:lnTo>
                    <a:lnTo>
                      <a:pt x="132" y="46"/>
                    </a:lnTo>
                    <a:lnTo>
                      <a:pt x="138" y="48"/>
                    </a:lnTo>
                    <a:lnTo>
                      <a:pt x="140" y="48"/>
                    </a:lnTo>
                    <a:lnTo>
                      <a:pt x="142" y="50"/>
                    </a:lnTo>
                    <a:lnTo>
                      <a:pt x="142" y="52"/>
                    </a:lnTo>
                    <a:lnTo>
                      <a:pt x="146" y="52"/>
                    </a:lnTo>
                    <a:lnTo>
                      <a:pt x="150" y="52"/>
                    </a:lnTo>
                    <a:lnTo>
                      <a:pt x="152" y="52"/>
                    </a:lnTo>
                    <a:lnTo>
                      <a:pt x="152" y="50"/>
                    </a:lnTo>
                    <a:lnTo>
                      <a:pt x="156" y="50"/>
                    </a:lnTo>
                    <a:lnTo>
                      <a:pt x="158" y="52"/>
                    </a:lnTo>
                    <a:lnTo>
                      <a:pt x="158" y="54"/>
                    </a:lnTo>
                    <a:lnTo>
                      <a:pt x="160" y="54"/>
                    </a:lnTo>
                    <a:lnTo>
                      <a:pt x="162" y="56"/>
                    </a:lnTo>
                    <a:lnTo>
                      <a:pt x="158" y="58"/>
                    </a:lnTo>
                    <a:lnTo>
                      <a:pt x="158" y="54"/>
                    </a:lnTo>
                    <a:lnTo>
                      <a:pt x="156" y="54"/>
                    </a:lnTo>
                    <a:lnTo>
                      <a:pt x="154" y="56"/>
                    </a:lnTo>
                    <a:lnTo>
                      <a:pt x="148" y="62"/>
                    </a:lnTo>
                    <a:lnTo>
                      <a:pt x="146" y="62"/>
                    </a:lnTo>
                    <a:lnTo>
                      <a:pt x="146" y="60"/>
                    </a:lnTo>
                    <a:lnTo>
                      <a:pt x="144" y="60"/>
                    </a:lnTo>
                    <a:lnTo>
                      <a:pt x="142" y="62"/>
                    </a:lnTo>
                    <a:lnTo>
                      <a:pt x="142" y="64"/>
                    </a:lnTo>
                    <a:lnTo>
                      <a:pt x="142" y="66"/>
                    </a:lnTo>
                    <a:lnTo>
                      <a:pt x="142" y="70"/>
                    </a:lnTo>
                    <a:lnTo>
                      <a:pt x="140" y="70"/>
                    </a:lnTo>
                    <a:lnTo>
                      <a:pt x="138" y="70"/>
                    </a:lnTo>
                    <a:lnTo>
                      <a:pt x="136" y="72"/>
                    </a:lnTo>
                    <a:lnTo>
                      <a:pt x="134" y="72"/>
                    </a:lnTo>
                    <a:lnTo>
                      <a:pt x="134" y="70"/>
                    </a:lnTo>
                    <a:lnTo>
                      <a:pt x="136" y="68"/>
                    </a:lnTo>
                    <a:lnTo>
                      <a:pt x="132" y="72"/>
                    </a:lnTo>
                    <a:lnTo>
                      <a:pt x="130" y="70"/>
                    </a:lnTo>
                    <a:lnTo>
                      <a:pt x="128" y="70"/>
                    </a:lnTo>
                    <a:lnTo>
                      <a:pt x="130" y="70"/>
                    </a:lnTo>
                    <a:lnTo>
                      <a:pt x="130" y="72"/>
                    </a:lnTo>
                    <a:lnTo>
                      <a:pt x="128" y="74"/>
                    </a:lnTo>
                    <a:lnTo>
                      <a:pt x="128" y="72"/>
                    </a:lnTo>
                    <a:lnTo>
                      <a:pt x="126" y="72"/>
                    </a:lnTo>
                    <a:lnTo>
                      <a:pt x="126" y="70"/>
                    </a:lnTo>
                    <a:lnTo>
                      <a:pt x="128" y="70"/>
                    </a:lnTo>
                    <a:lnTo>
                      <a:pt x="126" y="70"/>
                    </a:lnTo>
                    <a:lnTo>
                      <a:pt x="122" y="70"/>
                    </a:lnTo>
                    <a:lnTo>
                      <a:pt x="124" y="70"/>
                    </a:lnTo>
                    <a:lnTo>
                      <a:pt x="124" y="72"/>
                    </a:lnTo>
                    <a:lnTo>
                      <a:pt x="126" y="72"/>
                    </a:lnTo>
                    <a:lnTo>
                      <a:pt x="124" y="74"/>
                    </a:lnTo>
                    <a:lnTo>
                      <a:pt x="124" y="76"/>
                    </a:lnTo>
                    <a:lnTo>
                      <a:pt x="126" y="78"/>
                    </a:lnTo>
                    <a:lnTo>
                      <a:pt x="122" y="82"/>
                    </a:lnTo>
                    <a:lnTo>
                      <a:pt x="122" y="80"/>
                    </a:lnTo>
                    <a:lnTo>
                      <a:pt x="122" y="82"/>
                    </a:lnTo>
                    <a:lnTo>
                      <a:pt x="120" y="90"/>
                    </a:lnTo>
                    <a:lnTo>
                      <a:pt x="118" y="90"/>
                    </a:lnTo>
                    <a:lnTo>
                      <a:pt x="120" y="90"/>
                    </a:lnTo>
                    <a:lnTo>
                      <a:pt x="120" y="92"/>
                    </a:lnTo>
                    <a:lnTo>
                      <a:pt x="118" y="94"/>
                    </a:lnTo>
                    <a:lnTo>
                      <a:pt x="110" y="100"/>
                    </a:lnTo>
                    <a:lnTo>
                      <a:pt x="108" y="100"/>
                    </a:lnTo>
                    <a:lnTo>
                      <a:pt x="108" y="98"/>
                    </a:lnTo>
                    <a:lnTo>
                      <a:pt x="106" y="100"/>
                    </a:lnTo>
                    <a:lnTo>
                      <a:pt x="104" y="102"/>
                    </a:lnTo>
                    <a:lnTo>
                      <a:pt x="102" y="106"/>
                    </a:lnTo>
                    <a:lnTo>
                      <a:pt x="100" y="110"/>
                    </a:lnTo>
                    <a:lnTo>
                      <a:pt x="100" y="112"/>
                    </a:lnTo>
                    <a:lnTo>
                      <a:pt x="100" y="114"/>
                    </a:lnTo>
                    <a:lnTo>
                      <a:pt x="100" y="120"/>
                    </a:lnTo>
                    <a:lnTo>
                      <a:pt x="98" y="122"/>
                    </a:lnTo>
                    <a:lnTo>
                      <a:pt x="94" y="128"/>
                    </a:lnTo>
                    <a:lnTo>
                      <a:pt x="94" y="130"/>
                    </a:lnTo>
                    <a:lnTo>
                      <a:pt x="94" y="132"/>
                    </a:lnTo>
                    <a:lnTo>
                      <a:pt x="96" y="132"/>
                    </a:lnTo>
                    <a:lnTo>
                      <a:pt x="98" y="134"/>
                    </a:lnTo>
                    <a:lnTo>
                      <a:pt x="98" y="138"/>
                    </a:lnTo>
                    <a:lnTo>
                      <a:pt x="100" y="138"/>
                    </a:lnTo>
                    <a:lnTo>
                      <a:pt x="100" y="140"/>
                    </a:lnTo>
                    <a:lnTo>
                      <a:pt x="108" y="150"/>
                    </a:lnTo>
                    <a:lnTo>
                      <a:pt x="110" y="150"/>
                    </a:lnTo>
                    <a:lnTo>
                      <a:pt x="112" y="150"/>
                    </a:lnTo>
                    <a:lnTo>
                      <a:pt x="112" y="152"/>
                    </a:lnTo>
                    <a:lnTo>
                      <a:pt x="118" y="156"/>
                    </a:lnTo>
                    <a:lnTo>
                      <a:pt x="118" y="158"/>
                    </a:lnTo>
                    <a:lnTo>
                      <a:pt x="118" y="160"/>
                    </a:lnTo>
                    <a:lnTo>
                      <a:pt x="118" y="162"/>
                    </a:lnTo>
                    <a:lnTo>
                      <a:pt x="116" y="164"/>
                    </a:lnTo>
                    <a:lnTo>
                      <a:pt x="128" y="178"/>
                    </a:lnTo>
                    <a:lnTo>
                      <a:pt x="130" y="180"/>
                    </a:lnTo>
                    <a:lnTo>
                      <a:pt x="134" y="182"/>
                    </a:lnTo>
                    <a:lnTo>
                      <a:pt x="136" y="182"/>
                    </a:lnTo>
                    <a:lnTo>
                      <a:pt x="136" y="188"/>
                    </a:lnTo>
                    <a:lnTo>
                      <a:pt x="138" y="188"/>
                    </a:lnTo>
                    <a:lnTo>
                      <a:pt x="146" y="196"/>
                    </a:lnTo>
                    <a:lnTo>
                      <a:pt x="144" y="196"/>
                    </a:lnTo>
                    <a:lnTo>
                      <a:pt x="146" y="196"/>
                    </a:lnTo>
                    <a:lnTo>
                      <a:pt x="146" y="198"/>
                    </a:lnTo>
                    <a:lnTo>
                      <a:pt x="148" y="198"/>
                    </a:lnTo>
                    <a:lnTo>
                      <a:pt x="152" y="200"/>
                    </a:lnTo>
                    <a:lnTo>
                      <a:pt x="154" y="204"/>
                    </a:lnTo>
                    <a:lnTo>
                      <a:pt x="154" y="206"/>
                    </a:lnTo>
                    <a:lnTo>
                      <a:pt x="158" y="206"/>
                    </a:lnTo>
                    <a:lnTo>
                      <a:pt x="158" y="204"/>
                    </a:lnTo>
                    <a:lnTo>
                      <a:pt x="160" y="206"/>
                    </a:lnTo>
                    <a:lnTo>
                      <a:pt x="162" y="206"/>
                    </a:lnTo>
                    <a:lnTo>
                      <a:pt x="164" y="208"/>
                    </a:lnTo>
                    <a:lnTo>
                      <a:pt x="164" y="210"/>
                    </a:lnTo>
                    <a:lnTo>
                      <a:pt x="166" y="212"/>
                    </a:lnTo>
                    <a:lnTo>
                      <a:pt x="164" y="214"/>
                    </a:lnTo>
                    <a:lnTo>
                      <a:pt x="166" y="214"/>
                    </a:lnTo>
                    <a:lnTo>
                      <a:pt x="166" y="210"/>
                    </a:lnTo>
                    <a:lnTo>
                      <a:pt x="168" y="210"/>
                    </a:lnTo>
                    <a:lnTo>
                      <a:pt x="170" y="210"/>
                    </a:lnTo>
                    <a:lnTo>
                      <a:pt x="168" y="212"/>
                    </a:lnTo>
                    <a:lnTo>
                      <a:pt x="166" y="212"/>
                    </a:lnTo>
                    <a:lnTo>
                      <a:pt x="168" y="214"/>
                    </a:lnTo>
                    <a:lnTo>
                      <a:pt x="168" y="216"/>
                    </a:lnTo>
                    <a:lnTo>
                      <a:pt x="176" y="228"/>
                    </a:lnTo>
                    <a:lnTo>
                      <a:pt x="180" y="232"/>
                    </a:lnTo>
                    <a:lnTo>
                      <a:pt x="182" y="230"/>
                    </a:lnTo>
                    <a:lnTo>
                      <a:pt x="184" y="234"/>
                    </a:lnTo>
                    <a:lnTo>
                      <a:pt x="184" y="242"/>
                    </a:lnTo>
                    <a:lnTo>
                      <a:pt x="186" y="244"/>
                    </a:lnTo>
                    <a:lnTo>
                      <a:pt x="186" y="246"/>
                    </a:lnTo>
                    <a:lnTo>
                      <a:pt x="188" y="246"/>
                    </a:lnTo>
                    <a:lnTo>
                      <a:pt x="188" y="248"/>
                    </a:lnTo>
                    <a:lnTo>
                      <a:pt x="190" y="252"/>
                    </a:lnTo>
                    <a:lnTo>
                      <a:pt x="188" y="252"/>
                    </a:lnTo>
                    <a:lnTo>
                      <a:pt x="188" y="256"/>
                    </a:lnTo>
                    <a:lnTo>
                      <a:pt x="192" y="262"/>
                    </a:lnTo>
                    <a:lnTo>
                      <a:pt x="192" y="268"/>
                    </a:lnTo>
                    <a:lnTo>
                      <a:pt x="194" y="270"/>
                    </a:lnTo>
                    <a:lnTo>
                      <a:pt x="194" y="278"/>
                    </a:lnTo>
                    <a:lnTo>
                      <a:pt x="194" y="274"/>
                    </a:lnTo>
                    <a:lnTo>
                      <a:pt x="194" y="276"/>
                    </a:lnTo>
                    <a:lnTo>
                      <a:pt x="194" y="282"/>
                    </a:lnTo>
                    <a:lnTo>
                      <a:pt x="194" y="284"/>
                    </a:lnTo>
                    <a:lnTo>
                      <a:pt x="194" y="286"/>
                    </a:lnTo>
                    <a:lnTo>
                      <a:pt x="194" y="294"/>
                    </a:lnTo>
                    <a:lnTo>
                      <a:pt x="198" y="298"/>
                    </a:lnTo>
                    <a:lnTo>
                      <a:pt x="198" y="300"/>
                    </a:lnTo>
                    <a:lnTo>
                      <a:pt x="200" y="302"/>
                    </a:lnTo>
                    <a:lnTo>
                      <a:pt x="198" y="304"/>
                    </a:lnTo>
                    <a:lnTo>
                      <a:pt x="198" y="302"/>
                    </a:lnTo>
                    <a:lnTo>
                      <a:pt x="194" y="308"/>
                    </a:lnTo>
                    <a:lnTo>
                      <a:pt x="192" y="310"/>
                    </a:lnTo>
                    <a:lnTo>
                      <a:pt x="192" y="312"/>
                    </a:lnTo>
                    <a:lnTo>
                      <a:pt x="194" y="312"/>
                    </a:lnTo>
                    <a:lnTo>
                      <a:pt x="194" y="314"/>
                    </a:lnTo>
                    <a:lnTo>
                      <a:pt x="196" y="316"/>
                    </a:lnTo>
                    <a:lnTo>
                      <a:pt x="194" y="316"/>
                    </a:lnTo>
                    <a:lnTo>
                      <a:pt x="192" y="314"/>
                    </a:lnTo>
                    <a:lnTo>
                      <a:pt x="190" y="314"/>
                    </a:lnTo>
                    <a:lnTo>
                      <a:pt x="192" y="316"/>
                    </a:lnTo>
                    <a:lnTo>
                      <a:pt x="194" y="318"/>
                    </a:lnTo>
                    <a:lnTo>
                      <a:pt x="192" y="320"/>
                    </a:lnTo>
                    <a:lnTo>
                      <a:pt x="192" y="324"/>
                    </a:lnTo>
                    <a:lnTo>
                      <a:pt x="194" y="330"/>
                    </a:lnTo>
                    <a:lnTo>
                      <a:pt x="194" y="328"/>
                    </a:lnTo>
                    <a:lnTo>
                      <a:pt x="192" y="324"/>
                    </a:lnTo>
                    <a:lnTo>
                      <a:pt x="192" y="326"/>
                    </a:lnTo>
                    <a:lnTo>
                      <a:pt x="192" y="328"/>
                    </a:lnTo>
                    <a:lnTo>
                      <a:pt x="192" y="330"/>
                    </a:lnTo>
                    <a:lnTo>
                      <a:pt x="190" y="330"/>
                    </a:lnTo>
                    <a:lnTo>
                      <a:pt x="190" y="332"/>
                    </a:lnTo>
                    <a:lnTo>
                      <a:pt x="192" y="332"/>
                    </a:lnTo>
                    <a:lnTo>
                      <a:pt x="194" y="334"/>
                    </a:lnTo>
                    <a:lnTo>
                      <a:pt x="192" y="334"/>
                    </a:lnTo>
                    <a:lnTo>
                      <a:pt x="190" y="340"/>
                    </a:lnTo>
                    <a:lnTo>
                      <a:pt x="188" y="338"/>
                    </a:lnTo>
                    <a:lnTo>
                      <a:pt x="188" y="340"/>
                    </a:lnTo>
                    <a:lnTo>
                      <a:pt x="188" y="344"/>
                    </a:lnTo>
                    <a:lnTo>
                      <a:pt x="186" y="346"/>
                    </a:lnTo>
                    <a:lnTo>
                      <a:pt x="184" y="346"/>
                    </a:lnTo>
                    <a:lnTo>
                      <a:pt x="182" y="346"/>
                    </a:lnTo>
                    <a:lnTo>
                      <a:pt x="180" y="346"/>
                    </a:lnTo>
                    <a:lnTo>
                      <a:pt x="178" y="350"/>
                    </a:lnTo>
                    <a:lnTo>
                      <a:pt x="176" y="350"/>
                    </a:lnTo>
                    <a:lnTo>
                      <a:pt x="166" y="356"/>
                    </a:lnTo>
                    <a:lnTo>
                      <a:pt x="164" y="358"/>
                    </a:lnTo>
                    <a:lnTo>
                      <a:pt x="162" y="358"/>
                    </a:lnTo>
                    <a:lnTo>
                      <a:pt x="160" y="358"/>
                    </a:lnTo>
                    <a:lnTo>
                      <a:pt x="160" y="362"/>
                    </a:lnTo>
                    <a:lnTo>
                      <a:pt x="160" y="364"/>
                    </a:lnTo>
                    <a:lnTo>
                      <a:pt x="158" y="364"/>
                    </a:lnTo>
                    <a:lnTo>
                      <a:pt x="158" y="362"/>
                    </a:lnTo>
                    <a:lnTo>
                      <a:pt x="156" y="364"/>
                    </a:lnTo>
                    <a:lnTo>
                      <a:pt x="154" y="364"/>
                    </a:lnTo>
                    <a:lnTo>
                      <a:pt x="152" y="364"/>
                    </a:lnTo>
                    <a:lnTo>
                      <a:pt x="148" y="366"/>
                    </a:lnTo>
                    <a:lnTo>
                      <a:pt x="146" y="368"/>
                    </a:lnTo>
                    <a:lnTo>
                      <a:pt x="146" y="370"/>
                    </a:lnTo>
                    <a:lnTo>
                      <a:pt x="144" y="370"/>
                    </a:lnTo>
                    <a:lnTo>
                      <a:pt x="140" y="370"/>
                    </a:lnTo>
                    <a:lnTo>
                      <a:pt x="140" y="372"/>
                    </a:lnTo>
                    <a:lnTo>
                      <a:pt x="138" y="370"/>
                    </a:lnTo>
                    <a:lnTo>
                      <a:pt x="136" y="370"/>
                    </a:lnTo>
                    <a:lnTo>
                      <a:pt x="134" y="370"/>
                    </a:lnTo>
                    <a:lnTo>
                      <a:pt x="134" y="368"/>
                    </a:lnTo>
                    <a:lnTo>
                      <a:pt x="132" y="366"/>
                    </a:lnTo>
                    <a:lnTo>
                      <a:pt x="132" y="364"/>
                    </a:lnTo>
                    <a:lnTo>
                      <a:pt x="132" y="368"/>
                    </a:lnTo>
                    <a:lnTo>
                      <a:pt x="132" y="366"/>
                    </a:lnTo>
                    <a:lnTo>
                      <a:pt x="132" y="370"/>
                    </a:lnTo>
                    <a:lnTo>
                      <a:pt x="130" y="368"/>
                    </a:lnTo>
                    <a:lnTo>
                      <a:pt x="130" y="366"/>
                    </a:lnTo>
                    <a:lnTo>
                      <a:pt x="130" y="364"/>
                    </a:lnTo>
                    <a:lnTo>
                      <a:pt x="126" y="364"/>
                    </a:lnTo>
                    <a:lnTo>
                      <a:pt x="124" y="364"/>
                    </a:lnTo>
                    <a:lnTo>
                      <a:pt x="126" y="364"/>
                    </a:lnTo>
                    <a:lnTo>
                      <a:pt x="126" y="366"/>
                    </a:lnTo>
                    <a:lnTo>
                      <a:pt x="124" y="368"/>
                    </a:lnTo>
                    <a:lnTo>
                      <a:pt x="124" y="370"/>
                    </a:lnTo>
                    <a:lnTo>
                      <a:pt x="122" y="370"/>
                    </a:lnTo>
                    <a:lnTo>
                      <a:pt x="124" y="370"/>
                    </a:lnTo>
                    <a:lnTo>
                      <a:pt x="126" y="372"/>
                    </a:lnTo>
                    <a:lnTo>
                      <a:pt x="126" y="376"/>
                    </a:lnTo>
                    <a:lnTo>
                      <a:pt x="124" y="374"/>
                    </a:lnTo>
                    <a:lnTo>
                      <a:pt x="122" y="376"/>
                    </a:lnTo>
                    <a:lnTo>
                      <a:pt x="120" y="374"/>
                    </a:lnTo>
                    <a:lnTo>
                      <a:pt x="116" y="374"/>
                    </a:lnTo>
                    <a:lnTo>
                      <a:pt x="118" y="376"/>
                    </a:lnTo>
                    <a:lnTo>
                      <a:pt x="120" y="376"/>
                    </a:lnTo>
                    <a:lnTo>
                      <a:pt x="122" y="376"/>
                    </a:lnTo>
                    <a:lnTo>
                      <a:pt x="124" y="376"/>
                    </a:lnTo>
                    <a:lnTo>
                      <a:pt x="126" y="378"/>
                    </a:lnTo>
                    <a:lnTo>
                      <a:pt x="126" y="380"/>
                    </a:lnTo>
                    <a:lnTo>
                      <a:pt x="122" y="384"/>
                    </a:lnTo>
                    <a:lnTo>
                      <a:pt x="118" y="382"/>
                    </a:lnTo>
                    <a:lnTo>
                      <a:pt x="116" y="378"/>
                    </a:lnTo>
                    <a:lnTo>
                      <a:pt x="114" y="376"/>
                    </a:lnTo>
                    <a:lnTo>
                      <a:pt x="112" y="376"/>
                    </a:lnTo>
                    <a:lnTo>
                      <a:pt x="118" y="382"/>
                    </a:lnTo>
                    <a:lnTo>
                      <a:pt x="124" y="386"/>
                    </a:lnTo>
                    <a:lnTo>
                      <a:pt x="124" y="388"/>
                    </a:lnTo>
                    <a:lnTo>
                      <a:pt x="122" y="388"/>
                    </a:lnTo>
                    <a:lnTo>
                      <a:pt x="112" y="382"/>
                    </a:lnTo>
                    <a:lnTo>
                      <a:pt x="112" y="380"/>
                    </a:lnTo>
                    <a:lnTo>
                      <a:pt x="112" y="378"/>
                    </a:lnTo>
                    <a:lnTo>
                      <a:pt x="110" y="378"/>
                    </a:lnTo>
                    <a:lnTo>
                      <a:pt x="110" y="376"/>
                    </a:lnTo>
                    <a:lnTo>
                      <a:pt x="108" y="376"/>
                    </a:lnTo>
                    <a:lnTo>
                      <a:pt x="112" y="382"/>
                    </a:lnTo>
                    <a:lnTo>
                      <a:pt x="114" y="382"/>
                    </a:lnTo>
                    <a:lnTo>
                      <a:pt x="120" y="390"/>
                    </a:lnTo>
                    <a:lnTo>
                      <a:pt x="120" y="394"/>
                    </a:lnTo>
                    <a:lnTo>
                      <a:pt x="118" y="394"/>
                    </a:lnTo>
                    <a:lnTo>
                      <a:pt x="116" y="396"/>
                    </a:lnTo>
                    <a:lnTo>
                      <a:pt x="112" y="394"/>
                    </a:lnTo>
                    <a:lnTo>
                      <a:pt x="106" y="388"/>
                    </a:lnTo>
                    <a:lnTo>
                      <a:pt x="106" y="386"/>
                    </a:lnTo>
                    <a:lnTo>
                      <a:pt x="102" y="384"/>
                    </a:lnTo>
                    <a:lnTo>
                      <a:pt x="100" y="382"/>
                    </a:lnTo>
                    <a:lnTo>
                      <a:pt x="110" y="394"/>
                    </a:lnTo>
                    <a:lnTo>
                      <a:pt x="110" y="400"/>
                    </a:lnTo>
                    <a:lnTo>
                      <a:pt x="104" y="402"/>
                    </a:lnTo>
                    <a:lnTo>
                      <a:pt x="100" y="404"/>
                    </a:lnTo>
                    <a:lnTo>
                      <a:pt x="94" y="406"/>
                    </a:lnTo>
                    <a:lnTo>
                      <a:pt x="92" y="406"/>
                    </a:lnTo>
                    <a:lnTo>
                      <a:pt x="88" y="410"/>
                    </a:lnTo>
                    <a:lnTo>
                      <a:pt x="88" y="414"/>
                    </a:lnTo>
                    <a:lnTo>
                      <a:pt x="86" y="416"/>
                    </a:lnTo>
                    <a:lnTo>
                      <a:pt x="78" y="422"/>
                    </a:lnTo>
                    <a:lnTo>
                      <a:pt x="74" y="422"/>
                    </a:lnTo>
                    <a:lnTo>
                      <a:pt x="70" y="422"/>
                    </a:lnTo>
                    <a:lnTo>
                      <a:pt x="76" y="418"/>
                    </a:lnTo>
                    <a:lnTo>
                      <a:pt x="76" y="416"/>
                    </a:lnTo>
                    <a:lnTo>
                      <a:pt x="74" y="416"/>
                    </a:lnTo>
                    <a:lnTo>
                      <a:pt x="72" y="416"/>
                    </a:lnTo>
                    <a:lnTo>
                      <a:pt x="72" y="394"/>
                    </a:lnTo>
                    <a:lnTo>
                      <a:pt x="74" y="390"/>
                    </a:lnTo>
                    <a:lnTo>
                      <a:pt x="74" y="388"/>
                    </a:lnTo>
                    <a:lnTo>
                      <a:pt x="78" y="384"/>
                    </a:lnTo>
                    <a:lnTo>
                      <a:pt x="80" y="384"/>
                    </a:lnTo>
                    <a:lnTo>
                      <a:pt x="80" y="386"/>
                    </a:lnTo>
                    <a:lnTo>
                      <a:pt x="80" y="388"/>
                    </a:lnTo>
                    <a:lnTo>
                      <a:pt x="80" y="384"/>
                    </a:lnTo>
                    <a:lnTo>
                      <a:pt x="80" y="382"/>
                    </a:lnTo>
                    <a:lnTo>
                      <a:pt x="78" y="382"/>
                    </a:lnTo>
                    <a:lnTo>
                      <a:pt x="76" y="380"/>
                    </a:lnTo>
                    <a:lnTo>
                      <a:pt x="74" y="380"/>
                    </a:lnTo>
                    <a:lnTo>
                      <a:pt x="74" y="378"/>
                    </a:lnTo>
                    <a:lnTo>
                      <a:pt x="72" y="376"/>
                    </a:lnTo>
                    <a:lnTo>
                      <a:pt x="70" y="376"/>
                    </a:lnTo>
                    <a:lnTo>
                      <a:pt x="66" y="378"/>
                    </a:lnTo>
                    <a:lnTo>
                      <a:pt x="66" y="376"/>
                    </a:lnTo>
                    <a:lnTo>
                      <a:pt x="62" y="370"/>
                    </a:lnTo>
                    <a:lnTo>
                      <a:pt x="64" y="370"/>
                    </a:lnTo>
                    <a:lnTo>
                      <a:pt x="66" y="368"/>
                    </a:lnTo>
                    <a:lnTo>
                      <a:pt x="68" y="368"/>
                    </a:lnTo>
                    <a:lnTo>
                      <a:pt x="70" y="368"/>
                    </a:lnTo>
                    <a:lnTo>
                      <a:pt x="74" y="368"/>
                    </a:lnTo>
                    <a:lnTo>
                      <a:pt x="76" y="366"/>
                    </a:lnTo>
                    <a:lnTo>
                      <a:pt x="76" y="364"/>
                    </a:lnTo>
                    <a:lnTo>
                      <a:pt x="78" y="364"/>
                    </a:lnTo>
                    <a:lnTo>
                      <a:pt x="80" y="364"/>
                    </a:lnTo>
                    <a:lnTo>
                      <a:pt x="80" y="362"/>
                    </a:lnTo>
                    <a:lnTo>
                      <a:pt x="78" y="360"/>
                    </a:lnTo>
                    <a:lnTo>
                      <a:pt x="78" y="358"/>
                    </a:lnTo>
                    <a:lnTo>
                      <a:pt x="80" y="356"/>
                    </a:lnTo>
                    <a:lnTo>
                      <a:pt x="82" y="358"/>
                    </a:lnTo>
                    <a:lnTo>
                      <a:pt x="88" y="358"/>
                    </a:lnTo>
                    <a:lnTo>
                      <a:pt x="88" y="356"/>
                    </a:lnTo>
                    <a:lnTo>
                      <a:pt x="92" y="356"/>
                    </a:lnTo>
                    <a:lnTo>
                      <a:pt x="94" y="356"/>
                    </a:lnTo>
                    <a:lnTo>
                      <a:pt x="96" y="354"/>
                    </a:lnTo>
                    <a:lnTo>
                      <a:pt x="100" y="354"/>
                    </a:lnTo>
                    <a:lnTo>
                      <a:pt x="100" y="358"/>
                    </a:lnTo>
                    <a:lnTo>
                      <a:pt x="104" y="358"/>
                    </a:lnTo>
                    <a:lnTo>
                      <a:pt x="106" y="360"/>
                    </a:lnTo>
                    <a:lnTo>
                      <a:pt x="110" y="362"/>
                    </a:lnTo>
                    <a:lnTo>
                      <a:pt x="108" y="358"/>
                    </a:lnTo>
                    <a:lnTo>
                      <a:pt x="108" y="356"/>
                    </a:lnTo>
                    <a:lnTo>
                      <a:pt x="110" y="356"/>
                    </a:lnTo>
                    <a:lnTo>
                      <a:pt x="110" y="354"/>
                    </a:lnTo>
                    <a:lnTo>
                      <a:pt x="110" y="352"/>
                    </a:lnTo>
                    <a:lnTo>
                      <a:pt x="108" y="352"/>
                    </a:lnTo>
                    <a:lnTo>
                      <a:pt x="104" y="350"/>
                    </a:lnTo>
                    <a:lnTo>
                      <a:pt x="100" y="346"/>
                    </a:lnTo>
                    <a:lnTo>
                      <a:pt x="102" y="344"/>
                    </a:lnTo>
                    <a:lnTo>
                      <a:pt x="102" y="340"/>
                    </a:lnTo>
                    <a:lnTo>
                      <a:pt x="100" y="338"/>
                    </a:lnTo>
                    <a:lnTo>
                      <a:pt x="102" y="336"/>
                    </a:lnTo>
                    <a:lnTo>
                      <a:pt x="104" y="336"/>
                    </a:lnTo>
                    <a:lnTo>
                      <a:pt x="106" y="334"/>
                    </a:lnTo>
                    <a:lnTo>
                      <a:pt x="112" y="334"/>
                    </a:lnTo>
                    <a:lnTo>
                      <a:pt x="112" y="336"/>
                    </a:lnTo>
                    <a:lnTo>
                      <a:pt x="116" y="336"/>
                    </a:lnTo>
                    <a:lnTo>
                      <a:pt x="118" y="33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25" name="Group 424"/>
              <p:cNvGrpSpPr/>
              <p:nvPr/>
            </p:nvGrpSpPr>
            <p:grpSpPr>
              <a:xfrm>
                <a:off x="822073" y="1974213"/>
                <a:ext cx="8012149" cy="4479822"/>
                <a:chOff x="822073" y="1974213"/>
                <a:chExt cx="8012149" cy="4479822"/>
              </a:xfrm>
            </p:grpSpPr>
            <p:sp>
              <p:nvSpPr>
                <p:cNvPr id="426" name="Freeform 3110"/>
                <p:cNvSpPr>
                  <a:spLocks/>
                </p:cNvSpPr>
                <p:nvPr/>
              </p:nvSpPr>
              <p:spPr bwMode="auto">
                <a:xfrm>
                  <a:off x="5572014" y="5373558"/>
                  <a:ext cx="552705" cy="353233"/>
                </a:xfrm>
                <a:custGeom>
                  <a:avLst/>
                  <a:gdLst/>
                  <a:ahLst/>
                  <a:cxnLst>
                    <a:cxn ang="0">
                      <a:pos x="248" y="72"/>
                    </a:cxn>
                    <a:cxn ang="0">
                      <a:pos x="232" y="78"/>
                    </a:cxn>
                    <a:cxn ang="0">
                      <a:pos x="222" y="76"/>
                    </a:cxn>
                    <a:cxn ang="0">
                      <a:pos x="214" y="78"/>
                    </a:cxn>
                    <a:cxn ang="0">
                      <a:pos x="204" y="76"/>
                    </a:cxn>
                    <a:cxn ang="0">
                      <a:pos x="190" y="76"/>
                    </a:cxn>
                    <a:cxn ang="0">
                      <a:pos x="178" y="76"/>
                    </a:cxn>
                    <a:cxn ang="0">
                      <a:pos x="168" y="80"/>
                    </a:cxn>
                    <a:cxn ang="0">
                      <a:pos x="166" y="100"/>
                    </a:cxn>
                    <a:cxn ang="0">
                      <a:pos x="164" y="106"/>
                    </a:cxn>
                    <a:cxn ang="0">
                      <a:pos x="156" y="110"/>
                    </a:cxn>
                    <a:cxn ang="0">
                      <a:pos x="156" y="124"/>
                    </a:cxn>
                    <a:cxn ang="0">
                      <a:pos x="144" y="132"/>
                    </a:cxn>
                    <a:cxn ang="0">
                      <a:pos x="140" y="146"/>
                    </a:cxn>
                    <a:cxn ang="0">
                      <a:pos x="132" y="152"/>
                    </a:cxn>
                    <a:cxn ang="0">
                      <a:pos x="112" y="160"/>
                    </a:cxn>
                    <a:cxn ang="0">
                      <a:pos x="98" y="154"/>
                    </a:cxn>
                    <a:cxn ang="0">
                      <a:pos x="80" y="152"/>
                    </a:cxn>
                    <a:cxn ang="0">
                      <a:pos x="70" y="162"/>
                    </a:cxn>
                    <a:cxn ang="0">
                      <a:pos x="60" y="166"/>
                    </a:cxn>
                    <a:cxn ang="0">
                      <a:pos x="50" y="166"/>
                    </a:cxn>
                    <a:cxn ang="0">
                      <a:pos x="36" y="166"/>
                    </a:cxn>
                    <a:cxn ang="0">
                      <a:pos x="18" y="162"/>
                    </a:cxn>
                    <a:cxn ang="0">
                      <a:pos x="10" y="156"/>
                    </a:cxn>
                    <a:cxn ang="0">
                      <a:pos x="0" y="144"/>
                    </a:cxn>
                    <a:cxn ang="0">
                      <a:pos x="4" y="140"/>
                    </a:cxn>
                    <a:cxn ang="0">
                      <a:pos x="6" y="144"/>
                    </a:cxn>
                    <a:cxn ang="0">
                      <a:pos x="26" y="150"/>
                    </a:cxn>
                    <a:cxn ang="0">
                      <a:pos x="30" y="154"/>
                    </a:cxn>
                    <a:cxn ang="0">
                      <a:pos x="38" y="152"/>
                    </a:cxn>
                    <a:cxn ang="0">
                      <a:pos x="46" y="154"/>
                    </a:cxn>
                    <a:cxn ang="0">
                      <a:pos x="44" y="140"/>
                    </a:cxn>
                    <a:cxn ang="0">
                      <a:pos x="46" y="134"/>
                    </a:cxn>
                    <a:cxn ang="0">
                      <a:pos x="50" y="130"/>
                    </a:cxn>
                    <a:cxn ang="0">
                      <a:pos x="52" y="120"/>
                    </a:cxn>
                    <a:cxn ang="0">
                      <a:pos x="64" y="114"/>
                    </a:cxn>
                    <a:cxn ang="0">
                      <a:pos x="94" y="106"/>
                    </a:cxn>
                    <a:cxn ang="0">
                      <a:pos x="120" y="72"/>
                    </a:cxn>
                    <a:cxn ang="0">
                      <a:pos x="124" y="68"/>
                    </a:cxn>
                    <a:cxn ang="0">
                      <a:pos x="138" y="82"/>
                    </a:cxn>
                    <a:cxn ang="0">
                      <a:pos x="144" y="64"/>
                    </a:cxn>
                    <a:cxn ang="0">
                      <a:pos x="150" y="60"/>
                    </a:cxn>
                    <a:cxn ang="0">
                      <a:pos x="152" y="74"/>
                    </a:cxn>
                    <a:cxn ang="0">
                      <a:pos x="154" y="60"/>
                    </a:cxn>
                    <a:cxn ang="0">
                      <a:pos x="162" y="56"/>
                    </a:cxn>
                    <a:cxn ang="0">
                      <a:pos x="158" y="48"/>
                    </a:cxn>
                    <a:cxn ang="0">
                      <a:pos x="172" y="40"/>
                    </a:cxn>
                    <a:cxn ang="0">
                      <a:pos x="178" y="34"/>
                    </a:cxn>
                    <a:cxn ang="0">
                      <a:pos x="190" y="16"/>
                    </a:cxn>
                    <a:cxn ang="0">
                      <a:pos x="196" y="0"/>
                    </a:cxn>
                    <a:cxn ang="0">
                      <a:pos x="198" y="14"/>
                    </a:cxn>
                    <a:cxn ang="0">
                      <a:pos x="208" y="2"/>
                    </a:cxn>
                    <a:cxn ang="0">
                      <a:pos x="220" y="14"/>
                    </a:cxn>
                    <a:cxn ang="0">
                      <a:pos x="220" y="24"/>
                    </a:cxn>
                    <a:cxn ang="0">
                      <a:pos x="228" y="30"/>
                    </a:cxn>
                    <a:cxn ang="0">
                      <a:pos x="232" y="34"/>
                    </a:cxn>
                    <a:cxn ang="0">
                      <a:pos x="234" y="38"/>
                    </a:cxn>
                    <a:cxn ang="0">
                      <a:pos x="244" y="36"/>
                    </a:cxn>
                    <a:cxn ang="0">
                      <a:pos x="266" y="46"/>
                    </a:cxn>
                    <a:cxn ang="0">
                      <a:pos x="260" y="54"/>
                    </a:cxn>
                    <a:cxn ang="0">
                      <a:pos x="246" y="58"/>
                    </a:cxn>
                    <a:cxn ang="0">
                      <a:pos x="238" y="66"/>
                    </a:cxn>
                  </a:cxnLst>
                  <a:rect l="0" t="0" r="r" b="b"/>
                  <a:pathLst>
                    <a:path w="266" h="170">
                      <a:moveTo>
                        <a:pt x="242" y="68"/>
                      </a:moveTo>
                      <a:lnTo>
                        <a:pt x="244" y="68"/>
                      </a:lnTo>
                      <a:lnTo>
                        <a:pt x="244" y="70"/>
                      </a:lnTo>
                      <a:lnTo>
                        <a:pt x="248" y="70"/>
                      </a:lnTo>
                      <a:lnTo>
                        <a:pt x="248" y="72"/>
                      </a:lnTo>
                      <a:lnTo>
                        <a:pt x="246" y="74"/>
                      </a:lnTo>
                      <a:lnTo>
                        <a:pt x="242" y="74"/>
                      </a:lnTo>
                      <a:lnTo>
                        <a:pt x="236" y="76"/>
                      </a:lnTo>
                      <a:lnTo>
                        <a:pt x="234" y="76"/>
                      </a:lnTo>
                      <a:lnTo>
                        <a:pt x="232" y="78"/>
                      </a:lnTo>
                      <a:lnTo>
                        <a:pt x="228" y="78"/>
                      </a:lnTo>
                      <a:lnTo>
                        <a:pt x="226" y="76"/>
                      </a:lnTo>
                      <a:lnTo>
                        <a:pt x="222" y="74"/>
                      </a:lnTo>
                      <a:lnTo>
                        <a:pt x="220" y="74"/>
                      </a:lnTo>
                      <a:lnTo>
                        <a:pt x="222" y="76"/>
                      </a:lnTo>
                      <a:lnTo>
                        <a:pt x="220" y="78"/>
                      </a:lnTo>
                      <a:lnTo>
                        <a:pt x="220" y="80"/>
                      </a:lnTo>
                      <a:lnTo>
                        <a:pt x="216" y="80"/>
                      </a:lnTo>
                      <a:lnTo>
                        <a:pt x="216" y="78"/>
                      </a:lnTo>
                      <a:lnTo>
                        <a:pt x="214" y="78"/>
                      </a:lnTo>
                      <a:lnTo>
                        <a:pt x="214" y="76"/>
                      </a:lnTo>
                      <a:lnTo>
                        <a:pt x="210" y="74"/>
                      </a:lnTo>
                      <a:lnTo>
                        <a:pt x="208" y="74"/>
                      </a:lnTo>
                      <a:lnTo>
                        <a:pt x="208" y="76"/>
                      </a:lnTo>
                      <a:lnTo>
                        <a:pt x="204" y="76"/>
                      </a:lnTo>
                      <a:lnTo>
                        <a:pt x="202" y="74"/>
                      </a:lnTo>
                      <a:lnTo>
                        <a:pt x="200" y="74"/>
                      </a:lnTo>
                      <a:lnTo>
                        <a:pt x="200" y="76"/>
                      </a:lnTo>
                      <a:lnTo>
                        <a:pt x="192" y="76"/>
                      </a:lnTo>
                      <a:lnTo>
                        <a:pt x="190" y="76"/>
                      </a:lnTo>
                      <a:lnTo>
                        <a:pt x="188" y="76"/>
                      </a:lnTo>
                      <a:lnTo>
                        <a:pt x="186" y="74"/>
                      </a:lnTo>
                      <a:lnTo>
                        <a:pt x="180" y="74"/>
                      </a:lnTo>
                      <a:lnTo>
                        <a:pt x="180" y="76"/>
                      </a:lnTo>
                      <a:lnTo>
                        <a:pt x="178" y="76"/>
                      </a:lnTo>
                      <a:lnTo>
                        <a:pt x="176" y="76"/>
                      </a:lnTo>
                      <a:lnTo>
                        <a:pt x="174" y="74"/>
                      </a:lnTo>
                      <a:lnTo>
                        <a:pt x="172" y="74"/>
                      </a:lnTo>
                      <a:lnTo>
                        <a:pt x="172" y="76"/>
                      </a:lnTo>
                      <a:lnTo>
                        <a:pt x="168" y="80"/>
                      </a:lnTo>
                      <a:lnTo>
                        <a:pt x="168" y="82"/>
                      </a:lnTo>
                      <a:lnTo>
                        <a:pt x="164" y="92"/>
                      </a:lnTo>
                      <a:lnTo>
                        <a:pt x="164" y="96"/>
                      </a:lnTo>
                      <a:lnTo>
                        <a:pt x="166" y="96"/>
                      </a:lnTo>
                      <a:lnTo>
                        <a:pt x="166" y="100"/>
                      </a:lnTo>
                      <a:lnTo>
                        <a:pt x="164" y="100"/>
                      </a:lnTo>
                      <a:lnTo>
                        <a:pt x="164" y="102"/>
                      </a:lnTo>
                      <a:lnTo>
                        <a:pt x="164" y="104"/>
                      </a:lnTo>
                      <a:lnTo>
                        <a:pt x="162" y="106"/>
                      </a:lnTo>
                      <a:lnTo>
                        <a:pt x="164" y="106"/>
                      </a:lnTo>
                      <a:lnTo>
                        <a:pt x="162" y="110"/>
                      </a:lnTo>
                      <a:lnTo>
                        <a:pt x="160" y="112"/>
                      </a:lnTo>
                      <a:lnTo>
                        <a:pt x="158" y="112"/>
                      </a:lnTo>
                      <a:lnTo>
                        <a:pt x="158" y="110"/>
                      </a:lnTo>
                      <a:lnTo>
                        <a:pt x="156" y="110"/>
                      </a:lnTo>
                      <a:lnTo>
                        <a:pt x="152" y="114"/>
                      </a:lnTo>
                      <a:lnTo>
                        <a:pt x="150" y="122"/>
                      </a:lnTo>
                      <a:lnTo>
                        <a:pt x="152" y="122"/>
                      </a:lnTo>
                      <a:lnTo>
                        <a:pt x="154" y="122"/>
                      </a:lnTo>
                      <a:lnTo>
                        <a:pt x="156" y="124"/>
                      </a:lnTo>
                      <a:lnTo>
                        <a:pt x="156" y="126"/>
                      </a:lnTo>
                      <a:lnTo>
                        <a:pt x="154" y="126"/>
                      </a:lnTo>
                      <a:lnTo>
                        <a:pt x="148" y="130"/>
                      </a:lnTo>
                      <a:lnTo>
                        <a:pt x="148" y="132"/>
                      </a:lnTo>
                      <a:lnTo>
                        <a:pt x="144" y="132"/>
                      </a:lnTo>
                      <a:lnTo>
                        <a:pt x="144" y="138"/>
                      </a:lnTo>
                      <a:lnTo>
                        <a:pt x="146" y="138"/>
                      </a:lnTo>
                      <a:lnTo>
                        <a:pt x="144" y="140"/>
                      </a:lnTo>
                      <a:lnTo>
                        <a:pt x="144" y="142"/>
                      </a:lnTo>
                      <a:lnTo>
                        <a:pt x="140" y="146"/>
                      </a:lnTo>
                      <a:lnTo>
                        <a:pt x="138" y="154"/>
                      </a:lnTo>
                      <a:lnTo>
                        <a:pt x="136" y="154"/>
                      </a:lnTo>
                      <a:lnTo>
                        <a:pt x="134" y="154"/>
                      </a:lnTo>
                      <a:lnTo>
                        <a:pt x="134" y="152"/>
                      </a:lnTo>
                      <a:lnTo>
                        <a:pt x="132" y="152"/>
                      </a:lnTo>
                      <a:lnTo>
                        <a:pt x="130" y="154"/>
                      </a:lnTo>
                      <a:lnTo>
                        <a:pt x="120" y="154"/>
                      </a:lnTo>
                      <a:lnTo>
                        <a:pt x="118" y="156"/>
                      </a:lnTo>
                      <a:lnTo>
                        <a:pt x="118" y="158"/>
                      </a:lnTo>
                      <a:lnTo>
                        <a:pt x="112" y="160"/>
                      </a:lnTo>
                      <a:lnTo>
                        <a:pt x="110" y="160"/>
                      </a:lnTo>
                      <a:lnTo>
                        <a:pt x="110" y="158"/>
                      </a:lnTo>
                      <a:lnTo>
                        <a:pt x="104" y="158"/>
                      </a:lnTo>
                      <a:lnTo>
                        <a:pt x="104" y="156"/>
                      </a:lnTo>
                      <a:lnTo>
                        <a:pt x="98" y="154"/>
                      </a:lnTo>
                      <a:lnTo>
                        <a:pt x="96" y="152"/>
                      </a:lnTo>
                      <a:lnTo>
                        <a:pt x="94" y="150"/>
                      </a:lnTo>
                      <a:lnTo>
                        <a:pt x="86" y="152"/>
                      </a:lnTo>
                      <a:lnTo>
                        <a:pt x="80" y="150"/>
                      </a:lnTo>
                      <a:lnTo>
                        <a:pt x="80" y="152"/>
                      </a:lnTo>
                      <a:lnTo>
                        <a:pt x="72" y="154"/>
                      </a:lnTo>
                      <a:lnTo>
                        <a:pt x="72" y="156"/>
                      </a:lnTo>
                      <a:lnTo>
                        <a:pt x="74" y="156"/>
                      </a:lnTo>
                      <a:lnTo>
                        <a:pt x="72" y="156"/>
                      </a:lnTo>
                      <a:lnTo>
                        <a:pt x="70" y="162"/>
                      </a:lnTo>
                      <a:lnTo>
                        <a:pt x="66" y="162"/>
                      </a:lnTo>
                      <a:lnTo>
                        <a:pt x="66" y="164"/>
                      </a:lnTo>
                      <a:lnTo>
                        <a:pt x="64" y="164"/>
                      </a:lnTo>
                      <a:lnTo>
                        <a:pt x="62" y="166"/>
                      </a:lnTo>
                      <a:lnTo>
                        <a:pt x="60" y="166"/>
                      </a:lnTo>
                      <a:lnTo>
                        <a:pt x="58" y="166"/>
                      </a:lnTo>
                      <a:lnTo>
                        <a:pt x="58" y="164"/>
                      </a:lnTo>
                      <a:lnTo>
                        <a:pt x="58" y="166"/>
                      </a:lnTo>
                      <a:lnTo>
                        <a:pt x="56" y="166"/>
                      </a:lnTo>
                      <a:lnTo>
                        <a:pt x="50" y="166"/>
                      </a:lnTo>
                      <a:lnTo>
                        <a:pt x="48" y="164"/>
                      </a:lnTo>
                      <a:lnTo>
                        <a:pt x="46" y="164"/>
                      </a:lnTo>
                      <a:lnTo>
                        <a:pt x="44" y="164"/>
                      </a:lnTo>
                      <a:lnTo>
                        <a:pt x="38" y="166"/>
                      </a:lnTo>
                      <a:lnTo>
                        <a:pt x="36" y="166"/>
                      </a:lnTo>
                      <a:lnTo>
                        <a:pt x="34" y="168"/>
                      </a:lnTo>
                      <a:lnTo>
                        <a:pt x="34" y="170"/>
                      </a:lnTo>
                      <a:lnTo>
                        <a:pt x="26" y="170"/>
                      </a:lnTo>
                      <a:lnTo>
                        <a:pt x="22" y="166"/>
                      </a:lnTo>
                      <a:lnTo>
                        <a:pt x="18" y="162"/>
                      </a:lnTo>
                      <a:lnTo>
                        <a:pt x="16" y="162"/>
                      </a:lnTo>
                      <a:lnTo>
                        <a:pt x="16" y="160"/>
                      </a:lnTo>
                      <a:lnTo>
                        <a:pt x="14" y="160"/>
                      </a:lnTo>
                      <a:lnTo>
                        <a:pt x="12" y="158"/>
                      </a:lnTo>
                      <a:lnTo>
                        <a:pt x="10" y="156"/>
                      </a:lnTo>
                      <a:lnTo>
                        <a:pt x="4" y="152"/>
                      </a:lnTo>
                      <a:lnTo>
                        <a:pt x="4" y="150"/>
                      </a:lnTo>
                      <a:lnTo>
                        <a:pt x="4" y="146"/>
                      </a:lnTo>
                      <a:lnTo>
                        <a:pt x="2" y="144"/>
                      </a:lnTo>
                      <a:lnTo>
                        <a:pt x="0" y="144"/>
                      </a:lnTo>
                      <a:lnTo>
                        <a:pt x="0" y="142"/>
                      </a:lnTo>
                      <a:lnTo>
                        <a:pt x="2" y="138"/>
                      </a:lnTo>
                      <a:lnTo>
                        <a:pt x="2" y="136"/>
                      </a:lnTo>
                      <a:lnTo>
                        <a:pt x="2" y="138"/>
                      </a:lnTo>
                      <a:lnTo>
                        <a:pt x="4" y="140"/>
                      </a:lnTo>
                      <a:lnTo>
                        <a:pt x="2" y="140"/>
                      </a:lnTo>
                      <a:lnTo>
                        <a:pt x="4" y="140"/>
                      </a:lnTo>
                      <a:lnTo>
                        <a:pt x="4" y="142"/>
                      </a:lnTo>
                      <a:lnTo>
                        <a:pt x="4" y="144"/>
                      </a:lnTo>
                      <a:lnTo>
                        <a:pt x="6" y="144"/>
                      </a:lnTo>
                      <a:lnTo>
                        <a:pt x="10" y="148"/>
                      </a:lnTo>
                      <a:lnTo>
                        <a:pt x="20" y="146"/>
                      </a:lnTo>
                      <a:lnTo>
                        <a:pt x="22" y="144"/>
                      </a:lnTo>
                      <a:lnTo>
                        <a:pt x="26" y="148"/>
                      </a:lnTo>
                      <a:lnTo>
                        <a:pt x="26" y="150"/>
                      </a:lnTo>
                      <a:lnTo>
                        <a:pt x="28" y="150"/>
                      </a:lnTo>
                      <a:lnTo>
                        <a:pt x="30" y="150"/>
                      </a:lnTo>
                      <a:lnTo>
                        <a:pt x="32" y="152"/>
                      </a:lnTo>
                      <a:lnTo>
                        <a:pt x="32" y="154"/>
                      </a:lnTo>
                      <a:lnTo>
                        <a:pt x="30" y="154"/>
                      </a:lnTo>
                      <a:lnTo>
                        <a:pt x="32" y="154"/>
                      </a:lnTo>
                      <a:lnTo>
                        <a:pt x="32" y="152"/>
                      </a:lnTo>
                      <a:lnTo>
                        <a:pt x="34" y="150"/>
                      </a:lnTo>
                      <a:lnTo>
                        <a:pt x="34" y="152"/>
                      </a:lnTo>
                      <a:lnTo>
                        <a:pt x="38" y="152"/>
                      </a:lnTo>
                      <a:lnTo>
                        <a:pt x="42" y="156"/>
                      </a:lnTo>
                      <a:lnTo>
                        <a:pt x="50" y="158"/>
                      </a:lnTo>
                      <a:lnTo>
                        <a:pt x="48" y="156"/>
                      </a:lnTo>
                      <a:lnTo>
                        <a:pt x="48" y="154"/>
                      </a:lnTo>
                      <a:lnTo>
                        <a:pt x="46" y="154"/>
                      </a:lnTo>
                      <a:lnTo>
                        <a:pt x="44" y="156"/>
                      </a:lnTo>
                      <a:lnTo>
                        <a:pt x="40" y="152"/>
                      </a:lnTo>
                      <a:lnTo>
                        <a:pt x="40" y="148"/>
                      </a:lnTo>
                      <a:lnTo>
                        <a:pt x="42" y="148"/>
                      </a:lnTo>
                      <a:lnTo>
                        <a:pt x="44" y="140"/>
                      </a:lnTo>
                      <a:lnTo>
                        <a:pt x="44" y="138"/>
                      </a:lnTo>
                      <a:lnTo>
                        <a:pt x="46" y="136"/>
                      </a:lnTo>
                      <a:lnTo>
                        <a:pt x="50" y="136"/>
                      </a:lnTo>
                      <a:lnTo>
                        <a:pt x="50" y="134"/>
                      </a:lnTo>
                      <a:lnTo>
                        <a:pt x="46" y="134"/>
                      </a:lnTo>
                      <a:lnTo>
                        <a:pt x="44" y="134"/>
                      </a:lnTo>
                      <a:lnTo>
                        <a:pt x="44" y="128"/>
                      </a:lnTo>
                      <a:lnTo>
                        <a:pt x="46" y="128"/>
                      </a:lnTo>
                      <a:lnTo>
                        <a:pt x="48" y="128"/>
                      </a:lnTo>
                      <a:lnTo>
                        <a:pt x="50" y="130"/>
                      </a:lnTo>
                      <a:lnTo>
                        <a:pt x="50" y="128"/>
                      </a:lnTo>
                      <a:lnTo>
                        <a:pt x="52" y="128"/>
                      </a:lnTo>
                      <a:lnTo>
                        <a:pt x="50" y="128"/>
                      </a:lnTo>
                      <a:lnTo>
                        <a:pt x="50" y="122"/>
                      </a:lnTo>
                      <a:lnTo>
                        <a:pt x="52" y="120"/>
                      </a:lnTo>
                      <a:lnTo>
                        <a:pt x="56" y="116"/>
                      </a:lnTo>
                      <a:lnTo>
                        <a:pt x="58" y="116"/>
                      </a:lnTo>
                      <a:lnTo>
                        <a:pt x="60" y="116"/>
                      </a:lnTo>
                      <a:lnTo>
                        <a:pt x="62" y="116"/>
                      </a:lnTo>
                      <a:lnTo>
                        <a:pt x="64" y="114"/>
                      </a:lnTo>
                      <a:lnTo>
                        <a:pt x="74" y="114"/>
                      </a:lnTo>
                      <a:lnTo>
                        <a:pt x="74" y="112"/>
                      </a:lnTo>
                      <a:lnTo>
                        <a:pt x="92" y="108"/>
                      </a:lnTo>
                      <a:lnTo>
                        <a:pt x="94" y="108"/>
                      </a:lnTo>
                      <a:lnTo>
                        <a:pt x="94" y="106"/>
                      </a:lnTo>
                      <a:lnTo>
                        <a:pt x="96" y="106"/>
                      </a:lnTo>
                      <a:lnTo>
                        <a:pt x="96" y="104"/>
                      </a:lnTo>
                      <a:lnTo>
                        <a:pt x="102" y="98"/>
                      </a:lnTo>
                      <a:lnTo>
                        <a:pt x="120" y="76"/>
                      </a:lnTo>
                      <a:lnTo>
                        <a:pt x="120" y="72"/>
                      </a:lnTo>
                      <a:lnTo>
                        <a:pt x="122" y="72"/>
                      </a:lnTo>
                      <a:lnTo>
                        <a:pt x="122" y="70"/>
                      </a:lnTo>
                      <a:lnTo>
                        <a:pt x="120" y="70"/>
                      </a:lnTo>
                      <a:lnTo>
                        <a:pt x="120" y="68"/>
                      </a:lnTo>
                      <a:lnTo>
                        <a:pt x="124" y="68"/>
                      </a:lnTo>
                      <a:lnTo>
                        <a:pt x="126" y="68"/>
                      </a:lnTo>
                      <a:lnTo>
                        <a:pt x="128" y="70"/>
                      </a:lnTo>
                      <a:lnTo>
                        <a:pt x="130" y="72"/>
                      </a:lnTo>
                      <a:lnTo>
                        <a:pt x="130" y="76"/>
                      </a:lnTo>
                      <a:lnTo>
                        <a:pt x="138" y="82"/>
                      </a:lnTo>
                      <a:lnTo>
                        <a:pt x="138" y="84"/>
                      </a:lnTo>
                      <a:lnTo>
                        <a:pt x="140" y="84"/>
                      </a:lnTo>
                      <a:lnTo>
                        <a:pt x="144" y="80"/>
                      </a:lnTo>
                      <a:lnTo>
                        <a:pt x="144" y="72"/>
                      </a:lnTo>
                      <a:lnTo>
                        <a:pt x="144" y="64"/>
                      </a:lnTo>
                      <a:lnTo>
                        <a:pt x="144" y="62"/>
                      </a:lnTo>
                      <a:lnTo>
                        <a:pt x="146" y="62"/>
                      </a:lnTo>
                      <a:lnTo>
                        <a:pt x="148" y="62"/>
                      </a:lnTo>
                      <a:lnTo>
                        <a:pt x="148" y="60"/>
                      </a:lnTo>
                      <a:lnTo>
                        <a:pt x="150" y="60"/>
                      </a:lnTo>
                      <a:lnTo>
                        <a:pt x="150" y="62"/>
                      </a:lnTo>
                      <a:lnTo>
                        <a:pt x="150" y="64"/>
                      </a:lnTo>
                      <a:lnTo>
                        <a:pt x="150" y="66"/>
                      </a:lnTo>
                      <a:lnTo>
                        <a:pt x="152" y="72"/>
                      </a:lnTo>
                      <a:lnTo>
                        <a:pt x="152" y="74"/>
                      </a:lnTo>
                      <a:lnTo>
                        <a:pt x="158" y="76"/>
                      </a:lnTo>
                      <a:lnTo>
                        <a:pt x="158" y="74"/>
                      </a:lnTo>
                      <a:lnTo>
                        <a:pt x="156" y="72"/>
                      </a:lnTo>
                      <a:lnTo>
                        <a:pt x="156" y="68"/>
                      </a:lnTo>
                      <a:lnTo>
                        <a:pt x="154" y="60"/>
                      </a:lnTo>
                      <a:lnTo>
                        <a:pt x="152" y="60"/>
                      </a:lnTo>
                      <a:lnTo>
                        <a:pt x="154" y="58"/>
                      </a:lnTo>
                      <a:lnTo>
                        <a:pt x="156" y="58"/>
                      </a:lnTo>
                      <a:lnTo>
                        <a:pt x="158" y="60"/>
                      </a:lnTo>
                      <a:lnTo>
                        <a:pt x="162" y="56"/>
                      </a:lnTo>
                      <a:lnTo>
                        <a:pt x="164" y="56"/>
                      </a:lnTo>
                      <a:lnTo>
                        <a:pt x="164" y="54"/>
                      </a:lnTo>
                      <a:lnTo>
                        <a:pt x="164" y="52"/>
                      </a:lnTo>
                      <a:lnTo>
                        <a:pt x="162" y="52"/>
                      </a:lnTo>
                      <a:lnTo>
                        <a:pt x="158" y="48"/>
                      </a:lnTo>
                      <a:lnTo>
                        <a:pt x="160" y="46"/>
                      </a:lnTo>
                      <a:lnTo>
                        <a:pt x="164" y="42"/>
                      </a:lnTo>
                      <a:lnTo>
                        <a:pt x="170" y="42"/>
                      </a:lnTo>
                      <a:lnTo>
                        <a:pt x="172" y="42"/>
                      </a:lnTo>
                      <a:lnTo>
                        <a:pt x="172" y="40"/>
                      </a:lnTo>
                      <a:lnTo>
                        <a:pt x="174" y="40"/>
                      </a:lnTo>
                      <a:lnTo>
                        <a:pt x="174" y="38"/>
                      </a:lnTo>
                      <a:lnTo>
                        <a:pt x="174" y="36"/>
                      </a:lnTo>
                      <a:lnTo>
                        <a:pt x="176" y="34"/>
                      </a:lnTo>
                      <a:lnTo>
                        <a:pt x="178" y="34"/>
                      </a:lnTo>
                      <a:lnTo>
                        <a:pt x="178" y="32"/>
                      </a:lnTo>
                      <a:lnTo>
                        <a:pt x="180" y="30"/>
                      </a:lnTo>
                      <a:lnTo>
                        <a:pt x="180" y="26"/>
                      </a:lnTo>
                      <a:lnTo>
                        <a:pt x="188" y="16"/>
                      </a:lnTo>
                      <a:lnTo>
                        <a:pt x="190" y="16"/>
                      </a:lnTo>
                      <a:lnTo>
                        <a:pt x="190" y="14"/>
                      </a:lnTo>
                      <a:lnTo>
                        <a:pt x="194" y="10"/>
                      </a:lnTo>
                      <a:lnTo>
                        <a:pt x="194" y="8"/>
                      </a:lnTo>
                      <a:lnTo>
                        <a:pt x="196" y="2"/>
                      </a:lnTo>
                      <a:lnTo>
                        <a:pt x="196" y="0"/>
                      </a:lnTo>
                      <a:lnTo>
                        <a:pt x="200" y="4"/>
                      </a:lnTo>
                      <a:lnTo>
                        <a:pt x="200" y="10"/>
                      </a:lnTo>
                      <a:lnTo>
                        <a:pt x="198" y="10"/>
                      </a:lnTo>
                      <a:lnTo>
                        <a:pt x="198" y="12"/>
                      </a:lnTo>
                      <a:lnTo>
                        <a:pt x="198" y="14"/>
                      </a:lnTo>
                      <a:lnTo>
                        <a:pt x="206" y="6"/>
                      </a:lnTo>
                      <a:lnTo>
                        <a:pt x="204" y="6"/>
                      </a:lnTo>
                      <a:lnTo>
                        <a:pt x="204" y="4"/>
                      </a:lnTo>
                      <a:lnTo>
                        <a:pt x="206" y="2"/>
                      </a:lnTo>
                      <a:lnTo>
                        <a:pt x="208" y="2"/>
                      </a:lnTo>
                      <a:lnTo>
                        <a:pt x="210" y="4"/>
                      </a:lnTo>
                      <a:lnTo>
                        <a:pt x="210" y="8"/>
                      </a:lnTo>
                      <a:lnTo>
                        <a:pt x="212" y="12"/>
                      </a:lnTo>
                      <a:lnTo>
                        <a:pt x="216" y="14"/>
                      </a:lnTo>
                      <a:lnTo>
                        <a:pt x="220" y="14"/>
                      </a:lnTo>
                      <a:lnTo>
                        <a:pt x="222" y="16"/>
                      </a:lnTo>
                      <a:lnTo>
                        <a:pt x="224" y="18"/>
                      </a:lnTo>
                      <a:lnTo>
                        <a:pt x="224" y="22"/>
                      </a:lnTo>
                      <a:lnTo>
                        <a:pt x="220" y="22"/>
                      </a:lnTo>
                      <a:lnTo>
                        <a:pt x="220" y="24"/>
                      </a:lnTo>
                      <a:lnTo>
                        <a:pt x="222" y="26"/>
                      </a:lnTo>
                      <a:lnTo>
                        <a:pt x="222" y="30"/>
                      </a:lnTo>
                      <a:lnTo>
                        <a:pt x="220" y="32"/>
                      </a:lnTo>
                      <a:lnTo>
                        <a:pt x="218" y="32"/>
                      </a:lnTo>
                      <a:lnTo>
                        <a:pt x="228" y="30"/>
                      </a:lnTo>
                      <a:lnTo>
                        <a:pt x="230" y="28"/>
                      </a:lnTo>
                      <a:lnTo>
                        <a:pt x="232" y="28"/>
                      </a:lnTo>
                      <a:lnTo>
                        <a:pt x="232" y="30"/>
                      </a:lnTo>
                      <a:lnTo>
                        <a:pt x="234" y="34"/>
                      </a:lnTo>
                      <a:lnTo>
                        <a:pt x="232" y="34"/>
                      </a:lnTo>
                      <a:lnTo>
                        <a:pt x="230" y="34"/>
                      </a:lnTo>
                      <a:lnTo>
                        <a:pt x="228" y="34"/>
                      </a:lnTo>
                      <a:lnTo>
                        <a:pt x="228" y="36"/>
                      </a:lnTo>
                      <a:lnTo>
                        <a:pt x="230" y="38"/>
                      </a:lnTo>
                      <a:lnTo>
                        <a:pt x="234" y="38"/>
                      </a:lnTo>
                      <a:lnTo>
                        <a:pt x="236" y="34"/>
                      </a:lnTo>
                      <a:lnTo>
                        <a:pt x="238" y="34"/>
                      </a:lnTo>
                      <a:lnTo>
                        <a:pt x="242" y="34"/>
                      </a:lnTo>
                      <a:lnTo>
                        <a:pt x="244" y="34"/>
                      </a:lnTo>
                      <a:lnTo>
                        <a:pt x="244" y="36"/>
                      </a:lnTo>
                      <a:lnTo>
                        <a:pt x="256" y="46"/>
                      </a:lnTo>
                      <a:lnTo>
                        <a:pt x="262" y="46"/>
                      </a:lnTo>
                      <a:lnTo>
                        <a:pt x="262" y="44"/>
                      </a:lnTo>
                      <a:lnTo>
                        <a:pt x="264" y="44"/>
                      </a:lnTo>
                      <a:lnTo>
                        <a:pt x="266" y="46"/>
                      </a:lnTo>
                      <a:lnTo>
                        <a:pt x="266" y="50"/>
                      </a:lnTo>
                      <a:lnTo>
                        <a:pt x="266" y="52"/>
                      </a:lnTo>
                      <a:lnTo>
                        <a:pt x="264" y="52"/>
                      </a:lnTo>
                      <a:lnTo>
                        <a:pt x="262" y="54"/>
                      </a:lnTo>
                      <a:lnTo>
                        <a:pt x="260" y="54"/>
                      </a:lnTo>
                      <a:lnTo>
                        <a:pt x="260" y="56"/>
                      </a:lnTo>
                      <a:lnTo>
                        <a:pt x="256" y="56"/>
                      </a:lnTo>
                      <a:lnTo>
                        <a:pt x="254" y="58"/>
                      </a:lnTo>
                      <a:lnTo>
                        <a:pt x="252" y="58"/>
                      </a:lnTo>
                      <a:lnTo>
                        <a:pt x="246" y="58"/>
                      </a:lnTo>
                      <a:lnTo>
                        <a:pt x="244" y="56"/>
                      </a:lnTo>
                      <a:lnTo>
                        <a:pt x="242" y="56"/>
                      </a:lnTo>
                      <a:lnTo>
                        <a:pt x="240" y="56"/>
                      </a:lnTo>
                      <a:lnTo>
                        <a:pt x="234" y="60"/>
                      </a:lnTo>
                      <a:lnTo>
                        <a:pt x="238" y="66"/>
                      </a:lnTo>
                      <a:lnTo>
                        <a:pt x="242" y="6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27" name="Group 213"/>
                <p:cNvGrpSpPr/>
                <p:nvPr/>
              </p:nvGrpSpPr>
              <p:grpSpPr>
                <a:xfrm>
                  <a:off x="4757501" y="5452516"/>
                  <a:ext cx="2601455" cy="947495"/>
                  <a:chOff x="4635479" y="5085096"/>
                  <a:chExt cx="2601455" cy="947495"/>
                </a:xfrm>
                <a:solidFill>
                  <a:srgbClr val="646464"/>
                </a:solidFill>
              </p:grpSpPr>
              <p:sp>
                <p:nvSpPr>
                  <p:cNvPr id="642" name="Freeform 3246"/>
                  <p:cNvSpPr>
                    <a:spLocks/>
                  </p:cNvSpPr>
                  <p:nvPr/>
                </p:nvSpPr>
                <p:spPr bwMode="auto">
                  <a:xfrm>
                    <a:off x="5628686" y="5799873"/>
                    <a:ext cx="83114" cy="20778"/>
                  </a:xfrm>
                  <a:custGeom>
                    <a:avLst/>
                    <a:gdLst/>
                    <a:ahLst/>
                    <a:cxnLst>
                      <a:cxn ang="0">
                        <a:pos x="6" y="0"/>
                      </a:cxn>
                      <a:cxn ang="0">
                        <a:pos x="34" y="0"/>
                      </a:cxn>
                      <a:cxn ang="0">
                        <a:pos x="38" y="2"/>
                      </a:cxn>
                      <a:cxn ang="0">
                        <a:pos x="40" y="2"/>
                      </a:cxn>
                      <a:cxn ang="0">
                        <a:pos x="40" y="4"/>
                      </a:cxn>
                      <a:cxn ang="0">
                        <a:pos x="38" y="4"/>
                      </a:cxn>
                      <a:cxn ang="0">
                        <a:pos x="34" y="4"/>
                      </a:cxn>
                      <a:cxn ang="0">
                        <a:pos x="32" y="4"/>
                      </a:cxn>
                      <a:cxn ang="0">
                        <a:pos x="30" y="6"/>
                      </a:cxn>
                      <a:cxn ang="0">
                        <a:pos x="26" y="6"/>
                      </a:cxn>
                      <a:cxn ang="0">
                        <a:pos x="22" y="10"/>
                      </a:cxn>
                      <a:cxn ang="0">
                        <a:pos x="12" y="10"/>
                      </a:cxn>
                      <a:cxn ang="0">
                        <a:pos x="0" y="8"/>
                      </a:cxn>
                      <a:cxn ang="0">
                        <a:pos x="0" y="6"/>
                      </a:cxn>
                      <a:cxn ang="0">
                        <a:pos x="0" y="4"/>
                      </a:cxn>
                      <a:cxn ang="0">
                        <a:pos x="2" y="4"/>
                      </a:cxn>
                      <a:cxn ang="0">
                        <a:pos x="4" y="2"/>
                      </a:cxn>
                      <a:cxn ang="0">
                        <a:pos x="4" y="0"/>
                      </a:cxn>
                      <a:cxn ang="0">
                        <a:pos x="6" y="0"/>
                      </a:cxn>
                    </a:cxnLst>
                    <a:rect l="0" t="0" r="r" b="b"/>
                    <a:pathLst>
                      <a:path w="40" h="10">
                        <a:moveTo>
                          <a:pt x="6" y="0"/>
                        </a:moveTo>
                        <a:lnTo>
                          <a:pt x="34" y="0"/>
                        </a:lnTo>
                        <a:lnTo>
                          <a:pt x="38" y="2"/>
                        </a:lnTo>
                        <a:lnTo>
                          <a:pt x="40" y="2"/>
                        </a:lnTo>
                        <a:lnTo>
                          <a:pt x="40" y="4"/>
                        </a:lnTo>
                        <a:lnTo>
                          <a:pt x="38" y="4"/>
                        </a:lnTo>
                        <a:lnTo>
                          <a:pt x="34" y="4"/>
                        </a:lnTo>
                        <a:lnTo>
                          <a:pt x="32" y="4"/>
                        </a:lnTo>
                        <a:lnTo>
                          <a:pt x="30" y="6"/>
                        </a:lnTo>
                        <a:lnTo>
                          <a:pt x="26" y="6"/>
                        </a:lnTo>
                        <a:lnTo>
                          <a:pt x="22" y="10"/>
                        </a:lnTo>
                        <a:lnTo>
                          <a:pt x="12" y="10"/>
                        </a:lnTo>
                        <a:lnTo>
                          <a:pt x="0" y="8"/>
                        </a:lnTo>
                        <a:lnTo>
                          <a:pt x="0" y="6"/>
                        </a:lnTo>
                        <a:lnTo>
                          <a:pt x="0" y="4"/>
                        </a:lnTo>
                        <a:lnTo>
                          <a:pt x="2" y="4"/>
                        </a:lnTo>
                        <a:lnTo>
                          <a:pt x="4" y="2"/>
                        </a:lnTo>
                        <a:lnTo>
                          <a:pt x="4"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3" name="Freeform 3247"/>
                  <p:cNvSpPr>
                    <a:spLocks/>
                  </p:cNvSpPr>
                  <p:nvPr/>
                </p:nvSpPr>
                <p:spPr bwMode="auto">
                  <a:xfrm>
                    <a:off x="7045773" y="5828963"/>
                    <a:ext cx="78958" cy="62335"/>
                  </a:xfrm>
                  <a:custGeom>
                    <a:avLst/>
                    <a:gdLst/>
                    <a:ahLst/>
                    <a:cxnLst>
                      <a:cxn ang="0">
                        <a:pos x="26" y="0"/>
                      </a:cxn>
                      <a:cxn ang="0">
                        <a:pos x="32" y="0"/>
                      </a:cxn>
                      <a:cxn ang="0">
                        <a:pos x="34" y="2"/>
                      </a:cxn>
                      <a:cxn ang="0">
                        <a:pos x="36" y="4"/>
                      </a:cxn>
                      <a:cxn ang="0">
                        <a:pos x="38" y="4"/>
                      </a:cxn>
                      <a:cxn ang="0">
                        <a:pos x="38" y="6"/>
                      </a:cxn>
                      <a:cxn ang="0">
                        <a:pos x="38" y="10"/>
                      </a:cxn>
                      <a:cxn ang="0">
                        <a:pos x="34" y="14"/>
                      </a:cxn>
                      <a:cxn ang="0">
                        <a:pos x="34" y="18"/>
                      </a:cxn>
                      <a:cxn ang="0">
                        <a:pos x="30" y="22"/>
                      </a:cxn>
                      <a:cxn ang="0">
                        <a:pos x="28" y="22"/>
                      </a:cxn>
                      <a:cxn ang="0">
                        <a:pos x="28" y="24"/>
                      </a:cxn>
                      <a:cxn ang="0">
                        <a:pos x="22" y="28"/>
                      </a:cxn>
                      <a:cxn ang="0">
                        <a:pos x="20" y="28"/>
                      </a:cxn>
                      <a:cxn ang="0">
                        <a:pos x="18" y="30"/>
                      </a:cxn>
                      <a:cxn ang="0">
                        <a:pos x="18" y="28"/>
                      </a:cxn>
                      <a:cxn ang="0">
                        <a:pos x="16" y="28"/>
                      </a:cxn>
                      <a:cxn ang="0">
                        <a:pos x="4" y="28"/>
                      </a:cxn>
                      <a:cxn ang="0">
                        <a:pos x="2" y="28"/>
                      </a:cxn>
                      <a:cxn ang="0">
                        <a:pos x="2" y="30"/>
                      </a:cxn>
                      <a:cxn ang="0">
                        <a:pos x="0" y="30"/>
                      </a:cxn>
                      <a:cxn ang="0">
                        <a:pos x="0" y="28"/>
                      </a:cxn>
                      <a:cxn ang="0">
                        <a:pos x="8" y="12"/>
                      </a:cxn>
                      <a:cxn ang="0">
                        <a:pos x="12" y="6"/>
                      </a:cxn>
                      <a:cxn ang="0">
                        <a:pos x="14" y="4"/>
                      </a:cxn>
                      <a:cxn ang="0">
                        <a:pos x="16" y="2"/>
                      </a:cxn>
                      <a:cxn ang="0">
                        <a:pos x="22" y="2"/>
                      </a:cxn>
                      <a:cxn ang="0">
                        <a:pos x="22" y="0"/>
                      </a:cxn>
                      <a:cxn ang="0">
                        <a:pos x="26" y="0"/>
                      </a:cxn>
                    </a:cxnLst>
                    <a:rect l="0" t="0" r="r" b="b"/>
                    <a:pathLst>
                      <a:path w="38" h="30">
                        <a:moveTo>
                          <a:pt x="26" y="0"/>
                        </a:moveTo>
                        <a:lnTo>
                          <a:pt x="32" y="0"/>
                        </a:lnTo>
                        <a:lnTo>
                          <a:pt x="34" y="2"/>
                        </a:lnTo>
                        <a:lnTo>
                          <a:pt x="36" y="4"/>
                        </a:lnTo>
                        <a:lnTo>
                          <a:pt x="38" y="4"/>
                        </a:lnTo>
                        <a:lnTo>
                          <a:pt x="38" y="6"/>
                        </a:lnTo>
                        <a:lnTo>
                          <a:pt x="38" y="10"/>
                        </a:lnTo>
                        <a:lnTo>
                          <a:pt x="34" y="14"/>
                        </a:lnTo>
                        <a:lnTo>
                          <a:pt x="34" y="18"/>
                        </a:lnTo>
                        <a:lnTo>
                          <a:pt x="30" y="22"/>
                        </a:lnTo>
                        <a:lnTo>
                          <a:pt x="28" y="22"/>
                        </a:lnTo>
                        <a:lnTo>
                          <a:pt x="28" y="24"/>
                        </a:lnTo>
                        <a:lnTo>
                          <a:pt x="22" y="28"/>
                        </a:lnTo>
                        <a:lnTo>
                          <a:pt x="20" y="28"/>
                        </a:lnTo>
                        <a:lnTo>
                          <a:pt x="18" y="30"/>
                        </a:lnTo>
                        <a:lnTo>
                          <a:pt x="18" y="28"/>
                        </a:lnTo>
                        <a:lnTo>
                          <a:pt x="16" y="28"/>
                        </a:lnTo>
                        <a:lnTo>
                          <a:pt x="4" y="28"/>
                        </a:lnTo>
                        <a:lnTo>
                          <a:pt x="2" y="28"/>
                        </a:lnTo>
                        <a:lnTo>
                          <a:pt x="2" y="30"/>
                        </a:lnTo>
                        <a:lnTo>
                          <a:pt x="0" y="30"/>
                        </a:lnTo>
                        <a:lnTo>
                          <a:pt x="0" y="28"/>
                        </a:lnTo>
                        <a:lnTo>
                          <a:pt x="8" y="12"/>
                        </a:lnTo>
                        <a:lnTo>
                          <a:pt x="12" y="6"/>
                        </a:lnTo>
                        <a:lnTo>
                          <a:pt x="14" y="4"/>
                        </a:lnTo>
                        <a:lnTo>
                          <a:pt x="16" y="2"/>
                        </a:lnTo>
                        <a:lnTo>
                          <a:pt x="22" y="2"/>
                        </a:lnTo>
                        <a:lnTo>
                          <a:pt x="22" y="0"/>
                        </a:lnTo>
                        <a:lnTo>
                          <a:pt x="2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4" name="Freeform 3248"/>
                  <p:cNvSpPr>
                    <a:spLocks/>
                  </p:cNvSpPr>
                  <p:nvPr/>
                </p:nvSpPr>
                <p:spPr bwMode="auto">
                  <a:xfrm>
                    <a:off x="6355930" y="5870519"/>
                    <a:ext cx="8311" cy="12467"/>
                  </a:xfrm>
                  <a:custGeom>
                    <a:avLst/>
                    <a:gdLst/>
                    <a:ahLst/>
                    <a:cxnLst>
                      <a:cxn ang="0">
                        <a:pos x="4" y="2"/>
                      </a:cxn>
                      <a:cxn ang="0">
                        <a:pos x="2" y="6"/>
                      </a:cxn>
                      <a:cxn ang="0">
                        <a:pos x="0" y="6"/>
                      </a:cxn>
                      <a:cxn ang="0">
                        <a:pos x="0" y="4"/>
                      </a:cxn>
                      <a:cxn ang="0">
                        <a:pos x="4" y="0"/>
                      </a:cxn>
                      <a:cxn ang="0">
                        <a:pos x="4" y="2"/>
                      </a:cxn>
                    </a:cxnLst>
                    <a:rect l="0" t="0" r="r" b="b"/>
                    <a:pathLst>
                      <a:path w="4" h="6">
                        <a:moveTo>
                          <a:pt x="4" y="2"/>
                        </a:moveTo>
                        <a:lnTo>
                          <a:pt x="2" y="6"/>
                        </a:lnTo>
                        <a:lnTo>
                          <a:pt x="0" y="6"/>
                        </a:lnTo>
                        <a:lnTo>
                          <a:pt x="0" y="4"/>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5" name="Freeform 3249"/>
                  <p:cNvSpPr>
                    <a:spLocks/>
                  </p:cNvSpPr>
                  <p:nvPr/>
                </p:nvSpPr>
                <p:spPr bwMode="auto">
                  <a:xfrm>
                    <a:off x="4635479" y="5085096"/>
                    <a:ext cx="615040" cy="660753"/>
                  </a:xfrm>
                  <a:custGeom>
                    <a:avLst/>
                    <a:gdLst/>
                    <a:ahLst/>
                    <a:cxnLst>
                      <a:cxn ang="0">
                        <a:pos x="146" y="96"/>
                      </a:cxn>
                      <a:cxn ang="0">
                        <a:pos x="156" y="104"/>
                      </a:cxn>
                      <a:cxn ang="0">
                        <a:pos x="160" y="94"/>
                      </a:cxn>
                      <a:cxn ang="0">
                        <a:pos x="170" y="108"/>
                      </a:cxn>
                      <a:cxn ang="0">
                        <a:pos x="186" y="116"/>
                      </a:cxn>
                      <a:cxn ang="0">
                        <a:pos x="198" y="136"/>
                      </a:cxn>
                      <a:cxn ang="0">
                        <a:pos x="202" y="150"/>
                      </a:cxn>
                      <a:cxn ang="0">
                        <a:pos x="202" y="152"/>
                      </a:cxn>
                      <a:cxn ang="0">
                        <a:pos x="220" y="142"/>
                      </a:cxn>
                      <a:cxn ang="0">
                        <a:pos x="234" y="152"/>
                      </a:cxn>
                      <a:cxn ang="0">
                        <a:pos x="228" y="158"/>
                      </a:cxn>
                      <a:cxn ang="0">
                        <a:pos x="226" y="162"/>
                      </a:cxn>
                      <a:cxn ang="0">
                        <a:pos x="228" y="166"/>
                      </a:cxn>
                      <a:cxn ang="0">
                        <a:pos x="228" y="180"/>
                      </a:cxn>
                      <a:cxn ang="0">
                        <a:pos x="238" y="182"/>
                      </a:cxn>
                      <a:cxn ang="0">
                        <a:pos x="250" y="190"/>
                      </a:cxn>
                      <a:cxn ang="0">
                        <a:pos x="254" y="204"/>
                      </a:cxn>
                      <a:cxn ang="0">
                        <a:pos x="260" y="210"/>
                      </a:cxn>
                      <a:cxn ang="0">
                        <a:pos x="260" y="226"/>
                      </a:cxn>
                      <a:cxn ang="0">
                        <a:pos x="256" y="230"/>
                      </a:cxn>
                      <a:cxn ang="0">
                        <a:pos x="264" y="218"/>
                      </a:cxn>
                      <a:cxn ang="0">
                        <a:pos x="276" y="220"/>
                      </a:cxn>
                      <a:cxn ang="0">
                        <a:pos x="284" y="228"/>
                      </a:cxn>
                      <a:cxn ang="0">
                        <a:pos x="292" y="236"/>
                      </a:cxn>
                      <a:cxn ang="0">
                        <a:pos x="292" y="248"/>
                      </a:cxn>
                      <a:cxn ang="0">
                        <a:pos x="294" y="262"/>
                      </a:cxn>
                      <a:cxn ang="0">
                        <a:pos x="290" y="272"/>
                      </a:cxn>
                      <a:cxn ang="0">
                        <a:pos x="290" y="288"/>
                      </a:cxn>
                      <a:cxn ang="0">
                        <a:pos x="276" y="304"/>
                      </a:cxn>
                      <a:cxn ang="0">
                        <a:pos x="262" y="308"/>
                      </a:cxn>
                      <a:cxn ang="0">
                        <a:pos x="256" y="310"/>
                      </a:cxn>
                      <a:cxn ang="0">
                        <a:pos x="254" y="318"/>
                      </a:cxn>
                      <a:cxn ang="0">
                        <a:pos x="244" y="306"/>
                      </a:cxn>
                      <a:cxn ang="0">
                        <a:pos x="224" y="288"/>
                      </a:cxn>
                      <a:cxn ang="0">
                        <a:pos x="192" y="264"/>
                      </a:cxn>
                      <a:cxn ang="0">
                        <a:pos x="166" y="230"/>
                      </a:cxn>
                      <a:cxn ang="0">
                        <a:pos x="154" y="220"/>
                      </a:cxn>
                      <a:cxn ang="0">
                        <a:pos x="150" y="202"/>
                      </a:cxn>
                      <a:cxn ang="0">
                        <a:pos x="140" y="180"/>
                      </a:cxn>
                      <a:cxn ang="0">
                        <a:pos x="132" y="168"/>
                      </a:cxn>
                      <a:cxn ang="0">
                        <a:pos x="120" y="152"/>
                      </a:cxn>
                      <a:cxn ang="0">
                        <a:pos x="108" y="144"/>
                      </a:cxn>
                      <a:cxn ang="0">
                        <a:pos x="98" y="110"/>
                      </a:cxn>
                      <a:cxn ang="0">
                        <a:pos x="78" y="96"/>
                      </a:cxn>
                      <a:cxn ang="0">
                        <a:pos x="66" y="80"/>
                      </a:cxn>
                      <a:cxn ang="0">
                        <a:pos x="62" y="76"/>
                      </a:cxn>
                      <a:cxn ang="0">
                        <a:pos x="54" y="66"/>
                      </a:cxn>
                      <a:cxn ang="0">
                        <a:pos x="44" y="54"/>
                      </a:cxn>
                      <a:cxn ang="0">
                        <a:pos x="26" y="44"/>
                      </a:cxn>
                      <a:cxn ang="0">
                        <a:pos x="8" y="28"/>
                      </a:cxn>
                      <a:cxn ang="0">
                        <a:pos x="0" y="8"/>
                      </a:cxn>
                      <a:cxn ang="0">
                        <a:pos x="18" y="4"/>
                      </a:cxn>
                      <a:cxn ang="0">
                        <a:pos x="32" y="14"/>
                      </a:cxn>
                      <a:cxn ang="0">
                        <a:pos x="44" y="10"/>
                      </a:cxn>
                      <a:cxn ang="0">
                        <a:pos x="60" y="14"/>
                      </a:cxn>
                      <a:cxn ang="0">
                        <a:pos x="66" y="16"/>
                      </a:cxn>
                      <a:cxn ang="0">
                        <a:pos x="76" y="32"/>
                      </a:cxn>
                      <a:cxn ang="0">
                        <a:pos x="84" y="38"/>
                      </a:cxn>
                      <a:cxn ang="0">
                        <a:pos x="98" y="54"/>
                      </a:cxn>
                      <a:cxn ang="0">
                        <a:pos x="110" y="60"/>
                      </a:cxn>
                      <a:cxn ang="0">
                        <a:pos x="130" y="80"/>
                      </a:cxn>
                      <a:cxn ang="0">
                        <a:pos x="132" y="80"/>
                      </a:cxn>
                      <a:cxn ang="0">
                        <a:pos x="138" y="84"/>
                      </a:cxn>
                    </a:cxnLst>
                    <a:rect l="0" t="0" r="r" b="b"/>
                    <a:pathLst>
                      <a:path w="296" h="318">
                        <a:moveTo>
                          <a:pt x="140" y="86"/>
                        </a:moveTo>
                        <a:lnTo>
                          <a:pt x="140" y="90"/>
                        </a:lnTo>
                        <a:lnTo>
                          <a:pt x="142" y="92"/>
                        </a:lnTo>
                        <a:lnTo>
                          <a:pt x="142" y="94"/>
                        </a:lnTo>
                        <a:lnTo>
                          <a:pt x="144" y="96"/>
                        </a:lnTo>
                        <a:lnTo>
                          <a:pt x="146" y="96"/>
                        </a:lnTo>
                        <a:lnTo>
                          <a:pt x="148" y="98"/>
                        </a:lnTo>
                        <a:lnTo>
                          <a:pt x="150" y="98"/>
                        </a:lnTo>
                        <a:lnTo>
                          <a:pt x="154" y="102"/>
                        </a:lnTo>
                        <a:lnTo>
                          <a:pt x="154" y="104"/>
                        </a:lnTo>
                        <a:lnTo>
                          <a:pt x="156" y="106"/>
                        </a:lnTo>
                        <a:lnTo>
                          <a:pt x="156" y="104"/>
                        </a:lnTo>
                        <a:lnTo>
                          <a:pt x="154" y="100"/>
                        </a:lnTo>
                        <a:lnTo>
                          <a:pt x="154" y="98"/>
                        </a:lnTo>
                        <a:lnTo>
                          <a:pt x="152" y="98"/>
                        </a:lnTo>
                        <a:lnTo>
                          <a:pt x="152" y="94"/>
                        </a:lnTo>
                        <a:lnTo>
                          <a:pt x="154" y="92"/>
                        </a:lnTo>
                        <a:lnTo>
                          <a:pt x="160" y="94"/>
                        </a:lnTo>
                        <a:lnTo>
                          <a:pt x="160" y="96"/>
                        </a:lnTo>
                        <a:lnTo>
                          <a:pt x="166" y="100"/>
                        </a:lnTo>
                        <a:lnTo>
                          <a:pt x="166" y="104"/>
                        </a:lnTo>
                        <a:lnTo>
                          <a:pt x="168" y="106"/>
                        </a:lnTo>
                        <a:lnTo>
                          <a:pt x="168" y="108"/>
                        </a:lnTo>
                        <a:lnTo>
                          <a:pt x="170" y="108"/>
                        </a:lnTo>
                        <a:lnTo>
                          <a:pt x="172" y="110"/>
                        </a:lnTo>
                        <a:lnTo>
                          <a:pt x="174" y="110"/>
                        </a:lnTo>
                        <a:lnTo>
                          <a:pt x="176" y="110"/>
                        </a:lnTo>
                        <a:lnTo>
                          <a:pt x="178" y="110"/>
                        </a:lnTo>
                        <a:lnTo>
                          <a:pt x="180" y="110"/>
                        </a:lnTo>
                        <a:lnTo>
                          <a:pt x="186" y="116"/>
                        </a:lnTo>
                        <a:lnTo>
                          <a:pt x="188" y="118"/>
                        </a:lnTo>
                        <a:lnTo>
                          <a:pt x="190" y="118"/>
                        </a:lnTo>
                        <a:lnTo>
                          <a:pt x="190" y="122"/>
                        </a:lnTo>
                        <a:lnTo>
                          <a:pt x="190" y="126"/>
                        </a:lnTo>
                        <a:lnTo>
                          <a:pt x="190" y="128"/>
                        </a:lnTo>
                        <a:lnTo>
                          <a:pt x="198" y="136"/>
                        </a:lnTo>
                        <a:lnTo>
                          <a:pt x="210" y="136"/>
                        </a:lnTo>
                        <a:lnTo>
                          <a:pt x="212" y="138"/>
                        </a:lnTo>
                        <a:lnTo>
                          <a:pt x="214" y="142"/>
                        </a:lnTo>
                        <a:lnTo>
                          <a:pt x="214" y="144"/>
                        </a:lnTo>
                        <a:lnTo>
                          <a:pt x="206" y="148"/>
                        </a:lnTo>
                        <a:lnTo>
                          <a:pt x="202" y="150"/>
                        </a:lnTo>
                        <a:lnTo>
                          <a:pt x="200" y="150"/>
                        </a:lnTo>
                        <a:lnTo>
                          <a:pt x="198" y="150"/>
                        </a:lnTo>
                        <a:lnTo>
                          <a:pt x="196" y="150"/>
                        </a:lnTo>
                        <a:lnTo>
                          <a:pt x="200" y="150"/>
                        </a:lnTo>
                        <a:lnTo>
                          <a:pt x="200" y="152"/>
                        </a:lnTo>
                        <a:lnTo>
                          <a:pt x="202" y="152"/>
                        </a:lnTo>
                        <a:lnTo>
                          <a:pt x="202" y="150"/>
                        </a:lnTo>
                        <a:lnTo>
                          <a:pt x="210" y="150"/>
                        </a:lnTo>
                        <a:lnTo>
                          <a:pt x="210" y="148"/>
                        </a:lnTo>
                        <a:lnTo>
                          <a:pt x="216" y="144"/>
                        </a:lnTo>
                        <a:lnTo>
                          <a:pt x="218" y="144"/>
                        </a:lnTo>
                        <a:lnTo>
                          <a:pt x="220" y="142"/>
                        </a:lnTo>
                        <a:lnTo>
                          <a:pt x="222" y="142"/>
                        </a:lnTo>
                        <a:lnTo>
                          <a:pt x="224" y="142"/>
                        </a:lnTo>
                        <a:lnTo>
                          <a:pt x="226" y="142"/>
                        </a:lnTo>
                        <a:lnTo>
                          <a:pt x="232" y="148"/>
                        </a:lnTo>
                        <a:lnTo>
                          <a:pt x="234" y="148"/>
                        </a:lnTo>
                        <a:lnTo>
                          <a:pt x="234" y="152"/>
                        </a:lnTo>
                        <a:lnTo>
                          <a:pt x="234" y="154"/>
                        </a:lnTo>
                        <a:lnTo>
                          <a:pt x="234" y="156"/>
                        </a:lnTo>
                        <a:lnTo>
                          <a:pt x="232" y="156"/>
                        </a:lnTo>
                        <a:lnTo>
                          <a:pt x="230" y="156"/>
                        </a:lnTo>
                        <a:lnTo>
                          <a:pt x="228" y="156"/>
                        </a:lnTo>
                        <a:lnTo>
                          <a:pt x="228" y="158"/>
                        </a:lnTo>
                        <a:lnTo>
                          <a:pt x="224" y="160"/>
                        </a:lnTo>
                        <a:lnTo>
                          <a:pt x="224" y="162"/>
                        </a:lnTo>
                        <a:lnTo>
                          <a:pt x="220" y="162"/>
                        </a:lnTo>
                        <a:lnTo>
                          <a:pt x="222" y="162"/>
                        </a:lnTo>
                        <a:lnTo>
                          <a:pt x="224" y="162"/>
                        </a:lnTo>
                        <a:lnTo>
                          <a:pt x="226" y="162"/>
                        </a:lnTo>
                        <a:lnTo>
                          <a:pt x="226" y="164"/>
                        </a:lnTo>
                        <a:lnTo>
                          <a:pt x="224" y="166"/>
                        </a:lnTo>
                        <a:lnTo>
                          <a:pt x="222" y="166"/>
                        </a:lnTo>
                        <a:lnTo>
                          <a:pt x="224" y="166"/>
                        </a:lnTo>
                        <a:lnTo>
                          <a:pt x="226" y="166"/>
                        </a:lnTo>
                        <a:lnTo>
                          <a:pt x="228" y="166"/>
                        </a:lnTo>
                        <a:lnTo>
                          <a:pt x="230" y="168"/>
                        </a:lnTo>
                        <a:lnTo>
                          <a:pt x="224" y="172"/>
                        </a:lnTo>
                        <a:lnTo>
                          <a:pt x="222" y="174"/>
                        </a:lnTo>
                        <a:lnTo>
                          <a:pt x="224" y="176"/>
                        </a:lnTo>
                        <a:lnTo>
                          <a:pt x="226" y="176"/>
                        </a:lnTo>
                        <a:lnTo>
                          <a:pt x="228" y="180"/>
                        </a:lnTo>
                        <a:lnTo>
                          <a:pt x="230" y="182"/>
                        </a:lnTo>
                        <a:lnTo>
                          <a:pt x="232" y="182"/>
                        </a:lnTo>
                        <a:lnTo>
                          <a:pt x="232" y="184"/>
                        </a:lnTo>
                        <a:lnTo>
                          <a:pt x="236" y="184"/>
                        </a:lnTo>
                        <a:lnTo>
                          <a:pt x="238" y="184"/>
                        </a:lnTo>
                        <a:lnTo>
                          <a:pt x="238" y="182"/>
                        </a:lnTo>
                        <a:lnTo>
                          <a:pt x="246" y="184"/>
                        </a:lnTo>
                        <a:lnTo>
                          <a:pt x="250" y="184"/>
                        </a:lnTo>
                        <a:lnTo>
                          <a:pt x="252" y="186"/>
                        </a:lnTo>
                        <a:lnTo>
                          <a:pt x="252" y="188"/>
                        </a:lnTo>
                        <a:lnTo>
                          <a:pt x="250" y="188"/>
                        </a:lnTo>
                        <a:lnTo>
                          <a:pt x="250" y="190"/>
                        </a:lnTo>
                        <a:lnTo>
                          <a:pt x="252" y="190"/>
                        </a:lnTo>
                        <a:lnTo>
                          <a:pt x="252" y="192"/>
                        </a:lnTo>
                        <a:lnTo>
                          <a:pt x="252" y="198"/>
                        </a:lnTo>
                        <a:lnTo>
                          <a:pt x="254" y="200"/>
                        </a:lnTo>
                        <a:lnTo>
                          <a:pt x="254" y="202"/>
                        </a:lnTo>
                        <a:lnTo>
                          <a:pt x="254" y="204"/>
                        </a:lnTo>
                        <a:lnTo>
                          <a:pt x="254" y="206"/>
                        </a:lnTo>
                        <a:lnTo>
                          <a:pt x="254" y="208"/>
                        </a:lnTo>
                        <a:lnTo>
                          <a:pt x="254" y="206"/>
                        </a:lnTo>
                        <a:lnTo>
                          <a:pt x="256" y="206"/>
                        </a:lnTo>
                        <a:lnTo>
                          <a:pt x="256" y="208"/>
                        </a:lnTo>
                        <a:lnTo>
                          <a:pt x="260" y="210"/>
                        </a:lnTo>
                        <a:lnTo>
                          <a:pt x="262" y="210"/>
                        </a:lnTo>
                        <a:lnTo>
                          <a:pt x="264" y="212"/>
                        </a:lnTo>
                        <a:lnTo>
                          <a:pt x="264" y="214"/>
                        </a:lnTo>
                        <a:lnTo>
                          <a:pt x="260" y="220"/>
                        </a:lnTo>
                        <a:lnTo>
                          <a:pt x="260" y="224"/>
                        </a:lnTo>
                        <a:lnTo>
                          <a:pt x="260" y="226"/>
                        </a:lnTo>
                        <a:lnTo>
                          <a:pt x="258" y="226"/>
                        </a:lnTo>
                        <a:lnTo>
                          <a:pt x="258" y="228"/>
                        </a:lnTo>
                        <a:lnTo>
                          <a:pt x="256" y="228"/>
                        </a:lnTo>
                        <a:lnTo>
                          <a:pt x="254" y="230"/>
                        </a:lnTo>
                        <a:lnTo>
                          <a:pt x="254" y="232"/>
                        </a:lnTo>
                        <a:lnTo>
                          <a:pt x="256" y="230"/>
                        </a:lnTo>
                        <a:lnTo>
                          <a:pt x="258" y="228"/>
                        </a:lnTo>
                        <a:lnTo>
                          <a:pt x="260" y="228"/>
                        </a:lnTo>
                        <a:lnTo>
                          <a:pt x="260" y="226"/>
                        </a:lnTo>
                        <a:lnTo>
                          <a:pt x="260" y="224"/>
                        </a:lnTo>
                        <a:lnTo>
                          <a:pt x="262" y="220"/>
                        </a:lnTo>
                        <a:lnTo>
                          <a:pt x="264" y="218"/>
                        </a:lnTo>
                        <a:lnTo>
                          <a:pt x="266" y="220"/>
                        </a:lnTo>
                        <a:lnTo>
                          <a:pt x="268" y="220"/>
                        </a:lnTo>
                        <a:lnTo>
                          <a:pt x="270" y="220"/>
                        </a:lnTo>
                        <a:lnTo>
                          <a:pt x="272" y="220"/>
                        </a:lnTo>
                        <a:lnTo>
                          <a:pt x="274" y="220"/>
                        </a:lnTo>
                        <a:lnTo>
                          <a:pt x="276" y="220"/>
                        </a:lnTo>
                        <a:lnTo>
                          <a:pt x="282" y="222"/>
                        </a:lnTo>
                        <a:lnTo>
                          <a:pt x="284" y="220"/>
                        </a:lnTo>
                        <a:lnTo>
                          <a:pt x="284" y="222"/>
                        </a:lnTo>
                        <a:lnTo>
                          <a:pt x="284" y="224"/>
                        </a:lnTo>
                        <a:lnTo>
                          <a:pt x="284" y="226"/>
                        </a:lnTo>
                        <a:lnTo>
                          <a:pt x="284" y="228"/>
                        </a:lnTo>
                        <a:lnTo>
                          <a:pt x="286" y="228"/>
                        </a:lnTo>
                        <a:lnTo>
                          <a:pt x="286" y="230"/>
                        </a:lnTo>
                        <a:lnTo>
                          <a:pt x="288" y="230"/>
                        </a:lnTo>
                        <a:lnTo>
                          <a:pt x="290" y="230"/>
                        </a:lnTo>
                        <a:lnTo>
                          <a:pt x="290" y="236"/>
                        </a:lnTo>
                        <a:lnTo>
                          <a:pt x="292" y="236"/>
                        </a:lnTo>
                        <a:lnTo>
                          <a:pt x="294" y="236"/>
                        </a:lnTo>
                        <a:lnTo>
                          <a:pt x="296" y="236"/>
                        </a:lnTo>
                        <a:lnTo>
                          <a:pt x="296" y="238"/>
                        </a:lnTo>
                        <a:lnTo>
                          <a:pt x="296" y="244"/>
                        </a:lnTo>
                        <a:lnTo>
                          <a:pt x="296" y="246"/>
                        </a:lnTo>
                        <a:lnTo>
                          <a:pt x="292" y="248"/>
                        </a:lnTo>
                        <a:lnTo>
                          <a:pt x="292" y="250"/>
                        </a:lnTo>
                        <a:lnTo>
                          <a:pt x="290" y="256"/>
                        </a:lnTo>
                        <a:lnTo>
                          <a:pt x="290" y="258"/>
                        </a:lnTo>
                        <a:lnTo>
                          <a:pt x="292" y="260"/>
                        </a:lnTo>
                        <a:lnTo>
                          <a:pt x="294" y="260"/>
                        </a:lnTo>
                        <a:lnTo>
                          <a:pt x="294" y="262"/>
                        </a:lnTo>
                        <a:lnTo>
                          <a:pt x="292" y="262"/>
                        </a:lnTo>
                        <a:lnTo>
                          <a:pt x="292" y="264"/>
                        </a:lnTo>
                        <a:lnTo>
                          <a:pt x="292" y="266"/>
                        </a:lnTo>
                        <a:lnTo>
                          <a:pt x="290" y="266"/>
                        </a:lnTo>
                        <a:lnTo>
                          <a:pt x="290" y="268"/>
                        </a:lnTo>
                        <a:lnTo>
                          <a:pt x="290" y="272"/>
                        </a:lnTo>
                        <a:lnTo>
                          <a:pt x="290" y="274"/>
                        </a:lnTo>
                        <a:lnTo>
                          <a:pt x="290" y="276"/>
                        </a:lnTo>
                        <a:lnTo>
                          <a:pt x="292" y="278"/>
                        </a:lnTo>
                        <a:lnTo>
                          <a:pt x="292" y="284"/>
                        </a:lnTo>
                        <a:lnTo>
                          <a:pt x="290" y="286"/>
                        </a:lnTo>
                        <a:lnTo>
                          <a:pt x="290" y="288"/>
                        </a:lnTo>
                        <a:lnTo>
                          <a:pt x="292" y="288"/>
                        </a:lnTo>
                        <a:lnTo>
                          <a:pt x="290" y="314"/>
                        </a:lnTo>
                        <a:lnTo>
                          <a:pt x="288" y="316"/>
                        </a:lnTo>
                        <a:lnTo>
                          <a:pt x="288" y="318"/>
                        </a:lnTo>
                        <a:lnTo>
                          <a:pt x="276" y="308"/>
                        </a:lnTo>
                        <a:lnTo>
                          <a:pt x="276" y="304"/>
                        </a:lnTo>
                        <a:lnTo>
                          <a:pt x="274" y="304"/>
                        </a:lnTo>
                        <a:lnTo>
                          <a:pt x="272" y="308"/>
                        </a:lnTo>
                        <a:lnTo>
                          <a:pt x="272" y="312"/>
                        </a:lnTo>
                        <a:lnTo>
                          <a:pt x="272" y="314"/>
                        </a:lnTo>
                        <a:lnTo>
                          <a:pt x="264" y="312"/>
                        </a:lnTo>
                        <a:lnTo>
                          <a:pt x="262" y="308"/>
                        </a:lnTo>
                        <a:lnTo>
                          <a:pt x="260" y="308"/>
                        </a:lnTo>
                        <a:lnTo>
                          <a:pt x="258" y="306"/>
                        </a:lnTo>
                        <a:lnTo>
                          <a:pt x="254" y="306"/>
                        </a:lnTo>
                        <a:lnTo>
                          <a:pt x="254" y="308"/>
                        </a:lnTo>
                        <a:lnTo>
                          <a:pt x="254" y="310"/>
                        </a:lnTo>
                        <a:lnTo>
                          <a:pt x="256" y="310"/>
                        </a:lnTo>
                        <a:lnTo>
                          <a:pt x="256" y="312"/>
                        </a:lnTo>
                        <a:lnTo>
                          <a:pt x="258" y="312"/>
                        </a:lnTo>
                        <a:lnTo>
                          <a:pt x="258" y="314"/>
                        </a:lnTo>
                        <a:lnTo>
                          <a:pt x="260" y="314"/>
                        </a:lnTo>
                        <a:lnTo>
                          <a:pt x="260" y="318"/>
                        </a:lnTo>
                        <a:lnTo>
                          <a:pt x="254" y="318"/>
                        </a:lnTo>
                        <a:lnTo>
                          <a:pt x="254" y="316"/>
                        </a:lnTo>
                        <a:lnTo>
                          <a:pt x="252" y="314"/>
                        </a:lnTo>
                        <a:lnTo>
                          <a:pt x="248" y="310"/>
                        </a:lnTo>
                        <a:lnTo>
                          <a:pt x="248" y="308"/>
                        </a:lnTo>
                        <a:lnTo>
                          <a:pt x="246" y="308"/>
                        </a:lnTo>
                        <a:lnTo>
                          <a:pt x="244" y="306"/>
                        </a:lnTo>
                        <a:lnTo>
                          <a:pt x="240" y="302"/>
                        </a:lnTo>
                        <a:lnTo>
                          <a:pt x="240" y="300"/>
                        </a:lnTo>
                        <a:lnTo>
                          <a:pt x="232" y="292"/>
                        </a:lnTo>
                        <a:lnTo>
                          <a:pt x="230" y="290"/>
                        </a:lnTo>
                        <a:lnTo>
                          <a:pt x="228" y="290"/>
                        </a:lnTo>
                        <a:lnTo>
                          <a:pt x="224" y="288"/>
                        </a:lnTo>
                        <a:lnTo>
                          <a:pt x="222" y="286"/>
                        </a:lnTo>
                        <a:lnTo>
                          <a:pt x="220" y="286"/>
                        </a:lnTo>
                        <a:lnTo>
                          <a:pt x="220" y="284"/>
                        </a:lnTo>
                        <a:lnTo>
                          <a:pt x="216" y="280"/>
                        </a:lnTo>
                        <a:lnTo>
                          <a:pt x="214" y="280"/>
                        </a:lnTo>
                        <a:lnTo>
                          <a:pt x="192" y="264"/>
                        </a:lnTo>
                        <a:lnTo>
                          <a:pt x="192" y="260"/>
                        </a:lnTo>
                        <a:lnTo>
                          <a:pt x="192" y="256"/>
                        </a:lnTo>
                        <a:lnTo>
                          <a:pt x="172" y="240"/>
                        </a:lnTo>
                        <a:lnTo>
                          <a:pt x="172" y="238"/>
                        </a:lnTo>
                        <a:lnTo>
                          <a:pt x="170" y="238"/>
                        </a:lnTo>
                        <a:lnTo>
                          <a:pt x="166" y="230"/>
                        </a:lnTo>
                        <a:lnTo>
                          <a:pt x="164" y="228"/>
                        </a:lnTo>
                        <a:lnTo>
                          <a:pt x="162" y="228"/>
                        </a:lnTo>
                        <a:lnTo>
                          <a:pt x="160" y="226"/>
                        </a:lnTo>
                        <a:lnTo>
                          <a:pt x="158" y="224"/>
                        </a:lnTo>
                        <a:lnTo>
                          <a:pt x="158" y="222"/>
                        </a:lnTo>
                        <a:lnTo>
                          <a:pt x="154" y="220"/>
                        </a:lnTo>
                        <a:lnTo>
                          <a:pt x="154" y="216"/>
                        </a:lnTo>
                        <a:lnTo>
                          <a:pt x="154" y="214"/>
                        </a:lnTo>
                        <a:lnTo>
                          <a:pt x="154" y="212"/>
                        </a:lnTo>
                        <a:lnTo>
                          <a:pt x="154" y="210"/>
                        </a:lnTo>
                        <a:lnTo>
                          <a:pt x="154" y="208"/>
                        </a:lnTo>
                        <a:lnTo>
                          <a:pt x="150" y="202"/>
                        </a:lnTo>
                        <a:lnTo>
                          <a:pt x="150" y="200"/>
                        </a:lnTo>
                        <a:lnTo>
                          <a:pt x="148" y="200"/>
                        </a:lnTo>
                        <a:lnTo>
                          <a:pt x="146" y="194"/>
                        </a:lnTo>
                        <a:lnTo>
                          <a:pt x="146" y="192"/>
                        </a:lnTo>
                        <a:lnTo>
                          <a:pt x="142" y="190"/>
                        </a:lnTo>
                        <a:lnTo>
                          <a:pt x="140" y="180"/>
                        </a:lnTo>
                        <a:lnTo>
                          <a:pt x="140" y="178"/>
                        </a:lnTo>
                        <a:lnTo>
                          <a:pt x="136" y="174"/>
                        </a:lnTo>
                        <a:lnTo>
                          <a:pt x="134" y="172"/>
                        </a:lnTo>
                        <a:lnTo>
                          <a:pt x="132" y="172"/>
                        </a:lnTo>
                        <a:lnTo>
                          <a:pt x="132" y="170"/>
                        </a:lnTo>
                        <a:lnTo>
                          <a:pt x="132" y="168"/>
                        </a:lnTo>
                        <a:lnTo>
                          <a:pt x="130" y="168"/>
                        </a:lnTo>
                        <a:lnTo>
                          <a:pt x="126" y="164"/>
                        </a:lnTo>
                        <a:lnTo>
                          <a:pt x="124" y="160"/>
                        </a:lnTo>
                        <a:lnTo>
                          <a:pt x="124" y="156"/>
                        </a:lnTo>
                        <a:lnTo>
                          <a:pt x="120" y="154"/>
                        </a:lnTo>
                        <a:lnTo>
                          <a:pt x="120" y="152"/>
                        </a:lnTo>
                        <a:lnTo>
                          <a:pt x="114" y="150"/>
                        </a:lnTo>
                        <a:lnTo>
                          <a:pt x="110" y="150"/>
                        </a:lnTo>
                        <a:lnTo>
                          <a:pt x="108" y="150"/>
                        </a:lnTo>
                        <a:lnTo>
                          <a:pt x="108" y="148"/>
                        </a:lnTo>
                        <a:lnTo>
                          <a:pt x="106" y="146"/>
                        </a:lnTo>
                        <a:lnTo>
                          <a:pt x="108" y="144"/>
                        </a:lnTo>
                        <a:lnTo>
                          <a:pt x="104" y="134"/>
                        </a:lnTo>
                        <a:lnTo>
                          <a:pt x="96" y="114"/>
                        </a:lnTo>
                        <a:lnTo>
                          <a:pt x="96" y="112"/>
                        </a:lnTo>
                        <a:lnTo>
                          <a:pt x="96" y="114"/>
                        </a:lnTo>
                        <a:lnTo>
                          <a:pt x="98" y="112"/>
                        </a:lnTo>
                        <a:lnTo>
                          <a:pt x="98" y="110"/>
                        </a:lnTo>
                        <a:lnTo>
                          <a:pt x="96" y="108"/>
                        </a:lnTo>
                        <a:lnTo>
                          <a:pt x="90" y="104"/>
                        </a:lnTo>
                        <a:lnTo>
                          <a:pt x="90" y="102"/>
                        </a:lnTo>
                        <a:lnTo>
                          <a:pt x="88" y="102"/>
                        </a:lnTo>
                        <a:lnTo>
                          <a:pt x="80" y="96"/>
                        </a:lnTo>
                        <a:lnTo>
                          <a:pt x="78" y="96"/>
                        </a:lnTo>
                        <a:lnTo>
                          <a:pt x="74" y="94"/>
                        </a:lnTo>
                        <a:lnTo>
                          <a:pt x="72" y="94"/>
                        </a:lnTo>
                        <a:lnTo>
                          <a:pt x="70" y="94"/>
                        </a:lnTo>
                        <a:lnTo>
                          <a:pt x="68" y="94"/>
                        </a:lnTo>
                        <a:lnTo>
                          <a:pt x="66" y="90"/>
                        </a:lnTo>
                        <a:lnTo>
                          <a:pt x="66" y="80"/>
                        </a:lnTo>
                        <a:lnTo>
                          <a:pt x="66" y="78"/>
                        </a:lnTo>
                        <a:lnTo>
                          <a:pt x="64" y="78"/>
                        </a:lnTo>
                        <a:lnTo>
                          <a:pt x="64" y="76"/>
                        </a:lnTo>
                        <a:lnTo>
                          <a:pt x="64" y="78"/>
                        </a:lnTo>
                        <a:lnTo>
                          <a:pt x="64" y="76"/>
                        </a:lnTo>
                        <a:lnTo>
                          <a:pt x="62" y="76"/>
                        </a:lnTo>
                        <a:lnTo>
                          <a:pt x="60" y="76"/>
                        </a:lnTo>
                        <a:lnTo>
                          <a:pt x="58" y="72"/>
                        </a:lnTo>
                        <a:lnTo>
                          <a:pt x="56" y="72"/>
                        </a:lnTo>
                        <a:lnTo>
                          <a:pt x="56" y="68"/>
                        </a:lnTo>
                        <a:lnTo>
                          <a:pt x="56" y="66"/>
                        </a:lnTo>
                        <a:lnTo>
                          <a:pt x="54" y="66"/>
                        </a:lnTo>
                        <a:lnTo>
                          <a:pt x="50" y="62"/>
                        </a:lnTo>
                        <a:lnTo>
                          <a:pt x="50" y="60"/>
                        </a:lnTo>
                        <a:lnTo>
                          <a:pt x="50" y="58"/>
                        </a:lnTo>
                        <a:lnTo>
                          <a:pt x="46" y="56"/>
                        </a:lnTo>
                        <a:lnTo>
                          <a:pt x="44" y="56"/>
                        </a:lnTo>
                        <a:lnTo>
                          <a:pt x="44" y="54"/>
                        </a:lnTo>
                        <a:lnTo>
                          <a:pt x="36" y="54"/>
                        </a:lnTo>
                        <a:lnTo>
                          <a:pt x="32" y="50"/>
                        </a:lnTo>
                        <a:lnTo>
                          <a:pt x="32" y="48"/>
                        </a:lnTo>
                        <a:lnTo>
                          <a:pt x="28" y="46"/>
                        </a:lnTo>
                        <a:lnTo>
                          <a:pt x="28" y="44"/>
                        </a:lnTo>
                        <a:lnTo>
                          <a:pt x="26" y="44"/>
                        </a:lnTo>
                        <a:lnTo>
                          <a:pt x="26" y="42"/>
                        </a:lnTo>
                        <a:lnTo>
                          <a:pt x="24" y="42"/>
                        </a:lnTo>
                        <a:lnTo>
                          <a:pt x="22" y="40"/>
                        </a:lnTo>
                        <a:lnTo>
                          <a:pt x="12" y="30"/>
                        </a:lnTo>
                        <a:lnTo>
                          <a:pt x="10" y="28"/>
                        </a:lnTo>
                        <a:lnTo>
                          <a:pt x="8" y="28"/>
                        </a:lnTo>
                        <a:lnTo>
                          <a:pt x="2" y="16"/>
                        </a:lnTo>
                        <a:lnTo>
                          <a:pt x="2" y="14"/>
                        </a:lnTo>
                        <a:lnTo>
                          <a:pt x="0" y="10"/>
                        </a:lnTo>
                        <a:lnTo>
                          <a:pt x="0" y="8"/>
                        </a:lnTo>
                        <a:lnTo>
                          <a:pt x="2" y="8"/>
                        </a:lnTo>
                        <a:lnTo>
                          <a:pt x="0" y="8"/>
                        </a:lnTo>
                        <a:lnTo>
                          <a:pt x="0" y="6"/>
                        </a:lnTo>
                        <a:lnTo>
                          <a:pt x="0" y="2"/>
                        </a:lnTo>
                        <a:lnTo>
                          <a:pt x="2" y="2"/>
                        </a:lnTo>
                        <a:lnTo>
                          <a:pt x="4" y="0"/>
                        </a:lnTo>
                        <a:lnTo>
                          <a:pt x="10" y="2"/>
                        </a:lnTo>
                        <a:lnTo>
                          <a:pt x="18" y="4"/>
                        </a:lnTo>
                        <a:lnTo>
                          <a:pt x="18" y="6"/>
                        </a:lnTo>
                        <a:lnTo>
                          <a:pt x="22" y="10"/>
                        </a:lnTo>
                        <a:lnTo>
                          <a:pt x="24" y="10"/>
                        </a:lnTo>
                        <a:lnTo>
                          <a:pt x="30" y="12"/>
                        </a:lnTo>
                        <a:lnTo>
                          <a:pt x="32" y="12"/>
                        </a:lnTo>
                        <a:lnTo>
                          <a:pt x="32" y="14"/>
                        </a:lnTo>
                        <a:lnTo>
                          <a:pt x="38" y="14"/>
                        </a:lnTo>
                        <a:lnTo>
                          <a:pt x="38" y="12"/>
                        </a:lnTo>
                        <a:lnTo>
                          <a:pt x="40" y="12"/>
                        </a:lnTo>
                        <a:lnTo>
                          <a:pt x="42" y="12"/>
                        </a:lnTo>
                        <a:lnTo>
                          <a:pt x="44" y="12"/>
                        </a:lnTo>
                        <a:lnTo>
                          <a:pt x="44" y="10"/>
                        </a:lnTo>
                        <a:lnTo>
                          <a:pt x="50" y="12"/>
                        </a:lnTo>
                        <a:lnTo>
                          <a:pt x="52" y="12"/>
                        </a:lnTo>
                        <a:lnTo>
                          <a:pt x="52" y="14"/>
                        </a:lnTo>
                        <a:lnTo>
                          <a:pt x="54" y="14"/>
                        </a:lnTo>
                        <a:lnTo>
                          <a:pt x="56" y="14"/>
                        </a:lnTo>
                        <a:lnTo>
                          <a:pt x="60" y="14"/>
                        </a:lnTo>
                        <a:lnTo>
                          <a:pt x="60" y="12"/>
                        </a:lnTo>
                        <a:lnTo>
                          <a:pt x="62" y="12"/>
                        </a:lnTo>
                        <a:lnTo>
                          <a:pt x="64" y="12"/>
                        </a:lnTo>
                        <a:lnTo>
                          <a:pt x="64" y="14"/>
                        </a:lnTo>
                        <a:lnTo>
                          <a:pt x="66" y="14"/>
                        </a:lnTo>
                        <a:lnTo>
                          <a:pt x="66" y="16"/>
                        </a:lnTo>
                        <a:lnTo>
                          <a:pt x="72" y="22"/>
                        </a:lnTo>
                        <a:lnTo>
                          <a:pt x="74" y="22"/>
                        </a:lnTo>
                        <a:lnTo>
                          <a:pt x="74" y="24"/>
                        </a:lnTo>
                        <a:lnTo>
                          <a:pt x="74" y="26"/>
                        </a:lnTo>
                        <a:lnTo>
                          <a:pt x="76" y="26"/>
                        </a:lnTo>
                        <a:lnTo>
                          <a:pt x="76" y="32"/>
                        </a:lnTo>
                        <a:lnTo>
                          <a:pt x="78" y="32"/>
                        </a:lnTo>
                        <a:lnTo>
                          <a:pt x="80" y="32"/>
                        </a:lnTo>
                        <a:lnTo>
                          <a:pt x="82" y="32"/>
                        </a:lnTo>
                        <a:lnTo>
                          <a:pt x="84" y="34"/>
                        </a:lnTo>
                        <a:lnTo>
                          <a:pt x="84" y="36"/>
                        </a:lnTo>
                        <a:lnTo>
                          <a:pt x="84" y="38"/>
                        </a:lnTo>
                        <a:lnTo>
                          <a:pt x="84" y="42"/>
                        </a:lnTo>
                        <a:lnTo>
                          <a:pt x="90" y="46"/>
                        </a:lnTo>
                        <a:lnTo>
                          <a:pt x="94" y="48"/>
                        </a:lnTo>
                        <a:lnTo>
                          <a:pt x="96" y="50"/>
                        </a:lnTo>
                        <a:lnTo>
                          <a:pt x="96" y="52"/>
                        </a:lnTo>
                        <a:lnTo>
                          <a:pt x="98" y="54"/>
                        </a:lnTo>
                        <a:lnTo>
                          <a:pt x="100" y="54"/>
                        </a:lnTo>
                        <a:lnTo>
                          <a:pt x="100" y="56"/>
                        </a:lnTo>
                        <a:lnTo>
                          <a:pt x="106" y="56"/>
                        </a:lnTo>
                        <a:lnTo>
                          <a:pt x="108" y="58"/>
                        </a:lnTo>
                        <a:lnTo>
                          <a:pt x="110" y="58"/>
                        </a:lnTo>
                        <a:lnTo>
                          <a:pt x="110" y="60"/>
                        </a:lnTo>
                        <a:lnTo>
                          <a:pt x="118" y="66"/>
                        </a:lnTo>
                        <a:lnTo>
                          <a:pt x="120" y="66"/>
                        </a:lnTo>
                        <a:lnTo>
                          <a:pt x="120" y="68"/>
                        </a:lnTo>
                        <a:lnTo>
                          <a:pt x="124" y="70"/>
                        </a:lnTo>
                        <a:lnTo>
                          <a:pt x="130" y="74"/>
                        </a:lnTo>
                        <a:lnTo>
                          <a:pt x="130" y="80"/>
                        </a:lnTo>
                        <a:lnTo>
                          <a:pt x="130" y="82"/>
                        </a:lnTo>
                        <a:lnTo>
                          <a:pt x="132" y="84"/>
                        </a:lnTo>
                        <a:lnTo>
                          <a:pt x="132" y="82"/>
                        </a:lnTo>
                        <a:lnTo>
                          <a:pt x="130" y="82"/>
                        </a:lnTo>
                        <a:lnTo>
                          <a:pt x="130" y="80"/>
                        </a:lnTo>
                        <a:lnTo>
                          <a:pt x="132" y="80"/>
                        </a:lnTo>
                        <a:lnTo>
                          <a:pt x="132" y="82"/>
                        </a:lnTo>
                        <a:lnTo>
                          <a:pt x="132" y="84"/>
                        </a:lnTo>
                        <a:lnTo>
                          <a:pt x="134" y="86"/>
                        </a:lnTo>
                        <a:lnTo>
                          <a:pt x="134" y="82"/>
                        </a:lnTo>
                        <a:lnTo>
                          <a:pt x="136" y="82"/>
                        </a:lnTo>
                        <a:lnTo>
                          <a:pt x="138" y="84"/>
                        </a:lnTo>
                        <a:lnTo>
                          <a:pt x="140" y="86"/>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6" name="Freeform 3250"/>
                  <p:cNvSpPr>
                    <a:spLocks/>
                  </p:cNvSpPr>
                  <p:nvPr/>
                </p:nvSpPr>
                <p:spPr bwMode="auto">
                  <a:xfrm>
                    <a:off x="5408435" y="5159898"/>
                    <a:ext cx="577639" cy="486215"/>
                  </a:xfrm>
                  <a:custGeom>
                    <a:avLst/>
                    <a:gdLst/>
                    <a:ahLst/>
                    <a:cxnLst>
                      <a:cxn ang="0">
                        <a:pos x="206" y="188"/>
                      </a:cxn>
                      <a:cxn ang="0">
                        <a:pos x="202" y="202"/>
                      </a:cxn>
                      <a:cxn ang="0">
                        <a:pos x="200" y="206"/>
                      </a:cxn>
                      <a:cxn ang="0">
                        <a:pos x="192" y="218"/>
                      </a:cxn>
                      <a:cxn ang="0">
                        <a:pos x="168" y="230"/>
                      </a:cxn>
                      <a:cxn ang="0">
                        <a:pos x="152" y="214"/>
                      </a:cxn>
                      <a:cxn ang="0">
                        <a:pos x="132" y="214"/>
                      </a:cxn>
                      <a:cxn ang="0">
                        <a:pos x="126" y="206"/>
                      </a:cxn>
                      <a:cxn ang="0">
                        <a:pos x="112" y="206"/>
                      </a:cxn>
                      <a:cxn ang="0">
                        <a:pos x="96" y="212"/>
                      </a:cxn>
                      <a:cxn ang="0">
                        <a:pos x="82" y="216"/>
                      </a:cxn>
                      <a:cxn ang="0">
                        <a:pos x="78" y="196"/>
                      </a:cxn>
                      <a:cxn ang="0">
                        <a:pos x="64" y="202"/>
                      </a:cxn>
                      <a:cxn ang="0">
                        <a:pos x="56" y="200"/>
                      </a:cxn>
                      <a:cxn ang="0">
                        <a:pos x="50" y="202"/>
                      </a:cxn>
                      <a:cxn ang="0">
                        <a:pos x="38" y="198"/>
                      </a:cxn>
                      <a:cxn ang="0">
                        <a:pos x="36" y="172"/>
                      </a:cxn>
                      <a:cxn ang="0">
                        <a:pos x="34" y="166"/>
                      </a:cxn>
                      <a:cxn ang="0">
                        <a:pos x="22" y="146"/>
                      </a:cxn>
                      <a:cxn ang="0">
                        <a:pos x="12" y="142"/>
                      </a:cxn>
                      <a:cxn ang="0">
                        <a:pos x="8" y="134"/>
                      </a:cxn>
                      <a:cxn ang="0">
                        <a:pos x="8" y="114"/>
                      </a:cxn>
                      <a:cxn ang="0">
                        <a:pos x="0" y="96"/>
                      </a:cxn>
                      <a:cxn ang="0">
                        <a:pos x="12" y="82"/>
                      </a:cxn>
                      <a:cxn ang="0">
                        <a:pos x="6" y="78"/>
                      </a:cxn>
                      <a:cxn ang="0">
                        <a:pos x="14" y="68"/>
                      </a:cxn>
                      <a:cxn ang="0">
                        <a:pos x="24" y="72"/>
                      </a:cxn>
                      <a:cxn ang="0">
                        <a:pos x="36" y="88"/>
                      </a:cxn>
                      <a:cxn ang="0">
                        <a:pos x="58" y="92"/>
                      </a:cxn>
                      <a:cxn ang="0">
                        <a:pos x="78" y="90"/>
                      </a:cxn>
                      <a:cxn ang="0">
                        <a:pos x="90" y="88"/>
                      </a:cxn>
                      <a:cxn ang="0">
                        <a:pos x="106" y="78"/>
                      </a:cxn>
                      <a:cxn ang="0">
                        <a:pos x="130" y="86"/>
                      </a:cxn>
                      <a:cxn ang="0">
                        <a:pos x="154" y="78"/>
                      </a:cxn>
                      <a:cxn ang="0">
                        <a:pos x="166" y="64"/>
                      </a:cxn>
                      <a:cxn ang="0">
                        <a:pos x="176" y="50"/>
                      </a:cxn>
                      <a:cxn ang="0">
                        <a:pos x="178" y="38"/>
                      </a:cxn>
                      <a:cxn ang="0">
                        <a:pos x="184" y="26"/>
                      </a:cxn>
                      <a:cxn ang="0">
                        <a:pos x="192" y="2"/>
                      </a:cxn>
                      <a:cxn ang="0">
                        <a:pos x="206" y="0"/>
                      </a:cxn>
                      <a:cxn ang="0">
                        <a:pos x="224" y="2"/>
                      </a:cxn>
                      <a:cxn ang="0">
                        <a:pos x="236" y="6"/>
                      </a:cxn>
                      <a:cxn ang="0">
                        <a:pos x="240" y="12"/>
                      </a:cxn>
                      <a:cxn ang="0">
                        <a:pos x="244" y="20"/>
                      </a:cxn>
                      <a:cxn ang="0">
                        <a:pos x="234" y="26"/>
                      </a:cxn>
                      <a:cxn ang="0">
                        <a:pos x="242" y="38"/>
                      </a:cxn>
                      <a:cxn ang="0">
                        <a:pos x="254" y="56"/>
                      </a:cxn>
                      <a:cxn ang="0">
                        <a:pos x="246" y="68"/>
                      </a:cxn>
                      <a:cxn ang="0">
                        <a:pos x="272" y="88"/>
                      </a:cxn>
                      <a:cxn ang="0">
                        <a:pos x="272" y="96"/>
                      </a:cxn>
                      <a:cxn ang="0">
                        <a:pos x="248" y="90"/>
                      </a:cxn>
                      <a:cxn ang="0">
                        <a:pos x="244" y="100"/>
                      </a:cxn>
                      <a:cxn ang="0">
                        <a:pos x="236" y="122"/>
                      </a:cxn>
                      <a:cxn ang="0">
                        <a:pos x="238" y="132"/>
                      </a:cxn>
                      <a:cxn ang="0">
                        <a:pos x="232" y="142"/>
                      </a:cxn>
                      <a:cxn ang="0">
                        <a:pos x="222" y="154"/>
                      </a:cxn>
                      <a:cxn ang="0">
                        <a:pos x="216" y="156"/>
                      </a:cxn>
                      <a:cxn ang="0">
                        <a:pos x="210" y="164"/>
                      </a:cxn>
                      <a:cxn ang="0">
                        <a:pos x="208" y="168"/>
                      </a:cxn>
                      <a:cxn ang="0">
                        <a:pos x="212" y="178"/>
                      </a:cxn>
                    </a:cxnLst>
                    <a:rect l="0" t="0" r="r" b="b"/>
                    <a:pathLst>
                      <a:path w="278" h="234">
                        <a:moveTo>
                          <a:pt x="212" y="182"/>
                        </a:moveTo>
                        <a:lnTo>
                          <a:pt x="212" y="184"/>
                        </a:lnTo>
                        <a:lnTo>
                          <a:pt x="212" y="186"/>
                        </a:lnTo>
                        <a:lnTo>
                          <a:pt x="212" y="190"/>
                        </a:lnTo>
                        <a:lnTo>
                          <a:pt x="210" y="190"/>
                        </a:lnTo>
                        <a:lnTo>
                          <a:pt x="210" y="188"/>
                        </a:lnTo>
                        <a:lnTo>
                          <a:pt x="206" y="188"/>
                        </a:lnTo>
                        <a:lnTo>
                          <a:pt x="204" y="190"/>
                        </a:lnTo>
                        <a:lnTo>
                          <a:pt x="206" y="192"/>
                        </a:lnTo>
                        <a:lnTo>
                          <a:pt x="206" y="198"/>
                        </a:lnTo>
                        <a:lnTo>
                          <a:pt x="206" y="200"/>
                        </a:lnTo>
                        <a:lnTo>
                          <a:pt x="204" y="200"/>
                        </a:lnTo>
                        <a:lnTo>
                          <a:pt x="204" y="202"/>
                        </a:lnTo>
                        <a:lnTo>
                          <a:pt x="202" y="202"/>
                        </a:lnTo>
                        <a:lnTo>
                          <a:pt x="202" y="200"/>
                        </a:lnTo>
                        <a:lnTo>
                          <a:pt x="200" y="196"/>
                        </a:lnTo>
                        <a:lnTo>
                          <a:pt x="200" y="200"/>
                        </a:lnTo>
                        <a:lnTo>
                          <a:pt x="200" y="204"/>
                        </a:lnTo>
                        <a:lnTo>
                          <a:pt x="202" y="204"/>
                        </a:lnTo>
                        <a:lnTo>
                          <a:pt x="202" y="206"/>
                        </a:lnTo>
                        <a:lnTo>
                          <a:pt x="200" y="206"/>
                        </a:lnTo>
                        <a:lnTo>
                          <a:pt x="200" y="208"/>
                        </a:lnTo>
                        <a:lnTo>
                          <a:pt x="200" y="210"/>
                        </a:lnTo>
                        <a:lnTo>
                          <a:pt x="196" y="214"/>
                        </a:lnTo>
                        <a:lnTo>
                          <a:pt x="196" y="216"/>
                        </a:lnTo>
                        <a:lnTo>
                          <a:pt x="196" y="218"/>
                        </a:lnTo>
                        <a:lnTo>
                          <a:pt x="194" y="218"/>
                        </a:lnTo>
                        <a:lnTo>
                          <a:pt x="192" y="218"/>
                        </a:lnTo>
                        <a:lnTo>
                          <a:pt x="192" y="220"/>
                        </a:lnTo>
                        <a:lnTo>
                          <a:pt x="190" y="220"/>
                        </a:lnTo>
                        <a:lnTo>
                          <a:pt x="190" y="222"/>
                        </a:lnTo>
                        <a:lnTo>
                          <a:pt x="188" y="222"/>
                        </a:lnTo>
                        <a:lnTo>
                          <a:pt x="178" y="226"/>
                        </a:lnTo>
                        <a:lnTo>
                          <a:pt x="176" y="226"/>
                        </a:lnTo>
                        <a:lnTo>
                          <a:pt x="168" y="230"/>
                        </a:lnTo>
                        <a:lnTo>
                          <a:pt x="166" y="230"/>
                        </a:lnTo>
                        <a:lnTo>
                          <a:pt x="160" y="234"/>
                        </a:lnTo>
                        <a:lnTo>
                          <a:pt x="158" y="234"/>
                        </a:lnTo>
                        <a:lnTo>
                          <a:pt x="158" y="218"/>
                        </a:lnTo>
                        <a:lnTo>
                          <a:pt x="154" y="216"/>
                        </a:lnTo>
                        <a:lnTo>
                          <a:pt x="152" y="216"/>
                        </a:lnTo>
                        <a:lnTo>
                          <a:pt x="152" y="214"/>
                        </a:lnTo>
                        <a:lnTo>
                          <a:pt x="150" y="214"/>
                        </a:lnTo>
                        <a:lnTo>
                          <a:pt x="148" y="212"/>
                        </a:lnTo>
                        <a:lnTo>
                          <a:pt x="144" y="212"/>
                        </a:lnTo>
                        <a:lnTo>
                          <a:pt x="142" y="212"/>
                        </a:lnTo>
                        <a:lnTo>
                          <a:pt x="138" y="214"/>
                        </a:lnTo>
                        <a:lnTo>
                          <a:pt x="136" y="214"/>
                        </a:lnTo>
                        <a:lnTo>
                          <a:pt x="132" y="214"/>
                        </a:lnTo>
                        <a:lnTo>
                          <a:pt x="130" y="214"/>
                        </a:lnTo>
                        <a:lnTo>
                          <a:pt x="130" y="212"/>
                        </a:lnTo>
                        <a:lnTo>
                          <a:pt x="132" y="212"/>
                        </a:lnTo>
                        <a:lnTo>
                          <a:pt x="132" y="206"/>
                        </a:lnTo>
                        <a:lnTo>
                          <a:pt x="130" y="206"/>
                        </a:lnTo>
                        <a:lnTo>
                          <a:pt x="128" y="206"/>
                        </a:lnTo>
                        <a:lnTo>
                          <a:pt x="126" y="206"/>
                        </a:lnTo>
                        <a:lnTo>
                          <a:pt x="126" y="208"/>
                        </a:lnTo>
                        <a:lnTo>
                          <a:pt x="124" y="208"/>
                        </a:lnTo>
                        <a:lnTo>
                          <a:pt x="122" y="206"/>
                        </a:lnTo>
                        <a:lnTo>
                          <a:pt x="116" y="202"/>
                        </a:lnTo>
                        <a:lnTo>
                          <a:pt x="114" y="204"/>
                        </a:lnTo>
                        <a:lnTo>
                          <a:pt x="112" y="204"/>
                        </a:lnTo>
                        <a:lnTo>
                          <a:pt x="112" y="206"/>
                        </a:lnTo>
                        <a:lnTo>
                          <a:pt x="114" y="206"/>
                        </a:lnTo>
                        <a:lnTo>
                          <a:pt x="106" y="212"/>
                        </a:lnTo>
                        <a:lnTo>
                          <a:pt x="104" y="212"/>
                        </a:lnTo>
                        <a:lnTo>
                          <a:pt x="102" y="214"/>
                        </a:lnTo>
                        <a:lnTo>
                          <a:pt x="100" y="214"/>
                        </a:lnTo>
                        <a:lnTo>
                          <a:pt x="98" y="212"/>
                        </a:lnTo>
                        <a:lnTo>
                          <a:pt x="96" y="212"/>
                        </a:lnTo>
                        <a:lnTo>
                          <a:pt x="96" y="210"/>
                        </a:lnTo>
                        <a:lnTo>
                          <a:pt x="92" y="210"/>
                        </a:lnTo>
                        <a:lnTo>
                          <a:pt x="92" y="212"/>
                        </a:lnTo>
                        <a:lnTo>
                          <a:pt x="86" y="216"/>
                        </a:lnTo>
                        <a:lnTo>
                          <a:pt x="84" y="218"/>
                        </a:lnTo>
                        <a:lnTo>
                          <a:pt x="82" y="218"/>
                        </a:lnTo>
                        <a:lnTo>
                          <a:pt x="82" y="216"/>
                        </a:lnTo>
                        <a:lnTo>
                          <a:pt x="82" y="214"/>
                        </a:lnTo>
                        <a:lnTo>
                          <a:pt x="82" y="212"/>
                        </a:lnTo>
                        <a:lnTo>
                          <a:pt x="82" y="210"/>
                        </a:lnTo>
                        <a:lnTo>
                          <a:pt x="82" y="202"/>
                        </a:lnTo>
                        <a:lnTo>
                          <a:pt x="82" y="200"/>
                        </a:lnTo>
                        <a:lnTo>
                          <a:pt x="80" y="196"/>
                        </a:lnTo>
                        <a:lnTo>
                          <a:pt x="78" y="196"/>
                        </a:lnTo>
                        <a:lnTo>
                          <a:pt x="78" y="200"/>
                        </a:lnTo>
                        <a:lnTo>
                          <a:pt x="76" y="202"/>
                        </a:lnTo>
                        <a:lnTo>
                          <a:pt x="74" y="202"/>
                        </a:lnTo>
                        <a:lnTo>
                          <a:pt x="74" y="200"/>
                        </a:lnTo>
                        <a:lnTo>
                          <a:pt x="70" y="200"/>
                        </a:lnTo>
                        <a:lnTo>
                          <a:pt x="68" y="200"/>
                        </a:lnTo>
                        <a:lnTo>
                          <a:pt x="64" y="202"/>
                        </a:lnTo>
                        <a:lnTo>
                          <a:pt x="62" y="204"/>
                        </a:lnTo>
                        <a:lnTo>
                          <a:pt x="60" y="204"/>
                        </a:lnTo>
                        <a:lnTo>
                          <a:pt x="58" y="204"/>
                        </a:lnTo>
                        <a:lnTo>
                          <a:pt x="52" y="202"/>
                        </a:lnTo>
                        <a:lnTo>
                          <a:pt x="52" y="200"/>
                        </a:lnTo>
                        <a:lnTo>
                          <a:pt x="54" y="200"/>
                        </a:lnTo>
                        <a:lnTo>
                          <a:pt x="56" y="200"/>
                        </a:lnTo>
                        <a:lnTo>
                          <a:pt x="58" y="200"/>
                        </a:lnTo>
                        <a:lnTo>
                          <a:pt x="58" y="198"/>
                        </a:lnTo>
                        <a:lnTo>
                          <a:pt x="54" y="200"/>
                        </a:lnTo>
                        <a:lnTo>
                          <a:pt x="52" y="202"/>
                        </a:lnTo>
                        <a:lnTo>
                          <a:pt x="52" y="204"/>
                        </a:lnTo>
                        <a:lnTo>
                          <a:pt x="50" y="204"/>
                        </a:lnTo>
                        <a:lnTo>
                          <a:pt x="50" y="202"/>
                        </a:lnTo>
                        <a:lnTo>
                          <a:pt x="48" y="200"/>
                        </a:lnTo>
                        <a:lnTo>
                          <a:pt x="48" y="198"/>
                        </a:lnTo>
                        <a:lnTo>
                          <a:pt x="46" y="198"/>
                        </a:lnTo>
                        <a:lnTo>
                          <a:pt x="42" y="200"/>
                        </a:lnTo>
                        <a:lnTo>
                          <a:pt x="40" y="202"/>
                        </a:lnTo>
                        <a:lnTo>
                          <a:pt x="38" y="200"/>
                        </a:lnTo>
                        <a:lnTo>
                          <a:pt x="38" y="198"/>
                        </a:lnTo>
                        <a:lnTo>
                          <a:pt x="40" y="196"/>
                        </a:lnTo>
                        <a:lnTo>
                          <a:pt x="38" y="196"/>
                        </a:lnTo>
                        <a:lnTo>
                          <a:pt x="36" y="182"/>
                        </a:lnTo>
                        <a:lnTo>
                          <a:pt x="36" y="178"/>
                        </a:lnTo>
                        <a:lnTo>
                          <a:pt x="36" y="176"/>
                        </a:lnTo>
                        <a:lnTo>
                          <a:pt x="36" y="174"/>
                        </a:lnTo>
                        <a:lnTo>
                          <a:pt x="36" y="172"/>
                        </a:lnTo>
                        <a:lnTo>
                          <a:pt x="34" y="172"/>
                        </a:lnTo>
                        <a:lnTo>
                          <a:pt x="32" y="172"/>
                        </a:lnTo>
                        <a:lnTo>
                          <a:pt x="30" y="172"/>
                        </a:lnTo>
                        <a:lnTo>
                          <a:pt x="30" y="170"/>
                        </a:lnTo>
                        <a:lnTo>
                          <a:pt x="30" y="168"/>
                        </a:lnTo>
                        <a:lnTo>
                          <a:pt x="32" y="166"/>
                        </a:lnTo>
                        <a:lnTo>
                          <a:pt x="34" y="166"/>
                        </a:lnTo>
                        <a:lnTo>
                          <a:pt x="34" y="156"/>
                        </a:lnTo>
                        <a:lnTo>
                          <a:pt x="34" y="154"/>
                        </a:lnTo>
                        <a:lnTo>
                          <a:pt x="32" y="154"/>
                        </a:lnTo>
                        <a:lnTo>
                          <a:pt x="30" y="152"/>
                        </a:lnTo>
                        <a:lnTo>
                          <a:pt x="30" y="150"/>
                        </a:lnTo>
                        <a:lnTo>
                          <a:pt x="24" y="146"/>
                        </a:lnTo>
                        <a:lnTo>
                          <a:pt x="22" y="146"/>
                        </a:lnTo>
                        <a:lnTo>
                          <a:pt x="22" y="144"/>
                        </a:lnTo>
                        <a:lnTo>
                          <a:pt x="20" y="144"/>
                        </a:lnTo>
                        <a:lnTo>
                          <a:pt x="18" y="142"/>
                        </a:lnTo>
                        <a:lnTo>
                          <a:pt x="16" y="142"/>
                        </a:lnTo>
                        <a:lnTo>
                          <a:pt x="16" y="144"/>
                        </a:lnTo>
                        <a:lnTo>
                          <a:pt x="12" y="144"/>
                        </a:lnTo>
                        <a:lnTo>
                          <a:pt x="12" y="142"/>
                        </a:lnTo>
                        <a:lnTo>
                          <a:pt x="12" y="138"/>
                        </a:lnTo>
                        <a:lnTo>
                          <a:pt x="18" y="140"/>
                        </a:lnTo>
                        <a:lnTo>
                          <a:pt x="16" y="136"/>
                        </a:lnTo>
                        <a:lnTo>
                          <a:pt x="14" y="136"/>
                        </a:lnTo>
                        <a:lnTo>
                          <a:pt x="12" y="136"/>
                        </a:lnTo>
                        <a:lnTo>
                          <a:pt x="10" y="136"/>
                        </a:lnTo>
                        <a:lnTo>
                          <a:pt x="8" y="134"/>
                        </a:lnTo>
                        <a:lnTo>
                          <a:pt x="8" y="130"/>
                        </a:lnTo>
                        <a:lnTo>
                          <a:pt x="6" y="126"/>
                        </a:lnTo>
                        <a:lnTo>
                          <a:pt x="6" y="124"/>
                        </a:lnTo>
                        <a:lnTo>
                          <a:pt x="8" y="124"/>
                        </a:lnTo>
                        <a:lnTo>
                          <a:pt x="10" y="126"/>
                        </a:lnTo>
                        <a:lnTo>
                          <a:pt x="10" y="124"/>
                        </a:lnTo>
                        <a:lnTo>
                          <a:pt x="8" y="114"/>
                        </a:lnTo>
                        <a:lnTo>
                          <a:pt x="6" y="112"/>
                        </a:lnTo>
                        <a:lnTo>
                          <a:pt x="2" y="112"/>
                        </a:lnTo>
                        <a:lnTo>
                          <a:pt x="2" y="110"/>
                        </a:lnTo>
                        <a:lnTo>
                          <a:pt x="4" y="108"/>
                        </a:lnTo>
                        <a:lnTo>
                          <a:pt x="2" y="98"/>
                        </a:lnTo>
                        <a:lnTo>
                          <a:pt x="0" y="98"/>
                        </a:lnTo>
                        <a:lnTo>
                          <a:pt x="0" y="96"/>
                        </a:lnTo>
                        <a:lnTo>
                          <a:pt x="2" y="96"/>
                        </a:lnTo>
                        <a:lnTo>
                          <a:pt x="4" y="94"/>
                        </a:lnTo>
                        <a:lnTo>
                          <a:pt x="4" y="92"/>
                        </a:lnTo>
                        <a:lnTo>
                          <a:pt x="4" y="90"/>
                        </a:lnTo>
                        <a:lnTo>
                          <a:pt x="4" y="88"/>
                        </a:lnTo>
                        <a:lnTo>
                          <a:pt x="8" y="86"/>
                        </a:lnTo>
                        <a:lnTo>
                          <a:pt x="12" y="82"/>
                        </a:lnTo>
                        <a:lnTo>
                          <a:pt x="10" y="84"/>
                        </a:lnTo>
                        <a:lnTo>
                          <a:pt x="6" y="86"/>
                        </a:lnTo>
                        <a:lnTo>
                          <a:pt x="4" y="86"/>
                        </a:lnTo>
                        <a:lnTo>
                          <a:pt x="6" y="84"/>
                        </a:lnTo>
                        <a:lnTo>
                          <a:pt x="6" y="82"/>
                        </a:lnTo>
                        <a:lnTo>
                          <a:pt x="6" y="80"/>
                        </a:lnTo>
                        <a:lnTo>
                          <a:pt x="6" y="78"/>
                        </a:lnTo>
                        <a:lnTo>
                          <a:pt x="8" y="78"/>
                        </a:lnTo>
                        <a:lnTo>
                          <a:pt x="8" y="76"/>
                        </a:lnTo>
                        <a:lnTo>
                          <a:pt x="10" y="76"/>
                        </a:lnTo>
                        <a:lnTo>
                          <a:pt x="12" y="74"/>
                        </a:lnTo>
                        <a:lnTo>
                          <a:pt x="12" y="72"/>
                        </a:lnTo>
                        <a:lnTo>
                          <a:pt x="14" y="70"/>
                        </a:lnTo>
                        <a:lnTo>
                          <a:pt x="14" y="68"/>
                        </a:lnTo>
                        <a:lnTo>
                          <a:pt x="20" y="66"/>
                        </a:lnTo>
                        <a:lnTo>
                          <a:pt x="22" y="62"/>
                        </a:lnTo>
                        <a:lnTo>
                          <a:pt x="22" y="64"/>
                        </a:lnTo>
                        <a:lnTo>
                          <a:pt x="20" y="68"/>
                        </a:lnTo>
                        <a:lnTo>
                          <a:pt x="20" y="70"/>
                        </a:lnTo>
                        <a:lnTo>
                          <a:pt x="22" y="70"/>
                        </a:lnTo>
                        <a:lnTo>
                          <a:pt x="24" y="72"/>
                        </a:lnTo>
                        <a:lnTo>
                          <a:pt x="24" y="76"/>
                        </a:lnTo>
                        <a:lnTo>
                          <a:pt x="24" y="78"/>
                        </a:lnTo>
                        <a:lnTo>
                          <a:pt x="30" y="82"/>
                        </a:lnTo>
                        <a:lnTo>
                          <a:pt x="32" y="84"/>
                        </a:lnTo>
                        <a:lnTo>
                          <a:pt x="34" y="86"/>
                        </a:lnTo>
                        <a:lnTo>
                          <a:pt x="36" y="86"/>
                        </a:lnTo>
                        <a:lnTo>
                          <a:pt x="36" y="88"/>
                        </a:lnTo>
                        <a:lnTo>
                          <a:pt x="38" y="88"/>
                        </a:lnTo>
                        <a:lnTo>
                          <a:pt x="42" y="92"/>
                        </a:lnTo>
                        <a:lnTo>
                          <a:pt x="46" y="96"/>
                        </a:lnTo>
                        <a:lnTo>
                          <a:pt x="54" y="96"/>
                        </a:lnTo>
                        <a:lnTo>
                          <a:pt x="54" y="94"/>
                        </a:lnTo>
                        <a:lnTo>
                          <a:pt x="56" y="92"/>
                        </a:lnTo>
                        <a:lnTo>
                          <a:pt x="58" y="92"/>
                        </a:lnTo>
                        <a:lnTo>
                          <a:pt x="64" y="90"/>
                        </a:lnTo>
                        <a:lnTo>
                          <a:pt x="66" y="90"/>
                        </a:lnTo>
                        <a:lnTo>
                          <a:pt x="68" y="90"/>
                        </a:lnTo>
                        <a:lnTo>
                          <a:pt x="70" y="92"/>
                        </a:lnTo>
                        <a:lnTo>
                          <a:pt x="76" y="92"/>
                        </a:lnTo>
                        <a:lnTo>
                          <a:pt x="78" y="92"/>
                        </a:lnTo>
                        <a:lnTo>
                          <a:pt x="78" y="90"/>
                        </a:lnTo>
                        <a:lnTo>
                          <a:pt x="78" y="92"/>
                        </a:lnTo>
                        <a:lnTo>
                          <a:pt x="80" y="92"/>
                        </a:lnTo>
                        <a:lnTo>
                          <a:pt x="82" y="92"/>
                        </a:lnTo>
                        <a:lnTo>
                          <a:pt x="84" y="90"/>
                        </a:lnTo>
                        <a:lnTo>
                          <a:pt x="86" y="90"/>
                        </a:lnTo>
                        <a:lnTo>
                          <a:pt x="86" y="88"/>
                        </a:lnTo>
                        <a:lnTo>
                          <a:pt x="90" y="88"/>
                        </a:lnTo>
                        <a:lnTo>
                          <a:pt x="92" y="82"/>
                        </a:lnTo>
                        <a:lnTo>
                          <a:pt x="94" y="82"/>
                        </a:lnTo>
                        <a:lnTo>
                          <a:pt x="92" y="82"/>
                        </a:lnTo>
                        <a:lnTo>
                          <a:pt x="92" y="80"/>
                        </a:lnTo>
                        <a:lnTo>
                          <a:pt x="100" y="78"/>
                        </a:lnTo>
                        <a:lnTo>
                          <a:pt x="100" y="76"/>
                        </a:lnTo>
                        <a:lnTo>
                          <a:pt x="106" y="78"/>
                        </a:lnTo>
                        <a:lnTo>
                          <a:pt x="114" y="76"/>
                        </a:lnTo>
                        <a:lnTo>
                          <a:pt x="116" y="78"/>
                        </a:lnTo>
                        <a:lnTo>
                          <a:pt x="118" y="80"/>
                        </a:lnTo>
                        <a:lnTo>
                          <a:pt x="124" y="82"/>
                        </a:lnTo>
                        <a:lnTo>
                          <a:pt x="124" y="84"/>
                        </a:lnTo>
                        <a:lnTo>
                          <a:pt x="130" y="84"/>
                        </a:lnTo>
                        <a:lnTo>
                          <a:pt x="130" y="86"/>
                        </a:lnTo>
                        <a:lnTo>
                          <a:pt x="132" y="86"/>
                        </a:lnTo>
                        <a:lnTo>
                          <a:pt x="138" y="84"/>
                        </a:lnTo>
                        <a:lnTo>
                          <a:pt x="138" y="82"/>
                        </a:lnTo>
                        <a:lnTo>
                          <a:pt x="140" y="80"/>
                        </a:lnTo>
                        <a:lnTo>
                          <a:pt x="150" y="80"/>
                        </a:lnTo>
                        <a:lnTo>
                          <a:pt x="152" y="78"/>
                        </a:lnTo>
                        <a:lnTo>
                          <a:pt x="154" y="78"/>
                        </a:lnTo>
                        <a:lnTo>
                          <a:pt x="154" y="80"/>
                        </a:lnTo>
                        <a:lnTo>
                          <a:pt x="156" y="80"/>
                        </a:lnTo>
                        <a:lnTo>
                          <a:pt x="158" y="80"/>
                        </a:lnTo>
                        <a:lnTo>
                          <a:pt x="160" y="72"/>
                        </a:lnTo>
                        <a:lnTo>
                          <a:pt x="164" y="68"/>
                        </a:lnTo>
                        <a:lnTo>
                          <a:pt x="164" y="66"/>
                        </a:lnTo>
                        <a:lnTo>
                          <a:pt x="166" y="64"/>
                        </a:lnTo>
                        <a:lnTo>
                          <a:pt x="164" y="64"/>
                        </a:lnTo>
                        <a:lnTo>
                          <a:pt x="164" y="58"/>
                        </a:lnTo>
                        <a:lnTo>
                          <a:pt x="168" y="58"/>
                        </a:lnTo>
                        <a:lnTo>
                          <a:pt x="168" y="56"/>
                        </a:lnTo>
                        <a:lnTo>
                          <a:pt x="174" y="52"/>
                        </a:lnTo>
                        <a:lnTo>
                          <a:pt x="176" y="52"/>
                        </a:lnTo>
                        <a:lnTo>
                          <a:pt x="176" y="50"/>
                        </a:lnTo>
                        <a:lnTo>
                          <a:pt x="174" y="48"/>
                        </a:lnTo>
                        <a:lnTo>
                          <a:pt x="172" y="48"/>
                        </a:lnTo>
                        <a:lnTo>
                          <a:pt x="170" y="48"/>
                        </a:lnTo>
                        <a:lnTo>
                          <a:pt x="172" y="40"/>
                        </a:lnTo>
                        <a:lnTo>
                          <a:pt x="176" y="36"/>
                        </a:lnTo>
                        <a:lnTo>
                          <a:pt x="178" y="36"/>
                        </a:lnTo>
                        <a:lnTo>
                          <a:pt x="178" y="38"/>
                        </a:lnTo>
                        <a:lnTo>
                          <a:pt x="180" y="38"/>
                        </a:lnTo>
                        <a:lnTo>
                          <a:pt x="182" y="36"/>
                        </a:lnTo>
                        <a:lnTo>
                          <a:pt x="184" y="32"/>
                        </a:lnTo>
                        <a:lnTo>
                          <a:pt x="182" y="32"/>
                        </a:lnTo>
                        <a:lnTo>
                          <a:pt x="184" y="30"/>
                        </a:lnTo>
                        <a:lnTo>
                          <a:pt x="184" y="28"/>
                        </a:lnTo>
                        <a:lnTo>
                          <a:pt x="184" y="26"/>
                        </a:lnTo>
                        <a:lnTo>
                          <a:pt x="186" y="26"/>
                        </a:lnTo>
                        <a:lnTo>
                          <a:pt x="186" y="22"/>
                        </a:lnTo>
                        <a:lnTo>
                          <a:pt x="184" y="22"/>
                        </a:lnTo>
                        <a:lnTo>
                          <a:pt x="184" y="18"/>
                        </a:lnTo>
                        <a:lnTo>
                          <a:pt x="188" y="8"/>
                        </a:lnTo>
                        <a:lnTo>
                          <a:pt x="188" y="6"/>
                        </a:lnTo>
                        <a:lnTo>
                          <a:pt x="192" y="2"/>
                        </a:lnTo>
                        <a:lnTo>
                          <a:pt x="192" y="0"/>
                        </a:lnTo>
                        <a:lnTo>
                          <a:pt x="194" y="0"/>
                        </a:lnTo>
                        <a:lnTo>
                          <a:pt x="196" y="2"/>
                        </a:lnTo>
                        <a:lnTo>
                          <a:pt x="198" y="2"/>
                        </a:lnTo>
                        <a:lnTo>
                          <a:pt x="200" y="2"/>
                        </a:lnTo>
                        <a:lnTo>
                          <a:pt x="200" y="0"/>
                        </a:lnTo>
                        <a:lnTo>
                          <a:pt x="206" y="0"/>
                        </a:lnTo>
                        <a:lnTo>
                          <a:pt x="208" y="2"/>
                        </a:lnTo>
                        <a:lnTo>
                          <a:pt x="210" y="2"/>
                        </a:lnTo>
                        <a:lnTo>
                          <a:pt x="212" y="2"/>
                        </a:lnTo>
                        <a:lnTo>
                          <a:pt x="220" y="2"/>
                        </a:lnTo>
                        <a:lnTo>
                          <a:pt x="220" y="0"/>
                        </a:lnTo>
                        <a:lnTo>
                          <a:pt x="222" y="0"/>
                        </a:lnTo>
                        <a:lnTo>
                          <a:pt x="224" y="2"/>
                        </a:lnTo>
                        <a:lnTo>
                          <a:pt x="228" y="2"/>
                        </a:lnTo>
                        <a:lnTo>
                          <a:pt x="228" y="0"/>
                        </a:lnTo>
                        <a:lnTo>
                          <a:pt x="230" y="0"/>
                        </a:lnTo>
                        <a:lnTo>
                          <a:pt x="234" y="2"/>
                        </a:lnTo>
                        <a:lnTo>
                          <a:pt x="234" y="4"/>
                        </a:lnTo>
                        <a:lnTo>
                          <a:pt x="236" y="4"/>
                        </a:lnTo>
                        <a:lnTo>
                          <a:pt x="236" y="6"/>
                        </a:lnTo>
                        <a:lnTo>
                          <a:pt x="240" y="6"/>
                        </a:lnTo>
                        <a:lnTo>
                          <a:pt x="238" y="6"/>
                        </a:lnTo>
                        <a:lnTo>
                          <a:pt x="238" y="8"/>
                        </a:lnTo>
                        <a:lnTo>
                          <a:pt x="234" y="6"/>
                        </a:lnTo>
                        <a:lnTo>
                          <a:pt x="234" y="8"/>
                        </a:lnTo>
                        <a:lnTo>
                          <a:pt x="236" y="8"/>
                        </a:lnTo>
                        <a:lnTo>
                          <a:pt x="240" y="12"/>
                        </a:lnTo>
                        <a:lnTo>
                          <a:pt x="238" y="12"/>
                        </a:lnTo>
                        <a:lnTo>
                          <a:pt x="240" y="14"/>
                        </a:lnTo>
                        <a:lnTo>
                          <a:pt x="242" y="14"/>
                        </a:lnTo>
                        <a:lnTo>
                          <a:pt x="246" y="16"/>
                        </a:lnTo>
                        <a:lnTo>
                          <a:pt x="244" y="18"/>
                        </a:lnTo>
                        <a:lnTo>
                          <a:pt x="246" y="18"/>
                        </a:lnTo>
                        <a:lnTo>
                          <a:pt x="244" y="20"/>
                        </a:lnTo>
                        <a:lnTo>
                          <a:pt x="242" y="20"/>
                        </a:lnTo>
                        <a:lnTo>
                          <a:pt x="224" y="20"/>
                        </a:lnTo>
                        <a:lnTo>
                          <a:pt x="228" y="20"/>
                        </a:lnTo>
                        <a:lnTo>
                          <a:pt x="228" y="22"/>
                        </a:lnTo>
                        <a:lnTo>
                          <a:pt x="230" y="24"/>
                        </a:lnTo>
                        <a:lnTo>
                          <a:pt x="232" y="26"/>
                        </a:lnTo>
                        <a:lnTo>
                          <a:pt x="234" y="26"/>
                        </a:lnTo>
                        <a:lnTo>
                          <a:pt x="236" y="26"/>
                        </a:lnTo>
                        <a:lnTo>
                          <a:pt x="236" y="28"/>
                        </a:lnTo>
                        <a:lnTo>
                          <a:pt x="232" y="30"/>
                        </a:lnTo>
                        <a:lnTo>
                          <a:pt x="230" y="30"/>
                        </a:lnTo>
                        <a:lnTo>
                          <a:pt x="232" y="32"/>
                        </a:lnTo>
                        <a:lnTo>
                          <a:pt x="240" y="36"/>
                        </a:lnTo>
                        <a:lnTo>
                          <a:pt x="242" y="38"/>
                        </a:lnTo>
                        <a:lnTo>
                          <a:pt x="242" y="42"/>
                        </a:lnTo>
                        <a:lnTo>
                          <a:pt x="244" y="42"/>
                        </a:lnTo>
                        <a:lnTo>
                          <a:pt x="244" y="44"/>
                        </a:lnTo>
                        <a:lnTo>
                          <a:pt x="246" y="44"/>
                        </a:lnTo>
                        <a:lnTo>
                          <a:pt x="246" y="48"/>
                        </a:lnTo>
                        <a:lnTo>
                          <a:pt x="252" y="54"/>
                        </a:lnTo>
                        <a:lnTo>
                          <a:pt x="254" y="56"/>
                        </a:lnTo>
                        <a:lnTo>
                          <a:pt x="254" y="58"/>
                        </a:lnTo>
                        <a:lnTo>
                          <a:pt x="252" y="58"/>
                        </a:lnTo>
                        <a:lnTo>
                          <a:pt x="252" y="60"/>
                        </a:lnTo>
                        <a:lnTo>
                          <a:pt x="248" y="62"/>
                        </a:lnTo>
                        <a:lnTo>
                          <a:pt x="246" y="62"/>
                        </a:lnTo>
                        <a:lnTo>
                          <a:pt x="248" y="64"/>
                        </a:lnTo>
                        <a:lnTo>
                          <a:pt x="246" y="68"/>
                        </a:lnTo>
                        <a:lnTo>
                          <a:pt x="262" y="78"/>
                        </a:lnTo>
                        <a:lnTo>
                          <a:pt x="264" y="82"/>
                        </a:lnTo>
                        <a:lnTo>
                          <a:pt x="266" y="82"/>
                        </a:lnTo>
                        <a:lnTo>
                          <a:pt x="268" y="82"/>
                        </a:lnTo>
                        <a:lnTo>
                          <a:pt x="270" y="86"/>
                        </a:lnTo>
                        <a:lnTo>
                          <a:pt x="272" y="86"/>
                        </a:lnTo>
                        <a:lnTo>
                          <a:pt x="272" y="88"/>
                        </a:lnTo>
                        <a:lnTo>
                          <a:pt x="274" y="90"/>
                        </a:lnTo>
                        <a:lnTo>
                          <a:pt x="276" y="90"/>
                        </a:lnTo>
                        <a:lnTo>
                          <a:pt x="278" y="90"/>
                        </a:lnTo>
                        <a:lnTo>
                          <a:pt x="278" y="94"/>
                        </a:lnTo>
                        <a:lnTo>
                          <a:pt x="274" y="98"/>
                        </a:lnTo>
                        <a:lnTo>
                          <a:pt x="272" y="98"/>
                        </a:lnTo>
                        <a:lnTo>
                          <a:pt x="272" y="96"/>
                        </a:lnTo>
                        <a:lnTo>
                          <a:pt x="256" y="96"/>
                        </a:lnTo>
                        <a:lnTo>
                          <a:pt x="254" y="96"/>
                        </a:lnTo>
                        <a:lnTo>
                          <a:pt x="252" y="94"/>
                        </a:lnTo>
                        <a:lnTo>
                          <a:pt x="252" y="92"/>
                        </a:lnTo>
                        <a:lnTo>
                          <a:pt x="252" y="90"/>
                        </a:lnTo>
                        <a:lnTo>
                          <a:pt x="250" y="90"/>
                        </a:lnTo>
                        <a:lnTo>
                          <a:pt x="248" y="90"/>
                        </a:lnTo>
                        <a:lnTo>
                          <a:pt x="250" y="94"/>
                        </a:lnTo>
                        <a:lnTo>
                          <a:pt x="252" y="96"/>
                        </a:lnTo>
                        <a:lnTo>
                          <a:pt x="252" y="98"/>
                        </a:lnTo>
                        <a:lnTo>
                          <a:pt x="250" y="96"/>
                        </a:lnTo>
                        <a:lnTo>
                          <a:pt x="248" y="96"/>
                        </a:lnTo>
                        <a:lnTo>
                          <a:pt x="246" y="98"/>
                        </a:lnTo>
                        <a:lnTo>
                          <a:pt x="244" y="100"/>
                        </a:lnTo>
                        <a:lnTo>
                          <a:pt x="244" y="102"/>
                        </a:lnTo>
                        <a:lnTo>
                          <a:pt x="240" y="108"/>
                        </a:lnTo>
                        <a:lnTo>
                          <a:pt x="240" y="110"/>
                        </a:lnTo>
                        <a:lnTo>
                          <a:pt x="236" y="114"/>
                        </a:lnTo>
                        <a:lnTo>
                          <a:pt x="236" y="118"/>
                        </a:lnTo>
                        <a:lnTo>
                          <a:pt x="238" y="120"/>
                        </a:lnTo>
                        <a:lnTo>
                          <a:pt x="236" y="122"/>
                        </a:lnTo>
                        <a:lnTo>
                          <a:pt x="236" y="124"/>
                        </a:lnTo>
                        <a:lnTo>
                          <a:pt x="236" y="126"/>
                        </a:lnTo>
                        <a:lnTo>
                          <a:pt x="236" y="128"/>
                        </a:lnTo>
                        <a:lnTo>
                          <a:pt x="236" y="130"/>
                        </a:lnTo>
                        <a:lnTo>
                          <a:pt x="236" y="132"/>
                        </a:lnTo>
                        <a:lnTo>
                          <a:pt x="236" y="134"/>
                        </a:lnTo>
                        <a:lnTo>
                          <a:pt x="238" y="132"/>
                        </a:lnTo>
                        <a:lnTo>
                          <a:pt x="240" y="130"/>
                        </a:lnTo>
                        <a:lnTo>
                          <a:pt x="240" y="132"/>
                        </a:lnTo>
                        <a:lnTo>
                          <a:pt x="240" y="136"/>
                        </a:lnTo>
                        <a:lnTo>
                          <a:pt x="240" y="140"/>
                        </a:lnTo>
                        <a:lnTo>
                          <a:pt x="240" y="142"/>
                        </a:lnTo>
                        <a:lnTo>
                          <a:pt x="236" y="142"/>
                        </a:lnTo>
                        <a:lnTo>
                          <a:pt x="232" y="142"/>
                        </a:lnTo>
                        <a:lnTo>
                          <a:pt x="230" y="142"/>
                        </a:lnTo>
                        <a:lnTo>
                          <a:pt x="230" y="144"/>
                        </a:lnTo>
                        <a:lnTo>
                          <a:pt x="228" y="148"/>
                        </a:lnTo>
                        <a:lnTo>
                          <a:pt x="226" y="150"/>
                        </a:lnTo>
                        <a:lnTo>
                          <a:pt x="224" y="152"/>
                        </a:lnTo>
                        <a:lnTo>
                          <a:pt x="224" y="154"/>
                        </a:lnTo>
                        <a:lnTo>
                          <a:pt x="222" y="154"/>
                        </a:lnTo>
                        <a:lnTo>
                          <a:pt x="220" y="154"/>
                        </a:lnTo>
                        <a:lnTo>
                          <a:pt x="218" y="154"/>
                        </a:lnTo>
                        <a:lnTo>
                          <a:pt x="216" y="150"/>
                        </a:lnTo>
                        <a:lnTo>
                          <a:pt x="216" y="148"/>
                        </a:lnTo>
                        <a:lnTo>
                          <a:pt x="216" y="152"/>
                        </a:lnTo>
                        <a:lnTo>
                          <a:pt x="218" y="154"/>
                        </a:lnTo>
                        <a:lnTo>
                          <a:pt x="216" y="156"/>
                        </a:lnTo>
                        <a:lnTo>
                          <a:pt x="216" y="158"/>
                        </a:lnTo>
                        <a:lnTo>
                          <a:pt x="214" y="158"/>
                        </a:lnTo>
                        <a:lnTo>
                          <a:pt x="212" y="158"/>
                        </a:lnTo>
                        <a:lnTo>
                          <a:pt x="212" y="160"/>
                        </a:lnTo>
                        <a:lnTo>
                          <a:pt x="212" y="162"/>
                        </a:lnTo>
                        <a:lnTo>
                          <a:pt x="212" y="164"/>
                        </a:lnTo>
                        <a:lnTo>
                          <a:pt x="210" y="164"/>
                        </a:lnTo>
                        <a:lnTo>
                          <a:pt x="208" y="166"/>
                        </a:lnTo>
                        <a:lnTo>
                          <a:pt x="206" y="166"/>
                        </a:lnTo>
                        <a:lnTo>
                          <a:pt x="202" y="168"/>
                        </a:lnTo>
                        <a:lnTo>
                          <a:pt x="204" y="170"/>
                        </a:lnTo>
                        <a:lnTo>
                          <a:pt x="204" y="168"/>
                        </a:lnTo>
                        <a:lnTo>
                          <a:pt x="206" y="168"/>
                        </a:lnTo>
                        <a:lnTo>
                          <a:pt x="208" y="168"/>
                        </a:lnTo>
                        <a:lnTo>
                          <a:pt x="210" y="172"/>
                        </a:lnTo>
                        <a:lnTo>
                          <a:pt x="208" y="176"/>
                        </a:lnTo>
                        <a:lnTo>
                          <a:pt x="206" y="178"/>
                        </a:lnTo>
                        <a:lnTo>
                          <a:pt x="208" y="180"/>
                        </a:lnTo>
                        <a:lnTo>
                          <a:pt x="210" y="180"/>
                        </a:lnTo>
                        <a:lnTo>
                          <a:pt x="210" y="178"/>
                        </a:lnTo>
                        <a:lnTo>
                          <a:pt x="212" y="178"/>
                        </a:lnTo>
                        <a:lnTo>
                          <a:pt x="212" y="180"/>
                        </a:lnTo>
                        <a:lnTo>
                          <a:pt x="212" y="182"/>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7" name="Freeform 3251"/>
                  <p:cNvSpPr>
                    <a:spLocks/>
                  </p:cNvSpPr>
                  <p:nvPr/>
                </p:nvSpPr>
                <p:spPr bwMode="auto">
                  <a:xfrm>
                    <a:off x="5358567" y="5168210"/>
                    <a:ext cx="24934" cy="33245"/>
                  </a:xfrm>
                  <a:custGeom>
                    <a:avLst/>
                    <a:gdLst/>
                    <a:ahLst/>
                    <a:cxnLst>
                      <a:cxn ang="0">
                        <a:pos x="4" y="10"/>
                      </a:cxn>
                      <a:cxn ang="0">
                        <a:pos x="2" y="10"/>
                      </a:cxn>
                      <a:cxn ang="0">
                        <a:pos x="0" y="6"/>
                      </a:cxn>
                      <a:cxn ang="0">
                        <a:pos x="2" y="4"/>
                      </a:cxn>
                      <a:cxn ang="0">
                        <a:pos x="4" y="4"/>
                      </a:cxn>
                      <a:cxn ang="0">
                        <a:pos x="6" y="2"/>
                      </a:cxn>
                      <a:cxn ang="0">
                        <a:pos x="6" y="0"/>
                      </a:cxn>
                      <a:cxn ang="0">
                        <a:pos x="8" y="2"/>
                      </a:cxn>
                      <a:cxn ang="0">
                        <a:pos x="8" y="4"/>
                      </a:cxn>
                      <a:cxn ang="0">
                        <a:pos x="12" y="6"/>
                      </a:cxn>
                      <a:cxn ang="0">
                        <a:pos x="12" y="10"/>
                      </a:cxn>
                      <a:cxn ang="0">
                        <a:pos x="12" y="12"/>
                      </a:cxn>
                      <a:cxn ang="0">
                        <a:pos x="10" y="16"/>
                      </a:cxn>
                      <a:cxn ang="0">
                        <a:pos x="6" y="16"/>
                      </a:cxn>
                      <a:cxn ang="0">
                        <a:pos x="4" y="16"/>
                      </a:cxn>
                      <a:cxn ang="0">
                        <a:pos x="4" y="14"/>
                      </a:cxn>
                      <a:cxn ang="0">
                        <a:pos x="6" y="12"/>
                      </a:cxn>
                      <a:cxn ang="0">
                        <a:pos x="6" y="10"/>
                      </a:cxn>
                      <a:cxn ang="0">
                        <a:pos x="4" y="10"/>
                      </a:cxn>
                    </a:cxnLst>
                    <a:rect l="0" t="0" r="r" b="b"/>
                    <a:pathLst>
                      <a:path w="12" h="16">
                        <a:moveTo>
                          <a:pt x="4" y="10"/>
                        </a:moveTo>
                        <a:lnTo>
                          <a:pt x="2" y="10"/>
                        </a:lnTo>
                        <a:lnTo>
                          <a:pt x="0" y="6"/>
                        </a:lnTo>
                        <a:lnTo>
                          <a:pt x="2" y="4"/>
                        </a:lnTo>
                        <a:lnTo>
                          <a:pt x="4" y="4"/>
                        </a:lnTo>
                        <a:lnTo>
                          <a:pt x="6" y="2"/>
                        </a:lnTo>
                        <a:lnTo>
                          <a:pt x="6" y="0"/>
                        </a:lnTo>
                        <a:lnTo>
                          <a:pt x="8" y="2"/>
                        </a:lnTo>
                        <a:lnTo>
                          <a:pt x="8" y="4"/>
                        </a:lnTo>
                        <a:lnTo>
                          <a:pt x="12" y="6"/>
                        </a:lnTo>
                        <a:lnTo>
                          <a:pt x="12" y="10"/>
                        </a:lnTo>
                        <a:lnTo>
                          <a:pt x="12" y="12"/>
                        </a:lnTo>
                        <a:lnTo>
                          <a:pt x="10" y="16"/>
                        </a:lnTo>
                        <a:lnTo>
                          <a:pt x="6" y="16"/>
                        </a:lnTo>
                        <a:lnTo>
                          <a:pt x="4" y="16"/>
                        </a:lnTo>
                        <a:lnTo>
                          <a:pt x="4" y="14"/>
                        </a:lnTo>
                        <a:lnTo>
                          <a:pt x="6" y="12"/>
                        </a:lnTo>
                        <a:lnTo>
                          <a:pt x="6"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8" name="Freeform 3252"/>
                  <p:cNvSpPr>
                    <a:spLocks/>
                  </p:cNvSpPr>
                  <p:nvPr/>
                </p:nvSpPr>
                <p:spPr bwMode="auto">
                  <a:xfrm>
                    <a:off x="5229741" y="5234700"/>
                    <a:ext cx="8311" cy="12467"/>
                  </a:xfrm>
                  <a:custGeom>
                    <a:avLst/>
                    <a:gdLst/>
                    <a:ahLst/>
                    <a:cxnLst>
                      <a:cxn ang="0">
                        <a:pos x="0" y="6"/>
                      </a:cxn>
                      <a:cxn ang="0">
                        <a:pos x="0" y="0"/>
                      </a:cxn>
                      <a:cxn ang="0">
                        <a:pos x="4" y="2"/>
                      </a:cxn>
                      <a:cxn ang="0">
                        <a:pos x="4" y="4"/>
                      </a:cxn>
                      <a:cxn ang="0">
                        <a:pos x="2" y="6"/>
                      </a:cxn>
                      <a:cxn ang="0">
                        <a:pos x="0" y="6"/>
                      </a:cxn>
                    </a:cxnLst>
                    <a:rect l="0" t="0" r="r" b="b"/>
                    <a:pathLst>
                      <a:path w="4" h="6">
                        <a:moveTo>
                          <a:pt x="0" y="6"/>
                        </a:moveTo>
                        <a:lnTo>
                          <a:pt x="0" y="0"/>
                        </a:lnTo>
                        <a:lnTo>
                          <a:pt x="4" y="2"/>
                        </a:lnTo>
                        <a:lnTo>
                          <a:pt x="4" y="4"/>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9" name="Freeform 3253"/>
                  <p:cNvSpPr>
                    <a:spLocks/>
                  </p:cNvSpPr>
                  <p:nvPr/>
                </p:nvSpPr>
                <p:spPr bwMode="auto">
                  <a:xfrm>
                    <a:off x="5404280" y="5238856"/>
                    <a:ext cx="8311" cy="8311"/>
                  </a:xfrm>
                  <a:custGeom>
                    <a:avLst/>
                    <a:gdLst/>
                    <a:ahLst/>
                    <a:cxnLst>
                      <a:cxn ang="0">
                        <a:pos x="2" y="2"/>
                      </a:cxn>
                      <a:cxn ang="0">
                        <a:pos x="2" y="0"/>
                      </a:cxn>
                      <a:cxn ang="0">
                        <a:pos x="4" y="0"/>
                      </a:cxn>
                      <a:cxn ang="0">
                        <a:pos x="4" y="2"/>
                      </a:cxn>
                      <a:cxn ang="0">
                        <a:pos x="2" y="4"/>
                      </a:cxn>
                      <a:cxn ang="0">
                        <a:pos x="0" y="2"/>
                      </a:cxn>
                      <a:cxn ang="0">
                        <a:pos x="2" y="2"/>
                      </a:cxn>
                    </a:cxnLst>
                    <a:rect l="0" t="0" r="r" b="b"/>
                    <a:pathLst>
                      <a:path w="4" h="4">
                        <a:moveTo>
                          <a:pt x="2" y="2"/>
                        </a:moveTo>
                        <a:lnTo>
                          <a:pt x="2" y="0"/>
                        </a:lnTo>
                        <a:lnTo>
                          <a:pt x="4" y="0"/>
                        </a:lnTo>
                        <a:lnTo>
                          <a:pt x="4" y="2"/>
                        </a:lnTo>
                        <a:lnTo>
                          <a:pt x="2" y="4"/>
                        </a:lnTo>
                        <a:lnTo>
                          <a:pt x="0" y="2"/>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0" name="Freeform 3254"/>
                  <p:cNvSpPr>
                    <a:spLocks/>
                  </p:cNvSpPr>
                  <p:nvPr/>
                </p:nvSpPr>
                <p:spPr bwMode="auto">
                  <a:xfrm>
                    <a:off x="4660413" y="5243012"/>
                    <a:ext cx="45712" cy="33245"/>
                  </a:xfrm>
                  <a:custGeom>
                    <a:avLst/>
                    <a:gdLst/>
                    <a:ahLst/>
                    <a:cxnLst>
                      <a:cxn ang="0">
                        <a:pos x="22" y="14"/>
                      </a:cxn>
                      <a:cxn ang="0">
                        <a:pos x="20" y="16"/>
                      </a:cxn>
                      <a:cxn ang="0">
                        <a:pos x="18" y="14"/>
                      </a:cxn>
                      <a:cxn ang="0">
                        <a:pos x="10" y="8"/>
                      </a:cxn>
                      <a:cxn ang="0">
                        <a:pos x="6" y="8"/>
                      </a:cxn>
                      <a:cxn ang="0">
                        <a:pos x="4" y="8"/>
                      </a:cxn>
                      <a:cxn ang="0">
                        <a:pos x="0" y="2"/>
                      </a:cxn>
                      <a:cxn ang="0">
                        <a:pos x="4" y="0"/>
                      </a:cxn>
                      <a:cxn ang="0">
                        <a:pos x="6" y="0"/>
                      </a:cxn>
                      <a:cxn ang="0">
                        <a:pos x="8" y="0"/>
                      </a:cxn>
                      <a:cxn ang="0">
                        <a:pos x="8" y="2"/>
                      </a:cxn>
                      <a:cxn ang="0">
                        <a:pos x="8" y="4"/>
                      </a:cxn>
                      <a:cxn ang="0">
                        <a:pos x="12" y="4"/>
                      </a:cxn>
                      <a:cxn ang="0">
                        <a:pos x="22" y="12"/>
                      </a:cxn>
                      <a:cxn ang="0">
                        <a:pos x="22" y="14"/>
                      </a:cxn>
                    </a:cxnLst>
                    <a:rect l="0" t="0" r="r" b="b"/>
                    <a:pathLst>
                      <a:path w="22" h="16">
                        <a:moveTo>
                          <a:pt x="22" y="14"/>
                        </a:moveTo>
                        <a:lnTo>
                          <a:pt x="20" y="16"/>
                        </a:lnTo>
                        <a:lnTo>
                          <a:pt x="18" y="14"/>
                        </a:lnTo>
                        <a:lnTo>
                          <a:pt x="10" y="8"/>
                        </a:lnTo>
                        <a:lnTo>
                          <a:pt x="6" y="8"/>
                        </a:lnTo>
                        <a:lnTo>
                          <a:pt x="4" y="8"/>
                        </a:lnTo>
                        <a:lnTo>
                          <a:pt x="0" y="2"/>
                        </a:lnTo>
                        <a:lnTo>
                          <a:pt x="4" y="0"/>
                        </a:lnTo>
                        <a:lnTo>
                          <a:pt x="6" y="0"/>
                        </a:lnTo>
                        <a:lnTo>
                          <a:pt x="8" y="0"/>
                        </a:lnTo>
                        <a:lnTo>
                          <a:pt x="8" y="2"/>
                        </a:lnTo>
                        <a:lnTo>
                          <a:pt x="8" y="4"/>
                        </a:lnTo>
                        <a:lnTo>
                          <a:pt x="12" y="4"/>
                        </a:lnTo>
                        <a:lnTo>
                          <a:pt x="22" y="12"/>
                        </a:lnTo>
                        <a:lnTo>
                          <a:pt x="22" y="14"/>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651" name="Freeform 3255"/>
                  <p:cNvSpPr>
                    <a:spLocks/>
                  </p:cNvSpPr>
                  <p:nvPr/>
                </p:nvSpPr>
                <p:spPr bwMode="auto">
                  <a:xfrm>
                    <a:off x="6509690" y="5259635"/>
                    <a:ext cx="29090" cy="33245"/>
                  </a:xfrm>
                  <a:custGeom>
                    <a:avLst/>
                    <a:gdLst/>
                    <a:ahLst/>
                    <a:cxnLst>
                      <a:cxn ang="0">
                        <a:pos x="2" y="16"/>
                      </a:cxn>
                      <a:cxn ang="0">
                        <a:pos x="2" y="14"/>
                      </a:cxn>
                      <a:cxn ang="0">
                        <a:pos x="0" y="8"/>
                      </a:cxn>
                      <a:cxn ang="0">
                        <a:pos x="2" y="6"/>
                      </a:cxn>
                      <a:cxn ang="0">
                        <a:pos x="4" y="6"/>
                      </a:cxn>
                      <a:cxn ang="0">
                        <a:pos x="4" y="4"/>
                      </a:cxn>
                      <a:cxn ang="0">
                        <a:pos x="6" y="0"/>
                      </a:cxn>
                      <a:cxn ang="0">
                        <a:pos x="8" y="0"/>
                      </a:cxn>
                      <a:cxn ang="0">
                        <a:pos x="10" y="0"/>
                      </a:cxn>
                      <a:cxn ang="0">
                        <a:pos x="14" y="4"/>
                      </a:cxn>
                      <a:cxn ang="0">
                        <a:pos x="12" y="10"/>
                      </a:cxn>
                      <a:cxn ang="0">
                        <a:pos x="12" y="12"/>
                      </a:cxn>
                      <a:cxn ang="0">
                        <a:pos x="8" y="16"/>
                      </a:cxn>
                      <a:cxn ang="0">
                        <a:pos x="4" y="16"/>
                      </a:cxn>
                      <a:cxn ang="0">
                        <a:pos x="2" y="16"/>
                      </a:cxn>
                    </a:cxnLst>
                    <a:rect l="0" t="0" r="r" b="b"/>
                    <a:pathLst>
                      <a:path w="14" h="16">
                        <a:moveTo>
                          <a:pt x="2" y="16"/>
                        </a:moveTo>
                        <a:lnTo>
                          <a:pt x="2" y="14"/>
                        </a:lnTo>
                        <a:lnTo>
                          <a:pt x="0" y="8"/>
                        </a:lnTo>
                        <a:lnTo>
                          <a:pt x="2" y="6"/>
                        </a:lnTo>
                        <a:lnTo>
                          <a:pt x="4" y="6"/>
                        </a:lnTo>
                        <a:lnTo>
                          <a:pt x="4" y="4"/>
                        </a:lnTo>
                        <a:lnTo>
                          <a:pt x="6" y="0"/>
                        </a:lnTo>
                        <a:lnTo>
                          <a:pt x="8" y="0"/>
                        </a:lnTo>
                        <a:lnTo>
                          <a:pt x="10" y="0"/>
                        </a:lnTo>
                        <a:lnTo>
                          <a:pt x="14" y="4"/>
                        </a:lnTo>
                        <a:lnTo>
                          <a:pt x="12" y="10"/>
                        </a:lnTo>
                        <a:lnTo>
                          <a:pt x="12" y="12"/>
                        </a:lnTo>
                        <a:lnTo>
                          <a:pt x="8" y="16"/>
                        </a:lnTo>
                        <a:lnTo>
                          <a:pt x="4" y="16"/>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2" name="Freeform 3256"/>
                  <p:cNvSpPr>
                    <a:spLocks/>
                  </p:cNvSpPr>
                  <p:nvPr/>
                </p:nvSpPr>
                <p:spPr bwMode="auto">
                  <a:xfrm>
                    <a:off x="4743527" y="5280413"/>
                    <a:ext cx="12467" cy="12467"/>
                  </a:xfrm>
                  <a:custGeom>
                    <a:avLst/>
                    <a:gdLst/>
                    <a:ahLst/>
                    <a:cxnLst>
                      <a:cxn ang="0">
                        <a:pos x="6" y="6"/>
                      </a:cxn>
                      <a:cxn ang="0">
                        <a:pos x="4" y="6"/>
                      </a:cxn>
                      <a:cxn ang="0">
                        <a:pos x="4" y="4"/>
                      </a:cxn>
                      <a:cxn ang="0">
                        <a:pos x="4" y="2"/>
                      </a:cxn>
                      <a:cxn ang="0">
                        <a:pos x="2" y="2"/>
                      </a:cxn>
                      <a:cxn ang="0">
                        <a:pos x="0" y="2"/>
                      </a:cxn>
                      <a:cxn ang="0">
                        <a:pos x="2" y="0"/>
                      </a:cxn>
                      <a:cxn ang="0">
                        <a:pos x="4" y="0"/>
                      </a:cxn>
                      <a:cxn ang="0">
                        <a:pos x="6" y="2"/>
                      </a:cxn>
                      <a:cxn ang="0">
                        <a:pos x="6" y="6"/>
                      </a:cxn>
                    </a:cxnLst>
                    <a:rect l="0" t="0" r="r" b="b"/>
                    <a:pathLst>
                      <a:path w="6" h="6">
                        <a:moveTo>
                          <a:pt x="6" y="6"/>
                        </a:moveTo>
                        <a:lnTo>
                          <a:pt x="4" y="6"/>
                        </a:lnTo>
                        <a:lnTo>
                          <a:pt x="4" y="4"/>
                        </a:lnTo>
                        <a:lnTo>
                          <a:pt x="4" y="2"/>
                        </a:lnTo>
                        <a:lnTo>
                          <a:pt x="2" y="2"/>
                        </a:lnTo>
                        <a:lnTo>
                          <a:pt x="0" y="2"/>
                        </a:lnTo>
                        <a:lnTo>
                          <a:pt x="2" y="0"/>
                        </a:lnTo>
                        <a:lnTo>
                          <a:pt x="4" y="0"/>
                        </a:lnTo>
                        <a:lnTo>
                          <a:pt x="6" y="2"/>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3" name="Freeform 3257"/>
                  <p:cNvSpPr>
                    <a:spLocks/>
                  </p:cNvSpPr>
                  <p:nvPr/>
                </p:nvSpPr>
                <p:spPr bwMode="auto">
                  <a:xfrm>
                    <a:off x="6463978" y="5284569"/>
                    <a:ext cx="87269" cy="174539"/>
                  </a:xfrm>
                  <a:custGeom>
                    <a:avLst/>
                    <a:gdLst/>
                    <a:ahLst/>
                    <a:cxnLst>
                      <a:cxn ang="0">
                        <a:pos x="10" y="68"/>
                      </a:cxn>
                      <a:cxn ang="0">
                        <a:pos x="8" y="66"/>
                      </a:cxn>
                      <a:cxn ang="0">
                        <a:pos x="8" y="50"/>
                      </a:cxn>
                      <a:cxn ang="0">
                        <a:pos x="4" y="48"/>
                      </a:cxn>
                      <a:cxn ang="0">
                        <a:pos x="6" y="38"/>
                      </a:cxn>
                      <a:cxn ang="0">
                        <a:pos x="4" y="36"/>
                      </a:cxn>
                      <a:cxn ang="0">
                        <a:pos x="2" y="34"/>
                      </a:cxn>
                      <a:cxn ang="0">
                        <a:pos x="0" y="30"/>
                      </a:cxn>
                      <a:cxn ang="0">
                        <a:pos x="2" y="24"/>
                      </a:cxn>
                      <a:cxn ang="0">
                        <a:pos x="4" y="12"/>
                      </a:cxn>
                      <a:cxn ang="0">
                        <a:pos x="8" y="6"/>
                      </a:cxn>
                      <a:cxn ang="0">
                        <a:pos x="18" y="0"/>
                      </a:cxn>
                      <a:cxn ang="0">
                        <a:pos x="12" y="6"/>
                      </a:cxn>
                      <a:cxn ang="0">
                        <a:pos x="14" y="10"/>
                      </a:cxn>
                      <a:cxn ang="0">
                        <a:pos x="18" y="18"/>
                      </a:cxn>
                      <a:cxn ang="0">
                        <a:pos x="14" y="26"/>
                      </a:cxn>
                      <a:cxn ang="0">
                        <a:pos x="6" y="34"/>
                      </a:cxn>
                      <a:cxn ang="0">
                        <a:pos x="10" y="38"/>
                      </a:cxn>
                      <a:cxn ang="0">
                        <a:pos x="14" y="34"/>
                      </a:cxn>
                      <a:cxn ang="0">
                        <a:pos x="16" y="30"/>
                      </a:cxn>
                      <a:cxn ang="0">
                        <a:pos x="20" y="30"/>
                      </a:cxn>
                      <a:cxn ang="0">
                        <a:pos x="22" y="26"/>
                      </a:cxn>
                      <a:cxn ang="0">
                        <a:pos x="26" y="18"/>
                      </a:cxn>
                      <a:cxn ang="0">
                        <a:pos x="30" y="18"/>
                      </a:cxn>
                      <a:cxn ang="0">
                        <a:pos x="34" y="16"/>
                      </a:cxn>
                      <a:cxn ang="0">
                        <a:pos x="36" y="30"/>
                      </a:cxn>
                      <a:cxn ang="0">
                        <a:pos x="28" y="34"/>
                      </a:cxn>
                      <a:cxn ang="0">
                        <a:pos x="22" y="38"/>
                      </a:cxn>
                      <a:cxn ang="0">
                        <a:pos x="32" y="44"/>
                      </a:cxn>
                      <a:cxn ang="0">
                        <a:pos x="36" y="50"/>
                      </a:cxn>
                      <a:cxn ang="0">
                        <a:pos x="40" y="52"/>
                      </a:cxn>
                      <a:cxn ang="0">
                        <a:pos x="40" y="54"/>
                      </a:cxn>
                      <a:cxn ang="0">
                        <a:pos x="38" y="52"/>
                      </a:cxn>
                      <a:cxn ang="0">
                        <a:pos x="34" y="52"/>
                      </a:cxn>
                      <a:cxn ang="0">
                        <a:pos x="30" y="48"/>
                      </a:cxn>
                      <a:cxn ang="0">
                        <a:pos x="20" y="48"/>
                      </a:cxn>
                      <a:cxn ang="0">
                        <a:pos x="16" y="46"/>
                      </a:cxn>
                      <a:cxn ang="0">
                        <a:pos x="14" y="52"/>
                      </a:cxn>
                      <a:cxn ang="0">
                        <a:pos x="14" y="58"/>
                      </a:cxn>
                      <a:cxn ang="0">
                        <a:pos x="18" y="70"/>
                      </a:cxn>
                      <a:cxn ang="0">
                        <a:pos x="20" y="74"/>
                      </a:cxn>
                      <a:cxn ang="0">
                        <a:pos x="28" y="84"/>
                      </a:cxn>
                      <a:cxn ang="0">
                        <a:pos x="22" y="82"/>
                      </a:cxn>
                      <a:cxn ang="0">
                        <a:pos x="18" y="80"/>
                      </a:cxn>
                      <a:cxn ang="0">
                        <a:pos x="16" y="76"/>
                      </a:cxn>
                    </a:cxnLst>
                    <a:rect l="0" t="0" r="r" b="b"/>
                    <a:pathLst>
                      <a:path w="42" h="84">
                        <a:moveTo>
                          <a:pt x="14" y="72"/>
                        </a:moveTo>
                        <a:lnTo>
                          <a:pt x="10" y="68"/>
                        </a:lnTo>
                        <a:lnTo>
                          <a:pt x="8" y="68"/>
                        </a:lnTo>
                        <a:lnTo>
                          <a:pt x="8" y="66"/>
                        </a:lnTo>
                        <a:lnTo>
                          <a:pt x="8" y="64"/>
                        </a:lnTo>
                        <a:lnTo>
                          <a:pt x="8" y="50"/>
                        </a:lnTo>
                        <a:lnTo>
                          <a:pt x="6" y="50"/>
                        </a:lnTo>
                        <a:lnTo>
                          <a:pt x="4" y="48"/>
                        </a:lnTo>
                        <a:lnTo>
                          <a:pt x="4" y="40"/>
                        </a:lnTo>
                        <a:lnTo>
                          <a:pt x="6" y="38"/>
                        </a:lnTo>
                        <a:lnTo>
                          <a:pt x="6" y="36"/>
                        </a:lnTo>
                        <a:lnTo>
                          <a:pt x="4" y="36"/>
                        </a:lnTo>
                        <a:lnTo>
                          <a:pt x="2" y="36"/>
                        </a:lnTo>
                        <a:lnTo>
                          <a:pt x="2" y="34"/>
                        </a:lnTo>
                        <a:lnTo>
                          <a:pt x="2" y="30"/>
                        </a:lnTo>
                        <a:lnTo>
                          <a:pt x="0" y="30"/>
                        </a:lnTo>
                        <a:lnTo>
                          <a:pt x="0" y="26"/>
                        </a:lnTo>
                        <a:lnTo>
                          <a:pt x="2" y="24"/>
                        </a:lnTo>
                        <a:lnTo>
                          <a:pt x="4" y="20"/>
                        </a:lnTo>
                        <a:lnTo>
                          <a:pt x="4" y="12"/>
                        </a:lnTo>
                        <a:lnTo>
                          <a:pt x="8" y="8"/>
                        </a:lnTo>
                        <a:lnTo>
                          <a:pt x="8" y="6"/>
                        </a:lnTo>
                        <a:lnTo>
                          <a:pt x="14" y="0"/>
                        </a:lnTo>
                        <a:lnTo>
                          <a:pt x="18" y="0"/>
                        </a:lnTo>
                        <a:lnTo>
                          <a:pt x="14" y="6"/>
                        </a:lnTo>
                        <a:lnTo>
                          <a:pt x="12" y="6"/>
                        </a:lnTo>
                        <a:lnTo>
                          <a:pt x="12" y="10"/>
                        </a:lnTo>
                        <a:lnTo>
                          <a:pt x="14" y="10"/>
                        </a:lnTo>
                        <a:lnTo>
                          <a:pt x="16" y="12"/>
                        </a:lnTo>
                        <a:lnTo>
                          <a:pt x="18" y="18"/>
                        </a:lnTo>
                        <a:lnTo>
                          <a:pt x="16" y="24"/>
                        </a:lnTo>
                        <a:lnTo>
                          <a:pt x="14" y="26"/>
                        </a:lnTo>
                        <a:lnTo>
                          <a:pt x="6" y="32"/>
                        </a:lnTo>
                        <a:lnTo>
                          <a:pt x="6" y="34"/>
                        </a:lnTo>
                        <a:lnTo>
                          <a:pt x="8" y="36"/>
                        </a:lnTo>
                        <a:lnTo>
                          <a:pt x="10" y="38"/>
                        </a:lnTo>
                        <a:lnTo>
                          <a:pt x="14" y="38"/>
                        </a:lnTo>
                        <a:lnTo>
                          <a:pt x="14" y="34"/>
                        </a:lnTo>
                        <a:lnTo>
                          <a:pt x="14" y="32"/>
                        </a:lnTo>
                        <a:lnTo>
                          <a:pt x="16" y="30"/>
                        </a:lnTo>
                        <a:lnTo>
                          <a:pt x="18" y="30"/>
                        </a:lnTo>
                        <a:lnTo>
                          <a:pt x="20" y="30"/>
                        </a:lnTo>
                        <a:lnTo>
                          <a:pt x="22" y="28"/>
                        </a:lnTo>
                        <a:lnTo>
                          <a:pt x="22" y="26"/>
                        </a:lnTo>
                        <a:lnTo>
                          <a:pt x="20" y="24"/>
                        </a:lnTo>
                        <a:lnTo>
                          <a:pt x="26" y="18"/>
                        </a:lnTo>
                        <a:lnTo>
                          <a:pt x="28" y="18"/>
                        </a:lnTo>
                        <a:lnTo>
                          <a:pt x="30" y="18"/>
                        </a:lnTo>
                        <a:lnTo>
                          <a:pt x="32" y="18"/>
                        </a:lnTo>
                        <a:lnTo>
                          <a:pt x="34" y="16"/>
                        </a:lnTo>
                        <a:lnTo>
                          <a:pt x="36" y="16"/>
                        </a:lnTo>
                        <a:lnTo>
                          <a:pt x="36" y="30"/>
                        </a:lnTo>
                        <a:lnTo>
                          <a:pt x="34" y="30"/>
                        </a:lnTo>
                        <a:lnTo>
                          <a:pt x="28" y="34"/>
                        </a:lnTo>
                        <a:lnTo>
                          <a:pt x="26" y="36"/>
                        </a:lnTo>
                        <a:lnTo>
                          <a:pt x="22" y="38"/>
                        </a:lnTo>
                        <a:lnTo>
                          <a:pt x="26" y="42"/>
                        </a:lnTo>
                        <a:lnTo>
                          <a:pt x="32" y="44"/>
                        </a:lnTo>
                        <a:lnTo>
                          <a:pt x="36" y="44"/>
                        </a:lnTo>
                        <a:lnTo>
                          <a:pt x="36" y="50"/>
                        </a:lnTo>
                        <a:lnTo>
                          <a:pt x="38" y="52"/>
                        </a:lnTo>
                        <a:lnTo>
                          <a:pt x="40" y="52"/>
                        </a:lnTo>
                        <a:lnTo>
                          <a:pt x="42" y="54"/>
                        </a:lnTo>
                        <a:lnTo>
                          <a:pt x="40" y="54"/>
                        </a:lnTo>
                        <a:lnTo>
                          <a:pt x="38" y="54"/>
                        </a:lnTo>
                        <a:lnTo>
                          <a:pt x="38" y="52"/>
                        </a:lnTo>
                        <a:lnTo>
                          <a:pt x="36" y="52"/>
                        </a:lnTo>
                        <a:lnTo>
                          <a:pt x="34" y="52"/>
                        </a:lnTo>
                        <a:lnTo>
                          <a:pt x="32" y="52"/>
                        </a:lnTo>
                        <a:lnTo>
                          <a:pt x="30" y="48"/>
                        </a:lnTo>
                        <a:lnTo>
                          <a:pt x="22" y="48"/>
                        </a:lnTo>
                        <a:lnTo>
                          <a:pt x="20" y="48"/>
                        </a:lnTo>
                        <a:lnTo>
                          <a:pt x="16" y="48"/>
                        </a:lnTo>
                        <a:lnTo>
                          <a:pt x="16" y="46"/>
                        </a:lnTo>
                        <a:lnTo>
                          <a:pt x="14" y="48"/>
                        </a:lnTo>
                        <a:lnTo>
                          <a:pt x="14" y="52"/>
                        </a:lnTo>
                        <a:lnTo>
                          <a:pt x="14" y="56"/>
                        </a:lnTo>
                        <a:lnTo>
                          <a:pt x="14" y="58"/>
                        </a:lnTo>
                        <a:lnTo>
                          <a:pt x="14" y="60"/>
                        </a:lnTo>
                        <a:lnTo>
                          <a:pt x="18" y="70"/>
                        </a:lnTo>
                        <a:lnTo>
                          <a:pt x="18" y="72"/>
                        </a:lnTo>
                        <a:lnTo>
                          <a:pt x="20" y="74"/>
                        </a:lnTo>
                        <a:lnTo>
                          <a:pt x="20" y="76"/>
                        </a:lnTo>
                        <a:lnTo>
                          <a:pt x="28" y="84"/>
                        </a:lnTo>
                        <a:lnTo>
                          <a:pt x="24" y="84"/>
                        </a:lnTo>
                        <a:lnTo>
                          <a:pt x="22" y="82"/>
                        </a:lnTo>
                        <a:lnTo>
                          <a:pt x="24" y="82"/>
                        </a:lnTo>
                        <a:lnTo>
                          <a:pt x="18" y="80"/>
                        </a:lnTo>
                        <a:lnTo>
                          <a:pt x="16" y="78"/>
                        </a:lnTo>
                        <a:lnTo>
                          <a:pt x="16" y="76"/>
                        </a:lnTo>
                        <a:lnTo>
                          <a:pt x="14" y="7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4" name="Freeform 3258"/>
                  <p:cNvSpPr>
                    <a:spLocks/>
                  </p:cNvSpPr>
                  <p:nvPr/>
                </p:nvSpPr>
                <p:spPr bwMode="auto">
                  <a:xfrm>
                    <a:off x="4984556" y="5288724"/>
                    <a:ext cx="20778" cy="20778"/>
                  </a:xfrm>
                  <a:custGeom>
                    <a:avLst/>
                    <a:gdLst/>
                    <a:ahLst/>
                    <a:cxnLst>
                      <a:cxn ang="0">
                        <a:pos x="10" y="4"/>
                      </a:cxn>
                      <a:cxn ang="0">
                        <a:pos x="10" y="6"/>
                      </a:cxn>
                      <a:cxn ang="0">
                        <a:pos x="10" y="8"/>
                      </a:cxn>
                      <a:cxn ang="0">
                        <a:pos x="10" y="10"/>
                      </a:cxn>
                      <a:cxn ang="0">
                        <a:pos x="8" y="10"/>
                      </a:cxn>
                      <a:cxn ang="0">
                        <a:pos x="4" y="10"/>
                      </a:cxn>
                      <a:cxn ang="0">
                        <a:pos x="2" y="10"/>
                      </a:cxn>
                      <a:cxn ang="0">
                        <a:pos x="0" y="4"/>
                      </a:cxn>
                      <a:cxn ang="0">
                        <a:pos x="0" y="2"/>
                      </a:cxn>
                      <a:cxn ang="0">
                        <a:pos x="2" y="2"/>
                      </a:cxn>
                      <a:cxn ang="0">
                        <a:pos x="2" y="0"/>
                      </a:cxn>
                      <a:cxn ang="0">
                        <a:pos x="8" y="0"/>
                      </a:cxn>
                      <a:cxn ang="0">
                        <a:pos x="10" y="4"/>
                      </a:cxn>
                    </a:cxnLst>
                    <a:rect l="0" t="0" r="r" b="b"/>
                    <a:pathLst>
                      <a:path w="10" h="10">
                        <a:moveTo>
                          <a:pt x="10" y="4"/>
                        </a:moveTo>
                        <a:lnTo>
                          <a:pt x="10" y="6"/>
                        </a:lnTo>
                        <a:lnTo>
                          <a:pt x="10" y="8"/>
                        </a:lnTo>
                        <a:lnTo>
                          <a:pt x="10" y="10"/>
                        </a:lnTo>
                        <a:lnTo>
                          <a:pt x="8" y="10"/>
                        </a:lnTo>
                        <a:lnTo>
                          <a:pt x="4" y="10"/>
                        </a:lnTo>
                        <a:lnTo>
                          <a:pt x="2" y="10"/>
                        </a:lnTo>
                        <a:lnTo>
                          <a:pt x="0" y="4"/>
                        </a:lnTo>
                        <a:lnTo>
                          <a:pt x="0" y="2"/>
                        </a:lnTo>
                        <a:lnTo>
                          <a:pt x="2" y="2"/>
                        </a:lnTo>
                        <a:lnTo>
                          <a:pt x="2" y="0"/>
                        </a:lnTo>
                        <a:lnTo>
                          <a:pt x="8" y="0"/>
                        </a:lnTo>
                        <a:lnTo>
                          <a:pt x="1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5" name="Freeform 3259"/>
                  <p:cNvSpPr>
                    <a:spLocks/>
                  </p:cNvSpPr>
                  <p:nvPr/>
                </p:nvSpPr>
                <p:spPr bwMode="auto">
                  <a:xfrm>
                    <a:off x="4818329" y="5309503"/>
                    <a:ext cx="8311" cy="8311"/>
                  </a:xfrm>
                  <a:custGeom>
                    <a:avLst/>
                    <a:gdLst/>
                    <a:ahLst/>
                    <a:cxnLst>
                      <a:cxn ang="0">
                        <a:pos x="4" y="4"/>
                      </a:cxn>
                      <a:cxn ang="0">
                        <a:pos x="2" y="4"/>
                      </a:cxn>
                      <a:cxn ang="0">
                        <a:pos x="0" y="2"/>
                      </a:cxn>
                      <a:cxn ang="0">
                        <a:pos x="0" y="0"/>
                      </a:cxn>
                      <a:cxn ang="0">
                        <a:pos x="2" y="2"/>
                      </a:cxn>
                      <a:cxn ang="0">
                        <a:pos x="4" y="2"/>
                      </a:cxn>
                      <a:cxn ang="0">
                        <a:pos x="4" y="4"/>
                      </a:cxn>
                    </a:cxnLst>
                    <a:rect l="0" t="0" r="r" b="b"/>
                    <a:pathLst>
                      <a:path w="4" h="4">
                        <a:moveTo>
                          <a:pt x="4" y="4"/>
                        </a:moveTo>
                        <a:lnTo>
                          <a:pt x="2" y="4"/>
                        </a:lnTo>
                        <a:lnTo>
                          <a:pt x="0" y="2"/>
                        </a:lnTo>
                        <a:lnTo>
                          <a:pt x="0" y="0"/>
                        </a:lnTo>
                        <a:lnTo>
                          <a:pt x="2" y="2"/>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6" name="Freeform 3260"/>
                  <p:cNvSpPr>
                    <a:spLocks/>
                  </p:cNvSpPr>
                  <p:nvPr/>
                </p:nvSpPr>
                <p:spPr bwMode="auto">
                  <a:xfrm>
                    <a:off x="5973608" y="5309503"/>
                    <a:ext cx="369855" cy="423879"/>
                  </a:xfrm>
                  <a:custGeom>
                    <a:avLst/>
                    <a:gdLst/>
                    <a:ahLst/>
                    <a:cxnLst>
                      <a:cxn ang="0">
                        <a:pos x="76" y="100"/>
                      </a:cxn>
                      <a:cxn ang="0">
                        <a:pos x="72" y="102"/>
                      </a:cxn>
                      <a:cxn ang="0">
                        <a:pos x="80" y="106"/>
                      </a:cxn>
                      <a:cxn ang="0">
                        <a:pos x="98" y="128"/>
                      </a:cxn>
                      <a:cxn ang="0">
                        <a:pos x="100" y="136"/>
                      </a:cxn>
                      <a:cxn ang="0">
                        <a:pos x="94" y="146"/>
                      </a:cxn>
                      <a:cxn ang="0">
                        <a:pos x="110" y="160"/>
                      </a:cxn>
                      <a:cxn ang="0">
                        <a:pos x="108" y="170"/>
                      </a:cxn>
                      <a:cxn ang="0">
                        <a:pos x="92" y="172"/>
                      </a:cxn>
                      <a:cxn ang="0">
                        <a:pos x="92" y="180"/>
                      </a:cxn>
                      <a:cxn ang="0">
                        <a:pos x="78" y="158"/>
                      </a:cxn>
                      <a:cxn ang="0">
                        <a:pos x="68" y="152"/>
                      </a:cxn>
                      <a:cxn ang="0">
                        <a:pos x="62" y="134"/>
                      </a:cxn>
                      <a:cxn ang="0">
                        <a:pos x="38" y="128"/>
                      </a:cxn>
                      <a:cxn ang="0">
                        <a:pos x="46" y="146"/>
                      </a:cxn>
                      <a:cxn ang="0">
                        <a:pos x="44" y="164"/>
                      </a:cxn>
                      <a:cxn ang="0">
                        <a:pos x="42" y="184"/>
                      </a:cxn>
                      <a:cxn ang="0">
                        <a:pos x="44" y="202"/>
                      </a:cxn>
                      <a:cxn ang="0">
                        <a:pos x="34" y="200"/>
                      </a:cxn>
                      <a:cxn ang="0">
                        <a:pos x="24" y="202"/>
                      </a:cxn>
                      <a:cxn ang="0">
                        <a:pos x="20" y="182"/>
                      </a:cxn>
                      <a:cxn ang="0">
                        <a:pos x="18" y="148"/>
                      </a:cxn>
                      <a:cxn ang="0">
                        <a:pos x="12" y="144"/>
                      </a:cxn>
                      <a:cxn ang="0">
                        <a:pos x="4" y="126"/>
                      </a:cxn>
                      <a:cxn ang="0">
                        <a:pos x="4" y="120"/>
                      </a:cxn>
                      <a:cxn ang="0">
                        <a:pos x="14" y="100"/>
                      </a:cxn>
                      <a:cxn ang="0">
                        <a:pos x="16" y="92"/>
                      </a:cxn>
                      <a:cxn ang="0">
                        <a:pos x="20" y="76"/>
                      </a:cxn>
                      <a:cxn ang="0">
                        <a:pos x="28" y="68"/>
                      </a:cxn>
                      <a:cxn ang="0">
                        <a:pos x="28" y="64"/>
                      </a:cxn>
                      <a:cxn ang="0">
                        <a:pos x="26" y="50"/>
                      </a:cxn>
                      <a:cxn ang="0">
                        <a:pos x="28" y="50"/>
                      </a:cxn>
                      <a:cxn ang="0">
                        <a:pos x="28" y="42"/>
                      </a:cxn>
                      <a:cxn ang="0">
                        <a:pos x="36" y="28"/>
                      </a:cxn>
                      <a:cxn ang="0">
                        <a:pos x="44" y="20"/>
                      </a:cxn>
                      <a:cxn ang="0">
                        <a:pos x="50" y="24"/>
                      </a:cxn>
                      <a:cxn ang="0">
                        <a:pos x="66" y="12"/>
                      </a:cxn>
                      <a:cxn ang="0">
                        <a:pos x="76" y="18"/>
                      </a:cxn>
                      <a:cxn ang="0">
                        <a:pos x="94" y="20"/>
                      </a:cxn>
                      <a:cxn ang="0">
                        <a:pos x="112" y="26"/>
                      </a:cxn>
                      <a:cxn ang="0">
                        <a:pos x="132" y="24"/>
                      </a:cxn>
                      <a:cxn ang="0">
                        <a:pos x="152" y="16"/>
                      </a:cxn>
                      <a:cxn ang="0">
                        <a:pos x="160" y="14"/>
                      </a:cxn>
                      <a:cxn ang="0">
                        <a:pos x="166" y="6"/>
                      </a:cxn>
                      <a:cxn ang="0">
                        <a:pos x="176" y="6"/>
                      </a:cxn>
                      <a:cxn ang="0">
                        <a:pos x="174" y="12"/>
                      </a:cxn>
                      <a:cxn ang="0">
                        <a:pos x="162" y="24"/>
                      </a:cxn>
                      <a:cxn ang="0">
                        <a:pos x="132" y="40"/>
                      </a:cxn>
                      <a:cxn ang="0">
                        <a:pos x="90" y="36"/>
                      </a:cxn>
                      <a:cxn ang="0">
                        <a:pos x="74" y="36"/>
                      </a:cxn>
                      <a:cxn ang="0">
                        <a:pos x="52" y="34"/>
                      </a:cxn>
                      <a:cxn ang="0">
                        <a:pos x="38" y="42"/>
                      </a:cxn>
                      <a:cxn ang="0">
                        <a:pos x="36" y="64"/>
                      </a:cxn>
                      <a:cxn ang="0">
                        <a:pos x="48" y="74"/>
                      </a:cxn>
                      <a:cxn ang="0">
                        <a:pos x="52" y="86"/>
                      </a:cxn>
                      <a:cxn ang="0">
                        <a:pos x="64" y="84"/>
                      </a:cxn>
                      <a:cxn ang="0">
                        <a:pos x="80" y="72"/>
                      </a:cxn>
                      <a:cxn ang="0">
                        <a:pos x="94" y="68"/>
                      </a:cxn>
                      <a:cxn ang="0">
                        <a:pos x="110" y="66"/>
                      </a:cxn>
                      <a:cxn ang="0">
                        <a:pos x="128" y="68"/>
                      </a:cxn>
                      <a:cxn ang="0">
                        <a:pos x="124" y="76"/>
                      </a:cxn>
                      <a:cxn ang="0">
                        <a:pos x="110" y="76"/>
                      </a:cxn>
                    </a:cxnLst>
                    <a:rect l="0" t="0" r="r" b="b"/>
                    <a:pathLst>
                      <a:path w="178" h="204">
                        <a:moveTo>
                          <a:pt x="86" y="94"/>
                        </a:moveTo>
                        <a:lnTo>
                          <a:pt x="82" y="94"/>
                        </a:lnTo>
                        <a:lnTo>
                          <a:pt x="82" y="96"/>
                        </a:lnTo>
                        <a:lnTo>
                          <a:pt x="82" y="98"/>
                        </a:lnTo>
                        <a:lnTo>
                          <a:pt x="80" y="100"/>
                        </a:lnTo>
                        <a:lnTo>
                          <a:pt x="76" y="100"/>
                        </a:lnTo>
                        <a:lnTo>
                          <a:pt x="74" y="98"/>
                        </a:lnTo>
                        <a:lnTo>
                          <a:pt x="70" y="96"/>
                        </a:lnTo>
                        <a:lnTo>
                          <a:pt x="68" y="96"/>
                        </a:lnTo>
                        <a:lnTo>
                          <a:pt x="68" y="98"/>
                        </a:lnTo>
                        <a:lnTo>
                          <a:pt x="70" y="102"/>
                        </a:lnTo>
                        <a:lnTo>
                          <a:pt x="72" y="102"/>
                        </a:lnTo>
                        <a:lnTo>
                          <a:pt x="74" y="102"/>
                        </a:lnTo>
                        <a:lnTo>
                          <a:pt x="74" y="104"/>
                        </a:lnTo>
                        <a:lnTo>
                          <a:pt x="76" y="106"/>
                        </a:lnTo>
                        <a:lnTo>
                          <a:pt x="78" y="106"/>
                        </a:lnTo>
                        <a:lnTo>
                          <a:pt x="78" y="108"/>
                        </a:lnTo>
                        <a:lnTo>
                          <a:pt x="80" y="106"/>
                        </a:lnTo>
                        <a:lnTo>
                          <a:pt x="80" y="108"/>
                        </a:lnTo>
                        <a:lnTo>
                          <a:pt x="84" y="112"/>
                        </a:lnTo>
                        <a:lnTo>
                          <a:pt x="88" y="118"/>
                        </a:lnTo>
                        <a:lnTo>
                          <a:pt x="88" y="122"/>
                        </a:lnTo>
                        <a:lnTo>
                          <a:pt x="92" y="124"/>
                        </a:lnTo>
                        <a:lnTo>
                          <a:pt x="98" y="128"/>
                        </a:lnTo>
                        <a:lnTo>
                          <a:pt x="96" y="128"/>
                        </a:lnTo>
                        <a:lnTo>
                          <a:pt x="96" y="130"/>
                        </a:lnTo>
                        <a:lnTo>
                          <a:pt x="98" y="134"/>
                        </a:lnTo>
                        <a:lnTo>
                          <a:pt x="100" y="134"/>
                        </a:lnTo>
                        <a:lnTo>
                          <a:pt x="102" y="134"/>
                        </a:lnTo>
                        <a:lnTo>
                          <a:pt x="100" y="136"/>
                        </a:lnTo>
                        <a:lnTo>
                          <a:pt x="98" y="136"/>
                        </a:lnTo>
                        <a:lnTo>
                          <a:pt x="96" y="138"/>
                        </a:lnTo>
                        <a:lnTo>
                          <a:pt x="96" y="140"/>
                        </a:lnTo>
                        <a:lnTo>
                          <a:pt x="96" y="142"/>
                        </a:lnTo>
                        <a:lnTo>
                          <a:pt x="96" y="144"/>
                        </a:lnTo>
                        <a:lnTo>
                          <a:pt x="94" y="146"/>
                        </a:lnTo>
                        <a:lnTo>
                          <a:pt x="104" y="154"/>
                        </a:lnTo>
                        <a:lnTo>
                          <a:pt x="104" y="156"/>
                        </a:lnTo>
                        <a:lnTo>
                          <a:pt x="108" y="160"/>
                        </a:lnTo>
                        <a:lnTo>
                          <a:pt x="108" y="162"/>
                        </a:lnTo>
                        <a:lnTo>
                          <a:pt x="112" y="160"/>
                        </a:lnTo>
                        <a:lnTo>
                          <a:pt x="110" y="160"/>
                        </a:lnTo>
                        <a:lnTo>
                          <a:pt x="110" y="158"/>
                        </a:lnTo>
                        <a:lnTo>
                          <a:pt x="112" y="160"/>
                        </a:lnTo>
                        <a:lnTo>
                          <a:pt x="114" y="162"/>
                        </a:lnTo>
                        <a:lnTo>
                          <a:pt x="114" y="168"/>
                        </a:lnTo>
                        <a:lnTo>
                          <a:pt x="110" y="170"/>
                        </a:lnTo>
                        <a:lnTo>
                          <a:pt x="108" y="170"/>
                        </a:lnTo>
                        <a:lnTo>
                          <a:pt x="106" y="170"/>
                        </a:lnTo>
                        <a:lnTo>
                          <a:pt x="106" y="168"/>
                        </a:lnTo>
                        <a:lnTo>
                          <a:pt x="104" y="168"/>
                        </a:lnTo>
                        <a:lnTo>
                          <a:pt x="104" y="170"/>
                        </a:lnTo>
                        <a:lnTo>
                          <a:pt x="98" y="170"/>
                        </a:lnTo>
                        <a:lnTo>
                          <a:pt x="92" y="172"/>
                        </a:lnTo>
                        <a:lnTo>
                          <a:pt x="90" y="172"/>
                        </a:lnTo>
                        <a:lnTo>
                          <a:pt x="90" y="174"/>
                        </a:lnTo>
                        <a:lnTo>
                          <a:pt x="90" y="176"/>
                        </a:lnTo>
                        <a:lnTo>
                          <a:pt x="90" y="178"/>
                        </a:lnTo>
                        <a:lnTo>
                          <a:pt x="92" y="178"/>
                        </a:lnTo>
                        <a:lnTo>
                          <a:pt x="92" y="180"/>
                        </a:lnTo>
                        <a:lnTo>
                          <a:pt x="80" y="180"/>
                        </a:lnTo>
                        <a:lnTo>
                          <a:pt x="74" y="176"/>
                        </a:lnTo>
                        <a:lnTo>
                          <a:pt x="74" y="172"/>
                        </a:lnTo>
                        <a:lnTo>
                          <a:pt x="76" y="164"/>
                        </a:lnTo>
                        <a:lnTo>
                          <a:pt x="78" y="162"/>
                        </a:lnTo>
                        <a:lnTo>
                          <a:pt x="78" y="158"/>
                        </a:lnTo>
                        <a:lnTo>
                          <a:pt x="76" y="158"/>
                        </a:lnTo>
                        <a:lnTo>
                          <a:pt x="74" y="158"/>
                        </a:lnTo>
                        <a:lnTo>
                          <a:pt x="72" y="158"/>
                        </a:lnTo>
                        <a:lnTo>
                          <a:pt x="72" y="156"/>
                        </a:lnTo>
                        <a:lnTo>
                          <a:pt x="70" y="156"/>
                        </a:lnTo>
                        <a:lnTo>
                          <a:pt x="68" y="152"/>
                        </a:lnTo>
                        <a:lnTo>
                          <a:pt x="60" y="146"/>
                        </a:lnTo>
                        <a:lnTo>
                          <a:pt x="58" y="144"/>
                        </a:lnTo>
                        <a:lnTo>
                          <a:pt x="58" y="140"/>
                        </a:lnTo>
                        <a:lnTo>
                          <a:pt x="60" y="136"/>
                        </a:lnTo>
                        <a:lnTo>
                          <a:pt x="62" y="136"/>
                        </a:lnTo>
                        <a:lnTo>
                          <a:pt x="62" y="134"/>
                        </a:lnTo>
                        <a:lnTo>
                          <a:pt x="64" y="128"/>
                        </a:lnTo>
                        <a:lnTo>
                          <a:pt x="62" y="122"/>
                        </a:lnTo>
                        <a:lnTo>
                          <a:pt x="62" y="120"/>
                        </a:lnTo>
                        <a:lnTo>
                          <a:pt x="56" y="118"/>
                        </a:lnTo>
                        <a:lnTo>
                          <a:pt x="52" y="120"/>
                        </a:lnTo>
                        <a:lnTo>
                          <a:pt x="38" y="128"/>
                        </a:lnTo>
                        <a:lnTo>
                          <a:pt x="40" y="134"/>
                        </a:lnTo>
                        <a:lnTo>
                          <a:pt x="44" y="134"/>
                        </a:lnTo>
                        <a:lnTo>
                          <a:pt x="44" y="136"/>
                        </a:lnTo>
                        <a:lnTo>
                          <a:pt x="44" y="144"/>
                        </a:lnTo>
                        <a:lnTo>
                          <a:pt x="44" y="146"/>
                        </a:lnTo>
                        <a:lnTo>
                          <a:pt x="46" y="146"/>
                        </a:lnTo>
                        <a:lnTo>
                          <a:pt x="46" y="150"/>
                        </a:lnTo>
                        <a:lnTo>
                          <a:pt x="44" y="152"/>
                        </a:lnTo>
                        <a:lnTo>
                          <a:pt x="44" y="154"/>
                        </a:lnTo>
                        <a:lnTo>
                          <a:pt x="44" y="160"/>
                        </a:lnTo>
                        <a:lnTo>
                          <a:pt x="44" y="162"/>
                        </a:lnTo>
                        <a:lnTo>
                          <a:pt x="44" y="164"/>
                        </a:lnTo>
                        <a:lnTo>
                          <a:pt x="44" y="168"/>
                        </a:lnTo>
                        <a:lnTo>
                          <a:pt x="44" y="170"/>
                        </a:lnTo>
                        <a:lnTo>
                          <a:pt x="44" y="176"/>
                        </a:lnTo>
                        <a:lnTo>
                          <a:pt x="44" y="180"/>
                        </a:lnTo>
                        <a:lnTo>
                          <a:pt x="42" y="180"/>
                        </a:lnTo>
                        <a:lnTo>
                          <a:pt x="42" y="184"/>
                        </a:lnTo>
                        <a:lnTo>
                          <a:pt x="42" y="186"/>
                        </a:lnTo>
                        <a:lnTo>
                          <a:pt x="42" y="188"/>
                        </a:lnTo>
                        <a:lnTo>
                          <a:pt x="40" y="188"/>
                        </a:lnTo>
                        <a:lnTo>
                          <a:pt x="44" y="194"/>
                        </a:lnTo>
                        <a:lnTo>
                          <a:pt x="46" y="202"/>
                        </a:lnTo>
                        <a:lnTo>
                          <a:pt x="44" y="202"/>
                        </a:lnTo>
                        <a:lnTo>
                          <a:pt x="44" y="200"/>
                        </a:lnTo>
                        <a:lnTo>
                          <a:pt x="42" y="198"/>
                        </a:lnTo>
                        <a:lnTo>
                          <a:pt x="42" y="200"/>
                        </a:lnTo>
                        <a:lnTo>
                          <a:pt x="40" y="200"/>
                        </a:lnTo>
                        <a:lnTo>
                          <a:pt x="38" y="200"/>
                        </a:lnTo>
                        <a:lnTo>
                          <a:pt x="34" y="200"/>
                        </a:lnTo>
                        <a:lnTo>
                          <a:pt x="32" y="200"/>
                        </a:lnTo>
                        <a:lnTo>
                          <a:pt x="30" y="202"/>
                        </a:lnTo>
                        <a:lnTo>
                          <a:pt x="30" y="204"/>
                        </a:lnTo>
                        <a:lnTo>
                          <a:pt x="28" y="204"/>
                        </a:lnTo>
                        <a:lnTo>
                          <a:pt x="24" y="204"/>
                        </a:lnTo>
                        <a:lnTo>
                          <a:pt x="24" y="202"/>
                        </a:lnTo>
                        <a:lnTo>
                          <a:pt x="22" y="202"/>
                        </a:lnTo>
                        <a:lnTo>
                          <a:pt x="20" y="200"/>
                        </a:lnTo>
                        <a:lnTo>
                          <a:pt x="16" y="196"/>
                        </a:lnTo>
                        <a:lnTo>
                          <a:pt x="16" y="190"/>
                        </a:lnTo>
                        <a:lnTo>
                          <a:pt x="20" y="186"/>
                        </a:lnTo>
                        <a:lnTo>
                          <a:pt x="20" y="182"/>
                        </a:lnTo>
                        <a:lnTo>
                          <a:pt x="22" y="182"/>
                        </a:lnTo>
                        <a:lnTo>
                          <a:pt x="20" y="180"/>
                        </a:lnTo>
                        <a:lnTo>
                          <a:pt x="20" y="176"/>
                        </a:lnTo>
                        <a:lnTo>
                          <a:pt x="22" y="172"/>
                        </a:lnTo>
                        <a:lnTo>
                          <a:pt x="22" y="156"/>
                        </a:lnTo>
                        <a:lnTo>
                          <a:pt x="18" y="148"/>
                        </a:lnTo>
                        <a:lnTo>
                          <a:pt x="20" y="146"/>
                        </a:lnTo>
                        <a:lnTo>
                          <a:pt x="20" y="144"/>
                        </a:lnTo>
                        <a:lnTo>
                          <a:pt x="16" y="142"/>
                        </a:lnTo>
                        <a:lnTo>
                          <a:pt x="14" y="142"/>
                        </a:lnTo>
                        <a:lnTo>
                          <a:pt x="12" y="142"/>
                        </a:lnTo>
                        <a:lnTo>
                          <a:pt x="12" y="144"/>
                        </a:lnTo>
                        <a:lnTo>
                          <a:pt x="10" y="142"/>
                        </a:lnTo>
                        <a:lnTo>
                          <a:pt x="8" y="144"/>
                        </a:lnTo>
                        <a:lnTo>
                          <a:pt x="6" y="144"/>
                        </a:lnTo>
                        <a:lnTo>
                          <a:pt x="4" y="146"/>
                        </a:lnTo>
                        <a:lnTo>
                          <a:pt x="2" y="140"/>
                        </a:lnTo>
                        <a:lnTo>
                          <a:pt x="4" y="126"/>
                        </a:lnTo>
                        <a:lnTo>
                          <a:pt x="0" y="126"/>
                        </a:lnTo>
                        <a:lnTo>
                          <a:pt x="0" y="124"/>
                        </a:lnTo>
                        <a:lnTo>
                          <a:pt x="0" y="122"/>
                        </a:lnTo>
                        <a:lnTo>
                          <a:pt x="0" y="120"/>
                        </a:lnTo>
                        <a:lnTo>
                          <a:pt x="2" y="120"/>
                        </a:lnTo>
                        <a:lnTo>
                          <a:pt x="4" y="120"/>
                        </a:lnTo>
                        <a:lnTo>
                          <a:pt x="6" y="118"/>
                        </a:lnTo>
                        <a:lnTo>
                          <a:pt x="10" y="114"/>
                        </a:lnTo>
                        <a:lnTo>
                          <a:pt x="10" y="108"/>
                        </a:lnTo>
                        <a:lnTo>
                          <a:pt x="12" y="102"/>
                        </a:lnTo>
                        <a:lnTo>
                          <a:pt x="14" y="102"/>
                        </a:lnTo>
                        <a:lnTo>
                          <a:pt x="14" y="100"/>
                        </a:lnTo>
                        <a:lnTo>
                          <a:pt x="16" y="102"/>
                        </a:lnTo>
                        <a:lnTo>
                          <a:pt x="16" y="100"/>
                        </a:lnTo>
                        <a:lnTo>
                          <a:pt x="16" y="98"/>
                        </a:lnTo>
                        <a:lnTo>
                          <a:pt x="16" y="96"/>
                        </a:lnTo>
                        <a:lnTo>
                          <a:pt x="14" y="94"/>
                        </a:lnTo>
                        <a:lnTo>
                          <a:pt x="16" y="92"/>
                        </a:lnTo>
                        <a:lnTo>
                          <a:pt x="16" y="88"/>
                        </a:lnTo>
                        <a:lnTo>
                          <a:pt x="14" y="88"/>
                        </a:lnTo>
                        <a:lnTo>
                          <a:pt x="16" y="82"/>
                        </a:lnTo>
                        <a:lnTo>
                          <a:pt x="16" y="80"/>
                        </a:lnTo>
                        <a:lnTo>
                          <a:pt x="18" y="78"/>
                        </a:lnTo>
                        <a:lnTo>
                          <a:pt x="20" y="76"/>
                        </a:lnTo>
                        <a:lnTo>
                          <a:pt x="20" y="74"/>
                        </a:lnTo>
                        <a:lnTo>
                          <a:pt x="20" y="72"/>
                        </a:lnTo>
                        <a:lnTo>
                          <a:pt x="22" y="70"/>
                        </a:lnTo>
                        <a:lnTo>
                          <a:pt x="24" y="68"/>
                        </a:lnTo>
                        <a:lnTo>
                          <a:pt x="26" y="66"/>
                        </a:lnTo>
                        <a:lnTo>
                          <a:pt x="28" y="68"/>
                        </a:lnTo>
                        <a:lnTo>
                          <a:pt x="28" y="70"/>
                        </a:lnTo>
                        <a:lnTo>
                          <a:pt x="30" y="72"/>
                        </a:lnTo>
                        <a:lnTo>
                          <a:pt x="30" y="70"/>
                        </a:lnTo>
                        <a:lnTo>
                          <a:pt x="30" y="66"/>
                        </a:lnTo>
                        <a:lnTo>
                          <a:pt x="28" y="66"/>
                        </a:lnTo>
                        <a:lnTo>
                          <a:pt x="28" y="64"/>
                        </a:lnTo>
                        <a:lnTo>
                          <a:pt x="28" y="56"/>
                        </a:lnTo>
                        <a:lnTo>
                          <a:pt x="28" y="54"/>
                        </a:lnTo>
                        <a:lnTo>
                          <a:pt x="28" y="52"/>
                        </a:lnTo>
                        <a:lnTo>
                          <a:pt x="28" y="50"/>
                        </a:lnTo>
                        <a:lnTo>
                          <a:pt x="26" y="52"/>
                        </a:lnTo>
                        <a:lnTo>
                          <a:pt x="26" y="50"/>
                        </a:lnTo>
                        <a:lnTo>
                          <a:pt x="24" y="50"/>
                        </a:lnTo>
                        <a:lnTo>
                          <a:pt x="24" y="48"/>
                        </a:lnTo>
                        <a:lnTo>
                          <a:pt x="24" y="46"/>
                        </a:lnTo>
                        <a:lnTo>
                          <a:pt x="26" y="46"/>
                        </a:lnTo>
                        <a:lnTo>
                          <a:pt x="28" y="48"/>
                        </a:lnTo>
                        <a:lnTo>
                          <a:pt x="28" y="50"/>
                        </a:lnTo>
                        <a:lnTo>
                          <a:pt x="30" y="50"/>
                        </a:lnTo>
                        <a:lnTo>
                          <a:pt x="30" y="48"/>
                        </a:lnTo>
                        <a:lnTo>
                          <a:pt x="30" y="46"/>
                        </a:lnTo>
                        <a:lnTo>
                          <a:pt x="30" y="44"/>
                        </a:lnTo>
                        <a:lnTo>
                          <a:pt x="28" y="44"/>
                        </a:lnTo>
                        <a:lnTo>
                          <a:pt x="28" y="42"/>
                        </a:lnTo>
                        <a:lnTo>
                          <a:pt x="30" y="36"/>
                        </a:lnTo>
                        <a:lnTo>
                          <a:pt x="32" y="36"/>
                        </a:lnTo>
                        <a:lnTo>
                          <a:pt x="32" y="34"/>
                        </a:lnTo>
                        <a:lnTo>
                          <a:pt x="34" y="34"/>
                        </a:lnTo>
                        <a:lnTo>
                          <a:pt x="34" y="28"/>
                        </a:lnTo>
                        <a:lnTo>
                          <a:pt x="36" y="28"/>
                        </a:lnTo>
                        <a:lnTo>
                          <a:pt x="38" y="28"/>
                        </a:lnTo>
                        <a:lnTo>
                          <a:pt x="38" y="26"/>
                        </a:lnTo>
                        <a:lnTo>
                          <a:pt x="40" y="26"/>
                        </a:lnTo>
                        <a:lnTo>
                          <a:pt x="40" y="22"/>
                        </a:lnTo>
                        <a:lnTo>
                          <a:pt x="42" y="20"/>
                        </a:lnTo>
                        <a:lnTo>
                          <a:pt x="44" y="20"/>
                        </a:lnTo>
                        <a:lnTo>
                          <a:pt x="44" y="22"/>
                        </a:lnTo>
                        <a:lnTo>
                          <a:pt x="42" y="24"/>
                        </a:lnTo>
                        <a:lnTo>
                          <a:pt x="44" y="24"/>
                        </a:lnTo>
                        <a:lnTo>
                          <a:pt x="44" y="26"/>
                        </a:lnTo>
                        <a:lnTo>
                          <a:pt x="50" y="26"/>
                        </a:lnTo>
                        <a:lnTo>
                          <a:pt x="50" y="24"/>
                        </a:lnTo>
                        <a:lnTo>
                          <a:pt x="52" y="20"/>
                        </a:lnTo>
                        <a:lnTo>
                          <a:pt x="54" y="20"/>
                        </a:lnTo>
                        <a:lnTo>
                          <a:pt x="56" y="18"/>
                        </a:lnTo>
                        <a:lnTo>
                          <a:pt x="56" y="12"/>
                        </a:lnTo>
                        <a:lnTo>
                          <a:pt x="64" y="12"/>
                        </a:lnTo>
                        <a:lnTo>
                          <a:pt x="66" y="12"/>
                        </a:lnTo>
                        <a:lnTo>
                          <a:pt x="68" y="14"/>
                        </a:lnTo>
                        <a:lnTo>
                          <a:pt x="72" y="14"/>
                        </a:lnTo>
                        <a:lnTo>
                          <a:pt x="74" y="14"/>
                        </a:lnTo>
                        <a:lnTo>
                          <a:pt x="74" y="16"/>
                        </a:lnTo>
                        <a:lnTo>
                          <a:pt x="74" y="18"/>
                        </a:lnTo>
                        <a:lnTo>
                          <a:pt x="76" y="18"/>
                        </a:lnTo>
                        <a:lnTo>
                          <a:pt x="86" y="18"/>
                        </a:lnTo>
                        <a:lnTo>
                          <a:pt x="88" y="18"/>
                        </a:lnTo>
                        <a:lnTo>
                          <a:pt x="88" y="20"/>
                        </a:lnTo>
                        <a:lnTo>
                          <a:pt x="90" y="18"/>
                        </a:lnTo>
                        <a:lnTo>
                          <a:pt x="92" y="18"/>
                        </a:lnTo>
                        <a:lnTo>
                          <a:pt x="94" y="20"/>
                        </a:lnTo>
                        <a:lnTo>
                          <a:pt x="100" y="20"/>
                        </a:lnTo>
                        <a:lnTo>
                          <a:pt x="106" y="22"/>
                        </a:lnTo>
                        <a:lnTo>
                          <a:pt x="108" y="22"/>
                        </a:lnTo>
                        <a:lnTo>
                          <a:pt x="110" y="24"/>
                        </a:lnTo>
                        <a:lnTo>
                          <a:pt x="112" y="24"/>
                        </a:lnTo>
                        <a:lnTo>
                          <a:pt x="112" y="26"/>
                        </a:lnTo>
                        <a:lnTo>
                          <a:pt x="112" y="24"/>
                        </a:lnTo>
                        <a:lnTo>
                          <a:pt x="114" y="24"/>
                        </a:lnTo>
                        <a:lnTo>
                          <a:pt x="116" y="22"/>
                        </a:lnTo>
                        <a:lnTo>
                          <a:pt x="120" y="22"/>
                        </a:lnTo>
                        <a:lnTo>
                          <a:pt x="130" y="24"/>
                        </a:lnTo>
                        <a:lnTo>
                          <a:pt x="132" y="24"/>
                        </a:lnTo>
                        <a:lnTo>
                          <a:pt x="138" y="24"/>
                        </a:lnTo>
                        <a:lnTo>
                          <a:pt x="140" y="24"/>
                        </a:lnTo>
                        <a:lnTo>
                          <a:pt x="150" y="20"/>
                        </a:lnTo>
                        <a:lnTo>
                          <a:pt x="152" y="20"/>
                        </a:lnTo>
                        <a:lnTo>
                          <a:pt x="152" y="18"/>
                        </a:lnTo>
                        <a:lnTo>
                          <a:pt x="152" y="16"/>
                        </a:lnTo>
                        <a:lnTo>
                          <a:pt x="154" y="16"/>
                        </a:lnTo>
                        <a:lnTo>
                          <a:pt x="154" y="14"/>
                        </a:lnTo>
                        <a:lnTo>
                          <a:pt x="156" y="14"/>
                        </a:lnTo>
                        <a:lnTo>
                          <a:pt x="156" y="16"/>
                        </a:lnTo>
                        <a:lnTo>
                          <a:pt x="160" y="16"/>
                        </a:lnTo>
                        <a:lnTo>
                          <a:pt x="160" y="14"/>
                        </a:lnTo>
                        <a:lnTo>
                          <a:pt x="160" y="12"/>
                        </a:lnTo>
                        <a:lnTo>
                          <a:pt x="158" y="12"/>
                        </a:lnTo>
                        <a:lnTo>
                          <a:pt x="160" y="8"/>
                        </a:lnTo>
                        <a:lnTo>
                          <a:pt x="162" y="10"/>
                        </a:lnTo>
                        <a:lnTo>
                          <a:pt x="166" y="8"/>
                        </a:lnTo>
                        <a:lnTo>
                          <a:pt x="166" y="6"/>
                        </a:lnTo>
                        <a:lnTo>
                          <a:pt x="166" y="4"/>
                        </a:lnTo>
                        <a:lnTo>
                          <a:pt x="170" y="0"/>
                        </a:lnTo>
                        <a:lnTo>
                          <a:pt x="172" y="0"/>
                        </a:lnTo>
                        <a:lnTo>
                          <a:pt x="174" y="2"/>
                        </a:lnTo>
                        <a:lnTo>
                          <a:pt x="174" y="4"/>
                        </a:lnTo>
                        <a:lnTo>
                          <a:pt x="176" y="6"/>
                        </a:lnTo>
                        <a:lnTo>
                          <a:pt x="178" y="6"/>
                        </a:lnTo>
                        <a:lnTo>
                          <a:pt x="178" y="8"/>
                        </a:lnTo>
                        <a:lnTo>
                          <a:pt x="176" y="8"/>
                        </a:lnTo>
                        <a:lnTo>
                          <a:pt x="174" y="8"/>
                        </a:lnTo>
                        <a:lnTo>
                          <a:pt x="174" y="10"/>
                        </a:lnTo>
                        <a:lnTo>
                          <a:pt x="174" y="12"/>
                        </a:lnTo>
                        <a:lnTo>
                          <a:pt x="172" y="12"/>
                        </a:lnTo>
                        <a:lnTo>
                          <a:pt x="172" y="14"/>
                        </a:lnTo>
                        <a:lnTo>
                          <a:pt x="170" y="18"/>
                        </a:lnTo>
                        <a:lnTo>
                          <a:pt x="168" y="22"/>
                        </a:lnTo>
                        <a:lnTo>
                          <a:pt x="166" y="22"/>
                        </a:lnTo>
                        <a:lnTo>
                          <a:pt x="162" y="24"/>
                        </a:lnTo>
                        <a:lnTo>
                          <a:pt x="158" y="30"/>
                        </a:lnTo>
                        <a:lnTo>
                          <a:pt x="158" y="32"/>
                        </a:lnTo>
                        <a:lnTo>
                          <a:pt x="156" y="36"/>
                        </a:lnTo>
                        <a:lnTo>
                          <a:pt x="150" y="38"/>
                        </a:lnTo>
                        <a:lnTo>
                          <a:pt x="134" y="40"/>
                        </a:lnTo>
                        <a:lnTo>
                          <a:pt x="132" y="40"/>
                        </a:lnTo>
                        <a:lnTo>
                          <a:pt x="122" y="40"/>
                        </a:lnTo>
                        <a:lnTo>
                          <a:pt x="122" y="38"/>
                        </a:lnTo>
                        <a:lnTo>
                          <a:pt x="120" y="36"/>
                        </a:lnTo>
                        <a:lnTo>
                          <a:pt x="118" y="34"/>
                        </a:lnTo>
                        <a:lnTo>
                          <a:pt x="90" y="34"/>
                        </a:lnTo>
                        <a:lnTo>
                          <a:pt x="90" y="36"/>
                        </a:lnTo>
                        <a:lnTo>
                          <a:pt x="82" y="36"/>
                        </a:lnTo>
                        <a:lnTo>
                          <a:pt x="80" y="34"/>
                        </a:lnTo>
                        <a:lnTo>
                          <a:pt x="76" y="32"/>
                        </a:lnTo>
                        <a:lnTo>
                          <a:pt x="76" y="34"/>
                        </a:lnTo>
                        <a:lnTo>
                          <a:pt x="74" y="34"/>
                        </a:lnTo>
                        <a:lnTo>
                          <a:pt x="74" y="36"/>
                        </a:lnTo>
                        <a:lnTo>
                          <a:pt x="70" y="36"/>
                        </a:lnTo>
                        <a:lnTo>
                          <a:pt x="68" y="34"/>
                        </a:lnTo>
                        <a:lnTo>
                          <a:pt x="66" y="36"/>
                        </a:lnTo>
                        <a:lnTo>
                          <a:pt x="64" y="36"/>
                        </a:lnTo>
                        <a:lnTo>
                          <a:pt x="62" y="36"/>
                        </a:lnTo>
                        <a:lnTo>
                          <a:pt x="52" y="34"/>
                        </a:lnTo>
                        <a:lnTo>
                          <a:pt x="46" y="34"/>
                        </a:lnTo>
                        <a:lnTo>
                          <a:pt x="44" y="34"/>
                        </a:lnTo>
                        <a:lnTo>
                          <a:pt x="44" y="36"/>
                        </a:lnTo>
                        <a:lnTo>
                          <a:pt x="42" y="36"/>
                        </a:lnTo>
                        <a:lnTo>
                          <a:pt x="40" y="38"/>
                        </a:lnTo>
                        <a:lnTo>
                          <a:pt x="38" y="42"/>
                        </a:lnTo>
                        <a:lnTo>
                          <a:pt x="36" y="44"/>
                        </a:lnTo>
                        <a:lnTo>
                          <a:pt x="36" y="46"/>
                        </a:lnTo>
                        <a:lnTo>
                          <a:pt x="36" y="48"/>
                        </a:lnTo>
                        <a:lnTo>
                          <a:pt x="34" y="48"/>
                        </a:lnTo>
                        <a:lnTo>
                          <a:pt x="34" y="50"/>
                        </a:lnTo>
                        <a:lnTo>
                          <a:pt x="36" y="64"/>
                        </a:lnTo>
                        <a:lnTo>
                          <a:pt x="40" y="72"/>
                        </a:lnTo>
                        <a:lnTo>
                          <a:pt x="42" y="72"/>
                        </a:lnTo>
                        <a:lnTo>
                          <a:pt x="42" y="74"/>
                        </a:lnTo>
                        <a:lnTo>
                          <a:pt x="44" y="74"/>
                        </a:lnTo>
                        <a:lnTo>
                          <a:pt x="44" y="72"/>
                        </a:lnTo>
                        <a:lnTo>
                          <a:pt x="48" y="74"/>
                        </a:lnTo>
                        <a:lnTo>
                          <a:pt x="48" y="76"/>
                        </a:lnTo>
                        <a:lnTo>
                          <a:pt x="50" y="76"/>
                        </a:lnTo>
                        <a:lnTo>
                          <a:pt x="50" y="78"/>
                        </a:lnTo>
                        <a:lnTo>
                          <a:pt x="50" y="80"/>
                        </a:lnTo>
                        <a:lnTo>
                          <a:pt x="52" y="84"/>
                        </a:lnTo>
                        <a:lnTo>
                          <a:pt x="52" y="86"/>
                        </a:lnTo>
                        <a:lnTo>
                          <a:pt x="54" y="84"/>
                        </a:lnTo>
                        <a:lnTo>
                          <a:pt x="56" y="84"/>
                        </a:lnTo>
                        <a:lnTo>
                          <a:pt x="56" y="86"/>
                        </a:lnTo>
                        <a:lnTo>
                          <a:pt x="58" y="86"/>
                        </a:lnTo>
                        <a:lnTo>
                          <a:pt x="64" y="86"/>
                        </a:lnTo>
                        <a:lnTo>
                          <a:pt x="64" y="84"/>
                        </a:lnTo>
                        <a:lnTo>
                          <a:pt x="66" y="82"/>
                        </a:lnTo>
                        <a:lnTo>
                          <a:pt x="66" y="80"/>
                        </a:lnTo>
                        <a:lnTo>
                          <a:pt x="74" y="70"/>
                        </a:lnTo>
                        <a:lnTo>
                          <a:pt x="78" y="70"/>
                        </a:lnTo>
                        <a:lnTo>
                          <a:pt x="80" y="70"/>
                        </a:lnTo>
                        <a:lnTo>
                          <a:pt x="80" y="72"/>
                        </a:lnTo>
                        <a:lnTo>
                          <a:pt x="80" y="74"/>
                        </a:lnTo>
                        <a:lnTo>
                          <a:pt x="86" y="74"/>
                        </a:lnTo>
                        <a:lnTo>
                          <a:pt x="92" y="74"/>
                        </a:lnTo>
                        <a:lnTo>
                          <a:pt x="92" y="72"/>
                        </a:lnTo>
                        <a:lnTo>
                          <a:pt x="92" y="70"/>
                        </a:lnTo>
                        <a:lnTo>
                          <a:pt x="94" y="68"/>
                        </a:lnTo>
                        <a:lnTo>
                          <a:pt x="104" y="68"/>
                        </a:lnTo>
                        <a:lnTo>
                          <a:pt x="106" y="70"/>
                        </a:lnTo>
                        <a:lnTo>
                          <a:pt x="116" y="68"/>
                        </a:lnTo>
                        <a:lnTo>
                          <a:pt x="114" y="68"/>
                        </a:lnTo>
                        <a:lnTo>
                          <a:pt x="112" y="66"/>
                        </a:lnTo>
                        <a:lnTo>
                          <a:pt x="110" y="66"/>
                        </a:lnTo>
                        <a:lnTo>
                          <a:pt x="108" y="66"/>
                        </a:lnTo>
                        <a:lnTo>
                          <a:pt x="110" y="64"/>
                        </a:lnTo>
                        <a:lnTo>
                          <a:pt x="116" y="64"/>
                        </a:lnTo>
                        <a:lnTo>
                          <a:pt x="124" y="64"/>
                        </a:lnTo>
                        <a:lnTo>
                          <a:pt x="126" y="66"/>
                        </a:lnTo>
                        <a:lnTo>
                          <a:pt x="128" y="68"/>
                        </a:lnTo>
                        <a:lnTo>
                          <a:pt x="128" y="70"/>
                        </a:lnTo>
                        <a:lnTo>
                          <a:pt x="126" y="70"/>
                        </a:lnTo>
                        <a:lnTo>
                          <a:pt x="126" y="72"/>
                        </a:lnTo>
                        <a:lnTo>
                          <a:pt x="126" y="74"/>
                        </a:lnTo>
                        <a:lnTo>
                          <a:pt x="126" y="76"/>
                        </a:lnTo>
                        <a:lnTo>
                          <a:pt x="124" y="76"/>
                        </a:lnTo>
                        <a:lnTo>
                          <a:pt x="122" y="76"/>
                        </a:lnTo>
                        <a:lnTo>
                          <a:pt x="120" y="74"/>
                        </a:lnTo>
                        <a:lnTo>
                          <a:pt x="120" y="72"/>
                        </a:lnTo>
                        <a:lnTo>
                          <a:pt x="110" y="72"/>
                        </a:lnTo>
                        <a:lnTo>
                          <a:pt x="110" y="74"/>
                        </a:lnTo>
                        <a:lnTo>
                          <a:pt x="110" y="76"/>
                        </a:lnTo>
                        <a:lnTo>
                          <a:pt x="96" y="90"/>
                        </a:lnTo>
                        <a:lnTo>
                          <a:pt x="92" y="92"/>
                        </a:lnTo>
                        <a:lnTo>
                          <a:pt x="86" y="9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7" name="Freeform 3261"/>
                  <p:cNvSpPr>
                    <a:spLocks/>
                  </p:cNvSpPr>
                  <p:nvPr/>
                </p:nvSpPr>
                <p:spPr bwMode="auto">
                  <a:xfrm>
                    <a:off x="4743527" y="5321970"/>
                    <a:ext cx="45712" cy="54024"/>
                  </a:xfrm>
                  <a:custGeom>
                    <a:avLst/>
                    <a:gdLst/>
                    <a:ahLst/>
                    <a:cxnLst>
                      <a:cxn ang="0">
                        <a:pos x="18" y="26"/>
                      </a:cxn>
                      <a:cxn ang="0">
                        <a:pos x="16" y="26"/>
                      </a:cxn>
                      <a:cxn ang="0">
                        <a:pos x="16" y="24"/>
                      </a:cxn>
                      <a:cxn ang="0">
                        <a:pos x="14" y="20"/>
                      </a:cxn>
                      <a:cxn ang="0">
                        <a:pos x="0" y="4"/>
                      </a:cxn>
                      <a:cxn ang="0">
                        <a:pos x="4" y="4"/>
                      </a:cxn>
                      <a:cxn ang="0">
                        <a:pos x="4" y="2"/>
                      </a:cxn>
                      <a:cxn ang="0">
                        <a:pos x="6" y="0"/>
                      </a:cxn>
                      <a:cxn ang="0">
                        <a:pos x="8" y="0"/>
                      </a:cxn>
                      <a:cxn ang="0">
                        <a:pos x="10" y="2"/>
                      </a:cxn>
                      <a:cxn ang="0">
                        <a:pos x="10" y="4"/>
                      </a:cxn>
                      <a:cxn ang="0">
                        <a:pos x="16" y="10"/>
                      </a:cxn>
                      <a:cxn ang="0">
                        <a:pos x="18" y="10"/>
                      </a:cxn>
                      <a:cxn ang="0">
                        <a:pos x="20" y="12"/>
                      </a:cxn>
                      <a:cxn ang="0">
                        <a:pos x="22" y="16"/>
                      </a:cxn>
                      <a:cxn ang="0">
                        <a:pos x="20" y="18"/>
                      </a:cxn>
                      <a:cxn ang="0">
                        <a:pos x="20" y="24"/>
                      </a:cxn>
                      <a:cxn ang="0">
                        <a:pos x="20" y="26"/>
                      </a:cxn>
                      <a:cxn ang="0">
                        <a:pos x="18" y="26"/>
                      </a:cxn>
                    </a:cxnLst>
                    <a:rect l="0" t="0" r="r" b="b"/>
                    <a:pathLst>
                      <a:path w="22" h="26">
                        <a:moveTo>
                          <a:pt x="18" y="26"/>
                        </a:moveTo>
                        <a:lnTo>
                          <a:pt x="16" y="26"/>
                        </a:lnTo>
                        <a:lnTo>
                          <a:pt x="16" y="24"/>
                        </a:lnTo>
                        <a:lnTo>
                          <a:pt x="14" y="20"/>
                        </a:lnTo>
                        <a:lnTo>
                          <a:pt x="0" y="4"/>
                        </a:lnTo>
                        <a:lnTo>
                          <a:pt x="4" y="4"/>
                        </a:lnTo>
                        <a:lnTo>
                          <a:pt x="4" y="2"/>
                        </a:lnTo>
                        <a:lnTo>
                          <a:pt x="6" y="0"/>
                        </a:lnTo>
                        <a:lnTo>
                          <a:pt x="8" y="0"/>
                        </a:lnTo>
                        <a:lnTo>
                          <a:pt x="10" y="2"/>
                        </a:lnTo>
                        <a:lnTo>
                          <a:pt x="10" y="4"/>
                        </a:lnTo>
                        <a:lnTo>
                          <a:pt x="16" y="10"/>
                        </a:lnTo>
                        <a:lnTo>
                          <a:pt x="18" y="10"/>
                        </a:lnTo>
                        <a:lnTo>
                          <a:pt x="20" y="12"/>
                        </a:lnTo>
                        <a:lnTo>
                          <a:pt x="22" y="16"/>
                        </a:lnTo>
                        <a:lnTo>
                          <a:pt x="20" y="18"/>
                        </a:lnTo>
                        <a:lnTo>
                          <a:pt x="20" y="24"/>
                        </a:lnTo>
                        <a:lnTo>
                          <a:pt x="20" y="26"/>
                        </a:lnTo>
                        <a:lnTo>
                          <a:pt x="18" y="26"/>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658" name="Freeform 3262"/>
                  <p:cNvSpPr>
                    <a:spLocks/>
                  </p:cNvSpPr>
                  <p:nvPr/>
                </p:nvSpPr>
                <p:spPr bwMode="auto">
                  <a:xfrm>
                    <a:off x="5030268" y="5326125"/>
                    <a:ext cx="16623" cy="29090"/>
                  </a:xfrm>
                  <a:custGeom>
                    <a:avLst/>
                    <a:gdLst/>
                    <a:ahLst/>
                    <a:cxnLst>
                      <a:cxn ang="0">
                        <a:pos x="8" y="6"/>
                      </a:cxn>
                      <a:cxn ang="0">
                        <a:pos x="8" y="10"/>
                      </a:cxn>
                      <a:cxn ang="0">
                        <a:pos x="8" y="14"/>
                      </a:cxn>
                      <a:cxn ang="0">
                        <a:pos x="6" y="14"/>
                      </a:cxn>
                      <a:cxn ang="0">
                        <a:pos x="4" y="12"/>
                      </a:cxn>
                      <a:cxn ang="0">
                        <a:pos x="2" y="12"/>
                      </a:cxn>
                      <a:cxn ang="0">
                        <a:pos x="2" y="10"/>
                      </a:cxn>
                      <a:cxn ang="0">
                        <a:pos x="0" y="2"/>
                      </a:cxn>
                      <a:cxn ang="0">
                        <a:pos x="2" y="2"/>
                      </a:cxn>
                      <a:cxn ang="0">
                        <a:pos x="2" y="0"/>
                      </a:cxn>
                      <a:cxn ang="0">
                        <a:pos x="2" y="2"/>
                      </a:cxn>
                      <a:cxn ang="0">
                        <a:pos x="4" y="2"/>
                      </a:cxn>
                      <a:cxn ang="0">
                        <a:pos x="8" y="6"/>
                      </a:cxn>
                    </a:cxnLst>
                    <a:rect l="0" t="0" r="r" b="b"/>
                    <a:pathLst>
                      <a:path w="8" h="14">
                        <a:moveTo>
                          <a:pt x="8" y="6"/>
                        </a:moveTo>
                        <a:lnTo>
                          <a:pt x="8" y="10"/>
                        </a:lnTo>
                        <a:lnTo>
                          <a:pt x="8" y="14"/>
                        </a:lnTo>
                        <a:lnTo>
                          <a:pt x="6" y="14"/>
                        </a:lnTo>
                        <a:lnTo>
                          <a:pt x="4" y="12"/>
                        </a:lnTo>
                        <a:lnTo>
                          <a:pt x="2" y="12"/>
                        </a:lnTo>
                        <a:lnTo>
                          <a:pt x="2" y="10"/>
                        </a:lnTo>
                        <a:lnTo>
                          <a:pt x="0" y="2"/>
                        </a:lnTo>
                        <a:lnTo>
                          <a:pt x="2" y="2"/>
                        </a:lnTo>
                        <a:lnTo>
                          <a:pt x="2" y="0"/>
                        </a:lnTo>
                        <a:lnTo>
                          <a:pt x="2" y="2"/>
                        </a:lnTo>
                        <a:lnTo>
                          <a:pt x="4" y="2"/>
                        </a:lnTo>
                        <a:lnTo>
                          <a:pt x="8"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9" name="Freeform 3263"/>
                  <p:cNvSpPr>
                    <a:spLocks/>
                  </p:cNvSpPr>
                  <p:nvPr/>
                </p:nvSpPr>
                <p:spPr bwMode="auto">
                  <a:xfrm>
                    <a:off x="5146628" y="5338592"/>
                    <a:ext cx="24934" cy="20778"/>
                  </a:xfrm>
                  <a:custGeom>
                    <a:avLst/>
                    <a:gdLst/>
                    <a:ahLst/>
                    <a:cxnLst>
                      <a:cxn ang="0">
                        <a:pos x="12" y="6"/>
                      </a:cxn>
                      <a:cxn ang="0">
                        <a:pos x="10" y="10"/>
                      </a:cxn>
                      <a:cxn ang="0">
                        <a:pos x="8" y="10"/>
                      </a:cxn>
                      <a:cxn ang="0">
                        <a:pos x="8" y="8"/>
                      </a:cxn>
                      <a:cxn ang="0">
                        <a:pos x="6" y="8"/>
                      </a:cxn>
                      <a:cxn ang="0">
                        <a:pos x="4" y="6"/>
                      </a:cxn>
                      <a:cxn ang="0">
                        <a:pos x="2" y="6"/>
                      </a:cxn>
                      <a:cxn ang="0">
                        <a:pos x="0" y="6"/>
                      </a:cxn>
                      <a:cxn ang="0">
                        <a:pos x="0" y="4"/>
                      </a:cxn>
                      <a:cxn ang="0">
                        <a:pos x="2" y="2"/>
                      </a:cxn>
                      <a:cxn ang="0">
                        <a:pos x="6" y="0"/>
                      </a:cxn>
                      <a:cxn ang="0">
                        <a:pos x="8" y="2"/>
                      </a:cxn>
                      <a:cxn ang="0">
                        <a:pos x="12" y="4"/>
                      </a:cxn>
                      <a:cxn ang="0">
                        <a:pos x="12" y="6"/>
                      </a:cxn>
                    </a:cxnLst>
                    <a:rect l="0" t="0" r="r" b="b"/>
                    <a:pathLst>
                      <a:path w="12" h="10">
                        <a:moveTo>
                          <a:pt x="12" y="6"/>
                        </a:moveTo>
                        <a:lnTo>
                          <a:pt x="10" y="10"/>
                        </a:lnTo>
                        <a:lnTo>
                          <a:pt x="8" y="10"/>
                        </a:lnTo>
                        <a:lnTo>
                          <a:pt x="8" y="8"/>
                        </a:lnTo>
                        <a:lnTo>
                          <a:pt x="6" y="8"/>
                        </a:lnTo>
                        <a:lnTo>
                          <a:pt x="4" y="6"/>
                        </a:lnTo>
                        <a:lnTo>
                          <a:pt x="2" y="6"/>
                        </a:lnTo>
                        <a:lnTo>
                          <a:pt x="0" y="6"/>
                        </a:lnTo>
                        <a:lnTo>
                          <a:pt x="0" y="4"/>
                        </a:lnTo>
                        <a:lnTo>
                          <a:pt x="2" y="2"/>
                        </a:lnTo>
                        <a:lnTo>
                          <a:pt x="6" y="0"/>
                        </a:lnTo>
                        <a:lnTo>
                          <a:pt x="8" y="2"/>
                        </a:lnTo>
                        <a:lnTo>
                          <a:pt x="12" y="4"/>
                        </a:lnTo>
                        <a:lnTo>
                          <a:pt x="1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0" name="Freeform 3264"/>
                  <p:cNvSpPr>
                    <a:spLocks/>
                  </p:cNvSpPr>
                  <p:nvPr/>
                </p:nvSpPr>
                <p:spPr bwMode="auto">
                  <a:xfrm>
                    <a:off x="5130005" y="5342748"/>
                    <a:ext cx="12467" cy="8311"/>
                  </a:xfrm>
                  <a:custGeom>
                    <a:avLst/>
                    <a:gdLst/>
                    <a:ahLst/>
                    <a:cxnLst>
                      <a:cxn ang="0">
                        <a:pos x="6" y="0"/>
                      </a:cxn>
                      <a:cxn ang="0">
                        <a:pos x="6" y="2"/>
                      </a:cxn>
                      <a:cxn ang="0">
                        <a:pos x="4" y="4"/>
                      </a:cxn>
                      <a:cxn ang="0">
                        <a:pos x="0" y="4"/>
                      </a:cxn>
                      <a:cxn ang="0">
                        <a:pos x="0" y="2"/>
                      </a:cxn>
                      <a:cxn ang="0">
                        <a:pos x="2" y="0"/>
                      </a:cxn>
                      <a:cxn ang="0">
                        <a:pos x="6" y="0"/>
                      </a:cxn>
                    </a:cxnLst>
                    <a:rect l="0" t="0" r="r" b="b"/>
                    <a:pathLst>
                      <a:path w="6" h="4">
                        <a:moveTo>
                          <a:pt x="6" y="0"/>
                        </a:moveTo>
                        <a:lnTo>
                          <a:pt x="6" y="2"/>
                        </a:lnTo>
                        <a:lnTo>
                          <a:pt x="4" y="4"/>
                        </a:lnTo>
                        <a:lnTo>
                          <a:pt x="0" y="4"/>
                        </a:lnTo>
                        <a:lnTo>
                          <a:pt x="0" y="2"/>
                        </a:lnTo>
                        <a:lnTo>
                          <a:pt x="2"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1" name="Freeform 3265"/>
                  <p:cNvSpPr>
                    <a:spLocks/>
                  </p:cNvSpPr>
                  <p:nvPr/>
                </p:nvSpPr>
                <p:spPr bwMode="auto">
                  <a:xfrm>
                    <a:off x="5059358" y="5342748"/>
                    <a:ext cx="29090" cy="16623"/>
                  </a:xfrm>
                  <a:custGeom>
                    <a:avLst/>
                    <a:gdLst/>
                    <a:ahLst/>
                    <a:cxnLst>
                      <a:cxn ang="0">
                        <a:pos x="14" y="8"/>
                      </a:cxn>
                      <a:cxn ang="0">
                        <a:pos x="12" y="8"/>
                      </a:cxn>
                      <a:cxn ang="0">
                        <a:pos x="10" y="8"/>
                      </a:cxn>
                      <a:cxn ang="0">
                        <a:pos x="2" y="4"/>
                      </a:cxn>
                      <a:cxn ang="0">
                        <a:pos x="0" y="4"/>
                      </a:cxn>
                      <a:cxn ang="0">
                        <a:pos x="0" y="2"/>
                      </a:cxn>
                      <a:cxn ang="0">
                        <a:pos x="0" y="0"/>
                      </a:cxn>
                      <a:cxn ang="0">
                        <a:pos x="4" y="0"/>
                      </a:cxn>
                      <a:cxn ang="0">
                        <a:pos x="6" y="2"/>
                      </a:cxn>
                      <a:cxn ang="0">
                        <a:pos x="8" y="2"/>
                      </a:cxn>
                      <a:cxn ang="0">
                        <a:pos x="10" y="2"/>
                      </a:cxn>
                      <a:cxn ang="0">
                        <a:pos x="10" y="4"/>
                      </a:cxn>
                      <a:cxn ang="0">
                        <a:pos x="12" y="4"/>
                      </a:cxn>
                      <a:cxn ang="0">
                        <a:pos x="14" y="8"/>
                      </a:cxn>
                    </a:cxnLst>
                    <a:rect l="0" t="0" r="r" b="b"/>
                    <a:pathLst>
                      <a:path w="14" h="8">
                        <a:moveTo>
                          <a:pt x="14" y="8"/>
                        </a:moveTo>
                        <a:lnTo>
                          <a:pt x="12" y="8"/>
                        </a:lnTo>
                        <a:lnTo>
                          <a:pt x="10" y="8"/>
                        </a:lnTo>
                        <a:lnTo>
                          <a:pt x="2" y="4"/>
                        </a:lnTo>
                        <a:lnTo>
                          <a:pt x="0" y="4"/>
                        </a:lnTo>
                        <a:lnTo>
                          <a:pt x="0" y="2"/>
                        </a:lnTo>
                        <a:lnTo>
                          <a:pt x="0" y="0"/>
                        </a:lnTo>
                        <a:lnTo>
                          <a:pt x="4" y="0"/>
                        </a:lnTo>
                        <a:lnTo>
                          <a:pt x="6" y="2"/>
                        </a:lnTo>
                        <a:lnTo>
                          <a:pt x="8" y="2"/>
                        </a:lnTo>
                        <a:lnTo>
                          <a:pt x="10" y="2"/>
                        </a:lnTo>
                        <a:lnTo>
                          <a:pt x="10" y="4"/>
                        </a:lnTo>
                        <a:lnTo>
                          <a:pt x="12" y="4"/>
                        </a:lnTo>
                        <a:lnTo>
                          <a:pt x="1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2" name="Freeform 3266"/>
                  <p:cNvSpPr>
                    <a:spLocks/>
                  </p:cNvSpPr>
                  <p:nvPr/>
                </p:nvSpPr>
                <p:spPr bwMode="auto">
                  <a:xfrm>
                    <a:off x="5042736" y="5342748"/>
                    <a:ext cx="37401" cy="29090"/>
                  </a:xfrm>
                  <a:custGeom>
                    <a:avLst/>
                    <a:gdLst/>
                    <a:ahLst/>
                    <a:cxnLst>
                      <a:cxn ang="0">
                        <a:pos x="18" y="10"/>
                      </a:cxn>
                      <a:cxn ang="0">
                        <a:pos x="18" y="12"/>
                      </a:cxn>
                      <a:cxn ang="0">
                        <a:pos x="18" y="14"/>
                      </a:cxn>
                      <a:cxn ang="0">
                        <a:pos x="16" y="10"/>
                      </a:cxn>
                      <a:cxn ang="0">
                        <a:pos x="14" y="10"/>
                      </a:cxn>
                      <a:cxn ang="0">
                        <a:pos x="12" y="10"/>
                      </a:cxn>
                      <a:cxn ang="0">
                        <a:pos x="6" y="10"/>
                      </a:cxn>
                      <a:cxn ang="0">
                        <a:pos x="4" y="10"/>
                      </a:cxn>
                      <a:cxn ang="0">
                        <a:pos x="2" y="10"/>
                      </a:cxn>
                      <a:cxn ang="0">
                        <a:pos x="0" y="8"/>
                      </a:cxn>
                      <a:cxn ang="0">
                        <a:pos x="0" y="6"/>
                      </a:cxn>
                      <a:cxn ang="0">
                        <a:pos x="2" y="6"/>
                      </a:cxn>
                      <a:cxn ang="0">
                        <a:pos x="4" y="6"/>
                      </a:cxn>
                      <a:cxn ang="0">
                        <a:pos x="2" y="4"/>
                      </a:cxn>
                      <a:cxn ang="0">
                        <a:pos x="2" y="2"/>
                      </a:cxn>
                      <a:cxn ang="0">
                        <a:pos x="2" y="0"/>
                      </a:cxn>
                      <a:cxn ang="0">
                        <a:pos x="4" y="0"/>
                      </a:cxn>
                      <a:cxn ang="0">
                        <a:pos x="4" y="2"/>
                      </a:cxn>
                      <a:cxn ang="0">
                        <a:pos x="6" y="2"/>
                      </a:cxn>
                      <a:cxn ang="0">
                        <a:pos x="6" y="4"/>
                      </a:cxn>
                      <a:cxn ang="0">
                        <a:pos x="8" y="4"/>
                      </a:cxn>
                      <a:cxn ang="0">
                        <a:pos x="10" y="4"/>
                      </a:cxn>
                      <a:cxn ang="0">
                        <a:pos x="14" y="6"/>
                      </a:cxn>
                      <a:cxn ang="0">
                        <a:pos x="18" y="10"/>
                      </a:cxn>
                    </a:cxnLst>
                    <a:rect l="0" t="0" r="r" b="b"/>
                    <a:pathLst>
                      <a:path w="18" h="14">
                        <a:moveTo>
                          <a:pt x="18" y="10"/>
                        </a:moveTo>
                        <a:lnTo>
                          <a:pt x="18" y="12"/>
                        </a:lnTo>
                        <a:lnTo>
                          <a:pt x="18" y="14"/>
                        </a:lnTo>
                        <a:lnTo>
                          <a:pt x="16" y="10"/>
                        </a:lnTo>
                        <a:lnTo>
                          <a:pt x="14" y="10"/>
                        </a:lnTo>
                        <a:lnTo>
                          <a:pt x="12" y="10"/>
                        </a:lnTo>
                        <a:lnTo>
                          <a:pt x="6" y="10"/>
                        </a:lnTo>
                        <a:lnTo>
                          <a:pt x="4" y="10"/>
                        </a:lnTo>
                        <a:lnTo>
                          <a:pt x="2" y="10"/>
                        </a:lnTo>
                        <a:lnTo>
                          <a:pt x="0" y="8"/>
                        </a:lnTo>
                        <a:lnTo>
                          <a:pt x="0" y="6"/>
                        </a:lnTo>
                        <a:lnTo>
                          <a:pt x="2" y="6"/>
                        </a:lnTo>
                        <a:lnTo>
                          <a:pt x="4" y="6"/>
                        </a:lnTo>
                        <a:lnTo>
                          <a:pt x="2" y="4"/>
                        </a:lnTo>
                        <a:lnTo>
                          <a:pt x="2" y="2"/>
                        </a:lnTo>
                        <a:lnTo>
                          <a:pt x="2" y="0"/>
                        </a:lnTo>
                        <a:lnTo>
                          <a:pt x="4" y="0"/>
                        </a:lnTo>
                        <a:lnTo>
                          <a:pt x="4" y="2"/>
                        </a:lnTo>
                        <a:lnTo>
                          <a:pt x="6" y="2"/>
                        </a:lnTo>
                        <a:lnTo>
                          <a:pt x="6" y="4"/>
                        </a:lnTo>
                        <a:lnTo>
                          <a:pt x="8" y="4"/>
                        </a:lnTo>
                        <a:lnTo>
                          <a:pt x="10" y="4"/>
                        </a:lnTo>
                        <a:lnTo>
                          <a:pt x="14" y="6"/>
                        </a:lnTo>
                        <a:lnTo>
                          <a:pt x="1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3" name="Freeform 3267"/>
                  <p:cNvSpPr>
                    <a:spLocks/>
                  </p:cNvSpPr>
                  <p:nvPr/>
                </p:nvSpPr>
                <p:spPr bwMode="auto">
                  <a:xfrm>
                    <a:off x="5138316" y="5355215"/>
                    <a:ext cx="12467" cy="8311"/>
                  </a:xfrm>
                  <a:custGeom>
                    <a:avLst/>
                    <a:gdLst/>
                    <a:ahLst/>
                    <a:cxnLst>
                      <a:cxn ang="0">
                        <a:pos x="2" y="4"/>
                      </a:cxn>
                      <a:cxn ang="0">
                        <a:pos x="2" y="2"/>
                      </a:cxn>
                      <a:cxn ang="0">
                        <a:pos x="0" y="0"/>
                      </a:cxn>
                      <a:cxn ang="0">
                        <a:pos x="6" y="2"/>
                      </a:cxn>
                      <a:cxn ang="0">
                        <a:pos x="4" y="2"/>
                      </a:cxn>
                      <a:cxn ang="0">
                        <a:pos x="2" y="4"/>
                      </a:cxn>
                    </a:cxnLst>
                    <a:rect l="0" t="0" r="r" b="b"/>
                    <a:pathLst>
                      <a:path w="6" h="4">
                        <a:moveTo>
                          <a:pt x="2" y="4"/>
                        </a:moveTo>
                        <a:lnTo>
                          <a:pt x="2" y="2"/>
                        </a:lnTo>
                        <a:lnTo>
                          <a:pt x="0" y="0"/>
                        </a:lnTo>
                        <a:lnTo>
                          <a:pt x="6" y="2"/>
                        </a:lnTo>
                        <a:lnTo>
                          <a:pt x="4" y="2"/>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4" name="Freeform 3268"/>
                  <p:cNvSpPr>
                    <a:spLocks/>
                  </p:cNvSpPr>
                  <p:nvPr/>
                </p:nvSpPr>
                <p:spPr bwMode="auto">
                  <a:xfrm>
                    <a:off x="5096759" y="5359371"/>
                    <a:ext cx="8311" cy="12467"/>
                  </a:xfrm>
                  <a:custGeom>
                    <a:avLst/>
                    <a:gdLst/>
                    <a:ahLst/>
                    <a:cxnLst>
                      <a:cxn ang="0">
                        <a:pos x="4" y="4"/>
                      </a:cxn>
                      <a:cxn ang="0">
                        <a:pos x="4" y="6"/>
                      </a:cxn>
                      <a:cxn ang="0">
                        <a:pos x="2" y="6"/>
                      </a:cxn>
                      <a:cxn ang="0">
                        <a:pos x="0" y="4"/>
                      </a:cxn>
                      <a:cxn ang="0">
                        <a:pos x="0" y="2"/>
                      </a:cxn>
                      <a:cxn ang="0">
                        <a:pos x="0" y="0"/>
                      </a:cxn>
                      <a:cxn ang="0">
                        <a:pos x="2" y="0"/>
                      </a:cxn>
                      <a:cxn ang="0">
                        <a:pos x="4" y="2"/>
                      </a:cxn>
                      <a:cxn ang="0">
                        <a:pos x="4" y="4"/>
                      </a:cxn>
                    </a:cxnLst>
                    <a:rect l="0" t="0" r="r" b="b"/>
                    <a:pathLst>
                      <a:path w="4" h="6">
                        <a:moveTo>
                          <a:pt x="4" y="4"/>
                        </a:moveTo>
                        <a:lnTo>
                          <a:pt x="4" y="6"/>
                        </a:lnTo>
                        <a:lnTo>
                          <a:pt x="2" y="6"/>
                        </a:lnTo>
                        <a:lnTo>
                          <a:pt x="0" y="4"/>
                        </a:lnTo>
                        <a:lnTo>
                          <a:pt x="0" y="2"/>
                        </a:lnTo>
                        <a:lnTo>
                          <a:pt x="0" y="0"/>
                        </a:lnTo>
                        <a:lnTo>
                          <a:pt x="2"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5" name="Freeform 3269"/>
                  <p:cNvSpPr>
                    <a:spLocks/>
                  </p:cNvSpPr>
                  <p:nvPr/>
                </p:nvSpPr>
                <p:spPr bwMode="auto">
                  <a:xfrm>
                    <a:off x="5084292" y="5367682"/>
                    <a:ext cx="8311" cy="12467"/>
                  </a:xfrm>
                  <a:custGeom>
                    <a:avLst/>
                    <a:gdLst/>
                    <a:ahLst/>
                    <a:cxnLst>
                      <a:cxn ang="0">
                        <a:pos x="4" y="4"/>
                      </a:cxn>
                      <a:cxn ang="0">
                        <a:pos x="4" y="6"/>
                      </a:cxn>
                      <a:cxn ang="0">
                        <a:pos x="2" y="6"/>
                      </a:cxn>
                      <a:cxn ang="0">
                        <a:pos x="0" y="6"/>
                      </a:cxn>
                      <a:cxn ang="0">
                        <a:pos x="0" y="2"/>
                      </a:cxn>
                      <a:cxn ang="0">
                        <a:pos x="2" y="0"/>
                      </a:cxn>
                      <a:cxn ang="0">
                        <a:pos x="4" y="0"/>
                      </a:cxn>
                      <a:cxn ang="0">
                        <a:pos x="4" y="2"/>
                      </a:cxn>
                      <a:cxn ang="0">
                        <a:pos x="4" y="4"/>
                      </a:cxn>
                    </a:cxnLst>
                    <a:rect l="0" t="0" r="r" b="b"/>
                    <a:pathLst>
                      <a:path w="4" h="6">
                        <a:moveTo>
                          <a:pt x="4" y="4"/>
                        </a:moveTo>
                        <a:lnTo>
                          <a:pt x="4" y="6"/>
                        </a:lnTo>
                        <a:lnTo>
                          <a:pt x="2" y="6"/>
                        </a:lnTo>
                        <a:lnTo>
                          <a:pt x="0" y="6"/>
                        </a:lnTo>
                        <a:lnTo>
                          <a:pt x="0" y="2"/>
                        </a:lnTo>
                        <a:lnTo>
                          <a:pt x="2" y="0"/>
                        </a:lnTo>
                        <a:lnTo>
                          <a:pt x="4"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6" name="Freeform 3270"/>
                  <p:cNvSpPr>
                    <a:spLocks/>
                  </p:cNvSpPr>
                  <p:nvPr/>
                </p:nvSpPr>
                <p:spPr bwMode="auto">
                  <a:xfrm>
                    <a:off x="4822485" y="5396772"/>
                    <a:ext cx="16623" cy="8311"/>
                  </a:xfrm>
                  <a:custGeom>
                    <a:avLst/>
                    <a:gdLst/>
                    <a:ahLst/>
                    <a:cxnLst>
                      <a:cxn ang="0">
                        <a:pos x="8" y="4"/>
                      </a:cxn>
                      <a:cxn ang="0">
                        <a:pos x="0" y="4"/>
                      </a:cxn>
                      <a:cxn ang="0">
                        <a:pos x="0" y="2"/>
                      </a:cxn>
                      <a:cxn ang="0">
                        <a:pos x="0" y="0"/>
                      </a:cxn>
                      <a:cxn ang="0">
                        <a:pos x="6" y="0"/>
                      </a:cxn>
                      <a:cxn ang="0">
                        <a:pos x="8" y="2"/>
                      </a:cxn>
                      <a:cxn ang="0">
                        <a:pos x="8" y="4"/>
                      </a:cxn>
                    </a:cxnLst>
                    <a:rect l="0" t="0" r="r" b="b"/>
                    <a:pathLst>
                      <a:path w="8" h="4">
                        <a:moveTo>
                          <a:pt x="8" y="4"/>
                        </a:moveTo>
                        <a:lnTo>
                          <a:pt x="0" y="4"/>
                        </a:lnTo>
                        <a:lnTo>
                          <a:pt x="0" y="2"/>
                        </a:lnTo>
                        <a:lnTo>
                          <a:pt x="0" y="0"/>
                        </a:lnTo>
                        <a:lnTo>
                          <a:pt x="6" y="0"/>
                        </a:lnTo>
                        <a:lnTo>
                          <a:pt x="8" y="2"/>
                        </a:lnTo>
                        <a:lnTo>
                          <a:pt x="8"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7" name="Freeform 3271"/>
                  <p:cNvSpPr>
                    <a:spLocks/>
                  </p:cNvSpPr>
                  <p:nvPr/>
                </p:nvSpPr>
                <p:spPr bwMode="auto">
                  <a:xfrm>
                    <a:off x="6572025" y="5405083"/>
                    <a:ext cx="16623" cy="16623"/>
                  </a:xfrm>
                  <a:custGeom>
                    <a:avLst/>
                    <a:gdLst/>
                    <a:ahLst/>
                    <a:cxnLst>
                      <a:cxn ang="0">
                        <a:pos x="6" y="8"/>
                      </a:cxn>
                      <a:cxn ang="0">
                        <a:pos x="6" y="6"/>
                      </a:cxn>
                      <a:cxn ang="0">
                        <a:pos x="0" y="0"/>
                      </a:cxn>
                      <a:cxn ang="0">
                        <a:pos x="6" y="6"/>
                      </a:cxn>
                      <a:cxn ang="0">
                        <a:pos x="8" y="6"/>
                      </a:cxn>
                      <a:cxn ang="0">
                        <a:pos x="8" y="8"/>
                      </a:cxn>
                      <a:cxn ang="0">
                        <a:pos x="6" y="8"/>
                      </a:cxn>
                    </a:cxnLst>
                    <a:rect l="0" t="0" r="r" b="b"/>
                    <a:pathLst>
                      <a:path w="8" h="8">
                        <a:moveTo>
                          <a:pt x="6" y="8"/>
                        </a:moveTo>
                        <a:lnTo>
                          <a:pt x="6" y="6"/>
                        </a:lnTo>
                        <a:lnTo>
                          <a:pt x="0" y="0"/>
                        </a:lnTo>
                        <a:lnTo>
                          <a:pt x="6" y="6"/>
                        </a:lnTo>
                        <a:lnTo>
                          <a:pt x="8" y="6"/>
                        </a:lnTo>
                        <a:lnTo>
                          <a:pt x="8" y="8"/>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8" name="Freeform 3272"/>
                  <p:cNvSpPr>
                    <a:spLocks/>
                  </p:cNvSpPr>
                  <p:nvPr/>
                </p:nvSpPr>
                <p:spPr bwMode="auto">
                  <a:xfrm>
                    <a:off x="5159095" y="5405083"/>
                    <a:ext cx="29090" cy="20778"/>
                  </a:xfrm>
                  <a:custGeom>
                    <a:avLst/>
                    <a:gdLst/>
                    <a:ahLst/>
                    <a:cxnLst>
                      <a:cxn ang="0">
                        <a:pos x="14" y="10"/>
                      </a:cxn>
                      <a:cxn ang="0">
                        <a:pos x="12" y="10"/>
                      </a:cxn>
                      <a:cxn ang="0">
                        <a:pos x="8" y="8"/>
                      </a:cxn>
                      <a:cxn ang="0">
                        <a:pos x="8" y="6"/>
                      </a:cxn>
                      <a:cxn ang="0">
                        <a:pos x="6" y="6"/>
                      </a:cxn>
                      <a:cxn ang="0">
                        <a:pos x="6" y="8"/>
                      </a:cxn>
                      <a:cxn ang="0">
                        <a:pos x="4" y="8"/>
                      </a:cxn>
                      <a:cxn ang="0">
                        <a:pos x="2" y="8"/>
                      </a:cxn>
                      <a:cxn ang="0">
                        <a:pos x="0" y="8"/>
                      </a:cxn>
                      <a:cxn ang="0">
                        <a:pos x="0" y="6"/>
                      </a:cxn>
                      <a:cxn ang="0">
                        <a:pos x="2" y="6"/>
                      </a:cxn>
                      <a:cxn ang="0">
                        <a:pos x="2" y="0"/>
                      </a:cxn>
                      <a:cxn ang="0">
                        <a:pos x="4" y="0"/>
                      </a:cxn>
                      <a:cxn ang="0">
                        <a:pos x="6" y="2"/>
                      </a:cxn>
                      <a:cxn ang="0">
                        <a:pos x="8" y="6"/>
                      </a:cxn>
                      <a:cxn ang="0">
                        <a:pos x="10" y="6"/>
                      </a:cxn>
                      <a:cxn ang="0">
                        <a:pos x="12" y="6"/>
                      </a:cxn>
                      <a:cxn ang="0">
                        <a:pos x="14" y="8"/>
                      </a:cxn>
                      <a:cxn ang="0">
                        <a:pos x="14" y="10"/>
                      </a:cxn>
                    </a:cxnLst>
                    <a:rect l="0" t="0" r="r" b="b"/>
                    <a:pathLst>
                      <a:path w="14" h="10">
                        <a:moveTo>
                          <a:pt x="14" y="10"/>
                        </a:moveTo>
                        <a:lnTo>
                          <a:pt x="12" y="10"/>
                        </a:lnTo>
                        <a:lnTo>
                          <a:pt x="8" y="8"/>
                        </a:lnTo>
                        <a:lnTo>
                          <a:pt x="8" y="6"/>
                        </a:lnTo>
                        <a:lnTo>
                          <a:pt x="6" y="6"/>
                        </a:lnTo>
                        <a:lnTo>
                          <a:pt x="6" y="8"/>
                        </a:lnTo>
                        <a:lnTo>
                          <a:pt x="4" y="8"/>
                        </a:lnTo>
                        <a:lnTo>
                          <a:pt x="2" y="8"/>
                        </a:lnTo>
                        <a:lnTo>
                          <a:pt x="0" y="8"/>
                        </a:lnTo>
                        <a:lnTo>
                          <a:pt x="0" y="6"/>
                        </a:lnTo>
                        <a:lnTo>
                          <a:pt x="2" y="6"/>
                        </a:lnTo>
                        <a:lnTo>
                          <a:pt x="2" y="0"/>
                        </a:lnTo>
                        <a:lnTo>
                          <a:pt x="4" y="0"/>
                        </a:lnTo>
                        <a:lnTo>
                          <a:pt x="6" y="2"/>
                        </a:lnTo>
                        <a:lnTo>
                          <a:pt x="8" y="6"/>
                        </a:lnTo>
                        <a:lnTo>
                          <a:pt x="10" y="6"/>
                        </a:lnTo>
                        <a:lnTo>
                          <a:pt x="12" y="6"/>
                        </a:lnTo>
                        <a:lnTo>
                          <a:pt x="14" y="8"/>
                        </a:lnTo>
                        <a:lnTo>
                          <a:pt x="1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9" name="Freeform 3273"/>
                  <p:cNvSpPr>
                    <a:spLocks/>
                  </p:cNvSpPr>
                  <p:nvPr/>
                </p:nvSpPr>
                <p:spPr bwMode="auto">
                  <a:xfrm>
                    <a:off x="4810018" y="5409239"/>
                    <a:ext cx="12467" cy="20778"/>
                  </a:xfrm>
                  <a:custGeom>
                    <a:avLst/>
                    <a:gdLst/>
                    <a:ahLst/>
                    <a:cxnLst>
                      <a:cxn ang="0">
                        <a:pos x="6" y="10"/>
                      </a:cxn>
                      <a:cxn ang="0">
                        <a:pos x="6" y="8"/>
                      </a:cxn>
                      <a:cxn ang="0">
                        <a:pos x="0" y="0"/>
                      </a:cxn>
                      <a:cxn ang="0">
                        <a:pos x="2" y="0"/>
                      </a:cxn>
                      <a:cxn ang="0">
                        <a:pos x="4" y="2"/>
                      </a:cxn>
                      <a:cxn ang="0">
                        <a:pos x="4" y="4"/>
                      </a:cxn>
                      <a:cxn ang="0">
                        <a:pos x="6" y="4"/>
                      </a:cxn>
                      <a:cxn ang="0">
                        <a:pos x="6" y="6"/>
                      </a:cxn>
                      <a:cxn ang="0">
                        <a:pos x="6" y="10"/>
                      </a:cxn>
                    </a:cxnLst>
                    <a:rect l="0" t="0" r="r" b="b"/>
                    <a:pathLst>
                      <a:path w="6" h="10">
                        <a:moveTo>
                          <a:pt x="6" y="10"/>
                        </a:moveTo>
                        <a:lnTo>
                          <a:pt x="6" y="8"/>
                        </a:lnTo>
                        <a:lnTo>
                          <a:pt x="0" y="0"/>
                        </a:lnTo>
                        <a:lnTo>
                          <a:pt x="2" y="0"/>
                        </a:lnTo>
                        <a:lnTo>
                          <a:pt x="4" y="2"/>
                        </a:lnTo>
                        <a:lnTo>
                          <a:pt x="4" y="4"/>
                        </a:lnTo>
                        <a:lnTo>
                          <a:pt x="6" y="4"/>
                        </a:lnTo>
                        <a:lnTo>
                          <a:pt x="6" y="6"/>
                        </a:lnTo>
                        <a:lnTo>
                          <a:pt x="6" y="10"/>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670" name="Freeform 3274"/>
                  <p:cNvSpPr>
                    <a:spLocks/>
                  </p:cNvSpPr>
                  <p:nvPr/>
                </p:nvSpPr>
                <p:spPr bwMode="auto">
                  <a:xfrm>
                    <a:off x="6626049" y="5409239"/>
                    <a:ext cx="62335" cy="24934"/>
                  </a:xfrm>
                  <a:custGeom>
                    <a:avLst/>
                    <a:gdLst/>
                    <a:ahLst/>
                    <a:cxnLst>
                      <a:cxn ang="0">
                        <a:pos x="28" y="10"/>
                      </a:cxn>
                      <a:cxn ang="0">
                        <a:pos x="24" y="8"/>
                      </a:cxn>
                      <a:cxn ang="0">
                        <a:pos x="22" y="10"/>
                      </a:cxn>
                      <a:cxn ang="0">
                        <a:pos x="18" y="10"/>
                      </a:cxn>
                      <a:cxn ang="0">
                        <a:pos x="18" y="8"/>
                      </a:cxn>
                      <a:cxn ang="0">
                        <a:pos x="18" y="6"/>
                      </a:cxn>
                      <a:cxn ang="0">
                        <a:pos x="14" y="6"/>
                      </a:cxn>
                      <a:cxn ang="0">
                        <a:pos x="12" y="2"/>
                      </a:cxn>
                      <a:cxn ang="0">
                        <a:pos x="10" y="2"/>
                      </a:cxn>
                      <a:cxn ang="0">
                        <a:pos x="10" y="4"/>
                      </a:cxn>
                      <a:cxn ang="0">
                        <a:pos x="12" y="6"/>
                      </a:cxn>
                      <a:cxn ang="0">
                        <a:pos x="16" y="8"/>
                      </a:cxn>
                      <a:cxn ang="0">
                        <a:pos x="18" y="8"/>
                      </a:cxn>
                      <a:cxn ang="0">
                        <a:pos x="18" y="10"/>
                      </a:cxn>
                      <a:cxn ang="0">
                        <a:pos x="16" y="12"/>
                      </a:cxn>
                      <a:cxn ang="0">
                        <a:pos x="12" y="12"/>
                      </a:cxn>
                      <a:cxn ang="0">
                        <a:pos x="12" y="10"/>
                      </a:cxn>
                      <a:cxn ang="0">
                        <a:pos x="12" y="8"/>
                      </a:cxn>
                      <a:cxn ang="0">
                        <a:pos x="10" y="8"/>
                      </a:cxn>
                      <a:cxn ang="0">
                        <a:pos x="8" y="10"/>
                      </a:cxn>
                      <a:cxn ang="0">
                        <a:pos x="6" y="6"/>
                      </a:cxn>
                      <a:cxn ang="0">
                        <a:pos x="6" y="8"/>
                      </a:cxn>
                      <a:cxn ang="0">
                        <a:pos x="0" y="6"/>
                      </a:cxn>
                      <a:cxn ang="0">
                        <a:pos x="0" y="4"/>
                      </a:cxn>
                      <a:cxn ang="0">
                        <a:pos x="4" y="6"/>
                      </a:cxn>
                      <a:cxn ang="0">
                        <a:pos x="6" y="4"/>
                      </a:cxn>
                      <a:cxn ang="0">
                        <a:pos x="4" y="4"/>
                      </a:cxn>
                      <a:cxn ang="0">
                        <a:pos x="2" y="4"/>
                      </a:cxn>
                      <a:cxn ang="0">
                        <a:pos x="0" y="4"/>
                      </a:cxn>
                      <a:cxn ang="0">
                        <a:pos x="0" y="2"/>
                      </a:cxn>
                      <a:cxn ang="0">
                        <a:pos x="6" y="2"/>
                      </a:cxn>
                      <a:cxn ang="0">
                        <a:pos x="12" y="0"/>
                      </a:cxn>
                      <a:cxn ang="0">
                        <a:pos x="14" y="0"/>
                      </a:cxn>
                      <a:cxn ang="0">
                        <a:pos x="18" y="0"/>
                      </a:cxn>
                      <a:cxn ang="0">
                        <a:pos x="22" y="2"/>
                      </a:cxn>
                      <a:cxn ang="0">
                        <a:pos x="24" y="2"/>
                      </a:cxn>
                      <a:cxn ang="0">
                        <a:pos x="30" y="4"/>
                      </a:cxn>
                      <a:cxn ang="0">
                        <a:pos x="30" y="8"/>
                      </a:cxn>
                      <a:cxn ang="0">
                        <a:pos x="28" y="10"/>
                      </a:cxn>
                    </a:cxnLst>
                    <a:rect l="0" t="0" r="r" b="b"/>
                    <a:pathLst>
                      <a:path w="30" h="12">
                        <a:moveTo>
                          <a:pt x="28" y="10"/>
                        </a:moveTo>
                        <a:lnTo>
                          <a:pt x="24" y="8"/>
                        </a:lnTo>
                        <a:lnTo>
                          <a:pt x="22" y="10"/>
                        </a:lnTo>
                        <a:lnTo>
                          <a:pt x="18" y="10"/>
                        </a:lnTo>
                        <a:lnTo>
                          <a:pt x="18" y="8"/>
                        </a:lnTo>
                        <a:lnTo>
                          <a:pt x="18" y="6"/>
                        </a:lnTo>
                        <a:lnTo>
                          <a:pt x="14" y="6"/>
                        </a:lnTo>
                        <a:lnTo>
                          <a:pt x="12" y="2"/>
                        </a:lnTo>
                        <a:lnTo>
                          <a:pt x="10" y="2"/>
                        </a:lnTo>
                        <a:lnTo>
                          <a:pt x="10" y="4"/>
                        </a:lnTo>
                        <a:lnTo>
                          <a:pt x="12" y="6"/>
                        </a:lnTo>
                        <a:lnTo>
                          <a:pt x="16" y="8"/>
                        </a:lnTo>
                        <a:lnTo>
                          <a:pt x="18" y="8"/>
                        </a:lnTo>
                        <a:lnTo>
                          <a:pt x="18" y="10"/>
                        </a:lnTo>
                        <a:lnTo>
                          <a:pt x="16" y="12"/>
                        </a:lnTo>
                        <a:lnTo>
                          <a:pt x="12" y="12"/>
                        </a:lnTo>
                        <a:lnTo>
                          <a:pt x="12" y="10"/>
                        </a:lnTo>
                        <a:lnTo>
                          <a:pt x="12" y="8"/>
                        </a:lnTo>
                        <a:lnTo>
                          <a:pt x="10" y="8"/>
                        </a:lnTo>
                        <a:lnTo>
                          <a:pt x="8" y="10"/>
                        </a:lnTo>
                        <a:lnTo>
                          <a:pt x="6" y="6"/>
                        </a:lnTo>
                        <a:lnTo>
                          <a:pt x="6" y="8"/>
                        </a:lnTo>
                        <a:lnTo>
                          <a:pt x="0" y="6"/>
                        </a:lnTo>
                        <a:lnTo>
                          <a:pt x="0" y="4"/>
                        </a:lnTo>
                        <a:lnTo>
                          <a:pt x="4" y="6"/>
                        </a:lnTo>
                        <a:lnTo>
                          <a:pt x="6" y="4"/>
                        </a:lnTo>
                        <a:lnTo>
                          <a:pt x="4" y="4"/>
                        </a:lnTo>
                        <a:lnTo>
                          <a:pt x="2" y="4"/>
                        </a:lnTo>
                        <a:lnTo>
                          <a:pt x="0" y="4"/>
                        </a:lnTo>
                        <a:lnTo>
                          <a:pt x="0" y="2"/>
                        </a:lnTo>
                        <a:lnTo>
                          <a:pt x="6" y="2"/>
                        </a:lnTo>
                        <a:lnTo>
                          <a:pt x="12" y="0"/>
                        </a:lnTo>
                        <a:lnTo>
                          <a:pt x="14" y="0"/>
                        </a:lnTo>
                        <a:lnTo>
                          <a:pt x="18" y="0"/>
                        </a:lnTo>
                        <a:lnTo>
                          <a:pt x="22" y="2"/>
                        </a:lnTo>
                        <a:lnTo>
                          <a:pt x="24" y="2"/>
                        </a:lnTo>
                        <a:lnTo>
                          <a:pt x="30" y="4"/>
                        </a:lnTo>
                        <a:lnTo>
                          <a:pt x="30" y="8"/>
                        </a:lnTo>
                        <a:lnTo>
                          <a:pt x="2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1" name="Freeform 3275"/>
                  <p:cNvSpPr>
                    <a:spLocks/>
                  </p:cNvSpPr>
                  <p:nvPr/>
                </p:nvSpPr>
                <p:spPr bwMode="auto">
                  <a:xfrm>
                    <a:off x="4810018" y="5421706"/>
                    <a:ext cx="12467" cy="20778"/>
                  </a:xfrm>
                  <a:custGeom>
                    <a:avLst/>
                    <a:gdLst/>
                    <a:ahLst/>
                    <a:cxnLst>
                      <a:cxn ang="0">
                        <a:pos x="6" y="6"/>
                      </a:cxn>
                      <a:cxn ang="0">
                        <a:pos x="6" y="8"/>
                      </a:cxn>
                      <a:cxn ang="0">
                        <a:pos x="2" y="10"/>
                      </a:cxn>
                      <a:cxn ang="0">
                        <a:pos x="0" y="8"/>
                      </a:cxn>
                      <a:cxn ang="0">
                        <a:pos x="2" y="4"/>
                      </a:cxn>
                      <a:cxn ang="0">
                        <a:pos x="4" y="0"/>
                      </a:cxn>
                      <a:cxn ang="0">
                        <a:pos x="4" y="2"/>
                      </a:cxn>
                      <a:cxn ang="0">
                        <a:pos x="6" y="2"/>
                      </a:cxn>
                      <a:cxn ang="0">
                        <a:pos x="6" y="4"/>
                      </a:cxn>
                      <a:cxn ang="0">
                        <a:pos x="6" y="6"/>
                      </a:cxn>
                    </a:cxnLst>
                    <a:rect l="0" t="0" r="r" b="b"/>
                    <a:pathLst>
                      <a:path w="6" h="10">
                        <a:moveTo>
                          <a:pt x="6" y="6"/>
                        </a:moveTo>
                        <a:lnTo>
                          <a:pt x="6" y="8"/>
                        </a:lnTo>
                        <a:lnTo>
                          <a:pt x="2" y="10"/>
                        </a:lnTo>
                        <a:lnTo>
                          <a:pt x="0" y="8"/>
                        </a:lnTo>
                        <a:lnTo>
                          <a:pt x="2" y="4"/>
                        </a:lnTo>
                        <a:lnTo>
                          <a:pt x="4" y="0"/>
                        </a:lnTo>
                        <a:lnTo>
                          <a:pt x="4" y="2"/>
                        </a:lnTo>
                        <a:lnTo>
                          <a:pt x="6" y="2"/>
                        </a:lnTo>
                        <a:lnTo>
                          <a:pt x="6" y="4"/>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2" name="Freeform 3276"/>
                  <p:cNvSpPr>
                    <a:spLocks/>
                  </p:cNvSpPr>
                  <p:nvPr/>
                </p:nvSpPr>
                <p:spPr bwMode="auto">
                  <a:xfrm>
                    <a:off x="6447355" y="5421706"/>
                    <a:ext cx="8311" cy="16623"/>
                  </a:xfrm>
                  <a:custGeom>
                    <a:avLst/>
                    <a:gdLst/>
                    <a:ahLst/>
                    <a:cxnLst>
                      <a:cxn ang="0">
                        <a:pos x="4" y="0"/>
                      </a:cxn>
                      <a:cxn ang="0">
                        <a:pos x="4" y="2"/>
                      </a:cxn>
                      <a:cxn ang="0">
                        <a:pos x="4" y="4"/>
                      </a:cxn>
                      <a:cxn ang="0">
                        <a:pos x="4" y="6"/>
                      </a:cxn>
                      <a:cxn ang="0">
                        <a:pos x="4" y="8"/>
                      </a:cxn>
                      <a:cxn ang="0">
                        <a:pos x="2" y="8"/>
                      </a:cxn>
                      <a:cxn ang="0">
                        <a:pos x="0" y="8"/>
                      </a:cxn>
                      <a:cxn ang="0">
                        <a:pos x="0" y="2"/>
                      </a:cxn>
                      <a:cxn ang="0">
                        <a:pos x="0" y="0"/>
                      </a:cxn>
                      <a:cxn ang="0">
                        <a:pos x="4" y="0"/>
                      </a:cxn>
                    </a:cxnLst>
                    <a:rect l="0" t="0" r="r" b="b"/>
                    <a:pathLst>
                      <a:path w="4" h="8">
                        <a:moveTo>
                          <a:pt x="4" y="0"/>
                        </a:moveTo>
                        <a:lnTo>
                          <a:pt x="4" y="2"/>
                        </a:lnTo>
                        <a:lnTo>
                          <a:pt x="4" y="4"/>
                        </a:lnTo>
                        <a:lnTo>
                          <a:pt x="4" y="6"/>
                        </a:lnTo>
                        <a:lnTo>
                          <a:pt x="4" y="8"/>
                        </a:lnTo>
                        <a:lnTo>
                          <a:pt x="2" y="8"/>
                        </a:lnTo>
                        <a:lnTo>
                          <a:pt x="0" y="8"/>
                        </a:lnTo>
                        <a:lnTo>
                          <a:pt x="0" y="2"/>
                        </a:lnTo>
                        <a:lnTo>
                          <a:pt x="0"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3" name="Freeform 3277"/>
                  <p:cNvSpPr>
                    <a:spLocks/>
                  </p:cNvSpPr>
                  <p:nvPr/>
                </p:nvSpPr>
                <p:spPr bwMode="auto">
                  <a:xfrm>
                    <a:off x="6455666" y="5425862"/>
                    <a:ext cx="37401" cy="33245"/>
                  </a:xfrm>
                  <a:custGeom>
                    <a:avLst/>
                    <a:gdLst/>
                    <a:ahLst/>
                    <a:cxnLst>
                      <a:cxn ang="0">
                        <a:pos x="8" y="0"/>
                      </a:cxn>
                      <a:cxn ang="0">
                        <a:pos x="12" y="4"/>
                      </a:cxn>
                      <a:cxn ang="0">
                        <a:pos x="12" y="6"/>
                      </a:cxn>
                      <a:cxn ang="0">
                        <a:pos x="10" y="6"/>
                      </a:cxn>
                      <a:cxn ang="0">
                        <a:pos x="10" y="8"/>
                      </a:cxn>
                      <a:cxn ang="0">
                        <a:pos x="12" y="10"/>
                      </a:cxn>
                      <a:cxn ang="0">
                        <a:pos x="12" y="12"/>
                      </a:cxn>
                      <a:cxn ang="0">
                        <a:pos x="12" y="10"/>
                      </a:cxn>
                      <a:cxn ang="0">
                        <a:pos x="14" y="10"/>
                      </a:cxn>
                      <a:cxn ang="0">
                        <a:pos x="16" y="12"/>
                      </a:cxn>
                      <a:cxn ang="0">
                        <a:pos x="18" y="12"/>
                      </a:cxn>
                      <a:cxn ang="0">
                        <a:pos x="18" y="14"/>
                      </a:cxn>
                      <a:cxn ang="0">
                        <a:pos x="16" y="14"/>
                      </a:cxn>
                      <a:cxn ang="0">
                        <a:pos x="16" y="16"/>
                      </a:cxn>
                      <a:cxn ang="0">
                        <a:pos x="14" y="16"/>
                      </a:cxn>
                      <a:cxn ang="0">
                        <a:pos x="12" y="14"/>
                      </a:cxn>
                      <a:cxn ang="0">
                        <a:pos x="10" y="12"/>
                      </a:cxn>
                      <a:cxn ang="0">
                        <a:pos x="6" y="14"/>
                      </a:cxn>
                      <a:cxn ang="0">
                        <a:pos x="4" y="8"/>
                      </a:cxn>
                      <a:cxn ang="0">
                        <a:pos x="0" y="4"/>
                      </a:cxn>
                      <a:cxn ang="0">
                        <a:pos x="2" y="2"/>
                      </a:cxn>
                      <a:cxn ang="0">
                        <a:pos x="2" y="0"/>
                      </a:cxn>
                      <a:cxn ang="0">
                        <a:pos x="4" y="0"/>
                      </a:cxn>
                      <a:cxn ang="0">
                        <a:pos x="4" y="2"/>
                      </a:cxn>
                      <a:cxn ang="0">
                        <a:pos x="6" y="2"/>
                      </a:cxn>
                      <a:cxn ang="0">
                        <a:pos x="8" y="0"/>
                      </a:cxn>
                    </a:cxnLst>
                    <a:rect l="0" t="0" r="r" b="b"/>
                    <a:pathLst>
                      <a:path w="18" h="16">
                        <a:moveTo>
                          <a:pt x="8" y="0"/>
                        </a:moveTo>
                        <a:lnTo>
                          <a:pt x="12" y="4"/>
                        </a:lnTo>
                        <a:lnTo>
                          <a:pt x="12" y="6"/>
                        </a:lnTo>
                        <a:lnTo>
                          <a:pt x="10" y="6"/>
                        </a:lnTo>
                        <a:lnTo>
                          <a:pt x="10" y="8"/>
                        </a:lnTo>
                        <a:lnTo>
                          <a:pt x="12" y="10"/>
                        </a:lnTo>
                        <a:lnTo>
                          <a:pt x="12" y="12"/>
                        </a:lnTo>
                        <a:lnTo>
                          <a:pt x="12" y="10"/>
                        </a:lnTo>
                        <a:lnTo>
                          <a:pt x="14" y="10"/>
                        </a:lnTo>
                        <a:lnTo>
                          <a:pt x="16" y="12"/>
                        </a:lnTo>
                        <a:lnTo>
                          <a:pt x="18" y="12"/>
                        </a:lnTo>
                        <a:lnTo>
                          <a:pt x="18" y="14"/>
                        </a:lnTo>
                        <a:lnTo>
                          <a:pt x="16" y="14"/>
                        </a:lnTo>
                        <a:lnTo>
                          <a:pt x="16" y="16"/>
                        </a:lnTo>
                        <a:lnTo>
                          <a:pt x="14" y="16"/>
                        </a:lnTo>
                        <a:lnTo>
                          <a:pt x="12" y="14"/>
                        </a:lnTo>
                        <a:lnTo>
                          <a:pt x="10" y="12"/>
                        </a:lnTo>
                        <a:lnTo>
                          <a:pt x="6" y="14"/>
                        </a:lnTo>
                        <a:lnTo>
                          <a:pt x="4" y="8"/>
                        </a:lnTo>
                        <a:lnTo>
                          <a:pt x="0" y="4"/>
                        </a:lnTo>
                        <a:lnTo>
                          <a:pt x="2" y="2"/>
                        </a:lnTo>
                        <a:lnTo>
                          <a:pt x="2" y="0"/>
                        </a:lnTo>
                        <a:lnTo>
                          <a:pt x="4" y="0"/>
                        </a:lnTo>
                        <a:lnTo>
                          <a:pt x="4" y="2"/>
                        </a:lnTo>
                        <a:lnTo>
                          <a:pt x="6" y="2"/>
                        </a:lnTo>
                        <a:lnTo>
                          <a:pt x="8"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4" name="Freeform 3278"/>
                  <p:cNvSpPr>
                    <a:spLocks/>
                  </p:cNvSpPr>
                  <p:nvPr/>
                </p:nvSpPr>
                <p:spPr bwMode="auto">
                  <a:xfrm>
                    <a:off x="6148146" y="5425862"/>
                    <a:ext cx="12467" cy="4156"/>
                  </a:xfrm>
                  <a:custGeom>
                    <a:avLst/>
                    <a:gdLst/>
                    <a:ahLst/>
                    <a:cxnLst>
                      <a:cxn ang="0">
                        <a:pos x="6" y="2"/>
                      </a:cxn>
                      <a:cxn ang="0">
                        <a:pos x="2" y="2"/>
                      </a:cxn>
                      <a:cxn ang="0">
                        <a:pos x="0" y="2"/>
                      </a:cxn>
                      <a:cxn ang="0">
                        <a:pos x="2" y="2"/>
                      </a:cxn>
                      <a:cxn ang="0">
                        <a:pos x="2" y="0"/>
                      </a:cxn>
                      <a:cxn ang="0">
                        <a:pos x="6" y="2"/>
                      </a:cxn>
                    </a:cxnLst>
                    <a:rect l="0" t="0" r="r" b="b"/>
                    <a:pathLst>
                      <a:path w="6" h="2">
                        <a:moveTo>
                          <a:pt x="6" y="2"/>
                        </a:moveTo>
                        <a:lnTo>
                          <a:pt x="2" y="2"/>
                        </a:lnTo>
                        <a:lnTo>
                          <a:pt x="0" y="2"/>
                        </a:lnTo>
                        <a:lnTo>
                          <a:pt x="2" y="2"/>
                        </a:lnTo>
                        <a:lnTo>
                          <a:pt x="2" y="0"/>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5" name="Freeform 3279"/>
                  <p:cNvSpPr>
                    <a:spLocks/>
                  </p:cNvSpPr>
                  <p:nvPr/>
                </p:nvSpPr>
                <p:spPr bwMode="auto">
                  <a:xfrm>
                    <a:off x="5150783" y="5430017"/>
                    <a:ext cx="16623" cy="12467"/>
                  </a:xfrm>
                  <a:custGeom>
                    <a:avLst/>
                    <a:gdLst/>
                    <a:ahLst/>
                    <a:cxnLst>
                      <a:cxn ang="0">
                        <a:pos x="6" y="0"/>
                      </a:cxn>
                      <a:cxn ang="0">
                        <a:pos x="8" y="2"/>
                      </a:cxn>
                      <a:cxn ang="0">
                        <a:pos x="6" y="6"/>
                      </a:cxn>
                      <a:cxn ang="0">
                        <a:pos x="2" y="6"/>
                      </a:cxn>
                      <a:cxn ang="0">
                        <a:pos x="0" y="2"/>
                      </a:cxn>
                      <a:cxn ang="0">
                        <a:pos x="0" y="0"/>
                      </a:cxn>
                      <a:cxn ang="0">
                        <a:pos x="6" y="0"/>
                      </a:cxn>
                    </a:cxnLst>
                    <a:rect l="0" t="0" r="r" b="b"/>
                    <a:pathLst>
                      <a:path w="8" h="6">
                        <a:moveTo>
                          <a:pt x="6" y="0"/>
                        </a:moveTo>
                        <a:lnTo>
                          <a:pt x="8" y="2"/>
                        </a:lnTo>
                        <a:lnTo>
                          <a:pt x="6" y="6"/>
                        </a:lnTo>
                        <a:lnTo>
                          <a:pt x="2" y="6"/>
                        </a:lnTo>
                        <a:lnTo>
                          <a:pt x="0" y="2"/>
                        </a:lnTo>
                        <a:lnTo>
                          <a:pt x="0"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6" name="Freeform 3280"/>
                  <p:cNvSpPr>
                    <a:spLocks/>
                  </p:cNvSpPr>
                  <p:nvPr/>
                </p:nvSpPr>
                <p:spPr bwMode="auto">
                  <a:xfrm>
                    <a:off x="6667606" y="5430017"/>
                    <a:ext cx="569328" cy="498682"/>
                  </a:xfrm>
                  <a:custGeom>
                    <a:avLst/>
                    <a:gdLst/>
                    <a:ahLst/>
                    <a:cxnLst>
                      <a:cxn ang="0">
                        <a:pos x="152" y="50"/>
                      </a:cxn>
                      <a:cxn ang="0">
                        <a:pos x="170" y="44"/>
                      </a:cxn>
                      <a:cxn ang="0">
                        <a:pos x="180" y="34"/>
                      </a:cxn>
                      <a:cxn ang="0">
                        <a:pos x="190" y="30"/>
                      </a:cxn>
                      <a:cxn ang="0">
                        <a:pos x="216" y="42"/>
                      </a:cxn>
                      <a:cxn ang="0">
                        <a:pos x="232" y="50"/>
                      </a:cxn>
                      <a:cxn ang="0">
                        <a:pos x="266" y="58"/>
                      </a:cxn>
                      <a:cxn ang="0">
                        <a:pos x="274" y="60"/>
                      </a:cxn>
                      <a:cxn ang="0">
                        <a:pos x="270" y="176"/>
                      </a:cxn>
                      <a:cxn ang="0">
                        <a:pos x="248" y="216"/>
                      </a:cxn>
                      <a:cxn ang="0">
                        <a:pos x="248" y="210"/>
                      </a:cxn>
                      <a:cxn ang="0">
                        <a:pos x="232" y="214"/>
                      </a:cxn>
                      <a:cxn ang="0">
                        <a:pos x="216" y="214"/>
                      </a:cxn>
                      <a:cxn ang="0">
                        <a:pos x="220" y="202"/>
                      </a:cxn>
                      <a:cxn ang="0">
                        <a:pos x="216" y="192"/>
                      </a:cxn>
                      <a:cxn ang="0">
                        <a:pos x="220" y="188"/>
                      </a:cxn>
                      <a:cxn ang="0">
                        <a:pos x="214" y="184"/>
                      </a:cxn>
                      <a:cxn ang="0">
                        <a:pos x="216" y="176"/>
                      </a:cxn>
                      <a:cxn ang="0">
                        <a:pos x="224" y="182"/>
                      </a:cxn>
                      <a:cxn ang="0">
                        <a:pos x="210" y="174"/>
                      </a:cxn>
                      <a:cxn ang="0">
                        <a:pos x="200" y="150"/>
                      </a:cxn>
                      <a:cxn ang="0">
                        <a:pos x="194" y="146"/>
                      </a:cxn>
                      <a:cxn ang="0">
                        <a:pos x="176" y="130"/>
                      </a:cxn>
                      <a:cxn ang="0">
                        <a:pos x="138" y="114"/>
                      </a:cxn>
                      <a:cxn ang="0">
                        <a:pos x="112" y="110"/>
                      </a:cxn>
                      <a:cxn ang="0">
                        <a:pos x="110" y="98"/>
                      </a:cxn>
                      <a:cxn ang="0">
                        <a:pos x="92" y="98"/>
                      </a:cxn>
                      <a:cxn ang="0">
                        <a:pos x="86" y="92"/>
                      </a:cxn>
                      <a:cxn ang="0">
                        <a:pos x="74" y="86"/>
                      </a:cxn>
                      <a:cxn ang="0">
                        <a:pos x="76" y="76"/>
                      </a:cxn>
                      <a:cxn ang="0">
                        <a:pos x="72" y="82"/>
                      </a:cxn>
                      <a:cxn ang="0">
                        <a:pos x="68" y="94"/>
                      </a:cxn>
                      <a:cxn ang="0">
                        <a:pos x="48" y="92"/>
                      </a:cxn>
                      <a:cxn ang="0">
                        <a:pos x="50" y="78"/>
                      </a:cxn>
                      <a:cxn ang="0">
                        <a:pos x="36" y="70"/>
                      </a:cxn>
                      <a:cxn ang="0">
                        <a:pos x="44" y="66"/>
                      </a:cxn>
                      <a:cxn ang="0">
                        <a:pos x="56" y="58"/>
                      </a:cxn>
                      <a:cxn ang="0">
                        <a:pos x="70" y="60"/>
                      </a:cxn>
                      <a:cxn ang="0">
                        <a:pos x="78" y="62"/>
                      </a:cxn>
                      <a:cxn ang="0">
                        <a:pos x="80" y="50"/>
                      </a:cxn>
                      <a:cxn ang="0">
                        <a:pos x="80" y="48"/>
                      </a:cxn>
                      <a:cxn ang="0">
                        <a:pos x="44" y="50"/>
                      </a:cxn>
                      <a:cxn ang="0">
                        <a:pos x="28" y="48"/>
                      </a:cxn>
                      <a:cxn ang="0">
                        <a:pos x="10" y="28"/>
                      </a:cxn>
                      <a:cxn ang="0">
                        <a:pos x="0" y="28"/>
                      </a:cxn>
                      <a:cxn ang="0">
                        <a:pos x="8" y="12"/>
                      </a:cxn>
                      <a:cxn ang="0">
                        <a:pos x="48" y="0"/>
                      </a:cxn>
                      <a:cxn ang="0">
                        <a:pos x="86" y="14"/>
                      </a:cxn>
                      <a:cxn ang="0">
                        <a:pos x="90" y="28"/>
                      </a:cxn>
                      <a:cxn ang="0">
                        <a:pos x="86" y="54"/>
                      </a:cxn>
                      <a:cxn ang="0">
                        <a:pos x="98" y="66"/>
                      </a:cxn>
                      <a:cxn ang="0">
                        <a:pos x="104" y="72"/>
                      </a:cxn>
                      <a:cxn ang="0">
                        <a:pos x="108" y="78"/>
                      </a:cxn>
                      <a:cxn ang="0">
                        <a:pos x="128" y="76"/>
                      </a:cxn>
                      <a:cxn ang="0">
                        <a:pos x="136" y="70"/>
                      </a:cxn>
                    </a:cxnLst>
                    <a:rect l="0" t="0" r="r" b="b"/>
                    <a:pathLst>
                      <a:path w="274" h="240">
                        <a:moveTo>
                          <a:pt x="138" y="64"/>
                        </a:moveTo>
                        <a:lnTo>
                          <a:pt x="142" y="62"/>
                        </a:lnTo>
                        <a:lnTo>
                          <a:pt x="144" y="60"/>
                        </a:lnTo>
                        <a:lnTo>
                          <a:pt x="146" y="54"/>
                        </a:lnTo>
                        <a:lnTo>
                          <a:pt x="146" y="52"/>
                        </a:lnTo>
                        <a:lnTo>
                          <a:pt x="148" y="50"/>
                        </a:lnTo>
                        <a:lnTo>
                          <a:pt x="152" y="50"/>
                        </a:lnTo>
                        <a:lnTo>
                          <a:pt x="154" y="52"/>
                        </a:lnTo>
                        <a:lnTo>
                          <a:pt x="158" y="52"/>
                        </a:lnTo>
                        <a:lnTo>
                          <a:pt x="158" y="50"/>
                        </a:lnTo>
                        <a:lnTo>
                          <a:pt x="166" y="48"/>
                        </a:lnTo>
                        <a:lnTo>
                          <a:pt x="168" y="48"/>
                        </a:lnTo>
                        <a:lnTo>
                          <a:pt x="172" y="46"/>
                        </a:lnTo>
                        <a:lnTo>
                          <a:pt x="170" y="44"/>
                        </a:lnTo>
                        <a:lnTo>
                          <a:pt x="170" y="42"/>
                        </a:lnTo>
                        <a:lnTo>
                          <a:pt x="168" y="42"/>
                        </a:lnTo>
                        <a:lnTo>
                          <a:pt x="168" y="38"/>
                        </a:lnTo>
                        <a:lnTo>
                          <a:pt x="170" y="38"/>
                        </a:lnTo>
                        <a:lnTo>
                          <a:pt x="172" y="38"/>
                        </a:lnTo>
                        <a:lnTo>
                          <a:pt x="178" y="34"/>
                        </a:lnTo>
                        <a:lnTo>
                          <a:pt x="180" y="34"/>
                        </a:lnTo>
                        <a:lnTo>
                          <a:pt x="180" y="32"/>
                        </a:lnTo>
                        <a:lnTo>
                          <a:pt x="182" y="32"/>
                        </a:lnTo>
                        <a:lnTo>
                          <a:pt x="184" y="32"/>
                        </a:lnTo>
                        <a:lnTo>
                          <a:pt x="184" y="30"/>
                        </a:lnTo>
                        <a:lnTo>
                          <a:pt x="186" y="30"/>
                        </a:lnTo>
                        <a:lnTo>
                          <a:pt x="188" y="30"/>
                        </a:lnTo>
                        <a:lnTo>
                          <a:pt x="190" y="30"/>
                        </a:lnTo>
                        <a:lnTo>
                          <a:pt x="192" y="30"/>
                        </a:lnTo>
                        <a:lnTo>
                          <a:pt x="194" y="34"/>
                        </a:lnTo>
                        <a:lnTo>
                          <a:pt x="206" y="38"/>
                        </a:lnTo>
                        <a:lnTo>
                          <a:pt x="208" y="38"/>
                        </a:lnTo>
                        <a:lnTo>
                          <a:pt x="210" y="38"/>
                        </a:lnTo>
                        <a:lnTo>
                          <a:pt x="214" y="42"/>
                        </a:lnTo>
                        <a:lnTo>
                          <a:pt x="216" y="42"/>
                        </a:lnTo>
                        <a:lnTo>
                          <a:pt x="216" y="44"/>
                        </a:lnTo>
                        <a:lnTo>
                          <a:pt x="216" y="42"/>
                        </a:lnTo>
                        <a:lnTo>
                          <a:pt x="218" y="44"/>
                        </a:lnTo>
                        <a:lnTo>
                          <a:pt x="220" y="44"/>
                        </a:lnTo>
                        <a:lnTo>
                          <a:pt x="230" y="48"/>
                        </a:lnTo>
                        <a:lnTo>
                          <a:pt x="232" y="48"/>
                        </a:lnTo>
                        <a:lnTo>
                          <a:pt x="232" y="50"/>
                        </a:lnTo>
                        <a:lnTo>
                          <a:pt x="240" y="54"/>
                        </a:lnTo>
                        <a:lnTo>
                          <a:pt x="242" y="54"/>
                        </a:lnTo>
                        <a:lnTo>
                          <a:pt x="244" y="54"/>
                        </a:lnTo>
                        <a:lnTo>
                          <a:pt x="250" y="54"/>
                        </a:lnTo>
                        <a:lnTo>
                          <a:pt x="252" y="54"/>
                        </a:lnTo>
                        <a:lnTo>
                          <a:pt x="252" y="56"/>
                        </a:lnTo>
                        <a:lnTo>
                          <a:pt x="266" y="58"/>
                        </a:lnTo>
                        <a:lnTo>
                          <a:pt x="268" y="58"/>
                        </a:lnTo>
                        <a:lnTo>
                          <a:pt x="268" y="60"/>
                        </a:lnTo>
                        <a:lnTo>
                          <a:pt x="266" y="60"/>
                        </a:lnTo>
                        <a:lnTo>
                          <a:pt x="266" y="62"/>
                        </a:lnTo>
                        <a:lnTo>
                          <a:pt x="268" y="62"/>
                        </a:lnTo>
                        <a:lnTo>
                          <a:pt x="270" y="60"/>
                        </a:lnTo>
                        <a:lnTo>
                          <a:pt x="274" y="60"/>
                        </a:lnTo>
                        <a:lnTo>
                          <a:pt x="274" y="164"/>
                        </a:lnTo>
                        <a:lnTo>
                          <a:pt x="272" y="166"/>
                        </a:lnTo>
                        <a:lnTo>
                          <a:pt x="274" y="166"/>
                        </a:lnTo>
                        <a:lnTo>
                          <a:pt x="274" y="168"/>
                        </a:lnTo>
                        <a:lnTo>
                          <a:pt x="272" y="170"/>
                        </a:lnTo>
                        <a:lnTo>
                          <a:pt x="270" y="172"/>
                        </a:lnTo>
                        <a:lnTo>
                          <a:pt x="270" y="176"/>
                        </a:lnTo>
                        <a:lnTo>
                          <a:pt x="272" y="178"/>
                        </a:lnTo>
                        <a:lnTo>
                          <a:pt x="274" y="178"/>
                        </a:lnTo>
                        <a:lnTo>
                          <a:pt x="274" y="240"/>
                        </a:lnTo>
                        <a:lnTo>
                          <a:pt x="272" y="240"/>
                        </a:lnTo>
                        <a:lnTo>
                          <a:pt x="270" y="238"/>
                        </a:lnTo>
                        <a:lnTo>
                          <a:pt x="268" y="236"/>
                        </a:lnTo>
                        <a:lnTo>
                          <a:pt x="248" y="216"/>
                        </a:lnTo>
                        <a:lnTo>
                          <a:pt x="246" y="214"/>
                        </a:lnTo>
                        <a:lnTo>
                          <a:pt x="246" y="212"/>
                        </a:lnTo>
                        <a:lnTo>
                          <a:pt x="248" y="212"/>
                        </a:lnTo>
                        <a:lnTo>
                          <a:pt x="250" y="208"/>
                        </a:lnTo>
                        <a:lnTo>
                          <a:pt x="250" y="206"/>
                        </a:lnTo>
                        <a:lnTo>
                          <a:pt x="248" y="206"/>
                        </a:lnTo>
                        <a:lnTo>
                          <a:pt x="248" y="210"/>
                        </a:lnTo>
                        <a:lnTo>
                          <a:pt x="248" y="212"/>
                        </a:lnTo>
                        <a:lnTo>
                          <a:pt x="246" y="212"/>
                        </a:lnTo>
                        <a:lnTo>
                          <a:pt x="238" y="212"/>
                        </a:lnTo>
                        <a:lnTo>
                          <a:pt x="236" y="212"/>
                        </a:lnTo>
                        <a:lnTo>
                          <a:pt x="236" y="214"/>
                        </a:lnTo>
                        <a:lnTo>
                          <a:pt x="234" y="214"/>
                        </a:lnTo>
                        <a:lnTo>
                          <a:pt x="232" y="214"/>
                        </a:lnTo>
                        <a:lnTo>
                          <a:pt x="228" y="214"/>
                        </a:lnTo>
                        <a:lnTo>
                          <a:pt x="226" y="212"/>
                        </a:lnTo>
                        <a:lnTo>
                          <a:pt x="222" y="212"/>
                        </a:lnTo>
                        <a:lnTo>
                          <a:pt x="218" y="216"/>
                        </a:lnTo>
                        <a:lnTo>
                          <a:pt x="218" y="218"/>
                        </a:lnTo>
                        <a:lnTo>
                          <a:pt x="216" y="218"/>
                        </a:lnTo>
                        <a:lnTo>
                          <a:pt x="216" y="214"/>
                        </a:lnTo>
                        <a:lnTo>
                          <a:pt x="214" y="214"/>
                        </a:lnTo>
                        <a:lnTo>
                          <a:pt x="214" y="212"/>
                        </a:lnTo>
                        <a:lnTo>
                          <a:pt x="216" y="210"/>
                        </a:lnTo>
                        <a:lnTo>
                          <a:pt x="216" y="206"/>
                        </a:lnTo>
                        <a:lnTo>
                          <a:pt x="218" y="206"/>
                        </a:lnTo>
                        <a:lnTo>
                          <a:pt x="220" y="206"/>
                        </a:lnTo>
                        <a:lnTo>
                          <a:pt x="220" y="202"/>
                        </a:lnTo>
                        <a:lnTo>
                          <a:pt x="220" y="200"/>
                        </a:lnTo>
                        <a:lnTo>
                          <a:pt x="220" y="198"/>
                        </a:lnTo>
                        <a:lnTo>
                          <a:pt x="222" y="198"/>
                        </a:lnTo>
                        <a:lnTo>
                          <a:pt x="222" y="196"/>
                        </a:lnTo>
                        <a:lnTo>
                          <a:pt x="220" y="196"/>
                        </a:lnTo>
                        <a:lnTo>
                          <a:pt x="216" y="194"/>
                        </a:lnTo>
                        <a:lnTo>
                          <a:pt x="216" y="192"/>
                        </a:lnTo>
                        <a:lnTo>
                          <a:pt x="216" y="190"/>
                        </a:lnTo>
                        <a:lnTo>
                          <a:pt x="214" y="190"/>
                        </a:lnTo>
                        <a:lnTo>
                          <a:pt x="214" y="188"/>
                        </a:lnTo>
                        <a:lnTo>
                          <a:pt x="212" y="188"/>
                        </a:lnTo>
                        <a:lnTo>
                          <a:pt x="210" y="188"/>
                        </a:lnTo>
                        <a:lnTo>
                          <a:pt x="218" y="188"/>
                        </a:lnTo>
                        <a:lnTo>
                          <a:pt x="220" y="188"/>
                        </a:lnTo>
                        <a:lnTo>
                          <a:pt x="222" y="188"/>
                        </a:lnTo>
                        <a:lnTo>
                          <a:pt x="224" y="188"/>
                        </a:lnTo>
                        <a:lnTo>
                          <a:pt x="226" y="186"/>
                        </a:lnTo>
                        <a:lnTo>
                          <a:pt x="224" y="186"/>
                        </a:lnTo>
                        <a:lnTo>
                          <a:pt x="224" y="188"/>
                        </a:lnTo>
                        <a:lnTo>
                          <a:pt x="220" y="188"/>
                        </a:lnTo>
                        <a:lnTo>
                          <a:pt x="214" y="184"/>
                        </a:lnTo>
                        <a:lnTo>
                          <a:pt x="212" y="184"/>
                        </a:lnTo>
                        <a:lnTo>
                          <a:pt x="208" y="180"/>
                        </a:lnTo>
                        <a:lnTo>
                          <a:pt x="208" y="178"/>
                        </a:lnTo>
                        <a:lnTo>
                          <a:pt x="210" y="178"/>
                        </a:lnTo>
                        <a:lnTo>
                          <a:pt x="212" y="178"/>
                        </a:lnTo>
                        <a:lnTo>
                          <a:pt x="214" y="178"/>
                        </a:lnTo>
                        <a:lnTo>
                          <a:pt x="216" y="176"/>
                        </a:lnTo>
                        <a:lnTo>
                          <a:pt x="218" y="176"/>
                        </a:lnTo>
                        <a:lnTo>
                          <a:pt x="218" y="178"/>
                        </a:lnTo>
                        <a:lnTo>
                          <a:pt x="220" y="178"/>
                        </a:lnTo>
                        <a:lnTo>
                          <a:pt x="220" y="180"/>
                        </a:lnTo>
                        <a:lnTo>
                          <a:pt x="222" y="180"/>
                        </a:lnTo>
                        <a:lnTo>
                          <a:pt x="222" y="182"/>
                        </a:lnTo>
                        <a:lnTo>
                          <a:pt x="224" y="182"/>
                        </a:lnTo>
                        <a:lnTo>
                          <a:pt x="224" y="180"/>
                        </a:lnTo>
                        <a:lnTo>
                          <a:pt x="222" y="180"/>
                        </a:lnTo>
                        <a:lnTo>
                          <a:pt x="220" y="178"/>
                        </a:lnTo>
                        <a:lnTo>
                          <a:pt x="218" y="176"/>
                        </a:lnTo>
                        <a:lnTo>
                          <a:pt x="216" y="176"/>
                        </a:lnTo>
                        <a:lnTo>
                          <a:pt x="214" y="176"/>
                        </a:lnTo>
                        <a:lnTo>
                          <a:pt x="210" y="174"/>
                        </a:lnTo>
                        <a:lnTo>
                          <a:pt x="210" y="172"/>
                        </a:lnTo>
                        <a:lnTo>
                          <a:pt x="212" y="172"/>
                        </a:lnTo>
                        <a:lnTo>
                          <a:pt x="204" y="164"/>
                        </a:lnTo>
                        <a:lnTo>
                          <a:pt x="204" y="162"/>
                        </a:lnTo>
                        <a:lnTo>
                          <a:pt x="204" y="160"/>
                        </a:lnTo>
                        <a:lnTo>
                          <a:pt x="200" y="154"/>
                        </a:lnTo>
                        <a:lnTo>
                          <a:pt x="200" y="150"/>
                        </a:lnTo>
                        <a:lnTo>
                          <a:pt x="198" y="150"/>
                        </a:lnTo>
                        <a:lnTo>
                          <a:pt x="198" y="148"/>
                        </a:lnTo>
                        <a:lnTo>
                          <a:pt x="202" y="146"/>
                        </a:lnTo>
                        <a:lnTo>
                          <a:pt x="198" y="146"/>
                        </a:lnTo>
                        <a:lnTo>
                          <a:pt x="196" y="146"/>
                        </a:lnTo>
                        <a:lnTo>
                          <a:pt x="194" y="148"/>
                        </a:lnTo>
                        <a:lnTo>
                          <a:pt x="194" y="146"/>
                        </a:lnTo>
                        <a:lnTo>
                          <a:pt x="194" y="142"/>
                        </a:lnTo>
                        <a:lnTo>
                          <a:pt x="194" y="138"/>
                        </a:lnTo>
                        <a:lnTo>
                          <a:pt x="192" y="140"/>
                        </a:lnTo>
                        <a:lnTo>
                          <a:pt x="182" y="132"/>
                        </a:lnTo>
                        <a:lnTo>
                          <a:pt x="180" y="132"/>
                        </a:lnTo>
                        <a:lnTo>
                          <a:pt x="180" y="130"/>
                        </a:lnTo>
                        <a:lnTo>
                          <a:pt x="176" y="130"/>
                        </a:lnTo>
                        <a:lnTo>
                          <a:pt x="174" y="128"/>
                        </a:lnTo>
                        <a:lnTo>
                          <a:pt x="172" y="126"/>
                        </a:lnTo>
                        <a:lnTo>
                          <a:pt x="160" y="124"/>
                        </a:lnTo>
                        <a:lnTo>
                          <a:pt x="148" y="118"/>
                        </a:lnTo>
                        <a:lnTo>
                          <a:pt x="144" y="118"/>
                        </a:lnTo>
                        <a:lnTo>
                          <a:pt x="138" y="116"/>
                        </a:lnTo>
                        <a:lnTo>
                          <a:pt x="138" y="114"/>
                        </a:lnTo>
                        <a:lnTo>
                          <a:pt x="136" y="112"/>
                        </a:lnTo>
                        <a:lnTo>
                          <a:pt x="128" y="112"/>
                        </a:lnTo>
                        <a:lnTo>
                          <a:pt x="124" y="112"/>
                        </a:lnTo>
                        <a:lnTo>
                          <a:pt x="122" y="112"/>
                        </a:lnTo>
                        <a:lnTo>
                          <a:pt x="118" y="112"/>
                        </a:lnTo>
                        <a:lnTo>
                          <a:pt x="116" y="112"/>
                        </a:lnTo>
                        <a:lnTo>
                          <a:pt x="112" y="110"/>
                        </a:lnTo>
                        <a:lnTo>
                          <a:pt x="110" y="108"/>
                        </a:lnTo>
                        <a:lnTo>
                          <a:pt x="104" y="106"/>
                        </a:lnTo>
                        <a:lnTo>
                          <a:pt x="100" y="102"/>
                        </a:lnTo>
                        <a:lnTo>
                          <a:pt x="102" y="98"/>
                        </a:lnTo>
                        <a:lnTo>
                          <a:pt x="106" y="98"/>
                        </a:lnTo>
                        <a:lnTo>
                          <a:pt x="108" y="98"/>
                        </a:lnTo>
                        <a:lnTo>
                          <a:pt x="110" y="98"/>
                        </a:lnTo>
                        <a:lnTo>
                          <a:pt x="102" y="96"/>
                        </a:lnTo>
                        <a:lnTo>
                          <a:pt x="100" y="98"/>
                        </a:lnTo>
                        <a:lnTo>
                          <a:pt x="100" y="100"/>
                        </a:lnTo>
                        <a:lnTo>
                          <a:pt x="98" y="100"/>
                        </a:lnTo>
                        <a:lnTo>
                          <a:pt x="94" y="96"/>
                        </a:lnTo>
                        <a:lnTo>
                          <a:pt x="92" y="96"/>
                        </a:lnTo>
                        <a:lnTo>
                          <a:pt x="92" y="98"/>
                        </a:lnTo>
                        <a:lnTo>
                          <a:pt x="92" y="100"/>
                        </a:lnTo>
                        <a:lnTo>
                          <a:pt x="88" y="98"/>
                        </a:lnTo>
                        <a:lnTo>
                          <a:pt x="86" y="96"/>
                        </a:lnTo>
                        <a:lnTo>
                          <a:pt x="86" y="94"/>
                        </a:lnTo>
                        <a:lnTo>
                          <a:pt x="88" y="94"/>
                        </a:lnTo>
                        <a:lnTo>
                          <a:pt x="86" y="94"/>
                        </a:lnTo>
                        <a:lnTo>
                          <a:pt x="86" y="92"/>
                        </a:lnTo>
                        <a:lnTo>
                          <a:pt x="84" y="94"/>
                        </a:lnTo>
                        <a:lnTo>
                          <a:pt x="80" y="92"/>
                        </a:lnTo>
                        <a:lnTo>
                          <a:pt x="78" y="88"/>
                        </a:lnTo>
                        <a:lnTo>
                          <a:pt x="78" y="90"/>
                        </a:lnTo>
                        <a:lnTo>
                          <a:pt x="76" y="90"/>
                        </a:lnTo>
                        <a:lnTo>
                          <a:pt x="74" y="88"/>
                        </a:lnTo>
                        <a:lnTo>
                          <a:pt x="74" y="86"/>
                        </a:lnTo>
                        <a:lnTo>
                          <a:pt x="72" y="84"/>
                        </a:lnTo>
                        <a:lnTo>
                          <a:pt x="74" y="84"/>
                        </a:lnTo>
                        <a:lnTo>
                          <a:pt x="74" y="82"/>
                        </a:lnTo>
                        <a:lnTo>
                          <a:pt x="74" y="80"/>
                        </a:lnTo>
                        <a:lnTo>
                          <a:pt x="74" y="78"/>
                        </a:lnTo>
                        <a:lnTo>
                          <a:pt x="74" y="76"/>
                        </a:lnTo>
                        <a:lnTo>
                          <a:pt x="76" y="76"/>
                        </a:lnTo>
                        <a:lnTo>
                          <a:pt x="78" y="74"/>
                        </a:lnTo>
                        <a:lnTo>
                          <a:pt x="80" y="74"/>
                        </a:lnTo>
                        <a:lnTo>
                          <a:pt x="80" y="72"/>
                        </a:lnTo>
                        <a:lnTo>
                          <a:pt x="78" y="70"/>
                        </a:lnTo>
                        <a:lnTo>
                          <a:pt x="74" y="76"/>
                        </a:lnTo>
                        <a:lnTo>
                          <a:pt x="74" y="82"/>
                        </a:lnTo>
                        <a:lnTo>
                          <a:pt x="72" y="82"/>
                        </a:lnTo>
                        <a:lnTo>
                          <a:pt x="70" y="84"/>
                        </a:lnTo>
                        <a:lnTo>
                          <a:pt x="72" y="86"/>
                        </a:lnTo>
                        <a:lnTo>
                          <a:pt x="72" y="88"/>
                        </a:lnTo>
                        <a:lnTo>
                          <a:pt x="70" y="88"/>
                        </a:lnTo>
                        <a:lnTo>
                          <a:pt x="66" y="92"/>
                        </a:lnTo>
                        <a:lnTo>
                          <a:pt x="66" y="94"/>
                        </a:lnTo>
                        <a:lnTo>
                          <a:pt x="68" y="94"/>
                        </a:lnTo>
                        <a:lnTo>
                          <a:pt x="68" y="96"/>
                        </a:lnTo>
                        <a:lnTo>
                          <a:pt x="62" y="100"/>
                        </a:lnTo>
                        <a:lnTo>
                          <a:pt x="56" y="100"/>
                        </a:lnTo>
                        <a:lnTo>
                          <a:pt x="56" y="102"/>
                        </a:lnTo>
                        <a:lnTo>
                          <a:pt x="52" y="102"/>
                        </a:lnTo>
                        <a:lnTo>
                          <a:pt x="50" y="98"/>
                        </a:lnTo>
                        <a:lnTo>
                          <a:pt x="48" y="92"/>
                        </a:lnTo>
                        <a:lnTo>
                          <a:pt x="50" y="88"/>
                        </a:lnTo>
                        <a:lnTo>
                          <a:pt x="52" y="88"/>
                        </a:lnTo>
                        <a:lnTo>
                          <a:pt x="54" y="88"/>
                        </a:lnTo>
                        <a:lnTo>
                          <a:pt x="52" y="84"/>
                        </a:lnTo>
                        <a:lnTo>
                          <a:pt x="50" y="84"/>
                        </a:lnTo>
                        <a:lnTo>
                          <a:pt x="50" y="80"/>
                        </a:lnTo>
                        <a:lnTo>
                          <a:pt x="50" y="78"/>
                        </a:lnTo>
                        <a:lnTo>
                          <a:pt x="48" y="80"/>
                        </a:lnTo>
                        <a:lnTo>
                          <a:pt x="48" y="82"/>
                        </a:lnTo>
                        <a:lnTo>
                          <a:pt x="46" y="82"/>
                        </a:lnTo>
                        <a:lnTo>
                          <a:pt x="44" y="78"/>
                        </a:lnTo>
                        <a:lnTo>
                          <a:pt x="44" y="76"/>
                        </a:lnTo>
                        <a:lnTo>
                          <a:pt x="44" y="74"/>
                        </a:lnTo>
                        <a:lnTo>
                          <a:pt x="36" y="70"/>
                        </a:lnTo>
                        <a:lnTo>
                          <a:pt x="34" y="70"/>
                        </a:lnTo>
                        <a:lnTo>
                          <a:pt x="30" y="70"/>
                        </a:lnTo>
                        <a:lnTo>
                          <a:pt x="28" y="66"/>
                        </a:lnTo>
                        <a:lnTo>
                          <a:pt x="32" y="64"/>
                        </a:lnTo>
                        <a:lnTo>
                          <a:pt x="42" y="64"/>
                        </a:lnTo>
                        <a:lnTo>
                          <a:pt x="44" y="64"/>
                        </a:lnTo>
                        <a:lnTo>
                          <a:pt x="44" y="66"/>
                        </a:lnTo>
                        <a:lnTo>
                          <a:pt x="46" y="66"/>
                        </a:lnTo>
                        <a:lnTo>
                          <a:pt x="48" y="66"/>
                        </a:lnTo>
                        <a:lnTo>
                          <a:pt x="50" y="66"/>
                        </a:lnTo>
                        <a:lnTo>
                          <a:pt x="50" y="64"/>
                        </a:lnTo>
                        <a:lnTo>
                          <a:pt x="52" y="62"/>
                        </a:lnTo>
                        <a:lnTo>
                          <a:pt x="54" y="60"/>
                        </a:lnTo>
                        <a:lnTo>
                          <a:pt x="56" y="58"/>
                        </a:lnTo>
                        <a:lnTo>
                          <a:pt x="58" y="58"/>
                        </a:lnTo>
                        <a:lnTo>
                          <a:pt x="58" y="56"/>
                        </a:lnTo>
                        <a:lnTo>
                          <a:pt x="60" y="56"/>
                        </a:lnTo>
                        <a:lnTo>
                          <a:pt x="62" y="56"/>
                        </a:lnTo>
                        <a:lnTo>
                          <a:pt x="64" y="56"/>
                        </a:lnTo>
                        <a:lnTo>
                          <a:pt x="66" y="60"/>
                        </a:lnTo>
                        <a:lnTo>
                          <a:pt x="70" y="60"/>
                        </a:lnTo>
                        <a:lnTo>
                          <a:pt x="72" y="60"/>
                        </a:lnTo>
                        <a:lnTo>
                          <a:pt x="74" y="60"/>
                        </a:lnTo>
                        <a:lnTo>
                          <a:pt x="74" y="64"/>
                        </a:lnTo>
                        <a:lnTo>
                          <a:pt x="74" y="58"/>
                        </a:lnTo>
                        <a:lnTo>
                          <a:pt x="76" y="58"/>
                        </a:lnTo>
                        <a:lnTo>
                          <a:pt x="76" y="60"/>
                        </a:lnTo>
                        <a:lnTo>
                          <a:pt x="78" y="62"/>
                        </a:lnTo>
                        <a:lnTo>
                          <a:pt x="78" y="58"/>
                        </a:lnTo>
                        <a:lnTo>
                          <a:pt x="76" y="58"/>
                        </a:lnTo>
                        <a:lnTo>
                          <a:pt x="78" y="56"/>
                        </a:lnTo>
                        <a:lnTo>
                          <a:pt x="80" y="56"/>
                        </a:lnTo>
                        <a:lnTo>
                          <a:pt x="82" y="54"/>
                        </a:lnTo>
                        <a:lnTo>
                          <a:pt x="82" y="50"/>
                        </a:lnTo>
                        <a:lnTo>
                          <a:pt x="80" y="50"/>
                        </a:lnTo>
                        <a:lnTo>
                          <a:pt x="80" y="52"/>
                        </a:lnTo>
                        <a:lnTo>
                          <a:pt x="78" y="52"/>
                        </a:lnTo>
                        <a:lnTo>
                          <a:pt x="76" y="52"/>
                        </a:lnTo>
                        <a:lnTo>
                          <a:pt x="78" y="52"/>
                        </a:lnTo>
                        <a:lnTo>
                          <a:pt x="78" y="50"/>
                        </a:lnTo>
                        <a:lnTo>
                          <a:pt x="80" y="50"/>
                        </a:lnTo>
                        <a:lnTo>
                          <a:pt x="80" y="48"/>
                        </a:lnTo>
                        <a:lnTo>
                          <a:pt x="70" y="52"/>
                        </a:lnTo>
                        <a:lnTo>
                          <a:pt x="64" y="50"/>
                        </a:lnTo>
                        <a:lnTo>
                          <a:pt x="52" y="52"/>
                        </a:lnTo>
                        <a:lnTo>
                          <a:pt x="50" y="52"/>
                        </a:lnTo>
                        <a:lnTo>
                          <a:pt x="46" y="54"/>
                        </a:lnTo>
                        <a:lnTo>
                          <a:pt x="44" y="52"/>
                        </a:lnTo>
                        <a:lnTo>
                          <a:pt x="44" y="50"/>
                        </a:lnTo>
                        <a:lnTo>
                          <a:pt x="42" y="50"/>
                        </a:lnTo>
                        <a:lnTo>
                          <a:pt x="40" y="50"/>
                        </a:lnTo>
                        <a:lnTo>
                          <a:pt x="40" y="52"/>
                        </a:lnTo>
                        <a:lnTo>
                          <a:pt x="38" y="52"/>
                        </a:lnTo>
                        <a:lnTo>
                          <a:pt x="36" y="52"/>
                        </a:lnTo>
                        <a:lnTo>
                          <a:pt x="32" y="48"/>
                        </a:lnTo>
                        <a:lnTo>
                          <a:pt x="28" y="48"/>
                        </a:lnTo>
                        <a:lnTo>
                          <a:pt x="26" y="42"/>
                        </a:lnTo>
                        <a:lnTo>
                          <a:pt x="26" y="40"/>
                        </a:lnTo>
                        <a:lnTo>
                          <a:pt x="28" y="38"/>
                        </a:lnTo>
                        <a:lnTo>
                          <a:pt x="28" y="36"/>
                        </a:lnTo>
                        <a:lnTo>
                          <a:pt x="20" y="32"/>
                        </a:lnTo>
                        <a:lnTo>
                          <a:pt x="8" y="28"/>
                        </a:lnTo>
                        <a:lnTo>
                          <a:pt x="10" y="28"/>
                        </a:lnTo>
                        <a:lnTo>
                          <a:pt x="10" y="30"/>
                        </a:lnTo>
                        <a:lnTo>
                          <a:pt x="8" y="30"/>
                        </a:lnTo>
                        <a:lnTo>
                          <a:pt x="6" y="32"/>
                        </a:lnTo>
                        <a:lnTo>
                          <a:pt x="6" y="30"/>
                        </a:lnTo>
                        <a:lnTo>
                          <a:pt x="4" y="30"/>
                        </a:lnTo>
                        <a:lnTo>
                          <a:pt x="2" y="30"/>
                        </a:lnTo>
                        <a:lnTo>
                          <a:pt x="0" y="28"/>
                        </a:lnTo>
                        <a:lnTo>
                          <a:pt x="0" y="26"/>
                        </a:lnTo>
                        <a:lnTo>
                          <a:pt x="2" y="24"/>
                        </a:lnTo>
                        <a:lnTo>
                          <a:pt x="6" y="24"/>
                        </a:lnTo>
                        <a:lnTo>
                          <a:pt x="6" y="22"/>
                        </a:lnTo>
                        <a:lnTo>
                          <a:pt x="8" y="20"/>
                        </a:lnTo>
                        <a:lnTo>
                          <a:pt x="8" y="14"/>
                        </a:lnTo>
                        <a:lnTo>
                          <a:pt x="8" y="12"/>
                        </a:lnTo>
                        <a:lnTo>
                          <a:pt x="16" y="10"/>
                        </a:lnTo>
                        <a:lnTo>
                          <a:pt x="22" y="10"/>
                        </a:lnTo>
                        <a:lnTo>
                          <a:pt x="24" y="8"/>
                        </a:lnTo>
                        <a:lnTo>
                          <a:pt x="26" y="8"/>
                        </a:lnTo>
                        <a:lnTo>
                          <a:pt x="26" y="6"/>
                        </a:lnTo>
                        <a:lnTo>
                          <a:pt x="34" y="0"/>
                        </a:lnTo>
                        <a:lnTo>
                          <a:pt x="48" y="0"/>
                        </a:lnTo>
                        <a:lnTo>
                          <a:pt x="58" y="4"/>
                        </a:lnTo>
                        <a:lnTo>
                          <a:pt x="60" y="4"/>
                        </a:lnTo>
                        <a:lnTo>
                          <a:pt x="66" y="10"/>
                        </a:lnTo>
                        <a:lnTo>
                          <a:pt x="76" y="10"/>
                        </a:lnTo>
                        <a:lnTo>
                          <a:pt x="82" y="10"/>
                        </a:lnTo>
                        <a:lnTo>
                          <a:pt x="86" y="12"/>
                        </a:lnTo>
                        <a:lnTo>
                          <a:pt x="86" y="14"/>
                        </a:lnTo>
                        <a:lnTo>
                          <a:pt x="84" y="14"/>
                        </a:lnTo>
                        <a:lnTo>
                          <a:pt x="84" y="16"/>
                        </a:lnTo>
                        <a:lnTo>
                          <a:pt x="86" y="22"/>
                        </a:lnTo>
                        <a:lnTo>
                          <a:pt x="88" y="22"/>
                        </a:lnTo>
                        <a:lnTo>
                          <a:pt x="88" y="24"/>
                        </a:lnTo>
                        <a:lnTo>
                          <a:pt x="90" y="26"/>
                        </a:lnTo>
                        <a:lnTo>
                          <a:pt x="90" y="28"/>
                        </a:lnTo>
                        <a:lnTo>
                          <a:pt x="88" y="30"/>
                        </a:lnTo>
                        <a:lnTo>
                          <a:pt x="88" y="32"/>
                        </a:lnTo>
                        <a:lnTo>
                          <a:pt x="86" y="34"/>
                        </a:lnTo>
                        <a:lnTo>
                          <a:pt x="86" y="36"/>
                        </a:lnTo>
                        <a:lnTo>
                          <a:pt x="86" y="42"/>
                        </a:lnTo>
                        <a:lnTo>
                          <a:pt x="86" y="46"/>
                        </a:lnTo>
                        <a:lnTo>
                          <a:pt x="86" y="54"/>
                        </a:lnTo>
                        <a:lnTo>
                          <a:pt x="88" y="54"/>
                        </a:lnTo>
                        <a:lnTo>
                          <a:pt x="88" y="56"/>
                        </a:lnTo>
                        <a:lnTo>
                          <a:pt x="90" y="56"/>
                        </a:lnTo>
                        <a:lnTo>
                          <a:pt x="92" y="58"/>
                        </a:lnTo>
                        <a:lnTo>
                          <a:pt x="96" y="68"/>
                        </a:lnTo>
                        <a:lnTo>
                          <a:pt x="98" y="68"/>
                        </a:lnTo>
                        <a:lnTo>
                          <a:pt x="98" y="66"/>
                        </a:lnTo>
                        <a:lnTo>
                          <a:pt x="96" y="62"/>
                        </a:lnTo>
                        <a:lnTo>
                          <a:pt x="96" y="60"/>
                        </a:lnTo>
                        <a:lnTo>
                          <a:pt x="98" y="58"/>
                        </a:lnTo>
                        <a:lnTo>
                          <a:pt x="100" y="58"/>
                        </a:lnTo>
                        <a:lnTo>
                          <a:pt x="102" y="70"/>
                        </a:lnTo>
                        <a:lnTo>
                          <a:pt x="102" y="72"/>
                        </a:lnTo>
                        <a:lnTo>
                          <a:pt x="104" y="72"/>
                        </a:lnTo>
                        <a:lnTo>
                          <a:pt x="104" y="70"/>
                        </a:lnTo>
                        <a:lnTo>
                          <a:pt x="106" y="70"/>
                        </a:lnTo>
                        <a:lnTo>
                          <a:pt x="106" y="72"/>
                        </a:lnTo>
                        <a:lnTo>
                          <a:pt x="104" y="72"/>
                        </a:lnTo>
                        <a:lnTo>
                          <a:pt x="104" y="76"/>
                        </a:lnTo>
                        <a:lnTo>
                          <a:pt x="106" y="78"/>
                        </a:lnTo>
                        <a:lnTo>
                          <a:pt x="108" y="78"/>
                        </a:lnTo>
                        <a:lnTo>
                          <a:pt x="110" y="82"/>
                        </a:lnTo>
                        <a:lnTo>
                          <a:pt x="122" y="82"/>
                        </a:lnTo>
                        <a:lnTo>
                          <a:pt x="124" y="82"/>
                        </a:lnTo>
                        <a:lnTo>
                          <a:pt x="124" y="80"/>
                        </a:lnTo>
                        <a:lnTo>
                          <a:pt x="126" y="80"/>
                        </a:lnTo>
                        <a:lnTo>
                          <a:pt x="126" y="78"/>
                        </a:lnTo>
                        <a:lnTo>
                          <a:pt x="128" y="76"/>
                        </a:lnTo>
                        <a:lnTo>
                          <a:pt x="132" y="76"/>
                        </a:lnTo>
                        <a:lnTo>
                          <a:pt x="132" y="74"/>
                        </a:lnTo>
                        <a:lnTo>
                          <a:pt x="130" y="74"/>
                        </a:lnTo>
                        <a:lnTo>
                          <a:pt x="132" y="74"/>
                        </a:lnTo>
                        <a:lnTo>
                          <a:pt x="132" y="72"/>
                        </a:lnTo>
                        <a:lnTo>
                          <a:pt x="134" y="72"/>
                        </a:lnTo>
                        <a:lnTo>
                          <a:pt x="136" y="70"/>
                        </a:lnTo>
                        <a:lnTo>
                          <a:pt x="136" y="66"/>
                        </a:lnTo>
                        <a:lnTo>
                          <a:pt x="138" y="6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7" name="Freeform 3281"/>
                  <p:cNvSpPr>
                    <a:spLocks/>
                  </p:cNvSpPr>
                  <p:nvPr/>
                </p:nvSpPr>
                <p:spPr bwMode="auto">
                  <a:xfrm>
                    <a:off x="6135679" y="5430017"/>
                    <a:ext cx="16623" cy="8311"/>
                  </a:xfrm>
                  <a:custGeom>
                    <a:avLst/>
                    <a:gdLst/>
                    <a:ahLst/>
                    <a:cxnLst>
                      <a:cxn ang="0">
                        <a:pos x="8" y="2"/>
                      </a:cxn>
                      <a:cxn ang="0">
                        <a:pos x="2" y="2"/>
                      </a:cxn>
                      <a:cxn ang="0">
                        <a:pos x="2" y="4"/>
                      </a:cxn>
                      <a:cxn ang="0">
                        <a:pos x="0" y="4"/>
                      </a:cxn>
                      <a:cxn ang="0">
                        <a:pos x="2" y="2"/>
                      </a:cxn>
                      <a:cxn ang="0">
                        <a:pos x="4" y="0"/>
                      </a:cxn>
                      <a:cxn ang="0">
                        <a:pos x="8" y="0"/>
                      </a:cxn>
                      <a:cxn ang="0">
                        <a:pos x="8" y="2"/>
                      </a:cxn>
                    </a:cxnLst>
                    <a:rect l="0" t="0" r="r" b="b"/>
                    <a:pathLst>
                      <a:path w="8" h="4">
                        <a:moveTo>
                          <a:pt x="8" y="2"/>
                        </a:moveTo>
                        <a:lnTo>
                          <a:pt x="2" y="2"/>
                        </a:lnTo>
                        <a:lnTo>
                          <a:pt x="2" y="4"/>
                        </a:lnTo>
                        <a:lnTo>
                          <a:pt x="0" y="4"/>
                        </a:lnTo>
                        <a:lnTo>
                          <a:pt x="2" y="2"/>
                        </a:lnTo>
                        <a:lnTo>
                          <a:pt x="4" y="0"/>
                        </a:lnTo>
                        <a:lnTo>
                          <a:pt x="8" y="0"/>
                        </a:lnTo>
                        <a:lnTo>
                          <a:pt x="8"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8" name="Freeform 3282"/>
                  <p:cNvSpPr>
                    <a:spLocks/>
                  </p:cNvSpPr>
                  <p:nvPr/>
                </p:nvSpPr>
                <p:spPr bwMode="auto">
                  <a:xfrm>
                    <a:off x="6638516" y="5430017"/>
                    <a:ext cx="12467" cy="8311"/>
                  </a:xfrm>
                  <a:custGeom>
                    <a:avLst/>
                    <a:gdLst/>
                    <a:ahLst/>
                    <a:cxnLst>
                      <a:cxn ang="0">
                        <a:pos x="4" y="0"/>
                      </a:cxn>
                      <a:cxn ang="0">
                        <a:pos x="6" y="0"/>
                      </a:cxn>
                      <a:cxn ang="0">
                        <a:pos x="6" y="2"/>
                      </a:cxn>
                      <a:cxn ang="0">
                        <a:pos x="4" y="4"/>
                      </a:cxn>
                      <a:cxn ang="0">
                        <a:pos x="0" y="4"/>
                      </a:cxn>
                      <a:cxn ang="0">
                        <a:pos x="0" y="2"/>
                      </a:cxn>
                      <a:cxn ang="0">
                        <a:pos x="4" y="0"/>
                      </a:cxn>
                    </a:cxnLst>
                    <a:rect l="0" t="0" r="r" b="b"/>
                    <a:pathLst>
                      <a:path w="6" h="4">
                        <a:moveTo>
                          <a:pt x="4" y="0"/>
                        </a:moveTo>
                        <a:lnTo>
                          <a:pt x="6" y="0"/>
                        </a:lnTo>
                        <a:lnTo>
                          <a:pt x="6" y="2"/>
                        </a:lnTo>
                        <a:lnTo>
                          <a:pt x="4" y="4"/>
                        </a:lnTo>
                        <a:lnTo>
                          <a:pt x="0" y="4"/>
                        </a:lnTo>
                        <a:lnTo>
                          <a:pt x="0" y="2"/>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9" name="Freeform 3283"/>
                  <p:cNvSpPr>
                    <a:spLocks/>
                  </p:cNvSpPr>
                  <p:nvPr/>
                </p:nvSpPr>
                <p:spPr bwMode="auto">
                  <a:xfrm>
                    <a:off x="6451511" y="5442484"/>
                    <a:ext cx="8311" cy="12467"/>
                  </a:xfrm>
                  <a:custGeom>
                    <a:avLst/>
                    <a:gdLst/>
                    <a:ahLst/>
                    <a:cxnLst>
                      <a:cxn ang="0">
                        <a:pos x="2" y="0"/>
                      </a:cxn>
                      <a:cxn ang="0">
                        <a:pos x="4" y="6"/>
                      </a:cxn>
                      <a:cxn ang="0">
                        <a:pos x="2" y="6"/>
                      </a:cxn>
                      <a:cxn ang="0">
                        <a:pos x="0" y="6"/>
                      </a:cxn>
                      <a:cxn ang="0">
                        <a:pos x="0" y="4"/>
                      </a:cxn>
                      <a:cxn ang="0">
                        <a:pos x="0" y="0"/>
                      </a:cxn>
                      <a:cxn ang="0">
                        <a:pos x="2" y="0"/>
                      </a:cxn>
                    </a:cxnLst>
                    <a:rect l="0" t="0" r="r" b="b"/>
                    <a:pathLst>
                      <a:path w="4" h="6">
                        <a:moveTo>
                          <a:pt x="2" y="0"/>
                        </a:moveTo>
                        <a:lnTo>
                          <a:pt x="4" y="6"/>
                        </a:lnTo>
                        <a:lnTo>
                          <a:pt x="2" y="6"/>
                        </a:lnTo>
                        <a:lnTo>
                          <a:pt x="0" y="6"/>
                        </a:lnTo>
                        <a:lnTo>
                          <a:pt x="0" y="4"/>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0" name="Freeform 3284"/>
                  <p:cNvSpPr>
                    <a:spLocks/>
                  </p:cNvSpPr>
                  <p:nvPr/>
                </p:nvSpPr>
                <p:spPr bwMode="auto">
                  <a:xfrm>
                    <a:off x="6916947" y="5442484"/>
                    <a:ext cx="58180" cy="37401"/>
                  </a:xfrm>
                  <a:custGeom>
                    <a:avLst/>
                    <a:gdLst/>
                    <a:ahLst/>
                    <a:cxnLst>
                      <a:cxn ang="0">
                        <a:pos x="2" y="2"/>
                      </a:cxn>
                      <a:cxn ang="0">
                        <a:pos x="6" y="2"/>
                      </a:cxn>
                      <a:cxn ang="0">
                        <a:pos x="8" y="2"/>
                      </a:cxn>
                      <a:cxn ang="0">
                        <a:pos x="12" y="4"/>
                      </a:cxn>
                      <a:cxn ang="0">
                        <a:pos x="12" y="2"/>
                      </a:cxn>
                      <a:cxn ang="0">
                        <a:pos x="14" y="4"/>
                      </a:cxn>
                      <a:cxn ang="0">
                        <a:pos x="20" y="10"/>
                      </a:cxn>
                      <a:cxn ang="0">
                        <a:pos x="22" y="12"/>
                      </a:cxn>
                      <a:cxn ang="0">
                        <a:pos x="24" y="12"/>
                      </a:cxn>
                      <a:cxn ang="0">
                        <a:pos x="28" y="14"/>
                      </a:cxn>
                      <a:cxn ang="0">
                        <a:pos x="26" y="16"/>
                      </a:cxn>
                      <a:cxn ang="0">
                        <a:pos x="24" y="16"/>
                      </a:cxn>
                      <a:cxn ang="0">
                        <a:pos x="20" y="18"/>
                      </a:cxn>
                      <a:cxn ang="0">
                        <a:pos x="20" y="16"/>
                      </a:cxn>
                      <a:cxn ang="0">
                        <a:pos x="18" y="16"/>
                      </a:cxn>
                      <a:cxn ang="0">
                        <a:pos x="16" y="16"/>
                      </a:cxn>
                      <a:cxn ang="0">
                        <a:pos x="14" y="16"/>
                      </a:cxn>
                      <a:cxn ang="0">
                        <a:pos x="12" y="10"/>
                      </a:cxn>
                      <a:cxn ang="0">
                        <a:pos x="12" y="6"/>
                      </a:cxn>
                      <a:cxn ang="0">
                        <a:pos x="10" y="6"/>
                      </a:cxn>
                      <a:cxn ang="0">
                        <a:pos x="8" y="8"/>
                      </a:cxn>
                      <a:cxn ang="0">
                        <a:pos x="8" y="6"/>
                      </a:cxn>
                      <a:cxn ang="0">
                        <a:pos x="4" y="6"/>
                      </a:cxn>
                      <a:cxn ang="0">
                        <a:pos x="2" y="4"/>
                      </a:cxn>
                      <a:cxn ang="0">
                        <a:pos x="0" y="2"/>
                      </a:cxn>
                      <a:cxn ang="0">
                        <a:pos x="0" y="0"/>
                      </a:cxn>
                      <a:cxn ang="0">
                        <a:pos x="2" y="2"/>
                      </a:cxn>
                    </a:cxnLst>
                    <a:rect l="0" t="0" r="r" b="b"/>
                    <a:pathLst>
                      <a:path w="28" h="18">
                        <a:moveTo>
                          <a:pt x="2" y="2"/>
                        </a:moveTo>
                        <a:lnTo>
                          <a:pt x="6" y="2"/>
                        </a:lnTo>
                        <a:lnTo>
                          <a:pt x="8" y="2"/>
                        </a:lnTo>
                        <a:lnTo>
                          <a:pt x="12" y="4"/>
                        </a:lnTo>
                        <a:lnTo>
                          <a:pt x="12" y="2"/>
                        </a:lnTo>
                        <a:lnTo>
                          <a:pt x="14" y="4"/>
                        </a:lnTo>
                        <a:lnTo>
                          <a:pt x="20" y="10"/>
                        </a:lnTo>
                        <a:lnTo>
                          <a:pt x="22" y="12"/>
                        </a:lnTo>
                        <a:lnTo>
                          <a:pt x="24" y="12"/>
                        </a:lnTo>
                        <a:lnTo>
                          <a:pt x="28" y="14"/>
                        </a:lnTo>
                        <a:lnTo>
                          <a:pt x="26" y="16"/>
                        </a:lnTo>
                        <a:lnTo>
                          <a:pt x="24" y="16"/>
                        </a:lnTo>
                        <a:lnTo>
                          <a:pt x="20" y="18"/>
                        </a:lnTo>
                        <a:lnTo>
                          <a:pt x="20" y="16"/>
                        </a:lnTo>
                        <a:lnTo>
                          <a:pt x="18" y="16"/>
                        </a:lnTo>
                        <a:lnTo>
                          <a:pt x="16" y="16"/>
                        </a:lnTo>
                        <a:lnTo>
                          <a:pt x="14" y="16"/>
                        </a:lnTo>
                        <a:lnTo>
                          <a:pt x="12" y="10"/>
                        </a:lnTo>
                        <a:lnTo>
                          <a:pt x="12" y="6"/>
                        </a:lnTo>
                        <a:lnTo>
                          <a:pt x="10" y="6"/>
                        </a:lnTo>
                        <a:lnTo>
                          <a:pt x="8" y="8"/>
                        </a:lnTo>
                        <a:lnTo>
                          <a:pt x="8" y="6"/>
                        </a:lnTo>
                        <a:lnTo>
                          <a:pt x="4" y="6"/>
                        </a:lnTo>
                        <a:lnTo>
                          <a:pt x="2" y="4"/>
                        </a:lnTo>
                        <a:lnTo>
                          <a:pt x="0" y="2"/>
                        </a:lnTo>
                        <a:lnTo>
                          <a:pt x="0" y="0"/>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1" name="Freeform 3285"/>
                  <p:cNvSpPr>
                    <a:spLocks/>
                  </p:cNvSpPr>
                  <p:nvPr/>
                </p:nvSpPr>
                <p:spPr bwMode="auto">
                  <a:xfrm>
                    <a:off x="6634361" y="5450796"/>
                    <a:ext cx="29090" cy="8311"/>
                  </a:xfrm>
                  <a:custGeom>
                    <a:avLst/>
                    <a:gdLst/>
                    <a:ahLst/>
                    <a:cxnLst>
                      <a:cxn ang="0">
                        <a:pos x="12" y="0"/>
                      </a:cxn>
                      <a:cxn ang="0">
                        <a:pos x="14" y="0"/>
                      </a:cxn>
                      <a:cxn ang="0">
                        <a:pos x="14" y="2"/>
                      </a:cxn>
                      <a:cxn ang="0">
                        <a:pos x="12" y="2"/>
                      </a:cxn>
                      <a:cxn ang="0">
                        <a:pos x="12" y="4"/>
                      </a:cxn>
                      <a:cxn ang="0">
                        <a:pos x="0" y="4"/>
                      </a:cxn>
                      <a:cxn ang="0">
                        <a:pos x="2" y="2"/>
                      </a:cxn>
                      <a:cxn ang="0">
                        <a:pos x="12" y="2"/>
                      </a:cxn>
                      <a:cxn ang="0">
                        <a:pos x="12" y="0"/>
                      </a:cxn>
                    </a:cxnLst>
                    <a:rect l="0" t="0" r="r" b="b"/>
                    <a:pathLst>
                      <a:path w="14" h="4">
                        <a:moveTo>
                          <a:pt x="12" y="0"/>
                        </a:moveTo>
                        <a:lnTo>
                          <a:pt x="14" y="0"/>
                        </a:lnTo>
                        <a:lnTo>
                          <a:pt x="14" y="2"/>
                        </a:lnTo>
                        <a:lnTo>
                          <a:pt x="12" y="2"/>
                        </a:lnTo>
                        <a:lnTo>
                          <a:pt x="12" y="4"/>
                        </a:lnTo>
                        <a:lnTo>
                          <a:pt x="0" y="4"/>
                        </a:lnTo>
                        <a:lnTo>
                          <a:pt x="2" y="2"/>
                        </a:lnTo>
                        <a:lnTo>
                          <a:pt x="12" y="2"/>
                        </a:lnTo>
                        <a:lnTo>
                          <a:pt x="1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2" name="Freeform 3286"/>
                  <p:cNvSpPr>
                    <a:spLocks/>
                  </p:cNvSpPr>
                  <p:nvPr/>
                </p:nvSpPr>
                <p:spPr bwMode="auto">
                  <a:xfrm>
                    <a:off x="6650983" y="5459107"/>
                    <a:ext cx="20778" cy="24934"/>
                  </a:xfrm>
                  <a:custGeom>
                    <a:avLst/>
                    <a:gdLst/>
                    <a:ahLst/>
                    <a:cxnLst>
                      <a:cxn ang="0">
                        <a:pos x="10" y="0"/>
                      </a:cxn>
                      <a:cxn ang="0">
                        <a:pos x="10" y="2"/>
                      </a:cxn>
                      <a:cxn ang="0">
                        <a:pos x="10" y="10"/>
                      </a:cxn>
                      <a:cxn ang="0">
                        <a:pos x="8" y="12"/>
                      </a:cxn>
                      <a:cxn ang="0">
                        <a:pos x="6" y="12"/>
                      </a:cxn>
                      <a:cxn ang="0">
                        <a:pos x="2" y="10"/>
                      </a:cxn>
                      <a:cxn ang="0">
                        <a:pos x="2" y="8"/>
                      </a:cxn>
                      <a:cxn ang="0">
                        <a:pos x="0" y="6"/>
                      </a:cxn>
                      <a:cxn ang="0">
                        <a:pos x="0" y="4"/>
                      </a:cxn>
                      <a:cxn ang="0">
                        <a:pos x="0" y="2"/>
                      </a:cxn>
                      <a:cxn ang="0">
                        <a:pos x="4" y="0"/>
                      </a:cxn>
                      <a:cxn ang="0">
                        <a:pos x="6" y="0"/>
                      </a:cxn>
                      <a:cxn ang="0">
                        <a:pos x="6" y="2"/>
                      </a:cxn>
                      <a:cxn ang="0">
                        <a:pos x="8" y="0"/>
                      </a:cxn>
                      <a:cxn ang="0">
                        <a:pos x="10" y="0"/>
                      </a:cxn>
                    </a:cxnLst>
                    <a:rect l="0" t="0" r="r" b="b"/>
                    <a:pathLst>
                      <a:path w="10" h="12">
                        <a:moveTo>
                          <a:pt x="10" y="0"/>
                        </a:moveTo>
                        <a:lnTo>
                          <a:pt x="10" y="2"/>
                        </a:lnTo>
                        <a:lnTo>
                          <a:pt x="10" y="10"/>
                        </a:lnTo>
                        <a:lnTo>
                          <a:pt x="8" y="12"/>
                        </a:lnTo>
                        <a:lnTo>
                          <a:pt x="6" y="12"/>
                        </a:lnTo>
                        <a:lnTo>
                          <a:pt x="2" y="10"/>
                        </a:lnTo>
                        <a:lnTo>
                          <a:pt x="2" y="8"/>
                        </a:lnTo>
                        <a:lnTo>
                          <a:pt x="0" y="6"/>
                        </a:lnTo>
                        <a:lnTo>
                          <a:pt x="0" y="4"/>
                        </a:lnTo>
                        <a:lnTo>
                          <a:pt x="0" y="2"/>
                        </a:lnTo>
                        <a:lnTo>
                          <a:pt x="4" y="0"/>
                        </a:lnTo>
                        <a:lnTo>
                          <a:pt x="6" y="0"/>
                        </a:lnTo>
                        <a:lnTo>
                          <a:pt x="6" y="2"/>
                        </a:lnTo>
                        <a:lnTo>
                          <a:pt x="8" y="0"/>
                        </a:lnTo>
                        <a:lnTo>
                          <a:pt x="1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3" name="Freeform 3287"/>
                  <p:cNvSpPr>
                    <a:spLocks/>
                  </p:cNvSpPr>
                  <p:nvPr/>
                </p:nvSpPr>
                <p:spPr bwMode="auto">
                  <a:xfrm>
                    <a:off x="4826640" y="5459107"/>
                    <a:ext cx="41557" cy="54024"/>
                  </a:xfrm>
                  <a:custGeom>
                    <a:avLst/>
                    <a:gdLst/>
                    <a:ahLst/>
                    <a:cxnLst>
                      <a:cxn ang="0">
                        <a:pos x="18" y="22"/>
                      </a:cxn>
                      <a:cxn ang="0">
                        <a:pos x="18" y="20"/>
                      </a:cxn>
                      <a:cxn ang="0">
                        <a:pos x="16" y="20"/>
                      </a:cxn>
                      <a:cxn ang="0">
                        <a:pos x="16" y="22"/>
                      </a:cxn>
                      <a:cxn ang="0">
                        <a:pos x="18" y="22"/>
                      </a:cxn>
                      <a:cxn ang="0">
                        <a:pos x="18" y="24"/>
                      </a:cxn>
                      <a:cxn ang="0">
                        <a:pos x="14" y="26"/>
                      </a:cxn>
                      <a:cxn ang="0">
                        <a:pos x="14" y="24"/>
                      </a:cxn>
                      <a:cxn ang="0">
                        <a:pos x="12" y="24"/>
                      </a:cxn>
                      <a:cxn ang="0">
                        <a:pos x="8" y="22"/>
                      </a:cxn>
                      <a:cxn ang="0">
                        <a:pos x="6" y="20"/>
                      </a:cxn>
                      <a:cxn ang="0">
                        <a:pos x="6" y="18"/>
                      </a:cxn>
                      <a:cxn ang="0">
                        <a:pos x="4" y="14"/>
                      </a:cxn>
                      <a:cxn ang="0">
                        <a:pos x="0" y="8"/>
                      </a:cxn>
                      <a:cxn ang="0">
                        <a:pos x="2" y="6"/>
                      </a:cxn>
                      <a:cxn ang="0">
                        <a:pos x="2" y="2"/>
                      </a:cxn>
                      <a:cxn ang="0">
                        <a:pos x="4" y="2"/>
                      </a:cxn>
                      <a:cxn ang="0">
                        <a:pos x="6" y="2"/>
                      </a:cxn>
                      <a:cxn ang="0">
                        <a:pos x="6" y="0"/>
                      </a:cxn>
                      <a:cxn ang="0">
                        <a:pos x="8" y="0"/>
                      </a:cxn>
                      <a:cxn ang="0">
                        <a:pos x="10" y="2"/>
                      </a:cxn>
                      <a:cxn ang="0">
                        <a:pos x="12" y="10"/>
                      </a:cxn>
                      <a:cxn ang="0">
                        <a:pos x="18" y="20"/>
                      </a:cxn>
                      <a:cxn ang="0">
                        <a:pos x="18" y="18"/>
                      </a:cxn>
                      <a:cxn ang="0">
                        <a:pos x="20" y="22"/>
                      </a:cxn>
                      <a:cxn ang="0">
                        <a:pos x="18" y="22"/>
                      </a:cxn>
                    </a:cxnLst>
                    <a:rect l="0" t="0" r="r" b="b"/>
                    <a:pathLst>
                      <a:path w="20" h="26">
                        <a:moveTo>
                          <a:pt x="18" y="22"/>
                        </a:moveTo>
                        <a:lnTo>
                          <a:pt x="18" y="20"/>
                        </a:lnTo>
                        <a:lnTo>
                          <a:pt x="16" y="20"/>
                        </a:lnTo>
                        <a:lnTo>
                          <a:pt x="16" y="22"/>
                        </a:lnTo>
                        <a:lnTo>
                          <a:pt x="18" y="22"/>
                        </a:lnTo>
                        <a:lnTo>
                          <a:pt x="18" y="24"/>
                        </a:lnTo>
                        <a:lnTo>
                          <a:pt x="14" y="26"/>
                        </a:lnTo>
                        <a:lnTo>
                          <a:pt x="14" y="24"/>
                        </a:lnTo>
                        <a:lnTo>
                          <a:pt x="12" y="24"/>
                        </a:lnTo>
                        <a:lnTo>
                          <a:pt x="8" y="22"/>
                        </a:lnTo>
                        <a:lnTo>
                          <a:pt x="6" y="20"/>
                        </a:lnTo>
                        <a:lnTo>
                          <a:pt x="6" y="18"/>
                        </a:lnTo>
                        <a:lnTo>
                          <a:pt x="4" y="14"/>
                        </a:lnTo>
                        <a:lnTo>
                          <a:pt x="0" y="8"/>
                        </a:lnTo>
                        <a:lnTo>
                          <a:pt x="2" y="6"/>
                        </a:lnTo>
                        <a:lnTo>
                          <a:pt x="2" y="2"/>
                        </a:lnTo>
                        <a:lnTo>
                          <a:pt x="4" y="2"/>
                        </a:lnTo>
                        <a:lnTo>
                          <a:pt x="6" y="2"/>
                        </a:lnTo>
                        <a:lnTo>
                          <a:pt x="6" y="0"/>
                        </a:lnTo>
                        <a:lnTo>
                          <a:pt x="8" y="0"/>
                        </a:lnTo>
                        <a:lnTo>
                          <a:pt x="10" y="2"/>
                        </a:lnTo>
                        <a:lnTo>
                          <a:pt x="12" y="10"/>
                        </a:lnTo>
                        <a:lnTo>
                          <a:pt x="18" y="20"/>
                        </a:lnTo>
                        <a:lnTo>
                          <a:pt x="18" y="18"/>
                        </a:lnTo>
                        <a:lnTo>
                          <a:pt x="20" y="22"/>
                        </a:lnTo>
                        <a:lnTo>
                          <a:pt x="18" y="22"/>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684" name="Freeform 3288"/>
                  <p:cNvSpPr>
                    <a:spLocks/>
                  </p:cNvSpPr>
                  <p:nvPr/>
                </p:nvSpPr>
                <p:spPr bwMode="auto">
                  <a:xfrm>
                    <a:off x="6883701" y="5463263"/>
                    <a:ext cx="12467" cy="8311"/>
                  </a:xfrm>
                  <a:custGeom>
                    <a:avLst/>
                    <a:gdLst/>
                    <a:ahLst/>
                    <a:cxnLst>
                      <a:cxn ang="0">
                        <a:pos x="4" y="0"/>
                      </a:cxn>
                      <a:cxn ang="0">
                        <a:pos x="6" y="2"/>
                      </a:cxn>
                      <a:cxn ang="0">
                        <a:pos x="6" y="4"/>
                      </a:cxn>
                      <a:cxn ang="0">
                        <a:pos x="2" y="4"/>
                      </a:cxn>
                      <a:cxn ang="0">
                        <a:pos x="0" y="2"/>
                      </a:cxn>
                      <a:cxn ang="0">
                        <a:pos x="0" y="0"/>
                      </a:cxn>
                      <a:cxn ang="0">
                        <a:pos x="2" y="0"/>
                      </a:cxn>
                      <a:cxn ang="0">
                        <a:pos x="4" y="0"/>
                      </a:cxn>
                    </a:cxnLst>
                    <a:rect l="0" t="0" r="r" b="b"/>
                    <a:pathLst>
                      <a:path w="6" h="4">
                        <a:moveTo>
                          <a:pt x="4" y="0"/>
                        </a:moveTo>
                        <a:lnTo>
                          <a:pt x="6" y="2"/>
                        </a:lnTo>
                        <a:lnTo>
                          <a:pt x="6" y="4"/>
                        </a:lnTo>
                        <a:lnTo>
                          <a:pt x="2" y="4"/>
                        </a:lnTo>
                        <a:lnTo>
                          <a:pt x="0" y="2"/>
                        </a:lnTo>
                        <a:lnTo>
                          <a:pt x="0" y="0"/>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5" name="Freeform 3289"/>
                  <p:cNvSpPr>
                    <a:spLocks/>
                  </p:cNvSpPr>
                  <p:nvPr/>
                </p:nvSpPr>
                <p:spPr bwMode="auto">
                  <a:xfrm>
                    <a:off x="5441681" y="5463263"/>
                    <a:ext cx="20778" cy="16623"/>
                  </a:xfrm>
                  <a:custGeom>
                    <a:avLst/>
                    <a:gdLst/>
                    <a:ahLst/>
                    <a:cxnLst>
                      <a:cxn ang="0">
                        <a:pos x="10" y="2"/>
                      </a:cxn>
                      <a:cxn ang="0">
                        <a:pos x="10" y="4"/>
                      </a:cxn>
                      <a:cxn ang="0">
                        <a:pos x="2" y="8"/>
                      </a:cxn>
                      <a:cxn ang="0">
                        <a:pos x="0" y="8"/>
                      </a:cxn>
                      <a:cxn ang="0">
                        <a:pos x="2" y="6"/>
                      </a:cxn>
                      <a:cxn ang="0">
                        <a:pos x="2" y="2"/>
                      </a:cxn>
                      <a:cxn ang="0">
                        <a:pos x="2" y="0"/>
                      </a:cxn>
                      <a:cxn ang="0">
                        <a:pos x="6" y="0"/>
                      </a:cxn>
                      <a:cxn ang="0">
                        <a:pos x="8" y="2"/>
                      </a:cxn>
                      <a:cxn ang="0">
                        <a:pos x="8" y="0"/>
                      </a:cxn>
                      <a:cxn ang="0">
                        <a:pos x="8" y="2"/>
                      </a:cxn>
                      <a:cxn ang="0">
                        <a:pos x="10" y="2"/>
                      </a:cxn>
                    </a:cxnLst>
                    <a:rect l="0" t="0" r="r" b="b"/>
                    <a:pathLst>
                      <a:path w="10" h="8">
                        <a:moveTo>
                          <a:pt x="10" y="2"/>
                        </a:moveTo>
                        <a:lnTo>
                          <a:pt x="10" y="4"/>
                        </a:lnTo>
                        <a:lnTo>
                          <a:pt x="2" y="8"/>
                        </a:lnTo>
                        <a:lnTo>
                          <a:pt x="0" y="8"/>
                        </a:lnTo>
                        <a:lnTo>
                          <a:pt x="2" y="6"/>
                        </a:lnTo>
                        <a:lnTo>
                          <a:pt x="2" y="2"/>
                        </a:lnTo>
                        <a:lnTo>
                          <a:pt x="2" y="0"/>
                        </a:lnTo>
                        <a:lnTo>
                          <a:pt x="6" y="0"/>
                        </a:lnTo>
                        <a:lnTo>
                          <a:pt x="8" y="2"/>
                        </a:lnTo>
                        <a:lnTo>
                          <a:pt x="8" y="0"/>
                        </a:lnTo>
                        <a:lnTo>
                          <a:pt x="8" y="2"/>
                        </a:lnTo>
                        <a:lnTo>
                          <a:pt x="10"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6" name="Freeform 3290"/>
                  <p:cNvSpPr>
                    <a:spLocks/>
                  </p:cNvSpPr>
                  <p:nvPr/>
                </p:nvSpPr>
                <p:spPr bwMode="auto">
                  <a:xfrm>
                    <a:off x="6596959" y="5471574"/>
                    <a:ext cx="12467" cy="8311"/>
                  </a:xfrm>
                  <a:custGeom>
                    <a:avLst/>
                    <a:gdLst/>
                    <a:ahLst/>
                    <a:cxnLst>
                      <a:cxn ang="0">
                        <a:pos x="4" y="0"/>
                      </a:cxn>
                      <a:cxn ang="0">
                        <a:pos x="6" y="2"/>
                      </a:cxn>
                      <a:cxn ang="0">
                        <a:pos x="2" y="4"/>
                      </a:cxn>
                      <a:cxn ang="0">
                        <a:pos x="0" y="4"/>
                      </a:cxn>
                      <a:cxn ang="0">
                        <a:pos x="0" y="2"/>
                      </a:cxn>
                      <a:cxn ang="0">
                        <a:pos x="2" y="2"/>
                      </a:cxn>
                      <a:cxn ang="0">
                        <a:pos x="2" y="0"/>
                      </a:cxn>
                      <a:cxn ang="0">
                        <a:pos x="4" y="0"/>
                      </a:cxn>
                    </a:cxnLst>
                    <a:rect l="0" t="0" r="r" b="b"/>
                    <a:pathLst>
                      <a:path w="6" h="4">
                        <a:moveTo>
                          <a:pt x="4" y="0"/>
                        </a:moveTo>
                        <a:lnTo>
                          <a:pt x="6" y="2"/>
                        </a:lnTo>
                        <a:lnTo>
                          <a:pt x="2" y="4"/>
                        </a:lnTo>
                        <a:lnTo>
                          <a:pt x="0" y="4"/>
                        </a:lnTo>
                        <a:lnTo>
                          <a:pt x="0" y="2"/>
                        </a:lnTo>
                        <a:lnTo>
                          <a:pt x="2" y="2"/>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7" name="Freeform 3291"/>
                  <p:cNvSpPr>
                    <a:spLocks/>
                  </p:cNvSpPr>
                  <p:nvPr/>
                </p:nvSpPr>
                <p:spPr bwMode="auto">
                  <a:xfrm>
                    <a:off x="6202170" y="5471574"/>
                    <a:ext cx="45712" cy="29090"/>
                  </a:xfrm>
                  <a:custGeom>
                    <a:avLst/>
                    <a:gdLst/>
                    <a:ahLst/>
                    <a:cxnLst>
                      <a:cxn ang="0">
                        <a:pos x="22" y="6"/>
                      </a:cxn>
                      <a:cxn ang="0">
                        <a:pos x="20" y="10"/>
                      </a:cxn>
                      <a:cxn ang="0">
                        <a:pos x="18" y="10"/>
                      </a:cxn>
                      <a:cxn ang="0">
                        <a:pos x="16" y="10"/>
                      </a:cxn>
                      <a:cxn ang="0">
                        <a:pos x="14" y="8"/>
                      </a:cxn>
                      <a:cxn ang="0">
                        <a:pos x="14" y="10"/>
                      </a:cxn>
                      <a:cxn ang="0">
                        <a:pos x="12" y="10"/>
                      </a:cxn>
                      <a:cxn ang="0">
                        <a:pos x="12" y="12"/>
                      </a:cxn>
                      <a:cxn ang="0">
                        <a:pos x="10" y="14"/>
                      </a:cxn>
                      <a:cxn ang="0">
                        <a:pos x="8" y="12"/>
                      </a:cxn>
                      <a:cxn ang="0">
                        <a:pos x="10" y="12"/>
                      </a:cxn>
                      <a:cxn ang="0">
                        <a:pos x="10" y="10"/>
                      </a:cxn>
                      <a:cxn ang="0">
                        <a:pos x="10" y="6"/>
                      </a:cxn>
                      <a:cxn ang="0">
                        <a:pos x="6" y="10"/>
                      </a:cxn>
                      <a:cxn ang="0">
                        <a:pos x="6" y="12"/>
                      </a:cxn>
                      <a:cxn ang="0">
                        <a:pos x="4" y="12"/>
                      </a:cxn>
                      <a:cxn ang="0">
                        <a:pos x="4" y="14"/>
                      </a:cxn>
                      <a:cxn ang="0">
                        <a:pos x="2" y="14"/>
                      </a:cxn>
                      <a:cxn ang="0">
                        <a:pos x="2" y="12"/>
                      </a:cxn>
                      <a:cxn ang="0">
                        <a:pos x="0" y="6"/>
                      </a:cxn>
                      <a:cxn ang="0">
                        <a:pos x="2" y="4"/>
                      </a:cxn>
                      <a:cxn ang="0">
                        <a:pos x="4" y="2"/>
                      </a:cxn>
                      <a:cxn ang="0">
                        <a:pos x="10" y="0"/>
                      </a:cxn>
                      <a:cxn ang="0">
                        <a:pos x="10" y="2"/>
                      </a:cxn>
                      <a:cxn ang="0">
                        <a:pos x="12" y="4"/>
                      </a:cxn>
                      <a:cxn ang="0">
                        <a:pos x="10" y="4"/>
                      </a:cxn>
                      <a:cxn ang="0">
                        <a:pos x="12" y="8"/>
                      </a:cxn>
                      <a:cxn ang="0">
                        <a:pos x="16" y="4"/>
                      </a:cxn>
                      <a:cxn ang="0">
                        <a:pos x="18" y="4"/>
                      </a:cxn>
                      <a:cxn ang="0">
                        <a:pos x="20" y="4"/>
                      </a:cxn>
                      <a:cxn ang="0">
                        <a:pos x="22" y="4"/>
                      </a:cxn>
                      <a:cxn ang="0">
                        <a:pos x="22" y="6"/>
                      </a:cxn>
                    </a:cxnLst>
                    <a:rect l="0" t="0" r="r" b="b"/>
                    <a:pathLst>
                      <a:path w="22" h="14">
                        <a:moveTo>
                          <a:pt x="22" y="6"/>
                        </a:moveTo>
                        <a:lnTo>
                          <a:pt x="20" y="10"/>
                        </a:lnTo>
                        <a:lnTo>
                          <a:pt x="18" y="10"/>
                        </a:lnTo>
                        <a:lnTo>
                          <a:pt x="16" y="10"/>
                        </a:lnTo>
                        <a:lnTo>
                          <a:pt x="14" y="8"/>
                        </a:lnTo>
                        <a:lnTo>
                          <a:pt x="14" y="10"/>
                        </a:lnTo>
                        <a:lnTo>
                          <a:pt x="12" y="10"/>
                        </a:lnTo>
                        <a:lnTo>
                          <a:pt x="12" y="12"/>
                        </a:lnTo>
                        <a:lnTo>
                          <a:pt x="10" y="14"/>
                        </a:lnTo>
                        <a:lnTo>
                          <a:pt x="8" y="12"/>
                        </a:lnTo>
                        <a:lnTo>
                          <a:pt x="10" y="12"/>
                        </a:lnTo>
                        <a:lnTo>
                          <a:pt x="10" y="10"/>
                        </a:lnTo>
                        <a:lnTo>
                          <a:pt x="10" y="6"/>
                        </a:lnTo>
                        <a:lnTo>
                          <a:pt x="6" y="10"/>
                        </a:lnTo>
                        <a:lnTo>
                          <a:pt x="6" y="12"/>
                        </a:lnTo>
                        <a:lnTo>
                          <a:pt x="4" y="12"/>
                        </a:lnTo>
                        <a:lnTo>
                          <a:pt x="4" y="14"/>
                        </a:lnTo>
                        <a:lnTo>
                          <a:pt x="2" y="14"/>
                        </a:lnTo>
                        <a:lnTo>
                          <a:pt x="2" y="12"/>
                        </a:lnTo>
                        <a:lnTo>
                          <a:pt x="0" y="6"/>
                        </a:lnTo>
                        <a:lnTo>
                          <a:pt x="2" y="4"/>
                        </a:lnTo>
                        <a:lnTo>
                          <a:pt x="4" y="2"/>
                        </a:lnTo>
                        <a:lnTo>
                          <a:pt x="10" y="0"/>
                        </a:lnTo>
                        <a:lnTo>
                          <a:pt x="10" y="2"/>
                        </a:lnTo>
                        <a:lnTo>
                          <a:pt x="12" y="4"/>
                        </a:lnTo>
                        <a:lnTo>
                          <a:pt x="10" y="4"/>
                        </a:lnTo>
                        <a:lnTo>
                          <a:pt x="12" y="8"/>
                        </a:lnTo>
                        <a:lnTo>
                          <a:pt x="16" y="4"/>
                        </a:lnTo>
                        <a:lnTo>
                          <a:pt x="18" y="4"/>
                        </a:lnTo>
                        <a:lnTo>
                          <a:pt x="20" y="4"/>
                        </a:lnTo>
                        <a:lnTo>
                          <a:pt x="22" y="4"/>
                        </a:lnTo>
                        <a:lnTo>
                          <a:pt x="2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8" name="Freeform 3292"/>
                  <p:cNvSpPr>
                    <a:spLocks/>
                  </p:cNvSpPr>
                  <p:nvPr/>
                </p:nvSpPr>
                <p:spPr bwMode="auto">
                  <a:xfrm>
                    <a:off x="6468133" y="5475730"/>
                    <a:ext cx="12467" cy="4156"/>
                  </a:xfrm>
                  <a:custGeom>
                    <a:avLst/>
                    <a:gdLst/>
                    <a:ahLst/>
                    <a:cxnLst>
                      <a:cxn ang="0">
                        <a:pos x="2" y="0"/>
                      </a:cxn>
                      <a:cxn ang="0">
                        <a:pos x="4" y="0"/>
                      </a:cxn>
                      <a:cxn ang="0">
                        <a:pos x="6" y="2"/>
                      </a:cxn>
                      <a:cxn ang="0">
                        <a:pos x="4" y="2"/>
                      </a:cxn>
                      <a:cxn ang="0">
                        <a:pos x="0" y="2"/>
                      </a:cxn>
                      <a:cxn ang="0">
                        <a:pos x="2" y="0"/>
                      </a:cxn>
                    </a:cxnLst>
                    <a:rect l="0" t="0" r="r" b="b"/>
                    <a:pathLst>
                      <a:path w="6" h="2">
                        <a:moveTo>
                          <a:pt x="2" y="0"/>
                        </a:moveTo>
                        <a:lnTo>
                          <a:pt x="4" y="0"/>
                        </a:lnTo>
                        <a:lnTo>
                          <a:pt x="6" y="2"/>
                        </a:lnTo>
                        <a:lnTo>
                          <a:pt x="4" y="2"/>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9" name="Freeform 3293"/>
                  <p:cNvSpPr>
                    <a:spLocks/>
                  </p:cNvSpPr>
                  <p:nvPr/>
                </p:nvSpPr>
                <p:spPr bwMode="auto">
                  <a:xfrm>
                    <a:off x="6463978" y="5484041"/>
                    <a:ext cx="41557" cy="24934"/>
                  </a:xfrm>
                  <a:custGeom>
                    <a:avLst/>
                    <a:gdLst/>
                    <a:ahLst/>
                    <a:cxnLst>
                      <a:cxn ang="0">
                        <a:pos x="20" y="8"/>
                      </a:cxn>
                      <a:cxn ang="0">
                        <a:pos x="20" y="10"/>
                      </a:cxn>
                      <a:cxn ang="0">
                        <a:pos x="8" y="10"/>
                      </a:cxn>
                      <a:cxn ang="0">
                        <a:pos x="4" y="10"/>
                      </a:cxn>
                      <a:cxn ang="0">
                        <a:pos x="4" y="12"/>
                      </a:cxn>
                      <a:cxn ang="0">
                        <a:pos x="4" y="10"/>
                      </a:cxn>
                      <a:cxn ang="0">
                        <a:pos x="2" y="10"/>
                      </a:cxn>
                      <a:cxn ang="0">
                        <a:pos x="0" y="8"/>
                      </a:cxn>
                      <a:cxn ang="0">
                        <a:pos x="0" y="6"/>
                      </a:cxn>
                      <a:cxn ang="0">
                        <a:pos x="0" y="4"/>
                      </a:cxn>
                      <a:cxn ang="0">
                        <a:pos x="2" y="4"/>
                      </a:cxn>
                      <a:cxn ang="0">
                        <a:pos x="2" y="2"/>
                      </a:cxn>
                      <a:cxn ang="0">
                        <a:pos x="2" y="4"/>
                      </a:cxn>
                      <a:cxn ang="0">
                        <a:pos x="6" y="0"/>
                      </a:cxn>
                      <a:cxn ang="0">
                        <a:pos x="8" y="0"/>
                      </a:cxn>
                      <a:cxn ang="0">
                        <a:pos x="20" y="6"/>
                      </a:cxn>
                      <a:cxn ang="0">
                        <a:pos x="20" y="8"/>
                      </a:cxn>
                    </a:cxnLst>
                    <a:rect l="0" t="0" r="r" b="b"/>
                    <a:pathLst>
                      <a:path w="20" h="12">
                        <a:moveTo>
                          <a:pt x="20" y="8"/>
                        </a:moveTo>
                        <a:lnTo>
                          <a:pt x="20" y="10"/>
                        </a:lnTo>
                        <a:lnTo>
                          <a:pt x="8" y="10"/>
                        </a:lnTo>
                        <a:lnTo>
                          <a:pt x="4" y="10"/>
                        </a:lnTo>
                        <a:lnTo>
                          <a:pt x="4" y="12"/>
                        </a:lnTo>
                        <a:lnTo>
                          <a:pt x="4" y="10"/>
                        </a:lnTo>
                        <a:lnTo>
                          <a:pt x="2" y="10"/>
                        </a:lnTo>
                        <a:lnTo>
                          <a:pt x="0" y="8"/>
                        </a:lnTo>
                        <a:lnTo>
                          <a:pt x="0" y="6"/>
                        </a:lnTo>
                        <a:lnTo>
                          <a:pt x="0" y="4"/>
                        </a:lnTo>
                        <a:lnTo>
                          <a:pt x="2" y="4"/>
                        </a:lnTo>
                        <a:lnTo>
                          <a:pt x="2" y="2"/>
                        </a:lnTo>
                        <a:lnTo>
                          <a:pt x="2" y="4"/>
                        </a:lnTo>
                        <a:lnTo>
                          <a:pt x="6" y="0"/>
                        </a:lnTo>
                        <a:lnTo>
                          <a:pt x="8" y="0"/>
                        </a:lnTo>
                        <a:lnTo>
                          <a:pt x="20" y="6"/>
                        </a:lnTo>
                        <a:lnTo>
                          <a:pt x="2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0" name="Freeform 3294"/>
                  <p:cNvSpPr>
                    <a:spLocks/>
                  </p:cNvSpPr>
                  <p:nvPr/>
                </p:nvSpPr>
                <p:spPr bwMode="auto">
                  <a:xfrm>
                    <a:off x="5196496" y="5492353"/>
                    <a:ext cx="95581" cy="91425"/>
                  </a:xfrm>
                  <a:custGeom>
                    <a:avLst/>
                    <a:gdLst/>
                    <a:ahLst/>
                    <a:cxnLst>
                      <a:cxn ang="0">
                        <a:pos x="44" y="40"/>
                      </a:cxn>
                      <a:cxn ang="0">
                        <a:pos x="44" y="42"/>
                      </a:cxn>
                      <a:cxn ang="0">
                        <a:pos x="44" y="44"/>
                      </a:cxn>
                      <a:cxn ang="0">
                        <a:pos x="38" y="44"/>
                      </a:cxn>
                      <a:cxn ang="0">
                        <a:pos x="38" y="42"/>
                      </a:cxn>
                      <a:cxn ang="0">
                        <a:pos x="38" y="40"/>
                      </a:cxn>
                      <a:cxn ang="0">
                        <a:pos x="36" y="40"/>
                      </a:cxn>
                      <a:cxn ang="0">
                        <a:pos x="34" y="40"/>
                      </a:cxn>
                      <a:cxn ang="0">
                        <a:pos x="32" y="40"/>
                      </a:cxn>
                      <a:cxn ang="0">
                        <a:pos x="30" y="38"/>
                      </a:cxn>
                      <a:cxn ang="0">
                        <a:pos x="28" y="38"/>
                      </a:cxn>
                      <a:cxn ang="0">
                        <a:pos x="26" y="38"/>
                      </a:cxn>
                      <a:cxn ang="0">
                        <a:pos x="22" y="36"/>
                      </a:cxn>
                      <a:cxn ang="0">
                        <a:pos x="22" y="34"/>
                      </a:cxn>
                      <a:cxn ang="0">
                        <a:pos x="22" y="32"/>
                      </a:cxn>
                      <a:cxn ang="0">
                        <a:pos x="22" y="30"/>
                      </a:cxn>
                      <a:cxn ang="0">
                        <a:pos x="24" y="30"/>
                      </a:cxn>
                      <a:cxn ang="0">
                        <a:pos x="24" y="28"/>
                      </a:cxn>
                      <a:cxn ang="0">
                        <a:pos x="22" y="28"/>
                      </a:cxn>
                      <a:cxn ang="0">
                        <a:pos x="22" y="26"/>
                      </a:cxn>
                      <a:cxn ang="0">
                        <a:pos x="20" y="26"/>
                      </a:cxn>
                      <a:cxn ang="0">
                        <a:pos x="20" y="22"/>
                      </a:cxn>
                      <a:cxn ang="0">
                        <a:pos x="20" y="18"/>
                      </a:cxn>
                      <a:cxn ang="0">
                        <a:pos x="18" y="18"/>
                      </a:cxn>
                      <a:cxn ang="0">
                        <a:pos x="10" y="18"/>
                      </a:cxn>
                      <a:cxn ang="0">
                        <a:pos x="8" y="18"/>
                      </a:cxn>
                      <a:cxn ang="0">
                        <a:pos x="2" y="16"/>
                      </a:cxn>
                      <a:cxn ang="0">
                        <a:pos x="0" y="16"/>
                      </a:cxn>
                      <a:cxn ang="0">
                        <a:pos x="2" y="12"/>
                      </a:cxn>
                      <a:cxn ang="0">
                        <a:pos x="4" y="12"/>
                      </a:cxn>
                      <a:cxn ang="0">
                        <a:pos x="8" y="10"/>
                      </a:cxn>
                      <a:cxn ang="0">
                        <a:pos x="8" y="6"/>
                      </a:cxn>
                      <a:cxn ang="0">
                        <a:pos x="6" y="6"/>
                      </a:cxn>
                      <a:cxn ang="0">
                        <a:pos x="8" y="6"/>
                      </a:cxn>
                      <a:cxn ang="0">
                        <a:pos x="8" y="4"/>
                      </a:cxn>
                      <a:cxn ang="0">
                        <a:pos x="14" y="2"/>
                      </a:cxn>
                      <a:cxn ang="0">
                        <a:pos x="14" y="4"/>
                      </a:cxn>
                      <a:cxn ang="0">
                        <a:pos x="14" y="6"/>
                      </a:cxn>
                      <a:cxn ang="0">
                        <a:pos x="16" y="6"/>
                      </a:cxn>
                      <a:cxn ang="0">
                        <a:pos x="16" y="8"/>
                      </a:cxn>
                      <a:cxn ang="0">
                        <a:pos x="20" y="8"/>
                      </a:cxn>
                      <a:cxn ang="0">
                        <a:pos x="18" y="4"/>
                      </a:cxn>
                      <a:cxn ang="0">
                        <a:pos x="16" y="2"/>
                      </a:cxn>
                      <a:cxn ang="0">
                        <a:pos x="18" y="2"/>
                      </a:cxn>
                      <a:cxn ang="0">
                        <a:pos x="22" y="0"/>
                      </a:cxn>
                      <a:cxn ang="0">
                        <a:pos x="26" y="4"/>
                      </a:cxn>
                      <a:cxn ang="0">
                        <a:pos x="30" y="12"/>
                      </a:cxn>
                      <a:cxn ang="0">
                        <a:pos x="32" y="24"/>
                      </a:cxn>
                      <a:cxn ang="0">
                        <a:pos x="34" y="28"/>
                      </a:cxn>
                      <a:cxn ang="0">
                        <a:pos x="36" y="28"/>
                      </a:cxn>
                      <a:cxn ang="0">
                        <a:pos x="46" y="30"/>
                      </a:cxn>
                      <a:cxn ang="0">
                        <a:pos x="44" y="30"/>
                      </a:cxn>
                      <a:cxn ang="0">
                        <a:pos x="44" y="32"/>
                      </a:cxn>
                      <a:cxn ang="0">
                        <a:pos x="44" y="34"/>
                      </a:cxn>
                      <a:cxn ang="0">
                        <a:pos x="44" y="36"/>
                      </a:cxn>
                      <a:cxn ang="0">
                        <a:pos x="42" y="36"/>
                      </a:cxn>
                      <a:cxn ang="0">
                        <a:pos x="42" y="38"/>
                      </a:cxn>
                      <a:cxn ang="0">
                        <a:pos x="42" y="40"/>
                      </a:cxn>
                      <a:cxn ang="0">
                        <a:pos x="44" y="40"/>
                      </a:cxn>
                    </a:cxnLst>
                    <a:rect l="0" t="0" r="r" b="b"/>
                    <a:pathLst>
                      <a:path w="46" h="44">
                        <a:moveTo>
                          <a:pt x="44" y="40"/>
                        </a:moveTo>
                        <a:lnTo>
                          <a:pt x="44" y="42"/>
                        </a:lnTo>
                        <a:lnTo>
                          <a:pt x="44" y="44"/>
                        </a:lnTo>
                        <a:lnTo>
                          <a:pt x="38" y="44"/>
                        </a:lnTo>
                        <a:lnTo>
                          <a:pt x="38" y="42"/>
                        </a:lnTo>
                        <a:lnTo>
                          <a:pt x="38" y="40"/>
                        </a:lnTo>
                        <a:lnTo>
                          <a:pt x="36" y="40"/>
                        </a:lnTo>
                        <a:lnTo>
                          <a:pt x="34" y="40"/>
                        </a:lnTo>
                        <a:lnTo>
                          <a:pt x="32" y="40"/>
                        </a:lnTo>
                        <a:lnTo>
                          <a:pt x="30" y="38"/>
                        </a:lnTo>
                        <a:lnTo>
                          <a:pt x="28" y="38"/>
                        </a:lnTo>
                        <a:lnTo>
                          <a:pt x="26" y="38"/>
                        </a:lnTo>
                        <a:lnTo>
                          <a:pt x="22" y="36"/>
                        </a:lnTo>
                        <a:lnTo>
                          <a:pt x="22" y="34"/>
                        </a:lnTo>
                        <a:lnTo>
                          <a:pt x="22" y="32"/>
                        </a:lnTo>
                        <a:lnTo>
                          <a:pt x="22" y="30"/>
                        </a:lnTo>
                        <a:lnTo>
                          <a:pt x="24" y="30"/>
                        </a:lnTo>
                        <a:lnTo>
                          <a:pt x="24" y="28"/>
                        </a:lnTo>
                        <a:lnTo>
                          <a:pt x="22" y="28"/>
                        </a:lnTo>
                        <a:lnTo>
                          <a:pt x="22" y="26"/>
                        </a:lnTo>
                        <a:lnTo>
                          <a:pt x="20" y="26"/>
                        </a:lnTo>
                        <a:lnTo>
                          <a:pt x="20" y="22"/>
                        </a:lnTo>
                        <a:lnTo>
                          <a:pt x="20" y="18"/>
                        </a:lnTo>
                        <a:lnTo>
                          <a:pt x="18" y="18"/>
                        </a:lnTo>
                        <a:lnTo>
                          <a:pt x="10" y="18"/>
                        </a:lnTo>
                        <a:lnTo>
                          <a:pt x="8" y="18"/>
                        </a:lnTo>
                        <a:lnTo>
                          <a:pt x="2" y="16"/>
                        </a:lnTo>
                        <a:lnTo>
                          <a:pt x="0" y="16"/>
                        </a:lnTo>
                        <a:lnTo>
                          <a:pt x="2" y="12"/>
                        </a:lnTo>
                        <a:lnTo>
                          <a:pt x="4" y="12"/>
                        </a:lnTo>
                        <a:lnTo>
                          <a:pt x="8" y="10"/>
                        </a:lnTo>
                        <a:lnTo>
                          <a:pt x="8" y="6"/>
                        </a:lnTo>
                        <a:lnTo>
                          <a:pt x="6" y="6"/>
                        </a:lnTo>
                        <a:lnTo>
                          <a:pt x="8" y="6"/>
                        </a:lnTo>
                        <a:lnTo>
                          <a:pt x="8" y="4"/>
                        </a:lnTo>
                        <a:lnTo>
                          <a:pt x="14" y="2"/>
                        </a:lnTo>
                        <a:lnTo>
                          <a:pt x="14" y="4"/>
                        </a:lnTo>
                        <a:lnTo>
                          <a:pt x="14" y="6"/>
                        </a:lnTo>
                        <a:lnTo>
                          <a:pt x="16" y="6"/>
                        </a:lnTo>
                        <a:lnTo>
                          <a:pt x="16" y="8"/>
                        </a:lnTo>
                        <a:lnTo>
                          <a:pt x="20" y="8"/>
                        </a:lnTo>
                        <a:lnTo>
                          <a:pt x="18" y="4"/>
                        </a:lnTo>
                        <a:lnTo>
                          <a:pt x="16" y="2"/>
                        </a:lnTo>
                        <a:lnTo>
                          <a:pt x="18" y="2"/>
                        </a:lnTo>
                        <a:lnTo>
                          <a:pt x="22" y="0"/>
                        </a:lnTo>
                        <a:lnTo>
                          <a:pt x="26" y="4"/>
                        </a:lnTo>
                        <a:lnTo>
                          <a:pt x="30" y="12"/>
                        </a:lnTo>
                        <a:lnTo>
                          <a:pt x="32" y="24"/>
                        </a:lnTo>
                        <a:lnTo>
                          <a:pt x="34" y="28"/>
                        </a:lnTo>
                        <a:lnTo>
                          <a:pt x="36" y="28"/>
                        </a:lnTo>
                        <a:lnTo>
                          <a:pt x="46" y="30"/>
                        </a:lnTo>
                        <a:lnTo>
                          <a:pt x="44" y="30"/>
                        </a:lnTo>
                        <a:lnTo>
                          <a:pt x="44" y="32"/>
                        </a:lnTo>
                        <a:lnTo>
                          <a:pt x="44" y="34"/>
                        </a:lnTo>
                        <a:lnTo>
                          <a:pt x="44" y="36"/>
                        </a:lnTo>
                        <a:lnTo>
                          <a:pt x="42" y="36"/>
                        </a:lnTo>
                        <a:lnTo>
                          <a:pt x="42" y="38"/>
                        </a:lnTo>
                        <a:lnTo>
                          <a:pt x="42" y="40"/>
                        </a:lnTo>
                        <a:lnTo>
                          <a:pt x="44" y="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1" name="Freeform 3295"/>
                  <p:cNvSpPr>
                    <a:spLocks/>
                  </p:cNvSpPr>
                  <p:nvPr/>
                </p:nvSpPr>
                <p:spPr bwMode="auto">
                  <a:xfrm>
                    <a:off x="5408435" y="5496508"/>
                    <a:ext cx="8311" cy="8311"/>
                  </a:xfrm>
                  <a:custGeom>
                    <a:avLst/>
                    <a:gdLst/>
                    <a:ahLst/>
                    <a:cxnLst>
                      <a:cxn ang="0">
                        <a:pos x="4" y="0"/>
                      </a:cxn>
                      <a:cxn ang="0">
                        <a:pos x="4" y="2"/>
                      </a:cxn>
                      <a:cxn ang="0">
                        <a:pos x="2" y="2"/>
                      </a:cxn>
                      <a:cxn ang="0">
                        <a:pos x="0" y="4"/>
                      </a:cxn>
                      <a:cxn ang="0">
                        <a:pos x="0" y="0"/>
                      </a:cxn>
                      <a:cxn ang="0">
                        <a:pos x="2" y="0"/>
                      </a:cxn>
                      <a:cxn ang="0">
                        <a:pos x="4" y="0"/>
                      </a:cxn>
                    </a:cxnLst>
                    <a:rect l="0" t="0" r="r" b="b"/>
                    <a:pathLst>
                      <a:path w="4" h="4">
                        <a:moveTo>
                          <a:pt x="4" y="0"/>
                        </a:moveTo>
                        <a:lnTo>
                          <a:pt x="4" y="2"/>
                        </a:lnTo>
                        <a:lnTo>
                          <a:pt x="2" y="2"/>
                        </a:lnTo>
                        <a:lnTo>
                          <a:pt x="0" y="4"/>
                        </a:lnTo>
                        <a:lnTo>
                          <a:pt x="0" y="0"/>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2" name="Freeform 3296"/>
                  <p:cNvSpPr>
                    <a:spLocks/>
                  </p:cNvSpPr>
                  <p:nvPr/>
                </p:nvSpPr>
                <p:spPr bwMode="auto">
                  <a:xfrm>
                    <a:off x="6921102" y="5500664"/>
                    <a:ext cx="83114" cy="16623"/>
                  </a:xfrm>
                  <a:custGeom>
                    <a:avLst/>
                    <a:gdLst/>
                    <a:ahLst/>
                    <a:cxnLst>
                      <a:cxn ang="0">
                        <a:pos x="2" y="0"/>
                      </a:cxn>
                      <a:cxn ang="0">
                        <a:pos x="38" y="4"/>
                      </a:cxn>
                      <a:cxn ang="0">
                        <a:pos x="40" y="4"/>
                      </a:cxn>
                      <a:cxn ang="0">
                        <a:pos x="40" y="6"/>
                      </a:cxn>
                      <a:cxn ang="0">
                        <a:pos x="34" y="6"/>
                      </a:cxn>
                      <a:cxn ang="0">
                        <a:pos x="30" y="8"/>
                      </a:cxn>
                      <a:cxn ang="0">
                        <a:pos x="16" y="6"/>
                      </a:cxn>
                      <a:cxn ang="0">
                        <a:pos x="14" y="4"/>
                      </a:cxn>
                      <a:cxn ang="0">
                        <a:pos x="8" y="2"/>
                      </a:cxn>
                      <a:cxn ang="0">
                        <a:pos x="2" y="2"/>
                      </a:cxn>
                      <a:cxn ang="0">
                        <a:pos x="0" y="0"/>
                      </a:cxn>
                      <a:cxn ang="0">
                        <a:pos x="2" y="0"/>
                      </a:cxn>
                    </a:cxnLst>
                    <a:rect l="0" t="0" r="r" b="b"/>
                    <a:pathLst>
                      <a:path w="40" h="8">
                        <a:moveTo>
                          <a:pt x="2" y="0"/>
                        </a:moveTo>
                        <a:lnTo>
                          <a:pt x="38" y="4"/>
                        </a:lnTo>
                        <a:lnTo>
                          <a:pt x="40" y="4"/>
                        </a:lnTo>
                        <a:lnTo>
                          <a:pt x="40" y="6"/>
                        </a:lnTo>
                        <a:lnTo>
                          <a:pt x="34" y="6"/>
                        </a:lnTo>
                        <a:lnTo>
                          <a:pt x="30" y="8"/>
                        </a:lnTo>
                        <a:lnTo>
                          <a:pt x="16" y="6"/>
                        </a:lnTo>
                        <a:lnTo>
                          <a:pt x="14" y="4"/>
                        </a:lnTo>
                        <a:lnTo>
                          <a:pt x="8" y="2"/>
                        </a:lnTo>
                        <a:lnTo>
                          <a:pt x="2"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3" name="Freeform 3297"/>
                  <p:cNvSpPr>
                    <a:spLocks/>
                  </p:cNvSpPr>
                  <p:nvPr/>
                </p:nvSpPr>
                <p:spPr bwMode="auto">
                  <a:xfrm>
                    <a:off x="6289439" y="5500664"/>
                    <a:ext cx="58180" cy="20778"/>
                  </a:xfrm>
                  <a:custGeom>
                    <a:avLst/>
                    <a:gdLst/>
                    <a:ahLst/>
                    <a:cxnLst>
                      <a:cxn ang="0">
                        <a:pos x="4" y="2"/>
                      </a:cxn>
                      <a:cxn ang="0">
                        <a:pos x="6" y="0"/>
                      </a:cxn>
                      <a:cxn ang="0">
                        <a:pos x="18" y="2"/>
                      </a:cxn>
                      <a:cxn ang="0">
                        <a:pos x="22" y="2"/>
                      </a:cxn>
                      <a:cxn ang="0">
                        <a:pos x="26" y="2"/>
                      </a:cxn>
                      <a:cxn ang="0">
                        <a:pos x="28" y="4"/>
                      </a:cxn>
                      <a:cxn ang="0">
                        <a:pos x="28" y="8"/>
                      </a:cxn>
                      <a:cxn ang="0">
                        <a:pos x="20" y="8"/>
                      </a:cxn>
                      <a:cxn ang="0">
                        <a:pos x="18" y="8"/>
                      </a:cxn>
                      <a:cxn ang="0">
                        <a:pos x="16" y="8"/>
                      </a:cxn>
                      <a:cxn ang="0">
                        <a:pos x="14" y="8"/>
                      </a:cxn>
                      <a:cxn ang="0">
                        <a:pos x="10" y="8"/>
                      </a:cxn>
                      <a:cxn ang="0">
                        <a:pos x="10" y="10"/>
                      </a:cxn>
                      <a:cxn ang="0">
                        <a:pos x="2" y="10"/>
                      </a:cxn>
                      <a:cxn ang="0">
                        <a:pos x="0" y="8"/>
                      </a:cxn>
                      <a:cxn ang="0">
                        <a:pos x="0" y="6"/>
                      </a:cxn>
                      <a:cxn ang="0">
                        <a:pos x="2" y="2"/>
                      </a:cxn>
                      <a:cxn ang="0">
                        <a:pos x="4" y="2"/>
                      </a:cxn>
                    </a:cxnLst>
                    <a:rect l="0" t="0" r="r" b="b"/>
                    <a:pathLst>
                      <a:path w="28" h="10">
                        <a:moveTo>
                          <a:pt x="4" y="2"/>
                        </a:moveTo>
                        <a:lnTo>
                          <a:pt x="6" y="0"/>
                        </a:lnTo>
                        <a:lnTo>
                          <a:pt x="18" y="2"/>
                        </a:lnTo>
                        <a:lnTo>
                          <a:pt x="22" y="2"/>
                        </a:lnTo>
                        <a:lnTo>
                          <a:pt x="26" y="2"/>
                        </a:lnTo>
                        <a:lnTo>
                          <a:pt x="28" y="4"/>
                        </a:lnTo>
                        <a:lnTo>
                          <a:pt x="28" y="8"/>
                        </a:lnTo>
                        <a:lnTo>
                          <a:pt x="20" y="8"/>
                        </a:lnTo>
                        <a:lnTo>
                          <a:pt x="18" y="8"/>
                        </a:lnTo>
                        <a:lnTo>
                          <a:pt x="16" y="8"/>
                        </a:lnTo>
                        <a:lnTo>
                          <a:pt x="14" y="8"/>
                        </a:lnTo>
                        <a:lnTo>
                          <a:pt x="10" y="8"/>
                        </a:lnTo>
                        <a:lnTo>
                          <a:pt x="10" y="10"/>
                        </a:lnTo>
                        <a:lnTo>
                          <a:pt x="2" y="10"/>
                        </a:lnTo>
                        <a:lnTo>
                          <a:pt x="0" y="8"/>
                        </a:lnTo>
                        <a:lnTo>
                          <a:pt x="0" y="6"/>
                        </a:lnTo>
                        <a:lnTo>
                          <a:pt x="2" y="2"/>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4" name="Freeform 3298"/>
                  <p:cNvSpPr>
                    <a:spLocks/>
                  </p:cNvSpPr>
                  <p:nvPr/>
                </p:nvSpPr>
                <p:spPr bwMode="auto">
                  <a:xfrm>
                    <a:off x="6596959" y="5504820"/>
                    <a:ext cx="41557" cy="20778"/>
                  </a:xfrm>
                  <a:custGeom>
                    <a:avLst/>
                    <a:gdLst/>
                    <a:ahLst/>
                    <a:cxnLst>
                      <a:cxn ang="0">
                        <a:pos x="16" y="0"/>
                      </a:cxn>
                      <a:cxn ang="0">
                        <a:pos x="18" y="2"/>
                      </a:cxn>
                      <a:cxn ang="0">
                        <a:pos x="20" y="4"/>
                      </a:cxn>
                      <a:cxn ang="0">
                        <a:pos x="20" y="8"/>
                      </a:cxn>
                      <a:cxn ang="0">
                        <a:pos x="14" y="10"/>
                      </a:cxn>
                      <a:cxn ang="0">
                        <a:pos x="10" y="10"/>
                      </a:cxn>
                      <a:cxn ang="0">
                        <a:pos x="4" y="8"/>
                      </a:cxn>
                      <a:cxn ang="0">
                        <a:pos x="0" y="6"/>
                      </a:cxn>
                      <a:cxn ang="0">
                        <a:pos x="0" y="4"/>
                      </a:cxn>
                      <a:cxn ang="0">
                        <a:pos x="2" y="4"/>
                      </a:cxn>
                      <a:cxn ang="0">
                        <a:pos x="6" y="2"/>
                      </a:cxn>
                      <a:cxn ang="0">
                        <a:pos x="8" y="0"/>
                      </a:cxn>
                      <a:cxn ang="0">
                        <a:pos x="16" y="0"/>
                      </a:cxn>
                    </a:cxnLst>
                    <a:rect l="0" t="0" r="r" b="b"/>
                    <a:pathLst>
                      <a:path w="20" h="10">
                        <a:moveTo>
                          <a:pt x="16" y="0"/>
                        </a:moveTo>
                        <a:lnTo>
                          <a:pt x="18" y="2"/>
                        </a:lnTo>
                        <a:lnTo>
                          <a:pt x="20" y="4"/>
                        </a:lnTo>
                        <a:lnTo>
                          <a:pt x="20" y="8"/>
                        </a:lnTo>
                        <a:lnTo>
                          <a:pt x="14" y="10"/>
                        </a:lnTo>
                        <a:lnTo>
                          <a:pt x="10" y="10"/>
                        </a:lnTo>
                        <a:lnTo>
                          <a:pt x="4" y="8"/>
                        </a:lnTo>
                        <a:lnTo>
                          <a:pt x="0" y="6"/>
                        </a:lnTo>
                        <a:lnTo>
                          <a:pt x="0" y="4"/>
                        </a:lnTo>
                        <a:lnTo>
                          <a:pt x="2" y="4"/>
                        </a:lnTo>
                        <a:lnTo>
                          <a:pt x="6" y="2"/>
                        </a:lnTo>
                        <a:lnTo>
                          <a:pt x="8" y="0"/>
                        </a:lnTo>
                        <a:lnTo>
                          <a:pt x="1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5" name="Freeform 3299"/>
                  <p:cNvSpPr>
                    <a:spLocks/>
                  </p:cNvSpPr>
                  <p:nvPr/>
                </p:nvSpPr>
                <p:spPr bwMode="auto">
                  <a:xfrm>
                    <a:off x="6347619" y="5508975"/>
                    <a:ext cx="58180" cy="8311"/>
                  </a:xfrm>
                  <a:custGeom>
                    <a:avLst/>
                    <a:gdLst/>
                    <a:ahLst/>
                    <a:cxnLst>
                      <a:cxn ang="0">
                        <a:pos x="2" y="0"/>
                      </a:cxn>
                      <a:cxn ang="0">
                        <a:pos x="2" y="2"/>
                      </a:cxn>
                      <a:cxn ang="0">
                        <a:pos x="10" y="2"/>
                      </a:cxn>
                      <a:cxn ang="0">
                        <a:pos x="12" y="0"/>
                      </a:cxn>
                      <a:cxn ang="0">
                        <a:pos x="20" y="0"/>
                      </a:cxn>
                      <a:cxn ang="0">
                        <a:pos x="22" y="2"/>
                      </a:cxn>
                      <a:cxn ang="0">
                        <a:pos x="28" y="2"/>
                      </a:cxn>
                      <a:cxn ang="0">
                        <a:pos x="26" y="2"/>
                      </a:cxn>
                      <a:cxn ang="0">
                        <a:pos x="24" y="4"/>
                      </a:cxn>
                      <a:cxn ang="0">
                        <a:pos x="2" y="4"/>
                      </a:cxn>
                      <a:cxn ang="0">
                        <a:pos x="0" y="4"/>
                      </a:cxn>
                      <a:cxn ang="0">
                        <a:pos x="0" y="2"/>
                      </a:cxn>
                      <a:cxn ang="0">
                        <a:pos x="0" y="0"/>
                      </a:cxn>
                      <a:cxn ang="0">
                        <a:pos x="2" y="0"/>
                      </a:cxn>
                    </a:cxnLst>
                    <a:rect l="0" t="0" r="r" b="b"/>
                    <a:pathLst>
                      <a:path w="28" h="4">
                        <a:moveTo>
                          <a:pt x="2" y="0"/>
                        </a:moveTo>
                        <a:lnTo>
                          <a:pt x="2" y="2"/>
                        </a:lnTo>
                        <a:lnTo>
                          <a:pt x="10" y="2"/>
                        </a:lnTo>
                        <a:lnTo>
                          <a:pt x="12" y="0"/>
                        </a:lnTo>
                        <a:lnTo>
                          <a:pt x="20" y="0"/>
                        </a:lnTo>
                        <a:lnTo>
                          <a:pt x="22" y="2"/>
                        </a:lnTo>
                        <a:lnTo>
                          <a:pt x="28" y="2"/>
                        </a:lnTo>
                        <a:lnTo>
                          <a:pt x="26" y="2"/>
                        </a:lnTo>
                        <a:lnTo>
                          <a:pt x="24" y="4"/>
                        </a:lnTo>
                        <a:lnTo>
                          <a:pt x="2" y="4"/>
                        </a:lnTo>
                        <a:lnTo>
                          <a:pt x="0" y="4"/>
                        </a:lnTo>
                        <a:lnTo>
                          <a:pt x="0"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6" name="Freeform 3300"/>
                  <p:cNvSpPr>
                    <a:spLocks/>
                  </p:cNvSpPr>
                  <p:nvPr/>
                </p:nvSpPr>
                <p:spPr bwMode="auto">
                  <a:xfrm>
                    <a:off x="6376708" y="5521442"/>
                    <a:ext cx="12467" cy="29090"/>
                  </a:xfrm>
                  <a:custGeom>
                    <a:avLst/>
                    <a:gdLst/>
                    <a:ahLst/>
                    <a:cxnLst>
                      <a:cxn ang="0">
                        <a:pos x="4" y="0"/>
                      </a:cxn>
                      <a:cxn ang="0">
                        <a:pos x="4" y="2"/>
                      </a:cxn>
                      <a:cxn ang="0">
                        <a:pos x="4" y="4"/>
                      </a:cxn>
                      <a:cxn ang="0">
                        <a:pos x="4" y="6"/>
                      </a:cxn>
                      <a:cxn ang="0">
                        <a:pos x="4" y="8"/>
                      </a:cxn>
                      <a:cxn ang="0">
                        <a:pos x="6" y="12"/>
                      </a:cxn>
                      <a:cxn ang="0">
                        <a:pos x="6" y="14"/>
                      </a:cxn>
                      <a:cxn ang="0">
                        <a:pos x="4" y="14"/>
                      </a:cxn>
                      <a:cxn ang="0">
                        <a:pos x="4" y="12"/>
                      </a:cxn>
                      <a:cxn ang="0">
                        <a:pos x="4" y="10"/>
                      </a:cxn>
                      <a:cxn ang="0">
                        <a:pos x="2" y="8"/>
                      </a:cxn>
                      <a:cxn ang="0">
                        <a:pos x="0" y="4"/>
                      </a:cxn>
                      <a:cxn ang="0">
                        <a:pos x="0" y="2"/>
                      </a:cxn>
                      <a:cxn ang="0">
                        <a:pos x="0" y="0"/>
                      </a:cxn>
                      <a:cxn ang="0">
                        <a:pos x="2" y="0"/>
                      </a:cxn>
                      <a:cxn ang="0">
                        <a:pos x="4" y="0"/>
                      </a:cxn>
                    </a:cxnLst>
                    <a:rect l="0" t="0" r="r" b="b"/>
                    <a:pathLst>
                      <a:path w="6" h="14">
                        <a:moveTo>
                          <a:pt x="4" y="0"/>
                        </a:moveTo>
                        <a:lnTo>
                          <a:pt x="4" y="2"/>
                        </a:lnTo>
                        <a:lnTo>
                          <a:pt x="4" y="4"/>
                        </a:lnTo>
                        <a:lnTo>
                          <a:pt x="4" y="6"/>
                        </a:lnTo>
                        <a:lnTo>
                          <a:pt x="4" y="8"/>
                        </a:lnTo>
                        <a:lnTo>
                          <a:pt x="6" y="12"/>
                        </a:lnTo>
                        <a:lnTo>
                          <a:pt x="6" y="14"/>
                        </a:lnTo>
                        <a:lnTo>
                          <a:pt x="4" y="14"/>
                        </a:lnTo>
                        <a:lnTo>
                          <a:pt x="4" y="12"/>
                        </a:lnTo>
                        <a:lnTo>
                          <a:pt x="4" y="10"/>
                        </a:lnTo>
                        <a:lnTo>
                          <a:pt x="2" y="8"/>
                        </a:lnTo>
                        <a:lnTo>
                          <a:pt x="0" y="4"/>
                        </a:lnTo>
                        <a:lnTo>
                          <a:pt x="0" y="2"/>
                        </a:lnTo>
                        <a:lnTo>
                          <a:pt x="0" y="0"/>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7" name="Freeform 3301"/>
                  <p:cNvSpPr>
                    <a:spLocks/>
                  </p:cNvSpPr>
                  <p:nvPr/>
                </p:nvSpPr>
                <p:spPr bwMode="auto">
                  <a:xfrm>
                    <a:off x="4880664" y="5521442"/>
                    <a:ext cx="16623" cy="20778"/>
                  </a:xfrm>
                  <a:custGeom>
                    <a:avLst/>
                    <a:gdLst/>
                    <a:ahLst/>
                    <a:cxnLst>
                      <a:cxn ang="0">
                        <a:pos x="8" y="10"/>
                      </a:cxn>
                      <a:cxn ang="0">
                        <a:pos x="6" y="10"/>
                      </a:cxn>
                      <a:cxn ang="0">
                        <a:pos x="2" y="8"/>
                      </a:cxn>
                      <a:cxn ang="0">
                        <a:pos x="0" y="4"/>
                      </a:cxn>
                      <a:cxn ang="0">
                        <a:pos x="0" y="2"/>
                      </a:cxn>
                      <a:cxn ang="0">
                        <a:pos x="2" y="2"/>
                      </a:cxn>
                      <a:cxn ang="0">
                        <a:pos x="2" y="0"/>
                      </a:cxn>
                      <a:cxn ang="0">
                        <a:pos x="4" y="2"/>
                      </a:cxn>
                      <a:cxn ang="0">
                        <a:pos x="4" y="4"/>
                      </a:cxn>
                      <a:cxn ang="0">
                        <a:pos x="8" y="8"/>
                      </a:cxn>
                      <a:cxn ang="0">
                        <a:pos x="8" y="10"/>
                      </a:cxn>
                    </a:cxnLst>
                    <a:rect l="0" t="0" r="r" b="b"/>
                    <a:pathLst>
                      <a:path w="8" h="10">
                        <a:moveTo>
                          <a:pt x="8" y="10"/>
                        </a:moveTo>
                        <a:lnTo>
                          <a:pt x="6" y="10"/>
                        </a:lnTo>
                        <a:lnTo>
                          <a:pt x="2" y="8"/>
                        </a:lnTo>
                        <a:lnTo>
                          <a:pt x="0" y="4"/>
                        </a:lnTo>
                        <a:lnTo>
                          <a:pt x="0" y="2"/>
                        </a:lnTo>
                        <a:lnTo>
                          <a:pt x="2" y="2"/>
                        </a:lnTo>
                        <a:lnTo>
                          <a:pt x="2" y="0"/>
                        </a:lnTo>
                        <a:lnTo>
                          <a:pt x="4" y="2"/>
                        </a:lnTo>
                        <a:lnTo>
                          <a:pt x="4" y="4"/>
                        </a:lnTo>
                        <a:lnTo>
                          <a:pt x="8" y="8"/>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8" name="Freeform 3302"/>
                  <p:cNvSpPr>
                    <a:spLocks/>
                  </p:cNvSpPr>
                  <p:nvPr/>
                </p:nvSpPr>
                <p:spPr bwMode="auto">
                  <a:xfrm>
                    <a:off x="4905598" y="5550532"/>
                    <a:ext cx="12467" cy="20778"/>
                  </a:xfrm>
                  <a:custGeom>
                    <a:avLst/>
                    <a:gdLst/>
                    <a:ahLst/>
                    <a:cxnLst>
                      <a:cxn ang="0">
                        <a:pos x="6" y="8"/>
                      </a:cxn>
                      <a:cxn ang="0">
                        <a:pos x="4" y="8"/>
                      </a:cxn>
                      <a:cxn ang="0">
                        <a:pos x="2" y="10"/>
                      </a:cxn>
                      <a:cxn ang="0">
                        <a:pos x="2" y="8"/>
                      </a:cxn>
                      <a:cxn ang="0">
                        <a:pos x="0" y="8"/>
                      </a:cxn>
                      <a:cxn ang="0">
                        <a:pos x="0" y="0"/>
                      </a:cxn>
                      <a:cxn ang="0">
                        <a:pos x="6" y="4"/>
                      </a:cxn>
                      <a:cxn ang="0">
                        <a:pos x="6" y="8"/>
                      </a:cxn>
                    </a:cxnLst>
                    <a:rect l="0" t="0" r="r" b="b"/>
                    <a:pathLst>
                      <a:path w="6" h="10">
                        <a:moveTo>
                          <a:pt x="6" y="8"/>
                        </a:moveTo>
                        <a:lnTo>
                          <a:pt x="4" y="8"/>
                        </a:lnTo>
                        <a:lnTo>
                          <a:pt x="2" y="10"/>
                        </a:lnTo>
                        <a:lnTo>
                          <a:pt x="2" y="8"/>
                        </a:lnTo>
                        <a:lnTo>
                          <a:pt x="0" y="8"/>
                        </a:lnTo>
                        <a:lnTo>
                          <a:pt x="0" y="0"/>
                        </a:lnTo>
                        <a:lnTo>
                          <a:pt x="6" y="4"/>
                        </a:lnTo>
                        <a:lnTo>
                          <a:pt x="6" y="8"/>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699" name="Freeform 3303"/>
                  <p:cNvSpPr>
                    <a:spLocks/>
                  </p:cNvSpPr>
                  <p:nvPr/>
                </p:nvSpPr>
                <p:spPr bwMode="auto">
                  <a:xfrm>
                    <a:off x="5337789" y="5554688"/>
                    <a:ext cx="41557" cy="37401"/>
                  </a:xfrm>
                  <a:custGeom>
                    <a:avLst/>
                    <a:gdLst/>
                    <a:ahLst/>
                    <a:cxnLst>
                      <a:cxn ang="0">
                        <a:pos x="20" y="8"/>
                      </a:cxn>
                      <a:cxn ang="0">
                        <a:pos x="18" y="10"/>
                      </a:cxn>
                      <a:cxn ang="0">
                        <a:pos x="16" y="12"/>
                      </a:cxn>
                      <a:cxn ang="0">
                        <a:pos x="16" y="16"/>
                      </a:cxn>
                      <a:cxn ang="0">
                        <a:pos x="14" y="16"/>
                      </a:cxn>
                      <a:cxn ang="0">
                        <a:pos x="14" y="18"/>
                      </a:cxn>
                      <a:cxn ang="0">
                        <a:pos x="10" y="18"/>
                      </a:cxn>
                      <a:cxn ang="0">
                        <a:pos x="10" y="16"/>
                      </a:cxn>
                      <a:cxn ang="0">
                        <a:pos x="8" y="12"/>
                      </a:cxn>
                      <a:cxn ang="0">
                        <a:pos x="8" y="14"/>
                      </a:cxn>
                      <a:cxn ang="0">
                        <a:pos x="6" y="14"/>
                      </a:cxn>
                      <a:cxn ang="0">
                        <a:pos x="8" y="14"/>
                      </a:cxn>
                      <a:cxn ang="0">
                        <a:pos x="6" y="16"/>
                      </a:cxn>
                      <a:cxn ang="0">
                        <a:pos x="2" y="18"/>
                      </a:cxn>
                      <a:cxn ang="0">
                        <a:pos x="0" y="18"/>
                      </a:cxn>
                      <a:cxn ang="0">
                        <a:pos x="0" y="10"/>
                      </a:cxn>
                      <a:cxn ang="0">
                        <a:pos x="0" y="6"/>
                      </a:cxn>
                      <a:cxn ang="0">
                        <a:pos x="2" y="6"/>
                      </a:cxn>
                      <a:cxn ang="0">
                        <a:pos x="2" y="0"/>
                      </a:cxn>
                      <a:cxn ang="0">
                        <a:pos x="4" y="0"/>
                      </a:cxn>
                      <a:cxn ang="0">
                        <a:pos x="6" y="0"/>
                      </a:cxn>
                      <a:cxn ang="0">
                        <a:pos x="14" y="0"/>
                      </a:cxn>
                      <a:cxn ang="0">
                        <a:pos x="18" y="6"/>
                      </a:cxn>
                      <a:cxn ang="0">
                        <a:pos x="20" y="8"/>
                      </a:cxn>
                    </a:cxnLst>
                    <a:rect l="0" t="0" r="r" b="b"/>
                    <a:pathLst>
                      <a:path w="20" h="18">
                        <a:moveTo>
                          <a:pt x="20" y="8"/>
                        </a:moveTo>
                        <a:lnTo>
                          <a:pt x="18" y="10"/>
                        </a:lnTo>
                        <a:lnTo>
                          <a:pt x="16" y="12"/>
                        </a:lnTo>
                        <a:lnTo>
                          <a:pt x="16" y="16"/>
                        </a:lnTo>
                        <a:lnTo>
                          <a:pt x="14" y="16"/>
                        </a:lnTo>
                        <a:lnTo>
                          <a:pt x="14" y="18"/>
                        </a:lnTo>
                        <a:lnTo>
                          <a:pt x="10" y="18"/>
                        </a:lnTo>
                        <a:lnTo>
                          <a:pt x="10" y="16"/>
                        </a:lnTo>
                        <a:lnTo>
                          <a:pt x="8" y="12"/>
                        </a:lnTo>
                        <a:lnTo>
                          <a:pt x="8" y="14"/>
                        </a:lnTo>
                        <a:lnTo>
                          <a:pt x="6" y="14"/>
                        </a:lnTo>
                        <a:lnTo>
                          <a:pt x="8" y="14"/>
                        </a:lnTo>
                        <a:lnTo>
                          <a:pt x="6" y="16"/>
                        </a:lnTo>
                        <a:lnTo>
                          <a:pt x="2" y="18"/>
                        </a:lnTo>
                        <a:lnTo>
                          <a:pt x="0" y="18"/>
                        </a:lnTo>
                        <a:lnTo>
                          <a:pt x="0" y="10"/>
                        </a:lnTo>
                        <a:lnTo>
                          <a:pt x="0" y="6"/>
                        </a:lnTo>
                        <a:lnTo>
                          <a:pt x="2" y="6"/>
                        </a:lnTo>
                        <a:lnTo>
                          <a:pt x="2" y="0"/>
                        </a:lnTo>
                        <a:lnTo>
                          <a:pt x="4" y="0"/>
                        </a:lnTo>
                        <a:lnTo>
                          <a:pt x="6" y="0"/>
                        </a:lnTo>
                        <a:lnTo>
                          <a:pt x="14" y="0"/>
                        </a:lnTo>
                        <a:lnTo>
                          <a:pt x="18" y="6"/>
                        </a:lnTo>
                        <a:lnTo>
                          <a:pt x="2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0" name="Freeform 3304"/>
                  <p:cNvSpPr>
                    <a:spLocks/>
                  </p:cNvSpPr>
                  <p:nvPr/>
                </p:nvSpPr>
                <p:spPr bwMode="auto">
                  <a:xfrm>
                    <a:off x="4918065" y="5567155"/>
                    <a:ext cx="16623" cy="33245"/>
                  </a:xfrm>
                  <a:custGeom>
                    <a:avLst/>
                    <a:gdLst/>
                    <a:ahLst/>
                    <a:cxnLst>
                      <a:cxn ang="0">
                        <a:pos x="8" y="16"/>
                      </a:cxn>
                      <a:cxn ang="0">
                        <a:pos x="8" y="14"/>
                      </a:cxn>
                      <a:cxn ang="0">
                        <a:pos x="6" y="14"/>
                      </a:cxn>
                      <a:cxn ang="0">
                        <a:pos x="4" y="12"/>
                      </a:cxn>
                      <a:cxn ang="0">
                        <a:pos x="4" y="10"/>
                      </a:cxn>
                      <a:cxn ang="0">
                        <a:pos x="4" y="8"/>
                      </a:cxn>
                      <a:cxn ang="0">
                        <a:pos x="2" y="8"/>
                      </a:cxn>
                      <a:cxn ang="0">
                        <a:pos x="0" y="6"/>
                      </a:cxn>
                      <a:cxn ang="0">
                        <a:pos x="0" y="4"/>
                      </a:cxn>
                      <a:cxn ang="0">
                        <a:pos x="0" y="0"/>
                      </a:cxn>
                      <a:cxn ang="0">
                        <a:pos x="2" y="0"/>
                      </a:cxn>
                      <a:cxn ang="0">
                        <a:pos x="4" y="2"/>
                      </a:cxn>
                      <a:cxn ang="0">
                        <a:pos x="4" y="4"/>
                      </a:cxn>
                      <a:cxn ang="0">
                        <a:pos x="8" y="6"/>
                      </a:cxn>
                      <a:cxn ang="0">
                        <a:pos x="8" y="10"/>
                      </a:cxn>
                      <a:cxn ang="0">
                        <a:pos x="6" y="10"/>
                      </a:cxn>
                      <a:cxn ang="0">
                        <a:pos x="6" y="12"/>
                      </a:cxn>
                      <a:cxn ang="0">
                        <a:pos x="8" y="12"/>
                      </a:cxn>
                      <a:cxn ang="0">
                        <a:pos x="8" y="14"/>
                      </a:cxn>
                      <a:cxn ang="0">
                        <a:pos x="8" y="16"/>
                      </a:cxn>
                    </a:cxnLst>
                    <a:rect l="0" t="0" r="r" b="b"/>
                    <a:pathLst>
                      <a:path w="8" h="16">
                        <a:moveTo>
                          <a:pt x="8" y="16"/>
                        </a:moveTo>
                        <a:lnTo>
                          <a:pt x="8" y="14"/>
                        </a:lnTo>
                        <a:lnTo>
                          <a:pt x="6" y="14"/>
                        </a:lnTo>
                        <a:lnTo>
                          <a:pt x="4" y="12"/>
                        </a:lnTo>
                        <a:lnTo>
                          <a:pt x="4" y="10"/>
                        </a:lnTo>
                        <a:lnTo>
                          <a:pt x="4" y="8"/>
                        </a:lnTo>
                        <a:lnTo>
                          <a:pt x="2" y="8"/>
                        </a:lnTo>
                        <a:lnTo>
                          <a:pt x="0" y="6"/>
                        </a:lnTo>
                        <a:lnTo>
                          <a:pt x="0" y="4"/>
                        </a:lnTo>
                        <a:lnTo>
                          <a:pt x="0" y="0"/>
                        </a:lnTo>
                        <a:lnTo>
                          <a:pt x="2" y="0"/>
                        </a:lnTo>
                        <a:lnTo>
                          <a:pt x="4" y="2"/>
                        </a:lnTo>
                        <a:lnTo>
                          <a:pt x="4" y="4"/>
                        </a:lnTo>
                        <a:lnTo>
                          <a:pt x="8" y="6"/>
                        </a:lnTo>
                        <a:lnTo>
                          <a:pt x="8" y="10"/>
                        </a:lnTo>
                        <a:lnTo>
                          <a:pt x="6" y="10"/>
                        </a:lnTo>
                        <a:lnTo>
                          <a:pt x="6" y="12"/>
                        </a:lnTo>
                        <a:lnTo>
                          <a:pt x="8" y="12"/>
                        </a:lnTo>
                        <a:lnTo>
                          <a:pt x="8" y="14"/>
                        </a:lnTo>
                        <a:lnTo>
                          <a:pt x="8"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1" name="Freeform 3305"/>
                  <p:cNvSpPr>
                    <a:spLocks/>
                  </p:cNvSpPr>
                  <p:nvPr/>
                </p:nvSpPr>
                <p:spPr bwMode="auto">
                  <a:xfrm>
                    <a:off x="6488912" y="5567155"/>
                    <a:ext cx="174539" cy="62335"/>
                  </a:xfrm>
                  <a:custGeom>
                    <a:avLst/>
                    <a:gdLst/>
                    <a:ahLst/>
                    <a:cxnLst>
                      <a:cxn ang="0">
                        <a:pos x="2" y="18"/>
                      </a:cxn>
                      <a:cxn ang="0">
                        <a:pos x="2" y="14"/>
                      </a:cxn>
                      <a:cxn ang="0">
                        <a:pos x="0" y="10"/>
                      </a:cxn>
                      <a:cxn ang="0">
                        <a:pos x="28" y="2"/>
                      </a:cxn>
                      <a:cxn ang="0">
                        <a:pos x="34" y="4"/>
                      </a:cxn>
                      <a:cxn ang="0">
                        <a:pos x="38" y="4"/>
                      </a:cxn>
                      <a:cxn ang="0">
                        <a:pos x="42" y="0"/>
                      </a:cxn>
                      <a:cxn ang="0">
                        <a:pos x="54" y="2"/>
                      </a:cxn>
                      <a:cxn ang="0">
                        <a:pos x="60" y="4"/>
                      </a:cxn>
                      <a:cxn ang="0">
                        <a:pos x="64" y="6"/>
                      </a:cxn>
                      <a:cxn ang="0">
                        <a:pos x="70" y="4"/>
                      </a:cxn>
                      <a:cxn ang="0">
                        <a:pos x="76" y="16"/>
                      </a:cxn>
                      <a:cxn ang="0">
                        <a:pos x="80" y="16"/>
                      </a:cxn>
                      <a:cxn ang="0">
                        <a:pos x="84" y="22"/>
                      </a:cxn>
                      <a:cxn ang="0">
                        <a:pos x="82" y="28"/>
                      </a:cxn>
                      <a:cxn ang="0">
                        <a:pos x="82" y="28"/>
                      </a:cxn>
                      <a:cxn ang="0">
                        <a:pos x="74" y="26"/>
                      </a:cxn>
                      <a:cxn ang="0">
                        <a:pos x="70" y="22"/>
                      </a:cxn>
                      <a:cxn ang="0">
                        <a:pos x="60" y="18"/>
                      </a:cxn>
                      <a:cxn ang="0">
                        <a:pos x="58" y="16"/>
                      </a:cxn>
                      <a:cxn ang="0">
                        <a:pos x="54" y="14"/>
                      </a:cxn>
                      <a:cxn ang="0">
                        <a:pos x="46" y="16"/>
                      </a:cxn>
                      <a:cxn ang="0">
                        <a:pos x="48" y="18"/>
                      </a:cxn>
                      <a:cxn ang="0">
                        <a:pos x="44" y="18"/>
                      </a:cxn>
                      <a:cxn ang="0">
                        <a:pos x="34" y="16"/>
                      </a:cxn>
                      <a:cxn ang="0">
                        <a:pos x="32" y="12"/>
                      </a:cxn>
                      <a:cxn ang="0">
                        <a:pos x="24" y="16"/>
                      </a:cxn>
                      <a:cxn ang="0">
                        <a:pos x="18" y="18"/>
                      </a:cxn>
                      <a:cxn ang="0">
                        <a:pos x="10" y="12"/>
                      </a:cxn>
                      <a:cxn ang="0">
                        <a:pos x="10" y="8"/>
                      </a:cxn>
                      <a:cxn ang="0">
                        <a:pos x="8" y="10"/>
                      </a:cxn>
                      <a:cxn ang="0">
                        <a:pos x="6" y="14"/>
                      </a:cxn>
                      <a:cxn ang="0">
                        <a:pos x="4" y="16"/>
                      </a:cxn>
                      <a:cxn ang="0">
                        <a:pos x="2" y="22"/>
                      </a:cxn>
                    </a:cxnLst>
                    <a:rect l="0" t="0" r="r" b="b"/>
                    <a:pathLst>
                      <a:path w="84" h="30">
                        <a:moveTo>
                          <a:pt x="2" y="22"/>
                        </a:moveTo>
                        <a:lnTo>
                          <a:pt x="2" y="18"/>
                        </a:lnTo>
                        <a:lnTo>
                          <a:pt x="2" y="16"/>
                        </a:lnTo>
                        <a:lnTo>
                          <a:pt x="2" y="14"/>
                        </a:lnTo>
                        <a:lnTo>
                          <a:pt x="2" y="12"/>
                        </a:lnTo>
                        <a:lnTo>
                          <a:pt x="0" y="10"/>
                        </a:lnTo>
                        <a:lnTo>
                          <a:pt x="10" y="2"/>
                        </a:lnTo>
                        <a:lnTo>
                          <a:pt x="28" y="2"/>
                        </a:lnTo>
                        <a:lnTo>
                          <a:pt x="30" y="2"/>
                        </a:lnTo>
                        <a:lnTo>
                          <a:pt x="34" y="4"/>
                        </a:lnTo>
                        <a:lnTo>
                          <a:pt x="36" y="4"/>
                        </a:lnTo>
                        <a:lnTo>
                          <a:pt x="38" y="4"/>
                        </a:lnTo>
                        <a:lnTo>
                          <a:pt x="42" y="2"/>
                        </a:lnTo>
                        <a:lnTo>
                          <a:pt x="42" y="0"/>
                        </a:lnTo>
                        <a:lnTo>
                          <a:pt x="46" y="0"/>
                        </a:lnTo>
                        <a:lnTo>
                          <a:pt x="54" y="2"/>
                        </a:lnTo>
                        <a:lnTo>
                          <a:pt x="54" y="4"/>
                        </a:lnTo>
                        <a:lnTo>
                          <a:pt x="60" y="4"/>
                        </a:lnTo>
                        <a:lnTo>
                          <a:pt x="60" y="6"/>
                        </a:lnTo>
                        <a:lnTo>
                          <a:pt x="64" y="6"/>
                        </a:lnTo>
                        <a:lnTo>
                          <a:pt x="66" y="4"/>
                        </a:lnTo>
                        <a:lnTo>
                          <a:pt x="70" y="4"/>
                        </a:lnTo>
                        <a:lnTo>
                          <a:pt x="76" y="10"/>
                        </a:lnTo>
                        <a:lnTo>
                          <a:pt x="76" y="16"/>
                        </a:lnTo>
                        <a:lnTo>
                          <a:pt x="78" y="16"/>
                        </a:lnTo>
                        <a:lnTo>
                          <a:pt x="80" y="16"/>
                        </a:lnTo>
                        <a:lnTo>
                          <a:pt x="82" y="18"/>
                        </a:lnTo>
                        <a:lnTo>
                          <a:pt x="84" y="22"/>
                        </a:lnTo>
                        <a:lnTo>
                          <a:pt x="82" y="24"/>
                        </a:lnTo>
                        <a:lnTo>
                          <a:pt x="82" y="28"/>
                        </a:lnTo>
                        <a:lnTo>
                          <a:pt x="82" y="30"/>
                        </a:lnTo>
                        <a:lnTo>
                          <a:pt x="82" y="28"/>
                        </a:lnTo>
                        <a:lnTo>
                          <a:pt x="76" y="28"/>
                        </a:lnTo>
                        <a:lnTo>
                          <a:pt x="74" y="26"/>
                        </a:lnTo>
                        <a:lnTo>
                          <a:pt x="72" y="24"/>
                        </a:lnTo>
                        <a:lnTo>
                          <a:pt x="70" y="22"/>
                        </a:lnTo>
                        <a:lnTo>
                          <a:pt x="62" y="20"/>
                        </a:lnTo>
                        <a:lnTo>
                          <a:pt x="60" y="18"/>
                        </a:lnTo>
                        <a:lnTo>
                          <a:pt x="58" y="18"/>
                        </a:lnTo>
                        <a:lnTo>
                          <a:pt x="58" y="16"/>
                        </a:lnTo>
                        <a:lnTo>
                          <a:pt x="56" y="16"/>
                        </a:lnTo>
                        <a:lnTo>
                          <a:pt x="54" y="14"/>
                        </a:lnTo>
                        <a:lnTo>
                          <a:pt x="46" y="14"/>
                        </a:lnTo>
                        <a:lnTo>
                          <a:pt x="46" y="16"/>
                        </a:lnTo>
                        <a:lnTo>
                          <a:pt x="48" y="16"/>
                        </a:lnTo>
                        <a:lnTo>
                          <a:pt x="48" y="18"/>
                        </a:lnTo>
                        <a:lnTo>
                          <a:pt x="46" y="18"/>
                        </a:lnTo>
                        <a:lnTo>
                          <a:pt x="44" y="18"/>
                        </a:lnTo>
                        <a:lnTo>
                          <a:pt x="38" y="16"/>
                        </a:lnTo>
                        <a:lnTo>
                          <a:pt x="34" y="16"/>
                        </a:lnTo>
                        <a:lnTo>
                          <a:pt x="32" y="16"/>
                        </a:lnTo>
                        <a:lnTo>
                          <a:pt x="32" y="12"/>
                        </a:lnTo>
                        <a:lnTo>
                          <a:pt x="28" y="12"/>
                        </a:lnTo>
                        <a:lnTo>
                          <a:pt x="24" y="16"/>
                        </a:lnTo>
                        <a:lnTo>
                          <a:pt x="22" y="18"/>
                        </a:lnTo>
                        <a:lnTo>
                          <a:pt x="18" y="18"/>
                        </a:lnTo>
                        <a:lnTo>
                          <a:pt x="14" y="12"/>
                        </a:lnTo>
                        <a:lnTo>
                          <a:pt x="10" y="12"/>
                        </a:lnTo>
                        <a:lnTo>
                          <a:pt x="10" y="10"/>
                        </a:lnTo>
                        <a:lnTo>
                          <a:pt x="10" y="8"/>
                        </a:lnTo>
                        <a:lnTo>
                          <a:pt x="8" y="8"/>
                        </a:lnTo>
                        <a:lnTo>
                          <a:pt x="8" y="10"/>
                        </a:lnTo>
                        <a:lnTo>
                          <a:pt x="6" y="10"/>
                        </a:lnTo>
                        <a:lnTo>
                          <a:pt x="6" y="14"/>
                        </a:lnTo>
                        <a:lnTo>
                          <a:pt x="6" y="16"/>
                        </a:lnTo>
                        <a:lnTo>
                          <a:pt x="4" y="16"/>
                        </a:lnTo>
                        <a:lnTo>
                          <a:pt x="2" y="18"/>
                        </a:lnTo>
                        <a:lnTo>
                          <a:pt x="2"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2" name="Freeform 3306"/>
                  <p:cNvSpPr>
                    <a:spLocks/>
                  </p:cNvSpPr>
                  <p:nvPr/>
                </p:nvSpPr>
                <p:spPr bwMode="auto">
                  <a:xfrm>
                    <a:off x="5287921" y="5571311"/>
                    <a:ext cx="12467" cy="8311"/>
                  </a:xfrm>
                  <a:custGeom>
                    <a:avLst/>
                    <a:gdLst/>
                    <a:ahLst/>
                    <a:cxnLst>
                      <a:cxn ang="0">
                        <a:pos x="4" y="2"/>
                      </a:cxn>
                      <a:cxn ang="0">
                        <a:pos x="6" y="2"/>
                      </a:cxn>
                      <a:cxn ang="0">
                        <a:pos x="6" y="4"/>
                      </a:cxn>
                      <a:cxn ang="0">
                        <a:pos x="4" y="4"/>
                      </a:cxn>
                      <a:cxn ang="0">
                        <a:pos x="0" y="2"/>
                      </a:cxn>
                      <a:cxn ang="0">
                        <a:pos x="2" y="0"/>
                      </a:cxn>
                      <a:cxn ang="0">
                        <a:pos x="4" y="2"/>
                      </a:cxn>
                    </a:cxnLst>
                    <a:rect l="0" t="0" r="r" b="b"/>
                    <a:pathLst>
                      <a:path w="6" h="4">
                        <a:moveTo>
                          <a:pt x="4" y="2"/>
                        </a:moveTo>
                        <a:lnTo>
                          <a:pt x="6" y="2"/>
                        </a:lnTo>
                        <a:lnTo>
                          <a:pt x="6" y="4"/>
                        </a:lnTo>
                        <a:lnTo>
                          <a:pt x="4" y="4"/>
                        </a:lnTo>
                        <a:lnTo>
                          <a:pt x="0" y="2"/>
                        </a:lnTo>
                        <a:lnTo>
                          <a:pt x="2"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3" name="Freeform 3307"/>
                  <p:cNvSpPr>
                    <a:spLocks/>
                  </p:cNvSpPr>
                  <p:nvPr/>
                </p:nvSpPr>
                <p:spPr bwMode="auto">
                  <a:xfrm>
                    <a:off x="6385020" y="5583778"/>
                    <a:ext cx="70647" cy="41557"/>
                  </a:xfrm>
                  <a:custGeom>
                    <a:avLst/>
                    <a:gdLst/>
                    <a:ahLst/>
                    <a:cxnLst>
                      <a:cxn ang="0">
                        <a:pos x="4" y="2"/>
                      </a:cxn>
                      <a:cxn ang="0">
                        <a:pos x="6" y="2"/>
                      </a:cxn>
                      <a:cxn ang="0">
                        <a:pos x="8" y="0"/>
                      </a:cxn>
                      <a:cxn ang="0">
                        <a:pos x="22" y="0"/>
                      </a:cxn>
                      <a:cxn ang="0">
                        <a:pos x="28" y="2"/>
                      </a:cxn>
                      <a:cxn ang="0">
                        <a:pos x="30" y="2"/>
                      </a:cxn>
                      <a:cxn ang="0">
                        <a:pos x="30" y="4"/>
                      </a:cxn>
                      <a:cxn ang="0">
                        <a:pos x="30" y="6"/>
                      </a:cxn>
                      <a:cxn ang="0">
                        <a:pos x="28" y="4"/>
                      </a:cxn>
                      <a:cxn ang="0">
                        <a:pos x="28" y="6"/>
                      </a:cxn>
                      <a:cxn ang="0">
                        <a:pos x="30" y="8"/>
                      </a:cxn>
                      <a:cxn ang="0">
                        <a:pos x="32" y="8"/>
                      </a:cxn>
                      <a:cxn ang="0">
                        <a:pos x="34" y="8"/>
                      </a:cxn>
                      <a:cxn ang="0">
                        <a:pos x="34" y="14"/>
                      </a:cxn>
                      <a:cxn ang="0">
                        <a:pos x="34" y="16"/>
                      </a:cxn>
                      <a:cxn ang="0">
                        <a:pos x="30" y="16"/>
                      </a:cxn>
                      <a:cxn ang="0">
                        <a:pos x="28" y="16"/>
                      </a:cxn>
                      <a:cxn ang="0">
                        <a:pos x="28" y="18"/>
                      </a:cxn>
                      <a:cxn ang="0">
                        <a:pos x="24" y="20"/>
                      </a:cxn>
                      <a:cxn ang="0">
                        <a:pos x="20" y="20"/>
                      </a:cxn>
                      <a:cxn ang="0">
                        <a:pos x="18" y="20"/>
                      </a:cxn>
                      <a:cxn ang="0">
                        <a:pos x="10" y="18"/>
                      </a:cxn>
                      <a:cxn ang="0">
                        <a:pos x="2" y="10"/>
                      </a:cxn>
                      <a:cxn ang="0">
                        <a:pos x="0" y="10"/>
                      </a:cxn>
                      <a:cxn ang="0">
                        <a:pos x="0" y="2"/>
                      </a:cxn>
                      <a:cxn ang="0">
                        <a:pos x="2" y="0"/>
                      </a:cxn>
                      <a:cxn ang="0">
                        <a:pos x="4" y="0"/>
                      </a:cxn>
                      <a:cxn ang="0">
                        <a:pos x="4" y="2"/>
                      </a:cxn>
                    </a:cxnLst>
                    <a:rect l="0" t="0" r="r" b="b"/>
                    <a:pathLst>
                      <a:path w="34" h="20">
                        <a:moveTo>
                          <a:pt x="4" y="2"/>
                        </a:moveTo>
                        <a:lnTo>
                          <a:pt x="6" y="2"/>
                        </a:lnTo>
                        <a:lnTo>
                          <a:pt x="8" y="0"/>
                        </a:lnTo>
                        <a:lnTo>
                          <a:pt x="22" y="0"/>
                        </a:lnTo>
                        <a:lnTo>
                          <a:pt x="28" y="2"/>
                        </a:lnTo>
                        <a:lnTo>
                          <a:pt x="30" y="2"/>
                        </a:lnTo>
                        <a:lnTo>
                          <a:pt x="30" y="4"/>
                        </a:lnTo>
                        <a:lnTo>
                          <a:pt x="30" y="6"/>
                        </a:lnTo>
                        <a:lnTo>
                          <a:pt x="28" y="4"/>
                        </a:lnTo>
                        <a:lnTo>
                          <a:pt x="28" y="6"/>
                        </a:lnTo>
                        <a:lnTo>
                          <a:pt x="30" y="8"/>
                        </a:lnTo>
                        <a:lnTo>
                          <a:pt x="32" y="8"/>
                        </a:lnTo>
                        <a:lnTo>
                          <a:pt x="34" y="8"/>
                        </a:lnTo>
                        <a:lnTo>
                          <a:pt x="34" y="14"/>
                        </a:lnTo>
                        <a:lnTo>
                          <a:pt x="34" y="16"/>
                        </a:lnTo>
                        <a:lnTo>
                          <a:pt x="30" y="16"/>
                        </a:lnTo>
                        <a:lnTo>
                          <a:pt x="28" y="16"/>
                        </a:lnTo>
                        <a:lnTo>
                          <a:pt x="28" y="18"/>
                        </a:lnTo>
                        <a:lnTo>
                          <a:pt x="24" y="20"/>
                        </a:lnTo>
                        <a:lnTo>
                          <a:pt x="20" y="20"/>
                        </a:lnTo>
                        <a:lnTo>
                          <a:pt x="18" y="20"/>
                        </a:lnTo>
                        <a:lnTo>
                          <a:pt x="10" y="18"/>
                        </a:lnTo>
                        <a:lnTo>
                          <a:pt x="2" y="10"/>
                        </a:lnTo>
                        <a:lnTo>
                          <a:pt x="0" y="10"/>
                        </a:lnTo>
                        <a:lnTo>
                          <a:pt x="0" y="2"/>
                        </a:lnTo>
                        <a:lnTo>
                          <a:pt x="2" y="0"/>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4" name="Freeform 3308"/>
                  <p:cNvSpPr>
                    <a:spLocks/>
                  </p:cNvSpPr>
                  <p:nvPr/>
                </p:nvSpPr>
                <p:spPr bwMode="auto">
                  <a:xfrm>
                    <a:off x="6476445" y="5587933"/>
                    <a:ext cx="8311" cy="4156"/>
                  </a:xfrm>
                  <a:custGeom>
                    <a:avLst/>
                    <a:gdLst/>
                    <a:ahLst/>
                    <a:cxnLst>
                      <a:cxn ang="0">
                        <a:pos x="2" y="0"/>
                      </a:cxn>
                      <a:cxn ang="0">
                        <a:pos x="4" y="0"/>
                      </a:cxn>
                      <a:cxn ang="0">
                        <a:pos x="4" y="2"/>
                      </a:cxn>
                      <a:cxn ang="0">
                        <a:pos x="2" y="2"/>
                      </a:cxn>
                      <a:cxn ang="0">
                        <a:pos x="0" y="2"/>
                      </a:cxn>
                      <a:cxn ang="0">
                        <a:pos x="2" y="0"/>
                      </a:cxn>
                    </a:cxnLst>
                    <a:rect l="0" t="0" r="r" b="b"/>
                    <a:pathLst>
                      <a:path w="4" h="2">
                        <a:moveTo>
                          <a:pt x="2" y="0"/>
                        </a:moveTo>
                        <a:lnTo>
                          <a:pt x="4" y="0"/>
                        </a:lnTo>
                        <a:lnTo>
                          <a:pt x="4" y="2"/>
                        </a:lnTo>
                        <a:lnTo>
                          <a:pt x="2" y="2"/>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5" name="Freeform 3309"/>
                  <p:cNvSpPr>
                    <a:spLocks/>
                  </p:cNvSpPr>
                  <p:nvPr/>
                </p:nvSpPr>
                <p:spPr bwMode="auto">
                  <a:xfrm>
                    <a:off x="5815692" y="5592089"/>
                    <a:ext cx="20778" cy="45712"/>
                  </a:xfrm>
                  <a:custGeom>
                    <a:avLst/>
                    <a:gdLst/>
                    <a:ahLst/>
                    <a:cxnLst>
                      <a:cxn ang="0">
                        <a:pos x="8" y="2"/>
                      </a:cxn>
                      <a:cxn ang="0">
                        <a:pos x="8" y="8"/>
                      </a:cxn>
                      <a:cxn ang="0">
                        <a:pos x="8" y="10"/>
                      </a:cxn>
                      <a:cxn ang="0">
                        <a:pos x="8" y="12"/>
                      </a:cxn>
                      <a:cxn ang="0">
                        <a:pos x="10" y="14"/>
                      </a:cxn>
                      <a:cxn ang="0">
                        <a:pos x="10" y="18"/>
                      </a:cxn>
                      <a:cxn ang="0">
                        <a:pos x="4" y="22"/>
                      </a:cxn>
                      <a:cxn ang="0">
                        <a:pos x="2" y="22"/>
                      </a:cxn>
                      <a:cxn ang="0">
                        <a:pos x="2" y="20"/>
                      </a:cxn>
                      <a:cxn ang="0">
                        <a:pos x="2" y="16"/>
                      </a:cxn>
                      <a:cxn ang="0">
                        <a:pos x="2" y="14"/>
                      </a:cxn>
                      <a:cxn ang="0">
                        <a:pos x="0" y="14"/>
                      </a:cxn>
                      <a:cxn ang="0">
                        <a:pos x="0" y="10"/>
                      </a:cxn>
                      <a:cxn ang="0">
                        <a:pos x="4" y="4"/>
                      </a:cxn>
                      <a:cxn ang="0">
                        <a:pos x="8" y="0"/>
                      </a:cxn>
                      <a:cxn ang="0">
                        <a:pos x="8" y="2"/>
                      </a:cxn>
                    </a:cxnLst>
                    <a:rect l="0" t="0" r="r" b="b"/>
                    <a:pathLst>
                      <a:path w="10" h="22">
                        <a:moveTo>
                          <a:pt x="8" y="2"/>
                        </a:moveTo>
                        <a:lnTo>
                          <a:pt x="8" y="8"/>
                        </a:lnTo>
                        <a:lnTo>
                          <a:pt x="8" y="10"/>
                        </a:lnTo>
                        <a:lnTo>
                          <a:pt x="8" y="12"/>
                        </a:lnTo>
                        <a:lnTo>
                          <a:pt x="10" y="14"/>
                        </a:lnTo>
                        <a:lnTo>
                          <a:pt x="10" y="18"/>
                        </a:lnTo>
                        <a:lnTo>
                          <a:pt x="4" y="22"/>
                        </a:lnTo>
                        <a:lnTo>
                          <a:pt x="2" y="22"/>
                        </a:lnTo>
                        <a:lnTo>
                          <a:pt x="2" y="20"/>
                        </a:lnTo>
                        <a:lnTo>
                          <a:pt x="2" y="16"/>
                        </a:lnTo>
                        <a:lnTo>
                          <a:pt x="2" y="14"/>
                        </a:lnTo>
                        <a:lnTo>
                          <a:pt x="0" y="14"/>
                        </a:lnTo>
                        <a:lnTo>
                          <a:pt x="0" y="10"/>
                        </a:lnTo>
                        <a:lnTo>
                          <a:pt x="4" y="4"/>
                        </a:lnTo>
                        <a:lnTo>
                          <a:pt x="8" y="0"/>
                        </a:lnTo>
                        <a:lnTo>
                          <a:pt x="8"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6" name="Freeform 3310"/>
                  <p:cNvSpPr>
                    <a:spLocks/>
                  </p:cNvSpPr>
                  <p:nvPr/>
                </p:nvSpPr>
                <p:spPr bwMode="auto">
                  <a:xfrm>
                    <a:off x="6468133" y="5592089"/>
                    <a:ext cx="12467" cy="8311"/>
                  </a:xfrm>
                  <a:custGeom>
                    <a:avLst/>
                    <a:gdLst/>
                    <a:ahLst/>
                    <a:cxnLst>
                      <a:cxn ang="0">
                        <a:pos x="2" y="0"/>
                      </a:cxn>
                      <a:cxn ang="0">
                        <a:pos x="6" y="4"/>
                      </a:cxn>
                      <a:cxn ang="0">
                        <a:pos x="4" y="4"/>
                      </a:cxn>
                      <a:cxn ang="0">
                        <a:pos x="2" y="4"/>
                      </a:cxn>
                      <a:cxn ang="0">
                        <a:pos x="0" y="2"/>
                      </a:cxn>
                      <a:cxn ang="0">
                        <a:pos x="2" y="0"/>
                      </a:cxn>
                    </a:cxnLst>
                    <a:rect l="0" t="0" r="r" b="b"/>
                    <a:pathLst>
                      <a:path w="6" h="4">
                        <a:moveTo>
                          <a:pt x="2" y="0"/>
                        </a:moveTo>
                        <a:lnTo>
                          <a:pt x="6" y="4"/>
                        </a:lnTo>
                        <a:lnTo>
                          <a:pt x="4" y="4"/>
                        </a:lnTo>
                        <a:lnTo>
                          <a:pt x="2"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7" name="Freeform 3311"/>
                  <p:cNvSpPr>
                    <a:spLocks/>
                  </p:cNvSpPr>
                  <p:nvPr/>
                </p:nvSpPr>
                <p:spPr bwMode="auto">
                  <a:xfrm>
                    <a:off x="5836470" y="5600400"/>
                    <a:ext cx="4156" cy="16623"/>
                  </a:xfrm>
                  <a:custGeom>
                    <a:avLst/>
                    <a:gdLst/>
                    <a:ahLst/>
                    <a:cxnLst>
                      <a:cxn ang="0">
                        <a:pos x="2" y="0"/>
                      </a:cxn>
                      <a:cxn ang="0">
                        <a:pos x="2" y="2"/>
                      </a:cxn>
                      <a:cxn ang="0">
                        <a:pos x="2" y="6"/>
                      </a:cxn>
                      <a:cxn ang="0">
                        <a:pos x="0" y="6"/>
                      </a:cxn>
                      <a:cxn ang="0">
                        <a:pos x="0" y="8"/>
                      </a:cxn>
                      <a:cxn ang="0">
                        <a:pos x="0" y="4"/>
                      </a:cxn>
                      <a:cxn ang="0">
                        <a:pos x="0" y="2"/>
                      </a:cxn>
                      <a:cxn ang="0">
                        <a:pos x="2" y="0"/>
                      </a:cxn>
                    </a:cxnLst>
                    <a:rect l="0" t="0" r="r" b="b"/>
                    <a:pathLst>
                      <a:path w="2" h="8">
                        <a:moveTo>
                          <a:pt x="2" y="0"/>
                        </a:moveTo>
                        <a:lnTo>
                          <a:pt x="2" y="2"/>
                        </a:lnTo>
                        <a:lnTo>
                          <a:pt x="2" y="6"/>
                        </a:lnTo>
                        <a:lnTo>
                          <a:pt x="0" y="6"/>
                        </a:lnTo>
                        <a:lnTo>
                          <a:pt x="0" y="8"/>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8" name="Freeform 3312"/>
                  <p:cNvSpPr>
                    <a:spLocks/>
                  </p:cNvSpPr>
                  <p:nvPr/>
                </p:nvSpPr>
                <p:spPr bwMode="auto">
                  <a:xfrm>
                    <a:off x="6530469" y="5608712"/>
                    <a:ext cx="8311" cy="4156"/>
                  </a:xfrm>
                  <a:custGeom>
                    <a:avLst/>
                    <a:gdLst/>
                    <a:ahLst/>
                    <a:cxnLst>
                      <a:cxn ang="0">
                        <a:pos x="0" y="0"/>
                      </a:cxn>
                      <a:cxn ang="0">
                        <a:pos x="2" y="0"/>
                      </a:cxn>
                      <a:cxn ang="0">
                        <a:pos x="4" y="0"/>
                      </a:cxn>
                      <a:cxn ang="0">
                        <a:pos x="4" y="2"/>
                      </a:cxn>
                      <a:cxn ang="0">
                        <a:pos x="2" y="2"/>
                      </a:cxn>
                      <a:cxn ang="0">
                        <a:pos x="0" y="0"/>
                      </a:cxn>
                    </a:cxnLst>
                    <a:rect l="0" t="0" r="r" b="b"/>
                    <a:pathLst>
                      <a:path w="4" h="2">
                        <a:moveTo>
                          <a:pt x="0" y="0"/>
                        </a:moveTo>
                        <a:lnTo>
                          <a:pt x="2" y="0"/>
                        </a:lnTo>
                        <a:lnTo>
                          <a:pt x="4" y="0"/>
                        </a:lnTo>
                        <a:lnTo>
                          <a:pt x="4" y="2"/>
                        </a:lnTo>
                        <a:lnTo>
                          <a:pt x="2"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9" name="Freeform 3313"/>
                  <p:cNvSpPr>
                    <a:spLocks/>
                  </p:cNvSpPr>
                  <p:nvPr/>
                </p:nvSpPr>
                <p:spPr bwMode="auto">
                  <a:xfrm>
                    <a:off x="6518002" y="5608712"/>
                    <a:ext cx="12467" cy="4156"/>
                  </a:xfrm>
                  <a:custGeom>
                    <a:avLst/>
                    <a:gdLst/>
                    <a:ahLst/>
                    <a:cxnLst>
                      <a:cxn ang="0">
                        <a:pos x="2" y="0"/>
                      </a:cxn>
                      <a:cxn ang="0">
                        <a:pos x="4" y="0"/>
                      </a:cxn>
                      <a:cxn ang="0">
                        <a:pos x="6" y="0"/>
                      </a:cxn>
                      <a:cxn ang="0">
                        <a:pos x="6" y="2"/>
                      </a:cxn>
                      <a:cxn ang="0">
                        <a:pos x="0" y="2"/>
                      </a:cxn>
                      <a:cxn ang="0">
                        <a:pos x="2" y="0"/>
                      </a:cxn>
                    </a:cxnLst>
                    <a:rect l="0" t="0" r="r" b="b"/>
                    <a:pathLst>
                      <a:path w="6" h="2">
                        <a:moveTo>
                          <a:pt x="2" y="0"/>
                        </a:moveTo>
                        <a:lnTo>
                          <a:pt x="4" y="0"/>
                        </a:lnTo>
                        <a:lnTo>
                          <a:pt x="6" y="0"/>
                        </a:lnTo>
                        <a:lnTo>
                          <a:pt x="6" y="2"/>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0" name="Freeform 3314"/>
                  <p:cNvSpPr>
                    <a:spLocks/>
                  </p:cNvSpPr>
                  <p:nvPr/>
                </p:nvSpPr>
                <p:spPr bwMode="auto">
                  <a:xfrm>
                    <a:off x="6210481" y="5633646"/>
                    <a:ext cx="16623" cy="16623"/>
                  </a:xfrm>
                  <a:custGeom>
                    <a:avLst/>
                    <a:gdLst/>
                    <a:ahLst/>
                    <a:cxnLst>
                      <a:cxn ang="0">
                        <a:pos x="2" y="0"/>
                      </a:cxn>
                      <a:cxn ang="0">
                        <a:pos x="4" y="2"/>
                      </a:cxn>
                      <a:cxn ang="0">
                        <a:pos x="8" y="2"/>
                      </a:cxn>
                      <a:cxn ang="0">
                        <a:pos x="8" y="4"/>
                      </a:cxn>
                      <a:cxn ang="0">
                        <a:pos x="6" y="8"/>
                      </a:cxn>
                      <a:cxn ang="0">
                        <a:pos x="4" y="8"/>
                      </a:cxn>
                      <a:cxn ang="0">
                        <a:pos x="2" y="6"/>
                      </a:cxn>
                      <a:cxn ang="0">
                        <a:pos x="2" y="4"/>
                      </a:cxn>
                      <a:cxn ang="0">
                        <a:pos x="0" y="4"/>
                      </a:cxn>
                      <a:cxn ang="0">
                        <a:pos x="0" y="2"/>
                      </a:cxn>
                      <a:cxn ang="0">
                        <a:pos x="2" y="0"/>
                      </a:cxn>
                    </a:cxnLst>
                    <a:rect l="0" t="0" r="r" b="b"/>
                    <a:pathLst>
                      <a:path w="8" h="8">
                        <a:moveTo>
                          <a:pt x="2" y="0"/>
                        </a:moveTo>
                        <a:lnTo>
                          <a:pt x="4" y="2"/>
                        </a:lnTo>
                        <a:lnTo>
                          <a:pt x="8" y="2"/>
                        </a:lnTo>
                        <a:lnTo>
                          <a:pt x="8" y="4"/>
                        </a:lnTo>
                        <a:lnTo>
                          <a:pt x="6" y="8"/>
                        </a:lnTo>
                        <a:lnTo>
                          <a:pt x="4" y="8"/>
                        </a:lnTo>
                        <a:lnTo>
                          <a:pt x="2" y="6"/>
                        </a:lnTo>
                        <a:lnTo>
                          <a:pt x="2" y="4"/>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1" name="Freeform 3315"/>
                  <p:cNvSpPr>
                    <a:spLocks/>
                  </p:cNvSpPr>
                  <p:nvPr/>
                </p:nvSpPr>
                <p:spPr bwMode="auto">
                  <a:xfrm>
                    <a:off x="6800588" y="5641957"/>
                    <a:ext cx="16623" cy="12467"/>
                  </a:xfrm>
                  <a:custGeom>
                    <a:avLst/>
                    <a:gdLst/>
                    <a:ahLst/>
                    <a:cxnLst>
                      <a:cxn ang="0">
                        <a:pos x="0" y="0"/>
                      </a:cxn>
                      <a:cxn ang="0">
                        <a:pos x="4" y="2"/>
                      </a:cxn>
                      <a:cxn ang="0">
                        <a:pos x="4" y="4"/>
                      </a:cxn>
                      <a:cxn ang="0">
                        <a:pos x="6" y="4"/>
                      </a:cxn>
                      <a:cxn ang="0">
                        <a:pos x="8" y="6"/>
                      </a:cxn>
                      <a:cxn ang="0">
                        <a:pos x="8" y="4"/>
                      </a:cxn>
                      <a:cxn ang="0">
                        <a:pos x="0" y="2"/>
                      </a:cxn>
                      <a:cxn ang="0">
                        <a:pos x="0" y="0"/>
                      </a:cxn>
                    </a:cxnLst>
                    <a:rect l="0" t="0" r="r" b="b"/>
                    <a:pathLst>
                      <a:path w="8" h="6">
                        <a:moveTo>
                          <a:pt x="0" y="0"/>
                        </a:moveTo>
                        <a:lnTo>
                          <a:pt x="4" y="2"/>
                        </a:lnTo>
                        <a:lnTo>
                          <a:pt x="4" y="4"/>
                        </a:lnTo>
                        <a:lnTo>
                          <a:pt x="6" y="4"/>
                        </a:lnTo>
                        <a:lnTo>
                          <a:pt x="8" y="6"/>
                        </a:lnTo>
                        <a:lnTo>
                          <a:pt x="8" y="4"/>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2" name="Freeform 3316"/>
                  <p:cNvSpPr>
                    <a:spLocks/>
                  </p:cNvSpPr>
                  <p:nvPr/>
                </p:nvSpPr>
                <p:spPr bwMode="auto">
                  <a:xfrm>
                    <a:off x="6189703" y="5658580"/>
                    <a:ext cx="37401" cy="74802"/>
                  </a:xfrm>
                  <a:custGeom>
                    <a:avLst/>
                    <a:gdLst/>
                    <a:ahLst/>
                    <a:cxnLst>
                      <a:cxn ang="0">
                        <a:pos x="14" y="0"/>
                      </a:cxn>
                      <a:cxn ang="0">
                        <a:pos x="14" y="2"/>
                      </a:cxn>
                      <a:cxn ang="0">
                        <a:pos x="16" y="4"/>
                      </a:cxn>
                      <a:cxn ang="0">
                        <a:pos x="16" y="6"/>
                      </a:cxn>
                      <a:cxn ang="0">
                        <a:pos x="18" y="8"/>
                      </a:cxn>
                      <a:cxn ang="0">
                        <a:pos x="18" y="12"/>
                      </a:cxn>
                      <a:cxn ang="0">
                        <a:pos x="16" y="12"/>
                      </a:cxn>
                      <a:cxn ang="0">
                        <a:pos x="16" y="10"/>
                      </a:cxn>
                      <a:cxn ang="0">
                        <a:pos x="16" y="8"/>
                      </a:cxn>
                      <a:cxn ang="0">
                        <a:pos x="12" y="10"/>
                      </a:cxn>
                      <a:cxn ang="0">
                        <a:pos x="12" y="12"/>
                      </a:cxn>
                      <a:cxn ang="0">
                        <a:pos x="12" y="14"/>
                      </a:cxn>
                      <a:cxn ang="0">
                        <a:pos x="12" y="18"/>
                      </a:cxn>
                      <a:cxn ang="0">
                        <a:pos x="12" y="20"/>
                      </a:cxn>
                      <a:cxn ang="0">
                        <a:pos x="18" y="24"/>
                      </a:cxn>
                      <a:cxn ang="0">
                        <a:pos x="16" y="26"/>
                      </a:cxn>
                      <a:cxn ang="0">
                        <a:pos x="14" y="28"/>
                      </a:cxn>
                      <a:cxn ang="0">
                        <a:pos x="12" y="28"/>
                      </a:cxn>
                      <a:cxn ang="0">
                        <a:pos x="10" y="28"/>
                      </a:cxn>
                      <a:cxn ang="0">
                        <a:pos x="8" y="30"/>
                      </a:cxn>
                      <a:cxn ang="0">
                        <a:pos x="10" y="30"/>
                      </a:cxn>
                      <a:cxn ang="0">
                        <a:pos x="10" y="32"/>
                      </a:cxn>
                      <a:cxn ang="0">
                        <a:pos x="6" y="36"/>
                      </a:cxn>
                      <a:cxn ang="0">
                        <a:pos x="2" y="36"/>
                      </a:cxn>
                      <a:cxn ang="0">
                        <a:pos x="0" y="32"/>
                      </a:cxn>
                      <a:cxn ang="0">
                        <a:pos x="0" y="30"/>
                      </a:cxn>
                      <a:cxn ang="0">
                        <a:pos x="6" y="20"/>
                      </a:cxn>
                      <a:cxn ang="0">
                        <a:pos x="8" y="6"/>
                      </a:cxn>
                      <a:cxn ang="0">
                        <a:pos x="8" y="4"/>
                      </a:cxn>
                      <a:cxn ang="0">
                        <a:pos x="10" y="2"/>
                      </a:cxn>
                      <a:cxn ang="0">
                        <a:pos x="12" y="0"/>
                      </a:cxn>
                      <a:cxn ang="0">
                        <a:pos x="14" y="0"/>
                      </a:cxn>
                    </a:cxnLst>
                    <a:rect l="0" t="0" r="r" b="b"/>
                    <a:pathLst>
                      <a:path w="18" h="36">
                        <a:moveTo>
                          <a:pt x="14" y="0"/>
                        </a:moveTo>
                        <a:lnTo>
                          <a:pt x="14" y="2"/>
                        </a:lnTo>
                        <a:lnTo>
                          <a:pt x="16" y="4"/>
                        </a:lnTo>
                        <a:lnTo>
                          <a:pt x="16" y="6"/>
                        </a:lnTo>
                        <a:lnTo>
                          <a:pt x="18" y="8"/>
                        </a:lnTo>
                        <a:lnTo>
                          <a:pt x="18" y="12"/>
                        </a:lnTo>
                        <a:lnTo>
                          <a:pt x="16" y="12"/>
                        </a:lnTo>
                        <a:lnTo>
                          <a:pt x="16" y="10"/>
                        </a:lnTo>
                        <a:lnTo>
                          <a:pt x="16" y="8"/>
                        </a:lnTo>
                        <a:lnTo>
                          <a:pt x="12" y="10"/>
                        </a:lnTo>
                        <a:lnTo>
                          <a:pt x="12" y="12"/>
                        </a:lnTo>
                        <a:lnTo>
                          <a:pt x="12" y="14"/>
                        </a:lnTo>
                        <a:lnTo>
                          <a:pt x="12" y="18"/>
                        </a:lnTo>
                        <a:lnTo>
                          <a:pt x="12" y="20"/>
                        </a:lnTo>
                        <a:lnTo>
                          <a:pt x="18" y="24"/>
                        </a:lnTo>
                        <a:lnTo>
                          <a:pt x="16" y="26"/>
                        </a:lnTo>
                        <a:lnTo>
                          <a:pt x="14" y="28"/>
                        </a:lnTo>
                        <a:lnTo>
                          <a:pt x="12" y="28"/>
                        </a:lnTo>
                        <a:lnTo>
                          <a:pt x="10" y="28"/>
                        </a:lnTo>
                        <a:lnTo>
                          <a:pt x="8" y="30"/>
                        </a:lnTo>
                        <a:lnTo>
                          <a:pt x="10" y="30"/>
                        </a:lnTo>
                        <a:lnTo>
                          <a:pt x="10" y="32"/>
                        </a:lnTo>
                        <a:lnTo>
                          <a:pt x="6" y="36"/>
                        </a:lnTo>
                        <a:lnTo>
                          <a:pt x="2" y="36"/>
                        </a:lnTo>
                        <a:lnTo>
                          <a:pt x="0" y="32"/>
                        </a:lnTo>
                        <a:lnTo>
                          <a:pt x="0" y="30"/>
                        </a:lnTo>
                        <a:lnTo>
                          <a:pt x="6" y="20"/>
                        </a:lnTo>
                        <a:lnTo>
                          <a:pt x="8" y="6"/>
                        </a:lnTo>
                        <a:lnTo>
                          <a:pt x="8" y="4"/>
                        </a:lnTo>
                        <a:lnTo>
                          <a:pt x="10" y="2"/>
                        </a:lnTo>
                        <a:lnTo>
                          <a:pt x="12" y="0"/>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3" name="Freeform 3317"/>
                  <p:cNvSpPr>
                    <a:spLocks/>
                  </p:cNvSpPr>
                  <p:nvPr/>
                </p:nvSpPr>
                <p:spPr bwMode="auto">
                  <a:xfrm>
                    <a:off x="6173080" y="5671047"/>
                    <a:ext cx="29090" cy="45712"/>
                  </a:xfrm>
                  <a:custGeom>
                    <a:avLst/>
                    <a:gdLst/>
                    <a:ahLst/>
                    <a:cxnLst>
                      <a:cxn ang="0">
                        <a:pos x="12" y="0"/>
                      </a:cxn>
                      <a:cxn ang="0">
                        <a:pos x="12" y="2"/>
                      </a:cxn>
                      <a:cxn ang="0">
                        <a:pos x="14" y="4"/>
                      </a:cxn>
                      <a:cxn ang="0">
                        <a:pos x="14" y="8"/>
                      </a:cxn>
                      <a:cxn ang="0">
                        <a:pos x="14" y="10"/>
                      </a:cxn>
                      <a:cxn ang="0">
                        <a:pos x="12" y="10"/>
                      </a:cxn>
                      <a:cxn ang="0">
                        <a:pos x="8" y="14"/>
                      </a:cxn>
                      <a:cxn ang="0">
                        <a:pos x="8" y="16"/>
                      </a:cxn>
                      <a:cxn ang="0">
                        <a:pos x="10" y="16"/>
                      </a:cxn>
                      <a:cxn ang="0">
                        <a:pos x="10" y="18"/>
                      </a:cxn>
                      <a:cxn ang="0">
                        <a:pos x="10" y="20"/>
                      </a:cxn>
                      <a:cxn ang="0">
                        <a:pos x="8" y="22"/>
                      </a:cxn>
                      <a:cxn ang="0">
                        <a:pos x="4" y="22"/>
                      </a:cxn>
                      <a:cxn ang="0">
                        <a:pos x="2" y="22"/>
                      </a:cxn>
                      <a:cxn ang="0">
                        <a:pos x="0" y="20"/>
                      </a:cxn>
                      <a:cxn ang="0">
                        <a:pos x="2" y="14"/>
                      </a:cxn>
                      <a:cxn ang="0">
                        <a:pos x="4" y="12"/>
                      </a:cxn>
                      <a:cxn ang="0">
                        <a:pos x="2" y="8"/>
                      </a:cxn>
                      <a:cxn ang="0">
                        <a:pos x="2" y="6"/>
                      </a:cxn>
                      <a:cxn ang="0">
                        <a:pos x="2" y="4"/>
                      </a:cxn>
                      <a:cxn ang="0">
                        <a:pos x="4" y="4"/>
                      </a:cxn>
                      <a:cxn ang="0">
                        <a:pos x="6" y="2"/>
                      </a:cxn>
                      <a:cxn ang="0">
                        <a:pos x="8" y="2"/>
                      </a:cxn>
                      <a:cxn ang="0">
                        <a:pos x="12" y="0"/>
                      </a:cxn>
                    </a:cxnLst>
                    <a:rect l="0" t="0" r="r" b="b"/>
                    <a:pathLst>
                      <a:path w="14" h="22">
                        <a:moveTo>
                          <a:pt x="12" y="0"/>
                        </a:moveTo>
                        <a:lnTo>
                          <a:pt x="12" y="2"/>
                        </a:lnTo>
                        <a:lnTo>
                          <a:pt x="14" y="4"/>
                        </a:lnTo>
                        <a:lnTo>
                          <a:pt x="14" y="8"/>
                        </a:lnTo>
                        <a:lnTo>
                          <a:pt x="14" y="10"/>
                        </a:lnTo>
                        <a:lnTo>
                          <a:pt x="12" y="10"/>
                        </a:lnTo>
                        <a:lnTo>
                          <a:pt x="8" y="14"/>
                        </a:lnTo>
                        <a:lnTo>
                          <a:pt x="8" y="16"/>
                        </a:lnTo>
                        <a:lnTo>
                          <a:pt x="10" y="16"/>
                        </a:lnTo>
                        <a:lnTo>
                          <a:pt x="10" y="18"/>
                        </a:lnTo>
                        <a:lnTo>
                          <a:pt x="10" y="20"/>
                        </a:lnTo>
                        <a:lnTo>
                          <a:pt x="8" y="22"/>
                        </a:lnTo>
                        <a:lnTo>
                          <a:pt x="4" y="22"/>
                        </a:lnTo>
                        <a:lnTo>
                          <a:pt x="2" y="22"/>
                        </a:lnTo>
                        <a:lnTo>
                          <a:pt x="0" y="20"/>
                        </a:lnTo>
                        <a:lnTo>
                          <a:pt x="2" y="14"/>
                        </a:lnTo>
                        <a:lnTo>
                          <a:pt x="4" y="12"/>
                        </a:lnTo>
                        <a:lnTo>
                          <a:pt x="2" y="8"/>
                        </a:lnTo>
                        <a:lnTo>
                          <a:pt x="2" y="6"/>
                        </a:lnTo>
                        <a:lnTo>
                          <a:pt x="2" y="4"/>
                        </a:lnTo>
                        <a:lnTo>
                          <a:pt x="4" y="4"/>
                        </a:lnTo>
                        <a:lnTo>
                          <a:pt x="6" y="2"/>
                        </a:lnTo>
                        <a:lnTo>
                          <a:pt x="8" y="2"/>
                        </a:lnTo>
                        <a:lnTo>
                          <a:pt x="1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4" name="Freeform 3318"/>
                  <p:cNvSpPr>
                    <a:spLocks/>
                  </p:cNvSpPr>
                  <p:nvPr/>
                </p:nvSpPr>
                <p:spPr bwMode="auto">
                  <a:xfrm>
                    <a:off x="6148146" y="5695981"/>
                    <a:ext cx="12467" cy="24934"/>
                  </a:xfrm>
                  <a:custGeom>
                    <a:avLst/>
                    <a:gdLst/>
                    <a:ahLst/>
                    <a:cxnLst>
                      <a:cxn ang="0">
                        <a:pos x="4" y="2"/>
                      </a:cxn>
                      <a:cxn ang="0">
                        <a:pos x="6" y="2"/>
                      </a:cxn>
                      <a:cxn ang="0">
                        <a:pos x="6" y="4"/>
                      </a:cxn>
                      <a:cxn ang="0">
                        <a:pos x="6" y="10"/>
                      </a:cxn>
                      <a:cxn ang="0">
                        <a:pos x="6" y="12"/>
                      </a:cxn>
                      <a:cxn ang="0">
                        <a:pos x="4" y="12"/>
                      </a:cxn>
                      <a:cxn ang="0">
                        <a:pos x="0" y="6"/>
                      </a:cxn>
                      <a:cxn ang="0">
                        <a:pos x="0" y="2"/>
                      </a:cxn>
                      <a:cxn ang="0">
                        <a:pos x="2" y="2"/>
                      </a:cxn>
                      <a:cxn ang="0">
                        <a:pos x="2" y="0"/>
                      </a:cxn>
                      <a:cxn ang="0">
                        <a:pos x="4" y="0"/>
                      </a:cxn>
                      <a:cxn ang="0">
                        <a:pos x="4" y="2"/>
                      </a:cxn>
                    </a:cxnLst>
                    <a:rect l="0" t="0" r="r" b="b"/>
                    <a:pathLst>
                      <a:path w="6" h="12">
                        <a:moveTo>
                          <a:pt x="4" y="2"/>
                        </a:moveTo>
                        <a:lnTo>
                          <a:pt x="6" y="2"/>
                        </a:lnTo>
                        <a:lnTo>
                          <a:pt x="6" y="4"/>
                        </a:lnTo>
                        <a:lnTo>
                          <a:pt x="6" y="10"/>
                        </a:lnTo>
                        <a:lnTo>
                          <a:pt x="6" y="12"/>
                        </a:lnTo>
                        <a:lnTo>
                          <a:pt x="4" y="12"/>
                        </a:lnTo>
                        <a:lnTo>
                          <a:pt x="0" y="6"/>
                        </a:lnTo>
                        <a:lnTo>
                          <a:pt x="0" y="2"/>
                        </a:lnTo>
                        <a:lnTo>
                          <a:pt x="2" y="2"/>
                        </a:lnTo>
                        <a:lnTo>
                          <a:pt x="2" y="0"/>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5" name="Rectangle 3319"/>
                  <p:cNvSpPr>
                    <a:spLocks noChangeArrowheads="1"/>
                  </p:cNvSpPr>
                  <p:nvPr/>
                </p:nvSpPr>
                <p:spPr bwMode="auto">
                  <a:xfrm>
                    <a:off x="6243727" y="5708448"/>
                    <a:ext cx="4156" cy="4156"/>
                  </a:xfrm>
                  <a:prstGeom prst="rect">
                    <a:avLst/>
                  </a:prstGeom>
                  <a:grpFill/>
                  <a:ln w="3175">
                    <a:solidFill>
                      <a:schemeClr val="bg1"/>
                    </a:solidFill>
                    <a:miter lim="800000"/>
                    <a:headEnd/>
                    <a:tailEnd/>
                  </a:ln>
                </p:spPr>
                <p:txBody>
                  <a:bodyPr>
                    <a:prstTxWarp prst="textNoShape">
                      <a:avLst/>
                    </a:prstTxWarp>
                  </a:bodyPr>
                  <a:lstStyle/>
                  <a:p>
                    <a:endParaRPr lang="en-GB">
                      <a:solidFill>
                        <a:srgbClr val="000000"/>
                      </a:solidFill>
                    </a:endParaRPr>
                  </a:p>
                </p:txBody>
              </p:sp>
              <p:sp>
                <p:nvSpPr>
                  <p:cNvPr id="716" name="Freeform 3320"/>
                  <p:cNvSpPr>
                    <a:spLocks/>
                  </p:cNvSpPr>
                  <p:nvPr/>
                </p:nvSpPr>
                <p:spPr bwMode="auto">
                  <a:xfrm>
                    <a:off x="6850456" y="5716759"/>
                    <a:ext cx="33245" cy="33245"/>
                  </a:xfrm>
                  <a:custGeom>
                    <a:avLst/>
                    <a:gdLst/>
                    <a:ahLst/>
                    <a:cxnLst>
                      <a:cxn ang="0">
                        <a:pos x="10" y="0"/>
                      </a:cxn>
                      <a:cxn ang="0">
                        <a:pos x="12" y="0"/>
                      </a:cxn>
                      <a:cxn ang="0">
                        <a:pos x="14" y="4"/>
                      </a:cxn>
                      <a:cxn ang="0">
                        <a:pos x="16" y="16"/>
                      </a:cxn>
                      <a:cxn ang="0">
                        <a:pos x="14" y="16"/>
                      </a:cxn>
                      <a:cxn ang="0">
                        <a:pos x="12" y="14"/>
                      </a:cxn>
                      <a:cxn ang="0">
                        <a:pos x="10" y="16"/>
                      </a:cxn>
                      <a:cxn ang="0">
                        <a:pos x="8" y="16"/>
                      </a:cxn>
                      <a:cxn ang="0">
                        <a:pos x="6" y="16"/>
                      </a:cxn>
                      <a:cxn ang="0">
                        <a:pos x="4" y="16"/>
                      </a:cxn>
                      <a:cxn ang="0">
                        <a:pos x="4" y="14"/>
                      </a:cxn>
                      <a:cxn ang="0">
                        <a:pos x="4" y="12"/>
                      </a:cxn>
                      <a:cxn ang="0">
                        <a:pos x="4" y="10"/>
                      </a:cxn>
                      <a:cxn ang="0">
                        <a:pos x="2" y="10"/>
                      </a:cxn>
                      <a:cxn ang="0">
                        <a:pos x="0" y="10"/>
                      </a:cxn>
                      <a:cxn ang="0">
                        <a:pos x="0" y="8"/>
                      </a:cxn>
                      <a:cxn ang="0">
                        <a:pos x="2" y="8"/>
                      </a:cxn>
                      <a:cxn ang="0">
                        <a:pos x="4" y="8"/>
                      </a:cxn>
                      <a:cxn ang="0">
                        <a:pos x="6" y="6"/>
                      </a:cxn>
                      <a:cxn ang="0">
                        <a:pos x="8" y="2"/>
                      </a:cxn>
                      <a:cxn ang="0">
                        <a:pos x="8" y="0"/>
                      </a:cxn>
                      <a:cxn ang="0">
                        <a:pos x="10" y="0"/>
                      </a:cxn>
                    </a:cxnLst>
                    <a:rect l="0" t="0" r="r" b="b"/>
                    <a:pathLst>
                      <a:path w="16" h="16">
                        <a:moveTo>
                          <a:pt x="10" y="0"/>
                        </a:moveTo>
                        <a:lnTo>
                          <a:pt x="12" y="0"/>
                        </a:lnTo>
                        <a:lnTo>
                          <a:pt x="14" y="4"/>
                        </a:lnTo>
                        <a:lnTo>
                          <a:pt x="16" y="16"/>
                        </a:lnTo>
                        <a:lnTo>
                          <a:pt x="14" y="16"/>
                        </a:lnTo>
                        <a:lnTo>
                          <a:pt x="12" y="14"/>
                        </a:lnTo>
                        <a:lnTo>
                          <a:pt x="10" y="16"/>
                        </a:lnTo>
                        <a:lnTo>
                          <a:pt x="8" y="16"/>
                        </a:lnTo>
                        <a:lnTo>
                          <a:pt x="6" y="16"/>
                        </a:lnTo>
                        <a:lnTo>
                          <a:pt x="4" y="16"/>
                        </a:lnTo>
                        <a:lnTo>
                          <a:pt x="4" y="14"/>
                        </a:lnTo>
                        <a:lnTo>
                          <a:pt x="4" y="12"/>
                        </a:lnTo>
                        <a:lnTo>
                          <a:pt x="4" y="10"/>
                        </a:lnTo>
                        <a:lnTo>
                          <a:pt x="2" y="10"/>
                        </a:lnTo>
                        <a:lnTo>
                          <a:pt x="0" y="10"/>
                        </a:lnTo>
                        <a:lnTo>
                          <a:pt x="0" y="8"/>
                        </a:lnTo>
                        <a:lnTo>
                          <a:pt x="2" y="8"/>
                        </a:lnTo>
                        <a:lnTo>
                          <a:pt x="4" y="8"/>
                        </a:lnTo>
                        <a:lnTo>
                          <a:pt x="6" y="6"/>
                        </a:lnTo>
                        <a:lnTo>
                          <a:pt x="8" y="2"/>
                        </a:lnTo>
                        <a:lnTo>
                          <a:pt x="8" y="0"/>
                        </a:lnTo>
                        <a:lnTo>
                          <a:pt x="1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7" name="Freeform 3321"/>
                  <p:cNvSpPr>
                    <a:spLocks/>
                  </p:cNvSpPr>
                  <p:nvPr/>
                </p:nvSpPr>
                <p:spPr bwMode="auto">
                  <a:xfrm>
                    <a:off x="6759031" y="5725071"/>
                    <a:ext cx="12467" cy="24934"/>
                  </a:xfrm>
                  <a:custGeom>
                    <a:avLst/>
                    <a:gdLst/>
                    <a:ahLst/>
                    <a:cxnLst>
                      <a:cxn ang="0">
                        <a:pos x="4" y="4"/>
                      </a:cxn>
                      <a:cxn ang="0">
                        <a:pos x="6" y="6"/>
                      </a:cxn>
                      <a:cxn ang="0">
                        <a:pos x="6" y="8"/>
                      </a:cxn>
                      <a:cxn ang="0">
                        <a:pos x="6" y="10"/>
                      </a:cxn>
                      <a:cxn ang="0">
                        <a:pos x="4" y="12"/>
                      </a:cxn>
                      <a:cxn ang="0">
                        <a:pos x="2" y="10"/>
                      </a:cxn>
                      <a:cxn ang="0">
                        <a:pos x="2" y="8"/>
                      </a:cxn>
                      <a:cxn ang="0">
                        <a:pos x="2" y="4"/>
                      </a:cxn>
                      <a:cxn ang="0">
                        <a:pos x="0" y="2"/>
                      </a:cxn>
                      <a:cxn ang="0">
                        <a:pos x="2" y="0"/>
                      </a:cxn>
                      <a:cxn ang="0">
                        <a:pos x="4" y="2"/>
                      </a:cxn>
                      <a:cxn ang="0">
                        <a:pos x="4" y="4"/>
                      </a:cxn>
                    </a:cxnLst>
                    <a:rect l="0" t="0" r="r" b="b"/>
                    <a:pathLst>
                      <a:path w="6" h="12">
                        <a:moveTo>
                          <a:pt x="4" y="4"/>
                        </a:moveTo>
                        <a:lnTo>
                          <a:pt x="6" y="6"/>
                        </a:lnTo>
                        <a:lnTo>
                          <a:pt x="6" y="8"/>
                        </a:lnTo>
                        <a:lnTo>
                          <a:pt x="6" y="10"/>
                        </a:lnTo>
                        <a:lnTo>
                          <a:pt x="4" y="12"/>
                        </a:lnTo>
                        <a:lnTo>
                          <a:pt x="2" y="10"/>
                        </a:lnTo>
                        <a:lnTo>
                          <a:pt x="2" y="8"/>
                        </a:lnTo>
                        <a:lnTo>
                          <a:pt x="2" y="4"/>
                        </a:lnTo>
                        <a:lnTo>
                          <a:pt x="0" y="2"/>
                        </a:lnTo>
                        <a:lnTo>
                          <a:pt x="2"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8" name="Freeform 3322"/>
                  <p:cNvSpPr>
                    <a:spLocks/>
                  </p:cNvSpPr>
                  <p:nvPr/>
                </p:nvSpPr>
                <p:spPr bwMode="auto">
                  <a:xfrm>
                    <a:off x="6069188" y="5737538"/>
                    <a:ext cx="8311" cy="41557"/>
                  </a:xfrm>
                  <a:custGeom>
                    <a:avLst/>
                    <a:gdLst/>
                    <a:ahLst/>
                    <a:cxnLst>
                      <a:cxn ang="0">
                        <a:pos x="2" y="0"/>
                      </a:cxn>
                      <a:cxn ang="0">
                        <a:pos x="2" y="2"/>
                      </a:cxn>
                      <a:cxn ang="0">
                        <a:pos x="2" y="6"/>
                      </a:cxn>
                      <a:cxn ang="0">
                        <a:pos x="4" y="6"/>
                      </a:cxn>
                      <a:cxn ang="0">
                        <a:pos x="2" y="18"/>
                      </a:cxn>
                      <a:cxn ang="0">
                        <a:pos x="0" y="20"/>
                      </a:cxn>
                      <a:cxn ang="0">
                        <a:pos x="0" y="0"/>
                      </a:cxn>
                      <a:cxn ang="0">
                        <a:pos x="2" y="0"/>
                      </a:cxn>
                    </a:cxnLst>
                    <a:rect l="0" t="0" r="r" b="b"/>
                    <a:pathLst>
                      <a:path w="4" h="20">
                        <a:moveTo>
                          <a:pt x="2" y="0"/>
                        </a:moveTo>
                        <a:lnTo>
                          <a:pt x="2" y="2"/>
                        </a:lnTo>
                        <a:lnTo>
                          <a:pt x="2" y="6"/>
                        </a:lnTo>
                        <a:lnTo>
                          <a:pt x="4" y="6"/>
                        </a:lnTo>
                        <a:lnTo>
                          <a:pt x="2" y="18"/>
                        </a:lnTo>
                        <a:lnTo>
                          <a:pt x="0" y="20"/>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9" name="Freeform 3323"/>
                  <p:cNvSpPr>
                    <a:spLocks/>
                  </p:cNvSpPr>
                  <p:nvPr/>
                </p:nvSpPr>
                <p:spPr bwMode="auto">
                  <a:xfrm>
                    <a:off x="5200651" y="5741693"/>
                    <a:ext cx="536083" cy="166227"/>
                  </a:xfrm>
                  <a:custGeom>
                    <a:avLst/>
                    <a:gdLst/>
                    <a:ahLst/>
                    <a:cxnLst>
                      <a:cxn ang="0">
                        <a:pos x="252" y="76"/>
                      </a:cxn>
                      <a:cxn ang="0">
                        <a:pos x="232" y="74"/>
                      </a:cxn>
                      <a:cxn ang="0">
                        <a:pos x="222" y="68"/>
                      </a:cxn>
                      <a:cxn ang="0">
                        <a:pos x="212" y="70"/>
                      </a:cxn>
                      <a:cxn ang="0">
                        <a:pos x="178" y="68"/>
                      </a:cxn>
                      <a:cxn ang="0">
                        <a:pos x="104" y="52"/>
                      </a:cxn>
                      <a:cxn ang="0">
                        <a:pos x="92" y="54"/>
                      </a:cxn>
                      <a:cxn ang="0">
                        <a:pos x="72" y="50"/>
                      </a:cxn>
                      <a:cxn ang="0">
                        <a:pos x="66" y="46"/>
                      </a:cxn>
                      <a:cxn ang="0">
                        <a:pos x="34" y="42"/>
                      </a:cxn>
                      <a:cxn ang="0">
                        <a:pos x="36" y="34"/>
                      </a:cxn>
                      <a:cxn ang="0">
                        <a:pos x="36" y="30"/>
                      </a:cxn>
                      <a:cxn ang="0">
                        <a:pos x="28" y="30"/>
                      </a:cxn>
                      <a:cxn ang="0">
                        <a:pos x="14" y="26"/>
                      </a:cxn>
                      <a:cxn ang="0">
                        <a:pos x="6" y="26"/>
                      </a:cxn>
                      <a:cxn ang="0">
                        <a:pos x="2" y="26"/>
                      </a:cxn>
                      <a:cxn ang="0">
                        <a:pos x="8" y="26"/>
                      </a:cxn>
                      <a:cxn ang="0">
                        <a:pos x="14" y="18"/>
                      </a:cxn>
                      <a:cxn ang="0">
                        <a:pos x="18" y="10"/>
                      </a:cxn>
                      <a:cxn ang="0">
                        <a:pos x="26" y="4"/>
                      </a:cxn>
                      <a:cxn ang="0">
                        <a:pos x="32" y="4"/>
                      </a:cxn>
                      <a:cxn ang="0">
                        <a:pos x="42" y="4"/>
                      </a:cxn>
                      <a:cxn ang="0">
                        <a:pos x="52" y="2"/>
                      </a:cxn>
                      <a:cxn ang="0">
                        <a:pos x="58" y="4"/>
                      </a:cxn>
                      <a:cxn ang="0">
                        <a:pos x="68" y="10"/>
                      </a:cxn>
                      <a:cxn ang="0">
                        <a:pos x="82" y="12"/>
                      </a:cxn>
                      <a:cxn ang="0">
                        <a:pos x="92" y="16"/>
                      </a:cxn>
                      <a:cxn ang="0">
                        <a:pos x="94" y="24"/>
                      </a:cxn>
                      <a:cxn ang="0">
                        <a:pos x="100" y="26"/>
                      </a:cxn>
                      <a:cxn ang="0">
                        <a:pos x="118" y="26"/>
                      </a:cxn>
                      <a:cxn ang="0">
                        <a:pos x="136" y="28"/>
                      </a:cxn>
                      <a:cxn ang="0">
                        <a:pos x="146" y="30"/>
                      </a:cxn>
                      <a:cxn ang="0">
                        <a:pos x="150" y="22"/>
                      </a:cxn>
                      <a:cxn ang="0">
                        <a:pos x="156" y="16"/>
                      </a:cxn>
                      <a:cxn ang="0">
                        <a:pos x="162" y="22"/>
                      </a:cxn>
                      <a:cxn ang="0">
                        <a:pos x="172" y="22"/>
                      </a:cxn>
                      <a:cxn ang="0">
                        <a:pos x="178" y="26"/>
                      </a:cxn>
                      <a:cxn ang="0">
                        <a:pos x="190" y="30"/>
                      </a:cxn>
                      <a:cxn ang="0">
                        <a:pos x="196" y="28"/>
                      </a:cxn>
                      <a:cxn ang="0">
                        <a:pos x="206" y="38"/>
                      </a:cxn>
                      <a:cxn ang="0">
                        <a:pos x="210" y="38"/>
                      </a:cxn>
                      <a:cxn ang="0">
                        <a:pos x="210" y="48"/>
                      </a:cxn>
                      <a:cxn ang="0">
                        <a:pos x="222" y="54"/>
                      </a:cxn>
                      <a:cxn ang="0">
                        <a:pos x="228" y="50"/>
                      </a:cxn>
                      <a:cxn ang="0">
                        <a:pos x="242" y="48"/>
                      </a:cxn>
                      <a:cxn ang="0">
                        <a:pos x="254" y="54"/>
                      </a:cxn>
                      <a:cxn ang="0">
                        <a:pos x="252" y="72"/>
                      </a:cxn>
                      <a:cxn ang="0">
                        <a:pos x="258" y="78"/>
                      </a:cxn>
                    </a:cxnLst>
                    <a:rect l="0" t="0" r="r" b="b"/>
                    <a:pathLst>
                      <a:path w="258" h="80">
                        <a:moveTo>
                          <a:pt x="258" y="80"/>
                        </a:moveTo>
                        <a:lnTo>
                          <a:pt x="252" y="80"/>
                        </a:lnTo>
                        <a:lnTo>
                          <a:pt x="252" y="78"/>
                        </a:lnTo>
                        <a:lnTo>
                          <a:pt x="252" y="76"/>
                        </a:lnTo>
                        <a:lnTo>
                          <a:pt x="250" y="76"/>
                        </a:lnTo>
                        <a:lnTo>
                          <a:pt x="248" y="76"/>
                        </a:lnTo>
                        <a:lnTo>
                          <a:pt x="248" y="78"/>
                        </a:lnTo>
                        <a:lnTo>
                          <a:pt x="232" y="74"/>
                        </a:lnTo>
                        <a:lnTo>
                          <a:pt x="232" y="72"/>
                        </a:lnTo>
                        <a:lnTo>
                          <a:pt x="230" y="72"/>
                        </a:lnTo>
                        <a:lnTo>
                          <a:pt x="224" y="68"/>
                        </a:lnTo>
                        <a:lnTo>
                          <a:pt x="222" y="68"/>
                        </a:lnTo>
                        <a:lnTo>
                          <a:pt x="216" y="68"/>
                        </a:lnTo>
                        <a:lnTo>
                          <a:pt x="214" y="68"/>
                        </a:lnTo>
                        <a:lnTo>
                          <a:pt x="212" y="68"/>
                        </a:lnTo>
                        <a:lnTo>
                          <a:pt x="212" y="70"/>
                        </a:lnTo>
                        <a:lnTo>
                          <a:pt x="204" y="72"/>
                        </a:lnTo>
                        <a:lnTo>
                          <a:pt x="182" y="66"/>
                        </a:lnTo>
                        <a:lnTo>
                          <a:pt x="180" y="68"/>
                        </a:lnTo>
                        <a:lnTo>
                          <a:pt x="178" y="68"/>
                        </a:lnTo>
                        <a:lnTo>
                          <a:pt x="136" y="58"/>
                        </a:lnTo>
                        <a:lnTo>
                          <a:pt x="134" y="56"/>
                        </a:lnTo>
                        <a:lnTo>
                          <a:pt x="106" y="50"/>
                        </a:lnTo>
                        <a:lnTo>
                          <a:pt x="104" y="52"/>
                        </a:lnTo>
                        <a:lnTo>
                          <a:pt x="102" y="50"/>
                        </a:lnTo>
                        <a:lnTo>
                          <a:pt x="100" y="50"/>
                        </a:lnTo>
                        <a:lnTo>
                          <a:pt x="92" y="50"/>
                        </a:lnTo>
                        <a:lnTo>
                          <a:pt x="92" y="54"/>
                        </a:lnTo>
                        <a:lnTo>
                          <a:pt x="90" y="54"/>
                        </a:lnTo>
                        <a:lnTo>
                          <a:pt x="88" y="54"/>
                        </a:lnTo>
                        <a:lnTo>
                          <a:pt x="82" y="54"/>
                        </a:lnTo>
                        <a:lnTo>
                          <a:pt x="72" y="50"/>
                        </a:lnTo>
                        <a:lnTo>
                          <a:pt x="68" y="50"/>
                        </a:lnTo>
                        <a:lnTo>
                          <a:pt x="68" y="48"/>
                        </a:lnTo>
                        <a:lnTo>
                          <a:pt x="66" y="48"/>
                        </a:lnTo>
                        <a:lnTo>
                          <a:pt x="66" y="46"/>
                        </a:lnTo>
                        <a:lnTo>
                          <a:pt x="64" y="46"/>
                        </a:lnTo>
                        <a:lnTo>
                          <a:pt x="60" y="44"/>
                        </a:lnTo>
                        <a:lnTo>
                          <a:pt x="38" y="44"/>
                        </a:lnTo>
                        <a:lnTo>
                          <a:pt x="34" y="42"/>
                        </a:lnTo>
                        <a:lnTo>
                          <a:pt x="34" y="40"/>
                        </a:lnTo>
                        <a:lnTo>
                          <a:pt x="34" y="38"/>
                        </a:lnTo>
                        <a:lnTo>
                          <a:pt x="36" y="36"/>
                        </a:lnTo>
                        <a:lnTo>
                          <a:pt x="36" y="34"/>
                        </a:lnTo>
                        <a:lnTo>
                          <a:pt x="38" y="34"/>
                        </a:lnTo>
                        <a:lnTo>
                          <a:pt x="38" y="32"/>
                        </a:lnTo>
                        <a:lnTo>
                          <a:pt x="36" y="32"/>
                        </a:lnTo>
                        <a:lnTo>
                          <a:pt x="36" y="30"/>
                        </a:lnTo>
                        <a:lnTo>
                          <a:pt x="34" y="32"/>
                        </a:lnTo>
                        <a:lnTo>
                          <a:pt x="32" y="32"/>
                        </a:lnTo>
                        <a:lnTo>
                          <a:pt x="30" y="32"/>
                        </a:lnTo>
                        <a:lnTo>
                          <a:pt x="28" y="30"/>
                        </a:lnTo>
                        <a:lnTo>
                          <a:pt x="26" y="28"/>
                        </a:lnTo>
                        <a:lnTo>
                          <a:pt x="24" y="28"/>
                        </a:lnTo>
                        <a:lnTo>
                          <a:pt x="24" y="26"/>
                        </a:lnTo>
                        <a:lnTo>
                          <a:pt x="14" y="26"/>
                        </a:lnTo>
                        <a:lnTo>
                          <a:pt x="12" y="28"/>
                        </a:lnTo>
                        <a:lnTo>
                          <a:pt x="8" y="28"/>
                        </a:lnTo>
                        <a:lnTo>
                          <a:pt x="8" y="26"/>
                        </a:lnTo>
                        <a:lnTo>
                          <a:pt x="6" y="26"/>
                        </a:lnTo>
                        <a:lnTo>
                          <a:pt x="4" y="26"/>
                        </a:lnTo>
                        <a:lnTo>
                          <a:pt x="2" y="26"/>
                        </a:lnTo>
                        <a:lnTo>
                          <a:pt x="0" y="26"/>
                        </a:lnTo>
                        <a:lnTo>
                          <a:pt x="2" y="26"/>
                        </a:lnTo>
                        <a:lnTo>
                          <a:pt x="4" y="24"/>
                        </a:lnTo>
                        <a:lnTo>
                          <a:pt x="6" y="24"/>
                        </a:lnTo>
                        <a:lnTo>
                          <a:pt x="6" y="26"/>
                        </a:lnTo>
                        <a:lnTo>
                          <a:pt x="8" y="26"/>
                        </a:lnTo>
                        <a:lnTo>
                          <a:pt x="12" y="20"/>
                        </a:lnTo>
                        <a:lnTo>
                          <a:pt x="12" y="16"/>
                        </a:lnTo>
                        <a:lnTo>
                          <a:pt x="14" y="16"/>
                        </a:lnTo>
                        <a:lnTo>
                          <a:pt x="14" y="18"/>
                        </a:lnTo>
                        <a:lnTo>
                          <a:pt x="16" y="18"/>
                        </a:lnTo>
                        <a:lnTo>
                          <a:pt x="18" y="18"/>
                        </a:lnTo>
                        <a:lnTo>
                          <a:pt x="18" y="16"/>
                        </a:lnTo>
                        <a:lnTo>
                          <a:pt x="18" y="10"/>
                        </a:lnTo>
                        <a:lnTo>
                          <a:pt x="24" y="2"/>
                        </a:lnTo>
                        <a:lnTo>
                          <a:pt x="24" y="0"/>
                        </a:lnTo>
                        <a:lnTo>
                          <a:pt x="26" y="2"/>
                        </a:lnTo>
                        <a:lnTo>
                          <a:pt x="26" y="4"/>
                        </a:lnTo>
                        <a:lnTo>
                          <a:pt x="28" y="4"/>
                        </a:lnTo>
                        <a:lnTo>
                          <a:pt x="30" y="4"/>
                        </a:lnTo>
                        <a:lnTo>
                          <a:pt x="30" y="2"/>
                        </a:lnTo>
                        <a:lnTo>
                          <a:pt x="32" y="4"/>
                        </a:lnTo>
                        <a:lnTo>
                          <a:pt x="36" y="4"/>
                        </a:lnTo>
                        <a:lnTo>
                          <a:pt x="36" y="6"/>
                        </a:lnTo>
                        <a:lnTo>
                          <a:pt x="38" y="4"/>
                        </a:lnTo>
                        <a:lnTo>
                          <a:pt x="42" y="4"/>
                        </a:lnTo>
                        <a:lnTo>
                          <a:pt x="42" y="6"/>
                        </a:lnTo>
                        <a:lnTo>
                          <a:pt x="50" y="6"/>
                        </a:lnTo>
                        <a:lnTo>
                          <a:pt x="50" y="2"/>
                        </a:lnTo>
                        <a:lnTo>
                          <a:pt x="52" y="2"/>
                        </a:lnTo>
                        <a:lnTo>
                          <a:pt x="54" y="2"/>
                        </a:lnTo>
                        <a:lnTo>
                          <a:pt x="54" y="4"/>
                        </a:lnTo>
                        <a:lnTo>
                          <a:pt x="56" y="4"/>
                        </a:lnTo>
                        <a:lnTo>
                          <a:pt x="58" y="4"/>
                        </a:lnTo>
                        <a:lnTo>
                          <a:pt x="60" y="4"/>
                        </a:lnTo>
                        <a:lnTo>
                          <a:pt x="62" y="4"/>
                        </a:lnTo>
                        <a:lnTo>
                          <a:pt x="62" y="6"/>
                        </a:lnTo>
                        <a:lnTo>
                          <a:pt x="68" y="10"/>
                        </a:lnTo>
                        <a:lnTo>
                          <a:pt x="74" y="10"/>
                        </a:lnTo>
                        <a:lnTo>
                          <a:pt x="80" y="14"/>
                        </a:lnTo>
                        <a:lnTo>
                          <a:pt x="82" y="14"/>
                        </a:lnTo>
                        <a:lnTo>
                          <a:pt x="82" y="12"/>
                        </a:lnTo>
                        <a:lnTo>
                          <a:pt x="84" y="10"/>
                        </a:lnTo>
                        <a:lnTo>
                          <a:pt x="86" y="12"/>
                        </a:lnTo>
                        <a:lnTo>
                          <a:pt x="90" y="16"/>
                        </a:lnTo>
                        <a:lnTo>
                          <a:pt x="92" y="16"/>
                        </a:lnTo>
                        <a:lnTo>
                          <a:pt x="92" y="18"/>
                        </a:lnTo>
                        <a:lnTo>
                          <a:pt x="92" y="20"/>
                        </a:lnTo>
                        <a:lnTo>
                          <a:pt x="94" y="22"/>
                        </a:lnTo>
                        <a:lnTo>
                          <a:pt x="94" y="24"/>
                        </a:lnTo>
                        <a:lnTo>
                          <a:pt x="94" y="26"/>
                        </a:lnTo>
                        <a:lnTo>
                          <a:pt x="96" y="26"/>
                        </a:lnTo>
                        <a:lnTo>
                          <a:pt x="98" y="26"/>
                        </a:lnTo>
                        <a:lnTo>
                          <a:pt x="100" y="26"/>
                        </a:lnTo>
                        <a:lnTo>
                          <a:pt x="114" y="28"/>
                        </a:lnTo>
                        <a:lnTo>
                          <a:pt x="116" y="28"/>
                        </a:lnTo>
                        <a:lnTo>
                          <a:pt x="118" y="28"/>
                        </a:lnTo>
                        <a:lnTo>
                          <a:pt x="118" y="26"/>
                        </a:lnTo>
                        <a:lnTo>
                          <a:pt x="128" y="28"/>
                        </a:lnTo>
                        <a:lnTo>
                          <a:pt x="128" y="30"/>
                        </a:lnTo>
                        <a:lnTo>
                          <a:pt x="136" y="30"/>
                        </a:lnTo>
                        <a:lnTo>
                          <a:pt x="136" y="28"/>
                        </a:lnTo>
                        <a:lnTo>
                          <a:pt x="138" y="28"/>
                        </a:lnTo>
                        <a:lnTo>
                          <a:pt x="142" y="30"/>
                        </a:lnTo>
                        <a:lnTo>
                          <a:pt x="142" y="32"/>
                        </a:lnTo>
                        <a:lnTo>
                          <a:pt x="146" y="30"/>
                        </a:lnTo>
                        <a:lnTo>
                          <a:pt x="148" y="28"/>
                        </a:lnTo>
                        <a:lnTo>
                          <a:pt x="148" y="26"/>
                        </a:lnTo>
                        <a:lnTo>
                          <a:pt x="150" y="24"/>
                        </a:lnTo>
                        <a:lnTo>
                          <a:pt x="150" y="22"/>
                        </a:lnTo>
                        <a:lnTo>
                          <a:pt x="150" y="20"/>
                        </a:lnTo>
                        <a:lnTo>
                          <a:pt x="150" y="18"/>
                        </a:lnTo>
                        <a:lnTo>
                          <a:pt x="152" y="16"/>
                        </a:lnTo>
                        <a:lnTo>
                          <a:pt x="156" y="16"/>
                        </a:lnTo>
                        <a:lnTo>
                          <a:pt x="158" y="14"/>
                        </a:lnTo>
                        <a:lnTo>
                          <a:pt x="162" y="16"/>
                        </a:lnTo>
                        <a:lnTo>
                          <a:pt x="162" y="20"/>
                        </a:lnTo>
                        <a:lnTo>
                          <a:pt x="162" y="22"/>
                        </a:lnTo>
                        <a:lnTo>
                          <a:pt x="164" y="22"/>
                        </a:lnTo>
                        <a:lnTo>
                          <a:pt x="164" y="24"/>
                        </a:lnTo>
                        <a:lnTo>
                          <a:pt x="172" y="24"/>
                        </a:lnTo>
                        <a:lnTo>
                          <a:pt x="172" y="22"/>
                        </a:lnTo>
                        <a:lnTo>
                          <a:pt x="172" y="20"/>
                        </a:lnTo>
                        <a:lnTo>
                          <a:pt x="176" y="22"/>
                        </a:lnTo>
                        <a:lnTo>
                          <a:pt x="176" y="24"/>
                        </a:lnTo>
                        <a:lnTo>
                          <a:pt x="178" y="26"/>
                        </a:lnTo>
                        <a:lnTo>
                          <a:pt x="180" y="26"/>
                        </a:lnTo>
                        <a:lnTo>
                          <a:pt x="186" y="26"/>
                        </a:lnTo>
                        <a:lnTo>
                          <a:pt x="188" y="28"/>
                        </a:lnTo>
                        <a:lnTo>
                          <a:pt x="190" y="30"/>
                        </a:lnTo>
                        <a:lnTo>
                          <a:pt x="192" y="30"/>
                        </a:lnTo>
                        <a:lnTo>
                          <a:pt x="192" y="28"/>
                        </a:lnTo>
                        <a:lnTo>
                          <a:pt x="194" y="28"/>
                        </a:lnTo>
                        <a:lnTo>
                          <a:pt x="196" y="28"/>
                        </a:lnTo>
                        <a:lnTo>
                          <a:pt x="200" y="28"/>
                        </a:lnTo>
                        <a:lnTo>
                          <a:pt x="202" y="30"/>
                        </a:lnTo>
                        <a:lnTo>
                          <a:pt x="206" y="36"/>
                        </a:lnTo>
                        <a:lnTo>
                          <a:pt x="206" y="38"/>
                        </a:lnTo>
                        <a:lnTo>
                          <a:pt x="204" y="38"/>
                        </a:lnTo>
                        <a:lnTo>
                          <a:pt x="206" y="38"/>
                        </a:lnTo>
                        <a:lnTo>
                          <a:pt x="208" y="38"/>
                        </a:lnTo>
                        <a:lnTo>
                          <a:pt x="210" y="38"/>
                        </a:lnTo>
                        <a:lnTo>
                          <a:pt x="210" y="44"/>
                        </a:lnTo>
                        <a:lnTo>
                          <a:pt x="208" y="44"/>
                        </a:lnTo>
                        <a:lnTo>
                          <a:pt x="208" y="46"/>
                        </a:lnTo>
                        <a:lnTo>
                          <a:pt x="210" y="48"/>
                        </a:lnTo>
                        <a:lnTo>
                          <a:pt x="214" y="50"/>
                        </a:lnTo>
                        <a:lnTo>
                          <a:pt x="218" y="50"/>
                        </a:lnTo>
                        <a:lnTo>
                          <a:pt x="218" y="52"/>
                        </a:lnTo>
                        <a:lnTo>
                          <a:pt x="222" y="54"/>
                        </a:lnTo>
                        <a:lnTo>
                          <a:pt x="224" y="54"/>
                        </a:lnTo>
                        <a:lnTo>
                          <a:pt x="224" y="52"/>
                        </a:lnTo>
                        <a:lnTo>
                          <a:pt x="226" y="52"/>
                        </a:lnTo>
                        <a:lnTo>
                          <a:pt x="228" y="50"/>
                        </a:lnTo>
                        <a:lnTo>
                          <a:pt x="230" y="50"/>
                        </a:lnTo>
                        <a:lnTo>
                          <a:pt x="234" y="52"/>
                        </a:lnTo>
                        <a:lnTo>
                          <a:pt x="240" y="50"/>
                        </a:lnTo>
                        <a:lnTo>
                          <a:pt x="242" y="48"/>
                        </a:lnTo>
                        <a:lnTo>
                          <a:pt x="246" y="50"/>
                        </a:lnTo>
                        <a:lnTo>
                          <a:pt x="250" y="52"/>
                        </a:lnTo>
                        <a:lnTo>
                          <a:pt x="252" y="52"/>
                        </a:lnTo>
                        <a:lnTo>
                          <a:pt x="254" y="54"/>
                        </a:lnTo>
                        <a:lnTo>
                          <a:pt x="252" y="64"/>
                        </a:lnTo>
                        <a:lnTo>
                          <a:pt x="252" y="66"/>
                        </a:lnTo>
                        <a:lnTo>
                          <a:pt x="252" y="68"/>
                        </a:lnTo>
                        <a:lnTo>
                          <a:pt x="252" y="72"/>
                        </a:lnTo>
                        <a:lnTo>
                          <a:pt x="252" y="74"/>
                        </a:lnTo>
                        <a:lnTo>
                          <a:pt x="254" y="76"/>
                        </a:lnTo>
                        <a:lnTo>
                          <a:pt x="256" y="76"/>
                        </a:lnTo>
                        <a:lnTo>
                          <a:pt x="258" y="78"/>
                        </a:lnTo>
                        <a:lnTo>
                          <a:pt x="258" y="8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0" name="Freeform 3324"/>
                  <p:cNvSpPr>
                    <a:spLocks/>
                  </p:cNvSpPr>
                  <p:nvPr/>
                </p:nvSpPr>
                <p:spPr bwMode="auto">
                  <a:xfrm>
                    <a:off x="6854612" y="5750005"/>
                    <a:ext cx="29090" cy="20778"/>
                  </a:xfrm>
                  <a:custGeom>
                    <a:avLst/>
                    <a:gdLst/>
                    <a:ahLst/>
                    <a:cxnLst>
                      <a:cxn ang="0">
                        <a:pos x="6" y="0"/>
                      </a:cxn>
                      <a:cxn ang="0">
                        <a:pos x="10" y="0"/>
                      </a:cxn>
                      <a:cxn ang="0">
                        <a:pos x="14" y="0"/>
                      </a:cxn>
                      <a:cxn ang="0">
                        <a:pos x="14" y="2"/>
                      </a:cxn>
                      <a:cxn ang="0">
                        <a:pos x="14" y="6"/>
                      </a:cxn>
                      <a:cxn ang="0">
                        <a:pos x="12" y="8"/>
                      </a:cxn>
                      <a:cxn ang="0">
                        <a:pos x="12" y="10"/>
                      </a:cxn>
                      <a:cxn ang="0">
                        <a:pos x="10" y="10"/>
                      </a:cxn>
                      <a:cxn ang="0">
                        <a:pos x="8" y="10"/>
                      </a:cxn>
                      <a:cxn ang="0">
                        <a:pos x="6" y="8"/>
                      </a:cxn>
                      <a:cxn ang="0">
                        <a:pos x="4" y="8"/>
                      </a:cxn>
                      <a:cxn ang="0">
                        <a:pos x="0" y="4"/>
                      </a:cxn>
                      <a:cxn ang="0">
                        <a:pos x="0" y="2"/>
                      </a:cxn>
                      <a:cxn ang="0">
                        <a:pos x="2" y="2"/>
                      </a:cxn>
                      <a:cxn ang="0">
                        <a:pos x="2" y="0"/>
                      </a:cxn>
                      <a:cxn ang="0">
                        <a:pos x="4" y="0"/>
                      </a:cxn>
                      <a:cxn ang="0">
                        <a:pos x="6" y="0"/>
                      </a:cxn>
                    </a:cxnLst>
                    <a:rect l="0" t="0" r="r" b="b"/>
                    <a:pathLst>
                      <a:path w="14" h="10">
                        <a:moveTo>
                          <a:pt x="6" y="0"/>
                        </a:moveTo>
                        <a:lnTo>
                          <a:pt x="10" y="0"/>
                        </a:lnTo>
                        <a:lnTo>
                          <a:pt x="14" y="0"/>
                        </a:lnTo>
                        <a:lnTo>
                          <a:pt x="14" y="2"/>
                        </a:lnTo>
                        <a:lnTo>
                          <a:pt x="14" y="6"/>
                        </a:lnTo>
                        <a:lnTo>
                          <a:pt x="12" y="8"/>
                        </a:lnTo>
                        <a:lnTo>
                          <a:pt x="12" y="10"/>
                        </a:lnTo>
                        <a:lnTo>
                          <a:pt x="10" y="10"/>
                        </a:lnTo>
                        <a:lnTo>
                          <a:pt x="8" y="10"/>
                        </a:lnTo>
                        <a:lnTo>
                          <a:pt x="6" y="8"/>
                        </a:lnTo>
                        <a:lnTo>
                          <a:pt x="4" y="8"/>
                        </a:lnTo>
                        <a:lnTo>
                          <a:pt x="0" y="4"/>
                        </a:lnTo>
                        <a:lnTo>
                          <a:pt x="0" y="2"/>
                        </a:lnTo>
                        <a:lnTo>
                          <a:pt x="2" y="2"/>
                        </a:lnTo>
                        <a:lnTo>
                          <a:pt x="2" y="0"/>
                        </a:lnTo>
                        <a:lnTo>
                          <a:pt x="4"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1" name="Freeform 3325"/>
                  <p:cNvSpPr>
                    <a:spLocks/>
                  </p:cNvSpPr>
                  <p:nvPr/>
                </p:nvSpPr>
                <p:spPr bwMode="auto">
                  <a:xfrm>
                    <a:off x="6846300" y="5750005"/>
                    <a:ext cx="16623" cy="20778"/>
                  </a:xfrm>
                  <a:custGeom>
                    <a:avLst/>
                    <a:gdLst/>
                    <a:ahLst/>
                    <a:cxnLst>
                      <a:cxn ang="0">
                        <a:pos x="2" y="0"/>
                      </a:cxn>
                      <a:cxn ang="0">
                        <a:pos x="4" y="2"/>
                      </a:cxn>
                      <a:cxn ang="0">
                        <a:pos x="2" y="4"/>
                      </a:cxn>
                      <a:cxn ang="0">
                        <a:pos x="6" y="8"/>
                      </a:cxn>
                      <a:cxn ang="0">
                        <a:pos x="8" y="8"/>
                      </a:cxn>
                      <a:cxn ang="0">
                        <a:pos x="6" y="10"/>
                      </a:cxn>
                      <a:cxn ang="0">
                        <a:pos x="0" y="4"/>
                      </a:cxn>
                      <a:cxn ang="0">
                        <a:pos x="0" y="0"/>
                      </a:cxn>
                      <a:cxn ang="0">
                        <a:pos x="0" y="2"/>
                      </a:cxn>
                      <a:cxn ang="0">
                        <a:pos x="2" y="2"/>
                      </a:cxn>
                      <a:cxn ang="0">
                        <a:pos x="2" y="0"/>
                      </a:cxn>
                    </a:cxnLst>
                    <a:rect l="0" t="0" r="r" b="b"/>
                    <a:pathLst>
                      <a:path w="8" h="10">
                        <a:moveTo>
                          <a:pt x="2" y="0"/>
                        </a:moveTo>
                        <a:lnTo>
                          <a:pt x="4" y="2"/>
                        </a:lnTo>
                        <a:lnTo>
                          <a:pt x="2" y="4"/>
                        </a:lnTo>
                        <a:lnTo>
                          <a:pt x="6" y="8"/>
                        </a:lnTo>
                        <a:lnTo>
                          <a:pt x="8" y="8"/>
                        </a:lnTo>
                        <a:lnTo>
                          <a:pt x="6" y="10"/>
                        </a:lnTo>
                        <a:lnTo>
                          <a:pt x="0" y="4"/>
                        </a:lnTo>
                        <a:lnTo>
                          <a:pt x="0" y="0"/>
                        </a:lnTo>
                        <a:lnTo>
                          <a:pt x="0" y="2"/>
                        </a:lnTo>
                        <a:lnTo>
                          <a:pt x="2"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2" name="Freeform 3326"/>
                  <p:cNvSpPr>
                    <a:spLocks/>
                  </p:cNvSpPr>
                  <p:nvPr/>
                </p:nvSpPr>
                <p:spPr bwMode="auto">
                  <a:xfrm>
                    <a:off x="6842145" y="5762472"/>
                    <a:ext cx="29090" cy="41557"/>
                  </a:xfrm>
                  <a:custGeom>
                    <a:avLst/>
                    <a:gdLst/>
                    <a:ahLst/>
                    <a:cxnLst>
                      <a:cxn ang="0">
                        <a:pos x="2" y="0"/>
                      </a:cxn>
                      <a:cxn ang="0">
                        <a:pos x="4" y="0"/>
                      </a:cxn>
                      <a:cxn ang="0">
                        <a:pos x="6" y="2"/>
                      </a:cxn>
                      <a:cxn ang="0">
                        <a:pos x="8" y="2"/>
                      </a:cxn>
                      <a:cxn ang="0">
                        <a:pos x="6" y="4"/>
                      </a:cxn>
                      <a:cxn ang="0">
                        <a:pos x="8" y="4"/>
                      </a:cxn>
                      <a:cxn ang="0">
                        <a:pos x="10" y="6"/>
                      </a:cxn>
                      <a:cxn ang="0">
                        <a:pos x="12" y="6"/>
                      </a:cxn>
                      <a:cxn ang="0">
                        <a:pos x="14" y="10"/>
                      </a:cxn>
                      <a:cxn ang="0">
                        <a:pos x="12" y="12"/>
                      </a:cxn>
                      <a:cxn ang="0">
                        <a:pos x="10" y="12"/>
                      </a:cxn>
                      <a:cxn ang="0">
                        <a:pos x="8" y="16"/>
                      </a:cxn>
                      <a:cxn ang="0">
                        <a:pos x="4" y="20"/>
                      </a:cxn>
                      <a:cxn ang="0">
                        <a:pos x="0" y="16"/>
                      </a:cxn>
                      <a:cxn ang="0">
                        <a:pos x="2" y="0"/>
                      </a:cxn>
                    </a:cxnLst>
                    <a:rect l="0" t="0" r="r" b="b"/>
                    <a:pathLst>
                      <a:path w="14" h="20">
                        <a:moveTo>
                          <a:pt x="2" y="0"/>
                        </a:moveTo>
                        <a:lnTo>
                          <a:pt x="4" y="0"/>
                        </a:lnTo>
                        <a:lnTo>
                          <a:pt x="6" y="2"/>
                        </a:lnTo>
                        <a:lnTo>
                          <a:pt x="8" y="2"/>
                        </a:lnTo>
                        <a:lnTo>
                          <a:pt x="6" y="4"/>
                        </a:lnTo>
                        <a:lnTo>
                          <a:pt x="8" y="4"/>
                        </a:lnTo>
                        <a:lnTo>
                          <a:pt x="10" y="6"/>
                        </a:lnTo>
                        <a:lnTo>
                          <a:pt x="12" y="6"/>
                        </a:lnTo>
                        <a:lnTo>
                          <a:pt x="14" y="10"/>
                        </a:lnTo>
                        <a:lnTo>
                          <a:pt x="12" y="12"/>
                        </a:lnTo>
                        <a:lnTo>
                          <a:pt x="10" y="12"/>
                        </a:lnTo>
                        <a:lnTo>
                          <a:pt x="8" y="16"/>
                        </a:lnTo>
                        <a:lnTo>
                          <a:pt x="4" y="20"/>
                        </a:lnTo>
                        <a:lnTo>
                          <a:pt x="0" y="16"/>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3" name="Freeform 3327"/>
                  <p:cNvSpPr>
                    <a:spLocks/>
                  </p:cNvSpPr>
                  <p:nvPr/>
                </p:nvSpPr>
                <p:spPr bwMode="auto">
                  <a:xfrm>
                    <a:off x="6858767" y="5766627"/>
                    <a:ext cx="12467" cy="12467"/>
                  </a:xfrm>
                  <a:custGeom>
                    <a:avLst/>
                    <a:gdLst/>
                    <a:ahLst/>
                    <a:cxnLst>
                      <a:cxn ang="0">
                        <a:pos x="4" y="0"/>
                      </a:cxn>
                      <a:cxn ang="0">
                        <a:pos x="6" y="2"/>
                      </a:cxn>
                      <a:cxn ang="0">
                        <a:pos x="6" y="4"/>
                      </a:cxn>
                      <a:cxn ang="0">
                        <a:pos x="6" y="6"/>
                      </a:cxn>
                      <a:cxn ang="0">
                        <a:pos x="4" y="6"/>
                      </a:cxn>
                      <a:cxn ang="0">
                        <a:pos x="4" y="4"/>
                      </a:cxn>
                      <a:cxn ang="0">
                        <a:pos x="2" y="4"/>
                      </a:cxn>
                      <a:cxn ang="0">
                        <a:pos x="2" y="2"/>
                      </a:cxn>
                      <a:cxn ang="0">
                        <a:pos x="0" y="2"/>
                      </a:cxn>
                      <a:cxn ang="0">
                        <a:pos x="2" y="0"/>
                      </a:cxn>
                      <a:cxn ang="0">
                        <a:pos x="4" y="0"/>
                      </a:cxn>
                    </a:cxnLst>
                    <a:rect l="0" t="0" r="r" b="b"/>
                    <a:pathLst>
                      <a:path w="6" h="6">
                        <a:moveTo>
                          <a:pt x="4" y="0"/>
                        </a:moveTo>
                        <a:lnTo>
                          <a:pt x="6" y="2"/>
                        </a:lnTo>
                        <a:lnTo>
                          <a:pt x="6" y="4"/>
                        </a:lnTo>
                        <a:lnTo>
                          <a:pt x="6" y="6"/>
                        </a:lnTo>
                        <a:lnTo>
                          <a:pt x="4" y="6"/>
                        </a:lnTo>
                        <a:lnTo>
                          <a:pt x="4" y="4"/>
                        </a:lnTo>
                        <a:lnTo>
                          <a:pt x="2" y="4"/>
                        </a:lnTo>
                        <a:lnTo>
                          <a:pt x="2" y="2"/>
                        </a:lnTo>
                        <a:lnTo>
                          <a:pt x="0" y="2"/>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4" name="Freeform 3328"/>
                  <p:cNvSpPr>
                    <a:spLocks/>
                  </p:cNvSpPr>
                  <p:nvPr/>
                </p:nvSpPr>
                <p:spPr bwMode="auto">
                  <a:xfrm>
                    <a:off x="6883701" y="5766627"/>
                    <a:ext cx="8311" cy="8311"/>
                  </a:xfrm>
                  <a:custGeom>
                    <a:avLst/>
                    <a:gdLst/>
                    <a:ahLst/>
                    <a:cxnLst>
                      <a:cxn ang="0">
                        <a:pos x="2" y="0"/>
                      </a:cxn>
                      <a:cxn ang="0">
                        <a:pos x="4" y="2"/>
                      </a:cxn>
                      <a:cxn ang="0">
                        <a:pos x="2" y="4"/>
                      </a:cxn>
                      <a:cxn ang="0">
                        <a:pos x="0" y="4"/>
                      </a:cxn>
                      <a:cxn ang="0">
                        <a:pos x="0" y="2"/>
                      </a:cxn>
                      <a:cxn ang="0">
                        <a:pos x="2" y="0"/>
                      </a:cxn>
                    </a:cxnLst>
                    <a:rect l="0" t="0" r="r" b="b"/>
                    <a:pathLst>
                      <a:path w="4" h="4">
                        <a:moveTo>
                          <a:pt x="2" y="0"/>
                        </a:moveTo>
                        <a:lnTo>
                          <a:pt x="4" y="2"/>
                        </a:lnTo>
                        <a:lnTo>
                          <a:pt x="2" y="4"/>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5" name="Freeform 3329"/>
                  <p:cNvSpPr>
                    <a:spLocks/>
                  </p:cNvSpPr>
                  <p:nvPr/>
                </p:nvSpPr>
                <p:spPr bwMode="auto">
                  <a:xfrm>
                    <a:off x="5196496" y="5779095"/>
                    <a:ext cx="8311" cy="8311"/>
                  </a:xfrm>
                  <a:custGeom>
                    <a:avLst/>
                    <a:gdLst/>
                    <a:ahLst/>
                    <a:cxnLst>
                      <a:cxn ang="0">
                        <a:pos x="4" y="0"/>
                      </a:cxn>
                      <a:cxn ang="0">
                        <a:pos x="4" y="4"/>
                      </a:cxn>
                      <a:cxn ang="0">
                        <a:pos x="2" y="4"/>
                      </a:cxn>
                      <a:cxn ang="0">
                        <a:pos x="0" y="2"/>
                      </a:cxn>
                      <a:cxn ang="0">
                        <a:pos x="2" y="2"/>
                      </a:cxn>
                      <a:cxn ang="0">
                        <a:pos x="4" y="0"/>
                      </a:cxn>
                    </a:cxnLst>
                    <a:rect l="0" t="0" r="r" b="b"/>
                    <a:pathLst>
                      <a:path w="4" h="4">
                        <a:moveTo>
                          <a:pt x="4" y="0"/>
                        </a:moveTo>
                        <a:lnTo>
                          <a:pt x="4" y="4"/>
                        </a:lnTo>
                        <a:lnTo>
                          <a:pt x="2" y="4"/>
                        </a:lnTo>
                        <a:lnTo>
                          <a:pt x="0" y="2"/>
                        </a:lnTo>
                        <a:lnTo>
                          <a:pt x="2" y="2"/>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6" name="Freeform 3330"/>
                  <p:cNvSpPr>
                    <a:spLocks/>
                  </p:cNvSpPr>
                  <p:nvPr/>
                </p:nvSpPr>
                <p:spPr bwMode="auto">
                  <a:xfrm>
                    <a:off x="6875390" y="5783250"/>
                    <a:ext cx="8311" cy="12467"/>
                  </a:xfrm>
                  <a:custGeom>
                    <a:avLst/>
                    <a:gdLst/>
                    <a:ahLst/>
                    <a:cxnLst>
                      <a:cxn ang="0">
                        <a:pos x="2" y="0"/>
                      </a:cxn>
                      <a:cxn ang="0">
                        <a:pos x="4" y="0"/>
                      </a:cxn>
                      <a:cxn ang="0">
                        <a:pos x="2" y="6"/>
                      </a:cxn>
                      <a:cxn ang="0">
                        <a:pos x="0" y="6"/>
                      </a:cxn>
                      <a:cxn ang="0">
                        <a:pos x="0" y="4"/>
                      </a:cxn>
                      <a:cxn ang="0">
                        <a:pos x="2" y="0"/>
                      </a:cxn>
                    </a:cxnLst>
                    <a:rect l="0" t="0" r="r" b="b"/>
                    <a:pathLst>
                      <a:path w="4" h="6">
                        <a:moveTo>
                          <a:pt x="2" y="0"/>
                        </a:moveTo>
                        <a:lnTo>
                          <a:pt x="4" y="0"/>
                        </a:lnTo>
                        <a:lnTo>
                          <a:pt x="2" y="6"/>
                        </a:lnTo>
                        <a:lnTo>
                          <a:pt x="0" y="6"/>
                        </a:lnTo>
                        <a:lnTo>
                          <a:pt x="0" y="4"/>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7" name="Freeform 3331"/>
                  <p:cNvSpPr>
                    <a:spLocks/>
                  </p:cNvSpPr>
                  <p:nvPr/>
                </p:nvSpPr>
                <p:spPr bwMode="auto">
                  <a:xfrm>
                    <a:off x="5774135" y="5795717"/>
                    <a:ext cx="16623" cy="12467"/>
                  </a:xfrm>
                  <a:custGeom>
                    <a:avLst/>
                    <a:gdLst/>
                    <a:ahLst/>
                    <a:cxnLst>
                      <a:cxn ang="0">
                        <a:pos x="0" y="0"/>
                      </a:cxn>
                      <a:cxn ang="0">
                        <a:pos x="6" y="0"/>
                      </a:cxn>
                      <a:cxn ang="0">
                        <a:pos x="6" y="2"/>
                      </a:cxn>
                      <a:cxn ang="0">
                        <a:pos x="8" y="2"/>
                      </a:cxn>
                      <a:cxn ang="0">
                        <a:pos x="8" y="4"/>
                      </a:cxn>
                      <a:cxn ang="0">
                        <a:pos x="6" y="4"/>
                      </a:cxn>
                      <a:cxn ang="0">
                        <a:pos x="2" y="4"/>
                      </a:cxn>
                      <a:cxn ang="0">
                        <a:pos x="4" y="4"/>
                      </a:cxn>
                      <a:cxn ang="0">
                        <a:pos x="4" y="6"/>
                      </a:cxn>
                      <a:cxn ang="0">
                        <a:pos x="0" y="6"/>
                      </a:cxn>
                      <a:cxn ang="0">
                        <a:pos x="0" y="4"/>
                      </a:cxn>
                      <a:cxn ang="0">
                        <a:pos x="0" y="2"/>
                      </a:cxn>
                      <a:cxn ang="0">
                        <a:pos x="0" y="0"/>
                      </a:cxn>
                    </a:cxnLst>
                    <a:rect l="0" t="0" r="r" b="b"/>
                    <a:pathLst>
                      <a:path w="8" h="6">
                        <a:moveTo>
                          <a:pt x="0" y="0"/>
                        </a:moveTo>
                        <a:lnTo>
                          <a:pt x="6" y="0"/>
                        </a:lnTo>
                        <a:lnTo>
                          <a:pt x="6" y="2"/>
                        </a:lnTo>
                        <a:lnTo>
                          <a:pt x="8" y="2"/>
                        </a:lnTo>
                        <a:lnTo>
                          <a:pt x="8" y="4"/>
                        </a:lnTo>
                        <a:lnTo>
                          <a:pt x="6" y="4"/>
                        </a:lnTo>
                        <a:lnTo>
                          <a:pt x="2" y="4"/>
                        </a:lnTo>
                        <a:lnTo>
                          <a:pt x="4" y="4"/>
                        </a:lnTo>
                        <a:lnTo>
                          <a:pt x="4" y="6"/>
                        </a:lnTo>
                        <a:lnTo>
                          <a:pt x="0" y="6"/>
                        </a:lnTo>
                        <a:lnTo>
                          <a:pt x="0" y="4"/>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8" name="Freeform 3332"/>
                  <p:cNvSpPr>
                    <a:spLocks/>
                  </p:cNvSpPr>
                  <p:nvPr/>
                </p:nvSpPr>
                <p:spPr bwMode="auto">
                  <a:xfrm>
                    <a:off x="6077500" y="5808184"/>
                    <a:ext cx="12467" cy="8311"/>
                  </a:xfrm>
                  <a:custGeom>
                    <a:avLst/>
                    <a:gdLst/>
                    <a:ahLst/>
                    <a:cxnLst>
                      <a:cxn ang="0">
                        <a:pos x="2" y="0"/>
                      </a:cxn>
                      <a:cxn ang="0">
                        <a:pos x="4" y="2"/>
                      </a:cxn>
                      <a:cxn ang="0">
                        <a:pos x="6" y="0"/>
                      </a:cxn>
                      <a:cxn ang="0">
                        <a:pos x="6" y="2"/>
                      </a:cxn>
                      <a:cxn ang="0">
                        <a:pos x="4" y="4"/>
                      </a:cxn>
                      <a:cxn ang="0">
                        <a:pos x="2" y="4"/>
                      </a:cxn>
                      <a:cxn ang="0">
                        <a:pos x="0" y="2"/>
                      </a:cxn>
                      <a:cxn ang="0">
                        <a:pos x="0" y="0"/>
                      </a:cxn>
                      <a:cxn ang="0">
                        <a:pos x="2" y="0"/>
                      </a:cxn>
                    </a:cxnLst>
                    <a:rect l="0" t="0" r="r" b="b"/>
                    <a:pathLst>
                      <a:path w="6" h="4">
                        <a:moveTo>
                          <a:pt x="2" y="0"/>
                        </a:moveTo>
                        <a:lnTo>
                          <a:pt x="4" y="2"/>
                        </a:lnTo>
                        <a:lnTo>
                          <a:pt x="6" y="0"/>
                        </a:lnTo>
                        <a:lnTo>
                          <a:pt x="6" y="2"/>
                        </a:lnTo>
                        <a:lnTo>
                          <a:pt x="4" y="4"/>
                        </a:lnTo>
                        <a:lnTo>
                          <a:pt x="2" y="4"/>
                        </a:lnTo>
                        <a:lnTo>
                          <a:pt x="0"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9" name="Freeform 3333"/>
                  <p:cNvSpPr>
                    <a:spLocks/>
                  </p:cNvSpPr>
                  <p:nvPr/>
                </p:nvSpPr>
                <p:spPr bwMode="auto">
                  <a:xfrm>
                    <a:off x="5720111" y="5808184"/>
                    <a:ext cx="4156" cy="8311"/>
                  </a:xfrm>
                  <a:custGeom>
                    <a:avLst/>
                    <a:gdLst/>
                    <a:ahLst/>
                    <a:cxnLst>
                      <a:cxn ang="0">
                        <a:pos x="0" y="0"/>
                      </a:cxn>
                      <a:cxn ang="0">
                        <a:pos x="2" y="0"/>
                      </a:cxn>
                      <a:cxn ang="0">
                        <a:pos x="2" y="2"/>
                      </a:cxn>
                      <a:cxn ang="0">
                        <a:pos x="2" y="4"/>
                      </a:cxn>
                      <a:cxn ang="0">
                        <a:pos x="0" y="4"/>
                      </a:cxn>
                      <a:cxn ang="0">
                        <a:pos x="0" y="2"/>
                      </a:cxn>
                      <a:cxn ang="0">
                        <a:pos x="0" y="0"/>
                      </a:cxn>
                    </a:cxnLst>
                    <a:rect l="0" t="0" r="r" b="b"/>
                    <a:pathLst>
                      <a:path w="2" h="4">
                        <a:moveTo>
                          <a:pt x="0" y="0"/>
                        </a:moveTo>
                        <a:lnTo>
                          <a:pt x="2" y="0"/>
                        </a:lnTo>
                        <a:lnTo>
                          <a:pt x="2" y="2"/>
                        </a:lnTo>
                        <a:lnTo>
                          <a:pt x="2" y="4"/>
                        </a:lnTo>
                        <a:lnTo>
                          <a:pt x="0" y="4"/>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0" name="Freeform 3334"/>
                  <p:cNvSpPr>
                    <a:spLocks/>
                  </p:cNvSpPr>
                  <p:nvPr/>
                </p:nvSpPr>
                <p:spPr bwMode="auto">
                  <a:xfrm>
                    <a:off x="6530469" y="5812340"/>
                    <a:ext cx="8311" cy="8311"/>
                  </a:xfrm>
                  <a:custGeom>
                    <a:avLst/>
                    <a:gdLst/>
                    <a:ahLst/>
                    <a:cxnLst>
                      <a:cxn ang="0">
                        <a:pos x="2" y="0"/>
                      </a:cxn>
                      <a:cxn ang="0">
                        <a:pos x="4" y="0"/>
                      </a:cxn>
                      <a:cxn ang="0">
                        <a:pos x="4" y="2"/>
                      </a:cxn>
                      <a:cxn ang="0">
                        <a:pos x="2" y="4"/>
                      </a:cxn>
                      <a:cxn ang="0">
                        <a:pos x="0" y="2"/>
                      </a:cxn>
                      <a:cxn ang="0">
                        <a:pos x="0" y="0"/>
                      </a:cxn>
                      <a:cxn ang="0">
                        <a:pos x="2" y="0"/>
                      </a:cxn>
                    </a:cxnLst>
                    <a:rect l="0" t="0" r="r" b="b"/>
                    <a:pathLst>
                      <a:path w="4" h="4">
                        <a:moveTo>
                          <a:pt x="2" y="0"/>
                        </a:moveTo>
                        <a:lnTo>
                          <a:pt x="4" y="0"/>
                        </a:lnTo>
                        <a:lnTo>
                          <a:pt x="4" y="2"/>
                        </a:lnTo>
                        <a:lnTo>
                          <a:pt x="2" y="4"/>
                        </a:lnTo>
                        <a:lnTo>
                          <a:pt x="0"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1" name="Freeform 3335"/>
                  <p:cNvSpPr>
                    <a:spLocks/>
                  </p:cNvSpPr>
                  <p:nvPr/>
                </p:nvSpPr>
                <p:spPr bwMode="auto">
                  <a:xfrm>
                    <a:off x="6709163" y="5812340"/>
                    <a:ext cx="16623" cy="8311"/>
                  </a:xfrm>
                  <a:custGeom>
                    <a:avLst/>
                    <a:gdLst/>
                    <a:ahLst/>
                    <a:cxnLst>
                      <a:cxn ang="0">
                        <a:pos x="6" y="0"/>
                      </a:cxn>
                      <a:cxn ang="0">
                        <a:pos x="8" y="4"/>
                      </a:cxn>
                      <a:cxn ang="0">
                        <a:pos x="6" y="4"/>
                      </a:cxn>
                      <a:cxn ang="0">
                        <a:pos x="6" y="2"/>
                      </a:cxn>
                      <a:cxn ang="0">
                        <a:pos x="2" y="2"/>
                      </a:cxn>
                      <a:cxn ang="0">
                        <a:pos x="0" y="2"/>
                      </a:cxn>
                      <a:cxn ang="0">
                        <a:pos x="2" y="2"/>
                      </a:cxn>
                      <a:cxn ang="0">
                        <a:pos x="2" y="0"/>
                      </a:cxn>
                      <a:cxn ang="0">
                        <a:pos x="6" y="0"/>
                      </a:cxn>
                    </a:cxnLst>
                    <a:rect l="0" t="0" r="r" b="b"/>
                    <a:pathLst>
                      <a:path w="8" h="4">
                        <a:moveTo>
                          <a:pt x="6" y="0"/>
                        </a:moveTo>
                        <a:lnTo>
                          <a:pt x="8" y="4"/>
                        </a:lnTo>
                        <a:lnTo>
                          <a:pt x="6" y="4"/>
                        </a:lnTo>
                        <a:lnTo>
                          <a:pt x="6" y="2"/>
                        </a:lnTo>
                        <a:lnTo>
                          <a:pt x="2" y="2"/>
                        </a:lnTo>
                        <a:lnTo>
                          <a:pt x="0" y="2"/>
                        </a:lnTo>
                        <a:lnTo>
                          <a:pt x="2" y="2"/>
                        </a:lnTo>
                        <a:lnTo>
                          <a:pt x="2"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2" name="Freeform 3336"/>
                  <p:cNvSpPr>
                    <a:spLocks/>
                  </p:cNvSpPr>
                  <p:nvPr/>
                </p:nvSpPr>
                <p:spPr bwMode="auto">
                  <a:xfrm>
                    <a:off x="6675917" y="5812340"/>
                    <a:ext cx="37401" cy="54024"/>
                  </a:xfrm>
                  <a:custGeom>
                    <a:avLst/>
                    <a:gdLst/>
                    <a:ahLst/>
                    <a:cxnLst>
                      <a:cxn ang="0">
                        <a:pos x="14" y="0"/>
                      </a:cxn>
                      <a:cxn ang="0">
                        <a:pos x="16" y="2"/>
                      </a:cxn>
                      <a:cxn ang="0">
                        <a:pos x="18" y="4"/>
                      </a:cxn>
                      <a:cxn ang="0">
                        <a:pos x="16" y="4"/>
                      </a:cxn>
                      <a:cxn ang="0">
                        <a:pos x="14" y="4"/>
                      </a:cxn>
                      <a:cxn ang="0">
                        <a:pos x="16" y="10"/>
                      </a:cxn>
                      <a:cxn ang="0">
                        <a:pos x="14" y="16"/>
                      </a:cxn>
                      <a:cxn ang="0">
                        <a:pos x="6" y="22"/>
                      </a:cxn>
                      <a:cxn ang="0">
                        <a:pos x="6" y="26"/>
                      </a:cxn>
                      <a:cxn ang="0">
                        <a:pos x="0" y="26"/>
                      </a:cxn>
                      <a:cxn ang="0">
                        <a:pos x="0" y="22"/>
                      </a:cxn>
                      <a:cxn ang="0">
                        <a:pos x="2" y="16"/>
                      </a:cxn>
                      <a:cxn ang="0">
                        <a:pos x="2" y="14"/>
                      </a:cxn>
                      <a:cxn ang="0">
                        <a:pos x="6" y="10"/>
                      </a:cxn>
                      <a:cxn ang="0">
                        <a:pos x="6" y="8"/>
                      </a:cxn>
                      <a:cxn ang="0">
                        <a:pos x="10" y="6"/>
                      </a:cxn>
                      <a:cxn ang="0">
                        <a:pos x="12" y="2"/>
                      </a:cxn>
                      <a:cxn ang="0">
                        <a:pos x="12" y="0"/>
                      </a:cxn>
                      <a:cxn ang="0">
                        <a:pos x="14" y="0"/>
                      </a:cxn>
                    </a:cxnLst>
                    <a:rect l="0" t="0" r="r" b="b"/>
                    <a:pathLst>
                      <a:path w="18" h="26">
                        <a:moveTo>
                          <a:pt x="14" y="0"/>
                        </a:moveTo>
                        <a:lnTo>
                          <a:pt x="16" y="2"/>
                        </a:lnTo>
                        <a:lnTo>
                          <a:pt x="18" y="4"/>
                        </a:lnTo>
                        <a:lnTo>
                          <a:pt x="16" y="4"/>
                        </a:lnTo>
                        <a:lnTo>
                          <a:pt x="14" y="4"/>
                        </a:lnTo>
                        <a:lnTo>
                          <a:pt x="16" y="10"/>
                        </a:lnTo>
                        <a:lnTo>
                          <a:pt x="14" y="16"/>
                        </a:lnTo>
                        <a:lnTo>
                          <a:pt x="6" y="22"/>
                        </a:lnTo>
                        <a:lnTo>
                          <a:pt x="6" y="26"/>
                        </a:lnTo>
                        <a:lnTo>
                          <a:pt x="0" y="26"/>
                        </a:lnTo>
                        <a:lnTo>
                          <a:pt x="0" y="22"/>
                        </a:lnTo>
                        <a:lnTo>
                          <a:pt x="2" y="16"/>
                        </a:lnTo>
                        <a:lnTo>
                          <a:pt x="2" y="14"/>
                        </a:lnTo>
                        <a:lnTo>
                          <a:pt x="6" y="10"/>
                        </a:lnTo>
                        <a:lnTo>
                          <a:pt x="6" y="8"/>
                        </a:lnTo>
                        <a:lnTo>
                          <a:pt x="10" y="6"/>
                        </a:lnTo>
                        <a:lnTo>
                          <a:pt x="12" y="2"/>
                        </a:lnTo>
                        <a:lnTo>
                          <a:pt x="12" y="0"/>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3" name="Freeform 3337"/>
                  <p:cNvSpPr>
                    <a:spLocks/>
                  </p:cNvSpPr>
                  <p:nvPr/>
                </p:nvSpPr>
                <p:spPr bwMode="auto">
                  <a:xfrm>
                    <a:off x="6089967" y="5820651"/>
                    <a:ext cx="12467" cy="4156"/>
                  </a:xfrm>
                  <a:custGeom>
                    <a:avLst/>
                    <a:gdLst/>
                    <a:ahLst/>
                    <a:cxnLst>
                      <a:cxn ang="0">
                        <a:pos x="0" y="0"/>
                      </a:cxn>
                      <a:cxn ang="0">
                        <a:pos x="2" y="0"/>
                      </a:cxn>
                      <a:cxn ang="0">
                        <a:pos x="4" y="2"/>
                      </a:cxn>
                      <a:cxn ang="0">
                        <a:pos x="6" y="0"/>
                      </a:cxn>
                      <a:cxn ang="0">
                        <a:pos x="6" y="2"/>
                      </a:cxn>
                      <a:cxn ang="0">
                        <a:pos x="0" y="2"/>
                      </a:cxn>
                      <a:cxn ang="0">
                        <a:pos x="0" y="0"/>
                      </a:cxn>
                    </a:cxnLst>
                    <a:rect l="0" t="0" r="r" b="b"/>
                    <a:pathLst>
                      <a:path w="6" h="2">
                        <a:moveTo>
                          <a:pt x="0" y="0"/>
                        </a:moveTo>
                        <a:lnTo>
                          <a:pt x="2" y="0"/>
                        </a:lnTo>
                        <a:lnTo>
                          <a:pt x="4" y="2"/>
                        </a:lnTo>
                        <a:lnTo>
                          <a:pt x="6" y="0"/>
                        </a:lnTo>
                        <a:lnTo>
                          <a:pt x="6" y="2"/>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4" name="Freeform 3338"/>
                  <p:cNvSpPr>
                    <a:spLocks/>
                  </p:cNvSpPr>
                  <p:nvPr/>
                </p:nvSpPr>
                <p:spPr bwMode="auto">
                  <a:xfrm>
                    <a:off x="6667606" y="5828963"/>
                    <a:ext cx="12467" cy="8311"/>
                  </a:xfrm>
                  <a:custGeom>
                    <a:avLst/>
                    <a:gdLst/>
                    <a:ahLst/>
                    <a:cxnLst>
                      <a:cxn ang="0">
                        <a:pos x="2" y="2"/>
                      </a:cxn>
                      <a:cxn ang="0">
                        <a:pos x="4" y="0"/>
                      </a:cxn>
                      <a:cxn ang="0">
                        <a:pos x="6" y="2"/>
                      </a:cxn>
                      <a:cxn ang="0">
                        <a:pos x="4" y="2"/>
                      </a:cxn>
                      <a:cxn ang="0">
                        <a:pos x="2" y="4"/>
                      </a:cxn>
                      <a:cxn ang="0">
                        <a:pos x="0" y="2"/>
                      </a:cxn>
                      <a:cxn ang="0">
                        <a:pos x="2" y="2"/>
                      </a:cxn>
                    </a:cxnLst>
                    <a:rect l="0" t="0" r="r" b="b"/>
                    <a:pathLst>
                      <a:path w="6" h="4">
                        <a:moveTo>
                          <a:pt x="2" y="2"/>
                        </a:moveTo>
                        <a:lnTo>
                          <a:pt x="4" y="0"/>
                        </a:lnTo>
                        <a:lnTo>
                          <a:pt x="6" y="2"/>
                        </a:lnTo>
                        <a:lnTo>
                          <a:pt x="4" y="2"/>
                        </a:lnTo>
                        <a:lnTo>
                          <a:pt x="2" y="4"/>
                        </a:lnTo>
                        <a:lnTo>
                          <a:pt x="0" y="2"/>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5" name="Freeform 3339"/>
                  <p:cNvSpPr>
                    <a:spLocks/>
                  </p:cNvSpPr>
                  <p:nvPr/>
                </p:nvSpPr>
                <p:spPr bwMode="auto">
                  <a:xfrm>
                    <a:off x="6459822" y="5837274"/>
                    <a:ext cx="8311" cy="8311"/>
                  </a:xfrm>
                  <a:custGeom>
                    <a:avLst/>
                    <a:gdLst/>
                    <a:ahLst/>
                    <a:cxnLst>
                      <a:cxn ang="0">
                        <a:pos x="2" y="0"/>
                      </a:cxn>
                      <a:cxn ang="0">
                        <a:pos x="4" y="0"/>
                      </a:cxn>
                      <a:cxn ang="0">
                        <a:pos x="4" y="2"/>
                      </a:cxn>
                      <a:cxn ang="0">
                        <a:pos x="2" y="4"/>
                      </a:cxn>
                      <a:cxn ang="0">
                        <a:pos x="0" y="4"/>
                      </a:cxn>
                      <a:cxn ang="0">
                        <a:pos x="0" y="2"/>
                      </a:cxn>
                      <a:cxn ang="0">
                        <a:pos x="2" y="0"/>
                      </a:cxn>
                    </a:cxnLst>
                    <a:rect l="0" t="0" r="r" b="b"/>
                    <a:pathLst>
                      <a:path w="4" h="4">
                        <a:moveTo>
                          <a:pt x="2" y="0"/>
                        </a:moveTo>
                        <a:lnTo>
                          <a:pt x="4" y="0"/>
                        </a:lnTo>
                        <a:lnTo>
                          <a:pt x="4" y="2"/>
                        </a:lnTo>
                        <a:lnTo>
                          <a:pt x="2" y="4"/>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6" name="Freeform 3340"/>
                  <p:cNvSpPr>
                    <a:spLocks/>
                  </p:cNvSpPr>
                  <p:nvPr/>
                </p:nvSpPr>
                <p:spPr bwMode="auto">
                  <a:xfrm>
                    <a:off x="6372553" y="5841430"/>
                    <a:ext cx="58180" cy="24934"/>
                  </a:xfrm>
                  <a:custGeom>
                    <a:avLst/>
                    <a:gdLst/>
                    <a:ahLst/>
                    <a:cxnLst>
                      <a:cxn ang="0">
                        <a:pos x="6" y="2"/>
                      </a:cxn>
                      <a:cxn ang="0">
                        <a:pos x="10" y="4"/>
                      </a:cxn>
                      <a:cxn ang="0">
                        <a:pos x="16" y="2"/>
                      </a:cxn>
                      <a:cxn ang="0">
                        <a:pos x="20" y="0"/>
                      </a:cxn>
                      <a:cxn ang="0">
                        <a:pos x="22" y="0"/>
                      </a:cxn>
                      <a:cxn ang="0">
                        <a:pos x="26" y="2"/>
                      </a:cxn>
                      <a:cxn ang="0">
                        <a:pos x="28" y="4"/>
                      </a:cxn>
                      <a:cxn ang="0">
                        <a:pos x="24" y="4"/>
                      </a:cxn>
                      <a:cxn ang="0">
                        <a:pos x="16" y="10"/>
                      </a:cxn>
                      <a:cxn ang="0">
                        <a:pos x="6" y="8"/>
                      </a:cxn>
                      <a:cxn ang="0">
                        <a:pos x="4" y="8"/>
                      </a:cxn>
                      <a:cxn ang="0">
                        <a:pos x="4" y="10"/>
                      </a:cxn>
                      <a:cxn ang="0">
                        <a:pos x="2" y="10"/>
                      </a:cxn>
                      <a:cxn ang="0">
                        <a:pos x="0" y="12"/>
                      </a:cxn>
                      <a:cxn ang="0">
                        <a:pos x="0" y="8"/>
                      </a:cxn>
                      <a:cxn ang="0">
                        <a:pos x="6" y="2"/>
                      </a:cxn>
                    </a:cxnLst>
                    <a:rect l="0" t="0" r="r" b="b"/>
                    <a:pathLst>
                      <a:path w="28" h="12">
                        <a:moveTo>
                          <a:pt x="6" y="2"/>
                        </a:moveTo>
                        <a:lnTo>
                          <a:pt x="10" y="4"/>
                        </a:lnTo>
                        <a:lnTo>
                          <a:pt x="16" y="2"/>
                        </a:lnTo>
                        <a:lnTo>
                          <a:pt x="20" y="0"/>
                        </a:lnTo>
                        <a:lnTo>
                          <a:pt x="22" y="0"/>
                        </a:lnTo>
                        <a:lnTo>
                          <a:pt x="26" y="2"/>
                        </a:lnTo>
                        <a:lnTo>
                          <a:pt x="28" y="4"/>
                        </a:lnTo>
                        <a:lnTo>
                          <a:pt x="24" y="4"/>
                        </a:lnTo>
                        <a:lnTo>
                          <a:pt x="16" y="10"/>
                        </a:lnTo>
                        <a:lnTo>
                          <a:pt x="6" y="8"/>
                        </a:lnTo>
                        <a:lnTo>
                          <a:pt x="4" y="8"/>
                        </a:lnTo>
                        <a:lnTo>
                          <a:pt x="4" y="10"/>
                        </a:lnTo>
                        <a:lnTo>
                          <a:pt x="2" y="10"/>
                        </a:lnTo>
                        <a:lnTo>
                          <a:pt x="0" y="12"/>
                        </a:lnTo>
                        <a:lnTo>
                          <a:pt x="0" y="8"/>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7" name="Freeform 3341"/>
                  <p:cNvSpPr>
                    <a:spLocks/>
                  </p:cNvSpPr>
                  <p:nvPr/>
                </p:nvSpPr>
                <p:spPr bwMode="auto">
                  <a:xfrm>
                    <a:off x="6588648" y="5853897"/>
                    <a:ext cx="16623" cy="16623"/>
                  </a:xfrm>
                  <a:custGeom>
                    <a:avLst/>
                    <a:gdLst/>
                    <a:ahLst/>
                    <a:cxnLst>
                      <a:cxn ang="0">
                        <a:pos x="0" y="0"/>
                      </a:cxn>
                      <a:cxn ang="0">
                        <a:pos x="6" y="0"/>
                      </a:cxn>
                      <a:cxn ang="0">
                        <a:pos x="6" y="2"/>
                      </a:cxn>
                      <a:cxn ang="0">
                        <a:pos x="8" y="2"/>
                      </a:cxn>
                      <a:cxn ang="0">
                        <a:pos x="6" y="6"/>
                      </a:cxn>
                      <a:cxn ang="0">
                        <a:pos x="6" y="8"/>
                      </a:cxn>
                      <a:cxn ang="0">
                        <a:pos x="4" y="8"/>
                      </a:cxn>
                      <a:cxn ang="0">
                        <a:pos x="2" y="6"/>
                      </a:cxn>
                      <a:cxn ang="0">
                        <a:pos x="0" y="2"/>
                      </a:cxn>
                      <a:cxn ang="0">
                        <a:pos x="0" y="0"/>
                      </a:cxn>
                    </a:cxnLst>
                    <a:rect l="0" t="0" r="r" b="b"/>
                    <a:pathLst>
                      <a:path w="8" h="8">
                        <a:moveTo>
                          <a:pt x="0" y="0"/>
                        </a:moveTo>
                        <a:lnTo>
                          <a:pt x="6" y="0"/>
                        </a:lnTo>
                        <a:lnTo>
                          <a:pt x="6" y="2"/>
                        </a:lnTo>
                        <a:lnTo>
                          <a:pt x="8" y="2"/>
                        </a:lnTo>
                        <a:lnTo>
                          <a:pt x="6" y="6"/>
                        </a:lnTo>
                        <a:lnTo>
                          <a:pt x="6" y="8"/>
                        </a:lnTo>
                        <a:lnTo>
                          <a:pt x="4" y="8"/>
                        </a:lnTo>
                        <a:lnTo>
                          <a:pt x="2" y="6"/>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8" name="Freeform 3342"/>
                  <p:cNvSpPr>
                    <a:spLocks/>
                  </p:cNvSpPr>
                  <p:nvPr/>
                </p:nvSpPr>
                <p:spPr bwMode="auto">
                  <a:xfrm>
                    <a:off x="5728423" y="5870519"/>
                    <a:ext cx="70647" cy="41557"/>
                  </a:xfrm>
                  <a:custGeom>
                    <a:avLst/>
                    <a:gdLst/>
                    <a:ahLst/>
                    <a:cxnLst>
                      <a:cxn ang="0">
                        <a:pos x="0" y="0"/>
                      </a:cxn>
                      <a:cxn ang="0">
                        <a:pos x="8" y="0"/>
                      </a:cxn>
                      <a:cxn ang="0">
                        <a:pos x="8" y="2"/>
                      </a:cxn>
                      <a:cxn ang="0">
                        <a:pos x="10" y="2"/>
                      </a:cxn>
                      <a:cxn ang="0">
                        <a:pos x="16" y="2"/>
                      </a:cxn>
                      <a:cxn ang="0">
                        <a:pos x="18" y="0"/>
                      </a:cxn>
                      <a:cxn ang="0">
                        <a:pos x="24" y="0"/>
                      </a:cxn>
                      <a:cxn ang="0">
                        <a:pos x="26" y="0"/>
                      </a:cxn>
                      <a:cxn ang="0">
                        <a:pos x="28" y="2"/>
                      </a:cxn>
                      <a:cxn ang="0">
                        <a:pos x="30" y="2"/>
                      </a:cxn>
                      <a:cxn ang="0">
                        <a:pos x="34" y="8"/>
                      </a:cxn>
                      <a:cxn ang="0">
                        <a:pos x="34" y="10"/>
                      </a:cxn>
                      <a:cxn ang="0">
                        <a:pos x="28" y="12"/>
                      </a:cxn>
                      <a:cxn ang="0">
                        <a:pos x="26" y="14"/>
                      </a:cxn>
                      <a:cxn ang="0">
                        <a:pos x="24" y="14"/>
                      </a:cxn>
                      <a:cxn ang="0">
                        <a:pos x="22" y="16"/>
                      </a:cxn>
                      <a:cxn ang="0">
                        <a:pos x="22" y="18"/>
                      </a:cxn>
                      <a:cxn ang="0">
                        <a:pos x="20" y="18"/>
                      </a:cxn>
                      <a:cxn ang="0">
                        <a:pos x="22" y="18"/>
                      </a:cxn>
                      <a:cxn ang="0">
                        <a:pos x="22" y="20"/>
                      </a:cxn>
                      <a:cxn ang="0">
                        <a:pos x="18" y="20"/>
                      </a:cxn>
                      <a:cxn ang="0">
                        <a:pos x="18" y="18"/>
                      </a:cxn>
                      <a:cxn ang="0">
                        <a:pos x="20" y="18"/>
                      </a:cxn>
                      <a:cxn ang="0">
                        <a:pos x="20" y="16"/>
                      </a:cxn>
                      <a:cxn ang="0">
                        <a:pos x="14" y="12"/>
                      </a:cxn>
                      <a:cxn ang="0">
                        <a:pos x="12" y="10"/>
                      </a:cxn>
                      <a:cxn ang="0">
                        <a:pos x="10" y="8"/>
                      </a:cxn>
                      <a:cxn ang="0">
                        <a:pos x="4" y="8"/>
                      </a:cxn>
                      <a:cxn ang="0">
                        <a:pos x="4" y="6"/>
                      </a:cxn>
                      <a:cxn ang="0">
                        <a:pos x="2" y="6"/>
                      </a:cxn>
                      <a:cxn ang="0">
                        <a:pos x="2" y="4"/>
                      </a:cxn>
                      <a:cxn ang="0">
                        <a:pos x="0" y="4"/>
                      </a:cxn>
                      <a:cxn ang="0">
                        <a:pos x="0" y="2"/>
                      </a:cxn>
                      <a:cxn ang="0">
                        <a:pos x="0" y="0"/>
                      </a:cxn>
                    </a:cxnLst>
                    <a:rect l="0" t="0" r="r" b="b"/>
                    <a:pathLst>
                      <a:path w="34" h="20">
                        <a:moveTo>
                          <a:pt x="0" y="0"/>
                        </a:moveTo>
                        <a:lnTo>
                          <a:pt x="8" y="0"/>
                        </a:lnTo>
                        <a:lnTo>
                          <a:pt x="8" y="2"/>
                        </a:lnTo>
                        <a:lnTo>
                          <a:pt x="10" y="2"/>
                        </a:lnTo>
                        <a:lnTo>
                          <a:pt x="16" y="2"/>
                        </a:lnTo>
                        <a:lnTo>
                          <a:pt x="18" y="0"/>
                        </a:lnTo>
                        <a:lnTo>
                          <a:pt x="24" y="0"/>
                        </a:lnTo>
                        <a:lnTo>
                          <a:pt x="26" y="0"/>
                        </a:lnTo>
                        <a:lnTo>
                          <a:pt x="28" y="2"/>
                        </a:lnTo>
                        <a:lnTo>
                          <a:pt x="30" y="2"/>
                        </a:lnTo>
                        <a:lnTo>
                          <a:pt x="34" y="8"/>
                        </a:lnTo>
                        <a:lnTo>
                          <a:pt x="34" y="10"/>
                        </a:lnTo>
                        <a:lnTo>
                          <a:pt x="28" y="12"/>
                        </a:lnTo>
                        <a:lnTo>
                          <a:pt x="26" y="14"/>
                        </a:lnTo>
                        <a:lnTo>
                          <a:pt x="24" y="14"/>
                        </a:lnTo>
                        <a:lnTo>
                          <a:pt x="22" y="16"/>
                        </a:lnTo>
                        <a:lnTo>
                          <a:pt x="22" y="18"/>
                        </a:lnTo>
                        <a:lnTo>
                          <a:pt x="20" y="18"/>
                        </a:lnTo>
                        <a:lnTo>
                          <a:pt x="22" y="18"/>
                        </a:lnTo>
                        <a:lnTo>
                          <a:pt x="22" y="20"/>
                        </a:lnTo>
                        <a:lnTo>
                          <a:pt x="18" y="20"/>
                        </a:lnTo>
                        <a:lnTo>
                          <a:pt x="18" y="18"/>
                        </a:lnTo>
                        <a:lnTo>
                          <a:pt x="20" y="18"/>
                        </a:lnTo>
                        <a:lnTo>
                          <a:pt x="20" y="16"/>
                        </a:lnTo>
                        <a:lnTo>
                          <a:pt x="14" y="12"/>
                        </a:lnTo>
                        <a:lnTo>
                          <a:pt x="12" y="10"/>
                        </a:lnTo>
                        <a:lnTo>
                          <a:pt x="10" y="8"/>
                        </a:lnTo>
                        <a:lnTo>
                          <a:pt x="4" y="8"/>
                        </a:lnTo>
                        <a:lnTo>
                          <a:pt x="4" y="6"/>
                        </a:lnTo>
                        <a:lnTo>
                          <a:pt x="2" y="6"/>
                        </a:lnTo>
                        <a:lnTo>
                          <a:pt x="2" y="4"/>
                        </a:lnTo>
                        <a:lnTo>
                          <a:pt x="0" y="4"/>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9" name="Freeform 3343"/>
                  <p:cNvSpPr>
                    <a:spLocks/>
                  </p:cNvSpPr>
                  <p:nvPr/>
                </p:nvSpPr>
                <p:spPr bwMode="auto">
                  <a:xfrm>
                    <a:off x="6031787" y="5870519"/>
                    <a:ext cx="182850" cy="49868"/>
                  </a:xfrm>
                  <a:custGeom>
                    <a:avLst/>
                    <a:gdLst/>
                    <a:ahLst/>
                    <a:cxnLst>
                      <a:cxn ang="0">
                        <a:pos x="0" y="16"/>
                      </a:cxn>
                      <a:cxn ang="0">
                        <a:pos x="0" y="12"/>
                      </a:cxn>
                      <a:cxn ang="0">
                        <a:pos x="8" y="8"/>
                      </a:cxn>
                      <a:cxn ang="0">
                        <a:pos x="24" y="6"/>
                      </a:cxn>
                      <a:cxn ang="0">
                        <a:pos x="30" y="6"/>
                      </a:cxn>
                      <a:cxn ang="0">
                        <a:pos x="36" y="8"/>
                      </a:cxn>
                      <a:cxn ang="0">
                        <a:pos x="40" y="10"/>
                      </a:cxn>
                      <a:cxn ang="0">
                        <a:pos x="44" y="14"/>
                      </a:cxn>
                      <a:cxn ang="0">
                        <a:pos x="48" y="12"/>
                      </a:cxn>
                      <a:cxn ang="0">
                        <a:pos x="50" y="10"/>
                      </a:cxn>
                      <a:cxn ang="0">
                        <a:pos x="62" y="10"/>
                      </a:cxn>
                      <a:cxn ang="0">
                        <a:pos x="66" y="14"/>
                      </a:cxn>
                      <a:cxn ang="0">
                        <a:pos x="68" y="16"/>
                      </a:cxn>
                      <a:cxn ang="0">
                        <a:pos x="72" y="14"/>
                      </a:cxn>
                      <a:cxn ang="0">
                        <a:pos x="76" y="8"/>
                      </a:cxn>
                      <a:cxn ang="0">
                        <a:pos x="82" y="6"/>
                      </a:cxn>
                      <a:cxn ang="0">
                        <a:pos x="86" y="2"/>
                      </a:cxn>
                      <a:cxn ang="0">
                        <a:pos x="82" y="4"/>
                      </a:cxn>
                      <a:cxn ang="0">
                        <a:pos x="84" y="0"/>
                      </a:cxn>
                      <a:cxn ang="0">
                        <a:pos x="88" y="6"/>
                      </a:cxn>
                      <a:cxn ang="0">
                        <a:pos x="82" y="12"/>
                      </a:cxn>
                      <a:cxn ang="0">
                        <a:pos x="84" y="14"/>
                      </a:cxn>
                      <a:cxn ang="0">
                        <a:pos x="80" y="14"/>
                      </a:cxn>
                      <a:cxn ang="0">
                        <a:pos x="76" y="18"/>
                      </a:cxn>
                      <a:cxn ang="0">
                        <a:pos x="54" y="22"/>
                      </a:cxn>
                      <a:cxn ang="0">
                        <a:pos x="44" y="20"/>
                      </a:cxn>
                      <a:cxn ang="0">
                        <a:pos x="42" y="24"/>
                      </a:cxn>
                      <a:cxn ang="0">
                        <a:pos x="40" y="22"/>
                      </a:cxn>
                      <a:cxn ang="0">
                        <a:pos x="36" y="24"/>
                      </a:cxn>
                      <a:cxn ang="0">
                        <a:pos x="28" y="22"/>
                      </a:cxn>
                      <a:cxn ang="0">
                        <a:pos x="24" y="20"/>
                      </a:cxn>
                      <a:cxn ang="0">
                        <a:pos x="20" y="18"/>
                      </a:cxn>
                      <a:cxn ang="0">
                        <a:pos x="16" y="20"/>
                      </a:cxn>
                      <a:cxn ang="0">
                        <a:pos x="12" y="20"/>
                      </a:cxn>
                      <a:cxn ang="0">
                        <a:pos x="2" y="20"/>
                      </a:cxn>
                    </a:cxnLst>
                    <a:rect l="0" t="0" r="r" b="b"/>
                    <a:pathLst>
                      <a:path w="88" h="24">
                        <a:moveTo>
                          <a:pt x="0" y="18"/>
                        </a:moveTo>
                        <a:lnTo>
                          <a:pt x="0" y="16"/>
                        </a:lnTo>
                        <a:lnTo>
                          <a:pt x="0" y="14"/>
                        </a:lnTo>
                        <a:lnTo>
                          <a:pt x="0" y="12"/>
                        </a:lnTo>
                        <a:lnTo>
                          <a:pt x="6" y="8"/>
                        </a:lnTo>
                        <a:lnTo>
                          <a:pt x="8" y="8"/>
                        </a:lnTo>
                        <a:lnTo>
                          <a:pt x="12" y="4"/>
                        </a:lnTo>
                        <a:lnTo>
                          <a:pt x="24" y="6"/>
                        </a:lnTo>
                        <a:lnTo>
                          <a:pt x="26" y="6"/>
                        </a:lnTo>
                        <a:lnTo>
                          <a:pt x="30" y="6"/>
                        </a:lnTo>
                        <a:lnTo>
                          <a:pt x="34" y="8"/>
                        </a:lnTo>
                        <a:lnTo>
                          <a:pt x="36" y="8"/>
                        </a:lnTo>
                        <a:lnTo>
                          <a:pt x="38" y="10"/>
                        </a:lnTo>
                        <a:lnTo>
                          <a:pt x="40" y="10"/>
                        </a:lnTo>
                        <a:lnTo>
                          <a:pt x="42" y="12"/>
                        </a:lnTo>
                        <a:lnTo>
                          <a:pt x="44" y="14"/>
                        </a:lnTo>
                        <a:lnTo>
                          <a:pt x="46" y="14"/>
                        </a:lnTo>
                        <a:lnTo>
                          <a:pt x="48" y="12"/>
                        </a:lnTo>
                        <a:lnTo>
                          <a:pt x="50" y="12"/>
                        </a:lnTo>
                        <a:lnTo>
                          <a:pt x="50" y="10"/>
                        </a:lnTo>
                        <a:lnTo>
                          <a:pt x="58" y="12"/>
                        </a:lnTo>
                        <a:lnTo>
                          <a:pt x="62" y="10"/>
                        </a:lnTo>
                        <a:lnTo>
                          <a:pt x="64" y="12"/>
                        </a:lnTo>
                        <a:lnTo>
                          <a:pt x="66" y="14"/>
                        </a:lnTo>
                        <a:lnTo>
                          <a:pt x="68" y="14"/>
                        </a:lnTo>
                        <a:lnTo>
                          <a:pt x="68" y="16"/>
                        </a:lnTo>
                        <a:lnTo>
                          <a:pt x="70" y="14"/>
                        </a:lnTo>
                        <a:lnTo>
                          <a:pt x="72" y="14"/>
                        </a:lnTo>
                        <a:lnTo>
                          <a:pt x="74" y="12"/>
                        </a:lnTo>
                        <a:lnTo>
                          <a:pt x="76" y="8"/>
                        </a:lnTo>
                        <a:lnTo>
                          <a:pt x="80" y="8"/>
                        </a:lnTo>
                        <a:lnTo>
                          <a:pt x="82" y="6"/>
                        </a:lnTo>
                        <a:lnTo>
                          <a:pt x="84" y="6"/>
                        </a:lnTo>
                        <a:lnTo>
                          <a:pt x="86" y="2"/>
                        </a:lnTo>
                        <a:lnTo>
                          <a:pt x="82" y="2"/>
                        </a:lnTo>
                        <a:lnTo>
                          <a:pt x="82" y="4"/>
                        </a:lnTo>
                        <a:lnTo>
                          <a:pt x="82" y="0"/>
                        </a:lnTo>
                        <a:lnTo>
                          <a:pt x="84" y="0"/>
                        </a:lnTo>
                        <a:lnTo>
                          <a:pt x="88" y="0"/>
                        </a:lnTo>
                        <a:lnTo>
                          <a:pt x="88" y="6"/>
                        </a:lnTo>
                        <a:lnTo>
                          <a:pt x="82" y="10"/>
                        </a:lnTo>
                        <a:lnTo>
                          <a:pt x="82" y="12"/>
                        </a:lnTo>
                        <a:lnTo>
                          <a:pt x="84" y="12"/>
                        </a:lnTo>
                        <a:lnTo>
                          <a:pt x="84" y="14"/>
                        </a:lnTo>
                        <a:lnTo>
                          <a:pt x="82" y="14"/>
                        </a:lnTo>
                        <a:lnTo>
                          <a:pt x="80" y="14"/>
                        </a:lnTo>
                        <a:lnTo>
                          <a:pt x="76" y="16"/>
                        </a:lnTo>
                        <a:lnTo>
                          <a:pt x="76" y="18"/>
                        </a:lnTo>
                        <a:lnTo>
                          <a:pt x="58" y="20"/>
                        </a:lnTo>
                        <a:lnTo>
                          <a:pt x="54" y="22"/>
                        </a:lnTo>
                        <a:lnTo>
                          <a:pt x="48" y="20"/>
                        </a:lnTo>
                        <a:lnTo>
                          <a:pt x="44" y="20"/>
                        </a:lnTo>
                        <a:lnTo>
                          <a:pt x="44" y="22"/>
                        </a:lnTo>
                        <a:lnTo>
                          <a:pt x="42" y="24"/>
                        </a:lnTo>
                        <a:lnTo>
                          <a:pt x="40" y="24"/>
                        </a:lnTo>
                        <a:lnTo>
                          <a:pt x="40" y="22"/>
                        </a:lnTo>
                        <a:lnTo>
                          <a:pt x="36" y="22"/>
                        </a:lnTo>
                        <a:lnTo>
                          <a:pt x="36" y="24"/>
                        </a:lnTo>
                        <a:lnTo>
                          <a:pt x="30" y="24"/>
                        </a:lnTo>
                        <a:lnTo>
                          <a:pt x="28" y="22"/>
                        </a:lnTo>
                        <a:lnTo>
                          <a:pt x="26" y="22"/>
                        </a:lnTo>
                        <a:lnTo>
                          <a:pt x="24" y="20"/>
                        </a:lnTo>
                        <a:lnTo>
                          <a:pt x="22" y="20"/>
                        </a:lnTo>
                        <a:lnTo>
                          <a:pt x="20" y="18"/>
                        </a:lnTo>
                        <a:lnTo>
                          <a:pt x="18" y="18"/>
                        </a:lnTo>
                        <a:lnTo>
                          <a:pt x="16" y="20"/>
                        </a:lnTo>
                        <a:lnTo>
                          <a:pt x="14" y="20"/>
                        </a:lnTo>
                        <a:lnTo>
                          <a:pt x="12" y="20"/>
                        </a:lnTo>
                        <a:lnTo>
                          <a:pt x="10" y="20"/>
                        </a:lnTo>
                        <a:lnTo>
                          <a:pt x="2" y="20"/>
                        </a:lnTo>
                        <a:lnTo>
                          <a:pt x="0"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0" name="Freeform 3344"/>
                  <p:cNvSpPr>
                    <a:spLocks/>
                  </p:cNvSpPr>
                  <p:nvPr/>
                </p:nvSpPr>
                <p:spPr bwMode="auto">
                  <a:xfrm>
                    <a:off x="5857249" y="5870519"/>
                    <a:ext cx="141293" cy="58180"/>
                  </a:xfrm>
                  <a:custGeom>
                    <a:avLst/>
                    <a:gdLst/>
                    <a:ahLst/>
                    <a:cxnLst>
                      <a:cxn ang="0">
                        <a:pos x="66" y="18"/>
                      </a:cxn>
                      <a:cxn ang="0">
                        <a:pos x="60" y="16"/>
                      </a:cxn>
                      <a:cxn ang="0">
                        <a:pos x="56" y="18"/>
                      </a:cxn>
                      <a:cxn ang="0">
                        <a:pos x="56" y="18"/>
                      </a:cxn>
                      <a:cxn ang="0">
                        <a:pos x="60" y="20"/>
                      </a:cxn>
                      <a:cxn ang="0">
                        <a:pos x="56" y="20"/>
                      </a:cxn>
                      <a:cxn ang="0">
                        <a:pos x="46" y="22"/>
                      </a:cxn>
                      <a:cxn ang="0">
                        <a:pos x="46" y="18"/>
                      </a:cxn>
                      <a:cxn ang="0">
                        <a:pos x="48" y="14"/>
                      </a:cxn>
                      <a:cxn ang="0">
                        <a:pos x="40" y="22"/>
                      </a:cxn>
                      <a:cxn ang="0">
                        <a:pos x="38" y="20"/>
                      </a:cxn>
                      <a:cxn ang="0">
                        <a:pos x="36" y="22"/>
                      </a:cxn>
                      <a:cxn ang="0">
                        <a:pos x="30" y="24"/>
                      </a:cxn>
                      <a:cxn ang="0">
                        <a:pos x="26" y="24"/>
                      </a:cxn>
                      <a:cxn ang="0">
                        <a:pos x="22" y="26"/>
                      </a:cxn>
                      <a:cxn ang="0">
                        <a:pos x="18" y="26"/>
                      </a:cxn>
                      <a:cxn ang="0">
                        <a:pos x="12" y="26"/>
                      </a:cxn>
                      <a:cxn ang="0">
                        <a:pos x="10" y="28"/>
                      </a:cxn>
                      <a:cxn ang="0">
                        <a:pos x="0" y="26"/>
                      </a:cxn>
                      <a:cxn ang="0">
                        <a:pos x="2" y="20"/>
                      </a:cxn>
                      <a:cxn ang="0">
                        <a:pos x="4" y="12"/>
                      </a:cxn>
                      <a:cxn ang="0">
                        <a:pos x="8" y="10"/>
                      </a:cxn>
                      <a:cxn ang="0">
                        <a:pos x="12" y="8"/>
                      </a:cxn>
                      <a:cxn ang="0">
                        <a:pos x="14" y="8"/>
                      </a:cxn>
                      <a:cxn ang="0">
                        <a:pos x="20" y="8"/>
                      </a:cxn>
                      <a:cxn ang="0">
                        <a:pos x="24" y="12"/>
                      </a:cxn>
                      <a:cxn ang="0">
                        <a:pos x="32" y="16"/>
                      </a:cxn>
                      <a:cxn ang="0">
                        <a:pos x="36" y="16"/>
                      </a:cxn>
                      <a:cxn ang="0">
                        <a:pos x="42" y="14"/>
                      </a:cxn>
                      <a:cxn ang="0">
                        <a:pos x="30" y="8"/>
                      </a:cxn>
                      <a:cxn ang="0">
                        <a:pos x="28" y="2"/>
                      </a:cxn>
                      <a:cxn ang="0">
                        <a:pos x="38" y="0"/>
                      </a:cxn>
                      <a:cxn ang="0">
                        <a:pos x="42" y="6"/>
                      </a:cxn>
                      <a:cxn ang="0">
                        <a:pos x="46" y="6"/>
                      </a:cxn>
                      <a:cxn ang="0">
                        <a:pos x="52" y="4"/>
                      </a:cxn>
                      <a:cxn ang="0">
                        <a:pos x="54" y="10"/>
                      </a:cxn>
                      <a:cxn ang="0">
                        <a:pos x="54" y="10"/>
                      </a:cxn>
                      <a:cxn ang="0">
                        <a:pos x="56" y="6"/>
                      </a:cxn>
                      <a:cxn ang="0">
                        <a:pos x="62" y="6"/>
                      </a:cxn>
                      <a:cxn ang="0">
                        <a:pos x="64" y="16"/>
                      </a:cxn>
                      <a:cxn ang="0">
                        <a:pos x="68" y="16"/>
                      </a:cxn>
                    </a:cxnLst>
                    <a:rect l="0" t="0" r="r" b="b"/>
                    <a:pathLst>
                      <a:path w="68" h="28">
                        <a:moveTo>
                          <a:pt x="68" y="16"/>
                        </a:moveTo>
                        <a:lnTo>
                          <a:pt x="66" y="18"/>
                        </a:lnTo>
                        <a:lnTo>
                          <a:pt x="62" y="18"/>
                        </a:lnTo>
                        <a:lnTo>
                          <a:pt x="60" y="16"/>
                        </a:lnTo>
                        <a:lnTo>
                          <a:pt x="58" y="18"/>
                        </a:lnTo>
                        <a:lnTo>
                          <a:pt x="56" y="18"/>
                        </a:lnTo>
                        <a:lnTo>
                          <a:pt x="54" y="18"/>
                        </a:lnTo>
                        <a:lnTo>
                          <a:pt x="56" y="18"/>
                        </a:lnTo>
                        <a:lnTo>
                          <a:pt x="60" y="18"/>
                        </a:lnTo>
                        <a:lnTo>
                          <a:pt x="60" y="20"/>
                        </a:lnTo>
                        <a:lnTo>
                          <a:pt x="58" y="20"/>
                        </a:lnTo>
                        <a:lnTo>
                          <a:pt x="56" y="20"/>
                        </a:lnTo>
                        <a:lnTo>
                          <a:pt x="52" y="20"/>
                        </a:lnTo>
                        <a:lnTo>
                          <a:pt x="46" y="22"/>
                        </a:lnTo>
                        <a:lnTo>
                          <a:pt x="46" y="20"/>
                        </a:lnTo>
                        <a:lnTo>
                          <a:pt x="46" y="18"/>
                        </a:lnTo>
                        <a:lnTo>
                          <a:pt x="48" y="18"/>
                        </a:lnTo>
                        <a:lnTo>
                          <a:pt x="48" y="14"/>
                        </a:lnTo>
                        <a:lnTo>
                          <a:pt x="46" y="14"/>
                        </a:lnTo>
                        <a:lnTo>
                          <a:pt x="40" y="22"/>
                        </a:lnTo>
                        <a:lnTo>
                          <a:pt x="38" y="22"/>
                        </a:lnTo>
                        <a:lnTo>
                          <a:pt x="38" y="20"/>
                        </a:lnTo>
                        <a:lnTo>
                          <a:pt x="36" y="20"/>
                        </a:lnTo>
                        <a:lnTo>
                          <a:pt x="36" y="22"/>
                        </a:lnTo>
                        <a:lnTo>
                          <a:pt x="32" y="24"/>
                        </a:lnTo>
                        <a:lnTo>
                          <a:pt x="30" y="24"/>
                        </a:lnTo>
                        <a:lnTo>
                          <a:pt x="28" y="22"/>
                        </a:lnTo>
                        <a:lnTo>
                          <a:pt x="26" y="24"/>
                        </a:lnTo>
                        <a:lnTo>
                          <a:pt x="24" y="24"/>
                        </a:lnTo>
                        <a:lnTo>
                          <a:pt x="22" y="26"/>
                        </a:lnTo>
                        <a:lnTo>
                          <a:pt x="20" y="26"/>
                        </a:lnTo>
                        <a:lnTo>
                          <a:pt x="18" y="26"/>
                        </a:lnTo>
                        <a:lnTo>
                          <a:pt x="16" y="26"/>
                        </a:lnTo>
                        <a:lnTo>
                          <a:pt x="12" y="26"/>
                        </a:lnTo>
                        <a:lnTo>
                          <a:pt x="12" y="28"/>
                        </a:lnTo>
                        <a:lnTo>
                          <a:pt x="10" y="28"/>
                        </a:lnTo>
                        <a:lnTo>
                          <a:pt x="8" y="28"/>
                        </a:lnTo>
                        <a:lnTo>
                          <a:pt x="0" y="26"/>
                        </a:lnTo>
                        <a:lnTo>
                          <a:pt x="0" y="22"/>
                        </a:lnTo>
                        <a:lnTo>
                          <a:pt x="2" y="20"/>
                        </a:lnTo>
                        <a:lnTo>
                          <a:pt x="2" y="14"/>
                        </a:lnTo>
                        <a:lnTo>
                          <a:pt x="4" y="12"/>
                        </a:lnTo>
                        <a:lnTo>
                          <a:pt x="6" y="12"/>
                        </a:lnTo>
                        <a:lnTo>
                          <a:pt x="8" y="10"/>
                        </a:lnTo>
                        <a:lnTo>
                          <a:pt x="10" y="10"/>
                        </a:lnTo>
                        <a:lnTo>
                          <a:pt x="12" y="8"/>
                        </a:lnTo>
                        <a:lnTo>
                          <a:pt x="12" y="6"/>
                        </a:lnTo>
                        <a:lnTo>
                          <a:pt x="14" y="8"/>
                        </a:lnTo>
                        <a:lnTo>
                          <a:pt x="18" y="10"/>
                        </a:lnTo>
                        <a:lnTo>
                          <a:pt x="20" y="8"/>
                        </a:lnTo>
                        <a:lnTo>
                          <a:pt x="24" y="8"/>
                        </a:lnTo>
                        <a:lnTo>
                          <a:pt x="24" y="12"/>
                        </a:lnTo>
                        <a:lnTo>
                          <a:pt x="30" y="18"/>
                        </a:lnTo>
                        <a:lnTo>
                          <a:pt x="32" y="16"/>
                        </a:lnTo>
                        <a:lnTo>
                          <a:pt x="34" y="18"/>
                        </a:lnTo>
                        <a:lnTo>
                          <a:pt x="36" y="16"/>
                        </a:lnTo>
                        <a:lnTo>
                          <a:pt x="42" y="16"/>
                        </a:lnTo>
                        <a:lnTo>
                          <a:pt x="42" y="14"/>
                        </a:lnTo>
                        <a:lnTo>
                          <a:pt x="36" y="10"/>
                        </a:lnTo>
                        <a:lnTo>
                          <a:pt x="30" y="8"/>
                        </a:lnTo>
                        <a:lnTo>
                          <a:pt x="26" y="4"/>
                        </a:lnTo>
                        <a:lnTo>
                          <a:pt x="28" y="2"/>
                        </a:lnTo>
                        <a:lnTo>
                          <a:pt x="32" y="0"/>
                        </a:lnTo>
                        <a:lnTo>
                          <a:pt x="38" y="0"/>
                        </a:lnTo>
                        <a:lnTo>
                          <a:pt x="40" y="2"/>
                        </a:lnTo>
                        <a:lnTo>
                          <a:pt x="42" y="6"/>
                        </a:lnTo>
                        <a:lnTo>
                          <a:pt x="44" y="8"/>
                        </a:lnTo>
                        <a:lnTo>
                          <a:pt x="46" y="6"/>
                        </a:lnTo>
                        <a:lnTo>
                          <a:pt x="48" y="4"/>
                        </a:lnTo>
                        <a:lnTo>
                          <a:pt x="52" y="4"/>
                        </a:lnTo>
                        <a:lnTo>
                          <a:pt x="54" y="6"/>
                        </a:lnTo>
                        <a:lnTo>
                          <a:pt x="54" y="10"/>
                        </a:lnTo>
                        <a:lnTo>
                          <a:pt x="54" y="12"/>
                        </a:lnTo>
                        <a:lnTo>
                          <a:pt x="54" y="10"/>
                        </a:lnTo>
                        <a:lnTo>
                          <a:pt x="54" y="6"/>
                        </a:lnTo>
                        <a:lnTo>
                          <a:pt x="56" y="6"/>
                        </a:lnTo>
                        <a:lnTo>
                          <a:pt x="60" y="6"/>
                        </a:lnTo>
                        <a:lnTo>
                          <a:pt x="62" y="6"/>
                        </a:lnTo>
                        <a:lnTo>
                          <a:pt x="64" y="14"/>
                        </a:lnTo>
                        <a:lnTo>
                          <a:pt x="64" y="16"/>
                        </a:lnTo>
                        <a:lnTo>
                          <a:pt x="66" y="14"/>
                        </a:lnTo>
                        <a:lnTo>
                          <a:pt x="68"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1" name="Freeform 3345"/>
                  <p:cNvSpPr>
                    <a:spLocks/>
                  </p:cNvSpPr>
                  <p:nvPr/>
                </p:nvSpPr>
                <p:spPr bwMode="auto">
                  <a:xfrm>
                    <a:off x="6655139" y="5870519"/>
                    <a:ext cx="24934" cy="12467"/>
                  </a:xfrm>
                  <a:custGeom>
                    <a:avLst/>
                    <a:gdLst/>
                    <a:ahLst/>
                    <a:cxnLst>
                      <a:cxn ang="0">
                        <a:pos x="0" y="6"/>
                      </a:cxn>
                      <a:cxn ang="0">
                        <a:pos x="4" y="4"/>
                      </a:cxn>
                      <a:cxn ang="0">
                        <a:pos x="4" y="2"/>
                      </a:cxn>
                      <a:cxn ang="0">
                        <a:pos x="6" y="0"/>
                      </a:cxn>
                      <a:cxn ang="0">
                        <a:pos x="8" y="0"/>
                      </a:cxn>
                      <a:cxn ang="0">
                        <a:pos x="10" y="0"/>
                      </a:cxn>
                      <a:cxn ang="0">
                        <a:pos x="12" y="0"/>
                      </a:cxn>
                      <a:cxn ang="0">
                        <a:pos x="10" y="2"/>
                      </a:cxn>
                      <a:cxn ang="0">
                        <a:pos x="6" y="4"/>
                      </a:cxn>
                      <a:cxn ang="0">
                        <a:pos x="4" y="6"/>
                      </a:cxn>
                      <a:cxn ang="0">
                        <a:pos x="2" y="6"/>
                      </a:cxn>
                      <a:cxn ang="0">
                        <a:pos x="0" y="6"/>
                      </a:cxn>
                    </a:cxnLst>
                    <a:rect l="0" t="0" r="r" b="b"/>
                    <a:pathLst>
                      <a:path w="12" h="6">
                        <a:moveTo>
                          <a:pt x="0" y="6"/>
                        </a:moveTo>
                        <a:lnTo>
                          <a:pt x="4" y="4"/>
                        </a:lnTo>
                        <a:lnTo>
                          <a:pt x="4" y="2"/>
                        </a:lnTo>
                        <a:lnTo>
                          <a:pt x="6" y="0"/>
                        </a:lnTo>
                        <a:lnTo>
                          <a:pt x="8" y="0"/>
                        </a:lnTo>
                        <a:lnTo>
                          <a:pt x="10" y="0"/>
                        </a:lnTo>
                        <a:lnTo>
                          <a:pt x="12" y="0"/>
                        </a:lnTo>
                        <a:lnTo>
                          <a:pt x="10" y="2"/>
                        </a:lnTo>
                        <a:lnTo>
                          <a:pt x="6" y="4"/>
                        </a:lnTo>
                        <a:lnTo>
                          <a:pt x="4" y="6"/>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2" name="Freeform 3346"/>
                  <p:cNvSpPr>
                    <a:spLocks/>
                  </p:cNvSpPr>
                  <p:nvPr/>
                </p:nvSpPr>
                <p:spPr bwMode="auto">
                  <a:xfrm>
                    <a:off x="6484756" y="5870519"/>
                    <a:ext cx="20778" cy="8311"/>
                  </a:xfrm>
                  <a:custGeom>
                    <a:avLst/>
                    <a:gdLst/>
                    <a:ahLst/>
                    <a:cxnLst>
                      <a:cxn ang="0">
                        <a:pos x="2" y="0"/>
                      </a:cxn>
                      <a:cxn ang="0">
                        <a:pos x="4" y="0"/>
                      </a:cxn>
                      <a:cxn ang="0">
                        <a:pos x="10" y="0"/>
                      </a:cxn>
                      <a:cxn ang="0">
                        <a:pos x="10" y="2"/>
                      </a:cxn>
                      <a:cxn ang="0">
                        <a:pos x="8" y="4"/>
                      </a:cxn>
                      <a:cxn ang="0">
                        <a:pos x="6" y="4"/>
                      </a:cxn>
                      <a:cxn ang="0">
                        <a:pos x="2" y="2"/>
                      </a:cxn>
                      <a:cxn ang="0">
                        <a:pos x="0" y="0"/>
                      </a:cxn>
                      <a:cxn ang="0">
                        <a:pos x="2" y="0"/>
                      </a:cxn>
                    </a:cxnLst>
                    <a:rect l="0" t="0" r="r" b="b"/>
                    <a:pathLst>
                      <a:path w="10" h="4">
                        <a:moveTo>
                          <a:pt x="2" y="0"/>
                        </a:moveTo>
                        <a:lnTo>
                          <a:pt x="4" y="0"/>
                        </a:lnTo>
                        <a:lnTo>
                          <a:pt x="10" y="0"/>
                        </a:lnTo>
                        <a:lnTo>
                          <a:pt x="10" y="2"/>
                        </a:lnTo>
                        <a:lnTo>
                          <a:pt x="8" y="4"/>
                        </a:lnTo>
                        <a:lnTo>
                          <a:pt x="6" y="4"/>
                        </a:lnTo>
                        <a:lnTo>
                          <a:pt x="2"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3" name="Freeform 3347"/>
                  <p:cNvSpPr>
                    <a:spLocks/>
                  </p:cNvSpPr>
                  <p:nvPr/>
                </p:nvSpPr>
                <p:spPr bwMode="auto">
                  <a:xfrm>
                    <a:off x="6289439" y="5870519"/>
                    <a:ext cx="45712" cy="20778"/>
                  </a:xfrm>
                  <a:custGeom>
                    <a:avLst/>
                    <a:gdLst/>
                    <a:ahLst/>
                    <a:cxnLst>
                      <a:cxn ang="0">
                        <a:pos x="4" y="0"/>
                      </a:cxn>
                      <a:cxn ang="0">
                        <a:pos x="6" y="0"/>
                      </a:cxn>
                      <a:cxn ang="0">
                        <a:pos x="10" y="2"/>
                      </a:cxn>
                      <a:cxn ang="0">
                        <a:pos x="22" y="2"/>
                      </a:cxn>
                      <a:cxn ang="0">
                        <a:pos x="22" y="4"/>
                      </a:cxn>
                      <a:cxn ang="0">
                        <a:pos x="22" y="6"/>
                      </a:cxn>
                      <a:cxn ang="0">
                        <a:pos x="20" y="8"/>
                      </a:cxn>
                      <a:cxn ang="0">
                        <a:pos x="0" y="10"/>
                      </a:cxn>
                      <a:cxn ang="0">
                        <a:pos x="0" y="8"/>
                      </a:cxn>
                      <a:cxn ang="0">
                        <a:pos x="4" y="2"/>
                      </a:cxn>
                      <a:cxn ang="0">
                        <a:pos x="4" y="0"/>
                      </a:cxn>
                    </a:cxnLst>
                    <a:rect l="0" t="0" r="r" b="b"/>
                    <a:pathLst>
                      <a:path w="22" h="10">
                        <a:moveTo>
                          <a:pt x="4" y="0"/>
                        </a:moveTo>
                        <a:lnTo>
                          <a:pt x="6" y="0"/>
                        </a:lnTo>
                        <a:lnTo>
                          <a:pt x="10" y="2"/>
                        </a:lnTo>
                        <a:lnTo>
                          <a:pt x="22" y="2"/>
                        </a:lnTo>
                        <a:lnTo>
                          <a:pt x="22" y="4"/>
                        </a:lnTo>
                        <a:lnTo>
                          <a:pt x="22" y="6"/>
                        </a:lnTo>
                        <a:lnTo>
                          <a:pt x="20" y="8"/>
                        </a:lnTo>
                        <a:lnTo>
                          <a:pt x="0" y="10"/>
                        </a:lnTo>
                        <a:lnTo>
                          <a:pt x="0" y="8"/>
                        </a:lnTo>
                        <a:lnTo>
                          <a:pt x="4" y="2"/>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4" name="Freeform 3348"/>
                  <p:cNvSpPr>
                    <a:spLocks/>
                  </p:cNvSpPr>
                  <p:nvPr/>
                </p:nvSpPr>
                <p:spPr bwMode="auto">
                  <a:xfrm>
                    <a:off x="5986075" y="5870519"/>
                    <a:ext cx="8311" cy="8311"/>
                  </a:xfrm>
                  <a:custGeom>
                    <a:avLst/>
                    <a:gdLst/>
                    <a:ahLst/>
                    <a:cxnLst>
                      <a:cxn ang="0">
                        <a:pos x="4" y="0"/>
                      </a:cxn>
                      <a:cxn ang="0">
                        <a:pos x="4" y="2"/>
                      </a:cxn>
                      <a:cxn ang="0">
                        <a:pos x="4" y="4"/>
                      </a:cxn>
                      <a:cxn ang="0">
                        <a:pos x="2" y="4"/>
                      </a:cxn>
                      <a:cxn ang="0">
                        <a:pos x="0" y="2"/>
                      </a:cxn>
                      <a:cxn ang="0">
                        <a:pos x="2" y="2"/>
                      </a:cxn>
                      <a:cxn ang="0">
                        <a:pos x="2" y="0"/>
                      </a:cxn>
                      <a:cxn ang="0">
                        <a:pos x="4" y="0"/>
                      </a:cxn>
                    </a:cxnLst>
                    <a:rect l="0" t="0" r="r" b="b"/>
                    <a:pathLst>
                      <a:path w="4" h="4">
                        <a:moveTo>
                          <a:pt x="4" y="0"/>
                        </a:moveTo>
                        <a:lnTo>
                          <a:pt x="4" y="2"/>
                        </a:lnTo>
                        <a:lnTo>
                          <a:pt x="4" y="4"/>
                        </a:lnTo>
                        <a:lnTo>
                          <a:pt x="2" y="4"/>
                        </a:lnTo>
                        <a:lnTo>
                          <a:pt x="0" y="2"/>
                        </a:lnTo>
                        <a:lnTo>
                          <a:pt x="2" y="2"/>
                        </a:lnTo>
                        <a:lnTo>
                          <a:pt x="2" y="0"/>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5" name="Freeform 3349"/>
                  <p:cNvSpPr>
                    <a:spLocks/>
                  </p:cNvSpPr>
                  <p:nvPr/>
                </p:nvSpPr>
                <p:spPr bwMode="auto">
                  <a:xfrm>
                    <a:off x="5898805" y="5870519"/>
                    <a:ext cx="12467" cy="16623"/>
                  </a:xfrm>
                  <a:custGeom>
                    <a:avLst/>
                    <a:gdLst/>
                    <a:ahLst/>
                    <a:cxnLst>
                      <a:cxn ang="0">
                        <a:pos x="2" y="8"/>
                      </a:cxn>
                      <a:cxn ang="0">
                        <a:pos x="0" y="6"/>
                      </a:cxn>
                      <a:cxn ang="0">
                        <a:pos x="0" y="2"/>
                      </a:cxn>
                      <a:cxn ang="0">
                        <a:pos x="2" y="2"/>
                      </a:cxn>
                      <a:cxn ang="0">
                        <a:pos x="4" y="0"/>
                      </a:cxn>
                      <a:cxn ang="0">
                        <a:pos x="6" y="2"/>
                      </a:cxn>
                      <a:cxn ang="0">
                        <a:pos x="4" y="4"/>
                      </a:cxn>
                      <a:cxn ang="0">
                        <a:pos x="4" y="6"/>
                      </a:cxn>
                      <a:cxn ang="0">
                        <a:pos x="4" y="8"/>
                      </a:cxn>
                      <a:cxn ang="0">
                        <a:pos x="2" y="8"/>
                      </a:cxn>
                    </a:cxnLst>
                    <a:rect l="0" t="0" r="r" b="b"/>
                    <a:pathLst>
                      <a:path w="6" h="8">
                        <a:moveTo>
                          <a:pt x="2" y="8"/>
                        </a:moveTo>
                        <a:lnTo>
                          <a:pt x="0" y="6"/>
                        </a:lnTo>
                        <a:lnTo>
                          <a:pt x="0" y="2"/>
                        </a:lnTo>
                        <a:lnTo>
                          <a:pt x="2" y="2"/>
                        </a:lnTo>
                        <a:lnTo>
                          <a:pt x="4" y="0"/>
                        </a:lnTo>
                        <a:lnTo>
                          <a:pt x="6" y="2"/>
                        </a:lnTo>
                        <a:lnTo>
                          <a:pt x="4" y="4"/>
                        </a:lnTo>
                        <a:lnTo>
                          <a:pt x="4" y="6"/>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6" name="Rectangle 3350"/>
                  <p:cNvSpPr>
                    <a:spLocks noChangeArrowheads="1"/>
                  </p:cNvSpPr>
                  <p:nvPr/>
                </p:nvSpPr>
                <p:spPr bwMode="auto">
                  <a:xfrm>
                    <a:off x="6547091" y="5874675"/>
                    <a:ext cx="8311" cy="4156"/>
                  </a:xfrm>
                  <a:prstGeom prst="rect">
                    <a:avLst/>
                  </a:prstGeom>
                  <a:grpFill/>
                  <a:ln w="3175">
                    <a:solidFill>
                      <a:schemeClr val="bg1"/>
                    </a:solidFill>
                    <a:miter lim="800000"/>
                    <a:headEnd/>
                    <a:tailEnd/>
                  </a:ln>
                </p:spPr>
                <p:txBody>
                  <a:bodyPr>
                    <a:prstTxWarp prst="textNoShape">
                      <a:avLst/>
                    </a:prstTxWarp>
                  </a:bodyPr>
                  <a:lstStyle/>
                  <a:p>
                    <a:endParaRPr lang="en-GB">
                      <a:solidFill>
                        <a:srgbClr val="000000"/>
                      </a:solidFill>
                    </a:endParaRPr>
                  </a:p>
                </p:txBody>
              </p:sp>
              <p:sp>
                <p:nvSpPr>
                  <p:cNvPr id="747" name="Freeform 3351"/>
                  <p:cNvSpPr>
                    <a:spLocks/>
                  </p:cNvSpPr>
                  <p:nvPr/>
                </p:nvSpPr>
                <p:spPr bwMode="auto">
                  <a:xfrm>
                    <a:off x="5807380" y="5874675"/>
                    <a:ext cx="49868" cy="45712"/>
                  </a:xfrm>
                  <a:custGeom>
                    <a:avLst/>
                    <a:gdLst/>
                    <a:ahLst/>
                    <a:cxnLst>
                      <a:cxn ang="0">
                        <a:pos x="14" y="2"/>
                      </a:cxn>
                      <a:cxn ang="0">
                        <a:pos x="14" y="0"/>
                      </a:cxn>
                      <a:cxn ang="0">
                        <a:pos x="22" y="4"/>
                      </a:cxn>
                      <a:cxn ang="0">
                        <a:pos x="24" y="4"/>
                      </a:cxn>
                      <a:cxn ang="0">
                        <a:pos x="24" y="6"/>
                      </a:cxn>
                      <a:cxn ang="0">
                        <a:pos x="20" y="16"/>
                      </a:cxn>
                      <a:cxn ang="0">
                        <a:pos x="20" y="18"/>
                      </a:cxn>
                      <a:cxn ang="0">
                        <a:pos x="20" y="20"/>
                      </a:cxn>
                      <a:cxn ang="0">
                        <a:pos x="18" y="20"/>
                      </a:cxn>
                      <a:cxn ang="0">
                        <a:pos x="18" y="18"/>
                      </a:cxn>
                      <a:cxn ang="0">
                        <a:pos x="16" y="18"/>
                      </a:cxn>
                      <a:cxn ang="0">
                        <a:pos x="14" y="20"/>
                      </a:cxn>
                      <a:cxn ang="0">
                        <a:pos x="12" y="22"/>
                      </a:cxn>
                      <a:cxn ang="0">
                        <a:pos x="10" y="20"/>
                      </a:cxn>
                      <a:cxn ang="0">
                        <a:pos x="8" y="20"/>
                      </a:cxn>
                      <a:cxn ang="0">
                        <a:pos x="6" y="20"/>
                      </a:cxn>
                      <a:cxn ang="0">
                        <a:pos x="4" y="20"/>
                      </a:cxn>
                      <a:cxn ang="0">
                        <a:pos x="0" y="18"/>
                      </a:cxn>
                      <a:cxn ang="0">
                        <a:pos x="0" y="16"/>
                      </a:cxn>
                      <a:cxn ang="0">
                        <a:pos x="2" y="16"/>
                      </a:cxn>
                      <a:cxn ang="0">
                        <a:pos x="4" y="16"/>
                      </a:cxn>
                      <a:cxn ang="0">
                        <a:pos x="6" y="16"/>
                      </a:cxn>
                      <a:cxn ang="0">
                        <a:pos x="8" y="12"/>
                      </a:cxn>
                      <a:cxn ang="0">
                        <a:pos x="6" y="10"/>
                      </a:cxn>
                      <a:cxn ang="0">
                        <a:pos x="8" y="6"/>
                      </a:cxn>
                      <a:cxn ang="0">
                        <a:pos x="14" y="2"/>
                      </a:cxn>
                    </a:cxnLst>
                    <a:rect l="0" t="0" r="r" b="b"/>
                    <a:pathLst>
                      <a:path w="24" h="22">
                        <a:moveTo>
                          <a:pt x="14" y="2"/>
                        </a:moveTo>
                        <a:lnTo>
                          <a:pt x="14" y="0"/>
                        </a:lnTo>
                        <a:lnTo>
                          <a:pt x="22" y="4"/>
                        </a:lnTo>
                        <a:lnTo>
                          <a:pt x="24" y="4"/>
                        </a:lnTo>
                        <a:lnTo>
                          <a:pt x="24" y="6"/>
                        </a:lnTo>
                        <a:lnTo>
                          <a:pt x="20" y="16"/>
                        </a:lnTo>
                        <a:lnTo>
                          <a:pt x="20" y="18"/>
                        </a:lnTo>
                        <a:lnTo>
                          <a:pt x="20" y="20"/>
                        </a:lnTo>
                        <a:lnTo>
                          <a:pt x="18" y="20"/>
                        </a:lnTo>
                        <a:lnTo>
                          <a:pt x="18" y="18"/>
                        </a:lnTo>
                        <a:lnTo>
                          <a:pt x="16" y="18"/>
                        </a:lnTo>
                        <a:lnTo>
                          <a:pt x="14" y="20"/>
                        </a:lnTo>
                        <a:lnTo>
                          <a:pt x="12" y="22"/>
                        </a:lnTo>
                        <a:lnTo>
                          <a:pt x="10" y="20"/>
                        </a:lnTo>
                        <a:lnTo>
                          <a:pt x="8" y="20"/>
                        </a:lnTo>
                        <a:lnTo>
                          <a:pt x="6" y="20"/>
                        </a:lnTo>
                        <a:lnTo>
                          <a:pt x="4" y="20"/>
                        </a:lnTo>
                        <a:lnTo>
                          <a:pt x="0" y="18"/>
                        </a:lnTo>
                        <a:lnTo>
                          <a:pt x="0" y="16"/>
                        </a:lnTo>
                        <a:lnTo>
                          <a:pt x="2" y="16"/>
                        </a:lnTo>
                        <a:lnTo>
                          <a:pt x="4" y="16"/>
                        </a:lnTo>
                        <a:lnTo>
                          <a:pt x="6" y="16"/>
                        </a:lnTo>
                        <a:lnTo>
                          <a:pt x="8" y="12"/>
                        </a:lnTo>
                        <a:lnTo>
                          <a:pt x="6" y="10"/>
                        </a:lnTo>
                        <a:lnTo>
                          <a:pt x="8" y="6"/>
                        </a:lnTo>
                        <a:lnTo>
                          <a:pt x="1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8" name="Freeform 3352"/>
                  <p:cNvSpPr>
                    <a:spLocks/>
                  </p:cNvSpPr>
                  <p:nvPr/>
                </p:nvSpPr>
                <p:spPr bwMode="auto">
                  <a:xfrm>
                    <a:off x="6214637" y="5878831"/>
                    <a:ext cx="20778" cy="8311"/>
                  </a:xfrm>
                  <a:custGeom>
                    <a:avLst/>
                    <a:gdLst/>
                    <a:ahLst/>
                    <a:cxnLst>
                      <a:cxn ang="0">
                        <a:pos x="2" y="2"/>
                      </a:cxn>
                      <a:cxn ang="0">
                        <a:pos x="6" y="0"/>
                      </a:cxn>
                      <a:cxn ang="0">
                        <a:pos x="10" y="0"/>
                      </a:cxn>
                      <a:cxn ang="0">
                        <a:pos x="10" y="2"/>
                      </a:cxn>
                      <a:cxn ang="0">
                        <a:pos x="8" y="4"/>
                      </a:cxn>
                      <a:cxn ang="0">
                        <a:pos x="0" y="4"/>
                      </a:cxn>
                      <a:cxn ang="0">
                        <a:pos x="0" y="2"/>
                      </a:cxn>
                      <a:cxn ang="0">
                        <a:pos x="2" y="2"/>
                      </a:cxn>
                    </a:cxnLst>
                    <a:rect l="0" t="0" r="r" b="b"/>
                    <a:pathLst>
                      <a:path w="10" h="4">
                        <a:moveTo>
                          <a:pt x="2" y="2"/>
                        </a:moveTo>
                        <a:lnTo>
                          <a:pt x="6" y="0"/>
                        </a:lnTo>
                        <a:lnTo>
                          <a:pt x="10" y="0"/>
                        </a:lnTo>
                        <a:lnTo>
                          <a:pt x="10" y="2"/>
                        </a:lnTo>
                        <a:lnTo>
                          <a:pt x="8" y="4"/>
                        </a:lnTo>
                        <a:lnTo>
                          <a:pt x="0" y="4"/>
                        </a:lnTo>
                        <a:lnTo>
                          <a:pt x="0" y="2"/>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9" name="Freeform 3353"/>
                  <p:cNvSpPr>
                    <a:spLocks/>
                  </p:cNvSpPr>
                  <p:nvPr/>
                </p:nvSpPr>
                <p:spPr bwMode="auto">
                  <a:xfrm>
                    <a:off x="6006853" y="5891298"/>
                    <a:ext cx="12467" cy="16623"/>
                  </a:xfrm>
                  <a:custGeom>
                    <a:avLst/>
                    <a:gdLst/>
                    <a:ahLst/>
                    <a:cxnLst>
                      <a:cxn ang="0">
                        <a:pos x="2" y="8"/>
                      </a:cxn>
                      <a:cxn ang="0">
                        <a:pos x="4" y="8"/>
                      </a:cxn>
                      <a:cxn ang="0">
                        <a:pos x="0" y="8"/>
                      </a:cxn>
                      <a:cxn ang="0">
                        <a:pos x="2" y="6"/>
                      </a:cxn>
                      <a:cxn ang="0">
                        <a:pos x="2" y="0"/>
                      </a:cxn>
                      <a:cxn ang="0">
                        <a:pos x="4" y="0"/>
                      </a:cxn>
                      <a:cxn ang="0">
                        <a:pos x="6" y="0"/>
                      </a:cxn>
                      <a:cxn ang="0">
                        <a:pos x="6" y="2"/>
                      </a:cxn>
                      <a:cxn ang="0">
                        <a:pos x="6" y="4"/>
                      </a:cxn>
                      <a:cxn ang="0">
                        <a:pos x="4" y="2"/>
                      </a:cxn>
                      <a:cxn ang="0">
                        <a:pos x="2" y="4"/>
                      </a:cxn>
                      <a:cxn ang="0">
                        <a:pos x="2" y="8"/>
                      </a:cxn>
                    </a:cxnLst>
                    <a:rect l="0" t="0" r="r" b="b"/>
                    <a:pathLst>
                      <a:path w="6" h="8">
                        <a:moveTo>
                          <a:pt x="2" y="8"/>
                        </a:moveTo>
                        <a:lnTo>
                          <a:pt x="4" y="8"/>
                        </a:lnTo>
                        <a:lnTo>
                          <a:pt x="0" y="8"/>
                        </a:lnTo>
                        <a:lnTo>
                          <a:pt x="2" y="6"/>
                        </a:lnTo>
                        <a:lnTo>
                          <a:pt x="2" y="0"/>
                        </a:lnTo>
                        <a:lnTo>
                          <a:pt x="4" y="0"/>
                        </a:lnTo>
                        <a:lnTo>
                          <a:pt x="6" y="0"/>
                        </a:lnTo>
                        <a:lnTo>
                          <a:pt x="6" y="2"/>
                        </a:lnTo>
                        <a:lnTo>
                          <a:pt x="6" y="4"/>
                        </a:lnTo>
                        <a:lnTo>
                          <a:pt x="4" y="2"/>
                        </a:lnTo>
                        <a:lnTo>
                          <a:pt x="2" y="4"/>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0" name="Freeform 3354"/>
                  <p:cNvSpPr>
                    <a:spLocks/>
                  </p:cNvSpPr>
                  <p:nvPr/>
                </p:nvSpPr>
                <p:spPr bwMode="auto">
                  <a:xfrm>
                    <a:off x="6206326" y="5891298"/>
                    <a:ext cx="16623" cy="8311"/>
                  </a:xfrm>
                  <a:custGeom>
                    <a:avLst/>
                    <a:gdLst/>
                    <a:ahLst/>
                    <a:cxnLst>
                      <a:cxn ang="0">
                        <a:pos x="2" y="4"/>
                      </a:cxn>
                      <a:cxn ang="0">
                        <a:pos x="0" y="4"/>
                      </a:cxn>
                      <a:cxn ang="0">
                        <a:pos x="0" y="2"/>
                      </a:cxn>
                      <a:cxn ang="0">
                        <a:pos x="2" y="2"/>
                      </a:cxn>
                      <a:cxn ang="0">
                        <a:pos x="4" y="0"/>
                      </a:cxn>
                      <a:cxn ang="0">
                        <a:pos x="8" y="0"/>
                      </a:cxn>
                      <a:cxn ang="0">
                        <a:pos x="6" y="2"/>
                      </a:cxn>
                      <a:cxn ang="0">
                        <a:pos x="4" y="2"/>
                      </a:cxn>
                      <a:cxn ang="0">
                        <a:pos x="2" y="4"/>
                      </a:cxn>
                    </a:cxnLst>
                    <a:rect l="0" t="0" r="r" b="b"/>
                    <a:pathLst>
                      <a:path w="8" h="4">
                        <a:moveTo>
                          <a:pt x="2" y="4"/>
                        </a:moveTo>
                        <a:lnTo>
                          <a:pt x="0" y="4"/>
                        </a:lnTo>
                        <a:lnTo>
                          <a:pt x="0" y="2"/>
                        </a:lnTo>
                        <a:lnTo>
                          <a:pt x="2" y="2"/>
                        </a:lnTo>
                        <a:lnTo>
                          <a:pt x="4" y="0"/>
                        </a:lnTo>
                        <a:lnTo>
                          <a:pt x="8" y="0"/>
                        </a:lnTo>
                        <a:lnTo>
                          <a:pt x="6" y="2"/>
                        </a:lnTo>
                        <a:lnTo>
                          <a:pt x="4" y="2"/>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1" name="Freeform 3355"/>
                  <p:cNvSpPr>
                    <a:spLocks/>
                  </p:cNvSpPr>
                  <p:nvPr/>
                </p:nvSpPr>
                <p:spPr bwMode="auto">
                  <a:xfrm>
                    <a:off x="6019320" y="5899609"/>
                    <a:ext cx="8311" cy="12467"/>
                  </a:xfrm>
                  <a:custGeom>
                    <a:avLst/>
                    <a:gdLst/>
                    <a:ahLst/>
                    <a:cxnLst>
                      <a:cxn ang="0">
                        <a:pos x="4" y="4"/>
                      </a:cxn>
                      <a:cxn ang="0">
                        <a:pos x="4" y="6"/>
                      </a:cxn>
                      <a:cxn ang="0">
                        <a:pos x="0" y="4"/>
                      </a:cxn>
                      <a:cxn ang="0">
                        <a:pos x="2" y="4"/>
                      </a:cxn>
                      <a:cxn ang="0">
                        <a:pos x="2" y="0"/>
                      </a:cxn>
                      <a:cxn ang="0">
                        <a:pos x="4" y="2"/>
                      </a:cxn>
                      <a:cxn ang="0">
                        <a:pos x="4" y="4"/>
                      </a:cxn>
                    </a:cxnLst>
                    <a:rect l="0" t="0" r="r" b="b"/>
                    <a:pathLst>
                      <a:path w="4" h="6">
                        <a:moveTo>
                          <a:pt x="4" y="4"/>
                        </a:moveTo>
                        <a:lnTo>
                          <a:pt x="4" y="6"/>
                        </a:lnTo>
                        <a:lnTo>
                          <a:pt x="0" y="4"/>
                        </a:lnTo>
                        <a:lnTo>
                          <a:pt x="2" y="4"/>
                        </a:lnTo>
                        <a:lnTo>
                          <a:pt x="2"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2" name="Freeform 3356"/>
                  <p:cNvSpPr>
                    <a:spLocks/>
                  </p:cNvSpPr>
                  <p:nvPr/>
                </p:nvSpPr>
                <p:spPr bwMode="auto">
                  <a:xfrm>
                    <a:off x="5786602" y="5903765"/>
                    <a:ext cx="8311" cy="8311"/>
                  </a:xfrm>
                  <a:custGeom>
                    <a:avLst/>
                    <a:gdLst/>
                    <a:ahLst/>
                    <a:cxnLst>
                      <a:cxn ang="0">
                        <a:pos x="4" y="4"/>
                      </a:cxn>
                      <a:cxn ang="0">
                        <a:pos x="2" y="4"/>
                      </a:cxn>
                      <a:cxn ang="0">
                        <a:pos x="2" y="2"/>
                      </a:cxn>
                      <a:cxn ang="0">
                        <a:pos x="0" y="2"/>
                      </a:cxn>
                      <a:cxn ang="0">
                        <a:pos x="0" y="0"/>
                      </a:cxn>
                      <a:cxn ang="0">
                        <a:pos x="2" y="0"/>
                      </a:cxn>
                      <a:cxn ang="0">
                        <a:pos x="4" y="0"/>
                      </a:cxn>
                      <a:cxn ang="0">
                        <a:pos x="4" y="2"/>
                      </a:cxn>
                      <a:cxn ang="0">
                        <a:pos x="4" y="4"/>
                      </a:cxn>
                    </a:cxnLst>
                    <a:rect l="0" t="0" r="r" b="b"/>
                    <a:pathLst>
                      <a:path w="4" h="4">
                        <a:moveTo>
                          <a:pt x="4" y="4"/>
                        </a:moveTo>
                        <a:lnTo>
                          <a:pt x="2" y="4"/>
                        </a:lnTo>
                        <a:lnTo>
                          <a:pt x="2" y="2"/>
                        </a:lnTo>
                        <a:lnTo>
                          <a:pt x="0" y="2"/>
                        </a:lnTo>
                        <a:lnTo>
                          <a:pt x="0" y="0"/>
                        </a:lnTo>
                        <a:lnTo>
                          <a:pt x="2" y="0"/>
                        </a:lnTo>
                        <a:lnTo>
                          <a:pt x="4"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3" name="Freeform 3357"/>
                  <p:cNvSpPr>
                    <a:spLocks/>
                  </p:cNvSpPr>
                  <p:nvPr/>
                </p:nvSpPr>
                <p:spPr bwMode="auto">
                  <a:xfrm>
                    <a:off x="6243727" y="5920388"/>
                    <a:ext cx="91425" cy="83114"/>
                  </a:xfrm>
                  <a:custGeom>
                    <a:avLst/>
                    <a:gdLst/>
                    <a:ahLst/>
                    <a:cxnLst>
                      <a:cxn ang="0">
                        <a:pos x="14" y="10"/>
                      </a:cxn>
                      <a:cxn ang="0">
                        <a:pos x="14" y="12"/>
                      </a:cxn>
                      <a:cxn ang="0">
                        <a:pos x="16" y="12"/>
                      </a:cxn>
                      <a:cxn ang="0">
                        <a:pos x="18" y="12"/>
                      </a:cxn>
                      <a:cxn ang="0">
                        <a:pos x="20" y="12"/>
                      </a:cxn>
                      <a:cxn ang="0">
                        <a:pos x="20" y="14"/>
                      </a:cxn>
                      <a:cxn ang="0">
                        <a:pos x="22" y="14"/>
                      </a:cxn>
                      <a:cxn ang="0">
                        <a:pos x="24" y="12"/>
                      </a:cxn>
                      <a:cxn ang="0">
                        <a:pos x="26" y="6"/>
                      </a:cxn>
                      <a:cxn ang="0">
                        <a:pos x="28" y="6"/>
                      </a:cxn>
                      <a:cxn ang="0">
                        <a:pos x="36" y="0"/>
                      </a:cxn>
                      <a:cxn ang="0">
                        <a:pos x="38" y="0"/>
                      </a:cxn>
                      <a:cxn ang="0">
                        <a:pos x="40" y="2"/>
                      </a:cxn>
                      <a:cxn ang="0">
                        <a:pos x="42" y="2"/>
                      </a:cxn>
                      <a:cxn ang="0">
                        <a:pos x="44" y="0"/>
                      </a:cxn>
                      <a:cxn ang="0">
                        <a:pos x="44" y="2"/>
                      </a:cxn>
                      <a:cxn ang="0">
                        <a:pos x="44" y="4"/>
                      </a:cxn>
                      <a:cxn ang="0">
                        <a:pos x="44" y="6"/>
                      </a:cxn>
                      <a:cxn ang="0">
                        <a:pos x="42" y="6"/>
                      </a:cxn>
                      <a:cxn ang="0">
                        <a:pos x="40" y="6"/>
                      </a:cxn>
                      <a:cxn ang="0">
                        <a:pos x="40" y="8"/>
                      </a:cxn>
                      <a:cxn ang="0">
                        <a:pos x="44" y="12"/>
                      </a:cxn>
                      <a:cxn ang="0">
                        <a:pos x="44" y="14"/>
                      </a:cxn>
                      <a:cxn ang="0">
                        <a:pos x="42" y="14"/>
                      </a:cxn>
                      <a:cxn ang="0">
                        <a:pos x="40" y="16"/>
                      </a:cxn>
                      <a:cxn ang="0">
                        <a:pos x="40" y="20"/>
                      </a:cxn>
                      <a:cxn ang="0">
                        <a:pos x="38" y="20"/>
                      </a:cxn>
                      <a:cxn ang="0">
                        <a:pos x="32" y="28"/>
                      </a:cxn>
                      <a:cxn ang="0">
                        <a:pos x="30" y="28"/>
                      </a:cxn>
                      <a:cxn ang="0">
                        <a:pos x="28" y="30"/>
                      </a:cxn>
                      <a:cxn ang="0">
                        <a:pos x="26" y="34"/>
                      </a:cxn>
                      <a:cxn ang="0">
                        <a:pos x="16" y="34"/>
                      </a:cxn>
                      <a:cxn ang="0">
                        <a:pos x="14" y="36"/>
                      </a:cxn>
                      <a:cxn ang="0">
                        <a:pos x="12" y="36"/>
                      </a:cxn>
                      <a:cxn ang="0">
                        <a:pos x="10" y="38"/>
                      </a:cxn>
                      <a:cxn ang="0">
                        <a:pos x="8" y="38"/>
                      </a:cxn>
                      <a:cxn ang="0">
                        <a:pos x="8" y="40"/>
                      </a:cxn>
                      <a:cxn ang="0">
                        <a:pos x="2" y="40"/>
                      </a:cxn>
                      <a:cxn ang="0">
                        <a:pos x="0" y="38"/>
                      </a:cxn>
                      <a:cxn ang="0">
                        <a:pos x="0" y="34"/>
                      </a:cxn>
                      <a:cxn ang="0">
                        <a:pos x="2" y="34"/>
                      </a:cxn>
                      <a:cxn ang="0">
                        <a:pos x="4" y="34"/>
                      </a:cxn>
                      <a:cxn ang="0">
                        <a:pos x="4" y="32"/>
                      </a:cxn>
                      <a:cxn ang="0">
                        <a:pos x="6" y="32"/>
                      </a:cxn>
                      <a:cxn ang="0">
                        <a:pos x="6" y="30"/>
                      </a:cxn>
                      <a:cxn ang="0">
                        <a:pos x="4" y="30"/>
                      </a:cxn>
                      <a:cxn ang="0">
                        <a:pos x="4" y="28"/>
                      </a:cxn>
                      <a:cxn ang="0">
                        <a:pos x="2" y="30"/>
                      </a:cxn>
                      <a:cxn ang="0">
                        <a:pos x="2" y="28"/>
                      </a:cxn>
                      <a:cxn ang="0">
                        <a:pos x="2" y="26"/>
                      </a:cxn>
                      <a:cxn ang="0">
                        <a:pos x="4" y="26"/>
                      </a:cxn>
                      <a:cxn ang="0">
                        <a:pos x="4" y="18"/>
                      </a:cxn>
                      <a:cxn ang="0">
                        <a:pos x="14" y="10"/>
                      </a:cxn>
                    </a:cxnLst>
                    <a:rect l="0" t="0" r="r" b="b"/>
                    <a:pathLst>
                      <a:path w="44" h="40">
                        <a:moveTo>
                          <a:pt x="14" y="10"/>
                        </a:moveTo>
                        <a:lnTo>
                          <a:pt x="14" y="12"/>
                        </a:lnTo>
                        <a:lnTo>
                          <a:pt x="16" y="12"/>
                        </a:lnTo>
                        <a:lnTo>
                          <a:pt x="18" y="12"/>
                        </a:lnTo>
                        <a:lnTo>
                          <a:pt x="20" y="12"/>
                        </a:lnTo>
                        <a:lnTo>
                          <a:pt x="20" y="14"/>
                        </a:lnTo>
                        <a:lnTo>
                          <a:pt x="22" y="14"/>
                        </a:lnTo>
                        <a:lnTo>
                          <a:pt x="24" y="12"/>
                        </a:lnTo>
                        <a:lnTo>
                          <a:pt x="26" y="6"/>
                        </a:lnTo>
                        <a:lnTo>
                          <a:pt x="28" y="6"/>
                        </a:lnTo>
                        <a:lnTo>
                          <a:pt x="36" y="0"/>
                        </a:lnTo>
                        <a:lnTo>
                          <a:pt x="38" y="0"/>
                        </a:lnTo>
                        <a:lnTo>
                          <a:pt x="40" y="2"/>
                        </a:lnTo>
                        <a:lnTo>
                          <a:pt x="42" y="2"/>
                        </a:lnTo>
                        <a:lnTo>
                          <a:pt x="44" y="0"/>
                        </a:lnTo>
                        <a:lnTo>
                          <a:pt x="44" y="2"/>
                        </a:lnTo>
                        <a:lnTo>
                          <a:pt x="44" y="4"/>
                        </a:lnTo>
                        <a:lnTo>
                          <a:pt x="44" y="6"/>
                        </a:lnTo>
                        <a:lnTo>
                          <a:pt x="42" y="6"/>
                        </a:lnTo>
                        <a:lnTo>
                          <a:pt x="40" y="6"/>
                        </a:lnTo>
                        <a:lnTo>
                          <a:pt x="40" y="8"/>
                        </a:lnTo>
                        <a:lnTo>
                          <a:pt x="44" y="12"/>
                        </a:lnTo>
                        <a:lnTo>
                          <a:pt x="44" y="14"/>
                        </a:lnTo>
                        <a:lnTo>
                          <a:pt x="42" y="14"/>
                        </a:lnTo>
                        <a:lnTo>
                          <a:pt x="40" y="16"/>
                        </a:lnTo>
                        <a:lnTo>
                          <a:pt x="40" y="20"/>
                        </a:lnTo>
                        <a:lnTo>
                          <a:pt x="38" y="20"/>
                        </a:lnTo>
                        <a:lnTo>
                          <a:pt x="32" y="28"/>
                        </a:lnTo>
                        <a:lnTo>
                          <a:pt x="30" y="28"/>
                        </a:lnTo>
                        <a:lnTo>
                          <a:pt x="28" y="30"/>
                        </a:lnTo>
                        <a:lnTo>
                          <a:pt x="26" y="34"/>
                        </a:lnTo>
                        <a:lnTo>
                          <a:pt x="16" y="34"/>
                        </a:lnTo>
                        <a:lnTo>
                          <a:pt x="14" y="36"/>
                        </a:lnTo>
                        <a:lnTo>
                          <a:pt x="12" y="36"/>
                        </a:lnTo>
                        <a:lnTo>
                          <a:pt x="10" y="38"/>
                        </a:lnTo>
                        <a:lnTo>
                          <a:pt x="8" y="38"/>
                        </a:lnTo>
                        <a:lnTo>
                          <a:pt x="8" y="40"/>
                        </a:lnTo>
                        <a:lnTo>
                          <a:pt x="2" y="40"/>
                        </a:lnTo>
                        <a:lnTo>
                          <a:pt x="0" y="38"/>
                        </a:lnTo>
                        <a:lnTo>
                          <a:pt x="0" y="34"/>
                        </a:lnTo>
                        <a:lnTo>
                          <a:pt x="2" y="34"/>
                        </a:lnTo>
                        <a:lnTo>
                          <a:pt x="4" y="34"/>
                        </a:lnTo>
                        <a:lnTo>
                          <a:pt x="4" y="32"/>
                        </a:lnTo>
                        <a:lnTo>
                          <a:pt x="6" y="32"/>
                        </a:lnTo>
                        <a:lnTo>
                          <a:pt x="6" y="30"/>
                        </a:lnTo>
                        <a:lnTo>
                          <a:pt x="4" y="30"/>
                        </a:lnTo>
                        <a:lnTo>
                          <a:pt x="4" y="28"/>
                        </a:lnTo>
                        <a:lnTo>
                          <a:pt x="2" y="30"/>
                        </a:lnTo>
                        <a:lnTo>
                          <a:pt x="2" y="28"/>
                        </a:lnTo>
                        <a:lnTo>
                          <a:pt x="2" y="26"/>
                        </a:lnTo>
                        <a:lnTo>
                          <a:pt x="4" y="26"/>
                        </a:lnTo>
                        <a:lnTo>
                          <a:pt x="4" y="18"/>
                        </a:lnTo>
                        <a:lnTo>
                          <a:pt x="1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4" name="Freeform 3358"/>
                  <p:cNvSpPr>
                    <a:spLocks/>
                  </p:cNvSpPr>
                  <p:nvPr/>
                </p:nvSpPr>
                <p:spPr bwMode="auto">
                  <a:xfrm>
                    <a:off x="5981919" y="5937010"/>
                    <a:ext cx="108048" cy="58180"/>
                  </a:xfrm>
                  <a:custGeom>
                    <a:avLst/>
                    <a:gdLst/>
                    <a:ahLst/>
                    <a:cxnLst>
                      <a:cxn ang="0">
                        <a:pos x="8" y="14"/>
                      </a:cxn>
                      <a:cxn ang="0">
                        <a:pos x="6" y="14"/>
                      </a:cxn>
                      <a:cxn ang="0">
                        <a:pos x="6" y="12"/>
                      </a:cxn>
                      <a:cxn ang="0">
                        <a:pos x="4" y="12"/>
                      </a:cxn>
                      <a:cxn ang="0">
                        <a:pos x="0" y="8"/>
                      </a:cxn>
                      <a:cxn ang="0">
                        <a:pos x="2" y="6"/>
                      </a:cxn>
                      <a:cxn ang="0">
                        <a:pos x="4" y="4"/>
                      </a:cxn>
                      <a:cxn ang="0">
                        <a:pos x="20" y="2"/>
                      </a:cxn>
                      <a:cxn ang="0">
                        <a:pos x="22" y="4"/>
                      </a:cxn>
                      <a:cxn ang="0">
                        <a:pos x="24" y="4"/>
                      </a:cxn>
                      <a:cxn ang="0">
                        <a:pos x="24" y="2"/>
                      </a:cxn>
                      <a:cxn ang="0">
                        <a:pos x="28" y="2"/>
                      </a:cxn>
                      <a:cxn ang="0">
                        <a:pos x="28" y="0"/>
                      </a:cxn>
                      <a:cxn ang="0">
                        <a:pos x="32" y="4"/>
                      </a:cxn>
                      <a:cxn ang="0">
                        <a:pos x="32" y="6"/>
                      </a:cxn>
                      <a:cxn ang="0">
                        <a:pos x="34" y="6"/>
                      </a:cxn>
                      <a:cxn ang="0">
                        <a:pos x="36" y="6"/>
                      </a:cxn>
                      <a:cxn ang="0">
                        <a:pos x="36" y="8"/>
                      </a:cxn>
                      <a:cxn ang="0">
                        <a:pos x="36" y="10"/>
                      </a:cxn>
                      <a:cxn ang="0">
                        <a:pos x="40" y="12"/>
                      </a:cxn>
                      <a:cxn ang="0">
                        <a:pos x="40" y="10"/>
                      </a:cxn>
                      <a:cxn ang="0">
                        <a:pos x="42" y="10"/>
                      </a:cxn>
                      <a:cxn ang="0">
                        <a:pos x="46" y="14"/>
                      </a:cxn>
                      <a:cxn ang="0">
                        <a:pos x="46" y="16"/>
                      </a:cxn>
                      <a:cxn ang="0">
                        <a:pos x="48" y="18"/>
                      </a:cxn>
                      <a:cxn ang="0">
                        <a:pos x="50" y="18"/>
                      </a:cxn>
                      <a:cxn ang="0">
                        <a:pos x="52" y="20"/>
                      </a:cxn>
                      <a:cxn ang="0">
                        <a:pos x="52" y="22"/>
                      </a:cxn>
                      <a:cxn ang="0">
                        <a:pos x="48" y="26"/>
                      </a:cxn>
                      <a:cxn ang="0">
                        <a:pos x="36" y="28"/>
                      </a:cxn>
                      <a:cxn ang="0">
                        <a:pos x="34" y="26"/>
                      </a:cxn>
                      <a:cxn ang="0">
                        <a:pos x="30" y="24"/>
                      </a:cxn>
                      <a:cxn ang="0">
                        <a:pos x="30" y="22"/>
                      </a:cxn>
                      <a:cxn ang="0">
                        <a:pos x="24" y="18"/>
                      </a:cxn>
                      <a:cxn ang="0">
                        <a:pos x="22" y="18"/>
                      </a:cxn>
                      <a:cxn ang="0">
                        <a:pos x="22" y="16"/>
                      </a:cxn>
                      <a:cxn ang="0">
                        <a:pos x="22" y="14"/>
                      </a:cxn>
                      <a:cxn ang="0">
                        <a:pos x="20" y="14"/>
                      </a:cxn>
                      <a:cxn ang="0">
                        <a:pos x="8" y="14"/>
                      </a:cxn>
                    </a:cxnLst>
                    <a:rect l="0" t="0" r="r" b="b"/>
                    <a:pathLst>
                      <a:path w="52" h="28">
                        <a:moveTo>
                          <a:pt x="8" y="14"/>
                        </a:moveTo>
                        <a:lnTo>
                          <a:pt x="6" y="14"/>
                        </a:lnTo>
                        <a:lnTo>
                          <a:pt x="6" y="12"/>
                        </a:lnTo>
                        <a:lnTo>
                          <a:pt x="4" y="12"/>
                        </a:lnTo>
                        <a:lnTo>
                          <a:pt x="0" y="8"/>
                        </a:lnTo>
                        <a:lnTo>
                          <a:pt x="2" y="6"/>
                        </a:lnTo>
                        <a:lnTo>
                          <a:pt x="4" y="4"/>
                        </a:lnTo>
                        <a:lnTo>
                          <a:pt x="20" y="2"/>
                        </a:lnTo>
                        <a:lnTo>
                          <a:pt x="22" y="4"/>
                        </a:lnTo>
                        <a:lnTo>
                          <a:pt x="24" y="4"/>
                        </a:lnTo>
                        <a:lnTo>
                          <a:pt x="24" y="2"/>
                        </a:lnTo>
                        <a:lnTo>
                          <a:pt x="28" y="2"/>
                        </a:lnTo>
                        <a:lnTo>
                          <a:pt x="28" y="0"/>
                        </a:lnTo>
                        <a:lnTo>
                          <a:pt x="32" y="4"/>
                        </a:lnTo>
                        <a:lnTo>
                          <a:pt x="32" y="6"/>
                        </a:lnTo>
                        <a:lnTo>
                          <a:pt x="34" y="6"/>
                        </a:lnTo>
                        <a:lnTo>
                          <a:pt x="36" y="6"/>
                        </a:lnTo>
                        <a:lnTo>
                          <a:pt x="36" y="8"/>
                        </a:lnTo>
                        <a:lnTo>
                          <a:pt x="36" y="10"/>
                        </a:lnTo>
                        <a:lnTo>
                          <a:pt x="40" y="12"/>
                        </a:lnTo>
                        <a:lnTo>
                          <a:pt x="40" y="10"/>
                        </a:lnTo>
                        <a:lnTo>
                          <a:pt x="42" y="10"/>
                        </a:lnTo>
                        <a:lnTo>
                          <a:pt x="46" y="14"/>
                        </a:lnTo>
                        <a:lnTo>
                          <a:pt x="46" y="16"/>
                        </a:lnTo>
                        <a:lnTo>
                          <a:pt x="48" y="18"/>
                        </a:lnTo>
                        <a:lnTo>
                          <a:pt x="50" y="18"/>
                        </a:lnTo>
                        <a:lnTo>
                          <a:pt x="52" y="20"/>
                        </a:lnTo>
                        <a:lnTo>
                          <a:pt x="52" y="22"/>
                        </a:lnTo>
                        <a:lnTo>
                          <a:pt x="48" y="26"/>
                        </a:lnTo>
                        <a:lnTo>
                          <a:pt x="36" y="28"/>
                        </a:lnTo>
                        <a:lnTo>
                          <a:pt x="34" y="26"/>
                        </a:lnTo>
                        <a:lnTo>
                          <a:pt x="30" y="24"/>
                        </a:lnTo>
                        <a:lnTo>
                          <a:pt x="30" y="22"/>
                        </a:lnTo>
                        <a:lnTo>
                          <a:pt x="24" y="18"/>
                        </a:lnTo>
                        <a:lnTo>
                          <a:pt x="22" y="18"/>
                        </a:lnTo>
                        <a:lnTo>
                          <a:pt x="22" y="16"/>
                        </a:lnTo>
                        <a:lnTo>
                          <a:pt x="22" y="14"/>
                        </a:lnTo>
                        <a:lnTo>
                          <a:pt x="20" y="14"/>
                        </a:lnTo>
                        <a:lnTo>
                          <a:pt x="8"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5" name="Freeform 3359"/>
                  <p:cNvSpPr>
                    <a:spLocks/>
                  </p:cNvSpPr>
                  <p:nvPr/>
                </p:nvSpPr>
                <p:spPr bwMode="auto">
                  <a:xfrm>
                    <a:off x="6139835" y="6003501"/>
                    <a:ext cx="16623" cy="12467"/>
                  </a:xfrm>
                  <a:custGeom>
                    <a:avLst/>
                    <a:gdLst/>
                    <a:ahLst/>
                    <a:cxnLst>
                      <a:cxn ang="0">
                        <a:pos x="0" y="4"/>
                      </a:cxn>
                      <a:cxn ang="0">
                        <a:pos x="2" y="2"/>
                      </a:cxn>
                      <a:cxn ang="0">
                        <a:pos x="4" y="2"/>
                      </a:cxn>
                      <a:cxn ang="0">
                        <a:pos x="4" y="0"/>
                      </a:cxn>
                      <a:cxn ang="0">
                        <a:pos x="6" y="0"/>
                      </a:cxn>
                      <a:cxn ang="0">
                        <a:pos x="8" y="0"/>
                      </a:cxn>
                      <a:cxn ang="0">
                        <a:pos x="8" y="2"/>
                      </a:cxn>
                      <a:cxn ang="0">
                        <a:pos x="6" y="6"/>
                      </a:cxn>
                      <a:cxn ang="0">
                        <a:pos x="0" y="6"/>
                      </a:cxn>
                      <a:cxn ang="0">
                        <a:pos x="0" y="4"/>
                      </a:cxn>
                    </a:cxnLst>
                    <a:rect l="0" t="0" r="r" b="b"/>
                    <a:pathLst>
                      <a:path w="8" h="6">
                        <a:moveTo>
                          <a:pt x="0" y="4"/>
                        </a:moveTo>
                        <a:lnTo>
                          <a:pt x="2" y="2"/>
                        </a:lnTo>
                        <a:lnTo>
                          <a:pt x="4" y="2"/>
                        </a:lnTo>
                        <a:lnTo>
                          <a:pt x="4" y="0"/>
                        </a:lnTo>
                        <a:lnTo>
                          <a:pt x="6" y="0"/>
                        </a:lnTo>
                        <a:lnTo>
                          <a:pt x="8" y="0"/>
                        </a:lnTo>
                        <a:lnTo>
                          <a:pt x="8" y="2"/>
                        </a:lnTo>
                        <a:lnTo>
                          <a:pt x="6" y="6"/>
                        </a:lnTo>
                        <a:lnTo>
                          <a:pt x="0" y="6"/>
                        </a:lnTo>
                        <a:lnTo>
                          <a:pt x="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56" name="Freeform 3360"/>
                  <p:cNvSpPr>
                    <a:spLocks/>
                  </p:cNvSpPr>
                  <p:nvPr/>
                </p:nvSpPr>
                <p:spPr bwMode="auto">
                  <a:xfrm>
                    <a:off x="6202170" y="6003501"/>
                    <a:ext cx="33245" cy="29090"/>
                  </a:xfrm>
                  <a:custGeom>
                    <a:avLst/>
                    <a:gdLst/>
                    <a:ahLst/>
                    <a:cxnLst>
                      <a:cxn ang="0">
                        <a:pos x="2" y="10"/>
                      </a:cxn>
                      <a:cxn ang="0">
                        <a:pos x="4" y="10"/>
                      </a:cxn>
                      <a:cxn ang="0">
                        <a:pos x="16" y="0"/>
                      </a:cxn>
                      <a:cxn ang="0">
                        <a:pos x="16" y="8"/>
                      </a:cxn>
                      <a:cxn ang="0">
                        <a:pos x="14" y="8"/>
                      </a:cxn>
                      <a:cxn ang="0">
                        <a:pos x="12" y="10"/>
                      </a:cxn>
                      <a:cxn ang="0">
                        <a:pos x="12" y="12"/>
                      </a:cxn>
                      <a:cxn ang="0">
                        <a:pos x="10" y="12"/>
                      </a:cxn>
                      <a:cxn ang="0">
                        <a:pos x="6" y="12"/>
                      </a:cxn>
                      <a:cxn ang="0">
                        <a:pos x="4" y="14"/>
                      </a:cxn>
                      <a:cxn ang="0">
                        <a:pos x="2" y="14"/>
                      </a:cxn>
                      <a:cxn ang="0">
                        <a:pos x="0" y="14"/>
                      </a:cxn>
                      <a:cxn ang="0">
                        <a:pos x="0" y="10"/>
                      </a:cxn>
                      <a:cxn ang="0">
                        <a:pos x="2" y="10"/>
                      </a:cxn>
                    </a:cxnLst>
                    <a:rect l="0" t="0" r="r" b="b"/>
                    <a:pathLst>
                      <a:path w="16" h="14">
                        <a:moveTo>
                          <a:pt x="2" y="10"/>
                        </a:moveTo>
                        <a:lnTo>
                          <a:pt x="4" y="10"/>
                        </a:lnTo>
                        <a:lnTo>
                          <a:pt x="16" y="0"/>
                        </a:lnTo>
                        <a:lnTo>
                          <a:pt x="16" y="8"/>
                        </a:lnTo>
                        <a:lnTo>
                          <a:pt x="14" y="8"/>
                        </a:lnTo>
                        <a:lnTo>
                          <a:pt x="12" y="10"/>
                        </a:lnTo>
                        <a:lnTo>
                          <a:pt x="12" y="12"/>
                        </a:lnTo>
                        <a:lnTo>
                          <a:pt x="10" y="12"/>
                        </a:lnTo>
                        <a:lnTo>
                          <a:pt x="6" y="12"/>
                        </a:lnTo>
                        <a:lnTo>
                          <a:pt x="4" y="14"/>
                        </a:lnTo>
                        <a:lnTo>
                          <a:pt x="2" y="14"/>
                        </a:lnTo>
                        <a:lnTo>
                          <a:pt x="0" y="14"/>
                        </a:lnTo>
                        <a:lnTo>
                          <a:pt x="0" y="10"/>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428" name="Group 3207"/>
                <p:cNvGrpSpPr>
                  <a:grpSpLocks/>
                </p:cNvGrpSpPr>
                <p:nvPr/>
              </p:nvGrpSpPr>
              <p:grpSpPr bwMode="auto">
                <a:xfrm>
                  <a:off x="3531576" y="2157063"/>
                  <a:ext cx="3474148" cy="2568210"/>
                  <a:chOff x="1936" y="1918"/>
                  <a:chExt cx="1672" cy="1236"/>
                </a:xfrm>
                <a:solidFill>
                  <a:srgbClr val="CAC0B6"/>
                </a:solidFill>
              </p:grpSpPr>
              <p:sp>
                <p:nvSpPr>
                  <p:cNvPr id="640" name="Freeform 3208"/>
                  <p:cNvSpPr>
                    <a:spLocks/>
                  </p:cNvSpPr>
                  <p:nvPr/>
                </p:nvSpPr>
                <p:spPr bwMode="auto">
                  <a:xfrm>
                    <a:off x="1936" y="1918"/>
                    <a:ext cx="1672" cy="1176"/>
                  </a:xfrm>
                  <a:custGeom>
                    <a:avLst/>
                    <a:gdLst/>
                    <a:ahLst/>
                    <a:cxnLst>
                      <a:cxn ang="0">
                        <a:pos x="1554" y="448"/>
                      </a:cxn>
                      <a:cxn ang="0">
                        <a:pos x="1636" y="334"/>
                      </a:cxn>
                      <a:cxn ang="0">
                        <a:pos x="1670" y="230"/>
                      </a:cxn>
                      <a:cxn ang="0">
                        <a:pos x="1556" y="216"/>
                      </a:cxn>
                      <a:cxn ang="0">
                        <a:pos x="1494" y="176"/>
                      </a:cxn>
                      <a:cxn ang="0">
                        <a:pos x="1452" y="84"/>
                      </a:cxn>
                      <a:cxn ang="0">
                        <a:pos x="1400" y="20"/>
                      </a:cxn>
                      <a:cxn ang="0">
                        <a:pos x="1274" y="44"/>
                      </a:cxn>
                      <a:cxn ang="0">
                        <a:pos x="1244" y="158"/>
                      </a:cxn>
                      <a:cxn ang="0">
                        <a:pos x="1248" y="260"/>
                      </a:cxn>
                      <a:cxn ang="0">
                        <a:pos x="1178" y="308"/>
                      </a:cxn>
                      <a:cxn ang="0">
                        <a:pos x="1036" y="376"/>
                      </a:cxn>
                      <a:cxn ang="0">
                        <a:pos x="920" y="458"/>
                      </a:cxn>
                      <a:cxn ang="0">
                        <a:pos x="594" y="392"/>
                      </a:cxn>
                      <a:cxn ang="0">
                        <a:pos x="466" y="340"/>
                      </a:cxn>
                      <a:cxn ang="0">
                        <a:pos x="420" y="240"/>
                      </a:cxn>
                      <a:cxn ang="0">
                        <a:pos x="344" y="224"/>
                      </a:cxn>
                      <a:cxn ang="0">
                        <a:pos x="278" y="282"/>
                      </a:cxn>
                      <a:cxn ang="0">
                        <a:pos x="244" y="356"/>
                      </a:cxn>
                      <a:cxn ang="0">
                        <a:pos x="196" y="432"/>
                      </a:cxn>
                      <a:cxn ang="0">
                        <a:pos x="118" y="508"/>
                      </a:cxn>
                      <a:cxn ang="0">
                        <a:pos x="32" y="526"/>
                      </a:cxn>
                      <a:cxn ang="0">
                        <a:pos x="30" y="606"/>
                      </a:cxn>
                      <a:cxn ang="0">
                        <a:pos x="64" y="668"/>
                      </a:cxn>
                      <a:cxn ang="0">
                        <a:pos x="132" y="732"/>
                      </a:cxn>
                      <a:cxn ang="0">
                        <a:pos x="138" y="798"/>
                      </a:cxn>
                      <a:cxn ang="0">
                        <a:pos x="182" y="862"/>
                      </a:cxn>
                      <a:cxn ang="0">
                        <a:pos x="290" y="910"/>
                      </a:cxn>
                      <a:cxn ang="0">
                        <a:pos x="352" y="940"/>
                      </a:cxn>
                      <a:cxn ang="0">
                        <a:pos x="418" y="960"/>
                      </a:cxn>
                      <a:cxn ang="0">
                        <a:pos x="486" y="944"/>
                      </a:cxn>
                      <a:cxn ang="0">
                        <a:pos x="568" y="906"/>
                      </a:cxn>
                      <a:cxn ang="0">
                        <a:pos x="624" y="930"/>
                      </a:cxn>
                      <a:cxn ang="0">
                        <a:pos x="686" y="996"/>
                      </a:cxn>
                      <a:cxn ang="0">
                        <a:pos x="664" y="1064"/>
                      </a:cxn>
                      <a:cxn ang="0">
                        <a:pos x="714" y="1122"/>
                      </a:cxn>
                      <a:cxn ang="0">
                        <a:pos x="768" y="1130"/>
                      </a:cxn>
                      <a:cxn ang="0">
                        <a:pos x="852" y="1092"/>
                      </a:cxn>
                      <a:cxn ang="0">
                        <a:pos x="920" y="1132"/>
                      </a:cxn>
                      <a:cxn ang="0">
                        <a:pos x="962" y="1132"/>
                      </a:cxn>
                      <a:cxn ang="0">
                        <a:pos x="992" y="1170"/>
                      </a:cxn>
                      <a:cxn ang="0">
                        <a:pos x="1012" y="1146"/>
                      </a:cxn>
                      <a:cxn ang="0">
                        <a:pos x="1076" y="1128"/>
                      </a:cxn>
                      <a:cxn ang="0">
                        <a:pos x="1096" y="1090"/>
                      </a:cxn>
                      <a:cxn ang="0">
                        <a:pos x="1124" y="1102"/>
                      </a:cxn>
                      <a:cxn ang="0">
                        <a:pos x="1190" y="1078"/>
                      </a:cxn>
                      <a:cxn ang="0">
                        <a:pos x="1234" y="1044"/>
                      </a:cxn>
                      <a:cxn ang="0">
                        <a:pos x="1252" y="1016"/>
                      </a:cxn>
                      <a:cxn ang="0">
                        <a:pos x="1258" y="980"/>
                      </a:cxn>
                      <a:cxn ang="0">
                        <a:pos x="1278" y="966"/>
                      </a:cxn>
                      <a:cxn ang="0">
                        <a:pos x="1306" y="922"/>
                      </a:cxn>
                      <a:cxn ang="0">
                        <a:pos x="1308" y="898"/>
                      </a:cxn>
                      <a:cxn ang="0">
                        <a:pos x="1304" y="858"/>
                      </a:cxn>
                      <a:cxn ang="0">
                        <a:pos x="1266" y="814"/>
                      </a:cxn>
                      <a:cxn ang="0">
                        <a:pos x="1278" y="752"/>
                      </a:cxn>
                      <a:cxn ang="0">
                        <a:pos x="1278" y="684"/>
                      </a:cxn>
                      <a:cxn ang="0">
                        <a:pos x="1334" y="646"/>
                      </a:cxn>
                      <a:cxn ang="0">
                        <a:pos x="1248" y="646"/>
                      </a:cxn>
                      <a:cxn ang="0">
                        <a:pos x="1224" y="580"/>
                      </a:cxn>
                      <a:cxn ang="0">
                        <a:pos x="1324" y="520"/>
                      </a:cxn>
                      <a:cxn ang="0">
                        <a:pos x="1326" y="576"/>
                      </a:cxn>
                      <a:cxn ang="0">
                        <a:pos x="1444" y="498"/>
                      </a:cxn>
                    </a:cxnLst>
                    <a:rect l="0" t="0" r="r" b="b"/>
                    <a:pathLst>
                      <a:path w="1672" h="1176">
                        <a:moveTo>
                          <a:pt x="1484" y="494"/>
                        </a:moveTo>
                        <a:lnTo>
                          <a:pt x="1486" y="494"/>
                        </a:lnTo>
                        <a:lnTo>
                          <a:pt x="1488" y="496"/>
                        </a:lnTo>
                        <a:lnTo>
                          <a:pt x="1490" y="496"/>
                        </a:lnTo>
                        <a:lnTo>
                          <a:pt x="1492" y="496"/>
                        </a:lnTo>
                        <a:lnTo>
                          <a:pt x="1496" y="488"/>
                        </a:lnTo>
                        <a:lnTo>
                          <a:pt x="1494" y="486"/>
                        </a:lnTo>
                        <a:lnTo>
                          <a:pt x="1492" y="486"/>
                        </a:lnTo>
                        <a:lnTo>
                          <a:pt x="1490" y="480"/>
                        </a:lnTo>
                        <a:lnTo>
                          <a:pt x="1488" y="474"/>
                        </a:lnTo>
                        <a:lnTo>
                          <a:pt x="1494" y="472"/>
                        </a:lnTo>
                        <a:lnTo>
                          <a:pt x="1496" y="472"/>
                        </a:lnTo>
                        <a:lnTo>
                          <a:pt x="1498" y="472"/>
                        </a:lnTo>
                        <a:lnTo>
                          <a:pt x="1498" y="474"/>
                        </a:lnTo>
                        <a:lnTo>
                          <a:pt x="1512" y="472"/>
                        </a:lnTo>
                        <a:lnTo>
                          <a:pt x="1514" y="470"/>
                        </a:lnTo>
                        <a:lnTo>
                          <a:pt x="1520" y="466"/>
                        </a:lnTo>
                        <a:lnTo>
                          <a:pt x="1520" y="460"/>
                        </a:lnTo>
                        <a:lnTo>
                          <a:pt x="1524" y="456"/>
                        </a:lnTo>
                        <a:lnTo>
                          <a:pt x="1526" y="456"/>
                        </a:lnTo>
                        <a:lnTo>
                          <a:pt x="1528" y="458"/>
                        </a:lnTo>
                        <a:lnTo>
                          <a:pt x="1532" y="456"/>
                        </a:lnTo>
                        <a:lnTo>
                          <a:pt x="1534" y="456"/>
                        </a:lnTo>
                        <a:lnTo>
                          <a:pt x="1534" y="454"/>
                        </a:lnTo>
                        <a:lnTo>
                          <a:pt x="1534" y="452"/>
                        </a:lnTo>
                        <a:lnTo>
                          <a:pt x="1538" y="436"/>
                        </a:lnTo>
                        <a:lnTo>
                          <a:pt x="1540" y="436"/>
                        </a:lnTo>
                        <a:lnTo>
                          <a:pt x="1548" y="440"/>
                        </a:lnTo>
                        <a:lnTo>
                          <a:pt x="1548" y="446"/>
                        </a:lnTo>
                        <a:lnTo>
                          <a:pt x="1556" y="452"/>
                        </a:lnTo>
                        <a:lnTo>
                          <a:pt x="1556" y="456"/>
                        </a:lnTo>
                        <a:lnTo>
                          <a:pt x="1558" y="458"/>
                        </a:lnTo>
                        <a:lnTo>
                          <a:pt x="1558" y="456"/>
                        </a:lnTo>
                        <a:lnTo>
                          <a:pt x="1558" y="452"/>
                        </a:lnTo>
                        <a:lnTo>
                          <a:pt x="1558" y="450"/>
                        </a:lnTo>
                        <a:lnTo>
                          <a:pt x="1556" y="448"/>
                        </a:lnTo>
                        <a:lnTo>
                          <a:pt x="1554" y="448"/>
                        </a:lnTo>
                        <a:lnTo>
                          <a:pt x="1552" y="448"/>
                        </a:lnTo>
                        <a:lnTo>
                          <a:pt x="1554" y="446"/>
                        </a:lnTo>
                        <a:lnTo>
                          <a:pt x="1554" y="444"/>
                        </a:lnTo>
                        <a:lnTo>
                          <a:pt x="1564" y="440"/>
                        </a:lnTo>
                        <a:lnTo>
                          <a:pt x="1566" y="442"/>
                        </a:lnTo>
                        <a:lnTo>
                          <a:pt x="1570" y="442"/>
                        </a:lnTo>
                        <a:lnTo>
                          <a:pt x="1572" y="438"/>
                        </a:lnTo>
                        <a:lnTo>
                          <a:pt x="1572" y="434"/>
                        </a:lnTo>
                        <a:lnTo>
                          <a:pt x="1576" y="426"/>
                        </a:lnTo>
                        <a:lnTo>
                          <a:pt x="1578" y="420"/>
                        </a:lnTo>
                        <a:lnTo>
                          <a:pt x="1574" y="416"/>
                        </a:lnTo>
                        <a:lnTo>
                          <a:pt x="1574" y="400"/>
                        </a:lnTo>
                        <a:lnTo>
                          <a:pt x="1576" y="398"/>
                        </a:lnTo>
                        <a:lnTo>
                          <a:pt x="1578" y="396"/>
                        </a:lnTo>
                        <a:lnTo>
                          <a:pt x="1570" y="370"/>
                        </a:lnTo>
                        <a:lnTo>
                          <a:pt x="1570" y="368"/>
                        </a:lnTo>
                        <a:lnTo>
                          <a:pt x="1568" y="368"/>
                        </a:lnTo>
                        <a:lnTo>
                          <a:pt x="1568" y="366"/>
                        </a:lnTo>
                        <a:lnTo>
                          <a:pt x="1572" y="362"/>
                        </a:lnTo>
                        <a:lnTo>
                          <a:pt x="1574" y="364"/>
                        </a:lnTo>
                        <a:lnTo>
                          <a:pt x="1576" y="362"/>
                        </a:lnTo>
                        <a:lnTo>
                          <a:pt x="1578" y="362"/>
                        </a:lnTo>
                        <a:lnTo>
                          <a:pt x="1582" y="362"/>
                        </a:lnTo>
                        <a:lnTo>
                          <a:pt x="1586" y="356"/>
                        </a:lnTo>
                        <a:lnTo>
                          <a:pt x="1592" y="346"/>
                        </a:lnTo>
                        <a:lnTo>
                          <a:pt x="1594" y="346"/>
                        </a:lnTo>
                        <a:lnTo>
                          <a:pt x="1594" y="348"/>
                        </a:lnTo>
                        <a:lnTo>
                          <a:pt x="1596" y="352"/>
                        </a:lnTo>
                        <a:lnTo>
                          <a:pt x="1622" y="360"/>
                        </a:lnTo>
                        <a:lnTo>
                          <a:pt x="1624" y="358"/>
                        </a:lnTo>
                        <a:lnTo>
                          <a:pt x="1626" y="356"/>
                        </a:lnTo>
                        <a:lnTo>
                          <a:pt x="1626" y="352"/>
                        </a:lnTo>
                        <a:lnTo>
                          <a:pt x="1626" y="344"/>
                        </a:lnTo>
                        <a:lnTo>
                          <a:pt x="1628" y="340"/>
                        </a:lnTo>
                        <a:lnTo>
                          <a:pt x="1630" y="340"/>
                        </a:lnTo>
                        <a:lnTo>
                          <a:pt x="1636" y="336"/>
                        </a:lnTo>
                        <a:lnTo>
                          <a:pt x="1636" y="334"/>
                        </a:lnTo>
                        <a:lnTo>
                          <a:pt x="1636" y="328"/>
                        </a:lnTo>
                        <a:lnTo>
                          <a:pt x="1638" y="326"/>
                        </a:lnTo>
                        <a:lnTo>
                          <a:pt x="1640" y="326"/>
                        </a:lnTo>
                        <a:lnTo>
                          <a:pt x="1642" y="324"/>
                        </a:lnTo>
                        <a:lnTo>
                          <a:pt x="1644" y="316"/>
                        </a:lnTo>
                        <a:lnTo>
                          <a:pt x="1646" y="314"/>
                        </a:lnTo>
                        <a:lnTo>
                          <a:pt x="1648" y="310"/>
                        </a:lnTo>
                        <a:lnTo>
                          <a:pt x="1648" y="306"/>
                        </a:lnTo>
                        <a:lnTo>
                          <a:pt x="1648" y="304"/>
                        </a:lnTo>
                        <a:lnTo>
                          <a:pt x="1646" y="304"/>
                        </a:lnTo>
                        <a:lnTo>
                          <a:pt x="1646" y="302"/>
                        </a:lnTo>
                        <a:lnTo>
                          <a:pt x="1648" y="298"/>
                        </a:lnTo>
                        <a:lnTo>
                          <a:pt x="1650" y="298"/>
                        </a:lnTo>
                        <a:lnTo>
                          <a:pt x="1650" y="296"/>
                        </a:lnTo>
                        <a:lnTo>
                          <a:pt x="1652" y="294"/>
                        </a:lnTo>
                        <a:lnTo>
                          <a:pt x="1652" y="290"/>
                        </a:lnTo>
                        <a:lnTo>
                          <a:pt x="1652" y="286"/>
                        </a:lnTo>
                        <a:lnTo>
                          <a:pt x="1654" y="280"/>
                        </a:lnTo>
                        <a:lnTo>
                          <a:pt x="1654" y="278"/>
                        </a:lnTo>
                        <a:lnTo>
                          <a:pt x="1656" y="278"/>
                        </a:lnTo>
                        <a:lnTo>
                          <a:pt x="1656" y="276"/>
                        </a:lnTo>
                        <a:lnTo>
                          <a:pt x="1654" y="272"/>
                        </a:lnTo>
                        <a:lnTo>
                          <a:pt x="1656" y="268"/>
                        </a:lnTo>
                        <a:lnTo>
                          <a:pt x="1660" y="264"/>
                        </a:lnTo>
                        <a:lnTo>
                          <a:pt x="1664" y="264"/>
                        </a:lnTo>
                        <a:lnTo>
                          <a:pt x="1672" y="252"/>
                        </a:lnTo>
                        <a:lnTo>
                          <a:pt x="1670" y="250"/>
                        </a:lnTo>
                        <a:lnTo>
                          <a:pt x="1666" y="244"/>
                        </a:lnTo>
                        <a:lnTo>
                          <a:pt x="1666" y="240"/>
                        </a:lnTo>
                        <a:lnTo>
                          <a:pt x="1666" y="238"/>
                        </a:lnTo>
                        <a:lnTo>
                          <a:pt x="1668" y="238"/>
                        </a:lnTo>
                        <a:lnTo>
                          <a:pt x="1668" y="236"/>
                        </a:lnTo>
                        <a:lnTo>
                          <a:pt x="1670" y="234"/>
                        </a:lnTo>
                        <a:lnTo>
                          <a:pt x="1670" y="232"/>
                        </a:lnTo>
                        <a:lnTo>
                          <a:pt x="1670" y="230"/>
                        </a:lnTo>
                        <a:lnTo>
                          <a:pt x="1672" y="230"/>
                        </a:lnTo>
                        <a:lnTo>
                          <a:pt x="1670" y="230"/>
                        </a:lnTo>
                        <a:lnTo>
                          <a:pt x="1664" y="226"/>
                        </a:lnTo>
                        <a:lnTo>
                          <a:pt x="1662" y="224"/>
                        </a:lnTo>
                        <a:lnTo>
                          <a:pt x="1656" y="228"/>
                        </a:lnTo>
                        <a:lnTo>
                          <a:pt x="1652" y="228"/>
                        </a:lnTo>
                        <a:lnTo>
                          <a:pt x="1650" y="228"/>
                        </a:lnTo>
                        <a:lnTo>
                          <a:pt x="1644" y="230"/>
                        </a:lnTo>
                        <a:lnTo>
                          <a:pt x="1638" y="234"/>
                        </a:lnTo>
                        <a:lnTo>
                          <a:pt x="1638" y="236"/>
                        </a:lnTo>
                        <a:lnTo>
                          <a:pt x="1638" y="238"/>
                        </a:lnTo>
                        <a:lnTo>
                          <a:pt x="1636" y="238"/>
                        </a:lnTo>
                        <a:lnTo>
                          <a:pt x="1626" y="236"/>
                        </a:lnTo>
                        <a:lnTo>
                          <a:pt x="1614" y="246"/>
                        </a:lnTo>
                        <a:lnTo>
                          <a:pt x="1612" y="252"/>
                        </a:lnTo>
                        <a:lnTo>
                          <a:pt x="1610" y="252"/>
                        </a:lnTo>
                        <a:lnTo>
                          <a:pt x="1608" y="252"/>
                        </a:lnTo>
                        <a:lnTo>
                          <a:pt x="1606" y="252"/>
                        </a:lnTo>
                        <a:lnTo>
                          <a:pt x="1604" y="252"/>
                        </a:lnTo>
                        <a:lnTo>
                          <a:pt x="1602" y="252"/>
                        </a:lnTo>
                        <a:lnTo>
                          <a:pt x="1586" y="254"/>
                        </a:lnTo>
                        <a:lnTo>
                          <a:pt x="1584" y="254"/>
                        </a:lnTo>
                        <a:lnTo>
                          <a:pt x="1582" y="252"/>
                        </a:lnTo>
                        <a:lnTo>
                          <a:pt x="1576" y="252"/>
                        </a:lnTo>
                        <a:lnTo>
                          <a:pt x="1574" y="252"/>
                        </a:lnTo>
                        <a:lnTo>
                          <a:pt x="1572" y="254"/>
                        </a:lnTo>
                        <a:lnTo>
                          <a:pt x="1570" y="254"/>
                        </a:lnTo>
                        <a:lnTo>
                          <a:pt x="1568" y="254"/>
                        </a:lnTo>
                        <a:lnTo>
                          <a:pt x="1566" y="252"/>
                        </a:lnTo>
                        <a:lnTo>
                          <a:pt x="1566" y="248"/>
                        </a:lnTo>
                        <a:lnTo>
                          <a:pt x="1566" y="246"/>
                        </a:lnTo>
                        <a:lnTo>
                          <a:pt x="1564" y="244"/>
                        </a:lnTo>
                        <a:lnTo>
                          <a:pt x="1564" y="242"/>
                        </a:lnTo>
                        <a:lnTo>
                          <a:pt x="1562" y="242"/>
                        </a:lnTo>
                        <a:lnTo>
                          <a:pt x="1560" y="240"/>
                        </a:lnTo>
                        <a:lnTo>
                          <a:pt x="1560" y="236"/>
                        </a:lnTo>
                        <a:lnTo>
                          <a:pt x="1564" y="228"/>
                        </a:lnTo>
                        <a:lnTo>
                          <a:pt x="1562" y="222"/>
                        </a:lnTo>
                        <a:lnTo>
                          <a:pt x="1556" y="216"/>
                        </a:lnTo>
                        <a:lnTo>
                          <a:pt x="1558" y="212"/>
                        </a:lnTo>
                        <a:lnTo>
                          <a:pt x="1558" y="208"/>
                        </a:lnTo>
                        <a:lnTo>
                          <a:pt x="1560" y="206"/>
                        </a:lnTo>
                        <a:lnTo>
                          <a:pt x="1560" y="204"/>
                        </a:lnTo>
                        <a:lnTo>
                          <a:pt x="1558" y="204"/>
                        </a:lnTo>
                        <a:lnTo>
                          <a:pt x="1556" y="206"/>
                        </a:lnTo>
                        <a:lnTo>
                          <a:pt x="1554" y="206"/>
                        </a:lnTo>
                        <a:lnTo>
                          <a:pt x="1554" y="204"/>
                        </a:lnTo>
                        <a:lnTo>
                          <a:pt x="1550" y="204"/>
                        </a:lnTo>
                        <a:lnTo>
                          <a:pt x="1548" y="206"/>
                        </a:lnTo>
                        <a:lnTo>
                          <a:pt x="1548" y="204"/>
                        </a:lnTo>
                        <a:lnTo>
                          <a:pt x="1546" y="204"/>
                        </a:lnTo>
                        <a:lnTo>
                          <a:pt x="1544" y="202"/>
                        </a:lnTo>
                        <a:lnTo>
                          <a:pt x="1538" y="198"/>
                        </a:lnTo>
                        <a:lnTo>
                          <a:pt x="1538" y="196"/>
                        </a:lnTo>
                        <a:lnTo>
                          <a:pt x="1536" y="192"/>
                        </a:lnTo>
                        <a:lnTo>
                          <a:pt x="1534" y="192"/>
                        </a:lnTo>
                        <a:lnTo>
                          <a:pt x="1534" y="190"/>
                        </a:lnTo>
                        <a:lnTo>
                          <a:pt x="1534" y="188"/>
                        </a:lnTo>
                        <a:lnTo>
                          <a:pt x="1532" y="188"/>
                        </a:lnTo>
                        <a:lnTo>
                          <a:pt x="1530" y="188"/>
                        </a:lnTo>
                        <a:lnTo>
                          <a:pt x="1528" y="186"/>
                        </a:lnTo>
                        <a:lnTo>
                          <a:pt x="1528" y="184"/>
                        </a:lnTo>
                        <a:lnTo>
                          <a:pt x="1528" y="182"/>
                        </a:lnTo>
                        <a:lnTo>
                          <a:pt x="1524" y="182"/>
                        </a:lnTo>
                        <a:lnTo>
                          <a:pt x="1520" y="184"/>
                        </a:lnTo>
                        <a:lnTo>
                          <a:pt x="1518" y="184"/>
                        </a:lnTo>
                        <a:lnTo>
                          <a:pt x="1518" y="186"/>
                        </a:lnTo>
                        <a:lnTo>
                          <a:pt x="1516" y="184"/>
                        </a:lnTo>
                        <a:lnTo>
                          <a:pt x="1514" y="184"/>
                        </a:lnTo>
                        <a:lnTo>
                          <a:pt x="1514" y="182"/>
                        </a:lnTo>
                        <a:lnTo>
                          <a:pt x="1514" y="180"/>
                        </a:lnTo>
                        <a:lnTo>
                          <a:pt x="1510" y="180"/>
                        </a:lnTo>
                        <a:lnTo>
                          <a:pt x="1508" y="176"/>
                        </a:lnTo>
                        <a:lnTo>
                          <a:pt x="1506" y="176"/>
                        </a:lnTo>
                        <a:lnTo>
                          <a:pt x="1498" y="176"/>
                        </a:lnTo>
                        <a:lnTo>
                          <a:pt x="1494" y="176"/>
                        </a:lnTo>
                        <a:lnTo>
                          <a:pt x="1492" y="176"/>
                        </a:lnTo>
                        <a:lnTo>
                          <a:pt x="1492" y="178"/>
                        </a:lnTo>
                        <a:lnTo>
                          <a:pt x="1482" y="176"/>
                        </a:lnTo>
                        <a:lnTo>
                          <a:pt x="1478" y="172"/>
                        </a:lnTo>
                        <a:lnTo>
                          <a:pt x="1478" y="168"/>
                        </a:lnTo>
                        <a:lnTo>
                          <a:pt x="1476" y="168"/>
                        </a:lnTo>
                        <a:lnTo>
                          <a:pt x="1474" y="168"/>
                        </a:lnTo>
                        <a:lnTo>
                          <a:pt x="1472" y="166"/>
                        </a:lnTo>
                        <a:lnTo>
                          <a:pt x="1472" y="154"/>
                        </a:lnTo>
                        <a:lnTo>
                          <a:pt x="1474" y="152"/>
                        </a:lnTo>
                        <a:lnTo>
                          <a:pt x="1476" y="150"/>
                        </a:lnTo>
                        <a:lnTo>
                          <a:pt x="1476" y="148"/>
                        </a:lnTo>
                        <a:lnTo>
                          <a:pt x="1474" y="148"/>
                        </a:lnTo>
                        <a:lnTo>
                          <a:pt x="1472" y="146"/>
                        </a:lnTo>
                        <a:lnTo>
                          <a:pt x="1470" y="146"/>
                        </a:lnTo>
                        <a:lnTo>
                          <a:pt x="1468" y="146"/>
                        </a:lnTo>
                        <a:lnTo>
                          <a:pt x="1466" y="138"/>
                        </a:lnTo>
                        <a:lnTo>
                          <a:pt x="1470" y="134"/>
                        </a:lnTo>
                        <a:lnTo>
                          <a:pt x="1468" y="132"/>
                        </a:lnTo>
                        <a:lnTo>
                          <a:pt x="1466" y="128"/>
                        </a:lnTo>
                        <a:lnTo>
                          <a:pt x="1466" y="126"/>
                        </a:lnTo>
                        <a:lnTo>
                          <a:pt x="1464" y="122"/>
                        </a:lnTo>
                        <a:lnTo>
                          <a:pt x="1464" y="120"/>
                        </a:lnTo>
                        <a:lnTo>
                          <a:pt x="1460" y="116"/>
                        </a:lnTo>
                        <a:lnTo>
                          <a:pt x="1456" y="110"/>
                        </a:lnTo>
                        <a:lnTo>
                          <a:pt x="1456" y="104"/>
                        </a:lnTo>
                        <a:lnTo>
                          <a:pt x="1458" y="104"/>
                        </a:lnTo>
                        <a:lnTo>
                          <a:pt x="1458" y="102"/>
                        </a:lnTo>
                        <a:lnTo>
                          <a:pt x="1458" y="100"/>
                        </a:lnTo>
                        <a:lnTo>
                          <a:pt x="1456" y="102"/>
                        </a:lnTo>
                        <a:lnTo>
                          <a:pt x="1456" y="104"/>
                        </a:lnTo>
                        <a:lnTo>
                          <a:pt x="1454" y="104"/>
                        </a:lnTo>
                        <a:lnTo>
                          <a:pt x="1454" y="100"/>
                        </a:lnTo>
                        <a:lnTo>
                          <a:pt x="1456" y="98"/>
                        </a:lnTo>
                        <a:lnTo>
                          <a:pt x="1456" y="96"/>
                        </a:lnTo>
                        <a:lnTo>
                          <a:pt x="1454" y="96"/>
                        </a:lnTo>
                        <a:lnTo>
                          <a:pt x="1452" y="84"/>
                        </a:lnTo>
                        <a:lnTo>
                          <a:pt x="1448" y="80"/>
                        </a:lnTo>
                        <a:lnTo>
                          <a:pt x="1444" y="70"/>
                        </a:lnTo>
                        <a:lnTo>
                          <a:pt x="1446" y="70"/>
                        </a:lnTo>
                        <a:lnTo>
                          <a:pt x="1448" y="64"/>
                        </a:lnTo>
                        <a:lnTo>
                          <a:pt x="1446" y="64"/>
                        </a:lnTo>
                        <a:lnTo>
                          <a:pt x="1444" y="64"/>
                        </a:lnTo>
                        <a:lnTo>
                          <a:pt x="1442" y="62"/>
                        </a:lnTo>
                        <a:lnTo>
                          <a:pt x="1440" y="62"/>
                        </a:lnTo>
                        <a:lnTo>
                          <a:pt x="1440" y="60"/>
                        </a:lnTo>
                        <a:lnTo>
                          <a:pt x="1442" y="58"/>
                        </a:lnTo>
                        <a:lnTo>
                          <a:pt x="1442" y="52"/>
                        </a:lnTo>
                        <a:lnTo>
                          <a:pt x="1438" y="50"/>
                        </a:lnTo>
                        <a:lnTo>
                          <a:pt x="1436" y="50"/>
                        </a:lnTo>
                        <a:lnTo>
                          <a:pt x="1438" y="48"/>
                        </a:lnTo>
                        <a:lnTo>
                          <a:pt x="1436" y="46"/>
                        </a:lnTo>
                        <a:lnTo>
                          <a:pt x="1434" y="44"/>
                        </a:lnTo>
                        <a:lnTo>
                          <a:pt x="1432" y="46"/>
                        </a:lnTo>
                        <a:lnTo>
                          <a:pt x="1432" y="44"/>
                        </a:lnTo>
                        <a:lnTo>
                          <a:pt x="1432" y="42"/>
                        </a:lnTo>
                        <a:lnTo>
                          <a:pt x="1432" y="38"/>
                        </a:lnTo>
                        <a:lnTo>
                          <a:pt x="1434" y="36"/>
                        </a:lnTo>
                        <a:lnTo>
                          <a:pt x="1432" y="36"/>
                        </a:lnTo>
                        <a:lnTo>
                          <a:pt x="1428" y="32"/>
                        </a:lnTo>
                        <a:lnTo>
                          <a:pt x="1426" y="30"/>
                        </a:lnTo>
                        <a:lnTo>
                          <a:pt x="1424" y="30"/>
                        </a:lnTo>
                        <a:lnTo>
                          <a:pt x="1422" y="32"/>
                        </a:lnTo>
                        <a:lnTo>
                          <a:pt x="1422" y="28"/>
                        </a:lnTo>
                        <a:lnTo>
                          <a:pt x="1424" y="28"/>
                        </a:lnTo>
                        <a:lnTo>
                          <a:pt x="1424" y="26"/>
                        </a:lnTo>
                        <a:lnTo>
                          <a:pt x="1422" y="22"/>
                        </a:lnTo>
                        <a:lnTo>
                          <a:pt x="1420" y="22"/>
                        </a:lnTo>
                        <a:lnTo>
                          <a:pt x="1414" y="20"/>
                        </a:lnTo>
                        <a:lnTo>
                          <a:pt x="1412" y="18"/>
                        </a:lnTo>
                        <a:lnTo>
                          <a:pt x="1408" y="16"/>
                        </a:lnTo>
                        <a:lnTo>
                          <a:pt x="1404" y="16"/>
                        </a:lnTo>
                        <a:lnTo>
                          <a:pt x="1402" y="18"/>
                        </a:lnTo>
                        <a:lnTo>
                          <a:pt x="1400" y="20"/>
                        </a:lnTo>
                        <a:lnTo>
                          <a:pt x="1396" y="18"/>
                        </a:lnTo>
                        <a:lnTo>
                          <a:pt x="1396" y="16"/>
                        </a:lnTo>
                        <a:lnTo>
                          <a:pt x="1390" y="16"/>
                        </a:lnTo>
                        <a:lnTo>
                          <a:pt x="1388" y="16"/>
                        </a:lnTo>
                        <a:lnTo>
                          <a:pt x="1384" y="10"/>
                        </a:lnTo>
                        <a:lnTo>
                          <a:pt x="1382" y="10"/>
                        </a:lnTo>
                        <a:lnTo>
                          <a:pt x="1380" y="10"/>
                        </a:lnTo>
                        <a:lnTo>
                          <a:pt x="1374" y="4"/>
                        </a:lnTo>
                        <a:lnTo>
                          <a:pt x="1366" y="0"/>
                        </a:lnTo>
                        <a:lnTo>
                          <a:pt x="1364" y="0"/>
                        </a:lnTo>
                        <a:lnTo>
                          <a:pt x="1362" y="2"/>
                        </a:lnTo>
                        <a:lnTo>
                          <a:pt x="1360" y="2"/>
                        </a:lnTo>
                        <a:lnTo>
                          <a:pt x="1360" y="0"/>
                        </a:lnTo>
                        <a:lnTo>
                          <a:pt x="1358" y="0"/>
                        </a:lnTo>
                        <a:lnTo>
                          <a:pt x="1356" y="0"/>
                        </a:lnTo>
                        <a:lnTo>
                          <a:pt x="1354" y="2"/>
                        </a:lnTo>
                        <a:lnTo>
                          <a:pt x="1348" y="4"/>
                        </a:lnTo>
                        <a:lnTo>
                          <a:pt x="1346" y="6"/>
                        </a:lnTo>
                        <a:lnTo>
                          <a:pt x="1330" y="6"/>
                        </a:lnTo>
                        <a:lnTo>
                          <a:pt x="1324" y="6"/>
                        </a:lnTo>
                        <a:lnTo>
                          <a:pt x="1318" y="6"/>
                        </a:lnTo>
                        <a:lnTo>
                          <a:pt x="1316" y="8"/>
                        </a:lnTo>
                        <a:lnTo>
                          <a:pt x="1312" y="10"/>
                        </a:lnTo>
                        <a:lnTo>
                          <a:pt x="1310" y="10"/>
                        </a:lnTo>
                        <a:lnTo>
                          <a:pt x="1308" y="10"/>
                        </a:lnTo>
                        <a:lnTo>
                          <a:pt x="1304" y="10"/>
                        </a:lnTo>
                        <a:lnTo>
                          <a:pt x="1302" y="12"/>
                        </a:lnTo>
                        <a:lnTo>
                          <a:pt x="1302" y="14"/>
                        </a:lnTo>
                        <a:lnTo>
                          <a:pt x="1298" y="14"/>
                        </a:lnTo>
                        <a:lnTo>
                          <a:pt x="1298" y="12"/>
                        </a:lnTo>
                        <a:lnTo>
                          <a:pt x="1292" y="12"/>
                        </a:lnTo>
                        <a:lnTo>
                          <a:pt x="1290" y="14"/>
                        </a:lnTo>
                        <a:lnTo>
                          <a:pt x="1272" y="34"/>
                        </a:lnTo>
                        <a:lnTo>
                          <a:pt x="1268" y="36"/>
                        </a:lnTo>
                        <a:lnTo>
                          <a:pt x="1268" y="44"/>
                        </a:lnTo>
                        <a:lnTo>
                          <a:pt x="1270" y="44"/>
                        </a:lnTo>
                        <a:lnTo>
                          <a:pt x="1274" y="44"/>
                        </a:lnTo>
                        <a:lnTo>
                          <a:pt x="1276" y="42"/>
                        </a:lnTo>
                        <a:lnTo>
                          <a:pt x="1280" y="42"/>
                        </a:lnTo>
                        <a:lnTo>
                          <a:pt x="1288" y="46"/>
                        </a:lnTo>
                        <a:lnTo>
                          <a:pt x="1284" y="56"/>
                        </a:lnTo>
                        <a:lnTo>
                          <a:pt x="1290" y="64"/>
                        </a:lnTo>
                        <a:lnTo>
                          <a:pt x="1290" y="66"/>
                        </a:lnTo>
                        <a:lnTo>
                          <a:pt x="1288" y="72"/>
                        </a:lnTo>
                        <a:lnTo>
                          <a:pt x="1284" y="76"/>
                        </a:lnTo>
                        <a:lnTo>
                          <a:pt x="1282" y="76"/>
                        </a:lnTo>
                        <a:lnTo>
                          <a:pt x="1272" y="86"/>
                        </a:lnTo>
                        <a:lnTo>
                          <a:pt x="1270" y="86"/>
                        </a:lnTo>
                        <a:lnTo>
                          <a:pt x="1266" y="92"/>
                        </a:lnTo>
                        <a:lnTo>
                          <a:pt x="1266" y="96"/>
                        </a:lnTo>
                        <a:lnTo>
                          <a:pt x="1264" y="102"/>
                        </a:lnTo>
                        <a:lnTo>
                          <a:pt x="1262" y="102"/>
                        </a:lnTo>
                        <a:lnTo>
                          <a:pt x="1262" y="106"/>
                        </a:lnTo>
                        <a:lnTo>
                          <a:pt x="1262" y="108"/>
                        </a:lnTo>
                        <a:lnTo>
                          <a:pt x="1260" y="112"/>
                        </a:lnTo>
                        <a:lnTo>
                          <a:pt x="1258" y="114"/>
                        </a:lnTo>
                        <a:lnTo>
                          <a:pt x="1254" y="122"/>
                        </a:lnTo>
                        <a:lnTo>
                          <a:pt x="1254" y="126"/>
                        </a:lnTo>
                        <a:lnTo>
                          <a:pt x="1254" y="128"/>
                        </a:lnTo>
                        <a:lnTo>
                          <a:pt x="1248" y="132"/>
                        </a:lnTo>
                        <a:lnTo>
                          <a:pt x="1248" y="138"/>
                        </a:lnTo>
                        <a:lnTo>
                          <a:pt x="1246" y="138"/>
                        </a:lnTo>
                        <a:lnTo>
                          <a:pt x="1246" y="140"/>
                        </a:lnTo>
                        <a:lnTo>
                          <a:pt x="1244" y="140"/>
                        </a:lnTo>
                        <a:lnTo>
                          <a:pt x="1244" y="142"/>
                        </a:lnTo>
                        <a:lnTo>
                          <a:pt x="1250" y="142"/>
                        </a:lnTo>
                        <a:lnTo>
                          <a:pt x="1250" y="144"/>
                        </a:lnTo>
                        <a:lnTo>
                          <a:pt x="1250" y="146"/>
                        </a:lnTo>
                        <a:lnTo>
                          <a:pt x="1250" y="148"/>
                        </a:lnTo>
                        <a:lnTo>
                          <a:pt x="1250" y="150"/>
                        </a:lnTo>
                        <a:lnTo>
                          <a:pt x="1250" y="152"/>
                        </a:lnTo>
                        <a:lnTo>
                          <a:pt x="1250" y="154"/>
                        </a:lnTo>
                        <a:lnTo>
                          <a:pt x="1246" y="158"/>
                        </a:lnTo>
                        <a:lnTo>
                          <a:pt x="1244" y="158"/>
                        </a:lnTo>
                        <a:lnTo>
                          <a:pt x="1242" y="158"/>
                        </a:lnTo>
                        <a:lnTo>
                          <a:pt x="1240" y="158"/>
                        </a:lnTo>
                        <a:lnTo>
                          <a:pt x="1238" y="158"/>
                        </a:lnTo>
                        <a:lnTo>
                          <a:pt x="1230" y="160"/>
                        </a:lnTo>
                        <a:lnTo>
                          <a:pt x="1228" y="160"/>
                        </a:lnTo>
                        <a:lnTo>
                          <a:pt x="1228" y="162"/>
                        </a:lnTo>
                        <a:lnTo>
                          <a:pt x="1210" y="178"/>
                        </a:lnTo>
                        <a:lnTo>
                          <a:pt x="1206" y="178"/>
                        </a:lnTo>
                        <a:lnTo>
                          <a:pt x="1200" y="174"/>
                        </a:lnTo>
                        <a:lnTo>
                          <a:pt x="1192" y="174"/>
                        </a:lnTo>
                        <a:lnTo>
                          <a:pt x="1192" y="172"/>
                        </a:lnTo>
                        <a:lnTo>
                          <a:pt x="1190" y="172"/>
                        </a:lnTo>
                        <a:lnTo>
                          <a:pt x="1178" y="164"/>
                        </a:lnTo>
                        <a:lnTo>
                          <a:pt x="1160" y="204"/>
                        </a:lnTo>
                        <a:lnTo>
                          <a:pt x="1160" y="208"/>
                        </a:lnTo>
                        <a:lnTo>
                          <a:pt x="1158" y="212"/>
                        </a:lnTo>
                        <a:lnTo>
                          <a:pt x="1156" y="214"/>
                        </a:lnTo>
                        <a:lnTo>
                          <a:pt x="1154" y="220"/>
                        </a:lnTo>
                        <a:lnTo>
                          <a:pt x="1154" y="230"/>
                        </a:lnTo>
                        <a:lnTo>
                          <a:pt x="1146" y="234"/>
                        </a:lnTo>
                        <a:lnTo>
                          <a:pt x="1148" y="244"/>
                        </a:lnTo>
                        <a:lnTo>
                          <a:pt x="1156" y="254"/>
                        </a:lnTo>
                        <a:lnTo>
                          <a:pt x="1158" y="254"/>
                        </a:lnTo>
                        <a:lnTo>
                          <a:pt x="1162" y="248"/>
                        </a:lnTo>
                        <a:lnTo>
                          <a:pt x="1166" y="246"/>
                        </a:lnTo>
                        <a:lnTo>
                          <a:pt x="1174" y="246"/>
                        </a:lnTo>
                        <a:lnTo>
                          <a:pt x="1182" y="246"/>
                        </a:lnTo>
                        <a:lnTo>
                          <a:pt x="1188" y="248"/>
                        </a:lnTo>
                        <a:lnTo>
                          <a:pt x="1194" y="254"/>
                        </a:lnTo>
                        <a:lnTo>
                          <a:pt x="1196" y="254"/>
                        </a:lnTo>
                        <a:lnTo>
                          <a:pt x="1202" y="246"/>
                        </a:lnTo>
                        <a:lnTo>
                          <a:pt x="1208" y="240"/>
                        </a:lnTo>
                        <a:lnTo>
                          <a:pt x="1228" y="240"/>
                        </a:lnTo>
                        <a:lnTo>
                          <a:pt x="1234" y="250"/>
                        </a:lnTo>
                        <a:lnTo>
                          <a:pt x="1244" y="254"/>
                        </a:lnTo>
                        <a:lnTo>
                          <a:pt x="1244" y="260"/>
                        </a:lnTo>
                        <a:lnTo>
                          <a:pt x="1248" y="260"/>
                        </a:lnTo>
                        <a:lnTo>
                          <a:pt x="1250" y="264"/>
                        </a:lnTo>
                        <a:lnTo>
                          <a:pt x="1252" y="268"/>
                        </a:lnTo>
                        <a:lnTo>
                          <a:pt x="1254" y="268"/>
                        </a:lnTo>
                        <a:lnTo>
                          <a:pt x="1262" y="276"/>
                        </a:lnTo>
                        <a:lnTo>
                          <a:pt x="1262" y="282"/>
                        </a:lnTo>
                        <a:lnTo>
                          <a:pt x="1266" y="286"/>
                        </a:lnTo>
                        <a:lnTo>
                          <a:pt x="1266" y="292"/>
                        </a:lnTo>
                        <a:lnTo>
                          <a:pt x="1266" y="294"/>
                        </a:lnTo>
                        <a:lnTo>
                          <a:pt x="1262" y="298"/>
                        </a:lnTo>
                        <a:lnTo>
                          <a:pt x="1260" y="298"/>
                        </a:lnTo>
                        <a:lnTo>
                          <a:pt x="1258" y="296"/>
                        </a:lnTo>
                        <a:lnTo>
                          <a:pt x="1256" y="296"/>
                        </a:lnTo>
                        <a:lnTo>
                          <a:pt x="1254" y="296"/>
                        </a:lnTo>
                        <a:lnTo>
                          <a:pt x="1252" y="296"/>
                        </a:lnTo>
                        <a:lnTo>
                          <a:pt x="1250" y="296"/>
                        </a:lnTo>
                        <a:lnTo>
                          <a:pt x="1250" y="298"/>
                        </a:lnTo>
                        <a:lnTo>
                          <a:pt x="1244" y="294"/>
                        </a:lnTo>
                        <a:lnTo>
                          <a:pt x="1242" y="294"/>
                        </a:lnTo>
                        <a:lnTo>
                          <a:pt x="1238" y="290"/>
                        </a:lnTo>
                        <a:lnTo>
                          <a:pt x="1234" y="292"/>
                        </a:lnTo>
                        <a:lnTo>
                          <a:pt x="1234" y="294"/>
                        </a:lnTo>
                        <a:lnTo>
                          <a:pt x="1226" y="294"/>
                        </a:lnTo>
                        <a:lnTo>
                          <a:pt x="1224" y="292"/>
                        </a:lnTo>
                        <a:lnTo>
                          <a:pt x="1222" y="292"/>
                        </a:lnTo>
                        <a:lnTo>
                          <a:pt x="1220" y="292"/>
                        </a:lnTo>
                        <a:lnTo>
                          <a:pt x="1212" y="296"/>
                        </a:lnTo>
                        <a:lnTo>
                          <a:pt x="1208" y="298"/>
                        </a:lnTo>
                        <a:lnTo>
                          <a:pt x="1208" y="300"/>
                        </a:lnTo>
                        <a:lnTo>
                          <a:pt x="1206" y="300"/>
                        </a:lnTo>
                        <a:lnTo>
                          <a:pt x="1202" y="298"/>
                        </a:lnTo>
                        <a:lnTo>
                          <a:pt x="1196" y="298"/>
                        </a:lnTo>
                        <a:lnTo>
                          <a:pt x="1198" y="300"/>
                        </a:lnTo>
                        <a:lnTo>
                          <a:pt x="1196" y="304"/>
                        </a:lnTo>
                        <a:lnTo>
                          <a:pt x="1196" y="306"/>
                        </a:lnTo>
                        <a:lnTo>
                          <a:pt x="1180" y="306"/>
                        </a:lnTo>
                        <a:lnTo>
                          <a:pt x="1180" y="308"/>
                        </a:lnTo>
                        <a:lnTo>
                          <a:pt x="1178" y="308"/>
                        </a:lnTo>
                        <a:lnTo>
                          <a:pt x="1176" y="308"/>
                        </a:lnTo>
                        <a:lnTo>
                          <a:pt x="1174" y="310"/>
                        </a:lnTo>
                        <a:lnTo>
                          <a:pt x="1174" y="312"/>
                        </a:lnTo>
                        <a:lnTo>
                          <a:pt x="1170" y="316"/>
                        </a:lnTo>
                        <a:lnTo>
                          <a:pt x="1168" y="316"/>
                        </a:lnTo>
                        <a:lnTo>
                          <a:pt x="1168" y="318"/>
                        </a:lnTo>
                        <a:lnTo>
                          <a:pt x="1164" y="326"/>
                        </a:lnTo>
                        <a:lnTo>
                          <a:pt x="1166" y="328"/>
                        </a:lnTo>
                        <a:lnTo>
                          <a:pt x="1164" y="332"/>
                        </a:lnTo>
                        <a:lnTo>
                          <a:pt x="1162" y="334"/>
                        </a:lnTo>
                        <a:lnTo>
                          <a:pt x="1160" y="334"/>
                        </a:lnTo>
                        <a:lnTo>
                          <a:pt x="1150" y="342"/>
                        </a:lnTo>
                        <a:lnTo>
                          <a:pt x="1142" y="346"/>
                        </a:lnTo>
                        <a:lnTo>
                          <a:pt x="1136" y="344"/>
                        </a:lnTo>
                        <a:lnTo>
                          <a:pt x="1130" y="346"/>
                        </a:lnTo>
                        <a:lnTo>
                          <a:pt x="1124" y="344"/>
                        </a:lnTo>
                        <a:lnTo>
                          <a:pt x="1118" y="346"/>
                        </a:lnTo>
                        <a:lnTo>
                          <a:pt x="1118" y="348"/>
                        </a:lnTo>
                        <a:lnTo>
                          <a:pt x="1114" y="354"/>
                        </a:lnTo>
                        <a:lnTo>
                          <a:pt x="1114" y="356"/>
                        </a:lnTo>
                        <a:lnTo>
                          <a:pt x="1108" y="360"/>
                        </a:lnTo>
                        <a:lnTo>
                          <a:pt x="1108" y="362"/>
                        </a:lnTo>
                        <a:lnTo>
                          <a:pt x="1104" y="362"/>
                        </a:lnTo>
                        <a:lnTo>
                          <a:pt x="1102" y="362"/>
                        </a:lnTo>
                        <a:lnTo>
                          <a:pt x="1094" y="370"/>
                        </a:lnTo>
                        <a:lnTo>
                          <a:pt x="1092" y="370"/>
                        </a:lnTo>
                        <a:lnTo>
                          <a:pt x="1090" y="368"/>
                        </a:lnTo>
                        <a:lnTo>
                          <a:pt x="1066" y="362"/>
                        </a:lnTo>
                        <a:lnTo>
                          <a:pt x="1064" y="360"/>
                        </a:lnTo>
                        <a:lnTo>
                          <a:pt x="1060" y="356"/>
                        </a:lnTo>
                        <a:lnTo>
                          <a:pt x="1058" y="358"/>
                        </a:lnTo>
                        <a:lnTo>
                          <a:pt x="1050" y="356"/>
                        </a:lnTo>
                        <a:lnTo>
                          <a:pt x="1046" y="358"/>
                        </a:lnTo>
                        <a:lnTo>
                          <a:pt x="1042" y="362"/>
                        </a:lnTo>
                        <a:lnTo>
                          <a:pt x="1038" y="372"/>
                        </a:lnTo>
                        <a:lnTo>
                          <a:pt x="1038" y="376"/>
                        </a:lnTo>
                        <a:lnTo>
                          <a:pt x="1036" y="376"/>
                        </a:lnTo>
                        <a:lnTo>
                          <a:pt x="1036" y="378"/>
                        </a:lnTo>
                        <a:lnTo>
                          <a:pt x="1036" y="380"/>
                        </a:lnTo>
                        <a:lnTo>
                          <a:pt x="1034" y="380"/>
                        </a:lnTo>
                        <a:lnTo>
                          <a:pt x="1034" y="382"/>
                        </a:lnTo>
                        <a:lnTo>
                          <a:pt x="1032" y="382"/>
                        </a:lnTo>
                        <a:lnTo>
                          <a:pt x="1032" y="386"/>
                        </a:lnTo>
                        <a:lnTo>
                          <a:pt x="1036" y="390"/>
                        </a:lnTo>
                        <a:lnTo>
                          <a:pt x="1036" y="392"/>
                        </a:lnTo>
                        <a:lnTo>
                          <a:pt x="1040" y="396"/>
                        </a:lnTo>
                        <a:lnTo>
                          <a:pt x="1046" y="400"/>
                        </a:lnTo>
                        <a:lnTo>
                          <a:pt x="1048" y="408"/>
                        </a:lnTo>
                        <a:lnTo>
                          <a:pt x="1048" y="410"/>
                        </a:lnTo>
                        <a:lnTo>
                          <a:pt x="1046" y="410"/>
                        </a:lnTo>
                        <a:lnTo>
                          <a:pt x="1044" y="410"/>
                        </a:lnTo>
                        <a:lnTo>
                          <a:pt x="1038" y="416"/>
                        </a:lnTo>
                        <a:lnTo>
                          <a:pt x="1020" y="424"/>
                        </a:lnTo>
                        <a:lnTo>
                          <a:pt x="1014" y="434"/>
                        </a:lnTo>
                        <a:lnTo>
                          <a:pt x="1012" y="438"/>
                        </a:lnTo>
                        <a:lnTo>
                          <a:pt x="1010" y="440"/>
                        </a:lnTo>
                        <a:lnTo>
                          <a:pt x="1008" y="440"/>
                        </a:lnTo>
                        <a:lnTo>
                          <a:pt x="1008" y="442"/>
                        </a:lnTo>
                        <a:lnTo>
                          <a:pt x="1006" y="444"/>
                        </a:lnTo>
                        <a:lnTo>
                          <a:pt x="998" y="448"/>
                        </a:lnTo>
                        <a:lnTo>
                          <a:pt x="998" y="450"/>
                        </a:lnTo>
                        <a:lnTo>
                          <a:pt x="992" y="450"/>
                        </a:lnTo>
                        <a:lnTo>
                          <a:pt x="986" y="452"/>
                        </a:lnTo>
                        <a:lnTo>
                          <a:pt x="982" y="456"/>
                        </a:lnTo>
                        <a:lnTo>
                          <a:pt x="976" y="456"/>
                        </a:lnTo>
                        <a:lnTo>
                          <a:pt x="976" y="458"/>
                        </a:lnTo>
                        <a:lnTo>
                          <a:pt x="968" y="456"/>
                        </a:lnTo>
                        <a:lnTo>
                          <a:pt x="962" y="458"/>
                        </a:lnTo>
                        <a:lnTo>
                          <a:pt x="948" y="456"/>
                        </a:lnTo>
                        <a:lnTo>
                          <a:pt x="946" y="456"/>
                        </a:lnTo>
                        <a:lnTo>
                          <a:pt x="938" y="458"/>
                        </a:lnTo>
                        <a:lnTo>
                          <a:pt x="926" y="458"/>
                        </a:lnTo>
                        <a:lnTo>
                          <a:pt x="926" y="456"/>
                        </a:lnTo>
                        <a:lnTo>
                          <a:pt x="920" y="458"/>
                        </a:lnTo>
                        <a:lnTo>
                          <a:pt x="920" y="460"/>
                        </a:lnTo>
                        <a:lnTo>
                          <a:pt x="906" y="462"/>
                        </a:lnTo>
                        <a:lnTo>
                          <a:pt x="864" y="482"/>
                        </a:lnTo>
                        <a:lnTo>
                          <a:pt x="858" y="488"/>
                        </a:lnTo>
                        <a:lnTo>
                          <a:pt x="856" y="486"/>
                        </a:lnTo>
                        <a:lnTo>
                          <a:pt x="844" y="486"/>
                        </a:lnTo>
                        <a:lnTo>
                          <a:pt x="844" y="478"/>
                        </a:lnTo>
                        <a:lnTo>
                          <a:pt x="832" y="480"/>
                        </a:lnTo>
                        <a:lnTo>
                          <a:pt x="826" y="480"/>
                        </a:lnTo>
                        <a:lnTo>
                          <a:pt x="794" y="468"/>
                        </a:lnTo>
                        <a:lnTo>
                          <a:pt x="790" y="468"/>
                        </a:lnTo>
                        <a:lnTo>
                          <a:pt x="788" y="468"/>
                        </a:lnTo>
                        <a:lnTo>
                          <a:pt x="778" y="464"/>
                        </a:lnTo>
                        <a:lnTo>
                          <a:pt x="770" y="454"/>
                        </a:lnTo>
                        <a:lnTo>
                          <a:pt x="728" y="448"/>
                        </a:lnTo>
                        <a:lnTo>
                          <a:pt x="728" y="450"/>
                        </a:lnTo>
                        <a:lnTo>
                          <a:pt x="676" y="450"/>
                        </a:lnTo>
                        <a:lnTo>
                          <a:pt x="674" y="450"/>
                        </a:lnTo>
                        <a:lnTo>
                          <a:pt x="662" y="448"/>
                        </a:lnTo>
                        <a:lnTo>
                          <a:pt x="660" y="446"/>
                        </a:lnTo>
                        <a:lnTo>
                          <a:pt x="652" y="446"/>
                        </a:lnTo>
                        <a:lnTo>
                          <a:pt x="652" y="444"/>
                        </a:lnTo>
                        <a:lnTo>
                          <a:pt x="622" y="446"/>
                        </a:lnTo>
                        <a:lnTo>
                          <a:pt x="622" y="440"/>
                        </a:lnTo>
                        <a:lnTo>
                          <a:pt x="610" y="428"/>
                        </a:lnTo>
                        <a:lnTo>
                          <a:pt x="608" y="426"/>
                        </a:lnTo>
                        <a:lnTo>
                          <a:pt x="608" y="420"/>
                        </a:lnTo>
                        <a:lnTo>
                          <a:pt x="606" y="420"/>
                        </a:lnTo>
                        <a:lnTo>
                          <a:pt x="604" y="412"/>
                        </a:lnTo>
                        <a:lnTo>
                          <a:pt x="602" y="408"/>
                        </a:lnTo>
                        <a:lnTo>
                          <a:pt x="602" y="406"/>
                        </a:lnTo>
                        <a:lnTo>
                          <a:pt x="598" y="398"/>
                        </a:lnTo>
                        <a:lnTo>
                          <a:pt x="596" y="398"/>
                        </a:lnTo>
                        <a:lnTo>
                          <a:pt x="594" y="398"/>
                        </a:lnTo>
                        <a:lnTo>
                          <a:pt x="592" y="398"/>
                        </a:lnTo>
                        <a:lnTo>
                          <a:pt x="592" y="392"/>
                        </a:lnTo>
                        <a:lnTo>
                          <a:pt x="594" y="392"/>
                        </a:lnTo>
                        <a:lnTo>
                          <a:pt x="594" y="390"/>
                        </a:lnTo>
                        <a:lnTo>
                          <a:pt x="596" y="388"/>
                        </a:lnTo>
                        <a:lnTo>
                          <a:pt x="594" y="386"/>
                        </a:lnTo>
                        <a:lnTo>
                          <a:pt x="584" y="388"/>
                        </a:lnTo>
                        <a:lnTo>
                          <a:pt x="576" y="386"/>
                        </a:lnTo>
                        <a:lnTo>
                          <a:pt x="576" y="384"/>
                        </a:lnTo>
                        <a:lnTo>
                          <a:pt x="574" y="382"/>
                        </a:lnTo>
                        <a:lnTo>
                          <a:pt x="574" y="380"/>
                        </a:lnTo>
                        <a:lnTo>
                          <a:pt x="568" y="380"/>
                        </a:lnTo>
                        <a:lnTo>
                          <a:pt x="566" y="378"/>
                        </a:lnTo>
                        <a:lnTo>
                          <a:pt x="566" y="376"/>
                        </a:lnTo>
                        <a:lnTo>
                          <a:pt x="552" y="366"/>
                        </a:lnTo>
                        <a:lnTo>
                          <a:pt x="550" y="366"/>
                        </a:lnTo>
                        <a:lnTo>
                          <a:pt x="550" y="364"/>
                        </a:lnTo>
                        <a:lnTo>
                          <a:pt x="548" y="364"/>
                        </a:lnTo>
                        <a:lnTo>
                          <a:pt x="546" y="362"/>
                        </a:lnTo>
                        <a:lnTo>
                          <a:pt x="544" y="362"/>
                        </a:lnTo>
                        <a:lnTo>
                          <a:pt x="536" y="360"/>
                        </a:lnTo>
                        <a:lnTo>
                          <a:pt x="534" y="360"/>
                        </a:lnTo>
                        <a:lnTo>
                          <a:pt x="528" y="360"/>
                        </a:lnTo>
                        <a:lnTo>
                          <a:pt x="526" y="358"/>
                        </a:lnTo>
                        <a:lnTo>
                          <a:pt x="522" y="358"/>
                        </a:lnTo>
                        <a:lnTo>
                          <a:pt x="520" y="360"/>
                        </a:lnTo>
                        <a:lnTo>
                          <a:pt x="516" y="360"/>
                        </a:lnTo>
                        <a:lnTo>
                          <a:pt x="504" y="356"/>
                        </a:lnTo>
                        <a:lnTo>
                          <a:pt x="490" y="356"/>
                        </a:lnTo>
                        <a:lnTo>
                          <a:pt x="486" y="354"/>
                        </a:lnTo>
                        <a:lnTo>
                          <a:pt x="486" y="356"/>
                        </a:lnTo>
                        <a:lnTo>
                          <a:pt x="482" y="356"/>
                        </a:lnTo>
                        <a:lnTo>
                          <a:pt x="482" y="354"/>
                        </a:lnTo>
                        <a:lnTo>
                          <a:pt x="480" y="354"/>
                        </a:lnTo>
                        <a:lnTo>
                          <a:pt x="480" y="352"/>
                        </a:lnTo>
                        <a:lnTo>
                          <a:pt x="478" y="352"/>
                        </a:lnTo>
                        <a:lnTo>
                          <a:pt x="476" y="352"/>
                        </a:lnTo>
                        <a:lnTo>
                          <a:pt x="472" y="350"/>
                        </a:lnTo>
                        <a:lnTo>
                          <a:pt x="468" y="344"/>
                        </a:lnTo>
                        <a:lnTo>
                          <a:pt x="466" y="340"/>
                        </a:lnTo>
                        <a:lnTo>
                          <a:pt x="466" y="332"/>
                        </a:lnTo>
                        <a:lnTo>
                          <a:pt x="470" y="326"/>
                        </a:lnTo>
                        <a:lnTo>
                          <a:pt x="470" y="324"/>
                        </a:lnTo>
                        <a:lnTo>
                          <a:pt x="474" y="322"/>
                        </a:lnTo>
                        <a:lnTo>
                          <a:pt x="476" y="320"/>
                        </a:lnTo>
                        <a:lnTo>
                          <a:pt x="476" y="316"/>
                        </a:lnTo>
                        <a:lnTo>
                          <a:pt x="474" y="314"/>
                        </a:lnTo>
                        <a:lnTo>
                          <a:pt x="472" y="308"/>
                        </a:lnTo>
                        <a:lnTo>
                          <a:pt x="474" y="308"/>
                        </a:lnTo>
                        <a:lnTo>
                          <a:pt x="476" y="300"/>
                        </a:lnTo>
                        <a:lnTo>
                          <a:pt x="476" y="298"/>
                        </a:lnTo>
                        <a:lnTo>
                          <a:pt x="476" y="294"/>
                        </a:lnTo>
                        <a:lnTo>
                          <a:pt x="476" y="292"/>
                        </a:lnTo>
                        <a:lnTo>
                          <a:pt x="474" y="286"/>
                        </a:lnTo>
                        <a:lnTo>
                          <a:pt x="472" y="284"/>
                        </a:lnTo>
                        <a:lnTo>
                          <a:pt x="472" y="282"/>
                        </a:lnTo>
                        <a:lnTo>
                          <a:pt x="470" y="282"/>
                        </a:lnTo>
                        <a:lnTo>
                          <a:pt x="468" y="282"/>
                        </a:lnTo>
                        <a:lnTo>
                          <a:pt x="466" y="280"/>
                        </a:lnTo>
                        <a:lnTo>
                          <a:pt x="460" y="268"/>
                        </a:lnTo>
                        <a:lnTo>
                          <a:pt x="460" y="262"/>
                        </a:lnTo>
                        <a:lnTo>
                          <a:pt x="454" y="254"/>
                        </a:lnTo>
                        <a:lnTo>
                          <a:pt x="452" y="252"/>
                        </a:lnTo>
                        <a:lnTo>
                          <a:pt x="450" y="250"/>
                        </a:lnTo>
                        <a:lnTo>
                          <a:pt x="450" y="246"/>
                        </a:lnTo>
                        <a:lnTo>
                          <a:pt x="448" y="246"/>
                        </a:lnTo>
                        <a:lnTo>
                          <a:pt x="446" y="246"/>
                        </a:lnTo>
                        <a:lnTo>
                          <a:pt x="446" y="248"/>
                        </a:lnTo>
                        <a:lnTo>
                          <a:pt x="440" y="248"/>
                        </a:lnTo>
                        <a:lnTo>
                          <a:pt x="436" y="242"/>
                        </a:lnTo>
                        <a:lnTo>
                          <a:pt x="436" y="240"/>
                        </a:lnTo>
                        <a:lnTo>
                          <a:pt x="434" y="240"/>
                        </a:lnTo>
                        <a:lnTo>
                          <a:pt x="430" y="240"/>
                        </a:lnTo>
                        <a:lnTo>
                          <a:pt x="428" y="240"/>
                        </a:lnTo>
                        <a:lnTo>
                          <a:pt x="426" y="242"/>
                        </a:lnTo>
                        <a:lnTo>
                          <a:pt x="422" y="240"/>
                        </a:lnTo>
                        <a:lnTo>
                          <a:pt x="420" y="240"/>
                        </a:lnTo>
                        <a:lnTo>
                          <a:pt x="418" y="236"/>
                        </a:lnTo>
                        <a:lnTo>
                          <a:pt x="416" y="236"/>
                        </a:lnTo>
                        <a:lnTo>
                          <a:pt x="410" y="234"/>
                        </a:lnTo>
                        <a:lnTo>
                          <a:pt x="408" y="232"/>
                        </a:lnTo>
                        <a:lnTo>
                          <a:pt x="408" y="226"/>
                        </a:lnTo>
                        <a:lnTo>
                          <a:pt x="406" y="224"/>
                        </a:lnTo>
                        <a:lnTo>
                          <a:pt x="398" y="220"/>
                        </a:lnTo>
                        <a:lnTo>
                          <a:pt x="394" y="218"/>
                        </a:lnTo>
                        <a:lnTo>
                          <a:pt x="392" y="218"/>
                        </a:lnTo>
                        <a:lnTo>
                          <a:pt x="392" y="216"/>
                        </a:lnTo>
                        <a:lnTo>
                          <a:pt x="394" y="212"/>
                        </a:lnTo>
                        <a:lnTo>
                          <a:pt x="394" y="210"/>
                        </a:lnTo>
                        <a:lnTo>
                          <a:pt x="392" y="210"/>
                        </a:lnTo>
                        <a:lnTo>
                          <a:pt x="390" y="210"/>
                        </a:lnTo>
                        <a:lnTo>
                          <a:pt x="388" y="208"/>
                        </a:lnTo>
                        <a:lnTo>
                          <a:pt x="386" y="204"/>
                        </a:lnTo>
                        <a:lnTo>
                          <a:pt x="388" y="202"/>
                        </a:lnTo>
                        <a:lnTo>
                          <a:pt x="390" y="200"/>
                        </a:lnTo>
                        <a:lnTo>
                          <a:pt x="388" y="192"/>
                        </a:lnTo>
                        <a:lnTo>
                          <a:pt x="380" y="194"/>
                        </a:lnTo>
                        <a:lnTo>
                          <a:pt x="378" y="196"/>
                        </a:lnTo>
                        <a:lnTo>
                          <a:pt x="376" y="196"/>
                        </a:lnTo>
                        <a:lnTo>
                          <a:pt x="374" y="196"/>
                        </a:lnTo>
                        <a:lnTo>
                          <a:pt x="370" y="194"/>
                        </a:lnTo>
                        <a:lnTo>
                          <a:pt x="362" y="194"/>
                        </a:lnTo>
                        <a:lnTo>
                          <a:pt x="358" y="200"/>
                        </a:lnTo>
                        <a:lnTo>
                          <a:pt x="358" y="204"/>
                        </a:lnTo>
                        <a:lnTo>
                          <a:pt x="360" y="206"/>
                        </a:lnTo>
                        <a:lnTo>
                          <a:pt x="358" y="210"/>
                        </a:lnTo>
                        <a:lnTo>
                          <a:pt x="358" y="212"/>
                        </a:lnTo>
                        <a:lnTo>
                          <a:pt x="358" y="214"/>
                        </a:lnTo>
                        <a:lnTo>
                          <a:pt x="356" y="216"/>
                        </a:lnTo>
                        <a:lnTo>
                          <a:pt x="354" y="218"/>
                        </a:lnTo>
                        <a:lnTo>
                          <a:pt x="350" y="220"/>
                        </a:lnTo>
                        <a:lnTo>
                          <a:pt x="346" y="220"/>
                        </a:lnTo>
                        <a:lnTo>
                          <a:pt x="346" y="222"/>
                        </a:lnTo>
                        <a:lnTo>
                          <a:pt x="344" y="224"/>
                        </a:lnTo>
                        <a:lnTo>
                          <a:pt x="342" y="224"/>
                        </a:lnTo>
                        <a:lnTo>
                          <a:pt x="342" y="222"/>
                        </a:lnTo>
                        <a:lnTo>
                          <a:pt x="334" y="222"/>
                        </a:lnTo>
                        <a:lnTo>
                          <a:pt x="334" y="224"/>
                        </a:lnTo>
                        <a:lnTo>
                          <a:pt x="332" y="224"/>
                        </a:lnTo>
                        <a:lnTo>
                          <a:pt x="326" y="236"/>
                        </a:lnTo>
                        <a:lnTo>
                          <a:pt x="328" y="238"/>
                        </a:lnTo>
                        <a:lnTo>
                          <a:pt x="326" y="238"/>
                        </a:lnTo>
                        <a:lnTo>
                          <a:pt x="326" y="240"/>
                        </a:lnTo>
                        <a:lnTo>
                          <a:pt x="326" y="242"/>
                        </a:lnTo>
                        <a:lnTo>
                          <a:pt x="324" y="244"/>
                        </a:lnTo>
                        <a:lnTo>
                          <a:pt x="326" y="246"/>
                        </a:lnTo>
                        <a:lnTo>
                          <a:pt x="328" y="258"/>
                        </a:lnTo>
                        <a:lnTo>
                          <a:pt x="326" y="260"/>
                        </a:lnTo>
                        <a:lnTo>
                          <a:pt x="328" y="262"/>
                        </a:lnTo>
                        <a:lnTo>
                          <a:pt x="328" y="264"/>
                        </a:lnTo>
                        <a:lnTo>
                          <a:pt x="330" y="266"/>
                        </a:lnTo>
                        <a:lnTo>
                          <a:pt x="330" y="270"/>
                        </a:lnTo>
                        <a:lnTo>
                          <a:pt x="328" y="272"/>
                        </a:lnTo>
                        <a:lnTo>
                          <a:pt x="326" y="276"/>
                        </a:lnTo>
                        <a:lnTo>
                          <a:pt x="324" y="280"/>
                        </a:lnTo>
                        <a:lnTo>
                          <a:pt x="318" y="280"/>
                        </a:lnTo>
                        <a:lnTo>
                          <a:pt x="316" y="280"/>
                        </a:lnTo>
                        <a:lnTo>
                          <a:pt x="316" y="282"/>
                        </a:lnTo>
                        <a:lnTo>
                          <a:pt x="312" y="284"/>
                        </a:lnTo>
                        <a:lnTo>
                          <a:pt x="310" y="284"/>
                        </a:lnTo>
                        <a:lnTo>
                          <a:pt x="310" y="286"/>
                        </a:lnTo>
                        <a:lnTo>
                          <a:pt x="306" y="288"/>
                        </a:lnTo>
                        <a:lnTo>
                          <a:pt x="304" y="288"/>
                        </a:lnTo>
                        <a:lnTo>
                          <a:pt x="304" y="286"/>
                        </a:lnTo>
                        <a:lnTo>
                          <a:pt x="304" y="284"/>
                        </a:lnTo>
                        <a:lnTo>
                          <a:pt x="302" y="282"/>
                        </a:lnTo>
                        <a:lnTo>
                          <a:pt x="288" y="280"/>
                        </a:lnTo>
                        <a:lnTo>
                          <a:pt x="288" y="282"/>
                        </a:lnTo>
                        <a:lnTo>
                          <a:pt x="286" y="282"/>
                        </a:lnTo>
                        <a:lnTo>
                          <a:pt x="280" y="282"/>
                        </a:lnTo>
                        <a:lnTo>
                          <a:pt x="278" y="282"/>
                        </a:lnTo>
                        <a:lnTo>
                          <a:pt x="278" y="280"/>
                        </a:lnTo>
                        <a:lnTo>
                          <a:pt x="276" y="280"/>
                        </a:lnTo>
                        <a:lnTo>
                          <a:pt x="274" y="280"/>
                        </a:lnTo>
                        <a:lnTo>
                          <a:pt x="272" y="280"/>
                        </a:lnTo>
                        <a:lnTo>
                          <a:pt x="270" y="280"/>
                        </a:lnTo>
                        <a:lnTo>
                          <a:pt x="268" y="276"/>
                        </a:lnTo>
                        <a:lnTo>
                          <a:pt x="264" y="274"/>
                        </a:lnTo>
                        <a:lnTo>
                          <a:pt x="262" y="274"/>
                        </a:lnTo>
                        <a:lnTo>
                          <a:pt x="260" y="274"/>
                        </a:lnTo>
                        <a:lnTo>
                          <a:pt x="260" y="272"/>
                        </a:lnTo>
                        <a:lnTo>
                          <a:pt x="258" y="272"/>
                        </a:lnTo>
                        <a:lnTo>
                          <a:pt x="256" y="274"/>
                        </a:lnTo>
                        <a:lnTo>
                          <a:pt x="256" y="282"/>
                        </a:lnTo>
                        <a:lnTo>
                          <a:pt x="256" y="284"/>
                        </a:lnTo>
                        <a:lnTo>
                          <a:pt x="254" y="286"/>
                        </a:lnTo>
                        <a:lnTo>
                          <a:pt x="254" y="288"/>
                        </a:lnTo>
                        <a:lnTo>
                          <a:pt x="250" y="296"/>
                        </a:lnTo>
                        <a:lnTo>
                          <a:pt x="250" y="298"/>
                        </a:lnTo>
                        <a:lnTo>
                          <a:pt x="248" y="308"/>
                        </a:lnTo>
                        <a:lnTo>
                          <a:pt x="246" y="308"/>
                        </a:lnTo>
                        <a:lnTo>
                          <a:pt x="246" y="310"/>
                        </a:lnTo>
                        <a:lnTo>
                          <a:pt x="246" y="312"/>
                        </a:lnTo>
                        <a:lnTo>
                          <a:pt x="244" y="314"/>
                        </a:lnTo>
                        <a:lnTo>
                          <a:pt x="242" y="324"/>
                        </a:lnTo>
                        <a:lnTo>
                          <a:pt x="242" y="326"/>
                        </a:lnTo>
                        <a:lnTo>
                          <a:pt x="240" y="328"/>
                        </a:lnTo>
                        <a:lnTo>
                          <a:pt x="236" y="338"/>
                        </a:lnTo>
                        <a:lnTo>
                          <a:pt x="236" y="340"/>
                        </a:lnTo>
                        <a:lnTo>
                          <a:pt x="238" y="340"/>
                        </a:lnTo>
                        <a:lnTo>
                          <a:pt x="240" y="342"/>
                        </a:lnTo>
                        <a:lnTo>
                          <a:pt x="244" y="342"/>
                        </a:lnTo>
                        <a:lnTo>
                          <a:pt x="246" y="342"/>
                        </a:lnTo>
                        <a:lnTo>
                          <a:pt x="246" y="344"/>
                        </a:lnTo>
                        <a:lnTo>
                          <a:pt x="246" y="350"/>
                        </a:lnTo>
                        <a:lnTo>
                          <a:pt x="246" y="352"/>
                        </a:lnTo>
                        <a:lnTo>
                          <a:pt x="244" y="354"/>
                        </a:lnTo>
                        <a:lnTo>
                          <a:pt x="244" y="356"/>
                        </a:lnTo>
                        <a:lnTo>
                          <a:pt x="240" y="356"/>
                        </a:lnTo>
                        <a:lnTo>
                          <a:pt x="240" y="354"/>
                        </a:lnTo>
                        <a:lnTo>
                          <a:pt x="236" y="352"/>
                        </a:lnTo>
                        <a:lnTo>
                          <a:pt x="234" y="352"/>
                        </a:lnTo>
                        <a:lnTo>
                          <a:pt x="232" y="352"/>
                        </a:lnTo>
                        <a:lnTo>
                          <a:pt x="230" y="352"/>
                        </a:lnTo>
                        <a:lnTo>
                          <a:pt x="228" y="354"/>
                        </a:lnTo>
                        <a:lnTo>
                          <a:pt x="226" y="354"/>
                        </a:lnTo>
                        <a:lnTo>
                          <a:pt x="224" y="352"/>
                        </a:lnTo>
                        <a:lnTo>
                          <a:pt x="224" y="348"/>
                        </a:lnTo>
                        <a:lnTo>
                          <a:pt x="222" y="346"/>
                        </a:lnTo>
                        <a:lnTo>
                          <a:pt x="218" y="346"/>
                        </a:lnTo>
                        <a:lnTo>
                          <a:pt x="218" y="348"/>
                        </a:lnTo>
                        <a:lnTo>
                          <a:pt x="216" y="348"/>
                        </a:lnTo>
                        <a:lnTo>
                          <a:pt x="216" y="350"/>
                        </a:lnTo>
                        <a:lnTo>
                          <a:pt x="212" y="350"/>
                        </a:lnTo>
                        <a:lnTo>
                          <a:pt x="198" y="354"/>
                        </a:lnTo>
                        <a:lnTo>
                          <a:pt x="194" y="354"/>
                        </a:lnTo>
                        <a:lnTo>
                          <a:pt x="188" y="356"/>
                        </a:lnTo>
                        <a:lnTo>
                          <a:pt x="186" y="358"/>
                        </a:lnTo>
                        <a:lnTo>
                          <a:pt x="176" y="358"/>
                        </a:lnTo>
                        <a:lnTo>
                          <a:pt x="170" y="364"/>
                        </a:lnTo>
                        <a:lnTo>
                          <a:pt x="170" y="366"/>
                        </a:lnTo>
                        <a:lnTo>
                          <a:pt x="174" y="368"/>
                        </a:lnTo>
                        <a:lnTo>
                          <a:pt x="176" y="368"/>
                        </a:lnTo>
                        <a:lnTo>
                          <a:pt x="178" y="368"/>
                        </a:lnTo>
                        <a:lnTo>
                          <a:pt x="182" y="368"/>
                        </a:lnTo>
                        <a:lnTo>
                          <a:pt x="188" y="370"/>
                        </a:lnTo>
                        <a:lnTo>
                          <a:pt x="184" y="374"/>
                        </a:lnTo>
                        <a:lnTo>
                          <a:pt x="182" y="382"/>
                        </a:lnTo>
                        <a:lnTo>
                          <a:pt x="184" y="390"/>
                        </a:lnTo>
                        <a:lnTo>
                          <a:pt x="184" y="392"/>
                        </a:lnTo>
                        <a:lnTo>
                          <a:pt x="184" y="394"/>
                        </a:lnTo>
                        <a:lnTo>
                          <a:pt x="188" y="402"/>
                        </a:lnTo>
                        <a:lnTo>
                          <a:pt x="188" y="404"/>
                        </a:lnTo>
                        <a:lnTo>
                          <a:pt x="188" y="406"/>
                        </a:lnTo>
                        <a:lnTo>
                          <a:pt x="196" y="432"/>
                        </a:lnTo>
                        <a:lnTo>
                          <a:pt x="194" y="432"/>
                        </a:lnTo>
                        <a:lnTo>
                          <a:pt x="190" y="432"/>
                        </a:lnTo>
                        <a:lnTo>
                          <a:pt x="184" y="434"/>
                        </a:lnTo>
                        <a:lnTo>
                          <a:pt x="184" y="436"/>
                        </a:lnTo>
                        <a:lnTo>
                          <a:pt x="186" y="438"/>
                        </a:lnTo>
                        <a:lnTo>
                          <a:pt x="188" y="438"/>
                        </a:lnTo>
                        <a:lnTo>
                          <a:pt x="188" y="440"/>
                        </a:lnTo>
                        <a:lnTo>
                          <a:pt x="184" y="442"/>
                        </a:lnTo>
                        <a:lnTo>
                          <a:pt x="182" y="444"/>
                        </a:lnTo>
                        <a:lnTo>
                          <a:pt x="182" y="442"/>
                        </a:lnTo>
                        <a:lnTo>
                          <a:pt x="180" y="444"/>
                        </a:lnTo>
                        <a:lnTo>
                          <a:pt x="178" y="450"/>
                        </a:lnTo>
                        <a:lnTo>
                          <a:pt x="180" y="460"/>
                        </a:lnTo>
                        <a:lnTo>
                          <a:pt x="180" y="462"/>
                        </a:lnTo>
                        <a:lnTo>
                          <a:pt x="182" y="462"/>
                        </a:lnTo>
                        <a:lnTo>
                          <a:pt x="182" y="466"/>
                        </a:lnTo>
                        <a:lnTo>
                          <a:pt x="180" y="466"/>
                        </a:lnTo>
                        <a:lnTo>
                          <a:pt x="182" y="472"/>
                        </a:lnTo>
                        <a:lnTo>
                          <a:pt x="180" y="472"/>
                        </a:lnTo>
                        <a:lnTo>
                          <a:pt x="170" y="472"/>
                        </a:lnTo>
                        <a:lnTo>
                          <a:pt x="168" y="474"/>
                        </a:lnTo>
                        <a:lnTo>
                          <a:pt x="168" y="476"/>
                        </a:lnTo>
                        <a:lnTo>
                          <a:pt x="168" y="478"/>
                        </a:lnTo>
                        <a:lnTo>
                          <a:pt x="164" y="478"/>
                        </a:lnTo>
                        <a:lnTo>
                          <a:pt x="140" y="490"/>
                        </a:lnTo>
                        <a:lnTo>
                          <a:pt x="138" y="490"/>
                        </a:lnTo>
                        <a:lnTo>
                          <a:pt x="136" y="490"/>
                        </a:lnTo>
                        <a:lnTo>
                          <a:pt x="130" y="496"/>
                        </a:lnTo>
                        <a:lnTo>
                          <a:pt x="130" y="500"/>
                        </a:lnTo>
                        <a:lnTo>
                          <a:pt x="128" y="500"/>
                        </a:lnTo>
                        <a:lnTo>
                          <a:pt x="128" y="502"/>
                        </a:lnTo>
                        <a:lnTo>
                          <a:pt x="126" y="502"/>
                        </a:lnTo>
                        <a:lnTo>
                          <a:pt x="126" y="504"/>
                        </a:lnTo>
                        <a:lnTo>
                          <a:pt x="124" y="506"/>
                        </a:lnTo>
                        <a:lnTo>
                          <a:pt x="122" y="508"/>
                        </a:lnTo>
                        <a:lnTo>
                          <a:pt x="120" y="508"/>
                        </a:lnTo>
                        <a:lnTo>
                          <a:pt x="118" y="508"/>
                        </a:lnTo>
                        <a:lnTo>
                          <a:pt x="114" y="508"/>
                        </a:lnTo>
                        <a:lnTo>
                          <a:pt x="110" y="510"/>
                        </a:lnTo>
                        <a:lnTo>
                          <a:pt x="106" y="510"/>
                        </a:lnTo>
                        <a:lnTo>
                          <a:pt x="104" y="510"/>
                        </a:lnTo>
                        <a:lnTo>
                          <a:pt x="100" y="510"/>
                        </a:lnTo>
                        <a:lnTo>
                          <a:pt x="94" y="510"/>
                        </a:lnTo>
                        <a:lnTo>
                          <a:pt x="94" y="508"/>
                        </a:lnTo>
                        <a:lnTo>
                          <a:pt x="88" y="510"/>
                        </a:lnTo>
                        <a:lnTo>
                          <a:pt x="86" y="512"/>
                        </a:lnTo>
                        <a:lnTo>
                          <a:pt x="82" y="520"/>
                        </a:lnTo>
                        <a:lnTo>
                          <a:pt x="82" y="524"/>
                        </a:lnTo>
                        <a:lnTo>
                          <a:pt x="80" y="526"/>
                        </a:lnTo>
                        <a:lnTo>
                          <a:pt x="78" y="526"/>
                        </a:lnTo>
                        <a:lnTo>
                          <a:pt x="78" y="528"/>
                        </a:lnTo>
                        <a:lnTo>
                          <a:pt x="78" y="530"/>
                        </a:lnTo>
                        <a:lnTo>
                          <a:pt x="74" y="532"/>
                        </a:lnTo>
                        <a:lnTo>
                          <a:pt x="72" y="532"/>
                        </a:lnTo>
                        <a:lnTo>
                          <a:pt x="70" y="532"/>
                        </a:lnTo>
                        <a:lnTo>
                          <a:pt x="66" y="532"/>
                        </a:lnTo>
                        <a:lnTo>
                          <a:pt x="64" y="532"/>
                        </a:lnTo>
                        <a:lnTo>
                          <a:pt x="64" y="534"/>
                        </a:lnTo>
                        <a:lnTo>
                          <a:pt x="62" y="534"/>
                        </a:lnTo>
                        <a:lnTo>
                          <a:pt x="56" y="536"/>
                        </a:lnTo>
                        <a:lnTo>
                          <a:pt x="56" y="534"/>
                        </a:lnTo>
                        <a:lnTo>
                          <a:pt x="54" y="532"/>
                        </a:lnTo>
                        <a:lnTo>
                          <a:pt x="54" y="524"/>
                        </a:lnTo>
                        <a:lnTo>
                          <a:pt x="52" y="524"/>
                        </a:lnTo>
                        <a:lnTo>
                          <a:pt x="52" y="522"/>
                        </a:lnTo>
                        <a:lnTo>
                          <a:pt x="52" y="524"/>
                        </a:lnTo>
                        <a:lnTo>
                          <a:pt x="50" y="524"/>
                        </a:lnTo>
                        <a:lnTo>
                          <a:pt x="44" y="528"/>
                        </a:lnTo>
                        <a:lnTo>
                          <a:pt x="42" y="530"/>
                        </a:lnTo>
                        <a:lnTo>
                          <a:pt x="36" y="530"/>
                        </a:lnTo>
                        <a:lnTo>
                          <a:pt x="36" y="528"/>
                        </a:lnTo>
                        <a:lnTo>
                          <a:pt x="34" y="528"/>
                        </a:lnTo>
                        <a:lnTo>
                          <a:pt x="34" y="526"/>
                        </a:lnTo>
                        <a:lnTo>
                          <a:pt x="32" y="526"/>
                        </a:lnTo>
                        <a:lnTo>
                          <a:pt x="32" y="530"/>
                        </a:lnTo>
                        <a:lnTo>
                          <a:pt x="32" y="532"/>
                        </a:lnTo>
                        <a:lnTo>
                          <a:pt x="34" y="532"/>
                        </a:lnTo>
                        <a:lnTo>
                          <a:pt x="34" y="534"/>
                        </a:lnTo>
                        <a:lnTo>
                          <a:pt x="30" y="534"/>
                        </a:lnTo>
                        <a:lnTo>
                          <a:pt x="26" y="536"/>
                        </a:lnTo>
                        <a:lnTo>
                          <a:pt x="24" y="538"/>
                        </a:lnTo>
                        <a:lnTo>
                          <a:pt x="20" y="542"/>
                        </a:lnTo>
                        <a:lnTo>
                          <a:pt x="18" y="542"/>
                        </a:lnTo>
                        <a:lnTo>
                          <a:pt x="16" y="542"/>
                        </a:lnTo>
                        <a:lnTo>
                          <a:pt x="14" y="542"/>
                        </a:lnTo>
                        <a:lnTo>
                          <a:pt x="10" y="544"/>
                        </a:lnTo>
                        <a:lnTo>
                          <a:pt x="6" y="552"/>
                        </a:lnTo>
                        <a:lnTo>
                          <a:pt x="6" y="556"/>
                        </a:lnTo>
                        <a:lnTo>
                          <a:pt x="8" y="560"/>
                        </a:lnTo>
                        <a:lnTo>
                          <a:pt x="6" y="564"/>
                        </a:lnTo>
                        <a:lnTo>
                          <a:pt x="0" y="566"/>
                        </a:lnTo>
                        <a:lnTo>
                          <a:pt x="0" y="570"/>
                        </a:lnTo>
                        <a:lnTo>
                          <a:pt x="0" y="572"/>
                        </a:lnTo>
                        <a:lnTo>
                          <a:pt x="0" y="574"/>
                        </a:lnTo>
                        <a:lnTo>
                          <a:pt x="2" y="578"/>
                        </a:lnTo>
                        <a:lnTo>
                          <a:pt x="6" y="582"/>
                        </a:lnTo>
                        <a:lnTo>
                          <a:pt x="6" y="584"/>
                        </a:lnTo>
                        <a:lnTo>
                          <a:pt x="2" y="584"/>
                        </a:lnTo>
                        <a:lnTo>
                          <a:pt x="2" y="586"/>
                        </a:lnTo>
                        <a:lnTo>
                          <a:pt x="4" y="594"/>
                        </a:lnTo>
                        <a:lnTo>
                          <a:pt x="8" y="598"/>
                        </a:lnTo>
                        <a:lnTo>
                          <a:pt x="12" y="598"/>
                        </a:lnTo>
                        <a:lnTo>
                          <a:pt x="12" y="596"/>
                        </a:lnTo>
                        <a:lnTo>
                          <a:pt x="12" y="592"/>
                        </a:lnTo>
                        <a:lnTo>
                          <a:pt x="18" y="592"/>
                        </a:lnTo>
                        <a:lnTo>
                          <a:pt x="28" y="596"/>
                        </a:lnTo>
                        <a:lnTo>
                          <a:pt x="32" y="600"/>
                        </a:lnTo>
                        <a:lnTo>
                          <a:pt x="34" y="602"/>
                        </a:lnTo>
                        <a:lnTo>
                          <a:pt x="34" y="604"/>
                        </a:lnTo>
                        <a:lnTo>
                          <a:pt x="32" y="604"/>
                        </a:lnTo>
                        <a:lnTo>
                          <a:pt x="30" y="606"/>
                        </a:lnTo>
                        <a:lnTo>
                          <a:pt x="32" y="614"/>
                        </a:lnTo>
                        <a:lnTo>
                          <a:pt x="34" y="614"/>
                        </a:lnTo>
                        <a:lnTo>
                          <a:pt x="34" y="622"/>
                        </a:lnTo>
                        <a:lnTo>
                          <a:pt x="36" y="622"/>
                        </a:lnTo>
                        <a:lnTo>
                          <a:pt x="36" y="626"/>
                        </a:lnTo>
                        <a:lnTo>
                          <a:pt x="34" y="628"/>
                        </a:lnTo>
                        <a:lnTo>
                          <a:pt x="34" y="630"/>
                        </a:lnTo>
                        <a:lnTo>
                          <a:pt x="38" y="632"/>
                        </a:lnTo>
                        <a:lnTo>
                          <a:pt x="42" y="636"/>
                        </a:lnTo>
                        <a:lnTo>
                          <a:pt x="40" y="640"/>
                        </a:lnTo>
                        <a:lnTo>
                          <a:pt x="38" y="640"/>
                        </a:lnTo>
                        <a:lnTo>
                          <a:pt x="36" y="642"/>
                        </a:lnTo>
                        <a:lnTo>
                          <a:pt x="34" y="642"/>
                        </a:lnTo>
                        <a:lnTo>
                          <a:pt x="32" y="644"/>
                        </a:lnTo>
                        <a:lnTo>
                          <a:pt x="30" y="642"/>
                        </a:lnTo>
                        <a:lnTo>
                          <a:pt x="30" y="640"/>
                        </a:lnTo>
                        <a:lnTo>
                          <a:pt x="26" y="642"/>
                        </a:lnTo>
                        <a:lnTo>
                          <a:pt x="24" y="642"/>
                        </a:lnTo>
                        <a:lnTo>
                          <a:pt x="20" y="644"/>
                        </a:lnTo>
                        <a:lnTo>
                          <a:pt x="24" y="650"/>
                        </a:lnTo>
                        <a:lnTo>
                          <a:pt x="28" y="648"/>
                        </a:lnTo>
                        <a:lnTo>
                          <a:pt x="32" y="650"/>
                        </a:lnTo>
                        <a:lnTo>
                          <a:pt x="42" y="650"/>
                        </a:lnTo>
                        <a:lnTo>
                          <a:pt x="42" y="652"/>
                        </a:lnTo>
                        <a:lnTo>
                          <a:pt x="44" y="652"/>
                        </a:lnTo>
                        <a:lnTo>
                          <a:pt x="46" y="652"/>
                        </a:lnTo>
                        <a:lnTo>
                          <a:pt x="48" y="654"/>
                        </a:lnTo>
                        <a:lnTo>
                          <a:pt x="48" y="656"/>
                        </a:lnTo>
                        <a:lnTo>
                          <a:pt x="48" y="658"/>
                        </a:lnTo>
                        <a:lnTo>
                          <a:pt x="48" y="660"/>
                        </a:lnTo>
                        <a:lnTo>
                          <a:pt x="52" y="660"/>
                        </a:lnTo>
                        <a:lnTo>
                          <a:pt x="52" y="658"/>
                        </a:lnTo>
                        <a:lnTo>
                          <a:pt x="54" y="658"/>
                        </a:lnTo>
                        <a:lnTo>
                          <a:pt x="56" y="660"/>
                        </a:lnTo>
                        <a:lnTo>
                          <a:pt x="58" y="660"/>
                        </a:lnTo>
                        <a:lnTo>
                          <a:pt x="62" y="664"/>
                        </a:lnTo>
                        <a:lnTo>
                          <a:pt x="64" y="668"/>
                        </a:lnTo>
                        <a:lnTo>
                          <a:pt x="64" y="676"/>
                        </a:lnTo>
                        <a:lnTo>
                          <a:pt x="64" y="680"/>
                        </a:lnTo>
                        <a:lnTo>
                          <a:pt x="62" y="680"/>
                        </a:lnTo>
                        <a:lnTo>
                          <a:pt x="62" y="682"/>
                        </a:lnTo>
                        <a:lnTo>
                          <a:pt x="62" y="684"/>
                        </a:lnTo>
                        <a:lnTo>
                          <a:pt x="64" y="684"/>
                        </a:lnTo>
                        <a:lnTo>
                          <a:pt x="64" y="686"/>
                        </a:lnTo>
                        <a:lnTo>
                          <a:pt x="66" y="684"/>
                        </a:lnTo>
                        <a:lnTo>
                          <a:pt x="68" y="686"/>
                        </a:lnTo>
                        <a:lnTo>
                          <a:pt x="68" y="688"/>
                        </a:lnTo>
                        <a:lnTo>
                          <a:pt x="68" y="690"/>
                        </a:lnTo>
                        <a:lnTo>
                          <a:pt x="70" y="692"/>
                        </a:lnTo>
                        <a:lnTo>
                          <a:pt x="72" y="692"/>
                        </a:lnTo>
                        <a:lnTo>
                          <a:pt x="80" y="688"/>
                        </a:lnTo>
                        <a:lnTo>
                          <a:pt x="80" y="692"/>
                        </a:lnTo>
                        <a:lnTo>
                          <a:pt x="82" y="694"/>
                        </a:lnTo>
                        <a:lnTo>
                          <a:pt x="84" y="694"/>
                        </a:lnTo>
                        <a:lnTo>
                          <a:pt x="84" y="696"/>
                        </a:lnTo>
                        <a:lnTo>
                          <a:pt x="86" y="696"/>
                        </a:lnTo>
                        <a:lnTo>
                          <a:pt x="102" y="702"/>
                        </a:lnTo>
                        <a:lnTo>
                          <a:pt x="108" y="702"/>
                        </a:lnTo>
                        <a:lnTo>
                          <a:pt x="110" y="702"/>
                        </a:lnTo>
                        <a:lnTo>
                          <a:pt x="112" y="702"/>
                        </a:lnTo>
                        <a:lnTo>
                          <a:pt x="114" y="702"/>
                        </a:lnTo>
                        <a:lnTo>
                          <a:pt x="116" y="704"/>
                        </a:lnTo>
                        <a:lnTo>
                          <a:pt x="118" y="702"/>
                        </a:lnTo>
                        <a:lnTo>
                          <a:pt x="120" y="702"/>
                        </a:lnTo>
                        <a:lnTo>
                          <a:pt x="122" y="702"/>
                        </a:lnTo>
                        <a:lnTo>
                          <a:pt x="120" y="706"/>
                        </a:lnTo>
                        <a:lnTo>
                          <a:pt x="120" y="708"/>
                        </a:lnTo>
                        <a:lnTo>
                          <a:pt x="122" y="714"/>
                        </a:lnTo>
                        <a:lnTo>
                          <a:pt x="124" y="720"/>
                        </a:lnTo>
                        <a:lnTo>
                          <a:pt x="124" y="722"/>
                        </a:lnTo>
                        <a:lnTo>
                          <a:pt x="126" y="728"/>
                        </a:lnTo>
                        <a:lnTo>
                          <a:pt x="126" y="730"/>
                        </a:lnTo>
                        <a:lnTo>
                          <a:pt x="130" y="732"/>
                        </a:lnTo>
                        <a:lnTo>
                          <a:pt x="132" y="732"/>
                        </a:lnTo>
                        <a:lnTo>
                          <a:pt x="136" y="732"/>
                        </a:lnTo>
                        <a:lnTo>
                          <a:pt x="146" y="740"/>
                        </a:lnTo>
                        <a:lnTo>
                          <a:pt x="146" y="744"/>
                        </a:lnTo>
                        <a:lnTo>
                          <a:pt x="144" y="746"/>
                        </a:lnTo>
                        <a:lnTo>
                          <a:pt x="142" y="748"/>
                        </a:lnTo>
                        <a:lnTo>
                          <a:pt x="140" y="748"/>
                        </a:lnTo>
                        <a:lnTo>
                          <a:pt x="140" y="750"/>
                        </a:lnTo>
                        <a:lnTo>
                          <a:pt x="138" y="750"/>
                        </a:lnTo>
                        <a:lnTo>
                          <a:pt x="140" y="752"/>
                        </a:lnTo>
                        <a:lnTo>
                          <a:pt x="140" y="756"/>
                        </a:lnTo>
                        <a:lnTo>
                          <a:pt x="140" y="768"/>
                        </a:lnTo>
                        <a:lnTo>
                          <a:pt x="142" y="768"/>
                        </a:lnTo>
                        <a:lnTo>
                          <a:pt x="142" y="770"/>
                        </a:lnTo>
                        <a:lnTo>
                          <a:pt x="144" y="770"/>
                        </a:lnTo>
                        <a:lnTo>
                          <a:pt x="144" y="772"/>
                        </a:lnTo>
                        <a:lnTo>
                          <a:pt x="148" y="776"/>
                        </a:lnTo>
                        <a:lnTo>
                          <a:pt x="150" y="776"/>
                        </a:lnTo>
                        <a:lnTo>
                          <a:pt x="152" y="778"/>
                        </a:lnTo>
                        <a:lnTo>
                          <a:pt x="154" y="778"/>
                        </a:lnTo>
                        <a:lnTo>
                          <a:pt x="156" y="780"/>
                        </a:lnTo>
                        <a:lnTo>
                          <a:pt x="156" y="782"/>
                        </a:lnTo>
                        <a:lnTo>
                          <a:pt x="156" y="786"/>
                        </a:lnTo>
                        <a:lnTo>
                          <a:pt x="158" y="786"/>
                        </a:lnTo>
                        <a:lnTo>
                          <a:pt x="158" y="788"/>
                        </a:lnTo>
                        <a:lnTo>
                          <a:pt x="160" y="792"/>
                        </a:lnTo>
                        <a:lnTo>
                          <a:pt x="160" y="796"/>
                        </a:lnTo>
                        <a:lnTo>
                          <a:pt x="154" y="800"/>
                        </a:lnTo>
                        <a:lnTo>
                          <a:pt x="152" y="800"/>
                        </a:lnTo>
                        <a:lnTo>
                          <a:pt x="150" y="802"/>
                        </a:lnTo>
                        <a:lnTo>
                          <a:pt x="148" y="804"/>
                        </a:lnTo>
                        <a:lnTo>
                          <a:pt x="146" y="806"/>
                        </a:lnTo>
                        <a:lnTo>
                          <a:pt x="140" y="802"/>
                        </a:lnTo>
                        <a:lnTo>
                          <a:pt x="140" y="800"/>
                        </a:lnTo>
                        <a:lnTo>
                          <a:pt x="140" y="798"/>
                        </a:lnTo>
                        <a:lnTo>
                          <a:pt x="140" y="796"/>
                        </a:lnTo>
                        <a:lnTo>
                          <a:pt x="138" y="796"/>
                        </a:lnTo>
                        <a:lnTo>
                          <a:pt x="138" y="798"/>
                        </a:lnTo>
                        <a:lnTo>
                          <a:pt x="136" y="798"/>
                        </a:lnTo>
                        <a:lnTo>
                          <a:pt x="134" y="798"/>
                        </a:lnTo>
                        <a:lnTo>
                          <a:pt x="132" y="798"/>
                        </a:lnTo>
                        <a:lnTo>
                          <a:pt x="130" y="798"/>
                        </a:lnTo>
                        <a:lnTo>
                          <a:pt x="130" y="800"/>
                        </a:lnTo>
                        <a:lnTo>
                          <a:pt x="132" y="802"/>
                        </a:lnTo>
                        <a:lnTo>
                          <a:pt x="132" y="808"/>
                        </a:lnTo>
                        <a:lnTo>
                          <a:pt x="134" y="810"/>
                        </a:lnTo>
                        <a:lnTo>
                          <a:pt x="136" y="812"/>
                        </a:lnTo>
                        <a:lnTo>
                          <a:pt x="136" y="814"/>
                        </a:lnTo>
                        <a:lnTo>
                          <a:pt x="138" y="816"/>
                        </a:lnTo>
                        <a:lnTo>
                          <a:pt x="140" y="818"/>
                        </a:lnTo>
                        <a:lnTo>
                          <a:pt x="140" y="820"/>
                        </a:lnTo>
                        <a:lnTo>
                          <a:pt x="138" y="824"/>
                        </a:lnTo>
                        <a:lnTo>
                          <a:pt x="138" y="826"/>
                        </a:lnTo>
                        <a:lnTo>
                          <a:pt x="142" y="830"/>
                        </a:lnTo>
                        <a:lnTo>
                          <a:pt x="140" y="832"/>
                        </a:lnTo>
                        <a:lnTo>
                          <a:pt x="138" y="832"/>
                        </a:lnTo>
                        <a:lnTo>
                          <a:pt x="140" y="838"/>
                        </a:lnTo>
                        <a:lnTo>
                          <a:pt x="140" y="840"/>
                        </a:lnTo>
                        <a:lnTo>
                          <a:pt x="142" y="840"/>
                        </a:lnTo>
                        <a:lnTo>
                          <a:pt x="146" y="836"/>
                        </a:lnTo>
                        <a:lnTo>
                          <a:pt x="148" y="834"/>
                        </a:lnTo>
                        <a:lnTo>
                          <a:pt x="152" y="838"/>
                        </a:lnTo>
                        <a:lnTo>
                          <a:pt x="152" y="840"/>
                        </a:lnTo>
                        <a:lnTo>
                          <a:pt x="154" y="844"/>
                        </a:lnTo>
                        <a:lnTo>
                          <a:pt x="156" y="844"/>
                        </a:lnTo>
                        <a:lnTo>
                          <a:pt x="158" y="846"/>
                        </a:lnTo>
                        <a:lnTo>
                          <a:pt x="158" y="848"/>
                        </a:lnTo>
                        <a:lnTo>
                          <a:pt x="164" y="850"/>
                        </a:lnTo>
                        <a:lnTo>
                          <a:pt x="166" y="850"/>
                        </a:lnTo>
                        <a:lnTo>
                          <a:pt x="170" y="850"/>
                        </a:lnTo>
                        <a:lnTo>
                          <a:pt x="172" y="852"/>
                        </a:lnTo>
                        <a:lnTo>
                          <a:pt x="178" y="856"/>
                        </a:lnTo>
                        <a:lnTo>
                          <a:pt x="180" y="858"/>
                        </a:lnTo>
                        <a:lnTo>
                          <a:pt x="180" y="862"/>
                        </a:lnTo>
                        <a:lnTo>
                          <a:pt x="182" y="862"/>
                        </a:lnTo>
                        <a:lnTo>
                          <a:pt x="188" y="866"/>
                        </a:lnTo>
                        <a:lnTo>
                          <a:pt x="190" y="866"/>
                        </a:lnTo>
                        <a:lnTo>
                          <a:pt x="196" y="870"/>
                        </a:lnTo>
                        <a:lnTo>
                          <a:pt x="198" y="872"/>
                        </a:lnTo>
                        <a:lnTo>
                          <a:pt x="200" y="872"/>
                        </a:lnTo>
                        <a:lnTo>
                          <a:pt x="202" y="874"/>
                        </a:lnTo>
                        <a:lnTo>
                          <a:pt x="204" y="880"/>
                        </a:lnTo>
                        <a:lnTo>
                          <a:pt x="208" y="880"/>
                        </a:lnTo>
                        <a:lnTo>
                          <a:pt x="208" y="878"/>
                        </a:lnTo>
                        <a:lnTo>
                          <a:pt x="210" y="878"/>
                        </a:lnTo>
                        <a:lnTo>
                          <a:pt x="212" y="876"/>
                        </a:lnTo>
                        <a:lnTo>
                          <a:pt x="212" y="868"/>
                        </a:lnTo>
                        <a:lnTo>
                          <a:pt x="214" y="870"/>
                        </a:lnTo>
                        <a:lnTo>
                          <a:pt x="216" y="870"/>
                        </a:lnTo>
                        <a:lnTo>
                          <a:pt x="216" y="868"/>
                        </a:lnTo>
                        <a:lnTo>
                          <a:pt x="218" y="868"/>
                        </a:lnTo>
                        <a:lnTo>
                          <a:pt x="224" y="868"/>
                        </a:lnTo>
                        <a:lnTo>
                          <a:pt x="228" y="868"/>
                        </a:lnTo>
                        <a:lnTo>
                          <a:pt x="232" y="870"/>
                        </a:lnTo>
                        <a:lnTo>
                          <a:pt x="232" y="876"/>
                        </a:lnTo>
                        <a:lnTo>
                          <a:pt x="234" y="878"/>
                        </a:lnTo>
                        <a:lnTo>
                          <a:pt x="240" y="880"/>
                        </a:lnTo>
                        <a:lnTo>
                          <a:pt x="252" y="890"/>
                        </a:lnTo>
                        <a:lnTo>
                          <a:pt x="256" y="890"/>
                        </a:lnTo>
                        <a:lnTo>
                          <a:pt x="258" y="892"/>
                        </a:lnTo>
                        <a:lnTo>
                          <a:pt x="260" y="892"/>
                        </a:lnTo>
                        <a:lnTo>
                          <a:pt x="262" y="894"/>
                        </a:lnTo>
                        <a:lnTo>
                          <a:pt x="266" y="898"/>
                        </a:lnTo>
                        <a:lnTo>
                          <a:pt x="272" y="908"/>
                        </a:lnTo>
                        <a:lnTo>
                          <a:pt x="274" y="908"/>
                        </a:lnTo>
                        <a:lnTo>
                          <a:pt x="274" y="906"/>
                        </a:lnTo>
                        <a:lnTo>
                          <a:pt x="276" y="904"/>
                        </a:lnTo>
                        <a:lnTo>
                          <a:pt x="280" y="902"/>
                        </a:lnTo>
                        <a:lnTo>
                          <a:pt x="286" y="904"/>
                        </a:lnTo>
                        <a:lnTo>
                          <a:pt x="288" y="906"/>
                        </a:lnTo>
                        <a:lnTo>
                          <a:pt x="288" y="908"/>
                        </a:lnTo>
                        <a:lnTo>
                          <a:pt x="290" y="910"/>
                        </a:lnTo>
                        <a:lnTo>
                          <a:pt x="290" y="914"/>
                        </a:lnTo>
                        <a:lnTo>
                          <a:pt x="294" y="916"/>
                        </a:lnTo>
                        <a:lnTo>
                          <a:pt x="296" y="920"/>
                        </a:lnTo>
                        <a:lnTo>
                          <a:pt x="302" y="922"/>
                        </a:lnTo>
                        <a:lnTo>
                          <a:pt x="302" y="924"/>
                        </a:lnTo>
                        <a:lnTo>
                          <a:pt x="306" y="926"/>
                        </a:lnTo>
                        <a:lnTo>
                          <a:pt x="308" y="926"/>
                        </a:lnTo>
                        <a:lnTo>
                          <a:pt x="312" y="924"/>
                        </a:lnTo>
                        <a:lnTo>
                          <a:pt x="314" y="924"/>
                        </a:lnTo>
                        <a:lnTo>
                          <a:pt x="316" y="926"/>
                        </a:lnTo>
                        <a:lnTo>
                          <a:pt x="314" y="928"/>
                        </a:lnTo>
                        <a:lnTo>
                          <a:pt x="314" y="932"/>
                        </a:lnTo>
                        <a:lnTo>
                          <a:pt x="312" y="934"/>
                        </a:lnTo>
                        <a:lnTo>
                          <a:pt x="314" y="934"/>
                        </a:lnTo>
                        <a:lnTo>
                          <a:pt x="316" y="934"/>
                        </a:lnTo>
                        <a:lnTo>
                          <a:pt x="318" y="934"/>
                        </a:lnTo>
                        <a:lnTo>
                          <a:pt x="320" y="936"/>
                        </a:lnTo>
                        <a:lnTo>
                          <a:pt x="322" y="934"/>
                        </a:lnTo>
                        <a:lnTo>
                          <a:pt x="330" y="934"/>
                        </a:lnTo>
                        <a:lnTo>
                          <a:pt x="330" y="936"/>
                        </a:lnTo>
                        <a:lnTo>
                          <a:pt x="332" y="938"/>
                        </a:lnTo>
                        <a:lnTo>
                          <a:pt x="334" y="938"/>
                        </a:lnTo>
                        <a:lnTo>
                          <a:pt x="336" y="944"/>
                        </a:lnTo>
                        <a:lnTo>
                          <a:pt x="336" y="946"/>
                        </a:lnTo>
                        <a:lnTo>
                          <a:pt x="338" y="946"/>
                        </a:lnTo>
                        <a:lnTo>
                          <a:pt x="340" y="946"/>
                        </a:lnTo>
                        <a:lnTo>
                          <a:pt x="340" y="944"/>
                        </a:lnTo>
                        <a:lnTo>
                          <a:pt x="340" y="942"/>
                        </a:lnTo>
                        <a:lnTo>
                          <a:pt x="340" y="940"/>
                        </a:lnTo>
                        <a:lnTo>
                          <a:pt x="342" y="938"/>
                        </a:lnTo>
                        <a:lnTo>
                          <a:pt x="344" y="940"/>
                        </a:lnTo>
                        <a:lnTo>
                          <a:pt x="342" y="942"/>
                        </a:lnTo>
                        <a:lnTo>
                          <a:pt x="344" y="944"/>
                        </a:lnTo>
                        <a:lnTo>
                          <a:pt x="350" y="946"/>
                        </a:lnTo>
                        <a:lnTo>
                          <a:pt x="352" y="944"/>
                        </a:lnTo>
                        <a:lnTo>
                          <a:pt x="352" y="942"/>
                        </a:lnTo>
                        <a:lnTo>
                          <a:pt x="352" y="940"/>
                        </a:lnTo>
                        <a:lnTo>
                          <a:pt x="354" y="940"/>
                        </a:lnTo>
                        <a:lnTo>
                          <a:pt x="356" y="940"/>
                        </a:lnTo>
                        <a:lnTo>
                          <a:pt x="358" y="940"/>
                        </a:lnTo>
                        <a:lnTo>
                          <a:pt x="358" y="942"/>
                        </a:lnTo>
                        <a:lnTo>
                          <a:pt x="362" y="944"/>
                        </a:lnTo>
                        <a:lnTo>
                          <a:pt x="364" y="944"/>
                        </a:lnTo>
                        <a:lnTo>
                          <a:pt x="366" y="944"/>
                        </a:lnTo>
                        <a:lnTo>
                          <a:pt x="368" y="946"/>
                        </a:lnTo>
                        <a:lnTo>
                          <a:pt x="370" y="950"/>
                        </a:lnTo>
                        <a:lnTo>
                          <a:pt x="374" y="950"/>
                        </a:lnTo>
                        <a:lnTo>
                          <a:pt x="376" y="948"/>
                        </a:lnTo>
                        <a:lnTo>
                          <a:pt x="380" y="948"/>
                        </a:lnTo>
                        <a:lnTo>
                          <a:pt x="382" y="950"/>
                        </a:lnTo>
                        <a:lnTo>
                          <a:pt x="382" y="948"/>
                        </a:lnTo>
                        <a:lnTo>
                          <a:pt x="384" y="950"/>
                        </a:lnTo>
                        <a:lnTo>
                          <a:pt x="386" y="950"/>
                        </a:lnTo>
                        <a:lnTo>
                          <a:pt x="388" y="948"/>
                        </a:lnTo>
                        <a:lnTo>
                          <a:pt x="388" y="946"/>
                        </a:lnTo>
                        <a:lnTo>
                          <a:pt x="392" y="946"/>
                        </a:lnTo>
                        <a:lnTo>
                          <a:pt x="394" y="946"/>
                        </a:lnTo>
                        <a:lnTo>
                          <a:pt x="396" y="948"/>
                        </a:lnTo>
                        <a:lnTo>
                          <a:pt x="396" y="946"/>
                        </a:lnTo>
                        <a:lnTo>
                          <a:pt x="396" y="944"/>
                        </a:lnTo>
                        <a:lnTo>
                          <a:pt x="404" y="944"/>
                        </a:lnTo>
                        <a:lnTo>
                          <a:pt x="410" y="940"/>
                        </a:lnTo>
                        <a:lnTo>
                          <a:pt x="412" y="942"/>
                        </a:lnTo>
                        <a:lnTo>
                          <a:pt x="414" y="942"/>
                        </a:lnTo>
                        <a:lnTo>
                          <a:pt x="416" y="944"/>
                        </a:lnTo>
                        <a:lnTo>
                          <a:pt x="416" y="952"/>
                        </a:lnTo>
                        <a:lnTo>
                          <a:pt x="416" y="954"/>
                        </a:lnTo>
                        <a:lnTo>
                          <a:pt x="414" y="954"/>
                        </a:lnTo>
                        <a:lnTo>
                          <a:pt x="414" y="956"/>
                        </a:lnTo>
                        <a:lnTo>
                          <a:pt x="414" y="958"/>
                        </a:lnTo>
                        <a:lnTo>
                          <a:pt x="414" y="960"/>
                        </a:lnTo>
                        <a:lnTo>
                          <a:pt x="418" y="964"/>
                        </a:lnTo>
                        <a:lnTo>
                          <a:pt x="418" y="962"/>
                        </a:lnTo>
                        <a:lnTo>
                          <a:pt x="418" y="960"/>
                        </a:lnTo>
                        <a:lnTo>
                          <a:pt x="420" y="960"/>
                        </a:lnTo>
                        <a:lnTo>
                          <a:pt x="422" y="958"/>
                        </a:lnTo>
                        <a:lnTo>
                          <a:pt x="422" y="956"/>
                        </a:lnTo>
                        <a:lnTo>
                          <a:pt x="424" y="954"/>
                        </a:lnTo>
                        <a:lnTo>
                          <a:pt x="424" y="952"/>
                        </a:lnTo>
                        <a:lnTo>
                          <a:pt x="426" y="952"/>
                        </a:lnTo>
                        <a:lnTo>
                          <a:pt x="426" y="950"/>
                        </a:lnTo>
                        <a:lnTo>
                          <a:pt x="428" y="948"/>
                        </a:lnTo>
                        <a:lnTo>
                          <a:pt x="430" y="948"/>
                        </a:lnTo>
                        <a:lnTo>
                          <a:pt x="430" y="946"/>
                        </a:lnTo>
                        <a:lnTo>
                          <a:pt x="430" y="944"/>
                        </a:lnTo>
                        <a:lnTo>
                          <a:pt x="432" y="944"/>
                        </a:lnTo>
                        <a:lnTo>
                          <a:pt x="432" y="942"/>
                        </a:lnTo>
                        <a:lnTo>
                          <a:pt x="436" y="938"/>
                        </a:lnTo>
                        <a:lnTo>
                          <a:pt x="440" y="938"/>
                        </a:lnTo>
                        <a:lnTo>
                          <a:pt x="442" y="938"/>
                        </a:lnTo>
                        <a:lnTo>
                          <a:pt x="442" y="936"/>
                        </a:lnTo>
                        <a:lnTo>
                          <a:pt x="444" y="934"/>
                        </a:lnTo>
                        <a:lnTo>
                          <a:pt x="446" y="932"/>
                        </a:lnTo>
                        <a:lnTo>
                          <a:pt x="452" y="934"/>
                        </a:lnTo>
                        <a:lnTo>
                          <a:pt x="454" y="934"/>
                        </a:lnTo>
                        <a:lnTo>
                          <a:pt x="456" y="936"/>
                        </a:lnTo>
                        <a:lnTo>
                          <a:pt x="458" y="936"/>
                        </a:lnTo>
                        <a:lnTo>
                          <a:pt x="458" y="938"/>
                        </a:lnTo>
                        <a:lnTo>
                          <a:pt x="458" y="940"/>
                        </a:lnTo>
                        <a:lnTo>
                          <a:pt x="460" y="942"/>
                        </a:lnTo>
                        <a:lnTo>
                          <a:pt x="462" y="940"/>
                        </a:lnTo>
                        <a:lnTo>
                          <a:pt x="464" y="940"/>
                        </a:lnTo>
                        <a:lnTo>
                          <a:pt x="468" y="942"/>
                        </a:lnTo>
                        <a:lnTo>
                          <a:pt x="472" y="942"/>
                        </a:lnTo>
                        <a:lnTo>
                          <a:pt x="476" y="944"/>
                        </a:lnTo>
                        <a:lnTo>
                          <a:pt x="478" y="944"/>
                        </a:lnTo>
                        <a:lnTo>
                          <a:pt x="480" y="942"/>
                        </a:lnTo>
                        <a:lnTo>
                          <a:pt x="480" y="940"/>
                        </a:lnTo>
                        <a:lnTo>
                          <a:pt x="482" y="940"/>
                        </a:lnTo>
                        <a:lnTo>
                          <a:pt x="484" y="942"/>
                        </a:lnTo>
                        <a:lnTo>
                          <a:pt x="486" y="944"/>
                        </a:lnTo>
                        <a:lnTo>
                          <a:pt x="488" y="944"/>
                        </a:lnTo>
                        <a:lnTo>
                          <a:pt x="492" y="944"/>
                        </a:lnTo>
                        <a:lnTo>
                          <a:pt x="492" y="946"/>
                        </a:lnTo>
                        <a:lnTo>
                          <a:pt x="492" y="948"/>
                        </a:lnTo>
                        <a:lnTo>
                          <a:pt x="492" y="950"/>
                        </a:lnTo>
                        <a:lnTo>
                          <a:pt x="498" y="950"/>
                        </a:lnTo>
                        <a:lnTo>
                          <a:pt x="498" y="952"/>
                        </a:lnTo>
                        <a:lnTo>
                          <a:pt x="502" y="952"/>
                        </a:lnTo>
                        <a:lnTo>
                          <a:pt x="504" y="950"/>
                        </a:lnTo>
                        <a:lnTo>
                          <a:pt x="510" y="950"/>
                        </a:lnTo>
                        <a:lnTo>
                          <a:pt x="510" y="948"/>
                        </a:lnTo>
                        <a:lnTo>
                          <a:pt x="510" y="950"/>
                        </a:lnTo>
                        <a:lnTo>
                          <a:pt x="516" y="948"/>
                        </a:lnTo>
                        <a:lnTo>
                          <a:pt x="522" y="944"/>
                        </a:lnTo>
                        <a:lnTo>
                          <a:pt x="522" y="942"/>
                        </a:lnTo>
                        <a:lnTo>
                          <a:pt x="520" y="942"/>
                        </a:lnTo>
                        <a:lnTo>
                          <a:pt x="520" y="940"/>
                        </a:lnTo>
                        <a:lnTo>
                          <a:pt x="524" y="936"/>
                        </a:lnTo>
                        <a:lnTo>
                          <a:pt x="526" y="938"/>
                        </a:lnTo>
                        <a:lnTo>
                          <a:pt x="530" y="934"/>
                        </a:lnTo>
                        <a:lnTo>
                          <a:pt x="534" y="934"/>
                        </a:lnTo>
                        <a:lnTo>
                          <a:pt x="536" y="932"/>
                        </a:lnTo>
                        <a:lnTo>
                          <a:pt x="534" y="930"/>
                        </a:lnTo>
                        <a:lnTo>
                          <a:pt x="536" y="928"/>
                        </a:lnTo>
                        <a:lnTo>
                          <a:pt x="538" y="926"/>
                        </a:lnTo>
                        <a:lnTo>
                          <a:pt x="540" y="922"/>
                        </a:lnTo>
                        <a:lnTo>
                          <a:pt x="542" y="922"/>
                        </a:lnTo>
                        <a:lnTo>
                          <a:pt x="544" y="922"/>
                        </a:lnTo>
                        <a:lnTo>
                          <a:pt x="546" y="922"/>
                        </a:lnTo>
                        <a:lnTo>
                          <a:pt x="546" y="924"/>
                        </a:lnTo>
                        <a:lnTo>
                          <a:pt x="548" y="922"/>
                        </a:lnTo>
                        <a:lnTo>
                          <a:pt x="554" y="922"/>
                        </a:lnTo>
                        <a:lnTo>
                          <a:pt x="556" y="922"/>
                        </a:lnTo>
                        <a:lnTo>
                          <a:pt x="558" y="918"/>
                        </a:lnTo>
                        <a:lnTo>
                          <a:pt x="562" y="914"/>
                        </a:lnTo>
                        <a:lnTo>
                          <a:pt x="562" y="912"/>
                        </a:lnTo>
                        <a:lnTo>
                          <a:pt x="568" y="906"/>
                        </a:lnTo>
                        <a:lnTo>
                          <a:pt x="572" y="906"/>
                        </a:lnTo>
                        <a:lnTo>
                          <a:pt x="572" y="904"/>
                        </a:lnTo>
                        <a:lnTo>
                          <a:pt x="574" y="902"/>
                        </a:lnTo>
                        <a:lnTo>
                          <a:pt x="576" y="902"/>
                        </a:lnTo>
                        <a:lnTo>
                          <a:pt x="580" y="906"/>
                        </a:lnTo>
                        <a:lnTo>
                          <a:pt x="584" y="908"/>
                        </a:lnTo>
                        <a:lnTo>
                          <a:pt x="586" y="908"/>
                        </a:lnTo>
                        <a:lnTo>
                          <a:pt x="594" y="910"/>
                        </a:lnTo>
                        <a:lnTo>
                          <a:pt x="596" y="910"/>
                        </a:lnTo>
                        <a:lnTo>
                          <a:pt x="600" y="904"/>
                        </a:lnTo>
                        <a:lnTo>
                          <a:pt x="610" y="900"/>
                        </a:lnTo>
                        <a:lnTo>
                          <a:pt x="612" y="898"/>
                        </a:lnTo>
                        <a:lnTo>
                          <a:pt x="614" y="898"/>
                        </a:lnTo>
                        <a:lnTo>
                          <a:pt x="616" y="900"/>
                        </a:lnTo>
                        <a:lnTo>
                          <a:pt x="616" y="902"/>
                        </a:lnTo>
                        <a:lnTo>
                          <a:pt x="616" y="904"/>
                        </a:lnTo>
                        <a:lnTo>
                          <a:pt x="618" y="904"/>
                        </a:lnTo>
                        <a:lnTo>
                          <a:pt x="620" y="904"/>
                        </a:lnTo>
                        <a:lnTo>
                          <a:pt x="622" y="902"/>
                        </a:lnTo>
                        <a:lnTo>
                          <a:pt x="622" y="904"/>
                        </a:lnTo>
                        <a:lnTo>
                          <a:pt x="622" y="906"/>
                        </a:lnTo>
                        <a:lnTo>
                          <a:pt x="620" y="906"/>
                        </a:lnTo>
                        <a:lnTo>
                          <a:pt x="620" y="908"/>
                        </a:lnTo>
                        <a:lnTo>
                          <a:pt x="616" y="908"/>
                        </a:lnTo>
                        <a:lnTo>
                          <a:pt x="616" y="910"/>
                        </a:lnTo>
                        <a:lnTo>
                          <a:pt x="616" y="914"/>
                        </a:lnTo>
                        <a:lnTo>
                          <a:pt x="618" y="914"/>
                        </a:lnTo>
                        <a:lnTo>
                          <a:pt x="620" y="912"/>
                        </a:lnTo>
                        <a:lnTo>
                          <a:pt x="624" y="910"/>
                        </a:lnTo>
                        <a:lnTo>
                          <a:pt x="624" y="914"/>
                        </a:lnTo>
                        <a:lnTo>
                          <a:pt x="626" y="916"/>
                        </a:lnTo>
                        <a:lnTo>
                          <a:pt x="628" y="918"/>
                        </a:lnTo>
                        <a:lnTo>
                          <a:pt x="628" y="920"/>
                        </a:lnTo>
                        <a:lnTo>
                          <a:pt x="622" y="926"/>
                        </a:lnTo>
                        <a:lnTo>
                          <a:pt x="620" y="926"/>
                        </a:lnTo>
                        <a:lnTo>
                          <a:pt x="622" y="932"/>
                        </a:lnTo>
                        <a:lnTo>
                          <a:pt x="624" y="930"/>
                        </a:lnTo>
                        <a:lnTo>
                          <a:pt x="628" y="928"/>
                        </a:lnTo>
                        <a:lnTo>
                          <a:pt x="630" y="930"/>
                        </a:lnTo>
                        <a:lnTo>
                          <a:pt x="632" y="930"/>
                        </a:lnTo>
                        <a:lnTo>
                          <a:pt x="632" y="932"/>
                        </a:lnTo>
                        <a:lnTo>
                          <a:pt x="634" y="932"/>
                        </a:lnTo>
                        <a:lnTo>
                          <a:pt x="640" y="932"/>
                        </a:lnTo>
                        <a:lnTo>
                          <a:pt x="642" y="932"/>
                        </a:lnTo>
                        <a:lnTo>
                          <a:pt x="646" y="934"/>
                        </a:lnTo>
                        <a:lnTo>
                          <a:pt x="646" y="936"/>
                        </a:lnTo>
                        <a:lnTo>
                          <a:pt x="648" y="936"/>
                        </a:lnTo>
                        <a:lnTo>
                          <a:pt x="650" y="934"/>
                        </a:lnTo>
                        <a:lnTo>
                          <a:pt x="652" y="934"/>
                        </a:lnTo>
                        <a:lnTo>
                          <a:pt x="652" y="932"/>
                        </a:lnTo>
                        <a:lnTo>
                          <a:pt x="652" y="930"/>
                        </a:lnTo>
                        <a:lnTo>
                          <a:pt x="654" y="926"/>
                        </a:lnTo>
                        <a:lnTo>
                          <a:pt x="658" y="926"/>
                        </a:lnTo>
                        <a:lnTo>
                          <a:pt x="658" y="928"/>
                        </a:lnTo>
                        <a:lnTo>
                          <a:pt x="658" y="930"/>
                        </a:lnTo>
                        <a:lnTo>
                          <a:pt x="660" y="932"/>
                        </a:lnTo>
                        <a:lnTo>
                          <a:pt x="662" y="932"/>
                        </a:lnTo>
                        <a:lnTo>
                          <a:pt x="666" y="934"/>
                        </a:lnTo>
                        <a:lnTo>
                          <a:pt x="666" y="936"/>
                        </a:lnTo>
                        <a:lnTo>
                          <a:pt x="670" y="938"/>
                        </a:lnTo>
                        <a:lnTo>
                          <a:pt x="670" y="944"/>
                        </a:lnTo>
                        <a:lnTo>
                          <a:pt x="674" y="954"/>
                        </a:lnTo>
                        <a:lnTo>
                          <a:pt x="674" y="956"/>
                        </a:lnTo>
                        <a:lnTo>
                          <a:pt x="674" y="958"/>
                        </a:lnTo>
                        <a:lnTo>
                          <a:pt x="676" y="958"/>
                        </a:lnTo>
                        <a:lnTo>
                          <a:pt x="678" y="956"/>
                        </a:lnTo>
                        <a:lnTo>
                          <a:pt x="678" y="954"/>
                        </a:lnTo>
                        <a:lnTo>
                          <a:pt x="684" y="956"/>
                        </a:lnTo>
                        <a:lnTo>
                          <a:pt x="686" y="958"/>
                        </a:lnTo>
                        <a:lnTo>
                          <a:pt x="684" y="960"/>
                        </a:lnTo>
                        <a:lnTo>
                          <a:pt x="686" y="962"/>
                        </a:lnTo>
                        <a:lnTo>
                          <a:pt x="686" y="964"/>
                        </a:lnTo>
                        <a:lnTo>
                          <a:pt x="686" y="966"/>
                        </a:lnTo>
                        <a:lnTo>
                          <a:pt x="686" y="996"/>
                        </a:lnTo>
                        <a:lnTo>
                          <a:pt x="686" y="998"/>
                        </a:lnTo>
                        <a:lnTo>
                          <a:pt x="686" y="1000"/>
                        </a:lnTo>
                        <a:lnTo>
                          <a:pt x="684" y="1002"/>
                        </a:lnTo>
                        <a:lnTo>
                          <a:pt x="684" y="1000"/>
                        </a:lnTo>
                        <a:lnTo>
                          <a:pt x="682" y="1000"/>
                        </a:lnTo>
                        <a:lnTo>
                          <a:pt x="682" y="1002"/>
                        </a:lnTo>
                        <a:lnTo>
                          <a:pt x="684" y="1006"/>
                        </a:lnTo>
                        <a:lnTo>
                          <a:pt x="686" y="1008"/>
                        </a:lnTo>
                        <a:lnTo>
                          <a:pt x="684" y="1010"/>
                        </a:lnTo>
                        <a:lnTo>
                          <a:pt x="682" y="1010"/>
                        </a:lnTo>
                        <a:lnTo>
                          <a:pt x="680" y="1010"/>
                        </a:lnTo>
                        <a:lnTo>
                          <a:pt x="680" y="1012"/>
                        </a:lnTo>
                        <a:lnTo>
                          <a:pt x="678" y="1014"/>
                        </a:lnTo>
                        <a:lnTo>
                          <a:pt x="676" y="1018"/>
                        </a:lnTo>
                        <a:lnTo>
                          <a:pt x="674" y="1018"/>
                        </a:lnTo>
                        <a:lnTo>
                          <a:pt x="672" y="1018"/>
                        </a:lnTo>
                        <a:lnTo>
                          <a:pt x="672" y="1016"/>
                        </a:lnTo>
                        <a:lnTo>
                          <a:pt x="670" y="1018"/>
                        </a:lnTo>
                        <a:lnTo>
                          <a:pt x="670" y="1022"/>
                        </a:lnTo>
                        <a:lnTo>
                          <a:pt x="664" y="1028"/>
                        </a:lnTo>
                        <a:lnTo>
                          <a:pt x="662" y="1028"/>
                        </a:lnTo>
                        <a:lnTo>
                          <a:pt x="662" y="1026"/>
                        </a:lnTo>
                        <a:lnTo>
                          <a:pt x="660" y="1028"/>
                        </a:lnTo>
                        <a:lnTo>
                          <a:pt x="660" y="1032"/>
                        </a:lnTo>
                        <a:lnTo>
                          <a:pt x="658" y="1032"/>
                        </a:lnTo>
                        <a:lnTo>
                          <a:pt x="658" y="1038"/>
                        </a:lnTo>
                        <a:lnTo>
                          <a:pt x="658" y="1040"/>
                        </a:lnTo>
                        <a:lnTo>
                          <a:pt x="654" y="1044"/>
                        </a:lnTo>
                        <a:lnTo>
                          <a:pt x="654" y="1050"/>
                        </a:lnTo>
                        <a:lnTo>
                          <a:pt x="658" y="1052"/>
                        </a:lnTo>
                        <a:lnTo>
                          <a:pt x="660" y="1058"/>
                        </a:lnTo>
                        <a:lnTo>
                          <a:pt x="658" y="1060"/>
                        </a:lnTo>
                        <a:lnTo>
                          <a:pt x="654" y="1066"/>
                        </a:lnTo>
                        <a:lnTo>
                          <a:pt x="656" y="1068"/>
                        </a:lnTo>
                        <a:lnTo>
                          <a:pt x="656" y="1070"/>
                        </a:lnTo>
                        <a:lnTo>
                          <a:pt x="662" y="1064"/>
                        </a:lnTo>
                        <a:lnTo>
                          <a:pt x="664" y="1064"/>
                        </a:lnTo>
                        <a:lnTo>
                          <a:pt x="670" y="1062"/>
                        </a:lnTo>
                        <a:lnTo>
                          <a:pt x="672" y="1060"/>
                        </a:lnTo>
                        <a:lnTo>
                          <a:pt x="680" y="1060"/>
                        </a:lnTo>
                        <a:lnTo>
                          <a:pt x="682" y="1062"/>
                        </a:lnTo>
                        <a:lnTo>
                          <a:pt x="690" y="1060"/>
                        </a:lnTo>
                        <a:lnTo>
                          <a:pt x="690" y="1062"/>
                        </a:lnTo>
                        <a:lnTo>
                          <a:pt x="690" y="1064"/>
                        </a:lnTo>
                        <a:lnTo>
                          <a:pt x="686" y="1066"/>
                        </a:lnTo>
                        <a:lnTo>
                          <a:pt x="684" y="1066"/>
                        </a:lnTo>
                        <a:lnTo>
                          <a:pt x="684" y="1070"/>
                        </a:lnTo>
                        <a:lnTo>
                          <a:pt x="688" y="1072"/>
                        </a:lnTo>
                        <a:lnTo>
                          <a:pt x="690" y="1076"/>
                        </a:lnTo>
                        <a:lnTo>
                          <a:pt x="688" y="1078"/>
                        </a:lnTo>
                        <a:lnTo>
                          <a:pt x="688" y="1080"/>
                        </a:lnTo>
                        <a:lnTo>
                          <a:pt x="690" y="1080"/>
                        </a:lnTo>
                        <a:lnTo>
                          <a:pt x="690" y="1082"/>
                        </a:lnTo>
                        <a:lnTo>
                          <a:pt x="692" y="1082"/>
                        </a:lnTo>
                        <a:lnTo>
                          <a:pt x="692" y="1090"/>
                        </a:lnTo>
                        <a:lnTo>
                          <a:pt x="696" y="1092"/>
                        </a:lnTo>
                        <a:lnTo>
                          <a:pt x="700" y="1092"/>
                        </a:lnTo>
                        <a:lnTo>
                          <a:pt x="704" y="1090"/>
                        </a:lnTo>
                        <a:lnTo>
                          <a:pt x="708" y="1092"/>
                        </a:lnTo>
                        <a:lnTo>
                          <a:pt x="708" y="1096"/>
                        </a:lnTo>
                        <a:lnTo>
                          <a:pt x="708" y="1098"/>
                        </a:lnTo>
                        <a:lnTo>
                          <a:pt x="706" y="1098"/>
                        </a:lnTo>
                        <a:lnTo>
                          <a:pt x="702" y="1104"/>
                        </a:lnTo>
                        <a:lnTo>
                          <a:pt x="704" y="1108"/>
                        </a:lnTo>
                        <a:lnTo>
                          <a:pt x="704" y="1110"/>
                        </a:lnTo>
                        <a:lnTo>
                          <a:pt x="704" y="1112"/>
                        </a:lnTo>
                        <a:lnTo>
                          <a:pt x="702" y="1112"/>
                        </a:lnTo>
                        <a:lnTo>
                          <a:pt x="698" y="1120"/>
                        </a:lnTo>
                        <a:lnTo>
                          <a:pt x="700" y="1120"/>
                        </a:lnTo>
                        <a:lnTo>
                          <a:pt x="704" y="1122"/>
                        </a:lnTo>
                        <a:lnTo>
                          <a:pt x="704" y="1120"/>
                        </a:lnTo>
                        <a:lnTo>
                          <a:pt x="712" y="1122"/>
                        </a:lnTo>
                        <a:lnTo>
                          <a:pt x="712" y="1124"/>
                        </a:lnTo>
                        <a:lnTo>
                          <a:pt x="714" y="1122"/>
                        </a:lnTo>
                        <a:lnTo>
                          <a:pt x="718" y="1122"/>
                        </a:lnTo>
                        <a:lnTo>
                          <a:pt x="720" y="1124"/>
                        </a:lnTo>
                        <a:lnTo>
                          <a:pt x="720" y="1126"/>
                        </a:lnTo>
                        <a:lnTo>
                          <a:pt x="720" y="1128"/>
                        </a:lnTo>
                        <a:lnTo>
                          <a:pt x="720" y="1134"/>
                        </a:lnTo>
                        <a:lnTo>
                          <a:pt x="722" y="1134"/>
                        </a:lnTo>
                        <a:lnTo>
                          <a:pt x="724" y="1136"/>
                        </a:lnTo>
                        <a:lnTo>
                          <a:pt x="724" y="1138"/>
                        </a:lnTo>
                        <a:lnTo>
                          <a:pt x="726" y="1142"/>
                        </a:lnTo>
                        <a:lnTo>
                          <a:pt x="728" y="1140"/>
                        </a:lnTo>
                        <a:lnTo>
                          <a:pt x="730" y="1138"/>
                        </a:lnTo>
                        <a:lnTo>
                          <a:pt x="732" y="1138"/>
                        </a:lnTo>
                        <a:lnTo>
                          <a:pt x="734" y="1140"/>
                        </a:lnTo>
                        <a:lnTo>
                          <a:pt x="736" y="1140"/>
                        </a:lnTo>
                        <a:lnTo>
                          <a:pt x="740" y="1138"/>
                        </a:lnTo>
                        <a:lnTo>
                          <a:pt x="744" y="1134"/>
                        </a:lnTo>
                        <a:lnTo>
                          <a:pt x="750" y="1132"/>
                        </a:lnTo>
                        <a:lnTo>
                          <a:pt x="752" y="1136"/>
                        </a:lnTo>
                        <a:lnTo>
                          <a:pt x="752" y="1138"/>
                        </a:lnTo>
                        <a:lnTo>
                          <a:pt x="756" y="1142"/>
                        </a:lnTo>
                        <a:lnTo>
                          <a:pt x="754" y="1144"/>
                        </a:lnTo>
                        <a:lnTo>
                          <a:pt x="754" y="1146"/>
                        </a:lnTo>
                        <a:lnTo>
                          <a:pt x="756" y="1148"/>
                        </a:lnTo>
                        <a:lnTo>
                          <a:pt x="758" y="1148"/>
                        </a:lnTo>
                        <a:lnTo>
                          <a:pt x="764" y="1146"/>
                        </a:lnTo>
                        <a:lnTo>
                          <a:pt x="764" y="1148"/>
                        </a:lnTo>
                        <a:lnTo>
                          <a:pt x="766" y="1148"/>
                        </a:lnTo>
                        <a:lnTo>
                          <a:pt x="768" y="1150"/>
                        </a:lnTo>
                        <a:lnTo>
                          <a:pt x="770" y="1150"/>
                        </a:lnTo>
                        <a:lnTo>
                          <a:pt x="772" y="1148"/>
                        </a:lnTo>
                        <a:lnTo>
                          <a:pt x="772" y="1146"/>
                        </a:lnTo>
                        <a:lnTo>
                          <a:pt x="770" y="1146"/>
                        </a:lnTo>
                        <a:lnTo>
                          <a:pt x="768" y="1146"/>
                        </a:lnTo>
                        <a:lnTo>
                          <a:pt x="768" y="1144"/>
                        </a:lnTo>
                        <a:lnTo>
                          <a:pt x="768" y="1142"/>
                        </a:lnTo>
                        <a:lnTo>
                          <a:pt x="768" y="1140"/>
                        </a:lnTo>
                        <a:lnTo>
                          <a:pt x="768" y="1130"/>
                        </a:lnTo>
                        <a:lnTo>
                          <a:pt x="766" y="1126"/>
                        </a:lnTo>
                        <a:lnTo>
                          <a:pt x="764" y="1118"/>
                        </a:lnTo>
                        <a:lnTo>
                          <a:pt x="766" y="1114"/>
                        </a:lnTo>
                        <a:lnTo>
                          <a:pt x="766" y="1112"/>
                        </a:lnTo>
                        <a:lnTo>
                          <a:pt x="768" y="1110"/>
                        </a:lnTo>
                        <a:lnTo>
                          <a:pt x="770" y="1110"/>
                        </a:lnTo>
                        <a:lnTo>
                          <a:pt x="774" y="1112"/>
                        </a:lnTo>
                        <a:lnTo>
                          <a:pt x="778" y="1112"/>
                        </a:lnTo>
                        <a:lnTo>
                          <a:pt x="780" y="1114"/>
                        </a:lnTo>
                        <a:lnTo>
                          <a:pt x="786" y="1106"/>
                        </a:lnTo>
                        <a:lnTo>
                          <a:pt x="788" y="1102"/>
                        </a:lnTo>
                        <a:lnTo>
                          <a:pt x="790" y="1102"/>
                        </a:lnTo>
                        <a:lnTo>
                          <a:pt x="800" y="1108"/>
                        </a:lnTo>
                        <a:lnTo>
                          <a:pt x="800" y="1110"/>
                        </a:lnTo>
                        <a:lnTo>
                          <a:pt x="804" y="1112"/>
                        </a:lnTo>
                        <a:lnTo>
                          <a:pt x="808" y="1108"/>
                        </a:lnTo>
                        <a:lnTo>
                          <a:pt x="812" y="1102"/>
                        </a:lnTo>
                        <a:lnTo>
                          <a:pt x="814" y="1102"/>
                        </a:lnTo>
                        <a:lnTo>
                          <a:pt x="816" y="1106"/>
                        </a:lnTo>
                        <a:lnTo>
                          <a:pt x="816" y="1108"/>
                        </a:lnTo>
                        <a:lnTo>
                          <a:pt x="818" y="1108"/>
                        </a:lnTo>
                        <a:lnTo>
                          <a:pt x="818" y="1106"/>
                        </a:lnTo>
                        <a:lnTo>
                          <a:pt x="818" y="1104"/>
                        </a:lnTo>
                        <a:lnTo>
                          <a:pt x="820" y="1102"/>
                        </a:lnTo>
                        <a:lnTo>
                          <a:pt x="828" y="1108"/>
                        </a:lnTo>
                        <a:lnTo>
                          <a:pt x="830" y="1110"/>
                        </a:lnTo>
                        <a:lnTo>
                          <a:pt x="830" y="1108"/>
                        </a:lnTo>
                        <a:lnTo>
                          <a:pt x="832" y="1104"/>
                        </a:lnTo>
                        <a:lnTo>
                          <a:pt x="832" y="1102"/>
                        </a:lnTo>
                        <a:lnTo>
                          <a:pt x="838" y="1100"/>
                        </a:lnTo>
                        <a:lnTo>
                          <a:pt x="838" y="1102"/>
                        </a:lnTo>
                        <a:lnTo>
                          <a:pt x="840" y="1104"/>
                        </a:lnTo>
                        <a:lnTo>
                          <a:pt x="842" y="1102"/>
                        </a:lnTo>
                        <a:lnTo>
                          <a:pt x="844" y="1100"/>
                        </a:lnTo>
                        <a:lnTo>
                          <a:pt x="850" y="1100"/>
                        </a:lnTo>
                        <a:lnTo>
                          <a:pt x="854" y="1096"/>
                        </a:lnTo>
                        <a:lnTo>
                          <a:pt x="852" y="1092"/>
                        </a:lnTo>
                        <a:lnTo>
                          <a:pt x="856" y="1090"/>
                        </a:lnTo>
                        <a:lnTo>
                          <a:pt x="868" y="1084"/>
                        </a:lnTo>
                        <a:lnTo>
                          <a:pt x="868" y="1086"/>
                        </a:lnTo>
                        <a:lnTo>
                          <a:pt x="874" y="1090"/>
                        </a:lnTo>
                        <a:lnTo>
                          <a:pt x="874" y="1092"/>
                        </a:lnTo>
                        <a:lnTo>
                          <a:pt x="878" y="1094"/>
                        </a:lnTo>
                        <a:lnTo>
                          <a:pt x="880" y="1094"/>
                        </a:lnTo>
                        <a:lnTo>
                          <a:pt x="880" y="1096"/>
                        </a:lnTo>
                        <a:lnTo>
                          <a:pt x="882" y="1098"/>
                        </a:lnTo>
                        <a:lnTo>
                          <a:pt x="884" y="1096"/>
                        </a:lnTo>
                        <a:lnTo>
                          <a:pt x="886" y="1096"/>
                        </a:lnTo>
                        <a:lnTo>
                          <a:pt x="888" y="1096"/>
                        </a:lnTo>
                        <a:lnTo>
                          <a:pt x="890" y="1096"/>
                        </a:lnTo>
                        <a:lnTo>
                          <a:pt x="892" y="1096"/>
                        </a:lnTo>
                        <a:lnTo>
                          <a:pt x="892" y="1098"/>
                        </a:lnTo>
                        <a:lnTo>
                          <a:pt x="892" y="1100"/>
                        </a:lnTo>
                        <a:lnTo>
                          <a:pt x="894" y="1100"/>
                        </a:lnTo>
                        <a:lnTo>
                          <a:pt x="898" y="1098"/>
                        </a:lnTo>
                        <a:lnTo>
                          <a:pt x="898" y="1096"/>
                        </a:lnTo>
                        <a:lnTo>
                          <a:pt x="904" y="1098"/>
                        </a:lnTo>
                        <a:lnTo>
                          <a:pt x="906" y="1100"/>
                        </a:lnTo>
                        <a:lnTo>
                          <a:pt x="906" y="1102"/>
                        </a:lnTo>
                        <a:lnTo>
                          <a:pt x="904" y="1106"/>
                        </a:lnTo>
                        <a:lnTo>
                          <a:pt x="902" y="1106"/>
                        </a:lnTo>
                        <a:lnTo>
                          <a:pt x="900" y="1110"/>
                        </a:lnTo>
                        <a:lnTo>
                          <a:pt x="900" y="1112"/>
                        </a:lnTo>
                        <a:lnTo>
                          <a:pt x="900" y="1114"/>
                        </a:lnTo>
                        <a:lnTo>
                          <a:pt x="902" y="1114"/>
                        </a:lnTo>
                        <a:lnTo>
                          <a:pt x="904" y="1118"/>
                        </a:lnTo>
                        <a:lnTo>
                          <a:pt x="904" y="1124"/>
                        </a:lnTo>
                        <a:lnTo>
                          <a:pt x="912" y="1126"/>
                        </a:lnTo>
                        <a:lnTo>
                          <a:pt x="914" y="1126"/>
                        </a:lnTo>
                        <a:lnTo>
                          <a:pt x="914" y="1128"/>
                        </a:lnTo>
                        <a:lnTo>
                          <a:pt x="912" y="1128"/>
                        </a:lnTo>
                        <a:lnTo>
                          <a:pt x="912" y="1130"/>
                        </a:lnTo>
                        <a:lnTo>
                          <a:pt x="918" y="1132"/>
                        </a:lnTo>
                        <a:lnTo>
                          <a:pt x="920" y="1132"/>
                        </a:lnTo>
                        <a:lnTo>
                          <a:pt x="922" y="1134"/>
                        </a:lnTo>
                        <a:lnTo>
                          <a:pt x="922" y="1136"/>
                        </a:lnTo>
                        <a:lnTo>
                          <a:pt x="926" y="1136"/>
                        </a:lnTo>
                        <a:lnTo>
                          <a:pt x="930" y="1136"/>
                        </a:lnTo>
                        <a:lnTo>
                          <a:pt x="932" y="1136"/>
                        </a:lnTo>
                        <a:lnTo>
                          <a:pt x="932" y="1134"/>
                        </a:lnTo>
                        <a:lnTo>
                          <a:pt x="936" y="1134"/>
                        </a:lnTo>
                        <a:lnTo>
                          <a:pt x="938" y="1136"/>
                        </a:lnTo>
                        <a:lnTo>
                          <a:pt x="938" y="1138"/>
                        </a:lnTo>
                        <a:lnTo>
                          <a:pt x="942" y="1138"/>
                        </a:lnTo>
                        <a:lnTo>
                          <a:pt x="944" y="1136"/>
                        </a:lnTo>
                        <a:lnTo>
                          <a:pt x="946" y="1138"/>
                        </a:lnTo>
                        <a:lnTo>
                          <a:pt x="944" y="1140"/>
                        </a:lnTo>
                        <a:lnTo>
                          <a:pt x="946" y="1138"/>
                        </a:lnTo>
                        <a:lnTo>
                          <a:pt x="948" y="1138"/>
                        </a:lnTo>
                        <a:lnTo>
                          <a:pt x="948" y="1136"/>
                        </a:lnTo>
                        <a:lnTo>
                          <a:pt x="948" y="1134"/>
                        </a:lnTo>
                        <a:lnTo>
                          <a:pt x="952" y="1134"/>
                        </a:lnTo>
                        <a:lnTo>
                          <a:pt x="950" y="1136"/>
                        </a:lnTo>
                        <a:lnTo>
                          <a:pt x="950" y="1138"/>
                        </a:lnTo>
                        <a:lnTo>
                          <a:pt x="952" y="1138"/>
                        </a:lnTo>
                        <a:lnTo>
                          <a:pt x="956" y="1134"/>
                        </a:lnTo>
                        <a:lnTo>
                          <a:pt x="952" y="1132"/>
                        </a:lnTo>
                        <a:lnTo>
                          <a:pt x="952" y="1128"/>
                        </a:lnTo>
                        <a:lnTo>
                          <a:pt x="952" y="1126"/>
                        </a:lnTo>
                        <a:lnTo>
                          <a:pt x="956" y="1126"/>
                        </a:lnTo>
                        <a:lnTo>
                          <a:pt x="956" y="1128"/>
                        </a:lnTo>
                        <a:lnTo>
                          <a:pt x="956" y="1130"/>
                        </a:lnTo>
                        <a:lnTo>
                          <a:pt x="956" y="1132"/>
                        </a:lnTo>
                        <a:lnTo>
                          <a:pt x="958" y="1134"/>
                        </a:lnTo>
                        <a:lnTo>
                          <a:pt x="960" y="1136"/>
                        </a:lnTo>
                        <a:lnTo>
                          <a:pt x="962" y="1136"/>
                        </a:lnTo>
                        <a:lnTo>
                          <a:pt x="962" y="1134"/>
                        </a:lnTo>
                        <a:lnTo>
                          <a:pt x="962" y="1132"/>
                        </a:lnTo>
                        <a:lnTo>
                          <a:pt x="962" y="1130"/>
                        </a:lnTo>
                        <a:lnTo>
                          <a:pt x="964" y="1132"/>
                        </a:lnTo>
                        <a:lnTo>
                          <a:pt x="962" y="1132"/>
                        </a:lnTo>
                        <a:lnTo>
                          <a:pt x="962" y="1134"/>
                        </a:lnTo>
                        <a:lnTo>
                          <a:pt x="964" y="1136"/>
                        </a:lnTo>
                        <a:lnTo>
                          <a:pt x="970" y="1136"/>
                        </a:lnTo>
                        <a:lnTo>
                          <a:pt x="970" y="1138"/>
                        </a:lnTo>
                        <a:lnTo>
                          <a:pt x="970" y="1140"/>
                        </a:lnTo>
                        <a:lnTo>
                          <a:pt x="968" y="1142"/>
                        </a:lnTo>
                        <a:lnTo>
                          <a:pt x="970" y="1142"/>
                        </a:lnTo>
                        <a:lnTo>
                          <a:pt x="972" y="1142"/>
                        </a:lnTo>
                        <a:lnTo>
                          <a:pt x="976" y="1140"/>
                        </a:lnTo>
                        <a:lnTo>
                          <a:pt x="978" y="1140"/>
                        </a:lnTo>
                        <a:lnTo>
                          <a:pt x="980" y="1140"/>
                        </a:lnTo>
                        <a:lnTo>
                          <a:pt x="982" y="1140"/>
                        </a:lnTo>
                        <a:lnTo>
                          <a:pt x="982" y="1138"/>
                        </a:lnTo>
                        <a:lnTo>
                          <a:pt x="982" y="1136"/>
                        </a:lnTo>
                        <a:lnTo>
                          <a:pt x="980" y="1134"/>
                        </a:lnTo>
                        <a:lnTo>
                          <a:pt x="982" y="1132"/>
                        </a:lnTo>
                        <a:lnTo>
                          <a:pt x="982" y="1134"/>
                        </a:lnTo>
                        <a:lnTo>
                          <a:pt x="984" y="1136"/>
                        </a:lnTo>
                        <a:lnTo>
                          <a:pt x="986" y="1140"/>
                        </a:lnTo>
                        <a:lnTo>
                          <a:pt x="988" y="1140"/>
                        </a:lnTo>
                        <a:lnTo>
                          <a:pt x="988" y="1138"/>
                        </a:lnTo>
                        <a:lnTo>
                          <a:pt x="986" y="1136"/>
                        </a:lnTo>
                        <a:lnTo>
                          <a:pt x="988" y="1136"/>
                        </a:lnTo>
                        <a:lnTo>
                          <a:pt x="988" y="1138"/>
                        </a:lnTo>
                        <a:lnTo>
                          <a:pt x="990" y="1140"/>
                        </a:lnTo>
                        <a:lnTo>
                          <a:pt x="992" y="1140"/>
                        </a:lnTo>
                        <a:lnTo>
                          <a:pt x="992" y="1142"/>
                        </a:lnTo>
                        <a:lnTo>
                          <a:pt x="990" y="1142"/>
                        </a:lnTo>
                        <a:lnTo>
                          <a:pt x="990" y="1144"/>
                        </a:lnTo>
                        <a:lnTo>
                          <a:pt x="988" y="1144"/>
                        </a:lnTo>
                        <a:lnTo>
                          <a:pt x="986" y="1150"/>
                        </a:lnTo>
                        <a:lnTo>
                          <a:pt x="986" y="1154"/>
                        </a:lnTo>
                        <a:lnTo>
                          <a:pt x="986" y="1158"/>
                        </a:lnTo>
                        <a:lnTo>
                          <a:pt x="986" y="1160"/>
                        </a:lnTo>
                        <a:lnTo>
                          <a:pt x="986" y="1164"/>
                        </a:lnTo>
                        <a:lnTo>
                          <a:pt x="990" y="1168"/>
                        </a:lnTo>
                        <a:lnTo>
                          <a:pt x="992" y="1170"/>
                        </a:lnTo>
                        <a:lnTo>
                          <a:pt x="994" y="1170"/>
                        </a:lnTo>
                        <a:lnTo>
                          <a:pt x="994" y="1172"/>
                        </a:lnTo>
                        <a:lnTo>
                          <a:pt x="992" y="1172"/>
                        </a:lnTo>
                        <a:lnTo>
                          <a:pt x="992" y="1176"/>
                        </a:lnTo>
                        <a:lnTo>
                          <a:pt x="992" y="1174"/>
                        </a:lnTo>
                        <a:lnTo>
                          <a:pt x="996" y="1174"/>
                        </a:lnTo>
                        <a:lnTo>
                          <a:pt x="998" y="1176"/>
                        </a:lnTo>
                        <a:lnTo>
                          <a:pt x="1002" y="1176"/>
                        </a:lnTo>
                        <a:lnTo>
                          <a:pt x="1004" y="1176"/>
                        </a:lnTo>
                        <a:lnTo>
                          <a:pt x="1006" y="1174"/>
                        </a:lnTo>
                        <a:lnTo>
                          <a:pt x="1008" y="1168"/>
                        </a:lnTo>
                        <a:lnTo>
                          <a:pt x="1008" y="1166"/>
                        </a:lnTo>
                        <a:lnTo>
                          <a:pt x="1006" y="1166"/>
                        </a:lnTo>
                        <a:lnTo>
                          <a:pt x="1004" y="1166"/>
                        </a:lnTo>
                        <a:lnTo>
                          <a:pt x="1004" y="1164"/>
                        </a:lnTo>
                        <a:lnTo>
                          <a:pt x="1004" y="1160"/>
                        </a:lnTo>
                        <a:lnTo>
                          <a:pt x="1004" y="1162"/>
                        </a:lnTo>
                        <a:lnTo>
                          <a:pt x="1004" y="1158"/>
                        </a:lnTo>
                        <a:lnTo>
                          <a:pt x="998" y="1158"/>
                        </a:lnTo>
                        <a:lnTo>
                          <a:pt x="998" y="1156"/>
                        </a:lnTo>
                        <a:lnTo>
                          <a:pt x="1000" y="1152"/>
                        </a:lnTo>
                        <a:lnTo>
                          <a:pt x="1004" y="1150"/>
                        </a:lnTo>
                        <a:lnTo>
                          <a:pt x="1004" y="1148"/>
                        </a:lnTo>
                        <a:lnTo>
                          <a:pt x="1006" y="1148"/>
                        </a:lnTo>
                        <a:lnTo>
                          <a:pt x="1004" y="1146"/>
                        </a:lnTo>
                        <a:lnTo>
                          <a:pt x="1004" y="1142"/>
                        </a:lnTo>
                        <a:lnTo>
                          <a:pt x="1006" y="1142"/>
                        </a:lnTo>
                        <a:lnTo>
                          <a:pt x="1006" y="1148"/>
                        </a:lnTo>
                        <a:lnTo>
                          <a:pt x="1008" y="1148"/>
                        </a:lnTo>
                        <a:lnTo>
                          <a:pt x="1012" y="1148"/>
                        </a:lnTo>
                        <a:lnTo>
                          <a:pt x="1012" y="1146"/>
                        </a:lnTo>
                        <a:lnTo>
                          <a:pt x="1010" y="1146"/>
                        </a:lnTo>
                        <a:lnTo>
                          <a:pt x="1010" y="1144"/>
                        </a:lnTo>
                        <a:lnTo>
                          <a:pt x="1012" y="1142"/>
                        </a:lnTo>
                        <a:lnTo>
                          <a:pt x="1014" y="1142"/>
                        </a:lnTo>
                        <a:lnTo>
                          <a:pt x="1012" y="1142"/>
                        </a:lnTo>
                        <a:lnTo>
                          <a:pt x="1012" y="1146"/>
                        </a:lnTo>
                        <a:lnTo>
                          <a:pt x="1014" y="1144"/>
                        </a:lnTo>
                        <a:lnTo>
                          <a:pt x="1014" y="1142"/>
                        </a:lnTo>
                        <a:lnTo>
                          <a:pt x="1016" y="1142"/>
                        </a:lnTo>
                        <a:lnTo>
                          <a:pt x="1018" y="1142"/>
                        </a:lnTo>
                        <a:lnTo>
                          <a:pt x="1022" y="1142"/>
                        </a:lnTo>
                        <a:lnTo>
                          <a:pt x="1024" y="1140"/>
                        </a:lnTo>
                        <a:lnTo>
                          <a:pt x="1022" y="1140"/>
                        </a:lnTo>
                        <a:lnTo>
                          <a:pt x="1020" y="1140"/>
                        </a:lnTo>
                        <a:lnTo>
                          <a:pt x="1020" y="1138"/>
                        </a:lnTo>
                        <a:lnTo>
                          <a:pt x="1024" y="1138"/>
                        </a:lnTo>
                        <a:lnTo>
                          <a:pt x="1024" y="1140"/>
                        </a:lnTo>
                        <a:lnTo>
                          <a:pt x="1038" y="1138"/>
                        </a:lnTo>
                        <a:lnTo>
                          <a:pt x="1040" y="1136"/>
                        </a:lnTo>
                        <a:lnTo>
                          <a:pt x="1044" y="1136"/>
                        </a:lnTo>
                        <a:lnTo>
                          <a:pt x="1042" y="1132"/>
                        </a:lnTo>
                        <a:lnTo>
                          <a:pt x="1040" y="1132"/>
                        </a:lnTo>
                        <a:lnTo>
                          <a:pt x="1044" y="1132"/>
                        </a:lnTo>
                        <a:lnTo>
                          <a:pt x="1044" y="1134"/>
                        </a:lnTo>
                        <a:lnTo>
                          <a:pt x="1048" y="1132"/>
                        </a:lnTo>
                        <a:lnTo>
                          <a:pt x="1046" y="1130"/>
                        </a:lnTo>
                        <a:lnTo>
                          <a:pt x="1046" y="1126"/>
                        </a:lnTo>
                        <a:lnTo>
                          <a:pt x="1048" y="1128"/>
                        </a:lnTo>
                        <a:lnTo>
                          <a:pt x="1050" y="1132"/>
                        </a:lnTo>
                        <a:lnTo>
                          <a:pt x="1056" y="1132"/>
                        </a:lnTo>
                        <a:lnTo>
                          <a:pt x="1056" y="1134"/>
                        </a:lnTo>
                        <a:lnTo>
                          <a:pt x="1058" y="1132"/>
                        </a:lnTo>
                        <a:lnTo>
                          <a:pt x="1060" y="1132"/>
                        </a:lnTo>
                        <a:lnTo>
                          <a:pt x="1062" y="1130"/>
                        </a:lnTo>
                        <a:lnTo>
                          <a:pt x="1064" y="1132"/>
                        </a:lnTo>
                        <a:lnTo>
                          <a:pt x="1066" y="1132"/>
                        </a:lnTo>
                        <a:lnTo>
                          <a:pt x="1066" y="1130"/>
                        </a:lnTo>
                        <a:lnTo>
                          <a:pt x="1068" y="1128"/>
                        </a:lnTo>
                        <a:lnTo>
                          <a:pt x="1070" y="1126"/>
                        </a:lnTo>
                        <a:lnTo>
                          <a:pt x="1072" y="1126"/>
                        </a:lnTo>
                        <a:lnTo>
                          <a:pt x="1072" y="1128"/>
                        </a:lnTo>
                        <a:lnTo>
                          <a:pt x="1074" y="1128"/>
                        </a:lnTo>
                        <a:lnTo>
                          <a:pt x="1076" y="1128"/>
                        </a:lnTo>
                        <a:lnTo>
                          <a:pt x="1076" y="1126"/>
                        </a:lnTo>
                        <a:lnTo>
                          <a:pt x="1076" y="1124"/>
                        </a:lnTo>
                        <a:lnTo>
                          <a:pt x="1076" y="1122"/>
                        </a:lnTo>
                        <a:lnTo>
                          <a:pt x="1076" y="1120"/>
                        </a:lnTo>
                        <a:lnTo>
                          <a:pt x="1078" y="1120"/>
                        </a:lnTo>
                        <a:lnTo>
                          <a:pt x="1078" y="1118"/>
                        </a:lnTo>
                        <a:lnTo>
                          <a:pt x="1080" y="1118"/>
                        </a:lnTo>
                        <a:lnTo>
                          <a:pt x="1080" y="1120"/>
                        </a:lnTo>
                        <a:lnTo>
                          <a:pt x="1080" y="1122"/>
                        </a:lnTo>
                        <a:lnTo>
                          <a:pt x="1082" y="1124"/>
                        </a:lnTo>
                        <a:lnTo>
                          <a:pt x="1084" y="1122"/>
                        </a:lnTo>
                        <a:lnTo>
                          <a:pt x="1084" y="1120"/>
                        </a:lnTo>
                        <a:lnTo>
                          <a:pt x="1086" y="1120"/>
                        </a:lnTo>
                        <a:lnTo>
                          <a:pt x="1082" y="1110"/>
                        </a:lnTo>
                        <a:lnTo>
                          <a:pt x="1080" y="1110"/>
                        </a:lnTo>
                        <a:lnTo>
                          <a:pt x="1080" y="1108"/>
                        </a:lnTo>
                        <a:lnTo>
                          <a:pt x="1082" y="1110"/>
                        </a:lnTo>
                        <a:lnTo>
                          <a:pt x="1084" y="1112"/>
                        </a:lnTo>
                        <a:lnTo>
                          <a:pt x="1084" y="1114"/>
                        </a:lnTo>
                        <a:lnTo>
                          <a:pt x="1088" y="1120"/>
                        </a:lnTo>
                        <a:lnTo>
                          <a:pt x="1092" y="1120"/>
                        </a:lnTo>
                        <a:lnTo>
                          <a:pt x="1092" y="1118"/>
                        </a:lnTo>
                        <a:lnTo>
                          <a:pt x="1092" y="1114"/>
                        </a:lnTo>
                        <a:lnTo>
                          <a:pt x="1092" y="1112"/>
                        </a:lnTo>
                        <a:lnTo>
                          <a:pt x="1092" y="1110"/>
                        </a:lnTo>
                        <a:lnTo>
                          <a:pt x="1092" y="1108"/>
                        </a:lnTo>
                        <a:lnTo>
                          <a:pt x="1090" y="1104"/>
                        </a:lnTo>
                        <a:lnTo>
                          <a:pt x="1088" y="1102"/>
                        </a:lnTo>
                        <a:lnTo>
                          <a:pt x="1090" y="1102"/>
                        </a:lnTo>
                        <a:lnTo>
                          <a:pt x="1086" y="1098"/>
                        </a:lnTo>
                        <a:lnTo>
                          <a:pt x="1088" y="1096"/>
                        </a:lnTo>
                        <a:lnTo>
                          <a:pt x="1090" y="1098"/>
                        </a:lnTo>
                        <a:lnTo>
                          <a:pt x="1090" y="1094"/>
                        </a:lnTo>
                        <a:lnTo>
                          <a:pt x="1096" y="1090"/>
                        </a:lnTo>
                        <a:lnTo>
                          <a:pt x="1098" y="1092"/>
                        </a:lnTo>
                        <a:lnTo>
                          <a:pt x="1098" y="1090"/>
                        </a:lnTo>
                        <a:lnTo>
                          <a:pt x="1096" y="1090"/>
                        </a:lnTo>
                        <a:lnTo>
                          <a:pt x="1092" y="1092"/>
                        </a:lnTo>
                        <a:lnTo>
                          <a:pt x="1092" y="1094"/>
                        </a:lnTo>
                        <a:lnTo>
                          <a:pt x="1090" y="1094"/>
                        </a:lnTo>
                        <a:lnTo>
                          <a:pt x="1092" y="1096"/>
                        </a:lnTo>
                        <a:lnTo>
                          <a:pt x="1092" y="1100"/>
                        </a:lnTo>
                        <a:lnTo>
                          <a:pt x="1096" y="1102"/>
                        </a:lnTo>
                        <a:lnTo>
                          <a:pt x="1098" y="1106"/>
                        </a:lnTo>
                        <a:lnTo>
                          <a:pt x="1100" y="1108"/>
                        </a:lnTo>
                        <a:lnTo>
                          <a:pt x="1100" y="1110"/>
                        </a:lnTo>
                        <a:lnTo>
                          <a:pt x="1102" y="1110"/>
                        </a:lnTo>
                        <a:lnTo>
                          <a:pt x="1102" y="1108"/>
                        </a:lnTo>
                        <a:lnTo>
                          <a:pt x="1104" y="1108"/>
                        </a:lnTo>
                        <a:lnTo>
                          <a:pt x="1104" y="1110"/>
                        </a:lnTo>
                        <a:lnTo>
                          <a:pt x="1100" y="1112"/>
                        </a:lnTo>
                        <a:lnTo>
                          <a:pt x="1102" y="1114"/>
                        </a:lnTo>
                        <a:lnTo>
                          <a:pt x="1108" y="1114"/>
                        </a:lnTo>
                        <a:lnTo>
                          <a:pt x="1112" y="1116"/>
                        </a:lnTo>
                        <a:lnTo>
                          <a:pt x="1110" y="1114"/>
                        </a:lnTo>
                        <a:lnTo>
                          <a:pt x="1112" y="1114"/>
                        </a:lnTo>
                        <a:lnTo>
                          <a:pt x="1114" y="1114"/>
                        </a:lnTo>
                        <a:lnTo>
                          <a:pt x="1114" y="1112"/>
                        </a:lnTo>
                        <a:lnTo>
                          <a:pt x="1112" y="1110"/>
                        </a:lnTo>
                        <a:lnTo>
                          <a:pt x="1110" y="1112"/>
                        </a:lnTo>
                        <a:lnTo>
                          <a:pt x="1110" y="1108"/>
                        </a:lnTo>
                        <a:lnTo>
                          <a:pt x="1112" y="1108"/>
                        </a:lnTo>
                        <a:lnTo>
                          <a:pt x="1114" y="1106"/>
                        </a:lnTo>
                        <a:lnTo>
                          <a:pt x="1114" y="1108"/>
                        </a:lnTo>
                        <a:lnTo>
                          <a:pt x="1116" y="1108"/>
                        </a:lnTo>
                        <a:lnTo>
                          <a:pt x="1118" y="1110"/>
                        </a:lnTo>
                        <a:lnTo>
                          <a:pt x="1120" y="1110"/>
                        </a:lnTo>
                        <a:lnTo>
                          <a:pt x="1120" y="1108"/>
                        </a:lnTo>
                        <a:lnTo>
                          <a:pt x="1118" y="1108"/>
                        </a:lnTo>
                        <a:lnTo>
                          <a:pt x="1118" y="1106"/>
                        </a:lnTo>
                        <a:lnTo>
                          <a:pt x="1118" y="1104"/>
                        </a:lnTo>
                        <a:lnTo>
                          <a:pt x="1126" y="1100"/>
                        </a:lnTo>
                        <a:lnTo>
                          <a:pt x="1126" y="1102"/>
                        </a:lnTo>
                        <a:lnTo>
                          <a:pt x="1124" y="1102"/>
                        </a:lnTo>
                        <a:lnTo>
                          <a:pt x="1124" y="1108"/>
                        </a:lnTo>
                        <a:lnTo>
                          <a:pt x="1126" y="1108"/>
                        </a:lnTo>
                        <a:lnTo>
                          <a:pt x="1128" y="1108"/>
                        </a:lnTo>
                        <a:lnTo>
                          <a:pt x="1130" y="1106"/>
                        </a:lnTo>
                        <a:lnTo>
                          <a:pt x="1128" y="1104"/>
                        </a:lnTo>
                        <a:lnTo>
                          <a:pt x="1132" y="1102"/>
                        </a:lnTo>
                        <a:lnTo>
                          <a:pt x="1138" y="1100"/>
                        </a:lnTo>
                        <a:lnTo>
                          <a:pt x="1138" y="1102"/>
                        </a:lnTo>
                        <a:lnTo>
                          <a:pt x="1142" y="1104"/>
                        </a:lnTo>
                        <a:lnTo>
                          <a:pt x="1146" y="1104"/>
                        </a:lnTo>
                        <a:lnTo>
                          <a:pt x="1146" y="1100"/>
                        </a:lnTo>
                        <a:lnTo>
                          <a:pt x="1148" y="1098"/>
                        </a:lnTo>
                        <a:lnTo>
                          <a:pt x="1150" y="1098"/>
                        </a:lnTo>
                        <a:lnTo>
                          <a:pt x="1152" y="1102"/>
                        </a:lnTo>
                        <a:lnTo>
                          <a:pt x="1154" y="1102"/>
                        </a:lnTo>
                        <a:lnTo>
                          <a:pt x="1160" y="1100"/>
                        </a:lnTo>
                        <a:lnTo>
                          <a:pt x="1162" y="1100"/>
                        </a:lnTo>
                        <a:lnTo>
                          <a:pt x="1164" y="1096"/>
                        </a:lnTo>
                        <a:lnTo>
                          <a:pt x="1172" y="1096"/>
                        </a:lnTo>
                        <a:lnTo>
                          <a:pt x="1174" y="1094"/>
                        </a:lnTo>
                        <a:lnTo>
                          <a:pt x="1172" y="1088"/>
                        </a:lnTo>
                        <a:lnTo>
                          <a:pt x="1180" y="1088"/>
                        </a:lnTo>
                        <a:lnTo>
                          <a:pt x="1178" y="1086"/>
                        </a:lnTo>
                        <a:lnTo>
                          <a:pt x="1176" y="1084"/>
                        </a:lnTo>
                        <a:lnTo>
                          <a:pt x="1174" y="1086"/>
                        </a:lnTo>
                        <a:lnTo>
                          <a:pt x="1174" y="1084"/>
                        </a:lnTo>
                        <a:lnTo>
                          <a:pt x="1172" y="1084"/>
                        </a:lnTo>
                        <a:lnTo>
                          <a:pt x="1174" y="1082"/>
                        </a:lnTo>
                        <a:lnTo>
                          <a:pt x="1174" y="1084"/>
                        </a:lnTo>
                        <a:lnTo>
                          <a:pt x="1178" y="1084"/>
                        </a:lnTo>
                        <a:lnTo>
                          <a:pt x="1180" y="1084"/>
                        </a:lnTo>
                        <a:lnTo>
                          <a:pt x="1180" y="1082"/>
                        </a:lnTo>
                        <a:lnTo>
                          <a:pt x="1182" y="1078"/>
                        </a:lnTo>
                        <a:lnTo>
                          <a:pt x="1184" y="1076"/>
                        </a:lnTo>
                        <a:lnTo>
                          <a:pt x="1186" y="1076"/>
                        </a:lnTo>
                        <a:lnTo>
                          <a:pt x="1188" y="1076"/>
                        </a:lnTo>
                        <a:lnTo>
                          <a:pt x="1190" y="1078"/>
                        </a:lnTo>
                        <a:lnTo>
                          <a:pt x="1190" y="1076"/>
                        </a:lnTo>
                        <a:lnTo>
                          <a:pt x="1192" y="1074"/>
                        </a:lnTo>
                        <a:lnTo>
                          <a:pt x="1192" y="1072"/>
                        </a:lnTo>
                        <a:lnTo>
                          <a:pt x="1194" y="1072"/>
                        </a:lnTo>
                        <a:lnTo>
                          <a:pt x="1196" y="1072"/>
                        </a:lnTo>
                        <a:lnTo>
                          <a:pt x="1202" y="1068"/>
                        </a:lnTo>
                        <a:lnTo>
                          <a:pt x="1204" y="1066"/>
                        </a:lnTo>
                        <a:lnTo>
                          <a:pt x="1206" y="1064"/>
                        </a:lnTo>
                        <a:lnTo>
                          <a:pt x="1208" y="1066"/>
                        </a:lnTo>
                        <a:lnTo>
                          <a:pt x="1206" y="1066"/>
                        </a:lnTo>
                        <a:lnTo>
                          <a:pt x="1206" y="1068"/>
                        </a:lnTo>
                        <a:lnTo>
                          <a:pt x="1212" y="1060"/>
                        </a:lnTo>
                        <a:lnTo>
                          <a:pt x="1216" y="1058"/>
                        </a:lnTo>
                        <a:lnTo>
                          <a:pt x="1216" y="1056"/>
                        </a:lnTo>
                        <a:lnTo>
                          <a:pt x="1214" y="1054"/>
                        </a:lnTo>
                        <a:lnTo>
                          <a:pt x="1210" y="1054"/>
                        </a:lnTo>
                        <a:lnTo>
                          <a:pt x="1208" y="1052"/>
                        </a:lnTo>
                        <a:lnTo>
                          <a:pt x="1208" y="1050"/>
                        </a:lnTo>
                        <a:lnTo>
                          <a:pt x="1210" y="1050"/>
                        </a:lnTo>
                        <a:lnTo>
                          <a:pt x="1212" y="1052"/>
                        </a:lnTo>
                        <a:lnTo>
                          <a:pt x="1214" y="1052"/>
                        </a:lnTo>
                        <a:lnTo>
                          <a:pt x="1214" y="1050"/>
                        </a:lnTo>
                        <a:lnTo>
                          <a:pt x="1214" y="1048"/>
                        </a:lnTo>
                        <a:lnTo>
                          <a:pt x="1212" y="1048"/>
                        </a:lnTo>
                        <a:lnTo>
                          <a:pt x="1214" y="1046"/>
                        </a:lnTo>
                        <a:lnTo>
                          <a:pt x="1218" y="1044"/>
                        </a:lnTo>
                        <a:lnTo>
                          <a:pt x="1218" y="1046"/>
                        </a:lnTo>
                        <a:lnTo>
                          <a:pt x="1220" y="1048"/>
                        </a:lnTo>
                        <a:lnTo>
                          <a:pt x="1222" y="1048"/>
                        </a:lnTo>
                        <a:lnTo>
                          <a:pt x="1224" y="1046"/>
                        </a:lnTo>
                        <a:lnTo>
                          <a:pt x="1226" y="1046"/>
                        </a:lnTo>
                        <a:lnTo>
                          <a:pt x="1226" y="1048"/>
                        </a:lnTo>
                        <a:lnTo>
                          <a:pt x="1228" y="1048"/>
                        </a:lnTo>
                        <a:lnTo>
                          <a:pt x="1228" y="1050"/>
                        </a:lnTo>
                        <a:lnTo>
                          <a:pt x="1230" y="1048"/>
                        </a:lnTo>
                        <a:lnTo>
                          <a:pt x="1232" y="1048"/>
                        </a:lnTo>
                        <a:lnTo>
                          <a:pt x="1234" y="1044"/>
                        </a:lnTo>
                        <a:lnTo>
                          <a:pt x="1234" y="1042"/>
                        </a:lnTo>
                        <a:lnTo>
                          <a:pt x="1232" y="1042"/>
                        </a:lnTo>
                        <a:lnTo>
                          <a:pt x="1230" y="1042"/>
                        </a:lnTo>
                        <a:lnTo>
                          <a:pt x="1228" y="1038"/>
                        </a:lnTo>
                        <a:lnTo>
                          <a:pt x="1232" y="1036"/>
                        </a:lnTo>
                        <a:lnTo>
                          <a:pt x="1232" y="1038"/>
                        </a:lnTo>
                        <a:lnTo>
                          <a:pt x="1232" y="1040"/>
                        </a:lnTo>
                        <a:lnTo>
                          <a:pt x="1240" y="1038"/>
                        </a:lnTo>
                        <a:lnTo>
                          <a:pt x="1240" y="1036"/>
                        </a:lnTo>
                        <a:lnTo>
                          <a:pt x="1236" y="1032"/>
                        </a:lnTo>
                        <a:lnTo>
                          <a:pt x="1238" y="1032"/>
                        </a:lnTo>
                        <a:lnTo>
                          <a:pt x="1240" y="1030"/>
                        </a:lnTo>
                        <a:lnTo>
                          <a:pt x="1238" y="1028"/>
                        </a:lnTo>
                        <a:lnTo>
                          <a:pt x="1238" y="1026"/>
                        </a:lnTo>
                        <a:lnTo>
                          <a:pt x="1242" y="1026"/>
                        </a:lnTo>
                        <a:lnTo>
                          <a:pt x="1242" y="1030"/>
                        </a:lnTo>
                        <a:lnTo>
                          <a:pt x="1242" y="1032"/>
                        </a:lnTo>
                        <a:lnTo>
                          <a:pt x="1244" y="1032"/>
                        </a:lnTo>
                        <a:lnTo>
                          <a:pt x="1248" y="1030"/>
                        </a:lnTo>
                        <a:lnTo>
                          <a:pt x="1250" y="1028"/>
                        </a:lnTo>
                        <a:lnTo>
                          <a:pt x="1248" y="1026"/>
                        </a:lnTo>
                        <a:lnTo>
                          <a:pt x="1244" y="1024"/>
                        </a:lnTo>
                        <a:lnTo>
                          <a:pt x="1244" y="1022"/>
                        </a:lnTo>
                        <a:lnTo>
                          <a:pt x="1244" y="1020"/>
                        </a:lnTo>
                        <a:lnTo>
                          <a:pt x="1246" y="1020"/>
                        </a:lnTo>
                        <a:lnTo>
                          <a:pt x="1250" y="1018"/>
                        </a:lnTo>
                        <a:lnTo>
                          <a:pt x="1250" y="1016"/>
                        </a:lnTo>
                        <a:lnTo>
                          <a:pt x="1250" y="1018"/>
                        </a:lnTo>
                        <a:lnTo>
                          <a:pt x="1252" y="1020"/>
                        </a:lnTo>
                        <a:lnTo>
                          <a:pt x="1256" y="1022"/>
                        </a:lnTo>
                        <a:lnTo>
                          <a:pt x="1256" y="1024"/>
                        </a:lnTo>
                        <a:lnTo>
                          <a:pt x="1256" y="1026"/>
                        </a:lnTo>
                        <a:lnTo>
                          <a:pt x="1258" y="1024"/>
                        </a:lnTo>
                        <a:lnTo>
                          <a:pt x="1258" y="1022"/>
                        </a:lnTo>
                        <a:lnTo>
                          <a:pt x="1256" y="1018"/>
                        </a:lnTo>
                        <a:lnTo>
                          <a:pt x="1254" y="1018"/>
                        </a:lnTo>
                        <a:lnTo>
                          <a:pt x="1252" y="1016"/>
                        </a:lnTo>
                        <a:lnTo>
                          <a:pt x="1252" y="1014"/>
                        </a:lnTo>
                        <a:lnTo>
                          <a:pt x="1256" y="1014"/>
                        </a:lnTo>
                        <a:lnTo>
                          <a:pt x="1258" y="1012"/>
                        </a:lnTo>
                        <a:lnTo>
                          <a:pt x="1256" y="1010"/>
                        </a:lnTo>
                        <a:lnTo>
                          <a:pt x="1256" y="1008"/>
                        </a:lnTo>
                        <a:lnTo>
                          <a:pt x="1258" y="1008"/>
                        </a:lnTo>
                        <a:lnTo>
                          <a:pt x="1260" y="1006"/>
                        </a:lnTo>
                        <a:lnTo>
                          <a:pt x="1260" y="1004"/>
                        </a:lnTo>
                        <a:lnTo>
                          <a:pt x="1254" y="1004"/>
                        </a:lnTo>
                        <a:lnTo>
                          <a:pt x="1254" y="1006"/>
                        </a:lnTo>
                        <a:lnTo>
                          <a:pt x="1252" y="1006"/>
                        </a:lnTo>
                        <a:lnTo>
                          <a:pt x="1250" y="1006"/>
                        </a:lnTo>
                        <a:lnTo>
                          <a:pt x="1248" y="1006"/>
                        </a:lnTo>
                        <a:lnTo>
                          <a:pt x="1244" y="1000"/>
                        </a:lnTo>
                        <a:lnTo>
                          <a:pt x="1250" y="1002"/>
                        </a:lnTo>
                        <a:lnTo>
                          <a:pt x="1252" y="1004"/>
                        </a:lnTo>
                        <a:lnTo>
                          <a:pt x="1254" y="1002"/>
                        </a:lnTo>
                        <a:lnTo>
                          <a:pt x="1256" y="1000"/>
                        </a:lnTo>
                        <a:lnTo>
                          <a:pt x="1258" y="996"/>
                        </a:lnTo>
                        <a:lnTo>
                          <a:pt x="1262" y="996"/>
                        </a:lnTo>
                        <a:lnTo>
                          <a:pt x="1264" y="996"/>
                        </a:lnTo>
                        <a:lnTo>
                          <a:pt x="1266" y="994"/>
                        </a:lnTo>
                        <a:lnTo>
                          <a:pt x="1262" y="992"/>
                        </a:lnTo>
                        <a:lnTo>
                          <a:pt x="1260" y="996"/>
                        </a:lnTo>
                        <a:lnTo>
                          <a:pt x="1256" y="990"/>
                        </a:lnTo>
                        <a:lnTo>
                          <a:pt x="1258" y="990"/>
                        </a:lnTo>
                        <a:lnTo>
                          <a:pt x="1262" y="992"/>
                        </a:lnTo>
                        <a:lnTo>
                          <a:pt x="1262" y="990"/>
                        </a:lnTo>
                        <a:lnTo>
                          <a:pt x="1262" y="988"/>
                        </a:lnTo>
                        <a:lnTo>
                          <a:pt x="1260" y="986"/>
                        </a:lnTo>
                        <a:lnTo>
                          <a:pt x="1258" y="986"/>
                        </a:lnTo>
                        <a:lnTo>
                          <a:pt x="1256" y="988"/>
                        </a:lnTo>
                        <a:lnTo>
                          <a:pt x="1256" y="986"/>
                        </a:lnTo>
                        <a:lnTo>
                          <a:pt x="1256" y="984"/>
                        </a:lnTo>
                        <a:lnTo>
                          <a:pt x="1256" y="982"/>
                        </a:lnTo>
                        <a:lnTo>
                          <a:pt x="1256" y="980"/>
                        </a:lnTo>
                        <a:lnTo>
                          <a:pt x="1258" y="980"/>
                        </a:lnTo>
                        <a:lnTo>
                          <a:pt x="1258" y="982"/>
                        </a:lnTo>
                        <a:lnTo>
                          <a:pt x="1260" y="984"/>
                        </a:lnTo>
                        <a:lnTo>
                          <a:pt x="1260" y="982"/>
                        </a:lnTo>
                        <a:lnTo>
                          <a:pt x="1258" y="980"/>
                        </a:lnTo>
                        <a:lnTo>
                          <a:pt x="1260" y="980"/>
                        </a:lnTo>
                        <a:lnTo>
                          <a:pt x="1262" y="980"/>
                        </a:lnTo>
                        <a:lnTo>
                          <a:pt x="1262" y="984"/>
                        </a:lnTo>
                        <a:lnTo>
                          <a:pt x="1264" y="984"/>
                        </a:lnTo>
                        <a:lnTo>
                          <a:pt x="1266" y="980"/>
                        </a:lnTo>
                        <a:lnTo>
                          <a:pt x="1270" y="980"/>
                        </a:lnTo>
                        <a:lnTo>
                          <a:pt x="1266" y="986"/>
                        </a:lnTo>
                        <a:lnTo>
                          <a:pt x="1264" y="986"/>
                        </a:lnTo>
                        <a:lnTo>
                          <a:pt x="1262" y="988"/>
                        </a:lnTo>
                        <a:lnTo>
                          <a:pt x="1264" y="988"/>
                        </a:lnTo>
                        <a:lnTo>
                          <a:pt x="1264" y="990"/>
                        </a:lnTo>
                        <a:lnTo>
                          <a:pt x="1264" y="988"/>
                        </a:lnTo>
                        <a:lnTo>
                          <a:pt x="1270" y="986"/>
                        </a:lnTo>
                        <a:lnTo>
                          <a:pt x="1272" y="984"/>
                        </a:lnTo>
                        <a:lnTo>
                          <a:pt x="1270" y="980"/>
                        </a:lnTo>
                        <a:lnTo>
                          <a:pt x="1268" y="980"/>
                        </a:lnTo>
                        <a:lnTo>
                          <a:pt x="1268" y="978"/>
                        </a:lnTo>
                        <a:lnTo>
                          <a:pt x="1272" y="976"/>
                        </a:lnTo>
                        <a:lnTo>
                          <a:pt x="1274" y="974"/>
                        </a:lnTo>
                        <a:lnTo>
                          <a:pt x="1274" y="972"/>
                        </a:lnTo>
                        <a:lnTo>
                          <a:pt x="1274" y="970"/>
                        </a:lnTo>
                        <a:lnTo>
                          <a:pt x="1276" y="970"/>
                        </a:lnTo>
                        <a:lnTo>
                          <a:pt x="1276" y="972"/>
                        </a:lnTo>
                        <a:lnTo>
                          <a:pt x="1278" y="972"/>
                        </a:lnTo>
                        <a:lnTo>
                          <a:pt x="1278" y="970"/>
                        </a:lnTo>
                        <a:lnTo>
                          <a:pt x="1276" y="966"/>
                        </a:lnTo>
                        <a:lnTo>
                          <a:pt x="1274" y="966"/>
                        </a:lnTo>
                        <a:lnTo>
                          <a:pt x="1272" y="966"/>
                        </a:lnTo>
                        <a:lnTo>
                          <a:pt x="1274" y="966"/>
                        </a:lnTo>
                        <a:lnTo>
                          <a:pt x="1274" y="964"/>
                        </a:lnTo>
                        <a:lnTo>
                          <a:pt x="1276" y="964"/>
                        </a:lnTo>
                        <a:lnTo>
                          <a:pt x="1276" y="966"/>
                        </a:lnTo>
                        <a:lnTo>
                          <a:pt x="1278" y="966"/>
                        </a:lnTo>
                        <a:lnTo>
                          <a:pt x="1278" y="968"/>
                        </a:lnTo>
                        <a:lnTo>
                          <a:pt x="1280" y="966"/>
                        </a:lnTo>
                        <a:lnTo>
                          <a:pt x="1280" y="968"/>
                        </a:lnTo>
                        <a:lnTo>
                          <a:pt x="1282" y="966"/>
                        </a:lnTo>
                        <a:lnTo>
                          <a:pt x="1282" y="964"/>
                        </a:lnTo>
                        <a:lnTo>
                          <a:pt x="1284" y="962"/>
                        </a:lnTo>
                        <a:lnTo>
                          <a:pt x="1286" y="960"/>
                        </a:lnTo>
                        <a:lnTo>
                          <a:pt x="1284" y="958"/>
                        </a:lnTo>
                        <a:lnTo>
                          <a:pt x="1284" y="956"/>
                        </a:lnTo>
                        <a:lnTo>
                          <a:pt x="1286" y="956"/>
                        </a:lnTo>
                        <a:lnTo>
                          <a:pt x="1286" y="954"/>
                        </a:lnTo>
                        <a:lnTo>
                          <a:pt x="1286" y="952"/>
                        </a:lnTo>
                        <a:lnTo>
                          <a:pt x="1290" y="948"/>
                        </a:lnTo>
                        <a:lnTo>
                          <a:pt x="1290" y="944"/>
                        </a:lnTo>
                        <a:lnTo>
                          <a:pt x="1284" y="942"/>
                        </a:lnTo>
                        <a:lnTo>
                          <a:pt x="1284" y="940"/>
                        </a:lnTo>
                        <a:lnTo>
                          <a:pt x="1286" y="942"/>
                        </a:lnTo>
                        <a:lnTo>
                          <a:pt x="1294" y="944"/>
                        </a:lnTo>
                        <a:lnTo>
                          <a:pt x="1298" y="936"/>
                        </a:lnTo>
                        <a:lnTo>
                          <a:pt x="1298" y="934"/>
                        </a:lnTo>
                        <a:lnTo>
                          <a:pt x="1300" y="932"/>
                        </a:lnTo>
                        <a:lnTo>
                          <a:pt x="1302" y="932"/>
                        </a:lnTo>
                        <a:lnTo>
                          <a:pt x="1302" y="934"/>
                        </a:lnTo>
                        <a:lnTo>
                          <a:pt x="1302" y="938"/>
                        </a:lnTo>
                        <a:lnTo>
                          <a:pt x="1304" y="938"/>
                        </a:lnTo>
                        <a:lnTo>
                          <a:pt x="1306" y="938"/>
                        </a:lnTo>
                        <a:lnTo>
                          <a:pt x="1306" y="936"/>
                        </a:lnTo>
                        <a:lnTo>
                          <a:pt x="1306" y="934"/>
                        </a:lnTo>
                        <a:lnTo>
                          <a:pt x="1308" y="932"/>
                        </a:lnTo>
                        <a:lnTo>
                          <a:pt x="1310" y="932"/>
                        </a:lnTo>
                        <a:lnTo>
                          <a:pt x="1310" y="934"/>
                        </a:lnTo>
                        <a:lnTo>
                          <a:pt x="1312" y="932"/>
                        </a:lnTo>
                        <a:lnTo>
                          <a:pt x="1310" y="928"/>
                        </a:lnTo>
                        <a:lnTo>
                          <a:pt x="1310" y="926"/>
                        </a:lnTo>
                        <a:lnTo>
                          <a:pt x="1308" y="924"/>
                        </a:lnTo>
                        <a:lnTo>
                          <a:pt x="1308" y="922"/>
                        </a:lnTo>
                        <a:lnTo>
                          <a:pt x="1306" y="922"/>
                        </a:lnTo>
                        <a:lnTo>
                          <a:pt x="1300" y="918"/>
                        </a:lnTo>
                        <a:lnTo>
                          <a:pt x="1304" y="920"/>
                        </a:lnTo>
                        <a:lnTo>
                          <a:pt x="1310" y="922"/>
                        </a:lnTo>
                        <a:lnTo>
                          <a:pt x="1312" y="920"/>
                        </a:lnTo>
                        <a:lnTo>
                          <a:pt x="1314" y="918"/>
                        </a:lnTo>
                        <a:lnTo>
                          <a:pt x="1312" y="916"/>
                        </a:lnTo>
                        <a:lnTo>
                          <a:pt x="1310" y="914"/>
                        </a:lnTo>
                        <a:lnTo>
                          <a:pt x="1308" y="914"/>
                        </a:lnTo>
                        <a:lnTo>
                          <a:pt x="1310" y="914"/>
                        </a:lnTo>
                        <a:lnTo>
                          <a:pt x="1312" y="914"/>
                        </a:lnTo>
                        <a:lnTo>
                          <a:pt x="1314" y="914"/>
                        </a:lnTo>
                        <a:lnTo>
                          <a:pt x="1314" y="912"/>
                        </a:lnTo>
                        <a:lnTo>
                          <a:pt x="1312" y="908"/>
                        </a:lnTo>
                        <a:lnTo>
                          <a:pt x="1308" y="908"/>
                        </a:lnTo>
                        <a:lnTo>
                          <a:pt x="1306" y="908"/>
                        </a:lnTo>
                        <a:lnTo>
                          <a:pt x="1308" y="906"/>
                        </a:lnTo>
                        <a:lnTo>
                          <a:pt x="1310" y="902"/>
                        </a:lnTo>
                        <a:lnTo>
                          <a:pt x="1312" y="904"/>
                        </a:lnTo>
                        <a:lnTo>
                          <a:pt x="1314" y="906"/>
                        </a:lnTo>
                        <a:lnTo>
                          <a:pt x="1316" y="906"/>
                        </a:lnTo>
                        <a:lnTo>
                          <a:pt x="1316" y="900"/>
                        </a:lnTo>
                        <a:lnTo>
                          <a:pt x="1318" y="906"/>
                        </a:lnTo>
                        <a:lnTo>
                          <a:pt x="1318" y="908"/>
                        </a:lnTo>
                        <a:lnTo>
                          <a:pt x="1320" y="906"/>
                        </a:lnTo>
                        <a:lnTo>
                          <a:pt x="1322" y="904"/>
                        </a:lnTo>
                        <a:lnTo>
                          <a:pt x="1322" y="902"/>
                        </a:lnTo>
                        <a:lnTo>
                          <a:pt x="1320" y="904"/>
                        </a:lnTo>
                        <a:lnTo>
                          <a:pt x="1320" y="902"/>
                        </a:lnTo>
                        <a:lnTo>
                          <a:pt x="1320" y="900"/>
                        </a:lnTo>
                        <a:lnTo>
                          <a:pt x="1322" y="894"/>
                        </a:lnTo>
                        <a:lnTo>
                          <a:pt x="1320" y="892"/>
                        </a:lnTo>
                        <a:lnTo>
                          <a:pt x="1316" y="894"/>
                        </a:lnTo>
                        <a:lnTo>
                          <a:pt x="1316" y="896"/>
                        </a:lnTo>
                        <a:lnTo>
                          <a:pt x="1318" y="896"/>
                        </a:lnTo>
                        <a:lnTo>
                          <a:pt x="1316" y="896"/>
                        </a:lnTo>
                        <a:lnTo>
                          <a:pt x="1314" y="896"/>
                        </a:lnTo>
                        <a:lnTo>
                          <a:pt x="1308" y="898"/>
                        </a:lnTo>
                        <a:lnTo>
                          <a:pt x="1308" y="896"/>
                        </a:lnTo>
                        <a:lnTo>
                          <a:pt x="1310" y="896"/>
                        </a:lnTo>
                        <a:lnTo>
                          <a:pt x="1314" y="896"/>
                        </a:lnTo>
                        <a:lnTo>
                          <a:pt x="1322" y="886"/>
                        </a:lnTo>
                        <a:lnTo>
                          <a:pt x="1324" y="886"/>
                        </a:lnTo>
                        <a:lnTo>
                          <a:pt x="1326" y="884"/>
                        </a:lnTo>
                        <a:lnTo>
                          <a:pt x="1320" y="884"/>
                        </a:lnTo>
                        <a:lnTo>
                          <a:pt x="1318" y="884"/>
                        </a:lnTo>
                        <a:lnTo>
                          <a:pt x="1318" y="882"/>
                        </a:lnTo>
                        <a:lnTo>
                          <a:pt x="1314" y="882"/>
                        </a:lnTo>
                        <a:lnTo>
                          <a:pt x="1312" y="880"/>
                        </a:lnTo>
                        <a:lnTo>
                          <a:pt x="1310" y="876"/>
                        </a:lnTo>
                        <a:lnTo>
                          <a:pt x="1306" y="874"/>
                        </a:lnTo>
                        <a:lnTo>
                          <a:pt x="1304" y="872"/>
                        </a:lnTo>
                        <a:lnTo>
                          <a:pt x="1298" y="872"/>
                        </a:lnTo>
                        <a:lnTo>
                          <a:pt x="1290" y="878"/>
                        </a:lnTo>
                        <a:lnTo>
                          <a:pt x="1286" y="878"/>
                        </a:lnTo>
                        <a:lnTo>
                          <a:pt x="1284" y="876"/>
                        </a:lnTo>
                        <a:lnTo>
                          <a:pt x="1284" y="874"/>
                        </a:lnTo>
                        <a:lnTo>
                          <a:pt x="1282" y="872"/>
                        </a:lnTo>
                        <a:lnTo>
                          <a:pt x="1282" y="870"/>
                        </a:lnTo>
                        <a:lnTo>
                          <a:pt x="1280" y="870"/>
                        </a:lnTo>
                        <a:lnTo>
                          <a:pt x="1280" y="872"/>
                        </a:lnTo>
                        <a:lnTo>
                          <a:pt x="1278" y="872"/>
                        </a:lnTo>
                        <a:lnTo>
                          <a:pt x="1276" y="874"/>
                        </a:lnTo>
                        <a:lnTo>
                          <a:pt x="1272" y="874"/>
                        </a:lnTo>
                        <a:lnTo>
                          <a:pt x="1278" y="868"/>
                        </a:lnTo>
                        <a:lnTo>
                          <a:pt x="1280" y="868"/>
                        </a:lnTo>
                        <a:lnTo>
                          <a:pt x="1286" y="868"/>
                        </a:lnTo>
                        <a:lnTo>
                          <a:pt x="1288" y="868"/>
                        </a:lnTo>
                        <a:lnTo>
                          <a:pt x="1290" y="870"/>
                        </a:lnTo>
                        <a:lnTo>
                          <a:pt x="1294" y="868"/>
                        </a:lnTo>
                        <a:lnTo>
                          <a:pt x="1294" y="864"/>
                        </a:lnTo>
                        <a:lnTo>
                          <a:pt x="1296" y="862"/>
                        </a:lnTo>
                        <a:lnTo>
                          <a:pt x="1302" y="860"/>
                        </a:lnTo>
                        <a:lnTo>
                          <a:pt x="1302" y="858"/>
                        </a:lnTo>
                        <a:lnTo>
                          <a:pt x="1304" y="858"/>
                        </a:lnTo>
                        <a:lnTo>
                          <a:pt x="1306" y="856"/>
                        </a:lnTo>
                        <a:lnTo>
                          <a:pt x="1308" y="856"/>
                        </a:lnTo>
                        <a:lnTo>
                          <a:pt x="1312" y="854"/>
                        </a:lnTo>
                        <a:lnTo>
                          <a:pt x="1320" y="854"/>
                        </a:lnTo>
                        <a:lnTo>
                          <a:pt x="1320" y="848"/>
                        </a:lnTo>
                        <a:lnTo>
                          <a:pt x="1316" y="844"/>
                        </a:lnTo>
                        <a:lnTo>
                          <a:pt x="1316" y="842"/>
                        </a:lnTo>
                        <a:lnTo>
                          <a:pt x="1294" y="824"/>
                        </a:lnTo>
                        <a:lnTo>
                          <a:pt x="1294" y="826"/>
                        </a:lnTo>
                        <a:lnTo>
                          <a:pt x="1292" y="826"/>
                        </a:lnTo>
                        <a:lnTo>
                          <a:pt x="1290" y="824"/>
                        </a:lnTo>
                        <a:lnTo>
                          <a:pt x="1288" y="824"/>
                        </a:lnTo>
                        <a:lnTo>
                          <a:pt x="1288" y="822"/>
                        </a:lnTo>
                        <a:lnTo>
                          <a:pt x="1290" y="820"/>
                        </a:lnTo>
                        <a:lnTo>
                          <a:pt x="1288" y="818"/>
                        </a:lnTo>
                        <a:lnTo>
                          <a:pt x="1286" y="818"/>
                        </a:lnTo>
                        <a:lnTo>
                          <a:pt x="1282" y="816"/>
                        </a:lnTo>
                        <a:lnTo>
                          <a:pt x="1280" y="816"/>
                        </a:lnTo>
                        <a:lnTo>
                          <a:pt x="1278" y="818"/>
                        </a:lnTo>
                        <a:lnTo>
                          <a:pt x="1274" y="820"/>
                        </a:lnTo>
                        <a:lnTo>
                          <a:pt x="1272" y="820"/>
                        </a:lnTo>
                        <a:lnTo>
                          <a:pt x="1270" y="820"/>
                        </a:lnTo>
                        <a:lnTo>
                          <a:pt x="1264" y="818"/>
                        </a:lnTo>
                        <a:lnTo>
                          <a:pt x="1264" y="814"/>
                        </a:lnTo>
                        <a:lnTo>
                          <a:pt x="1262" y="814"/>
                        </a:lnTo>
                        <a:lnTo>
                          <a:pt x="1262" y="812"/>
                        </a:lnTo>
                        <a:lnTo>
                          <a:pt x="1262" y="810"/>
                        </a:lnTo>
                        <a:lnTo>
                          <a:pt x="1260" y="810"/>
                        </a:lnTo>
                        <a:lnTo>
                          <a:pt x="1260" y="808"/>
                        </a:lnTo>
                        <a:lnTo>
                          <a:pt x="1258" y="810"/>
                        </a:lnTo>
                        <a:lnTo>
                          <a:pt x="1256" y="810"/>
                        </a:lnTo>
                        <a:lnTo>
                          <a:pt x="1258" y="808"/>
                        </a:lnTo>
                        <a:lnTo>
                          <a:pt x="1260" y="808"/>
                        </a:lnTo>
                        <a:lnTo>
                          <a:pt x="1260" y="806"/>
                        </a:lnTo>
                        <a:lnTo>
                          <a:pt x="1262" y="806"/>
                        </a:lnTo>
                        <a:lnTo>
                          <a:pt x="1266" y="810"/>
                        </a:lnTo>
                        <a:lnTo>
                          <a:pt x="1266" y="814"/>
                        </a:lnTo>
                        <a:lnTo>
                          <a:pt x="1268" y="818"/>
                        </a:lnTo>
                        <a:lnTo>
                          <a:pt x="1270" y="818"/>
                        </a:lnTo>
                        <a:lnTo>
                          <a:pt x="1272" y="820"/>
                        </a:lnTo>
                        <a:lnTo>
                          <a:pt x="1274" y="820"/>
                        </a:lnTo>
                        <a:lnTo>
                          <a:pt x="1276" y="818"/>
                        </a:lnTo>
                        <a:lnTo>
                          <a:pt x="1276" y="816"/>
                        </a:lnTo>
                        <a:lnTo>
                          <a:pt x="1278" y="816"/>
                        </a:lnTo>
                        <a:lnTo>
                          <a:pt x="1280" y="814"/>
                        </a:lnTo>
                        <a:lnTo>
                          <a:pt x="1282" y="814"/>
                        </a:lnTo>
                        <a:lnTo>
                          <a:pt x="1284" y="814"/>
                        </a:lnTo>
                        <a:lnTo>
                          <a:pt x="1290" y="816"/>
                        </a:lnTo>
                        <a:lnTo>
                          <a:pt x="1290" y="818"/>
                        </a:lnTo>
                        <a:lnTo>
                          <a:pt x="1292" y="820"/>
                        </a:lnTo>
                        <a:lnTo>
                          <a:pt x="1294" y="820"/>
                        </a:lnTo>
                        <a:lnTo>
                          <a:pt x="1296" y="822"/>
                        </a:lnTo>
                        <a:lnTo>
                          <a:pt x="1302" y="820"/>
                        </a:lnTo>
                        <a:lnTo>
                          <a:pt x="1308" y="822"/>
                        </a:lnTo>
                        <a:lnTo>
                          <a:pt x="1314" y="826"/>
                        </a:lnTo>
                        <a:lnTo>
                          <a:pt x="1320" y="826"/>
                        </a:lnTo>
                        <a:lnTo>
                          <a:pt x="1320" y="824"/>
                        </a:lnTo>
                        <a:lnTo>
                          <a:pt x="1318" y="820"/>
                        </a:lnTo>
                        <a:lnTo>
                          <a:pt x="1316" y="816"/>
                        </a:lnTo>
                        <a:lnTo>
                          <a:pt x="1310" y="814"/>
                        </a:lnTo>
                        <a:lnTo>
                          <a:pt x="1308" y="814"/>
                        </a:lnTo>
                        <a:lnTo>
                          <a:pt x="1306" y="808"/>
                        </a:lnTo>
                        <a:lnTo>
                          <a:pt x="1306" y="804"/>
                        </a:lnTo>
                        <a:lnTo>
                          <a:pt x="1304" y="802"/>
                        </a:lnTo>
                        <a:lnTo>
                          <a:pt x="1302" y="802"/>
                        </a:lnTo>
                        <a:lnTo>
                          <a:pt x="1290" y="796"/>
                        </a:lnTo>
                        <a:lnTo>
                          <a:pt x="1290" y="794"/>
                        </a:lnTo>
                        <a:lnTo>
                          <a:pt x="1292" y="788"/>
                        </a:lnTo>
                        <a:lnTo>
                          <a:pt x="1290" y="780"/>
                        </a:lnTo>
                        <a:lnTo>
                          <a:pt x="1286" y="774"/>
                        </a:lnTo>
                        <a:lnTo>
                          <a:pt x="1286" y="770"/>
                        </a:lnTo>
                        <a:lnTo>
                          <a:pt x="1284" y="768"/>
                        </a:lnTo>
                        <a:lnTo>
                          <a:pt x="1282" y="766"/>
                        </a:lnTo>
                        <a:lnTo>
                          <a:pt x="1278" y="752"/>
                        </a:lnTo>
                        <a:lnTo>
                          <a:pt x="1278" y="750"/>
                        </a:lnTo>
                        <a:lnTo>
                          <a:pt x="1274" y="742"/>
                        </a:lnTo>
                        <a:lnTo>
                          <a:pt x="1266" y="736"/>
                        </a:lnTo>
                        <a:lnTo>
                          <a:pt x="1262" y="736"/>
                        </a:lnTo>
                        <a:lnTo>
                          <a:pt x="1256" y="732"/>
                        </a:lnTo>
                        <a:lnTo>
                          <a:pt x="1252" y="726"/>
                        </a:lnTo>
                        <a:lnTo>
                          <a:pt x="1250" y="726"/>
                        </a:lnTo>
                        <a:lnTo>
                          <a:pt x="1248" y="726"/>
                        </a:lnTo>
                        <a:lnTo>
                          <a:pt x="1246" y="726"/>
                        </a:lnTo>
                        <a:lnTo>
                          <a:pt x="1244" y="722"/>
                        </a:lnTo>
                        <a:lnTo>
                          <a:pt x="1246" y="718"/>
                        </a:lnTo>
                        <a:lnTo>
                          <a:pt x="1246" y="716"/>
                        </a:lnTo>
                        <a:lnTo>
                          <a:pt x="1248" y="716"/>
                        </a:lnTo>
                        <a:lnTo>
                          <a:pt x="1250" y="714"/>
                        </a:lnTo>
                        <a:lnTo>
                          <a:pt x="1250" y="710"/>
                        </a:lnTo>
                        <a:lnTo>
                          <a:pt x="1252" y="710"/>
                        </a:lnTo>
                        <a:lnTo>
                          <a:pt x="1252" y="708"/>
                        </a:lnTo>
                        <a:lnTo>
                          <a:pt x="1254" y="708"/>
                        </a:lnTo>
                        <a:lnTo>
                          <a:pt x="1258" y="702"/>
                        </a:lnTo>
                        <a:lnTo>
                          <a:pt x="1258" y="700"/>
                        </a:lnTo>
                        <a:lnTo>
                          <a:pt x="1258" y="698"/>
                        </a:lnTo>
                        <a:lnTo>
                          <a:pt x="1260" y="698"/>
                        </a:lnTo>
                        <a:lnTo>
                          <a:pt x="1262" y="698"/>
                        </a:lnTo>
                        <a:lnTo>
                          <a:pt x="1266" y="698"/>
                        </a:lnTo>
                        <a:lnTo>
                          <a:pt x="1266" y="694"/>
                        </a:lnTo>
                        <a:lnTo>
                          <a:pt x="1270" y="688"/>
                        </a:lnTo>
                        <a:lnTo>
                          <a:pt x="1272" y="688"/>
                        </a:lnTo>
                        <a:lnTo>
                          <a:pt x="1274" y="686"/>
                        </a:lnTo>
                        <a:lnTo>
                          <a:pt x="1270" y="680"/>
                        </a:lnTo>
                        <a:lnTo>
                          <a:pt x="1270" y="678"/>
                        </a:lnTo>
                        <a:lnTo>
                          <a:pt x="1272" y="678"/>
                        </a:lnTo>
                        <a:lnTo>
                          <a:pt x="1276" y="678"/>
                        </a:lnTo>
                        <a:lnTo>
                          <a:pt x="1276" y="676"/>
                        </a:lnTo>
                        <a:lnTo>
                          <a:pt x="1278" y="678"/>
                        </a:lnTo>
                        <a:lnTo>
                          <a:pt x="1278" y="680"/>
                        </a:lnTo>
                        <a:lnTo>
                          <a:pt x="1276" y="682"/>
                        </a:lnTo>
                        <a:lnTo>
                          <a:pt x="1278" y="684"/>
                        </a:lnTo>
                        <a:lnTo>
                          <a:pt x="1286" y="680"/>
                        </a:lnTo>
                        <a:lnTo>
                          <a:pt x="1286" y="676"/>
                        </a:lnTo>
                        <a:lnTo>
                          <a:pt x="1286" y="670"/>
                        </a:lnTo>
                        <a:lnTo>
                          <a:pt x="1288" y="670"/>
                        </a:lnTo>
                        <a:lnTo>
                          <a:pt x="1290" y="668"/>
                        </a:lnTo>
                        <a:lnTo>
                          <a:pt x="1292" y="672"/>
                        </a:lnTo>
                        <a:lnTo>
                          <a:pt x="1294" y="668"/>
                        </a:lnTo>
                        <a:lnTo>
                          <a:pt x="1290" y="664"/>
                        </a:lnTo>
                        <a:lnTo>
                          <a:pt x="1290" y="666"/>
                        </a:lnTo>
                        <a:lnTo>
                          <a:pt x="1288" y="666"/>
                        </a:lnTo>
                        <a:lnTo>
                          <a:pt x="1288" y="664"/>
                        </a:lnTo>
                        <a:lnTo>
                          <a:pt x="1290" y="662"/>
                        </a:lnTo>
                        <a:lnTo>
                          <a:pt x="1292" y="662"/>
                        </a:lnTo>
                        <a:lnTo>
                          <a:pt x="1294" y="664"/>
                        </a:lnTo>
                        <a:lnTo>
                          <a:pt x="1296" y="666"/>
                        </a:lnTo>
                        <a:lnTo>
                          <a:pt x="1296" y="664"/>
                        </a:lnTo>
                        <a:lnTo>
                          <a:pt x="1298" y="664"/>
                        </a:lnTo>
                        <a:lnTo>
                          <a:pt x="1298" y="662"/>
                        </a:lnTo>
                        <a:lnTo>
                          <a:pt x="1300" y="662"/>
                        </a:lnTo>
                        <a:lnTo>
                          <a:pt x="1302" y="662"/>
                        </a:lnTo>
                        <a:lnTo>
                          <a:pt x="1304" y="660"/>
                        </a:lnTo>
                        <a:lnTo>
                          <a:pt x="1306" y="660"/>
                        </a:lnTo>
                        <a:lnTo>
                          <a:pt x="1308" y="656"/>
                        </a:lnTo>
                        <a:lnTo>
                          <a:pt x="1310" y="656"/>
                        </a:lnTo>
                        <a:lnTo>
                          <a:pt x="1312" y="656"/>
                        </a:lnTo>
                        <a:lnTo>
                          <a:pt x="1308" y="658"/>
                        </a:lnTo>
                        <a:lnTo>
                          <a:pt x="1310" y="660"/>
                        </a:lnTo>
                        <a:lnTo>
                          <a:pt x="1320" y="652"/>
                        </a:lnTo>
                        <a:lnTo>
                          <a:pt x="1322" y="650"/>
                        </a:lnTo>
                        <a:lnTo>
                          <a:pt x="1324" y="650"/>
                        </a:lnTo>
                        <a:lnTo>
                          <a:pt x="1326" y="652"/>
                        </a:lnTo>
                        <a:lnTo>
                          <a:pt x="1328" y="656"/>
                        </a:lnTo>
                        <a:lnTo>
                          <a:pt x="1332" y="656"/>
                        </a:lnTo>
                        <a:lnTo>
                          <a:pt x="1338" y="654"/>
                        </a:lnTo>
                        <a:lnTo>
                          <a:pt x="1338" y="650"/>
                        </a:lnTo>
                        <a:lnTo>
                          <a:pt x="1334" y="650"/>
                        </a:lnTo>
                        <a:lnTo>
                          <a:pt x="1334" y="646"/>
                        </a:lnTo>
                        <a:lnTo>
                          <a:pt x="1336" y="648"/>
                        </a:lnTo>
                        <a:lnTo>
                          <a:pt x="1336" y="646"/>
                        </a:lnTo>
                        <a:lnTo>
                          <a:pt x="1338" y="646"/>
                        </a:lnTo>
                        <a:lnTo>
                          <a:pt x="1338" y="644"/>
                        </a:lnTo>
                        <a:lnTo>
                          <a:pt x="1338" y="638"/>
                        </a:lnTo>
                        <a:lnTo>
                          <a:pt x="1326" y="636"/>
                        </a:lnTo>
                        <a:lnTo>
                          <a:pt x="1326" y="634"/>
                        </a:lnTo>
                        <a:lnTo>
                          <a:pt x="1326" y="632"/>
                        </a:lnTo>
                        <a:lnTo>
                          <a:pt x="1324" y="632"/>
                        </a:lnTo>
                        <a:lnTo>
                          <a:pt x="1322" y="632"/>
                        </a:lnTo>
                        <a:lnTo>
                          <a:pt x="1322" y="634"/>
                        </a:lnTo>
                        <a:lnTo>
                          <a:pt x="1314" y="634"/>
                        </a:lnTo>
                        <a:lnTo>
                          <a:pt x="1312" y="636"/>
                        </a:lnTo>
                        <a:lnTo>
                          <a:pt x="1310" y="636"/>
                        </a:lnTo>
                        <a:lnTo>
                          <a:pt x="1306" y="632"/>
                        </a:lnTo>
                        <a:lnTo>
                          <a:pt x="1300" y="632"/>
                        </a:lnTo>
                        <a:lnTo>
                          <a:pt x="1298" y="630"/>
                        </a:lnTo>
                        <a:lnTo>
                          <a:pt x="1298" y="628"/>
                        </a:lnTo>
                        <a:lnTo>
                          <a:pt x="1294" y="624"/>
                        </a:lnTo>
                        <a:lnTo>
                          <a:pt x="1294" y="622"/>
                        </a:lnTo>
                        <a:lnTo>
                          <a:pt x="1292" y="622"/>
                        </a:lnTo>
                        <a:lnTo>
                          <a:pt x="1288" y="622"/>
                        </a:lnTo>
                        <a:lnTo>
                          <a:pt x="1286" y="622"/>
                        </a:lnTo>
                        <a:lnTo>
                          <a:pt x="1286" y="624"/>
                        </a:lnTo>
                        <a:lnTo>
                          <a:pt x="1278" y="626"/>
                        </a:lnTo>
                        <a:lnTo>
                          <a:pt x="1276" y="628"/>
                        </a:lnTo>
                        <a:lnTo>
                          <a:pt x="1276" y="630"/>
                        </a:lnTo>
                        <a:lnTo>
                          <a:pt x="1268" y="636"/>
                        </a:lnTo>
                        <a:lnTo>
                          <a:pt x="1264" y="638"/>
                        </a:lnTo>
                        <a:lnTo>
                          <a:pt x="1264" y="640"/>
                        </a:lnTo>
                        <a:lnTo>
                          <a:pt x="1264" y="642"/>
                        </a:lnTo>
                        <a:lnTo>
                          <a:pt x="1262" y="646"/>
                        </a:lnTo>
                        <a:lnTo>
                          <a:pt x="1260" y="646"/>
                        </a:lnTo>
                        <a:lnTo>
                          <a:pt x="1258" y="646"/>
                        </a:lnTo>
                        <a:lnTo>
                          <a:pt x="1256" y="646"/>
                        </a:lnTo>
                        <a:lnTo>
                          <a:pt x="1254" y="646"/>
                        </a:lnTo>
                        <a:lnTo>
                          <a:pt x="1248" y="646"/>
                        </a:lnTo>
                        <a:lnTo>
                          <a:pt x="1246" y="646"/>
                        </a:lnTo>
                        <a:lnTo>
                          <a:pt x="1238" y="640"/>
                        </a:lnTo>
                        <a:lnTo>
                          <a:pt x="1238" y="632"/>
                        </a:lnTo>
                        <a:lnTo>
                          <a:pt x="1240" y="632"/>
                        </a:lnTo>
                        <a:lnTo>
                          <a:pt x="1240" y="630"/>
                        </a:lnTo>
                        <a:lnTo>
                          <a:pt x="1242" y="628"/>
                        </a:lnTo>
                        <a:lnTo>
                          <a:pt x="1242" y="620"/>
                        </a:lnTo>
                        <a:lnTo>
                          <a:pt x="1236" y="610"/>
                        </a:lnTo>
                        <a:lnTo>
                          <a:pt x="1234" y="610"/>
                        </a:lnTo>
                        <a:lnTo>
                          <a:pt x="1230" y="612"/>
                        </a:lnTo>
                        <a:lnTo>
                          <a:pt x="1226" y="612"/>
                        </a:lnTo>
                        <a:lnTo>
                          <a:pt x="1222" y="612"/>
                        </a:lnTo>
                        <a:lnTo>
                          <a:pt x="1216" y="612"/>
                        </a:lnTo>
                        <a:lnTo>
                          <a:pt x="1208" y="608"/>
                        </a:lnTo>
                        <a:lnTo>
                          <a:pt x="1208" y="606"/>
                        </a:lnTo>
                        <a:lnTo>
                          <a:pt x="1206" y="604"/>
                        </a:lnTo>
                        <a:lnTo>
                          <a:pt x="1204" y="604"/>
                        </a:lnTo>
                        <a:lnTo>
                          <a:pt x="1204" y="602"/>
                        </a:lnTo>
                        <a:lnTo>
                          <a:pt x="1202" y="602"/>
                        </a:lnTo>
                        <a:lnTo>
                          <a:pt x="1202" y="600"/>
                        </a:lnTo>
                        <a:lnTo>
                          <a:pt x="1202" y="596"/>
                        </a:lnTo>
                        <a:lnTo>
                          <a:pt x="1200" y="594"/>
                        </a:lnTo>
                        <a:lnTo>
                          <a:pt x="1202" y="590"/>
                        </a:lnTo>
                        <a:lnTo>
                          <a:pt x="1202" y="588"/>
                        </a:lnTo>
                        <a:lnTo>
                          <a:pt x="1202" y="586"/>
                        </a:lnTo>
                        <a:lnTo>
                          <a:pt x="1204" y="586"/>
                        </a:lnTo>
                        <a:lnTo>
                          <a:pt x="1206" y="580"/>
                        </a:lnTo>
                        <a:lnTo>
                          <a:pt x="1208" y="576"/>
                        </a:lnTo>
                        <a:lnTo>
                          <a:pt x="1210" y="574"/>
                        </a:lnTo>
                        <a:lnTo>
                          <a:pt x="1214" y="574"/>
                        </a:lnTo>
                        <a:lnTo>
                          <a:pt x="1216" y="574"/>
                        </a:lnTo>
                        <a:lnTo>
                          <a:pt x="1218" y="574"/>
                        </a:lnTo>
                        <a:lnTo>
                          <a:pt x="1220" y="576"/>
                        </a:lnTo>
                        <a:lnTo>
                          <a:pt x="1220" y="578"/>
                        </a:lnTo>
                        <a:lnTo>
                          <a:pt x="1220" y="580"/>
                        </a:lnTo>
                        <a:lnTo>
                          <a:pt x="1222" y="580"/>
                        </a:lnTo>
                        <a:lnTo>
                          <a:pt x="1224" y="580"/>
                        </a:lnTo>
                        <a:lnTo>
                          <a:pt x="1228" y="576"/>
                        </a:lnTo>
                        <a:lnTo>
                          <a:pt x="1230" y="574"/>
                        </a:lnTo>
                        <a:lnTo>
                          <a:pt x="1232" y="574"/>
                        </a:lnTo>
                        <a:lnTo>
                          <a:pt x="1232" y="576"/>
                        </a:lnTo>
                        <a:lnTo>
                          <a:pt x="1234" y="576"/>
                        </a:lnTo>
                        <a:lnTo>
                          <a:pt x="1236" y="574"/>
                        </a:lnTo>
                        <a:lnTo>
                          <a:pt x="1240" y="574"/>
                        </a:lnTo>
                        <a:lnTo>
                          <a:pt x="1238" y="576"/>
                        </a:lnTo>
                        <a:lnTo>
                          <a:pt x="1240" y="576"/>
                        </a:lnTo>
                        <a:lnTo>
                          <a:pt x="1242" y="574"/>
                        </a:lnTo>
                        <a:lnTo>
                          <a:pt x="1244" y="570"/>
                        </a:lnTo>
                        <a:lnTo>
                          <a:pt x="1244" y="568"/>
                        </a:lnTo>
                        <a:lnTo>
                          <a:pt x="1246" y="568"/>
                        </a:lnTo>
                        <a:lnTo>
                          <a:pt x="1248" y="568"/>
                        </a:lnTo>
                        <a:lnTo>
                          <a:pt x="1248" y="562"/>
                        </a:lnTo>
                        <a:lnTo>
                          <a:pt x="1250" y="556"/>
                        </a:lnTo>
                        <a:lnTo>
                          <a:pt x="1256" y="550"/>
                        </a:lnTo>
                        <a:lnTo>
                          <a:pt x="1262" y="546"/>
                        </a:lnTo>
                        <a:lnTo>
                          <a:pt x="1264" y="546"/>
                        </a:lnTo>
                        <a:lnTo>
                          <a:pt x="1266" y="544"/>
                        </a:lnTo>
                        <a:lnTo>
                          <a:pt x="1280" y="538"/>
                        </a:lnTo>
                        <a:lnTo>
                          <a:pt x="1282" y="538"/>
                        </a:lnTo>
                        <a:lnTo>
                          <a:pt x="1282" y="532"/>
                        </a:lnTo>
                        <a:lnTo>
                          <a:pt x="1286" y="528"/>
                        </a:lnTo>
                        <a:lnTo>
                          <a:pt x="1290" y="522"/>
                        </a:lnTo>
                        <a:lnTo>
                          <a:pt x="1294" y="522"/>
                        </a:lnTo>
                        <a:lnTo>
                          <a:pt x="1296" y="520"/>
                        </a:lnTo>
                        <a:lnTo>
                          <a:pt x="1294" y="520"/>
                        </a:lnTo>
                        <a:lnTo>
                          <a:pt x="1294" y="516"/>
                        </a:lnTo>
                        <a:lnTo>
                          <a:pt x="1296" y="516"/>
                        </a:lnTo>
                        <a:lnTo>
                          <a:pt x="1298" y="514"/>
                        </a:lnTo>
                        <a:lnTo>
                          <a:pt x="1300" y="512"/>
                        </a:lnTo>
                        <a:lnTo>
                          <a:pt x="1306" y="512"/>
                        </a:lnTo>
                        <a:lnTo>
                          <a:pt x="1310" y="514"/>
                        </a:lnTo>
                        <a:lnTo>
                          <a:pt x="1310" y="516"/>
                        </a:lnTo>
                        <a:lnTo>
                          <a:pt x="1316" y="516"/>
                        </a:lnTo>
                        <a:lnTo>
                          <a:pt x="1324" y="520"/>
                        </a:lnTo>
                        <a:lnTo>
                          <a:pt x="1330" y="526"/>
                        </a:lnTo>
                        <a:lnTo>
                          <a:pt x="1330" y="528"/>
                        </a:lnTo>
                        <a:lnTo>
                          <a:pt x="1316" y="550"/>
                        </a:lnTo>
                        <a:lnTo>
                          <a:pt x="1314" y="548"/>
                        </a:lnTo>
                        <a:lnTo>
                          <a:pt x="1308" y="552"/>
                        </a:lnTo>
                        <a:lnTo>
                          <a:pt x="1308" y="556"/>
                        </a:lnTo>
                        <a:lnTo>
                          <a:pt x="1310" y="556"/>
                        </a:lnTo>
                        <a:lnTo>
                          <a:pt x="1310" y="560"/>
                        </a:lnTo>
                        <a:lnTo>
                          <a:pt x="1302" y="560"/>
                        </a:lnTo>
                        <a:lnTo>
                          <a:pt x="1302" y="562"/>
                        </a:lnTo>
                        <a:lnTo>
                          <a:pt x="1304" y="564"/>
                        </a:lnTo>
                        <a:lnTo>
                          <a:pt x="1304" y="562"/>
                        </a:lnTo>
                        <a:lnTo>
                          <a:pt x="1308" y="562"/>
                        </a:lnTo>
                        <a:lnTo>
                          <a:pt x="1308" y="564"/>
                        </a:lnTo>
                        <a:lnTo>
                          <a:pt x="1308" y="568"/>
                        </a:lnTo>
                        <a:lnTo>
                          <a:pt x="1310" y="568"/>
                        </a:lnTo>
                        <a:lnTo>
                          <a:pt x="1316" y="568"/>
                        </a:lnTo>
                        <a:lnTo>
                          <a:pt x="1312" y="574"/>
                        </a:lnTo>
                        <a:lnTo>
                          <a:pt x="1314" y="578"/>
                        </a:lnTo>
                        <a:lnTo>
                          <a:pt x="1314" y="580"/>
                        </a:lnTo>
                        <a:lnTo>
                          <a:pt x="1312" y="580"/>
                        </a:lnTo>
                        <a:lnTo>
                          <a:pt x="1302" y="584"/>
                        </a:lnTo>
                        <a:lnTo>
                          <a:pt x="1298" y="584"/>
                        </a:lnTo>
                        <a:lnTo>
                          <a:pt x="1298" y="592"/>
                        </a:lnTo>
                        <a:lnTo>
                          <a:pt x="1300" y="592"/>
                        </a:lnTo>
                        <a:lnTo>
                          <a:pt x="1302" y="590"/>
                        </a:lnTo>
                        <a:lnTo>
                          <a:pt x="1302" y="588"/>
                        </a:lnTo>
                        <a:lnTo>
                          <a:pt x="1304" y="588"/>
                        </a:lnTo>
                        <a:lnTo>
                          <a:pt x="1306" y="588"/>
                        </a:lnTo>
                        <a:lnTo>
                          <a:pt x="1308" y="588"/>
                        </a:lnTo>
                        <a:lnTo>
                          <a:pt x="1314" y="586"/>
                        </a:lnTo>
                        <a:lnTo>
                          <a:pt x="1314" y="584"/>
                        </a:lnTo>
                        <a:lnTo>
                          <a:pt x="1312" y="584"/>
                        </a:lnTo>
                        <a:lnTo>
                          <a:pt x="1314" y="582"/>
                        </a:lnTo>
                        <a:lnTo>
                          <a:pt x="1314" y="580"/>
                        </a:lnTo>
                        <a:lnTo>
                          <a:pt x="1320" y="580"/>
                        </a:lnTo>
                        <a:lnTo>
                          <a:pt x="1326" y="576"/>
                        </a:lnTo>
                        <a:lnTo>
                          <a:pt x="1328" y="572"/>
                        </a:lnTo>
                        <a:lnTo>
                          <a:pt x="1330" y="570"/>
                        </a:lnTo>
                        <a:lnTo>
                          <a:pt x="1330" y="568"/>
                        </a:lnTo>
                        <a:lnTo>
                          <a:pt x="1334" y="568"/>
                        </a:lnTo>
                        <a:lnTo>
                          <a:pt x="1336" y="568"/>
                        </a:lnTo>
                        <a:lnTo>
                          <a:pt x="1344" y="562"/>
                        </a:lnTo>
                        <a:lnTo>
                          <a:pt x="1344" y="560"/>
                        </a:lnTo>
                        <a:lnTo>
                          <a:pt x="1350" y="560"/>
                        </a:lnTo>
                        <a:lnTo>
                          <a:pt x="1350" y="558"/>
                        </a:lnTo>
                        <a:lnTo>
                          <a:pt x="1356" y="558"/>
                        </a:lnTo>
                        <a:lnTo>
                          <a:pt x="1356" y="556"/>
                        </a:lnTo>
                        <a:lnTo>
                          <a:pt x="1356" y="552"/>
                        </a:lnTo>
                        <a:lnTo>
                          <a:pt x="1360" y="554"/>
                        </a:lnTo>
                        <a:lnTo>
                          <a:pt x="1360" y="556"/>
                        </a:lnTo>
                        <a:lnTo>
                          <a:pt x="1366" y="554"/>
                        </a:lnTo>
                        <a:lnTo>
                          <a:pt x="1368" y="552"/>
                        </a:lnTo>
                        <a:lnTo>
                          <a:pt x="1370" y="552"/>
                        </a:lnTo>
                        <a:lnTo>
                          <a:pt x="1372" y="552"/>
                        </a:lnTo>
                        <a:lnTo>
                          <a:pt x="1380" y="552"/>
                        </a:lnTo>
                        <a:lnTo>
                          <a:pt x="1388" y="546"/>
                        </a:lnTo>
                        <a:lnTo>
                          <a:pt x="1388" y="544"/>
                        </a:lnTo>
                        <a:lnTo>
                          <a:pt x="1386" y="544"/>
                        </a:lnTo>
                        <a:lnTo>
                          <a:pt x="1394" y="536"/>
                        </a:lnTo>
                        <a:lnTo>
                          <a:pt x="1396" y="536"/>
                        </a:lnTo>
                        <a:lnTo>
                          <a:pt x="1402" y="528"/>
                        </a:lnTo>
                        <a:lnTo>
                          <a:pt x="1404" y="530"/>
                        </a:lnTo>
                        <a:lnTo>
                          <a:pt x="1406" y="530"/>
                        </a:lnTo>
                        <a:lnTo>
                          <a:pt x="1406" y="526"/>
                        </a:lnTo>
                        <a:lnTo>
                          <a:pt x="1412" y="522"/>
                        </a:lnTo>
                        <a:lnTo>
                          <a:pt x="1416" y="522"/>
                        </a:lnTo>
                        <a:lnTo>
                          <a:pt x="1418" y="520"/>
                        </a:lnTo>
                        <a:lnTo>
                          <a:pt x="1420" y="520"/>
                        </a:lnTo>
                        <a:lnTo>
                          <a:pt x="1422" y="516"/>
                        </a:lnTo>
                        <a:lnTo>
                          <a:pt x="1424" y="516"/>
                        </a:lnTo>
                        <a:lnTo>
                          <a:pt x="1430" y="514"/>
                        </a:lnTo>
                        <a:lnTo>
                          <a:pt x="1432" y="514"/>
                        </a:lnTo>
                        <a:lnTo>
                          <a:pt x="1444" y="498"/>
                        </a:lnTo>
                        <a:lnTo>
                          <a:pt x="1444" y="496"/>
                        </a:lnTo>
                        <a:lnTo>
                          <a:pt x="1446" y="496"/>
                        </a:lnTo>
                        <a:lnTo>
                          <a:pt x="1448" y="490"/>
                        </a:lnTo>
                        <a:lnTo>
                          <a:pt x="1448" y="488"/>
                        </a:lnTo>
                        <a:lnTo>
                          <a:pt x="1452" y="484"/>
                        </a:lnTo>
                        <a:lnTo>
                          <a:pt x="1454" y="484"/>
                        </a:lnTo>
                        <a:lnTo>
                          <a:pt x="1456" y="482"/>
                        </a:lnTo>
                        <a:lnTo>
                          <a:pt x="1456" y="480"/>
                        </a:lnTo>
                        <a:lnTo>
                          <a:pt x="1458" y="480"/>
                        </a:lnTo>
                        <a:lnTo>
                          <a:pt x="1460" y="484"/>
                        </a:lnTo>
                        <a:lnTo>
                          <a:pt x="1460" y="486"/>
                        </a:lnTo>
                        <a:lnTo>
                          <a:pt x="1462" y="486"/>
                        </a:lnTo>
                        <a:lnTo>
                          <a:pt x="1464" y="490"/>
                        </a:lnTo>
                        <a:lnTo>
                          <a:pt x="1466" y="492"/>
                        </a:lnTo>
                        <a:lnTo>
                          <a:pt x="1484" y="49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1" name="Freeform 3209"/>
                  <p:cNvSpPr>
                    <a:spLocks/>
                  </p:cNvSpPr>
                  <p:nvPr/>
                </p:nvSpPr>
                <p:spPr bwMode="auto">
                  <a:xfrm>
                    <a:off x="2892" y="3096"/>
                    <a:ext cx="66" cy="58"/>
                  </a:xfrm>
                  <a:custGeom>
                    <a:avLst/>
                    <a:gdLst/>
                    <a:ahLst/>
                    <a:cxnLst>
                      <a:cxn ang="0">
                        <a:pos x="30" y="56"/>
                      </a:cxn>
                      <a:cxn ang="0">
                        <a:pos x="26" y="58"/>
                      </a:cxn>
                      <a:cxn ang="0">
                        <a:pos x="24" y="56"/>
                      </a:cxn>
                      <a:cxn ang="0">
                        <a:pos x="18" y="54"/>
                      </a:cxn>
                      <a:cxn ang="0">
                        <a:pos x="6" y="50"/>
                      </a:cxn>
                      <a:cxn ang="0">
                        <a:pos x="2" y="48"/>
                      </a:cxn>
                      <a:cxn ang="0">
                        <a:pos x="2" y="36"/>
                      </a:cxn>
                      <a:cxn ang="0">
                        <a:pos x="0" y="24"/>
                      </a:cxn>
                      <a:cxn ang="0">
                        <a:pos x="4" y="24"/>
                      </a:cxn>
                      <a:cxn ang="0">
                        <a:pos x="12" y="16"/>
                      </a:cxn>
                      <a:cxn ang="0">
                        <a:pos x="18" y="12"/>
                      </a:cxn>
                      <a:cxn ang="0">
                        <a:pos x="16" y="10"/>
                      </a:cxn>
                      <a:cxn ang="0">
                        <a:pos x="24" y="10"/>
                      </a:cxn>
                      <a:cxn ang="0">
                        <a:pos x="24" y="6"/>
                      </a:cxn>
                      <a:cxn ang="0">
                        <a:pos x="30" y="6"/>
                      </a:cxn>
                      <a:cxn ang="0">
                        <a:pos x="38" y="6"/>
                      </a:cxn>
                      <a:cxn ang="0">
                        <a:pos x="42" y="4"/>
                      </a:cxn>
                      <a:cxn ang="0">
                        <a:pos x="54" y="2"/>
                      </a:cxn>
                      <a:cxn ang="0">
                        <a:pos x="58" y="2"/>
                      </a:cxn>
                      <a:cxn ang="0">
                        <a:pos x="64" y="6"/>
                      </a:cxn>
                      <a:cxn ang="0">
                        <a:pos x="64" y="16"/>
                      </a:cxn>
                      <a:cxn ang="0">
                        <a:pos x="62" y="18"/>
                      </a:cxn>
                      <a:cxn ang="0">
                        <a:pos x="54" y="30"/>
                      </a:cxn>
                      <a:cxn ang="0">
                        <a:pos x="54" y="30"/>
                      </a:cxn>
                      <a:cxn ang="0">
                        <a:pos x="52" y="36"/>
                      </a:cxn>
                      <a:cxn ang="0">
                        <a:pos x="52" y="40"/>
                      </a:cxn>
                      <a:cxn ang="0">
                        <a:pos x="44" y="44"/>
                      </a:cxn>
                      <a:cxn ang="0">
                        <a:pos x="42" y="48"/>
                      </a:cxn>
                      <a:cxn ang="0">
                        <a:pos x="40" y="50"/>
                      </a:cxn>
                      <a:cxn ang="0">
                        <a:pos x="38" y="52"/>
                      </a:cxn>
                      <a:cxn ang="0">
                        <a:pos x="32" y="52"/>
                      </a:cxn>
                      <a:cxn ang="0">
                        <a:pos x="30" y="58"/>
                      </a:cxn>
                    </a:cxnLst>
                    <a:rect l="0" t="0" r="r" b="b"/>
                    <a:pathLst>
                      <a:path w="66" h="58">
                        <a:moveTo>
                          <a:pt x="30" y="58"/>
                        </a:moveTo>
                        <a:lnTo>
                          <a:pt x="30" y="56"/>
                        </a:lnTo>
                        <a:lnTo>
                          <a:pt x="28" y="56"/>
                        </a:lnTo>
                        <a:lnTo>
                          <a:pt x="26" y="58"/>
                        </a:lnTo>
                        <a:lnTo>
                          <a:pt x="26" y="56"/>
                        </a:lnTo>
                        <a:lnTo>
                          <a:pt x="24" y="56"/>
                        </a:lnTo>
                        <a:lnTo>
                          <a:pt x="20" y="54"/>
                        </a:lnTo>
                        <a:lnTo>
                          <a:pt x="18" y="54"/>
                        </a:lnTo>
                        <a:lnTo>
                          <a:pt x="10" y="52"/>
                        </a:lnTo>
                        <a:lnTo>
                          <a:pt x="6" y="50"/>
                        </a:lnTo>
                        <a:lnTo>
                          <a:pt x="4" y="48"/>
                        </a:lnTo>
                        <a:lnTo>
                          <a:pt x="2" y="48"/>
                        </a:lnTo>
                        <a:lnTo>
                          <a:pt x="2" y="46"/>
                        </a:lnTo>
                        <a:lnTo>
                          <a:pt x="2" y="36"/>
                        </a:lnTo>
                        <a:lnTo>
                          <a:pt x="0" y="32"/>
                        </a:lnTo>
                        <a:lnTo>
                          <a:pt x="0" y="24"/>
                        </a:lnTo>
                        <a:lnTo>
                          <a:pt x="2" y="24"/>
                        </a:lnTo>
                        <a:lnTo>
                          <a:pt x="4" y="24"/>
                        </a:lnTo>
                        <a:lnTo>
                          <a:pt x="12" y="18"/>
                        </a:lnTo>
                        <a:lnTo>
                          <a:pt x="12" y="16"/>
                        </a:lnTo>
                        <a:lnTo>
                          <a:pt x="16" y="16"/>
                        </a:lnTo>
                        <a:lnTo>
                          <a:pt x="18" y="12"/>
                        </a:lnTo>
                        <a:lnTo>
                          <a:pt x="16" y="12"/>
                        </a:lnTo>
                        <a:lnTo>
                          <a:pt x="16" y="10"/>
                        </a:lnTo>
                        <a:lnTo>
                          <a:pt x="18" y="8"/>
                        </a:lnTo>
                        <a:lnTo>
                          <a:pt x="24" y="10"/>
                        </a:lnTo>
                        <a:lnTo>
                          <a:pt x="24" y="8"/>
                        </a:lnTo>
                        <a:lnTo>
                          <a:pt x="24" y="6"/>
                        </a:lnTo>
                        <a:lnTo>
                          <a:pt x="26" y="6"/>
                        </a:lnTo>
                        <a:lnTo>
                          <a:pt x="30" y="6"/>
                        </a:lnTo>
                        <a:lnTo>
                          <a:pt x="36" y="6"/>
                        </a:lnTo>
                        <a:lnTo>
                          <a:pt x="38" y="6"/>
                        </a:lnTo>
                        <a:lnTo>
                          <a:pt x="42" y="6"/>
                        </a:lnTo>
                        <a:lnTo>
                          <a:pt x="42" y="4"/>
                        </a:lnTo>
                        <a:lnTo>
                          <a:pt x="54" y="4"/>
                        </a:lnTo>
                        <a:lnTo>
                          <a:pt x="54" y="2"/>
                        </a:lnTo>
                        <a:lnTo>
                          <a:pt x="56" y="0"/>
                        </a:lnTo>
                        <a:lnTo>
                          <a:pt x="58" y="2"/>
                        </a:lnTo>
                        <a:lnTo>
                          <a:pt x="60" y="6"/>
                        </a:lnTo>
                        <a:lnTo>
                          <a:pt x="64" y="6"/>
                        </a:lnTo>
                        <a:lnTo>
                          <a:pt x="66" y="16"/>
                        </a:lnTo>
                        <a:lnTo>
                          <a:pt x="64" y="16"/>
                        </a:lnTo>
                        <a:lnTo>
                          <a:pt x="64" y="18"/>
                        </a:lnTo>
                        <a:lnTo>
                          <a:pt x="62" y="18"/>
                        </a:lnTo>
                        <a:lnTo>
                          <a:pt x="60" y="18"/>
                        </a:lnTo>
                        <a:lnTo>
                          <a:pt x="54" y="30"/>
                        </a:lnTo>
                        <a:lnTo>
                          <a:pt x="52" y="30"/>
                        </a:lnTo>
                        <a:lnTo>
                          <a:pt x="54" y="30"/>
                        </a:lnTo>
                        <a:lnTo>
                          <a:pt x="54" y="32"/>
                        </a:lnTo>
                        <a:lnTo>
                          <a:pt x="52" y="36"/>
                        </a:lnTo>
                        <a:lnTo>
                          <a:pt x="52" y="38"/>
                        </a:lnTo>
                        <a:lnTo>
                          <a:pt x="52" y="40"/>
                        </a:lnTo>
                        <a:lnTo>
                          <a:pt x="48" y="42"/>
                        </a:lnTo>
                        <a:lnTo>
                          <a:pt x="44" y="44"/>
                        </a:lnTo>
                        <a:lnTo>
                          <a:pt x="42" y="46"/>
                        </a:lnTo>
                        <a:lnTo>
                          <a:pt x="42" y="48"/>
                        </a:lnTo>
                        <a:lnTo>
                          <a:pt x="40" y="48"/>
                        </a:lnTo>
                        <a:lnTo>
                          <a:pt x="40" y="50"/>
                        </a:lnTo>
                        <a:lnTo>
                          <a:pt x="40" y="52"/>
                        </a:lnTo>
                        <a:lnTo>
                          <a:pt x="38" y="52"/>
                        </a:lnTo>
                        <a:lnTo>
                          <a:pt x="36" y="50"/>
                        </a:lnTo>
                        <a:lnTo>
                          <a:pt x="32" y="52"/>
                        </a:lnTo>
                        <a:lnTo>
                          <a:pt x="30" y="56"/>
                        </a:lnTo>
                        <a:lnTo>
                          <a:pt x="30" y="5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29" name="Freeform 3002"/>
                <p:cNvSpPr>
                  <a:spLocks/>
                </p:cNvSpPr>
                <p:nvPr/>
              </p:nvSpPr>
              <p:spPr bwMode="auto">
                <a:xfrm>
                  <a:off x="4333622" y="2290045"/>
                  <a:ext cx="1828499" cy="881004"/>
                </a:xfrm>
                <a:custGeom>
                  <a:avLst/>
                  <a:gdLst/>
                  <a:ahLst/>
                  <a:cxnLst>
                    <a:cxn ang="0">
                      <a:pos x="778" y="268"/>
                    </a:cxn>
                    <a:cxn ang="0">
                      <a:pos x="732" y="284"/>
                    </a:cxn>
                    <a:cxn ang="0">
                      <a:pos x="704" y="304"/>
                    </a:cxn>
                    <a:cxn ang="0">
                      <a:pos x="652" y="312"/>
                    </a:cxn>
                    <a:cxn ang="0">
                      <a:pos x="650" y="328"/>
                    </a:cxn>
                    <a:cxn ang="0">
                      <a:pos x="628" y="370"/>
                    </a:cxn>
                    <a:cxn ang="0">
                      <a:pos x="600" y="388"/>
                    </a:cxn>
                    <a:cxn ang="0">
                      <a:pos x="540" y="394"/>
                    </a:cxn>
                    <a:cxn ang="0">
                      <a:pos x="458" y="414"/>
                    </a:cxn>
                    <a:cxn ang="0">
                      <a:pos x="342" y="386"/>
                    </a:cxn>
                    <a:cxn ang="0">
                      <a:pos x="224" y="364"/>
                    </a:cxn>
                    <a:cxn ang="0">
                      <a:pos x="208" y="334"/>
                    </a:cxn>
                    <a:cxn ang="0">
                      <a:pos x="190" y="320"/>
                    </a:cxn>
                    <a:cxn ang="0">
                      <a:pos x="162" y="300"/>
                    </a:cxn>
                    <a:cxn ang="0">
                      <a:pos x="130" y="296"/>
                    </a:cxn>
                    <a:cxn ang="0">
                      <a:pos x="92" y="288"/>
                    </a:cxn>
                    <a:cxn ang="0">
                      <a:pos x="90" y="256"/>
                    </a:cxn>
                    <a:cxn ang="0">
                      <a:pos x="88" y="222"/>
                    </a:cxn>
                    <a:cxn ang="0">
                      <a:pos x="66" y="188"/>
                    </a:cxn>
                    <a:cxn ang="0">
                      <a:pos x="48" y="176"/>
                    </a:cxn>
                    <a:cxn ang="0">
                      <a:pos x="22" y="168"/>
                    </a:cxn>
                    <a:cxn ang="0">
                      <a:pos x="6" y="146"/>
                    </a:cxn>
                    <a:cxn ang="0">
                      <a:pos x="12" y="124"/>
                    </a:cxn>
                    <a:cxn ang="0">
                      <a:pos x="32" y="114"/>
                    </a:cxn>
                    <a:cxn ang="0">
                      <a:pos x="48" y="106"/>
                    </a:cxn>
                    <a:cxn ang="0">
                      <a:pos x="60" y="94"/>
                    </a:cxn>
                    <a:cxn ang="0">
                      <a:pos x="80" y="84"/>
                    </a:cxn>
                    <a:cxn ang="0">
                      <a:pos x="116" y="64"/>
                    </a:cxn>
                    <a:cxn ang="0">
                      <a:pos x="134" y="64"/>
                    </a:cxn>
                    <a:cxn ang="0">
                      <a:pos x="146" y="68"/>
                    </a:cxn>
                    <a:cxn ang="0">
                      <a:pos x="182" y="84"/>
                    </a:cxn>
                    <a:cxn ang="0">
                      <a:pos x="200" y="96"/>
                    </a:cxn>
                    <a:cxn ang="0">
                      <a:pos x="220" y="92"/>
                    </a:cxn>
                    <a:cxn ang="0">
                      <a:pos x="236" y="98"/>
                    </a:cxn>
                    <a:cxn ang="0">
                      <a:pos x="246" y="96"/>
                    </a:cxn>
                    <a:cxn ang="0">
                      <a:pos x="282" y="92"/>
                    </a:cxn>
                    <a:cxn ang="0">
                      <a:pos x="278" y="58"/>
                    </a:cxn>
                    <a:cxn ang="0">
                      <a:pos x="288" y="28"/>
                    </a:cxn>
                    <a:cxn ang="0">
                      <a:pos x="304" y="4"/>
                    </a:cxn>
                    <a:cxn ang="0">
                      <a:pos x="330" y="14"/>
                    </a:cxn>
                    <a:cxn ang="0">
                      <a:pos x="376" y="28"/>
                    </a:cxn>
                    <a:cxn ang="0">
                      <a:pos x="394" y="50"/>
                    </a:cxn>
                    <a:cxn ang="0">
                      <a:pos x="400" y="70"/>
                    </a:cxn>
                    <a:cxn ang="0">
                      <a:pos x="424" y="80"/>
                    </a:cxn>
                    <a:cxn ang="0">
                      <a:pos x="440" y="86"/>
                    </a:cxn>
                    <a:cxn ang="0">
                      <a:pos x="462" y="78"/>
                    </a:cxn>
                    <a:cxn ang="0">
                      <a:pos x="500" y="78"/>
                    </a:cxn>
                    <a:cxn ang="0">
                      <a:pos x="526" y="86"/>
                    </a:cxn>
                    <a:cxn ang="0">
                      <a:pos x="558" y="112"/>
                    </a:cxn>
                    <a:cxn ang="0">
                      <a:pos x="594" y="124"/>
                    </a:cxn>
                    <a:cxn ang="0">
                      <a:pos x="628" y="130"/>
                    </a:cxn>
                    <a:cxn ang="0">
                      <a:pos x="652" y="120"/>
                    </a:cxn>
                    <a:cxn ang="0">
                      <a:pos x="684" y="114"/>
                    </a:cxn>
                    <a:cxn ang="0">
                      <a:pos x="714" y="90"/>
                    </a:cxn>
                    <a:cxn ang="0">
                      <a:pos x="736" y="82"/>
                    </a:cxn>
                    <a:cxn ang="0">
                      <a:pos x="768" y="98"/>
                    </a:cxn>
                    <a:cxn ang="0">
                      <a:pos x="774" y="140"/>
                    </a:cxn>
                    <a:cxn ang="0">
                      <a:pos x="772" y="190"/>
                    </a:cxn>
                    <a:cxn ang="0">
                      <a:pos x="822" y="176"/>
                    </a:cxn>
                    <a:cxn ang="0">
                      <a:pos x="876" y="212"/>
                    </a:cxn>
                    <a:cxn ang="0">
                      <a:pos x="868" y="232"/>
                    </a:cxn>
                    <a:cxn ang="0">
                      <a:pos x="840" y="230"/>
                    </a:cxn>
                    <a:cxn ang="0">
                      <a:pos x="810" y="234"/>
                    </a:cxn>
                  </a:cxnLst>
                  <a:rect l="0" t="0" r="r" b="b"/>
                  <a:pathLst>
                    <a:path w="880" h="424">
                      <a:moveTo>
                        <a:pt x="790" y="244"/>
                      </a:moveTo>
                      <a:lnTo>
                        <a:pt x="788" y="246"/>
                      </a:lnTo>
                      <a:lnTo>
                        <a:pt x="788" y="248"/>
                      </a:lnTo>
                      <a:lnTo>
                        <a:pt x="784" y="252"/>
                      </a:lnTo>
                      <a:lnTo>
                        <a:pt x="782" y="252"/>
                      </a:lnTo>
                      <a:lnTo>
                        <a:pt x="782" y="254"/>
                      </a:lnTo>
                      <a:lnTo>
                        <a:pt x="778" y="262"/>
                      </a:lnTo>
                      <a:lnTo>
                        <a:pt x="780" y="264"/>
                      </a:lnTo>
                      <a:lnTo>
                        <a:pt x="778" y="268"/>
                      </a:lnTo>
                      <a:lnTo>
                        <a:pt x="776" y="270"/>
                      </a:lnTo>
                      <a:lnTo>
                        <a:pt x="774" y="270"/>
                      </a:lnTo>
                      <a:lnTo>
                        <a:pt x="764" y="278"/>
                      </a:lnTo>
                      <a:lnTo>
                        <a:pt x="756" y="282"/>
                      </a:lnTo>
                      <a:lnTo>
                        <a:pt x="750" y="280"/>
                      </a:lnTo>
                      <a:lnTo>
                        <a:pt x="744" y="282"/>
                      </a:lnTo>
                      <a:lnTo>
                        <a:pt x="738" y="280"/>
                      </a:lnTo>
                      <a:lnTo>
                        <a:pt x="732" y="282"/>
                      </a:lnTo>
                      <a:lnTo>
                        <a:pt x="732" y="284"/>
                      </a:lnTo>
                      <a:lnTo>
                        <a:pt x="728" y="290"/>
                      </a:lnTo>
                      <a:lnTo>
                        <a:pt x="728" y="292"/>
                      </a:lnTo>
                      <a:lnTo>
                        <a:pt x="722" y="296"/>
                      </a:lnTo>
                      <a:lnTo>
                        <a:pt x="722" y="298"/>
                      </a:lnTo>
                      <a:lnTo>
                        <a:pt x="718" y="298"/>
                      </a:lnTo>
                      <a:lnTo>
                        <a:pt x="716" y="298"/>
                      </a:lnTo>
                      <a:lnTo>
                        <a:pt x="708" y="306"/>
                      </a:lnTo>
                      <a:lnTo>
                        <a:pt x="706" y="306"/>
                      </a:lnTo>
                      <a:lnTo>
                        <a:pt x="704" y="304"/>
                      </a:lnTo>
                      <a:lnTo>
                        <a:pt x="680" y="298"/>
                      </a:lnTo>
                      <a:lnTo>
                        <a:pt x="678" y="296"/>
                      </a:lnTo>
                      <a:lnTo>
                        <a:pt x="674" y="292"/>
                      </a:lnTo>
                      <a:lnTo>
                        <a:pt x="672" y="294"/>
                      </a:lnTo>
                      <a:lnTo>
                        <a:pt x="664" y="292"/>
                      </a:lnTo>
                      <a:lnTo>
                        <a:pt x="660" y="294"/>
                      </a:lnTo>
                      <a:lnTo>
                        <a:pt x="656" y="298"/>
                      </a:lnTo>
                      <a:lnTo>
                        <a:pt x="652" y="308"/>
                      </a:lnTo>
                      <a:lnTo>
                        <a:pt x="652" y="312"/>
                      </a:lnTo>
                      <a:lnTo>
                        <a:pt x="650" y="312"/>
                      </a:lnTo>
                      <a:lnTo>
                        <a:pt x="650" y="314"/>
                      </a:lnTo>
                      <a:lnTo>
                        <a:pt x="650" y="316"/>
                      </a:lnTo>
                      <a:lnTo>
                        <a:pt x="648" y="316"/>
                      </a:lnTo>
                      <a:lnTo>
                        <a:pt x="648" y="318"/>
                      </a:lnTo>
                      <a:lnTo>
                        <a:pt x="646" y="318"/>
                      </a:lnTo>
                      <a:lnTo>
                        <a:pt x="646" y="322"/>
                      </a:lnTo>
                      <a:lnTo>
                        <a:pt x="650" y="326"/>
                      </a:lnTo>
                      <a:lnTo>
                        <a:pt x="650" y="328"/>
                      </a:lnTo>
                      <a:lnTo>
                        <a:pt x="654" y="332"/>
                      </a:lnTo>
                      <a:lnTo>
                        <a:pt x="660" y="336"/>
                      </a:lnTo>
                      <a:lnTo>
                        <a:pt x="662" y="344"/>
                      </a:lnTo>
                      <a:lnTo>
                        <a:pt x="662" y="346"/>
                      </a:lnTo>
                      <a:lnTo>
                        <a:pt x="660" y="346"/>
                      </a:lnTo>
                      <a:lnTo>
                        <a:pt x="658" y="346"/>
                      </a:lnTo>
                      <a:lnTo>
                        <a:pt x="652" y="352"/>
                      </a:lnTo>
                      <a:lnTo>
                        <a:pt x="634" y="360"/>
                      </a:lnTo>
                      <a:lnTo>
                        <a:pt x="628" y="370"/>
                      </a:lnTo>
                      <a:lnTo>
                        <a:pt x="626" y="374"/>
                      </a:lnTo>
                      <a:lnTo>
                        <a:pt x="624" y="376"/>
                      </a:lnTo>
                      <a:lnTo>
                        <a:pt x="622" y="376"/>
                      </a:lnTo>
                      <a:lnTo>
                        <a:pt x="622" y="378"/>
                      </a:lnTo>
                      <a:lnTo>
                        <a:pt x="620" y="380"/>
                      </a:lnTo>
                      <a:lnTo>
                        <a:pt x="612" y="384"/>
                      </a:lnTo>
                      <a:lnTo>
                        <a:pt x="612" y="386"/>
                      </a:lnTo>
                      <a:lnTo>
                        <a:pt x="606" y="386"/>
                      </a:lnTo>
                      <a:lnTo>
                        <a:pt x="600" y="388"/>
                      </a:lnTo>
                      <a:lnTo>
                        <a:pt x="596" y="392"/>
                      </a:lnTo>
                      <a:lnTo>
                        <a:pt x="590" y="392"/>
                      </a:lnTo>
                      <a:lnTo>
                        <a:pt x="590" y="394"/>
                      </a:lnTo>
                      <a:lnTo>
                        <a:pt x="582" y="392"/>
                      </a:lnTo>
                      <a:lnTo>
                        <a:pt x="576" y="394"/>
                      </a:lnTo>
                      <a:lnTo>
                        <a:pt x="562" y="392"/>
                      </a:lnTo>
                      <a:lnTo>
                        <a:pt x="560" y="392"/>
                      </a:lnTo>
                      <a:lnTo>
                        <a:pt x="552" y="394"/>
                      </a:lnTo>
                      <a:lnTo>
                        <a:pt x="540" y="394"/>
                      </a:lnTo>
                      <a:lnTo>
                        <a:pt x="540" y="392"/>
                      </a:lnTo>
                      <a:lnTo>
                        <a:pt x="534" y="394"/>
                      </a:lnTo>
                      <a:lnTo>
                        <a:pt x="534" y="396"/>
                      </a:lnTo>
                      <a:lnTo>
                        <a:pt x="520" y="398"/>
                      </a:lnTo>
                      <a:lnTo>
                        <a:pt x="478" y="418"/>
                      </a:lnTo>
                      <a:lnTo>
                        <a:pt x="472" y="424"/>
                      </a:lnTo>
                      <a:lnTo>
                        <a:pt x="470" y="422"/>
                      </a:lnTo>
                      <a:lnTo>
                        <a:pt x="458" y="422"/>
                      </a:lnTo>
                      <a:lnTo>
                        <a:pt x="458" y="414"/>
                      </a:lnTo>
                      <a:lnTo>
                        <a:pt x="446" y="416"/>
                      </a:lnTo>
                      <a:lnTo>
                        <a:pt x="440" y="416"/>
                      </a:lnTo>
                      <a:lnTo>
                        <a:pt x="408" y="404"/>
                      </a:lnTo>
                      <a:lnTo>
                        <a:pt x="404" y="404"/>
                      </a:lnTo>
                      <a:lnTo>
                        <a:pt x="402" y="404"/>
                      </a:lnTo>
                      <a:lnTo>
                        <a:pt x="392" y="400"/>
                      </a:lnTo>
                      <a:lnTo>
                        <a:pt x="384" y="390"/>
                      </a:lnTo>
                      <a:lnTo>
                        <a:pt x="342" y="384"/>
                      </a:lnTo>
                      <a:lnTo>
                        <a:pt x="342" y="386"/>
                      </a:lnTo>
                      <a:lnTo>
                        <a:pt x="290" y="386"/>
                      </a:lnTo>
                      <a:lnTo>
                        <a:pt x="288" y="386"/>
                      </a:lnTo>
                      <a:lnTo>
                        <a:pt x="276" y="384"/>
                      </a:lnTo>
                      <a:lnTo>
                        <a:pt x="274" y="382"/>
                      </a:lnTo>
                      <a:lnTo>
                        <a:pt x="266" y="382"/>
                      </a:lnTo>
                      <a:lnTo>
                        <a:pt x="266" y="380"/>
                      </a:lnTo>
                      <a:lnTo>
                        <a:pt x="236" y="382"/>
                      </a:lnTo>
                      <a:lnTo>
                        <a:pt x="236" y="376"/>
                      </a:lnTo>
                      <a:lnTo>
                        <a:pt x="224" y="364"/>
                      </a:lnTo>
                      <a:lnTo>
                        <a:pt x="222" y="362"/>
                      </a:lnTo>
                      <a:lnTo>
                        <a:pt x="222" y="356"/>
                      </a:lnTo>
                      <a:lnTo>
                        <a:pt x="220" y="356"/>
                      </a:lnTo>
                      <a:lnTo>
                        <a:pt x="218" y="348"/>
                      </a:lnTo>
                      <a:lnTo>
                        <a:pt x="216" y="344"/>
                      </a:lnTo>
                      <a:lnTo>
                        <a:pt x="216" y="342"/>
                      </a:lnTo>
                      <a:lnTo>
                        <a:pt x="212" y="334"/>
                      </a:lnTo>
                      <a:lnTo>
                        <a:pt x="210" y="334"/>
                      </a:lnTo>
                      <a:lnTo>
                        <a:pt x="208" y="334"/>
                      </a:lnTo>
                      <a:lnTo>
                        <a:pt x="206" y="334"/>
                      </a:lnTo>
                      <a:lnTo>
                        <a:pt x="206" y="328"/>
                      </a:lnTo>
                      <a:lnTo>
                        <a:pt x="208" y="328"/>
                      </a:lnTo>
                      <a:lnTo>
                        <a:pt x="208" y="326"/>
                      </a:lnTo>
                      <a:lnTo>
                        <a:pt x="210" y="324"/>
                      </a:lnTo>
                      <a:lnTo>
                        <a:pt x="208" y="322"/>
                      </a:lnTo>
                      <a:lnTo>
                        <a:pt x="198" y="324"/>
                      </a:lnTo>
                      <a:lnTo>
                        <a:pt x="190" y="322"/>
                      </a:lnTo>
                      <a:lnTo>
                        <a:pt x="190" y="320"/>
                      </a:lnTo>
                      <a:lnTo>
                        <a:pt x="188" y="318"/>
                      </a:lnTo>
                      <a:lnTo>
                        <a:pt x="188" y="316"/>
                      </a:lnTo>
                      <a:lnTo>
                        <a:pt x="182" y="316"/>
                      </a:lnTo>
                      <a:lnTo>
                        <a:pt x="180" y="314"/>
                      </a:lnTo>
                      <a:lnTo>
                        <a:pt x="180" y="312"/>
                      </a:lnTo>
                      <a:lnTo>
                        <a:pt x="166" y="302"/>
                      </a:lnTo>
                      <a:lnTo>
                        <a:pt x="164" y="302"/>
                      </a:lnTo>
                      <a:lnTo>
                        <a:pt x="164" y="300"/>
                      </a:lnTo>
                      <a:lnTo>
                        <a:pt x="162" y="300"/>
                      </a:lnTo>
                      <a:lnTo>
                        <a:pt x="160" y="298"/>
                      </a:lnTo>
                      <a:lnTo>
                        <a:pt x="158" y="298"/>
                      </a:lnTo>
                      <a:lnTo>
                        <a:pt x="150" y="296"/>
                      </a:lnTo>
                      <a:lnTo>
                        <a:pt x="148" y="296"/>
                      </a:lnTo>
                      <a:lnTo>
                        <a:pt x="142" y="296"/>
                      </a:lnTo>
                      <a:lnTo>
                        <a:pt x="140" y="294"/>
                      </a:lnTo>
                      <a:lnTo>
                        <a:pt x="136" y="294"/>
                      </a:lnTo>
                      <a:lnTo>
                        <a:pt x="134" y="296"/>
                      </a:lnTo>
                      <a:lnTo>
                        <a:pt x="130" y="296"/>
                      </a:lnTo>
                      <a:lnTo>
                        <a:pt x="118" y="292"/>
                      </a:lnTo>
                      <a:lnTo>
                        <a:pt x="104" y="292"/>
                      </a:lnTo>
                      <a:lnTo>
                        <a:pt x="100" y="290"/>
                      </a:lnTo>
                      <a:lnTo>
                        <a:pt x="100" y="292"/>
                      </a:lnTo>
                      <a:lnTo>
                        <a:pt x="96" y="292"/>
                      </a:lnTo>
                      <a:lnTo>
                        <a:pt x="96" y="290"/>
                      </a:lnTo>
                      <a:lnTo>
                        <a:pt x="94" y="290"/>
                      </a:lnTo>
                      <a:lnTo>
                        <a:pt x="94" y="288"/>
                      </a:lnTo>
                      <a:lnTo>
                        <a:pt x="92" y="288"/>
                      </a:lnTo>
                      <a:lnTo>
                        <a:pt x="90" y="288"/>
                      </a:lnTo>
                      <a:lnTo>
                        <a:pt x="86" y="286"/>
                      </a:lnTo>
                      <a:lnTo>
                        <a:pt x="82" y="280"/>
                      </a:lnTo>
                      <a:lnTo>
                        <a:pt x="80" y="276"/>
                      </a:lnTo>
                      <a:lnTo>
                        <a:pt x="80" y="268"/>
                      </a:lnTo>
                      <a:lnTo>
                        <a:pt x="84" y="262"/>
                      </a:lnTo>
                      <a:lnTo>
                        <a:pt x="84" y="260"/>
                      </a:lnTo>
                      <a:lnTo>
                        <a:pt x="88" y="258"/>
                      </a:lnTo>
                      <a:lnTo>
                        <a:pt x="90" y="256"/>
                      </a:lnTo>
                      <a:lnTo>
                        <a:pt x="90" y="252"/>
                      </a:lnTo>
                      <a:lnTo>
                        <a:pt x="88" y="250"/>
                      </a:lnTo>
                      <a:lnTo>
                        <a:pt x="86" y="244"/>
                      </a:lnTo>
                      <a:lnTo>
                        <a:pt x="88" y="244"/>
                      </a:lnTo>
                      <a:lnTo>
                        <a:pt x="90" y="236"/>
                      </a:lnTo>
                      <a:lnTo>
                        <a:pt x="90" y="234"/>
                      </a:lnTo>
                      <a:lnTo>
                        <a:pt x="90" y="230"/>
                      </a:lnTo>
                      <a:lnTo>
                        <a:pt x="90" y="228"/>
                      </a:lnTo>
                      <a:lnTo>
                        <a:pt x="88" y="222"/>
                      </a:lnTo>
                      <a:lnTo>
                        <a:pt x="86" y="220"/>
                      </a:lnTo>
                      <a:lnTo>
                        <a:pt x="86" y="218"/>
                      </a:lnTo>
                      <a:lnTo>
                        <a:pt x="84" y="218"/>
                      </a:lnTo>
                      <a:lnTo>
                        <a:pt x="82" y="218"/>
                      </a:lnTo>
                      <a:lnTo>
                        <a:pt x="80" y="216"/>
                      </a:lnTo>
                      <a:lnTo>
                        <a:pt x="74" y="204"/>
                      </a:lnTo>
                      <a:lnTo>
                        <a:pt x="74" y="198"/>
                      </a:lnTo>
                      <a:lnTo>
                        <a:pt x="68" y="190"/>
                      </a:lnTo>
                      <a:lnTo>
                        <a:pt x="66" y="188"/>
                      </a:lnTo>
                      <a:lnTo>
                        <a:pt x="64" y="186"/>
                      </a:lnTo>
                      <a:lnTo>
                        <a:pt x="64" y="182"/>
                      </a:lnTo>
                      <a:lnTo>
                        <a:pt x="62" y="182"/>
                      </a:lnTo>
                      <a:lnTo>
                        <a:pt x="60" y="182"/>
                      </a:lnTo>
                      <a:lnTo>
                        <a:pt x="60" y="184"/>
                      </a:lnTo>
                      <a:lnTo>
                        <a:pt x="54" y="184"/>
                      </a:lnTo>
                      <a:lnTo>
                        <a:pt x="50" y="178"/>
                      </a:lnTo>
                      <a:lnTo>
                        <a:pt x="50" y="176"/>
                      </a:lnTo>
                      <a:lnTo>
                        <a:pt x="48" y="176"/>
                      </a:lnTo>
                      <a:lnTo>
                        <a:pt x="44" y="176"/>
                      </a:lnTo>
                      <a:lnTo>
                        <a:pt x="42" y="176"/>
                      </a:lnTo>
                      <a:lnTo>
                        <a:pt x="40" y="178"/>
                      </a:lnTo>
                      <a:lnTo>
                        <a:pt x="36" y="176"/>
                      </a:lnTo>
                      <a:lnTo>
                        <a:pt x="34" y="176"/>
                      </a:lnTo>
                      <a:lnTo>
                        <a:pt x="32" y="172"/>
                      </a:lnTo>
                      <a:lnTo>
                        <a:pt x="30" y="172"/>
                      </a:lnTo>
                      <a:lnTo>
                        <a:pt x="24" y="170"/>
                      </a:lnTo>
                      <a:lnTo>
                        <a:pt x="22" y="168"/>
                      </a:lnTo>
                      <a:lnTo>
                        <a:pt x="22" y="162"/>
                      </a:lnTo>
                      <a:lnTo>
                        <a:pt x="20" y="160"/>
                      </a:lnTo>
                      <a:lnTo>
                        <a:pt x="12" y="156"/>
                      </a:lnTo>
                      <a:lnTo>
                        <a:pt x="8" y="154"/>
                      </a:lnTo>
                      <a:lnTo>
                        <a:pt x="6" y="154"/>
                      </a:lnTo>
                      <a:lnTo>
                        <a:pt x="6" y="152"/>
                      </a:lnTo>
                      <a:lnTo>
                        <a:pt x="8" y="148"/>
                      </a:lnTo>
                      <a:lnTo>
                        <a:pt x="8" y="146"/>
                      </a:lnTo>
                      <a:lnTo>
                        <a:pt x="6" y="146"/>
                      </a:lnTo>
                      <a:lnTo>
                        <a:pt x="4" y="146"/>
                      </a:lnTo>
                      <a:lnTo>
                        <a:pt x="2" y="144"/>
                      </a:lnTo>
                      <a:lnTo>
                        <a:pt x="0" y="140"/>
                      </a:lnTo>
                      <a:lnTo>
                        <a:pt x="2" y="138"/>
                      </a:lnTo>
                      <a:lnTo>
                        <a:pt x="4" y="136"/>
                      </a:lnTo>
                      <a:lnTo>
                        <a:pt x="2" y="128"/>
                      </a:lnTo>
                      <a:lnTo>
                        <a:pt x="4" y="128"/>
                      </a:lnTo>
                      <a:lnTo>
                        <a:pt x="6" y="128"/>
                      </a:lnTo>
                      <a:lnTo>
                        <a:pt x="12" y="124"/>
                      </a:lnTo>
                      <a:lnTo>
                        <a:pt x="10" y="122"/>
                      </a:lnTo>
                      <a:lnTo>
                        <a:pt x="10" y="120"/>
                      </a:lnTo>
                      <a:lnTo>
                        <a:pt x="12" y="116"/>
                      </a:lnTo>
                      <a:lnTo>
                        <a:pt x="22" y="116"/>
                      </a:lnTo>
                      <a:lnTo>
                        <a:pt x="26" y="116"/>
                      </a:lnTo>
                      <a:lnTo>
                        <a:pt x="30" y="116"/>
                      </a:lnTo>
                      <a:lnTo>
                        <a:pt x="30" y="112"/>
                      </a:lnTo>
                      <a:lnTo>
                        <a:pt x="32" y="112"/>
                      </a:lnTo>
                      <a:lnTo>
                        <a:pt x="32" y="114"/>
                      </a:lnTo>
                      <a:lnTo>
                        <a:pt x="34" y="116"/>
                      </a:lnTo>
                      <a:lnTo>
                        <a:pt x="38" y="114"/>
                      </a:lnTo>
                      <a:lnTo>
                        <a:pt x="40" y="112"/>
                      </a:lnTo>
                      <a:lnTo>
                        <a:pt x="40" y="110"/>
                      </a:lnTo>
                      <a:lnTo>
                        <a:pt x="40" y="108"/>
                      </a:lnTo>
                      <a:lnTo>
                        <a:pt x="42" y="110"/>
                      </a:lnTo>
                      <a:lnTo>
                        <a:pt x="44" y="112"/>
                      </a:lnTo>
                      <a:lnTo>
                        <a:pt x="46" y="110"/>
                      </a:lnTo>
                      <a:lnTo>
                        <a:pt x="48" y="106"/>
                      </a:lnTo>
                      <a:lnTo>
                        <a:pt x="50" y="106"/>
                      </a:lnTo>
                      <a:lnTo>
                        <a:pt x="54" y="104"/>
                      </a:lnTo>
                      <a:lnTo>
                        <a:pt x="52" y="104"/>
                      </a:lnTo>
                      <a:lnTo>
                        <a:pt x="52" y="102"/>
                      </a:lnTo>
                      <a:lnTo>
                        <a:pt x="52" y="98"/>
                      </a:lnTo>
                      <a:lnTo>
                        <a:pt x="52" y="96"/>
                      </a:lnTo>
                      <a:lnTo>
                        <a:pt x="54" y="96"/>
                      </a:lnTo>
                      <a:lnTo>
                        <a:pt x="58" y="96"/>
                      </a:lnTo>
                      <a:lnTo>
                        <a:pt x="60" y="94"/>
                      </a:lnTo>
                      <a:lnTo>
                        <a:pt x="62" y="94"/>
                      </a:lnTo>
                      <a:lnTo>
                        <a:pt x="62" y="90"/>
                      </a:lnTo>
                      <a:lnTo>
                        <a:pt x="64" y="90"/>
                      </a:lnTo>
                      <a:lnTo>
                        <a:pt x="66" y="88"/>
                      </a:lnTo>
                      <a:lnTo>
                        <a:pt x="68" y="88"/>
                      </a:lnTo>
                      <a:lnTo>
                        <a:pt x="72" y="86"/>
                      </a:lnTo>
                      <a:lnTo>
                        <a:pt x="76" y="84"/>
                      </a:lnTo>
                      <a:lnTo>
                        <a:pt x="78" y="84"/>
                      </a:lnTo>
                      <a:lnTo>
                        <a:pt x="80" y="84"/>
                      </a:lnTo>
                      <a:lnTo>
                        <a:pt x="86" y="80"/>
                      </a:lnTo>
                      <a:lnTo>
                        <a:pt x="86" y="78"/>
                      </a:lnTo>
                      <a:lnTo>
                        <a:pt x="88" y="76"/>
                      </a:lnTo>
                      <a:lnTo>
                        <a:pt x="92" y="76"/>
                      </a:lnTo>
                      <a:lnTo>
                        <a:pt x="106" y="68"/>
                      </a:lnTo>
                      <a:lnTo>
                        <a:pt x="106" y="66"/>
                      </a:lnTo>
                      <a:lnTo>
                        <a:pt x="108" y="64"/>
                      </a:lnTo>
                      <a:lnTo>
                        <a:pt x="110" y="64"/>
                      </a:lnTo>
                      <a:lnTo>
                        <a:pt x="116" y="64"/>
                      </a:lnTo>
                      <a:lnTo>
                        <a:pt x="118" y="64"/>
                      </a:lnTo>
                      <a:lnTo>
                        <a:pt x="120" y="64"/>
                      </a:lnTo>
                      <a:lnTo>
                        <a:pt x="122" y="64"/>
                      </a:lnTo>
                      <a:lnTo>
                        <a:pt x="124" y="62"/>
                      </a:lnTo>
                      <a:lnTo>
                        <a:pt x="124" y="60"/>
                      </a:lnTo>
                      <a:lnTo>
                        <a:pt x="124" y="58"/>
                      </a:lnTo>
                      <a:lnTo>
                        <a:pt x="128" y="58"/>
                      </a:lnTo>
                      <a:lnTo>
                        <a:pt x="128" y="60"/>
                      </a:lnTo>
                      <a:lnTo>
                        <a:pt x="134" y="64"/>
                      </a:lnTo>
                      <a:lnTo>
                        <a:pt x="136" y="64"/>
                      </a:lnTo>
                      <a:lnTo>
                        <a:pt x="136" y="62"/>
                      </a:lnTo>
                      <a:lnTo>
                        <a:pt x="138" y="60"/>
                      </a:lnTo>
                      <a:lnTo>
                        <a:pt x="142" y="58"/>
                      </a:lnTo>
                      <a:lnTo>
                        <a:pt x="142" y="60"/>
                      </a:lnTo>
                      <a:lnTo>
                        <a:pt x="142" y="62"/>
                      </a:lnTo>
                      <a:lnTo>
                        <a:pt x="142" y="64"/>
                      </a:lnTo>
                      <a:lnTo>
                        <a:pt x="144" y="68"/>
                      </a:lnTo>
                      <a:lnTo>
                        <a:pt x="146" y="68"/>
                      </a:lnTo>
                      <a:lnTo>
                        <a:pt x="154" y="68"/>
                      </a:lnTo>
                      <a:lnTo>
                        <a:pt x="154" y="66"/>
                      </a:lnTo>
                      <a:lnTo>
                        <a:pt x="156" y="66"/>
                      </a:lnTo>
                      <a:lnTo>
                        <a:pt x="156" y="68"/>
                      </a:lnTo>
                      <a:lnTo>
                        <a:pt x="160" y="68"/>
                      </a:lnTo>
                      <a:lnTo>
                        <a:pt x="178" y="70"/>
                      </a:lnTo>
                      <a:lnTo>
                        <a:pt x="180" y="76"/>
                      </a:lnTo>
                      <a:lnTo>
                        <a:pt x="180" y="82"/>
                      </a:lnTo>
                      <a:lnTo>
                        <a:pt x="182" y="84"/>
                      </a:lnTo>
                      <a:lnTo>
                        <a:pt x="182" y="86"/>
                      </a:lnTo>
                      <a:lnTo>
                        <a:pt x="184" y="86"/>
                      </a:lnTo>
                      <a:lnTo>
                        <a:pt x="186" y="90"/>
                      </a:lnTo>
                      <a:lnTo>
                        <a:pt x="188" y="92"/>
                      </a:lnTo>
                      <a:lnTo>
                        <a:pt x="190" y="92"/>
                      </a:lnTo>
                      <a:lnTo>
                        <a:pt x="194" y="90"/>
                      </a:lnTo>
                      <a:lnTo>
                        <a:pt x="198" y="92"/>
                      </a:lnTo>
                      <a:lnTo>
                        <a:pt x="200" y="94"/>
                      </a:lnTo>
                      <a:lnTo>
                        <a:pt x="200" y="96"/>
                      </a:lnTo>
                      <a:lnTo>
                        <a:pt x="204" y="96"/>
                      </a:lnTo>
                      <a:lnTo>
                        <a:pt x="204" y="94"/>
                      </a:lnTo>
                      <a:lnTo>
                        <a:pt x="206" y="94"/>
                      </a:lnTo>
                      <a:lnTo>
                        <a:pt x="208" y="96"/>
                      </a:lnTo>
                      <a:lnTo>
                        <a:pt x="210" y="96"/>
                      </a:lnTo>
                      <a:lnTo>
                        <a:pt x="212" y="98"/>
                      </a:lnTo>
                      <a:lnTo>
                        <a:pt x="218" y="94"/>
                      </a:lnTo>
                      <a:lnTo>
                        <a:pt x="220" y="94"/>
                      </a:lnTo>
                      <a:lnTo>
                        <a:pt x="220" y="92"/>
                      </a:lnTo>
                      <a:lnTo>
                        <a:pt x="222" y="92"/>
                      </a:lnTo>
                      <a:lnTo>
                        <a:pt x="224" y="94"/>
                      </a:lnTo>
                      <a:lnTo>
                        <a:pt x="224" y="96"/>
                      </a:lnTo>
                      <a:lnTo>
                        <a:pt x="226" y="94"/>
                      </a:lnTo>
                      <a:lnTo>
                        <a:pt x="228" y="94"/>
                      </a:lnTo>
                      <a:lnTo>
                        <a:pt x="232" y="96"/>
                      </a:lnTo>
                      <a:lnTo>
                        <a:pt x="234" y="96"/>
                      </a:lnTo>
                      <a:lnTo>
                        <a:pt x="234" y="98"/>
                      </a:lnTo>
                      <a:lnTo>
                        <a:pt x="236" y="98"/>
                      </a:lnTo>
                      <a:lnTo>
                        <a:pt x="238" y="98"/>
                      </a:lnTo>
                      <a:lnTo>
                        <a:pt x="238" y="96"/>
                      </a:lnTo>
                      <a:lnTo>
                        <a:pt x="240" y="96"/>
                      </a:lnTo>
                      <a:lnTo>
                        <a:pt x="242" y="98"/>
                      </a:lnTo>
                      <a:lnTo>
                        <a:pt x="242" y="100"/>
                      </a:lnTo>
                      <a:lnTo>
                        <a:pt x="242" y="98"/>
                      </a:lnTo>
                      <a:lnTo>
                        <a:pt x="244" y="98"/>
                      </a:lnTo>
                      <a:lnTo>
                        <a:pt x="244" y="96"/>
                      </a:lnTo>
                      <a:lnTo>
                        <a:pt x="246" y="96"/>
                      </a:lnTo>
                      <a:lnTo>
                        <a:pt x="248" y="98"/>
                      </a:lnTo>
                      <a:lnTo>
                        <a:pt x="254" y="98"/>
                      </a:lnTo>
                      <a:lnTo>
                        <a:pt x="258" y="104"/>
                      </a:lnTo>
                      <a:lnTo>
                        <a:pt x="260" y="106"/>
                      </a:lnTo>
                      <a:lnTo>
                        <a:pt x="262" y="106"/>
                      </a:lnTo>
                      <a:lnTo>
                        <a:pt x="272" y="96"/>
                      </a:lnTo>
                      <a:lnTo>
                        <a:pt x="274" y="94"/>
                      </a:lnTo>
                      <a:lnTo>
                        <a:pt x="276" y="96"/>
                      </a:lnTo>
                      <a:lnTo>
                        <a:pt x="282" y="92"/>
                      </a:lnTo>
                      <a:lnTo>
                        <a:pt x="282" y="90"/>
                      </a:lnTo>
                      <a:lnTo>
                        <a:pt x="284" y="90"/>
                      </a:lnTo>
                      <a:lnTo>
                        <a:pt x="288" y="80"/>
                      </a:lnTo>
                      <a:lnTo>
                        <a:pt x="288" y="70"/>
                      </a:lnTo>
                      <a:lnTo>
                        <a:pt x="286" y="70"/>
                      </a:lnTo>
                      <a:lnTo>
                        <a:pt x="284" y="70"/>
                      </a:lnTo>
                      <a:lnTo>
                        <a:pt x="282" y="66"/>
                      </a:lnTo>
                      <a:lnTo>
                        <a:pt x="278" y="60"/>
                      </a:lnTo>
                      <a:lnTo>
                        <a:pt x="278" y="58"/>
                      </a:lnTo>
                      <a:lnTo>
                        <a:pt x="280" y="58"/>
                      </a:lnTo>
                      <a:lnTo>
                        <a:pt x="278" y="54"/>
                      </a:lnTo>
                      <a:lnTo>
                        <a:pt x="276" y="54"/>
                      </a:lnTo>
                      <a:lnTo>
                        <a:pt x="276" y="52"/>
                      </a:lnTo>
                      <a:lnTo>
                        <a:pt x="276" y="50"/>
                      </a:lnTo>
                      <a:lnTo>
                        <a:pt x="282" y="30"/>
                      </a:lnTo>
                      <a:lnTo>
                        <a:pt x="284" y="30"/>
                      </a:lnTo>
                      <a:lnTo>
                        <a:pt x="286" y="30"/>
                      </a:lnTo>
                      <a:lnTo>
                        <a:pt x="288" y="28"/>
                      </a:lnTo>
                      <a:lnTo>
                        <a:pt x="286" y="26"/>
                      </a:lnTo>
                      <a:lnTo>
                        <a:pt x="288" y="20"/>
                      </a:lnTo>
                      <a:lnTo>
                        <a:pt x="288" y="18"/>
                      </a:lnTo>
                      <a:lnTo>
                        <a:pt x="290" y="18"/>
                      </a:lnTo>
                      <a:lnTo>
                        <a:pt x="296" y="16"/>
                      </a:lnTo>
                      <a:lnTo>
                        <a:pt x="298" y="16"/>
                      </a:lnTo>
                      <a:lnTo>
                        <a:pt x="298" y="14"/>
                      </a:lnTo>
                      <a:lnTo>
                        <a:pt x="300" y="14"/>
                      </a:lnTo>
                      <a:lnTo>
                        <a:pt x="304" y="4"/>
                      </a:lnTo>
                      <a:lnTo>
                        <a:pt x="304" y="2"/>
                      </a:lnTo>
                      <a:lnTo>
                        <a:pt x="304" y="0"/>
                      </a:lnTo>
                      <a:lnTo>
                        <a:pt x="306" y="0"/>
                      </a:lnTo>
                      <a:lnTo>
                        <a:pt x="308" y="4"/>
                      </a:lnTo>
                      <a:lnTo>
                        <a:pt x="314" y="8"/>
                      </a:lnTo>
                      <a:lnTo>
                        <a:pt x="316" y="8"/>
                      </a:lnTo>
                      <a:lnTo>
                        <a:pt x="316" y="10"/>
                      </a:lnTo>
                      <a:lnTo>
                        <a:pt x="328" y="12"/>
                      </a:lnTo>
                      <a:lnTo>
                        <a:pt x="330" y="14"/>
                      </a:lnTo>
                      <a:lnTo>
                        <a:pt x="334" y="18"/>
                      </a:lnTo>
                      <a:lnTo>
                        <a:pt x="346" y="18"/>
                      </a:lnTo>
                      <a:lnTo>
                        <a:pt x="348" y="18"/>
                      </a:lnTo>
                      <a:lnTo>
                        <a:pt x="350" y="18"/>
                      </a:lnTo>
                      <a:lnTo>
                        <a:pt x="368" y="28"/>
                      </a:lnTo>
                      <a:lnTo>
                        <a:pt x="370" y="28"/>
                      </a:lnTo>
                      <a:lnTo>
                        <a:pt x="372" y="30"/>
                      </a:lnTo>
                      <a:lnTo>
                        <a:pt x="374" y="30"/>
                      </a:lnTo>
                      <a:lnTo>
                        <a:pt x="376" y="28"/>
                      </a:lnTo>
                      <a:lnTo>
                        <a:pt x="378" y="28"/>
                      </a:lnTo>
                      <a:lnTo>
                        <a:pt x="382" y="30"/>
                      </a:lnTo>
                      <a:lnTo>
                        <a:pt x="386" y="32"/>
                      </a:lnTo>
                      <a:lnTo>
                        <a:pt x="392" y="34"/>
                      </a:lnTo>
                      <a:lnTo>
                        <a:pt x="396" y="36"/>
                      </a:lnTo>
                      <a:lnTo>
                        <a:pt x="394" y="38"/>
                      </a:lnTo>
                      <a:lnTo>
                        <a:pt x="394" y="40"/>
                      </a:lnTo>
                      <a:lnTo>
                        <a:pt x="394" y="46"/>
                      </a:lnTo>
                      <a:lnTo>
                        <a:pt x="394" y="50"/>
                      </a:lnTo>
                      <a:lnTo>
                        <a:pt x="396" y="50"/>
                      </a:lnTo>
                      <a:lnTo>
                        <a:pt x="396" y="52"/>
                      </a:lnTo>
                      <a:lnTo>
                        <a:pt x="396" y="56"/>
                      </a:lnTo>
                      <a:lnTo>
                        <a:pt x="396" y="58"/>
                      </a:lnTo>
                      <a:lnTo>
                        <a:pt x="396" y="60"/>
                      </a:lnTo>
                      <a:lnTo>
                        <a:pt x="400" y="62"/>
                      </a:lnTo>
                      <a:lnTo>
                        <a:pt x="398" y="64"/>
                      </a:lnTo>
                      <a:lnTo>
                        <a:pt x="398" y="68"/>
                      </a:lnTo>
                      <a:lnTo>
                        <a:pt x="400" y="70"/>
                      </a:lnTo>
                      <a:lnTo>
                        <a:pt x="402" y="70"/>
                      </a:lnTo>
                      <a:lnTo>
                        <a:pt x="404" y="72"/>
                      </a:lnTo>
                      <a:lnTo>
                        <a:pt x="406" y="74"/>
                      </a:lnTo>
                      <a:lnTo>
                        <a:pt x="406" y="76"/>
                      </a:lnTo>
                      <a:lnTo>
                        <a:pt x="408" y="76"/>
                      </a:lnTo>
                      <a:lnTo>
                        <a:pt x="410" y="76"/>
                      </a:lnTo>
                      <a:lnTo>
                        <a:pt x="412" y="78"/>
                      </a:lnTo>
                      <a:lnTo>
                        <a:pt x="414" y="80"/>
                      </a:lnTo>
                      <a:lnTo>
                        <a:pt x="424" y="80"/>
                      </a:lnTo>
                      <a:lnTo>
                        <a:pt x="424" y="82"/>
                      </a:lnTo>
                      <a:lnTo>
                        <a:pt x="424" y="84"/>
                      </a:lnTo>
                      <a:lnTo>
                        <a:pt x="426" y="86"/>
                      </a:lnTo>
                      <a:lnTo>
                        <a:pt x="432" y="86"/>
                      </a:lnTo>
                      <a:lnTo>
                        <a:pt x="434" y="88"/>
                      </a:lnTo>
                      <a:lnTo>
                        <a:pt x="436" y="88"/>
                      </a:lnTo>
                      <a:lnTo>
                        <a:pt x="438" y="86"/>
                      </a:lnTo>
                      <a:lnTo>
                        <a:pt x="440" y="84"/>
                      </a:lnTo>
                      <a:lnTo>
                        <a:pt x="440" y="86"/>
                      </a:lnTo>
                      <a:lnTo>
                        <a:pt x="442" y="86"/>
                      </a:lnTo>
                      <a:lnTo>
                        <a:pt x="444" y="88"/>
                      </a:lnTo>
                      <a:lnTo>
                        <a:pt x="446" y="88"/>
                      </a:lnTo>
                      <a:lnTo>
                        <a:pt x="452" y="86"/>
                      </a:lnTo>
                      <a:lnTo>
                        <a:pt x="452" y="84"/>
                      </a:lnTo>
                      <a:lnTo>
                        <a:pt x="456" y="80"/>
                      </a:lnTo>
                      <a:lnTo>
                        <a:pt x="458" y="80"/>
                      </a:lnTo>
                      <a:lnTo>
                        <a:pt x="460" y="80"/>
                      </a:lnTo>
                      <a:lnTo>
                        <a:pt x="462" y="78"/>
                      </a:lnTo>
                      <a:lnTo>
                        <a:pt x="464" y="78"/>
                      </a:lnTo>
                      <a:lnTo>
                        <a:pt x="470" y="76"/>
                      </a:lnTo>
                      <a:lnTo>
                        <a:pt x="472" y="76"/>
                      </a:lnTo>
                      <a:lnTo>
                        <a:pt x="476" y="76"/>
                      </a:lnTo>
                      <a:lnTo>
                        <a:pt x="478" y="74"/>
                      </a:lnTo>
                      <a:lnTo>
                        <a:pt x="480" y="74"/>
                      </a:lnTo>
                      <a:lnTo>
                        <a:pt x="480" y="72"/>
                      </a:lnTo>
                      <a:lnTo>
                        <a:pt x="500" y="76"/>
                      </a:lnTo>
                      <a:lnTo>
                        <a:pt x="500" y="78"/>
                      </a:lnTo>
                      <a:lnTo>
                        <a:pt x="506" y="80"/>
                      </a:lnTo>
                      <a:lnTo>
                        <a:pt x="506" y="82"/>
                      </a:lnTo>
                      <a:lnTo>
                        <a:pt x="506" y="80"/>
                      </a:lnTo>
                      <a:lnTo>
                        <a:pt x="512" y="80"/>
                      </a:lnTo>
                      <a:lnTo>
                        <a:pt x="514" y="78"/>
                      </a:lnTo>
                      <a:lnTo>
                        <a:pt x="516" y="78"/>
                      </a:lnTo>
                      <a:lnTo>
                        <a:pt x="518" y="80"/>
                      </a:lnTo>
                      <a:lnTo>
                        <a:pt x="520" y="80"/>
                      </a:lnTo>
                      <a:lnTo>
                        <a:pt x="526" y="86"/>
                      </a:lnTo>
                      <a:lnTo>
                        <a:pt x="528" y="88"/>
                      </a:lnTo>
                      <a:lnTo>
                        <a:pt x="528" y="90"/>
                      </a:lnTo>
                      <a:lnTo>
                        <a:pt x="530" y="92"/>
                      </a:lnTo>
                      <a:lnTo>
                        <a:pt x="546" y="94"/>
                      </a:lnTo>
                      <a:lnTo>
                        <a:pt x="548" y="96"/>
                      </a:lnTo>
                      <a:lnTo>
                        <a:pt x="552" y="96"/>
                      </a:lnTo>
                      <a:lnTo>
                        <a:pt x="552" y="106"/>
                      </a:lnTo>
                      <a:lnTo>
                        <a:pt x="556" y="112"/>
                      </a:lnTo>
                      <a:lnTo>
                        <a:pt x="558" y="112"/>
                      </a:lnTo>
                      <a:lnTo>
                        <a:pt x="568" y="122"/>
                      </a:lnTo>
                      <a:lnTo>
                        <a:pt x="570" y="122"/>
                      </a:lnTo>
                      <a:lnTo>
                        <a:pt x="572" y="122"/>
                      </a:lnTo>
                      <a:lnTo>
                        <a:pt x="580" y="120"/>
                      </a:lnTo>
                      <a:lnTo>
                        <a:pt x="580" y="122"/>
                      </a:lnTo>
                      <a:lnTo>
                        <a:pt x="586" y="122"/>
                      </a:lnTo>
                      <a:lnTo>
                        <a:pt x="586" y="120"/>
                      </a:lnTo>
                      <a:lnTo>
                        <a:pt x="590" y="122"/>
                      </a:lnTo>
                      <a:lnTo>
                        <a:pt x="594" y="124"/>
                      </a:lnTo>
                      <a:lnTo>
                        <a:pt x="594" y="126"/>
                      </a:lnTo>
                      <a:lnTo>
                        <a:pt x="596" y="126"/>
                      </a:lnTo>
                      <a:lnTo>
                        <a:pt x="612" y="128"/>
                      </a:lnTo>
                      <a:lnTo>
                        <a:pt x="614" y="128"/>
                      </a:lnTo>
                      <a:lnTo>
                        <a:pt x="616" y="128"/>
                      </a:lnTo>
                      <a:lnTo>
                        <a:pt x="618" y="126"/>
                      </a:lnTo>
                      <a:lnTo>
                        <a:pt x="626" y="128"/>
                      </a:lnTo>
                      <a:lnTo>
                        <a:pt x="626" y="130"/>
                      </a:lnTo>
                      <a:lnTo>
                        <a:pt x="628" y="130"/>
                      </a:lnTo>
                      <a:lnTo>
                        <a:pt x="634" y="128"/>
                      </a:lnTo>
                      <a:lnTo>
                        <a:pt x="638" y="124"/>
                      </a:lnTo>
                      <a:lnTo>
                        <a:pt x="640" y="124"/>
                      </a:lnTo>
                      <a:lnTo>
                        <a:pt x="640" y="122"/>
                      </a:lnTo>
                      <a:lnTo>
                        <a:pt x="648" y="120"/>
                      </a:lnTo>
                      <a:lnTo>
                        <a:pt x="648" y="122"/>
                      </a:lnTo>
                      <a:lnTo>
                        <a:pt x="650" y="122"/>
                      </a:lnTo>
                      <a:lnTo>
                        <a:pt x="650" y="120"/>
                      </a:lnTo>
                      <a:lnTo>
                        <a:pt x="652" y="120"/>
                      </a:lnTo>
                      <a:lnTo>
                        <a:pt x="652" y="118"/>
                      </a:lnTo>
                      <a:lnTo>
                        <a:pt x="662" y="118"/>
                      </a:lnTo>
                      <a:lnTo>
                        <a:pt x="666" y="116"/>
                      </a:lnTo>
                      <a:lnTo>
                        <a:pt x="668" y="116"/>
                      </a:lnTo>
                      <a:lnTo>
                        <a:pt x="676" y="112"/>
                      </a:lnTo>
                      <a:lnTo>
                        <a:pt x="678" y="112"/>
                      </a:lnTo>
                      <a:lnTo>
                        <a:pt x="680" y="114"/>
                      </a:lnTo>
                      <a:lnTo>
                        <a:pt x="682" y="114"/>
                      </a:lnTo>
                      <a:lnTo>
                        <a:pt x="684" y="114"/>
                      </a:lnTo>
                      <a:lnTo>
                        <a:pt x="686" y="114"/>
                      </a:lnTo>
                      <a:lnTo>
                        <a:pt x="694" y="110"/>
                      </a:lnTo>
                      <a:lnTo>
                        <a:pt x="694" y="108"/>
                      </a:lnTo>
                      <a:lnTo>
                        <a:pt x="696" y="102"/>
                      </a:lnTo>
                      <a:lnTo>
                        <a:pt x="702" y="96"/>
                      </a:lnTo>
                      <a:lnTo>
                        <a:pt x="704" y="94"/>
                      </a:lnTo>
                      <a:lnTo>
                        <a:pt x="710" y="90"/>
                      </a:lnTo>
                      <a:lnTo>
                        <a:pt x="712" y="90"/>
                      </a:lnTo>
                      <a:lnTo>
                        <a:pt x="714" y="90"/>
                      </a:lnTo>
                      <a:lnTo>
                        <a:pt x="716" y="88"/>
                      </a:lnTo>
                      <a:lnTo>
                        <a:pt x="716" y="86"/>
                      </a:lnTo>
                      <a:lnTo>
                        <a:pt x="718" y="86"/>
                      </a:lnTo>
                      <a:lnTo>
                        <a:pt x="722" y="82"/>
                      </a:lnTo>
                      <a:lnTo>
                        <a:pt x="724" y="82"/>
                      </a:lnTo>
                      <a:lnTo>
                        <a:pt x="726" y="82"/>
                      </a:lnTo>
                      <a:lnTo>
                        <a:pt x="728" y="82"/>
                      </a:lnTo>
                      <a:lnTo>
                        <a:pt x="734" y="82"/>
                      </a:lnTo>
                      <a:lnTo>
                        <a:pt x="736" y="82"/>
                      </a:lnTo>
                      <a:lnTo>
                        <a:pt x="740" y="84"/>
                      </a:lnTo>
                      <a:lnTo>
                        <a:pt x="746" y="88"/>
                      </a:lnTo>
                      <a:lnTo>
                        <a:pt x="756" y="98"/>
                      </a:lnTo>
                      <a:lnTo>
                        <a:pt x="758" y="98"/>
                      </a:lnTo>
                      <a:lnTo>
                        <a:pt x="760" y="98"/>
                      </a:lnTo>
                      <a:lnTo>
                        <a:pt x="762" y="98"/>
                      </a:lnTo>
                      <a:lnTo>
                        <a:pt x="764" y="98"/>
                      </a:lnTo>
                      <a:lnTo>
                        <a:pt x="766" y="98"/>
                      </a:lnTo>
                      <a:lnTo>
                        <a:pt x="768" y="98"/>
                      </a:lnTo>
                      <a:lnTo>
                        <a:pt x="774" y="94"/>
                      </a:lnTo>
                      <a:lnTo>
                        <a:pt x="776" y="94"/>
                      </a:lnTo>
                      <a:lnTo>
                        <a:pt x="776" y="92"/>
                      </a:lnTo>
                      <a:lnTo>
                        <a:pt x="780" y="92"/>
                      </a:lnTo>
                      <a:lnTo>
                        <a:pt x="780" y="94"/>
                      </a:lnTo>
                      <a:lnTo>
                        <a:pt x="784" y="94"/>
                      </a:lnTo>
                      <a:lnTo>
                        <a:pt x="790" y="96"/>
                      </a:lnTo>
                      <a:lnTo>
                        <a:pt x="792" y="100"/>
                      </a:lnTo>
                      <a:lnTo>
                        <a:pt x="774" y="140"/>
                      </a:lnTo>
                      <a:lnTo>
                        <a:pt x="774" y="144"/>
                      </a:lnTo>
                      <a:lnTo>
                        <a:pt x="772" y="148"/>
                      </a:lnTo>
                      <a:lnTo>
                        <a:pt x="770" y="150"/>
                      </a:lnTo>
                      <a:lnTo>
                        <a:pt x="768" y="156"/>
                      </a:lnTo>
                      <a:lnTo>
                        <a:pt x="768" y="166"/>
                      </a:lnTo>
                      <a:lnTo>
                        <a:pt x="760" y="170"/>
                      </a:lnTo>
                      <a:lnTo>
                        <a:pt x="762" y="180"/>
                      </a:lnTo>
                      <a:lnTo>
                        <a:pt x="770" y="190"/>
                      </a:lnTo>
                      <a:lnTo>
                        <a:pt x="772" y="190"/>
                      </a:lnTo>
                      <a:lnTo>
                        <a:pt x="776" y="184"/>
                      </a:lnTo>
                      <a:lnTo>
                        <a:pt x="780" y="182"/>
                      </a:lnTo>
                      <a:lnTo>
                        <a:pt x="794" y="182"/>
                      </a:lnTo>
                      <a:lnTo>
                        <a:pt x="796" y="182"/>
                      </a:lnTo>
                      <a:lnTo>
                        <a:pt x="802" y="184"/>
                      </a:lnTo>
                      <a:lnTo>
                        <a:pt x="808" y="190"/>
                      </a:lnTo>
                      <a:lnTo>
                        <a:pt x="810" y="190"/>
                      </a:lnTo>
                      <a:lnTo>
                        <a:pt x="816" y="182"/>
                      </a:lnTo>
                      <a:lnTo>
                        <a:pt x="822" y="176"/>
                      </a:lnTo>
                      <a:lnTo>
                        <a:pt x="842" y="176"/>
                      </a:lnTo>
                      <a:lnTo>
                        <a:pt x="848" y="186"/>
                      </a:lnTo>
                      <a:lnTo>
                        <a:pt x="858" y="190"/>
                      </a:lnTo>
                      <a:lnTo>
                        <a:pt x="858" y="196"/>
                      </a:lnTo>
                      <a:lnTo>
                        <a:pt x="862" y="196"/>
                      </a:lnTo>
                      <a:lnTo>
                        <a:pt x="864" y="200"/>
                      </a:lnTo>
                      <a:lnTo>
                        <a:pt x="866" y="204"/>
                      </a:lnTo>
                      <a:lnTo>
                        <a:pt x="868" y="204"/>
                      </a:lnTo>
                      <a:lnTo>
                        <a:pt x="876" y="212"/>
                      </a:lnTo>
                      <a:lnTo>
                        <a:pt x="876" y="218"/>
                      </a:lnTo>
                      <a:lnTo>
                        <a:pt x="880" y="222"/>
                      </a:lnTo>
                      <a:lnTo>
                        <a:pt x="880" y="228"/>
                      </a:lnTo>
                      <a:lnTo>
                        <a:pt x="880" y="230"/>
                      </a:lnTo>
                      <a:lnTo>
                        <a:pt x="876" y="234"/>
                      </a:lnTo>
                      <a:lnTo>
                        <a:pt x="874" y="234"/>
                      </a:lnTo>
                      <a:lnTo>
                        <a:pt x="872" y="232"/>
                      </a:lnTo>
                      <a:lnTo>
                        <a:pt x="870" y="232"/>
                      </a:lnTo>
                      <a:lnTo>
                        <a:pt x="868" y="232"/>
                      </a:lnTo>
                      <a:lnTo>
                        <a:pt x="866" y="232"/>
                      </a:lnTo>
                      <a:lnTo>
                        <a:pt x="864" y="232"/>
                      </a:lnTo>
                      <a:lnTo>
                        <a:pt x="864" y="234"/>
                      </a:lnTo>
                      <a:lnTo>
                        <a:pt x="858" y="230"/>
                      </a:lnTo>
                      <a:lnTo>
                        <a:pt x="856" y="230"/>
                      </a:lnTo>
                      <a:lnTo>
                        <a:pt x="852" y="226"/>
                      </a:lnTo>
                      <a:lnTo>
                        <a:pt x="848" y="228"/>
                      </a:lnTo>
                      <a:lnTo>
                        <a:pt x="848" y="230"/>
                      </a:lnTo>
                      <a:lnTo>
                        <a:pt x="840" y="230"/>
                      </a:lnTo>
                      <a:lnTo>
                        <a:pt x="838" y="228"/>
                      </a:lnTo>
                      <a:lnTo>
                        <a:pt x="836" y="228"/>
                      </a:lnTo>
                      <a:lnTo>
                        <a:pt x="834" y="228"/>
                      </a:lnTo>
                      <a:lnTo>
                        <a:pt x="826" y="232"/>
                      </a:lnTo>
                      <a:lnTo>
                        <a:pt x="822" y="234"/>
                      </a:lnTo>
                      <a:lnTo>
                        <a:pt x="822" y="236"/>
                      </a:lnTo>
                      <a:lnTo>
                        <a:pt x="820" y="236"/>
                      </a:lnTo>
                      <a:lnTo>
                        <a:pt x="816" y="234"/>
                      </a:lnTo>
                      <a:lnTo>
                        <a:pt x="810" y="234"/>
                      </a:lnTo>
                      <a:lnTo>
                        <a:pt x="812" y="236"/>
                      </a:lnTo>
                      <a:lnTo>
                        <a:pt x="810" y="240"/>
                      </a:lnTo>
                      <a:lnTo>
                        <a:pt x="810" y="242"/>
                      </a:lnTo>
                      <a:lnTo>
                        <a:pt x="794" y="242"/>
                      </a:lnTo>
                      <a:lnTo>
                        <a:pt x="794" y="244"/>
                      </a:lnTo>
                      <a:lnTo>
                        <a:pt x="790" y="24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0" name="Freeform 3004"/>
                <p:cNvSpPr>
                  <a:spLocks/>
                </p:cNvSpPr>
                <p:nvPr/>
              </p:nvSpPr>
              <p:spPr bwMode="auto">
                <a:xfrm>
                  <a:off x="3282235" y="3046378"/>
                  <a:ext cx="627508" cy="303365"/>
                </a:xfrm>
                <a:custGeom>
                  <a:avLst/>
                  <a:gdLst/>
                  <a:ahLst/>
                  <a:cxnLst>
                    <a:cxn ang="0">
                      <a:pos x="154" y="106"/>
                    </a:cxn>
                    <a:cxn ang="0">
                      <a:pos x="138" y="114"/>
                    </a:cxn>
                    <a:cxn ang="0">
                      <a:pos x="126" y="128"/>
                    </a:cxn>
                    <a:cxn ang="0">
                      <a:pos x="112" y="138"/>
                    </a:cxn>
                    <a:cxn ang="0">
                      <a:pos x="94" y="140"/>
                    </a:cxn>
                    <a:cxn ang="0">
                      <a:pos x="84" y="144"/>
                    </a:cxn>
                    <a:cxn ang="0">
                      <a:pos x="74" y="140"/>
                    </a:cxn>
                    <a:cxn ang="0">
                      <a:pos x="68" y="140"/>
                    </a:cxn>
                    <a:cxn ang="0">
                      <a:pos x="62" y="136"/>
                    </a:cxn>
                    <a:cxn ang="0">
                      <a:pos x="50" y="134"/>
                    </a:cxn>
                    <a:cxn ang="0">
                      <a:pos x="40" y="138"/>
                    </a:cxn>
                    <a:cxn ang="0">
                      <a:pos x="28" y="134"/>
                    </a:cxn>
                    <a:cxn ang="0">
                      <a:pos x="14" y="132"/>
                    </a:cxn>
                    <a:cxn ang="0">
                      <a:pos x="2" y="132"/>
                    </a:cxn>
                    <a:cxn ang="0">
                      <a:pos x="4" y="120"/>
                    </a:cxn>
                    <a:cxn ang="0">
                      <a:pos x="6" y="116"/>
                    </a:cxn>
                    <a:cxn ang="0">
                      <a:pos x="30" y="116"/>
                    </a:cxn>
                    <a:cxn ang="0">
                      <a:pos x="32" y="118"/>
                    </a:cxn>
                    <a:cxn ang="0">
                      <a:pos x="44" y="112"/>
                    </a:cxn>
                    <a:cxn ang="0">
                      <a:pos x="48" y="108"/>
                    </a:cxn>
                    <a:cxn ang="0">
                      <a:pos x="60" y="108"/>
                    </a:cxn>
                    <a:cxn ang="0">
                      <a:pos x="76" y="108"/>
                    </a:cxn>
                    <a:cxn ang="0">
                      <a:pos x="86" y="104"/>
                    </a:cxn>
                    <a:cxn ang="0">
                      <a:pos x="98" y="94"/>
                    </a:cxn>
                    <a:cxn ang="0">
                      <a:pos x="80" y="82"/>
                    </a:cxn>
                    <a:cxn ang="0">
                      <a:pos x="72" y="76"/>
                    </a:cxn>
                    <a:cxn ang="0">
                      <a:pos x="64" y="62"/>
                    </a:cxn>
                    <a:cxn ang="0">
                      <a:pos x="62" y="70"/>
                    </a:cxn>
                    <a:cxn ang="0">
                      <a:pos x="52" y="76"/>
                    </a:cxn>
                    <a:cxn ang="0">
                      <a:pos x="38" y="64"/>
                    </a:cxn>
                    <a:cxn ang="0">
                      <a:pos x="30" y="64"/>
                    </a:cxn>
                    <a:cxn ang="0">
                      <a:pos x="34" y="56"/>
                    </a:cxn>
                    <a:cxn ang="0">
                      <a:pos x="44" y="44"/>
                    </a:cxn>
                    <a:cxn ang="0">
                      <a:pos x="50" y="34"/>
                    </a:cxn>
                    <a:cxn ang="0">
                      <a:pos x="46" y="32"/>
                    </a:cxn>
                    <a:cxn ang="0">
                      <a:pos x="52" y="20"/>
                    </a:cxn>
                    <a:cxn ang="0">
                      <a:pos x="66" y="16"/>
                    </a:cxn>
                    <a:cxn ang="0">
                      <a:pos x="80" y="16"/>
                    </a:cxn>
                    <a:cxn ang="0">
                      <a:pos x="102" y="26"/>
                    </a:cxn>
                    <a:cxn ang="0">
                      <a:pos x="116" y="30"/>
                    </a:cxn>
                    <a:cxn ang="0">
                      <a:pos x="116" y="16"/>
                    </a:cxn>
                    <a:cxn ang="0">
                      <a:pos x="138" y="0"/>
                    </a:cxn>
                    <a:cxn ang="0">
                      <a:pos x="150" y="8"/>
                    </a:cxn>
                    <a:cxn ang="0">
                      <a:pos x="174" y="16"/>
                    </a:cxn>
                    <a:cxn ang="0">
                      <a:pos x="202" y="12"/>
                    </a:cxn>
                    <a:cxn ang="0">
                      <a:pos x="216" y="10"/>
                    </a:cxn>
                    <a:cxn ang="0">
                      <a:pos x="254" y="12"/>
                    </a:cxn>
                    <a:cxn ang="0">
                      <a:pos x="272" y="18"/>
                    </a:cxn>
                    <a:cxn ang="0">
                      <a:pos x="276" y="24"/>
                    </a:cxn>
                    <a:cxn ang="0">
                      <a:pos x="284" y="28"/>
                    </a:cxn>
                    <a:cxn ang="0">
                      <a:pos x="290" y="44"/>
                    </a:cxn>
                    <a:cxn ang="0">
                      <a:pos x="260" y="62"/>
                    </a:cxn>
                    <a:cxn ang="0">
                      <a:pos x="248" y="72"/>
                    </a:cxn>
                    <a:cxn ang="0">
                      <a:pos x="242" y="80"/>
                    </a:cxn>
                    <a:cxn ang="0">
                      <a:pos x="226" y="82"/>
                    </a:cxn>
                    <a:cxn ang="0">
                      <a:pos x="208" y="82"/>
                    </a:cxn>
                    <a:cxn ang="0">
                      <a:pos x="198" y="98"/>
                    </a:cxn>
                    <a:cxn ang="0">
                      <a:pos x="190" y="104"/>
                    </a:cxn>
                    <a:cxn ang="0">
                      <a:pos x="176" y="108"/>
                    </a:cxn>
                    <a:cxn ang="0">
                      <a:pos x="172" y="94"/>
                    </a:cxn>
                    <a:cxn ang="0">
                      <a:pos x="156" y="102"/>
                    </a:cxn>
                    <a:cxn ang="0">
                      <a:pos x="152" y="100"/>
                    </a:cxn>
                  </a:cxnLst>
                  <a:rect l="0" t="0" r="r" b="b"/>
                  <a:pathLst>
                    <a:path w="302" h="146">
                      <a:moveTo>
                        <a:pt x="152" y="100"/>
                      </a:moveTo>
                      <a:lnTo>
                        <a:pt x="152" y="102"/>
                      </a:lnTo>
                      <a:lnTo>
                        <a:pt x="152" y="104"/>
                      </a:lnTo>
                      <a:lnTo>
                        <a:pt x="154" y="104"/>
                      </a:lnTo>
                      <a:lnTo>
                        <a:pt x="154" y="106"/>
                      </a:lnTo>
                      <a:lnTo>
                        <a:pt x="150" y="106"/>
                      </a:lnTo>
                      <a:lnTo>
                        <a:pt x="146" y="108"/>
                      </a:lnTo>
                      <a:lnTo>
                        <a:pt x="144" y="110"/>
                      </a:lnTo>
                      <a:lnTo>
                        <a:pt x="140" y="114"/>
                      </a:lnTo>
                      <a:lnTo>
                        <a:pt x="138" y="114"/>
                      </a:lnTo>
                      <a:lnTo>
                        <a:pt x="136" y="114"/>
                      </a:lnTo>
                      <a:lnTo>
                        <a:pt x="134" y="114"/>
                      </a:lnTo>
                      <a:lnTo>
                        <a:pt x="130" y="116"/>
                      </a:lnTo>
                      <a:lnTo>
                        <a:pt x="126" y="124"/>
                      </a:lnTo>
                      <a:lnTo>
                        <a:pt x="126" y="128"/>
                      </a:lnTo>
                      <a:lnTo>
                        <a:pt x="128" y="132"/>
                      </a:lnTo>
                      <a:lnTo>
                        <a:pt x="126" y="136"/>
                      </a:lnTo>
                      <a:lnTo>
                        <a:pt x="120" y="138"/>
                      </a:lnTo>
                      <a:lnTo>
                        <a:pt x="116" y="136"/>
                      </a:lnTo>
                      <a:lnTo>
                        <a:pt x="112" y="138"/>
                      </a:lnTo>
                      <a:lnTo>
                        <a:pt x="112" y="140"/>
                      </a:lnTo>
                      <a:lnTo>
                        <a:pt x="108" y="140"/>
                      </a:lnTo>
                      <a:lnTo>
                        <a:pt x="98" y="140"/>
                      </a:lnTo>
                      <a:lnTo>
                        <a:pt x="96" y="140"/>
                      </a:lnTo>
                      <a:lnTo>
                        <a:pt x="94" y="140"/>
                      </a:lnTo>
                      <a:lnTo>
                        <a:pt x="92" y="140"/>
                      </a:lnTo>
                      <a:lnTo>
                        <a:pt x="90" y="140"/>
                      </a:lnTo>
                      <a:lnTo>
                        <a:pt x="86" y="140"/>
                      </a:lnTo>
                      <a:lnTo>
                        <a:pt x="84" y="142"/>
                      </a:lnTo>
                      <a:lnTo>
                        <a:pt x="84" y="144"/>
                      </a:lnTo>
                      <a:lnTo>
                        <a:pt x="82" y="146"/>
                      </a:lnTo>
                      <a:lnTo>
                        <a:pt x="78" y="144"/>
                      </a:lnTo>
                      <a:lnTo>
                        <a:pt x="78" y="140"/>
                      </a:lnTo>
                      <a:lnTo>
                        <a:pt x="76" y="140"/>
                      </a:lnTo>
                      <a:lnTo>
                        <a:pt x="74" y="140"/>
                      </a:lnTo>
                      <a:lnTo>
                        <a:pt x="72" y="142"/>
                      </a:lnTo>
                      <a:lnTo>
                        <a:pt x="70" y="144"/>
                      </a:lnTo>
                      <a:lnTo>
                        <a:pt x="68" y="144"/>
                      </a:lnTo>
                      <a:lnTo>
                        <a:pt x="68" y="142"/>
                      </a:lnTo>
                      <a:lnTo>
                        <a:pt x="68" y="140"/>
                      </a:lnTo>
                      <a:lnTo>
                        <a:pt x="68" y="138"/>
                      </a:lnTo>
                      <a:lnTo>
                        <a:pt x="68" y="136"/>
                      </a:lnTo>
                      <a:lnTo>
                        <a:pt x="66" y="138"/>
                      </a:lnTo>
                      <a:lnTo>
                        <a:pt x="62" y="138"/>
                      </a:lnTo>
                      <a:lnTo>
                        <a:pt x="62" y="136"/>
                      </a:lnTo>
                      <a:lnTo>
                        <a:pt x="62" y="134"/>
                      </a:lnTo>
                      <a:lnTo>
                        <a:pt x="60" y="132"/>
                      </a:lnTo>
                      <a:lnTo>
                        <a:pt x="58" y="132"/>
                      </a:lnTo>
                      <a:lnTo>
                        <a:pt x="56" y="134"/>
                      </a:lnTo>
                      <a:lnTo>
                        <a:pt x="50" y="134"/>
                      </a:lnTo>
                      <a:lnTo>
                        <a:pt x="50" y="136"/>
                      </a:lnTo>
                      <a:lnTo>
                        <a:pt x="50" y="138"/>
                      </a:lnTo>
                      <a:lnTo>
                        <a:pt x="48" y="138"/>
                      </a:lnTo>
                      <a:lnTo>
                        <a:pt x="48" y="140"/>
                      </a:lnTo>
                      <a:lnTo>
                        <a:pt x="40" y="138"/>
                      </a:lnTo>
                      <a:lnTo>
                        <a:pt x="38" y="136"/>
                      </a:lnTo>
                      <a:lnTo>
                        <a:pt x="38" y="134"/>
                      </a:lnTo>
                      <a:lnTo>
                        <a:pt x="34" y="132"/>
                      </a:lnTo>
                      <a:lnTo>
                        <a:pt x="30" y="132"/>
                      </a:lnTo>
                      <a:lnTo>
                        <a:pt x="28" y="134"/>
                      </a:lnTo>
                      <a:lnTo>
                        <a:pt x="26" y="134"/>
                      </a:lnTo>
                      <a:lnTo>
                        <a:pt x="26" y="132"/>
                      </a:lnTo>
                      <a:lnTo>
                        <a:pt x="20" y="134"/>
                      </a:lnTo>
                      <a:lnTo>
                        <a:pt x="14" y="134"/>
                      </a:lnTo>
                      <a:lnTo>
                        <a:pt x="14" y="132"/>
                      </a:lnTo>
                      <a:lnTo>
                        <a:pt x="8" y="132"/>
                      </a:lnTo>
                      <a:lnTo>
                        <a:pt x="8" y="134"/>
                      </a:lnTo>
                      <a:lnTo>
                        <a:pt x="2" y="134"/>
                      </a:lnTo>
                      <a:lnTo>
                        <a:pt x="0" y="134"/>
                      </a:lnTo>
                      <a:lnTo>
                        <a:pt x="2" y="132"/>
                      </a:lnTo>
                      <a:lnTo>
                        <a:pt x="2" y="128"/>
                      </a:lnTo>
                      <a:lnTo>
                        <a:pt x="0" y="128"/>
                      </a:lnTo>
                      <a:lnTo>
                        <a:pt x="0" y="124"/>
                      </a:lnTo>
                      <a:lnTo>
                        <a:pt x="2" y="118"/>
                      </a:lnTo>
                      <a:lnTo>
                        <a:pt x="4" y="120"/>
                      </a:lnTo>
                      <a:lnTo>
                        <a:pt x="4" y="122"/>
                      </a:lnTo>
                      <a:lnTo>
                        <a:pt x="6" y="120"/>
                      </a:lnTo>
                      <a:lnTo>
                        <a:pt x="8" y="120"/>
                      </a:lnTo>
                      <a:lnTo>
                        <a:pt x="6" y="120"/>
                      </a:lnTo>
                      <a:lnTo>
                        <a:pt x="6" y="116"/>
                      </a:lnTo>
                      <a:lnTo>
                        <a:pt x="8" y="114"/>
                      </a:lnTo>
                      <a:lnTo>
                        <a:pt x="10" y="114"/>
                      </a:lnTo>
                      <a:lnTo>
                        <a:pt x="20" y="110"/>
                      </a:lnTo>
                      <a:lnTo>
                        <a:pt x="28" y="114"/>
                      </a:lnTo>
                      <a:lnTo>
                        <a:pt x="30" y="116"/>
                      </a:lnTo>
                      <a:lnTo>
                        <a:pt x="32" y="116"/>
                      </a:lnTo>
                      <a:lnTo>
                        <a:pt x="34" y="116"/>
                      </a:lnTo>
                      <a:lnTo>
                        <a:pt x="36" y="116"/>
                      </a:lnTo>
                      <a:lnTo>
                        <a:pt x="34" y="118"/>
                      </a:lnTo>
                      <a:lnTo>
                        <a:pt x="32" y="118"/>
                      </a:lnTo>
                      <a:lnTo>
                        <a:pt x="32" y="120"/>
                      </a:lnTo>
                      <a:lnTo>
                        <a:pt x="34" y="122"/>
                      </a:lnTo>
                      <a:lnTo>
                        <a:pt x="38" y="118"/>
                      </a:lnTo>
                      <a:lnTo>
                        <a:pt x="38" y="114"/>
                      </a:lnTo>
                      <a:lnTo>
                        <a:pt x="44" y="112"/>
                      </a:lnTo>
                      <a:lnTo>
                        <a:pt x="46" y="112"/>
                      </a:lnTo>
                      <a:lnTo>
                        <a:pt x="46" y="110"/>
                      </a:lnTo>
                      <a:lnTo>
                        <a:pt x="48" y="110"/>
                      </a:lnTo>
                      <a:lnTo>
                        <a:pt x="46" y="110"/>
                      </a:lnTo>
                      <a:lnTo>
                        <a:pt x="48" y="108"/>
                      </a:lnTo>
                      <a:lnTo>
                        <a:pt x="50" y="108"/>
                      </a:lnTo>
                      <a:lnTo>
                        <a:pt x="54" y="108"/>
                      </a:lnTo>
                      <a:lnTo>
                        <a:pt x="56" y="106"/>
                      </a:lnTo>
                      <a:lnTo>
                        <a:pt x="58" y="106"/>
                      </a:lnTo>
                      <a:lnTo>
                        <a:pt x="60" y="108"/>
                      </a:lnTo>
                      <a:lnTo>
                        <a:pt x="60" y="110"/>
                      </a:lnTo>
                      <a:lnTo>
                        <a:pt x="62" y="110"/>
                      </a:lnTo>
                      <a:lnTo>
                        <a:pt x="68" y="112"/>
                      </a:lnTo>
                      <a:lnTo>
                        <a:pt x="72" y="110"/>
                      </a:lnTo>
                      <a:lnTo>
                        <a:pt x="76" y="108"/>
                      </a:lnTo>
                      <a:lnTo>
                        <a:pt x="74" y="106"/>
                      </a:lnTo>
                      <a:lnTo>
                        <a:pt x="78" y="102"/>
                      </a:lnTo>
                      <a:lnTo>
                        <a:pt x="80" y="102"/>
                      </a:lnTo>
                      <a:lnTo>
                        <a:pt x="82" y="102"/>
                      </a:lnTo>
                      <a:lnTo>
                        <a:pt x="86" y="104"/>
                      </a:lnTo>
                      <a:lnTo>
                        <a:pt x="86" y="100"/>
                      </a:lnTo>
                      <a:lnTo>
                        <a:pt x="86" y="98"/>
                      </a:lnTo>
                      <a:lnTo>
                        <a:pt x="86" y="96"/>
                      </a:lnTo>
                      <a:lnTo>
                        <a:pt x="92" y="100"/>
                      </a:lnTo>
                      <a:lnTo>
                        <a:pt x="98" y="94"/>
                      </a:lnTo>
                      <a:lnTo>
                        <a:pt x="106" y="88"/>
                      </a:lnTo>
                      <a:lnTo>
                        <a:pt x="92" y="86"/>
                      </a:lnTo>
                      <a:lnTo>
                        <a:pt x="88" y="82"/>
                      </a:lnTo>
                      <a:lnTo>
                        <a:pt x="86" y="80"/>
                      </a:lnTo>
                      <a:lnTo>
                        <a:pt x="80" y="82"/>
                      </a:lnTo>
                      <a:lnTo>
                        <a:pt x="80" y="80"/>
                      </a:lnTo>
                      <a:lnTo>
                        <a:pt x="80" y="76"/>
                      </a:lnTo>
                      <a:lnTo>
                        <a:pt x="80" y="74"/>
                      </a:lnTo>
                      <a:lnTo>
                        <a:pt x="78" y="76"/>
                      </a:lnTo>
                      <a:lnTo>
                        <a:pt x="72" y="76"/>
                      </a:lnTo>
                      <a:lnTo>
                        <a:pt x="72" y="74"/>
                      </a:lnTo>
                      <a:lnTo>
                        <a:pt x="72" y="72"/>
                      </a:lnTo>
                      <a:lnTo>
                        <a:pt x="72" y="70"/>
                      </a:lnTo>
                      <a:lnTo>
                        <a:pt x="66" y="62"/>
                      </a:lnTo>
                      <a:lnTo>
                        <a:pt x="64" y="62"/>
                      </a:lnTo>
                      <a:lnTo>
                        <a:pt x="64" y="64"/>
                      </a:lnTo>
                      <a:lnTo>
                        <a:pt x="66" y="64"/>
                      </a:lnTo>
                      <a:lnTo>
                        <a:pt x="66" y="68"/>
                      </a:lnTo>
                      <a:lnTo>
                        <a:pt x="64" y="70"/>
                      </a:lnTo>
                      <a:lnTo>
                        <a:pt x="62" y="70"/>
                      </a:lnTo>
                      <a:lnTo>
                        <a:pt x="60" y="70"/>
                      </a:lnTo>
                      <a:lnTo>
                        <a:pt x="60" y="76"/>
                      </a:lnTo>
                      <a:lnTo>
                        <a:pt x="58" y="78"/>
                      </a:lnTo>
                      <a:lnTo>
                        <a:pt x="54" y="76"/>
                      </a:lnTo>
                      <a:lnTo>
                        <a:pt x="52" y="76"/>
                      </a:lnTo>
                      <a:lnTo>
                        <a:pt x="42" y="72"/>
                      </a:lnTo>
                      <a:lnTo>
                        <a:pt x="42" y="70"/>
                      </a:lnTo>
                      <a:lnTo>
                        <a:pt x="42" y="68"/>
                      </a:lnTo>
                      <a:lnTo>
                        <a:pt x="40" y="64"/>
                      </a:lnTo>
                      <a:lnTo>
                        <a:pt x="38" y="64"/>
                      </a:lnTo>
                      <a:lnTo>
                        <a:pt x="36" y="66"/>
                      </a:lnTo>
                      <a:lnTo>
                        <a:pt x="34" y="66"/>
                      </a:lnTo>
                      <a:lnTo>
                        <a:pt x="32" y="66"/>
                      </a:lnTo>
                      <a:lnTo>
                        <a:pt x="32" y="64"/>
                      </a:lnTo>
                      <a:lnTo>
                        <a:pt x="30" y="64"/>
                      </a:lnTo>
                      <a:lnTo>
                        <a:pt x="26" y="64"/>
                      </a:lnTo>
                      <a:lnTo>
                        <a:pt x="26" y="60"/>
                      </a:lnTo>
                      <a:lnTo>
                        <a:pt x="28" y="58"/>
                      </a:lnTo>
                      <a:lnTo>
                        <a:pt x="32" y="56"/>
                      </a:lnTo>
                      <a:lnTo>
                        <a:pt x="34" y="56"/>
                      </a:lnTo>
                      <a:lnTo>
                        <a:pt x="34" y="52"/>
                      </a:lnTo>
                      <a:lnTo>
                        <a:pt x="38" y="48"/>
                      </a:lnTo>
                      <a:lnTo>
                        <a:pt x="42" y="48"/>
                      </a:lnTo>
                      <a:lnTo>
                        <a:pt x="44" y="48"/>
                      </a:lnTo>
                      <a:lnTo>
                        <a:pt x="44" y="44"/>
                      </a:lnTo>
                      <a:lnTo>
                        <a:pt x="46" y="44"/>
                      </a:lnTo>
                      <a:lnTo>
                        <a:pt x="54" y="40"/>
                      </a:lnTo>
                      <a:lnTo>
                        <a:pt x="56" y="38"/>
                      </a:lnTo>
                      <a:lnTo>
                        <a:pt x="54" y="38"/>
                      </a:lnTo>
                      <a:lnTo>
                        <a:pt x="50" y="34"/>
                      </a:lnTo>
                      <a:lnTo>
                        <a:pt x="48" y="34"/>
                      </a:lnTo>
                      <a:lnTo>
                        <a:pt x="46" y="36"/>
                      </a:lnTo>
                      <a:lnTo>
                        <a:pt x="44" y="36"/>
                      </a:lnTo>
                      <a:lnTo>
                        <a:pt x="44" y="34"/>
                      </a:lnTo>
                      <a:lnTo>
                        <a:pt x="46" y="32"/>
                      </a:lnTo>
                      <a:lnTo>
                        <a:pt x="46" y="30"/>
                      </a:lnTo>
                      <a:lnTo>
                        <a:pt x="48" y="24"/>
                      </a:lnTo>
                      <a:lnTo>
                        <a:pt x="50" y="24"/>
                      </a:lnTo>
                      <a:lnTo>
                        <a:pt x="52" y="22"/>
                      </a:lnTo>
                      <a:lnTo>
                        <a:pt x="52" y="20"/>
                      </a:lnTo>
                      <a:lnTo>
                        <a:pt x="58" y="16"/>
                      </a:lnTo>
                      <a:lnTo>
                        <a:pt x="60" y="16"/>
                      </a:lnTo>
                      <a:lnTo>
                        <a:pt x="62" y="16"/>
                      </a:lnTo>
                      <a:lnTo>
                        <a:pt x="64" y="16"/>
                      </a:lnTo>
                      <a:lnTo>
                        <a:pt x="66" y="16"/>
                      </a:lnTo>
                      <a:lnTo>
                        <a:pt x="68" y="16"/>
                      </a:lnTo>
                      <a:lnTo>
                        <a:pt x="68" y="14"/>
                      </a:lnTo>
                      <a:lnTo>
                        <a:pt x="72" y="14"/>
                      </a:lnTo>
                      <a:lnTo>
                        <a:pt x="74" y="16"/>
                      </a:lnTo>
                      <a:lnTo>
                        <a:pt x="80" y="16"/>
                      </a:lnTo>
                      <a:lnTo>
                        <a:pt x="82" y="16"/>
                      </a:lnTo>
                      <a:lnTo>
                        <a:pt x="96" y="22"/>
                      </a:lnTo>
                      <a:lnTo>
                        <a:pt x="98" y="24"/>
                      </a:lnTo>
                      <a:lnTo>
                        <a:pt x="100" y="24"/>
                      </a:lnTo>
                      <a:lnTo>
                        <a:pt x="102" y="26"/>
                      </a:lnTo>
                      <a:lnTo>
                        <a:pt x="102" y="24"/>
                      </a:lnTo>
                      <a:lnTo>
                        <a:pt x="106" y="24"/>
                      </a:lnTo>
                      <a:lnTo>
                        <a:pt x="112" y="26"/>
                      </a:lnTo>
                      <a:lnTo>
                        <a:pt x="112" y="30"/>
                      </a:lnTo>
                      <a:lnTo>
                        <a:pt x="116" y="30"/>
                      </a:lnTo>
                      <a:lnTo>
                        <a:pt x="116" y="28"/>
                      </a:lnTo>
                      <a:lnTo>
                        <a:pt x="114" y="26"/>
                      </a:lnTo>
                      <a:lnTo>
                        <a:pt x="114" y="18"/>
                      </a:lnTo>
                      <a:lnTo>
                        <a:pt x="116" y="18"/>
                      </a:lnTo>
                      <a:lnTo>
                        <a:pt x="116" y="16"/>
                      </a:lnTo>
                      <a:lnTo>
                        <a:pt x="116" y="10"/>
                      </a:lnTo>
                      <a:lnTo>
                        <a:pt x="118" y="6"/>
                      </a:lnTo>
                      <a:lnTo>
                        <a:pt x="126" y="4"/>
                      </a:lnTo>
                      <a:lnTo>
                        <a:pt x="128" y="2"/>
                      </a:lnTo>
                      <a:lnTo>
                        <a:pt x="138" y="0"/>
                      </a:lnTo>
                      <a:lnTo>
                        <a:pt x="140" y="0"/>
                      </a:lnTo>
                      <a:lnTo>
                        <a:pt x="144" y="4"/>
                      </a:lnTo>
                      <a:lnTo>
                        <a:pt x="146" y="6"/>
                      </a:lnTo>
                      <a:lnTo>
                        <a:pt x="148" y="6"/>
                      </a:lnTo>
                      <a:lnTo>
                        <a:pt x="150" y="8"/>
                      </a:lnTo>
                      <a:lnTo>
                        <a:pt x="154" y="8"/>
                      </a:lnTo>
                      <a:lnTo>
                        <a:pt x="154" y="10"/>
                      </a:lnTo>
                      <a:lnTo>
                        <a:pt x="164" y="14"/>
                      </a:lnTo>
                      <a:lnTo>
                        <a:pt x="172" y="14"/>
                      </a:lnTo>
                      <a:lnTo>
                        <a:pt x="174" y="16"/>
                      </a:lnTo>
                      <a:lnTo>
                        <a:pt x="178" y="12"/>
                      </a:lnTo>
                      <a:lnTo>
                        <a:pt x="178" y="10"/>
                      </a:lnTo>
                      <a:lnTo>
                        <a:pt x="192" y="10"/>
                      </a:lnTo>
                      <a:lnTo>
                        <a:pt x="194" y="12"/>
                      </a:lnTo>
                      <a:lnTo>
                        <a:pt x="202" y="12"/>
                      </a:lnTo>
                      <a:lnTo>
                        <a:pt x="206" y="10"/>
                      </a:lnTo>
                      <a:lnTo>
                        <a:pt x="208" y="10"/>
                      </a:lnTo>
                      <a:lnTo>
                        <a:pt x="210" y="8"/>
                      </a:lnTo>
                      <a:lnTo>
                        <a:pt x="214" y="10"/>
                      </a:lnTo>
                      <a:lnTo>
                        <a:pt x="216" y="10"/>
                      </a:lnTo>
                      <a:lnTo>
                        <a:pt x="218" y="10"/>
                      </a:lnTo>
                      <a:lnTo>
                        <a:pt x="238" y="12"/>
                      </a:lnTo>
                      <a:lnTo>
                        <a:pt x="242" y="14"/>
                      </a:lnTo>
                      <a:lnTo>
                        <a:pt x="244" y="12"/>
                      </a:lnTo>
                      <a:lnTo>
                        <a:pt x="254" y="12"/>
                      </a:lnTo>
                      <a:lnTo>
                        <a:pt x="266" y="16"/>
                      </a:lnTo>
                      <a:lnTo>
                        <a:pt x="268" y="16"/>
                      </a:lnTo>
                      <a:lnTo>
                        <a:pt x="270" y="16"/>
                      </a:lnTo>
                      <a:lnTo>
                        <a:pt x="272" y="16"/>
                      </a:lnTo>
                      <a:lnTo>
                        <a:pt x="272" y="18"/>
                      </a:lnTo>
                      <a:lnTo>
                        <a:pt x="272" y="20"/>
                      </a:lnTo>
                      <a:lnTo>
                        <a:pt x="272" y="22"/>
                      </a:lnTo>
                      <a:lnTo>
                        <a:pt x="274" y="22"/>
                      </a:lnTo>
                      <a:lnTo>
                        <a:pt x="276" y="22"/>
                      </a:lnTo>
                      <a:lnTo>
                        <a:pt x="276" y="24"/>
                      </a:lnTo>
                      <a:lnTo>
                        <a:pt x="278" y="26"/>
                      </a:lnTo>
                      <a:lnTo>
                        <a:pt x="278" y="28"/>
                      </a:lnTo>
                      <a:lnTo>
                        <a:pt x="280" y="28"/>
                      </a:lnTo>
                      <a:lnTo>
                        <a:pt x="282" y="28"/>
                      </a:lnTo>
                      <a:lnTo>
                        <a:pt x="284" y="28"/>
                      </a:lnTo>
                      <a:lnTo>
                        <a:pt x="292" y="28"/>
                      </a:lnTo>
                      <a:lnTo>
                        <a:pt x="300" y="38"/>
                      </a:lnTo>
                      <a:lnTo>
                        <a:pt x="302" y="44"/>
                      </a:lnTo>
                      <a:lnTo>
                        <a:pt x="300" y="44"/>
                      </a:lnTo>
                      <a:lnTo>
                        <a:pt x="290" y="44"/>
                      </a:lnTo>
                      <a:lnTo>
                        <a:pt x="288" y="46"/>
                      </a:lnTo>
                      <a:lnTo>
                        <a:pt x="288" y="48"/>
                      </a:lnTo>
                      <a:lnTo>
                        <a:pt x="288" y="50"/>
                      </a:lnTo>
                      <a:lnTo>
                        <a:pt x="284" y="50"/>
                      </a:lnTo>
                      <a:lnTo>
                        <a:pt x="260" y="62"/>
                      </a:lnTo>
                      <a:lnTo>
                        <a:pt x="258" y="62"/>
                      </a:lnTo>
                      <a:lnTo>
                        <a:pt x="256" y="62"/>
                      </a:lnTo>
                      <a:lnTo>
                        <a:pt x="250" y="68"/>
                      </a:lnTo>
                      <a:lnTo>
                        <a:pt x="250" y="72"/>
                      </a:lnTo>
                      <a:lnTo>
                        <a:pt x="248" y="72"/>
                      </a:lnTo>
                      <a:lnTo>
                        <a:pt x="248" y="74"/>
                      </a:lnTo>
                      <a:lnTo>
                        <a:pt x="246" y="74"/>
                      </a:lnTo>
                      <a:lnTo>
                        <a:pt x="246" y="76"/>
                      </a:lnTo>
                      <a:lnTo>
                        <a:pt x="244" y="78"/>
                      </a:lnTo>
                      <a:lnTo>
                        <a:pt x="242" y="80"/>
                      </a:lnTo>
                      <a:lnTo>
                        <a:pt x="240" y="80"/>
                      </a:lnTo>
                      <a:lnTo>
                        <a:pt x="238" y="80"/>
                      </a:lnTo>
                      <a:lnTo>
                        <a:pt x="234" y="80"/>
                      </a:lnTo>
                      <a:lnTo>
                        <a:pt x="230" y="82"/>
                      </a:lnTo>
                      <a:lnTo>
                        <a:pt x="226" y="82"/>
                      </a:lnTo>
                      <a:lnTo>
                        <a:pt x="224" y="82"/>
                      </a:lnTo>
                      <a:lnTo>
                        <a:pt x="220" y="82"/>
                      </a:lnTo>
                      <a:lnTo>
                        <a:pt x="214" y="82"/>
                      </a:lnTo>
                      <a:lnTo>
                        <a:pt x="214" y="80"/>
                      </a:lnTo>
                      <a:lnTo>
                        <a:pt x="208" y="82"/>
                      </a:lnTo>
                      <a:lnTo>
                        <a:pt x="206" y="84"/>
                      </a:lnTo>
                      <a:lnTo>
                        <a:pt x="202" y="92"/>
                      </a:lnTo>
                      <a:lnTo>
                        <a:pt x="202" y="96"/>
                      </a:lnTo>
                      <a:lnTo>
                        <a:pt x="200" y="98"/>
                      </a:lnTo>
                      <a:lnTo>
                        <a:pt x="198" y="98"/>
                      </a:lnTo>
                      <a:lnTo>
                        <a:pt x="198" y="100"/>
                      </a:lnTo>
                      <a:lnTo>
                        <a:pt x="198" y="102"/>
                      </a:lnTo>
                      <a:lnTo>
                        <a:pt x="194" y="104"/>
                      </a:lnTo>
                      <a:lnTo>
                        <a:pt x="192" y="104"/>
                      </a:lnTo>
                      <a:lnTo>
                        <a:pt x="190" y="104"/>
                      </a:lnTo>
                      <a:lnTo>
                        <a:pt x="186" y="104"/>
                      </a:lnTo>
                      <a:lnTo>
                        <a:pt x="184" y="104"/>
                      </a:lnTo>
                      <a:lnTo>
                        <a:pt x="184" y="106"/>
                      </a:lnTo>
                      <a:lnTo>
                        <a:pt x="182" y="106"/>
                      </a:lnTo>
                      <a:lnTo>
                        <a:pt x="176" y="108"/>
                      </a:lnTo>
                      <a:lnTo>
                        <a:pt x="176" y="106"/>
                      </a:lnTo>
                      <a:lnTo>
                        <a:pt x="174" y="104"/>
                      </a:lnTo>
                      <a:lnTo>
                        <a:pt x="174" y="96"/>
                      </a:lnTo>
                      <a:lnTo>
                        <a:pt x="172" y="96"/>
                      </a:lnTo>
                      <a:lnTo>
                        <a:pt x="172" y="94"/>
                      </a:lnTo>
                      <a:lnTo>
                        <a:pt x="172" y="96"/>
                      </a:lnTo>
                      <a:lnTo>
                        <a:pt x="170" y="96"/>
                      </a:lnTo>
                      <a:lnTo>
                        <a:pt x="164" y="100"/>
                      </a:lnTo>
                      <a:lnTo>
                        <a:pt x="162" y="102"/>
                      </a:lnTo>
                      <a:lnTo>
                        <a:pt x="156" y="102"/>
                      </a:lnTo>
                      <a:lnTo>
                        <a:pt x="156" y="100"/>
                      </a:lnTo>
                      <a:lnTo>
                        <a:pt x="154" y="100"/>
                      </a:lnTo>
                      <a:lnTo>
                        <a:pt x="154" y="98"/>
                      </a:lnTo>
                      <a:lnTo>
                        <a:pt x="152" y="98"/>
                      </a:lnTo>
                      <a:lnTo>
                        <a:pt x="152" y="10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1" name="Freeform 3005"/>
                <p:cNvSpPr>
                  <a:spLocks/>
                </p:cNvSpPr>
                <p:nvPr/>
              </p:nvSpPr>
              <p:spPr bwMode="auto">
                <a:xfrm>
                  <a:off x="2525901" y="2859373"/>
                  <a:ext cx="976585" cy="635819"/>
                </a:xfrm>
                <a:custGeom>
                  <a:avLst/>
                  <a:gdLst/>
                  <a:ahLst/>
                  <a:cxnLst>
                    <a:cxn ang="0">
                      <a:pos x="320" y="222"/>
                    </a:cxn>
                    <a:cxn ang="0">
                      <a:pos x="316" y="238"/>
                    </a:cxn>
                    <a:cxn ang="0">
                      <a:pos x="328" y="242"/>
                    </a:cxn>
                    <a:cxn ang="0">
                      <a:pos x="332" y="250"/>
                    </a:cxn>
                    <a:cxn ang="0">
                      <a:pos x="338" y="270"/>
                    </a:cxn>
                    <a:cxn ang="0">
                      <a:pos x="332" y="286"/>
                    </a:cxn>
                    <a:cxn ang="0">
                      <a:pos x="326" y="300"/>
                    </a:cxn>
                    <a:cxn ang="0">
                      <a:pos x="314" y="306"/>
                    </a:cxn>
                    <a:cxn ang="0">
                      <a:pos x="300" y="300"/>
                    </a:cxn>
                    <a:cxn ang="0">
                      <a:pos x="292" y="280"/>
                    </a:cxn>
                    <a:cxn ang="0">
                      <a:pos x="282" y="272"/>
                    </a:cxn>
                    <a:cxn ang="0">
                      <a:pos x="248" y="256"/>
                    </a:cxn>
                    <a:cxn ang="0">
                      <a:pos x="232" y="246"/>
                    </a:cxn>
                    <a:cxn ang="0">
                      <a:pos x="224" y="244"/>
                    </a:cxn>
                    <a:cxn ang="0">
                      <a:pos x="190" y="218"/>
                    </a:cxn>
                    <a:cxn ang="0">
                      <a:pos x="168" y="186"/>
                    </a:cxn>
                    <a:cxn ang="0">
                      <a:pos x="150" y="160"/>
                    </a:cxn>
                    <a:cxn ang="0">
                      <a:pos x="138" y="164"/>
                    </a:cxn>
                    <a:cxn ang="0">
                      <a:pos x="120" y="160"/>
                    </a:cxn>
                    <a:cxn ang="0">
                      <a:pos x="114" y="152"/>
                    </a:cxn>
                    <a:cxn ang="0">
                      <a:pos x="116" y="142"/>
                    </a:cxn>
                    <a:cxn ang="0">
                      <a:pos x="112" y="134"/>
                    </a:cxn>
                    <a:cxn ang="0">
                      <a:pos x="96" y="124"/>
                    </a:cxn>
                    <a:cxn ang="0">
                      <a:pos x="84" y="116"/>
                    </a:cxn>
                    <a:cxn ang="0">
                      <a:pos x="72" y="108"/>
                    </a:cxn>
                    <a:cxn ang="0">
                      <a:pos x="64" y="110"/>
                    </a:cxn>
                    <a:cxn ang="0">
                      <a:pos x="68" y="124"/>
                    </a:cxn>
                    <a:cxn ang="0">
                      <a:pos x="56" y="116"/>
                    </a:cxn>
                    <a:cxn ang="0">
                      <a:pos x="38" y="130"/>
                    </a:cxn>
                    <a:cxn ang="0">
                      <a:pos x="28" y="138"/>
                    </a:cxn>
                    <a:cxn ang="0">
                      <a:pos x="30" y="162"/>
                    </a:cxn>
                    <a:cxn ang="0">
                      <a:pos x="16" y="160"/>
                    </a:cxn>
                    <a:cxn ang="0">
                      <a:pos x="0" y="22"/>
                    </a:cxn>
                    <a:cxn ang="0">
                      <a:pos x="232" y="78"/>
                    </a:cxn>
                    <a:cxn ang="0">
                      <a:pos x="278" y="98"/>
                    </a:cxn>
                    <a:cxn ang="0">
                      <a:pos x="298" y="166"/>
                    </a:cxn>
                    <a:cxn ang="0">
                      <a:pos x="332" y="170"/>
                    </a:cxn>
                    <a:cxn ang="0">
                      <a:pos x="338" y="184"/>
                    </a:cxn>
                    <a:cxn ang="0">
                      <a:pos x="346" y="174"/>
                    </a:cxn>
                    <a:cxn ang="0">
                      <a:pos x="358" y="164"/>
                    </a:cxn>
                    <a:cxn ang="0">
                      <a:pos x="382" y="146"/>
                    </a:cxn>
                    <a:cxn ang="0">
                      <a:pos x="402" y="134"/>
                    </a:cxn>
                    <a:cxn ang="0">
                      <a:pos x="418" y="128"/>
                    </a:cxn>
                    <a:cxn ang="0">
                      <a:pos x="406" y="138"/>
                    </a:cxn>
                    <a:cxn ang="0">
                      <a:pos x="390" y="150"/>
                    </a:cxn>
                    <a:cxn ang="0">
                      <a:pos x="400" y="156"/>
                    </a:cxn>
                    <a:cxn ang="0">
                      <a:pos x="416" y="166"/>
                    </a:cxn>
                    <a:cxn ang="0">
                      <a:pos x="428" y="160"/>
                    </a:cxn>
                    <a:cxn ang="0">
                      <a:pos x="436" y="160"/>
                    </a:cxn>
                    <a:cxn ang="0">
                      <a:pos x="444" y="166"/>
                    </a:cxn>
                    <a:cxn ang="0">
                      <a:pos x="470" y="178"/>
                    </a:cxn>
                    <a:cxn ang="0">
                      <a:pos x="450" y="194"/>
                    </a:cxn>
                    <a:cxn ang="0">
                      <a:pos x="436" y="200"/>
                    </a:cxn>
                    <a:cxn ang="0">
                      <a:pos x="420" y="196"/>
                    </a:cxn>
                    <a:cxn ang="0">
                      <a:pos x="404" y="200"/>
                    </a:cxn>
                    <a:cxn ang="0">
                      <a:pos x="394" y="192"/>
                    </a:cxn>
                    <a:cxn ang="0">
                      <a:pos x="394" y="170"/>
                    </a:cxn>
                    <a:cxn ang="0">
                      <a:pos x="380" y="182"/>
                    </a:cxn>
                    <a:cxn ang="0">
                      <a:pos x="366" y="180"/>
                    </a:cxn>
                    <a:cxn ang="0">
                      <a:pos x="362" y="200"/>
                    </a:cxn>
                    <a:cxn ang="0">
                      <a:pos x="350" y="204"/>
                    </a:cxn>
                    <a:cxn ang="0">
                      <a:pos x="354" y="212"/>
                    </a:cxn>
                  </a:cxnLst>
                  <a:rect l="0" t="0" r="r" b="b"/>
                  <a:pathLst>
                    <a:path w="470" h="306">
                      <a:moveTo>
                        <a:pt x="346" y="212"/>
                      </a:moveTo>
                      <a:lnTo>
                        <a:pt x="346" y="220"/>
                      </a:lnTo>
                      <a:lnTo>
                        <a:pt x="344" y="224"/>
                      </a:lnTo>
                      <a:lnTo>
                        <a:pt x="322" y="220"/>
                      </a:lnTo>
                      <a:lnTo>
                        <a:pt x="322" y="222"/>
                      </a:lnTo>
                      <a:lnTo>
                        <a:pt x="320" y="222"/>
                      </a:lnTo>
                      <a:lnTo>
                        <a:pt x="314" y="226"/>
                      </a:lnTo>
                      <a:lnTo>
                        <a:pt x="314" y="230"/>
                      </a:lnTo>
                      <a:lnTo>
                        <a:pt x="314" y="232"/>
                      </a:lnTo>
                      <a:lnTo>
                        <a:pt x="312" y="234"/>
                      </a:lnTo>
                      <a:lnTo>
                        <a:pt x="312" y="236"/>
                      </a:lnTo>
                      <a:lnTo>
                        <a:pt x="316" y="238"/>
                      </a:lnTo>
                      <a:lnTo>
                        <a:pt x="318" y="236"/>
                      </a:lnTo>
                      <a:lnTo>
                        <a:pt x="320" y="238"/>
                      </a:lnTo>
                      <a:lnTo>
                        <a:pt x="320" y="242"/>
                      </a:lnTo>
                      <a:lnTo>
                        <a:pt x="322" y="244"/>
                      </a:lnTo>
                      <a:lnTo>
                        <a:pt x="328" y="244"/>
                      </a:lnTo>
                      <a:lnTo>
                        <a:pt x="328" y="242"/>
                      </a:lnTo>
                      <a:lnTo>
                        <a:pt x="332" y="244"/>
                      </a:lnTo>
                      <a:lnTo>
                        <a:pt x="332" y="246"/>
                      </a:lnTo>
                      <a:lnTo>
                        <a:pt x="334" y="246"/>
                      </a:lnTo>
                      <a:lnTo>
                        <a:pt x="334" y="248"/>
                      </a:lnTo>
                      <a:lnTo>
                        <a:pt x="334" y="250"/>
                      </a:lnTo>
                      <a:lnTo>
                        <a:pt x="332" y="250"/>
                      </a:lnTo>
                      <a:lnTo>
                        <a:pt x="332" y="254"/>
                      </a:lnTo>
                      <a:lnTo>
                        <a:pt x="332" y="260"/>
                      </a:lnTo>
                      <a:lnTo>
                        <a:pt x="332" y="264"/>
                      </a:lnTo>
                      <a:lnTo>
                        <a:pt x="336" y="266"/>
                      </a:lnTo>
                      <a:lnTo>
                        <a:pt x="338" y="268"/>
                      </a:lnTo>
                      <a:lnTo>
                        <a:pt x="338" y="270"/>
                      </a:lnTo>
                      <a:lnTo>
                        <a:pt x="340" y="272"/>
                      </a:lnTo>
                      <a:lnTo>
                        <a:pt x="338" y="276"/>
                      </a:lnTo>
                      <a:lnTo>
                        <a:pt x="336" y="280"/>
                      </a:lnTo>
                      <a:lnTo>
                        <a:pt x="334" y="280"/>
                      </a:lnTo>
                      <a:lnTo>
                        <a:pt x="332" y="282"/>
                      </a:lnTo>
                      <a:lnTo>
                        <a:pt x="332" y="286"/>
                      </a:lnTo>
                      <a:lnTo>
                        <a:pt x="330" y="288"/>
                      </a:lnTo>
                      <a:lnTo>
                        <a:pt x="326" y="292"/>
                      </a:lnTo>
                      <a:lnTo>
                        <a:pt x="326" y="294"/>
                      </a:lnTo>
                      <a:lnTo>
                        <a:pt x="324" y="296"/>
                      </a:lnTo>
                      <a:lnTo>
                        <a:pt x="324" y="300"/>
                      </a:lnTo>
                      <a:lnTo>
                        <a:pt x="326" y="300"/>
                      </a:lnTo>
                      <a:lnTo>
                        <a:pt x="326" y="304"/>
                      </a:lnTo>
                      <a:lnTo>
                        <a:pt x="324" y="306"/>
                      </a:lnTo>
                      <a:lnTo>
                        <a:pt x="322" y="306"/>
                      </a:lnTo>
                      <a:lnTo>
                        <a:pt x="316" y="304"/>
                      </a:lnTo>
                      <a:lnTo>
                        <a:pt x="314" y="304"/>
                      </a:lnTo>
                      <a:lnTo>
                        <a:pt x="314" y="306"/>
                      </a:lnTo>
                      <a:lnTo>
                        <a:pt x="312" y="306"/>
                      </a:lnTo>
                      <a:lnTo>
                        <a:pt x="310" y="306"/>
                      </a:lnTo>
                      <a:lnTo>
                        <a:pt x="308" y="306"/>
                      </a:lnTo>
                      <a:lnTo>
                        <a:pt x="304" y="300"/>
                      </a:lnTo>
                      <a:lnTo>
                        <a:pt x="302" y="300"/>
                      </a:lnTo>
                      <a:lnTo>
                        <a:pt x="300" y="300"/>
                      </a:lnTo>
                      <a:lnTo>
                        <a:pt x="294" y="300"/>
                      </a:lnTo>
                      <a:lnTo>
                        <a:pt x="292" y="300"/>
                      </a:lnTo>
                      <a:lnTo>
                        <a:pt x="290" y="300"/>
                      </a:lnTo>
                      <a:lnTo>
                        <a:pt x="288" y="300"/>
                      </a:lnTo>
                      <a:lnTo>
                        <a:pt x="290" y="284"/>
                      </a:lnTo>
                      <a:lnTo>
                        <a:pt x="292" y="280"/>
                      </a:lnTo>
                      <a:lnTo>
                        <a:pt x="292" y="278"/>
                      </a:lnTo>
                      <a:lnTo>
                        <a:pt x="290" y="276"/>
                      </a:lnTo>
                      <a:lnTo>
                        <a:pt x="286" y="276"/>
                      </a:lnTo>
                      <a:lnTo>
                        <a:pt x="284" y="276"/>
                      </a:lnTo>
                      <a:lnTo>
                        <a:pt x="282" y="274"/>
                      </a:lnTo>
                      <a:lnTo>
                        <a:pt x="282" y="272"/>
                      </a:lnTo>
                      <a:lnTo>
                        <a:pt x="272" y="268"/>
                      </a:lnTo>
                      <a:lnTo>
                        <a:pt x="270" y="268"/>
                      </a:lnTo>
                      <a:lnTo>
                        <a:pt x="268" y="270"/>
                      </a:lnTo>
                      <a:lnTo>
                        <a:pt x="264" y="270"/>
                      </a:lnTo>
                      <a:lnTo>
                        <a:pt x="262" y="270"/>
                      </a:lnTo>
                      <a:lnTo>
                        <a:pt x="248" y="256"/>
                      </a:lnTo>
                      <a:lnTo>
                        <a:pt x="246" y="256"/>
                      </a:lnTo>
                      <a:lnTo>
                        <a:pt x="244" y="256"/>
                      </a:lnTo>
                      <a:lnTo>
                        <a:pt x="244" y="254"/>
                      </a:lnTo>
                      <a:lnTo>
                        <a:pt x="242" y="254"/>
                      </a:lnTo>
                      <a:lnTo>
                        <a:pt x="240" y="254"/>
                      </a:lnTo>
                      <a:lnTo>
                        <a:pt x="232" y="246"/>
                      </a:lnTo>
                      <a:lnTo>
                        <a:pt x="230" y="246"/>
                      </a:lnTo>
                      <a:lnTo>
                        <a:pt x="230" y="244"/>
                      </a:lnTo>
                      <a:lnTo>
                        <a:pt x="228" y="244"/>
                      </a:lnTo>
                      <a:lnTo>
                        <a:pt x="226" y="244"/>
                      </a:lnTo>
                      <a:lnTo>
                        <a:pt x="226" y="246"/>
                      </a:lnTo>
                      <a:lnTo>
                        <a:pt x="224" y="244"/>
                      </a:lnTo>
                      <a:lnTo>
                        <a:pt x="222" y="244"/>
                      </a:lnTo>
                      <a:lnTo>
                        <a:pt x="220" y="242"/>
                      </a:lnTo>
                      <a:lnTo>
                        <a:pt x="212" y="236"/>
                      </a:lnTo>
                      <a:lnTo>
                        <a:pt x="210" y="234"/>
                      </a:lnTo>
                      <a:lnTo>
                        <a:pt x="208" y="230"/>
                      </a:lnTo>
                      <a:lnTo>
                        <a:pt x="190" y="218"/>
                      </a:lnTo>
                      <a:lnTo>
                        <a:pt x="186" y="214"/>
                      </a:lnTo>
                      <a:lnTo>
                        <a:pt x="180" y="212"/>
                      </a:lnTo>
                      <a:lnTo>
                        <a:pt x="176" y="206"/>
                      </a:lnTo>
                      <a:lnTo>
                        <a:pt x="174" y="192"/>
                      </a:lnTo>
                      <a:lnTo>
                        <a:pt x="172" y="190"/>
                      </a:lnTo>
                      <a:lnTo>
                        <a:pt x="168" y="186"/>
                      </a:lnTo>
                      <a:lnTo>
                        <a:pt x="164" y="176"/>
                      </a:lnTo>
                      <a:lnTo>
                        <a:pt x="164" y="172"/>
                      </a:lnTo>
                      <a:lnTo>
                        <a:pt x="162" y="168"/>
                      </a:lnTo>
                      <a:lnTo>
                        <a:pt x="156" y="162"/>
                      </a:lnTo>
                      <a:lnTo>
                        <a:pt x="154" y="162"/>
                      </a:lnTo>
                      <a:lnTo>
                        <a:pt x="150" y="160"/>
                      </a:lnTo>
                      <a:lnTo>
                        <a:pt x="148" y="162"/>
                      </a:lnTo>
                      <a:lnTo>
                        <a:pt x="148" y="164"/>
                      </a:lnTo>
                      <a:lnTo>
                        <a:pt x="146" y="166"/>
                      </a:lnTo>
                      <a:lnTo>
                        <a:pt x="144" y="166"/>
                      </a:lnTo>
                      <a:lnTo>
                        <a:pt x="142" y="164"/>
                      </a:lnTo>
                      <a:lnTo>
                        <a:pt x="138" y="164"/>
                      </a:lnTo>
                      <a:lnTo>
                        <a:pt x="136" y="162"/>
                      </a:lnTo>
                      <a:lnTo>
                        <a:pt x="128" y="162"/>
                      </a:lnTo>
                      <a:lnTo>
                        <a:pt x="124" y="164"/>
                      </a:lnTo>
                      <a:lnTo>
                        <a:pt x="122" y="164"/>
                      </a:lnTo>
                      <a:lnTo>
                        <a:pt x="122" y="162"/>
                      </a:lnTo>
                      <a:lnTo>
                        <a:pt x="120" y="160"/>
                      </a:lnTo>
                      <a:lnTo>
                        <a:pt x="118" y="160"/>
                      </a:lnTo>
                      <a:lnTo>
                        <a:pt x="116" y="160"/>
                      </a:lnTo>
                      <a:lnTo>
                        <a:pt x="114" y="158"/>
                      </a:lnTo>
                      <a:lnTo>
                        <a:pt x="114" y="156"/>
                      </a:lnTo>
                      <a:lnTo>
                        <a:pt x="112" y="156"/>
                      </a:lnTo>
                      <a:lnTo>
                        <a:pt x="114" y="152"/>
                      </a:lnTo>
                      <a:lnTo>
                        <a:pt x="114" y="150"/>
                      </a:lnTo>
                      <a:lnTo>
                        <a:pt x="114" y="148"/>
                      </a:lnTo>
                      <a:lnTo>
                        <a:pt x="112" y="146"/>
                      </a:lnTo>
                      <a:lnTo>
                        <a:pt x="112" y="144"/>
                      </a:lnTo>
                      <a:lnTo>
                        <a:pt x="114" y="142"/>
                      </a:lnTo>
                      <a:lnTo>
                        <a:pt x="116" y="142"/>
                      </a:lnTo>
                      <a:lnTo>
                        <a:pt x="116" y="144"/>
                      </a:lnTo>
                      <a:lnTo>
                        <a:pt x="118" y="144"/>
                      </a:lnTo>
                      <a:lnTo>
                        <a:pt x="118" y="142"/>
                      </a:lnTo>
                      <a:lnTo>
                        <a:pt x="114" y="140"/>
                      </a:lnTo>
                      <a:lnTo>
                        <a:pt x="114" y="138"/>
                      </a:lnTo>
                      <a:lnTo>
                        <a:pt x="112" y="134"/>
                      </a:lnTo>
                      <a:lnTo>
                        <a:pt x="110" y="128"/>
                      </a:lnTo>
                      <a:lnTo>
                        <a:pt x="108" y="124"/>
                      </a:lnTo>
                      <a:lnTo>
                        <a:pt x="102" y="124"/>
                      </a:lnTo>
                      <a:lnTo>
                        <a:pt x="100" y="124"/>
                      </a:lnTo>
                      <a:lnTo>
                        <a:pt x="98" y="124"/>
                      </a:lnTo>
                      <a:lnTo>
                        <a:pt x="96" y="124"/>
                      </a:lnTo>
                      <a:lnTo>
                        <a:pt x="94" y="124"/>
                      </a:lnTo>
                      <a:lnTo>
                        <a:pt x="92" y="122"/>
                      </a:lnTo>
                      <a:lnTo>
                        <a:pt x="90" y="122"/>
                      </a:lnTo>
                      <a:lnTo>
                        <a:pt x="90" y="118"/>
                      </a:lnTo>
                      <a:lnTo>
                        <a:pt x="86" y="116"/>
                      </a:lnTo>
                      <a:lnTo>
                        <a:pt x="84" y="116"/>
                      </a:lnTo>
                      <a:lnTo>
                        <a:pt x="82" y="116"/>
                      </a:lnTo>
                      <a:lnTo>
                        <a:pt x="80" y="112"/>
                      </a:lnTo>
                      <a:lnTo>
                        <a:pt x="78" y="112"/>
                      </a:lnTo>
                      <a:lnTo>
                        <a:pt x="76" y="110"/>
                      </a:lnTo>
                      <a:lnTo>
                        <a:pt x="72" y="106"/>
                      </a:lnTo>
                      <a:lnTo>
                        <a:pt x="72" y="108"/>
                      </a:lnTo>
                      <a:lnTo>
                        <a:pt x="72" y="110"/>
                      </a:lnTo>
                      <a:lnTo>
                        <a:pt x="70" y="112"/>
                      </a:lnTo>
                      <a:lnTo>
                        <a:pt x="68" y="112"/>
                      </a:lnTo>
                      <a:lnTo>
                        <a:pt x="68" y="110"/>
                      </a:lnTo>
                      <a:lnTo>
                        <a:pt x="66" y="110"/>
                      </a:lnTo>
                      <a:lnTo>
                        <a:pt x="64" y="110"/>
                      </a:lnTo>
                      <a:lnTo>
                        <a:pt x="62" y="110"/>
                      </a:lnTo>
                      <a:lnTo>
                        <a:pt x="60" y="112"/>
                      </a:lnTo>
                      <a:lnTo>
                        <a:pt x="62" y="114"/>
                      </a:lnTo>
                      <a:lnTo>
                        <a:pt x="64" y="114"/>
                      </a:lnTo>
                      <a:lnTo>
                        <a:pt x="70" y="124"/>
                      </a:lnTo>
                      <a:lnTo>
                        <a:pt x="68" y="124"/>
                      </a:lnTo>
                      <a:lnTo>
                        <a:pt x="68" y="120"/>
                      </a:lnTo>
                      <a:lnTo>
                        <a:pt x="66" y="120"/>
                      </a:lnTo>
                      <a:lnTo>
                        <a:pt x="64" y="118"/>
                      </a:lnTo>
                      <a:lnTo>
                        <a:pt x="62" y="118"/>
                      </a:lnTo>
                      <a:lnTo>
                        <a:pt x="58" y="116"/>
                      </a:lnTo>
                      <a:lnTo>
                        <a:pt x="56" y="116"/>
                      </a:lnTo>
                      <a:lnTo>
                        <a:pt x="54" y="118"/>
                      </a:lnTo>
                      <a:lnTo>
                        <a:pt x="54" y="126"/>
                      </a:lnTo>
                      <a:lnTo>
                        <a:pt x="50" y="128"/>
                      </a:lnTo>
                      <a:lnTo>
                        <a:pt x="46" y="130"/>
                      </a:lnTo>
                      <a:lnTo>
                        <a:pt x="44" y="130"/>
                      </a:lnTo>
                      <a:lnTo>
                        <a:pt x="38" y="130"/>
                      </a:lnTo>
                      <a:lnTo>
                        <a:pt x="36" y="130"/>
                      </a:lnTo>
                      <a:lnTo>
                        <a:pt x="34" y="132"/>
                      </a:lnTo>
                      <a:lnTo>
                        <a:pt x="34" y="134"/>
                      </a:lnTo>
                      <a:lnTo>
                        <a:pt x="32" y="136"/>
                      </a:lnTo>
                      <a:lnTo>
                        <a:pt x="30" y="138"/>
                      </a:lnTo>
                      <a:lnTo>
                        <a:pt x="28" y="138"/>
                      </a:lnTo>
                      <a:lnTo>
                        <a:pt x="28" y="140"/>
                      </a:lnTo>
                      <a:lnTo>
                        <a:pt x="30" y="156"/>
                      </a:lnTo>
                      <a:lnTo>
                        <a:pt x="30" y="158"/>
                      </a:lnTo>
                      <a:lnTo>
                        <a:pt x="32" y="158"/>
                      </a:lnTo>
                      <a:lnTo>
                        <a:pt x="32" y="160"/>
                      </a:lnTo>
                      <a:lnTo>
                        <a:pt x="30" y="162"/>
                      </a:lnTo>
                      <a:lnTo>
                        <a:pt x="26" y="162"/>
                      </a:lnTo>
                      <a:lnTo>
                        <a:pt x="24" y="160"/>
                      </a:lnTo>
                      <a:lnTo>
                        <a:pt x="22" y="160"/>
                      </a:lnTo>
                      <a:lnTo>
                        <a:pt x="20" y="162"/>
                      </a:lnTo>
                      <a:lnTo>
                        <a:pt x="18" y="162"/>
                      </a:lnTo>
                      <a:lnTo>
                        <a:pt x="16" y="160"/>
                      </a:lnTo>
                      <a:lnTo>
                        <a:pt x="2" y="160"/>
                      </a:lnTo>
                      <a:lnTo>
                        <a:pt x="0" y="130"/>
                      </a:lnTo>
                      <a:lnTo>
                        <a:pt x="2" y="128"/>
                      </a:lnTo>
                      <a:lnTo>
                        <a:pt x="0" y="98"/>
                      </a:lnTo>
                      <a:lnTo>
                        <a:pt x="2" y="96"/>
                      </a:lnTo>
                      <a:lnTo>
                        <a:pt x="0" y="22"/>
                      </a:lnTo>
                      <a:lnTo>
                        <a:pt x="20" y="16"/>
                      </a:lnTo>
                      <a:lnTo>
                        <a:pt x="22" y="16"/>
                      </a:lnTo>
                      <a:lnTo>
                        <a:pt x="22" y="14"/>
                      </a:lnTo>
                      <a:lnTo>
                        <a:pt x="72" y="0"/>
                      </a:lnTo>
                      <a:lnTo>
                        <a:pt x="166" y="80"/>
                      </a:lnTo>
                      <a:lnTo>
                        <a:pt x="232" y="78"/>
                      </a:lnTo>
                      <a:lnTo>
                        <a:pt x="246" y="70"/>
                      </a:lnTo>
                      <a:lnTo>
                        <a:pt x="254" y="82"/>
                      </a:lnTo>
                      <a:lnTo>
                        <a:pt x="260" y="86"/>
                      </a:lnTo>
                      <a:lnTo>
                        <a:pt x="262" y="86"/>
                      </a:lnTo>
                      <a:lnTo>
                        <a:pt x="270" y="102"/>
                      </a:lnTo>
                      <a:lnTo>
                        <a:pt x="278" y="98"/>
                      </a:lnTo>
                      <a:lnTo>
                        <a:pt x="276" y="120"/>
                      </a:lnTo>
                      <a:lnTo>
                        <a:pt x="276" y="136"/>
                      </a:lnTo>
                      <a:lnTo>
                        <a:pt x="290" y="136"/>
                      </a:lnTo>
                      <a:lnTo>
                        <a:pt x="294" y="166"/>
                      </a:lnTo>
                      <a:lnTo>
                        <a:pt x="296" y="166"/>
                      </a:lnTo>
                      <a:lnTo>
                        <a:pt x="298" y="166"/>
                      </a:lnTo>
                      <a:lnTo>
                        <a:pt x="312" y="166"/>
                      </a:lnTo>
                      <a:lnTo>
                        <a:pt x="314" y="166"/>
                      </a:lnTo>
                      <a:lnTo>
                        <a:pt x="316" y="166"/>
                      </a:lnTo>
                      <a:lnTo>
                        <a:pt x="320" y="166"/>
                      </a:lnTo>
                      <a:lnTo>
                        <a:pt x="328" y="166"/>
                      </a:lnTo>
                      <a:lnTo>
                        <a:pt x="332" y="170"/>
                      </a:lnTo>
                      <a:lnTo>
                        <a:pt x="334" y="170"/>
                      </a:lnTo>
                      <a:lnTo>
                        <a:pt x="332" y="176"/>
                      </a:lnTo>
                      <a:lnTo>
                        <a:pt x="330" y="178"/>
                      </a:lnTo>
                      <a:lnTo>
                        <a:pt x="336" y="182"/>
                      </a:lnTo>
                      <a:lnTo>
                        <a:pt x="336" y="184"/>
                      </a:lnTo>
                      <a:lnTo>
                        <a:pt x="338" y="184"/>
                      </a:lnTo>
                      <a:lnTo>
                        <a:pt x="342" y="186"/>
                      </a:lnTo>
                      <a:lnTo>
                        <a:pt x="346" y="186"/>
                      </a:lnTo>
                      <a:lnTo>
                        <a:pt x="348" y="184"/>
                      </a:lnTo>
                      <a:lnTo>
                        <a:pt x="346" y="182"/>
                      </a:lnTo>
                      <a:lnTo>
                        <a:pt x="344" y="178"/>
                      </a:lnTo>
                      <a:lnTo>
                        <a:pt x="346" y="174"/>
                      </a:lnTo>
                      <a:lnTo>
                        <a:pt x="348" y="174"/>
                      </a:lnTo>
                      <a:lnTo>
                        <a:pt x="350" y="172"/>
                      </a:lnTo>
                      <a:lnTo>
                        <a:pt x="350" y="170"/>
                      </a:lnTo>
                      <a:lnTo>
                        <a:pt x="350" y="168"/>
                      </a:lnTo>
                      <a:lnTo>
                        <a:pt x="354" y="168"/>
                      </a:lnTo>
                      <a:lnTo>
                        <a:pt x="358" y="164"/>
                      </a:lnTo>
                      <a:lnTo>
                        <a:pt x="358" y="158"/>
                      </a:lnTo>
                      <a:lnTo>
                        <a:pt x="362" y="154"/>
                      </a:lnTo>
                      <a:lnTo>
                        <a:pt x="364" y="154"/>
                      </a:lnTo>
                      <a:lnTo>
                        <a:pt x="366" y="154"/>
                      </a:lnTo>
                      <a:lnTo>
                        <a:pt x="374" y="148"/>
                      </a:lnTo>
                      <a:lnTo>
                        <a:pt x="382" y="146"/>
                      </a:lnTo>
                      <a:lnTo>
                        <a:pt x="390" y="140"/>
                      </a:lnTo>
                      <a:lnTo>
                        <a:pt x="394" y="132"/>
                      </a:lnTo>
                      <a:lnTo>
                        <a:pt x="396" y="132"/>
                      </a:lnTo>
                      <a:lnTo>
                        <a:pt x="398" y="132"/>
                      </a:lnTo>
                      <a:lnTo>
                        <a:pt x="398" y="134"/>
                      </a:lnTo>
                      <a:lnTo>
                        <a:pt x="402" y="134"/>
                      </a:lnTo>
                      <a:lnTo>
                        <a:pt x="402" y="132"/>
                      </a:lnTo>
                      <a:lnTo>
                        <a:pt x="406" y="128"/>
                      </a:lnTo>
                      <a:lnTo>
                        <a:pt x="408" y="128"/>
                      </a:lnTo>
                      <a:lnTo>
                        <a:pt x="412" y="124"/>
                      </a:lnTo>
                      <a:lnTo>
                        <a:pt x="414" y="124"/>
                      </a:lnTo>
                      <a:lnTo>
                        <a:pt x="418" y="128"/>
                      </a:lnTo>
                      <a:lnTo>
                        <a:pt x="420" y="128"/>
                      </a:lnTo>
                      <a:lnTo>
                        <a:pt x="418" y="130"/>
                      </a:lnTo>
                      <a:lnTo>
                        <a:pt x="410" y="134"/>
                      </a:lnTo>
                      <a:lnTo>
                        <a:pt x="408" y="134"/>
                      </a:lnTo>
                      <a:lnTo>
                        <a:pt x="408" y="138"/>
                      </a:lnTo>
                      <a:lnTo>
                        <a:pt x="406" y="138"/>
                      </a:lnTo>
                      <a:lnTo>
                        <a:pt x="402" y="138"/>
                      </a:lnTo>
                      <a:lnTo>
                        <a:pt x="398" y="142"/>
                      </a:lnTo>
                      <a:lnTo>
                        <a:pt x="398" y="146"/>
                      </a:lnTo>
                      <a:lnTo>
                        <a:pt x="396" y="146"/>
                      </a:lnTo>
                      <a:lnTo>
                        <a:pt x="392" y="148"/>
                      </a:lnTo>
                      <a:lnTo>
                        <a:pt x="390" y="150"/>
                      </a:lnTo>
                      <a:lnTo>
                        <a:pt x="390" y="154"/>
                      </a:lnTo>
                      <a:lnTo>
                        <a:pt x="394" y="154"/>
                      </a:lnTo>
                      <a:lnTo>
                        <a:pt x="396" y="154"/>
                      </a:lnTo>
                      <a:lnTo>
                        <a:pt x="396" y="156"/>
                      </a:lnTo>
                      <a:lnTo>
                        <a:pt x="398" y="156"/>
                      </a:lnTo>
                      <a:lnTo>
                        <a:pt x="400" y="156"/>
                      </a:lnTo>
                      <a:lnTo>
                        <a:pt x="402" y="154"/>
                      </a:lnTo>
                      <a:lnTo>
                        <a:pt x="404" y="154"/>
                      </a:lnTo>
                      <a:lnTo>
                        <a:pt x="406" y="158"/>
                      </a:lnTo>
                      <a:lnTo>
                        <a:pt x="406" y="160"/>
                      </a:lnTo>
                      <a:lnTo>
                        <a:pt x="406" y="162"/>
                      </a:lnTo>
                      <a:lnTo>
                        <a:pt x="416" y="166"/>
                      </a:lnTo>
                      <a:lnTo>
                        <a:pt x="418" y="166"/>
                      </a:lnTo>
                      <a:lnTo>
                        <a:pt x="422" y="168"/>
                      </a:lnTo>
                      <a:lnTo>
                        <a:pt x="424" y="166"/>
                      </a:lnTo>
                      <a:lnTo>
                        <a:pt x="424" y="160"/>
                      </a:lnTo>
                      <a:lnTo>
                        <a:pt x="426" y="160"/>
                      </a:lnTo>
                      <a:lnTo>
                        <a:pt x="428" y="160"/>
                      </a:lnTo>
                      <a:lnTo>
                        <a:pt x="430" y="158"/>
                      </a:lnTo>
                      <a:lnTo>
                        <a:pt x="430" y="154"/>
                      </a:lnTo>
                      <a:lnTo>
                        <a:pt x="428" y="154"/>
                      </a:lnTo>
                      <a:lnTo>
                        <a:pt x="428" y="152"/>
                      </a:lnTo>
                      <a:lnTo>
                        <a:pt x="430" y="152"/>
                      </a:lnTo>
                      <a:lnTo>
                        <a:pt x="436" y="160"/>
                      </a:lnTo>
                      <a:lnTo>
                        <a:pt x="436" y="162"/>
                      </a:lnTo>
                      <a:lnTo>
                        <a:pt x="436" y="164"/>
                      </a:lnTo>
                      <a:lnTo>
                        <a:pt x="436" y="166"/>
                      </a:lnTo>
                      <a:lnTo>
                        <a:pt x="442" y="166"/>
                      </a:lnTo>
                      <a:lnTo>
                        <a:pt x="444" y="164"/>
                      </a:lnTo>
                      <a:lnTo>
                        <a:pt x="444" y="166"/>
                      </a:lnTo>
                      <a:lnTo>
                        <a:pt x="444" y="170"/>
                      </a:lnTo>
                      <a:lnTo>
                        <a:pt x="444" y="172"/>
                      </a:lnTo>
                      <a:lnTo>
                        <a:pt x="450" y="170"/>
                      </a:lnTo>
                      <a:lnTo>
                        <a:pt x="452" y="172"/>
                      </a:lnTo>
                      <a:lnTo>
                        <a:pt x="456" y="176"/>
                      </a:lnTo>
                      <a:lnTo>
                        <a:pt x="470" y="178"/>
                      </a:lnTo>
                      <a:lnTo>
                        <a:pt x="462" y="184"/>
                      </a:lnTo>
                      <a:lnTo>
                        <a:pt x="456" y="190"/>
                      </a:lnTo>
                      <a:lnTo>
                        <a:pt x="450" y="186"/>
                      </a:lnTo>
                      <a:lnTo>
                        <a:pt x="450" y="188"/>
                      </a:lnTo>
                      <a:lnTo>
                        <a:pt x="450" y="190"/>
                      </a:lnTo>
                      <a:lnTo>
                        <a:pt x="450" y="194"/>
                      </a:lnTo>
                      <a:lnTo>
                        <a:pt x="446" y="192"/>
                      </a:lnTo>
                      <a:lnTo>
                        <a:pt x="444" y="192"/>
                      </a:lnTo>
                      <a:lnTo>
                        <a:pt x="442" y="192"/>
                      </a:lnTo>
                      <a:lnTo>
                        <a:pt x="438" y="196"/>
                      </a:lnTo>
                      <a:lnTo>
                        <a:pt x="440" y="198"/>
                      </a:lnTo>
                      <a:lnTo>
                        <a:pt x="436" y="200"/>
                      </a:lnTo>
                      <a:lnTo>
                        <a:pt x="432" y="202"/>
                      </a:lnTo>
                      <a:lnTo>
                        <a:pt x="426" y="200"/>
                      </a:lnTo>
                      <a:lnTo>
                        <a:pt x="424" y="200"/>
                      </a:lnTo>
                      <a:lnTo>
                        <a:pt x="424" y="198"/>
                      </a:lnTo>
                      <a:lnTo>
                        <a:pt x="422" y="196"/>
                      </a:lnTo>
                      <a:lnTo>
                        <a:pt x="420" y="196"/>
                      </a:lnTo>
                      <a:lnTo>
                        <a:pt x="418" y="198"/>
                      </a:lnTo>
                      <a:lnTo>
                        <a:pt x="414" y="198"/>
                      </a:lnTo>
                      <a:lnTo>
                        <a:pt x="412" y="198"/>
                      </a:lnTo>
                      <a:lnTo>
                        <a:pt x="410" y="200"/>
                      </a:lnTo>
                      <a:lnTo>
                        <a:pt x="406" y="200"/>
                      </a:lnTo>
                      <a:lnTo>
                        <a:pt x="404" y="200"/>
                      </a:lnTo>
                      <a:lnTo>
                        <a:pt x="402" y="200"/>
                      </a:lnTo>
                      <a:lnTo>
                        <a:pt x="400" y="200"/>
                      </a:lnTo>
                      <a:lnTo>
                        <a:pt x="400" y="198"/>
                      </a:lnTo>
                      <a:lnTo>
                        <a:pt x="396" y="194"/>
                      </a:lnTo>
                      <a:lnTo>
                        <a:pt x="394" y="194"/>
                      </a:lnTo>
                      <a:lnTo>
                        <a:pt x="394" y="192"/>
                      </a:lnTo>
                      <a:lnTo>
                        <a:pt x="406" y="182"/>
                      </a:lnTo>
                      <a:lnTo>
                        <a:pt x="404" y="180"/>
                      </a:lnTo>
                      <a:lnTo>
                        <a:pt x="402" y="178"/>
                      </a:lnTo>
                      <a:lnTo>
                        <a:pt x="402" y="176"/>
                      </a:lnTo>
                      <a:lnTo>
                        <a:pt x="396" y="170"/>
                      </a:lnTo>
                      <a:lnTo>
                        <a:pt x="394" y="170"/>
                      </a:lnTo>
                      <a:lnTo>
                        <a:pt x="394" y="174"/>
                      </a:lnTo>
                      <a:lnTo>
                        <a:pt x="390" y="178"/>
                      </a:lnTo>
                      <a:lnTo>
                        <a:pt x="384" y="180"/>
                      </a:lnTo>
                      <a:lnTo>
                        <a:pt x="384" y="182"/>
                      </a:lnTo>
                      <a:lnTo>
                        <a:pt x="382" y="182"/>
                      </a:lnTo>
                      <a:lnTo>
                        <a:pt x="380" y="182"/>
                      </a:lnTo>
                      <a:lnTo>
                        <a:pt x="378" y="182"/>
                      </a:lnTo>
                      <a:lnTo>
                        <a:pt x="378" y="184"/>
                      </a:lnTo>
                      <a:lnTo>
                        <a:pt x="374" y="184"/>
                      </a:lnTo>
                      <a:lnTo>
                        <a:pt x="372" y="180"/>
                      </a:lnTo>
                      <a:lnTo>
                        <a:pt x="368" y="178"/>
                      </a:lnTo>
                      <a:lnTo>
                        <a:pt x="366" y="180"/>
                      </a:lnTo>
                      <a:lnTo>
                        <a:pt x="364" y="186"/>
                      </a:lnTo>
                      <a:lnTo>
                        <a:pt x="364" y="190"/>
                      </a:lnTo>
                      <a:lnTo>
                        <a:pt x="366" y="196"/>
                      </a:lnTo>
                      <a:lnTo>
                        <a:pt x="366" y="200"/>
                      </a:lnTo>
                      <a:lnTo>
                        <a:pt x="364" y="200"/>
                      </a:lnTo>
                      <a:lnTo>
                        <a:pt x="362" y="200"/>
                      </a:lnTo>
                      <a:lnTo>
                        <a:pt x="358" y="200"/>
                      </a:lnTo>
                      <a:lnTo>
                        <a:pt x="350" y="200"/>
                      </a:lnTo>
                      <a:lnTo>
                        <a:pt x="346" y="200"/>
                      </a:lnTo>
                      <a:lnTo>
                        <a:pt x="346" y="202"/>
                      </a:lnTo>
                      <a:lnTo>
                        <a:pt x="348" y="204"/>
                      </a:lnTo>
                      <a:lnTo>
                        <a:pt x="350" y="204"/>
                      </a:lnTo>
                      <a:lnTo>
                        <a:pt x="354" y="202"/>
                      </a:lnTo>
                      <a:lnTo>
                        <a:pt x="356" y="202"/>
                      </a:lnTo>
                      <a:lnTo>
                        <a:pt x="356" y="206"/>
                      </a:lnTo>
                      <a:lnTo>
                        <a:pt x="350" y="206"/>
                      </a:lnTo>
                      <a:lnTo>
                        <a:pt x="352" y="208"/>
                      </a:lnTo>
                      <a:lnTo>
                        <a:pt x="354" y="212"/>
                      </a:lnTo>
                      <a:lnTo>
                        <a:pt x="350" y="214"/>
                      </a:lnTo>
                      <a:lnTo>
                        <a:pt x="350" y="212"/>
                      </a:lnTo>
                      <a:lnTo>
                        <a:pt x="346" y="2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2" name="Freeform 3006"/>
                <p:cNvSpPr>
                  <a:spLocks/>
                </p:cNvSpPr>
                <p:nvPr/>
              </p:nvSpPr>
              <p:spPr bwMode="auto">
                <a:xfrm>
                  <a:off x="3174187" y="3212605"/>
                  <a:ext cx="444658" cy="319987"/>
                </a:xfrm>
                <a:custGeom>
                  <a:avLst/>
                  <a:gdLst/>
                  <a:ahLst/>
                  <a:cxnLst>
                    <a:cxn ang="0">
                      <a:pos x="190" y="128"/>
                    </a:cxn>
                    <a:cxn ang="0">
                      <a:pos x="172" y="134"/>
                    </a:cxn>
                    <a:cxn ang="0">
                      <a:pos x="168" y="126"/>
                    </a:cxn>
                    <a:cxn ang="0">
                      <a:pos x="150" y="134"/>
                    </a:cxn>
                    <a:cxn ang="0">
                      <a:pos x="136" y="142"/>
                    </a:cxn>
                    <a:cxn ang="0">
                      <a:pos x="118" y="154"/>
                    </a:cxn>
                    <a:cxn ang="0">
                      <a:pos x="112" y="136"/>
                    </a:cxn>
                    <a:cxn ang="0">
                      <a:pos x="114" y="116"/>
                    </a:cxn>
                    <a:cxn ang="0">
                      <a:pos x="108" y="112"/>
                    </a:cxn>
                    <a:cxn ang="0">
                      <a:pos x="110" y="102"/>
                    </a:cxn>
                    <a:cxn ang="0">
                      <a:pos x="86" y="100"/>
                    </a:cxn>
                    <a:cxn ang="0">
                      <a:pos x="76" y="110"/>
                    </a:cxn>
                    <a:cxn ang="0">
                      <a:pos x="80" y="118"/>
                    </a:cxn>
                    <a:cxn ang="0">
                      <a:pos x="70" y="124"/>
                    </a:cxn>
                    <a:cxn ang="0">
                      <a:pos x="54" y="128"/>
                    </a:cxn>
                    <a:cxn ang="0">
                      <a:pos x="52" y="140"/>
                    </a:cxn>
                    <a:cxn ang="0">
                      <a:pos x="36" y="134"/>
                    </a:cxn>
                    <a:cxn ang="0">
                      <a:pos x="26" y="142"/>
                    </a:cxn>
                    <a:cxn ang="0">
                      <a:pos x="14" y="134"/>
                    </a:cxn>
                    <a:cxn ang="0">
                      <a:pos x="14" y="122"/>
                    </a:cxn>
                    <a:cxn ang="0">
                      <a:pos x="24" y="110"/>
                    </a:cxn>
                    <a:cxn ang="0">
                      <a:pos x="24" y="96"/>
                    </a:cxn>
                    <a:cxn ang="0">
                      <a:pos x="22" y="80"/>
                    </a:cxn>
                    <a:cxn ang="0">
                      <a:pos x="16" y="72"/>
                    </a:cxn>
                    <a:cxn ang="0">
                      <a:pos x="6" y="66"/>
                    </a:cxn>
                    <a:cxn ang="0">
                      <a:pos x="2" y="60"/>
                    </a:cxn>
                    <a:cxn ang="0">
                      <a:pos x="32" y="54"/>
                    </a:cxn>
                    <a:cxn ang="0">
                      <a:pos x="42" y="42"/>
                    </a:cxn>
                    <a:cxn ang="0">
                      <a:pos x="42" y="32"/>
                    </a:cxn>
                    <a:cxn ang="0">
                      <a:pos x="38" y="30"/>
                    </a:cxn>
                    <a:cxn ang="0">
                      <a:pos x="54" y="26"/>
                    </a:cxn>
                    <a:cxn ang="0">
                      <a:pos x="60" y="10"/>
                    </a:cxn>
                    <a:cxn ang="0">
                      <a:pos x="70" y="12"/>
                    </a:cxn>
                    <a:cxn ang="0">
                      <a:pos x="82" y="0"/>
                    </a:cxn>
                    <a:cxn ang="0">
                      <a:pos x="94" y="12"/>
                    </a:cxn>
                    <a:cxn ang="0">
                      <a:pos x="88" y="30"/>
                    </a:cxn>
                    <a:cxn ang="0">
                      <a:pos x="98" y="30"/>
                    </a:cxn>
                    <a:cxn ang="0">
                      <a:pos x="86" y="42"/>
                    </a:cxn>
                    <a:cxn ang="0">
                      <a:pos x="86" y="36"/>
                    </a:cxn>
                    <a:cxn ang="0">
                      <a:pos x="62" y="34"/>
                    </a:cxn>
                    <a:cxn ang="0">
                      <a:pos x="58" y="40"/>
                    </a:cxn>
                    <a:cxn ang="0">
                      <a:pos x="52" y="48"/>
                    </a:cxn>
                    <a:cxn ang="0">
                      <a:pos x="60" y="54"/>
                    </a:cxn>
                    <a:cxn ang="0">
                      <a:pos x="78" y="52"/>
                    </a:cxn>
                    <a:cxn ang="0">
                      <a:pos x="90" y="54"/>
                    </a:cxn>
                    <a:cxn ang="0">
                      <a:pos x="102" y="58"/>
                    </a:cxn>
                    <a:cxn ang="0">
                      <a:pos x="112" y="52"/>
                    </a:cxn>
                    <a:cxn ang="0">
                      <a:pos x="120" y="56"/>
                    </a:cxn>
                    <a:cxn ang="0">
                      <a:pos x="122" y="64"/>
                    </a:cxn>
                    <a:cxn ang="0">
                      <a:pos x="130" y="64"/>
                    </a:cxn>
                    <a:cxn ang="0">
                      <a:pos x="142" y="60"/>
                    </a:cxn>
                    <a:cxn ang="0">
                      <a:pos x="160" y="60"/>
                    </a:cxn>
                    <a:cxn ang="0">
                      <a:pos x="172" y="62"/>
                    </a:cxn>
                    <a:cxn ang="0">
                      <a:pos x="178" y="76"/>
                    </a:cxn>
                    <a:cxn ang="0">
                      <a:pos x="184" y="90"/>
                    </a:cxn>
                    <a:cxn ang="0">
                      <a:pos x="204" y="92"/>
                    </a:cxn>
                    <a:cxn ang="0">
                      <a:pos x="204" y="106"/>
                    </a:cxn>
                    <a:cxn ang="0">
                      <a:pos x="206" y="120"/>
                    </a:cxn>
                    <a:cxn ang="0">
                      <a:pos x="210" y="132"/>
                    </a:cxn>
                  </a:cxnLst>
                  <a:rect l="0" t="0" r="r" b="b"/>
                  <a:pathLst>
                    <a:path w="214" h="154">
                      <a:moveTo>
                        <a:pt x="206" y="134"/>
                      </a:moveTo>
                      <a:lnTo>
                        <a:pt x="204" y="130"/>
                      </a:lnTo>
                      <a:lnTo>
                        <a:pt x="200" y="130"/>
                      </a:lnTo>
                      <a:lnTo>
                        <a:pt x="192" y="130"/>
                      </a:lnTo>
                      <a:lnTo>
                        <a:pt x="190" y="128"/>
                      </a:lnTo>
                      <a:lnTo>
                        <a:pt x="188" y="128"/>
                      </a:lnTo>
                      <a:lnTo>
                        <a:pt x="186" y="130"/>
                      </a:lnTo>
                      <a:lnTo>
                        <a:pt x="178" y="134"/>
                      </a:lnTo>
                      <a:lnTo>
                        <a:pt x="176" y="136"/>
                      </a:lnTo>
                      <a:lnTo>
                        <a:pt x="172" y="134"/>
                      </a:lnTo>
                      <a:lnTo>
                        <a:pt x="172" y="132"/>
                      </a:lnTo>
                      <a:lnTo>
                        <a:pt x="176" y="130"/>
                      </a:lnTo>
                      <a:lnTo>
                        <a:pt x="176" y="128"/>
                      </a:lnTo>
                      <a:lnTo>
                        <a:pt x="170" y="128"/>
                      </a:lnTo>
                      <a:lnTo>
                        <a:pt x="168" y="126"/>
                      </a:lnTo>
                      <a:lnTo>
                        <a:pt x="162" y="126"/>
                      </a:lnTo>
                      <a:lnTo>
                        <a:pt x="162" y="128"/>
                      </a:lnTo>
                      <a:lnTo>
                        <a:pt x="156" y="130"/>
                      </a:lnTo>
                      <a:lnTo>
                        <a:pt x="154" y="132"/>
                      </a:lnTo>
                      <a:lnTo>
                        <a:pt x="150" y="134"/>
                      </a:lnTo>
                      <a:lnTo>
                        <a:pt x="148" y="136"/>
                      </a:lnTo>
                      <a:lnTo>
                        <a:pt x="146" y="138"/>
                      </a:lnTo>
                      <a:lnTo>
                        <a:pt x="146" y="140"/>
                      </a:lnTo>
                      <a:lnTo>
                        <a:pt x="144" y="142"/>
                      </a:lnTo>
                      <a:lnTo>
                        <a:pt x="136" y="142"/>
                      </a:lnTo>
                      <a:lnTo>
                        <a:pt x="136" y="144"/>
                      </a:lnTo>
                      <a:lnTo>
                        <a:pt x="134" y="144"/>
                      </a:lnTo>
                      <a:lnTo>
                        <a:pt x="122" y="154"/>
                      </a:lnTo>
                      <a:lnTo>
                        <a:pt x="120" y="154"/>
                      </a:lnTo>
                      <a:lnTo>
                        <a:pt x="118" y="154"/>
                      </a:lnTo>
                      <a:lnTo>
                        <a:pt x="114" y="152"/>
                      </a:lnTo>
                      <a:lnTo>
                        <a:pt x="114" y="150"/>
                      </a:lnTo>
                      <a:lnTo>
                        <a:pt x="112" y="146"/>
                      </a:lnTo>
                      <a:lnTo>
                        <a:pt x="112" y="144"/>
                      </a:lnTo>
                      <a:lnTo>
                        <a:pt x="112" y="136"/>
                      </a:lnTo>
                      <a:lnTo>
                        <a:pt x="112" y="134"/>
                      </a:lnTo>
                      <a:lnTo>
                        <a:pt x="114" y="134"/>
                      </a:lnTo>
                      <a:lnTo>
                        <a:pt x="114" y="130"/>
                      </a:lnTo>
                      <a:lnTo>
                        <a:pt x="112" y="128"/>
                      </a:lnTo>
                      <a:lnTo>
                        <a:pt x="114" y="116"/>
                      </a:lnTo>
                      <a:lnTo>
                        <a:pt x="116" y="114"/>
                      </a:lnTo>
                      <a:lnTo>
                        <a:pt x="116" y="112"/>
                      </a:lnTo>
                      <a:lnTo>
                        <a:pt x="114" y="110"/>
                      </a:lnTo>
                      <a:lnTo>
                        <a:pt x="112" y="110"/>
                      </a:lnTo>
                      <a:lnTo>
                        <a:pt x="108" y="112"/>
                      </a:lnTo>
                      <a:lnTo>
                        <a:pt x="106" y="110"/>
                      </a:lnTo>
                      <a:lnTo>
                        <a:pt x="106" y="108"/>
                      </a:lnTo>
                      <a:lnTo>
                        <a:pt x="108" y="104"/>
                      </a:lnTo>
                      <a:lnTo>
                        <a:pt x="108" y="102"/>
                      </a:lnTo>
                      <a:lnTo>
                        <a:pt x="110" y="102"/>
                      </a:lnTo>
                      <a:lnTo>
                        <a:pt x="108" y="98"/>
                      </a:lnTo>
                      <a:lnTo>
                        <a:pt x="106" y="98"/>
                      </a:lnTo>
                      <a:lnTo>
                        <a:pt x="98" y="92"/>
                      </a:lnTo>
                      <a:lnTo>
                        <a:pt x="94" y="92"/>
                      </a:lnTo>
                      <a:lnTo>
                        <a:pt x="86" y="100"/>
                      </a:lnTo>
                      <a:lnTo>
                        <a:pt x="86" y="102"/>
                      </a:lnTo>
                      <a:lnTo>
                        <a:pt x="82" y="108"/>
                      </a:lnTo>
                      <a:lnTo>
                        <a:pt x="80" y="108"/>
                      </a:lnTo>
                      <a:lnTo>
                        <a:pt x="78" y="110"/>
                      </a:lnTo>
                      <a:lnTo>
                        <a:pt x="76" y="110"/>
                      </a:lnTo>
                      <a:lnTo>
                        <a:pt x="76" y="112"/>
                      </a:lnTo>
                      <a:lnTo>
                        <a:pt x="78" y="112"/>
                      </a:lnTo>
                      <a:lnTo>
                        <a:pt x="78" y="114"/>
                      </a:lnTo>
                      <a:lnTo>
                        <a:pt x="78" y="116"/>
                      </a:lnTo>
                      <a:lnTo>
                        <a:pt x="80" y="118"/>
                      </a:lnTo>
                      <a:lnTo>
                        <a:pt x="78" y="122"/>
                      </a:lnTo>
                      <a:lnTo>
                        <a:pt x="76" y="124"/>
                      </a:lnTo>
                      <a:lnTo>
                        <a:pt x="74" y="124"/>
                      </a:lnTo>
                      <a:lnTo>
                        <a:pt x="72" y="124"/>
                      </a:lnTo>
                      <a:lnTo>
                        <a:pt x="70" y="124"/>
                      </a:lnTo>
                      <a:lnTo>
                        <a:pt x="70" y="122"/>
                      </a:lnTo>
                      <a:lnTo>
                        <a:pt x="68" y="122"/>
                      </a:lnTo>
                      <a:lnTo>
                        <a:pt x="60" y="124"/>
                      </a:lnTo>
                      <a:lnTo>
                        <a:pt x="60" y="122"/>
                      </a:lnTo>
                      <a:lnTo>
                        <a:pt x="54" y="128"/>
                      </a:lnTo>
                      <a:lnTo>
                        <a:pt x="54" y="132"/>
                      </a:lnTo>
                      <a:lnTo>
                        <a:pt x="56" y="134"/>
                      </a:lnTo>
                      <a:lnTo>
                        <a:pt x="56" y="136"/>
                      </a:lnTo>
                      <a:lnTo>
                        <a:pt x="54" y="136"/>
                      </a:lnTo>
                      <a:lnTo>
                        <a:pt x="52" y="140"/>
                      </a:lnTo>
                      <a:lnTo>
                        <a:pt x="50" y="138"/>
                      </a:lnTo>
                      <a:lnTo>
                        <a:pt x="46" y="134"/>
                      </a:lnTo>
                      <a:lnTo>
                        <a:pt x="44" y="132"/>
                      </a:lnTo>
                      <a:lnTo>
                        <a:pt x="42" y="130"/>
                      </a:lnTo>
                      <a:lnTo>
                        <a:pt x="36" y="134"/>
                      </a:lnTo>
                      <a:lnTo>
                        <a:pt x="34" y="134"/>
                      </a:lnTo>
                      <a:lnTo>
                        <a:pt x="34" y="136"/>
                      </a:lnTo>
                      <a:lnTo>
                        <a:pt x="28" y="138"/>
                      </a:lnTo>
                      <a:lnTo>
                        <a:pt x="26" y="138"/>
                      </a:lnTo>
                      <a:lnTo>
                        <a:pt x="26" y="142"/>
                      </a:lnTo>
                      <a:lnTo>
                        <a:pt x="22" y="142"/>
                      </a:lnTo>
                      <a:lnTo>
                        <a:pt x="20" y="146"/>
                      </a:lnTo>
                      <a:lnTo>
                        <a:pt x="12" y="140"/>
                      </a:lnTo>
                      <a:lnTo>
                        <a:pt x="12" y="136"/>
                      </a:lnTo>
                      <a:lnTo>
                        <a:pt x="14" y="134"/>
                      </a:lnTo>
                      <a:lnTo>
                        <a:pt x="14" y="130"/>
                      </a:lnTo>
                      <a:lnTo>
                        <a:pt x="12" y="130"/>
                      </a:lnTo>
                      <a:lnTo>
                        <a:pt x="12" y="126"/>
                      </a:lnTo>
                      <a:lnTo>
                        <a:pt x="14" y="124"/>
                      </a:lnTo>
                      <a:lnTo>
                        <a:pt x="14" y="122"/>
                      </a:lnTo>
                      <a:lnTo>
                        <a:pt x="18" y="118"/>
                      </a:lnTo>
                      <a:lnTo>
                        <a:pt x="20" y="116"/>
                      </a:lnTo>
                      <a:lnTo>
                        <a:pt x="20" y="112"/>
                      </a:lnTo>
                      <a:lnTo>
                        <a:pt x="22" y="110"/>
                      </a:lnTo>
                      <a:lnTo>
                        <a:pt x="24" y="110"/>
                      </a:lnTo>
                      <a:lnTo>
                        <a:pt x="26" y="106"/>
                      </a:lnTo>
                      <a:lnTo>
                        <a:pt x="28" y="102"/>
                      </a:lnTo>
                      <a:lnTo>
                        <a:pt x="26" y="100"/>
                      </a:lnTo>
                      <a:lnTo>
                        <a:pt x="26" y="98"/>
                      </a:lnTo>
                      <a:lnTo>
                        <a:pt x="24" y="96"/>
                      </a:lnTo>
                      <a:lnTo>
                        <a:pt x="20" y="94"/>
                      </a:lnTo>
                      <a:lnTo>
                        <a:pt x="20" y="90"/>
                      </a:lnTo>
                      <a:lnTo>
                        <a:pt x="20" y="84"/>
                      </a:lnTo>
                      <a:lnTo>
                        <a:pt x="20" y="80"/>
                      </a:lnTo>
                      <a:lnTo>
                        <a:pt x="22" y="80"/>
                      </a:lnTo>
                      <a:lnTo>
                        <a:pt x="22" y="78"/>
                      </a:lnTo>
                      <a:lnTo>
                        <a:pt x="22" y="76"/>
                      </a:lnTo>
                      <a:lnTo>
                        <a:pt x="20" y="76"/>
                      </a:lnTo>
                      <a:lnTo>
                        <a:pt x="20" y="74"/>
                      </a:lnTo>
                      <a:lnTo>
                        <a:pt x="16" y="72"/>
                      </a:lnTo>
                      <a:lnTo>
                        <a:pt x="16" y="74"/>
                      </a:lnTo>
                      <a:lnTo>
                        <a:pt x="10" y="74"/>
                      </a:lnTo>
                      <a:lnTo>
                        <a:pt x="8" y="72"/>
                      </a:lnTo>
                      <a:lnTo>
                        <a:pt x="8" y="68"/>
                      </a:lnTo>
                      <a:lnTo>
                        <a:pt x="6" y="66"/>
                      </a:lnTo>
                      <a:lnTo>
                        <a:pt x="4" y="68"/>
                      </a:lnTo>
                      <a:lnTo>
                        <a:pt x="0" y="66"/>
                      </a:lnTo>
                      <a:lnTo>
                        <a:pt x="0" y="64"/>
                      </a:lnTo>
                      <a:lnTo>
                        <a:pt x="2" y="62"/>
                      </a:lnTo>
                      <a:lnTo>
                        <a:pt x="2" y="60"/>
                      </a:lnTo>
                      <a:lnTo>
                        <a:pt x="2" y="56"/>
                      </a:lnTo>
                      <a:lnTo>
                        <a:pt x="8" y="52"/>
                      </a:lnTo>
                      <a:lnTo>
                        <a:pt x="10" y="52"/>
                      </a:lnTo>
                      <a:lnTo>
                        <a:pt x="10" y="50"/>
                      </a:lnTo>
                      <a:lnTo>
                        <a:pt x="32" y="54"/>
                      </a:lnTo>
                      <a:lnTo>
                        <a:pt x="34" y="50"/>
                      </a:lnTo>
                      <a:lnTo>
                        <a:pt x="34" y="42"/>
                      </a:lnTo>
                      <a:lnTo>
                        <a:pt x="38" y="42"/>
                      </a:lnTo>
                      <a:lnTo>
                        <a:pt x="38" y="44"/>
                      </a:lnTo>
                      <a:lnTo>
                        <a:pt x="42" y="42"/>
                      </a:lnTo>
                      <a:lnTo>
                        <a:pt x="40" y="38"/>
                      </a:lnTo>
                      <a:lnTo>
                        <a:pt x="38" y="36"/>
                      </a:lnTo>
                      <a:lnTo>
                        <a:pt x="44" y="36"/>
                      </a:lnTo>
                      <a:lnTo>
                        <a:pt x="44" y="32"/>
                      </a:lnTo>
                      <a:lnTo>
                        <a:pt x="42" y="32"/>
                      </a:lnTo>
                      <a:lnTo>
                        <a:pt x="38" y="34"/>
                      </a:lnTo>
                      <a:lnTo>
                        <a:pt x="36" y="34"/>
                      </a:lnTo>
                      <a:lnTo>
                        <a:pt x="34" y="32"/>
                      </a:lnTo>
                      <a:lnTo>
                        <a:pt x="34" y="30"/>
                      </a:lnTo>
                      <a:lnTo>
                        <a:pt x="38" y="30"/>
                      </a:lnTo>
                      <a:lnTo>
                        <a:pt x="46" y="30"/>
                      </a:lnTo>
                      <a:lnTo>
                        <a:pt x="50" y="30"/>
                      </a:lnTo>
                      <a:lnTo>
                        <a:pt x="52" y="30"/>
                      </a:lnTo>
                      <a:lnTo>
                        <a:pt x="54" y="30"/>
                      </a:lnTo>
                      <a:lnTo>
                        <a:pt x="54" y="26"/>
                      </a:lnTo>
                      <a:lnTo>
                        <a:pt x="52" y="20"/>
                      </a:lnTo>
                      <a:lnTo>
                        <a:pt x="52" y="16"/>
                      </a:lnTo>
                      <a:lnTo>
                        <a:pt x="54" y="10"/>
                      </a:lnTo>
                      <a:lnTo>
                        <a:pt x="56" y="8"/>
                      </a:lnTo>
                      <a:lnTo>
                        <a:pt x="60" y="10"/>
                      </a:lnTo>
                      <a:lnTo>
                        <a:pt x="62" y="14"/>
                      </a:lnTo>
                      <a:lnTo>
                        <a:pt x="66" y="14"/>
                      </a:lnTo>
                      <a:lnTo>
                        <a:pt x="66" y="12"/>
                      </a:lnTo>
                      <a:lnTo>
                        <a:pt x="68" y="12"/>
                      </a:lnTo>
                      <a:lnTo>
                        <a:pt x="70" y="12"/>
                      </a:lnTo>
                      <a:lnTo>
                        <a:pt x="72" y="12"/>
                      </a:lnTo>
                      <a:lnTo>
                        <a:pt x="72" y="10"/>
                      </a:lnTo>
                      <a:lnTo>
                        <a:pt x="78" y="8"/>
                      </a:lnTo>
                      <a:lnTo>
                        <a:pt x="82" y="4"/>
                      </a:lnTo>
                      <a:lnTo>
                        <a:pt x="82" y="0"/>
                      </a:lnTo>
                      <a:lnTo>
                        <a:pt x="84" y="0"/>
                      </a:lnTo>
                      <a:lnTo>
                        <a:pt x="90" y="6"/>
                      </a:lnTo>
                      <a:lnTo>
                        <a:pt x="90" y="8"/>
                      </a:lnTo>
                      <a:lnTo>
                        <a:pt x="92" y="10"/>
                      </a:lnTo>
                      <a:lnTo>
                        <a:pt x="94" y="12"/>
                      </a:lnTo>
                      <a:lnTo>
                        <a:pt x="82" y="22"/>
                      </a:lnTo>
                      <a:lnTo>
                        <a:pt x="82" y="24"/>
                      </a:lnTo>
                      <a:lnTo>
                        <a:pt x="84" y="24"/>
                      </a:lnTo>
                      <a:lnTo>
                        <a:pt x="88" y="28"/>
                      </a:lnTo>
                      <a:lnTo>
                        <a:pt x="88" y="30"/>
                      </a:lnTo>
                      <a:lnTo>
                        <a:pt x="90" y="30"/>
                      </a:lnTo>
                      <a:lnTo>
                        <a:pt x="92" y="30"/>
                      </a:lnTo>
                      <a:lnTo>
                        <a:pt x="94" y="30"/>
                      </a:lnTo>
                      <a:lnTo>
                        <a:pt x="100" y="30"/>
                      </a:lnTo>
                      <a:lnTo>
                        <a:pt x="98" y="30"/>
                      </a:lnTo>
                      <a:lnTo>
                        <a:pt x="98" y="32"/>
                      </a:lnTo>
                      <a:lnTo>
                        <a:pt x="96" y="32"/>
                      </a:lnTo>
                      <a:lnTo>
                        <a:pt x="90" y="34"/>
                      </a:lnTo>
                      <a:lnTo>
                        <a:pt x="90" y="38"/>
                      </a:lnTo>
                      <a:lnTo>
                        <a:pt x="86" y="42"/>
                      </a:lnTo>
                      <a:lnTo>
                        <a:pt x="84" y="40"/>
                      </a:lnTo>
                      <a:lnTo>
                        <a:pt x="84" y="38"/>
                      </a:lnTo>
                      <a:lnTo>
                        <a:pt x="86" y="38"/>
                      </a:lnTo>
                      <a:lnTo>
                        <a:pt x="88" y="36"/>
                      </a:lnTo>
                      <a:lnTo>
                        <a:pt x="86" y="36"/>
                      </a:lnTo>
                      <a:lnTo>
                        <a:pt x="84" y="36"/>
                      </a:lnTo>
                      <a:lnTo>
                        <a:pt x="82" y="36"/>
                      </a:lnTo>
                      <a:lnTo>
                        <a:pt x="80" y="34"/>
                      </a:lnTo>
                      <a:lnTo>
                        <a:pt x="72" y="30"/>
                      </a:lnTo>
                      <a:lnTo>
                        <a:pt x="62" y="34"/>
                      </a:lnTo>
                      <a:lnTo>
                        <a:pt x="60" y="34"/>
                      </a:lnTo>
                      <a:lnTo>
                        <a:pt x="58" y="36"/>
                      </a:lnTo>
                      <a:lnTo>
                        <a:pt x="58" y="40"/>
                      </a:lnTo>
                      <a:lnTo>
                        <a:pt x="60" y="40"/>
                      </a:lnTo>
                      <a:lnTo>
                        <a:pt x="58" y="40"/>
                      </a:lnTo>
                      <a:lnTo>
                        <a:pt x="56" y="42"/>
                      </a:lnTo>
                      <a:lnTo>
                        <a:pt x="56" y="40"/>
                      </a:lnTo>
                      <a:lnTo>
                        <a:pt x="54" y="38"/>
                      </a:lnTo>
                      <a:lnTo>
                        <a:pt x="52" y="44"/>
                      </a:lnTo>
                      <a:lnTo>
                        <a:pt x="52" y="48"/>
                      </a:lnTo>
                      <a:lnTo>
                        <a:pt x="54" y="48"/>
                      </a:lnTo>
                      <a:lnTo>
                        <a:pt x="54" y="52"/>
                      </a:lnTo>
                      <a:lnTo>
                        <a:pt x="52" y="54"/>
                      </a:lnTo>
                      <a:lnTo>
                        <a:pt x="54" y="54"/>
                      </a:lnTo>
                      <a:lnTo>
                        <a:pt x="60" y="54"/>
                      </a:lnTo>
                      <a:lnTo>
                        <a:pt x="60" y="52"/>
                      </a:lnTo>
                      <a:lnTo>
                        <a:pt x="66" y="52"/>
                      </a:lnTo>
                      <a:lnTo>
                        <a:pt x="66" y="54"/>
                      </a:lnTo>
                      <a:lnTo>
                        <a:pt x="72" y="54"/>
                      </a:lnTo>
                      <a:lnTo>
                        <a:pt x="78" y="52"/>
                      </a:lnTo>
                      <a:lnTo>
                        <a:pt x="78" y="54"/>
                      </a:lnTo>
                      <a:lnTo>
                        <a:pt x="80" y="54"/>
                      </a:lnTo>
                      <a:lnTo>
                        <a:pt x="82" y="52"/>
                      </a:lnTo>
                      <a:lnTo>
                        <a:pt x="86" y="52"/>
                      </a:lnTo>
                      <a:lnTo>
                        <a:pt x="90" y="54"/>
                      </a:lnTo>
                      <a:lnTo>
                        <a:pt x="90" y="56"/>
                      </a:lnTo>
                      <a:lnTo>
                        <a:pt x="92" y="58"/>
                      </a:lnTo>
                      <a:lnTo>
                        <a:pt x="100" y="60"/>
                      </a:lnTo>
                      <a:lnTo>
                        <a:pt x="100" y="58"/>
                      </a:lnTo>
                      <a:lnTo>
                        <a:pt x="102" y="58"/>
                      </a:lnTo>
                      <a:lnTo>
                        <a:pt x="102" y="56"/>
                      </a:lnTo>
                      <a:lnTo>
                        <a:pt x="102" y="54"/>
                      </a:lnTo>
                      <a:lnTo>
                        <a:pt x="108" y="54"/>
                      </a:lnTo>
                      <a:lnTo>
                        <a:pt x="110" y="52"/>
                      </a:lnTo>
                      <a:lnTo>
                        <a:pt x="112" y="52"/>
                      </a:lnTo>
                      <a:lnTo>
                        <a:pt x="114" y="54"/>
                      </a:lnTo>
                      <a:lnTo>
                        <a:pt x="114" y="56"/>
                      </a:lnTo>
                      <a:lnTo>
                        <a:pt x="114" y="58"/>
                      </a:lnTo>
                      <a:lnTo>
                        <a:pt x="118" y="58"/>
                      </a:lnTo>
                      <a:lnTo>
                        <a:pt x="120" y="56"/>
                      </a:lnTo>
                      <a:lnTo>
                        <a:pt x="120" y="58"/>
                      </a:lnTo>
                      <a:lnTo>
                        <a:pt x="120" y="60"/>
                      </a:lnTo>
                      <a:lnTo>
                        <a:pt x="120" y="62"/>
                      </a:lnTo>
                      <a:lnTo>
                        <a:pt x="120" y="64"/>
                      </a:lnTo>
                      <a:lnTo>
                        <a:pt x="122" y="64"/>
                      </a:lnTo>
                      <a:lnTo>
                        <a:pt x="124" y="62"/>
                      </a:lnTo>
                      <a:lnTo>
                        <a:pt x="126" y="60"/>
                      </a:lnTo>
                      <a:lnTo>
                        <a:pt x="128" y="60"/>
                      </a:lnTo>
                      <a:lnTo>
                        <a:pt x="130" y="60"/>
                      </a:lnTo>
                      <a:lnTo>
                        <a:pt x="130" y="64"/>
                      </a:lnTo>
                      <a:lnTo>
                        <a:pt x="134" y="66"/>
                      </a:lnTo>
                      <a:lnTo>
                        <a:pt x="136" y="64"/>
                      </a:lnTo>
                      <a:lnTo>
                        <a:pt x="136" y="62"/>
                      </a:lnTo>
                      <a:lnTo>
                        <a:pt x="138" y="60"/>
                      </a:lnTo>
                      <a:lnTo>
                        <a:pt x="142" y="60"/>
                      </a:lnTo>
                      <a:lnTo>
                        <a:pt x="144" y="60"/>
                      </a:lnTo>
                      <a:lnTo>
                        <a:pt x="146" y="60"/>
                      </a:lnTo>
                      <a:lnTo>
                        <a:pt x="148" y="60"/>
                      </a:lnTo>
                      <a:lnTo>
                        <a:pt x="150" y="60"/>
                      </a:lnTo>
                      <a:lnTo>
                        <a:pt x="160" y="60"/>
                      </a:lnTo>
                      <a:lnTo>
                        <a:pt x="164" y="60"/>
                      </a:lnTo>
                      <a:lnTo>
                        <a:pt x="164" y="58"/>
                      </a:lnTo>
                      <a:lnTo>
                        <a:pt x="168" y="56"/>
                      </a:lnTo>
                      <a:lnTo>
                        <a:pt x="172" y="58"/>
                      </a:lnTo>
                      <a:lnTo>
                        <a:pt x="172" y="62"/>
                      </a:lnTo>
                      <a:lnTo>
                        <a:pt x="172" y="64"/>
                      </a:lnTo>
                      <a:lnTo>
                        <a:pt x="172" y="66"/>
                      </a:lnTo>
                      <a:lnTo>
                        <a:pt x="174" y="70"/>
                      </a:lnTo>
                      <a:lnTo>
                        <a:pt x="178" y="74"/>
                      </a:lnTo>
                      <a:lnTo>
                        <a:pt x="178" y="76"/>
                      </a:lnTo>
                      <a:lnTo>
                        <a:pt x="174" y="76"/>
                      </a:lnTo>
                      <a:lnTo>
                        <a:pt x="174" y="78"/>
                      </a:lnTo>
                      <a:lnTo>
                        <a:pt x="176" y="86"/>
                      </a:lnTo>
                      <a:lnTo>
                        <a:pt x="180" y="90"/>
                      </a:lnTo>
                      <a:lnTo>
                        <a:pt x="184" y="90"/>
                      </a:lnTo>
                      <a:lnTo>
                        <a:pt x="184" y="88"/>
                      </a:lnTo>
                      <a:lnTo>
                        <a:pt x="184" y="84"/>
                      </a:lnTo>
                      <a:lnTo>
                        <a:pt x="190" y="84"/>
                      </a:lnTo>
                      <a:lnTo>
                        <a:pt x="200" y="88"/>
                      </a:lnTo>
                      <a:lnTo>
                        <a:pt x="204" y="92"/>
                      </a:lnTo>
                      <a:lnTo>
                        <a:pt x="206" y="94"/>
                      </a:lnTo>
                      <a:lnTo>
                        <a:pt x="206" y="96"/>
                      </a:lnTo>
                      <a:lnTo>
                        <a:pt x="204" y="96"/>
                      </a:lnTo>
                      <a:lnTo>
                        <a:pt x="202" y="98"/>
                      </a:lnTo>
                      <a:lnTo>
                        <a:pt x="204" y="106"/>
                      </a:lnTo>
                      <a:lnTo>
                        <a:pt x="206" y="106"/>
                      </a:lnTo>
                      <a:lnTo>
                        <a:pt x="206" y="114"/>
                      </a:lnTo>
                      <a:lnTo>
                        <a:pt x="208" y="114"/>
                      </a:lnTo>
                      <a:lnTo>
                        <a:pt x="208" y="118"/>
                      </a:lnTo>
                      <a:lnTo>
                        <a:pt x="206" y="120"/>
                      </a:lnTo>
                      <a:lnTo>
                        <a:pt x="206" y="122"/>
                      </a:lnTo>
                      <a:lnTo>
                        <a:pt x="210" y="124"/>
                      </a:lnTo>
                      <a:lnTo>
                        <a:pt x="214" y="128"/>
                      </a:lnTo>
                      <a:lnTo>
                        <a:pt x="212" y="132"/>
                      </a:lnTo>
                      <a:lnTo>
                        <a:pt x="210" y="132"/>
                      </a:lnTo>
                      <a:lnTo>
                        <a:pt x="208" y="134"/>
                      </a:lnTo>
                      <a:lnTo>
                        <a:pt x="206" y="1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3" name="Freeform 3007"/>
                <p:cNvSpPr>
                  <a:spLocks/>
                </p:cNvSpPr>
                <p:nvPr/>
              </p:nvSpPr>
              <p:spPr bwMode="auto">
                <a:xfrm>
                  <a:off x="6411461" y="3063001"/>
                  <a:ext cx="361544" cy="398945"/>
                </a:xfrm>
                <a:custGeom>
                  <a:avLst/>
                  <a:gdLst/>
                  <a:ahLst/>
                  <a:cxnLst>
                    <a:cxn ang="0">
                      <a:pos x="28" y="156"/>
                    </a:cxn>
                    <a:cxn ang="0">
                      <a:pos x="26" y="144"/>
                    </a:cxn>
                    <a:cxn ang="0">
                      <a:pos x="30" y="136"/>
                    </a:cxn>
                    <a:cxn ang="0">
                      <a:pos x="30" y="126"/>
                    </a:cxn>
                    <a:cxn ang="0">
                      <a:pos x="12" y="124"/>
                    </a:cxn>
                    <a:cxn ang="0">
                      <a:pos x="6" y="116"/>
                    </a:cxn>
                    <a:cxn ang="0">
                      <a:pos x="2" y="108"/>
                    </a:cxn>
                    <a:cxn ang="0">
                      <a:pos x="16" y="92"/>
                    </a:cxn>
                    <a:cxn ang="0">
                      <a:pos x="26" y="86"/>
                    </a:cxn>
                    <a:cxn ang="0">
                      <a:pos x="36" y="80"/>
                    </a:cxn>
                    <a:cxn ang="0">
                      <a:pos x="58" y="62"/>
                    </a:cxn>
                    <a:cxn ang="0">
                      <a:pos x="62" y="52"/>
                    </a:cxn>
                    <a:cxn ang="0">
                      <a:pos x="70" y="44"/>
                    </a:cxn>
                    <a:cxn ang="0">
                      <a:pos x="76" y="50"/>
                    </a:cxn>
                    <a:cxn ang="0">
                      <a:pos x="100" y="58"/>
                    </a:cxn>
                    <a:cxn ang="0">
                      <a:pos x="110" y="52"/>
                    </a:cxn>
                    <a:cxn ang="0">
                      <a:pos x="102" y="38"/>
                    </a:cxn>
                    <a:cxn ang="0">
                      <a:pos x="112" y="38"/>
                    </a:cxn>
                    <a:cxn ang="0">
                      <a:pos x="134" y="24"/>
                    </a:cxn>
                    <a:cxn ang="0">
                      <a:pos x="146" y="20"/>
                    </a:cxn>
                    <a:cxn ang="0">
                      <a:pos x="152" y="0"/>
                    </a:cxn>
                    <a:cxn ang="0">
                      <a:pos x="170" y="16"/>
                    </a:cxn>
                    <a:cxn ang="0">
                      <a:pos x="174" y="26"/>
                    </a:cxn>
                    <a:cxn ang="0">
                      <a:pos x="156" y="38"/>
                    </a:cxn>
                    <a:cxn ang="0">
                      <a:pos x="146" y="58"/>
                    </a:cxn>
                    <a:cxn ang="0">
                      <a:pos x="148" y="68"/>
                    </a:cxn>
                    <a:cxn ang="0">
                      <a:pos x="144" y="80"/>
                    </a:cxn>
                    <a:cxn ang="0">
                      <a:pos x="132" y="90"/>
                    </a:cxn>
                    <a:cxn ang="0">
                      <a:pos x="126" y="96"/>
                    </a:cxn>
                    <a:cxn ang="0">
                      <a:pos x="116" y="104"/>
                    </a:cxn>
                    <a:cxn ang="0">
                      <a:pos x="98" y="114"/>
                    </a:cxn>
                    <a:cxn ang="0">
                      <a:pos x="86" y="120"/>
                    </a:cxn>
                    <a:cxn ang="0">
                      <a:pos x="86" y="132"/>
                    </a:cxn>
                    <a:cxn ang="0">
                      <a:pos x="88" y="140"/>
                    </a:cxn>
                    <a:cxn ang="0">
                      <a:pos x="102" y="150"/>
                    </a:cxn>
                    <a:cxn ang="0">
                      <a:pos x="108" y="154"/>
                    </a:cxn>
                    <a:cxn ang="0">
                      <a:pos x="110" y="160"/>
                    </a:cxn>
                    <a:cxn ang="0">
                      <a:pos x="86" y="170"/>
                    </a:cxn>
                    <a:cxn ang="0">
                      <a:pos x="76" y="170"/>
                    </a:cxn>
                    <a:cxn ang="0">
                      <a:pos x="68" y="182"/>
                    </a:cxn>
                    <a:cxn ang="0">
                      <a:pos x="58" y="186"/>
                    </a:cxn>
                    <a:cxn ang="0">
                      <a:pos x="48" y="190"/>
                    </a:cxn>
                    <a:cxn ang="0">
                      <a:pos x="46" y="186"/>
                    </a:cxn>
                    <a:cxn ang="0">
                      <a:pos x="36" y="180"/>
                    </a:cxn>
                    <a:cxn ang="0">
                      <a:pos x="38" y="184"/>
                    </a:cxn>
                    <a:cxn ang="0">
                      <a:pos x="28" y="192"/>
                    </a:cxn>
                    <a:cxn ang="0">
                      <a:pos x="32" y="184"/>
                    </a:cxn>
                    <a:cxn ang="0">
                      <a:pos x="24" y="184"/>
                    </a:cxn>
                    <a:cxn ang="0">
                      <a:pos x="22" y="178"/>
                    </a:cxn>
                    <a:cxn ang="0">
                      <a:pos x="22" y="178"/>
                    </a:cxn>
                    <a:cxn ang="0">
                      <a:pos x="10" y="176"/>
                    </a:cxn>
                    <a:cxn ang="0">
                      <a:pos x="18" y="164"/>
                    </a:cxn>
                    <a:cxn ang="0">
                      <a:pos x="28" y="158"/>
                    </a:cxn>
                    <a:cxn ang="0">
                      <a:pos x="36" y="158"/>
                    </a:cxn>
                  </a:cxnLst>
                  <a:rect l="0" t="0" r="r" b="b"/>
                  <a:pathLst>
                    <a:path w="174" h="192">
                      <a:moveTo>
                        <a:pt x="36" y="158"/>
                      </a:moveTo>
                      <a:lnTo>
                        <a:pt x="34" y="156"/>
                      </a:lnTo>
                      <a:lnTo>
                        <a:pt x="30" y="156"/>
                      </a:lnTo>
                      <a:lnTo>
                        <a:pt x="28" y="156"/>
                      </a:lnTo>
                      <a:lnTo>
                        <a:pt x="26" y="156"/>
                      </a:lnTo>
                      <a:lnTo>
                        <a:pt x="22" y="152"/>
                      </a:lnTo>
                      <a:lnTo>
                        <a:pt x="26" y="146"/>
                      </a:lnTo>
                      <a:lnTo>
                        <a:pt x="26" y="144"/>
                      </a:lnTo>
                      <a:lnTo>
                        <a:pt x="26" y="142"/>
                      </a:lnTo>
                      <a:lnTo>
                        <a:pt x="26" y="140"/>
                      </a:lnTo>
                      <a:lnTo>
                        <a:pt x="28" y="138"/>
                      </a:lnTo>
                      <a:lnTo>
                        <a:pt x="30" y="136"/>
                      </a:lnTo>
                      <a:lnTo>
                        <a:pt x="30" y="132"/>
                      </a:lnTo>
                      <a:lnTo>
                        <a:pt x="28" y="132"/>
                      </a:lnTo>
                      <a:lnTo>
                        <a:pt x="28" y="130"/>
                      </a:lnTo>
                      <a:lnTo>
                        <a:pt x="30" y="126"/>
                      </a:lnTo>
                      <a:lnTo>
                        <a:pt x="28" y="126"/>
                      </a:lnTo>
                      <a:lnTo>
                        <a:pt x="26" y="126"/>
                      </a:lnTo>
                      <a:lnTo>
                        <a:pt x="12" y="118"/>
                      </a:lnTo>
                      <a:lnTo>
                        <a:pt x="12" y="124"/>
                      </a:lnTo>
                      <a:lnTo>
                        <a:pt x="8" y="124"/>
                      </a:lnTo>
                      <a:lnTo>
                        <a:pt x="8" y="122"/>
                      </a:lnTo>
                      <a:lnTo>
                        <a:pt x="10" y="122"/>
                      </a:lnTo>
                      <a:lnTo>
                        <a:pt x="6" y="116"/>
                      </a:lnTo>
                      <a:lnTo>
                        <a:pt x="4" y="116"/>
                      </a:lnTo>
                      <a:lnTo>
                        <a:pt x="2" y="116"/>
                      </a:lnTo>
                      <a:lnTo>
                        <a:pt x="0" y="114"/>
                      </a:lnTo>
                      <a:lnTo>
                        <a:pt x="2" y="108"/>
                      </a:lnTo>
                      <a:lnTo>
                        <a:pt x="2" y="106"/>
                      </a:lnTo>
                      <a:lnTo>
                        <a:pt x="8" y="100"/>
                      </a:lnTo>
                      <a:lnTo>
                        <a:pt x="10" y="100"/>
                      </a:lnTo>
                      <a:lnTo>
                        <a:pt x="16" y="92"/>
                      </a:lnTo>
                      <a:lnTo>
                        <a:pt x="18" y="94"/>
                      </a:lnTo>
                      <a:lnTo>
                        <a:pt x="20" y="94"/>
                      </a:lnTo>
                      <a:lnTo>
                        <a:pt x="20" y="90"/>
                      </a:lnTo>
                      <a:lnTo>
                        <a:pt x="26" y="86"/>
                      </a:lnTo>
                      <a:lnTo>
                        <a:pt x="30" y="86"/>
                      </a:lnTo>
                      <a:lnTo>
                        <a:pt x="32" y="84"/>
                      </a:lnTo>
                      <a:lnTo>
                        <a:pt x="34" y="84"/>
                      </a:lnTo>
                      <a:lnTo>
                        <a:pt x="36" y="80"/>
                      </a:lnTo>
                      <a:lnTo>
                        <a:pt x="38" y="80"/>
                      </a:lnTo>
                      <a:lnTo>
                        <a:pt x="44" y="78"/>
                      </a:lnTo>
                      <a:lnTo>
                        <a:pt x="46" y="78"/>
                      </a:lnTo>
                      <a:lnTo>
                        <a:pt x="58" y="62"/>
                      </a:lnTo>
                      <a:lnTo>
                        <a:pt x="58" y="60"/>
                      </a:lnTo>
                      <a:lnTo>
                        <a:pt x="60" y="60"/>
                      </a:lnTo>
                      <a:lnTo>
                        <a:pt x="62" y="54"/>
                      </a:lnTo>
                      <a:lnTo>
                        <a:pt x="62" y="52"/>
                      </a:lnTo>
                      <a:lnTo>
                        <a:pt x="66" y="48"/>
                      </a:lnTo>
                      <a:lnTo>
                        <a:pt x="68" y="48"/>
                      </a:lnTo>
                      <a:lnTo>
                        <a:pt x="70" y="46"/>
                      </a:lnTo>
                      <a:lnTo>
                        <a:pt x="70" y="44"/>
                      </a:lnTo>
                      <a:lnTo>
                        <a:pt x="72" y="44"/>
                      </a:lnTo>
                      <a:lnTo>
                        <a:pt x="74" y="48"/>
                      </a:lnTo>
                      <a:lnTo>
                        <a:pt x="74" y="50"/>
                      </a:lnTo>
                      <a:lnTo>
                        <a:pt x="76" y="50"/>
                      </a:lnTo>
                      <a:lnTo>
                        <a:pt x="78" y="54"/>
                      </a:lnTo>
                      <a:lnTo>
                        <a:pt x="80" y="56"/>
                      </a:lnTo>
                      <a:lnTo>
                        <a:pt x="98" y="58"/>
                      </a:lnTo>
                      <a:lnTo>
                        <a:pt x="100" y="58"/>
                      </a:lnTo>
                      <a:lnTo>
                        <a:pt x="102" y="60"/>
                      </a:lnTo>
                      <a:lnTo>
                        <a:pt x="104" y="60"/>
                      </a:lnTo>
                      <a:lnTo>
                        <a:pt x="106" y="60"/>
                      </a:lnTo>
                      <a:lnTo>
                        <a:pt x="110" y="52"/>
                      </a:lnTo>
                      <a:lnTo>
                        <a:pt x="108" y="50"/>
                      </a:lnTo>
                      <a:lnTo>
                        <a:pt x="106" y="50"/>
                      </a:lnTo>
                      <a:lnTo>
                        <a:pt x="104" y="44"/>
                      </a:lnTo>
                      <a:lnTo>
                        <a:pt x="102" y="38"/>
                      </a:lnTo>
                      <a:lnTo>
                        <a:pt x="108" y="36"/>
                      </a:lnTo>
                      <a:lnTo>
                        <a:pt x="110" y="36"/>
                      </a:lnTo>
                      <a:lnTo>
                        <a:pt x="112" y="36"/>
                      </a:lnTo>
                      <a:lnTo>
                        <a:pt x="112" y="38"/>
                      </a:lnTo>
                      <a:lnTo>
                        <a:pt x="126" y="36"/>
                      </a:lnTo>
                      <a:lnTo>
                        <a:pt x="128" y="34"/>
                      </a:lnTo>
                      <a:lnTo>
                        <a:pt x="134" y="30"/>
                      </a:lnTo>
                      <a:lnTo>
                        <a:pt x="134" y="24"/>
                      </a:lnTo>
                      <a:lnTo>
                        <a:pt x="138" y="20"/>
                      </a:lnTo>
                      <a:lnTo>
                        <a:pt x="140" y="20"/>
                      </a:lnTo>
                      <a:lnTo>
                        <a:pt x="142" y="22"/>
                      </a:lnTo>
                      <a:lnTo>
                        <a:pt x="146" y="20"/>
                      </a:lnTo>
                      <a:lnTo>
                        <a:pt x="148" y="20"/>
                      </a:lnTo>
                      <a:lnTo>
                        <a:pt x="148" y="18"/>
                      </a:lnTo>
                      <a:lnTo>
                        <a:pt x="148" y="16"/>
                      </a:lnTo>
                      <a:lnTo>
                        <a:pt x="152" y="0"/>
                      </a:lnTo>
                      <a:lnTo>
                        <a:pt x="154" y="0"/>
                      </a:lnTo>
                      <a:lnTo>
                        <a:pt x="162" y="4"/>
                      </a:lnTo>
                      <a:lnTo>
                        <a:pt x="162" y="10"/>
                      </a:lnTo>
                      <a:lnTo>
                        <a:pt x="170" y="16"/>
                      </a:lnTo>
                      <a:lnTo>
                        <a:pt x="170" y="20"/>
                      </a:lnTo>
                      <a:lnTo>
                        <a:pt x="172" y="22"/>
                      </a:lnTo>
                      <a:lnTo>
                        <a:pt x="174" y="24"/>
                      </a:lnTo>
                      <a:lnTo>
                        <a:pt x="174" y="26"/>
                      </a:lnTo>
                      <a:lnTo>
                        <a:pt x="172" y="28"/>
                      </a:lnTo>
                      <a:lnTo>
                        <a:pt x="172" y="26"/>
                      </a:lnTo>
                      <a:lnTo>
                        <a:pt x="168" y="26"/>
                      </a:lnTo>
                      <a:lnTo>
                        <a:pt x="156" y="38"/>
                      </a:lnTo>
                      <a:lnTo>
                        <a:pt x="150" y="46"/>
                      </a:lnTo>
                      <a:lnTo>
                        <a:pt x="146" y="50"/>
                      </a:lnTo>
                      <a:lnTo>
                        <a:pt x="146" y="56"/>
                      </a:lnTo>
                      <a:lnTo>
                        <a:pt x="146" y="58"/>
                      </a:lnTo>
                      <a:lnTo>
                        <a:pt x="148" y="60"/>
                      </a:lnTo>
                      <a:lnTo>
                        <a:pt x="150" y="60"/>
                      </a:lnTo>
                      <a:lnTo>
                        <a:pt x="150" y="62"/>
                      </a:lnTo>
                      <a:lnTo>
                        <a:pt x="148" y="68"/>
                      </a:lnTo>
                      <a:lnTo>
                        <a:pt x="148" y="74"/>
                      </a:lnTo>
                      <a:lnTo>
                        <a:pt x="148" y="76"/>
                      </a:lnTo>
                      <a:lnTo>
                        <a:pt x="148" y="80"/>
                      </a:lnTo>
                      <a:lnTo>
                        <a:pt x="144" y="80"/>
                      </a:lnTo>
                      <a:lnTo>
                        <a:pt x="134" y="86"/>
                      </a:lnTo>
                      <a:lnTo>
                        <a:pt x="132" y="88"/>
                      </a:lnTo>
                      <a:lnTo>
                        <a:pt x="134" y="90"/>
                      </a:lnTo>
                      <a:lnTo>
                        <a:pt x="132" y="90"/>
                      </a:lnTo>
                      <a:lnTo>
                        <a:pt x="130" y="92"/>
                      </a:lnTo>
                      <a:lnTo>
                        <a:pt x="130" y="94"/>
                      </a:lnTo>
                      <a:lnTo>
                        <a:pt x="128" y="94"/>
                      </a:lnTo>
                      <a:lnTo>
                        <a:pt x="126" y="96"/>
                      </a:lnTo>
                      <a:lnTo>
                        <a:pt x="124" y="96"/>
                      </a:lnTo>
                      <a:lnTo>
                        <a:pt x="122" y="98"/>
                      </a:lnTo>
                      <a:lnTo>
                        <a:pt x="118" y="100"/>
                      </a:lnTo>
                      <a:lnTo>
                        <a:pt x="116" y="104"/>
                      </a:lnTo>
                      <a:lnTo>
                        <a:pt x="110" y="108"/>
                      </a:lnTo>
                      <a:lnTo>
                        <a:pt x="102" y="108"/>
                      </a:lnTo>
                      <a:lnTo>
                        <a:pt x="100" y="108"/>
                      </a:lnTo>
                      <a:lnTo>
                        <a:pt x="98" y="114"/>
                      </a:lnTo>
                      <a:lnTo>
                        <a:pt x="92" y="114"/>
                      </a:lnTo>
                      <a:lnTo>
                        <a:pt x="88" y="118"/>
                      </a:lnTo>
                      <a:lnTo>
                        <a:pt x="88" y="120"/>
                      </a:lnTo>
                      <a:lnTo>
                        <a:pt x="86" y="120"/>
                      </a:lnTo>
                      <a:lnTo>
                        <a:pt x="88" y="134"/>
                      </a:lnTo>
                      <a:lnTo>
                        <a:pt x="88" y="132"/>
                      </a:lnTo>
                      <a:lnTo>
                        <a:pt x="86" y="130"/>
                      </a:lnTo>
                      <a:lnTo>
                        <a:pt x="86" y="132"/>
                      </a:lnTo>
                      <a:lnTo>
                        <a:pt x="84" y="132"/>
                      </a:lnTo>
                      <a:lnTo>
                        <a:pt x="84" y="138"/>
                      </a:lnTo>
                      <a:lnTo>
                        <a:pt x="86" y="140"/>
                      </a:lnTo>
                      <a:lnTo>
                        <a:pt x="88" y="140"/>
                      </a:lnTo>
                      <a:lnTo>
                        <a:pt x="92" y="140"/>
                      </a:lnTo>
                      <a:lnTo>
                        <a:pt x="94" y="142"/>
                      </a:lnTo>
                      <a:lnTo>
                        <a:pt x="96" y="146"/>
                      </a:lnTo>
                      <a:lnTo>
                        <a:pt x="102" y="150"/>
                      </a:lnTo>
                      <a:lnTo>
                        <a:pt x="104" y="150"/>
                      </a:lnTo>
                      <a:lnTo>
                        <a:pt x="104" y="152"/>
                      </a:lnTo>
                      <a:lnTo>
                        <a:pt x="106" y="156"/>
                      </a:lnTo>
                      <a:lnTo>
                        <a:pt x="108" y="154"/>
                      </a:lnTo>
                      <a:lnTo>
                        <a:pt x="108" y="156"/>
                      </a:lnTo>
                      <a:lnTo>
                        <a:pt x="110" y="156"/>
                      </a:lnTo>
                      <a:lnTo>
                        <a:pt x="110" y="158"/>
                      </a:lnTo>
                      <a:lnTo>
                        <a:pt x="110" y="160"/>
                      </a:lnTo>
                      <a:lnTo>
                        <a:pt x="110" y="164"/>
                      </a:lnTo>
                      <a:lnTo>
                        <a:pt x="104" y="168"/>
                      </a:lnTo>
                      <a:lnTo>
                        <a:pt x="104" y="170"/>
                      </a:lnTo>
                      <a:lnTo>
                        <a:pt x="86" y="170"/>
                      </a:lnTo>
                      <a:lnTo>
                        <a:pt x="84" y="168"/>
                      </a:lnTo>
                      <a:lnTo>
                        <a:pt x="80" y="168"/>
                      </a:lnTo>
                      <a:lnTo>
                        <a:pt x="78" y="170"/>
                      </a:lnTo>
                      <a:lnTo>
                        <a:pt x="76" y="170"/>
                      </a:lnTo>
                      <a:lnTo>
                        <a:pt x="74" y="172"/>
                      </a:lnTo>
                      <a:lnTo>
                        <a:pt x="74" y="174"/>
                      </a:lnTo>
                      <a:lnTo>
                        <a:pt x="72" y="174"/>
                      </a:lnTo>
                      <a:lnTo>
                        <a:pt x="68" y="182"/>
                      </a:lnTo>
                      <a:lnTo>
                        <a:pt x="66" y="182"/>
                      </a:lnTo>
                      <a:lnTo>
                        <a:pt x="64" y="186"/>
                      </a:lnTo>
                      <a:lnTo>
                        <a:pt x="62" y="188"/>
                      </a:lnTo>
                      <a:lnTo>
                        <a:pt x="58" y="186"/>
                      </a:lnTo>
                      <a:lnTo>
                        <a:pt x="56" y="184"/>
                      </a:lnTo>
                      <a:lnTo>
                        <a:pt x="50" y="186"/>
                      </a:lnTo>
                      <a:lnTo>
                        <a:pt x="50" y="190"/>
                      </a:lnTo>
                      <a:lnTo>
                        <a:pt x="48" y="190"/>
                      </a:lnTo>
                      <a:lnTo>
                        <a:pt x="46" y="184"/>
                      </a:lnTo>
                      <a:lnTo>
                        <a:pt x="44" y="184"/>
                      </a:lnTo>
                      <a:lnTo>
                        <a:pt x="46" y="184"/>
                      </a:lnTo>
                      <a:lnTo>
                        <a:pt x="46" y="186"/>
                      </a:lnTo>
                      <a:lnTo>
                        <a:pt x="44" y="186"/>
                      </a:lnTo>
                      <a:lnTo>
                        <a:pt x="40" y="182"/>
                      </a:lnTo>
                      <a:lnTo>
                        <a:pt x="40" y="180"/>
                      </a:lnTo>
                      <a:lnTo>
                        <a:pt x="36" y="180"/>
                      </a:lnTo>
                      <a:lnTo>
                        <a:pt x="34" y="178"/>
                      </a:lnTo>
                      <a:lnTo>
                        <a:pt x="34" y="180"/>
                      </a:lnTo>
                      <a:lnTo>
                        <a:pt x="36" y="180"/>
                      </a:lnTo>
                      <a:lnTo>
                        <a:pt x="38" y="184"/>
                      </a:lnTo>
                      <a:lnTo>
                        <a:pt x="36" y="186"/>
                      </a:lnTo>
                      <a:lnTo>
                        <a:pt x="34" y="188"/>
                      </a:lnTo>
                      <a:lnTo>
                        <a:pt x="28" y="190"/>
                      </a:lnTo>
                      <a:lnTo>
                        <a:pt x="28" y="192"/>
                      </a:lnTo>
                      <a:lnTo>
                        <a:pt x="28" y="190"/>
                      </a:lnTo>
                      <a:lnTo>
                        <a:pt x="28" y="188"/>
                      </a:lnTo>
                      <a:lnTo>
                        <a:pt x="32" y="186"/>
                      </a:lnTo>
                      <a:lnTo>
                        <a:pt x="32" y="184"/>
                      </a:lnTo>
                      <a:lnTo>
                        <a:pt x="30" y="184"/>
                      </a:lnTo>
                      <a:lnTo>
                        <a:pt x="28" y="184"/>
                      </a:lnTo>
                      <a:lnTo>
                        <a:pt x="26" y="182"/>
                      </a:lnTo>
                      <a:lnTo>
                        <a:pt x="24" y="184"/>
                      </a:lnTo>
                      <a:lnTo>
                        <a:pt x="22" y="184"/>
                      </a:lnTo>
                      <a:lnTo>
                        <a:pt x="20" y="184"/>
                      </a:lnTo>
                      <a:lnTo>
                        <a:pt x="18" y="182"/>
                      </a:lnTo>
                      <a:lnTo>
                        <a:pt x="22" y="178"/>
                      </a:lnTo>
                      <a:lnTo>
                        <a:pt x="24" y="178"/>
                      </a:lnTo>
                      <a:lnTo>
                        <a:pt x="26" y="180"/>
                      </a:lnTo>
                      <a:lnTo>
                        <a:pt x="26" y="178"/>
                      </a:lnTo>
                      <a:lnTo>
                        <a:pt x="22" y="178"/>
                      </a:lnTo>
                      <a:lnTo>
                        <a:pt x="20" y="178"/>
                      </a:lnTo>
                      <a:lnTo>
                        <a:pt x="16" y="176"/>
                      </a:lnTo>
                      <a:lnTo>
                        <a:pt x="12" y="178"/>
                      </a:lnTo>
                      <a:lnTo>
                        <a:pt x="10" y="176"/>
                      </a:lnTo>
                      <a:lnTo>
                        <a:pt x="12" y="176"/>
                      </a:lnTo>
                      <a:lnTo>
                        <a:pt x="16" y="172"/>
                      </a:lnTo>
                      <a:lnTo>
                        <a:pt x="16" y="168"/>
                      </a:lnTo>
                      <a:lnTo>
                        <a:pt x="18" y="164"/>
                      </a:lnTo>
                      <a:lnTo>
                        <a:pt x="18" y="160"/>
                      </a:lnTo>
                      <a:lnTo>
                        <a:pt x="20" y="160"/>
                      </a:lnTo>
                      <a:lnTo>
                        <a:pt x="22" y="158"/>
                      </a:lnTo>
                      <a:lnTo>
                        <a:pt x="28" y="158"/>
                      </a:lnTo>
                      <a:lnTo>
                        <a:pt x="28" y="156"/>
                      </a:lnTo>
                      <a:lnTo>
                        <a:pt x="34" y="156"/>
                      </a:lnTo>
                      <a:lnTo>
                        <a:pt x="34" y="158"/>
                      </a:lnTo>
                      <a:lnTo>
                        <a:pt x="36" y="15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4" name="Freeform 3008"/>
                <p:cNvSpPr>
                  <a:spLocks/>
                </p:cNvSpPr>
                <p:nvPr/>
              </p:nvSpPr>
              <p:spPr bwMode="auto">
                <a:xfrm>
                  <a:off x="2783553" y="3403767"/>
                  <a:ext cx="818669" cy="623352"/>
                </a:xfrm>
                <a:custGeom>
                  <a:avLst/>
                  <a:gdLst/>
                  <a:ahLst/>
                  <a:cxnLst>
                    <a:cxn ang="0">
                      <a:pos x="36" y="104"/>
                    </a:cxn>
                    <a:cxn ang="0">
                      <a:pos x="48" y="112"/>
                    </a:cxn>
                    <a:cxn ang="0">
                      <a:pos x="56" y="110"/>
                    </a:cxn>
                    <a:cxn ang="0">
                      <a:pos x="70" y="104"/>
                    </a:cxn>
                    <a:cxn ang="0">
                      <a:pos x="72" y="92"/>
                    </a:cxn>
                    <a:cxn ang="0">
                      <a:pos x="90" y="86"/>
                    </a:cxn>
                    <a:cxn ang="0">
                      <a:pos x="110" y="74"/>
                    </a:cxn>
                    <a:cxn ang="0">
                      <a:pos x="112" y="62"/>
                    </a:cxn>
                    <a:cxn ang="0">
                      <a:pos x="118" y="46"/>
                    </a:cxn>
                    <a:cxn ang="0">
                      <a:pos x="142" y="34"/>
                    </a:cxn>
                    <a:cxn ang="0">
                      <a:pos x="162" y="38"/>
                    </a:cxn>
                    <a:cxn ang="0">
                      <a:pos x="178" y="38"/>
                    </a:cxn>
                    <a:cxn ang="0">
                      <a:pos x="190" y="42"/>
                    </a:cxn>
                    <a:cxn ang="0">
                      <a:pos x="210" y="50"/>
                    </a:cxn>
                    <a:cxn ang="0">
                      <a:pos x="224" y="42"/>
                    </a:cxn>
                    <a:cxn ang="0">
                      <a:pos x="242" y="44"/>
                    </a:cxn>
                    <a:cxn ang="0">
                      <a:pos x="248" y="32"/>
                    </a:cxn>
                    <a:cxn ang="0">
                      <a:pos x="264" y="32"/>
                    </a:cxn>
                    <a:cxn ang="0">
                      <a:pos x="264" y="20"/>
                    </a:cxn>
                    <a:cxn ang="0">
                      <a:pos x="274" y="8"/>
                    </a:cxn>
                    <a:cxn ang="0">
                      <a:pos x="296" y="10"/>
                    </a:cxn>
                    <a:cxn ang="0">
                      <a:pos x="302" y="18"/>
                    </a:cxn>
                    <a:cxn ang="0">
                      <a:pos x="302" y="42"/>
                    </a:cxn>
                    <a:cxn ang="0">
                      <a:pos x="302" y="60"/>
                    </a:cxn>
                    <a:cxn ang="0">
                      <a:pos x="324" y="50"/>
                    </a:cxn>
                    <a:cxn ang="0">
                      <a:pos x="342" y="40"/>
                    </a:cxn>
                    <a:cxn ang="0">
                      <a:pos x="364" y="36"/>
                    </a:cxn>
                    <a:cxn ang="0">
                      <a:pos x="374" y="38"/>
                    </a:cxn>
                    <a:cxn ang="0">
                      <a:pos x="394" y="42"/>
                    </a:cxn>
                    <a:cxn ang="0">
                      <a:pos x="380" y="44"/>
                    </a:cxn>
                    <a:cxn ang="0">
                      <a:pos x="370" y="56"/>
                    </a:cxn>
                    <a:cxn ang="0">
                      <a:pos x="336" y="56"/>
                    </a:cxn>
                    <a:cxn ang="0">
                      <a:pos x="320" y="62"/>
                    </a:cxn>
                    <a:cxn ang="0">
                      <a:pos x="292" y="84"/>
                    </a:cxn>
                    <a:cxn ang="0">
                      <a:pos x="304" y="110"/>
                    </a:cxn>
                    <a:cxn ang="0">
                      <a:pos x="288" y="132"/>
                    </a:cxn>
                    <a:cxn ang="0">
                      <a:pos x="282" y="154"/>
                    </a:cxn>
                    <a:cxn ang="0">
                      <a:pos x="264" y="160"/>
                    </a:cxn>
                    <a:cxn ang="0">
                      <a:pos x="268" y="170"/>
                    </a:cxn>
                    <a:cxn ang="0">
                      <a:pos x="246" y="188"/>
                    </a:cxn>
                    <a:cxn ang="0">
                      <a:pos x="242" y="200"/>
                    </a:cxn>
                    <a:cxn ang="0">
                      <a:pos x="242" y="218"/>
                    </a:cxn>
                    <a:cxn ang="0">
                      <a:pos x="218" y="222"/>
                    </a:cxn>
                    <a:cxn ang="0">
                      <a:pos x="210" y="222"/>
                    </a:cxn>
                    <a:cxn ang="0">
                      <a:pos x="194" y="232"/>
                    </a:cxn>
                    <a:cxn ang="0">
                      <a:pos x="188" y="242"/>
                    </a:cxn>
                    <a:cxn ang="0">
                      <a:pos x="174" y="240"/>
                    </a:cxn>
                    <a:cxn ang="0">
                      <a:pos x="158" y="262"/>
                    </a:cxn>
                    <a:cxn ang="0">
                      <a:pos x="156" y="278"/>
                    </a:cxn>
                    <a:cxn ang="0">
                      <a:pos x="124" y="296"/>
                    </a:cxn>
                    <a:cxn ang="0">
                      <a:pos x="84" y="296"/>
                    </a:cxn>
                    <a:cxn ang="0">
                      <a:pos x="38" y="248"/>
                    </a:cxn>
                    <a:cxn ang="0">
                      <a:pos x="10" y="232"/>
                    </a:cxn>
                    <a:cxn ang="0">
                      <a:pos x="10" y="168"/>
                    </a:cxn>
                    <a:cxn ang="0">
                      <a:pos x="0" y="160"/>
                    </a:cxn>
                    <a:cxn ang="0">
                      <a:pos x="6" y="140"/>
                    </a:cxn>
                    <a:cxn ang="0">
                      <a:pos x="18" y="116"/>
                    </a:cxn>
                    <a:cxn ang="0">
                      <a:pos x="20" y="98"/>
                    </a:cxn>
                  </a:cxnLst>
                  <a:rect l="0" t="0" r="r" b="b"/>
                  <a:pathLst>
                    <a:path w="394" h="300">
                      <a:moveTo>
                        <a:pt x="20" y="98"/>
                      </a:moveTo>
                      <a:lnTo>
                        <a:pt x="22" y="98"/>
                      </a:lnTo>
                      <a:lnTo>
                        <a:pt x="24" y="98"/>
                      </a:lnTo>
                      <a:lnTo>
                        <a:pt x="26" y="100"/>
                      </a:lnTo>
                      <a:lnTo>
                        <a:pt x="30" y="104"/>
                      </a:lnTo>
                      <a:lnTo>
                        <a:pt x="36" y="104"/>
                      </a:lnTo>
                      <a:lnTo>
                        <a:pt x="40" y="102"/>
                      </a:lnTo>
                      <a:lnTo>
                        <a:pt x="42" y="104"/>
                      </a:lnTo>
                      <a:lnTo>
                        <a:pt x="44" y="104"/>
                      </a:lnTo>
                      <a:lnTo>
                        <a:pt x="44" y="106"/>
                      </a:lnTo>
                      <a:lnTo>
                        <a:pt x="48" y="110"/>
                      </a:lnTo>
                      <a:lnTo>
                        <a:pt x="48" y="112"/>
                      </a:lnTo>
                      <a:lnTo>
                        <a:pt x="50" y="114"/>
                      </a:lnTo>
                      <a:lnTo>
                        <a:pt x="50" y="112"/>
                      </a:lnTo>
                      <a:lnTo>
                        <a:pt x="52" y="110"/>
                      </a:lnTo>
                      <a:lnTo>
                        <a:pt x="54" y="108"/>
                      </a:lnTo>
                      <a:lnTo>
                        <a:pt x="56" y="108"/>
                      </a:lnTo>
                      <a:lnTo>
                        <a:pt x="56" y="110"/>
                      </a:lnTo>
                      <a:lnTo>
                        <a:pt x="58" y="110"/>
                      </a:lnTo>
                      <a:lnTo>
                        <a:pt x="62" y="110"/>
                      </a:lnTo>
                      <a:lnTo>
                        <a:pt x="64" y="108"/>
                      </a:lnTo>
                      <a:lnTo>
                        <a:pt x="66" y="106"/>
                      </a:lnTo>
                      <a:lnTo>
                        <a:pt x="68" y="104"/>
                      </a:lnTo>
                      <a:lnTo>
                        <a:pt x="70" y="104"/>
                      </a:lnTo>
                      <a:lnTo>
                        <a:pt x="72" y="102"/>
                      </a:lnTo>
                      <a:lnTo>
                        <a:pt x="72" y="100"/>
                      </a:lnTo>
                      <a:lnTo>
                        <a:pt x="72" y="98"/>
                      </a:lnTo>
                      <a:lnTo>
                        <a:pt x="72" y="96"/>
                      </a:lnTo>
                      <a:lnTo>
                        <a:pt x="74" y="96"/>
                      </a:lnTo>
                      <a:lnTo>
                        <a:pt x="72" y="92"/>
                      </a:lnTo>
                      <a:lnTo>
                        <a:pt x="72" y="90"/>
                      </a:lnTo>
                      <a:lnTo>
                        <a:pt x="76" y="90"/>
                      </a:lnTo>
                      <a:lnTo>
                        <a:pt x="78" y="90"/>
                      </a:lnTo>
                      <a:lnTo>
                        <a:pt x="82" y="88"/>
                      </a:lnTo>
                      <a:lnTo>
                        <a:pt x="84" y="86"/>
                      </a:lnTo>
                      <a:lnTo>
                        <a:pt x="90" y="86"/>
                      </a:lnTo>
                      <a:lnTo>
                        <a:pt x="92" y="84"/>
                      </a:lnTo>
                      <a:lnTo>
                        <a:pt x="96" y="84"/>
                      </a:lnTo>
                      <a:lnTo>
                        <a:pt x="100" y="80"/>
                      </a:lnTo>
                      <a:lnTo>
                        <a:pt x="108" y="76"/>
                      </a:lnTo>
                      <a:lnTo>
                        <a:pt x="110" y="76"/>
                      </a:lnTo>
                      <a:lnTo>
                        <a:pt x="110" y="74"/>
                      </a:lnTo>
                      <a:lnTo>
                        <a:pt x="112" y="72"/>
                      </a:lnTo>
                      <a:lnTo>
                        <a:pt x="112" y="70"/>
                      </a:lnTo>
                      <a:lnTo>
                        <a:pt x="114" y="70"/>
                      </a:lnTo>
                      <a:lnTo>
                        <a:pt x="114" y="68"/>
                      </a:lnTo>
                      <a:lnTo>
                        <a:pt x="112" y="66"/>
                      </a:lnTo>
                      <a:lnTo>
                        <a:pt x="112" y="62"/>
                      </a:lnTo>
                      <a:lnTo>
                        <a:pt x="114" y="62"/>
                      </a:lnTo>
                      <a:lnTo>
                        <a:pt x="114" y="60"/>
                      </a:lnTo>
                      <a:lnTo>
                        <a:pt x="114" y="58"/>
                      </a:lnTo>
                      <a:lnTo>
                        <a:pt x="116" y="58"/>
                      </a:lnTo>
                      <a:lnTo>
                        <a:pt x="118" y="54"/>
                      </a:lnTo>
                      <a:lnTo>
                        <a:pt x="118" y="46"/>
                      </a:lnTo>
                      <a:lnTo>
                        <a:pt x="120" y="46"/>
                      </a:lnTo>
                      <a:lnTo>
                        <a:pt x="124" y="42"/>
                      </a:lnTo>
                      <a:lnTo>
                        <a:pt x="138" y="42"/>
                      </a:lnTo>
                      <a:lnTo>
                        <a:pt x="142" y="38"/>
                      </a:lnTo>
                      <a:lnTo>
                        <a:pt x="140" y="36"/>
                      </a:lnTo>
                      <a:lnTo>
                        <a:pt x="142" y="34"/>
                      </a:lnTo>
                      <a:lnTo>
                        <a:pt x="142" y="32"/>
                      </a:lnTo>
                      <a:lnTo>
                        <a:pt x="144" y="32"/>
                      </a:lnTo>
                      <a:lnTo>
                        <a:pt x="158" y="40"/>
                      </a:lnTo>
                      <a:lnTo>
                        <a:pt x="160" y="40"/>
                      </a:lnTo>
                      <a:lnTo>
                        <a:pt x="160" y="38"/>
                      </a:lnTo>
                      <a:lnTo>
                        <a:pt x="162" y="38"/>
                      </a:lnTo>
                      <a:lnTo>
                        <a:pt x="162" y="40"/>
                      </a:lnTo>
                      <a:lnTo>
                        <a:pt x="164" y="38"/>
                      </a:lnTo>
                      <a:lnTo>
                        <a:pt x="168" y="38"/>
                      </a:lnTo>
                      <a:lnTo>
                        <a:pt x="170" y="38"/>
                      </a:lnTo>
                      <a:lnTo>
                        <a:pt x="176" y="38"/>
                      </a:lnTo>
                      <a:lnTo>
                        <a:pt x="178" y="38"/>
                      </a:lnTo>
                      <a:lnTo>
                        <a:pt x="180" y="38"/>
                      </a:lnTo>
                      <a:lnTo>
                        <a:pt x="184" y="44"/>
                      </a:lnTo>
                      <a:lnTo>
                        <a:pt x="186" y="44"/>
                      </a:lnTo>
                      <a:lnTo>
                        <a:pt x="188" y="44"/>
                      </a:lnTo>
                      <a:lnTo>
                        <a:pt x="190" y="44"/>
                      </a:lnTo>
                      <a:lnTo>
                        <a:pt x="190" y="42"/>
                      </a:lnTo>
                      <a:lnTo>
                        <a:pt x="192" y="42"/>
                      </a:lnTo>
                      <a:lnTo>
                        <a:pt x="198" y="44"/>
                      </a:lnTo>
                      <a:lnTo>
                        <a:pt x="200" y="44"/>
                      </a:lnTo>
                      <a:lnTo>
                        <a:pt x="200" y="48"/>
                      </a:lnTo>
                      <a:lnTo>
                        <a:pt x="208" y="54"/>
                      </a:lnTo>
                      <a:lnTo>
                        <a:pt x="210" y="50"/>
                      </a:lnTo>
                      <a:lnTo>
                        <a:pt x="214" y="50"/>
                      </a:lnTo>
                      <a:lnTo>
                        <a:pt x="214" y="46"/>
                      </a:lnTo>
                      <a:lnTo>
                        <a:pt x="216" y="46"/>
                      </a:lnTo>
                      <a:lnTo>
                        <a:pt x="222" y="44"/>
                      </a:lnTo>
                      <a:lnTo>
                        <a:pt x="222" y="42"/>
                      </a:lnTo>
                      <a:lnTo>
                        <a:pt x="224" y="42"/>
                      </a:lnTo>
                      <a:lnTo>
                        <a:pt x="230" y="38"/>
                      </a:lnTo>
                      <a:lnTo>
                        <a:pt x="232" y="40"/>
                      </a:lnTo>
                      <a:lnTo>
                        <a:pt x="234" y="42"/>
                      </a:lnTo>
                      <a:lnTo>
                        <a:pt x="238" y="46"/>
                      </a:lnTo>
                      <a:lnTo>
                        <a:pt x="240" y="48"/>
                      </a:lnTo>
                      <a:lnTo>
                        <a:pt x="242" y="44"/>
                      </a:lnTo>
                      <a:lnTo>
                        <a:pt x="244" y="44"/>
                      </a:lnTo>
                      <a:lnTo>
                        <a:pt x="244" y="42"/>
                      </a:lnTo>
                      <a:lnTo>
                        <a:pt x="242" y="40"/>
                      </a:lnTo>
                      <a:lnTo>
                        <a:pt x="242" y="36"/>
                      </a:lnTo>
                      <a:lnTo>
                        <a:pt x="248" y="30"/>
                      </a:lnTo>
                      <a:lnTo>
                        <a:pt x="248" y="32"/>
                      </a:lnTo>
                      <a:lnTo>
                        <a:pt x="256" y="30"/>
                      </a:lnTo>
                      <a:lnTo>
                        <a:pt x="258" y="30"/>
                      </a:lnTo>
                      <a:lnTo>
                        <a:pt x="258" y="32"/>
                      </a:lnTo>
                      <a:lnTo>
                        <a:pt x="260" y="32"/>
                      </a:lnTo>
                      <a:lnTo>
                        <a:pt x="262" y="32"/>
                      </a:lnTo>
                      <a:lnTo>
                        <a:pt x="264" y="32"/>
                      </a:lnTo>
                      <a:lnTo>
                        <a:pt x="266" y="30"/>
                      </a:lnTo>
                      <a:lnTo>
                        <a:pt x="268" y="26"/>
                      </a:lnTo>
                      <a:lnTo>
                        <a:pt x="266" y="24"/>
                      </a:lnTo>
                      <a:lnTo>
                        <a:pt x="266" y="22"/>
                      </a:lnTo>
                      <a:lnTo>
                        <a:pt x="266" y="20"/>
                      </a:lnTo>
                      <a:lnTo>
                        <a:pt x="264" y="20"/>
                      </a:lnTo>
                      <a:lnTo>
                        <a:pt x="264" y="18"/>
                      </a:lnTo>
                      <a:lnTo>
                        <a:pt x="266" y="18"/>
                      </a:lnTo>
                      <a:lnTo>
                        <a:pt x="268" y="16"/>
                      </a:lnTo>
                      <a:lnTo>
                        <a:pt x="270" y="16"/>
                      </a:lnTo>
                      <a:lnTo>
                        <a:pt x="274" y="10"/>
                      </a:lnTo>
                      <a:lnTo>
                        <a:pt x="274" y="8"/>
                      </a:lnTo>
                      <a:lnTo>
                        <a:pt x="282" y="0"/>
                      </a:lnTo>
                      <a:lnTo>
                        <a:pt x="286" y="0"/>
                      </a:lnTo>
                      <a:lnTo>
                        <a:pt x="294" y="6"/>
                      </a:lnTo>
                      <a:lnTo>
                        <a:pt x="296" y="6"/>
                      </a:lnTo>
                      <a:lnTo>
                        <a:pt x="298" y="10"/>
                      </a:lnTo>
                      <a:lnTo>
                        <a:pt x="296" y="10"/>
                      </a:lnTo>
                      <a:lnTo>
                        <a:pt x="296" y="12"/>
                      </a:lnTo>
                      <a:lnTo>
                        <a:pt x="294" y="16"/>
                      </a:lnTo>
                      <a:lnTo>
                        <a:pt x="294" y="18"/>
                      </a:lnTo>
                      <a:lnTo>
                        <a:pt x="296" y="20"/>
                      </a:lnTo>
                      <a:lnTo>
                        <a:pt x="300" y="18"/>
                      </a:lnTo>
                      <a:lnTo>
                        <a:pt x="302" y="18"/>
                      </a:lnTo>
                      <a:lnTo>
                        <a:pt x="304" y="20"/>
                      </a:lnTo>
                      <a:lnTo>
                        <a:pt x="304" y="22"/>
                      </a:lnTo>
                      <a:lnTo>
                        <a:pt x="302" y="24"/>
                      </a:lnTo>
                      <a:lnTo>
                        <a:pt x="300" y="36"/>
                      </a:lnTo>
                      <a:lnTo>
                        <a:pt x="302" y="38"/>
                      </a:lnTo>
                      <a:lnTo>
                        <a:pt x="302" y="42"/>
                      </a:lnTo>
                      <a:lnTo>
                        <a:pt x="300" y="42"/>
                      </a:lnTo>
                      <a:lnTo>
                        <a:pt x="300" y="44"/>
                      </a:lnTo>
                      <a:lnTo>
                        <a:pt x="300" y="52"/>
                      </a:lnTo>
                      <a:lnTo>
                        <a:pt x="300" y="54"/>
                      </a:lnTo>
                      <a:lnTo>
                        <a:pt x="302" y="58"/>
                      </a:lnTo>
                      <a:lnTo>
                        <a:pt x="302" y="60"/>
                      </a:lnTo>
                      <a:lnTo>
                        <a:pt x="306" y="62"/>
                      </a:lnTo>
                      <a:lnTo>
                        <a:pt x="308" y="62"/>
                      </a:lnTo>
                      <a:lnTo>
                        <a:pt x="310" y="62"/>
                      </a:lnTo>
                      <a:lnTo>
                        <a:pt x="322" y="52"/>
                      </a:lnTo>
                      <a:lnTo>
                        <a:pt x="324" y="52"/>
                      </a:lnTo>
                      <a:lnTo>
                        <a:pt x="324" y="50"/>
                      </a:lnTo>
                      <a:lnTo>
                        <a:pt x="332" y="50"/>
                      </a:lnTo>
                      <a:lnTo>
                        <a:pt x="334" y="48"/>
                      </a:lnTo>
                      <a:lnTo>
                        <a:pt x="334" y="46"/>
                      </a:lnTo>
                      <a:lnTo>
                        <a:pt x="336" y="44"/>
                      </a:lnTo>
                      <a:lnTo>
                        <a:pt x="338" y="42"/>
                      </a:lnTo>
                      <a:lnTo>
                        <a:pt x="342" y="40"/>
                      </a:lnTo>
                      <a:lnTo>
                        <a:pt x="344" y="38"/>
                      </a:lnTo>
                      <a:lnTo>
                        <a:pt x="350" y="36"/>
                      </a:lnTo>
                      <a:lnTo>
                        <a:pt x="350" y="34"/>
                      </a:lnTo>
                      <a:lnTo>
                        <a:pt x="356" y="34"/>
                      </a:lnTo>
                      <a:lnTo>
                        <a:pt x="358" y="36"/>
                      </a:lnTo>
                      <a:lnTo>
                        <a:pt x="364" y="36"/>
                      </a:lnTo>
                      <a:lnTo>
                        <a:pt x="364" y="38"/>
                      </a:lnTo>
                      <a:lnTo>
                        <a:pt x="360" y="40"/>
                      </a:lnTo>
                      <a:lnTo>
                        <a:pt x="360" y="42"/>
                      </a:lnTo>
                      <a:lnTo>
                        <a:pt x="364" y="44"/>
                      </a:lnTo>
                      <a:lnTo>
                        <a:pt x="366" y="42"/>
                      </a:lnTo>
                      <a:lnTo>
                        <a:pt x="374" y="38"/>
                      </a:lnTo>
                      <a:lnTo>
                        <a:pt x="376" y="36"/>
                      </a:lnTo>
                      <a:lnTo>
                        <a:pt x="378" y="36"/>
                      </a:lnTo>
                      <a:lnTo>
                        <a:pt x="380" y="38"/>
                      </a:lnTo>
                      <a:lnTo>
                        <a:pt x="388" y="38"/>
                      </a:lnTo>
                      <a:lnTo>
                        <a:pt x="392" y="38"/>
                      </a:lnTo>
                      <a:lnTo>
                        <a:pt x="394" y="42"/>
                      </a:lnTo>
                      <a:lnTo>
                        <a:pt x="392" y="44"/>
                      </a:lnTo>
                      <a:lnTo>
                        <a:pt x="390" y="42"/>
                      </a:lnTo>
                      <a:lnTo>
                        <a:pt x="390" y="40"/>
                      </a:lnTo>
                      <a:lnTo>
                        <a:pt x="386" y="42"/>
                      </a:lnTo>
                      <a:lnTo>
                        <a:pt x="384" y="42"/>
                      </a:lnTo>
                      <a:lnTo>
                        <a:pt x="380" y="44"/>
                      </a:lnTo>
                      <a:lnTo>
                        <a:pt x="384" y="50"/>
                      </a:lnTo>
                      <a:lnTo>
                        <a:pt x="384" y="52"/>
                      </a:lnTo>
                      <a:lnTo>
                        <a:pt x="382" y="50"/>
                      </a:lnTo>
                      <a:lnTo>
                        <a:pt x="374" y="54"/>
                      </a:lnTo>
                      <a:lnTo>
                        <a:pt x="372" y="56"/>
                      </a:lnTo>
                      <a:lnTo>
                        <a:pt x="370" y="56"/>
                      </a:lnTo>
                      <a:lnTo>
                        <a:pt x="368" y="56"/>
                      </a:lnTo>
                      <a:lnTo>
                        <a:pt x="360" y="54"/>
                      </a:lnTo>
                      <a:lnTo>
                        <a:pt x="356" y="56"/>
                      </a:lnTo>
                      <a:lnTo>
                        <a:pt x="354" y="54"/>
                      </a:lnTo>
                      <a:lnTo>
                        <a:pt x="338" y="56"/>
                      </a:lnTo>
                      <a:lnTo>
                        <a:pt x="336" y="56"/>
                      </a:lnTo>
                      <a:lnTo>
                        <a:pt x="332" y="56"/>
                      </a:lnTo>
                      <a:lnTo>
                        <a:pt x="330" y="56"/>
                      </a:lnTo>
                      <a:lnTo>
                        <a:pt x="328" y="58"/>
                      </a:lnTo>
                      <a:lnTo>
                        <a:pt x="326" y="58"/>
                      </a:lnTo>
                      <a:lnTo>
                        <a:pt x="320" y="60"/>
                      </a:lnTo>
                      <a:lnTo>
                        <a:pt x="320" y="62"/>
                      </a:lnTo>
                      <a:lnTo>
                        <a:pt x="308" y="70"/>
                      </a:lnTo>
                      <a:lnTo>
                        <a:pt x="304" y="68"/>
                      </a:lnTo>
                      <a:lnTo>
                        <a:pt x="304" y="70"/>
                      </a:lnTo>
                      <a:lnTo>
                        <a:pt x="302" y="74"/>
                      </a:lnTo>
                      <a:lnTo>
                        <a:pt x="294" y="80"/>
                      </a:lnTo>
                      <a:lnTo>
                        <a:pt x="292" y="84"/>
                      </a:lnTo>
                      <a:lnTo>
                        <a:pt x="300" y="90"/>
                      </a:lnTo>
                      <a:lnTo>
                        <a:pt x="302" y="96"/>
                      </a:lnTo>
                      <a:lnTo>
                        <a:pt x="306" y="104"/>
                      </a:lnTo>
                      <a:lnTo>
                        <a:pt x="302" y="106"/>
                      </a:lnTo>
                      <a:lnTo>
                        <a:pt x="302" y="108"/>
                      </a:lnTo>
                      <a:lnTo>
                        <a:pt x="304" y="110"/>
                      </a:lnTo>
                      <a:lnTo>
                        <a:pt x="302" y="120"/>
                      </a:lnTo>
                      <a:lnTo>
                        <a:pt x="300" y="120"/>
                      </a:lnTo>
                      <a:lnTo>
                        <a:pt x="298" y="120"/>
                      </a:lnTo>
                      <a:lnTo>
                        <a:pt x="290" y="130"/>
                      </a:lnTo>
                      <a:lnTo>
                        <a:pt x="290" y="132"/>
                      </a:lnTo>
                      <a:lnTo>
                        <a:pt x="288" y="132"/>
                      </a:lnTo>
                      <a:lnTo>
                        <a:pt x="286" y="134"/>
                      </a:lnTo>
                      <a:lnTo>
                        <a:pt x="290" y="138"/>
                      </a:lnTo>
                      <a:lnTo>
                        <a:pt x="292" y="140"/>
                      </a:lnTo>
                      <a:lnTo>
                        <a:pt x="290" y="146"/>
                      </a:lnTo>
                      <a:lnTo>
                        <a:pt x="290" y="150"/>
                      </a:lnTo>
                      <a:lnTo>
                        <a:pt x="282" y="154"/>
                      </a:lnTo>
                      <a:lnTo>
                        <a:pt x="262" y="150"/>
                      </a:lnTo>
                      <a:lnTo>
                        <a:pt x="258" y="150"/>
                      </a:lnTo>
                      <a:lnTo>
                        <a:pt x="256" y="154"/>
                      </a:lnTo>
                      <a:lnTo>
                        <a:pt x="258" y="156"/>
                      </a:lnTo>
                      <a:lnTo>
                        <a:pt x="260" y="160"/>
                      </a:lnTo>
                      <a:lnTo>
                        <a:pt x="264" y="160"/>
                      </a:lnTo>
                      <a:lnTo>
                        <a:pt x="266" y="164"/>
                      </a:lnTo>
                      <a:lnTo>
                        <a:pt x="266" y="166"/>
                      </a:lnTo>
                      <a:lnTo>
                        <a:pt x="264" y="166"/>
                      </a:lnTo>
                      <a:lnTo>
                        <a:pt x="264" y="168"/>
                      </a:lnTo>
                      <a:lnTo>
                        <a:pt x="266" y="168"/>
                      </a:lnTo>
                      <a:lnTo>
                        <a:pt x="268" y="170"/>
                      </a:lnTo>
                      <a:lnTo>
                        <a:pt x="268" y="172"/>
                      </a:lnTo>
                      <a:lnTo>
                        <a:pt x="268" y="174"/>
                      </a:lnTo>
                      <a:lnTo>
                        <a:pt x="258" y="182"/>
                      </a:lnTo>
                      <a:lnTo>
                        <a:pt x="248" y="182"/>
                      </a:lnTo>
                      <a:lnTo>
                        <a:pt x="246" y="184"/>
                      </a:lnTo>
                      <a:lnTo>
                        <a:pt x="246" y="188"/>
                      </a:lnTo>
                      <a:lnTo>
                        <a:pt x="242" y="192"/>
                      </a:lnTo>
                      <a:lnTo>
                        <a:pt x="244" y="194"/>
                      </a:lnTo>
                      <a:lnTo>
                        <a:pt x="244" y="196"/>
                      </a:lnTo>
                      <a:lnTo>
                        <a:pt x="244" y="198"/>
                      </a:lnTo>
                      <a:lnTo>
                        <a:pt x="242" y="198"/>
                      </a:lnTo>
                      <a:lnTo>
                        <a:pt x="242" y="200"/>
                      </a:lnTo>
                      <a:lnTo>
                        <a:pt x="240" y="200"/>
                      </a:lnTo>
                      <a:lnTo>
                        <a:pt x="240" y="204"/>
                      </a:lnTo>
                      <a:lnTo>
                        <a:pt x="240" y="206"/>
                      </a:lnTo>
                      <a:lnTo>
                        <a:pt x="240" y="210"/>
                      </a:lnTo>
                      <a:lnTo>
                        <a:pt x="240" y="212"/>
                      </a:lnTo>
                      <a:lnTo>
                        <a:pt x="242" y="218"/>
                      </a:lnTo>
                      <a:lnTo>
                        <a:pt x="238" y="224"/>
                      </a:lnTo>
                      <a:lnTo>
                        <a:pt x="232" y="228"/>
                      </a:lnTo>
                      <a:lnTo>
                        <a:pt x="228" y="230"/>
                      </a:lnTo>
                      <a:lnTo>
                        <a:pt x="224" y="224"/>
                      </a:lnTo>
                      <a:lnTo>
                        <a:pt x="220" y="222"/>
                      </a:lnTo>
                      <a:lnTo>
                        <a:pt x="218" y="222"/>
                      </a:lnTo>
                      <a:lnTo>
                        <a:pt x="218" y="224"/>
                      </a:lnTo>
                      <a:lnTo>
                        <a:pt x="220" y="224"/>
                      </a:lnTo>
                      <a:lnTo>
                        <a:pt x="220" y="226"/>
                      </a:lnTo>
                      <a:lnTo>
                        <a:pt x="212" y="224"/>
                      </a:lnTo>
                      <a:lnTo>
                        <a:pt x="212" y="222"/>
                      </a:lnTo>
                      <a:lnTo>
                        <a:pt x="210" y="222"/>
                      </a:lnTo>
                      <a:lnTo>
                        <a:pt x="208" y="224"/>
                      </a:lnTo>
                      <a:lnTo>
                        <a:pt x="204" y="228"/>
                      </a:lnTo>
                      <a:lnTo>
                        <a:pt x="202" y="228"/>
                      </a:lnTo>
                      <a:lnTo>
                        <a:pt x="202" y="230"/>
                      </a:lnTo>
                      <a:lnTo>
                        <a:pt x="198" y="232"/>
                      </a:lnTo>
                      <a:lnTo>
                        <a:pt x="194" y="232"/>
                      </a:lnTo>
                      <a:lnTo>
                        <a:pt x="194" y="236"/>
                      </a:lnTo>
                      <a:lnTo>
                        <a:pt x="196" y="236"/>
                      </a:lnTo>
                      <a:lnTo>
                        <a:pt x="198" y="236"/>
                      </a:lnTo>
                      <a:lnTo>
                        <a:pt x="200" y="236"/>
                      </a:lnTo>
                      <a:lnTo>
                        <a:pt x="200" y="238"/>
                      </a:lnTo>
                      <a:lnTo>
                        <a:pt x="188" y="242"/>
                      </a:lnTo>
                      <a:lnTo>
                        <a:pt x="186" y="242"/>
                      </a:lnTo>
                      <a:lnTo>
                        <a:pt x="184" y="242"/>
                      </a:lnTo>
                      <a:lnTo>
                        <a:pt x="180" y="242"/>
                      </a:lnTo>
                      <a:lnTo>
                        <a:pt x="178" y="240"/>
                      </a:lnTo>
                      <a:lnTo>
                        <a:pt x="178" y="238"/>
                      </a:lnTo>
                      <a:lnTo>
                        <a:pt x="174" y="240"/>
                      </a:lnTo>
                      <a:lnTo>
                        <a:pt x="170" y="242"/>
                      </a:lnTo>
                      <a:lnTo>
                        <a:pt x="170" y="244"/>
                      </a:lnTo>
                      <a:lnTo>
                        <a:pt x="170" y="246"/>
                      </a:lnTo>
                      <a:lnTo>
                        <a:pt x="166" y="250"/>
                      </a:lnTo>
                      <a:lnTo>
                        <a:pt x="162" y="250"/>
                      </a:lnTo>
                      <a:lnTo>
                        <a:pt x="158" y="262"/>
                      </a:lnTo>
                      <a:lnTo>
                        <a:pt x="160" y="264"/>
                      </a:lnTo>
                      <a:lnTo>
                        <a:pt x="160" y="266"/>
                      </a:lnTo>
                      <a:lnTo>
                        <a:pt x="160" y="274"/>
                      </a:lnTo>
                      <a:lnTo>
                        <a:pt x="158" y="274"/>
                      </a:lnTo>
                      <a:lnTo>
                        <a:pt x="158" y="276"/>
                      </a:lnTo>
                      <a:lnTo>
                        <a:pt x="156" y="278"/>
                      </a:lnTo>
                      <a:lnTo>
                        <a:pt x="158" y="278"/>
                      </a:lnTo>
                      <a:lnTo>
                        <a:pt x="160" y="282"/>
                      </a:lnTo>
                      <a:lnTo>
                        <a:pt x="158" y="284"/>
                      </a:lnTo>
                      <a:lnTo>
                        <a:pt x="154" y="286"/>
                      </a:lnTo>
                      <a:lnTo>
                        <a:pt x="152" y="286"/>
                      </a:lnTo>
                      <a:lnTo>
                        <a:pt x="124" y="296"/>
                      </a:lnTo>
                      <a:lnTo>
                        <a:pt x="110" y="294"/>
                      </a:lnTo>
                      <a:lnTo>
                        <a:pt x="108" y="294"/>
                      </a:lnTo>
                      <a:lnTo>
                        <a:pt x="106" y="294"/>
                      </a:lnTo>
                      <a:lnTo>
                        <a:pt x="102" y="296"/>
                      </a:lnTo>
                      <a:lnTo>
                        <a:pt x="98" y="300"/>
                      </a:lnTo>
                      <a:lnTo>
                        <a:pt x="84" y="296"/>
                      </a:lnTo>
                      <a:lnTo>
                        <a:pt x="46" y="296"/>
                      </a:lnTo>
                      <a:lnTo>
                        <a:pt x="10" y="284"/>
                      </a:lnTo>
                      <a:lnTo>
                        <a:pt x="18" y="274"/>
                      </a:lnTo>
                      <a:lnTo>
                        <a:pt x="20" y="274"/>
                      </a:lnTo>
                      <a:lnTo>
                        <a:pt x="34" y="256"/>
                      </a:lnTo>
                      <a:lnTo>
                        <a:pt x="38" y="248"/>
                      </a:lnTo>
                      <a:lnTo>
                        <a:pt x="36" y="244"/>
                      </a:lnTo>
                      <a:lnTo>
                        <a:pt x="36" y="242"/>
                      </a:lnTo>
                      <a:lnTo>
                        <a:pt x="34" y="240"/>
                      </a:lnTo>
                      <a:lnTo>
                        <a:pt x="34" y="238"/>
                      </a:lnTo>
                      <a:lnTo>
                        <a:pt x="32" y="236"/>
                      </a:lnTo>
                      <a:lnTo>
                        <a:pt x="10" y="232"/>
                      </a:lnTo>
                      <a:lnTo>
                        <a:pt x="8" y="218"/>
                      </a:lnTo>
                      <a:lnTo>
                        <a:pt x="8" y="216"/>
                      </a:lnTo>
                      <a:lnTo>
                        <a:pt x="10" y="208"/>
                      </a:lnTo>
                      <a:lnTo>
                        <a:pt x="2" y="184"/>
                      </a:lnTo>
                      <a:lnTo>
                        <a:pt x="2" y="180"/>
                      </a:lnTo>
                      <a:lnTo>
                        <a:pt x="10" y="168"/>
                      </a:lnTo>
                      <a:lnTo>
                        <a:pt x="12" y="168"/>
                      </a:lnTo>
                      <a:lnTo>
                        <a:pt x="12" y="166"/>
                      </a:lnTo>
                      <a:lnTo>
                        <a:pt x="4" y="166"/>
                      </a:lnTo>
                      <a:lnTo>
                        <a:pt x="2" y="164"/>
                      </a:lnTo>
                      <a:lnTo>
                        <a:pt x="0" y="162"/>
                      </a:lnTo>
                      <a:lnTo>
                        <a:pt x="0" y="160"/>
                      </a:lnTo>
                      <a:lnTo>
                        <a:pt x="2" y="158"/>
                      </a:lnTo>
                      <a:lnTo>
                        <a:pt x="2" y="152"/>
                      </a:lnTo>
                      <a:lnTo>
                        <a:pt x="0" y="150"/>
                      </a:lnTo>
                      <a:lnTo>
                        <a:pt x="0" y="146"/>
                      </a:lnTo>
                      <a:lnTo>
                        <a:pt x="4" y="142"/>
                      </a:lnTo>
                      <a:lnTo>
                        <a:pt x="6" y="140"/>
                      </a:lnTo>
                      <a:lnTo>
                        <a:pt x="10" y="140"/>
                      </a:lnTo>
                      <a:lnTo>
                        <a:pt x="6" y="134"/>
                      </a:lnTo>
                      <a:lnTo>
                        <a:pt x="8" y="132"/>
                      </a:lnTo>
                      <a:lnTo>
                        <a:pt x="10" y="132"/>
                      </a:lnTo>
                      <a:lnTo>
                        <a:pt x="14" y="130"/>
                      </a:lnTo>
                      <a:lnTo>
                        <a:pt x="18" y="116"/>
                      </a:lnTo>
                      <a:lnTo>
                        <a:pt x="18" y="114"/>
                      </a:lnTo>
                      <a:lnTo>
                        <a:pt x="16" y="114"/>
                      </a:lnTo>
                      <a:lnTo>
                        <a:pt x="16" y="108"/>
                      </a:lnTo>
                      <a:lnTo>
                        <a:pt x="20" y="106"/>
                      </a:lnTo>
                      <a:lnTo>
                        <a:pt x="22" y="100"/>
                      </a:lnTo>
                      <a:lnTo>
                        <a:pt x="20" y="9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5" name="Freeform 3009"/>
                <p:cNvSpPr>
                  <a:spLocks/>
                </p:cNvSpPr>
                <p:nvPr/>
              </p:nvSpPr>
              <p:spPr bwMode="auto">
                <a:xfrm>
                  <a:off x="1553472" y="3482724"/>
                  <a:ext cx="552705" cy="561017"/>
                </a:xfrm>
                <a:custGeom>
                  <a:avLst/>
                  <a:gdLst/>
                  <a:ahLst/>
                  <a:cxnLst>
                    <a:cxn ang="0">
                      <a:pos x="10" y="168"/>
                    </a:cxn>
                    <a:cxn ang="0">
                      <a:pos x="6" y="162"/>
                    </a:cxn>
                    <a:cxn ang="0">
                      <a:pos x="64" y="88"/>
                    </a:cxn>
                    <a:cxn ang="0">
                      <a:pos x="66" y="68"/>
                    </a:cxn>
                    <a:cxn ang="0">
                      <a:pos x="68" y="52"/>
                    </a:cxn>
                    <a:cxn ang="0">
                      <a:pos x="82" y="26"/>
                    </a:cxn>
                    <a:cxn ang="0">
                      <a:pos x="102" y="8"/>
                    </a:cxn>
                    <a:cxn ang="0">
                      <a:pos x="108" y="0"/>
                    </a:cxn>
                    <a:cxn ang="0">
                      <a:pos x="114" y="0"/>
                    </a:cxn>
                    <a:cxn ang="0">
                      <a:pos x="138" y="6"/>
                    </a:cxn>
                    <a:cxn ang="0">
                      <a:pos x="148" y="4"/>
                    </a:cxn>
                    <a:cxn ang="0">
                      <a:pos x="146" y="10"/>
                    </a:cxn>
                    <a:cxn ang="0">
                      <a:pos x="150" y="12"/>
                    </a:cxn>
                    <a:cxn ang="0">
                      <a:pos x="156" y="8"/>
                    </a:cxn>
                    <a:cxn ang="0">
                      <a:pos x="160" y="6"/>
                    </a:cxn>
                    <a:cxn ang="0">
                      <a:pos x="162" y="12"/>
                    </a:cxn>
                    <a:cxn ang="0">
                      <a:pos x="166" y="18"/>
                    </a:cxn>
                    <a:cxn ang="0">
                      <a:pos x="168" y="22"/>
                    </a:cxn>
                    <a:cxn ang="0">
                      <a:pos x="168" y="28"/>
                    </a:cxn>
                    <a:cxn ang="0">
                      <a:pos x="172" y="32"/>
                    </a:cxn>
                    <a:cxn ang="0">
                      <a:pos x="178" y="42"/>
                    </a:cxn>
                    <a:cxn ang="0">
                      <a:pos x="180" y="46"/>
                    </a:cxn>
                    <a:cxn ang="0">
                      <a:pos x="186" y="50"/>
                    </a:cxn>
                    <a:cxn ang="0">
                      <a:pos x="192" y="54"/>
                    </a:cxn>
                    <a:cxn ang="0">
                      <a:pos x="200" y="52"/>
                    </a:cxn>
                    <a:cxn ang="0">
                      <a:pos x="204" y="52"/>
                    </a:cxn>
                    <a:cxn ang="0">
                      <a:pos x="200" y="58"/>
                    </a:cxn>
                    <a:cxn ang="0">
                      <a:pos x="196" y="66"/>
                    </a:cxn>
                    <a:cxn ang="0">
                      <a:pos x="200" y="72"/>
                    </a:cxn>
                    <a:cxn ang="0">
                      <a:pos x="194" y="76"/>
                    </a:cxn>
                    <a:cxn ang="0">
                      <a:pos x="192" y="84"/>
                    </a:cxn>
                    <a:cxn ang="0">
                      <a:pos x="190" y="86"/>
                    </a:cxn>
                    <a:cxn ang="0">
                      <a:pos x="186" y="88"/>
                    </a:cxn>
                    <a:cxn ang="0">
                      <a:pos x="188" y="94"/>
                    </a:cxn>
                    <a:cxn ang="0">
                      <a:pos x="180" y="98"/>
                    </a:cxn>
                    <a:cxn ang="0">
                      <a:pos x="184" y="110"/>
                    </a:cxn>
                    <a:cxn ang="0">
                      <a:pos x="180" y="116"/>
                    </a:cxn>
                    <a:cxn ang="0">
                      <a:pos x="188" y="126"/>
                    </a:cxn>
                    <a:cxn ang="0">
                      <a:pos x="194" y="128"/>
                    </a:cxn>
                    <a:cxn ang="0">
                      <a:pos x="196" y="130"/>
                    </a:cxn>
                    <a:cxn ang="0">
                      <a:pos x="198" y="136"/>
                    </a:cxn>
                    <a:cxn ang="0">
                      <a:pos x="200" y="142"/>
                    </a:cxn>
                    <a:cxn ang="0">
                      <a:pos x="206" y="148"/>
                    </a:cxn>
                    <a:cxn ang="0">
                      <a:pos x="224" y="162"/>
                    </a:cxn>
                    <a:cxn ang="0">
                      <a:pos x="230" y="164"/>
                    </a:cxn>
                    <a:cxn ang="0">
                      <a:pos x="234" y="168"/>
                    </a:cxn>
                    <a:cxn ang="0">
                      <a:pos x="242" y="182"/>
                    </a:cxn>
                    <a:cxn ang="0">
                      <a:pos x="246" y="186"/>
                    </a:cxn>
                    <a:cxn ang="0">
                      <a:pos x="252" y="212"/>
                    </a:cxn>
                    <a:cxn ang="0">
                      <a:pos x="254" y="228"/>
                    </a:cxn>
                    <a:cxn ang="0">
                      <a:pos x="262" y="242"/>
                    </a:cxn>
                    <a:cxn ang="0">
                      <a:pos x="264" y="246"/>
                    </a:cxn>
                    <a:cxn ang="0">
                      <a:pos x="258" y="242"/>
                    </a:cxn>
                    <a:cxn ang="0">
                      <a:pos x="252" y="240"/>
                    </a:cxn>
                    <a:cxn ang="0">
                      <a:pos x="232" y="240"/>
                    </a:cxn>
                    <a:cxn ang="0">
                      <a:pos x="224" y="246"/>
                    </a:cxn>
                    <a:cxn ang="0">
                      <a:pos x="212" y="270"/>
                    </a:cxn>
                    <a:cxn ang="0">
                      <a:pos x="42" y="180"/>
                    </a:cxn>
                  </a:cxnLst>
                  <a:rect l="0" t="0" r="r" b="b"/>
                  <a:pathLst>
                    <a:path w="266" h="270">
                      <a:moveTo>
                        <a:pt x="10" y="174"/>
                      </a:moveTo>
                      <a:lnTo>
                        <a:pt x="12" y="170"/>
                      </a:lnTo>
                      <a:lnTo>
                        <a:pt x="10" y="168"/>
                      </a:lnTo>
                      <a:lnTo>
                        <a:pt x="6" y="170"/>
                      </a:lnTo>
                      <a:lnTo>
                        <a:pt x="4" y="164"/>
                      </a:lnTo>
                      <a:lnTo>
                        <a:pt x="6" y="162"/>
                      </a:lnTo>
                      <a:lnTo>
                        <a:pt x="0" y="136"/>
                      </a:lnTo>
                      <a:lnTo>
                        <a:pt x="58" y="100"/>
                      </a:lnTo>
                      <a:lnTo>
                        <a:pt x="64" y="88"/>
                      </a:lnTo>
                      <a:lnTo>
                        <a:pt x="64" y="72"/>
                      </a:lnTo>
                      <a:lnTo>
                        <a:pt x="66" y="70"/>
                      </a:lnTo>
                      <a:lnTo>
                        <a:pt x="66" y="68"/>
                      </a:lnTo>
                      <a:lnTo>
                        <a:pt x="66" y="64"/>
                      </a:lnTo>
                      <a:lnTo>
                        <a:pt x="70" y="60"/>
                      </a:lnTo>
                      <a:lnTo>
                        <a:pt x="68" y="52"/>
                      </a:lnTo>
                      <a:lnTo>
                        <a:pt x="66" y="44"/>
                      </a:lnTo>
                      <a:lnTo>
                        <a:pt x="70" y="30"/>
                      </a:lnTo>
                      <a:lnTo>
                        <a:pt x="82" y="26"/>
                      </a:lnTo>
                      <a:lnTo>
                        <a:pt x="96" y="12"/>
                      </a:lnTo>
                      <a:lnTo>
                        <a:pt x="96" y="8"/>
                      </a:lnTo>
                      <a:lnTo>
                        <a:pt x="102" y="8"/>
                      </a:lnTo>
                      <a:lnTo>
                        <a:pt x="102" y="6"/>
                      </a:lnTo>
                      <a:lnTo>
                        <a:pt x="106" y="0"/>
                      </a:lnTo>
                      <a:lnTo>
                        <a:pt x="108" y="0"/>
                      </a:lnTo>
                      <a:lnTo>
                        <a:pt x="110" y="0"/>
                      </a:lnTo>
                      <a:lnTo>
                        <a:pt x="112" y="2"/>
                      </a:lnTo>
                      <a:lnTo>
                        <a:pt x="114" y="0"/>
                      </a:lnTo>
                      <a:lnTo>
                        <a:pt x="118" y="0"/>
                      </a:lnTo>
                      <a:lnTo>
                        <a:pt x="130" y="6"/>
                      </a:lnTo>
                      <a:lnTo>
                        <a:pt x="138" y="6"/>
                      </a:lnTo>
                      <a:lnTo>
                        <a:pt x="142" y="2"/>
                      </a:lnTo>
                      <a:lnTo>
                        <a:pt x="144" y="2"/>
                      </a:lnTo>
                      <a:lnTo>
                        <a:pt x="148" y="4"/>
                      </a:lnTo>
                      <a:lnTo>
                        <a:pt x="148" y="6"/>
                      </a:lnTo>
                      <a:lnTo>
                        <a:pt x="148" y="8"/>
                      </a:lnTo>
                      <a:lnTo>
                        <a:pt x="146" y="10"/>
                      </a:lnTo>
                      <a:lnTo>
                        <a:pt x="148" y="12"/>
                      </a:lnTo>
                      <a:lnTo>
                        <a:pt x="148" y="14"/>
                      </a:lnTo>
                      <a:lnTo>
                        <a:pt x="150" y="12"/>
                      </a:lnTo>
                      <a:lnTo>
                        <a:pt x="152" y="10"/>
                      </a:lnTo>
                      <a:lnTo>
                        <a:pt x="154" y="10"/>
                      </a:lnTo>
                      <a:lnTo>
                        <a:pt x="156" y="8"/>
                      </a:lnTo>
                      <a:lnTo>
                        <a:pt x="156" y="6"/>
                      </a:lnTo>
                      <a:lnTo>
                        <a:pt x="158" y="6"/>
                      </a:lnTo>
                      <a:lnTo>
                        <a:pt x="160" y="6"/>
                      </a:lnTo>
                      <a:lnTo>
                        <a:pt x="162" y="6"/>
                      </a:lnTo>
                      <a:lnTo>
                        <a:pt x="162" y="10"/>
                      </a:lnTo>
                      <a:lnTo>
                        <a:pt x="162" y="12"/>
                      </a:lnTo>
                      <a:lnTo>
                        <a:pt x="164" y="12"/>
                      </a:lnTo>
                      <a:lnTo>
                        <a:pt x="166" y="12"/>
                      </a:lnTo>
                      <a:lnTo>
                        <a:pt x="166" y="18"/>
                      </a:lnTo>
                      <a:lnTo>
                        <a:pt x="164" y="18"/>
                      </a:lnTo>
                      <a:lnTo>
                        <a:pt x="166" y="20"/>
                      </a:lnTo>
                      <a:lnTo>
                        <a:pt x="168" y="22"/>
                      </a:lnTo>
                      <a:lnTo>
                        <a:pt x="170" y="24"/>
                      </a:lnTo>
                      <a:lnTo>
                        <a:pt x="170" y="26"/>
                      </a:lnTo>
                      <a:lnTo>
                        <a:pt x="168" y="28"/>
                      </a:lnTo>
                      <a:lnTo>
                        <a:pt x="170" y="30"/>
                      </a:lnTo>
                      <a:lnTo>
                        <a:pt x="170" y="32"/>
                      </a:lnTo>
                      <a:lnTo>
                        <a:pt x="172" y="32"/>
                      </a:lnTo>
                      <a:lnTo>
                        <a:pt x="174" y="32"/>
                      </a:lnTo>
                      <a:lnTo>
                        <a:pt x="178" y="38"/>
                      </a:lnTo>
                      <a:lnTo>
                        <a:pt x="178" y="42"/>
                      </a:lnTo>
                      <a:lnTo>
                        <a:pt x="178" y="44"/>
                      </a:lnTo>
                      <a:lnTo>
                        <a:pt x="180" y="48"/>
                      </a:lnTo>
                      <a:lnTo>
                        <a:pt x="180" y="46"/>
                      </a:lnTo>
                      <a:lnTo>
                        <a:pt x="182" y="46"/>
                      </a:lnTo>
                      <a:lnTo>
                        <a:pt x="186" y="48"/>
                      </a:lnTo>
                      <a:lnTo>
                        <a:pt x="186" y="50"/>
                      </a:lnTo>
                      <a:lnTo>
                        <a:pt x="188" y="52"/>
                      </a:lnTo>
                      <a:lnTo>
                        <a:pt x="190" y="54"/>
                      </a:lnTo>
                      <a:lnTo>
                        <a:pt x="192" y="54"/>
                      </a:lnTo>
                      <a:lnTo>
                        <a:pt x="192" y="52"/>
                      </a:lnTo>
                      <a:lnTo>
                        <a:pt x="198" y="52"/>
                      </a:lnTo>
                      <a:lnTo>
                        <a:pt x="200" y="52"/>
                      </a:lnTo>
                      <a:lnTo>
                        <a:pt x="200" y="54"/>
                      </a:lnTo>
                      <a:lnTo>
                        <a:pt x="202" y="54"/>
                      </a:lnTo>
                      <a:lnTo>
                        <a:pt x="204" y="52"/>
                      </a:lnTo>
                      <a:lnTo>
                        <a:pt x="204" y="54"/>
                      </a:lnTo>
                      <a:lnTo>
                        <a:pt x="202" y="56"/>
                      </a:lnTo>
                      <a:lnTo>
                        <a:pt x="200" y="58"/>
                      </a:lnTo>
                      <a:lnTo>
                        <a:pt x="196" y="58"/>
                      </a:lnTo>
                      <a:lnTo>
                        <a:pt x="196" y="64"/>
                      </a:lnTo>
                      <a:lnTo>
                        <a:pt x="196" y="66"/>
                      </a:lnTo>
                      <a:lnTo>
                        <a:pt x="196" y="68"/>
                      </a:lnTo>
                      <a:lnTo>
                        <a:pt x="200" y="70"/>
                      </a:lnTo>
                      <a:lnTo>
                        <a:pt x="200" y="72"/>
                      </a:lnTo>
                      <a:lnTo>
                        <a:pt x="200" y="76"/>
                      </a:lnTo>
                      <a:lnTo>
                        <a:pt x="196" y="78"/>
                      </a:lnTo>
                      <a:lnTo>
                        <a:pt x="194" y="76"/>
                      </a:lnTo>
                      <a:lnTo>
                        <a:pt x="192" y="80"/>
                      </a:lnTo>
                      <a:lnTo>
                        <a:pt x="192" y="82"/>
                      </a:lnTo>
                      <a:lnTo>
                        <a:pt x="192" y="84"/>
                      </a:lnTo>
                      <a:lnTo>
                        <a:pt x="190" y="84"/>
                      </a:lnTo>
                      <a:lnTo>
                        <a:pt x="190" y="82"/>
                      </a:lnTo>
                      <a:lnTo>
                        <a:pt x="190" y="86"/>
                      </a:lnTo>
                      <a:lnTo>
                        <a:pt x="188" y="86"/>
                      </a:lnTo>
                      <a:lnTo>
                        <a:pt x="186" y="86"/>
                      </a:lnTo>
                      <a:lnTo>
                        <a:pt x="186" y="88"/>
                      </a:lnTo>
                      <a:lnTo>
                        <a:pt x="186" y="90"/>
                      </a:lnTo>
                      <a:lnTo>
                        <a:pt x="188" y="92"/>
                      </a:lnTo>
                      <a:lnTo>
                        <a:pt x="188" y="94"/>
                      </a:lnTo>
                      <a:lnTo>
                        <a:pt x="186" y="94"/>
                      </a:lnTo>
                      <a:lnTo>
                        <a:pt x="184" y="94"/>
                      </a:lnTo>
                      <a:lnTo>
                        <a:pt x="180" y="98"/>
                      </a:lnTo>
                      <a:lnTo>
                        <a:pt x="182" y="102"/>
                      </a:lnTo>
                      <a:lnTo>
                        <a:pt x="184" y="102"/>
                      </a:lnTo>
                      <a:lnTo>
                        <a:pt x="184" y="110"/>
                      </a:lnTo>
                      <a:lnTo>
                        <a:pt x="180" y="112"/>
                      </a:lnTo>
                      <a:lnTo>
                        <a:pt x="178" y="114"/>
                      </a:lnTo>
                      <a:lnTo>
                        <a:pt x="180" y="116"/>
                      </a:lnTo>
                      <a:lnTo>
                        <a:pt x="182" y="116"/>
                      </a:lnTo>
                      <a:lnTo>
                        <a:pt x="186" y="122"/>
                      </a:lnTo>
                      <a:lnTo>
                        <a:pt x="188" y="126"/>
                      </a:lnTo>
                      <a:lnTo>
                        <a:pt x="190" y="126"/>
                      </a:lnTo>
                      <a:lnTo>
                        <a:pt x="192" y="126"/>
                      </a:lnTo>
                      <a:lnTo>
                        <a:pt x="194" y="128"/>
                      </a:lnTo>
                      <a:lnTo>
                        <a:pt x="192" y="130"/>
                      </a:lnTo>
                      <a:lnTo>
                        <a:pt x="194" y="130"/>
                      </a:lnTo>
                      <a:lnTo>
                        <a:pt x="196" y="130"/>
                      </a:lnTo>
                      <a:lnTo>
                        <a:pt x="196" y="132"/>
                      </a:lnTo>
                      <a:lnTo>
                        <a:pt x="196" y="134"/>
                      </a:lnTo>
                      <a:lnTo>
                        <a:pt x="198" y="136"/>
                      </a:lnTo>
                      <a:lnTo>
                        <a:pt x="200" y="138"/>
                      </a:lnTo>
                      <a:lnTo>
                        <a:pt x="202" y="140"/>
                      </a:lnTo>
                      <a:lnTo>
                        <a:pt x="200" y="142"/>
                      </a:lnTo>
                      <a:lnTo>
                        <a:pt x="198" y="146"/>
                      </a:lnTo>
                      <a:lnTo>
                        <a:pt x="200" y="148"/>
                      </a:lnTo>
                      <a:lnTo>
                        <a:pt x="206" y="148"/>
                      </a:lnTo>
                      <a:lnTo>
                        <a:pt x="208" y="148"/>
                      </a:lnTo>
                      <a:lnTo>
                        <a:pt x="220" y="158"/>
                      </a:lnTo>
                      <a:lnTo>
                        <a:pt x="224" y="162"/>
                      </a:lnTo>
                      <a:lnTo>
                        <a:pt x="226" y="164"/>
                      </a:lnTo>
                      <a:lnTo>
                        <a:pt x="228" y="164"/>
                      </a:lnTo>
                      <a:lnTo>
                        <a:pt x="230" y="164"/>
                      </a:lnTo>
                      <a:lnTo>
                        <a:pt x="232" y="164"/>
                      </a:lnTo>
                      <a:lnTo>
                        <a:pt x="234" y="166"/>
                      </a:lnTo>
                      <a:lnTo>
                        <a:pt x="234" y="168"/>
                      </a:lnTo>
                      <a:lnTo>
                        <a:pt x="236" y="172"/>
                      </a:lnTo>
                      <a:lnTo>
                        <a:pt x="240" y="176"/>
                      </a:lnTo>
                      <a:lnTo>
                        <a:pt x="242" y="182"/>
                      </a:lnTo>
                      <a:lnTo>
                        <a:pt x="244" y="182"/>
                      </a:lnTo>
                      <a:lnTo>
                        <a:pt x="246" y="184"/>
                      </a:lnTo>
                      <a:lnTo>
                        <a:pt x="246" y="186"/>
                      </a:lnTo>
                      <a:lnTo>
                        <a:pt x="242" y="196"/>
                      </a:lnTo>
                      <a:lnTo>
                        <a:pt x="242" y="212"/>
                      </a:lnTo>
                      <a:lnTo>
                        <a:pt x="252" y="212"/>
                      </a:lnTo>
                      <a:lnTo>
                        <a:pt x="250" y="228"/>
                      </a:lnTo>
                      <a:lnTo>
                        <a:pt x="252" y="228"/>
                      </a:lnTo>
                      <a:lnTo>
                        <a:pt x="254" y="228"/>
                      </a:lnTo>
                      <a:lnTo>
                        <a:pt x="262" y="236"/>
                      </a:lnTo>
                      <a:lnTo>
                        <a:pt x="260" y="238"/>
                      </a:lnTo>
                      <a:lnTo>
                        <a:pt x="262" y="242"/>
                      </a:lnTo>
                      <a:lnTo>
                        <a:pt x="264" y="244"/>
                      </a:lnTo>
                      <a:lnTo>
                        <a:pt x="266" y="244"/>
                      </a:lnTo>
                      <a:lnTo>
                        <a:pt x="264" y="246"/>
                      </a:lnTo>
                      <a:lnTo>
                        <a:pt x="262" y="246"/>
                      </a:lnTo>
                      <a:lnTo>
                        <a:pt x="260" y="244"/>
                      </a:lnTo>
                      <a:lnTo>
                        <a:pt x="258" y="242"/>
                      </a:lnTo>
                      <a:lnTo>
                        <a:pt x="256" y="242"/>
                      </a:lnTo>
                      <a:lnTo>
                        <a:pt x="254" y="242"/>
                      </a:lnTo>
                      <a:lnTo>
                        <a:pt x="252" y="240"/>
                      </a:lnTo>
                      <a:lnTo>
                        <a:pt x="248" y="242"/>
                      </a:lnTo>
                      <a:lnTo>
                        <a:pt x="242" y="240"/>
                      </a:lnTo>
                      <a:lnTo>
                        <a:pt x="232" y="240"/>
                      </a:lnTo>
                      <a:lnTo>
                        <a:pt x="228" y="242"/>
                      </a:lnTo>
                      <a:lnTo>
                        <a:pt x="226" y="244"/>
                      </a:lnTo>
                      <a:lnTo>
                        <a:pt x="224" y="246"/>
                      </a:lnTo>
                      <a:lnTo>
                        <a:pt x="222" y="256"/>
                      </a:lnTo>
                      <a:lnTo>
                        <a:pt x="214" y="268"/>
                      </a:lnTo>
                      <a:lnTo>
                        <a:pt x="212" y="270"/>
                      </a:lnTo>
                      <a:lnTo>
                        <a:pt x="210" y="270"/>
                      </a:lnTo>
                      <a:lnTo>
                        <a:pt x="160" y="268"/>
                      </a:lnTo>
                      <a:lnTo>
                        <a:pt x="42" y="180"/>
                      </a:lnTo>
                      <a:lnTo>
                        <a:pt x="10" y="17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6" name="Freeform 3010"/>
                <p:cNvSpPr>
                  <a:spLocks/>
                </p:cNvSpPr>
                <p:nvPr/>
              </p:nvSpPr>
              <p:spPr bwMode="auto">
                <a:xfrm>
                  <a:off x="1179461" y="3603239"/>
                  <a:ext cx="132982" cy="70647"/>
                </a:xfrm>
                <a:custGeom>
                  <a:avLst/>
                  <a:gdLst/>
                  <a:ahLst/>
                  <a:cxnLst>
                    <a:cxn ang="0">
                      <a:pos x="28" y="32"/>
                    </a:cxn>
                    <a:cxn ang="0">
                      <a:pos x="26" y="32"/>
                    </a:cxn>
                    <a:cxn ang="0">
                      <a:pos x="22" y="32"/>
                    </a:cxn>
                    <a:cxn ang="0">
                      <a:pos x="20" y="34"/>
                    </a:cxn>
                    <a:cxn ang="0">
                      <a:pos x="14" y="34"/>
                    </a:cxn>
                    <a:cxn ang="0">
                      <a:pos x="12" y="34"/>
                    </a:cxn>
                    <a:cxn ang="0">
                      <a:pos x="10" y="34"/>
                    </a:cxn>
                    <a:cxn ang="0">
                      <a:pos x="6" y="32"/>
                    </a:cxn>
                    <a:cxn ang="0">
                      <a:pos x="4" y="30"/>
                    </a:cxn>
                    <a:cxn ang="0">
                      <a:pos x="2" y="26"/>
                    </a:cxn>
                    <a:cxn ang="0">
                      <a:pos x="0" y="26"/>
                    </a:cxn>
                    <a:cxn ang="0">
                      <a:pos x="0" y="18"/>
                    </a:cxn>
                    <a:cxn ang="0">
                      <a:pos x="2" y="20"/>
                    </a:cxn>
                    <a:cxn ang="0">
                      <a:pos x="4" y="20"/>
                    </a:cxn>
                    <a:cxn ang="0">
                      <a:pos x="6" y="18"/>
                    </a:cxn>
                    <a:cxn ang="0">
                      <a:pos x="8" y="16"/>
                    </a:cxn>
                    <a:cxn ang="0">
                      <a:pos x="12" y="16"/>
                    </a:cxn>
                    <a:cxn ang="0">
                      <a:pos x="14" y="18"/>
                    </a:cxn>
                    <a:cxn ang="0">
                      <a:pos x="16" y="18"/>
                    </a:cxn>
                    <a:cxn ang="0">
                      <a:pos x="18" y="16"/>
                    </a:cxn>
                    <a:cxn ang="0">
                      <a:pos x="18" y="14"/>
                    </a:cxn>
                    <a:cxn ang="0">
                      <a:pos x="18" y="12"/>
                    </a:cxn>
                    <a:cxn ang="0">
                      <a:pos x="20" y="10"/>
                    </a:cxn>
                    <a:cxn ang="0">
                      <a:pos x="38" y="10"/>
                    </a:cxn>
                    <a:cxn ang="0">
                      <a:pos x="40" y="10"/>
                    </a:cxn>
                    <a:cxn ang="0">
                      <a:pos x="40" y="8"/>
                    </a:cxn>
                    <a:cxn ang="0">
                      <a:pos x="44" y="8"/>
                    </a:cxn>
                    <a:cxn ang="0">
                      <a:pos x="54" y="4"/>
                    </a:cxn>
                    <a:cxn ang="0">
                      <a:pos x="56" y="2"/>
                    </a:cxn>
                    <a:cxn ang="0">
                      <a:pos x="58" y="2"/>
                    </a:cxn>
                    <a:cxn ang="0">
                      <a:pos x="62" y="0"/>
                    </a:cxn>
                    <a:cxn ang="0">
                      <a:pos x="64" y="0"/>
                    </a:cxn>
                    <a:cxn ang="0">
                      <a:pos x="62" y="2"/>
                    </a:cxn>
                    <a:cxn ang="0">
                      <a:pos x="54" y="6"/>
                    </a:cxn>
                    <a:cxn ang="0">
                      <a:pos x="46" y="12"/>
                    </a:cxn>
                    <a:cxn ang="0">
                      <a:pos x="44" y="14"/>
                    </a:cxn>
                    <a:cxn ang="0">
                      <a:pos x="44" y="18"/>
                    </a:cxn>
                    <a:cxn ang="0">
                      <a:pos x="46" y="20"/>
                    </a:cxn>
                    <a:cxn ang="0">
                      <a:pos x="48" y="20"/>
                    </a:cxn>
                    <a:cxn ang="0">
                      <a:pos x="48" y="22"/>
                    </a:cxn>
                    <a:cxn ang="0">
                      <a:pos x="50" y="22"/>
                    </a:cxn>
                    <a:cxn ang="0">
                      <a:pos x="50" y="24"/>
                    </a:cxn>
                    <a:cxn ang="0">
                      <a:pos x="48" y="24"/>
                    </a:cxn>
                    <a:cxn ang="0">
                      <a:pos x="44" y="24"/>
                    </a:cxn>
                    <a:cxn ang="0">
                      <a:pos x="42" y="24"/>
                    </a:cxn>
                    <a:cxn ang="0">
                      <a:pos x="38" y="24"/>
                    </a:cxn>
                    <a:cxn ang="0">
                      <a:pos x="36" y="26"/>
                    </a:cxn>
                    <a:cxn ang="0">
                      <a:pos x="36" y="28"/>
                    </a:cxn>
                    <a:cxn ang="0">
                      <a:pos x="30" y="32"/>
                    </a:cxn>
                    <a:cxn ang="0">
                      <a:pos x="28" y="32"/>
                    </a:cxn>
                  </a:cxnLst>
                  <a:rect l="0" t="0" r="r" b="b"/>
                  <a:pathLst>
                    <a:path w="64" h="34">
                      <a:moveTo>
                        <a:pt x="28" y="32"/>
                      </a:moveTo>
                      <a:lnTo>
                        <a:pt x="26" y="32"/>
                      </a:lnTo>
                      <a:lnTo>
                        <a:pt x="22" y="32"/>
                      </a:lnTo>
                      <a:lnTo>
                        <a:pt x="20" y="34"/>
                      </a:lnTo>
                      <a:lnTo>
                        <a:pt x="14" y="34"/>
                      </a:lnTo>
                      <a:lnTo>
                        <a:pt x="12" y="34"/>
                      </a:lnTo>
                      <a:lnTo>
                        <a:pt x="10" y="34"/>
                      </a:lnTo>
                      <a:lnTo>
                        <a:pt x="6" y="32"/>
                      </a:lnTo>
                      <a:lnTo>
                        <a:pt x="4" y="30"/>
                      </a:lnTo>
                      <a:lnTo>
                        <a:pt x="2" y="26"/>
                      </a:lnTo>
                      <a:lnTo>
                        <a:pt x="0" y="26"/>
                      </a:lnTo>
                      <a:lnTo>
                        <a:pt x="0" y="18"/>
                      </a:lnTo>
                      <a:lnTo>
                        <a:pt x="2" y="20"/>
                      </a:lnTo>
                      <a:lnTo>
                        <a:pt x="4" y="20"/>
                      </a:lnTo>
                      <a:lnTo>
                        <a:pt x="6" y="18"/>
                      </a:lnTo>
                      <a:lnTo>
                        <a:pt x="8" y="16"/>
                      </a:lnTo>
                      <a:lnTo>
                        <a:pt x="12" y="16"/>
                      </a:lnTo>
                      <a:lnTo>
                        <a:pt x="14" y="18"/>
                      </a:lnTo>
                      <a:lnTo>
                        <a:pt x="16" y="18"/>
                      </a:lnTo>
                      <a:lnTo>
                        <a:pt x="18" y="16"/>
                      </a:lnTo>
                      <a:lnTo>
                        <a:pt x="18" y="14"/>
                      </a:lnTo>
                      <a:lnTo>
                        <a:pt x="18" y="12"/>
                      </a:lnTo>
                      <a:lnTo>
                        <a:pt x="20" y="10"/>
                      </a:lnTo>
                      <a:lnTo>
                        <a:pt x="38" y="10"/>
                      </a:lnTo>
                      <a:lnTo>
                        <a:pt x="40" y="10"/>
                      </a:lnTo>
                      <a:lnTo>
                        <a:pt x="40" y="8"/>
                      </a:lnTo>
                      <a:lnTo>
                        <a:pt x="44" y="8"/>
                      </a:lnTo>
                      <a:lnTo>
                        <a:pt x="54" y="4"/>
                      </a:lnTo>
                      <a:lnTo>
                        <a:pt x="56" y="2"/>
                      </a:lnTo>
                      <a:lnTo>
                        <a:pt x="58" y="2"/>
                      </a:lnTo>
                      <a:lnTo>
                        <a:pt x="62" y="0"/>
                      </a:lnTo>
                      <a:lnTo>
                        <a:pt x="64" y="0"/>
                      </a:lnTo>
                      <a:lnTo>
                        <a:pt x="62" y="2"/>
                      </a:lnTo>
                      <a:lnTo>
                        <a:pt x="54" y="6"/>
                      </a:lnTo>
                      <a:lnTo>
                        <a:pt x="46" y="12"/>
                      </a:lnTo>
                      <a:lnTo>
                        <a:pt x="44" y="14"/>
                      </a:lnTo>
                      <a:lnTo>
                        <a:pt x="44" y="18"/>
                      </a:lnTo>
                      <a:lnTo>
                        <a:pt x="46" y="20"/>
                      </a:lnTo>
                      <a:lnTo>
                        <a:pt x="48" y="20"/>
                      </a:lnTo>
                      <a:lnTo>
                        <a:pt x="48" y="22"/>
                      </a:lnTo>
                      <a:lnTo>
                        <a:pt x="50" y="22"/>
                      </a:lnTo>
                      <a:lnTo>
                        <a:pt x="50" y="24"/>
                      </a:lnTo>
                      <a:lnTo>
                        <a:pt x="48" y="24"/>
                      </a:lnTo>
                      <a:lnTo>
                        <a:pt x="44" y="24"/>
                      </a:lnTo>
                      <a:lnTo>
                        <a:pt x="42" y="24"/>
                      </a:lnTo>
                      <a:lnTo>
                        <a:pt x="38" y="24"/>
                      </a:lnTo>
                      <a:lnTo>
                        <a:pt x="36" y="26"/>
                      </a:lnTo>
                      <a:lnTo>
                        <a:pt x="36" y="28"/>
                      </a:lnTo>
                      <a:lnTo>
                        <a:pt x="30" y="32"/>
                      </a:lnTo>
                      <a:lnTo>
                        <a:pt x="28" y="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7" name="Freeform 3011"/>
                <p:cNvSpPr>
                  <a:spLocks/>
                </p:cNvSpPr>
                <p:nvPr/>
              </p:nvSpPr>
              <p:spPr bwMode="auto">
                <a:xfrm>
                  <a:off x="1337377" y="3673886"/>
                  <a:ext cx="87269" cy="108048"/>
                </a:xfrm>
                <a:custGeom>
                  <a:avLst/>
                  <a:gdLst/>
                  <a:ahLst/>
                  <a:cxnLst>
                    <a:cxn ang="0">
                      <a:pos x="20" y="44"/>
                    </a:cxn>
                    <a:cxn ang="0">
                      <a:pos x="16" y="46"/>
                    </a:cxn>
                    <a:cxn ang="0">
                      <a:pos x="14" y="46"/>
                    </a:cxn>
                    <a:cxn ang="0">
                      <a:pos x="12" y="48"/>
                    </a:cxn>
                    <a:cxn ang="0">
                      <a:pos x="12" y="50"/>
                    </a:cxn>
                    <a:cxn ang="0">
                      <a:pos x="12" y="52"/>
                    </a:cxn>
                    <a:cxn ang="0">
                      <a:pos x="10" y="52"/>
                    </a:cxn>
                    <a:cxn ang="0">
                      <a:pos x="8" y="52"/>
                    </a:cxn>
                    <a:cxn ang="0">
                      <a:pos x="6" y="50"/>
                    </a:cxn>
                    <a:cxn ang="0">
                      <a:pos x="0" y="52"/>
                    </a:cxn>
                    <a:cxn ang="0">
                      <a:pos x="2" y="50"/>
                    </a:cxn>
                    <a:cxn ang="0">
                      <a:pos x="4" y="48"/>
                    </a:cxn>
                    <a:cxn ang="0">
                      <a:pos x="4" y="44"/>
                    </a:cxn>
                    <a:cxn ang="0">
                      <a:pos x="6" y="40"/>
                    </a:cxn>
                    <a:cxn ang="0">
                      <a:pos x="8" y="38"/>
                    </a:cxn>
                    <a:cxn ang="0">
                      <a:pos x="10" y="34"/>
                    </a:cxn>
                    <a:cxn ang="0">
                      <a:pos x="10" y="32"/>
                    </a:cxn>
                    <a:cxn ang="0">
                      <a:pos x="12" y="28"/>
                    </a:cxn>
                    <a:cxn ang="0">
                      <a:pos x="12" y="26"/>
                    </a:cxn>
                    <a:cxn ang="0">
                      <a:pos x="12" y="24"/>
                    </a:cxn>
                    <a:cxn ang="0">
                      <a:pos x="14" y="26"/>
                    </a:cxn>
                    <a:cxn ang="0">
                      <a:pos x="14" y="24"/>
                    </a:cxn>
                    <a:cxn ang="0">
                      <a:pos x="16" y="18"/>
                    </a:cxn>
                    <a:cxn ang="0">
                      <a:pos x="16" y="16"/>
                    </a:cxn>
                    <a:cxn ang="0">
                      <a:pos x="16" y="14"/>
                    </a:cxn>
                    <a:cxn ang="0">
                      <a:pos x="16" y="12"/>
                    </a:cxn>
                    <a:cxn ang="0">
                      <a:pos x="20" y="8"/>
                    </a:cxn>
                    <a:cxn ang="0">
                      <a:pos x="24" y="6"/>
                    </a:cxn>
                    <a:cxn ang="0">
                      <a:pos x="26" y="4"/>
                    </a:cxn>
                    <a:cxn ang="0">
                      <a:pos x="26" y="2"/>
                    </a:cxn>
                    <a:cxn ang="0">
                      <a:pos x="24" y="0"/>
                    </a:cxn>
                    <a:cxn ang="0">
                      <a:pos x="38" y="0"/>
                    </a:cxn>
                    <a:cxn ang="0">
                      <a:pos x="38" y="2"/>
                    </a:cxn>
                    <a:cxn ang="0">
                      <a:pos x="36" y="2"/>
                    </a:cxn>
                    <a:cxn ang="0">
                      <a:pos x="36" y="4"/>
                    </a:cxn>
                    <a:cxn ang="0">
                      <a:pos x="38" y="4"/>
                    </a:cxn>
                    <a:cxn ang="0">
                      <a:pos x="40" y="8"/>
                    </a:cxn>
                    <a:cxn ang="0">
                      <a:pos x="42" y="14"/>
                    </a:cxn>
                    <a:cxn ang="0">
                      <a:pos x="40" y="18"/>
                    </a:cxn>
                    <a:cxn ang="0">
                      <a:pos x="36" y="22"/>
                    </a:cxn>
                    <a:cxn ang="0">
                      <a:pos x="34" y="24"/>
                    </a:cxn>
                    <a:cxn ang="0">
                      <a:pos x="36" y="26"/>
                    </a:cxn>
                    <a:cxn ang="0">
                      <a:pos x="36" y="28"/>
                    </a:cxn>
                    <a:cxn ang="0">
                      <a:pos x="32" y="26"/>
                    </a:cxn>
                    <a:cxn ang="0">
                      <a:pos x="28" y="28"/>
                    </a:cxn>
                    <a:cxn ang="0">
                      <a:pos x="26" y="30"/>
                    </a:cxn>
                    <a:cxn ang="0">
                      <a:pos x="24" y="32"/>
                    </a:cxn>
                    <a:cxn ang="0">
                      <a:pos x="24" y="34"/>
                    </a:cxn>
                    <a:cxn ang="0">
                      <a:pos x="26" y="34"/>
                    </a:cxn>
                    <a:cxn ang="0">
                      <a:pos x="28" y="36"/>
                    </a:cxn>
                    <a:cxn ang="0">
                      <a:pos x="22" y="40"/>
                    </a:cxn>
                    <a:cxn ang="0">
                      <a:pos x="22" y="42"/>
                    </a:cxn>
                    <a:cxn ang="0">
                      <a:pos x="20" y="42"/>
                    </a:cxn>
                    <a:cxn ang="0">
                      <a:pos x="20" y="44"/>
                    </a:cxn>
                  </a:cxnLst>
                  <a:rect l="0" t="0" r="r" b="b"/>
                  <a:pathLst>
                    <a:path w="42" h="52">
                      <a:moveTo>
                        <a:pt x="20" y="44"/>
                      </a:moveTo>
                      <a:lnTo>
                        <a:pt x="16" y="46"/>
                      </a:lnTo>
                      <a:lnTo>
                        <a:pt x="14" y="46"/>
                      </a:lnTo>
                      <a:lnTo>
                        <a:pt x="12" y="48"/>
                      </a:lnTo>
                      <a:lnTo>
                        <a:pt x="12" y="50"/>
                      </a:lnTo>
                      <a:lnTo>
                        <a:pt x="12" y="52"/>
                      </a:lnTo>
                      <a:lnTo>
                        <a:pt x="10" y="52"/>
                      </a:lnTo>
                      <a:lnTo>
                        <a:pt x="8" y="52"/>
                      </a:lnTo>
                      <a:lnTo>
                        <a:pt x="6" y="50"/>
                      </a:lnTo>
                      <a:lnTo>
                        <a:pt x="0" y="52"/>
                      </a:lnTo>
                      <a:lnTo>
                        <a:pt x="2" y="50"/>
                      </a:lnTo>
                      <a:lnTo>
                        <a:pt x="4" y="48"/>
                      </a:lnTo>
                      <a:lnTo>
                        <a:pt x="4" y="44"/>
                      </a:lnTo>
                      <a:lnTo>
                        <a:pt x="6" y="40"/>
                      </a:lnTo>
                      <a:lnTo>
                        <a:pt x="8" y="38"/>
                      </a:lnTo>
                      <a:lnTo>
                        <a:pt x="10" y="34"/>
                      </a:lnTo>
                      <a:lnTo>
                        <a:pt x="10" y="32"/>
                      </a:lnTo>
                      <a:lnTo>
                        <a:pt x="12" y="28"/>
                      </a:lnTo>
                      <a:lnTo>
                        <a:pt x="12" y="26"/>
                      </a:lnTo>
                      <a:lnTo>
                        <a:pt x="12" y="24"/>
                      </a:lnTo>
                      <a:lnTo>
                        <a:pt x="14" y="26"/>
                      </a:lnTo>
                      <a:lnTo>
                        <a:pt x="14" y="24"/>
                      </a:lnTo>
                      <a:lnTo>
                        <a:pt x="16" y="18"/>
                      </a:lnTo>
                      <a:lnTo>
                        <a:pt x="16" y="16"/>
                      </a:lnTo>
                      <a:lnTo>
                        <a:pt x="16" y="14"/>
                      </a:lnTo>
                      <a:lnTo>
                        <a:pt x="16" y="12"/>
                      </a:lnTo>
                      <a:lnTo>
                        <a:pt x="20" y="8"/>
                      </a:lnTo>
                      <a:lnTo>
                        <a:pt x="24" y="6"/>
                      </a:lnTo>
                      <a:lnTo>
                        <a:pt x="26" y="4"/>
                      </a:lnTo>
                      <a:lnTo>
                        <a:pt x="26" y="2"/>
                      </a:lnTo>
                      <a:lnTo>
                        <a:pt x="24" y="0"/>
                      </a:lnTo>
                      <a:lnTo>
                        <a:pt x="38" y="0"/>
                      </a:lnTo>
                      <a:lnTo>
                        <a:pt x="38" y="2"/>
                      </a:lnTo>
                      <a:lnTo>
                        <a:pt x="36" y="2"/>
                      </a:lnTo>
                      <a:lnTo>
                        <a:pt x="36" y="4"/>
                      </a:lnTo>
                      <a:lnTo>
                        <a:pt x="38" y="4"/>
                      </a:lnTo>
                      <a:lnTo>
                        <a:pt x="40" y="8"/>
                      </a:lnTo>
                      <a:lnTo>
                        <a:pt x="42" y="14"/>
                      </a:lnTo>
                      <a:lnTo>
                        <a:pt x="40" y="18"/>
                      </a:lnTo>
                      <a:lnTo>
                        <a:pt x="36" y="22"/>
                      </a:lnTo>
                      <a:lnTo>
                        <a:pt x="34" y="24"/>
                      </a:lnTo>
                      <a:lnTo>
                        <a:pt x="36" y="26"/>
                      </a:lnTo>
                      <a:lnTo>
                        <a:pt x="36" y="28"/>
                      </a:lnTo>
                      <a:lnTo>
                        <a:pt x="32" y="26"/>
                      </a:lnTo>
                      <a:lnTo>
                        <a:pt x="28" y="28"/>
                      </a:lnTo>
                      <a:lnTo>
                        <a:pt x="26" y="30"/>
                      </a:lnTo>
                      <a:lnTo>
                        <a:pt x="24" y="32"/>
                      </a:lnTo>
                      <a:lnTo>
                        <a:pt x="24" y="34"/>
                      </a:lnTo>
                      <a:lnTo>
                        <a:pt x="26" y="34"/>
                      </a:lnTo>
                      <a:lnTo>
                        <a:pt x="28" y="36"/>
                      </a:lnTo>
                      <a:lnTo>
                        <a:pt x="22" y="40"/>
                      </a:lnTo>
                      <a:lnTo>
                        <a:pt x="22" y="42"/>
                      </a:lnTo>
                      <a:lnTo>
                        <a:pt x="20" y="42"/>
                      </a:lnTo>
                      <a:lnTo>
                        <a:pt x="20" y="4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8" name="Freeform 3012"/>
                <p:cNvSpPr>
                  <a:spLocks/>
                </p:cNvSpPr>
                <p:nvPr/>
              </p:nvSpPr>
              <p:spPr bwMode="auto">
                <a:xfrm>
                  <a:off x="1333222" y="3765311"/>
                  <a:ext cx="245185" cy="274275"/>
                </a:xfrm>
                <a:custGeom>
                  <a:avLst/>
                  <a:gdLst/>
                  <a:ahLst/>
                  <a:cxnLst>
                    <a:cxn ang="0">
                      <a:pos x="14" y="58"/>
                    </a:cxn>
                    <a:cxn ang="0">
                      <a:pos x="14" y="54"/>
                    </a:cxn>
                    <a:cxn ang="0">
                      <a:pos x="14" y="52"/>
                    </a:cxn>
                    <a:cxn ang="0">
                      <a:pos x="16" y="50"/>
                    </a:cxn>
                    <a:cxn ang="0">
                      <a:pos x="16" y="22"/>
                    </a:cxn>
                    <a:cxn ang="0">
                      <a:pos x="18" y="20"/>
                    </a:cxn>
                    <a:cxn ang="0">
                      <a:pos x="20" y="20"/>
                    </a:cxn>
                    <a:cxn ang="0">
                      <a:pos x="22" y="18"/>
                    </a:cxn>
                    <a:cxn ang="0">
                      <a:pos x="26" y="20"/>
                    </a:cxn>
                    <a:cxn ang="0">
                      <a:pos x="30" y="26"/>
                    </a:cxn>
                    <a:cxn ang="0">
                      <a:pos x="32" y="26"/>
                    </a:cxn>
                    <a:cxn ang="0">
                      <a:pos x="38" y="30"/>
                    </a:cxn>
                    <a:cxn ang="0">
                      <a:pos x="50" y="32"/>
                    </a:cxn>
                    <a:cxn ang="0">
                      <a:pos x="106" y="0"/>
                    </a:cxn>
                    <a:cxn ang="0">
                      <a:pos x="112" y="26"/>
                    </a:cxn>
                    <a:cxn ang="0">
                      <a:pos x="110" y="28"/>
                    </a:cxn>
                    <a:cxn ang="0">
                      <a:pos x="112" y="34"/>
                    </a:cxn>
                    <a:cxn ang="0">
                      <a:pos x="116" y="32"/>
                    </a:cxn>
                    <a:cxn ang="0">
                      <a:pos x="118" y="34"/>
                    </a:cxn>
                    <a:cxn ang="0">
                      <a:pos x="110" y="42"/>
                    </a:cxn>
                    <a:cxn ang="0">
                      <a:pos x="82" y="50"/>
                    </a:cxn>
                    <a:cxn ang="0">
                      <a:pos x="82" y="52"/>
                    </a:cxn>
                    <a:cxn ang="0">
                      <a:pos x="56" y="58"/>
                    </a:cxn>
                    <a:cxn ang="0">
                      <a:pos x="82" y="90"/>
                    </a:cxn>
                    <a:cxn ang="0">
                      <a:pos x="74" y="96"/>
                    </a:cxn>
                    <a:cxn ang="0">
                      <a:pos x="68" y="106"/>
                    </a:cxn>
                    <a:cxn ang="0">
                      <a:pos x="48" y="110"/>
                    </a:cxn>
                    <a:cxn ang="0">
                      <a:pos x="42" y="122"/>
                    </a:cxn>
                    <a:cxn ang="0">
                      <a:pos x="30" y="132"/>
                    </a:cxn>
                    <a:cxn ang="0">
                      <a:pos x="0" y="126"/>
                    </a:cxn>
                    <a:cxn ang="0">
                      <a:pos x="0" y="122"/>
                    </a:cxn>
                    <a:cxn ang="0">
                      <a:pos x="0" y="120"/>
                    </a:cxn>
                    <a:cxn ang="0">
                      <a:pos x="2" y="110"/>
                    </a:cxn>
                    <a:cxn ang="0">
                      <a:pos x="2" y="104"/>
                    </a:cxn>
                    <a:cxn ang="0">
                      <a:pos x="4" y="104"/>
                    </a:cxn>
                    <a:cxn ang="0">
                      <a:pos x="4" y="92"/>
                    </a:cxn>
                    <a:cxn ang="0">
                      <a:pos x="6" y="88"/>
                    </a:cxn>
                    <a:cxn ang="0">
                      <a:pos x="8" y="82"/>
                    </a:cxn>
                    <a:cxn ang="0">
                      <a:pos x="10" y="78"/>
                    </a:cxn>
                    <a:cxn ang="0">
                      <a:pos x="10" y="76"/>
                    </a:cxn>
                    <a:cxn ang="0">
                      <a:pos x="12" y="76"/>
                    </a:cxn>
                    <a:cxn ang="0">
                      <a:pos x="14" y="72"/>
                    </a:cxn>
                    <a:cxn ang="0">
                      <a:pos x="14" y="70"/>
                    </a:cxn>
                    <a:cxn ang="0">
                      <a:pos x="12" y="68"/>
                    </a:cxn>
                    <a:cxn ang="0">
                      <a:pos x="14" y="64"/>
                    </a:cxn>
                    <a:cxn ang="0">
                      <a:pos x="14" y="58"/>
                    </a:cxn>
                  </a:cxnLst>
                  <a:rect l="0" t="0" r="r" b="b"/>
                  <a:pathLst>
                    <a:path w="118" h="132">
                      <a:moveTo>
                        <a:pt x="14" y="58"/>
                      </a:moveTo>
                      <a:lnTo>
                        <a:pt x="14" y="54"/>
                      </a:lnTo>
                      <a:lnTo>
                        <a:pt x="14" y="52"/>
                      </a:lnTo>
                      <a:lnTo>
                        <a:pt x="16" y="50"/>
                      </a:lnTo>
                      <a:lnTo>
                        <a:pt x="16" y="22"/>
                      </a:lnTo>
                      <a:lnTo>
                        <a:pt x="18" y="20"/>
                      </a:lnTo>
                      <a:lnTo>
                        <a:pt x="20" y="20"/>
                      </a:lnTo>
                      <a:lnTo>
                        <a:pt x="22" y="18"/>
                      </a:lnTo>
                      <a:lnTo>
                        <a:pt x="26" y="20"/>
                      </a:lnTo>
                      <a:lnTo>
                        <a:pt x="30" y="26"/>
                      </a:lnTo>
                      <a:lnTo>
                        <a:pt x="32" y="26"/>
                      </a:lnTo>
                      <a:lnTo>
                        <a:pt x="38" y="30"/>
                      </a:lnTo>
                      <a:lnTo>
                        <a:pt x="50" y="32"/>
                      </a:lnTo>
                      <a:lnTo>
                        <a:pt x="106" y="0"/>
                      </a:lnTo>
                      <a:lnTo>
                        <a:pt x="112" y="26"/>
                      </a:lnTo>
                      <a:lnTo>
                        <a:pt x="110" y="28"/>
                      </a:lnTo>
                      <a:lnTo>
                        <a:pt x="112" y="34"/>
                      </a:lnTo>
                      <a:lnTo>
                        <a:pt x="116" y="32"/>
                      </a:lnTo>
                      <a:lnTo>
                        <a:pt x="118" y="34"/>
                      </a:lnTo>
                      <a:lnTo>
                        <a:pt x="110" y="42"/>
                      </a:lnTo>
                      <a:lnTo>
                        <a:pt x="82" y="50"/>
                      </a:lnTo>
                      <a:lnTo>
                        <a:pt x="82" y="52"/>
                      </a:lnTo>
                      <a:lnTo>
                        <a:pt x="56" y="58"/>
                      </a:lnTo>
                      <a:lnTo>
                        <a:pt x="82" y="90"/>
                      </a:lnTo>
                      <a:lnTo>
                        <a:pt x="74" y="96"/>
                      </a:lnTo>
                      <a:lnTo>
                        <a:pt x="68" y="106"/>
                      </a:lnTo>
                      <a:lnTo>
                        <a:pt x="48" y="110"/>
                      </a:lnTo>
                      <a:lnTo>
                        <a:pt x="42" y="122"/>
                      </a:lnTo>
                      <a:lnTo>
                        <a:pt x="30" y="132"/>
                      </a:lnTo>
                      <a:lnTo>
                        <a:pt x="0" y="126"/>
                      </a:lnTo>
                      <a:lnTo>
                        <a:pt x="0" y="122"/>
                      </a:lnTo>
                      <a:lnTo>
                        <a:pt x="0" y="120"/>
                      </a:lnTo>
                      <a:lnTo>
                        <a:pt x="2" y="110"/>
                      </a:lnTo>
                      <a:lnTo>
                        <a:pt x="2" y="104"/>
                      </a:lnTo>
                      <a:lnTo>
                        <a:pt x="4" y="104"/>
                      </a:lnTo>
                      <a:lnTo>
                        <a:pt x="4" y="92"/>
                      </a:lnTo>
                      <a:lnTo>
                        <a:pt x="6" y="88"/>
                      </a:lnTo>
                      <a:lnTo>
                        <a:pt x="8" y="82"/>
                      </a:lnTo>
                      <a:lnTo>
                        <a:pt x="10" y="78"/>
                      </a:lnTo>
                      <a:lnTo>
                        <a:pt x="10" y="76"/>
                      </a:lnTo>
                      <a:lnTo>
                        <a:pt x="12" y="76"/>
                      </a:lnTo>
                      <a:lnTo>
                        <a:pt x="14" y="72"/>
                      </a:lnTo>
                      <a:lnTo>
                        <a:pt x="14" y="70"/>
                      </a:lnTo>
                      <a:lnTo>
                        <a:pt x="12" y="68"/>
                      </a:lnTo>
                      <a:lnTo>
                        <a:pt x="14" y="64"/>
                      </a:lnTo>
                      <a:lnTo>
                        <a:pt x="14" y="5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39" name="Freeform 3013"/>
                <p:cNvSpPr>
                  <a:spLocks/>
                </p:cNvSpPr>
                <p:nvPr/>
              </p:nvSpPr>
              <p:spPr bwMode="auto">
                <a:xfrm>
                  <a:off x="1291665" y="3881670"/>
                  <a:ext cx="16623" cy="24934"/>
                </a:xfrm>
                <a:custGeom>
                  <a:avLst/>
                  <a:gdLst/>
                  <a:ahLst/>
                  <a:cxnLst>
                    <a:cxn ang="0">
                      <a:pos x="0" y="8"/>
                    </a:cxn>
                    <a:cxn ang="0">
                      <a:pos x="6" y="0"/>
                    </a:cxn>
                    <a:cxn ang="0">
                      <a:pos x="8" y="2"/>
                    </a:cxn>
                    <a:cxn ang="0">
                      <a:pos x="6" y="4"/>
                    </a:cxn>
                    <a:cxn ang="0">
                      <a:pos x="4" y="8"/>
                    </a:cxn>
                    <a:cxn ang="0">
                      <a:pos x="4" y="10"/>
                    </a:cxn>
                    <a:cxn ang="0">
                      <a:pos x="0" y="12"/>
                    </a:cxn>
                    <a:cxn ang="0">
                      <a:pos x="0" y="10"/>
                    </a:cxn>
                    <a:cxn ang="0">
                      <a:pos x="0" y="8"/>
                    </a:cxn>
                  </a:cxnLst>
                  <a:rect l="0" t="0" r="r" b="b"/>
                  <a:pathLst>
                    <a:path w="8" h="12">
                      <a:moveTo>
                        <a:pt x="0" y="8"/>
                      </a:moveTo>
                      <a:lnTo>
                        <a:pt x="6" y="0"/>
                      </a:lnTo>
                      <a:lnTo>
                        <a:pt x="8" y="2"/>
                      </a:lnTo>
                      <a:lnTo>
                        <a:pt x="6" y="4"/>
                      </a:lnTo>
                      <a:lnTo>
                        <a:pt x="4" y="8"/>
                      </a:lnTo>
                      <a:lnTo>
                        <a:pt x="4" y="10"/>
                      </a:lnTo>
                      <a:lnTo>
                        <a:pt x="0" y="12"/>
                      </a:lnTo>
                      <a:lnTo>
                        <a:pt x="0" y="10"/>
                      </a:lnTo>
                      <a:lnTo>
                        <a:pt x="0"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40" name="Group 3014"/>
                <p:cNvGrpSpPr>
                  <a:grpSpLocks/>
                </p:cNvGrpSpPr>
                <p:nvPr/>
              </p:nvGrpSpPr>
              <p:grpSpPr bwMode="auto">
                <a:xfrm>
                  <a:off x="6374060" y="2867684"/>
                  <a:ext cx="1259171" cy="1487733"/>
                  <a:chOff x="3304" y="2260"/>
                  <a:chExt cx="606" cy="716"/>
                </a:xfrm>
                <a:solidFill>
                  <a:srgbClr val="B9B9B9"/>
                </a:solidFill>
              </p:grpSpPr>
              <p:sp>
                <p:nvSpPr>
                  <p:cNvPr id="619" name="Freeform 3015"/>
                  <p:cNvSpPr>
                    <a:spLocks/>
                  </p:cNvSpPr>
                  <p:nvPr/>
                </p:nvSpPr>
                <p:spPr bwMode="auto">
                  <a:xfrm>
                    <a:off x="3744" y="2260"/>
                    <a:ext cx="166" cy="154"/>
                  </a:xfrm>
                  <a:custGeom>
                    <a:avLst/>
                    <a:gdLst/>
                    <a:ahLst/>
                    <a:cxnLst>
                      <a:cxn ang="0">
                        <a:pos x="130" y="60"/>
                      </a:cxn>
                      <a:cxn ang="0">
                        <a:pos x="140" y="58"/>
                      </a:cxn>
                      <a:cxn ang="0">
                        <a:pos x="148" y="50"/>
                      </a:cxn>
                      <a:cxn ang="0">
                        <a:pos x="154" y="48"/>
                      </a:cxn>
                      <a:cxn ang="0">
                        <a:pos x="148" y="56"/>
                      </a:cxn>
                      <a:cxn ang="0">
                        <a:pos x="146" y="66"/>
                      </a:cxn>
                      <a:cxn ang="0">
                        <a:pos x="152" y="72"/>
                      </a:cxn>
                      <a:cxn ang="0">
                        <a:pos x="150" y="72"/>
                      </a:cxn>
                      <a:cxn ang="0">
                        <a:pos x="152" y="84"/>
                      </a:cxn>
                      <a:cxn ang="0">
                        <a:pos x="162" y="80"/>
                      </a:cxn>
                      <a:cxn ang="0">
                        <a:pos x="162" y="82"/>
                      </a:cxn>
                      <a:cxn ang="0">
                        <a:pos x="154" y="88"/>
                      </a:cxn>
                      <a:cxn ang="0">
                        <a:pos x="146" y="90"/>
                      </a:cxn>
                      <a:cxn ang="0">
                        <a:pos x="144" y="96"/>
                      </a:cxn>
                      <a:cxn ang="0">
                        <a:pos x="140" y="92"/>
                      </a:cxn>
                      <a:cxn ang="0">
                        <a:pos x="136" y="96"/>
                      </a:cxn>
                      <a:cxn ang="0">
                        <a:pos x="126" y="96"/>
                      </a:cxn>
                      <a:cxn ang="0">
                        <a:pos x="120" y="96"/>
                      </a:cxn>
                      <a:cxn ang="0">
                        <a:pos x="112" y="102"/>
                      </a:cxn>
                      <a:cxn ang="0">
                        <a:pos x="104" y="110"/>
                      </a:cxn>
                      <a:cxn ang="0">
                        <a:pos x="98" y="118"/>
                      </a:cxn>
                      <a:cxn ang="0">
                        <a:pos x="96" y="134"/>
                      </a:cxn>
                      <a:cxn ang="0">
                        <a:pos x="86" y="126"/>
                      </a:cxn>
                      <a:cxn ang="0">
                        <a:pos x="68" y="118"/>
                      </a:cxn>
                      <a:cxn ang="0">
                        <a:pos x="58" y="110"/>
                      </a:cxn>
                      <a:cxn ang="0">
                        <a:pos x="46" y="110"/>
                      </a:cxn>
                      <a:cxn ang="0">
                        <a:pos x="32" y="116"/>
                      </a:cxn>
                      <a:cxn ang="0">
                        <a:pos x="20" y="110"/>
                      </a:cxn>
                      <a:cxn ang="0">
                        <a:pos x="16" y="118"/>
                      </a:cxn>
                      <a:cxn ang="0">
                        <a:pos x="16" y="122"/>
                      </a:cxn>
                      <a:cxn ang="0">
                        <a:pos x="20" y="126"/>
                      </a:cxn>
                      <a:cxn ang="0">
                        <a:pos x="28" y="126"/>
                      </a:cxn>
                      <a:cxn ang="0">
                        <a:pos x="34" y="136"/>
                      </a:cxn>
                      <a:cxn ang="0">
                        <a:pos x="40" y="138"/>
                      </a:cxn>
                      <a:cxn ang="0">
                        <a:pos x="24" y="138"/>
                      </a:cxn>
                      <a:cxn ang="0">
                        <a:pos x="20" y="144"/>
                      </a:cxn>
                      <a:cxn ang="0">
                        <a:pos x="14" y="150"/>
                      </a:cxn>
                      <a:cxn ang="0">
                        <a:pos x="8" y="152"/>
                      </a:cxn>
                      <a:cxn ang="0">
                        <a:pos x="10" y="140"/>
                      </a:cxn>
                      <a:cxn ang="0">
                        <a:pos x="8" y="128"/>
                      </a:cxn>
                      <a:cxn ang="0">
                        <a:pos x="0" y="122"/>
                      </a:cxn>
                      <a:cxn ang="0">
                        <a:pos x="2" y="108"/>
                      </a:cxn>
                      <a:cxn ang="0">
                        <a:pos x="8" y="106"/>
                      </a:cxn>
                      <a:cxn ang="0">
                        <a:pos x="16" y="100"/>
                      </a:cxn>
                      <a:cxn ang="0">
                        <a:pos x="22" y="94"/>
                      </a:cxn>
                      <a:cxn ang="0">
                        <a:pos x="16" y="88"/>
                      </a:cxn>
                      <a:cxn ang="0">
                        <a:pos x="20" y="80"/>
                      </a:cxn>
                      <a:cxn ang="0">
                        <a:pos x="34" y="88"/>
                      </a:cxn>
                      <a:cxn ang="0">
                        <a:pos x="46" y="84"/>
                      </a:cxn>
                      <a:cxn ang="0">
                        <a:pos x="44" y="64"/>
                      </a:cxn>
                      <a:cxn ang="0">
                        <a:pos x="52" y="60"/>
                      </a:cxn>
                      <a:cxn ang="0">
                        <a:pos x="54" y="42"/>
                      </a:cxn>
                      <a:cxn ang="0">
                        <a:pos x="56" y="24"/>
                      </a:cxn>
                      <a:cxn ang="0">
                        <a:pos x="52" y="14"/>
                      </a:cxn>
                      <a:cxn ang="0">
                        <a:pos x="54" y="4"/>
                      </a:cxn>
                      <a:cxn ang="0">
                        <a:pos x="60" y="0"/>
                      </a:cxn>
                      <a:cxn ang="0">
                        <a:pos x="70" y="10"/>
                      </a:cxn>
                      <a:cxn ang="0">
                        <a:pos x="74" y="14"/>
                      </a:cxn>
                      <a:cxn ang="0">
                        <a:pos x="78" y="20"/>
                      </a:cxn>
                      <a:cxn ang="0">
                        <a:pos x="90" y="36"/>
                      </a:cxn>
                      <a:cxn ang="0">
                        <a:pos x="102" y="46"/>
                      </a:cxn>
                      <a:cxn ang="0">
                        <a:pos x="108" y="50"/>
                      </a:cxn>
                      <a:cxn ang="0">
                        <a:pos x="116" y="52"/>
                      </a:cxn>
                    </a:cxnLst>
                    <a:rect l="0" t="0" r="r" b="b"/>
                    <a:pathLst>
                      <a:path w="166" h="154">
                        <a:moveTo>
                          <a:pt x="126" y="58"/>
                        </a:moveTo>
                        <a:lnTo>
                          <a:pt x="128" y="58"/>
                        </a:lnTo>
                        <a:lnTo>
                          <a:pt x="130" y="60"/>
                        </a:lnTo>
                        <a:lnTo>
                          <a:pt x="134" y="60"/>
                        </a:lnTo>
                        <a:lnTo>
                          <a:pt x="136" y="60"/>
                        </a:lnTo>
                        <a:lnTo>
                          <a:pt x="140" y="58"/>
                        </a:lnTo>
                        <a:lnTo>
                          <a:pt x="140" y="56"/>
                        </a:lnTo>
                        <a:lnTo>
                          <a:pt x="146" y="50"/>
                        </a:lnTo>
                        <a:lnTo>
                          <a:pt x="148" y="50"/>
                        </a:lnTo>
                        <a:lnTo>
                          <a:pt x="150" y="48"/>
                        </a:lnTo>
                        <a:lnTo>
                          <a:pt x="152" y="44"/>
                        </a:lnTo>
                        <a:lnTo>
                          <a:pt x="154" y="48"/>
                        </a:lnTo>
                        <a:lnTo>
                          <a:pt x="150" y="54"/>
                        </a:lnTo>
                        <a:lnTo>
                          <a:pt x="150" y="56"/>
                        </a:lnTo>
                        <a:lnTo>
                          <a:pt x="148" y="56"/>
                        </a:lnTo>
                        <a:lnTo>
                          <a:pt x="148" y="60"/>
                        </a:lnTo>
                        <a:lnTo>
                          <a:pt x="146" y="60"/>
                        </a:lnTo>
                        <a:lnTo>
                          <a:pt x="146" y="66"/>
                        </a:lnTo>
                        <a:lnTo>
                          <a:pt x="146" y="68"/>
                        </a:lnTo>
                        <a:lnTo>
                          <a:pt x="150" y="72"/>
                        </a:lnTo>
                        <a:lnTo>
                          <a:pt x="152" y="72"/>
                        </a:lnTo>
                        <a:lnTo>
                          <a:pt x="154" y="74"/>
                        </a:lnTo>
                        <a:lnTo>
                          <a:pt x="152" y="74"/>
                        </a:lnTo>
                        <a:lnTo>
                          <a:pt x="150" y="72"/>
                        </a:lnTo>
                        <a:lnTo>
                          <a:pt x="152" y="80"/>
                        </a:lnTo>
                        <a:lnTo>
                          <a:pt x="150" y="82"/>
                        </a:lnTo>
                        <a:lnTo>
                          <a:pt x="152" y="84"/>
                        </a:lnTo>
                        <a:lnTo>
                          <a:pt x="154" y="84"/>
                        </a:lnTo>
                        <a:lnTo>
                          <a:pt x="156" y="86"/>
                        </a:lnTo>
                        <a:lnTo>
                          <a:pt x="162" y="80"/>
                        </a:lnTo>
                        <a:lnTo>
                          <a:pt x="164" y="80"/>
                        </a:lnTo>
                        <a:lnTo>
                          <a:pt x="166" y="80"/>
                        </a:lnTo>
                        <a:lnTo>
                          <a:pt x="162" y="82"/>
                        </a:lnTo>
                        <a:lnTo>
                          <a:pt x="160" y="82"/>
                        </a:lnTo>
                        <a:lnTo>
                          <a:pt x="158" y="88"/>
                        </a:lnTo>
                        <a:lnTo>
                          <a:pt x="154" y="88"/>
                        </a:lnTo>
                        <a:lnTo>
                          <a:pt x="152" y="88"/>
                        </a:lnTo>
                        <a:lnTo>
                          <a:pt x="148" y="90"/>
                        </a:lnTo>
                        <a:lnTo>
                          <a:pt x="146" y="90"/>
                        </a:lnTo>
                        <a:lnTo>
                          <a:pt x="146" y="92"/>
                        </a:lnTo>
                        <a:lnTo>
                          <a:pt x="144" y="94"/>
                        </a:lnTo>
                        <a:lnTo>
                          <a:pt x="144" y="96"/>
                        </a:lnTo>
                        <a:lnTo>
                          <a:pt x="140" y="96"/>
                        </a:lnTo>
                        <a:lnTo>
                          <a:pt x="140" y="94"/>
                        </a:lnTo>
                        <a:lnTo>
                          <a:pt x="140" y="92"/>
                        </a:lnTo>
                        <a:lnTo>
                          <a:pt x="138" y="92"/>
                        </a:lnTo>
                        <a:lnTo>
                          <a:pt x="138" y="94"/>
                        </a:lnTo>
                        <a:lnTo>
                          <a:pt x="136" y="96"/>
                        </a:lnTo>
                        <a:lnTo>
                          <a:pt x="134" y="96"/>
                        </a:lnTo>
                        <a:lnTo>
                          <a:pt x="128" y="96"/>
                        </a:lnTo>
                        <a:lnTo>
                          <a:pt x="126" y="96"/>
                        </a:lnTo>
                        <a:lnTo>
                          <a:pt x="126" y="94"/>
                        </a:lnTo>
                        <a:lnTo>
                          <a:pt x="122" y="96"/>
                        </a:lnTo>
                        <a:lnTo>
                          <a:pt x="120" y="96"/>
                        </a:lnTo>
                        <a:lnTo>
                          <a:pt x="116" y="96"/>
                        </a:lnTo>
                        <a:lnTo>
                          <a:pt x="114" y="100"/>
                        </a:lnTo>
                        <a:lnTo>
                          <a:pt x="112" y="102"/>
                        </a:lnTo>
                        <a:lnTo>
                          <a:pt x="106" y="108"/>
                        </a:lnTo>
                        <a:lnTo>
                          <a:pt x="104" y="108"/>
                        </a:lnTo>
                        <a:lnTo>
                          <a:pt x="104" y="110"/>
                        </a:lnTo>
                        <a:lnTo>
                          <a:pt x="102" y="114"/>
                        </a:lnTo>
                        <a:lnTo>
                          <a:pt x="100" y="118"/>
                        </a:lnTo>
                        <a:lnTo>
                          <a:pt x="98" y="118"/>
                        </a:lnTo>
                        <a:lnTo>
                          <a:pt x="98" y="120"/>
                        </a:lnTo>
                        <a:lnTo>
                          <a:pt x="98" y="130"/>
                        </a:lnTo>
                        <a:lnTo>
                          <a:pt x="96" y="134"/>
                        </a:lnTo>
                        <a:lnTo>
                          <a:pt x="94" y="134"/>
                        </a:lnTo>
                        <a:lnTo>
                          <a:pt x="94" y="132"/>
                        </a:lnTo>
                        <a:lnTo>
                          <a:pt x="86" y="126"/>
                        </a:lnTo>
                        <a:lnTo>
                          <a:pt x="84" y="126"/>
                        </a:lnTo>
                        <a:lnTo>
                          <a:pt x="70" y="118"/>
                        </a:lnTo>
                        <a:lnTo>
                          <a:pt x="68" y="118"/>
                        </a:lnTo>
                        <a:lnTo>
                          <a:pt x="60" y="112"/>
                        </a:lnTo>
                        <a:lnTo>
                          <a:pt x="60" y="110"/>
                        </a:lnTo>
                        <a:lnTo>
                          <a:pt x="58" y="110"/>
                        </a:lnTo>
                        <a:lnTo>
                          <a:pt x="56" y="108"/>
                        </a:lnTo>
                        <a:lnTo>
                          <a:pt x="48" y="108"/>
                        </a:lnTo>
                        <a:lnTo>
                          <a:pt x="46" y="110"/>
                        </a:lnTo>
                        <a:lnTo>
                          <a:pt x="34" y="120"/>
                        </a:lnTo>
                        <a:lnTo>
                          <a:pt x="32" y="120"/>
                        </a:lnTo>
                        <a:lnTo>
                          <a:pt x="32" y="116"/>
                        </a:lnTo>
                        <a:lnTo>
                          <a:pt x="28" y="110"/>
                        </a:lnTo>
                        <a:lnTo>
                          <a:pt x="26" y="110"/>
                        </a:lnTo>
                        <a:lnTo>
                          <a:pt x="20" y="110"/>
                        </a:lnTo>
                        <a:lnTo>
                          <a:pt x="18" y="112"/>
                        </a:lnTo>
                        <a:lnTo>
                          <a:pt x="16" y="114"/>
                        </a:lnTo>
                        <a:lnTo>
                          <a:pt x="16" y="118"/>
                        </a:lnTo>
                        <a:lnTo>
                          <a:pt x="14" y="118"/>
                        </a:lnTo>
                        <a:lnTo>
                          <a:pt x="14" y="122"/>
                        </a:lnTo>
                        <a:lnTo>
                          <a:pt x="16" y="122"/>
                        </a:lnTo>
                        <a:lnTo>
                          <a:pt x="16" y="124"/>
                        </a:lnTo>
                        <a:lnTo>
                          <a:pt x="18" y="124"/>
                        </a:lnTo>
                        <a:lnTo>
                          <a:pt x="20" y="126"/>
                        </a:lnTo>
                        <a:lnTo>
                          <a:pt x="22" y="128"/>
                        </a:lnTo>
                        <a:lnTo>
                          <a:pt x="26" y="126"/>
                        </a:lnTo>
                        <a:lnTo>
                          <a:pt x="28" y="126"/>
                        </a:lnTo>
                        <a:lnTo>
                          <a:pt x="28" y="128"/>
                        </a:lnTo>
                        <a:lnTo>
                          <a:pt x="28" y="130"/>
                        </a:lnTo>
                        <a:lnTo>
                          <a:pt x="34" y="136"/>
                        </a:lnTo>
                        <a:lnTo>
                          <a:pt x="36" y="136"/>
                        </a:lnTo>
                        <a:lnTo>
                          <a:pt x="38" y="138"/>
                        </a:lnTo>
                        <a:lnTo>
                          <a:pt x="40" y="138"/>
                        </a:lnTo>
                        <a:lnTo>
                          <a:pt x="34" y="142"/>
                        </a:lnTo>
                        <a:lnTo>
                          <a:pt x="26" y="138"/>
                        </a:lnTo>
                        <a:lnTo>
                          <a:pt x="24" y="138"/>
                        </a:lnTo>
                        <a:lnTo>
                          <a:pt x="24" y="140"/>
                        </a:lnTo>
                        <a:lnTo>
                          <a:pt x="22" y="142"/>
                        </a:lnTo>
                        <a:lnTo>
                          <a:pt x="20" y="144"/>
                        </a:lnTo>
                        <a:lnTo>
                          <a:pt x="18" y="144"/>
                        </a:lnTo>
                        <a:lnTo>
                          <a:pt x="18" y="150"/>
                        </a:lnTo>
                        <a:lnTo>
                          <a:pt x="14" y="150"/>
                        </a:lnTo>
                        <a:lnTo>
                          <a:pt x="12" y="152"/>
                        </a:lnTo>
                        <a:lnTo>
                          <a:pt x="12" y="154"/>
                        </a:lnTo>
                        <a:lnTo>
                          <a:pt x="8" y="152"/>
                        </a:lnTo>
                        <a:lnTo>
                          <a:pt x="6" y="146"/>
                        </a:lnTo>
                        <a:lnTo>
                          <a:pt x="8" y="142"/>
                        </a:lnTo>
                        <a:lnTo>
                          <a:pt x="10" y="140"/>
                        </a:lnTo>
                        <a:lnTo>
                          <a:pt x="10" y="134"/>
                        </a:lnTo>
                        <a:lnTo>
                          <a:pt x="10" y="132"/>
                        </a:lnTo>
                        <a:lnTo>
                          <a:pt x="8" y="128"/>
                        </a:lnTo>
                        <a:lnTo>
                          <a:pt x="8" y="126"/>
                        </a:lnTo>
                        <a:lnTo>
                          <a:pt x="4" y="126"/>
                        </a:lnTo>
                        <a:lnTo>
                          <a:pt x="0" y="122"/>
                        </a:lnTo>
                        <a:lnTo>
                          <a:pt x="0" y="118"/>
                        </a:lnTo>
                        <a:lnTo>
                          <a:pt x="2" y="116"/>
                        </a:lnTo>
                        <a:lnTo>
                          <a:pt x="2" y="108"/>
                        </a:lnTo>
                        <a:lnTo>
                          <a:pt x="4" y="108"/>
                        </a:lnTo>
                        <a:lnTo>
                          <a:pt x="4" y="106"/>
                        </a:lnTo>
                        <a:lnTo>
                          <a:pt x="8" y="106"/>
                        </a:lnTo>
                        <a:lnTo>
                          <a:pt x="12" y="102"/>
                        </a:lnTo>
                        <a:lnTo>
                          <a:pt x="16" y="102"/>
                        </a:lnTo>
                        <a:lnTo>
                          <a:pt x="16" y="100"/>
                        </a:lnTo>
                        <a:lnTo>
                          <a:pt x="18" y="96"/>
                        </a:lnTo>
                        <a:lnTo>
                          <a:pt x="20" y="96"/>
                        </a:lnTo>
                        <a:lnTo>
                          <a:pt x="22" y="94"/>
                        </a:lnTo>
                        <a:lnTo>
                          <a:pt x="20" y="92"/>
                        </a:lnTo>
                        <a:lnTo>
                          <a:pt x="18" y="88"/>
                        </a:lnTo>
                        <a:lnTo>
                          <a:pt x="16" y="88"/>
                        </a:lnTo>
                        <a:lnTo>
                          <a:pt x="16" y="86"/>
                        </a:lnTo>
                        <a:lnTo>
                          <a:pt x="16" y="82"/>
                        </a:lnTo>
                        <a:lnTo>
                          <a:pt x="20" y="80"/>
                        </a:lnTo>
                        <a:lnTo>
                          <a:pt x="22" y="80"/>
                        </a:lnTo>
                        <a:lnTo>
                          <a:pt x="28" y="88"/>
                        </a:lnTo>
                        <a:lnTo>
                          <a:pt x="34" y="88"/>
                        </a:lnTo>
                        <a:lnTo>
                          <a:pt x="38" y="90"/>
                        </a:lnTo>
                        <a:lnTo>
                          <a:pt x="40" y="90"/>
                        </a:lnTo>
                        <a:lnTo>
                          <a:pt x="46" y="84"/>
                        </a:lnTo>
                        <a:lnTo>
                          <a:pt x="46" y="82"/>
                        </a:lnTo>
                        <a:lnTo>
                          <a:pt x="44" y="68"/>
                        </a:lnTo>
                        <a:lnTo>
                          <a:pt x="44" y="64"/>
                        </a:lnTo>
                        <a:lnTo>
                          <a:pt x="46" y="64"/>
                        </a:lnTo>
                        <a:lnTo>
                          <a:pt x="48" y="64"/>
                        </a:lnTo>
                        <a:lnTo>
                          <a:pt x="52" y="60"/>
                        </a:lnTo>
                        <a:lnTo>
                          <a:pt x="52" y="56"/>
                        </a:lnTo>
                        <a:lnTo>
                          <a:pt x="52" y="44"/>
                        </a:lnTo>
                        <a:lnTo>
                          <a:pt x="54" y="42"/>
                        </a:lnTo>
                        <a:lnTo>
                          <a:pt x="54" y="40"/>
                        </a:lnTo>
                        <a:lnTo>
                          <a:pt x="56" y="34"/>
                        </a:lnTo>
                        <a:lnTo>
                          <a:pt x="56" y="24"/>
                        </a:lnTo>
                        <a:lnTo>
                          <a:pt x="54" y="20"/>
                        </a:lnTo>
                        <a:lnTo>
                          <a:pt x="52" y="18"/>
                        </a:lnTo>
                        <a:lnTo>
                          <a:pt x="52" y="14"/>
                        </a:lnTo>
                        <a:lnTo>
                          <a:pt x="50" y="12"/>
                        </a:lnTo>
                        <a:lnTo>
                          <a:pt x="50" y="10"/>
                        </a:lnTo>
                        <a:lnTo>
                          <a:pt x="54" y="4"/>
                        </a:lnTo>
                        <a:lnTo>
                          <a:pt x="56" y="2"/>
                        </a:lnTo>
                        <a:lnTo>
                          <a:pt x="58" y="0"/>
                        </a:lnTo>
                        <a:lnTo>
                          <a:pt x="60" y="0"/>
                        </a:lnTo>
                        <a:lnTo>
                          <a:pt x="64" y="4"/>
                        </a:lnTo>
                        <a:lnTo>
                          <a:pt x="66" y="4"/>
                        </a:lnTo>
                        <a:lnTo>
                          <a:pt x="70" y="10"/>
                        </a:lnTo>
                        <a:lnTo>
                          <a:pt x="70" y="12"/>
                        </a:lnTo>
                        <a:lnTo>
                          <a:pt x="72" y="12"/>
                        </a:lnTo>
                        <a:lnTo>
                          <a:pt x="74" y="14"/>
                        </a:lnTo>
                        <a:lnTo>
                          <a:pt x="76" y="16"/>
                        </a:lnTo>
                        <a:lnTo>
                          <a:pt x="76" y="18"/>
                        </a:lnTo>
                        <a:lnTo>
                          <a:pt x="78" y="20"/>
                        </a:lnTo>
                        <a:lnTo>
                          <a:pt x="78" y="22"/>
                        </a:lnTo>
                        <a:lnTo>
                          <a:pt x="88" y="34"/>
                        </a:lnTo>
                        <a:lnTo>
                          <a:pt x="90" y="36"/>
                        </a:lnTo>
                        <a:lnTo>
                          <a:pt x="92" y="38"/>
                        </a:lnTo>
                        <a:lnTo>
                          <a:pt x="100" y="44"/>
                        </a:lnTo>
                        <a:lnTo>
                          <a:pt x="102" y="46"/>
                        </a:lnTo>
                        <a:lnTo>
                          <a:pt x="106" y="48"/>
                        </a:lnTo>
                        <a:lnTo>
                          <a:pt x="108" y="48"/>
                        </a:lnTo>
                        <a:lnTo>
                          <a:pt x="108" y="50"/>
                        </a:lnTo>
                        <a:lnTo>
                          <a:pt x="110" y="52"/>
                        </a:lnTo>
                        <a:lnTo>
                          <a:pt x="114" y="52"/>
                        </a:lnTo>
                        <a:lnTo>
                          <a:pt x="116" y="52"/>
                        </a:lnTo>
                        <a:lnTo>
                          <a:pt x="122" y="52"/>
                        </a:lnTo>
                        <a:lnTo>
                          <a:pt x="126" y="5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0" name="Freeform 3016"/>
                  <p:cNvSpPr>
                    <a:spLocks/>
                  </p:cNvSpPr>
                  <p:nvPr/>
                </p:nvSpPr>
                <p:spPr bwMode="auto">
                  <a:xfrm>
                    <a:off x="3502" y="2408"/>
                    <a:ext cx="306" cy="280"/>
                  </a:xfrm>
                  <a:custGeom>
                    <a:avLst/>
                    <a:gdLst/>
                    <a:ahLst/>
                    <a:cxnLst>
                      <a:cxn ang="0">
                        <a:pos x="38" y="228"/>
                      </a:cxn>
                      <a:cxn ang="0">
                        <a:pos x="48" y="216"/>
                      </a:cxn>
                      <a:cxn ang="0">
                        <a:pos x="64" y="212"/>
                      </a:cxn>
                      <a:cxn ang="0">
                        <a:pos x="94" y="208"/>
                      </a:cxn>
                      <a:cxn ang="0">
                        <a:pos x="118" y="202"/>
                      </a:cxn>
                      <a:cxn ang="0">
                        <a:pos x="124" y="212"/>
                      </a:cxn>
                      <a:cxn ang="0">
                        <a:pos x="140" y="208"/>
                      </a:cxn>
                      <a:cxn ang="0">
                        <a:pos x="158" y="172"/>
                      </a:cxn>
                      <a:cxn ang="0">
                        <a:pos x="160" y="148"/>
                      </a:cxn>
                      <a:cxn ang="0">
                        <a:pos x="176" y="146"/>
                      </a:cxn>
                      <a:cxn ang="0">
                        <a:pos x="168" y="160"/>
                      </a:cxn>
                      <a:cxn ang="0">
                        <a:pos x="178" y="166"/>
                      </a:cxn>
                      <a:cxn ang="0">
                        <a:pos x="192" y="158"/>
                      </a:cxn>
                      <a:cxn ang="0">
                        <a:pos x="216" y="134"/>
                      </a:cxn>
                      <a:cxn ang="0">
                        <a:pos x="228" y="126"/>
                      </a:cxn>
                      <a:cxn ang="0">
                        <a:pos x="248" y="80"/>
                      </a:cxn>
                      <a:cxn ang="0">
                        <a:pos x="246" y="60"/>
                      </a:cxn>
                      <a:cxn ang="0">
                        <a:pos x="250" y="48"/>
                      </a:cxn>
                      <a:cxn ang="0">
                        <a:pos x="250" y="28"/>
                      </a:cxn>
                      <a:cxn ang="0">
                        <a:pos x="258" y="10"/>
                      </a:cxn>
                      <a:cxn ang="0">
                        <a:pos x="266" y="22"/>
                      </a:cxn>
                      <a:cxn ang="0">
                        <a:pos x="276" y="20"/>
                      </a:cxn>
                      <a:cxn ang="0">
                        <a:pos x="282" y="12"/>
                      </a:cxn>
                      <a:cxn ang="0">
                        <a:pos x="270" y="16"/>
                      </a:cxn>
                      <a:cxn ang="0">
                        <a:pos x="282" y="6"/>
                      </a:cxn>
                      <a:cxn ang="0">
                        <a:pos x="290" y="36"/>
                      </a:cxn>
                      <a:cxn ang="0">
                        <a:pos x="300" y="50"/>
                      </a:cxn>
                      <a:cxn ang="0">
                        <a:pos x="304" y="76"/>
                      </a:cxn>
                      <a:cxn ang="0">
                        <a:pos x="292" y="96"/>
                      </a:cxn>
                      <a:cxn ang="0">
                        <a:pos x="278" y="114"/>
                      </a:cxn>
                      <a:cxn ang="0">
                        <a:pos x="274" y="162"/>
                      </a:cxn>
                      <a:cxn ang="0">
                        <a:pos x="272" y="204"/>
                      </a:cxn>
                      <a:cxn ang="0">
                        <a:pos x="260" y="218"/>
                      </a:cxn>
                      <a:cxn ang="0">
                        <a:pos x="246" y="232"/>
                      </a:cxn>
                      <a:cxn ang="0">
                        <a:pos x="252" y="210"/>
                      </a:cxn>
                      <a:cxn ang="0">
                        <a:pos x="240" y="220"/>
                      </a:cxn>
                      <a:cxn ang="0">
                        <a:pos x="228" y="218"/>
                      </a:cxn>
                      <a:cxn ang="0">
                        <a:pos x="222" y="240"/>
                      </a:cxn>
                      <a:cxn ang="0">
                        <a:pos x="200" y="238"/>
                      </a:cxn>
                      <a:cxn ang="0">
                        <a:pos x="170" y="240"/>
                      </a:cxn>
                      <a:cxn ang="0">
                        <a:pos x="166" y="232"/>
                      </a:cxn>
                      <a:cxn ang="0">
                        <a:pos x="164" y="236"/>
                      </a:cxn>
                      <a:cxn ang="0">
                        <a:pos x="158" y="234"/>
                      </a:cxn>
                      <a:cxn ang="0">
                        <a:pos x="164" y="246"/>
                      </a:cxn>
                      <a:cxn ang="0">
                        <a:pos x="150" y="254"/>
                      </a:cxn>
                      <a:cxn ang="0">
                        <a:pos x="140" y="270"/>
                      </a:cxn>
                      <a:cxn ang="0">
                        <a:pos x="124" y="272"/>
                      </a:cxn>
                      <a:cxn ang="0">
                        <a:pos x="116" y="250"/>
                      </a:cxn>
                      <a:cxn ang="0">
                        <a:pos x="118" y="240"/>
                      </a:cxn>
                      <a:cxn ang="0">
                        <a:pos x="94" y="238"/>
                      </a:cxn>
                      <a:cxn ang="0">
                        <a:pos x="86" y="242"/>
                      </a:cxn>
                      <a:cxn ang="0">
                        <a:pos x="64" y="248"/>
                      </a:cxn>
                      <a:cxn ang="0">
                        <a:pos x="48" y="254"/>
                      </a:cxn>
                      <a:cxn ang="0">
                        <a:pos x="38" y="250"/>
                      </a:cxn>
                      <a:cxn ang="0">
                        <a:pos x="32" y="270"/>
                      </a:cxn>
                      <a:cxn ang="0">
                        <a:pos x="8" y="264"/>
                      </a:cxn>
                      <a:cxn ang="0">
                        <a:pos x="0" y="256"/>
                      </a:cxn>
                      <a:cxn ang="0">
                        <a:pos x="12" y="248"/>
                      </a:cxn>
                    </a:cxnLst>
                    <a:rect l="0" t="0" r="r" b="b"/>
                    <a:pathLst>
                      <a:path w="306" h="280">
                        <a:moveTo>
                          <a:pt x="22" y="240"/>
                        </a:moveTo>
                        <a:lnTo>
                          <a:pt x="24" y="240"/>
                        </a:lnTo>
                        <a:lnTo>
                          <a:pt x="24" y="238"/>
                        </a:lnTo>
                        <a:lnTo>
                          <a:pt x="26" y="238"/>
                        </a:lnTo>
                        <a:lnTo>
                          <a:pt x="32" y="232"/>
                        </a:lnTo>
                        <a:lnTo>
                          <a:pt x="32" y="230"/>
                        </a:lnTo>
                        <a:lnTo>
                          <a:pt x="36" y="228"/>
                        </a:lnTo>
                        <a:lnTo>
                          <a:pt x="38" y="228"/>
                        </a:lnTo>
                        <a:lnTo>
                          <a:pt x="38" y="226"/>
                        </a:lnTo>
                        <a:lnTo>
                          <a:pt x="40" y="224"/>
                        </a:lnTo>
                        <a:lnTo>
                          <a:pt x="42" y="224"/>
                        </a:lnTo>
                        <a:lnTo>
                          <a:pt x="42" y="222"/>
                        </a:lnTo>
                        <a:lnTo>
                          <a:pt x="46" y="220"/>
                        </a:lnTo>
                        <a:lnTo>
                          <a:pt x="46" y="218"/>
                        </a:lnTo>
                        <a:lnTo>
                          <a:pt x="48" y="218"/>
                        </a:lnTo>
                        <a:lnTo>
                          <a:pt x="48" y="216"/>
                        </a:lnTo>
                        <a:lnTo>
                          <a:pt x="48" y="214"/>
                        </a:lnTo>
                        <a:lnTo>
                          <a:pt x="46" y="214"/>
                        </a:lnTo>
                        <a:lnTo>
                          <a:pt x="48" y="214"/>
                        </a:lnTo>
                        <a:lnTo>
                          <a:pt x="52" y="212"/>
                        </a:lnTo>
                        <a:lnTo>
                          <a:pt x="56" y="212"/>
                        </a:lnTo>
                        <a:lnTo>
                          <a:pt x="60" y="208"/>
                        </a:lnTo>
                        <a:lnTo>
                          <a:pt x="64" y="210"/>
                        </a:lnTo>
                        <a:lnTo>
                          <a:pt x="64" y="212"/>
                        </a:lnTo>
                        <a:lnTo>
                          <a:pt x="66" y="212"/>
                        </a:lnTo>
                        <a:lnTo>
                          <a:pt x="68" y="214"/>
                        </a:lnTo>
                        <a:lnTo>
                          <a:pt x="68" y="212"/>
                        </a:lnTo>
                        <a:lnTo>
                          <a:pt x="70" y="212"/>
                        </a:lnTo>
                        <a:lnTo>
                          <a:pt x="72" y="212"/>
                        </a:lnTo>
                        <a:lnTo>
                          <a:pt x="76" y="212"/>
                        </a:lnTo>
                        <a:lnTo>
                          <a:pt x="92" y="210"/>
                        </a:lnTo>
                        <a:lnTo>
                          <a:pt x="94" y="208"/>
                        </a:lnTo>
                        <a:lnTo>
                          <a:pt x="96" y="208"/>
                        </a:lnTo>
                        <a:lnTo>
                          <a:pt x="106" y="206"/>
                        </a:lnTo>
                        <a:lnTo>
                          <a:pt x="106" y="208"/>
                        </a:lnTo>
                        <a:lnTo>
                          <a:pt x="110" y="208"/>
                        </a:lnTo>
                        <a:lnTo>
                          <a:pt x="112" y="206"/>
                        </a:lnTo>
                        <a:lnTo>
                          <a:pt x="114" y="206"/>
                        </a:lnTo>
                        <a:lnTo>
                          <a:pt x="114" y="204"/>
                        </a:lnTo>
                        <a:lnTo>
                          <a:pt x="118" y="202"/>
                        </a:lnTo>
                        <a:lnTo>
                          <a:pt x="120" y="206"/>
                        </a:lnTo>
                        <a:lnTo>
                          <a:pt x="120" y="208"/>
                        </a:lnTo>
                        <a:lnTo>
                          <a:pt x="118" y="210"/>
                        </a:lnTo>
                        <a:lnTo>
                          <a:pt x="124" y="212"/>
                        </a:lnTo>
                        <a:lnTo>
                          <a:pt x="122" y="212"/>
                        </a:lnTo>
                        <a:lnTo>
                          <a:pt x="122" y="210"/>
                        </a:lnTo>
                        <a:lnTo>
                          <a:pt x="124" y="208"/>
                        </a:lnTo>
                        <a:lnTo>
                          <a:pt x="124" y="212"/>
                        </a:lnTo>
                        <a:lnTo>
                          <a:pt x="126" y="212"/>
                        </a:lnTo>
                        <a:lnTo>
                          <a:pt x="132" y="212"/>
                        </a:lnTo>
                        <a:lnTo>
                          <a:pt x="134" y="212"/>
                        </a:lnTo>
                        <a:lnTo>
                          <a:pt x="138" y="208"/>
                        </a:lnTo>
                        <a:lnTo>
                          <a:pt x="138" y="204"/>
                        </a:lnTo>
                        <a:lnTo>
                          <a:pt x="140" y="204"/>
                        </a:lnTo>
                        <a:lnTo>
                          <a:pt x="140" y="206"/>
                        </a:lnTo>
                        <a:lnTo>
                          <a:pt x="140" y="208"/>
                        </a:lnTo>
                        <a:lnTo>
                          <a:pt x="142" y="208"/>
                        </a:lnTo>
                        <a:lnTo>
                          <a:pt x="142" y="202"/>
                        </a:lnTo>
                        <a:lnTo>
                          <a:pt x="140" y="202"/>
                        </a:lnTo>
                        <a:lnTo>
                          <a:pt x="140" y="200"/>
                        </a:lnTo>
                        <a:lnTo>
                          <a:pt x="138" y="196"/>
                        </a:lnTo>
                        <a:lnTo>
                          <a:pt x="142" y="188"/>
                        </a:lnTo>
                        <a:lnTo>
                          <a:pt x="150" y="184"/>
                        </a:lnTo>
                        <a:lnTo>
                          <a:pt x="158" y="172"/>
                        </a:lnTo>
                        <a:lnTo>
                          <a:pt x="158" y="170"/>
                        </a:lnTo>
                        <a:lnTo>
                          <a:pt x="158" y="168"/>
                        </a:lnTo>
                        <a:lnTo>
                          <a:pt x="160" y="166"/>
                        </a:lnTo>
                        <a:lnTo>
                          <a:pt x="160" y="158"/>
                        </a:lnTo>
                        <a:lnTo>
                          <a:pt x="158" y="156"/>
                        </a:lnTo>
                        <a:lnTo>
                          <a:pt x="158" y="154"/>
                        </a:lnTo>
                        <a:lnTo>
                          <a:pt x="160" y="150"/>
                        </a:lnTo>
                        <a:lnTo>
                          <a:pt x="160" y="148"/>
                        </a:lnTo>
                        <a:lnTo>
                          <a:pt x="162" y="148"/>
                        </a:lnTo>
                        <a:lnTo>
                          <a:pt x="164" y="148"/>
                        </a:lnTo>
                        <a:lnTo>
                          <a:pt x="170" y="146"/>
                        </a:lnTo>
                        <a:lnTo>
                          <a:pt x="170" y="144"/>
                        </a:lnTo>
                        <a:lnTo>
                          <a:pt x="174" y="142"/>
                        </a:lnTo>
                        <a:lnTo>
                          <a:pt x="176" y="142"/>
                        </a:lnTo>
                        <a:lnTo>
                          <a:pt x="176" y="144"/>
                        </a:lnTo>
                        <a:lnTo>
                          <a:pt x="176" y="146"/>
                        </a:lnTo>
                        <a:lnTo>
                          <a:pt x="168" y="154"/>
                        </a:lnTo>
                        <a:lnTo>
                          <a:pt x="166" y="154"/>
                        </a:lnTo>
                        <a:lnTo>
                          <a:pt x="164" y="154"/>
                        </a:lnTo>
                        <a:lnTo>
                          <a:pt x="164" y="156"/>
                        </a:lnTo>
                        <a:lnTo>
                          <a:pt x="164" y="158"/>
                        </a:lnTo>
                        <a:lnTo>
                          <a:pt x="166" y="160"/>
                        </a:lnTo>
                        <a:lnTo>
                          <a:pt x="168" y="158"/>
                        </a:lnTo>
                        <a:lnTo>
                          <a:pt x="168" y="160"/>
                        </a:lnTo>
                        <a:lnTo>
                          <a:pt x="168" y="166"/>
                        </a:lnTo>
                        <a:lnTo>
                          <a:pt x="166" y="166"/>
                        </a:lnTo>
                        <a:lnTo>
                          <a:pt x="170" y="168"/>
                        </a:lnTo>
                        <a:lnTo>
                          <a:pt x="172" y="170"/>
                        </a:lnTo>
                        <a:lnTo>
                          <a:pt x="176" y="170"/>
                        </a:lnTo>
                        <a:lnTo>
                          <a:pt x="176" y="168"/>
                        </a:lnTo>
                        <a:lnTo>
                          <a:pt x="178" y="168"/>
                        </a:lnTo>
                        <a:lnTo>
                          <a:pt x="178" y="166"/>
                        </a:lnTo>
                        <a:lnTo>
                          <a:pt x="178" y="164"/>
                        </a:lnTo>
                        <a:lnTo>
                          <a:pt x="180" y="162"/>
                        </a:lnTo>
                        <a:lnTo>
                          <a:pt x="182" y="162"/>
                        </a:lnTo>
                        <a:lnTo>
                          <a:pt x="184" y="162"/>
                        </a:lnTo>
                        <a:lnTo>
                          <a:pt x="188" y="160"/>
                        </a:lnTo>
                        <a:lnTo>
                          <a:pt x="190" y="160"/>
                        </a:lnTo>
                        <a:lnTo>
                          <a:pt x="192" y="160"/>
                        </a:lnTo>
                        <a:lnTo>
                          <a:pt x="192" y="158"/>
                        </a:lnTo>
                        <a:lnTo>
                          <a:pt x="194" y="158"/>
                        </a:lnTo>
                        <a:lnTo>
                          <a:pt x="200" y="154"/>
                        </a:lnTo>
                        <a:lnTo>
                          <a:pt x="202" y="154"/>
                        </a:lnTo>
                        <a:lnTo>
                          <a:pt x="214" y="142"/>
                        </a:lnTo>
                        <a:lnTo>
                          <a:pt x="214" y="140"/>
                        </a:lnTo>
                        <a:lnTo>
                          <a:pt x="216" y="138"/>
                        </a:lnTo>
                        <a:lnTo>
                          <a:pt x="216" y="136"/>
                        </a:lnTo>
                        <a:lnTo>
                          <a:pt x="216" y="134"/>
                        </a:lnTo>
                        <a:lnTo>
                          <a:pt x="216" y="132"/>
                        </a:lnTo>
                        <a:lnTo>
                          <a:pt x="218" y="132"/>
                        </a:lnTo>
                        <a:lnTo>
                          <a:pt x="218" y="130"/>
                        </a:lnTo>
                        <a:lnTo>
                          <a:pt x="220" y="130"/>
                        </a:lnTo>
                        <a:lnTo>
                          <a:pt x="222" y="130"/>
                        </a:lnTo>
                        <a:lnTo>
                          <a:pt x="224" y="128"/>
                        </a:lnTo>
                        <a:lnTo>
                          <a:pt x="226" y="128"/>
                        </a:lnTo>
                        <a:lnTo>
                          <a:pt x="228" y="126"/>
                        </a:lnTo>
                        <a:lnTo>
                          <a:pt x="234" y="120"/>
                        </a:lnTo>
                        <a:lnTo>
                          <a:pt x="234" y="112"/>
                        </a:lnTo>
                        <a:lnTo>
                          <a:pt x="238" y="104"/>
                        </a:lnTo>
                        <a:lnTo>
                          <a:pt x="238" y="102"/>
                        </a:lnTo>
                        <a:lnTo>
                          <a:pt x="240" y="102"/>
                        </a:lnTo>
                        <a:lnTo>
                          <a:pt x="242" y="100"/>
                        </a:lnTo>
                        <a:lnTo>
                          <a:pt x="242" y="98"/>
                        </a:lnTo>
                        <a:lnTo>
                          <a:pt x="248" y="80"/>
                        </a:lnTo>
                        <a:lnTo>
                          <a:pt x="250" y="78"/>
                        </a:lnTo>
                        <a:lnTo>
                          <a:pt x="250" y="76"/>
                        </a:lnTo>
                        <a:lnTo>
                          <a:pt x="250" y="72"/>
                        </a:lnTo>
                        <a:lnTo>
                          <a:pt x="252" y="70"/>
                        </a:lnTo>
                        <a:lnTo>
                          <a:pt x="250" y="64"/>
                        </a:lnTo>
                        <a:lnTo>
                          <a:pt x="250" y="62"/>
                        </a:lnTo>
                        <a:lnTo>
                          <a:pt x="248" y="60"/>
                        </a:lnTo>
                        <a:lnTo>
                          <a:pt x="246" y="60"/>
                        </a:lnTo>
                        <a:lnTo>
                          <a:pt x="242" y="60"/>
                        </a:lnTo>
                        <a:lnTo>
                          <a:pt x="240" y="60"/>
                        </a:lnTo>
                        <a:lnTo>
                          <a:pt x="240" y="56"/>
                        </a:lnTo>
                        <a:lnTo>
                          <a:pt x="242" y="56"/>
                        </a:lnTo>
                        <a:lnTo>
                          <a:pt x="244" y="58"/>
                        </a:lnTo>
                        <a:lnTo>
                          <a:pt x="246" y="56"/>
                        </a:lnTo>
                        <a:lnTo>
                          <a:pt x="246" y="54"/>
                        </a:lnTo>
                        <a:lnTo>
                          <a:pt x="250" y="48"/>
                        </a:lnTo>
                        <a:lnTo>
                          <a:pt x="250" y="44"/>
                        </a:lnTo>
                        <a:lnTo>
                          <a:pt x="246" y="40"/>
                        </a:lnTo>
                        <a:lnTo>
                          <a:pt x="248" y="38"/>
                        </a:lnTo>
                        <a:lnTo>
                          <a:pt x="246" y="36"/>
                        </a:lnTo>
                        <a:lnTo>
                          <a:pt x="246" y="34"/>
                        </a:lnTo>
                        <a:lnTo>
                          <a:pt x="248" y="30"/>
                        </a:lnTo>
                        <a:lnTo>
                          <a:pt x="250" y="30"/>
                        </a:lnTo>
                        <a:lnTo>
                          <a:pt x="250" y="28"/>
                        </a:lnTo>
                        <a:lnTo>
                          <a:pt x="250" y="30"/>
                        </a:lnTo>
                        <a:lnTo>
                          <a:pt x="252" y="30"/>
                        </a:lnTo>
                        <a:lnTo>
                          <a:pt x="254" y="28"/>
                        </a:lnTo>
                        <a:lnTo>
                          <a:pt x="256" y="28"/>
                        </a:lnTo>
                        <a:lnTo>
                          <a:pt x="258" y="18"/>
                        </a:lnTo>
                        <a:lnTo>
                          <a:pt x="258" y="16"/>
                        </a:lnTo>
                        <a:lnTo>
                          <a:pt x="258" y="14"/>
                        </a:lnTo>
                        <a:lnTo>
                          <a:pt x="258" y="10"/>
                        </a:lnTo>
                        <a:lnTo>
                          <a:pt x="260" y="12"/>
                        </a:lnTo>
                        <a:lnTo>
                          <a:pt x="260" y="14"/>
                        </a:lnTo>
                        <a:lnTo>
                          <a:pt x="262" y="14"/>
                        </a:lnTo>
                        <a:lnTo>
                          <a:pt x="264" y="12"/>
                        </a:lnTo>
                        <a:lnTo>
                          <a:pt x="266" y="14"/>
                        </a:lnTo>
                        <a:lnTo>
                          <a:pt x="266" y="16"/>
                        </a:lnTo>
                        <a:lnTo>
                          <a:pt x="266" y="18"/>
                        </a:lnTo>
                        <a:lnTo>
                          <a:pt x="266" y="22"/>
                        </a:lnTo>
                        <a:lnTo>
                          <a:pt x="268" y="24"/>
                        </a:lnTo>
                        <a:lnTo>
                          <a:pt x="268" y="26"/>
                        </a:lnTo>
                        <a:lnTo>
                          <a:pt x="270" y="26"/>
                        </a:lnTo>
                        <a:lnTo>
                          <a:pt x="272" y="26"/>
                        </a:lnTo>
                        <a:lnTo>
                          <a:pt x="272" y="24"/>
                        </a:lnTo>
                        <a:lnTo>
                          <a:pt x="272" y="20"/>
                        </a:lnTo>
                        <a:lnTo>
                          <a:pt x="274" y="20"/>
                        </a:lnTo>
                        <a:lnTo>
                          <a:pt x="276" y="20"/>
                        </a:lnTo>
                        <a:lnTo>
                          <a:pt x="276" y="22"/>
                        </a:lnTo>
                        <a:lnTo>
                          <a:pt x="280" y="26"/>
                        </a:lnTo>
                        <a:lnTo>
                          <a:pt x="280" y="24"/>
                        </a:lnTo>
                        <a:lnTo>
                          <a:pt x="282" y="24"/>
                        </a:lnTo>
                        <a:lnTo>
                          <a:pt x="282" y="22"/>
                        </a:lnTo>
                        <a:lnTo>
                          <a:pt x="282" y="20"/>
                        </a:lnTo>
                        <a:lnTo>
                          <a:pt x="284" y="14"/>
                        </a:lnTo>
                        <a:lnTo>
                          <a:pt x="282" y="12"/>
                        </a:lnTo>
                        <a:lnTo>
                          <a:pt x="282" y="10"/>
                        </a:lnTo>
                        <a:lnTo>
                          <a:pt x="280" y="10"/>
                        </a:lnTo>
                        <a:lnTo>
                          <a:pt x="280" y="12"/>
                        </a:lnTo>
                        <a:lnTo>
                          <a:pt x="278" y="14"/>
                        </a:lnTo>
                        <a:lnTo>
                          <a:pt x="276" y="14"/>
                        </a:lnTo>
                        <a:lnTo>
                          <a:pt x="272" y="14"/>
                        </a:lnTo>
                        <a:lnTo>
                          <a:pt x="272" y="16"/>
                        </a:lnTo>
                        <a:lnTo>
                          <a:pt x="270" y="16"/>
                        </a:lnTo>
                        <a:lnTo>
                          <a:pt x="270" y="14"/>
                        </a:lnTo>
                        <a:lnTo>
                          <a:pt x="274" y="2"/>
                        </a:lnTo>
                        <a:lnTo>
                          <a:pt x="274" y="0"/>
                        </a:lnTo>
                        <a:lnTo>
                          <a:pt x="278" y="2"/>
                        </a:lnTo>
                        <a:lnTo>
                          <a:pt x="280" y="2"/>
                        </a:lnTo>
                        <a:lnTo>
                          <a:pt x="280" y="4"/>
                        </a:lnTo>
                        <a:lnTo>
                          <a:pt x="282" y="4"/>
                        </a:lnTo>
                        <a:lnTo>
                          <a:pt x="282" y="6"/>
                        </a:lnTo>
                        <a:lnTo>
                          <a:pt x="282" y="8"/>
                        </a:lnTo>
                        <a:lnTo>
                          <a:pt x="288" y="8"/>
                        </a:lnTo>
                        <a:lnTo>
                          <a:pt x="288" y="6"/>
                        </a:lnTo>
                        <a:lnTo>
                          <a:pt x="288" y="8"/>
                        </a:lnTo>
                        <a:lnTo>
                          <a:pt x="288" y="12"/>
                        </a:lnTo>
                        <a:lnTo>
                          <a:pt x="288" y="14"/>
                        </a:lnTo>
                        <a:lnTo>
                          <a:pt x="288" y="36"/>
                        </a:lnTo>
                        <a:lnTo>
                          <a:pt x="290" y="36"/>
                        </a:lnTo>
                        <a:lnTo>
                          <a:pt x="292" y="36"/>
                        </a:lnTo>
                        <a:lnTo>
                          <a:pt x="294" y="38"/>
                        </a:lnTo>
                        <a:lnTo>
                          <a:pt x="294" y="40"/>
                        </a:lnTo>
                        <a:lnTo>
                          <a:pt x="296" y="40"/>
                        </a:lnTo>
                        <a:lnTo>
                          <a:pt x="296" y="42"/>
                        </a:lnTo>
                        <a:lnTo>
                          <a:pt x="300" y="46"/>
                        </a:lnTo>
                        <a:lnTo>
                          <a:pt x="300" y="48"/>
                        </a:lnTo>
                        <a:lnTo>
                          <a:pt x="300" y="50"/>
                        </a:lnTo>
                        <a:lnTo>
                          <a:pt x="300" y="52"/>
                        </a:lnTo>
                        <a:lnTo>
                          <a:pt x="300" y="54"/>
                        </a:lnTo>
                        <a:lnTo>
                          <a:pt x="302" y="56"/>
                        </a:lnTo>
                        <a:lnTo>
                          <a:pt x="304" y="68"/>
                        </a:lnTo>
                        <a:lnTo>
                          <a:pt x="304" y="70"/>
                        </a:lnTo>
                        <a:lnTo>
                          <a:pt x="304" y="72"/>
                        </a:lnTo>
                        <a:lnTo>
                          <a:pt x="306" y="72"/>
                        </a:lnTo>
                        <a:lnTo>
                          <a:pt x="304" y="76"/>
                        </a:lnTo>
                        <a:lnTo>
                          <a:pt x="302" y="78"/>
                        </a:lnTo>
                        <a:lnTo>
                          <a:pt x="300" y="80"/>
                        </a:lnTo>
                        <a:lnTo>
                          <a:pt x="300" y="88"/>
                        </a:lnTo>
                        <a:lnTo>
                          <a:pt x="300" y="90"/>
                        </a:lnTo>
                        <a:lnTo>
                          <a:pt x="296" y="90"/>
                        </a:lnTo>
                        <a:lnTo>
                          <a:pt x="294" y="92"/>
                        </a:lnTo>
                        <a:lnTo>
                          <a:pt x="294" y="96"/>
                        </a:lnTo>
                        <a:lnTo>
                          <a:pt x="292" y="96"/>
                        </a:lnTo>
                        <a:lnTo>
                          <a:pt x="290" y="100"/>
                        </a:lnTo>
                        <a:lnTo>
                          <a:pt x="292" y="114"/>
                        </a:lnTo>
                        <a:lnTo>
                          <a:pt x="290" y="116"/>
                        </a:lnTo>
                        <a:lnTo>
                          <a:pt x="290" y="118"/>
                        </a:lnTo>
                        <a:lnTo>
                          <a:pt x="288" y="114"/>
                        </a:lnTo>
                        <a:lnTo>
                          <a:pt x="286" y="112"/>
                        </a:lnTo>
                        <a:lnTo>
                          <a:pt x="282" y="112"/>
                        </a:lnTo>
                        <a:lnTo>
                          <a:pt x="278" y="114"/>
                        </a:lnTo>
                        <a:lnTo>
                          <a:pt x="278" y="116"/>
                        </a:lnTo>
                        <a:lnTo>
                          <a:pt x="274" y="122"/>
                        </a:lnTo>
                        <a:lnTo>
                          <a:pt x="276" y="134"/>
                        </a:lnTo>
                        <a:lnTo>
                          <a:pt x="276" y="136"/>
                        </a:lnTo>
                        <a:lnTo>
                          <a:pt x="278" y="148"/>
                        </a:lnTo>
                        <a:lnTo>
                          <a:pt x="276" y="148"/>
                        </a:lnTo>
                        <a:lnTo>
                          <a:pt x="276" y="162"/>
                        </a:lnTo>
                        <a:lnTo>
                          <a:pt x="274" y="162"/>
                        </a:lnTo>
                        <a:lnTo>
                          <a:pt x="272" y="164"/>
                        </a:lnTo>
                        <a:lnTo>
                          <a:pt x="270" y="164"/>
                        </a:lnTo>
                        <a:lnTo>
                          <a:pt x="270" y="166"/>
                        </a:lnTo>
                        <a:lnTo>
                          <a:pt x="270" y="168"/>
                        </a:lnTo>
                        <a:lnTo>
                          <a:pt x="264" y="186"/>
                        </a:lnTo>
                        <a:lnTo>
                          <a:pt x="264" y="188"/>
                        </a:lnTo>
                        <a:lnTo>
                          <a:pt x="264" y="192"/>
                        </a:lnTo>
                        <a:lnTo>
                          <a:pt x="272" y="204"/>
                        </a:lnTo>
                        <a:lnTo>
                          <a:pt x="272" y="206"/>
                        </a:lnTo>
                        <a:lnTo>
                          <a:pt x="266" y="206"/>
                        </a:lnTo>
                        <a:lnTo>
                          <a:pt x="264" y="208"/>
                        </a:lnTo>
                        <a:lnTo>
                          <a:pt x="262" y="210"/>
                        </a:lnTo>
                        <a:lnTo>
                          <a:pt x="262" y="212"/>
                        </a:lnTo>
                        <a:lnTo>
                          <a:pt x="260" y="212"/>
                        </a:lnTo>
                        <a:lnTo>
                          <a:pt x="260" y="214"/>
                        </a:lnTo>
                        <a:lnTo>
                          <a:pt x="260" y="218"/>
                        </a:lnTo>
                        <a:lnTo>
                          <a:pt x="260" y="220"/>
                        </a:lnTo>
                        <a:lnTo>
                          <a:pt x="260" y="222"/>
                        </a:lnTo>
                        <a:lnTo>
                          <a:pt x="258" y="224"/>
                        </a:lnTo>
                        <a:lnTo>
                          <a:pt x="256" y="224"/>
                        </a:lnTo>
                        <a:lnTo>
                          <a:pt x="254" y="224"/>
                        </a:lnTo>
                        <a:lnTo>
                          <a:pt x="248" y="228"/>
                        </a:lnTo>
                        <a:lnTo>
                          <a:pt x="248" y="230"/>
                        </a:lnTo>
                        <a:lnTo>
                          <a:pt x="246" y="232"/>
                        </a:lnTo>
                        <a:lnTo>
                          <a:pt x="244" y="232"/>
                        </a:lnTo>
                        <a:lnTo>
                          <a:pt x="242" y="230"/>
                        </a:lnTo>
                        <a:lnTo>
                          <a:pt x="246" y="230"/>
                        </a:lnTo>
                        <a:lnTo>
                          <a:pt x="246" y="228"/>
                        </a:lnTo>
                        <a:lnTo>
                          <a:pt x="244" y="226"/>
                        </a:lnTo>
                        <a:lnTo>
                          <a:pt x="244" y="218"/>
                        </a:lnTo>
                        <a:lnTo>
                          <a:pt x="248" y="214"/>
                        </a:lnTo>
                        <a:lnTo>
                          <a:pt x="252" y="210"/>
                        </a:lnTo>
                        <a:lnTo>
                          <a:pt x="252" y="208"/>
                        </a:lnTo>
                        <a:lnTo>
                          <a:pt x="250" y="208"/>
                        </a:lnTo>
                        <a:lnTo>
                          <a:pt x="248" y="206"/>
                        </a:lnTo>
                        <a:lnTo>
                          <a:pt x="242" y="208"/>
                        </a:lnTo>
                        <a:lnTo>
                          <a:pt x="242" y="212"/>
                        </a:lnTo>
                        <a:lnTo>
                          <a:pt x="240" y="212"/>
                        </a:lnTo>
                        <a:lnTo>
                          <a:pt x="240" y="218"/>
                        </a:lnTo>
                        <a:lnTo>
                          <a:pt x="240" y="220"/>
                        </a:lnTo>
                        <a:lnTo>
                          <a:pt x="242" y="220"/>
                        </a:lnTo>
                        <a:lnTo>
                          <a:pt x="240" y="224"/>
                        </a:lnTo>
                        <a:lnTo>
                          <a:pt x="238" y="224"/>
                        </a:lnTo>
                        <a:lnTo>
                          <a:pt x="238" y="220"/>
                        </a:lnTo>
                        <a:lnTo>
                          <a:pt x="236" y="218"/>
                        </a:lnTo>
                        <a:lnTo>
                          <a:pt x="234" y="218"/>
                        </a:lnTo>
                        <a:lnTo>
                          <a:pt x="230" y="218"/>
                        </a:lnTo>
                        <a:lnTo>
                          <a:pt x="228" y="218"/>
                        </a:lnTo>
                        <a:lnTo>
                          <a:pt x="228" y="220"/>
                        </a:lnTo>
                        <a:lnTo>
                          <a:pt x="226" y="220"/>
                        </a:lnTo>
                        <a:lnTo>
                          <a:pt x="226" y="222"/>
                        </a:lnTo>
                        <a:lnTo>
                          <a:pt x="224" y="224"/>
                        </a:lnTo>
                        <a:lnTo>
                          <a:pt x="224" y="230"/>
                        </a:lnTo>
                        <a:lnTo>
                          <a:pt x="226" y="230"/>
                        </a:lnTo>
                        <a:lnTo>
                          <a:pt x="226" y="232"/>
                        </a:lnTo>
                        <a:lnTo>
                          <a:pt x="222" y="240"/>
                        </a:lnTo>
                        <a:lnTo>
                          <a:pt x="216" y="242"/>
                        </a:lnTo>
                        <a:lnTo>
                          <a:pt x="214" y="238"/>
                        </a:lnTo>
                        <a:lnTo>
                          <a:pt x="216" y="238"/>
                        </a:lnTo>
                        <a:lnTo>
                          <a:pt x="216" y="228"/>
                        </a:lnTo>
                        <a:lnTo>
                          <a:pt x="218" y="228"/>
                        </a:lnTo>
                        <a:lnTo>
                          <a:pt x="216" y="224"/>
                        </a:lnTo>
                        <a:lnTo>
                          <a:pt x="210" y="224"/>
                        </a:lnTo>
                        <a:lnTo>
                          <a:pt x="200" y="238"/>
                        </a:lnTo>
                        <a:lnTo>
                          <a:pt x="200" y="242"/>
                        </a:lnTo>
                        <a:lnTo>
                          <a:pt x="194" y="240"/>
                        </a:lnTo>
                        <a:lnTo>
                          <a:pt x="176" y="240"/>
                        </a:lnTo>
                        <a:lnTo>
                          <a:pt x="172" y="242"/>
                        </a:lnTo>
                        <a:lnTo>
                          <a:pt x="170" y="242"/>
                        </a:lnTo>
                        <a:lnTo>
                          <a:pt x="168" y="242"/>
                        </a:lnTo>
                        <a:lnTo>
                          <a:pt x="168" y="240"/>
                        </a:lnTo>
                        <a:lnTo>
                          <a:pt x="170" y="240"/>
                        </a:lnTo>
                        <a:lnTo>
                          <a:pt x="172" y="240"/>
                        </a:lnTo>
                        <a:lnTo>
                          <a:pt x="176" y="238"/>
                        </a:lnTo>
                        <a:lnTo>
                          <a:pt x="176" y="236"/>
                        </a:lnTo>
                        <a:lnTo>
                          <a:pt x="172" y="236"/>
                        </a:lnTo>
                        <a:lnTo>
                          <a:pt x="170" y="236"/>
                        </a:lnTo>
                        <a:lnTo>
                          <a:pt x="168" y="236"/>
                        </a:lnTo>
                        <a:lnTo>
                          <a:pt x="166" y="236"/>
                        </a:lnTo>
                        <a:lnTo>
                          <a:pt x="166" y="232"/>
                        </a:lnTo>
                        <a:lnTo>
                          <a:pt x="166" y="230"/>
                        </a:lnTo>
                        <a:lnTo>
                          <a:pt x="166" y="232"/>
                        </a:lnTo>
                        <a:lnTo>
                          <a:pt x="164" y="234"/>
                        </a:lnTo>
                        <a:lnTo>
                          <a:pt x="164" y="236"/>
                        </a:lnTo>
                        <a:lnTo>
                          <a:pt x="166" y="236"/>
                        </a:lnTo>
                        <a:lnTo>
                          <a:pt x="166" y="238"/>
                        </a:lnTo>
                        <a:lnTo>
                          <a:pt x="164" y="238"/>
                        </a:lnTo>
                        <a:lnTo>
                          <a:pt x="164" y="236"/>
                        </a:lnTo>
                        <a:lnTo>
                          <a:pt x="162" y="236"/>
                        </a:lnTo>
                        <a:lnTo>
                          <a:pt x="162" y="230"/>
                        </a:lnTo>
                        <a:lnTo>
                          <a:pt x="164" y="230"/>
                        </a:lnTo>
                        <a:lnTo>
                          <a:pt x="164" y="228"/>
                        </a:lnTo>
                        <a:lnTo>
                          <a:pt x="164" y="226"/>
                        </a:lnTo>
                        <a:lnTo>
                          <a:pt x="162" y="226"/>
                        </a:lnTo>
                        <a:lnTo>
                          <a:pt x="158" y="230"/>
                        </a:lnTo>
                        <a:lnTo>
                          <a:pt x="158" y="234"/>
                        </a:lnTo>
                        <a:lnTo>
                          <a:pt x="156" y="234"/>
                        </a:lnTo>
                        <a:lnTo>
                          <a:pt x="156" y="236"/>
                        </a:lnTo>
                        <a:lnTo>
                          <a:pt x="154" y="236"/>
                        </a:lnTo>
                        <a:lnTo>
                          <a:pt x="154" y="242"/>
                        </a:lnTo>
                        <a:lnTo>
                          <a:pt x="158" y="242"/>
                        </a:lnTo>
                        <a:lnTo>
                          <a:pt x="158" y="244"/>
                        </a:lnTo>
                        <a:lnTo>
                          <a:pt x="160" y="246"/>
                        </a:lnTo>
                        <a:lnTo>
                          <a:pt x="164" y="246"/>
                        </a:lnTo>
                        <a:lnTo>
                          <a:pt x="164" y="248"/>
                        </a:lnTo>
                        <a:lnTo>
                          <a:pt x="164" y="254"/>
                        </a:lnTo>
                        <a:lnTo>
                          <a:pt x="162" y="254"/>
                        </a:lnTo>
                        <a:lnTo>
                          <a:pt x="160" y="254"/>
                        </a:lnTo>
                        <a:lnTo>
                          <a:pt x="160" y="252"/>
                        </a:lnTo>
                        <a:lnTo>
                          <a:pt x="158" y="252"/>
                        </a:lnTo>
                        <a:lnTo>
                          <a:pt x="156" y="254"/>
                        </a:lnTo>
                        <a:lnTo>
                          <a:pt x="150" y="254"/>
                        </a:lnTo>
                        <a:lnTo>
                          <a:pt x="148" y="256"/>
                        </a:lnTo>
                        <a:lnTo>
                          <a:pt x="146" y="262"/>
                        </a:lnTo>
                        <a:lnTo>
                          <a:pt x="146" y="264"/>
                        </a:lnTo>
                        <a:lnTo>
                          <a:pt x="144" y="264"/>
                        </a:lnTo>
                        <a:lnTo>
                          <a:pt x="144" y="266"/>
                        </a:lnTo>
                        <a:lnTo>
                          <a:pt x="142" y="266"/>
                        </a:lnTo>
                        <a:lnTo>
                          <a:pt x="140" y="268"/>
                        </a:lnTo>
                        <a:lnTo>
                          <a:pt x="140" y="270"/>
                        </a:lnTo>
                        <a:lnTo>
                          <a:pt x="140" y="272"/>
                        </a:lnTo>
                        <a:lnTo>
                          <a:pt x="138" y="276"/>
                        </a:lnTo>
                        <a:lnTo>
                          <a:pt x="134" y="280"/>
                        </a:lnTo>
                        <a:lnTo>
                          <a:pt x="128" y="278"/>
                        </a:lnTo>
                        <a:lnTo>
                          <a:pt x="126" y="278"/>
                        </a:lnTo>
                        <a:lnTo>
                          <a:pt x="124" y="278"/>
                        </a:lnTo>
                        <a:lnTo>
                          <a:pt x="122" y="272"/>
                        </a:lnTo>
                        <a:lnTo>
                          <a:pt x="124" y="272"/>
                        </a:lnTo>
                        <a:lnTo>
                          <a:pt x="122" y="272"/>
                        </a:lnTo>
                        <a:lnTo>
                          <a:pt x="120" y="270"/>
                        </a:lnTo>
                        <a:lnTo>
                          <a:pt x="114" y="266"/>
                        </a:lnTo>
                        <a:lnTo>
                          <a:pt x="118" y="256"/>
                        </a:lnTo>
                        <a:lnTo>
                          <a:pt x="116" y="254"/>
                        </a:lnTo>
                        <a:lnTo>
                          <a:pt x="114" y="254"/>
                        </a:lnTo>
                        <a:lnTo>
                          <a:pt x="116" y="252"/>
                        </a:lnTo>
                        <a:lnTo>
                          <a:pt x="116" y="250"/>
                        </a:lnTo>
                        <a:lnTo>
                          <a:pt x="120" y="248"/>
                        </a:lnTo>
                        <a:lnTo>
                          <a:pt x="124" y="244"/>
                        </a:lnTo>
                        <a:lnTo>
                          <a:pt x="124" y="240"/>
                        </a:lnTo>
                        <a:lnTo>
                          <a:pt x="124" y="238"/>
                        </a:lnTo>
                        <a:lnTo>
                          <a:pt x="122" y="238"/>
                        </a:lnTo>
                        <a:lnTo>
                          <a:pt x="120" y="238"/>
                        </a:lnTo>
                        <a:lnTo>
                          <a:pt x="118" y="238"/>
                        </a:lnTo>
                        <a:lnTo>
                          <a:pt x="118" y="240"/>
                        </a:lnTo>
                        <a:lnTo>
                          <a:pt x="116" y="240"/>
                        </a:lnTo>
                        <a:lnTo>
                          <a:pt x="114" y="242"/>
                        </a:lnTo>
                        <a:lnTo>
                          <a:pt x="110" y="240"/>
                        </a:lnTo>
                        <a:lnTo>
                          <a:pt x="110" y="238"/>
                        </a:lnTo>
                        <a:lnTo>
                          <a:pt x="108" y="238"/>
                        </a:lnTo>
                        <a:lnTo>
                          <a:pt x="106" y="236"/>
                        </a:lnTo>
                        <a:lnTo>
                          <a:pt x="102" y="236"/>
                        </a:lnTo>
                        <a:lnTo>
                          <a:pt x="94" y="238"/>
                        </a:lnTo>
                        <a:lnTo>
                          <a:pt x="92" y="238"/>
                        </a:lnTo>
                        <a:lnTo>
                          <a:pt x="88" y="242"/>
                        </a:lnTo>
                        <a:lnTo>
                          <a:pt x="86" y="242"/>
                        </a:lnTo>
                        <a:lnTo>
                          <a:pt x="84" y="242"/>
                        </a:lnTo>
                        <a:lnTo>
                          <a:pt x="82" y="242"/>
                        </a:lnTo>
                        <a:lnTo>
                          <a:pt x="82" y="244"/>
                        </a:lnTo>
                        <a:lnTo>
                          <a:pt x="84" y="242"/>
                        </a:lnTo>
                        <a:lnTo>
                          <a:pt x="86" y="242"/>
                        </a:lnTo>
                        <a:lnTo>
                          <a:pt x="86" y="244"/>
                        </a:lnTo>
                        <a:lnTo>
                          <a:pt x="82" y="246"/>
                        </a:lnTo>
                        <a:lnTo>
                          <a:pt x="82" y="248"/>
                        </a:lnTo>
                        <a:lnTo>
                          <a:pt x="82" y="246"/>
                        </a:lnTo>
                        <a:lnTo>
                          <a:pt x="80" y="246"/>
                        </a:lnTo>
                        <a:lnTo>
                          <a:pt x="76" y="244"/>
                        </a:lnTo>
                        <a:lnTo>
                          <a:pt x="66" y="250"/>
                        </a:lnTo>
                        <a:lnTo>
                          <a:pt x="64" y="248"/>
                        </a:lnTo>
                        <a:lnTo>
                          <a:pt x="64" y="250"/>
                        </a:lnTo>
                        <a:lnTo>
                          <a:pt x="64" y="252"/>
                        </a:lnTo>
                        <a:lnTo>
                          <a:pt x="62" y="252"/>
                        </a:lnTo>
                        <a:lnTo>
                          <a:pt x="58" y="254"/>
                        </a:lnTo>
                        <a:lnTo>
                          <a:pt x="58" y="250"/>
                        </a:lnTo>
                        <a:lnTo>
                          <a:pt x="52" y="252"/>
                        </a:lnTo>
                        <a:lnTo>
                          <a:pt x="52" y="254"/>
                        </a:lnTo>
                        <a:lnTo>
                          <a:pt x="48" y="254"/>
                        </a:lnTo>
                        <a:lnTo>
                          <a:pt x="46" y="254"/>
                        </a:lnTo>
                        <a:lnTo>
                          <a:pt x="46" y="256"/>
                        </a:lnTo>
                        <a:lnTo>
                          <a:pt x="46" y="254"/>
                        </a:lnTo>
                        <a:lnTo>
                          <a:pt x="44" y="252"/>
                        </a:lnTo>
                        <a:lnTo>
                          <a:pt x="44" y="250"/>
                        </a:lnTo>
                        <a:lnTo>
                          <a:pt x="42" y="250"/>
                        </a:lnTo>
                        <a:lnTo>
                          <a:pt x="40" y="250"/>
                        </a:lnTo>
                        <a:lnTo>
                          <a:pt x="38" y="250"/>
                        </a:lnTo>
                        <a:lnTo>
                          <a:pt x="36" y="254"/>
                        </a:lnTo>
                        <a:lnTo>
                          <a:pt x="36" y="262"/>
                        </a:lnTo>
                        <a:lnTo>
                          <a:pt x="36" y="264"/>
                        </a:lnTo>
                        <a:lnTo>
                          <a:pt x="34" y="264"/>
                        </a:lnTo>
                        <a:lnTo>
                          <a:pt x="34" y="266"/>
                        </a:lnTo>
                        <a:lnTo>
                          <a:pt x="34" y="268"/>
                        </a:lnTo>
                        <a:lnTo>
                          <a:pt x="32" y="268"/>
                        </a:lnTo>
                        <a:lnTo>
                          <a:pt x="32" y="270"/>
                        </a:lnTo>
                        <a:lnTo>
                          <a:pt x="30" y="270"/>
                        </a:lnTo>
                        <a:lnTo>
                          <a:pt x="32" y="268"/>
                        </a:lnTo>
                        <a:lnTo>
                          <a:pt x="32" y="266"/>
                        </a:lnTo>
                        <a:lnTo>
                          <a:pt x="26" y="262"/>
                        </a:lnTo>
                        <a:lnTo>
                          <a:pt x="24" y="260"/>
                        </a:lnTo>
                        <a:lnTo>
                          <a:pt x="12" y="264"/>
                        </a:lnTo>
                        <a:lnTo>
                          <a:pt x="10" y="264"/>
                        </a:lnTo>
                        <a:lnTo>
                          <a:pt x="8" y="264"/>
                        </a:lnTo>
                        <a:lnTo>
                          <a:pt x="6" y="264"/>
                        </a:lnTo>
                        <a:lnTo>
                          <a:pt x="6" y="262"/>
                        </a:lnTo>
                        <a:lnTo>
                          <a:pt x="6" y="260"/>
                        </a:lnTo>
                        <a:lnTo>
                          <a:pt x="4" y="260"/>
                        </a:lnTo>
                        <a:lnTo>
                          <a:pt x="2" y="262"/>
                        </a:lnTo>
                        <a:lnTo>
                          <a:pt x="0" y="264"/>
                        </a:lnTo>
                        <a:lnTo>
                          <a:pt x="0" y="258"/>
                        </a:lnTo>
                        <a:lnTo>
                          <a:pt x="0" y="256"/>
                        </a:lnTo>
                        <a:lnTo>
                          <a:pt x="0" y="254"/>
                        </a:lnTo>
                        <a:lnTo>
                          <a:pt x="0" y="252"/>
                        </a:lnTo>
                        <a:lnTo>
                          <a:pt x="0" y="248"/>
                        </a:lnTo>
                        <a:lnTo>
                          <a:pt x="2" y="248"/>
                        </a:lnTo>
                        <a:lnTo>
                          <a:pt x="8" y="248"/>
                        </a:lnTo>
                        <a:lnTo>
                          <a:pt x="8" y="250"/>
                        </a:lnTo>
                        <a:lnTo>
                          <a:pt x="10" y="248"/>
                        </a:lnTo>
                        <a:lnTo>
                          <a:pt x="12" y="248"/>
                        </a:lnTo>
                        <a:lnTo>
                          <a:pt x="14" y="248"/>
                        </a:lnTo>
                        <a:lnTo>
                          <a:pt x="14" y="246"/>
                        </a:lnTo>
                        <a:lnTo>
                          <a:pt x="20" y="240"/>
                        </a:lnTo>
                        <a:lnTo>
                          <a:pt x="22" y="2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1" name="Freeform 3017"/>
                  <p:cNvSpPr>
                    <a:spLocks/>
                  </p:cNvSpPr>
                  <p:nvPr/>
                </p:nvSpPr>
                <p:spPr bwMode="auto">
                  <a:xfrm>
                    <a:off x="3702" y="2522"/>
                    <a:ext cx="10" cy="20"/>
                  </a:xfrm>
                  <a:custGeom>
                    <a:avLst/>
                    <a:gdLst/>
                    <a:ahLst/>
                    <a:cxnLst>
                      <a:cxn ang="0">
                        <a:pos x="8" y="2"/>
                      </a:cxn>
                      <a:cxn ang="0">
                        <a:pos x="8" y="4"/>
                      </a:cxn>
                      <a:cxn ang="0">
                        <a:pos x="8" y="6"/>
                      </a:cxn>
                      <a:cxn ang="0">
                        <a:pos x="6" y="6"/>
                      </a:cxn>
                      <a:cxn ang="0">
                        <a:pos x="6" y="8"/>
                      </a:cxn>
                      <a:cxn ang="0">
                        <a:pos x="6" y="10"/>
                      </a:cxn>
                      <a:cxn ang="0">
                        <a:pos x="8" y="10"/>
                      </a:cxn>
                      <a:cxn ang="0">
                        <a:pos x="10" y="10"/>
                      </a:cxn>
                      <a:cxn ang="0">
                        <a:pos x="10" y="12"/>
                      </a:cxn>
                      <a:cxn ang="0">
                        <a:pos x="8" y="16"/>
                      </a:cxn>
                      <a:cxn ang="0">
                        <a:pos x="4" y="18"/>
                      </a:cxn>
                      <a:cxn ang="0">
                        <a:pos x="2" y="20"/>
                      </a:cxn>
                      <a:cxn ang="0">
                        <a:pos x="0" y="20"/>
                      </a:cxn>
                      <a:cxn ang="0">
                        <a:pos x="0" y="18"/>
                      </a:cxn>
                      <a:cxn ang="0">
                        <a:pos x="2" y="18"/>
                      </a:cxn>
                      <a:cxn ang="0">
                        <a:pos x="4" y="14"/>
                      </a:cxn>
                      <a:cxn ang="0">
                        <a:pos x="4" y="12"/>
                      </a:cxn>
                      <a:cxn ang="0">
                        <a:pos x="2" y="12"/>
                      </a:cxn>
                      <a:cxn ang="0">
                        <a:pos x="0" y="14"/>
                      </a:cxn>
                      <a:cxn ang="0">
                        <a:pos x="0" y="10"/>
                      </a:cxn>
                      <a:cxn ang="0">
                        <a:pos x="6" y="2"/>
                      </a:cxn>
                      <a:cxn ang="0">
                        <a:pos x="8" y="2"/>
                      </a:cxn>
                      <a:cxn ang="0">
                        <a:pos x="8" y="0"/>
                      </a:cxn>
                      <a:cxn ang="0">
                        <a:pos x="8" y="2"/>
                      </a:cxn>
                    </a:cxnLst>
                    <a:rect l="0" t="0" r="r" b="b"/>
                    <a:pathLst>
                      <a:path w="10" h="20">
                        <a:moveTo>
                          <a:pt x="8" y="2"/>
                        </a:moveTo>
                        <a:lnTo>
                          <a:pt x="8" y="4"/>
                        </a:lnTo>
                        <a:lnTo>
                          <a:pt x="8" y="6"/>
                        </a:lnTo>
                        <a:lnTo>
                          <a:pt x="6" y="6"/>
                        </a:lnTo>
                        <a:lnTo>
                          <a:pt x="6" y="8"/>
                        </a:lnTo>
                        <a:lnTo>
                          <a:pt x="6" y="10"/>
                        </a:lnTo>
                        <a:lnTo>
                          <a:pt x="8" y="10"/>
                        </a:lnTo>
                        <a:lnTo>
                          <a:pt x="10" y="10"/>
                        </a:lnTo>
                        <a:lnTo>
                          <a:pt x="10" y="12"/>
                        </a:lnTo>
                        <a:lnTo>
                          <a:pt x="8" y="16"/>
                        </a:lnTo>
                        <a:lnTo>
                          <a:pt x="4" y="18"/>
                        </a:lnTo>
                        <a:lnTo>
                          <a:pt x="2" y="20"/>
                        </a:lnTo>
                        <a:lnTo>
                          <a:pt x="0" y="20"/>
                        </a:lnTo>
                        <a:lnTo>
                          <a:pt x="0" y="18"/>
                        </a:lnTo>
                        <a:lnTo>
                          <a:pt x="2" y="18"/>
                        </a:lnTo>
                        <a:lnTo>
                          <a:pt x="4" y="14"/>
                        </a:lnTo>
                        <a:lnTo>
                          <a:pt x="4" y="12"/>
                        </a:lnTo>
                        <a:lnTo>
                          <a:pt x="2" y="12"/>
                        </a:lnTo>
                        <a:lnTo>
                          <a:pt x="0" y="14"/>
                        </a:lnTo>
                        <a:lnTo>
                          <a:pt x="0" y="10"/>
                        </a:lnTo>
                        <a:lnTo>
                          <a:pt x="6" y="2"/>
                        </a:lnTo>
                        <a:lnTo>
                          <a:pt x="8" y="2"/>
                        </a:lnTo>
                        <a:lnTo>
                          <a:pt x="8" y="0"/>
                        </a:lnTo>
                        <a:lnTo>
                          <a:pt x="8"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2" name="Freeform 3018"/>
                  <p:cNvSpPr>
                    <a:spLocks/>
                  </p:cNvSpPr>
                  <p:nvPr/>
                </p:nvSpPr>
                <p:spPr bwMode="auto">
                  <a:xfrm>
                    <a:off x="3456" y="2646"/>
                    <a:ext cx="8" cy="14"/>
                  </a:xfrm>
                  <a:custGeom>
                    <a:avLst/>
                    <a:gdLst/>
                    <a:ahLst/>
                    <a:cxnLst>
                      <a:cxn ang="0">
                        <a:pos x="6" y="0"/>
                      </a:cxn>
                      <a:cxn ang="0">
                        <a:pos x="8" y="2"/>
                      </a:cxn>
                      <a:cxn ang="0">
                        <a:pos x="8" y="4"/>
                      </a:cxn>
                      <a:cxn ang="0">
                        <a:pos x="4" y="14"/>
                      </a:cxn>
                      <a:cxn ang="0">
                        <a:pos x="0" y="12"/>
                      </a:cxn>
                      <a:cxn ang="0">
                        <a:pos x="4" y="2"/>
                      </a:cxn>
                      <a:cxn ang="0">
                        <a:pos x="6" y="0"/>
                      </a:cxn>
                    </a:cxnLst>
                    <a:rect l="0" t="0" r="r" b="b"/>
                    <a:pathLst>
                      <a:path w="8" h="14">
                        <a:moveTo>
                          <a:pt x="6" y="0"/>
                        </a:moveTo>
                        <a:lnTo>
                          <a:pt x="8" y="2"/>
                        </a:lnTo>
                        <a:lnTo>
                          <a:pt x="8" y="4"/>
                        </a:lnTo>
                        <a:lnTo>
                          <a:pt x="4" y="14"/>
                        </a:lnTo>
                        <a:lnTo>
                          <a:pt x="0" y="12"/>
                        </a:lnTo>
                        <a:lnTo>
                          <a:pt x="4" y="2"/>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3" name="Freeform 3019"/>
                  <p:cNvSpPr>
                    <a:spLocks/>
                  </p:cNvSpPr>
                  <p:nvPr/>
                </p:nvSpPr>
                <p:spPr bwMode="auto">
                  <a:xfrm>
                    <a:off x="3604" y="2650"/>
                    <a:ext cx="10" cy="14"/>
                  </a:xfrm>
                  <a:custGeom>
                    <a:avLst/>
                    <a:gdLst/>
                    <a:ahLst/>
                    <a:cxnLst>
                      <a:cxn ang="0">
                        <a:pos x="4" y="14"/>
                      </a:cxn>
                      <a:cxn ang="0">
                        <a:pos x="4" y="12"/>
                      </a:cxn>
                      <a:cxn ang="0">
                        <a:pos x="2" y="12"/>
                      </a:cxn>
                      <a:cxn ang="0">
                        <a:pos x="0" y="12"/>
                      </a:cxn>
                      <a:cxn ang="0">
                        <a:pos x="0" y="10"/>
                      </a:cxn>
                      <a:cxn ang="0">
                        <a:pos x="2" y="10"/>
                      </a:cxn>
                      <a:cxn ang="0">
                        <a:pos x="6" y="2"/>
                      </a:cxn>
                      <a:cxn ang="0">
                        <a:pos x="10" y="0"/>
                      </a:cxn>
                      <a:cxn ang="0">
                        <a:pos x="10" y="2"/>
                      </a:cxn>
                      <a:cxn ang="0">
                        <a:pos x="8" y="4"/>
                      </a:cxn>
                      <a:cxn ang="0">
                        <a:pos x="8" y="6"/>
                      </a:cxn>
                      <a:cxn ang="0">
                        <a:pos x="8" y="8"/>
                      </a:cxn>
                      <a:cxn ang="0">
                        <a:pos x="8" y="10"/>
                      </a:cxn>
                      <a:cxn ang="0">
                        <a:pos x="10" y="10"/>
                      </a:cxn>
                      <a:cxn ang="0">
                        <a:pos x="8" y="12"/>
                      </a:cxn>
                      <a:cxn ang="0">
                        <a:pos x="4" y="12"/>
                      </a:cxn>
                      <a:cxn ang="0">
                        <a:pos x="4" y="14"/>
                      </a:cxn>
                    </a:cxnLst>
                    <a:rect l="0" t="0" r="r" b="b"/>
                    <a:pathLst>
                      <a:path w="10" h="14">
                        <a:moveTo>
                          <a:pt x="4" y="14"/>
                        </a:moveTo>
                        <a:lnTo>
                          <a:pt x="4" y="12"/>
                        </a:lnTo>
                        <a:lnTo>
                          <a:pt x="2" y="12"/>
                        </a:lnTo>
                        <a:lnTo>
                          <a:pt x="0" y="12"/>
                        </a:lnTo>
                        <a:lnTo>
                          <a:pt x="0" y="10"/>
                        </a:lnTo>
                        <a:lnTo>
                          <a:pt x="2" y="10"/>
                        </a:lnTo>
                        <a:lnTo>
                          <a:pt x="6" y="2"/>
                        </a:lnTo>
                        <a:lnTo>
                          <a:pt x="10" y="0"/>
                        </a:lnTo>
                        <a:lnTo>
                          <a:pt x="10" y="2"/>
                        </a:lnTo>
                        <a:lnTo>
                          <a:pt x="8" y="4"/>
                        </a:lnTo>
                        <a:lnTo>
                          <a:pt x="8" y="6"/>
                        </a:lnTo>
                        <a:lnTo>
                          <a:pt x="8" y="8"/>
                        </a:lnTo>
                        <a:lnTo>
                          <a:pt x="8" y="10"/>
                        </a:lnTo>
                        <a:lnTo>
                          <a:pt x="10" y="10"/>
                        </a:lnTo>
                        <a:lnTo>
                          <a:pt x="8" y="12"/>
                        </a:lnTo>
                        <a:lnTo>
                          <a:pt x="4" y="12"/>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4" name="Freeform 3020"/>
                  <p:cNvSpPr>
                    <a:spLocks/>
                  </p:cNvSpPr>
                  <p:nvPr/>
                </p:nvSpPr>
                <p:spPr bwMode="auto">
                  <a:xfrm>
                    <a:off x="3532" y="2656"/>
                    <a:ext cx="76" cy="54"/>
                  </a:xfrm>
                  <a:custGeom>
                    <a:avLst/>
                    <a:gdLst/>
                    <a:ahLst/>
                    <a:cxnLst>
                      <a:cxn ang="0">
                        <a:pos x="46" y="10"/>
                      </a:cxn>
                      <a:cxn ang="0">
                        <a:pos x="46" y="6"/>
                      </a:cxn>
                      <a:cxn ang="0">
                        <a:pos x="54" y="2"/>
                      </a:cxn>
                      <a:cxn ang="0">
                        <a:pos x="58" y="0"/>
                      </a:cxn>
                      <a:cxn ang="0">
                        <a:pos x="62" y="4"/>
                      </a:cxn>
                      <a:cxn ang="0">
                        <a:pos x="66" y="6"/>
                      </a:cxn>
                      <a:cxn ang="0">
                        <a:pos x="72" y="8"/>
                      </a:cxn>
                      <a:cxn ang="0">
                        <a:pos x="70" y="12"/>
                      </a:cxn>
                      <a:cxn ang="0">
                        <a:pos x="76" y="20"/>
                      </a:cxn>
                      <a:cxn ang="0">
                        <a:pos x="72" y="20"/>
                      </a:cxn>
                      <a:cxn ang="0">
                        <a:pos x="64" y="26"/>
                      </a:cxn>
                      <a:cxn ang="0">
                        <a:pos x="64" y="30"/>
                      </a:cxn>
                      <a:cxn ang="0">
                        <a:pos x="62" y="32"/>
                      </a:cxn>
                      <a:cxn ang="0">
                        <a:pos x="60" y="36"/>
                      </a:cxn>
                      <a:cxn ang="0">
                        <a:pos x="56" y="36"/>
                      </a:cxn>
                      <a:cxn ang="0">
                        <a:pos x="52" y="30"/>
                      </a:cxn>
                      <a:cxn ang="0">
                        <a:pos x="44" y="30"/>
                      </a:cxn>
                      <a:cxn ang="0">
                        <a:pos x="34" y="34"/>
                      </a:cxn>
                      <a:cxn ang="0">
                        <a:pos x="34" y="38"/>
                      </a:cxn>
                      <a:cxn ang="0">
                        <a:pos x="30" y="44"/>
                      </a:cxn>
                      <a:cxn ang="0">
                        <a:pos x="28" y="48"/>
                      </a:cxn>
                      <a:cxn ang="0">
                        <a:pos x="26" y="54"/>
                      </a:cxn>
                      <a:cxn ang="0">
                        <a:pos x="22" y="54"/>
                      </a:cxn>
                      <a:cxn ang="0">
                        <a:pos x="16" y="54"/>
                      </a:cxn>
                      <a:cxn ang="0">
                        <a:pos x="20" y="50"/>
                      </a:cxn>
                      <a:cxn ang="0">
                        <a:pos x="14" y="50"/>
                      </a:cxn>
                      <a:cxn ang="0">
                        <a:pos x="14" y="42"/>
                      </a:cxn>
                      <a:cxn ang="0">
                        <a:pos x="14" y="38"/>
                      </a:cxn>
                      <a:cxn ang="0">
                        <a:pos x="10" y="36"/>
                      </a:cxn>
                      <a:cxn ang="0">
                        <a:pos x="10" y="30"/>
                      </a:cxn>
                      <a:cxn ang="0">
                        <a:pos x="4" y="36"/>
                      </a:cxn>
                      <a:cxn ang="0">
                        <a:pos x="8" y="30"/>
                      </a:cxn>
                      <a:cxn ang="0">
                        <a:pos x="18" y="24"/>
                      </a:cxn>
                      <a:cxn ang="0">
                        <a:pos x="20" y="20"/>
                      </a:cxn>
                      <a:cxn ang="0">
                        <a:pos x="22" y="14"/>
                      </a:cxn>
                      <a:cxn ang="0">
                        <a:pos x="28" y="14"/>
                      </a:cxn>
                      <a:cxn ang="0">
                        <a:pos x="34" y="16"/>
                      </a:cxn>
                      <a:cxn ang="0">
                        <a:pos x="40" y="14"/>
                      </a:cxn>
                      <a:cxn ang="0">
                        <a:pos x="44" y="12"/>
                      </a:cxn>
                    </a:cxnLst>
                    <a:rect l="0" t="0" r="r" b="b"/>
                    <a:pathLst>
                      <a:path w="76" h="54">
                        <a:moveTo>
                          <a:pt x="44" y="12"/>
                        </a:moveTo>
                        <a:lnTo>
                          <a:pt x="46" y="10"/>
                        </a:lnTo>
                        <a:lnTo>
                          <a:pt x="46" y="8"/>
                        </a:lnTo>
                        <a:lnTo>
                          <a:pt x="46" y="6"/>
                        </a:lnTo>
                        <a:lnTo>
                          <a:pt x="52" y="2"/>
                        </a:lnTo>
                        <a:lnTo>
                          <a:pt x="54" y="2"/>
                        </a:lnTo>
                        <a:lnTo>
                          <a:pt x="58" y="2"/>
                        </a:lnTo>
                        <a:lnTo>
                          <a:pt x="58" y="0"/>
                        </a:lnTo>
                        <a:lnTo>
                          <a:pt x="60" y="2"/>
                        </a:lnTo>
                        <a:lnTo>
                          <a:pt x="62" y="4"/>
                        </a:lnTo>
                        <a:lnTo>
                          <a:pt x="64" y="6"/>
                        </a:lnTo>
                        <a:lnTo>
                          <a:pt x="66" y="6"/>
                        </a:lnTo>
                        <a:lnTo>
                          <a:pt x="70" y="6"/>
                        </a:lnTo>
                        <a:lnTo>
                          <a:pt x="72" y="8"/>
                        </a:lnTo>
                        <a:lnTo>
                          <a:pt x="72" y="10"/>
                        </a:lnTo>
                        <a:lnTo>
                          <a:pt x="70" y="12"/>
                        </a:lnTo>
                        <a:lnTo>
                          <a:pt x="74" y="16"/>
                        </a:lnTo>
                        <a:lnTo>
                          <a:pt x="76" y="20"/>
                        </a:lnTo>
                        <a:lnTo>
                          <a:pt x="74" y="20"/>
                        </a:lnTo>
                        <a:lnTo>
                          <a:pt x="72" y="20"/>
                        </a:lnTo>
                        <a:lnTo>
                          <a:pt x="70" y="22"/>
                        </a:lnTo>
                        <a:lnTo>
                          <a:pt x="64" y="26"/>
                        </a:lnTo>
                        <a:lnTo>
                          <a:pt x="64" y="28"/>
                        </a:lnTo>
                        <a:lnTo>
                          <a:pt x="64" y="30"/>
                        </a:lnTo>
                        <a:lnTo>
                          <a:pt x="62" y="30"/>
                        </a:lnTo>
                        <a:lnTo>
                          <a:pt x="62" y="32"/>
                        </a:lnTo>
                        <a:lnTo>
                          <a:pt x="60" y="34"/>
                        </a:lnTo>
                        <a:lnTo>
                          <a:pt x="60" y="36"/>
                        </a:lnTo>
                        <a:lnTo>
                          <a:pt x="60" y="38"/>
                        </a:lnTo>
                        <a:lnTo>
                          <a:pt x="56" y="36"/>
                        </a:lnTo>
                        <a:lnTo>
                          <a:pt x="56" y="34"/>
                        </a:lnTo>
                        <a:lnTo>
                          <a:pt x="52" y="30"/>
                        </a:lnTo>
                        <a:lnTo>
                          <a:pt x="46" y="30"/>
                        </a:lnTo>
                        <a:lnTo>
                          <a:pt x="44" y="30"/>
                        </a:lnTo>
                        <a:lnTo>
                          <a:pt x="38" y="34"/>
                        </a:lnTo>
                        <a:lnTo>
                          <a:pt x="34" y="34"/>
                        </a:lnTo>
                        <a:lnTo>
                          <a:pt x="34" y="36"/>
                        </a:lnTo>
                        <a:lnTo>
                          <a:pt x="34" y="38"/>
                        </a:lnTo>
                        <a:lnTo>
                          <a:pt x="34" y="40"/>
                        </a:lnTo>
                        <a:lnTo>
                          <a:pt x="30" y="44"/>
                        </a:lnTo>
                        <a:lnTo>
                          <a:pt x="28" y="46"/>
                        </a:lnTo>
                        <a:lnTo>
                          <a:pt x="28" y="48"/>
                        </a:lnTo>
                        <a:lnTo>
                          <a:pt x="28" y="54"/>
                        </a:lnTo>
                        <a:lnTo>
                          <a:pt x="26" y="54"/>
                        </a:lnTo>
                        <a:lnTo>
                          <a:pt x="24" y="54"/>
                        </a:lnTo>
                        <a:lnTo>
                          <a:pt x="22" y="54"/>
                        </a:lnTo>
                        <a:lnTo>
                          <a:pt x="18" y="54"/>
                        </a:lnTo>
                        <a:lnTo>
                          <a:pt x="16" y="54"/>
                        </a:lnTo>
                        <a:lnTo>
                          <a:pt x="18" y="52"/>
                        </a:lnTo>
                        <a:lnTo>
                          <a:pt x="20" y="50"/>
                        </a:lnTo>
                        <a:lnTo>
                          <a:pt x="16" y="50"/>
                        </a:lnTo>
                        <a:lnTo>
                          <a:pt x="14" y="50"/>
                        </a:lnTo>
                        <a:lnTo>
                          <a:pt x="12" y="46"/>
                        </a:lnTo>
                        <a:lnTo>
                          <a:pt x="14" y="42"/>
                        </a:lnTo>
                        <a:lnTo>
                          <a:pt x="14" y="40"/>
                        </a:lnTo>
                        <a:lnTo>
                          <a:pt x="14" y="38"/>
                        </a:lnTo>
                        <a:lnTo>
                          <a:pt x="12" y="36"/>
                        </a:lnTo>
                        <a:lnTo>
                          <a:pt x="10" y="36"/>
                        </a:lnTo>
                        <a:lnTo>
                          <a:pt x="12" y="32"/>
                        </a:lnTo>
                        <a:lnTo>
                          <a:pt x="10" y="30"/>
                        </a:lnTo>
                        <a:lnTo>
                          <a:pt x="6" y="34"/>
                        </a:lnTo>
                        <a:lnTo>
                          <a:pt x="4" y="36"/>
                        </a:lnTo>
                        <a:lnTo>
                          <a:pt x="0" y="36"/>
                        </a:lnTo>
                        <a:lnTo>
                          <a:pt x="8" y="30"/>
                        </a:lnTo>
                        <a:lnTo>
                          <a:pt x="16" y="24"/>
                        </a:lnTo>
                        <a:lnTo>
                          <a:pt x="18" y="24"/>
                        </a:lnTo>
                        <a:lnTo>
                          <a:pt x="18" y="22"/>
                        </a:lnTo>
                        <a:lnTo>
                          <a:pt x="20" y="20"/>
                        </a:lnTo>
                        <a:lnTo>
                          <a:pt x="20" y="18"/>
                        </a:lnTo>
                        <a:lnTo>
                          <a:pt x="22" y="14"/>
                        </a:lnTo>
                        <a:lnTo>
                          <a:pt x="26" y="10"/>
                        </a:lnTo>
                        <a:lnTo>
                          <a:pt x="28" y="14"/>
                        </a:lnTo>
                        <a:lnTo>
                          <a:pt x="30" y="16"/>
                        </a:lnTo>
                        <a:lnTo>
                          <a:pt x="34" y="16"/>
                        </a:lnTo>
                        <a:lnTo>
                          <a:pt x="36" y="14"/>
                        </a:lnTo>
                        <a:lnTo>
                          <a:pt x="40" y="14"/>
                        </a:lnTo>
                        <a:lnTo>
                          <a:pt x="42" y="14"/>
                        </a:lnTo>
                        <a:lnTo>
                          <a:pt x="4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5" name="Freeform 3021"/>
                  <p:cNvSpPr>
                    <a:spLocks/>
                  </p:cNvSpPr>
                  <p:nvPr/>
                </p:nvSpPr>
                <p:spPr bwMode="auto">
                  <a:xfrm>
                    <a:off x="3538" y="2672"/>
                    <a:ext cx="6" cy="2"/>
                  </a:xfrm>
                  <a:custGeom>
                    <a:avLst/>
                    <a:gdLst/>
                    <a:ahLst/>
                    <a:cxnLst>
                      <a:cxn ang="0">
                        <a:pos x="6" y="2"/>
                      </a:cxn>
                      <a:cxn ang="0">
                        <a:pos x="4" y="2"/>
                      </a:cxn>
                      <a:cxn ang="0">
                        <a:pos x="0" y="2"/>
                      </a:cxn>
                      <a:cxn ang="0">
                        <a:pos x="0" y="0"/>
                      </a:cxn>
                      <a:cxn ang="0">
                        <a:pos x="2" y="0"/>
                      </a:cxn>
                      <a:cxn ang="0">
                        <a:pos x="4" y="2"/>
                      </a:cxn>
                      <a:cxn ang="0">
                        <a:pos x="4" y="0"/>
                      </a:cxn>
                      <a:cxn ang="0">
                        <a:pos x="6" y="0"/>
                      </a:cxn>
                      <a:cxn ang="0">
                        <a:pos x="6" y="2"/>
                      </a:cxn>
                    </a:cxnLst>
                    <a:rect l="0" t="0" r="r" b="b"/>
                    <a:pathLst>
                      <a:path w="6" h="2">
                        <a:moveTo>
                          <a:pt x="6" y="2"/>
                        </a:moveTo>
                        <a:lnTo>
                          <a:pt x="4" y="2"/>
                        </a:lnTo>
                        <a:lnTo>
                          <a:pt x="0" y="2"/>
                        </a:lnTo>
                        <a:lnTo>
                          <a:pt x="0" y="0"/>
                        </a:lnTo>
                        <a:lnTo>
                          <a:pt x="2" y="0"/>
                        </a:lnTo>
                        <a:lnTo>
                          <a:pt x="4" y="2"/>
                        </a:lnTo>
                        <a:lnTo>
                          <a:pt x="4" y="0"/>
                        </a:lnTo>
                        <a:lnTo>
                          <a:pt x="6" y="0"/>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6" name="Freeform 3022"/>
                  <p:cNvSpPr>
                    <a:spLocks/>
                  </p:cNvSpPr>
                  <p:nvPr/>
                </p:nvSpPr>
                <p:spPr bwMode="auto">
                  <a:xfrm>
                    <a:off x="3466" y="2672"/>
                    <a:ext cx="66" cy="96"/>
                  </a:xfrm>
                  <a:custGeom>
                    <a:avLst/>
                    <a:gdLst/>
                    <a:ahLst/>
                    <a:cxnLst>
                      <a:cxn ang="0">
                        <a:pos x="6" y="36"/>
                      </a:cxn>
                      <a:cxn ang="0">
                        <a:pos x="2" y="28"/>
                      </a:cxn>
                      <a:cxn ang="0">
                        <a:pos x="6" y="32"/>
                      </a:cxn>
                      <a:cxn ang="0">
                        <a:pos x="6" y="34"/>
                      </a:cxn>
                      <a:cxn ang="0">
                        <a:pos x="10" y="34"/>
                      </a:cxn>
                      <a:cxn ang="0">
                        <a:pos x="0" y="18"/>
                      </a:cxn>
                      <a:cxn ang="0">
                        <a:pos x="6" y="18"/>
                      </a:cxn>
                      <a:cxn ang="0">
                        <a:pos x="10" y="14"/>
                      </a:cxn>
                      <a:cxn ang="0">
                        <a:pos x="18" y="10"/>
                      </a:cxn>
                      <a:cxn ang="0">
                        <a:pos x="22" y="10"/>
                      </a:cxn>
                      <a:cxn ang="0">
                        <a:pos x="26" y="2"/>
                      </a:cxn>
                      <a:cxn ang="0">
                        <a:pos x="38" y="4"/>
                      </a:cxn>
                      <a:cxn ang="0">
                        <a:pos x="44" y="10"/>
                      </a:cxn>
                      <a:cxn ang="0">
                        <a:pos x="52" y="10"/>
                      </a:cxn>
                      <a:cxn ang="0">
                        <a:pos x="56" y="8"/>
                      </a:cxn>
                      <a:cxn ang="0">
                        <a:pos x="58" y="12"/>
                      </a:cxn>
                      <a:cxn ang="0">
                        <a:pos x="58" y="16"/>
                      </a:cxn>
                      <a:cxn ang="0">
                        <a:pos x="54" y="22"/>
                      </a:cxn>
                      <a:cxn ang="0">
                        <a:pos x="62" y="26"/>
                      </a:cxn>
                      <a:cxn ang="0">
                        <a:pos x="66" y="36"/>
                      </a:cxn>
                      <a:cxn ang="0">
                        <a:pos x="60" y="40"/>
                      </a:cxn>
                      <a:cxn ang="0">
                        <a:pos x="56" y="50"/>
                      </a:cxn>
                      <a:cxn ang="0">
                        <a:pos x="52" y="70"/>
                      </a:cxn>
                      <a:cxn ang="0">
                        <a:pos x="44" y="80"/>
                      </a:cxn>
                      <a:cxn ang="0">
                        <a:pos x="40" y="82"/>
                      </a:cxn>
                      <a:cxn ang="0">
                        <a:pos x="42" y="84"/>
                      </a:cxn>
                      <a:cxn ang="0">
                        <a:pos x="34" y="92"/>
                      </a:cxn>
                      <a:cxn ang="0">
                        <a:pos x="30" y="90"/>
                      </a:cxn>
                      <a:cxn ang="0">
                        <a:pos x="34" y="84"/>
                      </a:cxn>
                      <a:cxn ang="0">
                        <a:pos x="28" y="76"/>
                      </a:cxn>
                      <a:cxn ang="0">
                        <a:pos x="32" y="78"/>
                      </a:cxn>
                      <a:cxn ang="0">
                        <a:pos x="32" y="72"/>
                      </a:cxn>
                      <a:cxn ang="0">
                        <a:pos x="26" y="78"/>
                      </a:cxn>
                      <a:cxn ang="0">
                        <a:pos x="28" y="86"/>
                      </a:cxn>
                      <a:cxn ang="0">
                        <a:pos x="28" y="90"/>
                      </a:cxn>
                      <a:cxn ang="0">
                        <a:pos x="18" y="88"/>
                      </a:cxn>
                      <a:cxn ang="0">
                        <a:pos x="20" y="80"/>
                      </a:cxn>
                      <a:cxn ang="0">
                        <a:pos x="16" y="70"/>
                      </a:cxn>
                      <a:cxn ang="0">
                        <a:pos x="18" y="60"/>
                      </a:cxn>
                      <a:cxn ang="0">
                        <a:pos x="28" y="42"/>
                      </a:cxn>
                      <a:cxn ang="0">
                        <a:pos x="28" y="36"/>
                      </a:cxn>
                      <a:cxn ang="0">
                        <a:pos x="24" y="32"/>
                      </a:cxn>
                      <a:cxn ang="0">
                        <a:pos x="18" y="26"/>
                      </a:cxn>
                      <a:cxn ang="0">
                        <a:pos x="16" y="30"/>
                      </a:cxn>
                      <a:cxn ang="0">
                        <a:pos x="14" y="36"/>
                      </a:cxn>
                      <a:cxn ang="0">
                        <a:pos x="18" y="34"/>
                      </a:cxn>
                      <a:cxn ang="0">
                        <a:pos x="22" y="40"/>
                      </a:cxn>
                      <a:cxn ang="0">
                        <a:pos x="16" y="44"/>
                      </a:cxn>
                      <a:cxn ang="0">
                        <a:pos x="16" y="38"/>
                      </a:cxn>
                      <a:cxn ang="0">
                        <a:pos x="10" y="40"/>
                      </a:cxn>
                      <a:cxn ang="0">
                        <a:pos x="4" y="44"/>
                      </a:cxn>
                    </a:cxnLst>
                    <a:rect l="0" t="0" r="r" b="b"/>
                    <a:pathLst>
                      <a:path w="66" h="96">
                        <a:moveTo>
                          <a:pt x="4" y="44"/>
                        </a:moveTo>
                        <a:lnTo>
                          <a:pt x="6" y="40"/>
                        </a:lnTo>
                        <a:lnTo>
                          <a:pt x="6" y="36"/>
                        </a:lnTo>
                        <a:lnTo>
                          <a:pt x="4" y="36"/>
                        </a:lnTo>
                        <a:lnTo>
                          <a:pt x="0" y="32"/>
                        </a:lnTo>
                        <a:lnTo>
                          <a:pt x="2" y="28"/>
                        </a:lnTo>
                        <a:lnTo>
                          <a:pt x="4" y="28"/>
                        </a:lnTo>
                        <a:lnTo>
                          <a:pt x="6" y="30"/>
                        </a:lnTo>
                        <a:lnTo>
                          <a:pt x="6" y="32"/>
                        </a:lnTo>
                        <a:lnTo>
                          <a:pt x="6" y="34"/>
                        </a:lnTo>
                        <a:lnTo>
                          <a:pt x="6" y="32"/>
                        </a:lnTo>
                        <a:lnTo>
                          <a:pt x="6" y="34"/>
                        </a:lnTo>
                        <a:lnTo>
                          <a:pt x="6" y="36"/>
                        </a:lnTo>
                        <a:lnTo>
                          <a:pt x="10" y="36"/>
                        </a:lnTo>
                        <a:lnTo>
                          <a:pt x="10" y="34"/>
                        </a:lnTo>
                        <a:lnTo>
                          <a:pt x="10" y="30"/>
                        </a:lnTo>
                        <a:lnTo>
                          <a:pt x="0" y="24"/>
                        </a:lnTo>
                        <a:lnTo>
                          <a:pt x="0" y="18"/>
                        </a:lnTo>
                        <a:lnTo>
                          <a:pt x="6" y="20"/>
                        </a:lnTo>
                        <a:lnTo>
                          <a:pt x="8" y="18"/>
                        </a:lnTo>
                        <a:lnTo>
                          <a:pt x="6" y="18"/>
                        </a:lnTo>
                        <a:lnTo>
                          <a:pt x="6" y="16"/>
                        </a:lnTo>
                        <a:lnTo>
                          <a:pt x="8" y="14"/>
                        </a:lnTo>
                        <a:lnTo>
                          <a:pt x="10" y="14"/>
                        </a:lnTo>
                        <a:lnTo>
                          <a:pt x="12" y="16"/>
                        </a:lnTo>
                        <a:lnTo>
                          <a:pt x="18" y="8"/>
                        </a:lnTo>
                        <a:lnTo>
                          <a:pt x="18" y="10"/>
                        </a:lnTo>
                        <a:lnTo>
                          <a:pt x="18" y="12"/>
                        </a:lnTo>
                        <a:lnTo>
                          <a:pt x="22" y="12"/>
                        </a:lnTo>
                        <a:lnTo>
                          <a:pt x="22" y="10"/>
                        </a:lnTo>
                        <a:lnTo>
                          <a:pt x="24" y="6"/>
                        </a:lnTo>
                        <a:lnTo>
                          <a:pt x="24" y="4"/>
                        </a:lnTo>
                        <a:lnTo>
                          <a:pt x="26" y="2"/>
                        </a:lnTo>
                        <a:lnTo>
                          <a:pt x="30" y="0"/>
                        </a:lnTo>
                        <a:lnTo>
                          <a:pt x="38" y="2"/>
                        </a:lnTo>
                        <a:lnTo>
                          <a:pt x="38" y="4"/>
                        </a:lnTo>
                        <a:lnTo>
                          <a:pt x="40" y="8"/>
                        </a:lnTo>
                        <a:lnTo>
                          <a:pt x="42" y="10"/>
                        </a:lnTo>
                        <a:lnTo>
                          <a:pt x="44" y="10"/>
                        </a:lnTo>
                        <a:lnTo>
                          <a:pt x="48" y="12"/>
                        </a:lnTo>
                        <a:lnTo>
                          <a:pt x="50" y="12"/>
                        </a:lnTo>
                        <a:lnTo>
                          <a:pt x="52" y="10"/>
                        </a:lnTo>
                        <a:lnTo>
                          <a:pt x="52" y="8"/>
                        </a:lnTo>
                        <a:lnTo>
                          <a:pt x="54" y="8"/>
                        </a:lnTo>
                        <a:lnTo>
                          <a:pt x="56" y="8"/>
                        </a:lnTo>
                        <a:lnTo>
                          <a:pt x="58" y="8"/>
                        </a:lnTo>
                        <a:lnTo>
                          <a:pt x="58" y="10"/>
                        </a:lnTo>
                        <a:lnTo>
                          <a:pt x="58" y="12"/>
                        </a:lnTo>
                        <a:lnTo>
                          <a:pt x="60" y="12"/>
                        </a:lnTo>
                        <a:lnTo>
                          <a:pt x="58" y="14"/>
                        </a:lnTo>
                        <a:lnTo>
                          <a:pt x="58" y="16"/>
                        </a:lnTo>
                        <a:lnTo>
                          <a:pt x="54" y="20"/>
                        </a:lnTo>
                        <a:lnTo>
                          <a:pt x="52" y="20"/>
                        </a:lnTo>
                        <a:lnTo>
                          <a:pt x="54" y="22"/>
                        </a:lnTo>
                        <a:lnTo>
                          <a:pt x="64" y="22"/>
                        </a:lnTo>
                        <a:lnTo>
                          <a:pt x="62" y="24"/>
                        </a:lnTo>
                        <a:lnTo>
                          <a:pt x="62" y="26"/>
                        </a:lnTo>
                        <a:lnTo>
                          <a:pt x="60" y="26"/>
                        </a:lnTo>
                        <a:lnTo>
                          <a:pt x="66" y="34"/>
                        </a:lnTo>
                        <a:lnTo>
                          <a:pt x="66" y="36"/>
                        </a:lnTo>
                        <a:lnTo>
                          <a:pt x="62" y="38"/>
                        </a:lnTo>
                        <a:lnTo>
                          <a:pt x="62" y="40"/>
                        </a:lnTo>
                        <a:lnTo>
                          <a:pt x="60" y="40"/>
                        </a:lnTo>
                        <a:lnTo>
                          <a:pt x="58" y="46"/>
                        </a:lnTo>
                        <a:lnTo>
                          <a:pt x="58" y="48"/>
                        </a:lnTo>
                        <a:lnTo>
                          <a:pt x="56" y="50"/>
                        </a:lnTo>
                        <a:lnTo>
                          <a:pt x="50" y="66"/>
                        </a:lnTo>
                        <a:lnTo>
                          <a:pt x="52" y="68"/>
                        </a:lnTo>
                        <a:lnTo>
                          <a:pt x="52" y="70"/>
                        </a:lnTo>
                        <a:lnTo>
                          <a:pt x="48" y="84"/>
                        </a:lnTo>
                        <a:lnTo>
                          <a:pt x="46" y="82"/>
                        </a:lnTo>
                        <a:lnTo>
                          <a:pt x="44" y="80"/>
                        </a:lnTo>
                        <a:lnTo>
                          <a:pt x="42" y="80"/>
                        </a:lnTo>
                        <a:lnTo>
                          <a:pt x="40" y="80"/>
                        </a:lnTo>
                        <a:lnTo>
                          <a:pt x="40" y="82"/>
                        </a:lnTo>
                        <a:lnTo>
                          <a:pt x="38" y="84"/>
                        </a:lnTo>
                        <a:lnTo>
                          <a:pt x="40" y="84"/>
                        </a:lnTo>
                        <a:lnTo>
                          <a:pt x="42" y="84"/>
                        </a:lnTo>
                        <a:lnTo>
                          <a:pt x="42" y="86"/>
                        </a:lnTo>
                        <a:lnTo>
                          <a:pt x="36" y="92"/>
                        </a:lnTo>
                        <a:lnTo>
                          <a:pt x="34" y="92"/>
                        </a:lnTo>
                        <a:lnTo>
                          <a:pt x="30" y="94"/>
                        </a:lnTo>
                        <a:lnTo>
                          <a:pt x="30" y="96"/>
                        </a:lnTo>
                        <a:lnTo>
                          <a:pt x="30" y="90"/>
                        </a:lnTo>
                        <a:lnTo>
                          <a:pt x="32" y="90"/>
                        </a:lnTo>
                        <a:lnTo>
                          <a:pt x="34" y="86"/>
                        </a:lnTo>
                        <a:lnTo>
                          <a:pt x="34" y="84"/>
                        </a:lnTo>
                        <a:lnTo>
                          <a:pt x="30" y="78"/>
                        </a:lnTo>
                        <a:lnTo>
                          <a:pt x="28" y="78"/>
                        </a:lnTo>
                        <a:lnTo>
                          <a:pt x="28" y="76"/>
                        </a:lnTo>
                        <a:lnTo>
                          <a:pt x="30" y="76"/>
                        </a:lnTo>
                        <a:lnTo>
                          <a:pt x="30" y="78"/>
                        </a:lnTo>
                        <a:lnTo>
                          <a:pt x="32" y="78"/>
                        </a:lnTo>
                        <a:lnTo>
                          <a:pt x="34" y="76"/>
                        </a:lnTo>
                        <a:lnTo>
                          <a:pt x="34" y="72"/>
                        </a:lnTo>
                        <a:lnTo>
                          <a:pt x="32" y="72"/>
                        </a:lnTo>
                        <a:lnTo>
                          <a:pt x="30" y="72"/>
                        </a:lnTo>
                        <a:lnTo>
                          <a:pt x="28" y="72"/>
                        </a:lnTo>
                        <a:lnTo>
                          <a:pt x="26" y="78"/>
                        </a:lnTo>
                        <a:lnTo>
                          <a:pt x="26" y="82"/>
                        </a:lnTo>
                        <a:lnTo>
                          <a:pt x="26" y="84"/>
                        </a:lnTo>
                        <a:lnTo>
                          <a:pt x="28" y="86"/>
                        </a:lnTo>
                        <a:lnTo>
                          <a:pt x="30" y="86"/>
                        </a:lnTo>
                        <a:lnTo>
                          <a:pt x="30" y="88"/>
                        </a:lnTo>
                        <a:lnTo>
                          <a:pt x="28" y="90"/>
                        </a:lnTo>
                        <a:lnTo>
                          <a:pt x="26" y="90"/>
                        </a:lnTo>
                        <a:lnTo>
                          <a:pt x="24" y="88"/>
                        </a:lnTo>
                        <a:lnTo>
                          <a:pt x="18" y="88"/>
                        </a:lnTo>
                        <a:lnTo>
                          <a:pt x="18" y="84"/>
                        </a:lnTo>
                        <a:lnTo>
                          <a:pt x="18" y="82"/>
                        </a:lnTo>
                        <a:lnTo>
                          <a:pt x="20" y="80"/>
                        </a:lnTo>
                        <a:lnTo>
                          <a:pt x="20" y="78"/>
                        </a:lnTo>
                        <a:lnTo>
                          <a:pt x="20" y="74"/>
                        </a:lnTo>
                        <a:lnTo>
                          <a:pt x="16" y="70"/>
                        </a:lnTo>
                        <a:lnTo>
                          <a:pt x="16" y="62"/>
                        </a:lnTo>
                        <a:lnTo>
                          <a:pt x="16" y="60"/>
                        </a:lnTo>
                        <a:lnTo>
                          <a:pt x="18" y="60"/>
                        </a:lnTo>
                        <a:lnTo>
                          <a:pt x="26" y="50"/>
                        </a:lnTo>
                        <a:lnTo>
                          <a:pt x="28" y="44"/>
                        </a:lnTo>
                        <a:lnTo>
                          <a:pt x="28" y="42"/>
                        </a:lnTo>
                        <a:lnTo>
                          <a:pt x="24" y="42"/>
                        </a:lnTo>
                        <a:lnTo>
                          <a:pt x="28" y="40"/>
                        </a:lnTo>
                        <a:lnTo>
                          <a:pt x="28" y="36"/>
                        </a:lnTo>
                        <a:lnTo>
                          <a:pt x="26" y="36"/>
                        </a:lnTo>
                        <a:lnTo>
                          <a:pt x="24" y="34"/>
                        </a:lnTo>
                        <a:lnTo>
                          <a:pt x="24" y="32"/>
                        </a:lnTo>
                        <a:lnTo>
                          <a:pt x="24" y="30"/>
                        </a:lnTo>
                        <a:lnTo>
                          <a:pt x="22" y="26"/>
                        </a:lnTo>
                        <a:lnTo>
                          <a:pt x="18" y="26"/>
                        </a:lnTo>
                        <a:lnTo>
                          <a:pt x="14" y="26"/>
                        </a:lnTo>
                        <a:lnTo>
                          <a:pt x="16" y="28"/>
                        </a:lnTo>
                        <a:lnTo>
                          <a:pt x="16" y="30"/>
                        </a:lnTo>
                        <a:lnTo>
                          <a:pt x="18" y="32"/>
                        </a:lnTo>
                        <a:lnTo>
                          <a:pt x="16" y="34"/>
                        </a:lnTo>
                        <a:lnTo>
                          <a:pt x="14" y="36"/>
                        </a:lnTo>
                        <a:lnTo>
                          <a:pt x="16" y="36"/>
                        </a:lnTo>
                        <a:lnTo>
                          <a:pt x="18" y="36"/>
                        </a:lnTo>
                        <a:lnTo>
                          <a:pt x="18" y="34"/>
                        </a:lnTo>
                        <a:lnTo>
                          <a:pt x="20" y="36"/>
                        </a:lnTo>
                        <a:lnTo>
                          <a:pt x="22" y="36"/>
                        </a:lnTo>
                        <a:lnTo>
                          <a:pt x="22" y="40"/>
                        </a:lnTo>
                        <a:lnTo>
                          <a:pt x="20" y="42"/>
                        </a:lnTo>
                        <a:lnTo>
                          <a:pt x="18" y="44"/>
                        </a:lnTo>
                        <a:lnTo>
                          <a:pt x="16" y="44"/>
                        </a:lnTo>
                        <a:lnTo>
                          <a:pt x="14" y="42"/>
                        </a:lnTo>
                        <a:lnTo>
                          <a:pt x="18" y="40"/>
                        </a:lnTo>
                        <a:lnTo>
                          <a:pt x="16" y="38"/>
                        </a:lnTo>
                        <a:lnTo>
                          <a:pt x="14" y="36"/>
                        </a:lnTo>
                        <a:lnTo>
                          <a:pt x="10" y="38"/>
                        </a:lnTo>
                        <a:lnTo>
                          <a:pt x="10" y="40"/>
                        </a:lnTo>
                        <a:lnTo>
                          <a:pt x="8" y="42"/>
                        </a:lnTo>
                        <a:lnTo>
                          <a:pt x="6" y="44"/>
                        </a:lnTo>
                        <a:lnTo>
                          <a:pt x="4" y="4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7" name="Freeform 3023"/>
                  <p:cNvSpPr>
                    <a:spLocks/>
                  </p:cNvSpPr>
                  <p:nvPr/>
                </p:nvSpPr>
                <p:spPr bwMode="auto">
                  <a:xfrm>
                    <a:off x="3460" y="2690"/>
                    <a:ext cx="6" cy="8"/>
                  </a:xfrm>
                  <a:custGeom>
                    <a:avLst/>
                    <a:gdLst/>
                    <a:ahLst/>
                    <a:cxnLst>
                      <a:cxn ang="0">
                        <a:pos x="4" y="2"/>
                      </a:cxn>
                      <a:cxn ang="0">
                        <a:pos x="4" y="4"/>
                      </a:cxn>
                      <a:cxn ang="0">
                        <a:pos x="4" y="6"/>
                      </a:cxn>
                      <a:cxn ang="0">
                        <a:pos x="2" y="6"/>
                      </a:cxn>
                      <a:cxn ang="0">
                        <a:pos x="0" y="8"/>
                      </a:cxn>
                      <a:cxn ang="0">
                        <a:pos x="4" y="0"/>
                      </a:cxn>
                      <a:cxn ang="0">
                        <a:pos x="6" y="0"/>
                      </a:cxn>
                      <a:cxn ang="0">
                        <a:pos x="6" y="2"/>
                      </a:cxn>
                      <a:cxn ang="0">
                        <a:pos x="4" y="2"/>
                      </a:cxn>
                    </a:cxnLst>
                    <a:rect l="0" t="0" r="r" b="b"/>
                    <a:pathLst>
                      <a:path w="6" h="8">
                        <a:moveTo>
                          <a:pt x="4" y="2"/>
                        </a:moveTo>
                        <a:lnTo>
                          <a:pt x="4" y="4"/>
                        </a:lnTo>
                        <a:lnTo>
                          <a:pt x="4" y="6"/>
                        </a:lnTo>
                        <a:lnTo>
                          <a:pt x="2" y="6"/>
                        </a:lnTo>
                        <a:lnTo>
                          <a:pt x="0" y="8"/>
                        </a:lnTo>
                        <a:lnTo>
                          <a:pt x="4" y="0"/>
                        </a:lnTo>
                        <a:lnTo>
                          <a:pt x="6" y="0"/>
                        </a:lnTo>
                        <a:lnTo>
                          <a:pt x="6" y="2"/>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8" name="Freeform 3024"/>
                  <p:cNvSpPr>
                    <a:spLocks/>
                  </p:cNvSpPr>
                  <p:nvPr/>
                </p:nvSpPr>
                <p:spPr bwMode="auto">
                  <a:xfrm>
                    <a:off x="3450" y="2698"/>
                    <a:ext cx="6" cy="10"/>
                  </a:xfrm>
                  <a:custGeom>
                    <a:avLst/>
                    <a:gdLst/>
                    <a:ahLst/>
                    <a:cxnLst>
                      <a:cxn ang="0">
                        <a:pos x="4" y="2"/>
                      </a:cxn>
                      <a:cxn ang="0">
                        <a:pos x="2" y="4"/>
                      </a:cxn>
                      <a:cxn ang="0">
                        <a:pos x="2" y="6"/>
                      </a:cxn>
                      <a:cxn ang="0">
                        <a:pos x="4" y="6"/>
                      </a:cxn>
                      <a:cxn ang="0">
                        <a:pos x="6" y="4"/>
                      </a:cxn>
                      <a:cxn ang="0">
                        <a:pos x="6" y="6"/>
                      </a:cxn>
                      <a:cxn ang="0">
                        <a:pos x="2" y="10"/>
                      </a:cxn>
                      <a:cxn ang="0">
                        <a:pos x="0" y="6"/>
                      </a:cxn>
                      <a:cxn ang="0">
                        <a:pos x="2" y="0"/>
                      </a:cxn>
                      <a:cxn ang="0">
                        <a:pos x="4" y="0"/>
                      </a:cxn>
                      <a:cxn ang="0">
                        <a:pos x="4" y="2"/>
                      </a:cxn>
                    </a:cxnLst>
                    <a:rect l="0" t="0" r="r" b="b"/>
                    <a:pathLst>
                      <a:path w="6" h="10">
                        <a:moveTo>
                          <a:pt x="4" y="2"/>
                        </a:moveTo>
                        <a:lnTo>
                          <a:pt x="2" y="4"/>
                        </a:lnTo>
                        <a:lnTo>
                          <a:pt x="2" y="6"/>
                        </a:lnTo>
                        <a:lnTo>
                          <a:pt x="4" y="6"/>
                        </a:lnTo>
                        <a:lnTo>
                          <a:pt x="6" y="4"/>
                        </a:lnTo>
                        <a:lnTo>
                          <a:pt x="6" y="6"/>
                        </a:lnTo>
                        <a:lnTo>
                          <a:pt x="2" y="10"/>
                        </a:lnTo>
                        <a:lnTo>
                          <a:pt x="0" y="6"/>
                        </a:lnTo>
                        <a:lnTo>
                          <a:pt x="2" y="0"/>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9" name="Freeform 3025"/>
                  <p:cNvSpPr>
                    <a:spLocks/>
                  </p:cNvSpPr>
                  <p:nvPr/>
                </p:nvSpPr>
                <p:spPr bwMode="auto">
                  <a:xfrm>
                    <a:off x="3438" y="2708"/>
                    <a:ext cx="10" cy="8"/>
                  </a:xfrm>
                  <a:custGeom>
                    <a:avLst/>
                    <a:gdLst/>
                    <a:ahLst/>
                    <a:cxnLst>
                      <a:cxn ang="0">
                        <a:pos x="2" y="4"/>
                      </a:cxn>
                      <a:cxn ang="0">
                        <a:pos x="2" y="2"/>
                      </a:cxn>
                      <a:cxn ang="0">
                        <a:pos x="6" y="0"/>
                      </a:cxn>
                      <a:cxn ang="0">
                        <a:pos x="10" y="6"/>
                      </a:cxn>
                      <a:cxn ang="0">
                        <a:pos x="6" y="8"/>
                      </a:cxn>
                      <a:cxn ang="0">
                        <a:pos x="2" y="8"/>
                      </a:cxn>
                      <a:cxn ang="0">
                        <a:pos x="2" y="6"/>
                      </a:cxn>
                      <a:cxn ang="0">
                        <a:pos x="0" y="6"/>
                      </a:cxn>
                      <a:cxn ang="0">
                        <a:pos x="2" y="6"/>
                      </a:cxn>
                      <a:cxn ang="0">
                        <a:pos x="2" y="4"/>
                      </a:cxn>
                    </a:cxnLst>
                    <a:rect l="0" t="0" r="r" b="b"/>
                    <a:pathLst>
                      <a:path w="10" h="8">
                        <a:moveTo>
                          <a:pt x="2" y="4"/>
                        </a:moveTo>
                        <a:lnTo>
                          <a:pt x="2" y="2"/>
                        </a:lnTo>
                        <a:lnTo>
                          <a:pt x="6" y="0"/>
                        </a:lnTo>
                        <a:lnTo>
                          <a:pt x="10" y="6"/>
                        </a:lnTo>
                        <a:lnTo>
                          <a:pt x="6" y="8"/>
                        </a:lnTo>
                        <a:lnTo>
                          <a:pt x="2" y="8"/>
                        </a:lnTo>
                        <a:lnTo>
                          <a:pt x="2" y="6"/>
                        </a:lnTo>
                        <a:lnTo>
                          <a:pt x="0" y="6"/>
                        </a:lnTo>
                        <a:lnTo>
                          <a:pt x="2" y="6"/>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0" name="Freeform 3026"/>
                  <p:cNvSpPr>
                    <a:spLocks/>
                  </p:cNvSpPr>
                  <p:nvPr/>
                </p:nvSpPr>
                <p:spPr bwMode="auto">
                  <a:xfrm>
                    <a:off x="3476" y="2718"/>
                    <a:ext cx="8" cy="10"/>
                  </a:xfrm>
                  <a:custGeom>
                    <a:avLst/>
                    <a:gdLst/>
                    <a:ahLst/>
                    <a:cxnLst>
                      <a:cxn ang="0">
                        <a:pos x="2" y="10"/>
                      </a:cxn>
                      <a:cxn ang="0">
                        <a:pos x="0" y="8"/>
                      </a:cxn>
                      <a:cxn ang="0">
                        <a:pos x="0" y="6"/>
                      </a:cxn>
                      <a:cxn ang="0">
                        <a:pos x="2" y="4"/>
                      </a:cxn>
                      <a:cxn ang="0">
                        <a:pos x="2" y="2"/>
                      </a:cxn>
                      <a:cxn ang="0">
                        <a:pos x="2" y="0"/>
                      </a:cxn>
                      <a:cxn ang="0">
                        <a:pos x="4" y="0"/>
                      </a:cxn>
                      <a:cxn ang="0">
                        <a:pos x="6" y="0"/>
                      </a:cxn>
                      <a:cxn ang="0">
                        <a:pos x="6" y="2"/>
                      </a:cxn>
                      <a:cxn ang="0">
                        <a:pos x="8" y="2"/>
                      </a:cxn>
                      <a:cxn ang="0">
                        <a:pos x="8" y="6"/>
                      </a:cxn>
                      <a:cxn ang="0">
                        <a:pos x="2" y="10"/>
                      </a:cxn>
                    </a:cxnLst>
                    <a:rect l="0" t="0" r="r" b="b"/>
                    <a:pathLst>
                      <a:path w="8" h="10">
                        <a:moveTo>
                          <a:pt x="2" y="10"/>
                        </a:moveTo>
                        <a:lnTo>
                          <a:pt x="0" y="8"/>
                        </a:lnTo>
                        <a:lnTo>
                          <a:pt x="0" y="6"/>
                        </a:lnTo>
                        <a:lnTo>
                          <a:pt x="2" y="4"/>
                        </a:lnTo>
                        <a:lnTo>
                          <a:pt x="2" y="2"/>
                        </a:lnTo>
                        <a:lnTo>
                          <a:pt x="2" y="0"/>
                        </a:lnTo>
                        <a:lnTo>
                          <a:pt x="4" y="0"/>
                        </a:lnTo>
                        <a:lnTo>
                          <a:pt x="6" y="0"/>
                        </a:lnTo>
                        <a:lnTo>
                          <a:pt x="6" y="2"/>
                        </a:lnTo>
                        <a:lnTo>
                          <a:pt x="8" y="2"/>
                        </a:lnTo>
                        <a:lnTo>
                          <a:pt x="8" y="6"/>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1" name="Freeform 3027"/>
                  <p:cNvSpPr>
                    <a:spLocks/>
                  </p:cNvSpPr>
                  <p:nvPr/>
                </p:nvSpPr>
                <p:spPr bwMode="auto">
                  <a:xfrm>
                    <a:off x="3484" y="2718"/>
                    <a:ext cx="6" cy="4"/>
                  </a:xfrm>
                  <a:custGeom>
                    <a:avLst/>
                    <a:gdLst/>
                    <a:ahLst/>
                    <a:cxnLst>
                      <a:cxn ang="0">
                        <a:pos x="0" y="2"/>
                      </a:cxn>
                      <a:cxn ang="0">
                        <a:pos x="2" y="0"/>
                      </a:cxn>
                      <a:cxn ang="0">
                        <a:pos x="4" y="0"/>
                      </a:cxn>
                      <a:cxn ang="0">
                        <a:pos x="6" y="0"/>
                      </a:cxn>
                      <a:cxn ang="0">
                        <a:pos x="4" y="4"/>
                      </a:cxn>
                      <a:cxn ang="0">
                        <a:pos x="0" y="4"/>
                      </a:cxn>
                      <a:cxn ang="0">
                        <a:pos x="0" y="2"/>
                      </a:cxn>
                    </a:cxnLst>
                    <a:rect l="0" t="0" r="r" b="b"/>
                    <a:pathLst>
                      <a:path w="6" h="4">
                        <a:moveTo>
                          <a:pt x="0" y="2"/>
                        </a:moveTo>
                        <a:lnTo>
                          <a:pt x="2" y="0"/>
                        </a:lnTo>
                        <a:lnTo>
                          <a:pt x="4" y="0"/>
                        </a:lnTo>
                        <a:lnTo>
                          <a:pt x="6" y="0"/>
                        </a:lnTo>
                        <a:lnTo>
                          <a:pt x="4" y="4"/>
                        </a:lnTo>
                        <a:lnTo>
                          <a:pt x="0" y="4"/>
                        </a:lnTo>
                        <a:lnTo>
                          <a:pt x="0"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2" name="Freeform 3028"/>
                  <p:cNvSpPr>
                    <a:spLocks/>
                  </p:cNvSpPr>
                  <p:nvPr/>
                </p:nvSpPr>
                <p:spPr bwMode="auto">
                  <a:xfrm>
                    <a:off x="3502" y="2772"/>
                    <a:ext cx="6" cy="16"/>
                  </a:xfrm>
                  <a:custGeom>
                    <a:avLst/>
                    <a:gdLst/>
                    <a:ahLst/>
                    <a:cxnLst>
                      <a:cxn ang="0">
                        <a:pos x="4" y="0"/>
                      </a:cxn>
                      <a:cxn ang="0">
                        <a:pos x="6" y="2"/>
                      </a:cxn>
                      <a:cxn ang="0">
                        <a:pos x="6" y="4"/>
                      </a:cxn>
                      <a:cxn ang="0">
                        <a:pos x="4" y="4"/>
                      </a:cxn>
                      <a:cxn ang="0">
                        <a:pos x="4" y="6"/>
                      </a:cxn>
                      <a:cxn ang="0">
                        <a:pos x="2" y="14"/>
                      </a:cxn>
                      <a:cxn ang="0">
                        <a:pos x="0" y="16"/>
                      </a:cxn>
                      <a:cxn ang="0">
                        <a:pos x="0" y="12"/>
                      </a:cxn>
                      <a:cxn ang="0">
                        <a:pos x="0" y="10"/>
                      </a:cxn>
                      <a:cxn ang="0">
                        <a:pos x="0" y="8"/>
                      </a:cxn>
                      <a:cxn ang="0">
                        <a:pos x="2" y="8"/>
                      </a:cxn>
                      <a:cxn ang="0">
                        <a:pos x="0" y="8"/>
                      </a:cxn>
                      <a:cxn ang="0">
                        <a:pos x="0" y="6"/>
                      </a:cxn>
                      <a:cxn ang="0">
                        <a:pos x="4" y="0"/>
                      </a:cxn>
                    </a:cxnLst>
                    <a:rect l="0" t="0" r="r" b="b"/>
                    <a:pathLst>
                      <a:path w="6" h="16">
                        <a:moveTo>
                          <a:pt x="4" y="0"/>
                        </a:moveTo>
                        <a:lnTo>
                          <a:pt x="6" y="2"/>
                        </a:lnTo>
                        <a:lnTo>
                          <a:pt x="6" y="4"/>
                        </a:lnTo>
                        <a:lnTo>
                          <a:pt x="4" y="4"/>
                        </a:lnTo>
                        <a:lnTo>
                          <a:pt x="4" y="6"/>
                        </a:lnTo>
                        <a:lnTo>
                          <a:pt x="2" y="14"/>
                        </a:lnTo>
                        <a:lnTo>
                          <a:pt x="0" y="16"/>
                        </a:lnTo>
                        <a:lnTo>
                          <a:pt x="0" y="12"/>
                        </a:lnTo>
                        <a:lnTo>
                          <a:pt x="0" y="10"/>
                        </a:lnTo>
                        <a:lnTo>
                          <a:pt x="0" y="8"/>
                        </a:lnTo>
                        <a:lnTo>
                          <a:pt x="2" y="8"/>
                        </a:lnTo>
                        <a:lnTo>
                          <a:pt x="0" y="8"/>
                        </a:lnTo>
                        <a:lnTo>
                          <a:pt x="0" y="6"/>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3" name="Freeform 3029"/>
                  <p:cNvSpPr>
                    <a:spLocks/>
                  </p:cNvSpPr>
                  <p:nvPr/>
                </p:nvSpPr>
                <p:spPr bwMode="auto">
                  <a:xfrm>
                    <a:off x="3488" y="2784"/>
                    <a:ext cx="8" cy="8"/>
                  </a:xfrm>
                  <a:custGeom>
                    <a:avLst/>
                    <a:gdLst/>
                    <a:ahLst/>
                    <a:cxnLst>
                      <a:cxn ang="0">
                        <a:pos x="4" y="2"/>
                      </a:cxn>
                      <a:cxn ang="0">
                        <a:pos x="6" y="2"/>
                      </a:cxn>
                      <a:cxn ang="0">
                        <a:pos x="8" y="2"/>
                      </a:cxn>
                      <a:cxn ang="0">
                        <a:pos x="8" y="4"/>
                      </a:cxn>
                      <a:cxn ang="0">
                        <a:pos x="8" y="6"/>
                      </a:cxn>
                      <a:cxn ang="0">
                        <a:pos x="6" y="8"/>
                      </a:cxn>
                      <a:cxn ang="0">
                        <a:pos x="2" y="8"/>
                      </a:cxn>
                      <a:cxn ang="0">
                        <a:pos x="0" y="4"/>
                      </a:cxn>
                      <a:cxn ang="0">
                        <a:pos x="0" y="2"/>
                      </a:cxn>
                      <a:cxn ang="0">
                        <a:pos x="2" y="0"/>
                      </a:cxn>
                      <a:cxn ang="0">
                        <a:pos x="4" y="0"/>
                      </a:cxn>
                      <a:cxn ang="0">
                        <a:pos x="4" y="2"/>
                      </a:cxn>
                    </a:cxnLst>
                    <a:rect l="0" t="0" r="r" b="b"/>
                    <a:pathLst>
                      <a:path w="8" h="8">
                        <a:moveTo>
                          <a:pt x="4" y="2"/>
                        </a:moveTo>
                        <a:lnTo>
                          <a:pt x="6" y="2"/>
                        </a:lnTo>
                        <a:lnTo>
                          <a:pt x="8" y="2"/>
                        </a:lnTo>
                        <a:lnTo>
                          <a:pt x="8" y="4"/>
                        </a:lnTo>
                        <a:lnTo>
                          <a:pt x="8" y="6"/>
                        </a:lnTo>
                        <a:lnTo>
                          <a:pt x="6" y="8"/>
                        </a:lnTo>
                        <a:lnTo>
                          <a:pt x="2" y="8"/>
                        </a:lnTo>
                        <a:lnTo>
                          <a:pt x="0" y="4"/>
                        </a:lnTo>
                        <a:lnTo>
                          <a:pt x="0" y="2"/>
                        </a:lnTo>
                        <a:lnTo>
                          <a:pt x="2" y="0"/>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4" name="Freeform 3030"/>
                  <p:cNvSpPr>
                    <a:spLocks/>
                  </p:cNvSpPr>
                  <p:nvPr/>
                </p:nvSpPr>
                <p:spPr bwMode="auto">
                  <a:xfrm>
                    <a:off x="3454" y="2846"/>
                    <a:ext cx="16" cy="12"/>
                  </a:xfrm>
                  <a:custGeom>
                    <a:avLst/>
                    <a:gdLst/>
                    <a:ahLst/>
                    <a:cxnLst>
                      <a:cxn ang="0">
                        <a:pos x="14" y="0"/>
                      </a:cxn>
                      <a:cxn ang="0">
                        <a:pos x="16" y="0"/>
                      </a:cxn>
                      <a:cxn ang="0">
                        <a:pos x="16" y="2"/>
                      </a:cxn>
                      <a:cxn ang="0">
                        <a:pos x="14" y="2"/>
                      </a:cxn>
                      <a:cxn ang="0">
                        <a:pos x="10" y="6"/>
                      </a:cxn>
                      <a:cxn ang="0">
                        <a:pos x="8" y="8"/>
                      </a:cxn>
                      <a:cxn ang="0">
                        <a:pos x="6" y="12"/>
                      </a:cxn>
                      <a:cxn ang="0">
                        <a:pos x="0" y="8"/>
                      </a:cxn>
                      <a:cxn ang="0">
                        <a:pos x="12" y="0"/>
                      </a:cxn>
                      <a:cxn ang="0">
                        <a:pos x="12" y="2"/>
                      </a:cxn>
                      <a:cxn ang="0">
                        <a:pos x="14" y="0"/>
                      </a:cxn>
                    </a:cxnLst>
                    <a:rect l="0" t="0" r="r" b="b"/>
                    <a:pathLst>
                      <a:path w="16" h="12">
                        <a:moveTo>
                          <a:pt x="14" y="0"/>
                        </a:moveTo>
                        <a:lnTo>
                          <a:pt x="16" y="0"/>
                        </a:lnTo>
                        <a:lnTo>
                          <a:pt x="16" y="2"/>
                        </a:lnTo>
                        <a:lnTo>
                          <a:pt x="14" y="2"/>
                        </a:lnTo>
                        <a:lnTo>
                          <a:pt x="10" y="6"/>
                        </a:lnTo>
                        <a:lnTo>
                          <a:pt x="8" y="8"/>
                        </a:lnTo>
                        <a:lnTo>
                          <a:pt x="6" y="12"/>
                        </a:lnTo>
                        <a:lnTo>
                          <a:pt x="0" y="8"/>
                        </a:lnTo>
                        <a:lnTo>
                          <a:pt x="12" y="0"/>
                        </a:lnTo>
                        <a:lnTo>
                          <a:pt x="12" y="2"/>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5" name="Freeform 3031"/>
                  <p:cNvSpPr>
                    <a:spLocks/>
                  </p:cNvSpPr>
                  <p:nvPr/>
                </p:nvSpPr>
                <p:spPr bwMode="auto">
                  <a:xfrm>
                    <a:off x="3446" y="2864"/>
                    <a:ext cx="4" cy="8"/>
                  </a:xfrm>
                  <a:custGeom>
                    <a:avLst/>
                    <a:gdLst/>
                    <a:ahLst/>
                    <a:cxnLst>
                      <a:cxn ang="0">
                        <a:pos x="2" y="0"/>
                      </a:cxn>
                      <a:cxn ang="0">
                        <a:pos x="4" y="0"/>
                      </a:cxn>
                      <a:cxn ang="0">
                        <a:pos x="4" y="4"/>
                      </a:cxn>
                      <a:cxn ang="0">
                        <a:pos x="4" y="6"/>
                      </a:cxn>
                      <a:cxn ang="0">
                        <a:pos x="4" y="8"/>
                      </a:cxn>
                      <a:cxn ang="0">
                        <a:pos x="2" y="8"/>
                      </a:cxn>
                      <a:cxn ang="0">
                        <a:pos x="2" y="6"/>
                      </a:cxn>
                      <a:cxn ang="0">
                        <a:pos x="0" y="4"/>
                      </a:cxn>
                      <a:cxn ang="0">
                        <a:pos x="0" y="2"/>
                      </a:cxn>
                      <a:cxn ang="0">
                        <a:pos x="2" y="0"/>
                      </a:cxn>
                    </a:cxnLst>
                    <a:rect l="0" t="0" r="r" b="b"/>
                    <a:pathLst>
                      <a:path w="4" h="8">
                        <a:moveTo>
                          <a:pt x="2" y="0"/>
                        </a:moveTo>
                        <a:lnTo>
                          <a:pt x="4" y="0"/>
                        </a:lnTo>
                        <a:lnTo>
                          <a:pt x="4" y="4"/>
                        </a:lnTo>
                        <a:lnTo>
                          <a:pt x="4" y="6"/>
                        </a:lnTo>
                        <a:lnTo>
                          <a:pt x="4" y="8"/>
                        </a:lnTo>
                        <a:lnTo>
                          <a:pt x="2" y="8"/>
                        </a:lnTo>
                        <a:lnTo>
                          <a:pt x="2" y="6"/>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6" name="Freeform 3032"/>
                  <p:cNvSpPr>
                    <a:spLocks/>
                  </p:cNvSpPr>
                  <p:nvPr/>
                </p:nvSpPr>
                <p:spPr bwMode="auto">
                  <a:xfrm>
                    <a:off x="3412" y="2896"/>
                    <a:ext cx="20" cy="24"/>
                  </a:xfrm>
                  <a:custGeom>
                    <a:avLst/>
                    <a:gdLst/>
                    <a:ahLst/>
                    <a:cxnLst>
                      <a:cxn ang="0">
                        <a:pos x="18" y="0"/>
                      </a:cxn>
                      <a:cxn ang="0">
                        <a:pos x="20" y="2"/>
                      </a:cxn>
                      <a:cxn ang="0">
                        <a:pos x="20" y="4"/>
                      </a:cxn>
                      <a:cxn ang="0">
                        <a:pos x="18" y="6"/>
                      </a:cxn>
                      <a:cxn ang="0">
                        <a:pos x="18" y="8"/>
                      </a:cxn>
                      <a:cxn ang="0">
                        <a:pos x="8" y="12"/>
                      </a:cxn>
                      <a:cxn ang="0">
                        <a:pos x="6" y="12"/>
                      </a:cxn>
                      <a:cxn ang="0">
                        <a:pos x="6" y="14"/>
                      </a:cxn>
                      <a:cxn ang="0">
                        <a:pos x="4" y="20"/>
                      </a:cxn>
                      <a:cxn ang="0">
                        <a:pos x="6" y="20"/>
                      </a:cxn>
                      <a:cxn ang="0">
                        <a:pos x="6" y="22"/>
                      </a:cxn>
                      <a:cxn ang="0">
                        <a:pos x="4" y="24"/>
                      </a:cxn>
                      <a:cxn ang="0">
                        <a:pos x="2" y="24"/>
                      </a:cxn>
                      <a:cxn ang="0">
                        <a:pos x="0" y="20"/>
                      </a:cxn>
                      <a:cxn ang="0">
                        <a:pos x="2" y="20"/>
                      </a:cxn>
                      <a:cxn ang="0">
                        <a:pos x="2" y="18"/>
                      </a:cxn>
                      <a:cxn ang="0">
                        <a:pos x="4" y="18"/>
                      </a:cxn>
                      <a:cxn ang="0">
                        <a:pos x="4" y="16"/>
                      </a:cxn>
                      <a:cxn ang="0">
                        <a:pos x="2" y="14"/>
                      </a:cxn>
                      <a:cxn ang="0">
                        <a:pos x="4" y="12"/>
                      </a:cxn>
                      <a:cxn ang="0">
                        <a:pos x="6" y="12"/>
                      </a:cxn>
                      <a:cxn ang="0">
                        <a:pos x="10" y="10"/>
                      </a:cxn>
                      <a:cxn ang="0">
                        <a:pos x="10" y="8"/>
                      </a:cxn>
                      <a:cxn ang="0">
                        <a:pos x="8" y="8"/>
                      </a:cxn>
                      <a:cxn ang="0">
                        <a:pos x="8" y="6"/>
                      </a:cxn>
                      <a:cxn ang="0">
                        <a:pos x="10" y="6"/>
                      </a:cxn>
                      <a:cxn ang="0">
                        <a:pos x="12" y="8"/>
                      </a:cxn>
                      <a:cxn ang="0">
                        <a:pos x="14" y="6"/>
                      </a:cxn>
                      <a:cxn ang="0">
                        <a:pos x="18" y="0"/>
                      </a:cxn>
                    </a:cxnLst>
                    <a:rect l="0" t="0" r="r" b="b"/>
                    <a:pathLst>
                      <a:path w="20" h="24">
                        <a:moveTo>
                          <a:pt x="18" y="0"/>
                        </a:moveTo>
                        <a:lnTo>
                          <a:pt x="20" y="2"/>
                        </a:lnTo>
                        <a:lnTo>
                          <a:pt x="20" y="4"/>
                        </a:lnTo>
                        <a:lnTo>
                          <a:pt x="18" y="6"/>
                        </a:lnTo>
                        <a:lnTo>
                          <a:pt x="18" y="8"/>
                        </a:lnTo>
                        <a:lnTo>
                          <a:pt x="8" y="12"/>
                        </a:lnTo>
                        <a:lnTo>
                          <a:pt x="6" y="12"/>
                        </a:lnTo>
                        <a:lnTo>
                          <a:pt x="6" y="14"/>
                        </a:lnTo>
                        <a:lnTo>
                          <a:pt x="4" y="20"/>
                        </a:lnTo>
                        <a:lnTo>
                          <a:pt x="6" y="20"/>
                        </a:lnTo>
                        <a:lnTo>
                          <a:pt x="6" y="22"/>
                        </a:lnTo>
                        <a:lnTo>
                          <a:pt x="4" y="24"/>
                        </a:lnTo>
                        <a:lnTo>
                          <a:pt x="2" y="24"/>
                        </a:lnTo>
                        <a:lnTo>
                          <a:pt x="0" y="20"/>
                        </a:lnTo>
                        <a:lnTo>
                          <a:pt x="2" y="20"/>
                        </a:lnTo>
                        <a:lnTo>
                          <a:pt x="2" y="18"/>
                        </a:lnTo>
                        <a:lnTo>
                          <a:pt x="4" y="18"/>
                        </a:lnTo>
                        <a:lnTo>
                          <a:pt x="4" y="16"/>
                        </a:lnTo>
                        <a:lnTo>
                          <a:pt x="2" y="14"/>
                        </a:lnTo>
                        <a:lnTo>
                          <a:pt x="4" y="12"/>
                        </a:lnTo>
                        <a:lnTo>
                          <a:pt x="6" y="12"/>
                        </a:lnTo>
                        <a:lnTo>
                          <a:pt x="10" y="10"/>
                        </a:lnTo>
                        <a:lnTo>
                          <a:pt x="10" y="8"/>
                        </a:lnTo>
                        <a:lnTo>
                          <a:pt x="8" y="8"/>
                        </a:lnTo>
                        <a:lnTo>
                          <a:pt x="8" y="6"/>
                        </a:lnTo>
                        <a:lnTo>
                          <a:pt x="10" y="6"/>
                        </a:lnTo>
                        <a:lnTo>
                          <a:pt x="12" y="8"/>
                        </a:lnTo>
                        <a:lnTo>
                          <a:pt x="14" y="6"/>
                        </a:lnTo>
                        <a:lnTo>
                          <a:pt x="18"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7" name="Freeform 3033"/>
                  <p:cNvSpPr>
                    <a:spLocks/>
                  </p:cNvSpPr>
                  <p:nvPr/>
                </p:nvSpPr>
                <p:spPr bwMode="auto">
                  <a:xfrm>
                    <a:off x="3348" y="2956"/>
                    <a:ext cx="4" cy="6"/>
                  </a:xfrm>
                  <a:custGeom>
                    <a:avLst/>
                    <a:gdLst/>
                    <a:ahLst/>
                    <a:cxnLst>
                      <a:cxn ang="0">
                        <a:pos x="0" y="0"/>
                      </a:cxn>
                      <a:cxn ang="0">
                        <a:pos x="2" y="2"/>
                      </a:cxn>
                      <a:cxn ang="0">
                        <a:pos x="2" y="4"/>
                      </a:cxn>
                      <a:cxn ang="0">
                        <a:pos x="4" y="4"/>
                      </a:cxn>
                      <a:cxn ang="0">
                        <a:pos x="4" y="6"/>
                      </a:cxn>
                      <a:cxn ang="0">
                        <a:pos x="2" y="6"/>
                      </a:cxn>
                      <a:cxn ang="0">
                        <a:pos x="0" y="6"/>
                      </a:cxn>
                      <a:cxn ang="0">
                        <a:pos x="0" y="0"/>
                      </a:cxn>
                    </a:cxnLst>
                    <a:rect l="0" t="0" r="r" b="b"/>
                    <a:pathLst>
                      <a:path w="4" h="6">
                        <a:moveTo>
                          <a:pt x="0" y="0"/>
                        </a:moveTo>
                        <a:lnTo>
                          <a:pt x="2" y="2"/>
                        </a:lnTo>
                        <a:lnTo>
                          <a:pt x="2" y="4"/>
                        </a:lnTo>
                        <a:lnTo>
                          <a:pt x="4" y="4"/>
                        </a:lnTo>
                        <a:lnTo>
                          <a:pt x="4" y="6"/>
                        </a:lnTo>
                        <a:lnTo>
                          <a:pt x="2" y="6"/>
                        </a:lnTo>
                        <a:lnTo>
                          <a:pt x="0" y="6"/>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8" name="Freeform 3034"/>
                  <p:cNvSpPr>
                    <a:spLocks/>
                  </p:cNvSpPr>
                  <p:nvPr/>
                </p:nvSpPr>
                <p:spPr bwMode="auto">
                  <a:xfrm>
                    <a:off x="3314" y="2966"/>
                    <a:ext cx="8" cy="6"/>
                  </a:xfrm>
                  <a:custGeom>
                    <a:avLst/>
                    <a:gdLst/>
                    <a:ahLst/>
                    <a:cxnLst>
                      <a:cxn ang="0">
                        <a:pos x="2" y="4"/>
                      </a:cxn>
                      <a:cxn ang="0">
                        <a:pos x="6" y="4"/>
                      </a:cxn>
                      <a:cxn ang="0">
                        <a:pos x="6" y="0"/>
                      </a:cxn>
                      <a:cxn ang="0">
                        <a:pos x="8" y="0"/>
                      </a:cxn>
                      <a:cxn ang="0">
                        <a:pos x="6" y="0"/>
                      </a:cxn>
                      <a:cxn ang="0">
                        <a:pos x="6" y="2"/>
                      </a:cxn>
                      <a:cxn ang="0">
                        <a:pos x="6" y="4"/>
                      </a:cxn>
                      <a:cxn ang="0">
                        <a:pos x="6" y="6"/>
                      </a:cxn>
                      <a:cxn ang="0">
                        <a:pos x="2" y="6"/>
                      </a:cxn>
                      <a:cxn ang="0">
                        <a:pos x="0" y="4"/>
                      </a:cxn>
                      <a:cxn ang="0">
                        <a:pos x="2" y="4"/>
                      </a:cxn>
                    </a:cxnLst>
                    <a:rect l="0" t="0" r="r" b="b"/>
                    <a:pathLst>
                      <a:path w="8" h="6">
                        <a:moveTo>
                          <a:pt x="2" y="4"/>
                        </a:moveTo>
                        <a:lnTo>
                          <a:pt x="6" y="4"/>
                        </a:lnTo>
                        <a:lnTo>
                          <a:pt x="6" y="0"/>
                        </a:lnTo>
                        <a:lnTo>
                          <a:pt x="8" y="0"/>
                        </a:lnTo>
                        <a:lnTo>
                          <a:pt x="6" y="0"/>
                        </a:lnTo>
                        <a:lnTo>
                          <a:pt x="6" y="2"/>
                        </a:lnTo>
                        <a:lnTo>
                          <a:pt x="6" y="4"/>
                        </a:lnTo>
                        <a:lnTo>
                          <a:pt x="6" y="6"/>
                        </a:lnTo>
                        <a:lnTo>
                          <a:pt x="2" y="6"/>
                        </a:lnTo>
                        <a:lnTo>
                          <a:pt x="0"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9" name="Freeform 3035"/>
                  <p:cNvSpPr>
                    <a:spLocks/>
                  </p:cNvSpPr>
                  <p:nvPr/>
                </p:nvSpPr>
                <p:spPr bwMode="auto">
                  <a:xfrm>
                    <a:off x="3304" y="2970"/>
                    <a:ext cx="8" cy="6"/>
                  </a:xfrm>
                  <a:custGeom>
                    <a:avLst/>
                    <a:gdLst/>
                    <a:ahLst/>
                    <a:cxnLst>
                      <a:cxn ang="0">
                        <a:pos x="4" y="0"/>
                      </a:cxn>
                      <a:cxn ang="0">
                        <a:pos x="6" y="2"/>
                      </a:cxn>
                      <a:cxn ang="0">
                        <a:pos x="8" y="2"/>
                      </a:cxn>
                      <a:cxn ang="0">
                        <a:pos x="6" y="4"/>
                      </a:cxn>
                      <a:cxn ang="0">
                        <a:pos x="6" y="6"/>
                      </a:cxn>
                      <a:cxn ang="0">
                        <a:pos x="2" y="4"/>
                      </a:cxn>
                      <a:cxn ang="0">
                        <a:pos x="0" y="4"/>
                      </a:cxn>
                      <a:cxn ang="0">
                        <a:pos x="4" y="0"/>
                      </a:cxn>
                    </a:cxnLst>
                    <a:rect l="0" t="0" r="r" b="b"/>
                    <a:pathLst>
                      <a:path w="8" h="6">
                        <a:moveTo>
                          <a:pt x="4" y="0"/>
                        </a:moveTo>
                        <a:lnTo>
                          <a:pt x="6" y="2"/>
                        </a:lnTo>
                        <a:lnTo>
                          <a:pt x="8" y="2"/>
                        </a:lnTo>
                        <a:lnTo>
                          <a:pt x="6" y="4"/>
                        </a:lnTo>
                        <a:lnTo>
                          <a:pt x="6" y="6"/>
                        </a:lnTo>
                        <a:lnTo>
                          <a:pt x="2" y="4"/>
                        </a:lnTo>
                        <a:lnTo>
                          <a:pt x="0" y="4"/>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41" name="Freeform 3036"/>
                <p:cNvSpPr>
                  <a:spLocks/>
                </p:cNvSpPr>
                <p:nvPr/>
              </p:nvSpPr>
              <p:spPr bwMode="auto">
                <a:xfrm>
                  <a:off x="2804332" y="3503503"/>
                  <a:ext cx="964118" cy="885160"/>
                </a:xfrm>
                <a:custGeom>
                  <a:avLst/>
                  <a:gdLst/>
                  <a:ahLst/>
                  <a:cxnLst>
                    <a:cxn ang="0">
                      <a:pos x="144" y="238"/>
                    </a:cxn>
                    <a:cxn ang="0">
                      <a:pos x="150" y="216"/>
                    </a:cxn>
                    <a:cxn ang="0">
                      <a:pos x="168" y="192"/>
                    </a:cxn>
                    <a:cxn ang="0">
                      <a:pos x="184" y="188"/>
                    </a:cxn>
                    <a:cxn ang="0">
                      <a:pos x="202" y="176"/>
                    </a:cxn>
                    <a:cxn ang="0">
                      <a:pos x="228" y="176"/>
                    </a:cxn>
                    <a:cxn ang="0">
                      <a:pos x="234" y="150"/>
                    </a:cxn>
                    <a:cxn ang="0">
                      <a:pos x="258" y="124"/>
                    </a:cxn>
                    <a:cxn ang="0">
                      <a:pos x="248" y="108"/>
                    </a:cxn>
                    <a:cxn ang="0">
                      <a:pos x="276" y="86"/>
                    </a:cxn>
                    <a:cxn ang="0">
                      <a:pos x="292" y="58"/>
                    </a:cxn>
                    <a:cxn ang="0">
                      <a:pos x="298" y="22"/>
                    </a:cxn>
                    <a:cxn ang="0">
                      <a:pos x="344" y="6"/>
                    </a:cxn>
                    <a:cxn ang="0">
                      <a:pos x="374" y="2"/>
                    </a:cxn>
                    <a:cxn ang="0">
                      <a:pos x="398" y="10"/>
                    </a:cxn>
                    <a:cxn ang="0">
                      <a:pos x="414" y="28"/>
                    </a:cxn>
                    <a:cxn ang="0">
                      <a:pos x="418" y="40"/>
                    </a:cxn>
                    <a:cxn ang="0">
                      <a:pos x="436" y="48"/>
                    </a:cxn>
                    <a:cxn ang="0">
                      <a:pos x="444" y="68"/>
                    </a:cxn>
                    <a:cxn ang="0">
                      <a:pos x="420" y="82"/>
                    </a:cxn>
                    <a:cxn ang="0">
                      <a:pos x="396" y="84"/>
                    </a:cxn>
                    <a:cxn ang="0">
                      <a:pos x="370" y="78"/>
                    </a:cxn>
                    <a:cxn ang="0">
                      <a:pos x="354" y="92"/>
                    </a:cxn>
                    <a:cxn ang="0">
                      <a:pos x="358" y="102"/>
                    </a:cxn>
                    <a:cxn ang="0">
                      <a:pos x="358" y="114"/>
                    </a:cxn>
                    <a:cxn ang="0">
                      <a:pos x="364" y="136"/>
                    </a:cxn>
                    <a:cxn ang="0">
                      <a:pos x="378" y="152"/>
                    </a:cxn>
                    <a:cxn ang="0">
                      <a:pos x="388" y="168"/>
                    </a:cxn>
                    <a:cxn ang="0">
                      <a:pos x="376" y="186"/>
                    </a:cxn>
                    <a:cxn ang="0">
                      <a:pos x="378" y="200"/>
                    </a:cxn>
                    <a:cxn ang="0">
                      <a:pos x="358" y="228"/>
                    </a:cxn>
                    <a:cxn ang="0">
                      <a:pos x="332" y="260"/>
                    </a:cxn>
                    <a:cxn ang="0">
                      <a:pos x="304" y="288"/>
                    </a:cxn>
                    <a:cxn ang="0">
                      <a:pos x="282" y="302"/>
                    </a:cxn>
                    <a:cxn ang="0">
                      <a:pos x="252" y="304"/>
                    </a:cxn>
                    <a:cxn ang="0">
                      <a:pos x="240" y="336"/>
                    </a:cxn>
                    <a:cxn ang="0">
                      <a:pos x="252" y="358"/>
                    </a:cxn>
                    <a:cxn ang="0">
                      <a:pos x="274" y="384"/>
                    </a:cxn>
                    <a:cxn ang="0">
                      <a:pos x="278" y="402"/>
                    </a:cxn>
                    <a:cxn ang="0">
                      <a:pos x="266" y="406"/>
                    </a:cxn>
                    <a:cxn ang="0">
                      <a:pos x="224" y="408"/>
                    </a:cxn>
                    <a:cxn ang="0">
                      <a:pos x="200" y="424"/>
                    </a:cxn>
                    <a:cxn ang="0">
                      <a:pos x="196" y="420"/>
                    </a:cxn>
                    <a:cxn ang="0">
                      <a:pos x="184" y="420"/>
                    </a:cxn>
                    <a:cxn ang="0">
                      <a:pos x="174" y="404"/>
                    </a:cxn>
                    <a:cxn ang="0">
                      <a:pos x="160" y="384"/>
                    </a:cxn>
                    <a:cxn ang="0">
                      <a:pos x="144" y="370"/>
                    </a:cxn>
                    <a:cxn ang="0">
                      <a:pos x="128" y="376"/>
                    </a:cxn>
                    <a:cxn ang="0">
                      <a:pos x="104" y="380"/>
                    </a:cxn>
                    <a:cxn ang="0">
                      <a:pos x="86" y="374"/>
                    </a:cxn>
                    <a:cxn ang="0">
                      <a:pos x="72" y="378"/>
                    </a:cxn>
                    <a:cxn ang="0">
                      <a:pos x="56" y="380"/>
                    </a:cxn>
                    <a:cxn ang="0">
                      <a:pos x="32" y="384"/>
                    </a:cxn>
                    <a:cxn ang="0">
                      <a:pos x="22" y="376"/>
                    </a:cxn>
                    <a:cxn ang="0">
                      <a:pos x="40" y="346"/>
                    </a:cxn>
                    <a:cxn ang="0">
                      <a:pos x="60" y="336"/>
                    </a:cxn>
                    <a:cxn ang="0">
                      <a:pos x="56" y="320"/>
                    </a:cxn>
                    <a:cxn ang="0">
                      <a:pos x="44" y="284"/>
                    </a:cxn>
                    <a:cxn ang="0">
                      <a:pos x="0" y="236"/>
                    </a:cxn>
                  </a:cxnLst>
                  <a:rect l="0" t="0" r="r" b="b"/>
                  <a:pathLst>
                    <a:path w="464" h="426">
                      <a:moveTo>
                        <a:pt x="74" y="248"/>
                      </a:moveTo>
                      <a:lnTo>
                        <a:pt x="88" y="252"/>
                      </a:lnTo>
                      <a:lnTo>
                        <a:pt x="92" y="248"/>
                      </a:lnTo>
                      <a:lnTo>
                        <a:pt x="96" y="246"/>
                      </a:lnTo>
                      <a:lnTo>
                        <a:pt x="98" y="246"/>
                      </a:lnTo>
                      <a:lnTo>
                        <a:pt x="100" y="246"/>
                      </a:lnTo>
                      <a:lnTo>
                        <a:pt x="114" y="248"/>
                      </a:lnTo>
                      <a:lnTo>
                        <a:pt x="142" y="238"/>
                      </a:lnTo>
                      <a:lnTo>
                        <a:pt x="144" y="238"/>
                      </a:lnTo>
                      <a:lnTo>
                        <a:pt x="148" y="236"/>
                      </a:lnTo>
                      <a:lnTo>
                        <a:pt x="150" y="234"/>
                      </a:lnTo>
                      <a:lnTo>
                        <a:pt x="148" y="230"/>
                      </a:lnTo>
                      <a:lnTo>
                        <a:pt x="146" y="230"/>
                      </a:lnTo>
                      <a:lnTo>
                        <a:pt x="148" y="228"/>
                      </a:lnTo>
                      <a:lnTo>
                        <a:pt x="148" y="226"/>
                      </a:lnTo>
                      <a:lnTo>
                        <a:pt x="150" y="226"/>
                      </a:lnTo>
                      <a:lnTo>
                        <a:pt x="150" y="218"/>
                      </a:lnTo>
                      <a:lnTo>
                        <a:pt x="150" y="216"/>
                      </a:lnTo>
                      <a:lnTo>
                        <a:pt x="148" y="214"/>
                      </a:lnTo>
                      <a:lnTo>
                        <a:pt x="152" y="202"/>
                      </a:lnTo>
                      <a:lnTo>
                        <a:pt x="156" y="202"/>
                      </a:lnTo>
                      <a:lnTo>
                        <a:pt x="160" y="198"/>
                      </a:lnTo>
                      <a:lnTo>
                        <a:pt x="160" y="196"/>
                      </a:lnTo>
                      <a:lnTo>
                        <a:pt x="160" y="194"/>
                      </a:lnTo>
                      <a:lnTo>
                        <a:pt x="164" y="192"/>
                      </a:lnTo>
                      <a:lnTo>
                        <a:pt x="168" y="190"/>
                      </a:lnTo>
                      <a:lnTo>
                        <a:pt x="168" y="192"/>
                      </a:lnTo>
                      <a:lnTo>
                        <a:pt x="170" y="194"/>
                      </a:lnTo>
                      <a:lnTo>
                        <a:pt x="174" y="194"/>
                      </a:lnTo>
                      <a:lnTo>
                        <a:pt x="176" y="194"/>
                      </a:lnTo>
                      <a:lnTo>
                        <a:pt x="178" y="194"/>
                      </a:lnTo>
                      <a:lnTo>
                        <a:pt x="190" y="190"/>
                      </a:lnTo>
                      <a:lnTo>
                        <a:pt x="190" y="188"/>
                      </a:lnTo>
                      <a:lnTo>
                        <a:pt x="188" y="188"/>
                      </a:lnTo>
                      <a:lnTo>
                        <a:pt x="186" y="188"/>
                      </a:lnTo>
                      <a:lnTo>
                        <a:pt x="184" y="188"/>
                      </a:lnTo>
                      <a:lnTo>
                        <a:pt x="184" y="184"/>
                      </a:lnTo>
                      <a:lnTo>
                        <a:pt x="188" y="184"/>
                      </a:lnTo>
                      <a:lnTo>
                        <a:pt x="192" y="182"/>
                      </a:lnTo>
                      <a:lnTo>
                        <a:pt x="192" y="180"/>
                      </a:lnTo>
                      <a:lnTo>
                        <a:pt x="194" y="180"/>
                      </a:lnTo>
                      <a:lnTo>
                        <a:pt x="198" y="176"/>
                      </a:lnTo>
                      <a:lnTo>
                        <a:pt x="200" y="174"/>
                      </a:lnTo>
                      <a:lnTo>
                        <a:pt x="202" y="174"/>
                      </a:lnTo>
                      <a:lnTo>
                        <a:pt x="202" y="176"/>
                      </a:lnTo>
                      <a:lnTo>
                        <a:pt x="210" y="178"/>
                      </a:lnTo>
                      <a:lnTo>
                        <a:pt x="210" y="176"/>
                      </a:lnTo>
                      <a:lnTo>
                        <a:pt x="208" y="176"/>
                      </a:lnTo>
                      <a:lnTo>
                        <a:pt x="208" y="174"/>
                      </a:lnTo>
                      <a:lnTo>
                        <a:pt x="210" y="174"/>
                      </a:lnTo>
                      <a:lnTo>
                        <a:pt x="214" y="176"/>
                      </a:lnTo>
                      <a:lnTo>
                        <a:pt x="218" y="182"/>
                      </a:lnTo>
                      <a:lnTo>
                        <a:pt x="222" y="180"/>
                      </a:lnTo>
                      <a:lnTo>
                        <a:pt x="228" y="176"/>
                      </a:lnTo>
                      <a:lnTo>
                        <a:pt x="232" y="170"/>
                      </a:lnTo>
                      <a:lnTo>
                        <a:pt x="230" y="164"/>
                      </a:lnTo>
                      <a:lnTo>
                        <a:pt x="230" y="162"/>
                      </a:lnTo>
                      <a:lnTo>
                        <a:pt x="230" y="158"/>
                      </a:lnTo>
                      <a:lnTo>
                        <a:pt x="230" y="156"/>
                      </a:lnTo>
                      <a:lnTo>
                        <a:pt x="230" y="152"/>
                      </a:lnTo>
                      <a:lnTo>
                        <a:pt x="232" y="152"/>
                      </a:lnTo>
                      <a:lnTo>
                        <a:pt x="232" y="150"/>
                      </a:lnTo>
                      <a:lnTo>
                        <a:pt x="234" y="150"/>
                      </a:lnTo>
                      <a:lnTo>
                        <a:pt x="234" y="148"/>
                      </a:lnTo>
                      <a:lnTo>
                        <a:pt x="234" y="146"/>
                      </a:lnTo>
                      <a:lnTo>
                        <a:pt x="232" y="144"/>
                      </a:lnTo>
                      <a:lnTo>
                        <a:pt x="236" y="140"/>
                      </a:lnTo>
                      <a:lnTo>
                        <a:pt x="236" y="136"/>
                      </a:lnTo>
                      <a:lnTo>
                        <a:pt x="238" y="134"/>
                      </a:lnTo>
                      <a:lnTo>
                        <a:pt x="248" y="134"/>
                      </a:lnTo>
                      <a:lnTo>
                        <a:pt x="258" y="126"/>
                      </a:lnTo>
                      <a:lnTo>
                        <a:pt x="258" y="124"/>
                      </a:lnTo>
                      <a:lnTo>
                        <a:pt x="258" y="122"/>
                      </a:lnTo>
                      <a:lnTo>
                        <a:pt x="256" y="120"/>
                      </a:lnTo>
                      <a:lnTo>
                        <a:pt x="254" y="120"/>
                      </a:lnTo>
                      <a:lnTo>
                        <a:pt x="254" y="118"/>
                      </a:lnTo>
                      <a:lnTo>
                        <a:pt x="256" y="118"/>
                      </a:lnTo>
                      <a:lnTo>
                        <a:pt x="256" y="116"/>
                      </a:lnTo>
                      <a:lnTo>
                        <a:pt x="254" y="112"/>
                      </a:lnTo>
                      <a:lnTo>
                        <a:pt x="250" y="112"/>
                      </a:lnTo>
                      <a:lnTo>
                        <a:pt x="248" y="108"/>
                      </a:lnTo>
                      <a:lnTo>
                        <a:pt x="246" y="106"/>
                      </a:lnTo>
                      <a:lnTo>
                        <a:pt x="248" y="102"/>
                      </a:lnTo>
                      <a:lnTo>
                        <a:pt x="252" y="102"/>
                      </a:lnTo>
                      <a:lnTo>
                        <a:pt x="272" y="106"/>
                      </a:lnTo>
                      <a:lnTo>
                        <a:pt x="280" y="102"/>
                      </a:lnTo>
                      <a:lnTo>
                        <a:pt x="280" y="98"/>
                      </a:lnTo>
                      <a:lnTo>
                        <a:pt x="282" y="92"/>
                      </a:lnTo>
                      <a:lnTo>
                        <a:pt x="280" y="90"/>
                      </a:lnTo>
                      <a:lnTo>
                        <a:pt x="276" y="86"/>
                      </a:lnTo>
                      <a:lnTo>
                        <a:pt x="278" y="84"/>
                      </a:lnTo>
                      <a:lnTo>
                        <a:pt x="280" y="84"/>
                      </a:lnTo>
                      <a:lnTo>
                        <a:pt x="280" y="82"/>
                      </a:lnTo>
                      <a:lnTo>
                        <a:pt x="288" y="72"/>
                      </a:lnTo>
                      <a:lnTo>
                        <a:pt x="290" y="72"/>
                      </a:lnTo>
                      <a:lnTo>
                        <a:pt x="292" y="72"/>
                      </a:lnTo>
                      <a:lnTo>
                        <a:pt x="294" y="62"/>
                      </a:lnTo>
                      <a:lnTo>
                        <a:pt x="292" y="60"/>
                      </a:lnTo>
                      <a:lnTo>
                        <a:pt x="292" y="58"/>
                      </a:lnTo>
                      <a:lnTo>
                        <a:pt x="296" y="56"/>
                      </a:lnTo>
                      <a:lnTo>
                        <a:pt x="292" y="48"/>
                      </a:lnTo>
                      <a:lnTo>
                        <a:pt x="290" y="42"/>
                      </a:lnTo>
                      <a:lnTo>
                        <a:pt x="282" y="36"/>
                      </a:lnTo>
                      <a:lnTo>
                        <a:pt x="284" y="32"/>
                      </a:lnTo>
                      <a:lnTo>
                        <a:pt x="292" y="26"/>
                      </a:lnTo>
                      <a:lnTo>
                        <a:pt x="294" y="22"/>
                      </a:lnTo>
                      <a:lnTo>
                        <a:pt x="294" y="20"/>
                      </a:lnTo>
                      <a:lnTo>
                        <a:pt x="298" y="22"/>
                      </a:lnTo>
                      <a:lnTo>
                        <a:pt x="310" y="14"/>
                      </a:lnTo>
                      <a:lnTo>
                        <a:pt x="310" y="12"/>
                      </a:lnTo>
                      <a:lnTo>
                        <a:pt x="316" y="10"/>
                      </a:lnTo>
                      <a:lnTo>
                        <a:pt x="318" y="10"/>
                      </a:lnTo>
                      <a:lnTo>
                        <a:pt x="320" y="8"/>
                      </a:lnTo>
                      <a:lnTo>
                        <a:pt x="322" y="8"/>
                      </a:lnTo>
                      <a:lnTo>
                        <a:pt x="326" y="8"/>
                      </a:lnTo>
                      <a:lnTo>
                        <a:pt x="328" y="8"/>
                      </a:lnTo>
                      <a:lnTo>
                        <a:pt x="344" y="6"/>
                      </a:lnTo>
                      <a:lnTo>
                        <a:pt x="346" y="8"/>
                      </a:lnTo>
                      <a:lnTo>
                        <a:pt x="350" y="6"/>
                      </a:lnTo>
                      <a:lnTo>
                        <a:pt x="358" y="8"/>
                      </a:lnTo>
                      <a:lnTo>
                        <a:pt x="360" y="8"/>
                      </a:lnTo>
                      <a:lnTo>
                        <a:pt x="362" y="8"/>
                      </a:lnTo>
                      <a:lnTo>
                        <a:pt x="364" y="6"/>
                      </a:lnTo>
                      <a:lnTo>
                        <a:pt x="372" y="2"/>
                      </a:lnTo>
                      <a:lnTo>
                        <a:pt x="374" y="4"/>
                      </a:lnTo>
                      <a:lnTo>
                        <a:pt x="374" y="2"/>
                      </a:lnTo>
                      <a:lnTo>
                        <a:pt x="378" y="0"/>
                      </a:lnTo>
                      <a:lnTo>
                        <a:pt x="382" y="2"/>
                      </a:lnTo>
                      <a:lnTo>
                        <a:pt x="392" y="2"/>
                      </a:lnTo>
                      <a:lnTo>
                        <a:pt x="392" y="4"/>
                      </a:lnTo>
                      <a:lnTo>
                        <a:pt x="394" y="4"/>
                      </a:lnTo>
                      <a:lnTo>
                        <a:pt x="396" y="4"/>
                      </a:lnTo>
                      <a:lnTo>
                        <a:pt x="398" y="6"/>
                      </a:lnTo>
                      <a:lnTo>
                        <a:pt x="398" y="8"/>
                      </a:lnTo>
                      <a:lnTo>
                        <a:pt x="398" y="10"/>
                      </a:lnTo>
                      <a:lnTo>
                        <a:pt x="398" y="12"/>
                      </a:lnTo>
                      <a:lnTo>
                        <a:pt x="402" y="12"/>
                      </a:lnTo>
                      <a:lnTo>
                        <a:pt x="402" y="10"/>
                      </a:lnTo>
                      <a:lnTo>
                        <a:pt x="404" y="10"/>
                      </a:lnTo>
                      <a:lnTo>
                        <a:pt x="406" y="12"/>
                      </a:lnTo>
                      <a:lnTo>
                        <a:pt x="408" y="12"/>
                      </a:lnTo>
                      <a:lnTo>
                        <a:pt x="412" y="16"/>
                      </a:lnTo>
                      <a:lnTo>
                        <a:pt x="414" y="20"/>
                      </a:lnTo>
                      <a:lnTo>
                        <a:pt x="414" y="28"/>
                      </a:lnTo>
                      <a:lnTo>
                        <a:pt x="414" y="32"/>
                      </a:lnTo>
                      <a:lnTo>
                        <a:pt x="412" y="32"/>
                      </a:lnTo>
                      <a:lnTo>
                        <a:pt x="412" y="34"/>
                      </a:lnTo>
                      <a:lnTo>
                        <a:pt x="412" y="36"/>
                      </a:lnTo>
                      <a:lnTo>
                        <a:pt x="414" y="36"/>
                      </a:lnTo>
                      <a:lnTo>
                        <a:pt x="414" y="38"/>
                      </a:lnTo>
                      <a:lnTo>
                        <a:pt x="416" y="36"/>
                      </a:lnTo>
                      <a:lnTo>
                        <a:pt x="418" y="38"/>
                      </a:lnTo>
                      <a:lnTo>
                        <a:pt x="418" y="40"/>
                      </a:lnTo>
                      <a:lnTo>
                        <a:pt x="418" y="42"/>
                      </a:lnTo>
                      <a:lnTo>
                        <a:pt x="420" y="44"/>
                      </a:lnTo>
                      <a:lnTo>
                        <a:pt x="422" y="44"/>
                      </a:lnTo>
                      <a:lnTo>
                        <a:pt x="430" y="40"/>
                      </a:lnTo>
                      <a:lnTo>
                        <a:pt x="430" y="44"/>
                      </a:lnTo>
                      <a:lnTo>
                        <a:pt x="432" y="46"/>
                      </a:lnTo>
                      <a:lnTo>
                        <a:pt x="434" y="46"/>
                      </a:lnTo>
                      <a:lnTo>
                        <a:pt x="434" y="48"/>
                      </a:lnTo>
                      <a:lnTo>
                        <a:pt x="436" y="48"/>
                      </a:lnTo>
                      <a:lnTo>
                        <a:pt x="452" y="54"/>
                      </a:lnTo>
                      <a:lnTo>
                        <a:pt x="458" y="54"/>
                      </a:lnTo>
                      <a:lnTo>
                        <a:pt x="460" y="54"/>
                      </a:lnTo>
                      <a:lnTo>
                        <a:pt x="462" y="54"/>
                      </a:lnTo>
                      <a:lnTo>
                        <a:pt x="464" y="54"/>
                      </a:lnTo>
                      <a:lnTo>
                        <a:pt x="462" y="54"/>
                      </a:lnTo>
                      <a:lnTo>
                        <a:pt x="444" y="66"/>
                      </a:lnTo>
                      <a:lnTo>
                        <a:pt x="442" y="66"/>
                      </a:lnTo>
                      <a:lnTo>
                        <a:pt x="444" y="68"/>
                      </a:lnTo>
                      <a:lnTo>
                        <a:pt x="444" y="70"/>
                      </a:lnTo>
                      <a:lnTo>
                        <a:pt x="442" y="70"/>
                      </a:lnTo>
                      <a:lnTo>
                        <a:pt x="440" y="76"/>
                      </a:lnTo>
                      <a:lnTo>
                        <a:pt x="438" y="82"/>
                      </a:lnTo>
                      <a:lnTo>
                        <a:pt x="436" y="82"/>
                      </a:lnTo>
                      <a:lnTo>
                        <a:pt x="434" y="78"/>
                      </a:lnTo>
                      <a:lnTo>
                        <a:pt x="426" y="78"/>
                      </a:lnTo>
                      <a:lnTo>
                        <a:pt x="422" y="80"/>
                      </a:lnTo>
                      <a:lnTo>
                        <a:pt x="420" y="82"/>
                      </a:lnTo>
                      <a:lnTo>
                        <a:pt x="420" y="84"/>
                      </a:lnTo>
                      <a:lnTo>
                        <a:pt x="418" y="84"/>
                      </a:lnTo>
                      <a:lnTo>
                        <a:pt x="416" y="84"/>
                      </a:lnTo>
                      <a:lnTo>
                        <a:pt x="414" y="82"/>
                      </a:lnTo>
                      <a:lnTo>
                        <a:pt x="414" y="84"/>
                      </a:lnTo>
                      <a:lnTo>
                        <a:pt x="412" y="84"/>
                      </a:lnTo>
                      <a:lnTo>
                        <a:pt x="410" y="84"/>
                      </a:lnTo>
                      <a:lnTo>
                        <a:pt x="408" y="86"/>
                      </a:lnTo>
                      <a:lnTo>
                        <a:pt x="396" y="84"/>
                      </a:lnTo>
                      <a:lnTo>
                        <a:pt x="394" y="84"/>
                      </a:lnTo>
                      <a:lnTo>
                        <a:pt x="390" y="84"/>
                      </a:lnTo>
                      <a:lnTo>
                        <a:pt x="388" y="82"/>
                      </a:lnTo>
                      <a:lnTo>
                        <a:pt x="378" y="80"/>
                      </a:lnTo>
                      <a:lnTo>
                        <a:pt x="376" y="80"/>
                      </a:lnTo>
                      <a:lnTo>
                        <a:pt x="374" y="80"/>
                      </a:lnTo>
                      <a:lnTo>
                        <a:pt x="374" y="78"/>
                      </a:lnTo>
                      <a:lnTo>
                        <a:pt x="372" y="78"/>
                      </a:lnTo>
                      <a:lnTo>
                        <a:pt x="370" y="78"/>
                      </a:lnTo>
                      <a:lnTo>
                        <a:pt x="368" y="78"/>
                      </a:lnTo>
                      <a:lnTo>
                        <a:pt x="366" y="78"/>
                      </a:lnTo>
                      <a:lnTo>
                        <a:pt x="364" y="80"/>
                      </a:lnTo>
                      <a:lnTo>
                        <a:pt x="362" y="80"/>
                      </a:lnTo>
                      <a:lnTo>
                        <a:pt x="360" y="82"/>
                      </a:lnTo>
                      <a:lnTo>
                        <a:pt x="358" y="82"/>
                      </a:lnTo>
                      <a:lnTo>
                        <a:pt x="356" y="86"/>
                      </a:lnTo>
                      <a:lnTo>
                        <a:pt x="354" y="90"/>
                      </a:lnTo>
                      <a:lnTo>
                        <a:pt x="354" y="92"/>
                      </a:lnTo>
                      <a:lnTo>
                        <a:pt x="356" y="94"/>
                      </a:lnTo>
                      <a:lnTo>
                        <a:pt x="358" y="94"/>
                      </a:lnTo>
                      <a:lnTo>
                        <a:pt x="360" y="96"/>
                      </a:lnTo>
                      <a:lnTo>
                        <a:pt x="360" y="98"/>
                      </a:lnTo>
                      <a:lnTo>
                        <a:pt x="358" y="98"/>
                      </a:lnTo>
                      <a:lnTo>
                        <a:pt x="358" y="100"/>
                      </a:lnTo>
                      <a:lnTo>
                        <a:pt x="356" y="100"/>
                      </a:lnTo>
                      <a:lnTo>
                        <a:pt x="356" y="102"/>
                      </a:lnTo>
                      <a:lnTo>
                        <a:pt x="358" y="102"/>
                      </a:lnTo>
                      <a:lnTo>
                        <a:pt x="366" y="102"/>
                      </a:lnTo>
                      <a:lnTo>
                        <a:pt x="368" y="104"/>
                      </a:lnTo>
                      <a:lnTo>
                        <a:pt x="368" y="106"/>
                      </a:lnTo>
                      <a:lnTo>
                        <a:pt x="366" y="108"/>
                      </a:lnTo>
                      <a:lnTo>
                        <a:pt x="364" y="108"/>
                      </a:lnTo>
                      <a:lnTo>
                        <a:pt x="360" y="108"/>
                      </a:lnTo>
                      <a:lnTo>
                        <a:pt x="360" y="110"/>
                      </a:lnTo>
                      <a:lnTo>
                        <a:pt x="360" y="112"/>
                      </a:lnTo>
                      <a:lnTo>
                        <a:pt x="358" y="114"/>
                      </a:lnTo>
                      <a:lnTo>
                        <a:pt x="360" y="116"/>
                      </a:lnTo>
                      <a:lnTo>
                        <a:pt x="362" y="116"/>
                      </a:lnTo>
                      <a:lnTo>
                        <a:pt x="364" y="120"/>
                      </a:lnTo>
                      <a:lnTo>
                        <a:pt x="362" y="124"/>
                      </a:lnTo>
                      <a:lnTo>
                        <a:pt x="362" y="126"/>
                      </a:lnTo>
                      <a:lnTo>
                        <a:pt x="360" y="128"/>
                      </a:lnTo>
                      <a:lnTo>
                        <a:pt x="360" y="130"/>
                      </a:lnTo>
                      <a:lnTo>
                        <a:pt x="360" y="132"/>
                      </a:lnTo>
                      <a:lnTo>
                        <a:pt x="364" y="136"/>
                      </a:lnTo>
                      <a:lnTo>
                        <a:pt x="368" y="136"/>
                      </a:lnTo>
                      <a:lnTo>
                        <a:pt x="370" y="140"/>
                      </a:lnTo>
                      <a:lnTo>
                        <a:pt x="368" y="142"/>
                      </a:lnTo>
                      <a:lnTo>
                        <a:pt x="370" y="144"/>
                      </a:lnTo>
                      <a:lnTo>
                        <a:pt x="374" y="144"/>
                      </a:lnTo>
                      <a:lnTo>
                        <a:pt x="376" y="144"/>
                      </a:lnTo>
                      <a:lnTo>
                        <a:pt x="378" y="146"/>
                      </a:lnTo>
                      <a:lnTo>
                        <a:pt x="378" y="150"/>
                      </a:lnTo>
                      <a:lnTo>
                        <a:pt x="378" y="152"/>
                      </a:lnTo>
                      <a:lnTo>
                        <a:pt x="380" y="154"/>
                      </a:lnTo>
                      <a:lnTo>
                        <a:pt x="388" y="154"/>
                      </a:lnTo>
                      <a:lnTo>
                        <a:pt x="396" y="158"/>
                      </a:lnTo>
                      <a:lnTo>
                        <a:pt x="396" y="160"/>
                      </a:lnTo>
                      <a:lnTo>
                        <a:pt x="398" y="160"/>
                      </a:lnTo>
                      <a:lnTo>
                        <a:pt x="398" y="162"/>
                      </a:lnTo>
                      <a:lnTo>
                        <a:pt x="394" y="166"/>
                      </a:lnTo>
                      <a:lnTo>
                        <a:pt x="392" y="166"/>
                      </a:lnTo>
                      <a:lnTo>
                        <a:pt x="388" y="168"/>
                      </a:lnTo>
                      <a:lnTo>
                        <a:pt x="386" y="168"/>
                      </a:lnTo>
                      <a:lnTo>
                        <a:pt x="386" y="166"/>
                      </a:lnTo>
                      <a:lnTo>
                        <a:pt x="384" y="166"/>
                      </a:lnTo>
                      <a:lnTo>
                        <a:pt x="380" y="170"/>
                      </a:lnTo>
                      <a:lnTo>
                        <a:pt x="378" y="172"/>
                      </a:lnTo>
                      <a:lnTo>
                        <a:pt x="376" y="172"/>
                      </a:lnTo>
                      <a:lnTo>
                        <a:pt x="374" y="178"/>
                      </a:lnTo>
                      <a:lnTo>
                        <a:pt x="374" y="180"/>
                      </a:lnTo>
                      <a:lnTo>
                        <a:pt x="376" y="186"/>
                      </a:lnTo>
                      <a:lnTo>
                        <a:pt x="376" y="188"/>
                      </a:lnTo>
                      <a:lnTo>
                        <a:pt x="374" y="190"/>
                      </a:lnTo>
                      <a:lnTo>
                        <a:pt x="374" y="196"/>
                      </a:lnTo>
                      <a:lnTo>
                        <a:pt x="374" y="198"/>
                      </a:lnTo>
                      <a:lnTo>
                        <a:pt x="376" y="198"/>
                      </a:lnTo>
                      <a:lnTo>
                        <a:pt x="376" y="196"/>
                      </a:lnTo>
                      <a:lnTo>
                        <a:pt x="378" y="198"/>
                      </a:lnTo>
                      <a:lnTo>
                        <a:pt x="380" y="198"/>
                      </a:lnTo>
                      <a:lnTo>
                        <a:pt x="378" y="200"/>
                      </a:lnTo>
                      <a:lnTo>
                        <a:pt x="368" y="206"/>
                      </a:lnTo>
                      <a:lnTo>
                        <a:pt x="366" y="208"/>
                      </a:lnTo>
                      <a:lnTo>
                        <a:pt x="360" y="214"/>
                      </a:lnTo>
                      <a:lnTo>
                        <a:pt x="360" y="216"/>
                      </a:lnTo>
                      <a:lnTo>
                        <a:pt x="356" y="222"/>
                      </a:lnTo>
                      <a:lnTo>
                        <a:pt x="358" y="222"/>
                      </a:lnTo>
                      <a:lnTo>
                        <a:pt x="358" y="224"/>
                      </a:lnTo>
                      <a:lnTo>
                        <a:pt x="358" y="226"/>
                      </a:lnTo>
                      <a:lnTo>
                        <a:pt x="358" y="228"/>
                      </a:lnTo>
                      <a:lnTo>
                        <a:pt x="352" y="230"/>
                      </a:lnTo>
                      <a:lnTo>
                        <a:pt x="350" y="230"/>
                      </a:lnTo>
                      <a:lnTo>
                        <a:pt x="344" y="234"/>
                      </a:lnTo>
                      <a:lnTo>
                        <a:pt x="340" y="240"/>
                      </a:lnTo>
                      <a:lnTo>
                        <a:pt x="340" y="246"/>
                      </a:lnTo>
                      <a:lnTo>
                        <a:pt x="338" y="246"/>
                      </a:lnTo>
                      <a:lnTo>
                        <a:pt x="334" y="256"/>
                      </a:lnTo>
                      <a:lnTo>
                        <a:pt x="332" y="258"/>
                      </a:lnTo>
                      <a:lnTo>
                        <a:pt x="332" y="260"/>
                      </a:lnTo>
                      <a:lnTo>
                        <a:pt x="330" y="262"/>
                      </a:lnTo>
                      <a:lnTo>
                        <a:pt x="328" y="264"/>
                      </a:lnTo>
                      <a:lnTo>
                        <a:pt x="324" y="266"/>
                      </a:lnTo>
                      <a:lnTo>
                        <a:pt x="316" y="272"/>
                      </a:lnTo>
                      <a:lnTo>
                        <a:pt x="312" y="274"/>
                      </a:lnTo>
                      <a:lnTo>
                        <a:pt x="310" y="282"/>
                      </a:lnTo>
                      <a:lnTo>
                        <a:pt x="308" y="284"/>
                      </a:lnTo>
                      <a:lnTo>
                        <a:pt x="308" y="286"/>
                      </a:lnTo>
                      <a:lnTo>
                        <a:pt x="304" y="288"/>
                      </a:lnTo>
                      <a:lnTo>
                        <a:pt x="302" y="292"/>
                      </a:lnTo>
                      <a:lnTo>
                        <a:pt x="302" y="296"/>
                      </a:lnTo>
                      <a:lnTo>
                        <a:pt x="296" y="298"/>
                      </a:lnTo>
                      <a:lnTo>
                        <a:pt x="294" y="298"/>
                      </a:lnTo>
                      <a:lnTo>
                        <a:pt x="294" y="300"/>
                      </a:lnTo>
                      <a:lnTo>
                        <a:pt x="286" y="300"/>
                      </a:lnTo>
                      <a:lnTo>
                        <a:pt x="284" y="300"/>
                      </a:lnTo>
                      <a:lnTo>
                        <a:pt x="282" y="300"/>
                      </a:lnTo>
                      <a:lnTo>
                        <a:pt x="282" y="302"/>
                      </a:lnTo>
                      <a:lnTo>
                        <a:pt x="280" y="302"/>
                      </a:lnTo>
                      <a:lnTo>
                        <a:pt x="274" y="304"/>
                      </a:lnTo>
                      <a:lnTo>
                        <a:pt x="272" y="304"/>
                      </a:lnTo>
                      <a:lnTo>
                        <a:pt x="268" y="300"/>
                      </a:lnTo>
                      <a:lnTo>
                        <a:pt x="268" y="296"/>
                      </a:lnTo>
                      <a:lnTo>
                        <a:pt x="266" y="294"/>
                      </a:lnTo>
                      <a:lnTo>
                        <a:pt x="260" y="294"/>
                      </a:lnTo>
                      <a:lnTo>
                        <a:pt x="256" y="298"/>
                      </a:lnTo>
                      <a:lnTo>
                        <a:pt x="252" y="304"/>
                      </a:lnTo>
                      <a:lnTo>
                        <a:pt x="252" y="306"/>
                      </a:lnTo>
                      <a:lnTo>
                        <a:pt x="250" y="308"/>
                      </a:lnTo>
                      <a:lnTo>
                        <a:pt x="246" y="314"/>
                      </a:lnTo>
                      <a:lnTo>
                        <a:pt x="242" y="318"/>
                      </a:lnTo>
                      <a:lnTo>
                        <a:pt x="238" y="320"/>
                      </a:lnTo>
                      <a:lnTo>
                        <a:pt x="236" y="332"/>
                      </a:lnTo>
                      <a:lnTo>
                        <a:pt x="236" y="334"/>
                      </a:lnTo>
                      <a:lnTo>
                        <a:pt x="238" y="334"/>
                      </a:lnTo>
                      <a:lnTo>
                        <a:pt x="240" y="336"/>
                      </a:lnTo>
                      <a:lnTo>
                        <a:pt x="242" y="336"/>
                      </a:lnTo>
                      <a:lnTo>
                        <a:pt x="244" y="338"/>
                      </a:lnTo>
                      <a:lnTo>
                        <a:pt x="252" y="338"/>
                      </a:lnTo>
                      <a:lnTo>
                        <a:pt x="254" y="340"/>
                      </a:lnTo>
                      <a:lnTo>
                        <a:pt x="256" y="340"/>
                      </a:lnTo>
                      <a:lnTo>
                        <a:pt x="254" y="350"/>
                      </a:lnTo>
                      <a:lnTo>
                        <a:pt x="254" y="352"/>
                      </a:lnTo>
                      <a:lnTo>
                        <a:pt x="252" y="354"/>
                      </a:lnTo>
                      <a:lnTo>
                        <a:pt x="252" y="358"/>
                      </a:lnTo>
                      <a:lnTo>
                        <a:pt x="258" y="366"/>
                      </a:lnTo>
                      <a:lnTo>
                        <a:pt x="260" y="366"/>
                      </a:lnTo>
                      <a:lnTo>
                        <a:pt x="266" y="366"/>
                      </a:lnTo>
                      <a:lnTo>
                        <a:pt x="268" y="366"/>
                      </a:lnTo>
                      <a:lnTo>
                        <a:pt x="268" y="368"/>
                      </a:lnTo>
                      <a:lnTo>
                        <a:pt x="268" y="374"/>
                      </a:lnTo>
                      <a:lnTo>
                        <a:pt x="270" y="378"/>
                      </a:lnTo>
                      <a:lnTo>
                        <a:pt x="274" y="382"/>
                      </a:lnTo>
                      <a:lnTo>
                        <a:pt x="274" y="384"/>
                      </a:lnTo>
                      <a:lnTo>
                        <a:pt x="274" y="386"/>
                      </a:lnTo>
                      <a:lnTo>
                        <a:pt x="276" y="388"/>
                      </a:lnTo>
                      <a:lnTo>
                        <a:pt x="276" y="390"/>
                      </a:lnTo>
                      <a:lnTo>
                        <a:pt x="278" y="392"/>
                      </a:lnTo>
                      <a:lnTo>
                        <a:pt x="280" y="396"/>
                      </a:lnTo>
                      <a:lnTo>
                        <a:pt x="278" y="398"/>
                      </a:lnTo>
                      <a:lnTo>
                        <a:pt x="276" y="398"/>
                      </a:lnTo>
                      <a:lnTo>
                        <a:pt x="276" y="400"/>
                      </a:lnTo>
                      <a:lnTo>
                        <a:pt x="278" y="402"/>
                      </a:lnTo>
                      <a:lnTo>
                        <a:pt x="278" y="404"/>
                      </a:lnTo>
                      <a:lnTo>
                        <a:pt x="280" y="404"/>
                      </a:lnTo>
                      <a:lnTo>
                        <a:pt x="278" y="406"/>
                      </a:lnTo>
                      <a:lnTo>
                        <a:pt x="276" y="406"/>
                      </a:lnTo>
                      <a:lnTo>
                        <a:pt x="274" y="408"/>
                      </a:lnTo>
                      <a:lnTo>
                        <a:pt x="272" y="410"/>
                      </a:lnTo>
                      <a:lnTo>
                        <a:pt x="268" y="410"/>
                      </a:lnTo>
                      <a:lnTo>
                        <a:pt x="266" y="408"/>
                      </a:lnTo>
                      <a:lnTo>
                        <a:pt x="266" y="406"/>
                      </a:lnTo>
                      <a:lnTo>
                        <a:pt x="266" y="404"/>
                      </a:lnTo>
                      <a:lnTo>
                        <a:pt x="256" y="408"/>
                      </a:lnTo>
                      <a:lnTo>
                        <a:pt x="254" y="408"/>
                      </a:lnTo>
                      <a:lnTo>
                        <a:pt x="252" y="410"/>
                      </a:lnTo>
                      <a:lnTo>
                        <a:pt x="252" y="412"/>
                      </a:lnTo>
                      <a:lnTo>
                        <a:pt x="250" y="412"/>
                      </a:lnTo>
                      <a:lnTo>
                        <a:pt x="242" y="412"/>
                      </a:lnTo>
                      <a:lnTo>
                        <a:pt x="238" y="408"/>
                      </a:lnTo>
                      <a:lnTo>
                        <a:pt x="224" y="408"/>
                      </a:lnTo>
                      <a:lnTo>
                        <a:pt x="222" y="408"/>
                      </a:lnTo>
                      <a:lnTo>
                        <a:pt x="222" y="406"/>
                      </a:lnTo>
                      <a:lnTo>
                        <a:pt x="216" y="406"/>
                      </a:lnTo>
                      <a:lnTo>
                        <a:pt x="216" y="408"/>
                      </a:lnTo>
                      <a:lnTo>
                        <a:pt x="216" y="418"/>
                      </a:lnTo>
                      <a:lnTo>
                        <a:pt x="206" y="418"/>
                      </a:lnTo>
                      <a:lnTo>
                        <a:pt x="204" y="418"/>
                      </a:lnTo>
                      <a:lnTo>
                        <a:pt x="200" y="422"/>
                      </a:lnTo>
                      <a:lnTo>
                        <a:pt x="200" y="424"/>
                      </a:lnTo>
                      <a:lnTo>
                        <a:pt x="200" y="422"/>
                      </a:lnTo>
                      <a:lnTo>
                        <a:pt x="200" y="420"/>
                      </a:lnTo>
                      <a:lnTo>
                        <a:pt x="198" y="424"/>
                      </a:lnTo>
                      <a:lnTo>
                        <a:pt x="200" y="426"/>
                      </a:lnTo>
                      <a:lnTo>
                        <a:pt x="196" y="424"/>
                      </a:lnTo>
                      <a:lnTo>
                        <a:pt x="198" y="424"/>
                      </a:lnTo>
                      <a:lnTo>
                        <a:pt x="196" y="420"/>
                      </a:lnTo>
                      <a:lnTo>
                        <a:pt x="196" y="418"/>
                      </a:lnTo>
                      <a:lnTo>
                        <a:pt x="196" y="420"/>
                      </a:lnTo>
                      <a:lnTo>
                        <a:pt x="196" y="422"/>
                      </a:lnTo>
                      <a:lnTo>
                        <a:pt x="196" y="424"/>
                      </a:lnTo>
                      <a:lnTo>
                        <a:pt x="194" y="422"/>
                      </a:lnTo>
                      <a:lnTo>
                        <a:pt x="192" y="422"/>
                      </a:lnTo>
                      <a:lnTo>
                        <a:pt x="192" y="420"/>
                      </a:lnTo>
                      <a:lnTo>
                        <a:pt x="192" y="422"/>
                      </a:lnTo>
                      <a:lnTo>
                        <a:pt x="186" y="424"/>
                      </a:lnTo>
                      <a:lnTo>
                        <a:pt x="184" y="422"/>
                      </a:lnTo>
                      <a:lnTo>
                        <a:pt x="184" y="420"/>
                      </a:lnTo>
                      <a:lnTo>
                        <a:pt x="182" y="420"/>
                      </a:lnTo>
                      <a:lnTo>
                        <a:pt x="182" y="418"/>
                      </a:lnTo>
                      <a:lnTo>
                        <a:pt x="180" y="416"/>
                      </a:lnTo>
                      <a:lnTo>
                        <a:pt x="180" y="414"/>
                      </a:lnTo>
                      <a:lnTo>
                        <a:pt x="180" y="416"/>
                      </a:lnTo>
                      <a:lnTo>
                        <a:pt x="178" y="414"/>
                      </a:lnTo>
                      <a:lnTo>
                        <a:pt x="176" y="412"/>
                      </a:lnTo>
                      <a:lnTo>
                        <a:pt x="176" y="404"/>
                      </a:lnTo>
                      <a:lnTo>
                        <a:pt x="174" y="404"/>
                      </a:lnTo>
                      <a:lnTo>
                        <a:pt x="172" y="398"/>
                      </a:lnTo>
                      <a:lnTo>
                        <a:pt x="174" y="396"/>
                      </a:lnTo>
                      <a:lnTo>
                        <a:pt x="174" y="394"/>
                      </a:lnTo>
                      <a:lnTo>
                        <a:pt x="160" y="392"/>
                      </a:lnTo>
                      <a:lnTo>
                        <a:pt x="158" y="392"/>
                      </a:lnTo>
                      <a:lnTo>
                        <a:pt x="158" y="390"/>
                      </a:lnTo>
                      <a:lnTo>
                        <a:pt x="160" y="390"/>
                      </a:lnTo>
                      <a:lnTo>
                        <a:pt x="158" y="390"/>
                      </a:lnTo>
                      <a:lnTo>
                        <a:pt x="160" y="384"/>
                      </a:lnTo>
                      <a:lnTo>
                        <a:pt x="160" y="380"/>
                      </a:lnTo>
                      <a:lnTo>
                        <a:pt x="156" y="378"/>
                      </a:lnTo>
                      <a:lnTo>
                        <a:pt x="156" y="374"/>
                      </a:lnTo>
                      <a:lnTo>
                        <a:pt x="156" y="372"/>
                      </a:lnTo>
                      <a:lnTo>
                        <a:pt x="152" y="370"/>
                      </a:lnTo>
                      <a:lnTo>
                        <a:pt x="150" y="368"/>
                      </a:lnTo>
                      <a:lnTo>
                        <a:pt x="148" y="368"/>
                      </a:lnTo>
                      <a:lnTo>
                        <a:pt x="146" y="370"/>
                      </a:lnTo>
                      <a:lnTo>
                        <a:pt x="144" y="370"/>
                      </a:lnTo>
                      <a:lnTo>
                        <a:pt x="144" y="372"/>
                      </a:lnTo>
                      <a:lnTo>
                        <a:pt x="146" y="372"/>
                      </a:lnTo>
                      <a:lnTo>
                        <a:pt x="148" y="370"/>
                      </a:lnTo>
                      <a:lnTo>
                        <a:pt x="150" y="370"/>
                      </a:lnTo>
                      <a:lnTo>
                        <a:pt x="154" y="372"/>
                      </a:lnTo>
                      <a:lnTo>
                        <a:pt x="154" y="374"/>
                      </a:lnTo>
                      <a:lnTo>
                        <a:pt x="150" y="374"/>
                      </a:lnTo>
                      <a:lnTo>
                        <a:pt x="148" y="374"/>
                      </a:lnTo>
                      <a:lnTo>
                        <a:pt x="128" y="376"/>
                      </a:lnTo>
                      <a:lnTo>
                        <a:pt x="126" y="376"/>
                      </a:lnTo>
                      <a:lnTo>
                        <a:pt x="120" y="376"/>
                      </a:lnTo>
                      <a:lnTo>
                        <a:pt x="118" y="376"/>
                      </a:lnTo>
                      <a:lnTo>
                        <a:pt x="118" y="378"/>
                      </a:lnTo>
                      <a:lnTo>
                        <a:pt x="116" y="378"/>
                      </a:lnTo>
                      <a:lnTo>
                        <a:pt x="114" y="378"/>
                      </a:lnTo>
                      <a:lnTo>
                        <a:pt x="106" y="378"/>
                      </a:lnTo>
                      <a:lnTo>
                        <a:pt x="104" y="378"/>
                      </a:lnTo>
                      <a:lnTo>
                        <a:pt x="104" y="380"/>
                      </a:lnTo>
                      <a:lnTo>
                        <a:pt x="104" y="382"/>
                      </a:lnTo>
                      <a:lnTo>
                        <a:pt x="104" y="380"/>
                      </a:lnTo>
                      <a:lnTo>
                        <a:pt x="102" y="380"/>
                      </a:lnTo>
                      <a:lnTo>
                        <a:pt x="100" y="378"/>
                      </a:lnTo>
                      <a:lnTo>
                        <a:pt x="88" y="378"/>
                      </a:lnTo>
                      <a:lnTo>
                        <a:pt x="88" y="374"/>
                      </a:lnTo>
                      <a:lnTo>
                        <a:pt x="90" y="374"/>
                      </a:lnTo>
                      <a:lnTo>
                        <a:pt x="88" y="372"/>
                      </a:lnTo>
                      <a:lnTo>
                        <a:pt x="86" y="374"/>
                      </a:lnTo>
                      <a:lnTo>
                        <a:pt x="86" y="376"/>
                      </a:lnTo>
                      <a:lnTo>
                        <a:pt x="86" y="374"/>
                      </a:lnTo>
                      <a:lnTo>
                        <a:pt x="88" y="376"/>
                      </a:lnTo>
                      <a:lnTo>
                        <a:pt x="88" y="378"/>
                      </a:lnTo>
                      <a:lnTo>
                        <a:pt x="84" y="378"/>
                      </a:lnTo>
                      <a:lnTo>
                        <a:pt x="82" y="376"/>
                      </a:lnTo>
                      <a:lnTo>
                        <a:pt x="80" y="376"/>
                      </a:lnTo>
                      <a:lnTo>
                        <a:pt x="74" y="376"/>
                      </a:lnTo>
                      <a:lnTo>
                        <a:pt x="72" y="378"/>
                      </a:lnTo>
                      <a:lnTo>
                        <a:pt x="72" y="380"/>
                      </a:lnTo>
                      <a:lnTo>
                        <a:pt x="70" y="380"/>
                      </a:lnTo>
                      <a:lnTo>
                        <a:pt x="66" y="380"/>
                      </a:lnTo>
                      <a:lnTo>
                        <a:pt x="64" y="380"/>
                      </a:lnTo>
                      <a:lnTo>
                        <a:pt x="62" y="378"/>
                      </a:lnTo>
                      <a:lnTo>
                        <a:pt x="62" y="380"/>
                      </a:lnTo>
                      <a:lnTo>
                        <a:pt x="60" y="380"/>
                      </a:lnTo>
                      <a:lnTo>
                        <a:pt x="58" y="380"/>
                      </a:lnTo>
                      <a:lnTo>
                        <a:pt x="56" y="380"/>
                      </a:lnTo>
                      <a:lnTo>
                        <a:pt x="52" y="380"/>
                      </a:lnTo>
                      <a:lnTo>
                        <a:pt x="52" y="378"/>
                      </a:lnTo>
                      <a:lnTo>
                        <a:pt x="46" y="378"/>
                      </a:lnTo>
                      <a:lnTo>
                        <a:pt x="42" y="382"/>
                      </a:lnTo>
                      <a:lnTo>
                        <a:pt x="40" y="382"/>
                      </a:lnTo>
                      <a:lnTo>
                        <a:pt x="38" y="380"/>
                      </a:lnTo>
                      <a:lnTo>
                        <a:pt x="34" y="380"/>
                      </a:lnTo>
                      <a:lnTo>
                        <a:pt x="34" y="382"/>
                      </a:lnTo>
                      <a:lnTo>
                        <a:pt x="32" y="384"/>
                      </a:lnTo>
                      <a:lnTo>
                        <a:pt x="30" y="384"/>
                      </a:lnTo>
                      <a:lnTo>
                        <a:pt x="28" y="384"/>
                      </a:lnTo>
                      <a:lnTo>
                        <a:pt x="28" y="386"/>
                      </a:lnTo>
                      <a:lnTo>
                        <a:pt x="24" y="386"/>
                      </a:lnTo>
                      <a:lnTo>
                        <a:pt x="24" y="384"/>
                      </a:lnTo>
                      <a:lnTo>
                        <a:pt x="26" y="382"/>
                      </a:lnTo>
                      <a:lnTo>
                        <a:pt x="22" y="380"/>
                      </a:lnTo>
                      <a:lnTo>
                        <a:pt x="20" y="382"/>
                      </a:lnTo>
                      <a:lnTo>
                        <a:pt x="22" y="376"/>
                      </a:lnTo>
                      <a:lnTo>
                        <a:pt x="22" y="362"/>
                      </a:lnTo>
                      <a:lnTo>
                        <a:pt x="24" y="362"/>
                      </a:lnTo>
                      <a:lnTo>
                        <a:pt x="26" y="362"/>
                      </a:lnTo>
                      <a:lnTo>
                        <a:pt x="26" y="352"/>
                      </a:lnTo>
                      <a:lnTo>
                        <a:pt x="28" y="350"/>
                      </a:lnTo>
                      <a:lnTo>
                        <a:pt x="28" y="348"/>
                      </a:lnTo>
                      <a:lnTo>
                        <a:pt x="34" y="348"/>
                      </a:lnTo>
                      <a:lnTo>
                        <a:pt x="34" y="346"/>
                      </a:lnTo>
                      <a:lnTo>
                        <a:pt x="40" y="346"/>
                      </a:lnTo>
                      <a:lnTo>
                        <a:pt x="38" y="344"/>
                      </a:lnTo>
                      <a:lnTo>
                        <a:pt x="40" y="342"/>
                      </a:lnTo>
                      <a:lnTo>
                        <a:pt x="44" y="340"/>
                      </a:lnTo>
                      <a:lnTo>
                        <a:pt x="46" y="340"/>
                      </a:lnTo>
                      <a:lnTo>
                        <a:pt x="46" y="338"/>
                      </a:lnTo>
                      <a:lnTo>
                        <a:pt x="50" y="338"/>
                      </a:lnTo>
                      <a:lnTo>
                        <a:pt x="52" y="338"/>
                      </a:lnTo>
                      <a:lnTo>
                        <a:pt x="52" y="336"/>
                      </a:lnTo>
                      <a:lnTo>
                        <a:pt x="60" y="336"/>
                      </a:lnTo>
                      <a:lnTo>
                        <a:pt x="62" y="338"/>
                      </a:lnTo>
                      <a:lnTo>
                        <a:pt x="64" y="336"/>
                      </a:lnTo>
                      <a:lnTo>
                        <a:pt x="66" y="324"/>
                      </a:lnTo>
                      <a:lnTo>
                        <a:pt x="66" y="322"/>
                      </a:lnTo>
                      <a:lnTo>
                        <a:pt x="68" y="322"/>
                      </a:lnTo>
                      <a:lnTo>
                        <a:pt x="66" y="318"/>
                      </a:lnTo>
                      <a:lnTo>
                        <a:pt x="64" y="318"/>
                      </a:lnTo>
                      <a:lnTo>
                        <a:pt x="58" y="318"/>
                      </a:lnTo>
                      <a:lnTo>
                        <a:pt x="56" y="320"/>
                      </a:lnTo>
                      <a:lnTo>
                        <a:pt x="54" y="318"/>
                      </a:lnTo>
                      <a:lnTo>
                        <a:pt x="52" y="318"/>
                      </a:lnTo>
                      <a:lnTo>
                        <a:pt x="52" y="314"/>
                      </a:lnTo>
                      <a:lnTo>
                        <a:pt x="54" y="312"/>
                      </a:lnTo>
                      <a:lnTo>
                        <a:pt x="52" y="292"/>
                      </a:lnTo>
                      <a:lnTo>
                        <a:pt x="52" y="290"/>
                      </a:lnTo>
                      <a:lnTo>
                        <a:pt x="52" y="288"/>
                      </a:lnTo>
                      <a:lnTo>
                        <a:pt x="48" y="288"/>
                      </a:lnTo>
                      <a:lnTo>
                        <a:pt x="44" y="284"/>
                      </a:lnTo>
                      <a:lnTo>
                        <a:pt x="40" y="282"/>
                      </a:lnTo>
                      <a:lnTo>
                        <a:pt x="30" y="278"/>
                      </a:lnTo>
                      <a:lnTo>
                        <a:pt x="22" y="272"/>
                      </a:lnTo>
                      <a:lnTo>
                        <a:pt x="22" y="270"/>
                      </a:lnTo>
                      <a:lnTo>
                        <a:pt x="18" y="262"/>
                      </a:lnTo>
                      <a:lnTo>
                        <a:pt x="16" y="260"/>
                      </a:lnTo>
                      <a:lnTo>
                        <a:pt x="14" y="256"/>
                      </a:lnTo>
                      <a:lnTo>
                        <a:pt x="12" y="252"/>
                      </a:lnTo>
                      <a:lnTo>
                        <a:pt x="0" y="236"/>
                      </a:lnTo>
                      <a:lnTo>
                        <a:pt x="34" y="248"/>
                      </a:lnTo>
                      <a:lnTo>
                        <a:pt x="74" y="2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2" name="Freeform 3037"/>
                <p:cNvSpPr>
                  <a:spLocks/>
                </p:cNvSpPr>
                <p:nvPr/>
              </p:nvSpPr>
              <p:spPr bwMode="auto">
                <a:xfrm>
                  <a:off x="3897275" y="3960628"/>
                  <a:ext cx="461280" cy="261808"/>
                </a:xfrm>
                <a:custGeom>
                  <a:avLst/>
                  <a:gdLst/>
                  <a:ahLst/>
                  <a:cxnLst>
                    <a:cxn ang="0">
                      <a:pos x="64" y="86"/>
                    </a:cxn>
                    <a:cxn ang="0">
                      <a:pos x="38" y="72"/>
                    </a:cxn>
                    <a:cxn ang="0">
                      <a:pos x="28" y="64"/>
                    </a:cxn>
                    <a:cxn ang="0">
                      <a:pos x="10" y="58"/>
                    </a:cxn>
                    <a:cxn ang="0">
                      <a:pos x="2" y="40"/>
                    </a:cxn>
                    <a:cxn ang="0">
                      <a:pos x="4" y="30"/>
                    </a:cxn>
                    <a:cxn ang="0">
                      <a:pos x="8" y="20"/>
                    </a:cxn>
                    <a:cxn ang="0">
                      <a:pos x="14" y="14"/>
                    </a:cxn>
                    <a:cxn ang="0">
                      <a:pos x="28" y="12"/>
                    </a:cxn>
                    <a:cxn ang="0">
                      <a:pos x="36" y="8"/>
                    </a:cxn>
                    <a:cxn ang="0">
                      <a:pos x="40" y="0"/>
                    </a:cxn>
                    <a:cxn ang="0">
                      <a:pos x="56" y="2"/>
                    </a:cxn>
                    <a:cxn ang="0">
                      <a:pos x="76" y="22"/>
                    </a:cxn>
                    <a:cxn ang="0">
                      <a:pos x="86" y="26"/>
                    </a:cxn>
                    <a:cxn ang="0">
                      <a:pos x="98" y="38"/>
                    </a:cxn>
                    <a:cxn ang="0">
                      <a:pos x="112" y="38"/>
                    </a:cxn>
                    <a:cxn ang="0">
                      <a:pos x="118" y="48"/>
                    </a:cxn>
                    <a:cxn ang="0">
                      <a:pos x="130" y="58"/>
                    </a:cxn>
                    <a:cxn ang="0">
                      <a:pos x="140" y="58"/>
                    </a:cxn>
                    <a:cxn ang="0">
                      <a:pos x="138" y="66"/>
                    </a:cxn>
                    <a:cxn ang="0">
                      <a:pos x="146" y="66"/>
                    </a:cxn>
                    <a:cxn ang="0">
                      <a:pos x="158" y="70"/>
                    </a:cxn>
                    <a:cxn ang="0">
                      <a:pos x="164" y="78"/>
                    </a:cxn>
                    <a:cxn ang="0">
                      <a:pos x="166" y="70"/>
                    </a:cxn>
                    <a:cxn ang="0">
                      <a:pos x="174" y="78"/>
                    </a:cxn>
                    <a:cxn ang="0">
                      <a:pos x="178" y="72"/>
                    </a:cxn>
                    <a:cxn ang="0">
                      <a:pos x="186" y="76"/>
                    </a:cxn>
                    <a:cxn ang="0">
                      <a:pos x="194" y="82"/>
                    </a:cxn>
                    <a:cxn ang="0">
                      <a:pos x="206" y="82"/>
                    </a:cxn>
                    <a:cxn ang="0">
                      <a:pos x="212" y="80"/>
                    </a:cxn>
                    <a:cxn ang="0">
                      <a:pos x="220" y="80"/>
                    </a:cxn>
                    <a:cxn ang="0">
                      <a:pos x="218" y="90"/>
                    </a:cxn>
                    <a:cxn ang="0">
                      <a:pos x="222" y="110"/>
                    </a:cxn>
                    <a:cxn ang="0">
                      <a:pos x="220" y="122"/>
                    </a:cxn>
                    <a:cxn ang="0">
                      <a:pos x="214" y="122"/>
                    </a:cxn>
                    <a:cxn ang="0">
                      <a:pos x="200" y="124"/>
                    </a:cxn>
                    <a:cxn ang="0">
                      <a:pos x="186" y="122"/>
                    </a:cxn>
                    <a:cxn ang="0">
                      <a:pos x="166" y="118"/>
                    </a:cxn>
                    <a:cxn ang="0">
                      <a:pos x="160" y="116"/>
                    </a:cxn>
                    <a:cxn ang="0">
                      <a:pos x="154" y="114"/>
                    </a:cxn>
                    <a:cxn ang="0">
                      <a:pos x="148" y="110"/>
                    </a:cxn>
                    <a:cxn ang="0">
                      <a:pos x="140" y="114"/>
                    </a:cxn>
                    <a:cxn ang="0">
                      <a:pos x="124" y="104"/>
                    </a:cxn>
                    <a:cxn ang="0">
                      <a:pos x="124" y="96"/>
                    </a:cxn>
                    <a:cxn ang="0">
                      <a:pos x="108" y="92"/>
                    </a:cxn>
                    <a:cxn ang="0">
                      <a:pos x="100" y="94"/>
                    </a:cxn>
                    <a:cxn ang="0">
                      <a:pos x="88" y="96"/>
                    </a:cxn>
                    <a:cxn ang="0">
                      <a:pos x="74" y="90"/>
                    </a:cxn>
                  </a:cxnLst>
                  <a:rect l="0" t="0" r="r" b="b"/>
                  <a:pathLst>
                    <a:path w="222" h="126">
                      <a:moveTo>
                        <a:pt x="72" y="84"/>
                      </a:moveTo>
                      <a:lnTo>
                        <a:pt x="68" y="84"/>
                      </a:lnTo>
                      <a:lnTo>
                        <a:pt x="68" y="86"/>
                      </a:lnTo>
                      <a:lnTo>
                        <a:pt x="64" y="86"/>
                      </a:lnTo>
                      <a:lnTo>
                        <a:pt x="54" y="78"/>
                      </a:lnTo>
                      <a:lnTo>
                        <a:pt x="52" y="78"/>
                      </a:lnTo>
                      <a:lnTo>
                        <a:pt x="50" y="80"/>
                      </a:lnTo>
                      <a:lnTo>
                        <a:pt x="38" y="72"/>
                      </a:lnTo>
                      <a:lnTo>
                        <a:pt x="36" y="70"/>
                      </a:lnTo>
                      <a:lnTo>
                        <a:pt x="34" y="70"/>
                      </a:lnTo>
                      <a:lnTo>
                        <a:pt x="30" y="64"/>
                      </a:lnTo>
                      <a:lnTo>
                        <a:pt x="28" y="64"/>
                      </a:lnTo>
                      <a:lnTo>
                        <a:pt x="26" y="64"/>
                      </a:lnTo>
                      <a:lnTo>
                        <a:pt x="12" y="54"/>
                      </a:lnTo>
                      <a:lnTo>
                        <a:pt x="12" y="56"/>
                      </a:lnTo>
                      <a:lnTo>
                        <a:pt x="10" y="58"/>
                      </a:lnTo>
                      <a:lnTo>
                        <a:pt x="2" y="50"/>
                      </a:lnTo>
                      <a:lnTo>
                        <a:pt x="0" y="50"/>
                      </a:lnTo>
                      <a:lnTo>
                        <a:pt x="0" y="46"/>
                      </a:lnTo>
                      <a:lnTo>
                        <a:pt x="2" y="40"/>
                      </a:lnTo>
                      <a:lnTo>
                        <a:pt x="4" y="40"/>
                      </a:lnTo>
                      <a:lnTo>
                        <a:pt x="6" y="36"/>
                      </a:lnTo>
                      <a:lnTo>
                        <a:pt x="6" y="34"/>
                      </a:lnTo>
                      <a:lnTo>
                        <a:pt x="4" y="30"/>
                      </a:lnTo>
                      <a:lnTo>
                        <a:pt x="6" y="28"/>
                      </a:lnTo>
                      <a:lnTo>
                        <a:pt x="8" y="26"/>
                      </a:lnTo>
                      <a:lnTo>
                        <a:pt x="8" y="22"/>
                      </a:lnTo>
                      <a:lnTo>
                        <a:pt x="8" y="20"/>
                      </a:lnTo>
                      <a:lnTo>
                        <a:pt x="10" y="18"/>
                      </a:lnTo>
                      <a:lnTo>
                        <a:pt x="12" y="18"/>
                      </a:lnTo>
                      <a:lnTo>
                        <a:pt x="12" y="16"/>
                      </a:lnTo>
                      <a:lnTo>
                        <a:pt x="14" y="14"/>
                      </a:lnTo>
                      <a:lnTo>
                        <a:pt x="16" y="14"/>
                      </a:lnTo>
                      <a:lnTo>
                        <a:pt x="24" y="6"/>
                      </a:lnTo>
                      <a:lnTo>
                        <a:pt x="26" y="6"/>
                      </a:lnTo>
                      <a:lnTo>
                        <a:pt x="28" y="12"/>
                      </a:lnTo>
                      <a:lnTo>
                        <a:pt x="32" y="12"/>
                      </a:lnTo>
                      <a:lnTo>
                        <a:pt x="32" y="10"/>
                      </a:lnTo>
                      <a:lnTo>
                        <a:pt x="34" y="10"/>
                      </a:lnTo>
                      <a:lnTo>
                        <a:pt x="36" y="8"/>
                      </a:lnTo>
                      <a:lnTo>
                        <a:pt x="36" y="0"/>
                      </a:lnTo>
                      <a:lnTo>
                        <a:pt x="38" y="2"/>
                      </a:lnTo>
                      <a:lnTo>
                        <a:pt x="40" y="2"/>
                      </a:lnTo>
                      <a:lnTo>
                        <a:pt x="40" y="0"/>
                      </a:lnTo>
                      <a:lnTo>
                        <a:pt x="42" y="0"/>
                      </a:lnTo>
                      <a:lnTo>
                        <a:pt x="48" y="0"/>
                      </a:lnTo>
                      <a:lnTo>
                        <a:pt x="52" y="0"/>
                      </a:lnTo>
                      <a:lnTo>
                        <a:pt x="56" y="2"/>
                      </a:lnTo>
                      <a:lnTo>
                        <a:pt x="56" y="8"/>
                      </a:lnTo>
                      <a:lnTo>
                        <a:pt x="58" y="10"/>
                      </a:lnTo>
                      <a:lnTo>
                        <a:pt x="64" y="12"/>
                      </a:lnTo>
                      <a:lnTo>
                        <a:pt x="76" y="22"/>
                      </a:lnTo>
                      <a:lnTo>
                        <a:pt x="80" y="22"/>
                      </a:lnTo>
                      <a:lnTo>
                        <a:pt x="82" y="24"/>
                      </a:lnTo>
                      <a:lnTo>
                        <a:pt x="84" y="24"/>
                      </a:lnTo>
                      <a:lnTo>
                        <a:pt x="86" y="26"/>
                      </a:lnTo>
                      <a:lnTo>
                        <a:pt x="90" y="30"/>
                      </a:lnTo>
                      <a:lnTo>
                        <a:pt x="96" y="40"/>
                      </a:lnTo>
                      <a:lnTo>
                        <a:pt x="98" y="40"/>
                      </a:lnTo>
                      <a:lnTo>
                        <a:pt x="98" y="38"/>
                      </a:lnTo>
                      <a:lnTo>
                        <a:pt x="100" y="36"/>
                      </a:lnTo>
                      <a:lnTo>
                        <a:pt x="104" y="34"/>
                      </a:lnTo>
                      <a:lnTo>
                        <a:pt x="110" y="36"/>
                      </a:lnTo>
                      <a:lnTo>
                        <a:pt x="112" y="38"/>
                      </a:lnTo>
                      <a:lnTo>
                        <a:pt x="112" y="40"/>
                      </a:lnTo>
                      <a:lnTo>
                        <a:pt x="114" y="42"/>
                      </a:lnTo>
                      <a:lnTo>
                        <a:pt x="114" y="46"/>
                      </a:lnTo>
                      <a:lnTo>
                        <a:pt x="118" y="48"/>
                      </a:lnTo>
                      <a:lnTo>
                        <a:pt x="120" y="52"/>
                      </a:lnTo>
                      <a:lnTo>
                        <a:pt x="126" y="54"/>
                      </a:lnTo>
                      <a:lnTo>
                        <a:pt x="126" y="56"/>
                      </a:lnTo>
                      <a:lnTo>
                        <a:pt x="130" y="58"/>
                      </a:lnTo>
                      <a:lnTo>
                        <a:pt x="132" y="58"/>
                      </a:lnTo>
                      <a:lnTo>
                        <a:pt x="136" y="56"/>
                      </a:lnTo>
                      <a:lnTo>
                        <a:pt x="138" y="56"/>
                      </a:lnTo>
                      <a:lnTo>
                        <a:pt x="140" y="58"/>
                      </a:lnTo>
                      <a:lnTo>
                        <a:pt x="138" y="60"/>
                      </a:lnTo>
                      <a:lnTo>
                        <a:pt x="138" y="64"/>
                      </a:lnTo>
                      <a:lnTo>
                        <a:pt x="136" y="66"/>
                      </a:lnTo>
                      <a:lnTo>
                        <a:pt x="138" y="66"/>
                      </a:lnTo>
                      <a:lnTo>
                        <a:pt x="140" y="66"/>
                      </a:lnTo>
                      <a:lnTo>
                        <a:pt x="142" y="66"/>
                      </a:lnTo>
                      <a:lnTo>
                        <a:pt x="144" y="68"/>
                      </a:lnTo>
                      <a:lnTo>
                        <a:pt x="146" y="66"/>
                      </a:lnTo>
                      <a:lnTo>
                        <a:pt x="154" y="66"/>
                      </a:lnTo>
                      <a:lnTo>
                        <a:pt x="154" y="68"/>
                      </a:lnTo>
                      <a:lnTo>
                        <a:pt x="156" y="70"/>
                      </a:lnTo>
                      <a:lnTo>
                        <a:pt x="158" y="70"/>
                      </a:lnTo>
                      <a:lnTo>
                        <a:pt x="160" y="76"/>
                      </a:lnTo>
                      <a:lnTo>
                        <a:pt x="160" y="78"/>
                      </a:lnTo>
                      <a:lnTo>
                        <a:pt x="162" y="78"/>
                      </a:lnTo>
                      <a:lnTo>
                        <a:pt x="164" y="78"/>
                      </a:lnTo>
                      <a:lnTo>
                        <a:pt x="164" y="76"/>
                      </a:lnTo>
                      <a:lnTo>
                        <a:pt x="164" y="74"/>
                      </a:lnTo>
                      <a:lnTo>
                        <a:pt x="164" y="72"/>
                      </a:lnTo>
                      <a:lnTo>
                        <a:pt x="166" y="70"/>
                      </a:lnTo>
                      <a:lnTo>
                        <a:pt x="168" y="72"/>
                      </a:lnTo>
                      <a:lnTo>
                        <a:pt x="166" y="74"/>
                      </a:lnTo>
                      <a:lnTo>
                        <a:pt x="168" y="76"/>
                      </a:lnTo>
                      <a:lnTo>
                        <a:pt x="174" y="78"/>
                      </a:lnTo>
                      <a:lnTo>
                        <a:pt x="176" y="76"/>
                      </a:lnTo>
                      <a:lnTo>
                        <a:pt x="176" y="74"/>
                      </a:lnTo>
                      <a:lnTo>
                        <a:pt x="176" y="72"/>
                      </a:lnTo>
                      <a:lnTo>
                        <a:pt x="178" y="72"/>
                      </a:lnTo>
                      <a:lnTo>
                        <a:pt x="180" y="72"/>
                      </a:lnTo>
                      <a:lnTo>
                        <a:pt x="182" y="72"/>
                      </a:lnTo>
                      <a:lnTo>
                        <a:pt x="182" y="74"/>
                      </a:lnTo>
                      <a:lnTo>
                        <a:pt x="186" y="76"/>
                      </a:lnTo>
                      <a:lnTo>
                        <a:pt x="188" y="76"/>
                      </a:lnTo>
                      <a:lnTo>
                        <a:pt x="190" y="76"/>
                      </a:lnTo>
                      <a:lnTo>
                        <a:pt x="192" y="78"/>
                      </a:lnTo>
                      <a:lnTo>
                        <a:pt x="194" y="82"/>
                      </a:lnTo>
                      <a:lnTo>
                        <a:pt x="198" y="82"/>
                      </a:lnTo>
                      <a:lnTo>
                        <a:pt x="200" y="80"/>
                      </a:lnTo>
                      <a:lnTo>
                        <a:pt x="204" y="80"/>
                      </a:lnTo>
                      <a:lnTo>
                        <a:pt x="206" y="82"/>
                      </a:lnTo>
                      <a:lnTo>
                        <a:pt x="206" y="80"/>
                      </a:lnTo>
                      <a:lnTo>
                        <a:pt x="208" y="82"/>
                      </a:lnTo>
                      <a:lnTo>
                        <a:pt x="210" y="82"/>
                      </a:lnTo>
                      <a:lnTo>
                        <a:pt x="212" y="80"/>
                      </a:lnTo>
                      <a:lnTo>
                        <a:pt x="212" y="78"/>
                      </a:lnTo>
                      <a:lnTo>
                        <a:pt x="216" y="78"/>
                      </a:lnTo>
                      <a:lnTo>
                        <a:pt x="218" y="78"/>
                      </a:lnTo>
                      <a:lnTo>
                        <a:pt x="220" y="80"/>
                      </a:lnTo>
                      <a:lnTo>
                        <a:pt x="222" y="80"/>
                      </a:lnTo>
                      <a:lnTo>
                        <a:pt x="220" y="88"/>
                      </a:lnTo>
                      <a:lnTo>
                        <a:pt x="218" y="88"/>
                      </a:lnTo>
                      <a:lnTo>
                        <a:pt x="218" y="90"/>
                      </a:lnTo>
                      <a:lnTo>
                        <a:pt x="218" y="102"/>
                      </a:lnTo>
                      <a:lnTo>
                        <a:pt x="216" y="102"/>
                      </a:lnTo>
                      <a:lnTo>
                        <a:pt x="218" y="104"/>
                      </a:lnTo>
                      <a:lnTo>
                        <a:pt x="222" y="110"/>
                      </a:lnTo>
                      <a:lnTo>
                        <a:pt x="222" y="116"/>
                      </a:lnTo>
                      <a:lnTo>
                        <a:pt x="220" y="120"/>
                      </a:lnTo>
                      <a:lnTo>
                        <a:pt x="218" y="120"/>
                      </a:lnTo>
                      <a:lnTo>
                        <a:pt x="220" y="122"/>
                      </a:lnTo>
                      <a:lnTo>
                        <a:pt x="218" y="124"/>
                      </a:lnTo>
                      <a:lnTo>
                        <a:pt x="218" y="126"/>
                      </a:lnTo>
                      <a:lnTo>
                        <a:pt x="216" y="124"/>
                      </a:lnTo>
                      <a:lnTo>
                        <a:pt x="214" y="122"/>
                      </a:lnTo>
                      <a:lnTo>
                        <a:pt x="208" y="124"/>
                      </a:lnTo>
                      <a:lnTo>
                        <a:pt x="206" y="124"/>
                      </a:lnTo>
                      <a:lnTo>
                        <a:pt x="204" y="124"/>
                      </a:lnTo>
                      <a:lnTo>
                        <a:pt x="200" y="124"/>
                      </a:lnTo>
                      <a:lnTo>
                        <a:pt x="196" y="126"/>
                      </a:lnTo>
                      <a:lnTo>
                        <a:pt x="194" y="124"/>
                      </a:lnTo>
                      <a:lnTo>
                        <a:pt x="188" y="120"/>
                      </a:lnTo>
                      <a:lnTo>
                        <a:pt x="186" y="122"/>
                      </a:lnTo>
                      <a:lnTo>
                        <a:pt x="182" y="124"/>
                      </a:lnTo>
                      <a:lnTo>
                        <a:pt x="170" y="118"/>
                      </a:lnTo>
                      <a:lnTo>
                        <a:pt x="168" y="118"/>
                      </a:lnTo>
                      <a:lnTo>
                        <a:pt x="166" y="118"/>
                      </a:lnTo>
                      <a:lnTo>
                        <a:pt x="164" y="118"/>
                      </a:lnTo>
                      <a:lnTo>
                        <a:pt x="164" y="116"/>
                      </a:lnTo>
                      <a:lnTo>
                        <a:pt x="162" y="116"/>
                      </a:lnTo>
                      <a:lnTo>
                        <a:pt x="160" y="116"/>
                      </a:lnTo>
                      <a:lnTo>
                        <a:pt x="160" y="118"/>
                      </a:lnTo>
                      <a:lnTo>
                        <a:pt x="158" y="120"/>
                      </a:lnTo>
                      <a:lnTo>
                        <a:pt x="154" y="116"/>
                      </a:lnTo>
                      <a:lnTo>
                        <a:pt x="154" y="114"/>
                      </a:lnTo>
                      <a:lnTo>
                        <a:pt x="154" y="112"/>
                      </a:lnTo>
                      <a:lnTo>
                        <a:pt x="152" y="110"/>
                      </a:lnTo>
                      <a:lnTo>
                        <a:pt x="150" y="110"/>
                      </a:lnTo>
                      <a:lnTo>
                        <a:pt x="148" y="110"/>
                      </a:lnTo>
                      <a:lnTo>
                        <a:pt x="146" y="112"/>
                      </a:lnTo>
                      <a:lnTo>
                        <a:pt x="144" y="114"/>
                      </a:lnTo>
                      <a:lnTo>
                        <a:pt x="142" y="114"/>
                      </a:lnTo>
                      <a:lnTo>
                        <a:pt x="140" y="114"/>
                      </a:lnTo>
                      <a:lnTo>
                        <a:pt x="140" y="112"/>
                      </a:lnTo>
                      <a:lnTo>
                        <a:pt x="130" y="106"/>
                      </a:lnTo>
                      <a:lnTo>
                        <a:pt x="126" y="106"/>
                      </a:lnTo>
                      <a:lnTo>
                        <a:pt x="124" y="104"/>
                      </a:lnTo>
                      <a:lnTo>
                        <a:pt x="126" y="102"/>
                      </a:lnTo>
                      <a:lnTo>
                        <a:pt x="126" y="98"/>
                      </a:lnTo>
                      <a:lnTo>
                        <a:pt x="124" y="98"/>
                      </a:lnTo>
                      <a:lnTo>
                        <a:pt x="124" y="96"/>
                      </a:lnTo>
                      <a:lnTo>
                        <a:pt x="120" y="94"/>
                      </a:lnTo>
                      <a:lnTo>
                        <a:pt x="116" y="94"/>
                      </a:lnTo>
                      <a:lnTo>
                        <a:pt x="112" y="90"/>
                      </a:lnTo>
                      <a:lnTo>
                        <a:pt x="108" y="92"/>
                      </a:lnTo>
                      <a:lnTo>
                        <a:pt x="104" y="92"/>
                      </a:lnTo>
                      <a:lnTo>
                        <a:pt x="104" y="96"/>
                      </a:lnTo>
                      <a:lnTo>
                        <a:pt x="102" y="94"/>
                      </a:lnTo>
                      <a:lnTo>
                        <a:pt x="100" y="94"/>
                      </a:lnTo>
                      <a:lnTo>
                        <a:pt x="96" y="92"/>
                      </a:lnTo>
                      <a:lnTo>
                        <a:pt x="90" y="92"/>
                      </a:lnTo>
                      <a:lnTo>
                        <a:pt x="90" y="94"/>
                      </a:lnTo>
                      <a:lnTo>
                        <a:pt x="88" y="96"/>
                      </a:lnTo>
                      <a:lnTo>
                        <a:pt x="86" y="94"/>
                      </a:lnTo>
                      <a:lnTo>
                        <a:pt x="84" y="92"/>
                      </a:lnTo>
                      <a:lnTo>
                        <a:pt x="78" y="92"/>
                      </a:lnTo>
                      <a:lnTo>
                        <a:pt x="74" y="90"/>
                      </a:lnTo>
                      <a:lnTo>
                        <a:pt x="72" y="88"/>
                      </a:lnTo>
                      <a:lnTo>
                        <a:pt x="72" y="86"/>
                      </a:lnTo>
                      <a:lnTo>
                        <a:pt x="72" y="8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3" name="Freeform 3038"/>
                <p:cNvSpPr>
                  <a:spLocks/>
                </p:cNvSpPr>
                <p:nvPr/>
              </p:nvSpPr>
              <p:spPr bwMode="auto">
                <a:xfrm>
                  <a:off x="4387646" y="4093609"/>
                  <a:ext cx="191161" cy="108048"/>
                </a:xfrm>
                <a:custGeom>
                  <a:avLst/>
                  <a:gdLst/>
                  <a:ahLst/>
                  <a:cxnLst>
                    <a:cxn ang="0">
                      <a:pos x="90" y="46"/>
                    </a:cxn>
                    <a:cxn ang="0">
                      <a:pos x="82" y="48"/>
                    </a:cxn>
                    <a:cxn ang="0">
                      <a:pos x="76" y="46"/>
                    </a:cxn>
                    <a:cxn ang="0">
                      <a:pos x="74" y="48"/>
                    </a:cxn>
                    <a:cxn ang="0">
                      <a:pos x="70" y="48"/>
                    </a:cxn>
                    <a:cxn ang="0">
                      <a:pos x="64" y="48"/>
                    </a:cxn>
                    <a:cxn ang="0">
                      <a:pos x="50" y="48"/>
                    </a:cxn>
                    <a:cxn ang="0">
                      <a:pos x="40" y="46"/>
                    </a:cxn>
                    <a:cxn ang="0">
                      <a:pos x="40" y="50"/>
                    </a:cxn>
                    <a:cxn ang="0">
                      <a:pos x="30" y="52"/>
                    </a:cxn>
                    <a:cxn ang="0">
                      <a:pos x="26" y="50"/>
                    </a:cxn>
                    <a:cxn ang="0">
                      <a:pos x="22" y="48"/>
                    </a:cxn>
                    <a:cxn ang="0">
                      <a:pos x="16" y="46"/>
                    </a:cxn>
                    <a:cxn ang="0">
                      <a:pos x="10" y="48"/>
                    </a:cxn>
                    <a:cxn ang="0">
                      <a:pos x="8" y="44"/>
                    </a:cxn>
                    <a:cxn ang="0">
                      <a:pos x="4" y="42"/>
                    </a:cxn>
                    <a:cxn ang="0">
                      <a:pos x="2" y="38"/>
                    </a:cxn>
                    <a:cxn ang="0">
                      <a:pos x="2" y="36"/>
                    </a:cxn>
                    <a:cxn ang="0">
                      <a:pos x="4" y="34"/>
                    </a:cxn>
                    <a:cxn ang="0">
                      <a:pos x="6" y="30"/>
                    </a:cxn>
                    <a:cxn ang="0">
                      <a:pos x="8" y="28"/>
                    </a:cxn>
                    <a:cxn ang="0">
                      <a:pos x="10" y="24"/>
                    </a:cxn>
                    <a:cxn ang="0">
                      <a:pos x="12" y="20"/>
                    </a:cxn>
                    <a:cxn ang="0">
                      <a:pos x="14" y="18"/>
                    </a:cxn>
                    <a:cxn ang="0">
                      <a:pos x="18" y="16"/>
                    </a:cxn>
                    <a:cxn ang="0">
                      <a:pos x="18" y="12"/>
                    </a:cxn>
                    <a:cxn ang="0">
                      <a:pos x="20" y="10"/>
                    </a:cxn>
                    <a:cxn ang="0">
                      <a:pos x="28" y="6"/>
                    </a:cxn>
                    <a:cxn ang="0">
                      <a:pos x="30" y="4"/>
                    </a:cxn>
                    <a:cxn ang="0">
                      <a:pos x="34" y="0"/>
                    </a:cxn>
                    <a:cxn ang="0">
                      <a:pos x="42" y="2"/>
                    </a:cxn>
                    <a:cxn ang="0">
                      <a:pos x="46" y="4"/>
                    </a:cxn>
                    <a:cxn ang="0">
                      <a:pos x="46" y="8"/>
                    </a:cxn>
                    <a:cxn ang="0">
                      <a:pos x="50" y="8"/>
                    </a:cxn>
                    <a:cxn ang="0">
                      <a:pos x="56" y="10"/>
                    </a:cxn>
                    <a:cxn ang="0">
                      <a:pos x="64" y="12"/>
                    </a:cxn>
                    <a:cxn ang="0">
                      <a:pos x="68" y="10"/>
                    </a:cxn>
                    <a:cxn ang="0">
                      <a:pos x="70" y="8"/>
                    </a:cxn>
                    <a:cxn ang="0">
                      <a:pos x="74" y="12"/>
                    </a:cxn>
                    <a:cxn ang="0">
                      <a:pos x="80" y="12"/>
                    </a:cxn>
                    <a:cxn ang="0">
                      <a:pos x="80" y="16"/>
                    </a:cxn>
                    <a:cxn ang="0">
                      <a:pos x="80" y="22"/>
                    </a:cxn>
                    <a:cxn ang="0">
                      <a:pos x="78" y="24"/>
                    </a:cxn>
                    <a:cxn ang="0">
                      <a:pos x="80" y="26"/>
                    </a:cxn>
                    <a:cxn ang="0">
                      <a:pos x="86" y="28"/>
                    </a:cxn>
                    <a:cxn ang="0">
                      <a:pos x="90" y="28"/>
                    </a:cxn>
                    <a:cxn ang="0">
                      <a:pos x="92" y="32"/>
                    </a:cxn>
                    <a:cxn ang="0">
                      <a:pos x="90" y="36"/>
                    </a:cxn>
                    <a:cxn ang="0">
                      <a:pos x="92" y="40"/>
                    </a:cxn>
                    <a:cxn ang="0">
                      <a:pos x="92" y="44"/>
                    </a:cxn>
                  </a:cxnLst>
                  <a:rect l="0" t="0" r="r" b="b"/>
                  <a:pathLst>
                    <a:path w="92" h="52">
                      <a:moveTo>
                        <a:pt x="92" y="46"/>
                      </a:moveTo>
                      <a:lnTo>
                        <a:pt x="90" y="46"/>
                      </a:lnTo>
                      <a:lnTo>
                        <a:pt x="86" y="46"/>
                      </a:lnTo>
                      <a:lnTo>
                        <a:pt x="82" y="48"/>
                      </a:lnTo>
                      <a:lnTo>
                        <a:pt x="78" y="48"/>
                      </a:lnTo>
                      <a:lnTo>
                        <a:pt x="76" y="46"/>
                      </a:lnTo>
                      <a:lnTo>
                        <a:pt x="74" y="46"/>
                      </a:lnTo>
                      <a:lnTo>
                        <a:pt x="74" y="48"/>
                      </a:lnTo>
                      <a:lnTo>
                        <a:pt x="72" y="48"/>
                      </a:lnTo>
                      <a:lnTo>
                        <a:pt x="70" y="48"/>
                      </a:lnTo>
                      <a:lnTo>
                        <a:pt x="66" y="48"/>
                      </a:lnTo>
                      <a:lnTo>
                        <a:pt x="64" y="48"/>
                      </a:lnTo>
                      <a:lnTo>
                        <a:pt x="52" y="48"/>
                      </a:lnTo>
                      <a:lnTo>
                        <a:pt x="50" y="48"/>
                      </a:lnTo>
                      <a:lnTo>
                        <a:pt x="46" y="46"/>
                      </a:lnTo>
                      <a:lnTo>
                        <a:pt x="40" y="46"/>
                      </a:lnTo>
                      <a:lnTo>
                        <a:pt x="40" y="48"/>
                      </a:lnTo>
                      <a:lnTo>
                        <a:pt x="40" y="50"/>
                      </a:lnTo>
                      <a:lnTo>
                        <a:pt x="38" y="50"/>
                      </a:lnTo>
                      <a:lnTo>
                        <a:pt x="30" y="52"/>
                      </a:lnTo>
                      <a:lnTo>
                        <a:pt x="24" y="50"/>
                      </a:lnTo>
                      <a:lnTo>
                        <a:pt x="26" y="50"/>
                      </a:lnTo>
                      <a:lnTo>
                        <a:pt x="24" y="48"/>
                      </a:lnTo>
                      <a:lnTo>
                        <a:pt x="22" y="48"/>
                      </a:lnTo>
                      <a:lnTo>
                        <a:pt x="18" y="46"/>
                      </a:lnTo>
                      <a:lnTo>
                        <a:pt x="16" y="46"/>
                      </a:lnTo>
                      <a:lnTo>
                        <a:pt x="14" y="48"/>
                      </a:lnTo>
                      <a:lnTo>
                        <a:pt x="10" y="48"/>
                      </a:lnTo>
                      <a:lnTo>
                        <a:pt x="10" y="46"/>
                      </a:lnTo>
                      <a:lnTo>
                        <a:pt x="8" y="44"/>
                      </a:lnTo>
                      <a:lnTo>
                        <a:pt x="6" y="42"/>
                      </a:lnTo>
                      <a:lnTo>
                        <a:pt x="4" y="42"/>
                      </a:lnTo>
                      <a:lnTo>
                        <a:pt x="4" y="40"/>
                      </a:lnTo>
                      <a:lnTo>
                        <a:pt x="2" y="38"/>
                      </a:lnTo>
                      <a:lnTo>
                        <a:pt x="0" y="38"/>
                      </a:lnTo>
                      <a:lnTo>
                        <a:pt x="2" y="36"/>
                      </a:lnTo>
                      <a:lnTo>
                        <a:pt x="2" y="34"/>
                      </a:lnTo>
                      <a:lnTo>
                        <a:pt x="4" y="34"/>
                      </a:lnTo>
                      <a:lnTo>
                        <a:pt x="6" y="32"/>
                      </a:lnTo>
                      <a:lnTo>
                        <a:pt x="6" y="30"/>
                      </a:lnTo>
                      <a:lnTo>
                        <a:pt x="6" y="28"/>
                      </a:lnTo>
                      <a:lnTo>
                        <a:pt x="8" y="28"/>
                      </a:lnTo>
                      <a:lnTo>
                        <a:pt x="10" y="26"/>
                      </a:lnTo>
                      <a:lnTo>
                        <a:pt x="10" y="24"/>
                      </a:lnTo>
                      <a:lnTo>
                        <a:pt x="12" y="22"/>
                      </a:lnTo>
                      <a:lnTo>
                        <a:pt x="12" y="20"/>
                      </a:lnTo>
                      <a:lnTo>
                        <a:pt x="14" y="20"/>
                      </a:lnTo>
                      <a:lnTo>
                        <a:pt x="14" y="18"/>
                      </a:lnTo>
                      <a:lnTo>
                        <a:pt x="16" y="16"/>
                      </a:lnTo>
                      <a:lnTo>
                        <a:pt x="18" y="16"/>
                      </a:lnTo>
                      <a:lnTo>
                        <a:pt x="18" y="14"/>
                      </a:lnTo>
                      <a:lnTo>
                        <a:pt x="18" y="12"/>
                      </a:lnTo>
                      <a:lnTo>
                        <a:pt x="20" y="12"/>
                      </a:lnTo>
                      <a:lnTo>
                        <a:pt x="20" y="10"/>
                      </a:lnTo>
                      <a:lnTo>
                        <a:pt x="24" y="6"/>
                      </a:lnTo>
                      <a:lnTo>
                        <a:pt x="28" y="6"/>
                      </a:lnTo>
                      <a:lnTo>
                        <a:pt x="30" y="6"/>
                      </a:lnTo>
                      <a:lnTo>
                        <a:pt x="30" y="4"/>
                      </a:lnTo>
                      <a:lnTo>
                        <a:pt x="32" y="2"/>
                      </a:lnTo>
                      <a:lnTo>
                        <a:pt x="34" y="0"/>
                      </a:lnTo>
                      <a:lnTo>
                        <a:pt x="40" y="2"/>
                      </a:lnTo>
                      <a:lnTo>
                        <a:pt x="42" y="2"/>
                      </a:lnTo>
                      <a:lnTo>
                        <a:pt x="44" y="4"/>
                      </a:lnTo>
                      <a:lnTo>
                        <a:pt x="46" y="4"/>
                      </a:lnTo>
                      <a:lnTo>
                        <a:pt x="46" y="6"/>
                      </a:lnTo>
                      <a:lnTo>
                        <a:pt x="46" y="8"/>
                      </a:lnTo>
                      <a:lnTo>
                        <a:pt x="48" y="10"/>
                      </a:lnTo>
                      <a:lnTo>
                        <a:pt x="50" y="8"/>
                      </a:lnTo>
                      <a:lnTo>
                        <a:pt x="52" y="8"/>
                      </a:lnTo>
                      <a:lnTo>
                        <a:pt x="56" y="10"/>
                      </a:lnTo>
                      <a:lnTo>
                        <a:pt x="60" y="10"/>
                      </a:lnTo>
                      <a:lnTo>
                        <a:pt x="64" y="12"/>
                      </a:lnTo>
                      <a:lnTo>
                        <a:pt x="66" y="12"/>
                      </a:lnTo>
                      <a:lnTo>
                        <a:pt x="68" y="10"/>
                      </a:lnTo>
                      <a:lnTo>
                        <a:pt x="68" y="8"/>
                      </a:lnTo>
                      <a:lnTo>
                        <a:pt x="70" y="8"/>
                      </a:lnTo>
                      <a:lnTo>
                        <a:pt x="72" y="10"/>
                      </a:lnTo>
                      <a:lnTo>
                        <a:pt x="74" y="12"/>
                      </a:lnTo>
                      <a:lnTo>
                        <a:pt x="76" y="12"/>
                      </a:lnTo>
                      <a:lnTo>
                        <a:pt x="80" y="12"/>
                      </a:lnTo>
                      <a:lnTo>
                        <a:pt x="80" y="14"/>
                      </a:lnTo>
                      <a:lnTo>
                        <a:pt x="80" y="16"/>
                      </a:lnTo>
                      <a:lnTo>
                        <a:pt x="80" y="20"/>
                      </a:lnTo>
                      <a:lnTo>
                        <a:pt x="80" y="22"/>
                      </a:lnTo>
                      <a:lnTo>
                        <a:pt x="78" y="22"/>
                      </a:lnTo>
                      <a:lnTo>
                        <a:pt x="78" y="24"/>
                      </a:lnTo>
                      <a:lnTo>
                        <a:pt x="80" y="24"/>
                      </a:lnTo>
                      <a:lnTo>
                        <a:pt x="80" y="26"/>
                      </a:lnTo>
                      <a:lnTo>
                        <a:pt x="84" y="28"/>
                      </a:lnTo>
                      <a:lnTo>
                        <a:pt x="86" y="28"/>
                      </a:lnTo>
                      <a:lnTo>
                        <a:pt x="88" y="28"/>
                      </a:lnTo>
                      <a:lnTo>
                        <a:pt x="90" y="28"/>
                      </a:lnTo>
                      <a:lnTo>
                        <a:pt x="92" y="30"/>
                      </a:lnTo>
                      <a:lnTo>
                        <a:pt x="92" y="32"/>
                      </a:lnTo>
                      <a:lnTo>
                        <a:pt x="92" y="34"/>
                      </a:lnTo>
                      <a:lnTo>
                        <a:pt x="90" y="36"/>
                      </a:lnTo>
                      <a:lnTo>
                        <a:pt x="90" y="40"/>
                      </a:lnTo>
                      <a:lnTo>
                        <a:pt x="92" y="40"/>
                      </a:lnTo>
                      <a:lnTo>
                        <a:pt x="92" y="42"/>
                      </a:lnTo>
                      <a:lnTo>
                        <a:pt x="92" y="44"/>
                      </a:lnTo>
                      <a:lnTo>
                        <a:pt x="92" y="4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4" name="Freeform 3039"/>
                <p:cNvSpPr>
                  <a:spLocks/>
                </p:cNvSpPr>
                <p:nvPr/>
              </p:nvSpPr>
              <p:spPr bwMode="auto">
                <a:xfrm>
                  <a:off x="4350244" y="4205813"/>
                  <a:ext cx="261808" cy="361544"/>
                </a:xfrm>
                <a:custGeom>
                  <a:avLst/>
                  <a:gdLst/>
                  <a:ahLst/>
                  <a:cxnLst>
                    <a:cxn ang="0">
                      <a:pos x="118" y="110"/>
                    </a:cxn>
                    <a:cxn ang="0">
                      <a:pos x="124" y="142"/>
                    </a:cxn>
                    <a:cxn ang="0">
                      <a:pos x="124" y="160"/>
                    </a:cxn>
                    <a:cxn ang="0">
                      <a:pos x="114" y="168"/>
                    </a:cxn>
                    <a:cxn ang="0">
                      <a:pos x="110" y="160"/>
                    </a:cxn>
                    <a:cxn ang="0">
                      <a:pos x="110" y="148"/>
                    </a:cxn>
                    <a:cxn ang="0">
                      <a:pos x="104" y="136"/>
                    </a:cxn>
                    <a:cxn ang="0">
                      <a:pos x="100" y="126"/>
                    </a:cxn>
                    <a:cxn ang="0">
                      <a:pos x="74" y="116"/>
                    </a:cxn>
                    <a:cxn ang="0">
                      <a:pos x="70" y="98"/>
                    </a:cxn>
                    <a:cxn ang="0">
                      <a:pos x="70" y="92"/>
                    </a:cxn>
                    <a:cxn ang="0">
                      <a:pos x="66" y="98"/>
                    </a:cxn>
                    <a:cxn ang="0">
                      <a:pos x="70" y="104"/>
                    </a:cxn>
                    <a:cxn ang="0">
                      <a:pos x="66" y="116"/>
                    </a:cxn>
                    <a:cxn ang="0">
                      <a:pos x="66" y="134"/>
                    </a:cxn>
                    <a:cxn ang="0">
                      <a:pos x="62" y="142"/>
                    </a:cxn>
                    <a:cxn ang="0">
                      <a:pos x="54" y="140"/>
                    </a:cxn>
                    <a:cxn ang="0">
                      <a:pos x="54" y="140"/>
                    </a:cxn>
                    <a:cxn ang="0">
                      <a:pos x="52" y="140"/>
                    </a:cxn>
                    <a:cxn ang="0">
                      <a:pos x="50" y="130"/>
                    </a:cxn>
                    <a:cxn ang="0">
                      <a:pos x="50" y="128"/>
                    </a:cxn>
                    <a:cxn ang="0">
                      <a:pos x="42" y="148"/>
                    </a:cxn>
                    <a:cxn ang="0">
                      <a:pos x="40" y="134"/>
                    </a:cxn>
                    <a:cxn ang="0">
                      <a:pos x="40" y="130"/>
                    </a:cxn>
                    <a:cxn ang="0">
                      <a:pos x="40" y="140"/>
                    </a:cxn>
                    <a:cxn ang="0">
                      <a:pos x="32" y="150"/>
                    </a:cxn>
                    <a:cxn ang="0">
                      <a:pos x="28" y="136"/>
                    </a:cxn>
                    <a:cxn ang="0">
                      <a:pos x="22" y="106"/>
                    </a:cxn>
                    <a:cxn ang="0">
                      <a:pos x="20" y="96"/>
                    </a:cxn>
                    <a:cxn ang="0">
                      <a:pos x="16" y="82"/>
                    </a:cxn>
                    <a:cxn ang="0">
                      <a:pos x="12" y="70"/>
                    </a:cxn>
                    <a:cxn ang="0">
                      <a:pos x="0" y="58"/>
                    </a:cxn>
                    <a:cxn ang="0">
                      <a:pos x="10" y="52"/>
                    </a:cxn>
                    <a:cxn ang="0">
                      <a:pos x="26" y="40"/>
                    </a:cxn>
                    <a:cxn ang="0">
                      <a:pos x="22" y="34"/>
                    </a:cxn>
                    <a:cxn ang="0">
                      <a:pos x="6" y="24"/>
                    </a:cxn>
                    <a:cxn ang="0">
                      <a:pos x="10" y="8"/>
                    </a:cxn>
                    <a:cxn ang="0">
                      <a:pos x="8" y="0"/>
                    </a:cxn>
                    <a:cxn ang="0">
                      <a:pos x="18" y="10"/>
                    </a:cxn>
                    <a:cxn ang="0">
                      <a:pos x="28" y="6"/>
                    </a:cxn>
                    <a:cxn ang="0">
                      <a:pos x="40" y="14"/>
                    </a:cxn>
                    <a:cxn ang="0">
                      <a:pos x="48" y="18"/>
                    </a:cxn>
                    <a:cxn ang="0">
                      <a:pos x="48" y="36"/>
                    </a:cxn>
                    <a:cxn ang="0">
                      <a:pos x="68" y="44"/>
                    </a:cxn>
                    <a:cxn ang="0">
                      <a:pos x="94" y="46"/>
                    </a:cxn>
                    <a:cxn ang="0">
                      <a:pos x="120" y="50"/>
                    </a:cxn>
                    <a:cxn ang="0">
                      <a:pos x="114" y="52"/>
                    </a:cxn>
                    <a:cxn ang="0">
                      <a:pos x="112" y="64"/>
                    </a:cxn>
                    <a:cxn ang="0">
                      <a:pos x="104" y="74"/>
                    </a:cxn>
                    <a:cxn ang="0">
                      <a:pos x="88" y="82"/>
                    </a:cxn>
                    <a:cxn ang="0">
                      <a:pos x="88" y="104"/>
                    </a:cxn>
                    <a:cxn ang="0">
                      <a:pos x="90" y="102"/>
                    </a:cxn>
                    <a:cxn ang="0">
                      <a:pos x="102" y="106"/>
                    </a:cxn>
                    <a:cxn ang="0">
                      <a:pos x="106" y="96"/>
                    </a:cxn>
                    <a:cxn ang="0">
                      <a:pos x="108" y="88"/>
                    </a:cxn>
                    <a:cxn ang="0">
                      <a:pos x="116" y="88"/>
                    </a:cxn>
                  </a:cxnLst>
                  <a:rect l="0" t="0" r="r" b="b"/>
                  <a:pathLst>
                    <a:path w="126" h="174">
                      <a:moveTo>
                        <a:pt x="116" y="88"/>
                      </a:moveTo>
                      <a:lnTo>
                        <a:pt x="118" y="98"/>
                      </a:lnTo>
                      <a:lnTo>
                        <a:pt x="118" y="100"/>
                      </a:lnTo>
                      <a:lnTo>
                        <a:pt x="116" y="102"/>
                      </a:lnTo>
                      <a:lnTo>
                        <a:pt x="118" y="104"/>
                      </a:lnTo>
                      <a:lnTo>
                        <a:pt x="118" y="110"/>
                      </a:lnTo>
                      <a:lnTo>
                        <a:pt x="122" y="116"/>
                      </a:lnTo>
                      <a:lnTo>
                        <a:pt x="122" y="128"/>
                      </a:lnTo>
                      <a:lnTo>
                        <a:pt x="124" y="128"/>
                      </a:lnTo>
                      <a:lnTo>
                        <a:pt x="124" y="136"/>
                      </a:lnTo>
                      <a:lnTo>
                        <a:pt x="124" y="140"/>
                      </a:lnTo>
                      <a:lnTo>
                        <a:pt x="124" y="142"/>
                      </a:lnTo>
                      <a:lnTo>
                        <a:pt x="124" y="144"/>
                      </a:lnTo>
                      <a:lnTo>
                        <a:pt x="124" y="156"/>
                      </a:lnTo>
                      <a:lnTo>
                        <a:pt x="126" y="156"/>
                      </a:lnTo>
                      <a:lnTo>
                        <a:pt x="126" y="158"/>
                      </a:lnTo>
                      <a:lnTo>
                        <a:pt x="126" y="160"/>
                      </a:lnTo>
                      <a:lnTo>
                        <a:pt x="124" y="160"/>
                      </a:lnTo>
                      <a:lnTo>
                        <a:pt x="122" y="156"/>
                      </a:lnTo>
                      <a:lnTo>
                        <a:pt x="118" y="154"/>
                      </a:lnTo>
                      <a:lnTo>
                        <a:pt x="114" y="156"/>
                      </a:lnTo>
                      <a:lnTo>
                        <a:pt x="114" y="164"/>
                      </a:lnTo>
                      <a:lnTo>
                        <a:pt x="116" y="166"/>
                      </a:lnTo>
                      <a:lnTo>
                        <a:pt x="114" y="168"/>
                      </a:lnTo>
                      <a:lnTo>
                        <a:pt x="116" y="170"/>
                      </a:lnTo>
                      <a:lnTo>
                        <a:pt x="116" y="172"/>
                      </a:lnTo>
                      <a:lnTo>
                        <a:pt x="116" y="174"/>
                      </a:lnTo>
                      <a:lnTo>
                        <a:pt x="114" y="170"/>
                      </a:lnTo>
                      <a:lnTo>
                        <a:pt x="110" y="162"/>
                      </a:lnTo>
                      <a:lnTo>
                        <a:pt x="110" y="160"/>
                      </a:lnTo>
                      <a:lnTo>
                        <a:pt x="108" y="158"/>
                      </a:lnTo>
                      <a:lnTo>
                        <a:pt x="106" y="156"/>
                      </a:lnTo>
                      <a:lnTo>
                        <a:pt x="106" y="154"/>
                      </a:lnTo>
                      <a:lnTo>
                        <a:pt x="108" y="154"/>
                      </a:lnTo>
                      <a:lnTo>
                        <a:pt x="108" y="150"/>
                      </a:lnTo>
                      <a:lnTo>
                        <a:pt x="110" y="148"/>
                      </a:lnTo>
                      <a:lnTo>
                        <a:pt x="108" y="148"/>
                      </a:lnTo>
                      <a:lnTo>
                        <a:pt x="106" y="148"/>
                      </a:lnTo>
                      <a:lnTo>
                        <a:pt x="106" y="144"/>
                      </a:lnTo>
                      <a:lnTo>
                        <a:pt x="104" y="146"/>
                      </a:lnTo>
                      <a:lnTo>
                        <a:pt x="106" y="142"/>
                      </a:lnTo>
                      <a:lnTo>
                        <a:pt x="104" y="136"/>
                      </a:lnTo>
                      <a:lnTo>
                        <a:pt x="104" y="134"/>
                      </a:lnTo>
                      <a:lnTo>
                        <a:pt x="102" y="134"/>
                      </a:lnTo>
                      <a:lnTo>
                        <a:pt x="102" y="132"/>
                      </a:lnTo>
                      <a:lnTo>
                        <a:pt x="102" y="128"/>
                      </a:lnTo>
                      <a:lnTo>
                        <a:pt x="100" y="128"/>
                      </a:lnTo>
                      <a:lnTo>
                        <a:pt x="100" y="126"/>
                      </a:lnTo>
                      <a:lnTo>
                        <a:pt x="96" y="118"/>
                      </a:lnTo>
                      <a:lnTo>
                        <a:pt x="92" y="116"/>
                      </a:lnTo>
                      <a:lnTo>
                        <a:pt x="88" y="120"/>
                      </a:lnTo>
                      <a:lnTo>
                        <a:pt x="88" y="122"/>
                      </a:lnTo>
                      <a:lnTo>
                        <a:pt x="80" y="122"/>
                      </a:lnTo>
                      <a:lnTo>
                        <a:pt x="74" y="116"/>
                      </a:lnTo>
                      <a:lnTo>
                        <a:pt x="74" y="114"/>
                      </a:lnTo>
                      <a:lnTo>
                        <a:pt x="74" y="112"/>
                      </a:lnTo>
                      <a:lnTo>
                        <a:pt x="72" y="110"/>
                      </a:lnTo>
                      <a:lnTo>
                        <a:pt x="70" y="108"/>
                      </a:lnTo>
                      <a:lnTo>
                        <a:pt x="70" y="104"/>
                      </a:lnTo>
                      <a:lnTo>
                        <a:pt x="70" y="98"/>
                      </a:lnTo>
                      <a:lnTo>
                        <a:pt x="70" y="94"/>
                      </a:lnTo>
                      <a:lnTo>
                        <a:pt x="72" y="94"/>
                      </a:lnTo>
                      <a:lnTo>
                        <a:pt x="72" y="92"/>
                      </a:lnTo>
                      <a:lnTo>
                        <a:pt x="72" y="94"/>
                      </a:lnTo>
                      <a:lnTo>
                        <a:pt x="70" y="94"/>
                      </a:lnTo>
                      <a:lnTo>
                        <a:pt x="70" y="92"/>
                      </a:lnTo>
                      <a:lnTo>
                        <a:pt x="68" y="92"/>
                      </a:lnTo>
                      <a:lnTo>
                        <a:pt x="66" y="92"/>
                      </a:lnTo>
                      <a:lnTo>
                        <a:pt x="70" y="92"/>
                      </a:lnTo>
                      <a:lnTo>
                        <a:pt x="70" y="96"/>
                      </a:lnTo>
                      <a:lnTo>
                        <a:pt x="68" y="98"/>
                      </a:lnTo>
                      <a:lnTo>
                        <a:pt x="66" y="98"/>
                      </a:lnTo>
                      <a:lnTo>
                        <a:pt x="64" y="96"/>
                      </a:lnTo>
                      <a:lnTo>
                        <a:pt x="62" y="96"/>
                      </a:lnTo>
                      <a:lnTo>
                        <a:pt x="66" y="100"/>
                      </a:lnTo>
                      <a:lnTo>
                        <a:pt x="68" y="100"/>
                      </a:lnTo>
                      <a:lnTo>
                        <a:pt x="70" y="102"/>
                      </a:lnTo>
                      <a:lnTo>
                        <a:pt x="70" y="104"/>
                      </a:lnTo>
                      <a:lnTo>
                        <a:pt x="70" y="106"/>
                      </a:lnTo>
                      <a:lnTo>
                        <a:pt x="66" y="106"/>
                      </a:lnTo>
                      <a:lnTo>
                        <a:pt x="66" y="108"/>
                      </a:lnTo>
                      <a:lnTo>
                        <a:pt x="66" y="110"/>
                      </a:lnTo>
                      <a:lnTo>
                        <a:pt x="64" y="116"/>
                      </a:lnTo>
                      <a:lnTo>
                        <a:pt x="66" y="116"/>
                      </a:lnTo>
                      <a:lnTo>
                        <a:pt x="70" y="122"/>
                      </a:lnTo>
                      <a:lnTo>
                        <a:pt x="70" y="126"/>
                      </a:lnTo>
                      <a:lnTo>
                        <a:pt x="70" y="128"/>
                      </a:lnTo>
                      <a:lnTo>
                        <a:pt x="70" y="130"/>
                      </a:lnTo>
                      <a:lnTo>
                        <a:pt x="68" y="134"/>
                      </a:lnTo>
                      <a:lnTo>
                        <a:pt x="66" y="134"/>
                      </a:lnTo>
                      <a:lnTo>
                        <a:pt x="64" y="136"/>
                      </a:lnTo>
                      <a:lnTo>
                        <a:pt x="64" y="130"/>
                      </a:lnTo>
                      <a:lnTo>
                        <a:pt x="64" y="134"/>
                      </a:lnTo>
                      <a:lnTo>
                        <a:pt x="64" y="136"/>
                      </a:lnTo>
                      <a:lnTo>
                        <a:pt x="62" y="138"/>
                      </a:lnTo>
                      <a:lnTo>
                        <a:pt x="62" y="142"/>
                      </a:lnTo>
                      <a:lnTo>
                        <a:pt x="60" y="142"/>
                      </a:lnTo>
                      <a:lnTo>
                        <a:pt x="60" y="144"/>
                      </a:lnTo>
                      <a:lnTo>
                        <a:pt x="58" y="144"/>
                      </a:lnTo>
                      <a:lnTo>
                        <a:pt x="56" y="144"/>
                      </a:lnTo>
                      <a:lnTo>
                        <a:pt x="54" y="142"/>
                      </a:lnTo>
                      <a:lnTo>
                        <a:pt x="54" y="140"/>
                      </a:lnTo>
                      <a:lnTo>
                        <a:pt x="58" y="134"/>
                      </a:lnTo>
                      <a:lnTo>
                        <a:pt x="60" y="134"/>
                      </a:lnTo>
                      <a:lnTo>
                        <a:pt x="56" y="136"/>
                      </a:lnTo>
                      <a:lnTo>
                        <a:pt x="56" y="138"/>
                      </a:lnTo>
                      <a:lnTo>
                        <a:pt x="54" y="138"/>
                      </a:lnTo>
                      <a:lnTo>
                        <a:pt x="54" y="140"/>
                      </a:lnTo>
                      <a:lnTo>
                        <a:pt x="52" y="138"/>
                      </a:lnTo>
                      <a:lnTo>
                        <a:pt x="54" y="134"/>
                      </a:lnTo>
                      <a:lnTo>
                        <a:pt x="56" y="134"/>
                      </a:lnTo>
                      <a:lnTo>
                        <a:pt x="54" y="134"/>
                      </a:lnTo>
                      <a:lnTo>
                        <a:pt x="52" y="138"/>
                      </a:lnTo>
                      <a:lnTo>
                        <a:pt x="52" y="140"/>
                      </a:lnTo>
                      <a:lnTo>
                        <a:pt x="52" y="138"/>
                      </a:lnTo>
                      <a:lnTo>
                        <a:pt x="50" y="136"/>
                      </a:lnTo>
                      <a:lnTo>
                        <a:pt x="52" y="136"/>
                      </a:lnTo>
                      <a:lnTo>
                        <a:pt x="50" y="134"/>
                      </a:lnTo>
                      <a:lnTo>
                        <a:pt x="50" y="132"/>
                      </a:lnTo>
                      <a:lnTo>
                        <a:pt x="50" y="130"/>
                      </a:lnTo>
                      <a:lnTo>
                        <a:pt x="50" y="128"/>
                      </a:lnTo>
                      <a:lnTo>
                        <a:pt x="52" y="128"/>
                      </a:lnTo>
                      <a:lnTo>
                        <a:pt x="52" y="126"/>
                      </a:lnTo>
                      <a:lnTo>
                        <a:pt x="52" y="124"/>
                      </a:lnTo>
                      <a:lnTo>
                        <a:pt x="52" y="126"/>
                      </a:lnTo>
                      <a:lnTo>
                        <a:pt x="50" y="128"/>
                      </a:lnTo>
                      <a:lnTo>
                        <a:pt x="48" y="130"/>
                      </a:lnTo>
                      <a:lnTo>
                        <a:pt x="50" y="132"/>
                      </a:lnTo>
                      <a:lnTo>
                        <a:pt x="48" y="140"/>
                      </a:lnTo>
                      <a:lnTo>
                        <a:pt x="50" y="140"/>
                      </a:lnTo>
                      <a:lnTo>
                        <a:pt x="50" y="142"/>
                      </a:lnTo>
                      <a:lnTo>
                        <a:pt x="42" y="148"/>
                      </a:lnTo>
                      <a:lnTo>
                        <a:pt x="40" y="146"/>
                      </a:lnTo>
                      <a:lnTo>
                        <a:pt x="40" y="144"/>
                      </a:lnTo>
                      <a:lnTo>
                        <a:pt x="40" y="142"/>
                      </a:lnTo>
                      <a:lnTo>
                        <a:pt x="42" y="128"/>
                      </a:lnTo>
                      <a:lnTo>
                        <a:pt x="40" y="132"/>
                      </a:lnTo>
                      <a:lnTo>
                        <a:pt x="40" y="134"/>
                      </a:lnTo>
                      <a:lnTo>
                        <a:pt x="42" y="134"/>
                      </a:lnTo>
                      <a:lnTo>
                        <a:pt x="40" y="138"/>
                      </a:lnTo>
                      <a:lnTo>
                        <a:pt x="40" y="140"/>
                      </a:lnTo>
                      <a:lnTo>
                        <a:pt x="40" y="134"/>
                      </a:lnTo>
                      <a:lnTo>
                        <a:pt x="40" y="132"/>
                      </a:lnTo>
                      <a:lnTo>
                        <a:pt x="40" y="130"/>
                      </a:lnTo>
                      <a:lnTo>
                        <a:pt x="38" y="130"/>
                      </a:lnTo>
                      <a:lnTo>
                        <a:pt x="38" y="132"/>
                      </a:lnTo>
                      <a:lnTo>
                        <a:pt x="40" y="134"/>
                      </a:lnTo>
                      <a:lnTo>
                        <a:pt x="40" y="136"/>
                      </a:lnTo>
                      <a:lnTo>
                        <a:pt x="40" y="138"/>
                      </a:lnTo>
                      <a:lnTo>
                        <a:pt x="40" y="140"/>
                      </a:lnTo>
                      <a:lnTo>
                        <a:pt x="38" y="146"/>
                      </a:lnTo>
                      <a:lnTo>
                        <a:pt x="36" y="146"/>
                      </a:lnTo>
                      <a:lnTo>
                        <a:pt x="36" y="142"/>
                      </a:lnTo>
                      <a:lnTo>
                        <a:pt x="36" y="140"/>
                      </a:lnTo>
                      <a:lnTo>
                        <a:pt x="34" y="148"/>
                      </a:lnTo>
                      <a:lnTo>
                        <a:pt x="32" y="150"/>
                      </a:lnTo>
                      <a:lnTo>
                        <a:pt x="32" y="148"/>
                      </a:lnTo>
                      <a:lnTo>
                        <a:pt x="32" y="146"/>
                      </a:lnTo>
                      <a:lnTo>
                        <a:pt x="30" y="146"/>
                      </a:lnTo>
                      <a:lnTo>
                        <a:pt x="28" y="144"/>
                      </a:lnTo>
                      <a:lnTo>
                        <a:pt x="28" y="138"/>
                      </a:lnTo>
                      <a:lnTo>
                        <a:pt x="28" y="136"/>
                      </a:lnTo>
                      <a:lnTo>
                        <a:pt x="28" y="134"/>
                      </a:lnTo>
                      <a:lnTo>
                        <a:pt x="28" y="132"/>
                      </a:lnTo>
                      <a:lnTo>
                        <a:pt x="26" y="130"/>
                      </a:lnTo>
                      <a:lnTo>
                        <a:pt x="24" y="112"/>
                      </a:lnTo>
                      <a:lnTo>
                        <a:pt x="22" y="110"/>
                      </a:lnTo>
                      <a:lnTo>
                        <a:pt x="22" y="106"/>
                      </a:lnTo>
                      <a:lnTo>
                        <a:pt x="26" y="102"/>
                      </a:lnTo>
                      <a:lnTo>
                        <a:pt x="22" y="102"/>
                      </a:lnTo>
                      <a:lnTo>
                        <a:pt x="20" y="102"/>
                      </a:lnTo>
                      <a:lnTo>
                        <a:pt x="18" y="102"/>
                      </a:lnTo>
                      <a:lnTo>
                        <a:pt x="18" y="100"/>
                      </a:lnTo>
                      <a:lnTo>
                        <a:pt x="20" y="96"/>
                      </a:lnTo>
                      <a:lnTo>
                        <a:pt x="20" y="94"/>
                      </a:lnTo>
                      <a:lnTo>
                        <a:pt x="18" y="94"/>
                      </a:lnTo>
                      <a:lnTo>
                        <a:pt x="14" y="92"/>
                      </a:lnTo>
                      <a:lnTo>
                        <a:pt x="14" y="90"/>
                      </a:lnTo>
                      <a:lnTo>
                        <a:pt x="14" y="84"/>
                      </a:lnTo>
                      <a:lnTo>
                        <a:pt x="16" y="82"/>
                      </a:lnTo>
                      <a:lnTo>
                        <a:pt x="18" y="82"/>
                      </a:lnTo>
                      <a:lnTo>
                        <a:pt x="18" y="78"/>
                      </a:lnTo>
                      <a:lnTo>
                        <a:pt x="18" y="74"/>
                      </a:lnTo>
                      <a:lnTo>
                        <a:pt x="18" y="72"/>
                      </a:lnTo>
                      <a:lnTo>
                        <a:pt x="18" y="70"/>
                      </a:lnTo>
                      <a:lnTo>
                        <a:pt x="12" y="70"/>
                      </a:lnTo>
                      <a:lnTo>
                        <a:pt x="8" y="66"/>
                      </a:lnTo>
                      <a:lnTo>
                        <a:pt x="6" y="66"/>
                      </a:lnTo>
                      <a:lnTo>
                        <a:pt x="4" y="64"/>
                      </a:lnTo>
                      <a:lnTo>
                        <a:pt x="2" y="64"/>
                      </a:lnTo>
                      <a:lnTo>
                        <a:pt x="2" y="62"/>
                      </a:lnTo>
                      <a:lnTo>
                        <a:pt x="0" y="58"/>
                      </a:lnTo>
                      <a:lnTo>
                        <a:pt x="4" y="54"/>
                      </a:lnTo>
                      <a:lnTo>
                        <a:pt x="2" y="52"/>
                      </a:lnTo>
                      <a:lnTo>
                        <a:pt x="4" y="50"/>
                      </a:lnTo>
                      <a:lnTo>
                        <a:pt x="6" y="52"/>
                      </a:lnTo>
                      <a:lnTo>
                        <a:pt x="8" y="52"/>
                      </a:lnTo>
                      <a:lnTo>
                        <a:pt x="10" y="52"/>
                      </a:lnTo>
                      <a:lnTo>
                        <a:pt x="10" y="46"/>
                      </a:lnTo>
                      <a:lnTo>
                        <a:pt x="10" y="44"/>
                      </a:lnTo>
                      <a:lnTo>
                        <a:pt x="12" y="42"/>
                      </a:lnTo>
                      <a:lnTo>
                        <a:pt x="22" y="44"/>
                      </a:lnTo>
                      <a:lnTo>
                        <a:pt x="24" y="44"/>
                      </a:lnTo>
                      <a:lnTo>
                        <a:pt x="26" y="40"/>
                      </a:lnTo>
                      <a:lnTo>
                        <a:pt x="24" y="40"/>
                      </a:lnTo>
                      <a:lnTo>
                        <a:pt x="22" y="40"/>
                      </a:lnTo>
                      <a:lnTo>
                        <a:pt x="22" y="38"/>
                      </a:lnTo>
                      <a:lnTo>
                        <a:pt x="20" y="36"/>
                      </a:lnTo>
                      <a:lnTo>
                        <a:pt x="22" y="36"/>
                      </a:lnTo>
                      <a:lnTo>
                        <a:pt x="22" y="34"/>
                      </a:lnTo>
                      <a:lnTo>
                        <a:pt x="20" y="34"/>
                      </a:lnTo>
                      <a:lnTo>
                        <a:pt x="18" y="34"/>
                      </a:lnTo>
                      <a:lnTo>
                        <a:pt x="14" y="34"/>
                      </a:lnTo>
                      <a:lnTo>
                        <a:pt x="10" y="32"/>
                      </a:lnTo>
                      <a:lnTo>
                        <a:pt x="10" y="28"/>
                      </a:lnTo>
                      <a:lnTo>
                        <a:pt x="6" y="24"/>
                      </a:lnTo>
                      <a:lnTo>
                        <a:pt x="4" y="24"/>
                      </a:lnTo>
                      <a:lnTo>
                        <a:pt x="2" y="26"/>
                      </a:lnTo>
                      <a:lnTo>
                        <a:pt x="0" y="22"/>
                      </a:lnTo>
                      <a:lnTo>
                        <a:pt x="4" y="14"/>
                      </a:lnTo>
                      <a:lnTo>
                        <a:pt x="8" y="10"/>
                      </a:lnTo>
                      <a:lnTo>
                        <a:pt x="10" y="8"/>
                      </a:lnTo>
                      <a:lnTo>
                        <a:pt x="12" y="8"/>
                      </a:lnTo>
                      <a:lnTo>
                        <a:pt x="12" y="6"/>
                      </a:lnTo>
                      <a:lnTo>
                        <a:pt x="12" y="4"/>
                      </a:lnTo>
                      <a:lnTo>
                        <a:pt x="10" y="4"/>
                      </a:lnTo>
                      <a:lnTo>
                        <a:pt x="8" y="4"/>
                      </a:lnTo>
                      <a:lnTo>
                        <a:pt x="8" y="0"/>
                      </a:lnTo>
                      <a:lnTo>
                        <a:pt x="10" y="0"/>
                      </a:lnTo>
                      <a:lnTo>
                        <a:pt x="10" y="2"/>
                      </a:lnTo>
                      <a:lnTo>
                        <a:pt x="14" y="4"/>
                      </a:lnTo>
                      <a:lnTo>
                        <a:pt x="16" y="4"/>
                      </a:lnTo>
                      <a:lnTo>
                        <a:pt x="16" y="6"/>
                      </a:lnTo>
                      <a:lnTo>
                        <a:pt x="18" y="10"/>
                      </a:lnTo>
                      <a:lnTo>
                        <a:pt x="26" y="12"/>
                      </a:lnTo>
                      <a:lnTo>
                        <a:pt x="28" y="10"/>
                      </a:lnTo>
                      <a:lnTo>
                        <a:pt x="22" y="6"/>
                      </a:lnTo>
                      <a:lnTo>
                        <a:pt x="24" y="6"/>
                      </a:lnTo>
                      <a:lnTo>
                        <a:pt x="24" y="4"/>
                      </a:lnTo>
                      <a:lnTo>
                        <a:pt x="28" y="6"/>
                      </a:lnTo>
                      <a:lnTo>
                        <a:pt x="28" y="14"/>
                      </a:lnTo>
                      <a:lnTo>
                        <a:pt x="32" y="16"/>
                      </a:lnTo>
                      <a:lnTo>
                        <a:pt x="34" y="18"/>
                      </a:lnTo>
                      <a:lnTo>
                        <a:pt x="40" y="18"/>
                      </a:lnTo>
                      <a:lnTo>
                        <a:pt x="42" y="16"/>
                      </a:lnTo>
                      <a:lnTo>
                        <a:pt x="40" y="14"/>
                      </a:lnTo>
                      <a:lnTo>
                        <a:pt x="42" y="12"/>
                      </a:lnTo>
                      <a:lnTo>
                        <a:pt x="44" y="12"/>
                      </a:lnTo>
                      <a:lnTo>
                        <a:pt x="44" y="14"/>
                      </a:lnTo>
                      <a:lnTo>
                        <a:pt x="46" y="14"/>
                      </a:lnTo>
                      <a:lnTo>
                        <a:pt x="46" y="16"/>
                      </a:lnTo>
                      <a:lnTo>
                        <a:pt x="48" y="18"/>
                      </a:lnTo>
                      <a:lnTo>
                        <a:pt x="48" y="22"/>
                      </a:lnTo>
                      <a:lnTo>
                        <a:pt x="48" y="28"/>
                      </a:lnTo>
                      <a:lnTo>
                        <a:pt x="50" y="30"/>
                      </a:lnTo>
                      <a:lnTo>
                        <a:pt x="50" y="32"/>
                      </a:lnTo>
                      <a:lnTo>
                        <a:pt x="48" y="34"/>
                      </a:lnTo>
                      <a:lnTo>
                        <a:pt x="48" y="36"/>
                      </a:lnTo>
                      <a:lnTo>
                        <a:pt x="48" y="38"/>
                      </a:lnTo>
                      <a:lnTo>
                        <a:pt x="48" y="40"/>
                      </a:lnTo>
                      <a:lnTo>
                        <a:pt x="52" y="40"/>
                      </a:lnTo>
                      <a:lnTo>
                        <a:pt x="64" y="44"/>
                      </a:lnTo>
                      <a:lnTo>
                        <a:pt x="66" y="44"/>
                      </a:lnTo>
                      <a:lnTo>
                        <a:pt x="68" y="44"/>
                      </a:lnTo>
                      <a:lnTo>
                        <a:pt x="70" y="44"/>
                      </a:lnTo>
                      <a:lnTo>
                        <a:pt x="80" y="44"/>
                      </a:lnTo>
                      <a:lnTo>
                        <a:pt x="86" y="44"/>
                      </a:lnTo>
                      <a:lnTo>
                        <a:pt x="88" y="42"/>
                      </a:lnTo>
                      <a:lnTo>
                        <a:pt x="88" y="44"/>
                      </a:lnTo>
                      <a:lnTo>
                        <a:pt x="94" y="46"/>
                      </a:lnTo>
                      <a:lnTo>
                        <a:pt x="110" y="44"/>
                      </a:lnTo>
                      <a:lnTo>
                        <a:pt x="112" y="46"/>
                      </a:lnTo>
                      <a:lnTo>
                        <a:pt x="116" y="46"/>
                      </a:lnTo>
                      <a:lnTo>
                        <a:pt x="118" y="48"/>
                      </a:lnTo>
                      <a:lnTo>
                        <a:pt x="118" y="50"/>
                      </a:lnTo>
                      <a:lnTo>
                        <a:pt x="120" y="50"/>
                      </a:lnTo>
                      <a:lnTo>
                        <a:pt x="122" y="52"/>
                      </a:lnTo>
                      <a:lnTo>
                        <a:pt x="120" y="52"/>
                      </a:lnTo>
                      <a:lnTo>
                        <a:pt x="120" y="54"/>
                      </a:lnTo>
                      <a:lnTo>
                        <a:pt x="118" y="54"/>
                      </a:lnTo>
                      <a:lnTo>
                        <a:pt x="116" y="52"/>
                      </a:lnTo>
                      <a:lnTo>
                        <a:pt x="114" y="52"/>
                      </a:lnTo>
                      <a:lnTo>
                        <a:pt x="114" y="54"/>
                      </a:lnTo>
                      <a:lnTo>
                        <a:pt x="116" y="54"/>
                      </a:lnTo>
                      <a:lnTo>
                        <a:pt x="114" y="56"/>
                      </a:lnTo>
                      <a:lnTo>
                        <a:pt x="114" y="58"/>
                      </a:lnTo>
                      <a:lnTo>
                        <a:pt x="112" y="62"/>
                      </a:lnTo>
                      <a:lnTo>
                        <a:pt x="112" y="64"/>
                      </a:lnTo>
                      <a:lnTo>
                        <a:pt x="110" y="64"/>
                      </a:lnTo>
                      <a:lnTo>
                        <a:pt x="112" y="66"/>
                      </a:lnTo>
                      <a:lnTo>
                        <a:pt x="110" y="68"/>
                      </a:lnTo>
                      <a:lnTo>
                        <a:pt x="108" y="68"/>
                      </a:lnTo>
                      <a:lnTo>
                        <a:pt x="106" y="68"/>
                      </a:lnTo>
                      <a:lnTo>
                        <a:pt x="104" y="74"/>
                      </a:lnTo>
                      <a:lnTo>
                        <a:pt x="100" y="74"/>
                      </a:lnTo>
                      <a:lnTo>
                        <a:pt x="96" y="76"/>
                      </a:lnTo>
                      <a:lnTo>
                        <a:pt x="94" y="76"/>
                      </a:lnTo>
                      <a:lnTo>
                        <a:pt x="92" y="76"/>
                      </a:lnTo>
                      <a:lnTo>
                        <a:pt x="90" y="76"/>
                      </a:lnTo>
                      <a:lnTo>
                        <a:pt x="88" y="82"/>
                      </a:lnTo>
                      <a:lnTo>
                        <a:pt x="88" y="84"/>
                      </a:lnTo>
                      <a:lnTo>
                        <a:pt x="86" y="86"/>
                      </a:lnTo>
                      <a:lnTo>
                        <a:pt x="84" y="86"/>
                      </a:lnTo>
                      <a:lnTo>
                        <a:pt x="84" y="90"/>
                      </a:lnTo>
                      <a:lnTo>
                        <a:pt x="88" y="100"/>
                      </a:lnTo>
                      <a:lnTo>
                        <a:pt x="88" y="104"/>
                      </a:lnTo>
                      <a:lnTo>
                        <a:pt x="90" y="104"/>
                      </a:lnTo>
                      <a:lnTo>
                        <a:pt x="90" y="106"/>
                      </a:lnTo>
                      <a:lnTo>
                        <a:pt x="92" y="106"/>
                      </a:lnTo>
                      <a:lnTo>
                        <a:pt x="92" y="104"/>
                      </a:lnTo>
                      <a:lnTo>
                        <a:pt x="90" y="104"/>
                      </a:lnTo>
                      <a:lnTo>
                        <a:pt x="90" y="102"/>
                      </a:lnTo>
                      <a:lnTo>
                        <a:pt x="92" y="100"/>
                      </a:lnTo>
                      <a:lnTo>
                        <a:pt x="92" y="102"/>
                      </a:lnTo>
                      <a:lnTo>
                        <a:pt x="96" y="110"/>
                      </a:lnTo>
                      <a:lnTo>
                        <a:pt x="98" y="110"/>
                      </a:lnTo>
                      <a:lnTo>
                        <a:pt x="102" y="108"/>
                      </a:lnTo>
                      <a:lnTo>
                        <a:pt x="102" y="106"/>
                      </a:lnTo>
                      <a:lnTo>
                        <a:pt x="102" y="104"/>
                      </a:lnTo>
                      <a:lnTo>
                        <a:pt x="102" y="102"/>
                      </a:lnTo>
                      <a:lnTo>
                        <a:pt x="102" y="100"/>
                      </a:lnTo>
                      <a:lnTo>
                        <a:pt x="102" y="98"/>
                      </a:lnTo>
                      <a:lnTo>
                        <a:pt x="104" y="96"/>
                      </a:lnTo>
                      <a:lnTo>
                        <a:pt x="106" y="96"/>
                      </a:lnTo>
                      <a:lnTo>
                        <a:pt x="106" y="94"/>
                      </a:lnTo>
                      <a:lnTo>
                        <a:pt x="106" y="92"/>
                      </a:lnTo>
                      <a:lnTo>
                        <a:pt x="106" y="90"/>
                      </a:lnTo>
                      <a:lnTo>
                        <a:pt x="106" y="88"/>
                      </a:lnTo>
                      <a:lnTo>
                        <a:pt x="106" y="86"/>
                      </a:lnTo>
                      <a:lnTo>
                        <a:pt x="108" y="88"/>
                      </a:lnTo>
                      <a:lnTo>
                        <a:pt x="108" y="90"/>
                      </a:lnTo>
                      <a:lnTo>
                        <a:pt x="110" y="90"/>
                      </a:lnTo>
                      <a:lnTo>
                        <a:pt x="110" y="88"/>
                      </a:lnTo>
                      <a:lnTo>
                        <a:pt x="112" y="86"/>
                      </a:lnTo>
                      <a:lnTo>
                        <a:pt x="114" y="88"/>
                      </a:lnTo>
                      <a:lnTo>
                        <a:pt x="116" y="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5" name="Freeform 3040"/>
                <p:cNvSpPr>
                  <a:spLocks/>
                </p:cNvSpPr>
                <p:nvPr/>
              </p:nvSpPr>
              <p:spPr bwMode="auto">
                <a:xfrm>
                  <a:off x="4491538" y="4446842"/>
                  <a:ext cx="16623" cy="49868"/>
                </a:xfrm>
                <a:custGeom>
                  <a:avLst/>
                  <a:gdLst/>
                  <a:ahLst/>
                  <a:cxnLst>
                    <a:cxn ang="0">
                      <a:pos x="4" y="24"/>
                    </a:cxn>
                    <a:cxn ang="0">
                      <a:pos x="2" y="24"/>
                    </a:cxn>
                    <a:cxn ang="0">
                      <a:pos x="2" y="22"/>
                    </a:cxn>
                    <a:cxn ang="0">
                      <a:pos x="2" y="18"/>
                    </a:cxn>
                    <a:cxn ang="0">
                      <a:pos x="2" y="16"/>
                    </a:cxn>
                    <a:cxn ang="0">
                      <a:pos x="4" y="14"/>
                    </a:cxn>
                    <a:cxn ang="0">
                      <a:pos x="4" y="8"/>
                    </a:cxn>
                    <a:cxn ang="0">
                      <a:pos x="2" y="8"/>
                    </a:cxn>
                    <a:cxn ang="0">
                      <a:pos x="2" y="6"/>
                    </a:cxn>
                    <a:cxn ang="0">
                      <a:pos x="0" y="4"/>
                    </a:cxn>
                    <a:cxn ang="0">
                      <a:pos x="0" y="2"/>
                    </a:cxn>
                    <a:cxn ang="0">
                      <a:pos x="2" y="0"/>
                    </a:cxn>
                    <a:cxn ang="0">
                      <a:pos x="4" y="0"/>
                    </a:cxn>
                    <a:cxn ang="0">
                      <a:pos x="4" y="4"/>
                    </a:cxn>
                    <a:cxn ang="0">
                      <a:pos x="8" y="8"/>
                    </a:cxn>
                    <a:cxn ang="0">
                      <a:pos x="8" y="12"/>
                    </a:cxn>
                    <a:cxn ang="0">
                      <a:pos x="8" y="16"/>
                    </a:cxn>
                    <a:cxn ang="0">
                      <a:pos x="8" y="18"/>
                    </a:cxn>
                    <a:cxn ang="0">
                      <a:pos x="6" y="20"/>
                    </a:cxn>
                    <a:cxn ang="0">
                      <a:pos x="4" y="24"/>
                    </a:cxn>
                  </a:cxnLst>
                  <a:rect l="0" t="0" r="r" b="b"/>
                  <a:pathLst>
                    <a:path w="8" h="24">
                      <a:moveTo>
                        <a:pt x="4" y="24"/>
                      </a:moveTo>
                      <a:lnTo>
                        <a:pt x="2" y="24"/>
                      </a:lnTo>
                      <a:lnTo>
                        <a:pt x="2" y="22"/>
                      </a:lnTo>
                      <a:lnTo>
                        <a:pt x="2" y="18"/>
                      </a:lnTo>
                      <a:lnTo>
                        <a:pt x="2" y="16"/>
                      </a:lnTo>
                      <a:lnTo>
                        <a:pt x="4" y="14"/>
                      </a:lnTo>
                      <a:lnTo>
                        <a:pt x="4" y="8"/>
                      </a:lnTo>
                      <a:lnTo>
                        <a:pt x="2" y="8"/>
                      </a:lnTo>
                      <a:lnTo>
                        <a:pt x="2" y="6"/>
                      </a:lnTo>
                      <a:lnTo>
                        <a:pt x="0" y="4"/>
                      </a:lnTo>
                      <a:lnTo>
                        <a:pt x="0" y="2"/>
                      </a:lnTo>
                      <a:lnTo>
                        <a:pt x="2" y="0"/>
                      </a:lnTo>
                      <a:lnTo>
                        <a:pt x="4" y="0"/>
                      </a:lnTo>
                      <a:lnTo>
                        <a:pt x="4" y="4"/>
                      </a:lnTo>
                      <a:lnTo>
                        <a:pt x="8" y="8"/>
                      </a:lnTo>
                      <a:lnTo>
                        <a:pt x="8" y="12"/>
                      </a:lnTo>
                      <a:lnTo>
                        <a:pt x="8" y="16"/>
                      </a:lnTo>
                      <a:lnTo>
                        <a:pt x="8" y="18"/>
                      </a:lnTo>
                      <a:lnTo>
                        <a:pt x="6" y="20"/>
                      </a:lnTo>
                      <a:lnTo>
                        <a:pt x="4" y="2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6" name="Freeform 3041"/>
                <p:cNvSpPr>
                  <a:spLocks/>
                </p:cNvSpPr>
                <p:nvPr/>
              </p:nvSpPr>
              <p:spPr bwMode="auto">
                <a:xfrm>
                  <a:off x="6166276" y="4288926"/>
                  <a:ext cx="112203" cy="207784"/>
                </a:xfrm>
                <a:custGeom>
                  <a:avLst/>
                  <a:gdLst/>
                  <a:ahLst/>
                  <a:cxnLst>
                    <a:cxn ang="0">
                      <a:pos x="4" y="52"/>
                    </a:cxn>
                    <a:cxn ang="0">
                      <a:pos x="4" y="50"/>
                    </a:cxn>
                    <a:cxn ang="0">
                      <a:pos x="6" y="44"/>
                    </a:cxn>
                    <a:cxn ang="0">
                      <a:pos x="10" y="38"/>
                    </a:cxn>
                    <a:cxn ang="0">
                      <a:pos x="12" y="32"/>
                    </a:cxn>
                    <a:cxn ang="0">
                      <a:pos x="16" y="28"/>
                    </a:cxn>
                    <a:cxn ang="0">
                      <a:pos x="16" y="24"/>
                    </a:cxn>
                    <a:cxn ang="0">
                      <a:pos x="18" y="22"/>
                    </a:cxn>
                    <a:cxn ang="0">
                      <a:pos x="24" y="18"/>
                    </a:cxn>
                    <a:cxn ang="0">
                      <a:pos x="26" y="12"/>
                    </a:cxn>
                    <a:cxn ang="0">
                      <a:pos x="32" y="6"/>
                    </a:cxn>
                    <a:cxn ang="0">
                      <a:pos x="36" y="6"/>
                    </a:cxn>
                    <a:cxn ang="0">
                      <a:pos x="38" y="4"/>
                    </a:cxn>
                    <a:cxn ang="0">
                      <a:pos x="38" y="4"/>
                    </a:cxn>
                    <a:cxn ang="0">
                      <a:pos x="40" y="0"/>
                    </a:cxn>
                    <a:cxn ang="0">
                      <a:pos x="44" y="2"/>
                    </a:cxn>
                    <a:cxn ang="0">
                      <a:pos x="52" y="6"/>
                    </a:cxn>
                    <a:cxn ang="0">
                      <a:pos x="54" y="10"/>
                    </a:cxn>
                    <a:cxn ang="0">
                      <a:pos x="50" y="12"/>
                    </a:cxn>
                    <a:cxn ang="0">
                      <a:pos x="48" y="16"/>
                    </a:cxn>
                    <a:cxn ang="0">
                      <a:pos x="50" y="20"/>
                    </a:cxn>
                    <a:cxn ang="0">
                      <a:pos x="50" y="26"/>
                    </a:cxn>
                    <a:cxn ang="0">
                      <a:pos x="48" y="28"/>
                    </a:cxn>
                    <a:cxn ang="0">
                      <a:pos x="46" y="34"/>
                    </a:cxn>
                    <a:cxn ang="0">
                      <a:pos x="44" y="38"/>
                    </a:cxn>
                    <a:cxn ang="0">
                      <a:pos x="40" y="54"/>
                    </a:cxn>
                    <a:cxn ang="0">
                      <a:pos x="40" y="58"/>
                    </a:cxn>
                    <a:cxn ang="0">
                      <a:pos x="30" y="76"/>
                    </a:cxn>
                    <a:cxn ang="0">
                      <a:pos x="28" y="80"/>
                    </a:cxn>
                    <a:cxn ang="0">
                      <a:pos x="24" y="88"/>
                    </a:cxn>
                    <a:cxn ang="0">
                      <a:pos x="22" y="100"/>
                    </a:cxn>
                    <a:cxn ang="0">
                      <a:pos x="18" y="100"/>
                    </a:cxn>
                    <a:cxn ang="0">
                      <a:pos x="16" y="90"/>
                    </a:cxn>
                    <a:cxn ang="0">
                      <a:pos x="14" y="86"/>
                    </a:cxn>
                    <a:cxn ang="0">
                      <a:pos x="10" y="84"/>
                    </a:cxn>
                    <a:cxn ang="0">
                      <a:pos x="6" y="80"/>
                    </a:cxn>
                    <a:cxn ang="0">
                      <a:pos x="6" y="76"/>
                    </a:cxn>
                    <a:cxn ang="0">
                      <a:pos x="4" y="72"/>
                    </a:cxn>
                    <a:cxn ang="0">
                      <a:pos x="4" y="68"/>
                    </a:cxn>
                    <a:cxn ang="0">
                      <a:pos x="0" y="68"/>
                    </a:cxn>
                    <a:cxn ang="0">
                      <a:pos x="2" y="64"/>
                    </a:cxn>
                    <a:cxn ang="0">
                      <a:pos x="2" y="60"/>
                    </a:cxn>
                    <a:cxn ang="0">
                      <a:pos x="4" y="58"/>
                    </a:cxn>
                  </a:cxnLst>
                  <a:rect l="0" t="0" r="r" b="b"/>
                  <a:pathLst>
                    <a:path w="54" h="100">
                      <a:moveTo>
                        <a:pt x="4" y="54"/>
                      </a:moveTo>
                      <a:lnTo>
                        <a:pt x="4" y="52"/>
                      </a:lnTo>
                      <a:lnTo>
                        <a:pt x="2" y="50"/>
                      </a:lnTo>
                      <a:lnTo>
                        <a:pt x="4" y="50"/>
                      </a:lnTo>
                      <a:lnTo>
                        <a:pt x="4" y="46"/>
                      </a:lnTo>
                      <a:lnTo>
                        <a:pt x="6" y="44"/>
                      </a:lnTo>
                      <a:lnTo>
                        <a:pt x="8" y="42"/>
                      </a:lnTo>
                      <a:lnTo>
                        <a:pt x="10" y="38"/>
                      </a:lnTo>
                      <a:lnTo>
                        <a:pt x="12" y="34"/>
                      </a:lnTo>
                      <a:lnTo>
                        <a:pt x="12" y="32"/>
                      </a:lnTo>
                      <a:lnTo>
                        <a:pt x="14" y="28"/>
                      </a:lnTo>
                      <a:lnTo>
                        <a:pt x="16" y="28"/>
                      </a:lnTo>
                      <a:lnTo>
                        <a:pt x="16" y="26"/>
                      </a:lnTo>
                      <a:lnTo>
                        <a:pt x="16" y="24"/>
                      </a:lnTo>
                      <a:lnTo>
                        <a:pt x="18" y="24"/>
                      </a:lnTo>
                      <a:lnTo>
                        <a:pt x="18" y="22"/>
                      </a:lnTo>
                      <a:lnTo>
                        <a:pt x="22" y="18"/>
                      </a:lnTo>
                      <a:lnTo>
                        <a:pt x="24" y="18"/>
                      </a:lnTo>
                      <a:lnTo>
                        <a:pt x="24" y="12"/>
                      </a:lnTo>
                      <a:lnTo>
                        <a:pt x="26" y="12"/>
                      </a:lnTo>
                      <a:lnTo>
                        <a:pt x="28" y="8"/>
                      </a:lnTo>
                      <a:lnTo>
                        <a:pt x="32" y="6"/>
                      </a:lnTo>
                      <a:lnTo>
                        <a:pt x="34" y="6"/>
                      </a:lnTo>
                      <a:lnTo>
                        <a:pt x="36" y="6"/>
                      </a:lnTo>
                      <a:lnTo>
                        <a:pt x="36" y="4"/>
                      </a:lnTo>
                      <a:lnTo>
                        <a:pt x="38" y="4"/>
                      </a:lnTo>
                      <a:lnTo>
                        <a:pt x="40" y="6"/>
                      </a:lnTo>
                      <a:lnTo>
                        <a:pt x="38" y="4"/>
                      </a:lnTo>
                      <a:lnTo>
                        <a:pt x="40" y="2"/>
                      </a:lnTo>
                      <a:lnTo>
                        <a:pt x="40" y="0"/>
                      </a:lnTo>
                      <a:lnTo>
                        <a:pt x="42" y="0"/>
                      </a:lnTo>
                      <a:lnTo>
                        <a:pt x="44" y="2"/>
                      </a:lnTo>
                      <a:lnTo>
                        <a:pt x="46" y="6"/>
                      </a:lnTo>
                      <a:lnTo>
                        <a:pt x="52" y="6"/>
                      </a:lnTo>
                      <a:lnTo>
                        <a:pt x="54" y="8"/>
                      </a:lnTo>
                      <a:lnTo>
                        <a:pt x="54" y="10"/>
                      </a:lnTo>
                      <a:lnTo>
                        <a:pt x="52" y="10"/>
                      </a:lnTo>
                      <a:lnTo>
                        <a:pt x="50" y="12"/>
                      </a:lnTo>
                      <a:lnTo>
                        <a:pt x="50" y="16"/>
                      </a:lnTo>
                      <a:lnTo>
                        <a:pt x="48" y="16"/>
                      </a:lnTo>
                      <a:lnTo>
                        <a:pt x="50" y="18"/>
                      </a:lnTo>
                      <a:lnTo>
                        <a:pt x="50" y="20"/>
                      </a:lnTo>
                      <a:lnTo>
                        <a:pt x="50" y="24"/>
                      </a:lnTo>
                      <a:lnTo>
                        <a:pt x="50" y="26"/>
                      </a:lnTo>
                      <a:lnTo>
                        <a:pt x="48" y="26"/>
                      </a:lnTo>
                      <a:lnTo>
                        <a:pt x="48" y="28"/>
                      </a:lnTo>
                      <a:lnTo>
                        <a:pt x="48" y="30"/>
                      </a:lnTo>
                      <a:lnTo>
                        <a:pt x="46" y="34"/>
                      </a:lnTo>
                      <a:lnTo>
                        <a:pt x="44" y="36"/>
                      </a:lnTo>
                      <a:lnTo>
                        <a:pt x="44" y="38"/>
                      </a:lnTo>
                      <a:lnTo>
                        <a:pt x="44" y="40"/>
                      </a:lnTo>
                      <a:lnTo>
                        <a:pt x="40" y="54"/>
                      </a:lnTo>
                      <a:lnTo>
                        <a:pt x="40" y="56"/>
                      </a:lnTo>
                      <a:lnTo>
                        <a:pt x="40" y="58"/>
                      </a:lnTo>
                      <a:lnTo>
                        <a:pt x="32" y="76"/>
                      </a:lnTo>
                      <a:lnTo>
                        <a:pt x="30" y="76"/>
                      </a:lnTo>
                      <a:lnTo>
                        <a:pt x="28" y="78"/>
                      </a:lnTo>
                      <a:lnTo>
                        <a:pt x="28" y="80"/>
                      </a:lnTo>
                      <a:lnTo>
                        <a:pt x="26" y="82"/>
                      </a:lnTo>
                      <a:lnTo>
                        <a:pt x="24" y="88"/>
                      </a:lnTo>
                      <a:lnTo>
                        <a:pt x="24" y="98"/>
                      </a:lnTo>
                      <a:lnTo>
                        <a:pt x="22" y="100"/>
                      </a:lnTo>
                      <a:lnTo>
                        <a:pt x="20" y="100"/>
                      </a:lnTo>
                      <a:lnTo>
                        <a:pt x="18" y="100"/>
                      </a:lnTo>
                      <a:lnTo>
                        <a:pt x="18" y="94"/>
                      </a:lnTo>
                      <a:lnTo>
                        <a:pt x="16" y="90"/>
                      </a:lnTo>
                      <a:lnTo>
                        <a:pt x="16" y="88"/>
                      </a:lnTo>
                      <a:lnTo>
                        <a:pt x="14" y="86"/>
                      </a:lnTo>
                      <a:lnTo>
                        <a:pt x="12" y="86"/>
                      </a:lnTo>
                      <a:lnTo>
                        <a:pt x="10" y="84"/>
                      </a:lnTo>
                      <a:lnTo>
                        <a:pt x="8" y="82"/>
                      </a:lnTo>
                      <a:lnTo>
                        <a:pt x="6" y="80"/>
                      </a:lnTo>
                      <a:lnTo>
                        <a:pt x="6" y="78"/>
                      </a:lnTo>
                      <a:lnTo>
                        <a:pt x="6" y="76"/>
                      </a:lnTo>
                      <a:lnTo>
                        <a:pt x="4" y="76"/>
                      </a:lnTo>
                      <a:lnTo>
                        <a:pt x="4" y="72"/>
                      </a:lnTo>
                      <a:lnTo>
                        <a:pt x="4" y="70"/>
                      </a:lnTo>
                      <a:lnTo>
                        <a:pt x="4" y="68"/>
                      </a:lnTo>
                      <a:lnTo>
                        <a:pt x="2" y="68"/>
                      </a:lnTo>
                      <a:lnTo>
                        <a:pt x="0" y="68"/>
                      </a:lnTo>
                      <a:lnTo>
                        <a:pt x="2" y="66"/>
                      </a:lnTo>
                      <a:lnTo>
                        <a:pt x="2" y="64"/>
                      </a:lnTo>
                      <a:lnTo>
                        <a:pt x="2" y="62"/>
                      </a:lnTo>
                      <a:lnTo>
                        <a:pt x="2" y="60"/>
                      </a:lnTo>
                      <a:lnTo>
                        <a:pt x="4" y="60"/>
                      </a:lnTo>
                      <a:lnTo>
                        <a:pt x="4" y="58"/>
                      </a:lnTo>
                      <a:lnTo>
                        <a:pt x="4" y="5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47" name="Group 3042"/>
                <p:cNvGrpSpPr>
                  <a:grpSpLocks/>
                </p:cNvGrpSpPr>
                <p:nvPr/>
              </p:nvGrpSpPr>
              <p:grpSpPr bwMode="auto">
                <a:xfrm>
                  <a:off x="2301495" y="4222435"/>
                  <a:ext cx="444658" cy="594262"/>
                  <a:chOff x="1344" y="2912"/>
                  <a:chExt cx="214" cy="286"/>
                </a:xfrm>
                <a:solidFill>
                  <a:srgbClr val="646464"/>
                </a:solidFill>
              </p:grpSpPr>
              <p:sp>
                <p:nvSpPr>
                  <p:cNvPr id="617" name="Freeform 3043"/>
                  <p:cNvSpPr>
                    <a:spLocks/>
                  </p:cNvSpPr>
                  <p:nvPr/>
                </p:nvSpPr>
                <p:spPr bwMode="auto">
                  <a:xfrm>
                    <a:off x="1456" y="2912"/>
                    <a:ext cx="10" cy="22"/>
                  </a:xfrm>
                  <a:custGeom>
                    <a:avLst/>
                    <a:gdLst/>
                    <a:ahLst/>
                    <a:cxnLst>
                      <a:cxn ang="0">
                        <a:pos x="4" y="22"/>
                      </a:cxn>
                      <a:cxn ang="0">
                        <a:pos x="2" y="20"/>
                      </a:cxn>
                      <a:cxn ang="0">
                        <a:pos x="0" y="20"/>
                      </a:cxn>
                      <a:cxn ang="0">
                        <a:pos x="0" y="16"/>
                      </a:cxn>
                      <a:cxn ang="0">
                        <a:pos x="2" y="14"/>
                      </a:cxn>
                      <a:cxn ang="0">
                        <a:pos x="2" y="10"/>
                      </a:cxn>
                      <a:cxn ang="0">
                        <a:pos x="0" y="8"/>
                      </a:cxn>
                      <a:cxn ang="0">
                        <a:pos x="2" y="2"/>
                      </a:cxn>
                      <a:cxn ang="0">
                        <a:pos x="4" y="4"/>
                      </a:cxn>
                      <a:cxn ang="0">
                        <a:pos x="6" y="4"/>
                      </a:cxn>
                      <a:cxn ang="0">
                        <a:pos x="8" y="4"/>
                      </a:cxn>
                      <a:cxn ang="0">
                        <a:pos x="8" y="2"/>
                      </a:cxn>
                      <a:cxn ang="0">
                        <a:pos x="6" y="4"/>
                      </a:cxn>
                      <a:cxn ang="0">
                        <a:pos x="6" y="2"/>
                      </a:cxn>
                      <a:cxn ang="0">
                        <a:pos x="8" y="0"/>
                      </a:cxn>
                      <a:cxn ang="0">
                        <a:pos x="8" y="2"/>
                      </a:cxn>
                      <a:cxn ang="0">
                        <a:pos x="10" y="2"/>
                      </a:cxn>
                      <a:cxn ang="0">
                        <a:pos x="10" y="6"/>
                      </a:cxn>
                      <a:cxn ang="0">
                        <a:pos x="8" y="6"/>
                      </a:cxn>
                      <a:cxn ang="0">
                        <a:pos x="8" y="4"/>
                      </a:cxn>
                      <a:cxn ang="0">
                        <a:pos x="6" y="6"/>
                      </a:cxn>
                      <a:cxn ang="0">
                        <a:pos x="6" y="8"/>
                      </a:cxn>
                      <a:cxn ang="0">
                        <a:pos x="8" y="8"/>
                      </a:cxn>
                      <a:cxn ang="0">
                        <a:pos x="8" y="12"/>
                      </a:cxn>
                      <a:cxn ang="0">
                        <a:pos x="8" y="14"/>
                      </a:cxn>
                      <a:cxn ang="0">
                        <a:pos x="6" y="16"/>
                      </a:cxn>
                      <a:cxn ang="0">
                        <a:pos x="6" y="18"/>
                      </a:cxn>
                      <a:cxn ang="0">
                        <a:pos x="4" y="20"/>
                      </a:cxn>
                      <a:cxn ang="0">
                        <a:pos x="4" y="22"/>
                      </a:cxn>
                    </a:cxnLst>
                    <a:rect l="0" t="0" r="r" b="b"/>
                    <a:pathLst>
                      <a:path w="10" h="22">
                        <a:moveTo>
                          <a:pt x="4" y="22"/>
                        </a:moveTo>
                        <a:lnTo>
                          <a:pt x="2" y="20"/>
                        </a:lnTo>
                        <a:lnTo>
                          <a:pt x="0" y="20"/>
                        </a:lnTo>
                        <a:lnTo>
                          <a:pt x="0" y="16"/>
                        </a:lnTo>
                        <a:lnTo>
                          <a:pt x="2" y="14"/>
                        </a:lnTo>
                        <a:lnTo>
                          <a:pt x="2" y="10"/>
                        </a:lnTo>
                        <a:lnTo>
                          <a:pt x="0" y="8"/>
                        </a:lnTo>
                        <a:lnTo>
                          <a:pt x="2" y="2"/>
                        </a:lnTo>
                        <a:lnTo>
                          <a:pt x="4" y="4"/>
                        </a:lnTo>
                        <a:lnTo>
                          <a:pt x="6" y="4"/>
                        </a:lnTo>
                        <a:lnTo>
                          <a:pt x="8" y="4"/>
                        </a:lnTo>
                        <a:lnTo>
                          <a:pt x="8" y="2"/>
                        </a:lnTo>
                        <a:lnTo>
                          <a:pt x="6" y="4"/>
                        </a:lnTo>
                        <a:lnTo>
                          <a:pt x="6" y="2"/>
                        </a:lnTo>
                        <a:lnTo>
                          <a:pt x="8" y="0"/>
                        </a:lnTo>
                        <a:lnTo>
                          <a:pt x="8" y="2"/>
                        </a:lnTo>
                        <a:lnTo>
                          <a:pt x="10" y="2"/>
                        </a:lnTo>
                        <a:lnTo>
                          <a:pt x="10" y="6"/>
                        </a:lnTo>
                        <a:lnTo>
                          <a:pt x="8" y="6"/>
                        </a:lnTo>
                        <a:lnTo>
                          <a:pt x="8" y="4"/>
                        </a:lnTo>
                        <a:lnTo>
                          <a:pt x="6" y="6"/>
                        </a:lnTo>
                        <a:lnTo>
                          <a:pt x="6" y="8"/>
                        </a:lnTo>
                        <a:lnTo>
                          <a:pt x="8" y="8"/>
                        </a:lnTo>
                        <a:lnTo>
                          <a:pt x="8" y="12"/>
                        </a:lnTo>
                        <a:lnTo>
                          <a:pt x="8" y="14"/>
                        </a:lnTo>
                        <a:lnTo>
                          <a:pt x="6" y="16"/>
                        </a:lnTo>
                        <a:lnTo>
                          <a:pt x="6" y="18"/>
                        </a:lnTo>
                        <a:lnTo>
                          <a:pt x="4" y="20"/>
                        </a:lnTo>
                        <a:lnTo>
                          <a:pt x="4"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8" name="Freeform 3044"/>
                  <p:cNvSpPr>
                    <a:spLocks/>
                  </p:cNvSpPr>
                  <p:nvPr/>
                </p:nvSpPr>
                <p:spPr bwMode="auto">
                  <a:xfrm>
                    <a:off x="1344" y="2954"/>
                    <a:ext cx="214" cy="244"/>
                  </a:xfrm>
                  <a:custGeom>
                    <a:avLst/>
                    <a:gdLst/>
                    <a:ahLst/>
                    <a:cxnLst>
                      <a:cxn ang="0">
                        <a:pos x="170" y="134"/>
                      </a:cxn>
                      <a:cxn ang="0">
                        <a:pos x="166" y="130"/>
                      </a:cxn>
                      <a:cxn ang="0">
                        <a:pos x="158" y="148"/>
                      </a:cxn>
                      <a:cxn ang="0">
                        <a:pos x="158" y="164"/>
                      </a:cxn>
                      <a:cxn ang="0">
                        <a:pos x="158" y="168"/>
                      </a:cxn>
                      <a:cxn ang="0">
                        <a:pos x="156" y="178"/>
                      </a:cxn>
                      <a:cxn ang="0">
                        <a:pos x="140" y="178"/>
                      </a:cxn>
                      <a:cxn ang="0">
                        <a:pos x="128" y="186"/>
                      </a:cxn>
                      <a:cxn ang="0">
                        <a:pos x="126" y="192"/>
                      </a:cxn>
                      <a:cxn ang="0">
                        <a:pos x="122" y="202"/>
                      </a:cxn>
                      <a:cxn ang="0">
                        <a:pos x="116" y="206"/>
                      </a:cxn>
                      <a:cxn ang="0">
                        <a:pos x="92" y="212"/>
                      </a:cxn>
                      <a:cxn ang="0">
                        <a:pos x="88" y="220"/>
                      </a:cxn>
                      <a:cxn ang="0">
                        <a:pos x="88" y="226"/>
                      </a:cxn>
                      <a:cxn ang="0">
                        <a:pos x="80" y="234"/>
                      </a:cxn>
                      <a:cxn ang="0">
                        <a:pos x="74" y="236"/>
                      </a:cxn>
                      <a:cxn ang="0">
                        <a:pos x="46" y="238"/>
                      </a:cxn>
                      <a:cxn ang="0">
                        <a:pos x="30" y="244"/>
                      </a:cxn>
                      <a:cxn ang="0">
                        <a:pos x="100" y="88"/>
                      </a:cxn>
                      <a:cxn ang="0">
                        <a:pos x="88" y="64"/>
                      </a:cxn>
                      <a:cxn ang="0">
                        <a:pos x="90" y="54"/>
                      </a:cxn>
                      <a:cxn ang="0">
                        <a:pos x="92" y="48"/>
                      </a:cxn>
                      <a:cxn ang="0">
                        <a:pos x="96" y="32"/>
                      </a:cxn>
                      <a:cxn ang="0">
                        <a:pos x="104" y="28"/>
                      </a:cxn>
                      <a:cxn ang="0">
                        <a:pos x="106" y="22"/>
                      </a:cxn>
                      <a:cxn ang="0">
                        <a:pos x="104" y="16"/>
                      </a:cxn>
                      <a:cxn ang="0">
                        <a:pos x="106" y="10"/>
                      </a:cxn>
                      <a:cxn ang="0">
                        <a:pos x="106" y="2"/>
                      </a:cxn>
                      <a:cxn ang="0">
                        <a:pos x="110" y="2"/>
                      </a:cxn>
                      <a:cxn ang="0">
                        <a:pos x="114" y="6"/>
                      </a:cxn>
                      <a:cxn ang="0">
                        <a:pos x="118" y="2"/>
                      </a:cxn>
                      <a:cxn ang="0">
                        <a:pos x="122" y="8"/>
                      </a:cxn>
                      <a:cxn ang="0">
                        <a:pos x="132" y="20"/>
                      </a:cxn>
                      <a:cxn ang="0">
                        <a:pos x="140" y="30"/>
                      </a:cxn>
                      <a:cxn ang="0">
                        <a:pos x="160" y="38"/>
                      </a:cxn>
                      <a:cxn ang="0">
                        <a:pos x="166" y="38"/>
                      </a:cxn>
                      <a:cxn ang="0">
                        <a:pos x="172" y="40"/>
                      </a:cxn>
                      <a:cxn ang="0">
                        <a:pos x="192" y="54"/>
                      </a:cxn>
                      <a:cxn ang="0">
                        <a:pos x="196" y="60"/>
                      </a:cxn>
                      <a:cxn ang="0">
                        <a:pos x="200" y="66"/>
                      </a:cxn>
                      <a:cxn ang="0">
                        <a:pos x="206" y="72"/>
                      </a:cxn>
                      <a:cxn ang="0">
                        <a:pos x="214" y="76"/>
                      </a:cxn>
                      <a:cxn ang="0">
                        <a:pos x="206" y="94"/>
                      </a:cxn>
                      <a:cxn ang="0">
                        <a:pos x="200" y="106"/>
                      </a:cxn>
                      <a:cxn ang="0">
                        <a:pos x="188" y="116"/>
                      </a:cxn>
                      <a:cxn ang="0">
                        <a:pos x="184" y="124"/>
                      </a:cxn>
                      <a:cxn ang="0">
                        <a:pos x="176" y="136"/>
                      </a:cxn>
                    </a:cxnLst>
                    <a:rect l="0" t="0" r="r" b="b"/>
                    <a:pathLst>
                      <a:path w="214" h="244">
                        <a:moveTo>
                          <a:pt x="172" y="136"/>
                        </a:moveTo>
                        <a:lnTo>
                          <a:pt x="170" y="136"/>
                        </a:lnTo>
                        <a:lnTo>
                          <a:pt x="170" y="134"/>
                        </a:lnTo>
                        <a:lnTo>
                          <a:pt x="170" y="132"/>
                        </a:lnTo>
                        <a:lnTo>
                          <a:pt x="170" y="130"/>
                        </a:lnTo>
                        <a:lnTo>
                          <a:pt x="166" y="130"/>
                        </a:lnTo>
                        <a:lnTo>
                          <a:pt x="166" y="132"/>
                        </a:lnTo>
                        <a:lnTo>
                          <a:pt x="158" y="142"/>
                        </a:lnTo>
                        <a:lnTo>
                          <a:pt x="158" y="148"/>
                        </a:lnTo>
                        <a:lnTo>
                          <a:pt x="156" y="154"/>
                        </a:lnTo>
                        <a:lnTo>
                          <a:pt x="156" y="162"/>
                        </a:lnTo>
                        <a:lnTo>
                          <a:pt x="158" y="164"/>
                        </a:lnTo>
                        <a:lnTo>
                          <a:pt x="158" y="166"/>
                        </a:lnTo>
                        <a:lnTo>
                          <a:pt x="156" y="168"/>
                        </a:lnTo>
                        <a:lnTo>
                          <a:pt x="158" y="168"/>
                        </a:lnTo>
                        <a:lnTo>
                          <a:pt x="158" y="176"/>
                        </a:lnTo>
                        <a:lnTo>
                          <a:pt x="158" y="178"/>
                        </a:lnTo>
                        <a:lnTo>
                          <a:pt x="156" y="178"/>
                        </a:lnTo>
                        <a:lnTo>
                          <a:pt x="152" y="178"/>
                        </a:lnTo>
                        <a:lnTo>
                          <a:pt x="150" y="178"/>
                        </a:lnTo>
                        <a:lnTo>
                          <a:pt x="140" y="178"/>
                        </a:lnTo>
                        <a:lnTo>
                          <a:pt x="140" y="180"/>
                        </a:lnTo>
                        <a:lnTo>
                          <a:pt x="134" y="182"/>
                        </a:lnTo>
                        <a:lnTo>
                          <a:pt x="128" y="186"/>
                        </a:lnTo>
                        <a:lnTo>
                          <a:pt x="128" y="188"/>
                        </a:lnTo>
                        <a:lnTo>
                          <a:pt x="126" y="188"/>
                        </a:lnTo>
                        <a:lnTo>
                          <a:pt x="126" y="192"/>
                        </a:lnTo>
                        <a:lnTo>
                          <a:pt x="124" y="198"/>
                        </a:lnTo>
                        <a:lnTo>
                          <a:pt x="124" y="200"/>
                        </a:lnTo>
                        <a:lnTo>
                          <a:pt x="122" y="202"/>
                        </a:lnTo>
                        <a:lnTo>
                          <a:pt x="120" y="204"/>
                        </a:lnTo>
                        <a:lnTo>
                          <a:pt x="118" y="206"/>
                        </a:lnTo>
                        <a:lnTo>
                          <a:pt x="116" y="206"/>
                        </a:lnTo>
                        <a:lnTo>
                          <a:pt x="96" y="208"/>
                        </a:lnTo>
                        <a:lnTo>
                          <a:pt x="94" y="210"/>
                        </a:lnTo>
                        <a:lnTo>
                          <a:pt x="92" y="212"/>
                        </a:lnTo>
                        <a:lnTo>
                          <a:pt x="88" y="216"/>
                        </a:lnTo>
                        <a:lnTo>
                          <a:pt x="88" y="218"/>
                        </a:lnTo>
                        <a:lnTo>
                          <a:pt x="88" y="220"/>
                        </a:lnTo>
                        <a:lnTo>
                          <a:pt x="90" y="222"/>
                        </a:lnTo>
                        <a:lnTo>
                          <a:pt x="90" y="224"/>
                        </a:lnTo>
                        <a:lnTo>
                          <a:pt x="88" y="226"/>
                        </a:lnTo>
                        <a:lnTo>
                          <a:pt x="84" y="232"/>
                        </a:lnTo>
                        <a:lnTo>
                          <a:pt x="82" y="234"/>
                        </a:lnTo>
                        <a:lnTo>
                          <a:pt x="80" y="234"/>
                        </a:lnTo>
                        <a:lnTo>
                          <a:pt x="78" y="234"/>
                        </a:lnTo>
                        <a:lnTo>
                          <a:pt x="76" y="236"/>
                        </a:lnTo>
                        <a:lnTo>
                          <a:pt x="74" y="236"/>
                        </a:lnTo>
                        <a:lnTo>
                          <a:pt x="72" y="232"/>
                        </a:lnTo>
                        <a:lnTo>
                          <a:pt x="56" y="234"/>
                        </a:lnTo>
                        <a:lnTo>
                          <a:pt x="46" y="238"/>
                        </a:lnTo>
                        <a:lnTo>
                          <a:pt x="44" y="242"/>
                        </a:lnTo>
                        <a:lnTo>
                          <a:pt x="36" y="242"/>
                        </a:lnTo>
                        <a:lnTo>
                          <a:pt x="30" y="244"/>
                        </a:lnTo>
                        <a:lnTo>
                          <a:pt x="0" y="176"/>
                        </a:lnTo>
                        <a:lnTo>
                          <a:pt x="82" y="148"/>
                        </a:lnTo>
                        <a:lnTo>
                          <a:pt x="100" y="88"/>
                        </a:lnTo>
                        <a:lnTo>
                          <a:pt x="88" y="68"/>
                        </a:lnTo>
                        <a:lnTo>
                          <a:pt x="88" y="66"/>
                        </a:lnTo>
                        <a:lnTo>
                          <a:pt x="88" y="64"/>
                        </a:lnTo>
                        <a:lnTo>
                          <a:pt x="88" y="58"/>
                        </a:lnTo>
                        <a:lnTo>
                          <a:pt x="88" y="54"/>
                        </a:lnTo>
                        <a:lnTo>
                          <a:pt x="90" y="54"/>
                        </a:lnTo>
                        <a:lnTo>
                          <a:pt x="90" y="52"/>
                        </a:lnTo>
                        <a:lnTo>
                          <a:pt x="92" y="50"/>
                        </a:lnTo>
                        <a:lnTo>
                          <a:pt x="92" y="48"/>
                        </a:lnTo>
                        <a:lnTo>
                          <a:pt x="94" y="40"/>
                        </a:lnTo>
                        <a:lnTo>
                          <a:pt x="98" y="36"/>
                        </a:lnTo>
                        <a:lnTo>
                          <a:pt x="96" y="32"/>
                        </a:lnTo>
                        <a:lnTo>
                          <a:pt x="96" y="30"/>
                        </a:lnTo>
                        <a:lnTo>
                          <a:pt x="100" y="28"/>
                        </a:lnTo>
                        <a:lnTo>
                          <a:pt x="104" y="28"/>
                        </a:lnTo>
                        <a:lnTo>
                          <a:pt x="110" y="26"/>
                        </a:lnTo>
                        <a:lnTo>
                          <a:pt x="108" y="22"/>
                        </a:lnTo>
                        <a:lnTo>
                          <a:pt x="106" y="22"/>
                        </a:lnTo>
                        <a:lnTo>
                          <a:pt x="102" y="22"/>
                        </a:lnTo>
                        <a:lnTo>
                          <a:pt x="104" y="20"/>
                        </a:lnTo>
                        <a:lnTo>
                          <a:pt x="104" y="16"/>
                        </a:lnTo>
                        <a:lnTo>
                          <a:pt x="104" y="14"/>
                        </a:lnTo>
                        <a:lnTo>
                          <a:pt x="104" y="12"/>
                        </a:lnTo>
                        <a:lnTo>
                          <a:pt x="106" y="10"/>
                        </a:lnTo>
                        <a:lnTo>
                          <a:pt x="104" y="8"/>
                        </a:lnTo>
                        <a:lnTo>
                          <a:pt x="104" y="2"/>
                        </a:lnTo>
                        <a:lnTo>
                          <a:pt x="106" y="2"/>
                        </a:lnTo>
                        <a:lnTo>
                          <a:pt x="106" y="0"/>
                        </a:lnTo>
                        <a:lnTo>
                          <a:pt x="110" y="0"/>
                        </a:lnTo>
                        <a:lnTo>
                          <a:pt x="110" y="2"/>
                        </a:lnTo>
                        <a:lnTo>
                          <a:pt x="108" y="2"/>
                        </a:lnTo>
                        <a:lnTo>
                          <a:pt x="112" y="8"/>
                        </a:lnTo>
                        <a:lnTo>
                          <a:pt x="114" y="6"/>
                        </a:lnTo>
                        <a:lnTo>
                          <a:pt x="116" y="4"/>
                        </a:lnTo>
                        <a:lnTo>
                          <a:pt x="118" y="4"/>
                        </a:lnTo>
                        <a:lnTo>
                          <a:pt x="118" y="2"/>
                        </a:lnTo>
                        <a:lnTo>
                          <a:pt x="118" y="0"/>
                        </a:lnTo>
                        <a:lnTo>
                          <a:pt x="120" y="0"/>
                        </a:lnTo>
                        <a:lnTo>
                          <a:pt x="122" y="8"/>
                        </a:lnTo>
                        <a:lnTo>
                          <a:pt x="122" y="10"/>
                        </a:lnTo>
                        <a:lnTo>
                          <a:pt x="126" y="14"/>
                        </a:lnTo>
                        <a:lnTo>
                          <a:pt x="132" y="20"/>
                        </a:lnTo>
                        <a:lnTo>
                          <a:pt x="132" y="22"/>
                        </a:lnTo>
                        <a:lnTo>
                          <a:pt x="132" y="24"/>
                        </a:lnTo>
                        <a:lnTo>
                          <a:pt x="140" y="30"/>
                        </a:lnTo>
                        <a:lnTo>
                          <a:pt x="158" y="36"/>
                        </a:lnTo>
                        <a:lnTo>
                          <a:pt x="160" y="36"/>
                        </a:lnTo>
                        <a:lnTo>
                          <a:pt x="160" y="38"/>
                        </a:lnTo>
                        <a:lnTo>
                          <a:pt x="162" y="38"/>
                        </a:lnTo>
                        <a:lnTo>
                          <a:pt x="164" y="36"/>
                        </a:lnTo>
                        <a:lnTo>
                          <a:pt x="166" y="38"/>
                        </a:lnTo>
                        <a:lnTo>
                          <a:pt x="168" y="38"/>
                        </a:lnTo>
                        <a:lnTo>
                          <a:pt x="170" y="40"/>
                        </a:lnTo>
                        <a:lnTo>
                          <a:pt x="172" y="40"/>
                        </a:lnTo>
                        <a:lnTo>
                          <a:pt x="176" y="40"/>
                        </a:lnTo>
                        <a:lnTo>
                          <a:pt x="180" y="40"/>
                        </a:lnTo>
                        <a:lnTo>
                          <a:pt x="192" y="54"/>
                        </a:lnTo>
                        <a:lnTo>
                          <a:pt x="192" y="56"/>
                        </a:lnTo>
                        <a:lnTo>
                          <a:pt x="194" y="58"/>
                        </a:lnTo>
                        <a:lnTo>
                          <a:pt x="196" y="60"/>
                        </a:lnTo>
                        <a:lnTo>
                          <a:pt x="198" y="60"/>
                        </a:lnTo>
                        <a:lnTo>
                          <a:pt x="200" y="64"/>
                        </a:lnTo>
                        <a:lnTo>
                          <a:pt x="200" y="66"/>
                        </a:lnTo>
                        <a:lnTo>
                          <a:pt x="202" y="68"/>
                        </a:lnTo>
                        <a:lnTo>
                          <a:pt x="204" y="70"/>
                        </a:lnTo>
                        <a:lnTo>
                          <a:pt x="206" y="72"/>
                        </a:lnTo>
                        <a:lnTo>
                          <a:pt x="212" y="72"/>
                        </a:lnTo>
                        <a:lnTo>
                          <a:pt x="214" y="74"/>
                        </a:lnTo>
                        <a:lnTo>
                          <a:pt x="214" y="76"/>
                        </a:lnTo>
                        <a:lnTo>
                          <a:pt x="208" y="90"/>
                        </a:lnTo>
                        <a:lnTo>
                          <a:pt x="206" y="92"/>
                        </a:lnTo>
                        <a:lnTo>
                          <a:pt x="206" y="94"/>
                        </a:lnTo>
                        <a:lnTo>
                          <a:pt x="204" y="96"/>
                        </a:lnTo>
                        <a:lnTo>
                          <a:pt x="204" y="98"/>
                        </a:lnTo>
                        <a:lnTo>
                          <a:pt x="200" y="106"/>
                        </a:lnTo>
                        <a:lnTo>
                          <a:pt x="198" y="106"/>
                        </a:lnTo>
                        <a:lnTo>
                          <a:pt x="196" y="106"/>
                        </a:lnTo>
                        <a:lnTo>
                          <a:pt x="188" y="116"/>
                        </a:lnTo>
                        <a:lnTo>
                          <a:pt x="186" y="116"/>
                        </a:lnTo>
                        <a:lnTo>
                          <a:pt x="182" y="122"/>
                        </a:lnTo>
                        <a:lnTo>
                          <a:pt x="184" y="124"/>
                        </a:lnTo>
                        <a:lnTo>
                          <a:pt x="180" y="130"/>
                        </a:lnTo>
                        <a:lnTo>
                          <a:pt x="178" y="136"/>
                        </a:lnTo>
                        <a:lnTo>
                          <a:pt x="176" y="136"/>
                        </a:lnTo>
                        <a:lnTo>
                          <a:pt x="170" y="136"/>
                        </a:lnTo>
                        <a:lnTo>
                          <a:pt x="172" y="136"/>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48" name="Freeform 3045"/>
                <p:cNvSpPr>
                  <a:spLocks/>
                </p:cNvSpPr>
                <p:nvPr/>
              </p:nvSpPr>
              <p:spPr bwMode="auto">
                <a:xfrm>
                  <a:off x="2679661" y="4571512"/>
                  <a:ext cx="16623" cy="33245"/>
                </a:xfrm>
                <a:custGeom>
                  <a:avLst/>
                  <a:gdLst/>
                  <a:ahLst/>
                  <a:cxnLst>
                    <a:cxn ang="0">
                      <a:pos x="0" y="16"/>
                    </a:cxn>
                    <a:cxn ang="0">
                      <a:pos x="0" y="10"/>
                    </a:cxn>
                    <a:cxn ang="0">
                      <a:pos x="0" y="8"/>
                    </a:cxn>
                    <a:cxn ang="0">
                      <a:pos x="2" y="8"/>
                    </a:cxn>
                    <a:cxn ang="0">
                      <a:pos x="4" y="8"/>
                    </a:cxn>
                    <a:cxn ang="0">
                      <a:pos x="4" y="4"/>
                    </a:cxn>
                    <a:cxn ang="0">
                      <a:pos x="6" y="2"/>
                    </a:cxn>
                    <a:cxn ang="0">
                      <a:pos x="6" y="0"/>
                    </a:cxn>
                    <a:cxn ang="0">
                      <a:pos x="6" y="2"/>
                    </a:cxn>
                    <a:cxn ang="0">
                      <a:pos x="8" y="6"/>
                    </a:cxn>
                    <a:cxn ang="0">
                      <a:pos x="6" y="8"/>
                    </a:cxn>
                    <a:cxn ang="0">
                      <a:pos x="4" y="10"/>
                    </a:cxn>
                    <a:cxn ang="0">
                      <a:pos x="4" y="12"/>
                    </a:cxn>
                    <a:cxn ang="0">
                      <a:pos x="2" y="16"/>
                    </a:cxn>
                    <a:cxn ang="0">
                      <a:pos x="0" y="16"/>
                    </a:cxn>
                  </a:cxnLst>
                  <a:rect l="0" t="0" r="r" b="b"/>
                  <a:pathLst>
                    <a:path w="8" h="16">
                      <a:moveTo>
                        <a:pt x="0" y="16"/>
                      </a:moveTo>
                      <a:lnTo>
                        <a:pt x="0" y="10"/>
                      </a:lnTo>
                      <a:lnTo>
                        <a:pt x="0" y="8"/>
                      </a:lnTo>
                      <a:lnTo>
                        <a:pt x="2" y="8"/>
                      </a:lnTo>
                      <a:lnTo>
                        <a:pt x="4" y="8"/>
                      </a:lnTo>
                      <a:lnTo>
                        <a:pt x="4" y="4"/>
                      </a:lnTo>
                      <a:lnTo>
                        <a:pt x="6" y="2"/>
                      </a:lnTo>
                      <a:lnTo>
                        <a:pt x="6" y="0"/>
                      </a:lnTo>
                      <a:lnTo>
                        <a:pt x="6" y="2"/>
                      </a:lnTo>
                      <a:lnTo>
                        <a:pt x="8" y="6"/>
                      </a:lnTo>
                      <a:lnTo>
                        <a:pt x="6" y="8"/>
                      </a:lnTo>
                      <a:lnTo>
                        <a:pt x="4" y="10"/>
                      </a:lnTo>
                      <a:lnTo>
                        <a:pt x="4" y="12"/>
                      </a:lnTo>
                      <a:lnTo>
                        <a:pt x="2" y="16"/>
                      </a:lnTo>
                      <a:lnTo>
                        <a:pt x="0" y="1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49" name="Freeform 3046"/>
                <p:cNvSpPr>
                  <a:spLocks/>
                </p:cNvSpPr>
                <p:nvPr/>
              </p:nvSpPr>
              <p:spPr bwMode="auto">
                <a:xfrm>
                  <a:off x="1308287" y="3844269"/>
                  <a:ext cx="1200991" cy="1030608"/>
                </a:xfrm>
                <a:custGeom>
                  <a:avLst/>
                  <a:gdLst/>
                  <a:ahLst/>
                  <a:cxnLst>
                    <a:cxn ang="0">
                      <a:pos x="272" y="446"/>
                    </a:cxn>
                    <a:cxn ang="0">
                      <a:pos x="250" y="444"/>
                    </a:cxn>
                    <a:cxn ang="0">
                      <a:pos x="240" y="444"/>
                    </a:cxn>
                    <a:cxn ang="0">
                      <a:pos x="234" y="470"/>
                    </a:cxn>
                    <a:cxn ang="0">
                      <a:pos x="224" y="470"/>
                    </a:cxn>
                    <a:cxn ang="0">
                      <a:pos x="220" y="458"/>
                    </a:cxn>
                    <a:cxn ang="0">
                      <a:pos x="214" y="446"/>
                    </a:cxn>
                    <a:cxn ang="0">
                      <a:pos x="198" y="434"/>
                    </a:cxn>
                    <a:cxn ang="0">
                      <a:pos x="190" y="420"/>
                    </a:cxn>
                    <a:cxn ang="0">
                      <a:pos x="184" y="412"/>
                    </a:cxn>
                    <a:cxn ang="0">
                      <a:pos x="180" y="402"/>
                    </a:cxn>
                    <a:cxn ang="0">
                      <a:pos x="176" y="388"/>
                    </a:cxn>
                    <a:cxn ang="0">
                      <a:pos x="170" y="378"/>
                    </a:cxn>
                    <a:cxn ang="0">
                      <a:pos x="146" y="362"/>
                    </a:cxn>
                    <a:cxn ang="0">
                      <a:pos x="134" y="348"/>
                    </a:cxn>
                    <a:cxn ang="0">
                      <a:pos x="126" y="328"/>
                    </a:cxn>
                    <a:cxn ang="0">
                      <a:pos x="122" y="306"/>
                    </a:cxn>
                    <a:cxn ang="0">
                      <a:pos x="120" y="286"/>
                    </a:cxn>
                    <a:cxn ang="0">
                      <a:pos x="98" y="252"/>
                    </a:cxn>
                    <a:cxn ang="0">
                      <a:pos x="82" y="244"/>
                    </a:cxn>
                    <a:cxn ang="0">
                      <a:pos x="74" y="232"/>
                    </a:cxn>
                    <a:cxn ang="0">
                      <a:pos x="70" y="214"/>
                    </a:cxn>
                    <a:cxn ang="0">
                      <a:pos x="58" y="200"/>
                    </a:cxn>
                    <a:cxn ang="0">
                      <a:pos x="58" y="192"/>
                    </a:cxn>
                    <a:cxn ang="0">
                      <a:pos x="44" y="170"/>
                    </a:cxn>
                    <a:cxn ang="0">
                      <a:pos x="34" y="156"/>
                    </a:cxn>
                    <a:cxn ang="0">
                      <a:pos x="26" y="142"/>
                    </a:cxn>
                    <a:cxn ang="0">
                      <a:pos x="18" y="132"/>
                    </a:cxn>
                    <a:cxn ang="0">
                      <a:pos x="8" y="130"/>
                    </a:cxn>
                    <a:cxn ang="0">
                      <a:pos x="2" y="126"/>
                    </a:cxn>
                    <a:cxn ang="0">
                      <a:pos x="8" y="112"/>
                    </a:cxn>
                    <a:cxn ang="0">
                      <a:pos x="12" y="90"/>
                    </a:cxn>
                    <a:cxn ang="0">
                      <a:pos x="80" y="68"/>
                    </a:cxn>
                    <a:cxn ang="0">
                      <a:pos x="94" y="12"/>
                    </a:cxn>
                    <a:cxn ang="0">
                      <a:pos x="330" y="96"/>
                    </a:cxn>
                    <a:cxn ang="0">
                      <a:pos x="356" y="110"/>
                    </a:cxn>
                    <a:cxn ang="0">
                      <a:pos x="382" y="118"/>
                    </a:cxn>
                    <a:cxn ang="0">
                      <a:pos x="390" y="140"/>
                    </a:cxn>
                    <a:cxn ang="0">
                      <a:pos x="396" y="144"/>
                    </a:cxn>
                    <a:cxn ang="0">
                      <a:pos x="404" y="148"/>
                    </a:cxn>
                    <a:cxn ang="0">
                      <a:pos x="410" y="156"/>
                    </a:cxn>
                    <a:cxn ang="0">
                      <a:pos x="422" y="176"/>
                    </a:cxn>
                    <a:cxn ang="0">
                      <a:pos x="426" y="190"/>
                    </a:cxn>
                    <a:cxn ang="0">
                      <a:pos x="430" y="202"/>
                    </a:cxn>
                    <a:cxn ang="0">
                      <a:pos x="436" y="210"/>
                    </a:cxn>
                    <a:cxn ang="0">
                      <a:pos x="442" y="230"/>
                    </a:cxn>
                    <a:cxn ang="0">
                      <a:pos x="454" y="236"/>
                    </a:cxn>
                    <a:cxn ang="0">
                      <a:pos x="460" y="234"/>
                    </a:cxn>
                    <a:cxn ang="0">
                      <a:pos x="458" y="244"/>
                    </a:cxn>
                    <a:cxn ang="0">
                      <a:pos x="464" y="246"/>
                    </a:cxn>
                    <a:cxn ang="0">
                      <a:pos x="566" y="292"/>
                    </a:cxn>
                  </a:cxnLst>
                  <a:rect l="0" t="0" r="r" b="b"/>
                  <a:pathLst>
                    <a:path w="578" h="496">
                      <a:moveTo>
                        <a:pt x="456" y="406"/>
                      </a:moveTo>
                      <a:lnTo>
                        <a:pt x="390" y="422"/>
                      </a:lnTo>
                      <a:lnTo>
                        <a:pt x="322" y="496"/>
                      </a:lnTo>
                      <a:lnTo>
                        <a:pt x="322" y="466"/>
                      </a:lnTo>
                      <a:lnTo>
                        <a:pt x="272" y="446"/>
                      </a:lnTo>
                      <a:lnTo>
                        <a:pt x="264" y="446"/>
                      </a:lnTo>
                      <a:lnTo>
                        <a:pt x="260" y="448"/>
                      </a:lnTo>
                      <a:lnTo>
                        <a:pt x="256" y="448"/>
                      </a:lnTo>
                      <a:lnTo>
                        <a:pt x="252" y="448"/>
                      </a:lnTo>
                      <a:lnTo>
                        <a:pt x="250" y="444"/>
                      </a:lnTo>
                      <a:lnTo>
                        <a:pt x="248" y="444"/>
                      </a:lnTo>
                      <a:lnTo>
                        <a:pt x="246" y="442"/>
                      </a:lnTo>
                      <a:lnTo>
                        <a:pt x="242" y="442"/>
                      </a:lnTo>
                      <a:lnTo>
                        <a:pt x="242" y="444"/>
                      </a:lnTo>
                      <a:lnTo>
                        <a:pt x="240" y="444"/>
                      </a:lnTo>
                      <a:lnTo>
                        <a:pt x="236" y="448"/>
                      </a:lnTo>
                      <a:lnTo>
                        <a:pt x="234" y="460"/>
                      </a:lnTo>
                      <a:lnTo>
                        <a:pt x="238" y="466"/>
                      </a:lnTo>
                      <a:lnTo>
                        <a:pt x="234" y="466"/>
                      </a:lnTo>
                      <a:lnTo>
                        <a:pt x="234" y="470"/>
                      </a:lnTo>
                      <a:lnTo>
                        <a:pt x="232" y="470"/>
                      </a:lnTo>
                      <a:lnTo>
                        <a:pt x="232" y="472"/>
                      </a:lnTo>
                      <a:lnTo>
                        <a:pt x="226" y="476"/>
                      </a:lnTo>
                      <a:lnTo>
                        <a:pt x="226" y="472"/>
                      </a:lnTo>
                      <a:lnTo>
                        <a:pt x="224" y="470"/>
                      </a:lnTo>
                      <a:lnTo>
                        <a:pt x="224" y="468"/>
                      </a:lnTo>
                      <a:lnTo>
                        <a:pt x="224" y="466"/>
                      </a:lnTo>
                      <a:lnTo>
                        <a:pt x="220" y="462"/>
                      </a:lnTo>
                      <a:lnTo>
                        <a:pt x="220" y="460"/>
                      </a:lnTo>
                      <a:lnTo>
                        <a:pt x="220" y="458"/>
                      </a:lnTo>
                      <a:lnTo>
                        <a:pt x="214" y="454"/>
                      </a:lnTo>
                      <a:lnTo>
                        <a:pt x="214" y="456"/>
                      </a:lnTo>
                      <a:lnTo>
                        <a:pt x="214" y="454"/>
                      </a:lnTo>
                      <a:lnTo>
                        <a:pt x="214" y="452"/>
                      </a:lnTo>
                      <a:lnTo>
                        <a:pt x="214" y="446"/>
                      </a:lnTo>
                      <a:lnTo>
                        <a:pt x="212" y="444"/>
                      </a:lnTo>
                      <a:lnTo>
                        <a:pt x="208" y="442"/>
                      </a:lnTo>
                      <a:lnTo>
                        <a:pt x="206" y="438"/>
                      </a:lnTo>
                      <a:lnTo>
                        <a:pt x="200" y="434"/>
                      </a:lnTo>
                      <a:lnTo>
                        <a:pt x="198" y="434"/>
                      </a:lnTo>
                      <a:lnTo>
                        <a:pt x="196" y="432"/>
                      </a:lnTo>
                      <a:lnTo>
                        <a:pt x="192" y="426"/>
                      </a:lnTo>
                      <a:lnTo>
                        <a:pt x="190" y="424"/>
                      </a:lnTo>
                      <a:lnTo>
                        <a:pt x="190" y="422"/>
                      </a:lnTo>
                      <a:lnTo>
                        <a:pt x="190" y="420"/>
                      </a:lnTo>
                      <a:lnTo>
                        <a:pt x="188" y="418"/>
                      </a:lnTo>
                      <a:lnTo>
                        <a:pt x="188" y="416"/>
                      </a:lnTo>
                      <a:lnTo>
                        <a:pt x="188" y="414"/>
                      </a:lnTo>
                      <a:lnTo>
                        <a:pt x="186" y="412"/>
                      </a:lnTo>
                      <a:lnTo>
                        <a:pt x="184" y="412"/>
                      </a:lnTo>
                      <a:lnTo>
                        <a:pt x="182" y="408"/>
                      </a:lnTo>
                      <a:lnTo>
                        <a:pt x="182" y="406"/>
                      </a:lnTo>
                      <a:lnTo>
                        <a:pt x="184" y="406"/>
                      </a:lnTo>
                      <a:lnTo>
                        <a:pt x="182" y="404"/>
                      </a:lnTo>
                      <a:lnTo>
                        <a:pt x="180" y="402"/>
                      </a:lnTo>
                      <a:lnTo>
                        <a:pt x="180" y="400"/>
                      </a:lnTo>
                      <a:lnTo>
                        <a:pt x="182" y="398"/>
                      </a:lnTo>
                      <a:lnTo>
                        <a:pt x="180" y="398"/>
                      </a:lnTo>
                      <a:lnTo>
                        <a:pt x="178" y="396"/>
                      </a:lnTo>
                      <a:lnTo>
                        <a:pt x="176" y="388"/>
                      </a:lnTo>
                      <a:lnTo>
                        <a:pt x="172" y="384"/>
                      </a:lnTo>
                      <a:lnTo>
                        <a:pt x="170" y="382"/>
                      </a:lnTo>
                      <a:lnTo>
                        <a:pt x="172" y="380"/>
                      </a:lnTo>
                      <a:lnTo>
                        <a:pt x="170" y="380"/>
                      </a:lnTo>
                      <a:lnTo>
                        <a:pt x="170" y="378"/>
                      </a:lnTo>
                      <a:lnTo>
                        <a:pt x="168" y="378"/>
                      </a:lnTo>
                      <a:lnTo>
                        <a:pt x="164" y="372"/>
                      </a:lnTo>
                      <a:lnTo>
                        <a:pt x="162" y="372"/>
                      </a:lnTo>
                      <a:lnTo>
                        <a:pt x="150" y="362"/>
                      </a:lnTo>
                      <a:lnTo>
                        <a:pt x="146" y="362"/>
                      </a:lnTo>
                      <a:lnTo>
                        <a:pt x="138" y="358"/>
                      </a:lnTo>
                      <a:lnTo>
                        <a:pt x="138" y="356"/>
                      </a:lnTo>
                      <a:lnTo>
                        <a:pt x="138" y="354"/>
                      </a:lnTo>
                      <a:lnTo>
                        <a:pt x="136" y="350"/>
                      </a:lnTo>
                      <a:lnTo>
                        <a:pt x="134" y="348"/>
                      </a:lnTo>
                      <a:lnTo>
                        <a:pt x="132" y="346"/>
                      </a:lnTo>
                      <a:lnTo>
                        <a:pt x="126" y="338"/>
                      </a:lnTo>
                      <a:lnTo>
                        <a:pt x="126" y="334"/>
                      </a:lnTo>
                      <a:lnTo>
                        <a:pt x="126" y="330"/>
                      </a:lnTo>
                      <a:lnTo>
                        <a:pt x="126" y="328"/>
                      </a:lnTo>
                      <a:lnTo>
                        <a:pt x="126" y="326"/>
                      </a:lnTo>
                      <a:lnTo>
                        <a:pt x="124" y="324"/>
                      </a:lnTo>
                      <a:lnTo>
                        <a:pt x="124" y="322"/>
                      </a:lnTo>
                      <a:lnTo>
                        <a:pt x="122" y="318"/>
                      </a:lnTo>
                      <a:lnTo>
                        <a:pt x="122" y="306"/>
                      </a:lnTo>
                      <a:lnTo>
                        <a:pt x="126" y="302"/>
                      </a:lnTo>
                      <a:lnTo>
                        <a:pt x="118" y="284"/>
                      </a:lnTo>
                      <a:lnTo>
                        <a:pt x="120" y="286"/>
                      </a:lnTo>
                      <a:lnTo>
                        <a:pt x="120" y="288"/>
                      </a:lnTo>
                      <a:lnTo>
                        <a:pt x="120" y="286"/>
                      </a:lnTo>
                      <a:lnTo>
                        <a:pt x="114" y="274"/>
                      </a:lnTo>
                      <a:lnTo>
                        <a:pt x="114" y="270"/>
                      </a:lnTo>
                      <a:lnTo>
                        <a:pt x="110" y="266"/>
                      </a:lnTo>
                      <a:lnTo>
                        <a:pt x="106" y="260"/>
                      </a:lnTo>
                      <a:lnTo>
                        <a:pt x="98" y="252"/>
                      </a:lnTo>
                      <a:lnTo>
                        <a:pt x="96" y="250"/>
                      </a:lnTo>
                      <a:lnTo>
                        <a:pt x="86" y="244"/>
                      </a:lnTo>
                      <a:lnTo>
                        <a:pt x="84" y="244"/>
                      </a:lnTo>
                      <a:lnTo>
                        <a:pt x="84" y="246"/>
                      </a:lnTo>
                      <a:lnTo>
                        <a:pt x="82" y="244"/>
                      </a:lnTo>
                      <a:lnTo>
                        <a:pt x="80" y="242"/>
                      </a:lnTo>
                      <a:lnTo>
                        <a:pt x="80" y="240"/>
                      </a:lnTo>
                      <a:lnTo>
                        <a:pt x="78" y="236"/>
                      </a:lnTo>
                      <a:lnTo>
                        <a:pt x="76" y="234"/>
                      </a:lnTo>
                      <a:lnTo>
                        <a:pt x="74" y="232"/>
                      </a:lnTo>
                      <a:lnTo>
                        <a:pt x="72" y="228"/>
                      </a:lnTo>
                      <a:lnTo>
                        <a:pt x="74" y="228"/>
                      </a:lnTo>
                      <a:lnTo>
                        <a:pt x="74" y="224"/>
                      </a:lnTo>
                      <a:lnTo>
                        <a:pt x="74" y="218"/>
                      </a:lnTo>
                      <a:lnTo>
                        <a:pt x="70" y="214"/>
                      </a:lnTo>
                      <a:lnTo>
                        <a:pt x="70" y="210"/>
                      </a:lnTo>
                      <a:lnTo>
                        <a:pt x="62" y="200"/>
                      </a:lnTo>
                      <a:lnTo>
                        <a:pt x="62" y="202"/>
                      </a:lnTo>
                      <a:lnTo>
                        <a:pt x="60" y="200"/>
                      </a:lnTo>
                      <a:lnTo>
                        <a:pt x="58" y="200"/>
                      </a:lnTo>
                      <a:lnTo>
                        <a:pt x="58" y="198"/>
                      </a:lnTo>
                      <a:lnTo>
                        <a:pt x="58" y="196"/>
                      </a:lnTo>
                      <a:lnTo>
                        <a:pt x="60" y="194"/>
                      </a:lnTo>
                      <a:lnTo>
                        <a:pt x="60" y="192"/>
                      </a:lnTo>
                      <a:lnTo>
                        <a:pt x="58" y="192"/>
                      </a:lnTo>
                      <a:lnTo>
                        <a:pt x="58" y="190"/>
                      </a:lnTo>
                      <a:lnTo>
                        <a:pt x="56" y="190"/>
                      </a:lnTo>
                      <a:lnTo>
                        <a:pt x="54" y="188"/>
                      </a:lnTo>
                      <a:lnTo>
                        <a:pt x="54" y="186"/>
                      </a:lnTo>
                      <a:lnTo>
                        <a:pt x="44" y="170"/>
                      </a:lnTo>
                      <a:lnTo>
                        <a:pt x="42" y="170"/>
                      </a:lnTo>
                      <a:lnTo>
                        <a:pt x="42" y="166"/>
                      </a:lnTo>
                      <a:lnTo>
                        <a:pt x="40" y="166"/>
                      </a:lnTo>
                      <a:lnTo>
                        <a:pt x="34" y="160"/>
                      </a:lnTo>
                      <a:lnTo>
                        <a:pt x="34" y="156"/>
                      </a:lnTo>
                      <a:lnTo>
                        <a:pt x="32" y="152"/>
                      </a:lnTo>
                      <a:lnTo>
                        <a:pt x="30" y="150"/>
                      </a:lnTo>
                      <a:lnTo>
                        <a:pt x="28" y="148"/>
                      </a:lnTo>
                      <a:lnTo>
                        <a:pt x="26" y="146"/>
                      </a:lnTo>
                      <a:lnTo>
                        <a:pt x="26" y="142"/>
                      </a:lnTo>
                      <a:lnTo>
                        <a:pt x="22" y="136"/>
                      </a:lnTo>
                      <a:lnTo>
                        <a:pt x="20" y="136"/>
                      </a:lnTo>
                      <a:lnTo>
                        <a:pt x="20" y="134"/>
                      </a:lnTo>
                      <a:lnTo>
                        <a:pt x="20" y="132"/>
                      </a:lnTo>
                      <a:lnTo>
                        <a:pt x="18" y="132"/>
                      </a:lnTo>
                      <a:lnTo>
                        <a:pt x="16" y="130"/>
                      </a:lnTo>
                      <a:lnTo>
                        <a:pt x="14" y="128"/>
                      </a:lnTo>
                      <a:lnTo>
                        <a:pt x="12" y="128"/>
                      </a:lnTo>
                      <a:lnTo>
                        <a:pt x="10" y="128"/>
                      </a:lnTo>
                      <a:lnTo>
                        <a:pt x="8" y="130"/>
                      </a:lnTo>
                      <a:lnTo>
                        <a:pt x="4" y="126"/>
                      </a:lnTo>
                      <a:lnTo>
                        <a:pt x="2" y="128"/>
                      </a:lnTo>
                      <a:lnTo>
                        <a:pt x="2" y="130"/>
                      </a:lnTo>
                      <a:lnTo>
                        <a:pt x="0" y="128"/>
                      </a:lnTo>
                      <a:lnTo>
                        <a:pt x="2" y="126"/>
                      </a:lnTo>
                      <a:lnTo>
                        <a:pt x="6" y="120"/>
                      </a:lnTo>
                      <a:lnTo>
                        <a:pt x="6" y="118"/>
                      </a:lnTo>
                      <a:lnTo>
                        <a:pt x="6" y="116"/>
                      </a:lnTo>
                      <a:lnTo>
                        <a:pt x="8" y="114"/>
                      </a:lnTo>
                      <a:lnTo>
                        <a:pt x="8" y="112"/>
                      </a:lnTo>
                      <a:lnTo>
                        <a:pt x="6" y="110"/>
                      </a:lnTo>
                      <a:lnTo>
                        <a:pt x="8" y="96"/>
                      </a:lnTo>
                      <a:lnTo>
                        <a:pt x="10" y="94"/>
                      </a:lnTo>
                      <a:lnTo>
                        <a:pt x="10" y="92"/>
                      </a:lnTo>
                      <a:lnTo>
                        <a:pt x="12" y="90"/>
                      </a:lnTo>
                      <a:lnTo>
                        <a:pt x="12" y="88"/>
                      </a:lnTo>
                      <a:lnTo>
                        <a:pt x="42" y="94"/>
                      </a:lnTo>
                      <a:lnTo>
                        <a:pt x="54" y="84"/>
                      </a:lnTo>
                      <a:lnTo>
                        <a:pt x="60" y="72"/>
                      </a:lnTo>
                      <a:lnTo>
                        <a:pt x="80" y="68"/>
                      </a:lnTo>
                      <a:lnTo>
                        <a:pt x="86" y="58"/>
                      </a:lnTo>
                      <a:lnTo>
                        <a:pt x="94" y="52"/>
                      </a:lnTo>
                      <a:lnTo>
                        <a:pt x="68" y="20"/>
                      </a:lnTo>
                      <a:lnTo>
                        <a:pt x="94" y="14"/>
                      </a:lnTo>
                      <a:lnTo>
                        <a:pt x="94" y="12"/>
                      </a:lnTo>
                      <a:lnTo>
                        <a:pt x="122" y="4"/>
                      </a:lnTo>
                      <a:lnTo>
                        <a:pt x="128" y="0"/>
                      </a:lnTo>
                      <a:lnTo>
                        <a:pt x="160" y="6"/>
                      </a:lnTo>
                      <a:lnTo>
                        <a:pt x="278" y="94"/>
                      </a:lnTo>
                      <a:lnTo>
                        <a:pt x="330" y="96"/>
                      </a:lnTo>
                      <a:lnTo>
                        <a:pt x="354" y="100"/>
                      </a:lnTo>
                      <a:lnTo>
                        <a:pt x="356" y="104"/>
                      </a:lnTo>
                      <a:lnTo>
                        <a:pt x="356" y="106"/>
                      </a:lnTo>
                      <a:lnTo>
                        <a:pt x="356" y="108"/>
                      </a:lnTo>
                      <a:lnTo>
                        <a:pt x="356" y="110"/>
                      </a:lnTo>
                      <a:lnTo>
                        <a:pt x="358" y="112"/>
                      </a:lnTo>
                      <a:lnTo>
                        <a:pt x="360" y="114"/>
                      </a:lnTo>
                      <a:lnTo>
                        <a:pt x="380" y="114"/>
                      </a:lnTo>
                      <a:lnTo>
                        <a:pt x="382" y="116"/>
                      </a:lnTo>
                      <a:lnTo>
                        <a:pt x="382" y="118"/>
                      </a:lnTo>
                      <a:lnTo>
                        <a:pt x="382" y="120"/>
                      </a:lnTo>
                      <a:lnTo>
                        <a:pt x="386" y="130"/>
                      </a:lnTo>
                      <a:lnTo>
                        <a:pt x="392" y="136"/>
                      </a:lnTo>
                      <a:lnTo>
                        <a:pt x="392" y="138"/>
                      </a:lnTo>
                      <a:lnTo>
                        <a:pt x="390" y="140"/>
                      </a:lnTo>
                      <a:lnTo>
                        <a:pt x="392" y="138"/>
                      </a:lnTo>
                      <a:lnTo>
                        <a:pt x="390" y="138"/>
                      </a:lnTo>
                      <a:lnTo>
                        <a:pt x="390" y="144"/>
                      </a:lnTo>
                      <a:lnTo>
                        <a:pt x="394" y="144"/>
                      </a:lnTo>
                      <a:lnTo>
                        <a:pt x="396" y="144"/>
                      </a:lnTo>
                      <a:lnTo>
                        <a:pt x="396" y="146"/>
                      </a:lnTo>
                      <a:lnTo>
                        <a:pt x="398" y="146"/>
                      </a:lnTo>
                      <a:lnTo>
                        <a:pt x="400" y="144"/>
                      </a:lnTo>
                      <a:lnTo>
                        <a:pt x="402" y="146"/>
                      </a:lnTo>
                      <a:lnTo>
                        <a:pt x="404" y="148"/>
                      </a:lnTo>
                      <a:lnTo>
                        <a:pt x="398" y="148"/>
                      </a:lnTo>
                      <a:lnTo>
                        <a:pt x="406" y="158"/>
                      </a:lnTo>
                      <a:lnTo>
                        <a:pt x="408" y="158"/>
                      </a:lnTo>
                      <a:lnTo>
                        <a:pt x="408" y="156"/>
                      </a:lnTo>
                      <a:lnTo>
                        <a:pt x="410" y="156"/>
                      </a:lnTo>
                      <a:lnTo>
                        <a:pt x="414" y="162"/>
                      </a:lnTo>
                      <a:lnTo>
                        <a:pt x="420" y="166"/>
                      </a:lnTo>
                      <a:lnTo>
                        <a:pt x="426" y="172"/>
                      </a:lnTo>
                      <a:lnTo>
                        <a:pt x="422" y="170"/>
                      </a:lnTo>
                      <a:lnTo>
                        <a:pt x="422" y="176"/>
                      </a:lnTo>
                      <a:lnTo>
                        <a:pt x="426" y="178"/>
                      </a:lnTo>
                      <a:lnTo>
                        <a:pt x="428" y="180"/>
                      </a:lnTo>
                      <a:lnTo>
                        <a:pt x="428" y="182"/>
                      </a:lnTo>
                      <a:lnTo>
                        <a:pt x="428" y="188"/>
                      </a:lnTo>
                      <a:lnTo>
                        <a:pt x="426" y="190"/>
                      </a:lnTo>
                      <a:lnTo>
                        <a:pt x="424" y="186"/>
                      </a:lnTo>
                      <a:lnTo>
                        <a:pt x="422" y="188"/>
                      </a:lnTo>
                      <a:lnTo>
                        <a:pt x="422" y="192"/>
                      </a:lnTo>
                      <a:lnTo>
                        <a:pt x="426" y="196"/>
                      </a:lnTo>
                      <a:lnTo>
                        <a:pt x="430" y="202"/>
                      </a:lnTo>
                      <a:lnTo>
                        <a:pt x="430" y="204"/>
                      </a:lnTo>
                      <a:lnTo>
                        <a:pt x="428" y="202"/>
                      </a:lnTo>
                      <a:lnTo>
                        <a:pt x="426" y="202"/>
                      </a:lnTo>
                      <a:lnTo>
                        <a:pt x="432" y="208"/>
                      </a:lnTo>
                      <a:lnTo>
                        <a:pt x="436" y="210"/>
                      </a:lnTo>
                      <a:lnTo>
                        <a:pt x="438" y="216"/>
                      </a:lnTo>
                      <a:lnTo>
                        <a:pt x="438" y="222"/>
                      </a:lnTo>
                      <a:lnTo>
                        <a:pt x="440" y="222"/>
                      </a:lnTo>
                      <a:lnTo>
                        <a:pt x="442" y="226"/>
                      </a:lnTo>
                      <a:lnTo>
                        <a:pt x="442" y="230"/>
                      </a:lnTo>
                      <a:lnTo>
                        <a:pt x="444" y="232"/>
                      </a:lnTo>
                      <a:lnTo>
                        <a:pt x="446" y="230"/>
                      </a:lnTo>
                      <a:lnTo>
                        <a:pt x="446" y="232"/>
                      </a:lnTo>
                      <a:lnTo>
                        <a:pt x="450" y="236"/>
                      </a:lnTo>
                      <a:lnTo>
                        <a:pt x="454" y="236"/>
                      </a:lnTo>
                      <a:lnTo>
                        <a:pt x="456" y="234"/>
                      </a:lnTo>
                      <a:lnTo>
                        <a:pt x="458" y="234"/>
                      </a:lnTo>
                      <a:lnTo>
                        <a:pt x="458" y="236"/>
                      </a:lnTo>
                      <a:lnTo>
                        <a:pt x="460" y="236"/>
                      </a:lnTo>
                      <a:lnTo>
                        <a:pt x="460" y="234"/>
                      </a:lnTo>
                      <a:lnTo>
                        <a:pt x="462" y="234"/>
                      </a:lnTo>
                      <a:lnTo>
                        <a:pt x="464" y="236"/>
                      </a:lnTo>
                      <a:lnTo>
                        <a:pt x="460" y="240"/>
                      </a:lnTo>
                      <a:lnTo>
                        <a:pt x="458" y="242"/>
                      </a:lnTo>
                      <a:lnTo>
                        <a:pt x="458" y="244"/>
                      </a:lnTo>
                      <a:lnTo>
                        <a:pt x="460" y="244"/>
                      </a:lnTo>
                      <a:lnTo>
                        <a:pt x="460" y="242"/>
                      </a:lnTo>
                      <a:lnTo>
                        <a:pt x="462" y="244"/>
                      </a:lnTo>
                      <a:lnTo>
                        <a:pt x="464" y="244"/>
                      </a:lnTo>
                      <a:lnTo>
                        <a:pt x="464" y="246"/>
                      </a:lnTo>
                      <a:lnTo>
                        <a:pt x="466" y="246"/>
                      </a:lnTo>
                      <a:lnTo>
                        <a:pt x="466" y="250"/>
                      </a:lnTo>
                      <a:lnTo>
                        <a:pt x="494" y="284"/>
                      </a:lnTo>
                      <a:lnTo>
                        <a:pt x="564" y="294"/>
                      </a:lnTo>
                      <a:lnTo>
                        <a:pt x="566" y="292"/>
                      </a:lnTo>
                      <a:lnTo>
                        <a:pt x="578" y="312"/>
                      </a:lnTo>
                      <a:lnTo>
                        <a:pt x="560" y="372"/>
                      </a:lnTo>
                      <a:lnTo>
                        <a:pt x="478" y="400"/>
                      </a:lnTo>
                      <a:lnTo>
                        <a:pt x="456" y="40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50" name="Group 3056"/>
                <p:cNvGrpSpPr>
                  <a:grpSpLocks/>
                </p:cNvGrpSpPr>
                <p:nvPr/>
              </p:nvGrpSpPr>
              <p:grpSpPr bwMode="auto">
                <a:xfrm>
                  <a:off x="6004205" y="4654626"/>
                  <a:ext cx="536083" cy="835291"/>
                  <a:chOff x="3126" y="3120"/>
                  <a:chExt cx="258" cy="402"/>
                </a:xfrm>
                <a:solidFill>
                  <a:srgbClr val="B9B9B9"/>
                </a:solidFill>
              </p:grpSpPr>
              <p:sp>
                <p:nvSpPr>
                  <p:cNvPr id="575" name="Freeform 3057"/>
                  <p:cNvSpPr>
                    <a:spLocks/>
                  </p:cNvSpPr>
                  <p:nvPr/>
                </p:nvSpPr>
                <p:spPr bwMode="auto">
                  <a:xfrm>
                    <a:off x="3242" y="3120"/>
                    <a:ext cx="4" cy="2"/>
                  </a:xfrm>
                  <a:custGeom>
                    <a:avLst/>
                    <a:gdLst/>
                    <a:ahLst/>
                    <a:cxnLst>
                      <a:cxn ang="0">
                        <a:pos x="2" y="2"/>
                      </a:cxn>
                      <a:cxn ang="0">
                        <a:pos x="0" y="2"/>
                      </a:cxn>
                      <a:cxn ang="0">
                        <a:pos x="0" y="0"/>
                      </a:cxn>
                      <a:cxn ang="0">
                        <a:pos x="4" y="0"/>
                      </a:cxn>
                      <a:cxn ang="0">
                        <a:pos x="4" y="2"/>
                      </a:cxn>
                      <a:cxn ang="0">
                        <a:pos x="2" y="2"/>
                      </a:cxn>
                    </a:cxnLst>
                    <a:rect l="0" t="0" r="r" b="b"/>
                    <a:pathLst>
                      <a:path w="4" h="2">
                        <a:moveTo>
                          <a:pt x="2" y="2"/>
                        </a:moveTo>
                        <a:lnTo>
                          <a:pt x="0" y="2"/>
                        </a:lnTo>
                        <a:lnTo>
                          <a:pt x="0" y="0"/>
                        </a:lnTo>
                        <a:lnTo>
                          <a:pt x="4" y="0"/>
                        </a:lnTo>
                        <a:lnTo>
                          <a:pt x="4" y="2"/>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6" name="Freeform 3058"/>
                  <p:cNvSpPr>
                    <a:spLocks/>
                  </p:cNvSpPr>
                  <p:nvPr/>
                </p:nvSpPr>
                <p:spPr bwMode="auto">
                  <a:xfrm>
                    <a:off x="3254" y="3130"/>
                    <a:ext cx="4" cy="6"/>
                  </a:xfrm>
                  <a:custGeom>
                    <a:avLst/>
                    <a:gdLst/>
                    <a:ahLst/>
                    <a:cxnLst>
                      <a:cxn ang="0">
                        <a:pos x="0" y="6"/>
                      </a:cxn>
                      <a:cxn ang="0">
                        <a:pos x="0" y="4"/>
                      </a:cxn>
                      <a:cxn ang="0">
                        <a:pos x="2" y="2"/>
                      </a:cxn>
                      <a:cxn ang="0">
                        <a:pos x="2" y="0"/>
                      </a:cxn>
                      <a:cxn ang="0">
                        <a:pos x="4" y="2"/>
                      </a:cxn>
                      <a:cxn ang="0">
                        <a:pos x="2" y="6"/>
                      </a:cxn>
                      <a:cxn ang="0">
                        <a:pos x="0" y="6"/>
                      </a:cxn>
                    </a:cxnLst>
                    <a:rect l="0" t="0" r="r" b="b"/>
                    <a:pathLst>
                      <a:path w="4" h="6">
                        <a:moveTo>
                          <a:pt x="0" y="6"/>
                        </a:moveTo>
                        <a:lnTo>
                          <a:pt x="0" y="4"/>
                        </a:lnTo>
                        <a:lnTo>
                          <a:pt x="2" y="2"/>
                        </a:lnTo>
                        <a:lnTo>
                          <a:pt x="2" y="0"/>
                        </a:lnTo>
                        <a:lnTo>
                          <a:pt x="4" y="2"/>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7" name="Freeform 3059"/>
                  <p:cNvSpPr>
                    <a:spLocks/>
                  </p:cNvSpPr>
                  <p:nvPr/>
                </p:nvSpPr>
                <p:spPr bwMode="auto">
                  <a:xfrm>
                    <a:off x="3198" y="3140"/>
                    <a:ext cx="120" cy="174"/>
                  </a:xfrm>
                  <a:custGeom>
                    <a:avLst/>
                    <a:gdLst/>
                    <a:ahLst/>
                    <a:cxnLst>
                      <a:cxn ang="0">
                        <a:pos x="94" y="134"/>
                      </a:cxn>
                      <a:cxn ang="0">
                        <a:pos x="104" y="136"/>
                      </a:cxn>
                      <a:cxn ang="0">
                        <a:pos x="104" y="140"/>
                      </a:cxn>
                      <a:cxn ang="0">
                        <a:pos x="108" y="150"/>
                      </a:cxn>
                      <a:cxn ang="0">
                        <a:pos x="110" y="156"/>
                      </a:cxn>
                      <a:cxn ang="0">
                        <a:pos x="112" y="156"/>
                      </a:cxn>
                      <a:cxn ang="0">
                        <a:pos x="120" y="158"/>
                      </a:cxn>
                      <a:cxn ang="0">
                        <a:pos x="118" y="170"/>
                      </a:cxn>
                      <a:cxn ang="0">
                        <a:pos x="110" y="166"/>
                      </a:cxn>
                      <a:cxn ang="0">
                        <a:pos x="116" y="162"/>
                      </a:cxn>
                      <a:cxn ang="0">
                        <a:pos x="102" y="162"/>
                      </a:cxn>
                      <a:cxn ang="0">
                        <a:pos x="96" y="156"/>
                      </a:cxn>
                      <a:cxn ang="0">
                        <a:pos x="88" y="146"/>
                      </a:cxn>
                      <a:cxn ang="0">
                        <a:pos x="76" y="134"/>
                      </a:cxn>
                      <a:cxn ang="0">
                        <a:pos x="78" y="150"/>
                      </a:cxn>
                      <a:cxn ang="0">
                        <a:pos x="76" y="154"/>
                      </a:cxn>
                      <a:cxn ang="0">
                        <a:pos x="66" y="142"/>
                      </a:cxn>
                      <a:cxn ang="0">
                        <a:pos x="52" y="134"/>
                      </a:cxn>
                      <a:cxn ang="0">
                        <a:pos x="42" y="144"/>
                      </a:cxn>
                      <a:cxn ang="0">
                        <a:pos x="34" y="138"/>
                      </a:cxn>
                      <a:cxn ang="0">
                        <a:pos x="24" y="136"/>
                      </a:cxn>
                      <a:cxn ang="0">
                        <a:pos x="22" y="128"/>
                      </a:cxn>
                      <a:cxn ang="0">
                        <a:pos x="28" y="112"/>
                      </a:cxn>
                      <a:cxn ang="0">
                        <a:pos x="22" y="114"/>
                      </a:cxn>
                      <a:cxn ang="0">
                        <a:pos x="16" y="118"/>
                      </a:cxn>
                      <a:cxn ang="0">
                        <a:pos x="10" y="110"/>
                      </a:cxn>
                      <a:cxn ang="0">
                        <a:pos x="4" y="90"/>
                      </a:cxn>
                      <a:cxn ang="0">
                        <a:pos x="2" y="78"/>
                      </a:cxn>
                      <a:cxn ang="0">
                        <a:pos x="4" y="68"/>
                      </a:cxn>
                      <a:cxn ang="0">
                        <a:pos x="10" y="76"/>
                      </a:cxn>
                      <a:cxn ang="0">
                        <a:pos x="16" y="68"/>
                      </a:cxn>
                      <a:cxn ang="0">
                        <a:pos x="18" y="38"/>
                      </a:cxn>
                      <a:cxn ang="0">
                        <a:pos x="16" y="28"/>
                      </a:cxn>
                      <a:cxn ang="0">
                        <a:pos x="18" y="16"/>
                      </a:cxn>
                      <a:cxn ang="0">
                        <a:pos x="22" y="6"/>
                      </a:cxn>
                      <a:cxn ang="0">
                        <a:pos x="26" y="4"/>
                      </a:cxn>
                      <a:cxn ang="0">
                        <a:pos x="34" y="2"/>
                      </a:cxn>
                      <a:cxn ang="0">
                        <a:pos x="50" y="8"/>
                      </a:cxn>
                      <a:cxn ang="0">
                        <a:pos x="62" y="10"/>
                      </a:cxn>
                      <a:cxn ang="0">
                        <a:pos x="70" y="10"/>
                      </a:cxn>
                      <a:cxn ang="0">
                        <a:pos x="66" y="18"/>
                      </a:cxn>
                      <a:cxn ang="0">
                        <a:pos x="68" y="38"/>
                      </a:cxn>
                      <a:cxn ang="0">
                        <a:pos x="70" y="60"/>
                      </a:cxn>
                      <a:cxn ang="0">
                        <a:pos x="64" y="72"/>
                      </a:cxn>
                      <a:cxn ang="0">
                        <a:pos x="62" y="74"/>
                      </a:cxn>
                      <a:cxn ang="0">
                        <a:pos x="62" y="70"/>
                      </a:cxn>
                      <a:cxn ang="0">
                        <a:pos x="48" y="82"/>
                      </a:cxn>
                      <a:cxn ang="0">
                        <a:pos x="44" y="96"/>
                      </a:cxn>
                      <a:cxn ang="0">
                        <a:pos x="50" y="110"/>
                      </a:cxn>
                      <a:cxn ang="0">
                        <a:pos x="54" y="128"/>
                      </a:cxn>
                      <a:cxn ang="0">
                        <a:pos x="62" y="134"/>
                      </a:cxn>
                      <a:cxn ang="0">
                        <a:pos x="70" y="134"/>
                      </a:cxn>
                      <a:cxn ang="0">
                        <a:pos x="68" y="126"/>
                      </a:cxn>
                      <a:cxn ang="0">
                        <a:pos x="76" y="124"/>
                      </a:cxn>
                      <a:cxn ang="0">
                        <a:pos x="90" y="136"/>
                      </a:cxn>
                      <a:cxn ang="0">
                        <a:pos x="92" y="142"/>
                      </a:cxn>
                    </a:cxnLst>
                    <a:rect l="0" t="0" r="r" b="b"/>
                    <a:pathLst>
                      <a:path w="120" h="174">
                        <a:moveTo>
                          <a:pt x="90" y="142"/>
                        </a:moveTo>
                        <a:lnTo>
                          <a:pt x="92" y="142"/>
                        </a:lnTo>
                        <a:lnTo>
                          <a:pt x="96" y="138"/>
                        </a:lnTo>
                        <a:lnTo>
                          <a:pt x="96" y="134"/>
                        </a:lnTo>
                        <a:lnTo>
                          <a:pt x="94" y="134"/>
                        </a:lnTo>
                        <a:lnTo>
                          <a:pt x="94" y="132"/>
                        </a:lnTo>
                        <a:lnTo>
                          <a:pt x="96" y="132"/>
                        </a:lnTo>
                        <a:lnTo>
                          <a:pt x="98" y="130"/>
                        </a:lnTo>
                        <a:lnTo>
                          <a:pt x="98" y="132"/>
                        </a:lnTo>
                        <a:lnTo>
                          <a:pt x="104" y="136"/>
                        </a:lnTo>
                        <a:lnTo>
                          <a:pt x="114" y="138"/>
                        </a:lnTo>
                        <a:lnTo>
                          <a:pt x="114" y="140"/>
                        </a:lnTo>
                        <a:lnTo>
                          <a:pt x="114" y="142"/>
                        </a:lnTo>
                        <a:lnTo>
                          <a:pt x="108" y="142"/>
                        </a:lnTo>
                        <a:lnTo>
                          <a:pt x="104" y="140"/>
                        </a:lnTo>
                        <a:lnTo>
                          <a:pt x="104" y="142"/>
                        </a:lnTo>
                        <a:lnTo>
                          <a:pt x="102" y="144"/>
                        </a:lnTo>
                        <a:lnTo>
                          <a:pt x="104" y="148"/>
                        </a:lnTo>
                        <a:lnTo>
                          <a:pt x="106" y="148"/>
                        </a:lnTo>
                        <a:lnTo>
                          <a:pt x="108" y="150"/>
                        </a:lnTo>
                        <a:lnTo>
                          <a:pt x="110" y="152"/>
                        </a:lnTo>
                        <a:lnTo>
                          <a:pt x="110" y="154"/>
                        </a:lnTo>
                        <a:lnTo>
                          <a:pt x="112" y="154"/>
                        </a:lnTo>
                        <a:lnTo>
                          <a:pt x="110" y="154"/>
                        </a:lnTo>
                        <a:lnTo>
                          <a:pt x="110" y="156"/>
                        </a:lnTo>
                        <a:lnTo>
                          <a:pt x="108" y="156"/>
                        </a:lnTo>
                        <a:lnTo>
                          <a:pt x="108" y="160"/>
                        </a:lnTo>
                        <a:lnTo>
                          <a:pt x="110" y="160"/>
                        </a:lnTo>
                        <a:lnTo>
                          <a:pt x="112" y="158"/>
                        </a:lnTo>
                        <a:lnTo>
                          <a:pt x="112" y="156"/>
                        </a:lnTo>
                        <a:lnTo>
                          <a:pt x="114" y="158"/>
                        </a:lnTo>
                        <a:lnTo>
                          <a:pt x="118" y="162"/>
                        </a:lnTo>
                        <a:lnTo>
                          <a:pt x="118" y="160"/>
                        </a:lnTo>
                        <a:lnTo>
                          <a:pt x="118" y="158"/>
                        </a:lnTo>
                        <a:lnTo>
                          <a:pt x="120" y="158"/>
                        </a:lnTo>
                        <a:lnTo>
                          <a:pt x="120" y="160"/>
                        </a:lnTo>
                        <a:lnTo>
                          <a:pt x="118" y="164"/>
                        </a:lnTo>
                        <a:lnTo>
                          <a:pt x="120" y="166"/>
                        </a:lnTo>
                        <a:lnTo>
                          <a:pt x="120" y="170"/>
                        </a:lnTo>
                        <a:lnTo>
                          <a:pt x="118" y="170"/>
                        </a:lnTo>
                        <a:lnTo>
                          <a:pt x="118" y="172"/>
                        </a:lnTo>
                        <a:lnTo>
                          <a:pt x="118" y="174"/>
                        </a:lnTo>
                        <a:lnTo>
                          <a:pt x="116" y="174"/>
                        </a:lnTo>
                        <a:lnTo>
                          <a:pt x="110" y="170"/>
                        </a:lnTo>
                        <a:lnTo>
                          <a:pt x="110" y="166"/>
                        </a:lnTo>
                        <a:lnTo>
                          <a:pt x="112" y="164"/>
                        </a:lnTo>
                        <a:lnTo>
                          <a:pt x="112" y="166"/>
                        </a:lnTo>
                        <a:lnTo>
                          <a:pt x="114" y="166"/>
                        </a:lnTo>
                        <a:lnTo>
                          <a:pt x="116" y="164"/>
                        </a:lnTo>
                        <a:lnTo>
                          <a:pt x="116" y="162"/>
                        </a:lnTo>
                        <a:lnTo>
                          <a:pt x="112" y="162"/>
                        </a:lnTo>
                        <a:lnTo>
                          <a:pt x="110" y="164"/>
                        </a:lnTo>
                        <a:lnTo>
                          <a:pt x="108" y="166"/>
                        </a:lnTo>
                        <a:lnTo>
                          <a:pt x="104" y="164"/>
                        </a:lnTo>
                        <a:lnTo>
                          <a:pt x="102" y="162"/>
                        </a:lnTo>
                        <a:lnTo>
                          <a:pt x="100" y="160"/>
                        </a:lnTo>
                        <a:lnTo>
                          <a:pt x="98" y="160"/>
                        </a:lnTo>
                        <a:lnTo>
                          <a:pt x="96" y="162"/>
                        </a:lnTo>
                        <a:lnTo>
                          <a:pt x="96" y="160"/>
                        </a:lnTo>
                        <a:lnTo>
                          <a:pt x="96" y="156"/>
                        </a:lnTo>
                        <a:lnTo>
                          <a:pt x="94" y="150"/>
                        </a:lnTo>
                        <a:lnTo>
                          <a:pt x="92" y="150"/>
                        </a:lnTo>
                        <a:lnTo>
                          <a:pt x="92" y="148"/>
                        </a:lnTo>
                        <a:lnTo>
                          <a:pt x="90" y="146"/>
                        </a:lnTo>
                        <a:lnTo>
                          <a:pt x="88" y="146"/>
                        </a:lnTo>
                        <a:lnTo>
                          <a:pt x="84" y="144"/>
                        </a:lnTo>
                        <a:lnTo>
                          <a:pt x="82" y="142"/>
                        </a:lnTo>
                        <a:lnTo>
                          <a:pt x="84" y="142"/>
                        </a:lnTo>
                        <a:lnTo>
                          <a:pt x="84" y="140"/>
                        </a:lnTo>
                        <a:lnTo>
                          <a:pt x="76" y="134"/>
                        </a:lnTo>
                        <a:lnTo>
                          <a:pt x="76" y="136"/>
                        </a:lnTo>
                        <a:lnTo>
                          <a:pt x="74" y="138"/>
                        </a:lnTo>
                        <a:lnTo>
                          <a:pt x="74" y="142"/>
                        </a:lnTo>
                        <a:lnTo>
                          <a:pt x="78" y="148"/>
                        </a:lnTo>
                        <a:lnTo>
                          <a:pt x="78" y="150"/>
                        </a:lnTo>
                        <a:lnTo>
                          <a:pt x="80" y="150"/>
                        </a:lnTo>
                        <a:lnTo>
                          <a:pt x="80" y="156"/>
                        </a:lnTo>
                        <a:lnTo>
                          <a:pt x="78" y="156"/>
                        </a:lnTo>
                        <a:lnTo>
                          <a:pt x="76" y="156"/>
                        </a:lnTo>
                        <a:lnTo>
                          <a:pt x="76" y="154"/>
                        </a:lnTo>
                        <a:lnTo>
                          <a:pt x="76" y="152"/>
                        </a:lnTo>
                        <a:lnTo>
                          <a:pt x="74" y="150"/>
                        </a:lnTo>
                        <a:lnTo>
                          <a:pt x="70" y="144"/>
                        </a:lnTo>
                        <a:lnTo>
                          <a:pt x="66" y="144"/>
                        </a:lnTo>
                        <a:lnTo>
                          <a:pt x="66" y="142"/>
                        </a:lnTo>
                        <a:lnTo>
                          <a:pt x="62" y="138"/>
                        </a:lnTo>
                        <a:lnTo>
                          <a:pt x="56" y="136"/>
                        </a:lnTo>
                        <a:lnTo>
                          <a:pt x="56" y="134"/>
                        </a:lnTo>
                        <a:lnTo>
                          <a:pt x="54" y="134"/>
                        </a:lnTo>
                        <a:lnTo>
                          <a:pt x="52" y="134"/>
                        </a:lnTo>
                        <a:lnTo>
                          <a:pt x="46" y="138"/>
                        </a:lnTo>
                        <a:lnTo>
                          <a:pt x="46" y="140"/>
                        </a:lnTo>
                        <a:lnTo>
                          <a:pt x="44" y="142"/>
                        </a:lnTo>
                        <a:lnTo>
                          <a:pt x="42" y="142"/>
                        </a:lnTo>
                        <a:lnTo>
                          <a:pt x="42" y="144"/>
                        </a:lnTo>
                        <a:lnTo>
                          <a:pt x="40" y="144"/>
                        </a:lnTo>
                        <a:lnTo>
                          <a:pt x="36" y="144"/>
                        </a:lnTo>
                        <a:lnTo>
                          <a:pt x="34" y="142"/>
                        </a:lnTo>
                        <a:lnTo>
                          <a:pt x="34" y="140"/>
                        </a:lnTo>
                        <a:lnTo>
                          <a:pt x="34" y="138"/>
                        </a:lnTo>
                        <a:lnTo>
                          <a:pt x="32" y="138"/>
                        </a:lnTo>
                        <a:lnTo>
                          <a:pt x="30" y="138"/>
                        </a:lnTo>
                        <a:lnTo>
                          <a:pt x="30" y="136"/>
                        </a:lnTo>
                        <a:lnTo>
                          <a:pt x="26" y="134"/>
                        </a:lnTo>
                        <a:lnTo>
                          <a:pt x="24" y="136"/>
                        </a:lnTo>
                        <a:lnTo>
                          <a:pt x="24" y="138"/>
                        </a:lnTo>
                        <a:lnTo>
                          <a:pt x="24" y="140"/>
                        </a:lnTo>
                        <a:lnTo>
                          <a:pt x="22" y="138"/>
                        </a:lnTo>
                        <a:lnTo>
                          <a:pt x="22" y="130"/>
                        </a:lnTo>
                        <a:lnTo>
                          <a:pt x="22" y="128"/>
                        </a:lnTo>
                        <a:lnTo>
                          <a:pt x="22" y="126"/>
                        </a:lnTo>
                        <a:lnTo>
                          <a:pt x="24" y="126"/>
                        </a:lnTo>
                        <a:lnTo>
                          <a:pt x="34" y="118"/>
                        </a:lnTo>
                        <a:lnTo>
                          <a:pt x="32" y="114"/>
                        </a:lnTo>
                        <a:lnTo>
                          <a:pt x="28" y="112"/>
                        </a:lnTo>
                        <a:lnTo>
                          <a:pt x="26" y="112"/>
                        </a:lnTo>
                        <a:lnTo>
                          <a:pt x="22" y="110"/>
                        </a:lnTo>
                        <a:lnTo>
                          <a:pt x="20" y="110"/>
                        </a:lnTo>
                        <a:lnTo>
                          <a:pt x="20" y="112"/>
                        </a:lnTo>
                        <a:lnTo>
                          <a:pt x="22" y="114"/>
                        </a:lnTo>
                        <a:lnTo>
                          <a:pt x="22" y="120"/>
                        </a:lnTo>
                        <a:lnTo>
                          <a:pt x="20" y="120"/>
                        </a:lnTo>
                        <a:lnTo>
                          <a:pt x="18" y="120"/>
                        </a:lnTo>
                        <a:lnTo>
                          <a:pt x="16" y="120"/>
                        </a:lnTo>
                        <a:lnTo>
                          <a:pt x="16" y="118"/>
                        </a:lnTo>
                        <a:lnTo>
                          <a:pt x="12" y="114"/>
                        </a:lnTo>
                        <a:lnTo>
                          <a:pt x="12" y="112"/>
                        </a:lnTo>
                        <a:lnTo>
                          <a:pt x="14" y="110"/>
                        </a:lnTo>
                        <a:lnTo>
                          <a:pt x="12" y="108"/>
                        </a:lnTo>
                        <a:lnTo>
                          <a:pt x="10" y="110"/>
                        </a:lnTo>
                        <a:lnTo>
                          <a:pt x="10" y="112"/>
                        </a:lnTo>
                        <a:lnTo>
                          <a:pt x="8" y="110"/>
                        </a:lnTo>
                        <a:lnTo>
                          <a:pt x="4" y="94"/>
                        </a:lnTo>
                        <a:lnTo>
                          <a:pt x="4" y="92"/>
                        </a:lnTo>
                        <a:lnTo>
                          <a:pt x="4" y="90"/>
                        </a:lnTo>
                        <a:lnTo>
                          <a:pt x="4" y="86"/>
                        </a:lnTo>
                        <a:lnTo>
                          <a:pt x="4" y="84"/>
                        </a:lnTo>
                        <a:lnTo>
                          <a:pt x="2" y="82"/>
                        </a:lnTo>
                        <a:lnTo>
                          <a:pt x="4" y="80"/>
                        </a:lnTo>
                        <a:lnTo>
                          <a:pt x="2" y="78"/>
                        </a:lnTo>
                        <a:lnTo>
                          <a:pt x="0" y="78"/>
                        </a:lnTo>
                        <a:lnTo>
                          <a:pt x="0" y="66"/>
                        </a:lnTo>
                        <a:lnTo>
                          <a:pt x="2" y="64"/>
                        </a:lnTo>
                        <a:lnTo>
                          <a:pt x="4" y="66"/>
                        </a:lnTo>
                        <a:lnTo>
                          <a:pt x="4" y="68"/>
                        </a:lnTo>
                        <a:lnTo>
                          <a:pt x="4" y="70"/>
                        </a:lnTo>
                        <a:lnTo>
                          <a:pt x="6" y="70"/>
                        </a:lnTo>
                        <a:lnTo>
                          <a:pt x="8" y="74"/>
                        </a:lnTo>
                        <a:lnTo>
                          <a:pt x="10" y="74"/>
                        </a:lnTo>
                        <a:lnTo>
                          <a:pt x="10" y="76"/>
                        </a:lnTo>
                        <a:lnTo>
                          <a:pt x="12" y="74"/>
                        </a:lnTo>
                        <a:lnTo>
                          <a:pt x="14" y="74"/>
                        </a:lnTo>
                        <a:lnTo>
                          <a:pt x="16" y="74"/>
                        </a:lnTo>
                        <a:lnTo>
                          <a:pt x="16" y="70"/>
                        </a:lnTo>
                        <a:lnTo>
                          <a:pt x="16" y="68"/>
                        </a:lnTo>
                        <a:lnTo>
                          <a:pt x="14" y="58"/>
                        </a:lnTo>
                        <a:lnTo>
                          <a:pt x="16" y="52"/>
                        </a:lnTo>
                        <a:lnTo>
                          <a:pt x="16" y="50"/>
                        </a:lnTo>
                        <a:lnTo>
                          <a:pt x="18" y="48"/>
                        </a:lnTo>
                        <a:lnTo>
                          <a:pt x="18" y="38"/>
                        </a:lnTo>
                        <a:lnTo>
                          <a:pt x="18" y="36"/>
                        </a:lnTo>
                        <a:lnTo>
                          <a:pt x="18" y="32"/>
                        </a:lnTo>
                        <a:lnTo>
                          <a:pt x="16" y="32"/>
                        </a:lnTo>
                        <a:lnTo>
                          <a:pt x="16" y="30"/>
                        </a:lnTo>
                        <a:lnTo>
                          <a:pt x="16" y="28"/>
                        </a:lnTo>
                        <a:lnTo>
                          <a:pt x="16" y="26"/>
                        </a:lnTo>
                        <a:lnTo>
                          <a:pt x="18" y="26"/>
                        </a:lnTo>
                        <a:lnTo>
                          <a:pt x="18" y="24"/>
                        </a:lnTo>
                        <a:lnTo>
                          <a:pt x="18" y="20"/>
                        </a:lnTo>
                        <a:lnTo>
                          <a:pt x="18" y="16"/>
                        </a:lnTo>
                        <a:lnTo>
                          <a:pt x="20" y="14"/>
                        </a:lnTo>
                        <a:lnTo>
                          <a:pt x="20" y="12"/>
                        </a:lnTo>
                        <a:lnTo>
                          <a:pt x="22" y="12"/>
                        </a:lnTo>
                        <a:lnTo>
                          <a:pt x="22" y="10"/>
                        </a:lnTo>
                        <a:lnTo>
                          <a:pt x="22" y="6"/>
                        </a:lnTo>
                        <a:lnTo>
                          <a:pt x="22" y="4"/>
                        </a:lnTo>
                        <a:lnTo>
                          <a:pt x="22" y="2"/>
                        </a:lnTo>
                        <a:lnTo>
                          <a:pt x="24" y="2"/>
                        </a:lnTo>
                        <a:lnTo>
                          <a:pt x="24" y="4"/>
                        </a:lnTo>
                        <a:lnTo>
                          <a:pt x="26" y="4"/>
                        </a:lnTo>
                        <a:lnTo>
                          <a:pt x="26" y="2"/>
                        </a:lnTo>
                        <a:lnTo>
                          <a:pt x="28" y="2"/>
                        </a:lnTo>
                        <a:lnTo>
                          <a:pt x="30" y="2"/>
                        </a:lnTo>
                        <a:lnTo>
                          <a:pt x="32" y="2"/>
                        </a:lnTo>
                        <a:lnTo>
                          <a:pt x="34" y="2"/>
                        </a:lnTo>
                        <a:lnTo>
                          <a:pt x="36" y="2"/>
                        </a:lnTo>
                        <a:lnTo>
                          <a:pt x="36" y="0"/>
                        </a:lnTo>
                        <a:lnTo>
                          <a:pt x="38" y="2"/>
                        </a:lnTo>
                        <a:lnTo>
                          <a:pt x="40" y="2"/>
                        </a:lnTo>
                        <a:lnTo>
                          <a:pt x="50" y="8"/>
                        </a:lnTo>
                        <a:lnTo>
                          <a:pt x="56" y="10"/>
                        </a:lnTo>
                        <a:lnTo>
                          <a:pt x="58" y="10"/>
                        </a:lnTo>
                        <a:lnTo>
                          <a:pt x="58" y="12"/>
                        </a:lnTo>
                        <a:lnTo>
                          <a:pt x="60" y="10"/>
                        </a:lnTo>
                        <a:lnTo>
                          <a:pt x="62" y="10"/>
                        </a:lnTo>
                        <a:lnTo>
                          <a:pt x="64" y="8"/>
                        </a:lnTo>
                        <a:lnTo>
                          <a:pt x="64" y="6"/>
                        </a:lnTo>
                        <a:lnTo>
                          <a:pt x="64" y="4"/>
                        </a:lnTo>
                        <a:lnTo>
                          <a:pt x="68" y="4"/>
                        </a:lnTo>
                        <a:lnTo>
                          <a:pt x="70" y="10"/>
                        </a:lnTo>
                        <a:lnTo>
                          <a:pt x="68" y="12"/>
                        </a:lnTo>
                        <a:lnTo>
                          <a:pt x="68" y="14"/>
                        </a:lnTo>
                        <a:lnTo>
                          <a:pt x="66" y="14"/>
                        </a:lnTo>
                        <a:lnTo>
                          <a:pt x="64" y="16"/>
                        </a:lnTo>
                        <a:lnTo>
                          <a:pt x="66" y="18"/>
                        </a:lnTo>
                        <a:lnTo>
                          <a:pt x="66" y="20"/>
                        </a:lnTo>
                        <a:lnTo>
                          <a:pt x="64" y="22"/>
                        </a:lnTo>
                        <a:lnTo>
                          <a:pt x="64" y="30"/>
                        </a:lnTo>
                        <a:lnTo>
                          <a:pt x="68" y="36"/>
                        </a:lnTo>
                        <a:lnTo>
                          <a:pt x="68" y="38"/>
                        </a:lnTo>
                        <a:lnTo>
                          <a:pt x="70" y="38"/>
                        </a:lnTo>
                        <a:lnTo>
                          <a:pt x="72" y="40"/>
                        </a:lnTo>
                        <a:lnTo>
                          <a:pt x="72" y="44"/>
                        </a:lnTo>
                        <a:lnTo>
                          <a:pt x="76" y="44"/>
                        </a:lnTo>
                        <a:lnTo>
                          <a:pt x="70" y="60"/>
                        </a:lnTo>
                        <a:lnTo>
                          <a:pt x="68" y="62"/>
                        </a:lnTo>
                        <a:lnTo>
                          <a:pt x="66" y="64"/>
                        </a:lnTo>
                        <a:lnTo>
                          <a:pt x="66" y="68"/>
                        </a:lnTo>
                        <a:lnTo>
                          <a:pt x="66" y="70"/>
                        </a:lnTo>
                        <a:lnTo>
                          <a:pt x="64" y="72"/>
                        </a:lnTo>
                        <a:lnTo>
                          <a:pt x="64" y="74"/>
                        </a:lnTo>
                        <a:lnTo>
                          <a:pt x="62" y="74"/>
                        </a:lnTo>
                        <a:lnTo>
                          <a:pt x="60" y="76"/>
                        </a:lnTo>
                        <a:lnTo>
                          <a:pt x="60" y="74"/>
                        </a:lnTo>
                        <a:lnTo>
                          <a:pt x="62" y="74"/>
                        </a:lnTo>
                        <a:lnTo>
                          <a:pt x="62" y="72"/>
                        </a:lnTo>
                        <a:lnTo>
                          <a:pt x="64" y="72"/>
                        </a:lnTo>
                        <a:lnTo>
                          <a:pt x="64" y="70"/>
                        </a:lnTo>
                        <a:lnTo>
                          <a:pt x="64" y="68"/>
                        </a:lnTo>
                        <a:lnTo>
                          <a:pt x="62" y="70"/>
                        </a:lnTo>
                        <a:lnTo>
                          <a:pt x="62" y="72"/>
                        </a:lnTo>
                        <a:lnTo>
                          <a:pt x="54" y="74"/>
                        </a:lnTo>
                        <a:lnTo>
                          <a:pt x="48" y="78"/>
                        </a:lnTo>
                        <a:lnTo>
                          <a:pt x="48" y="80"/>
                        </a:lnTo>
                        <a:lnTo>
                          <a:pt x="48" y="82"/>
                        </a:lnTo>
                        <a:lnTo>
                          <a:pt x="48" y="84"/>
                        </a:lnTo>
                        <a:lnTo>
                          <a:pt x="50" y="84"/>
                        </a:lnTo>
                        <a:lnTo>
                          <a:pt x="50" y="86"/>
                        </a:lnTo>
                        <a:lnTo>
                          <a:pt x="44" y="94"/>
                        </a:lnTo>
                        <a:lnTo>
                          <a:pt x="44" y="96"/>
                        </a:lnTo>
                        <a:lnTo>
                          <a:pt x="44" y="98"/>
                        </a:lnTo>
                        <a:lnTo>
                          <a:pt x="46" y="100"/>
                        </a:lnTo>
                        <a:lnTo>
                          <a:pt x="48" y="108"/>
                        </a:lnTo>
                        <a:lnTo>
                          <a:pt x="50" y="108"/>
                        </a:lnTo>
                        <a:lnTo>
                          <a:pt x="50" y="110"/>
                        </a:lnTo>
                        <a:lnTo>
                          <a:pt x="52" y="114"/>
                        </a:lnTo>
                        <a:lnTo>
                          <a:pt x="50" y="114"/>
                        </a:lnTo>
                        <a:lnTo>
                          <a:pt x="50" y="120"/>
                        </a:lnTo>
                        <a:lnTo>
                          <a:pt x="54" y="126"/>
                        </a:lnTo>
                        <a:lnTo>
                          <a:pt x="54" y="128"/>
                        </a:lnTo>
                        <a:lnTo>
                          <a:pt x="52" y="128"/>
                        </a:lnTo>
                        <a:lnTo>
                          <a:pt x="54" y="130"/>
                        </a:lnTo>
                        <a:lnTo>
                          <a:pt x="58" y="132"/>
                        </a:lnTo>
                        <a:lnTo>
                          <a:pt x="60" y="132"/>
                        </a:lnTo>
                        <a:lnTo>
                          <a:pt x="62" y="134"/>
                        </a:lnTo>
                        <a:lnTo>
                          <a:pt x="64" y="134"/>
                        </a:lnTo>
                        <a:lnTo>
                          <a:pt x="64" y="136"/>
                        </a:lnTo>
                        <a:lnTo>
                          <a:pt x="66" y="136"/>
                        </a:lnTo>
                        <a:lnTo>
                          <a:pt x="68" y="134"/>
                        </a:lnTo>
                        <a:lnTo>
                          <a:pt x="70" y="134"/>
                        </a:lnTo>
                        <a:lnTo>
                          <a:pt x="70" y="132"/>
                        </a:lnTo>
                        <a:lnTo>
                          <a:pt x="68" y="132"/>
                        </a:lnTo>
                        <a:lnTo>
                          <a:pt x="66" y="130"/>
                        </a:lnTo>
                        <a:lnTo>
                          <a:pt x="64" y="128"/>
                        </a:lnTo>
                        <a:lnTo>
                          <a:pt x="68" y="126"/>
                        </a:lnTo>
                        <a:lnTo>
                          <a:pt x="68" y="130"/>
                        </a:lnTo>
                        <a:lnTo>
                          <a:pt x="70" y="130"/>
                        </a:lnTo>
                        <a:lnTo>
                          <a:pt x="70" y="126"/>
                        </a:lnTo>
                        <a:lnTo>
                          <a:pt x="72" y="124"/>
                        </a:lnTo>
                        <a:lnTo>
                          <a:pt x="76" y="124"/>
                        </a:lnTo>
                        <a:lnTo>
                          <a:pt x="80" y="124"/>
                        </a:lnTo>
                        <a:lnTo>
                          <a:pt x="82" y="124"/>
                        </a:lnTo>
                        <a:lnTo>
                          <a:pt x="84" y="126"/>
                        </a:lnTo>
                        <a:lnTo>
                          <a:pt x="90" y="134"/>
                        </a:lnTo>
                        <a:lnTo>
                          <a:pt x="90" y="136"/>
                        </a:lnTo>
                        <a:lnTo>
                          <a:pt x="90" y="138"/>
                        </a:lnTo>
                        <a:lnTo>
                          <a:pt x="88" y="138"/>
                        </a:lnTo>
                        <a:lnTo>
                          <a:pt x="90" y="138"/>
                        </a:lnTo>
                        <a:lnTo>
                          <a:pt x="92" y="140"/>
                        </a:lnTo>
                        <a:lnTo>
                          <a:pt x="92" y="142"/>
                        </a:lnTo>
                        <a:lnTo>
                          <a:pt x="90" y="1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8" name="Freeform 3060"/>
                  <p:cNvSpPr>
                    <a:spLocks/>
                  </p:cNvSpPr>
                  <p:nvPr/>
                </p:nvSpPr>
                <p:spPr bwMode="auto">
                  <a:xfrm>
                    <a:off x="3254" y="3242"/>
                    <a:ext cx="6" cy="12"/>
                  </a:xfrm>
                  <a:custGeom>
                    <a:avLst/>
                    <a:gdLst/>
                    <a:ahLst/>
                    <a:cxnLst>
                      <a:cxn ang="0">
                        <a:pos x="2" y="12"/>
                      </a:cxn>
                      <a:cxn ang="0">
                        <a:pos x="2" y="10"/>
                      </a:cxn>
                      <a:cxn ang="0">
                        <a:pos x="2" y="8"/>
                      </a:cxn>
                      <a:cxn ang="0">
                        <a:pos x="2" y="6"/>
                      </a:cxn>
                      <a:cxn ang="0">
                        <a:pos x="0" y="4"/>
                      </a:cxn>
                      <a:cxn ang="0">
                        <a:pos x="0" y="2"/>
                      </a:cxn>
                      <a:cxn ang="0">
                        <a:pos x="2" y="0"/>
                      </a:cxn>
                      <a:cxn ang="0">
                        <a:pos x="4" y="0"/>
                      </a:cxn>
                      <a:cxn ang="0">
                        <a:pos x="4" y="2"/>
                      </a:cxn>
                      <a:cxn ang="0">
                        <a:pos x="6" y="2"/>
                      </a:cxn>
                      <a:cxn ang="0">
                        <a:pos x="6" y="4"/>
                      </a:cxn>
                      <a:cxn ang="0">
                        <a:pos x="6" y="2"/>
                      </a:cxn>
                      <a:cxn ang="0">
                        <a:pos x="4" y="2"/>
                      </a:cxn>
                      <a:cxn ang="0">
                        <a:pos x="4" y="4"/>
                      </a:cxn>
                      <a:cxn ang="0">
                        <a:pos x="4" y="6"/>
                      </a:cxn>
                      <a:cxn ang="0">
                        <a:pos x="6" y="8"/>
                      </a:cxn>
                      <a:cxn ang="0">
                        <a:pos x="6" y="10"/>
                      </a:cxn>
                      <a:cxn ang="0">
                        <a:pos x="4" y="12"/>
                      </a:cxn>
                      <a:cxn ang="0">
                        <a:pos x="2" y="12"/>
                      </a:cxn>
                    </a:cxnLst>
                    <a:rect l="0" t="0" r="r" b="b"/>
                    <a:pathLst>
                      <a:path w="6" h="12">
                        <a:moveTo>
                          <a:pt x="2" y="12"/>
                        </a:moveTo>
                        <a:lnTo>
                          <a:pt x="2" y="10"/>
                        </a:lnTo>
                        <a:lnTo>
                          <a:pt x="2" y="8"/>
                        </a:lnTo>
                        <a:lnTo>
                          <a:pt x="2" y="6"/>
                        </a:lnTo>
                        <a:lnTo>
                          <a:pt x="0" y="4"/>
                        </a:lnTo>
                        <a:lnTo>
                          <a:pt x="0" y="2"/>
                        </a:lnTo>
                        <a:lnTo>
                          <a:pt x="2" y="0"/>
                        </a:lnTo>
                        <a:lnTo>
                          <a:pt x="4" y="0"/>
                        </a:lnTo>
                        <a:lnTo>
                          <a:pt x="4" y="2"/>
                        </a:lnTo>
                        <a:lnTo>
                          <a:pt x="6" y="2"/>
                        </a:lnTo>
                        <a:lnTo>
                          <a:pt x="6" y="4"/>
                        </a:lnTo>
                        <a:lnTo>
                          <a:pt x="6" y="2"/>
                        </a:lnTo>
                        <a:lnTo>
                          <a:pt x="4" y="2"/>
                        </a:lnTo>
                        <a:lnTo>
                          <a:pt x="4" y="4"/>
                        </a:lnTo>
                        <a:lnTo>
                          <a:pt x="4" y="6"/>
                        </a:lnTo>
                        <a:lnTo>
                          <a:pt x="6" y="8"/>
                        </a:lnTo>
                        <a:lnTo>
                          <a:pt x="6" y="10"/>
                        </a:lnTo>
                        <a:lnTo>
                          <a:pt x="4" y="12"/>
                        </a:lnTo>
                        <a:lnTo>
                          <a:pt x="2"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9" name="Freeform 3061"/>
                  <p:cNvSpPr>
                    <a:spLocks/>
                  </p:cNvSpPr>
                  <p:nvPr/>
                </p:nvSpPr>
                <p:spPr bwMode="auto">
                  <a:xfrm>
                    <a:off x="3262" y="3248"/>
                    <a:ext cx="4" cy="4"/>
                  </a:xfrm>
                  <a:custGeom>
                    <a:avLst/>
                    <a:gdLst/>
                    <a:ahLst/>
                    <a:cxnLst>
                      <a:cxn ang="0">
                        <a:pos x="4" y="4"/>
                      </a:cxn>
                      <a:cxn ang="0">
                        <a:pos x="2" y="4"/>
                      </a:cxn>
                      <a:cxn ang="0">
                        <a:pos x="0" y="2"/>
                      </a:cxn>
                      <a:cxn ang="0">
                        <a:pos x="0" y="0"/>
                      </a:cxn>
                      <a:cxn ang="0">
                        <a:pos x="2" y="0"/>
                      </a:cxn>
                      <a:cxn ang="0">
                        <a:pos x="4" y="2"/>
                      </a:cxn>
                      <a:cxn ang="0">
                        <a:pos x="4" y="4"/>
                      </a:cxn>
                    </a:cxnLst>
                    <a:rect l="0" t="0" r="r" b="b"/>
                    <a:pathLst>
                      <a:path w="4" h="4">
                        <a:moveTo>
                          <a:pt x="4" y="4"/>
                        </a:moveTo>
                        <a:lnTo>
                          <a:pt x="2" y="4"/>
                        </a:lnTo>
                        <a:lnTo>
                          <a:pt x="0" y="2"/>
                        </a:lnTo>
                        <a:lnTo>
                          <a:pt x="0" y="0"/>
                        </a:lnTo>
                        <a:lnTo>
                          <a:pt x="2"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0" name="Freeform 3062"/>
                  <p:cNvSpPr>
                    <a:spLocks/>
                  </p:cNvSpPr>
                  <p:nvPr/>
                </p:nvSpPr>
                <p:spPr bwMode="auto">
                  <a:xfrm>
                    <a:off x="3256" y="3266"/>
                    <a:ext cx="8" cy="6"/>
                  </a:xfrm>
                  <a:custGeom>
                    <a:avLst/>
                    <a:gdLst/>
                    <a:ahLst/>
                    <a:cxnLst>
                      <a:cxn ang="0">
                        <a:pos x="6" y="6"/>
                      </a:cxn>
                      <a:cxn ang="0">
                        <a:pos x="2" y="4"/>
                      </a:cxn>
                      <a:cxn ang="0">
                        <a:pos x="0" y="2"/>
                      </a:cxn>
                      <a:cxn ang="0">
                        <a:pos x="0" y="0"/>
                      </a:cxn>
                      <a:cxn ang="0">
                        <a:pos x="8" y="6"/>
                      </a:cxn>
                      <a:cxn ang="0">
                        <a:pos x="6" y="6"/>
                      </a:cxn>
                    </a:cxnLst>
                    <a:rect l="0" t="0" r="r" b="b"/>
                    <a:pathLst>
                      <a:path w="8" h="6">
                        <a:moveTo>
                          <a:pt x="6" y="6"/>
                        </a:moveTo>
                        <a:lnTo>
                          <a:pt x="2" y="4"/>
                        </a:lnTo>
                        <a:lnTo>
                          <a:pt x="0" y="2"/>
                        </a:lnTo>
                        <a:lnTo>
                          <a:pt x="0" y="0"/>
                        </a:lnTo>
                        <a:lnTo>
                          <a:pt x="8" y="6"/>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1" name="Freeform 3063"/>
                  <p:cNvSpPr>
                    <a:spLocks/>
                  </p:cNvSpPr>
                  <p:nvPr/>
                </p:nvSpPr>
                <p:spPr bwMode="auto">
                  <a:xfrm>
                    <a:off x="3314" y="3270"/>
                    <a:ext cx="10" cy="16"/>
                  </a:xfrm>
                  <a:custGeom>
                    <a:avLst/>
                    <a:gdLst/>
                    <a:ahLst/>
                    <a:cxnLst>
                      <a:cxn ang="0">
                        <a:pos x="6" y="16"/>
                      </a:cxn>
                      <a:cxn ang="0">
                        <a:pos x="4" y="16"/>
                      </a:cxn>
                      <a:cxn ang="0">
                        <a:pos x="0" y="14"/>
                      </a:cxn>
                      <a:cxn ang="0">
                        <a:pos x="0" y="12"/>
                      </a:cxn>
                      <a:cxn ang="0">
                        <a:pos x="2" y="12"/>
                      </a:cxn>
                      <a:cxn ang="0">
                        <a:pos x="2" y="10"/>
                      </a:cxn>
                      <a:cxn ang="0">
                        <a:pos x="4" y="4"/>
                      </a:cxn>
                      <a:cxn ang="0">
                        <a:pos x="2" y="4"/>
                      </a:cxn>
                      <a:cxn ang="0">
                        <a:pos x="2" y="2"/>
                      </a:cxn>
                      <a:cxn ang="0">
                        <a:pos x="6" y="0"/>
                      </a:cxn>
                      <a:cxn ang="0">
                        <a:pos x="6" y="2"/>
                      </a:cxn>
                      <a:cxn ang="0">
                        <a:pos x="6" y="4"/>
                      </a:cxn>
                      <a:cxn ang="0">
                        <a:pos x="8" y="4"/>
                      </a:cxn>
                      <a:cxn ang="0">
                        <a:pos x="10" y="6"/>
                      </a:cxn>
                      <a:cxn ang="0">
                        <a:pos x="8" y="16"/>
                      </a:cxn>
                      <a:cxn ang="0">
                        <a:pos x="8" y="14"/>
                      </a:cxn>
                      <a:cxn ang="0">
                        <a:pos x="6" y="14"/>
                      </a:cxn>
                      <a:cxn ang="0">
                        <a:pos x="6" y="16"/>
                      </a:cxn>
                    </a:cxnLst>
                    <a:rect l="0" t="0" r="r" b="b"/>
                    <a:pathLst>
                      <a:path w="10" h="16">
                        <a:moveTo>
                          <a:pt x="6" y="16"/>
                        </a:moveTo>
                        <a:lnTo>
                          <a:pt x="4" y="16"/>
                        </a:lnTo>
                        <a:lnTo>
                          <a:pt x="0" y="14"/>
                        </a:lnTo>
                        <a:lnTo>
                          <a:pt x="0" y="12"/>
                        </a:lnTo>
                        <a:lnTo>
                          <a:pt x="2" y="12"/>
                        </a:lnTo>
                        <a:lnTo>
                          <a:pt x="2" y="10"/>
                        </a:lnTo>
                        <a:lnTo>
                          <a:pt x="4" y="4"/>
                        </a:lnTo>
                        <a:lnTo>
                          <a:pt x="2" y="4"/>
                        </a:lnTo>
                        <a:lnTo>
                          <a:pt x="2" y="2"/>
                        </a:lnTo>
                        <a:lnTo>
                          <a:pt x="6" y="0"/>
                        </a:lnTo>
                        <a:lnTo>
                          <a:pt x="6" y="2"/>
                        </a:lnTo>
                        <a:lnTo>
                          <a:pt x="6" y="4"/>
                        </a:lnTo>
                        <a:lnTo>
                          <a:pt x="8" y="4"/>
                        </a:lnTo>
                        <a:lnTo>
                          <a:pt x="10" y="6"/>
                        </a:lnTo>
                        <a:lnTo>
                          <a:pt x="8" y="16"/>
                        </a:lnTo>
                        <a:lnTo>
                          <a:pt x="8" y="14"/>
                        </a:lnTo>
                        <a:lnTo>
                          <a:pt x="6" y="14"/>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2" name="Freeform 3064"/>
                  <p:cNvSpPr>
                    <a:spLocks/>
                  </p:cNvSpPr>
                  <p:nvPr/>
                </p:nvSpPr>
                <p:spPr bwMode="auto">
                  <a:xfrm>
                    <a:off x="3206" y="3276"/>
                    <a:ext cx="6" cy="6"/>
                  </a:xfrm>
                  <a:custGeom>
                    <a:avLst/>
                    <a:gdLst/>
                    <a:ahLst/>
                    <a:cxnLst>
                      <a:cxn ang="0">
                        <a:pos x="6" y="6"/>
                      </a:cxn>
                      <a:cxn ang="0">
                        <a:pos x="4" y="6"/>
                      </a:cxn>
                      <a:cxn ang="0">
                        <a:pos x="2" y="4"/>
                      </a:cxn>
                      <a:cxn ang="0">
                        <a:pos x="0" y="2"/>
                      </a:cxn>
                      <a:cxn ang="0">
                        <a:pos x="0" y="0"/>
                      </a:cxn>
                      <a:cxn ang="0">
                        <a:pos x="4" y="2"/>
                      </a:cxn>
                      <a:cxn ang="0">
                        <a:pos x="6" y="4"/>
                      </a:cxn>
                      <a:cxn ang="0">
                        <a:pos x="6" y="6"/>
                      </a:cxn>
                    </a:cxnLst>
                    <a:rect l="0" t="0" r="r" b="b"/>
                    <a:pathLst>
                      <a:path w="6" h="6">
                        <a:moveTo>
                          <a:pt x="6" y="6"/>
                        </a:moveTo>
                        <a:lnTo>
                          <a:pt x="4" y="6"/>
                        </a:lnTo>
                        <a:lnTo>
                          <a:pt x="2" y="4"/>
                        </a:lnTo>
                        <a:lnTo>
                          <a:pt x="0" y="2"/>
                        </a:lnTo>
                        <a:lnTo>
                          <a:pt x="0" y="0"/>
                        </a:lnTo>
                        <a:lnTo>
                          <a:pt x="4" y="2"/>
                        </a:lnTo>
                        <a:lnTo>
                          <a:pt x="6" y="4"/>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3" name="Freeform 3065"/>
                  <p:cNvSpPr>
                    <a:spLocks/>
                  </p:cNvSpPr>
                  <p:nvPr/>
                </p:nvSpPr>
                <p:spPr bwMode="auto">
                  <a:xfrm>
                    <a:off x="3254" y="3286"/>
                    <a:ext cx="8" cy="10"/>
                  </a:xfrm>
                  <a:custGeom>
                    <a:avLst/>
                    <a:gdLst/>
                    <a:ahLst/>
                    <a:cxnLst>
                      <a:cxn ang="0">
                        <a:pos x="6" y="10"/>
                      </a:cxn>
                      <a:cxn ang="0">
                        <a:pos x="4" y="10"/>
                      </a:cxn>
                      <a:cxn ang="0">
                        <a:pos x="0" y="4"/>
                      </a:cxn>
                      <a:cxn ang="0">
                        <a:pos x="0" y="2"/>
                      </a:cxn>
                      <a:cxn ang="0">
                        <a:pos x="2" y="0"/>
                      </a:cxn>
                      <a:cxn ang="0">
                        <a:pos x="6" y="0"/>
                      </a:cxn>
                      <a:cxn ang="0">
                        <a:pos x="8" y="2"/>
                      </a:cxn>
                      <a:cxn ang="0">
                        <a:pos x="8" y="4"/>
                      </a:cxn>
                      <a:cxn ang="0">
                        <a:pos x="6" y="10"/>
                      </a:cxn>
                    </a:cxnLst>
                    <a:rect l="0" t="0" r="r" b="b"/>
                    <a:pathLst>
                      <a:path w="8" h="10">
                        <a:moveTo>
                          <a:pt x="6" y="10"/>
                        </a:moveTo>
                        <a:lnTo>
                          <a:pt x="4" y="10"/>
                        </a:lnTo>
                        <a:lnTo>
                          <a:pt x="0" y="4"/>
                        </a:lnTo>
                        <a:lnTo>
                          <a:pt x="0" y="2"/>
                        </a:lnTo>
                        <a:lnTo>
                          <a:pt x="2" y="0"/>
                        </a:lnTo>
                        <a:lnTo>
                          <a:pt x="6" y="0"/>
                        </a:lnTo>
                        <a:lnTo>
                          <a:pt x="8" y="2"/>
                        </a:lnTo>
                        <a:lnTo>
                          <a:pt x="8" y="4"/>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4" name="Freeform 3066"/>
                  <p:cNvSpPr>
                    <a:spLocks/>
                  </p:cNvSpPr>
                  <p:nvPr/>
                </p:nvSpPr>
                <p:spPr bwMode="auto">
                  <a:xfrm>
                    <a:off x="3212" y="3286"/>
                    <a:ext cx="34" cy="36"/>
                  </a:xfrm>
                  <a:custGeom>
                    <a:avLst/>
                    <a:gdLst/>
                    <a:ahLst/>
                    <a:cxnLst>
                      <a:cxn ang="0">
                        <a:pos x="20" y="34"/>
                      </a:cxn>
                      <a:cxn ang="0">
                        <a:pos x="18" y="32"/>
                      </a:cxn>
                      <a:cxn ang="0">
                        <a:pos x="18" y="28"/>
                      </a:cxn>
                      <a:cxn ang="0">
                        <a:pos x="16" y="28"/>
                      </a:cxn>
                      <a:cxn ang="0">
                        <a:pos x="18" y="26"/>
                      </a:cxn>
                      <a:cxn ang="0">
                        <a:pos x="16" y="24"/>
                      </a:cxn>
                      <a:cxn ang="0">
                        <a:pos x="14" y="22"/>
                      </a:cxn>
                      <a:cxn ang="0">
                        <a:pos x="12" y="14"/>
                      </a:cxn>
                      <a:cxn ang="0">
                        <a:pos x="10" y="10"/>
                      </a:cxn>
                      <a:cxn ang="0">
                        <a:pos x="8" y="10"/>
                      </a:cxn>
                      <a:cxn ang="0">
                        <a:pos x="8" y="8"/>
                      </a:cxn>
                      <a:cxn ang="0">
                        <a:pos x="6" y="8"/>
                      </a:cxn>
                      <a:cxn ang="0">
                        <a:pos x="0" y="4"/>
                      </a:cxn>
                      <a:cxn ang="0">
                        <a:pos x="0" y="2"/>
                      </a:cxn>
                      <a:cxn ang="0">
                        <a:pos x="2" y="2"/>
                      </a:cxn>
                      <a:cxn ang="0">
                        <a:pos x="2" y="0"/>
                      </a:cxn>
                      <a:cxn ang="0">
                        <a:pos x="20" y="0"/>
                      </a:cxn>
                      <a:cxn ang="0">
                        <a:pos x="20" y="2"/>
                      </a:cxn>
                      <a:cxn ang="0">
                        <a:pos x="20" y="4"/>
                      </a:cxn>
                      <a:cxn ang="0">
                        <a:pos x="24" y="4"/>
                      </a:cxn>
                      <a:cxn ang="0">
                        <a:pos x="26" y="4"/>
                      </a:cxn>
                      <a:cxn ang="0">
                        <a:pos x="28" y="4"/>
                      </a:cxn>
                      <a:cxn ang="0">
                        <a:pos x="32" y="10"/>
                      </a:cxn>
                      <a:cxn ang="0">
                        <a:pos x="32" y="22"/>
                      </a:cxn>
                      <a:cxn ang="0">
                        <a:pos x="34" y="24"/>
                      </a:cxn>
                      <a:cxn ang="0">
                        <a:pos x="34" y="26"/>
                      </a:cxn>
                      <a:cxn ang="0">
                        <a:pos x="32" y="26"/>
                      </a:cxn>
                      <a:cxn ang="0">
                        <a:pos x="32" y="28"/>
                      </a:cxn>
                      <a:cxn ang="0">
                        <a:pos x="30" y="30"/>
                      </a:cxn>
                      <a:cxn ang="0">
                        <a:pos x="30" y="32"/>
                      </a:cxn>
                      <a:cxn ang="0">
                        <a:pos x="32" y="32"/>
                      </a:cxn>
                      <a:cxn ang="0">
                        <a:pos x="30" y="32"/>
                      </a:cxn>
                      <a:cxn ang="0">
                        <a:pos x="26" y="36"/>
                      </a:cxn>
                      <a:cxn ang="0">
                        <a:pos x="22" y="36"/>
                      </a:cxn>
                      <a:cxn ang="0">
                        <a:pos x="22" y="34"/>
                      </a:cxn>
                      <a:cxn ang="0">
                        <a:pos x="22" y="32"/>
                      </a:cxn>
                      <a:cxn ang="0">
                        <a:pos x="20" y="34"/>
                      </a:cxn>
                    </a:cxnLst>
                    <a:rect l="0" t="0" r="r" b="b"/>
                    <a:pathLst>
                      <a:path w="34" h="36">
                        <a:moveTo>
                          <a:pt x="20" y="34"/>
                        </a:moveTo>
                        <a:lnTo>
                          <a:pt x="18" y="32"/>
                        </a:lnTo>
                        <a:lnTo>
                          <a:pt x="18" y="28"/>
                        </a:lnTo>
                        <a:lnTo>
                          <a:pt x="16" y="28"/>
                        </a:lnTo>
                        <a:lnTo>
                          <a:pt x="18" y="26"/>
                        </a:lnTo>
                        <a:lnTo>
                          <a:pt x="16" y="24"/>
                        </a:lnTo>
                        <a:lnTo>
                          <a:pt x="14" y="22"/>
                        </a:lnTo>
                        <a:lnTo>
                          <a:pt x="12" y="14"/>
                        </a:lnTo>
                        <a:lnTo>
                          <a:pt x="10" y="10"/>
                        </a:lnTo>
                        <a:lnTo>
                          <a:pt x="8" y="10"/>
                        </a:lnTo>
                        <a:lnTo>
                          <a:pt x="8" y="8"/>
                        </a:lnTo>
                        <a:lnTo>
                          <a:pt x="6" y="8"/>
                        </a:lnTo>
                        <a:lnTo>
                          <a:pt x="0" y="4"/>
                        </a:lnTo>
                        <a:lnTo>
                          <a:pt x="0" y="2"/>
                        </a:lnTo>
                        <a:lnTo>
                          <a:pt x="2" y="2"/>
                        </a:lnTo>
                        <a:lnTo>
                          <a:pt x="2" y="0"/>
                        </a:lnTo>
                        <a:lnTo>
                          <a:pt x="20" y="0"/>
                        </a:lnTo>
                        <a:lnTo>
                          <a:pt x="20" y="2"/>
                        </a:lnTo>
                        <a:lnTo>
                          <a:pt x="20" y="4"/>
                        </a:lnTo>
                        <a:lnTo>
                          <a:pt x="24" y="4"/>
                        </a:lnTo>
                        <a:lnTo>
                          <a:pt x="26" y="4"/>
                        </a:lnTo>
                        <a:lnTo>
                          <a:pt x="28" y="4"/>
                        </a:lnTo>
                        <a:lnTo>
                          <a:pt x="32" y="10"/>
                        </a:lnTo>
                        <a:lnTo>
                          <a:pt x="32" y="22"/>
                        </a:lnTo>
                        <a:lnTo>
                          <a:pt x="34" y="24"/>
                        </a:lnTo>
                        <a:lnTo>
                          <a:pt x="34" y="26"/>
                        </a:lnTo>
                        <a:lnTo>
                          <a:pt x="32" y="26"/>
                        </a:lnTo>
                        <a:lnTo>
                          <a:pt x="32" y="28"/>
                        </a:lnTo>
                        <a:lnTo>
                          <a:pt x="30" y="30"/>
                        </a:lnTo>
                        <a:lnTo>
                          <a:pt x="30" y="32"/>
                        </a:lnTo>
                        <a:lnTo>
                          <a:pt x="32" y="32"/>
                        </a:lnTo>
                        <a:lnTo>
                          <a:pt x="30" y="32"/>
                        </a:lnTo>
                        <a:lnTo>
                          <a:pt x="26" y="36"/>
                        </a:lnTo>
                        <a:lnTo>
                          <a:pt x="22" y="36"/>
                        </a:lnTo>
                        <a:lnTo>
                          <a:pt x="22" y="34"/>
                        </a:lnTo>
                        <a:lnTo>
                          <a:pt x="22" y="32"/>
                        </a:lnTo>
                        <a:lnTo>
                          <a:pt x="20"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5" name="Freeform 3067"/>
                  <p:cNvSpPr>
                    <a:spLocks/>
                  </p:cNvSpPr>
                  <p:nvPr/>
                </p:nvSpPr>
                <p:spPr bwMode="auto">
                  <a:xfrm>
                    <a:off x="3284" y="3296"/>
                    <a:ext cx="12" cy="14"/>
                  </a:xfrm>
                  <a:custGeom>
                    <a:avLst/>
                    <a:gdLst/>
                    <a:ahLst/>
                    <a:cxnLst>
                      <a:cxn ang="0">
                        <a:pos x="12" y="14"/>
                      </a:cxn>
                      <a:cxn ang="0">
                        <a:pos x="2" y="6"/>
                      </a:cxn>
                      <a:cxn ang="0">
                        <a:pos x="0" y="4"/>
                      </a:cxn>
                      <a:cxn ang="0">
                        <a:pos x="0" y="2"/>
                      </a:cxn>
                      <a:cxn ang="0">
                        <a:pos x="2" y="0"/>
                      </a:cxn>
                      <a:cxn ang="0">
                        <a:pos x="12" y="12"/>
                      </a:cxn>
                      <a:cxn ang="0">
                        <a:pos x="12" y="14"/>
                      </a:cxn>
                    </a:cxnLst>
                    <a:rect l="0" t="0" r="r" b="b"/>
                    <a:pathLst>
                      <a:path w="12" h="14">
                        <a:moveTo>
                          <a:pt x="12" y="14"/>
                        </a:moveTo>
                        <a:lnTo>
                          <a:pt x="2" y="6"/>
                        </a:lnTo>
                        <a:lnTo>
                          <a:pt x="0" y="4"/>
                        </a:lnTo>
                        <a:lnTo>
                          <a:pt x="0" y="2"/>
                        </a:lnTo>
                        <a:lnTo>
                          <a:pt x="2" y="0"/>
                        </a:lnTo>
                        <a:lnTo>
                          <a:pt x="12" y="12"/>
                        </a:lnTo>
                        <a:lnTo>
                          <a:pt x="1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6" name="Freeform 3068"/>
                  <p:cNvSpPr>
                    <a:spLocks/>
                  </p:cNvSpPr>
                  <p:nvPr/>
                </p:nvSpPr>
                <p:spPr bwMode="auto">
                  <a:xfrm>
                    <a:off x="3256" y="3310"/>
                    <a:ext cx="6" cy="16"/>
                  </a:xfrm>
                  <a:custGeom>
                    <a:avLst/>
                    <a:gdLst/>
                    <a:ahLst/>
                    <a:cxnLst>
                      <a:cxn ang="0">
                        <a:pos x="2" y="16"/>
                      </a:cxn>
                      <a:cxn ang="0">
                        <a:pos x="2" y="14"/>
                      </a:cxn>
                      <a:cxn ang="0">
                        <a:pos x="0" y="10"/>
                      </a:cxn>
                      <a:cxn ang="0">
                        <a:pos x="0" y="8"/>
                      </a:cxn>
                      <a:cxn ang="0">
                        <a:pos x="2" y="8"/>
                      </a:cxn>
                      <a:cxn ang="0">
                        <a:pos x="2" y="2"/>
                      </a:cxn>
                      <a:cxn ang="0">
                        <a:pos x="6" y="0"/>
                      </a:cxn>
                      <a:cxn ang="0">
                        <a:pos x="6" y="2"/>
                      </a:cxn>
                      <a:cxn ang="0">
                        <a:pos x="2" y="16"/>
                      </a:cxn>
                    </a:cxnLst>
                    <a:rect l="0" t="0" r="r" b="b"/>
                    <a:pathLst>
                      <a:path w="6" h="16">
                        <a:moveTo>
                          <a:pt x="2" y="16"/>
                        </a:moveTo>
                        <a:lnTo>
                          <a:pt x="2" y="14"/>
                        </a:lnTo>
                        <a:lnTo>
                          <a:pt x="0" y="10"/>
                        </a:lnTo>
                        <a:lnTo>
                          <a:pt x="0" y="8"/>
                        </a:lnTo>
                        <a:lnTo>
                          <a:pt x="2" y="8"/>
                        </a:lnTo>
                        <a:lnTo>
                          <a:pt x="2" y="2"/>
                        </a:lnTo>
                        <a:lnTo>
                          <a:pt x="6" y="0"/>
                        </a:lnTo>
                        <a:lnTo>
                          <a:pt x="6" y="2"/>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7" name="Freeform 3069"/>
                  <p:cNvSpPr>
                    <a:spLocks/>
                  </p:cNvSpPr>
                  <p:nvPr/>
                </p:nvSpPr>
                <p:spPr bwMode="auto">
                  <a:xfrm>
                    <a:off x="3302" y="3310"/>
                    <a:ext cx="6" cy="8"/>
                  </a:xfrm>
                  <a:custGeom>
                    <a:avLst/>
                    <a:gdLst/>
                    <a:ahLst/>
                    <a:cxnLst>
                      <a:cxn ang="0">
                        <a:pos x="6" y="8"/>
                      </a:cxn>
                      <a:cxn ang="0">
                        <a:pos x="0" y="4"/>
                      </a:cxn>
                      <a:cxn ang="0">
                        <a:pos x="0" y="2"/>
                      </a:cxn>
                      <a:cxn ang="0">
                        <a:pos x="0" y="0"/>
                      </a:cxn>
                      <a:cxn ang="0">
                        <a:pos x="2" y="2"/>
                      </a:cxn>
                      <a:cxn ang="0">
                        <a:pos x="4" y="2"/>
                      </a:cxn>
                      <a:cxn ang="0">
                        <a:pos x="6" y="8"/>
                      </a:cxn>
                    </a:cxnLst>
                    <a:rect l="0" t="0" r="r" b="b"/>
                    <a:pathLst>
                      <a:path w="6" h="8">
                        <a:moveTo>
                          <a:pt x="6" y="8"/>
                        </a:moveTo>
                        <a:lnTo>
                          <a:pt x="0" y="4"/>
                        </a:lnTo>
                        <a:lnTo>
                          <a:pt x="0" y="2"/>
                        </a:lnTo>
                        <a:lnTo>
                          <a:pt x="0" y="0"/>
                        </a:lnTo>
                        <a:lnTo>
                          <a:pt x="2" y="2"/>
                        </a:lnTo>
                        <a:lnTo>
                          <a:pt x="4" y="2"/>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8" name="Freeform 3070"/>
                  <p:cNvSpPr>
                    <a:spLocks/>
                  </p:cNvSpPr>
                  <p:nvPr/>
                </p:nvSpPr>
                <p:spPr bwMode="auto">
                  <a:xfrm>
                    <a:off x="3290" y="3312"/>
                    <a:ext cx="24" cy="24"/>
                  </a:xfrm>
                  <a:custGeom>
                    <a:avLst/>
                    <a:gdLst/>
                    <a:ahLst/>
                    <a:cxnLst>
                      <a:cxn ang="0">
                        <a:pos x="24" y="24"/>
                      </a:cxn>
                      <a:cxn ang="0">
                        <a:pos x="22" y="22"/>
                      </a:cxn>
                      <a:cxn ang="0">
                        <a:pos x="20" y="20"/>
                      </a:cxn>
                      <a:cxn ang="0">
                        <a:pos x="18" y="20"/>
                      </a:cxn>
                      <a:cxn ang="0">
                        <a:pos x="12" y="14"/>
                      </a:cxn>
                      <a:cxn ang="0">
                        <a:pos x="12" y="12"/>
                      </a:cxn>
                      <a:cxn ang="0">
                        <a:pos x="10" y="12"/>
                      </a:cxn>
                      <a:cxn ang="0">
                        <a:pos x="8" y="12"/>
                      </a:cxn>
                      <a:cxn ang="0">
                        <a:pos x="2" y="18"/>
                      </a:cxn>
                      <a:cxn ang="0">
                        <a:pos x="0" y="20"/>
                      </a:cxn>
                      <a:cxn ang="0">
                        <a:pos x="0" y="18"/>
                      </a:cxn>
                      <a:cxn ang="0">
                        <a:pos x="4" y="10"/>
                      </a:cxn>
                      <a:cxn ang="0">
                        <a:pos x="2" y="0"/>
                      </a:cxn>
                      <a:cxn ang="0">
                        <a:pos x="20" y="12"/>
                      </a:cxn>
                      <a:cxn ang="0">
                        <a:pos x="24" y="18"/>
                      </a:cxn>
                      <a:cxn ang="0">
                        <a:pos x="24" y="24"/>
                      </a:cxn>
                    </a:cxnLst>
                    <a:rect l="0" t="0" r="r" b="b"/>
                    <a:pathLst>
                      <a:path w="24" h="24">
                        <a:moveTo>
                          <a:pt x="24" y="24"/>
                        </a:moveTo>
                        <a:lnTo>
                          <a:pt x="22" y="22"/>
                        </a:lnTo>
                        <a:lnTo>
                          <a:pt x="20" y="20"/>
                        </a:lnTo>
                        <a:lnTo>
                          <a:pt x="18" y="20"/>
                        </a:lnTo>
                        <a:lnTo>
                          <a:pt x="12" y="14"/>
                        </a:lnTo>
                        <a:lnTo>
                          <a:pt x="12" y="12"/>
                        </a:lnTo>
                        <a:lnTo>
                          <a:pt x="10" y="12"/>
                        </a:lnTo>
                        <a:lnTo>
                          <a:pt x="8" y="12"/>
                        </a:lnTo>
                        <a:lnTo>
                          <a:pt x="2" y="18"/>
                        </a:lnTo>
                        <a:lnTo>
                          <a:pt x="0" y="20"/>
                        </a:lnTo>
                        <a:lnTo>
                          <a:pt x="0" y="18"/>
                        </a:lnTo>
                        <a:lnTo>
                          <a:pt x="4" y="10"/>
                        </a:lnTo>
                        <a:lnTo>
                          <a:pt x="2" y="0"/>
                        </a:lnTo>
                        <a:lnTo>
                          <a:pt x="20" y="12"/>
                        </a:lnTo>
                        <a:lnTo>
                          <a:pt x="24" y="18"/>
                        </a:lnTo>
                        <a:lnTo>
                          <a:pt x="24"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9" name="Freeform 3071"/>
                  <p:cNvSpPr>
                    <a:spLocks/>
                  </p:cNvSpPr>
                  <p:nvPr/>
                </p:nvSpPr>
                <p:spPr bwMode="auto">
                  <a:xfrm>
                    <a:off x="3320" y="3312"/>
                    <a:ext cx="42" cy="44"/>
                  </a:xfrm>
                  <a:custGeom>
                    <a:avLst/>
                    <a:gdLst/>
                    <a:ahLst/>
                    <a:cxnLst>
                      <a:cxn ang="0">
                        <a:pos x="42" y="44"/>
                      </a:cxn>
                      <a:cxn ang="0">
                        <a:pos x="40" y="42"/>
                      </a:cxn>
                      <a:cxn ang="0">
                        <a:pos x="38" y="42"/>
                      </a:cxn>
                      <a:cxn ang="0">
                        <a:pos x="36" y="42"/>
                      </a:cxn>
                      <a:cxn ang="0">
                        <a:pos x="34" y="42"/>
                      </a:cxn>
                      <a:cxn ang="0">
                        <a:pos x="28" y="42"/>
                      </a:cxn>
                      <a:cxn ang="0">
                        <a:pos x="26" y="40"/>
                      </a:cxn>
                      <a:cxn ang="0">
                        <a:pos x="24" y="38"/>
                      </a:cxn>
                      <a:cxn ang="0">
                        <a:pos x="24" y="36"/>
                      </a:cxn>
                      <a:cxn ang="0">
                        <a:pos x="22" y="36"/>
                      </a:cxn>
                      <a:cxn ang="0">
                        <a:pos x="20" y="36"/>
                      </a:cxn>
                      <a:cxn ang="0">
                        <a:pos x="20" y="34"/>
                      </a:cxn>
                      <a:cxn ang="0">
                        <a:pos x="20" y="32"/>
                      </a:cxn>
                      <a:cxn ang="0">
                        <a:pos x="18" y="32"/>
                      </a:cxn>
                      <a:cxn ang="0">
                        <a:pos x="16" y="32"/>
                      </a:cxn>
                      <a:cxn ang="0">
                        <a:pos x="16" y="30"/>
                      </a:cxn>
                      <a:cxn ang="0">
                        <a:pos x="18" y="30"/>
                      </a:cxn>
                      <a:cxn ang="0">
                        <a:pos x="20" y="28"/>
                      </a:cxn>
                      <a:cxn ang="0">
                        <a:pos x="22" y="24"/>
                      </a:cxn>
                      <a:cxn ang="0">
                        <a:pos x="20" y="24"/>
                      </a:cxn>
                      <a:cxn ang="0">
                        <a:pos x="18" y="22"/>
                      </a:cxn>
                      <a:cxn ang="0">
                        <a:pos x="12" y="16"/>
                      </a:cxn>
                      <a:cxn ang="0">
                        <a:pos x="10" y="16"/>
                      </a:cxn>
                      <a:cxn ang="0">
                        <a:pos x="6" y="14"/>
                      </a:cxn>
                      <a:cxn ang="0">
                        <a:pos x="6" y="12"/>
                      </a:cxn>
                      <a:cxn ang="0">
                        <a:pos x="0" y="2"/>
                      </a:cxn>
                      <a:cxn ang="0">
                        <a:pos x="0" y="0"/>
                      </a:cxn>
                      <a:cxn ang="0">
                        <a:pos x="6" y="2"/>
                      </a:cxn>
                      <a:cxn ang="0">
                        <a:pos x="18" y="2"/>
                      </a:cxn>
                      <a:cxn ang="0">
                        <a:pos x="18" y="0"/>
                      </a:cxn>
                      <a:cxn ang="0">
                        <a:pos x="22" y="2"/>
                      </a:cxn>
                      <a:cxn ang="0">
                        <a:pos x="24" y="0"/>
                      </a:cxn>
                      <a:cxn ang="0">
                        <a:pos x="26" y="0"/>
                      </a:cxn>
                      <a:cxn ang="0">
                        <a:pos x="30" y="6"/>
                      </a:cxn>
                      <a:cxn ang="0">
                        <a:pos x="28" y="6"/>
                      </a:cxn>
                      <a:cxn ang="0">
                        <a:pos x="28" y="8"/>
                      </a:cxn>
                      <a:cxn ang="0">
                        <a:pos x="30" y="10"/>
                      </a:cxn>
                      <a:cxn ang="0">
                        <a:pos x="30" y="8"/>
                      </a:cxn>
                      <a:cxn ang="0">
                        <a:pos x="32" y="10"/>
                      </a:cxn>
                      <a:cxn ang="0">
                        <a:pos x="34" y="12"/>
                      </a:cxn>
                      <a:cxn ang="0">
                        <a:pos x="32" y="14"/>
                      </a:cxn>
                      <a:cxn ang="0">
                        <a:pos x="36" y="16"/>
                      </a:cxn>
                      <a:cxn ang="0">
                        <a:pos x="34" y="16"/>
                      </a:cxn>
                      <a:cxn ang="0">
                        <a:pos x="32" y="18"/>
                      </a:cxn>
                      <a:cxn ang="0">
                        <a:pos x="32" y="28"/>
                      </a:cxn>
                      <a:cxn ang="0">
                        <a:pos x="36" y="34"/>
                      </a:cxn>
                      <a:cxn ang="0">
                        <a:pos x="38" y="36"/>
                      </a:cxn>
                      <a:cxn ang="0">
                        <a:pos x="36" y="36"/>
                      </a:cxn>
                      <a:cxn ang="0">
                        <a:pos x="36" y="38"/>
                      </a:cxn>
                      <a:cxn ang="0">
                        <a:pos x="36" y="40"/>
                      </a:cxn>
                      <a:cxn ang="0">
                        <a:pos x="36" y="38"/>
                      </a:cxn>
                      <a:cxn ang="0">
                        <a:pos x="38" y="40"/>
                      </a:cxn>
                      <a:cxn ang="0">
                        <a:pos x="42" y="42"/>
                      </a:cxn>
                      <a:cxn ang="0">
                        <a:pos x="42" y="44"/>
                      </a:cxn>
                    </a:cxnLst>
                    <a:rect l="0" t="0" r="r" b="b"/>
                    <a:pathLst>
                      <a:path w="42" h="44">
                        <a:moveTo>
                          <a:pt x="42" y="44"/>
                        </a:moveTo>
                        <a:lnTo>
                          <a:pt x="40" y="42"/>
                        </a:lnTo>
                        <a:lnTo>
                          <a:pt x="38" y="42"/>
                        </a:lnTo>
                        <a:lnTo>
                          <a:pt x="36" y="42"/>
                        </a:lnTo>
                        <a:lnTo>
                          <a:pt x="34" y="42"/>
                        </a:lnTo>
                        <a:lnTo>
                          <a:pt x="28" y="42"/>
                        </a:lnTo>
                        <a:lnTo>
                          <a:pt x="26" y="40"/>
                        </a:lnTo>
                        <a:lnTo>
                          <a:pt x="24" y="38"/>
                        </a:lnTo>
                        <a:lnTo>
                          <a:pt x="24" y="36"/>
                        </a:lnTo>
                        <a:lnTo>
                          <a:pt x="22" y="36"/>
                        </a:lnTo>
                        <a:lnTo>
                          <a:pt x="20" y="36"/>
                        </a:lnTo>
                        <a:lnTo>
                          <a:pt x="20" y="34"/>
                        </a:lnTo>
                        <a:lnTo>
                          <a:pt x="20" y="32"/>
                        </a:lnTo>
                        <a:lnTo>
                          <a:pt x="18" y="32"/>
                        </a:lnTo>
                        <a:lnTo>
                          <a:pt x="16" y="32"/>
                        </a:lnTo>
                        <a:lnTo>
                          <a:pt x="16" y="30"/>
                        </a:lnTo>
                        <a:lnTo>
                          <a:pt x="18" y="30"/>
                        </a:lnTo>
                        <a:lnTo>
                          <a:pt x="20" y="28"/>
                        </a:lnTo>
                        <a:lnTo>
                          <a:pt x="22" y="24"/>
                        </a:lnTo>
                        <a:lnTo>
                          <a:pt x="20" y="24"/>
                        </a:lnTo>
                        <a:lnTo>
                          <a:pt x="18" y="22"/>
                        </a:lnTo>
                        <a:lnTo>
                          <a:pt x="12" y="16"/>
                        </a:lnTo>
                        <a:lnTo>
                          <a:pt x="10" y="16"/>
                        </a:lnTo>
                        <a:lnTo>
                          <a:pt x="6" y="14"/>
                        </a:lnTo>
                        <a:lnTo>
                          <a:pt x="6" y="12"/>
                        </a:lnTo>
                        <a:lnTo>
                          <a:pt x="0" y="2"/>
                        </a:lnTo>
                        <a:lnTo>
                          <a:pt x="0" y="0"/>
                        </a:lnTo>
                        <a:lnTo>
                          <a:pt x="6" y="2"/>
                        </a:lnTo>
                        <a:lnTo>
                          <a:pt x="18" y="2"/>
                        </a:lnTo>
                        <a:lnTo>
                          <a:pt x="18" y="0"/>
                        </a:lnTo>
                        <a:lnTo>
                          <a:pt x="22" y="2"/>
                        </a:lnTo>
                        <a:lnTo>
                          <a:pt x="24" y="0"/>
                        </a:lnTo>
                        <a:lnTo>
                          <a:pt x="26" y="0"/>
                        </a:lnTo>
                        <a:lnTo>
                          <a:pt x="30" y="6"/>
                        </a:lnTo>
                        <a:lnTo>
                          <a:pt x="28" y="6"/>
                        </a:lnTo>
                        <a:lnTo>
                          <a:pt x="28" y="8"/>
                        </a:lnTo>
                        <a:lnTo>
                          <a:pt x="30" y="10"/>
                        </a:lnTo>
                        <a:lnTo>
                          <a:pt x="30" y="8"/>
                        </a:lnTo>
                        <a:lnTo>
                          <a:pt x="32" y="10"/>
                        </a:lnTo>
                        <a:lnTo>
                          <a:pt x="34" y="12"/>
                        </a:lnTo>
                        <a:lnTo>
                          <a:pt x="32" y="14"/>
                        </a:lnTo>
                        <a:lnTo>
                          <a:pt x="36" y="16"/>
                        </a:lnTo>
                        <a:lnTo>
                          <a:pt x="34" y="16"/>
                        </a:lnTo>
                        <a:lnTo>
                          <a:pt x="32" y="18"/>
                        </a:lnTo>
                        <a:lnTo>
                          <a:pt x="32" y="28"/>
                        </a:lnTo>
                        <a:lnTo>
                          <a:pt x="36" y="34"/>
                        </a:lnTo>
                        <a:lnTo>
                          <a:pt x="38" y="36"/>
                        </a:lnTo>
                        <a:lnTo>
                          <a:pt x="36" y="36"/>
                        </a:lnTo>
                        <a:lnTo>
                          <a:pt x="36" y="38"/>
                        </a:lnTo>
                        <a:lnTo>
                          <a:pt x="36" y="40"/>
                        </a:lnTo>
                        <a:lnTo>
                          <a:pt x="36" y="38"/>
                        </a:lnTo>
                        <a:lnTo>
                          <a:pt x="38" y="40"/>
                        </a:lnTo>
                        <a:lnTo>
                          <a:pt x="42" y="42"/>
                        </a:lnTo>
                        <a:lnTo>
                          <a:pt x="42" y="4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0" name="Freeform 3072"/>
                  <p:cNvSpPr>
                    <a:spLocks/>
                  </p:cNvSpPr>
                  <p:nvPr/>
                </p:nvSpPr>
                <p:spPr bwMode="auto">
                  <a:xfrm>
                    <a:off x="3270" y="3314"/>
                    <a:ext cx="8" cy="8"/>
                  </a:xfrm>
                  <a:custGeom>
                    <a:avLst/>
                    <a:gdLst/>
                    <a:ahLst/>
                    <a:cxnLst>
                      <a:cxn ang="0">
                        <a:pos x="6" y="8"/>
                      </a:cxn>
                      <a:cxn ang="0">
                        <a:pos x="4" y="4"/>
                      </a:cxn>
                      <a:cxn ang="0">
                        <a:pos x="2" y="4"/>
                      </a:cxn>
                      <a:cxn ang="0">
                        <a:pos x="0" y="4"/>
                      </a:cxn>
                      <a:cxn ang="0">
                        <a:pos x="0" y="2"/>
                      </a:cxn>
                      <a:cxn ang="0">
                        <a:pos x="2" y="2"/>
                      </a:cxn>
                      <a:cxn ang="0">
                        <a:pos x="2" y="0"/>
                      </a:cxn>
                      <a:cxn ang="0">
                        <a:pos x="6" y="0"/>
                      </a:cxn>
                      <a:cxn ang="0">
                        <a:pos x="8" y="2"/>
                      </a:cxn>
                      <a:cxn ang="0">
                        <a:pos x="8" y="4"/>
                      </a:cxn>
                      <a:cxn ang="0">
                        <a:pos x="8" y="6"/>
                      </a:cxn>
                      <a:cxn ang="0">
                        <a:pos x="6" y="8"/>
                      </a:cxn>
                    </a:cxnLst>
                    <a:rect l="0" t="0" r="r" b="b"/>
                    <a:pathLst>
                      <a:path w="8" h="8">
                        <a:moveTo>
                          <a:pt x="6" y="8"/>
                        </a:moveTo>
                        <a:lnTo>
                          <a:pt x="4" y="4"/>
                        </a:lnTo>
                        <a:lnTo>
                          <a:pt x="2" y="4"/>
                        </a:lnTo>
                        <a:lnTo>
                          <a:pt x="0" y="4"/>
                        </a:lnTo>
                        <a:lnTo>
                          <a:pt x="0" y="2"/>
                        </a:lnTo>
                        <a:lnTo>
                          <a:pt x="2" y="2"/>
                        </a:lnTo>
                        <a:lnTo>
                          <a:pt x="2" y="0"/>
                        </a:lnTo>
                        <a:lnTo>
                          <a:pt x="6" y="0"/>
                        </a:lnTo>
                        <a:lnTo>
                          <a:pt x="8" y="2"/>
                        </a:lnTo>
                        <a:lnTo>
                          <a:pt x="8" y="4"/>
                        </a:lnTo>
                        <a:lnTo>
                          <a:pt x="8" y="6"/>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1" name="Freeform 3073"/>
                  <p:cNvSpPr>
                    <a:spLocks/>
                  </p:cNvSpPr>
                  <p:nvPr/>
                </p:nvSpPr>
                <p:spPr bwMode="auto">
                  <a:xfrm>
                    <a:off x="3200" y="3320"/>
                    <a:ext cx="14" cy="10"/>
                  </a:xfrm>
                  <a:custGeom>
                    <a:avLst/>
                    <a:gdLst/>
                    <a:ahLst/>
                    <a:cxnLst>
                      <a:cxn ang="0">
                        <a:pos x="8" y="10"/>
                      </a:cxn>
                      <a:cxn ang="0">
                        <a:pos x="6" y="10"/>
                      </a:cxn>
                      <a:cxn ang="0">
                        <a:pos x="6" y="8"/>
                      </a:cxn>
                      <a:cxn ang="0">
                        <a:pos x="4" y="10"/>
                      </a:cxn>
                      <a:cxn ang="0">
                        <a:pos x="2" y="8"/>
                      </a:cxn>
                      <a:cxn ang="0">
                        <a:pos x="0" y="2"/>
                      </a:cxn>
                      <a:cxn ang="0">
                        <a:pos x="0" y="0"/>
                      </a:cxn>
                      <a:cxn ang="0">
                        <a:pos x="2" y="0"/>
                      </a:cxn>
                      <a:cxn ang="0">
                        <a:pos x="6" y="4"/>
                      </a:cxn>
                      <a:cxn ang="0">
                        <a:pos x="8" y="4"/>
                      </a:cxn>
                      <a:cxn ang="0">
                        <a:pos x="8" y="6"/>
                      </a:cxn>
                      <a:cxn ang="0">
                        <a:pos x="10" y="4"/>
                      </a:cxn>
                      <a:cxn ang="0">
                        <a:pos x="14" y="6"/>
                      </a:cxn>
                      <a:cxn ang="0">
                        <a:pos x="14" y="10"/>
                      </a:cxn>
                      <a:cxn ang="0">
                        <a:pos x="8" y="10"/>
                      </a:cxn>
                    </a:cxnLst>
                    <a:rect l="0" t="0" r="r" b="b"/>
                    <a:pathLst>
                      <a:path w="14" h="10">
                        <a:moveTo>
                          <a:pt x="8" y="10"/>
                        </a:moveTo>
                        <a:lnTo>
                          <a:pt x="6" y="10"/>
                        </a:lnTo>
                        <a:lnTo>
                          <a:pt x="6" y="8"/>
                        </a:lnTo>
                        <a:lnTo>
                          <a:pt x="4" y="10"/>
                        </a:lnTo>
                        <a:lnTo>
                          <a:pt x="2" y="8"/>
                        </a:lnTo>
                        <a:lnTo>
                          <a:pt x="0" y="2"/>
                        </a:lnTo>
                        <a:lnTo>
                          <a:pt x="0" y="0"/>
                        </a:lnTo>
                        <a:lnTo>
                          <a:pt x="2" y="0"/>
                        </a:lnTo>
                        <a:lnTo>
                          <a:pt x="6" y="4"/>
                        </a:lnTo>
                        <a:lnTo>
                          <a:pt x="8" y="4"/>
                        </a:lnTo>
                        <a:lnTo>
                          <a:pt x="8" y="6"/>
                        </a:lnTo>
                        <a:lnTo>
                          <a:pt x="10" y="4"/>
                        </a:lnTo>
                        <a:lnTo>
                          <a:pt x="14" y="6"/>
                        </a:lnTo>
                        <a:lnTo>
                          <a:pt x="14" y="10"/>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2" name="Freeform 3074"/>
                  <p:cNvSpPr>
                    <a:spLocks/>
                  </p:cNvSpPr>
                  <p:nvPr/>
                </p:nvSpPr>
                <p:spPr bwMode="auto">
                  <a:xfrm>
                    <a:off x="3200" y="3330"/>
                    <a:ext cx="6" cy="8"/>
                  </a:xfrm>
                  <a:custGeom>
                    <a:avLst/>
                    <a:gdLst/>
                    <a:ahLst/>
                    <a:cxnLst>
                      <a:cxn ang="0">
                        <a:pos x="2" y="8"/>
                      </a:cxn>
                      <a:cxn ang="0">
                        <a:pos x="2" y="6"/>
                      </a:cxn>
                      <a:cxn ang="0">
                        <a:pos x="0" y="2"/>
                      </a:cxn>
                      <a:cxn ang="0">
                        <a:pos x="0" y="0"/>
                      </a:cxn>
                      <a:cxn ang="0">
                        <a:pos x="2" y="0"/>
                      </a:cxn>
                      <a:cxn ang="0">
                        <a:pos x="4" y="0"/>
                      </a:cxn>
                      <a:cxn ang="0">
                        <a:pos x="6" y="2"/>
                      </a:cxn>
                      <a:cxn ang="0">
                        <a:pos x="4" y="4"/>
                      </a:cxn>
                      <a:cxn ang="0">
                        <a:pos x="6" y="4"/>
                      </a:cxn>
                      <a:cxn ang="0">
                        <a:pos x="6" y="6"/>
                      </a:cxn>
                      <a:cxn ang="0">
                        <a:pos x="4" y="8"/>
                      </a:cxn>
                      <a:cxn ang="0">
                        <a:pos x="2" y="8"/>
                      </a:cxn>
                    </a:cxnLst>
                    <a:rect l="0" t="0" r="r" b="b"/>
                    <a:pathLst>
                      <a:path w="6" h="8">
                        <a:moveTo>
                          <a:pt x="2" y="8"/>
                        </a:moveTo>
                        <a:lnTo>
                          <a:pt x="2" y="6"/>
                        </a:lnTo>
                        <a:lnTo>
                          <a:pt x="0" y="2"/>
                        </a:lnTo>
                        <a:lnTo>
                          <a:pt x="0" y="0"/>
                        </a:lnTo>
                        <a:lnTo>
                          <a:pt x="2" y="0"/>
                        </a:lnTo>
                        <a:lnTo>
                          <a:pt x="4" y="0"/>
                        </a:lnTo>
                        <a:lnTo>
                          <a:pt x="6" y="2"/>
                        </a:lnTo>
                        <a:lnTo>
                          <a:pt x="4" y="4"/>
                        </a:lnTo>
                        <a:lnTo>
                          <a:pt x="6" y="4"/>
                        </a:lnTo>
                        <a:lnTo>
                          <a:pt x="6" y="6"/>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3" name="Freeform 3075"/>
                  <p:cNvSpPr>
                    <a:spLocks/>
                  </p:cNvSpPr>
                  <p:nvPr/>
                </p:nvSpPr>
                <p:spPr bwMode="auto">
                  <a:xfrm>
                    <a:off x="3254" y="3330"/>
                    <a:ext cx="36" cy="42"/>
                  </a:xfrm>
                  <a:custGeom>
                    <a:avLst/>
                    <a:gdLst/>
                    <a:ahLst/>
                    <a:cxnLst>
                      <a:cxn ang="0">
                        <a:pos x="34" y="20"/>
                      </a:cxn>
                      <a:cxn ang="0">
                        <a:pos x="36" y="22"/>
                      </a:cxn>
                      <a:cxn ang="0">
                        <a:pos x="24" y="28"/>
                      </a:cxn>
                      <a:cxn ang="0">
                        <a:pos x="26" y="30"/>
                      </a:cxn>
                      <a:cxn ang="0">
                        <a:pos x="24" y="32"/>
                      </a:cxn>
                      <a:cxn ang="0">
                        <a:pos x="22" y="32"/>
                      </a:cxn>
                      <a:cxn ang="0">
                        <a:pos x="20" y="34"/>
                      </a:cxn>
                      <a:cxn ang="0">
                        <a:pos x="18" y="36"/>
                      </a:cxn>
                      <a:cxn ang="0">
                        <a:pos x="10" y="36"/>
                      </a:cxn>
                      <a:cxn ang="0">
                        <a:pos x="8" y="38"/>
                      </a:cxn>
                      <a:cxn ang="0">
                        <a:pos x="8" y="40"/>
                      </a:cxn>
                      <a:cxn ang="0">
                        <a:pos x="6" y="40"/>
                      </a:cxn>
                      <a:cxn ang="0">
                        <a:pos x="6" y="42"/>
                      </a:cxn>
                      <a:cxn ang="0">
                        <a:pos x="4" y="42"/>
                      </a:cxn>
                      <a:cxn ang="0">
                        <a:pos x="2" y="42"/>
                      </a:cxn>
                      <a:cxn ang="0">
                        <a:pos x="4" y="40"/>
                      </a:cxn>
                      <a:cxn ang="0">
                        <a:pos x="4" y="36"/>
                      </a:cxn>
                      <a:cxn ang="0">
                        <a:pos x="2" y="34"/>
                      </a:cxn>
                      <a:cxn ang="0">
                        <a:pos x="2" y="30"/>
                      </a:cxn>
                      <a:cxn ang="0">
                        <a:pos x="4" y="30"/>
                      </a:cxn>
                      <a:cxn ang="0">
                        <a:pos x="6" y="28"/>
                      </a:cxn>
                      <a:cxn ang="0">
                        <a:pos x="6" y="26"/>
                      </a:cxn>
                      <a:cxn ang="0">
                        <a:pos x="6" y="24"/>
                      </a:cxn>
                      <a:cxn ang="0">
                        <a:pos x="6" y="16"/>
                      </a:cxn>
                      <a:cxn ang="0">
                        <a:pos x="8" y="10"/>
                      </a:cxn>
                      <a:cxn ang="0">
                        <a:pos x="8" y="6"/>
                      </a:cxn>
                      <a:cxn ang="0">
                        <a:pos x="6" y="6"/>
                      </a:cxn>
                      <a:cxn ang="0">
                        <a:pos x="0" y="6"/>
                      </a:cxn>
                      <a:cxn ang="0">
                        <a:pos x="2" y="2"/>
                      </a:cxn>
                      <a:cxn ang="0">
                        <a:pos x="2" y="0"/>
                      </a:cxn>
                      <a:cxn ang="0">
                        <a:pos x="4" y="0"/>
                      </a:cxn>
                      <a:cxn ang="0">
                        <a:pos x="6" y="4"/>
                      </a:cxn>
                      <a:cxn ang="0">
                        <a:pos x="8" y="4"/>
                      </a:cxn>
                      <a:cxn ang="0">
                        <a:pos x="10" y="4"/>
                      </a:cxn>
                      <a:cxn ang="0">
                        <a:pos x="20" y="12"/>
                      </a:cxn>
                      <a:cxn ang="0">
                        <a:pos x="26" y="10"/>
                      </a:cxn>
                      <a:cxn ang="0">
                        <a:pos x="30" y="12"/>
                      </a:cxn>
                      <a:cxn ang="0">
                        <a:pos x="28" y="14"/>
                      </a:cxn>
                      <a:cxn ang="0">
                        <a:pos x="30" y="14"/>
                      </a:cxn>
                      <a:cxn ang="0">
                        <a:pos x="36" y="10"/>
                      </a:cxn>
                      <a:cxn ang="0">
                        <a:pos x="36" y="16"/>
                      </a:cxn>
                      <a:cxn ang="0">
                        <a:pos x="34" y="20"/>
                      </a:cxn>
                    </a:cxnLst>
                    <a:rect l="0" t="0" r="r" b="b"/>
                    <a:pathLst>
                      <a:path w="36" h="42">
                        <a:moveTo>
                          <a:pt x="34" y="20"/>
                        </a:moveTo>
                        <a:lnTo>
                          <a:pt x="36" y="22"/>
                        </a:lnTo>
                        <a:lnTo>
                          <a:pt x="24" y="28"/>
                        </a:lnTo>
                        <a:lnTo>
                          <a:pt x="26" y="30"/>
                        </a:lnTo>
                        <a:lnTo>
                          <a:pt x="24" y="32"/>
                        </a:lnTo>
                        <a:lnTo>
                          <a:pt x="22" y="32"/>
                        </a:lnTo>
                        <a:lnTo>
                          <a:pt x="20" y="34"/>
                        </a:lnTo>
                        <a:lnTo>
                          <a:pt x="18" y="36"/>
                        </a:lnTo>
                        <a:lnTo>
                          <a:pt x="10" y="36"/>
                        </a:lnTo>
                        <a:lnTo>
                          <a:pt x="8" y="38"/>
                        </a:lnTo>
                        <a:lnTo>
                          <a:pt x="8" y="40"/>
                        </a:lnTo>
                        <a:lnTo>
                          <a:pt x="6" y="40"/>
                        </a:lnTo>
                        <a:lnTo>
                          <a:pt x="6" y="42"/>
                        </a:lnTo>
                        <a:lnTo>
                          <a:pt x="4" y="42"/>
                        </a:lnTo>
                        <a:lnTo>
                          <a:pt x="2" y="42"/>
                        </a:lnTo>
                        <a:lnTo>
                          <a:pt x="4" y="40"/>
                        </a:lnTo>
                        <a:lnTo>
                          <a:pt x="4" y="36"/>
                        </a:lnTo>
                        <a:lnTo>
                          <a:pt x="2" y="34"/>
                        </a:lnTo>
                        <a:lnTo>
                          <a:pt x="2" y="30"/>
                        </a:lnTo>
                        <a:lnTo>
                          <a:pt x="4" y="30"/>
                        </a:lnTo>
                        <a:lnTo>
                          <a:pt x="6" y="28"/>
                        </a:lnTo>
                        <a:lnTo>
                          <a:pt x="6" y="26"/>
                        </a:lnTo>
                        <a:lnTo>
                          <a:pt x="6" y="24"/>
                        </a:lnTo>
                        <a:lnTo>
                          <a:pt x="6" y="16"/>
                        </a:lnTo>
                        <a:lnTo>
                          <a:pt x="8" y="10"/>
                        </a:lnTo>
                        <a:lnTo>
                          <a:pt x="8" y="6"/>
                        </a:lnTo>
                        <a:lnTo>
                          <a:pt x="6" y="6"/>
                        </a:lnTo>
                        <a:lnTo>
                          <a:pt x="0" y="6"/>
                        </a:lnTo>
                        <a:lnTo>
                          <a:pt x="2" y="2"/>
                        </a:lnTo>
                        <a:lnTo>
                          <a:pt x="2" y="0"/>
                        </a:lnTo>
                        <a:lnTo>
                          <a:pt x="4" y="0"/>
                        </a:lnTo>
                        <a:lnTo>
                          <a:pt x="6" y="4"/>
                        </a:lnTo>
                        <a:lnTo>
                          <a:pt x="8" y="4"/>
                        </a:lnTo>
                        <a:lnTo>
                          <a:pt x="10" y="4"/>
                        </a:lnTo>
                        <a:lnTo>
                          <a:pt x="20" y="12"/>
                        </a:lnTo>
                        <a:lnTo>
                          <a:pt x="26" y="10"/>
                        </a:lnTo>
                        <a:lnTo>
                          <a:pt x="30" y="12"/>
                        </a:lnTo>
                        <a:lnTo>
                          <a:pt x="28" y="14"/>
                        </a:lnTo>
                        <a:lnTo>
                          <a:pt x="30" y="14"/>
                        </a:lnTo>
                        <a:lnTo>
                          <a:pt x="36" y="10"/>
                        </a:lnTo>
                        <a:lnTo>
                          <a:pt x="36" y="16"/>
                        </a:lnTo>
                        <a:lnTo>
                          <a:pt x="34"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4" name="Freeform 3076"/>
                  <p:cNvSpPr>
                    <a:spLocks/>
                  </p:cNvSpPr>
                  <p:nvPr/>
                </p:nvSpPr>
                <p:spPr bwMode="auto">
                  <a:xfrm>
                    <a:off x="3332" y="3336"/>
                    <a:ext cx="4" cy="6"/>
                  </a:xfrm>
                  <a:custGeom>
                    <a:avLst/>
                    <a:gdLst/>
                    <a:ahLst/>
                    <a:cxnLst>
                      <a:cxn ang="0">
                        <a:pos x="4" y="6"/>
                      </a:cxn>
                      <a:cxn ang="0">
                        <a:pos x="2" y="6"/>
                      </a:cxn>
                      <a:cxn ang="0">
                        <a:pos x="0" y="0"/>
                      </a:cxn>
                      <a:cxn ang="0">
                        <a:pos x="4" y="4"/>
                      </a:cxn>
                      <a:cxn ang="0">
                        <a:pos x="4" y="6"/>
                      </a:cxn>
                    </a:cxnLst>
                    <a:rect l="0" t="0" r="r" b="b"/>
                    <a:pathLst>
                      <a:path w="4" h="6">
                        <a:moveTo>
                          <a:pt x="4" y="6"/>
                        </a:moveTo>
                        <a:lnTo>
                          <a:pt x="2" y="6"/>
                        </a:lnTo>
                        <a:lnTo>
                          <a:pt x="0" y="0"/>
                        </a:lnTo>
                        <a:lnTo>
                          <a:pt x="4" y="4"/>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5" name="Freeform 3077"/>
                  <p:cNvSpPr>
                    <a:spLocks/>
                  </p:cNvSpPr>
                  <p:nvPr/>
                </p:nvSpPr>
                <p:spPr bwMode="auto">
                  <a:xfrm>
                    <a:off x="3322" y="3336"/>
                    <a:ext cx="8" cy="8"/>
                  </a:xfrm>
                  <a:custGeom>
                    <a:avLst/>
                    <a:gdLst/>
                    <a:ahLst/>
                    <a:cxnLst>
                      <a:cxn ang="0">
                        <a:pos x="4" y="8"/>
                      </a:cxn>
                      <a:cxn ang="0">
                        <a:pos x="2" y="6"/>
                      </a:cxn>
                      <a:cxn ang="0">
                        <a:pos x="0" y="2"/>
                      </a:cxn>
                      <a:cxn ang="0">
                        <a:pos x="2" y="0"/>
                      </a:cxn>
                      <a:cxn ang="0">
                        <a:pos x="4" y="0"/>
                      </a:cxn>
                      <a:cxn ang="0">
                        <a:pos x="6" y="2"/>
                      </a:cxn>
                      <a:cxn ang="0">
                        <a:pos x="8" y="6"/>
                      </a:cxn>
                      <a:cxn ang="0">
                        <a:pos x="8" y="8"/>
                      </a:cxn>
                      <a:cxn ang="0">
                        <a:pos x="4" y="8"/>
                      </a:cxn>
                    </a:cxnLst>
                    <a:rect l="0" t="0" r="r" b="b"/>
                    <a:pathLst>
                      <a:path w="8" h="8">
                        <a:moveTo>
                          <a:pt x="4" y="8"/>
                        </a:moveTo>
                        <a:lnTo>
                          <a:pt x="2" y="6"/>
                        </a:lnTo>
                        <a:lnTo>
                          <a:pt x="0" y="2"/>
                        </a:lnTo>
                        <a:lnTo>
                          <a:pt x="2" y="0"/>
                        </a:lnTo>
                        <a:lnTo>
                          <a:pt x="4" y="0"/>
                        </a:lnTo>
                        <a:lnTo>
                          <a:pt x="6" y="2"/>
                        </a:lnTo>
                        <a:lnTo>
                          <a:pt x="8" y="6"/>
                        </a:lnTo>
                        <a:lnTo>
                          <a:pt x="8"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6" name="Freeform 3078"/>
                  <p:cNvSpPr>
                    <a:spLocks/>
                  </p:cNvSpPr>
                  <p:nvPr/>
                </p:nvSpPr>
                <p:spPr bwMode="auto">
                  <a:xfrm>
                    <a:off x="3320" y="3342"/>
                    <a:ext cx="28" cy="42"/>
                  </a:xfrm>
                  <a:custGeom>
                    <a:avLst/>
                    <a:gdLst/>
                    <a:ahLst/>
                    <a:cxnLst>
                      <a:cxn ang="0">
                        <a:pos x="26" y="28"/>
                      </a:cxn>
                      <a:cxn ang="0">
                        <a:pos x="24" y="28"/>
                      </a:cxn>
                      <a:cxn ang="0">
                        <a:pos x="26" y="30"/>
                      </a:cxn>
                      <a:cxn ang="0">
                        <a:pos x="28" y="32"/>
                      </a:cxn>
                      <a:cxn ang="0">
                        <a:pos x="28" y="34"/>
                      </a:cxn>
                      <a:cxn ang="0">
                        <a:pos x="24" y="38"/>
                      </a:cxn>
                      <a:cxn ang="0">
                        <a:pos x="22" y="36"/>
                      </a:cxn>
                      <a:cxn ang="0">
                        <a:pos x="22" y="34"/>
                      </a:cxn>
                      <a:cxn ang="0">
                        <a:pos x="22" y="32"/>
                      </a:cxn>
                      <a:cxn ang="0">
                        <a:pos x="20" y="32"/>
                      </a:cxn>
                      <a:cxn ang="0">
                        <a:pos x="20" y="38"/>
                      </a:cxn>
                      <a:cxn ang="0">
                        <a:pos x="22" y="40"/>
                      </a:cxn>
                      <a:cxn ang="0">
                        <a:pos x="22" y="42"/>
                      </a:cxn>
                      <a:cxn ang="0">
                        <a:pos x="20" y="42"/>
                      </a:cxn>
                      <a:cxn ang="0">
                        <a:pos x="14" y="36"/>
                      </a:cxn>
                      <a:cxn ang="0">
                        <a:pos x="14" y="34"/>
                      </a:cxn>
                      <a:cxn ang="0">
                        <a:pos x="12" y="32"/>
                      </a:cxn>
                      <a:cxn ang="0">
                        <a:pos x="12" y="30"/>
                      </a:cxn>
                      <a:cxn ang="0">
                        <a:pos x="14" y="28"/>
                      </a:cxn>
                      <a:cxn ang="0">
                        <a:pos x="14" y="26"/>
                      </a:cxn>
                      <a:cxn ang="0">
                        <a:pos x="16" y="24"/>
                      </a:cxn>
                      <a:cxn ang="0">
                        <a:pos x="14" y="22"/>
                      </a:cxn>
                      <a:cxn ang="0">
                        <a:pos x="14" y="20"/>
                      </a:cxn>
                      <a:cxn ang="0">
                        <a:pos x="12" y="18"/>
                      </a:cxn>
                      <a:cxn ang="0">
                        <a:pos x="12" y="16"/>
                      </a:cxn>
                      <a:cxn ang="0">
                        <a:pos x="10" y="16"/>
                      </a:cxn>
                      <a:cxn ang="0">
                        <a:pos x="10" y="14"/>
                      </a:cxn>
                      <a:cxn ang="0">
                        <a:pos x="8" y="14"/>
                      </a:cxn>
                      <a:cxn ang="0">
                        <a:pos x="8" y="18"/>
                      </a:cxn>
                      <a:cxn ang="0">
                        <a:pos x="6" y="18"/>
                      </a:cxn>
                      <a:cxn ang="0">
                        <a:pos x="4" y="18"/>
                      </a:cxn>
                      <a:cxn ang="0">
                        <a:pos x="4" y="8"/>
                      </a:cxn>
                      <a:cxn ang="0">
                        <a:pos x="4" y="6"/>
                      </a:cxn>
                      <a:cxn ang="0">
                        <a:pos x="2" y="6"/>
                      </a:cxn>
                      <a:cxn ang="0">
                        <a:pos x="2" y="2"/>
                      </a:cxn>
                      <a:cxn ang="0">
                        <a:pos x="0" y="0"/>
                      </a:cxn>
                      <a:cxn ang="0">
                        <a:pos x="2" y="0"/>
                      </a:cxn>
                      <a:cxn ang="0">
                        <a:pos x="8" y="4"/>
                      </a:cxn>
                      <a:cxn ang="0">
                        <a:pos x="8" y="6"/>
                      </a:cxn>
                      <a:cxn ang="0">
                        <a:pos x="10" y="6"/>
                      </a:cxn>
                      <a:cxn ang="0">
                        <a:pos x="12" y="6"/>
                      </a:cxn>
                      <a:cxn ang="0">
                        <a:pos x="14" y="6"/>
                      </a:cxn>
                      <a:cxn ang="0">
                        <a:pos x="16" y="4"/>
                      </a:cxn>
                      <a:cxn ang="0">
                        <a:pos x="18" y="4"/>
                      </a:cxn>
                      <a:cxn ang="0">
                        <a:pos x="20" y="4"/>
                      </a:cxn>
                      <a:cxn ang="0">
                        <a:pos x="20" y="8"/>
                      </a:cxn>
                      <a:cxn ang="0">
                        <a:pos x="22" y="10"/>
                      </a:cxn>
                      <a:cxn ang="0">
                        <a:pos x="22" y="18"/>
                      </a:cxn>
                      <a:cxn ang="0">
                        <a:pos x="20" y="18"/>
                      </a:cxn>
                      <a:cxn ang="0">
                        <a:pos x="20" y="22"/>
                      </a:cxn>
                      <a:cxn ang="0">
                        <a:pos x="22" y="24"/>
                      </a:cxn>
                      <a:cxn ang="0">
                        <a:pos x="24" y="24"/>
                      </a:cxn>
                      <a:cxn ang="0">
                        <a:pos x="26" y="28"/>
                      </a:cxn>
                    </a:cxnLst>
                    <a:rect l="0" t="0" r="r" b="b"/>
                    <a:pathLst>
                      <a:path w="28" h="42">
                        <a:moveTo>
                          <a:pt x="26" y="28"/>
                        </a:moveTo>
                        <a:lnTo>
                          <a:pt x="24" y="28"/>
                        </a:lnTo>
                        <a:lnTo>
                          <a:pt x="26" y="30"/>
                        </a:lnTo>
                        <a:lnTo>
                          <a:pt x="28" y="32"/>
                        </a:lnTo>
                        <a:lnTo>
                          <a:pt x="28" y="34"/>
                        </a:lnTo>
                        <a:lnTo>
                          <a:pt x="24" y="38"/>
                        </a:lnTo>
                        <a:lnTo>
                          <a:pt x="22" y="36"/>
                        </a:lnTo>
                        <a:lnTo>
                          <a:pt x="22" y="34"/>
                        </a:lnTo>
                        <a:lnTo>
                          <a:pt x="22" y="32"/>
                        </a:lnTo>
                        <a:lnTo>
                          <a:pt x="20" y="32"/>
                        </a:lnTo>
                        <a:lnTo>
                          <a:pt x="20" y="38"/>
                        </a:lnTo>
                        <a:lnTo>
                          <a:pt x="22" y="40"/>
                        </a:lnTo>
                        <a:lnTo>
                          <a:pt x="22" y="42"/>
                        </a:lnTo>
                        <a:lnTo>
                          <a:pt x="20" y="42"/>
                        </a:lnTo>
                        <a:lnTo>
                          <a:pt x="14" y="36"/>
                        </a:lnTo>
                        <a:lnTo>
                          <a:pt x="14" y="34"/>
                        </a:lnTo>
                        <a:lnTo>
                          <a:pt x="12" y="32"/>
                        </a:lnTo>
                        <a:lnTo>
                          <a:pt x="12" y="30"/>
                        </a:lnTo>
                        <a:lnTo>
                          <a:pt x="14" y="28"/>
                        </a:lnTo>
                        <a:lnTo>
                          <a:pt x="14" y="26"/>
                        </a:lnTo>
                        <a:lnTo>
                          <a:pt x="16" y="24"/>
                        </a:lnTo>
                        <a:lnTo>
                          <a:pt x="14" y="22"/>
                        </a:lnTo>
                        <a:lnTo>
                          <a:pt x="14" y="20"/>
                        </a:lnTo>
                        <a:lnTo>
                          <a:pt x="12" y="18"/>
                        </a:lnTo>
                        <a:lnTo>
                          <a:pt x="12" y="16"/>
                        </a:lnTo>
                        <a:lnTo>
                          <a:pt x="10" y="16"/>
                        </a:lnTo>
                        <a:lnTo>
                          <a:pt x="10" y="14"/>
                        </a:lnTo>
                        <a:lnTo>
                          <a:pt x="8" y="14"/>
                        </a:lnTo>
                        <a:lnTo>
                          <a:pt x="8" y="18"/>
                        </a:lnTo>
                        <a:lnTo>
                          <a:pt x="6" y="18"/>
                        </a:lnTo>
                        <a:lnTo>
                          <a:pt x="4" y="18"/>
                        </a:lnTo>
                        <a:lnTo>
                          <a:pt x="4" y="8"/>
                        </a:lnTo>
                        <a:lnTo>
                          <a:pt x="4" y="6"/>
                        </a:lnTo>
                        <a:lnTo>
                          <a:pt x="2" y="6"/>
                        </a:lnTo>
                        <a:lnTo>
                          <a:pt x="2" y="2"/>
                        </a:lnTo>
                        <a:lnTo>
                          <a:pt x="0" y="0"/>
                        </a:lnTo>
                        <a:lnTo>
                          <a:pt x="2" y="0"/>
                        </a:lnTo>
                        <a:lnTo>
                          <a:pt x="8" y="4"/>
                        </a:lnTo>
                        <a:lnTo>
                          <a:pt x="8" y="6"/>
                        </a:lnTo>
                        <a:lnTo>
                          <a:pt x="10" y="6"/>
                        </a:lnTo>
                        <a:lnTo>
                          <a:pt x="12" y="6"/>
                        </a:lnTo>
                        <a:lnTo>
                          <a:pt x="14" y="6"/>
                        </a:lnTo>
                        <a:lnTo>
                          <a:pt x="16" y="4"/>
                        </a:lnTo>
                        <a:lnTo>
                          <a:pt x="18" y="4"/>
                        </a:lnTo>
                        <a:lnTo>
                          <a:pt x="20" y="4"/>
                        </a:lnTo>
                        <a:lnTo>
                          <a:pt x="20" y="8"/>
                        </a:lnTo>
                        <a:lnTo>
                          <a:pt x="22" y="10"/>
                        </a:lnTo>
                        <a:lnTo>
                          <a:pt x="22" y="18"/>
                        </a:lnTo>
                        <a:lnTo>
                          <a:pt x="20" y="18"/>
                        </a:lnTo>
                        <a:lnTo>
                          <a:pt x="20" y="22"/>
                        </a:lnTo>
                        <a:lnTo>
                          <a:pt x="22" y="24"/>
                        </a:lnTo>
                        <a:lnTo>
                          <a:pt x="24" y="24"/>
                        </a:lnTo>
                        <a:lnTo>
                          <a:pt x="26"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7" name="Freeform 3079"/>
                  <p:cNvSpPr>
                    <a:spLocks/>
                  </p:cNvSpPr>
                  <p:nvPr/>
                </p:nvSpPr>
                <p:spPr bwMode="auto">
                  <a:xfrm>
                    <a:off x="3196" y="3342"/>
                    <a:ext cx="4" cy="4"/>
                  </a:xfrm>
                  <a:custGeom>
                    <a:avLst/>
                    <a:gdLst/>
                    <a:ahLst/>
                    <a:cxnLst>
                      <a:cxn ang="0">
                        <a:pos x="2" y="4"/>
                      </a:cxn>
                      <a:cxn ang="0">
                        <a:pos x="0" y="2"/>
                      </a:cxn>
                      <a:cxn ang="0">
                        <a:pos x="2" y="0"/>
                      </a:cxn>
                      <a:cxn ang="0">
                        <a:pos x="4" y="0"/>
                      </a:cxn>
                      <a:cxn ang="0">
                        <a:pos x="4" y="2"/>
                      </a:cxn>
                      <a:cxn ang="0">
                        <a:pos x="4" y="4"/>
                      </a:cxn>
                      <a:cxn ang="0">
                        <a:pos x="2" y="4"/>
                      </a:cxn>
                    </a:cxnLst>
                    <a:rect l="0" t="0" r="r" b="b"/>
                    <a:pathLst>
                      <a:path w="4" h="4">
                        <a:moveTo>
                          <a:pt x="2" y="4"/>
                        </a:moveTo>
                        <a:lnTo>
                          <a:pt x="0" y="2"/>
                        </a:lnTo>
                        <a:lnTo>
                          <a:pt x="2" y="0"/>
                        </a:lnTo>
                        <a:lnTo>
                          <a:pt x="4" y="0"/>
                        </a:lnTo>
                        <a:lnTo>
                          <a:pt x="4" y="2"/>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8" name="Freeform 3080"/>
                  <p:cNvSpPr>
                    <a:spLocks/>
                  </p:cNvSpPr>
                  <p:nvPr/>
                </p:nvSpPr>
                <p:spPr bwMode="auto">
                  <a:xfrm>
                    <a:off x="3126" y="3344"/>
                    <a:ext cx="70" cy="86"/>
                  </a:xfrm>
                  <a:custGeom>
                    <a:avLst/>
                    <a:gdLst/>
                    <a:ahLst/>
                    <a:cxnLst>
                      <a:cxn ang="0">
                        <a:pos x="44" y="36"/>
                      </a:cxn>
                      <a:cxn ang="0">
                        <a:pos x="48" y="34"/>
                      </a:cxn>
                      <a:cxn ang="0">
                        <a:pos x="50" y="30"/>
                      </a:cxn>
                      <a:cxn ang="0">
                        <a:pos x="50" y="30"/>
                      </a:cxn>
                      <a:cxn ang="0">
                        <a:pos x="54" y="28"/>
                      </a:cxn>
                      <a:cxn ang="0">
                        <a:pos x="60" y="24"/>
                      </a:cxn>
                      <a:cxn ang="0">
                        <a:pos x="58" y="20"/>
                      </a:cxn>
                      <a:cxn ang="0">
                        <a:pos x="56" y="14"/>
                      </a:cxn>
                      <a:cxn ang="0">
                        <a:pos x="62" y="20"/>
                      </a:cxn>
                      <a:cxn ang="0">
                        <a:pos x="62" y="16"/>
                      </a:cxn>
                      <a:cxn ang="0">
                        <a:pos x="60" y="14"/>
                      </a:cxn>
                      <a:cxn ang="0">
                        <a:pos x="60" y="12"/>
                      </a:cxn>
                      <a:cxn ang="0">
                        <a:pos x="62" y="10"/>
                      </a:cxn>
                      <a:cxn ang="0">
                        <a:pos x="62" y="4"/>
                      </a:cxn>
                      <a:cxn ang="0">
                        <a:pos x="64" y="2"/>
                      </a:cxn>
                      <a:cxn ang="0">
                        <a:pos x="66" y="4"/>
                      </a:cxn>
                      <a:cxn ang="0">
                        <a:pos x="64" y="16"/>
                      </a:cxn>
                      <a:cxn ang="0">
                        <a:pos x="66" y="18"/>
                      </a:cxn>
                      <a:cxn ang="0">
                        <a:pos x="70" y="26"/>
                      </a:cxn>
                      <a:cxn ang="0">
                        <a:pos x="64" y="30"/>
                      </a:cxn>
                      <a:cxn ang="0">
                        <a:pos x="60" y="32"/>
                      </a:cxn>
                      <a:cxn ang="0">
                        <a:pos x="56" y="36"/>
                      </a:cxn>
                      <a:cxn ang="0">
                        <a:pos x="54" y="40"/>
                      </a:cxn>
                      <a:cxn ang="0">
                        <a:pos x="42" y="48"/>
                      </a:cxn>
                      <a:cxn ang="0">
                        <a:pos x="42" y="50"/>
                      </a:cxn>
                      <a:cxn ang="0">
                        <a:pos x="32" y="64"/>
                      </a:cxn>
                      <a:cxn ang="0">
                        <a:pos x="26" y="64"/>
                      </a:cxn>
                      <a:cxn ang="0">
                        <a:pos x="22" y="72"/>
                      </a:cxn>
                      <a:cxn ang="0">
                        <a:pos x="16" y="76"/>
                      </a:cxn>
                      <a:cxn ang="0">
                        <a:pos x="4" y="84"/>
                      </a:cxn>
                      <a:cxn ang="0">
                        <a:pos x="0" y="86"/>
                      </a:cxn>
                      <a:cxn ang="0">
                        <a:pos x="6" y="76"/>
                      </a:cxn>
                      <a:cxn ang="0">
                        <a:pos x="10" y="70"/>
                      </a:cxn>
                      <a:cxn ang="0">
                        <a:pos x="24" y="62"/>
                      </a:cxn>
                      <a:cxn ang="0">
                        <a:pos x="36" y="48"/>
                      </a:cxn>
                      <a:cxn ang="0">
                        <a:pos x="40" y="44"/>
                      </a:cxn>
                      <a:cxn ang="0">
                        <a:pos x="42" y="42"/>
                      </a:cxn>
                      <a:cxn ang="0">
                        <a:pos x="44" y="38"/>
                      </a:cxn>
                      <a:cxn ang="0">
                        <a:pos x="46" y="38"/>
                      </a:cxn>
                    </a:cxnLst>
                    <a:rect l="0" t="0" r="r" b="b"/>
                    <a:pathLst>
                      <a:path w="70" h="86">
                        <a:moveTo>
                          <a:pt x="46" y="38"/>
                        </a:moveTo>
                        <a:lnTo>
                          <a:pt x="44" y="36"/>
                        </a:lnTo>
                        <a:lnTo>
                          <a:pt x="46" y="34"/>
                        </a:lnTo>
                        <a:lnTo>
                          <a:pt x="48" y="34"/>
                        </a:lnTo>
                        <a:lnTo>
                          <a:pt x="50" y="32"/>
                        </a:lnTo>
                        <a:lnTo>
                          <a:pt x="50" y="30"/>
                        </a:lnTo>
                        <a:lnTo>
                          <a:pt x="50" y="32"/>
                        </a:lnTo>
                        <a:lnTo>
                          <a:pt x="50" y="30"/>
                        </a:lnTo>
                        <a:lnTo>
                          <a:pt x="50" y="28"/>
                        </a:lnTo>
                        <a:lnTo>
                          <a:pt x="54" y="28"/>
                        </a:lnTo>
                        <a:lnTo>
                          <a:pt x="54" y="30"/>
                        </a:lnTo>
                        <a:lnTo>
                          <a:pt x="60" y="24"/>
                        </a:lnTo>
                        <a:lnTo>
                          <a:pt x="60" y="20"/>
                        </a:lnTo>
                        <a:lnTo>
                          <a:pt x="58" y="20"/>
                        </a:lnTo>
                        <a:lnTo>
                          <a:pt x="56" y="16"/>
                        </a:lnTo>
                        <a:lnTo>
                          <a:pt x="56" y="14"/>
                        </a:lnTo>
                        <a:lnTo>
                          <a:pt x="58" y="14"/>
                        </a:lnTo>
                        <a:lnTo>
                          <a:pt x="62" y="20"/>
                        </a:lnTo>
                        <a:lnTo>
                          <a:pt x="62" y="18"/>
                        </a:lnTo>
                        <a:lnTo>
                          <a:pt x="62" y="16"/>
                        </a:lnTo>
                        <a:lnTo>
                          <a:pt x="60" y="16"/>
                        </a:lnTo>
                        <a:lnTo>
                          <a:pt x="60" y="14"/>
                        </a:lnTo>
                        <a:lnTo>
                          <a:pt x="60" y="10"/>
                        </a:lnTo>
                        <a:lnTo>
                          <a:pt x="60" y="12"/>
                        </a:lnTo>
                        <a:lnTo>
                          <a:pt x="62" y="12"/>
                        </a:lnTo>
                        <a:lnTo>
                          <a:pt x="62" y="10"/>
                        </a:lnTo>
                        <a:lnTo>
                          <a:pt x="62" y="6"/>
                        </a:lnTo>
                        <a:lnTo>
                          <a:pt x="62" y="4"/>
                        </a:lnTo>
                        <a:lnTo>
                          <a:pt x="64" y="0"/>
                        </a:lnTo>
                        <a:lnTo>
                          <a:pt x="64" y="2"/>
                        </a:lnTo>
                        <a:lnTo>
                          <a:pt x="64" y="4"/>
                        </a:lnTo>
                        <a:lnTo>
                          <a:pt x="66" y="4"/>
                        </a:lnTo>
                        <a:lnTo>
                          <a:pt x="64" y="14"/>
                        </a:lnTo>
                        <a:lnTo>
                          <a:pt x="64" y="16"/>
                        </a:lnTo>
                        <a:lnTo>
                          <a:pt x="64" y="18"/>
                        </a:lnTo>
                        <a:lnTo>
                          <a:pt x="66" y="18"/>
                        </a:lnTo>
                        <a:lnTo>
                          <a:pt x="66" y="20"/>
                        </a:lnTo>
                        <a:lnTo>
                          <a:pt x="70" y="26"/>
                        </a:lnTo>
                        <a:lnTo>
                          <a:pt x="66" y="30"/>
                        </a:lnTo>
                        <a:lnTo>
                          <a:pt x="64" y="30"/>
                        </a:lnTo>
                        <a:lnTo>
                          <a:pt x="62" y="30"/>
                        </a:lnTo>
                        <a:lnTo>
                          <a:pt x="60" y="32"/>
                        </a:lnTo>
                        <a:lnTo>
                          <a:pt x="58" y="34"/>
                        </a:lnTo>
                        <a:lnTo>
                          <a:pt x="56" y="36"/>
                        </a:lnTo>
                        <a:lnTo>
                          <a:pt x="56" y="38"/>
                        </a:lnTo>
                        <a:lnTo>
                          <a:pt x="54" y="40"/>
                        </a:lnTo>
                        <a:lnTo>
                          <a:pt x="44" y="42"/>
                        </a:lnTo>
                        <a:lnTo>
                          <a:pt x="42" y="48"/>
                        </a:lnTo>
                        <a:lnTo>
                          <a:pt x="44" y="50"/>
                        </a:lnTo>
                        <a:lnTo>
                          <a:pt x="42" y="50"/>
                        </a:lnTo>
                        <a:lnTo>
                          <a:pt x="36" y="60"/>
                        </a:lnTo>
                        <a:lnTo>
                          <a:pt x="32" y="64"/>
                        </a:lnTo>
                        <a:lnTo>
                          <a:pt x="28" y="64"/>
                        </a:lnTo>
                        <a:lnTo>
                          <a:pt x="26" y="64"/>
                        </a:lnTo>
                        <a:lnTo>
                          <a:pt x="24" y="72"/>
                        </a:lnTo>
                        <a:lnTo>
                          <a:pt x="22" y="72"/>
                        </a:lnTo>
                        <a:lnTo>
                          <a:pt x="20" y="74"/>
                        </a:lnTo>
                        <a:lnTo>
                          <a:pt x="16" y="76"/>
                        </a:lnTo>
                        <a:lnTo>
                          <a:pt x="12" y="78"/>
                        </a:lnTo>
                        <a:lnTo>
                          <a:pt x="4" y="84"/>
                        </a:lnTo>
                        <a:lnTo>
                          <a:pt x="2" y="86"/>
                        </a:lnTo>
                        <a:lnTo>
                          <a:pt x="0" y="86"/>
                        </a:lnTo>
                        <a:lnTo>
                          <a:pt x="2" y="80"/>
                        </a:lnTo>
                        <a:lnTo>
                          <a:pt x="6" y="76"/>
                        </a:lnTo>
                        <a:lnTo>
                          <a:pt x="8" y="74"/>
                        </a:lnTo>
                        <a:lnTo>
                          <a:pt x="10" y="70"/>
                        </a:lnTo>
                        <a:lnTo>
                          <a:pt x="20" y="62"/>
                        </a:lnTo>
                        <a:lnTo>
                          <a:pt x="24" y="62"/>
                        </a:lnTo>
                        <a:lnTo>
                          <a:pt x="34" y="48"/>
                        </a:lnTo>
                        <a:lnTo>
                          <a:pt x="36" y="48"/>
                        </a:lnTo>
                        <a:lnTo>
                          <a:pt x="36" y="46"/>
                        </a:lnTo>
                        <a:lnTo>
                          <a:pt x="40" y="44"/>
                        </a:lnTo>
                        <a:lnTo>
                          <a:pt x="40" y="42"/>
                        </a:lnTo>
                        <a:lnTo>
                          <a:pt x="42" y="42"/>
                        </a:lnTo>
                        <a:lnTo>
                          <a:pt x="42" y="40"/>
                        </a:lnTo>
                        <a:lnTo>
                          <a:pt x="44" y="38"/>
                        </a:lnTo>
                        <a:lnTo>
                          <a:pt x="44" y="40"/>
                        </a:lnTo>
                        <a:lnTo>
                          <a:pt x="46" y="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9" name="Freeform 3081"/>
                  <p:cNvSpPr>
                    <a:spLocks/>
                  </p:cNvSpPr>
                  <p:nvPr/>
                </p:nvSpPr>
                <p:spPr bwMode="auto">
                  <a:xfrm>
                    <a:off x="3294" y="3348"/>
                    <a:ext cx="20" cy="52"/>
                  </a:xfrm>
                  <a:custGeom>
                    <a:avLst/>
                    <a:gdLst/>
                    <a:ahLst/>
                    <a:cxnLst>
                      <a:cxn ang="0">
                        <a:pos x="2" y="36"/>
                      </a:cxn>
                      <a:cxn ang="0">
                        <a:pos x="4" y="36"/>
                      </a:cxn>
                      <a:cxn ang="0">
                        <a:pos x="8" y="30"/>
                      </a:cxn>
                      <a:cxn ang="0">
                        <a:pos x="8" y="26"/>
                      </a:cxn>
                      <a:cxn ang="0">
                        <a:pos x="10" y="24"/>
                      </a:cxn>
                      <a:cxn ang="0">
                        <a:pos x="12" y="24"/>
                      </a:cxn>
                      <a:cxn ang="0">
                        <a:pos x="12" y="22"/>
                      </a:cxn>
                      <a:cxn ang="0">
                        <a:pos x="14" y="18"/>
                      </a:cxn>
                      <a:cxn ang="0">
                        <a:pos x="14" y="16"/>
                      </a:cxn>
                      <a:cxn ang="0">
                        <a:pos x="18" y="6"/>
                      </a:cxn>
                      <a:cxn ang="0">
                        <a:pos x="18" y="4"/>
                      </a:cxn>
                      <a:cxn ang="0">
                        <a:pos x="20" y="0"/>
                      </a:cxn>
                      <a:cxn ang="0">
                        <a:pos x="20" y="2"/>
                      </a:cxn>
                      <a:cxn ang="0">
                        <a:pos x="20" y="12"/>
                      </a:cxn>
                      <a:cxn ang="0">
                        <a:pos x="20" y="14"/>
                      </a:cxn>
                      <a:cxn ang="0">
                        <a:pos x="20" y="24"/>
                      </a:cxn>
                      <a:cxn ang="0">
                        <a:pos x="20" y="26"/>
                      </a:cxn>
                      <a:cxn ang="0">
                        <a:pos x="18" y="28"/>
                      </a:cxn>
                      <a:cxn ang="0">
                        <a:pos x="14" y="30"/>
                      </a:cxn>
                      <a:cxn ang="0">
                        <a:pos x="12" y="32"/>
                      </a:cxn>
                      <a:cxn ang="0">
                        <a:pos x="8" y="36"/>
                      </a:cxn>
                      <a:cxn ang="0">
                        <a:pos x="8" y="38"/>
                      </a:cxn>
                      <a:cxn ang="0">
                        <a:pos x="8" y="40"/>
                      </a:cxn>
                      <a:cxn ang="0">
                        <a:pos x="6" y="42"/>
                      </a:cxn>
                      <a:cxn ang="0">
                        <a:pos x="4" y="48"/>
                      </a:cxn>
                      <a:cxn ang="0">
                        <a:pos x="2" y="52"/>
                      </a:cxn>
                      <a:cxn ang="0">
                        <a:pos x="0" y="52"/>
                      </a:cxn>
                      <a:cxn ang="0">
                        <a:pos x="2" y="40"/>
                      </a:cxn>
                      <a:cxn ang="0">
                        <a:pos x="2" y="38"/>
                      </a:cxn>
                      <a:cxn ang="0">
                        <a:pos x="2" y="36"/>
                      </a:cxn>
                    </a:cxnLst>
                    <a:rect l="0" t="0" r="r" b="b"/>
                    <a:pathLst>
                      <a:path w="20" h="52">
                        <a:moveTo>
                          <a:pt x="2" y="36"/>
                        </a:moveTo>
                        <a:lnTo>
                          <a:pt x="4" y="36"/>
                        </a:lnTo>
                        <a:lnTo>
                          <a:pt x="8" y="30"/>
                        </a:lnTo>
                        <a:lnTo>
                          <a:pt x="8" y="26"/>
                        </a:lnTo>
                        <a:lnTo>
                          <a:pt x="10" y="24"/>
                        </a:lnTo>
                        <a:lnTo>
                          <a:pt x="12" y="24"/>
                        </a:lnTo>
                        <a:lnTo>
                          <a:pt x="12" y="22"/>
                        </a:lnTo>
                        <a:lnTo>
                          <a:pt x="14" y="18"/>
                        </a:lnTo>
                        <a:lnTo>
                          <a:pt x="14" y="16"/>
                        </a:lnTo>
                        <a:lnTo>
                          <a:pt x="18" y="6"/>
                        </a:lnTo>
                        <a:lnTo>
                          <a:pt x="18" y="4"/>
                        </a:lnTo>
                        <a:lnTo>
                          <a:pt x="20" y="0"/>
                        </a:lnTo>
                        <a:lnTo>
                          <a:pt x="20" y="2"/>
                        </a:lnTo>
                        <a:lnTo>
                          <a:pt x="20" y="12"/>
                        </a:lnTo>
                        <a:lnTo>
                          <a:pt x="20" y="14"/>
                        </a:lnTo>
                        <a:lnTo>
                          <a:pt x="20" y="24"/>
                        </a:lnTo>
                        <a:lnTo>
                          <a:pt x="20" y="26"/>
                        </a:lnTo>
                        <a:lnTo>
                          <a:pt x="18" y="28"/>
                        </a:lnTo>
                        <a:lnTo>
                          <a:pt x="14" y="30"/>
                        </a:lnTo>
                        <a:lnTo>
                          <a:pt x="12" y="32"/>
                        </a:lnTo>
                        <a:lnTo>
                          <a:pt x="8" y="36"/>
                        </a:lnTo>
                        <a:lnTo>
                          <a:pt x="8" y="38"/>
                        </a:lnTo>
                        <a:lnTo>
                          <a:pt x="8" y="40"/>
                        </a:lnTo>
                        <a:lnTo>
                          <a:pt x="6" y="42"/>
                        </a:lnTo>
                        <a:lnTo>
                          <a:pt x="4" y="48"/>
                        </a:lnTo>
                        <a:lnTo>
                          <a:pt x="2" y="52"/>
                        </a:lnTo>
                        <a:lnTo>
                          <a:pt x="0" y="52"/>
                        </a:lnTo>
                        <a:lnTo>
                          <a:pt x="2" y="40"/>
                        </a:lnTo>
                        <a:lnTo>
                          <a:pt x="2" y="38"/>
                        </a:lnTo>
                        <a:lnTo>
                          <a:pt x="2" y="3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0" name="Freeform 3082"/>
                  <p:cNvSpPr>
                    <a:spLocks/>
                  </p:cNvSpPr>
                  <p:nvPr/>
                </p:nvSpPr>
                <p:spPr bwMode="auto">
                  <a:xfrm>
                    <a:off x="3270" y="3356"/>
                    <a:ext cx="32" cy="56"/>
                  </a:xfrm>
                  <a:custGeom>
                    <a:avLst/>
                    <a:gdLst/>
                    <a:ahLst/>
                    <a:cxnLst>
                      <a:cxn ang="0">
                        <a:pos x="4" y="44"/>
                      </a:cxn>
                      <a:cxn ang="0">
                        <a:pos x="0" y="38"/>
                      </a:cxn>
                      <a:cxn ang="0">
                        <a:pos x="0" y="30"/>
                      </a:cxn>
                      <a:cxn ang="0">
                        <a:pos x="2" y="28"/>
                      </a:cxn>
                      <a:cxn ang="0">
                        <a:pos x="4" y="28"/>
                      </a:cxn>
                      <a:cxn ang="0">
                        <a:pos x="4" y="30"/>
                      </a:cxn>
                      <a:cxn ang="0">
                        <a:pos x="6" y="30"/>
                      </a:cxn>
                      <a:cxn ang="0">
                        <a:pos x="8" y="28"/>
                      </a:cxn>
                      <a:cxn ang="0">
                        <a:pos x="10" y="28"/>
                      </a:cxn>
                      <a:cxn ang="0">
                        <a:pos x="12" y="26"/>
                      </a:cxn>
                      <a:cxn ang="0">
                        <a:pos x="10" y="16"/>
                      </a:cxn>
                      <a:cxn ang="0">
                        <a:pos x="12" y="14"/>
                      </a:cxn>
                      <a:cxn ang="0">
                        <a:pos x="14" y="12"/>
                      </a:cxn>
                      <a:cxn ang="0">
                        <a:pos x="16" y="8"/>
                      </a:cxn>
                      <a:cxn ang="0">
                        <a:pos x="16" y="6"/>
                      </a:cxn>
                      <a:cxn ang="0">
                        <a:pos x="14" y="6"/>
                      </a:cxn>
                      <a:cxn ang="0">
                        <a:pos x="14" y="4"/>
                      </a:cxn>
                      <a:cxn ang="0">
                        <a:pos x="20" y="0"/>
                      </a:cxn>
                      <a:cxn ang="0">
                        <a:pos x="30" y="2"/>
                      </a:cxn>
                      <a:cxn ang="0">
                        <a:pos x="32" y="4"/>
                      </a:cxn>
                      <a:cxn ang="0">
                        <a:pos x="32" y="6"/>
                      </a:cxn>
                      <a:cxn ang="0">
                        <a:pos x="28" y="14"/>
                      </a:cxn>
                      <a:cxn ang="0">
                        <a:pos x="28" y="16"/>
                      </a:cxn>
                      <a:cxn ang="0">
                        <a:pos x="26" y="16"/>
                      </a:cxn>
                      <a:cxn ang="0">
                        <a:pos x="26" y="22"/>
                      </a:cxn>
                      <a:cxn ang="0">
                        <a:pos x="24" y="22"/>
                      </a:cxn>
                      <a:cxn ang="0">
                        <a:pos x="24" y="26"/>
                      </a:cxn>
                      <a:cxn ang="0">
                        <a:pos x="22" y="26"/>
                      </a:cxn>
                      <a:cxn ang="0">
                        <a:pos x="22" y="28"/>
                      </a:cxn>
                      <a:cxn ang="0">
                        <a:pos x="20" y="30"/>
                      </a:cxn>
                      <a:cxn ang="0">
                        <a:pos x="20" y="34"/>
                      </a:cxn>
                      <a:cxn ang="0">
                        <a:pos x="20" y="38"/>
                      </a:cxn>
                      <a:cxn ang="0">
                        <a:pos x="18" y="40"/>
                      </a:cxn>
                      <a:cxn ang="0">
                        <a:pos x="24" y="46"/>
                      </a:cxn>
                      <a:cxn ang="0">
                        <a:pos x="24" y="48"/>
                      </a:cxn>
                      <a:cxn ang="0">
                        <a:pos x="24" y="50"/>
                      </a:cxn>
                      <a:cxn ang="0">
                        <a:pos x="22" y="52"/>
                      </a:cxn>
                      <a:cxn ang="0">
                        <a:pos x="20" y="54"/>
                      </a:cxn>
                      <a:cxn ang="0">
                        <a:pos x="20" y="56"/>
                      </a:cxn>
                      <a:cxn ang="0">
                        <a:pos x="16" y="56"/>
                      </a:cxn>
                      <a:cxn ang="0">
                        <a:pos x="14" y="54"/>
                      </a:cxn>
                      <a:cxn ang="0">
                        <a:pos x="12" y="50"/>
                      </a:cxn>
                      <a:cxn ang="0">
                        <a:pos x="12" y="48"/>
                      </a:cxn>
                      <a:cxn ang="0">
                        <a:pos x="10" y="46"/>
                      </a:cxn>
                      <a:cxn ang="0">
                        <a:pos x="8" y="46"/>
                      </a:cxn>
                      <a:cxn ang="0">
                        <a:pos x="6" y="44"/>
                      </a:cxn>
                      <a:cxn ang="0">
                        <a:pos x="4" y="44"/>
                      </a:cxn>
                    </a:cxnLst>
                    <a:rect l="0" t="0" r="r" b="b"/>
                    <a:pathLst>
                      <a:path w="32" h="56">
                        <a:moveTo>
                          <a:pt x="4" y="44"/>
                        </a:moveTo>
                        <a:lnTo>
                          <a:pt x="0" y="38"/>
                        </a:lnTo>
                        <a:lnTo>
                          <a:pt x="0" y="30"/>
                        </a:lnTo>
                        <a:lnTo>
                          <a:pt x="2" y="28"/>
                        </a:lnTo>
                        <a:lnTo>
                          <a:pt x="4" y="28"/>
                        </a:lnTo>
                        <a:lnTo>
                          <a:pt x="4" y="30"/>
                        </a:lnTo>
                        <a:lnTo>
                          <a:pt x="6" y="30"/>
                        </a:lnTo>
                        <a:lnTo>
                          <a:pt x="8" y="28"/>
                        </a:lnTo>
                        <a:lnTo>
                          <a:pt x="10" y="28"/>
                        </a:lnTo>
                        <a:lnTo>
                          <a:pt x="12" y="26"/>
                        </a:lnTo>
                        <a:lnTo>
                          <a:pt x="10" y="16"/>
                        </a:lnTo>
                        <a:lnTo>
                          <a:pt x="12" y="14"/>
                        </a:lnTo>
                        <a:lnTo>
                          <a:pt x="14" y="12"/>
                        </a:lnTo>
                        <a:lnTo>
                          <a:pt x="16" y="8"/>
                        </a:lnTo>
                        <a:lnTo>
                          <a:pt x="16" y="6"/>
                        </a:lnTo>
                        <a:lnTo>
                          <a:pt x="14" y="6"/>
                        </a:lnTo>
                        <a:lnTo>
                          <a:pt x="14" y="4"/>
                        </a:lnTo>
                        <a:lnTo>
                          <a:pt x="20" y="0"/>
                        </a:lnTo>
                        <a:lnTo>
                          <a:pt x="30" y="2"/>
                        </a:lnTo>
                        <a:lnTo>
                          <a:pt x="32" y="4"/>
                        </a:lnTo>
                        <a:lnTo>
                          <a:pt x="32" y="6"/>
                        </a:lnTo>
                        <a:lnTo>
                          <a:pt x="28" y="14"/>
                        </a:lnTo>
                        <a:lnTo>
                          <a:pt x="28" y="16"/>
                        </a:lnTo>
                        <a:lnTo>
                          <a:pt x="26" y="16"/>
                        </a:lnTo>
                        <a:lnTo>
                          <a:pt x="26" y="22"/>
                        </a:lnTo>
                        <a:lnTo>
                          <a:pt x="24" y="22"/>
                        </a:lnTo>
                        <a:lnTo>
                          <a:pt x="24" y="26"/>
                        </a:lnTo>
                        <a:lnTo>
                          <a:pt x="22" y="26"/>
                        </a:lnTo>
                        <a:lnTo>
                          <a:pt x="22" y="28"/>
                        </a:lnTo>
                        <a:lnTo>
                          <a:pt x="20" y="30"/>
                        </a:lnTo>
                        <a:lnTo>
                          <a:pt x="20" y="34"/>
                        </a:lnTo>
                        <a:lnTo>
                          <a:pt x="20" y="38"/>
                        </a:lnTo>
                        <a:lnTo>
                          <a:pt x="18" y="40"/>
                        </a:lnTo>
                        <a:lnTo>
                          <a:pt x="24" y="46"/>
                        </a:lnTo>
                        <a:lnTo>
                          <a:pt x="24" y="48"/>
                        </a:lnTo>
                        <a:lnTo>
                          <a:pt x="24" y="50"/>
                        </a:lnTo>
                        <a:lnTo>
                          <a:pt x="22" y="52"/>
                        </a:lnTo>
                        <a:lnTo>
                          <a:pt x="20" y="54"/>
                        </a:lnTo>
                        <a:lnTo>
                          <a:pt x="20" y="56"/>
                        </a:lnTo>
                        <a:lnTo>
                          <a:pt x="16" y="56"/>
                        </a:lnTo>
                        <a:lnTo>
                          <a:pt x="14" y="54"/>
                        </a:lnTo>
                        <a:lnTo>
                          <a:pt x="12" y="50"/>
                        </a:lnTo>
                        <a:lnTo>
                          <a:pt x="12" y="48"/>
                        </a:lnTo>
                        <a:lnTo>
                          <a:pt x="10" y="46"/>
                        </a:lnTo>
                        <a:lnTo>
                          <a:pt x="8" y="46"/>
                        </a:lnTo>
                        <a:lnTo>
                          <a:pt x="6" y="44"/>
                        </a:lnTo>
                        <a:lnTo>
                          <a:pt x="4" y="4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1" name="Freeform 3083"/>
                  <p:cNvSpPr>
                    <a:spLocks/>
                  </p:cNvSpPr>
                  <p:nvPr/>
                </p:nvSpPr>
                <p:spPr bwMode="auto">
                  <a:xfrm>
                    <a:off x="3358" y="3362"/>
                    <a:ext cx="4" cy="4"/>
                  </a:xfrm>
                  <a:custGeom>
                    <a:avLst/>
                    <a:gdLst/>
                    <a:ahLst/>
                    <a:cxnLst>
                      <a:cxn ang="0">
                        <a:pos x="4" y="4"/>
                      </a:cxn>
                      <a:cxn ang="0">
                        <a:pos x="0" y="2"/>
                      </a:cxn>
                      <a:cxn ang="0">
                        <a:pos x="0" y="0"/>
                      </a:cxn>
                      <a:cxn ang="0">
                        <a:pos x="2" y="0"/>
                      </a:cxn>
                      <a:cxn ang="0">
                        <a:pos x="4" y="2"/>
                      </a:cxn>
                      <a:cxn ang="0">
                        <a:pos x="4" y="4"/>
                      </a:cxn>
                    </a:cxnLst>
                    <a:rect l="0" t="0" r="r" b="b"/>
                    <a:pathLst>
                      <a:path w="4" h="4">
                        <a:moveTo>
                          <a:pt x="4" y="4"/>
                        </a:moveTo>
                        <a:lnTo>
                          <a:pt x="0" y="2"/>
                        </a:lnTo>
                        <a:lnTo>
                          <a:pt x="0" y="0"/>
                        </a:lnTo>
                        <a:lnTo>
                          <a:pt x="2" y="0"/>
                        </a:lnTo>
                        <a:lnTo>
                          <a:pt x="4" y="2"/>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2" name="Freeform 3084"/>
                  <p:cNvSpPr>
                    <a:spLocks/>
                  </p:cNvSpPr>
                  <p:nvPr/>
                </p:nvSpPr>
                <p:spPr bwMode="auto">
                  <a:xfrm>
                    <a:off x="3272" y="3364"/>
                    <a:ext cx="6" cy="10"/>
                  </a:xfrm>
                  <a:custGeom>
                    <a:avLst/>
                    <a:gdLst/>
                    <a:ahLst/>
                    <a:cxnLst>
                      <a:cxn ang="0">
                        <a:pos x="2" y="10"/>
                      </a:cxn>
                      <a:cxn ang="0">
                        <a:pos x="0" y="8"/>
                      </a:cxn>
                      <a:cxn ang="0">
                        <a:pos x="2" y="4"/>
                      </a:cxn>
                      <a:cxn ang="0">
                        <a:pos x="4" y="0"/>
                      </a:cxn>
                      <a:cxn ang="0">
                        <a:pos x="6" y="2"/>
                      </a:cxn>
                      <a:cxn ang="0">
                        <a:pos x="6" y="4"/>
                      </a:cxn>
                      <a:cxn ang="0">
                        <a:pos x="6" y="6"/>
                      </a:cxn>
                      <a:cxn ang="0">
                        <a:pos x="2" y="8"/>
                      </a:cxn>
                      <a:cxn ang="0">
                        <a:pos x="2" y="10"/>
                      </a:cxn>
                    </a:cxnLst>
                    <a:rect l="0" t="0" r="r" b="b"/>
                    <a:pathLst>
                      <a:path w="6" h="10">
                        <a:moveTo>
                          <a:pt x="2" y="10"/>
                        </a:moveTo>
                        <a:lnTo>
                          <a:pt x="0" y="8"/>
                        </a:lnTo>
                        <a:lnTo>
                          <a:pt x="2" y="4"/>
                        </a:lnTo>
                        <a:lnTo>
                          <a:pt x="4" y="0"/>
                        </a:lnTo>
                        <a:lnTo>
                          <a:pt x="6" y="2"/>
                        </a:lnTo>
                        <a:lnTo>
                          <a:pt x="6" y="4"/>
                        </a:lnTo>
                        <a:lnTo>
                          <a:pt x="6" y="6"/>
                        </a:lnTo>
                        <a:lnTo>
                          <a:pt x="2"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3" name="Freeform 3085"/>
                  <p:cNvSpPr>
                    <a:spLocks/>
                  </p:cNvSpPr>
                  <p:nvPr/>
                </p:nvSpPr>
                <p:spPr bwMode="auto">
                  <a:xfrm>
                    <a:off x="3198" y="3368"/>
                    <a:ext cx="6" cy="4"/>
                  </a:xfrm>
                  <a:custGeom>
                    <a:avLst/>
                    <a:gdLst/>
                    <a:ahLst/>
                    <a:cxnLst>
                      <a:cxn ang="0">
                        <a:pos x="0" y="4"/>
                      </a:cxn>
                      <a:cxn ang="0">
                        <a:pos x="0" y="2"/>
                      </a:cxn>
                      <a:cxn ang="0">
                        <a:pos x="2" y="0"/>
                      </a:cxn>
                      <a:cxn ang="0">
                        <a:pos x="4" y="0"/>
                      </a:cxn>
                      <a:cxn ang="0">
                        <a:pos x="6" y="0"/>
                      </a:cxn>
                      <a:cxn ang="0">
                        <a:pos x="6" y="2"/>
                      </a:cxn>
                      <a:cxn ang="0">
                        <a:pos x="0" y="4"/>
                      </a:cxn>
                    </a:cxnLst>
                    <a:rect l="0" t="0" r="r" b="b"/>
                    <a:pathLst>
                      <a:path w="6" h="4">
                        <a:moveTo>
                          <a:pt x="0" y="4"/>
                        </a:moveTo>
                        <a:lnTo>
                          <a:pt x="0" y="2"/>
                        </a:lnTo>
                        <a:lnTo>
                          <a:pt x="2" y="0"/>
                        </a:lnTo>
                        <a:lnTo>
                          <a:pt x="4" y="0"/>
                        </a:lnTo>
                        <a:lnTo>
                          <a:pt x="6" y="0"/>
                        </a:lnTo>
                        <a:lnTo>
                          <a:pt x="6" y="2"/>
                        </a:lnTo>
                        <a:lnTo>
                          <a:pt x="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4" name="Freeform 3086"/>
                  <p:cNvSpPr>
                    <a:spLocks/>
                  </p:cNvSpPr>
                  <p:nvPr/>
                </p:nvSpPr>
                <p:spPr bwMode="auto">
                  <a:xfrm>
                    <a:off x="3354" y="3372"/>
                    <a:ext cx="6" cy="18"/>
                  </a:xfrm>
                  <a:custGeom>
                    <a:avLst/>
                    <a:gdLst/>
                    <a:ahLst/>
                    <a:cxnLst>
                      <a:cxn ang="0">
                        <a:pos x="4" y="18"/>
                      </a:cxn>
                      <a:cxn ang="0">
                        <a:pos x="2" y="18"/>
                      </a:cxn>
                      <a:cxn ang="0">
                        <a:pos x="2" y="16"/>
                      </a:cxn>
                      <a:cxn ang="0">
                        <a:pos x="4" y="16"/>
                      </a:cxn>
                      <a:cxn ang="0">
                        <a:pos x="4" y="14"/>
                      </a:cxn>
                      <a:cxn ang="0">
                        <a:pos x="0" y="10"/>
                      </a:cxn>
                      <a:cxn ang="0">
                        <a:pos x="0" y="4"/>
                      </a:cxn>
                      <a:cxn ang="0">
                        <a:pos x="4" y="0"/>
                      </a:cxn>
                      <a:cxn ang="0">
                        <a:pos x="6" y="0"/>
                      </a:cxn>
                      <a:cxn ang="0">
                        <a:pos x="4" y="10"/>
                      </a:cxn>
                      <a:cxn ang="0">
                        <a:pos x="6" y="10"/>
                      </a:cxn>
                      <a:cxn ang="0">
                        <a:pos x="6" y="16"/>
                      </a:cxn>
                      <a:cxn ang="0">
                        <a:pos x="4" y="18"/>
                      </a:cxn>
                    </a:cxnLst>
                    <a:rect l="0" t="0" r="r" b="b"/>
                    <a:pathLst>
                      <a:path w="6" h="18">
                        <a:moveTo>
                          <a:pt x="4" y="18"/>
                        </a:moveTo>
                        <a:lnTo>
                          <a:pt x="2" y="18"/>
                        </a:lnTo>
                        <a:lnTo>
                          <a:pt x="2" y="16"/>
                        </a:lnTo>
                        <a:lnTo>
                          <a:pt x="4" y="16"/>
                        </a:lnTo>
                        <a:lnTo>
                          <a:pt x="4" y="14"/>
                        </a:lnTo>
                        <a:lnTo>
                          <a:pt x="0" y="10"/>
                        </a:lnTo>
                        <a:lnTo>
                          <a:pt x="0" y="4"/>
                        </a:lnTo>
                        <a:lnTo>
                          <a:pt x="4" y="0"/>
                        </a:lnTo>
                        <a:lnTo>
                          <a:pt x="6" y="0"/>
                        </a:lnTo>
                        <a:lnTo>
                          <a:pt x="4" y="10"/>
                        </a:lnTo>
                        <a:lnTo>
                          <a:pt x="6" y="10"/>
                        </a:lnTo>
                        <a:lnTo>
                          <a:pt x="6" y="16"/>
                        </a:lnTo>
                        <a:lnTo>
                          <a:pt x="4"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5" name="Freeform 3087"/>
                  <p:cNvSpPr>
                    <a:spLocks/>
                  </p:cNvSpPr>
                  <p:nvPr/>
                </p:nvSpPr>
                <p:spPr bwMode="auto">
                  <a:xfrm>
                    <a:off x="3308" y="3380"/>
                    <a:ext cx="22" cy="16"/>
                  </a:xfrm>
                  <a:custGeom>
                    <a:avLst/>
                    <a:gdLst/>
                    <a:ahLst/>
                    <a:cxnLst>
                      <a:cxn ang="0">
                        <a:pos x="20" y="4"/>
                      </a:cxn>
                      <a:cxn ang="0">
                        <a:pos x="20" y="8"/>
                      </a:cxn>
                      <a:cxn ang="0">
                        <a:pos x="20" y="10"/>
                      </a:cxn>
                      <a:cxn ang="0">
                        <a:pos x="22" y="10"/>
                      </a:cxn>
                      <a:cxn ang="0">
                        <a:pos x="22" y="12"/>
                      </a:cxn>
                      <a:cxn ang="0">
                        <a:pos x="20" y="12"/>
                      </a:cxn>
                      <a:cxn ang="0">
                        <a:pos x="18" y="12"/>
                      </a:cxn>
                      <a:cxn ang="0">
                        <a:pos x="16" y="14"/>
                      </a:cxn>
                      <a:cxn ang="0">
                        <a:pos x="14" y="16"/>
                      </a:cxn>
                      <a:cxn ang="0">
                        <a:pos x="0" y="16"/>
                      </a:cxn>
                      <a:cxn ang="0">
                        <a:pos x="0" y="12"/>
                      </a:cxn>
                      <a:cxn ang="0">
                        <a:pos x="0" y="10"/>
                      </a:cxn>
                      <a:cxn ang="0">
                        <a:pos x="6" y="4"/>
                      </a:cxn>
                      <a:cxn ang="0">
                        <a:pos x="10" y="0"/>
                      </a:cxn>
                      <a:cxn ang="0">
                        <a:pos x="16" y="0"/>
                      </a:cxn>
                      <a:cxn ang="0">
                        <a:pos x="16" y="2"/>
                      </a:cxn>
                      <a:cxn ang="0">
                        <a:pos x="18" y="4"/>
                      </a:cxn>
                      <a:cxn ang="0">
                        <a:pos x="20" y="4"/>
                      </a:cxn>
                    </a:cxnLst>
                    <a:rect l="0" t="0" r="r" b="b"/>
                    <a:pathLst>
                      <a:path w="22" h="16">
                        <a:moveTo>
                          <a:pt x="20" y="4"/>
                        </a:moveTo>
                        <a:lnTo>
                          <a:pt x="20" y="8"/>
                        </a:lnTo>
                        <a:lnTo>
                          <a:pt x="20" y="10"/>
                        </a:lnTo>
                        <a:lnTo>
                          <a:pt x="22" y="10"/>
                        </a:lnTo>
                        <a:lnTo>
                          <a:pt x="22" y="12"/>
                        </a:lnTo>
                        <a:lnTo>
                          <a:pt x="20" y="12"/>
                        </a:lnTo>
                        <a:lnTo>
                          <a:pt x="18" y="12"/>
                        </a:lnTo>
                        <a:lnTo>
                          <a:pt x="16" y="14"/>
                        </a:lnTo>
                        <a:lnTo>
                          <a:pt x="14" y="16"/>
                        </a:lnTo>
                        <a:lnTo>
                          <a:pt x="0" y="16"/>
                        </a:lnTo>
                        <a:lnTo>
                          <a:pt x="0" y="12"/>
                        </a:lnTo>
                        <a:lnTo>
                          <a:pt x="0" y="10"/>
                        </a:lnTo>
                        <a:lnTo>
                          <a:pt x="6" y="4"/>
                        </a:lnTo>
                        <a:lnTo>
                          <a:pt x="10" y="0"/>
                        </a:lnTo>
                        <a:lnTo>
                          <a:pt x="16" y="0"/>
                        </a:lnTo>
                        <a:lnTo>
                          <a:pt x="16" y="2"/>
                        </a:lnTo>
                        <a:lnTo>
                          <a:pt x="18" y="4"/>
                        </a:lnTo>
                        <a:lnTo>
                          <a:pt x="2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6" name="Freeform 3088"/>
                  <p:cNvSpPr>
                    <a:spLocks/>
                  </p:cNvSpPr>
                  <p:nvPr/>
                </p:nvSpPr>
                <p:spPr bwMode="auto">
                  <a:xfrm>
                    <a:off x="3344" y="3380"/>
                    <a:ext cx="6" cy="8"/>
                  </a:xfrm>
                  <a:custGeom>
                    <a:avLst/>
                    <a:gdLst/>
                    <a:ahLst/>
                    <a:cxnLst>
                      <a:cxn ang="0">
                        <a:pos x="4" y="8"/>
                      </a:cxn>
                      <a:cxn ang="0">
                        <a:pos x="0" y="4"/>
                      </a:cxn>
                      <a:cxn ang="0">
                        <a:pos x="0" y="0"/>
                      </a:cxn>
                      <a:cxn ang="0">
                        <a:pos x="2" y="2"/>
                      </a:cxn>
                      <a:cxn ang="0">
                        <a:pos x="6" y="6"/>
                      </a:cxn>
                      <a:cxn ang="0">
                        <a:pos x="4" y="8"/>
                      </a:cxn>
                    </a:cxnLst>
                    <a:rect l="0" t="0" r="r" b="b"/>
                    <a:pathLst>
                      <a:path w="6" h="8">
                        <a:moveTo>
                          <a:pt x="4" y="8"/>
                        </a:moveTo>
                        <a:lnTo>
                          <a:pt x="0" y="4"/>
                        </a:lnTo>
                        <a:lnTo>
                          <a:pt x="0" y="0"/>
                        </a:lnTo>
                        <a:lnTo>
                          <a:pt x="2" y="2"/>
                        </a:lnTo>
                        <a:lnTo>
                          <a:pt x="6" y="6"/>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7" name="Freeform 3089"/>
                  <p:cNvSpPr>
                    <a:spLocks/>
                  </p:cNvSpPr>
                  <p:nvPr/>
                </p:nvSpPr>
                <p:spPr bwMode="auto">
                  <a:xfrm>
                    <a:off x="3366" y="3384"/>
                    <a:ext cx="6" cy="8"/>
                  </a:xfrm>
                  <a:custGeom>
                    <a:avLst/>
                    <a:gdLst/>
                    <a:ahLst/>
                    <a:cxnLst>
                      <a:cxn ang="0">
                        <a:pos x="2" y="8"/>
                      </a:cxn>
                      <a:cxn ang="0">
                        <a:pos x="0" y="6"/>
                      </a:cxn>
                      <a:cxn ang="0">
                        <a:pos x="2" y="4"/>
                      </a:cxn>
                      <a:cxn ang="0">
                        <a:pos x="2" y="0"/>
                      </a:cxn>
                      <a:cxn ang="0">
                        <a:pos x="4" y="0"/>
                      </a:cxn>
                      <a:cxn ang="0">
                        <a:pos x="6" y="4"/>
                      </a:cxn>
                      <a:cxn ang="0">
                        <a:pos x="6" y="6"/>
                      </a:cxn>
                      <a:cxn ang="0">
                        <a:pos x="6" y="8"/>
                      </a:cxn>
                      <a:cxn ang="0">
                        <a:pos x="2" y="8"/>
                      </a:cxn>
                    </a:cxnLst>
                    <a:rect l="0" t="0" r="r" b="b"/>
                    <a:pathLst>
                      <a:path w="6" h="8">
                        <a:moveTo>
                          <a:pt x="2" y="8"/>
                        </a:moveTo>
                        <a:lnTo>
                          <a:pt x="0" y="6"/>
                        </a:lnTo>
                        <a:lnTo>
                          <a:pt x="2" y="4"/>
                        </a:lnTo>
                        <a:lnTo>
                          <a:pt x="2" y="0"/>
                        </a:lnTo>
                        <a:lnTo>
                          <a:pt x="4" y="0"/>
                        </a:lnTo>
                        <a:lnTo>
                          <a:pt x="6" y="4"/>
                        </a:lnTo>
                        <a:lnTo>
                          <a:pt x="6" y="6"/>
                        </a:lnTo>
                        <a:lnTo>
                          <a:pt x="6"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8" name="Freeform 3090"/>
                  <p:cNvSpPr>
                    <a:spLocks/>
                  </p:cNvSpPr>
                  <p:nvPr/>
                </p:nvSpPr>
                <p:spPr bwMode="auto">
                  <a:xfrm>
                    <a:off x="3256" y="3390"/>
                    <a:ext cx="128" cy="118"/>
                  </a:xfrm>
                  <a:custGeom>
                    <a:avLst/>
                    <a:gdLst/>
                    <a:ahLst/>
                    <a:cxnLst>
                      <a:cxn ang="0">
                        <a:pos x="34" y="64"/>
                      </a:cxn>
                      <a:cxn ang="0">
                        <a:pos x="34" y="60"/>
                      </a:cxn>
                      <a:cxn ang="0">
                        <a:pos x="30" y="64"/>
                      </a:cxn>
                      <a:cxn ang="0">
                        <a:pos x="24" y="64"/>
                      </a:cxn>
                      <a:cxn ang="0">
                        <a:pos x="18" y="58"/>
                      </a:cxn>
                      <a:cxn ang="0">
                        <a:pos x="12" y="70"/>
                      </a:cxn>
                      <a:cxn ang="0">
                        <a:pos x="10" y="74"/>
                      </a:cxn>
                      <a:cxn ang="0">
                        <a:pos x="2" y="80"/>
                      </a:cxn>
                      <a:cxn ang="0">
                        <a:pos x="4" y="66"/>
                      </a:cxn>
                      <a:cxn ang="0">
                        <a:pos x="6" y="56"/>
                      </a:cxn>
                      <a:cxn ang="0">
                        <a:pos x="12" y="50"/>
                      </a:cxn>
                      <a:cxn ang="0">
                        <a:pos x="28" y="46"/>
                      </a:cxn>
                      <a:cxn ang="0">
                        <a:pos x="34" y="34"/>
                      </a:cxn>
                      <a:cxn ang="0">
                        <a:pos x="40" y="32"/>
                      </a:cxn>
                      <a:cxn ang="0">
                        <a:pos x="46" y="32"/>
                      </a:cxn>
                      <a:cxn ang="0">
                        <a:pos x="54" y="46"/>
                      </a:cxn>
                      <a:cxn ang="0">
                        <a:pos x="48" y="50"/>
                      </a:cxn>
                      <a:cxn ang="0">
                        <a:pos x="52" y="48"/>
                      </a:cxn>
                      <a:cxn ang="0">
                        <a:pos x="58" y="44"/>
                      </a:cxn>
                      <a:cxn ang="0">
                        <a:pos x="64" y="42"/>
                      </a:cxn>
                      <a:cxn ang="0">
                        <a:pos x="70" y="34"/>
                      </a:cxn>
                      <a:cxn ang="0">
                        <a:pos x="78" y="34"/>
                      </a:cxn>
                      <a:cxn ang="0">
                        <a:pos x="78" y="22"/>
                      </a:cxn>
                      <a:cxn ang="0">
                        <a:pos x="86" y="26"/>
                      </a:cxn>
                      <a:cxn ang="0">
                        <a:pos x="98" y="22"/>
                      </a:cxn>
                      <a:cxn ang="0">
                        <a:pos x="94" y="4"/>
                      </a:cxn>
                      <a:cxn ang="0">
                        <a:pos x="100" y="2"/>
                      </a:cxn>
                      <a:cxn ang="0">
                        <a:pos x="108" y="8"/>
                      </a:cxn>
                      <a:cxn ang="0">
                        <a:pos x="116" y="20"/>
                      </a:cxn>
                      <a:cxn ang="0">
                        <a:pos x="122" y="26"/>
                      </a:cxn>
                      <a:cxn ang="0">
                        <a:pos x="116" y="34"/>
                      </a:cxn>
                      <a:cxn ang="0">
                        <a:pos x="122" y="34"/>
                      </a:cxn>
                      <a:cxn ang="0">
                        <a:pos x="120" y="44"/>
                      </a:cxn>
                      <a:cxn ang="0">
                        <a:pos x="122" y="54"/>
                      </a:cxn>
                      <a:cxn ang="0">
                        <a:pos x="128" y="66"/>
                      </a:cxn>
                      <a:cxn ang="0">
                        <a:pos x="122" y="78"/>
                      </a:cxn>
                      <a:cxn ang="0">
                        <a:pos x="120" y="84"/>
                      </a:cxn>
                      <a:cxn ang="0">
                        <a:pos x="116" y="80"/>
                      </a:cxn>
                      <a:cxn ang="0">
                        <a:pos x="118" y="86"/>
                      </a:cxn>
                      <a:cxn ang="0">
                        <a:pos x="116" y="96"/>
                      </a:cxn>
                      <a:cxn ang="0">
                        <a:pos x="114" y="86"/>
                      </a:cxn>
                      <a:cxn ang="0">
                        <a:pos x="112" y="78"/>
                      </a:cxn>
                      <a:cxn ang="0">
                        <a:pos x="108" y="68"/>
                      </a:cxn>
                      <a:cxn ang="0">
                        <a:pos x="102" y="70"/>
                      </a:cxn>
                      <a:cxn ang="0">
                        <a:pos x="98" y="80"/>
                      </a:cxn>
                      <a:cxn ang="0">
                        <a:pos x="94" y="88"/>
                      </a:cxn>
                      <a:cxn ang="0">
                        <a:pos x="100" y="92"/>
                      </a:cxn>
                      <a:cxn ang="0">
                        <a:pos x="104" y="106"/>
                      </a:cxn>
                      <a:cxn ang="0">
                        <a:pos x="94" y="118"/>
                      </a:cxn>
                      <a:cxn ang="0">
                        <a:pos x="92" y="114"/>
                      </a:cxn>
                      <a:cxn ang="0">
                        <a:pos x="92" y="108"/>
                      </a:cxn>
                      <a:cxn ang="0">
                        <a:pos x="88" y="108"/>
                      </a:cxn>
                      <a:cxn ang="0">
                        <a:pos x="68" y="102"/>
                      </a:cxn>
                      <a:cxn ang="0">
                        <a:pos x="58" y="92"/>
                      </a:cxn>
                      <a:cxn ang="0">
                        <a:pos x="56" y="82"/>
                      </a:cxn>
                      <a:cxn ang="0">
                        <a:pos x="60" y="74"/>
                      </a:cxn>
                      <a:cxn ang="0">
                        <a:pos x="62" y="66"/>
                      </a:cxn>
                      <a:cxn ang="0">
                        <a:pos x="54" y="58"/>
                      </a:cxn>
                      <a:cxn ang="0">
                        <a:pos x="48" y="56"/>
                      </a:cxn>
                      <a:cxn ang="0">
                        <a:pos x="42" y="58"/>
                      </a:cxn>
                      <a:cxn ang="0">
                        <a:pos x="40" y="64"/>
                      </a:cxn>
                      <a:cxn ang="0">
                        <a:pos x="40" y="68"/>
                      </a:cxn>
                    </a:cxnLst>
                    <a:rect l="0" t="0" r="r" b="b"/>
                    <a:pathLst>
                      <a:path w="128" h="118">
                        <a:moveTo>
                          <a:pt x="40" y="68"/>
                        </a:moveTo>
                        <a:lnTo>
                          <a:pt x="38" y="64"/>
                        </a:lnTo>
                        <a:lnTo>
                          <a:pt x="36" y="64"/>
                        </a:lnTo>
                        <a:lnTo>
                          <a:pt x="34" y="64"/>
                        </a:lnTo>
                        <a:lnTo>
                          <a:pt x="32" y="64"/>
                        </a:lnTo>
                        <a:lnTo>
                          <a:pt x="32" y="62"/>
                        </a:lnTo>
                        <a:lnTo>
                          <a:pt x="34" y="62"/>
                        </a:lnTo>
                        <a:lnTo>
                          <a:pt x="34" y="60"/>
                        </a:lnTo>
                        <a:lnTo>
                          <a:pt x="34" y="58"/>
                        </a:lnTo>
                        <a:lnTo>
                          <a:pt x="30" y="60"/>
                        </a:lnTo>
                        <a:lnTo>
                          <a:pt x="30" y="62"/>
                        </a:lnTo>
                        <a:lnTo>
                          <a:pt x="30" y="64"/>
                        </a:lnTo>
                        <a:lnTo>
                          <a:pt x="26" y="64"/>
                        </a:lnTo>
                        <a:lnTo>
                          <a:pt x="26" y="66"/>
                        </a:lnTo>
                        <a:lnTo>
                          <a:pt x="24" y="66"/>
                        </a:lnTo>
                        <a:lnTo>
                          <a:pt x="24" y="64"/>
                        </a:lnTo>
                        <a:lnTo>
                          <a:pt x="24" y="58"/>
                        </a:lnTo>
                        <a:lnTo>
                          <a:pt x="24" y="56"/>
                        </a:lnTo>
                        <a:lnTo>
                          <a:pt x="20" y="56"/>
                        </a:lnTo>
                        <a:lnTo>
                          <a:pt x="18" y="58"/>
                        </a:lnTo>
                        <a:lnTo>
                          <a:pt x="12" y="64"/>
                        </a:lnTo>
                        <a:lnTo>
                          <a:pt x="12" y="66"/>
                        </a:lnTo>
                        <a:lnTo>
                          <a:pt x="12" y="68"/>
                        </a:lnTo>
                        <a:lnTo>
                          <a:pt x="12" y="70"/>
                        </a:lnTo>
                        <a:lnTo>
                          <a:pt x="12" y="68"/>
                        </a:lnTo>
                        <a:lnTo>
                          <a:pt x="10" y="70"/>
                        </a:lnTo>
                        <a:lnTo>
                          <a:pt x="10" y="72"/>
                        </a:lnTo>
                        <a:lnTo>
                          <a:pt x="10" y="74"/>
                        </a:lnTo>
                        <a:lnTo>
                          <a:pt x="10" y="76"/>
                        </a:lnTo>
                        <a:lnTo>
                          <a:pt x="8" y="80"/>
                        </a:lnTo>
                        <a:lnTo>
                          <a:pt x="6" y="82"/>
                        </a:lnTo>
                        <a:lnTo>
                          <a:pt x="2" y="80"/>
                        </a:lnTo>
                        <a:lnTo>
                          <a:pt x="0" y="78"/>
                        </a:lnTo>
                        <a:lnTo>
                          <a:pt x="0" y="72"/>
                        </a:lnTo>
                        <a:lnTo>
                          <a:pt x="4" y="68"/>
                        </a:lnTo>
                        <a:lnTo>
                          <a:pt x="4" y="66"/>
                        </a:lnTo>
                        <a:lnTo>
                          <a:pt x="4" y="64"/>
                        </a:lnTo>
                        <a:lnTo>
                          <a:pt x="6" y="62"/>
                        </a:lnTo>
                        <a:lnTo>
                          <a:pt x="6" y="58"/>
                        </a:lnTo>
                        <a:lnTo>
                          <a:pt x="6" y="56"/>
                        </a:lnTo>
                        <a:lnTo>
                          <a:pt x="6" y="54"/>
                        </a:lnTo>
                        <a:lnTo>
                          <a:pt x="8" y="52"/>
                        </a:lnTo>
                        <a:lnTo>
                          <a:pt x="10" y="50"/>
                        </a:lnTo>
                        <a:lnTo>
                          <a:pt x="12" y="50"/>
                        </a:lnTo>
                        <a:lnTo>
                          <a:pt x="12" y="48"/>
                        </a:lnTo>
                        <a:lnTo>
                          <a:pt x="14" y="48"/>
                        </a:lnTo>
                        <a:lnTo>
                          <a:pt x="16" y="48"/>
                        </a:lnTo>
                        <a:lnTo>
                          <a:pt x="28" y="46"/>
                        </a:lnTo>
                        <a:lnTo>
                          <a:pt x="30" y="44"/>
                        </a:lnTo>
                        <a:lnTo>
                          <a:pt x="30" y="38"/>
                        </a:lnTo>
                        <a:lnTo>
                          <a:pt x="32" y="36"/>
                        </a:lnTo>
                        <a:lnTo>
                          <a:pt x="34" y="34"/>
                        </a:lnTo>
                        <a:lnTo>
                          <a:pt x="36" y="36"/>
                        </a:lnTo>
                        <a:lnTo>
                          <a:pt x="38" y="36"/>
                        </a:lnTo>
                        <a:lnTo>
                          <a:pt x="38" y="34"/>
                        </a:lnTo>
                        <a:lnTo>
                          <a:pt x="40" y="32"/>
                        </a:lnTo>
                        <a:lnTo>
                          <a:pt x="40" y="30"/>
                        </a:lnTo>
                        <a:lnTo>
                          <a:pt x="44" y="32"/>
                        </a:lnTo>
                        <a:lnTo>
                          <a:pt x="44" y="34"/>
                        </a:lnTo>
                        <a:lnTo>
                          <a:pt x="46" y="32"/>
                        </a:lnTo>
                        <a:lnTo>
                          <a:pt x="48" y="32"/>
                        </a:lnTo>
                        <a:lnTo>
                          <a:pt x="52" y="34"/>
                        </a:lnTo>
                        <a:lnTo>
                          <a:pt x="52" y="38"/>
                        </a:lnTo>
                        <a:lnTo>
                          <a:pt x="54" y="46"/>
                        </a:lnTo>
                        <a:lnTo>
                          <a:pt x="52" y="46"/>
                        </a:lnTo>
                        <a:lnTo>
                          <a:pt x="52" y="48"/>
                        </a:lnTo>
                        <a:lnTo>
                          <a:pt x="48" y="48"/>
                        </a:lnTo>
                        <a:lnTo>
                          <a:pt x="48" y="50"/>
                        </a:lnTo>
                        <a:lnTo>
                          <a:pt x="48" y="52"/>
                        </a:lnTo>
                        <a:lnTo>
                          <a:pt x="50" y="50"/>
                        </a:lnTo>
                        <a:lnTo>
                          <a:pt x="52" y="50"/>
                        </a:lnTo>
                        <a:lnTo>
                          <a:pt x="52" y="48"/>
                        </a:lnTo>
                        <a:lnTo>
                          <a:pt x="52" y="46"/>
                        </a:lnTo>
                        <a:lnTo>
                          <a:pt x="56" y="46"/>
                        </a:lnTo>
                        <a:lnTo>
                          <a:pt x="58" y="46"/>
                        </a:lnTo>
                        <a:lnTo>
                          <a:pt x="58" y="44"/>
                        </a:lnTo>
                        <a:lnTo>
                          <a:pt x="60" y="46"/>
                        </a:lnTo>
                        <a:lnTo>
                          <a:pt x="62" y="46"/>
                        </a:lnTo>
                        <a:lnTo>
                          <a:pt x="64" y="44"/>
                        </a:lnTo>
                        <a:lnTo>
                          <a:pt x="64" y="42"/>
                        </a:lnTo>
                        <a:lnTo>
                          <a:pt x="64" y="40"/>
                        </a:lnTo>
                        <a:lnTo>
                          <a:pt x="64" y="38"/>
                        </a:lnTo>
                        <a:lnTo>
                          <a:pt x="66" y="34"/>
                        </a:lnTo>
                        <a:lnTo>
                          <a:pt x="70" y="34"/>
                        </a:lnTo>
                        <a:lnTo>
                          <a:pt x="72" y="36"/>
                        </a:lnTo>
                        <a:lnTo>
                          <a:pt x="76" y="36"/>
                        </a:lnTo>
                        <a:lnTo>
                          <a:pt x="78" y="36"/>
                        </a:lnTo>
                        <a:lnTo>
                          <a:pt x="78" y="34"/>
                        </a:lnTo>
                        <a:lnTo>
                          <a:pt x="78" y="32"/>
                        </a:lnTo>
                        <a:lnTo>
                          <a:pt x="78" y="30"/>
                        </a:lnTo>
                        <a:lnTo>
                          <a:pt x="78" y="28"/>
                        </a:lnTo>
                        <a:lnTo>
                          <a:pt x="78" y="22"/>
                        </a:lnTo>
                        <a:lnTo>
                          <a:pt x="80" y="22"/>
                        </a:lnTo>
                        <a:lnTo>
                          <a:pt x="82" y="22"/>
                        </a:lnTo>
                        <a:lnTo>
                          <a:pt x="86" y="24"/>
                        </a:lnTo>
                        <a:lnTo>
                          <a:pt x="86" y="26"/>
                        </a:lnTo>
                        <a:lnTo>
                          <a:pt x="86" y="28"/>
                        </a:lnTo>
                        <a:lnTo>
                          <a:pt x="88" y="28"/>
                        </a:lnTo>
                        <a:lnTo>
                          <a:pt x="92" y="22"/>
                        </a:lnTo>
                        <a:lnTo>
                          <a:pt x="98" y="22"/>
                        </a:lnTo>
                        <a:lnTo>
                          <a:pt x="100" y="22"/>
                        </a:lnTo>
                        <a:lnTo>
                          <a:pt x="100" y="16"/>
                        </a:lnTo>
                        <a:lnTo>
                          <a:pt x="98" y="14"/>
                        </a:lnTo>
                        <a:lnTo>
                          <a:pt x="94" y="4"/>
                        </a:lnTo>
                        <a:lnTo>
                          <a:pt x="96" y="2"/>
                        </a:lnTo>
                        <a:lnTo>
                          <a:pt x="96" y="0"/>
                        </a:lnTo>
                        <a:lnTo>
                          <a:pt x="98" y="0"/>
                        </a:lnTo>
                        <a:lnTo>
                          <a:pt x="100" y="2"/>
                        </a:lnTo>
                        <a:lnTo>
                          <a:pt x="100" y="6"/>
                        </a:lnTo>
                        <a:lnTo>
                          <a:pt x="102" y="6"/>
                        </a:lnTo>
                        <a:lnTo>
                          <a:pt x="106" y="6"/>
                        </a:lnTo>
                        <a:lnTo>
                          <a:pt x="108" y="8"/>
                        </a:lnTo>
                        <a:lnTo>
                          <a:pt x="110" y="10"/>
                        </a:lnTo>
                        <a:lnTo>
                          <a:pt x="114" y="16"/>
                        </a:lnTo>
                        <a:lnTo>
                          <a:pt x="116" y="16"/>
                        </a:lnTo>
                        <a:lnTo>
                          <a:pt x="116" y="20"/>
                        </a:lnTo>
                        <a:lnTo>
                          <a:pt x="118" y="22"/>
                        </a:lnTo>
                        <a:lnTo>
                          <a:pt x="120" y="22"/>
                        </a:lnTo>
                        <a:lnTo>
                          <a:pt x="120" y="24"/>
                        </a:lnTo>
                        <a:lnTo>
                          <a:pt x="122" y="26"/>
                        </a:lnTo>
                        <a:lnTo>
                          <a:pt x="120" y="28"/>
                        </a:lnTo>
                        <a:lnTo>
                          <a:pt x="114" y="32"/>
                        </a:lnTo>
                        <a:lnTo>
                          <a:pt x="114" y="34"/>
                        </a:lnTo>
                        <a:lnTo>
                          <a:pt x="116" y="34"/>
                        </a:lnTo>
                        <a:lnTo>
                          <a:pt x="116" y="36"/>
                        </a:lnTo>
                        <a:lnTo>
                          <a:pt x="118" y="36"/>
                        </a:lnTo>
                        <a:lnTo>
                          <a:pt x="118" y="34"/>
                        </a:lnTo>
                        <a:lnTo>
                          <a:pt x="122" y="34"/>
                        </a:lnTo>
                        <a:lnTo>
                          <a:pt x="122" y="36"/>
                        </a:lnTo>
                        <a:lnTo>
                          <a:pt x="122" y="38"/>
                        </a:lnTo>
                        <a:lnTo>
                          <a:pt x="122" y="40"/>
                        </a:lnTo>
                        <a:lnTo>
                          <a:pt x="120" y="44"/>
                        </a:lnTo>
                        <a:lnTo>
                          <a:pt x="122" y="44"/>
                        </a:lnTo>
                        <a:lnTo>
                          <a:pt x="124" y="44"/>
                        </a:lnTo>
                        <a:lnTo>
                          <a:pt x="122" y="52"/>
                        </a:lnTo>
                        <a:lnTo>
                          <a:pt x="122" y="54"/>
                        </a:lnTo>
                        <a:lnTo>
                          <a:pt x="124" y="56"/>
                        </a:lnTo>
                        <a:lnTo>
                          <a:pt x="126" y="58"/>
                        </a:lnTo>
                        <a:lnTo>
                          <a:pt x="128" y="58"/>
                        </a:lnTo>
                        <a:lnTo>
                          <a:pt x="128" y="66"/>
                        </a:lnTo>
                        <a:lnTo>
                          <a:pt x="128" y="70"/>
                        </a:lnTo>
                        <a:lnTo>
                          <a:pt x="128" y="72"/>
                        </a:lnTo>
                        <a:lnTo>
                          <a:pt x="124" y="76"/>
                        </a:lnTo>
                        <a:lnTo>
                          <a:pt x="122" y="78"/>
                        </a:lnTo>
                        <a:lnTo>
                          <a:pt x="120" y="78"/>
                        </a:lnTo>
                        <a:lnTo>
                          <a:pt x="120" y="80"/>
                        </a:lnTo>
                        <a:lnTo>
                          <a:pt x="122" y="82"/>
                        </a:lnTo>
                        <a:lnTo>
                          <a:pt x="120" y="84"/>
                        </a:lnTo>
                        <a:lnTo>
                          <a:pt x="120" y="82"/>
                        </a:lnTo>
                        <a:lnTo>
                          <a:pt x="120" y="80"/>
                        </a:lnTo>
                        <a:lnTo>
                          <a:pt x="118" y="80"/>
                        </a:lnTo>
                        <a:lnTo>
                          <a:pt x="116" y="80"/>
                        </a:lnTo>
                        <a:lnTo>
                          <a:pt x="116" y="82"/>
                        </a:lnTo>
                        <a:lnTo>
                          <a:pt x="118" y="82"/>
                        </a:lnTo>
                        <a:lnTo>
                          <a:pt x="118" y="84"/>
                        </a:lnTo>
                        <a:lnTo>
                          <a:pt x="118" y="86"/>
                        </a:lnTo>
                        <a:lnTo>
                          <a:pt x="118" y="88"/>
                        </a:lnTo>
                        <a:lnTo>
                          <a:pt x="118" y="96"/>
                        </a:lnTo>
                        <a:lnTo>
                          <a:pt x="116" y="98"/>
                        </a:lnTo>
                        <a:lnTo>
                          <a:pt x="116" y="96"/>
                        </a:lnTo>
                        <a:lnTo>
                          <a:pt x="114" y="92"/>
                        </a:lnTo>
                        <a:lnTo>
                          <a:pt x="114" y="90"/>
                        </a:lnTo>
                        <a:lnTo>
                          <a:pt x="114" y="88"/>
                        </a:lnTo>
                        <a:lnTo>
                          <a:pt x="114" y="86"/>
                        </a:lnTo>
                        <a:lnTo>
                          <a:pt x="114" y="82"/>
                        </a:lnTo>
                        <a:lnTo>
                          <a:pt x="112" y="82"/>
                        </a:lnTo>
                        <a:lnTo>
                          <a:pt x="112" y="80"/>
                        </a:lnTo>
                        <a:lnTo>
                          <a:pt x="112" y="78"/>
                        </a:lnTo>
                        <a:lnTo>
                          <a:pt x="112" y="76"/>
                        </a:lnTo>
                        <a:lnTo>
                          <a:pt x="110" y="76"/>
                        </a:lnTo>
                        <a:lnTo>
                          <a:pt x="108" y="74"/>
                        </a:lnTo>
                        <a:lnTo>
                          <a:pt x="108" y="68"/>
                        </a:lnTo>
                        <a:lnTo>
                          <a:pt x="106" y="68"/>
                        </a:lnTo>
                        <a:lnTo>
                          <a:pt x="106" y="70"/>
                        </a:lnTo>
                        <a:lnTo>
                          <a:pt x="104" y="70"/>
                        </a:lnTo>
                        <a:lnTo>
                          <a:pt x="102" y="70"/>
                        </a:lnTo>
                        <a:lnTo>
                          <a:pt x="102" y="76"/>
                        </a:lnTo>
                        <a:lnTo>
                          <a:pt x="100" y="76"/>
                        </a:lnTo>
                        <a:lnTo>
                          <a:pt x="98" y="78"/>
                        </a:lnTo>
                        <a:lnTo>
                          <a:pt x="98" y="80"/>
                        </a:lnTo>
                        <a:lnTo>
                          <a:pt x="96" y="82"/>
                        </a:lnTo>
                        <a:lnTo>
                          <a:pt x="96" y="84"/>
                        </a:lnTo>
                        <a:lnTo>
                          <a:pt x="94" y="86"/>
                        </a:lnTo>
                        <a:lnTo>
                          <a:pt x="94" y="88"/>
                        </a:lnTo>
                        <a:lnTo>
                          <a:pt x="96" y="90"/>
                        </a:lnTo>
                        <a:lnTo>
                          <a:pt x="96" y="88"/>
                        </a:lnTo>
                        <a:lnTo>
                          <a:pt x="98" y="90"/>
                        </a:lnTo>
                        <a:lnTo>
                          <a:pt x="100" y="92"/>
                        </a:lnTo>
                        <a:lnTo>
                          <a:pt x="104" y="100"/>
                        </a:lnTo>
                        <a:lnTo>
                          <a:pt x="104" y="102"/>
                        </a:lnTo>
                        <a:lnTo>
                          <a:pt x="104" y="104"/>
                        </a:lnTo>
                        <a:lnTo>
                          <a:pt x="104" y="106"/>
                        </a:lnTo>
                        <a:lnTo>
                          <a:pt x="98" y="112"/>
                        </a:lnTo>
                        <a:lnTo>
                          <a:pt x="98" y="114"/>
                        </a:lnTo>
                        <a:lnTo>
                          <a:pt x="96" y="116"/>
                        </a:lnTo>
                        <a:lnTo>
                          <a:pt x="94" y="118"/>
                        </a:lnTo>
                        <a:lnTo>
                          <a:pt x="94" y="116"/>
                        </a:lnTo>
                        <a:lnTo>
                          <a:pt x="92" y="116"/>
                        </a:lnTo>
                        <a:lnTo>
                          <a:pt x="94" y="116"/>
                        </a:lnTo>
                        <a:lnTo>
                          <a:pt x="92" y="114"/>
                        </a:lnTo>
                        <a:lnTo>
                          <a:pt x="90" y="112"/>
                        </a:lnTo>
                        <a:lnTo>
                          <a:pt x="90" y="110"/>
                        </a:lnTo>
                        <a:lnTo>
                          <a:pt x="90" y="108"/>
                        </a:lnTo>
                        <a:lnTo>
                          <a:pt x="92" y="108"/>
                        </a:lnTo>
                        <a:lnTo>
                          <a:pt x="92" y="106"/>
                        </a:lnTo>
                        <a:lnTo>
                          <a:pt x="92" y="102"/>
                        </a:lnTo>
                        <a:lnTo>
                          <a:pt x="88" y="102"/>
                        </a:lnTo>
                        <a:lnTo>
                          <a:pt x="88" y="108"/>
                        </a:lnTo>
                        <a:lnTo>
                          <a:pt x="86" y="110"/>
                        </a:lnTo>
                        <a:lnTo>
                          <a:pt x="84" y="110"/>
                        </a:lnTo>
                        <a:lnTo>
                          <a:pt x="72" y="104"/>
                        </a:lnTo>
                        <a:lnTo>
                          <a:pt x="68" y="102"/>
                        </a:lnTo>
                        <a:lnTo>
                          <a:pt x="66" y="102"/>
                        </a:lnTo>
                        <a:lnTo>
                          <a:pt x="64" y="100"/>
                        </a:lnTo>
                        <a:lnTo>
                          <a:pt x="62" y="98"/>
                        </a:lnTo>
                        <a:lnTo>
                          <a:pt x="58" y="92"/>
                        </a:lnTo>
                        <a:lnTo>
                          <a:pt x="58" y="90"/>
                        </a:lnTo>
                        <a:lnTo>
                          <a:pt x="58" y="84"/>
                        </a:lnTo>
                        <a:lnTo>
                          <a:pt x="56" y="84"/>
                        </a:lnTo>
                        <a:lnTo>
                          <a:pt x="56" y="82"/>
                        </a:lnTo>
                        <a:lnTo>
                          <a:pt x="56" y="78"/>
                        </a:lnTo>
                        <a:lnTo>
                          <a:pt x="58" y="76"/>
                        </a:lnTo>
                        <a:lnTo>
                          <a:pt x="58" y="74"/>
                        </a:lnTo>
                        <a:lnTo>
                          <a:pt x="60" y="74"/>
                        </a:lnTo>
                        <a:lnTo>
                          <a:pt x="62" y="72"/>
                        </a:lnTo>
                        <a:lnTo>
                          <a:pt x="64" y="68"/>
                        </a:lnTo>
                        <a:lnTo>
                          <a:pt x="64" y="66"/>
                        </a:lnTo>
                        <a:lnTo>
                          <a:pt x="62" y="66"/>
                        </a:lnTo>
                        <a:lnTo>
                          <a:pt x="60" y="66"/>
                        </a:lnTo>
                        <a:lnTo>
                          <a:pt x="60" y="64"/>
                        </a:lnTo>
                        <a:lnTo>
                          <a:pt x="58" y="60"/>
                        </a:lnTo>
                        <a:lnTo>
                          <a:pt x="54" y="58"/>
                        </a:lnTo>
                        <a:lnTo>
                          <a:pt x="52" y="58"/>
                        </a:lnTo>
                        <a:lnTo>
                          <a:pt x="50" y="58"/>
                        </a:lnTo>
                        <a:lnTo>
                          <a:pt x="50" y="56"/>
                        </a:lnTo>
                        <a:lnTo>
                          <a:pt x="48" y="56"/>
                        </a:lnTo>
                        <a:lnTo>
                          <a:pt x="46" y="54"/>
                        </a:lnTo>
                        <a:lnTo>
                          <a:pt x="44" y="54"/>
                        </a:lnTo>
                        <a:lnTo>
                          <a:pt x="42" y="56"/>
                        </a:lnTo>
                        <a:lnTo>
                          <a:pt x="42" y="58"/>
                        </a:lnTo>
                        <a:lnTo>
                          <a:pt x="42" y="60"/>
                        </a:lnTo>
                        <a:lnTo>
                          <a:pt x="40" y="60"/>
                        </a:lnTo>
                        <a:lnTo>
                          <a:pt x="40" y="62"/>
                        </a:lnTo>
                        <a:lnTo>
                          <a:pt x="40" y="64"/>
                        </a:lnTo>
                        <a:lnTo>
                          <a:pt x="42" y="64"/>
                        </a:lnTo>
                        <a:lnTo>
                          <a:pt x="42" y="66"/>
                        </a:lnTo>
                        <a:lnTo>
                          <a:pt x="42" y="68"/>
                        </a:lnTo>
                        <a:lnTo>
                          <a:pt x="40" y="6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9" name="Freeform 3091"/>
                  <p:cNvSpPr>
                    <a:spLocks/>
                  </p:cNvSpPr>
                  <p:nvPr/>
                </p:nvSpPr>
                <p:spPr bwMode="auto">
                  <a:xfrm>
                    <a:off x="3366" y="3392"/>
                    <a:ext cx="2" cy="4"/>
                  </a:xfrm>
                  <a:custGeom>
                    <a:avLst/>
                    <a:gdLst/>
                    <a:ahLst/>
                    <a:cxnLst>
                      <a:cxn ang="0">
                        <a:pos x="0" y="4"/>
                      </a:cxn>
                      <a:cxn ang="0">
                        <a:pos x="0" y="0"/>
                      </a:cxn>
                      <a:cxn ang="0">
                        <a:pos x="2" y="0"/>
                      </a:cxn>
                      <a:cxn ang="0">
                        <a:pos x="2" y="2"/>
                      </a:cxn>
                      <a:cxn ang="0">
                        <a:pos x="2" y="4"/>
                      </a:cxn>
                      <a:cxn ang="0">
                        <a:pos x="0" y="4"/>
                      </a:cxn>
                    </a:cxnLst>
                    <a:rect l="0" t="0" r="r" b="b"/>
                    <a:pathLst>
                      <a:path w="2" h="4">
                        <a:moveTo>
                          <a:pt x="0" y="4"/>
                        </a:moveTo>
                        <a:lnTo>
                          <a:pt x="0" y="0"/>
                        </a:lnTo>
                        <a:lnTo>
                          <a:pt x="2" y="0"/>
                        </a:lnTo>
                        <a:lnTo>
                          <a:pt x="2" y="2"/>
                        </a:lnTo>
                        <a:lnTo>
                          <a:pt x="2" y="4"/>
                        </a:lnTo>
                        <a:lnTo>
                          <a:pt x="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0" name="Freeform 3092"/>
                  <p:cNvSpPr>
                    <a:spLocks/>
                  </p:cNvSpPr>
                  <p:nvPr/>
                </p:nvSpPr>
                <p:spPr bwMode="auto">
                  <a:xfrm>
                    <a:off x="3298" y="3404"/>
                    <a:ext cx="8" cy="6"/>
                  </a:xfrm>
                  <a:custGeom>
                    <a:avLst/>
                    <a:gdLst/>
                    <a:ahLst/>
                    <a:cxnLst>
                      <a:cxn ang="0">
                        <a:pos x="4" y="6"/>
                      </a:cxn>
                      <a:cxn ang="0">
                        <a:pos x="0" y="4"/>
                      </a:cxn>
                      <a:cxn ang="0">
                        <a:pos x="0" y="2"/>
                      </a:cxn>
                      <a:cxn ang="0">
                        <a:pos x="2" y="2"/>
                      </a:cxn>
                      <a:cxn ang="0">
                        <a:pos x="4" y="2"/>
                      </a:cxn>
                      <a:cxn ang="0">
                        <a:pos x="4" y="0"/>
                      </a:cxn>
                      <a:cxn ang="0">
                        <a:pos x="6" y="0"/>
                      </a:cxn>
                      <a:cxn ang="0">
                        <a:pos x="8" y="4"/>
                      </a:cxn>
                      <a:cxn ang="0">
                        <a:pos x="6" y="4"/>
                      </a:cxn>
                      <a:cxn ang="0">
                        <a:pos x="6" y="6"/>
                      </a:cxn>
                      <a:cxn ang="0">
                        <a:pos x="4" y="6"/>
                      </a:cxn>
                    </a:cxnLst>
                    <a:rect l="0" t="0" r="r" b="b"/>
                    <a:pathLst>
                      <a:path w="8" h="6">
                        <a:moveTo>
                          <a:pt x="4" y="6"/>
                        </a:moveTo>
                        <a:lnTo>
                          <a:pt x="0" y="4"/>
                        </a:lnTo>
                        <a:lnTo>
                          <a:pt x="0" y="2"/>
                        </a:lnTo>
                        <a:lnTo>
                          <a:pt x="2" y="2"/>
                        </a:lnTo>
                        <a:lnTo>
                          <a:pt x="4" y="2"/>
                        </a:lnTo>
                        <a:lnTo>
                          <a:pt x="4" y="0"/>
                        </a:lnTo>
                        <a:lnTo>
                          <a:pt x="6" y="0"/>
                        </a:lnTo>
                        <a:lnTo>
                          <a:pt x="8" y="4"/>
                        </a:lnTo>
                        <a:lnTo>
                          <a:pt x="6" y="4"/>
                        </a:lnTo>
                        <a:lnTo>
                          <a:pt x="6"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1" name="Freeform 3093"/>
                  <p:cNvSpPr>
                    <a:spLocks/>
                  </p:cNvSpPr>
                  <p:nvPr/>
                </p:nvSpPr>
                <p:spPr bwMode="auto">
                  <a:xfrm>
                    <a:off x="3330" y="3406"/>
                    <a:ext cx="6" cy="4"/>
                  </a:xfrm>
                  <a:custGeom>
                    <a:avLst/>
                    <a:gdLst/>
                    <a:ahLst/>
                    <a:cxnLst>
                      <a:cxn ang="0">
                        <a:pos x="4" y="4"/>
                      </a:cxn>
                      <a:cxn ang="0">
                        <a:pos x="2" y="4"/>
                      </a:cxn>
                      <a:cxn ang="0">
                        <a:pos x="2" y="2"/>
                      </a:cxn>
                      <a:cxn ang="0">
                        <a:pos x="0" y="2"/>
                      </a:cxn>
                      <a:cxn ang="0">
                        <a:pos x="0" y="0"/>
                      </a:cxn>
                      <a:cxn ang="0">
                        <a:pos x="2" y="0"/>
                      </a:cxn>
                      <a:cxn ang="0">
                        <a:pos x="4" y="0"/>
                      </a:cxn>
                      <a:cxn ang="0">
                        <a:pos x="6" y="2"/>
                      </a:cxn>
                      <a:cxn ang="0">
                        <a:pos x="6" y="4"/>
                      </a:cxn>
                      <a:cxn ang="0">
                        <a:pos x="4" y="4"/>
                      </a:cxn>
                    </a:cxnLst>
                    <a:rect l="0" t="0" r="r" b="b"/>
                    <a:pathLst>
                      <a:path w="6" h="4">
                        <a:moveTo>
                          <a:pt x="4" y="4"/>
                        </a:moveTo>
                        <a:lnTo>
                          <a:pt x="2" y="4"/>
                        </a:lnTo>
                        <a:lnTo>
                          <a:pt x="2" y="2"/>
                        </a:lnTo>
                        <a:lnTo>
                          <a:pt x="0" y="2"/>
                        </a:lnTo>
                        <a:lnTo>
                          <a:pt x="0" y="0"/>
                        </a:lnTo>
                        <a:lnTo>
                          <a:pt x="2" y="0"/>
                        </a:lnTo>
                        <a:lnTo>
                          <a:pt x="4" y="0"/>
                        </a:lnTo>
                        <a:lnTo>
                          <a:pt x="6" y="2"/>
                        </a:lnTo>
                        <a:lnTo>
                          <a:pt x="6"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2" name="Freeform 3094"/>
                  <p:cNvSpPr>
                    <a:spLocks/>
                  </p:cNvSpPr>
                  <p:nvPr/>
                </p:nvSpPr>
                <p:spPr bwMode="auto">
                  <a:xfrm>
                    <a:off x="3280" y="3456"/>
                    <a:ext cx="6" cy="4"/>
                  </a:xfrm>
                  <a:custGeom>
                    <a:avLst/>
                    <a:gdLst/>
                    <a:ahLst/>
                    <a:cxnLst>
                      <a:cxn ang="0">
                        <a:pos x="2" y="4"/>
                      </a:cxn>
                      <a:cxn ang="0">
                        <a:pos x="0" y="4"/>
                      </a:cxn>
                      <a:cxn ang="0">
                        <a:pos x="0" y="2"/>
                      </a:cxn>
                      <a:cxn ang="0">
                        <a:pos x="0" y="0"/>
                      </a:cxn>
                      <a:cxn ang="0">
                        <a:pos x="4" y="0"/>
                      </a:cxn>
                      <a:cxn ang="0">
                        <a:pos x="6" y="2"/>
                      </a:cxn>
                      <a:cxn ang="0">
                        <a:pos x="4" y="4"/>
                      </a:cxn>
                      <a:cxn ang="0">
                        <a:pos x="2" y="4"/>
                      </a:cxn>
                    </a:cxnLst>
                    <a:rect l="0" t="0" r="r" b="b"/>
                    <a:pathLst>
                      <a:path w="6" h="4">
                        <a:moveTo>
                          <a:pt x="2" y="4"/>
                        </a:moveTo>
                        <a:lnTo>
                          <a:pt x="0" y="4"/>
                        </a:lnTo>
                        <a:lnTo>
                          <a:pt x="0" y="2"/>
                        </a:lnTo>
                        <a:lnTo>
                          <a:pt x="0" y="0"/>
                        </a:lnTo>
                        <a:lnTo>
                          <a:pt x="4" y="0"/>
                        </a:lnTo>
                        <a:lnTo>
                          <a:pt x="6" y="2"/>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3" name="Freeform 3095"/>
                  <p:cNvSpPr>
                    <a:spLocks/>
                  </p:cNvSpPr>
                  <p:nvPr/>
                </p:nvSpPr>
                <p:spPr bwMode="auto">
                  <a:xfrm>
                    <a:off x="3358" y="3462"/>
                    <a:ext cx="4" cy="10"/>
                  </a:xfrm>
                  <a:custGeom>
                    <a:avLst/>
                    <a:gdLst/>
                    <a:ahLst/>
                    <a:cxnLst>
                      <a:cxn ang="0">
                        <a:pos x="4" y="10"/>
                      </a:cxn>
                      <a:cxn ang="0">
                        <a:pos x="4" y="8"/>
                      </a:cxn>
                      <a:cxn ang="0">
                        <a:pos x="0" y="4"/>
                      </a:cxn>
                      <a:cxn ang="0">
                        <a:pos x="2" y="0"/>
                      </a:cxn>
                      <a:cxn ang="0">
                        <a:pos x="4" y="2"/>
                      </a:cxn>
                      <a:cxn ang="0">
                        <a:pos x="4" y="10"/>
                      </a:cxn>
                    </a:cxnLst>
                    <a:rect l="0" t="0" r="r" b="b"/>
                    <a:pathLst>
                      <a:path w="4" h="10">
                        <a:moveTo>
                          <a:pt x="4" y="10"/>
                        </a:moveTo>
                        <a:lnTo>
                          <a:pt x="4" y="8"/>
                        </a:lnTo>
                        <a:lnTo>
                          <a:pt x="0" y="4"/>
                        </a:lnTo>
                        <a:lnTo>
                          <a:pt x="2" y="0"/>
                        </a:lnTo>
                        <a:lnTo>
                          <a:pt x="4" y="2"/>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4" name="Freeform 3096"/>
                  <p:cNvSpPr>
                    <a:spLocks/>
                  </p:cNvSpPr>
                  <p:nvPr/>
                </p:nvSpPr>
                <p:spPr bwMode="auto">
                  <a:xfrm>
                    <a:off x="3252" y="3474"/>
                    <a:ext cx="14" cy="10"/>
                  </a:xfrm>
                  <a:custGeom>
                    <a:avLst/>
                    <a:gdLst/>
                    <a:ahLst/>
                    <a:cxnLst>
                      <a:cxn ang="0">
                        <a:pos x="6" y="10"/>
                      </a:cxn>
                      <a:cxn ang="0">
                        <a:pos x="4" y="10"/>
                      </a:cxn>
                      <a:cxn ang="0">
                        <a:pos x="0" y="4"/>
                      </a:cxn>
                      <a:cxn ang="0">
                        <a:pos x="2" y="2"/>
                      </a:cxn>
                      <a:cxn ang="0">
                        <a:pos x="2" y="4"/>
                      </a:cxn>
                      <a:cxn ang="0">
                        <a:pos x="4" y="4"/>
                      </a:cxn>
                      <a:cxn ang="0">
                        <a:pos x="6" y="2"/>
                      </a:cxn>
                      <a:cxn ang="0">
                        <a:pos x="6" y="0"/>
                      </a:cxn>
                      <a:cxn ang="0">
                        <a:pos x="8" y="0"/>
                      </a:cxn>
                      <a:cxn ang="0">
                        <a:pos x="10" y="2"/>
                      </a:cxn>
                      <a:cxn ang="0">
                        <a:pos x="12" y="4"/>
                      </a:cxn>
                      <a:cxn ang="0">
                        <a:pos x="14" y="4"/>
                      </a:cxn>
                      <a:cxn ang="0">
                        <a:pos x="10" y="8"/>
                      </a:cxn>
                      <a:cxn ang="0">
                        <a:pos x="8" y="10"/>
                      </a:cxn>
                      <a:cxn ang="0">
                        <a:pos x="6" y="10"/>
                      </a:cxn>
                    </a:cxnLst>
                    <a:rect l="0" t="0" r="r" b="b"/>
                    <a:pathLst>
                      <a:path w="14" h="10">
                        <a:moveTo>
                          <a:pt x="6" y="10"/>
                        </a:moveTo>
                        <a:lnTo>
                          <a:pt x="4" y="10"/>
                        </a:lnTo>
                        <a:lnTo>
                          <a:pt x="0" y="4"/>
                        </a:lnTo>
                        <a:lnTo>
                          <a:pt x="2" y="2"/>
                        </a:lnTo>
                        <a:lnTo>
                          <a:pt x="2" y="4"/>
                        </a:lnTo>
                        <a:lnTo>
                          <a:pt x="4" y="4"/>
                        </a:lnTo>
                        <a:lnTo>
                          <a:pt x="6" y="2"/>
                        </a:lnTo>
                        <a:lnTo>
                          <a:pt x="6" y="0"/>
                        </a:lnTo>
                        <a:lnTo>
                          <a:pt x="8" y="0"/>
                        </a:lnTo>
                        <a:lnTo>
                          <a:pt x="10" y="2"/>
                        </a:lnTo>
                        <a:lnTo>
                          <a:pt x="12" y="4"/>
                        </a:lnTo>
                        <a:lnTo>
                          <a:pt x="14" y="4"/>
                        </a:lnTo>
                        <a:lnTo>
                          <a:pt x="10" y="8"/>
                        </a:lnTo>
                        <a:lnTo>
                          <a:pt x="8" y="10"/>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5" name="Freeform 3097"/>
                  <p:cNvSpPr>
                    <a:spLocks/>
                  </p:cNvSpPr>
                  <p:nvPr/>
                </p:nvSpPr>
                <p:spPr bwMode="auto">
                  <a:xfrm>
                    <a:off x="3228" y="3492"/>
                    <a:ext cx="16" cy="8"/>
                  </a:xfrm>
                  <a:custGeom>
                    <a:avLst/>
                    <a:gdLst/>
                    <a:ahLst/>
                    <a:cxnLst>
                      <a:cxn ang="0">
                        <a:pos x="10" y="8"/>
                      </a:cxn>
                      <a:cxn ang="0">
                        <a:pos x="10" y="6"/>
                      </a:cxn>
                      <a:cxn ang="0">
                        <a:pos x="10" y="4"/>
                      </a:cxn>
                      <a:cxn ang="0">
                        <a:pos x="8" y="4"/>
                      </a:cxn>
                      <a:cxn ang="0">
                        <a:pos x="6" y="6"/>
                      </a:cxn>
                      <a:cxn ang="0">
                        <a:pos x="0" y="6"/>
                      </a:cxn>
                      <a:cxn ang="0">
                        <a:pos x="0" y="2"/>
                      </a:cxn>
                      <a:cxn ang="0">
                        <a:pos x="4" y="2"/>
                      </a:cxn>
                      <a:cxn ang="0">
                        <a:pos x="6" y="0"/>
                      </a:cxn>
                      <a:cxn ang="0">
                        <a:pos x="8" y="2"/>
                      </a:cxn>
                      <a:cxn ang="0">
                        <a:pos x="10" y="2"/>
                      </a:cxn>
                      <a:cxn ang="0">
                        <a:pos x="14" y="2"/>
                      </a:cxn>
                      <a:cxn ang="0">
                        <a:pos x="16" y="4"/>
                      </a:cxn>
                      <a:cxn ang="0">
                        <a:pos x="14" y="6"/>
                      </a:cxn>
                      <a:cxn ang="0">
                        <a:pos x="12" y="6"/>
                      </a:cxn>
                      <a:cxn ang="0">
                        <a:pos x="10" y="8"/>
                      </a:cxn>
                    </a:cxnLst>
                    <a:rect l="0" t="0" r="r" b="b"/>
                    <a:pathLst>
                      <a:path w="16" h="8">
                        <a:moveTo>
                          <a:pt x="10" y="8"/>
                        </a:moveTo>
                        <a:lnTo>
                          <a:pt x="10" y="6"/>
                        </a:lnTo>
                        <a:lnTo>
                          <a:pt x="10" y="4"/>
                        </a:lnTo>
                        <a:lnTo>
                          <a:pt x="8" y="4"/>
                        </a:lnTo>
                        <a:lnTo>
                          <a:pt x="6" y="6"/>
                        </a:lnTo>
                        <a:lnTo>
                          <a:pt x="0" y="6"/>
                        </a:lnTo>
                        <a:lnTo>
                          <a:pt x="0" y="2"/>
                        </a:lnTo>
                        <a:lnTo>
                          <a:pt x="4" y="2"/>
                        </a:lnTo>
                        <a:lnTo>
                          <a:pt x="6" y="0"/>
                        </a:lnTo>
                        <a:lnTo>
                          <a:pt x="8" y="2"/>
                        </a:lnTo>
                        <a:lnTo>
                          <a:pt x="10" y="2"/>
                        </a:lnTo>
                        <a:lnTo>
                          <a:pt x="14" y="2"/>
                        </a:lnTo>
                        <a:lnTo>
                          <a:pt x="16" y="4"/>
                        </a:lnTo>
                        <a:lnTo>
                          <a:pt x="14" y="6"/>
                        </a:lnTo>
                        <a:lnTo>
                          <a:pt x="12" y="6"/>
                        </a:lnTo>
                        <a:lnTo>
                          <a:pt x="1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6" name="Freeform 3098"/>
                  <p:cNvSpPr>
                    <a:spLocks/>
                  </p:cNvSpPr>
                  <p:nvPr/>
                </p:nvSpPr>
                <p:spPr bwMode="auto">
                  <a:xfrm>
                    <a:off x="3198" y="3512"/>
                    <a:ext cx="12" cy="10"/>
                  </a:xfrm>
                  <a:custGeom>
                    <a:avLst/>
                    <a:gdLst/>
                    <a:ahLst/>
                    <a:cxnLst>
                      <a:cxn ang="0">
                        <a:pos x="2" y="10"/>
                      </a:cxn>
                      <a:cxn ang="0">
                        <a:pos x="0" y="10"/>
                      </a:cxn>
                      <a:cxn ang="0">
                        <a:pos x="0" y="6"/>
                      </a:cxn>
                      <a:cxn ang="0">
                        <a:pos x="2" y="6"/>
                      </a:cxn>
                      <a:cxn ang="0">
                        <a:pos x="10" y="0"/>
                      </a:cxn>
                      <a:cxn ang="0">
                        <a:pos x="12" y="0"/>
                      </a:cxn>
                      <a:cxn ang="0">
                        <a:pos x="12" y="2"/>
                      </a:cxn>
                      <a:cxn ang="0">
                        <a:pos x="12" y="4"/>
                      </a:cxn>
                      <a:cxn ang="0">
                        <a:pos x="12" y="6"/>
                      </a:cxn>
                      <a:cxn ang="0">
                        <a:pos x="10" y="6"/>
                      </a:cxn>
                      <a:cxn ang="0">
                        <a:pos x="8" y="6"/>
                      </a:cxn>
                      <a:cxn ang="0">
                        <a:pos x="6" y="6"/>
                      </a:cxn>
                      <a:cxn ang="0">
                        <a:pos x="6" y="8"/>
                      </a:cxn>
                      <a:cxn ang="0">
                        <a:pos x="4" y="8"/>
                      </a:cxn>
                      <a:cxn ang="0">
                        <a:pos x="2" y="10"/>
                      </a:cxn>
                    </a:cxnLst>
                    <a:rect l="0" t="0" r="r" b="b"/>
                    <a:pathLst>
                      <a:path w="12" h="10">
                        <a:moveTo>
                          <a:pt x="2" y="10"/>
                        </a:moveTo>
                        <a:lnTo>
                          <a:pt x="0" y="10"/>
                        </a:lnTo>
                        <a:lnTo>
                          <a:pt x="0" y="6"/>
                        </a:lnTo>
                        <a:lnTo>
                          <a:pt x="2" y="6"/>
                        </a:lnTo>
                        <a:lnTo>
                          <a:pt x="10" y="0"/>
                        </a:lnTo>
                        <a:lnTo>
                          <a:pt x="12" y="0"/>
                        </a:lnTo>
                        <a:lnTo>
                          <a:pt x="12" y="2"/>
                        </a:lnTo>
                        <a:lnTo>
                          <a:pt x="12" y="4"/>
                        </a:lnTo>
                        <a:lnTo>
                          <a:pt x="12" y="6"/>
                        </a:lnTo>
                        <a:lnTo>
                          <a:pt x="10" y="6"/>
                        </a:lnTo>
                        <a:lnTo>
                          <a:pt x="8" y="6"/>
                        </a:lnTo>
                        <a:lnTo>
                          <a:pt x="6" y="6"/>
                        </a:lnTo>
                        <a:lnTo>
                          <a:pt x="6" y="8"/>
                        </a:lnTo>
                        <a:lnTo>
                          <a:pt x="4"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51" name="Freeform 3099"/>
                <p:cNvSpPr>
                  <a:spLocks/>
                </p:cNvSpPr>
                <p:nvPr/>
              </p:nvSpPr>
              <p:spPr bwMode="auto">
                <a:xfrm>
                  <a:off x="4587118" y="4081142"/>
                  <a:ext cx="506993" cy="1122033"/>
                </a:xfrm>
                <a:custGeom>
                  <a:avLst/>
                  <a:gdLst/>
                  <a:ahLst/>
                  <a:cxnLst>
                    <a:cxn ang="0">
                      <a:pos x="148" y="370"/>
                    </a:cxn>
                    <a:cxn ang="0">
                      <a:pos x="136" y="348"/>
                    </a:cxn>
                    <a:cxn ang="0">
                      <a:pos x="126" y="340"/>
                    </a:cxn>
                    <a:cxn ang="0">
                      <a:pos x="110" y="352"/>
                    </a:cxn>
                    <a:cxn ang="0">
                      <a:pos x="106" y="362"/>
                    </a:cxn>
                    <a:cxn ang="0">
                      <a:pos x="94" y="374"/>
                    </a:cxn>
                    <a:cxn ang="0">
                      <a:pos x="84" y="372"/>
                    </a:cxn>
                    <a:cxn ang="0">
                      <a:pos x="78" y="376"/>
                    </a:cxn>
                    <a:cxn ang="0">
                      <a:pos x="74" y="380"/>
                    </a:cxn>
                    <a:cxn ang="0">
                      <a:pos x="72" y="366"/>
                    </a:cxn>
                    <a:cxn ang="0">
                      <a:pos x="70" y="368"/>
                    </a:cxn>
                    <a:cxn ang="0">
                      <a:pos x="56" y="374"/>
                    </a:cxn>
                    <a:cxn ang="0">
                      <a:pos x="64" y="328"/>
                    </a:cxn>
                    <a:cxn ang="0">
                      <a:pos x="52" y="290"/>
                    </a:cxn>
                    <a:cxn ang="0">
                      <a:pos x="46" y="278"/>
                    </a:cxn>
                    <a:cxn ang="0">
                      <a:pos x="40" y="260"/>
                    </a:cxn>
                    <a:cxn ang="0">
                      <a:pos x="28" y="262"/>
                    </a:cxn>
                    <a:cxn ang="0">
                      <a:pos x="20" y="252"/>
                    </a:cxn>
                    <a:cxn ang="0">
                      <a:pos x="16" y="246"/>
                    </a:cxn>
                    <a:cxn ang="0">
                      <a:pos x="4" y="238"/>
                    </a:cxn>
                    <a:cxn ang="0">
                      <a:pos x="12" y="220"/>
                    </a:cxn>
                    <a:cxn ang="0">
                      <a:pos x="18" y="196"/>
                    </a:cxn>
                    <a:cxn ang="0">
                      <a:pos x="26" y="184"/>
                    </a:cxn>
                    <a:cxn ang="0">
                      <a:pos x="32" y="162"/>
                    </a:cxn>
                    <a:cxn ang="0">
                      <a:pos x="38" y="140"/>
                    </a:cxn>
                    <a:cxn ang="0">
                      <a:pos x="66" y="104"/>
                    </a:cxn>
                    <a:cxn ang="0">
                      <a:pos x="78" y="74"/>
                    </a:cxn>
                    <a:cxn ang="0">
                      <a:pos x="92" y="54"/>
                    </a:cxn>
                    <a:cxn ang="0">
                      <a:pos x="124" y="36"/>
                    </a:cxn>
                    <a:cxn ang="0">
                      <a:pos x="128" y="34"/>
                    </a:cxn>
                    <a:cxn ang="0">
                      <a:pos x="144" y="8"/>
                    </a:cxn>
                    <a:cxn ang="0">
                      <a:pos x="158" y="10"/>
                    </a:cxn>
                    <a:cxn ang="0">
                      <a:pos x="178" y="32"/>
                    </a:cxn>
                    <a:cxn ang="0">
                      <a:pos x="174" y="74"/>
                    </a:cxn>
                    <a:cxn ang="0">
                      <a:pos x="166" y="92"/>
                    </a:cxn>
                    <a:cxn ang="0">
                      <a:pos x="150" y="106"/>
                    </a:cxn>
                    <a:cxn ang="0">
                      <a:pos x="148" y="144"/>
                    </a:cxn>
                    <a:cxn ang="0">
                      <a:pos x="178" y="140"/>
                    </a:cxn>
                    <a:cxn ang="0">
                      <a:pos x="184" y="164"/>
                    </a:cxn>
                    <a:cxn ang="0">
                      <a:pos x="196" y="184"/>
                    </a:cxn>
                    <a:cxn ang="0">
                      <a:pos x="212" y="198"/>
                    </a:cxn>
                    <a:cxn ang="0">
                      <a:pos x="224" y="212"/>
                    </a:cxn>
                    <a:cxn ang="0">
                      <a:pos x="232" y="218"/>
                    </a:cxn>
                    <a:cxn ang="0">
                      <a:pos x="216" y="240"/>
                    </a:cxn>
                    <a:cxn ang="0">
                      <a:pos x="200" y="246"/>
                    </a:cxn>
                    <a:cxn ang="0">
                      <a:pos x="186" y="262"/>
                    </a:cxn>
                    <a:cxn ang="0">
                      <a:pos x="160" y="266"/>
                    </a:cxn>
                    <a:cxn ang="0">
                      <a:pos x="152" y="298"/>
                    </a:cxn>
                    <a:cxn ang="0">
                      <a:pos x="144" y="308"/>
                    </a:cxn>
                    <a:cxn ang="0">
                      <a:pos x="160" y="334"/>
                    </a:cxn>
                    <a:cxn ang="0">
                      <a:pos x="176" y="358"/>
                    </a:cxn>
                    <a:cxn ang="0">
                      <a:pos x="178" y="368"/>
                    </a:cxn>
                    <a:cxn ang="0">
                      <a:pos x="170" y="392"/>
                    </a:cxn>
                    <a:cxn ang="0">
                      <a:pos x="190" y="436"/>
                    </a:cxn>
                    <a:cxn ang="0">
                      <a:pos x="200" y="482"/>
                    </a:cxn>
                    <a:cxn ang="0">
                      <a:pos x="184" y="518"/>
                    </a:cxn>
                    <a:cxn ang="0">
                      <a:pos x="174" y="540"/>
                    </a:cxn>
                    <a:cxn ang="0">
                      <a:pos x="178" y="508"/>
                    </a:cxn>
                    <a:cxn ang="0">
                      <a:pos x="174" y="492"/>
                    </a:cxn>
                    <a:cxn ang="0">
                      <a:pos x="172" y="480"/>
                    </a:cxn>
                    <a:cxn ang="0">
                      <a:pos x="176" y="460"/>
                    </a:cxn>
                    <a:cxn ang="0">
                      <a:pos x="164" y="428"/>
                    </a:cxn>
                    <a:cxn ang="0">
                      <a:pos x="152" y="404"/>
                    </a:cxn>
                  </a:cxnLst>
                  <a:rect l="0" t="0" r="r" b="b"/>
                  <a:pathLst>
                    <a:path w="244" h="540">
                      <a:moveTo>
                        <a:pt x="152" y="396"/>
                      </a:moveTo>
                      <a:lnTo>
                        <a:pt x="152" y="394"/>
                      </a:lnTo>
                      <a:lnTo>
                        <a:pt x="150" y="392"/>
                      </a:lnTo>
                      <a:lnTo>
                        <a:pt x="150" y="390"/>
                      </a:lnTo>
                      <a:lnTo>
                        <a:pt x="152" y="388"/>
                      </a:lnTo>
                      <a:lnTo>
                        <a:pt x="150" y="376"/>
                      </a:lnTo>
                      <a:lnTo>
                        <a:pt x="148" y="374"/>
                      </a:lnTo>
                      <a:lnTo>
                        <a:pt x="146" y="372"/>
                      </a:lnTo>
                      <a:lnTo>
                        <a:pt x="146" y="370"/>
                      </a:lnTo>
                      <a:lnTo>
                        <a:pt x="148" y="370"/>
                      </a:lnTo>
                      <a:lnTo>
                        <a:pt x="148" y="364"/>
                      </a:lnTo>
                      <a:lnTo>
                        <a:pt x="148" y="362"/>
                      </a:lnTo>
                      <a:lnTo>
                        <a:pt x="148" y="360"/>
                      </a:lnTo>
                      <a:lnTo>
                        <a:pt x="148" y="358"/>
                      </a:lnTo>
                      <a:lnTo>
                        <a:pt x="150" y="358"/>
                      </a:lnTo>
                      <a:lnTo>
                        <a:pt x="150" y="356"/>
                      </a:lnTo>
                      <a:lnTo>
                        <a:pt x="146" y="358"/>
                      </a:lnTo>
                      <a:lnTo>
                        <a:pt x="142" y="358"/>
                      </a:lnTo>
                      <a:lnTo>
                        <a:pt x="140" y="358"/>
                      </a:lnTo>
                      <a:lnTo>
                        <a:pt x="136" y="348"/>
                      </a:lnTo>
                      <a:lnTo>
                        <a:pt x="136" y="346"/>
                      </a:lnTo>
                      <a:lnTo>
                        <a:pt x="136" y="342"/>
                      </a:lnTo>
                      <a:lnTo>
                        <a:pt x="132" y="334"/>
                      </a:lnTo>
                      <a:lnTo>
                        <a:pt x="130" y="334"/>
                      </a:lnTo>
                      <a:lnTo>
                        <a:pt x="128" y="332"/>
                      </a:lnTo>
                      <a:lnTo>
                        <a:pt x="126" y="330"/>
                      </a:lnTo>
                      <a:lnTo>
                        <a:pt x="126" y="332"/>
                      </a:lnTo>
                      <a:lnTo>
                        <a:pt x="128" y="334"/>
                      </a:lnTo>
                      <a:lnTo>
                        <a:pt x="126" y="338"/>
                      </a:lnTo>
                      <a:lnTo>
                        <a:pt x="126" y="340"/>
                      </a:lnTo>
                      <a:lnTo>
                        <a:pt x="128" y="340"/>
                      </a:lnTo>
                      <a:lnTo>
                        <a:pt x="128" y="342"/>
                      </a:lnTo>
                      <a:lnTo>
                        <a:pt x="126" y="346"/>
                      </a:lnTo>
                      <a:lnTo>
                        <a:pt x="126" y="352"/>
                      </a:lnTo>
                      <a:lnTo>
                        <a:pt x="124" y="352"/>
                      </a:lnTo>
                      <a:lnTo>
                        <a:pt x="120" y="358"/>
                      </a:lnTo>
                      <a:lnTo>
                        <a:pt x="116" y="358"/>
                      </a:lnTo>
                      <a:lnTo>
                        <a:pt x="114" y="358"/>
                      </a:lnTo>
                      <a:lnTo>
                        <a:pt x="110" y="356"/>
                      </a:lnTo>
                      <a:lnTo>
                        <a:pt x="110" y="352"/>
                      </a:lnTo>
                      <a:lnTo>
                        <a:pt x="108" y="352"/>
                      </a:lnTo>
                      <a:lnTo>
                        <a:pt x="110" y="350"/>
                      </a:lnTo>
                      <a:lnTo>
                        <a:pt x="108" y="350"/>
                      </a:lnTo>
                      <a:lnTo>
                        <a:pt x="108" y="352"/>
                      </a:lnTo>
                      <a:lnTo>
                        <a:pt x="110" y="356"/>
                      </a:lnTo>
                      <a:lnTo>
                        <a:pt x="110" y="358"/>
                      </a:lnTo>
                      <a:lnTo>
                        <a:pt x="112" y="358"/>
                      </a:lnTo>
                      <a:lnTo>
                        <a:pt x="110" y="362"/>
                      </a:lnTo>
                      <a:lnTo>
                        <a:pt x="108" y="362"/>
                      </a:lnTo>
                      <a:lnTo>
                        <a:pt x="106" y="362"/>
                      </a:lnTo>
                      <a:lnTo>
                        <a:pt x="104" y="362"/>
                      </a:lnTo>
                      <a:lnTo>
                        <a:pt x="106" y="362"/>
                      </a:lnTo>
                      <a:lnTo>
                        <a:pt x="106" y="364"/>
                      </a:lnTo>
                      <a:lnTo>
                        <a:pt x="104" y="364"/>
                      </a:lnTo>
                      <a:lnTo>
                        <a:pt x="102" y="366"/>
                      </a:lnTo>
                      <a:lnTo>
                        <a:pt x="100" y="366"/>
                      </a:lnTo>
                      <a:lnTo>
                        <a:pt x="96" y="368"/>
                      </a:lnTo>
                      <a:lnTo>
                        <a:pt x="96" y="370"/>
                      </a:lnTo>
                      <a:lnTo>
                        <a:pt x="94" y="370"/>
                      </a:lnTo>
                      <a:lnTo>
                        <a:pt x="94" y="374"/>
                      </a:lnTo>
                      <a:lnTo>
                        <a:pt x="88" y="380"/>
                      </a:lnTo>
                      <a:lnTo>
                        <a:pt x="84" y="380"/>
                      </a:lnTo>
                      <a:lnTo>
                        <a:pt x="84" y="378"/>
                      </a:lnTo>
                      <a:lnTo>
                        <a:pt x="84" y="376"/>
                      </a:lnTo>
                      <a:lnTo>
                        <a:pt x="86" y="374"/>
                      </a:lnTo>
                      <a:lnTo>
                        <a:pt x="86" y="368"/>
                      </a:lnTo>
                      <a:lnTo>
                        <a:pt x="84" y="370"/>
                      </a:lnTo>
                      <a:lnTo>
                        <a:pt x="86" y="370"/>
                      </a:lnTo>
                      <a:lnTo>
                        <a:pt x="86" y="372"/>
                      </a:lnTo>
                      <a:lnTo>
                        <a:pt x="84" y="372"/>
                      </a:lnTo>
                      <a:lnTo>
                        <a:pt x="84" y="374"/>
                      </a:lnTo>
                      <a:lnTo>
                        <a:pt x="84" y="376"/>
                      </a:lnTo>
                      <a:lnTo>
                        <a:pt x="82" y="376"/>
                      </a:lnTo>
                      <a:lnTo>
                        <a:pt x="84" y="374"/>
                      </a:lnTo>
                      <a:lnTo>
                        <a:pt x="84" y="372"/>
                      </a:lnTo>
                      <a:lnTo>
                        <a:pt x="82" y="374"/>
                      </a:lnTo>
                      <a:lnTo>
                        <a:pt x="82" y="376"/>
                      </a:lnTo>
                      <a:lnTo>
                        <a:pt x="82" y="378"/>
                      </a:lnTo>
                      <a:lnTo>
                        <a:pt x="80" y="378"/>
                      </a:lnTo>
                      <a:lnTo>
                        <a:pt x="78" y="376"/>
                      </a:lnTo>
                      <a:lnTo>
                        <a:pt x="78" y="370"/>
                      </a:lnTo>
                      <a:lnTo>
                        <a:pt x="80" y="370"/>
                      </a:lnTo>
                      <a:lnTo>
                        <a:pt x="82" y="370"/>
                      </a:lnTo>
                      <a:lnTo>
                        <a:pt x="80" y="368"/>
                      </a:lnTo>
                      <a:lnTo>
                        <a:pt x="78" y="370"/>
                      </a:lnTo>
                      <a:lnTo>
                        <a:pt x="78" y="372"/>
                      </a:lnTo>
                      <a:lnTo>
                        <a:pt x="78" y="374"/>
                      </a:lnTo>
                      <a:lnTo>
                        <a:pt x="78" y="376"/>
                      </a:lnTo>
                      <a:lnTo>
                        <a:pt x="78" y="378"/>
                      </a:lnTo>
                      <a:lnTo>
                        <a:pt x="74" y="380"/>
                      </a:lnTo>
                      <a:lnTo>
                        <a:pt x="72" y="378"/>
                      </a:lnTo>
                      <a:lnTo>
                        <a:pt x="72" y="376"/>
                      </a:lnTo>
                      <a:lnTo>
                        <a:pt x="72" y="374"/>
                      </a:lnTo>
                      <a:lnTo>
                        <a:pt x="72" y="372"/>
                      </a:lnTo>
                      <a:lnTo>
                        <a:pt x="72" y="370"/>
                      </a:lnTo>
                      <a:lnTo>
                        <a:pt x="72" y="368"/>
                      </a:lnTo>
                      <a:lnTo>
                        <a:pt x="72" y="366"/>
                      </a:lnTo>
                      <a:lnTo>
                        <a:pt x="74" y="366"/>
                      </a:lnTo>
                      <a:lnTo>
                        <a:pt x="76" y="366"/>
                      </a:lnTo>
                      <a:lnTo>
                        <a:pt x="72" y="366"/>
                      </a:lnTo>
                      <a:lnTo>
                        <a:pt x="72" y="368"/>
                      </a:lnTo>
                      <a:lnTo>
                        <a:pt x="72" y="370"/>
                      </a:lnTo>
                      <a:lnTo>
                        <a:pt x="72" y="372"/>
                      </a:lnTo>
                      <a:lnTo>
                        <a:pt x="68" y="376"/>
                      </a:lnTo>
                      <a:lnTo>
                        <a:pt x="66" y="376"/>
                      </a:lnTo>
                      <a:lnTo>
                        <a:pt x="66" y="374"/>
                      </a:lnTo>
                      <a:lnTo>
                        <a:pt x="66" y="372"/>
                      </a:lnTo>
                      <a:lnTo>
                        <a:pt x="68" y="372"/>
                      </a:lnTo>
                      <a:lnTo>
                        <a:pt x="70" y="370"/>
                      </a:lnTo>
                      <a:lnTo>
                        <a:pt x="70" y="368"/>
                      </a:lnTo>
                      <a:lnTo>
                        <a:pt x="68" y="370"/>
                      </a:lnTo>
                      <a:lnTo>
                        <a:pt x="68" y="372"/>
                      </a:lnTo>
                      <a:lnTo>
                        <a:pt x="64" y="374"/>
                      </a:lnTo>
                      <a:lnTo>
                        <a:pt x="66" y="370"/>
                      </a:lnTo>
                      <a:lnTo>
                        <a:pt x="66" y="362"/>
                      </a:lnTo>
                      <a:lnTo>
                        <a:pt x="64" y="364"/>
                      </a:lnTo>
                      <a:lnTo>
                        <a:pt x="62" y="364"/>
                      </a:lnTo>
                      <a:lnTo>
                        <a:pt x="62" y="368"/>
                      </a:lnTo>
                      <a:lnTo>
                        <a:pt x="58" y="372"/>
                      </a:lnTo>
                      <a:lnTo>
                        <a:pt x="56" y="374"/>
                      </a:lnTo>
                      <a:lnTo>
                        <a:pt x="54" y="372"/>
                      </a:lnTo>
                      <a:lnTo>
                        <a:pt x="56" y="358"/>
                      </a:lnTo>
                      <a:lnTo>
                        <a:pt x="58" y="356"/>
                      </a:lnTo>
                      <a:lnTo>
                        <a:pt x="60" y="346"/>
                      </a:lnTo>
                      <a:lnTo>
                        <a:pt x="62" y="344"/>
                      </a:lnTo>
                      <a:lnTo>
                        <a:pt x="62" y="338"/>
                      </a:lnTo>
                      <a:lnTo>
                        <a:pt x="64" y="334"/>
                      </a:lnTo>
                      <a:lnTo>
                        <a:pt x="64" y="332"/>
                      </a:lnTo>
                      <a:lnTo>
                        <a:pt x="64" y="330"/>
                      </a:lnTo>
                      <a:lnTo>
                        <a:pt x="64" y="328"/>
                      </a:lnTo>
                      <a:lnTo>
                        <a:pt x="66" y="328"/>
                      </a:lnTo>
                      <a:lnTo>
                        <a:pt x="64" y="326"/>
                      </a:lnTo>
                      <a:lnTo>
                        <a:pt x="62" y="316"/>
                      </a:lnTo>
                      <a:lnTo>
                        <a:pt x="62" y="314"/>
                      </a:lnTo>
                      <a:lnTo>
                        <a:pt x="62" y="312"/>
                      </a:lnTo>
                      <a:lnTo>
                        <a:pt x="60" y="304"/>
                      </a:lnTo>
                      <a:lnTo>
                        <a:pt x="58" y="304"/>
                      </a:lnTo>
                      <a:lnTo>
                        <a:pt x="56" y="300"/>
                      </a:lnTo>
                      <a:lnTo>
                        <a:pt x="56" y="294"/>
                      </a:lnTo>
                      <a:lnTo>
                        <a:pt x="52" y="290"/>
                      </a:lnTo>
                      <a:lnTo>
                        <a:pt x="52" y="292"/>
                      </a:lnTo>
                      <a:lnTo>
                        <a:pt x="50" y="290"/>
                      </a:lnTo>
                      <a:lnTo>
                        <a:pt x="50" y="288"/>
                      </a:lnTo>
                      <a:lnTo>
                        <a:pt x="50" y="284"/>
                      </a:lnTo>
                      <a:lnTo>
                        <a:pt x="50" y="282"/>
                      </a:lnTo>
                      <a:lnTo>
                        <a:pt x="50" y="280"/>
                      </a:lnTo>
                      <a:lnTo>
                        <a:pt x="48" y="282"/>
                      </a:lnTo>
                      <a:lnTo>
                        <a:pt x="46" y="280"/>
                      </a:lnTo>
                      <a:lnTo>
                        <a:pt x="44" y="278"/>
                      </a:lnTo>
                      <a:lnTo>
                        <a:pt x="46" y="278"/>
                      </a:lnTo>
                      <a:lnTo>
                        <a:pt x="48" y="276"/>
                      </a:lnTo>
                      <a:lnTo>
                        <a:pt x="48" y="272"/>
                      </a:lnTo>
                      <a:lnTo>
                        <a:pt x="46" y="272"/>
                      </a:lnTo>
                      <a:lnTo>
                        <a:pt x="44" y="270"/>
                      </a:lnTo>
                      <a:lnTo>
                        <a:pt x="42" y="268"/>
                      </a:lnTo>
                      <a:lnTo>
                        <a:pt x="40" y="264"/>
                      </a:lnTo>
                      <a:lnTo>
                        <a:pt x="38" y="266"/>
                      </a:lnTo>
                      <a:lnTo>
                        <a:pt x="38" y="264"/>
                      </a:lnTo>
                      <a:lnTo>
                        <a:pt x="38" y="260"/>
                      </a:lnTo>
                      <a:lnTo>
                        <a:pt x="40" y="260"/>
                      </a:lnTo>
                      <a:lnTo>
                        <a:pt x="42" y="260"/>
                      </a:lnTo>
                      <a:lnTo>
                        <a:pt x="40" y="258"/>
                      </a:lnTo>
                      <a:lnTo>
                        <a:pt x="38" y="260"/>
                      </a:lnTo>
                      <a:lnTo>
                        <a:pt x="36" y="260"/>
                      </a:lnTo>
                      <a:lnTo>
                        <a:pt x="36" y="258"/>
                      </a:lnTo>
                      <a:lnTo>
                        <a:pt x="34" y="258"/>
                      </a:lnTo>
                      <a:lnTo>
                        <a:pt x="32" y="258"/>
                      </a:lnTo>
                      <a:lnTo>
                        <a:pt x="32" y="256"/>
                      </a:lnTo>
                      <a:lnTo>
                        <a:pt x="26" y="256"/>
                      </a:lnTo>
                      <a:lnTo>
                        <a:pt x="28" y="262"/>
                      </a:lnTo>
                      <a:lnTo>
                        <a:pt x="26" y="262"/>
                      </a:lnTo>
                      <a:lnTo>
                        <a:pt x="26" y="260"/>
                      </a:lnTo>
                      <a:lnTo>
                        <a:pt x="26" y="258"/>
                      </a:lnTo>
                      <a:lnTo>
                        <a:pt x="24" y="258"/>
                      </a:lnTo>
                      <a:lnTo>
                        <a:pt x="26" y="264"/>
                      </a:lnTo>
                      <a:lnTo>
                        <a:pt x="24" y="262"/>
                      </a:lnTo>
                      <a:lnTo>
                        <a:pt x="20" y="254"/>
                      </a:lnTo>
                      <a:lnTo>
                        <a:pt x="24" y="252"/>
                      </a:lnTo>
                      <a:lnTo>
                        <a:pt x="22" y="252"/>
                      </a:lnTo>
                      <a:lnTo>
                        <a:pt x="20" y="252"/>
                      </a:lnTo>
                      <a:lnTo>
                        <a:pt x="22" y="246"/>
                      </a:lnTo>
                      <a:lnTo>
                        <a:pt x="24" y="242"/>
                      </a:lnTo>
                      <a:lnTo>
                        <a:pt x="24" y="240"/>
                      </a:lnTo>
                      <a:lnTo>
                        <a:pt x="22" y="244"/>
                      </a:lnTo>
                      <a:lnTo>
                        <a:pt x="22" y="248"/>
                      </a:lnTo>
                      <a:lnTo>
                        <a:pt x="18" y="254"/>
                      </a:lnTo>
                      <a:lnTo>
                        <a:pt x="14" y="252"/>
                      </a:lnTo>
                      <a:lnTo>
                        <a:pt x="16" y="250"/>
                      </a:lnTo>
                      <a:lnTo>
                        <a:pt x="18" y="248"/>
                      </a:lnTo>
                      <a:lnTo>
                        <a:pt x="16" y="246"/>
                      </a:lnTo>
                      <a:lnTo>
                        <a:pt x="16" y="242"/>
                      </a:lnTo>
                      <a:lnTo>
                        <a:pt x="12" y="236"/>
                      </a:lnTo>
                      <a:lnTo>
                        <a:pt x="12" y="240"/>
                      </a:lnTo>
                      <a:lnTo>
                        <a:pt x="14" y="240"/>
                      </a:lnTo>
                      <a:lnTo>
                        <a:pt x="14" y="250"/>
                      </a:lnTo>
                      <a:lnTo>
                        <a:pt x="14" y="248"/>
                      </a:lnTo>
                      <a:lnTo>
                        <a:pt x="12" y="248"/>
                      </a:lnTo>
                      <a:lnTo>
                        <a:pt x="10" y="244"/>
                      </a:lnTo>
                      <a:lnTo>
                        <a:pt x="6" y="238"/>
                      </a:lnTo>
                      <a:lnTo>
                        <a:pt x="4" y="238"/>
                      </a:lnTo>
                      <a:lnTo>
                        <a:pt x="4" y="236"/>
                      </a:lnTo>
                      <a:lnTo>
                        <a:pt x="4" y="234"/>
                      </a:lnTo>
                      <a:lnTo>
                        <a:pt x="2" y="230"/>
                      </a:lnTo>
                      <a:lnTo>
                        <a:pt x="2" y="226"/>
                      </a:lnTo>
                      <a:lnTo>
                        <a:pt x="0" y="224"/>
                      </a:lnTo>
                      <a:lnTo>
                        <a:pt x="0" y="216"/>
                      </a:lnTo>
                      <a:lnTo>
                        <a:pt x="4" y="214"/>
                      </a:lnTo>
                      <a:lnTo>
                        <a:pt x="8" y="216"/>
                      </a:lnTo>
                      <a:lnTo>
                        <a:pt x="10" y="220"/>
                      </a:lnTo>
                      <a:lnTo>
                        <a:pt x="12" y="220"/>
                      </a:lnTo>
                      <a:lnTo>
                        <a:pt x="12" y="218"/>
                      </a:lnTo>
                      <a:lnTo>
                        <a:pt x="12" y="216"/>
                      </a:lnTo>
                      <a:lnTo>
                        <a:pt x="10" y="216"/>
                      </a:lnTo>
                      <a:lnTo>
                        <a:pt x="10" y="204"/>
                      </a:lnTo>
                      <a:lnTo>
                        <a:pt x="10" y="202"/>
                      </a:lnTo>
                      <a:lnTo>
                        <a:pt x="10" y="200"/>
                      </a:lnTo>
                      <a:lnTo>
                        <a:pt x="12" y="198"/>
                      </a:lnTo>
                      <a:lnTo>
                        <a:pt x="14" y="196"/>
                      </a:lnTo>
                      <a:lnTo>
                        <a:pt x="14" y="194"/>
                      </a:lnTo>
                      <a:lnTo>
                        <a:pt x="18" y="196"/>
                      </a:lnTo>
                      <a:lnTo>
                        <a:pt x="18" y="198"/>
                      </a:lnTo>
                      <a:lnTo>
                        <a:pt x="20" y="198"/>
                      </a:lnTo>
                      <a:lnTo>
                        <a:pt x="22" y="192"/>
                      </a:lnTo>
                      <a:lnTo>
                        <a:pt x="24" y="192"/>
                      </a:lnTo>
                      <a:lnTo>
                        <a:pt x="24" y="194"/>
                      </a:lnTo>
                      <a:lnTo>
                        <a:pt x="26" y="194"/>
                      </a:lnTo>
                      <a:lnTo>
                        <a:pt x="26" y="190"/>
                      </a:lnTo>
                      <a:lnTo>
                        <a:pt x="26" y="188"/>
                      </a:lnTo>
                      <a:lnTo>
                        <a:pt x="26" y="186"/>
                      </a:lnTo>
                      <a:lnTo>
                        <a:pt x="26" y="184"/>
                      </a:lnTo>
                      <a:lnTo>
                        <a:pt x="24" y="182"/>
                      </a:lnTo>
                      <a:lnTo>
                        <a:pt x="24" y="178"/>
                      </a:lnTo>
                      <a:lnTo>
                        <a:pt x="24" y="176"/>
                      </a:lnTo>
                      <a:lnTo>
                        <a:pt x="24" y="172"/>
                      </a:lnTo>
                      <a:lnTo>
                        <a:pt x="26" y="170"/>
                      </a:lnTo>
                      <a:lnTo>
                        <a:pt x="24" y="168"/>
                      </a:lnTo>
                      <a:lnTo>
                        <a:pt x="26" y="168"/>
                      </a:lnTo>
                      <a:lnTo>
                        <a:pt x="28" y="168"/>
                      </a:lnTo>
                      <a:lnTo>
                        <a:pt x="30" y="168"/>
                      </a:lnTo>
                      <a:lnTo>
                        <a:pt x="32" y="162"/>
                      </a:lnTo>
                      <a:lnTo>
                        <a:pt x="32" y="158"/>
                      </a:lnTo>
                      <a:lnTo>
                        <a:pt x="32" y="156"/>
                      </a:lnTo>
                      <a:lnTo>
                        <a:pt x="32" y="150"/>
                      </a:lnTo>
                      <a:lnTo>
                        <a:pt x="32" y="140"/>
                      </a:lnTo>
                      <a:lnTo>
                        <a:pt x="30" y="140"/>
                      </a:lnTo>
                      <a:lnTo>
                        <a:pt x="30" y="136"/>
                      </a:lnTo>
                      <a:lnTo>
                        <a:pt x="32" y="136"/>
                      </a:lnTo>
                      <a:lnTo>
                        <a:pt x="32" y="138"/>
                      </a:lnTo>
                      <a:lnTo>
                        <a:pt x="34" y="140"/>
                      </a:lnTo>
                      <a:lnTo>
                        <a:pt x="38" y="140"/>
                      </a:lnTo>
                      <a:lnTo>
                        <a:pt x="38" y="138"/>
                      </a:lnTo>
                      <a:lnTo>
                        <a:pt x="40" y="138"/>
                      </a:lnTo>
                      <a:lnTo>
                        <a:pt x="42" y="140"/>
                      </a:lnTo>
                      <a:lnTo>
                        <a:pt x="44" y="140"/>
                      </a:lnTo>
                      <a:lnTo>
                        <a:pt x="46" y="140"/>
                      </a:lnTo>
                      <a:lnTo>
                        <a:pt x="52" y="144"/>
                      </a:lnTo>
                      <a:lnTo>
                        <a:pt x="62" y="122"/>
                      </a:lnTo>
                      <a:lnTo>
                        <a:pt x="68" y="108"/>
                      </a:lnTo>
                      <a:lnTo>
                        <a:pt x="68" y="106"/>
                      </a:lnTo>
                      <a:lnTo>
                        <a:pt x="66" y="104"/>
                      </a:lnTo>
                      <a:lnTo>
                        <a:pt x="64" y="104"/>
                      </a:lnTo>
                      <a:lnTo>
                        <a:pt x="66" y="96"/>
                      </a:lnTo>
                      <a:lnTo>
                        <a:pt x="66" y="94"/>
                      </a:lnTo>
                      <a:lnTo>
                        <a:pt x="68" y="94"/>
                      </a:lnTo>
                      <a:lnTo>
                        <a:pt x="70" y="94"/>
                      </a:lnTo>
                      <a:lnTo>
                        <a:pt x="76" y="88"/>
                      </a:lnTo>
                      <a:lnTo>
                        <a:pt x="78" y="80"/>
                      </a:lnTo>
                      <a:lnTo>
                        <a:pt x="80" y="78"/>
                      </a:lnTo>
                      <a:lnTo>
                        <a:pt x="80" y="76"/>
                      </a:lnTo>
                      <a:lnTo>
                        <a:pt x="78" y="74"/>
                      </a:lnTo>
                      <a:lnTo>
                        <a:pt x="78" y="70"/>
                      </a:lnTo>
                      <a:lnTo>
                        <a:pt x="78" y="64"/>
                      </a:lnTo>
                      <a:lnTo>
                        <a:pt x="80" y="60"/>
                      </a:lnTo>
                      <a:lnTo>
                        <a:pt x="82" y="58"/>
                      </a:lnTo>
                      <a:lnTo>
                        <a:pt x="84" y="58"/>
                      </a:lnTo>
                      <a:lnTo>
                        <a:pt x="86" y="58"/>
                      </a:lnTo>
                      <a:lnTo>
                        <a:pt x="88" y="58"/>
                      </a:lnTo>
                      <a:lnTo>
                        <a:pt x="90" y="56"/>
                      </a:lnTo>
                      <a:lnTo>
                        <a:pt x="90" y="54"/>
                      </a:lnTo>
                      <a:lnTo>
                        <a:pt x="92" y="54"/>
                      </a:lnTo>
                      <a:lnTo>
                        <a:pt x="98" y="48"/>
                      </a:lnTo>
                      <a:lnTo>
                        <a:pt x="100" y="48"/>
                      </a:lnTo>
                      <a:lnTo>
                        <a:pt x="102" y="46"/>
                      </a:lnTo>
                      <a:lnTo>
                        <a:pt x="102" y="44"/>
                      </a:lnTo>
                      <a:lnTo>
                        <a:pt x="106" y="40"/>
                      </a:lnTo>
                      <a:lnTo>
                        <a:pt x="108" y="40"/>
                      </a:lnTo>
                      <a:lnTo>
                        <a:pt x="110" y="40"/>
                      </a:lnTo>
                      <a:lnTo>
                        <a:pt x="116" y="38"/>
                      </a:lnTo>
                      <a:lnTo>
                        <a:pt x="120" y="36"/>
                      </a:lnTo>
                      <a:lnTo>
                        <a:pt x="124" y="36"/>
                      </a:lnTo>
                      <a:lnTo>
                        <a:pt x="124" y="38"/>
                      </a:lnTo>
                      <a:lnTo>
                        <a:pt x="126" y="38"/>
                      </a:lnTo>
                      <a:lnTo>
                        <a:pt x="126" y="40"/>
                      </a:lnTo>
                      <a:lnTo>
                        <a:pt x="126" y="42"/>
                      </a:lnTo>
                      <a:lnTo>
                        <a:pt x="128" y="42"/>
                      </a:lnTo>
                      <a:lnTo>
                        <a:pt x="130" y="44"/>
                      </a:lnTo>
                      <a:lnTo>
                        <a:pt x="132" y="46"/>
                      </a:lnTo>
                      <a:lnTo>
                        <a:pt x="134" y="46"/>
                      </a:lnTo>
                      <a:lnTo>
                        <a:pt x="134" y="44"/>
                      </a:lnTo>
                      <a:lnTo>
                        <a:pt x="128" y="34"/>
                      </a:lnTo>
                      <a:lnTo>
                        <a:pt x="128" y="30"/>
                      </a:lnTo>
                      <a:lnTo>
                        <a:pt x="128" y="28"/>
                      </a:lnTo>
                      <a:lnTo>
                        <a:pt x="140" y="18"/>
                      </a:lnTo>
                      <a:lnTo>
                        <a:pt x="142" y="18"/>
                      </a:lnTo>
                      <a:lnTo>
                        <a:pt x="140" y="16"/>
                      </a:lnTo>
                      <a:lnTo>
                        <a:pt x="140" y="14"/>
                      </a:lnTo>
                      <a:lnTo>
                        <a:pt x="140" y="12"/>
                      </a:lnTo>
                      <a:lnTo>
                        <a:pt x="140" y="10"/>
                      </a:lnTo>
                      <a:lnTo>
                        <a:pt x="142" y="8"/>
                      </a:lnTo>
                      <a:lnTo>
                        <a:pt x="144" y="8"/>
                      </a:lnTo>
                      <a:lnTo>
                        <a:pt x="144" y="6"/>
                      </a:lnTo>
                      <a:lnTo>
                        <a:pt x="144" y="4"/>
                      </a:lnTo>
                      <a:lnTo>
                        <a:pt x="146" y="0"/>
                      </a:lnTo>
                      <a:lnTo>
                        <a:pt x="150" y="0"/>
                      </a:lnTo>
                      <a:lnTo>
                        <a:pt x="150" y="2"/>
                      </a:lnTo>
                      <a:lnTo>
                        <a:pt x="150" y="4"/>
                      </a:lnTo>
                      <a:lnTo>
                        <a:pt x="152" y="6"/>
                      </a:lnTo>
                      <a:lnTo>
                        <a:pt x="154" y="6"/>
                      </a:lnTo>
                      <a:lnTo>
                        <a:pt x="158" y="8"/>
                      </a:lnTo>
                      <a:lnTo>
                        <a:pt x="158" y="10"/>
                      </a:lnTo>
                      <a:lnTo>
                        <a:pt x="162" y="12"/>
                      </a:lnTo>
                      <a:lnTo>
                        <a:pt x="162" y="18"/>
                      </a:lnTo>
                      <a:lnTo>
                        <a:pt x="166" y="28"/>
                      </a:lnTo>
                      <a:lnTo>
                        <a:pt x="166" y="30"/>
                      </a:lnTo>
                      <a:lnTo>
                        <a:pt x="166" y="32"/>
                      </a:lnTo>
                      <a:lnTo>
                        <a:pt x="168" y="32"/>
                      </a:lnTo>
                      <a:lnTo>
                        <a:pt x="170" y="30"/>
                      </a:lnTo>
                      <a:lnTo>
                        <a:pt x="170" y="28"/>
                      </a:lnTo>
                      <a:lnTo>
                        <a:pt x="176" y="30"/>
                      </a:lnTo>
                      <a:lnTo>
                        <a:pt x="178" y="32"/>
                      </a:lnTo>
                      <a:lnTo>
                        <a:pt x="176" y="34"/>
                      </a:lnTo>
                      <a:lnTo>
                        <a:pt x="178" y="36"/>
                      </a:lnTo>
                      <a:lnTo>
                        <a:pt x="178" y="38"/>
                      </a:lnTo>
                      <a:lnTo>
                        <a:pt x="178" y="40"/>
                      </a:lnTo>
                      <a:lnTo>
                        <a:pt x="178" y="70"/>
                      </a:lnTo>
                      <a:lnTo>
                        <a:pt x="178" y="72"/>
                      </a:lnTo>
                      <a:lnTo>
                        <a:pt x="178" y="74"/>
                      </a:lnTo>
                      <a:lnTo>
                        <a:pt x="176" y="76"/>
                      </a:lnTo>
                      <a:lnTo>
                        <a:pt x="176" y="74"/>
                      </a:lnTo>
                      <a:lnTo>
                        <a:pt x="174" y="74"/>
                      </a:lnTo>
                      <a:lnTo>
                        <a:pt x="174" y="76"/>
                      </a:lnTo>
                      <a:lnTo>
                        <a:pt x="176" y="80"/>
                      </a:lnTo>
                      <a:lnTo>
                        <a:pt x="178" y="82"/>
                      </a:lnTo>
                      <a:lnTo>
                        <a:pt x="176" y="84"/>
                      </a:lnTo>
                      <a:lnTo>
                        <a:pt x="174" y="84"/>
                      </a:lnTo>
                      <a:lnTo>
                        <a:pt x="172" y="84"/>
                      </a:lnTo>
                      <a:lnTo>
                        <a:pt x="172" y="86"/>
                      </a:lnTo>
                      <a:lnTo>
                        <a:pt x="170" y="88"/>
                      </a:lnTo>
                      <a:lnTo>
                        <a:pt x="168" y="92"/>
                      </a:lnTo>
                      <a:lnTo>
                        <a:pt x="166" y="92"/>
                      </a:lnTo>
                      <a:lnTo>
                        <a:pt x="164" y="92"/>
                      </a:lnTo>
                      <a:lnTo>
                        <a:pt x="164" y="90"/>
                      </a:lnTo>
                      <a:lnTo>
                        <a:pt x="162" y="92"/>
                      </a:lnTo>
                      <a:lnTo>
                        <a:pt x="162" y="96"/>
                      </a:lnTo>
                      <a:lnTo>
                        <a:pt x="156" y="102"/>
                      </a:lnTo>
                      <a:lnTo>
                        <a:pt x="154" y="102"/>
                      </a:lnTo>
                      <a:lnTo>
                        <a:pt x="154" y="100"/>
                      </a:lnTo>
                      <a:lnTo>
                        <a:pt x="152" y="102"/>
                      </a:lnTo>
                      <a:lnTo>
                        <a:pt x="152" y="106"/>
                      </a:lnTo>
                      <a:lnTo>
                        <a:pt x="150" y="106"/>
                      </a:lnTo>
                      <a:lnTo>
                        <a:pt x="150" y="112"/>
                      </a:lnTo>
                      <a:lnTo>
                        <a:pt x="150" y="114"/>
                      </a:lnTo>
                      <a:lnTo>
                        <a:pt x="146" y="118"/>
                      </a:lnTo>
                      <a:lnTo>
                        <a:pt x="146" y="124"/>
                      </a:lnTo>
                      <a:lnTo>
                        <a:pt x="150" y="126"/>
                      </a:lnTo>
                      <a:lnTo>
                        <a:pt x="152" y="132"/>
                      </a:lnTo>
                      <a:lnTo>
                        <a:pt x="150" y="134"/>
                      </a:lnTo>
                      <a:lnTo>
                        <a:pt x="146" y="140"/>
                      </a:lnTo>
                      <a:lnTo>
                        <a:pt x="148" y="142"/>
                      </a:lnTo>
                      <a:lnTo>
                        <a:pt x="148" y="144"/>
                      </a:lnTo>
                      <a:lnTo>
                        <a:pt x="154" y="138"/>
                      </a:lnTo>
                      <a:lnTo>
                        <a:pt x="156" y="138"/>
                      </a:lnTo>
                      <a:lnTo>
                        <a:pt x="162" y="136"/>
                      </a:lnTo>
                      <a:lnTo>
                        <a:pt x="164" y="134"/>
                      </a:lnTo>
                      <a:lnTo>
                        <a:pt x="172" y="134"/>
                      </a:lnTo>
                      <a:lnTo>
                        <a:pt x="174" y="136"/>
                      </a:lnTo>
                      <a:lnTo>
                        <a:pt x="182" y="134"/>
                      </a:lnTo>
                      <a:lnTo>
                        <a:pt x="182" y="136"/>
                      </a:lnTo>
                      <a:lnTo>
                        <a:pt x="182" y="138"/>
                      </a:lnTo>
                      <a:lnTo>
                        <a:pt x="178" y="140"/>
                      </a:lnTo>
                      <a:lnTo>
                        <a:pt x="176" y="140"/>
                      </a:lnTo>
                      <a:lnTo>
                        <a:pt x="176" y="144"/>
                      </a:lnTo>
                      <a:lnTo>
                        <a:pt x="180" y="146"/>
                      </a:lnTo>
                      <a:lnTo>
                        <a:pt x="182" y="150"/>
                      </a:lnTo>
                      <a:lnTo>
                        <a:pt x="180" y="152"/>
                      </a:lnTo>
                      <a:lnTo>
                        <a:pt x="180" y="154"/>
                      </a:lnTo>
                      <a:lnTo>
                        <a:pt x="182" y="154"/>
                      </a:lnTo>
                      <a:lnTo>
                        <a:pt x="182" y="156"/>
                      </a:lnTo>
                      <a:lnTo>
                        <a:pt x="184" y="156"/>
                      </a:lnTo>
                      <a:lnTo>
                        <a:pt x="184" y="164"/>
                      </a:lnTo>
                      <a:lnTo>
                        <a:pt x="188" y="166"/>
                      </a:lnTo>
                      <a:lnTo>
                        <a:pt x="192" y="166"/>
                      </a:lnTo>
                      <a:lnTo>
                        <a:pt x="196" y="164"/>
                      </a:lnTo>
                      <a:lnTo>
                        <a:pt x="200" y="166"/>
                      </a:lnTo>
                      <a:lnTo>
                        <a:pt x="200" y="170"/>
                      </a:lnTo>
                      <a:lnTo>
                        <a:pt x="200" y="172"/>
                      </a:lnTo>
                      <a:lnTo>
                        <a:pt x="198" y="172"/>
                      </a:lnTo>
                      <a:lnTo>
                        <a:pt x="194" y="178"/>
                      </a:lnTo>
                      <a:lnTo>
                        <a:pt x="196" y="182"/>
                      </a:lnTo>
                      <a:lnTo>
                        <a:pt x="196" y="184"/>
                      </a:lnTo>
                      <a:lnTo>
                        <a:pt x="196" y="186"/>
                      </a:lnTo>
                      <a:lnTo>
                        <a:pt x="194" y="186"/>
                      </a:lnTo>
                      <a:lnTo>
                        <a:pt x="190" y="194"/>
                      </a:lnTo>
                      <a:lnTo>
                        <a:pt x="196" y="196"/>
                      </a:lnTo>
                      <a:lnTo>
                        <a:pt x="196" y="194"/>
                      </a:lnTo>
                      <a:lnTo>
                        <a:pt x="204" y="196"/>
                      </a:lnTo>
                      <a:lnTo>
                        <a:pt x="204" y="198"/>
                      </a:lnTo>
                      <a:lnTo>
                        <a:pt x="206" y="196"/>
                      </a:lnTo>
                      <a:lnTo>
                        <a:pt x="210" y="196"/>
                      </a:lnTo>
                      <a:lnTo>
                        <a:pt x="212" y="198"/>
                      </a:lnTo>
                      <a:lnTo>
                        <a:pt x="212" y="200"/>
                      </a:lnTo>
                      <a:lnTo>
                        <a:pt x="212" y="202"/>
                      </a:lnTo>
                      <a:lnTo>
                        <a:pt x="212" y="208"/>
                      </a:lnTo>
                      <a:lnTo>
                        <a:pt x="214" y="208"/>
                      </a:lnTo>
                      <a:lnTo>
                        <a:pt x="216" y="210"/>
                      </a:lnTo>
                      <a:lnTo>
                        <a:pt x="216" y="212"/>
                      </a:lnTo>
                      <a:lnTo>
                        <a:pt x="218" y="216"/>
                      </a:lnTo>
                      <a:lnTo>
                        <a:pt x="220" y="214"/>
                      </a:lnTo>
                      <a:lnTo>
                        <a:pt x="222" y="212"/>
                      </a:lnTo>
                      <a:lnTo>
                        <a:pt x="224" y="212"/>
                      </a:lnTo>
                      <a:lnTo>
                        <a:pt x="226" y="214"/>
                      </a:lnTo>
                      <a:lnTo>
                        <a:pt x="228" y="214"/>
                      </a:lnTo>
                      <a:lnTo>
                        <a:pt x="232" y="212"/>
                      </a:lnTo>
                      <a:lnTo>
                        <a:pt x="236" y="208"/>
                      </a:lnTo>
                      <a:lnTo>
                        <a:pt x="242" y="206"/>
                      </a:lnTo>
                      <a:lnTo>
                        <a:pt x="244" y="210"/>
                      </a:lnTo>
                      <a:lnTo>
                        <a:pt x="244" y="212"/>
                      </a:lnTo>
                      <a:lnTo>
                        <a:pt x="244" y="214"/>
                      </a:lnTo>
                      <a:lnTo>
                        <a:pt x="236" y="218"/>
                      </a:lnTo>
                      <a:lnTo>
                        <a:pt x="232" y="218"/>
                      </a:lnTo>
                      <a:lnTo>
                        <a:pt x="232" y="222"/>
                      </a:lnTo>
                      <a:lnTo>
                        <a:pt x="228" y="228"/>
                      </a:lnTo>
                      <a:lnTo>
                        <a:pt x="226" y="228"/>
                      </a:lnTo>
                      <a:lnTo>
                        <a:pt x="226" y="232"/>
                      </a:lnTo>
                      <a:lnTo>
                        <a:pt x="230" y="232"/>
                      </a:lnTo>
                      <a:lnTo>
                        <a:pt x="228" y="234"/>
                      </a:lnTo>
                      <a:lnTo>
                        <a:pt x="222" y="234"/>
                      </a:lnTo>
                      <a:lnTo>
                        <a:pt x="220" y="234"/>
                      </a:lnTo>
                      <a:lnTo>
                        <a:pt x="218" y="236"/>
                      </a:lnTo>
                      <a:lnTo>
                        <a:pt x="216" y="240"/>
                      </a:lnTo>
                      <a:lnTo>
                        <a:pt x="216" y="242"/>
                      </a:lnTo>
                      <a:lnTo>
                        <a:pt x="216" y="246"/>
                      </a:lnTo>
                      <a:lnTo>
                        <a:pt x="214" y="246"/>
                      </a:lnTo>
                      <a:lnTo>
                        <a:pt x="212" y="246"/>
                      </a:lnTo>
                      <a:lnTo>
                        <a:pt x="212" y="244"/>
                      </a:lnTo>
                      <a:lnTo>
                        <a:pt x="208" y="244"/>
                      </a:lnTo>
                      <a:lnTo>
                        <a:pt x="208" y="246"/>
                      </a:lnTo>
                      <a:lnTo>
                        <a:pt x="208" y="248"/>
                      </a:lnTo>
                      <a:lnTo>
                        <a:pt x="202" y="248"/>
                      </a:lnTo>
                      <a:lnTo>
                        <a:pt x="200" y="246"/>
                      </a:lnTo>
                      <a:lnTo>
                        <a:pt x="198" y="248"/>
                      </a:lnTo>
                      <a:lnTo>
                        <a:pt x="200" y="252"/>
                      </a:lnTo>
                      <a:lnTo>
                        <a:pt x="198" y="254"/>
                      </a:lnTo>
                      <a:lnTo>
                        <a:pt x="194" y="256"/>
                      </a:lnTo>
                      <a:lnTo>
                        <a:pt x="192" y="254"/>
                      </a:lnTo>
                      <a:lnTo>
                        <a:pt x="190" y="254"/>
                      </a:lnTo>
                      <a:lnTo>
                        <a:pt x="188" y="254"/>
                      </a:lnTo>
                      <a:lnTo>
                        <a:pt x="186" y="256"/>
                      </a:lnTo>
                      <a:lnTo>
                        <a:pt x="186" y="260"/>
                      </a:lnTo>
                      <a:lnTo>
                        <a:pt x="186" y="262"/>
                      </a:lnTo>
                      <a:lnTo>
                        <a:pt x="184" y="264"/>
                      </a:lnTo>
                      <a:lnTo>
                        <a:pt x="182" y="264"/>
                      </a:lnTo>
                      <a:lnTo>
                        <a:pt x="180" y="262"/>
                      </a:lnTo>
                      <a:lnTo>
                        <a:pt x="172" y="266"/>
                      </a:lnTo>
                      <a:lnTo>
                        <a:pt x="164" y="266"/>
                      </a:lnTo>
                      <a:lnTo>
                        <a:pt x="162" y="264"/>
                      </a:lnTo>
                      <a:lnTo>
                        <a:pt x="160" y="262"/>
                      </a:lnTo>
                      <a:lnTo>
                        <a:pt x="160" y="264"/>
                      </a:lnTo>
                      <a:lnTo>
                        <a:pt x="158" y="266"/>
                      </a:lnTo>
                      <a:lnTo>
                        <a:pt x="160" y="266"/>
                      </a:lnTo>
                      <a:lnTo>
                        <a:pt x="160" y="268"/>
                      </a:lnTo>
                      <a:lnTo>
                        <a:pt x="154" y="270"/>
                      </a:lnTo>
                      <a:lnTo>
                        <a:pt x="152" y="274"/>
                      </a:lnTo>
                      <a:lnTo>
                        <a:pt x="152" y="276"/>
                      </a:lnTo>
                      <a:lnTo>
                        <a:pt x="154" y="278"/>
                      </a:lnTo>
                      <a:lnTo>
                        <a:pt x="154" y="284"/>
                      </a:lnTo>
                      <a:lnTo>
                        <a:pt x="152" y="284"/>
                      </a:lnTo>
                      <a:lnTo>
                        <a:pt x="150" y="288"/>
                      </a:lnTo>
                      <a:lnTo>
                        <a:pt x="150" y="290"/>
                      </a:lnTo>
                      <a:lnTo>
                        <a:pt x="152" y="298"/>
                      </a:lnTo>
                      <a:lnTo>
                        <a:pt x="150" y="298"/>
                      </a:lnTo>
                      <a:lnTo>
                        <a:pt x="148" y="298"/>
                      </a:lnTo>
                      <a:lnTo>
                        <a:pt x="146" y="300"/>
                      </a:lnTo>
                      <a:lnTo>
                        <a:pt x="144" y="300"/>
                      </a:lnTo>
                      <a:lnTo>
                        <a:pt x="140" y="298"/>
                      </a:lnTo>
                      <a:lnTo>
                        <a:pt x="142" y="300"/>
                      </a:lnTo>
                      <a:lnTo>
                        <a:pt x="142" y="304"/>
                      </a:lnTo>
                      <a:lnTo>
                        <a:pt x="144" y="304"/>
                      </a:lnTo>
                      <a:lnTo>
                        <a:pt x="144" y="306"/>
                      </a:lnTo>
                      <a:lnTo>
                        <a:pt x="144" y="308"/>
                      </a:lnTo>
                      <a:lnTo>
                        <a:pt x="146" y="306"/>
                      </a:lnTo>
                      <a:lnTo>
                        <a:pt x="148" y="306"/>
                      </a:lnTo>
                      <a:lnTo>
                        <a:pt x="148" y="308"/>
                      </a:lnTo>
                      <a:lnTo>
                        <a:pt x="148" y="310"/>
                      </a:lnTo>
                      <a:lnTo>
                        <a:pt x="150" y="310"/>
                      </a:lnTo>
                      <a:lnTo>
                        <a:pt x="150" y="316"/>
                      </a:lnTo>
                      <a:lnTo>
                        <a:pt x="150" y="318"/>
                      </a:lnTo>
                      <a:lnTo>
                        <a:pt x="152" y="324"/>
                      </a:lnTo>
                      <a:lnTo>
                        <a:pt x="160" y="332"/>
                      </a:lnTo>
                      <a:lnTo>
                        <a:pt x="160" y="334"/>
                      </a:lnTo>
                      <a:lnTo>
                        <a:pt x="162" y="336"/>
                      </a:lnTo>
                      <a:lnTo>
                        <a:pt x="164" y="336"/>
                      </a:lnTo>
                      <a:lnTo>
                        <a:pt x="166" y="340"/>
                      </a:lnTo>
                      <a:lnTo>
                        <a:pt x="168" y="342"/>
                      </a:lnTo>
                      <a:lnTo>
                        <a:pt x="170" y="342"/>
                      </a:lnTo>
                      <a:lnTo>
                        <a:pt x="170" y="344"/>
                      </a:lnTo>
                      <a:lnTo>
                        <a:pt x="172" y="346"/>
                      </a:lnTo>
                      <a:lnTo>
                        <a:pt x="172" y="348"/>
                      </a:lnTo>
                      <a:lnTo>
                        <a:pt x="172" y="352"/>
                      </a:lnTo>
                      <a:lnTo>
                        <a:pt x="176" y="358"/>
                      </a:lnTo>
                      <a:lnTo>
                        <a:pt x="176" y="362"/>
                      </a:lnTo>
                      <a:lnTo>
                        <a:pt x="178" y="364"/>
                      </a:lnTo>
                      <a:lnTo>
                        <a:pt x="180" y="362"/>
                      </a:lnTo>
                      <a:lnTo>
                        <a:pt x="180" y="360"/>
                      </a:lnTo>
                      <a:lnTo>
                        <a:pt x="182" y="360"/>
                      </a:lnTo>
                      <a:lnTo>
                        <a:pt x="184" y="360"/>
                      </a:lnTo>
                      <a:lnTo>
                        <a:pt x="184" y="364"/>
                      </a:lnTo>
                      <a:lnTo>
                        <a:pt x="182" y="368"/>
                      </a:lnTo>
                      <a:lnTo>
                        <a:pt x="180" y="370"/>
                      </a:lnTo>
                      <a:lnTo>
                        <a:pt x="178" y="368"/>
                      </a:lnTo>
                      <a:lnTo>
                        <a:pt x="176" y="370"/>
                      </a:lnTo>
                      <a:lnTo>
                        <a:pt x="172" y="380"/>
                      </a:lnTo>
                      <a:lnTo>
                        <a:pt x="174" y="382"/>
                      </a:lnTo>
                      <a:lnTo>
                        <a:pt x="172" y="384"/>
                      </a:lnTo>
                      <a:lnTo>
                        <a:pt x="174" y="384"/>
                      </a:lnTo>
                      <a:lnTo>
                        <a:pt x="174" y="390"/>
                      </a:lnTo>
                      <a:lnTo>
                        <a:pt x="172" y="392"/>
                      </a:lnTo>
                      <a:lnTo>
                        <a:pt x="172" y="390"/>
                      </a:lnTo>
                      <a:lnTo>
                        <a:pt x="170" y="390"/>
                      </a:lnTo>
                      <a:lnTo>
                        <a:pt x="170" y="392"/>
                      </a:lnTo>
                      <a:lnTo>
                        <a:pt x="168" y="392"/>
                      </a:lnTo>
                      <a:lnTo>
                        <a:pt x="164" y="394"/>
                      </a:lnTo>
                      <a:lnTo>
                        <a:pt x="164" y="400"/>
                      </a:lnTo>
                      <a:lnTo>
                        <a:pt x="164" y="402"/>
                      </a:lnTo>
                      <a:lnTo>
                        <a:pt x="166" y="404"/>
                      </a:lnTo>
                      <a:lnTo>
                        <a:pt x="164" y="404"/>
                      </a:lnTo>
                      <a:lnTo>
                        <a:pt x="170" y="412"/>
                      </a:lnTo>
                      <a:lnTo>
                        <a:pt x="174" y="420"/>
                      </a:lnTo>
                      <a:lnTo>
                        <a:pt x="184" y="426"/>
                      </a:lnTo>
                      <a:lnTo>
                        <a:pt x="190" y="436"/>
                      </a:lnTo>
                      <a:lnTo>
                        <a:pt x="190" y="442"/>
                      </a:lnTo>
                      <a:lnTo>
                        <a:pt x="190" y="444"/>
                      </a:lnTo>
                      <a:lnTo>
                        <a:pt x="190" y="452"/>
                      </a:lnTo>
                      <a:lnTo>
                        <a:pt x="188" y="452"/>
                      </a:lnTo>
                      <a:lnTo>
                        <a:pt x="188" y="456"/>
                      </a:lnTo>
                      <a:lnTo>
                        <a:pt x="192" y="464"/>
                      </a:lnTo>
                      <a:lnTo>
                        <a:pt x="196" y="468"/>
                      </a:lnTo>
                      <a:lnTo>
                        <a:pt x="198" y="480"/>
                      </a:lnTo>
                      <a:lnTo>
                        <a:pt x="202" y="480"/>
                      </a:lnTo>
                      <a:lnTo>
                        <a:pt x="200" y="482"/>
                      </a:lnTo>
                      <a:lnTo>
                        <a:pt x="202" y="488"/>
                      </a:lnTo>
                      <a:lnTo>
                        <a:pt x="202" y="490"/>
                      </a:lnTo>
                      <a:lnTo>
                        <a:pt x="202" y="492"/>
                      </a:lnTo>
                      <a:lnTo>
                        <a:pt x="200" y="496"/>
                      </a:lnTo>
                      <a:lnTo>
                        <a:pt x="198" y="498"/>
                      </a:lnTo>
                      <a:lnTo>
                        <a:pt x="192" y="508"/>
                      </a:lnTo>
                      <a:lnTo>
                        <a:pt x="190" y="510"/>
                      </a:lnTo>
                      <a:lnTo>
                        <a:pt x="190" y="512"/>
                      </a:lnTo>
                      <a:lnTo>
                        <a:pt x="188" y="512"/>
                      </a:lnTo>
                      <a:lnTo>
                        <a:pt x="184" y="518"/>
                      </a:lnTo>
                      <a:lnTo>
                        <a:pt x="182" y="520"/>
                      </a:lnTo>
                      <a:lnTo>
                        <a:pt x="180" y="520"/>
                      </a:lnTo>
                      <a:lnTo>
                        <a:pt x="178" y="524"/>
                      </a:lnTo>
                      <a:lnTo>
                        <a:pt x="180" y="524"/>
                      </a:lnTo>
                      <a:lnTo>
                        <a:pt x="180" y="526"/>
                      </a:lnTo>
                      <a:lnTo>
                        <a:pt x="180" y="528"/>
                      </a:lnTo>
                      <a:lnTo>
                        <a:pt x="178" y="528"/>
                      </a:lnTo>
                      <a:lnTo>
                        <a:pt x="178" y="530"/>
                      </a:lnTo>
                      <a:lnTo>
                        <a:pt x="178" y="532"/>
                      </a:lnTo>
                      <a:lnTo>
                        <a:pt x="174" y="540"/>
                      </a:lnTo>
                      <a:lnTo>
                        <a:pt x="172" y="540"/>
                      </a:lnTo>
                      <a:lnTo>
                        <a:pt x="172" y="528"/>
                      </a:lnTo>
                      <a:lnTo>
                        <a:pt x="170" y="520"/>
                      </a:lnTo>
                      <a:lnTo>
                        <a:pt x="172" y="520"/>
                      </a:lnTo>
                      <a:lnTo>
                        <a:pt x="172" y="522"/>
                      </a:lnTo>
                      <a:lnTo>
                        <a:pt x="172" y="520"/>
                      </a:lnTo>
                      <a:lnTo>
                        <a:pt x="174" y="516"/>
                      </a:lnTo>
                      <a:lnTo>
                        <a:pt x="178" y="516"/>
                      </a:lnTo>
                      <a:lnTo>
                        <a:pt x="178" y="510"/>
                      </a:lnTo>
                      <a:lnTo>
                        <a:pt x="178" y="508"/>
                      </a:lnTo>
                      <a:lnTo>
                        <a:pt x="178" y="506"/>
                      </a:lnTo>
                      <a:lnTo>
                        <a:pt x="178" y="504"/>
                      </a:lnTo>
                      <a:lnTo>
                        <a:pt x="178" y="494"/>
                      </a:lnTo>
                      <a:lnTo>
                        <a:pt x="180" y="492"/>
                      </a:lnTo>
                      <a:lnTo>
                        <a:pt x="182" y="494"/>
                      </a:lnTo>
                      <a:lnTo>
                        <a:pt x="182" y="492"/>
                      </a:lnTo>
                      <a:lnTo>
                        <a:pt x="180" y="492"/>
                      </a:lnTo>
                      <a:lnTo>
                        <a:pt x="178" y="494"/>
                      </a:lnTo>
                      <a:lnTo>
                        <a:pt x="176" y="494"/>
                      </a:lnTo>
                      <a:lnTo>
                        <a:pt x="174" y="492"/>
                      </a:lnTo>
                      <a:lnTo>
                        <a:pt x="174" y="490"/>
                      </a:lnTo>
                      <a:lnTo>
                        <a:pt x="176" y="486"/>
                      </a:lnTo>
                      <a:lnTo>
                        <a:pt x="178" y="486"/>
                      </a:lnTo>
                      <a:lnTo>
                        <a:pt x="178" y="484"/>
                      </a:lnTo>
                      <a:lnTo>
                        <a:pt x="176" y="480"/>
                      </a:lnTo>
                      <a:lnTo>
                        <a:pt x="178" y="480"/>
                      </a:lnTo>
                      <a:lnTo>
                        <a:pt x="178" y="478"/>
                      </a:lnTo>
                      <a:lnTo>
                        <a:pt x="176" y="478"/>
                      </a:lnTo>
                      <a:lnTo>
                        <a:pt x="174" y="480"/>
                      </a:lnTo>
                      <a:lnTo>
                        <a:pt x="172" y="480"/>
                      </a:lnTo>
                      <a:lnTo>
                        <a:pt x="172" y="478"/>
                      </a:lnTo>
                      <a:lnTo>
                        <a:pt x="174" y="476"/>
                      </a:lnTo>
                      <a:lnTo>
                        <a:pt x="176" y="476"/>
                      </a:lnTo>
                      <a:lnTo>
                        <a:pt x="178" y="474"/>
                      </a:lnTo>
                      <a:lnTo>
                        <a:pt x="176" y="474"/>
                      </a:lnTo>
                      <a:lnTo>
                        <a:pt x="174" y="474"/>
                      </a:lnTo>
                      <a:lnTo>
                        <a:pt x="174" y="468"/>
                      </a:lnTo>
                      <a:lnTo>
                        <a:pt x="176" y="468"/>
                      </a:lnTo>
                      <a:lnTo>
                        <a:pt x="176" y="466"/>
                      </a:lnTo>
                      <a:lnTo>
                        <a:pt x="176" y="460"/>
                      </a:lnTo>
                      <a:lnTo>
                        <a:pt x="174" y="460"/>
                      </a:lnTo>
                      <a:lnTo>
                        <a:pt x="174" y="452"/>
                      </a:lnTo>
                      <a:lnTo>
                        <a:pt x="172" y="450"/>
                      </a:lnTo>
                      <a:lnTo>
                        <a:pt x="172" y="448"/>
                      </a:lnTo>
                      <a:lnTo>
                        <a:pt x="170" y="446"/>
                      </a:lnTo>
                      <a:lnTo>
                        <a:pt x="170" y="444"/>
                      </a:lnTo>
                      <a:lnTo>
                        <a:pt x="168" y="442"/>
                      </a:lnTo>
                      <a:lnTo>
                        <a:pt x="164" y="434"/>
                      </a:lnTo>
                      <a:lnTo>
                        <a:pt x="164" y="430"/>
                      </a:lnTo>
                      <a:lnTo>
                        <a:pt x="164" y="428"/>
                      </a:lnTo>
                      <a:lnTo>
                        <a:pt x="162" y="428"/>
                      </a:lnTo>
                      <a:lnTo>
                        <a:pt x="162" y="430"/>
                      </a:lnTo>
                      <a:lnTo>
                        <a:pt x="164" y="432"/>
                      </a:lnTo>
                      <a:lnTo>
                        <a:pt x="162" y="442"/>
                      </a:lnTo>
                      <a:lnTo>
                        <a:pt x="160" y="436"/>
                      </a:lnTo>
                      <a:lnTo>
                        <a:pt x="160" y="432"/>
                      </a:lnTo>
                      <a:lnTo>
                        <a:pt x="160" y="422"/>
                      </a:lnTo>
                      <a:lnTo>
                        <a:pt x="154" y="410"/>
                      </a:lnTo>
                      <a:lnTo>
                        <a:pt x="154" y="408"/>
                      </a:lnTo>
                      <a:lnTo>
                        <a:pt x="152" y="404"/>
                      </a:lnTo>
                      <a:lnTo>
                        <a:pt x="152" y="39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2" name="Freeform 3100"/>
                <p:cNvSpPr>
                  <a:spLocks/>
                </p:cNvSpPr>
                <p:nvPr/>
              </p:nvSpPr>
              <p:spPr bwMode="auto">
                <a:xfrm>
                  <a:off x="4657765" y="4650470"/>
                  <a:ext cx="29090" cy="33245"/>
                </a:xfrm>
                <a:custGeom>
                  <a:avLst/>
                  <a:gdLst/>
                  <a:ahLst/>
                  <a:cxnLst>
                    <a:cxn ang="0">
                      <a:pos x="10" y="4"/>
                    </a:cxn>
                    <a:cxn ang="0">
                      <a:pos x="14" y="14"/>
                    </a:cxn>
                    <a:cxn ang="0">
                      <a:pos x="12" y="16"/>
                    </a:cxn>
                    <a:cxn ang="0">
                      <a:pos x="6" y="10"/>
                    </a:cxn>
                    <a:cxn ang="0">
                      <a:pos x="4" y="6"/>
                    </a:cxn>
                    <a:cxn ang="0">
                      <a:pos x="0" y="2"/>
                    </a:cxn>
                    <a:cxn ang="0">
                      <a:pos x="0" y="0"/>
                    </a:cxn>
                    <a:cxn ang="0">
                      <a:pos x="2" y="0"/>
                    </a:cxn>
                    <a:cxn ang="0">
                      <a:pos x="4" y="0"/>
                    </a:cxn>
                    <a:cxn ang="0">
                      <a:pos x="4" y="2"/>
                    </a:cxn>
                    <a:cxn ang="0">
                      <a:pos x="6" y="4"/>
                    </a:cxn>
                    <a:cxn ang="0">
                      <a:pos x="8" y="4"/>
                    </a:cxn>
                    <a:cxn ang="0">
                      <a:pos x="8" y="6"/>
                    </a:cxn>
                    <a:cxn ang="0">
                      <a:pos x="10" y="6"/>
                    </a:cxn>
                    <a:cxn ang="0">
                      <a:pos x="10" y="4"/>
                    </a:cxn>
                  </a:cxnLst>
                  <a:rect l="0" t="0" r="r" b="b"/>
                  <a:pathLst>
                    <a:path w="14" h="16">
                      <a:moveTo>
                        <a:pt x="10" y="4"/>
                      </a:moveTo>
                      <a:lnTo>
                        <a:pt x="14" y="14"/>
                      </a:lnTo>
                      <a:lnTo>
                        <a:pt x="12" y="16"/>
                      </a:lnTo>
                      <a:lnTo>
                        <a:pt x="6" y="10"/>
                      </a:lnTo>
                      <a:lnTo>
                        <a:pt x="4" y="6"/>
                      </a:lnTo>
                      <a:lnTo>
                        <a:pt x="0" y="2"/>
                      </a:lnTo>
                      <a:lnTo>
                        <a:pt x="0" y="0"/>
                      </a:lnTo>
                      <a:lnTo>
                        <a:pt x="2" y="0"/>
                      </a:lnTo>
                      <a:lnTo>
                        <a:pt x="4" y="0"/>
                      </a:lnTo>
                      <a:lnTo>
                        <a:pt x="4" y="2"/>
                      </a:lnTo>
                      <a:lnTo>
                        <a:pt x="6" y="4"/>
                      </a:lnTo>
                      <a:lnTo>
                        <a:pt x="8" y="4"/>
                      </a:lnTo>
                      <a:lnTo>
                        <a:pt x="8" y="6"/>
                      </a:lnTo>
                      <a:lnTo>
                        <a:pt x="10" y="6"/>
                      </a:lnTo>
                      <a:lnTo>
                        <a:pt x="10" y="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3" name="Freeform 3101"/>
                <p:cNvSpPr>
                  <a:spLocks/>
                </p:cNvSpPr>
                <p:nvPr/>
              </p:nvSpPr>
              <p:spPr bwMode="auto">
                <a:xfrm>
                  <a:off x="4932039" y="5049415"/>
                  <a:ext cx="8311" cy="20778"/>
                </a:xfrm>
                <a:custGeom>
                  <a:avLst/>
                  <a:gdLst/>
                  <a:ahLst/>
                  <a:cxnLst>
                    <a:cxn ang="0">
                      <a:pos x="0" y="8"/>
                    </a:cxn>
                    <a:cxn ang="0">
                      <a:pos x="0" y="4"/>
                    </a:cxn>
                    <a:cxn ang="0">
                      <a:pos x="0" y="2"/>
                    </a:cxn>
                    <a:cxn ang="0">
                      <a:pos x="0" y="0"/>
                    </a:cxn>
                    <a:cxn ang="0">
                      <a:pos x="2" y="0"/>
                    </a:cxn>
                    <a:cxn ang="0">
                      <a:pos x="4" y="2"/>
                    </a:cxn>
                    <a:cxn ang="0">
                      <a:pos x="4" y="6"/>
                    </a:cxn>
                    <a:cxn ang="0">
                      <a:pos x="2" y="10"/>
                    </a:cxn>
                    <a:cxn ang="0">
                      <a:pos x="0" y="10"/>
                    </a:cxn>
                    <a:cxn ang="0">
                      <a:pos x="0" y="8"/>
                    </a:cxn>
                  </a:cxnLst>
                  <a:rect l="0" t="0" r="r" b="b"/>
                  <a:pathLst>
                    <a:path w="4" h="10">
                      <a:moveTo>
                        <a:pt x="0" y="8"/>
                      </a:moveTo>
                      <a:lnTo>
                        <a:pt x="0" y="4"/>
                      </a:lnTo>
                      <a:lnTo>
                        <a:pt x="0" y="2"/>
                      </a:lnTo>
                      <a:lnTo>
                        <a:pt x="0" y="0"/>
                      </a:lnTo>
                      <a:lnTo>
                        <a:pt x="2" y="0"/>
                      </a:lnTo>
                      <a:lnTo>
                        <a:pt x="4" y="2"/>
                      </a:lnTo>
                      <a:lnTo>
                        <a:pt x="4" y="6"/>
                      </a:lnTo>
                      <a:lnTo>
                        <a:pt x="2" y="10"/>
                      </a:lnTo>
                      <a:lnTo>
                        <a:pt x="0" y="10"/>
                      </a:lnTo>
                      <a:lnTo>
                        <a:pt x="0" y="8"/>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4" name="Freeform 3102"/>
                <p:cNvSpPr>
                  <a:spLocks/>
                </p:cNvSpPr>
                <p:nvPr/>
              </p:nvSpPr>
              <p:spPr bwMode="auto">
                <a:xfrm>
                  <a:off x="4940351" y="5082661"/>
                  <a:ext cx="12467" cy="12467"/>
                </a:xfrm>
                <a:custGeom>
                  <a:avLst/>
                  <a:gdLst/>
                  <a:ahLst/>
                  <a:cxnLst>
                    <a:cxn ang="0">
                      <a:pos x="2" y="4"/>
                    </a:cxn>
                    <a:cxn ang="0">
                      <a:pos x="4" y="4"/>
                    </a:cxn>
                    <a:cxn ang="0">
                      <a:pos x="6" y="4"/>
                    </a:cxn>
                    <a:cxn ang="0">
                      <a:pos x="0" y="6"/>
                    </a:cxn>
                    <a:cxn ang="0">
                      <a:pos x="0" y="0"/>
                    </a:cxn>
                    <a:cxn ang="0">
                      <a:pos x="2" y="4"/>
                    </a:cxn>
                  </a:cxnLst>
                  <a:rect l="0" t="0" r="r" b="b"/>
                  <a:pathLst>
                    <a:path w="6" h="6">
                      <a:moveTo>
                        <a:pt x="2" y="4"/>
                      </a:moveTo>
                      <a:lnTo>
                        <a:pt x="4" y="4"/>
                      </a:lnTo>
                      <a:lnTo>
                        <a:pt x="6" y="4"/>
                      </a:lnTo>
                      <a:lnTo>
                        <a:pt x="0" y="6"/>
                      </a:lnTo>
                      <a:lnTo>
                        <a:pt x="0" y="0"/>
                      </a:lnTo>
                      <a:lnTo>
                        <a:pt x="2" y="4"/>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5" name="Freeform 3103"/>
                <p:cNvSpPr>
                  <a:spLocks/>
                </p:cNvSpPr>
                <p:nvPr/>
              </p:nvSpPr>
              <p:spPr bwMode="auto">
                <a:xfrm>
                  <a:off x="4936195" y="5099284"/>
                  <a:ext cx="8311" cy="16623"/>
                </a:xfrm>
                <a:custGeom>
                  <a:avLst/>
                  <a:gdLst/>
                  <a:ahLst/>
                  <a:cxnLst>
                    <a:cxn ang="0">
                      <a:pos x="2" y="6"/>
                    </a:cxn>
                    <a:cxn ang="0">
                      <a:pos x="0" y="4"/>
                    </a:cxn>
                    <a:cxn ang="0">
                      <a:pos x="0" y="2"/>
                    </a:cxn>
                    <a:cxn ang="0">
                      <a:pos x="2" y="0"/>
                    </a:cxn>
                    <a:cxn ang="0">
                      <a:pos x="4" y="0"/>
                    </a:cxn>
                    <a:cxn ang="0">
                      <a:pos x="4" y="6"/>
                    </a:cxn>
                    <a:cxn ang="0">
                      <a:pos x="4" y="8"/>
                    </a:cxn>
                    <a:cxn ang="0">
                      <a:pos x="2" y="8"/>
                    </a:cxn>
                    <a:cxn ang="0">
                      <a:pos x="2" y="6"/>
                    </a:cxn>
                  </a:cxnLst>
                  <a:rect l="0" t="0" r="r" b="b"/>
                  <a:pathLst>
                    <a:path w="4" h="8">
                      <a:moveTo>
                        <a:pt x="2" y="6"/>
                      </a:moveTo>
                      <a:lnTo>
                        <a:pt x="0" y="4"/>
                      </a:lnTo>
                      <a:lnTo>
                        <a:pt x="0" y="2"/>
                      </a:lnTo>
                      <a:lnTo>
                        <a:pt x="2" y="0"/>
                      </a:lnTo>
                      <a:lnTo>
                        <a:pt x="4" y="0"/>
                      </a:lnTo>
                      <a:lnTo>
                        <a:pt x="4" y="6"/>
                      </a:lnTo>
                      <a:lnTo>
                        <a:pt x="4" y="8"/>
                      </a:lnTo>
                      <a:lnTo>
                        <a:pt x="2" y="8"/>
                      </a:lnTo>
                      <a:lnTo>
                        <a:pt x="2" y="6"/>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6" name="Freeform 3104"/>
                <p:cNvSpPr>
                  <a:spLocks/>
                </p:cNvSpPr>
                <p:nvPr/>
              </p:nvSpPr>
              <p:spPr bwMode="auto">
                <a:xfrm>
                  <a:off x="4923728" y="5099284"/>
                  <a:ext cx="8311" cy="20778"/>
                </a:xfrm>
                <a:custGeom>
                  <a:avLst/>
                  <a:gdLst/>
                  <a:ahLst/>
                  <a:cxnLst>
                    <a:cxn ang="0">
                      <a:pos x="0" y="10"/>
                    </a:cxn>
                    <a:cxn ang="0">
                      <a:pos x="4" y="0"/>
                    </a:cxn>
                    <a:cxn ang="0">
                      <a:pos x="4" y="2"/>
                    </a:cxn>
                    <a:cxn ang="0">
                      <a:pos x="4" y="4"/>
                    </a:cxn>
                    <a:cxn ang="0">
                      <a:pos x="4" y="10"/>
                    </a:cxn>
                    <a:cxn ang="0">
                      <a:pos x="2" y="10"/>
                    </a:cxn>
                    <a:cxn ang="0">
                      <a:pos x="0" y="10"/>
                    </a:cxn>
                  </a:cxnLst>
                  <a:rect l="0" t="0" r="r" b="b"/>
                  <a:pathLst>
                    <a:path w="4" h="10">
                      <a:moveTo>
                        <a:pt x="0" y="10"/>
                      </a:moveTo>
                      <a:lnTo>
                        <a:pt x="4" y="0"/>
                      </a:lnTo>
                      <a:lnTo>
                        <a:pt x="4" y="2"/>
                      </a:lnTo>
                      <a:lnTo>
                        <a:pt x="4" y="4"/>
                      </a:lnTo>
                      <a:lnTo>
                        <a:pt x="4" y="10"/>
                      </a:lnTo>
                      <a:lnTo>
                        <a:pt x="2" y="10"/>
                      </a:lnTo>
                      <a:lnTo>
                        <a:pt x="0" y="10"/>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7" name="Freeform 3105"/>
                <p:cNvSpPr>
                  <a:spLocks/>
                </p:cNvSpPr>
                <p:nvPr/>
              </p:nvSpPr>
              <p:spPr bwMode="auto">
                <a:xfrm>
                  <a:off x="5164757" y="4928901"/>
                  <a:ext cx="299209" cy="249341"/>
                </a:xfrm>
                <a:custGeom>
                  <a:avLst/>
                  <a:gdLst/>
                  <a:ahLst/>
                  <a:cxnLst>
                    <a:cxn ang="0">
                      <a:pos x="94" y="96"/>
                    </a:cxn>
                    <a:cxn ang="0">
                      <a:pos x="104" y="104"/>
                    </a:cxn>
                    <a:cxn ang="0">
                      <a:pos x="104" y="112"/>
                    </a:cxn>
                    <a:cxn ang="0">
                      <a:pos x="94" y="104"/>
                    </a:cxn>
                    <a:cxn ang="0">
                      <a:pos x="82" y="106"/>
                    </a:cxn>
                    <a:cxn ang="0">
                      <a:pos x="72" y="108"/>
                    </a:cxn>
                    <a:cxn ang="0">
                      <a:pos x="72" y="114"/>
                    </a:cxn>
                    <a:cxn ang="0">
                      <a:pos x="64" y="118"/>
                    </a:cxn>
                    <a:cxn ang="0">
                      <a:pos x="56" y="120"/>
                    </a:cxn>
                    <a:cxn ang="0">
                      <a:pos x="46" y="118"/>
                    </a:cxn>
                    <a:cxn ang="0">
                      <a:pos x="38" y="118"/>
                    </a:cxn>
                    <a:cxn ang="0">
                      <a:pos x="30" y="114"/>
                    </a:cxn>
                    <a:cxn ang="0">
                      <a:pos x="36" y="110"/>
                    </a:cxn>
                    <a:cxn ang="0">
                      <a:pos x="30" y="100"/>
                    </a:cxn>
                    <a:cxn ang="0">
                      <a:pos x="26" y="108"/>
                    </a:cxn>
                    <a:cxn ang="0">
                      <a:pos x="20" y="100"/>
                    </a:cxn>
                    <a:cxn ang="0">
                      <a:pos x="18" y="90"/>
                    </a:cxn>
                    <a:cxn ang="0">
                      <a:pos x="16" y="84"/>
                    </a:cxn>
                    <a:cxn ang="0">
                      <a:pos x="16" y="90"/>
                    </a:cxn>
                    <a:cxn ang="0">
                      <a:pos x="10" y="66"/>
                    </a:cxn>
                    <a:cxn ang="0">
                      <a:pos x="4" y="56"/>
                    </a:cxn>
                    <a:cxn ang="0">
                      <a:pos x="0" y="34"/>
                    </a:cxn>
                    <a:cxn ang="0">
                      <a:pos x="10" y="28"/>
                    </a:cxn>
                    <a:cxn ang="0">
                      <a:pos x="12" y="20"/>
                    </a:cxn>
                    <a:cxn ang="0">
                      <a:pos x="16" y="16"/>
                    </a:cxn>
                    <a:cxn ang="0">
                      <a:pos x="24" y="12"/>
                    </a:cxn>
                    <a:cxn ang="0">
                      <a:pos x="36" y="10"/>
                    </a:cxn>
                    <a:cxn ang="0">
                      <a:pos x="60" y="10"/>
                    </a:cxn>
                    <a:cxn ang="0">
                      <a:pos x="70" y="10"/>
                    </a:cxn>
                    <a:cxn ang="0">
                      <a:pos x="72" y="14"/>
                    </a:cxn>
                    <a:cxn ang="0">
                      <a:pos x="76" y="12"/>
                    </a:cxn>
                    <a:cxn ang="0">
                      <a:pos x="84" y="16"/>
                    </a:cxn>
                    <a:cxn ang="0">
                      <a:pos x="96" y="22"/>
                    </a:cxn>
                    <a:cxn ang="0">
                      <a:pos x="98" y="12"/>
                    </a:cxn>
                    <a:cxn ang="0">
                      <a:pos x="106" y="10"/>
                    </a:cxn>
                    <a:cxn ang="0">
                      <a:pos x="112" y="4"/>
                    </a:cxn>
                    <a:cxn ang="0">
                      <a:pos x="120" y="8"/>
                    </a:cxn>
                    <a:cxn ang="0">
                      <a:pos x="130" y="10"/>
                    </a:cxn>
                    <a:cxn ang="0">
                      <a:pos x="140" y="6"/>
                    </a:cxn>
                    <a:cxn ang="0">
                      <a:pos x="136" y="14"/>
                    </a:cxn>
                    <a:cxn ang="0">
                      <a:pos x="140" y="26"/>
                    </a:cxn>
                    <a:cxn ang="0">
                      <a:pos x="140" y="48"/>
                    </a:cxn>
                    <a:cxn ang="0">
                      <a:pos x="142" y="60"/>
                    </a:cxn>
                    <a:cxn ang="0">
                      <a:pos x="136" y="68"/>
                    </a:cxn>
                    <a:cxn ang="0">
                      <a:pos x="124" y="74"/>
                    </a:cxn>
                    <a:cxn ang="0">
                      <a:pos x="118" y="78"/>
                    </a:cxn>
                    <a:cxn ang="0">
                      <a:pos x="112" y="86"/>
                    </a:cxn>
                    <a:cxn ang="0">
                      <a:pos x="100" y="84"/>
                    </a:cxn>
                  </a:cxnLst>
                  <a:rect l="0" t="0" r="r" b="b"/>
                  <a:pathLst>
                    <a:path w="144" h="120">
                      <a:moveTo>
                        <a:pt x="94" y="88"/>
                      </a:moveTo>
                      <a:lnTo>
                        <a:pt x="96" y="90"/>
                      </a:lnTo>
                      <a:lnTo>
                        <a:pt x="96" y="94"/>
                      </a:lnTo>
                      <a:lnTo>
                        <a:pt x="94" y="96"/>
                      </a:lnTo>
                      <a:lnTo>
                        <a:pt x="98" y="100"/>
                      </a:lnTo>
                      <a:lnTo>
                        <a:pt x="102" y="102"/>
                      </a:lnTo>
                      <a:lnTo>
                        <a:pt x="104" y="102"/>
                      </a:lnTo>
                      <a:lnTo>
                        <a:pt x="104" y="104"/>
                      </a:lnTo>
                      <a:lnTo>
                        <a:pt x="104" y="106"/>
                      </a:lnTo>
                      <a:lnTo>
                        <a:pt x="102" y="106"/>
                      </a:lnTo>
                      <a:lnTo>
                        <a:pt x="102" y="108"/>
                      </a:lnTo>
                      <a:lnTo>
                        <a:pt x="104" y="112"/>
                      </a:lnTo>
                      <a:lnTo>
                        <a:pt x="100" y="110"/>
                      </a:lnTo>
                      <a:lnTo>
                        <a:pt x="98" y="108"/>
                      </a:lnTo>
                      <a:lnTo>
                        <a:pt x="94" y="108"/>
                      </a:lnTo>
                      <a:lnTo>
                        <a:pt x="94" y="104"/>
                      </a:lnTo>
                      <a:lnTo>
                        <a:pt x="90" y="104"/>
                      </a:lnTo>
                      <a:lnTo>
                        <a:pt x="88" y="106"/>
                      </a:lnTo>
                      <a:lnTo>
                        <a:pt x="86" y="106"/>
                      </a:lnTo>
                      <a:lnTo>
                        <a:pt x="82" y="106"/>
                      </a:lnTo>
                      <a:lnTo>
                        <a:pt x="82" y="108"/>
                      </a:lnTo>
                      <a:lnTo>
                        <a:pt x="76" y="108"/>
                      </a:lnTo>
                      <a:lnTo>
                        <a:pt x="74" y="106"/>
                      </a:lnTo>
                      <a:lnTo>
                        <a:pt x="72" y="108"/>
                      </a:lnTo>
                      <a:lnTo>
                        <a:pt x="72" y="110"/>
                      </a:lnTo>
                      <a:lnTo>
                        <a:pt x="74" y="112"/>
                      </a:lnTo>
                      <a:lnTo>
                        <a:pt x="74" y="114"/>
                      </a:lnTo>
                      <a:lnTo>
                        <a:pt x="72" y="114"/>
                      </a:lnTo>
                      <a:lnTo>
                        <a:pt x="70" y="114"/>
                      </a:lnTo>
                      <a:lnTo>
                        <a:pt x="70" y="116"/>
                      </a:lnTo>
                      <a:lnTo>
                        <a:pt x="68" y="118"/>
                      </a:lnTo>
                      <a:lnTo>
                        <a:pt x="64" y="118"/>
                      </a:lnTo>
                      <a:lnTo>
                        <a:pt x="62" y="118"/>
                      </a:lnTo>
                      <a:lnTo>
                        <a:pt x="60" y="118"/>
                      </a:lnTo>
                      <a:lnTo>
                        <a:pt x="58" y="120"/>
                      </a:lnTo>
                      <a:lnTo>
                        <a:pt x="56" y="120"/>
                      </a:lnTo>
                      <a:lnTo>
                        <a:pt x="52" y="118"/>
                      </a:lnTo>
                      <a:lnTo>
                        <a:pt x="52" y="116"/>
                      </a:lnTo>
                      <a:lnTo>
                        <a:pt x="48" y="118"/>
                      </a:lnTo>
                      <a:lnTo>
                        <a:pt x="46" y="118"/>
                      </a:lnTo>
                      <a:lnTo>
                        <a:pt x="44" y="116"/>
                      </a:lnTo>
                      <a:lnTo>
                        <a:pt x="42" y="116"/>
                      </a:lnTo>
                      <a:lnTo>
                        <a:pt x="40" y="118"/>
                      </a:lnTo>
                      <a:lnTo>
                        <a:pt x="38" y="118"/>
                      </a:lnTo>
                      <a:lnTo>
                        <a:pt x="36" y="120"/>
                      </a:lnTo>
                      <a:lnTo>
                        <a:pt x="34" y="120"/>
                      </a:lnTo>
                      <a:lnTo>
                        <a:pt x="30" y="116"/>
                      </a:lnTo>
                      <a:lnTo>
                        <a:pt x="30" y="114"/>
                      </a:lnTo>
                      <a:lnTo>
                        <a:pt x="32" y="114"/>
                      </a:lnTo>
                      <a:lnTo>
                        <a:pt x="32" y="112"/>
                      </a:lnTo>
                      <a:lnTo>
                        <a:pt x="36" y="112"/>
                      </a:lnTo>
                      <a:lnTo>
                        <a:pt x="36" y="110"/>
                      </a:lnTo>
                      <a:lnTo>
                        <a:pt x="36" y="108"/>
                      </a:lnTo>
                      <a:lnTo>
                        <a:pt x="36" y="104"/>
                      </a:lnTo>
                      <a:lnTo>
                        <a:pt x="32" y="100"/>
                      </a:lnTo>
                      <a:lnTo>
                        <a:pt x="30" y="100"/>
                      </a:lnTo>
                      <a:lnTo>
                        <a:pt x="30" y="102"/>
                      </a:lnTo>
                      <a:lnTo>
                        <a:pt x="28" y="104"/>
                      </a:lnTo>
                      <a:lnTo>
                        <a:pt x="28" y="106"/>
                      </a:lnTo>
                      <a:lnTo>
                        <a:pt x="26" y="108"/>
                      </a:lnTo>
                      <a:lnTo>
                        <a:pt x="22" y="108"/>
                      </a:lnTo>
                      <a:lnTo>
                        <a:pt x="20" y="108"/>
                      </a:lnTo>
                      <a:lnTo>
                        <a:pt x="20" y="106"/>
                      </a:lnTo>
                      <a:lnTo>
                        <a:pt x="20" y="100"/>
                      </a:lnTo>
                      <a:lnTo>
                        <a:pt x="18" y="100"/>
                      </a:lnTo>
                      <a:lnTo>
                        <a:pt x="20" y="96"/>
                      </a:lnTo>
                      <a:lnTo>
                        <a:pt x="18" y="92"/>
                      </a:lnTo>
                      <a:lnTo>
                        <a:pt x="18" y="90"/>
                      </a:lnTo>
                      <a:lnTo>
                        <a:pt x="16" y="90"/>
                      </a:lnTo>
                      <a:lnTo>
                        <a:pt x="16" y="88"/>
                      </a:lnTo>
                      <a:lnTo>
                        <a:pt x="16" y="86"/>
                      </a:lnTo>
                      <a:lnTo>
                        <a:pt x="16" y="84"/>
                      </a:lnTo>
                      <a:lnTo>
                        <a:pt x="14" y="82"/>
                      </a:lnTo>
                      <a:lnTo>
                        <a:pt x="14" y="84"/>
                      </a:lnTo>
                      <a:lnTo>
                        <a:pt x="16" y="84"/>
                      </a:lnTo>
                      <a:lnTo>
                        <a:pt x="16" y="90"/>
                      </a:lnTo>
                      <a:lnTo>
                        <a:pt x="14" y="88"/>
                      </a:lnTo>
                      <a:lnTo>
                        <a:pt x="14" y="84"/>
                      </a:lnTo>
                      <a:lnTo>
                        <a:pt x="8" y="72"/>
                      </a:lnTo>
                      <a:lnTo>
                        <a:pt x="10" y="66"/>
                      </a:lnTo>
                      <a:lnTo>
                        <a:pt x="12" y="66"/>
                      </a:lnTo>
                      <a:lnTo>
                        <a:pt x="6" y="60"/>
                      </a:lnTo>
                      <a:lnTo>
                        <a:pt x="4" y="58"/>
                      </a:lnTo>
                      <a:lnTo>
                        <a:pt x="4" y="56"/>
                      </a:lnTo>
                      <a:lnTo>
                        <a:pt x="4" y="54"/>
                      </a:lnTo>
                      <a:lnTo>
                        <a:pt x="0" y="46"/>
                      </a:lnTo>
                      <a:lnTo>
                        <a:pt x="0" y="44"/>
                      </a:lnTo>
                      <a:lnTo>
                        <a:pt x="0" y="34"/>
                      </a:lnTo>
                      <a:lnTo>
                        <a:pt x="0" y="32"/>
                      </a:lnTo>
                      <a:lnTo>
                        <a:pt x="6" y="32"/>
                      </a:lnTo>
                      <a:lnTo>
                        <a:pt x="6" y="30"/>
                      </a:lnTo>
                      <a:lnTo>
                        <a:pt x="10" y="28"/>
                      </a:lnTo>
                      <a:lnTo>
                        <a:pt x="10" y="26"/>
                      </a:lnTo>
                      <a:lnTo>
                        <a:pt x="10" y="24"/>
                      </a:lnTo>
                      <a:lnTo>
                        <a:pt x="12" y="22"/>
                      </a:lnTo>
                      <a:lnTo>
                        <a:pt x="12" y="20"/>
                      </a:lnTo>
                      <a:lnTo>
                        <a:pt x="14" y="20"/>
                      </a:lnTo>
                      <a:lnTo>
                        <a:pt x="16" y="16"/>
                      </a:lnTo>
                      <a:lnTo>
                        <a:pt x="14" y="16"/>
                      </a:lnTo>
                      <a:lnTo>
                        <a:pt x="16" y="16"/>
                      </a:lnTo>
                      <a:lnTo>
                        <a:pt x="16" y="14"/>
                      </a:lnTo>
                      <a:lnTo>
                        <a:pt x="18" y="14"/>
                      </a:lnTo>
                      <a:lnTo>
                        <a:pt x="20" y="12"/>
                      </a:lnTo>
                      <a:lnTo>
                        <a:pt x="24" y="12"/>
                      </a:lnTo>
                      <a:lnTo>
                        <a:pt x="24" y="10"/>
                      </a:lnTo>
                      <a:lnTo>
                        <a:pt x="30" y="10"/>
                      </a:lnTo>
                      <a:lnTo>
                        <a:pt x="36" y="8"/>
                      </a:lnTo>
                      <a:lnTo>
                        <a:pt x="36" y="10"/>
                      </a:lnTo>
                      <a:lnTo>
                        <a:pt x="42" y="12"/>
                      </a:lnTo>
                      <a:lnTo>
                        <a:pt x="52" y="8"/>
                      </a:lnTo>
                      <a:lnTo>
                        <a:pt x="56" y="10"/>
                      </a:lnTo>
                      <a:lnTo>
                        <a:pt x="60" y="10"/>
                      </a:lnTo>
                      <a:lnTo>
                        <a:pt x="62" y="8"/>
                      </a:lnTo>
                      <a:lnTo>
                        <a:pt x="66" y="8"/>
                      </a:lnTo>
                      <a:lnTo>
                        <a:pt x="68" y="8"/>
                      </a:lnTo>
                      <a:lnTo>
                        <a:pt x="70" y="10"/>
                      </a:lnTo>
                      <a:lnTo>
                        <a:pt x="72" y="10"/>
                      </a:lnTo>
                      <a:lnTo>
                        <a:pt x="70" y="12"/>
                      </a:lnTo>
                      <a:lnTo>
                        <a:pt x="72" y="12"/>
                      </a:lnTo>
                      <a:lnTo>
                        <a:pt x="72" y="14"/>
                      </a:lnTo>
                      <a:lnTo>
                        <a:pt x="74" y="14"/>
                      </a:lnTo>
                      <a:lnTo>
                        <a:pt x="76" y="14"/>
                      </a:lnTo>
                      <a:lnTo>
                        <a:pt x="76" y="10"/>
                      </a:lnTo>
                      <a:lnTo>
                        <a:pt x="76" y="12"/>
                      </a:lnTo>
                      <a:lnTo>
                        <a:pt x="80" y="16"/>
                      </a:lnTo>
                      <a:lnTo>
                        <a:pt x="82" y="18"/>
                      </a:lnTo>
                      <a:lnTo>
                        <a:pt x="84" y="18"/>
                      </a:lnTo>
                      <a:lnTo>
                        <a:pt x="84" y="16"/>
                      </a:lnTo>
                      <a:lnTo>
                        <a:pt x="86" y="16"/>
                      </a:lnTo>
                      <a:lnTo>
                        <a:pt x="94" y="18"/>
                      </a:lnTo>
                      <a:lnTo>
                        <a:pt x="94" y="20"/>
                      </a:lnTo>
                      <a:lnTo>
                        <a:pt x="96" y="22"/>
                      </a:lnTo>
                      <a:lnTo>
                        <a:pt x="102" y="22"/>
                      </a:lnTo>
                      <a:lnTo>
                        <a:pt x="104" y="20"/>
                      </a:lnTo>
                      <a:lnTo>
                        <a:pt x="104" y="18"/>
                      </a:lnTo>
                      <a:lnTo>
                        <a:pt x="98" y="12"/>
                      </a:lnTo>
                      <a:lnTo>
                        <a:pt x="100" y="10"/>
                      </a:lnTo>
                      <a:lnTo>
                        <a:pt x="102" y="10"/>
                      </a:lnTo>
                      <a:lnTo>
                        <a:pt x="104" y="10"/>
                      </a:lnTo>
                      <a:lnTo>
                        <a:pt x="106" y="10"/>
                      </a:lnTo>
                      <a:lnTo>
                        <a:pt x="106" y="8"/>
                      </a:lnTo>
                      <a:lnTo>
                        <a:pt x="110" y="8"/>
                      </a:lnTo>
                      <a:lnTo>
                        <a:pt x="110" y="6"/>
                      </a:lnTo>
                      <a:lnTo>
                        <a:pt x="112" y="4"/>
                      </a:lnTo>
                      <a:lnTo>
                        <a:pt x="114" y="4"/>
                      </a:lnTo>
                      <a:lnTo>
                        <a:pt x="116" y="8"/>
                      </a:lnTo>
                      <a:lnTo>
                        <a:pt x="118" y="8"/>
                      </a:lnTo>
                      <a:lnTo>
                        <a:pt x="120" y="8"/>
                      </a:lnTo>
                      <a:lnTo>
                        <a:pt x="120" y="10"/>
                      </a:lnTo>
                      <a:lnTo>
                        <a:pt x="120" y="12"/>
                      </a:lnTo>
                      <a:lnTo>
                        <a:pt x="122" y="12"/>
                      </a:lnTo>
                      <a:lnTo>
                        <a:pt x="130" y="10"/>
                      </a:lnTo>
                      <a:lnTo>
                        <a:pt x="136" y="4"/>
                      </a:lnTo>
                      <a:lnTo>
                        <a:pt x="140" y="2"/>
                      </a:lnTo>
                      <a:lnTo>
                        <a:pt x="140" y="0"/>
                      </a:lnTo>
                      <a:lnTo>
                        <a:pt x="140" y="6"/>
                      </a:lnTo>
                      <a:lnTo>
                        <a:pt x="140" y="8"/>
                      </a:lnTo>
                      <a:lnTo>
                        <a:pt x="138" y="8"/>
                      </a:lnTo>
                      <a:lnTo>
                        <a:pt x="136" y="12"/>
                      </a:lnTo>
                      <a:lnTo>
                        <a:pt x="136" y="14"/>
                      </a:lnTo>
                      <a:lnTo>
                        <a:pt x="136" y="16"/>
                      </a:lnTo>
                      <a:lnTo>
                        <a:pt x="136" y="20"/>
                      </a:lnTo>
                      <a:lnTo>
                        <a:pt x="140" y="22"/>
                      </a:lnTo>
                      <a:lnTo>
                        <a:pt x="140" y="26"/>
                      </a:lnTo>
                      <a:lnTo>
                        <a:pt x="138" y="26"/>
                      </a:lnTo>
                      <a:lnTo>
                        <a:pt x="144" y="34"/>
                      </a:lnTo>
                      <a:lnTo>
                        <a:pt x="144" y="38"/>
                      </a:lnTo>
                      <a:lnTo>
                        <a:pt x="140" y="48"/>
                      </a:lnTo>
                      <a:lnTo>
                        <a:pt x="140" y="50"/>
                      </a:lnTo>
                      <a:lnTo>
                        <a:pt x="140" y="52"/>
                      </a:lnTo>
                      <a:lnTo>
                        <a:pt x="142" y="54"/>
                      </a:lnTo>
                      <a:lnTo>
                        <a:pt x="142" y="60"/>
                      </a:lnTo>
                      <a:lnTo>
                        <a:pt x="140" y="66"/>
                      </a:lnTo>
                      <a:lnTo>
                        <a:pt x="140" y="68"/>
                      </a:lnTo>
                      <a:lnTo>
                        <a:pt x="138" y="70"/>
                      </a:lnTo>
                      <a:lnTo>
                        <a:pt x="136" y="68"/>
                      </a:lnTo>
                      <a:lnTo>
                        <a:pt x="134" y="68"/>
                      </a:lnTo>
                      <a:lnTo>
                        <a:pt x="132" y="68"/>
                      </a:lnTo>
                      <a:lnTo>
                        <a:pt x="126" y="74"/>
                      </a:lnTo>
                      <a:lnTo>
                        <a:pt x="124" y="74"/>
                      </a:lnTo>
                      <a:lnTo>
                        <a:pt x="124" y="76"/>
                      </a:lnTo>
                      <a:lnTo>
                        <a:pt x="122" y="74"/>
                      </a:lnTo>
                      <a:lnTo>
                        <a:pt x="120" y="74"/>
                      </a:lnTo>
                      <a:lnTo>
                        <a:pt x="118" y="78"/>
                      </a:lnTo>
                      <a:lnTo>
                        <a:pt x="112" y="78"/>
                      </a:lnTo>
                      <a:lnTo>
                        <a:pt x="110" y="78"/>
                      </a:lnTo>
                      <a:lnTo>
                        <a:pt x="112" y="80"/>
                      </a:lnTo>
                      <a:lnTo>
                        <a:pt x="112" y="86"/>
                      </a:lnTo>
                      <a:lnTo>
                        <a:pt x="110" y="86"/>
                      </a:lnTo>
                      <a:lnTo>
                        <a:pt x="106" y="86"/>
                      </a:lnTo>
                      <a:lnTo>
                        <a:pt x="106" y="84"/>
                      </a:lnTo>
                      <a:lnTo>
                        <a:pt x="100" y="84"/>
                      </a:lnTo>
                      <a:lnTo>
                        <a:pt x="98" y="86"/>
                      </a:lnTo>
                      <a:lnTo>
                        <a:pt x="96" y="86"/>
                      </a:lnTo>
                      <a:lnTo>
                        <a:pt x="94" y="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8" name="Freeform 3107"/>
                <p:cNvSpPr>
                  <a:spLocks/>
                </p:cNvSpPr>
                <p:nvPr/>
              </p:nvSpPr>
              <p:spPr bwMode="auto">
                <a:xfrm>
                  <a:off x="3872341" y="5215643"/>
                  <a:ext cx="128826" cy="224407"/>
                </a:xfrm>
                <a:custGeom>
                  <a:avLst/>
                  <a:gdLst/>
                  <a:ahLst/>
                  <a:cxnLst>
                    <a:cxn ang="0">
                      <a:pos x="56" y="92"/>
                    </a:cxn>
                    <a:cxn ang="0">
                      <a:pos x="36" y="102"/>
                    </a:cxn>
                    <a:cxn ang="0">
                      <a:pos x="30" y="106"/>
                    </a:cxn>
                    <a:cxn ang="0">
                      <a:pos x="18" y="106"/>
                    </a:cxn>
                    <a:cxn ang="0">
                      <a:pos x="14" y="104"/>
                    </a:cxn>
                    <a:cxn ang="0">
                      <a:pos x="12" y="100"/>
                    </a:cxn>
                    <a:cxn ang="0">
                      <a:pos x="8" y="90"/>
                    </a:cxn>
                    <a:cxn ang="0">
                      <a:pos x="6" y="86"/>
                    </a:cxn>
                    <a:cxn ang="0">
                      <a:pos x="6" y="82"/>
                    </a:cxn>
                    <a:cxn ang="0">
                      <a:pos x="4" y="60"/>
                    </a:cxn>
                    <a:cxn ang="0">
                      <a:pos x="2" y="50"/>
                    </a:cxn>
                    <a:cxn ang="0">
                      <a:pos x="0" y="44"/>
                    </a:cxn>
                    <a:cxn ang="0">
                      <a:pos x="2" y="42"/>
                    </a:cxn>
                    <a:cxn ang="0">
                      <a:pos x="6" y="50"/>
                    </a:cxn>
                    <a:cxn ang="0">
                      <a:pos x="6" y="34"/>
                    </a:cxn>
                    <a:cxn ang="0">
                      <a:pos x="6" y="24"/>
                    </a:cxn>
                    <a:cxn ang="0">
                      <a:pos x="10" y="22"/>
                    </a:cxn>
                    <a:cxn ang="0">
                      <a:pos x="12" y="20"/>
                    </a:cxn>
                    <a:cxn ang="0">
                      <a:pos x="12" y="16"/>
                    </a:cxn>
                    <a:cxn ang="0">
                      <a:pos x="12" y="10"/>
                    </a:cxn>
                    <a:cxn ang="0">
                      <a:pos x="14" y="8"/>
                    </a:cxn>
                    <a:cxn ang="0">
                      <a:pos x="12" y="6"/>
                    </a:cxn>
                    <a:cxn ang="0">
                      <a:pos x="18" y="8"/>
                    </a:cxn>
                    <a:cxn ang="0">
                      <a:pos x="24" y="10"/>
                    </a:cxn>
                    <a:cxn ang="0">
                      <a:pos x="22" y="8"/>
                    </a:cxn>
                    <a:cxn ang="0">
                      <a:pos x="18" y="6"/>
                    </a:cxn>
                    <a:cxn ang="0">
                      <a:pos x="14" y="4"/>
                    </a:cxn>
                    <a:cxn ang="0">
                      <a:pos x="12" y="6"/>
                    </a:cxn>
                    <a:cxn ang="0">
                      <a:pos x="8" y="4"/>
                    </a:cxn>
                    <a:cxn ang="0">
                      <a:pos x="12" y="0"/>
                    </a:cxn>
                    <a:cxn ang="0">
                      <a:pos x="14" y="2"/>
                    </a:cxn>
                    <a:cxn ang="0">
                      <a:pos x="20" y="6"/>
                    </a:cxn>
                    <a:cxn ang="0">
                      <a:pos x="16" y="0"/>
                    </a:cxn>
                    <a:cxn ang="0">
                      <a:pos x="16" y="0"/>
                    </a:cxn>
                    <a:cxn ang="0">
                      <a:pos x="18" y="4"/>
                    </a:cxn>
                    <a:cxn ang="0">
                      <a:pos x="32" y="14"/>
                    </a:cxn>
                    <a:cxn ang="0">
                      <a:pos x="36" y="22"/>
                    </a:cxn>
                    <a:cxn ang="0">
                      <a:pos x="36" y="24"/>
                    </a:cxn>
                    <a:cxn ang="0">
                      <a:pos x="42" y="32"/>
                    </a:cxn>
                    <a:cxn ang="0">
                      <a:pos x="42" y="34"/>
                    </a:cxn>
                    <a:cxn ang="0">
                      <a:pos x="40" y="36"/>
                    </a:cxn>
                    <a:cxn ang="0">
                      <a:pos x="42" y="38"/>
                    </a:cxn>
                    <a:cxn ang="0">
                      <a:pos x="44" y="36"/>
                    </a:cxn>
                    <a:cxn ang="0">
                      <a:pos x="48" y="36"/>
                    </a:cxn>
                    <a:cxn ang="0">
                      <a:pos x="48" y="44"/>
                    </a:cxn>
                    <a:cxn ang="0">
                      <a:pos x="56" y="58"/>
                    </a:cxn>
                    <a:cxn ang="0">
                      <a:pos x="58" y="62"/>
                    </a:cxn>
                    <a:cxn ang="0">
                      <a:pos x="58" y="66"/>
                    </a:cxn>
                    <a:cxn ang="0">
                      <a:pos x="60" y="64"/>
                    </a:cxn>
                    <a:cxn ang="0">
                      <a:pos x="60" y="68"/>
                    </a:cxn>
                    <a:cxn ang="0">
                      <a:pos x="60" y="78"/>
                    </a:cxn>
                    <a:cxn ang="0">
                      <a:pos x="60" y="86"/>
                    </a:cxn>
                    <a:cxn ang="0">
                      <a:pos x="58" y="88"/>
                    </a:cxn>
                  </a:cxnLst>
                  <a:rect l="0" t="0" r="r" b="b"/>
                  <a:pathLst>
                    <a:path w="62" h="108">
                      <a:moveTo>
                        <a:pt x="58" y="88"/>
                      </a:moveTo>
                      <a:lnTo>
                        <a:pt x="56" y="92"/>
                      </a:lnTo>
                      <a:lnTo>
                        <a:pt x="38" y="102"/>
                      </a:lnTo>
                      <a:lnTo>
                        <a:pt x="36" y="102"/>
                      </a:lnTo>
                      <a:lnTo>
                        <a:pt x="30" y="104"/>
                      </a:lnTo>
                      <a:lnTo>
                        <a:pt x="30" y="106"/>
                      </a:lnTo>
                      <a:lnTo>
                        <a:pt x="26" y="108"/>
                      </a:lnTo>
                      <a:lnTo>
                        <a:pt x="18" y="106"/>
                      </a:lnTo>
                      <a:lnTo>
                        <a:pt x="16" y="104"/>
                      </a:lnTo>
                      <a:lnTo>
                        <a:pt x="14" y="104"/>
                      </a:lnTo>
                      <a:lnTo>
                        <a:pt x="12" y="102"/>
                      </a:lnTo>
                      <a:lnTo>
                        <a:pt x="12" y="100"/>
                      </a:lnTo>
                      <a:lnTo>
                        <a:pt x="10" y="98"/>
                      </a:lnTo>
                      <a:lnTo>
                        <a:pt x="8" y="90"/>
                      </a:lnTo>
                      <a:lnTo>
                        <a:pt x="8" y="88"/>
                      </a:lnTo>
                      <a:lnTo>
                        <a:pt x="6" y="86"/>
                      </a:lnTo>
                      <a:lnTo>
                        <a:pt x="6" y="84"/>
                      </a:lnTo>
                      <a:lnTo>
                        <a:pt x="6" y="82"/>
                      </a:lnTo>
                      <a:lnTo>
                        <a:pt x="6" y="78"/>
                      </a:lnTo>
                      <a:lnTo>
                        <a:pt x="4" y="60"/>
                      </a:lnTo>
                      <a:lnTo>
                        <a:pt x="2" y="52"/>
                      </a:lnTo>
                      <a:lnTo>
                        <a:pt x="2" y="50"/>
                      </a:lnTo>
                      <a:lnTo>
                        <a:pt x="0" y="48"/>
                      </a:lnTo>
                      <a:lnTo>
                        <a:pt x="0" y="44"/>
                      </a:lnTo>
                      <a:lnTo>
                        <a:pt x="2" y="44"/>
                      </a:lnTo>
                      <a:lnTo>
                        <a:pt x="2" y="42"/>
                      </a:lnTo>
                      <a:lnTo>
                        <a:pt x="2" y="50"/>
                      </a:lnTo>
                      <a:lnTo>
                        <a:pt x="6" y="50"/>
                      </a:lnTo>
                      <a:lnTo>
                        <a:pt x="4" y="50"/>
                      </a:lnTo>
                      <a:lnTo>
                        <a:pt x="6" y="34"/>
                      </a:lnTo>
                      <a:lnTo>
                        <a:pt x="8" y="32"/>
                      </a:lnTo>
                      <a:lnTo>
                        <a:pt x="6" y="24"/>
                      </a:lnTo>
                      <a:lnTo>
                        <a:pt x="8" y="22"/>
                      </a:lnTo>
                      <a:lnTo>
                        <a:pt x="10" y="22"/>
                      </a:lnTo>
                      <a:lnTo>
                        <a:pt x="12" y="22"/>
                      </a:lnTo>
                      <a:lnTo>
                        <a:pt x="12" y="20"/>
                      </a:lnTo>
                      <a:lnTo>
                        <a:pt x="12" y="18"/>
                      </a:lnTo>
                      <a:lnTo>
                        <a:pt x="12" y="16"/>
                      </a:lnTo>
                      <a:lnTo>
                        <a:pt x="12" y="14"/>
                      </a:lnTo>
                      <a:lnTo>
                        <a:pt x="12" y="10"/>
                      </a:lnTo>
                      <a:lnTo>
                        <a:pt x="14" y="10"/>
                      </a:lnTo>
                      <a:lnTo>
                        <a:pt x="14" y="8"/>
                      </a:lnTo>
                      <a:lnTo>
                        <a:pt x="12" y="8"/>
                      </a:lnTo>
                      <a:lnTo>
                        <a:pt x="12" y="6"/>
                      </a:lnTo>
                      <a:lnTo>
                        <a:pt x="16" y="8"/>
                      </a:lnTo>
                      <a:lnTo>
                        <a:pt x="18" y="8"/>
                      </a:lnTo>
                      <a:lnTo>
                        <a:pt x="22" y="8"/>
                      </a:lnTo>
                      <a:lnTo>
                        <a:pt x="24" y="10"/>
                      </a:lnTo>
                      <a:lnTo>
                        <a:pt x="26" y="10"/>
                      </a:lnTo>
                      <a:lnTo>
                        <a:pt x="22" y="8"/>
                      </a:lnTo>
                      <a:lnTo>
                        <a:pt x="20" y="8"/>
                      </a:lnTo>
                      <a:lnTo>
                        <a:pt x="18" y="6"/>
                      </a:lnTo>
                      <a:lnTo>
                        <a:pt x="16" y="6"/>
                      </a:lnTo>
                      <a:lnTo>
                        <a:pt x="14" y="4"/>
                      </a:lnTo>
                      <a:lnTo>
                        <a:pt x="14" y="6"/>
                      </a:lnTo>
                      <a:lnTo>
                        <a:pt x="12" y="6"/>
                      </a:lnTo>
                      <a:lnTo>
                        <a:pt x="10" y="4"/>
                      </a:lnTo>
                      <a:lnTo>
                        <a:pt x="8" y="4"/>
                      </a:lnTo>
                      <a:lnTo>
                        <a:pt x="8" y="0"/>
                      </a:lnTo>
                      <a:lnTo>
                        <a:pt x="12" y="0"/>
                      </a:lnTo>
                      <a:lnTo>
                        <a:pt x="14" y="0"/>
                      </a:lnTo>
                      <a:lnTo>
                        <a:pt x="14" y="2"/>
                      </a:lnTo>
                      <a:lnTo>
                        <a:pt x="16" y="2"/>
                      </a:lnTo>
                      <a:lnTo>
                        <a:pt x="20" y="6"/>
                      </a:lnTo>
                      <a:lnTo>
                        <a:pt x="22" y="6"/>
                      </a:lnTo>
                      <a:lnTo>
                        <a:pt x="16" y="0"/>
                      </a:lnTo>
                      <a:lnTo>
                        <a:pt x="14" y="0"/>
                      </a:lnTo>
                      <a:lnTo>
                        <a:pt x="16" y="0"/>
                      </a:lnTo>
                      <a:lnTo>
                        <a:pt x="18" y="0"/>
                      </a:lnTo>
                      <a:lnTo>
                        <a:pt x="18" y="4"/>
                      </a:lnTo>
                      <a:lnTo>
                        <a:pt x="26" y="10"/>
                      </a:lnTo>
                      <a:lnTo>
                        <a:pt x="32" y="14"/>
                      </a:lnTo>
                      <a:lnTo>
                        <a:pt x="32" y="16"/>
                      </a:lnTo>
                      <a:lnTo>
                        <a:pt x="36" y="22"/>
                      </a:lnTo>
                      <a:lnTo>
                        <a:pt x="34" y="24"/>
                      </a:lnTo>
                      <a:lnTo>
                        <a:pt x="36" y="24"/>
                      </a:lnTo>
                      <a:lnTo>
                        <a:pt x="38" y="24"/>
                      </a:lnTo>
                      <a:lnTo>
                        <a:pt x="42" y="32"/>
                      </a:lnTo>
                      <a:lnTo>
                        <a:pt x="44" y="34"/>
                      </a:lnTo>
                      <a:lnTo>
                        <a:pt x="42" y="34"/>
                      </a:lnTo>
                      <a:lnTo>
                        <a:pt x="42" y="36"/>
                      </a:lnTo>
                      <a:lnTo>
                        <a:pt x="40" y="36"/>
                      </a:lnTo>
                      <a:lnTo>
                        <a:pt x="42" y="36"/>
                      </a:lnTo>
                      <a:lnTo>
                        <a:pt x="42" y="38"/>
                      </a:lnTo>
                      <a:lnTo>
                        <a:pt x="44" y="38"/>
                      </a:lnTo>
                      <a:lnTo>
                        <a:pt x="44" y="36"/>
                      </a:lnTo>
                      <a:lnTo>
                        <a:pt x="46" y="36"/>
                      </a:lnTo>
                      <a:lnTo>
                        <a:pt x="48" y="36"/>
                      </a:lnTo>
                      <a:lnTo>
                        <a:pt x="48" y="40"/>
                      </a:lnTo>
                      <a:lnTo>
                        <a:pt x="48" y="44"/>
                      </a:lnTo>
                      <a:lnTo>
                        <a:pt x="48" y="46"/>
                      </a:lnTo>
                      <a:lnTo>
                        <a:pt x="56" y="58"/>
                      </a:lnTo>
                      <a:lnTo>
                        <a:pt x="58" y="60"/>
                      </a:lnTo>
                      <a:lnTo>
                        <a:pt x="58" y="62"/>
                      </a:lnTo>
                      <a:lnTo>
                        <a:pt x="58" y="64"/>
                      </a:lnTo>
                      <a:lnTo>
                        <a:pt x="58" y="66"/>
                      </a:lnTo>
                      <a:lnTo>
                        <a:pt x="60" y="66"/>
                      </a:lnTo>
                      <a:lnTo>
                        <a:pt x="60" y="64"/>
                      </a:lnTo>
                      <a:lnTo>
                        <a:pt x="60" y="66"/>
                      </a:lnTo>
                      <a:lnTo>
                        <a:pt x="60" y="68"/>
                      </a:lnTo>
                      <a:lnTo>
                        <a:pt x="62" y="78"/>
                      </a:lnTo>
                      <a:lnTo>
                        <a:pt x="60" y="78"/>
                      </a:lnTo>
                      <a:lnTo>
                        <a:pt x="60" y="84"/>
                      </a:lnTo>
                      <a:lnTo>
                        <a:pt x="60" y="86"/>
                      </a:lnTo>
                      <a:lnTo>
                        <a:pt x="58" y="86"/>
                      </a:lnTo>
                      <a:lnTo>
                        <a:pt x="58" y="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59" name="Freeform 3108"/>
                <p:cNvSpPr>
                  <a:spLocks/>
                </p:cNvSpPr>
                <p:nvPr/>
              </p:nvSpPr>
              <p:spPr bwMode="auto">
                <a:xfrm>
                  <a:off x="5987582" y="5356936"/>
                  <a:ext cx="8311" cy="8311"/>
                </a:xfrm>
                <a:custGeom>
                  <a:avLst/>
                  <a:gdLst/>
                  <a:ahLst/>
                  <a:cxnLst>
                    <a:cxn ang="0">
                      <a:pos x="0" y="4"/>
                    </a:cxn>
                    <a:cxn ang="0">
                      <a:pos x="0" y="2"/>
                    </a:cxn>
                    <a:cxn ang="0">
                      <a:pos x="4" y="0"/>
                    </a:cxn>
                    <a:cxn ang="0">
                      <a:pos x="4" y="2"/>
                    </a:cxn>
                    <a:cxn ang="0">
                      <a:pos x="2" y="2"/>
                    </a:cxn>
                    <a:cxn ang="0">
                      <a:pos x="0" y="4"/>
                    </a:cxn>
                  </a:cxnLst>
                  <a:rect l="0" t="0" r="r" b="b"/>
                  <a:pathLst>
                    <a:path w="4" h="4">
                      <a:moveTo>
                        <a:pt x="0" y="4"/>
                      </a:moveTo>
                      <a:lnTo>
                        <a:pt x="0" y="2"/>
                      </a:lnTo>
                      <a:lnTo>
                        <a:pt x="4" y="0"/>
                      </a:lnTo>
                      <a:lnTo>
                        <a:pt x="4" y="2"/>
                      </a:lnTo>
                      <a:lnTo>
                        <a:pt x="2" y="2"/>
                      </a:lnTo>
                      <a:lnTo>
                        <a:pt x="0" y="4"/>
                      </a:lnTo>
                      <a:close/>
                    </a:path>
                  </a:pathLst>
                </a:custGeom>
                <a:solidFill>
                  <a:srgbClr val="EAE4BA"/>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0" name="Freeform 3109"/>
                <p:cNvSpPr>
                  <a:spLocks/>
                </p:cNvSpPr>
                <p:nvPr/>
              </p:nvSpPr>
              <p:spPr bwMode="auto">
                <a:xfrm>
                  <a:off x="5995893" y="5356936"/>
                  <a:ext cx="16623" cy="16623"/>
                </a:xfrm>
                <a:custGeom>
                  <a:avLst/>
                  <a:gdLst/>
                  <a:ahLst/>
                  <a:cxnLst>
                    <a:cxn ang="0">
                      <a:pos x="2" y="2"/>
                    </a:cxn>
                    <a:cxn ang="0">
                      <a:pos x="4" y="0"/>
                    </a:cxn>
                    <a:cxn ang="0">
                      <a:pos x="8" y="0"/>
                    </a:cxn>
                    <a:cxn ang="0">
                      <a:pos x="8" y="4"/>
                    </a:cxn>
                    <a:cxn ang="0">
                      <a:pos x="6" y="4"/>
                    </a:cxn>
                    <a:cxn ang="0">
                      <a:pos x="4" y="4"/>
                    </a:cxn>
                    <a:cxn ang="0">
                      <a:pos x="4" y="6"/>
                    </a:cxn>
                    <a:cxn ang="0">
                      <a:pos x="2" y="8"/>
                    </a:cxn>
                    <a:cxn ang="0">
                      <a:pos x="0" y="6"/>
                    </a:cxn>
                    <a:cxn ang="0">
                      <a:pos x="2" y="2"/>
                    </a:cxn>
                  </a:cxnLst>
                  <a:rect l="0" t="0" r="r" b="b"/>
                  <a:pathLst>
                    <a:path w="8" h="8">
                      <a:moveTo>
                        <a:pt x="2" y="2"/>
                      </a:moveTo>
                      <a:lnTo>
                        <a:pt x="4" y="0"/>
                      </a:lnTo>
                      <a:lnTo>
                        <a:pt x="8" y="0"/>
                      </a:lnTo>
                      <a:lnTo>
                        <a:pt x="8" y="4"/>
                      </a:lnTo>
                      <a:lnTo>
                        <a:pt x="6" y="4"/>
                      </a:lnTo>
                      <a:lnTo>
                        <a:pt x="4" y="4"/>
                      </a:lnTo>
                      <a:lnTo>
                        <a:pt x="4" y="6"/>
                      </a:lnTo>
                      <a:lnTo>
                        <a:pt x="2" y="8"/>
                      </a:lnTo>
                      <a:lnTo>
                        <a:pt x="0" y="6"/>
                      </a:lnTo>
                      <a:lnTo>
                        <a:pt x="2" y="2"/>
                      </a:lnTo>
                      <a:close/>
                    </a:path>
                  </a:pathLst>
                </a:custGeom>
                <a:solidFill>
                  <a:srgbClr val="EAE4BA"/>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1" name="Freeform 3111"/>
                <p:cNvSpPr>
                  <a:spLocks/>
                </p:cNvSpPr>
                <p:nvPr/>
              </p:nvSpPr>
              <p:spPr bwMode="auto">
                <a:xfrm>
                  <a:off x="6016672" y="5390181"/>
                  <a:ext cx="8311" cy="8311"/>
                </a:xfrm>
                <a:custGeom>
                  <a:avLst/>
                  <a:gdLst/>
                  <a:ahLst/>
                  <a:cxnLst>
                    <a:cxn ang="0">
                      <a:pos x="0" y="4"/>
                    </a:cxn>
                    <a:cxn ang="0">
                      <a:pos x="0" y="2"/>
                    </a:cxn>
                    <a:cxn ang="0">
                      <a:pos x="2" y="2"/>
                    </a:cxn>
                    <a:cxn ang="0">
                      <a:pos x="0" y="2"/>
                    </a:cxn>
                    <a:cxn ang="0">
                      <a:pos x="0" y="0"/>
                    </a:cxn>
                    <a:cxn ang="0">
                      <a:pos x="4" y="0"/>
                    </a:cxn>
                    <a:cxn ang="0">
                      <a:pos x="4" y="4"/>
                    </a:cxn>
                    <a:cxn ang="0">
                      <a:pos x="2" y="4"/>
                    </a:cxn>
                    <a:cxn ang="0">
                      <a:pos x="0" y="4"/>
                    </a:cxn>
                  </a:cxnLst>
                  <a:rect l="0" t="0" r="r" b="b"/>
                  <a:pathLst>
                    <a:path w="4" h="4">
                      <a:moveTo>
                        <a:pt x="0" y="4"/>
                      </a:moveTo>
                      <a:lnTo>
                        <a:pt x="0" y="2"/>
                      </a:lnTo>
                      <a:lnTo>
                        <a:pt x="2" y="2"/>
                      </a:lnTo>
                      <a:lnTo>
                        <a:pt x="0" y="2"/>
                      </a:lnTo>
                      <a:lnTo>
                        <a:pt x="0" y="0"/>
                      </a:lnTo>
                      <a:lnTo>
                        <a:pt x="4" y="0"/>
                      </a:lnTo>
                      <a:lnTo>
                        <a:pt x="4" y="4"/>
                      </a:lnTo>
                      <a:lnTo>
                        <a:pt x="2" y="4"/>
                      </a:lnTo>
                      <a:lnTo>
                        <a:pt x="0" y="4"/>
                      </a:lnTo>
                      <a:close/>
                    </a:path>
                  </a:pathLst>
                </a:custGeom>
                <a:solidFill>
                  <a:srgbClr val="EAE4BA"/>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2" name="Freeform 3112"/>
                <p:cNvSpPr>
                  <a:spLocks/>
                </p:cNvSpPr>
                <p:nvPr/>
              </p:nvSpPr>
              <p:spPr bwMode="auto">
                <a:xfrm>
                  <a:off x="5035931" y="5394337"/>
                  <a:ext cx="236874" cy="307520"/>
                </a:xfrm>
                <a:custGeom>
                  <a:avLst/>
                  <a:gdLst/>
                  <a:ahLst/>
                  <a:cxnLst>
                    <a:cxn ang="0">
                      <a:pos x="8" y="32"/>
                    </a:cxn>
                    <a:cxn ang="0">
                      <a:pos x="4" y="16"/>
                    </a:cxn>
                    <a:cxn ang="0">
                      <a:pos x="2" y="12"/>
                    </a:cxn>
                    <a:cxn ang="0">
                      <a:pos x="0" y="6"/>
                    </a:cxn>
                    <a:cxn ang="0">
                      <a:pos x="2" y="2"/>
                    </a:cxn>
                    <a:cxn ang="0">
                      <a:pos x="6" y="2"/>
                    </a:cxn>
                    <a:cxn ang="0">
                      <a:pos x="8" y="6"/>
                    </a:cxn>
                    <a:cxn ang="0">
                      <a:pos x="20" y="6"/>
                    </a:cxn>
                    <a:cxn ang="0">
                      <a:pos x="26" y="22"/>
                    </a:cxn>
                    <a:cxn ang="0">
                      <a:pos x="30" y="28"/>
                    </a:cxn>
                    <a:cxn ang="0">
                      <a:pos x="40" y="22"/>
                    </a:cxn>
                    <a:cxn ang="0">
                      <a:pos x="44" y="24"/>
                    </a:cxn>
                    <a:cxn ang="0">
                      <a:pos x="50" y="20"/>
                    </a:cxn>
                    <a:cxn ang="0">
                      <a:pos x="56" y="14"/>
                    </a:cxn>
                    <a:cxn ang="0">
                      <a:pos x="62" y="14"/>
                    </a:cxn>
                    <a:cxn ang="0">
                      <a:pos x="68" y="24"/>
                    </a:cxn>
                    <a:cxn ang="0">
                      <a:pos x="82" y="36"/>
                    </a:cxn>
                    <a:cxn ang="0">
                      <a:pos x="90" y="50"/>
                    </a:cxn>
                    <a:cxn ang="0">
                      <a:pos x="92" y="64"/>
                    </a:cxn>
                    <a:cxn ang="0">
                      <a:pos x="92" y="70"/>
                    </a:cxn>
                    <a:cxn ang="0">
                      <a:pos x="90" y="76"/>
                    </a:cxn>
                    <a:cxn ang="0">
                      <a:pos x="92" y="86"/>
                    </a:cxn>
                    <a:cxn ang="0">
                      <a:pos x="90" y="90"/>
                    </a:cxn>
                    <a:cxn ang="0">
                      <a:pos x="92" y="98"/>
                    </a:cxn>
                    <a:cxn ang="0">
                      <a:pos x="92" y="104"/>
                    </a:cxn>
                    <a:cxn ang="0">
                      <a:pos x="96" y="110"/>
                    </a:cxn>
                    <a:cxn ang="0">
                      <a:pos x="102" y="112"/>
                    </a:cxn>
                    <a:cxn ang="0">
                      <a:pos x="114" y="144"/>
                    </a:cxn>
                    <a:cxn ang="0">
                      <a:pos x="110" y="148"/>
                    </a:cxn>
                    <a:cxn ang="0">
                      <a:pos x="106" y="138"/>
                    </a:cxn>
                    <a:cxn ang="0">
                      <a:pos x="106" y="142"/>
                    </a:cxn>
                    <a:cxn ang="0">
                      <a:pos x="102" y="142"/>
                    </a:cxn>
                    <a:cxn ang="0">
                      <a:pos x="92" y="146"/>
                    </a:cxn>
                    <a:cxn ang="0">
                      <a:pos x="88" y="142"/>
                    </a:cxn>
                    <a:cxn ang="0">
                      <a:pos x="74" y="132"/>
                    </a:cxn>
                    <a:cxn ang="0">
                      <a:pos x="70" y="132"/>
                    </a:cxn>
                    <a:cxn ang="0">
                      <a:pos x="62" y="126"/>
                    </a:cxn>
                    <a:cxn ang="0">
                      <a:pos x="48" y="116"/>
                    </a:cxn>
                    <a:cxn ang="0">
                      <a:pos x="38" y="112"/>
                    </a:cxn>
                    <a:cxn ang="0">
                      <a:pos x="34" y="106"/>
                    </a:cxn>
                    <a:cxn ang="0">
                      <a:pos x="34" y="102"/>
                    </a:cxn>
                    <a:cxn ang="0">
                      <a:pos x="32" y="96"/>
                    </a:cxn>
                    <a:cxn ang="0">
                      <a:pos x="26" y="86"/>
                    </a:cxn>
                    <a:cxn ang="0">
                      <a:pos x="18" y="80"/>
                    </a:cxn>
                    <a:cxn ang="0">
                      <a:pos x="16" y="78"/>
                    </a:cxn>
                    <a:cxn ang="0">
                      <a:pos x="20" y="74"/>
                    </a:cxn>
                    <a:cxn ang="0">
                      <a:pos x="12" y="66"/>
                    </a:cxn>
                    <a:cxn ang="0">
                      <a:pos x="10" y="50"/>
                    </a:cxn>
                    <a:cxn ang="0">
                      <a:pos x="8" y="46"/>
                    </a:cxn>
                  </a:cxnLst>
                  <a:rect l="0" t="0" r="r" b="b"/>
                  <a:pathLst>
                    <a:path w="114" h="148">
                      <a:moveTo>
                        <a:pt x="8" y="44"/>
                      </a:moveTo>
                      <a:lnTo>
                        <a:pt x="8" y="42"/>
                      </a:lnTo>
                      <a:lnTo>
                        <a:pt x="8" y="32"/>
                      </a:lnTo>
                      <a:lnTo>
                        <a:pt x="6" y="32"/>
                      </a:lnTo>
                      <a:lnTo>
                        <a:pt x="6" y="18"/>
                      </a:lnTo>
                      <a:lnTo>
                        <a:pt x="4" y="16"/>
                      </a:lnTo>
                      <a:lnTo>
                        <a:pt x="4" y="14"/>
                      </a:lnTo>
                      <a:lnTo>
                        <a:pt x="4" y="12"/>
                      </a:lnTo>
                      <a:lnTo>
                        <a:pt x="2" y="12"/>
                      </a:lnTo>
                      <a:lnTo>
                        <a:pt x="2" y="10"/>
                      </a:lnTo>
                      <a:lnTo>
                        <a:pt x="0" y="8"/>
                      </a:lnTo>
                      <a:lnTo>
                        <a:pt x="0" y="6"/>
                      </a:lnTo>
                      <a:lnTo>
                        <a:pt x="2" y="6"/>
                      </a:lnTo>
                      <a:lnTo>
                        <a:pt x="2" y="4"/>
                      </a:lnTo>
                      <a:lnTo>
                        <a:pt x="2" y="2"/>
                      </a:lnTo>
                      <a:lnTo>
                        <a:pt x="2" y="0"/>
                      </a:lnTo>
                      <a:lnTo>
                        <a:pt x="4" y="0"/>
                      </a:lnTo>
                      <a:lnTo>
                        <a:pt x="6" y="2"/>
                      </a:lnTo>
                      <a:lnTo>
                        <a:pt x="6" y="4"/>
                      </a:lnTo>
                      <a:lnTo>
                        <a:pt x="8" y="4"/>
                      </a:lnTo>
                      <a:lnTo>
                        <a:pt x="8" y="6"/>
                      </a:lnTo>
                      <a:lnTo>
                        <a:pt x="14" y="6"/>
                      </a:lnTo>
                      <a:lnTo>
                        <a:pt x="16" y="6"/>
                      </a:lnTo>
                      <a:lnTo>
                        <a:pt x="20" y="6"/>
                      </a:lnTo>
                      <a:lnTo>
                        <a:pt x="20" y="12"/>
                      </a:lnTo>
                      <a:lnTo>
                        <a:pt x="26" y="12"/>
                      </a:lnTo>
                      <a:lnTo>
                        <a:pt x="26" y="22"/>
                      </a:lnTo>
                      <a:lnTo>
                        <a:pt x="24" y="24"/>
                      </a:lnTo>
                      <a:lnTo>
                        <a:pt x="28" y="30"/>
                      </a:lnTo>
                      <a:lnTo>
                        <a:pt x="30" y="28"/>
                      </a:lnTo>
                      <a:lnTo>
                        <a:pt x="32" y="24"/>
                      </a:lnTo>
                      <a:lnTo>
                        <a:pt x="36" y="24"/>
                      </a:lnTo>
                      <a:lnTo>
                        <a:pt x="40" y="22"/>
                      </a:lnTo>
                      <a:lnTo>
                        <a:pt x="42" y="24"/>
                      </a:lnTo>
                      <a:lnTo>
                        <a:pt x="44" y="26"/>
                      </a:lnTo>
                      <a:lnTo>
                        <a:pt x="44" y="24"/>
                      </a:lnTo>
                      <a:lnTo>
                        <a:pt x="46" y="26"/>
                      </a:lnTo>
                      <a:lnTo>
                        <a:pt x="50" y="24"/>
                      </a:lnTo>
                      <a:lnTo>
                        <a:pt x="50" y="20"/>
                      </a:lnTo>
                      <a:lnTo>
                        <a:pt x="52" y="18"/>
                      </a:lnTo>
                      <a:lnTo>
                        <a:pt x="54" y="12"/>
                      </a:lnTo>
                      <a:lnTo>
                        <a:pt x="56" y="14"/>
                      </a:lnTo>
                      <a:lnTo>
                        <a:pt x="58" y="12"/>
                      </a:lnTo>
                      <a:lnTo>
                        <a:pt x="60" y="14"/>
                      </a:lnTo>
                      <a:lnTo>
                        <a:pt x="62" y="14"/>
                      </a:lnTo>
                      <a:lnTo>
                        <a:pt x="62" y="16"/>
                      </a:lnTo>
                      <a:lnTo>
                        <a:pt x="62" y="18"/>
                      </a:lnTo>
                      <a:lnTo>
                        <a:pt x="68" y="24"/>
                      </a:lnTo>
                      <a:lnTo>
                        <a:pt x="76" y="32"/>
                      </a:lnTo>
                      <a:lnTo>
                        <a:pt x="78" y="32"/>
                      </a:lnTo>
                      <a:lnTo>
                        <a:pt x="82" y="36"/>
                      </a:lnTo>
                      <a:lnTo>
                        <a:pt x="86" y="42"/>
                      </a:lnTo>
                      <a:lnTo>
                        <a:pt x="86" y="44"/>
                      </a:lnTo>
                      <a:lnTo>
                        <a:pt x="90" y="50"/>
                      </a:lnTo>
                      <a:lnTo>
                        <a:pt x="92" y="54"/>
                      </a:lnTo>
                      <a:lnTo>
                        <a:pt x="92" y="62"/>
                      </a:lnTo>
                      <a:lnTo>
                        <a:pt x="92" y="64"/>
                      </a:lnTo>
                      <a:lnTo>
                        <a:pt x="92" y="66"/>
                      </a:lnTo>
                      <a:lnTo>
                        <a:pt x="92" y="68"/>
                      </a:lnTo>
                      <a:lnTo>
                        <a:pt x="92" y="70"/>
                      </a:lnTo>
                      <a:lnTo>
                        <a:pt x="90" y="72"/>
                      </a:lnTo>
                      <a:lnTo>
                        <a:pt x="90" y="74"/>
                      </a:lnTo>
                      <a:lnTo>
                        <a:pt x="90" y="76"/>
                      </a:lnTo>
                      <a:lnTo>
                        <a:pt x="88" y="82"/>
                      </a:lnTo>
                      <a:lnTo>
                        <a:pt x="88" y="84"/>
                      </a:lnTo>
                      <a:lnTo>
                        <a:pt x="92" y="86"/>
                      </a:lnTo>
                      <a:lnTo>
                        <a:pt x="92" y="88"/>
                      </a:lnTo>
                      <a:lnTo>
                        <a:pt x="92" y="90"/>
                      </a:lnTo>
                      <a:lnTo>
                        <a:pt x="90" y="90"/>
                      </a:lnTo>
                      <a:lnTo>
                        <a:pt x="90" y="94"/>
                      </a:lnTo>
                      <a:lnTo>
                        <a:pt x="92" y="94"/>
                      </a:lnTo>
                      <a:lnTo>
                        <a:pt x="92" y="98"/>
                      </a:lnTo>
                      <a:lnTo>
                        <a:pt x="90" y="100"/>
                      </a:lnTo>
                      <a:lnTo>
                        <a:pt x="90" y="102"/>
                      </a:lnTo>
                      <a:lnTo>
                        <a:pt x="92" y="104"/>
                      </a:lnTo>
                      <a:lnTo>
                        <a:pt x="92" y="106"/>
                      </a:lnTo>
                      <a:lnTo>
                        <a:pt x="92" y="108"/>
                      </a:lnTo>
                      <a:lnTo>
                        <a:pt x="96" y="110"/>
                      </a:lnTo>
                      <a:lnTo>
                        <a:pt x="98" y="112"/>
                      </a:lnTo>
                      <a:lnTo>
                        <a:pt x="100" y="112"/>
                      </a:lnTo>
                      <a:lnTo>
                        <a:pt x="102" y="112"/>
                      </a:lnTo>
                      <a:lnTo>
                        <a:pt x="102" y="116"/>
                      </a:lnTo>
                      <a:lnTo>
                        <a:pt x="112" y="134"/>
                      </a:lnTo>
                      <a:lnTo>
                        <a:pt x="114" y="144"/>
                      </a:lnTo>
                      <a:lnTo>
                        <a:pt x="114" y="146"/>
                      </a:lnTo>
                      <a:lnTo>
                        <a:pt x="112" y="148"/>
                      </a:lnTo>
                      <a:lnTo>
                        <a:pt x="110" y="148"/>
                      </a:lnTo>
                      <a:lnTo>
                        <a:pt x="108" y="144"/>
                      </a:lnTo>
                      <a:lnTo>
                        <a:pt x="108" y="142"/>
                      </a:lnTo>
                      <a:lnTo>
                        <a:pt x="106" y="138"/>
                      </a:lnTo>
                      <a:lnTo>
                        <a:pt x="104" y="138"/>
                      </a:lnTo>
                      <a:lnTo>
                        <a:pt x="106" y="140"/>
                      </a:lnTo>
                      <a:lnTo>
                        <a:pt x="106" y="142"/>
                      </a:lnTo>
                      <a:lnTo>
                        <a:pt x="106" y="144"/>
                      </a:lnTo>
                      <a:lnTo>
                        <a:pt x="104" y="144"/>
                      </a:lnTo>
                      <a:lnTo>
                        <a:pt x="102" y="142"/>
                      </a:lnTo>
                      <a:lnTo>
                        <a:pt x="98" y="144"/>
                      </a:lnTo>
                      <a:lnTo>
                        <a:pt x="92" y="148"/>
                      </a:lnTo>
                      <a:lnTo>
                        <a:pt x="92" y="146"/>
                      </a:lnTo>
                      <a:lnTo>
                        <a:pt x="90" y="144"/>
                      </a:lnTo>
                      <a:lnTo>
                        <a:pt x="90" y="142"/>
                      </a:lnTo>
                      <a:lnTo>
                        <a:pt x="88" y="142"/>
                      </a:lnTo>
                      <a:lnTo>
                        <a:pt x="86" y="140"/>
                      </a:lnTo>
                      <a:lnTo>
                        <a:pt x="74" y="134"/>
                      </a:lnTo>
                      <a:lnTo>
                        <a:pt x="74" y="132"/>
                      </a:lnTo>
                      <a:lnTo>
                        <a:pt x="72" y="132"/>
                      </a:lnTo>
                      <a:lnTo>
                        <a:pt x="72" y="134"/>
                      </a:lnTo>
                      <a:lnTo>
                        <a:pt x="70" y="132"/>
                      </a:lnTo>
                      <a:lnTo>
                        <a:pt x="66" y="126"/>
                      </a:lnTo>
                      <a:lnTo>
                        <a:pt x="64" y="126"/>
                      </a:lnTo>
                      <a:lnTo>
                        <a:pt x="62" y="126"/>
                      </a:lnTo>
                      <a:lnTo>
                        <a:pt x="56" y="124"/>
                      </a:lnTo>
                      <a:lnTo>
                        <a:pt x="50" y="118"/>
                      </a:lnTo>
                      <a:lnTo>
                        <a:pt x="48" y="116"/>
                      </a:lnTo>
                      <a:lnTo>
                        <a:pt x="46" y="112"/>
                      </a:lnTo>
                      <a:lnTo>
                        <a:pt x="44" y="112"/>
                      </a:lnTo>
                      <a:lnTo>
                        <a:pt x="38" y="112"/>
                      </a:lnTo>
                      <a:lnTo>
                        <a:pt x="36" y="108"/>
                      </a:lnTo>
                      <a:lnTo>
                        <a:pt x="36" y="106"/>
                      </a:lnTo>
                      <a:lnTo>
                        <a:pt x="34" y="106"/>
                      </a:lnTo>
                      <a:lnTo>
                        <a:pt x="32" y="106"/>
                      </a:lnTo>
                      <a:lnTo>
                        <a:pt x="32" y="104"/>
                      </a:lnTo>
                      <a:lnTo>
                        <a:pt x="34" y="102"/>
                      </a:lnTo>
                      <a:lnTo>
                        <a:pt x="34" y="100"/>
                      </a:lnTo>
                      <a:lnTo>
                        <a:pt x="32" y="98"/>
                      </a:lnTo>
                      <a:lnTo>
                        <a:pt x="32" y="96"/>
                      </a:lnTo>
                      <a:lnTo>
                        <a:pt x="32" y="94"/>
                      </a:lnTo>
                      <a:lnTo>
                        <a:pt x="26" y="88"/>
                      </a:lnTo>
                      <a:lnTo>
                        <a:pt x="26" y="86"/>
                      </a:lnTo>
                      <a:lnTo>
                        <a:pt x="26" y="84"/>
                      </a:lnTo>
                      <a:lnTo>
                        <a:pt x="20" y="80"/>
                      </a:lnTo>
                      <a:lnTo>
                        <a:pt x="18" y="80"/>
                      </a:lnTo>
                      <a:lnTo>
                        <a:pt x="20" y="78"/>
                      </a:lnTo>
                      <a:lnTo>
                        <a:pt x="18" y="78"/>
                      </a:lnTo>
                      <a:lnTo>
                        <a:pt x="16" y="78"/>
                      </a:lnTo>
                      <a:lnTo>
                        <a:pt x="16" y="74"/>
                      </a:lnTo>
                      <a:lnTo>
                        <a:pt x="18" y="74"/>
                      </a:lnTo>
                      <a:lnTo>
                        <a:pt x="20" y="74"/>
                      </a:lnTo>
                      <a:lnTo>
                        <a:pt x="14" y="70"/>
                      </a:lnTo>
                      <a:lnTo>
                        <a:pt x="14" y="68"/>
                      </a:lnTo>
                      <a:lnTo>
                        <a:pt x="12" y="66"/>
                      </a:lnTo>
                      <a:lnTo>
                        <a:pt x="12" y="54"/>
                      </a:lnTo>
                      <a:lnTo>
                        <a:pt x="14" y="52"/>
                      </a:lnTo>
                      <a:lnTo>
                        <a:pt x="10" y="50"/>
                      </a:lnTo>
                      <a:lnTo>
                        <a:pt x="10" y="48"/>
                      </a:lnTo>
                      <a:lnTo>
                        <a:pt x="8" y="48"/>
                      </a:lnTo>
                      <a:lnTo>
                        <a:pt x="8" y="46"/>
                      </a:lnTo>
                      <a:lnTo>
                        <a:pt x="6" y="44"/>
                      </a:lnTo>
                      <a:lnTo>
                        <a:pt x="8" y="4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3" name="Freeform 3113"/>
                <p:cNvSpPr>
                  <a:spLocks/>
                </p:cNvSpPr>
                <p:nvPr/>
              </p:nvSpPr>
              <p:spPr bwMode="auto">
                <a:xfrm>
                  <a:off x="5006842" y="5406804"/>
                  <a:ext cx="16623" cy="12467"/>
                </a:xfrm>
                <a:custGeom>
                  <a:avLst/>
                  <a:gdLst/>
                  <a:ahLst/>
                  <a:cxnLst>
                    <a:cxn ang="0">
                      <a:pos x="6" y="0"/>
                    </a:cxn>
                    <a:cxn ang="0">
                      <a:pos x="6" y="2"/>
                    </a:cxn>
                    <a:cxn ang="0">
                      <a:pos x="8" y="2"/>
                    </a:cxn>
                    <a:cxn ang="0">
                      <a:pos x="8" y="4"/>
                    </a:cxn>
                    <a:cxn ang="0">
                      <a:pos x="4" y="6"/>
                    </a:cxn>
                    <a:cxn ang="0">
                      <a:pos x="0" y="4"/>
                    </a:cxn>
                    <a:cxn ang="0">
                      <a:pos x="0" y="2"/>
                    </a:cxn>
                    <a:cxn ang="0">
                      <a:pos x="6" y="2"/>
                    </a:cxn>
                    <a:cxn ang="0">
                      <a:pos x="6" y="0"/>
                    </a:cxn>
                  </a:cxnLst>
                  <a:rect l="0" t="0" r="r" b="b"/>
                  <a:pathLst>
                    <a:path w="8" h="6">
                      <a:moveTo>
                        <a:pt x="6" y="0"/>
                      </a:moveTo>
                      <a:lnTo>
                        <a:pt x="6" y="2"/>
                      </a:lnTo>
                      <a:lnTo>
                        <a:pt x="8" y="2"/>
                      </a:lnTo>
                      <a:lnTo>
                        <a:pt x="8" y="4"/>
                      </a:lnTo>
                      <a:lnTo>
                        <a:pt x="4" y="6"/>
                      </a:lnTo>
                      <a:lnTo>
                        <a:pt x="0" y="4"/>
                      </a:lnTo>
                      <a:lnTo>
                        <a:pt x="0" y="2"/>
                      </a:lnTo>
                      <a:lnTo>
                        <a:pt x="6" y="2"/>
                      </a:lnTo>
                      <a:lnTo>
                        <a:pt x="6" y="0"/>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4" name="Freeform 3114"/>
                <p:cNvSpPr>
                  <a:spLocks/>
                </p:cNvSpPr>
                <p:nvPr/>
              </p:nvSpPr>
              <p:spPr bwMode="auto">
                <a:xfrm>
                  <a:off x="5260338" y="5610432"/>
                  <a:ext cx="8311" cy="12467"/>
                </a:xfrm>
                <a:custGeom>
                  <a:avLst/>
                  <a:gdLst/>
                  <a:ahLst/>
                  <a:cxnLst>
                    <a:cxn ang="0">
                      <a:pos x="4" y="2"/>
                    </a:cxn>
                    <a:cxn ang="0">
                      <a:pos x="4" y="4"/>
                    </a:cxn>
                    <a:cxn ang="0">
                      <a:pos x="4" y="6"/>
                    </a:cxn>
                    <a:cxn ang="0">
                      <a:pos x="2" y="6"/>
                    </a:cxn>
                    <a:cxn ang="0">
                      <a:pos x="2" y="4"/>
                    </a:cxn>
                    <a:cxn ang="0">
                      <a:pos x="0" y="4"/>
                    </a:cxn>
                    <a:cxn ang="0">
                      <a:pos x="2" y="0"/>
                    </a:cxn>
                    <a:cxn ang="0">
                      <a:pos x="4" y="2"/>
                    </a:cxn>
                  </a:cxnLst>
                  <a:rect l="0" t="0" r="r" b="b"/>
                  <a:pathLst>
                    <a:path w="4" h="6">
                      <a:moveTo>
                        <a:pt x="4" y="2"/>
                      </a:moveTo>
                      <a:lnTo>
                        <a:pt x="4" y="4"/>
                      </a:lnTo>
                      <a:lnTo>
                        <a:pt x="4" y="6"/>
                      </a:lnTo>
                      <a:lnTo>
                        <a:pt x="2" y="6"/>
                      </a:lnTo>
                      <a:lnTo>
                        <a:pt x="2" y="4"/>
                      </a:lnTo>
                      <a:lnTo>
                        <a:pt x="0" y="4"/>
                      </a:lnTo>
                      <a:lnTo>
                        <a:pt x="2" y="0"/>
                      </a:lnTo>
                      <a:lnTo>
                        <a:pt x="4" y="2"/>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65" name="Group 3118"/>
                <p:cNvGrpSpPr>
                  <a:grpSpLocks/>
                </p:cNvGrpSpPr>
                <p:nvPr/>
              </p:nvGrpSpPr>
              <p:grpSpPr bwMode="auto">
                <a:xfrm>
                  <a:off x="5829666" y="5489917"/>
                  <a:ext cx="70647" cy="58180"/>
                  <a:chOff x="3042" y="3522"/>
                  <a:chExt cx="34" cy="28"/>
                </a:xfrm>
                <a:solidFill>
                  <a:srgbClr val="CAC0B6"/>
                </a:solidFill>
              </p:grpSpPr>
              <p:sp>
                <p:nvSpPr>
                  <p:cNvPr id="573" name="Freeform 3119"/>
                  <p:cNvSpPr>
                    <a:spLocks/>
                  </p:cNvSpPr>
                  <p:nvPr/>
                </p:nvSpPr>
                <p:spPr bwMode="auto">
                  <a:xfrm>
                    <a:off x="3042" y="3522"/>
                    <a:ext cx="28" cy="28"/>
                  </a:xfrm>
                  <a:custGeom>
                    <a:avLst/>
                    <a:gdLst/>
                    <a:ahLst/>
                    <a:cxnLst>
                      <a:cxn ang="0">
                        <a:pos x="0" y="12"/>
                      </a:cxn>
                      <a:cxn ang="0">
                        <a:pos x="2" y="12"/>
                      </a:cxn>
                      <a:cxn ang="0">
                        <a:pos x="6" y="12"/>
                      </a:cxn>
                      <a:cxn ang="0">
                        <a:pos x="12" y="8"/>
                      </a:cxn>
                      <a:cxn ang="0">
                        <a:pos x="16" y="4"/>
                      </a:cxn>
                      <a:cxn ang="0">
                        <a:pos x="18" y="4"/>
                      </a:cxn>
                      <a:cxn ang="0">
                        <a:pos x="22" y="2"/>
                      </a:cxn>
                      <a:cxn ang="0">
                        <a:pos x="24" y="0"/>
                      </a:cxn>
                      <a:cxn ang="0">
                        <a:pos x="26" y="0"/>
                      </a:cxn>
                      <a:cxn ang="0">
                        <a:pos x="28" y="0"/>
                      </a:cxn>
                      <a:cxn ang="0">
                        <a:pos x="24" y="2"/>
                      </a:cxn>
                      <a:cxn ang="0">
                        <a:pos x="24" y="4"/>
                      </a:cxn>
                      <a:cxn ang="0">
                        <a:pos x="26" y="4"/>
                      </a:cxn>
                      <a:cxn ang="0">
                        <a:pos x="24" y="4"/>
                      </a:cxn>
                      <a:cxn ang="0">
                        <a:pos x="24" y="6"/>
                      </a:cxn>
                      <a:cxn ang="0">
                        <a:pos x="22" y="6"/>
                      </a:cxn>
                      <a:cxn ang="0">
                        <a:pos x="20" y="6"/>
                      </a:cxn>
                      <a:cxn ang="0">
                        <a:pos x="20" y="8"/>
                      </a:cxn>
                      <a:cxn ang="0">
                        <a:pos x="20" y="16"/>
                      </a:cxn>
                      <a:cxn ang="0">
                        <a:pos x="20" y="24"/>
                      </a:cxn>
                      <a:cxn ang="0">
                        <a:pos x="16" y="28"/>
                      </a:cxn>
                      <a:cxn ang="0">
                        <a:pos x="14" y="28"/>
                      </a:cxn>
                      <a:cxn ang="0">
                        <a:pos x="14" y="26"/>
                      </a:cxn>
                      <a:cxn ang="0">
                        <a:pos x="8" y="20"/>
                      </a:cxn>
                      <a:cxn ang="0">
                        <a:pos x="6" y="20"/>
                      </a:cxn>
                      <a:cxn ang="0">
                        <a:pos x="6" y="16"/>
                      </a:cxn>
                      <a:cxn ang="0">
                        <a:pos x="4" y="14"/>
                      </a:cxn>
                      <a:cxn ang="0">
                        <a:pos x="2" y="12"/>
                      </a:cxn>
                      <a:cxn ang="0">
                        <a:pos x="0" y="12"/>
                      </a:cxn>
                    </a:cxnLst>
                    <a:rect l="0" t="0" r="r" b="b"/>
                    <a:pathLst>
                      <a:path w="28" h="28">
                        <a:moveTo>
                          <a:pt x="0" y="12"/>
                        </a:moveTo>
                        <a:lnTo>
                          <a:pt x="2" y="12"/>
                        </a:lnTo>
                        <a:lnTo>
                          <a:pt x="6" y="12"/>
                        </a:lnTo>
                        <a:lnTo>
                          <a:pt x="12" y="8"/>
                        </a:lnTo>
                        <a:lnTo>
                          <a:pt x="16" y="4"/>
                        </a:lnTo>
                        <a:lnTo>
                          <a:pt x="18" y="4"/>
                        </a:lnTo>
                        <a:lnTo>
                          <a:pt x="22" y="2"/>
                        </a:lnTo>
                        <a:lnTo>
                          <a:pt x="24" y="0"/>
                        </a:lnTo>
                        <a:lnTo>
                          <a:pt x="26" y="0"/>
                        </a:lnTo>
                        <a:lnTo>
                          <a:pt x="28" y="0"/>
                        </a:lnTo>
                        <a:lnTo>
                          <a:pt x="24" y="2"/>
                        </a:lnTo>
                        <a:lnTo>
                          <a:pt x="24" y="4"/>
                        </a:lnTo>
                        <a:lnTo>
                          <a:pt x="26" y="4"/>
                        </a:lnTo>
                        <a:lnTo>
                          <a:pt x="24" y="4"/>
                        </a:lnTo>
                        <a:lnTo>
                          <a:pt x="24" y="6"/>
                        </a:lnTo>
                        <a:lnTo>
                          <a:pt x="22" y="6"/>
                        </a:lnTo>
                        <a:lnTo>
                          <a:pt x="20" y="6"/>
                        </a:lnTo>
                        <a:lnTo>
                          <a:pt x="20" y="8"/>
                        </a:lnTo>
                        <a:lnTo>
                          <a:pt x="20" y="16"/>
                        </a:lnTo>
                        <a:lnTo>
                          <a:pt x="20" y="24"/>
                        </a:lnTo>
                        <a:lnTo>
                          <a:pt x="16" y="28"/>
                        </a:lnTo>
                        <a:lnTo>
                          <a:pt x="14" y="28"/>
                        </a:lnTo>
                        <a:lnTo>
                          <a:pt x="14" y="26"/>
                        </a:lnTo>
                        <a:lnTo>
                          <a:pt x="8" y="20"/>
                        </a:lnTo>
                        <a:lnTo>
                          <a:pt x="6" y="20"/>
                        </a:lnTo>
                        <a:lnTo>
                          <a:pt x="6" y="16"/>
                        </a:lnTo>
                        <a:lnTo>
                          <a:pt x="4" y="14"/>
                        </a:lnTo>
                        <a:lnTo>
                          <a:pt x="2" y="12"/>
                        </a:lnTo>
                        <a:lnTo>
                          <a:pt x="0"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4" name="Freeform 3120"/>
                  <p:cNvSpPr>
                    <a:spLocks/>
                  </p:cNvSpPr>
                  <p:nvPr/>
                </p:nvSpPr>
                <p:spPr bwMode="auto">
                  <a:xfrm>
                    <a:off x="3068" y="3526"/>
                    <a:ext cx="8" cy="16"/>
                  </a:xfrm>
                  <a:custGeom>
                    <a:avLst/>
                    <a:gdLst/>
                    <a:ahLst/>
                    <a:cxnLst>
                      <a:cxn ang="0">
                        <a:pos x="2" y="0"/>
                      </a:cxn>
                      <a:cxn ang="0">
                        <a:pos x="4" y="0"/>
                      </a:cxn>
                      <a:cxn ang="0">
                        <a:pos x="6" y="8"/>
                      </a:cxn>
                      <a:cxn ang="0">
                        <a:pos x="6" y="12"/>
                      </a:cxn>
                      <a:cxn ang="0">
                        <a:pos x="8" y="14"/>
                      </a:cxn>
                      <a:cxn ang="0">
                        <a:pos x="8" y="16"/>
                      </a:cxn>
                      <a:cxn ang="0">
                        <a:pos x="2" y="14"/>
                      </a:cxn>
                      <a:cxn ang="0">
                        <a:pos x="2" y="12"/>
                      </a:cxn>
                      <a:cxn ang="0">
                        <a:pos x="0" y="6"/>
                      </a:cxn>
                      <a:cxn ang="0">
                        <a:pos x="0" y="4"/>
                      </a:cxn>
                      <a:cxn ang="0">
                        <a:pos x="0" y="2"/>
                      </a:cxn>
                      <a:cxn ang="0">
                        <a:pos x="2" y="0"/>
                      </a:cxn>
                    </a:cxnLst>
                    <a:rect l="0" t="0" r="r" b="b"/>
                    <a:pathLst>
                      <a:path w="8" h="16">
                        <a:moveTo>
                          <a:pt x="2" y="0"/>
                        </a:moveTo>
                        <a:lnTo>
                          <a:pt x="4" y="0"/>
                        </a:lnTo>
                        <a:lnTo>
                          <a:pt x="6" y="8"/>
                        </a:lnTo>
                        <a:lnTo>
                          <a:pt x="6" y="12"/>
                        </a:lnTo>
                        <a:lnTo>
                          <a:pt x="8" y="14"/>
                        </a:lnTo>
                        <a:lnTo>
                          <a:pt x="8" y="16"/>
                        </a:lnTo>
                        <a:lnTo>
                          <a:pt x="2" y="14"/>
                        </a:lnTo>
                        <a:lnTo>
                          <a:pt x="2" y="12"/>
                        </a:lnTo>
                        <a:lnTo>
                          <a:pt x="0" y="6"/>
                        </a:lnTo>
                        <a:lnTo>
                          <a:pt x="0" y="4"/>
                        </a:lnTo>
                        <a:lnTo>
                          <a:pt x="0"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66" name="Freeform 3122"/>
                <p:cNvSpPr>
                  <a:spLocks/>
                </p:cNvSpPr>
                <p:nvPr/>
              </p:nvSpPr>
              <p:spPr bwMode="auto">
                <a:xfrm>
                  <a:off x="5235404" y="5693546"/>
                  <a:ext cx="20778" cy="8311"/>
                </a:xfrm>
                <a:custGeom>
                  <a:avLst/>
                  <a:gdLst/>
                  <a:ahLst/>
                  <a:cxnLst>
                    <a:cxn ang="0">
                      <a:pos x="10" y="2"/>
                    </a:cxn>
                    <a:cxn ang="0">
                      <a:pos x="10" y="4"/>
                    </a:cxn>
                    <a:cxn ang="0">
                      <a:pos x="8" y="4"/>
                    </a:cxn>
                    <a:cxn ang="0">
                      <a:pos x="6" y="4"/>
                    </a:cxn>
                    <a:cxn ang="0">
                      <a:pos x="0" y="4"/>
                    </a:cxn>
                    <a:cxn ang="0">
                      <a:pos x="2" y="2"/>
                    </a:cxn>
                    <a:cxn ang="0">
                      <a:pos x="2" y="0"/>
                    </a:cxn>
                    <a:cxn ang="0">
                      <a:pos x="4" y="0"/>
                    </a:cxn>
                    <a:cxn ang="0">
                      <a:pos x="6" y="0"/>
                    </a:cxn>
                    <a:cxn ang="0">
                      <a:pos x="8" y="0"/>
                    </a:cxn>
                    <a:cxn ang="0">
                      <a:pos x="8" y="2"/>
                    </a:cxn>
                    <a:cxn ang="0">
                      <a:pos x="10" y="2"/>
                    </a:cxn>
                  </a:cxnLst>
                  <a:rect l="0" t="0" r="r" b="b"/>
                  <a:pathLst>
                    <a:path w="10" h="4">
                      <a:moveTo>
                        <a:pt x="10" y="2"/>
                      </a:moveTo>
                      <a:lnTo>
                        <a:pt x="10" y="4"/>
                      </a:lnTo>
                      <a:lnTo>
                        <a:pt x="8" y="4"/>
                      </a:lnTo>
                      <a:lnTo>
                        <a:pt x="6" y="4"/>
                      </a:lnTo>
                      <a:lnTo>
                        <a:pt x="0" y="4"/>
                      </a:lnTo>
                      <a:lnTo>
                        <a:pt x="2" y="2"/>
                      </a:lnTo>
                      <a:lnTo>
                        <a:pt x="2" y="0"/>
                      </a:lnTo>
                      <a:lnTo>
                        <a:pt x="4" y="0"/>
                      </a:lnTo>
                      <a:lnTo>
                        <a:pt x="6" y="0"/>
                      </a:lnTo>
                      <a:lnTo>
                        <a:pt x="8" y="0"/>
                      </a:lnTo>
                      <a:lnTo>
                        <a:pt x="8" y="2"/>
                      </a:lnTo>
                      <a:lnTo>
                        <a:pt x="10" y="2"/>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67" name="Group 3131"/>
                <p:cNvGrpSpPr>
                  <a:grpSpLocks/>
                </p:cNvGrpSpPr>
                <p:nvPr/>
              </p:nvGrpSpPr>
              <p:grpSpPr bwMode="auto">
                <a:xfrm>
                  <a:off x="8235804" y="6150670"/>
                  <a:ext cx="598418" cy="303365"/>
                  <a:chOff x="4200" y="3840"/>
                  <a:chExt cx="288" cy="146"/>
                </a:xfrm>
                <a:solidFill>
                  <a:srgbClr val="B9B9B9"/>
                </a:solidFill>
              </p:grpSpPr>
              <p:sp>
                <p:nvSpPr>
                  <p:cNvPr id="552" name="Freeform 3132"/>
                  <p:cNvSpPr>
                    <a:spLocks/>
                  </p:cNvSpPr>
                  <p:nvPr/>
                </p:nvSpPr>
                <p:spPr bwMode="auto">
                  <a:xfrm>
                    <a:off x="4200" y="3840"/>
                    <a:ext cx="30" cy="24"/>
                  </a:xfrm>
                  <a:custGeom>
                    <a:avLst/>
                    <a:gdLst/>
                    <a:ahLst/>
                    <a:cxnLst>
                      <a:cxn ang="0">
                        <a:pos x="28" y="24"/>
                      </a:cxn>
                      <a:cxn ang="0">
                        <a:pos x="26" y="22"/>
                      </a:cxn>
                      <a:cxn ang="0">
                        <a:pos x="14" y="18"/>
                      </a:cxn>
                      <a:cxn ang="0">
                        <a:pos x="6" y="8"/>
                      </a:cxn>
                      <a:cxn ang="0">
                        <a:pos x="4" y="6"/>
                      </a:cxn>
                      <a:cxn ang="0">
                        <a:pos x="2" y="6"/>
                      </a:cxn>
                      <a:cxn ang="0">
                        <a:pos x="0" y="4"/>
                      </a:cxn>
                      <a:cxn ang="0">
                        <a:pos x="0" y="2"/>
                      </a:cxn>
                      <a:cxn ang="0">
                        <a:pos x="2" y="0"/>
                      </a:cxn>
                      <a:cxn ang="0">
                        <a:pos x="4" y="0"/>
                      </a:cxn>
                      <a:cxn ang="0">
                        <a:pos x="6" y="2"/>
                      </a:cxn>
                      <a:cxn ang="0">
                        <a:pos x="8" y="4"/>
                      </a:cxn>
                      <a:cxn ang="0">
                        <a:pos x="10" y="6"/>
                      </a:cxn>
                      <a:cxn ang="0">
                        <a:pos x="18" y="8"/>
                      </a:cxn>
                      <a:cxn ang="0">
                        <a:pos x="18" y="12"/>
                      </a:cxn>
                      <a:cxn ang="0">
                        <a:pos x="20" y="12"/>
                      </a:cxn>
                      <a:cxn ang="0">
                        <a:pos x="20" y="14"/>
                      </a:cxn>
                      <a:cxn ang="0">
                        <a:pos x="24" y="20"/>
                      </a:cxn>
                      <a:cxn ang="0">
                        <a:pos x="28" y="20"/>
                      </a:cxn>
                      <a:cxn ang="0">
                        <a:pos x="30" y="20"/>
                      </a:cxn>
                      <a:cxn ang="0">
                        <a:pos x="30" y="22"/>
                      </a:cxn>
                      <a:cxn ang="0">
                        <a:pos x="28" y="22"/>
                      </a:cxn>
                      <a:cxn ang="0">
                        <a:pos x="28" y="24"/>
                      </a:cxn>
                    </a:cxnLst>
                    <a:rect l="0" t="0" r="r" b="b"/>
                    <a:pathLst>
                      <a:path w="30" h="24">
                        <a:moveTo>
                          <a:pt x="28" y="24"/>
                        </a:moveTo>
                        <a:lnTo>
                          <a:pt x="26" y="22"/>
                        </a:lnTo>
                        <a:lnTo>
                          <a:pt x="14" y="18"/>
                        </a:lnTo>
                        <a:lnTo>
                          <a:pt x="6" y="8"/>
                        </a:lnTo>
                        <a:lnTo>
                          <a:pt x="4" y="6"/>
                        </a:lnTo>
                        <a:lnTo>
                          <a:pt x="2" y="6"/>
                        </a:lnTo>
                        <a:lnTo>
                          <a:pt x="0" y="4"/>
                        </a:lnTo>
                        <a:lnTo>
                          <a:pt x="0" y="2"/>
                        </a:lnTo>
                        <a:lnTo>
                          <a:pt x="2" y="0"/>
                        </a:lnTo>
                        <a:lnTo>
                          <a:pt x="4" y="0"/>
                        </a:lnTo>
                        <a:lnTo>
                          <a:pt x="6" y="2"/>
                        </a:lnTo>
                        <a:lnTo>
                          <a:pt x="8" y="4"/>
                        </a:lnTo>
                        <a:lnTo>
                          <a:pt x="10" y="6"/>
                        </a:lnTo>
                        <a:lnTo>
                          <a:pt x="18" y="8"/>
                        </a:lnTo>
                        <a:lnTo>
                          <a:pt x="18" y="12"/>
                        </a:lnTo>
                        <a:lnTo>
                          <a:pt x="20" y="12"/>
                        </a:lnTo>
                        <a:lnTo>
                          <a:pt x="20" y="14"/>
                        </a:lnTo>
                        <a:lnTo>
                          <a:pt x="24" y="20"/>
                        </a:lnTo>
                        <a:lnTo>
                          <a:pt x="28" y="20"/>
                        </a:lnTo>
                        <a:lnTo>
                          <a:pt x="30" y="20"/>
                        </a:lnTo>
                        <a:lnTo>
                          <a:pt x="30" y="22"/>
                        </a:lnTo>
                        <a:lnTo>
                          <a:pt x="28" y="22"/>
                        </a:lnTo>
                        <a:lnTo>
                          <a:pt x="28"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3" name="Freeform 3133"/>
                  <p:cNvSpPr>
                    <a:spLocks/>
                  </p:cNvSpPr>
                  <p:nvPr/>
                </p:nvSpPr>
                <p:spPr bwMode="auto">
                  <a:xfrm>
                    <a:off x="4256" y="3866"/>
                    <a:ext cx="38" cy="28"/>
                  </a:xfrm>
                  <a:custGeom>
                    <a:avLst/>
                    <a:gdLst/>
                    <a:ahLst/>
                    <a:cxnLst>
                      <a:cxn ang="0">
                        <a:pos x="38" y="28"/>
                      </a:cxn>
                      <a:cxn ang="0">
                        <a:pos x="36" y="28"/>
                      </a:cxn>
                      <a:cxn ang="0">
                        <a:pos x="32" y="22"/>
                      </a:cxn>
                      <a:cxn ang="0">
                        <a:pos x="28" y="22"/>
                      </a:cxn>
                      <a:cxn ang="0">
                        <a:pos x="10" y="12"/>
                      </a:cxn>
                      <a:cxn ang="0">
                        <a:pos x="2" y="6"/>
                      </a:cxn>
                      <a:cxn ang="0">
                        <a:pos x="2" y="4"/>
                      </a:cxn>
                      <a:cxn ang="0">
                        <a:pos x="0" y="0"/>
                      </a:cxn>
                      <a:cxn ang="0">
                        <a:pos x="4" y="2"/>
                      </a:cxn>
                      <a:cxn ang="0">
                        <a:pos x="16" y="10"/>
                      </a:cxn>
                      <a:cxn ang="0">
                        <a:pos x="28" y="16"/>
                      </a:cxn>
                      <a:cxn ang="0">
                        <a:pos x="38" y="22"/>
                      </a:cxn>
                      <a:cxn ang="0">
                        <a:pos x="38" y="28"/>
                      </a:cxn>
                    </a:cxnLst>
                    <a:rect l="0" t="0" r="r" b="b"/>
                    <a:pathLst>
                      <a:path w="38" h="28">
                        <a:moveTo>
                          <a:pt x="38" y="28"/>
                        </a:moveTo>
                        <a:lnTo>
                          <a:pt x="36" y="28"/>
                        </a:lnTo>
                        <a:lnTo>
                          <a:pt x="32" y="22"/>
                        </a:lnTo>
                        <a:lnTo>
                          <a:pt x="28" y="22"/>
                        </a:lnTo>
                        <a:lnTo>
                          <a:pt x="10" y="12"/>
                        </a:lnTo>
                        <a:lnTo>
                          <a:pt x="2" y="6"/>
                        </a:lnTo>
                        <a:lnTo>
                          <a:pt x="2" y="4"/>
                        </a:lnTo>
                        <a:lnTo>
                          <a:pt x="0" y="0"/>
                        </a:lnTo>
                        <a:lnTo>
                          <a:pt x="4" y="2"/>
                        </a:lnTo>
                        <a:lnTo>
                          <a:pt x="16" y="10"/>
                        </a:lnTo>
                        <a:lnTo>
                          <a:pt x="28" y="16"/>
                        </a:lnTo>
                        <a:lnTo>
                          <a:pt x="38" y="22"/>
                        </a:lnTo>
                        <a:lnTo>
                          <a:pt x="38"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4" name="Freeform 3134"/>
                  <p:cNvSpPr>
                    <a:spLocks/>
                  </p:cNvSpPr>
                  <p:nvPr/>
                </p:nvSpPr>
                <p:spPr bwMode="auto">
                  <a:xfrm>
                    <a:off x="4252" y="3868"/>
                    <a:ext cx="6" cy="2"/>
                  </a:xfrm>
                  <a:custGeom>
                    <a:avLst/>
                    <a:gdLst/>
                    <a:ahLst/>
                    <a:cxnLst>
                      <a:cxn ang="0">
                        <a:pos x="6" y="2"/>
                      </a:cxn>
                      <a:cxn ang="0">
                        <a:pos x="4" y="2"/>
                      </a:cxn>
                      <a:cxn ang="0">
                        <a:pos x="0" y="2"/>
                      </a:cxn>
                      <a:cxn ang="0">
                        <a:pos x="0" y="0"/>
                      </a:cxn>
                      <a:cxn ang="0">
                        <a:pos x="2" y="0"/>
                      </a:cxn>
                      <a:cxn ang="0">
                        <a:pos x="4" y="0"/>
                      </a:cxn>
                      <a:cxn ang="0">
                        <a:pos x="6" y="2"/>
                      </a:cxn>
                    </a:cxnLst>
                    <a:rect l="0" t="0" r="r" b="b"/>
                    <a:pathLst>
                      <a:path w="6" h="2">
                        <a:moveTo>
                          <a:pt x="6" y="2"/>
                        </a:moveTo>
                        <a:lnTo>
                          <a:pt x="4" y="2"/>
                        </a:lnTo>
                        <a:lnTo>
                          <a:pt x="0" y="2"/>
                        </a:lnTo>
                        <a:lnTo>
                          <a:pt x="0" y="0"/>
                        </a:lnTo>
                        <a:lnTo>
                          <a:pt x="2" y="0"/>
                        </a:lnTo>
                        <a:lnTo>
                          <a:pt x="4" y="0"/>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5" name="Freeform 3135"/>
                  <p:cNvSpPr>
                    <a:spLocks/>
                  </p:cNvSpPr>
                  <p:nvPr/>
                </p:nvSpPr>
                <p:spPr bwMode="auto">
                  <a:xfrm>
                    <a:off x="4202" y="3868"/>
                    <a:ext cx="8" cy="10"/>
                  </a:xfrm>
                  <a:custGeom>
                    <a:avLst/>
                    <a:gdLst/>
                    <a:ahLst/>
                    <a:cxnLst>
                      <a:cxn ang="0">
                        <a:pos x="6" y="10"/>
                      </a:cxn>
                      <a:cxn ang="0">
                        <a:pos x="2" y="4"/>
                      </a:cxn>
                      <a:cxn ang="0">
                        <a:pos x="0" y="2"/>
                      </a:cxn>
                      <a:cxn ang="0">
                        <a:pos x="0" y="0"/>
                      </a:cxn>
                      <a:cxn ang="0">
                        <a:pos x="2" y="0"/>
                      </a:cxn>
                      <a:cxn ang="0">
                        <a:pos x="4" y="0"/>
                      </a:cxn>
                      <a:cxn ang="0">
                        <a:pos x="8" y="2"/>
                      </a:cxn>
                      <a:cxn ang="0">
                        <a:pos x="8" y="6"/>
                      </a:cxn>
                      <a:cxn ang="0">
                        <a:pos x="6" y="8"/>
                      </a:cxn>
                      <a:cxn ang="0">
                        <a:pos x="6" y="10"/>
                      </a:cxn>
                    </a:cxnLst>
                    <a:rect l="0" t="0" r="r" b="b"/>
                    <a:pathLst>
                      <a:path w="8" h="10">
                        <a:moveTo>
                          <a:pt x="6" y="10"/>
                        </a:moveTo>
                        <a:lnTo>
                          <a:pt x="2" y="4"/>
                        </a:lnTo>
                        <a:lnTo>
                          <a:pt x="0" y="2"/>
                        </a:lnTo>
                        <a:lnTo>
                          <a:pt x="0" y="0"/>
                        </a:lnTo>
                        <a:lnTo>
                          <a:pt x="2" y="0"/>
                        </a:lnTo>
                        <a:lnTo>
                          <a:pt x="4" y="0"/>
                        </a:lnTo>
                        <a:lnTo>
                          <a:pt x="8" y="2"/>
                        </a:lnTo>
                        <a:lnTo>
                          <a:pt x="8" y="6"/>
                        </a:lnTo>
                        <a:lnTo>
                          <a:pt x="6"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6" name="Freeform 3136"/>
                  <p:cNvSpPr>
                    <a:spLocks/>
                  </p:cNvSpPr>
                  <p:nvPr/>
                </p:nvSpPr>
                <p:spPr bwMode="auto">
                  <a:xfrm>
                    <a:off x="4214" y="3876"/>
                    <a:ext cx="8" cy="8"/>
                  </a:xfrm>
                  <a:custGeom>
                    <a:avLst/>
                    <a:gdLst/>
                    <a:ahLst/>
                    <a:cxnLst>
                      <a:cxn ang="0">
                        <a:pos x="6" y="8"/>
                      </a:cxn>
                      <a:cxn ang="0">
                        <a:pos x="4" y="6"/>
                      </a:cxn>
                      <a:cxn ang="0">
                        <a:pos x="2" y="6"/>
                      </a:cxn>
                      <a:cxn ang="0">
                        <a:pos x="2" y="4"/>
                      </a:cxn>
                      <a:cxn ang="0">
                        <a:pos x="0" y="4"/>
                      </a:cxn>
                      <a:cxn ang="0">
                        <a:pos x="0" y="0"/>
                      </a:cxn>
                      <a:cxn ang="0">
                        <a:pos x="2" y="0"/>
                      </a:cxn>
                      <a:cxn ang="0">
                        <a:pos x="4" y="0"/>
                      </a:cxn>
                      <a:cxn ang="0">
                        <a:pos x="6" y="0"/>
                      </a:cxn>
                      <a:cxn ang="0">
                        <a:pos x="6" y="2"/>
                      </a:cxn>
                      <a:cxn ang="0">
                        <a:pos x="8" y="2"/>
                      </a:cxn>
                      <a:cxn ang="0">
                        <a:pos x="8" y="6"/>
                      </a:cxn>
                      <a:cxn ang="0">
                        <a:pos x="6" y="6"/>
                      </a:cxn>
                      <a:cxn ang="0">
                        <a:pos x="6" y="8"/>
                      </a:cxn>
                    </a:cxnLst>
                    <a:rect l="0" t="0" r="r" b="b"/>
                    <a:pathLst>
                      <a:path w="8" h="8">
                        <a:moveTo>
                          <a:pt x="6" y="8"/>
                        </a:moveTo>
                        <a:lnTo>
                          <a:pt x="4" y="6"/>
                        </a:lnTo>
                        <a:lnTo>
                          <a:pt x="2" y="6"/>
                        </a:lnTo>
                        <a:lnTo>
                          <a:pt x="2" y="4"/>
                        </a:lnTo>
                        <a:lnTo>
                          <a:pt x="0" y="4"/>
                        </a:lnTo>
                        <a:lnTo>
                          <a:pt x="0" y="0"/>
                        </a:lnTo>
                        <a:lnTo>
                          <a:pt x="2" y="0"/>
                        </a:lnTo>
                        <a:lnTo>
                          <a:pt x="4" y="0"/>
                        </a:lnTo>
                        <a:lnTo>
                          <a:pt x="6" y="0"/>
                        </a:lnTo>
                        <a:lnTo>
                          <a:pt x="6" y="2"/>
                        </a:lnTo>
                        <a:lnTo>
                          <a:pt x="8" y="2"/>
                        </a:lnTo>
                        <a:lnTo>
                          <a:pt x="8" y="6"/>
                        </a:lnTo>
                        <a:lnTo>
                          <a:pt x="6" y="6"/>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7" name="Freeform 3137"/>
                  <p:cNvSpPr>
                    <a:spLocks/>
                  </p:cNvSpPr>
                  <p:nvPr/>
                </p:nvSpPr>
                <p:spPr bwMode="auto">
                  <a:xfrm>
                    <a:off x="4202" y="3878"/>
                    <a:ext cx="4" cy="6"/>
                  </a:xfrm>
                  <a:custGeom>
                    <a:avLst/>
                    <a:gdLst/>
                    <a:ahLst/>
                    <a:cxnLst>
                      <a:cxn ang="0">
                        <a:pos x="4" y="6"/>
                      </a:cxn>
                      <a:cxn ang="0">
                        <a:pos x="2" y="6"/>
                      </a:cxn>
                      <a:cxn ang="0">
                        <a:pos x="0" y="0"/>
                      </a:cxn>
                      <a:cxn ang="0">
                        <a:pos x="2" y="0"/>
                      </a:cxn>
                      <a:cxn ang="0">
                        <a:pos x="4" y="2"/>
                      </a:cxn>
                      <a:cxn ang="0">
                        <a:pos x="4" y="6"/>
                      </a:cxn>
                    </a:cxnLst>
                    <a:rect l="0" t="0" r="r" b="b"/>
                    <a:pathLst>
                      <a:path w="4" h="6">
                        <a:moveTo>
                          <a:pt x="4" y="6"/>
                        </a:moveTo>
                        <a:lnTo>
                          <a:pt x="2" y="6"/>
                        </a:lnTo>
                        <a:lnTo>
                          <a:pt x="0" y="0"/>
                        </a:lnTo>
                        <a:lnTo>
                          <a:pt x="2" y="0"/>
                        </a:lnTo>
                        <a:lnTo>
                          <a:pt x="4" y="2"/>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8" name="Freeform 3138"/>
                  <p:cNvSpPr>
                    <a:spLocks/>
                  </p:cNvSpPr>
                  <p:nvPr/>
                </p:nvSpPr>
                <p:spPr bwMode="auto">
                  <a:xfrm>
                    <a:off x="4222" y="3878"/>
                    <a:ext cx="18" cy="18"/>
                  </a:xfrm>
                  <a:custGeom>
                    <a:avLst/>
                    <a:gdLst/>
                    <a:ahLst/>
                    <a:cxnLst>
                      <a:cxn ang="0">
                        <a:pos x="16" y="18"/>
                      </a:cxn>
                      <a:cxn ang="0">
                        <a:pos x="14" y="16"/>
                      </a:cxn>
                      <a:cxn ang="0">
                        <a:pos x="12" y="16"/>
                      </a:cxn>
                      <a:cxn ang="0">
                        <a:pos x="10" y="14"/>
                      </a:cxn>
                      <a:cxn ang="0">
                        <a:pos x="10" y="10"/>
                      </a:cxn>
                      <a:cxn ang="0">
                        <a:pos x="10" y="12"/>
                      </a:cxn>
                      <a:cxn ang="0">
                        <a:pos x="12" y="12"/>
                      </a:cxn>
                      <a:cxn ang="0">
                        <a:pos x="8" y="8"/>
                      </a:cxn>
                      <a:cxn ang="0">
                        <a:pos x="4" y="10"/>
                      </a:cxn>
                      <a:cxn ang="0">
                        <a:pos x="2" y="10"/>
                      </a:cxn>
                      <a:cxn ang="0">
                        <a:pos x="0" y="10"/>
                      </a:cxn>
                      <a:cxn ang="0">
                        <a:pos x="0" y="8"/>
                      </a:cxn>
                      <a:cxn ang="0">
                        <a:pos x="0" y="6"/>
                      </a:cxn>
                      <a:cxn ang="0">
                        <a:pos x="2" y="4"/>
                      </a:cxn>
                      <a:cxn ang="0">
                        <a:pos x="4" y="4"/>
                      </a:cxn>
                      <a:cxn ang="0">
                        <a:pos x="4" y="2"/>
                      </a:cxn>
                      <a:cxn ang="0">
                        <a:pos x="6" y="0"/>
                      </a:cxn>
                      <a:cxn ang="0">
                        <a:pos x="8" y="0"/>
                      </a:cxn>
                      <a:cxn ang="0">
                        <a:pos x="10" y="2"/>
                      </a:cxn>
                      <a:cxn ang="0">
                        <a:pos x="10" y="6"/>
                      </a:cxn>
                      <a:cxn ang="0">
                        <a:pos x="12" y="8"/>
                      </a:cxn>
                      <a:cxn ang="0">
                        <a:pos x="14" y="8"/>
                      </a:cxn>
                      <a:cxn ang="0">
                        <a:pos x="16" y="8"/>
                      </a:cxn>
                      <a:cxn ang="0">
                        <a:pos x="18" y="12"/>
                      </a:cxn>
                      <a:cxn ang="0">
                        <a:pos x="18" y="14"/>
                      </a:cxn>
                      <a:cxn ang="0">
                        <a:pos x="18" y="16"/>
                      </a:cxn>
                      <a:cxn ang="0">
                        <a:pos x="16" y="18"/>
                      </a:cxn>
                    </a:cxnLst>
                    <a:rect l="0" t="0" r="r" b="b"/>
                    <a:pathLst>
                      <a:path w="18" h="18">
                        <a:moveTo>
                          <a:pt x="16" y="18"/>
                        </a:moveTo>
                        <a:lnTo>
                          <a:pt x="14" y="16"/>
                        </a:lnTo>
                        <a:lnTo>
                          <a:pt x="12" y="16"/>
                        </a:lnTo>
                        <a:lnTo>
                          <a:pt x="10" y="14"/>
                        </a:lnTo>
                        <a:lnTo>
                          <a:pt x="10" y="10"/>
                        </a:lnTo>
                        <a:lnTo>
                          <a:pt x="10" y="12"/>
                        </a:lnTo>
                        <a:lnTo>
                          <a:pt x="12" y="12"/>
                        </a:lnTo>
                        <a:lnTo>
                          <a:pt x="8" y="8"/>
                        </a:lnTo>
                        <a:lnTo>
                          <a:pt x="4" y="10"/>
                        </a:lnTo>
                        <a:lnTo>
                          <a:pt x="2" y="10"/>
                        </a:lnTo>
                        <a:lnTo>
                          <a:pt x="0" y="10"/>
                        </a:lnTo>
                        <a:lnTo>
                          <a:pt x="0" y="8"/>
                        </a:lnTo>
                        <a:lnTo>
                          <a:pt x="0" y="6"/>
                        </a:lnTo>
                        <a:lnTo>
                          <a:pt x="2" y="4"/>
                        </a:lnTo>
                        <a:lnTo>
                          <a:pt x="4" y="4"/>
                        </a:lnTo>
                        <a:lnTo>
                          <a:pt x="4" y="2"/>
                        </a:lnTo>
                        <a:lnTo>
                          <a:pt x="6" y="0"/>
                        </a:lnTo>
                        <a:lnTo>
                          <a:pt x="8" y="0"/>
                        </a:lnTo>
                        <a:lnTo>
                          <a:pt x="10" y="2"/>
                        </a:lnTo>
                        <a:lnTo>
                          <a:pt x="10" y="6"/>
                        </a:lnTo>
                        <a:lnTo>
                          <a:pt x="12" y="8"/>
                        </a:lnTo>
                        <a:lnTo>
                          <a:pt x="14" y="8"/>
                        </a:lnTo>
                        <a:lnTo>
                          <a:pt x="16" y="8"/>
                        </a:lnTo>
                        <a:lnTo>
                          <a:pt x="18" y="12"/>
                        </a:lnTo>
                        <a:lnTo>
                          <a:pt x="18" y="14"/>
                        </a:lnTo>
                        <a:lnTo>
                          <a:pt x="18" y="16"/>
                        </a:lnTo>
                        <a:lnTo>
                          <a:pt x="16"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9" name="Freeform 3139"/>
                  <p:cNvSpPr>
                    <a:spLocks/>
                  </p:cNvSpPr>
                  <p:nvPr/>
                </p:nvSpPr>
                <p:spPr bwMode="auto">
                  <a:xfrm>
                    <a:off x="4314" y="3888"/>
                    <a:ext cx="22" cy="36"/>
                  </a:xfrm>
                  <a:custGeom>
                    <a:avLst/>
                    <a:gdLst/>
                    <a:ahLst/>
                    <a:cxnLst>
                      <a:cxn ang="0">
                        <a:pos x="18" y="22"/>
                      </a:cxn>
                      <a:cxn ang="0">
                        <a:pos x="16" y="22"/>
                      </a:cxn>
                      <a:cxn ang="0">
                        <a:pos x="20" y="32"/>
                      </a:cxn>
                      <a:cxn ang="0">
                        <a:pos x="22" y="34"/>
                      </a:cxn>
                      <a:cxn ang="0">
                        <a:pos x="22" y="36"/>
                      </a:cxn>
                      <a:cxn ang="0">
                        <a:pos x="20" y="34"/>
                      </a:cxn>
                      <a:cxn ang="0">
                        <a:pos x="18" y="34"/>
                      </a:cxn>
                      <a:cxn ang="0">
                        <a:pos x="18" y="32"/>
                      </a:cxn>
                      <a:cxn ang="0">
                        <a:pos x="18" y="30"/>
                      </a:cxn>
                      <a:cxn ang="0">
                        <a:pos x="10" y="24"/>
                      </a:cxn>
                      <a:cxn ang="0">
                        <a:pos x="8" y="24"/>
                      </a:cxn>
                      <a:cxn ang="0">
                        <a:pos x="4" y="18"/>
                      </a:cxn>
                      <a:cxn ang="0">
                        <a:pos x="4" y="16"/>
                      </a:cxn>
                      <a:cxn ang="0">
                        <a:pos x="4" y="14"/>
                      </a:cxn>
                      <a:cxn ang="0">
                        <a:pos x="4" y="12"/>
                      </a:cxn>
                      <a:cxn ang="0">
                        <a:pos x="2" y="8"/>
                      </a:cxn>
                      <a:cxn ang="0">
                        <a:pos x="4" y="8"/>
                      </a:cxn>
                      <a:cxn ang="0">
                        <a:pos x="4" y="6"/>
                      </a:cxn>
                      <a:cxn ang="0">
                        <a:pos x="0" y="2"/>
                      </a:cxn>
                      <a:cxn ang="0">
                        <a:pos x="0" y="0"/>
                      </a:cxn>
                      <a:cxn ang="0">
                        <a:pos x="4" y="0"/>
                      </a:cxn>
                      <a:cxn ang="0">
                        <a:pos x="6" y="2"/>
                      </a:cxn>
                      <a:cxn ang="0">
                        <a:pos x="8" y="4"/>
                      </a:cxn>
                      <a:cxn ang="0">
                        <a:pos x="10" y="6"/>
                      </a:cxn>
                      <a:cxn ang="0">
                        <a:pos x="10" y="8"/>
                      </a:cxn>
                      <a:cxn ang="0">
                        <a:pos x="12" y="8"/>
                      </a:cxn>
                      <a:cxn ang="0">
                        <a:pos x="12" y="10"/>
                      </a:cxn>
                      <a:cxn ang="0">
                        <a:pos x="10" y="12"/>
                      </a:cxn>
                      <a:cxn ang="0">
                        <a:pos x="10" y="14"/>
                      </a:cxn>
                      <a:cxn ang="0">
                        <a:pos x="12" y="14"/>
                      </a:cxn>
                      <a:cxn ang="0">
                        <a:pos x="14" y="18"/>
                      </a:cxn>
                      <a:cxn ang="0">
                        <a:pos x="16" y="18"/>
                      </a:cxn>
                      <a:cxn ang="0">
                        <a:pos x="18" y="22"/>
                      </a:cxn>
                    </a:cxnLst>
                    <a:rect l="0" t="0" r="r" b="b"/>
                    <a:pathLst>
                      <a:path w="22" h="36">
                        <a:moveTo>
                          <a:pt x="18" y="22"/>
                        </a:moveTo>
                        <a:lnTo>
                          <a:pt x="16" y="22"/>
                        </a:lnTo>
                        <a:lnTo>
                          <a:pt x="20" y="32"/>
                        </a:lnTo>
                        <a:lnTo>
                          <a:pt x="22" y="34"/>
                        </a:lnTo>
                        <a:lnTo>
                          <a:pt x="22" y="36"/>
                        </a:lnTo>
                        <a:lnTo>
                          <a:pt x="20" y="34"/>
                        </a:lnTo>
                        <a:lnTo>
                          <a:pt x="18" y="34"/>
                        </a:lnTo>
                        <a:lnTo>
                          <a:pt x="18" y="32"/>
                        </a:lnTo>
                        <a:lnTo>
                          <a:pt x="18" y="30"/>
                        </a:lnTo>
                        <a:lnTo>
                          <a:pt x="10" y="24"/>
                        </a:lnTo>
                        <a:lnTo>
                          <a:pt x="8" y="24"/>
                        </a:lnTo>
                        <a:lnTo>
                          <a:pt x="4" y="18"/>
                        </a:lnTo>
                        <a:lnTo>
                          <a:pt x="4" y="16"/>
                        </a:lnTo>
                        <a:lnTo>
                          <a:pt x="4" y="14"/>
                        </a:lnTo>
                        <a:lnTo>
                          <a:pt x="4" y="12"/>
                        </a:lnTo>
                        <a:lnTo>
                          <a:pt x="2" y="8"/>
                        </a:lnTo>
                        <a:lnTo>
                          <a:pt x="4" y="8"/>
                        </a:lnTo>
                        <a:lnTo>
                          <a:pt x="4" y="6"/>
                        </a:lnTo>
                        <a:lnTo>
                          <a:pt x="0" y="2"/>
                        </a:lnTo>
                        <a:lnTo>
                          <a:pt x="0" y="0"/>
                        </a:lnTo>
                        <a:lnTo>
                          <a:pt x="4" y="0"/>
                        </a:lnTo>
                        <a:lnTo>
                          <a:pt x="6" y="2"/>
                        </a:lnTo>
                        <a:lnTo>
                          <a:pt x="8" y="4"/>
                        </a:lnTo>
                        <a:lnTo>
                          <a:pt x="10" y="6"/>
                        </a:lnTo>
                        <a:lnTo>
                          <a:pt x="10" y="8"/>
                        </a:lnTo>
                        <a:lnTo>
                          <a:pt x="12" y="8"/>
                        </a:lnTo>
                        <a:lnTo>
                          <a:pt x="12" y="10"/>
                        </a:lnTo>
                        <a:lnTo>
                          <a:pt x="10" y="12"/>
                        </a:lnTo>
                        <a:lnTo>
                          <a:pt x="10" y="14"/>
                        </a:lnTo>
                        <a:lnTo>
                          <a:pt x="12" y="14"/>
                        </a:lnTo>
                        <a:lnTo>
                          <a:pt x="14" y="18"/>
                        </a:lnTo>
                        <a:lnTo>
                          <a:pt x="16" y="18"/>
                        </a:lnTo>
                        <a:lnTo>
                          <a:pt x="18"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0" name="Freeform 3140"/>
                  <p:cNvSpPr>
                    <a:spLocks/>
                  </p:cNvSpPr>
                  <p:nvPr/>
                </p:nvSpPr>
                <p:spPr bwMode="auto">
                  <a:xfrm>
                    <a:off x="4286" y="3890"/>
                    <a:ext cx="4" cy="4"/>
                  </a:xfrm>
                  <a:custGeom>
                    <a:avLst/>
                    <a:gdLst/>
                    <a:ahLst/>
                    <a:cxnLst>
                      <a:cxn ang="0">
                        <a:pos x="2" y="4"/>
                      </a:cxn>
                      <a:cxn ang="0">
                        <a:pos x="0" y="2"/>
                      </a:cxn>
                      <a:cxn ang="0">
                        <a:pos x="0" y="0"/>
                      </a:cxn>
                      <a:cxn ang="0">
                        <a:pos x="2" y="0"/>
                      </a:cxn>
                      <a:cxn ang="0">
                        <a:pos x="4" y="4"/>
                      </a:cxn>
                      <a:cxn ang="0">
                        <a:pos x="2" y="4"/>
                      </a:cxn>
                    </a:cxnLst>
                    <a:rect l="0" t="0" r="r" b="b"/>
                    <a:pathLst>
                      <a:path w="4" h="4">
                        <a:moveTo>
                          <a:pt x="2" y="4"/>
                        </a:moveTo>
                        <a:lnTo>
                          <a:pt x="0" y="2"/>
                        </a:lnTo>
                        <a:lnTo>
                          <a:pt x="0" y="0"/>
                        </a:lnTo>
                        <a:lnTo>
                          <a:pt x="2" y="0"/>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1" name="Freeform 3141"/>
                  <p:cNvSpPr>
                    <a:spLocks/>
                  </p:cNvSpPr>
                  <p:nvPr/>
                </p:nvSpPr>
                <p:spPr bwMode="auto">
                  <a:xfrm>
                    <a:off x="4222" y="3890"/>
                    <a:ext cx="6" cy="10"/>
                  </a:xfrm>
                  <a:custGeom>
                    <a:avLst/>
                    <a:gdLst/>
                    <a:ahLst/>
                    <a:cxnLst>
                      <a:cxn ang="0">
                        <a:pos x="4" y="10"/>
                      </a:cxn>
                      <a:cxn ang="0">
                        <a:pos x="2" y="8"/>
                      </a:cxn>
                      <a:cxn ang="0">
                        <a:pos x="0" y="6"/>
                      </a:cxn>
                      <a:cxn ang="0">
                        <a:pos x="0" y="4"/>
                      </a:cxn>
                      <a:cxn ang="0">
                        <a:pos x="2" y="2"/>
                      </a:cxn>
                      <a:cxn ang="0">
                        <a:pos x="4" y="0"/>
                      </a:cxn>
                      <a:cxn ang="0">
                        <a:pos x="4" y="2"/>
                      </a:cxn>
                      <a:cxn ang="0">
                        <a:pos x="6" y="2"/>
                      </a:cxn>
                      <a:cxn ang="0">
                        <a:pos x="6" y="4"/>
                      </a:cxn>
                      <a:cxn ang="0">
                        <a:pos x="4" y="6"/>
                      </a:cxn>
                      <a:cxn ang="0">
                        <a:pos x="4" y="4"/>
                      </a:cxn>
                      <a:cxn ang="0">
                        <a:pos x="2" y="4"/>
                      </a:cxn>
                      <a:cxn ang="0">
                        <a:pos x="2" y="8"/>
                      </a:cxn>
                      <a:cxn ang="0">
                        <a:pos x="4" y="10"/>
                      </a:cxn>
                    </a:cxnLst>
                    <a:rect l="0" t="0" r="r" b="b"/>
                    <a:pathLst>
                      <a:path w="6" h="10">
                        <a:moveTo>
                          <a:pt x="4" y="10"/>
                        </a:moveTo>
                        <a:lnTo>
                          <a:pt x="2" y="8"/>
                        </a:lnTo>
                        <a:lnTo>
                          <a:pt x="0" y="6"/>
                        </a:lnTo>
                        <a:lnTo>
                          <a:pt x="0" y="4"/>
                        </a:lnTo>
                        <a:lnTo>
                          <a:pt x="2" y="2"/>
                        </a:lnTo>
                        <a:lnTo>
                          <a:pt x="4" y="0"/>
                        </a:lnTo>
                        <a:lnTo>
                          <a:pt x="4" y="2"/>
                        </a:lnTo>
                        <a:lnTo>
                          <a:pt x="6" y="2"/>
                        </a:lnTo>
                        <a:lnTo>
                          <a:pt x="6" y="4"/>
                        </a:lnTo>
                        <a:lnTo>
                          <a:pt x="4" y="6"/>
                        </a:lnTo>
                        <a:lnTo>
                          <a:pt x="4" y="4"/>
                        </a:lnTo>
                        <a:lnTo>
                          <a:pt x="2" y="4"/>
                        </a:lnTo>
                        <a:lnTo>
                          <a:pt x="2" y="8"/>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2" name="Freeform 3142"/>
                  <p:cNvSpPr>
                    <a:spLocks/>
                  </p:cNvSpPr>
                  <p:nvPr/>
                </p:nvSpPr>
                <p:spPr bwMode="auto">
                  <a:xfrm>
                    <a:off x="4240" y="3894"/>
                    <a:ext cx="6" cy="6"/>
                  </a:xfrm>
                  <a:custGeom>
                    <a:avLst/>
                    <a:gdLst/>
                    <a:ahLst/>
                    <a:cxnLst>
                      <a:cxn ang="0">
                        <a:pos x="2" y="6"/>
                      </a:cxn>
                      <a:cxn ang="0">
                        <a:pos x="0" y="4"/>
                      </a:cxn>
                      <a:cxn ang="0">
                        <a:pos x="0" y="0"/>
                      </a:cxn>
                      <a:cxn ang="0">
                        <a:pos x="2" y="0"/>
                      </a:cxn>
                      <a:cxn ang="0">
                        <a:pos x="4" y="0"/>
                      </a:cxn>
                      <a:cxn ang="0">
                        <a:pos x="6" y="0"/>
                      </a:cxn>
                      <a:cxn ang="0">
                        <a:pos x="6" y="4"/>
                      </a:cxn>
                      <a:cxn ang="0">
                        <a:pos x="4" y="6"/>
                      </a:cxn>
                      <a:cxn ang="0">
                        <a:pos x="2" y="6"/>
                      </a:cxn>
                    </a:cxnLst>
                    <a:rect l="0" t="0" r="r" b="b"/>
                    <a:pathLst>
                      <a:path w="6" h="6">
                        <a:moveTo>
                          <a:pt x="2" y="6"/>
                        </a:moveTo>
                        <a:lnTo>
                          <a:pt x="0" y="4"/>
                        </a:lnTo>
                        <a:lnTo>
                          <a:pt x="0" y="0"/>
                        </a:lnTo>
                        <a:lnTo>
                          <a:pt x="2" y="0"/>
                        </a:lnTo>
                        <a:lnTo>
                          <a:pt x="4" y="0"/>
                        </a:lnTo>
                        <a:lnTo>
                          <a:pt x="6" y="0"/>
                        </a:lnTo>
                        <a:lnTo>
                          <a:pt x="6" y="4"/>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3" name="Freeform 3143"/>
                  <p:cNvSpPr>
                    <a:spLocks/>
                  </p:cNvSpPr>
                  <p:nvPr/>
                </p:nvSpPr>
                <p:spPr bwMode="auto">
                  <a:xfrm>
                    <a:off x="4228" y="3898"/>
                    <a:ext cx="6" cy="4"/>
                  </a:xfrm>
                  <a:custGeom>
                    <a:avLst/>
                    <a:gdLst/>
                    <a:ahLst/>
                    <a:cxnLst>
                      <a:cxn ang="0">
                        <a:pos x="4" y="4"/>
                      </a:cxn>
                      <a:cxn ang="0">
                        <a:pos x="4" y="2"/>
                      </a:cxn>
                      <a:cxn ang="0">
                        <a:pos x="2" y="2"/>
                      </a:cxn>
                      <a:cxn ang="0">
                        <a:pos x="0" y="2"/>
                      </a:cxn>
                      <a:cxn ang="0">
                        <a:pos x="4" y="0"/>
                      </a:cxn>
                      <a:cxn ang="0">
                        <a:pos x="6" y="2"/>
                      </a:cxn>
                      <a:cxn ang="0">
                        <a:pos x="6" y="4"/>
                      </a:cxn>
                      <a:cxn ang="0">
                        <a:pos x="4" y="4"/>
                      </a:cxn>
                    </a:cxnLst>
                    <a:rect l="0" t="0" r="r" b="b"/>
                    <a:pathLst>
                      <a:path w="6" h="4">
                        <a:moveTo>
                          <a:pt x="4" y="4"/>
                        </a:moveTo>
                        <a:lnTo>
                          <a:pt x="4" y="2"/>
                        </a:lnTo>
                        <a:lnTo>
                          <a:pt x="2" y="2"/>
                        </a:lnTo>
                        <a:lnTo>
                          <a:pt x="0" y="2"/>
                        </a:lnTo>
                        <a:lnTo>
                          <a:pt x="4" y="0"/>
                        </a:lnTo>
                        <a:lnTo>
                          <a:pt x="6" y="2"/>
                        </a:lnTo>
                        <a:lnTo>
                          <a:pt x="6"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4" name="Freeform 3144"/>
                  <p:cNvSpPr>
                    <a:spLocks/>
                  </p:cNvSpPr>
                  <p:nvPr/>
                </p:nvSpPr>
                <p:spPr bwMode="auto">
                  <a:xfrm>
                    <a:off x="4272" y="3906"/>
                    <a:ext cx="4" cy="4"/>
                  </a:xfrm>
                  <a:custGeom>
                    <a:avLst/>
                    <a:gdLst/>
                    <a:ahLst/>
                    <a:cxnLst>
                      <a:cxn ang="0">
                        <a:pos x="2" y="4"/>
                      </a:cxn>
                      <a:cxn ang="0">
                        <a:pos x="0" y="4"/>
                      </a:cxn>
                      <a:cxn ang="0">
                        <a:pos x="0" y="2"/>
                      </a:cxn>
                      <a:cxn ang="0">
                        <a:pos x="2" y="0"/>
                      </a:cxn>
                      <a:cxn ang="0">
                        <a:pos x="4" y="2"/>
                      </a:cxn>
                      <a:cxn ang="0">
                        <a:pos x="4" y="4"/>
                      </a:cxn>
                      <a:cxn ang="0">
                        <a:pos x="2" y="4"/>
                      </a:cxn>
                    </a:cxnLst>
                    <a:rect l="0" t="0" r="r" b="b"/>
                    <a:pathLst>
                      <a:path w="4" h="4">
                        <a:moveTo>
                          <a:pt x="2" y="4"/>
                        </a:moveTo>
                        <a:lnTo>
                          <a:pt x="0" y="4"/>
                        </a:lnTo>
                        <a:lnTo>
                          <a:pt x="0" y="2"/>
                        </a:lnTo>
                        <a:lnTo>
                          <a:pt x="2" y="0"/>
                        </a:lnTo>
                        <a:lnTo>
                          <a:pt x="4" y="2"/>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5" name="Freeform 3145"/>
                  <p:cNvSpPr>
                    <a:spLocks/>
                  </p:cNvSpPr>
                  <p:nvPr/>
                </p:nvSpPr>
                <p:spPr bwMode="auto">
                  <a:xfrm>
                    <a:off x="4300" y="3906"/>
                    <a:ext cx="6" cy="4"/>
                  </a:xfrm>
                  <a:custGeom>
                    <a:avLst/>
                    <a:gdLst/>
                    <a:ahLst/>
                    <a:cxnLst>
                      <a:cxn ang="0">
                        <a:pos x="6" y="4"/>
                      </a:cxn>
                      <a:cxn ang="0">
                        <a:pos x="4" y="4"/>
                      </a:cxn>
                      <a:cxn ang="0">
                        <a:pos x="0" y="4"/>
                      </a:cxn>
                      <a:cxn ang="0">
                        <a:pos x="0" y="2"/>
                      </a:cxn>
                      <a:cxn ang="0">
                        <a:pos x="2" y="0"/>
                      </a:cxn>
                      <a:cxn ang="0">
                        <a:pos x="4" y="0"/>
                      </a:cxn>
                      <a:cxn ang="0">
                        <a:pos x="6" y="2"/>
                      </a:cxn>
                      <a:cxn ang="0">
                        <a:pos x="6" y="4"/>
                      </a:cxn>
                    </a:cxnLst>
                    <a:rect l="0" t="0" r="r" b="b"/>
                    <a:pathLst>
                      <a:path w="6" h="4">
                        <a:moveTo>
                          <a:pt x="6" y="4"/>
                        </a:moveTo>
                        <a:lnTo>
                          <a:pt x="4" y="4"/>
                        </a:lnTo>
                        <a:lnTo>
                          <a:pt x="0" y="4"/>
                        </a:lnTo>
                        <a:lnTo>
                          <a:pt x="0" y="2"/>
                        </a:lnTo>
                        <a:lnTo>
                          <a:pt x="2" y="0"/>
                        </a:lnTo>
                        <a:lnTo>
                          <a:pt x="4" y="0"/>
                        </a:lnTo>
                        <a:lnTo>
                          <a:pt x="6" y="2"/>
                        </a:lnTo>
                        <a:lnTo>
                          <a:pt x="6"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6" name="Freeform 3146"/>
                  <p:cNvSpPr>
                    <a:spLocks/>
                  </p:cNvSpPr>
                  <p:nvPr/>
                </p:nvSpPr>
                <p:spPr bwMode="auto">
                  <a:xfrm>
                    <a:off x="4304" y="3908"/>
                    <a:ext cx="6" cy="4"/>
                  </a:xfrm>
                  <a:custGeom>
                    <a:avLst/>
                    <a:gdLst/>
                    <a:ahLst/>
                    <a:cxnLst>
                      <a:cxn ang="0">
                        <a:pos x="0" y="4"/>
                      </a:cxn>
                      <a:cxn ang="0">
                        <a:pos x="2" y="4"/>
                      </a:cxn>
                      <a:cxn ang="0">
                        <a:pos x="2" y="2"/>
                      </a:cxn>
                      <a:cxn ang="0">
                        <a:pos x="2" y="0"/>
                      </a:cxn>
                      <a:cxn ang="0">
                        <a:pos x="4" y="2"/>
                      </a:cxn>
                      <a:cxn ang="0">
                        <a:pos x="6" y="2"/>
                      </a:cxn>
                      <a:cxn ang="0">
                        <a:pos x="4" y="4"/>
                      </a:cxn>
                      <a:cxn ang="0">
                        <a:pos x="2" y="4"/>
                      </a:cxn>
                      <a:cxn ang="0">
                        <a:pos x="0" y="4"/>
                      </a:cxn>
                    </a:cxnLst>
                    <a:rect l="0" t="0" r="r" b="b"/>
                    <a:pathLst>
                      <a:path w="6" h="4">
                        <a:moveTo>
                          <a:pt x="0" y="4"/>
                        </a:moveTo>
                        <a:lnTo>
                          <a:pt x="2" y="4"/>
                        </a:lnTo>
                        <a:lnTo>
                          <a:pt x="2" y="2"/>
                        </a:lnTo>
                        <a:lnTo>
                          <a:pt x="2" y="0"/>
                        </a:lnTo>
                        <a:lnTo>
                          <a:pt x="4" y="2"/>
                        </a:lnTo>
                        <a:lnTo>
                          <a:pt x="6" y="2"/>
                        </a:lnTo>
                        <a:lnTo>
                          <a:pt x="4" y="4"/>
                        </a:lnTo>
                        <a:lnTo>
                          <a:pt x="2" y="4"/>
                        </a:lnTo>
                        <a:lnTo>
                          <a:pt x="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7" name="Freeform 3147"/>
                  <p:cNvSpPr>
                    <a:spLocks/>
                  </p:cNvSpPr>
                  <p:nvPr/>
                </p:nvSpPr>
                <p:spPr bwMode="auto">
                  <a:xfrm>
                    <a:off x="4288" y="3914"/>
                    <a:ext cx="32" cy="18"/>
                  </a:xfrm>
                  <a:custGeom>
                    <a:avLst/>
                    <a:gdLst/>
                    <a:ahLst/>
                    <a:cxnLst>
                      <a:cxn ang="0">
                        <a:pos x="32" y="16"/>
                      </a:cxn>
                      <a:cxn ang="0">
                        <a:pos x="32" y="18"/>
                      </a:cxn>
                      <a:cxn ang="0">
                        <a:pos x="26" y="18"/>
                      </a:cxn>
                      <a:cxn ang="0">
                        <a:pos x="20" y="16"/>
                      </a:cxn>
                      <a:cxn ang="0">
                        <a:pos x="18" y="16"/>
                      </a:cxn>
                      <a:cxn ang="0">
                        <a:pos x="16" y="14"/>
                      </a:cxn>
                      <a:cxn ang="0">
                        <a:pos x="16" y="16"/>
                      </a:cxn>
                      <a:cxn ang="0">
                        <a:pos x="6" y="14"/>
                      </a:cxn>
                      <a:cxn ang="0">
                        <a:pos x="0" y="8"/>
                      </a:cxn>
                      <a:cxn ang="0">
                        <a:pos x="0" y="2"/>
                      </a:cxn>
                      <a:cxn ang="0">
                        <a:pos x="0" y="0"/>
                      </a:cxn>
                      <a:cxn ang="0">
                        <a:pos x="2" y="0"/>
                      </a:cxn>
                      <a:cxn ang="0">
                        <a:pos x="4" y="0"/>
                      </a:cxn>
                      <a:cxn ang="0">
                        <a:pos x="6" y="2"/>
                      </a:cxn>
                      <a:cxn ang="0">
                        <a:pos x="6" y="4"/>
                      </a:cxn>
                      <a:cxn ang="0">
                        <a:pos x="8" y="4"/>
                      </a:cxn>
                      <a:cxn ang="0">
                        <a:pos x="20" y="4"/>
                      </a:cxn>
                      <a:cxn ang="0">
                        <a:pos x="32" y="14"/>
                      </a:cxn>
                      <a:cxn ang="0">
                        <a:pos x="32" y="16"/>
                      </a:cxn>
                    </a:cxnLst>
                    <a:rect l="0" t="0" r="r" b="b"/>
                    <a:pathLst>
                      <a:path w="32" h="18">
                        <a:moveTo>
                          <a:pt x="32" y="16"/>
                        </a:moveTo>
                        <a:lnTo>
                          <a:pt x="32" y="18"/>
                        </a:lnTo>
                        <a:lnTo>
                          <a:pt x="26" y="18"/>
                        </a:lnTo>
                        <a:lnTo>
                          <a:pt x="20" y="16"/>
                        </a:lnTo>
                        <a:lnTo>
                          <a:pt x="18" y="16"/>
                        </a:lnTo>
                        <a:lnTo>
                          <a:pt x="16" y="14"/>
                        </a:lnTo>
                        <a:lnTo>
                          <a:pt x="16" y="16"/>
                        </a:lnTo>
                        <a:lnTo>
                          <a:pt x="6" y="14"/>
                        </a:lnTo>
                        <a:lnTo>
                          <a:pt x="0" y="8"/>
                        </a:lnTo>
                        <a:lnTo>
                          <a:pt x="0" y="2"/>
                        </a:lnTo>
                        <a:lnTo>
                          <a:pt x="0" y="0"/>
                        </a:lnTo>
                        <a:lnTo>
                          <a:pt x="2" y="0"/>
                        </a:lnTo>
                        <a:lnTo>
                          <a:pt x="4" y="0"/>
                        </a:lnTo>
                        <a:lnTo>
                          <a:pt x="6" y="2"/>
                        </a:lnTo>
                        <a:lnTo>
                          <a:pt x="6" y="4"/>
                        </a:lnTo>
                        <a:lnTo>
                          <a:pt x="8" y="4"/>
                        </a:lnTo>
                        <a:lnTo>
                          <a:pt x="20" y="4"/>
                        </a:lnTo>
                        <a:lnTo>
                          <a:pt x="32" y="14"/>
                        </a:lnTo>
                        <a:lnTo>
                          <a:pt x="3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8" name="Freeform 3148"/>
                  <p:cNvSpPr>
                    <a:spLocks/>
                  </p:cNvSpPr>
                  <p:nvPr/>
                </p:nvSpPr>
                <p:spPr bwMode="auto">
                  <a:xfrm>
                    <a:off x="4334" y="3916"/>
                    <a:ext cx="6" cy="12"/>
                  </a:xfrm>
                  <a:custGeom>
                    <a:avLst/>
                    <a:gdLst/>
                    <a:ahLst/>
                    <a:cxnLst>
                      <a:cxn ang="0">
                        <a:pos x="6" y="12"/>
                      </a:cxn>
                      <a:cxn ang="0">
                        <a:pos x="4" y="12"/>
                      </a:cxn>
                      <a:cxn ang="0">
                        <a:pos x="2" y="10"/>
                      </a:cxn>
                      <a:cxn ang="0">
                        <a:pos x="2" y="4"/>
                      </a:cxn>
                      <a:cxn ang="0">
                        <a:pos x="2" y="2"/>
                      </a:cxn>
                      <a:cxn ang="0">
                        <a:pos x="0" y="0"/>
                      </a:cxn>
                      <a:cxn ang="0">
                        <a:pos x="6" y="6"/>
                      </a:cxn>
                      <a:cxn ang="0">
                        <a:pos x="6" y="8"/>
                      </a:cxn>
                      <a:cxn ang="0">
                        <a:pos x="6" y="12"/>
                      </a:cxn>
                    </a:cxnLst>
                    <a:rect l="0" t="0" r="r" b="b"/>
                    <a:pathLst>
                      <a:path w="6" h="12">
                        <a:moveTo>
                          <a:pt x="6" y="12"/>
                        </a:moveTo>
                        <a:lnTo>
                          <a:pt x="4" y="12"/>
                        </a:lnTo>
                        <a:lnTo>
                          <a:pt x="2" y="10"/>
                        </a:lnTo>
                        <a:lnTo>
                          <a:pt x="2" y="4"/>
                        </a:lnTo>
                        <a:lnTo>
                          <a:pt x="2" y="2"/>
                        </a:lnTo>
                        <a:lnTo>
                          <a:pt x="0" y="0"/>
                        </a:lnTo>
                        <a:lnTo>
                          <a:pt x="6" y="6"/>
                        </a:lnTo>
                        <a:lnTo>
                          <a:pt x="6" y="8"/>
                        </a:lnTo>
                        <a:lnTo>
                          <a:pt x="6"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9" name="Freeform 3149"/>
                  <p:cNvSpPr>
                    <a:spLocks/>
                  </p:cNvSpPr>
                  <p:nvPr/>
                </p:nvSpPr>
                <p:spPr bwMode="auto">
                  <a:xfrm>
                    <a:off x="4334" y="3940"/>
                    <a:ext cx="30" cy="18"/>
                  </a:xfrm>
                  <a:custGeom>
                    <a:avLst/>
                    <a:gdLst/>
                    <a:ahLst/>
                    <a:cxnLst>
                      <a:cxn ang="0">
                        <a:pos x="26" y="14"/>
                      </a:cxn>
                      <a:cxn ang="0">
                        <a:pos x="26" y="16"/>
                      </a:cxn>
                      <a:cxn ang="0">
                        <a:pos x="28" y="18"/>
                      </a:cxn>
                      <a:cxn ang="0">
                        <a:pos x="30" y="18"/>
                      </a:cxn>
                      <a:cxn ang="0">
                        <a:pos x="22" y="18"/>
                      </a:cxn>
                      <a:cxn ang="0">
                        <a:pos x="16" y="16"/>
                      </a:cxn>
                      <a:cxn ang="0">
                        <a:pos x="6" y="10"/>
                      </a:cxn>
                      <a:cxn ang="0">
                        <a:pos x="6" y="6"/>
                      </a:cxn>
                      <a:cxn ang="0">
                        <a:pos x="4" y="4"/>
                      </a:cxn>
                      <a:cxn ang="0">
                        <a:pos x="2" y="4"/>
                      </a:cxn>
                      <a:cxn ang="0">
                        <a:pos x="0" y="4"/>
                      </a:cxn>
                      <a:cxn ang="0">
                        <a:pos x="0" y="0"/>
                      </a:cxn>
                      <a:cxn ang="0">
                        <a:pos x="2" y="0"/>
                      </a:cxn>
                      <a:cxn ang="0">
                        <a:pos x="4" y="0"/>
                      </a:cxn>
                      <a:cxn ang="0">
                        <a:pos x="6" y="2"/>
                      </a:cxn>
                      <a:cxn ang="0">
                        <a:pos x="10" y="4"/>
                      </a:cxn>
                      <a:cxn ang="0">
                        <a:pos x="10" y="6"/>
                      </a:cxn>
                      <a:cxn ang="0">
                        <a:pos x="12" y="6"/>
                      </a:cxn>
                      <a:cxn ang="0">
                        <a:pos x="20" y="8"/>
                      </a:cxn>
                      <a:cxn ang="0">
                        <a:pos x="20" y="6"/>
                      </a:cxn>
                      <a:cxn ang="0">
                        <a:pos x="22" y="6"/>
                      </a:cxn>
                      <a:cxn ang="0">
                        <a:pos x="26" y="14"/>
                      </a:cxn>
                    </a:cxnLst>
                    <a:rect l="0" t="0" r="r" b="b"/>
                    <a:pathLst>
                      <a:path w="30" h="18">
                        <a:moveTo>
                          <a:pt x="26" y="14"/>
                        </a:moveTo>
                        <a:lnTo>
                          <a:pt x="26" y="16"/>
                        </a:lnTo>
                        <a:lnTo>
                          <a:pt x="28" y="18"/>
                        </a:lnTo>
                        <a:lnTo>
                          <a:pt x="30" y="18"/>
                        </a:lnTo>
                        <a:lnTo>
                          <a:pt x="22" y="18"/>
                        </a:lnTo>
                        <a:lnTo>
                          <a:pt x="16" y="16"/>
                        </a:lnTo>
                        <a:lnTo>
                          <a:pt x="6" y="10"/>
                        </a:lnTo>
                        <a:lnTo>
                          <a:pt x="6" y="6"/>
                        </a:lnTo>
                        <a:lnTo>
                          <a:pt x="4" y="4"/>
                        </a:lnTo>
                        <a:lnTo>
                          <a:pt x="2" y="4"/>
                        </a:lnTo>
                        <a:lnTo>
                          <a:pt x="0" y="4"/>
                        </a:lnTo>
                        <a:lnTo>
                          <a:pt x="0" y="0"/>
                        </a:lnTo>
                        <a:lnTo>
                          <a:pt x="2" y="0"/>
                        </a:lnTo>
                        <a:lnTo>
                          <a:pt x="4" y="0"/>
                        </a:lnTo>
                        <a:lnTo>
                          <a:pt x="6" y="2"/>
                        </a:lnTo>
                        <a:lnTo>
                          <a:pt x="10" y="4"/>
                        </a:lnTo>
                        <a:lnTo>
                          <a:pt x="10" y="6"/>
                        </a:lnTo>
                        <a:lnTo>
                          <a:pt x="12" y="6"/>
                        </a:lnTo>
                        <a:lnTo>
                          <a:pt x="20" y="8"/>
                        </a:lnTo>
                        <a:lnTo>
                          <a:pt x="20" y="6"/>
                        </a:lnTo>
                        <a:lnTo>
                          <a:pt x="22" y="6"/>
                        </a:lnTo>
                        <a:lnTo>
                          <a:pt x="26"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0" name="Freeform 3150"/>
                  <p:cNvSpPr>
                    <a:spLocks/>
                  </p:cNvSpPr>
                  <p:nvPr/>
                </p:nvSpPr>
                <p:spPr bwMode="auto">
                  <a:xfrm>
                    <a:off x="4456" y="3952"/>
                    <a:ext cx="10" cy="6"/>
                  </a:xfrm>
                  <a:custGeom>
                    <a:avLst/>
                    <a:gdLst/>
                    <a:ahLst/>
                    <a:cxnLst>
                      <a:cxn ang="0">
                        <a:pos x="2" y="6"/>
                      </a:cxn>
                      <a:cxn ang="0">
                        <a:pos x="0" y="6"/>
                      </a:cxn>
                      <a:cxn ang="0">
                        <a:pos x="0" y="4"/>
                      </a:cxn>
                      <a:cxn ang="0">
                        <a:pos x="2" y="2"/>
                      </a:cxn>
                      <a:cxn ang="0">
                        <a:pos x="4" y="0"/>
                      </a:cxn>
                      <a:cxn ang="0">
                        <a:pos x="10" y="2"/>
                      </a:cxn>
                      <a:cxn ang="0">
                        <a:pos x="10" y="4"/>
                      </a:cxn>
                      <a:cxn ang="0">
                        <a:pos x="8" y="4"/>
                      </a:cxn>
                      <a:cxn ang="0">
                        <a:pos x="4" y="4"/>
                      </a:cxn>
                      <a:cxn ang="0">
                        <a:pos x="2" y="6"/>
                      </a:cxn>
                    </a:cxnLst>
                    <a:rect l="0" t="0" r="r" b="b"/>
                    <a:pathLst>
                      <a:path w="10" h="6">
                        <a:moveTo>
                          <a:pt x="2" y="6"/>
                        </a:moveTo>
                        <a:lnTo>
                          <a:pt x="0" y="6"/>
                        </a:lnTo>
                        <a:lnTo>
                          <a:pt x="0" y="4"/>
                        </a:lnTo>
                        <a:lnTo>
                          <a:pt x="2" y="2"/>
                        </a:lnTo>
                        <a:lnTo>
                          <a:pt x="4" y="0"/>
                        </a:lnTo>
                        <a:lnTo>
                          <a:pt x="10" y="2"/>
                        </a:lnTo>
                        <a:lnTo>
                          <a:pt x="10" y="4"/>
                        </a:lnTo>
                        <a:lnTo>
                          <a:pt x="8" y="4"/>
                        </a:lnTo>
                        <a:lnTo>
                          <a:pt x="4"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1" name="Freeform 3151"/>
                  <p:cNvSpPr>
                    <a:spLocks/>
                  </p:cNvSpPr>
                  <p:nvPr/>
                </p:nvSpPr>
                <p:spPr bwMode="auto">
                  <a:xfrm>
                    <a:off x="4296" y="3976"/>
                    <a:ext cx="16" cy="10"/>
                  </a:xfrm>
                  <a:custGeom>
                    <a:avLst/>
                    <a:gdLst/>
                    <a:ahLst/>
                    <a:cxnLst>
                      <a:cxn ang="0">
                        <a:pos x="16" y="10"/>
                      </a:cxn>
                      <a:cxn ang="0">
                        <a:pos x="14" y="10"/>
                      </a:cxn>
                      <a:cxn ang="0">
                        <a:pos x="14" y="8"/>
                      </a:cxn>
                      <a:cxn ang="0">
                        <a:pos x="12" y="8"/>
                      </a:cxn>
                      <a:cxn ang="0">
                        <a:pos x="10" y="4"/>
                      </a:cxn>
                      <a:cxn ang="0">
                        <a:pos x="8" y="4"/>
                      </a:cxn>
                      <a:cxn ang="0">
                        <a:pos x="8" y="6"/>
                      </a:cxn>
                      <a:cxn ang="0">
                        <a:pos x="6" y="4"/>
                      </a:cxn>
                      <a:cxn ang="0">
                        <a:pos x="2" y="4"/>
                      </a:cxn>
                      <a:cxn ang="0">
                        <a:pos x="2" y="2"/>
                      </a:cxn>
                      <a:cxn ang="0">
                        <a:pos x="0" y="0"/>
                      </a:cxn>
                      <a:cxn ang="0">
                        <a:pos x="2" y="0"/>
                      </a:cxn>
                      <a:cxn ang="0">
                        <a:pos x="12" y="6"/>
                      </a:cxn>
                      <a:cxn ang="0">
                        <a:pos x="14" y="6"/>
                      </a:cxn>
                      <a:cxn ang="0">
                        <a:pos x="16" y="10"/>
                      </a:cxn>
                    </a:cxnLst>
                    <a:rect l="0" t="0" r="r" b="b"/>
                    <a:pathLst>
                      <a:path w="16" h="10">
                        <a:moveTo>
                          <a:pt x="16" y="10"/>
                        </a:moveTo>
                        <a:lnTo>
                          <a:pt x="14" y="10"/>
                        </a:lnTo>
                        <a:lnTo>
                          <a:pt x="14" y="8"/>
                        </a:lnTo>
                        <a:lnTo>
                          <a:pt x="12" y="8"/>
                        </a:lnTo>
                        <a:lnTo>
                          <a:pt x="10" y="4"/>
                        </a:lnTo>
                        <a:lnTo>
                          <a:pt x="8" y="4"/>
                        </a:lnTo>
                        <a:lnTo>
                          <a:pt x="8" y="6"/>
                        </a:lnTo>
                        <a:lnTo>
                          <a:pt x="6" y="4"/>
                        </a:lnTo>
                        <a:lnTo>
                          <a:pt x="2" y="4"/>
                        </a:lnTo>
                        <a:lnTo>
                          <a:pt x="2" y="2"/>
                        </a:lnTo>
                        <a:lnTo>
                          <a:pt x="0" y="0"/>
                        </a:lnTo>
                        <a:lnTo>
                          <a:pt x="2" y="0"/>
                        </a:lnTo>
                        <a:lnTo>
                          <a:pt x="12" y="6"/>
                        </a:lnTo>
                        <a:lnTo>
                          <a:pt x="14" y="6"/>
                        </a:lnTo>
                        <a:lnTo>
                          <a:pt x="1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2" name="Freeform 3152"/>
                  <p:cNvSpPr>
                    <a:spLocks/>
                  </p:cNvSpPr>
                  <p:nvPr/>
                </p:nvSpPr>
                <p:spPr bwMode="auto">
                  <a:xfrm>
                    <a:off x="4482" y="3978"/>
                    <a:ext cx="6" cy="4"/>
                  </a:xfrm>
                  <a:custGeom>
                    <a:avLst/>
                    <a:gdLst/>
                    <a:ahLst/>
                    <a:cxnLst>
                      <a:cxn ang="0">
                        <a:pos x="4" y="4"/>
                      </a:cxn>
                      <a:cxn ang="0">
                        <a:pos x="2" y="4"/>
                      </a:cxn>
                      <a:cxn ang="0">
                        <a:pos x="0" y="2"/>
                      </a:cxn>
                      <a:cxn ang="0">
                        <a:pos x="0" y="0"/>
                      </a:cxn>
                      <a:cxn ang="0">
                        <a:pos x="4" y="0"/>
                      </a:cxn>
                      <a:cxn ang="0">
                        <a:pos x="6" y="4"/>
                      </a:cxn>
                      <a:cxn ang="0">
                        <a:pos x="4" y="4"/>
                      </a:cxn>
                    </a:cxnLst>
                    <a:rect l="0" t="0" r="r" b="b"/>
                    <a:pathLst>
                      <a:path w="6" h="4">
                        <a:moveTo>
                          <a:pt x="4" y="4"/>
                        </a:moveTo>
                        <a:lnTo>
                          <a:pt x="2" y="4"/>
                        </a:lnTo>
                        <a:lnTo>
                          <a:pt x="0" y="2"/>
                        </a:lnTo>
                        <a:lnTo>
                          <a:pt x="0" y="0"/>
                        </a:lnTo>
                        <a:lnTo>
                          <a:pt x="4" y="0"/>
                        </a:lnTo>
                        <a:lnTo>
                          <a:pt x="6"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68" name="Freeform 3153"/>
                <p:cNvSpPr>
                  <a:spLocks/>
                </p:cNvSpPr>
                <p:nvPr/>
              </p:nvSpPr>
              <p:spPr bwMode="auto">
                <a:xfrm>
                  <a:off x="6444707" y="6250407"/>
                  <a:ext cx="137137" cy="62335"/>
                </a:xfrm>
                <a:custGeom>
                  <a:avLst/>
                  <a:gdLst/>
                  <a:ahLst/>
                  <a:cxnLst>
                    <a:cxn ang="0">
                      <a:pos x="66" y="2"/>
                    </a:cxn>
                    <a:cxn ang="0">
                      <a:pos x="66" y="4"/>
                    </a:cxn>
                    <a:cxn ang="0">
                      <a:pos x="58" y="8"/>
                    </a:cxn>
                    <a:cxn ang="0">
                      <a:pos x="58" y="10"/>
                    </a:cxn>
                    <a:cxn ang="0">
                      <a:pos x="48" y="12"/>
                    </a:cxn>
                    <a:cxn ang="0">
                      <a:pos x="44" y="14"/>
                    </a:cxn>
                    <a:cxn ang="0">
                      <a:pos x="44" y="16"/>
                    </a:cxn>
                    <a:cxn ang="0">
                      <a:pos x="42" y="18"/>
                    </a:cxn>
                    <a:cxn ang="0">
                      <a:pos x="38" y="18"/>
                    </a:cxn>
                    <a:cxn ang="0">
                      <a:pos x="36" y="18"/>
                    </a:cxn>
                    <a:cxn ang="0">
                      <a:pos x="34" y="18"/>
                    </a:cxn>
                    <a:cxn ang="0">
                      <a:pos x="34" y="20"/>
                    </a:cxn>
                    <a:cxn ang="0">
                      <a:pos x="32" y="20"/>
                    </a:cxn>
                    <a:cxn ang="0">
                      <a:pos x="28" y="22"/>
                    </a:cxn>
                    <a:cxn ang="0">
                      <a:pos x="26" y="22"/>
                    </a:cxn>
                    <a:cxn ang="0">
                      <a:pos x="10" y="28"/>
                    </a:cxn>
                    <a:cxn ang="0">
                      <a:pos x="8" y="30"/>
                    </a:cxn>
                    <a:cxn ang="0">
                      <a:pos x="6" y="30"/>
                    </a:cxn>
                    <a:cxn ang="0">
                      <a:pos x="2" y="26"/>
                    </a:cxn>
                    <a:cxn ang="0">
                      <a:pos x="2" y="24"/>
                    </a:cxn>
                    <a:cxn ang="0">
                      <a:pos x="4" y="24"/>
                    </a:cxn>
                    <a:cxn ang="0">
                      <a:pos x="6" y="24"/>
                    </a:cxn>
                    <a:cxn ang="0">
                      <a:pos x="6" y="22"/>
                    </a:cxn>
                    <a:cxn ang="0">
                      <a:pos x="6" y="20"/>
                    </a:cxn>
                    <a:cxn ang="0">
                      <a:pos x="6" y="18"/>
                    </a:cxn>
                    <a:cxn ang="0">
                      <a:pos x="4" y="20"/>
                    </a:cxn>
                    <a:cxn ang="0">
                      <a:pos x="2" y="20"/>
                    </a:cxn>
                    <a:cxn ang="0">
                      <a:pos x="0" y="18"/>
                    </a:cxn>
                    <a:cxn ang="0">
                      <a:pos x="2" y="18"/>
                    </a:cxn>
                    <a:cxn ang="0">
                      <a:pos x="6" y="12"/>
                    </a:cxn>
                    <a:cxn ang="0">
                      <a:pos x="6" y="10"/>
                    </a:cxn>
                    <a:cxn ang="0">
                      <a:pos x="6" y="8"/>
                    </a:cxn>
                    <a:cxn ang="0">
                      <a:pos x="8" y="8"/>
                    </a:cxn>
                    <a:cxn ang="0">
                      <a:pos x="22" y="6"/>
                    </a:cxn>
                    <a:cxn ang="0">
                      <a:pos x="24" y="6"/>
                    </a:cxn>
                    <a:cxn ang="0">
                      <a:pos x="24" y="4"/>
                    </a:cxn>
                    <a:cxn ang="0">
                      <a:pos x="28" y="4"/>
                    </a:cxn>
                    <a:cxn ang="0">
                      <a:pos x="28" y="6"/>
                    </a:cxn>
                    <a:cxn ang="0">
                      <a:pos x="30" y="6"/>
                    </a:cxn>
                    <a:cxn ang="0">
                      <a:pos x="36" y="6"/>
                    </a:cxn>
                    <a:cxn ang="0">
                      <a:pos x="40" y="2"/>
                    </a:cxn>
                    <a:cxn ang="0">
                      <a:pos x="40" y="4"/>
                    </a:cxn>
                    <a:cxn ang="0">
                      <a:pos x="44" y="4"/>
                    </a:cxn>
                    <a:cxn ang="0">
                      <a:pos x="46" y="6"/>
                    </a:cxn>
                    <a:cxn ang="0">
                      <a:pos x="46" y="4"/>
                    </a:cxn>
                    <a:cxn ang="0">
                      <a:pos x="54" y="2"/>
                    </a:cxn>
                    <a:cxn ang="0">
                      <a:pos x="54" y="0"/>
                    </a:cxn>
                    <a:cxn ang="0">
                      <a:pos x="58" y="0"/>
                    </a:cxn>
                    <a:cxn ang="0">
                      <a:pos x="62" y="0"/>
                    </a:cxn>
                    <a:cxn ang="0">
                      <a:pos x="66" y="2"/>
                    </a:cxn>
                  </a:cxnLst>
                  <a:rect l="0" t="0" r="r" b="b"/>
                  <a:pathLst>
                    <a:path w="66" h="30">
                      <a:moveTo>
                        <a:pt x="66" y="2"/>
                      </a:moveTo>
                      <a:lnTo>
                        <a:pt x="66" y="4"/>
                      </a:lnTo>
                      <a:lnTo>
                        <a:pt x="58" y="8"/>
                      </a:lnTo>
                      <a:lnTo>
                        <a:pt x="58" y="10"/>
                      </a:lnTo>
                      <a:lnTo>
                        <a:pt x="48" y="12"/>
                      </a:lnTo>
                      <a:lnTo>
                        <a:pt x="44" y="14"/>
                      </a:lnTo>
                      <a:lnTo>
                        <a:pt x="44" y="16"/>
                      </a:lnTo>
                      <a:lnTo>
                        <a:pt x="42" y="18"/>
                      </a:lnTo>
                      <a:lnTo>
                        <a:pt x="38" y="18"/>
                      </a:lnTo>
                      <a:lnTo>
                        <a:pt x="36" y="18"/>
                      </a:lnTo>
                      <a:lnTo>
                        <a:pt x="34" y="18"/>
                      </a:lnTo>
                      <a:lnTo>
                        <a:pt x="34" y="20"/>
                      </a:lnTo>
                      <a:lnTo>
                        <a:pt x="32" y="20"/>
                      </a:lnTo>
                      <a:lnTo>
                        <a:pt x="28" y="22"/>
                      </a:lnTo>
                      <a:lnTo>
                        <a:pt x="26" y="22"/>
                      </a:lnTo>
                      <a:lnTo>
                        <a:pt x="10" y="28"/>
                      </a:lnTo>
                      <a:lnTo>
                        <a:pt x="8" y="30"/>
                      </a:lnTo>
                      <a:lnTo>
                        <a:pt x="6" y="30"/>
                      </a:lnTo>
                      <a:lnTo>
                        <a:pt x="2" y="26"/>
                      </a:lnTo>
                      <a:lnTo>
                        <a:pt x="2" y="24"/>
                      </a:lnTo>
                      <a:lnTo>
                        <a:pt x="4" y="24"/>
                      </a:lnTo>
                      <a:lnTo>
                        <a:pt x="6" y="24"/>
                      </a:lnTo>
                      <a:lnTo>
                        <a:pt x="6" y="22"/>
                      </a:lnTo>
                      <a:lnTo>
                        <a:pt x="6" y="20"/>
                      </a:lnTo>
                      <a:lnTo>
                        <a:pt x="6" y="18"/>
                      </a:lnTo>
                      <a:lnTo>
                        <a:pt x="4" y="20"/>
                      </a:lnTo>
                      <a:lnTo>
                        <a:pt x="2" y="20"/>
                      </a:lnTo>
                      <a:lnTo>
                        <a:pt x="0" y="18"/>
                      </a:lnTo>
                      <a:lnTo>
                        <a:pt x="2" y="18"/>
                      </a:lnTo>
                      <a:lnTo>
                        <a:pt x="6" y="12"/>
                      </a:lnTo>
                      <a:lnTo>
                        <a:pt x="6" y="10"/>
                      </a:lnTo>
                      <a:lnTo>
                        <a:pt x="6" y="8"/>
                      </a:lnTo>
                      <a:lnTo>
                        <a:pt x="8" y="8"/>
                      </a:lnTo>
                      <a:lnTo>
                        <a:pt x="22" y="6"/>
                      </a:lnTo>
                      <a:lnTo>
                        <a:pt x="24" y="6"/>
                      </a:lnTo>
                      <a:lnTo>
                        <a:pt x="24" y="4"/>
                      </a:lnTo>
                      <a:lnTo>
                        <a:pt x="28" y="4"/>
                      </a:lnTo>
                      <a:lnTo>
                        <a:pt x="28" y="6"/>
                      </a:lnTo>
                      <a:lnTo>
                        <a:pt x="30" y="6"/>
                      </a:lnTo>
                      <a:lnTo>
                        <a:pt x="36" y="6"/>
                      </a:lnTo>
                      <a:lnTo>
                        <a:pt x="40" y="2"/>
                      </a:lnTo>
                      <a:lnTo>
                        <a:pt x="40" y="4"/>
                      </a:lnTo>
                      <a:lnTo>
                        <a:pt x="44" y="4"/>
                      </a:lnTo>
                      <a:lnTo>
                        <a:pt x="46" y="6"/>
                      </a:lnTo>
                      <a:lnTo>
                        <a:pt x="46" y="4"/>
                      </a:lnTo>
                      <a:lnTo>
                        <a:pt x="54" y="2"/>
                      </a:lnTo>
                      <a:lnTo>
                        <a:pt x="54" y="0"/>
                      </a:lnTo>
                      <a:lnTo>
                        <a:pt x="58" y="0"/>
                      </a:lnTo>
                      <a:lnTo>
                        <a:pt x="62" y="0"/>
                      </a:lnTo>
                      <a:lnTo>
                        <a:pt x="66" y="2"/>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9" name="Freeform 3154"/>
                <p:cNvSpPr>
                  <a:spLocks/>
                </p:cNvSpPr>
                <p:nvPr/>
              </p:nvSpPr>
              <p:spPr bwMode="auto">
                <a:xfrm>
                  <a:off x="6394838" y="6300275"/>
                  <a:ext cx="24934" cy="16623"/>
                </a:xfrm>
                <a:custGeom>
                  <a:avLst/>
                  <a:gdLst/>
                  <a:ahLst/>
                  <a:cxnLst>
                    <a:cxn ang="0">
                      <a:pos x="0" y="4"/>
                    </a:cxn>
                    <a:cxn ang="0">
                      <a:pos x="2" y="4"/>
                    </a:cxn>
                    <a:cxn ang="0">
                      <a:pos x="4" y="4"/>
                    </a:cxn>
                    <a:cxn ang="0">
                      <a:pos x="4" y="2"/>
                    </a:cxn>
                    <a:cxn ang="0">
                      <a:pos x="6" y="0"/>
                    </a:cxn>
                    <a:cxn ang="0">
                      <a:pos x="12" y="0"/>
                    </a:cxn>
                    <a:cxn ang="0">
                      <a:pos x="10" y="6"/>
                    </a:cxn>
                    <a:cxn ang="0">
                      <a:pos x="8" y="8"/>
                    </a:cxn>
                    <a:cxn ang="0">
                      <a:pos x="6" y="8"/>
                    </a:cxn>
                    <a:cxn ang="0">
                      <a:pos x="6" y="6"/>
                    </a:cxn>
                    <a:cxn ang="0">
                      <a:pos x="4" y="6"/>
                    </a:cxn>
                    <a:cxn ang="0">
                      <a:pos x="2" y="6"/>
                    </a:cxn>
                    <a:cxn ang="0">
                      <a:pos x="0" y="6"/>
                    </a:cxn>
                    <a:cxn ang="0">
                      <a:pos x="0" y="4"/>
                    </a:cxn>
                  </a:cxnLst>
                  <a:rect l="0" t="0" r="r" b="b"/>
                  <a:pathLst>
                    <a:path w="12" h="8">
                      <a:moveTo>
                        <a:pt x="0" y="4"/>
                      </a:moveTo>
                      <a:lnTo>
                        <a:pt x="2" y="4"/>
                      </a:lnTo>
                      <a:lnTo>
                        <a:pt x="4" y="4"/>
                      </a:lnTo>
                      <a:lnTo>
                        <a:pt x="4" y="2"/>
                      </a:lnTo>
                      <a:lnTo>
                        <a:pt x="6" y="0"/>
                      </a:lnTo>
                      <a:lnTo>
                        <a:pt x="12" y="0"/>
                      </a:lnTo>
                      <a:lnTo>
                        <a:pt x="10" y="6"/>
                      </a:lnTo>
                      <a:lnTo>
                        <a:pt x="8" y="8"/>
                      </a:lnTo>
                      <a:lnTo>
                        <a:pt x="6" y="8"/>
                      </a:lnTo>
                      <a:lnTo>
                        <a:pt x="6" y="6"/>
                      </a:lnTo>
                      <a:lnTo>
                        <a:pt x="4" y="6"/>
                      </a:lnTo>
                      <a:lnTo>
                        <a:pt x="2" y="6"/>
                      </a:lnTo>
                      <a:lnTo>
                        <a:pt x="0" y="6"/>
                      </a:lnTo>
                      <a:lnTo>
                        <a:pt x="0" y="4"/>
                      </a:lnTo>
                      <a:close/>
                    </a:path>
                  </a:pathLst>
                </a:custGeom>
                <a:solidFill>
                  <a:srgbClr val="F1D380"/>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0" name="Freeform 3175"/>
                <p:cNvSpPr>
                  <a:spLocks/>
                </p:cNvSpPr>
                <p:nvPr/>
              </p:nvSpPr>
              <p:spPr bwMode="auto">
                <a:xfrm>
                  <a:off x="2484345" y="4180879"/>
                  <a:ext cx="62335" cy="29090"/>
                </a:xfrm>
                <a:custGeom>
                  <a:avLst/>
                  <a:gdLst/>
                  <a:ahLst/>
                  <a:cxnLst>
                    <a:cxn ang="0">
                      <a:pos x="30" y="2"/>
                    </a:cxn>
                    <a:cxn ang="0">
                      <a:pos x="28" y="2"/>
                    </a:cxn>
                    <a:cxn ang="0">
                      <a:pos x="26" y="4"/>
                    </a:cxn>
                    <a:cxn ang="0">
                      <a:pos x="24" y="4"/>
                    </a:cxn>
                    <a:cxn ang="0">
                      <a:pos x="24" y="6"/>
                    </a:cxn>
                    <a:cxn ang="0">
                      <a:pos x="22" y="6"/>
                    </a:cxn>
                    <a:cxn ang="0">
                      <a:pos x="20" y="8"/>
                    </a:cxn>
                    <a:cxn ang="0">
                      <a:pos x="18" y="10"/>
                    </a:cxn>
                    <a:cxn ang="0">
                      <a:pos x="12" y="10"/>
                    </a:cxn>
                    <a:cxn ang="0">
                      <a:pos x="2" y="14"/>
                    </a:cxn>
                    <a:cxn ang="0">
                      <a:pos x="0" y="10"/>
                    </a:cxn>
                    <a:cxn ang="0">
                      <a:pos x="4" y="10"/>
                    </a:cxn>
                    <a:cxn ang="0">
                      <a:pos x="10" y="8"/>
                    </a:cxn>
                    <a:cxn ang="0">
                      <a:pos x="12" y="8"/>
                    </a:cxn>
                    <a:cxn ang="0">
                      <a:pos x="12" y="6"/>
                    </a:cxn>
                    <a:cxn ang="0">
                      <a:pos x="14" y="6"/>
                    </a:cxn>
                    <a:cxn ang="0">
                      <a:pos x="16" y="4"/>
                    </a:cxn>
                    <a:cxn ang="0">
                      <a:pos x="14" y="4"/>
                    </a:cxn>
                    <a:cxn ang="0">
                      <a:pos x="14" y="2"/>
                    </a:cxn>
                    <a:cxn ang="0">
                      <a:pos x="16" y="2"/>
                    </a:cxn>
                    <a:cxn ang="0">
                      <a:pos x="20" y="2"/>
                    </a:cxn>
                    <a:cxn ang="0">
                      <a:pos x="26" y="0"/>
                    </a:cxn>
                    <a:cxn ang="0">
                      <a:pos x="28" y="0"/>
                    </a:cxn>
                    <a:cxn ang="0">
                      <a:pos x="30" y="0"/>
                    </a:cxn>
                    <a:cxn ang="0">
                      <a:pos x="30" y="2"/>
                    </a:cxn>
                  </a:cxnLst>
                  <a:rect l="0" t="0" r="r" b="b"/>
                  <a:pathLst>
                    <a:path w="30" h="14">
                      <a:moveTo>
                        <a:pt x="30" y="2"/>
                      </a:moveTo>
                      <a:lnTo>
                        <a:pt x="28" y="2"/>
                      </a:lnTo>
                      <a:lnTo>
                        <a:pt x="26" y="4"/>
                      </a:lnTo>
                      <a:lnTo>
                        <a:pt x="24" y="4"/>
                      </a:lnTo>
                      <a:lnTo>
                        <a:pt x="24" y="6"/>
                      </a:lnTo>
                      <a:lnTo>
                        <a:pt x="22" y="6"/>
                      </a:lnTo>
                      <a:lnTo>
                        <a:pt x="20" y="8"/>
                      </a:lnTo>
                      <a:lnTo>
                        <a:pt x="18" y="10"/>
                      </a:lnTo>
                      <a:lnTo>
                        <a:pt x="12" y="10"/>
                      </a:lnTo>
                      <a:lnTo>
                        <a:pt x="2" y="14"/>
                      </a:lnTo>
                      <a:lnTo>
                        <a:pt x="0" y="10"/>
                      </a:lnTo>
                      <a:lnTo>
                        <a:pt x="4" y="10"/>
                      </a:lnTo>
                      <a:lnTo>
                        <a:pt x="10" y="8"/>
                      </a:lnTo>
                      <a:lnTo>
                        <a:pt x="12" y="8"/>
                      </a:lnTo>
                      <a:lnTo>
                        <a:pt x="12" y="6"/>
                      </a:lnTo>
                      <a:lnTo>
                        <a:pt x="14" y="6"/>
                      </a:lnTo>
                      <a:lnTo>
                        <a:pt x="16" y="4"/>
                      </a:lnTo>
                      <a:lnTo>
                        <a:pt x="14" y="4"/>
                      </a:lnTo>
                      <a:lnTo>
                        <a:pt x="14" y="2"/>
                      </a:lnTo>
                      <a:lnTo>
                        <a:pt x="16" y="2"/>
                      </a:lnTo>
                      <a:lnTo>
                        <a:pt x="20" y="2"/>
                      </a:lnTo>
                      <a:lnTo>
                        <a:pt x="26" y="0"/>
                      </a:lnTo>
                      <a:lnTo>
                        <a:pt x="28" y="0"/>
                      </a:lnTo>
                      <a:lnTo>
                        <a:pt x="30" y="0"/>
                      </a:lnTo>
                      <a:lnTo>
                        <a:pt x="30"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1" name="Freeform 3176"/>
                <p:cNvSpPr>
                  <a:spLocks/>
                </p:cNvSpPr>
                <p:nvPr/>
              </p:nvSpPr>
              <p:spPr bwMode="auto">
                <a:xfrm>
                  <a:off x="2214225" y="4226591"/>
                  <a:ext cx="8311" cy="29090"/>
                </a:xfrm>
                <a:custGeom>
                  <a:avLst/>
                  <a:gdLst/>
                  <a:ahLst/>
                  <a:cxnLst>
                    <a:cxn ang="0">
                      <a:pos x="2" y="4"/>
                    </a:cxn>
                    <a:cxn ang="0">
                      <a:pos x="4" y="4"/>
                    </a:cxn>
                    <a:cxn ang="0">
                      <a:pos x="4" y="14"/>
                    </a:cxn>
                    <a:cxn ang="0">
                      <a:pos x="2" y="14"/>
                    </a:cxn>
                    <a:cxn ang="0">
                      <a:pos x="0" y="10"/>
                    </a:cxn>
                    <a:cxn ang="0">
                      <a:pos x="0" y="8"/>
                    </a:cxn>
                    <a:cxn ang="0">
                      <a:pos x="0" y="6"/>
                    </a:cxn>
                    <a:cxn ang="0">
                      <a:pos x="0" y="2"/>
                    </a:cxn>
                    <a:cxn ang="0">
                      <a:pos x="0" y="0"/>
                    </a:cxn>
                    <a:cxn ang="0">
                      <a:pos x="0" y="2"/>
                    </a:cxn>
                    <a:cxn ang="0">
                      <a:pos x="2" y="2"/>
                    </a:cxn>
                    <a:cxn ang="0">
                      <a:pos x="4" y="2"/>
                    </a:cxn>
                    <a:cxn ang="0">
                      <a:pos x="2" y="2"/>
                    </a:cxn>
                    <a:cxn ang="0">
                      <a:pos x="2" y="4"/>
                    </a:cxn>
                  </a:cxnLst>
                  <a:rect l="0" t="0" r="r" b="b"/>
                  <a:pathLst>
                    <a:path w="4" h="14">
                      <a:moveTo>
                        <a:pt x="2" y="4"/>
                      </a:moveTo>
                      <a:lnTo>
                        <a:pt x="4" y="4"/>
                      </a:lnTo>
                      <a:lnTo>
                        <a:pt x="4" y="14"/>
                      </a:lnTo>
                      <a:lnTo>
                        <a:pt x="2" y="14"/>
                      </a:lnTo>
                      <a:lnTo>
                        <a:pt x="0" y="10"/>
                      </a:lnTo>
                      <a:lnTo>
                        <a:pt x="0" y="8"/>
                      </a:lnTo>
                      <a:lnTo>
                        <a:pt x="0" y="6"/>
                      </a:lnTo>
                      <a:lnTo>
                        <a:pt x="0" y="2"/>
                      </a:lnTo>
                      <a:lnTo>
                        <a:pt x="0" y="0"/>
                      </a:lnTo>
                      <a:lnTo>
                        <a:pt x="0" y="2"/>
                      </a:lnTo>
                      <a:lnTo>
                        <a:pt x="2" y="2"/>
                      </a:lnTo>
                      <a:lnTo>
                        <a:pt x="4" y="2"/>
                      </a:lnTo>
                      <a:lnTo>
                        <a:pt x="2" y="2"/>
                      </a:lnTo>
                      <a:lnTo>
                        <a:pt x="2" y="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2" name="Freeform 3177"/>
                <p:cNvSpPr>
                  <a:spLocks/>
                </p:cNvSpPr>
                <p:nvPr/>
              </p:nvSpPr>
              <p:spPr bwMode="auto">
                <a:xfrm>
                  <a:off x="2226692" y="4234902"/>
                  <a:ext cx="49868" cy="99736"/>
                </a:xfrm>
                <a:custGeom>
                  <a:avLst/>
                  <a:gdLst/>
                  <a:ahLst/>
                  <a:cxnLst>
                    <a:cxn ang="0">
                      <a:pos x="22" y="42"/>
                    </a:cxn>
                    <a:cxn ang="0">
                      <a:pos x="18" y="48"/>
                    </a:cxn>
                    <a:cxn ang="0">
                      <a:pos x="18" y="46"/>
                    </a:cxn>
                    <a:cxn ang="0">
                      <a:pos x="14" y="46"/>
                    </a:cxn>
                    <a:cxn ang="0">
                      <a:pos x="12" y="48"/>
                    </a:cxn>
                    <a:cxn ang="0">
                      <a:pos x="8" y="48"/>
                    </a:cxn>
                    <a:cxn ang="0">
                      <a:pos x="4" y="44"/>
                    </a:cxn>
                    <a:cxn ang="0">
                      <a:pos x="4" y="42"/>
                    </a:cxn>
                    <a:cxn ang="0">
                      <a:pos x="4" y="38"/>
                    </a:cxn>
                    <a:cxn ang="0">
                      <a:pos x="2" y="32"/>
                    </a:cxn>
                    <a:cxn ang="0">
                      <a:pos x="0" y="22"/>
                    </a:cxn>
                    <a:cxn ang="0">
                      <a:pos x="2" y="20"/>
                    </a:cxn>
                    <a:cxn ang="0">
                      <a:pos x="4" y="20"/>
                    </a:cxn>
                    <a:cxn ang="0">
                      <a:pos x="4" y="18"/>
                    </a:cxn>
                    <a:cxn ang="0">
                      <a:pos x="6" y="18"/>
                    </a:cxn>
                    <a:cxn ang="0">
                      <a:pos x="6" y="16"/>
                    </a:cxn>
                    <a:cxn ang="0">
                      <a:pos x="8" y="16"/>
                    </a:cxn>
                    <a:cxn ang="0">
                      <a:pos x="6" y="16"/>
                    </a:cxn>
                    <a:cxn ang="0">
                      <a:pos x="6" y="14"/>
                    </a:cxn>
                    <a:cxn ang="0">
                      <a:pos x="6" y="12"/>
                    </a:cxn>
                    <a:cxn ang="0">
                      <a:pos x="6" y="10"/>
                    </a:cxn>
                    <a:cxn ang="0">
                      <a:pos x="6" y="12"/>
                    </a:cxn>
                    <a:cxn ang="0">
                      <a:pos x="8" y="10"/>
                    </a:cxn>
                    <a:cxn ang="0">
                      <a:pos x="6" y="10"/>
                    </a:cxn>
                    <a:cxn ang="0">
                      <a:pos x="8" y="6"/>
                    </a:cxn>
                    <a:cxn ang="0">
                      <a:pos x="14" y="0"/>
                    </a:cxn>
                    <a:cxn ang="0">
                      <a:pos x="16" y="2"/>
                    </a:cxn>
                    <a:cxn ang="0">
                      <a:pos x="18" y="2"/>
                    </a:cxn>
                    <a:cxn ang="0">
                      <a:pos x="18" y="4"/>
                    </a:cxn>
                    <a:cxn ang="0">
                      <a:pos x="20" y="6"/>
                    </a:cxn>
                    <a:cxn ang="0">
                      <a:pos x="22" y="6"/>
                    </a:cxn>
                    <a:cxn ang="0">
                      <a:pos x="24" y="8"/>
                    </a:cxn>
                    <a:cxn ang="0">
                      <a:pos x="24" y="14"/>
                    </a:cxn>
                    <a:cxn ang="0">
                      <a:pos x="24" y="16"/>
                    </a:cxn>
                    <a:cxn ang="0">
                      <a:pos x="22" y="16"/>
                    </a:cxn>
                    <a:cxn ang="0">
                      <a:pos x="22" y="20"/>
                    </a:cxn>
                    <a:cxn ang="0">
                      <a:pos x="22" y="26"/>
                    </a:cxn>
                    <a:cxn ang="0">
                      <a:pos x="24" y="26"/>
                    </a:cxn>
                    <a:cxn ang="0">
                      <a:pos x="24" y="34"/>
                    </a:cxn>
                    <a:cxn ang="0">
                      <a:pos x="24" y="38"/>
                    </a:cxn>
                    <a:cxn ang="0">
                      <a:pos x="22" y="38"/>
                    </a:cxn>
                    <a:cxn ang="0">
                      <a:pos x="22" y="40"/>
                    </a:cxn>
                    <a:cxn ang="0">
                      <a:pos x="22" y="42"/>
                    </a:cxn>
                  </a:cxnLst>
                  <a:rect l="0" t="0" r="r" b="b"/>
                  <a:pathLst>
                    <a:path w="24" h="48">
                      <a:moveTo>
                        <a:pt x="22" y="42"/>
                      </a:moveTo>
                      <a:lnTo>
                        <a:pt x="18" y="48"/>
                      </a:lnTo>
                      <a:lnTo>
                        <a:pt x="18" y="46"/>
                      </a:lnTo>
                      <a:lnTo>
                        <a:pt x="14" y="46"/>
                      </a:lnTo>
                      <a:lnTo>
                        <a:pt x="12" y="48"/>
                      </a:lnTo>
                      <a:lnTo>
                        <a:pt x="8" y="48"/>
                      </a:lnTo>
                      <a:lnTo>
                        <a:pt x="4" y="44"/>
                      </a:lnTo>
                      <a:lnTo>
                        <a:pt x="4" y="42"/>
                      </a:lnTo>
                      <a:lnTo>
                        <a:pt x="4" y="38"/>
                      </a:lnTo>
                      <a:lnTo>
                        <a:pt x="2" y="32"/>
                      </a:lnTo>
                      <a:lnTo>
                        <a:pt x="0" y="22"/>
                      </a:lnTo>
                      <a:lnTo>
                        <a:pt x="2" y="20"/>
                      </a:lnTo>
                      <a:lnTo>
                        <a:pt x="4" y="20"/>
                      </a:lnTo>
                      <a:lnTo>
                        <a:pt x="4" y="18"/>
                      </a:lnTo>
                      <a:lnTo>
                        <a:pt x="6" y="18"/>
                      </a:lnTo>
                      <a:lnTo>
                        <a:pt x="6" y="16"/>
                      </a:lnTo>
                      <a:lnTo>
                        <a:pt x="8" y="16"/>
                      </a:lnTo>
                      <a:lnTo>
                        <a:pt x="6" y="16"/>
                      </a:lnTo>
                      <a:lnTo>
                        <a:pt x="6" y="14"/>
                      </a:lnTo>
                      <a:lnTo>
                        <a:pt x="6" y="12"/>
                      </a:lnTo>
                      <a:lnTo>
                        <a:pt x="6" y="10"/>
                      </a:lnTo>
                      <a:lnTo>
                        <a:pt x="6" y="12"/>
                      </a:lnTo>
                      <a:lnTo>
                        <a:pt x="8" y="10"/>
                      </a:lnTo>
                      <a:lnTo>
                        <a:pt x="6" y="10"/>
                      </a:lnTo>
                      <a:lnTo>
                        <a:pt x="8" y="6"/>
                      </a:lnTo>
                      <a:lnTo>
                        <a:pt x="14" y="0"/>
                      </a:lnTo>
                      <a:lnTo>
                        <a:pt x="16" y="2"/>
                      </a:lnTo>
                      <a:lnTo>
                        <a:pt x="18" y="2"/>
                      </a:lnTo>
                      <a:lnTo>
                        <a:pt x="18" y="4"/>
                      </a:lnTo>
                      <a:lnTo>
                        <a:pt x="20" y="6"/>
                      </a:lnTo>
                      <a:lnTo>
                        <a:pt x="22" y="6"/>
                      </a:lnTo>
                      <a:lnTo>
                        <a:pt x="24" y="8"/>
                      </a:lnTo>
                      <a:lnTo>
                        <a:pt x="24" y="14"/>
                      </a:lnTo>
                      <a:lnTo>
                        <a:pt x="24" y="16"/>
                      </a:lnTo>
                      <a:lnTo>
                        <a:pt x="22" y="16"/>
                      </a:lnTo>
                      <a:lnTo>
                        <a:pt x="22" y="20"/>
                      </a:lnTo>
                      <a:lnTo>
                        <a:pt x="22" y="26"/>
                      </a:lnTo>
                      <a:lnTo>
                        <a:pt x="24" y="26"/>
                      </a:lnTo>
                      <a:lnTo>
                        <a:pt x="24" y="34"/>
                      </a:lnTo>
                      <a:lnTo>
                        <a:pt x="24" y="38"/>
                      </a:lnTo>
                      <a:lnTo>
                        <a:pt x="22" y="38"/>
                      </a:lnTo>
                      <a:lnTo>
                        <a:pt x="22" y="40"/>
                      </a:lnTo>
                      <a:lnTo>
                        <a:pt x="22" y="4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473" name="Group 3179"/>
                <p:cNvGrpSpPr>
                  <a:grpSpLocks/>
                </p:cNvGrpSpPr>
                <p:nvPr/>
              </p:nvGrpSpPr>
              <p:grpSpPr bwMode="auto">
                <a:xfrm>
                  <a:off x="7350645" y="5851462"/>
                  <a:ext cx="860226" cy="590106"/>
                  <a:chOff x="3774" y="3696"/>
                  <a:chExt cx="414" cy="284"/>
                </a:xfrm>
                <a:solidFill>
                  <a:srgbClr val="B9B9B9"/>
                </a:solidFill>
              </p:grpSpPr>
              <p:sp>
                <p:nvSpPr>
                  <p:cNvPr id="527" name="Freeform 3180"/>
                  <p:cNvSpPr>
                    <a:spLocks/>
                  </p:cNvSpPr>
                  <p:nvPr/>
                </p:nvSpPr>
                <p:spPr bwMode="auto">
                  <a:xfrm>
                    <a:off x="4180" y="3850"/>
                    <a:ext cx="4" cy="6"/>
                  </a:xfrm>
                  <a:custGeom>
                    <a:avLst/>
                    <a:gdLst/>
                    <a:ahLst/>
                    <a:cxnLst>
                      <a:cxn ang="0">
                        <a:pos x="2" y="6"/>
                      </a:cxn>
                      <a:cxn ang="0">
                        <a:pos x="2" y="4"/>
                      </a:cxn>
                      <a:cxn ang="0">
                        <a:pos x="0" y="4"/>
                      </a:cxn>
                      <a:cxn ang="0">
                        <a:pos x="0" y="2"/>
                      </a:cxn>
                      <a:cxn ang="0">
                        <a:pos x="2" y="0"/>
                      </a:cxn>
                      <a:cxn ang="0">
                        <a:pos x="4" y="2"/>
                      </a:cxn>
                      <a:cxn ang="0">
                        <a:pos x="4" y="4"/>
                      </a:cxn>
                      <a:cxn ang="0">
                        <a:pos x="2" y="4"/>
                      </a:cxn>
                      <a:cxn ang="0">
                        <a:pos x="2" y="6"/>
                      </a:cxn>
                    </a:cxnLst>
                    <a:rect l="0" t="0" r="r" b="b"/>
                    <a:pathLst>
                      <a:path w="4" h="6">
                        <a:moveTo>
                          <a:pt x="2" y="6"/>
                        </a:moveTo>
                        <a:lnTo>
                          <a:pt x="2" y="4"/>
                        </a:lnTo>
                        <a:lnTo>
                          <a:pt x="0" y="4"/>
                        </a:lnTo>
                        <a:lnTo>
                          <a:pt x="0" y="2"/>
                        </a:lnTo>
                        <a:lnTo>
                          <a:pt x="2" y="0"/>
                        </a:lnTo>
                        <a:lnTo>
                          <a:pt x="4" y="2"/>
                        </a:lnTo>
                        <a:lnTo>
                          <a:pt x="4" y="4"/>
                        </a:lnTo>
                        <a:lnTo>
                          <a:pt x="2"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8" name="Freeform 3181"/>
                  <p:cNvSpPr>
                    <a:spLocks/>
                  </p:cNvSpPr>
                  <p:nvPr/>
                </p:nvSpPr>
                <p:spPr bwMode="auto">
                  <a:xfrm>
                    <a:off x="4012" y="3696"/>
                    <a:ext cx="6" cy="8"/>
                  </a:xfrm>
                  <a:custGeom>
                    <a:avLst/>
                    <a:gdLst/>
                    <a:ahLst/>
                    <a:cxnLst>
                      <a:cxn ang="0">
                        <a:pos x="6" y="8"/>
                      </a:cxn>
                      <a:cxn ang="0">
                        <a:pos x="4" y="6"/>
                      </a:cxn>
                      <a:cxn ang="0">
                        <a:pos x="0" y="4"/>
                      </a:cxn>
                      <a:cxn ang="0">
                        <a:pos x="0" y="2"/>
                      </a:cxn>
                      <a:cxn ang="0">
                        <a:pos x="0" y="0"/>
                      </a:cxn>
                      <a:cxn ang="0">
                        <a:pos x="2" y="0"/>
                      </a:cxn>
                      <a:cxn ang="0">
                        <a:pos x="4" y="2"/>
                      </a:cxn>
                      <a:cxn ang="0">
                        <a:pos x="6" y="6"/>
                      </a:cxn>
                      <a:cxn ang="0">
                        <a:pos x="6" y="8"/>
                      </a:cxn>
                    </a:cxnLst>
                    <a:rect l="0" t="0" r="r" b="b"/>
                    <a:pathLst>
                      <a:path w="6" h="8">
                        <a:moveTo>
                          <a:pt x="6" y="8"/>
                        </a:moveTo>
                        <a:lnTo>
                          <a:pt x="4" y="6"/>
                        </a:lnTo>
                        <a:lnTo>
                          <a:pt x="0" y="4"/>
                        </a:lnTo>
                        <a:lnTo>
                          <a:pt x="0" y="2"/>
                        </a:lnTo>
                        <a:lnTo>
                          <a:pt x="0" y="0"/>
                        </a:lnTo>
                        <a:lnTo>
                          <a:pt x="2" y="0"/>
                        </a:lnTo>
                        <a:lnTo>
                          <a:pt x="4" y="2"/>
                        </a:lnTo>
                        <a:lnTo>
                          <a:pt x="6" y="6"/>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9" name="Freeform 3182"/>
                  <p:cNvSpPr>
                    <a:spLocks/>
                  </p:cNvSpPr>
                  <p:nvPr/>
                </p:nvSpPr>
                <p:spPr bwMode="auto">
                  <a:xfrm>
                    <a:off x="3930" y="3714"/>
                    <a:ext cx="24" cy="6"/>
                  </a:xfrm>
                  <a:custGeom>
                    <a:avLst/>
                    <a:gdLst/>
                    <a:ahLst/>
                    <a:cxnLst>
                      <a:cxn ang="0">
                        <a:pos x="24" y="0"/>
                      </a:cxn>
                      <a:cxn ang="0">
                        <a:pos x="24" y="2"/>
                      </a:cxn>
                      <a:cxn ang="0">
                        <a:pos x="20" y="4"/>
                      </a:cxn>
                      <a:cxn ang="0">
                        <a:pos x="18" y="4"/>
                      </a:cxn>
                      <a:cxn ang="0">
                        <a:pos x="18" y="6"/>
                      </a:cxn>
                      <a:cxn ang="0">
                        <a:pos x="8" y="6"/>
                      </a:cxn>
                      <a:cxn ang="0">
                        <a:pos x="6" y="4"/>
                      </a:cxn>
                      <a:cxn ang="0">
                        <a:pos x="0" y="6"/>
                      </a:cxn>
                      <a:cxn ang="0">
                        <a:pos x="0" y="4"/>
                      </a:cxn>
                      <a:cxn ang="0">
                        <a:pos x="0" y="0"/>
                      </a:cxn>
                      <a:cxn ang="0">
                        <a:pos x="2" y="0"/>
                      </a:cxn>
                      <a:cxn ang="0">
                        <a:pos x="18" y="0"/>
                      </a:cxn>
                      <a:cxn ang="0">
                        <a:pos x="20" y="2"/>
                      </a:cxn>
                      <a:cxn ang="0">
                        <a:pos x="24" y="2"/>
                      </a:cxn>
                      <a:cxn ang="0">
                        <a:pos x="24" y="0"/>
                      </a:cxn>
                    </a:cxnLst>
                    <a:rect l="0" t="0" r="r" b="b"/>
                    <a:pathLst>
                      <a:path w="24" h="6">
                        <a:moveTo>
                          <a:pt x="24" y="0"/>
                        </a:moveTo>
                        <a:lnTo>
                          <a:pt x="24" y="2"/>
                        </a:lnTo>
                        <a:lnTo>
                          <a:pt x="20" y="4"/>
                        </a:lnTo>
                        <a:lnTo>
                          <a:pt x="18" y="4"/>
                        </a:lnTo>
                        <a:lnTo>
                          <a:pt x="18" y="6"/>
                        </a:lnTo>
                        <a:lnTo>
                          <a:pt x="8" y="6"/>
                        </a:lnTo>
                        <a:lnTo>
                          <a:pt x="6" y="4"/>
                        </a:lnTo>
                        <a:lnTo>
                          <a:pt x="0" y="6"/>
                        </a:lnTo>
                        <a:lnTo>
                          <a:pt x="0" y="4"/>
                        </a:lnTo>
                        <a:lnTo>
                          <a:pt x="0" y="0"/>
                        </a:lnTo>
                        <a:lnTo>
                          <a:pt x="2" y="0"/>
                        </a:lnTo>
                        <a:lnTo>
                          <a:pt x="18" y="0"/>
                        </a:lnTo>
                        <a:lnTo>
                          <a:pt x="20" y="2"/>
                        </a:lnTo>
                        <a:lnTo>
                          <a:pt x="24" y="2"/>
                        </a:lnTo>
                        <a:lnTo>
                          <a:pt x="2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0" name="Freeform 3183"/>
                  <p:cNvSpPr>
                    <a:spLocks/>
                  </p:cNvSpPr>
                  <p:nvPr/>
                </p:nvSpPr>
                <p:spPr bwMode="auto">
                  <a:xfrm>
                    <a:off x="4024" y="3724"/>
                    <a:ext cx="12" cy="10"/>
                  </a:xfrm>
                  <a:custGeom>
                    <a:avLst/>
                    <a:gdLst/>
                    <a:ahLst/>
                    <a:cxnLst>
                      <a:cxn ang="0">
                        <a:pos x="10" y="10"/>
                      </a:cxn>
                      <a:cxn ang="0">
                        <a:pos x="10" y="8"/>
                      </a:cxn>
                      <a:cxn ang="0">
                        <a:pos x="8" y="8"/>
                      </a:cxn>
                      <a:cxn ang="0">
                        <a:pos x="8" y="10"/>
                      </a:cxn>
                      <a:cxn ang="0">
                        <a:pos x="6" y="10"/>
                      </a:cxn>
                      <a:cxn ang="0">
                        <a:pos x="0" y="4"/>
                      </a:cxn>
                      <a:cxn ang="0">
                        <a:pos x="6" y="0"/>
                      </a:cxn>
                      <a:cxn ang="0">
                        <a:pos x="12" y="4"/>
                      </a:cxn>
                      <a:cxn ang="0">
                        <a:pos x="12" y="8"/>
                      </a:cxn>
                      <a:cxn ang="0">
                        <a:pos x="10" y="10"/>
                      </a:cxn>
                    </a:cxnLst>
                    <a:rect l="0" t="0" r="r" b="b"/>
                    <a:pathLst>
                      <a:path w="12" h="10">
                        <a:moveTo>
                          <a:pt x="10" y="10"/>
                        </a:moveTo>
                        <a:lnTo>
                          <a:pt x="10" y="8"/>
                        </a:lnTo>
                        <a:lnTo>
                          <a:pt x="8" y="8"/>
                        </a:lnTo>
                        <a:lnTo>
                          <a:pt x="8" y="10"/>
                        </a:lnTo>
                        <a:lnTo>
                          <a:pt x="6" y="10"/>
                        </a:lnTo>
                        <a:lnTo>
                          <a:pt x="0" y="4"/>
                        </a:lnTo>
                        <a:lnTo>
                          <a:pt x="6" y="0"/>
                        </a:lnTo>
                        <a:lnTo>
                          <a:pt x="12" y="4"/>
                        </a:lnTo>
                        <a:lnTo>
                          <a:pt x="12" y="8"/>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1" name="Freeform 3184"/>
                  <p:cNvSpPr>
                    <a:spLocks/>
                  </p:cNvSpPr>
                  <p:nvPr/>
                </p:nvSpPr>
                <p:spPr bwMode="auto">
                  <a:xfrm>
                    <a:off x="4044" y="3730"/>
                    <a:ext cx="66" cy="62"/>
                  </a:xfrm>
                  <a:custGeom>
                    <a:avLst/>
                    <a:gdLst/>
                    <a:ahLst/>
                    <a:cxnLst>
                      <a:cxn ang="0">
                        <a:pos x="44" y="30"/>
                      </a:cxn>
                      <a:cxn ang="0">
                        <a:pos x="40" y="26"/>
                      </a:cxn>
                      <a:cxn ang="0">
                        <a:pos x="34" y="24"/>
                      </a:cxn>
                      <a:cxn ang="0">
                        <a:pos x="26" y="18"/>
                      </a:cxn>
                      <a:cxn ang="0">
                        <a:pos x="22" y="16"/>
                      </a:cxn>
                      <a:cxn ang="0">
                        <a:pos x="20" y="14"/>
                      </a:cxn>
                      <a:cxn ang="0">
                        <a:pos x="18" y="12"/>
                      </a:cxn>
                      <a:cxn ang="0">
                        <a:pos x="14" y="10"/>
                      </a:cxn>
                      <a:cxn ang="0">
                        <a:pos x="10" y="8"/>
                      </a:cxn>
                      <a:cxn ang="0">
                        <a:pos x="6" y="6"/>
                      </a:cxn>
                      <a:cxn ang="0">
                        <a:pos x="2" y="6"/>
                      </a:cxn>
                      <a:cxn ang="0">
                        <a:pos x="4" y="4"/>
                      </a:cxn>
                      <a:cxn ang="0">
                        <a:pos x="2" y="2"/>
                      </a:cxn>
                      <a:cxn ang="0">
                        <a:pos x="4" y="0"/>
                      </a:cxn>
                      <a:cxn ang="0">
                        <a:pos x="14" y="6"/>
                      </a:cxn>
                      <a:cxn ang="0">
                        <a:pos x="20" y="10"/>
                      </a:cxn>
                      <a:cxn ang="0">
                        <a:pos x="26" y="12"/>
                      </a:cxn>
                      <a:cxn ang="0">
                        <a:pos x="32" y="16"/>
                      </a:cxn>
                      <a:cxn ang="0">
                        <a:pos x="36" y="18"/>
                      </a:cxn>
                      <a:cxn ang="0">
                        <a:pos x="40" y="22"/>
                      </a:cxn>
                      <a:cxn ang="0">
                        <a:pos x="42" y="24"/>
                      </a:cxn>
                      <a:cxn ang="0">
                        <a:pos x="44" y="26"/>
                      </a:cxn>
                      <a:cxn ang="0">
                        <a:pos x="48" y="30"/>
                      </a:cxn>
                      <a:cxn ang="0">
                        <a:pos x="50" y="34"/>
                      </a:cxn>
                      <a:cxn ang="0">
                        <a:pos x="54" y="34"/>
                      </a:cxn>
                      <a:cxn ang="0">
                        <a:pos x="66" y="46"/>
                      </a:cxn>
                      <a:cxn ang="0">
                        <a:pos x="64" y="52"/>
                      </a:cxn>
                      <a:cxn ang="0">
                        <a:pos x="64" y="56"/>
                      </a:cxn>
                      <a:cxn ang="0">
                        <a:pos x="60" y="62"/>
                      </a:cxn>
                      <a:cxn ang="0">
                        <a:pos x="54" y="54"/>
                      </a:cxn>
                      <a:cxn ang="0">
                        <a:pos x="54" y="50"/>
                      </a:cxn>
                      <a:cxn ang="0">
                        <a:pos x="52" y="40"/>
                      </a:cxn>
                      <a:cxn ang="0">
                        <a:pos x="50" y="36"/>
                      </a:cxn>
                    </a:cxnLst>
                    <a:rect l="0" t="0" r="r" b="b"/>
                    <a:pathLst>
                      <a:path w="66" h="62">
                        <a:moveTo>
                          <a:pt x="48" y="34"/>
                        </a:moveTo>
                        <a:lnTo>
                          <a:pt x="44" y="30"/>
                        </a:lnTo>
                        <a:lnTo>
                          <a:pt x="44" y="28"/>
                        </a:lnTo>
                        <a:lnTo>
                          <a:pt x="40" y="26"/>
                        </a:lnTo>
                        <a:lnTo>
                          <a:pt x="38" y="24"/>
                        </a:lnTo>
                        <a:lnTo>
                          <a:pt x="34" y="24"/>
                        </a:lnTo>
                        <a:lnTo>
                          <a:pt x="26" y="20"/>
                        </a:lnTo>
                        <a:lnTo>
                          <a:pt x="26" y="18"/>
                        </a:lnTo>
                        <a:lnTo>
                          <a:pt x="24" y="16"/>
                        </a:lnTo>
                        <a:lnTo>
                          <a:pt x="22" y="16"/>
                        </a:lnTo>
                        <a:lnTo>
                          <a:pt x="20" y="16"/>
                        </a:lnTo>
                        <a:lnTo>
                          <a:pt x="20" y="14"/>
                        </a:lnTo>
                        <a:lnTo>
                          <a:pt x="20" y="12"/>
                        </a:lnTo>
                        <a:lnTo>
                          <a:pt x="18" y="12"/>
                        </a:lnTo>
                        <a:lnTo>
                          <a:pt x="16" y="10"/>
                        </a:lnTo>
                        <a:lnTo>
                          <a:pt x="14" y="10"/>
                        </a:lnTo>
                        <a:lnTo>
                          <a:pt x="12" y="8"/>
                        </a:lnTo>
                        <a:lnTo>
                          <a:pt x="10" y="8"/>
                        </a:lnTo>
                        <a:lnTo>
                          <a:pt x="8" y="6"/>
                        </a:lnTo>
                        <a:lnTo>
                          <a:pt x="6" y="6"/>
                        </a:lnTo>
                        <a:lnTo>
                          <a:pt x="4" y="6"/>
                        </a:lnTo>
                        <a:lnTo>
                          <a:pt x="2" y="6"/>
                        </a:lnTo>
                        <a:lnTo>
                          <a:pt x="0" y="4"/>
                        </a:lnTo>
                        <a:lnTo>
                          <a:pt x="4" y="4"/>
                        </a:lnTo>
                        <a:lnTo>
                          <a:pt x="4" y="2"/>
                        </a:lnTo>
                        <a:lnTo>
                          <a:pt x="2" y="2"/>
                        </a:lnTo>
                        <a:lnTo>
                          <a:pt x="2" y="0"/>
                        </a:lnTo>
                        <a:lnTo>
                          <a:pt x="4" y="0"/>
                        </a:lnTo>
                        <a:lnTo>
                          <a:pt x="6" y="4"/>
                        </a:lnTo>
                        <a:lnTo>
                          <a:pt x="14" y="6"/>
                        </a:lnTo>
                        <a:lnTo>
                          <a:pt x="16" y="8"/>
                        </a:lnTo>
                        <a:lnTo>
                          <a:pt x="20" y="10"/>
                        </a:lnTo>
                        <a:lnTo>
                          <a:pt x="24" y="12"/>
                        </a:lnTo>
                        <a:lnTo>
                          <a:pt x="26" y="12"/>
                        </a:lnTo>
                        <a:lnTo>
                          <a:pt x="30" y="16"/>
                        </a:lnTo>
                        <a:lnTo>
                          <a:pt x="32" y="16"/>
                        </a:lnTo>
                        <a:lnTo>
                          <a:pt x="34" y="18"/>
                        </a:lnTo>
                        <a:lnTo>
                          <a:pt x="36" y="18"/>
                        </a:lnTo>
                        <a:lnTo>
                          <a:pt x="36" y="20"/>
                        </a:lnTo>
                        <a:lnTo>
                          <a:pt x="40" y="22"/>
                        </a:lnTo>
                        <a:lnTo>
                          <a:pt x="40" y="24"/>
                        </a:lnTo>
                        <a:lnTo>
                          <a:pt x="42" y="24"/>
                        </a:lnTo>
                        <a:lnTo>
                          <a:pt x="42" y="26"/>
                        </a:lnTo>
                        <a:lnTo>
                          <a:pt x="44" y="26"/>
                        </a:lnTo>
                        <a:lnTo>
                          <a:pt x="46" y="28"/>
                        </a:lnTo>
                        <a:lnTo>
                          <a:pt x="48" y="30"/>
                        </a:lnTo>
                        <a:lnTo>
                          <a:pt x="50" y="32"/>
                        </a:lnTo>
                        <a:lnTo>
                          <a:pt x="50" y="34"/>
                        </a:lnTo>
                        <a:lnTo>
                          <a:pt x="52" y="34"/>
                        </a:lnTo>
                        <a:lnTo>
                          <a:pt x="54" y="34"/>
                        </a:lnTo>
                        <a:lnTo>
                          <a:pt x="56" y="36"/>
                        </a:lnTo>
                        <a:lnTo>
                          <a:pt x="66" y="46"/>
                        </a:lnTo>
                        <a:lnTo>
                          <a:pt x="66" y="50"/>
                        </a:lnTo>
                        <a:lnTo>
                          <a:pt x="64" y="52"/>
                        </a:lnTo>
                        <a:lnTo>
                          <a:pt x="64" y="54"/>
                        </a:lnTo>
                        <a:lnTo>
                          <a:pt x="64" y="56"/>
                        </a:lnTo>
                        <a:lnTo>
                          <a:pt x="62" y="60"/>
                        </a:lnTo>
                        <a:lnTo>
                          <a:pt x="60" y="62"/>
                        </a:lnTo>
                        <a:lnTo>
                          <a:pt x="56" y="58"/>
                        </a:lnTo>
                        <a:lnTo>
                          <a:pt x="54" y="54"/>
                        </a:lnTo>
                        <a:lnTo>
                          <a:pt x="54" y="52"/>
                        </a:lnTo>
                        <a:lnTo>
                          <a:pt x="54" y="50"/>
                        </a:lnTo>
                        <a:lnTo>
                          <a:pt x="54" y="44"/>
                        </a:lnTo>
                        <a:lnTo>
                          <a:pt x="52" y="40"/>
                        </a:lnTo>
                        <a:lnTo>
                          <a:pt x="50" y="38"/>
                        </a:lnTo>
                        <a:lnTo>
                          <a:pt x="50" y="36"/>
                        </a:lnTo>
                        <a:lnTo>
                          <a:pt x="48"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2" name="Freeform 3185"/>
                  <p:cNvSpPr>
                    <a:spLocks/>
                  </p:cNvSpPr>
                  <p:nvPr/>
                </p:nvSpPr>
                <p:spPr bwMode="auto">
                  <a:xfrm>
                    <a:off x="3774" y="3730"/>
                    <a:ext cx="274" cy="224"/>
                  </a:xfrm>
                  <a:custGeom>
                    <a:avLst/>
                    <a:gdLst/>
                    <a:ahLst/>
                    <a:cxnLst>
                      <a:cxn ang="0">
                        <a:pos x="16" y="4"/>
                      </a:cxn>
                      <a:cxn ang="0">
                        <a:pos x="34" y="12"/>
                      </a:cxn>
                      <a:cxn ang="0">
                        <a:pos x="66" y="22"/>
                      </a:cxn>
                      <a:cxn ang="0">
                        <a:pos x="76" y="28"/>
                      </a:cxn>
                      <a:cxn ang="0">
                        <a:pos x="94" y="34"/>
                      </a:cxn>
                      <a:cxn ang="0">
                        <a:pos x="104" y="40"/>
                      </a:cxn>
                      <a:cxn ang="0">
                        <a:pos x="114" y="48"/>
                      </a:cxn>
                      <a:cxn ang="0">
                        <a:pos x="132" y="60"/>
                      </a:cxn>
                      <a:cxn ang="0">
                        <a:pos x="134" y="80"/>
                      </a:cxn>
                      <a:cxn ang="0">
                        <a:pos x="150" y="82"/>
                      </a:cxn>
                      <a:cxn ang="0">
                        <a:pos x="160" y="88"/>
                      </a:cxn>
                      <a:cxn ang="0">
                        <a:pos x="168" y="92"/>
                      </a:cxn>
                      <a:cxn ang="0">
                        <a:pos x="182" y="94"/>
                      </a:cxn>
                      <a:cxn ang="0">
                        <a:pos x="190" y="114"/>
                      </a:cxn>
                      <a:cxn ang="0">
                        <a:pos x="170" y="122"/>
                      </a:cxn>
                      <a:cxn ang="0">
                        <a:pos x="178" y="136"/>
                      </a:cxn>
                      <a:cxn ang="0">
                        <a:pos x="194" y="148"/>
                      </a:cxn>
                      <a:cxn ang="0">
                        <a:pos x="202" y="164"/>
                      </a:cxn>
                      <a:cxn ang="0">
                        <a:pos x="212" y="178"/>
                      </a:cxn>
                      <a:cxn ang="0">
                        <a:pos x="232" y="178"/>
                      </a:cxn>
                      <a:cxn ang="0">
                        <a:pos x="230" y="190"/>
                      </a:cxn>
                      <a:cxn ang="0">
                        <a:pos x="236" y="194"/>
                      </a:cxn>
                      <a:cxn ang="0">
                        <a:pos x="248" y="198"/>
                      </a:cxn>
                      <a:cxn ang="0">
                        <a:pos x="248" y="206"/>
                      </a:cxn>
                      <a:cxn ang="0">
                        <a:pos x="272" y="212"/>
                      </a:cxn>
                      <a:cxn ang="0">
                        <a:pos x="264" y="214"/>
                      </a:cxn>
                      <a:cxn ang="0">
                        <a:pos x="268" y="218"/>
                      </a:cxn>
                      <a:cxn ang="0">
                        <a:pos x="262" y="224"/>
                      </a:cxn>
                      <a:cxn ang="0">
                        <a:pos x="246" y="220"/>
                      </a:cxn>
                      <a:cxn ang="0">
                        <a:pos x="244" y="216"/>
                      </a:cxn>
                      <a:cxn ang="0">
                        <a:pos x="226" y="210"/>
                      </a:cxn>
                      <a:cxn ang="0">
                        <a:pos x="214" y="208"/>
                      </a:cxn>
                      <a:cxn ang="0">
                        <a:pos x="200" y="208"/>
                      </a:cxn>
                      <a:cxn ang="0">
                        <a:pos x="186" y="204"/>
                      </a:cxn>
                      <a:cxn ang="0">
                        <a:pos x="172" y="190"/>
                      </a:cxn>
                      <a:cxn ang="0">
                        <a:pos x="168" y="188"/>
                      </a:cxn>
                      <a:cxn ang="0">
                        <a:pos x="166" y="180"/>
                      </a:cxn>
                      <a:cxn ang="0">
                        <a:pos x="156" y="172"/>
                      </a:cxn>
                      <a:cxn ang="0">
                        <a:pos x="148" y="158"/>
                      </a:cxn>
                      <a:cxn ang="0">
                        <a:pos x="132" y="148"/>
                      </a:cxn>
                      <a:cxn ang="0">
                        <a:pos x="118" y="146"/>
                      </a:cxn>
                      <a:cxn ang="0">
                        <a:pos x="110" y="140"/>
                      </a:cxn>
                      <a:cxn ang="0">
                        <a:pos x="98" y="136"/>
                      </a:cxn>
                      <a:cxn ang="0">
                        <a:pos x="96" y="140"/>
                      </a:cxn>
                      <a:cxn ang="0">
                        <a:pos x="90" y="144"/>
                      </a:cxn>
                      <a:cxn ang="0">
                        <a:pos x="80" y="138"/>
                      </a:cxn>
                      <a:cxn ang="0">
                        <a:pos x="82" y="142"/>
                      </a:cxn>
                      <a:cxn ang="0">
                        <a:pos x="78" y="148"/>
                      </a:cxn>
                      <a:cxn ang="0">
                        <a:pos x="72" y="146"/>
                      </a:cxn>
                      <a:cxn ang="0">
                        <a:pos x="68" y="156"/>
                      </a:cxn>
                      <a:cxn ang="0">
                        <a:pos x="58" y="158"/>
                      </a:cxn>
                      <a:cxn ang="0">
                        <a:pos x="50" y="158"/>
                      </a:cxn>
                      <a:cxn ang="0">
                        <a:pos x="40" y="154"/>
                      </a:cxn>
                      <a:cxn ang="0">
                        <a:pos x="42" y="154"/>
                      </a:cxn>
                      <a:cxn ang="0">
                        <a:pos x="52" y="158"/>
                      </a:cxn>
                      <a:cxn ang="0">
                        <a:pos x="64" y="164"/>
                      </a:cxn>
                      <a:cxn ang="0">
                        <a:pos x="68" y="178"/>
                      </a:cxn>
                      <a:cxn ang="0">
                        <a:pos x="50" y="186"/>
                      </a:cxn>
                      <a:cxn ang="0">
                        <a:pos x="38" y="182"/>
                      </a:cxn>
                      <a:cxn ang="0">
                        <a:pos x="10" y="182"/>
                      </a:cxn>
                      <a:cxn ang="0">
                        <a:pos x="4" y="182"/>
                      </a:cxn>
                      <a:cxn ang="0">
                        <a:pos x="2" y="110"/>
                      </a:cxn>
                      <a:cxn ang="0">
                        <a:pos x="4" y="64"/>
                      </a:cxn>
                    </a:cxnLst>
                    <a:rect l="0" t="0" r="r" b="b"/>
                    <a:pathLst>
                      <a:path w="274" h="224">
                        <a:moveTo>
                          <a:pt x="4" y="64"/>
                        </a:moveTo>
                        <a:lnTo>
                          <a:pt x="4" y="0"/>
                        </a:lnTo>
                        <a:lnTo>
                          <a:pt x="12" y="2"/>
                        </a:lnTo>
                        <a:lnTo>
                          <a:pt x="14" y="4"/>
                        </a:lnTo>
                        <a:lnTo>
                          <a:pt x="16" y="4"/>
                        </a:lnTo>
                        <a:lnTo>
                          <a:pt x="28" y="10"/>
                        </a:lnTo>
                        <a:lnTo>
                          <a:pt x="30" y="10"/>
                        </a:lnTo>
                        <a:lnTo>
                          <a:pt x="32" y="10"/>
                        </a:lnTo>
                        <a:lnTo>
                          <a:pt x="32" y="12"/>
                        </a:lnTo>
                        <a:lnTo>
                          <a:pt x="34" y="12"/>
                        </a:lnTo>
                        <a:lnTo>
                          <a:pt x="34" y="14"/>
                        </a:lnTo>
                        <a:lnTo>
                          <a:pt x="58" y="20"/>
                        </a:lnTo>
                        <a:lnTo>
                          <a:pt x="58" y="22"/>
                        </a:lnTo>
                        <a:lnTo>
                          <a:pt x="64" y="22"/>
                        </a:lnTo>
                        <a:lnTo>
                          <a:pt x="66" y="22"/>
                        </a:lnTo>
                        <a:lnTo>
                          <a:pt x="68" y="22"/>
                        </a:lnTo>
                        <a:lnTo>
                          <a:pt x="72" y="22"/>
                        </a:lnTo>
                        <a:lnTo>
                          <a:pt x="74" y="24"/>
                        </a:lnTo>
                        <a:lnTo>
                          <a:pt x="76" y="26"/>
                        </a:lnTo>
                        <a:lnTo>
                          <a:pt x="76" y="28"/>
                        </a:lnTo>
                        <a:lnTo>
                          <a:pt x="80" y="28"/>
                        </a:lnTo>
                        <a:lnTo>
                          <a:pt x="86" y="34"/>
                        </a:lnTo>
                        <a:lnTo>
                          <a:pt x="92" y="36"/>
                        </a:lnTo>
                        <a:lnTo>
                          <a:pt x="92" y="34"/>
                        </a:lnTo>
                        <a:lnTo>
                          <a:pt x="94" y="34"/>
                        </a:lnTo>
                        <a:lnTo>
                          <a:pt x="100" y="34"/>
                        </a:lnTo>
                        <a:lnTo>
                          <a:pt x="102" y="36"/>
                        </a:lnTo>
                        <a:lnTo>
                          <a:pt x="102" y="38"/>
                        </a:lnTo>
                        <a:lnTo>
                          <a:pt x="102" y="40"/>
                        </a:lnTo>
                        <a:lnTo>
                          <a:pt x="104" y="40"/>
                        </a:lnTo>
                        <a:lnTo>
                          <a:pt x="106" y="40"/>
                        </a:lnTo>
                        <a:lnTo>
                          <a:pt x="108" y="40"/>
                        </a:lnTo>
                        <a:lnTo>
                          <a:pt x="110" y="42"/>
                        </a:lnTo>
                        <a:lnTo>
                          <a:pt x="114" y="46"/>
                        </a:lnTo>
                        <a:lnTo>
                          <a:pt x="114" y="48"/>
                        </a:lnTo>
                        <a:lnTo>
                          <a:pt x="116" y="48"/>
                        </a:lnTo>
                        <a:lnTo>
                          <a:pt x="116" y="50"/>
                        </a:lnTo>
                        <a:lnTo>
                          <a:pt x="122" y="50"/>
                        </a:lnTo>
                        <a:lnTo>
                          <a:pt x="130" y="58"/>
                        </a:lnTo>
                        <a:lnTo>
                          <a:pt x="132" y="60"/>
                        </a:lnTo>
                        <a:lnTo>
                          <a:pt x="134" y="62"/>
                        </a:lnTo>
                        <a:lnTo>
                          <a:pt x="136" y="72"/>
                        </a:lnTo>
                        <a:lnTo>
                          <a:pt x="134" y="74"/>
                        </a:lnTo>
                        <a:lnTo>
                          <a:pt x="134" y="76"/>
                        </a:lnTo>
                        <a:lnTo>
                          <a:pt x="134" y="80"/>
                        </a:lnTo>
                        <a:lnTo>
                          <a:pt x="138" y="80"/>
                        </a:lnTo>
                        <a:lnTo>
                          <a:pt x="140" y="80"/>
                        </a:lnTo>
                        <a:lnTo>
                          <a:pt x="144" y="82"/>
                        </a:lnTo>
                        <a:lnTo>
                          <a:pt x="146" y="82"/>
                        </a:lnTo>
                        <a:lnTo>
                          <a:pt x="150" y="82"/>
                        </a:lnTo>
                        <a:lnTo>
                          <a:pt x="154" y="82"/>
                        </a:lnTo>
                        <a:lnTo>
                          <a:pt x="154" y="84"/>
                        </a:lnTo>
                        <a:lnTo>
                          <a:pt x="156" y="86"/>
                        </a:lnTo>
                        <a:lnTo>
                          <a:pt x="158" y="88"/>
                        </a:lnTo>
                        <a:lnTo>
                          <a:pt x="160" y="88"/>
                        </a:lnTo>
                        <a:lnTo>
                          <a:pt x="162" y="88"/>
                        </a:lnTo>
                        <a:lnTo>
                          <a:pt x="162" y="90"/>
                        </a:lnTo>
                        <a:lnTo>
                          <a:pt x="166" y="90"/>
                        </a:lnTo>
                        <a:lnTo>
                          <a:pt x="168" y="90"/>
                        </a:lnTo>
                        <a:lnTo>
                          <a:pt x="168" y="92"/>
                        </a:lnTo>
                        <a:lnTo>
                          <a:pt x="170" y="92"/>
                        </a:lnTo>
                        <a:lnTo>
                          <a:pt x="172" y="94"/>
                        </a:lnTo>
                        <a:lnTo>
                          <a:pt x="174" y="94"/>
                        </a:lnTo>
                        <a:lnTo>
                          <a:pt x="176" y="92"/>
                        </a:lnTo>
                        <a:lnTo>
                          <a:pt x="182" y="94"/>
                        </a:lnTo>
                        <a:lnTo>
                          <a:pt x="184" y="96"/>
                        </a:lnTo>
                        <a:lnTo>
                          <a:pt x="192" y="104"/>
                        </a:lnTo>
                        <a:lnTo>
                          <a:pt x="192" y="112"/>
                        </a:lnTo>
                        <a:lnTo>
                          <a:pt x="192" y="114"/>
                        </a:lnTo>
                        <a:lnTo>
                          <a:pt x="190" y="114"/>
                        </a:lnTo>
                        <a:lnTo>
                          <a:pt x="174" y="114"/>
                        </a:lnTo>
                        <a:lnTo>
                          <a:pt x="168" y="114"/>
                        </a:lnTo>
                        <a:lnTo>
                          <a:pt x="168" y="120"/>
                        </a:lnTo>
                        <a:lnTo>
                          <a:pt x="168" y="122"/>
                        </a:lnTo>
                        <a:lnTo>
                          <a:pt x="170" y="122"/>
                        </a:lnTo>
                        <a:lnTo>
                          <a:pt x="172" y="128"/>
                        </a:lnTo>
                        <a:lnTo>
                          <a:pt x="172" y="132"/>
                        </a:lnTo>
                        <a:lnTo>
                          <a:pt x="174" y="134"/>
                        </a:lnTo>
                        <a:lnTo>
                          <a:pt x="176" y="136"/>
                        </a:lnTo>
                        <a:lnTo>
                          <a:pt x="178" y="136"/>
                        </a:lnTo>
                        <a:lnTo>
                          <a:pt x="188" y="144"/>
                        </a:lnTo>
                        <a:lnTo>
                          <a:pt x="188" y="146"/>
                        </a:lnTo>
                        <a:lnTo>
                          <a:pt x="188" y="148"/>
                        </a:lnTo>
                        <a:lnTo>
                          <a:pt x="192" y="148"/>
                        </a:lnTo>
                        <a:lnTo>
                          <a:pt x="194" y="148"/>
                        </a:lnTo>
                        <a:lnTo>
                          <a:pt x="196" y="150"/>
                        </a:lnTo>
                        <a:lnTo>
                          <a:pt x="196" y="152"/>
                        </a:lnTo>
                        <a:lnTo>
                          <a:pt x="200" y="152"/>
                        </a:lnTo>
                        <a:lnTo>
                          <a:pt x="202" y="156"/>
                        </a:lnTo>
                        <a:lnTo>
                          <a:pt x="202" y="164"/>
                        </a:lnTo>
                        <a:lnTo>
                          <a:pt x="204" y="166"/>
                        </a:lnTo>
                        <a:lnTo>
                          <a:pt x="208" y="168"/>
                        </a:lnTo>
                        <a:lnTo>
                          <a:pt x="208" y="170"/>
                        </a:lnTo>
                        <a:lnTo>
                          <a:pt x="210" y="176"/>
                        </a:lnTo>
                        <a:lnTo>
                          <a:pt x="212" y="178"/>
                        </a:lnTo>
                        <a:lnTo>
                          <a:pt x="212" y="180"/>
                        </a:lnTo>
                        <a:lnTo>
                          <a:pt x="218" y="180"/>
                        </a:lnTo>
                        <a:lnTo>
                          <a:pt x="226" y="176"/>
                        </a:lnTo>
                        <a:lnTo>
                          <a:pt x="230" y="176"/>
                        </a:lnTo>
                        <a:lnTo>
                          <a:pt x="232" y="178"/>
                        </a:lnTo>
                        <a:lnTo>
                          <a:pt x="232" y="182"/>
                        </a:lnTo>
                        <a:lnTo>
                          <a:pt x="228" y="186"/>
                        </a:lnTo>
                        <a:lnTo>
                          <a:pt x="228" y="188"/>
                        </a:lnTo>
                        <a:lnTo>
                          <a:pt x="228" y="190"/>
                        </a:lnTo>
                        <a:lnTo>
                          <a:pt x="230" y="190"/>
                        </a:lnTo>
                        <a:lnTo>
                          <a:pt x="230" y="192"/>
                        </a:lnTo>
                        <a:lnTo>
                          <a:pt x="232" y="192"/>
                        </a:lnTo>
                        <a:lnTo>
                          <a:pt x="234" y="192"/>
                        </a:lnTo>
                        <a:lnTo>
                          <a:pt x="236" y="192"/>
                        </a:lnTo>
                        <a:lnTo>
                          <a:pt x="236" y="194"/>
                        </a:lnTo>
                        <a:lnTo>
                          <a:pt x="250" y="194"/>
                        </a:lnTo>
                        <a:lnTo>
                          <a:pt x="252" y="196"/>
                        </a:lnTo>
                        <a:lnTo>
                          <a:pt x="252" y="198"/>
                        </a:lnTo>
                        <a:lnTo>
                          <a:pt x="250" y="198"/>
                        </a:lnTo>
                        <a:lnTo>
                          <a:pt x="248" y="198"/>
                        </a:lnTo>
                        <a:lnTo>
                          <a:pt x="244" y="198"/>
                        </a:lnTo>
                        <a:lnTo>
                          <a:pt x="244" y="200"/>
                        </a:lnTo>
                        <a:lnTo>
                          <a:pt x="242" y="200"/>
                        </a:lnTo>
                        <a:lnTo>
                          <a:pt x="246" y="204"/>
                        </a:lnTo>
                        <a:lnTo>
                          <a:pt x="248" y="206"/>
                        </a:lnTo>
                        <a:lnTo>
                          <a:pt x="256" y="208"/>
                        </a:lnTo>
                        <a:lnTo>
                          <a:pt x="258" y="210"/>
                        </a:lnTo>
                        <a:lnTo>
                          <a:pt x="266" y="210"/>
                        </a:lnTo>
                        <a:lnTo>
                          <a:pt x="268" y="212"/>
                        </a:lnTo>
                        <a:lnTo>
                          <a:pt x="272" y="212"/>
                        </a:lnTo>
                        <a:lnTo>
                          <a:pt x="274" y="210"/>
                        </a:lnTo>
                        <a:lnTo>
                          <a:pt x="270" y="214"/>
                        </a:lnTo>
                        <a:lnTo>
                          <a:pt x="268" y="214"/>
                        </a:lnTo>
                        <a:lnTo>
                          <a:pt x="266" y="214"/>
                        </a:lnTo>
                        <a:lnTo>
                          <a:pt x="264" y="214"/>
                        </a:lnTo>
                        <a:lnTo>
                          <a:pt x="262" y="212"/>
                        </a:lnTo>
                        <a:lnTo>
                          <a:pt x="260" y="214"/>
                        </a:lnTo>
                        <a:lnTo>
                          <a:pt x="260" y="216"/>
                        </a:lnTo>
                        <a:lnTo>
                          <a:pt x="266" y="218"/>
                        </a:lnTo>
                        <a:lnTo>
                          <a:pt x="268" y="218"/>
                        </a:lnTo>
                        <a:lnTo>
                          <a:pt x="270" y="220"/>
                        </a:lnTo>
                        <a:lnTo>
                          <a:pt x="268" y="220"/>
                        </a:lnTo>
                        <a:lnTo>
                          <a:pt x="266" y="222"/>
                        </a:lnTo>
                        <a:lnTo>
                          <a:pt x="264" y="222"/>
                        </a:lnTo>
                        <a:lnTo>
                          <a:pt x="262" y="224"/>
                        </a:lnTo>
                        <a:lnTo>
                          <a:pt x="256" y="224"/>
                        </a:lnTo>
                        <a:lnTo>
                          <a:pt x="252" y="222"/>
                        </a:lnTo>
                        <a:lnTo>
                          <a:pt x="250" y="222"/>
                        </a:lnTo>
                        <a:lnTo>
                          <a:pt x="250" y="220"/>
                        </a:lnTo>
                        <a:lnTo>
                          <a:pt x="246" y="220"/>
                        </a:lnTo>
                        <a:lnTo>
                          <a:pt x="248" y="218"/>
                        </a:lnTo>
                        <a:lnTo>
                          <a:pt x="252" y="218"/>
                        </a:lnTo>
                        <a:lnTo>
                          <a:pt x="252" y="216"/>
                        </a:lnTo>
                        <a:lnTo>
                          <a:pt x="246" y="216"/>
                        </a:lnTo>
                        <a:lnTo>
                          <a:pt x="244" y="216"/>
                        </a:lnTo>
                        <a:lnTo>
                          <a:pt x="244" y="214"/>
                        </a:lnTo>
                        <a:lnTo>
                          <a:pt x="230" y="212"/>
                        </a:lnTo>
                        <a:lnTo>
                          <a:pt x="228" y="212"/>
                        </a:lnTo>
                        <a:lnTo>
                          <a:pt x="226" y="212"/>
                        </a:lnTo>
                        <a:lnTo>
                          <a:pt x="226" y="210"/>
                        </a:lnTo>
                        <a:lnTo>
                          <a:pt x="224" y="210"/>
                        </a:lnTo>
                        <a:lnTo>
                          <a:pt x="224" y="212"/>
                        </a:lnTo>
                        <a:lnTo>
                          <a:pt x="220" y="212"/>
                        </a:lnTo>
                        <a:lnTo>
                          <a:pt x="216" y="210"/>
                        </a:lnTo>
                        <a:lnTo>
                          <a:pt x="214" y="208"/>
                        </a:lnTo>
                        <a:lnTo>
                          <a:pt x="214" y="210"/>
                        </a:lnTo>
                        <a:lnTo>
                          <a:pt x="206" y="210"/>
                        </a:lnTo>
                        <a:lnTo>
                          <a:pt x="204" y="208"/>
                        </a:lnTo>
                        <a:lnTo>
                          <a:pt x="200" y="206"/>
                        </a:lnTo>
                        <a:lnTo>
                          <a:pt x="200" y="208"/>
                        </a:lnTo>
                        <a:lnTo>
                          <a:pt x="198" y="208"/>
                        </a:lnTo>
                        <a:lnTo>
                          <a:pt x="196" y="210"/>
                        </a:lnTo>
                        <a:lnTo>
                          <a:pt x="192" y="206"/>
                        </a:lnTo>
                        <a:lnTo>
                          <a:pt x="190" y="206"/>
                        </a:lnTo>
                        <a:lnTo>
                          <a:pt x="186" y="204"/>
                        </a:lnTo>
                        <a:lnTo>
                          <a:pt x="182" y="200"/>
                        </a:lnTo>
                        <a:lnTo>
                          <a:pt x="182" y="198"/>
                        </a:lnTo>
                        <a:lnTo>
                          <a:pt x="176" y="192"/>
                        </a:lnTo>
                        <a:lnTo>
                          <a:pt x="174" y="192"/>
                        </a:lnTo>
                        <a:lnTo>
                          <a:pt x="172" y="190"/>
                        </a:lnTo>
                        <a:lnTo>
                          <a:pt x="172" y="188"/>
                        </a:lnTo>
                        <a:lnTo>
                          <a:pt x="170" y="188"/>
                        </a:lnTo>
                        <a:lnTo>
                          <a:pt x="172" y="190"/>
                        </a:lnTo>
                        <a:lnTo>
                          <a:pt x="170" y="190"/>
                        </a:lnTo>
                        <a:lnTo>
                          <a:pt x="168" y="188"/>
                        </a:lnTo>
                        <a:lnTo>
                          <a:pt x="166" y="184"/>
                        </a:lnTo>
                        <a:lnTo>
                          <a:pt x="166" y="180"/>
                        </a:lnTo>
                        <a:lnTo>
                          <a:pt x="168" y="180"/>
                        </a:lnTo>
                        <a:lnTo>
                          <a:pt x="168" y="178"/>
                        </a:lnTo>
                        <a:lnTo>
                          <a:pt x="166" y="180"/>
                        </a:lnTo>
                        <a:lnTo>
                          <a:pt x="164" y="180"/>
                        </a:lnTo>
                        <a:lnTo>
                          <a:pt x="158" y="178"/>
                        </a:lnTo>
                        <a:lnTo>
                          <a:pt x="156" y="176"/>
                        </a:lnTo>
                        <a:lnTo>
                          <a:pt x="156" y="174"/>
                        </a:lnTo>
                        <a:lnTo>
                          <a:pt x="156" y="172"/>
                        </a:lnTo>
                        <a:lnTo>
                          <a:pt x="154" y="166"/>
                        </a:lnTo>
                        <a:lnTo>
                          <a:pt x="152" y="166"/>
                        </a:lnTo>
                        <a:lnTo>
                          <a:pt x="150" y="164"/>
                        </a:lnTo>
                        <a:lnTo>
                          <a:pt x="148" y="162"/>
                        </a:lnTo>
                        <a:lnTo>
                          <a:pt x="148" y="158"/>
                        </a:lnTo>
                        <a:lnTo>
                          <a:pt x="144" y="154"/>
                        </a:lnTo>
                        <a:lnTo>
                          <a:pt x="144" y="152"/>
                        </a:lnTo>
                        <a:lnTo>
                          <a:pt x="140" y="150"/>
                        </a:lnTo>
                        <a:lnTo>
                          <a:pt x="136" y="150"/>
                        </a:lnTo>
                        <a:lnTo>
                          <a:pt x="132" y="148"/>
                        </a:lnTo>
                        <a:lnTo>
                          <a:pt x="126" y="148"/>
                        </a:lnTo>
                        <a:lnTo>
                          <a:pt x="120" y="146"/>
                        </a:lnTo>
                        <a:lnTo>
                          <a:pt x="120" y="144"/>
                        </a:lnTo>
                        <a:lnTo>
                          <a:pt x="118" y="144"/>
                        </a:lnTo>
                        <a:lnTo>
                          <a:pt x="118" y="146"/>
                        </a:lnTo>
                        <a:lnTo>
                          <a:pt x="116" y="144"/>
                        </a:lnTo>
                        <a:lnTo>
                          <a:pt x="114" y="144"/>
                        </a:lnTo>
                        <a:lnTo>
                          <a:pt x="110" y="142"/>
                        </a:lnTo>
                        <a:lnTo>
                          <a:pt x="110" y="138"/>
                        </a:lnTo>
                        <a:lnTo>
                          <a:pt x="110" y="140"/>
                        </a:lnTo>
                        <a:lnTo>
                          <a:pt x="102" y="140"/>
                        </a:lnTo>
                        <a:lnTo>
                          <a:pt x="102" y="138"/>
                        </a:lnTo>
                        <a:lnTo>
                          <a:pt x="100" y="136"/>
                        </a:lnTo>
                        <a:lnTo>
                          <a:pt x="100" y="138"/>
                        </a:lnTo>
                        <a:lnTo>
                          <a:pt x="98" y="136"/>
                        </a:lnTo>
                        <a:lnTo>
                          <a:pt x="98" y="138"/>
                        </a:lnTo>
                        <a:lnTo>
                          <a:pt x="98" y="140"/>
                        </a:lnTo>
                        <a:lnTo>
                          <a:pt x="98" y="142"/>
                        </a:lnTo>
                        <a:lnTo>
                          <a:pt x="96" y="142"/>
                        </a:lnTo>
                        <a:lnTo>
                          <a:pt x="96" y="140"/>
                        </a:lnTo>
                        <a:lnTo>
                          <a:pt x="94" y="138"/>
                        </a:lnTo>
                        <a:lnTo>
                          <a:pt x="92" y="140"/>
                        </a:lnTo>
                        <a:lnTo>
                          <a:pt x="94" y="142"/>
                        </a:lnTo>
                        <a:lnTo>
                          <a:pt x="92" y="144"/>
                        </a:lnTo>
                        <a:lnTo>
                          <a:pt x="90" y="144"/>
                        </a:lnTo>
                        <a:lnTo>
                          <a:pt x="90" y="142"/>
                        </a:lnTo>
                        <a:lnTo>
                          <a:pt x="84" y="140"/>
                        </a:lnTo>
                        <a:lnTo>
                          <a:pt x="82" y="140"/>
                        </a:lnTo>
                        <a:lnTo>
                          <a:pt x="82" y="138"/>
                        </a:lnTo>
                        <a:lnTo>
                          <a:pt x="80" y="138"/>
                        </a:lnTo>
                        <a:lnTo>
                          <a:pt x="80" y="136"/>
                        </a:lnTo>
                        <a:lnTo>
                          <a:pt x="78" y="134"/>
                        </a:lnTo>
                        <a:lnTo>
                          <a:pt x="78" y="136"/>
                        </a:lnTo>
                        <a:lnTo>
                          <a:pt x="80" y="138"/>
                        </a:lnTo>
                        <a:lnTo>
                          <a:pt x="82" y="142"/>
                        </a:lnTo>
                        <a:lnTo>
                          <a:pt x="82" y="144"/>
                        </a:lnTo>
                        <a:lnTo>
                          <a:pt x="86" y="148"/>
                        </a:lnTo>
                        <a:lnTo>
                          <a:pt x="84" y="150"/>
                        </a:lnTo>
                        <a:lnTo>
                          <a:pt x="80" y="150"/>
                        </a:lnTo>
                        <a:lnTo>
                          <a:pt x="78" y="148"/>
                        </a:lnTo>
                        <a:lnTo>
                          <a:pt x="74" y="148"/>
                        </a:lnTo>
                        <a:lnTo>
                          <a:pt x="74" y="150"/>
                        </a:lnTo>
                        <a:lnTo>
                          <a:pt x="72" y="150"/>
                        </a:lnTo>
                        <a:lnTo>
                          <a:pt x="72" y="148"/>
                        </a:lnTo>
                        <a:lnTo>
                          <a:pt x="72" y="146"/>
                        </a:lnTo>
                        <a:lnTo>
                          <a:pt x="68" y="146"/>
                        </a:lnTo>
                        <a:lnTo>
                          <a:pt x="74" y="152"/>
                        </a:lnTo>
                        <a:lnTo>
                          <a:pt x="76" y="154"/>
                        </a:lnTo>
                        <a:lnTo>
                          <a:pt x="76" y="156"/>
                        </a:lnTo>
                        <a:lnTo>
                          <a:pt x="68" y="156"/>
                        </a:lnTo>
                        <a:lnTo>
                          <a:pt x="66" y="158"/>
                        </a:lnTo>
                        <a:lnTo>
                          <a:pt x="64" y="158"/>
                        </a:lnTo>
                        <a:lnTo>
                          <a:pt x="62" y="158"/>
                        </a:lnTo>
                        <a:lnTo>
                          <a:pt x="60" y="158"/>
                        </a:lnTo>
                        <a:lnTo>
                          <a:pt x="58" y="158"/>
                        </a:lnTo>
                        <a:lnTo>
                          <a:pt x="56" y="158"/>
                        </a:lnTo>
                        <a:lnTo>
                          <a:pt x="54" y="158"/>
                        </a:lnTo>
                        <a:lnTo>
                          <a:pt x="52" y="156"/>
                        </a:lnTo>
                        <a:lnTo>
                          <a:pt x="50" y="156"/>
                        </a:lnTo>
                        <a:lnTo>
                          <a:pt x="50" y="158"/>
                        </a:lnTo>
                        <a:lnTo>
                          <a:pt x="46" y="158"/>
                        </a:lnTo>
                        <a:lnTo>
                          <a:pt x="44" y="158"/>
                        </a:lnTo>
                        <a:lnTo>
                          <a:pt x="42" y="158"/>
                        </a:lnTo>
                        <a:lnTo>
                          <a:pt x="42" y="154"/>
                        </a:lnTo>
                        <a:lnTo>
                          <a:pt x="40" y="154"/>
                        </a:lnTo>
                        <a:lnTo>
                          <a:pt x="38" y="154"/>
                        </a:lnTo>
                        <a:lnTo>
                          <a:pt x="36" y="156"/>
                        </a:lnTo>
                        <a:lnTo>
                          <a:pt x="38" y="156"/>
                        </a:lnTo>
                        <a:lnTo>
                          <a:pt x="38" y="154"/>
                        </a:lnTo>
                        <a:lnTo>
                          <a:pt x="42" y="154"/>
                        </a:lnTo>
                        <a:lnTo>
                          <a:pt x="42" y="158"/>
                        </a:lnTo>
                        <a:lnTo>
                          <a:pt x="44" y="160"/>
                        </a:lnTo>
                        <a:lnTo>
                          <a:pt x="46" y="160"/>
                        </a:lnTo>
                        <a:lnTo>
                          <a:pt x="48" y="158"/>
                        </a:lnTo>
                        <a:lnTo>
                          <a:pt x="52" y="158"/>
                        </a:lnTo>
                        <a:lnTo>
                          <a:pt x="54" y="158"/>
                        </a:lnTo>
                        <a:lnTo>
                          <a:pt x="56" y="162"/>
                        </a:lnTo>
                        <a:lnTo>
                          <a:pt x="60" y="162"/>
                        </a:lnTo>
                        <a:lnTo>
                          <a:pt x="62" y="162"/>
                        </a:lnTo>
                        <a:lnTo>
                          <a:pt x="64" y="164"/>
                        </a:lnTo>
                        <a:lnTo>
                          <a:pt x="66" y="164"/>
                        </a:lnTo>
                        <a:lnTo>
                          <a:pt x="70" y="170"/>
                        </a:lnTo>
                        <a:lnTo>
                          <a:pt x="70" y="176"/>
                        </a:lnTo>
                        <a:lnTo>
                          <a:pt x="68" y="176"/>
                        </a:lnTo>
                        <a:lnTo>
                          <a:pt x="68" y="178"/>
                        </a:lnTo>
                        <a:lnTo>
                          <a:pt x="66" y="178"/>
                        </a:lnTo>
                        <a:lnTo>
                          <a:pt x="60" y="180"/>
                        </a:lnTo>
                        <a:lnTo>
                          <a:pt x="54" y="184"/>
                        </a:lnTo>
                        <a:lnTo>
                          <a:pt x="50" y="184"/>
                        </a:lnTo>
                        <a:lnTo>
                          <a:pt x="50" y="186"/>
                        </a:lnTo>
                        <a:lnTo>
                          <a:pt x="48" y="186"/>
                        </a:lnTo>
                        <a:lnTo>
                          <a:pt x="46" y="186"/>
                        </a:lnTo>
                        <a:lnTo>
                          <a:pt x="46" y="184"/>
                        </a:lnTo>
                        <a:lnTo>
                          <a:pt x="44" y="184"/>
                        </a:lnTo>
                        <a:lnTo>
                          <a:pt x="38" y="182"/>
                        </a:lnTo>
                        <a:lnTo>
                          <a:pt x="22" y="184"/>
                        </a:lnTo>
                        <a:lnTo>
                          <a:pt x="18" y="182"/>
                        </a:lnTo>
                        <a:lnTo>
                          <a:pt x="16" y="182"/>
                        </a:lnTo>
                        <a:lnTo>
                          <a:pt x="12" y="182"/>
                        </a:lnTo>
                        <a:lnTo>
                          <a:pt x="10" y="182"/>
                        </a:lnTo>
                        <a:lnTo>
                          <a:pt x="10" y="184"/>
                        </a:lnTo>
                        <a:lnTo>
                          <a:pt x="8" y="184"/>
                        </a:lnTo>
                        <a:lnTo>
                          <a:pt x="8" y="182"/>
                        </a:lnTo>
                        <a:lnTo>
                          <a:pt x="6" y="182"/>
                        </a:lnTo>
                        <a:lnTo>
                          <a:pt x="4" y="182"/>
                        </a:lnTo>
                        <a:lnTo>
                          <a:pt x="4" y="118"/>
                        </a:lnTo>
                        <a:lnTo>
                          <a:pt x="2" y="118"/>
                        </a:lnTo>
                        <a:lnTo>
                          <a:pt x="0" y="116"/>
                        </a:lnTo>
                        <a:lnTo>
                          <a:pt x="0" y="112"/>
                        </a:lnTo>
                        <a:lnTo>
                          <a:pt x="2" y="110"/>
                        </a:lnTo>
                        <a:lnTo>
                          <a:pt x="4" y="108"/>
                        </a:lnTo>
                        <a:lnTo>
                          <a:pt x="4" y="106"/>
                        </a:lnTo>
                        <a:lnTo>
                          <a:pt x="2" y="106"/>
                        </a:lnTo>
                        <a:lnTo>
                          <a:pt x="4" y="104"/>
                        </a:lnTo>
                        <a:lnTo>
                          <a:pt x="4" y="6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3" name="Freeform 3186"/>
                  <p:cNvSpPr>
                    <a:spLocks/>
                  </p:cNvSpPr>
                  <p:nvPr/>
                </p:nvSpPr>
                <p:spPr bwMode="auto">
                  <a:xfrm>
                    <a:off x="4046" y="3740"/>
                    <a:ext cx="6" cy="0"/>
                  </a:xfrm>
                  <a:custGeom>
                    <a:avLst/>
                    <a:gdLst/>
                    <a:ahLst/>
                    <a:cxnLst>
                      <a:cxn ang="0">
                        <a:pos x="0" y="0"/>
                      </a:cxn>
                      <a:cxn ang="0">
                        <a:pos x="2" y="0"/>
                      </a:cxn>
                      <a:cxn ang="0">
                        <a:pos x="4" y="0"/>
                      </a:cxn>
                      <a:cxn ang="0">
                        <a:pos x="6" y="0"/>
                      </a:cxn>
                      <a:cxn ang="0">
                        <a:pos x="0" y="0"/>
                      </a:cxn>
                    </a:cxnLst>
                    <a:rect l="0" t="0" r="r" b="b"/>
                    <a:pathLst>
                      <a:path w="6">
                        <a:moveTo>
                          <a:pt x="0" y="0"/>
                        </a:moveTo>
                        <a:lnTo>
                          <a:pt x="2" y="0"/>
                        </a:lnTo>
                        <a:lnTo>
                          <a:pt x="4" y="0"/>
                        </a:lnTo>
                        <a:lnTo>
                          <a:pt x="6" y="0"/>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4" name="Freeform 3187"/>
                  <p:cNvSpPr>
                    <a:spLocks/>
                  </p:cNvSpPr>
                  <p:nvPr/>
                </p:nvSpPr>
                <p:spPr bwMode="auto">
                  <a:xfrm>
                    <a:off x="4094" y="3742"/>
                    <a:ext cx="4" cy="6"/>
                  </a:xfrm>
                  <a:custGeom>
                    <a:avLst/>
                    <a:gdLst/>
                    <a:ahLst/>
                    <a:cxnLst>
                      <a:cxn ang="0">
                        <a:pos x="2" y="6"/>
                      </a:cxn>
                      <a:cxn ang="0">
                        <a:pos x="2" y="4"/>
                      </a:cxn>
                      <a:cxn ang="0">
                        <a:pos x="0" y="4"/>
                      </a:cxn>
                      <a:cxn ang="0">
                        <a:pos x="0" y="2"/>
                      </a:cxn>
                      <a:cxn ang="0">
                        <a:pos x="0" y="0"/>
                      </a:cxn>
                      <a:cxn ang="0">
                        <a:pos x="2" y="0"/>
                      </a:cxn>
                      <a:cxn ang="0">
                        <a:pos x="4" y="4"/>
                      </a:cxn>
                      <a:cxn ang="0">
                        <a:pos x="2" y="6"/>
                      </a:cxn>
                    </a:cxnLst>
                    <a:rect l="0" t="0" r="r" b="b"/>
                    <a:pathLst>
                      <a:path w="4" h="6">
                        <a:moveTo>
                          <a:pt x="2" y="6"/>
                        </a:moveTo>
                        <a:lnTo>
                          <a:pt x="2" y="4"/>
                        </a:lnTo>
                        <a:lnTo>
                          <a:pt x="0" y="4"/>
                        </a:lnTo>
                        <a:lnTo>
                          <a:pt x="0" y="2"/>
                        </a:lnTo>
                        <a:lnTo>
                          <a:pt x="0" y="0"/>
                        </a:lnTo>
                        <a:lnTo>
                          <a:pt x="2" y="0"/>
                        </a:lnTo>
                        <a:lnTo>
                          <a:pt x="4"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5" name="Freeform 3188"/>
                  <p:cNvSpPr>
                    <a:spLocks/>
                  </p:cNvSpPr>
                  <p:nvPr/>
                </p:nvSpPr>
                <p:spPr bwMode="auto">
                  <a:xfrm>
                    <a:off x="3978" y="3774"/>
                    <a:ext cx="112" cy="60"/>
                  </a:xfrm>
                  <a:custGeom>
                    <a:avLst/>
                    <a:gdLst/>
                    <a:ahLst/>
                    <a:cxnLst>
                      <a:cxn ang="0">
                        <a:pos x="26" y="38"/>
                      </a:cxn>
                      <a:cxn ang="0">
                        <a:pos x="44" y="38"/>
                      </a:cxn>
                      <a:cxn ang="0">
                        <a:pos x="44" y="32"/>
                      </a:cxn>
                      <a:cxn ang="0">
                        <a:pos x="46" y="24"/>
                      </a:cxn>
                      <a:cxn ang="0">
                        <a:pos x="50" y="22"/>
                      </a:cxn>
                      <a:cxn ang="0">
                        <a:pos x="52" y="24"/>
                      </a:cxn>
                      <a:cxn ang="0">
                        <a:pos x="48" y="26"/>
                      </a:cxn>
                      <a:cxn ang="0">
                        <a:pos x="48" y="32"/>
                      </a:cxn>
                      <a:cxn ang="0">
                        <a:pos x="52" y="38"/>
                      </a:cxn>
                      <a:cxn ang="0">
                        <a:pos x="56" y="38"/>
                      </a:cxn>
                      <a:cxn ang="0">
                        <a:pos x="60" y="34"/>
                      </a:cxn>
                      <a:cxn ang="0">
                        <a:pos x="62" y="36"/>
                      </a:cxn>
                      <a:cxn ang="0">
                        <a:pos x="64" y="38"/>
                      </a:cxn>
                      <a:cxn ang="0">
                        <a:pos x="72" y="36"/>
                      </a:cxn>
                      <a:cxn ang="0">
                        <a:pos x="74" y="30"/>
                      </a:cxn>
                      <a:cxn ang="0">
                        <a:pos x="76" y="28"/>
                      </a:cxn>
                      <a:cxn ang="0">
                        <a:pos x="84" y="20"/>
                      </a:cxn>
                      <a:cxn ang="0">
                        <a:pos x="90" y="22"/>
                      </a:cxn>
                      <a:cxn ang="0">
                        <a:pos x="92" y="18"/>
                      </a:cxn>
                      <a:cxn ang="0">
                        <a:pos x="90" y="8"/>
                      </a:cxn>
                      <a:cxn ang="0">
                        <a:pos x="88" y="0"/>
                      </a:cxn>
                      <a:cxn ang="0">
                        <a:pos x="98" y="4"/>
                      </a:cxn>
                      <a:cxn ang="0">
                        <a:pos x="104" y="0"/>
                      </a:cxn>
                      <a:cxn ang="0">
                        <a:pos x="108" y="2"/>
                      </a:cxn>
                      <a:cxn ang="0">
                        <a:pos x="106" y="4"/>
                      </a:cxn>
                      <a:cxn ang="0">
                        <a:pos x="110" y="4"/>
                      </a:cxn>
                      <a:cxn ang="0">
                        <a:pos x="112" y="16"/>
                      </a:cxn>
                      <a:cxn ang="0">
                        <a:pos x="104" y="22"/>
                      </a:cxn>
                      <a:cxn ang="0">
                        <a:pos x="100" y="22"/>
                      </a:cxn>
                      <a:cxn ang="0">
                        <a:pos x="100" y="28"/>
                      </a:cxn>
                      <a:cxn ang="0">
                        <a:pos x="104" y="32"/>
                      </a:cxn>
                      <a:cxn ang="0">
                        <a:pos x="104" y="36"/>
                      </a:cxn>
                      <a:cxn ang="0">
                        <a:pos x="94" y="38"/>
                      </a:cxn>
                      <a:cxn ang="0">
                        <a:pos x="86" y="38"/>
                      </a:cxn>
                      <a:cxn ang="0">
                        <a:pos x="74" y="50"/>
                      </a:cxn>
                      <a:cxn ang="0">
                        <a:pos x="68" y="52"/>
                      </a:cxn>
                      <a:cxn ang="0">
                        <a:pos x="66" y="54"/>
                      </a:cxn>
                      <a:cxn ang="0">
                        <a:pos x="64" y="54"/>
                      </a:cxn>
                      <a:cxn ang="0">
                        <a:pos x="58" y="58"/>
                      </a:cxn>
                      <a:cxn ang="0">
                        <a:pos x="52" y="56"/>
                      </a:cxn>
                      <a:cxn ang="0">
                        <a:pos x="46" y="60"/>
                      </a:cxn>
                      <a:cxn ang="0">
                        <a:pos x="44" y="58"/>
                      </a:cxn>
                      <a:cxn ang="0">
                        <a:pos x="34" y="56"/>
                      </a:cxn>
                      <a:cxn ang="0">
                        <a:pos x="32" y="54"/>
                      </a:cxn>
                      <a:cxn ang="0">
                        <a:pos x="28" y="52"/>
                      </a:cxn>
                      <a:cxn ang="0">
                        <a:pos x="22" y="54"/>
                      </a:cxn>
                      <a:cxn ang="0">
                        <a:pos x="20" y="54"/>
                      </a:cxn>
                      <a:cxn ang="0">
                        <a:pos x="22" y="52"/>
                      </a:cxn>
                      <a:cxn ang="0">
                        <a:pos x="20" y="50"/>
                      </a:cxn>
                      <a:cxn ang="0">
                        <a:pos x="16" y="50"/>
                      </a:cxn>
                      <a:cxn ang="0">
                        <a:pos x="10" y="46"/>
                      </a:cxn>
                      <a:cxn ang="0">
                        <a:pos x="2" y="44"/>
                      </a:cxn>
                      <a:cxn ang="0">
                        <a:pos x="2" y="36"/>
                      </a:cxn>
                      <a:cxn ang="0">
                        <a:pos x="6" y="36"/>
                      </a:cxn>
                      <a:cxn ang="0">
                        <a:pos x="18" y="36"/>
                      </a:cxn>
                      <a:cxn ang="0">
                        <a:pos x="26" y="40"/>
                      </a:cxn>
                    </a:cxnLst>
                    <a:rect l="0" t="0" r="r" b="b"/>
                    <a:pathLst>
                      <a:path w="112" h="60">
                        <a:moveTo>
                          <a:pt x="26" y="40"/>
                        </a:moveTo>
                        <a:lnTo>
                          <a:pt x="26" y="38"/>
                        </a:lnTo>
                        <a:lnTo>
                          <a:pt x="38" y="38"/>
                        </a:lnTo>
                        <a:lnTo>
                          <a:pt x="44" y="38"/>
                        </a:lnTo>
                        <a:lnTo>
                          <a:pt x="46" y="34"/>
                        </a:lnTo>
                        <a:lnTo>
                          <a:pt x="44" y="32"/>
                        </a:lnTo>
                        <a:lnTo>
                          <a:pt x="46" y="26"/>
                        </a:lnTo>
                        <a:lnTo>
                          <a:pt x="46" y="24"/>
                        </a:lnTo>
                        <a:lnTo>
                          <a:pt x="48" y="22"/>
                        </a:lnTo>
                        <a:lnTo>
                          <a:pt x="50" y="22"/>
                        </a:lnTo>
                        <a:lnTo>
                          <a:pt x="50" y="24"/>
                        </a:lnTo>
                        <a:lnTo>
                          <a:pt x="52" y="24"/>
                        </a:lnTo>
                        <a:lnTo>
                          <a:pt x="52" y="26"/>
                        </a:lnTo>
                        <a:lnTo>
                          <a:pt x="48" y="26"/>
                        </a:lnTo>
                        <a:lnTo>
                          <a:pt x="48" y="28"/>
                        </a:lnTo>
                        <a:lnTo>
                          <a:pt x="48" y="32"/>
                        </a:lnTo>
                        <a:lnTo>
                          <a:pt x="50" y="38"/>
                        </a:lnTo>
                        <a:lnTo>
                          <a:pt x="52" y="38"/>
                        </a:lnTo>
                        <a:lnTo>
                          <a:pt x="54" y="38"/>
                        </a:lnTo>
                        <a:lnTo>
                          <a:pt x="56" y="38"/>
                        </a:lnTo>
                        <a:lnTo>
                          <a:pt x="58" y="36"/>
                        </a:lnTo>
                        <a:lnTo>
                          <a:pt x="60" y="34"/>
                        </a:lnTo>
                        <a:lnTo>
                          <a:pt x="60" y="36"/>
                        </a:lnTo>
                        <a:lnTo>
                          <a:pt x="62" y="36"/>
                        </a:lnTo>
                        <a:lnTo>
                          <a:pt x="64" y="36"/>
                        </a:lnTo>
                        <a:lnTo>
                          <a:pt x="64" y="38"/>
                        </a:lnTo>
                        <a:lnTo>
                          <a:pt x="66" y="38"/>
                        </a:lnTo>
                        <a:lnTo>
                          <a:pt x="72" y="36"/>
                        </a:lnTo>
                        <a:lnTo>
                          <a:pt x="74" y="34"/>
                        </a:lnTo>
                        <a:lnTo>
                          <a:pt x="74" y="30"/>
                        </a:lnTo>
                        <a:lnTo>
                          <a:pt x="76" y="30"/>
                        </a:lnTo>
                        <a:lnTo>
                          <a:pt x="76" y="28"/>
                        </a:lnTo>
                        <a:lnTo>
                          <a:pt x="76" y="26"/>
                        </a:lnTo>
                        <a:lnTo>
                          <a:pt x="84" y="20"/>
                        </a:lnTo>
                        <a:lnTo>
                          <a:pt x="88" y="20"/>
                        </a:lnTo>
                        <a:lnTo>
                          <a:pt x="90" y="22"/>
                        </a:lnTo>
                        <a:lnTo>
                          <a:pt x="92" y="20"/>
                        </a:lnTo>
                        <a:lnTo>
                          <a:pt x="92" y="18"/>
                        </a:lnTo>
                        <a:lnTo>
                          <a:pt x="92" y="8"/>
                        </a:lnTo>
                        <a:lnTo>
                          <a:pt x="90" y="8"/>
                        </a:lnTo>
                        <a:lnTo>
                          <a:pt x="88" y="2"/>
                        </a:lnTo>
                        <a:lnTo>
                          <a:pt x="88" y="0"/>
                        </a:lnTo>
                        <a:lnTo>
                          <a:pt x="98" y="2"/>
                        </a:lnTo>
                        <a:lnTo>
                          <a:pt x="98" y="4"/>
                        </a:lnTo>
                        <a:lnTo>
                          <a:pt x="100" y="4"/>
                        </a:lnTo>
                        <a:lnTo>
                          <a:pt x="104" y="0"/>
                        </a:lnTo>
                        <a:lnTo>
                          <a:pt x="106" y="0"/>
                        </a:lnTo>
                        <a:lnTo>
                          <a:pt x="108" y="2"/>
                        </a:lnTo>
                        <a:lnTo>
                          <a:pt x="106" y="2"/>
                        </a:lnTo>
                        <a:lnTo>
                          <a:pt x="106" y="4"/>
                        </a:lnTo>
                        <a:lnTo>
                          <a:pt x="108" y="4"/>
                        </a:lnTo>
                        <a:lnTo>
                          <a:pt x="110" y="4"/>
                        </a:lnTo>
                        <a:lnTo>
                          <a:pt x="112" y="14"/>
                        </a:lnTo>
                        <a:lnTo>
                          <a:pt x="112" y="16"/>
                        </a:lnTo>
                        <a:lnTo>
                          <a:pt x="108" y="22"/>
                        </a:lnTo>
                        <a:lnTo>
                          <a:pt x="104" y="22"/>
                        </a:lnTo>
                        <a:lnTo>
                          <a:pt x="102" y="22"/>
                        </a:lnTo>
                        <a:lnTo>
                          <a:pt x="100" y="22"/>
                        </a:lnTo>
                        <a:lnTo>
                          <a:pt x="100" y="26"/>
                        </a:lnTo>
                        <a:lnTo>
                          <a:pt x="100" y="28"/>
                        </a:lnTo>
                        <a:lnTo>
                          <a:pt x="104" y="30"/>
                        </a:lnTo>
                        <a:lnTo>
                          <a:pt x="104" y="32"/>
                        </a:lnTo>
                        <a:lnTo>
                          <a:pt x="104" y="34"/>
                        </a:lnTo>
                        <a:lnTo>
                          <a:pt x="104" y="36"/>
                        </a:lnTo>
                        <a:lnTo>
                          <a:pt x="96" y="38"/>
                        </a:lnTo>
                        <a:lnTo>
                          <a:pt x="94" y="38"/>
                        </a:lnTo>
                        <a:lnTo>
                          <a:pt x="92" y="38"/>
                        </a:lnTo>
                        <a:lnTo>
                          <a:pt x="86" y="38"/>
                        </a:lnTo>
                        <a:lnTo>
                          <a:pt x="84" y="44"/>
                        </a:lnTo>
                        <a:lnTo>
                          <a:pt x="74" y="50"/>
                        </a:lnTo>
                        <a:lnTo>
                          <a:pt x="72" y="50"/>
                        </a:lnTo>
                        <a:lnTo>
                          <a:pt x="68" y="52"/>
                        </a:lnTo>
                        <a:lnTo>
                          <a:pt x="68" y="54"/>
                        </a:lnTo>
                        <a:lnTo>
                          <a:pt x="66" y="54"/>
                        </a:lnTo>
                        <a:lnTo>
                          <a:pt x="64" y="56"/>
                        </a:lnTo>
                        <a:lnTo>
                          <a:pt x="64" y="54"/>
                        </a:lnTo>
                        <a:lnTo>
                          <a:pt x="60" y="58"/>
                        </a:lnTo>
                        <a:lnTo>
                          <a:pt x="58" y="58"/>
                        </a:lnTo>
                        <a:lnTo>
                          <a:pt x="52" y="58"/>
                        </a:lnTo>
                        <a:lnTo>
                          <a:pt x="52" y="56"/>
                        </a:lnTo>
                        <a:lnTo>
                          <a:pt x="48" y="58"/>
                        </a:lnTo>
                        <a:lnTo>
                          <a:pt x="46" y="60"/>
                        </a:lnTo>
                        <a:lnTo>
                          <a:pt x="46" y="58"/>
                        </a:lnTo>
                        <a:lnTo>
                          <a:pt x="44" y="58"/>
                        </a:lnTo>
                        <a:lnTo>
                          <a:pt x="36" y="58"/>
                        </a:lnTo>
                        <a:lnTo>
                          <a:pt x="34" y="56"/>
                        </a:lnTo>
                        <a:lnTo>
                          <a:pt x="34" y="54"/>
                        </a:lnTo>
                        <a:lnTo>
                          <a:pt x="32" y="54"/>
                        </a:lnTo>
                        <a:lnTo>
                          <a:pt x="32" y="52"/>
                        </a:lnTo>
                        <a:lnTo>
                          <a:pt x="28" y="52"/>
                        </a:lnTo>
                        <a:lnTo>
                          <a:pt x="24" y="54"/>
                        </a:lnTo>
                        <a:lnTo>
                          <a:pt x="22" y="54"/>
                        </a:lnTo>
                        <a:lnTo>
                          <a:pt x="22" y="56"/>
                        </a:lnTo>
                        <a:lnTo>
                          <a:pt x="20" y="54"/>
                        </a:lnTo>
                        <a:lnTo>
                          <a:pt x="22" y="54"/>
                        </a:lnTo>
                        <a:lnTo>
                          <a:pt x="22" y="52"/>
                        </a:lnTo>
                        <a:lnTo>
                          <a:pt x="20" y="52"/>
                        </a:lnTo>
                        <a:lnTo>
                          <a:pt x="20" y="50"/>
                        </a:lnTo>
                        <a:lnTo>
                          <a:pt x="18" y="50"/>
                        </a:lnTo>
                        <a:lnTo>
                          <a:pt x="16" y="50"/>
                        </a:lnTo>
                        <a:lnTo>
                          <a:pt x="16" y="48"/>
                        </a:lnTo>
                        <a:lnTo>
                          <a:pt x="10" y="46"/>
                        </a:lnTo>
                        <a:lnTo>
                          <a:pt x="6" y="46"/>
                        </a:lnTo>
                        <a:lnTo>
                          <a:pt x="2" y="44"/>
                        </a:lnTo>
                        <a:lnTo>
                          <a:pt x="0" y="42"/>
                        </a:lnTo>
                        <a:lnTo>
                          <a:pt x="2" y="36"/>
                        </a:lnTo>
                        <a:lnTo>
                          <a:pt x="4" y="36"/>
                        </a:lnTo>
                        <a:lnTo>
                          <a:pt x="6" y="36"/>
                        </a:lnTo>
                        <a:lnTo>
                          <a:pt x="16" y="36"/>
                        </a:lnTo>
                        <a:lnTo>
                          <a:pt x="18" y="36"/>
                        </a:lnTo>
                        <a:lnTo>
                          <a:pt x="24" y="38"/>
                        </a:lnTo>
                        <a:lnTo>
                          <a:pt x="26" y="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6" name="Freeform 3189"/>
                  <p:cNvSpPr>
                    <a:spLocks/>
                  </p:cNvSpPr>
                  <p:nvPr/>
                </p:nvSpPr>
                <p:spPr bwMode="auto">
                  <a:xfrm>
                    <a:off x="3912" y="3784"/>
                    <a:ext cx="4" cy="6"/>
                  </a:xfrm>
                  <a:custGeom>
                    <a:avLst/>
                    <a:gdLst/>
                    <a:ahLst/>
                    <a:cxnLst>
                      <a:cxn ang="0">
                        <a:pos x="2" y="6"/>
                      </a:cxn>
                      <a:cxn ang="0">
                        <a:pos x="0" y="6"/>
                      </a:cxn>
                      <a:cxn ang="0">
                        <a:pos x="0" y="4"/>
                      </a:cxn>
                      <a:cxn ang="0">
                        <a:pos x="0" y="2"/>
                      </a:cxn>
                      <a:cxn ang="0">
                        <a:pos x="2" y="0"/>
                      </a:cxn>
                      <a:cxn ang="0">
                        <a:pos x="4" y="2"/>
                      </a:cxn>
                      <a:cxn ang="0">
                        <a:pos x="4" y="4"/>
                      </a:cxn>
                      <a:cxn ang="0">
                        <a:pos x="2" y="6"/>
                      </a:cxn>
                    </a:cxnLst>
                    <a:rect l="0" t="0" r="r" b="b"/>
                    <a:pathLst>
                      <a:path w="4" h="6">
                        <a:moveTo>
                          <a:pt x="2" y="6"/>
                        </a:moveTo>
                        <a:lnTo>
                          <a:pt x="0" y="6"/>
                        </a:lnTo>
                        <a:lnTo>
                          <a:pt x="0" y="4"/>
                        </a:lnTo>
                        <a:lnTo>
                          <a:pt x="0" y="2"/>
                        </a:lnTo>
                        <a:lnTo>
                          <a:pt x="2" y="0"/>
                        </a:lnTo>
                        <a:lnTo>
                          <a:pt x="4" y="2"/>
                        </a:lnTo>
                        <a:lnTo>
                          <a:pt x="4"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7" name="Freeform 3190"/>
                  <p:cNvSpPr>
                    <a:spLocks/>
                  </p:cNvSpPr>
                  <p:nvPr/>
                </p:nvSpPr>
                <p:spPr bwMode="auto">
                  <a:xfrm>
                    <a:off x="4148" y="3798"/>
                    <a:ext cx="6" cy="12"/>
                  </a:xfrm>
                  <a:custGeom>
                    <a:avLst/>
                    <a:gdLst/>
                    <a:ahLst/>
                    <a:cxnLst>
                      <a:cxn ang="0">
                        <a:pos x="4" y="12"/>
                      </a:cxn>
                      <a:cxn ang="0">
                        <a:pos x="2" y="10"/>
                      </a:cxn>
                      <a:cxn ang="0">
                        <a:pos x="0" y="2"/>
                      </a:cxn>
                      <a:cxn ang="0">
                        <a:pos x="2" y="0"/>
                      </a:cxn>
                      <a:cxn ang="0">
                        <a:pos x="4" y="0"/>
                      </a:cxn>
                      <a:cxn ang="0">
                        <a:pos x="6" y="4"/>
                      </a:cxn>
                      <a:cxn ang="0">
                        <a:pos x="4" y="10"/>
                      </a:cxn>
                      <a:cxn ang="0">
                        <a:pos x="4" y="12"/>
                      </a:cxn>
                    </a:cxnLst>
                    <a:rect l="0" t="0" r="r" b="b"/>
                    <a:pathLst>
                      <a:path w="6" h="12">
                        <a:moveTo>
                          <a:pt x="4" y="12"/>
                        </a:moveTo>
                        <a:lnTo>
                          <a:pt x="2" y="10"/>
                        </a:lnTo>
                        <a:lnTo>
                          <a:pt x="0" y="2"/>
                        </a:lnTo>
                        <a:lnTo>
                          <a:pt x="2" y="0"/>
                        </a:lnTo>
                        <a:lnTo>
                          <a:pt x="4" y="0"/>
                        </a:lnTo>
                        <a:lnTo>
                          <a:pt x="6" y="4"/>
                        </a:lnTo>
                        <a:lnTo>
                          <a:pt x="4"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8" name="Freeform 3191"/>
                  <p:cNvSpPr>
                    <a:spLocks/>
                  </p:cNvSpPr>
                  <p:nvPr/>
                </p:nvSpPr>
                <p:spPr bwMode="auto">
                  <a:xfrm>
                    <a:off x="3942" y="3802"/>
                    <a:ext cx="6" cy="8"/>
                  </a:xfrm>
                  <a:custGeom>
                    <a:avLst/>
                    <a:gdLst/>
                    <a:ahLst/>
                    <a:cxnLst>
                      <a:cxn ang="0">
                        <a:pos x="4" y="8"/>
                      </a:cxn>
                      <a:cxn ang="0">
                        <a:pos x="0" y="4"/>
                      </a:cxn>
                      <a:cxn ang="0">
                        <a:pos x="0" y="2"/>
                      </a:cxn>
                      <a:cxn ang="0">
                        <a:pos x="4" y="0"/>
                      </a:cxn>
                      <a:cxn ang="0">
                        <a:pos x="6" y="2"/>
                      </a:cxn>
                      <a:cxn ang="0">
                        <a:pos x="6" y="4"/>
                      </a:cxn>
                      <a:cxn ang="0">
                        <a:pos x="6" y="6"/>
                      </a:cxn>
                      <a:cxn ang="0">
                        <a:pos x="4" y="6"/>
                      </a:cxn>
                      <a:cxn ang="0">
                        <a:pos x="4" y="8"/>
                      </a:cxn>
                    </a:cxnLst>
                    <a:rect l="0" t="0" r="r" b="b"/>
                    <a:pathLst>
                      <a:path w="6" h="8">
                        <a:moveTo>
                          <a:pt x="4" y="8"/>
                        </a:moveTo>
                        <a:lnTo>
                          <a:pt x="0" y="4"/>
                        </a:lnTo>
                        <a:lnTo>
                          <a:pt x="0" y="2"/>
                        </a:lnTo>
                        <a:lnTo>
                          <a:pt x="4" y="0"/>
                        </a:lnTo>
                        <a:lnTo>
                          <a:pt x="6" y="2"/>
                        </a:lnTo>
                        <a:lnTo>
                          <a:pt x="6" y="4"/>
                        </a:lnTo>
                        <a:lnTo>
                          <a:pt x="6" y="6"/>
                        </a:lnTo>
                        <a:lnTo>
                          <a:pt x="4" y="6"/>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39" name="Freeform 3192"/>
                  <p:cNvSpPr>
                    <a:spLocks/>
                  </p:cNvSpPr>
                  <p:nvPr/>
                </p:nvSpPr>
                <p:spPr bwMode="auto">
                  <a:xfrm>
                    <a:off x="4152" y="3810"/>
                    <a:ext cx="36" cy="38"/>
                  </a:xfrm>
                  <a:custGeom>
                    <a:avLst/>
                    <a:gdLst/>
                    <a:ahLst/>
                    <a:cxnLst>
                      <a:cxn ang="0">
                        <a:pos x="20" y="14"/>
                      </a:cxn>
                      <a:cxn ang="0">
                        <a:pos x="20" y="18"/>
                      </a:cxn>
                      <a:cxn ang="0">
                        <a:pos x="22" y="20"/>
                      </a:cxn>
                      <a:cxn ang="0">
                        <a:pos x="24" y="20"/>
                      </a:cxn>
                      <a:cxn ang="0">
                        <a:pos x="26" y="20"/>
                      </a:cxn>
                      <a:cxn ang="0">
                        <a:pos x="30" y="24"/>
                      </a:cxn>
                      <a:cxn ang="0">
                        <a:pos x="34" y="28"/>
                      </a:cxn>
                      <a:cxn ang="0">
                        <a:pos x="36" y="34"/>
                      </a:cxn>
                      <a:cxn ang="0">
                        <a:pos x="36" y="36"/>
                      </a:cxn>
                      <a:cxn ang="0">
                        <a:pos x="34" y="36"/>
                      </a:cxn>
                      <a:cxn ang="0">
                        <a:pos x="32" y="36"/>
                      </a:cxn>
                      <a:cxn ang="0">
                        <a:pos x="30" y="36"/>
                      </a:cxn>
                      <a:cxn ang="0">
                        <a:pos x="28" y="38"/>
                      </a:cxn>
                      <a:cxn ang="0">
                        <a:pos x="26" y="38"/>
                      </a:cxn>
                      <a:cxn ang="0">
                        <a:pos x="24" y="38"/>
                      </a:cxn>
                      <a:cxn ang="0">
                        <a:pos x="22" y="36"/>
                      </a:cxn>
                      <a:cxn ang="0">
                        <a:pos x="18" y="34"/>
                      </a:cxn>
                      <a:cxn ang="0">
                        <a:pos x="14" y="30"/>
                      </a:cxn>
                      <a:cxn ang="0">
                        <a:pos x="14" y="28"/>
                      </a:cxn>
                      <a:cxn ang="0">
                        <a:pos x="16" y="28"/>
                      </a:cxn>
                      <a:cxn ang="0">
                        <a:pos x="16" y="24"/>
                      </a:cxn>
                      <a:cxn ang="0">
                        <a:pos x="14" y="22"/>
                      </a:cxn>
                      <a:cxn ang="0">
                        <a:pos x="12" y="22"/>
                      </a:cxn>
                      <a:cxn ang="0">
                        <a:pos x="12" y="20"/>
                      </a:cxn>
                      <a:cxn ang="0">
                        <a:pos x="8" y="20"/>
                      </a:cxn>
                      <a:cxn ang="0">
                        <a:pos x="2" y="14"/>
                      </a:cxn>
                      <a:cxn ang="0">
                        <a:pos x="0" y="8"/>
                      </a:cxn>
                      <a:cxn ang="0">
                        <a:pos x="4" y="0"/>
                      </a:cxn>
                      <a:cxn ang="0">
                        <a:pos x="6" y="2"/>
                      </a:cxn>
                      <a:cxn ang="0">
                        <a:pos x="12" y="2"/>
                      </a:cxn>
                      <a:cxn ang="0">
                        <a:pos x="14" y="10"/>
                      </a:cxn>
                      <a:cxn ang="0">
                        <a:pos x="20" y="14"/>
                      </a:cxn>
                    </a:cxnLst>
                    <a:rect l="0" t="0" r="r" b="b"/>
                    <a:pathLst>
                      <a:path w="36" h="38">
                        <a:moveTo>
                          <a:pt x="20" y="14"/>
                        </a:moveTo>
                        <a:lnTo>
                          <a:pt x="20" y="18"/>
                        </a:lnTo>
                        <a:lnTo>
                          <a:pt x="22" y="20"/>
                        </a:lnTo>
                        <a:lnTo>
                          <a:pt x="24" y="20"/>
                        </a:lnTo>
                        <a:lnTo>
                          <a:pt x="26" y="20"/>
                        </a:lnTo>
                        <a:lnTo>
                          <a:pt x="30" y="24"/>
                        </a:lnTo>
                        <a:lnTo>
                          <a:pt x="34" y="28"/>
                        </a:lnTo>
                        <a:lnTo>
                          <a:pt x="36" y="34"/>
                        </a:lnTo>
                        <a:lnTo>
                          <a:pt x="36" y="36"/>
                        </a:lnTo>
                        <a:lnTo>
                          <a:pt x="34" y="36"/>
                        </a:lnTo>
                        <a:lnTo>
                          <a:pt x="32" y="36"/>
                        </a:lnTo>
                        <a:lnTo>
                          <a:pt x="30" y="36"/>
                        </a:lnTo>
                        <a:lnTo>
                          <a:pt x="28" y="38"/>
                        </a:lnTo>
                        <a:lnTo>
                          <a:pt x="26" y="38"/>
                        </a:lnTo>
                        <a:lnTo>
                          <a:pt x="24" y="38"/>
                        </a:lnTo>
                        <a:lnTo>
                          <a:pt x="22" y="36"/>
                        </a:lnTo>
                        <a:lnTo>
                          <a:pt x="18" y="34"/>
                        </a:lnTo>
                        <a:lnTo>
                          <a:pt x="14" y="30"/>
                        </a:lnTo>
                        <a:lnTo>
                          <a:pt x="14" y="28"/>
                        </a:lnTo>
                        <a:lnTo>
                          <a:pt x="16" y="28"/>
                        </a:lnTo>
                        <a:lnTo>
                          <a:pt x="16" y="24"/>
                        </a:lnTo>
                        <a:lnTo>
                          <a:pt x="14" y="22"/>
                        </a:lnTo>
                        <a:lnTo>
                          <a:pt x="12" y="22"/>
                        </a:lnTo>
                        <a:lnTo>
                          <a:pt x="12" y="20"/>
                        </a:lnTo>
                        <a:lnTo>
                          <a:pt x="8" y="20"/>
                        </a:lnTo>
                        <a:lnTo>
                          <a:pt x="2" y="14"/>
                        </a:lnTo>
                        <a:lnTo>
                          <a:pt x="0" y="8"/>
                        </a:lnTo>
                        <a:lnTo>
                          <a:pt x="4" y="0"/>
                        </a:lnTo>
                        <a:lnTo>
                          <a:pt x="6" y="2"/>
                        </a:lnTo>
                        <a:lnTo>
                          <a:pt x="12" y="2"/>
                        </a:lnTo>
                        <a:lnTo>
                          <a:pt x="14" y="10"/>
                        </a:lnTo>
                        <a:lnTo>
                          <a:pt x="20" y="1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0" name="Freeform 3193"/>
                  <p:cNvSpPr>
                    <a:spLocks/>
                  </p:cNvSpPr>
                  <p:nvPr/>
                </p:nvSpPr>
                <p:spPr bwMode="auto">
                  <a:xfrm>
                    <a:off x="3964" y="3810"/>
                    <a:ext cx="8" cy="10"/>
                  </a:xfrm>
                  <a:custGeom>
                    <a:avLst/>
                    <a:gdLst/>
                    <a:ahLst/>
                    <a:cxnLst>
                      <a:cxn ang="0">
                        <a:pos x="6" y="10"/>
                      </a:cxn>
                      <a:cxn ang="0">
                        <a:pos x="6" y="8"/>
                      </a:cxn>
                      <a:cxn ang="0">
                        <a:pos x="4" y="8"/>
                      </a:cxn>
                      <a:cxn ang="0">
                        <a:pos x="2" y="8"/>
                      </a:cxn>
                      <a:cxn ang="0">
                        <a:pos x="0" y="6"/>
                      </a:cxn>
                      <a:cxn ang="0">
                        <a:pos x="0" y="4"/>
                      </a:cxn>
                      <a:cxn ang="0">
                        <a:pos x="0" y="0"/>
                      </a:cxn>
                      <a:cxn ang="0">
                        <a:pos x="2" y="0"/>
                      </a:cxn>
                      <a:cxn ang="0">
                        <a:pos x="6" y="2"/>
                      </a:cxn>
                      <a:cxn ang="0">
                        <a:pos x="8" y="2"/>
                      </a:cxn>
                      <a:cxn ang="0">
                        <a:pos x="8" y="4"/>
                      </a:cxn>
                      <a:cxn ang="0">
                        <a:pos x="8" y="8"/>
                      </a:cxn>
                      <a:cxn ang="0">
                        <a:pos x="6" y="10"/>
                      </a:cxn>
                    </a:cxnLst>
                    <a:rect l="0" t="0" r="r" b="b"/>
                    <a:pathLst>
                      <a:path w="8" h="10">
                        <a:moveTo>
                          <a:pt x="6" y="10"/>
                        </a:moveTo>
                        <a:lnTo>
                          <a:pt x="6" y="8"/>
                        </a:lnTo>
                        <a:lnTo>
                          <a:pt x="4" y="8"/>
                        </a:lnTo>
                        <a:lnTo>
                          <a:pt x="2" y="8"/>
                        </a:lnTo>
                        <a:lnTo>
                          <a:pt x="0" y="6"/>
                        </a:lnTo>
                        <a:lnTo>
                          <a:pt x="0" y="4"/>
                        </a:lnTo>
                        <a:lnTo>
                          <a:pt x="0" y="0"/>
                        </a:lnTo>
                        <a:lnTo>
                          <a:pt x="2" y="0"/>
                        </a:lnTo>
                        <a:lnTo>
                          <a:pt x="6" y="2"/>
                        </a:lnTo>
                        <a:lnTo>
                          <a:pt x="8" y="2"/>
                        </a:lnTo>
                        <a:lnTo>
                          <a:pt x="8" y="4"/>
                        </a:lnTo>
                        <a:lnTo>
                          <a:pt x="8"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1" name="Freeform 3194"/>
                  <p:cNvSpPr>
                    <a:spLocks/>
                  </p:cNvSpPr>
                  <p:nvPr/>
                </p:nvSpPr>
                <p:spPr bwMode="auto">
                  <a:xfrm>
                    <a:off x="3842" y="3888"/>
                    <a:ext cx="8" cy="6"/>
                  </a:xfrm>
                  <a:custGeom>
                    <a:avLst/>
                    <a:gdLst/>
                    <a:ahLst/>
                    <a:cxnLst>
                      <a:cxn ang="0">
                        <a:pos x="6" y="6"/>
                      </a:cxn>
                      <a:cxn ang="0">
                        <a:pos x="6" y="4"/>
                      </a:cxn>
                      <a:cxn ang="0">
                        <a:pos x="4" y="4"/>
                      </a:cxn>
                      <a:cxn ang="0">
                        <a:pos x="0" y="2"/>
                      </a:cxn>
                      <a:cxn ang="0">
                        <a:pos x="0" y="0"/>
                      </a:cxn>
                      <a:cxn ang="0">
                        <a:pos x="4" y="0"/>
                      </a:cxn>
                      <a:cxn ang="0">
                        <a:pos x="6" y="2"/>
                      </a:cxn>
                      <a:cxn ang="0">
                        <a:pos x="8" y="4"/>
                      </a:cxn>
                      <a:cxn ang="0">
                        <a:pos x="6" y="6"/>
                      </a:cxn>
                    </a:cxnLst>
                    <a:rect l="0" t="0" r="r" b="b"/>
                    <a:pathLst>
                      <a:path w="8" h="6">
                        <a:moveTo>
                          <a:pt x="6" y="6"/>
                        </a:moveTo>
                        <a:lnTo>
                          <a:pt x="6" y="4"/>
                        </a:lnTo>
                        <a:lnTo>
                          <a:pt x="4" y="4"/>
                        </a:lnTo>
                        <a:lnTo>
                          <a:pt x="0" y="2"/>
                        </a:lnTo>
                        <a:lnTo>
                          <a:pt x="0" y="0"/>
                        </a:lnTo>
                        <a:lnTo>
                          <a:pt x="4" y="0"/>
                        </a:lnTo>
                        <a:lnTo>
                          <a:pt x="6" y="2"/>
                        </a:lnTo>
                        <a:lnTo>
                          <a:pt x="8" y="4"/>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2" name="Freeform 3195"/>
                  <p:cNvSpPr>
                    <a:spLocks/>
                  </p:cNvSpPr>
                  <p:nvPr/>
                </p:nvSpPr>
                <p:spPr bwMode="auto">
                  <a:xfrm>
                    <a:off x="3838" y="3890"/>
                    <a:ext cx="12" cy="10"/>
                  </a:xfrm>
                  <a:custGeom>
                    <a:avLst/>
                    <a:gdLst/>
                    <a:ahLst/>
                    <a:cxnLst>
                      <a:cxn ang="0">
                        <a:pos x="12" y="10"/>
                      </a:cxn>
                      <a:cxn ang="0">
                        <a:pos x="12" y="8"/>
                      </a:cxn>
                      <a:cxn ang="0">
                        <a:pos x="10" y="8"/>
                      </a:cxn>
                      <a:cxn ang="0">
                        <a:pos x="4" y="4"/>
                      </a:cxn>
                      <a:cxn ang="0">
                        <a:pos x="2" y="4"/>
                      </a:cxn>
                      <a:cxn ang="0">
                        <a:pos x="2" y="2"/>
                      </a:cxn>
                      <a:cxn ang="0">
                        <a:pos x="0" y="0"/>
                      </a:cxn>
                      <a:cxn ang="0">
                        <a:pos x="2" y="2"/>
                      </a:cxn>
                      <a:cxn ang="0">
                        <a:pos x="4" y="2"/>
                      </a:cxn>
                      <a:cxn ang="0">
                        <a:pos x="4" y="4"/>
                      </a:cxn>
                      <a:cxn ang="0">
                        <a:pos x="6" y="4"/>
                      </a:cxn>
                      <a:cxn ang="0">
                        <a:pos x="12" y="8"/>
                      </a:cxn>
                      <a:cxn ang="0">
                        <a:pos x="12" y="10"/>
                      </a:cxn>
                    </a:cxnLst>
                    <a:rect l="0" t="0" r="r" b="b"/>
                    <a:pathLst>
                      <a:path w="12" h="10">
                        <a:moveTo>
                          <a:pt x="12" y="10"/>
                        </a:moveTo>
                        <a:lnTo>
                          <a:pt x="12" y="8"/>
                        </a:lnTo>
                        <a:lnTo>
                          <a:pt x="10" y="8"/>
                        </a:lnTo>
                        <a:lnTo>
                          <a:pt x="4" y="4"/>
                        </a:lnTo>
                        <a:lnTo>
                          <a:pt x="2" y="4"/>
                        </a:lnTo>
                        <a:lnTo>
                          <a:pt x="2" y="2"/>
                        </a:lnTo>
                        <a:lnTo>
                          <a:pt x="0" y="0"/>
                        </a:lnTo>
                        <a:lnTo>
                          <a:pt x="2" y="2"/>
                        </a:lnTo>
                        <a:lnTo>
                          <a:pt x="4" y="2"/>
                        </a:lnTo>
                        <a:lnTo>
                          <a:pt x="4" y="4"/>
                        </a:lnTo>
                        <a:lnTo>
                          <a:pt x="6" y="4"/>
                        </a:lnTo>
                        <a:lnTo>
                          <a:pt x="12" y="8"/>
                        </a:lnTo>
                        <a:lnTo>
                          <a:pt x="1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3" name="Freeform 3196"/>
                  <p:cNvSpPr>
                    <a:spLocks/>
                  </p:cNvSpPr>
                  <p:nvPr/>
                </p:nvSpPr>
                <p:spPr bwMode="auto">
                  <a:xfrm>
                    <a:off x="4052" y="3890"/>
                    <a:ext cx="4" cy="12"/>
                  </a:xfrm>
                  <a:custGeom>
                    <a:avLst/>
                    <a:gdLst/>
                    <a:ahLst/>
                    <a:cxnLst>
                      <a:cxn ang="0">
                        <a:pos x="4" y="12"/>
                      </a:cxn>
                      <a:cxn ang="0">
                        <a:pos x="2" y="10"/>
                      </a:cxn>
                      <a:cxn ang="0">
                        <a:pos x="2" y="6"/>
                      </a:cxn>
                      <a:cxn ang="0">
                        <a:pos x="0" y="4"/>
                      </a:cxn>
                      <a:cxn ang="0">
                        <a:pos x="0" y="2"/>
                      </a:cxn>
                      <a:cxn ang="0">
                        <a:pos x="2" y="2"/>
                      </a:cxn>
                      <a:cxn ang="0">
                        <a:pos x="2" y="0"/>
                      </a:cxn>
                      <a:cxn ang="0">
                        <a:pos x="2" y="10"/>
                      </a:cxn>
                      <a:cxn ang="0">
                        <a:pos x="4" y="12"/>
                      </a:cxn>
                    </a:cxnLst>
                    <a:rect l="0" t="0" r="r" b="b"/>
                    <a:pathLst>
                      <a:path w="4" h="12">
                        <a:moveTo>
                          <a:pt x="4" y="12"/>
                        </a:moveTo>
                        <a:lnTo>
                          <a:pt x="2" y="10"/>
                        </a:lnTo>
                        <a:lnTo>
                          <a:pt x="2" y="6"/>
                        </a:lnTo>
                        <a:lnTo>
                          <a:pt x="0" y="4"/>
                        </a:lnTo>
                        <a:lnTo>
                          <a:pt x="0" y="2"/>
                        </a:lnTo>
                        <a:lnTo>
                          <a:pt x="2" y="2"/>
                        </a:lnTo>
                        <a:lnTo>
                          <a:pt x="2" y="0"/>
                        </a:lnTo>
                        <a:lnTo>
                          <a:pt x="2"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4" name="Freeform 3197"/>
                  <p:cNvSpPr>
                    <a:spLocks/>
                  </p:cNvSpPr>
                  <p:nvPr/>
                </p:nvSpPr>
                <p:spPr bwMode="auto">
                  <a:xfrm>
                    <a:off x="4092" y="3906"/>
                    <a:ext cx="14" cy="8"/>
                  </a:xfrm>
                  <a:custGeom>
                    <a:avLst/>
                    <a:gdLst/>
                    <a:ahLst/>
                    <a:cxnLst>
                      <a:cxn ang="0">
                        <a:pos x="10" y="8"/>
                      </a:cxn>
                      <a:cxn ang="0">
                        <a:pos x="10" y="6"/>
                      </a:cxn>
                      <a:cxn ang="0">
                        <a:pos x="2" y="2"/>
                      </a:cxn>
                      <a:cxn ang="0">
                        <a:pos x="0" y="2"/>
                      </a:cxn>
                      <a:cxn ang="0">
                        <a:pos x="2" y="0"/>
                      </a:cxn>
                      <a:cxn ang="0">
                        <a:pos x="4" y="0"/>
                      </a:cxn>
                      <a:cxn ang="0">
                        <a:pos x="8" y="0"/>
                      </a:cxn>
                      <a:cxn ang="0">
                        <a:pos x="12" y="2"/>
                      </a:cxn>
                      <a:cxn ang="0">
                        <a:pos x="14" y="2"/>
                      </a:cxn>
                      <a:cxn ang="0">
                        <a:pos x="14" y="4"/>
                      </a:cxn>
                      <a:cxn ang="0">
                        <a:pos x="14" y="6"/>
                      </a:cxn>
                      <a:cxn ang="0">
                        <a:pos x="10" y="8"/>
                      </a:cxn>
                    </a:cxnLst>
                    <a:rect l="0" t="0" r="r" b="b"/>
                    <a:pathLst>
                      <a:path w="14" h="8">
                        <a:moveTo>
                          <a:pt x="10" y="8"/>
                        </a:moveTo>
                        <a:lnTo>
                          <a:pt x="10" y="6"/>
                        </a:lnTo>
                        <a:lnTo>
                          <a:pt x="2" y="2"/>
                        </a:lnTo>
                        <a:lnTo>
                          <a:pt x="0" y="2"/>
                        </a:lnTo>
                        <a:lnTo>
                          <a:pt x="2" y="0"/>
                        </a:lnTo>
                        <a:lnTo>
                          <a:pt x="4" y="0"/>
                        </a:lnTo>
                        <a:lnTo>
                          <a:pt x="8" y="0"/>
                        </a:lnTo>
                        <a:lnTo>
                          <a:pt x="12" y="2"/>
                        </a:lnTo>
                        <a:lnTo>
                          <a:pt x="14" y="2"/>
                        </a:lnTo>
                        <a:lnTo>
                          <a:pt x="14" y="4"/>
                        </a:lnTo>
                        <a:lnTo>
                          <a:pt x="14" y="6"/>
                        </a:lnTo>
                        <a:lnTo>
                          <a:pt x="1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5" name="Freeform 3198"/>
                  <p:cNvSpPr>
                    <a:spLocks/>
                  </p:cNvSpPr>
                  <p:nvPr/>
                </p:nvSpPr>
                <p:spPr bwMode="auto">
                  <a:xfrm>
                    <a:off x="3838" y="3910"/>
                    <a:ext cx="2" cy="2"/>
                  </a:xfrm>
                  <a:custGeom>
                    <a:avLst/>
                    <a:gdLst/>
                    <a:ahLst/>
                    <a:cxnLst>
                      <a:cxn ang="0">
                        <a:pos x="2" y="0"/>
                      </a:cxn>
                      <a:cxn ang="0">
                        <a:pos x="2" y="2"/>
                      </a:cxn>
                      <a:cxn ang="0">
                        <a:pos x="0" y="0"/>
                      </a:cxn>
                      <a:cxn ang="0">
                        <a:pos x="2" y="0"/>
                      </a:cxn>
                    </a:cxnLst>
                    <a:rect l="0" t="0" r="r" b="b"/>
                    <a:pathLst>
                      <a:path w="2" h="2">
                        <a:moveTo>
                          <a:pt x="2" y="0"/>
                        </a:moveTo>
                        <a:lnTo>
                          <a:pt x="2" y="2"/>
                        </a:lnTo>
                        <a:lnTo>
                          <a:pt x="0" y="0"/>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6" name="Freeform 3199"/>
                  <p:cNvSpPr>
                    <a:spLocks/>
                  </p:cNvSpPr>
                  <p:nvPr/>
                </p:nvSpPr>
                <p:spPr bwMode="auto">
                  <a:xfrm>
                    <a:off x="4028" y="3912"/>
                    <a:ext cx="8" cy="10"/>
                  </a:xfrm>
                  <a:custGeom>
                    <a:avLst/>
                    <a:gdLst/>
                    <a:ahLst/>
                    <a:cxnLst>
                      <a:cxn ang="0">
                        <a:pos x="6" y="10"/>
                      </a:cxn>
                      <a:cxn ang="0">
                        <a:pos x="4" y="10"/>
                      </a:cxn>
                      <a:cxn ang="0">
                        <a:pos x="0" y="4"/>
                      </a:cxn>
                      <a:cxn ang="0">
                        <a:pos x="0" y="2"/>
                      </a:cxn>
                      <a:cxn ang="0">
                        <a:pos x="2" y="0"/>
                      </a:cxn>
                      <a:cxn ang="0">
                        <a:pos x="6" y="2"/>
                      </a:cxn>
                      <a:cxn ang="0">
                        <a:pos x="8" y="6"/>
                      </a:cxn>
                      <a:cxn ang="0">
                        <a:pos x="6" y="8"/>
                      </a:cxn>
                      <a:cxn ang="0">
                        <a:pos x="6" y="10"/>
                      </a:cxn>
                    </a:cxnLst>
                    <a:rect l="0" t="0" r="r" b="b"/>
                    <a:pathLst>
                      <a:path w="8" h="10">
                        <a:moveTo>
                          <a:pt x="6" y="10"/>
                        </a:moveTo>
                        <a:lnTo>
                          <a:pt x="4" y="10"/>
                        </a:lnTo>
                        <a:lnTo>
                          <a:pt x="0" y="4"/>
                        </a:lnTo>
                        <a:lnTo>
                          <a:pt x="0" y="2"/>
                        </a:lnTo>
                        <a:lnTo>
                          <a:pt x="2" y="0"/>
                        </a:lnTo>
                        <a:lnTo>
                          <a:pt x="6" y="2"/>
                        </a:lnTo>
                        <a:lnTo>
                          <a:pt x="8" y="6"/>
                        </a:lnTo>
                        <a:lnTo>
                          <a:pt x="6"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7" name="Freeform 3200"/>
                  <p:cNvSpPr>
                    <a:spLocks/>
                  </p:cNvSpPr>
                  <p:nvPr/>
                </p:nvSpPr>
                <p:spPr bwMode="auto">
                  <a:xfrm>
                    <a:off x="4036" y="3916"/>
                    <a:ext cx="14" cy="10"/>
                  </a:xfrm>
                  <a:custGeom>
                    <a:avLst/>
                    <a:gdLst/>
                    <a:ahLst/>
                    <a:cxnLst>
                      <a:cxn ang="0">
                        <a:pos x="12" y="10"/>
                      </a:cxn>
                      <a:cxn ang="0">
                        <a:pos x="10" y="8"/>
                      </a:cxn>
                      <a:cxn ang="0">
                        <a:pos x="10" y="10"/>
                      </a:cxn>
                      <a:cxn ang="0">
                        <a:pos x="6" y="10"/>
                      </a:cxn>
                      <a:cxn ang="0">
                        <a:pos x="2" y="8"/>
                      </a:cxn>
                      <a:cxn ang="0">
                        <a:pos x="2" y="6"/>
                      </a:cxn>
                      <a:cxn ang="0">
                        <a:pos x="0" y="2"/>
                      </a:cxn>
                      <a:cxn ang="0">
                        <a:pos x="0" y="0"/>
                      </a:cxn>
                      <a:cxn ang="0">
                        <a:pos x="2" y="0"/>
                      </a:cxn>
                      <a:cxn ang="0">
                        <a:pos x="4" y="0"/>
                      </a:cxn>
                      <a:cxn ang="0">
                        <a:pos x="6" y="2"/>
                      </a:cxn>
                      <a:cxn ang="0">
                        <a:pos x="8" y="2"/>
                      </a:cxn>
                      <a:cxn ang="0">
                        <a:pos x="10" y="2"/>
                      </a:cxn>
                      <a:cxn ang="0">
                        <a:pos x="12" y="6"/>
                      </a:cxn>
                      <a:cxn ang="0">
                        <a:pos x="14" y="10"/>
                      </a:cxn>
                      <a:cxn ang="0">
                        <a:pos x="12" y="10"/>
                      </a:cxn>
                    </a:cxnLst>
                    <a:rect l="0" t="0" r="r" b="b"/>
                    <a:pathLst>
                      <a:path w="14" h="10">
                        <a:moveTo>
                          <a:pt x="12" y="10"/>
                        </a:moveTo>
                        <a:lnTo>
                          <a:pt x="10" y="8"/>
                        </a:lnTo>
                        <a:lnTo>
                          <a:pt x="10" y="10"/>
                        </a:lnTo>
                        <a:lnTo>
                          <a:pt x="6" y="10"/>
                        </a:lnTo>
                        <a:lnTo>
                          <a:pt x="2" y="8"/>
                        </a:lnTo>
                        <a:lnTo>
                          <a:pt x="2" y="6"/>
                        </a:lnTo>
                        <a:lnTo>
                          <a:pt x="0" y="2"/>
                        </a:lnTo>
                        <a:lnTo>
                          <a:pt x="0" y="0"/>
                        </a:lnTo>
                        <a:lnTo>
                          <a:pt x="2" y="0"/>
                        </a:lnTo>
                        <a:lnTo>
                          <a:pt x="4" y="0"/>
                        </a:lnTo>
                        <a:lnTo>
                          <a:pt x="6" y="2"/>
                        </a:lnTo>
                        <a:lnTo>
                          <a:pt x="8" y="2"/>
                        </a:lnTo>
                        <a:lnTo>
                          <a:pt x="10" y="2"/>
                        </a:lnTo>
                        <a:lnTo>
                          <a:pt x="12" y="6"/>
                        </a:lnTo>
                        <a:lnTo>
                          <a:pt x="14" y="10"/>
                        </a:lnTo>
                        <a:lnTo>
                          <a:pt x="1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8" name="Freeform 3201"/>
                  <p:cNvSpPr>
                    <a:spLocks/>
                  </p:cNvSpPr>
                  <p:nvPr/>
                </p:nvSpPr>
                <p:spPr bwMode="auto">
                  <a:xfrm>
                    <a:off x="4044" y="3926"/>
                    <a:ext cx="16" cy="14"/>
                  </a:xfrm>
                  <a:custGeom>
                    <a:avLst/>
                    <a:gdLst/>
                    <a:ahLst/>
                    <a:cxnLst>
                      <a:cxn ang="0">
                        <a:pos x="14" y="14"/>
                      </a:cxn>
                      <a:cxn ang="0">
                        <a:pos x="12" y="12"/>
                      </a:cxn>
                      <a:cxn ang="0">
                        <a:pos x="10" y="12"/>
                      </a:cxn>
                      <a:cxn ang="0">
                        <a:pos x="8" y="12"/>
                      </a:cxn>
                      <a:cxn ang="0">
                        <a:pos x="6" y="12"/>
                      </a:cxn>
                      <a:cxn ang="0">
                        <a:pos x="4" y="6"/>
                      </a:cxn>
                      <a:cxn ang="0">
                        <a:pos x="4" y="4"/>
                      </a:cxn>
                      <a:cxn ang="0">
                        <a:pos x="2" y="2"/>
                      </a:cxn>
                      <a:cxn ang="0">
                        <a:pos x="0" y="2"/>
                      </a:cxn>
                      <a:cxn ang="0">
                        <a:pos x="2" y="0"/>
                      </a:cxn>
                      <a:cxn ang="0">
                        <a:pos x="2" y="2"/>
                      </a:cxn>
                      <a:cxn ang="0">
                        <a:pos x="4" y="2"/>
                      </a:cxn>
                      <a:cxn ang="0">
                        <a:pos x="8" y="8"/>
                      </a:cxn>
                      <a:cxn ang="0">
                        <a:pos x="10" y="8"/>
                      </a:cxn>
                      <a:cxn ang="0">
                        <a:pos x="10" y="10"/>
                      </a:cxn>
                      <a:cxn ang="0">
                        <a:pos x="12" y="10"/>
                      </a:cxn>
                      <a:cxn ang="0">
                        <a:pos x="12" y="8"/>
                      </a:cxn>
                      <a:cxn ang="0">
                        <a:pos x="16" y="6"/>
                      </a:cxn>
                      <a:cxn ang="0">
                        <a:pos x="16" y="8"/>
                      </a:cxn>
                      <a:cxn ang="0">
                        <a:pos x="16" y="10"/>
                      </a:cxn>
                      <a:cxn ang="0">
                        <a:pos x="14" y="12"/>
                      </a:cxn>
                      <a:cxn ang="0">
                        <a:pos x="14" y="14"/>
                      </a:cxn>
                    </a:cxnLst>
                    <a:rect l="0" t="0" r="r" b="b"/>
                    <a:pathLst>
                      <a:path w="16" h="14">
                        <a:moveTo>
                          <a:pt x="14" y="14"/>
                        </a:moveTo>
                        <a:lnTo>
                          <a:pt x="12" y="12"/>
                        </a:lnTo>
                        <a:lnTo>
                          <a:pt x="10" y="12"/>
                        </a:lnTo>
                        <a:lnTo>
                          <a:pt x="8" y="12"/>
                        </a:lnTo>
                        <a:lnTo>
                          <a:pt x="6" y="12"/>
                        </a:lnTo>
                        <a:lnTo>
                          <a:pt x="4" y="6"/>
                        </a:lnTo>
                        <a:lnTo>
                          <a:pt x="4" y="4"/>
                        </a:lnTo>
                        <a:lnTo>
                          <a:pt x="2" y="2"/>
                        </a:lnTo>
                        <a:lnTo>
                          <a:pt x="0" y="2"/>
                        </a:lnTo>
                        <a:lnTo>
                          <a:pt x="2" y="0"/>
                        </a:lnTo>
                        <a:lnTo>
                          <a:pt x="2" y="2"/>
                        </a:lnTo>
                        <a:lnTo>
                          <a:pt x="4" y="2"/>
                        </a:lnTo>
                        <a:lnTo>
                          <a:pt x="8" y="8"/>
                        </a:lnTo>
                        <a:lnTo>
                          <a:pt x="10" y="8"/>
                        </a:lnTo>
                        <a:lnTo>
                          <a:pt x="10" y="10"/>
                        </a:lnTo>
                        <a:lnTo>
                          <a:pt x="12" y="10"/>
                        </a:lnTo>
                        <a:lnTo>
                          <a:pt x="12" y="8"/>
                        </a:lnTo>
                        <a:lnTo>
                          <a:pt x="16" y="6"/>
                        </a:lnTo>
                        <a:lnTo>
                          <a:pt x="16" y="8"/>
                        </a:lnTo>
                        <a:lnTo>
                          <a:pt x="16" y="10"/>
                        </a:lnTo>
                        <a:lnTo>
                          <a:pt x="14" y="12"/>
                        </a:lnTo>
                        <a:lnTo>
                          <a:pt x="1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49" name="Freeform 3202"/>
                  <p:cNvSpPr>
                    <a:spLocks/>
                  </p:cNvSpPr>
                  <p:nvPr/>
                </p:nvSpPr>
                <p:spPr bwMode="auto">
                  <a:xfrm>
                    <a:off x="4094" y="3952"/>
                    <a:ext cx="8" cy="2"/>
                  </a:xfrm>
                  <a:custGeom>
                    <a:avLst/>
                    <a:gdLst/>
                    <a:ahLst/>
                    <a:cxnLst>
                      <a:cxn ang="0">
                        <a:pos x="6" y="2"/>
                      </a:cxn>
                      <a:cxn ang="0">
                        <a:pos x="4" y="2"/>
                      </a:cxn>
                      <a:cxn ang="0">
                        <a:pos x="0" y="0"/>
                      </a:cxn>
                      <a:cxn ang="0">
                        <a:pos x="2" y="0"/>
                      </a:cxn>
                      <a:cxn ang="0">
                        <a:pos x="4" y="0"/>
                      </a:cxn>
                      <a:cxn ang="0">
                        <a:pos x="6" y="0"/>
                      </a:cxn>
                      <a:cxn ang="0">
                        <a:pos x="8" y="0"/>
                      </a:cxn>
                      <a:cxn ang="0">
                        <a:pos x="8" y="2"/>
                      </a:cxn>
                      <a:cxn ang="0">
                        <a:pos x="6" y="2"/>
                      </a:cxn>
                    </a:cxnLst>
                    <a:rect l="0" t="0" r="r" b="b"/>
                    <a:pathLst>
                      <a:path w="8" h="2">
                        <a:moveTo>
                          <a:pt x="6" y="2"/>
                        </a:moveTo>
                        <a:lnTo>
                          <a:pt x="4" y="2"/>
                        </a:lnTo>
                        <a:lnTo>
                          <a:pt x="0" y="0"/>
                        </a:lnTo>
                        <a:lnTo>
                          <a:pt x="2" y="0"/>
                        </a:lnTo>
                        <a:lnTo>
                          <a:pt x="4" y="0"/>
                        </a:lnTo>
                        <a:lnTo>
                          <a:pt x="6" y="0"/>
                        </a:lnTo>
                        <a:lnTo>
                          <a:pt x="8" y="0"/>
                        </a:lnTo>
                        <a:lnTo>
                          <a:pt x="8" y="2"/>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0" name="Freeform 3203"/>
                  <p:cNvSpPr>
                    <a:spLocks/>
                  </p:cNvSpPr>
                  <p:nvPr/>
                </p:nvSpPr>
                <p:spPr bwMode="auto">
                  <a:xfrm>
                    <a:off x="4134" y="3970"/>
                    <a:ext cx="8" cy="4"/>
                  </a:xfrm>
                  <a:custGeom>
                    <a:avLst/>
                    <a:gdLst/>
                    <a:ahLst/>
                    <a:cxnLst>
                      <a:cxn ang="0">
                        <a:pos x="2" y="4"/>
                      </a:cxn>
                      <a:cxn ang="0">
                        <a:pos x="0" y="4"/>
                      </a:cxn>
                      <a:cxn ang="0">
                        <a:pos x="0" y="2"/>
                      </a:cxn>
                      <a:cxn ang="0">
                        <a:pos x="2" y="0"/>
                      </a:cxn>
                      <a:cxn ang="0">
                        <a:pos x="4" y="0"/>
                      </a:cxn>
                      <a:cxn ang="0">
                        <a:pos x="6" y="2"/>
                      </a:cxn>
                      <a:cxn ang="0">
                        <a:pos x="8" y="2"/>
                      </a:cxn>
                      <a:cxn ang="0">
                        <a:pos x="8" y="4"/>
                      </a:cxn>
                      <a:cxn ang="0">
                        <a:pos x="4" y="4"/>
                      </a:cxn>
                      <a:cxn ang="0">
                        <a:pos x="2" y="4"/>
                      </a:cxn>
                    </a:cxnLst>
                    <a:rect l="0" t="0" r="r" b="b"/>
                    <a:pathLst>
                      <a:path w="8" h="4">
                        <a:moveTo>
                          <a:pt x="2" y="4"/>
                        </a:moveTo>
                        <a:lnTo>
                          <a:pt x="0" y="4"/>
                        </a:lnTo>
                        <a:lnTo>
                          <a:pt x="0" y="2"/>
                        </a:lnTo>
                        <a:lnTo>
                          <a:pt x="2" y="0"/>
                        </a:lnTo>
                        <a:lnTo>
                          <a:pt x="4" y="0"/>
                        </a:lnTo>
                        <a:lnTo>
                          <a:pt x="6" y="2"/>
                        </a:lnTo>
                        <a:lnTo>
                          <a:pt x="8" y="2"/>
                        </a:lnTo>
                        <a:lnTo>
                          <a:pt x="8" y="4"/>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51" name="Freeform 3204"/>
                  <p:cNvSpPr>
                    <a:spLocks/>
                  </p:cNvSpPr>
                  <p:nvPr/>
                </p:nvSpPr>
                <p:spPr bwMode="auto">
                  <a:xfrm>
                    <a:off x="4112" y="3972"/>
                    <a:ext cx="16" cy="8"/>
                  </a:xfrm>
                  <a:custGeom>
                    <a:avLst/>
                    <a:gdLst/>
                    <a:ahLst/>
                    <a:cxnLst>
                      <a:cxn ang="0">
                        <a:pos x="10" y="8"/>
                      </a:cxn>
                      <a:cxn ang="0">
                        <a:pos x="8" y="8"/>
                      </a:cxn>
                      <a:cxn ang="0">
                        <a:pos x="8" y="6"/>
                      </a:cxn>
                      <a:cxn ang="0">
                        <a:pos x="6" y="6"/>
                      </a:cxn>
                      <a:cxn ang="0">
                        <a:pos x="4" y="6"/>
                      </a:cxn>
                      <a:cxn ang="0">
                        <a:pos x="6" y="4"/>
                      </a:cxn>
                      <a:cxn ang="0">
                        <a:pos x="2" y="4"/>
                      </a:cxn>
                      <a:cxn ang="0">
                        <a:pos x="0" y="0"/>
                      </a:cxn>
                      <a:cxn ang="0">
                        <a:pos x="6" y="2"/>
                      </a:cxn>
                      <a:cxn ang="0">
                        <a:pos x="8" y="4"/>
                      </a:cxn>
                      <a:cxn ang="0">
                        <a:pos x="10" y="4"/>
                      </a:cxn>
                      <a:cxn ang="0">
                        <a:pos x="12" y="4"/>
                      </a:cxn>
                      <a:cxn ang="0">
                        <a:pos x="14" y="4"/>
                      </a:cxn>
                      <a:cxn ang="0">
                        <a:pos x="16" y="6"/>
                      </a:cxn>
                      <a:cxn ang="0">
                        <a:pos x="16" y="8"/>
                      </a:cxn>
                      <a:cxn ang="0">
                        <a:pos x="12" y="8"/>
                      </a:cxn>
                      <a:cxn ang="0">
                        <a:pos x="10" y="8"/>
                      </a:cxn>
                    </a:cxnLst>
                    <a:rect l="0" t="0" r="r" b="b"/>
                    <a:pathLst>
                      <a:path w="16" h="8">
                        <a:moveTo>
                          <a:pt x="10" y="8"/>
                        </a:moveTo>
                        <a:lnTo>
                          <a:pt x="8" y="8"/>
                        </a:lnTo>
                        <a:lnTo>
                          <a:pt x="8" y="6"/>
                        </a:lnTo>
                        <a:lnTo>
                          <a:pt x="6" y="6"/>
                        </a:lnTo>
                        <a:lnTo>
                          <a:pt x="4" y="6"/>
                        </a:lnTo>
                        <a:lnTo>
                          <a:pt x="6" y="4"/>
                        </a:lnTo>
                        <a:lnTo>
                          <a:pt x="2" y="4"/>
                        </a:lnTo>
                        <a:lnTo>
                          <a:pt x="0" y="0"/>
                        </a:lnTo>
                        <a:lnTo>
                          <a:pt x="6" y="2"/>
                        </a:lnTo>
                        <a:lnTo>
                          <a:pt x="8" y="4"/>
                        </a:lnTo>
                        <a:lnTo>
                          <a:pt x="10" y="4"/>
                        </a:lnTo>
                        <a:lnTo>
                          <a:pt x="12" y="4"/>
                        </a:lnTo>
                        <a:lnTo>
                          <a:pt x="14" y="4"/>
                        </a:lnTo>
                        <a:lnTo>
                          <a:pt x="16" y="6"/>
                        </a:lnTo>
                        <a:lnTo>
                          <a:pt x="16" y="8"/>
                        </a:lnTo>
                        <a:lnTo>
                          <a:pt x="12" y="8"/>
                        </a:lnTo>
                        <a:lnTo>
                          <a:pt x="1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474" name="Group 3210"/>
                <p:cNvGrpSpPr>
                  <a:grpSpLocks/>
                </p:cNvGrpSpPr>
                <p:nvPr/>
              </p:nvGrpSpPr>
              <p:grpSpPr bwMode="auto">
                <a:xfrm>
                  <a:off x="6515353" y="3391300"/>
                  <a:ext cx="195317" cy="382322"/>
                  <a:chOff x="3372" y="2512"/>
                  <a:chExt cx="94" cy="184"/>
                </a:xfrm>
                <a:solidFill>
                  <a:srgbClr val="B9B9B9"/>
                </a:solidFill>
              </p:grpSpPr>
              <p:sp>
                <p:nvSpPr>
                  <p:cNvPr id="525" name="Freeform 3211"/>
                  <p:cNvSpPr>
                    <a:spLocks/>
                  </p:cNvSpPr>
                  <p:nvPr/>
                </p:nvSpPr>
                <p:spPr bwMode="auto">
                  <a:xfrm>
                    <a:off x="3372" y="2512"/>
                    <a:ext cx="94" cy="148"/>
                  </a:xfrm>
                  <a:custGeom>
                    <a:avLst/>
                    <a:gdLst/>
                    <a:ahLst/>
                    <a:cxnLst>
                      <a:cxn ang="0">
                        <a:pos x="10" y="86"/>
                      </a:cxn>
                      <a:cxn ang="0">
                        <a:pos x="8" y="66"/>
                      </a:cxn>
                      <a:cxn ang="0">
                        <a:pos x="4" y="70"/>
                      </a:cxn>
                      <a:cxn ang="0">
                        <a:pos x="2" y="68"/>
                      </a:cxn>
                      <a:cxn ang="0">
                        <a:pos x="4" y="58"/>
                      </a:cxn>
                      <a:cxn ang="0">
                        <a:pos x="6" y="58"/>
                      </a:cxn>
                      <a:cxn ang="0">
                        <a:pos x="8" y="56"/>
                      </a:cxn>
                      <a:cxn ang="0">
                        <a:pos x="10" y="56"/>
                      </a:cxn>
                      <a:cxn ang="0">
                        <a:pos x="18" y="64"/>
                      </a:cxn>
                      <a:cxn ang="0">
                        <a:pos x="18" y="52"/>
                      </a:cxn>
                      <a:cxn ang="0">
                        <a:pos x="16" y="52"/>
                      </a:cxn>
                      <a:cxn ang="0">
                        <a:pos x="16" y="48"/>
                      </a:cxn>
                      <a:cxn ang="0">
                        <a:pos x="16" y="44"/>
                      </a:cxn>
                      <a:cxn ang="0">
                        <a:pos x="14" y="38"/>
                      </a:cxn>
                      <a:cxn ang="0">
                        <a:pos x="10" y="30"/>
                      </a:cxn>
                      <a:cxn ang="0">
                        <a:pos x="16" y="24"/>
                      </a:cxn>
                      <a:cxn ang="0">
                        <a:pos x="24" y="14"/>
                      </a:cxn>
                      <a:cxn ang="0">
                        <a:pos x="34" y="10"/>
                      </a:cxn>
                      <a:cxn ang="0">
                        <a:pos x="60" y="6"/>
                      </a:cxn>
                      <a:cxn ang="0">
                        <a:pos x="74" y="26"/>
                      </a:cxn>
                      <a:cxn ang="0">
                        <a:pos x="88" y="48"/>
                      </a:cxn>
                      <a:cxn ang="0">
                        <a:pos x="88" y="56"/>
                      </a:cxn>
                      <a:cxn ang="0">
                        <a:pos x="90" y="68"/>
                      </a:cxn>
                      <a:cxn ang="0">
                        <a:pos x="88" y="80"/>
                      </a:cxn>
                      <a:cxn ang="0">
                        <a:pos x="94" y="90"/>
                      </a:cxn>
                      <a:cxn ang="0">
                        <a:pos x="84" y="118"/>
                      </a:cxn>
                      <a:cxn ang="0">
                        <a:pos x="78" y="120"/>
                      </a:cxn>
                      <a:cxn ang="0">
                        <a:pos x="70" y="120"/>
                      </a:cxn>
                      <a:cxn ang="0">
                        <a:pos x="60" y="122"/>
                      </a:cxn>
                      <a:cxn ang="0">
                        <a:pos x="64" y="124"/>
                      </a:cxn>
                      <a:cxn ang="0">
                        <a:pos x="60" y="126"/>
                      </a:cxn>
                      <a:cxn ang="0">
                        <a:pos x="52" y="126"/>
                      </a:cxn>
                      <a:cxn ang="0">
                        <a:pos x="40" y="126"/>
                      </a:cxn>
                      <a:cxn ang="0">
                        <a:pos x="42" y="130"/>
                      </a:cxn>
                      <a:cxn ang="0">
                        <a:pos x="40" y="138"/>
                      </a:cxn>
                      <a:cxn ang="0">
                        <a:pos x="36" y="130"/>
                      </a:cxn>
                      <a:cxn ang="0">
                        <a:pos x="36" y="136"/>
                      </a:cxn>
                      <a:cxn ang="0">
                        <a:pos x="30" y="140"/>
                      </a:cxn>
                      <a:cxn ang="0">
                        <a:pos x="28" y="138"/>
                      </a:cxn>
                      <a:cxn ang="0">
                        <a:pos x="30" y="134"/>
                      </a:cxn>
                      <a:cxn ang="0">
                        <a:pos x="20" y="144"/>
                      </a:cxn>
                      <a:cxn ang="0">
                        <a:pos x="12" y="148"/>
                      </a:cxn>
                      <a:cxn ang="0">
                        <a:pos x="6" y="140"/>
                      </a:cxn>
                      <a:cxn ang="0">
                        <a:pos x="4" y="132"/>
                      </a:cxn>
                      <a:cxn ang="0">
                        <a:pos x="8" y="136"/>
                      </a:cxn>
                      <a:cxn ang="0">
                        <a:pos x="8" y="134"/>
                      </a:cxn>
                      <a:cxn ang="0">
                        <a:pos x="12" y="128"/>
                      </a:cxn>
                      <a:cxn ang="0">
                        <a:pos x="6" y="132"/>
                      </a:cxn>
                      <a:cxn ang="0">
                        <a:pos x="6" y="120"/>
                      </a:cxn>
                      <a:cxn ang="0">
                        <a:pos x="8" y="120"/>
                      </a:cxn>
                      <a:cxn ang="0">
                        <a:pos x="8" y="108"/>
                      </a:cxn>
                      <a:cxn ang="0">
                        <a:pos x="8" y="104"/>
                      </a:cxn>
                      <a:cxn ang="0">
                        <a:pos x="12" y="94"/>
                      </a:cxn>
                      <a:cxn ang="0">
                        <a:pos x="20" y="88"/>
                      </a:cxn>
                    </a:cxnLst>
                    <a:rect l="0" t="0" r="r" b="b"/>
                    <a:pathLst>
                      <a:path w="94" h="148">
                        <a:moveTo>
                          <a:pt x="20" y="88"/>
                        </a:moveTo>
                        <a:lnTo>
                          <a:pt x="18" y="88"/>
                        </a:lnTo>
                        <a:lnTo>
                          <a:pt x="14" y="92"/>
                        </a:lnTo>
                        <a:lnTo>
                          <a:pt x="10" y="86"/>
                        </a:lnTo>
                        <a:lnTo>
                          <a:pt x="8" y="72"/>
                        </a:lnTo>
                        <a:lnTo>
                          <a:pt x="10" y="70"/>
                        </a:lnTo>
                        <a:lnTo>
                          <a:pt x="10" y="66"/>
                        </a:lnTo>
                        <a:lnTo>
                          <a:pt x="8" y="66"/>
                        </a:lnTo>
                        <a:lnTo>
                          <a:pt x="6" y="66"/>
                        </a:lnTo>
                        <a:lnTo>
                          <a:pt x="4" y="68"/>
                        </a:lnTo>
                        <a:lnTo>
                          <a:pt x="6" y="68"/>
                        </a:lnTo>
                        <a:lnTo>
                          <a:pt x="4" y="70"/>
                        </a:lnTo>
                        <a:lnTo>
                          <a:pt x="4" y="72"/>
                        </a:lnTo>
                        <a:lnTo>
                          <a:pt x="4" y="68"/>
                        </a:lnTo>
                        <a:lnTo>
                          <a:pt x="2" y="66"/>
                        </a:lnTo>
                        <a:lnTo>
                          <a:pt x="2" y="68"/>
                        </a:lnTo>
                        <a:lnTo>
                          <a:pt x="0" y="68"/>
                        </a:lnTo>
                        <a:lnTo>
                          <a:pt x="0" y="66"/>
                        </a:lnTo>
                        <a:lnTo>
                          <a:pt x="0" y="62"/>
                        </a:lnTo>
                        <a:lnTo>
                          <a:pt x="4" y="58"/>
                        </a:lnTo>
                        <a:lnTo>
                          <a:pt x="4" y="62"/>
                        </a:lnTo>
                        <a:lnTo>
                          <a:pt x="4" y="64"/>
                        </a:lnTo>
                        <a:lnTo>
                          <a:pt x="6" y="62"/>
                        </a:lnTo>
                        <a:lnTo>
                          <a:pt x="6" y="58"/>
                        </a:lnTo>
                        <a:lnTo>
                          <a:pt x="6" y="60"/>
                        </a:lnTo>
                        <a:lnTo>
                          <a:pt x="6" y="58"/>
                        </a:lnTo>
                        <a:lnTo>
                          <a:pt x="6" y="56"/>
                        </a:lnTo>
                        <a:lnTo>
                          <a:pt x="8" y="56"/>
                        </a:lnTo>
                        <a:lnTo>
                          <a:pt x="8" y="60"/>
                        </a:lnTo>
                        <a:lnTo>
                          <a:pt x="8" y="62"/>
                        </a:lnTo>
                        <a:lnTo>
                          <a:pt x="10" y="62"/>
                        </a:lnTo>
                        <a:lnTo>
                          <a:pt x="10" y="56"/>
                        </a:lnTo>
                        <a:lnTo>
                          <a:pt x="12" y="58"/>
                        </a:lnTo>
                        <a:lnTo>
                          <a:pt x="18" y="58"/>
                        </a:lnTo>
                        <a:lnTo>
                          <a:pt x="18" y="60"/>
                        </a:lnTo>
                        <a:lnTo>
                          <a:pt x="18" y="64"/>
                        </a:lnTo>
                        <a:lnTo>
                          <a:pt x="24" y="60"/>
                        </a:lnTo>
                        <a:lnTo>
                          <a:pt x="20" y="60"/>
                        </a:lnTo>
                        <a:lnTo>
                          <a:pt x="16" y="56"/>
                        </a:lnTo>
                        <a:lnTo>
                          <a:pt x="18" y="52"/>
                        </a:lnTo>
                        <a:lnTo>
                          <a:pt x="20" y="52"/>
                        </a:lnTo>
                        <a:lnTo>
                          <a:pt x="20" y="50"/>
                        </a:lnTo>
                        <a:lnTo>
                          <a:pt x="16" y="50"/>
                        </a:lnTo>
                        <a:lnTo>
                          <a:pt x="16" y="52"/>
                        </a:lnTo>
                        <a:lnTo>
                          <a:pt x="14" y="52"/>
                        </a:lnTo>
                        <a:lnTo>
                          <a:pt x="14" y="50"/>
                        </a:lnTo>
                        <a:lnTo>
                          <a:pt x="14" y="48"/>
                        </a:lnTo>
                        <a:lnTo>
                          <a:pt x="16" y="48"/>
                        </a:lnTo>
                        <a:lnTo>
                          <a:pt x="20" y="48"/>
                        </a:lnTo>
                        <a:lnTo>
                          <a:pt x="18" y="46"/>
                        </a:lnTo>
                        <a:lnTo>
                          <a:pt x="16" y="46"/>
                        </a:lnTo>
                        <a:lnTo>
                          <a:pt x="16" y="44"/>
                        </a:lnTo>
                        <a:lnTo>
                          <a:pt x="14" y="42"/>
                        </a:lnTo>
                        <a:lnTo>
                          <a:pt x="12" y="40"/>
                        </a:lnTo>
                        <a:lnTo>
                          <a:pt x="14" y="40"/>
                        </a:lnTo>
                        <a:lnTo>
                          <a:pt x="14" y="38"/>
                        </a:lnTo>
                        <a:lnTo>
                          <a:pt x="12" y="36"/>
                        </a:lnTo>
                        <a:lnTo>
                          <a:pt x="12" y="34"/>
                        </a:lnTo>
                        <a:lnTo>
                          <a:pt x="10" y="32"/>
                        </a:lnTo>
                        <a:lnTo>
                          <a:pt x="10" y="30"/>
                        </a:lnTo>
                        <a:lnTo>
                          <a:pt x="14" y="30"/>
                        </a:lnTo>
                        <a:lnTo>
                          <a:pt x="14" y="32"/>
                        </a:lnTo>
                        <a:lnTo>
                          <a:pt x="14" y="28"/>
                        </a:lnTo>
                        <a:lnTo>
                          <a:pt x="16" y="24"/>
                        </a:lnTo>
                        <a:lnTo>
                          <a:pt x="18" y="24"/>
                        </a:lnTo>
                        <a:lnTo>
                          <a:pt x="22" y="16"/>
                        </a:lnTo>
                        <a:lnTo>
                          <a:pt x="24" y="16"/>
                        </a:lnTo>
                        <a:lnTo>
                          <a:pt x="24" y="14"/>
                        </a:lnTo>
                        <a:lnTo>
                          <a:pt x="26" y="12"/>
                        </a:lnTo>
                        <a:lnTo>
                          <a:pt x="28" y="12"/>
                        </a:lnTo>
                        <a:lnTo>
                          <a:pt x="30" y="10"/>
                        </a:lnTo>
                        <a:lnTo>
                          <a:pt x="34" y="10"/>
                        </a:lnTo>
                        <a:lnTo>
                          <a:pt x="36" y="12"/>
                        </a:lnTo>
                        <a:lnTo>
                          <a:pt x="54" y="12"/>
                        </a:lnTo>
                        <a:lnTo>
                          <a:pt x="54" y="10"/>
                        </a:lnTo>
                        <a:lnTo>
                          <a:pt x="60" y="6"/>
                        </a:lnTo>
                        <a:lnTo>
                          <a:pt x="60" y="2"/>
                        </a:lnTo>
                        <a:lnTo>
                          <a:pt x="60" y="0"/>
                        </a:lnTo>
                        <a:lnTo>
                          <a:pt x="60" y="2"/>
                        </a:lnTo>
                        <a:lnTo>
                          <a:pt x="74" y="26"/>
                        </a:lnTo>
                        <a:lnTo>
                          <a:pt x="74" y="28"/>
                        </a:lnTo>
                        <a:lnTo>
                          <a:pt x="80" y="32"/>
                        </a:lnTo>
                        <a:lnTo>
                          <a:pt x="80" y="34"/>
                        </a:lnTo>
                        <a:lnTo>
                          <a:pt x="88" y="48"/>
                        </a:lnTo>
                        <a:lnTo>
                          <a:pt x="88" y="50"/>
                        </a:lnTo>
                        <a:lnTo>
                          <a:pt x="88" y="52"/>
                        </a:lnTo>
                        <a:lnTo>
                          <a:pt x="90" y="54"/>
                        </a:lnTo>
                        <a:lnTo>
                          <a:pt x="88" y="56"/>
                        </a:lnTo>
                        <a:lnTo>
                          <a:pt x="88" y="58"/>
                        </a:lnTo>
                        <a:lnTo>
                          <a:pt x="90" y="60"/>
                        </a:lnTo>
                        <a:lnTo>
                          <a:pt x="90" y="62"/>
                        </a:lnTo>
                        <a:lnTo>
                          <a:pt x="90" y="68"/>
                        </a:lnTo>
                        <a:lnTo>
                          <a:pt x="88" y="70"/>
                        </a:lnTo>
                        <a:lnTo>
                          <a:pt x="90" y="72"/>
                        </a:lnTo>
                        <a:lnTo>
                          <a:pt x="90" y="78"/>
                        </a:lnTo>
                        <a:lnTo>
                          <a:pt x="88" y="80"/>
                        </a:lnTo>
                        <a:lnTo>
                          <a:pt x="88" y="90"/>
                        </a:lnTo>
                        <a:lnTo>
                          <a:pt x="90" y="92"/>
                        </a:lnTo>
                        <a:lnTo>
                          <a:pt x="94" y="88"/>
                        </a:lnTo>
                        <a:lnTo>
                          <a:pt x="94" y="90"/>
                        </a:lnTo>
                        <a:lnTo>
                          <a:pt x="90" y="106"/>
                        </a:lnTo>
                        <a:lnTo>
                          <a:pt x="88" y="114"/>
                        </a:lnTo>
                        <a:lnTo>
                          <a:pt x="86" y="114"/>
                        </a:lnTo>
                        <a:lnTo>
                          <a:pt x="84" y="118"/>
                        </a:lnTo>
                        <a:lnTo>
                          <a:pt x="84" y="120"/>
                        </a:lnTo>
                        <a:lnTo>
                          <a:pt x="82" y="120"/>
                        </a:lnTo>
                        <a:lnTo>
                          <a:pt x="78" y="122"/>
                        </a:lnTo>
                        <a:lnTo>
                          <a:pt x="78" y="120"/>
                        </a:lnTo>
                        <a:lnTo>
                          <a:pt x="76" y="120"/>
                        </a:lnTo>
                        <a:lnTo>
                          <a:pt x="72" y="122"/>
                        </a:lnTo>
                        <a:lnTo>
                          <a:pt x="72" y="120"/>
                        </a:lnTo>
                        <a:lnTo>
                          <a:pt x="70" y="120"/>
                        </a:lnTo>
                        <a:lnTo>
                          <a:pt x="68" y="120"/>
                        </a:lnTo>
                        <a:lnTo>
                          <a:pt x="68" y="118"/>
                        </a:lnTo>
                        <a:lnTo>
                          <a:pt x="66" y="118"/>
                        </a:lnTo>
                        <a:lnTo>
                          <a:pt x="60" y="122"/>
                        </a:lnTo>
                        <a:lnTo>
                          <a:pt x="60" y="124"/>
                        </a:lnTo>
                        <a:lnTo>
                          <a:pt x="62" y="124"/>
                        </a:lnTo>
                        <a:lnTo>
                          <a:pt x="64" y="122"/>
                        </a:lnTo>
                        <a:lnTo>
                          <a:pt x="64" y="124"/>
                        </a:lnTo>
                        <a:lnTo>
                          <a:pt x="64" y="128"/>
                        </a:lnTo>
                        <a:lnTo>
                          <a:pt x="62" y="130"/>
                        </a:lnTo>
                        <a:lnTo>
                          <a:pt x="60" y="128"/>
                        </a:lnTo>
                        <a:lnTo>
                          <a:pt x="60" y="126"/>
                        </a:lnTo>
                        <a:lnTo>
                          <a:pt x="56" y="126"/>
                        </a:lnTo>
                        <a:lnTo>
                          <a:pt x="56" y="128"/>
                        </a:lnTo>
                        <a:lnTo>
                          <a:pt x="54" y="128"/>
                        </a:lnTo>
                        <a:lnTo>
                          <a:pt x="52" y="126"/>
                        </a:lnTo>
                        <a:lnTo>
                          <a:pt x="44" y="126"/>
                        </a:lnTo>
                        <a:lnTo>
                          <a:pt x="42" y="128"/>
                        </a:lnTo>
                        <a:lnTo>
                          <a:pt x="40" y="128"/>
                        </a:lnTo>
                        <a:lnTo>
                          <a:pt x="40" y="126"/>
                        </a:lnTo>
                        <a:lnTo>
                          <a:pt x="38" y="126"/>
                        </a:lnTo>
                        <a:lnTo>
                          <a:pt x="38" y="128"/>
                        </a:lnTo>
                        <a:lnTo>
                          <a:pt x="40" y="130"/>
                        </a:lnTo>
                        <a:lnTo>
                          <a:pt x="42" y="130"/>
                        </a:lnTo>
                        <a:lnTo>
                          <a:pt x="44" y="130"/>
                        </a:lnTo>
                        <a:lnTo>
                          <a:pt x="44" y="132"/>
                        </a:lnTo>
                        <a:lnTo>
                          <a:pt x="44" y="134"/>
                        </a:lnTo>
                        <a:lnTo>
                          <a:pt x="40" y="138"/>
                        </a:lnTo>
                        <a:lnTo>
                          <a:pt x="38" y="136"/>
                        </a:lnTo>
                        <a:lnTo>
                          <a:pt x="38" y="132"/>
                        </a:lnTo>
                        <a:lnTo>
                          <a:pt x="38" y="130"/>
                        </a:lnTo>
                        <a:lnTo>
                          <a:pt x="36" y="130"/>
                        </a:lnTo>
                        <a:lnTo>
                          <a:pt x="34" y="130"/>
                        </a:lnTo>
                        <a:lnTo>
                          <a:pt x="34" y="132"/>
                        </a:lnTo>
                        <a:lnTo>
                          <a:pt x="34" y="134"/>
                        </a:lnTo>
                        <a:lnTo>
                          <a:pt x="36" y="136"/>
                        </a:lnTo>
                        <a:lnTo>
                          <a:pt x="36" y="138"/>
                        </a:lnTo>
                        <a:lnTo>
                          <a:pt x="34" y="142"/>
                        </a:lnTo>
                        <a:lnTo>
                          <a:pt x="32" y="144"/>
                        </a:lnTo>
                        <a:lnTo>
                          <a:pt x="30" y="140"/>
                        </a:lnTo>
                        <a:lnTo>
                          <a:pt x="26" y="140"/>
                        </a:lnTo>
                        <a:lnTo>
                          <a:pt x="26" y="138"/>
                        </a:lnTo>
                        <a:lnTo>
                          <a:pt x="30" y="138"/>
                        </a:lnTo>
                        <a:lnTo>
                          <a:pt x="28" y="138"/>
                        </a:lnTo>
                        <a:lnTo>
                          <a:pt x="30" y="138"/>
                        </a:lnTo>
                        <a:lnTo>
                          <a:pt x="32" y="136"/>
                        </a:lnTo>
                        <a:lnTo>
                          <a:pt x="32" y="132"/>
                        </a:lnTo>
                        <a:lnTo>
                          <a:pt x="30" y="134"/>
                        </a:lnTo>
                        <a:lnTo>
                          <a:pt x="24" y="138"/>
                        </a:lnTo>
                        <a:lnTo>
                          <a:pt x="24" y="140"/>
                        </a:lnTo>
                        <a:lnTo>
                          <a:pt x="22" y="142"/>
                        </a:lnTo>
                        <a:lnTo>
                          <a:pt x="20" y="144"/>
                        </a:lnTo>
                        <a:lnTo>
                          <a:pt x="18" y="144"/>
                        </a:lnTo>
                        <a:lnTo>
                          <a:pt x="18" y="138"/>
                        </a:lnTo>
                        <a:lnTo>
                          <a:pt x="16" y="138"/>
                        </a:lnTo>
                        <a:lnTo>
                          <a:pt x="12" y="148"/>
                        </a:lnTo>
                        <a:lnTo>
                          <a:pt x="10" y="148"/>
                        </a:lnTo>
                        <a:lnTo>
                          <a:pt x="8" y="146"/>
                        </a:lnTo>
                        <a:lnTo>
                          <a:pt x="8" y="142"/>
                        </a:lnTo>
                        <a:lnTo>
                          <a:pt x="6" y="140"/>
                        </a:lnTo>
                        <a:lnTo>
                          <a:pt x="4" y="138"/>
                        </a:lnTo>
                        <a:lnTo>
                          <a:pt x="4" y="136"/>
                        </a:lnTo>
                        <a:lnTo>
                          <a:pt x="2" y="136"/>
                        </a:lnTo>
                        <a:lnTo>
                          <a:pt x="4" y="132"/>
                        </a:lnTo>
                        <a:lnTo>
                          <a:pt x="6" y="134"/>
                        </a:lnTo>
                        <a:lnTo>
                          <a:pt x="6" y="138"/>
                        </a:lnTo>
                        <a:lnTo>
                          <a:pt x="8" y="138"/>
                        </a:lnTo>
                        <a:lnTo>
                          <a:pt x="8" y="136"/>
                        </a:lnTo>
                        <a:lnTo>
                          <a:pt x="10" y="138"/>
                        </a:lnTo>
                        <a:lnTo>
                          <a:pt x="12" y="138"/>
                        </a:lnTo>
                        <a:lnTo>
                          <a:pt x="10" y="134"/>
                        </a:lnTo>
                        <a:lnTo>
                          <a:pt x="8" y="134"/>
                        </a:lnTo>
                        <a:lnTo>
                          <a:pt x="10" y="132"/>
                        </a:lnTo>
                        <a:lnTo>
                          <a:pt x="12" y="132"/>
                        </a:lnTo>
                        <a:lnTo>
                          <a:pt x="14" y="130"/>
                        </a:lnTo>
                        <a:lnTo>
                          <a:pt x="12" y="128"/>
                        </a:lnTo>
                        <a:lnTo>
                          <a:pt x="10" y="128"/>
                        </a:lnTo>
                        <a:lnTo>
                          <a:pt x="10" y="130"/>
                        </a:lnTo>
                        <a:lnTo>
                          <a:pt x="10" y="132"/>
                        </a:lnTo>
                        <a:lnTo>
                          <a:pt x="6" y="132"/>
                        </a:lnTo>
                        <a:lnTo>
                          <a:pt x="8" y="126"/>
                        </a:lnTo>
                        <a:lnTo>
                          <a:pt x="6" y="126"/>
                        </a:lnTo>
                        <a:lnTo>
                          <a:pt x="2" y="120"/>
                        </a:lnTo>
                        <a:lnTo>
                          <a:pt x="6" y="120"/>
                        </a:lnTo>
                        <a:lnTo>
                          <a:pt x="6" y="122"/>
                        </a:lnTo>
                        <a:lnTo>
                          <a:pt x="6" y="124"/>
                        </a:lnTo>
                        <a:lnTo>
                          <a:pt x="8" y="122"/>
                        </a:lnTo>
                        <a:lnTo>
                          <a:pt x="8" y="120"/>
                        </a:lnTo>
                        <a:lnTo>
                          <a:pt x="6" y="120"/>
                        </a:lnTo>
                        <a:lnTo>
                          <a:pt x="6" y="114"/>
                        </a:lnTo>
                        <a:lnTo>
                          <a:pt x="8" y="110"/>
                        </a:lnTo>
                        <a:lnTo>
                          <a:pt x="8" y="108"/>
                        </a:lnTo>
                        <a:lnTo>
                          <a:pt x="10" y="106"/>
                        </a:lnTo>
                        <a:lnTo>
                          <a:pt x="14" y="106"/>
                        </a:lnTo>
                        <a:lnTo>
                          <a:pt x="14" y="104"/>
                        </a:lnTo>
                        <a:lnTo>
                          <a:pt x="8" y="104"/>
                        </a:lnTo>
                        <a:lnTo>
                          <a:pt x="16" y="98"/>
                        </a:lnTo>
                        <a:lnTo>
                          <a:pt x="18" y="96"/>
                        </a:lnTo>
                        <a:lnTo>
                          <a:pt x="18" y="94"/>
                        </a:lnTo>
                        <a:lnTo>
                          <a:pt x="12" y="94"/>
                        </a:lnTo>
                        <a:lnTo>
                          <a:pt x="12" y="92"/>
                        </a:lnTo>
                        <a:lnTo>
                          <a:pt x="16" y="92"/>
                        </a:lnTo>
                        <a:lnTo>
                          <a:pt x="20" y="90"/>
                        </a:lnTo>
                        <a:lnTo>
                          <a:pt x="20" y="8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6" name="Freeform 3212"/>
                  <p:cNvSpPr>
                    <a:spLocks/>
                  </p:cNvSpPr>
                  <p:nvPr/>
                </p:nvSpPr>
                <p:spPr bwMode="auto">
                  <a:xfrm>
                    <a:off x="3372" y="2684"/>
                    <a:ext cx="22" cy="12"/>
                  </a:xfrm>
                  <a:custGeom>
                    <a:avLst/>
                    <a:gdLst/>
                    <a:ahLst/>
                    <a:cxnLst>
                      <a:cxn ang="0">
                        <a:pos x="18" y="2"/>
                      </a:cxn>
                      <a:cxn ang="0">
                        <a:pos x="20" y="2"/>
                      </a:cxn>
                      <a:cxn ang="0">
                        <a:pos x="22" y="4"/>
                      </a:cxn>
                      <a:cxn ang="0">
                        <a:pos x="20" y="6"/>
                      </a:cxn>
                      <a:cxn ang="0">
                        <a:pos x="18" y="8"/>
                      </a:cxn>
                      <a:cxn ang="0">
                        <a:pos x="16" y="8"/>
                      </a:cxn>
                      <a:cxn ang="0">
                        <a:pos x="16" y="10"/>
                      </a:cxn>
                      <a:cxn ang="0">
                        <a:pos x="12" y="10"/>
                      </a:cxn>
                      <a:cxn ang="0">
                        <a:pos x="10" y="12"/>
                      </a:cxn>
                      <a:cxn ang="0">
                        <a:pos x="8" y="12"/>
                      </a:cxn>
                      <a:cxn ang="0">
                        <a:pos x="8" y="10"/>
                      </a:cxn>
                      <a:cxn ang="0">
                        <a:pos x="6" y="10"/>
                      </a:cxn>
                      <a:cxn ang="0">
                        <a:pos x="6" y="12"/>
                      </a:cxn>
                      <a:cxn ang="0">
                        <a:pos x="4" y="12"/>
                      </a:cxn>
                      <a:cxn ang="0">
                        <a:pos x="2" y="12"/>
                      </a:cxn>
                      <a:cxn ang="0">
                        <a:pos x="2" y="10"/>
                      </a:cxn>
                      <a:cxn ang="0">
                        <a:pos x="0" y="10"/>
                      </a:cxn>
                      <a:cxn ang="0">
                        <a:pos x="0" y="8"/>
                      </a:cxn>
                      <a:cxn ang="0">
                        <a:pos x="4" y="4"/>
                      </a:cxn>
                      <a:cxn ang="0">
                        <a:pos x="12" y="2"/>
                      </a:cxn>
                      <a:cxn ang="0">
                        <a:pos x="14" y="2"/>
                      </a:cxn>
                      <a:cxn ang="0">
                        <a:pos x="18" y="0"/>
                      </a:cxn>
                      <a:cxn ang="0">
                        <a:pos x="18" y="2"/>
                      </a:cxn>
                    </a:cxnLst>
                    <a:rect l="0" t="0" r="r" b="b"/>
                    <a:pathLst>
                      <a:path w="22" h="12">
                        <a:moveTo>
                          <a:pt x="18" y="2"/>
                        </a:moveTo>
                        <a:lnTo>
                          <a:pt x="20" y="2"/>
                        </a:lnTo>
                        <a:lnTo>
                          <a:pt x="22" y="4"/>
                        </a:lnTo>
                        <a:lnTo>
                          <a:pt x="20" y="6"/>
                        </a:lnTo>
                        <a:lnTo>
                          <a:pt x="18" y="8"/>
                        </a:lnTo>
                        <a:lnTo>
                          <a:pt x="16" y="8"/>
                        </a:lnTo>
                        <a:lnTo>
                          <a:pt x="16" y="10"/>
                        </a:lnTo>
                        <a:lnTo>
                          <a:pt x="12" y="10"/>
                        </a:lnTo>
                        <a:lnTo>
                          <a:pt x="10" y="12"/>
                        </a:lnTo>
                        <a:lnTo>
                          <a:pt x="8" y="12"/>
                        </a:lnTo>
                        <a:lnTo>
                          <a:pt x="8" y="10"/>
                        </a:lnTo>
                        <a:lnTo>
                          <a:pt x="6" y="10"/>
                        </a:lnTo>
                        <a:lnTo>
                          <a:pt x="6" y="12"/>
                        </a:lnTo>
                        <a:lnTo>
                          <a:pt x="4" y="12"/>
                        </a:lnTo>
                        <a:lnTo>
                          <a:pt x="2" y="12"/>
                        </a:lnTo>
                        <a:lnTo>
                          <a:pt x="2" y="10"/>
                        </a:lnTo>
                        <a:lnTo>
                          <a:pt x="0" y="10"/>
                        </a:lnTo>
                        <a:lnTo>
                          <a:pt x="0" y="8"/>
                        </a:lnTo>
                        <a:lnTo>
                          <a:pt x="4" y="4"/>
                        </a:lnTo>
                        <a:lnTo>
                          <a:pt x="12" y="2"/>
                        </a:lnTo>
                        <a:lnTo>
                          <a:pt x="14" y="2"/>
                        </a:lnTo>
                        <a:lnTo>
                          <a:pt x="18" y="0"/>
                        </a:lnTo>
                        <a:lnTo>
                          <a:pt x="18"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475" name="Group 3213"/>
                <p:cNvGrpSpPr>
                  <a:grpSpLocks/>
                </p:cNvGrpSpPr>
                <p:nvPr/>
              </p:nvGrpSpPr>
              <p:grpSpPr bwMode="auto">
                <a:xfrm>
                  <a:off x="3215744" y="3615706"/>
                  <a:ext cx="1666427" cy="1774475"/>
                  <a:chOff x="1784" y="2620"/>
                  <a:chExt cx="802" cy="854"/>
                </a:xfrm>
                <a:solidFill>
                  <a:srgbClr val="665546"/>
                </a:solidFill>
              </p:grpSpPr>
              <p:sp>
                <p:nvSpPr>
                  <p:cNvPr id="512" name="Freeform 3214"/>
                  <p:cNvSpPr>
                    <a:spLocks/>
                  </p:cNvSpPr>
                  <p:nvPr/>
                </p:nvSpPr>
                <p:spPr bwMode="auto">
                  <a:xfrm>
                    <a:off x="1784" y="2620"/>
                    <a:ext cx="802" cy="818"/>
                  </a:xfrm>
                  <a:custGeom>
                    <a:avLst/>
                    <a:gdLst/>
                    <a:ahLst/>
                    <a:cxnLst>
                      <a:cxn ang="0">
                        <a:pos x="126" y="414"/>
                      </a:cxn>
                      <a:cxn ang="0">
                        <a:pos x="112" y="430"/>
                      </a:cxn>
                      <a:cxn ang="0">
                        <a:pos x="26" y="408"/>
                      </a:cxn>
                      <a:cxn ang="0">
                        <a:pos x="44" y="400"/>
                      </a:cxn>
                      <a:cxn ang="0">
                        <a:pos x="18" y="354"/>
                      </a:cxn>
                      <a:cxn ang="0">
                        <a:pos x="80" y="350"/>
                      </a:cxn>
                      <a:cxn ang="0">
                        <a:pos x="56" y="298"/>
                      </a:cxn>
                      <a:cxn ang="0">
                        <a:pos x="70" y="246"/>
                      </a:cxn>
                      <a:cxn ang="0">
                        <a:pos x="132" y="208"/>
                      </a:cxn>
                      <a:cxn ang="0">
                        <a:pos x="180" y="144"/>
                      </a:cxn>
                      <a:cxn ang="0">
                        <a:pos x="198" y="106"/>
                      </a:cxn>
                      <a:cxn ang="0">
                        <a:pos x="162" y="62"/>
                      </a:cxn>
                      <a:cxn ang="0">
                        <a:pos x="158" y="32"/>
                      </a:cxn>
                      <a:cxn ang="0">
                        <a:pos x="216" y="28"/>
                      </a:cxn>
                      <a:cxn ang="0">
                        <a:pos x="274" y="0"/>
                      </a:cxn>
                      <a:cxn ang="0">
                        <a:pos x="294" y="66"/>
                      </a:cxn>
                      <a:cxn ang="0">
                        <a:pos x="292" y="98"/>
                      </a:cxn>
                      <a:cxn ang="0">
                        <a:pos x="292" y="130"/>
                      </a:cxn>
                      <a:cxn ang="0">
                        <a:pos x="340" y="164"/>
                      </a:cxn>
                      <a:cxn ang="0">
                        <a:pos x="328" y="212"/>
                      </a:cxn>
                      <a:cxn ang="0">
                        <a:pos x="406" y="258"/>
                      </a:cxn>
                      <a:cxn ang="0">
                        <a:pos x="458" y="272"/>
                      </a:cxn>
                      <a:cxn ang="0">
                        <a:pos x="510" y="290"/>
                      </a:cxn>
                      <a:cxn ang="0">
                        <a:pos x="546" y="256"/>
                      </a:cxn>
                      <a:cxn ang="0">
                        <a:pos x="566" y="266"/>
                      </a:cxn>
                      <a:cxn ang="0">
                        <a:pos x="610" y="276"/>
                      </a:cxn>
                      <a:cxn ang="0">
                        <a:pos x="656" y="262"/>
                      </a:cxn>
                      <a:cxn ang="0">
                        <a:pos x="674" y="242"/>
                      </a:cxn>
                      <a:cxn ang="0">
                        <a:pos x="714" y="212"/>
                      </a:cxn>
                      <a:cxn ang="0">
                        <a:pos x="774" y="200"/>
                      </a:cxn>
                      <a:cxn ang="0">
                        <a:pos x="784" y="228"/>
                      </a:cxn>
                      <a:cxn ang="0">
                        <a:pos x="786" y="266"/>
                      </a:cxn>
                      <a:cxn ang="0">
                        <a:pos x="740" y="284"/>
                      </a:cxn>
                      <a:cxn ang="0">
                        <a:pos x="700" y="362"/>
                      </a:cxn>
                      <a:cxn ang="0">
                        <a:pos x="684" y="406"/>
                      </a:cxn>
                      <a:cxn ang="0">
                        <a:pos x="664" y="388"/>
                      </a:cxn>
                      <a:cxn ang="0">
                        <a:pos x="648" y="386"/>
                      </a:cxn>
                      <a:cxn ang="0">
                        <a:pos x="636" y="360"/>
                      </a:cxn>
                      <a:cxn ang="0">
                        <a:pos x="666" y="336"/>
                      </a:cxn>
                      <a:cxn ang="0">
                        <a:pos x="594" y="318"/>
                      </a:cxn>
                      <a:cxn ang="0">
                        <a:pos x="574" y="294"/>
                      </a:cxn>
                      <a:cxn ang="0">
                        <a:pos x="556" y="312"/>
                      </a:cxn>
                      <a:cxn ang="0">
                        <a:pos x="548" y="336"/>
                      </a:cxn>
                      <a:cxn ang="0">
                        <a:pos x="564" y="384"/>
                      </a:cxn>
                      <a:cxn ang="0">
                        <a:pos x="564" y="436"/>
                      </a:cxn>
                      <a:cxn ang="0">
                        <a:pos x="556" y="426"/>
                      </a:cxn>
                      <a:cxn ang="0">
                        <a:pos x="542" y="412"/>
                      </a:cxn>
                      <a:cxn ang="0">
                        <a:pos x="516" y="458"/>
                      </a:cxn>
                      <a:cxn ang="0">
                        <a:pos x="476" y="490"/>
                      </a:cxn>
                      <a:cxn ang="0">
                        <a:pos x="472" y="494"/>
                      </a:cxn>
                      <a:cxn ang="0">
                        <a:pos x="394" y="560"/>
                      </a:cxn>
                      <a:cxn ang="0">
                        <a:pos x="352" y="602"/>
                      </a:cxn>
                      <a:cxn ang="0">
                        <a:pos x="332" y="658"/>
                      </a:cxn>
                      <a:cxn ang="0">
                        <a:pos x="320" y="724"/>
                      </a:cxn>
                      <a:cxn ang="0">
                        <a:pos x="308" y="786"/>
                      </a:cxn>
                      <a:cxn ang="0">
                        <a:pos x="232" y="794"/>
                      </a:cxn>
                      <a:cxn ang="0">
                        <a:pos x="230" y="778"/>
                      </a:cxn>
                      <a:cxn ang="0">
                        <a:pos x="184" y="686"/>
                      </a:cxn>
                      <a:cxn ang="0">
                        <a:pos x="156" y="612"/>
                      </a:cxn>
                      <a:cxn ang="0">
                        <a:pos x="134" y="540"/>
                      </a:cxn>
                      <a:cxn ang="0">
                        <a:pos x="130" y="500"/>
                      </a:cxn>
                      <a:cxn ang="0">
                        <a:pos x="126" y="450"/>
                      </a:cxn>
                    </a:cxnLst>
                    <a:rect l="0" t="0" r="r" b="b"/>
                    <a:pathLst>
                      <a:path w="802" h="818">
                        <a:moveTo>
                          <a:pt x="134" y="432"/>
                        </a:moveTo>
                        <a:lnTo>
                          <a:pt x="128" y="432"/>
                        </a:lnTo>
                        <a:lnTo>
                          <a:pt x="124" y="432"/>
                        </a:lnTo>
                        <a:lnTo>
                          <a:pt x="122" y="432"/>
                        </a:lnTo>
                        <a:lnTo>
                          <a:pt x="122" y="430"/>
                        </a:lnTo>
                        <a:lnTo>
                          <a:pt x="122" y="428"/>
                        </a:lnTo>
                        <a:lnTo>
                          <a:pt x="124" y="424"/>
                        </a:lnTo>
                        <a:lnTo>
                          <a:pt x="126" y="424"/>
                        </a:lnTo>
                        <a:lnTo>
                          <a:pt x="124" y="424"/>
                        </a:lnTo>
                        <a:lnTo>
                          <a:pt x="122" y="424"/>
                        </a:lnTo>
                        <a:lnTo>
                          <a:pt x="120" y="424"/>
                        </a:lnTo>
                        <a:lnTo>
                          <a:pt x="122" y="418"/>
                        </a:lnTo>
                        <a:lnTo>
                          <a:pt x="122" y="416"/>
                        </a:lnTo>
                        <a:lnTo>
                          <a:pt x="124" y="416"/>
                        </a:lnTo>
                        <a:lnTo>
                          <a:pt x="126" y="418"/>
                        </a:lnTo>
                        <a:lnTo>
                          <a:pt x="128" y="418"/>
                        </a:lnTo>
                        <a:lnTo>
                          <a:pt x="128" y="416"/>
                        </a:lnTo>
                        <a:lnTo>
                          <a:pt x="130" y="416"/>
                        </a:lnTo>
                        <a:lnTo>
                          <a:pt x="132" y="416"/>
                        </a:lnTo>
                        <a:lnTo>
                          <a:pt x="132" y="414"/>
                        </a:lnTo>
                        <a:lnTo>
                          <a:pt x="126" y="414"/>
                        </a:lnTo>
                        <a:lnTo>
                          <a:pt x="122" y="414"/>
                        </a:lnTo>
                        <a:lnTo>
                          <a:pt x="120" y="416"/>
                        </a:lnTo>
                        <a:lnTo>
                          <a:pt x="118" y="416"/>
                        </a:lnTo>
                        <a:lnTo>
                          <a:pt x="118" y="414"/>
                        </a:lnTo>
                        <a:lnTo>
                          <a:pt x="112" y="414"/>
                        </a:lnTo>
                        <a:lnTo>
                          <a:pt x="112" y="416"/>
                        </a:lnTo>
                        <a:lnTo>
                          <a:pt x="114" y="416"/>
                        </a:lnTo>
                        <a:lnTo>
                          <a:pt x="116" y="418"/>
                        </a:lnTo>
                        <a:lnTo>
                          <a:pt x="116" y="420"/>
                        </a:lnTo>
                        <a:lnTo>
                          <a:pt x="114" y="422"/>
                        </a:lnTo>
                        <a:lnTo>
                          <a:pt x="112" y="424"/>
                        </a:lnTo>
                        <a:lnTo>
                          <a:pt x="110" y="424"/>
                        </a:lnTo>
                        <a:lnTo>
                          <a:pt x="108" y="424"/>
                        </a:lnTo>
                        <a:lnTo>
                          <a:pt x="110" y="424"/>
                        </a:lnTo>
                        <a:lnTo>
                          <a:pt x="112" y="424"/>
                        </a:lnTo>
                        <a:lnTo>
                          <a:pt x="112" y="428"/>
                        </a:lnTo>
                        <a:lnTo>
                          <a:pt x="108" y="428"/>
                        </a:lnTo>
                        <a:lnTo>
                          <a:pt x="106" y="426"/>
                        </a:lnTo>
                        <a:lnTo>
                          <a:pt x="106" y="428"/>
                        </a:lnTo>
                        <a:lnTo>
                          <a:pt x="108" y="430"/>
                        </a:lnTo>
                        <a:lnTo>
                          <a:pt x="112" y="430"/>
                        </a:lnTo>
                        <a:lnTo>
                          <a:pt x="114" y="432"/>
                        </a:lnTo>
                        <a:lnTo>
                          <a:pt x="114" y="434"/>
                        </a:lnTo>
                        <a:lnTo>
                          <a:pt x="114" y="438"/>
                        </a:lnTo>
                        <a:lnTo>
                          <a:pt x="110" y="442"/>
                        </a:lnTo>
                        <a:lnTo>
                          <a:pt x="110" y="446"/>
                        </a:lnTo>
                        <a:lnTo>
                          <a:pt x="108" y="446"/>
                        </a:lnTo>
                        <a:lnTo>
                          <a:pt x="106" y="448"/>
                        </a:lnTo>
                        <a:lnTo>
                          <a:pt x="86" y="458"/>
                        </a:lnTo>
                        <a:lnTo>
                          <a:pt x="84" y="458"/>
                        </a:lnTo>
                        <a:lnTo>
                          <a:pt x="78" y="460"/>
                        </a:lnTo>
                        <a:lnTo>
                          <a:pt x="74" y="460"/>
                        </a:lnTo>
                        <a:lnTo>
                          <a:pt x="58" y="452"/>
                        </a:lnTo>
                        <a:lnTo>
                          <a:pt x="42" y="434"/>
                        </a:lnTo>
                        <a:lnTo>
                          <a:pt x="40" y="434"/>
                        </a:lnTo>
                        <a:lnTo>
                          <a:pt x="40" y="432"/>
                        </a:lnTo>
                        <a:lnTo>
                          <a:pt x="24" y="418"/>
                        </a:lnTo>
                        <a:lnTo>
                          <a:pt x="24" y="416"/>
                        </a:lnTo>
                        <a:lnTo>
                          <a:pt x="24" y="414"/>
                        </a:lnTo>
                        <a:lnTo>
                          <a:pt x="24" y="412"/>
                        </a:lnTo>
                        <a:lnTo>
                          <a:pt x="24" y="410"/>
                        </a:lnTo>
                        <a:lnTo>
                          <a:pt x="26" y="408"/>
                        </a:lnTo>
                        <a:lnTo>
                          <a:pt x="30" y="410"/>
                        </a:lnTo>
                        <a:lnTo>
                          <a:pt x="30" y="414"/>
                        </a:lnTo>
                        <a:lnTo>
                          <a:pt x="32" y="414"/>
                        </a:lnTo>
                        <a:lnTo>
                          <a:pt x="50" y="408"/>
                        </a:lnTo>
                        <a:lnTo>
                          <a:pt x="52" y="406"/>
                        </a:lnTo>
                        <a:lnTo>
                          <a:pt x="58" y="406"/>
                        </a:lnTo>
                        <a:lnTo>
                          <a:pt x="60" y="398"/>
                        </a:lnTo>
                        <a:lnTo>
                          <a:pt x="62" y="396"/>
                        </a:lnTo>
                        <a:lnTo>
                          <a:pt x="64" y="394"/>
                        </a:lnTo>
                        <a:lnTo>
                          <a:pt x="66" y="394"/>
                        </a:lnTo>
                        <a:lnTo>
                          <a:pt x="66" y="392"/>
                        </a:lnTo>
                        <a:lnTo>
                          <a:pt x="66" y="390"/>
                        </a:lnTo>
                        <a:lnTo>
                          <a:pt x="64" y="388"/>
                        </a:lnTo>
                        <a:lnTo>
                          <a:pt x="64" y="390"/>
                        </a:lnTo>
                        <a:lnTo>
                          <a:pt x="64" y="394"/>
                        </a:lnTo>
                        <a:lnTo>
                          <a:pt x="62" y="394"/>
                        </a:lnTo>
                        <a:lnTo>
                          <a:pt x="60" y="394"/>
                        </a:lnTo>
                        <a:lnTo>
                          <a:pt x="58" y="394"/>
                        </a:lnTo>
                        <a:lnTo>
                          <a:pt x="48" y="398"/>
                        </a:lnTo>
                        <a:lnTo>
                          <a:pt x="46" y="398"/>
                        </a:lnTo>
                        <a:lnTo>
                          <a:pt x="44" y="400"/>
                        </a:lnTo>
                        <a:lnTo>
                          <a:pt x="32" y="398"/>
                        </a:lnTo>
                        <a:lnTo>
                          <a:pt x="30" y="398"/>
                        </a:lnTo>
                        <a:lnTo>
                          <a:pt x="28" y="396"/>
                        </a:lnTo>
                        <a:lnTo>
                          <a:pt x="24" y="394"/>
                        </a:lnTo>
                        <a:lnTo>
                          <a:pt x="22" y="392"/>
                        </a:lnTo>
                        <a:lnTo>
                          <a:pt x="18" y="390"/>
                        </a:lnTo>
                        <a:lnTo>
                          <a:pt x="12" y="384"/>
                        </a:lnTo>
                        <a:lnTo>
                          <a:pt x="8" y="378"/>
                        </a:lnTo>
                        <a:lnTo>
                          <a:pt x="8" y="374"/>
                        </a:lnTo>
                        <a:lnTo>
                          <a:pt x="18" y="368"/>
                        </a:lnTo>
                        <a:lnTo>
                          <a:pt x="14" y="368"/>
                        </a:lnTo>
                        <a:lnTo>
                          <a:pt x="6" y="374"/>
                        </a:lnTo>
                        <a:lnTo>
                          <a:pt x="6" y="376"/>
                        </a:lnTo>
                        <a:lnTo>
                          <a:pt x="2" y="376"/>
                        </a:lnTo>
                        <a:lnTo>
                          <a:pt x="0" y="374"/>
                        </a:lnTo>
                        <a:lnTo>
                          <a:pt x="2" y="374"/>
                        </a:lnTo>
                        <a:lnTo>
                          <a:pt x="2" y="368"/>
                        </a:lnTo>
                        <a:lnTo>
                          <a:pt x="6" y="364"/>
                        </a:lnTo>
                        <a:lnTo>
                          <a:pt x="8" y="364"/>
                        </a:lnTo>
                        <a:lnTo>
                          <a:pt x="18" y="364"/>
                        </a:lnTo>
                        <a:lnTo>
                          <a:pt x="18" y="354"/>
                        </a:lnTo>
                        <a:lnTo>
                          <a:pt x="18" y="352"/>
                        </a:lnTo>
                        <a:lnTo>
                          <a:pt x="24" y="352"/>
                        </a:lnTo>
                        <a:lnTo>
                          <a:pt x="24" y="354"/>
                        </a:lnTo>
                        <a:lnTo>
                          <a:pt x="26" y="354"/>
                        </a:lnTo>
                        <a:lnTo>
                          <a:pt x="40" y="354"/>
                        </a:lnTo>
                        <a:lnTo>
                          <a:pt x="44" y="358"/>
                        </a:lnTo>
                        <a:lnTo>
                          <a:pt x="52" y="358"/>
                        </a:lnTo>
                        <a:lnTo>
                          <a:pt x="54" y="358"/>
                        </a:lnTo>
                        <a:lnTo>
                          <a:pt x="54" y="356"/>
                        </a:lnTo>
                        <a:lnTo>
                          <a:pt x="56" y="354"/>
                        </a:lnTo>
                        <a:lnTo>
                          <a:pt x="58" y="354"/>
                        </a:lnTo>
                        <a:lnTo>
                          <a:pt x="68" y="350"/>
                        </a:lnTo>
                        <a:lnTo>
                          <a:pt x="68" y="352"/>
                        </a:lnTo>
                        <a:lnTo>
                          <a:pt x="68" y="354"/>
                        </a:lnTo>
                        <a:lnTo>
                          <a:pt x="70" y="356"/>
                        </a:lnTo>
                        <a:lnTo>
                          <a:pt x="74" y="356"/>
                        </a:lnTo>
                        <a:lnTo>
                          <a:pt x="76" y="354"/>
                        </a:lnTo>
                        <a:lnTo>
                          <a:pt x="78" y="352"/>
                        </a:lnTo>
                        <a:lnTo>
                          <a:pt x="80" y="352"/>
                        </a:lnTo>
                        <a:lnTo>
                          <a:pt x="82" y="350"/>
                        </a:lnTo>
                        <a:lnTo>
                          <a:pt x="80" y="350"/>
                        </a:lnTo>
                        <a:lnTo>
                          <a:pt x="80" y="348"/>
                        </a:lnTo>
                        <a:lnTo>
                          <a:pt x="78" y="346"/>
                        </a:lnTo>
                        <a:lnTo>
                          <a:pt x="78" y="344"/>
                        </a:lnTo>
                        <a:lnTo>
                          <a:pt x="80" y="344"/>
                        </a:lnTo>
                        <a:lnTo>
                          <a:pt x="82" y="342"/>
                        </a:lnTo>
                        <a:lnTo>
                          <a:pt x="80" y="338"/>
                        </a:lnTo>
                        <a:lnTo>
                          <a:pt x="78" y="336"/>
                        </a:lnTo>
                        <a:lnTo>
                          <a:pt x="78" y="334"/>
                        </a:lnTo>
                        <a:lnTo>
                          <a:pt x="76" y="332"/>
                        </a:lnTo>
                        <a:lnTo>
                          <a:pt x="76" y="330"/>
                        </a:lnTo>
                        <a:lnTo>
                          <a:pt x="76" y="328"/>
                        </a:lnTo>
                        <a:lnTo>
                          <a:pt x="72" y="324"/>
                        </a:lnTo>
                        <a:lnTo>
                          <a:pt x="70" y="320"/>
                        </a:lnTo>
                        <a:lnTo>
                          <a:pt x="70" y="314"/>
                        </a:lnTo>
                        <a:lnTo>
                          <a:pt x="70" y="312"/>
                        </a:lnTo>
                        <a:lnTo>
                          <a:pt x="68" y="312"/>
                        </a:lnTo>
                        <a:lnTo>
                          <a:pt x="62" y="312"/>
                        </a:lnTo>
                        <a:lnTo>
                          <a:pt x="60" y="312"/>
                        </a:lnTo>
                        <a:lnTo>
                          <a:pt x="54" y="304"/>
                        </a:lnTo>
                        <a:lnTo>
                          <a:pt x="54" y="300"/>
                        </a:lnTo>
                        <a:lnTo>
                          <a:pt x="56" y="298"/>
                        </a:lnTo>
                        <a:lnTo>
                          <a:pt x="56" y="296"/>
                        </a:lnTo>
                        <a:lnTo>
                          <a:pt x="58" y="286"/>
                        </a:lnTo>
                        <a:lnTo>
                          <a:pt x="56" y="286"/>
                        </a:lnTo>
                        <a:lnTo>
                          <a:pt x="54" y="284"/>
                        </a:lnTo>
                        <a:lnTo>
                          <a:pt x="46" y="284"/>
                        </a:lnTo>
                        <a:lnTo>
                          <a:pt x="44" y="282"/>
                        </a:lnTo>
                        <a:lnTo>
                          <a:pt x="42" y="282"/>
                        </a:lnTo>
                        <a:lnTo>
                          <a:pt x="40" y="280"/>
                        </a:lnTo>
                        <a:lnTo>
                          <a:pt x="38" y="280"/>
                        </a:lnTo>
                        <a:lnTo>
                          <a:pt x="38" y="278"/>
                        </a:lnTo>
                        <a:lnTo>
                          <a:pt x="40" y="266"/>
                        </a:lnTo>
                        <a:lnTo>
                          <a:pt x="44" y="264"/>
                        </a:lnTo>
                        <a:lnTo>
                          <a:pt x="48" y="260"/>
                        </a:lnTo>
                        <a:lnTo>
                          <a:pt x="52" y="254"/>
                        </a:lnTo>
                        <a:lnTo>
                          <a:pt x="54" y="252"/>
                        </a:lnTo>
                        <a:lnTo>
                          <a:pt x="54" y="250"/>
                        </a:lnTo>
                        <a:lnTo>
                          <a:pt x="58" y="244"/>
                        </a:lnTo>
                        <a:lnTo>
                          <a:pt x="62" y="240"/>
                        </a:lnTo>
                        <a:lnTo>
                          <a:pt x="68" y="240"/>
                        </a:lnTo>
                        <a:lnTo>
                          <a:pt x="70" y="242"/>
                        </a:lnTo>
                        <a:lnTo>
                          <a:pt x="70" y="246"/>
                        </a:lnTo>
                        <a:lnTo>
                          <a:pt x="74" y="250"/>
                        </a:lnTo>
                        <a:lnTo>
                          <a:pt x="76" y="250"/>
                        </a:lnTo>
                        <a:lnTo>
                          <a:pt x="82" y="248"/>
                        </a:lnTo>
                        <a:lnTo>
                          <a:pt x="84" y="248"/>
                        </a:lnTo>
                        <a:lnTo>
                          <a:pt x="84" y="246"/>
                        </a:lnTo>
                        <a:lnTo>
                          <a:pt x="86" y="246"/>
                        </a:lnTo>
                        <a:lnTo>
                          <a:pt x="88" y="246"/>
                        </a:lnTo>
                        <a:lnTo>
                          <a:pt x="96" y="246"/>
                        </a:lnTo>
                        <a:lnTo>
                          <a:pt x="96" y="244"/>
                        </a:lnTo>
                        <a:lnTo>
                          <a:pt x="98" y="244"/>
                        </a:lnTo>
                        <a:lnTo>
                          <a:pt x="104" y="242"/>
                        </a:lnTo>
                        <a:lnTo>
                          <a:pt x="104" y="238"/>
                        </a:lnTo>
                        <a:lnTo>
                          <a:pt x="106" y="234"/>
                        </a:lnTo>
                        <a:lnTo>
                          <a:pt x="110" y="232"/>
                        </a:lnTo>
                        <a:lnTo>
                          <a:pt x="110" y="230"/>
                        </a:lnTo>
                        <a:lnTo>
                          <a:pt x="112" y="228"/>
                        </a:lnTo>
                        <a:lnTo>
                          <a:pt x="114" y="220"/>
                        </a:lnTo>
                        <a:lnTo>
                          <a:pt x="118" y="218"/>
                        </a:lnTo>
                        <a:lnTo>
                          <a:pt x="126" y="212"/>
                        </a:lnTo>
                        <a:lnTo>
                          <a:pt x="130" y="210"/>
                        </a:lnTo>
                        <a:lnTo>
                          <a:pt x="132" y="208"/>
                        </a:lnTo>
                        <a:lnTo>
                          <a:pt x="134" y="206"/>
                        </a:lnTo>
                        <a:lnTo>
                          <a:pt x="134" y="204"/>
                        </a:lnTo>
                        <a:lnTo>
                          <a:pt x="136" y="202"/>
                        </a:lnTo>
                        <a:lnTo>
                          <a:pt x="140" y="192"/>
                        </a:lnTo>
                        <a:lnTo>
                          <a:pt x="142" y="192"/>
                        </a:lnTo>
                        <a:lnTo>
                          <a:pt x="142" y="186"/>
                        </a:lnTo>
                        <a:lnTo>
                          <a:pt x="146" y="180"/>
                        </a:lnTo>
                        <a:lnTo>
                          <a:pt x="152" y="176"/>
                        </a:lnTo>
                        <a:lnTo>
                          <a:pt x="154" y="176"/>
                        </a:lnTo>
                        <a:lnTo>
                          <a:pt x="160" y="174"/>
                        </a:lnTo>
                        <a:lnTo>
                          <a:pt x="160" y="172"/>
                        </a:lnTo>
                        <a:lnTo>
                          <a:pt x="160" y="170"/>
                        </a:lnTo>
                        <a:lnTo>
                          <a:pt x="160" y="168"/>
                        </a:lnTo>
                        <a:lnTo>
                          <a:pt x="158" y="168"/>
                        </a:lnTo>
                        <a:lnTo>
                          <a:pt x="162" y="162"/>
                        </a:lnTo>
                        <a:lnTo>
                          <a:pt x="162" y="160"/>
                        </a:lnTo>
                        <a:lnTo>
                          <a:pt x="168" y="154"/>
                        </a:lnTo>
                        <a:lnTo>
                          <a:pt x="170" y="152"/>
                        </a:lnTo>
                        <a:lnTo>
                          <a:pt x="180" y="146"/>
                        </a:lnTo>
                        <a:lnTo>
                          <a:pt x="182" y="144"/>
                        </a:lnTo>
                        <a:lnTo>
                          <a:pt x="180" y="144"/>
                        </a:lnTo>
                        <a:lnTo>
                          <a:pt x="178" y="142"/>
                        </a:lnTo>
                        <a:lnTo>
                          <a:pt x="178" y="144"/>
                        </a:lnTo>
                        <a:lnTo>
                          <a:pt x="176" y="144"/>
                        </a:lnTo>
                        <a:lnTo>
                          <a:pt x="176" y="142"/>
                        </a:lnTo>
                        <a:lnTo>
                          <a:pt x="176" y="136"/>
                        </a:lnTo>
                        <a:lnTo>
                          <a:pt x="178" y="134"/>
                        </a:lnTo>
                        <a:lnTo>
                          <a:pt x="178" y="132"/>
                        </a:lnTo>
                        <a:lnTo>
                          <a:pt x="176" y="126"/>
                        </a:lnTo>
                        <a:lnTo>
                          <a:pt x="176" y="124"/>
                        </a:lnTo>
                        <a:lnTo>
                          <a:pt x="178" y="118"/>
                        </a:lnTo>
                        <a:lnTo>
                          <a:pt x="180" y="118"/>
                        </a:lnTo>
                        <a:lnTo>
                          <a:pt x="182" y="116"/>
                        </a:lnTo>
                        <a:lnTo>
                          <a:pt x="186" y="112"/>
                        </a:lnTo>
                        <a:lnTo>
                          <a:pt x="188" y="112"/>
                        </a:lnTo>
                        <a:lnTo>
                          <a:pt x="188" y="114"/>
                        </a:lnTo>
                        <a:lnTo>
                          <a:pt x="190" y="114"/>
                        </a:lnTo>
                        <a:lnTo>
                          <a:pt x="194" y="112"/>
                        </a:lnTo>
                        <a:lnTo>
                          <a:pt x="196" y="112"/>
                        </a:lnTo>
                        <a:lnTo>
                          <a:pt x="200" y="108"/>
                        </a:lnTo>
                        <a:lnTo>
                          <a:pt x="200" y="106"/>
                        </a:lnTo>
                        <a:lnTo>
                          <a:pt x="198" y="106"/>
                        </a:lnTo>
                        <a:lnTo>
                          <a:pt x="198" y="104"/>
                        </a:lnTo>
                        <a:lnTo>
                          <a:pt x="190" y="100"/>
                        </a:lnTo>
                        <a:lnTo>
                          <a:pt x="182" y="100"/>
                        </a:lnTo>
                        <a:lnTo>
                          <a:pt x="180" y="98"/>
                        </a:lnTo>
                        <a:lnTo>
                          <a:pt x="180" y="96"/>
                        </a:lnTo>
                        <a:lnTo>
                          <a:pt x="180" y="92"/>
                        </a:lnTo>
                        <a:lnTo>
                          <a:pt x="178" y="90"/>
                        </a:lnTo>
                        <a:lnTo>
                          <a:pt x="176" y="90"/>
                        </a:lnTo>
                        <a:lnTo>
                          <a:pt x="172" y="90"/>
                        </a:lnTo>
                        <a:lnTo>
                          <a:pt x="170" y="88"/>
                        </a:lnTo>
                        <a:lnTo>
                          <a:pt x="172" y="86"/>
                        </a:lnTo>
                        <a:lnTo>
                          <a:pt x="170" y="82"/>
                        </a:lnTo>
                        <a:lnTo>
                          <a:pt x="166" y="82"/>
                        </a:lnTo>
                        <a:lnTo>
                          <a:pt x="162" y="78"/>
                        </a:lnTo>
                        <a:lnTo>
                          <a:pt x="162" y="76"/>
                        </a:lnTo>
                        <a:lnTo>
                          <a:pt x="162" y="74"/>
                        </a:lnTo>
                        <a:lnTo>
                          <a:pt x="164" y="72"/>
                        </a:lnTo>
                        <a:lnTo>
                          <a:pt x="164" y="70"/>
                        </a:lnTo>
                        <a:lnTo>
                          <a:pt x="166" y="66"/>
                        </a:lnTo>
                        <a:lnTo>
                          <a:pt x="164" y="62"/>
                        </a:lnTo>
                        <a:lnTo>
                          <a:pt x="162" y="62"/>
                        </a:lnTo>
                        <a:lnTo>
                          <a:pt x="160" y="60"/>
                        </a:lnTo>
                        <a:lnTo>
                          <a:pt x="162" y="58"/>
                        </a:lnTo>
                        <a:lnTo>
                          <a:pt x="162" y="56"/>
                        </a:lnTo>
                        <a:lnTo>
                          <a:pt x="162" y="54"/>
                        </a:lnTo>
                        <a:lnTo>
                          <a:pt x="166" y="54"/>
                        </a:lnTo>
                        <a:lnTo>
                          <a:pt x="168" y="54"/>
                        </a:lnTo>
                        <a:lnTo>
                          <a:pt x="170" y="52"/>
                        </a:lnTo>
                        <a:lnTo>
                          <a:pt x="170" y="50"/>
                        </a:lnTo>
                        <a:lnTo>
                          <a:pt x="168" y="48"/>
                        </a:lnTo>
                        <a:lnTo>
                          <a:pt x="160" y="48"/>
                        </a:lnTo>
                        <a:lnTo>
                          <a:pt x="158" y="48"/>
                        </a:lnTo>
                        <a:lnTo>
                          <a:pt x="158" y="46"/>
                        </a:lnTo>
                        <a:lnTo>
                          <a:pt x="160" y="46"/>
                        </a:lnTo>
                        <a:lnTo>
                          <a:pt x="160" y="44"/>
                        </a:lnTo>
                        <a:lnTo>
                          <a:pt x="162" y="44"/>
                        </a:lnTo>
                        <a:lnTo>
                          <a:pt x="162" y="42"/>
                        </a:lnTo>
                        <a:lnTo>
                          <a:pt x="160" y="40"/>
                        </a:lnTo>
                        <a:lnTo>
                          <a:pt x="158" y="40"/>
                        </a:lnTo>
                        <a:lnTo>
                          <a:pt x="156" y="38"/>
                        </a:lnTo>
                        <a:lnTo>
                          <a:pt x="156" y="36"/>
                        </a:lnTo>
                        <a:lnTo>
                          <a:pt x="158" y="32"/>
                        </a:lnTo>
                        <a:lnTo>
                          <a:pt x="160" y="28"/>
                        </a:lnTo>
                        <a:lnTo>
                          <a:pt x="162" y="28"/>
                        </a:lnTo>
                        <a:lnTo>
                          <a:pt x="164" y="26"/>
                        </a:lnTo>
                        <a:lnTo>
                          <a:pt x="166" y="26"/>
                        </a:lnTo>
                        <a:lnTo>
                          <a:pt x="168" y="24"/>
                        </a:lnTo>
                        <a:lnTo>
                          <a:pt x="170" y="24"/>
                        </a:lnTo>
                        <a:lnTo>
                          <a:pt x="172" y="24"/>
                        </a:lnTo>
                        <a:lnTo>
                          <a:pt x="174" y="24"/>
                        </a:lnTo>
                        <a:lnTo>
                          <a:pt x="176" y="24"/>
                        </a:lnTo>
                        <a:lnTo>
                          <a:pt x="176" y="26"/>
                        </a:lnTo>
                        <a:lnTo>
                          <a:pt x="178" y="26"/>
                        </a:lnTo>
                        <a:lnTo>
                          <a:pt x="180" y="26"/>
                        </a:lnTo>
                        <a:lnTo>
                          <a:pt x="190" y="28"/>
                        </a:lnTo>
                        <a:lnTo>
                          <a:pt x="192" y="30"/>
                        </a:lnTo>
                        <a:lnTo>
                          <a:pt x="196" y="30"/>
                        </a:lnTo>
                        <a:lnTo>
                          <a:pt x="198" y="30"/>
                        </a:lnTo>
                        <a:lnTo>
                          <a:pt x="210" y="32"/>
                        </a:lnTo>
                        <a:lnTo>
                          <a:pt x="212" y="30"/>
                        </a:lnTo>
                        <a:lnTo>
                          <a:pt x="214" y="30"/>
                        </a:lnTo>
                        <a:lnTo>
                          <a:pt x="216" y="30"/>
                        </a:lnTo>
                        <a:lnTo>
                          <a:pt x="216" y="28"/>
                        </a:lnTo>
                        <a:lnTo>
                          <a:pt x="218" y="30"/>
                        </a:lnTo>
                        <a:lnTo>
                          <a:pt x="220" y="30"/>
                        </a:lnTo>
                        <a:lnTo>
                          <a:pt x="222" y="30"/>
                        </a:lnTo>
                        <a:lnTo>
                          <a:pt x="222" y="28"/>
                        </a:lnTo>
                        <a:lnTo>
                          <a:pt x="224" y="26"/>
                        </a:lnTo>
                        <a:lnTo>
                          <a:pt x="228" y="24"/>
                        </a:lnTo>
                        <a:lnTo>
                          <a:pt x="236" y="24"/>
                        </a:lnTo>
                        <a:lnTo>
                          <a:pt x="238" y="28"/>
                        </a:lnTo>
                        <a:lnTo>
                          <a:pt x="240" y="28"/>
                        </a:lnTo>
                        <a:lnTo>
                          <a:pt x="242" y="22"/>
                        </a:lnTo>
                        <a:lnTo>
                          <a:pt x="244" y="16"/>
                        </a:lnTo>
                        <a:lnTo>
                          <a:pt x="246" y="16"/>
                        </a:lnTo>
                        <a:lnTo>
                          <a:pt x="246" y="14"/>
                        </a:lnTo>
                        <a:lnTo>
                          <a:pt x="244" y="12"/>
                        </a:lnTo>
                        <a:lnTo>
                          <a:pt x="246" y="12"/>
                        </a:lnTo>
                        <a:lnTo>
                          <a:pt x="264" y="0"/>
                        </a:lnTo>
                        <a:lnTo>
                          <a:pt x="266" y="0"/>
                        </a:lnTo>
                        <a:lnTo>
                          <a:pt x="268" y="2"/>
                        </a:lnTo>
                        <a:lnTo>
                          <a:pt x="270" y="0"/>
                        </a:lnTo>
                        <a:lnTo>
                          <a:pt x="272" y="0"/>
                        </a:lnTo>
                        <a:lnTo>
                          <a:pt x="274" y="0"/>
                        </a:lnTo>
                        <a:lnTo>
                          <a:pt x="272" y="4"/>
                        </a:lnTo>
                        <a:lnTo>
                          <a:pt x="272" y="6"/>
                        </a:lnTo>
                        <a:lnTo>
                          <a:pt x="274" y="12"/>
                        </a:lnTo>
                        <a:lnTo>
                          <a:pt x="276" y="18"/>
                        </a:lnTo>
                        <a:lnTo>
                          <a:pt x="276" y="20"/>
                        </a:lnTo>
                        <a:lnTo>
                          <a:pt x="278" y="26"/>
                        </a:lnTo>
                        <a:lnTo>
                          <a:pt x="278" y="28"/>
                        </a:lnTo>
                        <a:lnTo>
                          <a:pt x="282" y="30"/>
                        </a:lnTo>
                        <a:lnTo>
                          <a:pt x="284" y="30"/>
                        </a:lnTo>
                        <a:lnTo>
                          <a:pt x="288" y="30"/>
                        </a:lnTo>
                        <a:lnTo>
                          <a:pt x="298" y="38"/>
                        </a:lnTo>
                        <a:lnTo>
                          <a:pt x="298" y="42"/>
                        </a:lnTo>
                        <a:lnTo>
                          <a:pt x="296" y="44"/>
                        </a:lnTo>
                        <a:lnTo>
                          <a:pt x="294" y="46"/>
                        </a:lnTo>
                        <a:lnTo>
                          <a:pt x="292" y="46"/>
                        </a:lnTo>
                        <a:lnTo>
                          <a:pt x="292" y="48"/>
                        </a:lnTo>
                        <a:lnTo>
                          <a:pt x="290" y="48"/>
                        </a:lnTo>
                        <a:lnTo>
                          <a:pt x="292" y="50"/>
                        </a:lnTo>
                        <a:lnTo>
                          <a:pt x="292" y="54"/>
                        </a:lnTo>
                        <a:lnTo>
                          <a:pt x="292" y="66"/>
                        </a:lnTo>
                        <a:lnTo>
                          <a:pt x="294" y="66"/>
                        </a:lnTo>
                        <a:lnTo>
                          <a:pt x="294" y="68"/>
                        </a:lnTo>
                        <a:lnTo>
                          <a:pt x="296" y="68"/>
                        </a:lnTo>
                        <a:lnTo>
                          <a:pt x="296" y="70"/>
                        </a:lnTo>
                        <a:lnTo>
                          <a:pt x="300" y="74"/>
                        </a:lnTo>
                        <a:lnTo>
                          <a:pt x="302" y="74"/>
                        </a:lnTo>
                        <a:lnTo>
                          <a:pt x="304" y="76"/>
                        </a:lnTo>
                        <a:lnTo>
                          <a:pt x="306" y="76"/>
                        </a:lnTo>
                        <a:lnTo>
                          <a:pt x="308" y="78"/>
                        </a:lnTo>
                        <a:lnTo>
                          <a:pt x="308" y="80"/>
                        </a:lnTo>
                        <a:lnTo>
                          <a:pt x="308" y="84"/>
                        </a:lnTo>
                        <a:lnTo>
                          <a:pt x="310" y="84"/>
                        </a:lnTo>
                        <a:lnTo>
                          <a:pt x="310" y="86"/>
                        </a:lnTo>
                        <a:lnTo>
                          <a:pt x="312" y="90"/>
                        </a:lnTo>
                        <a:lnTo>
                          <a:pt x="312" y="94"/>
                        </a:lnTo>
                        <a:lnTo>
                          <a:pt x="306" y="98"/>
                        </a:lnTo>
                        <a:lnTo>
                          <a:pt x="304" y="98"/>
                        </a:lnTo>
                        <a:lnTo>
                          <a:pt x="302" y="100"/>
                        </a:lnTo>
                        <a:lnTo>
                          <a:pt x="300" y="102"/>
                        </a:lnTo>
                        <a:lnTo>
                          <a:pt x="298" y="104"/>
                        </a:lnTo>
                        <a:lnTo>
                          <a:pt x="292" y="100"/>
                        </a:lnTo>
                        <a:lnTo>
                          <a:pt x="292" y="98"/>
                        </a:lnTo>
                        <a:lnTo>
                          <a:pt x="292" y="96"/>
                        </a:lnTo>
                        <a:lnTo>
                          <a:pt x="292" y="94"/>
                        </a:lnTo>
                        <a:lnTo>
                          <a:pt x="290" y="94"/>
                        </a:lnTo>
                        <a:lnTo>
                          <a:pt x="290" y="96"/>
                        </a:lnTo>
                        <a:lnTo>
                          <a:pt x="288" y="96"/>
                        </a:lnTo>
                        <a:lnTo>
                          <a:pt x="286" y="96"/>
                        </a:lnTo>
                        <a:lnTo>
                          <a:pt x="284" y="96"/>
                        </a:lnTo>
                        <a:lnTo>
                          <a:pt x="282" y="96"/>
                        </a:lnTo>
                        <a:lnTo>
                          <a:pt x="282" y="98"/>
                        </a:lnTo>
                        <a:lnTo>
                          <a:pt x="284" y="100"/>
                        </a:lnTo>
                        <a:lnTo>
                          <a:pt x="284" y="106"/>
                        </a:lnTo>
                        <a:lnTo>
                          <a:pt x="286" y="108"/>
                        </a:lnTo>
                        <a:lnTo>
                          <a:pt x="288" y="110"/>
                        </a:lnTo>
                        <a:lnTo>
                          <a:pt x="288" y="112"/>
                        </a:lnTo>
                        <a:lnTo>
                          <a:pt x="290" y="114"/>
                        </a:lnTo>
                        <a:lnTo>
                          <a:pt x="292" y="116"/>
                        </a:lnTo>
                        <a:lnTo>
                          <a:pt x="292" y="118"/>
                        </a:lnTo>
                        <a:lnTo>
                          <a:pt x="290" y="122"/>
                        </a:lnTo>
                        <a:lnTo>
                          <a:pt x="290" y="124"/>
                        </a:lnTo>
                        <a:lnTo>
                          <a:pt x="294" y="128"/>
                        </a:lnTo>
                        <a:lnTo>
                          <a:pt x="292" y="130"/>
                        </a:lnTo>
                        <a:lnTo>
                          <a:pt x="290" y="130"/>
                        </a:lnTo>
                        <a:lnTo>
                          <a:pt x="292" y="136"/>
                        </a:lnTo>
                        <a:lnTo>
                          <a:pt x="292" y="138"/>
                        </a:lnTo>
                        <a:lnTo>
                          <a:pt x="294" y="138"/>
                        </a:lnTo>
                        <a:lnTo>
                          <a:pt x="298" y="134"/>
                        </a:lnTo>
                        <a:lnTo>
                          <a:pt x="300" y="132"/>
                        </a:lnTo>
                        <a:lnTo>
                          <a:pt x="304" y="136"/>
                        </a:lnTo>
                        <a:lnTo>
                          <a:pt x="304" y="138"/>
                        </a:lnTo>
                        <a:lnTo>
                          <a:pt x="306" y="142"/>
                        </a:lnTo>
                        <a:lnTo>
                          <a:pt x="308" y="142"/>
                        </a:lnTo>
                        <a:lnTo>
                          <a:pt x="310" y="144"/>
                        </a:lnTo>
                        <a:lnTo>
                          <a:pt x="310" y="146"/>
                        </a:lnTo>
                        <a:lnTo>
                          <a:pt x="316" y="148"/>
                        </a:lnTo>
                        <a:lnTo>
                          <a:pt x="318" y="148"/>
                        </a:lnTo>
                        <a:lnTo>
                          <a:pt x="322" y="148"/>
                        </a:lnTo>
                        <a:lnTo>
                          <a:pt x="324" y="150"/>
                        </a:lnTo>
                        <a:lnTo>
                          <a:pt x="330" y="154"/>
                        </a:lnTo>
                        <a:lnTo>
                          <a:pt x="332" y="156"/>
                        </a:lnTo>
                        <a:lnTo>
                          <a:pt x="332" y="160"/>
                        </a:lnTo>
                        <a:lnTo>
                          <a:pt x="334" y="160"/>
                        </a:lnTo>
                        <a:lnTo>
                          <a:pt x="340" y="164"/>
                        </a:lnTo>
                        <a:lnTo>
                          <a:pt x="342" y="164"/>
                        </a:lnTo>
                        <a:lnTo>
                          <a:pt x="348" y="168"/>
                        </a:lnTo>
                        <a:lnTo>
                          <a:pt x="350" y="170"/>
                        </a:lnTo>
                        <a:lnTo>
                          <a:pt x="352" y="170"/>
                        </a:lnTo>
                        <a:lnTo>
                          <a:pt x="354" y="172"/>
                        </a:lnTo>
                        <a:lnTo>
                          <a:pt x="352" y="172"/>
                        </a:lnTo>
                        <a:lnTo>
                          <a:pt x="344" y="180"/>
                        </a:lnTo>
                        <a:lnTo>
                          <a:pt x="342" y="180"/>
                        </a:lnTo>
                        <a:lnTo>
                          <a:pt x="340" y="182"/>
                        </a:lnTo>
                        <a:lnTo>
                          <a:pt x="340" y="184"/>
                        </a:lnTo>
                        <a:lnTo>
                          <a:pt x="338" y="184"/>
                        </a:lnTo>
                        <a:lnTo>
                          <a:pt x="336" y="186"/>
                        </a:lnTo>
                        <a:lnTo>
                          <a:pt x="336" y="188"/>
                        </a:lnTo>
                        <a:lnTo>
                          <a:pt x="336" y="192"/>
                        </a:lnTo>
                        <a:lnTo>
                          <a:pt x="334" y="194"/>
                        </a:lnTo>
                        <a:lnTo>
                          <a:pt x="332" y="196"/>
                        </a:lnTo>
                        <a:lnTo>
                          <a:pt x="334" y="200"/>
                        </a:lnTo>
                        <a:lnTo>
                          <a:pt x="334" y="202"/>
                        </a:lnTo>
                        <a:lnTo>
                          <a:pt x="332" y="206"/>
                        </a:lnTo>
                        <a:lnTo>
                          <a:pt x="330" y="206"/>
                        </a:lnTo>
                        <a:lnTo>
                          <a:pt x="328" y="212"/>
                        </a:lnTo>
                        <a:lnTo>
                          <a:pt x="328" y="216"/>
                        </a:lnTo>
                        <a:lnTo>
                          <a:pt x="330" y="216"/>
                        </a:lnTo>
                        <a:lnTo>
                          <a:pt x="338" y="224"/>
                        </a:lnTo>
                        <a:lnTo>
                          <a:pt x="340" y="222"/>
                        </a:lnTo>
                        <a:lnTo>
                          <a:pt x="340" y="220"/>
                        </a:lnTo>
                        <a:lnTo>
                          <a:pt x="354" y="230"/>
                        </a:lnTo>
                        <a:lnTo>
                          <a:pt x="356" y="230"/>
                        </a:lnTo>
                        <a:lnTo>
                          <a:pt x="358" y="230"/>
                        </a:lnTo>
                        <a:lnTo>
                          <a:pt x="362" y="236"/>
                        </a:lnTo>
                        <a:lnTo>
                          <a:pt x="364" y="236"/>
                        </a:lnTo>
                        <a:lnTo>
                          <a:pt x="378" y="246"/>
                        </a:lnTo>
                        <a:lnTo>
                          <a:pt x="380" y="244"/>
                        </a:lnTo>
                        <a:lnTo>
                          <a:pt x="382" y="244"/>
                        </a:lnTo>
                        <a:lnTo>
                          <a:pt x="392" y="252"/>
                        </a:lnTo>
                        <a:lnTo>
                          <a:pt x="396" y="252"/>
                        </a:lnTo>
                        <a:lnTo>
                          <a:pt x="396" y="250"/>
                        </a:lnTo>
                        <a:lnTo>
                          <a:pt x="400" y="250"/>
                        </a:lnTo>
                        <a:lnTo>
                          <a:pt x="400" y="252"/>
                        </a:lnTo>
                        <a:lnTo>
                          <a:pt x="400" y="254"/>
                        </a:lnTo>
                        <a:lnTo>
                          <a:pt x="402" y="256"/>
                        </a:lnTo>
                        <a:lnTo>
                          <a:pt x="406" y="258"/>
                        </a:lnTo>
                        <a:lnTo>
                          <a:pt x="412" y="258"/>
                        </a:lnTo>
                        <a:lnTo>
                          <a:pt x="414" y="260"/>
                        </a:lnTo>
                        <a:lnTo>
                          <a:pt x="416" y="262"/>
                        </a:lnTo>
                        <a:lnTo>
                          <a:pt x="418" y="260"/>
                        </a:lnTo>
                        <a:lnTo>
                          <a:pt x="418" y="258"/>
                        </a:lnTo>
                        <a:lnTo>
                          <a:pt x="424" y="258"/>
                        </a:lnTo>
                        <a:lnTo>
                          <a:pt x="428" y="260"/>
                        </a:lnTo>
                        <a:lnTo>
                          <a:pt x="430" y="260"/>
                        </a:lnTo>
                        <a:lnTo>
                          <a:pt x="432" y="262"/>
                        </a:lnTo>
                        <a:lnTo>
                          <a:pt x="432" y="258"/>
                        </a:lnTo>
                        <a:lnTo>
                          <a:pt x="436" y="258"/>
                        </a:lnTo>
                        <a:lnTo>
                          <a:pt x="440" y="256"/>
                        </a:lnTo>
                        <a:lnTo>
                          <a:pt x="444" y="260"/>
                        </a:lnTo>
                        <a:lnTo>
                          <a:pt x="448" y="260"/>
                        </a:lnTo>
                        <a:lnTo>
                          <a:pt x="452" y="262"/>
                        </a:lnTo>
                        <a:lnTo>
                          <a:pt x="452" y="264"/>
                        </a:lnTo>
                        <a:lnTo>
                          <a:pt x="454" y="264"/>
                        </a:lnTo>
                        <a:lnTo>
                          <a:pt x="454" y="268"/>
                        </a:lnTo>
                        <a:lnTo>
                          <a:pt x="452" y="270"/>
                        </a:lnTo>
                        <a:lnTo>
                          <a:pt x="454" y="272"/>
                        </a:lnTo>
                        <a:lnTo>
                          <a:pt x="458" y="272"/>
                        </a:lnTo>
                        <a:lnTo>
                          <a:pt x="468" y="278"/>
                        </a:lnTo>
                        <a:lnTo>
                          <a:pt x="468" y="280"/>
                        </a:lnTo>
                        <a:lnTo>
                          <a:pt x="470" y="280"/>
                        </a:lnTo>
                        <a:lnTo>
                          <a:pt x="472" y="280"/>
                        </a:lnTo>
                        <a:lnTo>
                          <a:pt x="474" y="278"/>
                        </a:lnTo>
                        <a:lnTo>
                          <a:pt x="476" y="276"/>
                        </a:lnTo>
                        <a:lnTo>
                          <a:pt x="478" y="276"/>
                        </a:lnTo>
                        <a:lnTo>
                          <a:pt x="480" y="276"/>
                        </a:lnTo>
                        <a:lnTo>
                          <a:pt x="482" y="278"/>
                        </a:lnTo>
                        <a:lnTo>
                          <a:pt x="482" y="280"/>
                        </a:lnTo>
                        <a:lnTo>
                          <a:pt x="482" y="282"/>
                        </a:lnTo>
                        <a:lnTo>
                          <a:pt x="486" y="286"/>
                        </a:lnTo>
                        <a:lnTo>
                          <a:pt x="488" y="284"/>
                        </a:lnTo>
                        <a:lnTo>
                          <a:pt x="488" y="282"/>
                        </a:lnTo>
                        <a:lnTo>
                          <a:pt x="490" y="282"/>
                        </a:lnTo>
                        <a:lnTo>
                          <a:pt x="492" y="282"/>
                        </a:lnTo>
                        <a:lnTo>
                          <a:pt x="492" y="284"/>
                        </a:lnTo>
                        <a:lnTo>
                          <a:pt x="494" y="284"/>
                        </a:lnTo>
                        <a:lnTo>
                          <a:pt x="496" y="284"/>
                        </a:lnTo>
                        <a:lnTo>
                          <a:pt x="498" y="284"/>
                        </a:lnTo>
                        <a:lnTo>
                          <a:pt x="510" y="290"/>
                        </a:lnTo>
                        <a:lnTo>
                          <a:pt x="514" y="288"/>
                        </a:lnTo>
                        <a:lnTo>
                          <a:pt x="516" y="286"/>
                        </a:lnTo>
                        <a:lnTo>
                          <a:pt x="522" y="290"/>
                        </a:lnTo>
                        <a:lnTo>
                          <a:pt x="524" y="292"/>
                        </a:lnTo>
                        <a:lnTo>
                          <a:pt x="528" y="290"/>
                        </a:lnTo>
                        <a:lnTo>
                          <a:pt x="532" y="290"/>
                        </a:lnTo>
                        <a:lnTo>
                          <a:pt x="534" y="290"/>
                        </a:lnTo>
                        <a:lnTo>
                          <a:pt x="536" y="290"/>
                        </a:lnTo>
                        <a:lnTo>
                          <a:pt x="542" y="288"/>
                        </a:lnTo>
                        <a:lnTo>
                          <a:pt x="544" y="290"/>
                        </a:lnTo>
                        <a:lnTo>
                          <a:pt x="546" y="292"/>
                        </a:lnTo>
                        <a:lnTo>
                          <a:pt x="546" y="290"/>
                        </a:lnTo>
                        <a:lnTo>
                          <a:pt x="548" y="288"/>
                        </a:lnTo>
                        <a:lnTo>
                          <a:pt x="546" y="286"/>
                        </a:lnTo>
                        <a:lnTo>
                          <a:pt x="548" y="286"/>
                        </a:lnTo>
                        <a:lnTo>
                          <a:pt x="550" y="282"/>
                        </a:lnTo>
                        <a:lnTo>
                          <a:pt x="550" y="276"/>
                        </a:lnTo>
                        <a:lnTo>
                          <a:pt x="546" y="270"/>
                        </a:lnTo>
                        <a:lnTo>
                          <a:pt x="544" y="268"/>
                        </a:lnTo>
                        <a:lnTo>
                          <a:pt x="546" y="268"/>
                        </a:lnTo>
                        <a:lnTo>
                          <a:pt x="546" y="256"/>
                        </a:lnTo>
                        <a:lnTo>
                          <a:pt x="546" y="254"/>
                        </a:lnTo>
                        <a:lnTo>
                          <a:pt x="548" y="254"/>
                        </a:lnTo>
                        <a:lnTo>
                          <a:pt x="550" y="246"/>
                        </a:lnTo>
                        <a:lnTo>
                          <a:pt x="548" y="246"/>
                        </a:lnTo>
                        <a:lnTo>
                          <a:pt x="548" y="244"/>
                        </a:lnTo>
                        <a:lnTo>
                          <a:pt x="548" y="242"/>
                        </a:lnTo>
                        <a:lnTo>
                          <a:pt x="556" y="242"/>
                        </a:lnTo>
                        <a:lnTo>
                          <a:pt x="562" y="238"/>
                        </a:lnTo>
                        <a:lnTo>
                          <a:pt x="564" y="240"/>
                        </a:lnTo>
                        <a:lnTo>
                          <a:pt x="566" y="240"/>
                        </a:lnTo>
                        <a:lnTo>
                          <a:pt x="568" y="242"/>
                        </a:lnTo>
                        <a:lnTo>
                          <a:pt x="568" y="250"/>
                        </a:lnTo>
                        <a:lnTo>
                          <a:pt x="568" y="252"/>
                        </a:lnTo>
                        <a:lnTo>
                          <a:pt x="566" y="252"/>
                        </a:lnTo>
                        <a:lnTo>
                          <a:pt x="566" y="254"/>
                        </a:lnTo>
                        <a:lnTo>
                          <a:pt x="566" y="256"/>
                        </a:lnTo>
                        <a:lnTo>
                          <a:pt x="566" y="258"/>
                        </a:lnTo>
                        <a:lnTo>
                          <a:pt x="570" y="262"/>
                        </a:lnTo>
                        <a:lnTo>
                          <a:pt x="568" y="264"/>
                        </a:lnTo>
                        <a:lnTo>
                          <a:pt x="566" y="264"/>
                        </a:lnTo>
                        <a:lnTo>
                          <a:pt x="566" y="266"/>
                        </a:lnTo>
                        <a:lnTo>
                          <a:pt x="564" y="268"/>
                        </a:lnTo>
                        <a:lnTo>
                          <a:pt x="566" y="268"/>
                        </a:lnTo>
                        <a:lnTo>
                          <a:pt x="568" y="270"/>
                        </a:lnTo>
                        <a:lnTo>
                          <a:pt x="568" y="272"/>
                        </a:lnTo>
                        <a:lnTo>
                          <a:pt x="570" y="272"/>
                        </a:lnTo>
                        <a:lnTo>
                          <a:pt x="572" y="274"/>
                        </a:lnTo>
                        <a:lnTo>
                          <a:pt x="574" y="276"/>
                        </a:lnTo>
                        <a:lnTo>
                          <a:pt x="574" y="278"/>
                        </a:lnTo>
                        <a:lnTo>
                          <a:pt x="578" y="278"/>
                        </a:lnTo>
                        <a:lnTo>
                          <a:pt x="580" y="276"/>
                        </a:lnTo>
                        <a:lnTo>
                          <a:pt x="582" y="276"/>
                        </a:lnTo>
                        <a:lnTo>
                          <a:pt x="586" y="278"/>
                        </a:lnTo>
                        <a:lnTo>
                          <a:pt x="588" y="278"/>
                        </a:lnTo>
                        <a:lnTo>
                          <a:pt x="590" y="280"/>
                        </a:lnTo>
                        <a:lnTo>
                          <a:pt x="588" y="280"/>
                        </a:lnTo>
                        <a:lnTo>
                          <a:pt x="596" y="282"/>
                        </a:lnTo>
                        <a:lnTo>
                          <a:pt x="602" y="280"/>
                        </a:lnTo>
                        <a:lnTo>
                          <a:pt x="604" y="280"/>
                        </a:lnTo>
                        <a:lnTo>
                          <a:pt x="604" y="278"/>
                        </a:lnTo>
                        <a:lnTo>
                          <a:pt x="604" y="276"/>
                        </a:lnTo>
                        <a:lnTo>
                          <a:pt x="610" y="276"/>
                        </a:lnTo>
                        <a:lnTo>
                          <a:pt x="614" y="278"/>
                        </a:lnTo>
                        <a:lnTo>
                          <a:pt x="616" y="278"/>
                        </a:lnTo>
                        <a:lnTo>
                          <a:pt x="628" y="278"/>
                        </a:lnTo>
                        <a:lnTo>
                          <a:pt x="630" y="278"/>
                        </a:lnTo>
                        <a:lnTo>
                          <a:pt x="634" y="278"/>
                        </a:lnTo>
                        <a:lnTo>
                          <a:pt x="636" y="278"/>
                        </a:lnTo>
                        <a:lnTo>
                          <a:pt x="638" y="278"/>
                        </a:lnTo>
                        <a:lnTo>
                          <a:pt x="638" y="276"/>
                        </a:lnTo>
                        <a:lnTo>
                          <a:pt x="640" y="276"/>
                        </a:lnTo>
                        <a:lnTo>
                          <a:pt x="642" y="278"/>
                        </a:lnTo>
                        <a:lnTo>
                          <a:pt x="646" y="278"/>
                        </a:lnTo>
                        <a:lnTo>
                          <a:pt x="650" y="276"/>
                        </a:lnTo>
                        <a:lnTo>
                          <a:pt x="654" y="276"/>
                        </a:lnTo>
                        <a:lnTo>
                          <a:pt x="656" y="276"/>
                        </a:lnTo>
                        <a:lnTo>
                          <a:pt x="656" y="274"/>
                        </a:lnTo>
                        <a:lnTo>
                          <a:pt x="656" y="272"/>
                        </a:lnTo>
                        <a:lnTo>
                          <a:pt x="656" y="270"/>
                        </a:lnTo>
                        <a:lnTo>
                          <a:pt x="654" y="270"/>
                        </a:lnTo>
                        <a:lnTo>
                          <a:pt x="654" y="266"/>
                        </a:lnTo>
                        <a:lnTo>
                          <a:pt x="656" y="264"/>
                        </a:lnTo>
                        <a:lnTo>
                          <a:pt x="656" y="262"/>
                        </a:lnTo>
                        <a:lnTo>
                          <a:pt x="656" y="260"/>
                        </a:lnTo>
                        <a:lnTo>
                          <a:pt x="654" y="258"/>
                        </a:lnTo>
                        <a:lnTo>
                          <a:pt x="652" y="258"/>
                        </a:lnTo>
                        <a:lnTo>
                          <a:pt x="650" y="258"/>
                        </a:lnTo>
                        <a:lnTo>
                          <a:pt x="648" y="258"/>
                        </a:lnTo>
                        <a:lnTo>
                          <a:pt x="644" y="256"/>
                        </a:lnTo>
                        <a:lnTo>
                          <a:pt x="644" y="254"/>
                        </a:lnTo>
                        <a:lnTo>
                          <a:pt x="642" y="254"/>
                        </a:lnTo>
                        <a:lnTo>
                          <a:pt x="642" y="252"/>
                        </a:lnTo>
                        <a:lnTo>
                          <a:pt x="644" y="252"/>
                        </a:lnTo>
                        <a:lnTo>
                          <a:pt x="644" y="250"/>
                        </a:lnTo>
                        <a:lnTo>
                          <a:pt x="644" y="248"/>
                        </a:lnTo>
                        <a:lnTo>
                          <a:pt x="650" y="248"/>
                        </a:lnTo>
                        <a:lnTo>
                          <a:pt x="650" y="250"/>
                        </a:lnTo>
                        <a:lnTo>
                          <a:pt x="654" y="250"/>
                        </a:lnTo>
                        <a:lnTo>
                          <a:pt x="656" y="248"/>
                        </a:lnTo>
                        <a:lnTo>
                          <a:pt x="662" y="248"/>
                        </a:lnTo>
                        <a:lnTo>
                          <a:pt x="662" y="246"/>
                        </a:lnTo>
                        <a:lnTo>
                          <a:pt x="662" y="248"/>
                        </a:lnTo>
                        <a:lnTo>
                          <a:pt x="668" y="246"/>
                        </a:lnTo>
                        <a:lnTo>
                          <a:pt x="674" y="242"/>
                        </a:lnTo>
                        <a:lnTo>
                          <a:pt x="674" y="240"/>
                        </a:lnTo>
                        <a:lnTo>
                          <a:pt x="672" y="240"/>
                        </a:lnTo>
                        <a:lnTo>
                          <a:pt x="672" y="238"/>
                        </a:lnTo>
                        <a:lnTo>
                          <a:pt x="676" y="234"/>
                        </a:lnTo>
                        <a:lnTo>
                          <a:pt x="678" y="236"/>
                        </a:lnTo>
                        <a:lnTo>
                          <a:pt x="682" y="232"/>
                        </a:lnTo>
                        <a:lnTo>
                          <a:pt x="686" y="232"/>
                        </a:lnTo>
                        <a:lnTo>
                          <a:pt x="688" y="230"/>
                        </a:lnTo>
                        <a:lnTo>
                          <a:pt x="686" y="228"/>
                        </a:lnTo>
                        <a:lnTo>
                          <a:pt x="688" y="226"/>
                        </a:lnTo>
                        <a:lnTo>
                          <a:pt x="690" y="224"/>
                        </a:lnTo>
                        <a:lnTo>
                          <a:pt x="692" y="220"/>
                        </a:lnTo>
                        <a:lnTo>
                          <a:pt x="694" y="220"/>
                        </a:lnTo>
                        <a:lnTo>
                          <a:pt x="696" y="220"/>
                        </a:lnTo>
                        <a:lnTo>
                          <a:pt x="698" y="220"/>
                        </a:lnTo>
                        <a:lnTo>
                          <a:pt x="698" y="222"/>
                        </a:lnTo>
                        <a:lnTo>
                          <a:pt x="700" y="220"/>
                        </a:lnTo>
                        <a:lnTo>
                          <a:pt x="706" y="220"/>
                        </a:lnTo>
                        <a:lnTo>
                          <a:pt x="708" y="220"/>
                        </a:lnTo>
                        <a:lnTo>
                          <a:pt x="710" y="216"/>
                        </a:lnTo>
                        <a:lnTo>
                          <a:pt x="714" y="212"/>
                        </a:lnTo>
                        <a:lnTo>
                          <a:pt x="714" y="210"/>
                        </a:lnTo>
                        <a:lnTo>
                          <a:pt x="720" y="204"/>
                        </a:lnTo>
                        <a:lnTo>
                          <a:pt x="724" y="204"/>
                        </a:lnTo>
                        <a:lnTo>
                          <a:pt x="724" y="202"/>
                        </a:lnTo>
                        <a:lnTo>
                          <a:pt x="726" y="200"/>
                        </a:lnTo>
                        <a:lnTo>
                          <a:pt x="728" y="200"/>
                        </a:lnTo>
                        <a:lnTo>
                          <a:pt x="732" y="204"/>
                        </a:lnTo>
                        <a:lnTo>
                          <a:pt x="736" y="206"/>
                        </a:lnTo>
                        <a:lnTo>
                          <a:pt x="738" y="206"/>
                        </a:lnTo>
                        <a:lnTo>
                          <a:pt x="746" y="208"/>
                        </a:lnTo>
                        <a:lnTo>
                          <a:pt x="748" y="208"/>
                        </a:lnTo>
                        <a:lnTo>
                          <a:pt x="752" y="202"/>
                        </a:lnTo>
                        <a:lnTo>
                          <a:pt x="762" y="198"/>
                        </a:lnTo>
                        <a:lnTo>
                          <a:pt x="764" y="196"/>
                        </a:lnTo>
                        <a:lnTo>
                          <a:pt x="766" y="196"/>
                        </a:lnTo>
                        <a:lnTo>
                          <a:pt x="768" y="198"/>
                        </a:lnTo>
                        <a:lnTo>
                          <a:pt x="768" y="200"/>
                        </a:lnTo>
                        <a:lnTo>
                          <a:pt x="768" y="202"/>
                        </a:lnTo>
                        <a:lnTo>
                          <a:pt x="770" y="202"/>
                        </a:lnTo>
                        <a:lnTo>
                          <a:pt x="772" y="202"/>
                        </a:lnTo>
                        <a:lnTo>
                          <a:pt x="774" y="200"/>
                        </a:lnTo>
                        <a:lnTo>
                          <a:pt x="774" y="202"/>
                        </a:lnTo>
                        <a:lnTo>
                          <a:pt x="774" y="204"/>
                        </a:lnTo>
                        <a:lnTo>
                          <a:pt x="772" y="204"/>
                        </a:lnTo>
                        <a:lnTo>
                          <a:pt x="772" y="206"/>
                        </a:lnTo>
                        <a:lnTo>
                          <a:pt x="768" y="206"/>
                        </a:lnTo>
                        <a:lnTo>
                          <a:pt x="768" y="208"/>
                        </a:lnTo>
                        <a:lnTo>
                          <a:pt x="768" y="212"/>
                        </a:lnTo>
                        <a:lnTo>
                          <a:pt x="770" y="212"/>
                        </a:lnTo>
                        <a:lnTo>
                          <a:pt x="772" y="210"/>
                        </a:lnTo>
                        <a:lnTo>
                          <a:pt x="776" y="208"/>
                        </a:lnTo>
                        <a:lnTo>
                          <a:pt x="776" y="212"/>
                        </a:lnTo>
                        <a:lnTo>
                          <a:pt x="778" y="214"/>
                        </a:lnTo>
                        <a:lnTo>
                          <a:pt x="780" y="216"/>
                        </a:lnTo>
                        <a:lnTo>
                          <a:pt x="780" y="218"/>
                        </a:lnTo>
                        <a:lnTo>
                          <a:pt x="774" y="224"/>
                        </a:lnTo>
                        <a:lnTo>
                          <a:pt x="772" y="224"/>
                        </a:lnTo>
                        <a:lnTo>
                          <a:pt x="774" y="230"/>
                        </a:lnTo>
                        <a:lnTo>
                          <a:pt x="776" y="228"/>
                        </a:lnTo>
                        <a:lnTo>
                          <a:pt x="780" y="226"/>
                        </a:lnTo>
                        <a:lnTo>
                          <a:pt x="782" y="228"/>
                        </a:lnTo>
                        <a:lnTo>
                          <a:pt x="784" y="228"/>
                        </a:lnTo>
                        <a:lnTo>
                          <a:pt x="784" y="230"/>
                        </a:lnTo>
                        <a:lnTo>
                          <a:pt x="786" y="230"/>
                        </a:lnTo>
                        <a:lnTo>
                          <a:pt x="792" y="230"/>
                        </a:lnTo>
                        <a:lnTo>
                          <a:pt x="794" y="230"/>
                        </a:lnTo>
                        <a:lnTo>
                          <a:pt x="798" y="232"/>
                        </a:lnTo>
                        <a:lnTo>
                          <a:pt x="798" y="234"/>
                        </a:lnTo>
                        <a:lnTo>
                          <a:pt x="800" y="234"/>
                        </a:lnTo>
                        <a:lnTo>
                          <a:pt x="800" y="236"/>
                        </a:lnTo>
                        <a:lnTo>
                          <a:pt x="800" y="238"/>
                        </a:lnTo>
                        <a:lnTo>
                          <a:pt x="800" y="240"/>
                        </a:lnTo>
                        <a:lnTo>
                          <a:pt x="802" y="242"/>
                        </a:lnTo>
                        <a:lnTo>
                          <a:pt x="800" y="242"/>
                        </a:lnTo>
                        <a:lnTo>
                          <a:pt x="788" y="252"/>
                        </a:lnTo>
                        <a:lnTo>
                          <a:pt x="788" y="254"/>
                        </a:lnTo>
                        <a:lnTo>
                          <a:pt x="788" y="258"/>
                        </a:lnTo>
                        <a:lnTo>
                          <a:pt x="794" y="268"/>
                        </a:lnTo>
                        <a:lnTo>
                          <a:pt x="794" y="270"/>
                        </a:lnTo>
                        <a:lnTo>
                          <a:pt x="792" y="270"/>
                        </a:lnTo>
                        <a:lnTo>
                          <a:pt x="790" y="268"/>
                        </a:lnTo>
                        <a:lnTo>
                          <a:pt x="788" y="266"/>
                        </a:lnTo>
                        <a:lnTo>
                          <a:pt x="786" y="266"/>
                        </a:lnTo>
                        <a:lnTo>
                          <a:pt x="786" y="264"/>
                        </a:lnTo>
                        <a:lnTo>
                          <a:pt x="786" y="262"/>
                        </a:lnTo>
                        <a:lnTo>
                          <a:pt x="784" y="262"/>
                        </a:lnTo>
                        <a:lnTo>
                          <a:pt x="784" y="260"/>
                        </a:lnTo>
                        <a:lnTo>
                          <a:pt x="780" y="260"/>
                        </a:lnTo>
                        <a:lnTo>
                          <a:pt x="776" y="262"/>
                        </a:lnTo>
                        <a:lnTo>
                          <a:pt x="770" y="264"/>
                        </a:lnTo>
                        <a:lnTo>
                          <a:pt x="768" y="264"/>
                        </a:lnTo>
                        <a:lnTo>
                          <a:pt x="766" y="264"/>
                        </a:lnTo>
                        <a:lnTo>
                          <a:pt x="762" y="268"/>
                        </a:lnTo>
                        <a:lnTo>
                          <a:pt x="762" y="270"/>
                        </a:lnTo>
                        <a:lnTo>
                          <a:pt x="760" y="272"/>
                        </a:lnTo>
                        <a:lnTo>
                          <a:pt x="758" y="272"/>
                        </a:lnTo>
                        <a:lnTo>
                          <a:pt x="752" y="278"/>
                        </a:lnTo>
                        <a:lnTo>
                          <a:pt x="750" y="278"/>
                        </a:lnTo>
                        <a:lnTo>
                          <a:pt x="750" y="280"/>
                        </a:lnTo>
                        <a:lnTo>
                          <a:pt x="748" y="282"/>
                        </a:lnTo>
                        <a:lnTo>
                          <a:pt x="746" y="282"/>
                        </a:lnTo>
                        <a:lnTo>
                          <a:pt x="744" y="282"/>
                        </a:lnTo>
                        <a:lnTo>
                          <a:pt x="742" y="282"/>
                        </a:lnTo>
                        <a:lnTo>
                          <a:pt x="740" y="284"/>
                        </a:lnTo>
                        <a:lnTo>
                          <a:pt x="738" y="288"/>
                        </a:lnTo>
                        <a:lnTo>
                          <a:pt x="738" y="294"/>
                        </a:lnTo>
                        <a:lnTo>
                          <a:pt x="738" y="298"/>
                        </a:lnTo>
                        <a:lnTo>
                          <a:pt x="740" y="300"/>
                        </a:lnTo>
                        <a:lnTo>
                          <a:pt x="740" y="302"/>
                        </a:lnTo>
                        <a:lnTo>
                          <a:pt x="738" y="304"/>
                        </a:lnTo>
                        <a:lnTo>
                          <a:pt x="736" y="312"/>
                        </a:lnTo>
                        <a:lnTo>
                          <a:pt x="730" y="318"/>
                        </a:lnTo>
                        <a:lnTo>
                          <a:pt x="728" y="318"/>
                        </a:lnTo>
                        <a:lnTo>
                          <a:pt x="726" y="318"/>
                        </a:lnTo>
                        <a:lnTo>
                          <a:pt x="726" y="320"/>
                        </a:lnTo>
                        <a:lnTo>
                          <a:pt x="724" y="328"/>
                        </a:lnTo>
                        <a:lnTo>
                          <a:pt x="726" y="328"/>
                        </a:lnTo>
                        <a:lnTo>
                          <a:pt x="728" y="330"/>
                        </a:lnTo>
                        <a:lnTo>
                          <a:pt x="728" y="332"/>
                        </a:lnTo>
                        <a:lnTo>
                          <a:pt x="722" y="346"/>
                        </a:lnTo>
                        <a:lnTo>
                          <a:pt x="712" y="368"/>
                        </a:lnTo>
                        <a:lnTo>
                          <a:pt x="706" y="364"/>
                        </a:lnTo>
                        <a:lnTo>
                          <a:pt x="704" y="364"/>
                        </a:lnTo>
                        <a:lnTo>
                          <a:pt x="702" y="364"/>
                        </a:lnTo>
                        <a:lnTo>
                          <a:pt x="700" y="362"/>
                        </a:lnTo>
                        <a:lnTo>
                          <a:pt x="698" y="362"/>
                        </a:lnTo>
                        <a:lnTo>
                          <a:pt x="698" y="364"/>
                        </a:lnTo>
                        <a:lnTo>
                          <a:pt x="694" y="364"/>
                        </a:lnTo>
                        <a:lnTo>
                          <a:pt x="692" y="362"/>
                        </a:lnTo>
                        <a:lnTo>
                          <a:pt x="692" y="360"/>
                        </a:lnTo>
                        <a:lnTo>
                          <a:pt x="690" y="360"/>
                        </a:lnTo>
                        <a:lnTo>
                          <a:pt x="690" y="364"/>
                        </a:lnTo>
                        <a:lnTo>
                          <a:pt x="692" y="364"/>
                        </a:lnTo>
                        <a:lnTo>
                          <a:pt x="692" y="376"/>
                        </a:lnTo>
                        <a:lnTo>
                          <a:pt x="692" y="380"/>
                        </a:lnTo>
                        <a:lnTo>
                          <a:pt x="692" y="382"/>
                        </a:lnTo>
                        <a:lnTo>
                          <a:pt x="692" y="386"/>
                        </a:lnTo>
                        <a:lnTo>
                          <a:pt x="690" y="392"/>
                        </a:lnTo>
                        <a:lnTo>
                          <a:pt x="688" y="392"/>
                        </a:lnTo>
                        <a:lnTo>
                          <a:pt x="686" y="392"/>
                        </a:lnTo>
                        <a:lnTo>
                          <a:pt x="684" y="392"/>
                        </a:lnTo>
                        <a:lnTo>
                          <a:pt x="686" y="394"/>
                        </a:lnTo>
                        <a:lnTo>
                          <a:pt x="684" y="396"/>
                        </a:lnTo>
                        <a:lnTo>
                          <a:pt x="684" y="400"/>
                        </a:lnTo>
                        <a:lnTo>
                          <a:pt x="684" y="402"/>
                        </a:lnTo>
                        <a:lnTo>
                          <a:pt x="684" y="406"/>
                        </a:lnTo>
                        <a:lnTo>
                          <a:pt x="686" y="408"/>
                        </a:lnTo>
                        <a:lnTo>
                          <a:pt x="686" y="410"/>
                        </a:lnTo>
                        <a:lnTo>
                          <a:pt x="686" y="412"/>
                        </a:lnTo>
                        <a:lnTo>
                          <a:pt x="686" y="414"/>
                        </a:lnTo>
                        <a:lnTo>
                          <a:pt x="686" y="418"/>
                        </a:lnTo>
                        <a:lnTo>
                          <a:pt x="684" y="418"/>
                        </a:lnTo>
                        <a:lnTo>
                          <a:pt x="684" y="416"/>
                        </a:lnTo>
                        <a:lnTo>
                          <a:pt x="682" y="416"/>
                        </a:lnTo>
                        <a:lnTo>
                          <a:pt x="680" y="422"/>
                        </a:lnTo>
                        <a:lnTo>
                          <a:pt x="678" y="422"/>
                        </a:lnTo>
                        <a:lnTo>
                          <a:pt x="678" y="420"/>
                        </a:lnTo>
                        <a:lnTo>
                          <a:pt x="674" y="418"/>
                        </a:lnTo>
                        <a:lnTo>
                          <a:pt x="674" y="420"/>
                        </a:lnTo>
                        <a:lnTo>
                          <a:pt x="672" y="422"/>
                        </a:lnTo>
                        <a:lnTo>
                          <a:pt x="670" y="424"/>
                        </a:lnTo>
                        <a:lnTo>
                          <a:pt x="670" y="420"/>
                        </a:lnTo>
                        <a:lnTo>
                          <a:pt x="670" y="412"/>
                        </a:lnTo>
                        <a:lnTo>
                          <a:pt x="668" y="412"/>
                        </a:lnTo>
                        <a:lnTo>
                          <a:pt x="668" y="400"/>
                        </a:lnTo>
                        <a:lnTo>
                          <a:pt x="664" y="394"/>
                        </a:lnTo>
                        <a:lnTo>
                          <a:pt x="664" y="388"/>
                        </a:lnTo>
                        <a:lnTo>
                          <a:pt x="662" y="386"/>
                        </a:lnTo>
                        <a:lnTo>
                          <a:pt x="664" y="384"/>
                        </a:lnTo>
                        <a:lnTo>
                          <a:pt x="664" y="382"/>
                        </a:lnTo>
                        <a:lnTo>
                          <a:pt x="662" y="376"/>
                        </a:lnTo>
                        <a:lnTo>
                          <a:pt x="662" y="372"/>
                        </a:lnTo>
                        <a:lnTo>
                          <a:pt x="660" y="372"/>
                        </a:lnTo>
                        <a:lnTo>
                          <a:pt x="658" y="370"/>
                        </a:lnTo>
                        <a:lnTo>
                          <a:pt x="656" y="372"/>
                        </a:lnTo>
                        <a:lnTo>
                          <a:pt x="656" y="374"/>
                        </a:lnTo>
                        <a:lnTo>
                          <a:pt x="654" y="374"/>
                        </a:lnTo>
                        <a:lnTo>
                          <a:pt x="654" y="372"/>
                        </a:lnTo>
                        <a:lnTo>
                          <a:pt x="652" y="370"/>
                        </a:lnTo>
                        <a:lnTo>
                          <a:pt x="652" y="372"/>
                        </a:lnTo>
                        <a:lnTo>
                          <a:pt x="652" y="374"/>
                        </a:lnTo>
                        <a:lnTo>
                          <a:pt x="652" y="376"/>
                        </a:lnTo>
                        <a:lnTo>
                          <a:pt x="652" y="378"/>
                        </a:lnTo>
                        <a:lnTo>
                          <a:pt x="652" y="380"/>
                        </a:lnTo>
                        <a:lnTo>
                          <a:pt x="650" y="380"/>
                        </a:lnTo>
                        <a:lnTo>
                          <a:pt x="648" y="382"/>
                        </a:lnTo>
                        <a:lnTo>
                          <a:pt x="648" y="384"/>
                        </a:lnTo>
                        <a:lnTo>
                          <a:pt x="648" y="386"/>
                        </a:lnTo>
                        <a:lnTo>
                          <a:pt x="648" y="388"/>
                        </a:lnTo>
                        <a:lnTo>
                          <a:pt x="648" y="390"/>
                        </a:lnTo>
                        <a:lnTo>
                          <a:pt x="648" y="392"/>
                        </a:lnTo>
                        <a:lnTo>
                          <a:pt x="644" y="394"/>
                        </a:lnTo>
                        <a:lnTo>
                          <a:pt x="642" y="394"/>
                        </a:lnTo>
                        <a:lnTo>
                          <a:pt x="638" y="386"/>
                        </a:lnTo>
                        <a:lnTo>
                          <a:pt x="638" y="384"/>
                        </a:lnTo>
                        <a:lnTo>
                          <a:pt x="636" y="386"/>
                        </a:lnTo>
                        <a:lnTo>
                          <a:pt x="636" y="388"/>
                        </a:lnTo>
                        <a:lnTo>
                          <a:pt x="638" y="388"/>
                        </a:lnTo>
                        <a:lnTo>
                          <a:pt x="638" y="390"/>
                        </a:lnTo>
                        <a:lnTo>
                          <a:pt x="636" y="390"/>
                        </a:lnTo>
                        <a:lnTo>
                          <a:pt x="636" y="388"/>
                        </a:lnTo>
                        <a:lnTo>
                          <a:pt x="634" y="388"/>
                        </a:lnTo>
                        <a:lnTo>
                          <a:pt x="634" y="384"/>
                        </a:lnTo>
                        <a:lnTo>
                          <a:pt x="630" y="374"/>
                        </a:lnTo>
                        <a:lnTo>
                          <a:pt x="630" y="370"/>
                        </a:lnTo>
                        <a:lnTo>
                          <a:pt x="632" y="370"/>
                        </a:lnTo>
                        <a:lnTo>
                          <a:pt x="634" y="368"/>
                        </a:lnTo>
                        <a:lnTo>
                          <a:pt x="634" y="366"/>
                        </a:lnTo>
                        <a:lnTo>
                          <a:pt x="636" y="360"/>
                        </a:lnTo>
                        <a:lnTo>
                          <a:pt x="638" y="360"/>
                        </a:lnTo>
                        <a:lnTo>
                          <a:pt x="640" y="360"/>
                        </a:lnTo>
                        <a:lnTo>
                          <a:pt x="642" y="360"/>
                        </a:lnTo>
                        <a:lnTo>
                          <a:pt x="646" y="358"/>
                        </a:lnTo>
                        <a:lnTo>
                          <a:pt x="650" y="358"/>
                        </a:lnTo>
                        <a:lnTo>
                          <a:pt x="652" y="352"/>
                        </a:lnTo>
                        <a:lnTo>
                          <a:pt x="654" y="352"/>
                        </a:lnTo>
                        <a:lnTo>
                          <a:pt x="656" y="352"/>
                        </a:lnTo>
                        <a:lnTo>
                          <a:pt x="658" y="350"/>
                        </a:lnTo>
                        <a:lnTo>
                          <a:pt x="656" y="348"/>
                        </a:lnTo>
                        <a:lnTo>
                          <a:pt x="658" y="348"/>
                        </a:lnTo>
                        <a:lnTo>
                          <a:pt x="658" y="346"/>
                        </a:lnTo>
                        <a:lnTo>
                          <a:pt x="660" y="342"/>
                        </a:lnTo>
                        <a:lnTo>
                          <a:pt x="660" y="340"/>
                        </a:lnTo>
                        <a:lnTo>
                          <a:pt x="662" y="338"/>
                        </a:lnTo>
                        <a:lnTo>
                          <a:pt x="660" y="338"/>
                        </a:lnTo>
                        <a:lnTo>
                          <a:pt x="660" y="336"/>
                        </a:lnTo>
                        <a:lnTo>
                          <a:pt x="662" y="336"/>
                        </a:lnTo>
                        <a:lnTo>
                          <a:pt x="664" y="338"/>
                        </a:lnTo>
                        <a:lnTo>
                          <a:pt x="666" y="338"/>
                        </a:lnTo>
                        <a:lnTo>
                          <a:pt x="666" y="336"/>
                        </a:lnTo>
                        <a:lnTo>
                          <a:pt x="668" y="336"/>
                        </a:lnTo>
                        <a:lnTo>
                          <a:pt x="666" y="334"/>
                        </a:lnTo>
                        <a:lnTo>
                          <a:pt x="664" y="334"/>
                        </a:lnTo>
                        <a:lnTo>
                          <a:pt x="664" y="332"/>
                        </a:lnTo>
                        <a:lnTo>
                          <a:pt x="662" y="330"/>
                        </a:lnTo>
                        <a:lnTo>
                          <a:pt x="658" y="330"/>
                        </a:lnTo>
                        <a:lnTo>
                          <a:pt x="656" y="328"/>
                        </a:lnTo>
                        <a:lnTo>
                          <a:pt x="640" y="330"/>
                        </a:lnTo>
                        <a:lnTo>
                          <a:pt x="634" y="328"/>
                        </a:lnTo>
                        <a:lnTo>
                          <a:pt x="634" y="326"/>
                        </a:lnTo>
                        <a:lnTo>
                          <a:pt x="632" y="328"/>
                        </a:lnTo>
                        <a:lnTo>
                          <a:pt x="626" y="328"/>
                        </a:lnTo>
                        <a:lnTo>
                          <a:pt x="616" y="328"/>
                        </a:lnTo>
                        <a:lnTo>
                          <a:pt x="614" y="328"/>
                        </a:lnTo>
                        <a:lnTo>
                          <a:pt x="612" y="328"/>
                        </a:lnTo>
                        <a:lnTo>
                          <a:pt x="610" y="328"/>
                        </a:lnTo>
                        <a:lnTo>
                          <a:pt x="598" y="324"/>
                        </a:lnTo>
                        <a:lnTo>
                          <a:pt x="594" y="324"/>
                        </a:lnTo>
                        <a:lnTo>
                          <a:pt x="594" y="322"/>
                        </a:lnTo>
                        <a:lnTo>
                          <a:pt x="594" y="320"/>
                        </a:lnTo>
                        <a:lnTo>
                          <a:pt x="594" y="318"/>
                        </a:lnTo>
                        <a:lnTo>
                          <a:pt x="596" y="316"/>
                        </a:lnTo>
                        <a:lnTo>
                          <a:pt x="596" y="314"/>
                        </a:lnTo>
                        <a:lnTo>
                          <a:pt x="594" y="312"/>
                        </a:lnTo>
                        <a:lnTo>
                          <a:pt x="594" y="306"/>
                        </a:lnTo>
                        <a:lnTo>
                          <a:pt x="594" y="302"/>
                        </a:lnTo>
                        <a:lnTo>
                          <a:pt x="592" y="300"/>
                        </a:lnTo>
                        <a:lnTo>
                          <a:pt x="592" y="298"/>
                        </a:lnTo>
                        <a:lnTo>
                          <a:pt x="590" y="298"/>
                        </a:lnTo>
                        <a:lnTo>
                          <a:pt x="590" y="296"/>
                        </a:lnTo>
                        <a:lnTo>
                          <a:pt x="588" y="296"/>
                        </a:lnTo>
                        <a:lnTo>
                          <a:pt x="586" y="298"/>
                        </a:lnTo>
                        <a:lnTo>
                          <a:pt x="588" y="300"/>
                        </a:lnTo>
                        <a:lnTo>
                          <a:pt x="586" y="302"/>
                        </a:lnTo>
                        <a:lnTo>
                          <a:pt x="580" y="302"/>
                        </a:lnTo>
                        <a:lnTo>
                          <a:pt x="578" y="300"/>
                        </a:lnTo>
                        <a:lnTo>
                          <a:pt x="574" y="298"/>
                        </a:lnTo>
                        <a:lnTo>
                          <a:pt x="574" y="290"/>
                        </a:lnTo>
                        <a:lnTo>
                          <a:pt x="570" y="288"/>
                        </a:lnTo>
                        <a:lnTo>
                          <a:pt x="570" y="290"/>
                        </a:lnTo>
                        <a:lnTo>
                          <a:pt x="568" y="290"/>
                        </a:lnTo>
                        <a:lnTo>
                          <a:pt x="574" y="294"/>
                        </a:lnTo>
                        <a:lnTo>
                          <a:pt x="572" y="296"/>
                        </a:lnTo>
                        <a:lnTo>
                          <a:pt x="564" y="294"/>
                        </a:lnTo>
                        <a:lnTo>
                          <a:pt x="562" y="290"/>
                        </a:lnTo>
                        <a:lnTo>
                          <a:pt x="562" y="288"/>
                        </a:lnTo>
                        <a:lnTo>
                          <a:pt x="560" y="288"/>
                        </a:lnTo>
                        <a:lnTo>
                          <a:pt x="556" y="286"/>
                        </a:lnTo>
                        <a:lnTo>
                          <a:pt x="556" y="284"/>
                        </a:lnTo>
                        <a:lnTo>
                          <a:pt x="554" y="284"/>
                        </a:lnTo>
                        <a:lnTo>
                          <a:pt x="554" y="288"/>
                        </a:lnTo>
                        <a:lnTo>
                          <a:pt x="556" y="288"/>
                        </a:lnTo>
                        <a:lnTo>
                          <a:pt x="558" y="288"/>
                        </a:lnTo>
                        <a:lnTo>
                          <a:pt x="558" y="290"/>
                        </a:lnTo>
                        <a:lnTo>
                          <a:pt x="558" y="292"/>
                        </a:lnTo>
                        <a:lnTo>
                          <a:pt x="556" y="292"/>
                        </a:lnTo>
                        <a:lnTo>
                          <a:pt x="554" y="294"/>
                        </a:lnTo>
                        <a:lnTo>
                          <a:pt x="550" y="298"/>
                        </a:lnTo>
                        <a:lnTo>
                          <a:pt x="546" y="306"/>
                        </a:lnTo>
                        <a:lnTo>
                          <a:pt x="548" y="310"/>
                        </a:lnTo>
                        <a:lnTo>
                          <a:pt x="550" y="308"/>
                        </a:lnTo>
                        <a:lnTo>
                          <a:pt x="552" y="308"/>
                        </a:lnTo>
                        <a:lnTo>
                          <a:pt x="556" y="312"/>
                        </a:lnTo>
                        <a:lnTo>
                          <a:pt x="556" y="316"/>
                        </a:lnTo>
                        <a:lnTo>
                          <a:pt x="560" y="318"/>
                        </a:lnTo>
                        <a:lnTo>
                          <a:pt x="564" y="318"/>
                        </a:lnTo>
                        <a:lnTo>
                          <a:pt x="566" y="318"/>
                        </a:lnTo>
                        <a:lnTo>
                          <a:pt x="568" y="318"/>
                        </a:lnTo>
                        <a:lnTo>
                          <a:pt x="568" y="320"/>
                        </a:lnTo>
                        <a:lnTo>
                          <a:pt x="566" y="320"/>
                        </a:lnTo>
                        <a:lnTo>
                          <a:pt x="568" y="322"/>
                        </a:lnTo>
                        <a:lnTo>
                          <a:pt x="568" y="324"/>
                        </a:lnTo>
                        <a:lnTo>
                          <a:pt x="570" y="324"/>
                        </a:lnTo>
                        <a:lnTo>
                          <a:pt x="572" y="324"/>
                        </a:lnTo>
                        <a:lnTo>
                          <a:pt x="570" y="328"/>
                        </a:lnTo>
                        <a:lnTo>
                          <a:pt x="568" y="328"/>
                        </a:lnTo>
                        <a:lnTo>
                          <a:pt x="558" y="326"/>
                        </a:lnTo>
                        <a:lnTo>
                          <a:pt x="556" y="328"/>
                        </a:lnTo>
                        <a:lnTo>
                          <a:pt x="556" y="330"/>
                        </a:lnTo>
                        <a:lnTo>
                          <a:pt x="556" y="336"/>
                        </a:lnTo>
                        <a:lnTo>
                          <a:pt x="554" y="336"/>
                        </a:lnTo>
                        <a:lnTo>
                          <a:pt x="552" y="336"/>
                        </a:lnTo>
                        <a:lnTo>
                          <a:pt x="550" y="334"/>
                        </a:lnTo>
                        <a:lnTo>
                          <a:pt x="548" y="336"/>
                        </a:lnTo>
                        <a:lnTo>
                          <a:pt x="550" y="338"/>
                        </a:lnTo>
                        <a:lnTo>
                          <a:pt x="546" y="342"/>
                        </a:lnTo>
                        <a:lnTo>
                          <a:pt x="548" y="346"/>
                        </a:lnTo>
                        <a:lnTo>
                          <a:pt x="548" y="348"/>
                        </a:lnTo>
                        <a:lnTo>
                          <a:pt x="550" y="348"/>
                        </a:lnTo>
                        <a:lnTo>
                          <a:pt x="552" y="350"/>
                        </a:lnTo>
                        <a:lnTo>
                          <a:pt x="554" y="350"/>
                        </a:lnTo>
                        <a:lnTo>
                          <a:pt x="558" y="354"/>
                        </a:lnTo>
                        <a:lnTo>
                          <a:pt x="564" y="354"/>
                        </a:lnTo>
                        <a:lnTo>
                          <a:pt x="564" y="356"/>
                        </a:lnTo>
                        <a:lnTo>
                          <a:pt x="564" y="358"/>
                        </a:lnTo>
                        <a:lnTo>
                          <a:pt x="564" y="362"/>
                        </a:lnTo>
                        <a:lnTo>
                          <a:pt x="564" y="366"/>
                        </a:lnTo>
                        <a:lnTo>
                          <a:pt x="562" y="366"/>
                        </a:lnTo>
                        <a:lnTo>
                          <a:pt x="560" y="368"/>
                        </a:lnTo>
                        <a:lnTo>
                          <a:pt x="560" y="374"/>
                        </a:lnTo>
                        <a:lnTo>
                          <a:pt x="560" y="376"/>
                        </a:lnTo>
                        <a:lnTo>
                          <a:pt x="564" y="378"/>
                        </a:lnTo>
                        <a:lnTo>
                          <a:pt x="566" y="378"/>
                        </a:lnTo>
                        <a:lnTo>
                          <a:pt x="566" y="380"/>
                        </a:lnTo>
                        <a:lnTo>
                          <a:pt x="564" y="384"/>
                        </a:lnTo>
                        <a:lnTo>
                          <a:pt x="564" y="386"/>
                        </a:lnTo>
                        <a:lnTo>
                          <a:pt x="566" y="386"/>
                        </a:lnTo>
                        <a:lnTo>
                          <a:pt x="568" y="386"/>
                        </a:lnTo>
                        <a:lnTo>
                          <a:pt x="572" y="386"/>
                        </a:lnTo>
                        <a:lnTo>
                          <a:pt x="568" y="390"/>
                        </a:lnTo>
                        <a:lnTo>
                          <a:pt x="568" y="394"/>
                        </a:lnTo>
                        <a:lnTo>
                          <a:pt x="570" y="396"/>
                        </a:lnTo>
                        <a:lnTo>
                          <a:pt x="572" y="414"/>
                        </a:lnTo>
                        <a:lnTo>
                          <a:pt x="574" y="416"/>
                        </a:lnTo>
                        <a:lnTo>
                          <a:pt x="574" y="418"/>
                        </a:lnTo>
                        <a:lnTo>
                          <a:pt x="572" y="420"/>
                        </a:lnTo>
                        <a:lnTo>
                          <a:pt x="574" y="420"/>
                        </a:lnTo>
                        <a:lnTo>
                          <a:pt x="574" y="424"/>
                        </a:lnTo>
                        <a:lnTo>
                          <a:pt x="572" y="426"/>
                        </a:lnTo>
                        <a:lnTo>
                          <a:pt x="574" y="432"/>
                        </a:lnTo>
                        <a:lnTo>
                          <a:pt x="574" y="434"/>
                        </a:lnTo>
                        <a:lnTo>
                          <a:pt x="572" y="434"/>
                        </a:lnTo>
                        <a:lnTo>
                          <a:pt x="570" y="434"/>
                        </a:lnTo>
                        <a:lnTo>
                          <a:pt x="568" y="434"/>
                        </a:lnTo>
                        <a:lnTo>
                          <a:pt x="566" y="436"/>
                        </a:lnTo>
                        <a:lnTo>
                          <a:pt x="564" y="436"/>
                        </a:lnTo>
                        <a:lnTo>
                          <a:pt x="564" y="434"/>
                        </a:lnTo>
                        <a:lnTo>
                          <a:pt x="562" y="428"/>
                        </a:lnTo>
                        <a:lnTo>
                          <a:pt x="564" y="424"/>
                        </a:lnTo>
                        <a:lnTo>
                          <a:pt x="566" y="422"/>
                        </a:lnTo>
                        <a:lnTo>
                          <a:pt x="564" y="420"/>
                        </a:lnTo>
                        <a:lnTo>
                          <a:pt x="562" y="424"/>
                        </a:lnTo>
                        <a:lnTo>
                          <a:pt x="562" y="422"/>
                        </a:lnTo>
                        <a:lnTo>
                          <a:pt x="562" y="418"/>
                        </a:lnTo>
                        <a:lnTo>
                          <a:pt x="562" y="416"/>
                        </a:lnTo>
                        <a:lnTo>
                          <a:pt x="562" y="420"/>
                        </a:lnTo>
                        <a:lnTo>
                          <a:pt x="562" y="422"/>
                        </a:lnTo>
                        <a:lnTo>
                          <a:pt x="560" y="424"/>
                        </a:lnTo>
                        <a:lnTo>
                          <a:pt x="562" y="424"/>
                        </a:lnTo>
                        <a:lnTo>
                          <a:pt x="560" y="428"/>
                        </a:lnTo>
                        <a:lnTo>
                          <a:pt x="560" y="430"/>
                        </a:lnTo>
                        <a:lnTo>
                          <a:pt x="562" y="430"/>
                        </a:lnTo>
                        <a:lnTo>
                          <a:pt x="560" y="434"/>
                        </a:lnTo>
                        <a:lnTo>
                          <a:pt x="558" y="436"/>
                        </a:lnTo>
                        <a:lnTo>
                          <a:pt x="558" y="434"/>
                        </a:lnTo>
                        <a:lnTo>
                          <a:pt x="558" y="424"/>
                        </a:lnTo>
                        <a:lnTo>
                          <a:pt x="556" y="426"/>
                        </a:lnTo>
                        <a:lnTo>
                          <a:pt x="556" y="434"/>
                        </a:lnTo>
                        <a:lnTo>
                          <a:pt x="552" y="434"/>
                        </a:lnTo>
                        <a:lnTo>
                          <a:pt x="552" y="430"/>
                        </a:lnTo>
                        <a:lnTo>
                          <a:pt x="552" y="428"/>
                        </a:lnTo>
                        <a:lnTo>
                          <a:pt x="550" y="430"/>
                        </a:lnTo>
                        <a:lnTo>
                          <a:pt x="552" y="430"/>
                        </a:lnTo>
                        <a:lnTo>
                          <a:pt x="552" y="434"/>
                        </a:lnTo>
                        <a:lnTo>
                          <a:pt x="550" y="436"/>
                        </a:lnTo>
                        <a:lnTo>
                          <a:pt x="550" y="432"/>
                        </a:lnTo>
                        <a:lnTo>
                          <a:pt x="550" y="430"/>
                        </a:lnTo>
                        <a:lnTo>
                          <a:pt x="550" y="428"/>
                        </a:lnTo>
                        <a:lnTo>
                          <a:pt x="550" y="426"/>
                        </a:lnTo>
                        <a:lnTo>
                          <a:pt x="548" y="426"/>
                        </a:lnTo>
                        <a:lnTo>
                          <a:pt x="548" y="424"/>
                        </a:lnTo>
                        <a:lnTo>
                          <a:pt x="550" y="422"/>
                        </a:lnTo>
                        <a:lnTo>
                          <a:pt x="550" y="420"/>
                        </a:lnTo>
                        <a:lnTo>
                          <a:pt x="550" y="418"/>
                        </a:lnTo>
                        <a:lnTo>
                          <a:pt x="548" y="418"/>
                        </a:lnTo>
                        <a:lnTo>
                          <a:pt x="546" y="416"/>
                        </a:lnTo>
                        <a:lnTo>
                          <a:pt x="544" y="416"/>
                        </a:lnTo>
                        <a:lnTo>
                          <a:pt x="542" y="412"/>
                        </a:lnTo>
                        <a:lnTo>
                          <a:pt x="542" y="410"/>
                        </a:lnTo>
                        <a:lnTo>
                          <a:pt x="542" y="414"/>
                        </a:lnTo>
                        <a:lnTo>
                          <a:pt x="544" y="414"/>
                        </a:lnTo>
                        <a:lnTo>
                          <a:pt x="544" y="416"/>
                        </a:lnTo>
                        <a:lnTo>
                          <a:pt x="546" y="418"/>
                        </a:lnTo>
                        <a:lnTo>
                          <a:pt x="548" y="418"/>
                        </a:lnTo>
                        <a:lnTo>
                          <a:pt x="550" y="418"/>
                        </a:lnTo>
                        <a:lnTo>
                          <a:pt x="550" y="420"/>
                        </a:lnTo>
                        <a:lnTo>
                          <a:pt x="546" y="424"/>
                        </a:lnTo>
                        <a:lnTo>
                          <a:pt x="544" y="426"/>
                        </a:lnTo>
                        <a:lnTo>
                          <a:pt x="540" y="432"/>
                        </a:lnTo>
                        <a:lnTo>
                          <a:pt x="536" y="434"/>
                        </a:lnTo>
                        <a:lnTo>
                          <a:pt x="532" y="434"/>
                        </a:lnTo>
                        <a:lnTo>
                          <a:pt x="530" y="434"/>
                        </a:lnTo>
                        <a:lnTo>
                          <a:pt x="518" y="438"/>
                        </a:lnTo>
                        <a:lnTo>
                          <a:pt x="516" y="440"/>
                        </a:lnTo>
                        <a:lnTo>
                          <a:pt x="514" y="444"/>
                        </a:lnTo>
                        <a:lnTo>
                          <a:pt x="512" y="446"/>
                        </a:lnTo>
                        <a:lnTo>
                          <a:pt x="514" y="452"/>
                        </a:lnTo>
                        <a:lnTo>
                          <a:pt x="516" y="456"/>
                        </a:lnTo>
                        <a:lnTo>
                          <a:pt x="516" y="458"/>
                        </a:lnTo>
                        <a:lnTo>
                          <a:pt x="514" y="458"/>
                        </a:lnTo>
                        <a:lnTo>
                          <a:pt x="516" y="460"/>
                        </a:lnTo>
                        <a:lnTo>
                          <a:pt x="516" y="462"/>
                        </a:lnTo>
                        <a:lnTo>
                          <a:pt x="518" y="462"/>
                        </a:lnTo>
                        <a:lnTo>
                          <a:pt x="516" y="462"/>
                        </a:lnTo>
                        <a:lnTo>
                          <a:pt x="510" y="468"/>
                        </a:lnTo>
                        <a:lnTo>
                          <a:pt x="510" y="470"/>
                        </a:lnTo>
                        <a:lnTo>
                          <a:pt x="512" y="468"/>
                        </a:lnTo>
                        <a:lnTo>
                          <a:pt x="512" y="470"/>
                        </a:lnTo>
                        <a:lnTo>
                          <a:pt x="508" y="474"/>
                        </a:lnTo>
                        <a:lnTo>
                          <a:pt x="506" y="474"/>
                        </a:lnTo>
                        <a:lnTo>
                          <a:pt x="504" y="476"/>
                        </a:lnTo>
                        <a:lnTo>
                          <a:pt x="502" y="482"/>
                        </a:lnTo>
                        <a:lnTo>
                          <a:pt x="500" y="482"/>
                        </a:lnTo>
                        <a:lnTo>
                          <a:pt x="498" y="480"/>
                        </a:lnTo>
                        <a:lnTo>
                          <a:pt x="494" y="478"/>
                        </a:lnTo>
                        <a:lnTo>
                          <a:pt x="496" y="480"/>
                        </a:lnTo>
                        <a:lnTo>
                          <a:pt x="500" y="482"/>
                        </a:lnTo>
                        <a:lnTo>
                          <a:pt x="490" y="486"/>
                        </a:lnTo>
                        <a:lnTo>
                          <a:pt x="488" y="486"/>
                        </a:lnTo>
                        <a:lnTo>
                          <a:pt x="476" y="490"/>
                        </a:lnTo>
                        <a:lnTo>
                          <a:pt x="474" y="490"/>
                        </a:lnTo>
                        <a:lnTo>
                          <a:pt x="476" y="488"/>
                        </a:lnTo>
                        <a:lnTo>
                          <a:pt x="478" y="488"/>
                        </a:lnTo>
                        <a:lnTo>
                          <a:pt x="478" y="486"/>
                        </a:lnTo>
                        <a:lnTo>
                          <a:pt x="474" y="484"/>
                        </a:lnTo>
                        <a:lnTo>
                          <a:pt x="472" y="486"/>
                        </a:lnTo>
                        <a:lnTo>
                          <a:pt x="472" y="488"/>
                        </a:lnTo>
                        <a:lnTo>
                          <a:pt x="468" y="488"/>
                        </a:lnTo>
                        <a:lnTo>
                          <a:pt x="468" y="492"/>
                        </a:lnTo>
                        <a:lnTo>
                          <a:pt x="466" y="492"/>
                        </a:lnTo>
                        <a:lnTo>
                          <a:pt x="466" y="494"/>
                        </a:lnTo>
                        <a:lnTo>
                          <a:pt x="466" y="496"/>
                        </a:lnTo>
                        <a:lnTo>
                          <a:pt x="468" y="494"/>
                        </a:lnTo>
                        <a:lnTo>
                          <a:pt x="468" y="492"/>
                        </a:lnTo>
                        <a:lnTo>
                          <a:pt x="470" y="492"/>
                        </a:lnTo>
                        <a:lnTo>
                          <a:pt x="472" y="490"/>
                        </a:lnTo>
                        <a:lnTo>
                          <a:pt x="474" y="490"/>
                        </a:lnTo>
                        <a:lnTo>
                          <a:pt x="472" y="492"/>
                        </a:lnTo>
                        <a:lnTo>
                          <a:pt x="472" y="494"/>
                        </a:lnTo>
                        <a:lnTo>
                          <a:pt x="470" y="494"/>
                        </a:lnTo>
                        <a:lnTo>
                          <a:pt x="472" y="494"/>
                        </a:lnTo>
                        <a:lnTo>
                          <a:pt x="470" y="494"/>
                        </a:lnTo>
                        <a:lnTo>
                          <a:pt x="468" y="496"/>
                        </a:lnTo>
                        <a:lnTo>
                          <a:pt x="466" y="496"/>
                        </a:lnTo>
                        <a:lnTo>
                          <a:pt x="458" y="504"/>
                        </a:lnTo>
                        <a:lnTo>
                          <a:pt x="458" y="506"/>
                        </a:lnTo>
                        <a:lnTo>
                          <a:pt x="456" y="506"/>
                        </a:lnTo>
                        <a:lnTo>
                          <a:pt x="454" y="506"/>
                        </a:lnTo>
                        <a:lnTo>
                          <a:pt x="456" y="508"/>
                        </a:lnTo>
                        <a:lnTo>
                          <a:pt x="454" y="512"/>
                        </a:lnTo>
                        <a:lnTo>
                          <a:pt x="452" y="512"/>
                        </a:lnTo>
                        <a:lnTo>
                          <a:pt x="452" y="514"/>
                        </a:lnTo>
                        <a:lnTo>
                          <a:pt x="438" y="528"/>
                        </a:lnTo>
                        <a:lnTo>
                          <a:pt x="438" y="530"/>
                        </a:lnTo>
                        <a:lnTo>
                          <a:pt x="438" y="532"/>
                        </a:lnTo>
                        <a:lnTo>
                          <a:pt x="432" y="534"/>
                        </a:lnTo>
                        <a:lnTo>
                          <a:pt x="424" y="538"/>
                        </a:lnTo>
                        <a:lnTo>
                          <a:pt x="414" y="552"/>
                        </a:lnTo>
                        <a:lnTo>
                          <a:pt x="404" y="556"/>
                        </a:lnTo>
                        <a:lnTo>
                          <a:pt x="402" y="556"/>
                        </a:lnTo>
                        <a:lnTo>
                          <a:pt x="402" y="558"/>
                        </a:lnTo>
                        <a:lnTo>
                          <a:pt x="394" y="560"/>
                        </a:lnTo>
                        <a:lnTo>
                          <a:pt x="394" y="562"/>
                        </a:lnTo>
                        <a:lnTo>
                          <a:pt x="392" y="562"/>
                        </a:lnTo>
                        <a:lnTo>
                          <a:pt x="388" y="566"/>
                        </a:lnTo>
                        <a:lnTo>
                          <a:pt x="388" y="568"/>
                        </a:lnTo>
                        <a:lnTo>
                          <a:pt x="386" y="570"/>
                        </a:lnTo>
                        <a:lnTo>
                          <a:pt x="388" y="572"/>
                        </a:lnTo>
                        <a:lnTo>
                          <a:pt x="390" y="572"/>
                        </a:lnTo>
                        <a:lnTo>
                          <a:pt x="390" y="574"/>
                        </a:lnTo>
                        <a:lnTo>
                          <a:pt x="388" y="580"/>
                        </a:lnTo>
                        <a:lnTo>
                          <a:pt x="374" y="588"/>
                        </a:lnTo>
                        <a:lnTo>
                          <a:pt x="372" y="588"/>
                        </a:lnTo>
                        <a:lnTo>
                          <a:pt x="370" y="586"/>
                        </a:lnTo>
                        <a:lnTo>
                          <a:pt x="366" y="586"/>
                        </a:lnTo>
                        <a:lnTo>
                          <a:pt x="364" y="586"/>
                        </a:lnTo>
                        <a:lnTo>
                          <a:pt x="362" y="586"/>
                        </a:lnTo>
                        <a:lnTo>
                          <a:pt x="360" y="588"/>
                        </a:lnTo>
                        <a:lnTo>
                          <a:pt x="358" y="594"/>
                        </a:lnTo>
                        <a:lnTo>
                          <a:pt x="358" y="598"/>
                        </a:lnTo>
                        <a:lnTo>
                          <a:pt x="354" y="600"/>
                        </a:lnTo>
                        <a:lnTo>
                          <a:pt x="352" y="600"/>
                        </a:lnTo>
                        <a:lnTo>
                          <a:pt x="352" y="602"/>
                        </a:lnTo>
                        <a:lnTo>
                          <a:pt x="350" y="600"/>
                        </a:lnTo>
                        <a:lnTo>
                          <a:pt x="350" y="596"/>
                        </a:lnTo>
                        <a:lnTo>
                          <a:pt x="350" y="598"/>
                        </a:lnTo>
                        <a:lnTo>
                          <a:pt x="348" y="604"/>
                        </a:lnTo>
                        <a:lnTo>
                          <a:pt x="348" y="600"/>
                        </a:lnTo>
                        <a:lnTo>
                          <a:pt x="346" y="600"/>
                        </a:lnTo>
                        <a:lnTo>
                          <a:pt x="340" y="600"/>
                        </a:lnTo>
                        <a:lnTo>
                          <a:pt x="336" y="602"/>
                        </a:lnTo>
                        <a:lnTo>
                          <a:pt x="334" y="606"/>
                        </a:lnTo>
                        <a:lnTo>
                          <a:pt x="332" y="606"/>
                        </a:lnTo>
                        <a:lnTo>
                          <a:pt x="332" y="608"/>
                        </a:lnTo>
                        <a:lnTo>
                          <a:pt x="332" y="610"/>
                        </a:lnTo>
                        <a:lnTo>
                          <a:pt x="328" y="614"/>
                        </a:lnTo>
                        <a:lnTo>
                          <a:pt x="328" y="616"/>
                        </a:lnTo>
                        <a:lnTo>
                          <a:pt x="328" y="632"/>
                        </a:lnTo>
                        <a:lnTo>
                          <a:pt x="330" y="634"/>
                        </a:lnTo>
                        <a:lnTo>
                          <a:pt x="330" y="636"/>
                        </a:lnTo>
                        <a:lnTo>
                          <a:pt x="330" y="642"/>
                        </a:lnTo>
                        <a:lnTo>
                          <a:pt x="328" y="646"/>
                        </a:lnTo>
                        <a:lnTo>
                          <a:pt x="328" y="650"/>
                        </a:lnTo>
                        <a:lnTo>
                          <a:pt x="332" y="658"/>
                        </a:lnTo>
                        <a:lnTo>
                          <a:pt x="332" y="660"/>
                        </a:lnTo>
                        <a:lnTo>
                          <a:pt x="332" y="662"/>
                        </a:lnTo>
                        <a:lnTo>
                          <a:pt x="334" y="666"/>
                        </a:lnTo>
                        <a:lnTo>
                          <a:pt x="334" y="668"/>
                        </a:lnTo>
                        <a:lnTo>
                          <a:pt x="332" y="664"/>
                        </a:lnTo>
                        <a:lnTo>
                          <a:pt x="330" y="660"/>
                        </a:lnTo>
                        <a:lnTo>
                          <a:pt x="328" y="662"/>
                        </a:lnTo>
                        <a:lnTo>
                          <a:pt x="328" y="664"/>
                        </a:lnTo>
                        <a:lnTo>
                          <a:pt x="328" y="666"/>
                        </a:lnTo>
                        <a:lnTo>
                          <a:pt x="332" y="668"/>
                        </a:lnTo>
                        <a:lnTo>
                          <a:pt x="334" y="670"/>
                        </a:lnTo>
                        <a:lnTo>
                          <a:pt x="328" y="698"/>
                        </a:lnTo>
                        <a:lnTo>
                          <a:pt x="326" y="702"/>
                        </a:lnTo>
                        <a:lnTo>
                          <a:pt x="324" y="704"/>
                        </a:lnTo>
                        <a:lnTo>
                          <a:pt x="322" y="708"/>
                        </a:lnTo>
                        <a:lnTo>
                          <a:pt x="322" y="710"/>
                        </a:lnTo>
                        <a:lnTo>
                          <a:pt x="320" y="712"/>
                        </a:lnTo>
                        <a:lnTo>
                          <a:pt x="320" y="714"/>
                        </a:lnTo>
                        <a:lnTo>
                          <a:pt x="320" y="716"/>
                        </a:lnTo>
                        <a:lnTo>
                          <a:pt x="318" y="718"/>
                        </a:lnTo>
                        <a:lnTo>
                          <a:pt x="320" y="724"/>
                        </a:lnTo>
                        <a:lnTo>
                          <a:pt x="322" y="728"/>
                        </a:lnTo>
                        <a:lnTo>
                          <a:pt x="322" y="754"/>
                        </a:lnTo>
                        <a:lnTo>
                          <a:pt x="322" y="758"/>
                        </a:lnTo>
                        <a:lnTo>
                          <a:pt x="320" y="758"/>
                        </a:lnTo>
                        <a:lnTo>
                          <a:pt x="318" y="756"/>
                        </a:lnTo>
                        <a:lnTo>
                          <a:pt x="316" y="756"/>
                        </a:lnTo>
                        <a:lnTo>
                          <a:pt x="318" y="758"/>
                        </a:lnTo>
                        <a:lnTo>
                          <a:pt x="320" y="758"/>
                        </a:lnTo>
                        <a:lnTo>
                          <a:pt x="310" y="756"/>
                        </a:lnTo>
                        <a:lnTo>
                          <a:pt x="306" y="758"/>
                        </a:lnTo>
                        <a:lnTo>
                          <a:pt x="304" y="760"/>
                        </a:lnTo>
                        <a:lnTo>
                          <a:pt x="304" y="764"/>
                        </a:lnTo>
                        <a:lnTo>
                          <a:pt x="304" y="766"/>
                        </a:lnTo>
                        <a:lnTo>
                          <a:pt x="298" y="774"/>
                        </a:lnTo>
                        <a:lnTo>
                          <a:pt x="296" y="780"/>
                        </a:lnTo>
                        <a:lnTo>
                          <a:pt x="298" y="782"/>
                        </a:lnTo>
                        <a:lnTo>
                          <a:pt x="298" y="784"/>
                        </a:lnTo>
                        <a:lnTo>
                          <a:pt x="300" y="784"/>
                        </a:lnTo>
                        <a:lnTo>
                          <a:pt x="308" y="786"/>
                        </a:lnTo>
                        <a:lnTo>
                          <a:pt x="310" y="788"/>
                        </a:lnTo>
                        <a:lnTo>
                          <a:pt x="308" y="786"/>
                        </a:lnTo>
                        <a:lnTo>
                          <a:pt x="306" y="786"/>
                        </a:lnTo>
                        <a:lnTo>
                          <a:pt x="298" y="784"/>
                        </a:lnTo>
                        <a:lnTo>
                          <a:pt x="294" y="786"/>
                        </a:lnTo>
                        <a:lnTo>
                          <a:pt x="292" y="786"/>
                        </a:lnTo>
                        <a:lnTo>
                          <a:pt x="284" y="790"/>
                        </a:lnTo>
                        <a:lnTo>
                          <a:pt x="282" y="790"/>
                        </a:lnTo>
                        <a:lnTo>
                          <a:pt x="276" y="794"/>
                        </a:lnTo>
                        <a:lnTo>
                          <a:pt x="274" y="804"/>
                        </a:lnTo>
                        <a:lnTo>
                          <a:pt x="276" y="804"/>
                        </a:lnTo>
                        <a:lnTo>
                          <a:pt x="272" y="810"/>
                        </a:lnTo>
                        <a:lnTo>
                          <a:pt x="270" y="810"/>
                        </a:lnTo>
                        <a:lnTo>
                          <a:pt x="262" y="816"/>
                        </a:lnTo>
                        <a:lnTo>
                          <a:pt x="260" y="816"/>
                        </a:lnTo>
                        <a:lnTo>
                          <a:pt x="258" y="816"/>
                        </a:lnTo>
                        <a:lnTo>
                          <a:pt x="258" y="818"/>
                        </a:lnTo>
                        <a:lnTo>
                          <a:pt x="256" y="818"/>
                        </a:lnTo>
                        <a:lnTo>
                          <a:pt x="250" y="816"/>
                        </a:lnTo>
                        <a:lnTo>
                          <a:pt x="246" y="812"/>
                        </a:lnTo>
                        <a:lnTo>
                          <a:pt x="244" y="810"/>
                        </a:lnTo>
                        <a:lnTo>
                          <a:pt x="232" y="796"/>
                        </a:lnTo>
                        <a:lnTo>
                          <a:pt x="232" y="794"/>
                        </a:lnTo>
                        <a:lnTo>
                          <a:pt x="232" y="792"/>
                        </a:lnTo>
                        <a:lnTo>
                          <a:pt x="234" y="792"/>
                        </a:lnTo>
                        <a:lnTo>
                          <a:pt x="232" y="792"/>
                        </a:lnTo>
                        <a:lnTo>
                          <a:pt x="230" y="792"/>
                        </a:lnTo>
                        <a:lnTo>
                          <a:pt x="228" y="788"/>
                        </a:lnTo>
                        <a:lnTo>
                          <a:pt x="228" y="786"/>
                        </a:lnTo>
                        <a:lnTo>
                          <a:pt x="226" y="784"/>
                        </a:lnTo>
                        <a:lnTo>
                          <a:pt x="226" y="782"/>
                        </a:lnTo>
                        <a:lnTo>
                          <a:pt x="226" y="780"/>
                        </a:lnTo>
                        <a:lnTo>
                          <a:pt x="224" y="780"/>
                        </a:lnTo>
                        <a:lnTo>
                          <a:pt x="224" y="778"/>
                        </a:lnTo>
                        <a:lnTo>
                          <a:pt x="224" y="776"/>
                        </a:lnTo>
                        <a:lnTo>
                          <a:pt x="222" y="766"/>
                        </a:lnTo>
                        <a:lnTo>
                          <a:pt x="224" y="768"/>
                        </a:lnTo>
                        <a:lnTo>
                          <a:pt x="222" y="768"/>
                        </a:lnTo>
                        <a:lnTo>
                          <a:pt x="224" y="770"/>
                        </a:lnTo>
                        <a:lnTo>
                          <a:pt x="226" y="770"/>
                        </a:lnTo>
                        <a:lnTo>
                          <a:pt x="226" y="776"/>
                        </a:lnTo>
                        <a:lnTo>
                          <a:pt x="226" y="778"/>
                        </a:lnTo>
                        <a:lnTo>
                          <a:pt x="228" y="778"/>
                        </a:lnTo>
                        <a:lnTo>
                          <a:pt x="230" y="778"/>
                        </a:lnTo>
                        <a:lnTo>
                          <a:pt x="228" y="776"/>
                        </a:lnTo>
                        <a:lnTo>
                          <a:pt x="228" y="774"/>
                        </a:lnTo>
                        <a:lnTo>
                          <a:pt x="228" y="770"/>
                        </a:lnTo>
                        <a:lnTo>
                          <a:pt x="226" y="768"/>
                        </a:lnTo>
                        <a:lnTo>
                          <a:pt x="224" y="766"/>
                        </a:lnTo>
                        <a:lnTo>
                          <a:pt x="222" y="762"/>
                        </a:lnTo>
                        <a:lnTo>
                          <a:pt x="222" y="764"/>
                        </a:lnTo>
                        <a:lnTo>
                          <a:pt x="222" y="762"/>
                        </a:lnTo>
                        <a:lnTo>
                          <a:pt x="214" y="744"/>
                        </a:lnTo>
                        <a:lnTo>
                          <a:pt x="214" y="742"/>
                        </a:lnTo>
                        <a:lnTo>
                          <a:pt x="208" y="724"/>
                        </a:lnTo>
                        <a:lnTo>
                          <a:pt x="206" y="724"/>
                        </a:lnTo>
                        <a:lnTo>
                          <a:pt x="204" y="722"/>
                        </a:lnTo>
                        <a:lnTo>
                          <a:pt x="204" y="720"/>
                        </a:lnTo>
                        <a:lnTo>
                          <a:pt x="204" y="716"/>
                        </a:lnTo>
                        <a:lnTo>
                          <a:pt x="196" y="708"/>
                        </a:lnTo>
                        <a:lnTo>
                          <a:pt x="194" y="708"/>
                        </a:lnTo>
                        <a:lnTo>
                          <a:pt x="194" y="706"/>
                        </a:lnTo>
                        <a:lnTo>
                          <a:pt x="186" y="688"/>
                        </a:lnTo>
                        <a:lnTo>
                          <a:pt x="184" y="688"/>
                        </a:lnTo>
                        <a:lnTo>
                          <a:pt x="184" y="686"/>
                        </a:lnTo>
                        <a:lnTo>
                          <a:pt x="178" y="658"/>
                        </a:lnTo>
                        <a:lnTo>
                          <a:pt x="178" y="656"/>
                        </a:lnTo>
                        <a:lnTo>
                          <a:pt x="174" y="646"/>
                        </a:lnTo>
                        <a:lnTo>
                          <a:pt x="172" y="640"/>
                        </a:lnTo>
                        <a:lnTo>
                          <a:pt x="172" y="638"/>
                        </a:lnTo>
                        <a:lnTo>
                          <a:pt x="170" y="636"/>
                        </a:lnTo>
                        <a:lnTo>
                          <a:pt x="170" y="638"/>
                        </a:lnTo>
                        <a:lnTo>
                          <a:pt x="170" y="636"/>
                        </a:lnTo>
                        <a:lnTo>
                          <a:pt x="170" y="634"/>
                        </a:lnTo>
                        <a:lnTo>
                          <a:pt x="168" y="632"/>
                        </a:lnTo>
                        <a:lnTo>
                          <a:pt x="166" y="632"/>
                        </a:lnTo>
                        <a:lnTo>
                          <a:pt x="164" y="630"/>
                        </a:lnTo>
                        <a:lnTo>
                          <a:pt x="164" y="628"/>
                        </a:lnTo>
                        <a:lnTo>
                          <a:pt x="160" y="622"/>
                        </a:lnTo>
                        <a:lnTo>
                          <a:pt x="158" y="614"/>
                        </a:lnTo>
                        <a:lnTo>
                          <a:pt x="156" y="614"/>
                        </a:lnTo>
                        <a:lnTo>
                          <a:pt x="158" y="612"/>
                        </a:lnTo>
                        <a:lnTo>
                          <a:pt x="158" y="614"/>
                        </a:lnTo>
                        <a:lnTo>
                          <a:pt x="160" y="614"/>
                        </a:lnTo>
                        <a:lnTo>
                          <a:pt x="158" y="612"/>
                        </a:lnTo>
                        <a:lnTo>
                          <a:pt x="156" y="612"/>
                        </a:lnTo>
                        <a:lnTo>
                          <a:pt x="154" y="610"/>
                        </a:lnTo>
                        <a:lnTo>
                          <a:pt x="152" y="604"/>
                        </a:lnTo>
                        <a:lnTo>
                          <a:pt x="152" y="602"/>
                        </a:lnTo>
                        <a:lnTo>
                          <a:pt x="150" y="600"/>
                        </a:lnTo>
                        <a:lnTo>
                          <a:pt x="148" y="598"/>
                        </a:lnTo>
                        <a:lnTo>
                          <a:pt x="148" y="596"/>
                        </a:lnTo>
                        <a:lnTo>
                          <a:pt x="146" y="596"/>
                        </a:lnTo>
                        <a:lnTo>
                          <a:pt x="142" y="582"/>
                        </a:lnTo>
                        <a:lnTo>
                          <a:pt x="144" y="582"/>
                        </a:lnTo>
                        <a:lnTo>
                          <a:pt x="140" y="568"/>
                        </a:lnTo>
                        <a:lnTo>
                          <a:pt x="142" y="566"/>
                        </a:lnTo>
                        <a:lnTo>
                          <a:pt x="142" y="564"/>
                        </a:lnTo>
                        <a:lnTo>
                          <a:pt x="140" y="564"/>
                        </a:lnTo>
                        <a:lnTo>
                          <a:pt x="140" y="562"/>
                        </a:lnTo>
                        <a:lnTo>
                          <a:pt x="140" y="558"/>
                        </a:lnTo>
                        <a:lnTo>
                          <a:pt x="140" y="554"/>
                        </a:lnTo>
                        <a:lnTo>
                          <a:pt x="138" y="550"/>
                        </a:lnTo>
                        <a:lnTo>
                          <a:pt x="136" y="548"/>
                        </a:lnTo>
                        <a:lnTo>
                          <a:pt x="138" y="546"/>
                        </a:lnTo>
                        <a:lnTo>
                          <a:pt x="136" y="542"/>
                        </a:lnTo>
                        <a:lnTo>
                          <a:pt x="134" y="540"/>
                        </a:lnTo>
                        <a:lnTo>
                          <a:pt x="134" y="530"/>
                        </a:lnTo>
                        <a:lnTo>
                          <a:pt x="130" y="528"/>
                        </a:lnTo>
                        <a:lnTo>
                          <a:pt x="130" y="526"/>
                        </a:lnTo>
                        <a:lnTo>
                          <a:pt x="132" y="524"/>
                        </a:lnTo>
                        <a:lnTo>
                          <a:pt x="130" y="520"/>
                        </a:lnTo>
                        <a:lnTo>
                          <a:pt x="130" y="516"/>
                        </a:lnTo>
                        <a:lnTo>
                          <a:pt x="132" y="516"/>
                        </a:lnTo>
                        <a:lnTo>
                          <a:pt x="134" y="516"/>
                        </a:lnTo>
                        <a:lnTo>
                          <a:pt x="134" y="518"/>
                        </a:lnTo>
                        <a:lnTo>
                          <a:pt x="134" y="516"/>
                        </a:lnTo>
                        <a:lnTo>
                          <a:pt x="132" y="514"/>
                        </a:lnTo>
                        <a:lnTo>
                          <a:pt x="132" y="512"/>
                        </a:lnTo>
                        <a:lnTo>
                          <a:pt x="136" y="510"/>
                        </a:lnTo>
                        <a:lnTo>
                          <a:pt x="134" y="508"/>
                        </a:lnTo>
                        <a:lnTo>
                          <a:pt x="128" y="512"/>
                        </a:lnTo>
                        <a:lnTo>
                          <a:pt x="128" y="510"/>
                        </a:lnTo>
                        <a:lnTo>
                          <a:pt x="128" y="508"/>
                        </a:lnTo>
                        <a:lnTo>
                          <a:pt x="128" y="506"/>
                        </a:lnTo>
                        <a:lnTo>
                          <a:pt x="128" y="504"/>
                        </a:lnTo>
                        <a:lnTo>
                          <a:pt x="128" y="500"/>
                        </a:lnTo>
                        <a:lnTo>
                          <a:pt x="130" y="500"/>
                        </a:lnTo>
                        <a:lnTo>
                          <a:pt x="134" y="502"/>
                        </a:lnTo>
                        <a:lnTo>
                          <a:pt x="134" y="504"/>
                        </a:lnTo>
                        <a:lnTo>
                          <a:pt x="134" y="502"/>
                        </a:lnTo>
                        <a:lnTo>
                          <a:pt x="134" y="500"/>
                        </a:lnTo>
                        <a:lnTo>
                          <a:pt x="128" y="500"/>
                        </a:lnTo>
                        <a:lnTo>
                          <a:pt x="126" y="488"/>
                        </a:lnTo>
                        <a:lnTo>
                          <a:pt x="124" y="486"/>
                        </a:lnTo>
                        <a:lnTo>
                          <a:pt x="124" y="484"/>
                        </a:lnTo>
                        <a:lnTo>
                          <a:pt x="126" y="478"/>
                        </a:lnTo>
                        <a:lnTo>
                          <a:pt x="126" y="476"/>
                        </a:lnTo>
                        <a:lnTo>
                          <a:pt x="128" y="474"/>
                        </a:lnTo>
                        <a:lnTo>
                          <a:pt x="128" y="472"/>
                        </a:lnTo>
                        <a:lnTo>
                          <a:pt x="128" y="470"/>
                        </a:lnTo>
                        <a:lnTo>
                          <a:pt x="128" y="468"/>
                        </a:lnTo>
                        <a:lnTo>
                          <a:pt x="130" y="466"/>
                        </a:lnTo>
                        <a:lnTo>
                          <a:pt x="132" y="458"/>
                        </a:lnTo>
                        <a:lnTo>
                          <a:pt x="130" y="458"/>
                        </a:lnTo>
                        <a:lnTo>
                          <a:pt x="130" y="456"/>
                        </a:lnTo>
                        <a:lnTo>
                          <a:pt x="130" y="450"/>
                        </a:lnTo>
                        <a:lnTo>
                          <a:pt x="128" y="448"/>
                        </a:lnTo>
                        <a:lnTo>
                          <a:pt x="126" y="450"/>
                        </a:lnTo>
                        <a:lnTo>
                          <a:pt x="124" y="450"/>
                        </a:lnTo>
                        <a:lnTo>
                          <a:pt x="122" y="448"/>
                        </a:lnTo>
                        <a:lnTo>
                          <a:pt x="124" y="448"/>
                        </a:lnTo>
                        <a:lnTo>
                          <a:pt x="126" y="446"/>
                        </a:lnTo>
                        <a:lnTo>
                          <a:pt x="122" y="444"/>
                        </a:lnTo>
                        <a:lnTo>
                          <a:pt x="122" y="440"/>
                        </a:lnTo>
                        <a:lnTo>
                          <a:pt x="128" y="438"/>
                        </a:lnTo>
                        <a:lnTo>
                          <a:pt x="126" y="438"/>
                        </a:lnTo>
                        <a:lnTo>
                          <a:pt x="124" y="438"/>
                        </a:lnTo>
                        <a:lnTo>
                          <a:pt x="122" y="440"/>
                        </a:lnTo>
                        <a:lnTo>
                          <a:pt x="122" y="438"/>
                        </a:lnTo>
                        <a:lnTo>
                          <a:pt x="124" y="438"/>
                        </a:lnTo>
                        <a:lnTo>
                          <a:pt x="128" y="434"/>
                        </a:lnTo>
                        <a:lnTo>
                          <a:pt x="132" y="434"/>
                        </a:lnTo>
                        <a:lnTo>
                          <a:pt x="138" y="430"/>
                        </a:lnTo>
                        <a:lnTo>
                          <a:pt x="136" y="430"/>
                        </a:lnTo>
                        <a:lnTo>
                          <a:pt x="134" y="432"/>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513" name="Group 3215"/>
                  <p:cNvGrpSpPr>
                    <a:grpSpLocks/>
                  </p:cNvGrpSpPr>
                  <p:nvPr/>
                </p:nvGrpSpPr>
                <p:grpSpPr bwMode="auto">
                  <a:xfrm>
                    <a:off x="2446" y="3284"/>
                    <a:ext cx="44" cy="190"/>
                    <a:chOff x="2446" y="3284"/>
                    <a:chExt cx="44" cy="190"/>
                  </a:xfrm>
                  <a:grpFill/>
                </p:grpSpPr>
                <p:sp>
                  <p:nvSpPr>
                    <p:cNvPr id="514" name="Freeform 3216"/>
                    <p:cNvSpPr>
                      <a:spLocks/>
                    </p:cNvSpPr>
                    <p:nvPr/>
                  </p:nvSpPr>
                  <p:spPr bwMode="auto">
                    <a:xfrm>
                      <a:off x="2460" y="3284"/>
                      <a:ext cx="6" cy="20"/>
                    </a:xfrm>
                    <a:custGeom>
                      <a:avLst/>
                      <a:gdLst/>
                      <a:ahLst/>
                      <a:cxnLst>
                        <a:cxn ang="0">
                          <a:pos x="2" y="20"/>
                        </a:cxn>
                        <a:cxn ang="0">
                          <a:pos x="0" y="20"/>
                        </a:cxn>
                        <a:cxn ang="0">
                          <a:pos x="0" y="8"/>
                        </a:cxn>
                        <a:cxn ang="0">
                          <a:pos x="2" y="6"/>
                        </a:cxn>
                        <a:cxn ang="0">
                          <a:pos x="2" y="4"/>
                        </a:cxn>
                        <a:cxn ang="0">
                          <a:pos x="4" y="2"/>
                        </a:cxn>
                        <a:cxn ang="0">
                          <a:pos x="4" y="0"/>
                        </a:cxn>
                        <a:cxn ang="0">
                          <a:pos x="6" y="0"/>
                        </a:cxn>
                        <a:cxn ang="0">
                          <a:pos x="6" y="16"/>
                        </a:cxn>
                        <a:cxn ang="0">
                          <a:pos x="4" y="16"/>
                        </a:cxn>
                        <a:cxn ang="0">
                          <a:pos x="4" y="14"/>
                        </a:cxn>
                        <a:cxn ang="0">
                          <a:pos x="4" y="16"/>
                        </a:cxn>
                        <a:cxn ang="0">
                          <a:pos x="2" y="20"/>
                        </a:cxn>
                      </a:cxnLst>
                      <a:rect l="0" t="0" r="r" b="b"/>
                      <a:pathLst>
                        <a:path w="6" h="20">
                          <a:moveTo>
                            <a:pt x="2" y="20"/>
                          </a:moveTo>
                          <a:lnTo>
                            <a:pt x="0" y="20"/>
                          </a:lnTo>
                          <a:lnTo>
                            <a:pt x="0" y="8"/>
                          </a:lnTo>
                          <a:lnTo>
                            <a:pt x="2" y="6"/>
                          </a:lnTo>
                          <a:lnTo>
                            <a:pt x="2" y="4"/>
                          </a:lnTo>
                          <a:lnTo>
                            <a:pt x="4" y="2"/>
                          </a:lnTo>
                          <a:lnTo>
                            <a:pt x="4" y="0"/>
                          </a:lnTo>
                          <a:lnTo>
                            <a:pt x="6" y="0"/>
                          </a:lnTo>
                          <a:lnTo>
                            <a:pt x="6" y="16"/>
                          </a:lnTo>
                          <a:lnTo>
                            <a:pt x="4" y="16"/>
                          </a:lnTo>
                          <a:lnTo>
                            <a:pt x="4" y="14"/>
                          </a:lnTo>
                          <a:lnTo>
                            <a:pt x="4" y="16"/>
                          </a:lnTo>
                          <a:lnTo>
                            <a:pt x="2" y="20"/>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515" name="Freeform 3217"/>
                    <p:cNvSpPr>
                      <a:spLocks/>
                    </p:cNvSpPr>
                    <p:nvPr/>
                  </p:nvSpPr>
                  <p:spPr bwMode="auto">
                    <a:xfrm>
                      <a:off x="2458" y="3304"/>
                      <a:ext cx="6" cy="16"/>
                    </a:xfrm>
                    <a:custGeom>
                      <a:avLst/>
                      <a:gdLst/>
                      <a:ahLst/>
                      <a:cxnLst>
                        <a:cxn ang="0">
                          <a:pos x="4" y="16"/>
                        </a:cxn>
                        <a:cxn ang="0">
                          <a:pos x="2" y="16"/>
                        </a:cxn>
                        <a:cxn ang="0">
                          <a:pos x="0" y="16"/>
                        </a:cxn>
                        <a:cxn ang="0">
                          <a:pos x="0" y="14"/>
                        </a:cxn>
                        <a:cxn ang="0">
                          <a:pos x="0" y="2"/>
                        </a:cxn>
                        <a:cxn ang="0">
                          <a:pos x="2" y="0"/>
                        </a:cxn>
                        <a:cxn ang="0">
                          <a:pos x="4" y="0"/>
                        </a:cxn>
                        <a:cxn ang="0">
                          <a:pos x="6" y="0"/>
                        </a:cxn>
                        <a:cxn ang="0">
                          <a:pos x="6" y="10"/>
                        </a:cxn>
                        <a:cxn ang="0">
                          <a:pos x="6" y="14"/>
                        </a:cxn>
                        <a:cxn ang="0">
                          <a:pos x="6" y="12"/>
                        </a:cxn>
                        <a:cxn ang="0">
                          <a:pos x="4" y="12"/>
                        </a:cxn>
                        <a:cxn ang="0">
                          <a:pos x="2" y="14"/>
                        </a:cxn>
                        <a:cxn ang="0">
                          <a:pos x="4" y="14"/>
                        </a:cxn>
                        <a:cxn ang="0">
                          <a:pos x="4" y="16"/>
                        </a:cxn>
                      </a:cxnLst>
                      <a:rect l="0" t="0" r="r" b="b"/>
                      <a:pathLst>
                        <a:path w="6" h="16">
                          <a:moveTo>
                            <a:pt x="4" y="16"/>
                          </a:moveTo>
                          <a:lnTo>
                            <a:pt x="2" y="16"/>
                          </a:lnTo>
                          <a:lnTo>
                            <a:pt x="0" y="16"/>
                          </a:lnTo>
                          <a:lnTo>
                            <a:pt x="0" y="14"/>
                          </a:lnTo>
                          <a:lnTo>
                            <a:pt x="0" y="2"/>
                          </a:lnTo>
                          <a:lnTo>
                            <a:pt x="2" y="0"/>
                          </a:lnTo>
                          <a:lnTo>
                            <a:pt x="4" y="0"/>
                          </a:lnTo>
                          <a:lnTo>
                            <a:pt x="6" y="0"/>
                          </a:lnTo>
                          <a:lnTo>
                            <a:pt x="6" y="10"/>
                          </a:lnTo>
                          <a:lnTo>
                            <a:pt x="6" y="14"/>
                          </a:lnTo>
                          <a:lnTo>
                            <a:pt x="6" y="12"/>
                          </a:lnTo>
                          <a:lnTo>
                            <a:pt x="4" y="12"/>
                          </a:lnTo>
                          <a:lnTo>
                            <a:pt x="2" y="14"/>
                          </a:lnTo>
                          <a:lnTo>
                            <a:pt x="4" y="14"/>
                          </a:lnTo>
                          <a:lnTo>
                            <a:pt x="4" y="16"/>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16" name="Freeform 3218"/>
                    <p:cNvSpPr>
                      <a:spLocks/>
                    </p:cNvSpPr>
                    <p:nvPr/>
                  </p:nvSpPr>
                  <p:spPr bwMode="auto">
                    <a:xfrm>
                      <a:off x="2458" y="3320"/>
                      <a:ext cx="4" cy="6"/>
                    </a:xfrm>
                    <a:custGeom>
                      <a:avLst/>
                      <a:gdLst/>
                      <a:ahLst/>
                      <a:cxnLst>
                        <a:cxn ang="0">
                          <a:pos x="0" y="6"/>
                        </a:cxn>
                        <a:cxn ang="0">
                          <a:pos x="0" y="4"/>
                        </a:cxn>
                        <a:cxn ang="0">
                          <a:pos x="2" y="4"/>
                        </a:cxn>
                        <a:cxn ang="0">
                          <a:pos x="0" y="2"/>
                        </a:cxn>
                        <a:cxn ang="0">
                          <a:pos x="0" y="0"/>
                        </a:cxn>
                        <a:cxn ang="0">
                          <a:pos x="0" y="2"/>
                        </a:cxn>
                        <a:cxn ang="0">
                          <a:pos x="2" y="2"/>
                        </a:cxn>
                        <a:cxn ang="0">
                          <a:pos x="2" y="0"/>
                        </a:cxn>
                        <a:cxn ang="0">
                          <a:pos x="0" y="0"/>
                        </a:cxn>
                        <a:cxn ang="0">
                          <a:pos x="2" y="0"/>
                        </a:cxn>
                        <a:cxn ang="0">
                          <a:pos x="4" y="0"/>
                        </a:cxn>
                        <a:cxn ang="0">
                          <a:pos x="4" y="2"/>
                        </a:cxn>
                        <a:cxn ang="0">
                          <a:pos x="4" y="4"/>
                        </a:cxn>
                        <a:cxn ang="0">
                          <a:pos x="2" y="6"/>
                        </a:cxn>
                        <a:cxn ang="0">
                          <a:pos x="0" y="6"/>
                        </a:cxn>
                      </a:cxnLst>
                      <a:rect l="0" t="0" r="r" b="b"/>
                      <a:pathLst>
                        <a:path w="4" h="6">
                          <a:moveTo>
                            <a:pt x="0" y="6"/>
                          </a:moveTo>
                          <a:lnTo>
                            <a:pt x="0" y="4"/>
                          </a:lnTo>
                          <a:lnTo>
                            <a:pt x="2" y="4"/>
                          </a:lnTo>
                          <a:lnTo>
                            <a:pt x="0" y="2"/>
                          </a:lnTo>
                          <a:lnTo>
                            <a:pt x="0" y="0"/>
                          </a:lnTo>
                          <a:lnTo>
                            <a:pt x="0" y="2"/>
                          </a:lnTo>
                          <a:lnTo>
                            <a:pt x="2" y="2"/>
                          </a:lnTo>
                          <a:lnTo>
                            <a:pt x="2" y="0"/>
                          </a:lnTo>
                          <a:lnTo>
                            <a:pt x="0" y="0"/>
                          </a:lnTo>
                          <a:lnTo>
                            <a:pt x="2" y="0"/>
                          </a:lnTo>
                          <a:lnTo>
                            <a:pt x="4" y="0"/>
                          </a:lnTo>
                          <a:lnTo>
                            <a:pt x="4" y="2"/>
                          </a:lnTo>
                          <a:lnTo>
                            <a:pt x="4" y="4"/>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17" name="Freeform 3219"/>
                    <p:cNvSpPr>
                      <a:spLocks/>
                    </p:cNvSpPr>
                    <p:nvPr/>
                  </p:nvSpPr>
                  <p:spPr bwMode="auto">
                    <a:xfrm>
                      <a:off x="2452" y="3322"/>
                      <a:ext cx="8" cy="20"/>
                    </a:xfrm>
                    <a:custGeom>
                      <a:avLst/>
                      <a:gdLst/>
                      <a:ahLst/>
                      <a:cxnLst>
                        <a:cxn ang="0">
                          <a:pos x="6" y="4"/>
                        </a:cxn>
                        <a:cxn ang="0">
                          <a:pos x="6" y="6"/>
                        </a:cxn>
                        <a:cxn ang="0">
                          <a:pos x="8" y="10"/>
                        </a:cxn>
                        <a:cxn ang="0">
                          <a:pos x="6" y="20"/>
                        </a:cxn>
                        <a:cxn ang="0">
                          <a:pos x="4" y="20"/>
                        </a:cxn>
                        <a:cxn ang="0">
                          <a:pos x="2" y="18"/>
                        </a:cxn>
                        <a:cxn ang="0">
                          <a:pos x="0" y="10"/>
                        </a:cxn>
                        <a:cxn ang="0">
                          <a:pos x="0" y="8"/>
                        </a:cxn>
                        <a:cxn ang="0">
                          <a:pos x="2" y="10"/>
                        </a:cxn>
                        <a:cxn ang="0">
                          <a:pos x="4" y="6"/>
                        </a:cxn>
                        <a:cxn ang="0">
                          <a:pos x="4" y="2"/>
                        </a:cxn>
                        <a:cxn ang="0">
                          <a:pos x="6" y="0"/>
                        </a:cxn>
                        <a:cxn ang="0">
                          <a:pos x="6" y="2"/>
                        </a:cxn>
                        <a:cxn ang="0">
                          <a:pos x="6" y="4"/>
                        </a:cxn>
                      </a:cxnLst>
                      <a:rect l="0" t="0" r="r" b="b"/>
                      <a:pathLst>
                        <a:path w="8" h="20">
                          <a:moveTo>
                            <a:pt x="6" y="4"/>
                          </a:moveTo>
                          <a:lnTo>
                            <a:pt x="6" y="6"/>
                          </a:lnTo>
                          <a:lnTo>
                            <a:pt x="8" y="10"/>
                          </a:lnTo>
                          <a:lnTo>
                            <a:pt x="6" y="20"/>
                          </a:lnTo>
                          <a:lnTo>
                            <a:pt x="4" y="20"/>
                          </a:lnTo>
                          <a:lnTo>
                            <a:pt x="2" y="18"/>
                          </a:lnTo>
                          <a:lnTo>
                            <a:pt x="0" y="10"/>
                          </a:lnTo>
                          <a:lnTo>
                            <a:pt x="0" y="8"/>
                          </a:lnTo>
                          <a:lnTo>
                            <a:pt x="2" y="10"/>
                          </a:lnTo>
                          <a:lnTo>
                            <a:pt x="4" y="6"/>
                          </a:lnTo>
                          <a:lnTo>
                            <a:pt x="4" y="2"/>
                          </a:lnTo>
                          <a:lnTo>
                            <a:pt x="6" y="0"/>
                          </a:lnTo>
                          <a:lnTo>
                            <a:pt x="6" y="2"/>
                          </a:lnTo>
                          <a:lnTo>
                            <a:pt x="6" y="4"/>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518" name="Freeform 3220"/>
                    <p:cNvSpPr>
                      <a:spLocks/>
                    </p:cNvSpPr>
                    <p:nvPr/>
                  </p:nvSpPr>
                  <p:spPr bwMode="auto">
                    <a:xfrm>
                      <a:off x="2454" y="3342"/>
                      <a:ext cx="4" cy="6"/>
                    </a:xfrm>
                    <a:custGeom>
                      <a:avLst/>
                      <a:gdLst/>
                      <a:ahLst/>
                      <a:cxnLst>
                        <a:cxn ang="0">
                          <a:pos x="0" y="6"/>
                        </a:cxn>
                        <a:cxn ang="0">
                          <a:pos x="0" y="4"/>
                        </a:cxn>
                        <a:cxn ang="0">
                          <a:pos x="0" y="0"/>
                        </a:cxn>
                        <a:cxn ang="0">
                          <a:pos x="2" y="0"/>
                        </a:cxn>
                        <a:cxn ang="0">
                          <a:pos x="2" y="2"/>
                        </a:cxn>
                        <a:cxn ang="0">
                          <a:pos x="4" y="4"/>
                        </a:cxn>
                        <a:cxn ang="0">
                          <a:pos x="2" y="4"/>
                        </a:cxn>
                        <a:cxn ang="0">
                          <a:pos x="2" y="6"/>
                        </a:cxn>
                        <a:cxn ang="0">
                          <a:pos x="0" y="6"/>
                        </a:cxn>
                      </a:cxnLst>
                      <a:rect l="0" t="0" r="r" b="b"/>
                      <a:pathLst>
                        <a:path w="4" h="6">
                          <a:moveTo>
                            <a:pt x="0" y="6"/>
                          </a:moveTo>
                          <a:lnTo>
                            <a:pt x="0" y="4"/>
                          </a:lnTo>
                          <a:lnTo>
                            <a:pt x="0" y="0"/>
                          </a:lnTo>
                          <a:lnTo>
                            <a:pt x="2" y="0"/>
                          </a:lnTo>
                          <a:lnTo>
                            <a:pt x="2" y="2"/>
                          </a:lnTo>
                          <a:lnTo>
                            <a:pt x="4" y="4"/>
                          </a:lnTo>
                          <a:lnTo>
                            <a:pt x="2" y="4"/>
                          </a:lnTo>
                          <a:lnTo>
                            <a:pt x="2" y="6"/>
                          </a:lnTo>
                          <a:lnTo>
                            <a:pt x="0" y="6"/>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19" name="Freeform 3221"/>
                    <p:cNvSpPr>
                      <a:spLocks/>
                    </p:cNvSpPr>
                    <p:nvPr/>
                  </p:nvSpPr>
                  <p:spPr bwMode="auto">
                    <a:xfrm>
                      <a:off x="2446" y="3360"/>
                      <a:ext cx="8" cy="10"/>
                    </a:xfrm>
                    <a:custGeom>
                      <a:avLst/>
                      <a:gdLst/>
                      <a:ahLst/>
                      <a:cxnLst>
                        <a:cxn ang="0">
                          <a:pos x="6" y="4"/>
                        </a:cxn>
                        <a:cxn ang="0">
                          <a:pos x="8" y="6"/>
                        </a:cxn>
                        <a:cxn ang="0">
                          <a:pos x="6" y="8"/>
                        </a:cxn>
                        <a:cxn ang="0">
                          <a:pos x="6" y="10"/>
                        </a:cxn>
                        <a:cxn ang="0">
                          <a:pos x="4" y="10"/>
                        </a:cxn>
                        <a:cxn ang="0">
                          <a:pos x="2" y="10"/>
                        </a:cxn>
                        <a:cxn ang="0">
                          <a:pos x="0" y="6"/>
                        </a:cxn>
                        <a:cxn ang="0">
                          <a:pos x="2" y="4"/>
                        </a:cxn>
                        <a:cxn ang="0">
                          <a:pos x="2" y="2"/>
                        </a:cxn>
                        <a:cxn ang="0">
                          <a:pos x="4" y="0"/>
                        </a:cxn>
                        <a:cxn ang="0">
                          <a:pos x="6" y="0"/>
                        </a:cxn>
                        <a:cxn ang="0">
                          <a:pos x="6" y="4"/>
                        </a:cxn>
                      </a:cxnLst>
                      <a:rect l="0" t="0" r="r" b="b"/>
                      <a:pathLst>
                        <a:path w="8" h="10">
                          <a:moveTo>
                            <a:pt x="6" y="4"/>
                          </a:moveTo>
                          <a:lnTo>
                            <a:pt x="8" y="6"/>
                          </a:lnTo>
                          <a:lnTo>
                            <a:pt x="6" y="8"/>
                          </a:lnTo>
                          <a:lnTo>
                            <a:pt x="6" y="10"/>
                          </a:lnTo>
                          <a:lnTo>
                            <a:pt x="4" y="10"/>
                          </a:lnTo>
                          <a:lnTo>
                            <a:pt x="2" y="10"/>
                          </a:lnTo>
                          <a:lnTo>
                            <a:pt x="0" y="6"/>
                          </a:lnTo>
                          <a:lnTo>
                            <a:pt x="2" y="4"/>
                          </a:lnTo>
                          <a:lnTo>
                            <a:pt x="2" y="2"/>
                          </a:lnTo>
                          <a:lnTo>
                            <a:pt x="4" y="0"/>
                          </a:lnTo>
                          <a:lnTo>
                            <a:pt x="6" y="0"/>
                          </a:lnTo>
                          <a:lnTo>
                            <a:pt x="6" y="4"/>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sp>
                  <p:nvSpPr>
                    <p:cNvPr id="520" name="Rectangle 3222"/>
                    <p:cNvSpPr>
                      <a:spLocks noChangeArrowheads="1"/>
                    </p:cNvSpPr>
                    <p:nvPr/>
                  </p:nvSpPr>
                  <p:spPr bwMode="auto">
                    <a:xfrm>
                      <a:off x="2458" y="3406"/>
                      <a:ext cx="2" cy="2"/>
                    </a:xfrm>
                    <a:prstGeom prst="rect">
                      <a:avLst/>
                    </a:prstGeom>
                    <a:grpFill/>
                    <a:ln w="3175">
                      <a:solidFill>
                        <a:schemeClr val="bg1"/>
                      </a:solidFill>
                      <a:miter lim="800000"/>
                      <a:headEnd/>
                      <a:tailEnd/>
                    </a:ln>
                  </p:spPr>
                  <p:txBody>
                    <a:bodyPr>
                      <a:prstTxWarp prst="textNoShape">
                        <a:avLst/>
                      </a:prstTxWarp>
                    </a:bodyPr>
                    <a:lstStyle/>
                    <a:p>
                      <a:endParaRPr lang="en-GB">
                        <a:solidFill>
                          <a:srgbClr val="000000"/>
                        </a:solidFill>
                      </a:endParaRPr>
                    </a:p>
                  </p:txBody>
                </p:sp>
                <p:sp>
                  <p:nvSpPr>
                    <p:cNvPr id="521" name="Freeform 3223"/>
                    <p:cNvSpPr>
                      <a:spLocks/>
                    </p:cNvSpPr>
                    <p:nvPr/>
                  </p:nvSpPr>
                  <p:spPr bwMode="auto">
                    <a:xfrm>
                      <a:off x="2478" y="3434"/>
                      <a:ext cx="2" cy="6"/>
                    </a:xfrm>
                    <a:custGeom>
                      <a:avLst/>
                      <a:gdLst/>
                      <a:ahLst/>
                      <a:cxnLst>
                        <a:cxn ang="0">
                          <a:pos x="2" y="0"/>
                        </a:cxn>
                        <a:cxn ang="0">
                          <a:pos x="2" y="6"/>
                        </a:cxn>
                        <a:cxn ang="0">
                          <a:pos x="0" y="6"/>
                        </a:cxn>
                        <a:cxn ang="0">
                          <a:pos x="0" y="2"/>
                        </a:cxn>
                        <a:cxn ang="0">
                          <a:pos x="2" y="0"/>
                        </a:cxn>
                      </a:cxnLst>
                      <a:rect l="0" t="0" r="r" b="b"/>
                      <a:pathLst>
                        <a:path w="2" h="6">
                          <a:moveTo>
                            <a:pt x="2" y="0"/>
                          </a:moveTo>
                          <a:lnTo>
                            <a:pt x="2" y="6"/>
                          </a:lnTo>
                          <a:lnTo>
                            <a:pt x="0" y="6"/>
                          </a:lnTo>
                          <a:lnTo>
                            <a:pt x="0" y="2"/>
                          </a:lnTo>
                          <a:lnTo>
                            <a:pt x="2" y="0"/>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2" name="Freeform 3224"/>
                    <p:cNvSpPr>
                      <a:spLocks/>
                    </p:cNvSpPr>
                    <p:nvPr/>
                  </p:nvSpPr>
                  <p:spPr bwMode="auto">
                    <a:xfrm>
                      <a:off x="2474" y="3440"/>
                      <a:ext cx="4" cy="4"/>
                    </a:xfrm>
                    <a:custGeom>
                      <a:avLst/>
                      <a:gdLst/>
                      <a:ahLst/>
                      <a:cxnLst>
                        <a:cxn ang="0">
                          <a:pos x="2" y="0"/>
                        </a:cxn>
                        <a:cxn ang="0">
                          <a:pos x="4" y="2"/>
                        </a:cxn>
                        <a:cxn ang="0">
                          <a:pos x="4" y="4"/>
                        </a:cxn>
                        <a:cxn ang="0">
                          <a:pos x="2" y="4"/>
                        </a:cxn>
                        <a:cxn ang="0">
                          <a:pos x="0" y="2"/>
                        </a:cxn>
                        <a:cxn ang="0">
                          <a:pos x="0" y="0"/>
                        </a:cxn>
                        <a:cxn ang="0">
                          <a:pos x="2" y="0"/>
                        </a:cxn>
                      </a:cxnLst>
                      <a:rect l="0" t="0" r="r" b="b"/>
                      <a:pathLst>
                        <a:path w="4" h="4">
                          <a:moveTo>
                            <a:pt x="2" y="0"/>
                          </a:moveTo>
                          <a:lnTo>
                            <a:pt x="4" y="2"/>
                          </a:lnTo>
                          <a:lnTo>
                            <a:pt x="4" y="4"/>
                          </a:lnTo>
                          <a:lnTo>
                            <a:pt x="2" y="4"/>
                          </a:lnTo>
                          <a:lnTo>
                            <a:pt x="0" y="2"/>
                          </a:lnTo>
                          <a:lnTo>
                            <a:pt x="0" y="0"/>
                          </a:lnTo>
                          <a:lnTo>
                            <a:pt x="2" y="0"/>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3" name="Freeform 3225"/>
                    <p:cNvSpPr>
                      <a:spLocks/>
                    </p:cNvSpPr>
                    <p:nvPr/>
                  </p:nvSpPr>
                  <p:spPr bwMode="auto">
                    <a:xfrm>
                      <a:off x="2482" y="3456"/>
                      <a:ext cx="4" cy="4"/>
                    </a:xfrm>
                    <a:custGeom>
                      <a:avLst/>
                      <a:gdLst/>
                      <a:ahLst/>
                      <a:cxnLst>
                        <a:cxn ang="0">
                          <a:pos x="2" y="0"/>
                        </a:cxn>
                        <a:cxn ang="0">
                          <a:pos x="4" y="2"/>
                        </a:cxn>
                        <a:cxn ang="0">
                          <a:pos x="4" y="4"/>
                        </a:cxn>
                        <a:cxn ang="0">
                          <a:pos x="0" y="4"/>
                        </a:cxn>
                        <a:cxn ang="0">
                          <a:pos x="0" y="2"/>
                        </a:cxn>
                        <a:cxn ang="0">
                          <a:pos x="2" y="0"/>
                        </a:cxn>
                      </a:cxnLst>
                      <a:rect l="0" t="0" r="r" b="b"/>
                      <a:pathLst>
                        <a:path w="4" h="4">
                          <a:moveTo>
                            <a:pt x="2" y="0"/>
                          </a:moveTo>
                          <a:lnTo>
                            <a:pt x="4" y="2"/>
                          </a:lnTo>
                          <a:lnTo>
                            <a:pt x="4" y="4"/>
                          </a:lnTo>
                          <a:lnTo>
                            <a:pt x="0" y="4"/>
                          </a:lnTo>
                          <a:lnTo>
                            <a:pt x="0" y="2"/>
                          </a:lnTo>
                          <a:lnTo>
                            <a:pt x="2" y="0"/>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24" name="Freeform 3226"/>
                    <p:cNvSpPr>
                      <a:spLocks/>
                    </p:cNvSpPr>
                    <p:nvPr/>
                  </p:nvSpPr>
                  <p:spPr bwMode="auto">
                    <a:xfrm>
                      <a:off x="2482" y="3460"/>
                      <a:ext cx="8" cy="14"/>
                    </a:xfrm>
                    <a:custGeom>
                      <a:avLst/>
                      <a:gdLst/>
                      <a:ahLst/>
                      <a:cxnLst>
                        <a:cxn ang="0">
                          <a:pos x="6" y="2"/>
                        </a:cxn>
                        <a:cxn ang="0">
                          <a:pos x="6" y="4"/>
                        </a:cxn>
                        <a:cxn ang="0">
                          <a:pos x="8" y="6"/>
                        </a:cxn>
                        <a:cxn ang="0">
                          <a:pos x="8" y="12"/>
                        </a:cxn>
                        <a:cxn ang="0">
                          <a:pos x="6" y="14"/>
                        </a:cxn>
                        <a:cxn ang="0">
                          <a:pos x="4" y="12"/>
                        </a:cxn>
                        <a:cxn ang="0">
                          <a:pos x="4" y="10"/>
                        </a:cxn>
                        <a:cxn ang="0">
                          <a:pos x="2" y="6"/>
                        </a:cxn>
                        <a:cxn ang="0">
                          <a:pos x="0" y="6"/>
                        </a:cxn>
                        <a:cxn ang="0">
                          <a:pos x="0" y="4"/>
                        </a:cxn>
                        <a:cxn ang="0">
                          <a:pos x="2" y="2"/>
                        </a:cxn>
                        <a:cxn ang="0">
                          <a:pos x="6" y="0"/>
                        </a:cxn>
                        <a:cxn ang="0">
                          <a:pos x="6" y="2"/>
                        </a:cxn>
                      </a:cxnLst>
                      <a:rect l="0" t="0" r="r" b="b"/>
                      <a:pathLst>
                        <a:path w="8" h="14">
                          <a:moveTo>
                            <a:pt x="6" y="2"/>
                          </a:moveTo>
                          <a:lnTo>
                            <a:pt x="6" y="4"/>
                          </a:lnTo>
                          <a:lnTo>
                            <a:pt x="8" y="6"/>
                          </a:lnTo>
                          <a:lnTo>
                            <a:pt x="8" y="12"/>
                          </a:lnTo>
                          <a:lnTo>
                            <a:pt x="6" y="14"/>
                          </a:lnTo>
                          <a:lnTo>
                            <a:pt x="4" y="12"/>
                          </a:lnTo>
                          <a:lnTo>
                            <a:pt x="4" y="10"/>
                          </a:lnTo>
                          <a:lnTo>
                            <a:pt x="2" y="6"/>
                          </a:lnTo>
                          <a:lnTo>
                            <a:pt x="0" y="6"/>
                          </a:lnTo>
                          <a:lnTo>
                            <a:pt x="0" y="4"/>
                          </a:lnTo>
                          <a:lnTo>
                            <a:pt x="2" y="2"/>
                          </a:lnTo>
                          <a:lnTo>
                            <a:pt x="6" y="0"/>
                          </a:lnTo>
                          <a:lnTo>
                            <a:pt x="6" y="2"/>
                          </a:lnTo>
                          <a:close/>
                        </a:path>
                      </a:pathLst>
                    </a:custGeom>
                    <a:solidFill>
                      <a:srgbClr val="646464"/>
                    </a:solidFill>
                    <a:ln w="3175" cmpd="sng">
                      <a:solidFill>
                        <a:srgbClr val="646464"/>
                      </a:solidFill>
                      <a:round/>
                      <a:headEnd/>
                      <a:tailEnd/>
                    </a:ln>
                  </p:spPr>
                  <p:txBody>
                    <a:bodyPr>
                      <a:prstTxWarp prst="textNoShape">
                        <a:avLst/>
                      </a:prstTxWarp>
                    </a:bodyPr>
                    <a:lstStyle/>
                    <a:p>
                      <a:endParaRPr lang="en-GB">
                        <a:solidFill>
                          <a:srgbClr val="000000"/>
                        </a:solidFill>
                      </a:endParaRPr>
                    </a:p>
                  </p:txBody>
                </p:sp>
              </p:grpSp>
            </p:grpSp>
            <p:grpSp>
              <p:nvGrpSpPr>
                <p:cNvPr id="476" name="Group 3232"/>
                <p:cNvGrpSpPr>
                  <a:grpSpLocks/>
                </p:cNvGrpSpPr>
                <p:nvPr/>
              </p:nvGrpSpPr>
              <p:grpSpPr bwMode="auto">
                <a:xfrm>
                  <a:off x="1769568" y="4675404"/>
                  <a:ext cx="673220" cy="403101"/>
                  <a:chOff x="1088" y="3130"/>
                  <a:chExt cx="324" cy="194"/>
                </a:xfrm>
                <a:solidFill>
                  <a:srgbClr val="B9B9B9"/>
                </a:solidFill>
              </p:grpSpPr>
              <p:sp>
                <p:nvSpPr>
                  <p:cNvPr id="509" name="Freeform 3233"/>
                  <p:cNvSpPr>
                    <a:spLocks/>
                  </p:cNvSpPr>
                  <p:nvPr/>
                </p:nvSpPr>
                <p:spPr bwMode="auto">
                  <a:xfrm>
                    <a:off x="1088" y="3130"/>
                    <a:ext cx="286" cy="182"/>
                  </a:xfrm>
                  <a:custGeom>
                    <a:avLst/>
                    <a:gdLst/>
                    <a:ahLst/>
                    <a:cxnLst>
                      <a:cxn ang="0">
                        <a:pos x="162" y="142"/>
                      </a:cxn>
                      <a:cxn ang="0">
                        <a:pos x="150" y="142"/>
                      </a:cxn>
                      <a:cxn ang="0">
                        <a:pos x="146" y="142"/>
                      </a:cxn>
                      <a:cxn ang="0">
                        <a:pos x="144" y="144"/>
                      </a:cxn>
                      <a:cxn ang="0">
                        <a:pos x="140" y="146"/>
                      </a:cxn>
                      <a:cxn ang="0">
                        <a:pos x="136" y="146"/>
                      </a:cxn>
                      <a:cxn ang="0">
                        <a:pos x="126" y="154"/>
                      </a:cxn>
                      <a:cxn ang="0">
                        <a:pos x="116" y="156"/>
                      </a:cxn>
                      <a:cxn ang="0">
                        <a:pos x="114" y="158"/>
                      </a:cxn>
                      <a:cxn ang="0">
                        <a:pos x="104" y="160"/>
                      </a:cxn>
                      <a:cxn ang="0">
                        <a:pos x="92" y="160"/>
                      </a:cxn>
                      <a:cxn ang="0">
                        <a:pos x="86" y="160"/>
                      </a:cxn>
                      <a:cxn ang="0">
                        <a:pos x="80" y="164"/>
                      </a:cxn>
                      <a:cxn ang="0">
                        <a:pos x="76" y="166"/>
                      </a:cxn>
                      <a:cxn ang="0">
                        <a:pos x="72" y="170"/>
                      </a:cxn>
                      <a:cxn ang="0">
                        <a:pos x="68" y="172"/>
                      </a:cxn>
                      <a:cxn ang="0">
                        <a:pos x="64" y="176"/>
                      </a:cxn>
                      <a:cxn ang="0">
                        <a:pos x="60" y="176"/>
                      </a:cxn>
                      <a:cxn ang="0">
                        <a:pos x="62" y="178"/>
                      </a:cxn>
                      <a:cxn ang="0">
                        <a:pos x="56" y="176"/>
                      </a:cxn>
                      <a:cxn ang="0">
                        <a:pos x="48" y="180"/>
                      </a:cxn>
                      <a:cxn ang="0">
                        <a:pos x="34" y="182"/>
                      </a:cxn>
                      <a:cxn ang="0">
                        <a:pos x="26" y="178"/>
                      </a:cxn>
                      <a:cxn ang="0">
                        <a:pos x="22" y="180"/>
                      </a:cxn>
                      <a:cxn ang="0">
                        <a:pos x="22" y="176"/>
                      </a:cxn>
                      <a:cxn ang="0">
                        <a:pos x="16" y="146"/>
                      </a:cxn>
                      <a:cxn ang="0">
                        <a:pos x="12" y="142"/>
                      </a:cxn>
                      <a:cxn ang="0">
                        <a:pos x="8" y="120"/>
                      </a:cxn>
                      <a:cxn ang="0">
                        <a:pos x="6" y="112"/>
                      </a:cxn>
                      <a:cxn ang="0">
                        <a:pos x="2" y="108"/>
                      </a:cxn>
                      <a:cxn ang="0">
                        <a:pos x="2" y="106"/>
                      </a:cxn>
                      <a:cxn ang="0">
                        <a:pos x="4" y="104"/>
                      </a:cxn>
                      <a:cxn ang="0">
                        <a:pos x="2" y="98"/>
                      </a:cxn>
                      <a:cxn ang="0">
                        <a:pos x="0" y="96"/>
                      </a:cxn>
                      <a:cxn ang="0">
                        <a:pos x="2" y="90"/>
                      </a:cxn>
                      <a:cxn ang="0">
                        <a:pos x="4" y="76"/>
                      </a:cxn>
                      <a:cxn ang="0">
                        <a:pos x="10" y="70"/>
                      </a:cxn>
                      <a:cxn ang="0">
                        <a:pos x="12" y="66"/>
                      </a:cxn>
                      <a:cxn ang="0">
                        <a:pos x="12" y="60"/>
                      </a:cxn>
                      <a:cxn ang="0">
                        <a:pos x="18" y="44"/>
                      </a:cxn>
                      <a:cxn ang="0">
                        <a:pos x="20" y="42"/>
                      </a:cxn>
                      <a:cxn ang="0">
                        <a:pos x="26" y="44"/>
                      </a:cxn>
                      <a:cxn ang="0">
                        <a:pos x="30" y="48"/>
                      </a:cxn>
                      <a:cxn ang="0">
                        <a:pos x="38" y="48"/>
                      </a:cxn>
                      <a:cxn ang="0">
                        <a:pos x="50" y="46"/>
                      </a:cxn>
                      <a:cxn ang="0">
                        <a:pos x="100" y="96"/>
                      </a:cxn>
                      <a:cxn ang="0">
                        <a:pos x="256" y="0"/>
                      </a:cxn>
                      <a:cxn ang="0">
                        <a:pos x="284" y="68"/>
                      </a:cxn>
                      <a:cxn ang="0">
                        <a:pos x="280" y="70"/>
                      </a:cxn>
                      <a:cxn ang="0">
                        <a:pos x="272" y="72"/>
                      </a:cxn>
                      <a:cxn ang="0">
                        <a:pos x="268" y="74"/>
                      </a:cxn>
                      <a:cxn ang="0">
                        <a:pos x="264" y="78"/>
                      </a:cxn>
                      <a:cxn ang="0">
                        <a:pos x="262" y="96"/>
                      </a:cxn>
                      <a:cxn ang="0">
                        <a:pos x="248" y="102"/>
                      </a:cxn>
                      <a:cxn ang="0">
                        <a:pos x="236" y="108"/>
                      </a:cxn>
                      <a:cxn ang="0">
                        <a:pos x="220" y="112"/>
                      </a:cxn>
                      <a:cxn ang="0">
                        <a:pos x="214" y="114"/>
                      </a:cxn>
                      <a:cxn ang="0">
                        <a:pos x="202" y="120"/>
                      </a:cxn>
                      <a:cxn ang="0">
                        <a:pos x="188" y="122"/>
                      </a:cxn>
                      <a:cxn ang="0">
                        <a:pos x="176" y="128"/>
                      </a:cxn>
                      <a:cxn ang="0">
                        <a:pos x="174" y="134"/>
                      </a:cxn>
                      <a:cxn ang="0">
                        <a:pos x="164" y="142"/>
                      </a:cxn>
                    </a:cxnLst>
                    <a:rect l="0" t="0" r="r" b="b"/>
                    <a:pathLst>
                      <a:path w="286" h="182">
                        <a:moveTo>
                          <a:pt x="164" y="142"/>
                        </a:moveTo>
                        <a:lnTo>
                          <a:pt x="162" y="142"/>
                        </a:lnTo>
                        <a:lnTo>
                          <a:pt x="158" y="142"/>
                        </a:lnTo>
                        <a:lnTo>
                          <a:pt x="150" y="142"/>
                        </a:lnTo>
                        <a:lnTo>
                          <a:pt x="148" y="142"/>
                        </a:lnTo>
                        <a:lnTo>
                          <a:pt x="146" y="142"/>
                        </a:lnTo>
                        <a:lnTo>
                          <a:pt x="144" y="142"/>
                        </a:lnTo>
                        <a:lnTo>
                          <a:pt x="144" y="144"/>
                        </a:lnTo>
                        <a:lnTo>
                          <a:pt x="142" y="144"/>
                        </a:lnTo>
                        <a:lnTo>
                          <a:pt x="140" y="146"/>
                        </a:lnTo>
                        <a:lnTo>
                          <a:pt x="138" y="146"/>
                        </a:lnTo>
                        <a:lnTo>
                          <a:pt x="136" y="146"/>
                        </a:lnTo>
                        <a:lnTo>
                          <a:pt x="130" y="154"/>
                        </a:lnTo>
                        <a:lnTo>
                          <a:pt x="126" y="154"/>
                        </a:lnTo>
                        <a:lnTo>
                          <a:pt x="124" y="154"/>
                        </a:lnTo>
                        <a:lnTo>
                          <a:pt x="116" y="156"/>
                        </a:lnTo>
                        <a:lnTo>
                          <a:pt x="116" y="158"/>
                        </a:lnTo>
                        <a:lnTo>
                          <a:pt x="114" y="158"/>
                        </a:lnTo>
                        <a:lnTo>
                          <a:pt x="112" y="158"/>
                        </a:lnTo>
                        <a:lnTo>
                          <a:pt x="104" y="160"/>
                        </a:lnTo>
                        <a:lnTo>
                          <a:pt x="102" y="160"/>
                        </a:lnTo>
                        <a:lnTo>
                          <a:pt x="92" y="160"/>
                        </a:lnTo>
                        <a:lnTo>
                          <a:pt x="90" y="160"/>
                        </a:lnTo>
                        <a:lnTo>
                          <a:pt x="86" y="160"/>
                        </a:lnTo>
                        <a:lnTo>
                          <a:pt x="82" y="162"/>
                        </a:lnTo>
                        <a:lnTo>
                          <a:pt x="80" y="164"/>
                        </a:lnTo>
                        <a:lnTo>
                          <a:pt x="78" y="166"/>
                        </a:lnTo>
                        <a:lnTo>
                          <a:pt x="76" y="166"/>
                        </a:lnTo>
                        <a:lnTo>
                          <a:pt x="74" y="170"/>
                        </a:lnTo>
                        <a:lnTo>
                          <a:pt x="72" y="170"/>
                        </a:lnTo>
                        <a:lnTo>
                          <a:pt x="70" y="170"/>
                        </a:lnTo>
                        <a:lnTo>
                          <a:pt x="68" y="172"/>
                        </a:lnTo>
                        <a:lnTo>
                          <a:pt x="66" y="178"/>
                        </a:lnTo>
                        <a:lnTo>
                          <a:pt x="64" y="176"/>
                        </a:lnTo>
                        <a:lnTo>
                          <a:pt x="62" y="176"/>
                        </a:lnTo>
                        <a:lnTo>
                          <a:pt x="60" y="176"/>
                        </a:lnTo>
                        <a:lnTo>
                          <a:pt x="60" y="178"/>
                        </a:lnTo>
                        <a:lnTo>
                          <a:pt x="62" y="178"/>
                        </a:lnTo>
                        <a:lnTo>
                          <a:pt x="60" y="178"/>
                        </a:lnTo>
                        <a:lnTo>
                          <a:pt x="56" y="176"/>
                        </a:lnTo>
                        <a:lnTo>
                          <a:pt x="52" y="176"/>
                        </a:lnTo>
                        <a:lnTo>
                          <a:pt x="48" y="180"/>
                        </a:lnTo>
                        <a:lnTo>
                          <a:pt x="44" y="182"/>
                        </a:lnTo>
                        <a:lnTo>
                          <a:pt x="34" y="182"/>
                        </a:lnTo>
                        <a:lnTo>
                          <a:pt x="34" y="180"/>
                        </a:lnTo>
                        <a:lnTo>
                          <a:pt x="26" y="178"/>
                        </a:lnTo>
                        <a:lnTo>
                          <a:pt x="24" y="180"/>
                        </a:lnTo>
                        <a:lnTo>
                          <a:pt x="22" y="180"/>
                        </a:lnTo>
                        <a:lnTo>
                          <a:pt x="22" y="178"/>
                        </a:lnTo>
                        <a:lnTo>
                          <a:pt x="22" y="176"/>
                        </a:lnTo>
                        <a:lnTo>
                          <a:pt x="16" y="166"/>
                        </a:lnTo>
                        <a:lnTo>
                          <a:pt x="16" y="146"/>
                        </a:lnTo>
                        <a:lnTo>
                          <a:pt x="14" y="146"/>
                        </a:lnTo>
                        <a:lnTo>
                          <a:pt x="12" y="142"/>
                        </a:lnTo>
                        <a:lnTo>
                          <a:pt x="12" y="138"/>
                        </a:lnTo>
                        <a:lnTo>
                          <a:pt x="8" y="120"/>
                        </a:lnTo>
                        <a:lnTo>
                          <a:pt x="8" y="118"/>
                        </a:lnTo>
                        <a:lnTo>
                          <a:pt x="6" y="112"/>
                        </a:lnTo>
                        <a:lnTo>
                          <a:pt x="4" y="110"/>
                        </a:lnTo>
                        <a:lnTo>
                          <a:pt x="2" y="108"/>
                        </a:lnTo>
                        <a:lnTo>
                          <a:pt x="0" y="108"/>
                        </a:lnTo>
                        <a:lnTo>
                          <a:pt x="2" y="106"/>
                        </a:lnTo>
                        <a:lnTo>
                          <a:pt x="4" y="108"/>
                        </a:lnTo>
                        <a:lnTo>
                          <a:pt x="4" y="104"/>
                        </a:lnTo>
                        <a:lnTo>
                          <a:pt x="2" y="100"/>
                        </a:lnTo>
                        <a:lnTo>
                          <a:pt x="2" y="98"/>
                        </a:lnTo>
                        <a:lnTo>
                          <a:pt x="2" y="96"/>
                        </a:lnTo>
                        <a:lnTo>
                          <a:pt x="0" y="96"/>
                        </a:lnTo>
                        <a:lnTo>
                          <a:pt x="2" y="94"/>
                        </a:lnTo>
                        <a:lnTo>
                          <a:pt x="2" y="90"/>
                        </a:lnTo>
                        <a:lnTo>
                          <a:pt x="4" y="90"/>
                        </a:lnTo>
                        <a:lnTo>
                          <a:pt x="4" y="76"/>
                        </a:lnTo>
                        <a:lnTo>
                          <a:pt x="10" y="72"/>
                        </a:lnTo>
                        <a:lnTo>
                          <a:pt x="10" y="70"/>
                        </a:lnTo>
                        <a:lnTo>
                          <a:pt x="12" y="70"/>
                        </a:lnTo>
                        <a:lnTo>
                          <a:pt x="12" y="66"/>
                        </a:lnTo>
                        <a:lnTo>
                          <a:pt x="16" y="66"/>
                        </a:lnTo>
                        <a:lnTo>
                          <a:pt x="12" y="60"/>
                        </a:lnTo>
                        <a:lnTo>
                          <a:pt x="14" y="48"/>
                        </a:lnTo>
                        <a:lnTo>
                          <a:pt x="18" y="44"/>
                        </a:lnTo>
                        <a:lnTo>
                          <a:pt x="20" y="44"/>
                        </a:lnTo>
                        <a:lnTo>
                          <a:pt x="20" y="42"/>
                        </a:lnTo>
                        <a:lnTo>
                          <a:pt x="24" y="42"/>
                        </a:lnTo>
                        <a:lnTo>
                          <a:pt x="26" y="44"/>
                        </a:lnTo>
                        <a:lnTo>
                          <a:pt x="28" y="44"/>
                        </a:lnTo>
                        <a:lnTo>
                          <a:pt x="30" y="48"/>
                        </a:lnTo>
                        <a:lnTo>
                          <a:pt x="34" y="48"/>
                        </a:lnTo>
                        <a:lnTo>
                          <a:pt x="38" y="48"/>
                        </a:lnTo>
                        <a:lnTo>
                          <a:pt x="42" y="46"/>
                        </a:lnTo>
                        <a:lnTo>
                          <a:pt x="50" y="46"/>
                        </a:lnTo>
                        <a:lnTo>
                          <a:pt x="100" y="66"/>
                        </a:lnTo>
                        <a:lnTo>
                          <a:pt x="100" y="96"/>
                        </a:lnTo>
                        <a:lnTo>
                          <a:pt x="168" y="22"/>
                        </a:lnTo>
                        <a:lnTo>
                          <a:pt x="256" y="0"/>
                        </a:lnTo>
                        <a:lnTo>
                          <a:pt x="286" y="68"/>
                        </a:lnTo>
                        <a:lnTo>
                          <a:pt x="284" y="68"/>
                        </a:lnTo>
                        <a:lnTo>
                          <a:pt x="282" y="68"/>
                        </a:lnTo>
                        <a:lnTo>
                          <a:pt x="280" y="70"/>
                        </a:lnTo>
                        <a:lnTo>
                          <a:pt x="276" y="72"/>
                        </a:lnTo>
                        <a:lnTo>
                          <a:pt x="272" y="72"/>
                        </a:lnTo>
                        <a:lnTo>
                          <a:pt x="270" y="74"/>
                        </a:lnTo>
                        <a:lnTo>
                          <a:pt x="268" y="74"/>
                        </a:lnTo>
                        <a:lnTo>
                          <a:pt x="268" y="76"/>
                        </a:lnTo>
                        <a:lnTo>
                          <a:pt x="264" y="78"/>
                        </a:lnTo>
                        <a:lnTo>
                          <a:pt x="260" y="86"/>
                        </a:lnTo>
                        <a:lnTo>
                          <a:pt x="262" y="96"/>
                        </a:lnTo>
                        <a:lnTo>
                          <a:pt x="260" y="98"/>
                        </a:lnTo>
                        <a:lnTo>
                          <a:pt x="248" y="102"/>
                        </a:lnTo>
                        <a:lnTo>
                          <a:pt x="246" y="104"/>
                        </a:lnTo>
                        <a:lnTo>
                          <a:pt x="236" y="108"/>
                        </a:lnTo>
                        <a:lnTo>
                          <a:pt x="234" y="110"/>
                        </a:lnTo>
                        <a:lnTo>
                          <a:pt x="220" y="112"/>
                        </a:lnTo>
                        <a:lnTo>
                          <a:pt x="216" y="112"/>
                        </a:lnTo>
                        <a:lnTo>
                          <a:pt x="214" y="114"/>
                        </a:lnTo>
                        <a:lnTo>
                          <a:pt x="212" y="116"/>
                        </a:lnTo>
                        <a:lnTo>
                          <a:pt x="202" y="120"/>
                        </a:lnTo>
                        <a:lnTo>
                          <a:pt x="202" y="118"/>
                        </a:lnTo>
                        <a:lnTo>
                          <a:pt x="188" y="122"/>
                        </a:lnTo>
                        <a:lnTo>
                          <a:pt x="180" y="126"/>
                        </a:lnTo>
                        <a:lnTo>
                          <a:pt x="176" y="128"/>
                        </a:lnTo>
                        <a:lnTo>
                          <a:pt x="174" y="132"/>
                        </a:lnTo>
                        <a:lnTo>
                          <a:pt x="174" y="134"/>
                        </a:lnTo>
                        <a:lnTo>
                          <a:pt x="166" y="142"/>
                        </a:lnTo>
                        <a:lnTo>
                          <a:pt x="164" y="1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10" name="Freeform 3234"/>
                  <p:cNvSpPr>
                    <a:spLocks/>
                  </p:cNvSpPr>
                  <p:nvPr/>
                </p:nvSpPr>
                <p:spPr bwMode="auto">
                  <a:xfrm>
                    <a:off x="1380" y="3308"/>
                    <a:ext cx="32" cy="12"/>
                  </a:xfrm>
                  <a:custGeom>
                    <a:avLst/>
                    <a:gdLst/>
                    <a:ahLst/>
                    <a:cxnLst>
                      <a:cxn ang="0">
                        <a:pos x="24" y="2"/>
                      </a:cxn>
                      <a:cxn ang="0">
                        <a:pos x="26" y="2"/>
                      </a:cxn>
                      <a:cxn ang="0">
                        <a:pos x="30" y="4"/>
                      </a:cxn>
                      <a:cxn ang="0">
                        <a:pos x="32" y="6"/>
                      </a:cxn>
                      <a:cxn ang="0">
                        <a:pos x="30" y="8"/>
                      </a:cxn>
                      <a:cxn ang="0">
                        <a:pos x="22" y="10"/>
                      </a:cxn>
                      <a:cxn ang="0">
                        <a:pos x="12" y="12"/>
                      </a:cxn>
                      <a:cxn ang="0">
                        <a:pos x="8" y="12"/>
                      </a:cxn>
                      <a:cxn ang="0">
                        <a:pos x="6" y="10"/>
                      </a:cxn>
                      <a:cxn ang="0">
                        <a:pos x="0" y="8"/>
                      </a:cxn>
                      <a:cxn ang="0">
                        <a:pos x="0" y="6"/>
                      </a:cxn>
                      <a:cxn ang="0">
                        <a:pos x="2" y="4"/>
                      </a:cxn>
                      <a:cxn ang="0">
                        <a:pos x="2" y="2"/>
                      </a:cxn>
                      <a:cxn ang="0">
                        <a:pos x="4" y="0"/>
                      </a:cxn>
                      <a:cxn ang="0">
                        <a:pos x="8" y="2"/>
                      </a:cxn>
                      <a:cxn ang="0">
                        <a:pos x="14" y="4"/>
                      </a:cxn>
                      <a:cxn ang="0">
                        <a:pos x="20" y="2"/>
                      </a:cxn>
                      <a:cxn ang="0">
                        <a:pos x="22" y="2"/>
                      </a:cxn>
                      <a:cxn ang="0">
                        <a:pos x="24" y="2"/>
                      </a:cxn>
                    </a:cxnLst>
                    <a:rect l="0" t="0" r="r" b="b"/>
                    <a:pathLst>
                      <a:path w="32" h="12">
                        <a:moveTo>
                          <a:pt x="24" y="2"/>
                        </a:moveTo>
                        <a:lnTo>
                          <a:pt x="26" y="2"/>
                        </a:lnTo>
                        <a:lnTo>
                          <a:pt x="30" y="4"/>
                        </a:lnTo>
                        <a:lnTo>
                          <a:pt x="32" y="6"/>
                        </a:lnTo>
                        <a:lnTo>
                          <a:pt x="30" y="8"/>
                        </a:lnTo>
                        <a:lnTo>
                          <a:pt x="22" y="10"/>
                        </a:lnTo>
                        <a:lnTo>
                          <a:pt x="12" y="12"/>
                        </a:lnTo>
                        <a:lnTo>
                          <a:pt x="8" y="12"/>
                        </a:lnTo>
                        <a:lnTo>
                          <a:pt x="6" y="10"/>
                        </a:lnTo>
                        <a:lnTo>
                          <a:pt x="0" y="8"/>
                        </a:lnTo>
                        <a:lnTo>
                          <a:pt x="0" y="6"/>
                        </a:lnTo>
                        <a:lnTo>
                          <a:pt x="2" y="4"/>
                        </a:lnTo>
                        <a:lnTo>
                          <a:pt x="2" y="2"/>
                        </a:lnTo>
                        <a:lnTo>
                          <a:pt x="4" y="0"/>
                        </a:lnTo>
                        <a:lnTo>
                          <a:pt x="8" y="2"/>
                        </a:lnTo>
                        <a:lnTo>
                          <a:pt x="14" y="4"/>
                        </a:lnTo>
                        <a:lnTo>
                          <a:pt x="20" y="2"/>
                        </a:lnTo>
                        <a:lnTo>
                          <a:pt x="22" y="2"/>
                        </a:lnTo>
                        <a:lnTo>
                          <a:pt x="2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11" name="Freeform 3235"/>
                  <p:cNvSpPr>
                    <a:spLocks/>
                  </p:cNvSpPr>
                  <p:nvPr/>
                </p:nvSpPr>
                <p:spPr bwMode="auto">
                  <a:xfrm>
                    <a:off x="1346" y="3322"/>
                    <a:ext cx="8" cy="2"/>
                  </a:xfrm>
                  <a:custGeom>
                    <a:avLst/>
                    <a:gdLst/>
                    <a:ahLst/>
                    <a:cxnLst>
                      <a:cxn ang="0">
                        <a:pos x="6" y="2"/>
                      </a:cxn>
                      <a:cxn ang="0">
                        <a:pos x="4" y="2"/>
                      </a:cxn>
                      <a:cxn ang="0">
                        <a:pos x="2" y="2"/>
                      </a:cxn>
                      <a:cxn ang="0">
                        <a:pos x="0" y="0"/>
                      </a:cxn>
                      <a:cxn ang="0">
                        <a:pos x="2" y="0"/>
                      </a:cxn>
                      <a:cxn ang="0">
                        <a:pos x="4" y="2"/>
                      </a:cxn>
                      <a:cxn ang="0">
                        <a:pos x="8" y="2"/>
                      </a:cxn>
                      <a:cxn ang="0">
                        <a:pos x="6" y="2"/>
                      </a:cxn>
                    </a:cxnLst>
                    <a:rect l="0" t="0" r="r" b="b"/>
                    <a:pathLst>
                      <a:path w="8" h="2">
                        <a:moveTo>
                          <a:pt x="6" y="2"/>
                        </a:moveTo>
                        <a:lnTo>
                          <a:pt x="4" y="2"/>
                        </a:lnTo>
                        <a:lnTo>
                          <a:pt x="2" y="2"/>
                        </a:lnTo>
                        <a:lnTo>
                          <a:pt x="0" y="0"/>
                        </a:lnTo>
                        <a:lnTo>
                          <a:pt x="2" y="0"/>
                        </a:lnTo>
                        <a:lnTo>
                          <a:pt x="4" y="2"/>
                        </a:lnTo>
                        <a:lnTo>
                          <a:pt x="8" y="2"/>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477" name="Freeform 3236"/>
                <p:cNvSpPr>
                  <a:spLocks/>
                </p:cNvSpPr>
                <p:nvPr/>
              </p:nvSpPr>
              <p:spPr bwMode="auto">
                <a:xfrm>
                  <a:off x="6540287" y="5543941"/>
                  <a:ext cx="8311" cy="16623"/>
                </a:xfrm>
                <a:custGeom>
                  <a:avLst/>
                  <a:gdLst/>
                  <a:ahLst/>
                  <a:cxnLst>
                    <a:cxn ang="0">
                      <a:pos x="4" y="8"/>
                    </a:cxn>
                    <a:cxn ang="0">
                      <a:pos x="2" y="8"/>
                    </a:cxn>
                    <a:cxn ang="0">
                      <a:pos x="2" y="6"/>
                    </a:cxn>
                    <a:cxn ang="0">
                      <a:pos x="0" y="0"/>
                    </a:cxn>
                    <a:cxn ang="0">
                      <a:pos x="4" y="4"/>
                    </a:cxn>
                    <a:cxn ang="0">
                      <a:pos x="4" y="8"/>
                    </a:cxn>
                  </a:cxnLst>
                  <a:rect l="0" t="0" r="r" b="b"/>
                  <a:pathLst>
                    <a:path w="4" h="8">
                      <a:moveTo>
                        <a:pt x="4" y="8"/>
                      </a:moveTo>
                      <a:lnTo>
                        <a:pt x="2" y="8"/>
                      </a:lnTo>
                      <a:lnTo>
                        <a:pt x="2" y="6"/>
                      </a:lnTo>
                      <a:lnTo>
                        <a:pt x="0" y="0"/>
                      </a:lnTo>
                      <a:lnTo>
                        <a:pt x="4" y="4"/>
                      </a:lnTo>
                      <a:lnTo>
                        <a:pt x="4" y="8"/>
                      </a:lnTo>
                      <a:close/>
                    </a:path>
                  </a:pathLst>
                </a:custGeom>
                <a:solidFill>
                  <a:srgbClr val="E8C5CE"/>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8" name="Freeform 3237"/>
                <p:cNvSpPr>
                  <a:spLocks/>
                </p:cNvSpPr>
                <p:nvPr/>
              </p:nvSpPr>
              <p:spPr bwMode="auto">
                <a:xfrm>
                  <a:off x="6486263" y="5564720"/>
                  <a:ext cx="16623" cy="20778"/>
                </a:xfrm>
                <a:custGeom>
                  <a:avLst/>
                  <a:gdLst/>
                  <a:ahLst/>
                  <a:cxnLst>
                    <a:cxn ang="0">
                      <a:pos x="6" y="10"/>
                    </a:cxn>
                    <a:cxn ang="0">
                      <a:pos x="4" y="8"/>
                    </a:cxn>
                    <a:cxn ang="0">
                      <a:pos x="0" y="2"/>
                    </a:cxn>
                    <a:cxn ang="0">
                      <a:pos x="0" y="0"/>
                    </a:cxn>
                    <a:cxn ang="0">
                      <a:pos x="2" y="0"/>
                    </a:cxn>
                    <a:cxn ang="0">
                      <a:pos x="4" y="0"/>
                    </a:cxn>
                    <a:cxn ang="0">
                      <a:pos x="4" y="2"/>
                    </a:cxn>
                    <a:cxn ang="0">
                      <a:pos x="8" y="6"/>
                    </a:cxn>
                    <a:cxn ang="0">
                      <a:pos x="8" y="8"/>
                    </a:cxn>
                    <a:cxn ang="0">
                      <a:pos x="6" y="10"/>
                    </a:cxn>
                  </a:cxnLst>
                  <a:rect l="0" t="0" r="r" b="b"/>
                  <a:pathLst>
                    <a:path w="8" h="10">
                      <a:moveTo>
                        <a:pt x="6" y="10"/>
                      </a:moveTo>
                      <a:lnTo>
                        <a:pt x="4" y="8"/>
                      </a:lnTo>
                      <a:lnTo>
                        <a:pt x="0" y="2"/>
                      </a:lnTo>
                      <a:lnTo>
                        <a:pt x="0" y="0"/>
                      </a:lnTo>
                      <a:lnTo>
                        <a:pt x="2" y="0"/>
                      </a:lnTo>
                      <a:lnTo>
                        <a:pt x="4" y="0"/>
                      </a:lnTo>
                      <a:lnTo>
                        <a:pt x="4" y="2"/>
                      </a:lnTo>
                      <a:lnTo>
                        <a:pt x="8" y="6"/>
                      </a:lnTo>
                      <a:lnTo>
                        <a:pt x="8" y="8"/>
                      </a:lnTo>
                      <a:lnTo>
                        <a:pt x="6" y="10"/>
                      </a:lnTo>
                      <a:close/>
                    </a:path>
                  </a:pathLst>
                </a:custGeom>
                <a:solidFill>
                  <a:srgbClr val="E8C5CE"/>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9" name="Freeform 3238"/>
                <p:cNvSpPr>
                  <a:spLocks/>
                </p:cNvSpPr>
                <p:nvPr/>
              </p:nvSpPr>
              <p:spPr bwMode="auto">
                <a:xfrm>
                  <a:off x="5285272" y="5764192"/>
                  <a:ext cx="12467" cy="8311"/>
                </a:xfrm>
                <a:custGeom>
                  <a:avLst/>
                  <a:gdLst/>
                  <a:ahLst/>
                  <a:cxnLst>
                    <a:cxn ang="0">
                      <a:pos x="6" y="4"/>
                    </a:cxn>
                    <a:cxn ang="0">
                      <a:pos x="4" y="4"/>
                    </a:cxn>
                    <a:cxn ang="0">
                      <a:pos x="0" y="0"/>
                    </a:cxn>
                    <a:cxn ang="0">
                      <a:pos x="6" y="4"/>
                    </a:cxn>
                  </a:cxnLst>
                  <a:rect l="0" t="0" r="r" b="b"/>
                  <a:pathLst>
                    <a:path w="6" h="4">
                      <a:moveTo>
                        <a:pt x="6" y="4"/>
                      </a:moveTo>
                      <a:lnTo>
                        <a:pt x="4" y="4"/>
                      </a:lnTo>
                      <a:lnTo>
                        <a:pt x="0" y="0"/>
                      </a:lnTo>
                      <a:lnTo>
                        <a:pt x="6" y="4"/>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0" name="Freeform 3239"/>
                <p:cNvSpPr>
                  <a:spLocks/>
                </p:cNvSpPr>
                <p:nvPr/>
              </p:nvSpPr>
              <p:spPr bwMode="auto">
                <a:xfrm>
                  <a:off x="5227093" y="5789126"/>
                  <a:ext cx="16623" cy="8311"/>
                </a:xfrm>
                <a:custGeom>
                  <a:avLst/>
                  <a:gdLst/>
                  <a:ahLst/>
                  <a:cxnLst>
                    <a:cxn ang="0">
                      <a:pos x="6" y="0"/>
                    </a:cxn>
                    <a:cxn ang="0">
                      <a:pos x="6" y="2"/>
                    </a:cxn>
                    <a:cxn ang="0">
                      <a:pos x="8" y="2"/>
                    </a:cxn>
                    <a:cxn ang="0">
                      <a:pos x="8" y="4"/>
                    </a:cxn>
                    <a:cxn ang="0">
                      <a:pos x="2" y="4"/>
                    </a:cxn>
                    <a:cxn ang="0">
                      <a:pos x="0" y="4"/>
                    </a:cxn>
                    <a:cxn ang="0">
                      <a:pos x="0" y="2"/>
                    </a:cxn>
                    <a:cxn ang="0">
                      <a:pos x="0" y="0"/>
                    </a:cxn>
                    <a:cxn ang="0">
                      <a:pos x="4" y="0"/>
                    </a:cxn>
                    <a:cxn ang="0">
                      <a:pos x="6" y="0"/>
                    </a:cxn>
                  </a:cxnLst>
                  <a:rect l="0" t="0" r="r" b="b"/>
                  <a:pathLst>
                    <a:path w="8" h="4">
                      <a:moveTo>
                        <a:pt x="6" y="0"/>
                      </a:moveTo>
                      <a:lnTo>
                        <a:pt x="6" y="2"/>
                      </a:lnTo>
                      <a:lnTo>
                        <a:pt x="8" y="2"/>
                      </a:lnTo>
                      <a:lnTo>
                        <a:pt x="8" y="4"/>
                      </a:lnTo>
                      <a:lnTo>
                        <a:pt x="2" y="4"/>
                      </a:lnTo>
                      <a:lnTo>
                        <a:pt x="0" y="4"/>
                      </a:lnTo>
                      <a:lnTo>
                        <a:pt x="0" y="2"/>
                      </a:lnTo>
                      <a:lnTo>
                        <a:pt x="0" y="0"/>
                      </a:lnTo>
                      <a:lnTo>
                        <a:pt x="4" y="0"/>
                      </a:lnTo>
                      <a:lnTo>
                        <a:pt x="6" y="0"/>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1" name="Freeform 3240"/>
                <p:cNvSpPr>
                  <a:spLocks/>
                </p:cNvSpPr>
                <p:nvPr/>
              </p:nvSpPr>
              <p:spPr bwMode="auto">
                <a:xfrm>
                  <a:off x="6615089" y="5976132"/>
                  <a:ext cx="24934" cy="16623"/>
                </a:xfrm>
                <a:custGeom>
                  <a:avLst/>
                  <a:gdLst/>
                  <a:ahLst/>
                  <a:cxnLst>
                    <a:cxn ang="0">
                      <a:pos x="4" y="2"/>
                    </a:cxn>
                    <a:cxn ang="0">
                      <a:pos x="6" y="2"/>
                    </a:cxn>
                    <a:cxn ang="0">
                      <a:pos x="8" y="2"/>
                    </a:cxn>
                    <a:cxn ang="0">
                      <a:pos x="8" y="0"/>
                    </a:cxn>
                    <a:cxn ang="0">
                      <a:pos x="10" y="0"/>
                    </a:cxn>
                    <a:cxn ang="0">
                      <a:pos x="12" y="0"/>
                    </a:cxn>
                    <a:cxn ang="0">
                      <a:pos x="12" y="2"/>
                    </a:cxn>
                    <a:cxn ang="0">
                      <a:pos x="10" y="6"/>
                    </a:cxn>
                    <a:cxn ang="0">
                      <a:pos x="6" y="8"/>
                    </a:cxn>
                    <a:cxn ang="0">
                      <a:pos x="6" y="6"/>
                    </a:cxn>
                    <a:cxn ang="0">
                      <a:pos x="8" y="4"/>
                    </a:cxn>
                    <a:cxn ang="0">
                      <a:pos x="8" y="2"/>
                    </a:cxn>
                    <a:cxn ang="0">
                      <a:pos x="6" y="6"/>
                    </a:cxn>
                    <a:cxn ang="0">
                      <a:pos x="2" y="6"/>
                    </a:cxn>
                    <a:cxn ang="0">
                      <a:pos x="2" y="8"/>
                    </a:cxn>
                    <a:cxn ang="0">
                      <a:pos x="0" y="8"/>
                    </a:cxn>
                    <a:cxn ang="0">
                      <a:pos x="0" y="6"/>
                    </a:cxn>
                    <a:cxn ang="0">
                      <a:pos x="0" y="4"/>
                    </a:cxn>
                    <a:cxn ang="0">
                      <a:pos x="2" y="2"/>
                    </a:cxn>
                    <a:cxn ang="0">
                      <a:pos x="4" y="2"/>
                    </a:cxn>
                  </a:cxnLst>
                  <a:rect l="0" t="0" r="r" b="b"/>
                  <a:pathLst>
                    <a:path w="12" h="8">
                      <a:moveTo>
                        <a:pt x="4" y="2"/>
                      </a:moveTo>
                      <a:lnTo>
                        <a:pt x="6" y="2"/>
                      </a:lnTo>
                      <a:lnTo>
                        <a:pt x="8" y="2"/>
                      </a:lnTo>
                      <a:lnTo>
                        <a:pt x="8" y="0"/>
                      </a:lnTo>
                      <a:lnTo>
                        <a:pt x="10" y="0"/>
                      </a:lnTo>
                      <a:lnTo>
                        <a:pt x="12" y="0"/>
                      </a:lnTo>
                      <a:lnTo>
                        <a:pt x="12" y="2"/>
                      </a:lnTo>
                      <a:lnTo>
                        <a:pt x="10" y="6"/>
                      </a:lnTo>
                      <a:lnTo>
                        <a:pt x="6" y="8"/>
                      </a:lnTo>
                      <a:lnTo>
                        <a:pt x="6" y="6"/>
                      </a:lnTo>
                      <a:lnTo>
                        <a:pt x="8" y="4"/>
                      </a:lnTo>
                      <a:lnTo>
                        <a:pt x="8" y="2"/>
                      </a:lnTo>
                      <a:lnTo>
                        <a:pt x="6" y="6"/>
                      </a:lnTo>
                      <a:lnTo>
                        <a:pt x="2" y="6"/>
                      </a:lnTo>
                      <a:lnTo>
                        <a:pt x="2" y="8"/>
                      </a:lnTo>
                      <a:lnTo>
                        <a:pt x="0" y="8"/>
                      </a:lnTo>
                      <a:lnTo>
                        <a:pt x="0" y="6"/>
                      </a:lnTo>
                      <a:lnTo>
                        <a:pt x="0" y="4"/>
                      </a:lnTo>
                      <a:lnTo>
                        <a:pt x="2" y="2"/>
                      </a:lnTo>
                      <a:lnTo>
                        <a:pt x="4" y="2"/>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2" name="Freeform 3241"/>
                <p:cNvSpPr>
                  <a:spLocks/>
                </p:cNvSpPr>
                <p:nvPr/>
              </p:nvSpPr>
              <p:spPr bwMode="auto">
                <a:xfrm>
                  <a:off x="6893520" y="6075868"/>
                  <a:ext cx="20778" cy="41557"/>
                </a:xfrm>
                <a:custGeom>
                  <a:avLst/>
                  <a:gdLst/>
                  <a:ahLst/>
                  <a:cxnLst>
                    <a:cxn ang="0">
                      <a:pos x="10" y="2"/>
                    </a:cxn>
                    <a:cxn ang="0">
                      <a:pos x="8" y="8"/>
                    </a:cxn>
                    <a:cxn ang="0">
                      <a:pos x="6" y="10"/>
                    </a:cxn>
                    <a:cxn ang="0">
                      <a:pos x="6" y="12"/>
                    </a:cxn>
                    <a:cxn ang="0">
                      <a:pos x="4" y="14"/>
                    </a:cxn>
                    <a:cxn ang="0">
                      <a:pos x="4" y="16"/>
                    </a:cxn>
                    <a:cxn ang="0">
                      <a:pos x="0" y="20"/>
                    </a:cxn>
                    <a:cxn ang="0">
                      <a:pos x="4" y="12"/>
                    </a:cxn>
                    <a:cxn ang="0">
                      <a:pos x="6" y="10"/>
                    </a:cxn>
                    <a:cxn ang="0">
                      <a:pos x="8" y="2"/>
                    </a:cxn>
                    <a:cxn ang="0">
                      <a:pos x="8" y="0"/>
                    </a:cxn>
                    <a:cxn ang="0">
                      <a:pos x="10" y="0"/>
                    </a:cxn>
                    <a:cxn ang="0">
                      <a:pos x="10" y="2"/>
                    </a:cxn>
                  </a:cxnLst>
                  <a:rect l="0" t="0" r="r" b="b"/>
                  <a:pathLst>
                    <a:path w="10" h="20">
                      <a:moveTo>
                        <a:pt x="10" y="2"/>
                      </a:moveTo>
                      <a:lnTo>
                        <a:pt x="8" y="8"/>
                      </a:lnTo>
                      <a:lnTo>
                        <a:pt x="6" y="10"/>
                      </a:lnTo>
                      <a:lnTo>
                        <a:pt x="6" y="12"/>
                      </a:lnTo>
                      <a:lnTo>
                        <a:pt x="4" y="14"/>
                      </a:lnTo>
                      <a:lnTo>
                        <a:pt x="4" y="16"/>
                      </a:lnTo>
                      <a:lnTo>
                        <a:pt x="0" y="20"/>
                      </a:lnTo>
                      <a:lnTo>
                        <a:pt x="4" y="12"/>
                      </a:lnTo>
                      <a:lnTo>
                        <a:pt x="6" y="10"/>
                      </a:lnTo>
                      <a:lnTo>
                        <a:pt x="8" y="2"/>
                      </a:lnTo>
                      <a:lnTo>
                        <a:pt x="8" y="0"/>
                      </a:lnTo>
                      <a:lnTo>
                        <a:pt x="10" y="0"/>
                      </a:lnTo>
                      <a:lnTo>
                        <a:pt x="10" y="2"/>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3" name="Freeform 3242"/>
                <p:cNvSpPr>
                  <a:spLocks/>
                </p:cNvSpPr>
                <p:nvPr/>
              </p:nvSpPr>
              <p:spPr bwMode="auto">
                <a:xfrm>
                  <a:off x="6386527" y="6242095"/>
                  <a:ext cx="24934" cy="20778"/>
                </a:xfrm>
                <a:custGeom>
                  <a:avLst/>
                  <a:gdLst/>
                  <a:ahLst/>
                  <a:cxnLst>
                    <a:cxn ang="0">
                      <a:pos x="2" y="4"/>
                    </a:cxn>
                    <a:cxn ang="0">
                      <a:pos x="4" y="4"/>
                    </a:cxn>
                    <a:cxn ang="0">
                      <a:pos x="6" y="6"/>
                    </a:cxn>
                    <a:cxn ang="0">
                      <a:pos x="10" y="2"/>
                    </a:cxn>
                    <a:cxn ang="0">
                      <a:pos x="10" y="0"/>
                    </a:cxn>
                    <a:cxn ang="0">
                      <a:pos x="12" y="0"/>
                    </a:cxn>
                    <a:cxn ang="0">
                      <a:pos x="12" y="2"/>
                    </a:cxn>
                    <a:cxn ang="0">
                      <a:pos x="8" y="10"/>
                    </a:cxn>
                    <a:cxn ang="0">
                      <a:pos x="6" y="10"/>
                    </a:cxn>
                    <a:cxn ang="0">
                      <a:pos x="4" y="10"/>
                    </a:cxn>
                    <a:cxn ang="0">
                      <a:pos x="4" y="8"/>
                    </a:cxn>
                    <a:cxn ang="0">
                      <a:pos x="2" y="8"/>
                    </a:cxn>
                    <a:cxn ang="0">
                      <a:pos x="0" y="8"/>
                    </a:cxn>
                    <a:cxn ang="0">
                      <a:pos x="2" y="4"/>
                    </a:cxn>
                  </a:cxnLst>
                  <a:rect l="0" t="0" r="r" b="b"/>
                  <a:pathLst>
                    <a:path w="12" h="10">
                      <a:moveTo>
                        <a:pt x="2" y="4"/>
                      </a:moveTo>
                      <a:lnTo>
                        <a:pt x="4" y="4"/>
                      </a:lnTo>
                      <a:lnTo>
                        <a:pt x="6" y="6"/>
                      </a:lnTo>
                      <a:lnTo>
                        <a:pt x="10" y="2"/>
                      </a:lnTo>
                      <a:lnTo>
                        <a:pt x="10" y="0"/>
                      </a:lnTo>
                      <a:lnTo>
                        <a:pt x="12" y="0"/>
                      </a:lnTo>
                      <a:lnTo>
                        <a:pt x="12" y="2"/>
                      </a:lnTo>
                      <a:lnTo>
                        <a:pt x="8" y="10"/>
                      </a:lnTo>
                      <a:lnTo>
                        <a:pt x="6" y="10"/>
                      </a:lnTo>
                      <a:lnTo>
                        <a:pt x="4" y="10"/>
                      </a:lnTo>
                      <a:lnTo>
                        <a:pt x="4" y="8"/>
                      </a:lnTo>
                      <a:lnTo>
                        <a:pt x="2" y="8"/>
                      </a:lnTo>
                      <a:lnTo>
                        <a:pt x="0" y="8"/>
                      </a:lnTo>
                      <a:lnTo>
                        <a:pt x="2" y="4"/>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4" name="Freeform 3243"/>
                <p:cNvSpPr>
                  <a:spLocks/>
                </p:cNvSpPr>
                <p:nvPr/>
              </p:nvSpPr>
              <p:spPr bwMode="auto">
                <a:xfrm>
                  <a:off x="6349126" y="6242095"/>
                  <a:ext cx="41557" cy="24934"/>
                </a:xfrm>
                <a:custGeom>
                  <a:avLst/>
                  <a:gdLst/>
                  <a:ahLst/>
                  <a:cxnLst>
                    <a:cxn ang="0">
                      <a:pos x="4" y="12"/>
                    </a:cxn>
                    <a:cxn ang="0">
                      <a:pos x="4" y="10"/>
                    </a:cxn>
                    <a:cxn ang="0">
                      <a:pos x="0" y="10"/>
                    </a:cxn>
                    <a:cxn ang="0">
                      <a:pos x="4" y="6"/>
                    </a:cxn>
                    <a:cxn ang="0">
                      <a:pos x="6" y="6"/>
                    </a:cxn>
                    <a:cxn ang="0">
                      <a:pos x="6" y="4"/>
                    </a:cxn>
                    <a:cxn ang="0">
                      <a:pos x="4" y="4"/>
                    </a:cxn>
                    <a:cxn ang="0">
                      <a:pos x="4" y="2"/>
                    </a:cxn>
                    <a:cxn ang="0">
                      <a:pos x="10" y="2"/>
                    </a:cxn>
                    <a:cxn ang="0">
                      <a:pos x="10" y="4"/>
                    </a:cxn>
                    <a:cxn ang="0">
                      <a:pos x="8" y="4"/>
                    </a:cxn>
                    <a:cxn ang="0">
                      <a:pos x="8" y="6"/>
                    </a:cxn>
                    <a:cxn ang="0">
                      <a:pos x="10" y="6"/>
                    </a:cxn>
                    <a:cxn ang="0">
                      <a:pos x="10" y="4"/>
                    </a:cxn>
                    <a:cxn ang="0">
                      <a:pos x="16" y="0"/>
                    </a:cxn>
                    <a:cxn ang="0">
                      <a:pos x="20" y="2"/>
                    </a:cxn>
                    <a:cxn ang="0">
                      <a:pos x="18" y="4"/>
                    </a:cxn>
                    <a:cxn ang="0">
                      <a:pos x="16" y="4"/>
                    </a:cxn>
                    <a:cxn ang="0">
                      <a:pos x="14" y="4"/>
                    </a:cxn>
                    <a:cxn ang="0">
                      <a:pos x="8" y="10"/>
                    </a:cxn>
                    <a:cxn ang="0">
                      <a:pos x="6" y="10"/>
                    </a:cxn>
                    <a:cxn ang="0">
                      <a:pos x="4" y="12"/>
                    </a:cxn>
                  </a:cxnLst>
                  <a:rect l="0" t="0" r="r" b="b"/>
                  <a:pathLst>
                    <a:path w="20" h="12">
                      <a:moveTo>
                        <a:pt x="4" y="12"/>
                      </a:moveTo>
                      <a:lnTo>
                        <a:pt x="4" y="10"/>
                      </a:lnTo>
                      <a:lnTo>
                        <a:pt x="0" y="10"/>
                      </a:lnTo>
                      <a:lnTo>
                        <a:pt x="4" y="6"/>
                      </a:lnTo>
                      <a:lnTo>
                        <a:pt x="6" y="6"/>
                      </a:lnTo>
                      <a:lnTo>
                        <a:pt x="6" y="4"/>
                      </a:lnTo>
                      <a:lnTo>
                        <a:pt x="4" y="4"/>
                      </a:lnTo>
                      <a:lnTo>
                        <a:pt x="4" y="2"/>
                      </a:lnTo>
                      <a:lnTo>
                        <a:pt x="10" y="2"/>
                      </a:lnTo>
                      <a:lnTo>
                        <a:pt x="10" y="4"/>
                      </a:lnTo>
                      <a:lnTo>
                        <a:pt x="8" y="4"/>
                      </a:lnTo>
                      <a:lnTo>
                        <a:pt x="8" y="6"/>
                      </a:lnTo>
                      <a:lnTo>
                        <a:pt x="10" y="6"/>
                      </a:lnTo>
                      <a:lnTo>
                        <a:pt x="10" y="4"/>
                      </a:lnTo>
                      <a:lnTo>
                        <a:pt x="16" y="0"/>
                      </a:lnTo>
                      <a:lnTo>
                        <a:pt x="20" y="2"/>
                      </a:lnTo>
                      <a:lnTo>
                        <a:pt x="18" y="4"/>
                      </a:lnTo>
                      <a:lnTo>
                        <a:pt x="16" y="4"/>
                      </a:lnTo>
                      <a:lnTo>
                        <a:pt x="14" y="4"/>
                      </a:lnTo>
                      <a:lnTo>
                        <a:pt x="8" y="10"/>
                      </a:lnTo>
                      <a:lnTo>
                        <a:pt x="6" y="10"/>
                      </a:lnTo>
                      <a:lnTo>
                        <a:pt x="4" y="12"/>
                      </a:lnTo>
                      <a:close/>
                    </a:path>
                  </a:pathLst>
                </a:custGeom>
                <a:solidFill>
                  <a:schemeClr val="bg1">
                    <a:lumMod val="50000"/>
                  </a:schemeClr>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5" name="Freeform 3244"/>
                <p:cNvSpPr>
                  <a:spLocks/>
                </p:cNvSpPr>
                <p:nvPr/>
              </p:nvSpPr>
              <p:spPr bwMode="auto">
                <a:xfrm>
                  <a:off x="6353282" y="6354299"/>
                  <a:ext cx="12467" cy="12467"/>
                </a:xfrm>
                <a:custGeom>
                  <a:avLst/>
                  <a:gdLst/>
                  <a:ahLst/>
                  <a:cxnLst>
                    <a:cxn ang="0">
                      <a:pos x="2" y="2"/>
                    </a:cxn>
                    <a:cxn ang="0">
                      <a:pos x="4" y="0"/>
                    </a:cxn>
                    <a:cxn ang="0">
                      <a:pos x="6" y="2"/>
                    </a:cxn>
                    <a:cxn ang="0">
                      <a:pos x="2" y="6"/>
                    </a:cxn>
                    <a:cxn ang="0">
                      <a:pos x="0" y="6"/>
                    </a:cxn>
                    <a:cxn ang="0">
                      <a:pos x="0" y="4"/>
                    </a:cxn>
                    <a:cxn ang="0">
                      <a:pos x="2" y="2"/>
                    </a:cxn>
                  </a:cxnLst>
                  <a:rect l="0" t="0" r="r" b="b"/>
                  <a:pathLst>
                    <a:path w="6" h="6">
                      <a:moveTo>
                        <a:pt x="2" y="2"/>
                      </a:moveTo>
                      <a:lnTo>
                        <a:pt x="4" y="0"/>
                      </a:lnTo>
                      <a:lnTo>
                        <a:pt x="6" y="2"/>
                      </a:lnTo>
                      <a:lnTo>
                        <a:pt x="2" y="6"/>
                      </a:lnTo>
                      <a:lnTo>
                        <a:pt x="0" y="6"/>
                      </a:lnTo>
                      <a:lnTo>
                        <a:pt x="0" y="4"/>
                      </a:lnTo>
                      <a:lnTo>
                        <a:pt x="2" y="2"/>
                      </a:lnTo>
                      <a:close/>
                    </a:path>
                  </a:pathLst>
                </a:custGeom>
                <a:solidFill>
                  <a:srgbClr val="E8C5CE"/>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6" name="Freeform 3361"/>
                <p:cNvSpPr>
                  <a:spLocks/>
                </p:cNvSpPr>
                <p:nvPr/>
              </p:nvSpPr>
              <p:spPr bwMode="auto">
                <a:xfrm>
                  <a:off x="4878016" y="4588135"/>
                  <a:ext cx="469592" cy="868537"/>
                </a:xfrm>
                <a:custGeom>
                  <a:avLst/>
                  <a:gdLst/>
                  <a:ahLst/>
                  <a:cxnLst>
                    <a:cxn ang="0">
                      <a:pos x="136" y="232"/>
                    </a:cxn>
                    <a:cxn ang="0">
                      <a:pos x="124" y="224"/>
                    </a:cxn>
                    <a:cxn ang="0">
                      <a:pos x="98" y="224"/>
                    </a:cxn>
                    <a:cxn ang="0">
                      <a:pos x="100" y="200"/>
                    </a:cxn>
                    <a:cxn ang="0">
                      <a:pos x="72" y="208"/>
                    </a:cxn>
                    <a:cxn ang="0">
                      <a:pos x="70" y="242"/>
                    </a:cxn>
                    <a:cxn ang="0">
                      <a:pos x="60" y="268"/>
                    </a:cxn>
                    <a:cxn ang="0">
                      <a:pos x="50" y="290"/>
                    </a:cxn>
                    <a:cxn ang="0">
                      <a:pos x="52" y="318"/>
                    </a:cxn>
                    <a:cxn ang="0">
                      <a:pos x="78" y="342"/>
                    </a:cxn>
                    <a:cxn ang="0">
                      <a:pos x="82" y="358"/>
                    </a:cxn>
                    <a:cxn ang="0">
                      <a:pos x="80" y="358"/>
                    </a:cxn>
                    <a:cxn ang="0">
                      <a:pos x="84" y="376"/>
                    </a:cxn>
                    <a:cxn ang="0">
                      <a:pos x="100" y="384"/>
                    </a:cxn>
                    <a:cxn ang="0">
                      <a:pos x="128" y="406"/>
                    </a:cxn>
                    <a:cxn ang="0">
                      <a:pos x="108" y="412"/>
                    </a:cxn>
                    <a:cxn ang="0">
                      <a:pos x="90" y="394"/>
                    </a:cxn>
                    <a:cxn ang="0">
                      <a:pos x="78" y="394"/>
                    </a:cxn>
                    <a:cxn ang="0">
                      <a:pos x="68" y="384"/>
                    </a:cxn>
                    <a:cxn ang="0">
                      <a:pos x="54" y="370"/>
                    </a:cxn>
                    <a:cxn ang="0">
                      <a:pos x="40" y="352"/>
                    </a:cxn>
                    <a:cxn ang="0">
                      <a:pos x="34" y="342"/>
                    </a:cxn>
                    <a:cxn ang="0">
                      <a:pos x="26" y="324"/>
                    </a:cxn>
                    <a:cxn ang="0">
                      <a:pos x="36" y="292"/>
                    </a:cxn>
                    <a:cxn ang="0">
                      <a:pos x="40" y="276"/>
                    </a:cxn>
                    <a:cxn ang="0">
                      <a:pos x="62" y="248"/>
                    </a:cxn>
                    <a:cxn ang="0">
                      <a:pos x="48" y="208"/>
                    </a:cxn>
                    <a:cxn ang="0">
                      <a:pos x="26" y="160"/>
                    </a:cxn>
                    <a:cxn ang="0">
                      <a:pos x="34" y="146"/>
                    </a:cxn>
                    <a:cxn ang="0">
                      <a:pos x="44" y="120"/>
                    </a:cxn>
                    <a:cxn ang="0">
                      <a:pos x="32" y="104"/>
                    </a:cxn>
                    <a:cxn ang="0">
                      <a:pos x="10" y="74"/>
                    </a:cxn>
                    <a:cxn ang="0">
                      <a:pos x="4" y="60"/>
                    </a:cxn>
                    <a:cxn ang="0">
                      <a:pos x="10" y="46"/>
                    </a:cxn>
                    <a:cxn ang="0">
                      <a:pos x="20" y="22"/>
                    </a:cxn>
                    <a:cxn ang="0">
                      <a:pos x="44" y="20"/>
                    </a:cxn>
                    <a:cxn ang="0">
                      <a:pos x="60" y="8"/>
                    </a:cxn>
                    <a:cxn ang="0">
                      <a:pos x="74" y="2"/>
                    </a:cxn>
                    <a:cxn ang="0">
                      <a:pos x="88" y="8"/>
                    </a:cxn>
                    <a:cxn ang="0">
                      <a:pos x="94" y="28"/>
                    </a:cxn>
                    <a:cxn ang="0">
                      <a:pos x="106" y="32"/>
                    </a:cxn>
                    <a:cxn ang="0">
                      <a:pos x="104" y="54"/>
                    </a:cxn>
                    <a:cxn ang="0">
                      <a:pos x="100" y="78"/>
                    </a:cxn>
                    <a:cxn ang="0">
                      <a:pos x="116" y="74"/>
                    </a:cxn>
                    <a:cxn ang="0">
                      <a:pos x="130" y="66"/>
                    </a:cxn>
                    <a:cxn ang="0">
                      <a:pos x="154" y="72"/>
                    </a:cxn>
                    <a:cxn ang="0">
                      <a:pos x="172" y="60"/>
                    </a:cxn>
                    <a:cxn ang="0">
                      <a:pos x="192" y="78"/>
                    </a:cxn>
                    <a:cxn ang="0">
                      <a:pos x="202" y="98"/>
                    </a:cxn>
                    <a:cxn ang="0">
                      <a:pos x="220" y="128"/>
                    </a:cxn>
                    <a:cxn ang="0">
                      <a:pos x="226" y="144"/>
                    </a:cxn>
                    <a:cxn ang="0">
                      <a:pos x="224" y="168"/>
                    </a:cxn>
                    <a:cxn ang="0">
                      <a:pos x="208" y="176"/>
                    </a:cxn>
                    <a:cxn ang="0">
                      <a:pos x="180" y="176"/>
                    </a:cxn>
                    <a:cxn ang="0">
                      <a:pos x="154" y="180"/>
                    </a:cxn>
                    <a:cxn ang="0">
                      <a:pos x="144" y="194"/>
                    </a:cxn>
                    <a:cxn ang="0">
                      <a:pos x="144" y="224"/>
                    </a:cxn>
                  </a:cxnLst>
                  <a:rect l="0" t="0" r="r" b="b"/>
                  <a:pathLst>
                    <a:path w="226" h="418">
                      <a:moveTo>
                        <a:pt x="152" y="248"/>
                      </a:moveTo>
                      <a:lnTo>
                        <a:pt x="150" y="244"/>
                      </a:lnTo>
                      <a:lnTo>
                        <a:pt x="148" y="242"/>
                      </a:lnTo>
                      <a:lnTo>
                        <a:pt x="148" y="240"/>
                      </a:lnTo>
                      <a:lnTo>
                        <a:pt x="144" y="236"/>
                      </a:lnTo>
                      <a:lnTo>
                        <a:pt x="142" y="236"/>
                      </a:lnTo>
                      <a:lnTo>
                        <a:pt x="142" y="238"/>
                      </a:lnTo>
                      <a:lnTo>
                        <a:pt x="136" y="236"/>
                      </a:lnTo>
                      <a:lnTo>
                        <a:pt x="136" y="232"/>
                      </a:lnTo>
                      <a:lnTo>
                        <a:pt x="134" y="232"/>
                      </a:lnTo>
                      <a:lnTo>
                        <a:pt x="132" y="232"/>
                      </a:lnTo>
                      <a:lnTo>
                        <a:pt x="132" y="230"/>
                      </a:lnTo>
                      <a:lnTo>
                        <a:pt x="130" y="230"/>
                      </a:lnTo>
                      <a:lnTo>
                        <a:pt x="130" y="228"/>
                      </a:lnTo>
                      <a:lnTo>
                        <a:pt x="130" y="226"/>
                      </a:lnTo>
                      <a:lnTo>
                        <a:pt x="128" y="224"/>
                      </a:lnTo>
                      <a:lnTo>
                        <a:pt x="126" y="226"/>
                      </a:lnTo>
                      <a:lnTo>
                        <a:pt x="124" y="224"/>
                      </a:lnTo>
                      <a:lnTo>
                        <a:pt x="122" y="222"/>
                      </a:lnTo>
                      <a:lnTo>
                        <a:pt x="118" y="222"/>
                      </a:lnTo>
                      <a:lnTo>
                        <a:pt x="116" y="224"/>
                      </a:lnTo>
                      <a:lnTo>
                        <a:pt x="110" y="224"/>
                      </a:lnTo>
                      <a:lnTo>
                        <a:pt x="108" y="224"/>
                      </a:lnTo>
                      <a:lnTo>
                        <a:pt x="108" y="222"/>
                      </a:lnTo>
                      <a:lnTo>
                        <a:pt x="100" y="222"/>
                      </a:lnTo>
                      <a:lnTo>
                        <a:pt x="100" y="224"/>
                      </a:lnTo>
                      <a:lnTo>
                        <a:pt x="98" y="224"/>
                      </a:lnTo>
                      <a:lnTo>
                        <a:pt x="96" y="222"/>
                      </a:lnTo>
                      <a:lnTo>
                        <a:pt x="96" y="220"/>
                      </a:lnTo>
                      <a:lnTo>
                        <a:pt x="98" y="214"/>
                      </a:lnTo>
                      <a:lnTo>
                        <a:pt x="96" y="210"/>
                      </a:lnTo>
                      <a:lnTo>
                        <a:pt x="98" y="208"/>
                      </a:lnTo>
                      <a:lnTo>
                        <a:pt x="98" y="206"/>
                      </a:lnTo>
                      <a:lnTo>
                        <a:pt x="98" y="204"/>
                      </a:lnTo>
                      <a:lnTo>
                        <a:pt x="100" y="202"/>
                      </a:lnTo>
                      <a:lnTo>
                        <a:pt x="100" y="200"/>
                      </a:lnTo>
                      <a:lnTo>
                        <a:pt x="98" y="200"/>
                      </a:lnTo>
                      <a:lnTo>
                        <a:pt x="96" y="200"/>
                      </a:lnTo>
                      <a:lnTo>
                        <a:pt x="88" y="198"/>
                      </a:lnTo>
                      <a:lnTo>
                        <a:pt x="86" y="200"/>
                      </a:lnTo>
                      <a:lnTo>
                        <a:pt x="80" y="200"/>
                      </a:lnTo>
                      <a:lnTo>
                        <a:pt x="74" y="202"/>
                      </a:lnTo>
                      <a:lnTo>
                        <a:pt x="72" y="204"/>
                      </a:lnTo>
                      <a:lnTo>
                        <a:pt x="72" y="206"/>
                      </a:lnTo>
                      <a:lnTo>
                        <a:pt x="72" y="208"/>
                      </a:lnTo>
                      <a:lnTo>
                        <a:pt x="74" y="208"/>
                      </a:lnTo>
                      <a:lnTo>
                        <a:pt x="76" y="212"/>
                      </a:lnTo>
                      <a:lnTo>
                        <a:pt x="74" y="212"/>
                      </a:lnTo>
                      <a:lnTo>
                        <a:pt x="74" y="214"/>
                      </a:lnTo>
                      <a:lnTo>
                        <a:pt x="72" y="220"/>
                      </a:lnTo>
                      <a:lnTo>
                        <a:pt x="74" y="230"/>
                      </a:lnTo>
                      <a:lnTo>
                        <a:pt x="72" y="238"/>
                      </a:lnTo>
                      <a:lnTo>
                        <a:pt x="70" y="240"/>
                      </a:lnTo>
                      <a:lnTo>
                        <a:pt x="70" y="242"/>
                      </a:lnTo>
                      <a:lnTo>
                        <a:pt x="68" y="242"/>
                      </a:lnTo>
                      <a:lnTo>
                        <a:pt x="68" y="248"/>
                      </a:lnTo>
                      <a:lnTo>
                        <a:pt x="66" y="248"/>
                      </a:lnTo>
                      <a:lnTo>
                        <a:pt x="62" y="254"/>
                      </a:lnTo>
                      <a:lnTo>
                        <a:pt x="62" y="256"/>
                      </a:lnTo>
                      <a:lnTo>
                        <a:pt x="62" y="258"/>
                      </a:lnTo>
                      <a:lnTo>
                        <a:pt x="62" y="260"/>
                      </a:lnTo>
                      <a:lnTo>
                        <a:pt x="58" y="266"/>
                      </a:lnTo>
                      <a:lnTo>
                        <a:pt x="60" y="268"/>
                      </a:lnTo>
                      <a:lnTo>
                        <a:pt x="58" y="270"/>
                      </a:lnTo>
                      <a:lnTo>
                        <a:pt x="58" y="272"/>
                      </a:lnTo>
                      <a:lnTo>
                        <a:pt x="56" y="276"/>
                      </a:lnTo>
                      <a:lnTo>
                        <a:pt x="54" y="278"/>
                      </a:lnTo>
                      <a:lnTo>
                        <a:pt x="52" y="282"/>
                      </a:lnTo>
                      <a:lnTo>
                        <a:pt x="52" y="284"/>
                      </a:lnTo>
                      <a:lnTo>
                        <a:pt x="50" y="286"/>
                      </a:lnTo>
                      <a:lnTo>
                        <a:pt x="50" y="288"/>
                      </a:lnTo>
                      <a:lnTo>
                        <a:pt x="50" y="290"/>
                      </a:lnTo>
                      <a:lnTo>
                        <a:pt x="50" y="294"/>
                      </a:lnTo>
                      <a:lnTo>
                        <a:pt x="50" y="296"/>
                      </a:lnTo>
                      <a:lnTo>
                        <a:pt x="50" y="300"/>
                      </a:lnTo>
                      <a:lnTo>
                        <a:pt x="50" y="302"/>
                      </a:lnTo>
                      <a:lnTo>
                        <a:pt x="50" y="304"/>
                      </a:lnTo>
                      <a:lnTo>
                        <a:pt x="54" y="312"/>
                      </a:lnTo>
                      <a:lnTo>
                        <a:pt x="54" y="314"/>
                      </a:lnTo>
                      <a:lnTo>
                        <a:pt x="52" y="314"/>
                      </a:lnTo>
                      <a:lnTo>
                        <a:pt x="52" y="318"/>
                      </a:lnTo>
                      <a:lnTo>
                        <a:pt x="56" y="318"/>
                      </a:lnTo>
                      <a:lnTo>
                        <a:pt x="58" y="318"/>
                      </a:lnTo>
                      <a:lnTo>
                        <a:pt x="64" y="316"/>
                      </a:lnTo>
                      <a:lnTo>
                        <a:pt x="68" y="316"/>
                      </a:lnTo>
                      <a:lnTo>
                        <a:pt x="72" y="336"/>
                      </a:lnTo>
                      <a:lnTo>
                        <a:pt x="74" y="338"/>
                      </a:lnTo>
                      <a:lnTo>
                        <a:pt x="74" y="340"/>
                      </a:lnTo>
                      <a:lnTo>
                        <a:pt x="76" y="340"/>
                      </a:lnTo>
                      <a:lnTo>
                        <a:pt x="78" y="342"/>
                      </a:lnTo>
                      <a:lnTo>
                        <a:pt x="78" y="340"/>
                      </a:lnTo>
                      <a:lnTo>
                        <a:pt x="76" y="338"/>
                      </a:lnTo>
                      <a:lnTo>
                        <a:pt x="78" y="338"/>
                      </a:lnTo>
                      <a:lnTo>
                        <a:pt x="80" y="342"/>
                      </a:lnTo>
                      <a:lnTo>
                        <a:pt x="80" y="346"/>
                      </a:lnTo>
                      <a:lnTo>
                        <a:pt x="80" y="348"/>
                      </a:lnTo>
                      <a:lnTo>
                        <a:pt x="82" y="354"/>
                      </a:lnTo>
                      <a:lnTo>
                        <a:pt x="82" y="356"/>
                      </a:lnTo>
                      <a:lnTo>
                        <a:pt x="82" y="358"/>
                      </a:lnTo>
                      <a:lnTo>
                        <a:pt x="84" y="358"/>
                      </a:lnTo>
                      <a:lnTo>
                        <a:pt x="86" y="368"/>
                      </a:lnTo>
                      <a:lnTo>
                        <a:pt x="86" y="370"/>
                      </a:lnTo>
                      <a:lnTo>
                        <a:pt x="86" y="372"/>
                      </a:lnTo>
                      <a:lnTo>
                        <a:pt x="88" y="372"/>
                      </a:lnTo>
                      <a:lnTo>
                        <a:pt x="88" y="374"/>
                      </a:lnTo>
                      <a:lnTo>
                        <a:pt x="84" y="372"/>
                      </a:lnTo>
                      <a:lnTo>
                        <a:pt x="84" y="364"/>
                      </a:lnTo>
                      <a:lnTo>
                        <a:pt x="80" y="358"/>
                      </a:lnTo>
                      <a:lnTo>
                        <a:pt x="78" y="358"/>
                      </a:lnTo>
                      <a:lnTo>
                        <a:pt x="76" y="360"/>
                      </a:lnTo>
                      <a:lnTo>
                        <a:pt x="76" y="362"/>
                      </a:lnTo>
                      <a:lnTo>
                        <a:pt x="78" y="364"/>
                      </a:lnTo>
                      <a:lnTo>
                        <a:pt x="78" y="366"/>
                      </a:lnTo>
                      <a:lnTo>
                        <a:pt x="80" y="370"/>
                      </a:lnTo>
                      <a:lnTo>
                        <a:pt x="82" y="370"/>
                      </a:lnTo>
                      <a:lnTo>
                        <a:pt x="82" y="372"/>
                      </a:lnTo>
                      <a:lnTo>
                        <a:pt x="84" y="376"/>
                      </a:lnTo>
                      <a:lnTo>
                        <a:pt x="86" y="376"/>
                      </a:lnTo>
                      <a:lnTo>
                        <a:pt x="88" y="376"/>
                      </a:lnTo>
                      <a:lnTo>
                        <a:pt x="88" y="374"/>
                      </a:lnTo>
                      <a:lnTo>
                        <a:pt x="90" y="376"/>
                      </a:lnTo>
                      <a:lnTo>
                        <a:pt x="92" y="378"/>
                      </a:lnTo>
                      <a:lnTo>
                        <a:pt x="94" y="380"/>
                      </a:lnTo>
                      <a:lnTo>
                        <a:pt x="98" y="382"/>
                      </a:lnTo>
                      <a:lnTo>
                        <a:pt x="98" y="384"/>
                      </a:lnTo>
                      <a:lnTo>
                        <a:pt x="100" y="384"/>
                      </a:lnTo>
                      <a:lnTo>
                        <a:pt x="110" y="384"/>
                      </a:lnTo>
                      <a:lnTo>
                        <a:pt x="108" y="382"/>
                      </a:lnTo>
                      <a:lnTo>
                        <a:pt x="114" y="384"/>
                      </a:lnTo>
                      <a:lnTo>
                        <a:pt x="116" y="384"/>
                      </a:lnTo>
                      <a:lnTo>
                        <a:pt x="116" y="386"/>
                      </a:lnTo>
                      <a:lnTo>
                        <a:pt x="120" y="392"/>
                      </a:lnTo>
                      <a:lnTo>
                        <a:pt x="122" y="394"/>
                      </a:lnTo>
                      <a:lnTo>
                        <a:pt x="130" y="400"/>
                      </a:lnTo>
                      <a:lnTo>
                        <a:pt x="128" y="406"/>
                      </a:lnTo>
                      <a:lnTo>
                        <a:pt x="126" y="408"/>
                      </a:lnTo>
                      <a:lnTo>
                        <a:pt x="126" y="412"/>
                      </a:lnTo>
                      <a:lnTo>
                        <a:pt x="122" y="414"/>
                      </a:lnTo>
                      <a:lnTo>
                        <a:pt x="120" y="412"/>
                      </a:lnTo>
                      <a:lnTo>
                        <a:pt x="120" y="414"/>
                      </a:lnTo>
                      <a:lnTo>
                        <a:pt x="118" y="412"/>
                      </a:lnTo>
                      <a:lnTo>
                        <a:pt x="116" y="410"/>
                      </a:lnTo>
                      <a:lnTo>
                        <a:pt x="112" y="412"/>
                      </a:lnTo>
                      <a:lnTo>
                        <a:pt x="108" y="412"/>
                      </a:lnTo>
                      <a:lnTo>
                        <a:pt x="106" y="416"/>
                      </a:lnTo>
                      <a:lnTo>
                        <a:pt x="104" y="418"/>
                      </a:lnTo>
                      <a:lnTo>
                        <a:pt x="100" y="412"/>
                      </a:lnTo>
                      <a:lnTo>
                        <a:pt x="102" y="410"/>
                      </a:lnTo>
                      <a:lnTo>
                        <a:pt x="102" y="400"/>
                      </a:lnTo>
                      <a:lnTo>
                        <a:pt x="96" y="400"/>
                      </a:lnTo>
                      <a:lnTo>
                        <a:pt x="96" y="394"/>
                      </a:lnTo>
                      <a:lnTo>
                        <a:pt x="92" y="394"/>
                      </a:lnTo>
                      <a:lnTo>
                        <a:pt x="90" y="394"/>
                      </a:lnTo>
                      <a:lnTo>
                        <a:pt x="84" y="394"/>
                      </a:lnTo>
                      <a:lnTo>
                        <a:pt x="84" y="392"/>
                      </a:lnTo>
                      <a:lnTo>
                        <a:pt x="82" y="392"/>
                      </a:lnTo>
                      <a:lnTo>
                        <a:pt x="82" y="390"/>
                      </a:lnTo>
                      <a:lnTo>
                        <a:pt x="80" y="388"/>
                      </a:lnTo>
                      <a:lnTo>
                        <a:pt x="78" y="388"/>
                      </a:lnTo>
                      <a:lnTo>
                        <a:pt x="78" y="390"/>
                      </a:lnTo>
                      <a:lnTo>
                        <a:pt x="78" y="392"/>
                      </a:lnTo>
                      <a:lnTo>
                        <a:pt x="78" y="394"/>
                      </a:lnTo>
                      <a:lnTo>
                        <a:pt x="76" y="394"/>
                      </a:lnTo>
                      <a:lnTo>
                        <a:pt x="76" y="396"/>
                      </a:lnTo>
                      <a:lnTo>
                        <a:pt x="76" y="394"/>
                      </a:lnTo>
                      <a:lnTo>
                        <a:pt x="74" y="392"/>
                      </a:lnTo>
                      <a:lnTo>
                        <a:pt x="74" y="394"/>
                      </a:lnTo>
                      <a:lnTo>
                        <a:pt x="74" y="392"/>
                      </a:lnTo>
                      <a:lnTo>
                        <a:pt x="72" y="390"/>
                      </a:lnTo>
                      <a:lnTo>
                        <a:pt x="68" y="386"/>
                      </a:lnTo>
                      <a:lnTo>
                        <a:pt x="68" y="384"/>
                      </a:lnTo>
                      <a:lnTo>
                        <a:pt x="66" y="384"/>
                      </a:lnTo>
                      <a:lnTo>
                        <a:pt x="64" y="384"/>
                      </a:lnTo>
                      <a:lnTo>
                        <a:pt x="64" y="378"/>
                      </a:lnTo>
                      <a:lnTo>
                        <a:pt x="66" y="376"/>
                      </a:lnTo>
                      <a:lnTo>
                        <a:pt x="64" y="376"/>
                      </a:lnTo>
                      <a:lnTo>
                        <a:pt x="62" y="376"/>
                      </a:lnTo>
                      <a:lnTo>
                        <a:pt x="60" y="372"/>
                      </a:lnTo>
                      <a:lnTo>
                        <a:pt x="56" y="372"/>
                      </a:lnTo>
                      <a:lnTo>
                        <a:pt x="54" y="370"/>
                      </a:lnTo>
                      <a:lnTo>
                        <a:pt x="56" y="368"/>
                      </a:lnTo>
                      <a:lnTo>
                        <a:pt x="52" y="362"/>
                      </a:lnTo>
                      <a:lnTo>
                        <a:pt x="50" y="360"/>
                      </a:lnTo>
                      <a:lnTo>
                        <a:pt x="48" y="360"/>
                      </a:lnTo>
                      <a:lnTo>
                        <a:pt x="46" y="360"/>
                      </a:lnTo>
                      <a:lnTo>
                        <a:pt x="46" y="358"/>
                      </a:lnTo>
                      <a:lnTo>
                        <a:pt x="46" y="354"/>
                      </a:lnTo>
                      <a:lnTo>
                        <a:pt x="42" y="352"/>
                      </a:lnTo>
                      <a:lnTo>
                        <a:pt x="40" y="352"/>
                      </a:lnTo>
                      <a:lnTo>
                        <a:pt x="38" y="352"/>
                      </a:lnTo>
                      <a:lnTo>
                        <a:pt x="38" y="350"/>
                      </a:lnTo>
                      <a:lnTo>
                        <a:pt x="38" y="346"/>
                      </a:lnTo>
                      <a:lnTo>
                        <a:pt x="38" y="344"/>
                      </a:lnTo>
                      <a:lnTo>
                        <a:pt x="36" y="344"/>
                      </a:lnTo>
                      <a:lnTo>
                        <a:pt x="34" y="344"/>
                      </a:lnTo>
                      <a:lnTo>
                        <a:pt x="34" y="342"/>
                      </a:lnTo>
                      <a:lnTo>
                        <a:pt x="36" y="342"/>
                      </a:lnTo>
                      <a:lnTo>
                        <a:pt x="34" y="342"/>
                      </a:lnTo>
                      <a:lnTo>
                        <a:pt x="32" y="342"/>
                      </a:lnTo>
                      <a:lnTo>
                        <a:pt x="30" y="344"/>
                      </a:lnTo>
                      <a:lnTo>
                        <a:pt x="30" y="346"/>
                      </a:lnTo>
                      <a:lnTo>
                        <a:pt x="30" y="348"/>
                      </a:lnTo>
                      <a:lnTo>
                        <a:pt x="28" y="348"/>
                      </a:lnTo>
                      <a:lnTo>
                        <a:pt x="26" y="344"/>
                      </a:lnTo>
                      <a:lnTo>
                        <a:pt x="24" y="336"/>
                      </a:lnTo>
                      <a:lnTo>
                        <a:pt x="26" y="328"/>
                      </a:lnTo>
                      <a:lnTo>
                        <a:pt x="26" y="324"/>
                      </a:lnTo>
                      <a:lnTo>
                        <a:pt x="28" y="322"/>
                      </a:lnTo>
                      <a:lnTo>
                        <a:pt x="26" y="318"/>
                      </a:lnTo>
                      <a:lnTo>
                        <a:pt x="28" y="318"/>
                      </a:lnTo>
                      <a:lnTo>
                        <a:pt x="28" y="316"/>
                      </a:lnTo>
                      <a:lnTo>
                        <a:pt x="28" y="314"/>
                      </a:lnTo>
                      <a:lnTo>
                        <a:pt x="32" y="304"/>
                      </a:lnTo>
                      <a:lnTo>
                        <a:pt x="32" y="300"/>
                      </a:lnTo>
                      <a:lnTo>
                        <a:pt x="34" y="300"/>
                      </a:lnTo>
                      <a:lnTo>
                        <a:pt x="36" y="292"/>
                      </a:lnTo>
                      <a:lnTo>
                        <a:pt x="38" y="292"/>
                      </a:lnTo>
                      <a:lnTo>
                        <a:pt x="38" y="290"/>
                      </a:lnTo>
                      <a:lnTo>
                        <a:pt x="38" y="286"/>
                      </a:lnTo>
                      <a:lnTo>
                        <a:pt x="38" y="284"/>
                      </a:lnTo>
                      <a:lnTo>
                        <a:pt x="40" y="284"/>
                      </a:lnTo>
                      <a:lnTo>
                        <a:pt x="40" y="282"/>
                      </a:lnTo>
                      <a:lnTo>
                        <a:pt x="40" y="280"/>
                      </a:lnTo>
                      <a:lnTo>
                        <a:pt x="38" y="280"/>
                      </a:lnTo>
                      <a:lnTo>
                        <a:pt x="40" y="276"/>
                      </a:lnTo>
                      <a:lnTo>
                        <a:pt x="42" y="276"/>
                      </a:lnTo>
                      <a:lnTo>
                        <a:pt x="44" y="274"/>
                      </a:lnTo>
                      <a:lnTo>
                        <a:pt x="48" y="268"/>
                      </a:lnTo>
                      <a:lnTo>
                        <a:pt x="50" y="268"/>
                      </a:lnTo>
                      <a:lnTo>
                        <a:pt x="50" y="266"/>
                      </a:lnTo>
                      <a:lnTo>
                        <a:pt x="52" y="264"/>
                      </a:lnTo>
                      <a:lnTo>
                        <a:pt x="58" y="254"/>
                      </a:lnTo>
                      <a:lnTo>
                        <a:pt x="60" y="252"/>
                      </a:lnTo>
                      <a:lnTo>
                        <a:pt x="62" y="248"/>
                      </a:lnTo>
                      <a:lnTo>
                        <a:pt x="62" y="246"/>
                      </a:lnTo>
                      <a:lnTo>
                        <a:pt x="62" y="244"/>
                      </a:lnTo>
                      <a:lnTo>
                        <a:pt x="60" y="238"/>
                      </a:lnTo>
                      <a:lnTo>
                        <a:pt x="62" y="236"/>
                      </a:lnTo>
                      <a:lnTo>
                        <a:pt x="58" y="236"/>
                      </a:lnTo>
                      <a:lnTo>
                        <a:pt x="56" y="224"/>
                      </a:lnTo>
                      <a:lnTo>
                        <a:pt x="52" y="220"/>
                      </a:lnTo>
                      <a:lnTo>
                        <a:pt x="48" y="212"/>
                      </a:lnTo>
                      <a:lnTo>
                        <a:pt x="48" y="208"/>
                      </a:lnTo>
                      <a:lnTo>
                        <a:pt x="50" y="208"/>
                      </a:lnTo>
                      <a:lnTo>
                        <a:pt x="50" y="200"/>
                      </a:lnTo>
                      <a:lnTo>
                        <a:pt x="50" y="198"/>
                      </a:lnTo>
                      <a:lnTo>
                        <a:pt x="50" y="192"/>
                      </a:lnTo>
                      <a:lnTo>
                        <a:pt x="44" y="182"/>
                      </a:lnTo>
                      <a:lnTo>
                        <a:pt x="34" y="176"/>
                      </a:lnTo>
                      <a:lnTo>
                        <a:pt x="30" y="168"/>
                      </a:lnTo>
                      <a:lnTo>
                        <a:pt x="24" y="160"/>
                      </a:lnTo>
                      <a:lnTo>
                        <a:pt x="26" y="160"/>
                      </a:lnTo>
                      <a:lnTo>
                        <a:pt x="24" y="158"/>
                      </a:lnTo>
                      <a:lnTo>
                        <a:pt x="24" y="156"/>
                      </a:lnTo>
                      <a:lnTo>
                        <a:pt x="24" y="150"/>
                      </a:lnTo>
                      <a:lnTo>
                        <a:pt x="28" y="148"/>
                      </a:lnTo>
                      <a:lnTo>
                        <a:pt x="30" y="148"/>
                      </a:lnTo>
                      <a:lnTo>
                        <a:pt x="30" y="146"/>
                      </a:lnTo>
                      <a:lnTo>
                        <a:pt x="32" y="146"/>
                      </a:lnTo>
                      <a:lnTo>
                        <a:pt x="32" y="148"/>
                      </a:lnTo>
                      <a:lnTo>
                        <a:pt x="34" y="146"/>
                      </a:lnTo>
                      <a:lnTo>
                        <a:pt x="34" y="140"/>
                      </a:lnTo>
                      <a:lnTo>
                        <a:pt x="32" y="140"/>
                      </a:lnTo>
                      <a:lnTo>
                        <a:pt x="34" y="138"/>
                      </a:lnTo>
                      <a:lnTo>
                        <a:pt x="32" y="136"/>
                      </a:lnTo>
                      <a:lnTo>
                        <a:pt x="36" y="126"/>
                      </a:lnTo>
                      <a:lnTo>
                        <a:pt x="38" y="124"/>
                      </a:lnTo>
                      <a:lnTo>
                        <a:pt x="40" y="126"/>
                      </a:lnTo>
                      <a:lnTo>
                        <a:pt x="42" y="124"/>
                      </a:lnTo>
                      <a:lnTo>
                        <a:pt x="44" y="120"/>
                      </a:lnTo>
                      <a:lnTo>
                        <a:pt x="44" y="116"/>
                      </a:lnTo>
                      <a:lnTo>
                        <a:pt x="42" y="116"/>
                      </a:lnTo>
                      <a:lnTo>
                        <a:pt x="40" y="116"/>
                      </a:lnTo>
                      <a:lnTo>
                        <a:pt x="40" y="118"/>
                      </a:lnTo>
                      <a:lnTo>
                        <a:pt x="38" y="120"/>
                      </a:lnTo>
                      <a:lnTo>
                        <a:pt x="36" y="118"/>
                      </a:lnTo>
                      <a:lnTo>
                        <a:pt x="36" y="114"/>
                      </a:lnTo>
                      <a:lnTo>
                        <a:pt x="32" y="108"/>
                      </a:lnTo>
                      <a:lnTo>
                        <a:pt x="32" y="104"/>
                      </a:lnTo>
                      <a:lnTo>
                        <a:pt x="32" y="102"/>
                      </a:lnTo>
                      <a:lnTo>
                        <a:pt x="30" y="100"/>
                      </a:lnTo>
                      <a:lnTo>
                        <a:pt x="30" y="98"/>
                      </a:lnTo>
                      <a:lnTo>
                        <a:pt x="28" y="98"/>
                      </a:lnTo>
                      <a:lnTo>
                        <a:pt x="26" y="96"/>
                      </a:lnTo>
                      <a:lnTo>
                        <a:pt x="24" y="92"/>
                      </a:lnTo>
                      <a:lnTo>
                        <a:pt x="22" y="92"/>
                      </a:lnTo>
                      <a:lnTo>
                        <a:pt x="12" y="80"/>
                      </a:lnTo>
                      <a:lnTo>
                        <a:pt x="10" y="74"/>
                      </a:lnTo>
                      <a:lnTo>
                        <a:pt x="10" y="72"/>
                      </a:lnTo>
                      <a:lnTo>
                        <a:pt x="10" y="66"/>
                      </a:lnTo>
                      <a:lnTo>
                        <a:pt x="8" y="66"/>
                      </a:lnTo>
                      <a:lnTo>
                        <a:pt x="8" y="64"/>
                      </a:lnTo>
                      <a:lnTo>
                        <a:pt x="8" y="62"/>
                      </a:lnTo>
                      <a:lnTo>
                        <a:pt x="6" y="62"/>
                      </a:lnTo>
                      <a:lnTo>
                        <a:pt x="4" y="64"/>
                      </a:lnTo>
                      <a:lnTo>
                        <a:pt x="4" y="62"/>
                      </a:lnTo>
                      <a:lnTo>
                        <a:pt x="4" y="60"/>
                      </a:lnTo>
                      <a:lnTo>
                        <a:pt x="2" y="60"/>
                      </a:lnTo>
                      <a:lnTo>
                        <a:pt x="2" y="56"/>
                      </a:lnTo>
                      <a:lnTo>
                        <a:pt x="0" y="54"/>
                      </a:lnTo>
                      <a:lnTo>
                        <a:pt x="4" y="56"/>
                      </a:lnTo>
                      <a:lnTo>
                        <a:pt x="6" y="56"/>
                      </a:lnTo>
                      <a:lnTo>
                        <a:pt x="8" y="54"/>
                      </a:lnTo>
                      <a:lnTo>
                        <a:pt x="10" y="54"/>
                      </a:lnTo>
                      <a:lnTo>
                        <a:pt x="12" y="54"/>
                      </a:lnTo>
                      <a:lnTo>
                        <a:pt x="10" y="46"/>
                      </a:lnTo>
                      <a:lnTo>
                        <a:pt x="10" y="44"/>
                      </a:lnTo>
                      <a:lnTo>
                        <a:pt x="12" y="40"/>
                      </a:lnTo>
                      <a:lnTo>
                        <a:pt x="14" y="40"/>
                      </a:lnTo>
                      <a:lnTo>
                        <a:pt x="14" y="34"/>
                      </a:lnTo>
                      <a:lnTo>
                        <a:pt x="12" y="32"/>
                      </a:lnTo>
                      <a:lnTo>
                        <a:pt x="12" y="30"/>
                      </a:lnTo>
                      <a:lnTo>
                        <a:pt x="14" y="26"/>
                      </a:lnTo>
                      <a:lnTo>
                        <a:pt x="20" y="24"/>
                      </a:lnTo>
                      <a:lnTo>
                        <a:pt x="20" y="22"/>
                      </a:lnTo>
                      <a:lnTo>
                        <a:pt x="18" y="22"/>
                      </a:lnTo>
                      <a:lnTo>
                        <a:pt x="20" y="20"/>
                      </a:lnTo>
                      <a:lnTo>
                        <a:pt x="20" y="18"/>
                      </a:lnTo>
                      <a:lnTo>
                        <a:pt x="22" y="20"/>
                      </a:lnTo>
                      <a:lnTo>
                        <a:pt x="24" y="22"/>
                      </a:lnTo>
                      <a:lnTo>
                        <a:pt x="32" y="22"/>
                      </a:lnTo>
                      <a:lnTo>
                        <a:pt x="40" y="18"/>
                      </a:lnTo>
                      <a:lnTo>
                        <a:pt x="42" y="20"/>
                      </a:lnTo>
                      <a:lnTo>
                        <a:pt x="44" y="20"/>
                      </a:lnTo>
                      <a:lnTo>
                        <a:pt x="46" y="18"/>
                      </a:lnTo>
                      <a:lnTo>
                        <a:pt x="46" y="16"/>
                      </a:lnTo>
                      <a:lnTo>
                        <a:pt x="46" y="12"/>
                      </a:lnTo>
                      <a:lnTo>
                        <a:pt x="48" y="10"/>
                      </a:lnTo>
                      <a:lnTo>
                        <a:pt x="50" y="10"/>
                      </a:lnTo>
                      <a:lnTo>
                        <a:pt x="52" y="10"/>
                      </a:lnTo>
                      <a:lnTo>
                        <a:pt x="54" y="12"/>
                      </a:lnTo>
                      <a:lnTo>
                        <a:pt x="58" y="10"/>
                      </a:lnTo>
                      <a:lnTo>
                        <a:pt x="60" y="8"/>
                      </a:lnTo>
                      <a:lnTo>
                        <a:pt x="58" y="4"/>
                      </a:lnTo>
                      <a:lnTo>
                        <a:pt x="60" y="2"/>
                      </a:lnTo>
                      <a:lnTo>
                        <a:pt x="62" y="4"/>
                      </a:lnTo>
                      <a:lnTo>
                        <a:pt x="68" y="4"/>
                      </a:lnTo>
                      <a:lnTo>
                        <a:pt x="68" y="2"/>
                      </a:lnTo>
                      <a:lnTo>
                        <a:pt x="68" y="0"/>
                      </a:lnTo>
                      <a:lnTo>
                        <a:pt x="72" y="0"/>
                      </a:lnTo>
                      <a:lnTo>
                        <a:pt x="72" y="2"/>
                      </a:lnTo>
                      <a:lnTo>
                        <a:pt x="74" y="2"/>
                      </a:lnTo>
                      <a:lnTo>
                        <a:pt x="76" y="4"/>
                      </a:lnTo>
                      <a:lnTo>
                        <a:pt x="78" y="4"/>
                      </a:lnTo>
                      <a:lnTo>
                        <a:pt x="80" y="2"/>
                      </a:lnTo>
                      <a:lnTo>
                        <a:pt x="82" y="2"/>
                      </a:lnTo>
                      <a:lnTo>
                        <a:pt x="84" y="2"/>
                      </a:lnTo>
                      <a:lnTo>
                        <a:pt x="84" y="4"/>
                      </a:lnTo>
                      <a:lnTo>
                        <a:pt x="84" y="6"/>
                      </a:lnTo>
                      <a:lnTo>
                        <a:pt x="86" y="8"/>
                      </a:lnTo>
                      <a:lnTo>
                        <a:pt x="88" y="8"/>
                      </a:lnTo>
                      <a:lnTo>
                        <a:pt x="88" y="10"/>
                      </a:lnTo>
                      <a:lnTo>
                        <a:pt x="88" y="12"/>
                      </a:lnTo>
                      <a:lnTo>
                        <a:pt x="86" y="16"/>
                      </a:lnTo>
                      <a:lnTo>
                        <a:pt x="86" y="18"/>
                      </a:lnTo>
                      <a:lnTo>
                        <a:pt x="84" y="20"/>
                      </a:lnTo>
                      <a:lnTo>
                        <a:pt x="86" y="26"/>
                      </a:lnTo>
                      <a:lnTo>
                        <a:pt x="88" y="28"/>
                      </a:lnTo>
                      <a:lnTo>
                        <a:pt x="90" y="26"/>
                      </a:lnTo>
                      <a:lnTo>
                        <a:pt x="94" y="28"/>
                      </a:lnTo>
                      <a:lnTo>
                        <a:pt x="94" y="26"/>
                      </a:lnTo>
                      <a:lnTo>
                        <a:pt x="96" y="26"/>
                      </a:lnTo>
                      <a:lnTo>
                        <a:pt x="98" y="24"/>
                      </a:lnTo>
                      <a:lnTo>
                        <a:pt x="102" y="24"/>
                      </a:lnTo>
                      <a:lnTo>
                        <a:pt x="102" y="26"/>
                      </a:lnTo>
                      <a:lnTo>
                        <a:pt x="108" y="26"/>
                      </a:lnTo>
                      <a:lnTo>
                        <a:pt x="108" y="28"/>
                      </a:lnTo>
                      <a:lnTo>
                        <a:pt x="106" y="28"/>
                      </a:lnTo>
                      <a:lnTo>
                        <a:pt x="106" y="32"/>
                      </a:lnTo>
                      <a:lnTo>
                        <a:pt x="108" y="38"/>
                      </a:lnTo>
                      <a:lnTo>
                        <a:pt x="108" y="40"/>
                      </a:lnTo>
                      <a:lnTo>
                        <a:pt x="110" y="40"/>
                      </a:lnTo>
                      <a:lnTo>
                        <a:pt x="108" y="42"/>
                      </a:lnTo>
                      <a:lnTo>
                        <a:pt x="108" y="44"/>
                      </a:lnTo>
                      <a:lnTo>
                        <a:pt x="106" y="46"/>
                      </a:lnTo>
                      <a:lnTo>
                        <a:pt x="106" y="50"/>
                      </a:lnTo>
                      <a:lnTo>
                        <a:pt x="108" y="52"/>
                      </a:lnTo>
                      <a:lnTo>
                        <a:pt x="104" y="54"/>
                      </a:lnTo>
                      <a:lnTo>
                        <a:pt x="102" y="58"/>
                      </a:lnTo>
                      <a:lnTo>
                        <a:pt x="102" y="60"/>
                      </a:lnTo>
                      <a:lnTo>
                        <a:pt x="104" y="60"/>
                      </a:lnTo>
                      <a:lnTo>
                        <a:pt x="104" y="68"/>
                      </a:lnTo>
                      <a:lnTo>
                        <a:pt x="102" y="72"/>
                      </a:lnTo>
                      <a:lnTo>
                        <a:pt x="102" y="74"/>
                      </a:lnTo>
                      <a:lnTo>
                        <a:pt x="100" y="74"/>
                      </a:lnTo>
                      <a:lnTo>
                        <a:pt x="100" y="76"/>
                      </a:lnTo>
                      <a:lnTo>
                        <a:pt x="100" y="78"/>
                      </a:lnTo>
                      <a:lnTo>
                        <a:pt x="98" y="80"/>
                      </a:lnTo>
                      <a:lnTo>
                        <a:pt x="98" y="82"/>
                      </a:lnTo>
                      <a:lnTo>
                        <a:pt x="98" y="84"/>
                      </a:lnTo>
                      <a:lnTo>
                        <a:pt x="100" y="84"/>
                      </a:lnTo>
                      <a:lnTo>
                        <a:pt x="104" y="86"/>
                      </a:lnTo>
                      <a:lnTo>
                        <a:pt x="108" y="82"/>
                      </a:lnTo>
                      <a:lnTo>
                        <a:pt x="116" y="76"/>
                      </a:lnTo>
                      <a:lnTo>
                        <a:pt x="114" y="76"/>
                      </a:lnTo>
                      <a:lnTo>
                        <a:pt x="116" y="74"/>
                      </a:lnTo>
                      <a:lnTo>
                        <a:pt x="118" y="74"/>
                      </a:lnTo>
                      <a:lnTo>
                        <a:pt x="120" y="74"/>
                      </a:lnTo>
                      <a:lnTo>
                        <a:pt x="120" y="70"/>
                      </a:lnTo>
                      <a:lnTo>
                        <a:pt x="122" y="68"/>
                      </a:lnTo>
                      <a:lnTo>
                        <a:pt x="124" y="70"/>
                      </a:lnTo>
                      <a:lnTo>
                        <a:pt x="128" y="66"/>
                      </a:lnTo>
                      <a:lnTo>
                        <a:pt x="130" y="66"/>
                      </a:lnTo>
                      <a:lnTo>
                        <a:pt x="130" y="64"/>
                      </a:lnTo>
                      <a:lnTo>
                        <a:pt x="130" y="66"/>
                      </a:lnTo>
                      <a:lnTo>
                        <a:pt x="132" y="66"/>
                      </a:lnTo>
                      <a:lnTo>
                        <a:pt x="136" y="70"/>
                      </a:lnTo>
                      <a:lnTo>
                        <a:pt x="140" y="72"/>
                      </a:lnTo>
                      <a:lnTo>
                        <a:pt x="144" y="72"/>
                      </a:lnTo>
                      <a:lnTo>
                        <a:pt x="144" y="74"/>
                      </a:lnTo>
                      <a:lnTo>
                        <a:pt x="146" y="76"/>
                      </a:lnTo>
                      <a:lnTo>
                        <a:pt x="150" y="72"/>
                      </a:lnTo>
                      <a:lnTo>
                        <a:pt x="154" y="70"/>
                      </a:lnTo>
                      <a:lnTo>
                        <a:pt x="154" y="72"/>
                      </a:lnTo>
                      <a:lnTo>
                        <a:pt x="156" y="72"/>
                      </a:lnTo>
                      <a:lnTo>
                        <a:pt x="156" y="70"/>
                      </a:lnTo>
                      <a:lnTo>
                        <a:pt x="156" y="66"/>
                      </a:lnTo>
                      <a:lnTo>
                        <a:pt x="158" y="66"/>
                      </a:lnTo>
                      <a:lnTo>
                        <a:pt x="162" y="62"/>
                      </a:lnTo>
                      <a:lnTo>
                        <a:pt x="162" y="60"/>
                      </a:lnTo>
                      <a:lnTo>
                        <a:pt x="164" y="58"/>
                      </a:lnTo>
                      <a:lnTo>
                        <a:pt x="168" y="58"/>
                      </a:lnTo>
                      <a:lnTo>
                        <a:pt x="172" y="60"/>
                      </a:lnTo>
                      <a:lnTo>
                        <a:pt x="176" y="60"/>
                      </a:lnTo>
                      <a:lnTo>
                        <a:pt x="178" y="62"/>
                      </a:lnTo>
                      <a:lnTo>
                        <a:pt x="182" y="62"/>
                      </a:lnTo>
                      <a:lnTo>
                        <a:pt x="184" y="66"/>
                      </a:lnTo>
                      <a:lnTo>
                        <a:pt x="188" y="70"/>
                      </a:lnTo>
                      <a:lnTo>
                        <a:pt x="188" y="72"/>
                      </a:lnTo>
                      <a:lnTo>
                        <a:pt x="190" y="74"/>
                      </a:lnTo>
                      <a:lnTo>
                        <a:pt x="190" y="76"/>
                      </a:lnTo>
                      <a:lnTo>
                        <a:pt x="192" y="78"/>
                      </a:lnTo>
                      <a:lnTo>
                        <a:pt x="200" y="84"/>
                      </a:lnTo>
                      <a:lnTo>
                        <a:pt x="202" y="84"/>
                      </a:lnTo>
                      <a:lnTo>
                        <a:pt x="204" y="88"/>
                      </a:lnTo>
                      <a:lnTo>
                        <a:pt x="204" y="90"/>
                      </a:lnTo>
                      <a:lnTo>
                        <a:pt x="204" y="92"/>
                      </a:lnTo>
                      <a:lnTo>
                        <a:pt x="204" y="94"/>
                      </a:lnTo>
                      <a:lnTo>
                        <a:pt x="204" y="96"/>
                      </a:lnTo>
                      <a:lnTo>
                        <a:pt x="202" y="96"/>
                      </a:lnTo>
                      <a:lnTo>
                        <a:pt x="202" y="98"/>
                      </a:lnTo>
                      <a:lnTo>
                        <a:pt x="202" y="110"/>
                      </a:lnTo>
                      <a:lnTo>
                        <a:pt x="202" y="112"/>
                      </a:lnTo>
                      <a:lnTo>
                        <a:pt x="208" y="120"/>
                      </a:lnTo>
                      <a:lnTo>
                        <a:pt x="210" y="120"/>
                      </a:lnTo>
                      <a:lnTo>
                        <a:pt x="210" y="124"/>
                      </a:lnTo>
                      <a:lnTo>
                        <a:pt x="210" y="126"/>
                      </a:lnTo>
                      <a:lnTo>
                        <a:pt x="212" y="126"/>
                      </a:lnTo>
                      <a:lnTo>
                        <a:pt x="214" y="126"/>
                      </a:lnTo>
                      <a:lnTo>
                        <a:pt x="220" y="128"/>
                      </a:lnTo>
                      <a:lnTo>
                        <a:pt x="220" y="130"/>
                      </a:lnTo>
                      <a:lnTo>
                        <a:pt x="220" y="132"/>
                      </a:lnTo>
                      <a:lnTo>
                        <a:pt x="220" y="134"/>
                      </a:lnTo>
                      <a:lnTo>
                        <a:pt x="222" y="136"/>
                      </a:lnTo>
                      <a:lnTo>
                        <a:pt x="224" y="134"/>
                      </a:lnTo>
                      <a:lnTo>
                        <a:pt x="224" y="136"/>
                      </a:lnTo>
                      <a:lnTo>
                        <a:pt x="226" y="136"/>
                      </a:lnTo>
                      <a:lnTo>
                        <a:pt x="226" y="138"/>
                      </a:lnTo>
                      <a:lnTo>
                        <a:pt x="226" y="144"/>
                      </a:lnTo>
                      <a:lnTo>
                        <a:pt x="224" y="146"/>
                      </a:lnTo>
                      <a:lnTo>
                        <a:pt x="222" y="152"/>
                      </a:lnTo>
                      <a:lnTo>
                        <a:pt x="222" y="154"/>
                      </a:lnTo>
                      <a:lnTo>
                        <a:pt x="224" y="154"/>
                      </a:lnTo>
                      <a:lnTo>
                        <a:pt x="226" y="156"/>
                      </a:lnTo>
                      <a:lnTo>
                        <a:pt x="226" y="160"/>
                      </a:lnTo>
                      <a:lnTo>
                        <a:pt x="224" y="162"/>
                      </a:lnTo>
                      <a:lnTo>
                        <a:pt x="224" y="166"/>
                      </a:lnTo>
                      <a:lnTo>
                        <a:pt x="224" y="168"/>
                      </a:lnTo>
                      <a:lnTo>
                        <a:pt x="222" y="170"/>
                      </a:lnTo>
                      <a:lnTo>
                        <a:pt x="222" y="172"/>
                      </a:lnTo>
                      <a:lnTo>
                        <a:pt x="216" y="176"/>
                      </a:lnTo>
                      <a:lnTo>
                        <a:pt x="214" y="174"/>
                      </a:lnTo>
                      <a:lnTo>
                        <a:pt x="214" y="178"/>
                      </a:lnTo>
                      <a:lnTo>
                        <a:pt x="212" y="178"/>
                      </a:lnTo>
                      <a:lnTo>
                        <a:pt x="210" y="178"/>
                      </a:lnTo>
                      <a:lnTo>
                        <a:pt x="210" y="176"/>
                      </a:lnTo>
                      <a:lnTo>
                        <a:pt x="208" y="176"/>
                      </a:lnTo>
                      <a:lnTo>
                        <a:pt x="210" y="174"/>
                      </a:lnTo>
                      <a:lnTo>
                        <a:pt x="208" y="174"/>
                      </a:lnTo>
                      <a:lnTo>
                        <a:pt x="206" y="172"/>
                      </a:lnTo>
                      <a:lnTo>
                        <a:pt x="204" y="172"/>
                      </a:lnTo>
                      <a:lnTo>
                        <a:pt x="200" y="172"/>
                      </a:lnTo>
                      <a:lnTo>
                        <a:pt x="198" y="174"/>
                      </a:lnTo>
                      <a:lnTo>
                        <a:pt x="194" y="174"/>
                      </a:lnTo>
                      <a:lnTo>
                        <a:pt x="190" y="172"/>
                      </a:lnTo>
                      <a:lnTo>
                        <a:pt x="180" y="176"/>
                      </a:lnTo>
                      <a:lnTo>
                        <a:pt x="174" y="174"/>
                      </a:lnTo>
                      <a:lnTo>
                        <a:pt x="174" y="172"/>
                      </a:lnTo>
                      <a:lnTo>
                        <a:pt x="168" y="174"/>
                      </a:lnTo>
                      <a:lnTo>
                        <a:pt x="162" y="174"/>
                      </a:lnTo>
                      <a:lnTo>
                        <a:pt x="162" y="176"/>
                      </a:lnTo>
                      <a:lnTo>
                        <a:pt x="158" y="176"/>
                      </a:lnTo>
                      <a:lnTo>
                        <a:pt x="156" y="178"/>
                      </a:lnTo>
                      <a:lnTo>
                        <a:pt x="154" y="178"/>
                      </a:lnTo>
                      <a:lnTo>
                        <a:pt x="154" y="180"/>
                      </a:lnTo>
                      <a:lnTo>
                        <a:pt x="152" y="180"/>
                      </a:lnTo>
                      <a:lnTo>
                        <a:pt x="154" y="180"/>
                      </a:lnTo>
                      <a:lnTo>
                        <a:pt x="152" y="184"/>
                      </a:lnTo>
                      <a:lnTo>
                        <a:pt x="150" y="184"/>
                      </a:lnTo>
                      <a:lnTo>
                        <a:pt x="150" y="186"/>
                      </a:lnTo>
                      <a:lnTo>
                        <a:pt x="148" y="188"/>
                      </a:lnTo>
                      <a:lnTo>
                        <a:pt x="148" y="190"/>
                      </a:lnTo>
                      <a:lnTo>
                        <a:pt x="148" y="192"/>
                      </a:lnTo>
                      <a:lnTo>
                        <a:pt x="144" y="194"/>
                      </a:lnTo>
                      <a:lnTo>
                        <a:pt x="144" y="196"/>
                      </a:lnTo>
                      <a:lnTo>
                        <a:pt x="138" y="196"/>
                      </a:lnTo>
                      <a:lnTo>
                        <a:pt x="138" y="198"/>
                      </a:lnTo>
                      <a:lnTo>
                        <a:pt x="138" y="208"/>
                      </a:lnTo>
                      <a:lnTo>
                        <a:pt x="138" y="210"/>
                      </a:lnTo>
                      <a:lnTo>
                        <a:pt x="142" y="218"/>
                      </a:lnTo>
                      <a:lnTo>
                        <a:pt x="142" y="220"/>
                      </a:lnTo>
                      <a:lnTo>
                        <a:pt x="142" y="222"/>
                      </a:lnTo>
                      <a:lnTo>
                        <a:pt x="144" y="224"/>
                      </a:lnTo>
                      <a:lnTo>
                        <a:pt x="150" y="230"/>
                      </a:lnTo>
                      <a:lnTo>
                        <a:pt x="148" y="230"/>
                      </a:lnTo>
                      <a:lnTo>
                        <a:pt x="146" y="236"/>
                      </a:lnTo>
                      <a:lnTo>
                        <a:pt x="152" y="2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7" name="Freeform 3363"/>
                <p:cNvSpPr>
                  <a:spLocks/>
                </p:cNvSpPr>
                <p:nvPr/>
              </p:nvSpPr>
              <p:spPr bwMode="auto">
                <a:xfrm>
                  <a:off x="1989819" y="3981406"/>
                  <a:ext cx="108048" cy="99736"/>
                </a:xfrm>
                <a:custGeom>
                  <a:avLst/>
                  <a:gdLst/>
                  <a:ahLst/>
                  <a:cxnLst>
                    <a:cxn ang="0">
                      <a:pos x="26" y="34"/>
                    </a:cxn>
                    <a:cxn ang="0">
                      <a:pos x="0" y="30"/>
                    </a:cxn>
                    <a:cxn ang="0">
                      <a:pos x="2" y="30"/>
                    </a:cxn>
                    <a:cxn ang="0">
                      <a:pos x="4" y="28"/>
                    </a:cxn>
                    <a:cxn ang="0">
                      <a:pos x="12" y="16"/>
                    </a:cxn>
                    <a:cxn ang="0">
                      <a:pos x="14" y="6"/>
                    </a:cxn>
                    <a:cxn ang="0">
                      <a:pos x="16" y="4"/>
                    </a:cxn>
                    <a:cxn ang="0">
                      <a:pos x="18" y="2"/>
                    </a:cxn>
                    <a:cxn ang="0">
                      <a:pos x="22" y="0"/>
                    </a:cxn>
                    <a:cxn ang="0">
                      <a:pos x="32" y="0"/>
                    </a:cxn>
                    <a:cxn ang="0">
                      <a:pos x="38" y="2"/>
                    </a:cxn>
                    <a:cxn ang="0">
                      <a:pos x="40" y="8"/>
                    </a:cxn>
                    <a:cxn ang="0">
                      <a:pos x="40" y="10"/>
                    </a:cxn>
                    <a:cxn ang="0">
                      <a:pos x="42" y="12"/>
                    </a:cxn>
                    <a:cxn ang="0">
                      <a:pos x="44" y="16"/>
                    </a:cxn>
                    <a:cxn ang="0">
                      <a:pos x="44" y="18"/>
                    </a:cxn>
                    <a:cxn ang="0">
                      <a:pos x="42" y="16"/>
                    </a:cxn>
                    <a:cxn ang="0">
                      <a:pos x="40" y="14"/>
                    </a:cxn>
                    <a:cxn ang="0">
                      <a:pos x="38" y="14"/>
                    </a:cxn>
                    <a:cxn ang="0">
                      <a:pos x="32" y="22"/>
                    </a:cxn>
                    <a:cxn ang="0">
                      <a:pos x="36" y="24"/>
                    </a:cxn>
                    <a:cxn ang="0">
                      <a:pos x="38" y="22"/>
                    </a:cxn>
                    <a:cxn ang="0">
                      <a:pos x="40" y="22"/>
                    </a:cxn>
                    <a:cxn ang="0">
                      <a:pos x="40" y="24"/>
                    </a:cxn>
                    <a:cxn ang="0">
                      <a:pos x="42" y="26"/>
                    </a:cxn>
                    <a:cxn ang="0">
                      <a:pos x="44" y="36"/>
                    </a:cxn>
                    <a:cxn ang="0">
                      <a:pos x="50" y="42"/>
                    </a:cxn>
                    <a:cxn ang="0">
                      <a:pos x="50" y="44"/>
                    </a:cxn>
                    <a:cxn ang="0">
                      <a:pos x="52" y="48"/>
                    </a:cxn>
                    <a:cxn ang="0">
                      <a:pos x="32" y="48"/>
                    </a:cxn>
                    <a:cxn ang="0">
                      <a:pos x="30" y="46"/>
                    </a:cxn>
                    <a:cxn ang="0">
                      <a:pos x="28" y="44"/>
                    </a:cxn>
                    <a:cxn ang="0">
                      <a:pos x="28" y="42"/>
                    </a:cxn>
                    <a:cxn ang="0">
                      <a:pos x="28" y="40"/>
                    </a:cxn>
                    <a:cxn ang="0">
                      <a:pos x="28" y="38"/>
                    </a:cxn>
                    <a:cxn ang="0">
                      <a:pos x="26" y="34"/>
                    </a:cxn>
                  </a:cxnLst>
                  <a:rect l="0" t="0" r="r" b="b"/>
                  <a:pathLst>
                    <a:path w="52" h="48">
                      <a:moveTo>
                        <a:pt x="26" y="34"/>
                      </a:moveTo>
                      <a:lnTo>
                        <a:pt x="0" y="30"/>
                      </a:lnTo>
                      <a:lnTo>
                        <a:pt x="2" y="30"/>
                      </a:lnTo>
                      <a:lnTo>
                        <a:pt x="4" y="28"/>
                      </a:lnTo>
                      <a:lnTo>
                        <a:pt x="12" y="16"/>
                      </a:lnTo>
                      <a:lnTo>
                        <a:pt x="14" y="6"/>
                      </a:lnTo>
                      <a:lnTo>
                        <a:pt x="16" y="4"/>
                      </a:lnTo>
                      <a:lnTo>
                        <a:pt x="18" y="2"/>
                      </a:lnTo>
                      <a:lnTo>
                        <a:pt x="22" y="0"/>
                      </a:lnTo>
                      <a:lnTo>
                        <a:pt x="32" y="0"/>
                      </a:lnTo>
                      <a:lnTo>
                        <a:pt x="38" y="2"/>
                      </a:lnTo>
                      <a:lnTo>
                        <a:pt x="40" y="8"/>
                      </a:lnTo>
                      <a:lnTo>
                        <a:pt x="40" y="10"/>
                      </a:lnTo>
                      <a:lnTo>
                        <a:pt x="42" y="12"/>
                      </a:lnTo>
                      <a:lnTo>
                        <a:pt x="44" y="16"/>
                      </a:lnTo>
                      <a:lnTo>
                        <a:pt x="44" y="18"/>
                      </a:lnTo>
                      <a:lnTo>
                        <a:pt x="42" y="16"/>
                      </a:lnTo>
                      <a:lnTo>
                        <a:pt x="40" y="14"/>
                      </a:lnTo>
                      <a:lnTo>
                        <a:pt x="38" y="14"/>
                      </a:lnTo>
                      <a:lnTo>
                        <a:pt x="32" y="22"/>
                      </a:lnTo>
                      <a:lnTo>
                        <a:pt x="36" y="24"/>
                      </a:lnTo>
                      <a:lnTo>
                        <a:pt x="38" y="22"/>
                      </a:lnTo>
                      <a:lnTo>
                        <a:pt x="40" y="22"/>
                      </a:lnTo>
                      <a:lnTo>
                        <a:pt x="40" y="24"/>
                      </a:lnTo>
                      <a:lnTo>
                        <a:pt x="42" y="26"/>
                      </a:lnTo>
                      <a:lnTo>
                        <a:pt x="44" y="36"/>
                      </a:lnTo>
                      <a:lnTo>
                        <a:pt x="50" y="42"/>
                      </a:lnTo>
                      <a:lnTo>
                        <a:pt x="50" y="44"/>
                      </a:lnTo>
                      <a:lnTo>
                        <a:pt x="52" y="48"/>
                      </a:lnTo>
                      <a:lnTo>
                        <a:pt x="32" y="48"/>
                      </a:lnTo>
                      <a:lnTo>
                        <a:pt x="30" y="46"/>
                      </a:lnTo>
                      <a:lnTo>
                        <a:pt x="28" y="44"/>
                      </a:lnTo>
                      <a:lnTo>
                        <a:pt x="28" y="42"/>
                      </a:lnTo>
                      <a:lnTo>
                        <a:pt x="28" y="40"/>
                      </a:lnTo>
                      <a:lnTo>
                        <a:pt x="28" y="38"/>
                      </a:lnTo>
                      <a:lnTo>
                        <a:pt x="26" y="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8" name="Freeform 3364"/>
                <p:cNvSpPr>
                  <a:spLocks/>
                </p:cNvSpPr>
                <p:nvPr/>
              </p:nvSpPr>
              <p:spPr bwMode="auto">
                <a:xfrm>
                  <a:off x="2276561" y="4239058"/>
                  <a:ext cx="274275" cy="216095"/>
                </a:xfrm>
                <a:custGeom>
                  <a:avLst/>
                  <a:gdLst/>
                  <a:ahLst/>
                  <a:cxnLst>
                    <a:cxn ang="0">
                      <a:pos x="128" y="38"/>
                    </a:cxn>
                    <a:cxn ang="0">
                      <a:pos x="124" y="42"/>
                    </a:cxn>
                    <a:cxn ang="0">
                      <a:pos x="122" y="36"/>
                    </a:cxn>
                    <a:cxn ang="0">
                      <a:pos x="118" y="34"/>
                    </a:cxn>
                    <a:cxn ang="0">
                      <a:pos x="116" y="36"/>
                    </a:cxn>
                    <a:cxn ang="0">
                      <a:pos x="118" y="44"/>
                    </a:cxn>
                    <a:cxn ang="0">
                      <a:pos x="116" y="48"/>
                    </a:cxn>
                    <a:cxn ang="0">
                      <a:pos x="116" y="54"/>
                    </a:cxn>
                    <a:cxn ang="0">
                      <a:pos x="118" y="56"/>
                    </a:cxn>
                    <a:cxn ang="0">
                      <a:pos x="122" y="60"/>
                    </a:cxn>
                    <a:cxn ang="0">
                      <a:pos x="112" y="62"/>
                    </a:cxn>
                    <a:cxn ang="0">
                      <a:pos x="108" y="66"/>
                    </a:cxn>
                    <a:cxn ang="0">
                      <a:pos x="106" y="74"/>
                    </a:cxn>
                    <a:cxn ang="0">
                      <a:pos x="104" y="84"/>
                    </a:cxn>
                    <a:cxn ang="0">
                      <a:pos x="102" y="88"/>
                    </a:cxn>
                    <a:cxn ang="0">
                      <a:pos x="100" y="92"/>
                    </a:cxn>
                    <a:cxn ang="0">
                      <a:pos x="100" y="100"/>
                    </a:cxn>
                    <a:cxn ang="0">
                      <a:pos x="98" y="104"/>
                    </a:cxn>
                    <a:cxn ang="0">
                      <a:pos x="0" y="60"/>
                    </a:cxn>
                    <a:cxn ang="0">
                      <a:pos x="0" y="54"/>
                    </a:cxn>
                    <a:cxn ang="0">
                      <a:pos x="6" y="58"/>
                    </a:cxn>
                    <a:cxn ang="0">
                      <a:pos x="6" y="64"/>
                    </a:cxn>
                    <a:cxn ang="0">
                      <a:pos x="20" y="64"/>
                    </a:cxn>
                    <a:cxn ang="0">
                      <a:pos x="30" y="58"/>
                    </a:cxn>
                    <a:cxn ang="0">
                      <a:pos x="48" y="60"/>
                    </a:cxn>
                    <a:cxn ang="0">
                      <a:pos x="54" y="60"/>
                    </a:cxn>
                    <a:cxn ang="0">
                      <a:pos x="62" y="62"/>
                    </a:cxn>
                    <a:cxn ang="0">
                      <a:pos x="72" y="56"/>
                    </a:cxn>
                    <a:cxn ang="0">
                      <a:pos x="78" y="54"/>
                    </a:cxn>
                    <a:cxn ang="0">
                      <a:pos x="80" y="52"/>
                    </a:cxn>
                    <a:cxn ang="0">
                      <a:pos x="82" y="50"/>
                    </a:cxn>
                    <a:cxn ang="0">
                      <a:pos x="84" y="40"/>
                    </a:cxn>
                    <a:cxn ang="0">
                      <a:pos x="96" y="32"/>
                    </a:cxn>
                    <a:cxn ang="0">
                      <a:pos x="100" y="28"/>
                    </a:cxn>
                    <a:cxn ang="0">
                      <a:pos x="104" y="22"/>
                    </a:cxn>
                    <a:cxn ang="0">
                      <a:pos x="106" y="20"/>
                    </a:cxn>
                    <a:cxn ang="0">
                      <a:pos x="108" y="18"/>
                    </a:cxn>
                    <a:cxn ang="0">
                      <a:pos x="110" y="16"/>
                    </a:cxn>
                    <a:cxn ang="0">
                      <a:pos x="108" y="18"/>
                    </a:cxn>
                    <a:cxn ang="0">
                      <a:pos x="112" y="16"/>
                    </a:cxn>
                    <a:cxn ang="0">
                      <a:pos x="118" y="12"/>
                    </a:cxn>
                    <a:cxn ang="0">
                      <a:pos x="124" y="0"/>
                    </a:cxn>
                    <a:cxn ang="0">
                      <a:pos x="126" y="6"/>
                    </a:cxn>
                    <a:cxn ang="0">
                      <a:pos x="124" y="12"/>
                    </a:cxn>
                    <a:cxn ang="0">
                      <a:pos x="128" y="14"/>
                    </a:cxn>
                    <a:cxn ang="0">
                      <a:pos x="130" y="22"/>
                    </a:cxn>
                    <a:cxn ang="0">
                      <a:pos x="132" y="24"/>
                    </a:cxn>
                    <a:cxn ang="0">
                      <a:pos x="130" y="34"/>
                    </a:cxn>
                    <a:cxn ang="0">
                      <a:pos x="130" y="38"/>
                    </a:cxn>
                  </a:cxnLst>
                  <a:rect l="0" t="0" r="r" b="b"/>
                  <a:pathLst>
                    <a:path w="132" h="104">
                      <a:moveTo>
                        <a:pt x="130" y="38"/>
                      </a:moveTo>
                      <a:lnTo>
                        <a:pt x="128" y="38"/>
                      </a:lnTo>
                      <a:lnTo>
                        <a:pt x="126" y="40"/>
                      </a:lnTo>
                      <a:lnTo>
                        <a:pt x="124" y="42"/>
                      </a:lnTo>
                      <a:lnTo>
                        <a:pt x="120" y="36"/>
                      </a:lnTo>
                      <a:lnTo>
                        <a:pt x="122" y="36"/>
                      </a:lnTo>
                      <a:lnTo>
                        <a:pt x="122" y="34"/>
                      </a:lnTo>
                      <a:lnTo>
                        <a:pt x="118" y="34"/>
                      </a:lnTo>
                      <a:lnTo>
                        <a:pt x="118" y="36"/>
                      </a:lnTo>
                      <a:lnTo>
                        <a:pt x="116" y="36"/>
                      </a:lnTo>
                      <a:lnTo>
                        <a:pt x="116" y="42"/>
                      </a:lnTo>
                      <a:lnTo>
                        <a:pt x="118" y="44"/>
                      </a:lnTo>
                      <a:lnTo>
                        <a:pt x="116" y="46"/>
                      </a:lnTo>
                      <a:lnTo>
                        <a:pt x="116" y="48"/>
                      </a:lnTo>
                      <a:lnTo>
                        <a:pt x="116" y="50"/>
                      </a:lnTo>
                      <a:lnTo>
                        <a:pt x="116" y="54"/>
                      </a:lnTo>
                      <a:lnTo>
                        <a:pt x="114" y="56"/>
                      </a:lnTo>
                      <a:lnTo>
                        <a:pt x="118" y="56"/>
                      </a:lnTo>
                      <a:lnTo>
                        <a:pt x="120" y="56"/>
                      </a:lnTo>
                      <a:lnTo>
                        <a:pt x="122" y="60"/>
                      </a:lnTo>
                      <a:lnTo>
                        <a:pt x="116" y="62"/>
                      </a:lnTo>
                      <a:lnTo>
                        <a:pt x="112" y="62"/>
                      </a:lnTo>
                      <a:lnTo>
                        <a:pt x="108" y="64"/>
                      </a:lnTo>
                      <a:lnTo>
                        <a:pt x="108" y="66"/>
                      </a:lnTo>
                      <a:lnTo>
                        <a:pt x="110" y="70"/>
                      </a:lnTo>
                      <a:lnTo>
                        <a:pt x="106" y="74"/>
                      </a:lnTo>
                      <a:lnTo>
                        <a:pt x="104" y="82"/>
                      </a:lnTo>
                      <a:lnTo>
                        <a:pt x="104" y="84"/>
                      </a:lnTo>
                      <a:lnTo>
                        <a:pt x="102" y="86"/>
                      </a:lnTo>
                      <a:lnTo>
                        <a:pt x="102" y="88"/>
                      </a:lnTo>
                      <a:lnTo>
                        <a:pt x="100" y="88"/>
                      </a:lnTo>
                      <a:lnTo>
                        <a:pt x="100" y="92"/>
                      </a:lnTo>
                      <a:lnTo>
                        <a:pt x="100" y="98"/>
                      </a:lnTo>
                      <a:lnTo>
                        <a:pt x="100" y="100"/>
                      </a:lnTo>
                      <a:lnTo>
                        <a:pt x="100" y="102"/>
                      </a:lnTo>
                      <a:lnTo>
                        <a:pt x="98" y="104"/>
                      </a:lnTo>
                      <a:lnTo>
                        <a:pt x="28" y="94"/>
                      </a:lnTo>
                      <a:lnTo>
                        <a:pt x="0" y="60"/>
                      </a:lnTo>
                      <a:lnTo>
                        <a:pt x="0" y="56"/>
                      </a:lnTo>
                      <a:lnTo>
                        <a:pt x="0" y="54"/>
                      </a:lnTo>
                      <a:lnTo>
                        <a:pt x="4" y="56"/>
                      </a:lnTo>
                      <a:lnTo>
                        <a:pt x="6" y="58"/>
                      </a:lnTo>
                      <a:lnTo>
                        <a:pt x="6" y="62"/>
                      </a:lnTo>
                      <a:lnTo>
                        <a:pt x="6" y="64"/>
                      </a:lnTo>
                      <a:lnTo>
                        <a:pt x="18" y="64"/>
                      </a:lnTo>
                      <a:lnTo>
                        <a:pt x="20" y="64"/>
                      </a:lnTo>
                      <a:lnTo>
                        <a:pt x="28" y="58"/>
                      </a:lnTo>
                      <a:lnTo>
                        <a:pt x="30" y="58"/>
                      </a:lnTo>
                      <a:lnTo>
                        <a:pt x="46" y="58"/>
                      </a:lnTo>
                      <a:lnTo>
                        <a:pt x="48" y="60"/>
                      </a:lnTo>
                      <a:lnTo>
                        <a:pt x="52" y="60"/>
                      </a:lnTo>
                      <a:lnTo>
                        <a:pt x="54" y="60"/>
                      </a:lnTo>
                      <a:lnTo>
                        <a:pt x="54" y="62"/>
                      </a:lnTo>
                      <a:lnTo>
                        <a:pt x="62" y="62"/>
                      </a:lnTo>
                      <a:lnTo>
                        <a:pt x="70" y="58"/>
                      </a:lnTo>
                      <a:lnTo>
                        <a:pt x="72" y="56"/>
                      </a:lnTo>
                      <a:lnTo>
                        <a:pt x="76" y="56"/>
                      </a:lnTo>
                      <a:lnTo>
                        <a:pt x="78" y="54"/>
                      </a:lnTo>
                      <a:lnTo>
                        <a:pt x="78" y="52"/>
                      </a:lnTo>
                      <a:lnTo>
                        <a:pt x="80" y="52"/>
                      </a:lnTo>
                      <a:lnTo>
                        <a:pt x="80" y="50"/>
                      </a:lnTo>
                      <a:lnTo>
                        <a:pt x="82" y="50"/>
                      </a:lnTo>
                      <a:lnTo>
                        <a:pt x="84" y="42"/>
                      </a:lnTo>
                      <a:lnTo>
                        <a:pt x="84" y="40"/>
                      </a:lnTo>
                      <a:lnTo>
                        <a:pt x="94" y="32"/>
                      </a:lnTo>
                      <a:lnTo>
                        <a:pt x="96" y="32"/>
                      </a:lnTo>
                      <a:lnTo>
                        <a:pt x="98" y="30"/>
                      </a:lnTo>
                      <a:lnTo>
                        <a:pt x="100" y="28"/>
                      </a:lnTo>
                      <a:lnTo>
                        <a:pt x="102" y="24"/>
                      </a:lnTo>
                      <a:lnTo>
                        <a:pt x="104" y="22"/>
                      </a:lnTo>
                      <a:lnTo>
                        <a:pt x="106" y="22"/>
                      </a:lnTo>
                      <a:lnTo>
                        <a:pt x="106" y="20"/>
                      </a:lnTo>
                      <a:lnTo>
                        <a:pt x="106" y="18"/>
                      </a:lnTo>
                      <a:lnTo>
                        <a:pt x="108" y="18"/>
                      </a:lnTo>
                      <a:lnTo>
                        <a:pt x="108" y="16"/>
                      </a:lnTo>
                      <a:lnTo>
                        <a:pt x="110" y="16"/>
                      </a:lnTo>
                      <a:lnTo>
                        <a:pt x="108" y="16"/>
                      </a:lnTo>
                      <a:lnTo>
                        <a:pt x="108" y="18"/>
                      </a:lnTo>
                      <a:lnTo>
                        <a:pt x="112" y="18"/>
                      </a:lnTo>
                      <a:lnTo>
                        <a:pt x="112" y="16"/>
                      </a:lnTo>
                      <a:lnTo>
                        <a:pt x="114" y="12"/>
                      </a:lnTo>
                      <a:lnTo>
                        <a:pt x="118" y="12"/>
                      </a:lnTo>
                      <a:lnTo>
                        <a:pt x="122" y="6"/>
                      </a:lnTo>
                      <a:lnTo>
                        <a:pt x="124" y="0"/>
                      </a:lnTo>
                      <a:lnTo>
                        <a:pt x="126" y="2"/>
                      </a:lnTo>
                      <a:lnTo>
                        <a:pt x="126" y="6"/>
                      </a:lnTo>
                      <a:lnTo>
                        <a:pt x="124" y="8"/>
                      </a:lnTo>
                      <a:lnTo>
                        <a:pt x="124" y="12"/>
                      </a:lnTo>
                      <a:lnTo>
                        <a:pt x="126" y="12"/>
                      </a:lnTo>
                      <a:lnTo>
                        <a:pt x="128" y="14"/>
                      </a:lnTo>
                      <a:lnTo>
                        <a:pt x="130" y="14"/>
                      </a:lnTo>
                      <a:lnTo>
                        <a:pt x="130" y="22"/>
                      </a:lnTo>
                      <a:lnTo>
                        <a:pt x="132" y="22"/>
                      </a:lnTo>
                      <a:lnTo>
                        <a:pt x="132" y="24"/>
                      </a:lnTo>
                      <a:lnTo>
                        <a:pt x="130" y="24"/>
                      </a:lnTo>
                      <a:lnTo>
                        <a:pt x="130" y="34"/>
                      </a:lnTo>
                      <a:lnTo>
                        <a:pt x="130" y="36"/>
                      </a:lnTo>
                      <a:lnTo>
                        <a:pt x="130" y="3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89" name="Freeform 3366"/>
                <p:cNvSpPr>
                  <a:spLocks/>
                </p:cNvSpPr>
                <p:nvPr/>
              </p:nvSpPr>
              <p:spPr bwMode="auto">
                <a:xfrm>
                  <a:off x="822073" y="3337276"/>
                  <a:ext cx="37401" cy="29090"/>
                </a:xfrm>
                <a:custGeom>
                  <a:avLst/>
                  <a:gdLst/>
                  <a:ahLst/>
                  <a:cxnLst>
                    <a:cxn ang="0">
                      <a:pos x="12" y="2"/>
                    </a:cxn>
                    <a:cxn ang="0">
                      <a:pos x="10" y="4"/>
                    </a:cxn>
                    <a:cxn ang="0">
                      <a:pos x="12" y="4"/>
                    </a:cxn>
                    <a:cxn ang="0">
                      <a:pos x="14" y="6"/>
                    </a:cxn>
                    <a:cxn ang="0">
                      <a:pos x="16" y="12"/>
                    </a:cxn>
                    <a:cxn ang="0">
                      <a:pos x="18" y="12"/>
                    </a:cxn>
                    <a:cxn ang="0">
                      <a:pos x="14" y="14"/>
                    </a:cxn>
                    <a:cxn ang="0">
                      <a:pos x="10" y="14"/>
                    </a:cxn>
                    <a:cxn ang="0">
                      <a:pos x="4" y="12"/>
                    </a:cxn>
                    <a:cxn ang="0">
                      <a:pos x="2" y="10"/>
                    </a:cxn>
                    <a:cxn ang="0">
                      <a:pos x="8" y="8"/>
                    </a:cxn>
                    <a:cxn ang="0">
                      <a:pos x="8" y="6"/>
                    </a:cxn>
                    <a:cxn ang="0">
                      <a:pos x="6" y="6"/>
                    </a:cxn>
                    <a:cxn ang="0">
                      <a:pos x="4" y="6"/>
                    </a:cxn>
                    <a:cxn ang="0">
                      <a:pos x="4" y="8"/>
                    </a:cxn>
                    <a:cxn ang="0">
                      <a:pos x="2" y="10"/>
                    </a:cxn>
                    <a:cxn ang="0">
                      <a:pos x="0" y="10"/>
                    </a:cxn>
                    <a:cxn ang="0">
                      <a:pos x="0" y="4"/>
                    </a:cxn>
                    <a:cxn ang="0">
                      <a:pos x="4" y="2"/>
                    </a:cxn>
                    <a:cxn ang="0">
                      <a:pos x="4" y="0"/>
                    </a:cxn>
                    <a:cxn ang="0">
                      <a:pos x="8" y="0"/>
                    </a:cxn>
                    <a:cxn ang="0">
                      <a:pos x="12" y="0"/>
                    </a:cxn>
                    <a:cxn ang="0">
                      <a:pos x="12" y="2"/>
                    </a:cxn>
                  </a:cxnLst>
                  <a:rect l="0" t="0" r="r" b="b"/>
                  <a:pathLst>
                    <a:path w="18" h="14">
                      <a:moveTo>
                        <a:pt x="12" y="2"/>
                      </a:moveTo>
                      <a:lnTo>
                        <a:pt x="10" y="4"/>
                      </a:lnTo>
                      <a:lnTo>
                        <a:pt x="12" y="4"/>
                      </a:lnTo>
                      <a:lnTo>
                        <a:pt x="14" y="6"/>
                      </a:lnTo>
                      <a:lnTo>
                        <a:pt x="16" y="12"/>
                      </a:lnTo>
                      <a:lnTo>
                        <a:pt x="18" y="12"/>
                      </a:lnTo>
                      <a:lnTo>
                        <a:pt x="14" y="14"/>
                      </a:lnTo>
                      <a:lnTo>
                        <a:pt x="10" y="14"/>
                      </a:lnTo>
                      <a:lnTo>
                        <a:pt x="4" y="12"/>
                      </a:lnTo>
                      <a:lnTo>
                        <a:pt x="2" y="10"/>
                      </a:lnTo>
                      <a:lnTo>
                        <a:pt x="8" y="8"/>
                      </a:lnTo>
                      <a:lnTo>
                        <a:pt x="8" y="6"/>
                      </a:lnTo>
                      <a:lnTo>
                        <a:pt x="6" y="6"/>
                      </a:lnTo>
                      <a:lnTo>
                        <a:pt x="4" y="6"/>
                      </a:lnTo>
                      <a:lnTo>
                        <a:pt x="4" y="8"/>
                      </a:lnTo>
                      <a:lnTo>
                        <a:pt x="2" y="10"/>
                      </a:lnTo>
                      <a:lnTo>
                        <a:pt x="0" y="10"/>
                      </a:lnTo>
                      <a:lnTo>
                        <a:pt x="0" y="4"/>
                      </a:lnTo>
                      <a:lnTo>
                        <a:pt x="4" y="2"/>
                      </a:lnTo>
                      <a:lnTo>
                        <a:pt x="4" y="0"/>
                      </a:lnTo>
                      <a:lnTo>
                        <a:pt x="8" y="0"/>
                      </a:lnTo>
                      <a:lnTo>
                        <a:pt x="12" y="0"/>
                      </a:lnTo>
                      <a:lnTo>
                        <a:pt x="12"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0" name="Freeform 3367"/>
                <p:cNvSpPr>
                  <a:spLocks/>
                </p:cNvSpPr>
                <p:nvPr/>
              </p:nvSpPr>
              <p:spPr bwMode="auto">
                <a:xfrm>
                  <a:off x="855318" y="3449479"/>
                  <a:ext cx="29090" cy="12467"/>
                </a:xfrm>
                <a:custGeom>
                  <a:avLst/>
                  <a:gdLst/>
                  <a:ahLst/>
                  <a:cxnLst>
                    <a:cxn ang="0">
                      <a:pos x="6" y="6"/>
                    </a:cxn>
                    <a:cxn ang="0">
                      <a:pos x="4" y="4"/>
                    </a:cxn>
                    <a:cxn ang="0">
                      <a:pos x="2" y="4"/>
                    </a:cxn>
                    <a:cxn ang="0">
                      <a:pos x="0" y="6"/>
                    </a:cxn>
                    <a:cxn ang="0">
                      <a:pos x="0" y="4"/>
                    </a:cxn>
                    <a:cxn ang="0">
                      <a:pos x="0" y="2"/>
                    </a:cxn>
                    <a:cxn ang="0">
                      <a:pos x="4" y="0"/>
                    </a:cxn>
                    <a:cxn ang="0">
                      <a:pos x="12" y="2"/>
                    </a:cxn>
                    <a:cxn ang="0">
                      <a:pos x="14" y="4"/>
                    </a:cxn>
                    <a:cxn ang="0">
                      <a:pos x="12" y="4"/>
                    </a:cxn>
                    <a:cxn ang="0">
                      <a:pos x="6" y="6"/>
                    </a:cxn>
                  </a:cxnLst>
                  <a:rect l="0" t="0" r="r" b="b"/>
                  <a:pathLst>
                    <a:path w="14" h="6">
                      <a:moveTo>
                        <a:pt x="6" y="6"/>
                      </a:moveTo>
                      <a:lnTo>
                        <a:pt x="4" y="4"/>
                      </a:lnTo>
                      <a:lnTo>
                        <a:pt x="2" y="4"/>
                      </a:lnTo>
                      <a:lnTo>
                        <a:pt x="0" y="6"/>
                      </a:lnTo>
                      <a:lnTo>
                        <a:pt x="0" y="4"/>
                      </a:lnTo>
                      <a:lnTo>
                        <a:pt x="0" y="2"/>
                      </a:lnTo>
                      <a:lnTo>
                        <a:pt x="4" y="0"/>
                      </a:lnTo>
                      <a:lnTo>
                        <a:pt x="12" y="2"/>
                      </a:lnTo>
                      <a:lnTo>
                        <a:pt x="14" y="4"/>
                      </a:lnTo>
                      <a:lnTo>
                        <a:pt x="12" y="4"/>
                      </a:lnTo>
                      <a:lnTo>
                        <a:pt x="6"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1" name="Freeform 3368"/>
                <p:cNvSpPr>
                  <a:spLocks/>
                </p:cNvSpPr>
                <p:nvPr/>
              </p:nvSpPr>
              <p:spPr bwMode="auto">
                <a:xfrm>
                  <a:off x="822073" y="3457790"/>
                  <a:ext cx="20778" cy="12467"/>
                </a:xfrm>
                <a:custGeom>
                  <a:avLst/>
                  <a:gdLst/>
                  <a:ahLst/>
                  <a:cxnLst>
                    <a:cxn ang="0">
                      <a:pos x="0" y="6"/>
                    </a:cxn>
                    <a:cxn ang="0">
                      <a:pos x="2" y="2"/>
                    </a:cxn>
                    <a:cxn ang="0">
                      <a:pos x="10" y="0"/>
                    </a:cxn>
                    <a:cxn ang="0">
                      <a:pos x="10" y="2"/>
                    </a:cxn>
                    <a:cxn ang="0">
                      <a:pos x="8" y="2"/>
                    </a:cxn>
                    <a:cxn ang="0">
                      <a:pos x="8" y="4"/>
                    </a:cxn>
                    <a:cxn ang="0">
                      <a:pos x="6" y="6"/>
                    </a:cxn>
                    <a:cxn ang="0">
                      <a:pos x="2" y="6"/>
                    </a:cxn>
                    <a:cxn ang="0">
                      <a:pos x="0" y="6"/>
                    </a:cxn>
                  </a:cxnLst>
                  <a:rect l="0" t="0" r="r" b="b"/>
                  <a:pathLst>
                    <a:path w="10" h="6">
                      <a:moveTo>
                        <a:pt x="0" y="6"/>
                      </a:moveTo>
                      <a:lnTo>
                        <a:pt x="2" y="2"/>
                      </a:lnTo>
                      <a:lnTo>
                        <a:pt x="10" y="0"/>
                      </a:lnTo>
                      <a:lnTo>
                        <a:pt x="10" y="2"/>
                      </a:lnTo>
                      <a:lnTo>
                        <a:pt x="8" y="2"/>
                      </a:lnTo>
                      <a:lnTo>
                        <a:pt x="8" y="4"/>
                      </a:lnTo>
                      <a:lnTo>
                        <a:pt x="6" y="6"/>
                      </a:lnTo>
                      <a:lnTo>
                        <a:pt x="2" y="6"/>
                      </a:lnTo>
                      <a:lnTo>
                        <a:pt x="0"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2" name="Freeform 3369"/>
                <p:cNvSpPr>
                  <a:spLocks/>
                </p:cNvSpPr>
                <p:nvPr/>
              </p:nvSpPr>
              <p:spPr bwMode="auto">
                <a:xfrm>
                  <a:off x="876097" y="3515970"/>
                  <a:ext cx="24934" cy="16623"/>
                </a:xfrm>
                <a:custGeom>
                  <a:avLst/>
                  <a:gdLst/>
                  <a:ahLst/>
                  <a:cxnLst>
                    <a:cxn ang="0">
                      <a:pos x="0" y="8"/>
                    </a:cxn>
                    <a:cxn ang="0">
                      <a:pos x="0" y="6"/>
                    </a:cxn>
                    <a:cxn ang="0">
                      <a:pos x="4" y="2"/>
                    </a:cxn>
                    <a:cxn ang="0">
                      <a:pos x="6" y="2"/>
                    </a:cxn>
                    <a:cxn ang="0">
                      <a:pos x="6" y="0"/>
                    </a:cxn>
                    <a:cxn ang="0">
                      <a:pos x="10" y="0"/>
                    </a:cxn>
                    <a:cxn ang="0">
                      <a:pos x="12" y="2"/>
                    </a:cxn>
                    <a:cxn ang="0">
                      <a:pos x="10" y="2"/>
                    </a:cxn>
                    <a:cxn ang="0">
                      <a:pos x="8" y="2"/>
                    </a:cxn>
                    <a:cxn ang="0">
                      <a:pos x="2" y="4"/>
                    </a:cxn>
                    <a:cxn ang="0">
                      <a:pos x="2" y="6"/>
                    </a:cxn>
                    <a:cxn ang="0">
                      <a:pos x="0" y="6"/>
                    </a:cxn>
                    <a:cxn ang="0">
                      <a:pos x="0" y="8"/>
                    </a:cxn>
                  </a:cxnLst>
                  <a:rect l="0" t="0" r="r" b="b"/>
                  <a:pathLst>
                    <a:path w="12" h="8">
                      <a:moveTo>
                        <a:pt x="0" y="8"/>
                      </a:moveTo>
                      <a:lnTo>
                        <a:pt x="0" y="6"/>
                      </a:lnTo>
                      <a:lnTo>
                        <a:pt x="4" y="2"/>
                      </a:lnTo>
                      <a:lnTo>
                        <a:pt x="6" y="2"/>
                      </a:lnTo>
                      <a:lnTo>
                        <a:pt x="6" y="0"/>
                      </a:lnTo>
                      <a:lnTo>
                        <a:pt x="10" y="0"/>
                      </a:lnTo>
                      <a:lnTo>
                        <a:pt x="12" y="2"/>
                      </a:lnTo>
                      <a:lnTo>
                        <a:pt x="10" y="2"/>
                      </a:lnTo>
                      <a:lnTo>
                        <a:pt x="8" y="2"/>
                      </a:lnTo>
                      <a:lnTo>
                        <a:pt x="2" y="4"/>
                      </a:lnTo>
                      <a:lnTo>
                        <a:pt x="2" y="6"/>
                      </a:lnTo>
                      <a:lnTo>
                        <a:pt x="0" y="6"/>
                      </a:lnTo>
                      <a:lnTo>
                        <a:pt x="0"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3" name="Freeform 3370"/>
                <p:cNvSpPr>
                  <a:spLocks/>
                </p:cNvSpPr>
                <p:nvPr/>
              </p:nvSpPr>
              <p:spPr bwMode="auto">
                <a:xfrm>
                  <a:off x="838696" y="3532593"/>
                  <a:ext cx="12467" cy="12467"/>
                </a:xfrm>
                <a:custGeom>
                  <a:avLst/>
                  <a:gdLst/>
                  <a:ahLst/>
                  <a:cxnLst>
                    <a:cxn ang="0">
                      <a:pos x="6" y="4"/>
                    </a:cxn>
                    <a:cxn ang="0">
                      <a:pos x="4" y="4"/>
                    </a:cxn>
                    <a:cxn ang="0">
                      <a:pos x="2" y="6"/>
                    </a:cxn>
                    <a:cxn ang="0">
                      <a:pos x="0" y="6"/>
                    </a:cxn>
                    <a:cxn ang="0">
                      <a:pos x="0" y="4"/>
                    </a:cxn>
                    <a:cxn ang="0">
                      <a:pos x="0" y="2"/>
                    </a:cxn>
                    <a:cxn ang="0">
                      <a:pos x="2" y="0"/>
                    </a:cxn>
                    <a:cxn ang="0">
                      <a:pos x="4" y="2"/>
                    </a:cxn>
                    <a:cxn ang="0">
                      <a:pos x="6" y="2"/>
                    </a:cxn>
                    <a:cxn ang="0">
                      <a:pos x="6" y="4"/>
                    </a:cxn>
                  </a:cxnLst>
                  <a:rect l="0" t="0" r="r" b="b"/>
                  <a:pathLst>
                    <a:path w="6" h="6">
                      <a:moveTo>
                        <a:pt x="6" y="4"/>
                      </a:moveTo>
                      <a:lnTo>
                        <a:pt x="4" y="4"/>
                      </a:lnTo>
                      <a:lnTo>
                        <a:pt x="2" y="6"/>
                      </a:lnTo>
                      <a:lnTo>
                        <a:pt x="0" y="6"/>
                      </a:lnTo>
                      <a:lnTo>
                        <a:pt x="0" y="4"/>
                      </a:lnTo>
                      <a:lnTo>
                        <a:pt x="0" y="2"/>
                      </a:lnTo>
                      <a:lnTo>
                        <a:pt x="2" y="0"/>
                      </a:lnTo>
                      <a:lnTo>
                        <a:pt x="4" y="2"/>
                      </a:lnTo>
                      <a:lnTo>
                        <a:pt x="6" y="2"/>
                      </a:lnTo>
                      <a:lnTo>
                        <a:pt x="6" y="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4" name="Freeform 3371"/>
                <p:cNvSpPr>
                  <a:spLocks/>
                </p:cNvSpPr>
                <p:nvPr/>
              </p:nvSpPr>
              <p:spPr bwMode="auto">
                <a:xfrm>
                  <a:off x="921809" y="3549215"/>
                  <a:ext cx="29090" cy="37401"/>
                </a:xfrm>
                <a:custGeom>
                  <a:avLst/>
                  <a:gdLst/>
                  <a:ahLst/>
                  <a:cxnLst>
                    <a:cxn ang="0">
                      <a:pos x="12" y="0"/>
                    </a:cxn>
                    <a:cxn ang="0">
                      <a:pos x="14" y="0"/>
                    </a:cxn>
                    <a:cxn ang="0">
                      <a:pos x="10" y="8"/>
                    </a:cxn>
                    <a:cxn ang="0">
                      <a:pos x="6" y="14"/>
                    </a:cxn>
                    <a:cxn ang="0">
                      <a:pos x="4" y="16"/>
                    </a:cxn>
                    <a:cxn ang="0">
                      <a:pos x="2" y="18"/>
                    </a:cxn>
                    <a:cxn ang="0">
                      <a:pos x="0" y="18"/>
                    </a:cxn>
                    <a:cxn ang="0">
                      <a:pos x="0" y="12"/>
                    </a:cxn>
                    <a:cxn ang="0">
                      <a:pos x="0" y="10"/>
                    </a:cxn>
                    <a:cxn ang="0">
                      <a:pos x="4" y="4"/>
                    </a:cxn>
                    <a:cxn ang="0">
                      <a:pos x="8" y="2"/>
                    </a:cxn>
                    <a:cxn ang="0">
                      <a:pos x="10" y="0"/>
                    </a:cxn>
                    <a:cxn ang="0">
                      <a:pos x="12" y="0"/>
                    </a:cxn>
                  </a:cxnLst>
                  <a:rect l="0" t="0" r="r" b="b"/>
                  <a:pathLst>
                    <a:path w="14" h="18">
                      <a:moveTo>
                        <a:pt x="12" y="0"/>
                      </a:moveTo>
                      <a:lnTo>
                        <a:pt x="14" y="0"/>
                      </a:lnTo>
                      <a:lnTo>
                        <a:pt x="10" y="8"/>
                      </a:lnTo>
                      <a:lnTo>
                        <a:pt x="6" y="14"/>
                      </a:lnTo>
                      <a:lnTo>
                        <a:pt x="4" y="16"/>
                      </a:lnTo>
                      <a:lnTo>
                        <a:pt x="2" y="18"/>
                      </a:lnTo>
                      <a:lnTo>
                        <a:pt x="0" y="18"/>
                      </a:lnTo>
                      <a:lnTo>
                        <a:pt x="0" y="12"/>
                      </a:lnTo>
                      <a:lnTo>
                        <a:pt x="0" y="10"/>
                      </a:lnTo>
                      <a:lnTo>
                        <a:pt x="4" y="4"/>
                      </a:lnTo>
                      <a:lnTo>
                        <a:pt x="8" y="2"/>
                      </a:lnTo>
                      <a:lnTo>
                        <a:pt x="10" y="0"/>
                      </a:lnTo>
                      <a:lnTo>
                        <a:pt x="12" y="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5" name="Freeform 3372"/>
                <p:cNvSpPr>
                  <a:spLocks/>
                </p:cNvSpPr>
                <p:nvPr/>
              </p:nvSpPr>
              <p:spPr bwMode="auto">
                <a:xfrm>
                  <a:off x="884408" y="3594928"/>
                  <a:ext cx="8311" cy="24934"/>
                </a:xfrm>
                <a:custGeom>
                  <a:avLst/>
                  <a:gdLst/>
                  <a:ahLst/>
                  <a:cxnLst>
                    <a:cxn ang="0">
                      <a:pos x="2" y="12"/>
                    </a:cxn>
                    <a:cxn ang="0">
                      <a:pos x="0" y="6"/>
                    </a:cxn>
                    <a:cxn ang="0">
                      <a:pos x="2" y="4"/>
                    </a:cxn>
                    <a:cxn ang="0">
                      <a:pos x="2" y="2"/>
                    </a:cxn>
                    <a:cxn ang="0">
                      <a:pos x="2" y="0"/>
                    </a:cxn>
                    <a:cxn ang="0">
                      <a:pos x="4" y="0"/>
                    </a:cxn>
                    <a:cxn ang="0">
                      <a:pos x="2" y="10"/>
                    </a:cxn>
                    <a:cxn ang="0">
                      <a:pos x="2" y="12"/>
                    </a:cxn>
                  </a:cxnLst>
                  <a:rect l="0" t="0" r="r" b="b"/>
                  <a:pathLst>
                    <a:path w="4" h="12">
                      <a:moveTo>
                        <a:pt x="2" y="12"/>
                      </a:moveTo>
                      <a:lnTo>
                        <a:pt x="0" y="6"/>
                      </a:lnTo>
                      <a:lnTo>
                        <a:pt x="2" y="4"/>
                      </a:lnTo>
                      <a:lnTo>
                        <a:pt x="2" y="2"/>
                      </a:lnTo>
                      <a:lnTo>
                        <a:pt x="2" y="0"/>
                      </a:lnTo>
                      <a:lnTo>
                        <a:pt x="4" y="0"/>
                      </a:lnTo>
                      <a:lnTo>
                        <a:pt x="2" y="10"/>
                      </a:lnTo>
                      <a:lnTo>
                        <a:pt x="2" y="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6" name="Freeform 3375"/>
                <p:cNvSpPr>
                  <a:spLocks/>
                </p:cNvSpPr>
                <p:nvPr/>
              </p:nvSpPr>
              <p:spPr bwMode="auto">
                <a:xfrm>
                  <a:off x="826229" y="3133647"/>
                  <a:ext cx="1068009" cy="461280"/>
                </a:xfrm>
                <a:custGeom>
                  <a:avLst/>
                  <a:gdLst/>
                  <a:ahLst/>
                  <a:cxnLst>
                    <a:cxn ang="0">
                      <a:pos x="458" y="168"/>
                    </a:cxn>
                    <a:cxn ang="0">
                      <a:pos x="442" y="170"/>
                    </a:cxn>
                    <a:cxn ang="0">
                      <a:pos x="396" y="180"/>
                    </a:cxn>
                    <a:cxn ang="0">
                      <a:pos x="326" y="186"/>
                    </a:cxn>
                    <a:cxn ang="0">
                      <a:pos x="290" y="186"/>
                    </a:cxn>
                    <a:cxn ang="0">
                      <a:pos x="282" y="216"/>
                    </a:cxn>
                    <a:cxn ang="0">
                      <a:pos x="270" y="212"/>
                    </a:cxn>
                    <a:cxn ang="0">
                      <a:pos x="266" y="188"/>
                    </a:cxn>
                    <a:cxn ang="0">
                      <a:pos x="254" y="196"/>
                    </a:cxn>
                    <a:cxn ang="0">
                      <a:pos x="230" y="192"/>
                    </a:cxn>
                    <a:cxn ang="0">
                      <a:pos x="214" y="204"/>
                    </a:cxn>
                    <a:cxn ang="0">
                      <a:pos x="180" y="214"/>
                    </a:cxn>
                    <a:cxn ang="0">
                      <a:pos x="146" y="188"/>
                    </a:cxn>
                    <a:cxn ang="0">
                      <a:pos x="120" y="202"/>
                    </a:cxn>
                    <a:cxn ang="0">
                      <a:pos x="110" y="206"/>
                    </a:cxn>
                    <a:cxn ang="0">
                      <a:pos x="84" y="204"/>
                    </a:cxn>
                    <a:cxn ang="0">
                      <a:pos x="76" y="192"/>
                    </a:cxn>
                    <a:cxn ang="0">
                      <a:pos x="60" y="190"/>
                    </a:cxn>
                    <a:cxn ang="0">
                      <a:pos x="56" y="190"/>
                    </a:cxn>
                    <a:cxn ang="0">
                      <a:pos x="38" y="192"/>
                    </a:cxn>
                    <a:cxn ang="0">
                      <a:pos x="36" y="180"/>
                    </a:cxn>
                    <a:cxn ang="0">
                      <a:pos x="42" y="176"/>
                    </a:cxn>
                    <a:cxn ang="0">
                      <a:pos x="32" y="166"/>
                    </a:cxn>
                    <a:cxn ang="0">
                      <a:pos x="18" y="140"/>
                    </a:cxn>
                    <a:cxn ang="0">
                      <a:pos x="8" y="136"/>
                    </a:cxn>
                    <a:cxn ang="0">
                      <a:pos x="12" y="122"/>
                    </a:cxn>
                    <a:cxn ang="0">
                      <a:pos x="24" y="134"/>
                    </a:cxn>
                    <a:cxn ang="0">
                      <a:pos x="26" y="116"/>
                    </a:cxn>
                    <a:cxn ang="0">
                      <a:pos x="22" y="108"/>
                    </a:cxn>
                    <a:cxn ang="0">
                      <a:pos x="20" y="92"/>
                    </a:cxn>
                    <a:cxn ang="0">
                      <a:pos x="0" y="90"/>
                    </a:cxn>
                    <a:cxn ang="0">
                      <a:pos x="18" y="62"/>
                    </a:cxn>
                    <a:cxn ang="0">
                      <a:pos x="38" y="64"/>
                    </a:cxn>
                    <a:cxn ang="0">
                      <a:pos x="54" y="60"/>
                    </a:cxn>
                    <a:cxn ang="0">
                      <a:pos x="66" y="62"/>
                    </a:cxn>
                    <a:cxn ang="0">
                      <a:pos x="80" y="60"/>
                    </a:cxn>
                    <a:cxn ang="0">
                      <a:pos x="106" y="50"/>
                    </a:cxn>
                    <a:cxn ang="0">
                      <a:pos x="82" y="36"/>
                    </a:cxn>
                    <a:cxn ang="0">
                      <a:pos x="118" y="34"/>
                    </a:cxn>
                    <a:cxn ang="0">
                      <a:pos x="166" y="18"/>
                    </a:cxn>
                    <a:cxn ang="0">
                      <a:pos x="224" y="4"/>
                    </a:cxn>
                    <a:cxn ang="0">
                      <a:pos x="242" y="2"/>
                    </a:cxn>
                    <a:cxn ang="0">
                      <a:pos x="252" y="14"/>
                    </a:cxn>
                    <a:cxn ang="0">
                      <a:pos x="284" y="32"/>
                    </a:cxn>
                    <a:cxn ang="0">
                      <a:pos x="300" y="34"/>
                    </a:cxn>
                    <a:cxn ang="0">
                      <a:pos x="320" y="38"/>
                    </a:cxn>
                    <a:cxn ang="0">
                      <a:pos x="336" y="44"/>
                    </a:cxn>
                    <a:cxn ang="0">
                      <a:pos x="358" y="38"/>
                    </a:cxn>
                    <a:cxn ang="0">
                      <a:pos x="386" y="42"/>
                    </a:cxn>
                    <a:cxn ang="0">
                      <a:pos x="406" y="34"/>
                    </a:cxn>
                    <a:cxn ang="0">
                      <a:pos x="434" y="22"/>
                    </a:cxn>
                    <a:cxn ang="0">
                      <a:pos x="458" y="18"/>
                    </a:cxn>
                    <a:cxn ang="0">
                      <a:pos x="480" y="40"/>
                    </a:cxn>
                    <a:cxn ang="0">
                      <a:pos x="488" y="74"/>
                    </a:cxn>
                    <a:cxn ang="0">
                      <a:pos x="512" y="86"/>
                    </a:cxn>
                    <a:cxn ang="0">
                      <a:pos x="498" y="98"/>
                    </a:cxn>
                    <a:cxn ang="0">
                      <a:pos x="498" y="116"/>
                    </a:cxn>
                    <a:cxn ang="0">
                      <a:pos x="496" y="150"/>
                    </a:cxn>
                    <a:cxn ang="0">
                      <a:pos x="512" y="174"/>
                    </a:cxn>
                    <a:cxn ang="0">
                      <a:pos x="502" y="178"/>
                    </a:cxn>
                    <a:cxn ang="0">
                      <a:pos x="494" y="170"/>
                    </a:cxn>
                  </a:cxnLst>
                  <a:rect l="0" t="0" r="r" b="b"/>
                  <a:pathLst>
                    <a:path w="514" h="222">
                      <a:moveTo>
                        <a:pt x="492" y="170"/>
                      </a:moveTo>
                      <a:lnTo>
                        <a:pt x="488" y="174"/>
                      </a:lnTo>
                      <a:lnTo>
                        <a:pt x="480" y="174"/>
                      </a:lnTo>
                      <a:lnTo>
                        <a:pt x="468" y="168"/>
                      </a:lnTo>
                      <a:lnTo>
                        <a:pt x="464" y="168"/>
                      </a:lnTo>
                      <a:lnTo>
                        <a:pt x="462" y="170"/>
                      </a:lnTo>
                      <a:lnTo>
                        <a:pt x="460" y="168"/>
                      </a:lnTo>
                      <a:lnTo>
                        <a:pt x="458" y="168"/>
                      </a:lnTo>
                      <a:lnTo>
                        <a:pt x="456" y="168"/>
                      </a:lnTo>
                      <a:lnTo>
                        <a:pt x="452" y="174"/>
                      </a:lnTo>
                      <a:lnTo>
                        <a:pt x="452" y="176"/>
                      </a:lnTo>
                      <a:lnTo>
                        <a:pt x="446" y="176"/>
                      </a:lnTo>
                      <a:lnTo>
                        <a:pt x="446" y="178"/>
                      </a:lnTo>
                      <a:lnTo>
                        <a:pt x="446" y="174"/>
                      </a:lnTo>
                      <a:lnTo>
                        <a:pt x="444" y="172"/>
                      </a:lnTo>
                      <a:lnTo>
                        <a:pt x="442" y="170"/>
                      </a:lnTo>
                      <a:lnTo>
                        <a:pt x="440" y="170"/>
                      </a:lnTo>
                      <a:lnTo>
                        <a:pt x="438" y="174"/>
                      </a:lnTo>
                      <a:lnTo>
                        <a:pt x="432" y="176"/>
                      </a:lnTo>
                      <a:lnTo>
                        <a:pt x="424" y="178"/>
                      </a:lnTo>
                      <a:lnTo>
                        <a:pt x="422" y="178"/>
                      </a:lnTo>
                      <a:lnTo>
                        <a:pt x="402" y="176"/>
                      </a:lnTo>
                      <a:lnTo>
                        <a:pt x="400" y="178"/>
                      </a:lnTo>
                      <a:lnTo>
                        <a:pt x="396" y="180"/>
                      </a:lnTo>
                      <a:lnTo>
                        <a:pt x="394" y="180"/>
                      </a:lnTo>
                      <a:lnTo>
                        <a:pt x="376" y="190"/>
                      </a:lnTo>
                      <a:lnTo>
                        <a:pt x="358" y="192"/>
                      </a:lnTo>
                      <a:lnTo>
                        <a:pt x="346" y="192"/>
                      </a:lnTo>
                      <a:lnTo>
                        <a:pt x="338" y="184"/>
                      </a:lnTo>
                      <a:lnTo>
                        <a:pt x="334" y="184"/>
                      </a:lnTo>
                      <a:lnTo>
                        <a:pt x="328" y="186"/>
                      </a:lnTo>
                      <a:lnTo>
                        <a:pt x="326" y="186"/>
                      </a:lnTo>
                      <a:lnTo>
                        <a:pt x="324" y="188"/>
                      </a:lnTo>
                      <a:lnTo>
                        <a:pt x="318" y="190"/>
                      </a:lnTo>
                      <a:lnTo>
                        <a:pt x="314" y="192"/>
                      </a:lnTo>
                      <a:lnTo>
                        <a:pt x="310" y="192"/>
                      </a:lnTo>
                      <a:lnTo>
                        <a:pt x="306" y="192"/>
                      </a:lnTo>
                      <a:lnTo>
                        <a:pt x="302" y="192"/>
                      </a:lnTo>
                      <a:lnTo>
                        <a:pt x="300" y="190"/>
                      </a:lnTo>
                      <a:lnTo>
                        <a:pt x="290" y="186"/>
                      </a:lnTo>
                      <a:lnTo>
                        <a:pt x="288" y="200"/>
                      </a:lnTo>
                      <a:lnTo>
                        <a:pt x="290" y="204"/>
                      </a:lnTo>
                      <a:lnTo>
                        <a:pt x="290" y="206"/>
                      </a:lnTo>
                      <a:lnTo>
                        <a:pt x="288" y="208"/>
                      </a:lnTo>
                      <a:lnTo>
                        <a:pt x="286" y="206"/>
                      </a:lnTo>
                      <a:lnTo>
                        <a:pt x="282" y="208"/>
                      </a:lnTo>
                      <a:lnTo>
                        <a:pt x="282" y="210"/>
                      </a:lnTo>
                      <a:lnTo>
                        <a:pt x="282" y="216"/>
                      </a:lnTo>
                      <a:lnTo>
                        <a:pt x="280" y="216"/>
                      </a:lnTo>
                      <a:lnTo>
                        <a:pt x="278" y="216"/>
                      </a:lnTo>
                      <a:lnTo>
                        <a:pt x="276" y="218"/>
                      </a:lnTo>
                      <a:lnTo>
                        <a:pt x="276" y="222"/>
                      </a:lnTo>
                      <a:lnTo>
                        <a:pt x="276" y="220"/>
                      </a:lnTo>
                      <a:lnTo>
                        <a:pt x="270" y="218"/>
                      </a:lnTo>
                      <a:lnTo>
                        <a:pt x="270" y="216"/>
                      </a:lnTo>
                      <a:lnTo>
                        <a:pt x="270" y="212"/>
                      </a:lnTo>
                      <a:lnTo>
                        <a:pt x="266" y="204"/>
                      </a:lnTo>
                      <a:lnTo>
                        <a:pt x="276" y="194"/>
                      </a:lnTo>
                      <a:lnTo>
                        <a:pt x="278" y="192"/>
                      </a:lnTo>
                      <a:lnTo>
                        <a:pt x="278" y="188"/>
                      </a:lnTo>
                      <a:lnTo>
                        <a:pt x="276" y="186"/>
                      </a:lnTo>
                      <a:lnTo>
                        <a:pt x="274" y="184"/>
                      </a:lnTo>
                      <a:lnTo>
                        <a:pt x="272" y="184"/>
                      </a:lnTo>
                      <a:lnTo>
                        <a:pt x="266" y="188"/>
                      </a:lnTo>
                      <a:lnTo>
                        <a:pt x="264" y="188"/>
                      </a:lnTo>
                      <a:lnTo>
                        <a:pt x="262" y="190"/>
                      </a:lnTo>
                      <a:lnTo>
                        <a:pt x="260" y="192"/>
                      </a:lnTo>
                      <a:lnTo>
                        <a:pt x="262" y="192"/>
                      </a:lnTo>
                      <a:lnTo>
                        <a:pt x="262" y="194"/>
                      </a:lnTo>
                      <a:lnTo>
                        <a:pt x="260" y="196"/>
                      </a:lnTo>
                      <a:lnTo>
                        <a:pt x="258" y="194"/>
                      </a:lnTo>
                      <a:lnTo>
                        <a:pt x="254" y="196"/>
                      </a:lnTo>
                      <a:lnTo>
                        <a:pt x="244" y="190"/>
                      </a:lnTo>
                      <a:lnTo>
                        <a:pt x="242" y="190"/>
                      </a:lnTo>
                      <a:lnTo>
                        <a:pt x="240" y="188"/>
                      </a:lnTo>
                      <a:lnTo>
                        <a:pt x="238" y="186"/>
                      </a:lnTo>
                      <a:lnTo>
                        <a:pt x="236" y="186"/>
                      </a:lnTo>
                      <a:lnTo>
                        <a:pt x="234" y="188"/>
                      </a:lnTo>
                      <a:lnTo>
                        <a:pt x="232" y="188"/>
                      </a:lnTo>
                      <a:lnTo>
                        <a:pt x="230" y="192"/>
                      </a:lnTo>
                      <a:lnTo>
                        <a:pt x="226" y="192"/>
                      </a:lnTo>
                      <a:lnTo>
                        <a:pt x="224" y="196"/>
                      </a:lnTo>
                      <a:lnTo>
                        <a:pt x="220" y="200"/>
                      </a:lnTo>
                      <a:lnTo>
                        <a:pt x="220" y="202"/>
                      </a:lnTo>
                      <a:lnTo>
                        <a:pt x="218" y="202"/>
                      </a:lnTo>
                      <a:lnTo>
                        <a:pt x="218" y="204"/>
                      </a:lnTo>
                      <a:lnTo>
                        <a:pt x="218" y="206"/>
                      </a:lnTo>
                      <a:lnTo>
                        <a:pt x="214" y="204"/>
                      </a:lnTo>
                      <a:lnTo>
                        <a:pt x="210" y="208"/>
                      </a:lnTo>
                      <a:lnTo>
                        <a:pt x="210" y="210"/>
                      </a:lnTo>
                      <a:lnTo>
                        <a:pt x="208" y="208"/>
                      </a:lnTo>
                      <a:lnTo>
                        <a:pt x="206" y="208"/>
                      </a:lnTo>
                      <a:lnTo>
                        <a:pt x="204" y="210"/>
                      </a:lnTo>
                      <a:lnTo>
                        <a:pt x="188" y="212"/>
                      </a:lnTo>
                      <a:lnTo>
                        <a:pt x="184" y="214"/>
                      </a:lnTo>
                      <a:lnTo>
                        <a:pt x="180" y="214"/>
                      </a:lnTo>
                      <a:lnTo>
                        <a:pt x="178" y="212"/>
                      </a:lnTo>
                      <a:lnTo>
                        <a:pt x="176" y="212"/>
                      </a:lnTo>
                      <a:lnTo>
                        <a:pt x="172" y="210"/>
                      </a:lnTo>
                      <a:lnTo>
                        <a:pt x="168" y="202"/>
                      </a:lnTo>
                      <a:lnTo>
                        <a:pt x="164" y="198"/>
                      </a:lnTo>
                      <a:lnTo>
                        <a:pt x="158" y="194"/>
                      </a:lnTo>
                      <a:lnTo>
                        <a:pt x="156" y="192"/>
                      </a:lnTo>
                      <a:lnTo>
                        <a:pt x="146" y="188"/>
                      </a:lnTo>
                      <a:lnTo>
                        <a:pt x="144" y="188"/>
                      </a:lnTo>
                      <a:lnTo>
                        <a:pt x="142" y="186"/>
                      </a:lnTo>
                      <a:lnTo>
                        <a:pt x="128" y="186"/>
                      </a:lnTo>
                      <a:lnTo>
                        <a:pt x="126" y="186"/>
                      </a:lnTo>
                      <a:lnTo>
                        <a:pt x="124" y="188"/>
                      </a:lnTo>
                      <a:lnTo>
                        <a:pt x="122" y="198"/>
                      </a:lnTo>
                      <a:lnTo>
                        <a:pt x="120" y="200"/>
                      </a:lnTo>
                      <a:lnTo>
                        <a:pt x="120" y="202"/>
                      </a:lnTo>
                      <a:lnTo>
                        <a:pt x="122" y="202"/>
                      </a:lnTo>
                      <a:lnTo>
                        <a:pt x="122" y="204"/>
                      </a:lnTo>
                      <a:lnTo>
                        <a:pt x="120" y="208"/>
                      </a:lnTo>
                      <a:lnTo>
                        <a:pt x="118" y="208"/>
                      </a:lnTo>
                      <a:lnTo>
                        <a:pt x="118" y="206"/>
                      </a:lnTo>
                      <a:lnTo>
                        <a:pt x="116" y="204"/>
                      </a:lnTo>
                      <a:lnTo>
                        <a:pt x="112" y="204"/>
                      </a:lnTo>
                      <a:lnTo>
                        <a:pt x="110" y="206"/>
                      </a:lnTo>
                      <a:lnTo>
                        <a:pt x="102" y="210"/>
                      </a:lnTo>
                      <a:lnTo>
                        <a:pt x="100" y="210"/>
                      </a:lnTo>
                      <a:lnTo>
                        <a:pt x="98" y="210"/>
                      </a:lnTo>
                      <a:lnTo>
                        <a:pt x="96" y="208"/>
                      </a:lnTo>
                      <a:lnTo>
                        <a:pt x="90" y="208"/>
                      </a:lnTo>
                      <a:lnTo>
                        <a:pt x="88" y="204"/>
                      </a:lnTo>
                      <a:lnTo>
                        <a:pt x="86" y="204"/>
                      </a:lnTo>
                      <a:lnTo>
                        <a:pt x="84" y="204"/>
                      </a:lnTo>
                      <a:lnTo>
                        <a:pt x="82" y="198"/>
                      </a:lnTo>
                      <a:lnTo>
                        <a:pt x="84" y="198"/>
                      </a:lnTo>
                      <a:lnTo>
                        <a:pt x="84" y="196"/>
                      </a:lnTo>
                      <a:lnTo>
                        <a:pt x="82" y="196"/>
                      </a:lnTo>
                      <a:lnTo>
                        <a:pt x="82" y="194"/>
                      </a:lnTo>
                      <a:lnTo>
                        <a:pt x="82" y="192"/>
                      </a:lnTo>
                      <a:lnTo>
                        <a:pt x="78" y="190"/>
                      </a:lnTo>
                      <a:lnTo>
                        <a:pt x="76" y="192"/>
                      </a:lnTo>
                      <a:lnTo>
                        <a:pt x="70" y="190"/>
                      </a:lnTo>
                      <a:lnTo>
                        <a:pt x="70" y="188"/>
                      </a:lnTo>
                      <a:lnTo>
                        <a:pt x="66" y="186"/>
                      </a:lnTo>
                      <a:lnTo>
                        <a:pt x="64" y="186"/>
                      </a:lnTo>
                      <a:lnTo>
                        <a:pt x="64" y="188"/>
                      </a:lnTo>
                      <a:lnTo>
                        <a:pt x="60" y="186"/>
                      </a:lnTo>
                      <a:lnTo>
                        <a:pt x="58" y="188"/>
                      </a:lnTo>
                      <a:lnTo>
                        <a:pt x="60" y="190"/>
                      </a:lnTo>
                      <a:lnTo>
                        <a:pt x="52" y="196"/>
                      </a:lnTo>
                      <a:lnTo>
                        <a:pt x="52" y="194"/>
                      </a:lnTo>
                      <a:lnTo>
                        <a:pt x="54" y="194"/>
                      </a:lnTo>
                      <a:lnTo>
                        <a:pt x="56" y="192"/>
                      </a:lnTo>
                      <a:lnTo>
                        <a:pt x="54" y="192"/>
                      </a:lnTo>
                      <a:lnTo>
                        <a:pt x="52" y="192"/>
                      </a:lnTo>
                      <a:lnTo>
                        <a:pt x="56" y="192"/>
                      </a:lnTo>
                      <a:lnTo>
                        <a:pt x="56" y="190"/>
                      </a:lnTo>
                      <a:lnTo>
                        <a:pt x="56" y="188"/>
                      </a:lnTo>
                      <a:lnTo>
                        <a:pt x="54" y="188"/>
                      </a:lnTo>
                      <a:lnTo>
                        <a:pt x="54" y="190"/>
                      </a:lnTo>
                      <a:lnTo>
                        <a:pt x="46" y="190"/>
                      </a:lnTo>
                      <a:lnTo>
                        <a:pt x="44" y="190"/>
                      </a:lnTo>
                      <a:lnTo>
                        <a:pt x="44" y="192"/>
                      </a:lnTo>
                      <a:lnTo>
                        <a:pt x="40" y="192"/>
                      </a:lnTo>
                      <a:lnTo>
                        <a:pt x="38" y="192"/>
                      </a:lnTo>
                      <a:lnTo>
                        <a:pt x="36" y="192"/>
                      </a:lnTo>
                      <a:lnTo>
                        <a:pt x="38" y="190"/>
                      </a:lnTo>
                      <a:lnTo>
                        <a:pt x="54" y="186"/>
                      </a:lnTo>
                      <a:lnTo>
                        <a:pt x="54" y="182"/>
                      </a:lnTo>
                      <a:lnTo>
                        <a:pt x="58" y="182"/>
                      </a:lnTo>
                      <a:lnTo>
                        <a:pt x="62" y="180"/>
                      </a:lnTo>
                      <a:lnTo>
                        <a:pt x="40" y="180"/>
                      </a:lnTo>
                      <a:lnTo>
                        <a:pt x="36" y="180"/>
                      </a:lnTo>
                      <a:lnTo>
                        <a:pt x="34" y="182"/>
                      </a:lnTo>
                      <a:lnTo>
                        <a:pt x="32" y="182"/>
                      </a:lnTo>
                      <a:lnTo>
                        <a:pt x="32" y="180"/>
                      </a:lnTo>
                      <a:lnTo>
                        <a:pt x="32" y="178"/>
                      </a:lnTo>
                      <a:lnTo>
                        <a:pt x="34" y="176"/>
                      </a:lnTo>
                      <a:lnTo>
                        <a:pt x="36" y="176"/>
                      </a:lnTo>
                      <a:lnTo>
                        <a:pt x="38" y="178"/>
                      </a:lnTo>
                      <a:lnTo>
                        <a:pt x="42" y="176"/>
                      </a:lnTo>
                      <a:lnTo>
                        <a:pt x="42" y="172"/>
                      </a:lnTo>
                      <a:lnTo>
                        <a:pt x="38" y="172"/>
                      </a:lnTo>
                      <a:lnTo>
                        <a:pt x="36" y="170"/>
                      </a:lnTo>
                      <a:lnTo>
                        <a:pt x="36" y="168"/>
                      </a:lnTo>
                      <a:lnTo>
                        <a:pt x="36" y="166"/>
                      </a:lnTo>
                      <a:lnTo>
                        <a:pt x="36" y="168"/>
                      </a:lnTo>
                      <a:lnTo>
                        <a:pt x="30" y="168"/>
                      </a:lnTo>
                      <a:lnTo>
                        <a:pt x="32" y="166"/>
                      </a:lnTo>
                      <a:lnTo>
                        <a:pt x="32" y="160"/>
                      </a:lnTo>
                      <a:lnTo>
                        <a:pt x="30" y="160"/>
                      </a:lnTo>
                      <a:lnTo>
                        <a:pt x="32" y="156"/>
                      </a:lnTo>
                      <a:lnTo>
                        <a:pt x="32" y="150"/>
                      </a:lnTo>
                      <a:lnTo>
                        <a:pt x="34" y="148"/>
                      </a:lnTo>
                      <a:lnTo>
                        <a:pt x="32" y="146"/>
                      </a:lnTo>
                      <a:lnTo>
                        <a:pt x="24" y="144"/>
                      </a:lnTo>
                      <a:lnTo>
                        <a:pt x="18" y="140"/>
                      </a:lnTo>
                      <a:lnTo>
                        <a:pt x="16" y="140"/>
                      </a:lnTo>
                      <a:lnTo>
                        <a:pt x="14" y="142"/>
                      </a:lnTo>
                      <a:lnTo>
                        <a:pt x="12" y="142"/>
                      </a:lnTo>
                      <a:lnTo>
                        <a:pt x="12" y="140"/>
                      </a:lnTo>
                      <a:lnTo>
                        <a:pt x="8" y="138"/>
                      </a:lnTo>
                      <a:lnTo>
                        <a:pt x="6" y="138"/>
                      </a:lnTo>
                      <a:lnTo>
                        <a:pt x="6" y="134"/>
                      </a:lnTo>
                      <a:lnTo>
                        <a:pt x="8" y="136"/>
                      </a:lnTo>
                      <a:lnTo>
                        <a:pt x="10" y="134"/>
                      </a:lnTo>
                      <a:lnTo>
                        <a:pt x="12" y="134"/>
                      </a:lnTo>
                      <a:lnTo>
                        <a:pt x="12" y="132"/>
                      </a:lnTo>
                      <a:lnTo>
                        <a:pt x="12" y="130"/>
                      </a:lnTo>
                      <a:lnTo>
                        <a:pt x="8" y="130"/>
                      </a:lnTo>
                      <a:lnTo>
                        <a:pt x="8" y="124"/>
                      </a:lnTo>
                      <a:lnTo>
                        <a:pt x="10" y="122"/>
                      </a:lnTo>
                      <a:lnTo>
                        <a:pt x="12" y="122"/>
                      </a:lnTo>
                      <a:lnTo>
                        <a:pt x="16" y="128"/>
                      </a:lnTo>
                      <a:lnTo>
                        <a:pt x="16" y="130"/>
                      </a:lnTo>
                      <a:lnTo>
                        <a:pt x="14" y="130"/>
                      </a:lnTo>
                      <a:lnTo>
                        <a:pt x="16" y="134"/>
                      </a:lnTo>
                      <a:lnTo>
                        <a:pt x="18" y="136"/>
                      </a:lnTo>
                      <a:lnTo>
                        <a:pt x="20" y="134"/>
                      </a:lnTo>
                      <a:lnTo>
                        <a:pt x="22" y="134"/>
                      </a:lnTo>
                      <a:lnTo>
                        <a:pt x="24" y="134"/>
                      </a:lnTo>
                      <a:lnTo>
                        <a:pt x="30" y="132"/>
                      </a:lnTo>
                      <a:lnTo>
                        <a:pt x="30" y="130"/>
                      </a:lnTo>
                      <a:lnTo>
                        <a:pt x="24" y="130"/>
                      </a:lnTo>
                      <a:lnTo>
                        <a:pt x="18" y="124"/>
                      </a:lnTo>
                      <a:lnTo>
                        <a:pt x="18" y="122"/>
                      </a:lnTo>
                      <a:lnTo>
                        <a:pt x="20" y="120"/>
                      </a:lnTo>
                      <a:lnTo>
                        <a:pt x="24" y="118"/>
                      </a:lnTo>
                      <a:lnTo>
                        <a:pt x="26" y="116"/>
                      </a:lnTo>
                      <a:lnTo>
                        <a:pt x="28" y="116"/>
                      </a:lnTo>
                      <a:lnTo>
                        <a:pt x="28" y="114"/>
                      </a:lnTo>
                      <a:lnTo>
                        <a:pt x="24" y="114"/>
                      </a:lnTo>
                      <a:lnTo>
                        <a:pt x="22" y="114"/>
                      </a:lnTo>
                      <a:lnTo>
                        <a:pt x="20" y="112"/>
                      </a:lnTo>
                      <a:lnTo>
                        <a:pt x="20" y="110"/>
                      </a:lnTo>
                      <a:lnTo>
                        <a:pt x="22" y="110"/>
                      </a:lnTo>
                      <a:lnTo>
                        <a:pt x="22" y="108"/>
                      </a:lnTo>
                      <a:lnTo>
                        <a:pt x="22" y="106"/>
                      </a:lnTo>
                      <a:lnTo>
                        <a:pt x="20" y="106"/>
                      </a:lnTo>
                      <a:lnTo>
                        <a:pt x="18" y="104"/>
                      </a:lnTo>
                      <a:lnTo>
                        <a:pt x="16" y="102"/>
                      </a:lnTo>
                      <a:lnTo>
                        <a:pt x="16" y="100"/>
                      </a:lnTo>
                      <a:lnTo>
                        <a:pt x="24" y="94"/>
                      </a:lnTo>
                      <a:lnTo>
                        <a:pt x="24" y="92"/>
                      </a:lnTo>
                      <a:lnTo>
                        <a:pt x="20" y="92"/>
                      </a:lnTo>
                      <a:lnTo>
                        <a:pt x="18" y="92"/>
                      </a:lnTo>
                      <a:lnTo>
                        <a:pt x="14" y="92"/>
                      </a:lnTo>
                      <a:lnTo>
                        <a:pt x="12" y="92"/>
                      </a:lnTo>
                      <a:lnTo>
                        <a:pt x="4" y="94"/>
                      </a:lnTo>
                      <a:lnTo>
                        <a:pt x="2" y="96"/>
                      </a:lnTo>
                      <a:lnTo>
                        <a:pt x="0" y="96"/>
                      </a:lnTo>
                      <a:lnTo>
                        <a:pt x="0" y="94"/>
                      </a:lnTo>
                      <a:lnTo>
                        <a:pt x="0" y="90"/>
                      </a:lnTo>
                      <a:lnTo>
                        <a:pt x="2" y="88"/>
                      </a:lnTo>
                      <a:lnTo>
                        <a:pt x="2" y="76"/>
                      </a:lnTo>
                      <a:lnTo>
                        <a:pt x="4" y="76"/>
                      </a:lnTo>
                      <a:lnTo>
                        <a:pt x="6" y="76"/>
                      </a:lnTo>
                      <a:lnTo>
                        <a:pt x="8" y="74"/>
                      </a:lnTo>
                      <a:lnTo>
                        <a:pt x="10" y="68"/>
                      </a:lnTo>
                      <a:lnTo>
                        <a:pt x="12" y="68"/>
                      </a:lnTo>
                      <a:lnTo>
                        <a:pt x="18" y="62"/>
                      </a:lnTo>
                      <a:lnTo>
                        <a:pt x="22" y="62"/>
                      </a:lnTo>
                      <a:lnTo>
                        <a:pt x="24" y="62"/>
                      </a:lnTo>
                      <a:lnTo>
                        <a:pt x="26" y="62"/>
                      </a:lnTo>
                      <a:lnTo>
                        <a:pt x="28" y="60"/>
                      </a:lnTo>
                      <a:lnTo>
                        <a:pt x="32" y="60"/>
                      </a:lnTo>
                      <a:lnTo>
                        <a:pt x="34" y="62"/>
                      </a:lnTo>
                      <a:lnTo>
                        <a:pt x="36" y="64"/>
                      </a:lnTo>
                      <a:lnTo>
                        <a:pt x="38" y="64"/>
                      </a:lnTo>
                      <a:lnTo>
                        <a:pt x="48" y="64"/>
                      </a:lnTo>
                      <a:lnTo>
                        <a:pt x="50" y="62"/>
                      </a:lnTo>
                      <a:lnTo>
                        <a:pt x="48" y="62"/>
                      </a:lnTo>
                      <a:lnTo>
                        <a:pt x="44" y="58"/>
                      </a:lnTo>
                      <a:lnTo>
                        <a:pt x="46" y="56"/>
                      </a:lnTo>
                      <a:lnTo>
                        <a:pt x="48" y="56"/>
                      </a:lnTo>
                      <a:lnTo>
                        <a:pt x="54" y="58"/>
                      </a:lnTo>
                      <a:lnTo>
                        <a:pt x="54" y="60"/>
                      </a:lnTo>
                      <a:lnTo>
                        <a:pt x="52" y="62"/>
                      </a:lnTo>
                      <a:lnTo>
                        <a:pt x="50" y="62"/>
                      </a:lnTo>
                      <a:lnTo>
                        <a:pt x="52" y="62"/>
                      </a:lnTo>
                      <a:lnTo>
                        <a:pt x="54" y="62"/>
                      </a:lnTo>
                      <a:lnTo>
                        <a:pt x="56" y="62"/>
                      </a:lnTo>
                      <a:lnTo>
                        <a:pt x="58" y="62"/>
                      </a:lnTo>
                      <a:lnTo>
                        <a:pt x="60" y="62"/>
                      </a:lnTo>
                      <a:lnTo>
                        <a:pt x="66" y="62"/>
                      </a:lnTo>
                      <a:lnTo>
                        <a:pt x="72" y="62"/>
                      </a:lnTo>
                      <a:lnTo>
                        <a:pt x="74" y="62"/>
                      </a:lnTo>
                      <a:lnTo>
                        <a:pt x="76" y="62"/>
                      </a:lnTo>
                      <a:lnTo>
                        <a:pt x="78" y="62"/>
                      </a:lnTo>
                      <a:lnTo>
                        <a:pt x="82" y="62"/>
                      </a:lnTo>
                      <a:lnTo>
                        <a:pt x="84" y="60"/>
                      </a:lnTo>
                      <a:lnTo>
                        <a:pt x="82" y="58"/>
                      </a:lnTo>
                      <a:lnTo>
                        <a:pt x="80" y="60"/>
                      </a:lnTo>
                      <a:lnTo>
                        <a:pt x="74" y="56"/>
                      </a:lnTo>
                      <a:lnTo>
                        <a:pt x="76" y="56"/>
                      </a:lnTo>
                      <a:lnTo>
                        <a:pt x="80" y="54"/>
                      </a:lnTo>
                      <a:lnTo>
                        <a:pt x="80" y="52"/>
                      </a:lnTo>
                      <a:lnTo>
                        <a:pt x="92" y="52"/>
                      </a:lnTo>
                      <a:lnTo>
                        <a:pt x="94" y="50"/>
                      </a:lnTo>
                      <a:lnTo>
                        <a:pt x="96" y="52"/>
                      </a:lnTo>
                      <a:lnTo>
                        <a:pt x="106" y="50"/>
                      </a:lnTo>
                      <a:lnTo>
                        <a:pt x="106" y="48"/>
                      </a:lnTo>
                      <a:lnTo>
                        <a:pt x="96" y="48"/>
                      </a:lnTo>
                      <a:lnTo>
                        <a:pt x="92" y="48"/>
                      </a:lnTo>
                      <a:lnTo>
                        <a:pt x="88" y="46"/>
                      </a:lnTo>
                      <a:lnTo>
                        <a:pt x="84" y="44"/>
                      </a:lnTo>
                      <a:lnTo>
                        <a:pt x="82" y="40"/>
                      </a:lnTo>
                      <a:lnTo>
                        <a:pt x="82" y="38"/>
                      </a:lnTo>
                      <a:lnTo>
                        <a:pt x="82" y="36"/>
                      </a:lnTo>
                      <a:lnTo>
                        <a:pt x="82" y="34"/>
                      </a:lnTo>
                      <a:lnTo>
                        <a:pt x="84" y="32"/>
                      </a:lnTo>
                      <a:lnTo>
                        <a:pt x="88" y="32"/>
                      </a:lnTo>
                      <a:lnTo>
                        <a:pt x="96" y="34"/>
                      </a:lnTo>
                      <a:lnTo>
                        <a:pt x="98" y="34"/>
                      </a:lnTo>
                      <a:lnTo>
                        <a:pt x="112" y="34"/>
                      </a:lnTo>
                      <a:lnTo>
                        <a:pt x="116" y="32"/>
                      </a:lnTo>
                      <a:lnTo>
                        <a:pt x="118" y="34"/>
                      </a:lnTo>
                      <a:lnTo>
                        <a:pt x="120" y="34"/>
                      </a:lnTo>
                      <a:lnTo>
                        <a:pt x="122" y="34"/>
                      </a:lnTo>
                      <a:lnTo>
                        <a:pt x="124" y="34"/>
                      </a:lnTo>
                      <a:lnTo>
                        <a:pt x="132" y="38"/>
                      </a:lnTo>
                      <a:lnTo>
                        <a:pt x="144" y="36"/>
                      </a:lnTo>
                      <a:lnTo>
                        <a:pt x="146" y="34"/>
                      </a:lnTo>
                      <a:lnTo>
                        <a:pt x="146" y="30"/>
                      </a:lnTo>
                      <a:lnTo>
                        <a:pt x="166" y="18"/>
                      </a:lnTo>
                      <a:lnTo>
                        <a:pt x="170" y="14"/>
                      </a:lnTo>
                      <a:lnTo>
                        <a:pt x="178" y="10"/>
                      </a:lnTo>
                      <a:lnTo>
                        <a:pt x="182" y="10"/>
                      </a:lnTo>
                      <a:lnTo>
                        <a:pt x="184" y="8"/>
                      </a:lnTo>
                      <a:lnTo>
                        <a:pt x="188" y="8"/>
                      </a:lnTo>
                      <a:lnTo>
                        <a:pt x="200" y="2"/>
                      </a:lnTo>
                      <a:lnTo>
                        <a:pt x="206" y="4"/>
                      </a:lnTo>
                      <a:lnTo>
                        <a:pt x="224" y="4"/>
                      </a:lnTo>
                      <a:lnTo>
                        <a:pt x="226" y="6"/>
                      </a:lnTo>
                      <a:lnTo>
                        <a:pt x="232" y="4"/>
                      </a:lnTo>
                      <a:lnTo>
                        <a:pt x="234" y="6"/>
                      </a:lnTo>
                      <a:lnTo>
                        <a:pt x="236" y="6"/>
                      </a:lnTo>
                      <a:lnTo>
                        <a:pt x="238" y="4"/>
                      </a:lnTo>
                      <a:lnTo>
                        <a:pt x="240" y="4"/>
                      </a:lnTo>
                      <a:lnTo>
                        <a:pt x="242" y="4"/>
                      </a:lnTo>
                      <a:lnTo>
                        <a:pt x="242" y="2"/>
                      </a:lnTo>
                      <a:lnTo>
                        <a:pt x="242" y="0"/>
                      </a:lnTo>
                      <a:lnTo>
                        <a:pt x="244" y="0"/>
                      </a:lnTo>
                      <a:lnTo>
                        <a:pt x="246" y="0"/>
                      </a:lnTo>
                      <a:lnTo>
                        <a:pt x="248" y="2"/>
                      </a:lnTo>
                      <a:lnTo>
                        <a:pt x="248" y="4"/>
                      </a:lnTo>
                      <a:lnTo>
                        <a:pt x="246" y="4"/>
                      </a:lnTo>
                      <a:lnTo>
                        <a:pt x="246" y="6"/>
                      </a:lnTo>
                      <a:lnTo>
                        <a:pt x="252" y="14"/>
                      </a:lnTo>
                      <a:lnTo>
                        <a:pt x="258" y="16"/>
                      </a:lnTo>
                      <a:lnTo>
                        <a:pt x="262" y="16"/>
                      </a:lnTo>
                      <a:lnTo>
                        <a:pt x="268" y="14"/>
                      </a:lnTo>
                      <a:lnTo>
                        <a:pt x="270" y="14"/>
                      </a:lnTo>
                      <a:lnTo>
                        <a:pt x="276" y="16"/>
                      </a:lnTo>
                      <a:lnTo>
                        <a:pt x="276" y="22"/>
                      </a:lnTo>
                      <a:lnTo>
                        <a:pt x="282" y="30"/>
                      </a:lnTo>
                      <a:lnTo>
                        <a:pt x="284" y="32"/>
                      </a:lnTo>
                      <a:lnTo>
                        <a:pt x="288" y="28"/>
                      </a:lnTo>
                      <a:lnTo>
                        <a:pt x="290" y="28"/>
                      </a:lnTo>
                      <a:lnTo>
                        <a:pt x="292" y="26"/>
                      </a:lnTo>
                      <a:lnTo>
                        <a:pt x="294" y="28"/>
                      </a:lnTo>
                      <a:lnTo>
                        <a:pt x="296" y="28"/>
                      </a:lnTo>
                      <a:lnTo>
                        <a:pt x="298" y="28"/>
                      </a:lnTo>
                      <a:lnTo>
                        <a:pt x="300" y="30"/>
                      </a:lnTo>
                      <a:lnTo>
                        <a:pt x="300" y="34"/>
                      </a:lnTo>
                      <a:lnTo>
                        <a:pt x="302" y="34"/>
                      </a:lnTo>
                      <a:lnTo>
                        <a:pt x="308" y="34"/>
                      </a:lnTo>
                      <a:lnTo>
                        <a:pt x="314" y="40"/>
                      </a:lnTo>
                      <a:lnTo>
                        <a:pt x="316" y="38"/>
                      </a:lnTo>
                      <a:lnTo>
                        <a:pt x="316" y="36"/>
                      </a:lnTo>
                      <a:lnTo>
                        <a:pt x="318" y="34"/>
                      </a:lnTo>
                      <a:lnTo>
                        <a:pt x="320" y="36"/>
                      </a:lnTo>
                      <a:lnTo>
                        <a:pt x="320" y="38"/>
                      </a:lnTo>
                      <a:lnTo>
                        <a:pt x="322" y="38"/>
                      </a:lnTo>
                      <a:lnTo>
                        <a:pt x="322" y="40"/>
                      </a:lnTo>
                      <a:lnTo>
                        <a:pt x="324" y="40"/>
                      </a:lnTo>
                      <a:lnTo>
                        <a:pt x="326" y="40"/>
                      </a:lnTo>
                      <a:lnTo>
                        <a:pt x="328" y="40"/>
                      </a:lnTo>
                      <a:lnTo>
                        <a:pt x="330" y="42"/>
                      </a:lnTo>
                      <a:lnTo>
                        <a:pt x="336" y="42"/>
                      </a:lnTo>
                      <a:lnTo>
                        <a:pt x="336" y="44"/>
                      </a:lnTo>
                      <a:lnTo>
                        <a:pt x="338" y="42"/>
                      </a:lnTo>
                      <a:lnTo>
                        <a:pt x="338" y="44"/>
                      </a:lnTo>
                      <a:lnTo>
                        <a:pt x="346" y="42"/>
                      </a:lnTo>
                      <a:lnTo>
                        <a:pt x="348" y="40"/>
                      </a:lnTo>
                      <a:lnTo>
                        <a:pt x="352" y="38"/>
                      </a:lnTo>
                      <a:lnTo>
                        <a:pt x="354" y="40"/>
                      </a:lnTo>
                      <a:lnTo>
                        <a:pt x="356" y="38"/>
                      </a:lnTo>
                      <a:lnTo>
                        <a:pt x="358" y="38"/>
                      </a:lnTo>
                      <a:lnTo>
                        <a:pt x="358" y="36"/>
                      </a:lnTo>
                      <a:lnTo>
                        <a:pt x="360" y="38"/>
                      </a:lnTo>
                      <a:lnTo>
                        <a:pt x="362" y="38"/>
                      </a:lnTo>
                      <a:lnTo>
                        <a:pt x="364" y="36"/>
                      </a:lnTo>
                      <a:lnTo>
                        <a:pt x="368" y="36"/>
                      </a:lnTo>
                      <a:lnTo>
                        <a:pt x="370" y="38"/>
                      </a:lnTo>
                      <a:lnTo>
                        <a:pt x="384" y="42"/>
                      </a:lnTo>
                      <a:lnTo>
                        <a:pt x="386" y="42"/>
                      </a:lnTo>
                      <a:lnTo>
                        <a:pt x="390" y="40"/>
                      </a:lnTo>
                      <a:lnTo>
                        <a:pt x="392" y="40"/>
                      </a:lnTo>
                      <a:lnTo>
                        <a:pt x="394" y="38"/>
                      </a:lnTo>
                      <a:lnTo>
                        <a:pt x="398" y="38"/>
                      </a:lnTo>
                      <a:lnTo>
                        <a:pt x="400" y="38"/>
                      </a:lnTo>
                      <a:lnTo>
                        <a:pt x="402" y="34"/>
                      </a:lnTo>
                      <a:lnTo>
                        <a:pt x="404" y="34"/>
                      </a:lnTo>
                      <a:lnTo>
                        <a:pt x="406" y="34"/>
                      </a:lnTo>
                      <a:lnTo>
                        <a:pt x="418" y="26"/>
                      </a:lnTo>
                      <a:lnTo>
                        <a:pt x="420" y="26"/>
                      </a:lnTo>
                      <a:lnTo>
                        <a:pt x="422" y="22"/>
                      </a:lnTo>
                      <a:lnTo>
                        <a:pt x="428" y="22"/>
                      </a:lnTo>
                      <a:lnTo>
                        <a:pt x="430" y="22"/>
                      </a:lnTo>
                      <a:lnTo>
                        <a:pt x="432" y="24"/>
                      </a:lnTo>
                      <a:lnTo>
                        <a:pt x="432" y="22"/>
                      </a:lnTo>
                      <a:lnTo>
                        <a:pt x="434" y="22"/>
                      </a:lnTo>
                      <a:lnTo>
                        <a:pt x="440" y="22"/>
                      </a:lnTo>
                      <a:lnTo>
                        <a:pt x="444" y="22"/>
                      </a:lnTo>
                      <a:lnTo>
                        <a:pt x="446" y="22"/>
                      </a:lnTo>
                      <a:lnTo>
                        <a:pt x="448" y="24"/>
                      </a:lnTo>
                      <a:lnTo>
                        <a:pt x="450" y="24"/>
                      </a:lnTo>
                      <a:lnTo>
                        <a:pt x="452" y="22"/>
                      </a:lnTo>
                      <a:lnTo>
                        <a:pt x="452" y="18"/>
                      </a:lnTo>
                      <a:lnTo>
                        <a:pt x="458" y="18"/>
                      </a:lnTo>
                      <a:lnTo>
                        <a:pt x="470" y="34"/>
                      </a:lnTo>
                      <a:lnTo>
                        <a:pt x="472" y="32"/>
                      </a:lnTo>
                      <a:lnTo>
                        <a:pt x="474" y="32"/>
                      </a:lnTo>
                      <a:lnTo>
                        <a:pt x="476" y="34"/>
                      </a:lnTo>
                      <a:lnTo>
                        <a:pt x="476" y="36"/>
                      </a:lnTo>
                      <a:lnTo>
                        <a:pt x="476" y="40"/>
                      </a:lnTo>
                      <a:lnTo>
                        <a:pt x="478" y="40"/>
                      </a:lnTo>
                      <a:lnTo>
                        <a:pt x="480" y="40"/>
                      </a:lnTo>
                      <a:lnTo>
                        <a:pt x="482" y="42"/>
                      </a:lnTo>
                      <a:lnTo>
                        <a:pt x="484" y="48"/>
                      </a:lnTo>
                      <a:lnTo>
                        <a:pt x="484" y="52"/>
                      </a:lnTo>
                      <a:lnTo>
                        <a:pt x="482" y="56"/>
                      </a:lnTo>
                      <a:lnTo>
                        <a:pt x="480" y="58"/>
                      </a:lnTo>
                      <a:lnTo>
                        <a:pt x="482" y="70"/>
                      </a:lnTo>
                      <a:lnTo>
                        <a:pt x="482" y="72"/>
                      </a:lnTo>
                      <a:lnTo>
                        <a:pt x="488" y="74"/>
                      </a:lnTo>
                      <a:lnTo>
                        <a:pt x="490" y="76"/>
                      </a:lnTo>
                      <a:lnTo>
                        <a:pt x="492" y="76"/>
                      </a:lnTo>
                      <a:lnTo>
                        <a:pt x="498" y="74"/>
                      </a:lnTo>
                      <a:lnTo>
                        <a:pt x="500" y="74"/>
                      </a:lnTo>
                      <a:lnTo>
                        <a:pt x="506" y="80"/>
                      </a:lnTo>
                      <a:lnTo>
                        <a:pt x="506" y="82"/>
                      </a:lnTo>
                      <a:lnTo>
                        <a:pt x="508" y="82"/>
                      </a:lnTo>
                      <a:lnTo>
                        <a:pt x="512" y="86"/>
                      </a:lnTo>
                      <a:lnTo>
                        <a:pt x="512" y="88"/>
                      </a:lnTo>
                      <a:lnTo>
                        <a:pt x="510" y="86"/>
                      </a:lnTo>
                      <a:lnTo>
                        <a:pt x="508" y="84"/>
                      </a:lnTo>
                      <a:lnTo>
                        <a:pt x="504" y="86"/>
                      </a:lnTo>
                      <a:lnTo>
                        <a:pt x="504" y="88"/>
                      </a:lnTo>
                      <a:lnTo>
                        <a:pt x="502" y="96"/>
                      </a:lnTo>
                      <a:lnTo>
                        <a:pt x="500" y="98"/>
                      </a:lnTo>
                      <a:lnTo>
                        <a:pt x="498" y="98"/>
                      </a:lnTo>
                      <a:lnTo>
                        <a:pt x="496" y="96"/>
                      </a:lnTo>
                      <a:lnTo>
                        <a:pt x="492" y="98"/>
                      </a:lnTo>
                      <a:lnTo>
                        <a:pt x="492" y="100"/>
                      </a:lnTo>
                      <a:lnTo>
                        <a:pt x="496" y="106"/>
                      </a:lnTo>
                      <a:lnTo>
                        <a:pt x="496" y="110"/>
                      </a:lnTo>
                      <a:lnTo>
                        <a:pt x="494" y="110"/>
                      </a:lnTo>
                      <a:lnTo>
                        <a:pt x="496" y="116"/>
                      </a:lnTo>
                      <a:lnTo>
                        <a:pt x="498" y="116"/>
                      </a:lnTo>
                      <a:lnTo>
                        <a:pt x="498" y="122"/>
                      </a:lnTo>
                      <a:lnTo>
                        <a:pt x="500" y="128"/>
                      </a:lnTo>
                      <a:lnTo>
                        <a:pt x="498" y="130"/>
                      </a:lnTo>
                      <a:lnTo>
                        <a:pt x="498" y="134"/>
                      </a:lnTo>
                      <a:lnTo>
                        <a:pt x="502" y="132"/>
                      </a:lnTo>
                      <a:lnTo>
                        <a:pt x="504" y="134"/>
                      </a:lnTo>
                      <a:lnTo>
                        <a:pt x="504" y="136"/>
                      </a:lnTo>
                      <a:lnTo>
                        <a:pt x="496" y="150"/>
                      </a:lnTo>
                      <a:lnTo>
                        <a:pt x="506" y="154"/>
                      </a:lnTo>
                      <a:lnTo>
                        <a:pt x="508" y="156"/>
                      </a:lnTo>
                      <a:lnTo>
                        <a:pt x="506" y="156"/>
                      </a:lnTo>
                      <a:lnTo>
                        <a:pt x="506" y="166"/>
                      </a:lnTo>
                      <a:lnTo>
                        <a:pt x="508" y="166"/>
                      </a:lnTo>
                      <a:lnTo>
                        <a:pt x="512" y="170"/>
                      </a:lnTo>
                      <a:lnTo>
                        <a:pt x="514" y="172"/>
                      </a:lnTo>
                      <a:lnTo>
                        <a:pt x="512" y="174"/>
                      </a:lnTo>
                      <a:lnTo>
                        <a:pt x="512" y="176"/>
                      </a:lnTo>
                      <a:lnTo>
                        <a:pt x="512" y="174"/>
                      </a:lnTo>
                      <a:lnTo>
                        <a:pt x="510" y="174"/>
                      </a:lnTo>
                      <a:lnTo>
                        <a:pt x="508" y="174"/>
                      </a:lnTo>
                      <a:lnTo>
                        <a:pt x="506" y="174"/>
                      </a:lnTo>
                      <a:lnTo>
                        <a:pt x="506" y="176"/>
                      </a:lnTo>
                      <a:lnTo>
                        <a:pt x="504" y="178"/>
                      </a:lnTo>
                      <a:lnTo>
                        <a:pt x="502" y="178"/>
                      </a:lnTo>
                      <a:lnTo>
                        <a:pt x="500" y="180"/>
                      </a:lnTo>
                      <a:lnTo>
                        <a:pt x="498" y="182"/>
                      </a:lnTo>
                      <a:lnTo>
                        <a:pt x="498" y="180"/>
                      </a:lnTo>
                      <a:lnTo>
                        <a:pt x="496" y="178"/>
                      </a:lnTo>
                      <a:lnTo>
                        <a:pt x="498" y="176"/>
                      </a:lnTo>
                      <a:lnTo>
                        <a:pt x="498" y="174"/>
                      </a:lnTo>
                      <a:lnTo>
                        <a:pt x="498" y="172"/>
                      </a:lnTo>
                      <a:lnTo>
                        <a:pt x="494" y="170"/>
                      </a:lnTo>
                      <a:lnTo>
                        <a:pt x="492" y="17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7" name="Freeform 3376"/>
                <p:cNvSpPr>
                  <a:spLocks/>
                </p:cNvSpPr>
                <p:nvPr/>
              </p:nvSpPr>
              <p:spPr bwMode="auto">
                <a:xfrm>
                  <a:off x="1370623" y="3486880"/>
                  <a:ext cx="382322" cy="344921"/>
                </a:xfrm>
                <a:custGeom>
                  <a:avLst/>
                  <a:gdLst/>
                  <a:ahLst/>
                  <a:cxnLst>
                    <a:cxn ang="0">
                      <a:pos x="0" y="136"/>
                    </a:cxn>
                    <a:cxn ang="0">
                      <a:pos x="4" y="132"/>
                    </a:cxn>
                    <a:cxn ang="0">
                      <a:pos x="6" y="130"/>
                    </a:cxn>
                    <a:cxn ang="0">
                      <a:pos x="10" y="124"/>
                    </a:cxn>
                    <a:cxn ang="0">
                      <a:pos x="8" y="122"/>
                    </a:cxn>
                    <a:cxn ang="0">
                      <a:pos x="12" y="118"/>
                    </a:cxn>
                    <a:cxn ang="0">
                      <a:pos x="20" y="118"/>
                    </a:cxn>
                    <a:cxn ang="0">
                      <a:pos x="18" y="114"/>
                    </a:cxn>
                    <a:cxn ang="0">
                      <a:pos x="24" y="108"/>
                    </a:cxn>
                    <a:cxn ang="0">
                      <a:pos x="24" y="98"/>
                    </a:cxn>
                    <a:cxn ang="0">
                      <a:pos x="20" y="94"/>
                    </a:cxn>
                    <a:cxn ang="0">
                      <a:pos x="22" y="92"/>
                    </a:cxn>
                    <a:cxn ang="0">
                      <a:pos x="8" y="90"/>
                    </a:cxn>
                    <a:cxn ang="0">
                      <a:pos x="8" y="86"/>
                    </a:cxn>
                    <a:cxn ang="0">
                      <a:pos x="6" y="74"/>
                    </a:cxn>
                    <a:cxn ang="0">
                      <a:pos x="8" y="72"/>
                    </a:cxn>
                    <a:cxn ang="0">
                      <a:pos x="8" y="64"/>
                    </a:cxn>
                    <a:cxn ang="0">
                      <a:pos x="4" y="62"/>
                    </a:cxn>
                    <a:cxn ang="0">
                      <a:pos x="6" y="54"/>
                    </a:cxn>
                    <a:cxn ang="0">
                      <a:pos x="8" y="48"/>
                    </a:cxn>
                    <a:cxn ang="0">
                      <a:pos x="14" y="52"/>
                    </a:cxn>
                    <a:cxn ang="0">
                      <a:pos x="16" y="46"/>
                    </a:cxn>
                    <a:cxn ang="0">
                      <a:pos x="20" y="46"/>
                    </a:cxn>
                    <a:cxn ang="0">
                      <a:pos x="20" y="38"/>
                    </a:cxn>
                    <a:cxn ang="0">
                      <a:pos x="26" y="38"/>
                    </a:cxn>
                    <a:cxn ang="0">
                      <a:pos x="28" y="34"/>
                    </a:cxn>
                    <a:cxn ang="0">
                      <a:pos x="28" y="16"/>
                    </a:cxn>
                    <a:cxn ang="0">
                      <a:pos x="40" y="22"/>
                    </a:cxn>
                    <a:cxn ang="0">
                      <a:pos x="48" y="22"/>
                    </a:cxn>
                    <a:cxn ang="0">
                      <a:pos x="56" y="20"/>
                    </a:cxn>
                    <a:cxn ang="0">
                      <a:pos x="64" y="16"/>
                    </a:cxn>
                    <a:cxn ang="0">
                      <a:pos x="72" y="14"/>
                    </a:cxn>
                    <a:cxn ang="0">
                      <a:pos x="84" y="22"/>
                    </a:cxn>
                    <a:cxn ang="0">
                      <a:pos x="114" y="20"/>
                    </a:cxn>
                    <a:cxn ang="0">
                      <a:pos x="134" y="10"/>
                    </a:cxn>
                    <a:cxn ang="0">
                      <a:pos x="140" y="6"/>
                    </a:cxn>
                    <a:cxn ang="0">
                      <a:pos x="162" y="8"/>
                    </a:cxn>
                    <a:cxn ang="0">
                      <a:pos x="176" y="4"/>
                    </a:cxn>
                    <a:cxn ang="0">
                      <a:pos x="180" y="0"/>
                    </a:cxn>
                    <a:cxn ang="0">
                      <a:pos x="184" y="6"/>
                    </a:cxn>
                    <a:cxn ang="0">
                      <a:pos x="170" y="24"/>
                    </a:cxn>
                    <a:cxn ang="0">
                      <a:pos x="154" y="42"/>
                    </a:cxn>
                    <a:cxn ang="0">
                      <a:pos x="158" y="58"/>
                    </a:cxn>
                    <a:cxn ang="0">
                      <a:pos x="154" y="66"/>
                    </a:cxn>
                    <a:cxn ang="0">
                      <a:pos x="152" y="70"/>
                    </a:cxn>
                    <a:cxn ang="0">
                      <a:pos x="146" y="98"/>
                    </a:cxn>
                    <a:cxn ang="0">
                      <a:pos x="20" y="164"/>
                    </a:cxn>
                    <a:cxn ang="0">
                      <a:pos x="12" y="160"/>
                    </a:cxn>
                    <a:cxn ang="0">
                      <a:pos x="4" y="152"/>
                    </a:cxn>
                    <a:cxn ang="0">
                      <a:pos x="0" y="154"/>
                    </a:cxn>
                    <a:cxn ang="0">
                      <a:pos x="0" y="148"/>
                    </a:cxn>
                    <a:cxn ang="0">
                      <a:pos x="0" y="142"/>
                    </a:cxn>
                    <a:cxn ang="0">
                      <a:pos x="2" y="138"/>
                    </a:cxn>
                  </a:cxnLst>
                  <a:rect l="0" t="0" r="r" b="b"/>
                  <a:pathLst>
                    <a:path w="184" h="166">
                      <a:moveTo>
                        <a:pt x="2" y="136"/>
                      </a:moveTo>
                      <a:lnTo>
                        <a:pt x="0" y="136"/>
                      </a:lnTo>
                      <a:lnTo>
                        <a:pt x="4" y="134"/>
                      </a:lnTo>
                      <a:lnTo>
                        <a:pt x="4" y="132"/>
                      </a:lnTo>
                      <a:lnTo>
                        <a:pt x="6" y="132"/>
                      </a:lnTo>
                      <a:lnTo>
                        <a:pt x="6" y="130"/>
                      </a:lnTo>
                      <a:lnTo>
                        <a:pt x="12" y="126"/>
                      </a:lnTo>
                      <a:lnTo>
                        <a:pt x="10" y="124"/>
                      </a:lnTo>
                      <a:lnTo>
                        <a:pt x="8" y="124"/>
                      </a:lnTo>
                      <a:lnTo>
                        <a:pt x="8" y="122"/>
                      </a:lnTo>
                      <a:lnTo>
                        <a:pt x="10" y="120"/>
                      </a:lnTo>
                      <a:lnTo>
                        <a:pt x="12" y="118"/>
                      </a:lnTo>
                      <a:lnTo>
                        <a:pt x="16" y="116"/>
                      </a:lnTo>
                      <a:lnTo>
                        <a:pt x="20" y="118"/>
                      </a:lnTo>
                      <a:lnTo>
                        <a:pt x="20" y="116"/>
                      </a:lnTo>
                      <a:lnTo>
                        <a:pt x="18" y="114"/>
                      </a:lnTo>
                      <a:lnTo>
                        <a:pt x="20" y="112"/>
                      </a:lnTo>
                      <a:lnTo>
                        <a:pt x="24" y="108"/>
                      </a:lnTo>
                      <a:lnTo>
                        <a:pt x="26" y="104"/>
                      </a:lnTo>
                      <a:lnTo>
                        <a:pt x="24" y="98"/>
                      </a:lnTo>
                      <a:lnTo>
                        <a:pt x="22" y="94"/>
                      </a:lnTo>
                      <a:lnTo>
                        <a:pt x="20" y="94"/>
                      </a:lnTo>
                      <a:lnTo>
                        <a:pt x="20" y="92"/>
                      </a:lnTo>
                      <a:lnTo>
                        <a:pt x="22" y="92"/>
                      </a:lnTo>
                      <a:lnTo>
                        <a:pt x="22" y="90"/>
                      </a:lnTo>
                      <a:lnTo>
                        <a:pt x="8" y="90"/>
                      </a:lnTo>
                      <a:lnTo>
                        <a:pt x="8" y="88"/>
                      </a:lnTo>
                      <a:lnTo>
                        <a:pt x="8" y="86"/>
                      </a:lnTo>
                      <a:lnTo>
                        <a:pt x="6" y="82"/>
                      </a:lnTo>
                      <a:lnTo>
                        <a:pt x="6" y="74"/>
                      </a:lnTo>
                      <a:lnTo>
                        <a:pt x="8" y="74"/>
                      </a:lnTo>
                      <a:lnTo>
                        <a:pt x="8" y="72"/>
                      </a:lnTo>
                      <a:lnTo>
                        <a:pt x="8" y="70"/>
                      </a:lnTo>
                      <a:lnTo>
                        <a:pt x="8" y="64"/>
                      </a:lnTo>
                      <a:lnTo>
                        <a:pt x="6" y="62"/>
                      </a:lnTo>
                      <a:lnTo>
                        <a:pt x="4" y="62"/>
                      </a:lnTo>
                      <a:lnTo>
                        <a:pt x="2" y="58"/>
                      </a:lnTo>
                      <a:lnTo>
                        <a:pt x="6" y="54"/>
                      </a:lnTo>
                      <a:lnTo>
                        <a:pt x="6" y="50"/>
                      </a:lnTo>
                      <a:lnTo>
                        <a:pt x="8" y="48"/>
                      </a:lnTo>
                      <a:lnTo>
                        <a:pt x="14" y="50"/>
                      </a:lnTo>
                      <a:lnTo>
                        <a:pt x="14" y="52"/>
                      </a:lnTo>
                      <a:lnTo>
                        <a:pt x="14" y="48"/>
                      </a:lnTo>
                      <a:lnTo>
                        <a:pt x="16" y="46"/>
                      </a:lnTo>
                      <a:lnTo>
                        <a:pt x="18" y="46"/>
                      </a:lnTo>
                      <a:lnTo>
                        <a:pt x="20" y="46"/>
                      </a:lnTo>
                      <a:lnTo>
                        <a:pt x="20" y="40"/>
                      </a:lnTo>
                      <a:lnTo>
                        <a:pt x="20" y="38"/>
                      </a:lnTo>
                      <a:lnTo>
                        <a:pt x="24" y="36"/>
                      </a:lnTo>
                      <a:lnTo>
                        <a:pt x="26" y="38"/>
                      </a:lnTo>
                      <a:lnTo>
                        <a:pt x="28" y="36"/>
                      </a:lnTo>
                      <a:lnTo>
                        <a:pt x="28" y="34"/>
                      </a:lnTo>
                      <a:lnTo>
                        <a:pt x="26" y="30"/>
                      </a:lnTo>
                      <a:lnTo>
                        <a:pt x="28" y="16"/>
                      </a:lnTo>
                      <a:lnTo>
                        <a:pt x="38" y="20"/>
                      </a:lnTo>
                      <a:lnTo>
                        <a:pt x="40" y="22"/>
                      </a:lnTo>
                      <a:lnTo>
                        <a:pt x="44" y="22"/>
                      </a:lnTo>
                      <a:lnTo>
                        <a:pt x="48" y="22"/>
                      </a:lnTo>
                      <a:lnTo>
                        <a:pt x="52" y="22"/>
                      </a:lnTo>
                      <a:lnTo>
                        <a:pt x="56" y="20"/>
                      </a:lnTo>
                      <a:lnTo>
                        <a:pt x="62" y="18"/>
                      </a:lnTo>
                      <a:lnTo>
                        <a:pt x="64" y="16"/>
                      </a:lnTo>
                      <a:lnTo>
                        <a:pt x="66" y="16"/>
                      </a:lnTo>
                      <a:lnTo>
                        <a:pt x="72" y="14"/>
                      </a:lnTo>
                      <a:lnTo>
                        <a:pt x="76" y="14"/>
                      </a:lnTo>
                      <a:lnTo>
                        <a:pt x="84" y="22"/>
                      </a:lnTo>
                      <a:lnTo>
                        <a:pt x="96" y="22"/>
                      </a:lnTo>
                      <a:lnTo>
                        <a:pt x="114" y="20"/>
                      </a:lnTo>
                      <a:lnTo>
                        <a:pt x="132" y="10"/>
                      </a:lnTo>
                      <a:lnTo>
                        <a:pt x="134" y="10"/>
                      </a:lnTo>
                      <a:lnTo>
                        <a:pt x="138" y="8"/>
                      </a:lnTo>
                      <a:lnTo>
                        <a:pt x="140" y="6"/>
                      </a:lnTo>
                      <a:lnTo>
                        <a:pt x="160" y="8"/>
                      </a:lnTo>
                      <a:lnTo>
                        <a:pt x="162" y="8"/>
                      </a:lnTo>
                      <a:lnTo>
                        <a:pt x="170" y="6"/>
                      </a:lnTo>
                      <a:lnTo>
                        <a:pt x="176" y="4"/>
                      </a:lnTo>
                      <a:lnTo>
                        <a:pt x="178" y="0"/>
                      </a:lnTo>
                      <a:lnTo>
                        <a:pt x="180" y="0"/>
                      </a:lnTo>
                      <a:lnTo>
                        <a:pt x="182" y="2"/>
                      </a:lnTo>
                      <a:lnTo>
                        <a:pt x="184" y="6"/>
                      </a:lnTo>
                      <a:lnTo>
                        <a:pt x="184" y="10"/>
                      </a:lnTo>
                      <a:lnTo>
                        <a:pt x="170" y="24"/>
                      </a:lnTo>
                      <a:lnTo>
                        <a:pt x="158" y="28"/>
                      </a:lnTo>
                      <a:lnTo>
                        <a:pt x="154" y="42"/>
                      </a:lnTo>
                      <a:lnTo>
                        <a:pt x="156" y="50"/>
                      </a:lnTo>
                      <a:lnTo>
                        <a:pt x="158" y="58"/>
                      </a:lnTo>
                      <a:lnTo>
                        <a:pt x="154" y="62"/>
                      </a:lnTo>
                      <a:lnTo>
                        <a:pt x="154" y="66"/>
                      </a:lnTo>
                      <a:lnTo>
                        <a:pt x="154" y="68"/>
                      </a:lnTo>
                      <a:lnTo>
                        <a:pt x="152" y="70"/>
                      </a:lnTo>
                      <a:lnTo>
                        <a:pt x="152" y="86"/>
                      </a:lnTo>
                      <a:lnTo>
                        <a:pt x="146" y="98"/>
                      </a:lnTo>
                      <a:lnTo>
                        <a:pt x="32" y="166"/>
                      </a:lnTo>
                      <a:lnTo>
                        <a:pt x="20" y="164"/>
                      </a:lnTo>
                      <a:lnTo>
                        <a:pt x="14" y="160"/>
                      </a:lnTo>
                      <a:lnTo>
                        <a:pt x="12" y="160"/>
                      </a:lnTo>
                      <a:lnTo>
                        <a:pt x="8" y="154"/>
                      </a:lnTo>
                      <a:lnTo>
                        <a:pt x="4" y="152"/>
                      </a:lnTo>
                      <a:lnTo>
                        <a:pt x="2" y="154"/>
                      </a:lnTo>
                      <a:lnTo>
                        <a:pt x="0" y="154"/>
                      </a:lnTo>
                      <a:lnTo>
                        <a:pt x="0" y="150"/>
                      </a:lnTo>
                      <a:lnTo>
                        <a:pt x="0" y="148"/>
                      </a:lnTo>
                      <a:lnTo>
                        <a:pt x="0" y="144"/>
                      </a:lnTo>
                      <a:lnTo>
                        <a:pt x="0" y="142"/>
                      </a:lnTo>
                      <a:lnTo>
                        <a:pt x="0" y="138"/>
                      </a:lnTo>
                      <a:lnTo>
                        <a:pt x="2" y="138"/>
                      </a:lnTo>
                      <a:lnTo>
                        <a:pt x="2" y="13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8" name="Freeform 3377"/>
                <p:cNvSpPr>
                  <a:spLocks/>
                </p:cNvSpPr>
                <p:nvPr/>
              </p:nvSpPr>
              <p:spPr bwMode="auto">
                <a:xfrm>
                  <a:off x="1291665" y="3769466"/>
                  <a:ext cx="83114" cy="249341"/>
                </a:xfrm>
                <a:custGeom>
                  <a:avLst/>
                  <a:gdLst/>
                  <a:ahLst/>
                  <a:cxnLst>
                    <a:cxn ang="0">
                      <a:pos x="12" y="42"/>
                    </a:cxn>
                    <a:cxn ang="0">
                      <a:pos x="14" y="40"/>
                    </a:cxn>
                    <a:cxn ang="0">
                      <a:pos x="22" y="14"/>
                    </a:cxn>
                    <a:cxn ang="0">
                      <a:pos x="22" y="10"/>
                    </a:cxn>
                    <a:cxn ang="0">
                      <a:pos x="28" y="4"/>
                    </a:cxn>
                    <a:cxn ang="0">
                      <a:pos x="32" y="6"/>
                    </a:cxn>
                    <a:cxn ang="0">
                      <a:pos x="34" y="4"/>
                    </a:cxn>
                    <a:cxn ang="0">
                      <a:pos x="36" y="0"/>
                    </a:cxn>
                    <a:cxn ang="0">
                      <a:pos x="40" y="0"/>
                    </a:cxn>
                    <a:cxn ang="0">
                      <a:pos x="38" y="2"/>
                    </a:cxn>
                    <a:cxn ang="0">
                      <a:pos x="38" y="8"/>
                    </a:cxn>
                    <a:cxn ang="0">
                      <a:pos x="38" y="14"/>
                    </a:cxn>
                    <a:cxn ang="0">
                      <a:pos x="36" y="20"/>
                    </a:cxn>
                    <a:cxn ang="0">
                      <a:pos x="34" y="28"/>
                    </a:cxn>
                    <a:cxn ang="0">
                      <a:pos x="32" y="24"/>
                    </a:cxn>
                    <a:cxn ang="0">
                      <a:pos x="28" y="24"/>
                    </a:cxn>
                    <a:cxn ang="0">
                      <a:pos x="22" y="26"/>
                    </a:cxn>
                    <a:cxn ang="0">
                      <a:pos x="20" y="36"/>
                    </a:cxn>
                    <a:cxn ang="0">
                      <a:pos x="24" y="46"/>
                    </a:cxn>
                    <a:cxn ang="0">
                      <a:pos x="26" y="50"/>
                    </a:cxn>
                    <a:cxn ang="0">
                      <a:pos x="22" y="50"/>
                    </a:cxn>
                    <a:cxn ang="0">
                      <a:pos x="18" y="58"/>
                    </a:cxn>
                    <a:cxn ang="0">
                      <a:pos x="26" y="62"/>
                    </a:cxn>
                    <a:cxn ang="0">
                      <a:pos x="34" y="56"/>
                    </a:cxn>
                    <a:cxn ang="0">
                      <a:pos x="32" y="66"/>
                    </a:cxn>
                    <a:cxn ang="0">
                      <a:pos x="34" y="70"/>
                    </a:cxn>
                    <a:cxn ang="0">
                      <a:pos x="30" y="74"/>
                    </a:cxn>
                    <a:cxn ang="0">
                      <a:pos x="28" y="80"/>
                    </a:cxn>
                    <a:cxn ang="0">
                      <a:pos x="24" y="90"/>
                    </a:cxn>
                    <a:cxn ang="0">
                      <a:pos x="22" y="102"/>
                    </a:cxn>
                    <a:cxn ang="0">
                      <a:pos x="20" y="118"/>
                    </a:cxn>
                    <a:cxn ang="0">
                      <a:pos x="20" y="118"/>
                    </a:cxn>
                    <a:cxn ang="0">
                      <a:pos x="16" y="120"/>
                    </a:cxn>
                    <a:cxn ang="0">
                      <a:pos x="10" y="92"/>
                    </a:cxn>
                    <a:cxn ang="0">
                      <a:pos x="8" y="90"/>
                    </a:cxn>
                    <a:cxn ang="0">
                      <a:pos x="0" y="66"/>
                    </a:cxn>
                    <a:cxn ang="0">
                      <a:pos x="4" y="62"/>
                    </a:cxn>
                    <a:cxn ang="0">
                      <a:pos x="8" y="56"/>
                    </a:cxn>
                    <a:cxn ang="0">
                      <a:pos x="6" y="52"/>
                    </a:cxn>
                    <a:cxn ang="0">
                      <a:pos x="12" y="44"/>
                    </a:cxn>
                  </a:cxnLst>
                  <a:rect l="0" t="0" r="r" b="b"/>
                  <a:pathLst>
                    <a:path w="40" h="120">
                      <a:moveTo>
                        <a:pt x="12" y="44"/>
                      </a:moveTo>
                      <a:lnTo>
                        <a:pt x="12" y="42"/>
                      </a:lnTo>
                      <a:lnTo>
                        <a:pt x="12" y="40"/>
                      </a:lnTo>
                      <a:lnTo>
                        <a:pt x="14" y="40"/>
                      </a:lnTo>
                      <a:lnTo>
                        <a:pt x="20" y="14"/>
                      </a:lnTo>
                      <a:lnTo>
                        <a:pt x="22" y="14"/>
                      </a:lnTo>
                      <a:lnTo>
                        <a:pt x="22" y="12"/>
                      </a:lnTo>
                      <a:lnTo>
                        <a:pt x="22" y="10"/>
                      </a:lnTo>
                      <a:lnTo>
                        <a:pt x="22" y="6"/>
                      </a:lnTo>
                      <a:lnTo>
                        <a:pt x="28" y="4"/>
                      </a:lnTo>
                      <a:lnTo>
                        <a:pt x="30" y="6"/>
                      </a:lnTo>
                      <a:lnTo>
                        <a:pt x="32" y="6"/>
                      </a:lnTo>
                      <a:lnTo>
                        <a:pt x="34" y="6"/>
                      </a:lnTo>
                      <a:lnTo>
                        <a:pt x="34" y="4"/>
                      </a:lnTo>
                      <a:lnTo>
                        <a:pt x="34" y="2"/>
                      </a:lnTo>
                      <a:lnTo>
                        <a:pt x="36" y="0"/>
                      </a:lnTo>
                      <a:lnTo>
                        <a:pt x="38" y="0"/>
                      </a:lnTo>
                      <a:lnTo>
                        <a:pt x="40" y="0"/>
                      </a:lnTo>
                      <a:lnTo>
                        <a:pt x="40" y="2"/>
                      </a:lnTo>
                      <a:lnTo>
                        <a:pt x="38" y="2"/>
                      </a:lnTo>
                      <a:lnTo>
                        <a:pt x="38" y="6"/>
                      </a:lnTo>
                      <a:lnTo>
                        <a:pt x="38" y="8"/>
                      </a:lnTo>
                      <a:lnTo>
                        <a:pt x="38" y="12"/>
                      </a:lnTo>
                      <a:lnTo>
                        <a:pt x="38" y="14"/>
                      </a:lnTo>
                      <a:lnTo>
                        <a:pt x="38" y="18"/>
                      </a:lnTo>
                      <a:lnTo>
                        <a:pt x="36" y="20"/>
                      </a:lnTo>
                      <a:lnTo>
                        <a:pt x="36" y="28"/>
                      </a:lnTo>
                      <a:lnTo>
                        <a:pt x="34" y="28"/>
                      </a:lnTo>
                      <a:lnTo>
                        <a:pt x="32" y="26"/>
                      </a:lnTo>
                      <a:lnTo>
                        <a:pt x="32" y="24"/>
                      </a:lnTo>
                      <a:lnTo>
                        <a:pt x="30" y="24"/>
                      </a:lnTo>
                      <a:lnTo>
                        <a:pt x="28" y="24"/>
                      </a:lnTo>
                      <a:lnTo>
                        <a:pt x="26" y="24"/>
                      </a:lnTo>
                      <a:lnTo>
                        <a:pt x="22" y="26"/>
                      </a:lnTo>
                      <a:lnTo>
                        <a:pt x="22" y="32"/>
                      </a:lnTo>
                      <a:lnTo>
                        <a:pt x="20" y="36"/>
                      </a:lnTo>
                      <a:lnTo>
                        <a:pt x="20" y="46"/>
                      </a:lnTo>
                      <a:lnTo>
                        <a:pt x="24" y="46"/>
                      </a:lnTo>
                      <a:lnTo>
                        <a:pt x="26" y="48"/>
                      </a:lnTo>
                      <a:lnTo>
                        <a:pt x="26" y="50"/>
                      </a:lnTo>
                      <a:lnTo>
                        <a:pt x="24" y="50"/>
                      </a:lnTo>
                      <a:lnTo>
                        <a:pt x="22" y="50"/>
                      </a:lnTo>
                      <a:lnTo>
                        <a:pt x="18" y="54"/>
                      </a:lnTo>
                      <a:lnTo>
                        <a:pt x="18" y="58"/>
                      </a:lnTo>
                      <a:lnTo>
                        <a:pt x="18" y="62"/>
                      </a:lnTo>
                      <a:lnTo>
                        <a:pt x="26" y="62"/>
                      </a:lnTo>
                      <a:lnTo>
                        <a:pt x="32" y="56"/>
                      </a:lnTo>
                      <a:lnTo>
                        <a:pt x="34" y="56"/>
                      </a:lnTo>
                      <a:lnTo>
                        <a:pt x="34" y="62"/>
                      </a:lnTo>
                      <a:lnTo>
                        <a:pt x="32" y="66"/>
                      </a:lnTo>
                      <a:lnTo>
                        <a:pt x="34" y="68"/>
                      </a:lnTo>
                      <a:lnTo>
                        <a:pt x="34" y="70"/>
                      </a:lnTo>
                      <a:lnTo>
                        <a:pt x="32" y="74"/>
                      </a:lnTo>
                      <a:lnTo>
                        <a:pt x="30" y="74"/>
                      </a:lnTo>
                      <a:lnTo>
                        <a:pt x="30" y="76"/>
                      </a:lnTo>
                      <a:lnTo>
                        <a:pt x="28" y="80"/>
                      </a:lnTo>
                      <a:lnTo>
                        <a:pt x="26" y="86"/>
                      </a:lnTo>
                      <a:lnTo>
                        <a:pt x="24" y="90"/>
                      </a:lnTo>
                      <a:lnTo>
                        <a:pt x="24" y="102"/>
                      </a:lnTo>
                      <a:lnTo>
                        <a:pt x="22" y="102"/>
                      </a:lnTo>
                      <a:lnTo>
                        <a:pt x="22" y="108"/>
                      </a:lnTo>
                      <a:lnTo>
                        <a:pt x="20" y="118"/>
                      </a:lnTo>
                      <a:lnTo>
                        <a:pt x="20" y="120"/>
                      </a:lnTo>
                      <a:lnTo>
                        <a:pt x="20" y="118"/>
                      </a:lnTo>
                      <a:lnTo>
                        <a:pt x="18" y="120"/>
                      </a:lnTo>
                      <a:lnTo>
                        <a:pt x="16" y="120"/>
                      </a:lnTo>
                      <a:lnTo>
                        <a:pt x="16" y="116"/>
                      </a:lnTo>
                      <a:lnTo>
                        <a:pt x="10" y="92"/>
                      </a:lnTo>
                      <a:lnTo>
                        <a:pt x="8" y="92"/>
                      </a:lnTo>
                      <a:lnTo>
                        <a:pt x="8" y="90"/>
                      </a:lnTo>
                      <a:lnTo>
                        <a:pt x="0" y="68"/>
                      </a:lnTo>
                      <a:lnTo>
                        <a:pt x="0" y="66"/>
                      </a:lnTo>
                      <a:lnTo>
                        <a:pt x="4" y="64"/>
                      </a:lnTo>
                      <a:lnTo>
                        <a:pt x="4" y="62"/>
                      </a:lnTo>
                      <a:lnTo>
                        <a:pt x="6" y="58"/>
                      </a:lnTo>
                      <a:lnTo>
                        <a:pt x="8" y="56"/>
                      </a:lnTo>
                      <a:lnTo>
                        <a:pt x="6" y="54"/>
                      </a:lnTo>
                      <a:lnTo>
                        <a:pt x="6" y="52"/>
                      </a:lnTo>
                      <a:lnTo>
                        <a:pt x="10" y="50"/>
                      </a:lnTo>
                      <a:lnTo>
                        <a:pt x="12" y="4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99" name="Freeform 3378"/>
                <p:cNvSpPr>
                  <a:spLocks/>
                </p:cNvSpPr>
                <p:nvPr/>
              </p:nvSpPr>
              <p:spPr bwMode="auto">
                <a:xfrm>
                  <a:off x="1329066" y="3819334"/>
                  <a:ext cx="37401" cy="78958"/>
                </a:xfrm>
                <a:custGeom>
                  <a:avLst/>
                  <a:gdLst/>
                  <a:ahLst/>
                  <a:cxnLst>
                    <a:cxn ang="0">
                      <a:pos x="18" y="10"/>
                    </a:cxn>
                    <a:cxn ang="0">
                      <a:pos x="18" y="24"/>
                    </a:cxn>
                    <a:cxn ang="0">
                      <a:pos x="16" y="26"/>
                    </a:cxn>
                    <a:cxn ang="0">
                      <a:pos x="16" y="28"/>
                    </a:cxn>
                    <a:cxn ang="0">
                      <a:pos x="16" y="32"/>
                    </a:cxn>
                    <a:cxn ang="0">
                      <a:pos x="14" y="32"/>
                    </a:cxn>
                    <a:cxn ang="0">
                      <a:pos x="8" y="38"/>
                    </a:cxn>
                    <a:cxn ang="0">
                      <a:pos x="0" y="38"/>
                    </a:cxn>
                    <a:cxn ang="0">
                      <a:pos x="0" y="34"/>
                    </a:cxn>
                    <a:cxn ang="0">
                      <a:pos x="0" y="30"/>
                    </a:cxn>
                    <a:cxn ang="0">
                      <a:pos x="4" y="26"/>
                    </a:cxn>
                    <a:cxn ang="0">
                      <a:pos x="6" y="26"/>
                    </a:cxn>
                    <a:cxn ang="0">
                      <a:pos x="8" y="26"/>
                    </a:cxn>
                    <a:cxn ang="0">
                      <a:pos x="8" y="24"/>
                    </a:cxn>
                    <a:cxn ang="0">
                      <a:pos x="6" y="22"/>
                    </a:cxn>
                    <a:cxn ang="0">
                      <a:pos x="2" y="22"/>
                    </a:cxn>
                    <a:cxn ang="0">
                      <a:pos x="2" y="12"/>
                    </a:cxn>
                    <a:cxn ang="0">
                      <a:pos x="4" y="8"/>
                    </a:cxn>
                    <a:cxn ang="0">
                      <a:pos x="4" y="2"/>
                    </a:cxn>
                    <a:cxn ang="0">
                      <a:pos x="8" y="0"/>
                    </a:cxn>
                    <a:cxn ang="0">
                      <a:pos x="10" y="0"/>
                    </a:cxn>
                    <a:cxn ang="0">
                      <a:pos x="12" y="0"/>
                    </a:cxn>
                    <a:cxn ang="0">
                      <a:pos x="14" y="0"/>
                    </a:cxn>
                    <a:cxn ang="0">
                      <a:pos x="14" y="2"/>
                    </a:cxn>
                    <a:cxn ang="0">
                      <a:pos x="16" y="4"/>
                    </a:cxn>
                    <a:cxn ang="0">
                      <a:pos x="18" y="4"/>
                    </a:cxn>
                    <a:cxn ang="0">
                      <a:pos x="18" y="10"/>
                    </a:cxn>
                  </a:cxnLst>
                  <a:rect l="0" t="0" r="r" b="b"/>
                  <a:pathLst>
                    <a:path w="18" h="38">
                      <a:moveTo>
                        <a:pt x="18" y="10"/>
                      </a:moveTo>
                      <a:lnTo>
                        <a:pt x="18" y="24"/>
                      </a:lnTo>
                      <a:lnTo>
                        <a:pt x="16" y="26"/>
                      </a:lnTo>
                      <a:lnTo>
                        <a:pt x="16" y="28"/>
                      </a:lnTo>
                      <a:lnTo>
                        <a:pt x="16" y="32"/>
                      </a:lnTo>
                      <a:lnTo>
                        <a:pt x="14" y="32"/>
                      </a:lnTo>
                      <a:lnTo>
                        <a:pt x="8" y="38"/>
                      </a:lnTo>
                      <a:lnTo>
                        <a:pt x="0" y="38"/>
                      </a:lnTo>
                      <a:lnTo>
                        <a:pt x="0" y="34"/>
                      </a:lnTo>
                      <a:lnTo>
                        <a:pt x="0" y="30"/>
                      </a:lnTo>
                      <a:lnTo>
                        <a:pt x="4" y="26"/>
                      </a:lnTo>
                      <a:lnTo>
                        <a:pt x="6" y="26"/>
                      </a:lnTo>
                      <a:lnTo>
                        <a:pt x="8" y="26"/>
                      </a:lnTo>
                      <a:lnTo>
                        <a:pt x="8" y="24"/>
                      </a:lnTo>
                      <a:lnTo>
                        <a:pt x="6" y="22"/>
                      </a:lnTo>
                      <a:lnTo>
                        <a:pt x="2" y="22"/>
                      </a:lnTo>
                      <a:lnTo>
                        <a:pt x="2" y="12"/>
                      </a:lnTo>
                      <a:lnTo>
                        <a:pt x="4" y="8"/>
                      </a:lnTo>
                      <a:lnTo>
                        <a:pt x="4" y="2"/>
                      </a:lnTo>
                      <a:lnTo>
                        <a:pt x="8" y="0"/>
                      </a:lnTo>
                      <a:lnTo>
                        <a:pt x="10" y="0"/>
                      </a:lnTo>
                      <a:lnTo>
                        <a:pt x="12" y="0"/>
                      </a:lnTo>
                      <a:lnTo>
                        <a:pt x="14" y="0"/>
                      </a:lnTo>
                      <a:lnTo>
                        <a:pt x="14" y="2"/>
                      </a:lnTo>
                      <a:lnTo>
                        <a:pt x="16" y="4"/>
                      </a:lnTo>
                      <a:lnTo>
                        <a:pt x="18" y="4"/>
                      </a:lnTo>
                      <a:lnTo>
                        <a:pt x="18" y="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0" name="Freeform 3418"/>
                <p:cNvSpPr>
                  <a:spLocks/>
                </p:cNvSpPr>
                <p:nvPr/>
              </p:nvSpPr>
              <p:spPr bwMode="auto">
                <a:xfrm>
                  <a:off x="2326429" y="3079624"/>
                  <a:ext cx="806202" cy="561017"/>
                </a:xfrm>
                <a:custGeom>
                  <a:avLst/>
                  <a:gdLst/>
                  <a:ahLst/>
                  <a:cxnLst>
                    <a:cxn ang="0">
                      <a:pos x="74" y="42"/>
                    </a:cxn>
                    <a:cxn ang="0">
                      <a:pos x="34" y="18"/>
                    </a:cxn>
                    <a:cxn ang="0">
                      <a:pos x="4" y="44"/>
                    </a:cxn>
                    <a:cxn ang="0">
                      <a:pos x="10" y="58"/>
                    </a:cxn>
                    <a:cxn ang="0">
                      <a:pos x="10" y="50"/>
                    </a:cxn>
                    <a:cxn ang="0">
                      <a:pos x="18" y="26"/>
                    </a:cxn>
                    <a:cxn ang="0">
                      <a:pos x="38" y="26"/>
                    </a:cxn>
                    <a:cxn ang="0">
                      <a:pos x="42" y="42"/>
                    </a:cxn>
                    <a:cxn ang="0">
                      <a:pos x="56" y="56"/>
                    </a:cxn>
                    <a:cxn ang="0">
                      <a:pos x="50" y="68"/>
                    </a:cxn>
                    <a:cxn ang="0">
                      <a:pos x="48" y="76"/>
                    </a:cxn>
                    <a:cxn ang="0">
                      <a:pos x="34" y="72"/>
                    </a:cxn>
                    <a:cxn ang="0">
                      <a:pos x="22" y="74"/>
                    </a:cxn>
                    <a:cxn ang="0">
                      <a:pos x="12" y="66"/>
                    </a:cxn>
                    <a:cxn ang="0">
                      <a:pos x="8" y="86"/>
                    </a:cxn>
                    <a:cxn ang="0">
                      <a:pos x="16" y="110"/>
                    </a:cxn>
                    <a:cxn ang="0">
                      <a:pos x="24" y="102"/>
                    </a:cxn>
                    <a:cxn ang="0">
                      <a:pos x="32" y="116"/>
                    </a:cxn>
                    <a:cxn ang="0">
                      <a:pos x="20" y="118"/>
                    </a:cxn>
                    <a:cxn ang="0">
                      <a:pos x="20" y="130"/>
                    </a:cxn>
                    <a:cxn ang="0">
                      <a:pos x="30" y="126"/>
                    </a:cxn>
                    <a:cxn ang="0">
                      <a:pos x="40" y="146"/>
                    </a:cxn>
                    <a:cxn ang="0">
                      <a:pos x="38" y="164"/>
                    </a:cxn>
                    <a:cxn ang="0">
                      <a:pos x="38" y="180"/>
                    </a:cxn>
                    <a:cxn ang="0">
                      <a:pos x="56" y="192"/>
                    </a:cxn>
                    <a:cxn ang="0">
                      <a:pos x="74" y="174"/>
                    </a:cxn>
                    <a:cxn ang="0">
                      <a:pos x="98" y="170"/>
                    </a:cxn>
                    <a:cxn ang="0">
                      <a:pos x="118" y="162"/>
                    </a:cxn>
                    <a:cxn ang="0">
                      <a:pos x="134" y="172"/>
                    </a:cxn>
                    <a:cxn ang="0">
                      <a:pos x="164" y="184"/>
                    </a:cxn>
                    <a:cxn ang="0">
                      <a:pos x="186" y="188"/>
                    </a:cxn>
                    <a:cxn ang="0">
                      <a:pos x="208" y="206"/>
                    </a:cxn>
                    <a:cxn ang="0">
                      <a:pos x="238" y="226"/>
                    </a:cxn>
                    <a:cxn ang="0">
                      <a:pos x="242" y="254"/>
                    </a:cxn>
                    <a:cxn ang="0">
                      <a:pos x="264" y="262"/>
                    </a:cxn>
                    <a:cxn ang="0">
                      <a:pos x="276" y="266"/>
                    </a:cxn>
                    <a:cxn ang="0">
                      <a:pos x="292" y="256"/>
                    </a:cxn>
                    <a:cxn ang="0">
                      <a:pos x="302" y="244"/>
                    </a:cxn>
                    <a:cxn ang="0">
                      <a:pos x="330" y="230"/>
                    </a:cxn>
                    <a:cxn ang="0">
                      <a:pos x="334" y="216"/>
                    </a:cxn>
                    <a:cxn ang="0">
                      <a:pos x="362" y="194"/>
                    </a:cxn>
                    <a:cxn ang="0">
                      <a:pos x="382" y="194"/>
                    </a:cxn>
                    <a:cxn ang="0">
                      <a:pos x="386" y="170"/>
                    </a:cxn>
                    <a:cxn ang="0">
                      <a:pos x="360" y="164"/>
                    </a:cxn>
                    <a:cxn ang="0">
                      <a:pos x="328" y="140"/>
                    </a:cxn>
                    <a:cxn ang="0">
                      <a:pos x="316" y="136"/>
                    </a:cxn>
                    <a:cxn ang="0">
                      <a:pos x="268" y="84"/>
                    </a:cxn>
                    <a:cxn ang="0">
                      <a:pos x="244" y="56"/>
                    </a:cxn>
                    <a:cxn ang="0">
                      <a:pos x="220" y="58"/>
                    </a:cxn>
                    <a:cxn ang="0">
                      <a:pos x="208" y="50"/>
                    </a:cxn>
                    <a:cxn ang="0">
                      <a:pos x="212" y="38"/>
                    </a:cxn>
                    <a:cxn ang="0">
                      <a:pos x="198" y="18"/>
                    </a:cxn>
                    <a:cxn ang="0">
                      <a:pos x="182" y="10"/>
                    </a:cxn>
                    <a:cxn ang="0">
                      <a:pos x="168" y="4"/>
                    </a:cxn>
                    <a:cxn ang="0">
                      <a:pos x="158" y="8"/>
                    </a:cxn>
                    <a:cxn ang="0">
                      <a:pos x="154" y="10"/>
                    </a:cxn>
                    <a:cxn ang="0">
                      <a:pos x="132" y="24"/>
                    </a:cxn>
                    <a:cxn ang="0">
                      <a:pos x="126" y="52"/>
                    </a:cxn>
                    <a:cxn ang="0">
                      <a:pos x="114" y="56"/>
                    </a:cxn>
                  </a:cxnLst>
                  <a:rect l="0" t="0" r="r" b="b"/>
                  <a:pathLst>
                    <a:path w="388" h="270">
                      <a:moveTo>
                        <a:pt x="84" y="56"/>
                      </a:moveTo>
                      <a:lnTo>
                        <a:pt x="82" y="56"/>
                      </a:lnTo>
                      <a:lnTo>
                        <a:pt x="82" y="54"/>
                      </a:lnTo>
                      <a:lnTo>
                        <a:pt x="82" y="52"/>
                      </a:lnTo>
                      <a:lnTo>
                        <a:pt x="80" y="52"/>
                      </a:lnTo>
                      <a:lnTo>
                        <a:pt x="76" y="48"/>
                      </a:lnTo>
                      <a:lnTo>
                        <a:pt x="76" y="46"/>
                      </a:lnTo>
                      <a:lnTo>
                        <a:pt x="74" y="42"/>
                      </a:lnTo>
                      <a:lnTo>
                        <a:pt x="70" y="40"/>
                      </a:lnTo>
                      <a:lnTo>
                        <a:pt x="70" y="38"/>
                      </a:lnTo>
                      <a:lnTo>
                        <a:pt x="68" y="36"/>
                      </a:lnTo>
                      <a:lnTo>
                        <a:pt x="68" y="32"/>
                      </a:lnTo>
                      <a:lnTo>
                        <a:pt x="48" y="18"/>
                      </a:lnTo>
                      <a:lnTo>
                        <a:pt x="42" y="16"/>
                      </a:lnTo>
                      <a:lnTo>
                        <a:pt x="40" y="18"/>
                      </a:lnTo>
                      <a:lnTo>
                        <a:pt x="34" y="18"/>
                      </a:lnTo>
                      <a:lnTo>
                        <a:pt x="30" y="18"/>
                      </a:lnTo>
                      <a:lnTo>
                        <a:pt x="28" y="20"/>
                      </a:lnTo>
                      <a:lnTo>
                        <a:pt x="26" y="20"/>
                      </a:lnTo>
                      <a:lnTo>
                        <a:pt x="14" y="24"/>
                      </a:lnTo>
                      <a:lnTo>
                        <a:pt x="0" y="38"/>
                      </a:lnTo>
                      <a:lnTo>
                        <a:pt x="0" y="40"/>
                      </a:lnTo>
                      <a:lnTo>
                        <a:pt x="4" y="42"/>
                      </a:lnTo>
                      <a:lnTo>
                        <a:pt x="4" y="44"/>
                      </a:lnTo>
                      <a:lnTo>
                        <a:pt x="4" y="46"/>
                      </a:lnTo>
                      <a:lnTo>
                        <a:pt x="2" y="48"/>
                      </a:lnTo>
                      <a:lnTo>
                        <a:pt x="4" y="48"/>
                      </a:lnTo>
                      <a:lnTo>
                        <a:pt x="6" y="48"/>
                      </a:lnTo>
                      <a:lnTo>
                        <a:pt x="6" y="50"/>
                      </a:lnTo>
                      <a:lnTo>
                        <a:pt x="8" y="52"/>
                      </a:lnTo>
                      <a:lnTo>
                        <a:pt x="10" y="56"/>
                      </a:lnTo>
                      <a:lnTo>
                        <a:pt x="10" y="58"/>
                      </a:lnTo>
                      <a:lnTo>
                        <a:pt x="12" y="62"/>
                      </a:lnTo>
                      <a:lnTo>
                        <a:pt x="12" y="64"/>
                      </a:lnTo>
                      <a:lnTo>
                        <a:pt x="12" y="62"/>
                      </a:lnTo>
                      <a:lnTo>
                        <a:pt x="12" y="58"/>
                      </a:lnTo>
                      <a:lnTo>
                        <a:pt x="12" y="56"/>
                      </a:lnTo>
                      <a:lnTo>
                        <a:pt x="12" y="54"/>
                      </a:lnTo>
                      <a:lnTo>
                        <a:pt x="10" y="52"/>
                      </a:lnTo>
                      <a:lnTo>
                        <a:pt x="10" y="50"/>
                      </a:lnTo>
                      <a:lnTo>
                        <a:pt x="12" y="48"/>
                      </a:lnTo>
                      <a:lnTo>
                        <a:pt x="12" y="44"/>
                      </a:lnTo>
                      <a:lnTo>
                        <a:pt x="12" y="42"/>
                      </a:lnTo>
                      <a:lnTo>
                        <a:pt x="12" y="40"/>
                      </a:lnTo>
                      <a:lnTo>
                        <a:pt x="10" y="40"/>
                      </a:lnTo>
                      <a:lnTo>
                        <a:pt x="10" y="38"/>
                      </a:lnTo>
                      <a:lnTo>
                        <a:pt x="14" y="30"/>
                      </a:lnTo>
                      <a:lnTo>
                        <a:pt x="18" y="26"/>
                      </a:lnTo>
                      <a:lnTo>
                        <a:pt x="20" y="26"/>
                      </a:lnTo>
                      <a:lnTo>
                        <a:pt x="22" y="26"/>
                      </a:lnTo>
                      <a:lnTo>
                        <a:pt x="24" y="26"/>
                      </a:lnTo>
                      <a:lnTo>
                        <a:pt x="28" y="24"/>
                      </a:lnTo>
                      <a:lnTo>
                        <a:pt x="32" y="24"/>
                      </a:lnTo>
                      <a:lnTo>
                        <a:pt x="34" y="24"/>
                      </a:lnTo>
                      <a:lnTo>
                        <a:pt x="36" y="24"/>
                      </a:lnTo>
                      <a:lnTo>
                        <a:pt x="38" y="26"/>
                      </a:lnTo>
                      <a:lnTo>
                        <a:pt x="40" y="26"/>
                      </a:lnTo>
                      <a:lnTo>
                        <a:pt x="40" y="28"/>
                      </a:lnTo>
                      <a:lnTo>
                        <a:pt x="40" y="30"/>
                      </a:lnTo>
                      <a:lnTo>
                        <a:pt x="40" y="34"/>
                      </a:lnTo>
                      <a:lnTo>
                        <a:pt x="40" y="36"/>
                      </a:lnTo>
                      <a:lnTo>
                        <a:pt x="42" y="36"/>
                      </a:lnTo>
                      <a:lnTo>
                        <a:pt x="42" y="40"/>
                      </a:lnTo>
                      <a:lnTo>
                        <a:pt x="42" y="42"/>
                      </a:lnTo>
                      <a:lnTo>
                        <a:pt x="42" y="44"/>
                      </a:lnTo>
                      <a:lnTo>
                        <a:pt x="44" y="46"/>
                      </a:lnTo>
                      <a:lnTo>
                        <a:pt x="44" y="48"/>
                      </a:lnTo>
                      <a:lnTo>
                        <a:pt x="50" y="54"/>
                      </a:lnTo>
                      <a:lnTo>
                        <a:pt x="52" y="54"/>
                      </a:lnTo>
                      <a:lnTo>
                        <a:pt x="54" y="54"/>
                      </a:lnTo>
                      <a:lnTo>
                        <a:pt x="54" y="56"/>
                      </a:lnTo>
                      <a:lnTo>
                        <a:pt x="56" y="56"/>
                      </a:lnTo>
                      <a:lnTo>
                        <a:pt x="62" y="62"/>
                      </a:lnTo>
                      <a:lnTo>
                        <a:pt x="64" y="66"/>
                      </a:lnTo>
                      <a:lnTo>
                        <a:pt x="62" y="68"/>
                      </a:lnTo>
                      <a:lnTo>
                        <a:pt x="62" y="70"/>
                      </a:lnTo>
                      <a:lnTo>
                        <a:pt x="58" y="72"/>
                      </a:lnTo>
                      <a:lnTo>
                        <a:pt x="56" y="72"/>
                      </a:lnTo>
                      <a:lnTo>
                        <a:pt x="52" y="68"/>
                      </a:lnTo>
                      <a:lnTo>
                        <a:pt x="50" y="68"/>
                      </a:lnTo>
                      <a:lnTo>
                        <a:pt x="48" y="70"/>
                      </a:lnTo>
                      <a:lnTo>
                        <a:pt x="50" y="74"/>
                      </a:lnTo>
                      <a:lnTo>
                        <a:pt x="52" y="76"/>
                      </a:lnTo>
                      <a:lnTo>
                        <a:pt x="54" y="76"/>
                      </a:lnTo>
                      <a:lnTo>
                        <a:pt x="52" y="78"/>
                      </a:lnTo>
                      <a:lnTo>
                        <a:pt x="50" y="78"/>
                      </a:lnTo>
                      <a:lnTo>
                        <a:pt x="48" y="78"/>
                      </a:lnTo>
                      <a:lnTo>
                        <a:pt x="48" y="76"/>
                      </a:lnTo>
                      <a:lnTo>
                        <a:pt x="46" y="76"/>
                      </a:lnTo>
                      <a:lnTo>
                        <a:pt x="44" y="78"/>
                      </a:lnTo>
                      <a:lnTo>
                        <a:pt x="42" y="78"/>
                      </a:lnTo>
                      <a:lnTo>
                        <a:pt x="38" y="80"/>
                      </a:lnTo>
                      <a:lnTo>
                        <a:pt x="34" y="80"/>
                      </a:lnTo>
                      <a:lnTo>
                        <a:pt x="34" y="78"/>
                      </a:lnTo>
                      <a:lnTo>
                        <a:pt x="32" y="74"/>
                      </a:lnTo>
                      <a:lnTo>
                        <a:pt x="34" y="72"/>
                      </a:lnTo>
                      <a:lnTo>
                        <a:pt x="32" y="70"/>
                      </a:lnTo>
                      <a:lnTo>
                        <a:pt x="30" y="70"/>
                      </a:lnTo>
                      <a:lnTo>
                        <a:pt x="30" y="72"/>
                      </a:lnTo>
                      <a:lnTo>
                        <a:pt x="30" y="74"/>
                      </a:lnTo>
                      <a:lnTo>
                        <a:pt x="28" y="76"/>
                      </a:lnTo>
                      <a:lnTo>
                        <a:pt x="26" y="74"/>
                      </a:lnTo>
                      <a:lnTo>
                        <a:pt x="24" y="74"/>
                      </a:lnTo>
                      <a:lnTo>
                        <a:pt x="22" y="74"/>
                      </a:lnTo>
                      <a:lnTo>
                        <a:pt x="18" y="74"/>
                      </a:lnTo>
                      <a:lnTo>
                        <a:pt x="16" y="72"/>
                      </a:lnTo>
                      <a:lnTo>
                        <a:pt x="16" y="70"/>
                      </a:lnTo>
                      <a:lnTo>
                        <a:pt x="16" y="68"/>
                      </a:lnTo>
                      <a:lnTo>
                        <a:pt x="14" y="64"/>
                      </a:lnTo>
                      <a:lnTo>
                        <a:pt x="12" y="62"/>
                      </a:lnTo>
                      <a:lnTo>
                        <a:pt x="12" y="64"/>
                      </a:lnTo>
                      <a:lnTo>
                        <a:pt x="12" y="66"/>
                      </a:lnTo>
                      <a:lnTo>
                        <a:pt x="12" y="70"/>
                      </a:lnTo>
                      <a:lnTo>
                        <a:pt x="12" y="74"/>
                      </a:lnTo>
                      <a:lnTo>
                        <a:pt x="10" y="76"/>
                      </a:lnTo>
                      <a:lnTo>
                        <a:pt x="12" y="78"/>
                      </a:lnTo>
                      <a:lnTo>
                        <a:pt x="10" y="80"/>
                      </a:lnTo>
                      <a:lnTo>
                        <a:pt x="8" y="82"/>
                      </a:lnTo>
                      <a:lnTo>
                        <a:pt x="8" y="84"/>
                      </a:lnTo>
                      <a:lnTo>
                        <a:pt x="8" y="86"/>
                      </a:lnTo>
                      <a:lnTo>
                        <a:pt x="6" y="92"/>
                      </a:lnTo>
                      <a:lnTo>
                        <a:pt x="8" y="94"/>
                      </a:lnTo>
                      <a:lnTo>
                        <a:pt x="8" y="100"/>
                      </a:lnTo>
                      <a:lnTo>
                        <a:pt x="10" y="102"/>
                      </a:lnTo>
                      <a:lnTo>
                        <a:pt x="12" y="106"/>
                      </a:lnTo>
                      <a:lnTo>
                        <a:pt x="16" y="110"/>
                      </a:lnTo>
                      <a:lnTo>
                        <a:pt x="16" y="112"/>
                      </a:lnTo>
                      <a:lnTo>
                        <a:pt x="16" y="110"/>
                      </a:lnTo>
                      <a:lnTo>
                        <a:pt x="14" y="108"/>
                      </a:lnTo>
                      <a:lnTo>
                        <a:pt x="14" y="106"/>
                      </a:lnTo>
                      <a:lnTo>
                        <a:pt x="12" y="106"/>
                      </a:lnTo>
                      <a:lnTo>
                        <a:pt x="12" y="102"/>
                      </a:lnTo>
                      <a:lnTo>
                        <a:pt x="14" y="102"/>
                      </a:lnTo>
                      <a:lnTo>
                        <a:pt x="16" y="104"/>
                      </a:lnTo>
                      <a:lnTo>
                        <a:pt x="24" y="104"/>
                      </a:lnTo>
                      <a:lnTo>
                        <a:pt x="24" y="102"/>
                      </a:lnTo>
                      <a:lnTo>
                        <a:pt x="26" y="102"/>
                      </a:lnTo>
                      <a:lnTo>
                        <a:pt x="30" y="104"/>
                      </a:lnTo>
                      <a:lnTo>
                        <a:pt x="30" y="106"/>
                      </a:lnTo>
                      <a:lnTo>
                        <a:pt x="28" y="106"/>
                      </a:lnTo>
                      <a:lnTo>
                        <a:pt x="26" y="110"/>
                      </a:lnTo>
                      <a:lnTo>
                        <a:pt x="26" y="114"/>
                      </a:lnTo>
                      <a:lnTo>
                        <a:pt x="28" y="114"/>
                      </a:lnTo>
                      <a:lnTo>
                        <a:pt x="32" y="116"/>
                      </a:lnTo>
                      <a:lnTo>
                        <a:pt x="34" y="118"/>
                      </a:lnTo>
                      <a:lnTo>
                        <a:pt x="30" y="120"/>
                      </a:lnTo>
                      <a:lnTo>
                        <a:pt x="28" y="120"/>
                      </a:lnTo>
                      <a:lnTo>
                        <a:pt x="28" y="118"/>
                      </a:lnTo>
                      <a:lnTo>
                        <a:pt x="26" y="118"/>
                      </a:lnTo>
                      <a:lnTo>
                        <a:pt x="24" y="118"/>
                      </a:lnTo>
                      <a:lnTo>
                        <a:pt x="22" y="118"/>
                      </a:lnTo>
                      <a:lnTo>
                        <a:pt x="20" y="118"/>
                      </a:lnTo>
                      <a:lnTo>
                        <a:pt x="22" y="116"/>
                      </a:lnTo>
                      <a:lnTo>
                        <a:pt x="22" y="114"/>
                      </a:lnTo>
                      <a:lnTo>
                        <a:pt x="22" y="116"/>
                      </a:lnTo>
                      <a:lnTo>
                        <a:pt x="20" y="116"/>
                      </a:lnTo>
                      <a:lnTo>
                        <a:pt x="18" y="122"/>
                      </a:lnTo>
                      <a:lnTo>
                        <a:pt x="18" y="124"/>
                      </a:lnTo>
                      <a:lnTo>
                        <a:pt x="18" y="130"/>
                      </a:lnTo>
                      <a:lnTo>
                        <a:pt x="20" y="130"/>
                      </a:lnTo>
                      <a:lnTo>
                        <a:pt x="20" y="128"/>
                      </a:lnTo>
                      <a:lnTo>
                        <a:pt x="20" y="124"/>
                      </a:lnTo>
                      <a:lnTo>
                        <a:pt x="22" y="124"/>
                      </a:lnTo>
                      <a:lnTo>
                        <a:pt x="24" y="124"/>
                      </a:lnTo>
                      <a:lnTo>
                        <a:pt x="24" y="126"/>
                      </a:lnTo>
                      <a:lnTo>
                        <a:pt x="26" y="126"/>
                      </a:lnTo>
                      <a:lnTo>
                        <a:pt x="28" y="126"/>
                      </a:lnTo>
                      <a:lnTo>
                        <a:pt x="30" y="126"/>
                      </a:lnTo>
                      <a:lnTo>
                        <a:pt x="32" y="130"/>
                      </a:lnTo>
                      <a:lnTo>
                        <a:pt x="32" y="132"/>
                      </a:lnTo>
                      <a:lnTo>
                        <a:pt x="34" y="136"/>
                      </a:lnTo>
                      <a:lnTo>
                        <a:pt x="36" y="136"/>
                      </a:lnTo>
                      <a:lnTo>
                        <a:pt x="38" y="136"/>
                      </a:lnTo>
                      <a:lnTo>
                        <a:pt x="40" y="140"/>
                      </a:lnTo>
                      <a:lnTo>
                        <a:pt x="42" y="140"/>
                      </a:lnTo>
                      <a:lnTo>
                        <a:pt x="40" y="146"/>
                      </a:lnTo>
                      <a:lnTo>
                        <a:pt x="38" y="148"/>
                      </a:lnTo>
                      <a:lnTo>
                        <a:pt x="38" y="150"/>
                      </a:lnTo>
                      <a:lnTo>
                        <a:pt x="38" y="152"/>
                      </a:lnTo>
                      <a:lnTo>
                        <a:pt x="38" y="154"/>
                      </a:lnTo>
                      <a:lnTo>
                        <a:pt x="38" y="156"/>
                      </a:lnTo>
                      <a:lnTo>
                        <a:pt x="38" y="158"/>
                      </a:lnTo>
                      <a:lnTo>
                        <a:pt x="38" y="160"/>
                      </a:lnTo>
                      <a:lnTo>
                        <a:pt x="38" y="164"/>
                      </a:lnTo>
                      <a:lnTo>
                        <a:pt x="38" y="166"/>
                      </a:lnTo>
                      <a:lnTo>
                        <a:pt x="38" y="168"/>
                      </a:lnTo>
                      <a:lnTo>
                        <a:pt x="38" y="170"/>
                      </a:lnTo>
                      <a:lnTo>
                        <a:pt x="36" y="170"/>
                      </a:lnTo>
                      <a:lnTo>
                        <a:pt x="36" y="172"/>
                      </a:lnTo>
                      <a:lnTo>
                        <a:pt x="36" y="174"/>
                      </a:lnTo>
                      <a:lnTo>
                        <a:pt x="36" y="176"/>
                      </a:lnTo>
                      <a:lnTo>
                        <a:pt x="38" y="180"/>
                      </a:lnTo>
                      <a:lnTo>
                        <a:pt x="38" y="182"/>
                      </a:lnTo>
                      <a:lnTo>
                        <a:pt x="38" y="188"/>
                      </a:lnTo>
                      <a:lnTo>
                        <a:pt x="40" y="194"/>
                      </a:lnTo>
                      <a:lnTo>
                        <a:pt x="40" y="196"/>
                      </a:lnTo>
                      <a:lnTo>
                        <a:pt x="48" y="196"/>
                      </a:lnTo>
                      <a:lnTo>
                        <a:pt x="52" y="194"/>
                      </a:lnTo>
                      <a:lnTo>
                        <a:pt x="54" y="194"/>
                      </a:lnTo>
                      <a:lnTo>
                        <a:pt x="56" y="192"/>
                      </a:lnTo>
                      <a:lnTo>
                        <a:pt x="58" y="192"/>
                      </a:lnTo>
                      <a:lnTo>
                        <a:pt x="60" y="192"/>
                      </a:lnTo>
                      <a:lnTo>
                        <a:pt x="64" y="190"/>
                      </a:lnTo>
                      <a:lnTo>
                        <a:pt x="64" y="188"/>
                      </a:lnTo>
                      <a:lnTo>
                        <a:pt x="64" y="182"/>
                      </a:lnTo>
                      <a:lnTo>
                        <a:pt x="66" y="180"/>
                      </a:lnTo>
                      <a:lnTo>
                        <a:pt x="70" y="176"/>
                      </a:lnTo>
                      <a:lnTo>
                        <a:pt x="74" y="174"/>
                      </a:lnTo>
                      <a:lnTo>
                        <a:pt x="80" y="170"/>
                      </a:lnTo>
                      <a:lnTo>
                        <a:pt x="82" y="170"/>
                      </a:lnTo>
                      <a:lnTo>
                        <a:pt x="84" y="168"/>
                      </a:lnTo>
                      <a:lnTo>
                        <a:pt x="90" y="168"/>
                      </a:lnTo>
                      <a:lnTo>
                        <a:pt x="92" y="168"/>
                      </a:lnTo>
                      <a:lnTo>
                        <a:pt x="94" y="170"/>
                      </a:lnTo>
                      <a:lnTo>
                        <a:pt x="96" y="170"/>
                      </a:lnTo>
                      <a:lnTo>
                        <a:pt x="98" y="170"/>
                      </a:lnTo>
                      <a:lnTo>
                        <a:pt x="102" y="170"/>
                      </a:lnTo>
                      <a:lnTo>
                        <a:pt x="104" y="170"/>
                      </a:lnTo>
                      <a:lnTo>
                        <a:pt x="106" y="170"/>
                      </a:lnTo>
                      <a:lnTo>
                        <a:pt x="106" y="168"/>
                      </a:lnTo>
                      <a:lnTo>
                        <a:pt x="106" y="166"/>
                      </a:lnTo>
                      <a:lnTo>
                        <a:pt x="108" y="164"/>
                      </a:lnTo>
                      <a:lnTo>
                        <a:pt x="116" y="164"/>
                      </a:lnTo>
                      <a:lnTo>
                        <a:pt x="118" y="162"/>
                      </a:lnTo>
                      <a:lnTo>
                        <a:pt x="118" y="164"/>
                      </a:lnTo>
                      <a:lnTo>
                        <a:pt x="120" y="164"/>
                      </a:lnTo>
                      <a:lnTo>
                        <a:pt x="126" y="166"/>
                      </a:lnTo>
                      <a:lnTo>
                        <a:pt x="128" y="164"/>
                      </a:lnTo>
                      <a:lnTo>
                        <a:pt x="128" y="162"/>
                      </a:lnTo>
                      <a:lnTo>
                        <a:pt x="130" y="162"/>
                      </a:lnTo>
                      <a:lnTo>
                        <a:pt x="134" y="170"/>
                      </a:lnTo>
                      <a:lnTo>
                        <a:pt x="134" y="172"/>
                      </a:lnTo>
                      <a:lnTo>
                        <a:pt x="136" y="174"/>
                      </a:lnTo>
                      <a:lnTo>
                        <a:pt x="138" y="174"/>
                      </a:lnTo>
                      <a:lnTo>
                        <a:pt x="140" y="176"/>
                      </a:lnTo>
                      <a:lnTo>
                        <a:pt x="144" y="174"/>
                      </a:lnTo>
                      <a:lnTo>
                        <a:pt x="156" y="180"/>
                      </a:lnTo>
                      <a:lnTo>
                        <a:pt x="158" y="180"/>
                      </a:lnTo>
                      <a:lnTo>
                        <a:pt x="158" y="182"/>
                      </a:lnTo>
                      <a:lnTo>
                        <a:pt x="164" y="184"/>
                      </a:lnTo>
                      <a:lnTo>
                        <a:pt x="170" y="184"/>
                      </a:lnTo>
                      <a:lnTo>
                        <a:pt x="172" y="184"/>
                      </a:lnTo>
                      <a:lnTo>
                        <a:pt x="174" y="184"/>
                      </a:lnTo>
                      <a:lnTo>
                        <a:pt x="178" y="184"/>
                      </a:lnTo>
                      <a:lnTo>
                        <a:pt x="180" y="184"/>
                      </a:lnTo>
                      <a:lnTo>
                        <a:pt x="182" y="188"/>
                      </a:lnTo>
                      <a:lnTo>
                        <a:pt x="184" y="188"/>
                      </a:lnTo>
                      <a:lnTo>
                        <a:pt x="186" y="188"/>
                      </a:lnTo>
                      <a:lnTo>
                        <a:pt x="188" y="188"/>
                      </a:lnTo>
                      <a:lnTo>
                        <a:pt x="190" y="190"/>
                      </a:lnTo>
                      <a:lnTo>
                        <a:pt x="188" y="192"/>
                      </a:lnTo>
                      <a:lnTo>
                        <a:pt x="188" y="194"/>
                      </a:lnTo>
                      <a:lnTo>
                        <a:pt x="190" y="194"/>
                      </a:lnTo>
                      <a:lnTo>
                        <a:pt x="190" y="196"/>
                      </a:lnTo>
                      <a:lnTo>
                        <a:pt x="192" y="198"/>
                      </a:lnTo>
                      <a:lnTo>
                        <a:pt x="208" y="206"/>
                      </a:lnTo>
                      <a:lnTo>
                        <a:pt x="210" y="208"/>
                      </a:lnTo>
                      <a:lnTo>
                        <a:pt x="210" y="210"/>
                      </a:lnTo>
                      <a:lnTo>
                        <a:pt x="210" y="212"/>
                      </a:lnTo>
                      <a:lnTo>
                        <a:pt x="216" y="218"/>
                      </a:lnTo>
                      <a:lnTo>
                        <a:pt x="238" y="218"/>
                      </a:lnTo>
                      <a:lnTo>
                        <a:pt x="238" y="220"/>
                      </a:lnTo>
                      <a:lnTo>
                        <a:pt x="240" y="222"/>
                      </a:lnTo>
                      <a:lnTo>
                        <a:pt x="238" y="226"/>
                      </a:lnTo>
                      <a:lnTo>
                        <a:pt x="240" y="236"/>
                      </a:lnTo>
                      <a:lnTo>
                        <a:pt x="240" y="238"/>
                      </a:lnTo>
                      <a:lnTo>
                        <a:pt x="240" y="242"/>
                      </a:lnTo>
                      <a:lnTo>
                        <a:pt x="240" y="244"/>
                      </a:lnTo>
                      <a:lnTo>
                        <a:pt x="240" y="248"/>
                      </a:lnTo>
                      <a:lnTo>
                        <a:pt x="240" y="252"/>
                      </a:lnTo>
                      <a:lnTo>
                        <a:pt x="240" y="254"/>
                      </a:lnTo>
                      <a:lnTo>
                        <a:pt x="242" y="254"/>
                      </a:lnTo>
                      <a:lnTo>
                        <a:pt x="244" y="254"/>
                      </a:lnTo>
                      <a:lnTo>
                        <a:pt x="246" y="256"/>
                      </a:lnTo>
                      <a:lnTo>
                        <a:pt x="250" y="260"/>
                      </a:lnTo>
                      <a:lnTo>
                        <a:pt x="256" y="260"/>
                      </a:lnTo>
                      <a:lnTo>
                        <a:pt x="260" y="258"/>
                      </a:lnTo>
                      <a:lnTo>
                        <a:pt x="262" y="260"/>
                      </a:lnTo>
                      <a:lnTo>
                        <a:pt x="264" y="260"/>
                      </a:lnTo>
                      <a:lnTo>
                        <a:pt x="264" y="262"/>
                      </a:lnTo>
                      <a:lnTo>
                        <a:pt x="268" y="266"/>
                      </a:lnTo>
                      <a:lnTo>
                        <a:pt x="268" y="268"/>
                      </a:lnTo>
                      <a:lnTo>
                        <a:pt x="270" y="270"/>
                      </a:lnTo>
                      <a:lnTo>
                        <a:pt x="270" y="268"/>
                      </a:lnTo>
                      <a:lnTo>
                        <a:pt x="272" y="266"/>
                      </a:lnTo>
                      <a:lnTo>
                        <a:pt x="274" y="264"/>
                      </a:lnTo>
                      <a:lnTo>
                        <a:pt x="276" y="264"/>
                      </a:lnTo>
                      <a:lnTo>
                        <a:pt x="276" y="266"/>
                      </a:lnTo>
                      <a:lnTo>
                        <a:pt x="278" y="266"/>
                      </a:lnTo>
                      <a:lnTo>
                        <a:pt x="282" y="266"/>
                      </a:lnTo>
                      <a:lnTo>
                        <a:pt x="284" y="264"/>
                      </a:lnTo>
                      <a:lnTo>
                        <a:pt x="286" y="262"/>
                      </a:lnTo>
                      <a:lnTo>
                        <a:pt x="288" y="260"/>
                      </a:lnTo>
                      <a:lnTo>
                        <a:pt x="290" y="260"/>
                      </a:lnTo>
                      <a:lnTo>
                        <a:pt x="292" y="258"/>
                      </a:lnTo>
                      <a:lnTo>
                        <a:pt x="292" y="256"/>
                      </a:lnTo>
                      <a:lnTo>
                        <a:pt x="292" y="254"/>
                      </a:lnTo>
                      <a:lnTo>
                        <a:pt x="292" y="252"/>
                      </a:lnTo>
                      <a:lnTo>
                        <a:pt x="294" y="252"/>
                      </a:lnTo>
                      <a:lnTo>
                        <a:pt x="292" y="248"/>
                      </a:lnTo>
                      <a:lnTo>
                        <a:pt x="292" y="246"/>
                      </a:lnTo>
                      <a:lnTo>
                        <a:pt x="296" y="246"/>
                      </a:lnTo>
                      <a:lnTo>
                        <a:pt x="298" y="246"/>
                      </a:lnTo>
                      <a:lnTo>
                        <a:pt x="302" y="244"/>
                      </a:lnTo>
                      <a:lnTo>
                        <a:pt x="304" y="242"/>
                      </a:lnTo>
                      <a:lnTo>
                        <a:pt x="310" y="242"/>
                      </a:lnTo>
                      <a:lnTo>
                        <a:pt x="312" y="240"/>
                      </a:lnTo>
                      <a:lnTo>
                        <a:pt x="316" y="240"/>
                      </a:lnTo>
                      <a:lnTo>
                        <a:pt x="320" y="236"/>
                      </a:lnTo>
                      <a:lnTo>
                        <a:pt x="328" y="232"/>
                      </a:lnTo>
                      <a:lnTo>
                        <a:pt x="330" y="232"/>
                      </a:lnTo>
                      <a:lnTo>
                        <a:pt x="330" y="230"/>
                      </a:lnTo>
                      <a:lnTo>
                        <a:pt x="332" y="228"/>
                      </a:lnTo>
                      <a:lnTo>
                        <a:pt x="332" y="226"/>
                      </a:lnTo>
                      <a:lnTo>
                        <a:pt x="334" y="226"/>
                      </a:lnTo>
                      <a:lnTo>
                        <a:pt x="334" y="224"/>
                      </a:lnTo>
                      <a:lnTo>
                        <a:pt x="332" y="222"/>
                      </a:lnTo>
                      <a:lnTo>
                        <a:pt x="332" y="218"/>
                      </a:lnTo>
                      <a:lnTo>
                        <a:pt x="334" y="218"/>
                      </a:lnTo>
                      <a:lnTo>
                        <a:pt x="334" y="216"/>
                      </a:lnTo>
                      <a:lnTo>
                        <a:pt x="334" y="214"/>
                      </a:lnTo>
                      <a:lnTo>
                        <a:pt x="336" y="214"/>
                      </a:lnTo>
                      <a:lnTo>
                        <a:pt x="338" y="210"/>
                      </a:lnTo>
                      <a:lnTo>
                        <a:pt x="338" y="202"/>
                      </a:lnTo>
                      <a:lnTo>
                        <a:pt x="340" y="202"/>
                      </a:lnTo>
                      <a:lnTo>
                        <a:pt x="344" y="198"/>
                      </a:lnTo>
                      <a:lnTo>
                        <a:pt x="358" y="198"/>
                      </a:lnTo>
                      <a:lnTo>
                        <a:pt x="362" y="194"/>
                      </a:lnTo>
                      <a:lnTo>
                        <a:pt x="360" y="192"/>
                      </a:lnTo>
                      <a:lnTo>
                        <a:pt x="362" y="190"/>
                      </a:lnTo>
                      <a:lnTo>
                        <a:pt x="362" y="188"/>
                      </a:lnTo>
                      <a:lnTo>
                        <a:pt x="364" y="188"/>
                      </a:lnTo>
                      <a:lnTo>
                        <a:pt x="378" y="196"/>
                      </a:lnTo>
                      <a:lnTo>
                        <a:pt x="380" y="196"/>
                      </a:lnTo>
                      <a:lnTo>
                        <a:pt x="380" y="194"/>
                      </a:lnTo>
                      <a:lnTo>
                        <a:pt x="382" y="194"/>
                      </a:lnTo>
                      <a:lnTo>
                        <a:pt x="382" y="196"/>
                      </a:lnTo>
                      <a:lnTo>
                        <a:pt x="384" y="194"/>
                      </a:lnTo>
                      <a:lnTo>
                        <a:pt x="386" y="194"/>
                      </a:lnTo>
                      <a:lnTo>
                        <a:pt x="384" y="194"/>
                      </a:lnTo>
                      <a:lnTo>
                        <a:pt x="386" y="178"/>
                      </a:lnTo>
                      <a:lnTo>
                        <a:pt x="388" y="174"/>
                      </a:lnTo>
                      <a:lnTo>
                        <a:pt x="388" y="172"/>
                      </a:lnTo>
                      <a:lnTo>
                        <a:pt x="386" y="170"/>
                      </a:lnTo>
                      <a:lnTo>
                        <a:pt x="382" y="170"/>
                      </a:lnTo>
                      <a:lnTo>
                        <a:pt x="380" y="170"/>
                      </a:lnTo>
                      <a:lnTo>
                        <a:pt x="378" y="168"/>
                      </a:lnTo>
                      <a:lnTo>
                        <a:pt x="378" y="166"/>
                      </a:lnTo>
                      <a:lnTo>
                        <a:pt x="368" y="162"/>
                      </a:lnTo>
                      <a:lnTo>
                        <a:pt x="366" y="162"/>
                      </a:lnTo>
                      <a:lnTo>
                        <a:pt x="364" y="164"/>
                      </a:lnTo>
                      <a:lnTo>
                        <a:pt x="360" y="164"/>
                      </a:lnTo>
                      <a:lnTo>
                        <a:pt x="358" y="164"/>
                      </a:lnTo>
                      <a:lnTo>
                        <a:pt x="344" y="150"/>
                      </a:lnTo>
                      <a:lnTo>
                        <a:pt x="342" y="150"/>
                      </a:lnTo>
                      <a:lnTo>
                        <a:pt x="340" y="150"/>
                      </a:lnTo>
                      <a:lnTo>
                        <a:pt x="340" y="148"/>
                      </a:lnTo>
                      <a:lnTo>
                        <a:pt x="338" y="148"/>
                      </a:lnTo>
                      <a:lnTo>
                        <a:pt x="336" y="148"/>
                      </a:lnTo>
                      <a:lnTo>
                        <a:pt x="328" y="140"/>
                      </a:lnTo>
                      <a:lnTo>
                        <a:pt x="326" y="140"/>
                      </a:lnTo>
                      <a:lnTo>
                        <a:pt x="326" y="138"/>
                      </a:lnTo>
                      <a:lnTo>
                        <a:pt x="324" y="138"/>
                      </a:lnTo>
                      <a:lnTo>
                        <a:pt x="322" y="138"/>
                      </a:lnTo>
                      <a:lnTo>
                        <a:pt x="322" y="140"/>
                      </a:lnTo>
                      <a:lnTo>
                        <a:pt x="320" y="138"/>
                      </a:lnTo>
                      <a:lnTo>
                        <a:pt x="318" y="138"/>
                      </a:lnTo>
                      <a:lnTo>
                        <a:pt x="316" y="136"/>
                      </a:lnTo>
                      <a:lnTo>
                        <a:pt x="308" y="130"/>
                      </a:lnTo>
                      <a:lnTo>
                        <a:pt x="306" y="128"/>
                      </a:lnTo>
                      <a:lnTo>
                        <a:pt x="304" y="124"/>
                      </a:lnTo>
                      <a:lnTo>
                        <a:pt x="286" y="112"/>
                      </a:lnTo>
                      <a:lnTo>
                        <a:pt x="276" y="104"/>
                      </a:lnTo>
                      <a:lnTo>
                        <a:pt x="272" y="100"/>
                      </a:lnTo>
                      <a:lnTo>
                        <a:pt x="270" y="86"/>
                      </a:lnTo>
                      <a:lnTo>
                        <a:pt x="268" y="84"/>
                      </a:lnTo>
                      <a:lnTo>
                        <a:pt x="264" y="80"/>
                      </a:lnTo>
                      <a:lnTo>
                        <a:pt x="260" y="70"/>
                      </a:lnTo>
                      <a:lnTo>
                        <a:pt x="260" y="66"/>
                      </a:lnTo>
                      <a:lnTo>
                        <a:pt x="258" y="62"/>
                      </a:lnTo>
                      <a:lnTo>
                        <a:pt x="252" y="56"/>
                      </a:lnTo>
                      <a:lnTo>
                        <a:pt x="250" y="56"/>
                      </a:lnTo>
                      <a:lnTo>
                        <a:pt x="246" y="54"/>
                      </a:lnTo>
                      <a:lnTo>
                        <a:pt x="244" y="56"/>
                      </a:lnTo>
                      <a:lnTo>
                        <a:pt x="244" y="58"/>
                      </a:lnTo>
                      <a:lnTo>
                        <a:pt x="242" y="60"/>
                      </a:lnTo>
                      <a:lnTo>
                        <a:pt x="240" y="60"/>
                      </a:lnTo>
                      <a:lnTo>
                        <a:pt x="238" y="58"/>
                      </a:lnTo>
                      <a:lnTo>
                        <a:pt x="234" y="58"/>
                      </a:lnTo>
                      <a:lnTo>
                        <a:pt x="232" y="56"/>
                      </a:lnTo>
                      <a:lnTo>
                        <a:pt x="224" y="56"/>
                      </a:lnTo>
                      <a:lnTo>
                        <a:pt x="220" y="58"/>
                      </a:lnTo>
                      <a:lnTo>
                        <a:pt x="218" y="58"/>
                      </a:lnTo>
                      <a:lnTo>
                        <a:pt x="218" y="56"/>
                      </a:lnTo>
                      <a:lnTo>
                        <a:pt x="216" y="54"/>
                      </a:lnTo>
                      <a:lnTo>
                        <a:pt x="214" y="54"/>
                      </a:lnTo>
                      <a:lnTo>
                        <a:pt x="212" y="54"/>
                      </a:lnTo>
                      <a:lnTo>
                        <a:pt x="210" y="52"/>
                      </a:lnTo>
                      <a:lnTo>
                        <a:pt x="210" y="50"/>
                      </a:lnTo>
                      <a:lnTo>
                        <a:pt x="208" y="50"/>
                      </a:lnTo>
                      <a:lnTo>
                        <a:pt x="210" y="46"/>
                      </a:lnTo>
                      <a:lnTo>
                        <a:pt x="210" y="44"/>
                      </a:lnTo>
                      <a:lnTo>
                        <a:pt x="210" y="42"/>
                      </a:lnTo>
                      <a:lnTo>
                        <a:pt x="208" y="40"/>
                      </a:lnTo>
                      <a:lnTo>
                        <a:pt x="208" y="38"/>
                      </a:lnTo>
                      <a:lnTo>
                        <a:pt x="210" y="36"/>
                      </a:lnTo>
                      <a:lnTo>
                        <a:pt x="212" y="36"/>
                      </a:lnTo>
                      <a:lnTo>
                        <a:pt x="212" y="38"/>
                      </a:lnTo>
                      <a:lnTo>
                        <a:pt x="214" y="38"/>
                      </a:lnTo>
                      <a:lnTo>
                        <a:pt x="214" y="36"/>
                      </a:lnTo>
                      <a:lnTo>
                        <a:pt x="210" y="34"/>
                      </a:lnTo>
                      <a:lnTo>
                        <a:pt x="210" y="32"/>
                      </a:lnTo>
                      <a:lnTo>
                        <a:pt x="208" y="28"/>
                      </a:lnTo>
                      <a:lnTo>
                        <a:pt x="206" y="22"/>
                      </a:lnTo>
                      <a:lnTo>
                        <a:pt x="204" y="18"/>
                      </a:lnTo>
                      <a:lnTo>
                        <a:pt x="198" y="18"/>
                      </a:lnTo>
                      <a:lnTo>
                        <a:pt x="196" y="18"/>
                      </a:lnTo>
                      <a:lnTo>
                        <a:pt x="194" y="18"/>
                      </a:lnTo>
                      <a:lnTo>
                        <a:pt x="192" y="18"/>
                      </a:lnTo>
                      <a:lnTo>
                        <a:pt x="190" y="18"/>
                      </a:lnTo>
                      <a:lnTo>
                        <a:pt x="188" y="16"/>
                      </a:lnTo>
                      <a:lnTo>
                        <a:pt x="186" y="16"/>
                      </a:lnTo>
                      <a:lnTo>
                        <a:pt x="186" y="12"/>
                      </a:lnTo>
                      <a:lnTo>
                        <a:pt x="182" y="10"/>
                      </a:lnTo>
                      <a:lnTo>
                        <a:pt x="180" y="10"/>
                      </a:lnTo>
                      <a:lnTo>
                        <a:pt x="178" y="10"/>
                      </a:lnTo>
                      <a:lnTo>
                        <a:pt x="176" y="6"/>
                      </a:lnTo>
                      <a:lnTo>
                        <a:pt x="174" y="6"/>
                      </a:lnTo>
                      <a:lnTo>
                        <a:pt x="172" y="4"/>
                      </a:lnTo>
                      <a:lnTo>
                        <a:pt x="168" y="0"/>
                      </a:lnTo>
                      <a:lnTo>
                        <a:pt x="168" y="2"/>
                      </a:lnTo>
                      <a:lnTo>
                        <a:pt x="168" y="4"/>
                      </a:lnTo>
                      <a:lnTo>
                        <a:pt x="166" y="6"/>
                      </a:lnTo>
                      <a:lnTo>
                        <a:pt x="164" y="6"/>
                      </a:lnTo>
                      <a:lnTo>
                        <a:pt x="164" y="4"/>
                      </a:lnTo>
                      <a:lnTo>
                        <a:pt x="162" y="4"/>
                      </a:lnTo>
                      <a:lnTo>
                        <a:pt x="160" y="4"/>
                      </a:lnTo>
                      <a:lnTo>
                        <a:pt x="158" y="4"/>
                      </a:lnTo>
                      <a:lnTo>
                        <a:pt x="156" y="6"/>
                      </a:lnTo>
                      <a:lnTo>
                        <a:pt x="158" y="8"/>
                      </a:lnTo>
                      <a:lnTo>
                        <a:pt x="160" y="8"/>
                      </a:lnTo>
                      <a:lnTo>
                        <a:pt x="166" y="18"/>
                      </a:lnTo>
                      <a:lnTo>
                        <a:pt x="164" y="18"/>
                      </a:lnTo>
                      <a:lnTo>
                        <a:pt x="164" y="14"/>
                      </a:lnTo>
                      <a:lnTo>
                        <a:pt x="162" y="14"/>
                      </a:lnTo>
                      <a:lnTo>
                        <a:pt x="160" y="12"/>
                      </a:lnTo>
                      <a:lnTo>
                        <a:pt x="158" y="12"/>
                      </a:lnTo>
                      <a:lnTo>
                        <a:pt x="154" y="10"/>
                      </a:lnTo>
                      <a:lnTo>
                        <a:pt x="152" y="10"/>
                      </a:lnTo>
                      <a:lnTo>
                        <a:pt x="150" y="12"/>
                      </a:lnTo>
                      <a:lnTo>
                        <a:pt x="150" y="20"/>
                      </a:lnTo>
                      <a:lnTo>
                        <a:pt x="146" y="22"/>
                      </a:lnTo>
                      <a:lnTo>
                        <a:pt x="142" y="24"/>
                      </a:lnTo>
                      <a:lnTo>
                        <a:pt x="140" y="24"/>
                      </a:lnTo>
                      <a:lnTo>
                        <a:pt x="134" y="24"/>
                      </a:lnTo>
                      <a:lnTo>
                        <a:pt x="132" y="24"/>
                      </a:lnTo>
                      <a:lnTo>
                        <a:pt x="130" y="26"/>
                      </a:lnTo>
                      <a:lnTo>
                        <a:pt x="130" y="28"/>
                      </a:lnTo>
                      <a:lnTo>
                        <a:pt x="128" y="30"/>
                      </a:lnTo>
                      <a:lnTo>
                        <a:pt x="126" y="32"/>
                      </a:lnTo>
                      <a:lnTo>
                        <a:pt x="124" y="32"/>
                      </a:lnTo>
                      <a:lnTo>
                        <a:pt x="124" y="34"/>
                      </a:lnTo>
                      <a:lnTo>
                        <a:pt x="126" y="50"/>
                      </a:lnTo>
                      <a:lnTo>
                        <a:pt x="126" y="52"/>
                      </a:lnTo>
                      <a:lnTo>
                        <a:pt x="128" y="52"/>
                      </a:lnTo>
                      <a:lnTo>
                        <a:pt x="128" y="54"/>
                      </a:lnTo>
                      <a:lnTo>
                        <a:pt x="126" y="56"/>
                      </a:lnTo>
                      <a:lnTo>
                        <a:pt x="122" y="56"/>
                      </a:lnTo>
                      <a:lnTo>
                        <a:pt x="120" y="54"/>
                      </a:lnTo>
                      <a:lnTo>
                        <a:pt x="118" y="54"/>
                      </a:lnTo>
                      <a:lnTo>
                        <a:pt x="116" y="56"/>
                      </a:lnTo>
                      <a:lnTo>
                        <a:pt x="114" y="56"/>
                      </a:lnTo>
                      <a:lnTo>
                        <a:pt x="112" y="54"/>
                      </a:lnTo>
                      <a:lnTo>
                        <a:pt x="94" y="54"/>
                      </a:lnTo>
                      <a:lnTo>
                        <a:pt x="92" y="56"/>
                      </a:lnTo>
                      <a:lnTo>
                        <a:pt x="84" y="5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1" name="Freeform 3419"/>
                <p:cNvSpPr>
                  <a:spLocks/>
                </p:cNvSpPr>
                <p:nvPr/>
              </p:nvSpPr>
              <p:spPr bwMode="auto">
                <a:xfrm>
                  <a:off x="1985663" y="1974213"/>
                  <a:ext cx="2323025" cy="1271638"/>
                </a:xfrm>
                <a:custGeom>
                  <a:avLst/>
                  <a:gdLst/>
                  <a:ahLst/>
                  <a:cxnLst>
                    <a:cxn ang="0">
                      <a:pos x="1090" y="262"/>
                    </a:cxn>
                    <a:cxn ang="0">
                      <a:pos x="1056" y="246"/>
                    </a:cxn>
                    <a:cxn ang="0">
                      <a:pos x="996" y="206"/>
                    </a:cxn>
                    <a:cxn ang="0">
                      <a:pos x="958" y="214"/>
                    </a:cxn>
                    <a:cxn ang="0">
                      <a:pos x="936" y="188"/>
                    </a:cxn>
                    <a:cxn ang="0">
                      <a:pos x="910" y="196"/>
                    </a:cxn>
                    <a:cxn ang="0">
                      <a:pos x="830" y="46"/>
                    </a:cxn>
                    <a:cxn ang="0">
                      <a:pos x="772" y="78"/>
                    </a:cxn>
                    <a:cxn ang="0">
                      <a:pos x="732" y="82"/>
                    </a:cxn>
                    <a:cxn ang="0">
                      <a:pos x="714" y="64"/>
                    </a:cxn>
                    <a:cxn ang="0">
                      <a:pos x="702" y="62"/>
                    </a:cxn>
                    <a:cxn ang="0">
                      <a:pos x="676" y="46"/>
                    </a:cxn>
                    <a:cxn ang="0">
                      <a:pos x="660" y="8"/>
                    </a:cxn>
                    <a:cxn ang="0">
                      <a:pos x="614" y="6"/>
                    </a:cxn>
                    <a:cxn ang="0">
                      <a:pos x="572" y="28"/>
                    </a:cxn>
                    <a:cxn ang="0">
                      <a:pos x="528" y="40"/>
                    </a:cxn>
                    <a:cxn ang="0">
                      <a:pos x="480" y="52"/>
                    </a:cxn>
                    <a:cxn ang="0">
                      <a:pos x="440" y="72"/>
                    </a:cxn>
                    <a:cxn ang="0">
                      <a:pos x="396" y="84"/>
                    </a:cxn>
                    <a:cxn ang="0">
                      <a:pos x="412" y="104"/>
                    </a:cxn>
                    <a:cxn ang="0">
                      <a:pos x="406" y="114"/>
                    </a:cxn>
                    <a:cxn ang="0">
                      <a:pos x="392" y="150"/>
                    </a:cxn>
                    <a:cxn ang="0">
                      <a:pos x="410" y="184"/>
                    </a:cxn>
                    <a:cxn ang="0">
                      <a:pos x="370" y="208"/>
                    </a:cxn>
                    <a:cxn ang="0">
                      <a:pos x="332" y="206"/>
                    </a:cxn>
                    <a:cxn ang="0">
                      <a:pos x="296" y="202"/>
                    </a:cxn>
                    <a:cxn ang="0">
                      <a:pos x="264" y="212"/>
                    </a:cxn>
                    <a:cxn ang="0">
                      <a:pos x="224" y="208"/>
                    </a:cxn>
                    <a:cxn ang="0">
                      <a:pos x="198" y="192"/>
                    </a:cxn>
                    <a:cxn ang="0">
                      <a:pos x="156" y="172"/>
                    </a:cxn>
                    <a:cxn ang="0">
                      <a:pos x="120" y="170"/>
                    </a:cxn>
                    <a:cxn ang="0">
                      <a:pos x="96" y="192"/>
                    </a:cxn>
                    <a:cxn ang="0">
                      <a:pos x="62" y="232"/>
                    </a:cxn>
                    <a:cxn ang="0">
                      <a:pos x="28" y="230"/>
                    </a:cxn>
                    <a:cxn ang="0">
                      <a:pos x="12" y="288"/>
                    </a:cxn>
                    <a:cxn ang="0">
                      <a:pos x="62" y="366"/>
                    </a:cxn>
                    <a:cxn ang="0">
                      <a:pos x="78" y="392"/>
                    </a:cxn>
                    <a:cxn ang="0">
                      <a:pos x="114" y="374"/>
                    </a:cxn>
                    <a:cxn ang="0">
                      <a:pos x="154" y="376"/>
                    </a:cxn>
                    <a:cxn ang="0">
                      <a:pos x="180" y="386"/>
                    </a:cxn>
                    <a:cxn ang="0">
                      <a:pos x="186" y="434"/>
                    </a:cxn>
                    <a:cxn ang="0">
                      <a:pos x="132" y="438"/>
                    </a:cxn>
                    <a:cxn ang="0">
                      <a:pos x="140" y="466"/>
                    </a:cxn>
                    <a:cxn ang="0">
                      <a:pos x="104" y="474"/>
                    </a:cxn>
                    <a:cxn ang="0">
                      <a:pos x="132" y="518"/>
                    </a:cxn>
                    <a:cxn ang="0">
                      <a:pos x="172" y="538"/>
                    </a:cxn>
                    <a:cxn ang="0">
                      <a:pos x="212" y="550"/>
                    </a:cxn>
                    <a:cxn ang="0">
                      <a:pos x="260" y="524"/>
                    </a:cxn>
                    <a:cxn ang="0">
                      <a:pos x="554" y="592"/>
                    </a:cxn>
                    <a:cxn ang="0">
                      <a:pos x="606" y="608"/>
                    </a:cxn>
                    <a:cxn ang="0">
                      <a:pos x="658" y="558"/>
                    </a:cxn>
                    <a:cxn ang="0">
                      <a:pos x="688" y="532"/>
                    </a:cxn>
                    <a:cxn ang="0">
                      <a:pos x="738" y="542"/>
                    </a:cxn>
                    <a:cxn ang="0">
                      <a:pos x="798" y="532"/>
                    </a:cxn>
                    <a:cxn ang="0">
                      <a:pos x="896" y="532"/>
                    </a:cxn>
                    <a:cxn ang="0">
                      <a:pos x="922" y="538"/>
                    </a:cxn>
                    <a:cxn ang="0">
                      <a:pos x="928" y="478"/>
                    </a:cxn>
                    <a:cxn ang="0">
                      <a:pos x="960" y="436"/>
                    </a:cxn>
                    <a:cxn ang="0">
                      <a:pos x="990" y="432"/>
                    </a:cxn>
                    <a:cxn ang="0">
                      <a:pos x="998" y="374"/>
                    </a:cxn>
                    <a:cxn ang="0">
                      <a:pos x="1032" y="370"/>
                    </a:cxn>
                    <a:cxn ang="0">
                      <a:pos x="1072" y="352"/>
                    </a:cxn>
                    <a:cxn ang="0">
                      <a:pos x="1090" y="308"/>
                    </a:cxn>
                  </a:cxnLst>
                  <a:rect l="0" t="0" r="r" b="b"/>
                  <a:pathLst>
                    <a:path w="1118" h="612">
                      <a:moveTo>
                        <a:pt x="1118" y="280"/>
                      </a:moveTo>
                      <a:lnTo>
                        <a:pt x="1116" y="278"/>
                      </a:lnTo>
                      <a:lnTo>
                        <a:pt x="1112" y="278"/>
                      </a:lnTo>
                      <a:lnTo>
                        <a:pt x="1110" y="276"/>
                      </a:lnTo>
                      <a:lnTo>
                        <a:pt x="1104" y="268"/>
                      </a:lnTo>
                      <a:lnTo>
                        <a:pt x="1104" y="266"/>
                      </a:lnTo>
                      <a:lnTo>
                        <a:pt x="1102" y="264"/>
                      </a:lnTo>
                      <a:lnTo>
                        <a:pt x="1100" y="264"/>
                      </a:lnTo>
                      <a:lnTo>
                        <a:pt x="1098" y="264"/>
                      </a:lnTo>
                      <a:lnTo>
                        <a:pt x="1098" y="262"/>
                      </a:lnTo>
                      <a:lnTo>
                        <a:pt x="1100" y="262"/>
                      </a:lnTo>
                      <a:lnTo>
                        <a:pt x="1100" y="260"/>
                      </a:lnTo>
                      <a:lnTo>
                        <a:pt x="1102" y="260"/>
                      </a:lnTo>
                      <a:lnTo>
                        <a:pt x="1104" y="258"/>
                      </a:lnTo>
                      <a:lnTo>
                        <a:pt x="1102" y="254"/>
                      </a:lnTo>
                      <a:lnTo>
                        <a:pt x="1098" y="254"/>
                      </a:lnTo>
                      <a:lnTo>
                        <a:pt x="1092" y="262"/>
                      </a:lnTo>
                      <a:lnTo>
                        <a:pt x="1090" y="262"/>
                      </a:lnTo>
                      <a:lnTo>
                        <a:pt x="1090" y="264"/>
                      </a:lnTo>
                      <a:lnTo>
                        <a:pt x="1088" y="266"/>
                      </a:lnTo>
                      <a:lnTo>
                        <a:pt x="1088" y="268"/>
                      </a:lnTo>
                      <a:lnTo>
                        <a:pt x="1086" y="268"/>
                      </a:lnTo>
                      <a:lnTo>
                        <a:pt x="1072" y="262"/>
                      </a:lnTo>
                      <a:lnTo>
                        <a:pt x="1070" y="264"/>
                      </a:lnTo>
                      <a:lnTo>
                        <a:pt x="1068" y="264"/>
                      </a:lnTo>
                      <a:lnTo>
                        <a:pt x="1066" y="262"/>
                      </a:lnTo>
                      <a:lnTo>
                        <a:pt x="1064" y="262"/>
                      </a:lnTo>
                      <a:lnTo>
                        <a:pt x="1064" y="264"/>
                      </a:lnTo>
                      <a:lnTo>
                        <a:pt x="1060" y="264"/>
                      </a:lnTo>
                      <a:lnTo>
                        <a:pt x="1060" y="260"/>
                      </a:lnTo>
                      <a:lnTo>
                        <a:pt x="1060" y="258"/>
                      </a:lnTo>
                      <a:lnTo>
                        <a:pt x="1056" y="250"/>
                      </a:lnTo>
                      <a:lnTo>
                        <a:pt x="1054" y="250"/>
                      </a:lnTo>
                      <a:lnTo>
                        <a:pt x="1054" y="248"/>
                      </a:lnTo>
                      <a:lnTo>
                        <a:pt x="1054" y="246"/>
                      </a:lnTo>
                      <a:lnTo>
                        <a:pt x="1056" y="246"/>
                      </a:lnTo>
                      <a:lnTo>
                        <a:pt x="1054" y="242"/>
                      </a:lnTo>
                      <a:lnTo>
                        <a:pt x="1042" y="236"/>
                      </a:lnTo>
                      <a:lnTo>
                        <a:pt x="1038" y="236"/>
                      </a:lnTo>
                      <a:lnTo>
                        <a:pt x="1034" y="234"/>
                      </a:lnTo>
                      <a:lnTo>
                        <a:pt x="1032" y="226"/>
                      </a:lnTo>
                      <a:lnTo>
                        <a:pt x="1032" y="220"/>
                      </a:lnTo>
                      <a:lnTo>
                        <a:pt x="1030" y="218"/>
                      </a:lnTo>
                      <a:lnTo>
                        <a:pt x="1028" y="216"/>
                      </a:lnTo>
                      <a:lnTo>
                        <a:pt x="1026" y="216"/>
                      </a:lnTo>
                      <a:lnTo>
                        <a:pt x="1026" y="212"/>
                      </a:lnTo>
                      <a:lnTo>
                        <a:pt x="1022" y="208"/>
                      </a:lnTo>
                      <a:lnTo>
                        <a:pt x="1012" y="204"/>
                      </a:lnTo>
                      <a:lnTo>
                        <a:pt x="1004" y="202"/>
                      </a:lnTo>
                      <a:lnTo>
                        <a:pt x="1002" y="204"/>
                      </a:lnTo>
                      <a:lnTo>
                        <a:pt x="1002" y="206"/>
                      </a:lnTo>
                      <a:lnTo>
                        <a:pt x="1000" y="208"/>
                      </a:lnTo>
                      <a:lnTo>
                        <a:pt x="998" y="208"/>
                      </a:lnTo>
                      <a:lnTo>
                        <a:pt x="996" y="206"/>
                      </a:lnTo>
                      <a:lnTo>
                        <a:pt x="994" y="206"/>
                      </a:lnTo>
                      <a:lnTo>
                        <a:pt x="992" y="208"/>
                      </a:lnTo>
                      <a:lnTo>
                        <a:pt x="992" y="210"/>
                      </a:lnTo>
                      <a:lnTo>
                        <a:pt x="990" y="212"/>
                      </a:lnTo>
                      <a:lnTo>
                        <a:pt x="988" y="214"/>
                      </a:lnTo>
                      <a:lnTo>
                        <a:pt x="986" y="214"/>
                      </a:lnTo>
                      <a:lnTo>
                        <a:pt x="984" y="214"/>
                      </a:lnTo>
                      <a:lnTo>
                        <a:pt x="982" y="212"/>
                      </a:lnTo>
                      <a:lnTo>
                        <a:pt x="980" y="214"/>
                      </a:lnTo>
                      <a:lnTo>
                        <a:pt x="978" y="216"/>
                      </a:lnTo>
                      <a:lnTo>
                        <a:pt x="976" y="216"/>
                      </a:lnTo>
                      <a:lnTo>
                        <a:pt x="974" y="214"/>
                      </a:lnTo>
                      <a:lnTo>
                        <a:pt x="972" y="212"/>
                      </a:lnTo>
                      <a:lnTo>
                        <a:pt x="970" y="212"/>
                      </a:lnTo>
                      <a:lnTo>
                        <a:pt x="964" y="214"/>
                      </a:lnTo>
                      <a:lnTo>
                        <a:pt x="962" y="214"/>
                      </a:lnTo>
                      <a:lnTo>
                        <a:pt x="960" y="214"/>
                      </a:lnTo>
                      <a:lnTo>
                        <a:pt x="958" y="214"/>
                      </a:lnTo>
                      <a:lnTo>
                        <a:pt x="956" y="212"/>
                      </a:lnTo>
                      <a:lnTo>
                        <a:pt x="958" y="210"/>
                      </a:lnTo>
                      <a:lnTo>
                        <a:pt x="958" y="208"/>
                      </a:lnTo>
                      <a:lnTo>
                        <a:pt x="956" y="204"/>
                      </a:lnTo>
                      <a:lnTo>
                        <a:pt x="952" y="204"/>
                      </a:lnTo>
                      <a:lnTo>
                        <a:pt x="950" y="204"/>
                      </a:lnTo>
                      <a:lnTo>
                        <a:pt x="946" y="204"/>
                      </a:lnTo>
                      <a:lnTo>
                        <a:pt x="948" y="204"/>
                      </a:lnTo>
                      <a:lnTo>
                        <a:pt x="948" y="202"/>
                      </a:lnTo>
                      <a:lnTo>
                        <a:pt x="948" y="200"/>
                      </a:lnTo>
                      <a:lnTo>
                        <a:pt x="948" y="198"/>
                      </a:lnTo>
                      <a:lnTo>
                        <a:pt x="950" y="198"/>
                      </a:lnTo>
                      <a:lnTo>
                        <a:pt x="950" y="196"/>
                      </a:lnTo>
                      <a:lnTo>
                        <a:pt x="950" y="194"/>
                      </a:lnTo>
                      <a:lnTo>
                        <a:pt x="948" y="194"/>
                      </a:lnTo>
                      <a:lnTo>
                        <a:pt x="946" y="194"/>
                      </a:lnTo>
                      <a:lnTo>
                        <a:pt x="938" y="188"/>
                      </a:lnTo>
                      <a:lnTo>
                        <a:pt x="936" y="188"/>
                      </a:lnTo>
                      <a:lnTo>
                        <a:pt x="936" y="190"/>
                      </a:lnTo>
                      <a:lnTo>
                        <a:pt x="934" y="192"/>
                      </a:lnTo>
                      <a:lnTo>
                        <a:pt x="932" y="192"/>
                      </a:lnTo>
                      <a:lnTo>
                        <a:pt x="930" y="194"/>
                      </a:lnTo>
                      <a:lnTo>
                        <a:pt x="930" y="198"/>
                      </a:lnTo>
                      <a:lnTo>
                        <a:pt x="932" y="200"/>
                      </a:lnTo>
                      <a:lnTo>
                        <a:pt x="932" y="202"/>
                      </a:lnTo>
                      <a:lnTo>
                        <a:pt x="930" y="202"/>
                      </a:lnTo>
                      <a:lnTo>
                        <a:pt x="930" y="204"/>
                      </a:lnTo>
                      <a:lnTo>
                        <a:pt x="928" y="206"/>
                      </a:lnTo>
                      <a:lnTo>
                        <a:pt x="926" y="206"/>
                      </a:lnTo>
                      <a:lnTo>
                        <a:pt x="920" y="210"/>
                      </a:lnTo>
                      <a:lnTo>
                        <a:pt x="920" y="212"/>
                      </a:lnTo>
                      <a:lnTo>
                        <a:pt x="918" y="212"/>
                      </a:lnTo>
                      <a:lnTo>
                        <a:pt x="918" y="210"/>
                      </a:lnTo>
                      <a:lnTo>
                        <a:pt x="916" y="210"/>
                      </a:lnTo>
                      <a:lnTo>
                        <a:pt x="916" y="208"/>
                      </a:lnTo>
                      <a:lnTo>
                        <a:pt x="910" y="196"/>
                      </a:lnTo>
                      <a:lnTo>
                        <a:pt x="900" y="174"/>
                      </a:lnTo>
                      <a:lnTo>
                        <a:pt x="864" y="110"/>
                      </a:lnTo>
                      <a:lnTo>
                        <a:pt x="862" y="102"/>
                      </a:lnTo>
                      <a:lnTo>
                        <a:pt x="860" y="100"/>
                      </a:lnTo>
                      <a:lnTo>
                        <a:pt x="850" y="92"/>
                      </a:lnTo>
                      <a:lnTo>
                        <a:pt x="850" y="90"/>
                      </a:lnTo>
                      <a:lnTo>
                        <a:pt x="822" y="70"/>
                      </a:lnTo>
                      <a:lnTo>
                        <a:pt x="822" y="68"/>
                      </a:lnTo>
                      <a:lnTo>
                        <a:pt x="820" y="62"/>
                      </a:lnTo>
                      <a:lnTo>
                        <a:pt x="820" y="60"/>
                      </a:lnTo>
                      <a:lnTo>
                        <a:pt x="824" y="60"/>
                      </a:lnTo>
                      <a:lnTo>
                        <a:pt x="826" y="60"/>
                      </a:lnTo>
                      <a:lnTo>
                        <a:pt x="826" y="62"/>
                      </a:lnTo>
                      <a:lnTo>
                        <a:pt x="826" y="60"/>
                      </a:lnTo>
                      <a:lnTo>
                        <a:pt x="828" y="60"/>
                      </a:lnTo>
                      <a:lnTo>
                        <a:pt x="830" y="58"/>
                      </a:lnTo>
                      <a:lnTo>
                        <a:pt x="832" y="52"/>
                      </a:lnTo>
                      <a:lnTo>
                        <a:pt x="830" y="46"/>
                      </a:lnTo>
                      <a:lnTo>
                        <a:pt x="826" y="46"/>
                      </a:lnTo>
                      <a:lnTo>
                        <a:pt x="826" y="48"/>
                      </a:lnTo>
                      <a:lnTo>
                        <a:pt x="826" y="50"/>
                      </a:lnTo>
                      <a:lnTo>
                        <a:pt x="822" y="52"/>
                      </a:lnTo>
                      <a:lnTo>
                        <a:pt x="818" y="52"/>
                      </a:lnTo>
                      <a:lnTo>
                        <a:pt x="814" y="52"/>
                      </a:lnTo>
                      <a:lnTo>
                        <a:pt x="814" y="54"/>
                      </a:lnTo>
                      <a:lnTo>
                        <a:pt x="814" y="56"/>
                      </a:lnTo>
                      <a:lnTo>
                        <a:pt x="798" y="64"/>
                      </a:lnTo>
                      <a:lnTo>
                        <a:pt x="796" y="64"/>
                      </a:lnTo>
                      <a:lnTo>
                        <a:pt x="794" y="62"/>
                      </a:lnTo>
                      <a:lnTo>
                        <a:pt x="792" y="64"/>
                      </a:lnTo>
                      <a:lnTo>
                        <a:pt x="794" y="68"/>
                      </a:lnTo>
                      <a:lnTo>
                        <a:pt x="792" y="70"/>
                      </a:lnTo>
                      <a:lnTo>
                        <a:pt x="782" y="76"/>
                      </a:lnTo>
                      <a:lnTo>
                        <a:pt x="780" y="76"/>
                      </a:lnTo>
                      <a:lnTo>
                        <a:pt x="774" y="76"/>
                      </a:lnTo>
                      <a:lnTo>
                        <a:pt x="772" y="78"/>
                      </a:lnTo>
                      <a:lnTo>
                        <a:pt x="772" y="82"/>
                      </a:lnTo>
                      <a:lnTo>
                        <a:pt x="766" y="82"/>
                      </a:lnTo>
                      <a:lnTo>
                        <a:pt x="766" y="86"/>
                      </a:lnTo>
                      <a:lnTo>
                        <a:pt x="766" y="88"/>
                      </a:lnTo>
                      <a:lnTo>
                        <a:pt x="766" y="92"/>
                      </a:lnTo>
                      <a:lnTo>
                        <a:pt x="764" y="92"/>
                      </a:lnTo>
                      <a:lnTo>
                        <a:pt x="762" y="90"/>
                      </a:lnTo>
                      <a:lnTo>
                        <a:pt x="760" y="88"/>
                      </a:lnTo>
                      <a:lnTo>
                        <a:pt x="760" y="86"/>
                      </a:lnTo>
                      <a:lnTo>
                        <a:pt x="750" y="84"/>
                      </a:lnTo>
                      <a:lnTo>
                        <a:pt x="748" y="86"/>
                      </a:lnTo>
                      <a:lnTo>
                        <a:pt x="744" y="86"/>
                      </a:lnTo>
                      <a:lnTo>
                        <a:pt x="738" y="94"/>
                      </a:lnTo>
                      <a:lnTo>
                        <a:pt x="736" y="92"/>
                      </a:lnTo>
                      <a:lnTo>
                        <a:pt x="738" y="90"/>
                      </a:lnTo>
                      <a:lnTo>
                        <a:pt x="734" y="88"/>
                      </a:lnTo>
                      <a:lnTo>
                        <a:pt x="732" y="88"/>
                      </a:lnTo>
                      <a:lnTo>
                        <a:pt x="732" y="82"/>
                      </a:lnTo>
                      <a:lnTo>
                        <a:pt x="734" y="82"/>
                      </a:lnTo>
                      <a:lnTo>
                        <a:pt x="736" y="78"/>
                      </a:lnTo>
                      <a:lnTo>
                        <a:pt x="738" y="74"/>
                      </a:lnTo>
                      <a:lnTo>
                        <a:pt x="744" y="74"/>
                      </a:lnTo>
                      <a:lnTo>
                        <a:pt x="746" y="74"/>
                      </a:lnTo>
                      <a:lnTo>
                        <a:pt x="746" y="64"/>
                      </a:lnTo>
                      <a:lnTo>
                        <a:pt x="744" y="64"/>
                      </a:lnTo>
                      <a:lnTo>
                        <a:pt x="742" y="64"/>
                      </a:lnTo>
                      <a:lnTo>
                        <a:pt x="740" y="66"/>
                      </a:lnTo>
                      <a:lnTo>
                        <a:pt x="740" y="70"/>
                      </a:lnTo>
                      <a:lnTo>
                        <a:pt x="734" y="70"/>
                      </a:lnTo>
                      <a:lnTo>
                        <a:pt x="728" y="68"/>
                      </a:lnTo>
                      <a:lnTo>
                        <a:pt x="726" y="64"/>
                      </a:lnTo>
                      <a:lnTo>
                        <a:pt x="726" y="62"/>
                      </a:lnTo>
                      <a:lnTo>
                        <a:pt x="722" y="62"/>
                      </a:lnTo>
                      <a:lnTo>
                        <a:pt x="714" y="60"/>
                      </a:lnTo>
                      <a:lnTo>
                        <a:pt x="714" y="62"/>
                      </a:lnTo>
                      <a:lnTo>
                        <a:pt x="714" y="64"/>
                      </a:lnTo>
                      <a:lnTo>
                        <a:pt x="716" y="64"/>
                      </a:lnTo>
                      <a:lnTo>
                        <a:pt x="718" y="66"/>
                      </a:lnTo>
                      <a:lnTo>
                        <a:pt x="718" y="68"/>
                      </a:lnTo>
                      <a:lnTo>
                        <a:pt x="718" y="70"/>
                      </a:lnTo>
                      <a:lnTo>
                        <a:pt x="714" y="70"/>
                      </a:lnTo>
                      <a:lnTo>
                        <a:pt x="712" y="72"/>
                      </a:lnTo>
                      <a:lnTo>
                        <a:pt x="710" y="72"/>
                      </a:lnTo>
                      <a:lnTo>
                        <a:pt x="710" y="70"/>
                      </a:lnTo>
                      <a:lnTo>
                        <a:pt x="712" y="60"/>
                      </a:lnTo>
                      <a:lnTo>
                        <a:pt x="708" y="58"/>
                      </a:lnTo>
                      <a:lnTo>
                        <a:pt x="708" y="56"/>
                      </a:lnTo>
                      <a:lnTo>
                        <a:pt x="704" y="50"/>
                      </a:lnTo>
                      <a:lnTo>
                        <a:pt x="700" y="50"/>
                      </a:lnTo>
                      <a:lnTo>
                        <a:pt x="702" y="56"/>
                      </a:lnTo>
                      <a:lnTo>
                        <a:pt x="704" y="58"/>
                      </a:lnTo>
                      <a:lnTo>
                        <a:pt x="704" y="60"/>
                      </a:lnTo>
                      <a:lnTo>
                        <a:pt x="704" y="62"/>
                      </a:lnTo>
                      <a:lnTo>
                        <a:pt x="702" y="62"/>
                      </a:lnTo>
                      <a:lnTo>
                        <a:pt x="700" y="58"/>
                      </a:lnTo>
                      <a:lnTo>
                        <a:pt x="696" y="56"/>
                      </a:lnTo>
                      <a:lnTo>
                        <a:pt x="692" y="56"/>
                      </a:lnTo>
                      <a:lnTo>
                        <a:pt x="692" y="58"/>
                      </a:lnTo>
                      <a:lnTo>
                        <a:pt x="692" y="60"/>
                      </a:lnTo>
                      <a:lnTo>
                        <a:pt x="692" y="62"/>
                      </a:lnTo>
                      <a:lnTo>
                        <a:pt x="690" y="62"/>
                      </a:lnTo>
                      <a:lnTo>
                        <a:pt x="686" y="62"/>
                      </a:lnTo>
                      <a:lnTo>
                        <a:pt x="684" y="58"/>
                      </a:lnTo>
                      <a:lnTo>
                        <a:pt x="680" y="58"/>
                      </a:lnTo>
                      <a:lnTo>
                        <a:pt x="676" y="64"/>
                      </a:lnTo>
                      <a:lnTo>
                        <a:pt x="674" y="58"/>
                      </a:lnTo>
                      <a:lnTo>
                        <a:pt x="674" y="54"/>
                      </a:lnTo>
                      <a:lnTo>
                        <a:pt x="672" y="54"/>
                      </a:lnTo>
                      <a:lnTo>
                        <a:pt x="672" y="52"/>
                      </a:lnTo>
                      <a:lnTo>
                        <a:pt x="674" y="52"/>
                      </a:lnTo>
                      <a:lnTo>
                        <a:pt x="678" y="52"/>
                      </a:lnTo>
                      <a:lnTo>
                        <a:pt x="676" y="46"/>
                      </a:lnTo>
                      <a:lnTo>
                        <a:pt x="676" y="44"/>
                      </a:lnTo>
                      <a:lnTo>
                        <a:pt x="676" y="40"/>
                      </a:lnTo>
                      <a:lnTo>
                        <a:pt x="676" y="38"/>
                      </a:lnTo>
                      <a:lnTo>
                        <a:pt x="678" y="38"/>
                      </a:lnTo>
                      <a:lnTo>
                        <a:pt x="680" y="38"/>
                      </a:lnTo>
                      <a:lnTo>
                        <a:pt x="680" y="34"/>
                      </a:lnTo>
                      <a:lnTo>
                        <a:pt x="678" y="34"/>
                      </a:lnTo>
                      <a:lnTo>
                        <a:pt x="674" y="34"/>
                      </a:lnTo>
                      <a:lnTo>
                        <a:pt x="672" y="30"/>
                      </a:lnTo>
                      <a:lnTo>
                        <a:pt x="670" y="20"/>
                      </a:lnTo>
                      <a:lnTo>
                        <a:pt x="672" y="20"/>
                      </a:lnTo>
                      <a:lnTo>
                        <a:pt x="672" y="16"/>
                      </a:lnTo>
                      <a:lnTo>
                        <a:pt x="666" y="10"/>
                      </a:lnTo>
                      <a:lnTo>
                        <a:pt x="666" y="8"/>
                      </a:lnTo>
                      <a:lnTo>
                        <a:pt x="668" y="6"/>
                      </a:lnTo>
                      <a:lnTo>
                        <a:pt x="666" y="6"/>
                      </a:lnTo>
                      <a:lnTo>
                        <a:pt x="662" y="6"/>
                      </a:lnTo>
                      <a:lnTo>
                        <a:pt x="660" y="8"/>
                      </a:lnTo>
                      <a:lnTo>
                        <a:pt x="658" y="8"/>
                      </a:lnTo>
                      <a:lnTo>
                        <a:pt x="656" y="6"/>
                      </a:lnTo>
                      <a:lnTo>
                        <a:pt x="650" y="14"/>
                      </a:lnTo>
                      <a:lnTo>
                        <a:pt x="644" y="10"/>
                      </a:lnTo>
                      <a:lnTo>
                        <a:pt x="642" y="10"/>
                      </a:lnTo>
                      <a:lnTo>
                        <a:pt x="640" y="8"/>
                      </a:lnTo>
                      <a:lnTo>
                        <a:pt x="634" y="4"/>
                      </a:lnTo>
                      <a:lnTo>
                        <a:pt x="630" y="4"/>
                      </a:lnTo>
                      <a:lnTo>
                        <a:pt x="626" y="2"/>
                      </a:lnTo>
                      <a:lnTo>
                        <a:pt x="622" y="4"/>
                      </a:lnTo>
                      <a:lnTo>
                        <a:pt x="622" y="2"/>
                      </a:lnTo>
                      <a:lnTo>
                        <a:pt x="618" y="0"/>
                      </a:lnTo>
                      <a:lnTo>
                        <a:pt x="616" y="0"/>
                      </a:lnTo>
                      <a:lnTo>
                        <a:pt x="614" y="0"/>
                      </a:lnTo>
                      <a:lnTo>
                        <a:pt x="616" y="2"/>
                      </a:lnTo>
                      <a:lnTo>
                        <a:pt x="616" y="4"/>
                      </a:lnTo>
                      <a:lnTo>
                        <a:pt x="616" y="6"/>
                      </a:lnTo>
                      <a:lnTo>
                        <a:pt x="614" y="6"/>
                      </a:lnTo>
                      <a:lnTo>
                        <a:pt x="612" y="4"/>
                      </a:lnTo>
                      <a:lnTo>
                        <a:pt x="610" y="4"/>
                      </a:lnTo>
                      <a:lnTo>
                        <a:pt x="610" y="2"/>
                      </a:lnTo>
                      <a:lnTo>
                        <a:pt x="606" y="10"/>
                      </a:lnTo>
                      <a:lnTo>
                        <a:pt x="596" y="10"/>
                      </a:lnTo>
                      <a:lnTo>
                        <a:pt x="596" y="12"/>
                      </a:lnTo>
                      <a:lnTo>
                        <a:pt x="594" y="12"/>
                      </a:lnTo>
                      <a:lnTo>
                        <a:pt x="596" y="14"/>
                      </a:lnTo>
                      <a:lnTo>
                        <a:pt x="598" y="16"/>
                      </a:lnTo>
                      <a:lnTo>
                        <a:pt x="594" y="22"/>
                      </a:lnTo>
                      <a:lnTo>
                        <a:pt x="590" y="22"/>
                      </a:lnTo>
                      <a:lnTo>
                        <a:pt x="588" y="22"/>
                      </a:lnTo>
                      <a:lnTo>
                        <a:pt x="586" y="22"/>
                      </a:lnTo>
                      <a:lnTo>
                        <a:pt x="584" y="22"/>
                      </a:lnTo>
                      <a:lnTo>
                        <a:pt x="584" y="24"/>
                      </a:lnTo>
                      <a:lnTo>
                        <a:pt x="582" y="26"/>
                      </a:lnTo>
                      <a:lnTo>
                        <a:pt x="578" y="28"/>
                      </a:lnTo>
                      <a:lnTo>
                        <a:pt x="572" y="28"/>
                      </a:lnTo>
                      <a:lnTo>
                        <a:pt x="570" y="26"/>
                      </a:lnTo>
                      <a:lnTo>
                        <a:pt x="570" y="28"/>
                      </a:lnTo>
                      <a:lnTo>
                        <a:pt x="568" y="28"/>
                      </a:lnTo>
                      <a:lnTo>
                        <a:pt x="568" y="30"/>
                      </a:lnTo>
                      <a:lnTo>
                        <a:pt x="562" y="32"/>
                      </a:lnTo>
                      <a:lnTo>
                        <a:pt x="556" y="32"/>
                      </a:lnTo>
                      <a:lnTo>
                        <a:pt x="556" y="34"/>
                      </a:lnTo>
                      <a:lnTo>
                        <a:pt x="548" y="34"/>
                      </a:lnTo>
                      <a:lnTo>
                        <a:pt x="546" y="34"/>
                      </a:lnTo>
                      <a:lnTo>
                        <a:pt x="544" y="36"/>
                      </a:lnTo>
                      <a:lnTo>
                        <a:pt x="542" y="36"/>
                      </a:lnTo>
                      <a:lnTo>
                        <a:pt x="540" y="36"/>
                      </a:lnTo>
                      <a:lnTo>
                        <a:pt x="534" y="38"/>
                      </a:lnTo>
                      <a:lnTo>
                        <a:pt x="534" y="34"/>
                      </a:lnTo>
                      <a:lnTo>
                        <a:pt x="530" y="36"/>
                      </a:lnTo>
                      <a:lnTo>
                        <a:pt x="530" y="38"/>
                      </a:lnTo>
                      <a:lnTo>
                        <a:pt x="528" y="38"/>
                      </a:lnTo>
                      <a:lnTo>
                        <a:pt x="528" y="40"/>
                      </a:lnTo>
                      <a:lnTo>
                        <a:pt x="526" y="38"/>
                      </a:lnTo>
                      <a:lnTo>
                        <a:pt x="522" y="38"/>
                      </a:lnTo>
                      <a:lnTo>
                        <a:pt x="514" y="42"/>
                      </a:lnTo>
                      <a:lnTo>
                        <a:pt x="512" y="46"/>
                      </a:lnTo>
                      <a:lnTo>
                        <a:pt x="514" y="48"/>
                      </a:lnTo>
                      <a:lnTo>
                        <a:pt x="514" y="52"/>
                      </a:lnTo>
                      <a:lnTo>
                        <a:pt x="510" y="52"/>
                      </a:lnTo>
                      <a:lnTo>
                        <a:pt x="508" y="50"/>
                      </a:lnTo>
                      <a:lnTo>
                        <a:pt x="508" y="48"/>
                      </a:lnTo>
                      <a:lnTo>
                        <a:pt x="504" y="48"/>
                      </a:lnTo>
                      <a:lnTo>
                        <a:pt x="502" y="50"/>
                      </a:lnTo>
                      <a:lnTo>
                        <a:pt x="500" y="52"/>
                      </a:lnTo>
                      <a:lnTo>
                        <a:pt x="494" y="50"/>
                      </a:lnTo>
                      <a:lnTo>
                        <a:pt x="492" y="52"/>
                      </a:lnTo>
                      <a:lnTo>
                        <a:pt x="490" y="52"/>
                      </a:lnTo>
                      <a:lnTo>
                        <a:pt x="488" y="52"/>
                      </a:lnTo>
                      <a:lnTo>
                        <a:pt x="486" y="52"/>
                      </a:lnTo>
                      <a:lnTo>
                        <a:pt x="480" y="52"/>
                      </a:lnTo>
                      <a:lnTo>
                        <a:pt x="480" y="54"/>
                      </a:lnTo>
                      <a:lnTo>
                        <a:pt x="480" y="56"/>
                      </a:lnTo>
                      <a:lnTo>
                        <a:pt x="480" y="58"/>
                      </a:lnTo>
                      <a:lnTo>
                        <a:pt x="476" y="58"/>
                      </a:lnTo>
                      <a:lnTo>
                        <a:pt x="474" y="58"/>
                      </a:lnTo>
                      <a:lnTo>
                        <a:pt x="474" y="56"/>
                      </a:lnTo>
                      <a:lnTo>
                        <a:pt x="472" y="56"/>
                      </a:lnTo>
                      <a:lnTo>
                        <a:pt x="464" y="60"/>
                      </a:lnTo>
                      <a:lnTo>
                        <a:pt x="462" y="60"/>
                      </a:lnTo>
                      <a:lnTo>
                        <a:pt x="462" y="58"/>
                      </a:lnTo>
                      <a:lnTo>
                        <a:pt x="456" y="58"/>
                      </a:lnTo>
                      <a:lnTo>
                        <a:pt x="456" y="60"/>
                      </a:lnTo>
                      <a:lnTo>
                        <a:pt x="456" y="62"/>
                      </a:lnTo>
                      <a:lnTo>
                        <a:pt x="456" y="64"/>
                      </a:lnTo>
                      <a:lnTo>
                        <a:pt x="450" y="64"/>
                      </a:lnTo>
                      <a:lnTo>
                        <a:pt x="442" y="64"/>
                      </a:lnTo>
                      <a:lnTo>
                        <a:pt x="440" y="66"/>
                      </a:lnTo>
                      <a:lnTo>
                        <a:pt x="440" y="72"/>
                      </a:lnTo>
                      <a:lnTo>
                        <a:pt x="440" y="74"/>
                      </a:lnTo>
                      <a:lnTo>
                        <a:pt x="436" y="70"/>
                      </a:lnTo>
                      <a:lnTo>
                        <a:pt x="434" y="66"/>
                      </a:lnTo>
                      <a:lnTo>
                        <a:pt x="426" y="66"/>
                      </a:lnTo>
                      <a:lnTo>
                        <a:pt x="426" y="70"/>
                      </a:lnTo>
                      <a:lnTo>
                        <a:pt x="422" y="70"/>
                      </a:lnTo>
                      <a:lnTo>
                        <a:pt x="420" y="68"/>
                      </a:lnTo>
                      <a:lnTo>
                        <a:pt x="414" y="68"/>
                      </a:lnTo>
                      <a:lnTo>
                        <a:pt x="410" y="66"/>
                      </a:lnTo>
                      <a:lnTo>
                        <a:pt x="410" y="64"/>
                      </a:lnTo>
                      <a:lnTo>
                        <a:pt x="406" y="64"/>
                      </a:lnTo>
                      <a:lnTo>
                        <a:pt x="398" y="70"/>
                      </a:lnTo>
                      <a:lnTo>
                        <a:pt x="398" y="72"/>
                      </a:lnTo>
                      <a:lnTo>
                        <a:pt x="400" y="72"/>
                      </a:lnTo>
                      <a:lnTo>
                        <a:pt x="404" y="76"/>
                      </a:lnTo>
                      <a:lnTo>
                        <a:pt x="398" y="84"/>
                      </a:lnTo>
                      <a:lnTo>
                        <a:pt x="396" y="82"/>
                      </a:lnTo>
                      <a:lnTo>
                        <a:pt x="396" y="84"/>
                      </a:lnTo>
                      <a:lnTo>
                        <a:pt x="396" y="86"/>
                      </a:lnTo>
                      <a:lnTo>
                        <a:pt x="400" y="86"/>
                      </a:lnTo>
                      <a:lnTo>
                        <a:pt x="402" y="88"/>
                      </a:lnTo>
                      <a:lnTo>
                        <a:pt x="406" y="88"/>
                      </a:lnTo>
                      <a:lnTo>
                        <a:pt x="408" y="86"/>
                      </a:lnTo>
                      <a:lnTo>
                        <a:pt x="412" y="86"/>
                      </a:lnTo>
                      <a:lnTo>
                        <a:pt x="414" y="90"/>
                      </a:lnTo>
                      <a:lnTo>
                        <a:pt x="410" y="94"/>
                      </a:lnTo>
                      <a:lnTo>
                        <a:pt x="408" y="94"/>
                      </a:lnTo>
                      <a:lnTo>
                        <a:pt x="408" y="92"/>
                      </a:lnTo>
                      <a:lnTo>
                        <a:pt x="406" y="90"/>
                      </a:lnTo>
                      <a:lnTo>
                        <a:pt x="404" y="90"/>
                      </a:lnTo>
                      <a:lnTo>
                        <a:pt x="402" y="96"/>
                      </a:lnTo>
                      <a:lnTo>
                        <a:pt x="402" y="98"/>
                      </a:lnTo>
                      <a:lnTo>
                        <a:pt x="404" y="100"/>
                      </a:lnTo>
                      <a:lnTo>
                        <a:pt x="408" y="100"/>
                      </a:lnTo>
                      <a:lnTo>
                        <a:pt x="410" y="104"/>
                      </a:lnTo>
                      <a:lnTo>
                        <a:pt x="412" y="104"/>
                      </a:lnTo>
                      <a:lnTo>
                        <a:pt x="414" y="104"/>
                      </a:lnTo>
                      <a:lnTo>
                        <a:pt x="418" y="104"/>
                      </a:lnTo>
                      <a:lnTo>
                        <a:pt x="420" y="104"/>
                      </a:lnTo>
                      <a:lnTo>
                        <a:pt x="420" y="106"/>
                      </a:lnTo>
                      <a:lnTo>
                        <a:pt x="422" y="106"/>
                      </a:lnTo>
                      <a:lnTo>
                        <a:pt x="426" y="108"/>
                      </a:lnTo>
                      <a:lnTo>
                        <a:pt x="428" y="108"/>
                      </a:lnTo>
                      <a:lnTo>
                        <a:pt x="428" y="110"/>
                      </a:lnTo>
                      <a:lnTo>
                        <a:pt x="428" y="112"/>
                      </a:lnTo>
                      <a:lnTo>
                        <a:pt x="428" y="114"/>
                      </a:lnTo>
                      <a:lnTo>
                        <a:pt x="424" y="116"/>
                      </a:lnTo>
                      <a:lnTo>
                        <a:pt x="422" y="116"/>
                      </a:lnTo>
                      <a:lnTo>
                        <a:pt x="422" y="114"/>
                      </a:lnTo>
                      <a:lnTo>
                        <a:pt x="416" y="114"/>
                      </a:lnTo>
                      <a:lnTo>
                        <a:pt x="410" y="112"/>
                      </a:lnTo>
                      <a:lnTo>
                        <a:pt x="410" y="114"/>
                      </a:lnTo>
                      <a:lnTo>
                        <a:pt x="408" y="114"/>
                      </a:lnTo>
                      <a:lnTo>
                        <a:pt x="406" y="114"/>
                      </a:lnTo>
                      <a:lnTo>
                        <a:pt x="404" y="114"/>
                      </a:lnTo>
                      <a:lnTo>
                        <a:pt x="404" y="112"/>
                      </a:lnTo>
                      <a:lnTo>
                        <a:pt x="402" y="112"/>
                      </a:lnTo>
                      <a:lnTo>
                        <a:pt x="400" y="114"/>
                      </a:lnTo>
                      <a:lnTo>
                        <a:pt x="400" y="116"/>
                      </a:lnTo>
                      <a:lnTo>
                        <a:pt x="390" y="124"/>
                      </a:lnTo>
                      <a:lnTo>
                        <a:pt x="390" y="126"/>
                      </a:lnTo>
                      <a:lnTo>
                        <a:pt x="390" y="128"/>
                      </a:lnTo>
                      <a:lnTo>
                        <a:pt x="390" y="130"/>
                      </a:lnTo>
                      <a:lnTo>
                        <a:pt x="392" y="130"/>
                      </a:lnTo>
                      <a:lnTo>
                        <a:pt x="392" y="134"/>
                      </a:lnTo>
                      <a:lnTo>
                        <a:pt x="398" y="136"/>
                      </a:lnTo>
                      <a:lnTo>
                        <a:pt x="398" y="140"/>
                      </a:lnTo>
                      <a:lnTo>
                        <a:pt x="400" y="144"/>
                      </a:lnTo>
                      <a:lnTo>
                        <a:pt x="396" y="146"/>
                      </a:lnTo>
                      <a:lnTo>
                        <a:pt x="394" y="146"/>
                      </a:lnTo>
                      <a:lnTo>
                        <a:pt x="392" y="148"/>
                      </a:lnTo>
                      <a:lnTo>
                        <a:pt x="392" y="150"/>
                      </a:lnTo>
                      <a:lnTo>
                        <a:pt x="390" y="152"/>
                      </a:lnTo>
                      <a:lnTo>
                        <a:pt x="386" y="152"/>
                      </a:lnTo>
                      <a:lnTo>
                        <a:pt x="384" y="152"/>
                      </a:lnTo>
                      <a:lnTo>
                        <a:pt x="382" y="152"/>
                      </a:lnTo>
                      <a:lnTo>
                        <a:pt x="376" y="158"/>
                      </a:lnTo>
                      <a:lnTo>
                        <a:pt x="370" y="158"/>
                      </a:lnTo>
                      <a:lnTo>
                        <a:pt x="372" y="164"/>
                      </a:lnTo>
                      <a:lnTo>
                        <a:pt x="374" y="164"/>
                      </a:lnTo>
                      <a:lnTo>
                        <a:pt x="376" y="164"/>
                      </a:lnTo>
                      <a:lnTo>
                        <a:pt x="382" y="166"/>
                      </a:lnTo>
                      <a:lnTo>
                        <a:pt x="384" y="168"/>
                      </a:lnTo>
                      <a:lnTo>
                        <a:pt x="380" y="172"/>
                      </a:lnTo>
                      <a:lnTo>
                        <a:pt x="386" y="176"/>
                      </a:lnTo>
                      <a:lnTo>
                        <a:pt x="396" y="176"/>
                      </a:lnTo>
                      <a:lnTo>
                        <a:pt x="398" y="180"/>
                      </a:lnTo>
                      <a:lnTo>
                        <a:pt x="398" y="182"/>
                      </a:lnTo>
                      <a:lnTo>
                        <a:pt x="402" y="182"/>
                      </a:lnTo>
                      <a:lnTo>
                        <a:pt x="410" y="184"/>
                      </a:lnTo>
                      <a:lnTo>
                        <a:pt x="414" y="188"/>
                      </a:lnTo>
                      <a:lnTo>
                        <a:pt x="416" y="190"/>
                      </a:lnTo>
                      <a:lnTo>
                        <a:pt x="416" y="192"/>
                      </a:lnTo>
                      <a:lnTo>
                        <a:pt x="414" y="192"/>
                      </a:lnTo>
                      <a:lnTo>
                        <a:pt x="412" y="192"/>
                      </a:lnTo>
                      <a:lnTo>
                        <a:pt x="410" y="212"/>
                      </a:lnTo>
                      <a:lnTo>
                        <a:pt x="406" y="212"/>
                      </a:lnTo>
                      <a:lnTo>
                        <a:pt x="402" y="214"/>
                      </a:lnTo>
                      <a:lnTo>
                        <a:pt x="400" y="214"/>
                      </a:lnTo>
                      <a:lnTo>
                        <a:pt x="398" y="214"/>
                      </a:lnTo>
                      <a:lnTo>
                        <a:pt x="396" y="216"/>
                      </a:lnTo>
                      <a:lnTo>
                        <a:pt x="390" y="216"/>
                      </a:lnTo>
                      <a:lnTo>
                        <a:pt x="380" y="216"/>
                      </a:lnTo>
                      <a:lnTo>
                        <a:pt x="378" y="216"/>
                      </a:lnTo>
                      <a:lnTo>
                        <a:pt x="374" y="212"/>
                      </a:lnTo>
                      <a:lnTo>
                        <a:pt x="374" y="210"/>
                      </a:lnTo>
                      <a:lnTo>
                        <a:pt x="374" y="208"/>
                      </a:lnTo>
                      <a:lnTo>
                        <a:pt x="370" y="208"/>
                      </a:lnTo>
                      <a:lnTo>
                        <a:pt x="370" y="210"/>
                      </a:lnTo>
                      <a:lnTo>
                        <a:pt x="368" y="212"/>
                      </a:lnTo>
                      <a:lnTo>
                        <a:pt x="368" y="216"/>
                      </a:lnTo>
                      <a:lnTo>
                        <a:pt x="366" y="222"/>
                      </a:lnTo>
                      <a:lnTo>
                        <a:pt x="364" y="222"/>
                      </a:lnTo>
                      <a:lnTo>
                        <a:pt x="360" y="222"/>
                      </a:lnTo>
                      <a:lnTo>
                        <a:pt x="358" y="226"/>
                      </a:lnTo>
                      <a:lnTo>
                        <a:pt x="358" y="224"/>
                      </a:lnTo>
                      <a:lnTo>
                        <a:pt x="356" y="222"/>
                      </a:lnTo>
                      <a:lnTo>
                        <a:pt x="358" y="222"/>
                      </a:lnTo>
                      <a:lnTo>
                        <a:pt x="358" y="220"/>
                      </a:lnTo>
                      <a:lnTo>
                        <a:pt x="356" y="218"/>
                      </a:lnTo>
                      <a:lnTo>
                        <a:pt x="352" y="218"/>
                      </a:lnTo>
                      <a:lnTo>
                        <a:pt x="350" y="216"/>
                      </a:lnTo>
                      <a:lnTo>
                        <a:pt x="340" y="216"/>
                      </a:lnTo>
                      <a:lnTo>
                        <a:pt x="334" y="210"/>
                      </a:lnTo>
                      <a:lnTo>
                        <a:pt x="332" y="208"/>
                      </a:lnTo>
                      <a:lnTo>
                        <a:pt x="332" y="206"/>
                      </a:lnTo>
                      <a:lnTo>
                        <a:pt x="334" y="202"/>
                      </a:lnTo>
                      <a:lnTo>
                        <a:pt x="332" y="202"/>
                      </a:lnTo>
                      <a:lnTo>
                        <a:pt x="332" y="200"/>
                      </a:lnTo>
                      <a:lnTo>
                        <a:pt x="326" y="198"/>
                      </a:lnTo>
                      <a:lnTo>
                        <a:pt x="324" y="196"/>
                      </a:lnTo>
                      <a:lnTo>
                        <a:pt x="322" y="198"/>
                      </a:lnTo>
                      <a:lnTo>
                        <a:pt x="320" y="200"/>
                      </a:lnTo>
                      <a:lnTo>
                        <a:pt x="318" y="200"/>
                      </a:lnTo>
                      <a:lnTo>
                        <a:pt x="312" y="198"/>
                      </a:lnTo>
                      <a:lnTo>
                        <a:pt x="310" y="198"/>
                      </a:lnTo>
                      <a:lnTo>
                        <a:pt x="310" y="206"/>
                      </a:lnTo>
                      <a:lnTo>
                        <a:pt x="308" y="206"/>
                      </a:lnTo>
                      <a:lnTo>
                        <a:pt x="306" y="206"/>
                      </a:lnTo>
                      <a:lnTo>
                        <a:pt x="304" y="206"/>
                      </a:lnTo>
                      <a:lnTo>
                        <a:pt x="302" y="208"/>
                      </a:lnTo>
                      <a:lnTo>
                        <a:pt x="300" y="208"/>
                      </a:lnTo>
                      <a:lnTo>
                        <a:pt x="298" y="206"/>
                      </a:lnTo>
                      <a:lnTo>
                        <a:pt x="296" y="202"/>
                      </a:lnTo>
                      <a:lnTo>
                        <a:pt x="294" y="200"/>
                      </a:lnTo>
                      <a:lnTo>
                        <a:pt x="292" y="198"/>
                      </a:lnTo>
                      <a:lnTo>
                        <a:pt x="290" y="200"/>
                      </a:lnTo>
                      <a:lnTo>
                        <a:pt x="284" y="200"/>
                      </a:lnTo>
                      <a:lnTo>
                        <a:pt x="282" y="198"/>
                      </a:lnTo>
                      <a:lnTo>
                        <a:pt x="280" y="200"/>
                      </a:lnTo>
                      <a:lnTo>
                        <a:pt x="280" y="202"/>
                      </a:lnTo>
                      <a:lnTo>
                        <a:pt x="280" y="204"/>
                      </a:lnTo>
                      <a:lnTo>
                        <a:pt x="278" y="204"/>
                      </a:lnTo>
                      <a:lnTo>
                        <a:pt x="276" y="202"/>
                      </a:lnTo>
                      <a:lnTo>
                        <a:pt x="276" y="200"/>
                      </a:lnTo>
                      <a:lnTo>
                        <a:pt x="274" y="198"/>
                      </a:lnTo>
                      <a:lnTo>
                        <a:pt x="274" y="200"/>
                      </a:lnTo>
                      <a:lnTo>
                        <a:pt x="274" y="204"/>
                      </a:lnTo>
                      <a:lnTo>
                        <a:pt x="270" y="208"/>
                      </a:lnTo>
                      <a:lnTo>
                        <a:pt x="268" y="206"/>
                      </a:lnTo>
                      <a:lnTo>
                        <a:pt x="266" y="206"/>
                      </a:lnTo>
                      <a:lnTo>
                        <a:pt x="264" y="212"/>
                      </a:lnTo>
                      <a:lnTo>
                        <a:pt x="262" y="216"/>
                      </a:lnTo>
                      <a:lnTo>
                        <a:pt x="258" y="218"/>
                      </a:lnTo>
                      <a:lnTo>
                        <a:pt x="256" y="220"/>
                      </a:lnTo>
                      <a:lnTo>
                        <a:pt x="254" y="220"/>
                      </a:lnTo>
                      <a:lnTo>
                        <a:pt x="254" y="222"/>
                      </a:lnTo>
                      <a:lnTo>
                        <a:pt x="252" y="222"/>
                      </a:lnTo>
                      <a:lnTo>
                        <a:pt x="248" y="220"/>
                      </a:lnTo>
                      <a:lnTo>
                        <a:pt x="248" y="218"/>
                      </a:lnTo>
                      <a:lnTo>
                        <a:pt x="246" y="216"/>
                      </a:lnTo>
                      <a:lnTo>
                        <a:pt x="244" y="218"/>
                      </a:lnTo>
                      <a:lnTo>
                        <a:pt x="236" y="210"/>
                      </a:lnTo>
                      <a:lnTo>
                        <a:pt x="228" y="204"/>
                      </a:lnTo>
                      <a:lnTo>
                        <a:pt x="226" y="202"/>
                      </a:lnTo>
                      <a:lnTo>
                        <a:pt x="224" y="200"/>
                      </a:lnTo>
                      <a:lnTo>
                        <a:pt x="222" y="202"/>
                      </a:lnTo>
                      <a:lnTo>
                        <a:pt x="222" y="206"/>
                      </a:lnTo>
                      <a:lnTo>
                        <a:pt x="224" y="206"/>
                      </a:lnTo>
                      <a:lnTo>
                        <a:pt x="224" y="208"/>
                      </a:lnTo>
                      <a:lnTo>
                        <a:pt x="224" y="216"/>
                      </a:lnTo>
                      <a:lnTo>
                        <a:pt x="226" y="218"/>
                      </a:lnTo>
                      <a:lnTo>
                        <a:pt x="226" y="220"/>
                      </a:lnTo>
                      <a:lnTo>
                        <a:pt x="222" y="222"/>
                      </a:lnTo>
                      <a:lnTo>
                        <a:pt x="220" y="222"/>
                      </a:lnTo>
                      <a:lnTo>
                        <a:pt x="218" y="222"/>
                      </a:lnTo>
                      <a:lnTo>
                        <a:pt x="216" y="218"/>
                      </a:lnTo>
                      <a:lnTo>
                        <a:pt x="218" y="212"/>
                      </a:lnTo>
                      <a:lnTo>
                        <a:pt x="220" y="210"/>
                      </a:lnTo>
                      <a:lnTo>
                        <a:pt x="220" y="208"/>
                      </a:lnTo>
                      <a:lnTo>
                        <a:pt x="216" y="206"/>
                      </a:lnTo>
                      <a:lnTo>
                        <a:pt x="214" y="206"/>
                      </a:lnTo>
                      <a:lnTo>
                        <a:pt x="212" y="204"/>
                      </a:lnTo>
                      <a:lnTo>
                        <a:pt x="210" y="202"/>
                      </a:lnTo>
                      <a:lnTo>
                        <a:pt x="210" y="200"/>
                      </a:lnTo>
                      <a:lnTo>
                        <a:pt x="210" y="198"/>
                      </a:lnTo>
                      <a:lnTo>
                        <a:pt x="204" y="194"/>
                      </a:lnTo>
                      <a:lnTo>
                        <a:pt x="198" y="192"/>
                      </a:lnTo>
                      <a:lnTo>
                        <a:pt x="196" y="190"/>
                      </a:lnTo>
                      <a:lnTo>
                        <a:pt x="196" y="186"/>
                      </a:lnTo>
                      <a:lnTo>
                        <a:pt x="188" y="180"/>
                      </a:lnTo>
                      <a:lnTo>
                        <a:pt x="184" y="180"/>
                      </a:lnTo>
                      <a:lnTo>
                        <a:pt x="182" y="180"/>
                      </a:lnTo>
                      <a:lnTo>
                        <a:pt x="178" y="182"/>
                      </a:lnTo>
                      <a:lnTo>
                        <a:pt x="176" y="182"/>
                      </a:lnTo>
                      <a:lnTo>
                        <a:pt x="172" y="180"/>
                      </a:lnTo>
                      <a:lnTo>
                        <a:pt x="170" y="182"/>
                      </a:lnTo>
                      <a:lnTo>
                        <a:pt x="168" y="182"/>
                      </a:lnTo>
                      <a:lnTo>
                        <a:pt x="166" y="182"/>
                      </a:lnTo>
                      <a:lnTo>
                        <a:pt x="166" y="180"/>
                      </a:lnTo>
                      <a:lnTo>
                        <a:pt x="164" y="180"/>
                      </a:lnTo>
                      <a:lnTo>
                        <a:pt x="164" y="176"/>
                      </a:lnTo>
                      <a:lnTo>
                        <a:pt x="162" y="170"/>
                      </a:lnTo>
                      <a:lnTo>
                        <a:pt x="160" y="168"/>
                      </a:lnTo>
                      <a:lnTo>
                        <a:pt x="156" y="170"/>
                      </a:lnTo>
                      <a:lnTo>
                        <a:pt x="156" y="172"/>
                      </a:lnTo>
                      <a:lnTo>
                        <a:pt x="154" y="174"/>
                      </a:lnTo>
                      <a:lnTo>
                        <a:pt x="152" y="174"/>
                      </a:lnTo>
                      <a:lnTo>
                        <a:pt x="150" y="172"/>
                      </a:lnTo>
                      <a:lnTo>
                        <a:pt x="148" y="172"/>
                      </a:lnTo>
                      <a:lnTo>
                        <a:pt x="146" y="176"/>
                      </a:lnTo>
                      <a:lnTo>
                        <a:pt x="146" y="178"/>
                      </a:lnTo>
                      <a:lnTo>
                        <a:pt x="146" y="180"/>
                      </a:lnTo>
                      <a:lnTo>
                        <a:pt x="144" y="182"/>
                      </a:lnTo>
                      <a:lnTo>
                        <a:pt x="142" y="182"/>
                      </a:lnTo>
                      <a:lnTo>
                        <a:pt x="138" y="180"/>
                      </a:lnTo>
                      <a:lnTo>
                        <a:pt x="136" y="182"/>
                      </a:lnTo>
                      <a:lnTo>
                        <a:pt x="132" y="182"/>
                      </a:lnTo>
                      <a:lnTo>
                        <a:pt x="132" y="178"/>
                      </a:lnTo>
                      <a:lnTo>
                        <a:pt x="134" y="178"/>
                      </a:lnTo>
                      <a:lnTo>
                        <a:pt x="134" y="174"/>
                      </a:lnTo>
                      <a:lnTo>
                        <a:pt x="132" y="172"/>
                      </a:lnTo>
                      <a:lnTo>
                        <a:pt x="122" y="172"/>
                      </a:lnTo>
                      <a:lnTo>
                        <a:pt x="120" y="170"/>
                      </a:lnTo>
                      <a:lnTo>
                        <a:pt x="118" y="170"/>
                      </a:lnTo>
                      <a:lnTo>
                        <a:pt x="118" y="172"/>
                      </a:lnTo>
                      <a:lnTo>
                        <a:pt x="120" y="174"/>
                      </a:lnTo>
                      <a:lnTo>
                        <a:pt x="120" y="176"/>
                      </a:lnTo>
                      <a:lnTo>
                        <a:pt x="118" y="178"/>
                      </a:lnTo>
                      <a:lnTo>
                        <a:pt x="116" y="178"/>
                      </a:lnTo>
                      <a:lnTo>
                        <a:pt x="116" y="176"/>
                      </a:lnTo>
                      <a:lnTo>
                        <a:pt x="114" y="174"/>
                      </a:lnTo>
                      <a:lnTo>
                        <a:pt x="112" y="176"/>
                      </a:lnTo>
                      <a:lnTo>
                        <a:pt x="112" y="182"/>
                      </a:lnTo>
                      <a:lnTo>
                        <a:pt x="110" y="184"/>
                      </a:lnTo>
                      <a:lnTo>
                        <a:pt x="108" y="184"/>
                      </a:lnTo>
                      <a:lnTo>
                        <a:pt x="106" y="186"/>
                      </a:lnTo>
                      <a:lnTo>
                        <a:pt x="106" y="188"/>
                      </a:lnTo>
                      <a:lnTo>
                        <a:pt x="104" y="190"/>
                      </a:lnTo>
                      <a:lnTo>
                        <a:pt x="102" y="192"/>
                      </a:lnTo>
                      <a:lnTo>
                        <a:pt x="100" y="192"/>
                      </a:lnTo>
                      <a:lnTo>
                        <a:pt x="96" y="192"/>
                      </a:lnTo>
                      <a:lnTo>
                        <a:pt x="94" y="192"/>
                      </a:lnTo>
                      <a:lnTo>
                        <a:pt x="92" y="198"/>
                      </a:lnTo>
                      <a:lnTo>
                        <a:pt x="84" y="198"/>
                      </a:lnTo>
                      <a:lnTo>
                        <a:pt x="82" y="198"/>
                      </a:lnTo>
                      <a:lnTo>
                        <a:pt x="80" y="204"/>
                      </a:lnTo>
                      <a:lnTo>
                        <a:pt x="82" y="206"/>
                      </a:lnTo>
                      <a:lnTo>
                        <a:pt x="82" y="210"/>
                      </a:lnTo>
                      <a:lnTo>
                        <a:pt x="80" y="210"/>
                      </a:lnTo>
                      <a:lnTo>
                        <a:pt x="78" y="210"/>
                      </a:lnTo>
                      <a:lnTo>
                        <a:pt x="76" y="210"/>
                      </a:lnTo>
                      <a:lnTo>
                        <a:pt x="74" y="212"/>
                      </a:lnTo>
                      <a:lnTo>
                        <a:pt x="72" y="212"/>
                      </a:lnTo>
                      <a:lnTo>
                        <a:pt x="72" y="214"/>
                      </a:lnTo>
                      <a:lnTo>
                        <a:pt x="64" y="220"/>
                      </a:lnTo>
                      <a:lnTo>
                        <a:pt x="62" y="220"/>
                      </a:lnTo>
                      <a:lnTo>
                        <a:pt x="60" y="224"/>
                      </a:lnTo>
                      <a:lnTo>
                        <a:pt x="62" y="230"/>
                      </a:lnTo>
                      <a:lnTo>
                        <a:pt x="62" y="232"/>
                      </a:lnTo>
                      <a:lnTo>
                        <a:pt x="62" y="234"/>
                      </a:lnTo>
                      <a:lnTo>
                        <a:pt x="64" y="238"/>
                      </a:lnTo>
                      <a:lnTo>
                        <a:pt x="66" y="242"/>
                      </a:lnTo>
                      <a:lnTo>
                        <a:pt x="68" y="244"/>
                      </a:lnTo>
                      <a:lnTo>
                        <a:pt x="66" y="246"/>
                      </a:lnTo>
                      <a:lnTo>
                        <a:pt x="64" y="248"/>
                      </a:lnTo>
                      <a:lnTo>
                        <a:pt x="60" y="250"/>
                      </a:lnTo>
                      <a:lnTo>
                        <a:pt x="58" y="250"/>
                      </a:lnTo>
                      <a:lnTo>
                        <a:pt x="56" y="252"/>
                      </a:lnTo>
                      <a:lnTo>
                        <a:pt x="54" y="252"/>
                      </a:lnTo>
                      <a:lnTo>
                        <a:pt x="54" y="254"/>
                      </a:lnTo>
                      <a:lnTo>
                        <a:pt x="48" y="252"/>
                      </a:lnTo>
                      <a:lnTo>
                        <a:pt x="46" y="246"/>
                      </a:lnTo>
                      <a:lnTo>
                        <a:pt x="46" y="242"/>
                      </a:lnTo>
                      <a:lnTo>
                        <a:pt x="32" y="226"/>
                      </a:lnTo>
                      <a:lnTo>
                        <a:pt x="30" y="226"/>
                      </a:lnTo>
                      <a:lnTo>
                        <a:pt x="28" y="228"/>
                      </a:lnTo>
                      <a:lnTo>
                        <a:pt x="28" y="230"/>
                      </a:lnTo>
                      <a:lnTo>
                        <a:pt x="24" y="234"/>
                      </a:lnTo>
                      <a:lnTo>
                        <a:pt x="22" y="238"/>
                      </a:lnTo>
                      <a:lnTo>
                        <a:pt x="22" y="240"/>
                      </a:lnTo>
                      <a:lnTo>
                        <a:pt x="24" y="240"/>
                      </a:lnTo>
                      <a:lnTo>
                        <a:pt x="24" y="242"/>
                      </a:lnTo>
                      <a:lnTo>
                        <a:pt x="22" y="246"/>
                      </a:lnTo>
                      <a:lnTo>
                        <a:pt x="20" y="248"/>
                      </a:lnTo>
                      <a:lnTo>
                        <a:pt x="18" y="248"/>
                      </a:lnTo>
                      <a:lnTo>
                        <a:pt x="16" y="248"/>
                      </a:lnTo>
                      <a:lnTo>
                        <a:pt x="16" y="250"/>
                      </a:lnTo>
                      <a:lnTo>
                        <a:pt x="14" y="252"/>
                      </a:lnTo>
                      <a:lnTo>
                        <a:pt x="12" y="252"/>
                      </a:lnTo>
                      <a:lnTo>
                        <a:pt x="10" y="274"/>
                      </a:lnTo>
                      <a:lnTo>
                        <a:pt x="12" y="274"/>
                      </a:lnTo>
                      <a:lnTo>
                        <a:pt x="16" y="278"/>
                      </a:lnTo>
                      <a:lnTo>
                        <a:pt x="16" y="284"/>
                      </a:lnTo>
                      <a:lnTo>
                        <a:pt x="14" y="286"/>
                      </a:lnTo>
                      <a:lnTo>
                        <a:pt x="12" y="288"/>
                      </a:lnTo>
                      <a:lnTo>
                        <a:pt x="10" y="288"/>
                      </a:lnTo>
                      <a:lnTo>
                        <a:pt x="8" y="290"/>
                      </a:lnTo>
                      <a:lnTo>
                        <a:pt x="0" y="312"/>
                      </a:lnTo>
                      <a:lnTo>
                        <a:pt x="18" y="318"/>
                      </a:lnTo>
                      <a:lnTo>
                        <a:pt x="18" y="336"/>
                      </a:lnTo>
                      <a:lnTo>
                        <a:pt x="26" y="342"/>
                      </a:lnTo>
                      <a:lnTo>
                        <a:pt x="26" y="338"/>
                      </a:lnTo>
                      <a:lnTo>
                        <a:pt x="26" y="336"/>
                      </a:lnTo>
                      <a:lnTo>
                        <a:pt x="28" y="336"/>
                      </a:lnTo>
                      <a:lnTo>
                        <a:pt x="32" y="338"/>
                      </a:lnTo>
                      <a:lnTo>
                        <a:pt x="44" y="338"/>
                      </a:lnTo>
                      <a:lnTo>
                        <a:pt x="46" y="338"/>
                      </a:lnTo>
                      <a:lnTo>
                        <a:pt x="48" y="342"/>
                      </a:lnTo>
                      <a:lnTo>
                        <a:pt x="50" y="344"/>
                      </a:lnTo>
                      <a:lnTo>
                        <a:pt x="50" y="346"/>
                      </a:lnTo>
                      <a:lnTo>
                        <a:pt x="54" y="352"/>
                      </a:lnTo>
                      <a:lnTo>
                        <a:pt x="58" y="354"/>
                      </a:lnTo>
                      <a:lnTo>
                        <a:pt x="62" y="366"/>
                      </a:lnTo>
                      <a:lnTo>
                        <a:pt x="70" y="378"/>
                      </a:lnTo>
                      <a:lnTo>
                        <a:pt x="68" y="380"/>
                      </a:lnTo>
                      <a:lnTo>
                        <a:pt x="64" y="380"/>
                      </a:lnTo>
                      <a:lnTo>
                        <a:pt x="62" y="380"/>
                      </a:lnTo>
                      <a:lnTo>
                        <a:pt x="60" y="378"/>
                      </a:lnTo>
                      <a:lnTo>
                        <a:pt x="58" y="378"/>
                      </a:lnTo>
                      <a:lnTo>
                        <a:pt x="56" y="380"/>
                      </a:lnTo>
                      <a:lnTo>
                        <a:pt x="56" y="382"/>
                      </a:lnTo>
                      <a:lnTo>
                        <a:pt x="58" y="386"/>
                      </a:lnTo>
                      <a:lnTo>
                        <a:pt x="62" y="386"/>
                      </a:lnTo>
                      <a:lnTo>
                        <a:pt x="64" y="388"/>
                      </a:lnTo>
                      <a:lnTo>
                        <a:pt x="64" y="390"/>
                      </a:lnTo>
                      <a:lnTo>
                        <a:pt x="66" y="390"/>
                      </a:lnTo>
                      <a:lnTo>
                        <a:pt x="68" y="390"/>
                      </a:lnTo>
                      <a:lnTo>
                        <a:pt x="76" y="396"/>
                      </a:lnTo>
                      <a:lnTo>
                        <a:pt x="76" y="394"/>
                      </a:lnTo>
                      <a:lnTo>
                        <a:pt x="76" y="392"/>
                      </a:lnTo>
                      <a:lnTo>
                        <a:pt x="78" y="392"/>
                      </a:lnTo>
                      <a:lnTo>
                        <a:pt x="80" y="394"/>
                      </a:lnTo>
                      <a:lnTo>
                        <a:pt x="80" y="390"/>
                      </a:lnTo>
                      <a:lnTo>
                        <a:pt x="78" y="386"/>
                      </a:lnTo>
                      <a:lnTo>
                        <a:pt x="80" y="388"/>
                      </a:lnTo>
                      <a:lnTo>
                        <a:pt x="82" y="388"/>
                      </a:lnTo>
                      <a:lnTo>
                        <a:pt x="84" y="388"/>
                      </a:lnTo>
                      <a:lnTo>
                        <a:pt x="86" y="386"/>
                      </a:lnTo>
                      <a:lnTo>
                        <a:pt x="90" y="386"/>
                      </a:lnTo>
                      <a:lnTo>
                        <a:pt x="92" y="386"/>
                      </a:lnTo>
                      <a:lnTo>
                        <a:pt x="94" y="386"/>
                      </a:lnTo>
                      <a:lnTo>
                        <a:pt x="100" y="382"/>
                      </a:lnTo>
                      <a:lnTo>
                        <a:pt x="100" y="380"/>
                      </a:lnTo>
                      <a:lnTo>
                        <a:pt x="102" y="380"/>
                      </a:lnTo>
                      <a:lnTo>
                        <a:pt x="104" y="378"/>
                      </a:lnTo>
                      <a:lnTo>
                        <a:pt x="106" y="376"/>
                      </a:lnTo>
                      <a:lnTo>
                        <a:pt x="108" y="374"/>
                      </a:lnTo>
                      <a:lnTo>
                        <a:pt x="110" y="374"/>
                      </a:lnTo>
                      <a:lnTo>
                        <a:pt x="114" y="374"/>
                      </a:lnTo>
                      <a:lnTo>
                        <a:pt x="114" y="372"/>
                      </a:lnTo>
                      <a:lnTo>
                        <a:pt x="116" y="372"/>
                      </a:lnTo>
                      <a:lnTo>
                        <a:pt x="118" y="372"/>
                      </a:lnTo>
                      <a:lnTo>
                        <a:pt x="120" y="370"/>
                      </a:lnTo>
                      <a:lnTo>
                        <a:pt x="120" y="368"/>
                      </a:lnTo>
                      <a:lnTo>
                        <a:pt x="124" y="368"/>
                      </a:lnTo>
                      <a:lnTo>
                        <a:pt x="124" y="366"/>
                      </a:lnTo>
                      <a:lnTo>
                        <a:pt x="130" y="364"/>
                      </a:lnTo>
                      <a:lnTo>
                        <a:pt x="130" y="366"/>
                      </a:lnTo>
                      <a:lnTo>
                        <a:pt x="132" y="366"/>
                      </a:lnTo>
                      <a:lnTo>
                        <a:pt x="134" y="366"/>
                      </a:lnTo>
                      <a:lnTo>
                        <a:pt x="138" y="368"/>
                      </a:lnTo>
                      <a:lnTo>
                        <a:pt x="142" y="368"/>
                      </a:lnTo>
                      <a:lnTo>
                        <a:pt x="142" y="370"/>
                      </a:lnTo>
                      <a:lnTo>
                        <a:pt x="144" y="372"/>
                      </a:lnTo>
                      <a:lnTo>
                        <a:pt x="146" y="374"/>
                      </a:lnTo>
                      <a:lnTo>
                        <a:pt x="148" y="374"/>
                      </a:lnTo>
                      <a:lnTo>
                        <a:pt x="154" y="376"/>
                      </a:lnTo>
                      <a:lnTo>
                        <a:pt x="156" y="378"/>
                      </a:lnTo>
                      <a:lnTo>
                        <a:pt x="158" y="378"/>
                      </a:lnTo>
                      <a:lnTo>
                        <a:pt x="164" y="372"/>
                      </a:lnTo>
                      <a:lnTo>
                        <a:pt x="164" y="370"/>
                      </a:lnTo>
                      <a:lnTo>
                        <a:pt x="166" y="370"/>
                      </a:lnTo>
                      <a:lnTo>
                        <a:pt x="168" y="372"/>
                      </a:lnTo>
                      <a:lnTo>
                        <a:pt x="170" y="372"/>
                      </a:lnTo>
                      <a:lnTo>
                        <a:pt x="172" y="372"/>
                      </a:lnTo>
                      <a:lnTo>
                        <a:pt x="176" y="372"/>
                      </a:lnTo>
                      <a:lnTo>
                        <a:pt x="180" y="374"/>
                      </a:lnTo>
                      <a:lnTo>
                        <a:pt x="182" y="376"/>
                      </a:lnTo>
                      <a:lnTo>
                        <a:pt x="182" y="378"/>
                      </a:lnTo>
                      <a:lnTo>
                        <a:pt x="184" y="380"/>
                      </a:lnTo>
                      <a:lnTo>
                        <a:pt x="184" y="382"/>
                      </a:lnTo>
                      <a:lnTo>
                        <a:pt x="184" y="384"/>
                      </a:lnTo>
                      <a:lnTo>
                        <a:pt x="182" y="386"/>
                      </a:lnTo>
                      <a:lnTo>
                        <a:pt x="180" y="388"/>
                      </a:lnTo>
                      <a:lnTo>
                        <a:pt x="180" y="386"/>
                      </a:lnTo>
                      <a:lnTo>
                        <a:pt x="180" y="388"/>
                      </a:lnTo>
                      <a:lnTo>
                        <a:pt x="180" y="390"/>
                      </a:lnTo>
                      <a:lnTo>
                        <a:pt x="180" y="392"/>
                      </a:lnTo>
                      <a:lnTo>
                        <a:pt x="182" y="394"/>
                      </a:lnTo>
                      <a:lnTo>
                        <a:pt x="184" y="396"/>
                      </a:lnTo>
                      <a:lnTo>
                        <a:pt x="184" y="398"/>
                      </a:lnTo>
                      <a:lnTo>
                        <a:pt x="182" y="406"/>
                      </a:lnTo>
                      <a:lnTo>
                        <a:pt x="182" y="410"/>
                      </a:lnTo>
                      <a:lnTo>
                        <a:pt x="178" y="416"/>
                      </a:lnTo>
                      <a:lnTo>
                        <a:pt x="176" y="416"/>
                      </a:lnTo>
                      <a:lnTo>
                        <a:pt x="176" y="418"/>
                      </a:lnTo>
                      <a:lnTo>
                        <a:pt x="172" y="422"/>
                      </a:lnTo>
                      <a:lnTo>
                        <a:pt x="172" y="426"/>
                      </a:lnTo>
                      <a:lnTo>
                        <a:pt x="172" y="428"/>
                      </a:lnTo>
                      <a:lnTo>
                        <a:pt x="176" y="430"/>
                      </a:lnTo>
                      <a:lnTo>
                        <a:pt x="182" y="434"/>
                      </a:lnTo>
                      <a:lnTo>
                        <a:pt x="184" y="434"/>
                      </a:lnTo>
                      <a:lnTo>
                        <a:pt x="186" y="434"/>
                      </a:lnTo>
                      <a:lnTo>
                        <a:pt x="182" y="436"/>
                      </a:lnTo>
                      <a:lnTo>
                        <a:pt x="176" y="436"/>
                      </a:lnTo>
                      <a:lnTo>
                        <a:pt x="172" y="434"/>
                      </a:lnTo>
                      <a:lnTo>
                        <a:pt x="168" y="434"/>
                      </a:lnTo>
                      <a:lnTo>
                        <a:pt x="166" y="432"/>
                      </a:lnTo>
                      <a:lnTo>
                        <a:pt x="164" y="432"/>
                      </a:lnTo>
                      <a:lnTo>
                        <a:pt x="154" y="434"/>
                      </a:lnTo>
                      <a:lnTo>
                        <a:pt x="150" y="434"/>
                      </a:lnTo>
                      <a:lnTo>
                        <a:pt x="146" y="432"/>
                      </a:lnTo>
                      <a:lnTo>
                        <a:pt x="144" y="432"/>
                      </a:lnTo>
                      <a:lnTo>
                        <a:pt x="144" y="434"/>
                      </a:lnTo>
                      <a:lnTo>
                        <a:pt x="140" y="434"/>
                      </a:lnTo>
                      <a:lnTo>
                        <a:pt x="140" y="436"/>
                      </a:lnTo>
                      <a:lnTo>
                        <a:pt x="138" y="436"/>
                      </a:lnTo>
                      <a:lnTo>
                        <a:pt x="138" y="434"/>
                      </a:lnTo>
                      <a:lnTo>
                        <a:pt x="136" y="434"/>
                      </a:lnTo>
                      <a:lnTo>
                        <a:pt x="134" y="434"/>
                      </a:lnTo>
                      <a:lnTo>
                        <a:pt x="132" y="438"/>
                      </a:lnTo>
                      <a:lnTo>
                        <a:pt x="130" y="442"/>
                      </a:lnTo>
                      <a:lnTo>
                        <a:pt x="130" y="444"/>
                      </a:lnTo>
                      <a:lnTo>
                        <a:pt x="128" y="446"/>
                      </a:lnTo>
                      <a:lnTo>
                        <a:pt x="124" y="448"/>
                      </a:lnTo>
                      <a:lnTo>
                        <a:pt x="122" y="450"/>
                      </a:lnTo>
                      <a:lnTo>
                        <a:pt x="122" y="454"/>
                      </a:lnTo>
                      <a:lnTo>
                        <a:pt x="124" y="456"/>
                      </a:lnTo>
                      <a:lnTo>
                        <a:pt x="126" y="456"/>
                      </a:lnTo>
                      <a:lnTo>
                        <a:pt x="128" y="456"/>
                      </a:lnTo>
                      <a:lnTo>
                        <a:pt x="128" y="458"/>
                      </a:lnTo>
                      <a:lnTo>
                        <a:pt x="130" y="458"/>
                      </a:lnTo>
                      <a:lnTo>
                        <a:pt x="130" y="460"/>
                      </a:lnTo>
                      <a:lnTo>
                        <a:pt x="132" y="462"/>
                      </a:lnTo>
                      <a:lnTo>
                        <a:pt x="132" y="464"/>
                      </a:lnTo>
                      <a:lnTo>
                        <a:pt x="134" y="464"/>
                      </a:lnTo>
                      <a:lnTo>
                        <a:pt x="134" y="462"/>
                      </a:lnTo>
                      <a:lnTo>
                        <a:pt x="136" y="464"/>
                      </a:lnTo>
                      <a:lnTo>
                        <a:pt x="140" y="466"/>
                      </a:lnTo>
                      <a:lnTo>
                        <a:pt x="140" y="468"/>
                      </a:lnTo>
                      <a:lnTo>
                        <a:pt x="136" y="468"/>
                      </a:lnTo>
                      <a:lnTo>
                        <a:pt x="134" y="466"/>
                      </a:lnTo>
                      <a:lnTo>
                        <a:pt x="128" y="468"/>
                      </a:lnTo>
                      <a:lnTo>
                        <a:pt x="126" y="468"/>
                      </a:lnTo>
                      <a:lnTo>
                        <a:pt x="124" y="466"/>
                      </a:lnTo>
                      <a:lnTo>
                        <a:pt x="122" y="464"/>
                      </a:lnTo>
                      <a:lnTo>
                        <a:pt x="122" y="462"/>
                      </a:lnTo>
                      <a:lnTo>
                        <a:pt x="120" y="462"/>
                      </a:lnTo>
                      <a:lnTo>
                        <a:pt x="118" y="462"/>
                      </a:lnTo>
                      <a:lnTo>
                        <a:pt x="116" y="462"/>
                      </a:lnTo>
                      <a:lnTo>
                        <a:pt x="110" y="462"/>
                      </a:lnTo>
                      <a:lnTo>
                        <a:pt x="108" y="462"/>
                      </a:lnTo>
                      <a:lnTo>
                        <a:pt x="104" y="462"/>
                      </a:lnTo>
                      <a:lnTo>
                        <a:pt x="104" y="464"/>
                      </a:lnTo>
                      <a:lnTo>
                        <a:pt x="104" y="468"/>
                      </a:lnTo>
                      <a:lnTo>
                        <a:pt x="104" y="472"/>
                      </a:lnTo>
                      <a:lnTo>
                        <a:pt x="104" y="474"/>
                      </a:lnTo>
                      <a:lnTo>
                        <a:pt x="108" y="474"/>
                      </a:lnTo>
                      <a:lnTo>
                        <a:pt x="110" y="476"/>
                      </a:lnTo>
                      <a:lnTo>
                        <a:pt x="112" y="476"/>
                      </a:lnTo>
                      <a:lnTo>
                        <a:pt x="116" y="476"/>
                      </a:lnTo>
                      <a:lnTo>
                        <a:pt x="116" y="478"/>
                      </a:lnTo>
                      <a:lnTo>
                        <a:pt x="120" y="478"/>
                      </a:lnTo>
                      <a:lnTo>
                        <a:pt x="120" y="480"/>
                      </a:lnTo>
                      <a:lnTo>
                        <a:pt x="122" y="486"/>
                      </a:lnTo>
                      <a:lnTo>
                        <a:pt x="124" y="494"/>
                      </a:lnTo>
                      <a:lnTo>
                        <a:pt x="128" y="500"/>
                      </a:lnTo>
                      <a:lnTo>
                        <a:pt x="128" y="502"/>
                      </a:lnTo>
                      <a:lnTo>
                        <a:pt x="130" y="502"/>
                      </a:lnTo>
                      <a:lnTo>
                        <a:pt x="132" y="504"/>
                      </a:lnTo>
                      <a:lnTo>
                        <a:pt x="134" y="508"/>
                      </a:lnTo>
                      <a:lnTo>
                        <a:pt x="134" y="510"/>
                      </a:lnTo>
                      <a:lnTo>
                        <a:pt x="134" y="514"/>
                      </a:lnTo>
                      <a:lnTo>
                        <a:pt x="132" y="516"/>
                      </a:lnTo>
                      <a:lnTo>
                        <a:pt x="132" y="518"/>
                      </a:lnTo>
                      <a:lnTo>
                        <a:pt x="136" y="518"/>
                      </a:lnTo>
                      <a:lnTo>
                        <a:pt x="142" y="518"/>
                      </a:lnTo>
                      <a:lnTo>
                        <a:pt x="146" y="524"/>
                      </a:lnTo>
                      <a:lnTo>
                        <a:pt x="146" y="526"/>
                      </a:lnTo>
                      <a:lnTo>
                        <a:pt x="146" y="528"/>
                      </a:lnTo>
                      <a:lnTo>
                        <a:pt x="148" y="530"/>
                      </a:lnTo>
                      <a:lnTo>
                        <a:pt x="150" y="530"/>
                      </a:lnTo>
                      <a:lnTo>
                        <a:pt x="152" y="530"/>
                      </a:lnTo>
                      <a:lnTo>
                        <a:pt x="154" y="528"/>
                      </a:lnTo>
                      <a:lnTo>
                        <a:pt x="156" y="528"/>
                      </a:lnTo>
                      <a:lnTo>
                        <a:pt x="158" y="528"/>
                      </a:lnTo>
                      <a:lnTo>
                        <a:pt x="160" y="530"/>
                      </a:lnTo>
                      <a:lnTo>
                        <a:pt x="162" y="530"/>
                      </a:lnTo>
                      <a:lnTo>
                        <a:pt x="164" y="530"/>
                      </a:lnTo>
                      <a:lnTo>
                        <a:pt x="166" y="532"/>
                      </a:lnTo>
                      <a:lnTo>
                        <a:pt x="168" y="532"/>
                      </a:lnTo>
                      <a:lnTo>
                        <a:pt x="172" y="534"/>
                      </a:lnTo>
                      <a:lnTo>
                        <a:pt x="172" y="538"/>
                      </a:lnTo>
                      <a:lnTo>
                        <a:pt x="170" y="540"/>
                      </a:lnTo>
                      <a:lnTo>
                        <a:pt x="170" y="546"/>
                      </a:lnTo>
                      <a:lnTo>
                        <a:pt x="168" y="550"/>
                      </a:lnTo>
                      <a:lnTo>
                        <a:pt x="164" y="554"/>
                      </a:lnTo>
                      <a:lnTo>
                        <a:pt x="164" y="556"/>
                      </a:lnTo>
                      <a:lnTo>
                        <a:pt x="162" y="558"/>
                      </a:lnTo>
                      <a:lnTo>
                        <a:pt x="164" y="562"/>
                      </a:lnTo>
                      <a:lnTo>
                        <a:pt x="164" y="564"/>
                      </a:lnTo>
                      <a:lnTo>
                        <a:pt x="164" y="566"/>
                      </a:lnTo>
                      <a:lnTo>
                        <a:pt x="164" y="568"/>
                      </a:lnTo>
                      <a:lnTo>
                        <a:pt x="164" y="570"/>
                      </a:lnTo>
                      <a:lnTo>
                        <a:pt x="178" y="556"/>
                      </a:lnTo>
                      <a:lnTo>
                        <a:pt x="190" y="552"/>
                      </a:lnTo>
                      <a:lnTo>
                        <a:pt x="192" y="552"/>
                      </a:lnTo>
                      <a:lnTo>
                        <a:pt x="194" y="550"/>
                      </a:lnTo>
                      <a:lnTo>
                        <a:pt x="198" y="550"/>
                      </a:lnTo>
                      <a:lnTo>
                        <a:pt x="206" y="548"/>
                      </a:lnTo>
                      <a:lnTo>
                        <a:pt x="212" y="550"/>
                      </a:lnTo>
                      <a:lnTo>
                        <a:pt x="232" y="564"/>
                      </a:lnTo>
                      <a:lnTo>
                        <a:pt x="232" y="568"/>
                      </a:lnTo>
                      <a:lnTo>
                        <a:pt x="234" y="570"/>
                      </a:lnTo>
                      <a:lnTo>
                        <a:pt x="234" y="572"/>
                      </a:lnTo>
                      <a:lnTo>
                        <a:pt x="238" y="574"/>
                      </a:lnTo>
                      <a:lnTo>
                        <a:pt x="240" y="578"/>
                      </a:lnTo>
                      <a:lnTo>
                        <a:pt x="240" y="580"/>
                      </a:lnTo>
                      <a:lnTo>
                        <a:pt x="244" y="584"/>
                      </a:lnTo>
                      <a:lnTo>
                        <a:pt x="246" y="584"/>
                      </a:lnTo>
                      <a:lnTo>
                        <a:pt x="246" y="586"/>
                      </a:lnTo>
                      <a:lnTo>
                        <a:pt x="246" y="588"/>
                      </a:lnTo>
                      <a:lnTo>
                        <a:pt x="248" y="588"/>
                      </a:lnTo>
                      <a:lnTo>
                        <a:pt x="256" y="588"/>
                      </a:lnTo>
                      <a:lnTo>
                        <a:pt x="258" y="586"/>
                      </a:lnTo>
                      <a:lnTo>
                        <a:pt x="262" y="586"/>
                      </a:lnTo>
                      <a:lnTo>
                        <a:pt x="260" y="556"/>
                      </a:lnTo>
                      <a:lnTo>
                        <a:pt x="262" y="554"/>
                      </a:lnTo>
                      <a:lnTo>
                        <a:pt x="260" y="524"/>
                      </a:lnTo>
                      <a:lnTo>
                        <a:pt x="262" y="522"/>
                      </a:lnTo>
                      <a:lnTo>
                        <a:pt x="260" y="448"/>
                      </a:lnTo>
                      <a:lnTo>
                        <a:pt x="280" y="442"/>
                      </a:lnTo>
                      <a:lnTo>
                        <a:pt x="282" y="442"/>
                      </a:lnTo>
                      <a:lnTo>
                        <a:pt x="282" y="440"/>
                      </a:lnTo>
                      <a:lnTo>
                        <a:pt x="332" y="426"/>
                      </a:lnTo>
                      <a:lnTo>
                        <a:pt x="426" y="506"/>
                      </a:lnTo>
                      <a:lnTo>
                        <a:pt x="492" y="504"/>
                      </a:lnTo>
                      <a:lnTo>
                        <a:pt x="506" y="496"/>
                      </a:lnTo>
                      <a:lnTo>
                        <a:pt x="514" y="508"/>
                      </a:lnTo>
                      <a:lnTo>
                        <a:pt x="520" y="512"/>
                      </a:lnTo>
                      <a:lnTo>
                        <a:pt x="522" y="512"/>
                      </a:lnTo>
                      <a:lnTo>
                        <a:pt x="530" y="528"/>
                      </a:lnTo>
                      <a:lnTo>
                        <a:pt x="538" y="524"/>
                      </a:lnTo>
                      <a:lnTo>
                        <a:pt x="536" y="546"/>
                      </a:lnTo>
                      <a:lnTo>
                        <a:pt x="536" y="562"/>
                      </a:lnTo>
                      <a:lnTo>
                        <a:pt x="550" y="562"/>
                      </a:lnTo>
                      <a:lnTo>
                        <a:pt x="554" y="592"/>
                      </a:lnTo>
                      <a:lnTo>
                        <a:pt x="556" y="592"/>
                      </a:lnTo>
                      <a:lnTo>
                        <a:pt x="558" y="592"/>
                      </a:lnTo>
                      <a:lnTo>
                        <a:pt x="572" y="592"/>
                      </a:lnTo>
                      <a:lnTo>
                        <a:pt x="574" y="592"/>
                      </a:lnTo>
                      <a:lnTo>
                        <a:pt x="576" y="592"/>
                      </a:lnTo>
                      <a:lnTo>
                        <a:pt x="580" y="592"/>
                      </a:lnTo>
                      <a:lnTo>
                        <a:pt x="588" y="592"/>
                      </a:lnTo>
                      <a:lnTo>
                        <a:pt x="592" y="596"/>
                      </a:lnTo>
                      <a:lnTo>
                        <a:pt x="594" y="596"/>
                      </a:lnTo>
                      <a:lnTo>
                        <a:pt x="592" y="602"/>
                      </a:lnTo>
                      <a:lnTo>
                        <a:pt x="590" y="604"/>
                      </a:lnTo>
                      <a:lnTo>
                        <a:pt x="596" y="608"/>
                      </a:lnTo>
                      <a:lnTo>
                        <a:pt x="596" y="610"/>
                      </a:lnTo>
                      <a:lnTo>
                        <a:pt x="598" y="610"/>
                      </a:lnTo>
                      <a:lnTo>
                        <a:pt x="602" y="612"/>
                      </a:lnTo>
                      <a:lnTo>
                        <a:pt x="606" y="612"/>
                      </a:lnTo>
                      <a:lnTo>
                        <a:pt x="608" y="610"/>
                      </a:lnTo>
                      <a:lnTo>
                        <a:pt x="606" y="608"/>
                      </a:lnTo>
                      <a:lnTo>
                        <a:pt x="604" y="604"/>
                      </a:lnTo>
                      <a:lnTo>
                        <a:pt x="606" y="600"/>
                      </a:lnTo>
                      <a:lnTo>
                        <a:pt x="608" y="600"/>
                      </a:lnTo>
                      <a:lnTo>
                        <a:pt x="610" y="598"/>
                      </a:lnTo>
                      <a:lnTo>
                        <a:pt x="610" y="596"/>
                      </a:lnTo>
                      <a:lnTo>
                        <a:pt x="610" y="594"/>
                      </a:lnTo>
                      <a:lnTo>
                        <a:pt x="614" y="594"/>
                      </a:lnTo>
                      <a:lnTo>
                        <a:pt x="618" y="590"/>
                      </a:lnTo>
                      <a:lnTo>
                        <a:pt x="618" y="584"/>
                      </a:lnTo>
                      <a:lnTo>
                        <a:pt x="622" y="580"/>
                      </a:lnTo>
                      <a:lnTo>
                        <a:pt x="624" y="580"/>
                      </a:lnTo>
                      <a:lnTo>
                        <a:pt x="626" y="580"/>
                      </a:lnTo>
                      <a:lnTo>
                        <a:pt x="634" y="574"/>
                      </a:lnTo>
                      <a:lnTo>
                        <a:pt x="642" y="572"/>
                      </a:lnTo>
                      <a:lnTo>
                        <a:pt x="650" y="566"/>
                      </a:lnTo>
                      <a:lnTo>
                        <a:pt x="654" y="558"/>
                      </a:lnTo>
                      <a:lnTo>
                        <a:pt x="656" y="558"/>
                      </a:lnTo>
                      <a:lnTo>
                        <a:pt x="658" y="558"/>
                      </a:lnTo>
                      <a:lnTo>
                        <a:pt x="658" y="560"/>
                      </a:lnTo>
                      <a:lnTo>
                        <a:pt x="662" y="560"/>
                      </a:lnTo>
                      <a:lnTo>
                        <a:pt x="662" y="558"/>
                      </a:lnTo>
                      <a:lnTo>
                        <a:pt x="666" y="554"/>
                      </a:lnTo>
                      <a:lnTo>
                        <a:pt x="668" y="554"/>
                      </a:lnTo>
                      <a:lnTo>
                        <a:pt x="670" y="552"/>
                      </a:lnTo>
                      <a:lnTo>
                        <a:pt x="668" y="552"/>
                      </a:lnTo>
                      <a:lnTo>
                        <a:pt x="668" y="550"/>
                      </a:lnTo>
                      <a:lnTo>
                        <a:pt x="670" y="548"/>
                      </a:lnTo>
                      <a:lnTo>
                        <a:pt x="670" y="546"/>
                      </a:lnTo>
                      <a:lnTo>
                        <a:pt x="672" y="540"/>
                      </a:lnTo>
                      <a:lnTo>
                        <a:pt x="674" y="540"/>
                      </a:lnTo>
                      <a:lnTo>
                        <a:pt x="676" y="538"/>
                      </a:lnTo>
                      <a:lnTo>
                        <a:pt x="676" y="536"/>
                      </a:lnTo>
                      <a:lnTo>
                        <a:pt x="682" y="532"/>
                      </a:lnTo>
                      <a:lnTo>
                        <a:pt x="684" y="532"/>
                      </a:lnTo>
                      <a:lnTo>
                        <a:pt x="686" y="532"/>
                      </a:lnTo>
                      <a:lnTo>
                        <a:pt x="688" y="532"/>
                      </a:lnTo>
                      <a:lnTo>
                        <a:pt x="690" y="532"/>
                      </a:lnTo>
                      <a:lnTo>
                        <a:pt x="692" y="532"/>
                      </a:lnTo>
                      <a:lnTo>
                        <a:pt x="692" y="530"/>
                      </a:lnTo>
                      <a:lnTo>
                        <a:pt x="696" y="530"/>
                      </a:lnTo>
                      <a:lnTo>
                        <a:pt x="698" y="532"/>
                      </a:lnTo>
                      <a:lnTo>
                        <a:pt x="704" y="532"/>
                      </a:lnTo>
                      <a:lnTo>
                        <a:pt x="706" y="532"/>
                      </a:lnTo>
                      <a:lnTo>
                        <a:pt x="720" y="538"/>
                      </a:lnTo>
                      <a:lnTo>
                        <a:pt x="722" y="540"/>
                      </a:lnTo>
                      <a:lnTo>
                        <a:pt x="724" y="540"/>
                      </a:lnTo>
                      <a:lnTo>
                        <a:pt x="726" y="542"/>
                      </a:lnTo>
                      <a:lnTo>
                        <a:pt x="726" y="540"/>
                      </a:lnTo>
                      <a:lnTo>
                        <a:pt x="730" y="540"/>
                      </a:lnTo>
                      <a:lnTo>
                        <a:pt x="736" y="542"/>
                      </a:lnTo>
                      <a:lnTo>
                        <a:pt x="736" y="546"/>
                      </a:lnTo>
                      <a:lnTo>
                        <a:pt x="740" y="546"/>
                      </a:lnTo>
                      <a:lnTo>
                        <a:pt x="740" y="544"/>
                      </a:lnTo>
                      <a:lnTo>
                        <a:pt x="738" y="542"/>
                      </a:lnTo>
                      <a:lnTo>
                        <a:pt x="738" y="534"/>
                      </a:lnTo>
                      <a:lnTo>
                        <a:pt x="740" y="534"/>
                      </a:lnTo>
                      <a:lnTo>
                        <a:pt x="740" y="532"/>
                      </a:lnTo>
                      <a:lnTo>
                        <a:pt x="740" y="526"/>
                      </a:lnTo>
                      <a:lnTo>
                        <a:pt x="742" y="522"/>
                      </a:lnTo>
                      <a:lnTo>
                        <a:pt x="750" y="520"/>
                      </a:lnTo>
                      <a:lnTo>
                        <a:pt x="752" y="518"/>
                      </a:lnTo>
                      <a:lnTo>
                        <a:pt x="762" y="516"/>
                      </a:lnTo>
                      <a:lnTo>
                        <a:pt x="764" y="516"/>
                      </a:lnTo>
                      <a:lnTo>
                        <a:pt x="768" y="520"/>
                      </a:lnTo>
                      <a:lnTo>
                        <a:pt x="770" y="522"/>
                      </a:lnTo>
                      <a:lnTo>
                        <a:pt x="772" y="522"/>
                      </a:lnTo>
                      <a:lnTo>
                        <a:pt x="774" y="524"/>
                      </a:lnTo>
                      <a:lnTo>
                        <a:pt x="778" y="524"/>
                      </a:lnTo>
                      <a:lnTo>
                        <a:pt x="778" y="526"/>
                      </a:lnTo>
                      <a:lnTo>
                        <a:pt x="788" y="530"/>
                      </a:lnTo>
                      <a:lnTo>
                        <a:pt x="796" y="530"/>
                      </a:lnTo>
                      <a:lnTo>
                        <a:pt x="798" y="532"/>
                      </a:lnTo>
                      <a:lnTo>
                        <a:pt x="802" y="528"/>
                      </a:lnTo>
                      <a:lnTo>
                        <a:pt x="802" y="526"/>
                      </a:lnTo>
                      <a:lnTo>
                        <a:pt x="816" y="526"/>
                      </a:lnTo>
                      <a:lnTo>
                        <a:pt x="818" y="528"/>
                      </a:lnTo>
                      <a:lnTo>
                        <a:pt x="826" y="528"/>
                      </a:lnTo>
                      <a:lnTo>
                        <a:pt x="830" y="526"/>
                      </a:lnTo>
                      <a:lnTo>
                        <a:pt x="832" y="526"/>
                      </a:lnTo>
                      <a:lnTo>
                        <a:pt x="834" y="524"/>
                      </a:lnTo>
                      <a:lnTo>
                        <a:pt x="838" y="526"/>
                      </a:lnTo>
                      <a:lnTo>
                        <a:pt x="840" y="526"/>
                      </a:lnTo>
                      <a:lnTo>
                        <a:pt x="842" y="526"/>
                      </a:lnTo>
                      <a:lnTo>
                        <a:pt x="862" y="528"/>
                      </a:lnTo>
                      <a:lnTo>
                        <a:pt x="866" y="530"/>
                      </a:lnTo>
                      <a:lnTo>
                        <a:pt x="868" y="528"/>
                      </a:lnTo>
                      <a:lnTo>
                        <a:pt x="878" y="528"/>
                      </a:lnTo>
                      <a:lnTo>
                        <a:pt x="892" y="532"/>
                      </a:lnTo>
                      <a:lnTo>
                        <a:pt x="894" y="532"/>
                      </a:lnTo>
                      <a:lnTo>
                        <a:pt x="896" y="532"/>
                      </a:lnTo>
                      <a:lnTo>
                        <a:pt x="896" y="534"/>
                      </a:lnTo>
                      <a:lnTo>
                        <a:pt x="896" y="536"/>
                      </a:lnTo>
                      <a:lnTo>
                        <a:pt x="896" y="538"/>
                      </a:lnTo>
                      <a:lnTo>
                        <a:pt x="898" y="538"/>
                      </a:lnTo>
                      <a:lnTo>
                        <a:pt x="900" y="538"/>
                      </a:lnTo>
                      <a:lnTo>
                        <a:pt x="900" y="540"/>
                      </a:lnTo>
                      <a:lnTo>
                        <a:pt x="902" y="542"/>
                      </a:lnTo>
                      <a:lnTo>
                        <a:pt x="902" y="544"/>
                      </a:lnTo>
                      <a:lnTo>
                        <a:pt x="904" y="544"/>
                      </a:lnTo>
                      <a:lnTo>
                        <a:pt x="906" y="544"/>
                      </a:lnTo>
                      <a:lnTo>
                        <a:pt x="908" y="544"/>
                      </a:lnTo>
                      <a:lnTo>
                        <a:pt x="916" y="544"/>
                      </a:lnTo>
                      <a:lnTo>
                        <a:pt x="924" y="554"/>
                      </a:lnTo>
                      <a:lnTo>
                        <a:pt x="926" y="554"/>
                      </a:lnTo>
                      <a:lnTo>
                        <a:pt x="926" y="550"/>
                      </a:lnTo>
                      <a:lnTo>
                        <a:pt x="924" y="550"/>
                      </a:lnTo>
                      <a:lnTo>
                        <a:pt x="924" y="548"/>
                      </a:lnTo>
                      <a:lnTo>
                        <a:pt x="922" y="538"/>
                      </a:lnTo>
                      <a:lnTo>
                        <a:pt x="924" y="532"/>
                      </a:lnTo>
                      <a:lnTo>
                        <a:pt x="926" y="530"/>
                      </a:lnTo>
                      <a:lnTo>
                        <a:pt x="926" y="532"/>
                      </a:lnTo>
                      <a:lnTo>
                        <a:pt x="928" y="530"/>
                      </a:lnTo>
                      <a:lnTo>
                        <a:pt x="932" y="528"/>
                      </a:lnTo>
                      <a:lnTo>
                        <a:pt x="932" y="526"/>
                      </a:lnTo>
                      <a:lnTo>
                        <a:pt x="930" y="526"/>
                      </a:lnTo>
                      <a:lnTo>
                        <a:pt x="928" y="524"/>
                      </a:lnTo>
                      <a:lnTo>
                        <a:pt x="928" y="522"/>
                      </a:lnTo>
                      <a:lnTo>
                        <a:pt x="934" y="520"/>
                      </a:lnTo>
                      <a:lnTo>
                        <a:pt x="938" y="520"/>
                      </a:lnTo>
                      <a:lnTo>
                        <a:pt x="940" y="520"/>
                      </a:lnTo>
                      <a:lnTo>
                        <a:pt x="932" y="494"/>
                      </a:lnTo>
                      <a:lnTo>
                        <a:pt x="932" y="492"/>
                      </a:lnTo>
                      <a:lnTo>
                        <a:pt x="932" y="490"/>
                      </a:lnTo>
                      <a:lnTo>
                        <a:pt x="928" y="482"/>
                      </a:lnTo>
                      <a:lnTo>
                        <a:pt x="928" y="480"/>
                      </a:lnTo>
                      <a:lnTo>
                        <a:pt x="928" y="478"/>
                      </a:lnTo>
                      <a:lnTo>
                        <a:pt x="928" y="476"/>
                      </a:lnTo>
                      <a:lnTo>
                        <a:pt x="926" y="470"/>
                      </a:lnTo>
                      <a:lnTo>
                        <a:pt x="928" y="462"/>
                      </a:lnTo>
                      <a:lnTo>
                        <a:pt x="932" y="458"/>
                      </a:lnTo>
                      <a:lnTo>
                        <a:pt x="926" y="456"/>
                      </a:lnTo>
                      <a:lnTo>
                        <a:pt x="922" y="456"/>
                      </a:lnTo>
                      <a:lnTo>
                        <a:pt x="920" y="456"/>
                      </a:lnTo>
                      <a:lnTo>
                        <a:pt x="918" y="456"/>
                      </a:lnTo>
                      <a:lnTo>
                        <a:pt x="914" y="454"/>
                      </a:lnTo>
                      <a:lnTo>
                        <a:pt x="914" y="452"/>
                      </a:lnTo>
                      <a:lnTo>
                        <a:pt x="920" y="446"/>
                      </a:lnTo>
                      <a:lnTo>
                        <a:pt x="930" y="446"/>
                      </a:lnTo>
                      <a:lnTo>
                        <a:pt x="932" y="444"/>
                      </a:lnTo>
                      <a:lnTo>
                        <a:pt x="938" y="442"/>
                      </a:lnTo>
                      <a:lnTo>
                        <a:pt x="942" y="442"/>
                      </a:lnTo>
                      <a:lnTo>
                        <a:pt x="956" y="438"/>
                      </a:lnTo>
                      <a:lnTo>
                        <a:pt x="960" y="438"/>
                      </a:lnTo>
                      <a:lnTo>
                        <a:pt x="960" y="436"/>
                      </a:lnTo>
                      <a:lnTo>
                        <a:pt x="962" y="436"/>
                      </a:lnTo>
                      <a:lnTo>
                        <a:pt x="962" y="434"/>
                      </a:lnTo>
                      <a:lnTo>
                        <a:pt x="966" y="434"/>
                      </a:lnTo>
                      <a:lnTo>
                        <a:pt x="968" y="436"/>
                      </a:lnTo>
                      <a:lnTo>
                        <a:pt x="968" y="440"/>
                      </a:lnTo>
                      <a:lnTo>
                        <a:pt x="970" y="442"/>
                      </a:lnTo>
                      <a:lnTo>
                        <a:pt x="972" y="442"/>
                      </a:lnTo>
                      <a:lnTo>
                        <a:pt x="974" y="440"/>
                      </a:lnTo>
                      <a:lnTo>
                        <a:pt x="976" y="440"/>
                      </a:lnTo>
                      <a:lnTo>
                        <a:pt x="978" y="440"/>
                      </a:lnTo>
                      <a:lnTo>
                        <a:pt x="980" y="440"/>
                      </a:lnTo>
                      <a:lnTo>
                        <a:pt x="984" y="442"/>
                      </a:lnTo>
                      <a:lnTo>
                        <a:pt x="984" y="444"/>
                      </a:lnTo>
                      <a:lnTo>
                        <a:pt x="988" y="444"/>
                      </a:lnTo>
                      <a:lnTo>
                        <a:pt x="988" y="442"/>
                      </a:lnTo>
                      <a:lnTo>
                        <a:pt x="990" y="440"/>
                      </a:lnTo>
                      <a:lnTo>
                        <a:pt x="990" y="438"/>
                      </a:lnTo>
                      <a:lnTo>
                        <a:pt x="990" y="432"/>
                      </a:lnTo>
                      <a:lnTo>
                        <a:pt x="990" y="430"/>
                      </a:lnTo>
                      <a:lnTo>
                        <a:pt x="988" y="430"/>
                      </a:lnTo>
                      <a:lnTo>
                        <a:pt x="984" y="430"/>
                      </a:lnTo>
                      <a:lnTo>
                        <a:pt x="982" y="428"/>
                      </a:lnTo>
                      <a:lnTo>
                        <a:pt x="980" y="428"/>
                      </a:lnTo>
                      <a:lnTo>
                        <a:pt x="980" y="426"/>
                      </a:lnTo>
                      <a:lnTo>
                        <a:pt x="984" y="416"/>
                      </a:lnTo>
                      <a:lnTo>
                        <a:pt x="986" y="414"/>
                      </a:lnTo>
                      <a:lnTo>
                        <a:pt x="986" y="412"/>
                      </a:lnTo>
                      <a:lnTo>
                        <a:pt x="988" y="402"/>
                      </a:lnTo>
                      <a:lnTo>
                        <a:pt x="990" y="400"/>
                      </a:lnTo>
                      <a:lnTo>
                        <a:pt x="990" y="398"/>
                      </a:lnTo>
                      <a:lnTo>
                        <a:pt x="990" y="396"/>
                      </a:lnTo>
                      <a:lnTo>
                        <a:pt x="992" y="396"/>
                      </a:lnTo>
                      <a:lnTo>
                        <a:pt x="994" y="386"/>
                      </a:lnTo>
                      <a:lnTo>
                        <a:pt x="994" y="384"/>
                      </a:lnTo>
                      <a:lnTo>
                        <a:pt x="998" y="376"/>
                      </a:lnTo>
                      <a:lnTo>
                        <a:pt x="998" y="374"/>
                      </a:lnTo>
                      <a:lnTo>
                        <a:pt x="1000" y="372"/>
                      </a:lnTo>
                      <a:lnTo>
                        <a:pt x="1000" y="370"/>
                      </a:lnTo>
                      <a:lnTo>
                        <a:pt x="1000" y="362"/>
                      </a:lnTo>
                      <a:lnTo>
                        <a:pt x="1002" y="360"/>
                      </a:lnTo>
                      <a:lnTo>
                        <a:pt x="1004" y="360"/>
                      </a:lnTo>
                      <a:lnTo>
                        <a:pt x="1004" y="362"/>
                      </a:lnTo>
                      <a:lnTo>
                        <a:pt x="1006" y="362"/>
                      </a:lnTo>
                      <a:lnTo>
                        <a:pt x="1008" y="362"/>
                      </a:lnTo>
                      <a:lnTo>
                        <a:pt x="1012" y="364"/>
                      </a:lnTo>
                      <a:lnTo>
                        <a:pt x="1014" y="368"/>
                      </a:lnTo>
                      <a:lnTo>
                        <a:pt x="1016" y="368"/>
                      </a:lnTo>
                      <a:lnTo>
                        <a:pt x="1018" y="368"/>
                      </a:lnTo>
                      <a:lnTo>
                        <a:pt x="1020" y="368"/>
                      </a:lnTo>
                      <a:lnTo>
                        <a:pt x="1022" y="368"/>
                      </a:lnTo>
                      <a:lnTo>
                        <a:pt x="1022" y="370"/>
                      </a:lnTo>
                      <a:lnTo>
                        <a:pt x="1024" y="370"/>
                      </a:lnTo>
                      <a:lnTo>
                        <a:pt x="1030" y="370"/>
                      </a:lnTo>
                      <a:lnTo>
                        <a:pt x="1032" y="370"/>
                      </a:lnTo>
                      <a:lnTo>
                        <a:pt x="1032" y="368"/>
                      </a:lnTo>
                      <a:lnTo>
                        <a:pt x="1046" y="370"/>
                      </a:lnTo>
                      <a:lnTo>
                        <a:pt x="1048" y="372"/>
                      </a:lnTo>
                      <a:lnTo>
                        <a:pt x="1048" y="374"/>
                      </a:lnTo>
                      <a:lnTo>
                        <a:pt x="1048" y="376"/>
                      </a:lnTo>
                      <a:lnTo>
                        <a:pt x="1050" y="376"/>
                      </a:lnTo>
                      <a:lnTo>
                        <a:pt x="1054" y="374"/>
                      </a:lnTo>
                      <a:lnTo>
                        <a:pt x="1054" y="372"/>
                      </a:lnTo>
                      <a:lnTo>
                        <a:pt x="1056" y="372"/>
                      </a:lnTo>
                      <a:lnTo>
                        <a:pt x="1060" y="370"/>
                      </a:lnTo>
                      <a:lnTo>
                        <a:pt x="1060" y="368"/>
                      </a:lnTo>
                      <a:lnTo>
                        <a:pt x="1062" y="368"/>
                      </a:lnTo>
                      <a:lnTo>
                        <a:pt x="1068" y="368"/>
                      </a:lnTo>
                      <a:lnTo>
                        <a:pt x="1070" y="364"/>
                      </a:lnTo>
                      <a:lnTo>
                        <a:pt x="1072" y="360"/>
                      </a:lnTo>
                      <a:lnTo>
                        <a:pt x="1074" y="358"/>
                      </a:lnTo>
                      <a:lnTo>
                        <a:pt x="1074" y="354"/>
                      </a:lnTo>
                      <a:lnTo>
                        <a:pt x="1072" y="352"/>
                      </a:lnTo>
                      <a:lnTo>
                        <a:pt x="1072" y="350"/>
                      </a:lnTo>
                      <a:lnTo>
                        <a:pt x="1070" y="348"/>
                      </a:lnTo>
                      <a:lnTo>
                        <a:pt x="1072" y="346"/>
                      </a:lnTo>
                      <a:lnTo>
                        <a:pt x="1070" y="334"/>
                      </a:lnTo>
                      <a:lnTo>
                        <a:pt x="1068" y="332"/>
                      </a:lnTo>
                      <a:lnTo>
                        <a:pt x="1070" y="330"/>
                      </a:lnTo>
                      <a:lnTo>
                        <a:pt x="1070" y="328"/>
                      </a:lnTo>
                      <a:lnTo>
                        <a:pt x="1070" y="326"/>
                      </a:lnTo>
                      <a:lnTo>
                        <a:pt x="1072" y="326"/>
                      </a:lnTo>
                      <a:lnTo>
                        <a:pt x="1070" y="324"/>
                      </a:lnTo>
                      <a:lnTo>
                        <a:pt x="1076" y="312"/>
                      </a:lnTo>
                      <a:lnTo>
                        <a:pt x="1078" y="312"/>
                      </a:lnTo>
                      <a:lnTo>
                        <a:pt x="1078" y="310"/>
                      </a:lnTo>
                      <a:lnTo>
                        <a:pt x="1086" y="310"/>
                      </a:lnTo>
                      <a:lnTo>
                        <a:pt x="1086" y="312"/>
                      </a:lnTo>
                      <a:lnTo>
                        <a:pt x="1088" y="312"/>
                      </a:lnTo>
                      <a:lnTo>
                        <a:pt x="1090" y="310"/>
                      </a:lnTo>
                      <a:lnTo>
                        <a:pt x="1090" y="308"/>
                      </a:lnTo>
                      <a:lnTo>
                        <a:pt x="1094" y="308"/>
                      </a:lnTo>
                      <a:lnTo>
                        <a:pt x="1098" y="306"/>
                      </a:lnTo>
                      <a:lnTo>
                        <a:pt x="1100" y="304"/>
                      </a:lnTo>
                      <a:lnTo>
                        <a:pt x="1102" y="302"/>
                      </a:lnTo>
                      <a:lnTo>
                        <a:pt x="1102" y="300"/>
                      </a:lnTo>
                      <a:lnTo>
                        <a:pt x="1102" y="298"/>
                      </a:lnTo>
                      <a:lnTo>
                        <a:pt x="1104" y="294"/>
                      </a:lnTo>
                      <a:lnTo>
                        <a:pt x="1102" y="292"/>
                      </a:lnTo>
                      <a:lnTo>
                        <a:pt x="1102" y="288"/>
                      </a:lnTo>
                      <a:lnTo>
                        <a:pt x="1106" y="282"/>
                      </a:lnTo>
                      <a:lnTo>
                        <a:pt x="1114" y="282"/>
                      </a:lnTo>
                      <a:lnTo>
                        <a:pt x="1118" y="284"/>
                      </a:lnTo>
                      <a:lnTo>
                        <a:pt x="1118" y="28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2" name="Freeform 3420"/>
                <p:cNvSpPr>
                  <a:spLocks/>
                </p:cNvSpPr>
                <p:nvPr/>
              </p:nvSpPr>
              <p:spPr bwMode="auto">
                <a:xfrm>
                  <a:off x="1848526" y="3308186"/>
                  <a:ext cx="1097099" cy="993207"/>
                </a:xfrm>
                <a:custGeom>
                  <a:avLst/>
                  <a:gdLst/>
                  <a:ahLst/>
                  <a:cxnLst>
                    <a:cxn ang="0">
                      <a:pos x="468" y="108"/>
                    </a:cxn>
                    <a:cxn ang="0">
                      <a:pos x="418" y="82"/>
                    </a:cxn>
                    <a:cxn ang="0">
                      <a:pos x="400" y="74"/>
                    </a:cxn>
                    <a:cxn ang="0">
                      <a:pos x="364" y="60"/>
                    </a:cxn>
                    <a:cxn ang="0">
                      <a:pos x="336" y="56"/>
                    </a:cxn>
                    <a:cxn ang="0">
                      <a:pos x="314" y="58"/>
                    </a:cxn>
                    <a:cxn ang="0">
                      <a:pos x="288" y="82"/>
                    </a:cxn>
                    <a:cxn ang="0">
                      <a:pos x="272" y="102"/>
                    </a:cxn>
                    <a:cxn ang="0">
                      <a:pos x="264" y="100"/>
                    </a:cxn>
                    <a:cxn ang="0">
                      <a:pos x="226" y="108"/>
                    </a:cxn>
                    <a:cxn ang="0">
                      <a:pos x="200" y="108"/>
                    </a:cxn>
                    <a:cxn ang="0">
                      <a:pos x="180" y="98"/>
                    </a:cxn>
                    <a:cxn ang="0">
                      <a:pos x="152" y="80"/>
                    </a:cxn>
                    <a:cxn ang="0">
                      <a:pos x="132" y="60"/>
                    </a:cxn>
                    <a:cxn ang="0">
                      <a:pos x="114" y="38"/>
                    </a:cxn>
                    <a:cxn ang="0">
                      <a:pos x="112" y="20"/>
                    </a:cxn>
                    <a:cxn ang="0">
                      <a:pos x="110" y="2"/>
                    </a:cxn>
                    <a:cxn ang="0">
                      <a:pos x="80" y="22"/>
                    </a:cxn>
                    <a:cxn ang="0">
                      <a:pos x="30" y="20"/>
                    </a:cxn>
                    <a:cxn ang="0">
                      <a:pos x="16" y="0"/>
                    </a:cxn>
                    <a:cxn ang="0">
                      <a:pos x="4" y="26"/>
                    </a:cxn>
                    <a:cxn ang="0">
                      <a:pos x="12" y="52"/>
                    </a:cxn>
                    <a:cxn ang="0">
                      <a:pos x="20" y="92"/>
                    </a:cxn>
                    <a:cxn ang="0">
                      <a:pos x="28" y="110"/>
                    </a:cxn>
                    <a:cxn ang="0">
                      <a:pos x="38" y="130"/>
                    </a:cxn>
                    <a:cxn ang="0">
                      <a:pos x="58" y="138"/>
                    </a:cxn>
                    <a:cxn ang="0">
                      <a:pos x="58" y="154"/>
                    </a:cxn>
                    <a:cxn ang="0">
                      <a:pos x="48" y="170"/>
                    </a:cxn>
                    <a:cxn ang="0">
                      <a:pos x="40" y="186"/>
                    </a:cxn>
                    <a:cxn ang="0">
                      <a:pos x="50" y="210"/>
                    </a:cxn>
                    <a:cxn ang="0">
                      <a:pos x="58" y="226"/>
                    </a:cxn>
                    <a:cxn ang="0">
                      <a:pos x="90" y="248"/>
                    </a:cxn>
                    <a:cxn ang="0">
                      <a:pos x="100" y="296"/>
                    </a:cxn>
                    <a:cxn ang="0">
                      <a:pos x="126" y="328"/>
                    </a:cxn>
                    <a:cxn ang="0">
                      <a:pos x="136" y="310"/>
                    </a:cxn>
                    <a:cxn ang="0">
                      <a:pos x="148" y="324"/>
                    </a:cxn>
                    <a:cxn ang="0">
                      <a:pos x="176" y="338"/>
                    </a:cxn>
                    <a:cxn ang="0">
                      <a:pos x="188" y="360"/>
                    </a:cxn>
                    <a:cxn ang="0">
                      <a:pos x="198" y="384"/>
                    </a:cxn>
                    <a:cxn ang="0">
                      <a:pos x="234" y="408"/>
                    </a:cxn>
                    <a:cxn ang="0">
                      <a:pos x="264" y="430"/>
                    </a:cxn>
                    <a:cxn ang="0">
                      <a:pos x="312" y="428"/>
                    </a:cxn>
                    <a:cxn ang="0">
                      <a:pos x="344" y="416"/>
                    </a:cxn>
                    <a:cxn ang="0">
                      <a:pos x="358" y="434"/>
                    </a:cxn>
                    <a:cxn ang="0">
                      <a:pos x="372" y="458"/>
                    </a:cxn>
                    <a:cxn ang="0">
                      <a:pos x="404" y="464"/>
                    </a:cxn>
                    <a:cxn ang="0">
                      <a:pos x="428" y="468"/>
                    </a:cxn>
                    <a:cxn ang="0">
                      <a:pos x="454" y="472"/>
                    </a:cxn>
                    <a:cxn ang="0">
                      <a:pos x="480" y="476"/>
                    </a:cxn>
                    <a:cxn ang="0">
                      <a:pos x="500" y="440"/>
                    </a:cxn>
                    <a:cxn ang="0">
                      <a:pos x="522" y="432"/>
                    </a:cxn>
                    <a:cxn ang="0">
                      <a:pos x="512" y="412"/>
                    </a:cxn>
                    <a:cxn ang="0">
                      <a:pos x="500" y="376"/>
                    </a:cxn>
                    <a:cxn ang="0">
                      <a:pos x="470" y="320"/>
                    </a:cxn>
                    <a:cxn ang="0">
                      <a:pos x="458" y="262"/>
                    </a:cxn>
                    <a:cxn ang="0">
                      <a:pos x="450" y="206"/>
                    </a:cxn>
                    <a:cxn ang="0">
                      <a:pos x="460" y="178"/>
                    </a:cxn>
                  </a:cxnLst>
                  <a:rect l="0" t="0" r="r" b="b"/>
                  <a:pathLst>
                    <a:path w="528" h="478">
                      <a:moveTo>
                        <a:pt x="470" y="142"/>
                      </a:moveTo>
                      <a:lnTo>
                        <a:pt x="470" y="138"/>
                      </a:lnTo>
                      <a:lnTo>
                        <a:pt x="470" y="134"/>
                      </a:lnTo>
                      <a:lnTo>
                        <a:pt x="470" y="132"/>
                      </a:lnTo>
                      <a:lnTo>
                        <a:pt x="470" y="128"/>
                      </a:lnTo>
                      <a:lnTo>
                        <a:pt x="470" y="126"/>
                      </a:lnTo>
                      <a:lnTo>
                        <a:pt x="468" y="116"/>
                      </a:lnTo>
                      <a:lnTo>
                        <a:pt x="470" y="112"/>
                      </a:lnTo>
                      <a:lnTo>
                        <a:pt x="468" y="110"/>
                      </a:lnTo>
                      <a:lnTo>
                        <a:pt x="468" y="108"/>
                      </a:lnTo>
                      <a:lnTo>
                        <a:pt x="446" y="108"/>
                      </a:lnTo>
                      <a:lnTo>
                        <a:pt x="440" y="102"/>
                      </a:lnTo>
                      <a:lnTo>
                        <a:pt x="440" y="100"/>
                      </a:lnTo>
                      <a:lnTo>
                        <a:pt x="440" y="98"/>
                      </a:lnTo>
                      <a:lnTo>
                        <a:pt x="438" y="96"/>
                      </a:lnTo>
                      <a:lnTo>
                        <a:pt x="422" y="88"/>
                      </a:lnTo>
                      <a:lnTo>
                        <a:pt x="420" y="86"/>
                      </a:lnTo>
                      <a:lnTo>
                        <a:pt x="420" y="84"/>
                      </a:lnTo>
                      <a:lnTo>
                        <a:pt x="418" y="84"/>
                      </a:lnTo>
                      <a:lnTo>
                        <a:pt x="418" y="82"/>
                      </a:lnTo>
                      <a:lnTo>
                        <a:pt x="420" y="80"/>
                      </a:lnTo>
                      <a:lnTo>
                        <a:pt x="418" y="78"/>
                      </a:lnTo>
                      <a:lnTo>
                        <a:pt x="416" y="78"/>
                      </a:lnTo>
                      <a:lnTo>
                        <a:pt x="414" y="78"/>
                      </a:lnTo>
                      <a:lnTo>
                        <a:pt x="412" y="78"/>
                      </a:lnTo>
                      <a:lnTo>
                        <a:pt x="410" y="74"/>
                      </a:lnTo>
                      <a:lnTo>
                        <a:pt x="408" y="74"/>
                      </a:lnTo>
                      <a:lnTo>
                        <a:pt x="404" y="74"/>
                      </a:lnTo>
                      <a:lnTo>
                        <a:pt x="402" y="74"/>
                      </a:lnTo>
                      <a:lnTo>
                        <a:pt x="400" y="74"/>
                      </a:lnTo>
                      <a:lnTo>
                        <a:pt x="394" y="74"/>
                      </a:lnTo>
                      <a:lnTo>
                        <a:pt x="388" y="72"/>
                      </a:lnTo>
                      <a:lnTo>
                        <a:pt x="388" y="70"/>
                      </a:lnTo>
                      <a:lnTo>
                        <a:pt x="386" y="70"/>
                      </a:lnTo>
                      <a:lnTo>
                        <a:pt x="374" y="64"/>
                      </a:lnTo>
                      <a:lnTo>
                        <a:pt x="370" y="66"/>
                      </a:lnTo>
                      <a:lnTo>
                        <a:pt x="368" y="64"/>
                      </a:lnTo>
                      <a:lnTo>
                        <a:pt x="366" y="64"/>
                      </a:lnTo>
                      <a:lnTo>
                        <a:pt x="364" y="62"/>
                      </a:lnTo>
                      <a:lnTo>
                        <a:pt x="364" y="60"/>
                      </a:lnTo>
                      <a:lnTo>
                        <a:pt x="360" y="52"/>
                      </a:lnTo>
                      <a:lnTo>
                        <a:pt x="358" y="52"/>
                      </a:lnTo>
                      <a:lnTo>
                        <a:pt x="358" y="54"/>
                      </a:lnTo>
                      <a:lnTo>
                        <a:pt x="356" y="56"/>
                      </a:lnTo>
                      <a:lnTo>
                        <a:pt x="350" y="54"/>
                      </a:lnTo>
                      <a:lnTo>
                        <a:pt x="348" y="54"/>
                      </a:lnTo>
                      <a:lnTo>
                        <a:pt x="348" y="52"/>
                      </a:lnTo>
                      <a:lnTo>
                        <a:pt x="346" y="54"/>
                      </a:lnTo>
                      <a:lnTo>
                        <a:pt x="338" y="54"/>
                      </a:lnTo>
                      <a:lnTo>
                        <a:pt x="336" y="56"/>
                      </a:lnTo>
                      <a:lnTo>
                        <a:pt x="336" y="58"/>
                      </a:lnTo>
                      <a:lnTo>
                        <a:pt x="336" y="60"/>
                      </a:lnTo>
                      <a:lnTo>
                        <a:pt x="334" y="60"/>
                      </a:lnTo>
                      <a:lnTo>
                        <a:pt x="332" y="60"/>
                      </a:lnTo>
                      <a:lnTo>
                        <a:pt x="328" y="60"/>
                      </a:lnTo>
                      <a:lnTo>
                        <a:pt x="326" y="60"/>
                      </a:lnTo>
                      <a:lnTo>
                        <a:pt x="324" y="60"/>
                      </a:lnTo>
                      <a:lnTo>
                        <a:pt x="322" y="58"/>
                      </a:lnTo>
                      <a:lnTo>
                        <a:pt x="320" y="58"/>
                      </a:lnTo>
                      <a:lnTo>
                        <a:pt x="314" y="58"/>
                      </a:lnTo>
                      <a:lnTo>
                        <a:pt x="312" y="60"/>
                      </a:lnTo>
                      <a:lnTo>
                        <a:pt x="310" y="60"/>
                      </a:lnTo>
                      <a:lnTo>
                        <a:pt x="304" y="64"/>
                      </a:lnTo>
                      <a:lnTo>
                        <a:pt x="300" y="66"/>
                      </a:lnTo>
                      <a:lnTo>
                        <a:pt x="296" y="70"/>
                      </a:lnTo>
                      <a:lnTo>
                        <a:pt x="294" y="72"/>
                      </a:lnTo>
                      <a:lnTo>
                        <a:pt x="294" y="78"/>
                      </a:lnTo>
                      <a:lnTo>
                        <a:pt x="294" y="80"/>
                      </a:lnTo>
                      <a:lnTo>
                        <a:pt x="290" y="82"/>
                      </a:lnTo>
                      <a:lnTo>
                        <a:pt x="288" y="82"/>
                      </a:lnTo>
                      <a:lnTo>
                        <a:pt x="286" y="82"/>
                      </a:lnTo>
                      <a:lnTo>
                        <a:pt x="284" y="84"/>
                      </a:lnTo>
                      <a:lnTo>
                        <a:pt x="282" y="84"/>
                      </a:lnTo>
                      <a:lnTo>
                        <a:pt x="278" y="86"/>
                      </a:lnTo>
                      <a:lnTo>
                        <a:pt x="270" y="86"/>
                      </a:lnTo>
                      <a:lnTo>
                        <a:pt x="270" y="90"/>
                      </a:lnTo>
                      <a:lnTo>
                        <a:pt x="272" y="96"/>
                      </a:lnTo>
                      <a:lnTo>
                        <a:pt x="272" y="98"/>
                      </a:lnTo>
                      <a:lnTo>
                        <a:pt x="274" y="102"/>
                      </a:lnTo>
                      <a:lnTo>
                        <a:pt x="272" y="102"/>
                      </a:lnTo>
                      <a:lnTo>
                        <a:pt x="270" y="104"/>
                      </a:lnTo>
                      <a:lnTo>
                        <a:pt x="264" y="102"/>
                      </a:lnTo>
                      <a:lnTo>
                        <a:pt x="262" y="102"/>
                      </a:lnTo>
                      <a:lnTo>
                        <a:pt x="264" y="102"/>
                      </a:lnTo>
                      <a:lnTo>
                        <a:pt x="266" y="100"/>
                      </a:lnTo>
                      <a:lnTo>
                        <a:pt x="268" y="100"/>
                      </a:lnTo>
                      <a:lnTo>
                        <a:pt x="270" y="100"/>
                      </a:lnTo>
                      <a:lnTo>
                        <a:pt x="272" y="98"/>
                      </a:lnTo>
                      <a:lnTo>
                        <a:pt x="268" y="100"/>
                      </a:lnTo>
                      <a:lnTo>
                        <a:pt x="264" y="100"/>
                      </a:lnTo>
                      <a:lnTo>
                        <a:pt x="260" y="100"/>
                      </a:lnTo>
                      <a:lnTo>
                        <a:pt x="258" y="100"/>
                      </a:lnTo>
                      <a:lnTo>
                        <a:pt x="258" y="102"/>
                      </a:lnTo>
                      <a:lnTo>
                        <a:pt x="252" y="102"/>
                      </a:lnTo>
                      <a:lnTo>
                        <a:pt x="246" y="104"/>
                      </a:lnTo>
                      <a:lnTo>
                        <a:pt x="244" y="104"/>
                      </a:lnTo>
                      <a:lnTo>
                        <a:pt x="240" y="106"/>
                      </a:lnTo>
                      <a:lnTo>
                        <a:pt x="234" y="108"/>
                      </a:lnTo>
                      <a:lnTo>
                        <a:pt x="230" y="108"/>
                      </a:lnTo>
                      <a:lnTo>
                        <a:pt x="226" y="108"/>
                      </a:lnTo>
                      <a:lnTo>
                        <a:pt x="224" y="108"/>
                      </a:lnTo>
                      <a:lnTo>
                        <a:pt x="222" y="110"/>
                      </a:lnTo>
                      <a:lnTo>
                        <a:pt x="220" y="110"/>
                      </a:lnTo>
                      <a:lnTo>
                        <a:pt x="218" y="110"/>
                      </a:lnTo>
                      <a:lnTo>
                        <a:pt x="218" y="112"/>
                      </a:lnTo>
                      <a:lnTo>
                        <a:pt x="214" y="110"/>
                      </a:lnTo>
                      <a:lnTo>
                        <a:pt x="206" y="110"/>
                      </a:lnTo>
                      <a:lnTo>
                        <a:pt x="204" y="108"/>
                      </a:lnTo>
                      <a:lnTo>
                        <a:pt x="202" y="108"/>
                      </a:lnTo>
                      <a:lnTo>
                        <a:pt x="200" y="108"/>
                      </a:lnTo>
                      <a:lnTo>
                        <a:pt x="198" y="108"/>
                      </a:lnTo>
                      <a:lnTo>
                        <a:pt x="196" y="108"/>
                      </a:lnTo>
                      <a:lnTo>
                        <a:pt x="196" y="106"/>
                      </a:lnTo>
                      <a:lnTo>
                        <a:pt x="194" y="106"/>
                      </a:lnTo>
                      <a:lnTo>
                        <a:pt x="192" y="106"/>
                      </a:lnTo>
                      <a:lnTo>
                        <a:pt x="190" y="106"/>
                      </a:lnTo>
                      <a:lnTo>
                        <a:pt x="190" y="104"/>
                      </a:lnTo>
                      <a:lnTo>
                        <a:pt x="188" y="104"/>
                      </a:lnTo>
                      <a:lnTo>
                        <a:pt x="188" y="102"/>
                      </a:lnTo>
                      <a:lnTo>
                        <a:pt x="180" y="98"/>
                      </a:lnTo>
                      <a:lnTo>
                        <a:pt x="178" y="98"/>
                      </a:lnTo>
                      <a:lnTo>
                        <a:pt x="176" y="96"/>
                      </a:lnTo>
                      <a:lnTo>
                        <a:pt x="172" y="92"/>
                      </a:lnTo>
                      <a:lnTo>
                        <a:pt x="170" y="90"/>
                      </a:lnTo>
                      <a:lnTo>
                        <a:pt x="170" y="88"/>
                      </a:lnTo>
                      <a:lnTo>
                        <a:pt x="170" y="86"/>
                      </a:lnTo>
                      <a:lnTo>
                        <a:pt x="168" y="84"/>
                      </a:lnTo>
                      <a:lnTo>
                        <a:pt x="160" y="82"/>
                      </a:lnTo>
                      <a:lnTo>
                        <a:pt x="160" y="80"/>
                      </a:lnTo>
                      <a:lnTo>
                        <a:pt x="152" y="80"/>
                      </a:lnTo>
                      <a:lnTo>
                        <a:pt x="148" y="80"/>
                      </a:lnTo>
                      <a:lnTo>
                        <a:pt x="144" y="78"/>
                      </a:lnTo>
                      <a:lnTo>
                        <a:pt x="142" y="78"/>
                      </a:lnTo>
                      <a:lnTo>
                        <a:pt x="140" y="76"/>
                      </a:lnTo>
                      <a:lnTo>
                        <a:pt x="138" y="74"/>
                      </a:lnTo>
                      <a:lnTo>
                        <a:pt x="136" y="74"/>
                      </a:lnTo>
                      <a:lnTo>
                        <a:pt x="136" y="72"/>
                      </a:lnTo>
                      <a:lnTo>
                        <a:pt x="136" y="70"/>
                      </a:lnTo>
                      <a:lnTo>
                        <a:pt x="134" y="66"/>
                      </a:lnTo>
                      <a:lnTo>
                        <a:pt x="132" y="60"/>
                      </a:lnTo>
                      <a:lnTo>
                        <a:pt x="132" y="52"/>
                      </a:lnTo>
                      <a:lnTo>
                        <a:pt x="132" y="50"/>
                      </a:lnTo>
                      <a:lnTo>
                        <a:pt x="132" y="46"/>
                      </a:lnTo>
                      <a:lnTo>
                        <a:pt x="130" y="46"/>
                      </a:lnTo>
                      <a:lnTo>
                        <a:pt x="126" y="50"/>
                      </a:lnTo>
                      <a:lnTo>
                        <a:pt x="124" y="48"/>
                      </a:lnTo>
                      <a:lnTo>
                        <a:pt x="120" y="40"/>
                      </a:lnTo>
                      <a:lnTo>
                        <a:pt x="118" y="40"/>
                      </a:lnTo>
                      <a:lnTo>
                        <a:pt x="118" y="42"/>
                      </a:lnTo>
                      <a:lnTo>
                        <a:pt x="114" y="38"/>
                      </a:lnTo>
                      <a:lnTo>
                        <a:pt x="112" y="36"/>
                      </a:lnTo>
                      <a:lnTo>
                        <a:pt x="112" y="34"/>
                      </a:lnTo>
                      <a:lnTo>
                        <a:pt x="108" y="32"/>
                      </a:lnTo>
                      <a:lnTo>
                        <a:pt x="110" y="28"/>
                      </a:lnTo>
                      <a:lnTo>
                        <a:pt x="114" y="28"/>
                      </a:lnTo>
                      <a:lnTo>
                        <a:pt x="118" y="26"/>
                      </a:lnTo>
                      <a:lnTo>
                        <a:pt x="116" y="24"/>
                      </a:lnTo>
                      <a:lnTo>
                        <a:pt x="116" y="22"/>
                      </a:lnTo>
                      <a:lnTo>
                        <a:pt x="114" y="22"/>
                      </a:lnTo>
                      <a:lnTo>
                        <a:pt x="112" y="20"/>
                      </a:lnTo>
                      <a:lnTo>
                        <a:pt x="112" y="18"/>
                      </a:lnTo>
                      <a:lnTo>
                        <a:pt x="112" y="16"/>
                      </a:lnTo>
                      <a:lnTo>
                        <a:pt x="114" y="16"/>
                      </a:lnTo>
                      <a:lnTo>
                        <a:pt x="114" y="14"/>
                      </a:lnTo>
                      <a:lnTo>
                        <a:pt x="116" y="14"/>
                      </a:lnTo>
                      <a:lnTo>
                        <a:pt x="118" y="14"/>
                      </a:lnTo>
                      <a:lnTo>
                        <a:pt x="118" y="12"/>
                      </a:lnTo>
                      <a:lnTo>
                        <a:pt x="116" y="10"/>
                      </a:lnTo>
                      <a:lnTo>
                        <a:pt x="110" y="4"/>
                      </a:lnTo>
                      <a:lnTo>
                        <a:pt x="110" y="2"/>
                      </a:lnTo>
                      <a:lnTo>
                        <a:pt x="108" y="2"/>
                      </a:lnTo>
                      <a:lnTo>
                        <a:pt x="102" y="2"/>
                      </a:lnTo>
                      <a:lnTo>
                        <a:pt x="102" y="4"/>
                      </a:lnTo>
                      <a:lnTo>
                        <a:pt x="96" y="8"/>
                      </a:lnTo>
                      <a:lnTo>
                        <a:pt x="92" y="10"/>
                      </a:lnTo>
                      <a:lnTo>
                        <a:pt x="90" y="12"/>
                      </a:lnTo>
                      <a:lnTo>
                        <a:pt x="90" y="14"/>
                      </a:lnTo>
                      <a:lnTo>
                        <a:pt x="86" y="16"/>
                      </a:lnTo>
                      <a:lnTo>
                        <a:pt x="84" y="16"/>
                      </a:lnTo>
                      <a:lnTo>
                        <a:pt x="80" y="22"/>
                      </a:lnTo>
                      <a:lnTo>
                        <a:pt x="76" y="22"/>
                      </a:lnTo>
                      <a:lnTo>
                        <a:pt x="68" y="32"/>
                      </a:lnTo>
                      <a:lnTo>
                        <a:pt x="64" y="30"/>
                      </a:lnTo>
                      <a:lnTo>
                        <a:pt x="62" y="32"/>
                      </a:lnTo>
                      <a:lnTo>
                        <a:pt x="60" y="32"/>
                      </a:lnTo>
                      <a:lnTo>
                        <a:pt x="40" y="28"/>
                      </a:lnTo>
                      <a:lnTo>
                        <a:pt x="38" y="26"/>
                      </a:lnTo>
                      <a:lnTo>
                        <a:pt x="34" y="20"/>
                      </a:lnTo>
                      <a:lnTo>
                        <a:pt x="32" y="20"/>
                      </a:lnTo>
                      <a:lnTo>
                        <a:pt x="30" y="20"/>
                      </a:lnTo>
                      <a:lnTo>
                        <a:pt x="30" y="18"/>
                      </a:lnTo>
                      <a:lnTo>
                        <a:pt x="30" y="16"/>
                      </a:lnTo>
                      <a:lnTo>
                        <a:pt x="26" y="12"/>
                      </a:lnTo>
                      <a:lnTo>
                        <a:pt x="24" y="12"/>
                      </a:lnTo>
                      <a:lnTo>
                        <a:pt x="24" y="8"/>
                      </a:lnTo>
                      <a:lnTo>
                        <a:pt x="24" y="6"/>
                      </a:lnTo>
                      <a:lnTo>
                        <a:pt x="22" y="6"/>
                      </a:lnTo>
                      <a:lnTo>
                        <a:pt x="20" y="4"/>
                      </a:lnTo>
                      <a:lnTo>
                        <a:pt x="18" y="2"/>
                      </a:lnTo>
                      <a:lnTo>
                        <a:pt x="16" y="0"/>
                      </a:lnTo>
                      <a:lnTo>
                        <a:pt x="12" y="2"/>
                      </a:lnTo>
                      <a:lnTo>
                        <a:pt x="12" y="4"/>
                      </a:lnTo>
                      <a:lnTo>
                        <a:pt x="10" y="12"/>
                      </a:lnTo>
                      <a:lnTo>
                        <a:pt x="8" y="14"/>
                      </a:lnTo>
                      <a:lnTo>
                        <a:pt x="6" y="14"/>
                      </a:lnTo>
                      <a:lnTo>
                        <a:pt x="4" y="12"/>
                      </a:lnTo>
                      <a:lnTo>
                        <a:pt x="0" y="14"/>
                      </a:lnTo>
                      <a:lnTo>
                        <a:pt x="0" y="16"/>
                      </a:lnTo>
                      <a:lnTo>
                        <a:pt x="4" y="22"/>
                      </a:lnTo>
                      <a:lnTo>
                        <a:pt x="4" y="26"/>
                      </a:lnTo>
                      <a:lnTo>
                        <a:pt x="2" y="26"/>
                      </a:lnTo>
                      <a:lnTo>
                        <a:pt x="4" y="32"/>
                      </a:lnTo>
                      <a:lnTo>
                        <a:pt x="6" y="32"/>
                      </a:lnTo>
                      <a:lnTo>
                        <a:pt x="6" y="38"/>
                      </a:lnTo>
                      <a:lnTo>
                        <a:pt x="8" y="44"/>
                      </a:lnTo>
                      <a:lnTo>
                        <a:pt x="6" y="46"/>
                      </a:lnTo>
                      <a:lnTo>
                        <a:pt x="6" y="50"/>
                      </a:lnTo>
                      <a:lnTo>
                        <a:pt x="10" y="48"/>
                      </a:lnTo>
                      <a:lnTo>
                        <a:pt x="12" y="50"/>
                      </a:lnTo>
                      <a:lnTo>
                        <a:pt x="12" y="52"/>
                      </a:lnTo>
                      <a:lnTo>
                        <a:pt x="4" y="66"/>
                      </a:lnTo>
                      <a:lnTo>
                        <a:pt x="14" y="70"/>
                      </a:lnTo>
                      <a:lnTo>
                        <a:pt x="16" y="72"/>
                      </a:lnTo>
                      <a:lnTo>
                        <a:pt x="14" y="72"/>
                      </a:lnTo>
                      <a:lnTo>
                        <a:pt x="14" y="82"/>
                      </a:lnTo>
                      <a:lnTo>
                        <a:pt x="16" y="82"/>
                      </a:lnTo>
                      <a:lnTo>
                        <a:pt x="20" y="86"/>
                      </a:lnTo>
                      <a:lnTo>
                        <a:pt x="22" y="88"/>
                      </a:lnTo>
                      <a:lnTo>
                        <a:pt x="20" y="90"/>
                      </a:lnTo>
                      <a:lnTo>
                        <a:pt x="20" y="92"/>
                      </a:lnTo>
                      <a:lnTo>
                        <a:pt x="20" y="94"/>
                      </a:lnTo>
                      <a:lnTo>
                        <a:pt x="20" y="96"/>
                      </a:lnTo>
                      <a:lnTo>
                        <a:pt x="22" y="96"/>
                      </a:lnTo>
                      <a:lnTo>
                        <a:pt x="24" y="96"/>
                      </a:lnTo>
                      <a:lnTo>
                        <a:pt x="24" y="102"/>
                      </a:lnTo>
                      <a:lnTo>
                        <a:pt x="22" y="102"/>
                      </a:lnTo>
                      <a:lnTo>
                        <a:pt x="24" y="104"/>
                      </a:lnTo>
                      <a:lnTo>
                        <a:pt x="26" y="106"/>
                      </a:lnTo>
                      <a:lnTo>
                        <a:pt x="28" y="108"/>
                      </a:lnTo>
                      <a:lnTo>
                        <a:pt x="28" y="110"/>
                      </a:lnTo>
                      <a:lnTo>
                        <a:pt x="26" y="112"/>
                      </a:lnTo>
                      <a:lnTo>
                        <a:pt x="28" y="114"/>
                      </a:lnTo>
                      <a:lnTo>
                        <a:pt x="28" y="116"/>
                      </a:lnTo>
                      <a:lnTo>
                        <a:pt x="30" y="116"/>
                      </a:lnTo>
                      <a:lnTo>
                        <a:pt x="32" y="116"/>
                      </a:lnTo>
                      <a:lnTo>
                        <a:pt x="36" y="122"/>
                      </a:lnTo>
                      <a:lnTo>
                        <a:pt x="36" y="126"/>
                      </a:lnTo>
                      <a:lnTo>
                        <a:pt x="36" y="128"/>
                      </a:lnTo>
                      <a:lnTo>
                        <a:pt x="38" y="132"/>
                      </a:lnTo>
                      <a:lnTo>
                        <a:pt x="38" y="130"/>
                      </a:lnTo>
                      <a:lnTo>
                        <a:pt x="40" y="130"/>
                      </a:lnTo>
                      <a:lnTo>
                        <a:pt x="44" y="132"/>
                      </a:lnTo>
                      <a:lnTo>
                        <a:pt x="44" y="134"/>
                      </a:lnTo>
                      <a:lnTo>
                        <a:pt x="46" y="136"/>
                      </a:lnTo>
                      <a:lnTo>
                        <a:pt x="48" y="138"/>
                      </a:lnTo>
                      <a:lnTo>
                        <a:pt x="50" y="138"/>
                      </a:lnTo>
                      <a:lnTo>
                        <a:pt x="50" y="136"/>
                      </a:lnTo>
                      <a:lnTo>
                        <a:pt x="56" y="136"/>
                      </a:lnTo>
                      <a:lnTo>
                        <a:pt x="58" y="136"/>
                      </a:lnTo>
                      <a:lnTo>
                        <a:pt x="58" y="138"/>
                      </a:lnTo>
                      <a:lnTo>
                        <a:pt x="60" y="138"/>
                      </a:lnTo>
                      <a:lnTo>
                        <a:pt x="62" y="136"/>
                      </a:lnTo>
                      <a:lnTo>
                        <a:pt x="62" y="138"/>
                      </a:lnTo>
                      <a:lnTo>
                        <a:pt x="60" y="140"/>
                      </a:lnTo>
                      <a:lnTo>
                        <a:pt x="58" y="142"/>
                      </a:lnTo>
                      <a:lnTo>
                        <a:pt x="54" y="142"/>
                      </a:lnTo>
                      <a:lnTo>
                        <a:pt x="54" y="148"/>
                      </a:lnTo>
                      <a:lnTo>
                        <a:pt x="54" y="150"/>
                      </a:lnTo>
                      <a:lnTo>
                        <a:pt x="54" y="152"/>
                      </a:lnTo>
                      <a:lnTo>
                        <a:pt x="58" y="154"/>
                      </a:lnTo>
                      <a:lnTo>
                        <a:pt x="58" y="156"/>
                      </a:lnTo>
                      <a:lnTo>
                        <a:pt x="58" y="160"/>
                      </a:lnTo>
                      <a:lnTo>
                        <a:pt x="54" y="162"/>
                      </a:lnTo>
                      <a:lnTo>
                        <a:pt x="52" y="160"/>
                      </a:lnTo>
                      <a:lnTo>
                        <a:pt x="50" y="164"/>
                      </a:lnTo>
                      <a:lnTo>
                        <a:pt x="50" y="166"/>
                      </a:lnTo>
                      <a:lnTo>
                        <a:pt x="50" y="168"/>
                      </a:lnTo>
                      <a:lnTo>
                        <a:pt x="48" y="168"/>
                      </a:lnTo>
                      <a:lnTo>
                        <a:pt x="48" y="166"/>
                      </a:lnTo>
                      <a:lnTo>
                        <a:pt x="48" y="170"/>
                      </a:lnTo>
                      <a:lnTo>
                        <a:pt x="46" y="170"/>
                      </a:lnTo>
                      <a:lnTo>
                        <a:pt x="44" y="170"/>
                      </a:lnTo>
                      <a:lnTo>
                        <a:pt x="44" y="172"/>
                      </a:lnTo>
                      <a:lnTo>
                        <a:pt x="44" y="174"/>
                      </a:lnTo>
                      <a:lnTo>
                        <a:pt x="46" y="176"/>
                      </a:lnTo>
                      <a:lnTo>
                        <a:pt x="46" y="178"/>
                      </a:lnTo>
                      <a:lnTo>
                        <a:pt x="44" y="178"/>
                      </a:lnTo>
                      <a:lnTo>
                        <a:pt x="42" y="178"/>
                      </a:lnTo>
                      <a:lnTo>
                        <a:pt x="38" y="182"/>
                      </a:lnTo>
                      <a:lnTo>
                        <a:pt x="40" y="186"/>
                      </a:lnTo>
                      <a:lnTo>
                        <a:pt x="42" y="186"/>
                      </a:lnTo>
                      <a:lnTo>
                        <a:pt x="42" y="194"/>
                      </a:lnTo>
                      <a:lnTo>
                        <a:pt x="38" y="196"/>
                      </a:lnTo>
                      <a:lnTo>
                        <a:pt x="36" y="198"/>
                      </a:lnTo>
                      <a:lnTo>
                        <a:pt x="38" y="200"/>
                      </a:lnTo>
                      <a:lnTo>
                        <a:pt x="40" y="200"/>
                      </a:lnTo>
                      <a:lnTo>
                        <a:pt x="44" y="206"/>
                      </a:lnTo>
                      <a:lnTo>
                        <a:pt x="46" y="210"/>
                      </a:lnTo>
                      <a:lnTo>
                        <a:pt x="48" y="210"/>
                      </a:lnTo>
                      <a:lnTo>
                        <a:pt x="50" y="210"/>
                      </a:lnTo>
                      <a:lnTo>
                        <a:pt x="52" y="212"/>
                      </a:lnTo>
                      <a:lnTo>
                        <a:pt x="50" y="214"/>
                      </a:lnTo>
                      <a:lnTo>
                        <a:pt x="52" y="214"/>
                      </a:lnTo>
                      <a:lnTo>
                        <a:pt x="54" y="214"/>
                      </a:lnTo>
                      <a:lnTo>
                        <a:pt x="54" y="216"/>
                      </a:lnTo>
                      <a:lnTo>
                        <a:pt x="54" y="218"/>
                      </a:lnTo>
                      <a:lnTo>
                        <a:pt x="56" y="220"/>
                      </a:lnTo>
                      <a:lnTo>
                        <a:pt x="58" y="222"/>
                      </a:lnTo>
                      <a:lnTo>
                        <a:pt x="60" y="224"/>
                      </a:lnTo>
                      <a:lnTo>
                        <a:pt x="58" y="226"/>
                      </a:lnTo>
                      <a:lnTo>
                        <a:pt x="56" y="230"/>
                      </a:lnTo>
                      <a:lnTo>
                        <a:pt x="58" y="232"/>
                      </a:lnTo>
                      <a:lnTo>
                        <a:pt x="64" y="232"/>
                      </a:lnTo>
                      <a:lnTo>
                        <a:pt x="66" y="232"/>
                      </a:lnTo>
                      <a:lnTo>
                        <a:pt x="78" y="242"/>
                      </a:lnTo>
                      <a:lnTo>
                        <a:pt x="82" y="246"/>
                      </a:lnTo>
                      <a:lnTo>
                        <a:pt x="84" y="248"/>
                      </a:lnTo>
                      <a:lnTo>
                        <a:pt x="86" y="248"/>
                      </a:lnTo>
                      <a:lnTo>
                        <a:pt x="88" y="248"/>
                      </a:lnTo>
                      <a:lnTo>
                        <a:pt x="90" y="248"/>
                      </a:lnTo>
                      <a:lnTo>
                        <a:pt x="92" y="250"/>
                      </a:lnTo>
                      <a:lnTo>
                        <a:pt x="92" y="252"/>
                      </a:lnTo>
                      <a:lnTo>
                        <a:pt x="94" y="256"/>
                      </a:lnTo>
                      <a:lnTo>
                        <a:pt x="98" y="260"/>
                      </a:lnTo>
                      <a:lnTo>
                        <a:pt x="100" y="266"/>
                      </a:lnTo>
                      <a:lnTo>
                        <a:pt x="102" y="266"/>
                      </a:lnTo>
                      <a:lnTo>
                        <a:pt x="104" y="268"/>
                      </a:lnTo>
                      <a:lnTo>
                        <a:pt x="104" y="270"/>
                      </a:lnTo>
                      <a:lnTo>
                        <a:pt x="100" y="280"/>
                      </a:lnTo>
                      <a:lnTo>
                        <a:pt x="100" y="296"/>
                      </a:lnTo>
                      <a:lnTo>
                        <a:pt x="110" y="296"/>
                      </a:lnTo>
                      <a:lnTo>
                        <a:pt x="108" y="312"/>
                      </a:lnTo>
                      <a:lnTo>
                        <a:pt x="110" y="312"/>
                      </a:lnTo>
                      <a:lnTo>
                        <a:pt x="112" y="312"/>
                      </a:lnTo>
                      <a:lnTo>
                        <a:pt x="120" y="320"/>
                      </a:lnTo>
                      <a:lnTo>
                        <a:pt x="118" y="322"/>
                      </a:lnTo>
                      <a:lnTo>
                        <a:pt x="120" y="326"/>
                      </a:lnTo>
                      <a:lnTo>
                        <a:pt x="122" y="328"/>
                      </a:lnTo>
                      <a:lnTo>
                        <a:pt x="124" y="328"/>
                      </a:lnTo>
                      <a:lnTo>
                        <a:pt x="126" y="328"/>
                      </a:lnTo>
                      <a:lnTo>
                        <a:pt x="126" y="326"/>
                      </a:lnTo>
                      <a:lnTo>
                        <a:pt x="128" y="326"/>
                      </a:lnTo>
                      <a:lnTo>
                        <a:pt x="132" y="326"/>
                      </a:lnTo>
                      <a:lnTo>
                        <a:pt x="134" y="324"/>
                      </a:lnTo>
                      <a:lnTo>
                        <a:pt x="134" y="322"/>
                      </a:lnTo>
                      <a:lnTo>
                        <a:pt x="134" y="320"/>
                      </a:lnTo>
                      <a:lnTo>
                        <a:pt x="134" y="318"/>
                      </a:lnTo>
                      <a:lnTo>
                        <a:pt x="132" y="318"/>
                      </a:lnTo>
                      <a:lnTo>
                        <a:pt x="132" y="316"/>
                      </a:lnTo>
                      <a:lnTo>
                        <a:pt x="136" y="310"/>
                      </a:lnTo>
                      <a:lnTo>
                        <a:pt x="138" y="310"/>
                      </a:lnTo>
                      <a:lnTo>
                        <a:pt x="142" y="312"/>
                      </a:lnTo>
                      <a:lnTo>
                        <a:pt x="142" y="314"/>
                      </a:lnTo>
                      <a:lnTo>
                        <a:pt x="140" y="316"/>
                      </a:lnTo>
                      <a:lnTo>
                        <a:pt x="138" y="314"/>
                      </a:lnTo>
                      <a:lnTo>
                        <a:pt x="134" y="314"/>
                      </a:lnTo>
                      <a:lnTo>
                        <a:pt x="136" y="318"/>
                      </a:lnTo>
                      <a:lnTo>
                        <a:pt x="144" y="322"/>
                      </a:lnTo>
                      <a:lnTo>
                        <a:pt x="148" y="322"/>
                      </a:lnTo>
                      <a:lnTo>
                        <a:pt x="148" y="324"/>
                      </a:lnTo>
                      <a:lnTo>
                        <a:pt x="150" y="326"/>
                      </a:lnTo>
                      <a:lnTo>
                        <a:pt x="152" y="326"/>
                      </a:lnTo>
                      <a:lnTo>
                        <a:pt x="160" y="320"/>
                      </a:lnTo>
                      <a:lnTo>
                        <a:pt x="164" y="320"/>
                      </a:lnTo>
                      <a:lnTo>
                        <a:pt x="166" y="322"/>
                      </a:lnTo>
                      <a:lnTo>
                        <a:pt x="166" y="324"/>
                      </a:lnTo>
                      <a:lnTo>
                        <a:pt x="166" y="328"/>
                      </a:lnTo>
                      <a:lnTo>
                        <a:pt x="168" y="330"/>
                      </a:lnTo>
                      <a:lnTo>
                        <a:pt x="174" y="338"/>
                      </a:lnTo>
                      <a:lnTo>
                        <a:pt x="176" y="338"/>
                      </a:lnTo>
                      <a:lnTo>
                        <a:pt x="180" y="342"/>
                      </a:lnTo>
                      <a:lnTo>
                        <a:pt x="180" y="344"/>
                      </a:lnTo>
                      <a:lnTo>
                        <a:pt x="182" y="346"/>
                      </a:lnTo>
                      <a:lnTo>
                        <a:pt x="180" y="354"/>
                      </a:lnTo>
                      <a:lnTo>
                        <a:pt x="182" y="354"/>
                      </a:lnTo>
                      <a:lnTo>
                        <a:pt x="186" y="354"/>
                      </a:lnTo>
                      <a:lnTo>
                        <a:pt x="188" y="354"/>
                      </a:lnTo>
                      <a:lnTo>
                        <a:pt x="188" y="356"/>
                      </a:lnTo>
                      <a:lnTo>
                        <a:pt x="188" y="358"/>
                      </a:lnTo>
                      <a:lnTo>
                        <a:pt x="188" y="360"/>
                      </a:lnTo>
                      <a:lnTo>
                        <a:pt x="186" y="358"/>
                      </a:lnTo>
                      <a:lnTo>
                        <a:pt x="184" y="360"/>
                      </a:lnTo>
                      <a:lnTo>
                        <a:pt x="188" y="364"/>
                      </a:lnTo>
                      <a:lnTo>
                        <a:pt x="190" y="364"/>
                      </a:lnTo>
                      <a:lnTo>
                        <a:pt x="190" y="366"/>
                      </a:lnTo>
                      <a:lnTo>
                        <a:pt x="192" y="366"/>
                      </a:lnTo>
                      <a:lnTo>
                        <a:pt x="192" y="368"/>
                      </a:lnTo>
                      <a:lnTo>
                        <a:pt x="192" y="374"/>
                      </a:lnTo>
                      <a:lnTo>
                        <a:pt x="196" y="380"/>
                      </a:lnTo>
                      <a:lnTo>
                        <a:pt x="198" y="384"/>
                      </a:lnTo>
                      <a:lnTo>
                        <a:pt x="206" y="394"/>
                      </a:lnTo>
                      <a:lnTo>
                        <a:pt x="218" y="394"/>
                      </a:lnTo>
                      <a:lnTo>
                        <a:pt x="222" y="398"/>
                      </a:lnTo>
                      <a:lnTo>
                        <a:pt x="224" y="398"/>
                      </a:lnTo>
                      <a:lnTo>
                        <a:pt x="224" y="400"/>
                      </a:lnTo>
                      <a:lnTo>
                        <a:pt x="230" y="400"/>
                      </a:lnTo>
                      <a:lnTo>
                        <a:pt x="230" y="402"/>
                      </a:lnTo>
                      <a:lnTo>
                        <a:pt x="232" y="402"/>
                      </a:lnTo>
                      <a:lnTo>
                        <a:pt x="234" y="406"/>
                      </a:lnTo>
                      <a:lnTo>
                        <a:pt x="234" y="408"/>
                      </a:lnTo>
                      <a:lnTo>
                        <a:pt x="234" y="410"/>
                      </a:lnTo>
                      <a:lnTo>
                        <a:pt x="240" y="412"/>
                      </a:lnTo>
                      <a:lnTo>
                        <a:pt x="242" y="414"/>
                      </a:lnTo>
                      <a:lnTo>
                        <a:pt x="244" y="416"/>
                      </a:lnTo>
                      <a:lnTo>
                        <a:pt x="254" y="420"/>
                      </a:lnTo>
                      <a:lnTo>
                        <a:pt x="256" y="420"/>
                      </a:lnTo>
                      <a:lnTo>
                        <a:pt x="258" y="420"/>
                      </a:lnTo>
                      <a:lnTo>
                        <a:pt x="258" y="422"/>
                      </a:lnTo>
                      <a:lnTo>
                        <a:pt x="258" y="424"/>
                      </a:lnTo>
                      <a:lnTo>
                        <a:pt x="264" y="430"/>
                      </a:lnTo>
                      <a:lnTo>
                        <a:pt x="274" y="428"/>
                      </a:lnTo>
                      <a:lnTo>
                        <a:pt x="276" y="430"/>
                      </a:lnTo>
                      <a:lnTo>
                        <a:pt x="278" y="430"/>
                      </a:lnTo>
                      <a:lnTo>
                        <a:pt x="280" y="428"/>
                      </a:lnTo>
                      <a:lnTo>
                        <a:pt x="282" y="430"/>
                      </a:lnTo>
                      <a:lnTo>
                        <a:pt x="294" y="436"/>
                      </a:lnTo>
                      <a:lnTo>
                        <a:pt x="306" y="426"/>
                      </a:lnTo>
                      <a:lnTo>
                        <a:pt x="310" y="426"/>
                      </a:lnTo>
                      <a:lnTo>
                        <a:pt x="310" y="428"/>
                      </a:lnTo>
                      <a:lnTo>
                        <a:pt x="312" y="428"/>
                      </a:lnTo>
                      <a:lnTo>
                        <a:pt x="316" y="426"/>
                      </a:lnTo>
                      <a:lnTo>
                        <a:pt x="316" y="424"/>
                      </a:lnTo>
                      <a:lnTo>
                        <a:pt x="316" y="422"/>
                      </a:lnTo>
                      <a:lnTo>
                        <a:pt x="318" y="420"/>
                      </a:lnTo>
                      <a:lnTo>
                        <a:pt x="324" y="420"/>
                      </a:lnTo>
                      <a:lnTo>
                        <a:pt x="326" y="418"/>
                      </a:lnTo>
                      <a:lnTo>
                        <a:pt x="330" y="416"/>
                      </a:lnTo>
                      <a:lnTo>
                        <a:pt x="336" y="414"/>
                      </a:lnTo>
                      <a:lnTo>
                        <a:pt x="342" y="414"/>
                      </a:lnTo>
                      <a:lnTo>
                        <a:pt x="344" y="416"/>
                      </a:lnTo>
                      <a:lnTo>
                        <a:pt x="346" y="416"/>
                      </a:lnTo>
                      <a:lnTo>
                        <a:pt x="348" y="416"/>
                      </a:lnTo>
                      <a:lnTo>
                        <a:pt x="350" y="418"/>
                      </a:lnTo>
                      <a:lnTo>
                        <a:pt x="350" y="420"/>
                      </a:lnTo>
                      <a:lnTo>
                        <a:pt x="354" y="424"/>
                      </a:lnTo>
                      <a:lnTo>
                        <a:pt x="356" y="426"/>
                      </a:lnTo>
                      <a:lnTo>
                        <a:pt x="356" y="428"/>
                      </a:lnTo>
                      <a:lnTo>
                        <a:pt x="356" y="430"/>
                      </a:lnTo>
                      <a:lnTo>
                        <a:pt x="356" y="432"/>
                      </a:lnTo>
                      <a:lnTo>
                        <a:pt x="358" y="434"/>
                      </a:lnTo>
                      <a:lnTo>
                        <a:pt x="356" y="436"/>
                      </a:lnTo>
                      <a:lnTo>
                        <a:pt x="356" y="438"/>
                      </a:lnTo>
                      <a:lnTo>
                        <a:pt x="358" y="448"/>
                      </a:lnTo>
                      <a:lnTo>
                        <a:pt x="360" y="450"/>
                      </a:lnTo>
                      <a:lnTo>
                        <a:pt x="360" y="452"/>
                      </a:lnTo>
                      <a:lnTo>
                        <a:pt x="362" y="454"/>
                      </a:lnTo>
                      <a:lnTo>
                        <a:pt x="362" y="456"/>
                      </a:lnTo>
                      <a:lnTo>
                        <a:pt x="364" y="458"/>
                      </a:lnTo>
                      <a:lnTo>
                        <a:pt x="372" y="460"/>
                      </a:lnTo>
                      <a:lnTo>
                        <a:pt x="372" y="458"/>
                      </a:lnTo>
                      <a:lnTo>
                        <a:pt x="376" y="458"/>
                      </a:lnTo>
                      <a:lnTo>
                        <a:pt x="376" y="460"/>
                      </a:lnTo>
                      <a:lnTo>
                        <a:pt x="378" y="460"/>
                      </a:lnTo>
                      <a:lnTo>
                        <a:pt x="382" y="460"/>
                      </a:lnTo>
                      <a:lnTo>
                        <a:pt x="382" y="462"/>
                      </a:lnTo>
                      <a:lnTo>
                        <a:pt x="384" y="464"/>
                      </a:lnTo>
                      <a:lnTo>
                        <a:pt x="390" y="464"/>
                      </a:lnTo>
                      <a:lnTo>
                        <a:pt x="390" y="462"/>
                      </a:lnTo>
                      <a:lnTo>
                        <a:pt x="402" y="464"/>
                      </a:lnTo>
                      <a:lnTo>
                        <a:pt x="404" y="464"/>
                      </a:lnTo>
                      <a:lnTo>
                        <a:pt x="406" y="466"/>
                      </a:lnTo>
                      <a:lnTo>
                        <a:pt x="408" y="466"/>
                      </a:lnTo>
                      <a:lnTo>
                        <a:pt x="410" y="470"/>
                      </a:lnTo>
                      <a:lnTo>
                        <a:pt x="412" y="470"/>
                      </a:lnTo>
                      <a:lnTo>
                        <a:pt x="412" y="468"/>
                      </a:lnTo>
                      <a:lnTo>
                        <a:pt x="422" y="466"/>
                      </a:lnTo>
                      <a:lnTo>
                        <a:pt x="424" y="468"/>
                      </a:lnTo>
                      <a:lnTo>
                        <a:pt x="426" y="468"/>
                      </a:lnTo>
                      <a:lnTo>
                        <a:pt x="426" y="470"/>
                      </a:lnTo>
                      <a:lnTo>
                        <a:pt x="428" y="468"/>
                      </a:lnTo>
                      <a:lnTo>
                        <a:pt x="444" y="470"/>
                      </a:lnTo>
                      <a:lnTo>
                        <a:pt x="446" y="472"/>
                      </a:lnTo>
                      <a:lnTo>
                        <a:pt x="448" y="472"/>
                      </a:lnTo>
                      <a:lnTo>
                        <a:pt x="450" y="472"/>
                      </a:lnTo>
                      <a:lnTo>
                        <a:pt x="448" y="472"/>
                      </a:lnTo>
                      <a:lnTo>
                        <a:pt x="446" y="470"/>
                      </a:lnTo>
                      <a:lnTo>
                        <a:pt x="448" y="468"/>
                      </a:lnTo>
                      <a:lnTo>
                        <a:pt x="452" y="468"/>
                      </a:lnTo>
                      <a:lnTo>
                        <a:pt x="452" y="472"/>
                      </a:lnTo>
                      <a:lnTo>
                        <a:pt x="454" y="472"/>
                      </a:lnTo>
                      <a:lnTo>
                        <a:pt x="456" y="472"/>
                      </a:lnTo>
                      <a:lnTo>
                        <a:pt x="458" y="474"/>
                      </a:lnTo>
                      <a:lnTo>
                        <a:pt x="468" y="476"/>
                      </a:lnTo>
                      <a:lnTo>
                        <a:pt x="470" y="478"/>
                      </a:lnTo>
                      <a:lnTo>
                        <a:pt x="474" y="478"/>
                      </a:lnTo>
                      <a:lnTo>
                        <a:pt x="476" y="478"/>
                      </a:lnTo>
                      <a:lnTo>
                        <a:pt x="478" y="478"/>
                      </a:lnTo>
                      <a:lnTo>
                        <a:pt x="478" y="476"/>
                      </a:lnTo>
                      <a:lnTo>
                        <a:pt x="480" y="474"/>
                      </a:lnTo>
                      <a:lnTo>
                        <a:pt x="480" y="476"/>
                      </a:lnTo>
                      <a:lnTo>
                        <a:pt x="482" y="470"/>
                      </a:lnTo>
                      <a:lnTo>
                        <a:pt x="482" y="456"/>
                      </a:lnTo>
                      <a:lnTo>
                        <a:pt x="484" y="456"/>
                      </a:lnTo>
                      <a:lnTo>
                        <a:pt x="486" y="456"/>
                      </a:lnTo>
                      <a:lnTo>
                        <a:pt x="486" y="446"/>
                      </a:lnTo>
                      <a:lnTo>
                        <a:pt x="488" y="444"/>
                      </a:lnTo>
                      <a:lnTo>
                        <a:pt x="488" y="442"/>
                      </a:lnTo>
                      <a:lnTo>
                        <a:pt x="494" y="442"/>
                      </a:lnTo>
                      <a:lnTo>
                        <a:pt x="494" y="440"/>
                      </a:lnTo>
                      <a:lnTo>
                        <a:pt x="500" y="440"/>
                      </a:lnTo>
                      <a:lnTo>
                        <a:pt x="498" y="438"/>
                      </a:lnTo>
                      <a:lnTo>
                        <a:pt x="500" y="436"/>
                      </a:lnTo>
                      <a:lnTo>
                        <a:pt x="504" y="434"/>
                      </a:lnTo>
                      <a:lnTo>
                        <a:pt x="506" y="434"/>
                      </a:lnTo>
                      <a:lnTo>
                        <a:pt x="506" y="432"/>
                      </a:lnTo>
                      <a:lnTo>
                        <a:pt x="510" y="432"/>
                      </a:lnTo>
                      <a:lnTo>
                        <a:pt x="512" y="432"/>
                      </a:lnTo>
                      <a:lnTo>
                        <a:pt x="512" y="430"/>
                      </a:lnTo>
                      <a:lnTo>
                        <a:pt x="520" y="430"/>
                      </a:lnTo>
                      <a:lnTo>
                        <a:pt x="522" y="432"/>
                      </a:lnTo>
                      <a:lnTo>
                        <a:pt x="524" y="430"/>
                      </a:lnTo>
                      <a:lnTo>
                        <a:pt x="526" y="418"/>
                      </a:lnTo>
                      <a:lnTo>
                        <a:pt x="526" y="416"/>
                      </a:lnTo>
                      <a:lnTo>
                        <a:pt x="528" y="416"/>
                      </a:lnTo>
                      <a:lnTo>
                        <a:pt x="526" y="412"/>
                      </a:lnTo>
                      <a:lnTo>
                        <a:pt x="524" y="412"/>
                      </a:lnTo>
                      <a:lnTo>
                        <a:pt x="518" y="412"/>
                      </a:lnTo>
                      <a:lnTo>
                        <a:pt x="516" y="414"/>
                      </a:lnTo>
                      <a:lnTo>
                        <a:pt x="514" y="412"/>
                      </a:lnTo>
                      <a:lnTo>
                        <a:pt x="512" y="412"/>
                      </a:lnTo>
                      <a:lnTo>
                        <a:pt x="512" y="408"/>
                      </a:lnTo>
                      <a:lnTo>
                        <a:pt x="514" y="406"/>
                      </a:lnTo>
                      <a:lnTo>
                        <a:pt x="514" y="396"/>
                      </a:lnTo>
                      <a:lnTo>
                        <a:pt x="512" y="394"/>
                      </a:lnTo>
                      <a:lnTo>
                        <a:pt x="512" y="386"/>
                      </a:lnTo>
                      <a:lnTo>
                        <a:pt x="512" y="384"/>
                      </a:lnTo>
                      <a:lnTo>
                        <a:pt x="512" y="382"/>
                      </a:lnTo>
                      <a:lnTo>
                        <a:pt x="508" y="382"/>
                      </a:lnTo>
                      <a:lnTo>
                        <a:pt x="504" y="378"/>
                      </a:lnTo>
                      <a:lnTo>
                        <a:pt x="500" y="376"/>
                      </a:lnTo>
                      <a:lnTo>
                        <a:pt x="490" y="372"/>
                      </a:lnTo>
                      <a:lnTo>
                        <a:pt x="482" y="366"/>
                      </a:lnTo>
                      <a:lnTo>
                        <a:pt x="482" y="364"/>
                      </a:lnTo>
                      <a:lnTo>
                        <a:pt x="478" y="356"/>
                      </a:lnTo>
                      <a:lnTo>
                        <a:pt x="476" y="354"/>
                      </a:lnTo>
                      <a:lnTo>
                        <a:pt x="474" y="350"/>
                      </a:lnTo>
                      <a:lnTo>
                        <a:pt x="472" y="346"/>
                      </a:lnTo>
                      <a:lnTo>
                        <a:pt x="460" y="330"/>
                      </a:lnTo>
                      <a:lnTo>
                        <a:pt x="468" y="320"/>
                      </a:lnTo>
                      <a:lnTo>
                        <a:pt x="470" y="320"/>
                      </a:lnTo>
                      <a:lnTo>
                        <a:pt x="484" y="302"/>
                      </a:lnTo>
                      <a:lnTo>
                        <a:pt x="488" y="294"/>
                      </a:lnTo>
                      <a:lnTo>
                        <a:pt x="486" y="290"/>
                      </a:lnTo>
                      <a:lnTo>
                        <a:pt x="486" y="288"/>
                      </a:lnTo>
                      <a:lnTo>
                        <a:pt x="484" y="286"/>
                      </a:lnTo>
                      <a:lnTo>
                        <a:pt x="484" y="284"/>
                      </a:lnTo>
                      <a:lnTo>
                        <a:pt x="482" y="282"/>
                      </a:lnTo>
                      <a:lnTo>
                        <a:pt x="460" y="278"/>
                      </a:lnTo>
                      <a:lnTo>
                        <a:pt x="458" y="264"/>
                      </a:lnTo>
                      <a:lnTo>
                        <a:pt x="458" y="262"/>
                      </a:lnTo>
                      <a:lnTo>
                        <a:pt x="460" y="254"/>
                      </a:lnTo>
                      <a:lnTo>
                        <a:pt x="452" y="230"/>
                      </a:lnTo>
                      <a:lnTo>
                        <a:pt x="452" y="226"/>
                      </a:lnTo>
                      <a:lnTo>
                        <a:pt x="460" y="214"/>
                      </a:lnTo>
                      <a:lnTo>
                        <a:pt x="462" y="214"/>
                      </a:lnTo>
                      <a:lnTo>
                        <a:pt x="462" y="212"/>
                      </a:lnTo>
                      <a:lnTo>
                        <a:pt x="454" y="212"/>
                      </a:lnTo>
                      <a:lnTo>
                        <a:pt x="452" y="210"/>
                      </a:lnTo>
                      <a:lnTo>
                        <a:pt x="450" y="208"/>
                      </a:lnTo>
                      <a:lnTo>
                        <a:pt x="450" y="206"/>
                      </a:lnTo>
                      <a:lnTo>
                        <a:pt x="452" y="204"/>
                      </a:lnTo>
                      <a:lnTo>
                        <a:pt x="452" y="198"/>
                      </a:lnTo>
                      <a:lnTo>
                        <a:pt x="450" y="196"/>
                      </a:lnTo>
                      <a:lnTo>
                        <a:pt x="450" y="192"/>
                      </a:lnTo>
                      <a:lnTo>
                        <a:pt x="454" y="188"/>
                      </a:lnTo>
                      <a:lnTo>
                        <a:pt x="456" y="186"/>
                      </a:lnTo>
                      <a:lnTo>
                        <a:pt x="460" y="186"/>
                      </a:lnTo>
                      <a:lnTo>
                        <a:pt x="456" y="180"/>
                      </a:lnTo>
                      <a:lnTo>
                        <a:pt x="458" y="178"/>
                      </a:lnTo>
                      <a:lnTo>
                        <a:pt x="460" y="178"/>
                      </a:lnTo>
                      <a:lnTo>
                        <a:pt x="464" y="176"/>
                      </a:lnTo>
                      <a:lnTo>
                        <a:pt x="468" y="162"/>
                      </a:lnTo>
                      <a:lnTo>
                        <a:pt x="468" y="160"/>
                      </a:lnTo>
                      <a:lnTo>
                        <a:pt x="466" y="160"/>
                      </a:lnTo>
                      <a:lnTo>
                        <a:pt x="466" y="154"/>
                      </a:lnTo>
                      <a:lnTo>
                        <a:pt x="470" y="152"/>
                      </a:lnTo>
                      <a:lnTo>
                        <a:pt x="472" y="146"/>
                      </a:lnTo>
                      <a:lnTo>
                        <a:pt x="470" y="14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3" name="Freeform 3522"/>
                <p:cNvSpPr>
                  <a:spLocks/>
                </p:cNvSpPr>
                <p:nvPr/>
              </p:nvSpPr>
              <p:spPr bwMode="auto">
                <a:xfrm>
                  <a:off x="1998130" y="2730547"/>
                  <a:ext cx="461280" cy="810357"/>
                </a:xfrm>
                <a:custGeom>
                  <a:avLst/>
                  <a:gdLst/>
                  <a:ahLst/>
                  <a:cxnLst>
                    <a:cxn ang="0">
                      <a:pos x="72" y="288"/>
                    </a:cxn>
                    <a:cxn ang="0">
                      <a:pos x="88" y="258"/>
                    </a:cxn>
                    <a:cxn ang="0">
                      <a:pos x="90" y="248"/>
                    </a:cxn>
                    <a:cxn ang="0">
                      <a:pos x="70" y="234"/>
                    </a:cxn>
                    <a:cxn ang="0">
                      <a:pos x="56" y="206"/>
                    </a:cxn>
                    <a:cxn ang="0">
                      <a:pos x="40" y="186"/>
                    </a:cxn>
                    <a:cxn ang="0">
                      <a:pos x="28" y="170"/>
                    </a:cxn>
                    <a:cxn ang="0">
                      <a:pos x="24" y="148"/>
                    </a:cxn>
                    <a:cxn ang="0">
                      <a:pos x="26" y="126"/>
                    </a:cxn>
                    <a:cxn ang="0">
                      <a:pos x="22" y="134"/>
                    </a:cxn>
                    <a:cxn ang="0">
                      <a:pos x="8" y="108"/>
                    </a:cxn>
                    <a:cxn ang="0">
                      <a:pos x="10" y="92"/>
                    </a:cxn>
                    <a:cxn ang="0">
                      <a:pos x="20" y="58"/>
                    </a:cxn>
                    <a:cxn ang="0">
                      <a:pos x="26" y="54"/>
                    </a:cxn>
                    <a:cxn ang="0">
                      <a:pos x="52" y="46"/>
                    </a:cxn>
                    <a:cxn ang="0">
                      <a:pos x="58" y="42"/>
                    </a:cxn>
                    <a:cxn ang="0">
                      <a:pos x="74" y="30"/>
                    </a:cxn>
                    <a:cxn ang="0">
                      <a:pos x="94" y="18"/>
                    </a:cxn>
                    <a:cxn ang="0">
                      <a:pos x="112" y="8"/>
                    </a:cxn>
                    <a:cxn ang="0">
                      <a:pos x="136" y="4"/>
                    </a:cxn>
                    <a:cxn ang="0">
                      <a:pos x="160" y="6"/>
                    </a:cxn>
                    <a:cxn ang="0">
                      <a:pos x="178" y="20"/>
                    </a:cxn>
                    <a:cxn ang="0">
                      <a:pos x="176" y="42"/>
                    </a:cxn>
                    <a:cxn ang="0">
                      <a:pos x="178" y="70"/>
                    </a:cxn>
                    <a:cxn ang="0">
                      <a:pos x="140" y="68"/>
                    </a:cxn>
                    <a:cxn ang="0">
                      <a:pos x="124" y="78"/>
                    </a:cxn>
                    <a:cxn ang="0">
                      <a:pos x="124" y="94"/>
                    </a:cxn>
                    <a:cxn ang="0">
                      <a:pos x="128" y="102"/>
                    </a:cxn>
                    <a:cxn ang="0">
                      <a:pos x="102" y="98"/>
                    </a:cxn>
                    <a:cxn ang="0">
                      <a:pos x="110" y="114"/>
                    </a:cxn>
                    <a:cxn ang="0">
                      <a:pos x="128" y="146"/>
                    </a:cxn>
                    <a:cxn ang="0">
                      <a:pos x="144" y="166"/>
                    </a:cxn>
                    <a:cxn ang="0">
                      <a:pos x="166" y="170"/>
                    </a:cxn>
                    <a:cxn ang="0">
                      <a:pos x="158" y="202"/>
                    </a:cxn>
                    <a:cxn ang="0">
                      <a:pos x="164" y="218"/>
                    </a:cxn>
                    <a:cxn ang="0">
                      <a:pos x="168" y="220"/>
                    </a:cxn>
                    <a:cxn ang="0">
                      <a:pos x="178" y="194"/>
                    </a:cxn>
                    <a:cxn ang="0">
                      <a:pos x="198" y="198"/>
                    </a:cxn>
                    <a:cxn ang="0">
                      <a:pos x="210" y="222"/>
                    </a:cxn>
                    <a:cxn ang="0">
                      <a:pos x="210" y="236"/>
                    </a:cxn>
                    <a:cxn ang="0">
                      <a:pos x="204" y="244"/>
                    </a:cxn>
                    <a:cxn ang="0">
                      <a:pos x="188" y="240"/>
                    </a:cxn>
                    <a:cxn ang="0">
                      <a:pos x="172" y="232"/>
                    </a:cxn>
                    <a:cxn ang="0">
                      <a:pos x="166" y="252"/>
                    </a:cxn>
                    <a:cxn ang="0">
                      <a:pos x="172" y="276"/>
                    </a:cxn>
                    <a:cxn ang="0">
                      <a:pos x="188" y="274"/>
                    </a:cxn>
                    <a:cxn ang="0">
                      <a:pos x="184" y="286"/>
                    </a:cxn>
                    <a:cxn ang="0">
                      <a:pos x="176" y="290"/>
                    </a:cxn>
                    <a:cxn ang="0">
                      <a:pos x="182" y="294"/>
                    </a:cxn>
                    <a:cxn ang="0">
                      <a:pos x="200" y="308"/>
                    </a:cxn>
                    <a:cxn ang="0">
                      <a:pos x="196" y="334"/>
                    </a:cxn>
                    <a:cxn ang="0">
                      <a:pos x="198" y="362"/>
                    </a:cxn>
                    <a:cxn ang="0">
                      <a:pos x="194" y="378"/>
                    </a:cxn>
                    <a:cxn ang="0">
                      <a:pos x="174" y="382"/>
                    </a:cxn>
                    <a:cxn ang="0">
                      <a:pos x="146" y="390"/>
                    </a:cxn>
                    <a:cxn ang="0">
                      <a:pos x="120" y="384"/>
                    </a:cxn>
                    <a:cxn ang="0">
                      <a:pos x="98" y="366"/>
                    </a:cxn>
                    <a:cxn ang="0">
                      <a:pos x="66" y="352"/>
                    </a:cxn>
                    <a:cxn ang="0">
                      <a:pos x="60" y="310"/>
                    </a:cxn>
                    <a:cxn ang="0">
                      <a:pos x="64" y="306"/>
                    </a:cxn>
                  </a:cxnLst>
                  <a:rect l="0" t="0" r="r" b="b"/>
                  <a:pathLst>
                    <a:path w="222" h="390">
                      <a:moveTo>
                        <a:pt x="70" y="304"/>
                      </a:moveTo>
                      <a:lnTo>
                        <a:pt x="70" y="296"/>
                      </a:lnTo>
                      <a:lnTo>
                        <a:pt x="70" y="294"/>
                      </a:lnTo>
                      <a:lnTo>
                        <a:pt x="72" y="292"/>
                      </a:lnTo>
                      <a:lnTo>
                        <a:pt x="72" y="294"/>
                      </a:lnTo>
                      <a:lnTo>
                        <a:pt x="74" y="292"/>
                      </a:lnTo>
                      <a:lnTo>
                        <a:pt x="76" y="292"/>
                      </a:lnTo>
                      <a:lnTo>
                        <a:pt x="74" y="290"/>
                      </a:lnTo>
                      <a:lnTo>
                        <a:pt x="72" y="290"/>
                      </a:lnTo>
                      <a:lnTo>
                        <a:pt x="72" y="288"/>
                      </a:lnTo>
                      <a:lnTo>
                        <a:pt x="70" y="288"/>
                      </a:lnTo>
                      <a:lnTo>
                        <a:pt x="72" y="284"/>
                      </a:lnTo>
                      <a:lnTo>
                        <a:pt x="74" y="280"/>
                      </a:lnTo>
                      <a:lnTo>
                        <a:pt x="76" y="274"/>
                      </a:lnTo>
                      <a:lnTo>
                        <a:pt x="76" y="272"/>
                      </a:lnTo>
                      <a:lnTo>
                        <a:pt x="76" y="268"/>
                      </a:lnTo>
                      <a:lnTo>
                        <a:pt x="76" y="264"/>
                      </a:lnTo>
                      <a:lnTo>
                        <a:pt x="78" y="264"/>
                      </a:lnTo>
                      <a:lnTo>
                        <a:pt x="80" y="262"/>
                      </a:lnTo>
                      <a:lnTo>
                        <a:pt x="88" y="258"/>
                      </a:lnTo>
                      <a:lnTo>
                        <a:pt x="90" y="256"/>
                      </a:lnTo>
                      <a:lnTo>
                        <a:pt x="94" y="256"/>
                      </a:lnTo>
                      <a:lnTo>
                        <a:pt x="96" y="258"/>
                      </a:lnTo>
                      <a:lnTo>
                        <a:pt x="98" y="258"/>
                      </a:lnTo>
                      <a:lnTo>
                        <a:pt x="100" y="260"/>
                      </a:lnTo>
                      <a:lnTo>
                        <a:pt x="100" y="258"/>
                      </a:lnTo>
                      <a:lnTo>
                        <a:pt x="100" y="256"/>
                      </a:lnTo>
                      <a:lnTo>
                        <a:pt x="98" y="252"/>
                      </a:lnTo>
                      <a:lnTo>
                        <a:pt x="92" y="250"/>
                      </a:lnTo>
                      <a:lnTo>
                        <a:pt x="90" y="248"/>
                      </a:lnTo>
                      <a:lnTo>
                        <a:pt x="88" y="250"/>
                      </a:lnTo>
                      <a:lnTo>
                        <a:pt x="86" y="250"/>
                      </a:lnTo>
                      <a:lnTo>
                        <a:pt x="82" y="250"/>
                      </a:lnTo>
                      <a:lnTo>
                        <a:pt x="80" y="248"/>
                      </a:lnTo>
                      <a:lnTo>
                        <a:pt x="78" y="246"/>
                      </a:lnTo>
                      <a:lnTo>
                        <a:pt x="78" y="244"/>
                      </a:lnTo>
                      <a:lnTo>
                        <a:pt x="78" y="242"/>
                      </a:lnTo>
                      <a:lnTo>
                        <a:pt x="76" y="240"/>
                      </a:lnTo>
                      <a:lnTo>
                        <a:pt x="74" y="240"/>
                      </a:lnTo>
                      <a:lnTo>
                        <a:pt x="70" y="234"/>
                      </a:lnTo>
                      <a:lnTo>
                        <a:pt x="70" y="232"/>
                      </a:lnTo>
                      <a:lnTo>
                        <a:pt x="68" y="228"/>
                      </a:lnTo>
                      <a:lnTo>
                        <a:pt x="68" y="226"/>
                      </a:lnTo>
                      <a:lnTo>
                        <a:pt x="68" y="224"/>
                      </a:lnTo>
                      <a:lnTo>
                        <a:pt x="64" y="218"/>
                      </a:lnTo>
                      <a:lnTo>
                        <a:pt x="60" y="216"/>
                      </a:lnTo>
                      <a:lnTo>
                        <a:pt x="60" y="214"/>
                      </a:lnTo>
                      <a:lnTo>
                        <a:pt x="60" y="212"/>
                      </a:lnTo>
                      <a:lnTo>
                        <a:pt x="58" y="210"/>
                      </a:lnTo>
                      <a:lnTo>
                        <a:pt x="56" y="206"/>
                      </a:lnTo>
                      <a:lnTo>
                        <a:pt x="54" y="204"/>
                      </a:lnTo>
                      <a:lnTo>
                        <a:pt x="52" y="202"/>
                      </a:lnTo>
                      <a:lnTo>
                        <a:pt x="50" y="202"/>
                      </a:lnTo>
                      <a:lnTo>
                        <a:pt x="48" y="202"/>
                      </a:lnTo>
                      <a:lnTo>
                        <a:pt x="48" y="200"/>
                      </a:lnTo>
                      <a:lnTo>
                        <a:pt x="46" y="200"/>
                      </a:lnTo>
                      <a:lnTo>
                        <a:pt x="46" y="198"/>
                      </a:lnTo>
                      <a:lnTo>
                        <a:pt x="46" y="196"/>
                      </a:lnTo>
                      <a:lnTo>
                        <a:pt x="44" y="194"/>
                      </a:lnTo>
                      <a:lnTo>
                        <a:pt x="40" y="186"/>
                      </a:lnTo>
                      <a:lnTo>
                        <a:pt x="38" y="184"/>
                      </a:lnTo>
                      <a:lnTo>
                        <a:pt x="36" y="182"/>
                      </a:lnTo>
                      <a:lnTo>
                        <a:pt x="34" y="180"/>
                      </a:lnTo>
                      <a:lnTo>
                        <a:pt x="34" y="178"/>
                      </a:lnTo>
                      <a:lnTo>
                        <a:pt x="34" y="176"/>
                      </a:lnTo>
                      <a:lnTo>
                        <a:pt x="32" y="176"/>
                      </a:lnTo>
                      <a:lnTo>
                        <a:pt x="32" y="174"/>
                      </a:lnTo>
                      <a:lnTo>
                        <a:pt x="30" y="174"/>
                      </a:lnTo>
                      <a:lnTo>
                        <a:pt x="28" y="174"/>
                      </a:lnTo>
                      <a:lnTo>
                        <a:pt x="28" y="170"/>
                      </a:lnTo>
                      <a:lnTo>
                        <a:pt x="28" y="168"/>
                      </a:lnTo>
                      <a:lnTo>
                        <a:pt x="28" y="166"/>
                      </a:lnTo>
                      <a:lnTo>
                        <a:pt x="26" y="164"/>
                      </a:lnTo>
                      <a:lnTo>
                        <a:pt x="24" y="162"/>
                      </a:lnTo>
                      <a:lnTo>
                        <a:pt x="22" y="160"/>
                      </a:lnTo>
                      <a:lnTo>
                        <a:pt x="22" y="158"/>
                      </a:lnTo>
                      <a:lnTo>
                        <a:pt x="22" y="152"/>
                      </a:lnTo>
                      <a:lnTo>
                        <a:pt x="24" y="152"/>
                      </a:lnTo>
                      <a:lnTo>
                        <a:pt x="24" y="150"/>
                      </a:lnTo>
                      <a:lnTo>
                        <a:pt x="24" y="148"/>
                      </a:lnTo>
                      <a:lnTo>
                        <a:pt x="22" y="148"/>
                      </a:lnTo>
                      <a:lnTo>
                        <a:pt x="22" y="144"/>
                      </a:lnTo>
                      <a:lnTo>
                        <a:pt x="22" y="138"/>
                      </a:lnTo>
                      <a:lnTo>
                        <a:pt x="24" y="136"/>
                      </a:lnTo>
                      <a:lnTo>
                        <a:pt x="24" y="134"/>
                      </a:lnTo>
                      <a:lnTo>
                        <a:pt x="26" y="132"/>
                      </a:lnTo>
                      <a:lnTo>
                        <a:pt x="26" y="130"/>
                      </a:lnTo>
                      <a:lnTo>
                        <a:pt x="26" y="128"/>
                      </a:lnTo>
                      <a:lnTo>
                        <a:pt x="28" y="128"/>
                      </a:lnTo>
                      <a:lnTo>
                        <a:pt x="26" y="126"/>
                      </a:lnTo>
                      <a:lnTo>
                        <a:pt x="24" y="126"/>
                      </a:lnTo>
                      <a:lnTo>
                        <a:pt x="24" y="128"/>
                      </a:lnTo>
                      <a:lnTo>
                        <a:pt x="24" y="130"/>
                      </a:lnTo>
                      <a:lnTo>
                        <a:pt x="22" y="132"/>
                      </a:lnTo>
                      <a:lnTo>
                        <a:pt x="22" y="136"/>
                      </a:lnTo>
                      <a:lnTo>
                        <a:pt x="22" y="140"/>
                      </a:lnTo>
                      <a:lnTo>
                        <a:pt x="20" y="142"/>
                      </a:lnTo>
                      <a:lnTo>
                        <a:pt x="18" y="138"/>
                      </a:lnTo>
                      <a:lnTo>
                        <a:pt x="20" y="138"/>
                      </a:lnTo>
                      <a:lnTo>
                        <a:pt x="22" y="134"/>
                      </a:lnTo>
                      <a:lnTo>
                        <a:pt x="22" y="132"/>
                      </a:lnTo>
                      <a:lnTo>
                        <a:pt x="22" y="130"/>
                      </a:lnTo>
                      <a:lnTo>
                        <a:pt x="18" y="122"/>
                      </a:lnTo>
                      <a:lnTo>
                        <a:pt x="16" y="116"/>
                      </a:lnTo>
                      <a:lnTo>
                        <a:pt x="14" y="116"/>
                      </a:lnTo>
                      <a:lnTo>
                        <a:pt x="12" y="116"/>
                      </a:lnTo>
                      <a:lnTo>
                        <a:pt x="10" y="112"/>
                      </a:lnTo>
                      <a:lnTo>
                        <a:pt x="10" y="110"/>
                      </a:lnTo>
                      <a:lnTo>
                        <a:pt x="10" y="108"/>
                      </a:lnTo>
                      <a:lnTo>
                        <a:pt x="8" y="108"/>
                      </a:lnTo>
                      <a:lnTo>
                        <a:pt x="4" y="108"/>
                      </a:lnTo>
                      <a:lnTo>
                        <a:pt x="2" y="108"/>
                      </a:lnTo>
                      <a:lnTo>
                        <a:pt x="0" y="106"/>
                      </a:lnTo>
                      <a:lnTo>
                        <a:pt x="0" y="104"/>
                      </a:lnTo>
                      <a:lnTo>
                        <a:pt x="0" y="100"/>
                      </a:lnTo>
                      <a:lnTo>
                        <a:pt x="2" y="96"/>
                      </a:lnTo>
                      <a:lnTo>
                        <a:pt x="6" y="94"/>
                      </a:lnTo>
                      <a:lnTo>
                        <a:pt x="8" y="92"/>
                      </a:lnTo>
                      <a:lnTo>
                        <a:pt x="10" y="90"/>
                      </a:lnTo>
                      <a:lnTo>
                        <a:pt x="10" y="92"/>
                      </a:lnTo>
                      <a:lnTo>
                        <a:pt x="12" y="90"/>
                      </a:lnTo>
                      <a:lnTo>
                        <a:pt x="12" y="86"/>
                      </a:lnTo>
                      <a:lnTo>
                        <a:pt x="16" y="82"/>
                      </a:lnTo>
                      <a:lnTo>
                        <a:pt x="18" y="76"/>
                      </a:lnTo>
                      <a:lnTo>
                        <a:pt x="20" y="70"/>
                      </a:lnTo>
                      <a:lnTo>
                        <a:pt x="22" y="68"/>
                      </a:lnTo>
                      <a:lnTo>
                        <a:pt x="24" y="62"/>
                      </a:lnTo>
                      <a:lnTo>
                        <a:pt x="24" y="60"/>
                      </a:lnTo>
                      <a:lnTo>
                        <a:pt x="22" y="58"/>
                      </a:lnTo>
                      <a:lnTo>
                        <a:pt x="20" y="58"/>
                      </a:lnTo>
                      <a:lnTo>
                        <a:pt x="20" y="56"/>
                      </a:lnTo>
                      <a:lnTo>
                        <a:pt x="22" y="56"/>
                      </a:lnTo>
                      <a:lnTo>
                        <a:pt x="22" y="58"/>
                      </a:lnTo>
                      <a:lnTo>
                        <a:pt x="24" y="60"/>
                      </a:lnTo>
                      <a:lnTo>
                        <a:pt x="26" y="62"/>
                      </a:lnTo>
                      <a:lnTo>
                        <a:pt x="26" y="60"/>
                      </a:lnTo>
                      <a:lnTo>
                        <a:pt x="26" y="56"/>
                      </a:lnTo>
                      <a:lnTo>
                        <a:pt x="24" y="56"/>
                      </a:lnTo>
                      <a:lnTo>
                        <a:pt x="24" y="54"/>
                      </a:lnTo>
                      <a:lnTo>
                        <a:pt x="26" y="54"/>
                      </a:lnTo>
                      <a:lnTo>
                        <a:pt x="32" y="58"/>
                      </a:lnTo>
                      <a:lnTo>
                        <a:pt x="32" y="56"/>
                      </a:lnTo>
                      <a:lnTo>
                        <a:pt x="36" y="56"/>
                      </a:lnTo>
                      <a:lnTo>
                        <a:pt x="40" y="56"/>
                      </a:lnTo>
                      <a:lnTo>
                        <a:pt x="42" y="56"/>
                      </a:lnTo>
                      <a:lnTo>
                        <a:pt x="44" y="54"/>
                      </a:lnTo>
                      <a:lnTo>
                        <a:pt x="46" y="52"/>
                      </a:lnTo>
                      <a:lnTo>
                        <a:pt x="46" y="50"/>
                      </a:lnTo>
                      <a:lnTo>
                        <a:pt x="48" y="48"/>
                      </a:lnTo>
                      <a:lnTo>
                        <a:pt x="52" y="46"/>
                      </a:lnTo>
                      <a:lnTo>
                        <a:pt x="52" y="48"/>
                      </a:lnTo>
                      <a:lnTo>
                        <a:pt x="56" y="52"/>
                      </a:lnTo>
                      <a:lnTo>
                        <a:pt x="58" y="52"/>
                      </a:lnTo>
                      <a:lnTo>
                        <a:pt x="56" y="46"/>
                      </a:lnTo>
                      <a:lnTo>
                        <a:pt x="56" y="44"/>
                      </a:lnTo>
                      <a:lnTo>
                        <a:pt x="56" y="42"/>
                      </a:lnTo>
                      <a:lnTo>
                        <a:pt x="54" y="42"/>
                      </a:lnTo>
                      <a:lnTo>
                        <a:pt x="54" y="40"/>
                      </a:lnTo>
                      <a:lnTo>
                        <a:pt x="56" y="40"/>
                      </a:lnTo>
                      <a:lnTo>
                        <a:pt x="58" y="42"/>
                      </a:lnTo>
                      <a:lnTo>
                        <a:pt x="62" y="40"/>
                      </a:lnTo>
                      <a:lnTo>
                        <a:pt x="64" y="38"/>
                      </a:lnTo>
                      <a:lnTo>
                        <a:pt x="68" y="34"/>
                      </a:lnTo>
                      <a:lnTo>
                        <a:pt x="72" y="34"/>
                      </a:lnTo>
                      <a:lnTo>
                        <a:pt x="70" y="34"/>
                      </a:lnTo>
                      <a:lnTo>
                        <a:pt x="70" y="32"/>
                      </a:lnTo>
                      <a:lnTo>
                        <a:pt x="70" y="30"/>
                      </a:lnTo>
                      <a:lnTo>
                        <a:pt x="70" y="28"/>
                      </a:lnTo>
                      <a:lnTo>
                        <a:pt x="72" y="28"/>
                      </a:lnTo>
                      <a:lnTo>
                        <a:pt x="74" y="30"/>
                      </a:lnTo>
                      <a:lnTo>
                        <a:pt x="74" y="26"/>
                      </a:lnTo>
                      <a:lnTo>
                        <a:pt x="72" y="22"/>
                      </a:lnTo>
                      <a:lnTo>
                        <a:pt x="74" y="24"/>
                      </a:lnTo>
                      <a:lnTo>
                        <a:pt x="76" y="24"/>
                      </a:lnTo>
                      <a:lnTo>
                        <a:pt x="78" y="24"/>
                      </a:lnTo>
                      <a:lnTo>
                        <a:pt x="80" y="22"/>
                      </a:lnTo>
                      <a:lnTo>
                        <a:pt x="84" y="22"/>
                      </a:lnTo>
                      <a:lnTo>
                        <a:pt x="86" y="22"/>
                      </a:lnTo>
                      <a:lnTo>
                        <a:pt x="88" y="22"/>
                      </a:lnTo>
                      <a:lnTo>
                        <a:pt x="94" y="18"/>
                      </a:lnTo>
                      <a:lnTo>
                        <a:pt x="94" y="16"/>
                      </a:lnTo>
                      <a:lnTo>
                        <a:pt x="96" y="16"/>
                      </a:lnTo>
                      <a:lnTo>
                        <a:pt x="98" y="14"/>
                      </a:lnTo>
                      <a:lnTo>
                        <a:pt x="100" y="12"/>
                      </a:lnTo>
                      <a:lnTo>
                        <a:pt x="102" y="10"/>
                      </a:lnTo>
                      <a:lnTo>
                        <a:pt x="104" y="10"/>
                      </a:lnTo>
                      <a:lnTo>
                        <a:pt x="108" y="10"/>
                      </a:lnTo>
                      <a:lnTo>
                        <a:pt x="108" y="8"/>
                      </a:lnTo>
                      <a:lnTo>
                        <a:pt x="110" y="8"/>
                      </a:lnTo>
                      <a:lnTo>
                        <a:pt x="112" y="8"/>
                      </a:lnTo>
                      <a:lnTo>
                        <a:pt x="114" y="6"/>
                      </a:lnTo>
                      <a:lnTo>
                        <a:pt x="114" y="4"/>
                      </a:lnTo>
                      <a:lnTo>
                        <a:pt x="118" y="4"/>
                      </a:lnTo>
                      <a:lnTo>
                        <a:pt x="118" y="2"/>
                      </a:lnTo>
                      <a:lnTo>
                        <a:pt x="124" y="0"/>
                      </a:lnTo>
                      <a:lnTo>
                        <a:pt x="124" y="2"/>
                      </a:lnTo>
                      <a:lnTo>
                        <a:pt x="126" y="2"/>
                      </a:lnTo>
                      <a:lnTo>
                        <a:pt x="128" y="2"/>
                      </a:lnTo>
                      <a:lnTo>
                        <a:pt x="132" y="4"/>
                      </a:lnTo>
                      <a:lnTo>
                        <a:pt x="136" y="4"/>
                      </a:lnTo>
                      <a:lnTo>
                        <a:pt x="136" y="6"/>
                      </a:lnTo>
                      <a:lnTo>
                        <a:pt x="138" y="8"/>
                      </a:lnTo>
                      <a:lnTo>
                        <a:pt x="140" y="10"/>
                      </a:lnTo>
                      <a:lnTo>
                        <a:pt x="142" y="10"/>
                      </a:lnTo>
                      <a:lnTo>
                        <a:pt x="148" y="12"/>
                      </a:lnTo>
                      <a:lnTo>
                        <a:pt x="150" y="14"/>
                      </a:lnTo>
                      <a:lnTo>
                        <a:pt x="152" y="14"/>
                      </a:lnTo>
                      <a:lnTo>
                        <a:pt x="158" y="8"/>
                      </a:lnTo>
                      <a:lnTo>
                        <a:pt x="158" y="6"/>
                      </a:lnTo>
                      <a:lnTo>
                        <a:pt x="160" y="6"/>
                      </a:lnTo>
                      <a:lnTo>
                        <a:pt x="162" y="8"/>
                      </a:lnTo>
                      <a:lnTo>
                        <a:pt x="164" y="8"/>
                      </a:lnTo>
                      <a:lnTo>
                        <a:pt x="166" y="8"/>
                      </a:lnTo>
                      <a:lnTo>
                        <a:pt x="170" y="8"/>
                      </a:lnTo>
                      <a:lnTo>
                        <a:pt x="174" y="10"/>
                      </a:lnTo>
                      <a:lnTo>
                        <a:pt x="176" y="12"/>
                      </a:lnTo>
                      <a:lnTo>
                        <a:pt x="176" y="14"/>
                      </a:lnTo>
                      <a:lnTo>
                        <a:pt x="178" y="16"/>
                      </a:lnTo>
                      <a:lnTo>
                        <a:pt x="178" y="18"/>
                      </a:lnTo>
                      <a:lnTo>
                        <a:pt x="178" y="20"/>
                      </a:lnTo>
                      <a:lnTo>
                        <a:pt x="176" y="22"/>
                      </a:lnTo>
                      <a:lnTo>
                        <a:pt x="174" y="24"/>
                      </a:lnTo>
                      <a:lnTo>
                        <a:pt x="174" y="22"/>
                      </a:lnTo>
                      <a:lnTo>
                        <a:pt x="174" y="24"/>
                      </a:lnTo>
                      <a:lnTo>
                        <a:pt x="174" y="26"/>
                      </a:lnTo>
                      <a:lnTo>
                        <a:pt x="174" y="28"/>
                      </a:lnTo>
                      <a:lnTo>
                        <a:pt x="176" y="30"/>
                      </a:lnTo>
                      <a:lnTo>
                        <a:pt x="178" y="32"/>
                      </a:lnTo>
                      <a:lnTo>
                        <a:pt x="178" y="34"/>
                      </a:lnTo>
                      <a:lnTo>
                        <a:pt x="176" y="42"/>
                      </a:lnTo>
                      <a:lnTo>
                        <a:pt x="176" y="46"/>
                      </a:lnTo>
                      <a:lnTo>
                        <a:pt x="172" y="52"/>
                      </a:lnTo>
                      <a:lnTo>
                        <a:pt x="170" y="52"/>
                      </a:lnTo>
                      <a:lnTo>
                        <a:pt x="170" y="54"/>
                      </a:lnTo>
                      <a:lnTo>
                        <a:pt x="166" y="58"/>
                      </a:lnTo>
                      <a:lnTo>
                        <a:pt x="166" y="62"/>
                      </a:lnTo>
                      <a:lnTo>
                        <a:pt x="166" y="64"/>
                      </a:lnTo>
                      <a:lnTo>
                        <a:pt x="170" y="66"/>
                      </a:lnTo>
                      <a:lnTo>
                        <a:pt x="176" y="70"/>
                      </a:lnTo>
                      <a:lnTo>
                        <a:pt x="178" y="70"/>
                      </a:lnTo>
                      <a:lnTo>
                        <a:pt x="180" y="70"/>
                      </a:lnTo>
                      <a:lnTo>
                        <a:pt x="176" y="72"/>
                      </a:lnTo>
                      <a:lnTo>
                        <a:pt x="170" y="72"/>
                      </a:lnTo>
                      <a:lnTo>
                        <a:pt x="166" y="70"/>
                      </a:lnTo>
                      <a:lnTo>
                        <a:pt x="162" y="70"/>
                      </a:lnTo>
                      <a:lnTo>
                        <a:pt x="160" y="68"/>
                      </a:lnTo>
                      <a:lnTo>
                        <a:pt x="158" y="68"/>
                      </a:lnTo>
                      <a:lnTo>
                        <a:pt x="148" y="70"/>
                      </a:lnTo>
                      <a:lnTo>
                        <a:pt x="144" y="70"/>
                      </a:lnTo>
                      <a:lnTo>
                        <a:pt x="140" y="68"/>
                      </a:lnTo>
                      <a:lnTo>
                        <a:pt x="138" y="68"/>
                      </a:lnTo>
                      <a:lnTo>
                        <a:pt x="138" y="70"/>
                      </a:lnTo>
                      <a:lnTo>
                        <a:pt x="134" y="70"/>
                      </a:lnTo>
                      <a:lnTo>
                        <a:pt x="134" y="72"/>
                      </a:lnTo>
                      <a:lnTo>
                        <a:pt x="132" y="72"/>
                      </a:lnTo>
                      <a:lnTo>
                        <a:pt x="132" y="70"/>
                      </a:lnTo>
                      <a:lnTo>
                        <a:pt x="130" y="70"/>
                      </a:lnTo>
                      <a:lnTo>
                        <a:pt x="128" y="70"/>
                      </a:lnTo>
                      <a:lnTo>
                        <a:pt x="126" y="74"/>
                      </a:lnTo>
                      <a:lnTo>
                        <a:pt x="124" y="78"/>
                      </a:lnTo>
                      <a:lnTo>
                        <a:pt x="124" y="80"/>
                      </a:lnTo>
                      <a:lnTo>
                        <a:pt x="122" y="82"/>
                      </a:lnTo>
                      <a:lnTo>
                        <a:pt x="118" y="84"/>
                      </a:lnTo>
                      <a:lnTo>
                        <a:pt x="116" y="86"/>
                      </a:lnTo>
                      <a:lnTo>
                        <a:pt x="116" y="90"/>
                      </a:lnTo>
                      <a:lnTo>
                        <a:pt x="118" y="92"/>
                      </a:lnTo>
                      <a:lnTo>
                        <a:pt x="120" y="92"/>
                      </a:lnTo>
                      <a:lnTo>
                        <a:pt x="122" y="92"/>
                      </a:lnTo>
                      <a:lnTo>
                        <a:pt x="122" y="94"/>
                      </a:lnTo>
                      <a:lnTo>
                        <a:pt x="124" y="94"/>
                      </a:lnTo>
                      <a:lnTo>
                        <a:pt x="124" y="96"/>
                      </a:lnTo>
                      <a:lnTo>
                        <a:pt x="126" y="98"/>
                      </a:lnTo>
                      <a:lnTo>
                        <a:pt x="126" y="100"/>
                      </a:lnTo>
                      <a:lnTo>
                        <a:pt x="128" y="100"/>
                      </a:lnTo>
                      <a:lnTo>
                        <a:pt x="128" y="98"/>
                      </a:lnTo>
                      <a:lnTo>
                        <a:pt x="130" y="100"/>
                      </a:lnTo>
                      <a:lnTo>
                        <a:pt x="134" y="102"/>
                      </a:lnTo>
                      <a:lnTo>
                        <a:pt x="134" y="104"/>
                      </a:lnTo>
                      <a:lnTo>
                        <a:pt x="130" y="104"/>
                      </a:lnTo>
                      <a:lnTo>
                        <a:pt x="128" y="102"/>
                      </a:lnTo>
                      <a:lnTo>
                        <a:pt x="122" y="104"/>
                      </a:lnTo>
                      <a:lnTo>
                        <a:pt x="120" y="104"/>
                      </a:lnTo>
                      <a:lnTo>
                        <a:pt x="118" y="102"/>
                      </a:lnTo>
                      <a:lnTo>
                        <a:pt x="116" y="100"/>
                      </a:lnTo>
                      <a:lnTo>
                        <a:pt x="116" y="98"/>
                      </a:lnTo>
                      <a:lnTo>
                        <a:pt x="114" y="98"/>
                      </a:lnTo>
                      <a:lnTo>
                        <a:pt x="112" y="98"/>
                      </a:lnTo>
                      <a:lnTo>
                        <a:pt x="110" y="98"/>
                      </a:lnTo>
                      <a:lnTo>
                        <a:pt x="104" y="98"/>
                      </a:lnTo>
                      <a:lnTo>
                        <a:pt x="102" y="98"/>
                      </a:lnTo>
                      <a:lnTo>
                        <a:pt x="98" y="98"/>
                      </a:lnTo>
                      <a:lnTo>
                        <a:pt x="98" y="100"/>
                      </a:lnTo>
                      <a:lnTo>
                        <a:pt x="98" y="104"/>
                      </a:lnTo>
                      <a:lnTo>
                        <a:pt x="98" y="108"/>
                      </a:lnTo>
                      <a:lnTo>
                        <a:pt x="98" y="110"/>
                      </a:lnTo>
                      <a:lnTo>
                        <a:pt x="102" y="110"/>
                      </a:lnTo>
                      <a:lnTo>
                        <a:pt x="104" y="112"/>
                      </a:lnTo>
                      <a:lnTo>
                        <a:pt x="106" y="112"/>
                      </a:lnTo>
                      <a:lnTo>
                        <a:pt x="110" y="112"/>
                      </a:lnTo>
                      <a:lnTo>
                        <a:pt x="110" y="114"/>
                      </a:lnTo>
                      <a:lnTo>
                        <a:pt x="114" y="114"/>
                      </a:lnTo>
                      <a:lnTo>
                        <a:pt x="114" y="116"/>
                      </a:lnTo>
                      <a:lnTo>
                        <a:pt x="116" y="122"/>
                      </a:lnTo>
                      <a:lnTo>
                        <a:pt x="118" y="130"/>
                      </a:lnTo>
                      <a:lnTo>
                        <a:pt x="122" y="136"/>
                      </a:lnTo>
                      <a:lnTo>
                        <a:pt x="122" y="138"/>
                      </a:lnTo>
                      <a:lnTo>
                        <a:pt x="124" y="138"/>
                      </a:lnTo>
                      <a:lnTo>
                        <a:pt x="126" y="140"/>
                      </a:lnTo>
                      <a:lnTo>
                        <a:pt x="128" y="144"/>
                      </a:lnTo>
                      <a:lnTo>
                        <a:pt x="128" y="146"/>
                      </a:lnTo>
                      <a:lnTo>
                        <a:pt x="128" y="150"/>
                      </a:lnTo>
                      <a:lnTo>
                        <a:pt x="126" y="152"/>
                      </a:lnTo>
                      <a:lnTo>
                        <a:pt x="126" y="154"/>
                      </a:lnTo>
                      <a:lnTo>
                        <a:pt x="130" y="154"/>
                      </a:lnTo>
                      <a:lnTo>
                        <a:pt x="136" y="154"/>
                      </a:lnTo>
                      <a:lnTo>
                        <a:pt x="140" y="160"/>
                      </a:lnTo>
                      <a:lnTo>
                        <a:pt x="140" y="162"/>
                      </a:lnTo>
                      <a:lnTo>
                        <a:pt x="140" y="164"/>
                      </a:lnTo>
                      <a:lnTo>
                        <a:pt x="142" y="166"/>
                      </a:lnTo>
                      <a:lnTo>
                        <a:pt x="144" y="166"/>
                      </a:lnTo>
                      <a:lnTo>
                        <a:pt x="146" y="166"/>
                      </a:lnTo>
                      <a:lnTo>
                        <a:pt x="148" y="164"/>
                      </a:lnTo>
                      <a:lnTo>
                        <a:pt x="150" y="164"/>
                      </a:lnTo>
                      <a:lnTo>
                        <a:pt x="152" y="164"/>
                      </a:lnTo>
                      <a:lnTo>
                        <a:pt x="154" y="166"/>
                      </a:lnTo>
                      <a:lnTo>
                        <a:pt x="156" y="166"/>
                      </a:lnTo>
                      <a:lnTo>
                        <a:pt x="158" y="166"/>
                      </a:lnTo>
                      <a:lnTo>
                        <a:pt x="160" y="168"/>
                      </a:lnTo>
                      <a:lnTo>
                        <a:pt x="162" y="168"/>
                      </a:lnTo>
                      <a:lnTo>
                        <a:pt x="166" y="170"/>
                      </a:lnTo>
                      <a:lnTo>
                        <a:pt x="166" y="174"/>
                      </a:lnTo>
                      <a:lnTo>
                        <a:pt x="164" y="176"/>
                      </a:lnTo>
                      <a:lnTo>
                        <a:pt x="164" y="182"/>
                      </a:lnTo>
                      <a:lnTo>
                        <a:pt x="162" y="186"/>
                      </a:lnTo>
                      <a:lnTo>
                        <a:pt x="158" y="190"/>
                      </a:lnTo>
                      <a:lnTo>
                        <a:pt x="158" y="192"/>
                      </a:lnTo>
                      <a:lnTo>
                        <a:pt x="156" y="194"/>
                      </a:lnTo>
                      <a:lnTo>
                        <a:pt x="158" y="198"/>
                      </a:lnTo>
                      <a:lnTo>
                        <a:pt x="158" y="200"/>
                      </a:lnTo>
                      <a:lnTo>
                        <a:pt x="158" y="202"/>
                      </a:lnTo>
                      <a:lnTo>
                        <a:pt x="158" y="204"/>
                      </a:lnTo>
                      <a:lnTo>
                        <a:pt x="158" y="206"/>
                      </a:lnTo>
                      <a:lnTo>
                        <a:pt x="158" y="208"/>
                      </a:lnTo>
                      <a:lnTo>
                        <a:pt x="162" y="210"/>
                      </a:lnTo>
                      <a:lnTo>
                        <a:pt x="162" y="212"/>
                      </a:lnTo>
                      <a:lnTo>
                        <a:pt x="162" y="214"/>
                      </a:lnTo>
                      <a:lnTo>
                        <a:pt x="160" y="216"/>
                      </a:lnTo>
                      <a:lnTo>
                        <a:pt x="162" y="216"/>
                      </a:lnTo>
                      <a:lnTo>
                        <a:pt x="164" y="216"/>
                      </a:lnTo>
                      <a:lnTo>
                        <a:pt x="164" y="218"/>
                      </a:lnTo>
                      <a:lnTo>
                        <a:pt x="166" y="220"/>
                      </a:lnTo>
                      <a:lnTo>
                        <a:pt x="168" y="224"/>
                      </a:lnTo>
                      <a:lnTo>
                        <a:pt x="168" y="226"/>
                      </a:lnTo>
                      <a:lnTo>
                        <a:pt x="170" y="230"/>
                      </a:lnTo>
                      <a:lnTo>
                        <a:pt x="170" y="232"/>
                      </a:lnTo>
                      <a:lnTo>
                        <a:pt x="170" y="230"/>
                      </a:lnTo>
                      <a:lnTo>
                        <a:pt x="170" y="226"/>
                      </a:lnTo>
                      <a:lnTo>
                        <a:pt x="170" y="224"/>
                      </a:lnTo>
                      <a:lnTo>
                        <a:pt x="170" y="222"/>
                      </a:lnTo>
                      <a:lnTo>
                        <a:pt x="168" y="220"/>
                      </a:lnTo>
                      <a:lnTo>
                        <a:pt x="168" y="218"/>
                      </a:lnTo>
                      <a:lnTo>
                        <a:pt x="170" y="216"/>
                      </a:lnTo>
                      <a:lnTo>
                        <a:pt x="170" y="212"/>
                      </a:lnTo>
                      <a:lnTo>
                        <a:pt x="170" y="210"/>
                      </a:lnTo>
                      <a:lnTo>
                        <a:pt x="170" y="208"/>
                      </a:lnTo>
                      <a:lnTo>
                        <a:pt x="168" y="208"/>
                      </a:lnTo>
                      <a:lnTo>
                        <a:pt x="168" y="206"/>
                      </a:lnTo>
                      <a:lnTo>
                        <a:pt x="172" y="198"/>
                      </a:lnTo>
                      <a:lnTo>
                        <a:pt x="176" y="194"/>
                      </a:lnTo>
                      <a:lnTo>
                        <a:pt x="178" y="194"/>
                      </a:lnTo>
                      <a:lnTo>
                        <a:pt x="180" y="194"/>
                      </a:lnTo>
                      <a:lnTo>
                        <a:pt x="182" y="194"/>
                      </a:lnTo>
                      <a:lnTo>
                        <a:pt x="186" y="192"/>
                      </a:lnTo>
                      <a:lnTo>
                        <a:pt x="190" y="192"/>
                      </a:lnTo>
                      <a:lnTo>
                        <a:pt x="192" y="192"/>
                      </a:lnTo>
                      <a:lnTo>
                        <a:pt x="194" y="192"/>
                      </a:lnTo>
                      <a:lnTo>
                        <a:pt x="196" y="194"/>
                      </a:lnTo>
                      <a:lnTo>
                        <a:pt x="198" y="194"/>
                      </a:lnTo>
                      <a:lnTo>
                        <a:pt x="198" y="196"/>
                      </a:lnTo>
                      <a:lnTo>
                        <a:pt x="198" y="198"/>
                      </a:lnTo>
                      <a:lnTo>
                        <a:pt x="198" y="202"/>
                      </a:lnTo>
                      <a:lnTo>
                        <a:pt x="198" y="204"/>
                      </a:lnTo>
                      <a:lnTo>
                        <a:pt x="200" y="204"/>
                      </a:lnTo>
                      <a:lnTo>
                        <a:pt x="200" y="208"/>
                      </a:lnTo>
                      <a:lnTo>
                        <a:pt x="200" y="210"/>
                      </a:lnTo>
                      <a:lnTo>
                        <a:pt x="200" y="212"/>
                      </a:lnTo>
                      <a:lnTo>
                        <a:pt x="202" y="214"/>
                      </a:lnTo>
                      <a:lnTo>
                        <a:pt x="202" y="216"/>
                      </a:lnTo>
                      <a:lnTo>
                        <a:pt x="208" y="222"/>
                      </a:lnTo>
                      <a:lnTo>
                        <a:pt x="210" y="222"/>
                      </a:lnTo>
                      <a:lnTo>
                        <a:pt x="212" y="222"/>
                      </a:lnTo>
                      <a:lnTo>
                        <a:pt x="212" y="224"/>
                      </a:lnTo>
                      <a:lnTo>
                        <a:pt x="214" y="224"/>
                      </a:lnTo>
                      <a:lnTo>
                        <a:pt x="220" y="230"/>
                      </a:lnTo>
                      <a:lnTo>
                        <a:pt x="222" y="234"/>
                      </a:lnTo>
                      <a:lnTo>
                        <a:pt x="220" y="236"/>
                      </a:lnTo>
                      <a:lnTo>
                        <a:pt x="220" y="238"/>
                      </a:lnTo>
                      <a:lnTo>
                        <a:pt x="216" y="240"/>
                      </a:lnTo>
                      <a:lnTo>
                        <a:pt x="214" y="240"/>
                      </a:lnTo>
                      <a:lnTo>
                        <a:pt x="210" y="236"/>
                      </a:lnTo>
                      <a:lnTo>
                        <a:pt x="208" y="236"/>
                      </a:lnTo>
                      <a:lnTo>
                        <a:pt x="206" y="238"/>
                      </a:lnTo>
                      <a:lnTo>
                        <a:pt x="208" y="242"/>
                      </a:lnTo>
                      <a:lnTo>
                        <a:pt x="210" y="244"/>
                      </a:lnTo>
                      <a:lnTo>
                        <a:pt x="212" y="244"/>
                      </a:lnTo>
                      <a:lnTo>
                        <a:pt x="210" y="246"/>
                      </a:lnTo>
                      <a:lnTo>
                        <a:pt x="208" y="246"/>
                      </a:lnTo>
                      <a:lnTo>
                        <a:pt x="206" y="246"/>
                      </a:lnTo>
                      <a:lnTo>
                        <a:pt x="206" y="244"/>
                      </a:lnTo>
                      <a:lnTo>
                        <a:pt x="204" y="244"/>
                      </a:lnTo>
                      <a:lnTo>
                        <a:pt x="202" y="246"/>
                      </a:lnTo>
                      <a:lnTo>
                        <a:pt x="200" y="246"/>
                      </a:lnTo>
                      <a:lnTo>
                        <a:pt x="196" y="248"/>
                      </a:lnTo>
                      <a:lnTo>
                        <a:pt x="192" y="248"/>
                      </a:lnTo>
                      <a:lnTo>
                        <a:pt x="192" y="246"/>
                      </a:lnTo>
                      <a:lnTo>
                        <a:pt x="190" y="242"/>
                      </a:lnTo>
                      <a:lnTo>
                        <a:pt x="192" y="240"/>
                      </a:lnTo>
                      <a:lnTo>
                        <a:pt x="190" y="238"/>
                      </a:lnTo>
                      <a:lnTo>
                        <a:pt x="188" y="238"/>
                      </a:lnTo>
                      <a:lnTo>
                        <a:pt x="188" y="240"/>
                      </a:lnTo>
                      <a:lnTo>
                        <a:pt x="188" y="242"/>
                      </a:lnTo>
                      <a:lnTo>
                        <a:pt x="186" y="244"/>
                      </a:lnTo>
                      <a:lnTo>
                        <a:pt x="184" y="242"/>
                      </a:lnTo>
                      <a:lnTo>
                        <a:pt x="182" y="242"/>
                      </a:lnTo>
                      <a:lnTo>
                        <a:pt x="180" y="242"/>
                      </a:lnTo>
                      <a:lnTo>
                        <a:pt x="176" y="242"/>
                      </a:lnTo>
                      <a:lnTo>
                        <a:pt x="174" y="240"/>
                      </a:lnTo>
                      <a:lnTo>
                        <a:pt x="174" y="238"/>
                      </a:lnTo>
                      <a:lnTo>
                        <a:pt x="174" y="236"/>
                      </a:lnTo>
                      <a:lnTo>
                        <a:pt x="172" y="232"/>
                      </a:lnTo>
                      <a:lnTo>
                        <a:pt x="170" y="230"/>
                      </a:lnTo>
                      <a:lnTo>
                        <a:pt x="170" y="232"/>
                      </a:lnTo>
                      <a:lnTo>
                        <a:pt x="170" y="234"/>
                      </a:lnTo>
                      <a:lnTo>
                        <a:pt x="170" y="238"/>
                      </a:lnTo>
                      <a:lnTo>
                        <a:pt x="170" y="242"/>
                      </a:lnTo>
                      <a:lnTo>
                        <a:pt x="168" y="244"/>
                      </a:lnTo>
                      <a:lnTo>
                        <a:pt x="170" y="246"/>
                      </a:lnTo>
                      <a:lnTo>
                        <a:pt x="168" y="248"/>
                      </a:lnTo>
                      <a:lnTo>
                        <a:pt x="166" y="250"/>
                      </a:lnTo>
                      <a:lnTo>
                        <a:pt x="166" y="252"/>
                      </a:lnTo>
                      <a:lnTo>
                        <a:pt x="166" y="254"/>
                      </a:lnTo>
                      <a:lnTo>
                        <a:pt x="164" y="260"/>
                      </a:lnTo>
                      <a:lnTo>
                        <a:pt x="166" y="262"/>
                      </a:lnTo>
                      <a:lnTo>
                        <a:pt x="166" y="268"/>
                      </a:lnTo>
                      <a:lnTo>
                        <a:pt x="168" y="270"/>
                      </a:lnTo>
                      <a:lnTo>
                        <a:pt x="170" y="274"/>
                      </a:lnTo>
                      <a:lnTo>
                        <a:pt x="174" y="278"/>
                      </a:lnTo>
                      <a:lnTo>
                        <a:pt x="174" y="280"/>
                      </a:lnTo>
                      <a:lnTo>
                        <a:pt x="174" y="278"/>
                      </a:lnTo>
                      <a:lnTo>
                        <a:pt x="172" y="276"/>
                      </a:lnTo>
                      <a:lnTo>
                        <a:pt x="172" y="274"/>
                      </a:lnTo>
                      <a:lnTo>
                        <a:pt x="170" y="274"/>
                      </a:lnTo>
                      <a:lnTo>
                        <a:pt x="170" y="270"/>
                      </a:lnTo>
                      <a:lnTo>
                        <a:pt x="172" y="270"/>
                      </a:lnTo>
                      <a:lnTo>
                        <a:pt x="174" y="272"/>
                      </a:lnTo>
                      <a:lnTo>
                        <a:pt x="182" y="272"/>
                      </a:lnTo>
                      <a:lnTo>
                        <a:pt x="182" y="270"/>
                      </a:lnTo>
                      <a:lnTo>
                        <a:pt x="184" y="270"/>
                      </a:lnTo>
                      <a:lnTo>
                        <a:pt x="188" y="272"/>
                      </a:lnTo>
                      <a:lnTo>
                        <a:pt x="188" y="274"/>
                      </a:lnTo>
                      <a:lnTo>
                        <a:pt x="186" y="274"/>
                      </a:lnTo>
                      <a:lnTo>
                        <a:pt x="184" y="278"/>
                      </a:lnTo>
                      <a:lnTo>
                        <a:pt x="184" y="282"/>
                      </a:lnTo>
                      <a:lnTo>
                        <a:pt x="186" y="282"/>
                      </a:lnTo>
                      <a:lnTo>
                        <a:pt x="190" y="284"/>
                      </a:lnTo>
                      <a:lnTo>
                        <a:pt x="192" y="286"/>
                      </a:lnTo>
                      <a:lnTo>
                        <a:pt x="188" y="288"/>
                      </a:lnTo>
                      <a:lnTo>
                        <a:pt x="186" y="288"/>
                      </a:lnTo>
                      <a:lnTo>
                        <a:pt x="186" y="286"/>
                      </a:lnTo>
                      <a:lnTo>
                        <a:pt x="184" y="286"/>
                      </a:lnTo>
                      <a:lnTo>
                        <a:pt x="182" y="286"/>
                      </a:lnTo>
                      <a:lnTo>
                        <a:pt x="180" y="286"/>
                      </a:lnTo>
                      <a:lnTo>
                        <a:pt x="178" y="286"/>
                      </a:lnTo>
                      <a:lnTo>
                        <a:pt x="180" y="284"/>
                      </a:lnTo>
                      <a:lnTo>
                        <a:pt x="180" y="282"/>
                      </a:lnTo>
                      <a:lnTo>
                        <a:pt x="182" y="282"/>
                      </a:lnTo>
                      <a:lnTo>
                        <a:pt x="180" y="282"/>
                      </a:lnTo>
                      <a:lnTo>
                        <a:pt x="180" y="284"/>
                      </a:lnTo>
                      <a:lnTo>
                        <a:pt x="178" y="284"/>
                      </a:lnTo>
                      <a:lnTo>
                        <a:pt x="176" y="290"/>
                      </a:lnTo>
                      <a:lnTo>
                        <a:pt x="176" y="292"/>
                      </a:lnTo>
                      <a:lnTo>
                        <a:pt x="176" y="298"/>
                      </a:lnTo>
                      <a:lnTo>
                        <a:pt x="178" y="298"/>
                      </a:lnTo>
                      <a:lnTo>
                        <a:pt x="178" y="300"/>
                      </a:lnTo>
                      <a:lnTo>
                        <a:pt x="178" y="298"/>
                      </a:lnTo>
                      <a:lnTo>
                        <a:pt x="178" y="296"/>
                      </a:lnTo>
                      <a:lnTo>
                        <a:pt x="178" y="292"/>
                      </a:lnTo>
                      <a:lnTo>
                        <a:pt x="180" y="292"/>
                      </a:lnTo>
                      <a:lnTo>
                        <a:pt x="182" y="292"/>
                      </a:lnTo>
                      <a:lnTo>
                        <a:pt x="182" y="294"/>
                      </a:lnTo>
                      <a:lnTo>
                        <a:pt x="184" y="294"/>
                      </a:lnTo>
                      <a:lnTo>
                        <a:pt x="186" y="294"/>
                      </a:lnTo>
                      <a:lnTo>
                        <a:pt x="188" y="294"/>
                      </a:lnTo>
                      <a:lnTo>
                        <a:pt x="190" y="298"/>
                      </a:lnTo>
                      <a:lnTo>
                        <a:pt x="190" y="300"/>
                      </a:lnTo>
                      <a:lnTo>
                        <a:pt x="192" y="304"/>
                      </a:lnTo>
                      <a:lnTo>
                        <a:pt x="194" y="304"/>
                      </a:lnTo>
                      <a:lnTo>
                        <a:pt x="196" y="304"/>
                      </a:lnTo>
                      <a:lnTo>
                        <a:pt x="198" y="308"/>
                      </a:lnTo>
                      <a:lnTo>
                        <a:pt x="200" y="308"/>
                      </a:lnTo>
                      <a:lnTo>
                        <a:pt x="198" y="314"/>
                      </a:lnTo>
                      <a:lnTo>
                        <a:pt x="196" y="316"/>
                      </a:lnTo>
                      <a:lnTo>
                        <a:pt x="196" y="318"/>
                      </a:lnTo>
                      <a:lnTo>
                        <a:pt x="196" y="320"/>
                      </a:lnTo>
                      <a:lnTo>
                        <a:pt x="196" y="322"/>
                      </a:lnTo>
                      <a:lnTo>
                        <a:pt x="196" y="324"/>
                      </a:lnTo>
                      <a:lnTo>
                        <a:pt x="196" y="326"/>
                      </a:lnTo>
                      <a:lnTo>
                        <a:pt x="196" y="328"/>
                      </a:lnTo>
                      <a:lnTo>
                        <a:pt x="196" y="332"/>
                      </a:lnTo>
                      <a:lnTo>
                        <a:pt x="196" y="334"/>
                      </a:lnTo>
                      <a:lnTo>
                        <a:pt x="196" y="336"/>
                      </a:lnTo>
                      <a:lnTo>
                        <a:pt x="196" y="338"/>
                      </a:lnTo>
                      <a:lnTo>
                        <a:pt x="194" y="338"/>
                      </a:lnTo>
                      <a:lnTo>
                        <a:pt x="194" y="340"/>
                      </a:lnTo>
                      <a:lnTo>
                        <a:pt x="194" y="342"/>
                      </a:lnTo>
                      <a:lnTo>
                        <a:pt x="194" y="344"/>
                      </a:lnTo>
                      <a:lnTo>
                        <a:pt x="196" y="348"/>
                      </a:lnTo>
                      <a:lnTo>
                        <a:pt x="196" y="350"/>
                      </a:lnTo>
                      <a:lnTo>
                        <a:pt x="196" y="356"/>
                      </a:lnTo>
                      <a:lnTo>
                        <a:pt x="198" y="362"/>
                      </a:lnTo>
                      <a:lnTo>
                        <a:pt x="198" y="368"/>
                      </a:lnTo>
                      <a:lnTo>
                        <a:pt x="200" y="374"/>
                      </a:lnTo>
                      <a:lnTo>
                        <a:pt x="200" y="376"/>
                      </a:lnTo>
                      <a:lnTo>
                        <a:pt x="202" y="380"/>
                      </a:lnTo>
                      <a:lnTo>
                        <a:pt x="200" y="380"/>
                      </a:lnTo>
                      <a:lnTo>
                        <a:pt x="198" y="382"/>
                      </a:lnTo>
                      <a:lnTo>
                        <a:pt x="192" y="380"/>
                      </a:lnTo>
                      <a:lnTo>
                        <a:pt x="190" y="380"/>
                      </a:lnTo>
                      <a:lnTo>
                        <a:pt x="192" y="380"/>
                      </a:lnTo>
                      <a:lnTo>
                        <a:pt x="194" y="378"/>
                      </a:lnTo>
                      <a:lnTo>
                        <a:pt x="196" y="378"/>
                      </a:lnTo>
                      <a:lnTo>
                        <a:pt x="198" y="378"/>
                      </a:lnTo>
                      <a:lnTo>
                        <a:pt x="200" y="376"/>
                      </a:lnTo>
                      <a:lnTo>
                        <a:pt x="196" y="378"/>
                      </a:lnTo>
                      <a:lnTo>
                        <a:pt x="192" y="378"/>
                      </a:lnTo>
                      <a:lnTo>
                        <a:pt x="188" y="378"/>
                      </a:lnTo>
                      <a:lnTo>
                        <a:pt x="186" y="378"/>
                      </a:lnTo>
                      <a:lnTo>
                        <a:pt x="186" y="380"/>
                      </a:lnTo>
                      <a:lnTo>
                        <a:pt x="180" y="380"/>
                      </a:lnTo>
                      <a:lnTo>
                        <a:pt x="174" y="382"/>
                      </a:lnTo>
                      <a:lnTo>
                        <a:pt x="172" y="382"/>
                      </a:lnTo>
                      <a:lnTo>
                        <a:pt x="168" y="384"/>
                      </a:lnTo>
                      <a:lnTo>
                        <a:pt x="162" y="386"/>
                      </a:lnTo>
                      <a:lnTo>
                        <a:pt x="158" y="386"/>
                      </a:lnTo>
                      <a:lnTo>
                        <a:pt x="154" y="386"/>
                      </a:lnTo>
                      <a:lnTo>
                        <a:pt x="152" y="386"/>
                      </a:lnTo>
                      <a:lnTo>
                        <a:pt x="150" y="388"/>
                      </a:lnTo>
                      <a:lnTo>
                        <a:pt x="148" y="388"/>
                      </a:lnTo>
                      <a:lnTo>
                        <a:pt x="146" y="388"/>
                      </a:lnTo>
                      <a:lnTo>
                        <a:pt x="146" y="390"/>
                      </a:lnTo>
                      <a:lnTo>
                        <a:pt x="142" y="388"/>
                      </a:lnTo>
                      <a:lnTo>
                        <a:pt x="134" y="388"/>
                      </a:lnTo>
                      <a:lnTo>
                        <a:pt x="132" y="386"/>
                      </a:lnTo>
                      <a:lnTo>
                        <a:pt x="130" y="386"/>
                      </a:lnTo>
                      <a:lnTo>
                        <a:pt x="128" y="386"/>
                      </a:lnTo>
                      <a:lnTo>
                        <a:pt x="126" y="386"/>
                      </a:lnTo>
                      <a:lnTo>
                        <a:pt x="124" y="386"/>
                      </a:lnTo>
                      <a:lnTo>
                        <a:pt x="124" y="384"/>
                      </a:lnTo>
                      <a:lnTo>
                        <a:pt x="122" y="384"/>
                      </a:lnTo>
                      <a:lnTo>
                        <a:pt x="120" y="384"/>
                      </a:lnTo>
                      <a:lnTo>
                        <a:pt x="118" y="384"/>
                      </a:lnTo>
                      <a:lnTo>
                        <a:pt x="118" y="382"/>
                      </a:lnTo>
                      <a:lnTo>
                        <a:pt x="116" y="382"/>
                      </a:lnTo>
                      <a:lnTo>
                        <a:pt x="116" y="380"/>
                      </a:lnTo>
                      <a:lnTo>
                        <a:pt x="108" y="376"/>
                      </a:lnTo>
                      <a:lnTo>
                        <a:pt x="106" y="376"/>
                      </a:lnTo>
                      <a:lnTo>
                        <a:pt x="104" y="374"/>
                      </a:lnTo>
                      <a:lnTo>
                        <a:pt x="100" y="370"/>
                      </a:lnTo>
                      <a:lnTo>
                        <a:pt x="98" y="368"/>
                      </a:lnTo>
                      <a:lnTo>
                        <a:pt x="98" y="366"/>
                      </a:lnTo>
                      <a:lnTo>
                        <a:pt x="98" y="364"/>
                      </a:lnTo>
                      <a:lnTo>
                        <a:pt x="96" y="362"/>
                      </a:lnTo>
                      <a:lnTo>
                        <a:pt x="88" y="360"/>
                      </a:lnTo>
                      <a:lnTo>
                        <a:pt x="88" y="358"/>
                      </a:lnTo>
                      <a:lnTo>
                        <a:pt x="80" y="358"/>
                      </a:lnTo>
                      <a:lnTo>
                        <a:pt x="76" y="358"/>
                      </a:lnTo>
                      <a:lnTo>
                        <a:pt x="72" y="356"/>
                      </a:lnTo>
                      <a:lnTo>
                        <a:pt x="70" y="356"/>
                      </a:lnTo>
                      <a:lnTo>
                        <a:pt x="68" y="354"/>
                      </a:lnTo>
                      <a:lnTo>
                        <a:pt x="66" y="352"/>
                      </a:lnTo>
                      <a:lnTo>
                        <a:pt x="64" y="352"/>
                      </a:lnTo>
                      <a:lnTo>
                        <a:pt x="64" y="350"/>
                      </a:lnTo>
                      <a:lnTo>
                        <a:pt x="64" y="348"/>
                      </a:lnTo>
                      <a:lnTo>
                        <a:pt x="62" y="344"/>
                      </a:lnTo>
                      <a:lnTo>
                        <a:pt x="60" y="338"/>
                      </a:lnTo>
                      <a:lnTo>
                        <a:pt x="60" y="330"/>
                      </a:lnTo>
                      <a:lnTo>
                        <a:pt x="60" y="328"/>
                      </a:lnTo>
                      <a:lnTo>
                        <a:pt x="60" y="320"/>
                      </a:lnTo>
                      <a:lnTo>
                        <a:pt x="60" y="314"/>
                      </a:lnTo>
                      <a:lnTo>
                        <a:pt x="60" y="310"/>
                      </a:lnTo>
                      <a:lnTo>
                        <a:pt x="62" y="306"/>
                      </a:lnTo>
                      <a:lnTo>
                        <a:pt x="62" y="304"/>
                      </a:lnTo>
                      <a:lnTo>
                        <a:pt x="62" y="302"/>
                      </a:lnTo>
                      <a:lnTo>
                        <a:pt x="62" y="298"/>
                      </a:lnTo>
                      <a:lnTo>
                        <a:pt x="64" y="298"/>
                      </a:lnTo>
                      <a:lnTo>
                        <a:pt x="68" y="302"/>
                      </a:lnTo>
                      <a:lnTo>
                        <a:pt x="68" y="304"/>
                      </a:lnTo>
                      <a:lnTo>
                        <a:pt x="66" y="304"/>
                      </a:lnTo>
                      <a:lnTo>
                        <a:pt x="64" y="304"/>
                      </a:lnTo>
                      <a:lnTo>
                        <a:pt x="64" y="306"/>
                      </a:lnTo>
                      <a:lnTo>
                        <a:pt x="66" y="306"/>
                      </a:lnTo>
                      <a:lnTo>
                        <a:pt x="68" y="306"/>
                      </a:lnTo>
                      <a:lnTo>
                        <a:pt x="70" y="30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4" name="Freeform 3523"/>
                <p:cNvSpPr>
                  <a:spLocks/>
                </p:cNvSpPr>
                <p:nvPr/>
              </p:nvSpPr>
              <p:spPr bwMode="auto">
                <a:xfrm>
                  <a:off x="2650572" y="2751325"/>
                  <a:ext cx="216095" cy="282586"/>
                </a:xfrm>
                <a:custGeom>
                  <a:avLst/>
                  <a:gdLst/>
                  <a:ahLst/>
                  <a:cxnLst>
                    <a:cxn ang="0">
                      <a:pos x="82" y="38"/>
                    </a:cxn>
                    <a:cxn ang="0">
                      <a:pos x="76" y="46"/>
                    </a:cxn>
                    <a:cxn ang="0">
                      <a:pos x="82" y="46"/>
                    </a:cxn>
                    <a:cxn ang="0">
                      <a:pos x="84" y="56"/>
                    </a:cxn>
                    <a:cxn ang="0">
                      <a:pos x="94" y="68"/>
                    </a:cxn>
                    <a:cxn ang="0">
                      <a:pos x="102" y="68"/>
                    </a:cxn>
                    <a:cxn ang="0">
                      <a:pos x="98" y="74"/>
                    </a:cxn>
                    <a:cxn ang="0">
                      <a:pos x="102" y="74"/>
                    </a:cxn>
                    <a:cxn ang="0">
                      <a:pos x="92" y="84"/>
                    </a:cxn>
                    <a:cxn ang="0">
                      <a:pos x="82" y="86"/>
                    </a:cxn>
                    <a:cxn ang="0">
                      <a:pos x="80" y="90"/>
                    </a:cxn>
                    <a:cxn ang="0">
                      <a:pos x="82" y="96"/>
                    </a:cxn>
                    <a:cxn ang="0">
                      <a:pos x="82" y="106"/>
                    </a:cxn>
                    <a:cxn ang="0">
                      <a:pos x="78" y="98"/>
                    </a:cxn>
                    <a:cxn ang="0">
                      <a:pos x="80" y="106"/>
                    </a:cxn>
                    <a:cxn ang="0">
                      <a:pos x="76" y="106"/>
                    </a:cxn>
                    <a:cxn ang="0">
                      <a:pos x="74" y="110"/>
                    </a:cxn>
                    <a:cxn ang="0">
                      <a:pos x="72" y="116"/>
                    </a:cxn>
                    <a:cxn ang="0">
                      <a:pos x="78" y="120"/>
                    </a:cxn>
                    <a:cxn ang="0">
                      <a:pos x="70" y="128"/>
                    </a:cxn>
                    <a:cxn ang="0">
                      <a:pos x="60" y="126"/>
                    </a:cxn>
                    <a:cxn ang="0">
                      <a:pos x="46" y="134"/>
                    </a:cxn>
                    <a:cxn ang="0">
                      <a:pos x="42" y="126"/>
                    </a:cxn>
                    <a:cxn ang="0">
                      <a:pos x="32" y="122"/>
                    </a:cxn>
                    <a:cxn ang="0">
                      <a:pos x="26" y="124"/>
                    </a:cxn>
                    <a:cxn ang="0">
                      <a:pos x="20" y="116"/>
                    </a:cxn>
                    <a:cxn ang="0">
                      <a:pos x="22" y="118"/>
                    </a:cxn>
                    <a:cxn ang="0">
                      <a:pos x="18" y="120"/>
                    </a:cxn>
                    <a:cxn ang="0">
                      <a:pos x="24" y="124"/>
                    </a:cxn>
                    <a:cxn ang="0">
                      <a:pos x="12" y="124"/>
                    </a:cxn>
                    <a:cxn ang="0">
                      <a:pos x="4" y="118"/>
                    </a:cxn>
                    <a:cxn ang="0">
                      <a:pos x="2" y="102"/>
                    </a:cxn>
                    <a:cxn ang="0">
                      <a:pos x="2" y="90"/>
                    </a:cxn>
                    <a:cxn ang="0">
                      <a:pos x="2" y="78"/>
                    </a:cxn>
                    <a:cxn ang="0">
                      <a:pos x="12" y="52"/>
                    </a:cxn>
                    <a:cxn ang="0">
                      <a:pos x="14" y="40"/>
                    </a:cxn>
                    <a:cxn ang="0">
                      <a:pos x="22" y="36"/>
                    </a:cxn>
                    <a:cxn ang="0">
                      <a:pos x="36" y="34"/>
                    </a:cxn>
                    <a:cxn ang="0">
                      <a:pos x="34" y="38"/>
                    </a:cxn>
                    <a:cxn ang="0">
                      <a:pos x="32" y="44"/>
                    </a:cxn>
                    <a:cxn ang="0">
                      <a:pos x="38" y="28"/>
                    </a:cxn>
                    <a:cxn ang="0">
                      <a:pos x="38" y="20"/>
                    </a:cxn>
                    <a:cxn ang="0">
                      <a:pos x="46" y="24"/>
                    </a:cxn>
                    <a:cxn ang="0">
                      <a:pos x="48" y="32"/>
                    </a:cxn>
                    <a:cxn ang="0">
                      <a:pos x="54" y="26"/>
                    </a:cxn>
                    <a:cxn ang="0">
                      <a:pos x="44" y="14"/>
                    </a:cxn>
                    <a:cxn ang="0">
                      <a:pos x="56" y="8"/>
                    </a:cxn>
                    <a:cxn ang="0">
                      <a:pos x="62" y="8"/>
                    </a:cxn>
                    <a:cxn ang="0">
                      <a:pos x="70" y="10"/>
                    </a:cxn>
                    <a:cxn ang="0">
                      <a:pos x="62" y="6"/>
                    </a:cxn>
                    <a:cxn ang="0">
                      <a:pos x="74" y="6"/>
                    </a:cxn>
                    <a:cxn ang="0">
                      <a:pos x="74" y="16"/>
                    </a:cxn>
                    <a:cxn ang="0">
                      <a:pos x="84" y="14"/>
                    </a:cxn>
                    <a:cxn ang="0">
                      <a:pos x="86" y="6"/>
                    </a:cxn>
                    <a:cxn ang="0">
                      <a:pos x="92" y="0"/>
                    </a:cxn>
                    <a:cxn ang="0">
                      <a:pos x="96" y="6"/>
                    </a:cxn>
                    <a:cxn ang="0">
                      <a:pos x="94" y="12"/>
                    </a:cxn>
                    <a:cxn ang="0">
                      <a:pos x="86" y="22"/>
                    </a:cxn>
                    <a:cxn ang="0">
                      <a:pos x="82" y="30"/>
                    </a:cxn>
                  </a:cxnLst>
                  <a:rect l="0" t="0" r="r" b="b"/>
                  <a:pathLst>
                    <a:path w="104" h="136">
                      <a:moveTo>
                        <a:pt x="74" y="30"/>
                      </a:moveTo>
                      <a:lnTo>
                        <a:pt x="74" y="32"/>
                      </a:lnTo>
                      <a:lnTo>
                        <a:pt x="76" y="32"/>
                      </a:lnTo>
                      <a:lnTo>
                        <a:pt x="78" y="32"/>
                      </a:lnTo>
                      <a:lnTo>
                        <a:pt x="82" y="38"/>
                      </a:lnTo>
                      <a:lnTo>
                        <a:pt x="82" y="40"/>
                      </a:lnTo>
                      <a:lnTo>
                        <a:pt x="80" y="40"/>
                      </a:lnTo>
                      <a:lnTo>
                        <a:pt x="78" y="44"/>
                      </a:lnTo>
                      <a:lnTo>
                        <a:pt x="78" y="46"/>
                      </a:lnTo>
                      <a:lnTo>
                        <a:pt x="76" y="46"/>
                      </a:lnTo>
                      <a:lnTo>
                        <a:pt x="76" y="48"/>
                      </a:lnTo>
                      <a:lnTo>
                        <a:pt x="76" y="50"/>
                      </a:lnTo>
                      <a:lnTo>
                        <a:pt x="78" y="50"/>
                      </a:lnTo>
                      <a:lnTo>
                        <a:pt x="78" y="48"/>
                      </a:lnTo>
                      <a:lnTo>
                        <a:pt x="82" y="46"/>
                      </a:lnTo>
                      <a:lnTo>
                        <a:pt x="84" y="48"/>
                      </a:lnTo>
                      <a:lnTo>
                        <a:pt x="86" y="50"/>
                      </a:lnTo>
                      <a:lnTo>
                        <a:pt x="86" y="52"/>
                      </a:lnTo>
                      <a:lnTo>
                        <a:pt x="84" y="54"/>
                      </a:lnTo>
                      <a:lnTo>
                        <a:pt x="84" y="56"/>
                      </a:lnTo>
                      <a:lnTo>
                        <a:pt x="88" y="60"/>
                      </a:lnTo>
                      <a:lnTo>
                        <a:pt x="90" y="60"/>
                      </a:lnTo>
                      <a:lnTo>
                        <a:pt x="92" y="62"/>
                      </a:lnTo>
                      <a:lnTo>
                        <a:pt x="92" y="66"/>
                      </a:lnTo>
                      <a:lnTo>
                        <a:pt x="94" y="68"/>
                      </a:lnTo>
                      <a:lnTo>
                        <a:pt x="96" y="68"/>
                      </a:lnTo>
                      <a:lnTo>
                        <a:pt x="96" y="66"/>
                      </a:lnTo>
                      <a:lnTo>
                        <a:pt x="98" y="66"/>
                      </a:lnTo>
                      <a:lnTo>
                        <a:pt x="100" y="68"/>
                      </a:lnTo>
                      <a:lnTo>
                        <a:pt x="102" y="68"/>
                      </a:lnTo>
                      <a:lnTo>
                        <a:pt x="100" y="68"/>
                      </a:lnTo>
                      <a:lnTo>
                        <a:pt x="98" y="68"/>
                      </a:lnTo>
                      <a:lnTo>
                        <a:pt x="96" y="70"/>
                      </a:lnTo>
                      <a:lnTo>
                        <a:pt x="96" y="72"/>
                      </a:lnTo>
                      <a:lnTo>
                        <a:pt x="98" y="74"/>
                      </a:lnTo>
                      <a:lnTo>
                        <a:pt x="98" y="72"/>
                      </a:lnTo>
                      <a:lnTo>
                        <a:pt x="100" y="70"/>
                      </a:lnTo>
                      <a:lnTo>
                        <a:pt x="104" y="74"/>
                      </a:lnTo>
                      <a:lnTo>
                        <a:pt x="104" y="76"/>
                      </a:lnTo>
                      <a:lnTo>
                        <a:pt x="102" y="74"/>
                      </a:lnTo>
                      <a:lnTo>
                        <a:pt x="100" y="76"/>
                      </a:lnTo>
                      <a:lnTo>
                        <a:pt x="100" y="78"/>
                      </a:lnTo>
                      <a:lnTo>
                        <a:pt x="98" y="80"/>
                      </a:lnTo>
                      <a:lnTo>
                        <a:pt x="96" y="80"/>
                      </a:lnTo>
                      <a:lnTo>
                        <a:pt x="92" y="84"/>
                      </a:lnTo>
                      <a:lnTo>
                        <a:pt x="90" y="84"/>
                      </a:lnTo>
                      <a:lnTo>
                        <a:pt x="90" y="86"/>
                      </a:lnTo>
                      <a:lnTo>
                        <a:pt x="86" y="88"/>
                      </a:lnTo>
                      <a:lnTo>
                        <a:pt x="84" y="86"/>
                      </a:lnTo>
                      <a:lnTo>
                        <a:pt x="82" y="86"/>
                      </a:lnTo>
                      <a:lnTo>
                        <a:pt x="82" y="88"/>
                      </a:lnTo>
                      <a:lnTo>
                        <a:pt x="80" y="88"/>
                      </a:lnTo>
                      <a:lnTo>
                        <a:pt x="82" y="88"/>
                      </a:lnTo>
                      <a:lnTo>
                        <a:pt x="82" y="90"/>
                      </a:lnTo>
                      <a:lnTo>
                        <a:pt x="80" y="90"/>
                      </a:lnTo>
                      <a:lnTo>
                        <a:pt x="80" y="92"/>
                      </a:lnTo>
                      <a:lnTo>
                        <a:pt x="82" y="94"/>
                      </a:lnTo>
                      <a:lnTo>
                        <a:pt x="82" y="96"/>
                      </a:lnTo>
                      <a:lnTo>
                        <a:pt x="82" y="98"/>
                      </a:lnTo>
                      <a:lnTo>
                        <a:pt x="82" y="96"/>
                      </a:lnTo>
                      <a:lnTo>
                        <a:pt x="82" y="98"/>
                      </a:lnTo>
                      <a:lnTo>
                        <a:pt x="82" y="100"/>
                      </a:lnTo>
                      <a:lnTo>
                        <a:pt x="82" y="102"/>
                      </a:lnTo>
                      <a:lnTo>
                        <a:pt x="82" y="104"/>
                      </a:lnTo>
                      <a:lnTo>
                        <a:pt x="82" y="106"/>
                      </a:lnTo>
                      <a:lnTo>
                        <a:pt x="82" y="104"/>
                      </a:lnTo>
                      <a:lnTo>
                        <a:pt x="80" y="104"/>
                      </a:lnTo>
                      <a:lnTo>
                        <a:pt x="80" y="102"/>
                      </a:lnTo>
                      <a:lnTo>
                        <a:pt x="80" y="98"/>
                      </a:lnTo>
                      <a:lnTo>
                        <a:pt x="78" y="98"/>
                      </a:lnTo>
                      <a:lnTo>
                        <a:pt x="78" y="100"/>
                      </a:lnTo>
                      <a:lnTo>
                        <a:pt x="78" y="102"/>
                      </a:lnTo>
                      <a:lnTo>
                        <a:pt x="80" y="104"/>
                      </a:lnTo>
                      <a:lnTo>
                        <a:pt x="80" y="108"/>
                      </a:lnTo>
                      <a:lnTo>
                        <a:pt x="80" y="106"/>
                      </a:lnTo>
                      <a:lnTo>
                        <a:pt x="78" y="106"/>
                      </a:lnTo>
                      <a:lnTo>
                        <a:pt x="78" y="102"/>
                      </a:lnTo>
                      <a:lnTo>
                        <a:pt x="78" y="100"/>
                      </a:lnTo>
                      <a:lnTo>
                        <a:pt x="78" y="104"/>
                      </a:lnTo>
                      <a:lnTo>
                        <a:pt x="76" y="106"/>
                      </a:lnTo>
                      <a:lnTo>
                        <a:pt x="76" y="104"/>
                      </a:lnTo>
                      <a:lnTo>
                        <a:pt x="74" y="104"/>
                      </a:lnTo>
                      <a:lnTo>
                        <a:pt x="74" y="106"/>
                      </a:lnTo>
                      <a:lnTo>
                        <a:pt x="74" y="108"/>
                      </a:lnTo>
                      <a:lnTo>
                        <a:pt x="74" y="110"/>
                      </a:lnTo>
                      <a:lnTo>
                        <a:pt x="72" y="112"/>
                      </a:lnTo>
                      <a:lnTo>
                        <a:pt x="70" y="112"/>
                      </a:lnTo>
                      <a:lnTo>
                        <a:pt x="70" y="118"/>
                      </a:lnTo>
                      <a:lnTo>
                        <a:pt x="72" y="118"/>
                      </a:lnTo>
                      <a:lnTo>
                        <a:pt x="72" y="116"/>
                      </a:lnTo>
                      <a:lnTo>
                        <a:pt x="74" y="116"/>
                      </a:lnTo>
                      <a:lnTo>
                        <a:pt x="74" y="114"/>
                      </a:lnTo>
                      <a:lnTo>
                        <a:pt x="74" y="116"/>
                      </a:lnTo>
                      <a:lnTo>
                        <a:pt x="76" y="118"/>
                      </a:lnTo>
                      <a:lnTo>
                        <a:pt x="78" y="120"/>
                      </a:lnTo>
                      <a:lnTo>
                        <a:pt x="78" y="122"/>
                      </a:lnTo>
                      <a:lnTo>
                        <a:pt x="78" y="126"/>
                      </a:lnTo>
                      <a:lnTo>
                        <a:pt x="74" y="126"/>
                      </a:lnTo>
                      <a:lnTo>
                        <a:pt x="72" y="128"/>
                      </a:lnTo>
                      <a:lnTo>
                        <a:pt x="70" y="128"/>
                      </a:lnTo>
                      <a:lnTo>
                        <a:pt x="66" y="130"/>
                      </a:lnTo>
                      <a:lnTo>
                        <a:pt x="66" y="128"/>
                      </a:lnTo>
                      <a:lnTo>
                        <a:pt x="64" y="126"/>
                      </a:lnTo>
                      <a:lnTo>
                        <a:pt x="62" y="126"/>
                      </a:lnTo>
                      <a:lnTo>
                        <a:pt x="60" y="126"/>
                      </a:lnTo>
                      <a:lnTo>
                        <a:pt x="56" y="130"/>
                      </a:lnTo>
                      <a:lnTo>
                        <a:pt x="54" y="132"/>
                      </a:lnTo>
                      <a:lnTo>
                        <a:pt x="52" y="132"/>
                      </a:lnTo>
                      <a:lnTo>
                        <a:pt x="48" y="132"/>
                      </a:lnTo>
                      <a:lnTo>
                        <a:pt x="46" y="134"/>
                      </a:lnTo>
                      <a:lnTo>
                        <a:pt x="44" y="136"/>
                      </a:lnTo>
                      <a:lnTo>
                        <a:pt x="42" y="134"/>
                      </a:lnTo>
                      <a:lnTo>
                        <a:pt x="42" y="130"/>
                      </a:lnTo>
                      <a:lnTo>
                        <a:pt x="42" y="128"/>
                      </a:lnTo>
                      <a:lnTo>
                        <a:pt x="42" y="126"/>
                      </a:lnTo>
                      <a:lnTo>
                        <a:pt x="44" y="126"/>
                      </a:lnTo>
                      <a:lnTo>
                        <a:pt x="42" y="124"/>
                      </a:lnTo>
                      <a:lnTo>
                        <a:pt x="40" y="124"/>
                      </a:lnTo>
                      <a:lnTo>
                        <a:pt x="34" y="122"/>
                      </a:lnTo>
                      <a:lnTo>
                        <a:pt x="32" y="122"/>
                      </a:lnTo>
                      <a:lnTo>
                        <a:pt x="32" y="120"/>
                      </a:lnTo>
                      <a:lnTo>
                        <a:pt x="30" y="120"/>
                      </a:lnTo>
                      <a:lnTo>
                        <a:pt x="28" y="120"/>
                      </a:lnTo>
                      <a:lnTo>
                        <a:pt x="28" y="122"/>
                      </a:lnTo>
                      <a:lnTo>
                        <a:pt x="26" y="124"/>
                      </a:lnTo>
                      <a:lnTo>
                        <a:pt x="24" y="122"/>
                      </a:lnTo>
                      <a:lnTo>
                        <a:pt x="24" y="120"/>
                      </a:lnTo>
                      <a:lnTo>
                        <a:pt x="22" y="118"/>
                      </a:lnTo>
                      <a:lnTo>
                        <a:pt x="22" y="116"/>
                      </a:lnTo>
                      <a:lnTo>
                        <a:pt x="20" y="116"/>
                      </a:lnTo>
                      <a:lnTo>
                        <a:pt x="18" y="114"/>
                      </a:lnTo>
                      <a:lnTo>
                        <a:pt x="16" y="114"/>
                      </a:lnTo>
                      <a:lnTo>
                        <a:pt x="18" y="116"/>
                      </a:lnTo>
                      <a:lnTo>
                        <a:pt x="20" y="116"/>
                      </a:lnTo>
                      <a:lnTo>
                        <a:pt x="22" y="118"/>
                      </a:lnTo>
                      <a:lnTo>
                        <a:pt x="20" y="118"/>
                      </a:lnTo>
                      <a:lnTo>
                        <a:pt x="20" y="116"/>
                      </a:lnTo>
                      <a:lnTo>
                        <a:pt x="20" y="118"/>
                      </a:lnTo>
                      <a:lnTo>
                        <a:pt x="18" y="118"/>
                      </a:lnTo>
                      <a:lnTo>
                        <a:pt x="18" y="120"/>
                      </a:lnTo>
                      <a:lnTo>
                        <a:pt x="20" y="120"/>
                      </a:lnTo>
                      <a:lnTo>
                        <a:pt x="22" y="120"/>
                      </a:lnTo>
                      <a:lnTo>
                        <a:pt x="24" y="120"/>
                      </a:lnTo>
                      <a:lnTo>
                        <a:pt x="24" y="122"/>
                      </a:lnTo>
                      <a:lnTo>
                        <a:pt x="24" y="124"/>
                      </a:lnTo>
                      <a:lnTo>
                        <a:pt x="22" y="124"/>
                      </a:lnTo>
                      <a:lnTo>
                        <a:pt x="22" y="122"/>
                      </a:lnTo>
                      <a:lnTo>
                        <a:pt x="18" y="122"/>
                      </a:lnTo>
                      <a:lnTo>
                        <a:pt x="14" y="124"/>
                      </a:lnTo>
                      <a:lnTo>
                        <a:pt x="12" y="124"/>
                      </a:lnTo>
                      <a:lnTo>
                        <a:pt x="10" y="124"/>
                      </a:lnTo>
                      <a:lnTo>
                        <a:pt x="8" y="126"/>
                      </a:lnTo>
                      <a:lnTo>
                        <a:pt x="6" y="124"/>
                      </a:lnTo>
                      <a:lnTo>
                        <a:pt x="4" y="122"/>
                      </a:lnTo>
                      <a:lnTo>
                        <a:pt x="4" y="118"/>
                      </a:lnTo>
                      <a:lnTo>
                        <a:pt x="6" y="116"/>
                      </a:lnTo>
                      <a:lnTo>
                        <a:pt x="6" y="112"/>
                      </a:lnTo>
                      <a:lnTo>
                        <a:pt x="6" y="106"/>
                      </a:lnTo>
                      <a:lnTo>
                        <a:pt x="4" y="104"/>
                      </a:lnTo>
                      <a:lnTo>
                        <a:pt x="2" y="102"/>
                      </a:lnTo>
                      <a:lnTo>
                        <a:pt x="2" y="100"/>
                      </a:lnTo>
                      <a:lnTo>
                        <a:pt x="2" y="96"/>
                      </a:lnTo>
                      <a:lnTo>
                        <a:pt x="2" y="94"/>
                      </a:lnTo>
                      <a:lnTo>
                        <a:pt x="2" y="92"/>
                      </a:lnTo>
                      <a:lnTo>
                        <a:pt x="2" y="90"/>
                      </a:lnTo>
                      <a:lnTo>
                        <a:pt x="2" y="86"/>
                      </a:lnTo>
                      <a:lnTo>
                        <a:pt x="2" y="84"/>
                      </a:lnTo>
                      <a:lnTo>
                        <a:pt x="0" y="82"/>
                      </a:lnTo>
                      <a:lnTo>
                        <a:pt x="0" y="80"/>
                      </a:lnTo>
                      <a:lnTo>
                        <a:pt x="2" y="78"/>
                      </a:lnTo>
                      <a:lnTo>
                        <a:pt x="2" y="72"/>
                      </a:lnTo>
                      <a:lnTo>
                        <a:pt x="6" y="66"/>
                      </a:lnTo>
                      <a:lnTo>
                        <a:pt x="8" y="60"/>
                      </a:lnTo>
                      <a:lnTo>
                        <a:pt x="10" y="54"/>
                      </a:lnTo>
                      <a:lnTo>
                        <a:pt x="12" y="52"/>
                      </a:lnTo>
                      <a:lnTo>
                        <a:pt x="12" y="48"/>
                      </a:lnTo>
                      <a:lnTo>
                        <a:pt x="14" y="46"/>
                      </a:lnTo>
                      <a:lnTo>
                        <a:pt x="14" y="44"/>
                      </a:lnTo>
                      <a:lnTo>
                        <a:pt x="14" y="42"/>
                      </a:lnTo>
                      <a:lnTo>
                        <a:pt x="14" y="40"/>
                      </a:lnTo>
                      <a:lnTo>
                        <a:pt x="16" y="40"/>
                      </a:lnTo>
                      <a:lnTo>
                        <a:pt x="16" y="38"/>
                      </a:lnTo>
                      <a:lnTo>
                        <a:pt x="18" y="38"/>
                      </a:lnTo>
                      <a:lnTo>
                        <a:pt x="20" y="36"/>
                      </a:lnTo>
                      <a:lnTo>
                        <a:pt x="22" y="36"/>
                      </a:lnTo>
                      <a:lnTo>
                        <a:pt x="26" y="36"/>
                      </a:lnTo>
                      <a:lnTo>
                        <a:pt x="30" y="34"/>
                      </a:lnTo>
                      <a:lnTo>
                        <a:pt x="32" y="34"/>
                      </a:lnTo>
                      <a:lnTo>
                        <a:pt x="34" y="34"/>
                      </a:lnTo>
                      <a:lnTo>
                        <a:pt x="36" y="34"/>
                      </a:lnTo>
                      <a:lnTo>
                        <a:pt x="36" y="36"/>
                      </a:lnTo>
                      <a:lnTo>
                        <a:pt x="34" y="36"/>
                      </a:lnTo>
                      <a:lnTo>
                        <a:pt x="34" y="38"/>
                      </a:lnTo>
                      <a:lnTo>
                        <a:pt x="34" y="36"/>
                      </a:lnTo>
                      <a:lnTo>
                        <a:pt x="34" y="38"/>
                      </a:lnTo>
                      <a:lnTo>
                        <a:pt x="32" y="38"/>
                      </a:lnTo>
                      <a:lnTo>
                        <a:pt x="32" y="40"/>
                      </a:lnTo>
                      <a:lnTo>
                        <a:pt x="32" y="42"/>
                      </a:lnTo>
                      <a:lnTo>
                        <a:pt x="30" y="42"/>
                      </a:lnTo>
                      <a:lnTo>
                        <a:pt x="32" y="44"/>
                      </a:lnTo>
                      <a:lnTo>
                        <a:pt x="32" y="42"/>
                      </a:lnTo>
                      <a:lnTo>
                        <a:pt x="34" y="42"/>
                      </a:lnTo>
                      <a:lnTo>
                        <a:pt x="36" y="42"/>
                      </a:lnTo>
                      <a:lnTo>
                        <a:pt x="38" y="38"/>
                      </a:lnTo>
                      <a:lnTo>
                        <a:pt x="38" y="28"/>
                      </a:lnTo>
                      <a:lnTo>
                        <a:pt x="38" y="24"/>
                      </a:lnTo>
                      <a:lnTo>
                        <a:pt x="36" y="24"/>
                      </a:lnTo>
                      <a:lnTo>
                        <a:pt x="34" y="24"/>
                      </a:lnTo>
                      <a:lnTo>
                        <a:pt x="38" y="22"/>
                      </a:lnTo>
                      <a:lnTo>
                        <a:pt x="38" y="20"/>
                      </a:lnTo>
                      <a:lnTo>
                        <a:pt x="40" y="22"/>
                      </a:lnTo>
                      <a:lnTo>
                        <a:pt x="42" y="22"/>
                      </a:lnTo>
                      <a:lnTo>
                        <a:pt x="44" y="22"/>
                      </a:lnTo>
                      <a:lnTo>
                        <a:pt x="44" y="24"/>
                      </a:lnTo>
                      <a:lnTo>
                        <a:pt x="46" y="24"/>
                      </a:lnTo>
                      <a:lnTo>
                        <a:pt x="46" y="30"/>
                      </a:lnTo>
                      <a:lnTo>
                        <a:pt x="48" y="30"/>
                      </a:lnTo>
                      <a:lnTo>
                        <a:pt x="46" y="30"/>
                      </a:lnTo>
                      <a:lnTo>
                        <a:pt x="46" y="32"/>
                      </a:lnTo>
                      <a:lnTo>
                        <a:pt x="48" y="32"/>
                      </a:lnTo>
                      <a:lnTo>
                        <a:pt x="48" y="30"/>
                      </a:lnTo>
                      <a:lnTo>
                        <a:pt x="50" y="28"/>
                      </a:lnTo>
                      <a:lnTo>
                        <a:pt x="50" y="26"/>
                      </a:lnTo>
                      <a:lnTo>
                        <a:pt x="52" y="26"/>
                      </a:lnTo>
                      <a:lnTo>
                        <a:pt x="54" y="26"/>
                      </a:lnTo>
                      <a:lnTo>
                        <a:pt x="54" y="24"/>
                      </a:lnTo>
                      <a:lnTo>
                        <a:pt x="50" y="20"/>
                      </a:lnTo>
                      <a:lnTo>
                        <a:pt x="48" y="20"/>
                      </a:lnTo>
                      <a:lnTo>
                        <a:pt x="48" y="18"/>
                      </a:lnTo>
                      <a:lnTo>
                        <a:pt x="44" y="14"/>
                      </a:lnTo>
                      <a:lnTo>
                        <a:pt x="48" y="12"/>
                      </a:lnTo>
                      <a:lnTo>
                        <a:pt x="50" y="12"/>
                      </a:lnTo>
                      <a:lnTo>
                        <a:pt x="54" y="10"/>
                      </a:lnTo>
                      <a:lnTo>
                        <a:pt x="54" y="8"/>
                      </a:lnTo>
                      <a:lnTo>
                        <a:pt x="56" y="8"/>
                      </a:lnTo>
                      <a:lnTo>
                        <a:pt x="56" y="6"/>
                      </a:lnTo>
                      <a:lnTo>
                        <a:pt x="58" y="6"/>
                      </a:lnTo>
                      <a:lnTo>
                        <a:pt x="60" y="6"/>
                      </a:lnTo>
                      <a:lnTo>
                        <a:pt x="62" y="6"/>
                      </a:lnTo>
                      <a:lnTo>
                        <a:pt x="62" y="8"/>
                      </a:lnTo>
                      <a:lnTo>
                        <a:pt x="62" y="10"/>
                      </a:lnTo>
                      <a:lnTo>
                        <a:pt x="62" y="12"/>
                      </a:lnTo>
                      <a:lnTo>
                        <a:pt x="66" y="12"/>
                      </a:lnTo>
                      <a:lnTo>
                        <a:pt x="68" y="12"/>
                      </a:lnTo>
                      <a:lnTo>
                        <a:pt x="70" y="10"/>
                      </a:lnTo>
                      <a:lnTo>
                        <a:pt x="68" y="8"/>
                      </a:lnTo>
                      <a:lnTo>
                        <a:pt x="68" y="6"/>
                      </a:lnTo>
                      <a:lnTo>
                        <a:pt x="66" y="6"/>
                      </a:lnTo>
                      <a:lnTo>
                        <a:pt x="64" y="6"/>
                      </a:lnTo>
                      <a:lnTo>
                        <a:pt x="62" y="6"/>
                      </a:lnTo>
                      <a:lnTo>
                        <a:pt x="64" y="4"/>
                      </a:lnTo>
                      <a:lnTo>
                        <a:pt x="66" y="4"/>
                      </a:lnTo>
                      <a:lnTo>
                        <a:pt x="72" y="4"/>
                      </a:lnTo>
                      <a:lnTo>
                        <a:pt x="74" y="4"/>
                      </a:lnTo>
                      <a:lnTo>
                        <a:pt x="74" y="6"/>
                      </a:lnTo>
                      <a:lnTo>
                        <a:pt x="76" y="6"/>
                      </a:lnTo>
                      <a:lnTo>
                        <a:pt x="76" y="8"/>
                      </a:lnTo>
                      <a:lnTo>
                        <a:pt x="74" y="8"/>
                      </a:lnTo>
                      <a:lnTo>
                        <a:pt x="72" y="12"/>
                      </a:lnTo>
                      <a:lnTo>
                        <a:pt x="74" y="16"/>
                      </a:lnTo>
                      <a:lnTo>
                        <a:pt x="76" y="16"/>
                      </a:lnTo>
                      <a:lnTo>
                        <a:pt x="80" y="16"/>
                      </a:lnTo>
                      <a:lnTo>
                        <a:pt x="82" y="16"/>
                      </a:lnTo>
                      <a:lnTo>
                        <a:pt x="84" y="16"/>
                      </a:lnTo>
                      <a:lnTo>
                        <a:pt x="84" y="14"/>
                      </a:lnTo>
                      <a:lnTo>
                        <a:pt x="84" y="12"/>
                      </a:lnTo>
                      <a:lnTo>
                        <a:pt x="82" y="10"/>
                      </a:lnTo>
                      <a:lnTo>
                        <a:pt x="84" y="8"/>
                      </a:lnTo>
                      <a:lnTo>
                        <a:pt x="86" y="8"/>
                      </a:lnTo>
                      <a:lnTo>
                        <a:pt x="86" y="6"/>
                      </a:lnTo>
                      <a:lnTo>
                        <a:pt x="88" y="4"/>
                      </a:lnTo>
                      <a:lnTo>
                        <a:pt x="90" y="4"/>
                      </a:lnTo>
                      <a:lnTo>
                        <a:pt x="92" y="4"/>
                      </a:lnTo>
                      <a:lnTo>
                        <a:pt x="92" y="2"/>
                      </a:lnTo>
                      <a:lnTo>
                        <a:pt x="92" y="0"/>
                      </a:lnTo>
                      <a:lnTo>
                        <a:pt x="94" y="0"/>
                      </a:lnTo>
                      <a:lnTo>
                        <a:pt x="94" y="2"/>
                      </a:lnTo>
                      <a:lnTo>
                        <a:pt x="94" y="4"/>
                      </a:lnTo>
                      <a:lnTo>
                        <a:pt x="96" y="4"/>
                      </a:lnTo>
                      <a:lnTo>
                        <a:pt x="96" y="6"/>
                      </a:lnTo>
                      <a:lnTo>
                        <a:pt x="98" y="6"/>
                      </a:lnTo>
                      <a:lnTo>
                        <a:pt x="96" y="6"/>
                      </a:lnTo>
                      <a:lnTo>
                        <a:pt x="96" y="8"/>
                      </a:lnTo>
                      <a:lnTo>
                        <a:pt x="94" y="10"/>
                      </a:lnTo>
                      <a:lnTo>
                        <a:pt x="94" y="12"/>
                      </a:lnTo>
                      <a:lnTo>
                        <a:pt x="92" y="12"/>
                      </a:lnTo>
                      <a:lnTo>
                        <a:pt x="92" y="14"/>
                      </a:lnTo>
                      <a:lnTo>
                        <a:pt x="92" y="16"/>
                      </a:lnTo>
                      <a:lnTo>
                        <a:pt x="88" y="20"/>
                      </a:lnTo>
                      <a:lnTo>
                        <a:pt x="86" y="22"/>
                      </a:lnTo>
                      <a:lnTo>
                        <a:pt x="84" y="24"/>
                      </a:lnTo>
                      <a:lnTo>
                        <a:pt x="84" y="26"/>
                      </a:lnTo>
                      <a:lnTo>
                        <a:pt x="84" y="28"/>
                      </a:lnTo>
                      <a:lnTo>
                        <a:pt x="84" y="30"/>
                      </a:lnTo>
                      <a:lnTo>
                        <a:pt x="82" y="30"/>
                      </a:lnTo>
                      <a:lnTo>
                        <a:pt x="80" y="30"/>
                      </a:lnTo>
                      <a:lnTo>
                        <a:pt x="78" y="30"/>
                      </a:lnTo>
                      <a:lnTo>
                        <a:pt x="76" y="30"/>
                      </a:lnTo>
                      <a:lnTo>
                        <a:pt x="74" y="3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5" name="Freeform 3524"/>
                <p:cNvSpPr>
                  <a:spLocks/>
                </p:cNvSpPr>
                <p:nvPr/>
              </p:nvSpPr>
              <p:spPr bwMode="auto">
                <a:xfrm>
                  <a:off x="3519109" y="2755481"/>
                  <a:ext cx="328299" cy="153760"/>
                </a:xfrm>
                <a:custGeom>
                  <a:avLst/>
                  <a:gdLst/>
                  <a:ahLst/>
                  <a:cxnLst>
                    <a:cxn ang="0">
                      <a:pos x="118" y="8"/>
                    </a:cxn>
                    <a:cxn ang="0">
                      <a:pos x="128" y="10"/>
                    </a:cxn>
                    <a:cxn ang="0">
                      <a:pos x="134" y="16"/>
                    </a:cxn>
                    <a:cxn ang="0">
                      <a:pos x="134" y="12"/>
                    </a:cxn>
                    <a:cxn ang="0">
                      <a:pos x="138" y="6"/>
                    </a:cxn>
                    <a:cxn ang="0">
                      <a:pos x="146" y="8"/>
                    </a:cxn>
                    <a:cxn ang="0">
                      <a:pos x="146" y="6"/>
                    </a:cxn>
                    <a:cxn ang="0">
                      <a:pos x="156" y="0"/>
                    </a:cxn>
                    <a:cxn ang="0">
                      <a:pos x="158" y="8"/>
                    </a:cxn>
                    <a:cxn ang="0">
                      <a:pos x="154" y="14"/>
                    </a:cxn>
                    <a:cxn ang="0">
                      <a:pos x="148" y="18"/>
                    </a:cxn>
                    <a:cxn ang="0">
                      <a:pos x="140" y="18"/>
                    </a:cxn>
                    <a:cxn ang="0">
                      <a:pos x="136" y="20"/>
                    </a:cxn>
                    <a:cxn ang="0">
                      <a:pos x="132" y="20"/>
                    </a:cxn>
                    <a:cxn ang="0">
                      <a:pos x="126" y="20"/>
                    </a:cxn>
                    <a:cxn ang="0">
                      <a:pos x="120" y="16"/>
                    </a:cxn>
                    <a:cxn ang="0">
                      <a:pos x="110" y="14"/>
                    </a:cxn>
                    <a:cxn ang="0">
                      <a:pos x="100" y="16"/>
                    </a:cxn>
                    <a:cxn ang="0">
                      <a:pos x="90" y="12"/>
                    </a:cxn>
                    <a:cxn ang="0">
                      <a:pos x="80" y="12"/>
                    </a:cxn>
                    <a:cxn ang="0">
                      <a:pos x="76" y="12"/>
                    </a:cxn>
                    <a:cxn ang="0">
                      <a:pos x="58" y="14"/>
                    </a:cxn>
                    <a:cxn ang="0">
                      <a:pos x="56" y="6"/>
                    </a:cxn>
                    <a:cxn ang="0">
                      <a:pos x="56" y="14"/>
                    </a:cxn>
                    <a:cxn ang="0">
                      <a:pos x="52" y="12"/>
                    </a:cxn>
                    <a:cxn ang="0">
                      <a:pos x="48" y="16"/>
                    </a:cxn>
                    <a:cxn ang="0">
                      <a:pos x="36" y="26"/>
                    </a:cxn>
                    <a:cxn ang="0">
                      <a:pos x="32" y="32"/>
                    </a:cxn>
                    <a:cxn ang="0">
                      <a:pos x="24" y="32"/>
                    </a:cxn>
                    <a:cxn ang="0">
                      <a:pos x="24" y="42"/>
                    </a:cxn>
                    <a:cxn ang="0">
                      <a:pos x="22" y="50"/>
                    </a:cxn>
                    <a:cxn ang="0">
                      <a:pos x="18" y="58"/>
                    </a:cxn>
                    <a:cxn ang="0">
                      <a:pos x="16" y="72"/>
                    </a:cxn>
                    <a:cxn ang="0">
                      <a:pos x="14" y="64"/>
                    </a:cxn>
                    <a:cxn ang="0">
                      <a:pos x="6" y="52"/>
                    </a:cxn>
                    <a:cxn ang="0">
                      <a:pos x="0" y="48"/>
                    </a:cxn>
                    <a:cxn ang="0">
                      <a:pos x="0" y="40"/>
                    </a:cxn>
                    <a:cxn ang="0">
                      <a:pos x="8" y="34"/>
                    </a:cxn>
                    <a:cxn ang="0">
                      <a:pos x="6" y="26"/>
                    </a:cxn>
                    <a:cxn ang="0">
                      <a:pos x="14" y="22"/>
                    </a:cxn>
                    <a:cxn ang="0">
                      <a:pos x="22" y="16"/>
                    </a:cxn>
                    <a:cxn ang="0">
                      <a:pos x="30" y="4"/>
                    </a:cxn>
                    <a:cxn ang="0">
                      <a:pos x="36" y="2"/>
                    </a:cxn>
                    <a:cxn ang="0">
                      <a:pos x="46" y="2"/>
                    </a:cxn>
                    <a:cxn ang="0">
                      <a:pos x="56" y="4"/>
                    </a:cxn>
                    <a:cxn ang="0">
                      <a:pos x="66" y="2"/>
                    </a:cxn>
                    <a:cxn ang="0">
                      <a:pos x="82" y="8"/>
                    </a:cxn>
                    <a:cxn ang="0">
                      <a:pos x="90" y="8"/>
                    </a:cxn>
                    <a:cxn ang="0">
                      <a:pos x="98" y="8"/>
                    </a:cxn>
                    <a:cxn ang="0">
                      <a:pos x="106" y="10"/>
                    </a:cxn>
                  </a:cxnLst>
                  <a:rect l="0" t="0" r="r" b="b"/>
                  <a:pathLst>
                    <a:path w="158" h="74">
                      <a:moveTo>
                        <a:pt x="112" y="8"/>
                      </a:moveTo>
                      <a:lnTo>
                        <a:pt x="114" y="8"/>
                      </a:lnTo>
                      <a:lnTo>
                        <a:pt x="116" y="8"/>
                      </a:lnTo>
                      <a:lnTo>
                        <a:pt x="118" y="8"/>
                      </a:lnTo>
                      <a:lnTo>
                        <a:pt x="122" y="8"/>
                      </a:lnTo>
                      <a:lnTo>
                        <a:pt x="124" y="8"/>
                      </a:lnTo>
                      <a:lnTo>
                        <a:pt x="126" y="10"/>
                      </a:lnTo>
                      <a:lnTo>
                        <a:pt x="128" y="10"/>
                      </a:lnTo>
                      <a:lnTo>
                        <a:pt x="130" y="10"/>
                      </a:lnTo>
                      <a:lnTo>
                        <a:pt x="130" y="12"/>
                      </a:lnTo>
                      <a:lnTo>
                        <a:pt x="132" y="14"/>
                      </a:lnTo>
                      <a:lnTo>
                        <a:pt x="134" y="16"/>
                      </a:lnTo>
                      <a:lnTo>
                        <a:pt x="134" y="14"/>
                      </a:lnTo>
                      <a:lnTo>
                        <a:pt x="134" y="12"/>
                      </a:lnTo>
                      <a:lnTo>
                        <a:pt x="136" y="12"/>
                      </a:lnTo>
                      <a:lnTo>
                        <a:pt x="134" y="12"/>
                      </a:lnTo>
                      <a:lnTo>
                        <a:pt x="134" y="10"/>
                      </a:lnTo>
                      <a:lnTo>
                        <a:pt x="134" y="6"/>
                      </a:lnTo>
                      <a:lnTo>
                        <a:pt x="136" y="6"/>
                      </a:lnTo>
                      <a:lnTo>
                        <a:pt x="138" y="6"/>
                      </a:lnTo>
                      <a:lnTo>
                        <a:pt x="142" y="4"/>
                      </a:lnTo>
                      <a:lnTo>
                        <a:pt x="146" y="4"/>
                      </a:lnTo>
                      <a:lnTo>
                        <a:pt x="146" y="6"/>
                      </a:lnTo>
                      <a:lnTo>
                        <a:pt x="146" y="8"/>
                      </a:lnTo>
                      <a:lnTo>
                        <a:pt x="150" y="8"/>
                      </a:lnTo>
                      <a:lnTo>
                        <a:pt x="148" y="8"/>
                      </a:lnTo>
                      <a:lnTo>
                        <a:pt x="148" y="6"/>
                      </a:lnTo>
                      <a:lnTo>
                        <a:pt x="146" y="6"/>
                      </a:lnTo>
                      <a:lnTo>
                        <a:pt x="146" y="4"/>
                      </a:lnTo>
                      <a:lnTo>
                        <a:pt x="146" y="2"/>
                      </a:lnTo>
                      <a:lnTo>
                        <a:pt x="152" y="0"/>
                      </a:lnTo>
                      <a:lnTo>
                        <a:pt x="156" y="0"/>
                      </a:lnTo>
                      <a:lnTo>
                        <a:pt x="156" y="2"/>
                      </a:lnTo>
                      <a:lnTo>
                        <a:pt x="158" y="4"/>
                      </a:lnTo>
                      <a:lnTo>
                        <a:pt x="158" y="6"/>
                      </a:lnTo>
                      <a:lnTo>
                        <a:pt x="158" y="8"/>
                      </a:lnTo>
                      <a:lnTo>
                        <a:pt x="158" y="10"/>
                      </a:lnTo>
                      <a:lnTo>
                        <a:pt x="154" y="10"/>
                      </a:lnTo>
                      <a:lnTo>
                        <a:pt x="154" y="12"/>
                      </a:lnTo>
                      <a:lnTo>
                        <a:pt x="154" y="14"/>
                      </a:lnTo>
                      <a:lnTo>
                        <a:pt x="152" y="16"/>
                      </a:lnTo>
                      <a:lnTo>
                        <a:pt x="152" y="18"/>
                      </a:lnTo>
                      <a:lnTo>
                        <a:pt x="150" y="18"/>
                      </a:lnTo>
                      <a:lnTo>
                        <a:pt x="148" y="18"/>
                      </a:lnTo>
                      <a:lnTo>
                        <a:pt x="146" y="18"/>
                      </a:lnTo>
                      <a:lnTo>
                        <a:pt x="144" y="18"/>
                      </a:lnTo>
                      <a:lnTo>
                        <a:pt x="142" y="18"/>
                      </a:lnTo>
                      <a:lnTo>
                        <a:pt x="140" y="18"/>
                      </a:lnTo>
                      <a:lnTo>
                        <a:pt x="140" y="16"/>
                      </a:lnTo>
                      <a:lnTo>
                        <a:pt x="138" y="16"/>
                      </a:lnTo>
                      <a:lnTo>
                        <a:pt x="136" y="18"/>
                      </a:lnTo>
                      <a:lnTo>
                        <a:pt x="136" y="20"/>
                      </a:lnTo>
                      <a:lnTo>
                        <a:pt x="138" y="20"/>
                      </a:lnTo>
                      <a:lnTo>
                        <a:pt x="138" y="22"/>
                      </a:lnTo>
                      <a:lnTo>
                        <a:pt x="136" y="22"/>
                      </a:lnTo>
                      <a:lnTo>
                        <a:pt x="132" y="20"/>
                      </a:lnTo>
                      <a:lnTo>
                        <a:pt x="130" y="22"/>
                      </a:lnTo>
                      <a:lnTo>
                        <a:pt x="128" y="22"/>
                      </a:lnTo>
                      <a:lnTo>
                        <a:pt x="126" y="22"/>
                      </a:lnTo>
                      <a:lnTo>
                        <a:pt x="126" y="20"/>
                      </a:lnTo>
                      <a:lnTo>
                        <a:pt x="124" y="20"/>
                      </a:lnTo>
                      <a:lnTo>
                        <a:pt x="124" y="18"/>
                      </a:lnTo>
                      <a:lnTo>
                        <a:pt x="122" y="16"/>
                      </a:lnTo>
                      <a:lnTo>
                        <a:pt x="120" y="16"/>
                      </a:lnTo>
                      <a:lnTo>
                        <a:pt x="118" y="16"/>
                      </a:lnTo>
                      <a:lnTo>
                        <a:pt x="114" y="16"/>
                      </a:lnTo>
                      <a:lnTo>
                        <a:pt x="112" y="16"/>
                      </a:lnTo>
                      <a:lnTo>
                        <a:pt x="110" y="14"/>
                      </a:lnTo>
                      <a:lnTo>
                        <a:pt x="108" y="14"/>
                      </a:lnTo>
                      <a:lnTo>
                        <a:pt x="106" y="14"/>
                      </a:lnTo>
                      <a:lnTo>
                        <a:pt x="104" y="14"/>
                      </a:lnTo>
                      <a:lnTo>
                        <a:pt x="100" y="16"/>
                      </a:lnTo>
                      <a:lnTo>
                        <a:pt x="98" y="16"/>
                      </a:lnTo>
                      <a:lnTo>
                        <a:pt x="94" y="14"/>
                      </a:lnTo>
                      <a:lnTo>
                        <a:pt x="92" y="12"/>
                      </a:lnTo>
                      <a:lnTo>
                        <a:pt x="90" y="12"/>
                      </a:lnTo>
                      <a:lnTo>
                        <a:pt x="88" y="12"/>
                      </a:lnTo>
                      <a:lnTo>
                        <a:pt x="86" y="12"/>
                      </a:lnTo>
                      <a:lnTo>
                        <a:pt x="82" y="12"/>
                      </a:lnTo>
                      <a:lnTo>
                        <a:pt x="80" y="12"/>
                      </a:lnTo>
                      <a:lnTo>
                        <a:pt x="80" y="10"/>
                      </a:lnTo>
                      <a:lnTo>
                        <a:pt x="78" y="10"/>
                      </a:lnTo>
                      <a:lnTo>
                        <a:pt x="76" y="10"/>
                      </a:lnTo>
                      <a:lnTo>
                        <a:pt x="76" y="12"/>
                      </a:lnTo>
                      <a:lnTo>
                        <a:pt x="68" y="12"/>
                      </a:lnTo>
                      <a:lnTo>
                        <a:pt x="62" y="12"/>
                      </a:lnTo>
                      <a:lnTo>
                        <a:pt x="60" y="14"/>
                      </a:lnTo>
                      <a:lnTo>
                        <a:pt x="58" y="14"/>
                      </a:lnTo>
                      <a:lnTo>
                        <a:pt x="56" y="8"/>
                      </a:lnTo>
                      <a:lnTo>
                        <a:pt x="58" y="8"/>
                      </a:lnTo>
                      <a:lnTo>
                        <a:pt x="58" y="6"/>
                      </a:lnTo>
                      <a:lnTo>
                        <a:pt x="56" y="6"/>
                      </a:lnTo>
                      <a:lnTo>
                        <a:pt x="54" y="8"/>
                      </a:lnTo>
                      <a:lnTo>
                        <a:pt x="54" y="10"/>
                      </a:lnTo>
                      <a:lnTo>
                        <a:pt x="54" y="12"/>
                      </a:lnTo>
                      <a:lnTo>
                        <a:pt x="56" y="14"/>
                      </a:lnTo>
                      <a:lnTo>
                        <a:pt x="54" y="16"/>
                      </a:lnTo>
                      <a:lnTo>
                        <a:pt x="52" y="16"/>
                      </a:lnTo>
                      <a:lnTo>
                        <a:pt x="52" y="14"/>
                      </a:lnTo>
                      <a:lnTo>
                        <a:pt x="52" y="12"/>
                      </a:lnTo>
                      <a:lnTo>
                        <a:pt x="50" y="12"/>
                      </a:lnTo>
                      <a:lnTo>
                        <a:pt x="50" y="14"/>
                      </a:lnTo>
                      <a:lnTo>
                        <a:pt x="50" y="16"/>
                      </a:lnTo>
                      <a:lnTo>
                        <a:pt x="48" y="16"/>
                      </a:lnTo>
                      <a:lnTo>
                        <a:pt x="44" y="18"/>
                      </a:lnTo>
                      <a:lnTo>
                        <a:pt x="40" y="16"/>
                      </a:lnTo>
                      <a:lnTo>
                        <a:pt x="40" y="18"/>
                      </a:lnTo>
                      <a:lnTo>
                        <a:pt x="36" y="26"/>
                      </a:lnTo>
                      <a:lnTo>
                        <a:pt x="36" y="28"/>
                      </a:lnTo>
                      <a:lnTo>
                        <a:pt x="38" y="28"/>
                      </a:lnTo>
                      <a:lnTo>
                        <a:pt x="36" y="28"/>
                      </a:lnTo>
                      <a:lnTo>
                        <a:pt x="32" y="32"/>
                      </a:lnTo>
                      <a:lnTo>
                        <a:pt x="30" y="34"/>
                      </a:lnTo>
                      <a:lnTo>
                        <a:pt x="28" y="34"/>
                      </a:lnTo>
                      <a:lnTo>
                        <a:pt x="28" y="32"/>
                      </a:lnTo>
                      <a:lnTo>
                        <a:pt x="24" y="32"/>
                      </a:lnTo>
                      <a:lnTo>
                        <a:pt x="22" y="34"/>
                      </a:lnTo>
                      <a:lnTo>
                        <a:pt x="22" y="36"/>
                      </a:lnTo>
                      <a:lnTo>
                        <a:pt x="24" y="38"/>
                      </a:lnTo>
                      <a:lnTo>
                        <a:pt x="24" y="42"/>
                      </a:lnTo>
                      <a:lnTo>
                        <a:pt x="24" y="46"/>
                      </a:lnTo>
                      <a:lnTo>
                        <a:pt x="24" y="48"/>
                      </a:lnTo>
                      <a:lnTo>
                        <a:pt x="22" y="48"/>
                      </a:lnTo>
                      <a:lnTo>
                        <a:pt x="22" y="50"/>
                      </a:lnTo>
                      <a:lnTo>
                        <a:pt x="20" y="50"/>
                      </a:lnTo>
                      <a:lnTo>
                        <a:pt x="18" y="50"/>
                      </a:lnTo>
                      <a:lnTo>
                        <a:pt x="18" y="52"/>
                      </a:lnTo>
                      <a:lnTo>
                        <a:pt x="18" y="58"/>
                      </a:lnTo>
                      <a:lnTo>
                        <a:pt x="18" y="60"/>
                      </a:lnTo>
                      <a:lnTo>
                        <a:pt x="20" y="68"/>
                      </a:lnTo>
                      <a:lnTo>
                        <a:pt x="18" y="74"/>
                      </a:lnTo>
                      <a:lnTo>
                        <a:pt x="16" y="72"/>
                      </a:lnTo>
                      <a:lnTo>
                        <a:pt x="16" y="68"/>
                      </a:lnTo>
                      <a:lnTo>
                        <a:pt x="16" y="66"/>
                      </a:lnTo>
                      <a:lnTo>
                        <a:pt x="16" y="64"/>
                      </a:lnTo>
                      <a:lnTo>
                        <a:pt x="14" y="64"/>
                      </a:lnTo>
                      <a:lnTo>
                        <a:pt x="12" y="64"/>
                      </a:lnTo>
                      <a:lnTo>
                        <a:pt x="10" y="62"/>
                      </a:lnTo>
                      <a:lnTo>
                        <a:pt x="6" y="56"/>
                      </a:lnTo>
                      <a:lnTo>
                        <a:pt x="6" y="52"/>
                      </a:lnTo>
                      <a:lnTo>
                        <a:pt x="2" y="52"/>
                      </a:lnTo>
                      <a:lnTo>
                        <a:pt x="2" y="50"/>
                      </a:lnTo>
                      <a:lnTo>
                        <a:pt x="0" y="50"/>
                      </a:lnTo>
                      <a:lnTo>
                        <a:pt x="0" y="48"/>
                      </a:lnTo>
                      <a:lnTo>
                        <a:pt x="0" y="46"/>
                      </a:lnTo>
                      <a:lnTo>
                        <a:pt x="2" y="44"/>
                      </a:lnTo>
                      <a:lnTo>
                        <a:pt x="0" y="42"/>
                      </a:lnTo>
                      <a:lnTo>
                        <a:pt x="0" y="40"/>
                      </a:lnTo>
                      <a:lnTo>
                        <a:pt x="2" y="40"/>
                      </a:lnTo>
                      <a:lnTo>
                        <a:pt x="4" y="40"/>
                      </a:lnTo>
                      <a:lnTo>
                        <a:pt x="6" y="36"/>
                      </a:lnTo>
                      <a:lnTo>
                        <a:pt x="8" y="34"/>
                      </a:lnTo>
                      <a:lnTo>
                        <a:pt x="6" y="32"/>
                      </a:lnTo>
                      <a:lnTo>
                        <a:pt x="6" y="30"/>
                      </a:lnTo>
                      <a:lnTo>
                        <a:pt x="6" y="28"/>
                      </a:lnTo>
                      <a:lnTo>
                        <a:pt x="6" y="26"/>
                      </a:lnTo>
                      <a:lnTo>
                        <a:pt x="10" y="24"/>
                      </a:lnTo>
                      <a:lnTo>
                        <a:pt x="12" y="26"/>
                      </a:lnTo>
                      <a:lnTo>
                        <a:pt x="14" y="26"/>
                      </a:lnTo>
                      <a:lnTo>
                        <a:pt x="14" y="22"/>
                      </a:lnTo>
                      <a:lnTo>
                        <a:pt x="14" y="20"/>
                      </a:lnTo>
                      <a:lnTo>
                        <a:pt x="18" y="16"/>
                      </a:lnTo>
                      <a:lnTo>
                        <a:pt x="20" y="16"/>
                      </a:lnTo>
                      <a:lnTo>
                        <a:pt x="22" y="16"/>
                      </a:lnTo>
                      <a:lnTo>
                        <a:pt x="26" y="14"/>
                      </a:lnTo>
                      <a:lnTo>
                        <a:pt x="30" y="10"/>
                      </a:lnTo>
                      <a:lnTo>
                        <a:pt x="30" y="8"/>
                      </a:lnTo>
                      <a:lnTo>
                        <a:pt x="30" y="4"/>
                      </a:lnTo>
                      <a:lnTo>
                        <a:pt x="32" y="4"/>
                      </a:lnTo>
                      <a:lnTo>
                        <a:pt x="32" y="2"/>
                      </a:lnTo>
                      <a:lnTo>
                        <a:pt x="34" y="2"/>
                      </a:lnTo>
                      <a:lnTo>
                        <a:pt x="36" y="2"/>
                      </a:lnTo>
                      <a:lnTo>
                        <a:pt x="40" y="2"/>
                      </a:lnTo>
                      <a:lnTo>
                        <a:pt x="40" y="0"/>
                      </a:lnTo>
                      <a:lnTo>
                        <a:pt x="42" y="0"/>
                      </a:lnTo>
                      <a:lnTo>
                        <a:pt x="46" y="2"/>
                      </a:lnTo>
                      <a:lnTo>
                        <a:pt x="48" y="4"/>
                      </a:lnTo>
                      <a:lnTo>
                        <a:pt x="50" y="4"/>
                      </a:lnTo>
                      <a:lnTo>
                        <a:pt x="54" y="4"/>
                      </a:lnTo>
                      <a:lnTo>
                        <a:pt x="56" y="4"/>
                      </a:lnTo>
                      <a:lnTo>
                        <a:pt x="58" y="4"/>
                      </a:lnTo>
                      <a:lnTo>
                        <a:pt x="60" y="2"/>
                      </a:lnTo>
                      <a:lnTo>
                        <a:pt x="62" y="2"/>
                      </a:lnTo>
                      <a:lnTo>
                        <a:pt x="66" y="2"/>
                      </a:lnTo>
                      <a:lnTo>
                        <a:pt x="74" y="2"/>
                      </a:lnTo>
                      <a:lnTo>
                        <a:pt x="76" y="2"/>
                      </a:lnTo>
                      <a:lnTo>
                        <a:pt x="80" y="4"/>
                      </a:lnTo>
                      <a:lnTo>
                        <a:pt x="82" y="8"/>
                      </a:lnTo>
                      <a:lnTo>
                        <a:pt x="84" y="8"/>
                      </a:lnTo>
                      <a:lnTo>
                        <a:pt x="86" y="6"/>
                      </a:lnTo>
                      <a:lnTo>
                        <a:pt x="88" y="6"/>
                      </a:lnTo>
                      <a:lnTo>
                        <a:pt x="90" y="8"/>
                      </a:lnTo>
                      <a:lnTo>
                        <a:pt x="92" y="10"/>
                      </a:lnTo>
                      <a:lnTo>
                        <a:pt x="94" y="10"/>
                      </a:lnTo>
                      <a:lnTo>
                        <a:pt x="94" y="8"/>
                      </a:lnTo>
                      <a:lnTo>
                        <a:pt x="98" y="8"/>
                      </a:lnTo>
                      <a:lnTo>
                        <a:pt x="100" y="8"/>
                      </a:lnTo>
                      <a:lnTo>
                        <a:pt x="100" y="10"/>
                      </a:lnTo>
                      <a:lnTo>
                        <a:pt x="104" y="10"/>
                      </a:lnTo>
                      <a:lnTo>
                        <a:pt x="106" y="10"/>
                      </a:lnTo>
                      <a:lnTo>
                        <a:pt x="110" y="8"/>
                      </a:lnTo>
                      <a:lnTo>
                        <a:pt x="112"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6" name="Freeform 3525"/>
                <p:cNvSpPr>
                  <a:spLocks/>
                </p:cNvSpPr>
                <p:nvPr/>
              </p:nvSpPr>
              <p:spPr bwMode="auto">
                <a:xfrm>
                  <a:off x="3556510" y="2909241"/>
                  <a:ext cx="20778" cy="12467"/>
                </a:xfrm>
                <a:custGeom>
                  <a:avLst/>
                  <a:gdLst/>
                  <a:ahLst/>
                  <a:cxnLst>
                    <a:cxn ang="0">
                      <a:pos x="8" y="2"/>
                    </a:cxn>
                    <a:cxn ang="0">
                      <a:pos x="8" y="4"/>
                    </a:cxn>
                    <a:cxn ang="0">
                      <a:pos x="10" y="6"/>
                    </a:cxn>
                    <a:cxn ang="0">
                      <a:pos x="8" y="6"/>
                    </a:cxn>
                    <a:cxn ang="0">
                      <a:pos x="4" y="4"/>
                    </a:cxn>
                    <a:cxn ang="0">
                      <a:pos x="0" y="4"/>
                    </a:cxn>
                    <a:cxn ang="0">
                      <a:pos x="0" y="2"/>
                    </a:cxn>
                    <a:cxn ang="0">
                      <a:pos x="2" y="0"/>
                    </a:cxn>
                    <a:cxn ang="0">
                      <a:pos x="6" y="0"/>
                    </a:cxn>
                    <a:cxn ang="0">
                      <a:pos x="8" y="2"/>
                    </a:cxn>
                  </a:cxnLst>
                  <a:rect l="0" t="0" r="r" b="b"/>
                  <a:pathLst>
                    <a:path w="10" h="6">
                      <a:moveTo>
                        <a:pt x="8" y="2"/>
                      </a:moveTo>
                      <a:lnTo>
                        <a:pt x="8" y="4"/>
                      </a:lnTo>
                      <a:lnTo>
                        <a:pt x="10" y="6"/>
                      </a:lnTo>
                      <a:lnTo>
                        <a:pt x="8" y="6"/>
                      </a:lnTo>
                      <a:lnTo>
                        <a:pt x="4" y="4"/>
                      </a:lnTo>
                      <a:lnTo>
                        <a:pt x="0" y="4"/>
                      </a:lnTo>
                      <a:lnTo>
                        <a:pt x="0" y="2"/>
                      </a:lnTo>
                      <a:lnTo>
                        <a:pt x="2" y="0"/>
                      </a:lnTo>
                      <a:lnTo>
                        <a:pt x="6" y="0"/>
                      </a:lnTo>
                      <a:lnTo>
                        <a:pt x="8"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7" name="Freeform 3526"/>
                <p:cNvSpPr>
                  <a:spLocks/>
                </p:cNvSpPr>
                <p:nvPr/>
              </p:nvSpPr>
              <p:spPr bwMode="auto">
                <a:xfrm>
                  <a:off x="3677024" y="3083779"/>
                  <a:ext cx="120515" cy="45712"/>
                </a:xfrm>
                <a:custGeom>
                  <a:avLst/>
                  <a:gdLst/>
                  <a:ahLst/>
                  <a:cxnLst>
                    <a:cxn ang="0">
                      <a:pos x="50" y="0"/>
                    </a:cxn>
                    <a:cxn ang="0">
                      <a:pos x="54" y="0"/>
                    </a:cxn>
                    <a:cxn ang="0">
                      <a:pos x="58" y="0"/>
                    </a:cxn>
                    <a:cxn ang="0">
                      <a:pos x="56" y="0"/>
                    </a:cxn>
                    <a:cxn ang="0">
                      <a:pos x="54" y="0"/>
                    </a:cxn>
                    <a:cxn ang="0">
                      <a:pos x="52" y="2"/>
                    </a:cxn>
                    <a:cxn ang="0">
                      <a:pos x="52" y="4"/>
                    </a:cxn>
                    <a:cxn ang="0">
                      <a:pos x="54" y="4"/>
                    </a:cxn>
                    <a:cxn ang="0">
                      <a:pos x="56" y="4"/>
                    </a:cxn>
                    <a:cxn ang="0">
                      <a:pos x="58" y="4"/>
                    </a:cxn>
                    <a:cxn ang="0">
                      <a:pos x="58" y="6"/>
                    </a:cxn>
                    <a:cxn ang="0">
                      <a:pos x="56" y="6"/>
                    </a:cxn>
                    <a:cxn ang="0">
                      <a:pos x="54" y="6"/>
                    </a:cxn>
                    <a:cxn ang="0">
                      <a:pos x="52" y="8"/>
                    </a:cxn>
                    <a:cxn ang="0">
                      <a:pos x="50" y="10"/>
                    </a:cxn>
                    <a:cxn ang="0">
                      <a:pos x="48" y="10"/>
                    </a:cxn>
                    <a:cxn ang="0">
                      <a:pos x="46" y="10"/>
                    </a:cxn>
                    <a:cxn ang="0">
                      <a:pos x="44" y="10"/>
                    </a:cxn>
                    <a:cxn ang="0">
                      <a:pos x="44" y="12"/>
                    </a:cxn>
                    <a:cxn ang="0">
                      <a:pos x="44" y="14"/>
                    </a:cxn>
                    <a:cxn ang="0">
                      <a:pos x="44" y="16"/>
                    </a:cxn>
                    <a:cxn ang="0">
                      <a:pos x="42" y="16"/>
                    </a:cxn>
                    <a:cxn ang="0">
                      <a:pos x="42" y="18"/>
                    </a:cxn>
                    <a:cxn ang="0">
                      <a:pos x="40" y="20"/>
                    </a:cxn>
                    <a:cxn ang="0">
                      <a:pos x="34" y="22"/>
                    </a:cxn>
                    <a:cxn ang="0">
                      <a:pos x="32" y="22"/>
                    </a:cxn>
                    <a:cxn ang="0">
                      <a:pos x="30" y="22"/>
                    </a:cxn>
                    <a:cxn ang="0">
                      <a:pos x="28" y="22"/>
                    </a:cxn>
                    <a:cxn ang="0">
                      <a:pos x="24" y="22"/>
                    </a:cxn>
                    <a:cxn ang="0">
                      <a:pos x="18" y="20"/>
                    </a:cxn>
                    <a:cxn ang="0">
                      <a:pos x="16" y="20"/>
                    </a:cxn>
                    <a:cxn ang="0">
                      <a:pos x="16" y="18"/>
                    </a:cxn>
                    <a:cxn ang="0">
                      <a:pos x="14" y="18"/>
                    </a:cxn>
                    <a:cxn ang="0">
                      <a:pos x="12" y="18"/>
                    </a:cxn>
                    <a:cxn ang="0">
                      <a:pos x="10" y="16"/>
                    </a:cxn>
                    <a:cxn ang="0">
                      <a:pos x="8" y="16"/>
                    </a:cxn>
                    <a:cxn ang="0">
                      <a:pos x="6" y="16"/>
                    </a:cxn>
                    <a:cxn ang="0">
                      <a:pos x="6" y="14"/>
                    </a:cxn>
                    <a:cxn ang="0">
                      <a:pos x="4" y="14"/>
                    </a:cxn>
                    <a:cxn ang="0">
                      <a:pos x="4" y="16"/>
                    </a:cxn>
                    <a:cxn ang="0">
                      <a:pos x="2" y="16"/>
                    </a:cxn>
                    <a:cxn ang="0">
                      <a:pos x="0" y="16"/>
                    </a:cxn>
                    <a:cxn ang="0">
                      <a:pos x="0" y="12"/>
                    </a:cxn>
                    <a:cxn ang="0">
                      <a:pos x="0" y="10"/>
                    </a:cxn>
                    <a:cxn ang="0">
                      <a:pos x="2" y="10"/>
                    </a:cxn>
                    <a:cxn ang="0">
                      <a:pos x="4" y="10"/>
                    </a:cxn>
                    <a:cxn ang="0">
                      <a:pos x="6" y="10"/>
                    </a:cxn>
                    <a:cxn ang="0">
                      <a:pos x="12" y="8"/>
                    </a:cxn>
                    <a:cxn ang="0">
                      <a:pos x="12" y="6"/>
                    </a:cxn>
                    <a:cxn ang="0">
                      <a:pos x="18" y="4"/>
                    </a:cxn>
                    <a:cxn ang="0">
                      <a:pos x="24" y="4"/>
                    </a:cxn>
                    <a:cxn ang="0">
                      <a:pos x="26" y="4"/>
                    </a:cxn>
                    <a:cxn ang="0">
                      <a:pos x="30" y="2"/>
                    </a:cxn>
                    <a:cxn ang="0">
                      <a:pos x="32" y="2"/>
                    </a:cxn>
                    <a:cxn ang="0">
                      <a:pos x="32" y="4"/>
                    </a:cxn>
                    <a:cxn ang="0">
                      <a:pos x="34" y="4"/>
                    </a:cxn>
                    <a:cxn ang="0">
                      <a:pos x="36" y="4"/>
                    </a:cxn>
                    <a:cxn ang="0">
                      <a:pos x="38" y="2"/>
                    </a:cxn>
                    <a:cxn ang="0">
                      <a:pos x="40" y="2"/>
                    </a:cxn>
                    <a:cxn ang="0">
                      <a:pos x="42" y="0"/>
                    </a:cxn>
                    <a:cxn ang="0">
                      <a:pos x="44" y="0"/>
                    </a:cxn>
                    <a:cxn ang="0">
                      <a:pos x="48" y="0"/>
                    </a:cxn>
                    <a:cxn ang="0">
                      <a:pos x="50" y="0"/>
                    </a:cxn>
                  </a:cxnLst>
                  <a:rect l="0" t="0" r="r" b="b"/>
                  <a:pathLst>
                    <a:path w="58" h="22">
                      <a:moveTo>
                        <a:pt x="50" y="0"/>
                      </a:moveTo>
                      <a:lnTo>
                        <a:pt x="54" y="0"/>
                      </a:lnTo>
                      <a:lnTo>
                        <a:pt x="58" y="0"/>
                      </a:lnTo>
                      <a:lnTo>
                        <a:pt x="56" y="0"/>
                      </a:lnTo>
                      <a:lnTo>
                        <a:pt x="54" y="0"/>
                      </a:lnTo>
                      <a:lnTo>
                        <a:pt x="52" y="2"/>
                      </a:lnTo>
                      <a:lnTo>
                        <a:pt x="52" y="4"/>
                      </a:lnTo>
                      <a:lnTo>
                        <a:pt x="54" y="4"/>
                      </a:lnTo>
                      <a:lnTo>
                        <a:pt x="56" y="4"/>
                      </a:lnTo>
                      <a:lnTo>
                        <a:pt x="58" y="4"/>
                      </a:lnTo>
                      <a:lnTo>
                        <a:pt x="58" y="6"/>
                      </a:lnTo>
                      <a:lnTo>
                        <a:pt x="56" y="6"/>
                      </a:lnTo>
                      <a:lnTo>
                        <a:pt x="54" y="6"/>
                      </a:lnTo>
                      <a:lnTo>
                        <a:pt x="52" y="8"/>
                      </a:lnTo>
                      <a:lnTo>
                        <a:pt x="50" y="10"/>
                      </a:lnTo>
                      <a:lnTo>
                        <a:pt x="48" y="10"/>
                      </a:lnTo>
                      <a:lnTo>
                        <a:pt x="46" y="10"/>
                      </a:lnTo>
                      <a:lnTo>
                        <a:pt x="44" y="10"/>
                      </a:lnTo>
                      <a:lnTo>
                        <a:pt x="44" y="12"/>
                      </a:lnTo>
                      <a:lnTo>
                        <a:pt x="44" y="14"/>
                      </a:lnTo>
                      <a:lnTo>
                        <a:pt x="44" y="16"/>
                      </a:lnTo>
                      <a:lnTo>
                        <a:pt x="42" y="16"/>
                      </a:lnTo>
                      <a:lnTo>
                        <a:pt x="42" y="18"/>
                      </a:lnTo>
                      <a:lnTo>
                        <a:pt x="40" y="20"/>
                      </a:lnTo>
                      <a:lnTo>
                        <a:pt x="34" y="22"/>
                      </a:lnTo>
                      <a:lnTo>
                        <a:pt x="32" y="22"/>
                      </a:lnTo>
                      <a:lnTo>
                        <a:pt x="30" y="22"/>
                      </a:lnTo>
                      <a:lnTo>
                        <a:pt x="28" y="22"/>
                      </a:lnTo>
                      <a:lnTo>
                        <a:pt x="24" y="22"/>
                      </a:lnTo>
                      <a:lnTo>
                        <a:pt x="18" y="20"/>
                      </a:lnTo>
                      <a:lnTo>
                        <a:pt x="16" y="20"/>
                      </a:lnTo>
                      <a:lnTo>
                        <a:pt x="16" y="18"/>
                      </a:lnTo>
                      <a:lnTo>
                        <a:pt x="14" y="18"/>
                      </a:lnTo>
                      <a:lnTo>
                        <a:pt x="12" y="18"/>
                      </a:lnTo>
                      <a:lnTo>
                        <a:pt x="10" y="16"/>
                      </a:lnTo>
                      <a:lnTo>
                        <a:pt x="8" y="16"/>
                      </a:lnTo>
                      <a:lnTo>
                        <a:pt x="6" y="16"/>
                      </a:lnTo>
                      <a:lnTo>
                        <a:pt x="6" y="14"/>
                      </a:lnTo>
                      <a:lnTo>
                        <a:pt x="4" y="14"/>
                      </a:lnTo>
                      <a:lnTo>
                        <a:pt x="4" y="16"/>
                      </a:lnTo>
                      <a:lnTo>
                        <a:pt x="2" y="16"/>
                      </a:lnTo>
                      <a:lnTo>
                        <a:pt x="0" y="16"/>
                      </a:lnTo>
                      <a:lnTo>
                        <a:pt x="0" y="12"/>
                      </a:lnTo>
                      <a:lnTo>
                        <a:pt x="0" y="10"/>
                      </a:lnTo>
                      <a:lnTo>
                        <a:pt x="2" y="10"/>
                      </a:lnTo>
                      <a:lnTo>
                        <a:pt x="4" y="10"/>
                      </a:lnTo>
                      <a:lnTo>
                        <a:pt x="6" y="10"/>
                      </a:lnTo>
                      <a:lnTo>
                        <a:pt x="12" y="8"/>
                      </a:lnTo>
                      <a:lnTo>
                        <a:pt x="12" y="6"/>
                      </a:lnTo>
                      <a:lnTo>
                        <a:pt x="18" y="4"/>
                      </a:lnTo>
                      <a:lnTo>
                        <a:pt x="24" y="4"/>
                      </a:lnTo>
                      <a:lnTo>
                        <a:pt x="26" y="4"/>
                      </a:lnTo>
                      <a:lnTo>
                        <a:pt x="30" y="2"/>
                      </a:lnTo>
                      <a:lnTo>
                        <a:pt x="32" y="2"/>
                      </a:lnTo>
                      <a:lnTo>
                        <a:pt x="32" y="4"/>
                      </a:lnTo>
                      <a:lnTo>
                        <a:pt x="34" y="4"/>
                      </a:lnTo>
                      <a:lnTo>
                        <a:pt x="36" y="4"/>
                      </a:lnTo>
                      <a:lnTo>
                        <a:pt x="38" y="2"/>
                      </a:lnTo>
                      <a:lnTo>
                        <a:pt x="40" y="2"/>
                      </a:lnTo>
                      <a:lnTo>
                        <a:pt x="42" y="0"/>
                      </a:lnTo>
                      <a:lnTo>
                        <a:pt x="44" y="0"/>
                      </a:lnTo>
                      <a:lnTo>
                        <a:pt x="48" y="0"/>
                      </a:lnTo>
                      <a:lnTo>
                        <a:pt x="50" y="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08" name="Freeform 3527"/>
                <p:cNvSpPr>
                  <a:spLocks/>
                </p:cNvSpPr>
                <p:nvPr/>
              </p:nvSpPr>
              <p:spPr bwMode="auto">
                <a:xfrm>
                  <a:off x="1902550" y="3416234"/>
                  <a:ext cx="49868" cy="83114"/>
                </a:xfrm>
                <a:custGeom>
                  <a:avLst/>
                  <a:gdLst/>
                  <a:ahLst/>
                  <a:cxnLst>
                    <a:cxn ang="0">
                      <a:pos x="22" y="20"/>
                    </a:cxn>
                    <a:cxn ang="0">
                      <a:pos x="20" y="22"/>
                    </a:cxn>
                    <a:cxn ang="0">
                      <a:pos x="18" y="22"/>
                    </a:cxn>
                    <a:cxn ang="0">
                      <a:pos x="20" y="26"/>
                    </a:cxn>
                    <a:cxn ang="0">
                      <a:pos x="22" y="26"/>
                    </a:cxn>
                    <a:cxn ang="0">
                      <a:pos x="24" y="30"/>
                    </a:cxn>
                    <a:cxn ang="0">
                      <a:pos x="24" y="32"/>
                    </a:cxn>
                    <a:cxn ang="0">
                      <a:pos x="22" y="34"/>
                    </a:cxn>
                    <a:cxn ang="0">
                      <a:pos x="20" y="36"/>
                    </a:cxn>
                    <a:cxn ang="0">
                      <a:pos x="20" y="34"/>
                    </a:cxn>
                    <a:cxn ang="0">
                      <a:pos x="16" y="38"/>
                    </a:cxn>
                    <a:cxn ang="0">
                      <a:pos x="16" y="40"/>
                    </a:cxn>
                    <a:cxn ang="0">
                      <a:pos x="12" y="40"/>
                    </a:cxn>
                    <a:cxn ang="0">
                      <a:pos x="10" y="38"/>
                    </a:cxn>
                    <a:cxn ang="0">
                      <a:pos x="8" y="36"/>
                    </a:cxn>
                    <a:cxn ang="0">
                      <a:pos x="8" y="34"/>
                    </a:cxn>
                    <a:cxn ang="0">
                      <a:pos x="8" y="32"/>
                    </a:cxn>
                    <a:cxn ang="0">
                      <a:pos x="10" y="32"/>
                    </a:cxn>
                    <a:cxn ang="0">
                      <a:pos x="8" y="30"/>
                    </a:cxn>
                    <a:cxn ang="0">
                      <a:pos x="8" y="28"/>
                    </a:cxn>
                    <a:cxn ang="0">
                      <a:pos x="8" y="26"/>
                    </a:cxn>
                    <a:cxn ang="0">
                      <a:pos x="8" y="20"/>
                    </a:cxn>
                    <a:cxn ang="0">
                      <a:pos x="8" y="18"/>
                    </a:cxn>
                    <a:cxn ang="0">
                      <a:pos x="6" y="16"/>
                    </a:cxn>
                    <a:cxn ang="0">
                      <a:pos x="4" y="16"/>
                    </a:cxn>
                    <a:cxn ang="0">
                      <a:pos x="2" y="16"/>
                    </a:cxn>
                    <a:cxn ang="0">
                      <a:pos x="2" y="14"/>
                    </a:cxn>
                    <a:cxn ang="0">
                      <a:pos x="2" y="12"/>
                    </a:cxn>
                    <a:cxn ang="0">
                      <a:pos x="2" y="10"/>
                    </a:cxn>
                    <a:cxn ang="0">
                      <a:pos x="4" y="10"/>
                    </a:cxn>
                    <a:cxn ang="0">
                      <a:pos x="4" y="8"/>
                    </a:cxn>
                    <a:cxn ang="0">
                      <a:pos x="6" y="8"/>
                    </a:cxn>
                    <a:cxn ang="0">
                      <a:pos x="6" y="6"/>
                    </a:cxn>
                    <a:cxn ang="0">
                      <a:pos x="4" y="6"/>
                    </a:cxn>
                    <a:cxn ang="0">
                      <a:pos x="4" y="4"/>
                    </a:cxn>
                    <a:cxn ang="0">
                      <a:pos x="2" y="6"/>
                    </a:cxn>
                    <a:cxn ang="0">
                      <a:pos x="0" y="6"/>
                    </a:cxn>
                    <a:cxn ang="0">
                      <a:pos x="0" y="4"/>
                    </a:cxn>
                    <a:cxn ang="0">
                      <a:pos x="2" y="2"/>
                    </a:cxn>
                    <a:cxn ang="0">
                      <a:pos x="4" y="0"/>
                    </a:cxn>
                    <a:cxn ang="0">
                      <a:pos x="8" y="2"/>
                    </a:cxn>
                    <a:cxn ang="0">
                      <a:pos x="10" y="2"/>
                    </a:cxn>
                    <a:cxn ang="0">
                      <a:pos x="12" y="4"/>
                    </a:cxn>
                    <a:cxn ang="0">
                      <a:pos x="14" y="4"/>
                    </a:cxn>
                    <a:cxn ang="0">
                      <a:pos x="14" y="6"/>
                    </a:cxn>
                    <a:cxn ang="0">
                      <a:pos x="14" y="8"/>
                    </a:cxn>
                    <a:cxn ang="0">
                      <a:pos x="14" y="10"/>
                    </a:cxn>
                    <a:cxn ang="0">
                      <a:pos x="12" y="12"/>
                    </a:cxn>
                    <a:cxn ang="0">
                      <a:pos x="12" y="14"/>
                    </a:cxn>
                    <a:cxn ang="0">
                      <a:pos x="10" y="14"/>
                    </a:cxn>
                    <a:cxn ang="0">
                      <a:pos x="10" y="16"/>
                    </a:cxn>
                    <a:cxn ang="0">
                      <a:pos x="12" y="18"/>
                    </a:cxn>
                    <a:cxn ang="0">
                      <a:pos x="14" y="20"/>
                    </a:cxn>
                    <a:cxn ang="0">
                      <a:pos x="14" y="18"/>
                    </a:cxn>
                    <a:cxn ang="0">
                      <a:pos x="16" y="18"/>
                    </a:cxn>
                    <a:cxn ang="0">
                      <a:pos x="18" y="18"/>
                    </a:cxn>
                    <a:cxn ang="0">
                      <a:pos x="18" y="20"/>
                    </a:cxn>
                    <a:cxn ang="0">
                      <a:pos x="22" y="20"/>
                    </a:cxn>
                  </a:cxnLst>
                  <a:rect l="0" t="0" r="r" b="b"/>
                  <a:pathLst>
                    <a:path w="24" h="40">
                      <a:moveTo>
                        <a:pt x="22" y="20"/>
                      </a:moveTo>
                      <a:lnTo>
                        <a:pt x="20" y="22"/>
                      </a:lnTo>
                      <a:lnTo>
                        <a:pt x="18" y="22"/>
                      </a:lnTo>
                      <a:lnTo>
                        <a:pt x="20" y="26"/>
                      </a:lnTo>
                      <a:lnTo>
                        <a:pt x="22" y="26"/>
                      </a:lnTo>
                      <a:lnTo>
                        <a:pt x="24" y="30"/>
                      </a:lnTo>
                      <a:lnTo>
                        <a:pt x="24" y="32"/>
                      </a:lnTo>
                      <a:lnTo>
                        <a:pt x="22" y="34"/>
                      </a:lnTo>
                      <a:lnTo>
                        <a:pt x="20" y="36"/>
                      </a:lnTo>
                      <a:lnTo>
                        <a:pt x="20" y="34"/>
                      </a:lnTo>
                      <a:lnTo>
                        <a:pt x="16" y="38"/>
                      </a:lnTo>
                      <a:lnTo>
                        <a:pt x="16" y="40"/>
                      </a:lnTo>
                      <a:lnTo>
                        <a:pt x="12" y="40"/>
                      </a:lnTo>
                      <a:lnTo>
                        <a:pt x="10" y="38"/>
                      </a:lnTo>
                      <a:lnTo>
                        <a:pt x="8" y="36"/>
                      </a:lnTo>
                      <a:lnTo>
                        <a:pt x="8" y="34"/>
                      </a:lnTo>
                      <a:lnTo>
                        <a:pt x="8" y="32"/>
                      </a:lnTo>
                      <a:lnTo>
                        <a:pt x="10" y="32"/>
                      </a:lnTo>
                      <a:lnTo>
                        <a:pt x="8" y="30"/>
                      </a:lnTo>
                      <a:lnTo>
                        <a:pt x="8" y="28"/>
                      </a:lnTo>
                      <a:lnTo>
                        <a:pt x="8" y="26"/>
                      </a:lnTo>
                      <a:lnTo>
                        <a:pt x="8" y="20"/>
                      </a:lnTo>
                      <a:lnTo>
                        <a:pt x="8" y="18"/>
                      </a:lnTo>
                      <a:lnTo>
                        <a:pt x="6" y="16"/>
                      </a:lnTo>
                      <a:lnTo>
                        <a:pt x="4" y="16"/>
                      </a:lnTo>
                      <a:lnTo>
                        <a:pt x="2" y="16"/>
                      </a:lnTo>
                      <a:lnTo>
                        <a:pt x="2" y="14"/>
                      </a:lnTo>
                      <a:lnTo>
                        <a:pt x="2" y="12"/>
                      </a:lnTo>
                      <a:lnTo>
                        <a:pt x="2" y="10"/>
                      </a:lnTo>
                      <a:lnTo>
                        <a:pt x="4" y="10"/>
                      </a:lnTo>
                      <a:lnTo>
                        <a:pt x="4" y="8"/>
                      </a:lnTo>
                      <a:lnTo>
                        <a:pt x="6" y="8"/>
                      </a:lnTo>
                      <a:lnTo>
                        <a:pt x="6" y="6"/>
                      </a:lnTo>
                      <a:lnTo>
                        <a:pt x="4" y="6"/>
                      </a:lnTo>
                      <a:lnTo>
                        <a:pt x="4" y="4"/>
                      </a:lnTo>
                      <a:lnTo>
                        <a:pt x="2" y="6"/>
                      </a:lnTo>
                      <a:lnTo>
                        <a:pt x="0" y="6"/>
                      </a:lnTo>
                      <a:lnTo>
                        <a:pt x="0" y="4"/>
                      </a:lnTo>
                      <a:lnTo>
                        <a:pt x="2" y="2"/>
                      </a:lnTo>
                      <a:lnTo>
                        <a:pt x="4" y="0"/>
                      </a:lnTo>
                      <a:lnTo>
                        <a:pt x="8" y="2"/>
                      </a:lnTo>
                      <a:lnTo>
                        <a:pt x="10" y="2"/>
                      </a:lnTo>
                      <a:lnTo>
                        <a:pt x="12" y="4"/>
                      </a:lnTo>
                      <a:lnTo>
                        <a:pt x="14" y="4"/>
                      </a:lnTo>
                      <a:lnTo>
                        <a:pt x="14" y="6"/>
                      </a:lnTo>
                      <a:lnTo>
                        <a:pt x="14" y="8"/>
                      </a:lnTo>
                      <a:lnTo>
                        <a:pt x="14" y="10"/>
                      </a:lnTo>
                      <a:lnTo>
                        <a:pt x="12" y="12"/>
                      </a:lnTo>
                      <a:lnTo>
                        <a:pt x="12" y="14"/>
                      </a:lnTo>
                      <a:lnTo>
                        <a:pt x="10" y="14"/>
                      </a:lnTo>
                      <a:lnTo>
                        <a:pt x="10" y="16"/>
                      </a:lnTo>
                      <a:lnTo>
                        <a:pt x="12" y="18"/>
                      </a:lnTo>
                      <a:lnTo>
                        <a:pt x="14" y="20"/>
                      </a:lnTo>
                      <a:lnTo>
                        <a:pt x="14" y="18"/>
                      </a:lnTo>
                      <a:lnTo>
                        <a:pt x="16" y="18"/>
                      </a:lnTo>
                      <a:lnTo>
                        <a:pt x="18" y="18"/>
                      </a:lnTo>
                      <a:lnTo>
                        <a:pt x="18" y="20"/>
                      </a:lnTo>
                      <a:lnTo>
                        <a:pt x="22" y="2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grpSp>
          <p:nvGrpSpPr>
            <p:cNvPr id="410" name="Group 409"/>
            <p:cNvGrpSpPr/>
            <p:nvPr/>
          </p:nvGrpSpPr>
          <p:grpSpPr>
            <a:xfrm>
              <a:off x="2842676" y="2481497"/>
              <a:ext cx="5179495" cy="3664004"/>
              <a:chOff x="2720654" y="2114077"/>
              <a:chExt cx="5179495" cy="3664004"/>
            </a:xfrm>
          </p:grpSpPr>
          <p:sp>
            <p:nvSpPr>
              <p:cNvPr id="411" name="Rectangle 3577"/>
              <p:cNvSpPr>
                <a:spLocks noChangeArrowheads="1"/>
              </p:cNvSpPr>
              <p:nvPr/>
            </p:nvSpPr>
            <p:spPr bwMode="auto">
              <a:xfrm>
                <a:off x="3440987" y="3798224"/>
                <a:ext cx="482518" cy="19800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prstClr val="white"/>
                    </a:solidFill>
                  </a:rPr>
                  <a:t>India</a:t>
                </a:r>
              </a:p>
            </p:txBody>
          </p:sp>
          <p:sp>
            <p:nvSpPr>
              <p:cNvPr id="412" name="Rectangle 3578"/>
              <p:cNvSpPr>
                <a:spLocks noChangeArrowheads="1"/>
              </p:cNvSpPr>
              <p:nvPr/>
            </p:nvSpPr>
            <p:spPr bwMode="auto">
              <a:xfrm>
                <a:off x="4760149" y="3165952"/>
                <a:ext cx="862303" cy="198004"/>
              </a:xfrm>
              <a:prstGeom prst="rect">
                <a:avLst/>
              </a:prstGeom>
              <a:noFill/>
              <a:ln w="9525">
                <a:noFill/>
                <a:miter lim="800000"/>
                <a:headEnd/>
                <a:tailEnd/>
              </a:ln>
            </p:spPr>
            <p:txBody>
              <a:bodyPr wrap="square" lIns="0" tIns="0" rIns="0" bIns="0">
                <a:prstTxWarp prst="textNoShape">
                  <a:avLst/>
                </a:prstTxWarp>
                <a:spAutoFit/>
              </a:bodyPr>
              <a:lstStyle/>
              <a:p>
                <a:r>
                  <a:rPr lang="en-GB" sz="1400" b="1">
                    <a:solidFill>
                      <a:prstClr val="white"/>
                    </a:solidFill>
                  </a:rPr>
                  <a:t>China</a:t>
                </a:r>
              </a:p>
            </p:txBody>
          </p:sp>
          <p:sp>
            <p:nvSpPr>
              <p:cNvPr id="413" name="Rectangle 3579"/>
              <p:cNvSpPr>
                <a:spLocks noChangeArrowheads="1"/>
              </p:cNvSpPr>
              <p:nvPr/>
            </p:nvSpPr>
            <p:spPr bwMode="auto">
              <a:xfrm>
                <a:off x="2720654" y="2114077"/>
                <a:ext cx="1135214" cy="19800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srgbClr val="000000"/>
                    </a:solidFill>
                  </a:rPr>
                  <a:t>Kazakhstan</a:t>
                </a:r>
              </a:p>
            </p:txBody>
          </p:sp>
          <p:sp>
            <p:nvSpPr>
              <p:cNvPr id="414" name="Rectangle 3591"/>
              <p:cNvSpPr>
                <a:spLocks noChangeArrowheads="1"/>
              </p:cNvSpPr>
              <p:nvPr/>
            </p:nvSpPr>
            <p:spPr bwMode="auto">
              <a:xfrm>
                <a:off x="5115460" y="5031072"/>
                <a:ext cx="627425" cy="155574"/>
              </a:xfrm>
              <a:prstGeom prst="rect">
                <a:avLst/>
              </a:prstGeom>
              <a:noFill/>
              <a:ln w="9525">
                <a:noFill/>
                <a:miter lim="800000"/>
                <a:headEnd/>
                <a:tailEnd/>
              </a:ln>
            </p:spPr>
            <p:txBody>
              <a:bodyPr wrap="square" lIns="0" tIns="0" rIns="0" bIns="0">
                <a:prstTxWarp prst="textNoShape">
                  <a:avLst/>
                </a:prstTxWarp>
                <a:spAutoFit/>
              </a:bodyPr>
              <a:lstStyle/>
              <a:p>
                <a:r>
                  <a:rPr lang="en-GB" sz="1100" b="1" dirty="0">
                    <a:solidFill>
                      <a:srgbClr val="000000"/>
                    </a:solidFill>
                  </a:rPr>
                  <a:t>Malaysia</a:t>
                </a:r>
              </a:p>
            </p:txBody>
          </p:sp>
          <p:sp>
            <p:nvSpPr>
              <p:cNvPr id="415" name="Rectangle 3594"/>
              <p:cNvSpPr>
                <a:spLocks noChangeArrowheads="1"/>
              </p:cNvSpPr>
              <p:nvPr/>
            </p:nvSpPr>
            <p:spPr bwMode="auto">
              <a:xfrm>
                <a:off x="6208181" y="4430058"/>
                <a:ext cx="1059517" cy="155574"/>
              </a:xfrm>
              <a:prstGeom prst="rect">
                <a:avLst/>
              </a:prstGeom>
              <a:noFill/>
              <a:ln w="9525">
                <a:noFill/>
                <a:miter lim="800000"/>
                <a:headEnd/>
                <a:tailEnd/>
              </a:ln>
            </p:spPr>
            <p:txBody>
              <a:bodyPr wrap="square" lIns="0" tIns="0" rIns="0" bIns="0">
                <a:prstTxWarp prst="textNoShape">
                  <a:avLst/>
                </a:prstTxWarp>
                <a:spAutoFit/>
              </a:bodyPr>
              <a:lstStyle/>
              <a:p>
                <a:r>
                  <a:rPr lang="en-GB" sz="1100" b="1" dirty="0">
                    <a:solidFill>
                      <a:srgbClr val="000000"/>
                    </a:solidFill>
                  </a:rPr>
                  <a:t>Philippines</a:t>
                </a:r>
              </a:p>
            </p:txBody>
          </p:sp>
          <p:sp>
            <p:nvSpPr>
              <p:cNvPr id="416" name="Rectangle 3595"/>
              <p:cNvSpPr>
                <a:spLocks noChangeArrowheads="1"/>
              </p:cNvSpPr>
              <p:nvPr/>
            </p:nvSpPr>
            <p:spPr bwMode="auto">
              <a:xfrm>
                <a:off x="6165739" y="3978800"/>
                <a:ext cx="563093" cy="155574"/>
              </a:xfrm>
              <a:prstGeom prst="rect">
                <a:avLst/>
              </a:prstGeom>
              <a:noFill/>
              <a:ln w="9525">
                <a:noFill/>
                <a:miter lim="800000"/>
                <a:headEnd/>
                <a:tailEnd/>
              </a:ln>
            </p:spPr>
            <p:txBody>
              <a:bodyPr wrap="square" lIns="0" tIns="0" rIns="0" bIns="0">
                <a:prstTxWarp prst="textNoShape">
                  <a:avLst/>
                </a:prstTxWarp>
                <a:spAutoFit/>
              </a:bodyPr>
              <a:lstStyle/>
              <a:p>
                <a:r>
                  <a:rPr lang="en-GB" sz="1100" b="1" dirty="0">
                    <a:solidFill>
                      <a:srgbClr val="000000"/>
                    </a:solidFill>
                  </a:rPr>
                  <a:t>Taiwan</a:t>
                </a:r>
              </a:p>
            </p:txBody>
          </p:sp>
          <p:sp>
            <p:nvSpPr>
              <p:cNvPr id="417" name="Rectangle 3596"/>
              <p:cNvSpPr>
                <a:spLocks noChangeArrowheads="1"/>
              </p:cNvSpPr>
              <p:nvPr/>
            </p:nvSpPr>
            <p:spPr bwMode="auto">
              <a:xfrm>
                <a:off x="3908085" y="5622507"/>
                <a:ext cx="1099177" cy="155574"/>
              </a:xfrm>
              <a:prstGeom prst="rect">
                <a:avLst/>
              </a:prstGeom>
              <a:noFill/>
              <a:ln w="9525">
                <a:noFill/>
                <a:miter lim="800000"/>
                <a:headEnd/>
                <a:tailEnd/>
              </a:ln>
            </p:spPr>
            <p:txBody>
              <a:bodyPr wrap="square" lIns="0" tIns="0" rIns="0" bIns="0">
                <a:prstTxWarp prst="textNoShape">
                  <a:avLst/>
                </a:prstTxWarp>
                <a:spAutoFit/>
              </a:bodyPr>
              <a:lstStyle/>
              <a:p>
                <a:pPr algn="r"/>
                <a:r>
                  <a:rPr lang="en-GB" sz="1100" b="1" dirty="0">
                    <a:solidFill>
                      <a:srgbClr val="000000"/>
                    </a:solidFill>
                  </a:rPr>
                  <a:t>Indonesia</a:t>
                </a:r>
              </a:p>
            </p:txBody>
          </p:sp>
          <p:sp>
            <p:nvSpPr>
              <p:cNvPr id="418" name="Rectangle 3601"/>
              <p:cNvSpPr>
                <a:spLocks noChangeArrowheads="1"/>
              </p:cNvSpPr>
              <p:nvPr/>
            </p:nvSpPr>
            <p:spPr bwMode="auto">
              <a:xfrm>
                <a:off x="7267880" y="3040502"/>
                <a:ext cx="632269" cy="155574"/>
              </a:xfrm>
              <a:prstGeom prst="rect">
                <a:avLst/>
              </a:prstGeom>
              <a:noFill/>
              <a:ln w="9525">
                <a:noFill/>
                <a:miter lim="800000"/>
                <a:headEnd/>
                <a:tailEnd/>
              </a:ln>
            </p:spPr>
            <p:txBody>
              <a:bodyPr wrap="square" lIns="0" tIns="0" rIns="0" bIns="0">
                <a:prstTxWarp prst="textNoShape">
                  <a:avLst/>
                </a:prstTxWarp>
                <a:spAutoFit/>
              </a:bodyPr>
              <a:lstStyle/>
              <a:p>
                <a:r>
                  <a:rPr lang="en-GB" sz="1100" b="1">
                    <a:solidFill>
                      <a:srgbClr val="000000"/>
                    </a:solidFill>
                  </a:rPr>
                  <a:t>Japan</a:t>
                </a:r>
              </a:p>
            </p:txBody>
          </p:sp>
          <p:sp>
            <p:nvSpPr>
              <p:cNvPr id="419" name="Rectangle 3602"/>
              <p:cNvSpPr>
                <a:spLocks noChangeArrowheads="1"/>
              </p:cNvSpPr>
              <p:nvPr/>
            </p:nvSpPr>
            <p:spPr bwMode="auto">
              <a:xfrm>
                <a:off x="4707686" y="2296927"/>
                <a:ext cx="1040997" cy="19800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prstClr val="white"/>
                    </a:solidFill>
                  </a:rPr>
                  <a:t>Mongolia</a:t>
                </a:r>
              </a:p>
            </p:txBody>
          </p:sp>
          <p:sp>
            <p:nvSpPr>
              <p:cNvPr id="420" name="Rectangle 3603"/>
              <p:cNvSpPr>
                <a:spLocks noChangeArrowheads="1"/>
              </p:cNvSpPr>
              <p:nvPr/>
            </p:nvSpPr>
            <p:spPr bwMode="auto">
              <a:xfrm>
                <a:off x="6592881" y="2898875"/>
                <a:ext cx="544861" cy="233362"/>
              </a:xfrm>
              <a:prstGeom prst="rect">
                <a:avLst/>
              </a:prstGeom>
              <a:noFill/>
              <a:ln w="9525">
                <a:noFill/>
                <a:miter lim="800000"/>
                <a:headEnd/>
                <a:tailEnd/>
              </a:ln>
            </p:spPr>
            <p:txBody>
              <a:bodyPr wrap="square" lIns="0" tIns="0" rIns="0" bIns="0">
                <a:prstTxWarp prst="textNoShape">
                  <a:avLst/>
                </a:prstTxWarp>
                <a:spAutoFit/>
              </a:bodyPr>
              <a:lstStyle/>
              <a:p>
                <a:pPr>
                  <a:lnSpc>
                    <a:spcPct val="75000"/>
                  </a:lnSpc>
                </a:pPr>
                <a:r>
                  <a:rPr lang="en-GB" sz="1100" b="1" dirty="0">
                    <a:solidFill>
                      <a:srgbClr val="000000"/>
                    </a:solidFill>
                  </a:rPr>
                  <a:t>South</a:t>
                </a:r>
              </a:p>
              <a:p>
                <a:pPr>
                  <a:lnSpc>
                    <a:spcPct val="75000"/>
                  </a:lnSpc>
                </a:pPr>
                <a:r>
                  <a:rPr lang="en-GB" sz="1100" b="1" dirty="0">
                    <a:solidFill>
                      <a:srgbClr val="000000"/>
                    </a:solidFill>
                  </a:rPr>
                  <a:t>Korea</a:t>
                </a:r>
              </a:p>
            </p:txBody>
          </p:sp>
          <p:sp>
            <p:nvSpPr>
              <p:cNvPr id="421" name="Rectangle 3737"/>
              <p:cNvSpPr>
                <a:spLocks noChangeArrowheads="1"/>
              </p:cNvSpPr>
              <p:nvPr/>
            </p:nvSpPr>
            <p:spPr bwMode="auto">
              <a:xfrm>
                <a:off x="5471200" y="4100422"/>
                <a:ext cx="644224" cy="311148"/>
              </a:xfrm>
              <a:prstGeom prst="rect">
                <a:avLst/>
              </a:prstGeom>
              <a:noFill/>
              <a:ln w="9525">
                <a:noFill/>
                <a:miter lim="800000"/>
                <a:headEnd/>
                <a:tailEnd/>
              </a:ln>
            </p:spPr>
            <p:txBody>
              <a:bodyPr wrap="square" lIns="0" tIns="0" rIns="0" bIns="0">
                <a:prstTxWarp prst="textNoShape">
                  <a:avLst/>
                </a:prstTxWarp>
                <a:spAutoFit/>
              </a:bodyPr>
              <a:lstStyle/>
              <a:p>
                <a:pPr algn="ctr"/>
                <a:r>
                  <a:rPr lang="en-GB" sz="1100" b="1" dirty="0">
                    <a:solidFill>
                      <a:srgbClr val="000000"/>
                    </a:solidFill>
                  </a:rPr>
                  <a:t>Hong Kong</a:t>
                </a:r>
              </a:p>
            </p:txBody>
          </p:sp>
          <p:sp>
            <p:nvSpPr>
              <p:cNvPr id="422" name="Rectangle 3583"/>
              <p:cNvSpPr>
                <a:spLocks noChangeArrowheads="1"/>
              </p:cNvSpPr>
              <p:nvPr/>
            </p:nvSpPr>
            <p:spPr bwMode="auto">
              <a:xfrm>
                <a:off x="4755868" y="4430058"/>
                <a:ext cx="629585" cy="155574"/>
              </a:xfrm>
              <a:prstGeom prst="rect">
                <a:avLst/>
              </a:prstGeom>
              <a:noFill/>
              <a:ln w="9525">
                <a:noFill/>
                <a:miter lim="800000"/>
                <a:headEnd/>
                <a:tailEnd/>
              </a:ln>
            </p:spPr>
            <p:txBody>
              <a:bodyPr wrap="square" lIns="0" tIns="0" rIns="0" bIns="0">
                <a:prstTxWarp prst="textNoShape">
                  <a:avLst/>
                </a:prstTxWarp>
                <a:spAutoFit/>
              </a:bodyPr>
              <a:lstStyle/>
              <a:p>
                <a:r>
                  <a:rPr lang="en-GB" sz="1100" b="1" dirty="0">
                    <a:solidFill>
                      <a:srgbClr val="000000"/>
                    </a:solidFill>
                  </a:rPr>
                  <a:t>Thailand</a:t>
                </a:r>
              </a:p>
            </p:txBody>
          </p:sp>
        </p:grpSp>
      </p:grpSp>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59475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Map North America">
    <p:spTree>
      <p:nvGrpSpPr>
        <p:cNvPr id="1" name=""/>
        <p:cNvGrpSpPr/>
        <p:nvPr/>
      </p:nvGrpSpPr>
      <p:grpSpPr>
        <a:xfrm>
          <a:off x="0" y="0"/>
          <a:ext cx="0" cy="0"/>
          <a:chOff x="0" y="0"/>
          <a:chExt cx="0" cy="0"/>
        </a:xfrm>
      </p:grpSpPr>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grpSp>
        <p:nvGrpSpPr>
          <p:cNvPr id="1001" name="Group 1000"/>
          <p:cNvGrpSpPr>
            <a:grpSpLocks noChangeAspect="1"/>
          </p:cNvGrpSpPr>
          <p:nvPr userDrawn="1"/>
        </p:nvGrpSpPr>
        <p:grpSpPr>
          <a:xfrm>
            <a:off x="2218498" y="1350502"/>
            <a:ext cx="5540305" cy="5292000"/>
            <a:chOff x="915231" y="1467665"/>
            <a:chExt cx="5397500" cy="5155595"/>
          </a:xfrm>
        </p:grpSpPr>
        <p:grpSp>
          <p:nvGrpSpPr>
            <p:cNvPr id="1002" name="Group 1001"/>
            <p:cNvGrpSpPr/>
            <p:nvPr/>
          </p:nvGrpSpPr>
          <p:grpSpPr>
            <a:xfrm>
              <a:off x="3288921" y="5292784"/>
              <a:ext cx="2570239" cy="1330476"/>
              <a:chOff x="3745290" y="5213954"/>
              <a:chExt cx="2570239" cy="1330476"/>
            </a:xfrm>
            <a:solidFill>
              <a:srgbClr val="B9B9B9"/>
            </a:solidFill>
          </p:grpSpPr>
          <p:sp>
            <p:nvSpPr>
              <p:cNvPr id="1259" name="Freeform 5"/>
              <p:cNvSpPr>
                <a:spLocks/>
              </p:cNvSpPr>
              <p:nvPr/>
            </p:nvSpPr>
            <p:spPr bwMode="auto">
              <a:xfrm>
                <a:off x="5846838" y="6287406"/>
                <a:ext cx="393095" cy="120952"/>
              </a:xfrm>
              <a:custGeom>
                <a:avLst/>
                <a:gdLst>
                  <a:gd name="T0" fmla="*/ 208 w 208"/>
                  <a:gd name="T1" fmla="*/ 40 h 64"/>
                  <a:gd name="T2" fmla="*/ 192 w 208"/>
                  <a:gd name="T3" fmla="*/ 48 h 64"/>
                  <a:gd name="T4" fmla="*/ 184 w 208"/>
                  <a:gd name="T5" fmla="*/ 48 h 64"/>
                  <a:gd name="T6" fmla="*/ 192 w 208"/>
                  <a:gd name="T7" fmla="*/ 56 h 64"/>
                  <a:gd name="T8" fmla="*/ 184 w 208"/>
                  <a:gd name="T9" fmla="*/ 64 h 64"/>
                  <a:gd name="T10" fmla="*/ 176 w 208"/>
                  <a:gd name="T11" fmla="*/ 64 h 64"/>
                  <a:gd name="T12" fmla="*/ 184 w 208"/>
                  <a:gd name="T13" fmla="*/ 64 h 64"/>
                  <a:gd name="T14" fmla="*/ 200 w 208"/>
                  <a:gd name="T15" fmla="*/ 64 h 64"/>
                  <a:gd name="T16" fmla="*/ 200 w 208"/>
                  <a:gd name="T17" fmla="*/ 56 h 64"/>
                  <a:gd name="T18" fmla="*/ 200 w 208"/>
                  <a:gd name="T19" fmla="*/ 48 h 64"/>
                  <a:gd name="T20" fmla="*/ 208 w 208"/>
                  <a:gd name="T21" fmla="*/ 48 h 64"/>
                  <a:gd name="T22" fmla="*/ 208 w 208"/>
                  <a:gd name="T23" fmla="*/ 40 h 64"/>
                  <a:gd name="T24" fmla="*/ 16 w 208"/>
                  <a:gd name="T25" fmla="*/ 8 h 64"/>
                  <a:gd name="T26" fmla="*/ 24 w 208"/>
                  <a:gd name="T27" fmla="*/ 8 h 64"/>
                  <a:gd name="T28" fmla="*/ 32 w 208"/>
                  <a:gd name="T29" fmla="*/ 8 h 64"/>
                  <a:gd name="T30" fmla="*/ 24 w 208"/>
                  <a:gd name="T31" fmla="*/ 16 h 64"/>
                  <a:gd name="T32" fmla="*/ 24 w 208"/>
                  <a:gd name="T33" fmla="*/ 8 h 64"/>
                  <a:gd name="T34" fmla="*/ 16 w 208"/>
                  <a:gd name="T35" fmla="*/ 8 h 64"/>
                  <a:gd name="T36" fmla="*/ 208 w 208"/>
                  <a:gd name="T37" fmla="*/ 40 h 64"/>
                  <a:gd name="T38" fmla="*/ 0 w 208"/>
                  <a:gd name="T39" fmla="*/ 8 h 64"/>
                  <a:gd name="T40" fmla="*/ 8 w 208"/>
                  <a:gd name="T41" fmla="*/ 8 h 64"/>
                  <a:gd name="T42" fmla="*/ 8 w 208"/>
                  <a:gd name="T43" fmla="*/ 16 h 64"/>
                  <a:gd name="T44" fmla="*/ 0 w 208"/>
                  <a:gd name="T45" fmla="*/ 8 h 64"/>
                  <a:gd name="T46" fmla="*/ 208 w 208"/>
                  <a:gd name="T47" fmla="*/ 40 h 64"/>
                  <a:gd name="T48" fmla="*/ 192 w 208"/>
                  <a:gd name="T49" fmla="*/ 8 h 64"/>
                  <a:gd name="T50" fmla="*/ 184 w 208"/>
                  <a:gd name="T51" fmla="*/ 8 h 64"/>
                  <a:gd name="T52" fmla="*/ 184 w 208"/>
                  <a:gd name="T53" fmla="*/ 16 h 64"/>
                  <a:gd name="T54" fmla="*/ 192 w 208"/>
                  <a:gd name="T55" fmla="*/ 16 h 64"/>
                  <a:gd name="T56" fmla="*/ 192 w 208"/>
                  <a:gd name="T57" fmla="*/ 8 h 64"/>
                  <a:gd name="T58" fmla="*/ 208 w 208"/>
                  <a:gd name="T59" fmla="*/ 40 h 64"/>
                  <a:gd name="T60" fmla="*/ 192 w 208"/>
                  <a:gd name="T61" fmla="*/ 0 h 64"/>
                  <a:gd name="T62" fmla="*/ 200 w 208"/>
                  <a:gd name="T63" fmla="*/ 8 h 64"/>
                  <a:gd name="T64" fmla="*/ 192 w 208"/>
                  <a:gd name="T65" fmla="*/ 8 h 64"/>
                  <a:gd name="T66" fmla="*/ 192 w 208"/>
                  <a:gd name="T67" fmla="*/ 0 h 64"/>
                  <a:gd name="T68" fmla="*/ 208 w 208"/>
                  <a:gd name="T69" fmla="*/ 4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8" h="64">
                    <a:moveTo>
                      <a:pt x="208" y="40"/>
                    </a:moveTo>
                    <a:lnTo>
                      <a:pt x="192" y="48"/>
                    </a:lnTo>
                    <a:lnTo>
                      <a:pt x="184" y="48"/>
                    </a:lnTo>
                    <a:lnTo>
                      <a:pt x="192" y="56"/>
                    </a:lnTo>
                    <a:lnTo>
                      <a:pt x="184" y="64"/>
                    </a:lnTo>
                    <a:lnTo>
                      <a:pt x="176" y="64"/>
                    </a:lnTo>
                    <a:lnTo>
                      <a:pt x="184" y="64"/>
                    </a:lnTo>
                    <a:lnTo>
                      <a:pt x="200" y="64"/>
                    </a:lnTo>
                    <a:lnTo>
                      <a:pt x="200" y="56"/>
                    </a:lnTo>
                    <a:lnTo>
                      <a:pt x="200" y="48"/>
                    </a:lnTo>
                    <a:lnTo>
                      <a:pt x="208" y="48"/>
                    </a:lnTo>
                    <a:lnTo>
                      <a:pt x="208" y="40"/>
                    </a:lnTo>
                    <a:lnTo>
                      <a:pt x="16" y="8"/>
                    </a:lnTo>
                    <a:lnTo>
                      <a:pt x="24" y="8"/>
                    </a:lnTo>
                    <a:lnTo>
                      <a:pt x="32" y="8"/>
                    </a:lnTo>
                    <a:lnTo>
                      <a:pt x="24" y="16"/>
                    </a:lnTo>
                    <a:lnTo>
                      <a:pt x="24" y="8"/>
                    </a:lnTo>
                    <a:lnTo>
                      <a:pt x="16" y="8"/>
                    </a:lnTo>
                    <a:lnTo>
                      <a:pt x="208" y="40"/>
                    </a:lnTo>
                    <a:lnTo>
                      <a:pt x="0" y="8"/>
                    </a:lnTo>
                    <a:lnTo>
                      <a:pt x="8" y="8"/>
                    </a:lnTo>
                    <a:lnTo>
                      <a:pt x="8" y="16"/>
                    </a:lnTo>
                    <a:lnTo>
                      <a:pt x="0" y="8"/>
                    </a:lnTo>
                    <a:lnTo>
                      <a:pt x="208" y="40"/>
                    </a:lnTo>
                    <a:lnTo>
                      <a:pt x="192" y="8"/>
                    </a:lnTo>
                    <a:lnTo>
                      <a:pt x="184" y="8"/>
                    </a:lnTo>
                    <a:lnTo>
                      <a:pt x="184" y="16"/>
                    </a:lnTo>
                    <a:lnTo>
                      <a:pt x="192" y="16"/>
                    </a:lnTo>
                    <a:lnTo>
                      <a:pt x="192" y="8"/>
                    </a:lnTo>
                    <a:lnTo>
                      <a:pt x="208" y="40"/>
                    </a:lnTo>
                    <a:lnTo>
                      <a:pt x="192" y="0"/>
                    </a:lnTo>
                    <a:lnTo>
                      <a:pt x="200" y="8"/>
                    </a:lnTo>
                    <a:lnTo>
                      <a:pt x="192" y="8"/>
                    </a:lnTo>
                    <a:lnTo>
                      <a:pt x="192" y="0"/>
                    </a:lnTo>
                    <a:lnTo>
                      <a:pt x="208" y="40"/>
                    </a:lnTo>
                    <a:close/>
                  </a:path>
                </a:pathLst>
              </a:custGeom>
              <a:grpFill/>
              <a:ln w="9525">
                <a:noFill/>
                <a:round/>
                <a:headEnd/>
                <a:tailEnd/>
              </a:ln>
            </p:spPr>
            <p:txBody>
              <a:bodyPr/>
              <a:lstStyle/>
              <a:p>
                <a:endParaRPr lang="en-US">
                  <a:solidFill>
                    <a:srgbClr val="000000"/>
                  </a:solidFill>
                </a:endParaRPr>
              </a:p>
            </p:txBody>
          </p:sp>
          <p:sp>
            <p:nvSpPr>
              <p:cNvPr id="1260" name="Freeform 6"/>
              <p:cNvSpPr>
                <a:spLocks/>
              </p:cNvSpPr>
              <p:nvPr/>
            </p:nvSpPr>
            <p:spPr bwMode="auto">
              <a:xfrm>
                <a:off x="6179457" y="6363001"/>
                <a:ext cx="60476" cy="45357"/>
              </a:xfrm>
              <a:custGeom>
                <a:avLst/>
                <a:gdLst>
                  <a:gd name="T0" fmla="*/ 32 w 32"/>
                  <a:gd name="T1" fmla="*/ 0 h 24"/>
                  <a:gd name="T2" fmla="*/ 16 w 32"/>
                  <a:gd name="T3" fmla="*/ 8 h 24"/>
                  <a:gd name="T4" fmla="*/ 8 w 32"/>
                  <a:gd name="T5" fmla="*/ 8 h 24"/>
                  <a:gd name="T6" fmla="*/ 16 w 32"/>
                  <a:gd name="T7" fmla="*/ 16 h 24"/>
                  <a:gd name="T8" fmla="*/ 8 w 32"/>
                  <a:gd name="T9" fmla="*/ 24 h 24"/>
                  <a:gd name="T10" fmla="*/ 0 w 32"/>
                  <a:gd name="T11" fmla="*/ 24 h 24"/>
                  <a:gd name="T12" fmla="*/ 8 w 32"/>
                  <a:gd name="T13" fmla="*/ 24 h 24"/>
                  <a:gd name="T14" fmla="*/ 24 w 32"/>
                  <a:gd name="T15" fmla="*/ 24 h 24"/>
                  <a:gd name="T16" fmla="*/ 24 w 32"/>
                  <a:gd name="T17" fmla="*/ 16 h 24"/>
                  <a:gd name="T18" fmla="*/ 24 w 32"/>
                  <a:gd name="T19" fmla="*/ 8 h 24"/>
                  <a:gd name="T20" fmla="*/ 32 w 32"/>
                  <a:gd name="T21" fmla="*/ 8 h 24"/>
                  <a:gd name="T22" fmla="*/ 32 w 3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4">
                    <a:moveTo>
                      <a:pt x="32" y="0"/>
                    </a:moveTo>
                    <a:lnTo>
                      <a:pt x="16" y="8"/>
                    </a:lnTo>
                    <a:lnTo>
                      <a:pt x="8" y="8"/>
                    </a:lnTo>
                    <a:lnTo>
                      <a:pt x="16" y="16"/>
                    </a:lnTo>
                    <a:lnTo>
                      <a:pt x="8" y="24"/>
                    </a:lnTo>
                    <a:lnTo>
                      <a:pt x="0" y="24"/>
                    </a:lnTo>
                    <a:lnTo>
                      <a:pt x="8" y="24"/>
                    </a:lnTo>
                    <a:lnTo>
                      <a:pt x="24" y="24"/>
                    </a:lnTo>
                    <a:lnTo>
                      <a:pt x="24" y="16"/>
                    </a:lnTo>
                    <a:lnTo>
                      <a:pt x="24" y="8"/>
                    </a:lnTo>
                    <a:lnTo>
                      <a:pt x="32" y="8"/>
                    </a:lnTo>
                    <a:lnTo>
                      <a:pt x="32" y="0"/>
                    </a:lnTo>
                    <a:close/>
                  </a:path>
                </a:pathLst>
              </a:custGeom>
              <a:grpFill/>
              <a:ln w="12700">
                <a:noFill/>
                <a:prstDash val="solid"/>
                <a:round/>
                <a:headEnd/>
                <a:tailEnd/>
              </a:ln>
            </p:spPr>
            <p:txBody>
              <a:bodyPr/>
              <a:lstStyle/>
              <a:p>
                <a:endParaRPr lang="en-US">
                  <a:solidFill>
                    <a:srgbClr val="000000"/>
                  </a:solidFill>
                </a:endParaRPr>
              </a:p>
            </p:txBody>
          </p:sp>
          <p:sp>
            <p:nvSpPr>
              <p:cNvPr id="1261" name="Freeform 7"/>
              <p:cNvSpPr>
                <a:spLocks/>
              </p:cNvSpPr>
              <p:nvPr/>
            </p:nvSpPr>
            <p:spPr bwMode="auto">
              <a:xfrm>
                <a:off x="5877076" y="6302525"/>
                <a:ext cx="30238" cy="15119"/>
              </a:xfrm>
              <a:custGeom>
                <a:avLst/>
                <a:gdLst>
                  <a:gd name="T0" fmla="*/ 0 w 16"/>
                  <a:gd name="T1" fmla="*/ 0 h 8"/>
                  <a:gd name="T2" fmla="*/ 8 w 16"/>
                  <a:gd name="T3" fmla="*/ 0 h 8"/>
                  <a:gd name="T4" fmla="*/ 16 w 16"/>
                  <a:gd name="T5" fmla="*/ 0 h 8"/>
                  <a:gd name="T6" fmla="*/ 8 w 16"/>
                  <a:gd name="T7" fmla="*/ 8 h 8"/>
                  <a:gd name="T8" fmla="*/ 8 w 16"/>
                  <a:gd name="T9" fmla="*/ 0 h 8"/>
                  <a:gd name="T10" fmla="*/ 0 w 16"/>
                  <a:gd name="T11" fmla="*/ 0 h 8"/>
                </a:gdLst>
                <a:ahLst/>
                <a:cxnLst>
                  <a:cxn ang="0">
                    <a:pos x="T0" y="T1"/>
                  </a:cxn>
                  <a:cxn ang="0">
                    <a:pos x="T2" y="T3"/>
                  </a:cxn>
                  <a:cxn ang="0">
                    <a:pos x="T4" y="T5"/>
                  </a:cxn>
                  <a:cxn ang="0">
                    <a:pos x="T6" y="T7"/>
                  </a:cxn>
                  <a:cxn ang="0">
                    <a:pos x="T8" y="T9"/>
                  </a:cxn>
                  <a:cxn ang="0">
                    <a:pos x="T10" y="T11"/>
                  </a:cxn>
                </a:cxnLst>
                <a:rect l="0" t="0" r="r" b="b"/>
                <a:pathLst>
                  <a:path w="16" h="8">
                    <a:moveTo>
                      <a:pt x="0" y="0"/>
                    </a:moveTo>
                    <a:lnTo>
                      <a:pt x="8" y="0"/>
                    </a:lnTo>
                    <a:lnTo>
                      <a:pt x="16" y="0"/>
                    </a:lnTo>
                    <a:lnTo>
                      <a:pt x="8" y="8"/>
                    </a:ln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62" name="Freeform 8"/>
              <p:cNvSpPr>
                <a:spLocks/>
              </p:cNvSpPr>
              <p:nvPr/>
            </p:nvSpPr>
            <p:spPr bwMode="auto">
              <a:xfrm>
                <a:off x="5846838" y="6302525"/>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63" name="Freeform 9"/>
              <p:cNvSpPr>
                <a:spLocks/>
              </p:cNvSpPr>
              <p:nvPr/>
            </p:nvSpPr>
            <p:spPr bwMode="auto">
              <a:xfrm>
                <a:off x="5801481" y="6287406"/>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64" name="Rectangle 10"/>
              <p:cNvSpPr>
                <a:spLocks noChangeArrowheads="1"/>
              </p:cNvSpPr>
              <p:nvPr/>
            </p:nvSpPr>
            <p:spPr bwMode="auto">
              <a:xfrm>
                <a:off x="6194576" y="6302525"/>
                <a:ext cx="15119" cy="15119"/>
              </a:xfrm>
              <a:prstGeom prst="rect">
                <a:avLst/>
              </a:prstGeom>
              <a:grpFill/>
              <a:ln w="12700">
                <a:noFill/>
                <a:miter lim="800000"/>
                <a:headEnd/>
                <a:tailEnd/>
              </a:ln>
            </p:spPr>
            <p:txBody>
              <a:bodyPr/>
              <a:lstStyle/>
              <a:p>
                <a:endParaRPr lang="en-US">
                  <a:solidFill>
                    <a:srgbClr val="000000"/>
                  </a:solidFill>
                </a:endParaRPr>
              </a:p>
            </p:txBody>
          </p:sp>
          <p:sp>
            <p:nvSpPr>
              <p:cNvPr id="1265" name="Freeform 11"/>
              <p:cNvSpPr>
                <a:spLocks/>
              </p:cNvSpPr>
              <p:nvPr/>
            </p:nvSpPr>
            <p:spPr bwMode="auto">
              <a:xfrm>
                <a:off x="6209695" y="6287406"/>
                <a:ext cx="15119" cy="15119"/>
              </a:xfrm>
              <a:custGeom>
                <a:avLst/>
                <a:gdLst>
                  <a:gd name="T0" fmla="*/ 0 w 8"/>
                  <a:gd name="T1" fmla="*/ 0 h 8"/>
                  <a:gd name="T2" fmla="*/ 8 w 8"/>
                  <a:gd name="T3" fmla="*/ 8 h 8"/>
                  <a:gd name="T4" fmla="*/ 0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66" name="Freeform 12"/>
              <p:cNvSpPr>
                <a:spLocks/>
              </p:cNvSpPr>
              <p:nvPr/>
            </p:nvSpPr>
            <p:spPr bwMode="auto">
              <a:xfrm>
                <a:off x="6058505" y="6030382"/>
                <a:ext cx="15119" cy="1890"/>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67" name="Rectangle 13"/>
              <p:cNvSpPr>
                <a:spLocks noChangeArrowheads="1"/>
              </p:cNvSpPr>
              <p:nvPr/>
            </p:nvSpPr>
            <p:spPr bwMode="auto">
              <a:xfrm>
                <a:off x="6300410" y="6257168"/>
                <a:ext cx="15119" cy="15119"/>
              </a:xfrm>
              <a:prstGeom prst="rect">
                <a:avLst/>
              </a:prstGeom>
              <a:grpFill/>
              <a:ln w="9525">
                <a:noFill/>
                <a:miter lim="800000"/>
                <a:headEnd/>
                <a:tailEnd/>
              </a:ln>
            </p:spPr>
            <p:txBody>
              <a:bodyPr/>
              <a:lstStyle/>
              <a:p>
                <a:endParaRPr lang="en-US">
                  <a:solidFill>
                    <a:srgbClr val="000000"/>
                  </a:solidFill>
                </a:endParaRPr>
              </a:p>
            </p:txBody>
          </p:sp>
          <p:sp>
            <p:nvSpPr>
              <p:cNvPr id="1268" name="Rectangle 14"/>
              <p:cNvSpPr>
                <a:spLocks noChangeArrowheads="1"/>
              </p:cNvSpPr>
              <p:nvPr/>
            </p:nvSpPr>
            <p:spPr bwMode="auto">
              <a:xfrm>
                <a:off x="6300410" y="6257168"/>
                <a:ext cx="15119" cy="15119"/>
              </a:xfrm>
              <a:prstGeom prst="rect">
                <a:avLst/>
              </a:prstGeom>
              <a:grpFill/>
              <a:ln w="12700">
                <a:noFill/>
                <a:miter lim="800000"/>
                <a:headEnd/>
                <a:tailEnd/>
              </a:ln>
            </p:spPr>
            <p:txBody>
              <a:bodyPr/>
              <a:lstStyle/>
              <a:p>
                <a:endParaRPr lang="en-US">
                  <a:solidFill>
                    <a:srgbClr val="000000"/>
                  </a:solidFill>
                </a:endParaRPr>
              </a:p>
            </p:txBody>
          </p:sp>
          <p:sp>
            <p:nvSpPr>
              <p:cNvPr id="1269" name="Freeform 15"/>
              <p:cNvSpPr>
                <a:spLocks/>
              </p:cNvSpPr>
              <p:nvPr/>
            </p:nvSpPr>
            <p:spPr bwMode="auto">
              <a:xfrm>
                <a:off x="6224814" y="6242049"/>
                <a:ext cx="1890" cy="30238"/>
              </a:xfrm>
              <a:custGeom>
                <a:avLst/>
                <a:gdLst>
                  <a:gd name="T0" fmla="*/ 0 h 16"/>
                  <a:gd name="T1" fmla="*/ 8 h 16"/>
                  <a:gd name="T2" fmla="*/ 16 h 16"/>
                  <a:gd name="T3" fmla="*/ 0 h 16"/>
                </a:gdLst>
                <a:ahLst/>
                <a:cxnLst>
                  <a:cxn ang="0">
                    <a:pos x="0" y="T0"/>
                  </a:cxn>
                  <a:cxn ang="0">
                    <a:pos x="0" y="T1"/>
                  </a:cxn>
                  <a:cxn ang="0">
                    <a:pos x="0" y="T2"/>
                  </a:cxn>
                  <a:cxn ang="0">
                    <a:pos x="0" y="T3"/>
                  </a:cxn>
                </a:cxnLst>
                <a:rect l="0" t="0" r="r" b="b"/>
                <a:pathLst>
                  <a:path h="16">
                    <a:moveTo>
                      <a:pt x="0" y="0"/>
                    </a:moveTo>
                    <a:lnTo>
                      <a:pt x="0" y="8"/>
                    </a:lnTo>
                    <a:lnTo>
                      <a:pt x="0" y="16"/>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70" name="Freeform 16"/>
              <p:cNvSpPr>
                <a:spLocks/>
              </p:cNvSpPr>
              <p:nvPr/>
            </p:nvSpPr>
            <p:spPr bwMode="auto">
              <a:xfrm>
                <a:off x="6209695" y="6181573"/>
                <a:ext cx="30238" cy="60476"/>
              </a:xfrm>
              <a:custGeom>
                <a:avLst/>
                <a:gdLst>
                  <a:gd name="T0" fmla="*/ 16 w 16"/>
                  <a:gd name="T1" fmla="*/ 16 h 32"/>
                  <a:gd name="T2" fmla="*/ 8 w 16"/>
                  <a:gd name="T3" fmla="*/ 24 h 32"/>
                  <a:gd name="T4" fmla="*/ 8 w 16"/>
                  <a:gd name="T5" fmla="*/ 32 h 32"/>
                  <a:gd name="T6" fmla="*/ 16 w 16"/>
                  <a:gd name="T7" fmla="*/ 32 h 32"/>
                  <a:gd name="T8" fmla="*/ 16 w 16"/>
                  <a:gd name="T9" fmla="*/ 24 h 32"/>
                  <a:gd name="T10" fmla="*/ 16 w 16"/>
                  <a:gd name="T11" fmla="*/ 16 h 32"/>
                  <a:gd name="T12" fmla="*/ 0 w 16"/>
                  <a:gd name="T13" fmla="*/ 0 h 32"/>
                  <a:gd name="T14" fmla="*/ 16 w 16"/>
                  <a:gd name="T15" fmla="*/ 0 h 32"/>
                  <a:gd name="T16" fmla="*/ 16 w 16"/>
                  <a:gd name="T17" fmla="*/ 8 h 32"/>
                  <a:gd name="T18" fmla="*/ 16 w 16"/>
                  <a:gd name="T19" fmla="*/ 8 h 32"/>
                  <a:gd name="T20" fmla="*/ 8 w 16"/>
                  <a:gd name="T21" fmla="*/ 8 h 32"/>
                  <a:gd name="T22" fmla="*/ 0 w 16"/>
                  <a:gd name="T23" fmla="*/ 0 h 32"/>
                  <a:gd name="T24" fmla="*/ 16 w 16"/>
                  <a:gd name="T2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2">
                    <a:moveTo>
                      <a:pt x="16" y="16"/>
                    </a:moveTo>
                    <a:lnTo>
                      <a:pt x="8" y="24"/>
                    </a:lnTo>
                    <a:lnTo>
                      <a:pt x="8" y="32"/>
                    </a:lnTo>
                    <a:lnTo>
                      <a:pt x="16" y="32"/>
                    </a:lnTo>
                    <a:lnTo>
                      <a:pt x="16" y="24"/>
                    </a:lnTo>
                    <a:lnTo>
                      <a:pt x="16" y="16"/>
                    </a:lnTo>
                    <a:lnTo>
                      <a:pt x="0" y="0"/>
                    </a:lnTo>
                    <a:lnTo>
                      <a:pt x="16" y="0"/>
                    </a:lnTo>
                    <a:lnTo>
                      <a:pt x="16" y="8"/>
                    </a:lnTo>
                    <a:lnTo>
                      <a:pt x="16" y="8"/>
                    </a:lnTo>
                    <a:lnTo>
                      <a:pt x="8" y="8"/>
                    </a:lnTo>
                    <a:lnTo>
                      <a:pt x="0" y="0"/>
                    </a:lnTo>
                    <a:lnTo>
                      <a:pt x="16" y="16"/>
                    </a:lnTo>
                    <a:close/>
                  </a:path>
                </a:pathLst>
              </a:custGeom>
              <a:grpFill/>
              <a:ln w="9525">
                <a:noFill/>
                <a:round/>
                <a:headEnd/>
                <a:tailEnd/>
              </a:ln>
            </p:spPr>
            <p:txBody>
              <a:bodyPr/>
              <a:lstStyle/>
              <a:p>
                <a:endParaRPr lang="en-US">
                  <a:solidFill>
                    <a:srgbClr val="000000"/>
                  </a:solidFill>
                </a:endParaRPr>
              </a:p>
            </p:txBody>
          </p:sp>
          <p:sp>
            <p:nvSpPr>
              <p:cNvPr id="1271" name="Freeform 17"/>
              <p:cNvSpPr>
                <a:spLocks/>
              </p:cNvSpPr>
              <p:nvPr/>
            </p:nvSpPr>
            <p:spPr bwMode="auto">
              <a:xfrm>
                <a:off x="6224814" y="6211811"/>
                <a:ext cx="15119" cy="30238"/>
              </a:xfrm>
              <a:custGeom>
                <a:avLst/>
                <a:gdLst>
                  <a:gd name="T0" fmla="*/ 8 w 8"/>
                  <a:gd name="T1" fmla="*/ 0 h 16"/>
                  <a:gd name="T2" fmla="*/ 0 w 8"/>
                  <a:gd name="T3" fmla="*/ 8 h 16"/>
                  <a:gd name="T4" fmla="*/ 0 w 8"/>
                  <a:gd name="T5" fmla="*/ 16 h 16"/>
                  <a:gd name="T6" fmla="*/ 8 w 8"/>
                  <a:gd name="T7" fmla="*/ 16 h 16"/>
                  <a:gd name="T8" fmla="*/ 8 w 8"/>
                  <a:gd name="T9" fmla="*/ 8 h 16"/>
                  <a:gd name="T10" fmla="*/ 8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8" y="0"/>
                    </a:moveTo>
                    <a:lnTo>
                      <a:pt x="0" y="8"/>
                    </a:lnTo>
                    <a:lnTo>
                      <a:pt x="0" y="16"/>
                    </a:lnTo>
                    <a:lnTo>
                      <a:pt x="8" y="16"/>
                    </a:lnTo>
                    <a:lnTo>
                      <a:pt x="8" y="8"/>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72" name="Freeform 18"/>
              <p:cNvSpPr>
                <a:spLocks/>
              </p:cNvSpPr>
              <p:nvPr/>
            </p:nvSpPr>
            <p:spPr bwMode="auto">
              <a:xfrm>
                <a:off x="6209695" y="6181573"/>
                <a:ext cx="30238" cy="15119"/>
              </a:xfrm>
              <a:custGeom>
                <a:avLst/>
                <a:gdLst>
                  <a:gd name="T0" fmla="*/ 0 w 16"/>
                  <a:gd name="T1" fmla="*/ 0 h 8"/>
                  <a:gd name="T2" fmla="*/ 16 w 16"/>
                  <a:gd name="T3" fmla="*/ 0 h 8"/>
                  <a:gd name="T4" fmla="*/ 16 w 16"/>
                  <a:gd name="T5" fmla="*/ 8 h 8"/>
                  <a:gd name="T6" fmla="*/ 16 w 16"/>
                  <a:gd name="T7" fmla="*/ 8 h 8"/>
                  <a:gd name="T8" fmla="*/ 8 w 16"/>
                  <a:gd name="T9" fmla="*/ 8 h 8"/>
                  <a:gd name="T10" fmla="*/ 0 w 16"/>
                  <a:gd name="T11" fmla="*/ 0 h 8"/>
                </a:gdLst>
                <a:ahLst/>
                <a:cxnLst>
                  <a:cxn ang="0">
                    <a:pos x="T0" y="T1"/>
                  </a:cxn>
                  <a:cxn ang="0">
                    <a:pos x="T2" y="T3"/>
                  </a:cxn>
                  <a:cxn ang="0">
                    <a:pos x="T4" y="T5"/>
                  </a:cxn>
                  <a:cxn ang="0">
                    <a:pos x="T6" y="T7"/>
                  </a:cxn>
                  <a:cxn ang="0">
                    <a:pos x="T8" y="T9"/>
                  </a:cxn>
                  <a:cxn ang="0">
                    <a:pos x="T10" y="T11"/>
                  </a:cxn>
                </a:cxnLst>
                <a:rect l="0" t="0" r="r" b="b"/>
                <a:pathLst>
                  <a:path w="16" h="8">
                    <a:moveTo>
                      <a:pt x="0" y="0"/>
                    </a:moveTo>
                    <a:lnTo>
                      <a:pt x="16" y="0"/>
                    </a:lnTo>
                    <a:lnTo>
                      <a:pt x="16" y="8"/>
                    </a:lnTo>
                    <a:lnTo>
                      <a:pt x="16"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73" name="Freeform 19"/>
              <p:cNvSpPr>
                <a:spLocks/>
              </p:cNvSpPr>
              <p:nvPr/>
            </p:nvSpPr>
            <p:spPr bwMode="auto">
              <a:xfrm>
                <a:off x="6209695" y="6136216"/>
                <a:ext cx="15119" cy="30238"/>
              </a:xfrm>
              <a:custGeom>
                <a:avLst/>
                <a:gdLst>
                  <a:gd name="T0" fmla="*/ 0 w 8"/>
                  <a:gd name="T1" fmla="*/ 0 h 16"/>
                  <a:gd name="T2" fmla="*/ 8 w 8"/>
                  <a:gd name="T3" fmla="*/ 8 h 16"/>
                  <a:gd name="T4" fmla="*/ 8 w 8"/>
                  <a:gd name="T5" fmla="*/ 16 h 16"/>
                  <a:gd name="T6" fmla="*/ 0 w 8"/>
                  <a:gd name="T7" fmla="*/ 16 h 16"/>
                  <a:gd name="T8" fmla="*/ 0 w 8"/>
                  <a:gd name="T9" fmla="*/ 8 h 16"/>
                  <a:gd name="T10" fmla="*/ 0 w 8"/>
                  <a:gd name="T11" fmla="*/ 8 h 16"/>
                  <a:gd name="T12" fmla="*/ 0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0" y="0"/>
                    </a:moveTo>
                    <a:lnTo>
                      <a:pt x="8" y="8"/>
                    </a:lnTo>
                    <a:lnTo>
                      <a:pt x="8" y="16"/>
                    </a:lnTo>
                    <a:lnTo>
                      <a:pt x="0" y="16"/>
                    </a:lnTo>
                    <a:lnTo>
                      <a:pt x="0" y="8"/>
                    </a:lnTo>
                    <a:lnTo>
                      <a:pt x="0" y="8"/>
                    </a:lnTo>
                    <a:lnTo>
                      <a:pt x="0" y="0"/>
                    </a:lnTo>
                    <a:close/>
                  </a:path>
                </a:pathLst>
              </a:custGeom>
              <a:grpFill/>
              <a:ln w="9525">
                <a:noFill/>
                <a:round/>
                <a:headEnd/>
                <a:tailEnd/>
              </a:ln>
            </p:spPr>
            <p:txBody>
              <a:bodyPr/>
              <a:lstStyle/>
              <a:p>
                <a:endParaRPr lang="en-US">
                  <a:solidFill>
                    <a:srgbClr val="000000"/>
                  </a:solidFill>
                </a:endParaRPr>
              </a:p>
            </p:txBody>
          </p:sp>
          <p:sp>
            <p:nvSpPr>
              <p:cNvPr id="1274" name="Freeform 20"/>
              <p:cNvSpPr>
                <a:spLocks/>
              </p:cNvSpPr>
              <p:nvPr/>
            </p:nvSpPr>
            <p:spPr bwMode="auto">
              <a:xfrm>
                <a:off x="6209695" y="6136216"/>
                <a:ext cx="15119" cy="30238"/>
              </a:xfrm>
              <a:custGeom>
                <a:avLst/>
                <a:gdLst>
                  <a:gd name="T0" fmla="*/ 0 w 8"/>
                  <a:gd name="T1" fmla="*/ 0 h 16"/>
                  <a:gd name="T2" fmla="*/ 8 w 8"/>
                  <a:gd name="T3" fmla="*/ 8 h 16"/>
                  <a:gd name="T4" fmla="*/ 8 w 8"/>
                  <a:gd name="T5" fmla="*/ 16 h 16"/>
                  <a:gd name="T6" fmla="*/ 0 w 8"/>
                  <a:gd name="T7" fmla="*/ 16 h 16"/>
                  <a:gd name="T8" fmla="*/ 0 w 8"/>
                  <a:gd name="T9" fmla="*/ 8 h 16"/>
                  <a:gd name="T10" fmla="*/ 0 w 8"/>
                  <a:gd name="T11" fmla="*/ 8 h 16"/>
                </a:gdLst>
                <a:ahLst/>
                <a:cxnLst>
                  <a:cxn ang="0">
                    <a:pos x="T0" y="T1"/>
                  </a:cxn>
                  <a:cxn ang="0">
                    <a:pos x="T2" y="T3"/>
                  </a:cxn>
                  <a:cxn ang="0">
                    <a:pos x="T4" y="T5"/>
                  </a:cxn>
                  <a:cxn ang="0">
                    <a:pos x="T6" y="T7"/>
                  </a:cxn>
                  <a:cxn ang="0">
                    <a:pos x="T8" y="T9"/>
                  </a:cxn>
                  <a:cxn ang="0">
                    <a:pos x="T10" y="T11"/>
                  </a:cxn>
                </a:cxnLst>
                <a:rect l="0" t="0" r="r" b="b"/>
                <a:pathLst>
                  <a:path w="8" h="16">
                    <a:moveTo>
                      <a:pt x="0" y="0"/>
                    </a:moveTo>
                    <a:lnTo>
                      <a:pt x="8" y="8"/>
                    </a:lnTo>
                    <a:lnTo>
                      <a:pt x="8" y="16"/>
                    </a:lnTo>
                    <a:lnTo>
                      <a:pt x="0" y="16"/>
                    </a:lnTo>
                    <a:lnTo>
                      <a:pt x="0" y="8"/>
                    </a:lnTo>
                    <a:lnTo>
                      <a:pt x="0" y="8"/>
                    </a:lnTo>
                  </a:path>
                </a:pathLst>
              </a:custGeom>
              <a:grpFill/>
              <a:ln w="12700">
                <a:noFill/>
                <a:prstDash val="solid"/>
                <a:round/>
                <a:headEnd/>
                <a:tailEnd/>
              </a:ln>
            </p:spPr>
            <p:txBody>
              <a:bodyPr/>
              <a:lstStyle/>
              <a:p>
                <a:endParaRPr lang="en-US">
                  <a:solidFill>
                    <a:srgbClr val="000000"/>
                  </a:solidFill>
                </a:endParaRPr>
              </a:p>
            </p:txBody>
          </p:sp>
          <p:sp>
            <p:nvSpPr>
              <p:cNvPr id="1275" name="Freeform 21"/>
              <p:cNvSpPr>
                <a:spLocks/>
              </p:cNvSpPr>
              <p:nvPr/>
            </p:nvSpPr>
            <p:spPr bwMode="auto">
              <a:xfrm>
                <a:off x="6194576" y="6090859"/>
                <a:ext cx="30238" cy="30238"/>
              </a:xfrm>
              <a:custGeom>
                <a:avLst/>
                <a:gdLst>
                  <a:gd name="T0" fmla="*/ 8 w 16"/>
                  <a:gd name="T1" fmla="*/ 8 h 16"/>
                  <a:gd name="T2" fmla="*/ 16 w 16"/>
                  <a:gd name="T3" fmla="*/ 0 h 16"/>
                  <a:gd name="T4" fmla="*/ 16 w 16"/>
                  <a:gd name="T5" fmla="*/ 8 h 16"/>
                  <a:gd name="T6" fmla="*/ 16 w 16"/>
                  <a:gd name="T7" fmla="*/ 8 h 16"/>
                  <a:gd name="T8" fmla="*/ 8 w 16"/>
                  <a:gd name="T9" fmla="*/ 16 h 16"/>
                  <a:gd name="T10" fmla="*/ 0 w 16"/>
                  <a:gd name="T11" fmla="*/ 8 h 16"/>
                  <a:gd name="T12" fmla="*/ 0 w 16"/>
                  <a:gd name="T13" fmla="*/ 8 h 16"/>
                  <a:gd name="T14" fmla="*/ 8 w 16"/>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8"/>
                    </a:moveTo>
                    <a:lnTo>
                      <a:pt x="16" y="0"/>
                    </a:lnTo>
                    <a:lnTo>
                      <a:pt x="16" y="8"/>
                    </a:lnTo>
                    <a:lnTo>
                      <a:pt x="16" y="8"/>
                    </a:lnTo>
                    <a:lnTo>
                      <a:pt x="8" y="16"/>
                    </a:lnTo>
                    <a:lnTo>
                      <a:pt x="0" y="8"/>
                    </a:lnTo>
                    <a:lnTo>
                      <a:pt x="0" y="8"/>
                    </a:lnTo>
                    <a:lnTo>
                      <a:pt x="8" y="8"/>
                    </a:lnTo>
                    <a:close/>
                  </a:path>
                </a:pathLst>
              </a:custGeom>
              <a:grpFill/>
              <a:ln w="9525">
                <a:noFill/>
                <a:round/>
                <a:headEnd/>
                <a:tailEnd/>
              </a:ln>
            </p:spPr>
            <p:txBody>
              <a:bodyPr/>
              <a:lstStyle/>
              <a:p>
                <a:endParaRPr lang="en-US">
                  <a:solidFill>
                    <a:srgbClr val="000000"/>
                  </a:solidFill>
                </a:endParaRPr>
              </a:p>
            </p:txBody>
          </p:sp>
          <p:sp>
            <p:nvSpPr>
              <p:cNvPr id="1276" name="Freeform 22"/>
              <p:cNvSpPr>
                <a:spLocks/>
              </p:cNvSpPr>
              <p:nvPr/>
            </p:nvSpPr>
            <p:spPr bwMode="auto">
              <a:xfrm>
                <a:off x="6194576" y="6090859"/>
                <a:ext cx="30238" cy="30238"/>
              </a:xfrm>
              <a:custGeom>
                <a:avLst/>
                <a:gdLst>
                  <a:gd name="T0" fmla="*/ 8 w 16"/>
                  <a:gd name="T1" fmla="*/ 8 h 16"/>
                  <a:gd name="T2" fmla="*/ 16 w 16"/>
                  <a:gd name="T3" fmla="*/ 0 h 16"/>
                  <a:gd name="T4" fmla="*/ 16 w 16"/>
                  <a:gd name="T5" fmla="*/ 8 h 16"/>
                  <a:gd name="T6" fmla="*/ 16 w 16"/>
                  <a:gd name="T7" fmla="*/ 8 h 16"/>
                  <a:gd name="T8" fmla="*/ 8 w 16"/>
                  <a:gd name="T9" fmla="*/ 16 h 16"/>
                  <a:gd name="T10" fmla="*/ 0 w 16"/>
                  <a:gd name="T11" fmla="*/ 8 h 16"/>
                  <a:gd name="T12" fmla="*/ 0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8"/>
                    </a:moveTo>
                    <a:lnTo>
                      <a:pt x="16" y="0"/>
                    </a:lnTo>
                    <a:lnTo>
                      <a:pt x="16" y="8"/>
                    </a:lnTo>
                    <a:lnTo>
                      <a:pt x="16" y="8"/>
                    </a:lnTo>
                    <a:lnTo>
                      <a:pt x="8" y="16"/>
                    </a:lnTo>
                    <a:lnTo>
                      <a:pt x="0" y="8"/>
                    </a:lnTo>
                    <a:lnTo>
                      <a:pt x="0" y="8"/>
                    </a:lnTo>
                  </a:path>
                </a:pathLst>
              </a:custGeom>
              <a:grpFill/>
              <a:ln w="12700">
                <a:noFill/>
                <a:prstDash val="solid"/>
                <a:round/>
                <a:headEnd/>
                <a:tailEnd/>
              </a:ln>
            </p:spPr>
            <p:txBody>
              <a:bodyPr/>
              <a:lstStyle/>
              <a:p>
                <a:endParaRPr lang="en-US">
                  <a:solidFill>
                    <a:srgbClr val="000000"/>
                  </a:solidFill>
                </a:endParaRPr>
              </a:p>
            </p:txBody>
          </p:sp>
          <p:sp>
            <p:nvSpPr>
              <p:cNvPr id="1277" name="Freeform 23"/>
              <p:cNvSpPr>
                <a:spLocks/>
              </p:cNvSpPr>
              <p:nvPr/>
            </p:nvSpPr>
            <p:spPr bwMode="auto">
              <a:xfrm>
                <a:off x="6224814" y="6121097"/>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78" name="Freeform 24"/>
              <p:cNvSpPr>
                <a:spLocks/>
              </p:cNvSpPr>
              <p:nvPr/>
            </p:nvSpPr>
            <p:spPr bwMode="auto">
              <a:xfrm>
                <a:off x="6179457" y="6075740"/>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79" name="Freeform 25"/>
              <p:cNvSpPr>
                <a:spLocks/>
              </p:cNvSpPr>
              <p:nvPr/>
            </p:nvSpPr>
            <p:spPr bwMode="auto">
              <a:xfrm>
                <a:off x="6134100" y="6015263"/>
                <a:ext cx="75595" cy="60476"/>
              </a:xfrm>
              <a:custGeom>
                <a:avLst/>
                <a:gdLst>
                  <a:gd name="T0" fmla="*/ 32 w 40"/>
                  <a:gd name="T1" fmla="*/ 24 h 32"/>
                  <a:gd name="T2" fmla="*/ 40 w 40"/>
                  <a:gd name="T3" fmla="*/ 24 h 32"/>
                  <a:gd name="T4" fmla="*/ 32 w 40"/>
                  <a:gd name="T5" fmla="*/ 32 h 32"/>
                  <a:gd name="T6" fmla="*/ 32 w 40"/>
                  <a:gd name="T7" fmla="*/ 32 h 32"/>
                  <a:gd name="T8" fmla="*/ 32 w 40"/>
                  <a:gd name="T9" fmla="*/ 24 h 32"/>
                  <a:gd name="T10" fmla="*/ 32 w 40"/>
                  <a:gd name="T11" fmla="*/ 8 h 32"/>
                  <a:gd name="T12" fmla="*/ 32 w 40"/>
                  <a:gd name="T13" fmla="*/ 16 h 32"/>
                  <a:gd name="T14" fmla="*/ 40 w 40"/>
                  <a:gd name="T15" fmla="*/ 16 h 32"/>
                  <a:gd name="T16" fmla="*/ 32 w 40"/>
                  <a:gd name="T17" fmla="*/ 8 h 32"/>
                  <a:gd name="T18" fmla="*/ 32 w 40"/>
                  <a:gd name="T19" fmla="*/ 24 h 32"/>
                  <a:gd name="T20" fmla="*/ 8 w 40"/>
                  <a:gd name="T21" fmla="*/ 16 h 32"/>
                  <a:gd name="T22" fmla="*/ 8 w 40"/>
                  <a:gd name="T23" fmla="*/ 24 h 32"/>
                  <a:gd name="T24" fmla="*/ 16 w 40"/>
                  <a:gd name="T25" fmla="*/ 24 h 32"/>
                  <a:gd name="T26" fmla="*/ 8 w 40"/>
                  <a:gd name="T27" fmla="*/ 16 h 32"/>
                  <a:gd name="T28" fmla="*/ 32 w 40"/>
                  <a:gd name="T29" fmla="*/ 24 h 32"/>
                  <a:gd name="T30" fmla="*/ 0 w 40"/>
                  <a:gd name="T31" fmla="*/ 0 h 32"/>
                  <a:gd name="T32" fmla="*/ 8 w 40"/>
                  <a:gd name="T33" fmla="*/ 0 h 32"/>
                  <a:gd name="T34" fmla="*/ 8 w 40"/>
                  <a:gd name="T35" fmla="*/ 8 h 32"/>
                  <a:gd name="T36" fmla="*/ 0 w 40"/>
                  <a:gd name="T37" fmla="*/ 0 h 32"/>
                  <a:gd name="T38" fmla="*/ 32 w 40"/>
                  <a:gd name="T3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32">
                    <a:moveTo>
                      <a:pt x="32" y="24"/>
                    </a:moveTo>
                    <a:lnTo>
                      <a:pt x="40" y="24"/>
                    </a:lnTo>
                    <a:lnTo>
                      <a:pt x="32" y="32"/>
                    </a:lnTo>
                    <a:lnTo>
                      <a:pt x="32" y="32"/>
                    </a:lnTo>
                    <a:lnTo>
                      <a:pt x="32" y="24"/>
                    </a:lnTo>
                    <a:lnTo>
                      <a:pt x="32" y="8"/>
                    </a:lnTo>
                    <a:lnTo>
                      <a:pt x="32" y="16"/>
                    </a:lnTo>
                    <a:lnTo>
                      <a:pt x="40" y="16"/>
                    </a:lnTo>
                    <a:lnTo>
                      <a:pt x="32" y="8"/>
                    </a:lnTo>
                    <a:lnTo>
                      <a:pt x="32" y="24"/>
                    </a:lnTo>
                    <a:lnTo>
                      <a:pt x="8" y="16"/>
                    </a:lnTo>
                    <a:lnTo>
                      <a:pt x="8" y="24"/>
                    </a:lnTo>
                    <a:lnTo>
                      <a:pt x="16" y="24"/>
                    </a:lnTo>
                    <a:lnTo>
                      <a:pt x="8" y="16"/>
                    </a:lnTo>
                    <a:lnTo>
                      <a:pt x="32" y="24"/>
                    </a:lnTo>
                    <a:lnTo>
                      <a:pt x="0" y="0"/>
                    </a:lnTo>
                    <a:lnTo>
                      <a:pt x="8" y="0"/>
                    </a:lnTo>
                    <a:lnTo>
                      <a:pt x="8" y="8"/>
                    </a:lnTo>
                    <a:lnTo>
                      <a:pt x="0" y="0"/>
                    </a:lnTo>
                    <a:lnTo>
                      <a:pt x="32" y="24"/>
                    </a:lnTo>
                    <a:close/>
                  </a:path>
                </a:pathLst>
              </a:custGeom>
              <a:grpFill/>
              <a:ln w="9525">
                <a:noFill/>
                <a:round/>
                <a:headEnd/>
                <a:tailEnd/>
              </a:ln>
            </p:spPr>
            <p:txBody>
              <a:bodyPr/>
              <a:lstStyle/>
              <a:p>
                <a:endParaRPr lang="en-US">
                  <a:solidFill>
                    <a:srgbClr val="000000"/>
                  </a:solidFill>
                </a:endParaRPr>
              </a:p>
            </p:txBody>
          </p:sp>
          <p:sp>
            <p:nvSpPr>
              <p:cNvPr id="1280" name="Freeform 26"/>
              <p:cNvSpPr>
                <a:spLocks/>
              </p:cNvSpPr>
              <p:nvPr/>
            </p:nvSpPr>
            <p:spPr bwMode="auto">
              <a:xfrm>
                <a:off x="6194576" y="6060620"/>
                <a:ext cx="15119" cy="15119"/>
              </a:xfrm>
              <a:custGeom>
                <a:avLst/>
                <a:gdLst>
                  <a:gd name="T0" fmla="*/ 0 w 8"/>
                  <a:gd name="T1" fmla="*/ 0 h 8"/>
                  <a:gd name="T2" fmla="*/ 8 w 8"/>
                  <a:gd name="T3" fmla="*/ 0 h 8"/>
                  <a:gd name="T4" fmla="*/ 0 w 8"/>
                  <a:gd name="T5" fmla="*/ 8 h 8"/>
                  <a:gd name="T6" fmla="*/ 0 w 8"/>
                  <a:gd name="T7" fmla="*/ 8 h 8"/>
                </a:gdLst>
                <a:ahLst/>
                <a:cxnLst>
                  <a:cxn ang="0">
                    <a:pos x="T0" y="T1"/>
                  </a:cxn>
                  <a:cxn ang="0">
                    <a:pos x="T2" y="T3"/>
                  </a:cxn>
                  <a:cxn ang="0">
                    <a:pos x="T4" y="T5"/>
                  </a:cxn>
                  <a:cxn ang="0">
                    <a:pos x="T6" y="T7"/>
                  </a:cxn>
                </a:cxnLst>
                <a:rect l="0" t="0" r="r" b="b"/>
                <a:pathLst>
                  <a:path w="8" h="8">
                    <a:moveTo>
                      <a:pt x="0" y="0"/>
                    </a:moveTo>
                    <a:lnTo>
                      <a:pt x="8" y="0"/>
                    </a:lnTo>
                    <a:lnTo>
                      <a:pt x="0" y="8"/>
                    </a:lnTo>
                    <a:lnTo>
                      <a:pt x="0" y="8"/>
                    </a:lnTo>
                  </a:path>
                </a:pathLst>
              </a:custGeom>
              <a:grpFill/>
              <a:ln w="12700">
                <a:noFill/>
                <a:prstDash val="solid"/>
                <a:round/>
                <a:headEnd/>
                <a:tailEnd/>
              </a:ln>
            </p:spPr>
            <p:txBody>
              <a:bodyPr/>
              <a:lstStyle/>
              <a:p>
                <a:endParaRPr lang="en-US">
                  <a:solidFill>
                    <a:srgbClr val="000000"/>
                  </a:solidFill>
                </a:endParaRPr>
              </a:p>
            </p:txBody>
          </p:sp>
          <p:sp>
            <p:nvSpPr>
              <p:cNvPr id="1281" name="Freeform 27"/>
              <p:cNvSpPr>
                <a:spLocks/>
              </p:cNvSpPr>
              <p:nvPr/>
            </p:nvSpPr>
            <p:spPr bwMode="auto">
              <a:xfrm>
                <a:off x="6194576" y="6030382"/>
                <a:ext cx="15119" cy="15119"/>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82" name="Freeform 28"/>
              <p:cNvSpPr>
                <a:spLocks/>
              </p:cNvSpPr>
              <p:nvPr/>
            </p:nvSpPr>
            <p:spPr bwMode="auto">
              <a:xfrm>
                <a:off x="6149219" y="6045501"/>
                <a:ext cx="15119" cy="15119"/>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83" name="Freeform 29"/>
              <p:cNvSpPr>
                <a:spLocks/>
              </p:cNvSpPr>
              <p:nvPr/>
            </p:nvSpPr>
            <p:spPr bwMode="auto">
              <a:xfrm>
                <a:off x="6134100" y="6015263"/>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84" name="Freeform 30"/>
              <p:cNvSpPr>
                <a:spLocks/>
              </p:cNvSpPr>
              <p:nvPr/>
            </p:nvSpPr>
            <p:spPr bwMode="auto">
              <a:xfrm>
                <a:off x="5952671" y="6000144"/>
                <a:ext cx="90714" cy="30238"/>
              </a:xfrm>
              <a:custGeom>
                <a:avLst/>
                <a:gdLst>
                  <a:gd name="T0" fmla="*/ 40 w 48"/>
                  <a:gd name="T1" fmla="*/ 16 h 16"/>
                  <a:gd name="T2" fmla="*/ 48 w 48"/>
                  <a:gd name="T3" fmla="*/ 8 h 16"/>
                  <a:gd name="T4" fmla="*/ 48 w 48"/>
                  <a:gd name="T5" fmla="*/ 16 h 16"/>
                  <a:gd name="T6" fmla="*/ 40 w 48"/>
                  <a:gd name="T7" fmla="*/ 16 h 16"/>
                  <a:gd name="T8" fmla="*/ 32 w 48"/>
                  <a:gd name="T9" fmla="*/ 0 h 16"/>
                  <a:gd name="T10" fmla="*/ 24 w 48"/>
                  <a:gd name="T11" fmla="*/ 0 h 16"/>
                  <a:gd name="T12" fmla="*/ 8 w 48"/>
                  <a:gd name="T13" fmla="*/ 0 h 16"/>
                  <a:gd name="T14" fmla="*/ 0 w 48"/>
                  <a:gd name="T15" fmla="*/ 0 h 16"/>
                  <a:gd name="T16" fmla="*/ 0 w 48"/>
                  <a:gd name="T17" fmla="*/ 8 h 16"/>
                  <a:gd name="T18" fmla="*/ 0 w 48"/>
                  <a:gd name="T19" fmla="*/ 16 h 16"/>
                  <a:gd name="T20" fmla="*/ 16 w 48"/>
                  <a:gd name="T21" fmla="*/ 16 h 16"/>
                  <a:gd name="T22" fmla="*/ 24 w 48"/>
                  <a:gd name="T23" fmla="*/ 16 h 16"/>
                  <a:gd name="T24" fmla="*/ 32 w 48"/>
                  <a:gd name="T25" fmla="*/ 16 h 16"/>
                  <a:gd name="T26" fmla="*/ 40 w 48"/>
                  <a:gd name="T27" fmla="*/ 8 h 16"/>
                  <a:gd name="T28" fmla="*/ 32 w 48"/>
                  <a:gd name="T29" fmla="*/ 0 h 16"/>
                  <a:gd name="T30" fmla="*/ 40 w 48"/>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16">
                    <a:moveTo>
                      <a:pt x="40" y="16"/>
                    </a:moveTo>
                    <a:lnTo>
                      <a:pt x="48" y="8"/>
                    </a:lnTo>
                    <a:lnTo>
                      <a:pt x="48" y="16"/>
                    </a:lnTo>
                    <a:lnTo>
                      <a:pt x="40" y="16"/>
                    </a:lnTo>
                    <a:lnTo>
                      <a:pt x="32" y="0"/>
                    </a:lnTo>
                    <a:lnTo>
                      <a:pt x="24" y="0"/>
                    </a:lnTo>
                    <a:lnTo>
                      <a:pt x="8" y="0"/>
                    </a:lnTo>
                    <a:lnTo>
                      <a:pt x="0" y="0"/>
                    </a:lnTo>
                    <a:lnTo>
                      <a:pt x="0" y="8"/>
                    </a:lnTo>
                    <a:lnTo>
                      <a:pt x="0" y="16"/>
                    </a:lnTo>
                    <a:lnTo>
                      <a:pt x="16" y="16"/>
                    </a:lnTo>
                    <a:lnTo>
                      <a:pt x="24" y="16"/>
                    </a:lnTo>
                    <a:lnTo>
                      <a:pt x="32" y="16"/>
                    </a:lnTo>
                    <a:lnTo>
                      <a:pt x="40" y="8"/>
                    </a:lnTo>
                    <a:lnTo>
                      <a:pt x="32" y="0"/>
                    </a:lnTo>
                    <a:lnTo>
                      <a:pt x="40" y="16"/>
                    </a:lnTo>
                    <a:close/>
                  </a:path>
                </a:pathLst>
              </a:custGeom>
              <a:grpFill/>
              <a:ln w="9525">
                <a:noFill/>
                <a:round/>
                <a:headEnd/>
                <a:tailEnd/>
              </a:ln>
            </p:spPr>
            <p:txBody>
              <a:bodyPr/>
              <a:lstStyle/>
              <a:p>
                <a:endParaRPr lang="en-US">
                  <a:solidFill>
                    <a:srgbClr val="000000"/>
                  </a:solidFill>
                </a:endParaRPr>
              </a:p>
            </p:txBody>
          </p:sp>
          <p:sp>
            <p:nvSpPr>
              <p:cNvPr id="1285" name="Freeform 31"/>
              <p:cNvSpPr>
                <a:spLocks/>
              </p:cNvSpPr>
              <p:nvPr/>
            </p:nvSpPr>
            <p:spPr bwMode="auto">
              <a:xfrm>
                <a:off x="6028267" y="6015263"/>
                <a:ext cx="15119" cy="15119"/>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86" name="Freeform 32"/>
              <p:cNvSpPr>
                <a:spLocks/>
              </p:cNvSpPr>
              <p:nvPr/>
            </p:nvSpPr>
            <p:spPr bwMode="auto">
              <a:xfrm>
                <a:off x="5952671" y="6000144"/>
                <a:ext cx="75595" cy="30238"/>
              </a:xfrm>
              <a:custGeom>
                <a:avLst/>
                <a:gdLst>
                  <a:gd name="T0" fmla="*/ 32 w 40"/>
                  <a:gd name="T1" fmla="*/ 0 h 16"/>
                  <a:gd name="T2" fmla="*/ 24 w 40"/>
                  <a:gd name="T3" fmla="*/ 0 h 16"/>
                  <a:gd name="T4" fmla="*/ 8 w 40"/>
                  <a:gd name="T5" fmla="*/ 0 h 16"/>
                  <a:gd name="T6" fmla="*/ 0 w 40"/>
                  <a:gd name="T7" fmla="*/ 0 h 16"/>
                  <a:gd name="T8" fmla="*/ 0 w 40"/>
                  <a:gd name="T9" fmla="*/ 8 h 16"/>
                  <a:gd name="T10" fmla="*/ 0 w 40"/>
                  <a:gd name="T11" fmla="*/ 16 h 16"/>
                  <a:gd name="T12" fmla="*/ 16 w 40"/>
                  <a:gd name="T13" fmla="*/ 16 h 16"/>
                  <a:gd name="T14" fmla="*/ 24 w 40"/>
                  <a:gd name="T15" fmla="*/ 16 h 16"/>
                  <a:gd name="T16" fmla="*/ 32 w 40"/>
                  <a:gd name="T17" fmla="*/ 16 h 16"/>
                  <a:gd name="T18" fmla="*/ 40 w 40"/>
                  <a:gd name="T19" fmla="*/ 8 h 16"/>
                  <a:gd name="T20" fmla="*/ 32 w 40"/>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6">
                    <a:moveTo>
                      <a:pt x="32" y="0"/>
                    </a:moveTo>
                    <a:lnTo>
                      <a:pt x="24" y="0"/>
                    </a:lnTo>
                    <a:lnTo>
                      <a:pt x="8" y="0"/>
                    </a:lnTo>
                    <a:lnTo>
                      <a:pt x="0" y="0"/>
                    </a:lnTo>
                    <a:lnTo>
                      <a:pt x="0" y="8"/>
                    </a:lnTo>
                    <a:lnTo>
                      <a:pt x="0" y="16"/>
                    </a:lnTo>
                    <a:lnTo>
                      <a:pt x="16" y="16"/>
                    </a:lnTo>
                    <a:lnTo>
                      <a:pt x="24" y="16"/>
                    </a:lnTo>
                    <a:lnTo>
                      <a:pt x="32" y="16"/>
                    </a:lnTo>
                    <a:lnTo>
                      <a:pt x="40" y="8"/>
                    </a:lnTo>
                    <a:lnTo>
                      <a:pt x="32" y="0"/>
                    </a:lnTo>
                    <a:close/>
                  </a:path>
                </a:pathLst>
              </a:custGeom>
              <a:grpFill/>
              <a:ln w="12700">
                <a:noFill/>
                <a:prstDash val="solid"/>
                <a:round/>
                <a:headEnd/>
                <a:tailEnd/>
              </a:ln>
            </p:spPr>
            <p:txBody>
              <a:bodyPr/>
              <a:lstStyle/>
              <a:p>
                <a:endParaRPr lang="en-US">
                  <a:solidFill>
                    <a:srgbClr val="000000"/>
                  </a:solidFill>
                </a:endParaRPr>
              </a:p>
            </p:txBody>
          </p:sp>
          <p:sp>
            <p:nvSpPr>
              <p:cNvPr id="1287" name="Freeform 33"/>
              <p:cNvSpPr>
                <a:spLocks/>
              </p:cNvSpPr>
              <p:nvPr/>
            </p:nvSpPr>
            <p:spPr bwMode="auto">
              <a:xfrm>
                <a:off x="5725886" y="5924549"/>
                <a:ext cx="181429" cy="120952"/>
              </a:xfrm>
              <a:custGeom>
                <a:avLst/>
                <a:gdLst>
                  <a:gd name="T0" fmla="*/ 88 w 96"/>
                  <a:gd name="T1" fmla="*/ 48 h 64"/>
                  <a:gd name="T2" fmla="*/ 96 w 96"/>
                  <a:gd name="T3" fmla="*/ 48 h 64"/>
                  <a:gd name="T4" fmla="*/ 88 w 96"/>
                  <a:gd name="T5" fmla="*/ 56 h 64"/>
                  <a:gd name="T6" fmla="*/ 88 w 96"/>
                  <a:gd name="T7" fmla="*/ 56 h 64"/>
                  <a:gd name="T8" fmla="*/ 88 w 96"/>
                  <a:gd name="T9" fmla="*/ 48 h 64"/>
                  <a:gd name="T10" fmla="*/ 8 w 96"/>
                  <a:gd name="T11" fmla="*/ 8 h 64"/>
                  <a:gd name="T12" fmla="*/ 16 w 96"/>
                  <a:gd name="T13" fmla="*/ 8 h 64"/>
                  <a:gd name="T14" fmla="*/ 8 w 96"/>
                  <a:gd name="T15" fmla="*/ 16 h 64"/>
                  <a:gd name="T16" fmla="*/ 16 w 96"/>
                  <a:gd name="T17" fmla="*/ 16 h 64"/>
                  <a:gd name="T18" fmla="*/ 8 w 96"/>
                  <a:gd name="T19" fmla="*/ 24 h 64"/>
                  <a:gd name="T20" fmla="*/ 8 w 96"/>
                  <a:gd name="T21" fmla="*/ 32 h 64"/>
                  <a:gd name="T22" fmla="*/ 8 w 96"/>
                  <a:gd name="T23" fmla="*/ 40 h 64"/>
                  <a:gd name="T24" fmla="*/ 0 w 96"/>
                  <a:gd name="T25" fmla="*/ 48 h 64"/>
                  <a:gd name="T26" fmla="*/ 8 w 96"/>
                  <a:gd name="T27" fmla="*/ 48 h 64"/>
                  <a:gd name="T28" fmla="*/ 8 w 96"/>
                  <a:gd name="T29" fmla="*/ 56 h 64"/>
                  <a:gd name="T30" fmla="*/ 8 w 96"/>
                  <a:gd name="T31" fmla="*/ 64 h 64"/>
                  <a:gd name="T32" fmla="*/ 16 w 96"/>
                  <a:gd name="T33" fmla="*/ 64 h 64"/>
                  <a:gd name="T34" fmla="*/ 16 w 96"/>
                  <a:gd name="T35" fmla="*/ 56 h 64"/>
                  <a:gd name="T36" fmla="*/ 24 w 96"/>
                  <a:gd name="T37" fmla="*/ 48 h 64"/>
                  <a:gd name="T38" fmla="*/ 32 w 96"/>
                  <a:gd name="T39" fmla="*/ 48 h 64"/>
                  <a:gd name="T40" fmla="*/ 32 w 96"/>
                  <a:gd name="T41" fmla="*/ 40 h 64"/>
                  <a:gd name="T42" fmla="*/ 40 w 96"/>
                  <a:gd name="T43" fmla="*/ 40 h 64"/>
                  <a:gd name="T44" fmla="*/ 40 w 96"/>
                  <a:gd name="T45" fmla="*/ 48 h 64"/>
                  <a:gd name="T46" fmla="*/ 48 w 96"/>
                  <a:gd name="T47" fmla="*/ 48 h 64"/>
                  <a:gd name="T48" fmla="*/ 56 w 96"/>
                  <a:gd name="T49" fmla="*/ 40 h 64"/>
                  <a:gd name="T50" fmla="*/ 64 w 96"/>
                  <a:gd name="T51" fmla="*/ 40 h 64"/>
                  <a:gd name="T52" fmla="*/ 72 w 96"/>
                  <a:gd name="T53" fmla="*/ 40 h 64"/>
                  <a:gd name="T54" fmla="*/ 80 w 96"/>
                  <a:gd name="T55" fmla="*/ 40 h 64"/>
                  <a:gd name="T56" fmla="*/ 80 w 96"/>
                  <a:gd name="T57" fmla="*/ 48 h 64"/>
                  <a:gd name="T58" fmla="*/ 88 w 96"/>
                  <a:gd name="T59" fmla="*/ 40 h 64"/>
                  <a:gd name="T60" fmla="*/ 96 w 96"/>
                  <a:gd name="T61" fmla="*/ 40 h 64"/>
                  <a:gd name="T62" fmla="*/ 96 w 96"/>
                  <a:gd name="T63" fmla="*/ 32 h 64"/>
                  <a:gd name="T64" fmla="*/ 88 w 96"/>
                  <a:gd name="T65" fmla="*/ 32 h 64"/>
                  <a:gd name="T66" fmla="*/ 80 w 96"/>
                  <a:gd name="T67" fmla="*/ 32 h 64"/>
                  <a:gd name="T68" fmla="*/ 72 w 96"/>
                  <a:gd name="T69" fmla="*/ 24 h 64"/>
                  <a:gd name="T70" fmla="*/ 64 w 96"/>
                  <a:gd name="T71" fmla="*/ 24 h 64"/>
                  <a:gd name="T72" fmla="*/ 56 w 96"/>
                  <a:gd name="T73" fmla="*/ 16 h 64"/>
                  <a:gd name="T74" fmla="*/ 64 w 96"/>
                  <a:gd name="T75" fmla="*/ 16 h 64"/>
                  <a:gd name="T76" fmla="*/ 72 w 96"/>
                  <a:gd name="T77" fmla="*/ 24 h 64"/>
                  <a:gd name="T78" fmla="*/ 80 w 96"/>
                  <a:gd name="T79" fmla="*/ 16 h 64"/>
                  <a:gd name="T80" fmla="*/ 72 w 96"/>
                  <a:gd name="T81" fmla="*/ 16 h 64"/>
                  <a:gd name="T82" fmla="*/ 64 w 96"/>
                  <a:gd name="T83" fmla="*/ 16 h 64"/>
                  <a:gd name="T84" fmla="*/ 56 w 96"/>
                  <a:gd name="T85" fmla="*/ 8 h 64"/>
                  <a:gd name="T86" fmla="*/ 48 w 96"/>
                  <a:gd name="T87" fmla="*/ 8 h 64"/>
                  <a:gd name="T88" fmla="*/ 32 w 96"/>
                  <a:gd name="T89" fmla="*/ 0 h 64"/>
                  <a:gd name="T90" fmla="*/ 24 w 96"/>
                  <a:gd name="T91" fmla="*/ 0 h 64"/>
                  <a:gd name="T92" fmla="*/ 16 w 96"/>
                  <a:gd name="T93" fmla="*/ 0 h 64"/>
                  <a:gd name="T94" fmla="*/ 8 w 96"/>
                  <a:gd name="T95" fmla="*/ 8 h 64"/>
                  <a:gd name="T96" fmla="*/ 88 w 96"/>
                  <a:gd name="T97"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64">
                    <a:moveTo>
                      <a:pt x="88" y="48"/>
                    </a:moveTo>
                    <a:lnTo>
                      <a:pt x="96" y="48"/>
                    </a:lnTo>
                    <a:lnTo>
                      <a:pt x="88" y="56"/>
                    </a:lnTo>
                    <a:lnTo>
                      <a:pt x="88" y="56"/>
                    </a:lnTo>
                    <a:lnTo>
                      <a:pt x="88" y="48"/>
                    </a:lnTo>
                    <a:lnTo>
                      <a:pt x="8" y="8"/>
                    </a:lnTo>
                    <a:lnTo>
                      <a:pt x="16" y="8"/>
                    </a:lnTo>
                    <a:lnTo>
                      <a:pt x="8" y="16"/>
                    </a:lnTo>
                    <a:lnTo>
                      <a:pt x="16" y="16"/>
                    </a:lnTo>
                    <a:lnTo>
                      <a:pt x="8" y="24"/>
                    </a:lnTo>
                    <a:lnTo>
                      <a:pt x="8" y="32"/>
                    </a:lnTo>
                    <a:lnTo>
                      <a:pt x="8" y="40"/>
                    </a:lnTo>
                    <a:lnTo>
                      <a:pt x="0" y="48"/>
                    </a:lnTo>
                    <a:lnTo>
                      <a:pt x="8" y="48"/>
                    </a:lnTo>
                    <a:lnTo>
                      <a:pt x="8" y="56"/>
                    </a:lnTo>
                    <a:lnTo>
                      <a:pt x="8" y="64"/>
                    </a:lnTo>
                    <a:lnTo>
                      <a:pt x="16" y="64"/>
                    </a:lnTo>
                    <a:lnTo>
                      <a:pt x="16" y="56"/>
                    </a:lnTo>
                    <a:lnTo>
                      <a:pt x="24" y="48"/>
                    </a:lnTo>
                    <a:lnTo>
                      <a:pt x="32" y="48"/>
                    </a:lnTo>
                    <a:lnTo>
                      <a:pt x="32" y="40"/>
                    </a:lnTo>
                    <a:lnTo>
                      <a:pt x="40" y="40"/>
                    </a:lnTo>
                    <a:lnTo>
                      <a:pt x="40" y="48"/>
                    </a:lnTo>
                    <a:lnTo>
                      <a:pt x="48" y="48"/>
                    </a:lnTo>
                    <a:lnTo>
                      <a:pt x="56" y="40"/>
                    </a:lnTo>
                    <a:lnTo>
                      <a:pt x="64" y="40"/>
                    </a:lnTo>
                    <a:lnTo>
                      <a:pt x="72" y="40"/>
                    </a:lnTo>
                    <a:lnTo>
                      <a:pt x="80" y="40"/>
                    </a:lnTo>
                    <a:lnTo>
                      <a:pt x="80" y="48"/>
                    </a:lnTo>
                    <a:lnTo>
                      <a:pt x="88" y="40"/>
                    </a:lnTo>
                    <a:lnTo>
                      <a:pt x="96" y="40"/>
                    </a:lnTo>
                    <a:lnTo>
                      <a:pt x="96" y="32"/>
                    </a:lnTo>
                    <a:lnTo>
                      <a:pt x="88" y="32"/>
                    </a:lnTo>
                    <a:lnTo>
                      <a:pt x="80" y="32"/>
                    </a:lnTo>
                    <a:lnTo>
                      <a:pt x="72" y="24"/>
                    </a:lnTo>
                    <a:lnTo>
                      <a:pt x="64" y="24"/>
                    </a:lnTo>
                    <a:lnTo>
                      <a:pt x="56" y="16"/>
                    </a:lnTo>
                    <a:lnTo>
                      <a:pt x="64" y="16"/>
                    </a:lnTo>
                    <a:lnTo>
                      <a:pt x="72" y="24"/>
                    </a:lnTo>
                    <a:lnTo>
                      <a:pt x="80" y="16"/>
                    </a:lnTo>
                    <a:lnTo>
                      <a:pt x="72" y="16"/>
                    </a:lnTo>
                    <a:lnTo>
                      <a:pt x="64" y="16"/>
                    </a:lnTo>
                    <a:lnTo>
                      <a:pt x="56" y="8"/>
                    </a:lnTo>
                    <a:lnTo>
                      <a:pt x="48" y="8"/>
                    </a:lnTo>
                    <a:lnTo>
                      <a:pt x="32" y="0"/>
                    </a:lnTo>
                    <a:lnTo>
                      <a:pt x="24" y="0"/>
                    </a:lnTo>
                    <a:lnTo>
                      <a:pt x="16" y="0"/>
                    </a:lnTo>
                    <a:lnTo>
                      <a:pt x="8" y="8"/>
                    </a:lnTo>
                    <a:lnTo>
                      <a:pt x="88" y="48"/>
                    </a:lnTo>
                    <a:close/>
                  </a:path>
                </a:pathLst>
              </a:custGeom>
              <a:grpFill/>
              <a:ln w="9525">
                <a:noFill/>
                <a:round/>
                <a:headEnd/>
                <a:tailEnd/>
              </a:ln>
            </p:spPr>
            <p:txBody>
              <a:bodyPr/>
              <a:lstStyle/>
              <a:p>
                <a:endParaRPr lang="en-US">
                  <a:solidFill>
                    <a:srgbClr val="000000"/>
                  </a:solidFill>
                </a:endParaRPr>
              </a:p>
            </p:txBody>
          </p:sp>
          <p:sp>
            <p:nvSpPr>
              <p:cNvPr id="1288" name="Freeform 34"/>
              <p:cNvSpPr>
                <a:spLocks/>
              </p:cNvSpPr>
              <p:nvPr/>
            </p:nvSpPr>
            <p:spPr bwMode="auto">
              <a:xfrm>
                <a:off x="5892195" y="6015263"/>
                <a:ext cx="15119" cy="15119"/>
              </a:xfrm>
              <a:custGeom>
                <a:avLst/>
                <a:gdLst>
                  <a:gd name="T0" fmla="*/ 0 w 8"/>
                  <a:gd name="T1" fmla="*/ 0 h 8"/>
                  <a:gd name="T2" fmla="*/ 8 w 8"/>
                  <a:gd name="T3" fmla="*/ 0 h 8"/>
                  <a:gd name="T4" fmla="*/ 0 w 8"/>
                  <a:gd name="T5" fmla="*/ 8 h 8"/>
                  <a:gd name="T6" fmla="*/ 0 w 8"/>
                  <a:gd name="T7" fmla="*/ 8 h 8"/>
                </a:gdLst>
                <a:ahLst/>
                <a:cxnLst>
                  <a:cxn ang="0">
                    <a:pos x="T0" y="T1"/>
                  </a:cxn>
                  <a:cxn ang="0">
                    <a:pos x="T2" y="T3"/>
                  </a:cxn>
                  <a:cxn ang="0">
                    <a:pos x="T4" y="T5"/>
                  </a:cxn>
                  <a:cxn ang="0">
                    <a:pos x="T6" y="T7"/>
                  </a:cxn>
                </a:cxnLst>
                <a:rect l="0" t="0" r="r" b="b"/>
                <a:pathLst>
                  <a:path w="8" h="8">
                    <a:moveTo>
                      <a:pt x="0" y="0"/>
                    </a:moveTo>
                    <a:lnTo>
                      <a:pt x="8" y="0"/>
                    </a:lnTo>
                    <a:lnTo>
                      <a:pt x="0" y="8"/>
                    </a:lnTo>
                    <a:lnTo>
                      <a:pt x="0" y="8"/>
                    </a:lnTo>
                  </a:path>
                </a:pathLst>
              </a:custGeom>
              <a:grpFill/>
              <a:ln w="12700">
                <a:noFill/>
                <a:prstDash val="solid"/>
                <a:round/>
                <a:headEnd/>
                <a:tailEnd/>
              </a:ln>
            </p:spPr>
            <p:txBody>
              <a:bodyPr/>
              <a:lstStyle/>
              <a:p>
                <a:endParaRPr lang="en-US">
                  <a:solidFill>
                    <a:srgbClr val="000000"/>
                  </a:solidFill>
                </a:endParaRPr>
              </a:p>
            </p:txBody>
          </p:sp>
          <p:sp>
            <p:nvSpPr>
              <p:cNvPr id="1289" name="Freeform 35"/>
              <p:cNvSpPr>
                <a:spLocks/>
              </p:cNvSpPr>
              <p:nvPr/>
            </p:nvSpPr>
            <p:spPr bwMode="auto">
              <a:xfrm>
                <a:off x="5725886" y="5924549"/>
                <a:ext cx="181429" cy="120952"/>
              </a:xfrm>
              <a:custGeom>
                <a:avLst/>
                <a:gdLst>
                  <a:gd name="T0" fmla="*/ 8 w 96"/>
                  <a:gd name="T1" fmla="*/ 8 h 64"/>
                  <a:gd name="T2" fmla="*/ 16 w 96"/>
                  <a:gd name="T3" fmla="*/ 8 h 64"/>
                  <a:gd name="T4" fmla="*/ 8 w 96"/>
                  <a:gd name="T5" fmla="*/ 16 h 64"/>
                  <a:gd name="T6" fmla="*/ 16 w 96"/>
                  <a:gd name="T7" fmla="*/ 16 h 64"/>
                  <a:gd name="T8" fmla="*/ 8 w 96"/>
                  <a:gd name="T9" fmla="*/ 24 h 64"/>
                  <a:gd name="T10" fmla="*/ 8 w 96"/>
                  <a:gd name="T11" fmla="*/ 32 h 64"/>
                  <a:gd name="T12" fmla="*/ 8 w 96"/>
                  <a:gd name="T13" fmla="*/ 40 h 64"/>
                  <a:gd name="T14" fmla="*/ 0 w 96"/>
                  <a:gd name="T15" fmla="*/ 48 h 64"/>
                  <a:gd name="T16" fmla="*/ 8 w 96"/>
                  <a:gd name="T17" fmla="*/ 48 h 64"/>
                  <a:gd name="T18" fmla="*/ 8 w 96"/>
                  <a:gd name="T19" fmla="*/ 56 h 64"/>
                  <a:gd name="T20" fmla="*/ 8 w 96"/>
                  <a:gd name="T21" fmla="*/ 64 h 64"/>
                  <a:gd name="T22" fmla="*/ 16 w 96"/>
                  <a:gd name="T23" fmla="*/ 64 h 64"/>
                  <a:gd name="T24" fmla="*/ 16 w 96"/>
                  <a:gd name="T25" fmla="*/ 56 h 64"/>
                  <a:gd name="T26" fmla="*/ 24 w 96"/>
                  <a:gd name="T27" fmla="*/ 48 h 64"/>
                  <a:gd name="T28" fmla="*/ 32 w 96"/>
                  <a:gd name="T29" fmla="*/ 48 h 64"/>
                  <a:gd name="T30" fmla="*/ 32 w 96"/>
                  <a:gd name="T31" fmla="*/ 40 h 64"/>
                  <a:gd name="T32" fmla="*/ 40 w 96"/>
                  <a:gd name="T33" fmla="*/ 40 h 64"/>
                  <a:gd name="T34" fmla="*/ 40 w 96"/>
                  <a:gd name="T35" fmla="*/ 48 h 64"/>
                  <a:gd name="T36" fmla="*/ 48 w 96"/>
                  <a:gd name="T37" fmla="*/ 48 h 64"/>
                  <a:gd name="T38" fmla="*/ 56 w 96"/>
                  <a:gd name="T39" fmla="*/ 40 h 64"/>
                  <a:gd name="T40" fmla="*/ 64 w 96"/>
                  <a:gd name="T41" fmla="*/ 40 h 64"/>
                  <a:gd name="T42" fmla="*/ 72 w 96"/>
                  <a:gd name="T43" fmla="*/ 40 h 64"/>
                  <a:gd name="T44" fmla="*/ 80 w 96"/>
                  <a:gd name="T45" fmla="*/ 40 h 64"/>
                  <a:gd name="T46" fmla="*/ 80 w 96"/>
                  <a:gd name="T47" fmla="*/ 48 h 64"/>
                  <a:gd name="T48" fmla="*/ 88 w 96"/>
                  <a:gd name="T49" fmla="*/ 40 h 64"/>
                  <a:gd name="T50" fmla="*/ 96 w 96"/>
                  <a:gd name="T51" fmla="*/ 40 h 64"/>
                  <a:gd name="T52" fmla="*/ 96 w 96"/>
                  <a:gd name="T53" fmla="*/ 32 h 64"/>
                  <a:gd name="T54" fmla="*/ 88 w 96"/>
                  <a:gd name="T55" fmla="*/ 32 h 64"/>
                  <a:gd name="T56" fmla="*/ 80 w 96"/>
                  <a:gd name="T57" fmla="*/ 32 h 64"/>
                  <a:gd name="T58" fmla="*/ 72 w 96"/>
                  <a:gd name="T59" fmla="*/ 24 h 64"/>
                  <a:gd name="T60" fmla="*/ 64 w 96"/>
                  <a:gd name="T61" fmla="*/ 24 h 64"/>
                  <a:gd name="T62" fmla="*/ 56 w 96"/>
                  <a:gd name="T63" fmla="*/ 16 h 64"/>
                  <a:gd name="T64" fmla="*/ 64 w 96"/>
                  <a:gd name="T65" fmla="*/ 16 h 64"/>
                  <a:gd name="T66" fmla="*/ 72 w 96"/>
                  <a:gd name="T67" fmla="*/ 24 h 64"/>
                  <a:gd name="T68" fmla="*/ 80 w 96"/>
                  <a:gd name="T69" fmla="*/ 16 h 64"/>
                  <a:gd name="T70" fmla="*/ 72 w 96"/>
                  <a:gd name="T71" fmla="*/ 16 h 64"/>
                  <a:gd name="T72" fmla="*/ 64 w 96"/>
                  <a:gd name="T73" fmla="*/ 16 h 64"/>
                  <a:gd name="T74" fmla="*/ 56 w 96"/>
                  <a:gd name="T75" fmla="*/ 8 h 64"/>
                  <a:gd name="T76" fmla="*/ 48 w 96"/>
                  <a:gd name="T77" fmla="*/ 8 h 64"/>
                  <a:gd name="T78" fmla="*/ 32 w 96"/>
                  <a:gd name="T79" fmla="*/ 0 h 64"/>
                  <a:gd name="T80" fmla="*/ 24 w 96"/>
                  <a:gd name="T81" fmla="*/ 0 h 64"/>
                  <a:gd name="T82" fmla="*/ 16 w 96"/>
                  <a:gd name="T83" fmla="*/ 0 h 64"/>
                  <a:gd name="T84" fmla="*/ 8 w 96"/>
                  <a:gd name="T8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64">
                    <a:moveTo>
                      <a:pt x="8" y="8"/>
                    </a:moveTo>
                    <a:lnTo>
                      <a:pt x="16" y="8"/>
                    </a:lnTo>
                    <a:lnTo>
                      <a:pt x="8" y="16"/>
                    </a:lnTo>
                    <a:lnTo>
                      <a:pt x="16" y="16"/>
                    </a:lnTo>
                    <a:lnTo>
                      <a:pt x="8" y="24"/>
                    </a:lnTo>
                    <a:lnTo>
                      <a:pt x="8" y="32"/>
                    </a:lnTo>
                    <a:lnTo>
                      <a:pt x="8" y="40"/>
                    </a:lnTo>
                    <a:lnTo>
                      <a:pt x="0" y="48"/>
                    </a:lnTo>
                    <a:lnTo>
                      <a:pt x="8" y="48"/>
                    </a:lnTo>
                    <a:lnTo>
                      <a:pt x="8" y="56"/>
                    </a:lnTo>
                    <a:lnTo>
                      <a:pt x="8" y="64"/>
                    </a:lnTo>
                    <a:lnTo>
                      <a:pt x="16" y="64"/>
                    </a:lnTo>
                    <a:lnTo>
                      <a:pt x="16" y="56"/>
                    </a:lnTo>
                    <a:lnTo>
                      <a:pt x="24" y="48"/>
                    </a:lnTo>
                    <a:lnTo>
                      <a:pt x="32" y="48"/>
                    </a:lnTo>
                    <a:lnTo>
                      <a:pt x="32" y="40"/>
                    </a:lnTo>
                    <a:lnTo>
                      <a:pt x="40" y="40"/>
                    </a:lnTo>
                    <a:lnTo>
                      <a:pt x="40" y="48"/>
                    </a:lnTo>
                    <a:lnTo>
                      <a:pt x="48" y="48"/>
                    </a:lnTo>
                    <a:lnTo>
                      <a:pt x="56" y="40"/>
                    </a:lnTo>
                    <a:lnTo>
                      <a:pt x="64" y="40"/>
                    </a:lnTo>
                    <a:lnTo>
                      <a:pt x="72" y="40"/>
                    </a:lnTo>
                    <a:lnTo>
                      <a:pt x="80" y="40"/>
                    </a:lnTo>
                    <a:lnTo>
                      <a:pt x="80" y="48"/>
                    </a:lnTo>
                    <a:lnTo>
                      <a:pt x="88" y="40"/>
                    </a:lnTo>
                    <a:lnTo>
                      <a:pt x="96" y="40"/>
                    </a:lnTo>
                    <a:lnTo>
                      <a:pt x="96" y="32"/>
                    </a:lnTo>
                    <a:lnTo>
                      <a:pt x="88" y="32"/>
                    </a:lnTo>
                    <a:lnTo>
                      <a:pt x="80" y="32"/>
                    </a:lnTo>
                    <a:lnTo>
                      <a:pt x="72" y="24"/>
                    </a:lnTo>
                    <a:lnTo>
                      <a:pt x="64" y="24"/>
                    </a:lnTo>
                    <a:lnTo>
                      <a:pt x="56" y="16"/>
                    </a:lnTo>
                    <a:lnTo>
                      <a:pt x="64" y="16"/>
                    </a:lnTo>
                    <a:lnTo>
                      <a:pt x="72" y="24"/>
                    </a:lnTo>
                    <a:lnTo>
                      <a:pt x="80" y="16"/>
                    </a:lnTo>
                    <a:lnTo>
                      <a:pt x="72" y="16"/>
                    </a:lnTo>
                    <a:lnTo>
                      <a:pt x="64" y="16"/>
                    </a:lnTo>
                    <a:lnTo>
                      <a:pt x="56" y="8"/>
                    </a:lnTo>
                    <a:lnTo>
                      <a:pt x="48" y="8"/>
                    </a:lnTo>
                    <a:lnTo>
                      <a:pt x="32" y="0"/>
                    </a:lnTo>
                    <a:lnTo>
                      <a:pt x="24" y="0"/>
                    </a:lnTo>
                    <a:lnTo>
                      <a:pt x="16" y="0"/>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90" name="Freeform 308"/>
              <p:cNvSpPr>
                <a:spLocks/>
              </p:cNvSpPr>
              <p:nvPr/>
            </p:nvSpPr>
            <p:spPr bwMode="auto">
              <a:xfrm>
                <a:off x="5302552" y="5954787"/>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91" name="Freeform 309"/>
              <p:cNvSpPr>
                <a:spLocks/>
              </p:cNvSpPr>
              <p:nvPr/>
            </p:nvSpPr>
            <p:spPr bwMode="auto">
              <a:xfrm>
                <a:off x="5438624" y="6000144"/>
                <a:ext cx="105833" cy="45357"/>
              </a:xfrm>
              <a:custGeom>
                <a:avLst/>
                <a:gdLst>
                  <a:gd name="T0" fmla="*/ 8 w 56"/>
                  <a:gd name="T1" fmla="*/ 0 h 24"/>
                  <a:gd name="T2" fmla="*/ 24 w 56"/>
                  <a:gd name="T3" fmla="*/ 0 h 24"/>
                  <a:gd name="T4" fmla="*/ 40 w 56"/>
                  <a:gd name="T5" fmla="*/ 0 h 24"/>
                  <a:gd name="T6" fmla="*/ 40 w 56"/>
                  <a:gd name="T7" fmla="*/ 8 h 24"/>
                  <a:gd name="T8" fmla="*/ 48 w 56"/>
                  <a:gd name="T9" fmla="*/ 8 h 24"/>
                  <a:gd name="T10" fmla="*/ 56 w 56"/>
                  <a:gd name="T11" fmla="*/ 16 h 24"/>
                  <a:gd name="T12" fmla="*/ 48 w 56"/>
                  <a:gd name="T13" fmla="*/ 16 h 24"/>
                  <a:gd name="T14" fmla="*/ 40 w 56"/>
                  <a:gd name="T15" fmla="*/ 16 h 24"/>
                  <a:gd name="T16" fmla="*/ 32 w 56"/>
                  <a:gd name="T17" fmla="*/ 16 h 24"/>
                  <a:gd name="T18" fmla="*/ 32 w 56"/>
                  <a:gd name="T19" fmla="*/ 24 h 24"/>
                  <a:gd name="T20" fmla="*/ 24 w 56"/>
                  <a:gd name="T21" fmla="*/ 24 h 24"/>
                  <a:gd name="T22" fmla="*/ 24 w 56"/>
                  <a:gd name="T23" fmla="*/ 16 h 24"/>
                  <a:gd name="T24" fmla="*/ 16 w 56"/>
                  <a:gd name="T25" fmla="*/ 16 h 24"/>
                  <a:gd name="T26" fmla="*/ 8 w 56"/>
                  <a:gd name="T27" fmla="*/ 8 h 24"/>
                  <a:gd name="T28" fmla="*/ 0 w 56"/>
                  <a:gd name="T29" fmla="*/ 8 h 24"/>
                  <a:gd name="T30" fmla="*/ 0 w 56"/>
                  <a:gd name="T31" fmla="*/ 0 h 24"/>
                  <a:gd name="T32" fmla="*/ 8 w 56"/>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4">
                    <a:moveTo>
                      <a:pt x="8" y="0"/>
                    </a:moveTo>
                    <a:lnTo>
                      <a:pt x="24" y="0"/>
                    </a:lnTo>
                    <a:lnTo>
                      <a:pt x="40" y="0"/>
                    </a:lnTo>
                    <a:lnTo>
                      <a:pt x="40" y="8"/>
                    </a:lnTo>
                    <a:lnTo>
                      <a:pt x="48" y="8"/>
                    </a:lnTo>
                    <a:lnTo>
                      <a:pt x="56" y="16"/>
                    </a:lnTo>
                    <a:lnTo>
                      <a:pt x="48" y="16"/>
                    </a:lnTo>
                    <a:lnTo>
                      <a:pt x="40" y="16"/>
                    </a:lnTo>
                    <a:lnTo>
                      <a:pt x="32" y="16"/>
                    </a:lnTo>
                    <a:lnTo>
                      <a:pt x="32" y="24"/>
                    </a:lnTo>
                    <a:lnTo>
                      <a:pt x="24" y="24"/>
                    </a:lnTo>
                    <a:lnTo>
                      <a:pt x="24" y="16"/>
                    </a:lnTo>
                    <a:lnTo>
                      <a:pt x="16" y="16"/>
                    </a:lnTo>
                    <a:lnTo>
                      <a:pt x="8" y="8"/>
                    </a:lnTo>
                    <a:lnTo>
                      <a:pt x="0" y="8"/>
                    </a:lnTo>
                    <a:lnTo>
                      <a:pt x="0" y="0"/>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92" name="Freeform 310"/>
              <p:cNvSpPr>
                <a:spLocks/>
              </p:cNvSpPr>
              <p:nvPr/>
            </p:nvSpPr>
            <p:spPr bwMode="auto">
              <a:xfrm>
                <a:off x="5620052" y="5909430"/>
                <a:ext cx="136071" cy="120952"/>
              </a:xfrm>
              <a:custGeom>
                <a:avLst/>
                <a:gdLst>
                  <a:gd name="T0" fmla="*/ 56 w 72"/>
                  <a:gd name="T1" fmla="*/ 56 h 64"/>
                  <a:gd name="T2" fmla="*/ 64 w 72"/>
                  <a:gd name="T3" fmla="*/ 48 h 64"/>
                  <a:gd name="T4" fmla="*/ 64 w 72"/>
                  <a:gd name="T5" fmla="*/ 40 h 64"/>
                  <a:gd name="T6" fmla="*/ 64 w 72"/>
                  <a:gd name="T7" fmla="*/ 32 h 64"/>
                  <a:gd name="T8" fmla="*/ 72 w 72"/>
                  <a:gd name="T9" fmla="*/ 24 h 64"/>
                  <a:gd name="T10" fmla="*/ 64 w 72"/>
                  <a:gd name="T11" fmla="*/ 24 h 64"/>
                  <a:gd name="T12" fmla="*/ 72 w 72"/>
                  <a:gd name="T13" fmla="*/ 16 h 64"/>
                  <a:gd name="T14" fmla="*/ 64 w 72"/>
                  <a:gd name="T15" fmla="*/ 16 h 64"/>
                  <a:gd name="T16" fmla="*/ 56 w 72"/>
                  <a:gd name="T17" fmla="*/ 16 h 64"/>
                  <a:gd name="T18" fmla="*/ 48 w 72"/>
                  <a:gd name="T19" fmla="*/ 8 h 64"/>
                  <a:gd name="T20" fmla="*/ 40 w 72"/>
                  <a:gd name="T21" fmla="*/ 16 h 64"/>
                  <a:gd name="T22" fmla="*/ 40 w 72"/>
                  <a:gd name="T23" fmla="*/ 8 h 64"/>
                  <a:gd name="T24" fmla="*/ 24 w 72"/>
                  <a:gd name="T25" fmla="*/ 8 h 64"/>
                  <a:gd name="T26" fmla="*/ 24 w 72"/>
                  <a:gd name="T27" fmla="*/ 16 h 64"/>
                  <a:gd name="T28" fmla="*/ 32 w 72"/>
                  <a:gd name="T29" fmla="*/ 16 h 64"/>
                  <a:gd name="T30" fmla="*/ 48 w 72"/>
                  <a:gd name="T31" fmla="*/ 24 h 64"/>
                  <a:gd name="T32" fmla="*/ 40 w 72"/>
                  <a:gd name="T33" fmla="*/ 24 h 64"/>
                  <a:gd name="T34" fmla="*/ 48 w 72"/>
                  <a:gd name="T35" fmla="*/ 24 h 64"/>
                  <a:gd name="T36" fmla="*/ 40 w 72"/>
                  <a:gd name="T37" fmla="*/ 32 h 64"/>
                  <a:gd name="T38" fmla="*/ 48 w 72"/>
                  <a:gd name="T39" fmla="*/ 40 h 64"/>
                  <a:gd name="T40" fmla="*/ 56 w 72"/>
                  <a:gd name="T41" fmla="*/ 48 h 64"/>
                  <a:gd name="T42" fmla="*/ 48 w 72"/>
                  <a:gd name="T43" fmla="*/ 48 h 64"/>
                  <a:gd name="T44" fmla="*/ 40 w 72"/>
                  <a:gd name="T45" fmla="*/ 48 h 64"/>
                  <a:gd name="T46" fmla="*/ 32 w 72"/>
                  <a:gd name="T47" fmla="*/ 48 h 64"/>
                  <a:gd name="T48" fmla="*/ 24 w 72"/>
                  <a:gd name="T49" fmla="*/ 48 h 64"/>
                  <a:gd name="T50" fmla="*/ 16 w 72"/>
                  <a:gd name="T51" fmla="*/ 48 h 64"/>
                  <a:gd name="T52" fmla="*/ 8 w 72"/>
                  <a:gd name="T53" fmla="*/ 48 h 64"/>
                  <a:gd name="T54" fmla="*/ 8 w 72"/>
                  <a:gd name="T55" fmla="*/ 40 h 64"/>
                  <a:gd name="T56" fmla="*/ 0 w 72"/>
                  <a:gd name="T57" fmla="*/ 48 h 64"/>
                  <a:gd name="T58" fmla="*/ 0 w 72"/>
                  <a:gd name="T59" fmla="*/ 56 h 64"/>
                  <a:gd name="T60" fmla="*/ 8 w 72"/>
                  <a:gd name="T61" fmla="*/ 56 h 64"/>
                  <a:gd name="T62" fmla="*/ 16 w 72"/>
                  <a:gd name="T63" fmla="*/ 56 h 64"/>
                  <a:gd name="T64" fmla="*/ 16 w 72"/>
                  <a:gd name="T65" fmla="*/ 64 h 64"/>
                  <a:gd name="T66" fmla="*/ 16 w 72"/>
                  <a:gd name="T67" fmla="*/ 56 h 64"/>
                  <a:gd name="T68" fmla="*/ 32 w 72"/>
                  <a:gd name="T69" fmla="*/ 56 h 64"/>
                  <a:gd name="T70" fmla="*/ 48 w 72"/>
                  <a:gd name="T71" fmla="*/ 56 h 64"/>
                  <a:gd name="T72" fmla="*/ 48 w 72"/>
                  <a:gd name="T73" fmla="*/ 56 h 64"/>
                  <a:gd name="T74" fmla="*/ 56 w 72"/>
                  <a:gd name="T75" fmla="*/ 56 h 64"/>
                  <a:gd name="T76" fmla="*/ 40 w 72"/>
                  <a:gd name="T77" fmla="*/ 8 h 64"/>
                  <a:gd name="T78" fmla="*/ 40 w 72"/>
                  <a:gd name="T79" fmla="*/ 0 h 64"/>
                  <a:gd name="T80" fmla="*/ 56 w 72"/>
                  <a:gd name="T81" fmla="*/ 8 h 64"/>
                  <a:gd name="T82" fmla="*/ 40 w 72"/>
                  <a:gd name="T83" fmla="*/ 8 h 64"/>
                  <a:gd name="T84" fmla="*/ 56 w 72"/>
                  <a:gd name="T85" fmla="*/ 56 h 64"/>
                  <a:gd name="T86" fmla="*/ 32 w 72"/>
                  <a:gd name="T87" fmla="*/ 40 h 64"/>
                  <a:gd name="T88" fmla="*/ 32 w 72"/>
                  <a:gd name="T89" fmla="*/ 32 h 64"/>
                  <a:gd name="T90" fmla="*/ 40 w 72"/>
                  <a:gd name="T91" fmla="*/ 40 h 64"/>
                  <a:gd name="T92" fmla="*/ 32 w 72"/>
                  <a:gd name="T93" fmla="*/ 40 h 64"/>
                  <a:gd name="T94" fmla="*/ 56 w 72"/>
                  <a:gd name="T9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64">
                    <a:moveTo>
                      <a:pt x="56" y="56"/>
                    </a:moveTo>
                    <a:lnTo>
                      <a:pt x="64" y="48"/>
                    </a:lnTo>
                    <a:lnTo>
                      <a:pt x="64" y="40"/>
                    </a:lnTo>
                    <a:lnTo>
                      <a:pt x="64" y="32"/>
                    </a:lnTo>
                    <a:lnTo>
                      <a:pt x="72" y="24"/>
                    </a:lnTo>
                    <a:lnTo>
                      <a:pt x="64" y="24"/>
                    </a:lnTo>
                    <a:lnTo>
                      <a:pt x="72" y="16"/>
                    </a:lnTo>
                    <a:lnTo>
                      <a:pt x="64" y="16"/>
                    </a:lnTo>
                    <a:lnTo>
                      <a:pt x="56" y="16"/>
                    </a:lnTo>
                    <a:lnTo>
                      <a:pt x="48" y="8"/>
                    </a:lnTo>
                    <a:lnTo>
                      <a:pt x="40" y="16"/>
                    </a:lnTo>
                    <a:lnTo>
                      <a:pt x="40" y="8"/>
                    </a:lnTo>
                    <a:lnTo>
                      <a:pt x="24" y="8"/>
                    </a:lnTo>
                    <a:lnTo>
                      <a:pt x="24" y="16"/>
                    </a:lnTo>
                    <a:lnTo>
                      <a:pt x="32" y="16"/>
                    </a:lnTo>
                    <a:lnTo>
                      <a:pt x="48" y="24"/>
                    </a:lnTo>
                    <a:lnTo>
                      <a:pt x="40" y="24"/>
                    </a:lnTo>
                    <a:lnTo>
                      <a:pt x="48" y="24"/>
                    </a:lnTo>
                    <a:lnTo>
                      <a:pt x="40" y="32"/>
                    </a:lnTo>
                    <a:lnTo>
                      <a:pt x="48" y="40"/>
                    </a:lnTo>
                    <a:lnTo>
                      <a:pt x="56" y="48"/>
                    </a:lnTo>
                    <a:lnTo>
                      <a:pt x="48" y="48"/>
                    </a:lnTo>
                    <a:lnTo>
                      <a:pt x="40" y="48"/>
                    </a:lnTo>
                    <a:lnTo>
                      <a:pt x="32" y="48"/>
                    </a:lnTo>
                    <a:lnTo>
                      <a:pt x="24" y="48"/>
                    </a:lnTo>
                    <a:lnTo>
                      <a:pt x="16" y="48"/>
                    </a:lnTo>
                    <a:lnTo>
                      <a:pt x="8" y="48"/>
                    </a:lnTo>
                    <a:lnTo>
                      <a:pt x="8" y="40"/>
                    </a:lnTo>
                    <a:lnTo>
                      <a:pt x="0" y="48"/>
                    </a:lnTo>
                    <a:lnTo>
                      <a:pt x="0" y="56"/>
                    </a:lnTo>
                    <a:lnTo>
                      <a:pt x="8" y="56"/>
                    </a:lnTo>
                    <a:lnTo>
                      <a:pt x="16" y="56"/>
                    </a:lnTo>
                    <a:lnTo>
                      <a:pt x="16" y="64"/>
                    </a:lnTo>
                    <a:lnTo>
                      <a:pt x="16" y="56"/>
                    </a:lnTo>
                    <a:lnTo>
                      <a:pt x="32" y="56"/>
                    </a:lnTo>
                    <a:lnTo>
                      <a:pt x="48" y="56"/>
                    </a:lnTo>
                    <a:lnTo>
                      <a:pt x="48" y="56"/>
                    </a:lnTo>
                    <a:lnTo>
                      <a:pt x="56" y="56"/>
                    </a:lnTo>
                    <a:lnTo>
                      <a:pt x="40" y="8"/>
                    </a:lnTo>
                    <a:lnTo>
                      <a:pt x="40" y="0"/>
                    </a:lnTo>
                    <a:lnTo>
                      <a:pt x="56" y="8"/>
                    </a:lnTo>
                    <a:lnTo>
                      <a:pt x="40" y="8"/>
                    </a:lnTo>
                    <a:lnTo>
                      <a:pt x="56" y="56"/>
                    </a:lnTo>
                    <a:lnTo>
                      <a:pt x="32" y="40"/>
                    </a:lnTo>
                    <a:lnTo>
                      <a:pt x="32" y="32"/>
                    </a:lnTo>
                    <a:lnTo>
                      <a:pt x="40" y="40"/>
                    </a:lnTo>
                    <a:lnTo>
                      <a:pt x="32" y="40"/>
                    </a:lnTo>
                    <a:lnTo>
                      <a:pt x="56" y="56"/>
                    </a:lnTo>
                    <a:close/>
                  </a:path>
                </a:pathLst>
              </a:custGeom>
              <a:grpFill/>
              <a:ln w="9525">
                <a:noFill/>
                <a:round/>
                <a:headEnd/>
                <a:tailEnd/>
              </a:ln>
            </p:spPr>
            <p:txBody>
              <a:bodyPr/>
              <a:lstStyle/>
              <a:p>
                <a:endParaRPr lang="en-US">
                  <a:solidFill>
                    <a:srgbClr val="000000"/>
                  </a:solidFill>
                </a:endParaRPr>
              </a:p>
            </p:txBody>
          </p:sp>
          <p:sp>
            <p:nvSpPr>
              <p:cNvPr id="1293" name="Freeform 311"/>
              <p:cNvSpPr>
                <a:spLocks/>
              </p:cNvSpPr>
              <p:nvPr/>
            </p:nvSpPr>
            <p:spPr bwMode="auto">
              <a:xfrm>
                <a:off x="5620052" y="5924549"/>
                <a:ext cx="136071" cy="105833"/>
              </a:xfrm>
              <a:custGeom>
                <a:avLst/>
                <a:gdLst>
                  <a:gd name="T0" fmla="*/ 56 w 72"/>
                  <a:gd name="T1" fmla="*/ 48 h 56"/>
                  <a:gd name="T2" fmla="*/ 64 w 72"/>
                  <a:gd name="T3" fmla="*/ 40 h 56"/>
                  <a:gd name="T4" fmla="*/ 64 w 72"/>
                  <a:gd name="T5" fmla="*/ 32 h 56"/>
                  <a:gd name="T6" fmla="*/ 64 w 72"/>
                  <a:gd name="T7" fmla="*/ 24 h 56"/>
                  <a:gd name="T8" fmla="*/ 72 w 72"/>
                  <a:gd name="T9" fmla="*/ 16 h 56"/>
                  <a:gd name="T10" fmla="*/ 64 w 72"/>
                  <a:gd name="T11" fmla="*/ 16 h 56"/>
                  <a:gd name="T12" fmla="*/ 72 w 72"/>
                  <a:gd name="T13" fmla="*/ 8 h 56"/>
                  <a:gd name="T14" fmla="*/ 64 w 72"/>
                  <a:gd name="T15" fmla="*/ 8 h 56"/>
                  <a:gd name="T16" fmla="*/ 56 w 72"/>
                  <a:gd name="T17" fmla="*/ 8 h 56"/>
                  <a:gd name="T18" fmla="*/ 48 w 72"/>
                  <a:gd name="T19" fmla="*/ 0 h 56"/>
                  <a:gd name="T20" fmla="*/ 40 w 72"/>
                  <a:gd name="T21" fmla="*/ 8 h 56"/>
                  <a:gd name="T22" fmla="*/ 40 w 72"/>
                  <a:gd name="T23" fmla="*/ 0 h 56"/>
                  <a:gd name="T24" fmla="*/ 24 w 72"/>
                  <a:gd name="T25" fmla="*/ 0 h 56"/>
                  <a:gd name="T26" fmla="*/ 24 w 72"/>
                  <a:gd name="T27" fmla="*/ 8 h 56"/>
                  <a:gd name="T28" fmla="*/ 32 w 72"/>
                  <a:gd name="T29" fmla="*/ 8 h 56"/>
                  <a:gd name="T30" fmla="*/ 48 w 72"/>
                  <a:gd name="T31" fmla="*/ 16 h 56"/>
                  <a:gd name="T32" fmla="*/ 40 w 72"/>
                  <a:gd name="T33" fmla="*/ 16 h 56"/>
                  <a:gd name="T34" fmla="*/ 48 w 72"/>
                  <a:gd name="T35" fmla="*/ 16 h 56"/>
                  <a:gd name="T36" fmla="*/ 40 w 72"/>
                  <a:gd name="T37" fmla="*/ 24 h 56"/>
                  <a:gd name="T38" fmla="*/ 48 w 72"/>
                  <a:gd name="T39" fmla="*/ 32 h 56"/>
                  <a:gd name="T40" fmla="*/ 56 w 72"/>
                  <a:gd name="T41" fmla="*/ 40 h 56"/>
                  <a:gd name="T42" fmla="*/ 48 w 72"/>
                  <a:gd name="T43" fmla="*/ 40 h 56"/>
                  <a:gd name="T44" fmla="*/ 40 w 72"/>
                  <a:gd name="T45" fmla="*/ 40 h 56"/>
                  <a:gd name="T46" fmla="*/ 32 w 72"/>
                  <a:gd name="T47" fmla="*/ 40 h 56"/>
                  <a:gd name="T48" fmla="*/ 24 w 72"/>
                  <a:gd name="T49" fmla="*/ 40 h 56"/>
                  <a:gd name="T50" fmla="*/ 16 w 72"/>
                  <a:gd name="T51" fmla="*/ 40 h 56"/>
                  <a:gd name="T52" fmla="*/ 8 w 72"/>
                  <a:gd name="T53" fmla="*/ 40 h 56"/>
                  <a:gd name="T54" fmla="*/ 8 w 72"/>
                  <a:gd name="T55" fmla="*/ 32 h 56"/>
                  <a:gd name="T56" fmla="*/ 0 w 72"/>
                  <a:gd name="T57" fmla="*/ 40 h 56"/>
                  <a:gd name="T58" fmla="*/ 0 w 72"/>
                  <a:gd name="T59" fmla="*/ 48 h 56"/>
                  <a:gd name="T60" fmla="*/ 8 w 72"/>
                  <a:gd name="T61" fmla="*/ 48 h 56"/>
                  <a:gd name="T62" fmla="*/ 16 w 72"/>
                  <a:gd name="T63" fmla="*/ 48 h 56"/>
                  <a:gd name="T64" fmla="*/ 16 w 72"/>
                  <a:gd name="T65" fmla="*/ 56 h 56"/>
                  <a:gd name="T66" fmla="*/ 16 w 72"/>
                  <a:gd name="T67" fmla="*/ 48 h 56"/>
                  <a:gd name="T68" fmla="*/ 32 w 72"/>
                  <a:gd name="T69" fmla="*/ 48 h 56"/>
                  <a:gd name="T70" fmla="*/ 48 w 72"/>
                  <a:gd name="T71" fmla="*/ 48 h 56"/>
                  <a:gd name="T72" fmla="*/ 48 w 72"/>
                  <a:gd name="T73"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56">
                    <a:moveTo>
                      <a:pt x="56" y="48"/>
                    </a:moveTo>
                    <a:lnTo>
                      <a:pt x="64" y="40"/>
                    </a:lnTo>
                    <a:lnTo>
                      <a:pt x="64" y="32"/>
                    </a:lnTo>
                    <a:lnTo>
                      <a:pt x="64" y="24"/>
                    </a:lnTo>
                    <a:lnTo>
                      <a:pt x="72" y="16"/>
                    </a:lnTo>
                    <a:lnTo>
                      <a:pt x="64" y="16"/>
                    </a:lnTo>
                    <a:lnTo>
                      <a:pt x="72" y="8"/>
                    </a:lnTo>
                    <a:lnTo>
                      <a:pt x="64" y="8"/>
                    </a:lnTo>
                    <a:lnTo>
                      <a:pt x="56" y="8"/>
                    </a:lnTo>
                    <a:lnTo>
                      <a:pt x="48" y="0"/>
                    </a:lnTo>
                    <a:lnTo>
                      <a:pt x="40" y="8"/>
                    </a:lnTo>
                    <a:lnTo>
                      <a:pt x="40" y="0"/>
                    </a:lnTo>
                    <a:lnTo>
                      <a:pt x="24" y="0"/>
                    </a:lnTo>
                    <a:lnTo>
                      <a:pt x="24" y="8"/>
                    </a:lnTo>
                    <a:lnTo>
                      <a:pt x="32" y="8"/>
                    </a:lnTo>
                    <a:lnTo>
                      <a:pt x="48" y="16"/>
                    </a:lnTo>
                    <a:lnTo>
                      <a:pt x="40" y="16"/>
                    </a:lnTo>
                    <a:lnTo>
                      <a:pt x="48" y="16"/>
                    </a:lnTo>
                    <a:lnTo>
                      <a:pt x="40" y="24"/>
                    </a:lnTo>
                    <a:lnTo>
                      <a:pt x="48" y="32"/>
                    </a:lnTo>
                    <a:lnTo>
                      <a:pt x="56" y="40"/>
                    </a:lnTo>
                    <a:lnTo>
                      <a:pt x="48" y="40"/>
                    </a:lnTo>
                    <a:lnTo>
                      <a:pt x="40" y="40"/>
                    </a:lnTo>
                    <a:lnTo>
                      <a:pt x="32" y="40"/>
                    </a:lnTo>
                    <a:lnTo>
                      <a:pt x="24" y="40"/>
                    </a:lnTo>
                    <a:lnTo>
                      <a:pt x="16" y="40"/>
                    </a:lnTo>
                    <a:lnTo>
                      <a:pt x="8" y="40"/>
                    </a:lnTo>
                    <a:lnTo>
                      <a:pt x="8" y="32"/>
                    </a:lnTo>
                    <a:lnTo>
                      <a:pt x="0" y="40"/>
                    </a:lnTo>
                    <a:lnTo>
                      <a:pt x="0" y="48"/>
                    </a:lnTo>
                    <a:lnTo>
                      <a:pt x="8" y="48"/>
                    </a:lnTo>
                    <a:lnTo>
                      <a:pt x="16" y="48"/>
                    </a:lnTo>
                    <a:lnTo>
                      <a:pt x="16" y="56"/>
                    </a:lnTo>
                    <a:lnTo>
                      <a:pt x="16" y="48"/>
                    </a:lnTo>
                    <a:lnTo>
                      <a:pt x="32" y="48"/>
                    </a:lnTo>
                    <a:lnTo>
                      <a:pt x="48" y="48"/>
                    </a:lnTo>
                    <a:lnTo>
                      <a:pt x="48" y="48"/>
                    </a:lnTo>
                  </a:path>
                </a:pathLst>
              </a:custGeom>
              <a:grpFill/>
              <a:ln w="12700">
                <a:noFill/>
                <a:prstDash val="solid"/>
                <a:round/>
                <a:headEnd/>
                <a:tailEnd/>
              </a:ln>
            </p:spPr>
            <p:txBody>
              <a:bodyPr/>
              <a:lstStyle/>
              <a:p>
                <a:endParaRPr lang="en-US">
                  <a:solidFill>
                    <a:srgbClr val="000000"/>
                  </a:solidFill>
                </a:endParaRPr>
              </a:p>
            </p:txBody>
          </p:sp>
          <p:sp>
            <p:nvSpPr>
              <p:cNvPr id="1294" name="Freeform 312"/>
              <p:cNvSpPr>
                <a:spLocks/>
              </p:cNvSpPr>
              <p:nvPr/>
            </p:nvSpPr>
            <p:spPr bwMode="auto">
              <a:xfrm>
                <a:off x="5695648" y="5909430"/>
                <a:ext cx="30238" cy="15119"/>
              </a:xfrm>
              <a:custGeom>
                <a:avLst/>
                <a:gdLst>
                  <a:gd name="T0" fmla="*/ 0 w 16"/>
                  <a:gd name="T1" fmla="*/ 8 h 8"/>
                  <a:gd name="T2" fmla="*/ 0 w 16"/>
                  <a:gd name="T3" fmla="*/ 0 h 8"/>
                  <a:gd name="T4" fmla="*/ 16 w 16"/>
                  <a:gd name="T5" fmla="*/ 8 h 8"/>
                  <a:gd name="T6" fmla="*/ 0 w 16"/>
                  <a:gd name="T7" fmla="*/ 8 h 8"/>
                </a:gdLst>
                <a:ahLst/>
                <a:cxnLst>
                  <a:cxn ang="0">
                    <a:pos x="T0" y="T1"/>
                  </a:cxn>
                  <a:cxn ang="0">
                    <a:pos x="T2" y="T3"/>
                  </a:cxn>
                  <a:cxn ang="0">
                    <a:pos x="T4" y="T5"/>
                  </a:cxn>
                  <a:cxn ang="0">
                    <a:pos x="T6" y="T7"/>
                  </a:cxn>
                </a:cxnLst>
                <a:rect l="0" t="0" r="r" b="b"/>
                <a:pathLst>
                  <a:path w="16" h="8">
                    <a:moveTo>
                      <a:pt x="0" y="8"/>
                    </a:moveTo>
                    <a:lnTo>
                      <a:pt x="0" y="0"/>
                    </a:lnTo>
                    <a:lnTo>
                      <a:pt x="16" y="8"/>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95" name="Freeform 313"/>
              <p:cNvSpPr>
                <a:spLocks/>
              </p:cNvSpPr>
              <p:nvPr/>
            </p:nvSpPr>
            <p:spPr bwMode="auto">
              <a:xfrm>
                <a:off x="5680529" y="5969906"/>
                <a:ext cx="15119" cy="15119"/>
              </a:xfrm>
              <a:custGeom>
                <a:avLst/>
                <a:gdLst>
                  <a:gd name="T0" fmla="*/ 0 w 8"/>
                  <a:gd name="T1" fmla="*/ 8 h 8"/>
                  <a:gd name="T2" fmla="*/ 0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8"/>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96" name="Freeform 314"/>
              <p:cNvSpPr>
                <a:spLocks/>
              </p:cNvSpPr>
              <p:nvPr/>
            </p:nvSpPr>
            <p:spPr bwMode="auto">
              <a:xfrm>
                <a:off x="5136243" y="5758240"/>
                <a:ext cx="498929" cy="181429"/>
              </a:xfrm>
              <a:custGeom>
                <a:avLst/>
                <a:gdLst>
                  <a:gd name="T0" fmla="*/ 64 w 264"/>
                  <a:gd name="T1" fmla="*/ 40 h 96"/>
                  <a:gd name="T2" fmla="*/ 56 w 264"/>
                  <a:gd name="T3" fmla="*/ 48 h 96"/>
                  <a:gd name="T4" fmla="*/ 48 w 264"/>
                  <a:gd name="T5" fmla="*/ 40 h 96"/>
                  <a:gd name="T6" fmla="*/ 56 w 264"/>
                  <a:gd name="T7" fmla="*/ 48 h 96"/>
                  <a:gd name="T8" fmla="*/ 56 w 264"/>
                  <a:gd name="T9" fmla="*/ 40 h 96"/>
                  <a:gd name="T10" fmla="*/ 24 w 264"/>
                  <a:gd name="T11" fmla="*/ 32 h 96"/>
                  <a:gd name="T12" fmla="*/ 8 w 264"/>
                  <a:gd name="T13" fmla="*/ 40 h 96"/>
                  <a:gd name="T14" fmla="*/ 0 w 264"/>
                  <a:gd name="T15" fmla="*/ 40 h 96"/>
                  <a:gd name="T16" fmla="*/ 16 w 264"/>
                  <a:gd name="T17" fmla="*/ 32 h 96"/>
                  <a:gd name="T18" fmla="*/ 24 w 264"/>
                  <a:gd name="T19" fmla="*/ 40 h 96"/>
                  <a:gd name="T20" fmla="*/ 40 w 264"/>
                  <a:gd name="T21" fmla="*/ 32 h 96"/>
                  <a:gd name="T22" fmla="*/ 40 w 264"/>
                  <a:gd name="T23" fmla="*/ 32 h 96"/>
                  <a:gd name="T24" fmla="*/ 56 w 264"/>
                  <a:gd name="T25" fmla="*/ 24 h 96"/>
                  <a:gd name="T26" fmla="*/ 64 w 264"/>
                  <a:gd name="T27" fmla="*/ 16 h 96"/>
                  <a:gd name="T28" fmla="*/ 80 w 264"/>
                  <a:gd name="T29" fmla="*/ 16 h 96"/>
                  <a:gd name="T30" fmla="*/ 80 w 264"/>
                  <a:gd name="T31" fmla="*/ 24 h 96"/>
                  <a:gd name="T32" fmla="*/ 80 w 264"/>
                  <a:gd name="T33" fmla="*/ 32 h 96"/>
                  <a:gd name="T34" fmla="*/ 104 w 264"/>
                  <a:gd name="T35" fmla="*/ 32 h 96"/>
                  <a:gd name="T36" fmla="*/ 120 w 264"/>
                  <a:gd name="T37" fmla="*/ 32 h 96"/>
                  <a:gd name="T38" fmla="*/ 136 w 264"/>
                  <a:gd name="T39" fmla="*/ 40 h 96"/>
                  <a:gd name="T40" fmla="*/ 152 w 264"/>
                  <a:gd name="T41" fmla="*/ 48 h 96"/>
                  <a:gd name="T42" fmla="*/ 160 w 264"/>
                  <a:gd name="T43" fmla="*/ 48 h 96"/>
                  <a:gd name="T44" fmla="*/ 168 w 264"/>
                  <a:gd name="T45" fmla="*/ 72 h 96"/>
                  <a:gd name="T46" fmla="*/ 176 w 264"/>
                  <a:gd name="T47" fmla="*/ 64 h 96"/>
                  <a:gd name="T48" fmla="*/ 192 w 264"/>
                  <a:gd name="T49" fmla="*/ 72 h 96"/>
                  <a:gd name="T50" fmla="*/ 192 w 264"/>
                  <a:gd name="T51" fmla="*/ 80 h 96"/>
                  <a:gd name="T52" fmla="*/ 184 w 264"/>
                  <a:gd name="T53" fmla="*/ 96 h 96"/>
                  <a:gd name="T54" fmla="*/ 192 w 264"/>
                  <a:gd name="T55" fmla="*/ 88 h 96"/>
                  <a:gd name="T56" fmla="*/ 208 w 264"/>
                  <a:gd name="T57" fmla="*/ 88 h 96"/>
                  <a:gd name="T58" fmla="*/ 224 w 264"/>
                  <a:gd name="T59" fmla="*/ 96 h 96"/>
                  <a:gd name="T60" fmla="*/ 248 w 264"/>
                  <a:gd name="T61" fmla="*/ 88 h 96"/>
                  <a:gd name="T62" fmla="*/ 264 w 264"/>
                  <a:gd name="T63" fmla="*/ 88 h 96"/>
                  <a:gd name="T64" fmla="*/ 256 w 264"/>
                  <a:gd name="T65" fmla="*/ 80 h 96"/>
                  <a:gd name="T66" fmla="*/ 248 w 264"/>
                  <a:gd name="T67" fmla="*/ 64 h 96"/>
                  <a:gd name="T68" fmla="*/ 232 w 264"/>
                  <a:gd name="T69" fmla="*/ 56 h 96"/>
                  <a:gd name="T70" fmla="*/ 216 w 264"/>
                  <a:gd name="T71" fmla="*/ 48 h 96"/>
                  <a:gd name="T72" fmla="*/ 208 w 264"/>
                  <a:gd name="T73" fmla="*/ 48 h 96"/>
                  <a:gd name="T74" fmla="*/ 192 w 264"/>
                  <a:gd name="T75" fmla="*/ 48 h 96"/>
                  <a:gd name="T76" fmla="*/ 192 w 264"/>
                  <a:gd name="T77" fmla="*/ 48 h 96"/>
                  <a:gd name="T78" fmla="*/ 176 w 264"/>
                  <a:gd name="T79" fmla="*/ 40 h 96"/>
                  <a:gd name="T80" fmla="*/ 160 w 264"/>
                  <a:gd name="T81" fmla="*/ 24 h 96"/>
                  <a:gd name="T82" fmla="*/ 136 w 264"/>
                  <a:gd name="T83" fmla="*/ 16 h 96"/>
                  <a:gd name="T84" fmla="*/ 128 w 264"/>
                  <a:gd name="T85" fmla="*/ 8 h 96"/>
                  <a:gd name="T86" fmla="*/ 104 w 264"/>
                  <a:gd name="T87" fmla="*/ 8 h 96"/>
                  <a:gd name="T88" fmla="*/ 88 w 264"/>
                  <a:gd name="T89" fmla="*/ 0 h 96"/>
                  <a:gd name="T90" fmla="*/ 72 w 264"/>
                  <a:gd name="T91" fmla="*/ 0 h 96"/>
                  <a:gd name="T92" fmla="*/ 48 w 264"/>
                  <a:gd name="T93" fmla="*/ 8 h 96"/>
                  <a:gd name="T94" fmla="*/ 40 w 264"/>
                  <a:gd name="T95" fmla="*/ 16 h 96"/>
                  <a:gd name="T96" fmla="*/ 16 w 264"/>
                  <a:gd name="T9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4" h="96">
                    <a:moveTo>
                      <a:pt x="56" y="40"/>
                    </a:moveTo>
                    <a:lnTo>
                      <a:pt x="64" y="40"/>
                    </a:lnTo>
                    <a:lnTo>
                      <a:pt x="64" y="48"/>
                    </a:lnTo>
                    <a:lnTo>
                      <a:pt x="56" y="48"/>
                    </a:lnTo>
                    <a:lnTo>
                      <a:pt x="48" y="48"/>
                    </a:lnTo>
                    <a:lnTo>
                      <a:pt x="48" y="40"/>
                    </a:lnTo>
                    <a:lnTo>
                      <a:pt x="48" y="48"/>
                    </a:lnTo>
                    <a:lnTo>
                      <a:pt x="56" y="48"/>
                    </a:lnTo>
                    <a:lnTo>
                      <a:pt x="56" y="48"/>
                    </a:lnTo>
                    <a:lnTo>
                      <a:pt x="56" y="40"/>
                    </a:lnTo>
                    <a:lnTo>
                      <a:pt x="16" y="24"/>
                    </a:lnTo>
                    <a:lnTo>
                      <a:pt x="24" y="32"/>
                    </a:lnTo>
                    <a:lnTo>
                      <a:pt x="16" y="32"/>
                    </a:lnTo>
                    <a:lnTo>
                      <a:pt x="8" y="40"/>
                    </a:lnTo>
                    <a:lnTo>
                      <a:pt x="0" y="32"/>
                    </a:lnTo>
                    <a:lnTo>
                      <a:pt x="0" y="40"/>
                    </a:lnTo>
                    <a:lnTo>
                      <a:pt x="8" y="40"/>
                    </a:lnTo>
                    <a:lnTo>
                      <a:pt x="16" y="32"/>
                    </a:lnTo>
                    <a:lnTo>
                      <a:pt x="16" y="40"/>
                    </a:lnTo>
                    <a:lnTo>
                      <a:pt x="24" y="40"/>
                    </a:lnTo>
                    <a:lnTo>
                      <a:pt x="32" y="32"/>
                    </a:lnTo>
                    <a:lnTo>
                      <a:pt x="40" y="32"/>
                    </a:lnTo>
                    <a:lnTo>
                      <a:pt x="40" y="24"/>
                    </a:lnTo>
                    <a:lnTo>
                      <a:pt x="40" y="32"/>
                    </a:lnTo>
                    <a:lnTo>
                      <a:pt x="48" y="32"/>
                    </a:lnTo>
                    <a:lnTo>
                      <a:pt x="56" y="24"/>
                    </a:lnTo>
                    <a:lnTo>
                      <a:pt x="56" y="16"/>
                    </a:lnTo>
                    <a:lnTo>
                      <a:pt x="64" y="16"/>
                    </a:lnTo>
                    <a:lnTo>
                      <a:pt x="72" y="16"/>
                    </a:lnTo>
                    <a:lnTo>
                      <a:pt x="80" y="16"/>
                    </a:lnTo>
                    <a:lnTo>
                      <a:pt x="88" y="24"/>
                    </a:lnTo>
                    <a:lnTo>
                      <a:pt x="80" y="24"/>
                    </a:lnTo>
                    <a:lnTo>
                      <a:pt x="72" y="24"/>
                    </a:lnTo>
                    <a:lnTo>
                      <a:pt x="80" y="32"/>
                    </a:lnTo>
                    <a:lnTo>
                      <a:pt x="96" y="32"/>
                    </a:lnTo>
                    <a:lnTo>
                      <a:pt x="104" y="32"/>
                    </a:lnTo>
                    <a:lnTo>
                      <a:pt x="112" y="32"/>
                    </a:lnTo>
                    <a:lnTo>
                      <a:pt x="120" y="32"/>
                    </a:lnTo>
                    <a:lnTo>
                      <a:pt x="128" y="40"/>
                    </a:lnTo>
                    <a:lnTo>
                      <a:pt x="136" y="40"/>
                    </a:lnTo>
                    <a:lnTo>
                      <a:pt x="144" y="48"/>
                    </a:lnTo>
                    <a:lnTo>
                      <a:pt x="152" y="48"/>
                    </a:lnTo>
                    <a:lnTo>
                      <a:pt x="160" y="40"/>
                    </a:lnTo>
                    <a:lnTo>
                      <a:pt x="160" y="48"/>
                    </a:lnTo>
                    <a:lnTo>
                      <a:pt x="160" y="56"/>
                    </a:lnTo>
                    <a:lnTo>
                      <a:pt x="168" y="72"/>
                    </a:lnTo>
                    <a:lnTo>
                      <a:pt x="176" y="72"/>
                    </a:lnTo>
                    <a:lnTo>
                      <a:pt x="176" y="64"/>
                    </a:lnTo>
                    <a:lnTo>
                      <a:pt x="184" y="72"/>
                    </a:lnTo>
                    <a:lnTo>
                      <a:pt x="192" y="72"/>
                    </a:lnTo>
                    <a:lnTo>
                      <a:pt x="200" y="72"/>
                    </a:lnTo>
                    <a:lnTo>
                      <a:pt x="192" y="80"/>
                    </a:lnTo>
                    <a:lnTo>
                      <a:pt x="184" y="88"/>
                    </a:lnTo>
                    <a:lnTo>
                      <a:pt x="184" y="96"/>
                    </a:lnTo>
                    <a:lnTo>
                      <a:pt x="192" y="96"/>
                    </a:lnTo>
                    <a:lnTo>
                      <a:pt x="192" y="88"/>
                    </a:lnTo>
                    <a:lnTo>
                      <a:pt x="200" y="96"/>
                    </a:lnTo>
                    <a:lnTo>
                      <a:pt x="208" y="88"/>
                    </a:lnTo>
                    <a:lnTo>
                      <a:pt x="216" y="88"/>
                    </a:lnTo>
                    <a:lnTo>
                      <a:pt x="224" y="96"/>
                    </a:lnTo>
                    <a:lnTo>
                      <a:pt x="240" y="88"/>
                    </a:lnTo>
                    <a:lnTo>
                      <a:pt x="248" y="88"/>
                    </a:lnTo>
                    <a:lnTo>
                      <a:pt x="256" y="88"/>
                    </a:lnTo>
                    <a:lnTo>
                      <a:pt x="264" y="88"/>
                    </a:lnTo>
                    <a:lnTo>
                      <a:pt x="264" y="80"/>
                    </a:lnTo>
                    <a:lnTo>
                      <a:pt x="256" y="80"/>
                    </a:lnTo>
                    <a:lnTo>
                      <a:pt x="256" y="72"/>
                    </a:lnTo>
                    <a:lnTo>
                      <a:pt x="248" y="64"/>
                    </a:lnTo>
                    <a:lnTo>
                      <a:pt x="232" y="64"/>
                    </a:lnTo>
                    <a:lnTo>
                      <a:pt x="232" y="56"/>
                    </a:lnTo>
                    <a:lnTo>
                      <a:pt x="224" y="56"/>
                    </a:lnTo>
                    <a:lnTo>
                      <a:pt x="216" y="48"/>
                    </a:lnTo>
                    <a:lnTo>
                      <a:pt x="208" y="56"/>
                    </a:lnTo>
                    <a:lnTo>
                      <a:pt x="208" y="48"/>
                    </a:lnTo>
                    <a:lnTo>
                      <a:pt x="200" y="48"/>
                    </a:lnTo>
                    <a:lnTo>
                      <a:pt x="192" y="48"/>
                    </a:lnTo>
                    <a:lnTo>
                      <a:pt x="192" y="40"/>
                    </a:lnTo>
                    <a:lnTo>
                      <a:pt x="192" y="48"/>
                    </a:lnTo>
                    <a:lnTo>
                      <a:pt x="184" y="40"/>
                    </a:lnTo>
                    <a:lnTo>
                      <a:pt x="176" y="40"/>
                    </a:lnTo>
                    <a:lnTo>
                      <a:pt x="168" y="32"/>
                    </a:lnTo>
                    <a:lnTo>
                      <a:pt x="160" y="24"/>
                    </a:lnTo>
                    <a:lnTo>
                      <a:pt x="144" y="24"/>
                    </a:lnTo>
                    <a:lnTo>
                      <a:pt x="136" y="16"/>
                    </a:lnTo>
                    <a:lnTo>
                      <a:pt x="128" y="16"/>
                    </a:lnTo>
                    <a:lnTo>
                      <a:pt x="128" y="8"/>
                    </a:lnTo>
                    <a:lnTo>
                      <a:pt x="112" y="8"/>
                    </a:lnTo>
                    <a:lnTo>
                      <a:pt x="104" y="8"/>
                    </a:lnTo>
                    <a:lnTo>
                      <a:pt x="96" y="8"/>
                    </a:lnTo>
                    <a:lnTo>
                      <a:pt x="88" y="0"/>
                    </a:lnTo>
                    <a:lnTo>
                      <a:pt x="80" y="0"/>
                    </a:lnTo>
                    <a:lnTo>
                      <a:pt x="72" y="0"/>
                    </a:lnTo>
                    <a:lnTo>
                      <a:pt x="64" y="8"/>
                    </a:lnTo>
                    <a:lnTo>
                      <a:pt x="48" y="8"/>
                    </a:lnTo>
                    <a:lnTo>
                      <a:pt x="40" y="8"/>
                    </a:lnTo>
                    <a:lnTo>
                      <a:pt x="40" y="16"/>
                    </a:lnTo>
                    <a:lnTo>
                      <a:pt x="24" y="16"/>
                    </a:lnTo>
                    <a:lnTo>
                      <a:pt x="16" y="24"/>
                    </a:lnTo>
                    <a:lnTo>
                      <a:pt x="56" y="40"/>
                    </a:lnTo>
                    <a:close/>
                  </a:path>
                </a:pathLst>
              </a:custGeom>
              <a:grpFill/>
              <a:ln w="9525">
                <a:noFill/>
                <a:round/>
                <a:headEnd/>
                <a:tailEnd/>
              </a:ln>
            </p:spPr>
            <p:txBody>
              <a:bodyPr/>
              <a:lstStyle/>
              <a:p>
                <a:endParaRPr lang="en-US">
                  <a:solidFill>
                    <a:srgbClr val="000000"/>
                  </a:solidFill>
                </a:endParaRPr>
              </a:p>
            </p:txBody>
          </p:sp>
          <p:sp>
            <p:nvSpPr>
              <p:cNvPr id="1297" name="Freeform 315"/>
              <p:cNvSpPr>
                <a:spLocks/>
              </p:cNvSpPr>
              <p:nvPr/>
            </p:nvSpPr>
            <p:spPr bwMode="auto">
              <a:xfrm>
                <a:off x="5226957" y="5818716"/>
                <a:ext cx="30238" cy="30238"/>
              </a:xfrm>
              <a:custGeom>
                <a:avLst/>
                <a:gdLst>
                  <a:gd name="T0" fmla="*/ 8 w 16"/>
                  <a:gd name="T1" fmla="*/ 8 h 16"/>
                  <a:gd name="T2" fmla="*/ 8 w 16"/>
                  <a:gd name="T3" fmla="*/ 0 h 16"/>
                  <a:gd name="T4" fmla="*/ 8 w 16"/>
                  <a:gd name="T5" fmla="*/ 0 h 16"/>
                  <a:gd name="T6" fmla="*/ 16 w 16"/>
                  <a:gd name="T7" fmla="*/ 8 h 16"/>
                  <a:gd name="T8" fmla="*/ 16 w 16"/>
                  <a:gd name="T9" fmla="*/ 16 h 16"/>
                  <a:gd name="T10" fmla="*/ 8 w 16"/>
                  <a:gd name="T11" fmla="*/ 16 h 16"/>
                  <a:gd name="T12" fmla="*/ 0 w 16"/>
                  <a:gd name="T13" fmla="*/ 16 h 16"/>
                  <a:gd name="T14" fmla="*/ 0 w 16"/>
                  <a:gd name="T15" fmla="*/ 8 h 16"/>
                  <a:gd name="T16" fmla="*/ 0 w 16"/>
                  <a:gd name="T17" fmla="*/ 16 h 16"/>
                  <a:gd name="T18" fmla="*/ 8 w 16"/>
                  <a:gd name="T19" fmla="*/ 16 h 16"/>
                  <a:gd name="T20" fmla="*/ 8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8" y="8"/>
                    </a:moveTo>
                    <a:lnTo>
                      <a:pt x="8" y="0"/>
                    </a:lnTo>
                    <a:lnTo>
                      <a:pt x="8" y="0"/>
                    </a:lnTo>
                    <a:lnTo>
                      <a:pt x="16" y="8"/>
                    </a:lnTo>
                    <a:lnTo>
                      <a:pt x="16" y="16"/>
                    </a:lnTo>
                    <a:lnTo>
                      <a:pt x="8" y="16"/>
                    </a:lnTo>
                    <a:lnTo>
                      <a:pt x="0" y="16"/>
                    </a:lnTo>
                    <a:lnTo>
                      <a:pt x="0" y="8"/>
                    </a:lnTo>
                    <a:lnTo>
                      <a:pt x="0" y="16"/>
                    </a:lnTo>
                    <a:lnTo>
                      <a:pt x="8" y="16"/>
                    </a:lnTo>
                    <a:lnTo>
                      <a:pt x="8" y="16"/>
                    </a:lnTo>
                  </a:path>
                </a:pathLst>
              </a:custGeom>
              <a:grpFill/>
              <a:ln w="12700">
                <a:noFill/>
                <a:prstDash val="solid"/>
                <a:round/>
                <a:headEnd/>
                <a:tailEnd/>
              </a:ln>
            </p:spPr>
            <p:txBody>
              <a:bodyPr/>
              <a:lstStyle/>
              <a:p>
                <a:endParaRPr lang="en-US">
                  <a:solidFill>
                    <a:srgbClr val="000000"/>
                  </a:solidFill>
                </a:endParaRPr>
              </a:p>
            </p:txBody>
          </p:sp>
          <p:sp>
            <p:nvSpPr>
              <p:cNvPr id="1298" name="Freeform 316"/>
              <p:cNvSpPr>
                <a:spLocks/>
              </p:cNvSpPr>
              <p:nvPr/>
            </p:nvSpPr>
            <p:spPr bwMode="auto">
              <a:xfrm>
                <a:off x="5136243" y="5758240"/>
                <a:ext cx="498929" cy="181429"/>
              </a:xfrm>
              <a:custGeom>
                <a:avLst/>
                <a:gdLst>
                  <a:gd name="T0" fmla="*/ 24 w 264"/>
                  <a:gd name="T1" fmla="*/ 32 h 96"/>
                  <a:gd name="T2" fmla="*/ 8 w 264"/>
                  <a:gd name="T3" fmla="*/ 40 h 96"/>
                  <a:gd name="T4" fmla="*/ 0 w 264"/>
                  <a:gd name="T5" fmla="*/ 40 h 96"/>
                  <a:gd name="T6" fmla="*/ 16 w 264"/>
                  <a:gd name="T7" fmla="*/ 32 h 96"/>
                  <a:gd name="T8" fmla="*/ 24 w 264"/>
                  <a:gd name="T9" fmla="*/ 40 h 96"/>
                  <a:gd name="T10" fmla="*/ 40 w 264"/>
                  <a:gd name="T11" fmla="*/ 32 h 96"/>
                  <a:gd name="T12" fmla="*/ 40 w 264"/>
                  <a:gd name="T13" fmla="*/ 32 h 96"/>
                  <a:gd name="T14" fmla="*/ 56 w 264"/>
                  <a:gd name="T15" fmla="*/ 24 h 96"/>
                  <a:gd name="T16" fmla="*/ 64 w 264"/>
                  <a:gd name="T17" fmla="*/ 16 h 96"/>
                  <a:gd name="T18" fmla="*/ 80 w 264"/>
                  <a:gd name="T19" fmla="*/ 16 h 96"/>
                  <a:gd name="T20" fmla="*/ 80 w 264"/>
                  <a:gd name="T21" fmla="*/ 24 h 96"/>
                  <a:gd name="T22" fmla="*/ 80 w 264"/>
                  <a:gd name="T23" fmla="*/ 32 h 96"/>
                  <a:gd name="T24" fmla="*/ 104 w 264"/>
                  <a:gd name="T25" fmla="*/ 32 h 96"/>
                  <a:gd name="T26" fmla="*/ 120 w 264"/>
                  <a:gd name="T27" fmla="*/ 32 h 96"/>
                  <a:gd name="T28" fmla="*/ 136 w 264"/>
                  <a:gd name="T29" fmla="*/ 40 h 96"/>
                  <a:gd name="T30" fmla="*/ 152 w 264"/>
                  <a:gd name="T31" fmla="*/ 48 h 96"/>
                  <a:gd name="T32" fmla="*/ 160 w 264"/>
                  <a:gd name="T33" fmla="*/ 48 h 96"/>
                  <a:gd name="T34" fmla="*/ 168 w 264"/>
                  <a:gd name="T35" fmla="*/ 72 h 96"/>
                  <a:gd name="T36" fmla="*/ 176 w 264"/>
                  <a:gd name="T37" fmla="*/ 64 h 96"/>
                  <a:gd name="T38" fmla="*/ 192 w 264"/>
                  <a:gd name="T39" fmla="*/ 72 h 96"/>
                  <a:gd name="T40" fmla="*/ 192 w 264"/>
                  <a:gd name="T41" fmla="*/ 80 h 96"/>
                  <a:gd name="T42" fmla="*/ 184 w 264"/>
                  <a:gd name="T43" fmla="*/ 96 h 96"/>
                  <a:gd name="T44" fmla="*/ 192 w 264"/>
                  <a:gd name="T45" fmla="*/ 88 h 96"/>
                  <a:gd name="T46" fmla="*/ 208 w 264"/>
                  <a:gd name="T47" fmla="*/ 88 h 96"/>
                  <a:gd name="T48" fmla="*/ 224 w 264"/>
                  <a:gd name="T49" fmla="*/ 96 h 96"/>
                  <a:gd name="T50" fmla="*/ 248 w 264"/>
                  <a:gd name="T51" fmla="*/ 88 h 96"/>
                  <a:gd name="T52" fmla="*/ 264 w 264"/>
                  <a:gd name="T53" fmla="*/ 88 h 96"/>
                  <a:gd name="T54" fmla="*/ 256 w 264"/>
                  <a:gd name="T55" fmla="*/ 80 h 96"/>
                  <a:gd name="T56" fmla="*/ 248 w 264"/>
                  <a:gd name="T57" fmla="*/ 64 h 96"/>
                  <a:gd name="T58" fmla="*/ 232 w 264"/>
                  <a:gd name="T59" fmla="*/ 56 h 96"/>
                  <a:gd name="T60" fmla="*/ 216 w 264"/>
                  <a:gd name="T61" fmla="*/ 48 h 96"/>
                  <a:gd name="T62" fmla="*/ 208 w 264"/>
                  <a:gd name="T63" fmla="*/ 48 h 96"/>
                  <a:gd name="T64" fmla="*/ 192 w 264"/>
                  <a:gd name="T65" fmla="*/ 48 h 96"/>
                  <a:gd name="T66" fmla="*/ 192 w 264"/>
                  <a:gd name="T67" fmla="*/ 48 h 96"/>
                  <a:gd name="T68" fmla="*/ 176 w 264"/>
                  <a:gd name="T69" fmla="*/ 40 h 96"/>
                  <a:gd name="T70" fmla="*/ 160 w 264"/>
                  <a:gd name="T71" fmla="*/ 24 h 96"/>
                  <a:gd name="T72" fmla="*/ 136 w 264"/>
                  <a:gd name="T73" fmla="*/ 16 h 96"/>
                  <a:gd name="T74" fmla="*/ 128 w 264"/>
                  <a:gd name="T75" fmla="*/ 8 h 96"/>
                  <a:gd name="T76" fmla="*/ 104 w 264"/>
                  <a:gd name="T77" fmla="*/ 8 h 96"/>
                  <a:gd name="T78" fmla="*/ 88 w 264"/>
                  <a:gd name="T79" fmla="*/ 0 h 96"/>
                  <a:gd name="T80" fmla="*/ 72 w 264"/>
                  <a:gd name="T81" fmla="*/ 0 h 96"/>
                  <a:gd name="T82" fmla="*/ 48 w 264"/>
                  <a:gd name="T83" fmla="*/ 8 h 96"/>
                  <a:gd name="T84" fmla="*/ 40 w 264"/>
                  <a:gd name="T85" fmla="*/ 16 h 96"/>
                  <a:gd name="T86" fmla="*/ 16 w 264"/>
                  <a:gd name="T8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4" h="96">
                    <a:moveTo>
                      <a:pt x="16" y="24"/>
                    </a:moveTo>
                    <a:lnTo>
                      <a:pt x="24" y="32"/>
                    </a:lnTo>
                    <a:lnTo>
                      <a:pt x="16" y="32"/>
                    </a:lnTo>
                    <a:lnTo>
                      <a:pt x="8" y="40"/>
                    </a:lnTo>
                    <a:lnTo>
                      <a:pt x="0" y="32"/>
                    </a:lnTo>
                    <a:lnTo>
                      <a:pt x="0" y="40"/>
                    </a:lnTo>
                    <a:lnTo>
                      <a:pt x="8" y="40"/>
                    </a:lnTo>
                    <a:lnTo>
                      <a:pt x="16" y="32"/>
                    </a:lnTo>
                    <a:lnTo>
                      <a:pt x="16" y="40"/>
                    </a:lnTo>
                    <a:lnTo>
                      <a:pt x="24" y="40"/>
                    </a:lnTo>
                    <a:lnTo>
                      <a:pt x="32" y="32"/>
                    </a:lnTo>
                    <a:lnTo>
                      <a:pt x="40" y="32"/>
                    </a:lnTo>
                    <a:lnTo>
                      <a:pt x="40" y="24"/>
                    </a:lnTo>
                    <a:lnTo>
                      <a:pt x="40" y="32"/>
                    </a:lnTo>
                    <a:lnTo>
                      <a:pt x="48" y="32"/>
                    </a:lnTo>
                    <a:lnTo>
                      <a:pt x="56" y="24"/>
                    </a:lnTo>
                    <a:lnTo>
                      <a:pt x="56" y="16"/>
                    </a:lnTo>
                    <a:lnTo>
                      <a:pt x="64" y="16"/>
                    </a:lnTo>
                    <a:lnTo>
                      <a:pt x="72" y="16"/>
                    </a:lnTo>
                    <a:lnTo>
                      <a:pt x="80" y="16"/>
                    </a:lnTo>
                    <a:lnTo>
                      <a:pt x="88" y="24"/>
                    </a:lnTo>
                    <a:lnTo>
                      <a:pt x="80" y="24"/>
                    </a:lnTo>
                    <a:lnTo>
                      <a:pt x="72" y="24"/>
                    </a:lnTo>
                    <a:lnTo>
                      <a:pt x="80" y="32"/>
                    </a:lnTo>
                    <a:lnTo>
                      <a:pt x="96" y="32"/>
                    </a:lnTo>
                    <a:lnTo>
                      <a:pt x="104" y="32"/>
                    </a:lnTo>
                    <a:lnTo>
                      <a:pt x="112" y="32"/>
                    </a:lnTo>
                    <a:lnTo>
                      <a:pt x="120" y="32"/>
                    </a:lnTo>
                    <a:lnTo>
                      <a:pt x="128" y="40"/>
                    </a:lnTo>
                    <a:lnTo>
                      <a:pt x="136" y="40"/>
                    </a:lnTo>
                    <a:lnTo>
                      <a:pt x="144" y="48"/>
                    </a:lnTo>
                    <a:lnTo>
                      <a:pt x="152" y="48"/>
                    </a:lnTo>
                    <a:lnTo>
                      <a:pt x="160" y="40"/>
                    </a:lnTo>
                    <a:lnTo>
                      <a:pt x="160" y="48"/>
                    </a:lnTo>
                    <a:lnTo>
                      <a:pt x="160" y="56"/>
                    </a:lnTo>
                    <a:lnTo>
                      <a:pt x="168" y="72"/>
                    </a:lnTo>
                    <a:lnTo>
                      <a:pt x="176" y="72"/>
                    </a:lnTo>
                    <a:lnTo>
                      <a:pt x="176" y="64"/>
                    </a:lnTo>
                    <a:lnTo>
                      <a:pt x="184" y="72"/>
                    </a:lnTo>
                    <a:lnTo>
                      <a:pt x="192" y="72"/>
                    </a:lnTo>
                    <a:lnTo>
                      <a:pt x="200" y="72"/>
                    </a:lnTo>
                    <a:lnTo>
                      <a:pt x="192" y="80"/>
                    </a:lnTo>
                    <a:lnTo>
                      <a:pt x="184" y="88"/>
                    </a:lnTo>
                    <a:lnTo>
                      <a:pt x="184" y="96"/>
                    </a:lnTo>
                    <a:lnTo>
                      <a:pt x="192" y="96"/>
                    </a:lnTo>
                    <a:lnTo>
                      <a:pt x="192" y="88"/>
                    </a:lnTo>
                    <a:lnTo>
                      <a:pt x="200" y="96"/>
                    </a:lnTo>
                    <a:lnTo>
                      <a:pt x="208" y="88"/>
                    </a:lnTo>
                    <a:lnTo>
                      <a:pt x="216" y="88"/>
                    </a:lnTo>
                    <a:lnTo>
                      <a:pt x="224" y="96"/>
                    </a:lnTo>
                    <a:lnTo>
                      <a:pt x="240" y="88"/>
                    </a:lnTo>
                    <a:lnTo>
                      <a:pt x="248" y="88"/>
                    </a:lnTo>
                    <a:lnTo>
                      <a:pt x="256" y="88"/>
                    </a:lnTo>
                    <a:lnTo>
                      <a:pt x="264" y="88"/>
                    </a:lnTo>
                    <a:lnTo>
                      <a:pt x="264" y="80"/>
                    </a:lnTo>
                    <a:lnTo>
                      <a:pt x="256" y="80"/>
                    </a:lnTo>
                    <a:lnTo>
                      <a:pt x="256" y="72"/>
                    </a:lnTo>
                    <a:lnTo>
                      <a:pt x="248" y="64"/>
                    </a:lnTo>
                    <a:lnTo>
                      <a:pt x="232" y="64"/>
                    </a:lnTo>
                    <a:lnTo>
                      <a:pt x="232" y="56"/>
                    </a:lnTo>
                    <a:lnTo>
                      <a:pt x="224" y="56"/>
                    </a:lnTo>
                    <a:lnTo>
                      <a:pt x="216" y="48"/>
                    </a:lnTo>
                    <a:lnTo>
                      <a:pt x="208" y="56"/>
                    </a:lnTo>
                    <a:lnTo>
                      <a:pt x="208" y="48"/>
                    </a:lnTo>
                    <a:lnTo>
                      <a:pt x="200" y="48"/>
                    </a:lnTo>
                    <a:lnTo>
                      <a:pt x="192" y="48"/>
                    </a:lnTo>
                    <a:lnTo>
                      <a:pt x="192" y="40"/>
                    </a:lnTo>
                    <a:lnTo>
                      <a:pt x="192" y="48"/>
                    </a:lnTo>
                    <a:lnTo>
                      <a:pt x="184" y="40"/>
                    </a:lnTo>
                    <a:lnTo>
                      <a:pt x="176" y="40"/>
                    </a:lnTo>
                    <a:lnTo>
                      <a:pt x="168" y="32"/>
                    </a:lnTo>
                    <a:lnTo>
                      <a:pt x="160" y="24"/>
                    </a:lnTo>
                    <a:lnTo>
                      <a:pt x="144" y="24"/>
                    </a:lnTo>
                    <a:lnTo>
                      <a:pt x="136" y="16"/>
                    </a:lnTo>
                    <a:lnTo>
                      <a:pt x="128" y="16"/>
                    </a:lnTo>
                    <a:lnTo>
                      <a:pt x="128" y="8"/>
                    </a:lnTo>
                    <a:lnTo>
                      <a:pt x="112" y="8"/>
                    </a:lnTo>
                    <a:lnTo>
                      <a:pt x="104" y="8"/>
                    </a:lnTo>
                    <a:lnTo>
                      <a:pt x="96" y="8"/>
                    </a:lnTo>
                    <a:lnTo>
                      <a:pt x="88" y="0"/>
                    </a:lnTo>
                    <a:lnTo>
                      <a:pt x="80" y="0"/>
                    </a:lnTo>
                    <a:lnTo>
                      <a:pt x="72" y="0"/>
                    </a:lnTo>
                    <a:lnTo>
                      <a:pt x="64" y="8"/>
                    </a:lnTo>
                    <a:lnTo>
                      <a:pt x="48" y="8"/>
                    </a:lnTo>
                    <a:lnTo>
                      <a:pt x="40" y="8"/>
                    </a:lnTo>
                    <a:lnTo>
                      <a:pt x="40" y="16"/>
                    </a:lnTo>
                    <a:lnTo>
                      <a:pt x="24" y="16"/>
                    </a:lnTo>
                    <a:lnTo>
                      <a:pt x="16" y="24"/>
                    </a:lnTo>
                    <a:close/>
                  </a:path>
                </a:pathLst>
              </a:custGeom>
              <a:grpFill/>
              <a:ln w="12700">
                <a:noFill/>
                <a:prstDash val="solid"/>
                <a:round/>
                <a:headEnd/>
                <a:tailEnd/>
              </a:ln>
            </p:spPr>
            <p:txBody>
              <a:bodyPr/>
              <a:lstStyle/>
              <a:p>
                <a:endParaRPr lang="en-US">
                  <a:solidFill>
                    <a:srgbClr val="000000"/>
                  </a:solidFill>
                </a:endParaRPr>
              </a:p>
            </p:txBody>
          </p:sp>
          <p:sp>
            <p:nvSpPr>
              <p:cNvPr id="1299" name="Freeform 317"/>
              <p:cNvSpPr>
                <a:spLocks/>
              </p:cNvSpPr>
              <p:nvPr/>
            </p:nvSpPr>
            <p:spPr bwMode="auto">
              <a:xfrm>
                <a:off x="5453743" y="5561692"/>
                <a:ext cx="257024" cy="317500"/>
              </a:xfrm>
              <a:custGeom>
                <a:avLst/>
                <a:gdLst>
                  <a:gd name="T0" fmla="*/ 120 w 136"/>
                  <a:gd name="T1" fmla="*/ 168 h 168"/>
                  <a:gd name="T2" fmla="*/ 120 w 136"/>
                  <a:gd name="T3" fmla="*/ 160 h 168"/>
                  <a:gd name="T4" fmla="*/ 112 w 136"/>
                  <a:gd name="T5" fmla="*/ 168 h 168"/>
                  <a:gd name="T6" fmla="*/ 136 w 136"/>
                  <a:gd name="T7" fmla="*/ 128 h 168"/>
                  <a:gd name="T8" fmla="*/ 128 w 136"/>
                  <a:gd name="T9" fmla="*/ 128 h 168"/>
                  <a:gd name="T10" fmla="*/ 112 w 136"/>
                  <a:gd name="T11" fmla="*/ 120 h 168"/>
                  <a:gd name="T12" fmla="*/ 104 w 136"/>
                  <a:gd name="T13" fmla="*/ 128 h 168"/>
                  <a:gd name="T14" fmla="*/ 104 w 136"/>
                  <a:gd name="T15" fmla="*/ 128 h 168"/>
                  <a:gd name="T16" fmla="*/ 112 w 136"/>
                  <a:gd name="T17" fmla="*/ 120 h 168"/>
                  <a:gd name="T18" fmla="*/ 96 w 136"/>
                  <a:gd name="T19" fmla="*/ 112 h 168"/>
                  <a:gd name="T20" fmla="*/ 96 w 136"/>
                  <a:gd name="T21" fmla="*/ 120 h 168"/>
                  <a:gd name="T22" fmla="*/ 112 w 136"/>
                  <a:gd name="T23" fmla="*/ 168 h 168"/>
                  <a:gd name="T24" fmla="*/ 80 w 136"/>
                  <a:gd name="T25" fmla="*/ 104 h 168"/>
                  <a:gd name="T26" fmla="*/ 80 w 136"/>
                  <a:gd name="T27" fmla="*/ 112 h 168"/>
                  <a:gd name="T28" fmla="*/ 80 w 136"/>
                  <a:gd name="T29" fmla="*/ 96 h 168"/>
                  <a:gd name="T30" fmla="*/ 56 w 136"/>
                  <a:gd name="T31" fmla="*/ 88 h 168"/>
                  <a:gd name="T32" fmla="*/ 64 w 136"/>
                  <a:gd name="T33" fmla="*/ 96 h 168"/>
                  <a:gd name="T34" fmla="*/ 112 w 136"/>
                  <a:gd name="T35" fmla="*/ 168 h 168"/>
                  <a:gd name="T36" fmla="*/ 72 w 136"/>
                  <a:gd name="T37" fmla="*/ 72 h 168"/>
                  <a:gd name="T38" fmla="*/ 72 w 136"/>
                  <a:gd name="T39" fmla="*/ 88 h 168"/>
                  <a:gd name="T40" fmla="*/ 80 w 136"/>
                  <a:gd name="T41" fmla="*/ 80 h 168"/>
                  <a:gd name="T42" fmla="*/ 72 w 136"/>
                  <a:gd name="T43" fmla="*/ 64 h 168"/>
                  <a:gd name="T44" fmla="*/ 48 w 136"/>
                  <a:gd name="T45" fmla="*/ 48 h 168"/>
                  <a:gd name="T46" fmla="*/ 64 w 136"/>
                  <a:gd name="T47" fmla="*/ 56 h 168"/>
                  <a:gd name="T48" fmla="*/ 56 w 136"/>
                  <a:gd name="T49" fmla="*/ 64 h 168"/>
                  <a:gd name="T50" fmla="*/ 56 w 136"/>
                  <a:gd name="T51" fmla="*/ 56 h 168"/>
                  <a:gd name="T52" fmla="*/ 112 w 136"/>
                  <a:gd name="T53" fmla="*/ 168 h 168"/>
                  <a:gd name="T54" fmla="*/ 32 w 136"/>
                  <a:gd name="T55" fmla="*/ 0 h 168"/>
                  <a:gd name="T56" fmla="*/ 40 w 136"/>
                  <a:gd name="T57" fmla="*/ 16 h 168"/>
                  <a:gd name="T58" fmla="*/ 48 w 136"/>
                  <a:gd name="T59" fmla="*/ 24 h 168"/>
                  <a:gd name="T60" fmla="*/ 40 w 136"/>
                  <a:gd name="T61" fmla="*/ 32 h 168"/>
                  <a:gd name="T62" fmla="*/ 40 w 136"/>
                  <a:gd name="T63" fmla="*/ 16 h 168"/>
                  <a:gd name="T64" fmla="*/ 24 w 136"/>
                  <a:gd name="T65" fmla="*/ 8 h 168"/>
                  <a:gd name="T66" fmla="*/ 0 w 136"/>
                  <a:gd name="T67" fmla="*/ 8 h 168"/>
                  <a:gd name="T68" fmla="*/ 16 w 136"/>
                  <a:gd name="T69" fmla="*/ 8 h 168"/>
                  <a:gd name="T70" fmla="*/ 16 w 136"/>
                  <a:gd name="T71" fmla="*/ 8 h 168"/>
                  <a:gd name="T72" fmla="*/ 0 w 136"/>
                  <a:gd name="T73" fmla="*/ 16 h 168"/>
                  <a:gd name="T74" fmla="*/ 112 w 136"/>
                  <a:gd name="T75" fmla="*/ 168 h 168"/>
                  <a:gd name="T76" fmla="*/ 32 w 136"/>
                  <a:gd name="T77" fmla="*/ 56 h 168"/>
                  <a:gd name="T78" fmla="*/ 32 w 136"/>
                  <a:gd name="T79" fmla="*/ 56 h 168"/>
                  <a:gd name="T80" fmla="*/ 112 w 136"/>
                  <a:gd name="T81" fmla="*/ 168 h 168"/>
                  <a:gd name="T82" fmla="*/ 24 w 136"/>
                  <a:gd name="T83" fmla="*/ 72 h 168"/>
                  <a:gd name="T84" fmla="*/ 16 w 136"/>
                  <a:gd name="T85" fmla="*/ 56 h 168"/>
                  <a:gd name="T86" fmla="*/ 8 w 136"/>
                  <a:gd name="T87" fmla="*/ 72 h 168"/>
                  <a:gd name="T88" fmla="*/ 112 w 136"/>
                  <a:gd name="T89" fmla="*/ 168 h 168"/>
                  <a:gd name="T90" fmla="*/ 16 w 136"/>
                  <a:gd name="T91" fmla="*/ 80 h 168"/>
                  <a:gd name="T92" fmla="*/ 16 w 136"/>
                  <a:gd name="T93" fmla="*/ 96 h 168"/>
                  <a:gd name="T94" fmla="*/ 24 w 136"/>
                  <a:gd name="T95" fmla="*/ 88 h 168"/>
                  <a:gd name="T96" fmla="*/ 112 w 136"/>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68">
                    <a:moveTo>
                      <a:pt x="112" y="168"/>
                    </a:moveTo>
                    <a:lnTo>
                      <a:pt x="120" y="168"/>
                    </a:lnTo>
                    <a:lnTo>
                      <a:pt x="128" y="160"/>
                    </a:lnTo>
                    <a:lnTo>
                      <a:pt x="120" y="160"/>
                    </a:lnTo>
                    <a:lnTo>
                      <a:pt x="112" y="160"/>
                    </a:lnTo>
                    <a:lnTo>
                      <a:pt x="112" y="168"/>
                    </a:lnTo>
                    <a:lnTo>
                      <a:pt x="128" y="128"/>
                    </a:lnTo>
                    <a:lnTo>
                      <a:pt x="136" y="128"/>
                    </a:lnTo>
                    <a:lnTo>
                      <a:pt x="136" y="136"/>
                    </a:lnTo>
                    <a:lnTo>
                      <a:pt x="128" y="128"/>
                    </a:lnTo>
                    <a:lnTo>
                      <a:pt x="112" y="168"/>
                    </a:lnTo>
                    <a:lnTo>
                      <a:pt x="112" y="120"/>
                    </a:lnTo>
                    <a:lnTo>
                      <a:pt x="104" y="120"/>
                    </a:lnTo>
                    <a:lnTo>
                      <a:pt x="104" y="128"/>
                    </a:lnTo>
                    <a:lnTo>
                      <a:pt x="96" y="128"/>
                    </a:lnTo>
                    <a:lnTo>
                      <a:pt x="104" y="128"/>
                    </a:lnTo>
                    <a:lnTo>
                      <a:pt x="112" y="128"/>
                    </a:lnTo>
                    <a:lnTo>
                      <a:pt x="112" y="120"/>
                    </a:lnTo>
                    <a:lnTo>
                      <a:pt x="112" y="168"/>
                    </a:lnTo>
                    <a:lnTo>
                      <a:pt x="96" y="112"/>
                    </a:lnTo>
                    <a:lnTo>
                      <a:pt x="104" y="120"/>
                    </a:lnTo>
                    <a:lnTo>
                      <a:pt x="96" y="120"/>
                    </a:lnTo>
                    <a:lnTo>
                      <a:pt x="96" y="112"/>
                    </a:lnTo>
                    <a:lnTo>
                      <a:pt x="112" y="168"/>
                    </a:lnTo>
                    <a:lnTo>
                      <a:pt x="80" y="96"/>
                    </a:lnTo>
                    <a:lnTo>
                      <a:pt x="80" y="104"/>
                    </a:lnTo>
                    <a:lnTo>
                      <a:pt x="88" y="112"/>
                    </a:lnTo>
                    <a:lnTo>
                      <a:pt x="80" y="112"/>
                    </a:lnTo>
                    <a:lnTo>
                      <a:pt x="80" y="104"/>
                    </a:lnTo>
                    <a:lnTo>
                      <a:pt x="80" y="96"/>
                    </a:lnTo>
                    <a:lnTo>
                      <a:pt x="112" y="168"/>
                    </a:lnTo>
                    <a:lnTo>
                      <a:pt x="56" y="88"/>
                    </a:lnTo>
                    <a:lnTo>
                      <a:pt x="56" y="96"/>
                    </a:lnTo>
                    <a:lnTo>
                      <a:pt x="64" y="96"/>
                    </a:lnTo>
                    <a:lnTo>
                      <a:pt x="56" y="88"/>
                    </a:lnTo>
                    <a:lnTo>
                      <a:pt x="112" y="168"/>
                    </a:lnTo>
                    <a:lnTo>
                      <a:pt x="72" y="64"/>
                    </a:lnTo>
                    <a:lnTo>
                      <a:pt x="72" y="72"/>
                    </a:lnTo>
                    <a:lnTo>
                      <a:pt x="72" y="80"/>
                    </a:lnTo>
                    <a:lnTo>
                      <a:pt x="72" y="88"/>
                    </a:lnTo>
                    <a:lnTo>
                      <a:pt x="80" y="88"/>
                    </a:lnTo>
                    <a:lnTo>
                      <a:pt x="80" y="80"/>
                    </a:lnTo>
                    <a:lnTo>
                      <a:pt x="80" y="72"/>
                    </a:lnTo>
                    <a:lnTo>
                      <a:pt x="72" y="64"/>
                    </a:lnTo>
                    <a:lnTo>
                      <a:pt x="112" y="168"/>
                    </a:lnTo>
                    <a:lnTo>
                      <a:pt x="48" y="48"/>
                    </a:lnTo>
                    <a:lnTo>
                      <a:pt x="56" y="48"/>
                    </a:lnTo>
                    <a:lnTo>
                      <a:pt x="64" y="56"/>
                    </a:lnTo>
                    <a:lnTo>
                      <a:pt x="64" y="64"/>
                    </a:lnTo>
                    <a:lnTo>
                      <a:pt x="56" y="64"/>
                    </a:lnTo>
                    <a:lnTo>
                      <a:pt x="64" y="56"/>
                    </a:lnTo>
                    <a:lnTo>
                      <a:pt x="56" y="56"/>
                    </a:lnTo>
                    <a:lnTo>
                      <a:pt x="48" y="48"/>
                    </a:lnTo>
                    <a:lnTo>
                      <a:pt x="112" y="168"/>
                    </a:lnTo>
                    <a:lnTo>
                      <a:pt x="24" y="8"/>
                    </a:lnTo>
                    <a:lnTo>
                      <a:pt x="32" y="0"/>
                    </a:lnTo>
                    <a:lnTo>
                      <a:pt x="40" y="8"/>
                    </a:lnTo>
                    <a:lnTo>
                      <a:pt x="40" y="16"/>
                    </a:lnTo>
                    <a:lnTo>
                      <a:pt x="48" y="16"/>
                    </a:lnTo>
                    <a:lnTo>
                      <a:pt x="48" y="24"/>
                    </a:lnTo>
                    <a:lnTo>
                      <a:pt x="40" y="24"/>
                    </a:lnTo>
                    <a:lnTo>
                      <a:pt x="40" y="32"/>
                    </a:lnTo>
                    <a:lnTo>
                      <a:pt x="40" y="24"/>
                    </a:lnTo>
                    <a:lnTo>
                      <a:pt x="40" y="16"/>
                    </a:lnTo>
                    <a:lnTo>
                      <a:pt x="32" y="8"/>
                    </a:lnTo>
                    <a:lnTo>
                      <a:pt x="24" y="8"/>
                    </a:lnTo>
                    <a:lnTo>
                      <a:pt x="112" y="168"/>
                    </a:lnTo>
                    <a:lnTo>
                      <a:pt x="0" y="8"/>
                    </a:lnTo>
                    <a:lnTo>
                      <a:pt x="8" y="8"/>
                    </a:lnTo>
                    <a:lnTo>
                      <a:pt x="16" y="8"/>
                    </a:lnTo>
                    <a:lnTo>
                      <a:pt x="24" y="8"/>
                    </a:lnTo>
                    <a:lnTo>
                      <a:pt x="16" y="8"/>
                    </a:lnTo>
                    <a:lnTo>
                      <a:pt x="8" y="16"/>
                    </a:lnTo>
                    <a:lnTo>
                      <a:pt x="0" y="16"/>
                    </a:lnTo>
                    <a:lnTo>
                      <a:pt x="0" y="8"/>
                    </a:lnTo>
                    <a:lnTo>
                      <a:pt x="112" y="168"/>
                    </a:lnTo>
                    <a:lnTo>
                      <a:pt x="24" y="56"/>
                    </a:lnTo>
                    <a:lnTo>
                      <a:pt x="32" y="56"/>
                    </a:lnTo>
                    <a:lnTo>
                      <a:pt x="40" y="56"/>
                    </a:lnTo>
                    <a:lnTo>
                      <a:pt x="32" y="56"/>
                    </a:lnTo>
                    <a:lnTo>
                      <a:pt x="24" y="56"/>
                    </a:lnTo>
                    <a:lnTo>
                      <a:pt x="112" y="168"/>
                    </a:lnTo>
                    <a:lnTo>
                      <a:pt x="16" y="72"/>
                    </a:lnTo>
                    <a:lnTo>
                      <a:pt x="24" y="72"/>
                    </a:lnTo>
                    <a:lnTo>
                      <a:pt x="16" y="64"/>
                    </a:lnTo>
                    <a:lnTo>
                      <a:pt x="16" y="56"/>
                    </a:lnTo>
                    <a:lnTo>
                      <a:pt x="8" y="64"/>
                    </a:lnTo>
                    <a:lnTo>
                      <a:pt x="8" y="72"/>
                    </a:lnTo>
                    <a:lnTo>
                      <a:pt x="16" y="72"/>
                    </a:lnTo>
                    <a:lnTo>
                      <a:pt x="112" y="168"/>
                    </a:lnTo>
                    <a:lnTo>
                      <a:pt x="24" y="80"/>
                    </a:lnTo>
                    <a:lnTo>
                      <a:pt x="16" y="80"/>
                    </a:lnTo>
                    <a:lnTo>
                      <a:pt x="16" y="88"/>
                    </a:lnTo>
                    <a:lnTo>
                      <a:pt x="16" y="96"/>
                    </a:lnTo>
                    <a:lnTo>
                      <a:pt x="24" y="96"/>
                    </a:lnTo>
                    <a:lnTo>
                      <a:pt x="24" y="88"/>
                    </a:lnTo>
                    <a:lnTo>
                      <a:pt x="24" y="80"/>
                    </a:lnTo>
                    <a:lnTo>
                      <a:pt x="112" y="168"/>
                    </a:lnTo>
                    <a:close/>
                  </a:path>
                </a:pathLst>
              </a:custGeom>
              <a:grpFill/>
              <a:ln w="9525">
                <a:noFill/>
                <a:round/>
                <a:headEnd/>
                <a:tailEnd/>
              </a:ln>
            </p:spPr>
            <p:txBody>
              <a:bodyPr/>
              <a:lstStyle/>
              <a:p>
                <a:endParaRPr lang="en-US">
                  <a:solidFill>
                    <a:srgbClr val="000000"/>
                  </a:solidFill>
                </a:endParaRPr>
              </a:p>
            </p:txBody>
          </p:sp>
          <p:sp>
            <p:nvSpPr>
              <p:cNvPr id="1300" name="Freeform 318"/>
              <p:cNvSpPr>
                <a:spLocks/>
              </p:cNvSpPr>
              <p:nvPr/>
            </p:nvSpPr>
            <p:spPr bwMode="auto">
              <a:xfrm>
                <a:off x="5665410" y="5864073"/>
                <a:ext cx="30238" cy="15119"/>
              </a:xfrm>
              <a:custGeom>
                <a:avLst/>
                <a:gdLst>
                  <a:gd name="T0" fmla="*/ 0 w 16"/>
                  <a:gd name="T1" fmla="*/ 8 h 8"/>
                  <a:gd name="T2" fmla="*/ 8 w 16"/>
                  <a:gd name="T3" fmla="*/ 8 h 8"/>
                  <a:gd name="T4" fmla="*/ 16 w 16"/>
                  <a:gd name="T5" fmla="*/ 0 h 8"/>
                  <a:gd name="T6" fmla="*/ 8 w 16"/>
                  <a:gd name="T7" fmla="*/ 0 h 8"/>
                  <a:gd name="T8" fmla="*/ 0 w 16"/>
                  <a:gd name="T9" fmla="*/ 0 h 8"/>
                  <a:gd name="T10" fmla="*/ 0 w 16"/>
                  <a:gd name="T11" fmla="*/ 8 h 8"/>
                </a:gdLst>
                <a:ahLst/>
                <a:cxnLst>
                  <a:cxn ang="0">
                    <a:pos x="T0" y="T1"/>
                  </a:cxn>
                  <a:cxn ang="0">
                    <a:pos x="T2" y="T3"/>
                  </a:cxn>
                  <a:cxn ang="0">
                    <a:pos x="T4" y="T5"/>
                  </a:cxn>
                  <a:cxn ang="0">
                    <a:pos x="T6" y="T7"/>
                  </a:cxn>
                  <a:cxn ang="0">
                    <a:pos x="T8" y="T9"/>
                  </a:cxn>
                  <a:cxn ang="0">
                    <a:pos x="T10" y="T11"/>
                  </a:cxn>
                </a:cxnLst>
                <a:rect l="0" t="0" r="r" b="b"/>
                <a:pathLst>
                  <a:path w="16" h="8">
                    <a:moveTo>
                      <a:pt x="0" y="8"/>
                    </a:moveTo>
                    <a:lnTo>
                      <a:pt x="8" y="8"/>
                    </a:lnTo>
                    <a:lnTo>
                      <a:pt x="16" y="0"/>
                    </a:lnTo>
                    <a:lnTo>
                      <a:pt x="8" y="0"/>
                    </a:ln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01" name="Freeform 319"/>
              <p:cNvSpPr>
                <a:spLocks/>
              </p:cNvSpPr>
              <p:nvPr/>
            </p:nvSpPr>
            <p:spPr bwMode="auto">
              <a:xfrm>
                <a:off x="5695648" y="5803597"/>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2" name="Freeform 320"/>
              <p:cNvSpPr>
                <a:spLocks/>
              </p:cNvSpPr>
              <p:nvPr/>
            </p:nvSpPr>
            <p:spPr bwMode="auto">
              <a:xfrm>
                <a:off x="5635171" y="5788478"/>
                <a:ext cx="30238" cy="15119"/>
              </a:xfrm>
              <a:custGeom>
                <a:avLst/>
                <a:gdLst>
                  <a:gd name="T0" fmla="*/ 16 w 16"/>
                  <a:gd name="T1" fmla="*/ 0 h 8"/>
                  <a:gd name="T2" fmla="*/ 8 w 16"/>
                  <a:gd name="T3" fmla="*/ 0 h 8"/>
                  <a:gd name="T4" fmla="*/ 8 w 16"/>
                  <a:gd name="T5" fmla="*/ 8 h 8"/>
                  <a:gd name="T6" fmla="*/ 0 w 16"/>
                  <a:gd name="T7" fmla="*/ 8 h 8"/>
                  <a:gd name="T8" fmla="*/ 8 w 16"/>
                  <a:gd name="T9" fmla="*/ 8 h 8"/>
                  <a:gd name="T10" fmla="*/ 16 w 16"/>
                  <a:gd name="T11" fmla="*/ 8 h 8"/>
                  <a:gd name="T12" fmla="*/ 16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16" y="0"/>
                    </a:moveTo>
                    <a:lnTo>
                      <a:pt x="8" y="0"/>
                    </a:lnTo>
                    <a:lnTo>
                      <a:pt x="8" y="8"/>
                    </a:lnTo>
                    <a:lnTo>
                      <a:pt x="0" y="8"/>
                    </a:lnTo>
                    <a:lnTo>
                      <a:pt x="8" y="8"/>
                    </a:lnTo>
                    <a:lnTo>
                      <a:pt x="16" y="8"/>
                    </a:lnTo>
                    <a:lnTo>
                      <a:pt x="16" y="0"/>
                    </a:lnTo>
                    <a:close/>
                  </a:path>
                </a:pathLst>
              </a:custGeom>
              <a:grpFill/>
              <a:ln w="12700">
                <a:noFill/>
                <a:prstDash val="solid"/>
                <a:round/>
                <a:headEnd/>
                <a:tailEnd/>
              </a:ln>
            </p:spPr>
            <p:txBody>
              <a:bodyPr/>
              <a:lstStyle/>
              <a:p>
                <a:endParaRPr lang="en-US">
                  <a:solidFill>
                    <a:srgbClr val="000000"/>
                  </a:solidFill>
                </a:endParaRPr>
              </a:p>
            </p:txBody>
          </p:sp>
          <p:sp>
            <p:nvSpPr>
              <p:cNvPr id="1303" name="Freeform 321"/>
              <p:cNvSpPr>
                <a:spLocks/>
              </p:cNvSpPr>
              <p:nvPr/>
            </p:nvSpPr>
            <p:spPr bwMode="auto">
              <a:xfrm>
                <a:off x="5635171" y="5773359"/>
                <a:ext cx="15119" cy="15119"/>
              </a:xfrm>
              <a:custGeom>
                <a:avLst/>
                <a:gdLst>
                  <a:gd name="T0" fmla="*/ 0 w 8"/>
                  <a:gd name="T1" fmla="*/ 0 h 8"/>
                  <a:gd name="T2" fmla="*/ 8 w 8"/>
                  <a:gd name="T3" fmla="*/ 8 h 8"/>
                  <a:gd name="T4" fmla="*/ 0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4" name="Freeform 322"/>
              <p:cNvSpPr>
                <a:spLocks/>
              </p:cNvSpPr>
              <p:nvPr/>
            </p:nvSpPr>
            <p:spPr bwMode="auto">
              <a:xfrm>
                <a:off x="5604933" y="5743121"/>
                <a:ext cx="15119" cy="30238"/>
              </a:xfrm>
              <a:custGeom>
                <a:avLst/>
                <a:gdLst>
                  <a:gd name="T0" fmla="*/ 0 w 8"/>
                  <a:gd name="T1" fmla="*/ 0 h 16"/>
                  <a:gd name="T2" fmla="*/ 0 w 8"/>
                  <a:gd name="T3" fmla="*/ 8 h 16"/>
                  <a:gd name="T4" fmla="*/ 8 w 8"/>
                  <a:gd name="T5" fmla="*/ 16 h 16"/>
                  <a:gd name="T6" fmla="*/ 0 w 8"/>
                  <a:gd name="T7" fmla="*/ 16 h 16"/>
                  <a:gd name="T8" fmla="*/ 0 w 8"/>
                  <a:gd name="T9" fmla="*/ 8 h 16"/>
                  <a:gd name="T10" fmla="*/ 0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0" y="0"/>
                    </a:moveTo>
                    <a:lnTo>
                      <a:pt x="0" y="8"/>
                    </a:lnTo>
                    <a:lnTo>
                      <a:pt x="8" y="16"/>
                    </a:lnTo>
                    <a:lnTo>
                      <a:pt x="0" y="16"/>
                    </a:ln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5" name="Freeform 323"/>
              <p:cNvSpPr>
                <a:spLocks/>
              </p:cNvSpPr>
              <p:nvPr/>
            </p:nvSpPr>
            <p:spPr bwMode="auto">
              <a:xfrm>
                <a:off x="5559576" y="5728001"/>
                <a:ext cx="15119" cy="15119"/>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6" name="Freeform 324"/>
              <p:cNvSpPr>
                <a:spLocks/>
              </p:cNvSpPr>
              <p:nvPr/>
            </p:nvSpPr>
            <p:spPr bwMode="auto">
              <a:xfrm>
                <a:off x="5635171" y="5712882"/>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7" name="Freeform 325"/>
              <p:cNvSpPr>
                <a:spLocks/>
              </p:cNvSpPr>
              <p:nvPr/>
            </p:nvSpPr>
            <p:spPr bwMode="auto">
              <a:xfrm>
                <a:off x="5589814" y="5682644"/>
                <a:ext cx="15119" cy="45357"/>
              </a:xfrm>
              <a:custGeom>
                <a:avLst/>
                <a:gdLst>
                  <a:gd name="T0" fmla="*/ 0 w 8"/>
                  <a:gd name="T1" fmla="*/ 0 h 24"/>
                  <a:gd name="T2" fmla="*/ 0 w 8"/>
                  <a:gd name="T3" fmla="*/ 8 h 24"/>
                  <a:gd name="T4" fmla="*/ 0 w 8"/>
                  <a:gd name="T5" fmla="*/ 16 h 24"/>
                  <a:gd name="T6" fmla="*/ 0 w 8"/>
                  <a:gd name="T7" fmla="*/ 24 h 24"/>
                  <a:gd name="T8" fmla="*/ 8 w 8"/>
                  <a:gd name="T9" fmla="*/ 24 h 24"/>
                  <a:gd name="T10" fmla="*/ 8 w 8"/>
                  <a:gd name="T11" fmla="*/ 16 h 24"/>
                  <a:gd name="T12" fmla="*/ 8 w 8"/>
                  <a:gd name="T13" fmla="*/ 8 h 24"/>
                  <a:gd name="T14" fmla="*/ 0 w 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4">
                    <a:moveTo>
                      <a:pt x="0" y="0"/>
                    </a:moveTo>
                    <a:lnTo>
                      <a:pt x="0" y="8"/>
                    </a:lnTo>
                    <a:lnTo>
                      <a:pt x="0" y="16"/>
                    </a:lnTo>
                    <a:lnTo>
                      <a:pt x="0" y="24"/>
                    </a:lnTo>
                    <a:lnTo>
                      <a:pt x="8" y="24"/>
                    </a:lnTo>
                    <a:lnTo>
                      <a:pt x="8" y="16"/>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8" name="Freeform 326"/>
              <p:cNvSpPr>
                <a:spLocks/>
              </p:cNvSpPr>
              <p:nvPr/>
            </p:nvSpPr>
            <p:spPr bwMode="auto">
              <a:xfrm>
                <a:off x="5544457" y="5652406"/>
                <a:ext cx="30238" cy="30238"/>
              </a:xfrm>
              <a:custGeom>
                <a:avLst/>
                <a:gdLst>
                  <a:gd name="T0" fmla="*/ 0 w 16"/>
                  <a:gd name="T1" fmla="*/ 0 h 16"/>
                  <a:gd name="T2" fmla="*/ 8 w 16"/>
                  <a:gd name="T3" fmla="*/ 0 h 16"/>
                  <a:gd name="T4" fmla="*/ 16 w 16"/>
                  <a:gd name="T5" fmla="*/ 8 h 16"/>
                  <a:gd name="T6" fmla="*/ 16 w 16"/>
                  <a:gd name="T7" fmla="*/ 16 h 16"/>
                  <a:gd name="T8" fmla="*/ 8 w 16"/>
                  <a:gd name="T9" fmla="*/ 16 h 16"/>
                  <a:gd name="T10" fmla="*/ 16 w 16"/>
                  <a:gd name="T11" fmla="*/ 8 h 16"/>
                  <a:gd name="T12" fmla="*/ 8 w 16"/>
                  <a:gd name="T13" fmla="*/ 8 h 16"/>
                  <a:gd name="T14" fmla="*/ 0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0" y="0"/>
                    </a:moveTo>
                    <a:lnTo>
                      <a:pt x="8" y="0"/>
                    </a:lnTo>
                    <a:lnTo>
                      <a:pt x="16" y="8"/>
                    </a:lnTo>
                    <a:lnTo>
                      <a:pt x="16" y="16"/>
                    </a:lnTo>
                    <a:lnTo>
                      <a:pt x="8" y="16"/>
                    </a:lnTo>
                    <a:lnTo>
                      <a:pt x="16"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09" name="Freeform 327"/>
              <p:cNvSpPr>
                <a:spLocks/>
              </p:cNvSpPr>
              <p:nvPr/>
            </p:nvSpPr>
            <p:spPr bwMode="auto">
              <a:xfrm>
                <a:off x="5499100" y="5561692"/>
                <a:ext cx="45357" cy="60476"/>
              </a:xfrm>
              <a:custGeom>
                <a:avLst/>
                <a:gdLst>
                  <a:gd name="T0" fmla="*/ 0 w 24"/>
                  <a:gd name="T1" fmla="*/ 8 h 32"/>
                  <a:gd name="T2" fmla="*/ 8 w 24"/>
                  <a:gd name="T3" fmla="*/ 0 h 32"/>
                  <a:gd name="T4" fmla="*/ 16 w 24"/>
                  <a:gd name="T5" fmla="*/ 8 h 32"/>
                  <a:gd name="T6" fmla="*/ 16 w 24"/>
                  <a:gd name="T7" fmla="*/ 16 h 32"/>
                  <a:gd name="T8" fmla="*/ 24 w 24"/>
                  <a:gd name="T9" fmla="*/ 16 h 32"/>
                  <a:gd name="T10" fmla="*/ 24 w 24"/>
                  <a:gd name="T11" fmla="*/ 24 h 32"/>
                  <a:gd name="T12" fmla="*/ 16 w 24"/>
                  <a:gd name="T13" fmla="*/ 24 h 32"/>
                  <a:gd name="T14" fmla="*/ 16 w 24"/>
                  <a:gd name="T15" fmla="*/ 32 h 32"/>
                  <a:gd name="T16" fmla="*/ 16 w 24"/>
                  <a:gd name="T17" fmla="*/ 24 h 32"/>
                  <a:gd name="T18" fmla="*/ 16 w 24"/>
                  <a:gd name="T19" fmla="*/ 16 h 32"/>
                  <a:gd name="T20" fmla="*/ 8 w 24"/>
                  <a:gd name="T21" fmla="*/ 8 h 32"/>
                  <a:gd name="T22" fmla="*/ 0 w 24"/>
                  <a:gd name="T2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2">
                    <a:moveTo>
                      <a:pt x="0" y="8"/>
                    </a:moveTo>
                    <a:lnTo>
                      <a:pt x="8" y="0"/>
                    </a:lnTo>
                    <a:lnTo>
                      <a:pt x="16" y="8"/>
                    </a:lnTo>
                    <a:lnTo>
                      <a:pt x="16" y="16"/>
                    </a:lnTo>
                    <a:lnTo>
                      <a:pt x="24" y="16"/>
                    </a:lnTo>
                    <a:lnTo>
                      <a:pt x="24" y="24"/>
                    </a:lnTo>
                    <a:lnTo>
                      <a:pt x="16" y="24"/>
                    </a:lnTo>
                    <a:lnTo>
                      <a:pt x="16" y="32"/>
                    </a:lnTo>
                    <a:lnTo>
                      <a:pt x="16" y="24"/>
                    </a:lnTo>
                    <a:lnTo>
                      <a:pt x="16" y="16"/>
                    </a:lnTo>
                    <a:lnTo>
                      <a:pt x="8" y="8"/>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10" name="Freeform 328"/>
              <p:cNvSpPr>
                <a:spLocks/>
              </p:cNvSpPr>
              <p:nvPr/>
            </p:nvSpPr>
            <p:spPr bwMode="auto">
              <a:xfrm>
                <a:off x="5453743" y="5576811"/>
                <a:ext cx="45357" cy="15119"/>
              </a:xfrm>
              <a:custGeom>
                <a:avLst/>
                <a:gdLst>
                  <a:gd name="T0" fmla="*/ 0 w 24"/>
                  <a:gd name="T1" fmla="*/ 0 h 8"/>
                  <a:gd name="T2" fmla="*/ 8 w 24"/>
                  <a:gd name="T3" fmla="*/ 0 h 8"/>
                  <a:gd name="T4" fmla="*/ 16 w 24"/>
                  <a:gd name="T5" fmla="*/ 0 h 8"/>
                  <a:gd name="T6" fmla="*/ 24 w 24"/>
                  <a:gd name="T7" fmla="*/ 0 h 8"/>
                  <a:gd name="T8" fmla="*/ 16 w 24"/>
                  <a:gd name="T9" fmla="*/ 0 h 8"/>
                  <a:gd name="T10" fmla="*/ 8 w 24"/>
                  <a:gd name="T11" fmla="*/ 8 h 8"/>
                  <a:gd name="T12" fmla="*/ 0 w 24"/>
                  <a:gd name="T13" fmla="*/ 8 h 8"/>
                  <a:gd name="T14" fmla="*/ 0 w 2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8">
                    <a:moveTo>
                      <a:pt x="0" y="0"/>
                    </a:moveTo>
                    <a:lnTo>
                      <a:pt x="8" y="0"/>
                    </a:lnTo>
                    <a:lnTo>
                      <a:pt x="16" y="0"/>
                    </a:lnTo>
                    <a:lnTo>
                      <a:pt x="24" y="0"/>
                    </a:lnTo>
                    <a:lnTo>
                      <a:pt x="16" y="0"/>
                    </a:lnTo>
                    <a:lnTo>
                      <a:pt x="8" y="8"/>
                    </a:ln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11" name="Freeform 329"/>
              <p:cNvSpPr>
                <a:spLocks/>
              </p:cNvSpPr>
              <p:nvPr/>
            </p:nvSpPr>
            <p:spPr bwMode="auto">
              <a:xfrm>
                <a:off x="5499100" y="5667525"/>
                <a:ext cx="30238" cy="1890"/>
              </a:xfrm>
              <a:custGeom>
                <a:avLst/>
                <a:gdLst>
                  <a:gd name="T0" fmla="*/ 0 w 16"/>
                  <a:gd name="T1" fmla="*/ 8 w 16"/>
                  <a:gd name="T2" fmla="*/ 16 w 16"/>
                  <a:gd name="T3" fmla="*/ 8 w 16"/>
                  <a:gd name="T4" fmla="*/ 0 w 16"/>
                </a:gdLst>
                <a:ahLst/>
                <a:cxnLst>
                  <a:cxn ang="0">
                    <a:pos x="T0" y="0"/>
                  </a:cxn>
                  <a:cxn ang="0">
                    <a:pos x="T1" y="0"/>
                  </a:cxn>
                  <a:cxn ang="0">
                    <a:pos x="T2" y="0"/>
                  </a:cxn>
                  <a:cxn ang="0">
                    <a:pos x="T3" y="0"/>
                  </a:cxn>
                  <a:cxn ang="0">
                    <a:pos x="T4" y="0"/>
                  </a:cxn>
                </a:cxnLst>
                <a:rect l="0" t="0" r="r" b="b"/>
                <a:pathLst>
                  <a:path w="16">
                    <a:moveTo>
                      <a:pt x="0" y="0"/>
                    </a:moveTo>
                    <a:lnTo>
                      <a:pt x="8" y="0"/>
                    </a:lnTo>
                    <a:lnTo>
                      <a:pt x="16" y="0"/>
                    </a:ln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12" name="Freeform 330"/>
              <p:cNvSpPr>
                <a:spLocks/>
              </p:cNvSpPr>
              <p:nvPr/>
            </p:nvSpPr>
            <p:spPr bwMode="auto">
              <a:xfrm>
                <a:off x="5483981" y="5697763"/>
                <a:ext cx="15119" cy="15119"/>
              </a:xfrm>
              <a:custGeom>
                <a:avLst/>
                <a:gdLst>
                  <a:gd name="T0" fmla="*/ 0 w 8"/>
                  <a:gd name="T1" fmla="*/ 8 h 8"/>
                  <a:gd name="T2" fmla="*/ 8 w 8"/>
                  <a:gd name="T3" fmla="*/ 0 h 8"/>
                  <a:gd name="T4" fmla="*/ 0 w 8"/>
                  <a:gd name="T5" fmla="*/ 8 h 8"/>
                </a:gdLst>
                <a:ahLst/>
                <a:cxnLst>
                  <a:cxn ang="0">
                    <a:pos x="T0" y="T1"/>
                  </a:cxn>
                  <a:cxn ang="0">
                    <a:pos x="T2" y="T3"/>
                  </a:cxn>
                  <a:cxn ang="0">
                    <a:pos x="T4" y="T5"/>
                  </a:cxn>
                </a:cxnLst>
                <a:rect l="0" t="0" r="r" b="b"/>
                <a:pathLst>
                  <a:path w="8" h="8">
                    <a:moveTo>
                      <a:pt x="0" y="8"/>
                    </a:moveTo>
                    <a:lnTo>
                      <a:pt x="8"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13" name="Freeform 331"/>
              <p:cNvSpPr>
                <a:spLocks/>
              </p:cNvSpPr>
              <p:nvPr/>
            </p:nvSpPr>
            <p:spPr bwMode="auto">
              <a:xfrm>
                <a:off x="5468862" y="5667525"/>
                <a:ext cx="30238" cy="30238"/>
              </a:xfrm>
              <a:custGeom>
                <a:avLst/>
                <a:gdLst>
                  <a:gd name="T0" fmla="*/ 8 w 16"/>
                  <a:gd name="T1" fmla="*/ 16 h 16"/>
                  <a:gd name="T2" fmla="*/ 16 w 16"/>
                  <a:gd name="T3" fmla="*/ 16 h 16"/>
                  <a:gd name="T4" fmla="*/ 8 w 16"/>
                  <a:gd name="T5" fmla="*/ 8 h 16"/>
                  <a:gd name="T6" fmla="*/ 8 w 16"/>
                  <a:gd name="T7" fmla="*/ 0 h 16"/>
                  <a:gd name="T8" fmla="*/ 0 w 16"/>
                  <a:gd name="T9" fmla="*/ 8 h 16"/>
                  <a:gd name="T10" fmla="*/ 0 w 16"/>
                  <a:gd name="T11" fmla="*/ 16 h 16"/>
                  <a:gd name="T12" fmla="*/ 8 w 1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lnTo>
                      <a:pt x="16" y="16"/>
                    </a:lnTo>
                    <a:lnTo>
                      <a:pt x="8" y="8"/>
                    </a:lnTo>
                    <a:lnTo>
                      <a:pt x="8" y="0"/>
                    </a:lnTo>
                    <a:lnTo>
                      <a:pt x="0" y="8"/>
                    </a:lnTo>
                    <a:lnTo>
                      <a:pt x="0" y="16"/>
                    </a:lnTo>
                    <a:lnTo>
                      <a:pt x="8" y="16"/>
                    </a:lnTo>
                    <a:close/>
                  </a:path>
                </a:pathLst>
              </a:custGeom>
              <a:grpFill/>
              <a:ln w="12700">
                <a:noFill/>
                <a:prstDash val="solid"/>
                <a:round/>
                <a:headEnd/>
                <a:tailEnd/>
              </a:ln>
            </p:spPr>
            <p:txBody>
              <a:bodyPr/>
              <a:lstStyle/>
              <a:p>
                <a:endParaRPr lang="en-US">
                  <a:solidFill>
                    <a:srgbClr val="000000"/>
                  </a:solidFill>
                </a:endParaRPr>
              </a:p>
            </p:txBody>
          </p:sp>
          <p:sp>
            <p:nvSpPr>
              <p:cNvPr id="1314" name="Freeform 332"/>
              <p:cNvSpPr>
                <a:spLocks/>
              </p:cNvSpPr>
              <p:nvPr/>
            </p:nvSpPr>
            <p:spPr bwMode="auto">
              <a:xfrm>
                <a:off x="5483981" y="5712882"/>
                <a:ext cx="15119" cy="30238"/>
              </a:xfrm>
              <a:custGeom>
                <a:avLst/>
                <a:gdLst>
                  <a:gd name="T0" fmla="*/ 8 w 8"/>
                  <a:gd name="T1" fmla="*/ 0 h 16"/>
                  <a:gd name="T2" fmla="*/ 0 w 8"/>
                  <a:gd name="T3" fmla="*/ 0 h 16"/>
                  <a:gd name="T4" fmla="*/ 0 w 8"/>
                  <a:gd name="T5" fmla="*/ 8 h 16"/>
                  <a:gd name="T6" fmla="*/ 0 w 8"/>
                  <a:gd name="T7" fmla="*/ 16 h 16"/>
                  <a:gd name="T8" fmla="*/ 8 w 8"/>
                  <a:gd name="T9" fmla="*/ 16 h 16"/>
                  <a:gd name="T10" fmla="*/ 8 w 8"/>
                  <a:gd name="T11" fmla="*/ 8 h 16"/>
                  <a:gd name="T12" fmla="*/ 8 w 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8" y="0"/>
                    </a:moveTo>
                    <a:lnTo>
                      <a:pt x="0" y="0"/>
                    </a:lnTo>
                    <a:lnTo>
                      <a:pt x="0" y="8"/>
                    </a:lnTo>
                    <a:lnTo>
                      <a:pt x="0" y="16"/>
                    </a:lnTo>
                    <a:lnTo>
                      <a:pt x="8" y="16"/>
                    </a:lnTo>
                    <a:lnTo>
                      <a:pt x="8" y="8"/>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315" name="Freeform 338"/>
              <p:cNvSpPr>
                <a:spLocks/>
              </p:cNvSpPr>
              <p:nvPr/>
            </p:nvSpPr>
            <p:spPr bwMode="auto">
              <a:xfrm>
                <a:off x="4622195" y="5486097"/>
                <a:ext cx="15119" cy="30238"/>
              </a:xfrm>
              <a:custGeom>
                <a:avLst/>
                <a:gdLst>
                  <a:gd name="T0" fmla="*/ 0 w 8"/>
                  <a:gd name="T1" fmla="*/ 16 h 16"/>
                  <a:gd name="T2" fmla="*/ 8 w 8"/>
                  <a:gd name="T3" fmla="*/ 8 h 16"/>
                  <a:gd name="T4" fmla="*/ 8 w 8"/>
                  <a:gd name="T5" fmla="*/ 0 h 16"/>
                  <a:gd name="T6" fmla="*/ 8 w 8"/>
                  <a:gd name="T7" fmla="*/ 8 h 16"/>
                  <a:gd name="T8" fmla="*/ 0 w 8"/>
                  <a:gd name="T9" fmla="*/ 16 h 16"/>
                </a:gdLst>
                <a:ahLst/>
                <a:cxnLst>
                  <a:cxn ang="0">
                    <a:pos x="T0" y="T1"/>
                  </a:cxn>
                  <a:cxn ang="0">
                    <a:pos x="T2" y="T3"/>
                  </a:cxn>
                  <a:cxn ang="0">
                    <a:pos x="T4" y="T5"/>
                  </a:cxn>
                  <a:cxn ang="0">
                    <a:pos x="T6" y="T7"/>
                  </a:cxn>
                  <a:cxn ang="0">
                    <a:pos x="T8" y="T9"/>
                  </a:cxn>
                </a:cxnLst>
                <a:rect l="0" t="0" r="r" b="b"/>
                <a:pathLst>
                  <a:path w="8" h="16">
                    <a:moveTo>
                      <a:pt x="0" y="16"/>
                    </a:moveTo>
                    <a:lnTo>
                      <a:pt x="8" y="8"/>
                    </a:lnTo>
                    <a:lnTo>
                      <a:pt x="8" y="0"/>
                    </a:lnTo>
                    <a:lnTo>
                      <a:pt x="8" y="8"/>
                    </a:lnTo>
                    <a:lnTo>
                      <a:pt x="0" y="16"/>
                    </a:lnTo>
                    <a:close/>
                  </a:path>
                </a:pathLst>
              </a:custGeom>
              <a:grpFill/>
              <a:ln w="12700">
                <a:noFill/>
                <a:prstDash val="solid"/>
                <a:round/>
                <a:headEnd/>
                <a:tailEnd/>
              </a:ln>
            </p:spPr>
            <p:txBody>
              <a:bodyPr/>
              <a:lstStyle/>
              <a:p>
                <a:endParaRPr lang="en-US">
                  <a:solidFill>
                    <a:srgbClr val="000000"/>
                  </a:solidFill>
                </a:endParaRPr>
              </a:p>
            </p:txBody>
          </p:sp>
          <p:sp>
            <p:nvSpPr>
              <p:cNvPr id="1316" name="Freeform 339"/>
              <p:cNvSpPr>
                <a:spLocks/>
              </p:cNvSpPr>
              <p:nvPr/>
            </p:nvSpPr>
            <p:spPr bwMode="auto">
              <a:xfrm>
                <a:off x="4607076" y="5516335"/>
                <a:ext cx="15119" cy="15119"/>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17" name="Freeform 340"/>
              <p:cNvSpPr>
                <a:spLocks/>
              </p:cNvSpPr>
              <p:nvPr/>
            </p:nvSpPr>
            <p:spPr bwMode="auto">
              <a:xfrm>
                <a:off x="4607076" y="5546573"/>
                <a:ext cx="1890" cy="60476"/>
              </a:xfrm>
              <a:custGeom>
                <a:avLst/>
                <a:gdLst>
                  <a:gd name="T0" fmla="*/ 32 h 32"/>
                  <a:gd name="T1" fmla="*/ 16 h 32"/>
                  <a:gd name="T2" fmla="*/ 8 h 32"/>
                  <a:gd name="T3" fmla="*/ 0 h 32"/>
                  <a:gd name="T4" fmla="*/ 8 h 32"/>
                  <a:gd name="T5" fmla="*/ 16 h 32"/>
                  <a:gd name="T6" fmla="*/ 32 h 32"/>
                </a:gdLst>
                <a:ahLst/>
                <a:cxnLst>
                  <a:cxn ang="0">
                    <a:pos x="0" y="T0"/>
                  </a:cxn>
                  <a:cxn ang="0">
                    <a:pos x="0" y="T1"/>
                  </a:cxn>
                  <a:cxn ang="0">
                    <a:pos x="0" y="T2"/>
                  </a:cxn>
                  <a:cxn ang="0">
                    <a:pos x="0" y="T3"/>
                  </a:cxn>
                  <a:cxn ang="0">
                    <a:pos x="0" y="T4"/>
                  </a:cxn>
                  <a:cxn ang="0">
                    <a:pos x="0" y="T5"/>
                  </a:cxn>
                  <a:cxn ang="0">
                    <a:pos x="0" y="T6"/>
                  </a:cxn>
                </a:cxnLst>
                <a:rect l="0" t="0" r="r" b="b"/>
                <a:pathLst>
                  <a:path h="32">
                    <a:moveTo>
                      <a:pt x="0" y="32"/>
                    </a:moveTo>
                    <a:lnTo>
                      <a:pt x="0" y="16"/>
                    </a:lnTo>
                    <a:lnTo>
                      <a:pt x="0" y="8"/>
                    </a:lnTo>
                    <a:lnTo>
                      <a:pt x="0" y="0"/>
                    </a:lnTo>
                    <a:lnTo>
                      <a:pt x="0" y="8"/>
                    </a:lnTo>
                    <a:lnTo>
                      <a:pt x="0" y="16"/>
                    </a:lnTo>
                    <a:lnTo>
                      <a:pt x="0" y="32"/>
                    </a:lnTo>
                    <a:close/>
                  </a:path>
                </a:pathLst>
              </a:custGeom>
              <a:grpFill/>
              <a:ln w="12700">
                <a:noFill/>
                <a:prstDash val="solid"/>
                <a:round/>
                <a:headEnd/>
                <a:tailEnd/>
              </a:ln>
            </p:spPr>
            <p:txBody>
              <a:bodyPr/>
              <a:lstStyle/>
              <a:p>
                <a:endParaRPr lang="en-US">
                  <a:solidFill>
                    <a:srgbClr val="000000"/>
                  </a:solidFill>
                </a:endParaRPr>
              </a:p>
            </p:txBody>
          </p:sp>
          <p:sp>
            <p:nvSpPr>
              <p:cNvPr id="1318" name="Freeform 341"/>
              <p:cNvSpPr>
                <a:spLocks/>
              </p:cNvSpPr>
              <p:nvPr/>
            </p:nvSpPr>
            <p:spPr bwMode="auto">
              <a:xfrm>
                <a:off x="5211838" y="6423478"/>
                <a:ext cx="257024" cy="120952"/>
              </a:xfrm>
              <a:custGeom>
                <a:avLst/>
                <a:gdLst>
                  <a:gd name="T0" fmla="*/ 120 w 136"/>
                  <a:gd name="T1" fmla="*/ 56 h 64"/>
                  <a:gd name="T2" fmla="*/ 112 w 136"/>
                  <a:gd name="T3" fmla="*/ 40 h 64"/>
                  <a:gd name="T4" fmla="*/ 120 w 136"/>
                  <a:gd name="T5" fmla="*/ 32 h 64"/>
                  <a:gd name="T6" fmla="*/ 104 w 136"/>
                  <a:gd name="T7" fmla="*/ 24 h 64"/>
                  <a:gd name="T8" fmla="*/ 96 w 136"/>
                  <a:gd name="T9" fmla="*/ 16 h 64"/>
                  <a:gd name="T10" fmla="*/ 80 w 136"/>
                  <a:gd name="T11" fmla="*/ 16 h 64"/>
                  <a:gd name="T12" fmla="*/ 80 w 136"/>
                  <a:gd name="T13" fmla="*/ 32 h 64"/>
                  <a:gd name="T14" fmla="*/ 64 w 136"/>
                  <a:gd name="T15" fmla="*/ 40 h 64"/>
                  <a:gd name="T16" fmla="*/ 64 w 136"/>
                  <a:gd name="T17" fmla="*/ 48 h 64"/>
                  <a:gd name="T18" fmla="*/ 72 w 136"/>
                  <a:gd name="T19" fmla="*/ 56 h 64"/>
                  <a:gd name="T20" fmla="*/ 56 w 136"/>
                  <a:gd name="T21" fmla="*/ 56 h 64"/>
                  <a:gd name="T22" fmla="*/ 48 w 136"/>
                  <a:gd name="T23" fmla="*/ 64 h 64"/>
                  <a:gd name="T24" fmla="*/ 48 w 136"/>
                  <a:gd name="T25" fmla="*/ 48 h 64"/>
                  <a:gd name="T26" fmla="*/ 40 w 136"/>
                  <a:gd name="T27" fmla="*/ 56 h 64"/>
                  <a:gd name="T28" fmla="*/ 32 w 136"/>
                  <a:gd name="T29" fmla="*/ 48 h 64"/>
                  <a:gd name="T30" fmla="*/ 24 w 136"/>
                  <a:gd name="T31" fmla="*/ 40 h 64"/>
                  <a:gd name="T32" fmla="*/ 16 w 136"/>
                  <a:gd name="T33" fmla="*/ 32 h 64"/>
                  <a:gd name="T34" fmla="*/ 0 w 136"/>
                  <a:gd name="T35" fmla="*/ 32 h 64"/>
                  <a:gd name="T36" fmla="*/ 8 w 136"/>
                  <a:gd name="T37" fmla="*/ 24 h 64"/>
                  <a:gd name="T38" fmla="*/ 0 w 136"/>
                  <a:gd name="T39" fmla="*/ 8 h 64"/>
                  <a:gd name="T40" fmla="*/ 16 w 136"/>
                  <a:gd name="T41" fmla="*/ 8 h 64"/>
                  <a:gd name="T42" fmla="*/ 16 w 136"/>
                  <a:gd name="T43" fmla="*/ 8 h 64"/>
                  <a:gd name="T44" fmla="*/ 24 w 136"/>
                  <a:gd name="T45" fmla="*/ 16 h 64"/>
                  <a:gd name="T46" fmla="*/ 40 w 136"/>
                  <a:gd name="T47" fmla="*/ 24 h 64"/>
                  <a:gd name="T48" fmla="*/ 56 w 136"/>
                  <a:gd name="T49" fmla="*/ 16 h 64"/>
                  <a:gd name="T50" fmla="*/ 80 w 136"/>
                  <a:gd name="T51" fmla="*/ 8 h 64"/>
                  <a:gd name="T52" fmla="*/ 88 w 136"/>
                  <a:gd name="T53" fmla="*/ 8 h 64"/>
                  <a:gd name="T54" fmla="*/ 104 w 136"/>
                  <a:gd name="T55" fmla="*/ 8 h 64"/>
                  <a:gd name="T56" fmla="*/ 120 w 136"/>
                  <a:gd name="T57" fmla="*/ 16 h 64"/>
                  <a:gd name="T58" fmla="*/ 128 w 136"/>
                  <a:gd name="T59" fmla="*/ 24 h 64"/>
                  <a:gd name="T60" fmla="*/ 136 w 136"/>
                  <a:gd name="T61" fmla="*/ 32 h 64"/>
                  <a:gd name="T62" fmla="*/ 128 w 136"/>
                  <a:gd name="T63" fmla="*/ 48 h 64"/>
                  <a:gd name="T64" fmla="*/ 120 w 136"/>
                  <a:gd name="T6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64">
                    <a:moveTo>
                      <a:pt x="120" y="64"/>
                    </a:moveTo>
                    <a:lnTo>
                      <a:pt x="120" y="56"/>
                    </a:lnTo>
                    <a:lnTo>
                      <a:pt x="112" y="48"/>
                    </a:lnTo>
                    <a:lnTo>
                      <a:pt x="112" y="40"/>
                    </a:lnTo>
                    <a:lnTo>
                      <a:pt x="112" y="32"/>
                    </a:lnTo>
                    <a:lnTo>
                      <a:pt x="120" y="32"/>
                    </a:lnTo>
                    <a:lnTo>
                      <a:pt x="112" y="32"/>
                    </a:lnTo>
                    <a:lnTo>
                      <a:pt x="104" y="24"/>
                    </a:lnTo>
                    <a:lnTo>
                      <a:pt x="96" y="24"/>
                    </a:lnTo>
                    <a:lnTo>
                      <a:pt x="96" y="16"/>
                    </a:lnTo>
                    <a:lnTo>
                      <a:pt x="88" y="16"/>
                    </a:lnTo>
                    <a:lnTo>
                      <a:pt x="80" y="16"/>
                    </a:lnTo>
                    <a:lnTo>
                      <a:pt x="80" y="24"/>
                    </a:lnTo>
                    <a:lnTo>
                      <a:pt x="80" y="32"/>
                    </a:lnTo>
                    <a:lnTo>
                      <a:pt x="72" y="32"/>
                    </a:lnTo>
                    <a:lnTo>
                      <a:pt x="64" y="40"/>
                    </a:lnTo>
                    <a:lnTo>
                      <a:pt x="56" y="40"/>
                    </a:lnTo>
                    <a:lnTo>
                      <a:pt x="64" y="48"/>
                    </a:lnTo>
                    <a:lnTo>
                      <a:pt x="72" y="48"/>
                    </a:lnTo>
                    <a:lnTo>
                      <a:pt x="72" y="56"/>
                    </a:lnTo>
                    <a:lnTo>
                      <a:pt x="64" y="56"/>
                    </a:lnTo>
                    <a:lnTo>
                      <a:pt x="56" y="56"/>
                    </a:lnTo>
                    <a:lnTo>
                      <a:pt x="56" y="64"/>
                    </a:lnTo>
                    <a:lnTo>
                      <a:pt x="48" y="64"/>
                    </a:lnTo>
                    <a:lnTo>
                      <a:pt x="48" y="56"/>
                    </a:lnTo>
                    <a:lnTo>
                      <a:pt x="48" y="48"/>
                    </a:lnTo>
                    <a:lnTo>
                      <a:pt x="40" y="48"/>
                    </a:lnTo>
                    <a:lnTo>
                      <a:pt x="40" y="56"/>
                    </a:lnTo>
                    <a:lnTo>
                      <a:pt x="32" y="56"/>
                    </a:lnTo>
                    <a:lnTo>
                      <a:pt x="32" y="48"/>
                    </a:lnTo>
                    <a:lnTo>
                      <a:pt x="32" y="40"/>
                    </a:lnTo>
                    <a:lnTo>
                      <a:pt x="24" y="40"/>
                    </a:lnTo>
                    <a:lnTo>
                      <a:pt x="16" y="40"/>
                    </a:lnTo>
                    <a:lnTo>
                      <a:pt x="16" y="32"/>
                    </a:lnTo>
                    <a:lnTo>
                      <a:pt x="8" y="32"/>
                    </a:lnTo>
                    <a:lnTo>
                      <a:pt x="0" y="32"/>
                    </a:lnTo>
                    <a:lnTo>
                      <a:pt x="0" y="24"/>
                    </a:lnTo>
                    <a:lnTo>
                      <a:pt x="8" y="24"/>
                    </a:lnTo>
                    <a:lnTo>
                      <a:pt x="0" y="16"/>
                    </a:lnTo>
                    <a:lnTo>
                      <a:pt x="0" y="8"/>
                    </a:lnTo>
                    <a:lnTo>
                      <a:pt x="8" y="8"/>
                    </a:lnTo>
                    <a:lnTo>
                      <a:pt x="16" y="8"/>
                    </a:lnTo>
                    <a:lnTo>
                      <a:pt x="16" y="16"/>
                    </a:lnTo>
                    <a:lnTo>
                      <a:pt x="16" y="8"/>
                    </a:lnTo>
                    <a:lnTo>
                      <a:pt x="16" y="16"/>
                    </a:lnTo>
                    <a:lnTo>
                      <a:pt x="24" y="16"/>
                    </a:lnTo>
                    <a:lnTo>
                      <a:pt x="32" y="16"/>
                    </a:lnTo>
                    <a:lnTo>
                      <a:pt x="40" y="24"/>
                    </a:lnTo>
                    <a:lnTo>
                      <a:pt x="48" y="24"/>
                    </a:lnTo>
                    <a:lnTo>
                      <a:pt x="56" y="16"/>
                    </a:lnTo>
                    <a:lnTo>
                      <a:pt x="72" y="8"/>
                    </a:lnTo>
                    <a:lnTo>
                      <a:pt x="80" y="8"/>
                    </a:lnTo>
                    <a:lnTo>
                      <a:pt x="88" y="0"/>
                    </a:lnTo>
                    <a:lnTo>
                      <a:pt x="88" y="8"/>
                    </a:lnTo>
                    <a:lnTo>
                      <a:pt x="96" y="8"/>
                    </a:lnTo>
                    <a:lnTo>
                      <a:pt x="104" y="8"/>
                    </a:lnTo>
                    <a:lnTo>
                      <a:pt x="112" y="8"/>
                    </a:lnTo>
                    <a:lnTo>
                      <a:pt x="120" y="16"/>
                    </a:lnTo>
                    <a:lnTo>
                      <a:pt x="128" y="16"/>
                    </a:lnTo>
                    <a:lnTo>
                      <a:pt x="128" y="24"/>
                    </a:lnTo>
                    <a:lnTo>
                      <a:pt x="136" y="24"/>
                    </a:lnTo>
                    <a:lnTo>
                      <a:pt x="136" y="32"/>
                    </a:lnTo>
                    <a:lnTo>
                      <a:pt x="136" y="40"/>
                    </a:lnTo>
                    <a:lnTo>
                      <a:pt x="128" y="48"/>
                    </a:lnTo>
                    <a:lnTo>
                      <a:pt x="128" y="56"/>
                    </a:lnTo>
                    <a:lnTo>
                      <a:pt x="120" y="64"/>
                    </a:lnTo>
                    <a:close/>
                  </a:path>
                </a:pathLst>
              </a:custGeom>
              <a:grpFill/>
              <a:ln w="12700">
                <a:noFill/>
                <a:prstDash val="solid"/>
                <a:round/>
                <a:headEnd/>
                <a:tailEnd/>
              </a:ln>
            </p:spPr>
            <p:txBody>
              <a:bodyPr/>
              <a:lstStyle/>
              <a:p>
                <a:endParaRPr lang="en-US">
                  <a:solidFill>
                    <a:srgbClr val="000000"/>
                  </a:solidFill>
                </a:endParaRPr>
              </a:p>
            </p:txBody>
          </p:sp>
          <p:sp>
            <p:nvSpPr>
              <p:cNvPr id="1319" name="Freeform 342"/>
              <p:cNvSpPr>
                <a:spLocks/>
              </p:cNvSpPr>
              <p:nvPr/>
            </p:nvSpPr>
            <p:spPr bwMode="auto">
              <a:xfrm>
                <a:off x="5075767" y="6347882"/>
                <a:ext cx="151190" cy="151190"/>
              </a:xfrm>
              <a:custGeom>
                <a:avLst/>
                <a:gdLst>
                  <a:gd name="T0" fmla="*/ 72 w 80"/>
                  <a:gd name="T1" fmla="*/ 72 h 80"/>
                  <a:gd name="T2" fmla="*/ 72 w 80"/>
                  <a:gd name="T3" fmla="*/ 80 h 80"/>
                  <a:gd name="T4" fmla="*/ 64 w 80"/>
                  <a:gd name="T5" fmla="*/ 80 h 80"/>
                  <a:gd name="T6" fmla="*/ 64 w 80"/>
                  <a:gd name="T7" fmla="*/ 72 h 80"/>
                  <a:gd name="T8" fmla="*/ 64 w 80"/>
                  <a:gd name="T9" fmla="*/ 64 h 80"/>
                  <a:gd name="T10" fmla="*/ 56 w 80"/>
                  <a:gd name="T11" fmla="*/ 64 h 80"/>
                  <a:gd name="T12" fmla="*/ 64 w 80"/>
                  <a:gd name="T13" fmla="*/ 72 h 80"/>
                  <a:gd name="T14" fmla="*/ 64 w 80"/>
                  <a:gd name="T15" fmla="*/ 80 h 80"/>
                  <a:gd name="T16" fmla="*/ 56 w 80"/>
                  <a:gd name="T17" fmla="*/ 72 h 80"/>
                  <a:gd name="T18" fmla="*/ 48 w 80"/>
                  <a:gd name="T19" fmla="*/ 72 h 80"/>
                  <a:gd name="T20" fmla="*/ 48 w 80"/>
                  <a:gd name="T21" fmla="*/ 64 h 80"/>
                  <a:gd name="T22" fmla="*/ 48 w 80"/>
                  <a:gd name="T23" fmla="*/ 56 h 80"/>
                  <a:gd name="T24" fmla="*/ 40 w 80"/>
                  <a:gd name="T25" fmla="*/ 48 h 80"/>
                  <a:gd name="T26" fmla="*/ 32 w 80"/>
                  <a:gd name="T27" fmla="*/ 48 h 80"/>
                  <a:gd name="T28" fmla="*/ 32 w 80"/>
                  <a:gd name="T29" fmla="*/ 40 h 80"/>
                  <a:gd name="T30" fmla="*/ 24 w 80"/>
                  <a:gd name="T31" fmla="*/ 40 h 80"/>
                  <a:gd name="T32" fmla="*/ 24 w 80"/>
                  <a:gd name="T33" fmla="*/ 32 h 80"/>
                  <a:gd name="T34" fmla="*/ 16 w 80"/>
                  <a:gd name="T35" fmla="*/ 24 h 80"/>
                  <a:gd name="T36" fmla="*/ 16 w 80"/>
                  <a:gd name="T37" fmla="*/ 32 h 80"/>
                  <a:gd name="T38" fmla="*/ 24 w 80"/>
                  <a:gd name="T39" fmla="*/ 32 h 80"/>
                  <a:gd name="T40" fmla="*/ 24 w 80"/>
                  <a:gd name="T41" fmla="*/ 40 h 80"/>
                  <a:gd name="T42" fmla="*/ 24 w 80"/>
                  <a:gd name="T43" fmla="*/ 48 h 80"/>
                  <a:gd name="T44" fmla="*/ 16 w 80"/>
                  <a:gd name="T45" fmla="*/ 48 h 80"/>
                  <a:gd name="T46" fmla="*/ 16 w 80"/>
                  <a:gd name="T47" fmla="*/ 40 h 80"/>
                  <a:gd name="T48" fmla="*/ 8 w 80"/>
                  <a:gd name="T49" fmla="*/ 40 h 80"/>
                  <a:gd name="T50" fmla="*/ 0 w 80"/>
                  <a:gd name="T51" fmla="*/ 32 h 80"/>
                  <a:gd name="T52" fmla="*/ 0 w 80"/>
                  <a:gd name="T53" fmla="*/ 24 h 80"/>
                  <a:gd name="T54" fmla="*/ 8 w 80"/>
                  <a:gd name="T55" fmla="*/ 16 h 80"/>
                  <a:gd name="T56" fmla="*/ 0 w 80"/>
                  <a:gd name="T57" fmla="*/ 16 h 80"/>
                  <a:gd name="T58" fmla="*/ 0 w 80"/>
                  <a:gd name="T59" fmla="*/ 8 h 80"/>
                  <a:gd name="T60" fmla="*/ 0 w 80"/>
                  <a:gd name="T61" fmla="*/ 0 h 80"/>
                  <a:gd name="T62" fmla="*/ 8 w 80"/>
                  <a:gd name="T63" fmla="*/ 0 h 80"/>
                  <a:gd name="T64" fmla="*/ 24 w 80"/>
                  <a:gd name="T65" fmla="*/ 8 h 80"/>
                  <a:gd name="T66" fmla="*/ 32 w 80"/>
                  <a:gd name="T67" fmla="*/ 8 h 80"/>
                  <a:gd name="T68" fmla="*/ 40 w 80"/>
                  <a:gd name="T69" fmla="*/ 8 h 80"/>
                  <a:gd name="T70" fmla="*/ 48 w 80"/>
                  <a:gd name="T71" fmla="*/ 16 h 80"/>
                  <a:gd name="T72" fmla="*/ 56 w 80"/>
                  <a:gd name="T73" fmla="*/ 16 h 80"/>
                  <a:gd name="T74" fmla="*/ 64 w 80"/>
                  <a:gd name="T75" fmla="*/ 16 h 80"/>
                  <a:gd name="T76" fmla="*/ 64 w 80"/>
                  <a:gd name="T77" fmla="*/ 24 h 80"/>
                  <a:gd name="T78" fmla="*/ 64 w 80"/>
                  <a:gd name="T79" fmla="*/ 32 h 80"/>
                  <a:gd name="T80" fmla="*/ 72 w 80"/>
                  <a:gd name="T81" fmla="*/ 32 h 80"/>
                  <a:gd name="T82" fmla="*/ 72 w 80"/>
                  <a:gd name="T83" fmla="*/ 40 h 80"/>
                  <a:gd name="T84" fmla="*/ 80 w 80"/>
                  <a:gd name="T85" fmla="*/ 40 h 80"/>
                  <a:gd name="T86" fmla="*/ 80 w 80"/>
                  <a:gd name="T87" fmla="*/ 48 h 80"/>
                  <a:gd name="T88" fmla="*/ 72 w 80"/>
                  <a:gd name="T89" fmla="*/ 48 h 80"/>
                  <a:gd name="T90" fmla="*/ 72 w 80"/>
                  <a:gd name="T91" fmla="*/ 56 h 80"/>
                  <a:gd name="T92" fmla="*/ 80 w 80"/>
                  <a:gd name="T93" fmla="*/ 64 h 80"/>
                  <a:gd name="T94" fmla="*/ 72 w 80"/>
                  <a:gd name="T95" fmla="*/ 64 h 80"/>
                  <a:gd name="T96" fmla="*/ 72 w 80"/>
                  <a:gd name="T97" fmla="*/ 64 h 80"/>
                  <a:gd name="T98" fmla="*/ 72 w 80"/>
                  <a:gd name="T9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0" h="80">
                    <a:moveTo>
                      <a:pt x="72" y="72"/>
                    </a:moveTo>
                    <a:lnTo>
                      <a:pt x="72" y="80"/>
                    </a:lnTo>
                    <a:lnTo>
                      <a:pt x="64" y="80"/>
                    </a:lnTo>
                    <a:lnTo>
                      <a:pt x="64" y="72"/>
                    </a:lnTo>
                    <a:lnTo>
                      <a:pt x="64" y="64"/>
                    </a:lnTo>
                    <a:lnTo>
                      <a:pt x="56" y="64"/>
                    </a:lnTo>
                    <a:lnTo>
                      <a:pt x="64" y="72"/>
                    </a:lnTo>
                    <a:lnTo>
                      <a:pt x="64" y="80"/>
                    </a:lnTo>
                    <a:lnTo>
                      <a:pt x="56" y="72"/>
                    </a:lnTo>
                    <a:lnTo>
                      <a:pt x="48" y="72"/>
                    </a:lnTo>
                    <a:lnTo>
                      <a:pt x="48" y="64"/>
                    </a:lnTo>
                    <a:lnTo>
                      <a:pt x="48" y="56"/>
                    </a:lnTo>
                    <a:lnTo>
                      <a:pt x="40" y="48"/>
                    </a:lnTo>
                    <a:lnTo>
                      <a:pt x="32" y="48"/>
                    </a:lnTo>
                    <a:lnTo>
                      <a:pt x="32" y="40"/>
                    </a:lnTo>
                    <a:lnTo>
                      <a:pt x="24" y="40"/>
                    </a:lnTo>
                    <a:lnTo>
                      <a:pt x="24" y="32"/>
                    </a:lnTo>
                    <a:lnTo>
                      <a:pt x="16" y="24"/>
                    </a:lnTo>
                    <a:lnTo>
                      <a:pt x="16" y="32"/>
                    </a:lnTo>
                    <a:lnTo>
                      <a:pt x="24" y="32"/>
                    </a:lnTo>
                    <a:lnTo>
                      <a:pt x="24" y="40"/>
                    </a:lnTo>
                    <a:lnTo>
                      <a:pt x="24" y="48"/>
                    </a:lnTo>
                    <a:lnTo>
                      <a:pt x="16" y="48"/>
                    </a:lnTo>
                    <a:lnTo>
                      <a:pt x="16" y="40"/>
                    </a:lnTo>
                    <a:lnTo>
                      <a:pt x="8" y="40"/>
                    </a:lnTo>
                    <a:lnTo>
                      <a:pt x="0" y="32"/>
                    </a:lnTo>
                    <a:lnTo>
                      <a:pt x="0" y="24"/>
                    </a:lnTo>
                    <a:lnTo>
                      <a:pt x="8" y="16"/>
                    </a:lnTo>
                    <a:lnTo>
                      <a:pt x="0" y="16"/>
                    </a:lnTo>
                    <a:lnTo>
                      <a:pt x="0" y="8"/>
                    </a:lnTo>
                    <a:lnTo>
                      <a:pt x="0" y="0"/>
                    </a:lnTo>
                    <a:lnTo>
                      <a:pt x="8" y="0"/>
                    </a:lnTo>
                    <a:lnTo>
                      <a:pt x="24" y="8"/>
                    </a:lnTo>
                    <a:lnTo>
                      <a:pt x="32" y="8"/>
                    </a:lnTo>
                    <a:lnTo>
                      <a:pt x="40" y="8"/>
                    </a:lnTo>
                    <a:lnTo>
                      <a:pt x="48" y="16"/>
                    </a:lnTo>
                    <a:lnTo>
                      <a:pt x="56" y="16"/>
                    </a:lnTo>
                    <a:lnTo>
                      <a:pt x="64" y="16"/>
                    </a:lnTo>
                    <a:lnTo>
                      <a:pt x="64" y="24"/>
                    </a:lnTo>
                    <a:lnTo>
                      <a:pt x="64" y="32"/>
                    </a:lnTo>
                    <a:lnTo>
                      <a:pt x="72" y="32"/>
                    </a:lnTo>
                    <a:lnTo>
                      <a:pt x="72" y="40"/>
                    </a:lnTo>
                    <a:lnTo>
                      <a:pt x="80" y="40"/>
                    </a:lnTo>
                    <a:lnTo>
                      <a:pt x="80" y="48"/>
                    </a:lnTo>
                    <a:lnTo>
                      <a:pt x="72" y="48"/>
                    </a:lnTo>
                    <a:lnTo>
                      <a:pt x="72" y="56"/>
                    </a:lnTo>
                    <a:lnTo>
                      <a:pt x="80" y="64"/>
                    </a:lnTo>
                    <a:lnTo>
                      <a:pt x="72" y="64"/>
                    </a:lnTo>
                    <a:lnTo>
                      <a:pt x="72" y="64"/>
                    </a:lnTo>
                    <a:lnTo>
                      <a:pt x="72" y="72"/>
                    </a:lnTo>
                    <a:close/>
                  </a:path>
                </a:pathLst>
              </a:custGeom>
              <a:grpFill/>
              <a:ln w="9525">
                <a:noFill/>
                <a:round/>
                <a:headEnd/>
                <a:tailEnd/>
              </a:ln>
            </p:spPr>
            <p:txBody>
              <a:bodyPr/>
              <a:lstStyle/>
              <a:p>
                <a:endParaRPr lang="en-US">
                  <a:solidFill>
                    <a:srgbClr val="000000"/>
                  </a:solidFill>
                </a:endParaRPr>
              </a:p>
            </p:txBody>
          </p:sp>
          <p:sp>
            <p:nvSpPr>
              <p:cNvPr id="1320" name="Freeform 343"/>
              <p:cNvSpPr>
                <a:spLocks/>
              </p:cNvSpPr>
              <p:nvPr/>
            </p:nvSpPr>
            <p:spPr bwMode="auto">
              <a:xfrm>
                <a:off x="5075767" y="6347882"/>
                <a:ext cx="151190" cy="151190"/>
              </a:xfrm>
              <a:custGeom>
                <a:avLst/>
                <a:gdLst>
                  <a:gd name="T0" fmla="*/ 72 w 80"/>
                  <a:gd name="T1" fmla="*/ 72 h 80"/>
                  <a:gd name="T2" fmla="*/ 72 w 80"/>
                  <a:gd name="T3" fmla="*/ 80 h 80"/>
                  <a:gd name="T4" fmla="*/ 64 w 80"/>
                  <a:gd name="T5" fmla="*/ 80 h 80"/>
                  <a:gd name="T6" fmla="*/ 64 w 80"/>
                  <a:gd name="T7" fmla="*/ 72 h 80"/>
                  <a:gd name="T8" fmla="*/ 64 w 80"/>
                  <a:gd name="T9" fmla="*/ 64 h 80"/>
                  <a:gd name="T10" fmla="*/ 56 w 80"/>
                  <a:gd name="T11" fmla="*/ 64 h 80"/>
                  <a:gd name="T12" fmla="*/ 64 w 80"/>
                  <a:gd name="T13" fmla="*/ 72 h 80"/>
                  <a:gd name="T14" fmla="*/ 64 w 80"/>
                  <a:gd name="T15" fmla="*/ 80 h 80"/>
                  <a:gd name="T16" fmla="*/ 56 w 80"/>
                  <a:gd name="T17" fmla="*/ 72 h 80"/>
                  <a:gd name="T18" fmla="*/ 48 w 80"/>
                  <a:gd name="T19" fmla="*/ 72 h 80"/>
                  <a:gd name="T20" fmla="*/ 48 w 80"/>
                  <a:gd name="T21" fmla="*/ 64 h 80"/>
                  <a:gd name="T22" fmla="*/ 48 w 80"/>
                  <a:gd name="T23" fmla="*/ 56 h 80"/>
                  <a:gd name="T24" fmla="*/ 40 w 80"/>
                  <a:gd name="T25" fmla="*/ 48 h 80"/>
                  <a:gd name="T26" fmla="*/ 32 w 80"/>
                  <a:gd name="T27" fmla="*/ 48 h 80"/>
                  <a:gd name="T28" fmla="*/ 32 w 80"/>
                  <a:gd name="T29" fmla="*/ 40 h 80"/>
                  <a:gd name="T30" fmla="*/ 24 w 80"/>
                  <a:gd name="T31" fmla="*/ 40 h 80"/>
                  <a:gd name="T32" fmla="*/ 24 w 80"/>
                  <a:gd name="T33" fmla="*/ 32 h 80"/>
                  <a:gd name="T34" fmla="*/ 16 w 80"/>
                  <a:gd name="T35" fmla="*/ 24 h 80"/>
                  <a:gd name="T36" fmla="*/ 16 w 80"/>
                  <a:gd name="T37" fmla="*/ 32 h 80"/>
                  <a:gd name="T38" fmla="*/ 24 w 80"/>
                  <a:gd name="T39" fmla="*/ 32 h 80"/>
                  <a:gd name="T40" fmla="*/ 24 w 80"/>
                  <a:gd name="T41" fmla="*/ 40 h 80"/>
                  <a:gd name="T42" fmla="*/ 24 w 80"/>
                  <a:gd name="T43" fmla="*/ 48 h 80"/>
                  <a:gd name="T44" fmla="*/ 16 w 80"/>
                  <a:gd name="T45" fmla="*/ 48 h 80"/>
                  <a:gd name="T46" fmla="*/ 16 w 80"/>
                  <a:gd name="T47" fmla="*/ 40 h 80"/>
                  <a:gd name="T48" fmla="*/ 8 w 80"/>
                  <a:gd name="T49" fmla="*/ 40 h 80"/>
                  <a:gd name="T50" fmla="*/ 0 w 80"/>
                  <a:gd name="T51" fmla="*/ 32 h 80"/>
                  <a:gd name="T52" fmla="*/ 0 w 80"/>
                  <a:gd name="T53" fmla="*/ 24 h 80"/>
                  <a:gd name="T54" fmla="*/ 8 w 80"/>
                  <a:gd name="T55" fmla="*/ 16 h 80"/>
                  <a:gd name="T56" fmla="*/ 0 w 80"/>
                  <a:gd name="T57" fmla="*/ 16 h 80"/>
                  <a:gd name="T58" fmla="*/ 0 w 80"/>
                  <a:gd name="T59" fmla="*/ 8 h 80"/>
                  <a:gd name="T60" fmla="*/ 0 w 80"/>
                  <a:gd name="T61" fmla="*/ 0 h 80"/>
                  <a:gd name="T62" fmla="*/ 8 w 80"/>
                  <a:gd name="T63" fmla="*/ 0 h 80"/>
                  <a:gd name="T64" fmla="*/ 24 w 80"/>
                  <a:gd name="T65" fmla="*/ 8 h 80"/>
                  <a:gd name="T66" fmla="*/ 32 w 80"/>
                  <a:gd name="T67" fmla="*/ 8 h 80"/>
                  <a:gd name="T68" fmla="*/ 40 w 80"/>
                  <a:gd name="T69" fmla="*/ 8 h 80"/>
                  <a:gd name="T70" fmla="*/ 48 w 80"/>
                  <a:gd name="T71" fmla="*/ 16 h 80"/>
                  <a:gd name="T72" fmla="*/ 56 w 80"/>
                  <a:gd name="T73" fmla="*/ 16 h 80"/>
                  <a:gd name="T74" fmla="*/ 64 w 80"/>
                  <a:gd name="T75" fmla="*/ 16 h 80"/>
                  <a:gd name="T76" fmla="*/ 64 w 80"/>
                  <a:gd name="T77" fmla="*/ 24 h 80"/>
                  <a:gd name="T78" fmla="*/ 64 w 80"/>
                  <a:gd name="T79" fmla="*/ 32 h 80"/>
                  <a:gd name="T80" fmla="*/ 72 w 80"/>
                  <a:gd name="T81" fmla="*/ 32 h 80"/>
                  <a:gd name="T82" fmla="*/ 72 w 80"/>
                  <a:gd name="T83" fmla="*/ 40 h 80"/>
                  <a:gd name="T84" fmla="*/ 80 w 80"/>
                  <a:gd name="T85" fmla="*/ 40 h 80"/>
                  <a:gd name="T86" fmla="*/ 80 w 80"/>
                  <a:gd name="T87" fmla="*/ 48 h 80"/>
                  <a:gd name="T88" fmla="*/ 72 w 80"/>
                  <a:gd name="T89" fmla="*/ 48 h 80"/>
                  <a:gd name="T90" fmla="*/ 72 w 80"/>
                  <a:gd name="T91" fmla="*/ 56 h 80"/>
                  <a:gd name="T92" fmla="*/ 80 w 80"/>
                  <a:gd name="T93" fmla="*/ 64 h 80"/>
                  <a:gd name="T94" fmla="*/ 72 w 80"/>
                  <a:gd name="T95" fmla="*/ 64 h 80"/>
                  <a:gd name="T96" fmla="*/ 72 w 80"/>
                  <a:gd name="T97"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 h="80">
                    <a:moveTo>
                      <a:pt x="72" y="72"/>
                    </a:moveTo>
                    <a:lnTo>
                      <a:pt x="72" y="80"/>
                    </a:lnTo>
                    <a:lnTo>
                      <a:pt x="64" y="80"/>
                    </a:lnTo>
                    <a:lnTo>
                      <a:pt x="64" y="72"/>
                    </a:lnTo>
                    <a:lnTo>
                      <a:pt x="64" y="64"/>
                    </a:lnTo>
                    <a:lnTo>
                      <a:pt x="56" y="64"/>
                    </a:lnTo>
                    <a:lnTo>
                      <a:pt x="64" y="72"/>
                    </a:lnTo>
                    <a:lnTo>
                      <a:pt x="64" y="80"/>
                    </a:lnTo>
                    <a:lnTo>
                      <a:pt x="56" y="72"/>
                    </a:lnTo>
                    <a:lnTo>
                      <a:pt x="48" y="72"/>
                    </a:lnTo>
                    <a:lnTo>
                      <a:pt x="48" y="64"/>
                    </a:lnTo>
                    <a:lnTo>
                      <a:pt x="48" y="56"/>
                    </a:lnTo>
                    <a:lnTo>
                      <a:pt x="40" y="48"/>
                    </a:lnTo>
                    <a:lnTo>
                      <a:pt x="32" y="48"/>
                    </a:lnTo>
                    <a:lnTo>
                      <a:pt x="32" y="40"/>
                    </a:lnTo>
                    <a:lnTo>
                      <a:pt x="24" y="40"/>
                    </a:lnTo>
                    <a:lnTo>
                      <a:pt x="24" y="32"/>
                    </a:lnTo>
                    <a:lnTo>
                      <a:pt x="16" y="24"/>
                    </a:lnTo>
                    <a:lnTo>
                      <a:pt x="16" y="32"/>
                    </a:lnTo>
                    <a:lnTo>
                      <a:pt x="24" y="32"/>
                    </a:lnTo>
                    <a:lnTo>
                      <a:pt x="24" y="40"/>
                    </a:lnTo>
                    <a:lnTo>
                      <a:pt x="24" y="48"/>
                    </a:lnTo>
                    <a:lnTo>
                      <a:pt x="16" y="48"/>
                    </a:lnTo>
                    <a:lnTo>
                      <a:pt x="16" y="40"/>
                    </a:lnTo>
                    <a:lnTo>
                      <a:pt x="8" y="40"/>
                    </a:lnTo>
                    <a:lnTo>
                      <a:pt x="0" y="32"/>
                    </a:lnTo>
                    <a:lnTo>
                      <a:pt x="0" y="24"/>
                    </a:lnTo>
                    <a:lnTo>
                      <a:pt x="8" y="16"/>
                    </a:lnTo>
                    <a:lnTo>
                      <a:pt x="0" y="16"/>
                    </a:lnTo>
                    <a:lnTo>
                      <a:pt x="0" y="8"/>
                    </a:lnTo>
                    <a:lnTo>
                      <a:pt x="0" y="0"/>
                    </a:lnTo>
                    <a:lnTo>
                      <a:pt x="8" y="0"/>
                    </a:lnTo>
                    <a:lnTo>
                      <a:pt x="24" y="8"/>
                    </a:lnTo>
                    <a:lnTo>
                      <a:pt x="32" y="8"/>
                    </a:lnTo>
                    <a:lnTo>
                      <a:pt x="40" y="8"/>
                    </a:lnTo>
                    <a:lnTo>
                      <a:pt x="48" y="16"/>
                    </a:lnTo>
                    <a:lnTo>
                      <a:pt x="56" y="16"/>
                    </a:lnTo>
                    <a:lnTo>
                      <a:pt x="64" y="16"/>
                    </a:lnTo>
                    <a:lnTo>
                      <a:pt x="64" y="24"/>
                    </a:lnTo>
                    <a:lnTo>
                      <a:pt x="64" y="32"/>
                    </a:lnTo>
                    <a:lnTo>
                      <a:pt x="72" y="32"/>
                    </a:lnTo>
                    <a:lnTo>
                      <a:pt x="72" y="40"/>
                    </a:lnTo>
                    <a:lnTo>
                      <a:pt x="80" y="40"/>
                    </a:lnTo>
                    <a:lnTo>
                      <a:pt x="80" y="48"/>
                    </a:lnTo>
                    <a:lnTo>
                      <a:pt x="72" y="48"/>
                    </a:lnTo>
                    <a:lnTo>
                      <a:pt x="72" y="56"/>
                    </a:lnTo>
                    <a:lnTo>
                      <a:pt x="80" y="64"/>
                    </a:lnTo>
                    <a:lnTo>
                      <a:pt x="72" y="64"/>
                    </a:lnTo>
                    <a:lnTo>
                      <a:pt x="72" y="64"/>
                    </a:lnTo>
                  </a:path>
                </a:pathLst>
              </a:custGeom>
              <a:grpFill/>
              <a:ln w="12700">
                <a:noFill/>
                <a:prstDash val="solid"/>
                <a:round/>
                <a:headEnd/>
                <a:tailEnd/>
              </a:ln>
            </p:spPr>
            <p:txBody>
              <a:bodyPr/>
              <a:lstStyle/>
              <a:p>
                <a:endParaRPr lang="en-US">
                  <a:solidFill>
                    <a:srgbClr val="000000"/>
                  </a:solidFill>
                </a:endParaRPr>
              </a:p>
            </p:txBody>
          </p:sp>
          <p:sp>
            <p:nvSpPr>
              <p:cNvPr id="1321" name="Freeform 344"/>
              <p:cNvSpPr>
                <a:spLocks/>
              </p:cNvSpPr>
              <p:nvPr/>
            </p:nvSpPr>
            <p:spPr bwMode="auto">
              <a:xfrm>
                <a:off x="5000171" y="6166454"/>
                <a:ext cx="211667" cy="211667"/>
              </a:xfrm>
              <a:custGeom>
                <a:avLst/>
                <a:gdLst>
                  <a:gd name="T0" fmla="*/ 40 w 112"/>
                  <a:gd name="T1" fmla="*/ 104 h 112"/>
                  <a:gd name="T2" fmla="*/ 40 w 112"/>
                  <a:gd name="T3" fmla="*/ 96 h 112"/>
                  <a:gd name="T4" fmla="*/ 48 w 112"/>
                  <a:gd name="T5" fmla="*/ 96 h 112"/>
                  <a:gd name="T6" fmla="*/ 64 w 112"/>
                  <a:gd name="T7" fmla="*/ 104 h 112"/>
                  <a:gd name="T8" fmla="*/ 72 w 112"/>
                  <a:gd name="T9" fmla="*/ 104 h 112"/>
                  <a:gd name="T10" fmla="*/ 80 w 112"/>
                  <a:gd name="T11" fmla="*/ 104 h 112"/>
                  <a:gd name="T12" fmla="*/ 88 w 112"/>
                  <a:gd name="T13" fmla="*/ 112 h 112"/>
                  <a:gd name="T14" fmla="*/ 96 w 112"/>
                  <a:gd name="T15" fmla="*/ 112 h 112"/>
                  <a:gd name="T16" fmla="*/ 96 w 112"/>
                  <a:gd name="T17" fmla="*/ 104 h 112"/>
                  <a:gd name="T18" fmla="*/ 88 w 112"/>
                  <a:gd name="T19" fmla="*/ 104 h 112"/>
                  <a:gd name="T20" fmla="*/ 88 w 112"/>
                  <a:gd name="T21" fmla="*/ 96 h 112"/>
                  <a:gd name="T22" fmla="*/ 96 w 112"/>
                  <a:gd name="T23" fmla="*/ 88 h 112"/>
                  <a:gd name="T24" fmla="*/ 96 w 112"/>
                  <a:gd name="T25" fmla="*/ 80 h 112"/>
                  <a:gd name="T26" fmla="*/ 96 w 112"/>
                  <a:gd name="T27" fmla="*/ 88 h 112"/>
                  <a:gd name="T28" fmla="*/ 88 w 112"/>
                  <a:gd name="T29" fmla="*/ 88 h 112"/>
                  <a:gd name="T30" fmla="*/ 88 w 112"/>
                  <a:gd name="T31" fmla="*/ 80 h 112"/>
                  <a:gd name="T32" fmla="*/ 96 w 112"/>
                  <a:gd name="T33" fmla="*/ 72 h 112"/>
                  <a:gd name="T34" fmla="*/ 96 w 112"/>
                  <a:gd name="T35" fmla="*/ 64 h 112"/>
                  <a:gd name="T36" fmla="*/ 96 w 112"/>
                  <a:gd name="T37" fmla="*/ 72 h 112"/>
                  <a:gd name="T38" fmla="*/ 104 w 112"/>
                  <a:gd name="T39" fmla="*/ 72 h 112"/>
                  <a:gd name="T40" fmla="*/ 104 w 112"/>
                  <a:gd name="T41" fmla="*/ 64 h 112"/>
                  <a:gd name="T42" fmla="*/ 104 w 112"/>
                  <a:gd name="T43" fmla="*/ 48 h 112"/>
                  <a:gd name="T44" fmla="*/ 96 w 112"/>
                  <a:gd name="T45" fmla="*/ 40 h 112"/>
                  <a:gd name="T46" fmla="*/ 104 w 112"/>
                  <a:gd name="T47" fmla="*/ 40 h 112"/>
                  <a:gd name="T48" fmla="*/ 104 w 112"/>
                  <a:gd name="T49" fmla="*/ 32 h 112"/>
                  <a:gd name="T50" fmla="*/ 112 w 112"/>
                  <a:gd name="T51" fmla="*/ 32 h 112"/>
                  <a:gd name="T52" fmla="*/ 112 w 112"/>
                  <a:gd name="T53" fmla="*/ 24 h 112"/>
                  <a:gd name="T54" fmla="*/ 104 w 112"/>
                  <a:gd name="T55" fmla="*/ 24 h 112"/>
                  <a:gd name="T56" fmla="*/ 112 w 112"/>
                  <a:gd name="T57" fmla="*/ 16 h 112"/>
                  <a:gd name="T58" fmla="*/ 112 w 112"/>
                  <a:gd name="T59" fmla="*/ 8 h 112"/>
                  <a:gd name="T60" fmla="*/ 112 w 112"/>
                  <a:gd name="T61" fmla="*/ 0 h 112"/>
                  <a:gd name="T62" fmla="*/ 104 w 112"/>
                  <a:gd name="T63" fmla="*/ 0 h 112"/>
                  <a:gd name="T64" fmla="*/ 96 w 112"/>
                  <a:gd name="T65" fmla="*/ 0 h 112"/>
                  <a:gd name="T66" fmla="*/ 96 w 112"/>
                  <a:gd name="T67" fmla="*/ 8 h 112"/>
                  <a:gd name="T68" fmla="*/ 88 w 112"/>
                  <a:gd name="T69" fmla="*/ 8 h 112"/>
                  <a:gd name="T70" fmla="*/ 88 w 112"/>
                  <a:gd name="T71" fmla="*/ 16 h 112"/>
                  <a:gd name="T72" fmla="*/ 80 w 112"/>
                  <a:gd name="T73" fmla="*/ 16 h 112"/>
                  <a:gd name="T74" fmla="*/ 80 w 112"/>
                  <a:gd name="T75" fmla="*/ 8 h 112"/>
                  <a:gd name="T76" fmla="*/ 72 w 112"/>
                  <a:gd name="T77" fmla="*/ 8 h 112"/>
                  <a:gd name="T78" fmla="*/ 72 w 112"/>
                  <a:gd name="T79" fmla="*/ 16 h 112"/>
                  <a:gd name="T80" fmla="*/ 64 w 112"/>
                  <a:gd name="T81" fmla="*/ 16 h 112"/>
                  <a:gd name="T82" fmla="*/ 64 w 112"/>
                  <a:gd name="T83" fmla="*/ 24 h 112"/>
                  <a:gd name="T84" fmla="*/ 56 w 112"/>
                  <a:gd name="T85" fmla="*/ 24 h 112"/>
                  <a:gd name="T86" fmla="*/ 56 w 112"/>
                  <a:gd name="T87" fmla="*/ 32 h 112"/>
                  <a:gd name="T88" fmla="*/ 48 w 112"/>
                  <a:gd name="T89" fmla="*/ 32 h 112"/>
                  <a:gd name="T90" fmla="*/ 40 w 112"/>
                  <a:gd name="T91" fmla="*/ 32 h 112"/>
                  <a:gd name="T92" fmla="*/ 32 w 112"/>
                  <a:gd name="T93" fmla="*/ 32 h 112"/>
                  <a:gd name="T94" fmla="*/ 24 w 112"/>
                  <a:gd name="T95" fmla="*/ 32 h 112"/>
                  <a:gd name="T96" fmla="*/ 16 w 112"/>
                  <a:gd name="T97" fmla="*/ 32 h 112"/>
                  <a:gd name="T98" fmla="*/ 16 w 112"/>
                  <a:gd name="T99" fmla="*/ 40 h 112"/>
                  <a:gd name="T100" fmla="*/ 16 w 112"/>
                  <a:gd name="T101" fmla="*/ 48 h 112"/>
                  <a:gd name="T102" fmla="*/ 8 w 112"/>
                  <a:gd name="T103" fmla="*/ 56 h 112"/>
                  <a:gd name="T104" fmla="*/ 0 w 112"/>
                  <a:gd name="T105" fmla="*/ 56 h 112"/>
                  <a:gd name="T106" fmla="*/ 8 w 112"/>
                  <a:gd name="T107" fmla="*/ 64 h 112"/>
                  <a:gd name="T108" fmla="*/ 8 w 112"/>
                  <a:gd name="T109" fmla="*/ 72 h 112"/>
                  <a:gd name="T110" fmla="*/ 16 w 112"/>
                  <a:gd name="T111" fmla="*/ 80 h 112"/>
                  <a:gd name="T112" fmla="*/ 24 w 112"/>
                  <a:gd name="T113" fmla="*/ 88 h 112"/>
                  <a:gd name="T114" fmla="*/ 40 w 112"/>
                  <a:gd name="T115" fmla="*/ 96 h 112"/>
                  <a:gd name="T116" fmla="*/ 40 w 112"/>
                  <a:gd name="T117" fmla="*/ 96 h 112"/>
                  <a:gd name="T118" fmla="*/ 40 w 112"/>
                  <a:gd name="T119"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12">
                    <a:moveTo>
                      <a:pt x="40" y="104"/>
                    </a:moveTo>
                    <a:lnTo>
                      <a:pt x="40" y="96"/>
                    </a:lnTo>
                    <a:lnTo>
                      <a:pt x="48" y="96"/>
                    </a:lnTo>
                    <a:lnTo>
                      <a:pt x="64" y="104"/>
                    </a:lnTo>
                    <a:lnTo>
                      <a:pt x="72" y="104"/>
                    </a:lnTo>
                    <a:lnTo>
                      <a:pt x="80" y="104"/>
                    </a:lnTo>
                    <a:lnTo>
                      <a:pt x="88" y="112"/>
                    </a:lnTo>
                    <a:lnTo>
                      <a:pt x="96" y="112"/>
                    </a:lnTo>
                    <a:lnTo>
                      <a:pt x="96" y="104"/>
                    </a:lnTo>
                    <a:lnTo>
                      <a:pt x="88" y="104"/>
                    </a:lnTo>
                    <a:lnTo>
                      <a:pt x="88" y="96"/>
                    </a:lnTo>
                    <a:lnTo>
                      <a:pt x="96" y="88"/>
                    </a:lnTo>
                    <a:lnTo>
                      <a:pt x="96" y="80"/>
                    </a:lnTo>
                    <a:lnTo>
                      <a:pt x="96" y="88"/>
                    </a:lnTo>
                    <a:lnTo>
                      <a:pt x="88" y="88"/>
                    </a:lnTo>
                    <a:lnTo>
                      <a:pt x="88" y="80"/>
                    </a:lnTo>
                    <a:lnTo>
                      <a:pt x="96" y="72"/>
                    </a:lnTo>
                    <a:lnTo>
                      <a:pt x="96" y="64"/>
                    </a:lnTo>
                    <a:lnTo>
                      <a:pt x="96" y="72"/>
                    </a:lnTo>
                    <a:lnTo>
                      <a:pt x="104" y="72"/>
                    </a:lnTo>
                    <a:lnTo>
                      <a:pt x="104" y="64"/>
                    </a:lnTo>
                    <a:lnTo>
                      <a:pt x="104" y="48"/>
                    </a:lnTo>
                    <a:lnTo>
                      <a:pt x="96" y="40"/>
                    </a:lnTo>
                    <a:lnTo>
                      <a:pt x="104" y="40"/>
                    </a:lnTo>
                    <a:lnTo>
                      <a:pt x="104" y="32"/>
                    </a:lnTo>
                    <a:lnTo>
                      <a:pt x="112" y="32"/>
                    </a:lnTo>
                    <a:lnTo>
                      <a:pt x="112" y="24"/>
                    </a:lnTo>
                    <a:lnTo>
                      <a:pt x="104" y="24"/>
                    </a:lnTo>
                    <a:lnTo>
                      <a:pt x="112" y="16"/>
                    </a:lnTo>
                    <a:lnTo>
                      <a:pt x="112" y="8"/>
                    </a:lnTo>
                    <a:lnTo>
                      <a:pt x="112" y="0"/>
                    </a:lnTo>
                    <a:lnTo>
                      <a:pt x="104" y="0"/>
                    </a:lnTo>
                    <a:lnTo>
                      <a:pt x="96" y="0"/>
                    </a:lnTo>
                    <a:lnTo>
                      <a:pt x="96" y="8"/>
                    </a:lnTo>
                    <a:lnTo>
                      <a:pt x="88" y="8"/>
                    </a:lnTo>
                    <a:lnTo>
                      <a:pt x="88" y="16"/>
                    </a:lnTo>
                    <a:lnTo>
                      <a:pt x="80" y="16"/>
                    </a:lnTo>
                    <a:lnTo>
                      <a:pt x="80" y="8"/>
                    </a:lnTo>
                    <a:lnTo>
                      <a:pt x="72" y="8"/>
                    </a:lnTo>
                    <a:lnTo>
                      <a:pt x="72" y="16"/>
                    </a:lnTo>
                    <a:lnTo>
                      <a:pt x="64" y="16"/>
                    </a:lnTo>
                    <a:lnTo>
                      <a:pt x="64" y="24"/>
                    </a:lnTo>
                    <a:lnTo>
                      <a:pt x="56" y="24"/>
                    </a:lnTo>
                    <a:lnTo>
                      <a:pt x="56" y="32"/>
                    </a:lnTo>
                    <a:lnTo>
                      <a:pt x="48" y="32"/>
                    </a:lnTo>
                    <a:lnTo>
                      <a:pt x="40" y="32"/>
                    </a:lnTo>
                    <a:lnTo>
                      <a:pt x="32" y="32"/>
                    </a:lnTo>
                    <a:lnTo>
                      <a:pt x="24" y="32"/>
                    </a:lnTo>
                    <a:lnTo>
                      <a:pt x="16" y="32"/>
                    </a:lnTo>
                    <a:lnTo>
                      <a:pt x="16" y="40"/>
                    </a:lnTo>
                    <a:lnTo>
                      <a:pt x="16" y="48"/>
                    </a:lnTo>
                    <a:lnTo>
                      <a:pt x="8" y="56"/>
                    </a:lnTo>
                    <a:lnTo>
                      <a:pt x="0" y="56"/>
                    </a:lnTo>
                    <a:lnTo>
                      <a:pt x="8" y="64"/>
                    </a:lnTo>
                    <a:lnTo>
                      <a:pt x="8" y="72"/>
                    </a:lnTo>
                    <a:lnTo>
                      <a:pt x="16" y="80"/>
                    </a:lnTo>
                    <a:lnTo>
                      <a:pt x="24" y="88"/>
                    </a:lnTo>
                    <a:lnTo>
                      <a:pt x="40" y="96"/>
                    </a:lnTo>
                    <a:lnTo>
                      <a:pt x="40" y="96"/>
                    </a:lnTo>
                    <a:lnTo>
                      <a:pt x="40" y="104"/>
                    </a:lnTo>
                    <a:close/>
                  </a:path>
                </a:pathLst>
              </a:custGeom>
              <a:grpFill/>
              <a:ln w="9525">
                <a:noFill/>
                <a:round/>
                <a:headEnd/>
                <a:tailEnd/>
              </a:ln>
            </p:spPr>
            <p:txBody>
              <a:bodyPr/>
              <a:lstStyle/>
              <a:p>
                <a:endParaRPr lang="en-US">
                  <a:solidFill>
                    <a:srgbClr val="000000"/>
                  </a:solidFill>
                </a:endParaRPr>
              </a:p>
            </p:txBody>
          </p:sp>
          <p:sp>
            <p:nvSpPr>
              <p:cNvPr id="1322" name="Freeform 345"/>
              <p:cNvSpPr>
                <a:spLocks/>
              </p:cNvSpPr>
              <p:nvPr/>
            </p:nvSpPr>
            <p:spPr bwMode="auto">
              <a:xfrm>
                <a:off x="5000171" y="6166454"/>
                <a:ext cx="211667" cy="211667"/>
              </a:xfrm>
              <a:custGeom>
                <a:avLst/>
                <a:gdLst>
                  <a:gd name="T0" fmla="*/ 40 w 112"/>
                  <a:gd name="T1" fmla="*/ 104 h 112"/>
                  <a:gd name="T2" fmla="*/ 40 w 112"/>
                  <a:gd name="T3" fmla="*/ 96 h 112"/>
                  <a:gd name="T4" fmla="*/ 48 w 112"/>
                  <a:gd name="T5" fmla="*/ 96 h 112"/>
                  <a:gd name="T6" fmla="*/ 64 w 112"/>
                  <a:gd name="T7" fmla="*/ 104 h 112"/>
                  <a:gd name="T8" fmla="*/ 72 w 112"/>
                  <a:gd name="T9" fmla="*/ 104 h 112"/>
                  <a:gd name="T10" fmla="*/ 80 w 112"/>
                  <a:gd name="T11" fmla="*/ 104 h 112"/>
                  <a:gd name="T12" fmla="*/ 88 w 112"/>
                  <a:gd name="T13" fmla="*/ 112 h 112"/>
                  <a:gd name="T14" fmla="*/ 96 w 112"/>
                  <a:gd name="T15" fmla="*/ 112 h 112"/>
                  <a:gd name="T16" fmla="*/ 96 w 112"/>
                  <a:gd name="T17" fmla="*/ 104 h 112"/>
                  <a:gd name="T18" fmla="*/ 88 w 112"/>
                  <a:gd name="T19" fmla="*/ 104 h 112"/>
                  <a:gd name="T20" fmla="*/ 88 w 112"/>
                  <a:gd name="T21" fmla="*/ 96 h 112"/>
                  <a:gd name="T22" fmla="*/ 96 w 112"/>
                  <a:gd name="T23" fmla="*/ 88 h 112"/>
                  <a:gd name="T24" fmla="*/ 96 w 112"/>
                  <a:gd name="T25" fmla="*/ 80 h 112"/>
                  <a:gd name="T26" fmla="*/ 96 w 112"/>
                  <a:gd name="T27" fmla="*/ 88 h 112"/>
                  <a:gd name="T28" fmla="*/ 88 w 112"/>
                  <a:gd name="T29" fmla="*/ 88 h 112"/>
                  <a:gd name="T30" fmla="*/ 88 w 112"/>
                  <a:gd name="T31" fmla="*/ 80 h 112"/>
                  <a:gd name="T32" fmla="*/ 96 w 112"/>
                  <a:gd name="T33" fmla="*/ 72 h 112"/>
                  <a:gd name="T34" fmla="*/ 96 w 112"/>
                  <a:gd name="T35" fmla="*/ 64 h 112"/>
                  <a:gd name="T36" fmla="*/ 96 w 112"/>
                  <a:gd name="T37" fmla="*/ 72 h 112"/>
                  <a:gd name="T38" fmla="*/ 104 w 112"/>
                  <a:gd name="T39" fmla="*/ 72 h 112"/>
                  <a:gd name="T40" fmla="*/ 104 w 112"/>
                  <a:gd name="T41" fmla="*/ 64 h 112"/>
                  <a:gd name="T42" fmla="*/ 104 w 112"/>
                  <a:gd name="T43" fmla="*/ 48 h 112"/>
                  <a:gd name="T44" fmla="*/ 96 w 112"/>
                  <a:gd name="T45" fmla="*/ 40 h 112"/>
                  <a:gd name="T46" fmla="*/ 104 w 112"/>
                  <a:gd name="T47" fmla="*/ 40 h 112"/>
                  <a:gd name="T48" fmla="*/ 104 w 112"/>
                  <a:gd name="T49" fmla="*/ 32 h 112"/>
                  <a:gd name="T50" fmla="*/ 112 w 112"/>
                  <a:gd name="T51" fmla="*/ 32 h 112"/>
                  <a:gd name="T52" fmla="*/ 112 w 112"/>
                  <a:gd name="T53" fmla="*/ 24 h 112"/>
                  <a:gd name="T54" fmla="*/ 104 w 112"/>
                  <a:gd name="T55" fmla="*/ 24 h 112"/>
                  <a:gd name="T56" fmla="*/ 112 w 112"/>
                  <a:gd name="T57" fmla="*/ 16 h 112"/>
                  <a:gd name="T58" fmla="*/ 112 w 112"/>
                  <a:gd name="T59" fmla="*/ 8 h 112"/>
                  <a:gd name="T60" fmla="*/ 112 w 112"/>
                  <a:gd name="T61" fmla="*/ 0 h 112"/>
                  <a:gd name="T62" fmla="*/ 104 w 112"/>
                  <a:gd name="T63" fmla="*/ 0 h 112"/>
                  <a:gd name="T64" fmla="*/ 96 w 112"/>
                  <a:gd name="T65" fmla="*/ 0 h 112"/>
                  <a:gd name="T66" fmla="*/ 96 w 112"/>
                  <a:gd name="T67" fmla="*/ 8 h 112"/>
                  <a:gd name="T68" fmla="*/ 88 w 112"/>
                  <a:gd name="T69" fmla="*/ 8 h 112"/>
                  <a:gd name="T70" fmla="*/ 88 w 112"/>
                  <a:gd name="T71" fmla="*/ 16 h 112"/>
                  <a:gd name="T72" fmla="*/ 80 w 112"/>
                  <a:gd name="T73" fmla="*/ 16 h 112"/>
                  <a:gd name="T74" fmla="*/ 80 w 112"/>
                  <a:gd name="T75" fmla="*/ 8 h 112"/>
                  <a:gd name="T76" fmla="*/ 72 w 112"/>
                  <a:gd name="T77" fmla="*/ 8 h 112"/>
                  <a:gd name="T78" fmla="*/ 72 w 112"/>
                  <a:gd name="T79" fmla="*/ 16 h 112"/>
                  <a:gd name="T80" fmla="*/ 64 w 112"/>
                  <a:gd name="T81" fmla="*/ 16 h 112"/>
                  <a:gd name="T82" fmla="*/ 64 w 112"/>
                  <a:gd name="T83" fmla="*/ 24 h 112"/>
                  <a:gd name="T84" fmla="*/ 56 w 112"/>
                  <a:gd name="T85" fmla="*/ 24 h 112"/>
                  <a:gd name="T86" fmla="*/ 56 w 112"/>
                  <a:gd name="T87" fmla="*/ 32 h 112"/>
                  <a:gd name="T88" fmla="*/ 48 w 112"/>
                  <a:gd name="T89" fmla="*/ 32 h 112"/>
                  <a:gd name="T90" fmla="*/ 40 w 112"/>
                  <a:gd name="T91" fmla="*/ 32 h 112"/>
                  <a:gd name="T92" fmla="*/ 32 w 112"/>
                  <a:gd name="T93" fmla="*/ 32 h 112"/>
                  <a:gd name="T94" fmla="*/ 24 w 112"/>
                  <a:gd name="T95" fmla="*/ 32 h 112"/>
                  <a:gd name="T96" fmla="*/ 16 w 112"/>
                  <a:gd name="T97" fmla="*/ 32 h 112"/>
                  <a:gd name="T98" fmla="*/ 16 w 112"/>
                  <a:gd name="T99" fmla="*/ 40 h 112"/>
                  <a:gd name="T100" fmla="*/ 16 w 112"/>
                  <a:gd name="T101" fmla="*/ 48 h 112"/>
                  <a:gd name="T102" fmla="*/ 8 w 112"/>
                  <a:gd name="T103" fmla="*/ 56 h 112"/>
                  <a:gd name="T104" fmla="*/ 0 w 112"/>
                  <a:gd name="T105" fmla="*/ 56 h 112"/>
                  <a:gd name="T106" fmla="*/ 8 w 112"/>
                  <a:gd name="T107" fmla="*/ 64 h 112"/>
                  <a:gd name="T108" fmla="*/ 8 w 112"/>
                  <a:gd name="T109" fmla="*/ 72 h 112"/>
                  <a:gd name="T110" fmla="*/ 16 w 112"/>
                  <a:gd name="T111" fmla="*/ 80 h 112"/>
                  <a:gd name="T112" fmla="*/ 24 w 112"/>
                  <a:gd name="T113" fmla="*/ 88 h 112"/>
                  <a:gd name="T114" fmla="*/ 40 w 112"/>
                  <a:gd name="T115" fmla="*/ 96 h 112"/>
                  <a:gd name="T116" fmla="*/ 40 w 112"/>
                  <a:gd name="T117"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112">
                    <a:moveTo>
                      <a:pt x="40" y="104"/>
                    </a:moveTo>
                    <a:lnTo>
                      <a:pt x="40" y="96"/>
                    </a:lnTo>
                    <a:lnTo>
                      <a:pt x="48" y="96"/>
                    </a:lnTo>
                    <a:lnTo>
                      <a:pt x="64" y="104"/>
                    </a:lnTo>
                    <a:lnTo>
                      <a:pt x="72" y="104"/>
                    </a:lnTo>
                    <a:lnTo>
                      <a:pt x="80" y="104"/>
                    </a:lnTo>
                    <a:lnTo>
                      <a:pt x="88" y="112"/>
                    </a:lnTo>
                    <a:lnTo>
                      <a:pt x="96" y="112"/>
                    </a:lnTo>
                    <a:lnTo>
                      <a:pt x="96" y="104"/>
                    </a:lnTo>
                    <a:lnTo>
                      <a:pt x="88" y="104"/>
                    </a:lnTo>
                    <a:lnTo>
                      <a:pt x="88" y="96"/>
                    </a:lnTo>
                    <a:lnTo>
                      <a:pt x="96" y="88"/>
                    </a:lnTo>
                    <a:lnTo>
                      <a:pt x="96" y="80"/>
                    </a:lnTo>
                    <a:lnTo>
                      <a:pt x="96" y="88"/>
                    </a:lnTo>
                    <a:lnTo>
                      <a:pt x="88" y="88"/>
                    </a:lnTo>
                    <a:lnTo>
                      <a:pt x="88" y="80"/>
                    </a:lnTo>
                    <a:lnTo>
                      <a:pt x="96" y="72"/>
                    </a:lnTo>
                    <a:lnTo>
                      <a:pt x="96" y="64"/>
                    </a:lnTo>
                    <a:lnTo>
                      <a:pt x="96" y="72"/>
                    </a:lnTo>
                    <a:lnTo>
                      <a:pt x="104" y="72"/>
                    </a:lnTo>
                    <a:lnTo>
                      <a:pt x="104" y="64"/>
                    </a:lnTo>
                    <a:lnTo>
                      <a:pt x="104" y="48"/>
                    </a:lnTo>
                    <a:lnTo>
                      <a:pt x="96" y="40"/>
                    </a:lnTo>
                    <a:lnTo>
                      <a:pt x="104" y="40"/>
                    </a:lnTo>
                    <a:lnTo>
                      <a:pt x="104" y="32"/>
                    </a:lnTo>
                    <a:lnTo>
                      <a:pt x="112" y="32"/>
                    </a:lnTo>
                    <a:lnTo>
                      <a:pt x="112" y="24"/>
                    </a:lnTo>
                    <a:lnTo>
                      <a:pt x="104" y="24"/>
                    </a:lnTo>
                    <a:lnTo>
                      <a:pt x="112" y="16"/>
                    </a:lnTo>
                    <a:lnTo>
                      <a:pt x="112" y="8"/>
                    </a:lnTo>
                    <a:lnTo>
                      <a:pt x="112" y="0"/>
                    </a:lnTo>
                    <a:lnTo>
                      <a:pt x="104" y="0"/>
                    </a:lnTo>
                    <a:lnTo>
                      <a:pt x="96" y="0"/>
                    </a:lnTo>
                    <a:lnTo>
                      <a:pt x="96" y="8"/>
                    </a:lnTo>
                    <a:lnTo>
                      <a:pt x="88" y="8"/>
                    </a:lnTo>
                    <a:lnTo>
                      <a:pt x="88" y="16"/>
                    </a:lnTo>
                    <a:lnTo>
                      <a:pt x="80" y="16"/>
                    </a:lnTo>
                    <a:lnTo>
                      <a:pt x="80" y="8"/>
                    </a:lnTo>
                    <a:lnTo>
                      <a:pt x="72" y="8"/>
                    </a:lnTo>
                    <a:lnTo>
                      <a:pt x="72" y="16"/>
                    </a:lnTo>
                    <a:lnTo>
                      <a:pt x="64" y="16"/>
                    </a:lnTo>
                    <a:lnTo>
                      <a:pt x="64" y="24"/>
                    </a:lnTo>
                    <a:lnTo>
                      <a:pt x="56" y="24"/>
                    </a:lnTo>
                    <a:lnTo>
                      <a:pt x="56" y="32"/>
                    </a:lnTo>
                    <a:lnTo>
                      <a:pt x="48" y="32"/>
                    </a:lnTo>
                    <a:lnTo>
                      <a:pt x="40" y="32"/>
                    </a:lnTo>
                    <a:lnTo>
                      <a:pt x="32" y="32"/>
                    </a:lnTo>
                    <a:lnTo>
                      <a:pt x="24" y="32"/>
                    </a:lnTo>
                    <a:lnTo>
                      <a:pt x="16" y="32"/>
                    </a:lnTo>
                    <a:lnTo>
                      <a:pt x="16" y="40"/>
                    </a:lnTo>
                    <a:lnTo>
                      <a:pt x="16" y="48"/>
                    </a:lnTo>
                    <a:lnTo>
                      <a:pt x="8" y="56"/>
                    </a:lnTo>
                    <a:lnTo>
                      <a:pt x="0" y="56"/>
                    </a:lnTo>
                    <a:lnTo>
                      <a:pt x="8" y="64"/>
                    </a:lnTo>
                    <a:lnTo>
                      <a:pt x="8" y="72"/>
                    </a:lnTo>
                    <a:lnTo>
                      <a:pt x="16" y="80"/>
                    </a:lnTo>
                    <a:lnTo>
                      <a:pt x="24" y="88"/>
                    </a:lnTo>
                    <a:lnTo>
                      <a:pt x="40" y="96"/>
                    </a:lnTo>
                    <a:lnTo>
                      <a:pt x="40" y="96"/>
                    </a:lnTo>
                  </a:path>
                </a:pathLst>
              </a:custGeom>
              <a:grpFill/>
              <a:ln w="12700">
                <a:noFill/>
                <a:prstDash val="solid"/>
                <a:round/>
                <a:headEnd/>
                <a:tailEnd/>
              </a:ln>
            </p:spPr>
            <p:txBody>
              <a:bodyPr/>
              <a:lstStyle/>
              <a:p>
                <a:endParaRPr lang="en-US">
                  <a:solidFill>
                    <a:srgbClr val="000000"/>
                  </a:solidFill>
                </a:endParaRPr>
              </a:p>
            </p:txBody>
          </p:sp>
          <p:sp>
            <p:nvSpPr>
              <p:cNvPr id="1323" name="Freeform 346"/>
              <p:cNvSpPr>
                <a:spLocks/>
              </p:cNvSpPr>
              <p:nvPr/>
            </p:nvSpPr>
            <p:spPr bwMode="auto">
              <a:xfrm>
                <a:off x="4909457" y="6121097"/>
                <a:ext cx="302381" cy="151190"/>
              </a:xfrm>
              <a:custGeom>
                <a:avLst/>
                <a:gdLst>
                  <a:gd name="T0" fmla="*/ 64 w 160"/>
                  <a:gd name="T1" fmla="*/ 72 h 80"/>
                  <a:gd name="T2" fmla="*/ 64 w 160"/>
                  <a:gd name="T3" fmla="*/ 56 h 80"/>
                  <a:gd name="T4" fmla="*/ 80 w 160"/>
                  <a:gd name="T5" fmla="*/ 56 h 80"/>
                  <a:gd name="T6" fmla="*/ 96 w 160"/>
                  <a:gd name="T7" fmla="*/ 56 h 80"/>
                  <a:gd name="T8" fmla="*/ 104 w 160"/>
                  <a:gd name="T9" fmla="*/ 48 h 80"/>
                  <a:gd name="T10" fmla="*/ 112 w 160"/>
                  <a:gd name="T11" fmla="*/ 40 h 80"/>
                  <a:gd name="T12" fmla="*/ 120 w 160"/>
                  <a:gd name="T13" fmla="*/ 32 h 80"/>
                  <a:gd name="T14" fmla="*/ 128 w 160"/>
                  <a:gd name="T15" fmla="*/ 40 h 80"/>
                  <a:gd name="T16" fmla="*/ 136 w 160"/>
                  <a:gd name="T17" fmla="*/ 32 h 80"/>
                  <a:gd name="T18" fmla="*/ 144 w 160"/>
                  <a:gd name="T19" fmla="*/ 24 h 80"/>
                  <a:gd name="T20" fmla="*/ 160 w 160"/>
                  <a:gd name="T21" fmla="*/ 24 h 80"/>
                  <a:gd name="T22" fmla="*/ 152 w 160"/>
                  <a:gd name="T23" fmla="*/ 24 h 80"/>
                  <a:gd name="T24" fmla="*/ 136 w 160"/>
                  <a:gd name="T25" fmla="*/ 16 h 80"/>
                  <a:gd name="T26" fmla="*/ 136 w 160"/>
                  <a:gd name="T27" fmla="*/ 16 h 80"/>
                  <a:gd name="T28" fmla="*/ 136 w 160"/>
                  <a:gd name="T29" fmla="*/ 8 h 80"/>
                  <a:gd name="T30" fmla="*/ 144 w 160"/>
                  <a:gd name="T31" fmla="*/ 16 h 80"/>
                  <a:gd name="T32" fmla="*/ 136 w 160"/>
                  <a:gd name="T33" fmla="*/ 8 h 80"/>
                  <a:gd name="T34" fmla="*/ 120 w 160"/>
                  <a:gd name="T35" fmla="*/ 8 h 80"/>
                  <a:gd name="T36" fmla="*/ 96 w 160"/>
                  <a:gd name="T37" fmla="*/ 8 h 80"/>
                  <a:gd name="T38" fmla="*/ 88 w 160"/>
                  <a:gd name="T39" fmla="*/ 0 h 80"/>
                  <a:gd name="T40" fmla="*/ 80 w 160"/>
                  <a:gd name="T41" fmla="*/ 0 h 80"/>
                  <a:gd name="T42" fmla="*/ 56 w 160"/>
                  <a:gd name="T43" fmla="*/ 8 h 80"/>
                  <a:gd name="T44" fmla="*/ 40 w 160"/>
                  <a:gd name="T45" fmla="*/ 8 h 80"/>
                  <a:gd name="T46" fmla="*/ 32 w 160"/>
                  <a:gd name="T47" fmla="*/ 16 h 80"/>
                  <a:gd name="T48" fmla="*/ 16 w 160"/>
                  <a:gd name="T49" fmla="*/ 16 h 80"/>
                  <a:gd name="T50" fmla="*/ 8 w 160"/>
                  <a:gd name="T51" fmla="*/ 32 h 80"/>
                  <a:gd name="T52" fmla="*/ 0 w 160"/>
                  <a:gd name="T53" fmla="*/ 48 h 80"/>
                  <a:gd name="T54" fmla="*/ 8 w 160"/>
                  <a:gd name="T55" fmla="*/ 72 h 80"/>
                  <a:gd name="T56" fmla="*/ 24 w 160"/>
                  <a:gd name="T57" fmla="*/ 72 h 80"/>
                  <a:gd name="T58" fmla="*/ 24 w 160"/>
                  <a:gd name="T59" fmla="*/ 72 h 80"/>
                  <a:gd name="T60" fmla="*/ 40 w 160"/>
                  <a:gd name="T61" fmla="*/ 80 h 80"/>
                  <a:gd name="T62" fmla="*/ 48 w 160"/>
                  <a:gd name="T63" fmla="*/ 72 h 80"/>
                  <a:gd name="T64" fmla="*/ 56 w 160"/>
                  <a:gd name="T65"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80">
                    <a:moveTo>
                      <a:pt x="56" y="80"/>
                    </a:moveTo>
                    <a:lnTo>
                      <a:pt x="64" y="72"/>
                    </a:lnTo>
                    <a:lnTo>
                      <a:pt x="64" y="64"/>
                    </a:lnTo>
                    <a:lnTo>
                      <a:pt x="64" y="56"/>
                    </a:lnTo>
                    <a:lnTo>
                      <a:pt x="72" y="56"/>
                    </a:lnTo>
                    <a:lnTo>
                      <a:pt x="80" y="56"/>
                    </a:lnTo>
                    <a:lnTo>
                      <a:pt x="88" y="56"/>
                    </a:lnTo>
                    <a:lnTo>
                      <a:pt x="96" y="56"/>
                    </a:lnTo>
                    <a:lnTo>
                      <a:pt x="104" y="56"/>
                    </a:lnTo>
                    <a:lnTo>
                      <a:pt x="104" y="48"/>
                    </a:lnTo>
                    <a:lnTo>
                      <a:pt x="112" y="48"/>
                    </a:lnTo>
                    <a:lnTo>
                      <a:pt x="112" y="40"/>
                    </a:lnTo>
                    <a:lnTo>
                      <a:pt x="120" y="40"/>
                    </a:lnTo>
                    <a:lnTo>
                      <a:pt x="120" y="32"/>
                    </a:lnTo>
                    <a:lnTo>
                      <a:pt x="128" y="32"/>
                    </a:lnTo>
                    <a:lnTo>
                      <a:pt x="128" y="40"/>
                    </a:lnTo>
                    <a:lnTo>
                      <a:pt x="136" y="40"/>
                    </a:lnTo>
                    <a:lnTo>
                      <a:pt x="136" y="32"/>
                    </a:lnTo>
                    <a:lnTo>
                      <a:pt x="144" y="32"/>
                    </a:lnTo>
                    <a:lnTo>
                      <a:pt x="144" y="24"/>
                    </a:lnTo>
                    <a:lnTo>
                      <a:pt x="152" y="24"/>
                    </a:lnTo>
                    <a:lnTo>
                      <a:pt x="160" y="24"/>
                    </a:lnTo>
                    <a:lnTo>
                      <a:pt x="152" y="16"/>
                    </a:lnTo>
                    <a:lnTo>
                      <a:pt x="152" y="24"/>
                    </a:lnTo>
                    <a:lnTo>
                      <a:pt x="144" y="24"/>
                    </a:lnTo>
                    <a:lnTo>
                      <a:pt x="136" y="16"/>
                    </a:lnTo>
                    <a:lnTo>
                      <a:pt x="128" y="16"/>
                    </a:lnTo>
                    <a:lnTo>
                      <a:pt x="136" y="16"/>
                    </a:lnTo>
                    <a:lnTo>
                      <a:pt x="128" y="8"/>
                    </a:lnTo>
                    <a:lnTo>
                      <a:pt x="136" y="8"/>
                    </a:lnTo>
                    <a:lnTo>
                      <a:pt x="136" y="16"/>
                    </a:lnTo>
                    <a:lnTo>
                      <a:pt x="144" y="16"/>
                    </a:lnTo>
                    <a:lnTo>
                      <a:pt x="144" y="8"/>
                    </a:lnTo>
                    <a:lnTo>
                      <a:pt x="136" y="8"/>
                    </a:lnTo>
                    <a:lnTo>
                      <a:pt x="128" y="8"/>
                    </a:lnTo>
                    <a:lnTo>
                      <a:pt x="120" y="8"/>
                    </a:lnTo>
                    <a:lnTo>
                      <a:pt x="112" y="8"/>
                    </a:lnTo>
                    <a:lnTo>
                      <a:pt x="96" y="8"/>
                    </a:lnTo>
                    <a:lnTo>
                      <a:pt x="96" y="0"/>
                    </a:lnTo>
                    <a:lnTo>
                      <a:pt x="88" y="0"/>
                    </a:lnTo>
                    <a:lnTo>
                      <a:pt x="80" y="8"/>
                    </a:lnTo>
                    <a:lnTo>
                      <a:pt x="80" y="0"/>
                    </a:lnTo>
                    <a:lnTo>
                      <a:pt x="72" y="8"/>
                    </a:lnTo>
                    <a:lnTo>
                      <a:pt x="56" y="8"/>
                    </a:lnTo>
                    <a:lnTo>
                      <a:pt x="48" y="8"/>
                    </a:lnTo>
                    <a:lnTo>
                      <a:pt x="40" y="8"/>
                    </a:lnTo>
                    <a:lnTo>
                      <a:pt x="32" y="8"/>
                    </a:lnTo>
                    <a:lnTo>
                      <a:pt x="32" y="16"/>
                    </a:lnTo>
                    <a:lnTo>
                      <a:pt x="24" y="16"/>
                    </a:lnTo>
                    <a:lnTo>
                      <a:pt x="16" y="16"/>
                    </a:lnTo>
                    <a:lnTo>
                      <a:pt x="16" y="24"/>
                    </a:lnTo>
                    <a:lnTo>
                      <a:pt x="8" y="32"/>
                    </a:lnTo>
                    <a:lnTo>
                      <a:pt x="8" y="40"/>
                    </a:lnTo>
                    <a:lnTo>
                      <a:pt x="0" y="48"/>
                    </a:lnTo>
                    <a:lnTo>
                      <a:pt x="0" y="64"/>
                    </a:lnTo>
                    <a:lnTo>
                      <a:pt x="8" y="72"/>
                    </a:lnTo>
                    <a:lnTo>
                      <a:pt x="16" y="72"/>
                    </a:lnTo>
                    <a:lnTo>
                      <a:pt x="24" y="72"/>
                    </a:lnTo>
                    <a:lnTo>
                      <a:pt x="16" y="72"/>
                    </a:lnTo>
                    <a:lnTo>
                      <a:pt x="24" y="72"/>
                    </a:lnTo>
                    <a:lnTo>
                      <a:pt x="32" y="80"/>
                    </a:lnTo>
                    <a:lnTo>
                      <a:pt x="40" y="80"/>
                    </a:lnTo>
                    <a:lnTo>
                      <a:pt x="40" y="72"/>
                    </a:lnTo>
                    <a:lnTo>
                      <a:pt x="48" y="72"/>
                    </a:lnTo>
                    <a:lnTo>
                      <a:pt x="56" y="72"/>
                    </a:lnTo>
                    <a:lnTo>
                      <a:pt x="56" y="72"/>
                    </a:lnTo>
                    <a:lnTo>
                      <a:pt x="56" y="80"/>
                    </a:lnTo>
                    <a:close/>
                  </a:path>
                </a:pathLst>
              </a:custGeom>
              <a:grpFill/>
              <a:ln w="9525">
                <a:noFill/>
                <a:round/>
                <a:headEnd/>
                <a:tailEnd/>
              </a:ln>
            </p:spPr>
            <p:txBody>
              <a:bodyPr/>
              <a:lstStyle/>
              <a:p>
                <a:endParaRPr lang="en-US">
                  <a:solidFill>
                    <a:srgbClr val="000000"/>
                  </a:solidFill>
                </a:endParaRPr>
              </a:p>
            </p:txBody>
          </p:sp>
          <p:sp>
            <p:nvSpPr>
              <p:cNvPr id="1324" name="Freeform 347"/>
              <p:cNvSpPr>
                <a:spLocks/>
              </p:cNvSpPr>
              <p:nvPr/>
            </p:nvSpPr>
            <p:spPr bwMode="auto">
              <a:xfrm>
                <a:off x="4909457" y="6121097"/>
                <a:ext cx="302381" cy="151190"/>
              </a:xfrm>
              <a:custGeom>
                <a:avLst/>
                <a:gdLst>
                  <a:gd name="T0" fmla="*/ 64 w 160"/>
                  <a:gd name="T1" fmla="*/ 72 h 80"/>
                  <a:gd name="T2" fmla="*/ 64 w 160"/>
                  <a:gd name="T3" fmla="*/ 56 h 80"/>
                  <a:gd name="T4" fmla="*/ 80 w 160"/>
                  <a:gd name="T5" fmla="*/ 56 h 80"/>
                  <a:gd name="T6" fmla="*/ 96 w 160"/>
                  <a:gd name="T7" fmla="*/ 56 h 80"/>
                  <a:gd name="T8" fmla="*/ 104 w 160"/>
                  <a:gd name="T9" fmla="*/ 48 h 80"/>
                  <a:gd name="T10" fmla="*/ 112 w 160"/>
                  <a:gd name="T11" fmla="*/ 40 h 80"/>
                  <a:gd name="T12" fmla="*/ 120 w 160"/>
                  <a:gd name="T13" fmla="*/ 32 h 80"/>
                  <a:gd name="T14" fmla="*/ 128 w 160"/>
                  <a:gd name="T15" fmla="*/ 40 h 80"/>
                  <a:gd name="T16" fmla="*/ 136 w 160"/>
                  <a:gd name="T17" fmla="*/ 32 h 80"/>
                  <a:gd name="T18" fmla="*/ 144 w 160"/>
                  <a:gd name="T19" fmla="*/ 24 h 80"/>
                  <a:gd name="T20" fmla="*/ 160 w 160"/>
                  <a:gd name="T21" fmla="*/ 24 h 80"/>
                  <a:gd name="T22" fmla="*/ 152 w 160"/>
                  <a:gd name="T23" fmla="*/ 24 h 80"/>
                  <a:gd name="T24" fmla="*/ 136 w 160"/>
                  <a:gd name="T25" fmla="*/ 16 h 80"/>
                  <a:gd name="T26" fmla="*/ 136 w 160"/>
                  <a:gd name="T27" fmla="*/ 16 h 80"/>
                  <a:gd name="T28" fmla="*/ 136 w 160"/>
                  <a:gd name="T29" fmla="*/ 8 h 80"/>
                  <a:gd name="T30" fmla="*/ 144 w 160"/>
                  <a:gd name="T31" fmla="*/ 16 h 80"/>
                  <a:gd name="T32" fmla="*/ 136 w 160"/>
                  <a:gd name="T33" fmla="*/ 8 h 80"/>
                  <a:gd name="T34" fmla="*/ 120 w 160"/>
                  <a:gd name="T35" fmla="*/ 8 h 80"/>
                  <a:gd name="T36" fmla="*/ 96 w 160"/>
                  <a:gd name="T37" fmla="*/ 8 h 80"/>
                  <a:gd name="T38" fmla="*/ 88 w 160"/>
                  <a:gd name="T39" fmla="*/ 0 h 80"/>
                  <a:gd name="T40" fmla="*/ 80 w 160"/>
                  <a:gd name="T41" fmla="*/ 0 h 80"/>
                  <a:gd name="T42" fmla="*/ 56 w 160"/>
                  <a:gd name="T43" fmla="*/ 8 h 80"/>
                  <a:gd name="T44" fmla="*/ 40 w 160"/>
                  <a:gd name="T45" fmla="*/ 8 h 80"/>
                  <a:gd name="T46" fmla="*/ 32 w 160"/>
                  <a:gd name="T47" fmla="*/ 16 h 80"/>
                  <a:gd name="T48" fmla="*/ 16 w 160"/>
                  <a:gd name="T49" fmla="*/ 16 h 80"/>
                  <a:gd name="T50" fmla="*/ 8 w 160"/>
                  <a:gd name="T51" fmla="*/ 32 h 80"/>
                  <a:gd name="T52" fmla="*/ 0 w 160"/>
                  <a:gd name="T53" fmla="*/ 48 h 80"/>
                  <a:gd name="T54" fmla="*/ 8 w 160"/>
                  <a:gd name="T55" fmla="*/ 72 h 80"/>
                  <a:gd name="T56" fmla="*/ 24 w 160"/>
                  <a:gd name="T57" fmla="*/ 72 h 80"/>
                  <a:gd name="T58" fmla="*/ 24 w 160"/>
                  <a:gd name="T59" fmla="*/ 72 h 80"/>
                  <a:gd name="T60" fmla="*/ 40 w 160"/>
                  <a:gd name="T61" fmla="*/ 80 h 80"/>
                  <a:gd name="T62" fmla="*/ 48 w 160"/>
                  <a:gd name="T63" fmla="*/ 72 h 80"/>
                  <a:gd name="T64" fmla="*/ 56 w 160"/>
                  <a:gd name="T65"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80">
                    <a:moveTo>
                      <a:pt x="56" y="80"/>
                    </a:moveTo>
                    <a:lnTo>
                      <a:pt x="64" y="72"/>
                    </a:lnTo>
                    <a:lnTo>
                      <a:pt x="64" y="64"/>
                    </a:lnTo>
                    <a:lnTo>
                      <a:pt x="64" y="56"/>
                    </a:lnTo>
                    <a:lnTo>
                      <a:pt x="72" y="56"/>
                    </a:lnTo>
                    <a:lnTo>
                      <a:pt x="80" y="56"/>
                    </a:lnTo>
                    <a:lnTo>
                      <a:pt x="88" y="56"/>
                    </a:lnTo>
                    <a:lnTo>
                      <a:pt x="96" y="56"/>
                    </a:lnTo>
                    <a:lnTo>
                      <a:pt x="104" y="56"/>
                    </a:lnTo>
                    <a:lnTo>
                      <a:pt x="104" y="48"/>
                    </a:lnTo>
                    <a:lnTo>
                      <a:pt x="112" y="48"/>
                    </a:lnTo>
                    <a:lnTo>
                      <a:pt x="112" y="40"/>
                    </a:lnTo>
                    <a:lnTo>
                      <a:pt x="120" y="40"/>
                    </a:lnTo>
                    <a:lnTo>
                      <a:pt x="120" y="32"/>
                    </a:lnTo>
                    <a:lnTo>
                      <a:pt x="128" y="32"/>
                    </a:lnTo>
                    <a:lnTo>
                      <a:pt x="128" y="40"/>
                    </a:lnTo>
                    <a:lnTo>
                      <a:pt x="136" y="40"/>
                    </a:lnTo>
                    <a:lnTo>
                      <a:pt x="136" y="32"/>
                    </a:lnTo>
                    <a:lnTo>
                      <a:pt x="144" y="32"/>
                    </a:lnTo>
                    <a:lnTo>
                      <a:pt x="144" y="24"/>
                    </a:lnTo>
                    <a:lnTo>
                      <a:pt x="152" y="24"/>
                    </a:lnTo>
                    <a:lnTo>
                      <a:pt x="160" y="24"/>
                    </a:lnTo>
                    <a:lnTo>
                      <a:pt x="152" y="16"/>
                    </a:lnTo>
                    <a:lnTo>
                      <a:pt x="152" y="24"/>
                    </a:lnTo>
                    <a:lnTo>
                      <a:pt x="144" y="24"/>
                    </a:lnTo>
                    <a:lnTo>
                      <a:pt x="136" y="16"/>
                    </a:lnTo>
                    <a:lnTo>
                      <a:pt x="128" y="16"/>
                    </a:lnTo>
                    <a:lnTo>
                      <a:pt x="136" y="16"/>
                    </a:lnTo>
                    <a:lnTo>
                      <a:pt x="128" y="8"/>
                    </a:lnTo>
                    <a:lnTo>
                      <a:pt x="136" y="8"/>
                    </a:lnTo>
                    <a:lnTo>
                      <a:pt x="136" y="16"/>
                    </a:lnTo>
                    <a:lnTo>
                      <a:pt x="144" y="16"/>
                    </a:lnTo>
                    <a:lnTo>
                      <a:pt x="144" y="8"/>
                    </a:lnTo>
                    <a:lnTo>
                      <a:pt x="136" y="8"/>
                    </a:lnTo>
                    <a:lnTo>
                      <a:pt x="128" y="8"/>
                    </a:lnTo>
                    <a:lnTo>
                      <a:pt x="120" y="8"/>
                    </a:lnTo>
                    <a:lnTo>
                      <a:pt x="112" y="8"/>
                    </a:lnTo>
                    <a:lnTo>
                      <a:pt x="96" y="8"/>
                    </a:lnTo>
                    <a:lnTo>
                      <a:pt x="96" y="0"/>
                    </a:lnTo>
                    <a:lnTo>
                      <a:pt x="88" y="0"/>
                    </a:lnTo>
                    <a:lnTo>
                      <a:pt x="80" y="8"/>
                    </a:lnTo>
                    <a:lnTo>
                      <a:pt x="80" y="0"/>
                    </a:lnTo>
                    <a:lnTo>
                      <a:pt x="72" y="8"/>
                    </a:lnTo>
                    <a:lnTo>
                      <a:pt x="56" y="8"/>
                    </a:lnTo>
                    <a:lnTo>
                      <a:pt x="48" y="8"/>
                    </a:lnTo>
                    <a:lnTo>
                      <a:pt x="40" y="8"/>
                    </a:lnTo>
                    <a:lnTo>
                      <a:pt x="32" y="8"/>
                    </a:lnTo>
                    <a:lnTo>
                      <a:pt x="32" y="16"/>
                    </a:lnTo>
                    <a:lnTo>
                      <a:pt x="24" y="16"/>
                    </a:lnTo>
                    <a:lnTo>
                      <a:pt x="16" y="16"/>
                    </a:lnTo>
                    <a:lnTo>
                      <a:pt x="16" y="24"/>
                    </a:lnTo>
                    <a:lnTo>
                      <a:pt x="8" y="32"/>
                    </a:lnTo>
                    <a:lnTo>
                      <a:pt x="8" y="40"/>
                    </a:lnTo>
                    <a:lnTo>
                      <a:pt x="0" y="48"/>
                    </a:lnTo>
                    <a:lnTo>
                      <a:pt x="0" y="64"/>
                    </a:lnTo>
                    <a:lnTo>
                      <a:pt x="8" y="72"/>
                    </a:lnTo>
                    <a:lnTo>
                      <a:pt x="16" y="72"/>
                    </a:lnTo>
                    <a:lnTo>
                      <a:pt x="24" y="72"/>
                    </a:lnTo>
                    <a:lnTo>
                      <a:pt x="16" y="72"/>
                    </a:lnTo>
                    <a:lnTo>
                      <a:pt x="24" y="72"/>
                    </a:lnTo>
                    <a:lnTo>
                      <a:pt x="32" y="80"/>
                    </a:lnTo>
                    <a:lnTo>
                      <a:pt x="40" y="80"/>
                    </a:lnTo>
                    <a:lnTo>
                      <a:pt x="40" y="72"/>
                    </a:lnTo>
                    <a:lnTo>
                      <a:pt x="48" y="72"/>
                    </a:lnTo>
                    <a:lnTo>
                      <a:pt x="56" y="72"/>
                    </a:lnTo>
                    <a:lnTo>
                      <a:pt x="56" y="72"/>
                    </a:lnTo>
                  </a:path>
                </a:pathLst>
              </a:custGeom>
              <a:grpFill/>
              <a:ln w="12700">
                <a:noFill/>
                <a:prstDash val="solid"/>
                <a:round/>
                <a:headEnd/>
                <a:tailEnd/>
              </a:ln>
            </p:spPr>
            <p:txBody>
              <a:bodyPr/>
              <a:lstStyle/>
              <a:p>
                <a:endParaRPr lang="en-US">
                  <a:solidFill>
                    <a:srgbClr val="000000"/>
                  </a:solidFill>
                </a:endParaRPr>
              </a:p>
            </p:txBody>
          </p:sp>
          <p:sp>
            <p:nvSpPr>
              <p:cNvPr id="1325" name="Freeform 348"/>
              <p:cNvSpPr>
                <a:spLocks/>
              </p:cNvSpPr>
              <p:nvPr/>
            </p:nvSpPr>
            <p:spPr bwMode="auto">
              <a:xfrm>
                <a:off x="4879219" y="6196692"/>
                <a:ext cx="120952" cy="75595"/>
              </a:xfrm>
              <a:custGeom>
                <a:avLst/>
                <a:gdLst>
                  <a:gd name="T0" fmla="*/ 24 w 64"/>
                  <a:gd name="T1" fmla="*/ 0 h 40"/>
                  <a:gd name="T2" fmla="*/ 32 w 64"/>
                  <a:gd name="T3" fmla="*/ 8 h 40"/>
                  <a:gd name="T4" fmla="*/ 40 w 64"/>
                  <a:gd name="T5" fmla="*/ 8 h 40"/>
                  <a:gd name="T6" fmla="*/ 48 w 64"/>
                  <a:gd name="T7" fmla="*/ 8 h 40"/>
                  <a:gd name="T8" fmla="*/ 48 w 64"/>
                  <a:gd name="T9" fmla="*/ 16 h 40"/>
                  <a:gd name="T10" fmla="*/ 48 w 64"/>
                  <a:gd name="T11" fmla="*/ 8 h 40"/>
                  <a:gd name="T12" fmla="*/ 56 w 64"/>
                  <a:gd name="T13" fmla="*/ 8 h 40"/>
                  <a:gd name="T14" fmla="*/ 64 w 64"/>
                  <a:gd name="T15" fmla="*/ 16 h 40"/>
                  <a:gd name="T16" fmla="*/ 56 w 64"/>
                  <a:gd name="T17" fmla="*/ 24 h 40"/>
                  <a:gd name="T18" fmla="*/ 64 w 64"/>
                  <a:gd name="T19" fmla="*/ 24 h 40"/>
                  <a:gd name="T20" fmla="*/ 56 w 64"/>
                  <a:gd name="T21" fmla="*/ 24 h 40"/>
                  <a:gd name="T22" fmla="*/ 56 w 64"/>
                  <a:gd name="T23" fmla="*/ 32 h 40"/>
                  <a:gd name="T24" fmla="*/ 56 w 64"/>
                  <a:gd name="T25" fmla="*/ 40 h 40"/>
                  <a:gd name="T26" fmla="*/ 48 w 64"/>
                  <a:gd name="T27" fmla="*/ 40 h 40"/>
                  <a:gd name="T28" fmla="*/ 40 w 64"/>
                  <a:gd name="T29" fmla="*/ 32 h 40"/>
                  <a:gd name="T30" fmla="*/ 32 w 64"/>
                  <a:gd name="T31" fmla="*/ 32 h 40"/>
                  <a:gd name="T32" fmla="*/ 40 w 64"/>
                  <a:gd name="T33" fmla="*/ 32 h 40"/>
                  <a:gd name="T34" fmla="*/ 32 w 64"/>
                  <a:gd name="T35" fmla="*/ 32 h 40"/>
                  <a:gd name="T36" fmla="*/ 24 w 64"/>
                  <a:gd name="T37" fmla="*/ 32 h 40"/>
                  <a:gd name="T38" fmla="*/ 16 w 64"/>
                  <a:gd name="T39" fmla="*/ 24 h 40"/>
                  <a:gd name="T40" fmla="*/ 8 w 64"/>
                  <a:gd name="T41" fmla="*/ 24 h 40"/>
                  <a:gd name="T42" fmla="*/ 0 w 64"/>
                  <a:gd name="T43" fmla="*/ 24 h 40"/>
                  <a:gd name="T44" fmla="*/ 0 w 64"/>
                  <a:gd name="T45" fmla="*/ 16 h 40"/>
                  <a:gd name="T46" fmla="*/ 8 w 64"/>
                  <a:gd name="T47" fmla="*/ 8 h 40"/>
                  <a:gd name="T48" fmla="*/ 16 w 64"/>
                  <a:gd name="T49" fmla="*/ 8 h 40"/>
                  <a:gd name="T50" fmla="*/ 24 w 64"/>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40">
                    <a:moveTo>
                      <a:pt x="24" y="0"/>
                    </a:moveTo>
                    <a:lnTo>
                      <a:pt x="32" y="8"/>
                    </a:lnTo>
                    <a:lnTo>
                      <a:pt x="40" y="8"/>
                    </a:lnTo>
                    <a:lnTo>
                      <a:pt x="48" y="8"/>
                    </a:lnTo>
                    <a:lnTo>
                      <a:pt x="48" y="16"/>
                    </a:lnTo>
                    <a:lnTo>
                      <a:pt x="48" y="8"/>
                    </a:lnTo>
                    <a:lnTo>
                      <a:pt x="56" y="8"/>
                    </a:lnTo>
                    <a:lnTo>
                      <a:pt x="64" y="16"/>
                    </a:lnTo>
                    <a:lnTo>
                      <a:pt x="56" y="24"/>
                    </a:lnTo>
                    <a:lnTo>
                      <a:pt x="64" y="24"/>
                    </a:lnTo>
                    <a:lnTo>
                      <a:pt x="56" y="24"/>
                    </a:lnTo>
                    <a:lnTo>
                      <a:pt x="56" y="32"/>
                    </a:lnTo>
                    <a:lnTo>
                      <a:pt x="56" y="40"/>
                    </a:lnTo>
                    <a:lnTo>
                      <a:pt x="48" y="40"/>
                    </a:lnTo>
                    <a:lnTo>
                      <a:pt x="40" y="32"/>
                    </a:lnTo>
                    <a:lnTo>
                      <a:pt x="32" y="32"/>
                    </a:lnTo>
                    <a:lnTo>
                      <a:pt x="40" y="32"/>
                    </a:lnTo>
                    <a:lnTo>
                      <a:pt x="32" y="32"/>
                    </a:lnTo>
                    <a:lnTo>
                      <a:pt x="24" y="32"/>
                    </a:lnTo>
                    <a:lnTo>
                      <a:pt x="16" y="24"/>
                    </a:lnTo>
                    <a:lnTo>
                      <a:pt x="8" y="24"/>
                    </a:lnTo>
                    <a:lnTo>
                      <a:pt x="0" y="24"/>
                    </a:lnTo>
                    <a:lnTo>
                      <a:pt x="0" y="16"/>
                    </a:lnTo>
                    <a:lnTo>
                      <a:pt x="8" y="8"/>
                    </a:lnTo>
                    <a:lnTo>
                      <a:pt x="16" y="8"/>
                    </a:lnTo>
                    <a:lnTo>
                      <a:pt x="24" y="0"/>
                    </a:lnTo>
                    <a:close/>
                  </a:path>
                </a:pathLst>
              </a:custGeom>
              <a:grpFill/>
              <a:ln w="12700">
                <a:noFill/>
                <a:prstDash val="solid"/>
                <a:round/>
                <a:headEnd/>
                <a:tailEnd/>
              </a:ln>
            </p:spPr>
            <p:txBody>
              <a:bodyPr/>
              <a:lstStyle/>
              <a:p>
                <a:endParaRPr lang="en-US">
                  <a:solidFill>
                    <a:srgbClr val="000000"/>
                  </a:solidFill>
                </a:endParaRPr>
              </a:p>
            </p:txBody>
          </p:sp>
          <p:sp>
            <p:nvSpPr>
              <p:cNvPr id="1326" name="Freeform 349"/>
              <p:cNvSpPr>
                <a:spLocks/>
              </p:cNvSpPr>
              <p:nvPr/>
            </p:nvSpPr>
            <p:spPr bwMode="auto">
              <a:xfrm>
                <a:off x="4924576" y="6000144"/>
                <a:ext cx="60476" cy="120952"/>
              </a:xfrm>
              <a:custGeom>
                <a:avLst/>
                <a:gdLst>
                  <a:gd name="T0" fmla="*/ 0 w 32"/>
                  <a:gd name="T1" fmla="*/ 16 h 64"/>
                  <a:gd name="T2" fmla="*/ 8 w 32"/>
                  <a:gd name="T3" fmla="*/ 16 h 64"/>
                  <a:gd name="T4" fmla="*/ 16 w 32"/>
                  <a:gd name="T5" fmla="*/ 16 h 64"/>
                  <a:gd name="T6" fmla="*/ 16 w 32"/>
                  <a:gd name="T7" fmla="*/ 8 h 64"/>
                  <a:gd name="T8" fmla="*/ 24 w 32"/>
                  <a:gd name="T9" fmla="*/ 8 h 64"/>
                  <a:gd name="T10" fmla="*/ 24 w 32"/>
                  <a:gd name="T11" fmla="*/ 0 h 64"/>
                  <a:gd name="T12" fmla="*/ 24 w 32"/>
                  <a:gd name="T13" fmla="*/ 8 h 64"/>
                  <a:gd name="T14" fmla="*/ 32 w 32"/>
                  <a:gd name="T15" fmla="*/ 0 h 64"/>
                  <a:gd name="T16" fmla="*/ 32 w 32"/>
                  <a:gd name="T17" fmla="*/ 8 h 64"/>
                  <a:gd name="T18" fmla="*/ 32 w 32"/>
                  <a:gd name="T19" fmla="*/ 24 h 64"/>
                  <a:gd name="T20" fmla="*/ 24 w 32"/>
                  <a:gd name="T21" fmla="*/ 32 h 64"/>
                  <a:gd name="T22" fmla="*/ 32 w 32"/>
                  <a:gd name="T23" fmla="*/ 32 h 64"/>
                  <a:gd name="T24" fmla="*/ 32 w 32"/>
                  <a:gd name="T25" fmla="*/ 40 h 64"/>
                  <a:gd name="T26" fmla="*/ 24 w 32"/>
                  <a:gd name="T27" fmla="*/ 48 h 64"/>
                  <a:gd name="T28" fmla="*/ 24 w 32"/>
                  <a:gd name="T29" fmla="*/ 56 h 64"/>
                  <a:gd name="T30" fmla="*/ 16 w 32"/>
                  <a:gd name="T31" fmla="*/ 56 h 64"/>
                  <a:gd name="T32" fmla="*/ 16 w 32"/>
                  <a:gd name="T33" fmla="*/ 64 h 64"/>
                  <a:gd name="T34" fmla="*/ 8 w 32"/>
                  <a:gd name="T35" fmla="*/ 64 h 64"/>
                  <a:gd name="T36" fmla="*/ 0 w 32"/>
                  <a:gd name="T37" fmla="*/ 64 h 64"/>
                  <a:gd name="T38" fmla="*/ 8 w 32"/>
                  <a:gd name="T39" fmla="*/ 16 h 64"/>
                  <a:gd name="T40" fmla="*/ 0 w 32"/>
                  <a:gd name="T41" fmla="*/ 1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64">
                    <a:moveTo>
                      <a:pt x="0" y="16"/>
                    </a:moveTo>
                    <a:lnTo>
                      <a:pt x="8" y="16"/>
                    </a:lnTo>
                    <a:lnTo>
                      <a:pt x="16" y="16"/>
                    </a:lnTo>
                    <a:lnTo>
                      <a:pt x="16" y="8"/>
                    </a:lnTo>
                    <a:lnTo>
                      <a:pt x="24" y="8"/>
                    </a:lnTo>
                    <a:lnTo>
                      <a:pt x="24" y="0"/>
                    </a:lnTo>
                    <a:lnTo>
                      <a:pt x="24" y="8"/>
                    </a:lnTo>
                    <a:lnTo>
                      <a:pt x="32" y="0"/>
                    </a:lnTo>
                    <a:lnTo>
                      <a:pt x="32" y="8"/>
                    </a:lnTo>
                    <a:lnTo>
                      <a:pt x="32" y="24"/>
                    </a:lnTo>
                    <a:lnTo>
                      <a:pt x="24" y="32"/>
                    </a:lnTo>
                    <a:lnTo>
                      <a:pt x="32" y="32"/>
                    </a:lnTo>
                    <a:lnTo>
                      <a:pt x="32" y="40"/>
                    </a:lnTo>
                    <a:lnTo>
                      <a:pt x="24" y="48"/>
                    </a:lnTo>
                    <a:lnTo>
                      <a:pt x="24" y="56"/>
                    </a:lnTo>
                    <a:lnTo>
                      <a:pt x="16" y="56"/>
                    </a:lnTo>
                    <a:lnTo>
                      <a:pt x="16" y="64"/>
                    </a:lnTo>
                    <a:lnTo>
                      <a:pt x="8" y="64"/>
                    </a:lnTo>
                    <a:lnTo>
                      <a:pt x="0" y="64"/>
                    </a:lnTo>
                    <a:lnTo>
                      <a:pt x="8" y="16"/>
                    </a:lnTo>
                    <a:lnTo>
                      <a:pt x="0" y="16"/>
                    </a:lnTo>
                    <a:close/>
                  </a:path>
                </a:pathLst>
              </a:custGeom>
              <a:grpFill/>
              <a:ln w="12700">
                <a:noFill/>
                <a:prstDash val="solid"/>
                <a:round/>
                <a:headEnd/>
                <a:tailEnd/>
              </a:ln>
            </p:spPr>
            <p:txBody>
              <a:bodyPr/>
              <a:lstStyle/>
              <a:p>
                <a:endParaRPr lang="en-US">
                  <a:solidFill>
                    <a:srgbClr val="000000"/>
                  </a:solidFill>
                </a:endParaRPr>
              </a:p>
            </p:txBody>
          </p:sp>
          <p:sp>
            <p:nvSpPr>
              <p:cNvPr id="1327" name="Freeform 350"/>
              <p:cNvSpPr>
                <a:spLocks/>
              </p:cNvSpPr>
              <p:nvPr/>
            </p:nvSpPr>
            <p:spPr bwMode="auto">
              <a:xfrm>
                <a:off x="4788505" y="6030382"/>
                <a:ext cx="181429" cy="211667"/>
              </a:xfrm>
              <a:custGeom>
                <a:avLst/>
                <a:gdLst>
                  <a:gd name="T0" fmla="*/ 48 w 96"/>
                  <a:gd name="T1" fmla="*/ 112 h 112"/>
                  <a:gd name="T2" fmla="*/ 48 w 96"/>
                  <a:gd name="T3" fmla="*/ 104 h 112"/>
                  <a:gd name="T4" fmla="*/ 56 w 96"/>
                  <a:gd name="T5" fmla="*/ 96 h 112"/>
                  <a:gd name="T6" fmla="*/ 64 w 96"/>
                  <a:gd name="T7" fmla="*/ 96 h 112"/>
                  <a:gd name="T8" fmla="*/ 72 w 96"/>
                  <a:gd name="T9" fmla="*/ 88 h 112"/>
                  <a:gd name="T10" fmla="*/ 72 w 96"/>
                  <a:gd name="T11" fmla="*/ 80 h 112"/>
                  <a:gd name="T12" fmla="*/ 80 w 96"/>
                  <a:gd name="T13" fmla="*/ 72 h 112"/>
                  <a:gd name="T14" fmla="*/ 80 w 96"/>
                  <a:gd name="T15" fmla="*/ 64 h 112"/>
                  <a:gd name="T16" fmla="*/ 88 w 96"/>
                  <a:gd name="T17" fmla="*/ 64 h 112"/>
                  <a:gd name="T18" fmla="*/ 96 w 96"/>
                  <a:gd name="T19" fmla="*/ 64 h 112"/>
                  <a:gd name="T20" fmla="*/ 96 w 96"/>
                  <a:gd name="T21" fmla="*/ 56 h 112"/>
                  <a:gd name="T22" fmla="*/ 88 w 96"/>
                  <a:gd name="T23" fmla="*/ 56 h 112"/>
                  <a:gd name="T24" fmla="*/ 80 w 96"/>
                  <a:gd name="T25" fmla="*/ 48 h 112"/>
                  <a:gd name="T26" fmla="*/ 72 w 96"/>
                  <a:gd name="T27" fmla="*/ 48 h 112"/>
                  <a:gd name="T28" fmla="*/ 80 w 96"/>
                  <a:gd name="T29" fmla="*/ 0 h 112"/>
                  <a:gd name="T30" fmla="*/ 72 w 96"/>
                  <a:gd name="T31" fmla="*/ 0 h 112"/>
                  <a:gd name="T32" fmla="*/ 32 w 96"/>
                  <a:gd name="T33" fmla="*/ 0 h 112"/>
                  <a:gd name="T34" fmla="*/ 32 w 96"/>
                  <a:gd name="T35" fmla="*/ 16 h 112"/>
                  <a:gd name="T36" fmla="*/ 24 w 96"/>
                  <a:gd name="T37" fmla="*/ 16 h 112"/>
                  <a:gd name="T38" fmla="*/ 24 w 96"/>
                  <a:gd name="T39" fmla="*/ 24 h 112"/>
                  <a:gd name="T40" fmla="*/ 32 w 96"/>
                  <a:gd name="T41" fmla="*/ 24 h 112"/>
                  <a:gd name="T42" fmla="*/ 32 w 96"/>
                  <a:gd name="T43" fmla="*/ 32 h 112"/>
                  <a:gd name="T44" fmla="*/ 40 w 96"/>
                  <a:gd name="T45" fmla="*/ 32 h 112"/>
                  <a:gd name="T46" fmla="*/ 40 w 96"/>
                  <a:gd name="T47" fmla="*/ 40 h 112"/>
                  <a:gd name="T48" fmla="*/ 48 w 96"/>
                  <a:gd name="T49" fmla="*/ 40 h 112"/>
                  <a:gd name="T50" fmla="*/ 48 w 96"/>
                  <a:gd name="T51" fmla="*/ 48 h 112"/>
                  <a:gd name="T52" fmla="*/ 16 w 96"/>
                  <a:gd name="T53" fmla="*/ 48 h 112"/>
                  <a:gd name="T54" fmla="*/ 0 w 96"/>
                  <a:gd name="T55" fmla="*/ 72 h 112"/>
                  <a:gd name="T56" fmla="*/ 0 w 96"/>
                  <a:gd name="T57" fmla="*/ 80 h 112"/>
                  <a:gd name="T58" fmla="*/ 0 w 96"/>
                  <a:gd name="T59" fmla="*/ 88 h 112"/>
                  <a:gd name="T60" fmla="*/ 8 w 96"/>
                  <a:gd name="T61" fmla="*/ 96 h 112"/>
                  <a:gd name="T62" fmla="*/ 8 w 96"/>
                  <a:gd name="T63" fmla="*/ 104 h 112"/>
                  <a:gd name="T64" fmla="*/ 24 w 96"/>
                  <a:gd name="T65" fmla="*/ 104 h 112"/>
                  <a:gd name="T66" fmla="*/ 32 w 96"/>
                  <a:gd name="T67" fmla="*/ 104 h 112"/>
                  <a:gd name="T68" fmla="*/ 40 w 96"/>
                  <a:gd name="T69" fmla="*/ 104 h 112"/>
                  <a:gd name="T70" fmla="*/ 48 w 96"/>
                  <a:gd name="T7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112">
                    <a:moveTo>
                      <a:pt x="48" y="112"/>
                    </a:moveTo>
                    <a:lnTo>
                      <a:pt x="48" y="104"/>
                    </a:lnTo>
                    <a:lnTo>
                      <a:pt x="56" y="96"/>
                    </a:lnTo>
                    <a:lnTo>
                      <a:pt x="64" y="96"/>
                    </a:lnTo>
                    <a:lnTo>
                      <a:pt x="72" y="88"/>
                    </a:lnTo>
                    <a:lnTo>
                      <a:pt x="72" y="80"/>
                    </a:lnTo>
                    <a:lnTo>
                      <a:pt x="80" y="72"/>
                    </a:lnTo>
                    <a:lnTo>
                      <a:pt x="80" y="64"/>
                    </a:lnTo>
                    <a:lnTo>
                      <a:pt x="88" y="64"/>
                    </a:lnTo>
                    <a:lnTo>
                      <a:pt x="96" y="64"/>
                    </a:lnTo>
                    <a:lnTo>
                      <a:pt x="96" y="56"/>
                    </a:lnTo>
                    <a:lnTo>
                      <a:pt x="88" y="56"/>
                    </a:lnTo>
                    <a:lnTo>
                      <a:pt x="80" y="48"/>
                    </a:lnTo>
                    <a:lnTo>
                      <a:pt x="72" y="48"/>
                    </a:lnTo>
                    <a:lnTo>
                      <a:pt x="80" y="0"/>
                    </a:lnTo>
                    <a:lnTo>
                      <a:pt x="72" y="0"/>
                    </a:lnTo>
                    <a:lnTo>
                      <a:pt x="32" y="0"/>
                    </a:lnTo>
                    <a:lnTo>
                      <a:pt x="32" y="16"/>
                    </a:lnTo>
                    <a:lnTo>
                      <a:pt x="24" y="16"/>
                    </a:lnTo>
                    <a:lnTo>
                      <a:pt x="24" y="24"/>
                    </a:lnTo>
                    <a:lnTo>
                      <a:pt x="32" y="24"/>
                    </a:lnTo>
                    <a:lnTo>
                      <a:pt x="32" y="32"/>
                    </a:lnTo>
                    <a:lnTo>
                      <a:pt x="40" y="32"/>
                    </a:lnTo>
                    <a:lnTo>
                      <a:pt x="40" y="40"/>
                    </a:lnTo>
                    <a:lnTo>
                      <a:pt x="48" y="40"/>
                    </a:lnTo>
                    <a:lnTo>
                      <a:pt x="48" y="48"/>
                    </a:lnTo>
                    <a:lnTo>
                      <a:pt x="16" y="48"/>
                    </a:lnTo>
                    <a:lnTo>
                      <a:pt x="0" y="72"/>
                    </a:lnTo>
                    <a:lnTo>
                      <a:pt x="0" y="80"/>
                    </a:lnTo>
                    <a:lnTo>
                      <a:pt x="0" y="88"/>
                    </a:lnTo>
                    <a:lnTo>
                      <a:pt x="8" y="96"/>
                    </a:lnTo>
                    <a:lnTo>
                      <a:pt x="8" y="104"/>
                    </a:lnTo>
                    <a:lnTo>
                      <a:pt x="24" y="104"/>
                    </a:lnTo>
                    <a:lnTo>
                      <a:pt x="32" y="104"/>
                    </a:lnTo>
                    <a:lnTo>
                      <a:pt x="40" y="104"/>
                    </a:lnTo>
                    <a:lnTo>
                      <a:pt x="48" y="112"/>
                    </a:lnTo>
                    <a:close/>
                  </a:path>
                </a:pathLst>
              </a:custGeom>
              <a:grpFill/>
              <a:ln w="12700">
                <a:noFill/>
                <a:prstDash val="solid"/>
                <a:round/>
                <a:headEnd/>
                <a:tailEnd/>
              </a:ln>
            </p:spPr>
            <p:txBody>
              <a:bodyPr/>
              <a:lstStyle/>
              <a:p>
                <a:endParaRPr lang="en-US">
                  <a:solidFill>
                    <a:srgbClr val="000000"/>
                  </a:solidFill>
                </a:endParaRPr>
              </a:p>
            </p:txBody>
          </p:sp>
          <p:sp>
            <p:nvSpPr>
              <p:cNvPr id="1328" name="Freeform 351"/>
              <p:cNvSpPr>
                <a:spLocks/>
              </p:cNvSpPr>
              <p:nvPr/>
            </p:nvSpPr>
            <p:spPr bwMode="auto">
              <a:xfrm>
                <a:off x="3745290" y="5213954"/>
                <a:ext cx="1315357" cy="982738"/>
              </a:xfrm>
              <a:custGeom>
                <a:avLst/>
                <a:gdLst>
                  <a:gd name="T0" fmla="*/ 256 w 696"/>
                  <a:gd name="T1" fmla="*/ 40 h 520"/>
                  <a:gd name="T2" fmla="*/ 280 w 696"/>
                  <a:gd name="T3" fmla="*/ 80 h 520"/>
                  <a:gd name="T4" fmla="*/ 296 w 696"/>
                  <a:gd name="T5" fmla="*/ 112 h 520"/>
                  <a:gd name="T6" fmla="*/ 336 w 696"/>
                  <a:gd name="T7" fmla="*/ 112 h 520"/>
                  <a:gd name="T8" fmla="*/ 360 w 696"/>
                  <a:gd name="T9" fmla="*/ 96 h 520"/>
                  <a:gd name="T10" fmla="*/ 384 w 696"/>
                  <a:gd name="T11" fmla="*/ 128 h 520"/>
                  <a:gd name="T12" fmla="*/ 408 w 696"/>
                  <a:gd name="T13" fmla="*/ 168 h 520"/>
                  <a:gd name="T14" fmla="*/ 432 w 696"/>
                  <a:gd name="T15" fmla="*/ 208 h 520"/>
                  <a:gd name="T16" fmla="*/ 448 w 696"/>
                  <a:gd name="T17" fmla="*/ 224 h 520"/>
                  <a:gd name="T18" fmla="*/ 440 w 696"/>
                  <a:gd name="T19" fmla="*/ 240 h 520"/>
                  <a:gd name="T20" fmla="*/ 432 w 696"/>
                  <a:gd name="T21" fmla="*/ 288 h 520"/>
                  <a:gd name="T22" fmla="*/ 432 w 696"/>
                  <a:gd name="T23" fmla="*/ 328 h 520"/>
                  <a:gd name="T24" fmla="*/ 440 w 696"/>
                  <a:gd name="T25" fmla="*/ 360 h 520"/>
                  <a:gd name="T26" fmla="*/ 488 w 696"/>
                  <a:gd name="T27" fmla="*/ 408 h 520"/>
                  <a:gd name="T28" fmla="*/ 536 w 696"/>
                  <a:gd name="T29" fmla="*/ 416 h 520"/>
                  <a:gd name="T30" fmla="*/ 560 w 696"/>
                  <a:gd name="T31" fmla="*/ 416 h 520"/>
                  <a:gd name="T32" fmla="*/ 584 w 696"/>
                  <a:gd name="T33" fmla="*/ 400 h 520"/>
                  <a:gd name="T34" fmla="*/ 608 w 696"/>
                  <a:gd name="T35" fmla="*/ 344 h 520"/>
                  <a:gd name="T36" fmla="*/ 672 w 696"/>
                  <a:gd name="T37" fmla="*/ 328 h 520"/>
                  <a:gd name="T38" fmla="*/ 680 w 696"/>
                  <a:gd name="T39" fmla="*/ 368 h 520"/>
                  <a:gd name="T40" fmla="*/ 672 w 696"/>
                  <a:gd name="T41" fmla="*/ 400 h 520"/>
                  <a:gd name="T42" fmla="*/ 656 w 696"/>
                  <a:gd name="T43" fmla="*/ 416 h 520"/>
                  <a:gd name="T44" fmla="*/ 584 w 696"/>
                  <a:gd name="T45" fmla="*/ 432 h 520"/>
                  <a:gd name="T46" fmla="*/ 592 w 696"/>
                  <a:gd name="T47" fmla="*/ 472 h 520"/>
                  <a:gd name="T48" fmla="*/ 544 w 696"/>
                  <a:gd name="T49" fmla="*/ 512 h 520"/>
                  <a:gd name="T50" fmla="*/ 504 w 696"/>
                  <a:gd name="T51" fmla="*/ 472 h 520"/>
                  <a:gd name="T52" fmla="*/ 496 w 696"/>
                  <a:gd name="T53" fmla="*/ 480 h 520"/>
                  <a:gd name="T54" fmla="*/ 480 w 696"/>
                  <a:gd name="T55" fmla="*/ 480 h 520"/>
                  <a:gd name="T56" fmla="*/ 416 w 696"/>
                  <a:gd name="T57" fmla="*/ 480 h 520"/>
                  <a:gd name="T58" fmla="*/ 368 w 696"/>
                  <a:gd name="T59" fmla="*/ 464 h 520"/>
                  <a:gd name="T60" fmla="*/ 312 w 696"/>
                  <a:gd name="T61" fmla="*/ 432 h 520"/>
                  <a:gd name="T62" fmla="*/ 256 w 696"/>
                  <a:gd name="T63" fmla="*/ 400 h 520"/>
                  <a:gd name="T64" fmla="*/ 232 w 696"/>
                  <a:gd name="T65" fmla="*/ 368 h 520"/>
                  <a:gd name="T66" fmla="*/ 248 w 696"/>
                  <a:gd name="T67" fmla="*/ 344 h 520"/>
                  <a:gd name="T68" fmla="*/ 224 w 696"/>
                  <a:gd name="T69" fmla="*/ 288 h 520"/>
                  <a:gd name="T70" fmla="*/ 184 w 696"/>
                  <a:gd name="T71" fmla="*/ 248 h 520"/>
                  <a:gd name="T72" fmla="*/ 160 w 696"/>
                  <a:gd name="T73" fmla="*/ 216 h 520"/>
                  <a:gd name="T74" fmla="*/ 160 w 696"/>
                  <a:gd name="T75" fmla="*/ 184 h 520"/>
                  <a:gd name="T76" fmla="*/ 128 w 696"/>
                  <a:gd name="T77" fmla="*/ 144 h 520"/>
                  <a:gd name="T78" fmla="*/ 96 w 696"/>
                  <a:gd name="T79" fmla="*/ 104 h 520"/>
                  <a:gd name="T80" fmla="*/ 88 w 696"/>
                  <a:gd name="T81" fmla="*/ 56 h 520"/>
                  <a:gd name="T82" fmla="*/ 56 w 696"/>
                  <a:gd name="T83" fmla="*/ 24 h 520"/>
                  <a:gd name="T84" fmla="*/ 48 w 696"/>
                  <a:gd name="T85" fmla="*/ 80 h 520"/>
                  <a:gd name="T86" fmla="*/ 80 w 696"/>
                  <a:gd name="T87" fmla="*/ 128 h 520"/>
                  <a:gd name="T88" fmla="*/ 104 w 696"/>
                  <a:gd name="T89" fmla="*/ 184 h 520"/>
                  <a:gd name="T90" fmla="*/ 112 w 696"/>
                  <a:gd name="T91" fmla="*/ 216 h 520"/>
                  <a:gd name="T92" fmla="*/ 136 w 696"/>
                  <a:gd name="T93" fmla="*/ 256 h 520"/>
                  <a:gd name="T94" fmla="*/ 128 w 696"/>
                  <a:gd name="T95" fmla="*/ 288 h 520"/>
                  <a:gd name="T96" fmla="*/ 104 w 696"/>
                  <a:gd name="T97" fmla="*/ 248 h 520"/>
                  <a:gd name="T98" fmla="*/ 88 w 696"/>
                  <a:gd name="T99" fmla="*/ 200 h 520"/>
                  <a:gd name="T100" fmla="*/ 56 w 696"/>
                  <a:gd name="T101" fmla="*/ 176 h 520"/>
                  <a:gd name="T102" fmla="*/ 24 w 696"/>
                  <a:gd name="T103" fmla="*/ 144 h 520"/>
                  <a:gd name="T104" fmla="*/ 56 w 696"/>
                  <a:gd name="T105" fmla="*/ 128 h 520"/>
                  <a:gd name="T106" fmla="*/ 24 w 696"/>
                  <a:gd name="T107" fmla="*/ 96 h 520"/>
                  <a:gd name="T108" fmla="*/ 8 w 696"/>
                  <a:gd name="T109" fmla="*/ 48 h 520"/>
                  <a:gd name="T110" fmla="*/ 0 w 696"/>
                  <a:gd name="T111" fmla="*/ 0 h 520"/>
                  <a:gd name="T112" fmla="*/ 448 w 696"/>
                  <a:gd name="T113" fmla="*/ 23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6" h="520">
                    <a:moveTo>
                      <a:pt x="0" y="0"/>
                    </a:moveTo>
                    <a:lnTo>
                      <a:pt x="56" y="0"/>
                    </a:lnTo>
                    <a:lnTo>
                      <a:pt x="136" y="40"/>
                    </a:lnTo>
                    <a:lnTo>
                      <a:pt x="208" y="40"/>
                    </a:lnTo>
                    <a:lnTo>
                      <a:pt x="208" y="32"/>
                    </a:lnTo>
                    <a:lnTo>
                      <a:pt x="248" y="32"/>
                    </a:lnTo>
                    <a:lnTo>
                      <a:pt x="256" y="40"/>
                    </a:lnTo>
                    <a:lnTo>
                      <a:pt x="264" y="48"/>
                    </a:lnTo>
                    <a:lnTo>
                      <a:pt x="264" y="56"/>
                    </a:lnTo>
                    <a:lnTo>
                      <a:pt x="272" y="56"/>
                    </a:lnTo>
                    <a:lnTo>
                      <a:pt x="272" y="64"/>
                    </a:lnTo>
                    <a:lnTo>
                      <a:pt x="280" y="64"/>
                    </a:lnTo>
                    <a:lnTo>
                      <a:pt x="280" y="72"/>
                    </a:lnTo>
                    <a:lnTo>
                      <a:pt x="280" y="80"/>
                    </a:lnTo>
                    <a:lnTo>
                      <a:pt x="288" y="80"/>
                    </a:lnTo>
                    <a:lnTo>
                      <a:pt x="288" y="88"/>
                    </a:lnTo>
                    <a:lnTo>
                      <a:pt x="280" y="88"/>
                    </a:lnTo>
                    <a:lnTo>
                      <a:pt x="288" y="96"/>
                    </a:lnTo>
                    <a:lnTo>
                      <a:pt x="288" y="104"/>
                    </a:lnTo>
                    <a:lnTo>
                      <a:pt x="296" y="104"/>
                    </a:lnTo>
                    <a:lnTo>
                      <a:pt x="296" y="112"/>
                    </a:lnTo>
                    <a:lnTo>
                      <a:pt x="304" y="112"/>
                    </a:lnTo>
                    <a:lnTo>
                      <a:pt x="312" y="112"/>
                    </a:lnTo>
                    <a:lnTo>
                      <a:pt x="312" y="120"/>
                    </a:lnTo>
                    <a:lnTo>
                      <a:pt x="320" y="120"/>
                    </a:lnTo>
                    <a:lnTo>
                      <a:pt x="328" y="120"/>
                    </a:lnTo>
                    <a:lnTo>
                      <a:pt x="328" y="112"/>
                    </a:lnTo>
                    <a:lnTo>
                      <a:pt x="336" y="112"/>
                    </a:lnTo>
                    <a:lnTo>
                      <a:pt x="336" y="104"/>
                    </a:lnTo>
                    <a:lnTo>
                      <a:pt x="336" y="96"/>
                    </a:lnTo>
                    <a:lnTo>
                      <a:pt x="344" y="96"/>
                    </a:lnTo>
                    <a:lnTo>
                      <a:pt x="344" y="104"/>
                    </a:lnTo>
                    <a:lnTo>
                      <a:pt x="344" y="96"/>
                    </a:lnTo>
                    <a:lnTo>
                      <a:pt x="352" y="96"/>
                    </a:lnTo>
                    <a:lnTo>
                      <a:pt x="360" y="96"/>
                    </a:lnTo>
                    <a:lnTo>
                      <a:pt x="368" y="96"/>
                    </a:lnTo>
                    <a:lnTo>
                      <a:pt x="368" y="104"/>
                    </a:lnTo>
                    <a:lnTo>
                      <a:pt x="376" y="104"/>
                    </a:lnTo>
                    <a:lnTo>
                      <a:pt x="376" y="112"/>
                    </a:lnTo>
                    <a:lnTo>
                      <a:pt x="384" y="112"/>
                    </a:lnTo>
                    <a:lnTo>
                      <a:pt x="384" y="120"/>
                    </a:lnTo>
                    <a:lnTo>
                      <a:pt x="384" y="128"/>
                    </a:lnTo>
                    <a:lnTo>
                      <a:pt x="384" y="136"/>
                    </a:lnTo>
                    <a:lnTo>
                      <a:pt x="392" y="136"/>
                    </a:lnTo>
                    <a:lnTo>
                      <a:pt x="392" y="144"/>
                    </a:lnTo>
                    <a:lnTo>
                      <a:pt x="392" y="152"/>
                    </a:lnTo>
                    <a:lnTo>
                      <a:pt x="400" y="152"/>
                    </a:lnTo>
                    <a:lnTo>
                      <a:pt x="400" y="160"/>
                    </a:lnTo>
                    <a:lnTo>
                      <a:pt x="408" y="168"/>
                    </a:lnTo>
                    <a:lnTo>
                      <a:pt x="408" y="176"/>
                    </a:lnTo>
                    <a:lnTo>
                      <a:pt x="408" y="192"/>
                    </a:lnTo>
                    <a:lnTo>
                      <a:pt x="408" y="200"/>
                    </a:lnTo>
                    <a:lnTo>
                      <a:pt x="416" y="200"/>
                    </a:lnTo>
                    <a:lnTo>
                      <a:pt x="424" y="200"/>
                    </a:lnTo>
                    <a:lnTo>
                      <a:pt x="424" y="208"/>
                    </a:lnTo>
                    <a:lnTo>
                      <a:pt x="432" y="208"/>
                    </a:lnTo>
                    <a:lnTo>
                      <a:pt x="440" y="208"/>
                    </a:lnTo>
                    <a:lnTo>
                      <a:pt x="448" y="216"/>
                    </a:lnTo>
                    <a:lnTo>
                      <a:pt x="448" y="208"/>
                    </a:lnTo>
                    <a:lnTo>
                      <a:pt x="456" y="208"/>
                    </a:lnTo>
                    <a:lnTo>
                      <a:pt x="456" y="216"/>
                    </a:lnTo>
                    <a:lnTo>
                      <a:pt x="448" y="216"/>
                    </a:lnTo>
                    <a:lnTo>
                      <a:pt x="448" y="224"/>
                    </a:lnTo>
                    <a:lnTo>
                      <a:pt x="448" y="232"/>
                    </a:lnTo>
                    <a:lnTo>
                      <a:pt x="440" y="232"/>
                    </a:lnTo>
                    <a:lnTo>
                      <a:pt x="448" y="232"/>
                    </a:lnTo>
                    <a:lnTo>
                      <a:pt x="448" y="224"/>
                    </a:lnTo>
                    <a:lnTo>
                      <a:pt x="440" y="224"/>
                    </a:lnTo>
                    <a:lnTo>
                      <a:pt x="440" y="232"/>
                    </a:lnTo>
                    <a:lnTo>
                      <a:pt x="440" y="240"/>
                    </a:lnTo>
                    <a:lnTo>
                      <a:pt x="440" y="248"/>
                    </a:lnTo>
                    <a:lnTo>
                      <a:pt x="432" y="248"/>
                    </a:lnTo>
                    <a:lnTo>
                      <a:pt x="432" y="256"/>
                    </a:lnTo>
                    <a:lnTo>
                      <a:pt x="440" y="256"/>
                    </a:lnTo>
                    <a:lnTo>
                      <a:pt x="432" y="264"/>
                    </a:lnTo>
                    <a:lnTo>
                      <a:pt x="432" y="280"/>
                    </a:lnTo>
                    <a:lnTo>
                      <a:pt x="432" y="288"/>
                    </a:lnTo>
                    <a:lnTo>
                      <a:pt x="432" y="296"/>
                    </a:lnTo>
                    <a:lnTo>
                      <a:pt x="432" y="304"/>
                    </a:lnTo>
                    <a:lnTo>
                      <a:pt x="432" y="312"/>
                    </a:lnTo>
                    <a:lnTo>
                      <a:pt x="432" y="320"/>
                    </a:lnTo>
                    <a:lnTo>
                      <a:pt x="440" y="328"/>
                    </a:lnTo>
                    <a:lnTo>
                      <a:pt x="440" y="336"/>
                    </a:lnTo>
                    <a:lnTo>
                      <a:pt x="432" y="328"/>
                    </a:lnTo>
                    <a:lnTo>
                      <a:pt x="432" y="320"/>
                    </a:lnTo>
                    <a:lnTo>
                      <a:pt x="432" y="328"/>
                    </a:lnTo>
                    <a:lnTo>
                      <a:pt x="432" y="336"/>
                    </a:lnTo>
                    <a:lnTo>
                      <a:pt x="440" y="344"/>
                    </a:lnTo>
                    <a:lnTo>
                      <a:pt x="432" y="352"/>
                    </a:lnTo>
                    <a:lnTo>
                      <a:pt x="440" y="352"/>
                    </a:lnTo>
                    <a:lnTo>
                      <a:pt x="440" y="360"/>
                    </a:lnTo>
                    <a:lnTo>
                      <a:pt x="456" y="376"/>
                    </a:lnTo>
                    <a:lnTo>
                      <a:pt x="456" y="384"/>
                    </a:lnTo>
                    <a:lnTo>
                      <a:pt x="456" y="392"/>
                    </a:lnTo>
                    <a:lnTo>
                      <a:pt x="464" y="392"/>
                    </a:lnTo>
                    <a:lnTo>
                      <a:pt x="472" y="408"/>
                    </a:lnTo>
                    <a:lnTo>
                      <a:pt x="480" y="408"/>
                    </a:lnTo>
                    <a:lnTo>
                      <a:pt x="488" y="408"/>
                    </a:lnTo>
                    <a:lnTo>
                      <a:pt x="488" y="416"/>
                    </a:lnTo>
                    <a:lnTo>
                      <a:pt x="496" y="424"/>
                    </a:lnTo>
                    <a:lnTo>
                      <a:pt x="504" y="424"/>
                    </a:lnTo>
                    <a:lnTo>
                      <a:pt x="512" y="424"/>
                    </a:lnTo>
                    <a:lnTo>
                      <a:pt x="520" y="424"/>
                    </a:lnTo>
                    <a:lnTo>
                      <a:pt x="528" y="416"/>
                    </a:lnTo>
                    <a:lnTo>
                      <a:pt x="536" y="416"/>
                    </a:lnTo>
                    <a:lnTo>
                      <a:pt x="544" y="416"/>
                    </a:lnTo>
                    <a:lnTo>
                      <a:pt x="552" y="416"/>
                    </a:lnTo>
                    <a:lnTo>
                      <a:pt x="552" y="408"/>
                    </a:lnTo>
                    <a:lnTo>
                      <a:pt x="560" y="416"/>
                    </a:lnTo>
                    <a:lnTo>
                      <a:pt x="560" y="408"/>
                    </a:lnTo>
                    <a:lnTo>
                      <a:pt x="568" y="416"/>
                    </a:lnTo>
                    <a:lnTo>
                      <a:pt x="560" y="416"/>
                    </a:lnTo>
                    <a:lnTo>
                      <a:pt x="568" y="424"/>
                    </a:lnTo>
                    <a:lnTo>
                      <a:pt x="576" y="424"/>
                    </a:lnTo>
                    <a:lnTo>
                      <a:pt x="584" y="416"/>
                    </a:lnTo>
                    <a:lnTo>
                      <a:pt x="584" y="408"/>
                    </a:lnTo>
                    <a:lnTo>
                      <a:pt x="584" y="400"/>
                    </a:lnTo>
                    <a:lnTo>
                      <a:pt x="576" y="408"/>
                    </a:lnTo>
                    <a:lnTo>
                      <a:pt x="584" y="400"/>
                    </a:lnTo>
                    <a:lnTo>
                      <a:pt x="592" y="400"/>
                    </a:lnTo>
                    <a:lnTo>
                      <a:pt x="600" y="392"/>
                    </a:lnTo>
                    <a:lnTo>
                      <a:pt x="600" y="384"/>
                    </a:lnTo>
                    <a:lnTo>
                      <a:pt x="608" y="376"/>
                    </a:lnTo>
                    <a:lnTo>
                      <a:pt x="608" y="360"/>
                    </a:lnTo>
                    <a:lnTo>
                      <a:pt x="616" y="352"/>
                    </a:lnTo>
                    <a:lnTo>
                      <a:pt x="608" y="344"/>
                    </a:lnTo>
                    <a:lnTo>
                      <a:pt x="624" y="344"/>
                    </a:lnTo>
                    <a:lnTo>
                      <a:pt x="648" y="344"/>
                    </a:lnTo>
                    <a:lnTo>
                      <a:pt x="648" y="336"/>
                    </a:lnTo>
                    <a:lnTo>
                      <a:pt x="656" y="336"/>
                    </a:lnTo>
                    <a:lnTo>
                      <a:pt x="664" y="336"/>
                    </a:lnTo>
                    <a:lnTo>
                      <a:pt x="664" y="328"/>
                    </a:lnTo>
                    <a:lnTo>
                      <a:pt x="672" y="328"/>
                    </a:lnTo>
                    <a:lnTo>
                      <a:pt x="688" y="336"/>
                    </a:lnTo>
                    <a:lnTo>
                      <a:pt x="688" y="328"/>
                    </a:lnTo>
                    <a:lnTo>
                      <a:pt x="696" y="336"/>
                    </a:lnTo>
                    <a:lnTo>
                      <a:pt x="696" y="344"/>
                    </a:lnTo>
                    <a:lnTo>
                      <a:pt x="696" y="352"/>
                    </a:lnTo>
                    <a:lnTo>
                      <a:pt x="688" y="360"/>
                    </a:lnTo>
                    <a:lnTo>
                      <a:pt x="680" y="368"/>
                    </a:lnTo>
                    <a:lnTo>
                      <a:pt x="680" y="376"/>
                    </a:lnTo>
                    <a:lnTo>
                      <a:pt x="672" y="384"/>
                    </a:lnTo>
                    <a:lnTo>
                      <a:pt x="680" y="384"/>
                    </a:lnTo>
                    <a:lnTo>
                      <a:pt x="680" y="392"/>
                    </a:lnTo>
                    <a:lnTo>
                      <a:pt x="672" y="400"/>
                    </a:lnTo>
                    <a:lnTo>
                      <a:pt x="680" y="400"/>
                    </a:lnTo>
                    <a:lnTo>
                      <a:pt x="672" y="400"/>
                    </a:lnTo>
                    <a:lnTo>
                      <a:pt x="672" y="416"/>
                    </a:lnTo>
                    <a:lnTo>
                      <a:pt x="664" y="424"/>
                    </a:lnTo>
                    <a:lnTo>
                      <a:pt x="656" y="416"/>
                    </a:lnTo>
                    <a:lnTo>
                      <a:pt x="664" y="416"/>
                    </a:lnTo>
                    <a:lnTo>
                      <a:pt x="664" y="408"/>
                    </a:lnTo>
                    <a:lnTo>
                      <a:pt x="656" y="408"/>
                    </a:lnTo>
                    <a:lnTo>
                      <a:pt x="656" y="416"/>
                    </a:lnTo>
                    <a:lnTo>
                      <a:pt x="648" y="416"/>
                    </a:lnTo>
                    <a:lnTo>
                      <a:pt x="648" y="424"/>
                    </a:lnTo>
                    <a:lnTo>
                      <a:pt x="640" y="424"/>
                    </a:lnTo>
                    <a:lnTo>
                      <a:pt x="640" y="432"/>
                    </a:lnTo>
                    <a:lnTo>
                      <a:pt x="632" y="432"/>
                    </a:lnTo>
                    <a:lnTo>
                      <a:pt x="624" y="432"/>
                    </a:lnTo>
                    <a:lnTo>
                      <a:pt x="584" y="432"/>
                    </a:lnTo>
                    <a:lnTo>
                      <a:pt x="584" y="448"/>
                    </a:lnTo>
                    <a:lnTo>
                      <a:pt x="576" y="448"/>
                    </a:lnTo>
                    <a:lnTo>
                      <a:pt x="576" y="456"/>
                    </a:lnTo>
                    <a:lnTo>
                      <a:pt x="584" y="456"/>
                    </a:lnTo>
                    <a:lnTo>
                      <a:pt x="584" y="464"/>
                    </a:lnTo>
                    <a:lnTo>
                      <a:pt x="592" y="464"/>
                    </a:lnTo>
                    <a:lnTo>
                      <a:pt x="592" y="472"/>
                    </a:lnTo>
                    <a:lnTo>
                      <a:pt x="600" y="472"/>
                    </a:lnTo>
                    <a:lnTo>
                      <a:pt x="600" y="480"/>
                    </a:lnTo>
                    <a:lnTo>
                      <a:pt x="568" y="480"/>
                    </a:lnTo>
                    <a:lnTo>
                      <a:pt x="552" y="504"/>
                    </a:lnTo>
                    <a:lnTo>
                      <a:pt x="552" y="512"/>
                    </a:lnTo>
                    <a:lnTo>
                      <a:pt x="552" y="520"/>
                    </a:lnTo>
                    <a:lnTo>
                      <a:pt x="544" y="512"/>
                    </a:lnTo>
                    <a:lnTo>
                      <a:pt x="536" y="512"/>
                    </a:lnTo>
                    <a:lnTo>
                      <a:pt x="536" y="504"/>
                    </a:lnTo>
                    <a:lnTo>
                      <a:pt x="520" y="488"/>
                    </a:lnTo>
                    <a:lnTo>
                      <a:pt x="512" y="488"/>
                    </a:lnTo>
                    <a:lnTo>
                      <a:pt x="512" y="480"/>
                    </a:lnTo>
                    <a:lnTo>
                      <a:pt x="504" y="480"/>
                    </a:lnTo>
                    <a:lnTo>
                      <a:pt x="504" y="472"/>
                    </a:lnTo>
                    <a:lnTo>
                      <a:pt x="496" y="472"/>
                    </a:lnTo>
                    <a:lnTo>
                      <a:pt x="496" y="480"/>
                    </a:lnTo>
                    <a:lnTo>
                      <a:pt x="504" y="480"/>
                    </a:lnTo>
                    <a:lnTo>
                      <a:pt x="512" y="488"/>
                    </a:lnTo>
                    <a:lnTo>
                      <a:pt x="512" y="480"/>
                    </a:lnTo>
                    <a:lnTo>
                      <a:pt x="504" y="480"/>
                    </a:lnTo>
                    <a:lnTo>
                      <a:pt x="496" y="480"/>
                    </a:lnTo>
                    <a:lnTo>
                      <a:pt x="488" y="480"/>
                    </a:lnTo>
                    <a:lnTo>
                      <a:pt x="496" y="472"/>
                    </a:lnTo>
                    <a:lnTo>
                      <a:pt x="488" y="472"/>
                    </a:lnTo>
                    <a:lnTo>
                      <a:pt x="480" y="472"/>
                    </a:lnTo>
                    <a:lnTo>
                      <a:pt x="480" y="480"/>
                    </a:lnTo>
                    <a:lnTo>
                      <a:pt x="488" y="480"/>
                    </a:lnTo>
                    <a:lnTo>
                      <a:pt x="480" y="480"/>
                    </a:lnTo>
                    <a:lnTo>
                      <a:pt x="472" y="488"/>
                    </a:lnTo>
                    <a:lnTo>
                      <a:pt x="464" y="488"/>
                    </a:lnTo>
                    <a:lnTo>
                      <a:pt x="456" y="488"/>
                    </a:lnTo>
                    <a:lnTo>
                      <a:pt x="448" y="488"/>
                    </a:lnTo>
                    <a:lnTo>
                      <a:pt x="432" y="488"/>
                    </a:lnTo>
                    <a:lnTo>
                      <a:pt x="432" y="480"/>
                    </a:lnTo>
                    <a:lnTo>
                      <a:pt x="416" y="480"/>
                    </a:lnTo>
                    <a:lnTo>
                      <a:pt x="408" y="480"/>
                    </a:lnTo>
                    <a:lnTo>
                      <a:pt x="400" y="480"/>
                    </a:lnTo>
                    <a:lnTo>
                      <a:pt x="392" y="472"/>
                    </a:lnTo>
                    <a:lnTo>
                      <a:pt x="392" y="464"/>
                    </a:lnTo>
                    <a:lnTo>
                      <a:pt x="384" y="472"/>
                    </a:lnTo>
                    <a:lnTo>
                      <a:pt x="376" y="464"/>
                    </a:lnTo>
                    <a:lnTo>
                      <a:pt x="368" y="464"/>
                    </a:lnTo>
                    <a:lnTo>
                      <a:pt x="360" y="456"/>
                    </a:lnTo>
                    <a:lnTo>
                      <a:pt x="352" y="456"/>
                    </a:lnTo>
                    <a:lnTo>
                      <a:pt x="344" y="448"/>
                    </a:lnTo>
                    <a:lnTo>
                      <a:pt x="336" y="440"/>
                    </a:lnTo>
                    <a:lnTo>
                      <a:pt x="328" y="440"/>
                    </a:lnTo>
                    <a:lnTo>
                      <a:pt x="320" y="432"/>
                    </a:lnTo>
                    <a:lnTo>
                      <a:pt x="312" y="432"/>
                    </a:lnTo>
                    <a:lnTo>
                      <a:pt x="296" y="424"/>
                    </a:lnTo>
                    <a:lnTo>
                      <a:pt x="288" y="424"/>
                    </a:lnTo>
                    <a:lnTo>
                      <a:pt x="280" y="416"/>
                    </a:lnTo>
                    <a:lnTo>
                      <a:pt x="280" y="408"/>
                    </a:lnTo>
                    <a:lnTo>
                      <a:pt x="272" y="408"/>
                    </a:lnTo>
                    <a:lnTo>
                      <a:pt x="264" y="400"/>
                    </a:lnTo>
                    <a:lnTo>
                      <a:pt x="256" y="400"/>
                    </a:lnTo>
                    <a:lnTo>
                      <a:pt x="248" y="400"/>
                    </a:lnTo>
                    <a:lnTo>
                      <a:pt x="248" y="392"/>
                    </a:lnTo>
                    <a:lnTo>
                      <a:pt x="240" y="392"/>
                    </a:lnTo>
                    <a:lnTo>
                      <a:pt x="240" y="384"/>
                    </a:lnTo>
                    <a:lnTo>
                      <a:pt x="240" y="376"/>
                    </a:lnTo>
                    <a:lnTo>
                      <a:pt x="232" y="376"/>
                    </a:lnTo>
                    <a:lnTo>
                      <a:pt x="232" y="368"/>
                    </a:lnTo>
                    <a:lnTo>
                      <a:pt x="232" y="360"/>
                    </a:lnTo>
                    <a:lnTo>
                      <a:pt x="240" y="360"/>
                    </a:lnTo>
                    <a:lnTo>
                      <a:pt x="240" y="352"/>
                    </a:lnTo>
                    <a:lnTo>
                      <a:pt x="232" y="352"/>
                    </a:lnTo>
                    <a:lnTo>
                      <a:pt x="240" y="352"/>
                    </a:lnTo>
                    <a:lnTo>
                      <a:pt x="240" y="344"/>
                    </a:lnTo>
                    <a:lnTo>
                      <a:pt x="248" y="344"/>
                    </a:lnTo>
                    <a:lnTo>
                      <a:pt x="248" y="336"/>
                    </a:lnTo>
                    <a:lnTo>
                      <a:pt x="240" y="320"/>
                    </a:lnTo>
                    <a:lnTo>
                      <a:pt x="232" y="312"/>
                    </a:lnTo>
                    <a:lnTo>
                      <a:pt x="240" y="312"/>
                    </a:lnTo>
                    <a:lnTo>
                      <a:pt x="232" y="304"/>
                    </a:lnTo>
                    <a:lnTo>
                      <a:pt x="224" y="296"/>
                    </a:lnTo>
                    <a:lnTo>
                      <a:pt x="224" y="288"/>
                    </a:lnTo>
                    <a:lnTo>
                      <a:pt x="216" y="280"/>
                    </a:lnTo>
                    <a:lnTo>
                      <a:pt x="216" y="272"/>
                    </a:lnTo>
                    <a:lnTo>
                      <a:pt x="208" y="256"/>
                    </a:lnTo>
                    <a:lnTo>
                      <a:pt x="200" y="256"/>
                    </a:lnTo>
                    <a:lnTo>
                      <a:pt x="200" y="248"/>
                    </a:lnTo>
                    <a:lnTo>
                      <a:pt x="192" y="248"/>
                    </a:lnTo>
                    <a:lnTo>
                      <a:pt x="184" y="248"/>
                    </a:lnTo>
                    <a:lnTo>
                      <a:pt x="184" y="240"/>
                    </a:lnTo>
                    <a:lnTo>
                      <a:pt x="192" y="240"/>
                    </a:lnTo>
                    <a:lnTo>
                      <a:pt x="184" y="232"/>
                    </a:lnTo>
                    <a:lnTo>
                      <a:pt x="184" y="224"/>
                    </a:lnTo>
                    <a:lnTo>
                      <a:pt x="176" y="224"/>
                    </a:lnTo>
                    <a:lnTo>
                      <a:pt x="168" y="216"/>
                    </a:lnTo>
                    <a:lnTo>
                      <a:pt x="160" y="216"/>
                    </a:lnTo>
                    <a:lnTo>
                      <a:pt x="152" y="208"/>
                    </a:lnTo>
                    <a:lnTo>
                      <a:pt x="160" y="200"/>
                    </a:lnTo>
                    <a:lnTo>
                      <a:pt x="160" y="192"/>
                    </a:lnTo>
                    <a:lnTo>
                      <a:pt x="168" y="200"/>
                    </a:lnTo>
                    <a:lnTo>
                      <a:pt x="168" y="192"/>
                    </a:lnTo>
                    <a:lnTo>
                      <a:pt x="160" y="192"/>
                    </a:lnTo>
                    <a:lnTo>
                      <a:pt x="160" y="184"/>
                    </a:lnTo>
                    <a:lnTo>
                      <a:pt x="152" y="184"/>
                    </a:lnTo>
                    <a:lnTo>
                      <a:pt x="144" y="176"/>
                    </a:lnTo>
                    <a:lnTo>
                      <a:pt x="144" y="168"/>
                    </a:lnTo>
                    <a:lnTo>
                      <a:pt x="136" y="160"/>
                    </a:lnTo>
                    <a:lnTo>
                      <a:pt x="128" y="160"/>
                    </a:lnTo>
                    <a:lnTo>
                      <a:pt x="136" y="152"/>
                    </a:lnTo>
                    <a:lnTo>
                      <a:pt x="128" y="144"/>
                    </a:lnTo>
                    <a:lnTo>
                      <a:pt x="120" y="144"/>
                    </a:lnTo>
                    <a:lnTo>
                      <a:pt x="120" y="136"/>
                    </a:lnTo>
                    <a:lnTo>
                      <a:pt x="112" y="128"/>
                    </a:lnTo>
                    <a:lnTo>
                      <a:pt x="112" y="120"/>
                    </a:lnTo>
                    <a:lnTo>
                      <a:pt x="104" y="120"/>
                    </a:lnTo>
                    <a:lnTo>
                      <a:pt x="104" y="112"/>
                    </a:lnTo>
                    <a:lnTo>
                      <a:pt x="96" y="104"/>
                    </a:lnTo>
                    <a:lnTo>
                      <a:pt x="96" y="96"/>
                    </a:lnTo>
                    <a:lnTo>
                      <a:pt x="96" y="88"/>
                    </a:lnTo>
                    <a:lnTo>
                      <a:pt x="88" y="88"/>
                    </a:lnTo>
                    <a:lnTo>
                      <a:pt x="88" y="80"/>
                    </a:lnTo>
                    <a:lnTo>
                      <a:pt x="88" y="72"/>
                    </a:lnTo>
                    <a:lnTo>
                      <a:pt x="88" y="64"/>
                    </a:lnTo>
                    <a:lnTo>
                      <a:pt x="88" y="56"/>
                    </a:lnTo>
                    <a:lnTo>
                      <a:pt x="88" y="48"/>
                    </a:lnTo>
                    <a:lnTo>
                      <a:pt x="80" y="48"/>
                    </a:lnTo>
                    <a:lnTo>
                      <a:pt x="80" y="40"/>
                    </a:lnTo>
                    <a:lnTo>
                      <a:pt x="72" y="40"/>
                    </a:lnTo>
                    <a:lnTo>
                      <a:pt x="64" y="40"/>
                    </a:lnTo>
                    <a:lnTo>
                      <a:pt x="56" y="32"/>
                    </a:lnTo>
                    <a:lnTo>
                      <a:pt x="56" y="24"/>
                    </a:lnTo>
                    <a:lnTo>
                      <a:pt x="48" y="24"/>
                    </a:lnTo>
                    <a:lnTo>
                      <a:pt x="48" y="32"/>
                    </a:lnTo>
                    <a:lnTo>
                      <a:pt x="48" y="40"/>
                    </a:lnTo>
                    <a:lnTo>
                      <a:pt x="48" y="48"/>
                    </a:lnTo>
                    <a:lnTo>
                      <a:pt x="48" y="56"/>
                    </a:lnTo>
                    <a:lnTo>
                      <a:pt x="48" y="72"/>
                    </a:lnTo>
                    <a:lnTo>
                      <a:pt x="48" y="80"/>
                    </a:lnTo>
                    <a:lnTo>
                      <a:pt x="56" y="88"/>
                    </a:lnTo>
                    <a:lnTo>
                      <a:pt x="56" y="96"/>
                    </a:lnTo>
                    <a:lnTo>
                      <a:pt x="64" y="104"/>
                    </a:lnTo>
                    <a:lnTo>
                      <a:pt x="64" y="112"/>
                    </a:lnTo>
                    <a:lnTo>
                      <a:pt x="72" y="120"/>
                    </a:lnTo>
                    <a:lnTo>
                      <a:pt x="72" y="128"/>
                    </a:lnTo>
                    <a:lnTo>
                      <a:pt x="80" y="128"/>
                    </a:lnTo>
                    <a:lnTo>
                      <a:pt x="80" y="136"/>
                    </a:lnTo>
                    <a:lnTo>
                      <a:pt x="80" y="144"/>
                    </a:lnTo>
                    <a:lnTo>
                      <a:pt x="88" y="152"/>
                    </a:lnTo>
                    <a:lnTo>
                      <a:pt x="96" y="160"/>
                    </a:lnTo>
                    <a:lnTo>
                      <a:pt x="96" y="168"/>
                    </a:lnTo>
                    <a:lnTo>
                      <a:pt x="96" y="176"/>
                    </a:lnTo>
                    <a:lnTo>
                      <a:pt x="104" y="184"/>
                    </a:lnTo>
                    <a:lnTo>
                      <a:pt x="104" y="176"/>
                    </a:lnTo>
                    <a:lnTo>
                      <a:pt x="104" y="184"/>
                    </a:lnTo>
                    <a:lnTo>
                      <a:pt x="112" y="184"/>
                    </a:lnTo>
                    <a:lnTo>
                      <a:pt x="112" y="192"/>
                    </a:lnTo>
                    <a:lnTo>
                      <a:pt x="112" y="200"/>
                    </a:lnTo>
                    <a:lnTo>
                      <a:pt x="112" y="208"/>
                    </a:lnTo>
                    <a:lnTo>
                      <a:pt x="112" y="216"/>
                    </a:lnTo>
                    <a:lnTo>
                      <a:pt x="120" y="224"/>
                    </a:lnTo>
                    <a:lnTo>
                      <a:pt x="120" y="232"/>
                    </a:lnTo>
                    <a:lnTo>
                      <a:pt x="120" y="240"/>
                    </a:lnTo>
                    <a:lnTo>
                      <a:pt x="120" y="248"/>
                    </a:lnTo>
                    <a:lnTo>
                      <a:pt x="128" y="256"/>
                    </a:lnTo>
                    <a:lnTo>
                      <a:pt x="128" y="248"/>
                    </a:lnTo>
                    <a:lnTo>
                      <a:pt x="136" y="256"/>
                    </a:lnTo>
                    <a:lnTo>
                      <a:pt x="144" y="264"/>
                    </a:lnTo>
                    <a:lnTo>
                      <a:pt x="144" y="272"/>
                    </a:lnTo>
                    <a:lnTo>
                      <a:pt x="152" y="272"/>
                    </a:lnTo>
                    <a:lnTo>
                      <a:pt x="144" y="280"/>
                    </a:lnTo>
                    <a:lnTo>
                      <a:pt x="144" y="288"/>
                    </a:lnTo>
                    <a:lnTo>
                      <a:pt x="136" y="288"/>
                    </a:lnTo>
                    <a:lnTo>
                      <a:pt x="128" y="288"/>
                    </a:lnTo>
                    <a:lnTo>
                      <a:pt x="128" y="280"/>
                    </a:lnTo>
                    <a:lnTo>
                      <a:pt x="128" y="272"/>
                    </a:lnTo>
                    <a:lnTo>
                      <a:pt x="120" y="272"/>
                    </a:lnTo>
                    <a:lnTo>
                      <a:pt x="120" y="264"/>
                    </a:lnTo>
                    <a:lnTo>
                      <a:pt x="112" y="264"/>
                    </a:lnTo>
                    <a:lnTo>
                      <a:pt x="112" y="256"/>
                    </a:lnTo>
                    <a:lnTo>
                      <a:pt x="104" y="248"/>
                    </a:lnTo>
                    <a:lnTo>
                      <a:pt x="96" y="240"/>
                    </a:lnTo>
                    <a:lnTo>
                      <a:pt x="88" y="240"/>
                    </a:lnTo>
                    <a:lnTo>
                      <a:pt x="88" y="232"/>
                    </a:lnTo>
                    <a:lnTo>
                      <a:pt x="88" y="224"/>
                    </a:lnTo>
                    <a:lnTo>
                      <a:pt x="88" y="216"/>
                    </a:lnTo>
                    <a:lnTo>
                      <a:pt x="88" y="208"/>
                    </a:lnTo>
                    <a:lnTo>
                      <a:pt x="88" y="200"/>
                    </a:lnTo>
                    <a:lnTo>
                      <a:pt x="80" y="192"/>
                    </a:lnTo>
                    <a:lnTo>
                      <a:pt x="72" y="184"/>
                    </a:lnTo>
                    <a:lnTo>
                      <a:pt x="64" y="176"/>
                    </a:lnTo>
                    <a:lnTo>
                      <a:pt x="72" y="176"/>
                    </a:lnTo>
                    <a:lnTo>
                      <a:pt x="64" y="168"/>
                    </a:lnTo>
                    <a:lnTo>
                      <a:pt x="64" y="176"/>
                    </a:lnTo>
                    <a:lnTo>
                      <a:pt x="56" y="176"/>
                    </a:lnTo>
                    <a:lnTo>
                      <a:pt x="56" y="168"/>
                    </a:lnTo>
                    <a:lnTo>
                      <a:pt x="48" y="176"/>
                    </a:lnTo>
                    <a:lnTo>
                      <a:pt x="48" y="168"/>
                    </a:lnTo>
                    <a:lnTo>
                      <a:pt x="40" y="168"/>
                    </a:lnTo>
                    <a:lnTo>
                      <a:pt x="40" y="160"/>
                    </a:lnTo>
                    <a:lnTo>
                      <a:pt x="32" y="152"/>
                    </a:lnTo>
                    <a:lnTo>
                      <a:pt x="24" y="144"/>
                    </a:lnTo>
                    <a:lnTo>
                      <a:pt x="32" y="144"/>
                    </a:lnTo>
                    <a:lnTo>
                      <a:pt x="40" y="144"/>
                    </a:lnTo>
                    <a:lnTo>
                      <a:pt x="48" y="152"/>
                    </a:lnTo>
                    <a:lnTo>
                      <a:pt x="48" y="144"/>
                    </a:lnTo>
                    <a:lnTo>
                      <a:pt x="56" y="136"/>
                    </a:lnTo>
                    <a:lnTo>
                      <a:pt x="48" y="136"/>
                    </a:lnTo>
                    <a:lnTo>
                      <a:pt x="56" y="128"/>
                    </a:lnTo>
                    <a:lnTo>
                      <a:pt x="48" y="120"/>
                    </a:lnTo>
                    <a:lnTo>
                      <a:pt x="48" y="112"/>
                    </a:lnTo>
                    <a:lnTo>
                      <a:pt x="40" y="112"/>
                    </a:lnTo>
                    <a:lnTo>
                      <a:pt x="40" y="104"/>
                    </a:lnTo>
                    <a:lnTo>
                      <a:pt x="32" y="104"/>
                    </a:lnTo>
                    <a:lnTo>
                      <a:pt x="32" y="96"/>
                    </a:lnTo>
                    <a:lnTo>
                      <a:pt x="24" y="96"/>
                    </a:lnTo>
                    <a:lnTo>
                      <a:pt x="24" y="88"/>
                    </a:lnTo>
                    <a:lnTo>
                      <a:pt x="16" y="80"/>
                    </a:lnTo>
                    <a:lnTo>
                      <a:pt x="16" y="72"/>
                    </a:lnTo>
                    <a:lnTo>
                      <a:pt x="16" y="64"/>
                    </a:lnTo>
                    <a:lnTo>
                      <a:pt x="16" y="56"/>
                    </a:lnTo>
                    <a:lnTo>
                      <a:pt x="8" y="56"/>
                    </a:lnTo>
                    <a:lnTo>
                      <a:pt x="8" y="48"/>
                    </a:lnTo>
                    <a:lnTo>
                      <a:pt x="8" y="40"/>
                    </a:lnTo>
                    <a:lnTo>
                      <a:pt x="0" y="32"/>
                    </a:lnTo>
                    <a:lnTo>
                      <a:pt x="8" y="24"/>
                    </a:lnTo>
                    <a:lnTo>
                      <a:pt x="0" y="24"/>
                    </a:lnTo>
                    <a:lnTo>
                      <a:pt x="0" y="16"/>
                    </a:lnTo>
                    <a:lnTo>
                      <a:pt x="0" y="8"/>
                    </a:lnTo>
                    <a:lnTo>
                      <a:pt x="0" y="0"/>
                    </a:lnTo>
                    <a:lnTo>
                      <a:pt x="120" y="232"/>
                    </a:lnTo>
                    <a:lnTo>
                      <a:pt x="128" y="232"/>
                    </a:lnTo>
                    <a:lnTo>
                      <a:pt x="120" y="224"/>
                    </a:lnTo>
                    <a:lnTo>
                      <a:pt x="120" y="232"/>
                    </a:lnTo>
                    <a:lnTo>
                      <a:pt x="0" y="0"/>
                    </a:lnTo>
                    <a:lnTo>
                      <a:pt x="440" y="240"/>
                    </a:lnTo>
                    <a:lnTo>
                      <a:pt x="448" y="232"/>
                    </a:lnTo>
                    <a:lnTo>
                      <a:pt x="440" y="232"/>
                    </a:lnTo>
                    <a:lnTo>
                      <a:pt x="440" y="240"/>
                    </a:lnTo>
                    <a:lnTo>
                      <a:pt x="0" y="0"/>
                    </a:lnTo>
                    <a:close/>
                  </a:path>
                </a:pathLst>
              </a:custGeom>
              <a:grpFill/>
              <a:ln w="9525">
                <a:noFill/>
                <a:round/>
                <a:headEnd/>
                <a:tailEnd/>
              </a:ln>
            </p:spPr>
            <p:txBody>
              <a:bodyPr/>
              <a:lstStyle/>
              <a:p>
                <a:endParaRPr lang="en-US">
                  <a:solidFill>
                    <a:srgbClr val="000000"/>
                  </a:solidFill>
                </a:endParaRPr>
              </a:p>
            </p:txBody>
          </p:sp>
          <p:sp>
            <p:nvSpPr>
              <p:cNvPr id="1329" name="Freeform 352"/>
              <p:cNvSpPr>
                <a:spLocks/>
              </p:cNvSpPr>
              <p:nvPr/>
            </p:nvSpPr>
            <p:spPr bwMode="auto">
              <a:xfrm>
                <a:off x="3745290" y="5213954"/>
                <a:ext cx="1315357" cy="982738"/>
              </a:xfrm>
              <a:custGeom>
                <a:avLst/>
                <a:gdLst>
                  <a:gd name="T0" fmla="*/ 256 w 696"/>
                  <a:gd name="T1" fmla="*/ 40 h 520"/>
                  <a:gd name="T2" fmla="*/ 280 w 696"/>
                  <a:gd name="T3" fmla="*/ 80 h 520"/>
                  <a:gd name="T4" fmla="*/ 296 w 696"/>
                  <a:gd name="T5" fmla="*/ 112 h 520"/>
                  <a:gd name="T6" fmla="*/ 336 w 696"/>
                  <a:gd name="T7" fmla="*/ 112 h 520"/>
                  <a:gd name="T8" fmla="*/ 360 w 696"/>
                  <a:gd name="T9" fmla="*/ 96 h 520"/>
                  <a:gd name="T10" fmla="*/ 384 w 696"/>
                  <a:gd name="T11" fmla="*/ 128 h 520"/>
                  <a:gd name="T12" fmla="*/ 408 w 696"/>
                  <a:gd name="T13" fmla="*/ 168 h 520"/>
                  <a:gd name="T14" fmla="*/ 432 w 696"/>
                  <a:gd name="T15" fmla="*/ 208 h 520"/>
                  <a:gd name="T16" fmla="*/ 448 w 696"/>
                  <a:gd name="T17" fmla="*/ 224 h 520"/>
                  <a:gd name="T18" fmla="*/ 440 w 696"/>
                  <a:gd name="T19" fmla="*/ 240 h 520"/>
                  <a:gd name="T20" fmla="*/ 432 w 696"/>
                  <a:gd name="T21" fmla="*/ 288 h 520"/>
                  <a:gd name="T22" fmla="*/ 432 w 696"/>
                  <a:gd name="T23" fmla="*/ 328 h 520"/>
                  <a:gd name="T24" fmla="*/ 440 w 696"/>
                  <a:gd name="T25" fmla="*/ 360 h 520"/>
                  <a:gd name="T26" fmla="*/ 488 w 696"/>
                  <a:gd name="T27" fmla="*/ 408 h 520"/>
                  <a:gd name="T28" fmla="*/ 536 w 696"/>
                  <a:gd name="T29" fmla="*/ 416 h 520"/>
                  <a:gd name="T30" fmla="*/ 560 w 696"/>
                  <a:gd name="T31" fmla="*/ 416 h 520"/>
                  <a:gd name="T32" fmla="*/ 584 w 696"/>
                  <a:gd name="T33" fmla="*/ 400 h 520"/>
                  <a:gd name="T34" fmla="*/ 608 w 696"/>
                  <a:gd name="T35" fmla="*/ 344 h 520"/>
                  <a:gd name="T36" fmla="*/ 672 w 696"/>
                  <a:gd name="T37" fmla="*/ 328 h 520"/>
                  <a:gd name="T38" fmla="*/ 680 w 696"/>
                  <a:gd name="T39" fmla="*/ 368 h 520"/>
                  <a:gd name="T40" fmla="*/ 672 w 696"/>
                  <a:gd name="T41" fmla="*/ 400 h 520"/>
                  <a:gd name="T42" fmla="*/ 656 w 696"/>
                  <a:gd name="T43" fmla="*/ 416 h 520"/>
                  <a:gd name="T44" fmla="*/ 584 w 696"/>
                  <a:gd name="T45" fmla="*/ 432 h 520"/>
                  <a:gd name="T46" fmla="*/ 592 w 696"/>
                  <a:gd name="T47" fmla="*/ 472 h 520"/>
                  <a:gd name="T48" fmla="*/ 544 w 696"/>
                  <a:gd name="T49" fmla="*/ 512 h 520"/>
                  <a:gd name="T50" fmla="*/ 504 w 696"/>
                  <a:gd name="T51" fmla="*/ 472 h 520"/>
                  <a:gd name="T52" fmla="*/ 496 w 696"/>
                  <a:gd name="T53" fmla="*/ 480 h 520"/>
                  <a:gd name="T54" fmla="*/ 480 w 696"/>
                  <a:gd name="T55" fmla="*/ 480 h 520"/>
                  <a:gd name="T56" fmla="*/ 416 w 696"/>
                  <a:gd name="T57" fmla="*/ 480 h 520"/>
                  <a:gd name="T58" fmla="*/ 368 w 696"/>
                  <a:gd name="T59" fmla="*/ 464 h 520"/>
                  <a:gd name="T60" fmla="*/ 312 w 696"/>
                  <a:gd name="T61" fmla="*/ 432 h 520"/>
                  <a:gd name="T62" fmla="*/ 256 w 696"/>
                  <a:gd name="T63" fmla="*/ 400 h 520"/>
                  <a:gd name="T64" fmla="*/ 232 w 696"/>
                  <a:gd name="T65" fmla="*/ 368 h 520"/>
                  <a:gd name="T66" fmla="*/ 248 w 696"/>
                  <a:gd name="T67" fmla="*/ 344 h 520"/>
                  <a:gd name="T68" fmla="*/ 224 w 696"/>
                  <a:gd name="T69" fmla="*/ 288 h 520"/>
                  <a:gd name="T70" fmla="*/ 184 w 696"/>
                  <a:gd name="T71" fmla="*/ 248 h 520"/>
                  <a:gd name="T72" fmla="*/ 160 w 696"/>
                  <a:gd name="T73" fmla="*/ 216 h 520"/>
                  <a:gd name="T74" fmla="*/ 160 w 696"/>
                  <a:gd name="T75" fmla="*/ 184 h 520"/>
                  <a:gd name="T76" fmla="*/ 128 w 696"/>
                  <a:gd name="T77" fmla="*/ 144 h 520"/>
                  <a:gd name="T78" fmla="*/ 96 w 696"/>
                  <a:gd name="T79" fmla="*/ 104 h 520"/>
                  <a:gd name="T80" fmla="*/ 88 w 696"/>
                  <a:gd name="T81" fmla="*/ 56 h 520"/>
                  <a:gd name="T82" fmla="*/ 56 w 696"/>
                  <a:gd name="T83" fmla="*/ 24 h 520"/>
                  <a:gd name="T84" fmla="*/ 48 w 696"/>
                  <a:gd name="T85" fmla="*/ 80 h 520"/>
                  <a:gd name="T86" fmla="*/ 80 w 696"/>
                  <a:gd name="T87" fmla="*/ 128 h 520"/>
                  <a:gd name="T88" fmla="*/ 104 w 696"/>
                  <a:gd name="T89" fmla="*/ 184 h 520"/>
                  <a:gd name="T90" fmla="*/ 112 w 696"/>
                  <a:gd name="T91" fmla="*/ 216 h 520"/>
                  <a:gd name="T92" fmla="*/ 136 w 696"/>
                  <a:gd name="T93" fmla="*/ 256 h 520"/>
                  <a:gd name="T94" fmla="*/ 128 w 696"/>
                  <a:gd name="T95" fmla="*/ 288 h 520"/>
                  <a:gd name="T96" fmla="*/ 104 w 696"/>
                  <a:gd name="T97" fmla="*/ 248 h 520"/>
                  <a:gd name="T98" fmla="*/ 88 w 696"/>
                  <a:gd name="T99" fmla="*/ 200 h 520"/>
                  <a:gd name="T100" fmla="*/ 56 w 696"/>
                  <a:gd name="T101" fmla="*/ 176 h 520"/>
                  <a:gd name="T102" fmla="*/ 24 w 696"/>
                  <a:gd name="T103" fmla="*/ 144 h 520"/>
                  <a:gd name="T104" fmla="*/ 56 w 696"/>
                  <a:gd name="T105" fmla="*/ 128 h 520"/>
                  <a:gd name="T106" fmla="*/ 24 w 696"/>
                  <a:gd name="T107" fmla="*/ 96 h 520"/>
                  <a:gd name="T108" fmla="*/ 8 w 696"/>
                  <a:gd name="T109" fmla="*/ 48 h 520"/>
                  <a:gd name="T110" fmla="*/ 0 w 696"/>
                  <a:gd name="T11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520">
                    <a:moveTo>
                      <a:pt x="0" y="0"/>
                    </a:moveTo>
                    <a:lnTo>
                      <a:pt x="56" y="0"/>
                    </a:lnTo>
                    <a:lnTo>
                      <a:pt x="136" y="40"/>
                    </a:lnTo>
                    <a:lnTo>
                      <a:pt x="208" y="40"/>
                    </a:lnTo>
                    <a:lnTo>
                      <a:pt x="208" y="32"/>
                    </a:lnTo>
                    <a:lnTo>
                      <a:pt x="248" y="32"/>
                    </a:lnTo>
                    <a:lnTo>
                      <a:pt x="256" y="40"/>
                    </a:lnTo>
                    <a:lnTo>
                      <a:pt x="264" y="48"/>
                    </a:lnTo>
                    <a:lnTo>
                      <a:pt x="264" y="56"/>
                    </a:lnTo>
                    <a:lnTo>
                      <a:pt x="272" y="56"/>
                    </a:lnTo>
                    <a:lnTo>
                      <a:pt x="272" y="64"/>
                    </a:lnTo>
                    <a:lnTo>
                      <a:pt x="280" y="64"/>
                    </a:lnTo>
                    <a:lnTo>
                      <a:pt x="280" y="72"/>
                    </a:lnTo>
                    <a:lnTo>
                      <a:pt x="280" y="80"/>
                    </a:lnTo>
                    <a:lnTo>
                      <a:pt x="288" y="80"/>
                    </a:lnTo>
                    <a:lnTo>
                      <a:pt x="288" y="88"/>
                    </a:lnTo>
                    <a:lnTo>
                      <a:pt x="280" y="88"/>
                    </a:lnTo>
                    <a:lnTo>
                      <a:pt x="288" y="96"/>
                    </a:lnTo>
                    <a:lnTo>
                      <a:pt x="288" y="104"/>
                    </a:lnTo>
                    <a:lnTo>
                      <a:pt x="296" y="104"/>
                    </a:lnTo>
                    <a:lnTo>
                      <a:pt x="296" y="112"/>
                    </a:lnTo>
                    <a:lnTo>
                      <a:pt x="304" y="112"/>
                    </a:lnTo>
                    <a:lnTo>
                      <a:pt x="312" y="112"/>
                    </a:lnTo>
                    <a:lnTo>
                      <a:pt x="312" y="120"/>
                    </a:lnTo>
                    <a:lnTo>
                      <a:pt x="320" y="120"/>
                    </a:lnTo>
                    <a:lnTo>
                      <a:pt x="328" y="120"/>
                    </a:lnTo>
                    <a:lnTo>
                      <a:pt x="328" y="112"/>
                    </a:lnTo>
                    <a:lnTo>
                      <a:pt x="336" y="112"/>
                    </a:lnTo>
                    <a:lnTo>
                      <a:pt x="336" y="104"/>
                    </a:lnTo>
                    <a:lnTo>
                      <a:pt x="336" y="96"/>
                    </a:lnTo>
                    <a:lnTo>
                      <a:pt x="344" y="96"/>
                    </a:lnTo>
                    <a:lnTo>
                      <a:pt x="344" y="104"/>
                    </a:lnTo>
                    <a:lnTo>
                      <a:pt x="344" y="96"/>
                    </a:lnTo>
                    <a:lnTo>
                      <a:pt x="352" y="96"/>
                    </a:lnTo>
                    <a:lnTo>
                      <a:pt x="360" y="96"/>
                    </a:lnTo>
                    <a:lnTo>
                      <a:pt x="368" y="96"/>
                    </a:lnTo>
                    <a:lnTo>
                      <a:pt x="368" y="104"/>
                    </a:lnTo>
                    <a:lnTo>
                      <a:pt x="376" y="104"/>
                    </a:lnTo>
                    <a:lnTo>
                      <a:pt x="376" y="112"/>
                    </a:lnTo>
                    <a:lnTo>
                      <a:pt x="384" y="112"/>
                    </a:lnTo>
                    <a:lnTo>
                      <a:pt x="384" y="120"/>
                    </a:lnTo>
                    <a:lnTo>
                      <a:pt x="384" y="128"/>
                    </a:lnTo>
                    <a:lnTo>
                      <a:pt x="384" y="136"/>
                    </a:lnTo>
                    <a:lnTo>
                      <a:pt x="392" y="136"/>
                    </a:lnTo>
                    <a:lnTo>
                      <a:pt x="392" y="144"/>
                    </a:lnTo>
                    <a:lnTo>
                      <a:pt x="392" y="152"/>
                    </a:lnTo>
                    <a:lnTo>
                      <a:pt x="400" y="152"/>
                    </a:lnTo>
                    <a:lnTo>
                      <a:pt x="400" y="160"/>
                    </a:lnTo>
                    <a:lnTo>
                      <a:pt x="408" y="168"/>
                    </a:lnTo>
                    <a:lnTo>
                      <a:pt x="408" y="176"/>
                    </a:lnTo>
                    <a:lnTo>
                      <a:pt x="408" y="192"/>
                    </a:lnTo>
                    <a:lnTo>
                      <a:pt x="408" y="200"/>
                    </a:lnTo>
                    <a:lnTo>
                      <a:pt x="416" y="200"/>
                    </a:lnTo>
                    <a:lnTo>
                      <a:pt x="424" y="200"/>
                    </a:lnTo>
                    <a:lnTo>
                      <a:pt x="424" y="208"/>
                    </a:lnTo>
                    <a:lnTo>
                      <a:pt x="432" y="208"/>
                    </a:lnTo>
                    <a:lnTo>
                      <a:pt x="440" y="208"/>
                    </a:lnTo>
                    <a:lnTo>
                      <a:pt x="448" y="216"/>
                    </a:lnTo>
                    <a:lnTo>
                      <a:pt x="448" y="208"/>
                    </a:lnTo>
                    <a:lnTo>
                      <a:pt x="456" y="208"/>
                    </a:lnTo>
                    <a:lnTo>
                      <a:pt x="456" y="216"/>
                    </a:lnTo>
                    <a:lnTo>
                      <a:pt x="448" y="216"/>
                    </a:lnTo>
                    <a:lnTo>
                      <a:pt x="448" y="224"/>
                    </a:lnTo>
                    <a:lnTo>
                      <a:pt x="448" y="232"/>
                    </a:lnTo>
                    <a:lnTo>
                      <a:pt x="440" y="232"/>
                    </a:lnTo>
                    <a:lnTo>
                      <a:pt x="448" y="232"/>
                    </a:lnTo>
                    <a:lnTo>
                      <a:pt x="448" y="224"/>
                    </a:lnTo>
                    <a:lnTo>
                      <a:pt x="440" y="224"/>
                    </a:lnTo>
                    <a:lnTo>
                      <a:pt x="440" y="232"/>
                    </a:lnTo>
                    <a:lnTo>
                      <a:pt x="440" y="240"/>
                    </a:lnTo>
                    <a:lnTo>
                      <a:pt x="440" y="248"/>
                    </a:lnTo>
                    <a:lnTo>
                      <a:pt x="432" y="248"/>
                    </a:lnTo>
                    <a:lnTo>
                      <a:pt x="432" y="256"/>
                    </a:lnTo>
                    <a:lnTo>
                      <a:pt x="440" y="256"/>
                    </a:lnTo>
                    <a:lnTo>
                      <a:pt x="432" y="264"/>
                    </a:lnTo>
                    <a:lnTo>
                      <a:pt x="432" y="280"/>
                    </a:lnTo>
                    <a:lnTo>
                      <a:pt x="432" y="288"/>
                    </a:lnTo>
                    <a:lnTo>
                      <a:pt x="432" y="296"/>
                    </a:lnTo>
                    <a:lnTo>
                      <a:pt x="432" y="304"/>
                    </a:lnTo>
                    <a:lnTo>
                      <a:pt x="432" y="312"/>
                    </a:lnTo>
                    <a:lnTo>
                      <a:pt x="432" y="320"/>
                    </a:lnTo>
                    <a:lnTo>
                      <a:pt x="440" y="328"/>
                    </a:lnTo>
                    <a:lnTo>
                      <a:pt x="440" y="336"/>
                    </a:lnTo>
                    <a:lnTo>
                      <a:pt x="432" y="328"/>
                    </a:lnTo>
                    <a:lnTo>
                      <a:pt x="432" y="320"/>
                    </a:lnTo>
                    <a:lnTo>
                      <a:pt x="432" y="328"/>
                    </a:lnTo>
                    <a:lnTo>
                      <a:pt x="432" y="336"/>
                    </a:lnTo>
                    <a:lnTo>
                      <a:pt x="440" y="344"/>
                    </a:lnTo>
                    <a:lnTo>
                      <a:pt x="432" y="352"/>
                    </a:lnTo>
                    <a:lnTo>
                      <a:pt x="440" y="352"/>
                    </a:lnTo>
                    <a:lnTo>
                      <a:pt x="440" y="360"/>
                    </a:lnTo>
                    <a:lnTo>
                      <a:pt x="456" y="376"/>
                    </a:lnTo>
                    <a:lnTo>
                      <a:pt x="456" y="384"/>
                    </a:lnTo>
                    <a:lnTo>
                      <a:pt x="456" y="392"/>
                    </a:lnTo>
                    <a:lnTo>
                      <a:pt x="464" y="392"/>
                    </a:lnTo>
                    <a:lnTo>
                      <a:pt x="472" y="408"/>
                    </a:lnTo>
                    <a:lnTo>
                      <a:pt x="480" y="408"/>
                    </a:lnTo>
                    <a:lnTo>
                      <a:pt x="488" y="408"/>
                    </a:lnTo>
                    <a:lnTo>
                      <a:pt x="488" y="416"/>
                    </a:lnTo>
                    <a:lnTo>
                      <a:pt x="496" y="424"/>
                    </a:lnTo>
                    <a:lnTo>
                      <a:pt x="504" y="424"/>
                    </a:lnTo>
                    <a:lnTo>
                      <a:pt x="512" y="424"/>
                    </a:lnTo>
                    <a:lnTo>
                      <a:pt x="520" y="424"/>
                    </a:lnTo>
                    <a:lnTo>
                      <a:pt x="528" y="416"/>
                    </a:lnTo>
                    <a:lnTo>
                      <a:pt x="536" y="416"/>
                    </a:lnTo>
                    <a:lnTo>
                      <a:pt x="544" y="416"/>
                    </a:lnTo>
                    <a:lnTo>
                      <a:pt x="552" y="416"/>
                    </a:lnTo>
                    <a:lnTo>
                      <a:pt x="552" y="408"/>
                    </a:lnTo>
                    <a:lnTo>
                      <a:pt x="560" y="416"/>
                    </a:lnTo>
                    <a:lnTo>
                      <a:pt x="560" y="408"/>
                    </a:lnTo>
                    <a:lnTo>
                      <a:pt x="568" y="416"/>
                    </a:lnTo>
                    <a:lnTo>
                      <a:pt x="560" y="416"/>
                    </a:lnTo>
                    <a:lnTo>
                      <a:pt x="568" y="424"/>
                    </a:lnTo>
                    <a:lnTo>
                      <a:pt x="576" y="424"/>
                    </a:lnTo>
                    <a:lnTo>
                      <a:pt x="584" y="416"/>
                    </a:lnTo>
                    <a:lnTo>
                      <a:pt x="584" y="408"/>
                    </a:lnTo>
                    <a:lnTo>
                      <a:pt x="584" y="400"/>
                    </a:lnTo>
                    <a:lnTo>
                      <a:pt x="576" y="408"/>
                    </a:lnTo>
                    <a:lnTo>
                      <a:pt x="584" y="400"/>
                    </a:lnTo>
                    <a:lnTo>
                      <a:pt x="592" y="400"/>
                    </a:lnTo>
                    <a:lnTo>
                      <a:pt x="600" y="392"/>
                    </a:lnTo>
                    <a:lnTo>
                      <a:pt x="600" y="384"/>
                    </a:lnTo>
                    <a:lnTo>
                      <a:pt x="608" y="376"/>
                    </a:lnTo>
                    <a:lnTo>
                      <a:pt x="608" y="360"/>
                    </a:lnTo>
                    <a:lnTo>
                      <a:pt x="616" y="352"/>
                    </a:lnTo>
                    <a:lnTo>
                      <a:pt x="608" y="344"/>
                    </a:lnTo>
                    <a:lnTo>
                      <a:pt x="624" y="344"/>
                    </a:lnTo>
                    <a:lnTo>
                      <a:pt x="648" y="344"/>
                    </a:lnTo>
                    <a:lnTo>
                      <a:pt x="648" y="336"/>
                    </a:lnTo>
                    <a:lnTo>
                      <a:pt x="656" y="336"/>
                    </a:lnTo>
                    <a:lnTo>
                      <a:pt x="664" y="336"/>
                    </a:lnTo>
                    <a:lnTo>
                      <a:pt x="664" y="328"/>
                    </a:lnTo>
                    <a:lnTo>
                      <a:pt x="672" y="328"/>
                    </a:lnTo>
                    <a:lnTo>
                      <a:pt x="688" y="336"/>
                    </a:lnTo>
                    <a:lnTo>
                      <a:pt x="688" y="328"/>
                    </a:lnTo>
                    <a:lnTo>
                      <a:pt x="696" y="336"/>
                    </a:lnTo>
                    <a:lnTo>
                      <a:pt x="696" y="344"/>
                    </a:lnTo>
                    <a:lnTo>
                      <a:pt x="696" y="352"/>
                    </a:lnTo>
                    <a:lnTo>
                      <a:pt x="688" y="360"/>
                    </a:lnTo>
                    <a:lnTo>
                      <a:pt x="680" y="368"/>
                    </a:lnTo>
                    <a:lnTo>
                      <a:pt x="680" y="376"/>
                    </a:lnTo>
                    <a:lnTo>
                      <a:pt x="672" y="384"/>
                    </a:lnTo>
                    <a:lnTo>
                      <a:pt x="680" y="384"/>
                    </a:lnTo>
                    <a:lnTo>
                      <a:pt x="680" y="392"/>
                    </a:lnTo>
                    <a:lnTo>
                      <a:pt x="672" y="400"/>
                    </a:lnTo>
                    <a:lnTo>
                      <a:pt x="680" y="400"/>
                    </a:lnTo>
                    <a:lnTo>
                      <a:pt x="672" y="400"/>
                    </a:lnTo>
                    <a:lnTo>
                      <a:pt x="672" y="416"/>
                    </a:lnTo>
                    <a:lnTo>
                      <a:pt x="664" y="424"/>
                    </a:lnTo>
                    <a:lnTo>
                      <a:pt x="656" y="416"/>
                    </a:lnTo>
                    <a:lnTo>
                      <a:pt x="664" y="416"/>
                    </a:lnTo>
                    <a:lnTo>
                      <a:pt x="664" y="408"/>
                    </a:lnTo>
                    <a:lnTo>
                      <a:pt x="656" y="408"/>
                    </a:lnTo>
                    <a:lnTo>
                      <a:pt x="656" y="416"/>
                    </a:lnTo>
                    <a:lnTo>
                      <a:pt x="648" y="416"/>
                    </a:lnTo>
                    <a:lnTo>
                      <a:pt x="648" y="424"/>
                    </a:lnTo>
                    <a:lnTo>
                      <a:pt x="640" y="424"/>
                    </a:lnTo>
                    <a:lnTo>
                      <a:pt x="640" y="432"/>
                    </a:lnTo>
                    <a:lnTo>
                      <a:pt x="632" y="432"/>
                    </a:lnTo>
                    <a:lnTo>
                      <a:pt x="624" y="432"/>
                    </a:lnTo>
                    <a:lnTo>
                      <a:pt x="584" y="432"/>
                    </a:lnTo>
                    <a:lnTo>
                      <a:pt x="584" y="448"/>
                    </a:lnTo>
                    <a:lnTo>
                      <a:pt x="576" y="448"/>
                    </a:lnTo>
                    <a:lnTo>
                      <a:pt x="576" y="456"/>
                    </a:lnTo>
                    <a:lnTo>
                      <a:pt x="584" y="456"/>
                    </a:lnTo>
                    <a:lnTo>
                      <a:pt x="584" y="464"/>
                    </a:lnTo>
                    <a:lnTo>
                      <a:pt x="592" y="464"/>
                    </a:lnTo>
                    <a:lnTo>
                      <a:pt x="592" y="472"/>
                    </a:lnTo>
                    <a:lnTo>
                      <a:pt x="600" y="472"/>
                    </a:lnTo>
                    <a:lnTo>
                      <a:pt x="600" y="480"/>
                    </a:lnTo>
                    <a:lnTo>
                      <a:pt x="568" y="480"/>
                    </a:lnTo>
                    <a:lnTo>
                      <a:pt x="552" y="504"/>
                    </a:lnTo>
                    <a:lnTo>
                      <a:pt x="552" y="512"/>
                    </a:lnTo>
                    <a:lnTo>
                      <a:pt x="552" y="520"/>
                    </a:lnTo>
                    <a:lnTo>
                      <a:pt x="544" y="512"/>
                    </a:lnTo>
                    <a:lnTo>
                      <a:pt x="536" y="512"/>
                    </a:lnTo>
                    <a:lnTo>
                      <a:pt x="536" y="504"/>
                    </a:lnTo>
                    <a:lnTo>
                      <a:pt x="520" y="488"/>
                    </a:lnTo>
                    <a:lnTo>
                      <a:pt x="512" y="488"/>
                    </a:lnTo>
                    <a:lnTo>
                      <a:pt x="512" y="480"/>
                    </a:lnTo>
                    <a:lnTo>
                      <a:pt x="504" y="480"/>
                    </a:lnTo>
                    <a:lnTo>
                      <a:pt x="504" y="472"/>
                    </a:lnTo>
                    <a:lnTo>
                      <a:pt x="496" y="472"/>
                    </a:lnTo>
                    <a:lnTo>
                      <a:pt x="496" y="480"/>
                    </a:lnTo>
                    <a:lnTo>
                      <a:pt x="504" y="480"/>
                    </a:lnTo>
                    <a:lnTo>
                      <a:pt x="512" y="488"/>
                    </a:lnTo>
                    <a:lnTo>
                      <a:pt x="512" y="480"/>
                    </a:lnTo>
                    <a:lnTo>
                      <a:pt x="504" y="480"/>
                    </a:lnTo>
                    <a:lnTo>
                      <a:pt x="496" y="480"/>
                    </a:lnTo>
                    <a:lnTo>
                      <a:pt x="488" y="480"/>
                    </a:lnTo>
                    <a:lnTo>
                      <a:pt x="496" y="472"/>
                    </a:lnTo>
                    <a:lnTo>
                      <a:pt x="488" y="472"/>
                    </a:lnTo>
                    <a:lnTo>
                      <a:pt x="480" y="472"/>
                    </a:lnTo>
                    <a:lnTo>
                      <a:pt x="480" y="480"/>
                    </a:lnTo>
                    <a:lnTo>
                      <a:pt x="488" y="480"/>
                    </a:lnTo>
                    <a:lnTo>
                      <a:pt x="480" y="480"/>
                    </a:lnTo>
                    <a:lnTo>
                      <a:pt x="472" y="488"/>
                    </a:lnTo>
                    <a:lnTo>
                      <a:pt x="464" y="488"/>
                    </a:lnTo>
                    <a:lnTo>
                      <a:pt x="456" y="488"/>
                    </a:lnTo>
                    <a:lnTo>
                      <a:pt x="448" y="488"/>
                    </a:lnTo>
                    <a:lnTo>
                      <a:pt x="432" y="488"/>
                    </a:lnTo>
                    <a:lnTo>
                      <a:pt x="432" y="480"/>
                    </a:lnTo>
                    <a:lnTo>
                      <a:pt x="416" y="480"/>
                    </a:lnTo>
                    <a:lnTo>
                      <a:pt x="408" y="480"/>
                    </a:lnTo>
                    <a:lnTo>
                      <a:pt x="400" y="480"/>
                    </a:lnTo>
                    <a:lnTo>
                      <a:pt x="392" y="472"/>
                    </a:lnTo>
                    <a:lnTo>
                      <a:pt x="392" y="464"/>
                    </a:lnTo>
                    <a:lnTo>
                      <a:pt x="384" y="472"/>
                    </a:lnTo>
                    <a:lnTo>
                      <a:pt x="376" y="464"/>
                    </a:lnTo>
                    <a:lnTo>
                      <a:pt x="368" y="464"/>
                    </a:lnTo>
                    <a:lnTo>
                      <a:pt x="360" y="456"/>
                    </a:lnTo>
                    <a:lnTo>
                      <a:pt x="352" y="456"/>
                    </a:lnTo>
                    <a:lnTo>
                      <a:pt x="344" y="448"/>
                    </a:lnTo>
                    <a:lnTo>
                      <a:pt x="336" y="440"/>
                    </a:lnTo>
                    <a:lnTo>
                      <a:pt x="328" y="440"/>
                    </a:lnTo>
                    <a:lnTo>
                      <a:pt x="320" y="432"/>
                    </a:lnTo>
                    <a:lnTo>
                      <a:pt x="312" y="432"/>
                    </a:lnTo>
                    <a:lnTo>
                      <a:pt x="296" y="424"/>
                    </a:lnTo>
                    <a:lnTo>
                      <a:pt x="288" y="424"/>
                    </a:lnTo>
                    <a:lnTo>
                      <a:pt x="280" y="416"/>
                    </a:lnTo>
                    <a:lnTo>
                      <a:pt x="280" y="408"/>
                    </a:lnTo>
                    <a:lnTo>
                      <a:pt x="272" y="408"/>
                    </a:lnTo>
                    <a:lnTo>
                      <a:pt x="264" y="400"/>
                    </a:lnTo>
                    <a:lnTo>
                      <a:pt x="256" y="400"/>
                    </a:lnTo>
                    <a:lnTo>
                      <a:pt x="248" y="400"/>
                    </a:lnTo>
                    <a:lnTo>
                      <a:pt x="248" y="392"/>
                    </a:lnTo>
                    <a:lnTo>
                      <a:pt x="240" y="392"/>
                    </a:lnTo>
                    <a:lnTo>
                      <a:pt x="240" y="384"/>
                    </a:lnTo>
                    <a:lnTo>
                      <a:pt x="240" y="376"/>
                    </a:lnTo>
                    <a:lnTo>
                      <a:pt x="232" y="376"/>
                    </a:lnTo>
                    <a:lnTo>
                      <a:pt x="232" y="368"/>
                    </a:lnTo>
                    <a:lnTo>
                      <a:pt x="232" y="360"/>
                    </a:lnTo>
                    <a:lnTo>
                      <a:pt x="240" y="360"/>
                    </a:lnTo>
                    <a:lnTo>
                      <a:pt x="240" y="352"/>
                    </a:lnTo>
                    <a:lnTo>
                      <a:pt x="232" y="352"/>
                    </a:lnTo>
                    <a:lnTo>
                      <a:pt x="240" y="352"/>
                    </a:lnTo>
                    <a:lnTo>
                      <a:pt x="240" y="344"/>
                    </a:lnTo>
                    <a:lnTo>
                      <a:pt x="248" y="344"/>
                    </a:lnTo>
                    <a:lnTo>
                      <a:pt x="248" y="336"/>
                    </a:lnTo>
                    <a:lnTo>
                      <a:pt x="240" y="320"/>
                    </a:lnTo>
                    <a:lnTo>
                      <a:pt x="232" y="312"/>
                    </a:lnTo>
                    <a:lnTo>
                      <a:pt x="240" y="312"/>
                    </a:lnTo>
                    <a:lnTo>
                      <a:pt x="232" y="304"/>
                    </a:lnTo>
                    <a:lnTo>
                      <a:pt x="224" y="296"/>
                    </a:lnTo>
                    <a:lnTo>
                      <a:pt x="224" y="288"/>
                    </a:lnTo>
                    <a:lnTo>
                      <a:pt x="216" y="280"/>
                    </a:lnTo>
                    <a:lnTo>
                      <a:pt x="216" y="272"/>
                    </a:lnTo>
                    <a:lnTo>
                      <a:pt x="208" y="256"/>
                    </a:lnTo>
                    <a:lnTo>
                      <a:pt x="200" y="256"/>
                    </a:lnTo>
                    <a:lnTo>
                      <a:pt x="200" y="248"/>
                    </a:lnTo>
                    <a:lnTo>
                      <a:pt x="192" y="248"/>
                    </a:lnTo>
                    <a:lnTo>
                      <a:pt x="184" y="248"/>
                    </a:lnTo>
                    <a:lnTo>
                      <a:pt x="184" y="240"/>
                    </a:lnTo>
                    <a:lnTo>
                      <a:pt x="192" y="240"/>
                    </a:lnTo>
                    <a:lnTo>
                      <a:pt x="184" y="232"/>
                    </a:lnTo>
                    <a:lnTo>
                      <a:pt x="184" y="224"/>
                    </a:lnTo>
                    <a:lnTo>
                      <a:pt x="176" y="224"/>
                    </a:lnTo>
                    <a:lnTo>
                      <a:pt x="168" y="216"/>
                    </a:lnTo>
                    <a:lnTo>
                      <a:pt x="160" y="216"/>
                    </a:lnTo>
                    <a:lnTo>
                      <a:pt x="152" y="208"/>
                    </a:lnTo>
                    <a:lnTo>
                      <a:pt x="160" y="200"/>
                    </a:lnTo>
                    <a:lnTo>
                      <a:pt x="160" y="192"/>
                    </a:lnTo>
                    <a:lnTo>
                      <a:pt x="168" y="200"/>
                    </a:lnTo>
                    <a:lnTo>
                      <a:pt x="168" y="192"/>
                    </a:lnTo>
                    <a:lnTo>
                      <a:pt x="160" y="192"/>
                    </a:lnTo>
                    <a:lnTo>
                      <a:pt x="160" y="184"/>
                    </a:lnTo>
                    <a:lnTo>
                      <a:pt x="152" y="184"/>
                    </a:lnTo>
                    <a:lnTo>
                      <a:pt x="144" y="176"/>
                    </a:lnTo>
                    <a:lnTo>
                      <a:pt x="144" y="168"/>
                    </a:lnTo>
                    <a:lnTo>
                      <a:pt x="136" y="160"/>
                    </a:lnTo>
                    <a:lnTo>
                      <a:pt x="128" y="160"/>
                    </a:lnTo>
                    <a:lnTo>
                      <a:pt x="136" y="152"/>
                    </a:lnTo>
                    <a:lnTo>
                      <a:pt x="128" y="144"/>
                    </a:lnTo>
                    <a:lnTo>
                      <a:pt x="120" y="144"/>
                    </a:lnTo>
                    <a:lnTo>
                      <a:pt x="120" y="136"/>
                    </a:lnTo>
                    <a:lnTo>
                      <a:pt x="112" y="128"/>
                    </a:lnTo>
                    <a:lnTo>
                      <a:pt x="112" y="120"/>
                    </a:lnTo>
                    <a:lnTo>
                      <a:pt x="104" y="120"/>
                    </a:lnTo>
                    <a:lnTo>
                      <a:pt x="104" y="112"/>
                    </a:lnTo>
                    <a:lnTo>
                      <a:pt x="96" y="104"/>
                    </a:lnTo>
                    <a:lnTo>
                      <a:pt x="96" y="96"/>
                    </a:lnTo>
                    <a:lnTo>
                      <a:pt x="96" y="88"/>
                    </a:lnTo>
                    <a:lnTo>
                      <a:pt x="88" y="88"/>
                    </a:lnTo>
                    <a:lnTo>
                      <a:pt x="88" y="80"/>
                    </a:lnTo>
                    <a:lnTo>
                      <a:pt x="88" y="72"/>
                    </a:lnTo>
                    <a:lnTo>
                      <a:pt x="88" y="64"/>
                    </a:lnTo>
                    <a:lnTo>
                      <a:pt x="88" y="56"/>
                    </a:lnTo>
                    <a:lnTo>
                      <a:pt x="88" y="48"/>
                    </a:lnTo>
                    <a:lnTo>
                      <a:pt x="80" y="48"/>
                    </a:lnTo>
                    <a:lnTo>
                      <a:pt x="80" y="40"/>
                    </a:lnTo>
                    <a:lnTo>
                      <a:pt x="72" y="40"/>
                    </a:lnTo>
                    <a:lnTo>
                      <a:pt x="64" y="40"/>
                    </a:lnTo>
                    <a:lnTo>
                      <a:pt x="56" y="32"/>
                    </a:lnTo>
                    <a:lnTo>
                      <a:pt x="56" y="24"/>
                    </a:lnTo>
                    <a:lnTo>
                      <a:pt x="48" y="24"/>
                    </a:lnTo>
                    <a:lnTo>
                      <a:pt x="48" y="32"/>
                    </a:lnTo>
                    <a:lnTo>
                      <a:pt x="48" y="40"/>
                    </a:lnTo>
                    <a:lnTo>
                      <a:pt x="48" y="48"/>
                    </a:lnTo>
                    <a:lnTo>
                      <a:pt x="48" y="56"/>
                    </a:lnTo>
                    <a:lnTo>
                      <a:pt x="48" y="72"/>
                    </a:lnTo>
                    <a:lnTo>
                      <a:pt x="48" y="80"/>
                    </a:lnTo>
                    <a:lnTo>
                      <a:pt x="56" y="88"/>
                    </a:lnTo>
                    <a:lnTo>
                      <a:pt x="56" y="96"/>
                    </a:lnTo>
                    <a:lnTo>
                      <a:pt x="64" y="104"/>
                    </a:lnTo>
                    <a:lnTo>
                      <a:pt x="64" y="112"/>
                    </a:lnTo>
                    <a:lnTo>
                      <a:pt x="72" y="120"/>
                    </a:lnTo>
                    <a:lnTo>
                      <a:pt x="72" y="128"/>
                    </a:lnTo>
                    <a:lnTo>
                      <a:pt x="80" y="128"/>
                    </a:lnTo>
                    <a:lnTo>
                      <a:pt x="80" y="136"/>
                    </a:lnTo>
                    <a:lnTo>
                      <a:pt x="80" y="144"/>
                    </a:lnTo>
                    <a:lnTo>
                      <a:pt x="88" y="152"/>
                    </a:lnTo>
                    <a:lnTo>
                      <a:pt x="96" y="160"/>
                    </a:lnTo>
                    <a:lnTo>
                      <a:pt x="96" y="168"/>
                    </a:lnTo>
                    <a:lnTo>
                      <a:pt x="96" y="176"/>
                    </a:lnTo>
                    <a:lnTo>
                      <a:pt x="104" y="184"/>
                    </a:lnTo>
                    <a:lnTo>
                      <a:pt x="104" y="176"/>
                    </a:lnTo>
                    <a:lnTo>
                      <a:pt x="104" y="184"/>
                    </a:lnTo>
                    <a:lnTo>
                      <a:pt x="112" y="184"/>
                    </a:lnTo>
                    <a:lnTo>
                      <a:pt x="112" y="192"/>
                    </a:lnTo>
                    <a:lnTo>
                      <a:pt x="112" y="200"/>
                    </a:lnTo>
                    <a:lnTo>
                      <a:pt x="112" y="208"/>
                    </a:lnTo>
                    <a:lnTo>
                      <a:pt x="112" y="216"/>
                    </a:lnTo>
                    <a:lnTo>
                      <a:pt x="120" y="224"/>
                    </a:lnTo>
                    <a:lnTo>
                      <a:pt x="120" y="232"/>
                    </a:lnTo>
                    <a:lnTo>
                      <a:pt x="120" y="240"/>
                    </a:lnTo>
                    <a:lnTo>
                      <a:pt x="120" y="248"/>
                    </a:lnTo>
                    <a:lnTo>
                      <a:pt x="128" y="256"/>
                    </a:lnTo>
                    <a:lnTo>
                      <a:pt x="128" y="248"/>
                    </a:lnTo>
                    <a:lnTo>
                      <a:pt x="136" y="256"/>
                    </a:lnTo>
                    <a:lnTo>
                      <a:pt x="144" y="264"/>
                    </a:lnTo>
                    <a:lnTo>
                      <a:pt x="144" y="272"/>
                    </a:lnTo>
                    <a:lnTo>
                      <a:pt x="152" y="272"/>
                    </a:lnTo>
                    <a:lnTo>
                      <a:pt x="144" y="280"/>
                    </a:lnTo>
                    <a:lnTo>
                      <a:pt x="144" y="288"/>
                    </a:lnTo>
                    <a:lnTo>
                      <a:pt x="136" y="288"/>
                    </a:lnTo>
                    <a:lnTo>
                      <a:pt x="128" y="288"/>
                    </a:lnTo>
                    <a:lnTo>
                      <a:pt x="128" y="280"/>
                    </a:lnTo>
                    <a:lnTo>
                      <a:pt x="128" y="272"/>
                    </a:lnTo>
                    <a:lnTo>
                      <a:pt x="120" y="272"/>
                    </a:lnTo>
                    <a:lnTo>
                      <a:pt x="120" y="264"/>
                    </a:lnTo>
                    <a:lnTo>
                      <a:pt x="112" y="264"/>
                    </a:lnTo>
                    <a:lnTo>
                      <a:pt x="112" y="256"/>
                    </a:lnTo>
                    <a:lnTo>
                      <a:pt x="104" y="248"/>
                    </a:lnTo>
                    <a:lnTo>
                      <a:pt x="96" y="240"/>
                    </a:lnTo>
                    <a:lnTo>
                      <a:pt x="88" y="240"/>
                    </a:lnTo>
                    <a:lnTo>
                      <a:pt x="88" y="232"/>
                    </a:lnTo>
                    <a:lnTo>
                      <a:pt x="88" y="224"/>
                    </a:lnTo>
                    <a:lnTo>
                      <a:pt x="88" y="216"/>
                    </a:lnTo>
                    <a:lnTo>
                      <a:pt x="88" y="208"/>
                    </a:lnTo>
                    <a:lnTo>
                      <a:pt x="88" y="200"/>
                    </a:lnTo>
                    <a:lnTo>
                      <a:pt x="80" y="192"/>
                    </a:lnTo>
                    <a:lnTo>
                      <a:pt x="72" y="184"/>
                    </a:lnTo>
                    <a:lnTo>
                      <a:pt x="64" y="176"/>
                    </a:lnTo>
                    <a:lnTo>
                      <a:pt x="72" y="176"/>
                    </a:lnTo>
                    <a:lnTo>
                      <a:pt x="64" y="168"/>
                    </a:lnTo>
                    <a:lnTo>
                      <a:pt x="64" y="176"/>
                    </a:lnTo>
                    <a:lnTo>
                      <a:pt x="56" y="176"/>
                    </a:lnTo>
                    <a:lnTo>
                      <a:pt x="56" y="168"/>
                    </a:lnTo>
                    <a:lnTo>
                      <a:pt x="48" y="176"/>
                    </a:lnTo>
                    <a:lnTo>
                      <a:pt x="48" y="168"/>
                    </a:lnTo>
                    <a:lnTo>
                      <a:pt x="40" y="168"/>
                    </a:lnTo>
                    <a:lnTo>
                      <a:pt x="40" y="160"/>
                    </a:lnTo>
                    <a:lnTo>
                      <a:pt x="32" y="152"/>
                    </a:lnTo>
                    <a:lnTo>
                      <a:pt x="24" y="144"/>
                    </a:lnTo>
                    <a:lnTo>
                      <a:pt x="32" y="144"/>
                    </a:lnTo>
                    <a:lnTo>
                      <a:pt x="40" y="144"/>
                    </a:lnTo>
                    <a:lnTo>
                      <a:pt x="48" y="152"/>
                    </a:lnTo>
                    <a:lnTo>
                      <a:pt x="48" y="144"/>
                    </a:lnTo>
                    <a:lnTo>
                      <a:pt x="56" y="136"/>
                    </a:lnTo>
                    <a:lnTo>
                      <a:pt x="48" y="136"/>
                    </a:lnTo>
                    <a:lnTo>
                      <a:pt x="56" y="128"/>
                    </a:lnTo>
                    <a:lnTo>
                      <a:pt x="48" y="120"/>
                    </a:lnTo>
                    <a:lnTo>
                      <a:pt x="48" y="112"/>
                    </a:lnTo>
                    <a:lnTo>
                      <a:pt x="40" y="112"/>
                    </a:lnTo>
                    <a:lnTo>
                      <a:pt x="40" y="104"/>
                    </a:lnTo>
                    <a:lnTo>
                      <a:pt x="32" y="104"/>
                    </a:lnTo>
                    <a:lnTo>
                      <a:pt x="32" y="96"/>
                    </a:lnTo>
                    <a:lnTo>
                      <a:pt x="24" y="96"/>
                    </a:lnTo>
                    <a:lnTo>
                      <a:pt x="24" y="88"/>
                    </a:lnTo>
                    <a:lnTo>
                      <a:pt x="16" y="80"/>
                    </a:lnTo>
                    <a:lnTo>
                      <a:pt x="16" y="72"/>
                    </a:lnTo>
                    <a:lnTo>
                      <a:pt x="16" y="64"/>
                    </a:lnTo>
                    <a:lnTo>
                      <a:pt x="16" y="56"/>
                    </a:lnTo>
                    <a:lnTo>
                      <a:pt x="8" y="56"/>
                    </a:lnTo>
                    <a:lnTo>
                      <a:pt x="8" y="48"/>
                    </a:lnTo>
                    <a:lnTo>
                      <a:pt x="8" y="40"/>
                    </a:lnTo>
                    <a:lnTo>
                      <a:pt x="0" y="32"/>
                    </a:lnTo>
                    <a:lnTo>
                      <a:pt x="8" y="24"/>
                    </a:lnTo>
                    <a:lnTo>
                      <a:pt x="0" y="24"/>
                    </a:lnTo>
                    <a:lnTo>
                      <a:pt x="0" y="16"/>
                    </a:ln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330" name="Freeform 353"/>
              <p:cNvSpPr>
                <a:spLocks/>
              </p:cNvSpPr>
              <p:nvPr/>
            </p:nvSpPr>
            <p:spPr bwMode="auto">
              <a:xfrm>
                <a:off x="3972076" y="5637287"/>
                <a:ext cx="15119" cy="15119"/>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31" name="Freeform 354"/>
              <p:cNvSpPr>
                <a:spLocks/>
              </p:cNvSpPr>
              <p:nvPr/>
            </p:nvSpPr>
            <p:spPr bwMode="auto">
              <a:xfrm>
                <a:off x="4576838" y="5652406"/>
                <a:ext cx="15119" cy="15119"/>
              </a:xfrm>
              <a:custGeom>
                <a:avLst/>
                <a:gdLst>
                  <a:gd name="T0" fmla="*/ 0 w 8"/>
                  <a:gd name="T1" fmla="*/ 8 h 8"/>
                  <a:gd name="T2" fmla="*/ 8 w 8"/>
                  <a:gd name="T3" fmla="*/ 0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32" name="Freeform 355"/>
              <p:cNvSpPr>
                <a:spLocks/>
              </p:cNvSpPr>
              <p:nvPr/>
            </p:nvSpPr>
            <p:spPr bwMode="auto">
              <a:xfrm>
                <a:off x="4576838" y="5667525"/>
                <a:ext cx="1890" cy="15119"/>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333" name="Freeform 356"/>
              <p:cNvSpPr>
                <a:spLocks/>
              </p:cNvSpPr>
              <p:nvPr/>
            </p:nvSpPr>
            <p:spPr bwMode="auto">
              <a:xfrm>
                <a:off x="4576838" y="5682644"/>
                <a:ext cx="1890" cy="15119"/>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grpSp>
        <p:grpSp>
          <p:nvGrpSpPr>
            <p:cNvPr id="1003" name="Group 1002"/>
            <p:cNvGrpSpPr/>
            <p:nvPr/>
          </p:nvGrpSpPr>
          <p:grpSpPr>
            <a:xfrm>
              <a:off x="915231" y="1800284"/>
              <a:ext cx="2494643" cy="1905000"/>
              <a:chOff x="1371600" y="1721454"/>
              <a:chExt cx="2494643" cy="1905000"/>
            </a:xfrm>
            <a:solidFill>
              <a:srgbClr val="646464"/>
            </a:solidFill>
          </p:grpSpPr>
          <p:sp>
            <p:nvSpPr>
              <p:cNvPr id="1211" name="Freeform 226"/>
              <p:cNvSpPr>
                <a:spLocks/>
              </p:cNvSpPr>
              <p:nvPr/>
            </p:nvSpPr>
            <p:spPr bwMode="auto">
              <a:xfrm>
                <a:off x="1371600" y="1721454"/>
                <a:ext cx="2494643" cy="1905000"/>
              </a:xfrm>
              <a:custGeom>
                <a:avLst/>
                <a:gdLst>
                  <a:gd name="T0" fmla="*/ 1152 w 1320"/>
                  <a:gd name="T1" fmla="*/ 800 h 1008"/>
                  <a:gd name="T2" fmla="*/ 1320 w 1320"/>
                  <a:gd name="T3" fmla="*/ 192 h 1008"/>
                  <a:gd name="T4" fmla="*/ 1216 w 1320"/>
                  <a:gd name="T5" fmla="*/ 128 h 1008"/>
                  <a:gd name="T6" fmla="*/ 1152 w 1320"/>
                  <a:gd name="T7" fmla="*/ 88 h 1008"/>
                  <a:gd name="T8" fmla="*/ 1096 w 1320"/>
                  <a:gd name="T9" fmla="*/ 40 h 1008"/>
                  <a:gd name="T10" fmla="*/ 1048 w 1320"/>
                  <a:gd name="T11" fmla="*/ 16 h 1008"/>
                  <a:gd name="T12" fmla="*/ 968 w 1320"/>
                  <a:gd name="T13" fmla="*/ 40 h 1008"/>
                  <a:gd name="T14" fmla="*/ 776 w 1320"/>
                  <a:gd name="T15" fmla="*/ 128 h 1008"/>
                  <a:gd name="T16" fmla="*/ 832 w 1320"/>
                  <a:gd name="T17" fmla="*/ 280 h 1008"/>
                  <a:gd name="T18" fmla="*/ 776 w 1320"/>
                  <a:gd name="T19" fmla="*/ 288 h 1008"/>
                  <a:gd name="T20" fmla="*/ 648 w 1320"/>
                  <a:gd name="T21" fmla="*/ 272 h 1008"/>
                  <a:gd name="T22" fmla="*/ 640 w 1320"/>
                  <a:gd name="T23" fmla="*/ 328 h 1008"/>
                  <a:gd name="T24" fmla="*/ 760 w 1320"/>
                  <a:gd name="T25" fmla="*/ 352 h 1008"/>
                  <a:gd name="T26" fmla="*/ 656 w 1320"/>
                  <a:gd name="T27" fmla="*/ 448 h 1008"/>
                  <a:gd name="T28" fmla="*/ 544 w 1320"/>
                  <a:gd name="T29" fmla="*/ 528 h 1008"/>
                  <a:gd name="T30" fmla="*/ 552 w 1320"/>
                  <a:gd name="T31" fmla="*/ 552 h 1008"/>
                  <a:gd name="T32" fmla="*/ 608 w 1320"/>
                  <a:gd name="T33" fmla="*/ 584 h 1008"/>
                  <a:gd name="T34" fmla="*/ 568 w 1320"/>
                  <a:gd name="T35" fmla="*/ 680 h 1008"/>
                  <a:gd name="T36" fmla="*/ 624 w 1320"/>
                  <a:gd name="T37" fmla="*/ 696 h 1008"/>
                  <a:gd name="T38" fmla="*/ 600 w 1320"/>
                  <a:gd name="T39" fmla="*/ 768 h 1008"/>
                  <a:gd name="T40" fmla="*/ 488 w 1320"/>
                  <a:gd name="T41" fmla="*/ 824 h 1008"/>
                  <a:gd name="T42" fmla="*/ 496 w 1320"/>
                  <a:gd name="T43" fmla="*/ 840 h 1008"/>
                  <a:gd name="T44" fmla="*/ 568 w 1320"/>
                  <a:gd name="T45" fmla="*/ 832 h 1008"/>
                  <a:gd name="T46" fmla="*/ 656 w 1320"/>
                  <a:gd name="T47" fmla="*/ 768 h 1008"/>
                  <a:gd name="T48" fmla="*/ 728 w 1320"/>
                  <a:gd name="T49" fmla="*/ 696 h 1008"/>
                  <a:gd name="T50" fmla="*/ 824 w 1320"/>
                  <a:gd name="T51" fmla="*/ 632 h 1008"/>
                  <a:gd name="T52" fmla="*/ 824 w 1320"/>
                  <a:gd name="T53" fmla="*/ 648 h 1008"/>
                  <a:gd name="T54" fmla="*/ 800 w 1320"/>
                  <a:gd name="T55" fmla="*/ 720 h 1008"/>
                  <a:gd name="T56" fmla="*/ 896 w 1320"/>
                  <a:gd name="T57" fmla="*/ 672 h 1008"/>
                  <a:gd name="T58" fmla="*/ 936 w 1320"/>
                  <a:gd name="T59" fmla="*/ 648 h 1008"/>
                  <a:gd name="T60" fmla="*/ 968 w 1320"/>
                  <a:gd name="T61" fmla="*/ 688 h 1008"/>
                  <a:gd name="T62" fmla="*/ 1056 w 1320"/>
                  <a:gd name="T63" fmla="*/ 736 h 1008"/>
                  <a:gd name="T64" fmla="*/ 1080 w 1320"/>
                  <a:gd name="T65" fmla="*/ 816 h 1008"/>
                  <a:gd name="T66" fmla="*/ 1128 w 1320"/>
                  <a:gd name="T67" fmla="*/ 808 h 1008"/>
                  <a:gd name="T68" fmla="*/ 1144 w 1320"/>
                  <a:gd name="T69" fmla="*/ 872 h 1008"/>
                  <a:gd name="T70" fmla="*/ 1152 w 1320"/>
                  <a:gd name="T71" fmla="*/ 960 h 1008"/>
                  <a:gd name="T72" fmla="*/ 1184 w 1320"/>
                  <a:gd name="T73" fmla="*/ 968 h 1008"/>
                  <a:gd name="T74" fmla="*/ 1152 w 1320"/>
                  <a:gd name="T75" fmla="*/ 976 h 1008"/>
                  <a:gd name="T76" fmla="*/ 1120 w 1320"/>
                  <a:gd name="T77" fmla="*/ 944 h 1008"/>
                  <a:gd name="T78" fmla="*/ 1120 w 1320"/>
                  <a:gd name="T79" fmla="*/ 992 h 1008"/>
                  <a:gd name="T80" fmla="*/ 1192 w 1320"/>
                  <a:gd name="T81" fmla="*/ 960 h 1008"/>
                  <a:gd name="T82" fmla="*/ 1128 w 1320"/>
                  <a:gd name="T83" fmla="*/ 904 h 1008"/>
                  <a:gd name="T84" fmla="*/ 1104 w 1320"/>
                  <a:gd name="T85" fmla="*/ 936 h 1008"/>
                  <a:gd name="T86" fmla="*/ 1096 w 1320"/>
                  <a:gd name="T87" fmla="*/ 888 h 1008"/>
                  <a:gd name="T88" fmla="*/ 1144 w 1320"/>
                  <a:gd name="T89" fmla="*/ 848 h 1008"/>
                  <a:gd name="T90" fmla="*/ 1104 w 1320"/>
                  <a:gd name="T91" fmla="*/ 848 h 1008"/>
                  <a:gd name="T92" fmla="*/ 368 w 1320"/>
                  <a:gd name="T93" fmla="*/ 528 h 1008"/>
                  <a:gd name="T94" fmla="*/ 640 w 1320"/>
                  <a:gd name="T95" fmla="*/ 432 h 1008"/>
                  <a:gd name="T96" fmla="*/ 1192 w 1320"/>
                  <a:gd name="T97" fmla="*/ 960 h 1008"/>
                  <a:gd name="T98" fmla="*/ 888 w 1320"/>
                  <a:gd name="T99" fmla="*/ 704 h 1008"/>
                  <a:gd name="T100" fmla="*/ 496 w 1320"/>
                  <a:gd name="T101" fmla="*/ 376 h 1008"/>
                  <a:gd name="T102" fmla="*/ 1192 w 1320"/>
                  <a:gd name="T103" fmla="*/ 960 h 1008"/>
                  <a:gd name="T104" fmla="*/ 736 w 1320"/>
                  <a:gd name="T105" fmla="*/ 744 h 1008"/>
                  <a:gd name="T106" fmla="*/ 688 w 1320"/>
                  <a:gd name="T107" fmla="*/ 768 h 1008"/>
                  <a:gd name="T108" fmla="*/ 728 w 1320"/>
                  <a:gd name="T109" fmla="*/ 792 h 1008"/>
                  <a:gd name="T110" fmla="*/ 528 w 1320"/>
                  <a:gd name="T111" fmla="*/ 872 h 1008"/>
                  <a:gd name="T112" fmla="*/ 440 w 1320"/>
                  <a:gd name="T113" fmla="*/ 896 h 1008"/>
                  <a:gd name="T114" fmla="*/ 56 w 1320"/>
                  <a:gd name="T115" fmla="*/ 960 h 1008"/>
                  <a:gd name="T116" fmla="*/ 152 w 1320"/>
                  <a:gd name="T117" fmla="*/ 960 h 1008"/>
                  <a:gd name="T118" fmla="*/ 240 w 1320"/>
                  <a:gd name="T119" fmla="*/ 936 h 1008"/>
                  <a:gd name="T120" fmla="*/ 296 w 1320"/>
                  <a:gd name="T121" fmla="*/ 920 h 1008"/>
                  <a:gd name="T122" fmla="*/ 384 w 1320"/>
                  <a:gd name="T123" fmla="*/ 880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0" h="1008">
                    <a:moveTo>
                      <a:pt x="1192" y="960"/>
                    </a:moveTo>
                    <a:lnTo>
                      <a:pt x="1192" y="952"/>
                    </a:lnTo>
                    <a:lnTo>
                      <a:pt x="1192" y="944"/>
                    </a:lnTo>
                    <a:lnTo>
                      <a:pt x="1184" y="936"/>
                    </a:lnTo>
                    <a:lnTo>
                      <a:pt x="1176" y="936"/>
                    </a:lnTo>
                    <a:lnTo>
                      <a:pt x="1176" y="928"/>
                    </a:lnTo>
                    <a:lnTo>
                      <a:pt x="1176" y="920"/>
                    </a:lnTo>
                    <a:lnTo>
                      <a:pt x="1168" y="920"/>
                    </a:lnTo>
                    <a:lnTo>
                      <a:pt x="1168" y="912"/>
                    </a:lnTo>
                    <a:lnTo>
                      <a:pt x="1160" y="912"/>
                    </a:lnTo>
                    <a:lnTo>
                      <a:pt x="1168" y="904"/>
                    </a:lnTo>
                    <a:lnTo>
                      <a:pt x="1160" y="904"/>
                    </a:lnTo>
                    <a:lnTo>
                      <a:pt x="1160" y="896"/>
                    </a:lnTo>
                    <a:lnTo>
                      <a:pt x="1168" y="896"/>
                    </a:lnTo>
                    <a:lnTo>
                      <a:pt x="1160" y="880"/>
                    </a:lnTo>
                    <a:lnTo>
                      <a:pt x="1160" y="864"/>
                    </a:lnTo>
                    <a:lnTo>
                      <a:pt x="1168" y="848"/>
                    </a:lnTo>
                    <a:lnTo>
                      <a:pt x="1168" y="840"/>
                    </a:lnTo>
                    <a:lnTo>
                      <a:pt x="1160" y="840"/>
                    </a:lnTo>
                    <a:lnTo>
                      <a:pt x="1168" y="832"/>
                    </a:lnTo>
                    <a:lnTo>
                      <a:pt x="1160" y="824"/>
                    </a:lnTo>
                    <a:lnTo>
                      <a:pt x="1160" y="816"/>
                    </a:lnTo>
                    <a:lnTo>
                      <a:pt x="1160" y="808"/>
                    </a:lnTo>
                    <a:lnTo>
                      <a:pt x="1152" y="800"/>
                    </a:lnTo>
                    <a:lnTo>
                      <a:pt x="1160" y="800"/>
                    </a:lnTo>
                    <a:lnTo>
                      <a:pt x="1152" y="784"/>
                    </a:lnTo>
                    <a:lnTo>
                      <a:pt x="1152" y="776"/>
                    </a:lnTo>
                    <a:lnTo>
                      <a:pt x="1152" y="768"/>
                    </a:lnTo>
                    <a:lnTo>
                      <a:pt x="1152" y="760"/>
                    </a:lnTo>
                    <a:lnTo>
                      <a:pt x="1144" y="760"/>
                    </a:lnTo>
                    <a:lnTo>
                      <a:pt x="1136" y="760"/>
                    </a:lnTo>
                    <a:lnTo>
                      <a:pt x="1128" y="768"/>
                    </a:lnTo>
                    <a:lnTo>
                      <a:pt x="1120" y="768"/>
                    </a:lnTo>
                    <a:lnTo>
                      <a:pt x="1120" y="776"/>
                    </a:lnTo>
                    <a:lnTo>
                      <a:pt x="1112" y="784"/>
                    </a:lnTo>
                    <a:lnTo>
                      <a:pt x="1104" y="784"/>
                    </a:lnTo>
                    <a:lnTo>
                      <a:pt x="1096" y="784"/>
                    </a:lnTo>
                    <a:lnTo>
                      <a:pt x="1088" y="792"/>
                    </a:lnTo>
                    <a:lnTo>
                      <a:pt x="1088" y="784"/>
                    </a:lnTo>
                    <a:lnTo>
                      <a:pt x="1088" y="776"/>
                    </a:lnTo>
                    <a:lnTo>
                      <a:pt x="1080" y="744"/>
                    </a:lnTo>
                    <a:lnTo>
                      <a:pt x="1072" y="728"/>
                    </a:lnTo>
                    <a:lnTo>
                      <a:pt x="1080" y="712"/>
                    </a:lnTo>
                    <a:lnTo>
                      <a:pt x="1064" y="712"/>
                    </a:lnTo>
                    <a:lnTo>
                      <a:pt x="1056" y="720"/>
                    </a:lnTo>
                    <a:lnTo>
                      <a:pt x="1040" y="712"/>
                    </a:lnTo>
                    <a:lnTo>
                      <a:pt x="1320" y="200"/>
                    </a:lnTo>
                    <a:lnTo>
                      <a:pt x="1320" y="192"/>
                    </a:lnTo>
                    <a:lnTo>
                      <a:pt x="1312" y="192"/>
                    </a:lnTo>
                    <a:lnTo>
                      <a:pt x="1304" y="184"/>
                    </a:lnTo>
                    <a:lnTo>
                      <a:pt x="1304" y="176"/>
                    </a:lnTo>
                    <a:lnTo>
                      <a:pt x="1296" y="168"/>
                    </a:lnTo>
                    <a:lnTo>
                      <a:pt x="1296" y="160"/>
                    </a:lnTo>
                    <a:lnTo>
                      <a:pt x="1288" y="160"/>
                    </a:lnTo>
                    <a:lnTo>
                      <a:pt x="1280" y="160"/>
                    </a:lnTo>
                    <a:lnTo>
                      <a:pt x="1272" y="160"/>
                    </a:lnTo>
                    <a:lnTo>
                      <a:pt x="1264" y="160"/>
                    </a:lnTo>
                    <a:lnTo>
                      <a:pt x="1256" y="160"/>
                    </a:lnTo>
                    <a:lnTo>
                      <a:pt x="1264" y="160"/>
                    </a:lnTo>
                    <a:lnTo>
                      <a:pt x="1264" y="152"/>
                    </a:lnTo>
                    <a:lnTo>
                      <a:pt x="1256" y="152"/>
                    </a:lnTo>
                    <a:lnTo>
                      <a:pt x="1248" y="152"/>
                    </a:lnTo>
                    <a:lnTo>
                      <a:pt x="1256" y="152"/>
                    </a:lnTo>
                    <a:lnTo>
                      <a:pt x="1248" y="152"/>
                    </a:lnTo>
                    <a:lnTo>
                      <a:pt x="1248" y="144"/>
                    </a:lnTo>
                    <a:lnTo>
                      <a:pt x="1240" y="144"/>
                    </a:lnTo>
                    <a:lnTo>
                      <a:pt x="1232" y="136"/>
                    </a:lnTo>
                    <a:lnTo>
                      <a:pt x="1224" y="136"/>
                    </a:lnTo>
                    <a:lnTo>
                      <a:pt x="1232" y="136"/>
                    </a:lnTo>
                    <a:lnTo>
                      <a:pt x="1224" y="136"/>
                    </a:lnTo>
                    <a:lnTo>
                      <a:pt x="1216" y="136"/>
                    </a:lnTo>
                    <a:lnTo>
                      <a:pt x="1216" y="128"/>
                    </a:lnTo>
                    <a:lnTo>
                      <a:pt x="1224" y="128"/>
                    </a:lnTo>
                    <a:lnTo>
                      <a:pt x="1216" y="128"/>
                    </a:lnTo>
                    <a:lnTo>
                      <a:pt x="1208" y="128"/>
                    </a:lnTo>
                    <a:lnTo>
                      <a:pt x="1216" y="128"/>
                    </a:lnTo>
                    <a:lnTo>
                      <a:pt x="1216" y="120"/>
                    </a:lnTo>
                    <a:lnTo>
                      <a:pt x="1208" y="120"/>
                    </a:lnTo>
                    <a:lnTo>
                      <a:pt x="1208" y="112"/>
                    </a:lnTo>
                    <a:lnTo>
                      <a:pt x="1200" y="112"/>
                    </a:lnTo>
                    <a:lnTo>
                      <a:pt x="1192" y="120"/>
                    </a:lnTo>
                    <a:lnTo>
                      <a:pt x="1176" y="128"/>
                    </a:lnTo>
                    <a:lnTo>
                      <a:pt x="1192" y="120"/>
                    </a:lnTo>
                    <a:lnTo>
                      <a:pt x="1192" y="112"/>
                    </a:lnTo>
                    <a:lnTo>
                      <a:pt x="1200" y="112"/>
                    </a:lnTo>
                    <a:lnTo>
                      <a:pt x="1200" y="104"/>
                    </a:lnTo>
                    <a:lnTo>
                      <a:pt x="1192" y="96"/>
                    </a:lnTo>
                    <a:lnTo>
                      <a:pt x="1184" y="96"/>
                    </a:lnTo>
                    <a:lnTo>
                      <a:pt x="1176" y="96"/>
                    </a:lnTo>
                    <a:lnTo>
                      <a:pt x="1168" y="104"/>
                    </a:lnTo>
                    <a:lnTo>
                      <a:pt x="1160" y="112"/>
                    </a:lnTo>
                    <a:lnTo>
                      <a:pt x="1152" y="112"/>
                    </a:lnTo>
                    <a:lnTo>
                      <a:pt x="1160" y="104"/>
                    </a:lnTo>
                    <a:lnTo>
                      <a:pt x="1160" y="96"/>
                    </a:lnTo>
                    <a:lnTo>
                      <a:pt x="1160" y="88"/>
                    </a:lnTo>
                    <a:lnTo>
                      <a:pt x="1152" y="88"/>
                    </a:lnTo>
                    <a:lnTo>
                      <a:pt x="1152" y="80"/>
                    </a:lnTo>
                    <a:lnTo>
                      <a:pt x="1160" y="80"/>
                    </a:lnTo>
                    <a:lnTo>
                      <a:pt x="1144" y="72"/>
                    </a:lnTo>
                    <a:lnTo>
                      <a:pt x="1152" y="64"/>
                    </a:lnTo>
                    <a:lnTo>
                      <a:pt x="1160" y="56"/>
                    </a:lnTo>
                    <a:lnTo>
                      <a:pt x="1152" y="56"/>
                    </a:lnTo>
                    <a:lnTo>
                      <a:pt x="1152" y="48"/>
                    </a:lnTo>
                    <a:lnTo>
                      <a:pt x="1152" y="56"/>
                    </a:lnTo>
                    <a:lnTo>
                      <a:pt x="1144" y="48"/>
                    </a:lnTo>
                    <a:lnTo>
                      <a:pt x="1136" y="48"/>
                    </a:lnTo>
                    <a:lnTo>
                      <a:pt x="1128" y="48"/>
                    </a:lnTo>
                    <a:lnTo>
                      <a:pt x="1120" y="48"/>
                    </a:lnTo>
                    <a:lnTo>
                      <a:pt x="1120" y="56"/>
                    </a:lnTo>
                    <a:lnTo>
                      <a:pt x="1112" y="48"/>
                    </a:lnTo>
                    <a:lnTo>
                      <a:pt x="1120" y="48"/>
                    </a:lnTo>
                    <a:lnTo>
                      <a:pt x="1120" y="40"/>
                    </a:lnTo>
                    <a:lnTo>
                      <a:pt x="1120" y="32"/>
                    </a:lnTo>
                    <a:lnTo>
                      <a:pt x="1128" y="24"/>
                    </a:lnTo>
                    <a:lnTo>
                      <a:pt x="1120" y="24"/>
                    </a:lnTo>
                    <a:lnTo>
                      <a:pt x="1112" y="24"/>
                    </a:lnTo>
                    <a:lnTo>
                      <a:pt x="1112" y="32"/>
                    </a:lnTo>
                    <a:lnTo>
                      <a:pt x="1104" y="32"/>
                    </a:lnTo>
                    <a:lnTo>
                      <a:pt x="1104" y="40"/>
                    </a:lnTo>
                    <a:lnTo>
                      <a:pt x="1096" y="40"/>
                    </a:lnTo>
                    <a:lnTo>
                      <a:pt x="1096" y="48"/>
                    </a:lnTo>
                    <a:lnTo>
                      <a:pt x="1096" y="40"/>
                    </a:lnTo>
                    <a:lnTo>
                      <a:pt x="1088" y="40"/>
                    </a:lnTo>
                    <a:lnTo>
                      <a:pt x="1088" y="48"/>
                    </a:lnTo>
                    <a:lnTo>
                      <a:pt x="1088" y="40"/>
                    </a:lnTo>
                    <a:lnTo>
                      <a:pt x="1088" y="32"/>
                    </a:lnTo>
                    <a:lnTo>
                      <a:pt x="1080" y="32"/>
                    </a:lnTo>
                    <a:lnTo>
                      <a:pt x="1088" y="24"/>
                    </a:lnTo>
                    <a:lnTo>
                      <a:pt x="1096" y="24"/>
                    </a:lnTo>
                    <a:lnTo>
                      <a:pt x="1096" y="32"/>
                    </a:lnTo>
                    <a:lnTo>
                      <a:pt x="1104" y="24"/>
                    </a:lnTo>
                    <a:lnTo>
                      <a:pt x="1112" y="24"/>
                    </a:lnTo>
                    <a:lnTo>
                      <a:pt x="1112" y="16"/>
                    </a:lnTo>
                    <a:lnTo>
                      <a:pt x="1112" y="8"/>
                    </a:lnTo>
                    <a:lnTo>
                      <a:pt x="1104" y="8"/>
                    </a:lnTo>
                    <a:lnTo>
                      <a:pt x="1104" y="0"/>
                    </a:lnTo>
                    <a:lnTo>
                      <a:pt x="1096" y="0"/>
                    </a:lnTo>
                    <a:lnTo>
                      <a:pt x="1096" y="8"/>
                    </a:lnTo>
                    <a:lnTo>
                      <a:pt x="1088" y="8"/>
                    </a:lnTo>
                    <a:lnTo>
                      <a:pt x="1080" y="8"/>
                    </a:lnTo>
                    <a:lnTo>
                      <a:pt x="1072" y="16"/>
                    </a:lnTo>
                    <a:lnTo>
                      <a:pt x="1064" y="16"/>
                    </a:lnTo>
                    <a:lnTo>
                      <a:pt x="1056" y="16"/>
                    </a:lnTo>
                    <a:lnTo>
                      <a:pt x="1048" y="16"/>
                    </a:lnTo>
                    <a:lnTo>
                      <a:pt x="1040" y="16"/>
                    </a:lnTo>
                    <a:lnTo>
                      <a:pt x="1032" y="8"/>
                    </a:lnTo>
                    <a:lnTo>
                      <a:pt x="1032" y="16"/>
                    </a:lnTo>
                    <a:lnTo>
                      <a:pt x="1024" y="16"/>
                    </a:lnTo>
                    <a:lnTo>
                      <a:pt x="1024" y="8"/>
                    </a:lnTo>
                    <a:lnTo>
                      <a:pt x="1032" y="8"/>
                    </a:lnTo>
                    <a:lnTo>
                      <a:pt x="1024" y="8"/>
                    </a:lnTo>
                    <a:lnTo>
                      <a:pt x="1016" y="16"/>
                    </a:lnTo>
                    <a:lnTo>
                      <a:pt x="1008" y="16"/>
                    </a:lnTo>
                    <a:lnTo>
                      <a:pt x="1008" y="24"/>
                    </a:lnTo>
                    <a:lnTo>
                      <a:pt x="1016" y="32"/>
                    </a:lnTo>
                    <a:lnTo>
                      <a:pt x="1008" y="32"/>
                    </a:lnTo>
                    <a:lnTo>
                      <a:pt x="1000" y="32"/>
                    </a:lnTo>
                    <a:lnTo>
                      <a:pt x="1000" y="40"/>
                    </a:lnTo>
                    <a:lnTo>
                      <a:pt x="992" y="48"/>
                    </a:lnTo>
                    <a:lnTo>
                      <a:pt x="992" y="56"/>
                    </a:lnTo>
                    <a:lnTo>
                      <a:pt x="984" y="56"/>
                    </a:lnTo>
                    <a:lnTo>
                      <a:pt x="984" y="48"/>
                    </a:lnTo>
                    <a:lnTo>
                      <a:pt x="992" y="32"/>
                    </a:lnTo>
                    <a:lnTo>
                      <a:pt x="976" y="40"/>
                    </a:lnTo>
                    <a:lnTo>
                      <a:pt x="968" y="32"/>
                    </a:lnTo>
                    <a:lnTo>
                      <a:pt x="960" y="32"/>
                    </a:lnTo>
                    <a:lnTo>
                      <a:pt x="968" y="32"/>
                    </a:lnTo>
                    <a:lnTo>
                      <a:pt x="968" y="40"/>
                    </a:lnTo>
                    <a:lnTo>
                      <a:pt x="960" y="40"/>
                    </a:lnTo>
                    <a:lnTo>
                      <a:pt x="952" y="32"/>
                    </a:lnTo>
                    <a:lnTo>
                      <a:pt x="944" y="40"/>
                    </a:lnTo>
                    <a:lnTo>
                      <a:pt x="928" y="48"/>
                    </a:lnTo>
                    <a:lnTo>
                      <a:pt x="912" y="56"/>
                    </a:lnTo>
                    <a:lnTo>
                      <a:pt x="904" y="64"/>
                    </a:lnTo>
                    <a:lnTo>
                      <a:pt x="896" y="72"/>
                    </a:lnTo>
                    <a:lnTo>
                      <a:pt x="880" y="88"/>
                    </a:lnTo>
                    <a:lnTo>
                      <a:pt x="872" y="88"/>
                    </a:lnTo>
                    <a:lnTo>
                      <a:pt x="864" y="96"/>
                    </a:lnTo>
                    <a:lnTo>
                      <a:pt x="856" y="96"/>
                    </a:lnTo>
                    <a:lnTo>
                      <a:pt x="848" y="96"/>
                    </a:lnTo>
                    <a:lnTo>
                      <a:pt x="840" y="96"/>
                    </a:lnTo>
                    <a:lnTo>
                      <a:pt x="832" y="96"/>
                    </a:lnTo>
                    <a:lnTo>
                      <a:pt x="824" y="88"/>
                    </a:lnTo>
                    <a:lnTo>
                      <a:pt x="816" y="88"/>
                    </a:lnTo>
                    <a:lnTo>
                      <a:pt x="808" y="88"/>
                    </a:lnTo>
                    <a:lnTo>
                      <a:pt x="800" y="88"/>
                    </a:lnTo>
                    <a:lnTo>
                      <a:pt x="792" y="104"/>
                    </a:lnTo>
                    <a:lnTo>
                      <a:pt x="784" y="112"/>
                    </a:lnTo>
                    <a:lnTo>
                      <a:pt x="784" y="120"/>
                    </a:lnTo>
                    <a:lnTo>
                      <a:pt x="776" y="112"/>
                    </a:lnTo>
                    <a:lnTo>
                      <a:pt x="776" y="120"/>
                    </a:lnTo>
                    <a:lnTo>
                      <a:pt x="776" y="128"/>
                    </a:lnTo>
                    <a:lnTo>
                      <a:pt x="784" y="152"/>
                    </a:lnTo>
                    <a:lnTo>
                      <a:pt x="792" y="168"/>
                    </a:lnTo>
                    <a:lnTo>
                      <a:pt x="792" y="176"/>
                    </a:lnTo>
                    <a:lnTo>
                      <a:pt x="792" y="192"/>
                    </a:lnTo>
                    <a:lnTo>
                      <a:pt x="784" y="200"/>
                    </a:lnTo>
                    <a:lnTo>
                      <a:pt x="784" y="208"/>
                    </a:lnTo>
                    <a:lnTo>
                      <a:pt x="784" y="216"/>
                    </a:lnTo>
                    <a:lnTo>
                      <a:pt x="792" y="224"/>
                    </a:lnTo>
                    <a:lnTo>
                      <a:pt x="800" y="224"/>
                    </a:lnTo>
                    <a:lnTo>
                      <a:pt x="808" y="224"/>
                    </a:lnTo>
                    <a:lnTo>
                      <a:pt x="800" y="224"/>
                    </a:lnTo>
                    <a:lnTo>
                      <a:pt x="816" y="240"/>
                    </a:lnTo>
                    <a:lnTo>
                      <a:pt x="808" y="240"/>
                    </a:lnTo>
                    <a:lnTo>
                      <a:pt x="808" y="256"/>
                    </a:lnTo>
                    <a:lnTo>
                      <a:pt x="808" y="264"/>
                    </a:lnTo>
                    <a:lnTo>
                      <a:pt x="808" y="256"/>
                    </a:lnTo>
                    <a:lnTo>
                      <a:pt x="816" y="256"/>
                    </a:lnTo>
                    <a:lnTo>
                      <a:pt x="824" y="256"/>
                    </a:lnTo>
                    <a:lnTo>
                      <a:pt x="824" y="264"/>
                    </a:lnTo>
                    <a:lnTo>
                      <a:pt x="832" y="256"/>
                    </a:lnTo>
                    <a:lnTo>
                      <a:pt x="840" y="264"/>
                    </a:lnTo>
                    <a:lnTo>
                      <a:pt x="840" y="272"/>
                    </a:lnTo>
                    <a:lnTo>
                      <a:pt x="840" y="280"/>
                    </a:lnTo>
                    <a:lnTo>
                      <a:pt x="832" y="280"/>
                    </a:lnTo>
                    <a:lnTo>
                      <a:pt x="824" y="272"/>
                    </a:lnTo>
                    <a:lnTo>
                      <a:pt x="816" y="272"/>
                    </a:lnTo>
                    <a:lnTo>
                      <a:pt x="808" y="264"/>
                    </a:lnTo>
                    <a:lnTo>
                      <a:pt x="800" y="264"/>
                    </a:lnTo>
                    <a:lnTo>
                      <a:pt x="800" y="256"/>
                    </a:lnTo>
                    <a:lnTo>
                      <a:pt x="800" y="240"/>
                    </a:lnTo>
                    <a:lnTo>
                      <a:pt x="800" y="232"/>
                    </a:lnTo>
                    <a:lnTo>
                      <a:pt x="800" y="240"/>
                    </a:lnTo>
                    <a:lnTo>
                      <a:pt x="800" y="248"/>
                    </a:lnTo>
                    <a:lnTo>
                      <a:pt x="792" y="264"/>
                    </a:lnTo>
                    <a:lnTo>
                      <a:pt x="792" y="272"/>
                    </a:lnTo>
                    <a:lnTo>
                      <a:pt x="792" y="264"/>
                    </a:lnTo>
                    <a:lnTo>
                      <a:pt x="800" y="264"/>
                    </a:lnTo>
                    <a:lnTo>
                      <a:pt x="808" y="264"/>
                    </a:lnTo>
                    <a:lnTo>
                      <a:pt x="808" y="272"/>
                    </a:lnTo>
                    <a:lnTo>
                      <a:pt x="808" y="280"/>
                    </a:lnTo>
                    <a:lnTo>
                      <a:pt x="800" y="288"/>
                    </a:lnTo>
                    <a:lnTo>
                      <a:pt x="792" y="288"/>
                    </a:lnTo>
                    <a:lnTo>
                      <a:pt x="800" y="280"/>
                    </a:lnTo>
                    <a:lnTo>
                      <a:pt x="792" y="272"/>
                    </a:lnTo>
                    <a:lnTo>
                      <a:pt x="792" y="280"/>
                    </a:lnTo>
                    <a:lnTo>
                      <a:pt x="784" y="280"/>
                    </a:lnTo>
                    <a:lnTo>
                      <a:pt x="784" y="288"/>
                    </a:lnTo>
                    <a:lnTo>
                      <a:pt x="776" y="288"/>
                    </a:lnTo>
                    <a:lnTo>
                      <a:pt x="768" y="288"/>
                    </a:lnTo>
                    <a:lnTo>
                      <a:pt x="760" y="288"/>
                    </a:lnTo>
                    <a:lnTo>
                      <a:pt x="760" y="280"/>
                    </a:lnTo>
                    <a:lnTo>
                      <a:pt x="752" y="280"/>
                    </a:lnTo>
                    <a:lnTo>
                      <a:pt x="752" y="272"/>
                    </a:lnTo>
                    <a:lnTo>
                      <a:pt x="744" y="272"/>
                    </a:lnTo>
                    <a:lnTo>
                      <a:pt x="744" y="264"/>
                    </a:lnTo>
                    <a:lnTo>
                      <a:pt x="752" y="256"/>
                    </a:lnTo>
                    <a:lnTo>
                      <a:pt x="752" y="248"/>
                    </a:lnTo>
                    <a:lnTo>
                      <a:pt x="752" y="240"/>
                    </a:lnTo>
                    <a:lnTo>
                      <a:pt x="744" y="240"/>
                    </a:lnTo>
                    <a:lnTo>
                      <a:pt x="736" y="240"/>
                    </a:lnTo>
                    <a:lnTo>
                      <a:pt x="728" y="240"/>
                    </a:lnTo>
                    <a:lnTo>
                      <a:pt x="720" y="240"/>
                    </a:lnTo>
                    <a:lnTo>
                      <a:pt x="704" y="248"/>
                    </a:lnTo>
                    <a:lnTo>
                      <a:pt x="712" y="256"/>
                    </a:lnTo>
                    <a:lnTo>
                      <a:pt x="704" y="256"/>
                    </a:lnTo>
                    <a:lnTo>
                      <a:pt x="696" y="256"/>
                    </a:lnTo>
                    <a:lnTo>
                      <a:pt x="688" y="248"/>
                    </a:lnTo>
                    <a:lnTo>
                      <a:pt x="680" y="256"/>
                    </a:lnTo>
                    <a:lnTo>
                      <a:pt x="672" y="256"/>
                    </a:lnTo>
                    <a:lnTo>
                      <a:pt x="664" y="256"/>
                    </a:lnTo>
                    <a:lnTo>
                      <a:pt x="656" y="264"/>
                    </a:lnTo>
                    <a:lnTo>
                      <a:pt x="648" y="272"/>
                    </a:lnTo>
                    <a:lnTo>
                      <a:pt x="640" y="272"/>
                    </a:lnTo>
                    <a:lnTo>
                      <a:pt x="640" y="264"/>
                    </a:lnTo>
                    <a:lnTo>
                      <a:pt x="640" y="272"/>
                    </a:lnTo>
                    <a:lnTo>
                      <a:pt x="632" y="272"/>
                    </a:lnTo>
                    <a:lnTo>
                      <a:pt x="632" y="280"/>
                    </a:lnTo>
                    <a:lnTo>
                      <a:pt x="640" y="288"/>
                    </a:lnTo>
                    <a:lnTo>
                      <a:pt x="648" y="296"/>
                    </a:lnTo>
                    <a:lnTo>
                      <a:pt x="656" y="296"/>
                    </a:lnTo>
                    <a:lnTo>
                      <a:pt x="656" y="304"/>
                    </a:lnTo>
                    <a:lnTo>
                      <a:pt x="664" y="304"/>
                    </a:lnTo>
                    <a:lnTo>
                      <a:pt x="664" y="312"/>
                    </a:lnTo>
                    <a:lnTo>
                      <a:pt x="672" y="312"/>
                    </a:lnTo>
                    <a:lnTo>
                      <a:pt x="680" y="320"/>
                    </a:lnTo>
                    <a:lnTo>
                      <a:pt x="672" y="320"/>
                    </a:lnTo>
                    <a:lnTo>
                      <a:pt x="664" y="320"/>
                    </a:lnTo>
                    <a:lnTo>
                      <a:pt x="664" y="312"/>
                    </a:lnTo>
                    <a:lnTo>
                      <a:pt x="656" y="312"/>
                    </a:lnTo>
                    <a:lnTo>
                      <a:pt x="656" y="304"/>
                    </a:lnTo>
                    <a:lnTo>
                      <a:pt x="648" y="312"/>
                    </a:lnTo>
                    <a:lnTo>
                      <a:pt x="640" y="304"/>
                    </a:lnTo>
                    <a:lnTo>
                      <a:pt x="648" y="304"/>
                    </a:lnTo>
                    <a:lnTo>
                      <a:pt x="640" y="304"/>
                    </a:lnTo>
                    <a:lnTo>
                      <a:pt x="640" y="320"/>
                    </a:lnTo>
                    <a:lnTo>
                      <a:pt x="640" y="328"/>
                    </a:lnTo>
                    <a:lnTo>
                      <a:pt x="632" y="336"/>
                    </a:lnTo>
                    <a:lnTo>
                      <a:pt x="632" y="344"/>
                    </a:lnTo>
                    <a:lnTo>
                      <a:pt x="640" y="360"/>
                    </a:lnTo>
                    <a:lnTo>
                      <a:pt x="648" y="360"/>
                    </a:lnTo>
                    <a:lnTo>
                      <a:pt x="656" y="368"/>
                    </a:lnTo>
                    <a:lnTo>
                      <a:pt x="664" y="360"/>
                    </a:lnTo>
                    <a:lnTo>
                      <a:pt x="672" y="360"/>
                    </a:lnTo>
                    <a:lnTo>
                      <a:pt x="688" y="360"/>
                    </a:lnTo>
                    <a:lnTo>
                      <a:pt x="688" y="368"/>
                    </a:lnTo>
                    <a:lnTo>
                      <a:pt x="696" y="376"/>
                    </a:lnTo>
                    <a:lnTo>
                      <a:pt x="696" y="368"/>
                    </a:lnTo>
                    <a:lnTo>
                      <a:pt x="696" y="360"/>
                    </a:lnTo>
                    <a:lnTo>
                      <a:pt x="704" y="360"/>
                    </a:lnTo>
                    <a:lnTo>
                      <a:pt x="704" y="368"/>
                    </a:lnTo>
                    <a:lnTo>
                      <a:pt x="696" y="376"/>
                    </a:lnTo>
                    <a:lnTo>
                      <a:pt x="704" y="376"/>
                    </a:lnTo>
                    <a:lnTo>
                      <a:pt x="712" y="368"/>
                    </a:lnTo>
                    <a:lnTo>
                      <a:pt x="720" y="368"/>
                    </a:lnTo>
                    <a:lnTo>
                      <a:pt x="728" y="360"/>
                    </a:lnTo>
                    <a:lnTo>
                      <a:pt x="736" y="360"/>
                    </a:lnTo>
                    <a:lnTo>
                      <a:pt x="736" y="352"/>
                    </a:lnTo>
                    <a:lnTo>
                      <a:pt x="744" y="360"/>
                    </a:lnTo>
                    <a:lnTo>
                      <a:pt x="752" y="352"/>
                    </a:lnTo>
                    <a:lnTo>
                      <a:pt x="760" y="352"/>
                    </a:lnTo>
                    <a:lnTo>
                      <a:pt x="752" y="360"/>
                    </a:lnTo>
                    <a:lnTo>
                      <a:pt x="752" y="368"/>
                    </a:lnTo>
                    <a:lnTo>
                      <a:pt x="744" y="376"/>
                    </a:lnTo>
                    <a:lnTo>
                      <a:pt x="744" y="368"/>
                    </a:lnTo>
                    <a:lnTo>
                      <a:pt x="736" y="368"/>
                    </a:lnTo>
                    <a:lnTo>
                      <a:pt x="736" y="376"/>
                    </a:lnTo>
                    <a:lnTo>
                      <a:pt x="744" y="376"/>
                    </a:lnTo>
                    <a:lnTo>
                      <a:pt x="744" y="384"/>
                    </a:lnTo>
                    <a:lnTo>
                      <a:pt x="736" y="392"/>
                    </a:lnTo>
                    <a:lnTo>
                      <a:pt x="728" y="400"/>
                    </a:lnTo>
                    <a:lnTo>
                      <a:pt x="728" y="408"/>
                    </a:lnTo>
                    <a:lnTo>
                      <a:pt x="728" y="416"/>
                    </a:lnTo>
                    <a:lnTo>
                      <a:pt x="720" y="424"/>
                    </a:lnTo>
                    <a:lnTo>
                      <a:pt x="712" y="424"/>
                    </a:lnTo>
                    <a:lnTo>
                      <a:pt x="712" y="432"/>
                    </a:lnTo>
                    <a:lnTo>
                      <a:pt x="704" y="432"/>
                    </a:lnTo>
                    <a:lnTo>
                      <a:pt x="696" y="432"/>
                    </a:lnTo>
                    <a:lnTo>
                      <a:pt x="688" y="432"/>
                    </a:lnTo>
                    <a:lnTo>
                      <a:pt x="680" y="424"/>
                    </a:lnTo>
                    <a:lnTo>
                      <a:pt x="680" y="432"/>
                    </a:lnTo>
                    <a:lnTo>
                      <a:pt x="672" y="432"/>
                    </a:lnTo>
                    <a:lnTo>
                      <a:pt x="664" y="440"/>
                    </a:lnTo>
                    <a:lnTo>
                      <a:pt x="656" y="440"/>
                    </a:lnTo>
                    <a:lnTo>
                      <a:pt x="656" y="448"/>
                    </a:lnTo>
                    <a:lnTo>
                      <a:pt x="648" y="448"/>
                    </a:lnTo>
                    <a:lnTo>
                      <a:pt x="640" y="448"/>
                    </a:lnTo>
                    <a:lnTo>
                      <a:pt x="632" y="448"/>
                    </a:lnTo>
                    <a:lnTo>
                      <a:pt x="624" y="448"/>
                    </a:lnTo>
                    <a:lnTo>
                      <a:pt x="624" y="456"/>
                    </a:lnTo>
                    <a:lnTo>
                      <a:pt x="616" y="464"/>
                    </a:lnTo>
                    <a:lnTo>
                      <a:pt x="616" y="472"/>
                    </a:lnTo>
                    <a:lnTo>
                      <a:pt x="616" y="464"/>
                    </a:lnTo>
                    <a:lnTo>
                      <a:pt x="608" y="464"/>
                    </a:lnTo>
                    <a:lnTo>
                      <a:pt x="600" y="464"/>
                    </a:lnTo>
                    <a:lnTo>
                      <a:pt x="600" y="472"/>
                    </a:lnTo>
                    <a:lnTo>
                      <a:pt x="600" y="464"/>
                    </a:lnTo>
                    <a:lnTo>
                      <a:pt x="592" y="464"/>
                    </a:lnTo>
                    <a:lnTo>
                      <a:pt x="584" y="472"/>
                    </a:lnTo>
                    <a:lnTo>
                      <a:pt x="576" y="480"/>
                    </a:lnTo>
                    <a:lnTo>
                      <a:pt x="568" y="488"/>
                    </a:lnTo>
                    <a:lnTo>
                      <a:pt x="560" y="496"/>
                    </a:lnTo>
                    <a:lnTo>
                      <a:pt x="552" y="496"/>
                    </a:lnTo>
                    <a:lnTo>
                      <a:pt x="552" y="504"/>
                    </a:lnTo>
                    <a:lnTo>
                      <a:pt x="544" y="504"/>
                    </a:lnTo>
                    <a:lnTo>
                      <a:pt x="536" y="512"/>
                    </a:lnTo>
                    <a:lnTo>
                      <a:pt x="536" y="520"/>
                    </a:lnTo>
                    <a:lnTo>
                      <a:pt x="544" y="520"/>
                    </a:lnTo>
                    <a:lnTo>
                      <a:pt x="544" y="528"/>
                    </a:lnTo>
                    <a:lnTo>
                      <a:pt x="544" y="536"/>
                    </a:lnTo>
                    <a:lnTo>
                      <a:pt x="536" y="536"/>
                    </a:lnTo>
                    <a:lnTo>
                      <a:pt x="536" y="544"/>
                    </a:lnTo>
                    <a:lnTo>
                      <a:pt x="544" y="544"/>
                    </a:lnTo>
                    <a:lnTo>
                      <a:pt x="544" y="536"/>
                    </a:lnTo>
                    <a:lnTo>
                      <a:pt x="544" y="544"/>
                    </a:lnTo>
                    <a:lnTo>
                      <a:pt x="544" y="552"/>
                    </a:lnTo>
                    <a:lnTo>
                      <a:pt x="552" y="552"/>
                    </a:lnTo>
                    <a:lnTo>
                      <a:pt x="560" y="552"/>
                    </a:lnTo>
                    <a:lnTo>
                      <a:pt x="568" y="560"/>
                    </a:lnTo>
                    <a:lnTo>
                      <a:pt x="576" y="552"/>
                    </a:lnTo>
                    <a:lnTo>
                      <a:pt x="576" y="544"/>
                    </a:lnTo>
                    <a:lnTo>
                      <a:pt x="584" y="544"/>
                    </a:lnTo>
                    <a:lnTo>
                      <a:pt x="592" y="536"/>
                    </a:lnTo>
                    <a:lnTo>
                      <a:pt x="584" y="544"/>
                    </a:lnTo>
                    <a:lnTo>
                      <a:pt x="576" y="552"/>
                    </a:lnTo>
                    <a:lnTo>
                      <a:pt x="576" y="560"/>
                    </a:lnTo>
                    <a:lnTo>
                      <a:pt x="568" y="560"/>
                    </a:lnTo>
                    <a:lnTo>
                      <a:pt x="576" y="568"/>
                    </a:lnTo>
                    <a:lnTo>
                      <a:pt x="568" y="568"/>
                    </a:lnTo>
                    <a:lnTo>
                      <a:pt x="568" y="560"/>
                    </a:lnTo>
                    <a:lnTo>
                      <a:pt x="560" y="560"/>
                    </a:lnTo>
                    <a:lnTo>
                      <a:pt x="552" y="560"/>
                    </a:lnTo>
                    <a:lnTo>
                      <a:pt x="552" y="552"/>
                    </a:lnTo>
                    <a:lnTo>
                      <a:pt x="544" y="560"/>
                    </a:lnTo>
                    <a:lnTo>
                      <a:pt x="536" y="568"/>
                    </a:lnTo>
                    <a:lnTo>
                      <a:pt x="528" y="560"/>
                    </a:lnTo>
                    <a:lnTo>
                      <a:pt x="528" y="568"/>
                    </a:lnTo>
                    <a:lnTo>
                      <a:pt x="536" y="568"/>
                    </a:lnTo>
                    <a:lnTo>
                      <a:pt x="536" y="576"/>
                    </a:lnTo>
                    <a:lnTo>
                      <a:pt x="528" y="584"/>
                    </a:lnTo>
                    <a:lnTo>
                      <a:pt x="536" y="584"/>
                    </a:lnTo>
                    <a:lnTo>
                      <a:pt x="536" y="592"/>
                    </a:lnTo>
                    <a:lnTo>
                      <a:pt x="536" y="600"/>
                    </a:lnTo>
                    <a:lnTo>
                      <a:pt x="544" y="608"/>
                    </a:lnTo>
                    <a:lnTo>
                      <a:pt x="536" y="608"/>
                    </a:lnTo>
                    <a:lnTo>
                      <a:pt x="552" y="616"/>
                    </a:lnTo>
                    <a:lnTo>
                      <a:pt x="560" y="616"/>
                    </a:lnTo>
                    <a:lnTo>
                      <a:pt x="568" y="616"/>
                    </a:lnTo>
                    <a:lnTo>
                      <a:pt x="576" y="616"/>
                    </a:lnTo>
                    <a:lnTo>
                      <a:pt x="584" y="608"/>
                    </a:lnTo>
                    <a:lnTo>
                      <a:pt x="584" y="600"/>
                    </a:lnTo>
                    <a:lnTo>
                      <a:pt x="576" y="600"/>
                    </a:lnTo>
                    <a:lnTo>
                      <a:pt x="576" y="592"/>
                    </a:lnTo>
                    <a:lnTo>
                      <a:pt x="584" y="592"/>
                    </a:lnTo>
                    <a:lnTo>
                      <a:pt x="592" y="584"/>
                    </a:lnTo>
                    <a:lnTo>
                      <a:pt x="600" y="576"/>
                    </a:lnTo>
                    <a:lnTo>
                      <a:pt x="608" y="584"/>
                    </a:lnTo>
                    <a:lnTo>
                      <a:pt x="600" y="584"/>
                    </a:lnTo>
                    <a:lnTo>
                      <a:pt x="592" y="592"/>
                    </a:lnTo>
                    <a:lnTo>
                      <a:pt x="584" y="592"/>
                    </a:lnTo>
                    <a:lnTo>
                      <a:pt x="584" y="600"/>
                    </a:lnTo>
                    <a:lnTo>
                      <a:pt x="592" y="600"/>
                    </a:lnTo>
                    <a:lnTo>
                      <a:pt x="584" y="608"/>
                    </a:lnTo>
                    <a:lnTo>
                      <a:pt x="584" y="616"/>
                    </a:lnTo>
                    <a:lnTo>
                      <a:pt x="576" y="616"/>
                    </a:lnTo>
                    <a:lnTo>
                      <a:pt x="584" y="624"/>
                    </a:lnTo>
                    <a:lnTo>
                      <a:pt x="576" y="632"/>
                    </a:lnTo>
                    <a:lnTo>
                      <a:pt x="576" y="640"/>
                    </a:lnTo>
                    <a:lnTo>
                      <a:pt x="584" y="640"/>
                    </a:lnTo>
                    <a:lnTo>
                      <a:pt x="576" y="648"/>
                    </a:lnTo>
                    <a:lnTo>
                      <a:pt x="568" y="648"/>
                    </a:lnTo>
                    <a:lnTo>
                      <a:pt x="568" y="656"/>
                    </a:lnTo>
                    <a:lnTo>
                      <a:pt x="568" y="664"/>
                    </a:lnTo>
                    <a:lnTo>
                      <a:pt x="576" y="664"/>
                    </a:lnTo>
                    <a:lnTo>
                      <a:pt x="568" y="664"/>
                    </a:lnTo>
                    <a:lnTo>
                      <a:pt x="568" y="672"/>
                    </a:lnTo>
                    <a:lnTo>
                      <a:pt x="568" y="680"/>
                    </a:lnTo>
                    <a:lnTo>
                      <a:pt x="560" y="680"/>
                    </a:lnTo>
                    <a:lnTo>
                      <a:pt x="552" y="680"/>
                    </a:lnTo>
                    <a:lnTo>
                      <a:pt x="560" y="688"/>
                    </a:lnTo>
                    <a:lnTo>
                      <a:pt x="568" y="680"/>
                    </a:lnTo>
                    <a:lnTo>
                      <a:pt x="576" y="680"/>
                    </a:lnTo>
                    <a:lnTo>
                      <a:pt x="584" y="680"/>
                    </a:lnTo>
                    <a:lnTo>
                      <a:pt x="592" y="672"/>
                    </a:lnTo>
                    <a:lnTo>
                      <a:pt x="600" y="672"/>
                    </a:lnTo>
                    <a:lnTo>
                      <a:pt x="592" y="672"/>
                    </a:lnTo>
                    <a:lnTo>
                      <a:pt x="592" y="680"/>
                    </a:lnTo>
                    <a:lnTo>
                      <a:pt x="600" y="688"/>
                    </a:lnTo>
                    <a:lnTo>
                      <a:pt x="592" y="688"/>
                    </a:lnTo>
                    <a:lnTo>
                      <a:pt x="600" y="688"/>
                    </a:lnTo>
                    <a:lnTo>
                      <a:pt x="608" y="680"/>
                    </a:lnTo>
                    <a:lnTo>
                      <a:pt x="608" y="688"/>
                    </a:lnTo>
                    <a:lnTo>
                      <a:pt x="608" y="696"/>
                    </a:lnTo>
                    <a:lnTo>
                      <a:pt x="608" y="704"/>
                    </a:lnTo>
                    <a:lnTo>
                      <a:pt x="608" y="712"/>
                    </a:lnTo>
                    <a:lnTo>
                      <a:pt x="616" y="712"/>
                    </a:lnTo>
                    <a:lnTo>
                      <a:pt x="616" y="704"/>
                    </a:lnTo>
                    <a:lnTo>
                      <a:pt x="624" y="696"/>
                    </a:lnTo>
                    <a:lnTo>
                      <a:pt x="624" y="688"/>
                    </a:lnTo>
                    <a:lnTo>
                      <a:pt x="632" y="688"/>
                    </a:lnTo>
                    <a:lnTo>
                      <a:pt x="632" y="680"/>
                    </a:lnTo>
                    <a:lnTo>
                      <a:pt x="640" y="680"/>
                    </a:lnTo>
                    <a:lnTo>
                      <a:pt x="632" y="680"/>
                    </a:lnTo>
                    <a:lnTo>
                      <a:pt x="624" y="688"/>
                    </a:lnTo>
                    <a:lnTo>
                      <a:pt x="624" y="696"/>
                    </a:lnTo>
                    <a:lnTo>
                      <a:pt x="632" y="704"/>
                    </a:lnTo>
                    <a:lnTo>
                      <a:pt x="640" y="704"/>
                    </a:lnTo>
                    <a:lnTo>
                      <a:pt x="640" y="696"/>
                    </a:lnTo>
                    <a:lnTo>
                      <a:pt x="656" y="696"/>
                    </a:lnTo>
                    <a:lnTo>
                      <a:pt x="664" y="696"/>
                    </a:lnTo>
                    <a:lnTo>
                      <a:pt x="672" y="688"/>
                    </a:lnTo>
                    <a:lnTo>
                      <a:pt x="664" y="696"/>
                    </a:lnTo>
                    <a:lnTo>
                      <a:pt x="664" y="704"/>
                    </a:lnTo>
                    <a:lnTo>
                      <a:pt x="648" y="712"/>
                    </a:lnTo>
                    <a:lnTo>
                      <a:pt x="640" y="712"/>
                    </a:lnTo>
                    <a:lnTo>
                      <a:pt x="640" y="720"/>
                    </a:lnTo>
                    <a:lnTo>
                      <a:pt x="632" y="728"/>
                    </a:lnTo>
                    <a:lnTo>
                      <a:pt x="640" y="728"/>
                    </a:lnTo>
                    <a:lnTo>
                      <a:pt x="640" y="736"/>
                    </a:lnTo>
                    <a:lnTo>
                      <a:pt x="632" y="736"/>
                    </a:lnTo>
                    <a:lnTo>
                      <a:pt x="624" y="736"/>
                    </a:lnTo>
                    <a:lnTo>
                      <a:pt x="624" y="744"/>
                    </a:lnTo>
                    <a:lnTo>
                      <a:pt x="616" y="752"/>
                    </a:lnTo>
                    <a:lnTo>
                      <a:pt x="616" y="760"/>
                    </a:lnTo>
                    <a:lnTo>
                      <a:pt x="616" y="768"/>
                    </a:lnTo>
                    <a:lnTo>
                      <a:pt x="616" y="760"/>
                    </a:lnTo>
                    <a:lnTo>
                      <a:pt x="608" y="760"/>
                    </a:lnTo>
                    <a:lnTo>
                      <a:pt x="608" y="768"/>
                    </a:lnTo>
                    <a:lnTo>
                      <a:pt x="600" y="768"/>
                    </a:lnTo>
                    <a:lnTo>
                      <a:pt x="600" y="776"/>
                    </a:lnTo>
                    <a:lnTo>
                      <a:pt x="592" y="776"/>
                    </a:lnTo>
                    <a:lnTo>
                      <a:pt x="584" y="784"/>
                    </a:lnTo>
                    <a:lnTo>
                      <a:pt x="576" y="784"/>
                    </a:lnTo>
                    <a:lnTo>
                      <a:pt x="584" y="792"/>
                    </a:lnTo>
                    <a:lnTo>
                      <a:pt x="576" y="792"/>
                    </a:lnTo>
                    <a:lnTo>
                      <a:pt x="576" y="784"/>
                    </a:lnTo>
                    <a:lnTo>
                      <a:pt x="568" y="792"/>
                    </a:lnTo>
                    <a:lnTo>
                      <a:pt x="560" y="792"/>
                    </a:lnTo>
                    <a:lnTo>
                      <a:pt x="560" y="800"/>
                    </a:lnTo>
                    <a:lnTo>
                      <a:pt x="552" y="800"/>
                    </a:lnTo>
                    <a:lnTo>
                      <a:pt x="544" y="800"/>
                    </a:lnTo>
                    <a:lnTo>
                      <a:pt x="536" y="808"/>
                    </a:lnTo>
                    <a:lnTo>
                      <a:pt x="528" y="808"/>
                    </a:lnTo>
                    <a:lnTo>
                      <a:pt x="520" y="816"/>
                    </a:lnTo>
                    <a:lnTo>
                      <a:pt x="520" y="824"/>
                    </a:lnTo>
                    <a:lnTo>
                      <a:pt x="520" y="832"/>
                    </a:lnTo>
                    <a:lnTo>
                      <a:pt x="512" y="832"/>
                    </a:lnTo>
                    <a:lnTo>
                      <a:pt x="512" y="840"/>
                    </a:lnTo>
                    <a:lnTo>
                      <a:pt x="504" y="832"/>
                    </a:lnTo>
                    <a:lnTo>
                      <a:pt x="512" y="824"/>
                    </a:lnTo>
                    <a:lnTo>
                      <a:pt x="504" y="824"/>
                    </a:lnTo>
                    <a:lnTo>
                      <a:pt x="496" y="824"/>
                    </a:lnTo>
                    <a:lnTo>
                      <a:pt x="488" y="824"/>
                    </a:lnTo>
                    <a:lnTo>
                      <a:pt x="480" y="832"/>
                    </a:lnTo>
                    <a:lnTo>
                      <a:pt x="472" y="832"/>
                    </a:lnTo>
                    <a:lnTo>
                      <a:pt x="464" y="840"/>
                    </a:lnTo>
                    <a:lnTo>
                      <a:pt x="464" y="848"/>
                    </a:lnTo>
                    <a:lnTo>
                      <a:pt x="456" y="848"/>
                    </a:lnTo>
                    <a:lnTo>
                      <a:pt x="448" y="848"/>
                    </a:lnTo>
                    <a:lnTo>
                      <a:pt x="448" y="856"/>
                    </a:lnTo>
                    <a:lnTo>
                      <a:pt x="440" y="856"/>
                    </a:lnTo>
                    <a:lnTo>
                      <a:pt x="432" y="864"/>
                    </a:lnTo>
                    <a:lnTo>
                      <a:pt x="432" y="872"/>
                    </a:lnTo>
                    <a:lnTo>
                      <a:pt x="440" y="864"/>
                    </a:lnTo>
                    <a:lnTo>
                      <a:pt x="440" y="856"/>
                    </a:lnTo>
                    <a:lnTo>
                      <a:pt x="440" y="864"/>
                    </a:lnTo>
                    <a:lnTo>
                      <a:pt x="448" y="864"/>
                    </a:lnTo>
                    <a:lnTo>
                      <a:pt x="448" y="856"/>
                    </a:lnTo>
                    <a:lnTo>
                      <a:pt x="456" y="856"/>
                    </a:lnTo>
                    <a:lnTo>
                      <a:pt x="456" y="864"/>
                    </a:lnTo>
                    <a:lnTo>
                      <a:pt x="464" y="864"/>
                    </a:lnTo>
                    <a:lnTo>
                      <a:pt x="472" y="856"/>
                    </a:lnTo>
                    <a:lnTo>
                      <a:pt x="480" y="856"/>
                    </a:lnTo>
                    <a:lnTo>
                      <a:pt x="480" y="848"/>
                    </a:lnTo>
                    <a:lnTo>
                      <a:pt x="480" y="840"/>
                    </a:lnTo>
                    <a:lnTo>
                      <a:pt x="488" y="840"/>
                    </a:lnTo>
                    <a:lnTo>
                      <a:pt x="496" y="840"/>
                    </a:lnTo>
                    <a:lnTo>
                      <a:pt x="496" y="848"/>
                    </a:lnTo>
                    <a:lnTo>
                      <a:pt x="488" y="848"/>
                    </a:lnTo>
                    <a:lnTo>
                      <a:pt x="488" y="856"/>
                    </a:lnTo>
                    <a:lnTo>
                      <a:pt x="496" y="848"/>
                    </a:lnTo>
                    <a:lnTo>
                      <a:pt x="504" y="848"/>
                    </a:lnTo>
                    <a:lnTo>
                      <a:pt x="512" y="848"/>
                    </a:lnTo>
                    <a:lnTo>
                      <a:pt x="520" y="848"/>
                    </a:lnTo>
                    <a:lnTo>
                      <a:pt x="528" y="840"/>
                    </a:lnTo>
                    <a:lnTo>
                      <a:pt x="528" y="832"/>
                    </a:lnTo>
                    <a:lnTo>
                      <a:pt x="536" y="840"/>
                    </a:lnTo>
                    <a:lnTo>
                      <a:pt x="528" y="840"/>
                    </a:lnTo>
                    <a:lnTo>
                      <a:pt x="528" y="848"/>
                    </a:lnTo>
                    <a:lnTo>
                      <a:pt x="536" y="848"/>
                    </a:lnTo>
                    <a:lnTo>
                      <a:pt x="536" y="840"/>
                    </a:lnTo>
                    <a:lnTo>
                      <a:pt x="536" y="832"/>
                    </a:lnTo>
                    <a:lnTo>
                      <a:pt x="536" y="840"/>
                    </a:lnTo>
                    <a:lnTo>
                      <a:pt x="544" y="840"/>
                    </a:lnTo>
                    <a:lnTo>
                      <a:pt x="552" y="840"/>
                    </a:lnTo>
                    <a:lnTo>
                      <a:pt x="552" y="832"/>
                    </a:lnTo>
                    <a:lnTo>
                      <a:pt x="560" y="832"/>
                    </a:lnTo>
                    <a:lnTo>
                      <a:pt x="560" y="824"/>
                    </a:lnTo>
                    <a:lnTo>
                      <a:pt x="568" y="824"/>
                    </a:lnTo>
                    <a:lnTo>
                      <a:pt x="560" y="832"/>
                    </a:lnTo>
                    <a:lnTo>
                      <a:pt x="568" y="832"/>
                    </a:lnTo>
                    <a:lnTo>
                      <a:pt x="568" y="824"/>
                    </a:lnTo>
                    <a:lnTo>
                      <a:pt x="576" y="824"/>
                    </a:lnTo>
                    <a:lnTo>
                      <a:pt x="568" y="824"/>
                    </a:lnTo>
                    <a:lnTo>
                      <a:pt x="560" y="824"/>
                    </a:lnTo>
                    <a:lnTo>
                      <a:pt x="568" y="816"/>
                    </a:lnTo>
                    <a:lnTo>
                      <a:pt x="576" y="816"/>
                    </a:lnTo>
                    <a:lnTo>
                      <a:pt x="584" y="816"/>
                    </a:lnTo>
                    <a:lnTo>
                      <a:pt x="592" y="816"/>
                    </a:lnTo>
                    <a:lnTo>
                      <a:pt x="584" y="808"/>
                    </a:lnTo>
                    <a:lnTo>
                      <a:pt x="592" y="808"/>
                    </a:lnTo>
                    <a:lnTo>
                      <a:pt x="600" y="808"/>
                    </a:lnTo>
                    <a:lnTo>
                      <a:pt x="608" y="800"/>
                    </a:lnTo>
                    <a:lnTo>
                      <a:pt x="608" y="792"/>
                    </a:lnTo>
                    <a:lnTo>
                      <a:pt x="608" y="800"/>
                    </a:lnTo>
                    <a:lnTo>
                      <a:pt x="616" y="800"/>
                    </a:lnTo>
                    <a:lnTo>
                      <a:pt x="624" y="792"/>
                    </a:lnTo>
                    <a:lnTo>
                      <a:pt x="632" y="792"/>
                    </a:lnTo>
                    <a:lnTo>
                      <a:pt x="640" y="784"/>
                    </a:lnTo>
                    <a:lnTo>
                      <a:pt x="632" y="784"/>
                    </a:lnTo>
                    <a:lnTo>
                      <a:pt x="640" y="776"/>
                    </a:lnTo>
                    <a:lnTo>
                      <a:pt x="648" y="776"/>
                    </a:lnTo>
                    <a:lnTo>
                      <a:pt x="648" y="768"/>
                    </a:lnTo>
                    <a:lnTo>
                      <a:pt x="648" y="776"/>
                    </a:lnTo>
                    <a:lnTo>
                      <a:pt x="656" y="768"/>
                    </a:lnTo>
                    <a:lnTo>
                      <a:pt x="664" y="768"/>
                    </a:lnTo>
                    <a:lnTo>
                      <a:pt x="664" y="760"/>
                    </a:lnTo>
                    <a:lnTo>
                      <a:pt x="672" y="760"/>
                    </a:lnTo>
                    <a:lnTo>
                      <a:pt x="680" y="760"/>
                    </a:lnTo>
                    <a:lnTo>
                      <a:pt x="680" y="752"/>
                    </a:lnTo>
                    <a:lnTo>
                      <a:pt x="688" y="752"/>
                    </a:lnTo>
                    <a:lnTo>
                      <a:pt x="696" y="752"/>
                    </a:lnTo>
                    <a:lnTo>
                      <a:pt x="704" y="752"/>
                    </a:lnTo>
                    <a:lnTo>
                      <a:pt x="712" y="744"/>
                    </a:lnTo>
                    <a:lnTo>
                      <a:pt x="704" y="744"/>
                    </a:lnTo>
                    <a:lnTo>
                      <a:pt x="704" y="736"/>
                    </a:lnTo>
                    <a:lnTo>
                      <a:pt x="712" y="736"/>
                    </a:lnTo>
                    <a:lnTo>
                      <a:pt x="720" y="736"/>
                    </a:lnTo>
                    <a:lnTo>
                      <a:pt x="712" y="736"/>
                    </a:lnTo>
                    <a:lnTo>
                      <a:pt x="712" y="728"/>
                    </a:lnTo>
                    <a:lnTo>
                      <a:pt x="720" y="728"/>
                    </a:lnTo>
                    <a:lnTo>
                      <a:pt x="728" y="728"/>
                    </a:lnTo>
                    <a:lnTo>
                      <a:pt x="736" y="720"/>
                    </a:lnTo>
                    <a:lnTo>
                      <a:pt x="744" y="720"/>
                    </a:lnTo>
                    <a:lnTo>
                      <a:pt x="744" y="712"/>
                    </a:lnTo>
                    <a:lnTo>
                      <a:pt x="744" y="704"/>
                    </a:lnTo>
                    <a:lnTo>
                      <a:pt x="736" y="704"/>
                    </a:lnTo>
                    <a:lnTo>
                      <a:pt x="728" y="704"/>
                    </a:lnTo>
                    <a:lnTo>
                      <a:pt x="728" y="696"/>
                    </a:lnTo>
                    <a:lnTo>
                      <a:pt x="728" y="688"/>
                    </a:lnTo>
                    <a:lnTo>
                      <a:pt x="736" y="688"/>
                    </a:lnTo>
                    <a:lnTo>
                      <a:pt x="744" y="688"/>
                    </a:lnTo>
                    <a:lnTo>
                      <a:pt x="744" y="680"/>
                    </a:lnTo>
                    <a:lnTo>
                      <a:pt x="752" y="680"/>
                    </a:lnTo>
                    <a:lnTo>
                      <a:pt x="760" y="680"/>
                    </a:lnTo>
                    <a:lnTo>
                      <a:pt x="768" y="680"/>
                    </a:lnTo>
                    <a:lnTo>
                      <a:pt x="776" y="680"/>
                    </a:lnTo>
                    <a:lnTo>
                      <a:pt x="776" y="672"/>
                    </a:lnTo>
                    <a:lnTo>
                      <a:pt x="768" y="672"/>
                    </a:lnTo>
                    <a:lnTo>
                      <a:pt x="776" y="672"/>
                    </a:lnTo>
                    <a:lnTo>
                      <a:pt x="784" y="672"/>
                    </a:lnTo>
                    <a:lnTo>
                      <a:pt x="784" y="664"/>
                    </a:lnTo>
                    <a:lnTo>
                      <a:pt x="784" y="656"/>
                    </a:lnTo>
                    <a:lnTo>
                      <a:pt x="776" y="656"/>
                    </a:lnTo>
                    <a:lnTo>
                      <a:pt x="776" y="648"/>
                    </a:lnTo>
                    <a:lnTo>
                      <a:pt x="784" y="648"/>
                    </a:lnTo>
                    <a:lnTo>
                      <a:pt x="784" y="656"/>
                    </a:lnTo>
                    <a:lnTo>
                      <a:pt x="792" y="656"/>
                    </a:lnTo>
                    <a:lnTo>
                      <a:pt x="800" y="648"/>
                    </a:lnTo>
                    <a:lnTo>
                      <a:pt x="808" y="640"/>
                    </a:lnTo>
                    <a:lnTo>
                      <a:pt x="816" y="640"/>
                    </a:lnTo>
                    <a:lnTo>
                      <a:pt x="816" y="632"/>
                    </a:lnTo>
                    <a:lnTo>
                      <a:pt x="824" y="632"/>
                    </a:lnTo>
                    <a:lnTo>
                      <a:pt x="832" y="624"/>
                    </a:lnTo>
                    <a:lnTo>
                      <a:pt x="840" y="624"/>
                    </a:lnTo>
                    <a:lnTo>
                      <a:pt x="848" y="616"/>
                    </a:lnTo>
                    <a:lnTo>
                      <a:pt x="856" y="616"/>
                    </a:lnTo>
                    <a:lnTo>
                      <a:pt x="864" y="600"/>
                    </a:lnTo>
                    <a:lnTo>
                      <a:pt x="864" y="608"/>
                    </a:lnTo>
                    <a:lnTo>
                      <a:pt x="864" y="616"/>
                    </a:lnTo>
                    <a:lnTo>
                      <a:pt x="872" y="616"/>
                    </a:lnTo>
                    <a:lnTo>
                      <a:pt x="880" y="608"/>
                    </a:lnTo>
                    <a:lnTo>
                      <a:pt x="896" y="608"/>
                    </a:lnTo>
                    <a:lnTo>
                      <a:pt x="896" y="600"/>
                    </a:lnTo>
                    <a:lnTo>
                      <a:pt x="896" y="608"/>
                    </a:lnTo>
                    <a:lnTo>
                      <a:pt x="888" y="616"/>
                    </a:lnTo>
                    <a:lnTo>
                      <a:pt x="880" y="616"/>
                    </a:lnTo>
                    <a:lnTo>
                      <a:pt x="872" y="624"/>
                    </a:lnTo>
                    <a:lnTo>
                      <a:pt x="872" y="632"/>
                    </a:lnTo>
                    <a:lnTo>
                      <a:pt x="872" y="640"/>
                    </a:lnTo>
                    <a:lnTo>
                      <a:pt x="864" y="640"/>
                    </a:lnTo>
                    <a:lnTo>
                      <a:pt x="856" y="632"/>
                    </a:lnTo>
                    <a:lnTo>
                      <a:pt x="848" y="632"/>
                    </a:lnTo>
                    <a:lnTo>
                      <a:pt x="840" y="632"/>
                    </a:lnTo>
                    <a:lnTo>
                      <a:pt x="832" y="640"/>
                    </a:lnTo>
                    <a:lnTo>
                      <a:pt x="824" y="640"/>
                    </a:lnTo>
                    <a:lnTo>
                      <a:pt x="824" y="648"/>
                    </a:lnTo>
                    <a:lnTo>
                      <a:pt x="824" y="656"/>
                    </a:lnTo>
                    <a:lnTo>
                      <a:pt x="816" y="664"/>
                    </a:lnTo>
                    <a:lnTo>
                      <a:pt x="800" y="680"/>
                    </a:lnTo>
                    <a:lnTo>
                      <a:pt x="792" y="680"/>
                    </a:lnTo>
                    <a:lnTo>
                      <a:pt x="792" y="688"/>
                    </a:lnTo>
                    <a:lnTo>
                      <a:pt x="800" y="696"/>
                    </a:lnTo>
                    <a:lnTo>
                      <a:pt x="800" y="688"/>
                    </a:lnTo>
                    <a:lnTo>
                      <a:pt x="808" y="688"/>
                    </a:lnTo>
                    <a:lnTo>
                      <a:pt x="816" y="688"/>
                    </a:lnTo>
                    <a:lnTo>
                      <a:pt x="808" y="696"/>
                    </a:lnTo>
                    <a:lnTo>
                      <a:pt x="800" y="696"/>
                    </a:lnTo>
                    <a:lnTo>
                      <a:pt x="800" y="704"/>
                    </a:lnTo>
                    <a:lnTo>
                      <a:pt x="792" y="696"/>
                    </a:lnTo>
                    <a:lnTo>
                      <a:pt x="792" y="704"/>
                    </a:lnTo>
                    <a:lnTo>
                      <a:pt x="784" y="704"/>
                    </a:lnTo>
                    <a:lnTo>
                      <a:pt x="776" y="704"/>
                    </a:lnTo>
                    <a:lnTo>
                      <a:pt x="776" y="712"/>
                    </a:lnTo>
                    <a:lnTo>
                      <a:pt x="784" y="720"/>
                    </a:lnTo>
                    <a:lnTo>
                      <a:pt x="792" y="720"/>
                    </a:lnTo>
                    <a:lnTo>
                      <a:pt x="792" y="712"/>
                    </a:lnTo>
                    <a:lnTo>
                      <a:pt x="792" y="720"/>
                    </a:lnTo>
                    <a:lnTo>
                      <a:pt x="792" y="712"/>
                    </a:lnTo>
                    <a:lnTo>
                      <a:pt x="800" y="712"/>
                    </a:lnTo>
                    <a:lnTo>
                      <a:pt x="800" y="720"/>
                    </a:lnTo>
                    <a:lnTo>
                      <a:pt x="800" y="712"/>
                    </a:lnTo>
                    <a:lnTo>
                      <a:pt x="808" y="712"/>
                    </a:lnTo>
                    <a:lnTo>
                      <a:pt x="808" y="704"/>
                    </a:lnTo>
                    <a:lnTo>
                      <a:pt x="816" y="696"/>
                    </a:lnTo>
                    <a:lnTo>
                      <a:pt x="816" y="704"/>
                    </a:lnTo>
                    <a:lnTo>
                      <a:pt x="824" y="704"/>
                    </a:lnTo>
                    <a:lnTo>
                      <a:pt x="832" y="696"/>
                    </a:lnTo>
                    <a:lnTo>
                      <a:pt x="832" y="704"/>
                    </a:lnTo>
                    <a:lnTo>
                      <a:pt x="840" y="696"/>
                    </a:lnTo>
                    <a:lnTo>
                      <a:pt x="840" y="688"/>
                    </a:lnTo>
                    <a:lnTo>
                      <a:pt x="848" y="688"/>
                    </a:lnTo>
                    <a:lnTo>
                      <a:pt x="840" y="696"/>
                    </a:lnTo>
                    <a:lnTo>
                      <a:pt x="848" y="696"/>
                    </a:lnTo>
                    <a:lnTo>
                      <a:pt x="848" y="688"/>
                    </a:lnTo>
                    <a:lnTo>
                      <a:pt x="856" y="680"/>
                    </a:lnTo>
                    <a:lnTo>
                      <a:pt x="856" y="688"/>
                    </a:lnTo>
                    <a:lnTo>
                      <a:pt x="864" y="688"/>
                    </a:lnTo>
                    <a:lnTo>
                      <a:pt x="872" y="696"/>
                    </a:lnTo>
                    <a:lnTo>
                      <a:pt x="872" y="688"/>
                    </a:lnTo>
                    <a:lnTo>
                      <a:pt x="880" y="680"/>
                    </a:lnTo>
                    <a:lnTo>
                      <a:pt x="888" y="680"/>
                    </a:lnTo>
                    <a:lnTo>
                      <a:pt x="880" y="680"/>
                    </a:lnTo>
                    <a:lnTo>
                      <a:pt x="888" y="672"/>
                    </a:lnTo>
                    <a:lnTo>
                      <a:pt x="896" y="672"/>
                    </a:lnTo>
                    <a:lnTo>
                      <a:pt x="896" y="664"/>
                    </a:lnTo>
                    <a:lnTo>
                      <a:pt x="888" y="664"/>
                    </a:lnTo>
                    <a:lnTo>
                      <a:pt x="880" y="664"/>
                    </a:lnTo>
                    <a:lnTo>
                      <a:pt x="888" y="656"/>
                    </a:lnTo>
                    <a:lnTo>
                      <a:pt x="896" y="656"/>
                    </a:lnTo>
                    <a:lnTo>
                      <a:pt x="896" y="648"/>
                    </a:lnTo>
                    <a:lnTo>
                      <a:pt x="888" y="656"/>
                    </a:lnTo>
                    <a:lnTo>
                      <a:pt x="888" y="648"/>
                    </a:lnTo>
                    <a:lnTo>
                      <a:pt x="896" y="640"/>
                    </a:lnTo>
                    <a:lnTo>
                      <a:pt x="896" y="648"/>
                    </a:lnTo>
                    <a:lnTo>
                      <a:pt x="896" y="640"/>
                    </a:lnTo>
                    <a:lnTo>
                      <a:pt x="904" y="632"/>
                    </a:lnTo>
                    <a:lnTo>
                      <a:pt x="904" y="640"/>
                    </a:lnTo>
                    <a:lnTo>
                      <a:pt x="912" y="640"/>
                    </a:lnTo>
                    <a:lnTo>
                      <a:pt x="920" y="640"/>
                    </a:lnTo>
                    <a:lnTo>
                      <a:pt x="912" y="640"/>
                    </a:lnTo>
                    <a:lnTo>
                      <a:pt x="912" y="648"/>
                    </a:lnTo>
                    <a:lnTo>
                      <a:pt x="912" y="656"/>
                    </a:lnTo>
                    <a:lnTo>
                      <a:pt x="912" y="648"/>
                    </a:lnTo>
                    <a:lnTo>
                      <a:pt x="920" y="640"/>
                    </a:lnTo>
                    <a:lnTo>
                      <a:pt x="920" y="648"/>
                    </a:lnTo>
                    <a:lnTo>
                      <a:pt x="920" y="656"/>
                    </a:lnTo>
                    <a:lnTo>
                      <a:pt x="928" y="648"/>
                    </a:lnTo>
                    <a:lnTo>
                      <a:pt x="936" y="648"/>
                    </a:lnTo>
                    <a:lnTo>
                      <a:pt x="944" y="640"/>
                    </a:lnTo>
                    <a:lnTo>
                      <a:pt x="952" y="640"/>
                    </a:lnTo>
                    <a:lnTo>
                      <a:pt x="944" y="640"/>
                    </a:lnTo>
                    <a:lnTo>
                      <a:pt x="936" y="648"/>
                    </a:lnTo>
                    <a:lnTo>
                      <a:pt x="936" y="656"/>
                    </a:lnTo>
                    <a:lnTo>
                      <a:pt x="944" y="656"/>
                    </a:lnTo>
                    <a:lnTo>
                      <a:pt x="944" y="664"/>
                    </a:lnTo>
                    <a:lnTo>
                      <a:pt x="944" y="656"/>
                    </a:lnTo>
                    <a:lnTo>
                      <a:pt x="936" y="656"/>
                    </a:lnTo>
                    <a:lnTo>
                      <a:pt x="928" y="656"/>
                    </a:lnTo>
                    <a:lnTo>
                      <a:pt x="928" y="664"/>
                    </a:lnTo>
                    <a:lnTo>
                      <a:pt x="936" y="664"/>
                    </a:lnTo>
                    <a:lnTo>
                      <a:pt x="944" y="664"/>
                    </a:lnTo>
                    <a:lnTo>
                      <a:pt x="936" y="664"/>
                    </a:lnTo>
                    <a:lnTo>
                      <a:pt x="936" y="672"/>
                    </a:lnTo>
                    <a:lnTo>
                      <a:pt x="944" y="672"/>
                    </a:lnTo>
                    <a:lnTo>
                      <a:pt x="936" y="680"/>
                    </a:lnTo>
                    <a:lnTo>
                      <a:pt x="944" y="680"/>
                    </a:lnTo>
                    <a:lnTo>
                      <a:pt x="952" y="680"/>
                    </a:lnTo>
                    <a:lnTo>
                      <a:pt x="960" y="680"/>
                    </a:lnTo>
                    <a:lnTo>
                      <a:pt x="968" y="680"/>
                    </a:lnTo>
                    <a:lnTo>
                      <a:pt x="968" y="688"/>
                    </a:lnTo>
                    <a:lnTo>
                      <a:pt x="960" y="688"/>
                    </a:lnTo>
                    <a:lnTo>
                      <a:pt x="968" y="688"/>
                    </a:lnTo>
                    <a:lnTo>
                      <a:pt x="968" y="696"/>
                    </a:lnTo>
                    <a:lnTo>
                      <a:pt x="968" y="688"/>
                    </a:lnTo>
                    <a:lnTo>
                      <a:pt x="976" y="688"/>
                    </a:lnTo>
                    <a:lnTo>
                      <a:pt x="976" y="696"/>
                    </a:lnTo>
                    <a:lnTo>
                      <a:pt x="968" y="704"/>
                    </a:lnTo>
                    <a:lnTo>
                      <a:pt x="976" y="704"/>
                    </a:lnTo>
                    <a:lnTo>
                      <a:pt x="968" y="704"/>
                    </a:lnTo>
                    <a:lnTo>
                      <a:pt x="968" y="712"/>
                    </a:lnTo>
                    <a:lnTo>
                      <a:pt x="976" y="712"/>
                    </a:lnTo>
                    <a:lnTo>
                      <a:pt x="984" y="712"/>
                    </a:lnTo>
                    <a:lnTo>
                      <a:pt x="992" y="712"/>
                    </a:lnTo>
                    <a:lnTo>
                      <a:pt x="1000" y="712"/>
                    </a:lnTo>
                    <a:lnTo>
                      <a:pt x="1008" y="712"/>
                    </a:lnTo>
                    <a:lnTo>
                      <a:pt x="1008" y="720"/>
                    </a:lnTo>
                    <a:lnTo>
                      <a:pt x="1016" y="720"/>
                    </a:lnTo>
                    <a:lnTo>
                      <a:pt x="1016" y="728"/>
                    </a:lnTo>
                    <a:lnTo>
                      <a:pt x="1024" y="720"/>
                    </a:lnTo>
                    <a:lnTo>
                      <a:pt x="1032" y="720"/>
                    </a:lnTo>
                    <a:lnTo>
                      <a:pt x="1032" y="728"/>
                    </a:lnTo>
                    <a:lnTo>
                      <a:pt x="1024" y="728"/>
                    </a:lnTo>
                    <a:lnTo>
                      <a:pt x="1032" y="736"/>
                    </a:lnTo>
                    <a:lnTo>
                      <a:pt x="1040" y="744"/>
                    </a:lnTo>
                    <a:lnTo>
                      <a:pt x="1048" y="744"/>
                    </a:lnTo>
                    <a:lnTo>
                      <a:pt x="1056" y="736"/>
                    </a:lnTo>
                    <a:lnTo>
                      <a:pt x="1056" y="744"/>
                    </a:lnTo>
                    <a:lnTo>
                      <a:pt x="1056" y="736"/>
                    </a:lnTo>
                    <a:lnTo>
                      <a:pt x="1064" y="736"/>
                    </a:lnTo>
                    <a:lnTo>
                      <a:pt x="1056" y="752"/>
                    </a:lnTo>
                    <a:lnTo>
                      <a:pt x="1048" y="752"/>
                    </a:lnTo>
                    <a:lnTo>
                      <a:pt x="1048" y="760"/>
                    </a:lnTo>
                    <a:lnTo>
                      <a:pt x="1056" y="760"/>
                    </a:lnTo>
                    <a:lnTo>
                      <a:pt x="1056" y="768"/>
                    </a:lnTo>
                    <a:lnTo>
                      <a:pt x="1056" y="760"/>
                    </a:lnTo>
                    <a:lnTo>
                      <a:pt x="1064" y="768"/>
                    </a:lnTo>
                    <a:lnTo>
                      <a:pt x="1056" y="768"/>
                    </a:lnTo>
                    <a:lnTo>
                      <a:pt x="1064" y="776"/>
                    </a:lnTo>
                    <a:lnTo>
                      <a:pt x="1072" y="776"/>
                    </a:lnTo>
                    <a:lnTo>
                      <a:pt x="1072" y="768"/>
                    </a:lnTo>
                    <a:lnTo>
                      <a:pt x="1080" y="760"/>
                    </a:lnTo>
                    <a:lnTo>
                      <a:pt x="1080" y="768"/>
                    </a:lnTo>
                    <a:lnTo>
                      <a:pt x="1080" y="776"/>
                    </a:lnTo>
                    <a:lnTo>
                      <a:pt x="1072" y="776"/>
                    </a:lnTo>
                    <a:lnTo>
                      <a:pt x="1072" y="784"/>
                    </a:lnTo>
                    <a:lnTo>
                      <a:pt x="1072" y="792"/>
                    </a:lnTo>
                    <a:lnTo>
                      <a:pt x="1072" y="800"/>
                    </a:lnTo>
                    <a:lnTo>
                      <a:pt x="1072" y="808"/>
                    </a:lnTo>
                    <a:lnTo>
                      <a:pt x="1080" y="808"/>
                    </a:lnTo>
                    <a:lnTo>
                      <a:pt x="1080" y="816"/>
                    </a:lnTo>
                    <a:lnTo>
                      <a:pt x="1088" y="824"/>
                    </a:lnTo>
                    <a:lnTo>
                      <a:pt x="1096" y="824"/>
                    </a:lnTo>
                    <a:lnTo>
                      <a:pt x="1104" y="824"/>
                    </a:lnTo>
                    <a:lnTo>
                      <a:pt x="1104" y="816"/>
                    </a:lnTo>
                    <a:lnTo>
                      <a:pt x="1096" y="816"/>
                    </a:lnTo>
                    <a:lnTo>
                      <a:pt x="1096" y="808"/>
                    </a:lnTo>
                    <a:lnTo>
                      <a:pt x="1096" y="800"/>
                    </a:lnTo>
                    <a:lnTo>
                      <a:pt x="1096" y="792"/>
                    </a:lnTo>
                    <a:lnTo>
                      <a:pt x="1104" y="800"/>
                    </a:lnTo>
                    <a:lnTo>
                      <a:pt x="1104" y="792"/>
                    </a:lnTo>
                    <a:lnTo>
                      <a:pt x="1104" y="800"/>
                    </a:lnTo>
                    <a:lnTo>
                      <a:pt x="1104" y="808"/>
                    </a:lnTo>
                    <a:lnTo>
                      <a:pt x="1112" y="808"/>
                    </a:lnTo>
                    <a:lnTo>
                      <a:pt x="1112" y="816"/>
                    </a:lnTo>
                    <a:lnTo>
                      <a:pt x="1112" y="824"/>
                    </a:lnTo>
                    <a:lnTo>
                      <a:pt x="1112" y="832"/>
                    </a:lnTo>
                    <a:lnTo>
                      <a:pt x="1120" y="832"/>
                    </a:lnTo>
                    <a:lnTo>
                      <a:pt x="1120" y="824"/>
                    </a:lnTo>
                    <a:lnTo>
                      <a:pt x="1120" y="832"/>
                    </a:lnTo>
                    <a:lnTo>
                      <a:pt x="1128" y="840"/>
                    </a:lnTo>
                    <a:lnTo>
                      <a:pt x="1128" y="832"/>
                    </a:lnTo>
                    <a:lnTo>
                      <a:pt x="1128" y="824"/>
                    </a:lnTo>
                    <a:lnTo>
                      <a:pt x="1128" y="816"/>
                    </a:lnTo>
                    <a:lnTo>
                      <a:pt x="1128" y="808"/>
                    </a:lnTo>
                    <a:lnTo>
                      <a:pt x="1136" y="800"/>
                    </a:lnTo>
                    <a:lnTo>
                      <a:pt x="1136" y="784"/>
                    </a:lnTo>
                    <a:lnTo>
                      <a:pt x="1136" y="776"/>
                    </a:lnTo>
                    <a:lnTo>
                      <a:pt x="1136" y="784"/>
                    </a:lnTo>
                    <a:lnTo>
                      <a:pt x="1144" y="776"/>
                    </a:lnTo>
                    <a:lnTo>
                      <a:pt x="1144" y="784"/>
                    </a:lnTo>
                    <a:lnTo>
                      <a:pt x="1144" y="792"/>
                    </a:lnTo>
                    <a:lnTo>
                      <a:pt x="1136" y="808"/>
                    </a:lnTo>
                    <a:lnTo>
                      <a:pt x="1136" y="816"/>
                    </a:lnTo>
                    <a:lnTo>
                      <a:pt x="1136" y="824"/>
                    </a:lnTo>
                    <a:lnTo>
                      <a:pt x="1136" y="832"/>
                    </a:lnTo>
                    <a:lnTo>
                      <a:pt x="1144" y="840"/>
                    </a:lnTo>
                    <a:lnTo>
                      <a:pt x="1144" y="848"/>
                    </a:lnTo>
                    <a:lnTo>
                      <a:pt x="1152" y="848"/>
                    </a:lnTo>
                    <a:lnTo>
                      <a:pt x="1160" y="848"/>
                    </a:lnTo>
                    <a:lnTo>
                      <a:pt x="1168" y="848"/>
                    </a:lnTo>
                    <a:lnTo>
                      <a:pt x="1160" y="856"/>
                    </a:lnTo>
                    <a:lnTo>
                      <a:pt x="1152" y="856"/>
                    </a:lnTo>
                    <a:lnTo>
                      <a:pt x="1160" y="856"/>
                    </a:lnTo>
                    <a:lnTo>
                      <a:pt x="1160" y="864"/>
                    </a:lnTo>
                    <a:lnTo>
                      <a:pt x="1152" y="864"/>
                    </a:lnTo>
                    <a:lnTo>
                      <a:pt x="1160" y="872"/>
                    </a:lnTo>
                    <a:lnTo>
                      <a:pt x="1152" y="872"/>
                    </a:lnTo>
                    <a:lnTo>
                      <a:pt x="1144" y="872"/>
                    </a:lnTo>
                    <a:lnTo>
                      <a:pt x="1152" y="872"/>
                    </a:lnTo>
                    <a:lnTo>
                      <a:pt x="1144" y="880"/>
                    </a:lnTo>
                    <a:lnTo>
                      <a:pt x="1144" y="888"/>
                    </a:lnTo>
                    <a:lnTo>
                      <a:pt x="1144" y="896"/>
                    </a:lnTo>
                    <a:lnTo>
                      <a:pt x="1152" y="896"/>
                    </a:lnTo>
                    <a:lnTo>
                      <a:pt x="1152" y="904"/>
                    </a:lnTo>
                    <a:lnTo>
                      <a:pt x="1152" y="896"/>
                    </a:lnTo>
                    <a:lnTo>
                      <a:pt x="1160" y="904"/>
                    </a:lnTo>
                    <a:lnTo>
                      <a:pt x="1152" y="904"/>
                    </a:lnTo>
                    <a:lnTo>
                      <a:pt x="1152" y="912"/>
                    </a:lnTo>
                    <a:lnTo>
                      <a:pt x="1160" y="912"/>
                    </a:lnTo>
                    <a:lnTo>
                      <a:pt x="1160" y="920"/>
                    </a:lnTo>
                    <a:lnTo>
                      <a:pt x="1152" y="920"/>
                    </a:lnTo>
                    <a:lnTo>
                      <a:pt x="1152" y="928"/>
                    </a:lnTo>
                    <a:lnTo>
                      <a:pt x="1160" y="936"/>
                    </a:lnTo>
                    <a:lnTo>
                      <a:pt x="1168" y="936"/>
                    </a:lnTo>
                    <a:lnTo>
                      <a:pt x="1168" y="944"/>
                    </a:lnTo>
                    <a:lnTo>
                      <a:pt x="1160" y="944"/>
                    </a:lnTo>
                    <a:lnTo>
                      <a:pt x="1152" y="944"/>
                    </a:lnTo>
                    <a:lnTo>
                      <a:pt x="1144" y="952"/>
                    </a:lnTo>
                    <a:lnTo>
                      <a:pt x="1144" y="960"/>
                    </a:lnTo>
                    <a:lnTo>
                      <a:pt x="1144" y="968"/>
                    </a:lnTo>
                    <a:lnTo>
                      <a:pt x="1152" y="968"/>
                    </a:lnTo>
                    <a:lnTo>
                      <a:pt x="1152" y="960"/>
                    </a:lnTo>
                    <a:lnTo>
                      <a:pt x="1152" y="952"/>
                    </a:lnTo>
                    <a:lnTo>
                      <a:pt x="1160" y="952"/>
                    </a:lnTo>
                    <a:lnTo>
                      <a:pt x="1168" y="952"/>
                    </a:lnTo>
                    <a:lnTo>
                      <a:pt x="1176" y="952"/>
                    </a:lnTo>
                    <a:lnTo>
                      <a:pt x="1168" y="952"/>
                    </a:lnTo>
                    <a:lnTo>
                      <a:pt x="1168" y="960"/>
                    </a:lnTo>
                    <a:lnTo>
                      <a:pt x="1176" y="960"/>
                    </a:lnTo>
                    <a:lnTo>
                      <a:pt x="1168" y="960"/>
                    </a:lnTo>
                    <a:lnTo>
                      <a:pt x="1168" y="968"/>
                    </a:lnTo>
                    <a:lnTo>
                      <a:pt x="1168" y="976"/>
                    </a:lnTo>
                    <a:lnTo>
                      <a:pt x="1168" y="984"/>
                    </a:lnTo>
                    <a:lnTo>
                      <a:pt x="1160" y="984"/>
                    </a:lnTo>
                    <a:lnTo>
                      <a:pt x="1160" y="992"/>
                    </a:lnTo>
                    <a:lnTo>
                      <a:pt x="1168" y="992"/>
                    </a:lnTo>
                    <a:lnTo>
                      <a:pt x="1160" y="992"/>
                    </a:lnTo>
                    <a:lnTo>
                      <a:pt x="1160" y="1000"/>
                    </a:lnTo>
                    <a:lnTo>
                      <a:pt x="1152" y="1000"/>
                    </a:lnTo>
                    <a:lnTo>
                      <a:pt x="1160" y="1008"/>
                    </a:lnTo>
                    <a:lnTo>
                      <a:pt x="1160" y="1000"/>
                    </a:lnTo>
                    <a:lnTo>
                      <a:pt x="1168" y="1000"/>
                    </a:lnTo>
                    <a:lnTo>
                      <a:pt x="1176" y="992"/>
                    </a:lnTo>
                    <a:lnTo>
                      <a:pt x="1184" y="984"/>
                    </a:lnTo>
                    <a:lnTo>
                      <a:pt x="1184" y="976"/>
                    </a:lnTo>
                    <a:lnTo>
                      <a:pt x="1184" y="968"/>
                    </a:lnTo>
                    <a:lnTo>
                      <a:pt x="1184" y="960"/>
                    </a:lnTo>
                    <a:lnTo>
                      <a:pt x="1192" y="960"/>
                    </a:lnTo>
                    <a:lnTo>
                      <a:pt x="1120" y="992"/>
                    </a:lnTo>
                    <a:lnTo>
                      <a:pt x="1112" y="984"/>
                    </a:lnTo>
                    <a:lnTo>
                      <a:pt x="1120" y="984"/>
                    </a:lnTo>
                    <a:lnTo>
                      <a:pt x="1120" y="992"/>
                    </a:lnTo>
                    <a:lnTo>
                      <a:pt x="1192" y="960"/>
                    </a:lnTo>
                    <a:lnTo>
                      <a:pt x="1144" y="1000"/>
                    </a:lnTo>
                    <a:lnTo>
                      <a:pt x="1152" y="992"/>
                    </a:lnTo>
                    <a:lnTo>
                      <a:pt x="1152" y="1000"/>
                    </a:lnTo>
                    <a:lnTo>
                      <a:pt x="1144" y="1000"/>
                    </a:lnTo>
                    <a:lnTo>
                      <a:pt x="1192" y="960"/>
                    </a:lnTo>
                    <a:lnTo>
                      <a:pt x="1144" y="984"/>
                    </a:lnTo>
                    <a:lnTo>
                      <a:pt x="1152" y="984"/>
                    </a:lnTo>
                    <a:lnTo>
                      <a:pt x="1152" y="992"/>
                    </a:lnTo>
                    <a:lnTo>
                      <a:pt x="1144" y="992"/>
                    </a:lnTo>
                    <a:lnTo>
                      <a:pt x="1144" y="984"/>
                    </a:lnTo>
                    <a:lnTo>
                      <a:pt x="1192" y="960"/>
                    </a:lnTo>
                    <a:lnTo>
                      <a:pt x="1144" y="976"/>
                    </a:lnTo>
                    <a:lnTo>
                      <a:pt x="1152" y="976"/>
                    </a:lnTo>
                    <a:lnTo>
                      <a:pt x="1144" y="984"/>
                    </a:lnTo>
                    <a:lnTo>
                      <a:pt x="1144" y="976"/>
                    </a:lnTo>
                    <a:lnTo>
                      <a:pt x="1192" y="960"/>
                    </a:lnTo>
                    <a:lnTo>
                      <a:pt x="1152" y="976"/>
                    </a:lnTo>
                    <a:lnTo>
                      <a:pt x="1152" y="968"/>
                    </a:lnTo>
                    <a:lnTo>
                      <a:pt x="1152" y="960"/>
                    </a:lnTo>
                    <a:lnTo>
                      <a:pt x="1160" y="960"/>
                    </a:lnTo>
                    <a:lnTo>
                      <a:pt x="1160" y="952"/>
                    </a:lnTo>
                    <a:lnTo>
                      <a:pt x="1168" y="952"/>
                    </a:lnTo>
                    <a:lnTo>
                      <a:pt x="1168" y="960"/>
                    </a:lnTo>
                    <a:lnTo>
                      <a:pt x="1168" y="968"/>
                    </a:lnTo>
                    <a:lnTo>
                      <a:pt x="1160" y="976"/>
                    </a:lnTo>
                    <a:lnTo>
                      <a:pt x="1152" y="984"/>
                    </a:lnTo>
                    <a:lnTo>
                      <a:pt x="1152" y="976"/>
                    </a:lnTo>
                    <a:lnTo>
                      <a:pt x="1160" y="976"/>
                    </a:lnTo>
                    <a:lnTo>
                      <a:pt x="1160" y="968"/>
                    </a:lnTo>
                    <a:lnTo>
                      <a:pt x="1152" y="976"/>
                    </a:lnTo>
                    <a:lnTo>
                      <a:pt x="1192" y="960"/>
                    </a:lnTo>
                    <a:lnTo>
                      <a:pt x="1104" y="992"/>
                    </a:lnTo>
                    <a:lnTo>
                      <a:pt x="1112" y="992"/>
                    </a:lnTo>
                    <a:lnTo>
                      <a:pt x="1112" y="1000"/>
                    </a:lnTo>
                    <a:lnTo>
                      <a:pt x="1112" y="1008"/>
                    </a:lnTo>
                    <a:lnTo>
                      <a:pt x="1112" y="1000"/>
                    </a:lnTo>
                    <a:lnTo>
                      <a:pt x="1104" y="992"/>
                    </a:lnTo>
                    <a:lnTo>
                      <a:pt x="1192" y="960"/>
                    </a:lnTo>
                    <a:lnTo>
                      <a:pt x="1112" y="944"/>
                    </a:lnTo>
                    <a:lnTo>
                      <a:pt x="1120" y="936"/>
                    </a:lnTo>
                    <a:lnTo>
                      <a:pt x="1120" y="944"/>
                    </a:lnTo>
                    <a:lnTo>
                      <a:pt x="1112" y="944"/>
                    </a:lnTo>
                    <a:lnTo>
                      <a:pt x="1192" y="960"/>
                    </a:lnTo>
                    <a:lnTo>
                      <a:pt x="1120" y="952"/>
                    </a:lnTo>
                    <a:lnTo>
                      <a:pt x="1128" y="944"/>
                    </a:lnTo>
                    <a:lnTo>
                      <a:pt x="1128" y="936"/>
                    </a:lnTo>
                    <a:lnTo>
                      <a:pt x="1120" y="936"/>
                    </a:lnTo>
                    <a:lnTo>
                      <a:pt x="1128" y="928"/>
                    </a:lnTo>
                    <a:lnTo>
                      <a:pt x="1128" y="936"/>
                    </a:lnTo>
                    <a:lnTo>
                      <a:pt x="1128" y="944"/>
                    </a:lnTo>
                    <a:lnTo>
                      <a:pt x="1136" y="952"/>
                    </a:lnTo>
                    <a:lnTo>
                      <a:pt x="1136" y="960"/>
                    </a:lnTo>
                    <a:lnTo>
                      <a:pt x="1136" y="968"/>
                    </a:lnTo>
                    <a:lnTo>
                      <a:pt x="1128" y="968"/>
                    </a:lnTo>
                    <a:lnTo>
                      <a:pt x="1136" y="976"/>
                    </a:lnTo>
                    <a:lnTo>
                      <a:pt x="1136" y="984"/>
                    </a:lnTo>
                    <a:lnTo>
                      <a:pt x="1136" y="992"/>
                    </a:lnTo>
                    <a:lnTo>
                      <a:pt x="1128" y="992"/>
                    </a:lnTo>
                    <a:lnTo>
                      <a:pt x="1136" y="1000"/>
                    </a:lnTo>
                    <a:lnTo>
                      <a:pt x="1128" y="1000"/>
                    </a:lnTo>
                    <a:lnTo>
                      <a:pt x="1136" y="1000"/>
                    </a:lnTo>
                    <a:lnTo>
                      <a:pt x="1128" y="1008"/>
                    </a:lnTo>
                    <a:lnTo>
                      <a:pt x="1120" y="1000"/>
                    </a:lnTo>
                    <a:lnTo>
                      <a:pt x="1128" y="1000"/>
                    </a:lnTo>
                    <a:lnTo>
                      <a:pt x="1120" y="992"/>
                    </a:lnTo>
                    <a:lnTo>
                      <a:pt x="1128" y="984"/>
                    </a:lnTo>
                    <a:lnTo>
                      <a:pt x="1120" y="984"/>
                    </a:lnTo>
                    <a:lnTo>
                      <a:pt x="1128" y="984"/>
                    </a:lnTo>
                    <a:lnTo>
                      <a:pt x="1128" y="976"/>
                    </a:lnTo>
                    <a:lnTo>
                      <a:pt x="1120" y="976"/>
                    </a:lnTo>
                    <a:lnTo>
                      <a:pt x="1120" y="984"/>
                    </a:lnTo>
                    <a:lnTo>
                      <a:pt x="1120" y="976"/>
                    </a:lnTo>
                    <a:lnTo>
                      <a:pt x="1112" y="976"/>
                    </a:lnTo>
                    <a:lnTo>
                      <a:pt x="1120" y="976"/>
                    </a:lnTo>
                    <a:lnTo>
                      <a:pt x="1120" y="968"/>
                    </a:lnTo>
                    <a:lnTo>
                      <a:pt x="1120" y="960"/>
                    </a:lnTo>
                    <a:lnTo>
                      <a:pt x="1120" y="952"/>
                    </a:lnTo>
                    <a:lnTo>
                      <a:pt x="1192" y="960"/>
                    </a:lnTo>
                    <a:lnTo>
                      <a:pt x="1152" y="944"/>
                    </a:lnTo>
                    <a:lnTo>
                      <a:pt x="1152" y="936"/>
                    </a:lnTo>
                    <a:lnTo>
                      <a:pt x="1160" y="936"/>
                    </a:lnTo>
                    <a:lnTo>
                      <a:pt x="1152" y="944"/>
                    </a:lnTo>
                    <a:lnTo>
                      <a:pt x="1192" y="960"/>
                    </a:lnTo>
                    <a:lnTo>
                      <a:pt x="1144" y="952"/>
                    </a:lnTo>
                    <a:lnTo>
                      <a:pt x="1144" y="944"/>
                    </a:lnTo>
                    <a:lnTo>
                      <a:pt x="1152" y="944"/>
                    </a:lnTo>
                    <a:lnTo>
                      <a:pt x="1152" y="952"/>
                    </a:lnTo>
                    <a:lnTo>
                      <a:pt x="1144" y="952"/>
                    </a:lnTo>
                    <a:lnTo>
                      <a:pt x="1192" y="960"/>
                    </a:lnTo>
                    <a:lnTo>
                      <a:pt x="1136" y="944"/>
                    </a:lnTo>
                    <a:lnTo>
                      <a:pt x="1144" y="944"/>
                    </a:lnTo>
                    <a:lnTo>
                      <a:pt x="1152" y="936"/>
                    </a:lnTo>
                    <a:lnTo>
                      <a:pt x="1144" y="944"/>
                    </a:lnTo>
                    <a:lnTo>
                      <a:pt x="1136" y="944"/>
                    </a:lnTo>
                    <a:lnTo>
                      <a:pt x="1192" y="960"/>
                    </a:lnTo>
                    <a:lnTo>
                      <a:pt x="1136" y="936"/>
                    </a:lnTo>
                    <a:lnTo>
                      <a:pt x="1136" y="928"/>
                    </a:lnTo>
                    <a:lnTo>
                      <a:pt x="1144" y="928"/>
                    </a:lnTo>
                    <a:lnTo>
                      <a:pt x="1144" y="936"/>
                    </a:lnTo>
                    <a:lnTo>
                      <a:pt x="1136" y="936"/>
                    </a:lnTo>
                    <a:lnTo>
                      <a:pt x="1192" y="960"/>
                    </a:lnTo>
                    <a:lnTo>
                      <a:pt x="1144" y="920"/>
                    </a:lnTo>
                    <a:lnTo>
                      <a:pt x="1144" y="912"/>
                    </a:lnTo>
                    <a:lnTo>
                      <a:pt x="1152" y="912"/>
                    </a:lnTo>
                    <a:lnTo>
                      <a:pt x="1152" y="920"/>
                    </a:lnTo>
                    <a:lnTo>
                      <a:pt x="1152" y="928"/>
                    </a:lnTo>
                    <a:lnTo>
                      <a:pt x="1144" y="928"/>
                    </a:lnTo>
                    <a:lnTo>
                      <a:pt x="1144" y="920"/>
                    </a:lnTo>
                    <a:lnTo>
                      <a:pt x="1192" y="960"/>
                    </a:lnTo>
                    <a:lnTo>
                      <a:pt x="1128" y="928"/>
                    </a:lnTo>
                    <a:lnTo>
                      <a:pt x="1128" y="920"/>
                    </a:lnTo>
                    <a:lnTo>
                      <a:pt x="1128" y="912"/>
                    </a:lnTo>
                    <a:lnTo>
                      <a:pt x="1128" y="904"/>
                    </a:lnTo>
                    <a:lnTo>
                      <a:pt x="1128" y="896"/>
                    </a:lnTo>
                    <a:lnTo>
                      <a:pt x="1136" y="896"/>
                    </a:lnTo>
                    <a:lnTo>
                      <a:pt x="1144" y="896"/>
                    </a:lnTo>
                    <a:lnTo>
                      <a:pt x="1144" y="904"/>
                    </a:lnTo>
                    <a:lnTo>
                      <a:pt x="1144" y="912"/>
                    </a:lnTo>
                    <a:lnTo>
                      <a:pt x="1144" y="920"/>
                    </a:lnTo>
                    <a:lnTo>
                      <a:pt x="1136" y="920"/>
                    </a:lnTo>
                    <a:lnTo>
                      <a:pt x="1136" y="912"/>
                    </a:lnTo>
                    <a:lnTo>
                      <a:pt x="1136" y="920"/>
                    </a:lnTo>
                    <a:lnTo>
                      <a:pt x="1136" y="928"/>
                    </a:lnTo>
                    <a:lnTo>
                      <a:pt x="1128" y="928"/>
                    </a:lnTo>
                    <a:lnTo>
                      <a:pt x="1192" y="960"/>
                    </a:lnTo>
                    <a:lnTo>
                      <a:pt x="1112" y="920"/>
                    </a:lnTo>
                    <a:lnTo>
                      <a:pt x="1112" y="912"/>
                    </a:lnTo>
                    <a:lnTo>
                      <a:pt x="1112" y="904"/>
                    </a:lnTo>
                    <a:lnTo>
                      <a:pt x="1120" y="904"/>
                    </a:lnTo>
                    <a:lnTo>
                      <a:pt x="1120" y="896"/>
                    </a:lnTo>
                    <a:lnTo>
                      <a:pt x="1120" y="904"/>
                    </a:lnTo>
                    <a:lnTo>
                      <a:pt x="1120" y="912"/>
                    </a:lnTo>
                    <a:lnTo>
                      <a:pt x="1128" y="912"/>
                    </a:lnTo>
                    <a:lnTo>
                      <a:pt x="1120" y="920"/>
                    </a:lnTo>
                    <a:lnTo>
                      <a:pt x="1112" y="928"/>
                    </a:lnTo>
                    <a:lnTo>
                      <a:pt x="1112" y="936"/>
                    </a:lnTo>
                    <a:lnTo>
                      <a:pt x="1104" y="936"/>
                    </a:lnTo>
                    <a:lnTo>
                      <a:pt x="1112" y="936"/>
                    </a:lnTo>
                    <a:lnTo>
                      <a:pt x="1112" y="928"/>
                    </a:lnTo>
                    <a:lnTo>
                      <a:pt x="1104" y="936"/>
                    </a:lnTo>
                    <a:lnTo>
                      <a:pt x="1104" y="928"/>
                    </a:lnTo>
                    <a:lnTo>
                      <a:pt x="1104" y="920"/>
                    </a:lnTo>
                    <a:lnTo>
                      <a:pt x="1112" y="928"/>
                    </a:lnTo>
                    <a:lnTo>
                      <a:pt x="1112" y="920"/>
                    </a:lnTo>
                    <a:lnTo>
                      <a:pt x="1192" y="960"/>
                    </a:lnTo>
                    <a:lnTo>
                      <a:pt x="1096" y="880"/>
                    </a:lnTo>
                    <a:lnTo>
                      <a:pt x="1104" y="880"/>
                    </a:lnTo>
                    <a:lnTo>
                      <a:pt x="1104" y="872"/>
                    </a:lnTo>
                    <a:lnTo>
                      <a:pt x="1112" y="880"/>
                    </a:lnTo>
                    <a:lnTo>
                      <a:pt x="1112" y="888"/>
                    </a:lnTo>
                    <a:lnTo>
                      <a:pt x="1112" y="896"/>
                    </a:lnTo>
                    <a:lnTo>
                      <a:pt x="1104" y="904"/>
                    </a:lnTo>
                    <a:lnTo>
                      <a:pt x="1104" y="912"/>
                    </a:lnTo>
                    <a:lnTo>
                      <a:pt x="1104" y="920"/>
                    </a:lnTo>
                    <a:lnTo>
                      <a:pt x="1096" y="928"/>
                    </a:lnTo>
                    <a:lnTo>
                      <a:pt x="1096" y="920"/>
                    </a:lnTo>
                    <a:lnTo>
                      <a:pt x="1096" y="912"/>
                    </a:lnTo>
                    <a:lnTo>
                      <a:pt x="1104" y="904"/>
                    </a:lnTo>
                    <a:lnTo>
                      <a:pt x="1096" y="904"/>
                    </a:lnTo>
                    <a:lnTo>
                      <a:pt x="1096" y="896"/>
                    </a:lnTo>
                    <a:lnTo>
                      <a:pt x="1096" y="888"/>
                    </a:lnTo>
                    <a:lnTo>
                      <a:pt x="1104" y="888"/>
                    </a:lnTo>
                    <a:lnTo>
                      <a:pt x="1096" y="880"/>
                    </a:lnTo>
                    <a:lnTo>
                      <a:pt x="1192" y="960"/>
                    </a:lnTo>
                    <a:lnTo>
                      <a:pt x="1088" y="880"/>
                    </a:lnTo>
                    <a:lnTo>
                      <a:pt x="1096" y="880"/>
                    </a:lnTo>
                    <a:lnTo>
                      <a:pt x="1096" y="888"/>
                    </a:lnTo>
                    <a:lnTo>
                      <a:pt x="1088" y="888"/>
                    </a:lnTo>
                    <a:lnTo>
                      <a:pt x="1088" y="880"/>
                    </a:lnTo>
                    <a:lnTo>
                      <a:pt x="1192" y="960"/>
                    </a:lnTo>
                    <a:lnTo>
                      <a:pt x="1112" y="888"/>
                    </a:lnTo>
                    <a:lnTo>
                      <a:pt x="1112" y="880"/>
                    </a:lnTo>
                    <a:lnTo>
                      <a:pt x="1120" y="880"/>
                    </a:lnTo>
                    <a:lnTo>
                      <a:pt x="1128" y="880"/>
                    </a:lnTo>
                    <a:lnTo>
                      <a:pt x="1120" y="872"/>
                    </a:lnTo>
                    <a:lnTo>
                      <a:pt x="1128" y="872"/>
                    </a:lnTo>
                    <a:lnTo>
                      <a:pt x="1120" y="872"/>
                    </a:lnTo>
                    <a:lnTo>
                      <a:pt x="1120" y="864"/>
                    </a:lnTo>
                    <a:lnTo>
                      <a:pt x="1128" y="856"/>
                    </a:lnTo>
                    <a:lnTo>
                      <a:pt x="1128" y="840"/>
                    </a:lnTo>
                    <a:lnTo>
                      <a:pt x="1128" y="832"/>
                    </a:lnTo>
                    <a:lnTo>
                      <a:pt x="1136" y="832"/>
                    </a:lnTo>
                    <a:lnTo>
                      <a:pt x="1136" y="840"/>
                    </a:lnTo>
                    <a:lnTo>
                      <a:pt x="1136" y="848"/>
                    </a:lnTo>
                    <a:lnTo>
                      <a:pt x="1144" y="848"/>
                    </a:lnTo>
                    <a:lnTo>
                      <a:pt x="1144" y="864"/>
                    </a:lnTo>
                    <a:lnTo>
                      <a:pt x="1144" y="872"/>
                    </a:lnTo>
                    <a:lnTo>
                      <a:pt x="1136" y="872"/>
                    </a:lnTo>
                    <a:lnTo>
                      <a:pt x="1136" y="864"/>
                    </a:lnTo>
                    <a:lnTo>
                      <a:pt x="1136" y="848"/>
                    </a:lnTo>
                    <a:lnTo>
                      <a:pt x="1136" y="856"/>
                    </a:lnTo>
                    <a:lnTo>
                      <a:pt x="1136" y="872"/>
                    </a:lnTo>
                    <a:lnTo>
                      <a:pt x="1136" y="880"/>
                    </a:lnTo>
                    <a:lnTo>
                      <a:pt x="1128" y="880"/>
                    </a:lnTo>
                    <a:lnTo>
                      <a:pt x="1128" y="888"/>
                    </a:lnTo>
                    <a:lnTo>
                      <a:pt x="1120" y="888"/>
                    </a:lnTo>
                    <a:lnTo>
                      <a:pt x="1112" y="896"/>
                    </a:lnTo>
                    <a:lnTo>
                      <a:pt x="1112" y="888"/>
                    </a:lnTo>
                    <a:lnTo>
                      <a:pt x="1192" y="960"/>
                    </a:lnTo>
                    <a:lnTo>
                      <a:pt x="1104" y="832"/>
                    </a:lnTo>
                    <a:lnTo>
                      <a:pt x="1112" y="840"/>
                    </a:lnTo>
                    <a:lnTo>
                      <a:pt x="1112" y="848"/>
                    </a:lnTo>
                    <a:lnTo>
                      <a:pt x="1112" y="840"/>
                    </a:lnTo>
                    <a:lnTo>
                      <a:pt x="1120" y="840"/>
                    </a:lnTo>
                    <a:lnTo>
                      <a:pt x="1120" y="848"/>
                    </a:lnTo>
                    <a:lnTo>
                      <a:pt x="1120" y="856"/>
                    </a:lnTo>
                    <a:lnTo>
                      <a:pt x="1112" y="856"/>
                    </a:lnTo>
                    <a:lnTo>
                      <a:pt x="1112" y="848"/>
                    </a:lnTo>
                    <a:lnTo>
                      <a:pt x="1104" y="848"/>
                    </a:lnTo>
                    <a:lnTo>
                      <a:pt x="1112" y="856"/>
                    </a:lnTo>
                    <a:lnTo>
                      <a:pt x="1112" y="864"/>
                    </a:lnTo>
                    <a:lnTo>
                      <a:pt x="1120" y="864"/>
                    </a:lnTo>
                    <a:lnTo>
                      <a:pt x="1112" y="864"/>
                    </a:lnTo>
                    <a:lnTo>
                      <a:pt x="1112" y="872"/>
                    </a:lnTo>
                    <a:lnTo>
                      <a:pt x="1104" y="872"/>
                    </a:lnTo>
                    <a:lnTo>
                      <a:pt x="1104" y="864"/>
                    </a:lnTo>
                    <a:lnTo>
                      <a:pt x="1104" y="856"/>
                    </a:lnTo>
                    <a:lnTo>
                      <a:pt x="1096" y="856"/>
                    </a:lnTo>
                    <a:lnTo>
                      <a:pt x="1104" y="864"/>
                    </a:lnTo>
                    <a:lnTo>
                      <a:pt x="1104" y="872"/>
                    </a:lnTo>
                    <a:lnTo>
                      <a:pt x="1096" y="872"/>
                    </a:lnTo>
                    <a:lnTo>
                      <a:pt x="1088" y="872"/>
                    </a:lnTo>
                    <a:lnTo>
                      <a:pt x="1096" y="864"/>
                    </a:lnTo>
                    <a:lnTo>
                      <a:pt x="1088" y="864"/>
                    </a:lnTo>
                    <a:lnTo>
                      <a:pt x="1096" y="856"/>
                    </a:lnTo>
                    <a:lnTo>
                      <a:pt x="1088" y="848"/>
                    </a:lnTo>
                    <a:lnTo>
                      <a:pt x="1096" y="848"/>
                    </a:lnTo>
                    <a:lnTo>
                      <a:pt x="1096" y="840"/>
                    </a:lnTo>
                    <a:lnTo>
                      <a:pt x="1096" y="832"/>
                    </a:lnTo>
                    <a:lnTo>
                      <a:pt x="1096" y="840"/>
                    </a:lnTo>
                    <a:lnTo>
                      <a:pt x="1104" y="832"/>
                    </a:lnTo>
                    <a:lnTo>
                      <a:pt x="1192" y="960"/>
                    </a:lnTo>
                    <a:lnTo>
                      <a:pt x="368" y="528"/>
                    </a:lnTo>
                    <a:lnTo>
                      <a:pt x="368" y="536"/>
                    </a:lnTo>
                    <a:lnTo>
                      <a:pt x="376" y="544"/>
                    </a:lnTo>
                    <a:lnTo>
                      <a:pt x="368" y="536"/>
                    </a:lnTo>
                    <a:lnTo>
                      <a:pt x="360" y="528"/>
                    </a:lnTo>
                    <a:lnTo>
                      <a:pt x="368" y="528"/>
                    </a:lnTo>
                    <a:lnTo>
                      <a:pt x="1192" y="960"/>
                    </a:lnTo>
                    <a:lnTo>
                      <a:pt x="624" y="448"/>
                    </a:lnTo>
                    <a:lnTo>
                      <a:pt x="616" y="456"/>
                    </a:lnTo>
                    <a:lnTo>
                      <a:pt x="616" y="464"/>
                    </a:lnTo>
                    <a:lnTo>
                      <a:pt x="616" y="456"/>
                    </a:lnTo>
                    <a:lnTo>
                      <a:pt x="608" y="456"/>
                    </a:lnTo>
                    <a:lnTo>
                      <a:pt x="600" y="456"/>
                    </a:lnTo>
                    <a:lnTo>
                      <a:pt x="600" y="448"/>
                    </a:lnTo>
                    <a:lnTo>
                      <a:pt x="616" y="440"/>
                    </a:lnTo>
                    <a:lnTo>
                      <a:pt x="616" y="432"/>
                    </a:lnTo>
                    <a:lnTo>
                      <a:pt x="624" y="440"/>
                    </a:lnTo>
                    <a:lnTo>
                      <a:pt x="624" y="448"/>
                    </a:lnTo>
                    <a:lnTo>
                      <a:pt x="1192" y="960"/>
                    </a:lnTo>
                    <a:lnTo>
                      <a:pt x="624" y="448"/>
                    </a:lnTo>
                    <a:lnTo>
                      <a:pt x="632" y="440"/>
                    </a:lnTo>
                    <a:lnTo>
                      <a:pt x="624" y="440"/>
                    </a:lnTo>
                    <a:lnTo>
                      <a:pt x="624" y="432"/>
                    </a:lnTo>
                    <a:lnTo>
                      <a:pt x="632" y="424"/>
                    </a:lnTo>
                    <a:lnTo>
                      <a:pt x="640" y="432"/>
                    </a:lnTo>
                    <a:lnTo>
                      <a:pt x="640" y="440"/>
                    </a:lnTo>
                    <a:lnTo>
                      <a:pt x="632" y="448"/>
                    </a:lnTo>
                    <a:lnTo>
                      <a:pt x="624" y="448"/>
                    </a:lnTo>
                    <a:lnTo>
                      <a:pt x="1192" y="960"/>
                    </a:lnTo>
                    <a:lnTo>
                      <a:pt x="672" y="416"/>
                    </a:lnTo>
                    <a:lnTo>
                      <a:pt x="680" y="416"/>
                    </a:lnTo>
                    <a:lnTo>
                      <a:pt x="680" y="424"/>
                    </a:lnTo>
                    <a:lnTo>
                      <a:pt x="672" y="416"/>
                    </a:lnTo>
                    <a:lnTo>
                      <a:pt x="1192" y="960"/>
                    </a:lnTo>
                    <a:lnTo>
                      <a:pt x="920" y="656"/>
                    </a:lnTo>
                    <a:lnTo>
                      <a:pt x="928" y="648"/>
                    </a:lnTo>
                    <a:lnTo>
                      <a:pt x="928" y="656"/>
                    </a:lnTo>
                    <a:lnTo>
                      <a:pt x="920" y="656"/>
                    </a:lnTo>
                    <a:lnTo>
                      <a:pt x="1192" y="960"/>
                    </a:lnTo>
                    <a:lnTo>
                      <a:pt x="896" y="728"/>
                    </a:lnTo>
                    <a:lnTo>
                      <a:pt x="904" y="720"/>
                    </a:lnTo>
                    <a:lnTo>
                      <a:pt x="904" y="728"/>
                    </a:lnTo>
                    <a:lnTo>
                      <a:pt x="896" y="728"/>
                    </a:lnTo>
                    <a:lnTo>
                      <a:pt x="1192" y="960"/>
                    </a:lnTo>
                    <a:lnTo>
                      <a:pt x="952" y="712"/>
                    </a:lnTo>
                    <a:lnTo>
                      <a:pt x="960" y="712"/>
                    </a:lnTo>
                    <a:lnTo>
                      <a:pt x="952" y="720"/>
                    </a:lnTo>
                    <a:lnTo>
                      <a:pt x="952" y="712"/>
                    </a:lnTo>
                    <a:lnTo>
                      <a:pt x="1192" y="960"/>
                    </a:lnTo>
                    <a:lnTo>
                      <a:pt x="912" y="664"/>
                    </a:lnTo>
                    <a:lnTo>
                      <a:pt x="912" y="656"/>
                    </a:lnTo>
                    <a:lnTo>
                      <a:pt x="920" y="656"/>
                    </a:lnTo>
                    <a:lnTo>
                      <a:pt x="920" y="664"/>
                    </a:lnTo>
                    <a:lnTo>
                      <a:pt x="912" y="664"/>
                    </a:lnTo>
                    <a:lnTo>
                      <a:pt x="1192" y="960"/>
                    </a:lnTo>
                    <a:lnTo>
                      <a:pt x="920" y="680"/>
                    </a:lnTo>
                    <a:lnTo>
                      <a:pt x="920" y="672"/>
                    </a:lnTo>
                    <a:lnTo>
                      <a:pt x="928" y="672"/>
                    </a:lnTo>
                    <a:lnTo>
                      <a:pt x="928" y="680"/>
                    </a:lnTo>
                    <a:lnTo>
                      <a:pt x="920" y="680"/>
                    </a:lnTo>
                    <a:lnTo>
                      <a:pt x="1192" y="960"/>
                    </a:lnTo>
                    <a:lnTo>
                      <a:pt x="880" y="704"/>
                    </a:lnTo>
                    <a:lnTo>
                      <a:pt x="888" y="704"/>
                    </a:lnTo>
                    <a:lnTo>
                      <a:pt x="888" y="696"/>
                    </a:lnTo>
                    <a:lnTo>
                      <a:pt x="896" y="688"/>
                    </a:lnTo>
                    <a:lnTo>
                      <a:pt x="904" y="688"/>
                    </a:lnTo>
                    <a:lnTo>
                      <a:pt x="904" y="680"/>
                    </a:lnTo>
                    <a:lnTo>
                      <a:pt x="912" y="680"/>
                    </a:lnTo>
                    <a:lnTo>
                      <a:pt x="912" y="688"/>
                    </a:lnTo>
                    <a:lnTo>
                      <a:pt x="904" y="688"/>
                    </a:lnTo>
                    <a:lnTo>
                      <a:pt x="896" y="696"/>
                    </a:lnTo>
                    <a:lnTo>
                      <a:pt x="896" y="704"/>
                    </a:lnTo>
                    <a:lnTo>
                      <a:pt x="888" y="704"/>
                    </a:lnTo>
                    <a:lnTo>
                      <a:pt x="880" y="704"/>
                    </a:lnTo>
                    <a:lnTo>
                      <a:pt x="1192" y="960"/>
                    </a:lnTo>
                    <a:lnTo>
                      <a:pt x="896" y="680"/>
                    </a:lnTo>
                    <a:lnTo>
                      <a:pt x="896" y="672"/>
                    </a:lnTo>
                    <a:lnTo>
                      <a:pt x="904" y="664"/>
                    </a:lnTo>
                    <a:lnTo>
                      <a:pt x="904" y="672"/>
                    </a:lnTo>
                    <a:lnTo>
                      <a:pt x="904" y="680"/>
                    </a:lnTo>
                    <a:lnTo>
                      <a:pt x="896" y="680"/>
                    </a:lnTo>
                    <a:lnTo>
                      <a:pt x="1192" y="960"/>
                    </a:lnTo>
                    <a:lnTo>
                      <a:pt x="896" y="648"/>
                    </a:lnTo>
                    <a:lnTo>
                      <a:pt x="904" y="648"/>
                    </a:lnTo>
                    <a:lnTo>
                      <a:pt x="904" y="656"/>
                    </a:lnTo>
                    <a:lnTo>
                      <a:pt x="896" y="648"/>
                    </a:lnTo>
                    <a:lnTo>
                      <a:pt x="1192" y="960"/>
                    </a:lnTo>
                    <a:lnTo>
                      <a:pt x="600" y="304"/>
                    </a:lnTo>
                    <a:lnTo>
                      <a:pt x="608" y="304"/>
                    </a:lnTo>
                    <a:lnTo>
                      <a:pt x="608" y="312"/>
                    </a:lnTo>
                    <a:lnTo>
                      <a:pt x="600" y="304"/>
                    </a:lnTo>
                    <a:lnTo>
                      <a:pt x="1192" y="960"/>
                    </a:lnTo>
                    <a:lnTo>
                      <a:pt x="512" y="408"/>
                    </a:lnTo>
                    <a:lnTo>
                      <a:pt x="512" y="400"/>
                    </a:lnTo>
                    <a:lnTo>
                      <a:pt x="504" y="392"/>
                    </a:lnTo>
                    <a:lnTo>
                      <a:pt x="504" y="384"/>
                    </a:lnTo>
                    <a:lnTo>
                      <a:pt x="496" y="376"/>
                    </a:lnTo>
                    <a:lnTo>
                      <a:pt x="488" y="376"/>
                    </a:lnTo>
                    <a:lnTo>
                      <a:pt x="488" y="384"/>
                    </a:lnTo>
                    <a:lnTo>
                      <a:pt x="480" y="376"/>
                    </a:lnTo>
                    <a:lnTo>
                      <a:pt x="480" y="368"/>
                    </a:lnTo>
                    <a:lnTo>
                      <a:pt x="488" y="360"/>
                    </a:lnTo>
                    <a:lnTo>
                      <a:pt x="496" y="352"/>
                    </a:lnTo>
                    <a:lnTo>
                      <a:pt x="496" y="360"/>
                    </a:lnTo>
                    <a:lnTo>
                      <a:pt x="504" y="360"/>
                    </a:lnTo>
                    <a:lnTo>
                      <a:pt x="504" y="368"/>
                    </a:lnTo>
                    <a:lnTo>
                      <a:pt x="512" y="368"/>
                    </a:lnTo>
                    <a:lnTo>
                      <a:pt x="520" y="368"/>
                    </a:lnTo>
                    <a:lnTo>
                      <a:pt x="528" y="368"/>
                    </a:lnTo>
                    <a:lnTo>
                      <a:pt x="528" y="376"/>
                    </a:lnTo>
                    <a:lnTo>
                      <a:pt x="520" y="376"/>
                    </a:lnTo>
                    <a:lnTo>
                      <a:pt x="528" y="384"/>
                    </a:lnTo>
                    <a:lnTo>
                      <a:pt x="528" y="392"/>
                    </a:lnTo>
                    <a:lnTo>
                      <a:pt x="536" y="400"/>
                    </a:lnTo>
                    <a:lnTo>
                      <a:pt x="536" y="408"/>
                    </a:lnTo>
                    <a:lnTo>
                      <a:pt x="528" y="400"/>
                    </a:lnTo>
                    <a:lnTo>
                      <a:pt x="528" y="408"/>
                    </a:lnTo>
                    <a:lnTo>
                      <a:pt x="520" y="408"/>
                    </a:lnTo>
                    <a:lnTo>
                      <a:pt x="512" y="416"/>
                    </a:lnTo>
                    <a:lnTo>
                      <a:pt x="512" y="408"/>
                    </a:lnTo>
                    <a:lnTo>
                      <a:pt x="1192" y="960"/>
                    </a:lnTo>
                    <a:lnTo>
                      <a:pt x="472" y="576"/>
                    </a:lnTo>
                    <a:lnTo>
                      <a:pt x="480" y="576"/>
                    </a:lnTo>
                    <a:lnTo>
                      <a:pt x="488" y="576"/>
                    </a:lnTo>
                    <a:lnTo>
                      <a:pt x="496" y="576"/>
                    </a:lnTo>
                    <a:lnTo>
                      <a:pt x="504" y="576"/>
                    </a:lnTo>
                    <a:lnTo>
                      <a:pt x="512" y="576"/>
                    </a:lnTo>
                    <a:lnTo>
                      <a:pt x="504" y="576"/>
                    </a:lnTo>
                    <a:lnTo>
                      <a:pt x="512" y="584"/>
                    </a:lnTo>
                    <a:lnTo>
                      <a:pt x="512" y="592"/>
                    </a:lnTo>
                    <a:lnTo>
                      <a:pt x="504" y="600"/>
                    </a:lnTo>
                    <a:lnTo>
                      <a:pt x="496" y="600"/>
                    </a:lnTo>
                    <a:lnTo>
                      <a:pt x="488" y="592"/>
                    </a:lnTo>
                    <a:lnTo>
                      <a:pt x="480" y="592"/>
                    </a:lnTo>
                    <a:lnTo>
                      <a:pt x="480" y="584"/>
                    </a:lnTo>
                    <a:lnTo>
                      <a:pt x="472" y="576"/>
                    </a:lnTo>
                    <a:lnTo>
                      <a:pt x="1192" y="960"/>
                    </a:lnTo>
                    <a:lnTo>
                      <a:pt x="800" y="656"/>
                    </a:lnTo>
                    <a:lnTo>
                      <a:pt x="808" y="648"/>
                    </a:lnTo>
                    <a:lnTo>
                      <a:pt x="808" y="656"/>
                    </a:lnTo>
                    <a:lnTo>
                      <a:pt x="800" y="656"/>
                    </a:lnTo>
                    <a:lnTo>
                      <a:pt x="1192" y="960"/>
                    </a:lnTo>
                    <a:lnTo>
                      <a:pt x="728" y="752"/>
                    </a:lnTo>
                    <a:lnTo>
                      <a:pt x="736" y="752"/>
                    </a:lnTo>
                    <a:lnTo>
                      <a:pt x="736" y="744"/>
                    </a:lnTo>
                    <a:lnTo>
                      <a:pt x="736" y="752"/>
                    </a:lnTo>
                    <a:lnTo>
                      <a:pt x="744" y="744"/>
                    </a:lnTo>
                    <a:lnTo>
                      <a:pt x="736" y="744"/>
                    </a:lnTo>
                    <a:lnTo>
                      <a:pt x="744" y="736"/>
                    </a:lnTo>
                    <a:lnTo>
                      <a:pt x="752" y="736"/>
                    </a:lnTo>
                    <a:lnTo>
                      <a:pt x="752" y="744"/>
                    </a:lnTo>
                    <a:lnTo>
                      <a:pt x="760" y="744"/>
                    </a:lnTo>
                    <a:lnTo>
                      <a:pt x="752" y="744"/>
                    </a:lnTo>
                    <a:lnTo>
                      <a:pt x="752" y="752"/>
                    </a:lnTo>
                    <a:lnTo>
                      <a:pt x="760" y="752"/>
                    </a:lnTo>
                    <a:lnTo>
                      <a:pt x="752" y="752"/>
                    </a:lnTo>
                    <a:lnTo>
                      <a:pt x="744" y="760"/>
                    </a:lnTo>
                    <a:lnTo>
                      <a:pt x="744" y="752"/>
                    </a:lnTo>
                    <a:lnTo>
                      <a:pt x="736" y="760"/>
                    </a:lnTo>
                    <a:lnTo>
                      <a:pt x="728" y="752"/>
                    </a:lnTo>
                    <a:lnTo>
                      <a:pt x="1192" y="960"/>
                    </a:lnTo>
                    <a:lnTo>
                      <a:pt x="680" y="800"/>
                    </a:lnTo>
                    <a:lnTo>
                      <a:pt x="680" y="808"/>
                    </a:lnTo>
                    <a:lnTo>
                      <a:pt x="672" y="808"/>
                    </a:lnTo>
                    <a:lnTo>
                      <a:pt x="672" y="800"/>
                    </a:lnTo>
                    <a:lnTo>
                      <a:pt x="672" y="792"/>
                    </a:lnTo>
                    <a:lnTo>
                      <a:pt x="672" y="784"/>
                    </a:lnTo>
                    <a:lnTo>
                      <a:pt x="680" y="776"/>
                    </a:lnTo>
                    <a:lnTo>
                      <a:pt x="688" y="768"/>
                    </a:lnTo>
                    <a:lnTo>
                      <a:pt x="696" y="768"/>
                    </a:lnTo>
                    <a:lnTo>
                      <a:pt x="696" y="784"/>
                    </a:lnTo>
                    <a:lnTo>
                      <a:pt x="704" y="784"/>
                    </a:lnTo>
                    <a:lnTo>
                      <a:pt x="704" y="776"/>
                    </a:lnTo>
                    <a:lnTo>
                      <a:pt x="704" y="768"/>
                    </a:lnTo>
                    <a:lnTo>
                      <a:pt x="712" y="776"/>
                    </a:lnTo>
                    <a:lnTo>
                      <a:pt x="712" y="768"/>
                    </a:lnTo>
                    <a:lnTo>
                      <a:pt x="704" y="768"/>
                    </a:lnTo>
                    <a:lnTo>
                      <a:pt x="712" y="760"/>
                    </a:lnTo>
                    <a:lnTo>
                      <a:pt x="712" y="768"/>
                    </a:lnTo>
                    <a:lnTo>
                      <a:pt x="712" y="776"/>
                    </a:lnTo>
                    <a:lnTo>
                      <a:pt x="720" y="768"/>
                    </a:lnTo>
                    <a:lnTo>
                      <a:pt x="720" y="760"/>
                    </a:lnTo>
                    <a:lnTo>
                      <a:pt x="728" y="760"/>
                    </a:lnTo>
                    <a:lnTo>
                      <a:pt x="728" y="768"/>
                    </a:lnTo>
                    <a:lnTo>
                      <a:pt x="736" y="768"/>
                    </a:lnTo>
                    <a:lnTo>
                      <a:pt x="736" y="760"/>
                    </a:lnTo>
                    <a:lnTo>
                      <a:pt x="744" y="768"/>
                    </a:lnTo>
                    <a:lnTo>
                      <a:pt x="736" y="768"/>
                    </a:lnTo>
                    <a:lnTo>
                      <a:pt x="736" y="776"/>
                    </a:lnTo>
                    <a:lnTo>
                      <a:pt x="736" y="784"/>
                    </a:lnTo>
                    <a:lnTo>
                      <a:pt x="728" y="784"/>
                    </a:lnTo>
                    <a:lnTo>
                      <a:pt x="720" y="784"/>
                    </a:lnTo>
                    <a:lnTo>
                      <a:pt x="728" y="792"/>
                    </a:lnTo>
                    <a:lnTo>
                      <a:pt x="720" y="792"/>
                    </a:lnTo>
                    <a:lnTo>
                      <a:pt x="712" y="792"/>
                    </a:lnTo>
                    <a:lnTo>
                      <a:pt x="704" y="792"/>
                    </a:lnTo>
                    <a:lnTo>
                      <a:pt x="712" y="792"/>
                    </a:lnTo>
                    <a:lnTo>
                      <a:pt x="712" y="800"/>
                    </a:lnTo>
                    <a:lnTo>
                      <a:pt x="704" y="800"/>
                    </a:lnTo>
                    <a:lnTo>
                      <a:pt x="696" y="800"/>
                    </a:lnTo>
                    <a:lnTo>
                      <a:pt x="688" y="808"/>
                    </a:lnTo>
                    <a:lnTo>
                      <a:pt x="696" y="808"/>
                    </a:lnTo>
                    <a:lnTo>
                      <a:pt x="688" y="808"/>
                    </a:lnTo>
                    <a:lnTo>
                      <a:pt x="688" y="816"/>
                    </a:lnTo>
                    <a:lnTo>
                      <a:pt x="680" y="816"/>
                    </a:lnTo>
                    <a:lnTo>
                      <a:pt x="688" y="808"/>
                    </a:lnTo>
                    <a:lnTo>
                      <a:pt x="688" y="800"/>
                    </a:lnTo>
                    <a:lnTo>
                      <a:pt x="680" y="800"/>
                    </a:lnTo>
                    <a:lnTo>
                      <a:pt x="672" y="800"/>
                    </a:lnTo>
                    <a:lnTo>
                      <a:pt x="680" y="800"/>
                    </a:lnTo>
                    <a:lnTo>
                      <a:pt x="1192" y="960"/>
                    </a:lnTo>
                    <a:lnTo>
                      <a:pt x="656" y="832"/>
                    </a:lnTo>
                    <a:lnTo>
                      <a:pt x="656" y="824"/>
                    </a:lnTo>
                    <a:lnTo>
                      <a:pt x="672" y="816"/>
                    </a:lnTo>
                    <a:lnTo>
                      <a:pt x="656" y="832"/>
                    </a:lnTo>
                    <a:lnTo>
                      <a:pt x="1192" y="960"/>
                    </a:lnTo>
                    <a:lnTo>
                      <a:pt x="528" y="872"/>
                    </a:lnTo>
                    <a:lnTo>
                      <a:pt x="528" y="880"/>
                    </a:lnTo>
                    <a:lnTo>
                      <a:pt x="520" y="880"/>
                    </a:lnTo>
                    <a:lnTo>
                      <a:pt x="528" y="872"/>
                    </a:lnTo>
                    <a:lnTo>
                      <a:pt x="1192" y="960"/>
                    </a:lnTo>
                    <a:lnTo>
                      <a:pt x="504" y="880"/>
                    </a:lnTo>
                    <a:lnTo>
                      <a:pt x="504" y="872"/>
                    </a:lnTo>
                    <a:lnTo>
                      <a:pt x="512" y="872"/>
                    </a:lnTo>
                    <a:lnTo>
                      <a:pt x="512" y="864"/>
                    </a:lnTo>
                    <a:lnTo>
                      <a:pt x="512" y="872"/>
                    </a:lnTo>
                    <a:lnTo>
                      <a:pt x="504" y="880"/>
                    </a:lnTo>
                    <a:lnTo>
                      <a:pt x="1192" y="960"/>
                    </a:lnTo>
                    <a:lnTo>
                      <a:pt x="496" y="864"/>
                    </a:lnTo>
                    <a:lnTo>
                      <a:pt x="488" y="864"/>
                    </a:lnTo>
                    <a:lnTo>
                      <a:pt x="496" y="856"/>
                    </a:lnTo>
                    <a:lnTo>
                      <a:pt x="496" y="864"/>
                    </a:lnTo>
                    <a:lnTo>
                      <a:pt x="1192" y="960"/>
                    </a:lnTo>
                    <a:lnTo>
                      <a:pt x="456" y="872"/>
                    </a:lnTo>
                    <a:lnTo>
                      <a:pt x="448" y="872"/>
                    </a:lnTo>
                    <a:lnTo>
                      <a:pt x="456" y="864"/>
                    </a:lnTo>
                    <a:lnTo>
                      <a:pt x="456" y="872"/>
                    </a:lnTo>
                    <a:lnTo>
                      <a:pt x="1192" y="960"/>
                    </a:lnTo>
                    <a:lnTo>
                      <a:pt x="432" y="888"/>
                    </a:lnTo>
                    <a:lnTo>
                      <a:pt x="440" y="888"/>
                    </a:lnTo>
                    <a:lnTo>
                      <a:pt x="440" y="896"/>
                    </a:lnTo>
                    <a:lnTo>
                      <a:pt x="432" y="888"/>
                    </a:lnTo>
                    <a:lnTo>
                      <a:pt x="1192" y="960"/>
                    </a:lnTo>
                    <a:lnTo>
                      <a:pt x="0" y="968"/>
                    </a:lnTo>
                    <a:lnTo>
                      <a:pt x="0" y="976"/>
                    </a:lnTo>
                    <a:lnTo>
                      <a:pt x="8" y="976"/>
                    </a:lnTo>
                    <a:lnTo>
                      <a:pt x="0" y="968"/>
                    </a:lnTo>
                    <a:lnTo>
                      <a:pt x="1192" y="960"/>
                    </a:lnTo>
                    <a:lnTo>
                      <a:pt x="8" y="960"/>
                    </a:lnTo>
                    <a:lnTo>
                      <a:pt x="0" y="960"/>
                    </a:lnTo>
                    <a:lnTo>
                      <a:pt x="8" y="968"/>
                    </a:lnTo>
                    <a:lnTo>
                      <a:pt x="8" y="960"/>
                    </a:lnTo>
                    <a:lnTo>
                      <a:pt x="1192" y="960"/>
                    </a:lnTo>
                    <a:lnTo>
                      <a:pt x="40" y="952"/>
                    </a:lnTo>
                    <a:lnTo>
                      <a:pt x="40" y="944"/>
                    </a:lnTo>
                    <a:lnTo>
                      <a:pt x="32" y="944"/>
                    </a:lnTo>
                    <a:lnTo>
                      <a:pt x="32" y="952"/>
                    </a:lnTo>
                    <a:lnTo>
                      <a:pt x="40" y="952"/>
                    </a:lnTo>
                    <a:lnTo>
                      <a:pt x="32" y="952"/>
                    </a:lnTo>
                    <a:lnTo>
                      <a:pt x="32" y="960"/>
                    </a:lnTo>
                    <a:lnTo>
                      <a:pt x="40" y="960"/>
                    </a:lnTo>
                    <a:lnTo>
                      <a:pt x="40" y="952"/>
                    </a:lnTo>
                    <a:lnTo>
                      <a:pt x="1192" y="960"/>
                    </a:lnTo>
                    <a:lnTo>
                      <a:pt x="48" y="960"/>
                    </a:lnTo>
                    <a:lnTo>
                      <a:pt x="56" y="960"/>
                    </a:lnTo>
                    <a:lnTo>
                      <a:pt x="56" y="952"/>
                    </a:lnTo>
                    <a:lnTo>
                      <a:pt x="48" y="952"/>
                    </a:lnTo>
                    <a:lnTo>
                      <a:pt x="48" y="960"/>
                    </a:lnTo>
                    <a:lnTo>
                      <a:pt x="1192" y="960"/>
                    </a:lnTo>
                    <a:lnTo>
                      <a:pt x="72" y="960"/>
                    </a:lnTo>
                    <a:lnTo>
                      <a:pt x="72" y="952"/>
                    </a:lnTo>
                    <a:lnTo>
                      <a:pt x="64" y="952"/>
                    </a:lnTo>
                    <a:lnTo>
                      <a:pt x="64" y="960"/>
                    </a:lnTo>
                    <a:lnTo>
                      <a:pt x="72" y="960"/>
                    </a:lnTo>
                    <a:lnTo>
                      <a:pt x="1192" y="960"/>
                    </a:lnTo>
                    <a:lnTo>
                      <a:pt x="128" y="952"/>
                    </a:lnTo>
                    <a:lnTo>
                      <a:pt x="136" y="952"/>
                    </a:lnTo>
                    <a:lnTo>
                      <a:pt x="136" y="944"/>
                    </a:lnTo>
                    <a:lnTo>
                      <a:pt x="128" y="944"/>
                    </a:lnTo>
                    <a:lnTo>
                      <a:pt x="128" y="952"/>
                    </a:lnTo>
                    <a:lnTo>
                      <a:pt x="120" y="952"/>
                    </a:lnTo>
                    <a:lnTo>
                      <a:pt x="112" y="952"/>
                    </a:lnTo>
                    <a:lnTo>
                      <a:pt x="104" y="952"/>
                    </a:lnTo>
                    <a:lnTo>
                      <a:pt x="112" y="960"/>
                    </a:lnTo>
                    <a:lnTo>
                      <a:pt x="120" y="960"/>
                    </a:lnTo>
                    <a:lnTo>
                      <a:pt x="128" y="952"/>
                    </a:lnTo>
                    <a:lnTo>
                      <a:pt x="1192" y="960"/>
                    </a:lnTo>
                    <a:lnTo>
                      <a:pt x="136" y="960"/>
                    </a:lnTo>
                    <a:lnTo>
                      <a:pt x="152" y="960"/>
                    </a:lnTo>
                    <a:lnTo>
                      <a:pt x="160" y="960"/>
                    </a:lnTo>
                    <a:lnTo>
                      <a:pt x="152" y="960"/>
                    </a:lnTo>
                    <a:lnTo>
                      <a:pt x="144" y="960"/>
                    </a:lnTo>
                    <a:lnTo>
                      <a:pt x="136" y="960"/>
                    </a:lnTo>
                    <a:lnTo>
                      <a:pt x="1192" y="960"/>
                    </a:lnTo>
                    <a:lnTo>
                      <a:pt x="208" y="952"/>
                    </a:lnTo>
                    <a:lnTo>
                      <a:pt x="208" y="944"/>
                    </a:lnTo>
                    <a:lnTo>
                      <a:pt x="200" y="952"/>
                    </a:lnTo>
                    <a:lnTo>
                      <a:pt x="208" y="952"/>
                    </a:lnTo>
                    <a:lnTo>
                      <a:pt x="1192" y="960"/>
                    </a:lnTo>
                    <a:lnTo>
                      <a:pt x="224" y="944"/>
                    </a:lnTo>
                    <a:lnTo>
                      <a:pt x="224" y="936"/>
                    </a:lnTo>
                    <a:lnTo>
                      <a:pt x="216" y="944"/>
                    </a:lnTo>
                    <a:lnTo>
                      <a:pt x="224" y="944"/>
                    </a:lnTo>
                    <a:lnTo>
                      <a:pt x="1192" y="960"/>
                    </a:lnTo>
                    <a:lnTo>
                      <a:pt x="240" y="944"/>
                    </a:lnTo>
                    <a:lnTo>
                      <a:pt x="232" y="936"/>
                    </a:lnTo>
                    <a:lnTo>
                      <a:pt x="232" y="944"/>
                    </a:lnTo>
                    <a:lnTo>
                      <a:pt x="240" y="944"/>
                    </a:lnTo>
                    <a:lnTo>
                      <a:pt x="1192" y="960"/>
                    </a:lnTo>
                    <a:lnTo>
                      <a:pt x="240" y="936"/>
                    </a:lnTo>
                    <a:lnTo>
                      <a:pt x="240" y="928"/>
                    </a:lnTo>
                    <a:lnTo>
                      <a:pt x="232" y="936"/>
                    </a:lnTo>
                    <a:lnTo>
                      <a:pt x="240" y="936"/>
                    </a:lnTo>
                    <a:lnTo>
                      <a:pt x="1192" y="960"/>
                    </a:lnTo>
                    <a:lnTo>
                      <a:pt x="296" y="912"/>
                    </a:lnTo>
                    <a:lnTo>
                      <a:pt x="304" y="920"/>
                    </a:lnTo>
                    <a:lnTo>
                      <a:pt x="296" y="920"/>
                    </a:lnTo>
                    <a:lnTo>
                      <a:pt x="288" y="928"/>
                    </a:lnTo>
                    <a:lnTo>
                      <a:pt x="280" y="936"/>
                    </a:lnTo>
                    <a:lnTo>
                      <a:pt x="272" y="936"/>
                    </a:lnTo>
                    <a:lnTo>
                      <a:pt x="264" y="944"/>
                    </a:lnTo>
                    <a:lnTo>
                      <a:pt x="256" y="944"/>
                    </a:lnTo>
                    <a:lnTo>
                      <a:pt x="264" y="936"/>
                    </a:lnTo>
                    <a:lnTo>
                      <a:pt x="272" y="928"/>
                    </a:lnTo>
                    <a:lnTo>
                      <a:pt x="280" y="920"/>
                    </a:lnTo>
                    <a:lnTo>
                      <a:pt x="288" y="912"/>
                    </a:lnTo>
                    <a:lnTo>
                      <a:pt x="296" y="912"/>
                    </a:lnTo>
                    <a:lnTo>
                      <a:pt x="1192" y="960"/>
                    </a:lnTo>
                    <a:lnTo>
                      <a:pt x="336" y="896"/>
                    </a:lnTo>
                    <a:lnTo>
                      <a:pt x="328" y="896"/>
                    </a:lnTo>
                    <a:lnTo>
                      <a:pt x="328" y="904"/>
                    </a:lnTo>
                    <a:lnTo>
                      <a:pt x="336" y="904"/>
                    </a:lnTo>
                    <a:lnTo>
                      <a:pt x="328" y="904"/>
                    </a:lnTo>
                    <a:lnTo>
                      <a:pt x="320" y="912"/>
                    </a:lnTo>
                    <a:lnTo>
                      <a:pt x="312" y="920"/>
                    </a:lnTo>
                    <a:lnTo>
                      <a:pt x="304" y="920"/>
                    </a:lnTo>
                    <a:lnTo>
                      <a:pt x="296" y="920"/>
                    </a:lnTo>
                    <a:lnTo>
                      <a:pt x="304" y="928"/>
                    </a:lnTo>
                    <a:lnTo>
                      <a:pt x="312" y="928"/>
                    </a:lnTo>
                    <a:lnTo>
                      <a:pt x="320" y="920"/>
                    </a:lnTo>
                    <a:lnTo>
                      <a:pt x="328" y="920"/>
                    </a:lnTo>
                    <a:lnTo>
                      <a:pt x="328" y="912"/>
                    </a:lnTo>
                    <a:lnTo>
                      <a:pt x="336" y="920"/>
                    </a:lnTo>
                    <a:lnTo>
                      <a:pt x="336" y="912"/>
                    </a:lnTo>
                    <a:lnTo>
                      <a:pt x="344" y="912"/>
                    </a:lnTo>
                    <a:lnTo>
                      <a:pt x="344" y="904"/>
                    </a:lnTo>
                    <a:lnTo>
                      <a:pt x="344" y="896"/>
                    </a:lnTo>
                    <a:lnTo>
                      <a:pt x="336" y="896"/>
                    </a:lnTo>
                    <a:lnTo>
                      <a:pt x="1192" y="960"/>
                    </a:lnTo>
                    <a:lnTo>
                      <a:pt x="360" y="888"/>
                    </a:lnTo>
                    <a:lnTo>
                      <a:pt x="352" y="888"/>
                    </a:lnTo>
                    <a:lnTo>
                      <a:pt x="352" y="896"/>
                    </a:lnTo>
                    <a:lnTo>
                      <a:pt x="360" y="896"/>
                    </a:lnTo>
                    <a:lnTo>
                      <a:pt x="360" y="888"/>
                    </a:lnTo>
                    <a:lnTo>
                      <a:pt x="1192" y="960"/>
                    </a:lnTo>
                    <a:lnTo>
                      <a:pt x="576" y="688"/>
                    </a:lnTo>
                    <a:lnTo>
                      <a:pt x="576" y="680"/>
                    </a:lnTo>
                    <a:lnTo>
                      <a:pt x="584" y="680"/>
                    </a:lnTo>
                    <a:lnTo>
                      <a:pt x="576" y="688"/>
                    </a:lnTo>
                    <a:lnTo>
                      <a:pt x="1192" y="960"/>
                    </a:lnTo>
                    <a:lnTo>
                      <a:pt x="384" y="880"/>
                    </a:lnTo>
                    <a:lnTo>
                      <a:pt x="392" y="872"/>
                    </a:lnTo>
                    <a:lnTo>
                      <a:pt x="400" y="872"/>
                    </a:lnTo>
                    <a:lnTo>
                      <a:pt x="400" y="864"/>
                    </a:lnTo>
                    <a:lnTo>
                      <a:pt x="400" y="856"/>
                    </a:lnTo>
                    <a:lnTo>
                      <a:pt x="408" y="856"/>
                    </a:lnTo>
                    <a:lnTo>
                      <a:pt x="408" y="864"/>
                    </a:lnTo>
                    <a:lnTo>
                      <a:pt x="416" y="864"/>
                    </a:lnTo>
                    <a:lnTo>
                      <a:pt x="424" y="864"/>
                    </a:lnTo>
                    <a:lnTo>
                      <a:pt x="424" y="856"/>
                    </a:lnTo>
                    <a:lnTo>
                      <a:pt x="432" y="856"/>
                    </a:lnTo>
                    <a:lnTo>
                      <a:pt x="432" y="864"/>
                    </a:lnTo>
                    <a:lnTo>
                      <a:pt x="432" y="872"/>
                    </a:lnTo>
                    <a:lnTo>
                      <a:pt x="424" y="880"/>
                    </a:lnTo>
                    <a:lnTo>
                      <a:pt x="416" y="880"/>
                    </a:lnTo>
                    <a:lnTo>
                      <a:pt x="408" y="880"/>
                    </a:lnTo>
                    <a:lnTo>
                      <a:pt x="400" y="880"/>
                    </a:lnTo>
                    <a:lnTo>
                      <a:pt x="392" y="888"/>
                    </a:lnTo>
                    <a:lnTo>
                      <a:pt x="392" y="880"/>
                    </a:lnTo>
                    <a:lnTo>
                      <a:pt x="384" y="880"/>
                    </a:lnTo>
                    <a:lnTo>
                      <a:pt x="1192" y="960"/>
                    </a:lnTo>
                    <a:close/>
                  </a:path>
                </a:pathLst>
              </a:custGeom>
              <a:grpFill/>
              <a:ln w="9525">
                <a:noFill/>
                <a:round/>
                <a:headEnd/>
                <a:tailEnd/>
              </a:ln>
            </p:spPr>
            <p:txBody>
              <a:bodyPr/>
              <a:lstStyle/>
              <a:p>
                <a:endParaRPr lang="en-US">
                  <a:solidFill>
                    <a:srgbClr val="000000"/>
                  </a:solidFill>
                </a:endParaRPr>
              </a:p>
            </p:txBody>
          </p:sp>
          <p:sp>
            <p:nvSpPr>
              <p:cNvPr id="1212" name="Freeform 227"/>
              <p:cNvSpPr>
                <a:spLocks/>
              </p:cNvSpPr>
              <p:nvPr/>
            </p:nvSpPr>
            <p:spPr bwMode="auto">
              <a:xfrm>
                <a:off x="2188029" y="1721454"/>
                <a:ext cx="1678214" cy="1905000"/>
              </a:xfrm>
              <a:custGeom>
                <a:avLst/>
                <a:gdLst>
                  <a:gd name="T0" fmla="*/ 736 w 888"/>
                  <a:gd name="T1" fmla="*/ 896 h 1008"/>
                  <a:gd name="T2" fmla="*/ 720 w 888"/>
                  <a:gd name="T3" fmla="*/ 768 h 1008"/>
                  <a:gd name="T4" fmla="*/ 640 w 888"/>
                  <a:gd name="T5" fmla="*/ 728 h 1008"/>
                  <a:gd name="T6" fmla="*/ 840 w 888"/>
                  <a:gd name="T7" fmla="*/ 160 h 1008"/>
                  <a:gd name="T8" fmla="*/ 792 w 888"/>
                  <a:gd name="T9" fmla="*/ 136 h 1008"/>
                  <a:gd name="T10" fmla="*/ 760 w 888"/>
                  <a:gd name="T11" fmla="*/ 112 h 1008"/>
                  <a:gd name="T12" fmla="*/ 728 w 888"/>
                  <a:gd name="T13" fmla="*/ 80 h 1008"/>
                  <a:gd name="T14" fmla="*/ 688 w 888"/>
                  <a:gd name="T15" fmla="*/ 40 h 1008"/>
                  <a:gd name="T16" fmla="*/ 656 w 888"/>
                  <a:gd name="T17" fmla="*/ 32 h 1008"/>
                  <a:gd name="T18" fmla="*/ 648 w 888"/>
                  <a:gd name="T19" fmla="*/ 8 h 1008"/>
                  <a:gd name="T20" fmla="*/ 576 w 888"/>
                  <a:gd name="T21" fmla="*/ 24 h 1008"/>
                  <a:gd name="T22" fmla="*/ 536 w 888"/>
                  <a:gd name="T23" fmla="*/ 40 h 1008"/>
                  <a:gd name="T24" fmla="*/ 400 w 888"/>
                  <a:gd name="T25" fmla="*/ 96 h 1008"/>
                  <a:gd name="T26" fmla="*/ 360 w 888"/>
                  <a:gd name="T27" fmla="*/ 192 h 1008"/>
                  <a:gd name="T28" fmla="*/ 392 w 888"/>
                  <a:gd name="T29" fmla="*/ 256 h 1008"/>
                  <a:gd name="T30" fmla="*/ 368 w 888"/>
                  <a:gd name="T31" fmla="*/ 240 h 1008"/>
                  <a:gd name="T32" fmla="*/ 352 w 888"/>
                  <a:gd name="T33" fmla="*/ 280 h 1008"/>
                  <a:gd name="T34" fmla="*/ 304 w 888"/>
                  <a:gd name="T35" fmla="*/ 240 h 1008"/>
                  <a:gd name="T36" fmla="*/ 208 w 888"/>
                  <a:gd name="T37" fmla="*/ 264 h 1008"/>
                  <a:gd name="T38" fmla="*/ 232 w 888"/>
                  <a:gd name="T39" fmla="*/ 312 h 1008"/>
                  <a:gd name="T40" fmla="*/ 232 w 888"/>
                  <a:gd name="T41" fmla="*/ 360 h 1008"/>
                  <a:gd name="T42" fmla="*/ 304 w 888"/>
                  <a:gd name="T43" fmla="*/ 360 h 1008"/>
                  <a:gd name="T44" fmla="*/ 296 w 888"/>
                  <a:gd name="T45" fmla="*/ 400 h 1008"/>
                  <a:gd name="T46" fmla="*/ 224 w 888"/>
                  <a:gd name="T47" fmla="*/ 448 h 1008"/>
                  <a:gd name="T48" fmla="*/ 152 w 888"/>
                  <a:gd name="T49" fmla="*/ 472 h 1008"/>
                  <a:gd name="T50" fmla="*/ 112 w 888"/>
                  <a:gd name="T51" fmla="*/ 544 h 1008"/>
                  <a:gd name="T52" fmla="*/ 136 w 888"/>
                  <a:gd name="T53" fmla="*/ 560 h 1008"/>
                  <a:gd name="T54" fmla="*/ 104 w 888"/>
                  <a:gd name="T55" fmla="*/ 584 h 1008"/>
                  <a:gd name="T56" fmla="*/ 160 w 888"/>
                  <a:gd name="T57" fmla="*/ 584 h 1008"/>
                  <a:gd name="T58" fmla="*/ 152 w 888"/>
                  <a:gd name="T59" fmla="*/ 640 h 1008"/>
                  <a:gd name="T60" fmla="*/ 152 w 888"/>
                  <a:gd name="T61" fmla="*/ 680 h 1008"/>
                  <a:gd name="T62" fmla="*/ 184 w 888"/>
                  <a:gd name="T63" fmla="*/ 704 h 1008"/>
                  <a:gd name="T64" fmla="*/ 240 w 888"/>
                  <a:gd name="T65" fmla="*/ 688 h 1008"/>
                  <a:gd name="T66" fmla="*/ 184 w 888"/>
                  <a:gd name="T67" fmla="*/ 768 h 1008"/>
                  <a:gd name="T68" fmla="*/ 128 w 888"/>
                  <a:gd name="T69" fmla="*/ 800 h 1008"/>
                  <a:gd name="T70" fmla="*/ 56 w 888"/>
                  <a:gd name="T71" fmla="*/ 824 h 1008"/>
                  <a:gd name="T72" fmla="*/ 16 w 888"/>
                  <a:gd name="T73" fmla="*/ 864 h 1008"/>
                  <a:gd name="T74" fmla="*/ 64 w 888"/>
                  <a:gd name="T75" fmla="*/ 848 h 1008"/>
                  <a:gd name="T76" fmla="*/ 120 w 888"/>
                  <a:gd name="T77" fmla="*/ 840 h 1008"/>
                  <a:gd name="T78" fmla="*/ 160 w 888"/>
                  <a:gd name="T79" fmla="*/ 816 h 1008"/>
                  <a:gd name="T80" fmla="*/ 216 w 888"/>
                  <a:gd name="T81" fmla="*/ 768 h 1008"/>
                  <a:gd name="T82" fmla="*/ 280 w 888"/>
                  <a:gd name="T83" fmla="*/ 736 h 1008"/>
                  <a:gd name="T84" fmla="*/ 304 w 888"/>
                  <a:gd name="T85" fmla="*/ 688 h 1008"/>
                  <a:gd name="T86" fmla="*/ 344 w 888"/>
                  <a:gd name="T87" fmla="*/ 648 h 1008"/>
                  <a:gd name="T88" fmla="*/ 432 w 888"/>
                  <a:gd name="T89" fmla="*/ 608 h 1008"/>
                  <a:gd name="T90" fmla="*/ 416 w 888"/>
                  <a:gd name="T91" fmla="*/ 632 h 1008"/>
                  <a:gd name="T92" fmla="*/ 376 w 888"/>
                  <a:gd name="T93" fmla="*/ 696 h 1008"/>
                  <a:gd name="T94" fmla="*/ 368 w 888"/>
                  <a:gd name="T95" fmla="*/ 720 h 1008"/>
                  <a:gd name="T96" fmla="*/ 416 w 888"/>
                  <a:gd name="T97" fmla="*/ 688 h 1008"/>
                  <a:gd name="T98" fmla="*/ 456 w 888"/>
                  <a:gd name="T99" fmla="*/ 656 h 1008"/>
                  <a:gd name="T100" fmla="*/ 480 w 888"/>
                  <a:gd name="T101" fmla="*/ 656 h 1008"/>
                  <a:gd name="T102" fmla="*/ 512 w 888"/>
                  <a:gd name="T103" fmla="*/ 656 h 1008"/>
                  <a:gd name="T104" fmla="*/ 536 w 888"/>
                  <a:gd name="T105" fmla="*/ 688 h 1008"/>
                  <a:gd name="T106" fmla="*/ 568 w 888"/>
                  <a:gd name="T107" fmla="*/ 712 h 1008"/>
                  <a:gd name="T108" fmla="*/ 624 w 888"/>
                  <a:gd name="T109" fmla="*/ 736 h 1008"/>
                  <a:gd name="T110" fmla="*/ 648 w 888"/>
                  <a:gd name="T111" fmla="*/ 768 h 1008"/>
                  <a:gd name="T112" fmla="*/ 664 w 888"/>
                  <a:gd name="T113" fmla="*/ 808 h 1008"/>
                  <a:gd name="T114" fmla="*/ 696 w 888"/>
                  <a:gd name="T115" fmla="*/ 840 h 1008"/>
                  <a:gd name="T116" fmla="*/ 704 w 888"/>
                  <a:gd name="T117" fmla="*/ 824 h 1008"/>
                  <a:gd name="T118" fmla="*/ 712 w 888"/>
                  <a:gd name="T119" fmla="*/ 872 h 1008"/>
                  <a:gd name="T120" fmla="*/ 720 w 888"/>
                  <a:gd name="T121" fmla="*/ 928 h 1008"/>
                  <a:gd name="T122" fmla="*/ 744 w 888"/>
                  <a:gd name="T123" fmla="*/ 952 h 1008"/>
                  <a:gd name="T124" fmla="*/ 728 w 888"/>
                  <a:gd name="T12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8" h="1008">
                    <a:moveTo>
                      <a:pt x="760" y="960"/>
                    </a:moveTo>
                    <a:lnTo>
                      <a:pt x="760" y="952"/>
                    </a:lnTo>
                    <a:lnTo>
                      <a:pt x="760" y="944"/>
                    </a:lnTo>
                    <a:lnTo>
                      <a:pt x="752" y="936"/>
                    </a:lnTo>
                    <a:lnTo>
                      <a:pt x="744" y="936"/>
                    </a:lnTo>
                    <a:lnTo>
                      <a:pt x="744" y="928"/>
                    </a:lnTo>
                    <a:lnTo>
                      <a:pt x="744" y="920"/>
                    </a:lnTo>
                    <a:lnTo>
                      <a:pt x="736" y="920"/>
                    </a:lnTo>
                    <a:lnTo>
                      <a:pt x="736" y="912"/>
                    </a:lnTo>
                    <a:lnTo>
                      <a:pt x="728" y="912"/>
                    </a:lnTo>
                    <a:lnTo>
                      <a:pt x="736" y="904"/>
                    </a:lnTo>
                    <a:lnTo>
                      <a:pt x="728" y="904"/>
                    </a:lnTo>
                    <a:lnTo>
                      <a:pt x="728" y="896"/>
                    </a:lnTo>
                    <a:lnTo>
                      <a:pt x="736" y="896"/>
                    </a:lnTo>
                    <a:lnTo>
                      <a:pt x="728" y="880"/>
                    </a:lnTo>
                    <a:lnTo>
                      <a:pt x="728" y="864"/>
                    </a:lnTo>
                    <a:lnTo>
                      <a:pt x="736" y="848"/>
                    </a:lnTo>
                    <a:lnTo>
                      <a:pt x="736" y="840"/>
                    </a:lnTo>
                    <a:lnTo>
                      <a:pt x="728" y="840"/>
                    </a:lnTo>
                    <a:lnTo>
                      <a:pt x="736" y="832"/>
                    </a:lnTo>
                    <a:lnTo>
                      <a:pt x="728" y="824"/>
                    </a:lnTo>
                    <a:lnTo>
                      <a:pt x="728" y="816"/>
                    </a:lnTo>
                    <a:lnTo>
                      <a:pt x="728" y="808"/>
                    </a:lnTo>
                    <a:lnTo>
                      <a:pt x="720" y="800"/>
                    </a:lnTo>
                    <a:lnTo>
                      <a:pt x="728" y="800"/>
                    </a:lnTo>
                    <a:lnTo>
                      <a:pt x="720" y="784"/>
                    </a:lnTo>
                    <a:lnTo>
                      <a:pt x="720" y="776"/>
                    </a:lnTo>
                    <a:lnTo>
                      <a:pt x="720" y="768"/>
                    </a:lnTo>
                    <a:lnTo>
                      <a:pt x="720" y="760"/>
                    </a:lnTo>
                    <a:lnTo>
                      <a:pt x="712" y="760"/>
                    </a:lnTo>
                    <a:lnTo>
                      <a:pt x="704" y="760"/>
                    </a:lnTo>
                    <a:lnTo>
                      <a:pt x="696" y="768"/>
                    </a:lnTo>
                    <a:lnTo>
                      <a:pt x="688" y="768"/>
                    </a:lnTo>
                    <a:lnTo>
                      <a:pt x="688" y="776"/>
                    </a:lnTo>
                    <a:lnTo>
                      <a:pt x="680" y="784"/>
                    </a:lnTo>
                    <a:lnTo>
                      <a:pt x="672" y="784"/>
                    </a:lnTo>
                    <a:lnTo>
                      <a:pt x="664" y="784"/>
                    </a:lnTo>
                    <a:lnTo>
                      <a:pt x="656" y="792"/>
                    </a:lnTo>
                    <a:lnTo>
                      <a:pt x="656" y="784"/>
                    </a:lnTo>
                    <a:lnTo>
                      <a:pt x="656" y="776"/>
                    </a:lnTo>
                    <a:lnTo>
                      <a:pt x="648" y="744"/>
                    </a:lnTo>
                    <a:lnTo>
                      <a:pt x="640" y="728"/>
                    </a:lnTo>
                    <a:lnTo>
                      <a:pt x="648" y="712"/>
                    </a:lnTo>
                    <a:lnTo>
                      <a:pt x="632" y="712"/>
                    </a:lnTo>
                    <a:lnTo>
                      <a:pt x="624" y="720"/>
                    </a:lnTo>
                    <a:lnTo>
                      <a:pt x="608" y="712"/>
                    </a:lnTo>
                    <a:lnTo>
                      <a:pt x="888" y="200"/>
                    </a:lnTo>
                    <a:lnTo>
                      <a:pt x="888" y="192"/>
                    </a:lnTo>
                    <a:lnTo>
                      <a:pt x="880" y="192"/>
                    </a:lnTo>
                    <a:lnTo>
                      <a:pt x="872" y="184"/>
                    </a:lnTo>
                    <a:lnTo>
                      <a:pt x="872" y="176"/>
                    </a:lnTo>
                    <a:lnTo>
                      <a:pt x="864" y="168"/>
                    </a:lnTo>
                    <a:lnTo>
                      <a:pt x="864" y="160"/>
                    </a:lnTo>
                    <a:lnTo>
                      <a:pt x="856" y="160"/>
                    </a:lnTo>
                    <a:lnTo>
                      <a:pt x="848" y="160"/>
                    </a:lnTo>
                    <a:lnTo>
                      <a:pt x="840" y="160"/>
                    </a:lnTo>
                    <a:lnTo>
                      <a:pt x="832" y="160"/>
                    </a:lnTo>
                    <a:lnTo>
                      <a:pt x="824" y="160"/>
                    </a:lnTo>
                    <a:lnTo>
                      <a:pt x="832" y="160"/>
                    </a:lnTo>
                    <a:lnTo>
                      <a:pt x="832" y="152"/>
                    </a:lnTo>
                    <a:lnTo>
                      <a:pt x="824" y="152"/>
                    </a:lnTo>
                    <a:lnTo>
                      <a:pt x="816" y="152"/>
                    </a:lnTo>
                    <a:lnTo>
                      <a:pt x="824" y="152"/>
                    </a:lnTo>
                    <a:lnTo>
                      <a:pt x="816" y="152"/>
                    </a:lnTo>
                    <a:lnTo>
                      <a:pt x="816" y="144"/>
                    </a:lnTo>
                    <a:lnTo>
                      <a:pt x="808" y="144"/>
                    </a:lnTo>
                    <a:lnTo>
                      <a:pt x="800" y="136"/>
                    </a:lnTo>
                    <a:lnTo>
                      <a:pt x="792" y="136"/>
                    </a:lnTo>
                    <a:lnTo>
                      <a:pt x="800" y="136"/>
                    </a:lnTo>
                    <a:lnTo>
                      <a:pt x="792" y="136"/>
                    </a:lnTo>
                    <a:lnTo>
                      <a:pt x="784" y="136"/>
                    </a:lnTo>
                    <a:lnTo>
                      <a:pt x="784" y="128"/>
                    </a:lnTo>
                    <a:lnTo>
                      <a:pt x="792" y="128"/>
                    </a:lnTo>
                    <a:lnTo>
                      <a:pt x="784" y="128"/>
                    </a:lnTo>
                    <a:lnTo>
                      <a:pt x="776" y="128"/>
                    </a:lnTo>
                    <a:lnTo>
                      <a:pt x="784" y="128"/>
                    </a:lnTo>
                    <a:lnTo>
                      <a:pt x="784" y="120"/>
                    </a:lnTo>
                    <a:lnTo>
                      <a:pt x="776" y="120"/>
                    </a:lnTo>
                    <a:lnTo>
                      <a:pt x="776" y="112"/>
                    </a:lnTo>
                    <a:lnTo>
                      <a:pt x="768" y="112"/>
                    </a:lnTo>
                    <a:lnTo>
                      <a:pt x="760" y="120"/>
                    </a:lnTo>
                    <a:lnTo>
                      <a:pt x="744" y="128"/>
                    </a:lnTo>
                    <a:lnTo>
                      <a:pt x="760" y="120"/>
                    </a:lnTo>
                    <a:lnTo>
                      <a:pt x="760" y="112"/>
                    </a:lnTo>
                    <a:lnTo>
                      <a:pt x="768" y="112"/>
                    </a:lnTo>
                    <a:lnTo>
                      <a:pt x="768" y="104"/>
                    </a:lnTo>
                    <a:lnTo>
                      <a:pt x="760" y="96"/>
                    </a:lnTo>
                    <a:lnTo>
                      <a:pt x="752" y="96"/>
                    </a:lnTo>
                    <a:lnTo>
                      <a:pt x="744" y="96"/>
                    </a:lnTo>
                    <a:lnTo>
                      <a:pt x="736" y="104"/>
                    </a:lnTo>
                    <a:lnTo>
                      <a:pt x="728" y="112"/>
                    </a:lnTo>
                    <a:lnTo>
                      <a:pt x="720" y="112"/>
                    </a:lnTo>
                    <a:lnTo>
                      <a:pt x="728" y="104"/>
                    </a:lnTo>
                    <a:lnTo>
                      <a:pt x="728" y="96"/>
                    </a:lnTo>
                    <a:lnTo>
                      <a:pt x="728" y="88"/>
                    </a:lnTo>
                    <a:lnTo>
                      <a:pt x="720" y="88"/>
                    </a:lnTo>
                    <a:lnTo>
                      <a:pt x="720" y="80"/>
                    </a:lnTo>
                    <a:lnTo>
                      <a:pt x="728" y="80"/>
                    </a:lnTo>
                    <a:lnTo>
                      <a:pt x="712" y="72"/>
                    </a:lnTo>
                    <a:lnTo>
                      <a:pt x="720" y="64"/>
                    </a:lnTo>
                    <a:lnTo>
                      <a:pt x="728" y="56"/>
                    </a:lnTo>
                    <a:lnTo>
                      <a:pt x="720" y="56"/>
                    </a:lnTo>
                    <a:lnTo>
                      <a:pt x="720" y="48"/>
                    </a:lnTo>
                    <a:lnTo>
                      <a:pt x="720" y="56"/>
                    </a:lnTo>
                    <a:lnTo>
                      <a:pt x="712" y="48"/>
                    </a:lnTo>
                    <a:lnTo>
                      <a:pt x="704" y="48"/>
                    </a:lnTo>
                    <a:lnTo>
                      <a:pt x="696" y="48"/>
                    </a:lnTo>
                    <a:lnTo>
                      <a:pt x="688" y="48"/>
                    </a:lnTo>
                    <a:lnTo>
                      <a:pt x="688" y="56"/>
                    </a:lnTo>
                    <a:lnTo>
                      <a:pt x="680" y="48"/>
                    </a:lnTo>
                    <a:lnTo>
                      <a:pt x="688" y="48"/>
                    </a:lnTo>
                    <a:lnTo>
                      <a:pt x="688" y="40"/>
                    </a:lnTo>
                    <a:lnTo>
                      <a:pt x="688" y="32"/>
                    </a:lnTo>
                    <a:lnTo>
                      <a:pt x="696" y="24"/>
                    </a:lnTo>
                    <a:lnTo>
                      <a:pt x="688" y="24"/>
                    </a:lnTo>
                    <a:lnTo>
                      <a:pt x="680" y="24"/>
                    </a:lnTo>
                    <a:lnTo>
                      <a:pt x="680" y="32"/>
                    </a:lnTo>
                    <a:lnTo>
                      <a:pt x="672" y="32"/>
                    </a:lnTo>
                    <a:lnTo>
                      <a:pt x="672" y="40"/>
                    </a:lnTo>
                    <a:lnTo>
                      <a:pt x="664" y="40"/>
                    </a:lnTo>
                    <a:lnTo>
                      <a:pt x="664" y="48"/>
                    </a:lnTo>
                    <a:lnTo>
                      <a:pt x="664" y="40"/>
                    </a:lnTo>
                    <a:lnTo>
                      <a:pt x="656" y="40"/>
                    </a:lnTo>
                    <a:lnTo>
                      <a:pt x="656" y="48"/>
                    </a:lnTo>
                    <a:lnTo>
                      <a:pt x="656" y="40"/>
                    </a:lnTo>
                    <a:lnTo>
                      <a:pt x="656" y="32"/>
                    </a:lnTo>
                    <a:lnTo>
                      <a:pt x="648" y="32"/>
                    </a:lnTo>
                    <a:lnTo>
                      <a:pt x="656" y="24"/>
                    </a:lnTo>
                    <a:lnTo>
                      <a:pt x="664" y="24"/>
                    </a:lnTo>
                    <a:lnTo>
                      <a:pt x="664" y="32"/>
                    </a:lnTo>
                    <a:lnTo>
                      <a:pt x="672" y="24"/>
                    </a:lnTo>
                    <a:lnTo>
                      <a:pt x="680" y="24"/>
                    </a:lnTo>
                    <a:lnTo>
                      <a:pt x="680" y="16"/>
                    </a:lnTo>
                    <a:lnTo>
                      <a:pt x="680" y="8"/>
                    </a:lnTo>
                    <a:lnTo>
                      <a:pt x="672" y="8"/>
                    </a:lnTo>
                    <a:lnTo>
                      <a:pt x="672" y="0"/>
                    </a:lnTo>
                    <a:lnTo>
                      <a:pt x="664" y="0"/>
                    </a:lnTo>
                    <a:lnTo>
                      <a:pt x="664" y="8"/>
                    </a:lnTo>
                    <a:lnTo>
                      <a:pt x="656" y="8"/>
                    </a:lnTo>
                    <a:lnTo>
                      <a:pt x="648" y="8"/>
                    </a:lnTo>
                    <a:lnTo>
                      <a:pt x="640" y="16"/>
                    </a:lnTo>
                    <a:lnTo>
                      <a:pt x="632" y="16"/>
                    </a:lnTo>
                    <a:lnTo>
                      <a:pt x="624" y="16"/>
                    </a:lnTo>
                    <a:lnTo>
                      <a:pt x="616" y="16"/>
                    </a:lnTo>
                    <a:lnTo>
                      <a:pt x="608" y="16"/>
                    </a:lnTo>
                    <a:lnTo>
                      <a:pt x="600" y="8"/>
                    </a:lnTo>
                    <a:lnTo>
                      <a:pt x="600" y="16"/>
                    </a:lnTo>
                    <a:lnTo>
                      <a:pt x="592" y="16"/>
                    </a:lnTo>
                    <a:lnTo>
                      <a:pt x="592" y="8"/>
                    </a:lnTo>
                    <a:lnTo>
                      <a:pt x="600" y="8"/>
                    </a:lnTo>
                    <a:lnTo>
                      <a:pt x="592" y="8"/>
                    </a:lnTo>
                    <a:lnTo>
                      <a:pt x="584" y="16"/>
                    </a:lnTo>
                    <a:lnTo>
                      <a:pt x="576" y="16"/>
                    </a:lnTo>
                    <a:lnTo>
                      <a:pt x="576" y="24"/>
                    </a:lnTo>
                    <a:lnTo>
                      <a:pt x="584" y="32"/>
                    </a:lnTo>
                    <a:lnTo>
                      <a:pt x="576" y="32"/>
                    </a:lnTo>
                    <a:lnTo>
                      <a:pt x="568" y="32"/>
                    </a:lnTo>
                    <a:lnTo>
                      <a:pt x="568" y="40"/>
                    </a:lnTo>
                    <a:lnTo>
                      <a:pt x="560" y="48"/>
                    </a:lnTo>
                    <a:lnTo>
                      <a:pt x="560" y="56"/>
                    </a:lnTo>
                    <a:lnTo>
                      <a:pt x="552" y="56"/>
                    </a:lnTo>
                    <a:lnTo>
                      <a:pt x="552" y="48"/>
                    </a:lnTo>
                    <a:lnTo>
                      <a:pt x="560" y="32"/>
                    </a:lnTo>
                    <a:lnTo>
                      <a:pt x="544" y="40"/>
                    </a:lnTo>
                    <a:lnTo>
                      <a:pt x="536" y="32"/>
                    </a:lnTo>
                    <a:lnTo>
                      <a:pt x="528" y="32"/>
                    </a:lnTo>
                    <a:lnTo>
                      <a:pt x="536" y="32"/>
                    </a:lnTo>
                    <a:lnTo>
                      <a:pt x="536" y="40"/>
                    </a:lnTo>
                    <a:lnTo>
                      <a:pt x="528" y="40"/>
                    </a:lnTo>
                    <a:lnTo>
                      <a:pt x="520" y="32"/>
                    </a:lnTo>
                    <a:lnTo>
                      <a:pt x="512" y="40"/>
                    </a:lnTo>
                    <a:lnTo>
                      <a:pt x="496" y="48"/>
                    </a:lnTo>
                    <a:lnTo>
                      <a:pt x="480" y="56"/>
                    </a:lnTo>
                    <a:lnTo>
                      <a:pt x="472" y="64"/>
                    </a:lnTo>
                    <a:lnTo>
                      <a:pt x="464" y="72"/>
                    </a:lnTo>
                    <a:lnTo>
                      <a:pt x="448" y="88"/>
                    </a:lnTo>
                    <a:lnTo>
                      <a:pt x="440" y="88"/>
                    </a:lnTo>
                    <a:lnTo>
                      <a:pt x="432" y="96"/>
                    </a:lnTo>
                    <a:lnTo>
                      <a:pt x="424" y="96"/>
                    </a:lnTo>
                    <a:lnTo>
                      <a:pt x="416" y="96"/>
                    </a:lnTo>
                    <a:lnTo>
                      <a:pt x="408" y="96"/>
                    </a:lnTo>
                    <a:lnTo>
                      <a:pt x="400" y="96"/>
                    </a:lnTo>
                    <a:lnTo>
                      <a:pt x="392" y="88"/>
                    </a:lnTo>
                    <a:lnTo>
                      <a:pt x="384" y="88"/>
                    </a:lnTo>
                    <a:lnTo>
                      <a:pt x="376" y="88"/>
                    </a:lnTo>
                    <a:lnTo>
                      <a:pt x="368" y="88"/>
                    </a:lnTo>
                    <a:lnTo>
                      <a:pt x="360" y="104"/>
                    </a:lnTo>
                    <a:lnTo>
                      <a:pt x="352" y="112"/>
                    </a:lnTo>
                    <a:lnTo>
                      <a:pt x="352" y="120"/>
                    </a:lnTo>
                    <a:lnTo>
                      <a:pt x="344" y="112"/>
                    </a:lnTo>
                    <a:lnTo>
                      <a:pt x="344" y="120"/>
                    </a:lnTo>
                    <a:lnTo>
                      <a:pt x="344" y="128"/>
                    </a:lnTo>
                    <a:lnTo>
                      <a:pt x="352" y="152"/>
                    </a:lnTo>
                    <a:lnTo>
                      <a:pt x="360" y="168"/>
                    </a:lnTo>
                    <a:lnTo>
                      <a:pt x="360" y="176"/>
                    </a:lnTo>
                    <a:lnTo>
                      <a:pt x="360" y="192"/>
                    </a:lnTo>
                    <a:lnTo>
                      <a:pt x="352" y="200"/>
                    </a:lnTo>
                    <a:lnTo>
                      <a:pt x="352" y="208"/>
                    </a:lnTo>
                    <a:lnTo>
                      <a:pt x="352" y="216"/>
                    </a:lnTo>
                    <a:lnTo>
                      <a:pt x="360" y="224"/>
                    </a:lnTo>
                    <a:lnTo>
                      <a:pt x="368" y="224"/>
                    </a:lnTo>
                    <a:lnTo>
                      <a:pt x="376" y="224"/>
                    </a:lnTo>
                    <a:lnTo>
                      <a:pt x="368" y="224"/>
                    </a:lnTo>
                    <a:lnTo>
                      <a:pt x="384" y="240"/>
                    </a:lnTo>
                    <a:lnTo>
                      <a:pt x="376" y="240"/>
                    </a:lnTo>
                    <a:lnTo>
                      <a:pt x="376" y="256"/>
                    </a:lnTo>
                    <a:lnTo>
                      <a:pt x="376" y="264"/>
                    </a:lnTo>
                    <a:lnTo>
                      <a:pt x="376" y="256"/>
                    </a:lnTo>
                    <a:lnTo>
                      <a:pt x="384" y="256"/>
                    </a:lnTo>
                    <a:lnTo>
                      <a:pt x="392" y="256"/>
                    </a:lnTo>
                    <a:lnTo>
                      <a:pt x="392" y="264"/>
                    </a:lnTo>
                    <a:lnTo>
                      <a:pt x="400" y="256"/>
                    </a:lnTo>
                    <a:lnTo>
                      <a:pt x="408" y="264"/>
                    </a:lnTo>
                    <a:lnTo>
                      <a:pt x="408" y="272"/>
                    </a:lnTo>
                    <a:lnTo>
                      <a:pt x="408" y="280"/>
                    </a:lnTo>
                    <a:lnTo>
                      <a:pt x="400" y="280"/>
                    </a:lnTo>
                    <a:lnTo>
                      <a:pt x="392" y="272"/>
                    </a:lnTo>
                    <a:lnTo>
                      <a:pt x="384" y="272"/>
                    </a:lnTo>
                    <a:lnTo>
                      <a:pt x="376" y="264"/>
                    </a:lnTo>
                    <a:lnTo>
                      <a:pt x="368" y="264"/>
                    </a:lnTo>
                    <a:lnTo>
                      <a:pt x="368" y="256"/>
                    </a:lnTo>
                    <a:lnTo>
                      <a:pt x="368" y="240"/>
                    </a:lnTo>
                    <a:lnTo>
                      <a:pt x="368" y="232"/>
                    </a:lnTo>
                    <a:lnTo>
                      <a:pt x="368" y="240"/>
                    </a:lnTo>
                    <a:lnTo>
                      <a:pt x="368" y="248"/>
                    </a:lnTo>
                    <a:lnTo>
                      <a:pt x="360" y="264"/>
                    </a:lnTo>
                    <a:lnTo>
                      <a:pt x="360" y="272"/>
                    </a:lnTo>
                    <a:lnTo>
                      <a:pt x="360" y="264"/>
                    </a:lnTo>
                    <a:lnTo>
                      <a:pt x="368" y="264"/>
                    </a:lnTo>
                    <a:lnTo>
                      <a:pt x="376" y="264"/>
                    </a:lnTo>
                    <a:lnTo>
                      <a:pt x="376" y="272"/>
                    </a:lnTo>
                    <a:lnTo>
                      <a:pt x="376" y="280"/>
                    </a:lnTo>
                    <a:lnTo>
                      <a:pt x="368" y="288"/>
                    </a:lnTo>
                    <a:lnTo>
                      <a:pt x="360" y="288"/>
                    </a:lnTo>
                    <a:lnTo>
                      <a:pt x="368" y="280"/>
                    </a:lnTo>
                    <a:lnTo>
                      <a:pt x="360" y="272"/>
                    </a:lnTo>
                    <a:lnTo>
                      <a:pt x="360" y="280"/>
                    </a:lnTo>
                    <a:lnTo>
                      <a:pt x="352" y="280"/>
                    </a:lnTo>
                    <a:lnTo>
                      <a:pt x="352" y="288"/>
                    </a:lnTo>
                    <a:lnTo>
                      <a:pt x="344" y="288"/>
                    </a:lnTo>
                    <a:lnTo>
                      <a:pt x="336" y="288"/>
                    </a:lnTo>
                    <a:lnTo>
                      <a:pt x="328" y="288"/>
                    </a:lnTo>
                    <a:lnTo>
                      <a:pt x="328" y="280"/>
                    </a:lnTo>
                    <a:lnTo>
                      <a:pt x="320" y="280"/>
                    </a:lnTo>
                    <a:lnTo>
                      <a:pt x="320" y="272"/>
                    </a:lnTo>
                    <a:lnTo>
                      <a:pt x="312" y="272"/>
                    </a:lnTo>
                    <a:lnTo>
                      <a:pt x="312" y="264"/>
                    </a:lnTo>
                    <a:lnTo>
                      <a:pt x="320" y="256"/>
                    </a:lnTo>
                    <a:lnTo>
                      <a:pt x="320" y="248"/>
                    </a:lnTo>
                    <a:lnTo>
                      <a:pt x="320" y="240"/>
                    </a:lnTo>
                    <a:lnTo>
                      <a:pt x="312" y="240"/>
                    </a:lnTo>
                    <a:lnTo>
                      <a:pt x="304" y="240"/>
                    </a:lnTo>
                    <a:lnTo>
                      <a:pt x="296" y="240"/>
                    </a:lnTo>
                    <a:lnTo>
                      <a:pt x="288" y="240"/>
                    </a:lnTo>
                    <a:lnTo>
                      <a:pt x="272" y="248"/>
                    </a:lnTo>
                    <a:lnTo>
                      <a:pt x="280" y="256"/>
                    </a:lnTo>
                    <a:lnTo>
                      <a:pt x="272" y="256"/>
                    </a:lnTo>
                    <a:lnTo>
                      <a:pt x="264" y="256"/>
                    </a:lnTo>
                    <a:lnTo>
                      <a:pt x="256" y="248"/>
                    </a:lnTo>
                    <a:lnTo>
                      <a:pt x="248" y="256"/>
                    </a:lnTo>
                    <a:lnTo>
                      <a:pt x="240" y="256"/>
                    </a:lnTo>
                    <a:lnTo>
                      <a:pt x="232" y="256"/>
                    </a:lnTo>
                    <a:lnTo>
                      <a:pt x="224" y="264"/>
                    </a:lnTo>
                    <a:lnTo>
                      <a:pt x="216" y="272"/>
                    </a:lnTo>
                    <a:lnTo>
                      <a:pt x="208" y="272"/>
                    </a:lnTo>
                    <a:lnTo>
                      <a:pt x="208" y="264"/>
                    </a:lnTo>
                    <a:lnTo>
                      <a:pt x="208" y="272"/>
                    </a:lnTo>
                    <a:lnTo>
                      <a:pt x="200" y="272"/>
                    </a:lnTo>
                    <a:lnTo>
                      <a:pt x="200" y="280"/>
                    </a:lnTo>
                    <a:lnTo>
                      <a:pt x="208" y="288"/>
                    </a:lnTo>
                    <a:lnTo>
                      <a:pt x="216" y="296"/>
                    </a:lnTo>
                    <a:lnTo>
                      <a:pt x="224" y="296"/>
                    </a:lnTo>
                    <a:lnTo>
                      <a:pt x="224" y="304"/>
                    </a:lnTo>
                    <a:lnTo>
                      <a:pt x="232" y="304"/>
                    </a:lnTo>
                    <a:lnTo>
                      <a:pt x="232" y="312"/>
                    </a:lnTo>
                    <a:lnTo>
                      <a:pt x="240" y="312"/>
                    </a:lnTo>
                    <a:lnTo>
                      <a:pt x="248" y="320"/>
                    </a:lnTo>
                    <a:lnTo>
                      <a:pt x="240" y="320"/>
                    </a:lnTo>
                    <a:lnTo>
                      <a:pt x="232" y="320"/>
                    </a:lnTo>
                    <a:lnTo>
                      <a:pt x="232" y="312"/>
                    </a:lnTo>
                    <a:lnTo>
                      <a:pt x="224" y="312"/>
                    </a:lnTo>
                    <a:lnTo>
                      <a:pt x="224" y="304"/>
                    </a:lnTo>
                    <a:lnTo>
                      <a:pt x="216" y="312"/>
                    </a:lnTo>
                    <a:lnTo>
                      <a:pt x="208" y="304"/>
                    </a:lnTo>
                    <a:lnTo>
                      <a:pt x="216" y="304"/>
                    </a:lnTo>
                    <a:lnTo>
                      <a:pt x="208" y="304"/>
                    </a:lnTo>
                    <a:lnTo>
                      <a:pt x="208" y="320"/>
                    </a:lnTo>
                    <a:lnTo>
                      <a:pt x="208" y="328"/>
                    </a:lnTo>
                    <a:lnTo>
                      <a:pt x="200" y="336"/>
                    </a:lnTo>
                    <a:lnTo>
                      <a:pt x="200" y="344"/>
                    </a:lnTo>
                    <a:lnTo>
                      <a:pt x="208" y="360"/>
                    </a:lnTo>
                    <a:lnTo>
                      <a:pt x="216" y="360"/>
                    </a:lnTo>
                    <a:lnTo>
                      <a:pt x="224" y="368"/>
                    </a:lnTo>
                    <a:lnTo>
                      <a:pt x="232" y="360"/>
                    </a:lnTo>
                    <a:lnTo>
                      <a:pt x="240" y="360"/>
                    </a:lnTo>
                    <a:lnTo>
                      <a:pt x="256" y="360"/>
                    </a:lnTo>
                    <a:lnTo>
                      <a:pt x="256" y="368"/>
                    </a:lnTo>
                    <a:lnTo>
                      <a:pt x="264" y="376"/>
                    </a:lnTo>
                    <a:lnTo>
                      <a:pt x="264" y="368"/>
                    </a:lnTo>
                    <a:lnTo>
                      <a:pt x="264" y="360"/>
                    </a:lnTo>
                    <a:lnTo>
                      <a:pt x="272" y="360"/>
                    </a:lnTo>
                    <a:lnTo>
                      <a:pt x="272" y="368"/>
                    </a:lnTo>
                    <a:lnTo>
                      <a:pt x="264" y="376"/>
                    </a:lnTo>
                    <a:lnTo>
                      <a:pt x="272" y="376"/>
                    </a:lnTo>
                    <a:lnTo>
                      <a:pt x="280" y="368"/>
                    </a:lnTo>
                    <a:lnTo>
                      <a:pt x="288" y="368"/>
                    </a:lnTo>
                    <a:lnTo>
                      <a:pt x="296" y="360"/>
                    </a:lnTo>
                    <a:lnTo>
                      <a:pt x="304" y="360"/>
                    </a:lnTo>
                    <a:lnTo>
                      <a:pt x="304" y="352"/>
                    </a:lnTo>
                    <a:lnTo>
                      <a:pt x="312" y="360"/>
                    </a:lnTo>
                    <a:lnTo>
                      <a:pt x="320" y="352"/>
                    </a:lnTo>
                    <a:lnTo>
                      <a:pt x="328" y="352"/>
                    </a:lnTo>
                    <a:lnTo>
                      <a:pt x="320" y="360"/>
                    </a:lnTo>
                    <a:lnTo>
                      <a:pt x="320" y="368"/>
                    </a:lnTo>
                    <a:lnTo>
                      <a:pt x="312" y="376"/>
                    </a:lnTo>
                    <a:lnTo>
                      <a:pt x="312" y="368"/>
                    </a:lnTo>
                    <a:lnTo>
                      <a:pt x="304" y="368"/>
                    </a:lnTo>
                    <a:lnTo>
                      <a:pt x="304" y="376"/>
                    </a:lnTo>
                    <a:lnTo>
                      <a:pt x="312" y="376"/>
                    </a:lnTo>
                    <a:lnTo>
                      <a:pt x="312" y="384"/>
                    </a:lnTo>
                    <a:lnTo>
                      <a:pt x="304" y="392"/>
                    </a:lnTo>
                    <a:lnTo>
                      <a:pt x="296" y="400"/>
                    </a:lnTo>
                    <a:lnTo>
                      <a:pt x="296" y="408"/>
                    </a:lnTo>
                    <a:lnTo>
                      <a:pt x="296" y="416"/>
                    </a:lnTo>
                    <a:lnTo>
                      <a:pt x="288" y="424"/>
                    </a:lnTo>
                    <a:lnTo>
                      <a:pt x="280" y="424"/>
                    </a:lnTo>
                    <a:lnTo>
                      <a:pt x="280" y="432"/>
                    </a:lnTo>
                    <a:lnTo>
                      <a:pt x="272" y="432"/>
                    </a:lnTo>
                    <a:lnTo>
                      <a:pt x="264" y="432"/>
                    </a:lnTo>
                    <a:lnTo>
                      <a:pt x="256" y="432"/>
                    </a:lnTo>
                    <a:lnTo>
                      <a:pt x="248" y="424"/>
                    </a:lnTo>
                    <a:lnTo>
                      <a:pt x="248" y="432"/>
                    </a:lnTo>
                    <a:lnTo>
                      <a:pt x="240" y="432"/>
                    </a:lnTo>
                    <a:lnTo>
                      <a:pt x="232" y="440"/>
                    </a:lnTo>
                    <a:lnTo>
                      <a:pt x="224" y="440"/>
                    </a:lnTo>
                    <a:lnTo>
                      <a:pt x="224" y="448"/>
                    </a:lnTo>
                    <a:lnTo>
                      <a:pt x="216" y="448"/>
                    </a:lnTo>
                    <a:lnTo>
                      <a:pt x="208" y="448"/>
                    </a:lnTo>
                    <a:lnTo>
                      <a:pt x="200" y="448"/>
                    </a:lnTo>
                    <a:lnTo>
                      <a:pt x="192" y="448"/>
                    </a:lnTo>
                    <a:lnTo>
                      <a:pt x="192" y="456"/>
                    </a:lnTo>
                    <a:lnTo>
                      <a:pt x="184" y="464"/>
                    </a:lnTo>
                    <a:lnTo>
                      <a:pt x="184" y="472"/>
                    </a:lnTo>
                    <a:lnTo>
                      <a:pt x="184" y="464"/>
                    </a:lnTo>
                    <a:lnTo>
                      <a:pt x="176" y="464"/>
                    </a:lnTo>
                    <a:lnTo>
                      <a:pt x="168" y="464"/>
                    </a:lnTo>
                    <a:lnTo>
                      <a:pt x="168" y="472"/>
                    </a:lnTo>
                    <a:lnTo>
                      <a:pt x="168" y="464"/>
                    </a:lnTo>
                    <a:lnTo>
                      <a:pt x="160" y="464"/>
                    </a:lnTo>
                    <a:lnTo>
                      <a:pt x="152" y="472"/>
                    </a:lnTo>
                    <a:lnTo>
                      <a:pt x="144" y="480"/>
                    </a:lnTo>
                    <a:lnTo>
                      <a:pt x="136" y="488"/>
                    </a:lnTo>
                    <a:lnTo>
                      <a:pt x="128" y="496"/>
                    </a:lnTo>
                    <a:lnTo>
                      <a:pt x="120" y="496"/>
                    </a:lnTo>
                    <a:lnTo>
                      <a:pt x="120" y="504"/>
                    </a:lnTo>
                    <a:lnTo>
                      <a:pt x="112" y="504"/>
                    </a:lnTo>
                    <a:lnTo>
                      <a:pt x="104" y="512"/>
                    </a:lnTo>
                    <a:lnTo>
                      <a:pt x="104" y="520"/>
                    </a:lnTo>
                    <a:lnTo>
                      <a:pt x="112" y="520"/>
                    </a:lnTo>
                    <a:lnTo>
                      <a:pt x="112" y="528"/>
                    </a:lnTo>
                    <a:lnTo>
                      <a:pt x="112" y="536"/>
                    </a:lnTo>
                    <a:lnTo>
                      <a:pt x="104" y="536"/>
                    </a:lnTo>
                    <a:lnTo>
                      <a:pt x="104" y="544"/>
                    </a:lnTo>
                    <a:lnTo>
                      <a:pt x="112" y="544"/>
                    </a:lnTo>
                    <a:lnTo>
                      <a:pt x="112" y="536"/>
                    </a:lnTo>
                    <a:lnTo>
                      <a:pt x="112" y="544"/>
                    </a:lnTo>
                    <a:lnTo>
                      <a:pt x="112" y="552"/>
                    </a:lnTo>
                    <a:lnTo>
                      <a:pt x="120" y="552"/>
                    </a:lnTo>
                    <a:lnTo>
                      <a:pt x="128" y="552"/>
                    </a:lnTo>
                    <a:lnTo>
                      <a:pt x="136" y="560"/>
                    </a:lnTo>
                    <a:lnTo>
                      <a:pt x="144" y="552"/>
                    </a:lnTo>
                    <a:lnTo>
                      <a:pt x="144" y="544"/>
                    </a:lnTo>
                    <a:lnTo>
                      <a:pt x="152" y="544"/>
                    </a:lnTo>
                    <a:lnTo>
                      <a:pt x="160" y="536"/>
                    </a:lnTo>
                    <a:lnTo>
                      <a:pt x="152" y="544"/>
                    </a:lnTo>
                    <a:lnTo>
                      <a:pt x="144" y="552"/>
                    </a:lnTo>
                    <a:lnTo>
                      <a:pt x="144" y="560"/>
                    </a:lnTo>
                    <a:lnTo>
                      <a:pt x="136" y="560"/>
                    </a:lnTo>
                    <a:lnTo>
                      <a:pt x="144" y="568"/>
                    </a:lnTo>
                    <a:lnTo>
                      <a:pt x="136" y="568"/>
                    </a:lnTo>
                    <a:lnTo>
                      <a:pt x="136" y="560"/>
                    </a:lnTo>
                    <a:lnTo>
                      <a:pt x="128" y="560"/>
                    </a:lnTo>
                    <a:lnTo>
                      <a:pt x="120" y="560"/>
                    </a:lnTo>
                    <a:lnTo>
                      <a:pt x="120" y="552"/>
                    </a:lnTo>
                    <a:lnTo>
                      <a:pt x="112" y="560"/>
                    </a:lnTo>
                    <a:lnTo>
                      <a:pt x="104" y="568"/>
                    </a:lnTo>
                    <a:lnTo>
                      <a:pt x="96" y="560"/>
                    </a:lnTo>
                    <a:lnTo>
                      <a:pt x="96" y="568"/>
                    </a:lnTo>
                    <a:lnTo>
                      <a:pt x="104" y="568"/>
                    </a:lnTo>
                    <a:lnTo>
                      <a:pt x="104" y="576"/>
                    </a:lnTo>
                    <a:lnTo>
                      <a:pt x="96" y="584"/>
                    </a:lnTo>
                    <a:lnTo>
                      <a:pt x="104" y="584"/>
                    </a:lnTo>
                    <a:lnTo>
                      <a:pt x="104" y="592"/>
                    </a:lnTo>
                    <a:lnTo>
                      <a:pt x="104" y="600"/>
                    </a:lnTo>
                    <a:lnTo>
                      <a:pt x="112" y="608"/>
                    </a:lnTo>
                    <a:lnTo>
                      <a:pt x="104" y="608"/>
                    </a:lnTo>
                    <a:lnTo>
                      <a:pt x="120" y="616"/>
                    </a:lnTo>
                    <a:lnTo>
                      <a:pt x="128" y="616"/>
                    </a:lnTo>
                    <a:lnTo>
                      <a:pt x="136" y="616"/>
                    </a:lnTo>
                    <a:lnTo>
                      <a:pt x="144" y="616"/>
                    </a:lnTo>
                    <a:lnTo>
                      <a:pt x="152" y="608"/>
                    </a:lnTo>
                    <a:lnTo>
                      <a:pt x="152" y="600"/>
                    </a:lnTo>
                    <a:lnTo>
                      <a:pt x="144" y="600"/>
                    </a:lnTo>
                    <a:lnTo>
                      <a:pt x="144" y="592"/>
                    </a:lnTo>
                    <a:lnTo>
                      <a:pt x="152" y="592"/>
                    </a:lnTo>
                    <a:lnTo>
                      <a:pt x="160" y="584"/>
                    </a:lnTo>
                    <a:lnTo>
                      <a:pt x="168" y="576"/>
                    </a:lnTo>
                    <a:lnTo>
                      <a:pt x="176" y="584"/>
                    </a:lnTo>
                    <a:lnTo>
                      <a:pt x="168" y="584"/>
                    </a:lnTo>
                    <a:lnTo>
                      <a:pt x="160" y="592"/>
                    </a:lnTo>
                    <a:lnTo>
                      <a:pt x="152" y="592"/>
                    </a:lnTo>
                    <a:lnTo>
                      <a:pt x="152" y="600"/>
                    </a:lnTo>
                    <a:lnTo>
                      <a:pt x="160" y="600"/>
                    </a:lnTo>
                    <a:lnTo>
                      <a:pt x="152" y="608"/>
                    </a:lnTo>
                    <a:lnTo>
                      <a:pt x="152" y="616"/>
                    </a:lnTo>
                    <a:lnTo>
                      <a:pt x="144" y="616"/>
                    </a:lnTo>
                    <a:lnTo>
                      <a:pt x="152" y="624"/>
                    </a:lnTo>
                    <a:lnTo>
                      <a:pt x="144" y="632"/>
                    </a:lnTo>
                    <a:lnTo>
                      <a:pt x="144" y="640"/>
                    </a:lnTo>
                    <a:lnTo>
                      <a:pt x="152" y="640"/>
                    </a:lnTo>
                    <a:lnTo>
                      <a:pt x="144" y="648"/>
                    </a:lnTo>
                    <a:lnTo>
                      <a:pt x="136" y="648"/>
                    </a:lnTo>
                    <a:lnTo>
                      <a:pt x="136" y="656"/>
                    </a:lnTo>
                    <a:lnTo>
                      <a:pt x="136" y="664"/>
                    </a:lnTo>
                    <a:lnTo>
                      <a:pt x="144" y="664"/>
                    </a:lnTo>
                    <a:lnTo>
                      <a:pt x="136" y="664"/>
                    </a:lnTo>
                    <a:lnTo>
                      <a:pt x="136" y="672"/>
                    </a:lnTo>
                    <a:lnTo>
                      <a:pt x="136" y="680"/>
                    </a:lnTo>
                    <a:lnTo>
                      <a:pt x="128" y="680"/>
                    </a:lnTo>
                    <a:lnTo>
                      <a:pt x="120" y="680"/>
                    </a:lnTo>
                    <a:lnTo>
                      <a:pt x="128" y="688"/>
                    </a:lnTo>
                    <a:lnTo>
                      <a:pt x="136" y="680"/>
                    </a:lnTo>
                    <a:lnTo>
                      <a:pt x="144" y="680"/>
                    </a:lnTo>
                    <a:lnTo>
                      <a:pt x="152" y="680"/>
                    </a:lnTo>
                    <a:lnTo>
                      <a:pt x="160" y="672"/>
                    </a:lnTo>
                    <a:lnTo>
                      <a:pt x="168" y="672"/>
                    </a:lnTo>
                    <a:lnTo>
                      <a:pt x="160" y="672"/>
                    </a:lnTo>
                    <a:lnTo>
                      <a:pt x="160" y="680"/>
                    </a:lnTo>
                    <a:lnTo>
                      <a:pt x="168" y="688"/>
                    </a:lnTo>
                    <a:lnTo>
                      <a:pt x="160" y="688"/>
                    </a:lnTo>
                    <a:lnTo>
                      <a:pt x="168" y="688"/>
                    </a:lnTo>
                    <a:lnTo>
                      <a:pt x="176" y="680"/>
                    </a:lnTo>
                    <a:lnTo>
                      <a:pt x="176" y="688"/>
                    </a:lnTo>
                    <a:lnTo>
                      <a:pt x="176" y="696"/>
                    </a:lnTo>
                    <a:lnTo>
                      <a:pt x="176" y="704"/>
                    </a:lnTo>
                    <a:lnTo>
                      <a:pt x="176" y="712"/>
                    </a:lnTo>
                    <a:lnTo>
                      <a:pt x="184" y="712"/>
                    </a:lnTo>
                    <a:lnTo>
                      <a:pt x="184" y="704"/>
                    </a:lnTo>
                    <a:lnTo>
                      <a:pt x="192" y="696"/>
                    </a:lnTo>
                    <a:lnTo>
                      <a:pt x="192" y="688"/>
                    </a:lnTo>
                    <a:lnTo>
                      <a:pt x="200" y="688"/>
                    </a:lnTo>
                    <a:lnTo>
                      <a:pt x="200" y="680"/>
                    </a:lnTo>
                    <a:lnTo>
                      <a:pt x="208" y="680"/>
                    </a:lnTo>
                    <a:lnTo>
                      <a:pt x="200" y="680"/>
                    </a:lnTo>
                    <a:lnTo>
                      <a:pt x="192" y="688"/>
                    </a:lnTo>
                    <a:lnTo>
                      <a:pt x="192" y="696"/>
                    </a:lnTo>
                    <a:lnTo>
                      <a:pt x="200" y="704"/>
                    </a:lnTo>
                    <a:lnTo>
                      <a:pt x="208" y="704"/>
                    </a:lnTo>
                    <a:lnTo>
                      <a:pt x="208" y="696"/>
                    </a:lnTo>
                    <a:lnTo>
                      <a:pt x="224" y="696"/>
                    </a:lnTo>
                    <a:lnTo>
                      <a:pt x="232" y="696"/>
                    </a:lnTo>
                    <a:lnTo>
                      <a:pt x="240" y="688"/>
                    </a:lnTo>
                    <a:lnTo>
                      <a:pt x="232" y="696"/>
                    </a:lnTo>
                    <a:lnTo>
                      <a:pt x="232" y="704"/>
                    </a:lnTo>
                    <a:lnTo>
                      <a:pt x="216" y="712"/>
                    </a:lnTo>
                    <a:lnTo>
                      <a:pt x="208" y="712"/>
                    </a:lnTo>
                    <a:lnTo>
                      <a:pt x="208" y="720"/>
                    </a:lnTo>
                    <a:lnTo>
                      <a:pt x="200" y="728"/>
                    </a:lnTo>
                    <a:lnTo>
                      <a:pt x="208" y="728"/>
                    </a:lnTo>
                    <a:lnTo>
                      <a:pt x="208" y="736"/>
                    </a:lnTo>
                    <a:lnTo>
                      <a:pt x="200" y="736"/>
                    </a:lnTo>
                    <a:lnTo>
                      <a:pt x="192" y="736"/>
                    </a:lnTo>
                    <a:lnTo>
                      <a:pt x="192" y="744"/>
                    </a:lnTo>
                    <a:lnTo>
                      <a:pt x="184" y="752"/>
                    </a:lnTo>
                    <a:lnTo>
                      <a:pt x="184" y="760"/>
                    </a:lnTo>
                    <a:lnTo>
                      <a:pt x="184" y="768"/>
                    </a:lnTo>
                    <a:lnTo>
                      <a:pt x="184" y="760"/>
                    </a:lnTo>
                    <a:lnTo>
                      <a:pt x="176" y="760"/>
                    </a:lnTo>
                    <a:lnTo>
                      <a:pt x="176" y="768"/>
                    </a:lnTo>
                    <a:lnTo>
                      <a:pt x="168" y="768"/>
                    </a:lnTo>
                    <a:lnTo>
                      <a:pt x="168" y="776"/>
                    </a:lnTo>
                    <a:lnTo>
                      <a:pt x="160" y="776"/>
                    </a:lnTo>
                    <a:lnTo>
                      <a:pt x="152" y="784"/>
                    </a:lnTo>
                    <a:lnTo>
                      <a:pt x="144" y="784"/>
                    </a:lnTo>
                    <a:lnTo>
                      <a:pt x="152" y="792"/>
                    </a:lnTo>
                    <a:lnTo>
                      <a:pt x="144" y="792"/>
                    </a:lnTo>
                    <a:lnTo>
                      <a:pt x="144" y="784"/>
                    </a:lnTo>
                    <a:lnTo>
                      <a:pt x="136" y="792"/>
                    </a:lnTo>
                    <a:lnTo>
                      <a:pt x="128" y="792"/>
                    </a:lnTo>
                    <a:lnTo>
                      <a:pt x="128" y="800"/>
                    </a:lnTo>
                    <a:lnTo>
                      <a:pt x="120" y="800"/>
                    </a:lnTo>
                    <a:lnTo>
                      <a:pt x="112" y="800"/>
                    </a:lnTo>
                    <a:lnTo>
                      <a:pt x="104" y="808"/>
                    </a:lnTo>
                    <a:lnTo>
                      <a:pt x="96" y="808"/>
                    </a:lnTo>
                    <a:lnTo>
                      <a:pt x="88" y="816"/>
                    </a:lnTo>
                    <a:lnTo>
                      <a:pt x="88" y="824"/>
                    </a:lnTo>
                    <a:lnTo>
                      <a:pt x="88" y="832"/>
                    </a:lnTo>
                    <a:lnTo>
                      <a:pt x="80" y="832"/>
                    </a:lnTo>
                    <a:lnTo>
                      <a:pt x="80" y="840"/>
                    </a:lnTo>
                    <a:lnTo>
                      <a:pt x="72" y="832"/>
                    </a:lnTo>
                    <a:lnTo>
                      <a:pt x="80" y="824"/>
                    </a:lnTo>
                    <a:lnTo>
                      <a:pt x="72" y="824"/>
                    </a:lnTo>
                    <a:lnTo>
                      <a:pt x="64" y="824"/>
                    </a:lnTo>
                    <a:lnTo>
                      <a:pt x="56" y="824"/>
                    </a:lnTo>
                    <a:lnTo>
                      <a:pt x="48" y="832"/>
                    </a:lnTo>
                    <a:lnTo>
                      <a:pt x="40" y="832"/>
                    </a:lnTo>
                    <a:lnTo>
                      <a:pt x="32" y="840"/>
                    </a:lnTo>
                    <a:lnTo>
                      <a:pt x="32" y="848"/>
                    </a:lnTo>
                    <a:lnTo>
                      <a:pt x="24" y="848"/>
                    </a:lnTo>
                    <a:lnTo>
                      <a:pt x="16" y="848"/>
                    </a:lnTo>
                    <a:lnTo>
                      <a:pt x="16" y="856"/>
                    </a:lnTo>
                    <a:lnTo>
                      <a:pt x="8" y="856"/>
                    </a:lnTo>
                    <a:lnTo>
                      <a:pt x="0" y="864"/>
                    </a:lnTo>
                    <a:lnTo>
                      <a:pt x="0" y="872"/>
                    </a:lnTo>
                    <a:lnTo>
                      <a:pt x="8" y="864"/>
                    </a:lnTo>
                    <a:lnTo>
                      <a:pt x="8" y="856"/>
                    </a:lnTo>
                    <a:lnTo>
                      <a:pt x="8" y="864"/>
                    </a:lnTo>
                    <a:lnTo>
                      <a:pt x="16" y="864"/>
                    </a:lnTo>
                    <a:lnTo>
                      <a:pt x="16" y="856"/>
                    </a:lnTo>
                    <a:lnTo>
                      <a:pt x="24" y="856"/>
                    </a:lnTo>
                    <a:lnTo>
                      <a:pt x="24" y="864"/>
                    </a:lnTo>
                    <a:lnTo>
                      <a:pt x="32" y="864"/>
                    </a:lnTo>
                    <a:lnTo>
                      <a:pt x="40" y="856"/>
                    </a:lnTo>
                    <a:lnTo>
                      <a:pt x="48" y="856"/>
                    </a:lnTo>
                    <a:lnTo>
                      <a:pt x="48" y="848"/>
                    </a:lnTo>
                    <a:lnTo>
                      <a:pt x="48" y="840"/>
                    </a:lnTo>
                    <a:lnTo>
                      <a:pt x="56" y="840"/>
                    </a:lnTo>
                    <a:lnTo>
                      <a:pt x="64" y="840"/>
                    </a:lnTo>
                    <a:lnTo>
                      <a:pt x="64" y="848"/>
                    </a:lnTo>
                    <a:lnTo>
                      <a:pt x="56" y="848"/>
                    </a:lnTo>
                    <a:lnTo>
                      <a:pt x="56" y="856"/>
                    </a:lnTo>
                    <a:lnTo>
                      <a:pt x="64" y="848"/>
                    </a:lnTo>
                    <a:lnTo>
                      <a:pt x="72" y="848"/>
                    </a:lnTo>
                    <a:lnTo>
                      <a:pt x="80" y="848"/>
                    </a:lnTo>
                    <a:lnTo>
                      <a:pt x="88" y="848"/>
                    </a:lnTo>
                    <a:lnTo>
                      <a:pt x="96" y="840"/>
                    </a:lnTo>
                    <a:lnTo>
                      <a:pt x="96" y="832"/>
                    </a:lnTo>
                    <a:lnTo>
                      <a:pt x="104" y="840"/>
                    </a:lnTo>
                    <a:lnTo>
                      <a:pt x="96" y="840"/>
                    </a:lnTo>
                    <a:lnTo>
                      <a:pt x="96" y="848"/>
                    </a:lnTo>
                    <a:lnTo>
                      <a:pt x="104" y="848"/>
                    </a:lnTo>
                    <a:lnTo>
                      <a:pt x="104" y="840"/>
                    </a:lnTo>
                    <a:lnTo>
                      <a:pt x="104" y="832"/>
                    </a:lnTo>
                    <a:lnTo>
                      <a:pt x="104" y="840"/>
                    </a:lnTo>
                    <a:lnTo>
                      <a:pt x="112" y="840"/>
                    </a:lnTo>
                    <a:lnTo>
                      <a:pt x="120" y="840"/>
                    </a:lnTo>
                    <a:lnTo>
                      <a:pt x="120" y="832"/>
                    </a:lnTo>
                    <a:lnTo>
                      <a:pt x="128" y="832"/>
                    </a:lnTo>
                    <a:lnTo>
                      <a:pt x="128" y="824"/>
                    </a:lnTo>
                    <a:lnTo>
                      <a:pt x="136" y="824"/>
                    </a:lnTo>
                    <a:lnTo>
                      <a:pt x="128" y="832"/>
                    </a:lnTo>
                    <a:lnTo>
                      <a:pt x="136" y="832"/>
                    </a:lnTo>
                    <a:lnTo>
                      <a:pt x="136" y="824"/>
                    </a:lnTo>
                    <a:lnTo>
                      <a:pt x="144" y="824"/>
                    </a:lnTo>
                    <a:lnTo>
                      <a:pt x="136" y="824"/>
                    </a:lnTo>
                    <a:lnTo>
                      <a:pt x="128" y="824"/>
                    </a:lnTo>
                    <a:lnTo>
                      <a:pt x="136" y="816"/>
                    </a:lnTo>
                    <a:lnTo>
                      <a:pt x="144" y="816"/>
                    </a:lnTo>
                    <a:lnTo>
                      <a:pt x="152" y="816"/>
                    </a:lnTo>
                    <a:lnTo>
                      <a:pt x="160" y="816"/>
                    </a:lnTo>
                    <a:lnTo>
                      <a:pt x="152" y="808"/>
                    </a:lnTo>
                    <a:lnTo>
                      <a:pt x="160" y="808"/>
                    </a:lnTo>
                    <a:lnTo>
                      <a:pt x="168" y="808"/>
                    </a:lnTo>
                    <a:lnTo>
                      <a:pt x="176" y="800"/>
                    </a:lnTo>
                    <a:lnTo>
                      <a:pt x="176" y="792"/>
                    </a:lnTo>
                    <a:lnTo>
                      <a:pt x="176" y="800"/>
                    </a:lnTo>
                    <a:lnTo>
                      <a:pt x="184" y="800"/>
                    </a:lnTo>
                    <a:lnTo>
                      <a:pt x="192" y="792"/>
                    </a:lnTo>
                    <a:lnTo>
                      <a:pt x="200" y="792"/>
                    </a:lnTo>
                    <a:lnTo>
                      <a:pt x="208" y="784"/>
                    </a:lnTo>
                    <a:lnTo>
                      <a:pt x="200" y="784"/>
                    </a:lnTo>
                    <a:lnTo>
                      <a:pt x="208" y="776"/>
                    </a:lnTo>
                    <a:lnTo>
                      <a:pt x="216" y="776"/>
                    </a:lnTo>
                    <a:lnTo>
                      <a:pt x="216" y="768"/>
                    </a:lnTo>
                    <a:lnTo>
                      <a:pt x="216" y="776"/>
                    </a:lnTo>
                    <a:lnTo>
                      <a:pt x="224" y="768"/>
                    </a:lnTo>
                    <a:lnTo>
                      <a:pt x="232" y="768"/>
                    </a:lnTo>
                    <a:lnTo>
                      <a:pt x="232" y="760"/>
                    </a:lnTo>
                    <a:lnTo>
                      <a:pt x="240" y="760"/>
                    </a:lnTo>
                    <a:lnTo>
                      <a:pt x="248" y="760"/>
                    </a:lnTo>
                    <a:lnTo>
                      <a:pt x="248" y="752"/>
                    </a:lnTo>
                    <a:lnTo>
                      <a:pt x="256" y="752"/>
                    </a:lnTo>
                    <a:lnTo>
                      <a:pt x="264" y="752"/>
                    </a:lnTo>
                    <a:lnTo>
                      <a:pt x="272" y="752"/>
                    </a:lnTo>
                    <a:lnTo>
                      <a:pt x="280" y="744"/>
                    </a:lnTo>
                    <a:lnTo>
                      <a:pt x="272" y="744"/>
                    </a:lnTo>
                    <a:lnTo>
                      <a:pt x="272" y="736"/>
                    </a:lnTo>
                    <a:lnTo>
                      <a:pt x="280" y="736"/>
                    </a:lnTo>
                    <a:lnTo>
                      <a:pt x="288" y="736"/>
                    </a:lnTo>
                    <a:lnTo>
                      <a:pt x="280" y="736"/>
                    </a:lnTo>
                    <a:lnTo>
                      <a:pt x="280" y="728"/>
                    </a:lnTo>
                    <a:lnTo>
                      <a:pt x="288" y="728"/>
                    </a:lnTo>
                    <a:lnTo>
                      <a:pt x="296" y="728"/>
                    </a:lnTo>
                    <a:lnTo>
                      <a:pt x="304" y="720"/>
                    </a:lnTo>
                    <a:lnTo>
                      <a:pt x="312" y="720"/>
                    </a:lnTo>
                    <a:lnTo>
                      <a:pt x="312" y="712"/>
                    </a:lnTo>
                    <a:lnTo>
                      <a:pt x="312" y="704"/>
                    </a:lnTo>
                    <a:lnTo>
                      <a:pt x="304" y="704"/>
                    </a:lnTo>
                    <a:lnTo>
                      <a:pt x="296" y="704"/>
                    </a:lnTo>
                    <a:lnTo>
                      <a:pt x="296" y="696"/>
                    </a:lnTo>
                    <a:lnTo>
                      <a:pt x="296" y="688"/>
                    </a:lnTo>
                    <a:lnTo>
                      <a:pt x="304" y="688"/>
                    </a:lnTo>
                    <a:lnTo>
                      <a:pt x="312" y="688"/>
                    </a:lnTo>
                    <a:lnTo>
                      <a:pt x="312" y="680"/>
                    </a:lnTo>
                    <a:lnTo>
                      <a:pt x="320" y="680"/>
                    </a:lnTo>
                    <a:lnTo>
                      <a:pt x="328" y="680"/>
                    </a:lnTo>
                    <a:lnTo>
                      <a:pt x="336" y="680"/>
                    </a:lnTo>
                    <a:lnTo>
                      <a:pt x="344" y="680"/>
                    </a:lnTo>
                    <a:lnTo>
                      <a:pt x="344" y="672"/>
                    </a:lnTo>
                    <a:lnTo>
                      <a:pt x="336" y="672"/>
                    </a:lnTo>
                    <a:lnTo>
                      <a:pt x="344" y="672"/>
                    </a:lnTo>
                    <a:lnTo>
                      <a:pt x="352" y="672"/>
                    </a:lnTo>
                    <a:lnTo>
                      <a:pt x="352" y="664"/>
                    </a:lnTo>
                    <a:lnTo>
                      <a:pt x="352" y="656"/>
                    </a:lnTo>
                    <a:lnTo>
                      <a:pt x="344" y="656"/>
                    </a:lnTo>
                    <a:lnTo>
                      <a:pt x="344" y="648"/>
                    </a:lnTo>
                    <a:lnTo>
                      <a:pt x="352" y="648"/>
                    </a:lnTo>
                    <a:lnTo>
                      <a:pt x="352" y="656"/>
                    </a:lnTo>
                    <a:lnTo>
                      <a:pt x="360" y="656"/>
                    </a:lnTo>
                    <a:lnTo>
                      <a:pt x="368" y="648"/>
                    </a:lnTo>
                    <a:lnTo>
                      <a:pt x="376" y="640"/>
                    </a:lnTo>
                    <a:lnTo>
                      <a:pt x="384" y="640"/>
                    </a:lnTo>
                    <a:lnTo>
                      <a:pt x="384" y="632"/>
                    </a:lnTo>
                    <a:lnTo>
                      <a:pt x="392" y="632"/>
                    </a:lnTo>
                    <a:lnTo>
                      <a:pt x="400" y="624"/>
                    </a:lnTo>
                    <a:lnTo>
                      <a:pt x="408" y="624"/>
                    </a:lnTo>
                    <a:lnTo>
                      <a:pt x="416" y="616"/>
                    </a:lnTo>
                    <a:lnTo>
                      <a:pt x="424" y="616"/>
                    </a:lnTo>
                    <a:lnTo>
                      <a:pt x="432" y="600"/>
                    </a:lnTo>
                    <a:lnTo>
                      <a:pt x="432" y="608"/>
                    </a:lnTo>
                    <a:lnTo>
                      <a:pt x="432" y="616"/>
                    </a:lnTo>
                    <a:lnTo>
                      <a:pt x="440" y="616"/>
                    </a:lnTo>
                    <a:lnTo>
                      <a:pt x="448" y="608"/>
                    </a:lnTo>
                    <a:lnTo>
                      <a:pt x="464" y="608"/>
                    </a:lnTo>
                    <a:lnTo>
                      <a:pt x="464" y="600"/>
                    </a:lnTo>
                    <a:lnTo>
                      <a:pt x="464" y="608"/>
                    </a:lnTo>
                    <a:lnTo>
                      <a:pt x="456" y="616"/>
                    </a:lnTo>
                    <a:lnTo>
                      <a:pt x="448" y="616"/>
                    </a:lnTo>
                    <a:lnTo>
                      <a:pt x="440" y="624"/>
                    </a:lnTo>
                    <a:lnTo>
                      <a:pt x="440" y="632"/>
                    </a:lnTo>
                    <a:lnTo>
                      <a:pt x="440" y="640"/>
                    </a:lnTo>
                    <a:lnTo>
                      <a:pt x="432" y="640"/>
                    </a:lnTo>
                    <a:lnTo>
                      <a:pt x="424" y="632"/>
                    </a:lnTo>
                    <a:lnTo>
                      <a:pt x="416" y="632"/>
                    </a:lnTo>
                    <a:lnTo>
                      <a:pt x="408" y="632"/>
                    </a:lnTo>
                    <a:lnTo>
                      <a:pt x="400" y="640"/>
                    </a:lnTo>
                    <a:lnTo>
                      <a:pt x="392" y="640"/>
                    </a:lnTo>
                    <a:lnTo>
                      <a:pt x="392" y="648"/>
                    </a:lnTo>
                    <a:lnTo>
                      <a:pt x="392" y="656"/>
                    </a:lnTo>
                    <a:lnTo>
                      <a:pt x="384" y="664"/>
                    </a:lnTo>
                    <a:lnTo>
                      <a:pt x="368" y="680"/>
                    </a:lnTo>
                    <a:lnTo>
                      <a:pt x="360" y="680"/>
                    </a:lnTo>
                    <a:lnTo>
                      <a:pt x="360" y="688"/>
                    </a:lnTo>
                    <a:lnTo>
                      <a:pt x="368" y="696"/>
                    </a:lnTo>
                    <a:lnTo>
                      <a:pt x="368" y="688"/>
                    </a:lnTo>
                    <a:lnTo>
                      <a:pt x="376" y="688"/>
                    </a:lnTo>
                    <a:lnTo>
                      <a:pt x="384" y="688"/>
                    </a:lnTo>
                    <a:lnTo>
                      <a:pt x="376" y="696"/>
                    </a:lnTo>
                    <a:lnTo>
                      <a:pt x="368" y="696"/>
                    </a:lnTo>
                    <a:lnTo>
                      <a:pt x="368" y="704"/>
                    </a:lnTo>
                    <a:lnTo>
                      <a:pt x="360" y="696"/>
                    </a:lnTo>
                    <a:lnTo>
                      <a:pt x="360" y="704"/>
                    </a:lnTo>
                    <a:lnTo>
                      <a:pt x="352" y="704"/>
                    </a:lnTo>
                    <a:lnTo>
                      <a:pt x="344" y="704"/>
                    </a:lnTo>
                    <a:lnTo>
                      <a:pt x="344" y="712"/>
                    </a:lnTo>
                    <a:lnTo>
                      <a:pt x="352" y="720"/>
                    </a:lnTo>
                    <a:lnTo>
                      <a:pt x="360" y="720"/>
                    </a:lnTo>
                    <a:lnTo>
                      <a:pt x="360" y="712"/>
                    </a:lnTo>
                    <a:lnTo>
                      <a:pt x="360" y="720"/>
                    </a:lnTo>
                    <a:lnTo>
                      <a:pt x="360" y="712"/>
                    </a:lnTo>
                    <a:lnTo>
                      <a:pt x="368" y="712"/>
                    </a:lnTo>
                    <a:lnTo>
                      <a:pt x="368" y="720"/>
                    </a:lnTo>
                    <a:lnTo>
                      <a:pt x="368" y="712"/>
                    </a:lnTo>
                    <a:lnTo>
                      <a:pt x="376" y="712"/>
                    </a:lnTo>
                    <a:lnTo>
                      <a:pt x="376" y="704"/>
                    </a:lnTo>
                    <a:lnTo>
                      <a:pt x="384" y="696"/>
                    </a:lnTo>
                    <a:lnTo>
                      <a:pt x="384" y="704"/>
                    </a:lnTo>
                    <a:lnTo>
                      <a:pt x="392" y="704"/>
                    </a:lnTo>
                    <a:lnTo>
                      <a:pt x="400" y="696"/>
                    </a:lnTo>
                    <a:lnTo>
                      <a:pt x="400" y="704"/>
                    </a:lnTo>
                    <a:lnTo>
                      <a:pt x="408" y="696"/>
                    </a:lnTo>
                    <a:lnTo>
                      <a:pt x="408" y="688"/>
                    </a:lnTo>
                    <a:lnTo>
                      <a:pt x="416" y="688"/>
                    </a:lnTo>
                    <a:lnTo>
                      <a:pt x="408" y="696"/>
                    </a:lnTo>
                    <a:lnTo>
                      <a:pt x="416" y="696"/>
                    </a:lnTo>
                    <a:lnTo>
                      <a:pt x="416" y="688"/>
                    </a:lnTo>
                    <a:lnTo>
                      <a:pt x="424" y="680"/>
                    </a:lnTo>
                    <a:lnTo>
                      <a:pt x="424" y="688"/>
                    </a:lnTo>
                    <a:lnTo>
                      <a:pt x="432" y="688"/>
                    </a:lnTo>
                    <a:lnTo>
                      <a:pt x="440" y="696"/>
                    </a:lnTo>
                    <a:lnTo>
                      <a:pt x="440" y="688"/>
                    </a:lnTo>
                    <a:lnTo>
                      <a:pt x="448" y="680"/>
                    </a:lnTo>
                    <a:lnTo>
                      <a:pt x="456" y="680"/>
                    </a:lnTo>
                    <a:lnTo>
                      <a:pt x="448" y="680"/>
                    </a:lnTo>
                    <a:lnTo>
                      <a:pt x="456" y="672"/>
                    </a:lnTo>
                    <a:lnTo>
                      <a:pt x="464" y="672"/>
                    </a:lnTo>
                    <a:lnTo>
                      <a:pt x="464" y="664"/>
                    </a:lnTo>
                    <a:lnTo>
                      <a:pt x="456" y="664"/>
                    </a:lnTo>
                    <a:lnTo>
                      <a:pt x="448" y="664"/>
                    </a:lnTo>
                    <a:lnTo>
                      <a:pt x="456" y="656"/>
                    </a:lnTo>
                    <a:lnTo>
                      <a:pt x="464" y="656"/>
                    </a:lnTo>
                    <a:lnTo>
                      <a:pt x="464" y="648"/>
                    </a:lnTo>
                    <a:lnTo>
                      <a:pt x="456" y="656"/>
                    </a:lnTo>
                    <a:lnTo>
                      <a:pt x="456" y="648"/>
                    </a:lnTo>
                    <a:lnTo>
                      <a:pt x="464" y="640"/>
                    </a:lnTo>
                    <a:lnTo>
                      <a:pt x="464" y="648"/>
                    </a:lnTo>
                    <a:lnTo>
                      <a:pt x="464" y="640"/>
                    </a:lnTo>
                    <a:lnTo>
                      <a:pt x="472" y="632"/>
                    </a:lnTo>
                    <a:lnTo>
                      <a:pt x="472" y="640"/>
                    </a:lnTo>
                    <a:lnTo>
                      <a:pt x="480" y="640"/>
                    </a:lnTo>
                    <a:lnTo>
                      <a:pt x="488" y="640"/>
                    </a:lnTo>
                    <a:lnTo>
                      <a:pt x="480" y="640"/>
                    </a:lnTo>
                    <a:lnTo>
                      <a:pt x="480" y="648"/>
                    </a:lnTo>
                    <a:lnTo>
                      <a:pt x="480" y="656"/>
                    </a:lnTo>
                    <a:lnTo>
                      <a:pt x="480" y="648"/>
                    </a:lnTo>
                    <a:lnTo>
                      <a:pt x="488" y="640"/>
                    </a:lnTo>
                    <a:lnTo>
                      <a:pt x="488" y="648"/>
                    </a:lnTo>
                    <a:lnTo>
                      <a:pt x="488" y="656"/>
                    </a:lnTo>
                    <a:lnTo>
                      <a:pt x="496" y="648"/>
                    </a:lnTo>
                    <a:lnTo>
                      <a:pt x="504" y="648"/>
                    </a:lnTo>
                    <a:lnTo>
                      <a:pt x="512" y="640"/>
                    </a:lnTo>
                    <a:lnTo>
                      <a:pt x="520" y="640"/>
                    </a:lnTo>
                    <a:lnTo>
                      <a:pt x="512" y="640"/>
                    </a:lnTo>
                    <a:lnTo>
                      <a:pt x="504" y="648"/>
                    </a:lnTo>
                    <a:lnTo>
                      <a:pt x="504" y="656"/>
                    </a:lnTo>
                    <a:lnTo>
                      <a:pt x="512" y="656"/>
                    </a:lnTo>
                    <a:lnTo>
                      <a:pt x="512" y="664"/>
                    </a:lnTo>
                    <a:lnTo>
                      <a:pt x="512" y="656"/>
                    </a:lnTo>
                    <a:lnTo>
                      <a:pt x="504" y="656"/>
                    </a:lnTo>
                    <a:lnTo>
                      <a:pt x="496" y="656"/>
                    </a:lnTo>
                    <a:lnTo>
                      <a:pt x="496" y="664"/>
                    </a:lnTo>
                    <a:lnTo>
                      <a:pt x="504" y="664"/>
                    </a:lnTo>
                    <a:lnTo>
                      <a:pt x="512" y="664"/>
                    </a:lnTo>
                    <a:lnTo>
                      <a:pt x="504" y="664"/>
                    </a:lnTo>
                    <a:lnTo>
                      <a:pt x="504" y="672"/>
                    </a:lnTo>
                    <a:lnTo>
                      <a:pt x="512" y="672"/>
                    </a:lnTo>
                    <a:lnTo>
                      <a:pt x="504" y="680"/>
                    </a:lnTo>
                    <a:lnTo>
                      <a:pt x="512" y="680"/>
                    </a:lnTo>
                    <a:lnTo>
                      <a:pt x="520" y="680"/>
                    </a:lnTo>
                    <a:lnTo>
                      <a:pt x="528" y="680"/>
                    </a:lnTo>
                    <a:lnTo>
                      <a:pt x="536" y="680"/>
                    </a:lnTo>
                    <a:lnTo>
                      <a:pt x="536" y="688"/>
                    </a:lnTo>
                    <a:lnTo>
                      <a:pt x="528" y="688"/>
                    </a:lnTo>
                    <a:lnTo>
                      <a:pt x="536" y="688"/>
                    </a:lnTo>
                    <a:lnTo>
                      <a:pt x="536" y="696"/>
                    </a:lnTo>
                    <a:lnTo>
                      <a:pt x="536" y="688"/>
                    </a:lnTo>
                    <a:lnTo>
                      <a:pt x="544" y="688"/>
                    </a:lnTo>
                    <a:lnTo>
                      <a:pt x="544" y="696"/>
                    </a:lnTo>
                    <a:lnTo>
                      <a:pt x="536" y="704"/>
                    </a:lnTo>
                    <a:lnTo>
                      <a:pt x="544" y="704"/>
                    </a:lnTo>
                    <a:lnTo>
                      <a:pt x="536" y="704"/>
                    </a:lnTo>
                    <a:lnTo>
                      <a:pt x="536" y="712"/>
                    </a:lnTo>
                    <a:lnTo>
                      <a:pt x="544" y="712"/>
                    </a:lnTo>
                    <a:lnTo>
                      <a:pt x="552" y="712"/>
                    </a:lnTo>
                    <a:lnTo>
                      <a:pt x="560" y="712"/>
                    </a:lnTo>
                    <a:lnTo>
                      <a:pt x="568" y="712"/>
                    </a:lnTo>
                    <a:lnTo>
                      <a:pt x="576" y="712"/>
                    </a:lnTo>
                    <a:lnTo>
                      <a:pt x="576" y="720"/>
                    </a:lnTo>
                    <a:lnTo>
                      <a:pt x="584" y="720"/>
                    </a:lnTo>
                    <a:lnTo>
                      <a:pt x="584" y="728"/>
                    </a:lnTo>
                    <a:lnTo>
                      <a:pt x="592" y="720"/>
                    </a:lnTo>
                    <a:lnTo>
                      <a:pt x="600" y="720"/>
                    </a:lnTo>
                    <a:lnTo>
                      <a:pt x="600" y="728"/>
                    </a:lnTo>
                    <a:lnTo>
                      <a:pt x="592" y="728"/>
                    </a:lnTo>
                    <a:lnTo>
                      <a:pt x="600" y="736"/>
                    </a:lnTo>
                    <a:lnTo>
                      <a:pt x="608" y="744"/>
                    </a:lnTo>
                    <a:lnTo>
                      <a:pt x="616" y="744"/>
                    </a:lnTo>
                    <a:lnTo>
                      <a:pt x="624" y="736"/>
                    </a:lnTo>
                    <a:lnTo>
                      <a:pt x="624" y="744"/>
                    </a:lnTo>
                    <a:lnTo>
                      <a:pt x="624" y="736"/>
                    </a:lnTo>
                    <a:lnTo>
                      <a:pt x="632" y="736"/>
                    </a:lnTo>
                    <a:lnTo>
                      <a:pt x="624" y="752"/>
                    </a:lnTo>
                    <a:lnTo>
                      <a:pt x="616" y="752"/>
                    </a:lnTo>
                    <a:lnTo>
                      <a:pt x="616" y="760"/>
                    </a:lnTo>
                    <a:lnTo>
                      <a:pt x="624" y="760"/>
                    </a:lnTo>
                    <a:lnTo>
                      <a:pt x="624" y="768"/>
                    </a:lnTo>
                    <a:lnTo>
                      <a:pt x="624" y="760"/>
                    </a:lnTo>
                    <a:lnTo>
                      <a:pt x="632" y="768"/>
                    </a:lnTo>
                    <a:lnTo>
                      <a:pt x="624" y="768"/>
                    </a:lnTo>
                    <a:lnTo>
                      <a:pt x="632" y="776"/>
                    </a:lnTo>
                    <a:lnTo>
                      <a:pt x="640" y="776"/>
                    </a:lnTo>
                    <a:lnTo>
                      <a:pt x="640" y="768"/>
                    </a:lnTo>
                    <a:lnTo>
                      <a:pt x="648" y="760"/>
                    </a:lnTo>
                    <a:lnTo>
                      <a:pt x="648" y="768"/>
                    </a:lnTo>
                    <a:lnTo>
                      <a:pt x="648" y="776"/>
                    </a:lnTo>
                    <a:lnTo>
                      <a:pt x="640" y="776"/>
                    </a:lnTo>
                    <a:lnTo>
                      <a:pt x="640" y="784"/>
                    </a:lnTo>
                    <a:lnTo>
                      <a:pt x="640" y="792"/>
                    </a:lnTo>
                    <a:lnTo>
                      <a:pt x="640" y="800"/>
                    </a:lnTo>
                    <a:lnTo>
                      <a:pt x="640" y="808"/>
                    </a:lnTo>
                    <a:lnTo>
                      <a:pt x="648" y="808"/>
                    </a:lnTo>
                    <a:lnTo>
                      <a:pt x="648" y="816"/>
                    </a:lnTo>
                    <a:lnTo>
                      <a:pt x="656" y="824"/>
                    </a:lnTo>
                    <a:lnTo>
                      <a:pt x="664" y="824"/>
                    </a:lnTo>
                    <a:lnTo>
                      <a:pt x="672" y="824"/>
                    </a:lnTo>
                    <a:lnTo>
                      <a:pt x="672" y="816"/>
                    </a:lnTo>
                    <a:lnTo>
                      <a:pt x="664" y="816"/>
                    </a:lnTo>
                    <a:lnTo>
                      <a:pt x="664" y="808"/>
                    </a:lnTo>
                    <a:lnTo>
                      <a:pt x="664" y="800"/>
                    </a:lnTo>
                    <a:lnTo>
                      <a:pt x="664" y="792"/>
                    </a:lnTo>
                    <a:lnTo>
                      <a:pt x="672" y="800"/>
                    </a:lnTo>
                    <a:lnTo>
                      <a:pt x="672" y="792"/>
                    </a:lnTo>
                    <a:lnTo>
                      <a:pt x="672" y="800"/>
                    </a:lnTo>
                    <a:lnTo>
                      <a:pt x="672" y="808"/>
                    </a:lnTo>
                    <a:lnTo>
                      <a:pt x="680" y="808"/>
                    </a:lnTo>
                    <a:lnTo>
                      <a:pt x="680" y="816"/>
                    </a:lnTo>
                    <a:lnTo>
                      <a:pt x="680" y="824"/>
                    </a:lnTo>
                    <a:lnTo>
                      <a:pt x="680" y="832"/>
                    </a:lnTo>
                    <a:lnTo>
                      <a:pt x="688" y="832"/>
                    </a:lnTo>
                    <a:lnTo>
                      <a:pt x="688" y="824"/>
                    </a:lnTo>
                    <a:lnTo>
                      <a:pt x="688" y="832"/>
                    </a:lnTo>
                    <a:lnTo>
                      <a:pt x="696" y="840"/>
                    </a:lnTo>
                    <a:lnTo>
                      <a:pt x="696" y="832"/>
                    </a:lnTo>
                    <a:lnTo>
                      <a:pt x="696" y="824"/>
                    </a:lnTo>
                    <a:lnTo>
                      <a:pt x="696" y="816"/>
                    </a:lnTo>
                    <a:lnTo>
                      <a:pt x="696" y="808"/>
                    </a:lnTo>
                    <a:lnTo>
                      <a:pt x="704" y="800"/>
                    </a:lnTo>
                    <a:lnTo>
                      <a:pt x="704" y="784"/>
                    </a:lnTo>
                    <a:lnTo>
                      <a:pt x="704" y="776"/>
                    </a:lnTo>
                    <a:lnTo>
                      <a:pt x="704" y="784"/>
                    </a:lnTo>
                    <a:lnTo>
                      <a:pt x="712" y="776"/>
                    </a:lnTo>
                    <a:lnTo>
                      <a:pt x="712" y="784"/>
                    </a:lnTo>
                    <a:lnTo>
                      <a:pt x="712" y="792"/>
                    </a:lnTo>
                    <a:lnTo>
                      <a:pt x="704" y="808"/>
                    </a:lnTo>
                    <a:lnTo>
                      <a:pt x="704" y="816"/>
                    </a:lnTo>
                    <a:lnTo>
                      <a:pt x="704" y="824"/>
                    </a:lnTo>
                    <a:lnTo>
                      <a:pt x="704" y="832"/>
                    </a:lnTo>
                    <a:lnTo>
                      <a:pt x="712" y="840"/>
                    </a:lnTo>
                    <a:lnTo>
                      <a:pt x="712" y="848"/>
                    </a:lnTo>
                    <a:lnTo>
                      <a:pt x="720" y="848"/>
                    </a:lnTo>
                    <a:lnTo>
                      <a:pt x="728" y="848"/>
                    </a:lnTo>
                    <a:lnTo>
                      <a:pt x="736" y="848"/>
                    </a:lnTo>
                    <a:lnTo>
                      <a:pt x="728" y="856"/>
                    </a:lnTo>
                    <a:lnTo>
                      <a:pt x="720" y="856"/>
                    </a:lnTo>
                    <a:lnTo>
                      <a:pt x="728" y="856"/>
                    </a:lnTo>
                    <a:lnTo>
                      <a:pt x="728" y="864"/>
                    </a:lnTo>
                    <a:lnTo>
                      <a:pt x="720" y="864"/>
                    </a:lnTo>
                    <a:lnTo>
                      <a:pt x="728" y="872"/>
                    </a:lnTo>
                    <a:lnTo>
                      <a:pt x="720" y="872"/>
                    </a:lnTo>
                    <a:lnTo>
                      <a:pt x="712" y="872"/>
                    </a:lnTo>
                    <a:lnTo>
                      <a:pt x="720" y="872"/>
                    </a:lnTo>
                    <a:lnTo>
                      <a:pt x="712" y="880"/>
                    </a:lnTo>
                    <a:lnTo>
                      <a:pt x="712" y="888"/>
                    </a:lnTo>
                    <a:lnTo>
                      <a:pt x="712" y="896"/>
                    </a:lnTo>
                    <a:lnTo>
                      <a:pt x="720" y="896"/>
                    </a:lnTo>
                    <a:lnTo>
                      <a:pt x="720" y="904"/>
                    </a:lnTo>
                    <a:lnTo>
                      <a:pt x="720" y="896"/>
                    </a:lnTo>
                    <a:lnTo>
                      <a:pt x="728" y="904"/>
                    </a:lnTo>
                    <a:lnTo>
                      <a:pt x="720" y="904"/>
                    </a:lnTo>
                    <a:lnTo>
                      <a:pt x="720" y="912"/>
                    </a:lnTo>
                    <a:lnTo>
                      <a:pt x="728" y="912"/>
                    </a:lnTo>
                    <a:lnTo>
                      <a:pt x="728" y="920"/>
                    </a:lnTo>
                    <a:lnTo>
                      <a:pt x="720" y="920"/>
                    </a:lnTo>
                    <a:lnTo>
                      <a:pt x="720" y="928"/>
                    </a:lnTo>
                    <a:lnTo>
                      <a:pt x="728" y="936"/>
                    </a:lnTo>
                    <a:lnTo>
                      <a:pt x="736" y="936"/>
                    </a:lnTo>
                    <a:lnTo>
                      <a:pt x="736" y="944"/>
                    </a:lnTo>
                    <a:lnTo>
                      <a:pt x="728" y="944"/>
                    </a:lnTo>
                    <a:lnTo>
                      <a:pt x="720" y="944"/>
                    </a:lnTo>
                    <a:lnTo>
                      <a:pt x="712" y="952"/>
                    </a:lnTo>
                    <a:lnTo>
                      <a:pt x="712" y="960"/>
                    </a:lnTo>
                    <a:lnTo>
                      <a:pt x="712" y="968"/>
                    </a:lnTo>
                    <a:lnTo>
                      <a:pt x="720" y="968"/>
                    </a:lnTo>
                    <a:lnTo>
                      <a:pt x="720" y="960"/>
                    </a:lnTo>
                    <a:lnTo>
                      <a:pt x="720" y="952"/>
                    </a:lnTo>
                    <a:lnTo>
                      <a:pt x="728" y="952"/>
                    </a:lnTo>
                    <a:lnTo>
                      <a:pt x="736" y="952"/>
                    </a:lnTo>
                    <a:lnTo>
                      <a:pt x="744" y="952"/>
                    </a:lnTo>
                    <a:lnTo>
                      <a:pt x="736" y="952"/>
                    </a:lnTo>
                    <a:lnTo>
                      <a:pt x="736" y="960"/>
                    </a:lnTo>
                    <a:lnTo>
                      <a:pt x="744" y="960"/>
                    </a:lnTo>
                    <a:lnTo>
                      <a:pt x="736" y="960"/>
                    </a:lnTo>
                    <a:lnTo>
                      <a:pt x="736" y="968"/>
                    </a:lnTo>
                    <a:lnTo>
                      <a:pt x="736" y="976"/>
                    </a:lnTo>
                    <a:lnTo>
                      <a:pt x="736" y="984"/>
                    </a:lnTo>
                    <a:lnTo>
                      <a:pt x="728" y="984"/>
                    </a:lnTo>
                    <a:lnTo>
                      <a:pt x="728" y="992"/>
                    </a:lnTo>
                    <a:lnTo>
                      <a:pt x="736" y="992"/>
                    </a:lnTo>
                    <a:lnTo>
                      <a:pt x="728" y="992"/>
                    </a:lnTo>
                    <a:lnTo>
                      <a:pt x="728" y="1000"/>
                    </a:lnTo>
                    <a:lnTo>
                      <a:pt x="720" y="1000"/>
                    </a:lnTo>
                    <a:lnTo>
                      <a:pt x="728" y="1008"/>
                    </a:lnTo>
                    <a:lnTo>
                      <a:pt x="728" y="1000"/>
                    </a:lnTo>
                    <a:lnTo>
                      <a:pt x="736" y="1000"/>
                    </a:lnTo>
                    <a:lnTo>
                      <a:pt x="744" y="992"/>
                    </a:lnTo>
                    <a:lnTo>
                      <a:pt x="752" y="984"/>
                    </a:lnTo>
                    <a:lnTo>
                      <a:pt x="752" y="976"/>
                    </a:lnTo>
                    <a:lnTo>
                      <a:pt x="752" y="968"/>
                    </a:lnTo>
                    <a:lnTo>
                      <a:pt x="752" y="960"/>
                    </a:lnTo>
                  </a:path>
                </a:pathLst>
              </a:custGeom>
              <a:grpFill/>
              <a:ln w="12700">
                <a:noFill/>
                <a:prstDash val="solid"/>
                <a:round/>
                <a:headEnd/>
                <a:tailEnd/>
              </a:ln>
            </p:spPr>
            <p:txBody>
              <a:bodyPr/>
              <a:lstStyle/>
              <a:p>
                <a:endParaRPr lang="en-US">
                  <a:solidFill>
                    <a:srgbClr val="000000"/>
                  </a:solidFill>
                </a:endParaRPr>
              </a:p>
            </p:txBody>
          </p:sp>
          <p:sp>
            <p:nvSpPr>
              <p:cNvPr id="1213" name="Freeform 253"/>
              <p:cNvSpPr>
                <a:spLocks/>
              </p:cNvSpPr>
              <p:nvPr/>
            </p:nvSpPr>
            <p:spPr bwMode="auto">
              <a:xfrm>
                <a:off x="2067076" y="2704192"/>
                <a:ext cx="1890" cy="15119"/>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14" name="Freeform 254"/>
              <p:cNvSpPr>
                <a:spLocks/>
              </p:cNvSpPr>
              <p:nvPr/>
            </p:nvSpPr>
            <p:spPr bwMode="auto">
              <a:xfrm>
                <a:off x="2051957" y="2719311"/>
                <a:ext cx="30238" cy="30238"/>
              </a:xfrm>
              <a:custGeom>
                <a:avLst/>
                <a:gdLst>
                  <a:gd name="T0" fmla="*/ 8 w 16"/>
                  <a:gd name="T1" fmla="*/ 0 h 16"/>
                  <a:gd name="T2" fmla="*/ 8 w 16"/>
                  <a:gd name="T3" fmla="*/ 8 h 16"/>
                  <a:gd name="T4" fmla="*/ 16 w 16"/>
                  <a:gd name="T5" fmla="*/ 16 h 16"/>
                  <a:gd name="T6" fmla="*/ 8 w 16"/>
                  <a:gd name="T7" fmla="*/ 8 h 16"/>
                  <a:gd name="T8" fmla="*/ 0 w 16"/>
                  <a:gd name="T9" fmla="*/ 0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lnTo>
                      <a:pt x="8" y="8"/>
                    </a:lnTo>
                    <a:lnTo>
                      <a:pt x="16" y="16"/>
                    </a:lnTo>
                    <a:lnTo>
                      <a:pt x="8" y="8"/>
                    </a:lnTo>
                    <a:lnTo>
                      <a:pt x="0" y="0"/>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15" name="Freeform 255"/>
              <p:cNvSpPr>
                <a:spLocks/>
              </p:cNvSpPr>
              <p:nvPr/>
            </p:nvSpPr>
            <p:spPr bwMode="auto">
              <a:xfrm>
                <a:off x="2505529" y="2537883"/>
                <a:ext cx="45357" cy="60476"/>
              </a:xfrm>
              <a:custGeom>
                <a:avLst/>
                <a:gdLst>
                  <a:gd name="T0" fmla="*/ 24 w 24"/>
                  <a:gd name="T1" fmla="*/ 16 h 32"/>
                  <a:gd name="T2" fmla="*/ 16 w 24"/>
                  <a:gd name="T3" fmla="*/ 24 h 32"/>
                  <a:gd name="T4" fmla="*/ 16 w 24"/>
                  <a:gd name="T5" fmla="*/ 32 h 32"/>
                  <a:gd name="T6" fmla="*/ 16 w 24"/>
                  <a:gd name="T7" fmla="*/ 24 h 32"/>
                  <a:gd name="T8" fmla="*/ 8 w 24"/>
                  <a:gd name="T9" fmla="*/ 24 h 32"/>
                  <a:gd name="T10" fmla="*/ 0 w 24"/>
                  <a:gd name="T11" fmla="*/ 24 h 32"/>
                  <a:gd name="T12" fmla="*/ 0 w 24"/>
                  <a:gd name="T13" fmla="*/ 16 h 32"/>
                  <a:gd name="T14" fmla="*/ 16 w 24"/>
                  <a:gd name="T15" fmla="*/ 8 h 32"/>
                  <a:gd name="T16" fmla="*/ 16 w 24"/>
                  <a:gd name="T17" fmla="*/ 0 h 32"/>
                  <a:gd name="T18" fmla="*/ 24 w 24"/>
                  <a:gd name="T19" fmla="*/ 8 h 32"/>
                  <a:gd name="T20" fmla="*/ 24 w 24"/>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24" y="16"/>
                    </a:moveTo>
                    <a:lnTo>
                      <a:pt x="16" y="24"/>
                    </a:lnTo>
                    <a:lnTo>
                      <a:pt x="16" y="32"/>
                    </a:lnTo>
                    <a:lnTo>
                      <a:pt x="16" y="24"/>
                    </a:lnTo>
                    <a:lnTo>
                      <a:pt x="8" y="24"/>
                    </a:lnTo>
                    <a:lnTo>
                      <a:pt x="0" y="24"/>
                    </a:lnTo>
                    <a:lnTo>
                      <a:pt x="0" y="16"/>
                    </a:lnTo>
                    <a:lnTo>
                      <a:pt x="16" y="8"/>
                    </a:lnTo>
                    <a:lnTo>
                      <a:pt x="16" y="0"/>
                    </a:lnTo>
                    <a:lnTo>
                      <a:pt x="24" y="8"/>
                    </a:lnTo>
                    <a:lnTo>
                      <a:pt x="24" y="16"/>
                    </a:lnTo>
                    <a:close/>
                  </a:path>
                </a:pathLst>
              </a:custGeom>
              <a:grpFill/>
              <a:ln w="12700">
                <a:noFill/>
                <a:prstDash val="solid"/>
                <a:round/>
                <a:headEnd/>
                <a:tailEnd/>
              </a:ln>
            </p:spPr>
            <p:txBody>
              <a:bodyPr/>
              <a:lstStyle/>
              <a:p>
                <a:endParaRPr lang="en-US">
                  <a:solidFill>
                    <a:srgbClr val="000000"/>
                  </a:solidFill>
                </a:endParaRPr>
              </a:p>
            </p:txBody>
          </p:sp>
          <p:sp>
            <p:nvSpPr>
              <p:cNvPr id="1216" name="Freeform 256"/>
              <p:cNvSpPr>
                <a:spLocks/>
              </p:cNvSpPr>
              <p:nvPr/>
            </p:nvSpPr>
            <p:spPr bwMode="auto">
              <a:xfrm>
                <a:off x="2550886" y="2522764"/>
                <a:ext cx="30238" cy="45357"/>
              </a:xfrm>
              <a:custGeom>
                <a:avLst/>
                <a:gdLst>
                  <a:gd name="T0" fmla="*/ 0 w 16"/>
                  <a:gd name="T1" fmla="*/ 24 h 24"/>
                  <a:gd name="T2" fmla="*/ 8 w 16"/>
                  <a:gd name="T3" fmla="*/ 16 h 24"/>
                  <a:gd name="T4" fmla="*/ 0 w 16"/>
                  <a:gd name="T5" fmla="*/ 16 h 24"/>
                  <a:gd name="T6" fmla="*/ 0 w 16"/>
                  <a:gd name="T7" fmla="*/ 8 h 24"/>
                  <a:gd name="T8" fmla="*/ 8 w 16"/>
                  <a:gd name="T9" fmla="*/ 0 h 24"/>
                  <a:gd name="T10" fmla="*/ 16 w 16"/>
                  <a:gd name="T11" fmla="*/ 8 h 24"/>
                  <a:gd name="T12" fmla="*/ 16 w 16"/>
                  <a:gd name="T13" fmla="*/ 16 h 24"/>
                  <a:gd name="T14" fmla="*/ 8 w 16"/>
                  <a:gd name="T15" fmla="*/ 24 h 24"/>
                  <a:gd name="T16" fmla="*/ 0 w 16"/>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4">
                    <a:moveTo>
                      <a:pt x="0" y="24"/>
                    </a:moveTo>
                    <a:lnTo>
                      <a:pt x="8" y="16"/>
                    </a:lnTo>
                    <a:lnTo>
                      <a:pt x="0" y="16"/>
                    </a:lnTo>
                    <a:lnTo>
                      <a:pt x="0" y="8"/>
                    </a:lnTo>
                    <a:lnTo>
                      <a:pt x="8" y="0"/>
                    </a:lnTo>
                    <a:lnTo>
                      <a:pt x="16" y="8"/>
                    </a:lnTo>
                    <a:lnTo>
                      <a:pt x="16" y="16"/>
                    </a:lnTo>
                    <a:lnTo>
                      <a:pt x="8" y="24"/>
                    </a:lnTo>
                    <a:lnTo>
                      <a:pt x="0" y="24"/>
                    </a:lnTo>
                    <a:close/>
                  </a:path>
                </a:pathLst>
              </a:custGeom>
              <a:grpFill/>
              <a:ln w="12700">
                <a:noFill/>
                <a:prstDash val="solid"/>
                <a:round/>
                <a:headEnd/>
                <a:tailEnd/>
              </a:ln>
            </p:spPr>
            <p:txBody>
              <a:bodyPr/>
              <a:lstStyle/>
              <a:p>
                <a:endParaRPr lang="en-US">
                  <a:solidFill>
                    <a:srgbClr val="000000"/>
                  </a:solidFill>
                </a:endParaRPr>
              </a:p>
            </p:txBody>
          </p:sp>
          <p:sp>
            <p:nvSpPr>
              <p:cNvPr id="1217" name="Freeform 257"/>
              <p:cNvSpPr>
                <a:spLocks/>
              </p:cNvSpPr>
              <p:nvPr/>
            </p:nvSpPr>
            <p:spPr bwMode="auto">
              <a:xfrm>
                <a:off x="2641600" y="2507644"/>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18" name="Freeform 267"/>
              <p:cNvSpPr>
                <a:spLocks/>
              </p:cNvSpPr>
              <p:nvPr/>
            </p:nvSpPr>
            <p:spPr bwMode="auto">
              <a:xfrm>
                <a:off x="2505529" y="2295978"/>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19" name="Freeform 268"/>
              <p:cNvSpPr>
                <a:spLocks/>
              </p:cNvSpPr>
              <p:nvPr/>
            </p:nvSpPr>
            <p:spPr bwMode="auto">
              <a:xfrm>
                <a:off x="2278743" y="2386692"/>
                <a:ext cx="105833" cy="120952"/>
              </a:xfrm>
              <a:custGeom>
                <a:avLst/>
                <a:gdLst>
                  <a:gd name="T0" fmla="*/ 32 w 56"/>
                  <a:gd name="T1" fmla="*/ 56 h 64"/>
                  <a:gd name="T2" fmla="*/ 32 w 56"/>
                  <a:gd name="T3" fmla="*/ 48 h 64"/>
                  <a:gd name="T4" fmla="*/ 24 w 56"/>
                  <a:gd name="T5" fmla="*/ 40 h 64"/>
                  <a:gd name="T6" fmla="*/ 24 w 56"/>
                  <a:gd name="T7" fmla="*/ 32 h 64"/>
                  <a:gd name="T8" fmla="*/ 16 w 56"/>
                  <a:gd name="T9" fmla="*/ 24 h 64"/>
                  <a:gd name="T10" fmla="*/ 8 w 56"/>
                  <a:gd name="T11" fmla="*/ 24 h 64"/>
                  <a:gd name="T12" fmla="*/ 8 w 56"/>
                  <a:gd name="T13" fmla="*/ 32 h 64"/>
                  <a:gd name="T14" fmla="*/ 0 w 56"/>
                  <a:gd name="T15" fmla="*/ 24 h 64"/>
                  <a:gd name="T16" fmla="*/ 0 w 56"/>
                  <a:gd name="T17" fmla="*/ 16 h 64"/>
                  <a:gd name="T18" fmla="*/ 8 w 56"/>
                  <a:gd name="T19" fmla="*/ 8 h 64"/>
                  <a:gd name="T20" fmla="*/ 16 w 56"/>
                  <a:gd name="T21" fmla="*/ 0 h 64"/>
                  <a:gd name="T22" fmla="*/ 16 w 56"/>
                  <a:gd name="T23" fmla="*/ 8 h 64"/>
                  <a:gd name="T24" fmla="*/ 24 w 56"/>
                  <a:gd name="T25" fmla="*/ 8 h 64"/>
                  <a:gd name="T26" fmla="*/ 24 w 56"/>
                  <a:gd name="T27" fmla="*/ 16 h 64"/>
                  <a:gd name="T28" fmla="*/ 32 w 56"/>
                  <a:gd name="T29" fmla="*/ 16 h 64"/>
                  <a:gd name="T30" fmla="*/ 40 w 56"/>
                  <a:gd name="T31" fmla="*/ 16 h 64"/>
                  <a:gd name="T32" fmla="*/ 48 w 56"/>
                  <a:gd name="T33" fmla="*/ 16 h 64"/>
                  <a:gd name="T34" fmla="*/ 48 w 56"/>
                  <a:gd name="T35" fmla="*/ 24 h 64"/>
                  <a:gd name="T36" fmla="*/ 40 w 56"/>
                  <a:gd name="T37" fmla="*/ 24 h 64"/>
                  <a:gd name="T38" fmla="*/ 48 w 56"/>
                  <a:gd name="T39" fmla="*/ 32 h 64"/>
                  <a:gd name="T40" fmla="*/ 48 w 56"/>
                  <a:gd name="T41" fmla="*/ 40 h 64"/>
                  <a:gd name="T42" fmla="*/ 56 w 56"/>
                  <a:gd name="T43" fmla="*/ 48 h 64"/>
                  <a:gd name="T44" fmla="*/ 56 w 56"/>
                  <a:gd name="T45" fmla="*/ 56 h 64"/>
                  <a:gd name="T46" fmla="*/ 48 w 56"/>
                  <a:gd name="T47" fmla="*/ 48 h 64"/>
                  <a:gd name="T48" fmla="*/ 48 w 56"/>
                  <a:gd name="T49" fmla="*/ 56 h 64"/>
                  <a:gd name="T50" fmla="*/ 40 w 56"/>
                  <a:gd name="T51" fmla="*/ 56 h 64"/>
                  <a:gd name="T52" fmla="*/ 32 w 56"/>
                  <a:gd name="T53" fmla="*/ 64 h 64"/>
                  <a:gd name="T54" fmla="*/ 32 w 56"/>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64">
                    <a:moveTo>
                      <a:pt x="32" y="56"/>
                    </a:moveTo>
                    <a:lnTo>
                      <a:pt x="32" y="48"/>
                    </a:lnTo>
                    <a:lnTo>
                      <a:pt x="24" y="40"/>
                    </a:lnTo>
                    <a:lnTo>
                      <a:pt x="24" y="32"/>
                    </a:lnTo>
                    <a:lnTo>
                      <a:pt x="16" y="24"/>
                    </a:lnTo>
                    <a:lnTo>
                      <a:pt x="8" y="24"/>
                    </a:lnTo>
                    <a:lnTo>
                      <a:pt x="8" y="32"/>
                    </a:lnTo>
                    <a:lnTo>
                      <a:pt x="0" y="24"/>
                    </a:lnTo>
                    <a:lnTo>
                      <a:pt x="0" y="16"/>
                    </a:lnTo>
                    <a:lnTo>
                      <a:pt x="8" y="8"/>
                    </a:lnTo>
                    <a:lnTo>
                      <a:pt x="16" y="0"/>
                    </a:lnTo>
                    <a:lnTo>
                      <a:pt x="16" y="8"/>
                    </a:lnTo>
                    <a:lnTo>
                      <a:pt x="24" y="8"/>
                    </a:lnTo>
                    <a:lnTo>
                      <a:pt x="24" y="16"/>
                    </a:lnTo>
                    <a:lnTo>
                      <a:pt x="32" y="16"/>
                    </a:lnTo>
                    <a:lnTo>
                      <a:pt x="40" y="16"/>
                    </a:lnTo>
                    <a:lnTo>
                      <a:pt x="48" y="16"/>
                    </a:lnTo>
                    <a:lnTo>
                      <a:pt x="48" y="24"/>
                    </a:lnTo>
                    <a:lnTo>
                      <a:pt x="40" y="24"/>
                    </a:lnTo>
                    <a:lnTo>
                      <a:pt x="48" y="32"/>
                    </a:lnTo>
                    <a:lnTo>
                      <a:pt x="48" y="40"/>
                    </a:lnTo>
                    <a:lnTo>
                      <a:pt x="56" y="48"/>
                    </a:lnTo>
                    <a:lnTo>
                      <a:pt x="56" y="56"/>
                    </a:lnTo>
                    <a:lnTo>
                      <a:pt x="48" y="48"/>
                    </a:lnTo>
                    <a:lnTo>
                      <a:pt x="48" y="56"/>
                    </a:lnTo>
                    <a:lnTo>
                      <a:pt x="40" y="56"/>
                    </a:lnTo>
                    <a:lnTo>
                      <a:pt x="32" y="64"/>
                    </a:lnTo>
                    <a:lnTo>
                      <a:pt x="32" y="56"/>
                    </a:lnTo>
                    <a:close/>
                  </a:path>
                </a:pathLst>
              </a:custGeom>
              <a:grpFill/>
              <a:ln w="12700">
                <a:noFill/>
                <a:prstDash val="solid"/>
                <a:round/>
                <a:headEnd/>
                <a:tailEnd/>
              </a:ln>
            </p:spPr>
            <p:txBody>
              <a:bodyPr/>
              <a:lstStyle/>
              <a:p>
                <a:endParaRPr lang="en-US">
                  <a:solidFill>
                    <a:srgbClr val="000000"/>
                  </a:solidFill>
                </a:endParaRPr>
              </a:p>
            </p:txBody>
          </p:sp>
          <p:sp>
            <p:nvSpPr>
              <p:cNvPr id="1220" name="Freeform 269"/>
              <p:cNvSpPr>
                <a:spLocks/>
              </p:cNvSpPr>
              <p:nvPr/>
            </p:nvSpPr>
            <p:spPr bwMode="auto">
              <a:xfrm>
                <a:off x="2263624" y="2810025"/>
                <a:ext cx="75595" cy="45357"/>
              </a:xfrm>
              <a:custGeom>
                <a:avLst/>
                <a:gdLst>
                  <a:gd name="T0" fmla="*/ 0 w 40"/>
                  <a:gd name="T1" fmla="*/ 0 h 24"/>
                  <a:gd name="T2" fmla="*/ 8 w 40"/>
                  <a:gd name="T3" fmla="*/ 0 h 24"/>
                  <a:gd name="T4" fmla="*/ 16 w 40"/>
                  <a:gd name="T5" fmla="*/ 0 h 24"/>
                  <a:gd name="T6" fmla="*/ 24 w 40"/>
                  <a:gd name="T7" fmla="*/ 0 h 24"/>
                  <a:gd name="T8" fmla="*/ 32 w 40"/>
                  <a:gd name="T9" fmla="*/ 0 h 24"/>
                  <a:gd name="T10" fmla="*/ 40 w 40"/>
                  <a:gd name="T11" fmla="*/ 0 h 24"/>
                  <a:gd name="T12" fmla="*/ 32 w 40"/>
                  <a:gd name="T13" fmla="*/ 0 h 24"/>
                  <a:gd name="T14" fmla="*/ 40 w 40"/>
                  <a:gd name="T15" fmla="*/ 8 h 24"/>
                  <a:gd name="T16" fmla="*/ 40 w 40"/>
                  <a:gd name="T17" fmla="*/ 16 h 24"/>
                  <a:gd name="T18" fmla="*/ 32 w 40"/>
                  <a:gd name="T19" fmla="*/ 24 h 24"/>
                  <a:gd name="T20" fmla="*/ 24 w 40"/>
                  <a:gd name="T21" fmla="*/ 24 h 24"/>
                  <a:gd name="T22" fmla="*/ 16 w 40"/>
                  <a:gd name="T23" fmla="*/ 16 h 24"/>
                  <a:gd name="T24" fmla="*/ 8 w 40"/>
                  <a:gd name="T25" fmla="*/ 16 h 24"/>
                  <a:gd name="T26" fmla="*/ 8 w 40"/>
                  <a:gd name="T27" fmla="*/ 8 h 24"/>
                  <a:gd name="T28" fmla="*/ 0 w 40"/>
                  <a:gd name="T2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4">
                    <a:moveTo>
                      <a:pt x="0" y="0"/>
                    </a:moveTo>
                    <a:lnTo>
                      <a:pt x="8" y="0"/>
                    </a:lnTo>
                    <a:lnTo>
                      <a:pt x="16" y="0"/>
                    </a:lnTo>
                    <a:lnTo>
                      <a:pt x="24" y="0"/>
                    </a:lnTo>
                    <a:lnTo>
                      <a:pt x="32" y="0"/>
                    </a:lnTo>
                    <a:lnTo>
                      <a:pt x="40" y="0"/>
                    </a:lnTo>
                    <a:lnTo>
                      <a:pt x="32" y="0"/>
                    </a:lnTo>
                    <a:lnTo>
                      <a:pt x="40" y="8"/>
                    </a:lnTo>
                    <a:lnTo>
                      <a:pt x="40" y="16"/>
                    </a:lnTo>
                    <a:lnTo>
                      <a:pt x="32" y="24"/>
                    </a:lnTo>
                    <a:lnTo>
                      <a:pt x="24" y="24"/>
                    </a:lnTo>
                    <a:lnTo>
                      <a:pt x="16" y="16"/>
                    </a:lnTo>
                    <a:lnTo>
                      <a:pt x="8" y="16"/>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21" name="Freeform 270"/>
              <p:cNvSpPr>
                <a:spLocks/>
              </p:cNvSpPr>
              <p:nvPr/>
            </p:nvSpPr>
            <p:spPr bwMode="auto">
              <a:xfrm>
                <a:off x="2883505" y="2946097"/>
                <a:ext cx="15119" cy="15119"/>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22" name="Freeform 271"/>
              <p:cNvSpPr>
                <a:spLocks/>
              </p:cNvSpPr>
              <p:nvPr/>
            </p:nvSpPr>
            <p:spPr bwMode="auto">
              <a:xfrm>
                <a:off x="2792790" y="3021692"/>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23" name="Freeform 272"/>
              <p:cNvSpPr>
                <a:spLocks/>
              </p:cNvSpPr>
              <p:nvPr/>
            </p:nvSpPr>
            <p:spPr bwMode="auto">
              <a:xfrm>
                <a:off x="2792790" y="3097287"/>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24" name="Freeform 273"/>
              <p:cNvSpPr>
                <a:spLocks/>
              </p:cNvSpPr>
              <p:nvPr/>
            </p:nvSpPr>
            <p:spPr bwMode="auto">
              <a:xfrm>
                <a:off x="2747433" y="3112406"/>
                <a:ext cx="60476" cy="45357"/>
              </a:xfrm>
              <a:custGeom>
                <a:avLst/>
                <a:gdLst>
                  <a:gd name="T0" fmla="*/ 0 w 32"/>
                  <a:gd name="T1" fmla="*/ 16 h 24"/>
                  <a:gd name="T2" fmla="*/ 8 w 32"/>
                  <a:gd name="T3" fmla="*/ 16 h 24"/>
                  <a:gd name="T4" fmla="*/ 8 w 32"/>
                  <a:gd name="T5" fmla="*/ 8 h 24"/>
                  <a:gd name="T6" fmla="*/ 8 w 32"/>
                  <a:gd name="T7" fmla="*/ 16 h 24"/>
                  <a:gd name="T8" fmla="*/ 16 w 32"/>
                  <a:gd name="T9" fmla="*/ 8 h 24"/>
                  <a:gd name="T10" fmla="*/ 8 w 32"/>
                  <a:gd name="T11" fmla="*/ 8 h 24"/>
                  <a:gd name="T12" fmla="*/ 16 w 32"/>
                  <a:gd name="T13" fmla="*/ 0 h 24"/>
                  <a:gd name="T14" fmla="*/ 24 w 32"/>
                  <a:gd name="T15" fmla="*/ 0 h 24"/>
                  <a:gd name="T16" fmla="*/ 24 w 32"/>
                  <a:gd name="T17" fmla="*/ 8 h 24"/>
                  <a:gd name="T18" fmla="*/ 32 w 32"/>
                  <a:gd name="T19" fmla="*/ 8 h 24"/>
                  <a:gd name="T20" fmla="*/ 24 w 32"/>
                  <a:gd name="T21" fmla="*/ 8 h 24"/>
                  <a:gd name="T22" fmla="*/ 24 w 32"/>
                  <a:gd name="T23" fmla="*/ 16 h 24"/>
                  <a:gd name="T24" fmla="*/ 32 w 32"/>
                  <a:gd name="T25" fmla="*/ 16 h 24"/>
                  <a:gd name="T26" fmla="*/ 24 w 32"/>
                  <a:gd name="T27" fmla="*/ 16 h 24"/>
                  <a:gd name="T28" fmla="*/ 16 w 32"/>
                  <a:gd name="T29" fmla="*/ 24 h 24"/>
                  <a:gd name="T30" fmla="*/ 16 w 32"/>
                  <a:gd name="T31" fmla="*/ 16 h 24"/>
                  <a:gd name="T32" fmla="*/ 8 w 32"/>
                  <a:gd name="T33" fmla="*/ 24 h 24"/>
                  <a:gd name="T34" fmla="*/ 0 w 32"/>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4">
                    <a:moveTo>
                      <a:pt x="0" y="16"/>
                    </a:moveTo>
                    <a:lnTo>
                      <a:pt x="8" y="16"/>
                    </a:lnTo>
                    <a:lnTo>
                      <a:pt x="8" y="8"/>
                    </a:lnTo>
                    <a:lnTo>
                      <a:pt x="8" y="16"/>
                    </a:lnTo>
                    <a:lnTo>
                      <a:pt x="16" y="8"/>
                    </a:lnTo>
                    <a:lnTo>
                      <a:pt x="8" y="8"/>
                    </a:lnTo>
                    <a:lnTo>
                      <a:pt x="16" y="0"/>
                    </a:lnTo>
                    <a:lnTo>
                      <a:pt x="24" y="0"/>
                    </a:lnTo>
                    <a:lnTo>
                      <a:pt x="24" y="8"/>
                    </a:lnTo>
                    <a:lnTo>
                      <a:pt x="32" y="8"/>
                    </a:lnTo>
                    <a:lnTo>
                      <a:pt x="24" y="8"/>
                    </a:lnTo>
                    <a:lnTo>
                      <a:pt x="24" y="16"/>
                    </a:lnTo>
                    <a:lnTo>
                      <a:pt x="32" y="16"/>
                    </a:lnTo>
                    <a:lnTo>
                      <a:pt x="24" y="16"/>
                    </a:lnTo>
                    <a:lnTo>
                      <a:pt x="16" y="24"/>
                    </a:lnTo>
                    <a:lnTo>
                      <a:pt x="16" y="16"/>
                    </a:lnTo>
                    <a:lnTo>
                      <a:pt x="8" y="24"/>
                    </a:lnTo>
                    <a:lnTo>
                      <a:pt x="0" y="16"/>
                    </a:lnTo>
                    <a:close/>
                  </a:path>
                </a:pathLst>
              </a:custGeom>
              <a:grpFill/>
              <a:ln w="12700">
                <a:noFill/>
                <a:prstDash val="solid"/>
                <a:round/>
                <a:headEnd/>
                <a:tailEnd/>
              </a:ln>
            </p:spPr>
            <p:txBody>
              <a:bodyPr/>
              <a:lstStyle/>
              <a:p>
                <a:endParaRPr lang="en-US">
                  <a:solidFill>
                    <a:srgbClr val="000000"/>
                  </a:solidFill>
                </a:endParaRPr>
              </a:p>
            </p:txBody>
          </p:sp>
          <p:sp>
            <p:nvSpPr>
              <p:cNvPr id="1225" name="Freeform 274"/>
              <p:cNvSpPr>
                <a:spLocks/>
              </p:cNvSpPr>
              <p:nvPr/>
            </p:nvSpPr>
            <p:spPr bwMode="auto">
              <a:xfrm>
                <a:off x="2641600" y="3157763"/>
                <a:ext cx="136071" cy="105833"/>
              </a:xfrm>
              <a:custGeom>
                <a:avLst/>
                <a:gdLst>
                  <a:gd name="T0" fmla="*/ 8 w 72"/>
                  <a:gd name="T1" fmla="*/ 40 h 56"/>
                  <a:gd name="T2" fmla="*/ 8 w 72"/>
                  <a:gd name="T3" fmla="*/ 48 h 56"/>
                  <a:gd name="T4" fmla="*/ 0 w 72"/>
                  <a:gd name="T5" fmla="*/ 48 h 56"/>
                  <a:gd name="T6" fmla="*/ 0 w 72"/>
                  <a:gd name="T7" fmla="*/ 40 h 56"/>
                  <a:gd name="T8" fmla="*/ 0 w 72"/>
                  <a:gd name="T9" fmla="*/ 32 h 56"/>
                  <a:gd name="T10" fmla="*/ 0 w 72"/>
                  <a:gd name="T11" fmla="*/ 24 h 56"/>
                  <a:gd name="T12" fmla="*/ 8 w 72"/>
                  <a:gd name="T13" fmla="*/ 16 h 56"/>
                  <a:gd name="T14" fmla="*/ 16 w 72"/>
                  <a:gd name="T15" fmla="*/ 8 h 56"/>
                  <a:gd name="T16" fmla="*/ 24 w 72"/>
                  <a:gd name="T17" fmla="*/ 8 h 56"/>
                  <a:gd name="T18" fmla="*/ 24 w 72"/>
                  <a:gd name="T19" fmla="*/ 24 h 56"/>
                  <a:gd name="T20" fmla="*/ 32 w 72"/>
                  <a:gd name="T21" fmla="*/ 24 h 56"/>
                  <a:gd name="T22" fmla="*/ 32 w 72"/>
                  <a:gd name="T23" fmla="*/ 16 h 56"/>
                  <a:gd name="T24" fmla="*/ 32 w 72"/>
                  <a:gd name="T25" fmla="*/ 8 h 56"/>
                  <a:gd name="T26" fmla="*/ 40 w 72"/>
                  <a:gd name="T27" fmla="*/ 16 h 56"/>
                  <a:gd name="T28" fmla="*/ 40 w 72"/>
                  <a:gd name="T29" fmla="*/ 8 h 56"/>
                  <a:gd name="T30" fmla="*/ 32 w 72"/>
                  <a:gd name="T31" fmla="*/ 8 h 56"/>
                  <a:gd name="T32" fmla="*/ 40 w 72"/>
                  <a:gd name="T33" fmla="*/ 0 h 56"/>
                  <a:gd name="T34" fmla="*/ 40 w 72"/>
                  <a:gd name="T35" fmla="*/ 8 h 56"/>
                  <a:gd name="T36" fmla="*/ 40 w 72"/>
                  <a:gd name="T37" fmla="*/ 16 h 56"/>
                  <a:gd name="T38" fmla="*/ 48 w 72"/>
                  <a:gd name="T39" fmla="*/ 8 h 56"/>
                  <a:gd name="T40" fmla="*/ 48 w 72"/>
                  <a:gd name="T41" fmla="*/ 0 h 56"/>
                  <a:gd name="T42" fmla="*/ 56 w 72"/>
                  <a:gd name="T43" fmla="*/ 0 h 56"/>
                  <a:gd name="T44" fmla="*/ 56 w 72"/>
                  <a:gd name="T45" fmla="*/ 8 h 56"/>
                  <a:gd name="T46" fmla="*/ 64 w 72"/>
                  <a:gd name="T47" fmla="*/ 8 h 56"/>
                  <a:gd name="T48" fmla="*/ 64 w 72"/>
                  <a:gd name="T49" fmla="*/ 0 h 56"/>
                  <a:gd name="T50" fmla="*/ 72 w 72"/>
                  <a:gd name="T51" fmla="*/ 8 h 56"/>
                  <a:gd name="T52" fmla="*/ 64 w 72"/>
                  <a:gd name="T53" fmla="*/ 8 h 56"/>
                  <a:gd name="T54" fmla="*/ 64 w 72"/>
                  <a:gd name="T55" fmla="*/ 16 h 56"/>
                  <a:gd name="T56" fmla="*/ 64 w 72"/>
                  <a:gd name="T57" fmla="*/ 24 h 56"/>
                  <a:gd name="T58" fmla="*/ 56 w 72"/>
                  <a:gd name="T59" fmla="*/ 24 h 56"/>
                  <a:gd name="T60" fmla="*/ 48 w 72"/>
                  <a:gd name="T61" fmla="*/ 24 h 56"/>
                  <a:gd name="T62" fmla="*/ 56 w 72"/>
                  <a:gd name="T63" fmla="*/ 32 h 56"/>
                  <a:gd name="T64" fmla="*/ 48 w 72"/>
                  <a:gd name="T65" fmla="*/ 32 h 56"/>
                  <a:gd name="T66" fmla="*/ 40 w 72"/>
                  <a:gd name="T67" fmla="*/ 32 h 56"/>
                  <a:gd name="T68" fmla="*/ 32 w 72"/>
                  <a:gd name="T69" fmla="*/ 32 h 56"/>
                  <a:gd name="T70" fmla="*/ 40 w 72"/>
                  <a:gd name="T71" fmla="*/ 32 h 56"/>
                  <a:gd name="T72" fmla="*/ 40 w 72"/>
                  <a:gd name="T73" fmla="*/ 40 h 56"/>
                  <a:gd name="T74" fmla="*/ 32 w 72"/>
                  <a:gd name="T75" fmla="*/ 40 h 56"/>
                  <a:gd name="T76" fmla="*/ 24 w 72"/>
                  <a:gd name="T77" fmla="*/ 40 h 56"/>
                  <a:gd name="T78" fmla="*/ 16 w 72"/>
                  <a:gd name="T79" fmla="*/ 48 h 56"/>
                  <a:gd name="T80" fmla="*/ 24 w 72"/>
                  <a:gd name="T81" fmla="*/ 48 h 56"/>
                  <a:gd name="T82" fmla="*/ 16 w 72"/>
                  <a:gd name="T83" fmla="*/ 48 h 56"/>
                  <a:gd name="T84" fmla="*/ 16 w 72"/>
                  <a:gd name="T85" fmla="*/ 56 h 56"/>
                  <a:gd name="T86" fmla="*/ 8 w 72"/>
                  <a:gd name="T87" fmla="*/ 56 h 56"/>
                  <a:gd name="T88" fmla="*/ 16 w 72"/>
                  <a:gd name="T89" fmla="*/ 48 h 56"/>
                  <a:gd name="T90" fmla="*/ 16 w 72"/>
                  <a:gd name="T91" fmla="*/ 40 h 56"/>
                  <a:gd name="T92" fmla="*/ 8 w 72"/>
                  <a:gd name="T93" fmla="*/ 40 h 56"/>
                  <a:gd name="T94" fmla="*/ 0 w 72"/>
                  <a:gd name="T95" fmla="*/ 40 h 56"/>
                  <a:gd name="T96" fmla="*/ 8 w 72"/>
                  <a:gd name="T9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56">
                    <a:moveTo>
                      <a:pt x="8" y="40"/>
                    </a:moveTo>
                    <a:lnTo>
                      <a:pt x="8" y="48"/>
                    </a:lnTo>
                    <a:lnTo>
                      <a:pt x="0" y="48"/>
                    </a:lnTo>
                    <a:lnTo>
                      <a:pt x="0" y="40"/>
                    </a:lnTo>
                    <a:lnTo>
                      <a:pt x="0" y="32"/>
                    </a:lnTo>
                    <a:lnTo>
                      <a:pt x="0" y="24"/>
                    </a:lnTo>
                    <a:lnTo>
                      <a:pt x="8" y="16"/>
                    </a:lnTo>
                    <a:lnTo>
                      <a:pt x="16" y="8"/>
                    </a:lnTo>
                    <a:lnTo>
                      <a:pt x="24" y="8"/>
                    </a:lnTo>
                    <a:lnTo>
                      <a:pt x="24" y="24"/>
                    </a:lnTo>
                    <a:lnTo>
                      <a:pt x="32" y="24"/>
                    </a:lnTo>
                    <a:lnTo>
                      <a:pt x="32" y="16"/>
                    </a:lnTo>
                    <a:lnTo>
                      <a:pt x="32" y="8"/>
                    </a:lnTo>
                    <a:lnTo>
                      <a:pt x="40" y="16"/>
                    </a:lnTo>
                    <a:lnTo>
                      <a:pt x="40" y="8"/>
                    </a:lnTo>
                    <a:lnTo>
                      <a:pt x="32" y="8"/>
                    </a:lnTo>
                    <a:lnTo>
                      <a:pt x="40" y="0"/>
                    </a:lnTo>
                    <a:lnTo>
                      <a:pt x="40" y="8"/>
                    </a:lnTo>
                    <a:lnTo>
                      <a:pt x="40" y="16"/>
                    </a:lnTo>
                    <a:lnTo>
                      <a:pt x="48" y="8"/>
                    </a:lnTo>
                    <a:lnTo>
                      <a:pt x="48" y="0"/>
                    </a:lnTo>
                    <a:lnTo>
                      <a:pt x="56" y="0"/>
                    </a:lnTo>
                    <a:lnTo>
                      <a:pt x="56" y="8"/>
                    </a:lnTo>
                    <a:lnTo>
                      <a:pt x="64" y="8"/>
                    </a:lnTo>
                    <a:lnTo>
                      <a:pt x="64" y="0"/>
                    </a:lnTo>
                    <a:lnTo>
                      <a:pt x="72" y="8"/>
                    </a:lnTo>
                    <a:lnTo>
                      <a:pt x="64" y="8"/>
                    </a:lnTo>
                    <a:lnTo>
                      <a:pt x="64" y="16"/>
                    </a:lnTo>
                    <a:lnTo>
                      <a:pt x="64" y="24"/>
                    </a:lnTo>
                    <a:lnTo>
                      <a:pt x="56" y="24"/>
                    </a:lnTo>
                    <a:lnTo>
                      <a:pt x="48" y="24"/>
                    </a:lnTo>
                    <a:lnTo>
                      <a:pt x="56" y="32"/>
                    </a:lnTo>
                    <a:lnTo>
                      <a:pt x="48" y="32"/>
                    </a:lnTo>
                    <a:lnTo>
                      <a:pt x="40" y="32"/>
                    </a:lnTo>
                    <a:lnTo>
                      <a:pt x="32" y="32"/>
                    </a:lnTo>
                    <a:lnTo>
                      <a:pt x="40" y="32"/>
                    </a:lnTo>
                    <a:lnTo>
                      <a:pt x="40" y="40"/>
                    </a:lnTo>
                    <a:lnTo>
                      <a:pt x="32" y="40"/>
                    </a:lnTo>
                    <a:lnTo>
                      <a:pt x="24" y="40"/>
                    </a:lnTo>
                    <a:lnTo>
                      <a:pt x="16" y="48"/>
                    </a:lnTo>
                    <a:lnTo>
                      <a:pt x="24" y="48"/>
                    </a:lnTo>
                    <a:lnTo>
                      <a:pt x="16" y="48"/>
                    </a:lnTo>
                    <a:lnTo>
                      <a:pt x="16" y="56"/>
                    </a:lnTo>
                    <a:lnTo>
                      <a:pt x="8" y="56"/>
                    </a:lnTo>
                    <a:lnTo>
                      <a:pt x="16" y="48"/>
                    </a:lnTo>
                    <a:lnTo>
                      <a:pt x="16" y="40"/>
                    </a:lnTo>
                    <a:lnTo>
                      <a:pt x="8" y="40"/>
                    </a:lnTo>
                    <a:lnTo>
                      <a:pt x="0" y="40"/>
                    </a:lnTo>
                    <a:lnTo>
                      <a:pt x="8" y="40"/>
                    </a:lnTo>
                    <a:close/>
                  </a:path>
                </a:pathLst>
              </a:custGeom>
              <a:grpFill/>
              <a:ln w="12700">
                <a:noFill/>
                <a:prstDash val="solid"/>
                <a:round/>
                <a:headEnd/>
                <a:tailEnd/>
              </a:ln>
            </p:spPr>
            <p:txBody>
              <a:bodyPr/>
              <a:lstStyle/>
              <a:p>
                <a:endParaRPr lang="en-US">
                  <a:solidFill>
                    <a:srgbClr val="000000"/>
                  </a:solidFill>
                </a:endParaRPr>
              </a:p>
            </p:txBody>
          </p:sp>
          <p:sp>
            <p:nvSpPr>
              <p:cNvPr id="1226" name="Freeform 275"/>
              <p:cNvSpPr>
                <a:spLocks/>
              </p:cNvSpPr>
              <p:nvPr/>
            </p:nvSpPr>
            <p:spPr bwMode="auto">
              <a:xfrm>
                <a:off x="2611362" y="3263597"/>
                <a:ext cx="30238" cy="30238"/>
              </a:xfrm>
              <a:custGeom>
                <a:avLst/>
                <a:gdLst>
                  <a:gd name="T0" fmla="*/ 0 w 16"/>
                  <a:gd name="T1" fmla="*/ 16 h 16"/>
                  <a:gd name="T2" fmla="*/ 0 w 16"/>
                  <a:gd name="T3" fmla="*/ 8 h 16"/>
                  <a:gd name="T4" fmla="*/ 16 w 16"/>
                  <a:gd name="T5" fmla="*/ 0 h 16"/>
                  <a:gd name="T6" fmla="*/ 0 w 16"/>
                  <a:gd name="T7" fmla="*/ 16 h 16"/>
                </a:gdLst>
                <a:ahLst/>
                <a:cxnLst>
                  <a:cxn ang="0">
                    <a:pos x="T0" y="T1"/>
                  </a:cxn>
                  <a:cxn ang="0">
                    <a:pos x="T2" y="T3"/>
                  </a:cxn>
                  <a:cxn ang="0">
                    <a:pos x="T4" y="T5"/>
                  </a:cxn>
                  <a:cxn ang="0">
                    <a:pos x="T6" y="T7"/>
                  </a:cxn>
                </a:cxnLst>
                <a:rect l="0" t="0" r="r" b="b"/>
                <a:pathLst>
                  <a:path w="16" h="16">
                    <a:moveTo>
                      <a:pt x="0" y="16"/>
                    </a:moveTo>
                    <a:lnTo>
                      <a:pt x="0" y="8"/>
                    </a:lnTo>
                    <a:lnTo>
                      <a:pt x="16" y="0"/>
                    </a:lnTo>
                    <a:lnTo>
                      <a:pt x="0" y="16"/>
                    </a:lnTo>
                    <a:close/>
                  </a:path>
                </a:pathLst>
              </a:custGeom>
              <a:grpFill/>
              <a:ln w="12700">
                <a:noFill/>
                <a:prstDash val="solid"/>
                <a:round/>
                <a:headEnd/>
                <a:tailEnd/>
              </a:ln>
            </p:spPr>
            <p:txBody>
              <a:bodyPr/>
              <a:lstStyle/>
              <a:p>
                <a:endParaRPr lang="en-US">
                  <a:solidFill>
                    <a:srgbClr val="000000"/>
                  </a:solidFill>
                </a:endParaRPr>
              </a:p>
            </p:txBody>
          </p:sp>
          <p:sp>
            <p:nvSpPr>
              <p:cNvPr id="1227" name="Freeform 276"/>
              <p:cNvSpPr>
                <a:spLocks/>
              </p:cNvSpPr>
              <p:nvPr/>
            </p:nvSpPr>
            <p:spPr bwMode="auto">
              <a:xfrm>
                <a:off x="2535767" y="3324073"/>
                <a:ext cx="15119" cy="15119"/>
              </a:xfrm>
              <a:custGeom>
                <a:avLst/>
                <a:gdLst>
                  <a:gd name="T0" fmla="*/ 8 w 8"/>
                  <a:gd name="T1" fmla="*/ 8 h 8"/>
                  <a:gd name="T2" fmla="*/ 0 w 8"/>
                  <a:gd name="T3" fmla="*/ 8 h 8"/>
                  <a:gd name="T4" fmla="*/ 8 w 8"/>
                  <a:gd name="T5" fmla="*/ 8 h 8"/>
                  <a:gd name="T6" fmla="*/ 8 w 8"/>
                  <a:gd name="T7" fmla="*/ 0 h 8"/>
                  <a:gd name="T8" fmla="*/ 8 w 8"/>
                  <a:gd name="T9" fmla="*/ 8 h 8"/>
                </a:gdLst>
                <a:ahLst/>
                <a:cxnLst>
                  <a:cxn ang="0">
                    <a:pos x="T0" y="T1"/>
                  </a:cxn>
                  <a:cxn ang="0">
                    <a:pos x="T2" y="T3"/>
                  </a:cxn>
                  <a:cxn ang="0">
                    <a:pos x="T4" y="T5"/>
                  </a:cxn>
                  <a:cxn ang="0">
                    <a:pos x="T6" y="T7"/>
                  </a:cxn>
                  <a:cxn ang="0">
                    <a:pos x="T8" y="T9"/>
                  </a:cxn>
                </a:cxnLst>
                <a:rect l="0" t="0" r="r" b="b"/>
                <a:pathLst>
                  <a:path w="8" h="8">
                    <a:moveTo>
                      <a:pt x="8" y="8"/>
                    </a:moveTo>
                    <a:lnTo>
                      <a:pt x="0" y="8"/>
                    </a:lnTo>
                    <a:lnTo>
                      <a:pt x="8" y="8"/>
                    </a:lnTo>
                    <a:lnTo>
                      <a:pt x="8" y="0"/>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28" name="Freeform 277"/>
              <p:cNvSpPr>
                <a:spLocks/>
              </p:cNvSpPr>
              <p:nvPr/>
            </p:nvSpPr>
            <p:spPr bwMode="auto">
              <a:xfrm>
                <a:off x="2505529" y="3263597"/>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29" name="Freeform 278"/>
              <p:cNvSpPr>
                <a:spLocks/>
              </p:cNvSpPr>
              <p:nvPr/>
            </p:nvSpPr>
            <p:spPr bwMode="auto">
              <a:xfrm>
                <a:off x="2324100" y="3339192"/>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30" name="Freeform 279"/>
              <p:cNvSpPr>
                <a:spLocks/>
              </p:cNvSpPr>
              <p:nvPr/>
            </p:nvSpPr>
            <p:spPr bwMode="auto">
              <a:xfrm>
                <a:off x="2354338" y="3369430"/>
                <a:ext cx="15119" cy="15119"/>
              </a:xfrm>
              <a:custGeom>
                <a:avLst/>
                <a:gdLst>
                  <a:gd name="T0" fmla="*/ 8 w 8"/>
                  <a:gd name="T1" fmla="*/ 0 h 8"/>
                  <a:gd name="T2" fmla="*/ 8 w 8"/>
                  <a:gd name="T3" fmla="*/ 8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8" y="8"/>
                    </a:lnTo>
                    <a:lnTo>
                      <a:pt x="0" y="8"/>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31" name="Freeform 280"/>
              <p:cNvSpPr>
                <a:spLocks/>
              </p:cNvSpPr>
              <p:nvPr/>
            </p:nvSpPr>
            <p:spPr bwMode="auto">
              <a:xfrm>
                <a:off x="2324100" y="3354311"/>
                <a:ext cx="15119" cy="30238"/>
              </a:xfrm>
              <a:custGeom>
                <a:avLst/>
                <a:gdLst>
                  <a:gd name="T0" fmla="*/ 0 w 8"/>
                  <a:gd name="T1" fmla="*/ 16 h 16"/>
                  <a:gd name="T2" fmla="*/ 0 w 8"/>
                  <a:gd name="T3" fmla="*/ 8 h 16"/>
                  <a:gd name="T4" fmla="*/ 8 w 8"/>
                  <a:gd name="T5" fmla="*/ 8 h 16"/>
                  <a:gd name="T6" fmla="*/ 8 w 8"/>
                  <a:gd name="T7" fmla="*/ 0 h 16"/>
                  <a:gd name="T8" fmla="*/ 8 w 8"/>
                  <a:gd name="T9" fmla="*/ 8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8" y="8"/>
                    </a:lnTo>
                    <a:lnTo>
                      <a:pt x="8" y="0"/>
                    </a:lnTo>
                    <a:lnTo>
                      <a:pt x="8" y="8"/>
                    </a:lnTo>
                    <a:lnTo>
                      <a:pt x="0" y="16"/>
                    </a:lnTo>
                    <a:close/>
                  </a:path>
                </a:pathLst>
              </a:custGeom>
              <a:grpFill/>
              <a:ln w="12700">
                <a:noFill/>
                <a:prstDash val="solid"/>
                <a:round/>
                <a:headEnd/>
                <a:tailEnd/>
              </a:ln>
            </p:spPr>
            <p:txBody>
              <a:bodyPr/>
              <a:lstStyle/>
              <a:p>
                <a:endParaRPr lang="en-US">
                  <a:solidFill>
                    <a:srgbClr val="000000"/>
                  </a:solidFill>
                </a:endParaRPr>
              </a:p>
            </p:txBody>
          </p:sp>
          <p:sp>
            <p:nvSpPr>
              <p:cNvPr id="1232" name="Freeform 281"/>
              <p:cNvSpPr>
                <a:spLocks/>
              </p:cNvSpPr>
              <p:nvPr/>
            </p:nvSpPr>
            <p:spPr bwMode="auto">
              <a:xfrm>
                <a:off x="2293862" y="3339192"/>
                <a:ext cx="15119" cy="15119"/>
              </a:xfrm>
              <a:custGeom>
                <a:avLst/>
                <a:gdLst>
                  <a:gd name="T0" fmla="*/ 8 w 8"/>
                  <a:gd name="T1" fmla="*/ 8 h 8"/>
                  <a:gd name="T2" fmla="*/ 0 w 8"/>
                  <a:gd name="T3" fmla="*/ 8 h 8"/>
                  <a:gd name="T4" fmla="*/ 8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8"/>
                    </a:lnTo>
                    <a:lnTo>
                      <a:pt x="8" y="0"/>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33" name="Freeform 282"/>
              <p:cNvSpPr>
                <a:spLocks/>
              </p:cNvSpPr>
              <p:nvPr/>
            </p:nvSpPr>
            <p:spPr bwMode="auto">
              <a:xfrm>
                <a:off x="2218267" y="3354311"/>
                <a:ext cx="15119" cy="15119"/>
              </a:xfrm>
              <a:custGeom>
                <a:avLst/>
                <a:gdLst>
                  <a:gd name="T0" fmla="*/ 8 w 8"/>
                  <a:gd name="T1" fmla="*/ 8 h 8"/>
                  <a:gd name="T2" fmla="*/ 0 w 8"/>
                  <a:gd name="T3" fmla="*/ 8 h 8"/>
                  <a:gd name="T4" fmla="*/ 8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8"/>
                    </a:lnTo>
                    <a:lnTo>
                      <a:pt x="8" y="0"/>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34" name="Freeform 283"/>
              <p:cNvSpPr>
                <a:spLocks/>
              </p:cNvSpPr>
              <p:nvPr/>
            </p:nvSpPr>
            <p:spPr bwMode="auto">
              <a:xfrm>
                <a:off x="2188029" y="3399668"/>
                <a:ext cx="15119" cy="15119"/>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35" name="Freeform 284"/>
              <p:cNvSpPr>
                <a:spLocks/>
              </p:cNvSpPr>
              <p:nvPr/>
            </p:nvSpPr>
            <p:spPr bwMode="auto">
              <a:xfrm>
                <a:off x="1371600" y="3550859"/>
                <a:ext cx="15119" cy="15119"/>
              </a:xfrm>
              <a:custGeom>
                <a:avLst/>
                <a:gdLst>
                  <a:gd name="T0" fmla="*/ 0 w 8"/>
                  <a:gd name="T1" fmla="*/ 0 h 8"/>
                  <a:gd name="T2" fmla="*/ 0 w 8"/>
                  <a:gd name="T3" fmla="*/ 8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36" name="Freeform 285"/>
              <p:cNvSpPr>
                <a:spLocks/>
              </p:cNvSpPr>
              <p:nvPr/>
            </p:nvSpPr>
            <p:spPr bwMode="auto">
              <a:xfrm>
                <a:off x="1371600" y="3535740"/>
                <a:ext cx="15119" cy="15119"/>
              </a:xfrm>
              <a:custGeom>
                <a:avLst/>
                <a:gdLst>
                  <a:gd name="T0" fmla="*/ 8 w 8"/>
                  <a:gd name="T1" fmla="*/ 0 h 8"/>
                  <a:gd name="T2" fmla="*/ 0 w 8"/>
                  <a:gd name="T3" fmla="*/ 0 h 8"/>
                  <a:gd name="T4" fmla="*/ 8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8" y="8"/>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37" name="Freeform 286"/>
              <p:cNvSpPr>
                <a:spLocks/>
              </p:cNvSpPr>
              <p:nvPr/>
            </p:nvSpPr>
            <p:spPr bwMode="auto">
              <a:xfrm>
                <a:off x="1401838" y="3505502"/>
                <a:ext cx="1890" cy="15119"/>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38" name="Freeform 287"/>
              <p:cNvSpPr>
                <a:spLocks/>
              </p:cNvSpPr>
              <p:nvPr/>
            </p:nvSpPr>
            <p:spPr bwMode="auto">
              <a:xfrm>
                <a:off x="1432076" y="3505502"/>
                <a:ext cx="15119" cy="30238"/>
              </a:xfrm>
              <a:custGeom>
                <a:avLst/>
                <a:gdLst>
                  <a:gd name="T0" fmla="*/ 8 w 8"/>
                  <a:gd name="T1" fmla="*/ 8 h 16"/>
                  <a:gd name="T2" fmla="*/ 8 w 8"/>
                  <a:gd name="T3" fmla="*/ 0 h 16"/>
                  <a:gd name="T4" fmla="*/ 0 w 8"/>
                  <a:gd name="T5" fmla="*/ 0 h 16"/>
                  <a:gd name="T6" fmla="*/ 0 w 8"/>
                  <a:gd name="T7" fmla="*/ 8 h 16"/>
                  <a:gd name="T8" fmla="*/ 8 w 8"/>
                  <a:gd name="T9" fmla="*/ 8 h 16"/>
                  <a:gd name="T10" fmla="*/ 0 w 8"/>
                  <a:gd name="T11" fmla="*/ 8 h 16"/>
                  <a:gd name="T12" fmla="*/ 0 w 8"/>
                  <a:gd name="T13" fmla="*/ 16 h 16"/>
                  <a:gd name="T14" fmla="*/ 8 w 8"/>
                  <a:gd name="T15" fmla="*/ 16 h 16"/>
                  <a:gd name="T16" fmla="*/ 8 w 8"/>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8"/>
                    </a:moveTo>
                    <a:lnTo>
                      <a:pt x="8" y="0"/>
                    </a:lnTo>
                    <a:lnTo>
                      <a:pt x="0" y="0"/>
                    </a:lnTo>
                    <a:lnTo>
                      <a:pt x="0" y="8"/>
                    </a:lnTo>
                    <a:lnTo>
                      <a:pt x="8" y="8"/>
                    </a:lnTo>
                    <a:lnTo>
                      <a:pt x="0" y="8"/>
                    </a:lnTo>
                    <a:lnTo>
                      <a:pt x="0" y="16"/>
                    </a:lnTo>
                    <a:lnTo>
                      <a:pt x="8" y="16"/>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39" name="Rectangle 288"/>
              <p:cNvSpPr>
                <a:spLocks noChangeArrowheads="1"/>
              </p:cNvSpPr>
              <p:nvPr/>
            </p:nvSpPr>
            <p:spPr bwMode="auto">
              <a:xfrm>
                <a:off x="1462314" y="3520621"/>
                <a:ext cx="15119" cy="15119"/>
              </a:xfrm>
              <a:prstGeom prst="rect">
                <a:avLst/>
              </a:prstGeom>
              <a:grpFill/>
              <a:ln w="12700">
                <a:noFill/>
                <a:miter lim="800000"/>
                <a:headEnd/>
                <a:tailEnd/>
              </a:ln>
            </p:spPr>
            <p:txBody>
              <a:bodyPr/>
              <a:lstStyle/>
              <a:p>
                <a:endParaRPr lang="en-US">
                  <a:solidFill>
                    <a:srgbClr val="000000"/>
                  </a:solidFill>
                </a:endParaRPr>
              </a:p>
            </p:txBody>
          </p:sp>
          <p:sp>
            <p:nvSpPr>
              <p:cNvPr id="1240" name="Rectangle 289"/>
              <p:cNvSpPr>
                <a:spLocks noChangeArrowheads="1"/>
              </p:cNvSpPr>
              <p:nvPr/>
            </p:nvSpPr>
            <p:spPr bwMode="auto">
              <a:xfrm>
                <a:off x="1492552" y="3520621"/>
                <a:ext cx="15119" cy="15119"/>
              </a:xfrm>
              <a:prstGeom prst="rect">
                <a:avLst/>
              </a:prstGeom>
              <a:grpFill/>
              <a:ln w="12700">
                <a:noFill/>
                <a:miter lim="800000"/>
                <a:headEnd/>
                <a:tailEnd/>
              </a:ln>
            </p:spPr>
            <p:txBody>
              <a:bodyPr/>
              <a:lstStyle/>
              <a:p>
                <a:endParaRPr lang="en-US">
                  <a:solidFill>
                    <a:srgbClr val="000000"/>
                  </a:solidFill>
                </a:endParaRPr>
              </a:p>
            </p:txBody>
          </p:sp>
          <p:sp>
            <p:nvSpPr>
              <p:cNvPr id="1241" name="Freeform 290"/>
              <p:cNvSpPr>
                <a:spLocks/>
              </p:cNvSpPr>
              <p:nvPr/>
            </p:nvSpPr>
            <p:spPr bwMode="auto">
              <a:xfrm>
                <a:off x="1568148" y="3505502"/>
                <a:ext cx="60476" cy="30238"/>
              </a:xfrm>
              <a:custGeom>
                <a:avLst/>
                <a:gdLst>
                  <a:gd name="T0" fmla="*/ 24 w 32"/>
                  <a:gd name="T1" fmla="*/ 8 h 16"/>
                  <a:gd name="T2" fmla="*/ 32 w 32"/>
                  <a:gd name="T3" fmla="*/ 8 h 16"/>
                  <a:gd name="T4" fmla="*/ 32 w 32"/>
                  <a:gd name="T5" fmla="*/ 0 h 16"/>
                  <a:gd name="T6" fmla="*/ 24 w 32"/>
                  <a:gd name="T7" fmla="*/ 0 h 16"/>
                  <a:gd name="T8" fmla="*/ 24 w 32"/>
                  <a:gd name="T9" fmla="*/ 8 h 16"/>
                  <a:gd name="T10" fmla="*/ 16 w 32"/>
                  <a:gd name="T11" fmla="*/ 8 h 16"/>
                  <a:gd name="T12" fmla="*/ 8 w 32"/>
                  <a:gd name="T13" fmla="*/ 8 h 16"/>
                  <a:gd name="T14" fmla="*/ 0 w 32"/>
                  <a:gd name="T15" fmla="*/ 8 h 16"/>
                  <a:gd name="T16" fmla="*/ 8 w 32"/>
                  <a:gd name="T17" fmla="*/ 16 h 16"/>
                  <a:gd name="T18" fmla="*/ 16 w 32"/>
                  <a:gd name="T19" fmla="*/ 16 h 16"/>
                  <a:gd name="T20" fmla="*/ 24 w 32"/>
                  <a:gd name="T2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6">
                    <a:moveTo>
                      <a:pt x="24" y="8"/>
                    </a:moveTo>
                    <a:lnTo>
                      <a:pt x="32" y="8"/>
                    </a:lnTo>
                    <a:lnTo>
                      <a:pt x="32" y="0"/>
                    </a:lnTo>
                    <a:lnTo>
                      <a:pt x="24" y="0"/>
                    </a:lnTo>
                    <a:lnTo>
                      <a:pt x="24" y="8"/>
                    </a:lnTo>
                    <a:lnTo>
                      <a:pt x="16" y="8"/>
                    </a:lnTo>
                    <a:lnTo>
                      <a:pt x="8" y="8"/>
                    </a:lnTo>
                    <a:lnTo>
                      <a:pt x="0" y="8"/>
                    </a:lnTo>
                    <a:lnTo>
                      <a:pt x="8" y="16"/>
                    </a:lnTo>
                    <a:lnTo>
                      <a:pt x="16" y="16"/>
                    </a:lnTo>
                    <a:lnTo>
                      <a:pt x="24" y="8"/>
                    </a:lnTo>
                    <a:close/>
                  </a:path>
                </a:pathLst>
              </a:custGeom>
              <a:grpFill/>
              <a:ln w="12700">
                <a:noFill/>
                <a:prstDash val="solid"/>
                <a:round/>
                <a:headEnd/>
                <a:tailEnd/>
              </a:ln>
            </p:spPr>
            <p:txBody>
              <a:bodyPr/>
              <a:lstStyle/>
              <a:p>
                <a:endParaRPr lang="en-US">
                  <a:solidFill>
                    <a:srgbClr val="000000"/>
                  </a:solidFill>
                </a:endParaRPr>
              </a:p>
            </p:txBody>
          </p:sp>
          <p:sp>
            <p:nvSpPr>
              <p:cNvPr id="1242" name="Freeform 291"/>
              <p:cNvSpPr>
                <a:spLocks/>
              </p:cNvSpPr>
              <p:nvPr/>
            </p:nvSpPr>
            <p:spPr bwMode="auto">
              <a:xfrm>
                <a:off x="1628624" y="3535740"/>
                <a:ext cx="45357" cy="1890"/>
              </a:xfrm>
              <a:custGeom>
                <a:avLst/>
                <a:gdLst>
                  <a:gd name="T0" fmla="*/ 0 w 24"/>
                  <a:gd name="T1" fmla="*/ 16 w 24"/>
                  <a:gd name="T2" fmla="*/ 24 w 24"/>
                  <a:gd name="T3" fmla="*/ 16 w 24"/>
                  <a:gd name="T4" fmla="*/ 8 w 24"/>
                  <a:gd name="T5" fmla="*/ 0 w 24"/>
                </a:gdLst>
                <a:ahLst/>
                <a:cxnLst>
                  <a:cxn ang="0">
                    <a:pos x="T0" y="0"/>
                  </a:cxn>
                  <a:cxn ang="0">
                    <a:pos x="T1" y="0"/>
                  </a:cxn>
                  <a:cxn ang="0">
                    <a:pos x="T2" y="0"/>
                  </a:cxn>
                  <a:cxn ang="0">
                    <a:pos x="T3" y="0"/>
                  </a:cxn>
                  <a:cxn ang="0">
                    <a:pos x="T4" y="0"/>
                  </a:cxn>
                  <a:cxn ang="0">
                    <a:pos x="T5" y="0"/>
                  </a:cxn>
                </a:cxnLst>
                <a:rect l="0" t="0" r="r" b="b"/>
                <a:pathLst>
                  <a:path w="24">
                    <a:moveTo>
                      <a:pt x="0" y="0"/>
                    </a:moveTo>
                    <a:lnTo>
                      <a:pt x="16" y="0"/>
                    </a:lnTo>
                    <a:lnTo>
                      <a:pt x="24" y="0"/>
                    </a:lnTo>
                    <a:lnTo>
                      <a:pt x="16" y="0"/>
                    </a:ln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43" name="Freeform 292"/>
              <p:cNvSpPr>
                <a:spLocks/>
              </p:cNvSpPr>
              <p:nvPr/>
            </p:nvSpPr>
            <p:spPr bwMode="auto">
              <a:xfrm>
                <a:off x="1689100" y="3520621"/>
                <a:ext cx="15119" cy="1890"/>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noFill/>
                <a:prstDash val="solid"/>
                <a:round/>
                <a:headEnd/>
                <a:tailEnd/>
              </a:ln>
            </p:spPr>
            <p:txBody>
              <a:bodyPr/>
              <a:lstStyle/>
              <a:p>
                <a:endParaRPr lang="en-US">
                  <a:solidFill>
                    <a:srgbClr val="000000"/>
                  </a:solidFill>
                </a:endParaRPr>
              </a:p>
            </p:txBody>
          </p:sp>
          <p:sp>
            <p:nvSpPr>
              <p:cNvPr id="1244" name="Freeform 293"/>
              <p:cNvSpPr>
                <a:spLocks/>
              </p:cNvSpPr>
              <p:nvPr/>
            </p:nvSpPr>
            <p:spPr bwMode="auto">
              <a:xfrm>
                <a:off x="1749576" y="3505502"/>
                <a:ext cx="15119" cy="15119"/>
              </a:xfrm>
              <a:custGeom>
                <a:avLst/>
                <a:gdLst>
                  <a:gd name="T0" fmla="*/ 8 w 8"/>
                  <a:gd name="T1" fmla="*/ 8 h 8"/>
                  <a:gd name="T2" fmla="*/ 8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8" y="0"/>
                    </a:lnTo>
                    <a:lnTo>
                      <a:pt x="0" y="8"/>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45" name="Freeform 294"/>
              <p:cNvSpPr>
                <a:spLocks/>
              </p:cNvSpPr>
              <p:nvPr/>
            </p:nvSpPr>
            <p:spPr bwMode="auto">
              <a:xfrm>
                <a:off x="1779814" y="3490383"/>
                <a:ext cx="15119" cy="15119"/>
              </a:xfrm>
              <a:custGeom>
                <a:avLst/>
                <a:gdLst>
                  <a:gd name="T0" fmla="*/ 8 w 8"/>
                  <a:gd name="T1" fmla="*/ 8 h 8"/>
                  <a:gd name="T2" fmla="*/ 8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8" y="0"/>
                    </a:lnTo>
                    <a:lnTo>
                      <a:pt x="0" y="8"/>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46" name="Freeform 295"/>
              <p:cNvSpPr>
                <a:spLocks/>
              </p:cNvSpPr>
              <p:nvPr/>
            </p:nvSpPr>
            <p:spPr bwMode="auto">
              <a:xfrm>
                <a:off x="1810052" y="3490383"/>
                <a:ext cx="15119" cy="15119"/>
              </a:xfrm>
              <a:custGeom>
                <a:avLst/>
                <a:gdLst>
                  <a:gd name="T0" fmla="*/ 8 w 8"/>
                  <a:gd name="T1" fmla="*/ 8 h 8"/>
                  <a:gd name="T2" fmla="*/ 0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0" y="0"/>
                    </a:lnTo>
                    <a:lnTo>
                      <a:pt x="0" y="8"/>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47" name="Freeform 296"/>
              <p:cNvSpPr>
                <a:spLocks/>
              </p:cNvSpPr>
              <p:nvPr/>
            </p:nvSpPr>
            <p:spPr bwMode="auto">
              <a:xfrm>
                <a:off x="1810052" y="3475263"/>
                <a:ext cx="15119" cy="15119"/>
              </a:xfrm>
              <a:custGeom>
                <a:avLst/>
                <a:gdLst>
                  <a:gd name="T0" fmla="*/ 8 w 8"/>
                  <a:gd name="T1" fmla="*/ 8 h 8"/>
                  <a:gd name="T2" fmla="*/ 8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8" y="0"/>
                    </a:lnTo>
                    <a:lnTo>
                      <a:pt x="0" y="8"/>
                    </a:lnTo>
                    <a:lnTo>
                      <a:pt x="8" y="8"/>
                    </a:lnTo>
                    <a:close/>
                  </a:path>
                </a:pathLst>
              </a:custGeom>
              <a:grpFill/>
              <a:ln w="12700">
                <a:noFill/>
                <a:prstDash val="solid"/>
                <a:round/>
                <a:headEnd/>
                <a:tailEnd/>
              </a:ln>
            </p:spPr>
            <p:txBody>
              <a:bodyPr/>
              <a:lstStyle/>
              <a:p>
                <a:endParaRPr lang="en-US">
                  <a:solidFill>
                    <a:srgbClr val="000000"/>
                  </a:solidFill>
                </a:endParaRPr>
              </a:p>
            </p:txBody>
          </p:sp>
          <p:sp>
            <p:nvSpPr>
              <p:cNvPr id="1248" name="Freeform 297"/>
              <p:cNvSpPr>
                <a:spLocks/>
              </p:cNvSpPr>
              <p:nvPr/>
            </p:nvSpPr>
            <p:spPr bwMode="auto">
              <a:xfrm>
                <a:off x="1825171" y="3490383"/>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49" name="Freeform 298"/>
              <p:cNvSpPr>
                <a:spLocks/>
              </p:cNvSpPr>
              <p:nvPr/>
            </p:nvSpPr>
            <p:spPr bwMode="auto">
              <a:xfrm>
                <a:off x="1855410" y="3445025"/>
                <a:ext cx="90714" cy="60476"/>
              </a:xfrm>
              <a:custGeom>
                <a:avLst/>
                <a:gdLst>
                  <a:gd name="T0" fmla="*/ 40 w 48"/>
                  <a:gd name="T1" fmla="*/ 0 h 32"/>
                  <a:gd name="T2" fmla="*/ 48 w 48"/>
                  <a:gd name="T3" fmla="*/ 8 h 32"/>
                  <a:gd name="T4" fmla="*/ 40 w 48"/>
                  <a:gd name="T5" fmla="*/ 8 h 32"/>
                  <a:gd name="T6" fmla="*/ 32 w 48"/>
                  <a:gd name="T7" fmla="*/ 16 h 32"/>
                  <a:gd name="T8" fmla="*/ 24 w 48"/>
                  <a:gd name="T9" fmla="*/ 24 h 32"/>
                  <a:gd name="T10" fmla="*/ 16 w 48"/>
                  <a:gd name="T11" fmla="*/ 24 h 32"/>
                  <a:gd name="T12" fmla="*/ 8 w 48"/>
                  <a:gd name="T13" fmla="*/ 32 h 32"/>
                  <a:gd name="T14" fmla="*/ 0 w 48"/>
                  <a:gd name="T15" fmla="*/ 32 h 32"/>
                  <a:gd name="T16" fmla="*/ 8 w 48"/>
                  <a:gd name="T17" fmla="*/ 24 h 32"/>
                  <a:gd name="T18" fmla="*/ 16 w 48"/>
                  <a:gd name="T19" fmla="*/ 16 h 32"/>
                  <a:gd name="T20" fmla="*/ 24 w 48"/>
                  <a:gd name="T21" fmla="*/ 8 h 32"/>
                  <a:gd name="T22" fmla="*/ 32 w 48"/>
                  <a:gd name="T23" fmla="*/ 0 h 32"/>
                  <a:gd name="T24" fmla="*/ 40 w 48"/>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32">
                    <a:moveTo>
                      <a:pt x="40" y="0"/>
                    </a:moveTo>
                    <a:lnTo>
                      <a:pt x="48" y="8"/>
                    </a:lnTo>
                    <a:lnTo>
                      <a:pt x="40" y="8"/>
                    </a:lnTo>
                    <a:lnTo>
                      <a:pt x="32" y="16"/>
                    </a:lnTo>
                    <a:lnTo>
                      <a:pt x="24" y="24"/>
                    </a:lnTo>
                    <a:lnTo>
                      <a:pt x="16" y="24"/>
                    </a:lnTo>
                    <a:lnTo>
                      <a:pt x="8" y="32"/>
                    </a:lnTo>
                    <a:lnTo>
                      <a:pt x="0" y="32"/>
                    </a:lnTo>
                    <a:lnTo>
                      <a:pt x="8" y="24"/>
                    </a:lnTo>
                    <a:lnTo>
                      <a:pt x="16" y="16"/>
                    </a:lnTo>
                    <a:lnTo>
                      <a:pt x="24" y="8"/>
                    </a:lnTo>
                    <a:lnTo>
                      <a:pt x="32" y="0"/>
                    </a:lnTo>
                    <a:lnTo>
                      <a:pt x="40" y="0"/>
                    </a:lnTo>
                    <a:close/>
                  </a:path>
                </a:pathLst>
              </a:custGeom>
              <a:grpFill/>
              <a:ln w="12700">
                <a:noFill/>
                <a:prstDash val="solid"/>
                <a:round/>
                <a:headEnd/>
                <a:tailEnd/>
              </a:ln>
            </p:spPr>
            <p:txBody>
              <a:bodyPr/>
              <a:lstStyle/>
              <a:p>
                <a:endParaRPr lang="en-US">
                  <a:solidFill>
                    <a:srgbClr val="000000"/>
                  </a:solidFill>
                </a:endParaRPr>
              </a:p>
            </p:txBody>
          </p:sp>
          <p:sp>
            <p:nvSpPr>
              <p:cNvPr id="1250" name="Freeform 299"/>
              <p:cNvSpPr>
                <a:spLocks/>
              </p:cNvSpPr>
              <p:nvPr/>
            </p:nvSpPr>
            <p:spPr bwMode="auto">
              <a:xfrm>
                <a:off x="1931005" y="3414787"/>
                <a:ext cx="90714" cy="60476"/>
              </a:xfrm>
              <a:custGeom>
                <a:avLst/>
                <a:gdLst>
                  <a:gd name="T0" fmla="*/ 40 w 48"/>
                  <a:gd name="T1" fmla="*/ 0 h 32"/>
                  <a:gd name="T2" fmla="*/ 32 w 48"/>
                  <a:gd name="T3" fmla="*/ 0 h 32"/>
                  <a:gd name="T4" fmla="*/ 32 w 48"/>
                  <a:gd name="T5" fmla="*/ 8 h 32"/>
                  <a:gd name="T6" fmla="*/ 40 w 48"/>
                  <a:gd name="T7" fmla="*/ 8 h 32"/>
                  <a:gd name="T8" fmla="*/ 32 w 48"/>
                  <a:gd name="T9" fmla="*/ 8 h 32"/>
                  <a:gd name="T10" fmla="*/ 24 w 48"/>
                  <a:gd name="T11" fmla="*/ 16 h 32"/>
                  <a:gd name="T12" fmla="*/ 16 w 48"/>
                  <a:gd name="T13" fmla="*/ 24 h 32"/>
                  <a:gd name="T14" fmla="*/ 8 w 48"/>
                  <a:gd name="T15" fmla="*/ 24 h 32"/>
                  <a:gd name="T16" fmla="*/ 0 w 48"/>
                  <a:gd name="T17" fmla="*/ 24 h 32"/>
                  <a:gd name="T18" fmla="*/ 8 w 48"/>
                  <a:gd name="T19" fmla="*/ 32 h 32"/>
                  <a:gd name="T20" fmla="*/ 16 w 48"/>
                  <a:gd name="T21" fmla="*/ 32 h 32"/>
                  <a:gd name="T22" fmla="*/ 24 w 48"/>
                  <a:gd name="T23" fmla="*/ 24 h 32"/>
                  <a:gd name="T24" fmla="*/ 32 w 48"/>
                  <a:gd name="T25" fmla="*/ 24 h 32"/>
                  <a:gd name="T26" fmla="*/ 32 w 48"/>
                  <a:gd name="T27" fmla="*/ 16 h 32"/>
                  <a:gd name="T28" fmla="*/ 40 w 48"/>
                  <a:gd name="T29" fmla="*/ 24 h 32"/>
                  <a:gd name="T30" fmla="*/ 40 w 48"/>
                  <a:gd name="T31" fmla="*/ 16 h 32"/>
                  <a:gd name="T32" fmla="*/ 48 w 48"/>
                  <a:gd name="T33" fmla="*/ 16 h 32"/>
                  <a:gd name="T34" fmla="*/ 48 w 48"/>
                  <a:gd name="T35" fmla="*/ 8 h 32"/>
                  <a:gd name="T36" fmla="*/ 48 w 48"/>
                  <a:gd name="T37" fmla="*/ 0 h 32"/>
                  <a:gd name="T38" fmla="*/ 40 w 48"/>
                  <a:gd name="T3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32">
                    <a:moveTo>
                      <a:pt x="40" y="0"/>
                    </a:moveTo>
                    <a:lnTo>
                      <a:pt x="32" y="0"/>
                    </a:lnTo>
                    <a:lnTo>
                      <a:pt x="32" y="8"/>
                    </a:lnTo>
                    <a:lnTo>
                      <a:pt x="40" y="8"/>
                    </a:lnTo>
                    <a:lnTo>
                      <a:pt x="32" y="8"/>
                    </a:lnTo>
                    <a:lnTo>
                      <a:pt x="24" y="16"/>
                    </a:lnTo>
                    <a:lnTo>
                      <a:pt x="16" y="24"/>
                    </a:lnTo>
                    <a:lnTo>
                      <a:pt x="8" y="24"/>
                    </a:lnTo>
                    <a:lnTo>
                      <a:pt x="0" y="24"/>
                    </a:lnTo>
                    <a:lnTo>
                      <a:pt x="8" y="32"/>
                    </a:lnTo>
                    <a:lnTo>
                      <a:pt x="16" y="32"/>
                    </a:lnTo>
                    <a:lnTo>
                      <a:pt x="24" y="24"/>
                    </a:lnTo>
                    <a:lnTo>
                      <a:pt x="32" y="24"/>
                    </a:lnTo>
                    <a:lnTo>
                      <a:pt x="32" y="16"/>
                    </a:lnTo>
                    <a:lnTo>
                      <a:pt x="40" y="24"/>
                    </a:lnTo>
                    <a:lnTo>
                      <a:pt x="40" y="16"/>
                    </a:lnTo>
                    <a:lnTo>
                      <a:pt x="48" y="16"/>
                    </a:lnTo>
                    <a:lnTo>
                      <a:pt x="48" y="8"/>
                    </a:lnTo>
                    <a:lnTo>
                      <a:pt x="48" y="0"/>
                    </a:lnTo>
                    <a:lnTo>
                      <a:pt x="40" y="0"/>
                    </a:lnTo>
                    <a:close/>
                  </a:path>
                </a:pathLst>
              </a:custGeom>
              <a:grpFill/>
              <a:ln w="12700">
                <a:noFill/>
                <a:prstDash val="solid"/>
                <a:round/>
                <a:headEnd/>
                <a:tailEnd/>
              </a:ln>
            </p:spPr>
            <p:txBody>
              <a:bodyPr/>
              <a:lstStyle/>
              <a:p>
                <a:endParaRPr lang="en-US">
                  <a:solidFill>
                    <a:srgbClr val="000000"/>
                  </a:solidFill>
                </a:endParaRPr>
              </a:p>
            </p:txBody>
          </p:sp>
          <p:sp>
            <p:nvSpPr>
              <p:cNvPr id="1251" name="Freeform 300"/>
              <p:cNvSpPr>
                <a:spLocks/>
              </p:cNvSpPr>
              <p:nvPr/>
            </p:nvSpPr>
            <p:spPr bwMode="auto">
              <a:xfrm>
                <a:off x="2036838" y="3414787"/>
                <a:ext cx="1890" cy="15119"/>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52" name="Freeform 301"/>
              <p:cNvSpPr>
                <a:spLocks/>
              </p:cNvSpPr>
              <p:nvPr/>
            </p:nvSpPr>
            <p:spPr bwMode="auto">
              <a:xfrm>
                <a:off x="2082195" y="3414787"/>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53" name="Freeform 302"/>
              <p:cNvSpPr>
                <a:spLocks/>
              </p:cNvSpPr>
              <p:nvPr/>
            </p:nvSpPr>
            <p:spPr bwMode="auto">
              <a:xfrm>
                <a:off x="2067076" y="3414787"/>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54" name="Freeform 303"/>
              <p:cNvSpPr>
                <a:spLocks/>
              </p:cNvSpPr>
              <p:nvPr/>
            </p:nvSpPr>
            <p:spPr bwMode="auto">
              <a:xfrm>
                <a:off x="2067076" y="3399668"/>
                <a:ext cx="1890" cy="15119"/>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55" name="Rectangle 304"/>
              <p:cNvSpPr>
                <a:spLocks noChangeArrowheads="1"/>
              </p:cNvSpPr>
              <p:nvPr/>
            </p:nvSpPr>
            <p:spPr bwMode="auto">
              <a:xfrm>
                <a:off x="2036838" y="3399668"/>
                <a:ext cx="15119" cy="15119"/>
              </a:xfrm>
              <a:prstGeom prst="rect">
                <a:avLst/>
              </a:prstGeom>
              <a:grpFill/>
              <a:ln w="12700">
                <a:noFill/>
                <a:miter lim="800000"/>
                <a:headEnd/>
                <a:tailEnd/>
              </a:ln>
            </p:spPr>
            <p:txBody>
              <a:bodyPr/>
              <a:lstStyle/>
              <a:p>
                <a:endParaRPr lang="en-US">
                  <a:solidFill>
                    <a:srgbClr val="000000"/>
                  </a:solidFill>
                </a:endParaRPr>
              </a:p>
            </p:txBody>
          </p:sp>
          <p:sp>
            <p:nvSpPr>
              <p:cNvPr id="1256" name="Freeform 305"/>
              <p:cNvSpPr>
                <a:spLocks/>
              </p:cNvSpPr>
              <p:nvPr/>
            </p:nvSpPr>
            <p:spPr bwMode="auto">
              <a:xfrm>
                <a:off x="2475290" y="3021692"/>
                <a:ext cx="15119" cy="1890"/>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noFill/>
                <a:prstDash val="solid"/>
                <a:round/>
                <a:headEnd/>
                <a:tailEnd/>
              </a:ln>
            </p:spPr>
            <p:txBody>
              <a:bodyPr/>
              <a:lstStyle/>
              <a:p>
                <a:endParaRPr lang="en-US">
                  <a:solidFill>
                    <a:srgbClr val="000000"/>
                  </a:solidFill>
                </a:endParaRPr>
              </a:p>
            </p:txBody>
          </p:sp>
          <p:sp>
            <p:nvSpPr>
              <p:cNvPr id="1257" name="Freeform 306"/>
              <p:cNvSpPr>
                <a:spLocks/>
              </p:cNvSpPr>
              <p:nvPr/>
            </p:nvSpPr>
            <p:spPr bwMode="auto">
              <a:xfrm>
                <a:off x="2460171" y="3006573"/>
                <a:ext cx="15119" cy="15119"/>
              </a:xfrm>
              <a:custGeom>
                <a:avLst/>
                <a:gdLst>
                  <a:gd name="T0" fmla="*/ 0 w 8"/>
                  <a:gd name="T1" fmla="*/ 8 h 8"/>
                  <a:gd name="T2" fmla="*/ 0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0"/>
                    </a:lnTo>
                    <a:lnTo>
                      <a:pt x="0" y="8"/>
                    </a:lnTo>
                    <a:close/>
                  </a:path>
                </a:pathLst>
              </a:custGeom>
              <a:grpFill/>
              <a:ln w="12700">
                <a:noFill/>
                <a:prstDash val="solid"/>
                <a:round/>
                <a:headEnd/>
                <a:tailEnd/>
              </a:ln>
            </p:spPr>
            <p:txBody>
              <a:bodyPr/>
              <a:lstStyle/>
              <a:p>
                <a:endParaRPr lang="en-US">
                  <a:solidFill>
                    <a:srgbClr val="000000"/>
                  </a:solidFill>
                </a:endParaRPr>
              </a:p>
            </p:txBody>
          </p:sp>
          <p:sp>
            <p:nvSpPr>
              <p:cNvPr id="1258" name="Freeform 307"/>
              <p:cNvSpPr>
                <a:spLocks/>
              </p:cNvSpPr>
              <p:nvPr/>
            </p:nvSpPr>
            <p:spPr bwMode="auto">
              <a:xfrm>
                <a:off x="2097314" y="3339192"/>
                <a:ext cx="90714" cy="60476"/>
              </a:xfrm>
              <a:custGeom>
                <a:avLst/>
                <a:gdLst>
                  <a:gd name="T0" fmla="*/ 0 w 48"/>
                  <a:gd name="T1" fmla="*/ 24 h 32"/>
                  <a:gd name="T2" fmla="*/ 8 w 48"/>
                  <a:gd name="T3" fmla="*/ 16 h 32"/>
                  <a:gd name="T4" fmla="*/ 16 w 48"/>
                  <a:gd name="T5" fmla="*/ 16 h 32"/>
                  <a:gd name="T6" fmla="*/ 16 w 48"/>
                  <a:gd name="T7" fmla="*/ 8 h 32"/>
                  <a:gd name="T8" fmla="*/ 16 w 48"/>
                  <a:gd name="T9" fmla="*/ 0 h 32"/>
                  <a:gd name="T10" fmla="*/ 24 w 48"/>
                  <a:gd name="T11" fmla="*/ 0 h 32"/>
                  <a:gd name="T12" fmla="*/ 24 w 48"/>
                  <a:gd name="T13" fmla="*/ 8 h 32"/>
                  <a:gd name="T14" fmla="*/ 32 w 48"/>
                  <a:gd name="T15" fmla="*/ 8 h 32"/>
                  <a:gd name="T16" fmla="*/ 40 w 48"/>
                  <a:gd name="T17" fmla="*/ 8 h 32"/>
                  <a:gd name="T18" fmla="*/ 40 w 48"/>
                  <a:gd name="T19" fmla="*/ 0 h 32"/>
                  <a:gd name="T20" fmla="*/ 48 w 48"/>
                  <a:gd name="T21" fmla="*/ 0 h 32"/>
                  <a:gd name="T22" fmla="*/ 48 w 48"/>
                  <a:gd name="T23" fmla="*/ 8 h 32"/>
                  <a:gd name="T24" fmla="*/ 48 w 48"/>
                  <a:gd name="T25" fmla="*/ 16 h 32"/>
                  <a:gd name="T26" fmla="*/ 40 w 48"/>
                  <a:gd name="T27" fmla="*/ 24 h 32"/>
                  <a:gd name="T28" fmla="*/ 32 w 48"/>
                  <a:gd name="T29" fmla="*/ 24 h 32"/>
                  <a:gd name="T30" fmla="*/ 24 w 48"/>
                  <a:gd name="T31" fmla="*/ 24 h 32"/>
                  <a:gd name="T32" fmla="*/ 16 w 48"/>
                  <a:gd name="T33" fmla="*/ 24 h 32"/>
                  <a:gd name="T34" fmla="*/ 8 w 48"/>
                  <a:gd name="T35" fmla="*/ 32 h 32"/>
                  <a:gd name="T36" fmla="*/ 8 w 48"/>
                  <a:gd name="T37" fmla="*/ 24 h 32"/>
                  <a:gd name="T38" fmla="*/ 0 w 48"/>
                  <a:gd name="T3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32">
                    <a:moveTo>
                      <a:pt x="0" y="24"/>
                    </a:moveTo>
                    <a:lnTo>
                      <a:pt x="8" y="16"/>
                    </a:lnTo>
                    <a:lnTo>
                      <a:pt x="16" y="16"/>
                    </a:lnTo>
                    <a:lnTo>
                      <a:pt x="16" y="8"/>
                    </a:lnTo>
                    <a:lnTo>
                      <a:pt x="16" y="0"/>
                    </a:lnTo>
                    <a:lnTo>
                      <a:pt x="24" y="0"/>
                    </a:lnTo>
                    <a:lnTo>
                      <a:pt x="24" y="8"/>
                    </a:lnTo>
                    <a:lnTo>
                      <a:pt x="32" y="8"/>
                    </a:lnTo>
                    <a:lnTo>
                      <a:pt x="40" y="8"/>
                    </a:lnTo>
                    <a:lnTo>
                      <a:pt x="40" y="0"/>
                    </a:lnTo>
                    <a:lnTo>
                      <a:pt x="48" y="0"/>
                    </a:lnTo>
                    <a:lnTo>
                      <a:pt x="48" y="8"/>
                    </a:lnTo>
                    <a:lnTo>
                      <a:pt x="48" y="16"/>
                    </a:lnTo>
                    <a:lnTo>
                      <a:pt x="40" y="24"/>
                    </a:lnTo>
                    <a:lnTo>
                      <a:pt x="32" y="24"/>
                    </a:lnTo>
                    <a:lnTo>
                      <a:pt x="24" y="24"/>
                    </a:lnTo>
                    <a:lnTo>
                      <a:pt x="16" y="24"/>
                    </a:lnTo>
                    <a:lnTo>
                      <a:pt x="8" y="32"/>
                    </a:lnTo>
                    <a:lnTo>
                      <a:pt x="8" y="24"/>
                    </a:lnTo>
                    <a:lnTo>
                      <a:pt x="0" y="24"/>
                    </a:lnTo>
                    <a:close/>
                  </a:path>
                </a:pathLst>
              </a:custGeom>
              <a:grpFill/>
              <a:ln w="12700">
                <a:noFill/>
                <a:prstDash val="solid"/>
                <a:round/>
                <a:headEnd/>
                <a:tailEnd/>
              </a:ln>
            </p:spPr>
            <p:txBody>
              <a:bodyPr/>
              <a:lstStyle/>
              <a:p>
                <a:endParaRPr lang="en-US">
                  <a:solidFill>
                    <a:srgbClr val="000000"/>
                  </a:solidFill>
                </a:endParaRPr>
              </a:p>
            </p:txBody>
          </p:sp>
        </p:grpSp>
        <p:sp>
          <p:nvSpPr>
            <p:cNvPr id="1004" name="Freeform 333"/>
            <p:cNvSpPr>
              <a:spLocks/>
            </p:cNvSpPr>
            <p:nvPr/>
          </p:nvSpPr>
          <p:spPr bwMode="auto">
            <a:xfrm>
              <a:off x="3062136" y="4189093"/>
              <a:ext cx="2615595" cy="1557262"/>
            </a:xfrm>
            <a:custGeom>
              <a:avLst/>
              <a:gdLst>
                <a:gd name="T0" fmla="*/ 808 w 1384"/>
                <a:gd name="T1" fmla="*/ 88 h 824"/>
                <a:gd name="T2" fmla="*/ 864 w 1384"/>
                <a:gd name="T3" fmla="*/ 104 h 824"/>
                <a:gd name="T4" fmla="*/ 1000 w 1384"/>
                <a:gd name="T5" fmla="*/ 304 h 824"/>
                <a:gd name="T6" fmla="*/ 1168 w 1384"/>
                <a:gd name="T7" fmla="*/ 248 h 824"/>
                <a:gd name="T8" fmla="*/ 1304 w 1384"/>
                <a:gd name="T9" fmla="*/ 208 h 824"/>
                <a:gd name="T10" fmla="*/ 1360 w 1384"/>
                <a:gd name="T11" fmla="*/ 160 h 824"/>
                <a:gd name="T12" fmla="*/ 1384 w 1384"/>
                <a:gd name="T13" fmla="*/ 240 h 824"/>
                <a:gd name="T14" fmla="*/ 1328 w 1384"/>
                <a:gd name="T15" fmla="*/ 256 h 824"/>
                <a:gd name="T16" fmla="*/ 1296 w 1384"/>
                <a:gd name="T17" fmla="*/ 272 h 824"/>
                <a:gd name="T18" fmla="*/ 1288 w 1384"/>
                <a:gd name="T19" fmla="*/ 336 h 824"/>
                <a:gd name="T20" fmla="*/ 1256 w 1384"/>
                <a:gd name="T21" fmla="*/ 336 h 824"/>
                <a:gd name="T22" fmla="*/ 1192 w 1384"/>
                <a:gd name="T23" fmla="*/ 368 h 824"/>
                <a:gd name="T24" fmla="*/ 1168 w 1384"/>
                <a:gd name="T25" fmla="*/ 424 h 824"/>
                <a:gd name="T26" fmla="*/ 1152 w 1384"/>
                <a:gd name="T27" fmla="*/ 424 h 824"/>
                <a:gd name="T28" fmla="*/ 1136 w 1384"/>
                <a:gd name="T29" fmla="*/ 480 h 824"/>
                <a:gd name="T30" fmla="*/ 1128 w 1384"/>
                <a:gd name="T31" fmla="*/ 440 h 824"/>
                <a:gd name="T32" fmla="*/ 1120 w 1384"/>
                <a:gd name="T33" fmla="*/ 424 h 824"/>
                <a:gd name="T34" fmla="*/ 1120 w 1384"/>
                <a:gd name="T35" fmla="*/ 456 h 824"/>
                <a:gd name="T36" fmla="*/ 1120 w 1384"/>
                <a:gd name="T37" fmla="*/ 488 h 824"/>
                <a:gd name="T38" fmla="*/ 1104 w 1384"/>
                <a:gd name="T39" fmla="*/ 520 h 824"/>
                <a:gd name="T40" fmla="*/ 1112 w 1384"/>
                <a:gd name="T41" fmla="*/ 536 h 824"/>
                <a:gd name="T42" fmla="*/ 1112 w 1384"/>
                <a:gd name="T43" fmla="*/ 544 h 824"/>
                <a:gd name="T44" fmla="*/ 1032 w 1384"/>
                <a:gd name="T45" fmla="*/ 600 h 824"/>
                <a:gd name="T46" fmla="*/ 976 w 1384"/>
                <a:gd name="T47" fmla="*/ 640 h 824"/>
                <a:gd name="T48" fmla="*/ 984 w 1384"/>
                <a:gd name="T49" fmla="*/ 728 h 824"/>
                <a:gd name="T50" fmla="*/ 984 w 1384"/>
                <a:gd name="T51" fmla="*/ 816 h 824"/>
                <a:gd name="T52" fmla="*/ 952 w 1384"/>
                <a:gd name="T53" fmla="*/ 768 h 824"/>
                <a:gd name="T54" fmla="*/ 928 w 1384"/>
                <a:gd name="T55" fmla="*/ 736 h 824"/>
                <a:gd name="T56" fmla="*/ 896 w 1384"/>
                <a:gd name="T57" fmla="*/ 688 h 824"/>
                <a:gd name="T58" fmla="*/ 864 w 1384"/>
                <a:gd name="T59" fmla="*/ 672 h 824"/>
                <a:gd name="T60" fmla="*/ 808 w 1384"/>
                <a:gd name="T61" fmla="*/ 672 h 824"/>
                <a:gd name="T62" fmla="*/ 760 w 1384"/>
                <a:gd name="T63" fmla="*/ 688 h 824"/>
                <a:gd name="T64" fmla="*/ 760 w 1384"/>
                <a:gd name="T65" fmla="*/ 704 h 824"/>
                <a:gd name="T66" fmla="*/ 736 w 1384"/>
                <a:gd name="T67" fmla="*/ 704 h 824"/>
                <a:gd name="T68" fmla="*/ 704 w 1384"/>
                <a:gd name="T69" fmla="*/ 696 h 824"/>
                <a:gd name="T70" fmla="*/ 648 w 1384"/>
                <a:gd name="T71" fmla="*/ 680 h 824"/>
                <a:gd name="T72" fmla="*/ 592 w 1384"/>
                <a:gd name="T73" fmla="*/ 720 h 824"/>
                <a:gd name="T74" fmla="*/ 568 w 1384"/>
                <a:gd name="T75" fmla="*/ 784 h 824"/>
                <a:gd name="T76" fmla="*/ 528 w 1384"/>
                <a:gd name="T77" fmla="*/ 760 h 824"/>
                <a:gd name="T78" fmla="*/ 504 w 1384"/>
                <a:gd name="T79" fmla="*/ 696 h 824"/>
                <a:gd name="T80" fmla="*/ 456 w 1384"/>
                <a:gd name="T81" fmla="*/ 680 h 824"/>
                <a:gd name="T82" fmla="*/ 416 w 1384"/>
                <a:gd name="T83" fmla="*/ 688 h 824"/>
                <a:gd name="T84" fmla="*/ 392 w 1384"/>
                <a:gd name="T85" fmla="*/ 640 h 824"/>
                <a:gd name="T86" fmla="*/ 112 w 1384"/>
                <a:gd name="T87" fmla="*/ 576 h 824"/>
                <a:gd name="T88" fmla="*/ 72 w 1384"/>
                <a:gd name="T89" fmla="*/ 528 h 824"/>
                <a:gd name="T90" fmla="*/ 32 w 1384"/>
                <a:gd name="T91" fmla="*/ 464 h 824"/>
                <a:gd name="T92" fmla="*/ 24 w 1384"/>
                <a:gd name="T93" fmla="*/ 416 h 824"/>
                <a:gd name="T94" fmla="*/ 40 w 1384"/>
                <a:gd name="T95" fmla="*/ 400 h 824"/>
                <a:gd name="T96" fmla="*/ 8 w 1384"/>
                <a:gd name="T97" fmla="*/ 360 h 824"/>
                <a:gd name="T98" fmla="*/ 8 w 1384"/>
                <a:gd name="T99" fmla="*/ 288 h 824"/>
                <a:gd name="T100" fmla="*/ 24 w 1384"/>
                <a:gd name="T101" fmla="*/ 216 h 824"/>
                <a:gd name="T102" fmla="*/ 56 w 1384"/>
                <a:gd name="T103" fmla="*/ 120 h 824"/>
                <a:gd name="T104" fmla="*/ 72 w 1384"/>
                <a:gd name="T105" fmla="*/ 104 h 824"/>
                <a:gd name="T106" fmla="*/ 72 w 1384"/>
                <a:gd name="T107" fmla="*/ 72 h 824"/>
                <a:gd name="T108" fmla="*/ 88 w 1384"/>
                <a:gd name="T109" fmla="*/ 32 h 824"/>
                <a:gd name="T110" fmla="*/ 112 w 1384"/>
                <a:gd name="T111" fmla="*/ 56 h 824"/>
                <a:gd name="T112" fmla="*/ 120 w 1384"/>
                <a:gd name="T113" fmla="*/ 40 h 824"/>
                <a:gd name="T114" fmla="*/ 1272 w 1384"/>
                <a:gd name="T115" fmla="*/ 344 h 824"/>
                <a:gd name="T116" fmla="*/ 1240 w 1384"/>
                <a:gd name="T117" fmla="*/ 360 h 824"/>
                <a:gd name="T118" fmla="*/ 120 w 1384"/>
                <a:gd name="T119" fmla="*/ 24 h 824"/>
                <a:gd name="T120" fmla="*/ 592 w 1384"/>
                <a:gd name="T121" fmla="*/ 736 h 824"/>
                <a:gd name="T122" fmla="*/ 576 w 1384"/>
                <a:gd name="T123" fmla="*/ 76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4" h="824">
                  <a:moveTo>
                    <a:pt x="120" y="0"/>
                  </a:moveTo>
                  <a:lnTo>
                    <a:pt x="760" y="64"/>
                  </a:lnTo>
                  <a:lnTo>
                    <a:pt x="768" y="64"/>
                  </a:lnTo>
                  <a:lnTo>
                    <a:pt x="768" y="72"/>
                  </a:lnTo>
                  <a:lnTo>
                    <a:pt x="776" y="72"/>
                  </a:lnTo>
                  <a:lnTo>
                    <a:pt x="784" y="80"/>
                  </a:lnTo>
                  <a:lnTo>
                    <a:pt x="792" y="80"/>
                  </a:lnTo>
                  <a:lnTo>
                    <a:pt x="800" y="80"/>
                  </a:lnTo>
                  <a:lnTo>
                    <a:pt x="808" y="80"/>
                  </a:lnTo>
                  <a:lnTo>
                    <a:pt x="808" y="88"/>
                  </a:lnTo>
                  <a:lnTo>
                    <a:pt x="816" y="88"/>
                  </a:lnTo>
                  <a:lnTo>
                    <a:pt x="816" y="96"/>
                  </a:lnTo>
                  <a:lnTo>
                    <a:pt x="824" y="96"/>
                  </a:lnTo>
                  <a:lnTo>
                    <a:pt x="832" y="96"/>
                  </a:lnTo>
                  <a:lnTo>
                    <a:pt x="840" y="104"/>
                  </a:lnTo>
                  <a:lnTo>
                    <a:pt x="848" y="104"/>
                  </a:lnTo>
                  <a:lnTo>
                    <a:pt x="848" y="96"/>
                  </a:lnTo>
                  <a:lnTo>
                    <a:pt x="848" y="104"/>
                  </a:lnTo>
                  <a:lnTo>
                    <a:pt x="856" y="104"/>
                  </a:lnTo>
                  <a:lnTo>
                    <a:pt x="864" y="104"/>
                  </a:lnTo>
                  <a:lnTo>
                    <a:pt x="864" y="112"/>
                  </a:lnTo>
                  <a:lnTo>
                    <a:pt x="872" y="112"/>
                  </a:lnTo>
                  <a:lnTo>
                    <a:pt x="880" y="112"/>
                  </a:lnTo>
                  <a:lnTo>
                    <a:pt x="976" y="160"/>
                  </a:lnTo>
                  <a:lnTo>
                    <a:pt x="984" y="168"/>
                  </a:lnTo>
                  <a:lnTo>
                    <a:pt x="1000" y="176"/>
                  </a:lnTo>
                  <a:lnTo>
                    <a:pt x="1016" y="256"/>
                  </a:lnTo>
                  <a:lnTo>
                    <a:pt x="1008" y="288"/>
                  </a:lnTo>
                  <a:lnTo>
                    <a:pt x="1008" y="296"/>
                  </a:lnTo>
                  <a:lnTo>
                    <a:pt x="1000" y="304"/>
                  </a:lnTo>
                  <a:lnTo>
                    <a:pt x="992" y="304"/>
                  </a:lnTo>
                  <a:lnTo>
                    <a:pt x="984" y="312"/>
                  </a:lnTo>
                  <a:lnTo>
                    <a:pt x="992" y="320"/>
                  </a:lnTo>
                  <a:lnTo>
                    <a:pt x="1072" y="296"/>
                  </a:lnTo>
                  <a:lnTo>
                    <a:pt x="1088" y="296"/>
                  </a:lnTo>
                  <a:lnTo>
                    <a:pt x="1088" y="280"/>
                  </a:lnTo>
                  <a:lnTo>
                    <a:pt x="1136" y="272"/>
                  </a:lnTo>
                  <a:lnTo>
                    <a:pt x="1152" y="256"/>
                  </a:lnTo>
                  <a:lnTo>
                    <a:pt x="1160" y="248"/>
                  </a:lnTo>
                  <a:lnTo>
                    <a:pt x="1168" y="248"/>
                  </a:lnTo>
                  <a:lnTo>
                    <a:pt x="1176" y="240"/>
                  </a:lnTo>
                  <a:lnTo>
                    <a:pt x="1184" y="232"/>
                  </a:lnTo>
                  <a:lnTo>
                    <a:pt x="1192" y="232"/>
                  </a:lnTo>
                  <a:lnTo>
                    <a:pt x="1192" y="224"/>
                  </a:lnTo>
                  <a:lnTo>
                    <a:pt x="1200" y="224"/>
                  </a:lnTo>
                  <a:lnTo>
                    <a:pt x="1272" y="224"/>
                  </a:lnTo>
                  <a:lnTo>
                    <a:pt x="1280" y="224"/>
                  </a:lnTo>
                  <a:lnTo>
                    <a:pt x="1288" y="224"/>
                  </a:lnTo>
                  <a:lnTo>
                    <a:pt x="1296" y="216"/>
                  </a:lnTo>
                  <a:lnTo>
                    <a:pt x="1304" y="208"/>
                  </a:lnTo>
                  <a:lnTo>
                    <a:pt x="1312" y="200"/>
                  </a:lnTo>
                  <a:lnTo>
                    <a:pt x="1312" y="192"/>
                  </a:lnTo>
                  <a:lnTo>
                    <a:pt x="1312" y="184"/>
                  </a:lnTo>
                  <a:lnTo>
                    <a:pt x="1320" y="184"/>
                  </a:lnTo>
                  <a:lnTo>
                    <a:pt x="1328" y="176"/>
                  </a:lnTo>
                  <a:lnTo>
                    <a:pt x="1336" y="168"/>
                  </a:lnTo>
                  <a:lnTo>
                    <a:pt x="1336" y="160"/>
                  </a:lnTo>
                  <a:lnTo>
                    <a:pt x="1344" y="160"/>
                  </a:lnTo>
                  <a:lnTo>
                    <a:pt x="1352" y="160"/>
                  </a:lnTo>
                  <a:lnTo>
                    <a:pt x="1360" y="160"/>
                  </a:lnTo>
                  <a:lnTo>
                    <a:pt x="1368" y="168"/>
                  </a:lnTo>
                  <a:lnTo>
                    <a:pt x="1368" y="176"/>
                  </a:lnTo>
                  <a:lnTo>
                    <a:pt x="1368" y="208"/>
                  </a:lnTo>
                  <a:lnTo>
                    <a:pt x="1368" y="216"/>
                  </a:lnTo>
                  <a:lnTo>
                    <a:pt x="1368" y="224"/>
                  </a:lnTo>
                  <a:lnTo>
                    <a:pt x="1368" y="232"/>
                  </a:lnTo>
                  <a:lnTo>
                    <a:pt x="1376" y="232"/>
                  </a:lnTo>
                  <a:lnTo>
                    <a:pt x="1376" y="240"/>
                  </a:lnTo>
                  <a:lnTo>
                    <a:pt x="1384" y="248"/>
                  </a:lnTo>
                  <a:lnTo>
                    <a:pt x="1384" y="240"/>
                  </a:lnTo>
                  <a:lnTo>
                    <a:pt x="1384" y="248"/>
                  </a:lnTo>
                  <a:lnTo>
                    <a:pt x="1376" y="248"/>
                  </a:lnTo>
                  <a:lnTo>
                    <a:pt x="1368" y="248"/>
                  </a:lnTo>
                  <a:lnTo>
                    <a:pt x="1368" y="256"/>
                  </a:lnTo>
                  <a:lnTo>
                    <a:pt x="1360" y="256"/>
                  </a:lnTo>
                  <a:lnTo>
                    <a:pt x="1352" y="256"/>
                  </a:lnTo>
                  <a:lnTo>
                    <a:pt x="1344" y="256"/>
                  </a:lnTo>
                  <a:lnTo>
                    <a:pt x="1336" y="256"/>
                  </a:lnTo>
                  <a:lnTo>
                    <a:pt x="1336" y="248"/>
                  </a:lnTo>
                  <a:lnTo>
                    <a:pt x="1328" y="256"/>
                  </a:lnTo>
                  <a:lnTo>
                    <a:pt x="1328" y="264"/>
                  </a:lnTo>
                  <a:lnTo>
                    <a:pt x="1320" y="264"/>
                  </a:lnTo>
                  <a:lnTo>
                    <a:pt x="1320" y="272"/>
                  </a:lnTo>
                  <a:lnTo>
                    <a:pt x="1312" y="272"/>
                  </a:lnTo>
                  <a:lnTo>
                    <a:pt x="1312" y="264"/>
                  </a:lnTo>
                  <a:lnTo>
                    <a:pt x="1312" y="272"/>
                  </a:lnTo>
                  <a:lnTo>
                    <a:pt x="1304" y="272"/>
                  </a:lnTo>
                  <a:lnTo>
                    <a:pt x="1304" y="264"/>
                  </a:lnTo>
                  <a:lnTo>
                    <a:pt x="1304" y="272"/>
                  </a:lnTo>
                  <a:lnTo>
                    <a:pt x="1296" y="272"/>
                  </a:lnTo>
                  <a:lnTo>
                    <a:pt x="1296" y="280"/>
                  </a:lnTo>
                  <a:lnTo>
                    <a:pt x="1288" y="288"/>
                  </a:lnTo>
                  <a:lnTo>
                    <a:pt x="1288" y="296"/>
                  </a:lnTo>
                  <a:lnTo>
                    <a:pt x="1280" y="296"/>
                  </a:lnTo>
                  <a:lnTo>
                    <a:pt x="1280" y="304"/>
                  </a:lnTo>
                  <a:lnTo>
                    <a:pt x="1280" y="312"/>
                  </a:lnTo>
                  <a:lnTo>
                    <a:pt x="1272" y="320"/>
                  </a:lnTo>
                  <a:lnTo>
                    <a:pt x="1280" y="328"/>
                  </a:lnTo>
                  <a:lnTo>
                    <a:pt x="1280" y="336"/>
                  </a:lnTo>
                  <a:lnTo>
                    <a:pt x="1288" y="336"/>
                  </a:lnTo>
                  <a:lnTo>
                    <a:pt x="1288" y="328"/>
                  </a:lnTo>
                  <a:lnTo>
                    <a:pt x="1296" y="328"/>
                  </a:lnTo>
                  <a:lnTo>
                    <a:pt x="1296" y="336"/>
                  </a:lnTo>
                  <a:lnTo>
                    <a:pt x="1288" y="336"/>
                  </a:lnTo>
                  <a:lnTo>
                    <a:pt x="1280" y="344"/>
                  </a:lnTo>
                  <a:lnTo>
                    <a:pt x="1272" y="336"/>
                  </a:lnTo>
                  <a:lnTo>
                    <a:pt x="1272" y="344"/>
                  </a:lnTo>
                  <a:lnTo>
                    <a:pt x="1264" y="352"/>
                  </a:lnTo>
                  <a:lnTo>
                    <a:pt x="1264" y="344"/>
                  </a:lnTo>
                  <a:lnTo>
                    <a:pt x="1256" y="336"/>
                  </a:lnTo>
                  <a:lnTo>
                    <a:pt x="1256" y="344"/>
                  </a:lnTo>
                  <a:lnTo>
                    <a:pt x="1256" y="352"/>
                  </a:lnTo>
                  <a:lnTo>
                    <a:pt x="1248" y="352"/>
                  </a:lnTo>
                  <a:lnTo>
                    <a:pt x="1240" y="352"/>
                  </a:lnTo>
                  <a:lnTo>
                    <a:pt x="1232" y="352"/>
                  </a:lnTo>
                  <a:lnTo>
                    <a:pt x="1224" y="352"/>
                  </a:lnTo>
                  <a:lnTo>
                    <a:pt x="1216" y="360"/>
                  </a:lnTo>
                  <a:lnTo>
                    <a:pt x="1208" y="360"/>
                  </a:lnTo>
                  <a:lnTo>
                    <a:pt x="1200" y="360"/>
                  </a:lnTo>
                  <a:lnTo>
                    <a:pt x="1192" y="368"/>
                  </a:lnTo>
                  <a:lnTo>
                    <a:pt x="1184" y="376"/>
                  </a:lnTo>
                  <a:lnTo>
                    <a:pt x="1192" y="376"/>
                  </a:lnTo>
                  <a:lnTo>
                    <a:pt x="1192" y="384"/>
                  </a:lnTo>
                  <a:lnTo>
                    <a:pt x="1184" y="392"/>
                  </a:lnTo>
                  <a:lnTo>
                    <a:pt x="1184" y="400"/>
                  </a:lnTo>
                  <a:lnTo>
                    <a:pt x="1176" y="400"/>
                  </a:lnTo>
                  <a:lnTo>
                    <a:pt x="1176" y="408"/>
                  </a:lnTo>
                  <a:lnTo>
                    <a:pt x="1176" y="416"/>
                  </a:lnTo>
                  <a:lnTo>
                    <a:pt x="1168" y="416"/>
                  </a:lnTo>
                  <a:lnTo>
                    <a:pt x="1168" y="424"/>
                  </a:lnTo>
                  <a:lnTo>
                    <a:pt x="1160" y="424"/>
                  </a:lnTo>
                  <a:lnTo>
                    <a:pt x="1160" y="416"/>
                  </a:lnTo>
                  <a:lnTo>
                    <a:pt x="1152" y="408"/>
                  </a:lnTo>
                  <a:lnTo>
                    <a:pt x="1152" y="400"/>
                  </a:lnTo>
                  <a:lnTo>
                    <a:pt x="1160" y="392"/>
                  </a:lnTo>
                  <a:lnTo>
                    <a:pt x="1152" y="400"/>
                  </a:lnTo>
                  <a:lnTo>
                    <a:pt x="1144" y="408"/>
                  </a:lnTo>
                  <a:lnTo>
                    <a:pt x="1152" y="408"/>
                  </a:lnTo>
                  <a:lnTo>
                    <a:pt x="1152" y="416"/>
                  </a:lnTo>
                  <a:lnTo>
                    <a:pt x="1152" y="424"/>
                  </a:lnTo>
                  <a:lnTo>
                    <a:pt x="1160" y="432"/>
                  </a:lnTo>
                  <a:lnTo>
                    <a:pt x="1160" y="440"/>
                  </a:lnTo>
                  <a:lnTo>
                    <a:pt x="1152" y="448"/>
                  </a:lnTo>
                  <a:lnTo>
                    <a:pt x="1144" y="448"/>
                  </a:lnTo>
                  <a:lnTo>
                    <a:pt x="1144" y="456"/>
                  </a:lnTo>
                  <a:lnTo>
                    <a:pt x="1144" y="464"/>
                  </a:lnTo>
                  <a:lnTo>
                    <a:pt x="1136" y="472"/>
                  </a:lnTo>
                  <a:lnTo>
                    <a:pt x="1136" y="464"/>
                  </a:lnTo>
                  <a:lnTo>
                    <a:pt x="1136" y="472"/>
                  </a:lnTo>
                  <a:lnTo>
                    <a:pt x="1136" y="480"/>
                  </a:lnTo>
                  <a:lnTo>
                    <a:pt x="1128" y="480"/>
                  </a:lnTo>
                  <a:lnTo>
                    <a:pt x="1128" y="472"/>
                  </a:lnTo>
                  <a:lnTo>
                    <a:pt x="1136" y="472"/>
                  </a:lnTo>
                  <a:lnTo>
                    <a:pt x="1136" y="464"/>
                  </a:lnTo>
                  <a:lnTo>
                    <a:pt x="1136" y="456"/>
                  </a:lnTo>
                  <a:lnTo>
                    <a:pt x="1144" y="456"/>
                  </a:lnTo>
                  <a:lnTo>
                    <a:pt x="1136" y="456"/>
                  </a:lnTo>
                  <a:lnTo>
                    <a:pt x="1136" y="448"/>
                  </a:lnTo>
                  <a:lnTo>
                    <a:pt x="1128" y="448"/>
                  </a:lnTo>
                  <a:lnTo>
                    <a:pt x="1128" y="440"/>
                  </a:lnTo>
                  <a:lnTo>
                    <a:pt x="1128" y="432"/>
                  </a:lnTo>
                  <a:lnTo>
                    <a:pt x="1128" y="424"/>
                  </a:lnTo>
                  <a:lnTo>
                    <a:pt x="1128" y="416"/>
                  </a:lnTo>
                  <a:lnTo>
                    <a:pt x="1136" y="408"/>
                  </a:lnTo>
                  <a:lnTo>
                    <a:pt x="1128" y="400"/>
                  </a:lnTo>
                  <a:lnTo>
                    <a:pt x="1136" y="408"/>
                  </a:lnTo>
                  <a:lnTo>
                    <a:pt x="1128" y="408"/>
                  </a:lnTo>
                  <a:lnTo>
                    <a:pt x="1128" y="416"/>
                  </a:lnTo>
                  <a:lnTo>
                    <a:pt x="1120" y="416"/>
                  </a:lnTo>
                  <a:lnTo>
                    <a:pt x="1120" y="424"/>
                  </a:lnTo>
                  <a:lnTo>
                    <a:pt x="1120" y="432"/>
                  </a:lnTo>
                  <a:lnTo>
                    <a:pt x="1120" y="440"/>
                  </a:lnTo>
                  <a:lnTo>
                    <a:pt x="1120" y="448"/>
                  </a:lnTo>
                  <a:lnTo>
                    <a:pt x="1112" y="440"/>
                  </a:lnTo>
                  <a:lnTo>
                    <a:pt x="1104" y="440"/>
                  </a:lnTo>
                  <a:lnTo>
                    <a:pt x="1104" y="432"/>
                  </a:lnTo>
                  <a:lnTo>
                    <a:pt x="1104" y="440"/>
                  </a:lnTo>
                  <a:lnTo>
                    <a:pt x="1112" y="440"/>
                  </a:lnTo>
                  <a:lnTo>
                    <a:pt x="1112" y="448"/>
                  </a:lnTo>
                  <a:lnTo>
                    <a:pt x="1120" y="456"/>
                  </a:lnTo>
                  <a:lnTo>
                    <a:pt x="1120" y="464"/>
                  </a:lnTo>
                  <a:lnTo>
                    <a:pt x="1120" y="456"/>
                  </a:lnTo>
                  <a:lnTo>
                    <a:pt x="1112" y="456"/>
                  </a:lnTo>
                  <a:lnTo>
                    <a:pt x="1120" y="464"/>
                  </a:lnTo>
                  <a:lnTo>
                    <a:pt x="1120" y="472"/>
                  </a:lnTo>
                  <a:lnTo>
                    <a:pt x="1120" y="480"/>
                  </a:lnTo>
                  <a:lnTo>
                    <a:pt x="1112" y="480"/>
                  </a:lnTo>
                  <a:lnTo>
                    <a:pt x="1104" y="472"/>
                  </a:lnTo>
                  <a:lnTo>
                    <a:pt x="1112" y="480"/>
                  </a:lnTo>
                  <a:lnTo>
                    <a:pt x="1120" y="488"/>
                  </a:lnTo>
                  <a:lnTo>
                    <a:pt x="1128" y="488"/>
                  </a:lnTo>
                  <a:lnTo>
                    <a:pt x="1128" y="496"/>
                  </a:lnTo>
                  <a:lnTo>
                    <a:pt x="1120" y="496"/>
                  </a:lnTo>
                  <a:lnTo>
                    <a:pt x="1128" y="504"/>
                  </a:lnTo>
                  <a:lnTo>
                    <a:pt x="1128" y="512"/>
                  </a:lnTo>
                  <a:lnTo>
                    <a:pt x="1120" y="512"/>
                  </a:lnTo>
                  <a:lnTo>
                    <a:pt x="1112" y="512"/>
                  </a:lnTo>
                  <a:lnTo>
                    <a:pt x="1104" y="504"/>
                  </a:lnTo>
                  <a:lnTo>
                    <a:pt x="1104" y="512"/>
                  </a:lnTo>
                  <a:lnTo>
                    <a:pt x="1104" y="520"/>
                  </a:lnTo>
                  <a:lnTo>
                    <a:pt x="1112" y="520"/>
                  </a:lnTo>
                  <a:lnTo>
                    <a:pt x="1120" y="512"/>
                  </a:lnTo>
                  <a:lnTo>
                    <a:pt x="1120" y="520"/>
                  </a:lnTo>
                  <a:lnTo>
                    <a:pt x="1120" y="528"/>
                  </a:lnTo>
                  <a:lnTo>
                    <a:pt x="1120" y="520"/>
                  </a:lnTo>
                  <a:lnTo>
                    <a:pt x="1128" y="520"/>
                  </a:lnTo>
                  <a:lnTo>
                    <a:pt x="1128" y="528"/>
                  </a:lnTo>
                  <a:lnTo>
                    <a:pt x="1120" y="528"/>
                  </a:lnTo>
                  <a:lnTo>
                    <a:pt x="1120" y="536"/>
                  </a:lnTo>
                  <a:lnTo>
                    <a:pt x="1112" y="536"/>
                  </a:lnTo>
                  <a:lnTo>
                    <a:pt x="1112" y="528"/>
                  </a:lnTo>
                  <a:lnTo>
                    <a:pt x="1112" y="536"/>
                  </a:lnTo>
                  <a:lnTo>
                    <a:pt x="1104" y="536"/>
                  </a:lnTo>
                  <a:lnTo>
                    <a:pt x="1096" y="528"/>
                  </a:lnTo>
                  <a:lnTo>
                    <a:pt x="1104" y="536"/>
                  </a:lnTo>
                  <a:lnTo>
                    <a:pt x="1112" y="536"/>
                  </a:lnTo>
                  <a:lnTo>
                    <a:pt x="1104" y="544"/>
                  </a:lnTo>
                  <a:lnTo>
                    <a:pt x="1096" y="544"/>
                  </a:lnTo>
                  <a:lnTo>
                    <a:pt x="1104" y="544"/>
                  </a:lnTo>
                  <a:lnTo>
                    <a:pt x="1112" y="544"/>
                  </a:lnTo>
                  <a:lnTo>
                    <a:pt x="1112" y="552"/>
                  </a:lnTo>
                  <a:lnTo>
                    <a:pt x="1104" y="552"/>
                  </a:lnTo>
                  <a:lnTo>
                    <a:pt x="1096" y="552"/>
                  </a:lnTo>
                  <a:lnTo>
                    <a:pt x="1080" y="560"/>
                  </a:lnTo>
                  <a:lnTo>
                    <a:pt x="1072" y="568"/>
                  </a:lnTo>
                  <a:lnTo>
                    <a:pt x="1064" y="576"/>
                  </a:lnTo>
                  <a:lnTo>
                    <a:pt x="1056" y="576"/>
                  </a:lnTo>
                  <a:lnTo>
                    <a:pt x="1048" y="584"/>
                  </a:lnTo>
                  <a:lnTo>
                    <a:pt x="1040" y="592"/>
                  </a:lnTo>
                  <a:lnTo>
                    <a:pt x="1032" y="600"/>
                  </a:lnTo>
                  <a:lnTo>
                    <a:pt x="1032" y="608"/>
                  </a:lnTo>
                  <a:lnTo>
                    <a:pt x="1024" y="608"/>
                  </a:lnTo>
                  <a:lnTo>
                    <a:pt x="1016" y="608"/>
                  </a:lnTo>
                  <a:lnTo>
                    <a:pt x="1008" y="616"/>
                  </a:lnTo>
                  <a:lnTo>
                    <a:pt x="1000" y="616"/>
                  </a:lnTo>
                  <a:lnTo>
                    <a:pt x="992" y="616"/>
                  </a:lnTo>
                  <a:lnTo>
                    <a:pt x="992" y="624"/>
                  </a:lnTo>
                  <a:lnTo>
                    <a:pt x="992" y="632"/>
                  </a:lnTo>
                  <a:lnTo>
                    <a:pt x="984" y="632"/>
                  </a:lnTo>
                  <a:lnTo>
                    <a:pt x="976" y="640"/>
                  </a:lnTo>
                  <a:lnTo>
                    <a:pt x="976" y="648"/>
                  </a:lnTo>
                  <a:lnTo>
                    <a:pt x="976" y="656"/>
                  </a:lnTo>
                  <a:lnTo>
                    <a:pt x="976" y="672"/>
                  </a:lnTo>
                  <a:lnTo>
                    <a:pt x="976" y="680"/>
                  </a:lnTo>
                  <a:lnTo>
                    <a:pt x="976" y="688"/>
                  </a:lnTo>
                  <a:lnTo>
                    <a:pt x="976" y="696"/>
                  </a:lnTo>
                  <a:lnTo>
                    <a:pt x="976" y="704"/>
                  </a:lnTo>
                  <a:lnTo>
                    <a:pt x="976" y="712"/>
                  </a:lnTo>
                  <a:lnTo>
                    <a:pt x="984" y="720"/>
                  </a:lnTo>
                  <a:lnTo>
                    <a:pt x="984" y="728"/>
                  </a:lnTo>
                  <a:lnTo>
                    <a:pt x="984" y="736"/>
                  </a:lnTo>
                  <a:lnTo>
                    <a:pt x="984" y="744"/>
                  </a:lnTo>
                  <a:lnTo>
                    <a:pt x="984" y="760"/>
                  </a:lnTo>
                  <a:lnTo>
                    <a:pt x="992" y="768"/>
                  </a:lnTo>
                  <a:lnTo>
                    <a:pt x="992" y="776"/>
                  </a:lnTo>
                  <a:lnTo>
                    <a:pt x="992" y="784"/>
                  </a:lnTo>
                  <a:lnTo>
                    <a:pt x="992" y="792"/>
                  </a:lnTo>
                  <a:lnTo>
                    <a:pt x="984" y="800"/>
                  </a:lnTo>
                  <a:lnTo>
                    <a:pt x="984" y="808"/>
                  </a:lnTo>
                  <a:lnTo>
                    <a:pt x="984" y="816"/>
                  </a:lnTo>
                  <a:lnTo>
                    <a:pt x="976" y="816"/>
                  </a:lnTo>
                  <a:lnTo>
                    <a:pt x="968" y="824"/>
                  </a:lnTo>
                  <a:lnTo>
                    <a:pt x="968" y="816"/>
                  </a:lnTo>
                  <a:lnTo>
                    <a:pt x="960" y="816"/>
                  </a:lnTo>
                  <a:lnTo>
                    <a:pt x="960" y="808"/>
                  </a:lnTo>
                  <a:lnTo>
                    <a:pt x="952" y="800"/>
                  </a:lnTo>
                  <a:lnTo>
                    <a:pt x="952" y="792"/>
                  </a:lnTo>
                  <a:lnTo>
                    <a:pt x="944" y="784"/>
                  </a:lnTo>
                  <a:lnTo>
                    <a:pt x="944" y="776"/>
                  </a:lnTo>
                  <a:lnTo>
                    <a:pt x="952" y="768"/>
                  </a:lnTo>
                  <a:lnTo>
                    <a:pt x="944" y="768"/>
                  </a:lnTo>
                  <a:lnTo>
                    <a:pt x="944" y="776"/>
                  </a:lnTo>
                  <a:lnTo>
                    <a:pt x="936" y="768"/>
                  </a:lnTo>
                  <a:lnTo>
                    <a:pt x="936" y="760"/>
                  </a:lnTo>
                  <a:lnTo>
                    <a:pt x="928" y="760"/>
                  </a:lnTo>
                  <a:lnTo>
                    <a:pt x="936" y="752"/>
                  </a:lnTo>
                  <a:lnTo>
                    <a:pt x="936" y="744"/>
                  </a:lnTo>
                  <a:lnTo>
                    <a:pt x="928" y="752"/>
                  </a:lnTo>
                  <a:lnTo>
                    <a:pt x="928" y="744"/>
                  </a:lnTo>
                  <a:lnTo>
                    <a:pt x="928" y="736"/>
                  </a:lnTo>
                  <a:lnTo>
                    <a:pt x="936" y="720"/>
                  </a:lnTo>
                  <a:lnTo>
                    <a:pt x="928" y="712"/>
                  </a:lnTo>
                  <a:lnTo>
                    <a:pt x="928" y="704"/>
                  </a:lnTo>
                  <a:lnTo>
                    <a:pt x="920" y="704"/>
                  </a:lnTo>
                  <a:lnTo>
                    <a:pt x="920" y="696"/>
                  </a:lnTo>
                  <a:lnTo>
                    <a:pt x="912" y="696"/>
                  </a:lnTo>
                  <a:lnTo>
                    <a:pt x="912" y="688"/>
                  </a:lnTo>
                  <a:lnTo>
                    <a:pt x="904" y="680"/>
                  </a:lnTo>
                  <a:lnTo>
                    <a:pt x="896" y="680"/>
                  </a:lnTo>
                  <a:lnTo>
                    <a:pt x="896" y="688"/>
                  </a:lnTo>
                  <a:lnTo>
                    <a:pt x="888" y="696"/>
                  </a:lnTo>
                  <a:lnTo>
                    <a:pt x="880" y="696"/>
                  </a:lnTo>
                  <a:lnTo>
                    <a:pt x="872" y="696"/>
                  </a:lnTo>
                  <a:lnTo>
                    <a:pt x="872" y="688"/>
                  </a:lnTo>
                  <a:lnTo>
                    <a:pt x="880" y="688"/>
                  </a:lnTo>
                  <a:lnTo>
                    <a:pt x="872" y="688"/>
                  </a:lnTo>
                  <a:lnTo>
                    <a:pt x="864" y="680"/>
                  </a:lnTo>
                  <a:lnTo>
                    <a:pt x="872" y="680"/>
                  </a:lnTo>
                  <a:lnTo>
                    <a:pt x="864" y="680"/>
                  </a:lnTo>
                  <a:lnTo>
                    <a:pt x="864" y="672"/>
                  </a:lnTo>
                  <a:lnTo>
                    <a:pt x="864" y="680"/>
                  </a:lnTo>
                  <a:lnTo>
                    <a:pt x="856" y="672"/>
                  </a:lnTo>
                  <a:lnTo>
                    <a:pt x="848" y="672"/>
                  </a:lnTo>
                  <a:lnTo>
                    <a:pt x="856" y="672"/>
                  </a:lnTo>
                  <a:lnTo>
                    <a:pt x="848" y="672"/>
                  </a:lnTo>
                  <a:lnTo>
                    <a:pt x="840" y="672"/>
                  </a:lnTo>
                  <a:lnTo>
                    <a:pt x="832" y="672"/>
                  </a:lnTo>
                  <a:lnTo>
                    <a:pt x="824" y="672"/>
                  </a:lnTo>
                  <a:lnTo>
                    <a:pt x="816" y="672"/>
                  </a:lnTo>
                  <a:lnTo>
                    <a:pt x="808" y="672"/>
                  </a:lnTo>
                  <a:lnTo>
                    <a:pt x="808" y="664"/>
                  </a:lnTo>
                  <a:lnTo>
                    <a:pt x="816" y="664"/>
                  </a:lnTo>
                  <a:lnTo>
                    <a:pt x="808" y="664"/>
                  </a:lnTo>
                  <a:lnTo>
                    <a:pt x="808" y="672"/>
                  </a:lnTo>
                  <a:lnTo>
                    <a:pt x="800" y="672"/>
                  </a:lnTo>
                  <a:lnTo>
                    <a:pt x="792" y="672"/>
                  </a:lnTo>
                  <a:lnTo>
                    <a:pt x="776" y="672"/>
                  </a:lnTo>
                  <a:lnTo>
                    <a:pt x="776" y="680"/>
                  </a:lnTo>
                  <a:lnTo>
                    <a:pt x="768" y="680"/>
                  </a:lnTo>
                  <a:lnTo>
                    <a:pt x="760" y="688"/>
                  </a:lnTo>
                  <a:lnTo>
                    <a:pt x="768" y="688"/>
                  </a:lnTo>
                  <a:lnTo>
                    <a:pt x="776" y="688"/>
                  </a:lnTo>
                  <a:lnTo>
                    <a:pt x="768" y="696"/>
                  </a:lnTo>
                  <a:lnTo>
                    <a:pt x="768" y="704"/>
                  </a:lnTo>
                  <a:lnTo>
                    <a:pt x="776" y="704"/>
                  </a:lnTo>
                  <a:lnTo>
                    <a:pt x="784" y="712"/>
                  </a:lnTo>
                  <a:lnTo>
                    <a:pt x="776" y="712"/>
                  </a:lnTo>
                  <a:lnTo>
                    <a:pt x="768" y="712"/>
                  </a:lnTo>
                  <a:lnTo>
                    <a:pt x="768" y="704"/>
                  </a:lnTo>
                  <a:lnTo>
                    <a:pt x="760" y="704"/>
                  </a:lnTo>
                  <a:lnTo>
                    <a:pt x="760" y="696"/>
                  </a:lnTo>
                  <a:lnTo>
                    <a:pt x="752" y="696"/>
                  </a:lnTo>
                  <a:lnTo>
                    <a:pt x="760" y="704"/>
                  </a:lnTo>
                  <a:lnTo>
                    <a:pt x="760" y="712"/>
                  </a:lnTo>
                  <a:lnTo>
                    <a:pt x="752" y="712"/>
                  </a:lnTo>
                  <a:lnTo>
                    <a:pt x="752" y="704"/>
                  </a:lnTo>
                  <a:lnTo>
                    <a:pt x="744" y="704"/>
                  </a:lnTo>
                  <a:lnTo>
                    <a:pt x="744" y="712"/>
                  </a:lnTo>
                  <a:lnTo>
                    <a:pt x="736" y="712"/>
                  </a:lnTo>
                  <a:lnTo>
                    <a:pt x="736" y="704"/>
                  </a:lnTo>
                  <a:lnTo>
                    <a:pt x="728" y="704"/>
                  </a:lnTo>
                  <a:lnTo>
                    <a:pt x="728" y="696"/>
                  </a:lnTo>
                  <a:lnTo>
                    <a:pt x="720" y="696"/>
                  </a:lnTo>
                  <a:lnTo>
                    <a:pt x="720" y="688"/>
                  </a:lnTo>
                  <a:lnTo>
                    <a:pt x="720" y="696"/>
                  </a:lnTo>
                  <a:lnTo>
                    <a:pt x="712" y="696"/>
                  </a:lnTo>
                  <a:lnTo>
                    <a:pt x="720" y="688"/>
                  </a:lnTo>
                  <a:lnTo>
                    <a:pt x="712" y="688"/>
                  </a:lnTo>
                  <a:lnTo>
                    <a:pt x="712" y="696"/>
                  </a:lnTo>
                  <a:lnTo>
                    <a:pt x="704" y="696"/>
                  </a:lnTo>
                  <a:lnTo>
                    <a:pt x="688" y="696"/>
                  </a:lnTo>
                  <a:lnTo>
                    <a:pt x="680" y="688"/>
                  </a:lnTo>
                  <a:lnTo>
                    <a:pt x="672" y="688"/>
                  </a:lnTo>
                  <a:lnTo>
                    <a:pt x="664" y="688"/>
                  </a:lnTo>
                  <a:lnTo>
                    <a:pt x="664" y="696"/>
                  </a:lnTo>
                  <a:lnTo>
                    <a:pt x="656" y="696"/>
                  </a:lnTo>
                  <a:lnTo>
                    <a:pt x="648" y="704"/>
                  </a:lnTo>
                  <a:lnTo>
                    <a:pt x="648" y="696"/>
                  </a:lnTo>
                  <a:lnTo>
                    <a:pt x="648" y="688"/>
                  </a:lnTo>
                  <a:lnTo>
                    <a:pt x="648" y="680"/>
                  </a:lnTo>
                  <a:lnTo>
                    <a:pt x="648" y="688"/>
                  </a:lnTo>
                  <a:lnTo>
                    <a:pt x="640" y="688"/>
                  </a:lnTo>
                  <a:lnTo>
                    <a:pt x="640" y="696"/>
                  </a:lnTo>
                  <a:lnTo>
                    <a:pt x="640" y="704"/>
                  </a:lnTo>
                  <a:lnTo>
                    <a:pt x="632" y="704"/>
                  </a:lnTo>
                  <a:lnTo>
                    <a:pt x="624" y="712"/>
                  </a:lnTo>
                  <a:lnTo>
                    <a:pt x="616" y="720"/>
                  </a:lnTo>
                  <a:lnTo>
                    <a:pt x="608" y="720"/>
                  </a:lnTo>
                  <a:lnTo>
                    <a:pt x="600" y="720"/>
                  </a:lnTo>
                  <a:lnTo>
                    <a:pt x="592" y="720"/>
                  </a:lnTo>
                  <a:lnTo>
                    <a:pt x="592" y="728"/>
                  </a:lnTo>
                  <a:lnTo>
                    <a:pt x="584" y="728"/>
                  </a:lnTo>
                  <a:lnTo>
                    <a:pt x="584" y="736"/>
                  </a:lnTo>
                  <a:lnTo>
                    <a:pt x="576" y="744"/>
                  </a:lnTo>
                  <a:lnTo>
                    <a:pt x="576" y="752"/>
                  </a:lnTo>
                  <a:lnTo>
                    <a:pt x="576" y="760"/>
                  </a:lnTo>
                  <a:lnTo>
                    <a:pt x="568" y="760"/>
                  </a:lnTo>
                  <a:lnTo>
                    <a:pt x="568" y="768"/>
                  </a:lnTo>
                  <a:lnTo>
                    <a:pt x="568" y="776"/>
                  </a:lnTo>
                  <a:lnTo>
                    <a:pt x="568" y="784"/>
                  </a:lnTo>
                  <a:lnTo>
                    <a:pt x="568" y="792"/>
                  </a:lnTo>
                  <a:lnTo>
                    <a:pt x="568" y="800"/>
                  </a:lnTo>
                  <a:lnTo>
                    <a:pt x="560" y="792"/>
                  </a:lnTo>
                  <a:lnTo>
                    <a:pt x="552" y="792"/>
                  </a:lnTo>
                  <a:lnTo>
                    <a:pt x="544" y="792"/>
                  </a:lnTo>
                  <a:lnTo>
                    <a:pt x="544" y="784"/>
                  </a:lnTo>
                  <a:lnTo>
                    <a:pt x="536" y="784"/>
                  </a:lnTo>
                  <a:lnTo>
                    <a:pt x="528" y="784"/>
                  </a:lnTo>
                  <a:lnTo>
                    <a:pt x="528" y="776"/>
                  </a:lnTo>
                  <a:lnTo>
                    <a:pt x="528" y="760"/>
                  </a:lnTo>
                  <a:lnTo>
                    <a:pt x="528" y="752"/>
                  </a:lnTo>
                  <a:lnTo>
                    <a:pt x="520" y="744"/>
                  </a:lnTo>
                  <a:lnTo>
                    <a:pt x="520" y="736"/>
                  </a:lnTo>
                  <a:lnTo>
                    <a:pt x="512" y="736"/>
                  </a:lnTo>
                  <a:lnTo>
                    <a:pt x="512" y="728"/>
                  </a:lnTo>
                  <a:lnTo>
                    <a:pt x="512" y="720"/>
                  </a:lnTo>
                  <a:lnTo>
                    <a:pt x="504" y="720"/>
                  </a:lnTo>
                  <a:lnTo>
                    <a:pt x="504" y="712"/>
                  </a:lnTo>
                  <a:lnTo>
                    <a:pt x="504" y="704"/>
                  </a:lnTo>
                  <a:lnTo>
                    <a:pt x="504" y="696"/>
                  </a:lnTo>
                  <a:lnTo>
                    <a:pt x="496" y="696"/>
                  </a:lnTo>
                  <a:lnTo>
                    <a:pt x="496" y="688"/>
                  </a:lnTo>
                  <a:lnTo>
                    <a:pt x="488" y="688"/>
                  </a:lnTo>
                  <a:lnTo>
                    <a:pt x="488" y="680"/>
                  </a:lnTo>
                  <a:lnTo>
                    <a:pt x="480" y="680"/>
                  </a:lnTo>
                  <a:lnTo>
                    <a:pt x="472" y="680"/>
                  </a:lnTo>
                  <a:lnTo>
                    <a:pt x="464" y="680"/>
                  </a:lnTo>
                  <a:lnTo>
                    <a:pt x="464" y="688"/>
                  </a:lnTo>
                  <a:lnTo>
                    <a:pt x="464" y="680"/>
                  </a:lnTo>
                  <a:lnTo>
                    <a:pt x="456" y="680"/>
                  </a:lnTo>
                  <a:lnTo>
                    <a:pt x="456" y="688"/>
                  </a:lnTo>
                  <a:lnTo>
                    <a:pt x="456" y="696"/>
                  </a:lnTo>
                  <a:lnTo>
                    <a:pt x="448" y="696"/>
                  </a:lnTo>
                  <a:lnTo>
                    <a:pt x="448" y="704"/>
                  </a:lnTo>
                  <a:lnTo>
                    <a:pt x="440" y="704"/>
                  </a:lnTo>
                  <a:lnTo>
                    <a:pt x="432" y="704"/>
                  </a:lnTo>
                  <a:lnTo>
                    <a:pt x="432" y="696"/>
                  </a:lnTo>
                  <a:lnTo>
                    <a:pt x="424" y="696"/>
                  </a:lnTo>
                  <a:lnTo>
                    <a:pt x="416" y="696"/>
                  </a:lnTo>
                  <a:lnTo>
                    <a:pt x="416" y="688"/>
                  </a:lnTo>
                  <a:lnTo>
                    <a:pt x="408" y="688"/>
                  </a:lnTo>
                  <a:lnTo>
                    <a:pt x="408" y="680"/>
                  </a:lnTo>
                  <a:lnTo>
                    <a:pt x="400" y="672"/>
                  </a:lnTo>
                  <a:lnTo>
                    <a:pt x="408" y="672"/>
                  </a:lnTo>
                  <a:lnTo>
                    <a:pt x="408" y="664"/>
                  </a:lnTo>
                  <a:lnTo>
                    <a:pt x="400" y="664"/>
                  </a:lnTo>
                  <a:lnTo>
                    <a:pt x="400" y="656"/>
                  </a:lnTo>
                  <a:lnTo>
                    <a:pt x="400" y="648"/>
                  </a:lnTo>
                  <a:lnTo>
                    <a:pt x="392" y="648"/>
                  </a:lnTo>
                  <a:lnTo>
                    <a:pt x="392" y="640"/>
                  </a:lnTo>
                  <a:lnTo>
                    <a:pt x="384" y="640"/>
                  </a:lnTo>
                  <a:lnTo>
                    <a:pt x="384" y="632"/>
                  </a:lnTo>
                  <a:lnTo>
                    <a:pt x="376" y="624"/>
                  </a:lnTo>
                  <a:lnTo>
                    <a:pt x="368" y="616"/>
                  </a:lnTo>
                  <a:lnTo>
                    <a:pt x="328" y="616"/>
                  </a:lnTo>
                  <a:lnTo>
                    <a:pt x="328" y="624"/>
                  </a:lnTo>
                  <a:lnTo>
                    <a:pt x="256" y="624"/>
                  </a:lnTo>
                  <a:lnTo>
                    <a:pt x="176" y="584"/>
                  </a:lnTo>
                  <a:lnTo>
                    <a:pt x="120" y="584"/>
                  </a:lnTo>
                  <a:lnTo>
                    <a:pt x="112" y="576"/>
                  </a:lnTo>
                  <a:lnTo>
                    <a:pt x="120" y="576"/>
                  </a:lnTo>
                  <a:lnTo>
                    <a:pt x="112" y="568"/>
                  </a:lnTo>
                  <a:lnTo>
                    <a:pt x="104" y="552"/>
                  </a:lnTo>
                  <a:lnTo>
                    <a:pt x="104" y="544"/>
                  </a:lnTo>
                  <a:lnTo>
                    <a:pt x="96" y="552"/>
                  </a:lnTo>
                  <a:lnTo>
                    <a:pt x="96" y="544"/>
                  </a:lnTo>
                  <a:lnTo>
                    <a:pt x="88" y="536"/>
                  </a:lnTo>
                  <a:lnTo>
                    <a:pt x="80" y="536"/>
                  </a:lnTo>
                  <a:lnTo>
                    <a:pt x="80" y="528"/>
                  </a:lnTo>
                  <a:lnTo>
                    <a:pt x="72" y="528"/>
                  </a:lnTo>
                  <a:lnTo>
                    <a:pt x="64" y="528"/>
                  </a:lnTo>
                  <a:lnTo>
                    <a:pt x="56" y="520"/>
                  </a:lnTo>
                  <a:lnTo>
                    <a:pt x="48" y="520"/>
                  </a:lnTo>
                  <a:lnTo>
                    <a:pt x="40" y="520"/>
                  </a:lnTo>
                  <a:lnTo>
                    <a:pt x="48" y="512"/>
                  </a:lnTo>
                  <a:lnTo>
                    <a:pt x="48" y="504"/>
                  </a:lnTo>
                  <a:lnTo>
                    <a:pt x="40" y="496"/>
                  </a:lnTo>
                  <a:lnTo>
                    <a:pt x="40" y="488"/>
                  </a:lnTo>
                  <a:lnTo>
                    <a:pt x="32" y="472"/>
                  </a:lnTo>
                  <a:lnTo>
                    <a:pt x="32" y="464"/>
                  </a:lnTo>
                  <a:lnTo>
                    <a:pt x="24" y="464"/>
                  </a:lnTo>
                  <a:lnTo>
                    <a:pt x="24" y="456"/>
                  </a:lnTo>
                  <a:lnTo>
                    <a:pt x="24" y="448"/>
                  </a:lnTo>
                  <a:lnTo>
                    <a:pt x="32" y="448"/>
                  </a:lnTo>
                  <a:lnTo>
                    <a:pt x="32" y="440"/>
                  </a:lnTo>
                  <a:lnTo>
                    <a:pt x="24" y="440"/>
                  </a:lnTo>
                  <a:lnTo>
                    <a:pt x="24" y="432"/>
                  </a:lnTo>
                  <a:lnTo>
                    <a:pt x="16" y="424"/>
                  </a:lnTo>
                  <a:lnTo>
                    <a:pt x="24" y="424"/>
                  </a:lnTo>
                  <a:lnTo>
                    <a:pt x="24" y="416"/>
                  </a:lnTo>
                  <a:lnTo>
                    <a:pt x="32" y="416"/>
                  </a:lnTo>
                  <a:lnTo>
                    <a:pt x="32" y="424"/>
                  </a:lnTo>
                  <a:lnTo>
                    <a:pt x="32" y="416"/>
                  </a:lnTo>
                  <a:lnTo>
                    <a:pt x="32" y="408"/>
                  </a:lnTo>
                  <a:lnTo>
                    <a:pt x="24" y="408"/>
                  </a:lnTo>
                  <a:lnTo>
                    <a:pt x="24" y="400"/>
                  </a:lnTo>
                  <a:lnTo>
                    <a:pt x="32" y="400"/>
                  </a:lnTo>
                  <a:lnTo>
                    <a:pt x="32" y="408"/>
                  </a:lnTo>
                  <a:lnTo>
                    <a:pt x="32" y="400"/>
                  </a:lnTo>
                  <a:lnTo>
                    <a:pt x="40" y="400"/>
                  </a:lnTo>
                  <a:lnTo>
                    <a:pt x="32" y="400"/>
                  </a:lnTo>
                  <a:lnTo>
                    <a:pt x="24" y="400"/>
                  </a:lnTo>
                  <a:lnTo>
                    <a:pt x="24" y="408"/>
                  </a:lnTo>
                  <a:lnTo>
                    <a:pt x="16" y="408"/>
                  </a:lnTo>
                  <a:lnTo>
                    <a:pt x="16" y="400"/>
                  </a:lnTo>
                  <a:lnTo>
                    <a:pt x="8" y="400"/>
                  </a:lnTo>
                  <a:lnTo>
                    <a:pt x="16" y="392"/>
                  </a:lnTo>
                  <a:lnTo>
                    <a:pt x="0" y="376"/>
                  </a:lnTo>
                  <a:lnTo>
                    <a:pt x="0" y="368"/>
                  </a:lnTo>
                  <a:lnTo>
                    <a:pt x="8" y="360"/>
                  </a:lnTo>
                  <a:lnTo>
                    <a:pt x="0" y="360"/>
                  </a:lnTo>
                  <a:lnTo>
                    <a:pt x="0" y="352"/>
                  </a:lnTo>
                  <a:lnTo>
                    <a:pt x="8" y="344"/>
                  </a:lnTo>
                  <a:lnTo>
                    <a:pt x="8" y="328"/>
                  </a:lnTo>
                  <a:lnTo>
                    <a:pt x="0" y="320"/>
                  </a:lnTo>
                  <a:lnTo>
                    <a:pt x="0" y="312"/>
                  </a:lnTo>
                  <a:lnTo>
                    <a:pt x="0" y="304"/>
                  </a:lnTo>
                  <a:lnTo>
                    <a:pt x="8" y="304"/>
                  </a:lnTo>
                  <a:lnTo>
                    <a:pt x="8" y="296"/>
                  </a:lnTo>
                  <a:lnTo>
                    <a:pt x="8" y="288"/>
                  </a:lnTo>
                  <a:lnTo>
                    <a:pt x="16" y="280"/>
                  </a:lnTo>
                  <a:lnTo>
                    <a:pt x="16" y="272"/>
                  </a:lnTo>
                  <a:lnTo>
                    <a:pt x="8" y="264"/>
                  </a:lnTo>
                  <a:lnTo>
                    <a:pt x="16" y="256"/>
                  </a:lnTo>
                  <a:lnTo>
                    <a:pt x="8" y="256"/>
                  </a:lnTo>
                  <a:lnTo>
                    <a:pt x="8" y="248"/>
                  </a:lnTo>
                  <a:lnTo>
                    <a:pt x="16" y="240"/>
                  </a:lnTo>
                  <a:lnTo>
                    <a:pt x="16" y="232"/>
                  </a:lnTo>
                  <a:lnTo>
                    <a:pt x="16" y="224"/>
                  </a:lnTo>
                  <a:lnTo>
                    <a:pt x="24" y="216"/>
                  </a:lnTo>
                  <a:lnTo>
                    <a:pt x="24" y="208"/>
                  </a:lnTo>
                  <a:lnTo>
                    <a:pt x="24" y="200"/>
                  </a:lnTo>
                  <a:lnTo>
                    <a:pt x="32" y="192"/>
                  </a:lnTo>
                  <a:lnTo>
                    <a:pt x="40" y="176"/>
                  </a:lnTo>
                  <a:lnTo>
                    <a:pt x="40" y="160"/>
                  </a:lnTo>
                  <a:lnTo>
                    <a:pt x="48" y="152"/>
                  </a:lnTo>
                  <a:lnTo>
                    <a:pt x="48" y="136"/>
                  </a:lnTo>
                  <a:lnTo>
                    <a:pt x="56" y="136"/>
                  </a:lnTo>
                  <a:lnTo>
                    <a:pt x="56" y="128"/>
                  </a:lnTo>
                  <a:lnTo>
                    <a:pt x="56" y="120"/>
                  </a:lnTo>
                  <a:lnTo>
                    <a:pt x="64" y="112"/>
                  </a:lnTo>
                  <a:lnTo>
                    <a:pt x="64" y="104"/>
                  </a:lnTo>
                  <a:lnTo>
                    <a:pt x="64" y="112"/>
                  </a:lnTo>
                  <a:lnTo>
                    <a:pt x="72" y="112"/>
                  </a:lnTo>
                  <a:lnTo>
                    <a:pt x="80" y="112"/>
                  </a:lnTo>
                  <a:lnTo>
                    <a:pt x="88" y="112"/>
                  </a:lnTo>
                  <a:lnTo>
                    <a:pt x="88" y="120"/>
                  </a:lnTo>
                  <a:lnTo>
                    <a:pt x="88" y="112"/>
                  </a:lnTo>
                  <a:lnTo>
                    <a:pt x="80" y="112"/>
                  </a:lnTo>
                  <a:lnTo>
                    <a:pt x="72" y="104"/>
                  </a:lnTo>
                  <a:lnTo>
                    <a:pt x="64" y="104"/>
                  </a:lnTo>
                  <a:lnTo>
                    <a:pt x="64" y="96"/>
                  </a:lnTo>
                  <a:lnTo>
                    <a:pt x="64" y="104"/>
                  </a:lnTo>
                  <a:lnTo>
                    <a:pt x="64" y="96"/>
                  </a:lnTo>
                  <a:lnTo>
                    <a:pt x="64" y="88"/>
                  </a:lnTo>
                  <a:lnTo>
                    <a:pt x="72" y="88"/>
                  </a:lnTo>
                  <a:lnTo>
                    <a:pt x="64" y="88"/>
                  </a:lnTo>
                  <a:lnTo>
                    <a:pt x="64" y="80"/>
                  </a:lnTo>
                  <a:lnTo>
                    <a:pt x="72" y="80"/>
                  </a:lnTo>
                  <a:lnTo>
                    <a:pt x="72" y="72"/>
                  </a:lnTo>
                  <a:lnTo>
                    <a:pt x="64" y="72"/>
                  </a:lnTo>
                  <a:lnTo>
                    <a:pt x="64" y="64"/>
                  </a:lnTo>
                  <a:lnTo>
                    <a:pt x="64" y="56"/>
                  </a:lnTo>
                  <a:lnTo>
                    <a:pt x="64" y="48"/>
                  </a:lnTo>
                  <a:lnTo>
                    <a:pt x="64" y="40"/>
                  </a:lnTo>
                  <a:lnTo>
                    <a:pt x="64" y="32"/>
                  </a:lnTo>
                  <a:lnTo>
                    <a:pt x="72" y="24"/>
                  </a:lnTo>
                  <a:lnTo>
                    <a:pt x="72" y="16"/>
                  </a:lnTo>
                  <a:lnTo>
                    <a:pt x="80" y="32"/>
                  </a:lnTo>
                  <a:lnTo>
                    <a:pt x="88" y="32"/>
                  </a:lnTo>
                  <a:lnTo>
                    <a:pt x="96" y="32"/>
                  </a:lnTo>
                  <a:lnTo>
                    <a:pt x="104" y="32"/>
                  </a:lnTo>
                  <a:lnTo>
                    <a:pt x="104" y="40"/>
                  </a:lnTo>
                  <a:lnTo>
                    <a:pt x="112" y="40"/>
                  </a:lnTo>
                  <a:lnTo>
                    <a:pt x="112" y="48"/>
                  </a:lnTo>
                  <a:lnTo>
                    <a:pt x="104" y="48"/>
                  </a:lnTo>
                  <a:lnTo>
                    <a:pt x="104" y="56"/>
                  </a:lnTo>
                  <a:lnTo>
                    <a:pt x="104" y="48"/>
                  </a:lnTo>
                  <a:lnTo>
                    <a:pt x="112" y="48"/>
                  </a:lnTo>
                  <a:lnTo>
                    <a:pt x="112" y="56"/>
                  </a:lnTo>
                  <a:lnTo>
                    <a:pt x="104" y="56"/>
                  </a:lnTo>
                  <a:lnTo>
                    <a:pt x="104" y="64"/>
                  </a:lnTo>
                  <a:lnTo>
                    <a:pt x="96" y="64"/>
                  </a:lnTo>
                  <a:lnTo>
                    <a:pt x="96" y="72"/>
                  </a:lnTo>
                  <a:lnTo>
                    <a:pt x="104" y="72"/>
                  </a:lnTo>
                  <a:lnTo>
                    <a:pt x="112" y="64"/>
                  </a:lnTo>
                  <a:lnTo>
                    <a:pt x="112" y="56"/>
                  </a:lnTo>
                  <a:lnTo>
                    <a:pt x="120" y="48"/>
                  </a:lnTo>
                  <a:lnTo>
                    <a:pt x="128" y="40"/>
                  </a:lnTo>
                  <a:lnTo>
                    <a:pt x="120" y="40"/>
                  </a:lnTo>
                  <a:lnTo>
                    <a:pt x="120" y="32"/>
                  </a:lnTo>
                  <a:lnTo>
                    <a:pt x="128" y="24"/>
                  </a:lnTo>
                  <a:lnTo>
                    <a:pt x="120" y="24"/>
                  </a:lnTo>
                  <a:lnTo>
                    <a:pt x="128" y="16"/>
                  </a:lnTo>
                  <a:lnTo>
                    <a:pt x="120" y="8"/>
                  </a:lnTo>
                  <a:lnTo>
                    <a:pt x="120" y="0"/>
                  </a:lnTo>
                  <a:lnTo>
                    <a:pt x="1272" y="352"/>
                  </a:lnTo>
                  <a:lnTo>
                    <a:pt x="1280" y="352"/>
                  </a:lnTo>
                  <a:lnTo>
                    <a:pt x="1280" y="344"/>
                  </a:lnTo>
                  <a:lnTo>
                    <a:pt x="1272" y="344"/>
                  </a:lnTo>
                  <a:lnTo>
                    <a:pt x="1272" y="352"/>
                  </a:lnTo>
                  <a:lnTo>
                    <a:pt x="120" y="0"/>
                  </a:lnTo>
                  <a:lnTo>
                    <a:pt x="1200" y="368"/>
                  </a:lnTo>
                  <a:lnTo>
                    <a:pt x="1208" y="368"/>
                  </a:lnTo>
                  <a:lnTo>
                    <a:pt x="1216" y="368"/>
                  </a:lnTo>
                  <a:lnTo>
                    <a:pt x="1224" y="368"/>
                  </a:lnTo>
                  <a:lnTo>
                    <a:pt x="1232" y="368"/>
                  </a:lnTo>
                  <a:lnTo>
                    <a:pt x="1232" y="360"/>
                  </a:lnTo>
                  <a:lnTo>
                    <a:pt x="1232" y="368"/>
                  </a:lnTo>
                  <a:lnTo>
                    <a:pt x="1240" y="360"/>
                  </a:lnTo>
                  <a:lnTo>
                    <a:pt x="1232" y="360"/>
                  </a:lnTo>
                  <a:lnTo>
                    <a:pt x="1224" y="360"/>
                  </a:lnTo>
                  <a:lnTo>
                    <a:pt x="1216" y="360"/>
                  </a:lnTo>
                  <a:lnTo>
                    <a:pt x="1208" y="360"/>
                  </a:lnTo>
                  <a:lnTo>
                    <a:pt x="1200" y="360"/>
                  </a:lnTo>
                  <a:lnTo>
                    <a:pt x="1200" y="368"/>
                  </a:lnTo>
                  <a:lnTo>
                    <a:pt x="1192" y="368"/>
                  </a:lnTo>
                  <a:lnTo>
                    <a:pt x="1200" y="368"/>
                  </a:lnTo>
                  <a:lnTo>
                    <a:pt x="120" y="0"/>
                  </a:lnTo>
                  <a:lnTo>
                    <a:pt x="120" y="24"/>
                  </a:lnTo>
                  <a:lnTo>
                    <a:pt x="112" y="32"/>
                  </a:lnTo>
                  <a:lnTo>
                    <a:pt x="112" y="40"/>
                  </a:lnTo>
                  <a:lnTo>
                    <a:pt x="120" y="40"/>
                  </a:lnTo>
                  <a:lnTo>
                    <a:pt x="120" y="32"/>
                  </a:lnTo>
                  <a:lnTo>
                    <a:pt x="120" y="24"/>
                  </a:lnTo>
                  <a:lnTo>
                    <a:pt x="120" y="0"/>
                  </a:lnTo>
                  <a:lnTo>
                    <a:pt x="584" y="744"/>
                  </a:lnTo>
                  <a:lnTo>
                    <a:pt x="592" y="736"/>
                  </a:lnTo>
                  <a:lnTo>
                    <a:pt x="592" y="728"/>
                  </a:lnTo>
                  <a:lnTo>
                    <a:pt x="592" y="736"/>
                  </a:lnTo>
                  <a:lnTo>
                    <a:pt x="584" y="744"/>
                  </a:lnTo>
                  <a:lnTo>
                    <a:pt x="120" y="0"/>
                  </a:lnTo>
                  <a:lnTo>
                    <a:pt x="576" y="752"/>
                  </a:lnTo>
                  <a:lnTo>
                    <a:pt x="584" y="752"/>
                  </a:lnTo>
                  <a:lnTo>
                    <a:pt x="584" y="744"/>
                  </a:lnTo>
                  <a:lnTo>
                    <a:pt x="576" y="752"/>
                  </a:lnTo>
                  <a:lnTo>
                    <a:pt x="120" y="0"/>
                  </a:lnTo>
                  <a:lnTo>
                    <a:pt x="576" y="792"/>
                  </a:lnTo>
                  <a:lnTo>
                    <a:pt x="576" y="776"/>
                  </a:lnTo>
                  <a:lnTo>
                    <a:pt x="576" y="768"/>
                  </a:lnTo>
                  <a:lnTo>
                    <a:pt x="576" y="760"/>
                  </a:lnTo>
                  <a:lnTo>
                    <a:pt x="576" y="768"/>
                  </a:lnTo>
                  <a:lnTo>
                    <a:pt x="576" y="776"/>
                  </a:lnTo>
                  <a:lnTo>
                    <a:pt x="576" y="792"/>
                  </a:lnTo>
                  <a:lnTo>
                    <a:pt x="120" y="0"/>
                  </a:lnTo>
                  <a:close/>
                </a:path>
              </a:pathLst>
            </a:custGeom>
            <a:solidFill>
              <a:srgbClr val="646464"/>
            </a:solidFill>
            <a:ln w="9525">
              <a:noFill/>
              <a:round/>
              <a:headEnd/>
              <a:tailEnd/>
            </a:ln>
          </p:spPr>
          <p:txBody>
            <a:bodyPr/>
            <a:lstStyle/>
            <a:p>
              <a:endParaRPr lang="en-US">
                <a:solidFill>
                  <a:srgbClr val="000000"/>
                </a:solidFill>
              </a:endParaRPr>
            </a:p>
          </p:txBody>
        </p:sp>
        <p:grpSp>
          <p:nvGrpSpPr>
            <p:cNvPr id="1005" name="Group 1004"/>
            <p:cNvGrpSpPr/>
            <p:nvPr/>
          </p:nvGrpSpPr>
          <p:grpSpPr>
            <a:xfrm>
              <a:off x="2578326" y="1467665"/>
              <a:ext cx="3734405" cy="3432024"/>
              <a:chOff x="2768600" y="1320800"/>
              <a:chExt cx="3136900" cy="2882900"/>
            </a:xfrm>
            <a:solidFill>
              <a:srgbClr val="646464"/>
            </a:solidFill>
          </p:grpSpPr>
          <p:sp>
            <p:nvSpPr>
              <p:cNvPr id="1006" name="Freeform 42"/>
              <p:cNvSpPr>
                <a:spLocks/>
              </p:cNvSpPr>
              <p:nvPr/>
            </p:nvSpPr>
            <p:spPr bwMode="auto">
              <a:xfrm>
                <a:off x="5880100" y="15367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07" name="Rectangle 56"/>
              <p:cNvSpPr>
                <a:spLocks noChangeArrowheads="1"/>
              </p:cNvSpPr>
              <p:nvPr/>
            </p:nvSpPr>
            <p:spPr bwMode="auto">
              <a:xfrm>
                <a:off x="5816600" y="26416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08" name="Freeform 1007"/>
              <p:cNvSpPr>
                <a:spLocks/>
              </p:cNvSpPr>
              <p:nvPr/>
            </p:nvSpPr>
            <p:spPr bwMode="auto">
              <a:xfrm>
                <a:off x="5092700" y="1968500"/>
                <a:ext cx="762000" cy="1041400"/>
              </a:xfrm>
              <a:custGeom>
                <a:avLst/>
                <a:gdLst>
                  <a:gd name="T0" fmla="*/ 264 w 480"/>
                  <a:gd name="T1" fmla="*/ 608 h 656"/>
                  <a:gd name="T2" fmla="*/ 216 w 480"/>
                  <a:gd name="T3" fmla="*/ 560 h 656"/>
                  <a:gd name="T4" fmla="*/ 184 w 480"/>
                  <a:gd name="T5" fmla="*/ 536 h 656"/>
                  <a:gd name="T6" fmla="*/ 112 w 480"/>
                  <a:gd name="T7" fmla="*/ 520 h 656"/>
                  <a:gd name="T8" fmla="*/ 176 w 480"/>
                  <a:gd name="T9" fmla="*/ 488 h 656"/>
                  <a:gd name="T10" fmla="*/ 208 w 480"/>
                  <a:gd name="T11" fmla="*/ 448 h 656"/>
                  <a:gd name="T12" fmla="*/ 272 w 480"/>
                  <a:gd name="T13" fmla="*/ 376 h 656"/>
                  <a:gd name="T14" fmla="*/ 248 w 480"/>
                  <a:gd name="T15" fmla="*/ 336 h 656"/>
                  <a:gd name="T16" fmla="*/ 224 w 480"/>
                  <a:gd name="T17" fmla="*/ 304 h 656"/>
                  <a:gd name="T18" fmla="*/ 216 w 480"/>
                  <a:gd name="T19" fmla="*/ 240 h 656"/>
                  <a:gd name="T20" fmla="*/ 184 w 480"/>
                  <a:gd name="T21" fmla="*/ 224 h 656"/>
                  <a:gd name="T22" fmla="*/ 144 w 480"/>
                  <a:gd name="T23" fmla="*/ 248 h 656"/>
                  <a:gd name="T24" fmla="*/ 104 w 480"/>
                  <a:gd name="T25" fmla="*/ 240 h 656"/>
                  <a:gd name="T26" fmla="*/ 48 w 480"/>
                  <a:gd name="T27" fmla="*/ 208 h 656"/>
                  <a:gd name="T28" fmla="*/ 8 w 480"/>
                  <a:gd name="T29" fmla="*/ 192 h 656"/>
                  <a:gd name="T30" fmla="*/ 48 w 480"/>
                  <a:gd name="T31" fmla="*/ 160 h 656"/>
                  <a:gd name="T32" fmla="*/ 32 w 480"/>
                  <a:gd name="T33" fmla="*/ 88 h 656"/>
                  <a:gd name="T34" fmla="*/ 96 w 480"/>
                  <a:gd name="T35" fmla="*/ 16 h 656"/>
                  <a:gd name="T36" fmla="*/ 112 w 480"/>
                  <a:gd name="T37" fmla="*/ 56 h 656"/>
                  <a:gd name="T38" fmla="*/ 96 w 480"/>
                  <a:gd name="T39" fmla="*/ 160 h 656"/>
                  <a:gd name="T40" fmla="*/ 104 w 480"/>
                  <a:gd name="T41" fmla="*/ 120 h 656"/>
                  <a:gd name="T42" fmla="*/ 120 w 480"/>
                  <a:gd name="T43" fmla="*/ 88 h 656"/>
                  <a:gd name="T44" fmla="*/ 144 w 480"/>
                  <a:gd name="T45" fmla="*/ 48 h 656"/>
                  <a:gd name="T46" fmla="*/ 176 w 480"/>
                  <a:gd name="T47" fmla="*/ 32 h 656"/>
                  <a:gd name="T48" fmla="*/ 216 w 480"/>
                  <a:gd name="T49" fmla="*/ 96 h 656"/>
                  <a:gd name="T50" fmla="*/ 192 w 480"/>
                  <a:gd name="T51" fmla="*/ 128 h 656"/>
                  <a:gd name="T52" fmla="*/ 216 w 480"/>
                  <a:gd name="T53" fmla="*/ 136 h 656"/>
                  <a:gd name="T54" fmla="*/ 264 w 480"/>
                  <a:gd name="T55" fmla="*/ 128 h 656"/>
                  <a:gd name="T56" fmla="*/ 304 w 480"/>
                  <a:gd name="T57" fmla="*/ 144 h 656"/>
                  <a:gd name="T58" fmla="*/ 304 w 480"/>
                  <a:gd name="T59" fmla="*/ 144 h 656"/>
                  <a:gd name="T60" fmla="*/ 288 w 480"/>
                  <a:gd name="T61" fmla="*/ 192 h 656"/>
                  <a:gd name="T62" fmla="*/ 320 w 480"/>
                  <a:gd name="T63" fmla="*/ 192 h 656"/>
                  <a:gd name="T64" fmla="*/ 336 w 480"/>
                  <a:gd name="T65" fmla="*/ 192 h 656"/>
                  <a:gd name="T66" fmla="*/ 336 w 480"/>
                  <a:gd name="T67" fmla="*/ 224 h 656"/>
                  <a:gd name="T68" fmla="*/ 360 w 480"/>
                  <a:gd name="T69" fmla="*/ 232 h 656"/>
                  <a:gd name="T70" fmla="*/ 352 w 480"/>
                  <a:gd name="T71" fmla="*/ 248 h 656"/>
                  <a:gd name="T72" fmla="*/ 392 w 480"/>
                  <a:gd name="T73" fmla="*/ 256 h 656"/>
                  <a:gd name="T74" fmla="*/ 384 w 480"/>
                  <a:gd name="T75" fmla="*/ 280 h 656"/>
                  <a:gd name="T76" fmla="*/ 408 w 480"/>
                  <a:gd name="T77" fmla="*/ 280 h 656"/>
                  <a:gd name="T78" fmla="*/ 400 w 480"/>
                  <a:gd name="T79" fmla="*/ 304 h 656"/>
                  <a:gd name="T80" fmla="*/ 384 w 480"/>
                  <a:gd name="T81" fmla="*/ 320 h 656"/>
                  <a:gd name="T82" fmla="*/ 384 w 480"/>
                  <a:gd name="T83" fmla="*/ 344 h 656"/>
                  <a:gd name="T84" fmla="*/ 384 w 480"/>
                  <a:gd name="T85" fmla="*/ 360 h 656"/>
                  <a:gd name="T86" fmla="*/ 392 w 480"/>
                  <a:gd name="T87" fmla="*/ 392 h 656"/>
                  <a:gd name="T88" fmla="*/ 408 w 480"/>
                  <a:gd name="T89" fmla="*/ 400 h 656"/>
                  <a:gd name="T90" fmla="*/ 424 w 480"/>
                  <a:gd name="T91" fmla="*/ 424 h 656"/>
                  <a:gd name="T92" fmla="*/ 448 w 480"/>
                  <a:gd name="T93" fmla="*/ 440 h 656"/>
                  <a:gd name="T94" fmla="*/ 464 w 480"/>
                  <a:gd name="T95" fmla="*/ 456 h 656"/>
                  <a:gd name="T96" fmla="*/ 448 w 480"/>
                  <a:gd name="T97" fmla="*/ 480 h 656"/>
                  <a:gd name="T98" fmla="*/ 424 w 480"/>
                  <a:gd name="T99" fmla="*/ 504 h 656"/>
                  <a:gd name="T100" fmla="*/ 400 w 480"/>
                  <a:gd name="T101" fmla="*/ 520 h 656"/>
                  <a:gd name="T102" fmla="*/ 384 w 480"/>
                  <a:gd name="T103" fmla="*/ 488 h 656"/>
                  <a:gd name="T104" fmla="*/ 376 w 480"/>
                  <a:gd name="T105" fmla="*/ 472 h 656"/>
                  <a:gd name="T106" fmla="*/ 352 w 480"/>
                  <a:gd name="T107" fmla="*/ 464 h 656"/>
                  <a:gd name="T108" fmla="*/ 328 w 480"/>
                  <a:gd name="T109" fmla="*/ 480 h 656"/>
                  <a:gd name="T110" fmla="*/ 344 w 480"/>
                  <a:gd name="T111" fmla="*/ 528 h 656"/>
                  <a:gd name="T112" fmla="*/ 368 w 480"/>
                  <a:gd name="T113" fmla="*/ 560 h 656"/>
                  <a:gd name="T114" fmla="*/ 368 w 480"/>
                  <a:gd name="T115" fmla="*/ 616 h 656"/>
                  <a:gd name="T116" fmla="*/ 328 w 480"/>
                  <a:gd name="T117" fmla="*/ 592 h 656"/>
                  <a:gd name="T118" fmla="*/ 288 w 480"/>
                  <a:gd name="T119" fmla="*/ 568 h 656"/>
                  <a:gd name="T120" fmla="*/ 328 w 480"/>
                  <a:gd name="T121" fmla="*/ 64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656">
                    <a:moveTo>
                      <a:pt x="328" y="656"/>
                    </a:moveTo>
                    <a:lnTo>
                      <a:pt x="320" y="656"/>
                    </a:lnTo>
                    <a:lnTo>
                      <a:pt x="312" y="648"/>
                    </a:lnTo>
                    <a:lnTo>
                      <a:pt x="304" y="648"/>
                    </a:lnTo>
                    <a:lnTo>
                      <a:pt x="296" y="640"/>
                    </a:lnTo>
                    <a:lnTo>
                      <a:pt x="288" y="640"/>
                    </a:lnTo>
                    <a:lnTo>
                      <a:pt x="288" y="632"/>
                    </a:lnTo>
                    <a:lnTo>
                      <a:pt x="288" y="640"/>
                    </a:lnTo>
                    <a:lnTo>
                      <a:pt x="280" y="632"/>
                    </a:lnTo>
                    <a:lnTo>
                      <a:pt x="272" y="632"/>
                    </a:lnTo>
                    <a:lnTo>
                      <a:pt x="264" y="624"/>
                    </a:lnTo>
                    <a:lnTo>
                      <a:pt x="264" y="616"/>
                    </a:lnTo>
                    <a:lnTo>
                      <a:pt x="256" y="616"/>
                    </a:lnTo>
                    <a:lnTo>
                      <a:pt x="264" y="616"/>
                    </a:lnTo>
                    <a:lnTo>
                      <a:pt x="264" y="608"/>
                    </a:lnTo>
                    <a:lnTo>
                      <a:pt x="256" y="608"/>
                    </a:lnTo>
                    <a:lnTo>
                      <a:pt x="248" y="608"/>
                    </a:lnTo>
                    <a:lnTo>
                      <a:pt x="240" y="600"/>
                    </a:lnTo>
                    <a:lnTo>
                      <a:pt x="232" y="600"/>
                    </a:lnTo>
                    <a:lnTo>
                      <a:pt x="232" y="592"/>
                    </a:lnTo>
                    <a:lnTo>
                      <a:pt x="224" y="592"/>
                    </a:lnTo>
                    <a:lnTo>
                      <a:pt x="224" y="584"/>
                    </a:lnTo>
                    <a:lnTo>
                      <a:pt x="216" y="576"/>
                    </a:lnTo>
                    <a:lnTo>
                      <a:pt x="224" y="576"/>
                    </a:lnTo>
                    <a:lnTo>
                      <a:pt x="232" y="568"/>
                    </a:lnTo>
                    <a:lnTo>
                      <a:pt x="240" y="568"/>
                    </a:lnTo>
                    <a:lnTo>
                      <a:pt x="232" y="568"/>
                    </a:lnTo>
                    <a:lnTo>
                      <a:pt x="224" y="560"/>
                    </a:lnTo>
                    <a:lnTo>
                      <a:pt x="224" y="568"/>
                    </a:lnTo>
                    <a:lnTo>
                      <a:pt x="216" y="560"/>
                    </a:lnTo>
                    <a:lnTo>
                      <a:pt x="224" y="552"/>
                    </a:lnTo>
                    <a:lnTo>
                      <a:pt x="216" y="560"/>
                    </a:lnTo>
                    <a:lnTo>
                      <a:pt x="216" y="552"/>
                    </a:lnTo>
                    <a:lnTo>
                      <a:pt x="208" y="552"/>
                    </a:lnTo>
                    <a:lnTo>
                      <a:pt x="208" y="544"/>
                    </a:lnTo>
                    <a:lnTo>
                      <a:pt x="208" y="536"/>
                    </a:lnTo>
                    <a:lnTo>
                      <a:pt x="208" y="528"/>
                    </a:lnTo>
                    <a:lnTo>
                      <a:pt x="208" y="520"/>
                    </a:lnTo>
                    <a:lnTo>
                      <a:pt x="200" y="528"/>
                    </a:lnTo>
                    <a:lnTo>
                      <a:pt x="200" y="536"/>
                    </a:lnTo>
                    <a:lnTo>
                      <a:pt x="200" y="528"/>
                    </a:lnTo>
                    <a:lnTo>
                      <a:pt x="200" y="520"/>
                    </a:lnTo>
                    <a:lnTo>
                      <a:pt x="192" y="520"/>
                    </a:lnTo>
                    <a:lnTo>
                      <a:pt x="192" y="528"/>
                    </a:lnTo>
                    <a:lnTo>
                      <a:pt x="184" y="536"/>
                    </a:lnTo>
                    <a:lnTo>
                      <a:pt x="184" y="528"/>
                    </a:lnTo>
                    <a:lnTo>
                      <a:pt x="192" y="520"/>
                    </a:lnTo>
                    <a:lnTo>
                      <a:pt x="184" y="520"/>
                    </a:lnTo>
                    <a:lnTo>
                      <a:pt x="176" y="528"/>
                    </a:lnTo>
                    <a:lnTo>
                      <a:pt x="168" y="528"/>
                    </a:lnTo>
                    <a:lnTo>
                      <a:pt x="168" y="520"/>
                    </a:lnTo>
                    <a:lnTo>
                      <a:pt x="160" y="512"/>
                    </a:lnTo>
                    <a:lnTo>
                      <a:pt x="160" y="520"/>
                    </a:lnTo>
                    <a:lnTo>
                      <a:pt x="152" y="528"/>
                    </a:lnTo>
                    <a:lnTo>
                      <a:pt x="144" y="528"/>
                    </a:lnTo>
                    <a:lnTo>
                      <a:pt x="136" y="528"/>
                    </a:lnTo>
                    <a:lnTo>
                      <a:pt x="128" y="528"/>
                    </a:lnTo>
                    <a:lnTo>
                      <a:pt x="120" y="528"/>
                    </a:lnTo>
                    <a:lnTo>
                      <a:pt x="120" y="520"/>
                    </a:lnTo>
                    <a:lnTo>
                      <a:pt x="112" y="520"/>
                    </a:lnTo>
                    <a:lnTo>
                      <a:pt x="104" y="504"/>
                    </a:lnTo>
                    <a:lnTo>
                      <a:pt x="112" y="504"/>
                    </a:lnTo>
                    <a:lnTo>
                      <a:pt x="112" y="496"/>
                    </a:lnTo>
                    <a:lnTo>
                      <a:pt x="120" y="488"/>
                    </a:lnTo>
                    <a:lnTo>
                      <a:pt x="128" y="488"/>
                    </a:lnTo>
                    <a:lnTo>
                      <a:pt x="136" y="480"/>
                    </a:lnTo>
                    <a:lnTo>
                      <a:pt x="128" y="480"/>
                    </a:lnTo>
                    <a:lnTo>
                      <a:pt x="136" y="480"/>
                    </a:lnTo>
                    <a:lnTo>
                      <a:pt x="136" y="472"/>
                    </a:lnTo>
                    <a:lnTo>
                      <a:pt x="144" y="480"/>
                    </a:lnTo>
                    <a:lnTo>
                      <a:pt x="152" y="480"/>
                    </a:lnTo>
                    <a:lnTo>
                      <a:pt x="152" y="488"/>
                    </a:lnTo>
                    <a:lnTo>
                      <a:pt x="160" y="488"/>
                    </a:lnTo>
                    <a:lnTo>
                      <a:pt x="168" y="488"/>
                    </a:lnTo>
                    <a:lnTo>
                      <a:pt x="176" y="488"/>
                    </a:lnTo>
                    <a:lnTo>
                      <a:pt x="184" y="488"/>
                    </a:lnTo>
                    <a:lnTo>
                      <a:pt x="184" y="480"/>
                    </a:lnTo>
                    <a:lnTo>
                      <a:pt x="192" y="480"/>
                    </a:lnTo>
                    <a:lnTo>
                      <a:pt x="192" y="488"/>
                    </a:lnTo>
                    <a:lnTo>
                      <a:pt x="200" y="488"/>
                    </a:lnTo>
                    <a:lnTo>
                      <a:pt x="200" y="480"/>
                    </a:lnTo>
                    <a:lnTo>
                      <a:pt x="208" y="480"/>
                    </a:lnTo>
                    <a:lnTo>
                      <a:pt x="208" y="488"/>
                    </a:lnTo>
                    <a:lnTo>
                      <a:pt x="208" y="480"/>
                    </a:lnTo>
                    <a:lnTo>
                      <a:pt x="216" y="488"/>
                    </a:lnTo>
                    <a:lnTo>
                      <a:pt x="216" y="480"/>
                    </a:lnTo>
                    <a:lnTo>
                      <a:pt x="216" y="472"/>
                    </a:lnTo>
                    <a:lnTo>
                      <a:pt x="208" y="464"/>
                    </a:lnTo>
                    <a:lnTo>
                      <a:pt x="208" y="456"/>
                    </a:lnTo>
                    <a:lnTo>
                      <a:pt x="208" y="448"/>
                    </a:lnTo>
                    <a:lnTo>
                      <a:pt x="216" y="448"/>
                    </a:lnTo>
                    <a:lnTo>
                      <a:pt x="224" y="440"/>
                    </a:lnTo>
                    <a:lnTo>
                      <a:pt x="232" y="440"/>
                    </a:lnTo>
                    <a:lnTo>
                      <a:pt x="232" y="432"/>
                    </a:lnTo>
                    <a:lnTo>
                      <a:pt x="240" y="432"/>
                    </a:lnTo>
                    <a:lnTo>
                      <a:pt x="248" y="432"/>
                    </a:lnTo>
                    <a:lnTo>
                      <a:pt x="240" y="424"/>
                    </a:lnTo>
                    <a:lnTo>
                      <a:pt x="248" y="416"/>
                    </a:lnTo>
                    <a:lnTo>
                      <a:pt x="256" y="408"/>
                    </a:lnTo>
                    <a:lnTo>
                      <a:pt x="264" y="408"/>
                    </a:lnTo>
                    <a:lnTo>
                      <a:pt x="272" y="408"/>
                    </a:lnTo>
                    <a:lnTo>
                      <a:pt x="272" y="400"/>
                    </a:lnTo>
                    <a:lnTo>
                      <a:pt x="272" y="392"/>
                    </a:lnTo>
                    <a:lnTo>
                      <a:pt x="272" y="384"/>
                    </a:lnTo>
                    <a:lnTo>
                      <a:pt x="272" y="376"/>
                    </a:lnTo>
                    <a:lnTo>
                      <a:pt x="272" y="368"/>
                    </a:lnTo>
                    <a:lnTo>
                      <a:pt x="272" y="360"/>
                    </a:lnTo>
                    <a:lnTo>
                      <a:pt x="280" y="360"/>
                    </a:lnTo>
                    <a:lnTo>
                      <a:pt x="280" y="352"/>
                    </a:lnTo>
                    <a:lnTo>
                      <a:pt x="272" y="352"/>
                    </a:lnTo>
                    <a:lnTo>
                      <a:pt x="272" y="360"/>
                    </a:lnTo>
                    <a:lnTo>
                      <a:pt x="272" y="352"/>
                    </a:lnTo>
                    <a:lnTo>
                      <a:pt x="256" y="352"/>
                    </a:lnTo>
                    <a:lnTo>
                      <a:pt x="256" y="344"/>
                    </a:lnTo>
                    <a:lnTo>
                      <a:pt x="264" y="344"/>
                    </a:lnTo>
                    <a:lnTo>
                      <a:pt x="264" y="336"/>
                    </a:lnTo>
                    <a:lnTo>
                      <a:pt x="264" y="328"/>
                    </a:lnTo>
                    <a:lnTo>
                      <a:pt x="256" y="328"/>
                    </a:lnTo>
                    <a:lnTo>
                      <a:pt x="256" y="336"/>
                    </a:lnTo>
                    <a:lnTo>
                      <a:pt x="248" y="336"/>
                    </a:lnTo>
                    <a:lnTo>
                      <a:pt x="248" y="328"/>
                    </a:lnTo>
                    <a:lnTo>
                      <a:pt x="248" y="320"/>
                    </a:lnTo>
                    <a:lnTo>
                      <a:pt x="240" y="320"/>
                    </a:lnTo>
                    <a:lnTo>
                      <a:pt x="248" y="320"/>
                    </a:lnTo>
                    <a:lnTo>
                      <a:pt x="248" y="312"/>
                    </a:lnTo>
                    <a:lnTo>
                      <a:pt x="248" y="304"/>
                    </a:lnTo>
                    <a:lnTo>
                      <a:pt x="240" y="312"/>
                    </a:lnTo>
                    <a:lnTo>
                      <a:pt x="240" y="320"/>
                    </a:lnTo>
                    <a:lnTo>
                      <a:pt x="232" y="312"/>
                    </a:lnTo>
                    <a:lnTo>
                      <a:pt x="224" y="312"/>
                    </a:lnTo>
                    <a:lnTo>
                      <a:pt x="224" y="320"/>
                    </a:lnTo>
                    <a:lnTo>
                      <a:pt x="216" y="320"/>
                    </a:lnTo>
                    <a:lnTo>
                      <a:pt x="216" y="312"/>
                    </a:lnTo>
                    <a:lnTo>
                      <a:pt x="216" y="304"/>
                    </a:lnTo>
                    <a:lnTo>
                      <a:pt x="224" y="304"/>
                    </a:lnTo>
                    <a:lnTo>
                      <a:pt x="224" y="312"/>
                    </a:lnTo>
                    <a:lnTo>
                      <a:pt x="224" y="304"/>
                    </a:lnTo>
                    <a:lnTo>
                      <a:pt x="232" y="304"/>
                    </a:lnTo>
                    <a:lnTo>
                      <a:pt x="232" y="296"/>
                    </a:lnTo>
                    <a:lnTo>
                      <a:pt x="224" y="288"/>
                    </a:lnTo>
                    <a:lnTo>
                      <a:pt x="224" y="280"/>
                    </a:lnTo>
                    <a:lnTo>
                      <a:pt x="216" y="280"/>
                    </a:lnTo>
                    <a:lnTo>
                      <a:pt x="216" y="272"/>
                    </a:lnTo>
                    <a:lnTo>
                      <a:pt x="224" y="272"/>
                    </a:lnTo>
                    <a:lnTo>
                      <a:pt x="224" y="264"/>
                    </a:lnTo>
                    <a:lnTo>
                      <a:pt x="216" y="264"/>
                    </a:lnTo>
                    <a:lnTo>
                      <a:pt x="208" y="264"/>
                    </a:lnTo>
                    <a:lnTo>
                      <a:pt x="208" y="256"/>
                    </a:lnTo>
                    <a:lnTo>
                      <a:pt x="216" y="248"/>
                    </a:lnTo>
                    <a:lnTo>
                      <a:pt x="216" y="240"/>
                    </a:lnTo>
                    <a:lnTo>
                      <a:pt x="216" y="232"/>
                    </a:lnTo>
                    <a:lnTo>
                      <a:pt x="208" y="232"/>
                    </a:lnTo>
                    <a:lnTo>
                      <a:pt x="200" y="232"/>
                    </a:lnTo>
                    <a:lnTo>
                      <a:pt x="200" y="224"/>
                    </a:lnTo>
                    <a:lnTo>
                      <a:pt x="192" y="224"/>
                    </a:lnTo>
                    <a:lnTo>
                      <a:pt x="192" y="216"/>
                    </a:lnTo>
                    <a:lnTo>
                      <a:pt x="200" y="216"/>
                    </a:lnTo>
                    <a:lnTo>
                      <a:pt x="200" y="208"/>
                    </a:lnTo>
                    <a:lnTo>
                      <a:pt x="200" y="200"/>
                    </a:lnTo>
                    <a:lnTo>
                      <a:pt x="192" y="200"/>
                    </a:lnTo>
                    <a:lnTo>
                      <a:pt x="192" y="208"/>
                    </a:lnTo>
                    <a:lnTo>
                      <a:pt x="192" y="216"/>
                    </a:lnTo>
                    <a:lnTo>
                      <a:pt x="184" y="208"/>
                    </a:lnTo>
                    <a:lnTo>
                      <a:pt x="184" y="216"/>
                    </a:lnTo>
                    <a:lnTo>
                      <a:pt x="184" y="224"/>
                    </a:lnTo>
                    <a:lnTo>
                      <a:pt x="192" y="232"/>
                    </a:lnTo>
                    <a:lnTo>
                      <a:pt x="192" y="240"/>
                    </a:lnTo>
                    <a:lnTo>
                      <a:pt x="192" y="248"/>
                    </a:lnTo>
                    <a:lnTo>
                      <a:pt x="184" y="256"/>
                    </a:lnTo>
                    <a:lnTo>
                      <a:pt x="176" y="256"/>
                    </a:lnTo>
                    <a:lnTo>
                      <a:pt x="168" y="256"/>
                    </a:lnTo>
                    <a:lnTo>
                      <a:pt x="168" y="248"/>
                    </a:lnTo>
                    <a:lnTo>
                      <a:pt x="168" y="240"/>
                    </a:lnTo>
                    <a:lnTo>
                      <a:pt x="160" y="240"/>
                    </a:lnTo>
                    <a:lnTo>
                      <a:pt x="152" y="240"/>
                    </a:lnTo>
                    <a:lnTo>
                      <a:pt x="144" y="240"/>
                    </a:lnTo>
                    <a:lnTo>
                      <a:pt x="144" y="248"/>
                    </a:lnTo>
                    <a:lnTo>
                      <a:pt x="152" y="256"/>
                    </a:lnTo>
                    <a:lnTo>
                      <a:pt x="144" y="256"/>
                    </a:lnTo>
                    <a:lnTo>
                      <a:pt x="144" y="248"/>
                    </a:lnTo>
                    <a:lnTo>
                      <a:pt x="136" y="248"/>
                    </a:lnTo>
                    <a:lnTo>
                      <a:pt x="136" y="240"/>
                    </a:lnTo>
                    <a:lnTo>
                      <a:pt x="128" y="232"/>
                    </a:lnTo>
                    <a:lnTo>
                      <a:pt x="120" y="224"/>
                    </a:lnTo>
                    <a:lnTo>
                      <a:pt x="112" y="224"/>
                    </a:lnTo>
                    <a:lnTo>
                      <a:pt x="112" y="216"/>
                    </a:lnTo>
                    <a:lnTo>
                      <a:pt x="112" y="224"/>
                    </a:lnTo>
                    <a:lnTo>
                      <a:pt x="120" y="232"/>
                    </a:lnTo>
                    <a:lnTo>
                      <a:pt x="128" y="240"/>
                    </a:lnTo>
                    <a:lnTo>
                      <a:pt x="128" y="248"/>
                    </a:lnTo>
                    <a:lnTo>
                      <a:pt x="128" y="240"/>
                    </a:lnTo>
                    <a:lnTo>
                      <a:pt x="120" y="248"/>
                    </a:lnTo>
                    <a:lnTo>
                      <a:pt x="120" y="240"/>
                    </a:lnTo>
                    <a:lnTo>
                      <a:pt x="112" y="240"/>
                    </a:lnTo>
                    <a:lnTo>
                      <a:pt x="104" y="240"/>
                    </a:lnTo>
                    <a:lnTo>
                      <a:pt x="104" y="232"/>
                    </a:lnTo>
                    <a:lnTo>
                      <a:pt x="96" y="232"/>
                    </a:lnTo>
                    <a:lnTo>
                      <a:pt x="96" y="240"/>
                    </a:lnTo>
                    <a:lnTo>
                      <a:pt x="88" y="232"/>
                    </a:lnTo>
                    <a:lnTo>
                      <a:pt x="80" y="232"/>
                    </a:lnTo>
                    <a:lnTo>
                      <a:pt x="72" y="224"/>
                    </a:lnTo>
                    <a:lnTo>
                      <a:pt x="80" y="216"/>
                    </a:lnTo>
                    <a:lnTo>
                      <a:pt x="72" y="216"/>
                    </a:lnTo>
                    <a:lnTo>
                      <a:pt x="72" y="224"/>
                    </a:lnTo>
                    <a:lnTo>
                      <a:pt x="64" y="216"/>
                    </a:lnTo>
                    <a:lnTo>
                      <a:pt x="56" y="216"/>
                    </a:lnTo>
                    <a:lnTo>
                      <a:pt x="64" y="224"/>
                    </a:lnTo>
                    <a:lnTo>
                      <a:pt x="56" y="224"/>
                    </a:lnTo>
                    <a:lnTo>
                      <a:pt x="48" y="216"/>
                    </a:lnTo>
                    <a:lnTo>
                      <a:pt x="48" y="208"/>
                    </a:lnTo>
                    <a:lnTo>
                      <a:pt x="40" y="208"/>
                    </a:lnTo>
                    <a:lnTo>
                      <a:pt x="48" y="200"/>
                    </a:lnTo>
                    <a:lnTo>
                      <a:pt x="56" y="200"/>
                    </a:lnTo>
                    <a:lnTo>
                      <a:pt x="48" y="192"/>
                    </a:lnTo>
                    <a:lnTo>
                      <a:pt x="48" y="200"/>
                    </a:lnTo>
                    <a:lnTo>
                      <a:pt x="40" y="200"/>
                    </a:lnTo>
                    <a:lnTo>
                      <a:pt x="40" y="208"/>
                    </a:lnTo>
                    <a:lnTo>
                      <a:pt x="40" y="200"/>
                    </a:lnTo>
                    <a:lnTo>
                      <a:pt x="32" y="192"/>
                    </a:lnTo>
                    <a:lnTo>
                      <a:pt x="32" y="200"/>
                    </a:lnTo>
                    <a:lnTo>
                      <a:pt x="32" y="208"/>
                    </a:lnTo>
                    <a:lnTo>
                      <a:pt x="32" y="200"/>
                    </a:lnTo>
                    <a:lnTo>
                      <a:pt x="24" y="200"/>
                    </a:lnTo>
                    <a:lnTo>
                      <a:pt x="16" y="200"/>
                    </a:lnTo>
                    <a:lnTo>
                      <a:pt x="8" y="192"/>
                    </a:lnTo>
                    <a:lnTo>
                      <a:pt x="16" y="200"/>
                    </a:lnTo>
                    <a:lnTo>
                      <a:pt x="8" y="192"/>
                    </a:lnTo>
                    <a:lnTo>
                      <a:pt x="0" y="184"/>
                    </a:lnTo>
                    <a:lnTo>
                      <a:pt x="8" y="176"/>
                    </a:lnTo>
                    <a:lnTo>
                      <a:pt x="0" y="176"/>
                    </a:lnTo>
                    <a:lnTo>
                      <a:pt x="0" y="168"/>
                    </a:lnTo>
                    <a:lnTo>
                      <a:pt x="0" y="160"/>
                    </a:lnTo>
                    <a:lnTo>
                      <a:pt x="8" y="160"/>
                    </a:lnTo>
                    <a:lnTo>
                      <a:pt x="8" y="152"/>
                    </a:lnTo>
                    <a:lnTo>
                      <a:pt x="16" y="152"/>
                    </a:lnTo>
                    <a:lnTo>
                      <a:pt x="24" y="160"/>
                    </a:lnTo>
                    <a:lnTo>
                      <a:pt x="32" y="168"/>
                    </a:lnTo>
                    <a:lnTo>
                      <a:pt x="40" y="168"/>
                    </a:lnTo>
                    <a:lnTo>
                      <a:pt x="48" y="168"/>
                    </a:lnTo>
                    <a:lnTo>
                      <a:pt x="48" y="160"/>
                    </a:lnTo>
                    <a:lnTo>
                      <a:pt x="40" y="152"/>
                    </a:lnTo>
                    <a:lnTo>
                      <a:pt x="32" y="152"/>
                    </a:lnTo>
                    <a:lnTo>
                      <a:pt x="24" y="144"/>
                    </a:lnTo>
                    <a:lnTo>
                      <a:pt x="16" y="144"/>
                    </a:lnTo>
                    <a:lnTo>
                      <a:pt x="8" y="136"/>
                    </a:lnTo>
                    <a:lnTo>
                      <a:pt x="0" y="136"/>
                    </a:lnTo>
                    <a:lnTo>
                      <a:pt x="8" y="128"/>
                    </a:lnTo>
                    <a:lnTo>
                      <a:pt x="8" y="120"/>
                    </a:lnTo>
                    <a:lnTo>
                      <a:pt x="8" y="112"/>
                    </a:lnTo>
                    <a:lnTo>
                      <a:pt x="16" y="112"/>
                    </a:lnTo>
                    <a:lnTo>
                      <a:pt x="16" y="104"/>
                    </a:lnTo>
                    <a:lnTo>
                      <a:pt x="16" y="96"/>
                    </a:lnTo>
                    <a:lnTo>
                      <a:pt x="24" y="96"/>
                    </a:lnTo>
                    <a:lnTo>
                      <a:pt x="24" y="88"/>
                    </a:lnTo>
                    <a:lnTo>
                      <a:pt x="32" y="88"/>
                    </a:lnTo>
                    <a:lnTo>
                      <a:pt x="32" y="80"/>
                    </a:lnTo>
                    <a:lnTo>
                      <a:pt x="32" y="88"/>
                    </a:lnTo>
                    <a:lnTo>
                      <a:pt x="32" y="80"/>
                    </a:lnTo>
                    <a:lnTo>
                      <a:pt x="32" y="72"/>
                    </a:lnTo>
                    <a:lnTo>
                      <a:pt x="40" y="64"/>
                    </a:lnTo>
                    <a:lnTo>
                      <a:pt x="48" y="64"/>
                    </a:lnTo>
                    <a:lnTo>
                      <a:pt x="48" y="56"/>
                    </a:lnTo>
                    <a:lnTo>
                      <a:pt x="56" y="56"/>
                    </a:lnTo>
                    <a:lnTo>
                      <a:pt x="56" y="48"/>
                    </a:lnTo>
                    <a:lnTo>
                      <a:pt x="64" y="40"/>
                    </a:lnTo>
                    <a:lnTo>
                      <a:pt x="72" y="32"/>
                    </a:lnTo>
                    <a:lnTo>
                      <a:pt x="80" y="24"/>
                    </a:lnTo>
                    <a:lnTo>
                      <a:pt x="88" y="32"/>
                    </a:lnTo>
                    <a:lnTo>
                      <a:pt x="80" y="24"/>
                    </a:lnTo>
                    <a:lnTo>
                      <a:pt x="96" y="16"/>
                    </a:lnTo>
                    <a:lnTo>
                      <a:pt x="104" y="8"/>
                    </a:lnTo>
                    <a:lnTo>
                      <a:pt x="112" y="8"/>
                    </a:lnTo>
                    <a:lnTo>
                      <a:pt x="120" y="0"/>
                    </a:lnTo>
                    <a:lnTo>
                      <a:pt x="128" y="0"/>
                    </a:lnTo>
                    <a:lnTo>
                      <a:pt x="136" y="0"/>
                    </a:lnTo>
                    <a:lnTo>
                      <a:pt x="144" y="0"/>
                    </a:lnTo>
                    <a:lnTo>
                      <a:pt x="152" y="8"/>
                    </a:lnTo>
                    <a:lnTo>
                      <a:pt x="160" y="16"/>
                    </a:lnTo>
                    <a:lnTo>
                      <a:pt x="152" y="24"/>
                    </a:lnTo>
                    <a:lnTo>
                      <a:pt x="144" y="24"/>
                    </a:lnTo>
                    <a:lnTo>
                      <a:pt x="144" y="32"/>
                    </a:lnTo>
                    <a:lnTo>
                      <a:pt x="136" y="32"/>
                    </a:lnTo>
                    <a:lnTo>
                      <a:pt x="128" y="32"/>
                    </a:lnTo>
                    <a:lnTo>
                      <a:pt x="120" y="40"/>
                    </a:lnTo>
                    <a:lnTo>
                      <a:pt x="112" y="56"/>
                    </a:lnTo>
                    <a:lnTo>
                      <a:pt x="104" y="56"/>
                    </a:lnTo>
                    <a:lnTo>
                      <a:pt x="104" y="64"/>
                    </a:lnTo>
                    <a:lnTo>
                      <a:pt x="96" y="72"/>
                    </a:lnTo>
                    <a:lnTo>
                      <a:pt x="104" y="80"/>
                    </a:lnTo>
                    <a:lnTo>
                      <a:pt x="104" y="88"/>
                    </a:lnTo>
                    <a:lnTo>
                      <a:pt x="96" y="88"/>
                    </a:lnTo>
                    <a:lnTo>
                      <a:pt x="96" y="96"/>
                    </a:lnTo>
                    <a:lnTo>
                      <a:pt x="88" y="104"/>
                    </a:lnTo>
                    <a:lnTo>
                      <a:pt x="88" y="112"/>
                    </a:lnTo>
                    <a:lnTo>
                      <a:pt x="88" y="120"/>
                    </a:lnTo>
                    <a:lnTo>
                      <a:pt x="88" y="128"/>
                    </a:lnTo>
                    <a:lnTo>
                      <a:pt x="88" y="136"/>
                    </a:lnTo>
                    <a:lnTo>
                      <a:pt x="96" y="144"/>
                    </a:lnTo>
                    <a:lnTo>
                      <a:pt x="96" y="152"/>
                    </a:lnTo>
                    <a:lnTo>
                      <a:pt x="96" y="160"/>
                    </a:lnTo>
                    <a:lnTo>
                      <a:pt x="96" y="152"/>
                    </a:lnTo>
                    <a:lnTo>
                      <a:pt x="88" y="160"/>
                    </a:lnTo>
                    <a:lnTo>
                      <a:pt x="96" y="160"/>
                    </a:lnTo>
                    <a:lnTo>
                      <a:pt x="88" y="168"/>
                    </a:lnTo>
                    <a:lnTo>
                      <a:pt x="88" y="176"/>
                    </a:lnTo>
                    <a:lnTo>
                      <a:pt x="88" y="184"/>
                    </a:lnTo>
                    <a:lnTo>
                      <a:pt x="96" y="176"/>
                    </a:lnTo>
                    <a:lnTo>
                      <a:pt x="96" y="160"/>
                    </a:lnTo>
                    <a:lnTo>
                      <a:pt x="104" y="160"/>
                    </a:lnTo>
                    <a:lnTo>
                      <a:pt x="104" y="152"/>
                    </a:lnTo>
                    <a:lnTo>
                      <a:pt x="112" y="144"/>
                    </a:lnTo>
                    <a:lnTo>
                      <a:pt x="112" y="136"/>
                    </a:lnTo>
                    <a:lnTo>
                      <a:pt x="104" y="136"/>
                    </a:lnTo>
                    <a:lnTo>
                      <a:pt x="104" y="128"/>
                    </a:lnTo>
                    <a:lnTo>
                      <a:pt x="104" y="120"/>
                    </a:lnTo>
                    <a:lnTo>
                      <a:pt x="96" y="112"/>
                    </a:lnTo>
                    <a:lnTo>
                      <a:pt x="104" y="112"/>
                    </a:lnTo>
                    <a:lnTo>
                      <a:pt x="112" y="112"/>
                    </a:lnTo>
                    <a:lnTo>
                      <a:pt x="112" y="104"/>
                    </a:lnTo>
                    <a:lnTo>
                      <a:pt x="112" y="96"/>
                    </a:lnTo>
                    <a:lnTo>
                      <a:pt x="120" y="96"/>
                    </a:lnTo>
                    <a:lnTo>
                      <a:pt x="120" y="104"/>
                    </a:lnTo>
                    <a:lnTo>
                      <a:pt x="120" y="112"/>
                    </a:lnTo>
                    <a:lnTo>
                      <a:pt x="128" y="104"/>
                    </a:lnTo>
                    <a:lnTo>
                      <a:pt x="128" y="96"/>
                    </a:lnTo>
                    <a:lnTo>
                      <a:pt x="136" y="96"/>
                    </a:lnTo>
                    <a:lnTo>
                      <a:pt x="136" y="88"/>
                    </a:lnTo>
                    <a:lnTo>
                      <a:pt x="128" y="88"/>
                    </a:lnTo>
                    <a:lnTo>
                      <a:pt x="120" y="96"/>
                    </a:lnTo>
                    <a:lnTo>
                      <a:pt x="120" y="88"/>
                    </a:lnTo>
                    <a:lnTo>
                      <a:pt x="120" y="80"/>
                    </a:lnTo>
                    <a:lnTo>
                      <a:pt x="120" y="72"/>
                    </a:lnTo>
                    <a:lnTo>
                      <a:pt x="128" y="64"/>
                    </a:lnTo>
                    <a:lnTo>
                      <a:pt x="128" y="56"/>
                    </a:lnTo>
                    <a:lnTo>
                      <a:pt x="136" y="56"/>
                    </a:lnTo>
                    <a:lnTo>
                      <a:pt x="136" y="64"/>
                    </a:lnTo>
                    <a:lnTo>
                      <a:pt x="144" y="72"/>
                    </a:lnTo>
                    <a:lnTo>
                      <a:pt x="152" y="72"/>
                    </a:lnTo>
                    <a:lnTo>
                      <a:pt x="152" y="64"/>
                    </a:lnTo>
                    <a:lnTo>
                      <a:pt x="144" y="64"/>
                    </a:lnTo>
                    <a:lnTo>
                      <a:pt x="144" y="56"/>
                    </a:lnTo>
                    <a:lnTo>
                      <a:pt x="136" y="56"/>
                    </a:lnTo>
                    <a:lnTo>
                      <a:pt x="128" y="56"/>
                    </a:lnTo>
                    <a:lnTo>
                      <a:pt x="136" y="48"/>
                    </a:lnTo>
                    <a:lnTo>
                      <a:pt x="144" y="48"/>
                    </a:lnTo>
                    <a:lnTo>
                      <a:pt x="152" y="56"/>
                    </a:lnTo>
                    <a:lnTo>
                      <a:pt x="160" y="64"/>
                    </a:lnTo>
                    <a:lnTo>
                      <a:pt x="152" y="56"/>
                    </a:lnTo>
                    <a:lnTo>
                      <a:pt x="152" y="48"/>
                    </a:lnTo>
                    <a:lnTo>
                      <a:pt x="144" y="48"/>
                    </a:lnTo>
                    <a:lnTo>
                      <a:pt x="144" y="40"/>
                    </a:lnTo>
                    <a:lnTo>
                      <a:pt x="152" y="40"/>
                    </a:lnTo>
                    <a:lnTo>
                      <a:pt x="160" y="40"/>
                    </a:lnTo>
                    <a:lnTo>
                      <a:pt x="160" y="48"/>
                    </a:lnTo>
                    <a:lnTo>
                      <a:pt x="160" y="40"/>
                    </a:lnTo>
                    <a:lnTo>
                      <a:pt x="168" y="40"/>
                    </a:lnTo>
                    <a:lnTo>
                      <a:pt x="176" y="48"/>
                    </a:lnTo>
                    <a:lnTo>
                      <a:pt x="176" y="40"/>
                    </a:lnTo>
                    <a:lnTo>
                      <a:pt x="168" y="40"/>
                    </a:lnTo>
                    <a:lnTo>
                      <a:pt x="176" y="32"/>
                    </a:lnTo>
                    <a:lnTo>
                      <a:pt x="184" y="32"/>
                    </a:lnTo>
                    <a:lnTo>
                      <a:pt x="192" y="32"/>
                    </a:lnTo>
                    <a:lnTo>
                      <a:pt x="200" y="32"/>
                    </a:lnTo>
                    <a:lnTo>
                      <a:pt x="200" y="24"/>
                    </a:lnTo>
                    <a:lnTo>
                      <a:pt x="208" y="24"/>
                    </a:lnTo>
                    <a:lnTo>
                      <a:pt x="216" y="32"/>
                    </a:lnTo>
                    <a:lnTo>
                      <a:pt x="224" y="32"/>
                    </a:lnTo>
                    <a:lnTo>
                      <a:pt x="224" y="48"/>
                    </a:lnTo>
                    <a:lnTo>
                      <a:pt x="216" y="56"/>
                    </a:lnTo>
                    <a:lnTo>
                      <a:pt x="216" y="64"/>
                    </a:lnTo>
                    <a:lnTo>
                      <a:pt x="224" y="64"/>
                    </a:lnTo>
                    <a:lnTo>
                      <a:pt x="224" y="72"/>
                    </a:lnTo>
                    <a:lnTo>
                      <a:pt x="216" y="80"/>
                    </a:lnTo>
                    <a:lnTo>
                      <a:pt x="216" y="88"/>
                    </a:lnTo>
                    <a:lnTo>
                      <a:pt x="216" y="96"/>
                    </a:lnTo>
                    <a:lnTo>
                      <a:pt x="208" y="96"/>
                    </a:lnTo>
                    <a:lnTo>
                      <a:pt x="208" y="104"/>
                    </a:lnTo>
                    <a:lnTo>
                      <a:pt x="200" y="104"/>
                    </a:lnTo>
                    <a:lnTo>
                      <a:pt x="200" y="112"/>
                    </a:lnTo>
                    <a:lnTo>
                      <a:pt x="192" y="112"/>
                    </a:lnTo>
                    <a:lnTo>
                      <a:pt x="200" y="112"/>
                    </a:lnTo>
                    <a:lnTo>
                      <a:pt x="200" y="104"/>
                    </a:lnTo>
                    <a:lnTo>
                      <a:pt x="208" y="104"/>
                    </a:lnTo>
                    <a:lnTo>
                      <a:pt x="216" y="104"/>
                    </a:lnTo>
                    <a:lnTo>
                      <a:pt x="208" y="104"/>
                    </a:lnTo>
                    <a:lnTo>
                      <a:pt x="208" y="112"/>
                    </a:lnTo>
                    <a:lnTo>
                      <a:pt x="200" y="112"/>
                    </a:lnTo>
                    <a:lnTo>
                      <a:pt x="200" y="120"/>
                    </a:lnTo>
                    <a:lnTo>
                      <a:pt x="192" y="120"/>
                    </a:lnTo>
                    <a:lnTo>
                      <a:pt x="192" y="128"/>
                    </a:lnTo>
                    <a:lnTo>
                      <a:pt x="192" y="136"/>
                    </a:lnTo>
                    <a:lnTo>
                      <a:pt x="200" y="128"/>
                    </a:lnTo>
                    <a:lnTo>
                      <a:pt x="208" y="128"/>
                    </a:lnTo>
                    <a:lnTo>
                      <a:pt x="208" y="120"/>
                    </a:lnTo>
                    <a:lnTo>
                      <a:pt x="216" y="120"/>
                    </a:lnTo>
                    <a:lnTo>
                      <a:pt x="216" y="128"/>
                    </a:lnTo>
                    <a:lnTo>
                      <a:pt x="216" y="120"/>
                    </a:lnTo>
                    <a:lnTo>
                      <a:pt x="216" y="112"/>
                    </a:lnTo>
                    <a:lnTo>
                      <a:pt x="224" y="112"/>
                    </a:lnTo>
                    <a:lnTo>
                      <a:pt x="224" y="120"/>
                    </a:lnTo>
                    <a:lnTo>
                      <a:pt x="232" y="112"/>
                    </a:lnTo>
                    <a:lnTo>
                      <a:pt x="232" y="120"/>
                    </a:lnTo>
                    <a:lnTo>
                      <a:pt x="224" y="128"/>
                    </a:lnTo>
                    <a:lnTo>
                      <a:pt x="224" y="136"/>
                    </a:lnTo>
                    <a:lnTo>
                      <a:pt x="216" y="136"/>
                    </a:lnTo>
                    <a:lnTo>
                      <a:pt x="224" y="136"/>
                    </a:lnTo>
                    <a:lnTo>
                      <a:pt x="232" y="144"/>
                    </a:lnTo>
                    <a:lnTo>
                      <a:pt x="232" y="136"/>
                    </a:lnTo>
                    <a:lnTo>
                      <a:pt x="232" y="128"/>
                    </a:lnTo>
                    <a:lnTo>
                      <a:pt x="240" y="136"/>
                    </a:lnTo>
                    <a:lnTo>
                      <a:pt x="240" y="128"/>
                    </a:lnTo>
                    <a:lnTo>
                      <a:pt x="240" y="112"/>
                    </a:lnTo>
                    <a:lnTo>
                      <a:pt x="240" y="120"/>
                    </a:lnTo>
                    <a:lnTo>
                      <a:pt x="240" y="128"/>
                    </a:lnTo>
                    <a:lnTo>
                      <a:pt x="240" y="120"/>
                    </a:lnTo>
                    <a:lnTo>
                      <a:pt x="248" y="120"/>
                    </a:lnTo>
                    <a:lnTo>
                      <a:pt x="256" y="128"/>
                    </a:lnTo>
                    <a:lnTo>
                      <a:pt x="256" y="136"/>
                    </a:lnTo>
                    <a:lnTo>
                      <a:pt x="264" y="136"/>
                    </a:lnTo>
                    <a:lnTo>
                      <a:pt x="264" y="128"/>
                    </a:lnTo>
                    <a:lnTo>
                      <a:pt x="256" y="128"/>
                    </a:lnTo>
                    <a:lnTo>
                      <a:pt x="248" y="120"/>
                    </a:lnTo>
                    <a:lnTo>
                      <a:pt x="248" y="112"/>
                    </a:lnTo>
                    <a:lnTo>
                      <a:pt x="256" y="112"/>
                    </a:lnTo>
                    <a:lnTo>
                      <a:pt x="264" y="104"/>
                    </a:lnTo>
                    <a:lnTo>
                      <a:pt x="272" y="104"/>
                    </a:lnTo>
                    <a:lnTo>
                      <a:pt x="280" y="104"/>
                    </a:lnTo>
                    <a:lnTo>
                      <a:pt x="288" y="112"/>
                    </a:lnTo>
                    <a:lnTo>
                      <a:pt x="296" y="120"/>
                    </a:lnTo>
                    <a:lnTo>
                      <a:pt x="304" y="120"/>
                    </a:lnTo>
                    <a:lnTo>
                      <a:pt x="304" y="128"/>
                    </a:lnTo>
                    <a:lnTo>
                      <a:pt x="312" y="128"/>
                    </a:lnTo>
                    <a:lnTo>
                      <a:pt x="304" y="136"/>
                    </a:lnTo>
                    <a:lnTo>
                      <a:pt x="312" y="136"/>
                    </a:lnTo>
                    <a:lnTo>
                      <a:pt x="304" y="144"/>
                    </a:lnTo>
                    <a:lnTo>
                      <a:pt x="296" y="144"/>
                    </a:lnTo>
                    <a:lnTo>
                      <a:pt x="288" y="144"/>
                    </a:lnTo>
                    <a:lnTo>
                      <a:pt x="280" y="152"/>
                    </a:lnTo>
                    <a:lnTo>
                      <a:pt x="288" y="144"/>
                    </a:lnTo>
                    <a:lnTo>
                      <a:pt x="296" y="144"/>
                    </a:lnTo>
                    <a:lnTo>
                      <a:pt x="304" y="144"/>
                    </a:lnTo>
                    <a:lnTo>
                      <a:pt x="296" y="152"/>
                    </a:lnTo>
                    <a:lnTo>
                      <a:pt x="288" y="152"/>
                    </a:lnTo>
                    <a:lnTo>
                      <a:pt x="288" y="160"/>
                    </a:lnTo>
                    <a:lnTo>
                      <a:pt x="280" y="160"/>
                    </a:lnTo>
                    <a:lnTo>
                      <a:pt x="280" y="168"/>
                    </a:lnTo>
                    <a:lnTo>
                      <a:pt x="288" y="160"/>
                    </a:lnTo>
                    <a:lnTo>
                      <a:pt x="296" y="152"/>
                    </a:lnTo>
                    <a:lnTo>
                      <a:pt x="304" y="152"/>
                    </a:lnTo>
                    <a:lnTo>
                      <a:pt x="304" y="144"/>
                    </a:lnTo>
                    <a:lnTo>
                      <a:pt x="312" y="144"/>
                    </a:lnTo>
                    <a:lnTo>
                      <a:pt x="312" y="152"/>
                    </a:lnTo>
                    <a:lnTo>
                      <a:pt x="320" y="152"/>
                    </a:lnTo>
                    <a:lnTo>
                      <a:pt x="312" y="160"/>
                    </a:lnTo>
                    <a:lnTo>
                      <a:pt x="304" y="168"/>
                    </a:lnTo>
                    <a:lnTo>
                      <a:pt x="296" y="168"/>
                    </a:lnTo>
                    <a:lnTo>
                      <a:pt x="296" y="176"/>
                    </a:lnTo>
                    <a:lnTo>
                      <a:pt x="288" y="176"/>
                    </a:lnTo>
                    <a:lnTo>
                      <a:pt x="296" y="176"/>
                    </a:lnTo>
                    <a:lnTo>
                      <a:pt x="304" y="176"/>
                    </a:lnTo>
                    <a:lnTo>
                      <a:pt x="304" y="168"/>
                    </a:lnTo>
                    <a:lnTo>
                      <a:pt x="304" y="176"/>
                    </a:lnTo>
                    <a:lnTo>
                      <a:pt x="296" y="176"/>
                    </a:lnTo>
                    <a:lnTo>
                      <a:pt x="296" y="184"/>
                    </a:lnTo>
                    <a:lnTo>
                      <a:pt x="288" y="192"/>
                    </a:lnTo>
                    <a:lnTo>
                      <a:pt x="296" y="192"/>
                    </a:lnTo>
                    <a:lnTo>
                      <a:pt x="296" y="184"/>
                    </a:lnTo>
                    <a:lnTo>
                      <a:pt x="304" y="176"/>
                    </a:lnTo>
                    <a:lnTo>
                      <a:pt x="312" y="176"/>
                    </a:lnTo>
                    <a:lnTo>
                      <a:pt x="320" y="176"/>
                    </a:lnTo>
                    <a:lnTo>
                      <a:pt x="320" y="168"/>
                    </a:lnTo>
                    <a:lnTo>
                      <a:pt x="328" y="168"/>
                    </a:lnTo>
                    <a:lnTo>
                      <a:pt x="320" y="176"/>
                    </a:lnTo>
                    <a:lnTo>
                      <a:pt x="312" y="184"/>
                    </a:lnTo>
                    <a:lnTo>
                      <a:pt x="304" y="184"/>
                    </a:lnTo>
                    <a:lnTo>
                      <a:pt x="304" y="192"/>
                    </a:lnTo>
                    <a:lnTo>
                      <a:pt x="304" y="200"/>
                    </a:lnTo>
                    <a:lnTo>
                      <a:pt x="312" y="192"/>
                    </a:lnTo>
                    <a:lnTo>
                      <a:pt x="320" y="184"/>
                    </a:lnTo>
                    <a:lnTo>
                      <a:pt x="320" y="192"/>
                    </a:lnTo>
                    <a:lnTo>
                      <a:pt x="312" y="192"/>
                    </a:lnTo>
                    <a:lnTo>
                      <a:pt x="312" y="200"/>
                    </a:lnTo>
                    <a:lnTo>
                      <a:pt x="312" y="208"/>
                    </a:lnTo>
                    <a:lnTo>
                      <a:pt x="304" y="208"/>
                    </a:lnTo>
                    <a:lnTo>
                      <a:pt x="312" y="208"/>
                    </a:lnTo>
                    <a:lnTo>
                      <a:pt x="312" y="200"/>
                    </a:lnTo>
                    <a:lnTo>
                      <a:pt x="320" y="192"/>
                    </a:lnTo>
                    <a:lnTo>
                      <a:pt x="328" y="200"/>
                    </a:lnTo>
                    <a:lnTo>
                      <a:pt x="320" y="200"/>
                    </a:lnTo>
                    <a:lnTo>
                      <a:pt x="320" y="208"/>
                    </a:lnTo>
                    <a:lnTo>
                      <a:pt x="320" y="216"/>
                    </a:lnTo>
                    <a:lnTo>
                      <a:pt x="320" y="208"/>
                    </a:lnTo>
                    <a:lnTo>
                      <a:pt x="328" y="200"/>
                    </a:lnTo>
                    <a:lnTo>
                      <a:pt x="328" y="192"/>
                    </a:lnTo>
                    <a:lnTo>
                      <a:pt x="336" y="192"/>
                    </a:lnTo>
                    <a:lnTo>
                      <a:pt x="336" y="184"/>
                    </a:lnTo>
                    <a:lnTo>
                      <a:pt x="344" y="176"/>
                    </a:lnTo>
                    <a:lnTo>
                      <a:pt x="352" y="184"/>
                    </a:lnTo>
                    <a:lnTo>
                      <a:pt x="352" y="192"/>
                    </a:lnTo>
                    <a:lnTo>
                      <a:pt x="360" y="192"/>
                    </a:lnTo>
                    <a:lnTo>
                      <a:pt x="360" y="200"/>
                    </a:lnTo>
                    <a:lnTo>
                      <a:pt x="360" y="208"/>
                    </a:lnTo>
                    <a:lnTo>
                      <a:pt x="352" y="216"/>
                    </a:lnTo>
                    <a:lnTo>
                      <a:pt x="352" y="208"/>
                    </a:lnTo>
                    <a:lnTo>
                      <a:pt x="344" y="208"/>
                    </a:lnTo>
                    <a:lnTo>
                      <a:pt x="336" y="208"/>
                    </a:lnTo>
                    <a:lnTo>
                      <a:pt x="336" y="216"/>
                    </a:lnTo>
                    <a:lnTo>
                      <a:pt x="328" y="216"/>
                    </a:lnTo>
                    <a:lnTo>
                      <a:pt x="328" y="224"/>
                    </a:lnTo>
                    <a:lnTo>
                      <a:pt x="336" y="224"/>
                    </a:lnTo>
                    <a:lnTo>
                      <a:pt x="328" y="224"/>
                    </a:lnTo>
                    <a:lnTo>
                      <a:pt x="328" y="232"/>
                    </a:lnTo>
                    <a:lnTo>
                      <a:pt x="320" y="232"/>
                    </a:lnTo>
                    <a:lnTo>
                      <a:pt x="328" y="232"/>
                    </a:lnTo>
                    <a:lnTo>
                      <a:pt x="336" y="232"/>
                    </a:lnTo>
                    <a:lnTo>
                      <a:pt x="344" y="232"/>
                    </a:lnTo>
                    <a:lnTo>
                      <a:pt x="344" y="224"/>
                    </a:lnTo>
                    <a:lnTo>
                      <a:pt x="352" y="224"/>
                    </a:lnTo>
                    <a:lnTo>
                      <a:pt x="352" y="232"/>
                    </a:lnTo>
                    <a:lnTo>
                      <a:pt x="360" y="224"/>
                    </a:lnTo>
                    <a:lnTo>
                      <a:pt x="352" y="224"/>
                    </a:lnTo>
                    <a:lnTo>
                      <a:pt x="360" y="216"/>
                    </a:lnTo>
                    <a:lnTo>
                      <a:pt x="368" y="216"/>
                    </a:lnTo>
                    <a:lnTo>
                      <a:pt x="368" y="224"/>
                    </a:lnTo>
                    <a:lnTo>
                      <a:pt x="360" y="232"/>
                    </a:lnTo>
                    <a:lnTo>
                      <a:pt x="352" y="240"/>
                    </a:lnTo>
                    <a:lnTo>
                      <a:pt x="344" y="240"/>
                    </a:lnTo>
                    <a:lnTo>
                      <a:pt x="336" y="240"/>
                    </a:lnTo>
                    <a:lnTo>
                      <a:pt x="336" y="248"/>
                    </a:lnTo>
                    <a:lnTo>
                      <a:pt x="336" y="256"/>
                    </a:lnTo>
                    <a:lnTo>
                      <a:pt x="344" y="248"/>
                    </a:lnTo>
                    <a:lnTo>
                      <a:pt x="344" y="240"/>
                    </a:lnTo>
                    <a:lnTo>
                      <a:pt x="352" y="240"/>
                    </a:lnTo>
                    <a:lnTo>
                      <a:pt x="352" y="248"/>
                    </a:lnTo>
                    <a:lnTo>
                      <a:pt x="344" y="248"/>
                    </a:lnTo>
                    <a:lnTo>
                      <a:pt x="344" y="256"/>
                    </a:lnTo>
                    <a:lnTo>
                      <a:pt x="336" y="256"/>
                    </a:lnTo>
                    <a:lnTo>
                      <a:pt x="336" y="264"/>
                    </a:lnTo>
                    <a:lnTo>
                      <a:pt x="344" y="256"/>
                    </a:lnTo>
                    <a:lnTo>
                      <a:pt x="352" y="248"/>
                    </a:lnTo>
                    <a:lnTo>
                      <a:pt x="352" y="240"/>
                    </a:lnTo>
                    <a:lnTo>
                      <a:pt x="360" y="240"/>
                    </a:lnTo>
                    <a:lnTo>
                      <a:pt x="368" y="232"/>
                    </a:lnTo>
                    <a:lnTo>
                      <a:pt x="376" y="232"/>
                    </a:lnTo>
                    <a:lnTo>
                      <a:pt x="368" y="240"/>
                    </a:lnTo>
                    <a:lnTo>
                      <a:pt x="360" y="240"/>
                    </a:lnTo>
                    <a:lnTo>
                      <a:pt x="360" y="248"/>
                    </a:lnTo>
                    <a:lnTo>
                      <a:pt x="368" y="240"/>
                    </a:lnTo>
                    <a:lnTo>
                      <a:pt x="376" y="240"/>
                    </a:lnTo>
                    <a:lnTo>
                      <a:pt x="384" y="232"/>
                    </a:lnTo>
                    <a:lnTo>
                      <a:pt x="392" y="240"/>
                    </a:lnTo>
                    <a:lnTo>
                      <a:pt x="400" y="248"/>
                    </a:lnTo>
                    <a:lnTo>
                      <a:pt x="400" y="256"/>
                    </a:lnTo>
                    <a:lnTo>
                      <a:pt x="400" y="264"/>
                    </a:lnTo>
                    <a:lnTo>
                      <a:pt x="392" y="256"/>
                    </a:lnTo>
                    <a:lnTo>
                      <a:pt x="392" y="264"/>
                    </a:lnTo>
                    <a:lnTo>
                      <a:pt x="384" y="264"/>
                    </a:lnTo>
                    <a:lnTo>
                      <a:pt x="376" y="264"/>
                    </a:lnTo>
                    <a:lnTo>
                      <a:pt x="368" y="264"/>
                    </a:lnTo>
                    <a:lnTo>
                      <a:pt x="360" y="272"/>
                    </a:lnTo>
                    <a:lnTo>
                      <a:pt x="352" y="272"/>
                    </a:lnTo>
                    <a:lnTo>
                      <a:pt x="360" y="272"/>
                    </a:lnTo>
                    <a:lnTo>
                      <a:pt x="360" y="280"/>
                    </a:lnTo>
                    <a:lnTo>
                      <a:pt x="352" y="280"/>
                    </a:lnTo>
                    <a:lnTo>
                      <a:pt x="360" y="280"/>
                    </a:lnTo>
                    <a:lnTo>
                      <a:pt x="360" y="272"/>
                    </a:lnTo>
                    <a:lnTo>
                      <a:pt x="368" y="272"/>
                    </a:lnTo>
                    <a:lnTo>
                      <a:pt x="376" y="272"/>
                    </a:lnTo>
                    <a:lnTo>
                      <a:pt x="384" y="272"/>
                    </a:lnTo>
                    <a:lnTo>
                      <a:pt x="384" y="280"/>
                    </a:lnTo>
                    <a:lnTo>
                      <a:pt x="376" y="280"/>
                    </a:lnTo>
                    <a:lnTo>
                      <a:pt x="368" y="280"/>
                    </a:lnTo>
                    <a:lnTo>
                      <a:pt x="368" y="288"/>
                    </a:lnTo>
                    <a:lnTo>
                      <a:pt x="360" y="288"/>
                    </a:lnTo>
                    <a:lnTo>
                      <a:pt x="352" y="288"/>
                    </a:lnTo>
                    <a:lnTo>
                      <a:pt x="360" y="288"/>
                    </a:lnTo>
                    <a:lnTo>
                      <a:pt x="368" y="288"/>
                    </a:lnTo>
                    <a:lnTo>
                      <a:pt x="376" y="280"/>
                    </a:lnTo>
                    <a:lnTo>
                      <a:pt x="384" y="280"/>
                    </a:lnTo>
                    <a:lnTo>
                      <a:pt x="392" y="280"/>
                    </a:lnTo>
                    <a:lnTo>
                      <a:pt x="400" y="272"/>
                    </a:lnTo>
                    <a:lnTo>
                      <a:pt x="392" y="272"/>
                    </a:lnTo>
                    <a:lnTo>
                      <a:pt x="400" y="264"/>
                    </a:lnTo>
                    <a:lnTo>
                      <a:pt x="408" y="272"/>
                    </a:lnTo>
                    <a:lnTo>
                      <a:pt x="408" y="280"/>
                    </a:lnTo>
                    <a:lnTo>
                      <a:pt x="408" y="288"/>
                    </a:lnTo>
                    <a:lnTo>
                      <a:pt x="416" y="288"/>
                    </a:lnTo>
                    <a:lnTo>
                      <a:pt x="416" y="296"/>
                    </a:lnTo>
                    <a:lnTo>
                      <a:pt x="408" y="296"/>
                    </a:lnTo>
                    <a:lnTo>
                      <a:pt x="400" y="296"/>
                    </a:lnTo>
                    <a:lnTo>
                      <a:pt x="392" y="296"/>
                    </a:lnTo>
                    <a:lnTo>
                      <a:pt x="384" y="296"/>
                    </a:lnTo>
                    <a:lnTo>
                      <a:pt x="376" y="296"/>
                    </a:lnTo>
                    <a:lnTo>
                      <a:pt x="368" y="304"/>
                    </a:lnTo>
                    <a:lnTo>
                      <a:pt x="376" y="304"/>
                    </a:lnTo>
                    <a:lnTo>
                      <a:pt x="384" y="304"/>
                    </a:lnTo>
                    <a:lnTo>
                      <a:pt x="392" y="304"/>
                    </a:lnTo>
                    <a:lnTo>
                      <a:pt x="392" y="312"/>
                    </a:lnTo>
                    <a:lnTo>
                      <a:pt x="400" y="312"/>
                    </a:lnTo>
                    <a:lnTo>
                      <a:pt x="400" y="304"/>
                    </a:lnTo>
                    <a:lnTo>
                      <a:pt x="400" y="312"/>
                    </a:lnTo>
                    <a:lnTo>
                      <a:pt x="408" y="312"/>
                    </a:lnTo>
                    <a:lnTo>
                      <a:pt x="416" y="320"/>
                    </a:lnTo>
                    <a:lnTo>
                      <a:pt x="416" y="328"/>
                    </a:lnTo>
                    <a:lnTo>
                      <a:pt x="408" y="328"/>
                    </a:lnTo>
                    <a:lnTo>
                      <a:pt x="408" y="320"/>
                    </a:lnTo>
                    <a:lnTo>
                      <a:pt x="400" y="328"/>
                    </a:lnTo>
                    <a:lnTo>
                      <a:pt x="400" y="320"/>
                    </a:lnTo>
                    <a:lnTo>
                      <a:pt x="400" y="328"/>
                    </a:lnTo>
                    <a:lnTo>
                      <a:pt x="392" y="320"/>
                    </a:lnTo>
                    <a:lnTo>
                      <a:pt x="384" y="320"/>
                    </a:lnTo>
                    <a:lnTo>
                      <a:pt x="376" y="320"/>
                    </a:lnTo>
                    <a:lnTo>
                      <a:pt x="376" y="312"/>
                    </a:lnTo>
                    <a:lnTo>
                      <a:pt x="376" y="320"/>
                    </a:lnTo>
                    <a:lnTo>
                      <a:pt x="384" y="320"/>
                    </a:lnTo>
                    <a:lnTo>
                      <a:pt x="376" y="320"/>
                    </a:lnTo>
                    <a:lnTo>
                      <a:pt x="368" y="320"/>
                    </a:lnTo>
                    <a:lnTo>
                      <a:pt x="368" y="328"/>
                    </a:lnTo>
                    <a:lnTo>
                      <a:pt x="376" y="328"/>
                    </a:lnTo>
                    <a:lnTo>
                      <a:pt x="384" y="328"/>
                    </a:lnTo>
                    <a:lnTo>
                      <a:pt x="384" y="320"/>
                    </a:lnTo>
                    <a:lnTo>
                      <a:pt x="384" y="328"/>
                    </a:lnTo>
                    <a:lnTo>
                      <a:pt x="392" y="328"/>
                    </a:lnTo>
                    <a:lnTo>
                      <a:pt x="392" y="336"/>
                    </a:lnTo>
                    <a:lnTo>
                      <a:pt x="384" y="336"/>
                    </a:lnTo>
                    <a:lnTo>
                      <a:pt x="376" y="336"/>
                    </a:lnTo>
                    <a:lnTo>
                      <a:pt x="376" y="328"/>
                    </a:lnTo>
                    <a:lnTo>
                      <a:pt x="376" y="336"/>
                    </a:lnTo>
                    <a:lnTo>
                      <a:pt x="384" y="336"/>
                    </a:lnTo>
                    <a:lnTo>
                      <a:pt x="384" y="344"/>
                    </a:lnTo>
                    <a:lnTo>
                      <a:pt x="376" y="344"/>
                    </a:lnTo>
                    <a:lnTo>
                      <a:pt x="368" y="344"/>
                    </a:lnTo>
                    <a:lnTo>
                      <a:pt x="360" y="336"/>
                    </a:lnTo>
                    <a:lnTo>
                      <a:pt x="352" y="336"/>
                    </a:lnTo>
                    <a:lnTo>
                      <a:pt x="352" y="344"/>
                    </a:lnTo>
                    <a:lnTo>
                      <a:pt x="360" y="344"/>
                    </a:lnTo>
                    <a:lnTo>
                      <a:pt x="376" y="344"/>
                    </a:lnTo>
                    <a:lnTo>
                      <a:pt x="376" y="352"/>
                    </a:lnTo>
                    <a:lnTo>
                      <a:pt x="368" y="344"/>
                    </a:lnTo>
                    <a:lnTo>
                      <a:pt x="360" y="344"/>
                    </a:lnTo>
                    <a:lnTo>
                      <a:pt x="360" y="352"/>
                    </a:lnTo>
                    <a:lnTo>
                      <a:pt x="368" y="352"/>
                    </a:lnTo>
                    <a:lnTo>
                      <a:pt x="368" y="360"/>
                    </a:lnTo>
                    <a:lnTo>
                      <a:pt x="376" y="360"/>
                    </a:lnTo>
                    <a:lnTo>
                      <a:pt x="384" y="360"/>
                    </a:lnTo>
                    <a:lnTo>
                      <a:pt x="392" y="360"/>
                    </a:lnTo>
                    <a:lnTo>
                      <a:pt x="400" y="360"/>
                    </a:lnTo>
                    <a:lnTo>
                      <a:pt x="392" y="368"/>
                    </a:lnTo>
                    <a:lnTo>
                      <a:pt x="384" y="368"/>
                    </a:lnTo>
                    <a:lnTo>
                      <a:pt x="376" y="368"/>
                    </a:lnTo>
                    <a:lnTo>
                      <a:pt x="376" y="376"/>
                    </a:lnTo>
                    <a:lnTo>
                      <a:pt x="376" y="368"/>
                    </a:lnTo>
                    <a:lnTo>
                      <a:pt x="384" y="368"/>
                    </a:lnTo>
                    <a:lnTo>
                      <a:pt x="392" y="368"/>
                    </a:lnTo>
                    <a:lnTo>
                      <a:pt x="384" y="368"/>
                    </a:lnTo>
                    <a:lnTo>
                      <a:pt x="384" y="376"/>
                    </a:lnTo>
                    <a:lnTo>
                      <a:pt x="392" y="376"/>
                    </a:lnTo>
                    <a:lnTo>
                      <a:pt x="400" y="376"/>
                    </a:lnTo>
                    <a:lnTo>
                      <a:pt x="400" y="384"/>
                    </a:lnTo>
                    <a:lnTo>
                      <a:pt x="392" y="392"/>
                    </a:lnTo>
                    <a:lnTo>
                      <a:pt x="400" y="392"/>
                    </a:lnTo>
                    <a:lnTo>
                      <a:pt x="400" y="384"/>
                    </a:lnTo>
                    <a:lnTo>
                      <a:pt x="408" y="384"/>
                    </a:lnTo>
                    <a:lnTo>
                      <a:pt x="400" y="392"/>
                    </a:lnTo>
                    <a:lnTo>
                      <a:pt x="400" y="400"/>
                    </a:lnTo>
                    <a:lnTo>
                      <a:pt x="400" y="408"/>
                    </a:lnTo>
                    <a:lnTo>
                      <a:pt x="400" y="400"/>
                    </a:lnTo>
                    <a:lnTo>
                      <a:pt x="400" y="392"/>
                    </a:lnTo>
                    <a:lnTo>
                      <a:pt x="408" y="392"/>
                    </a:lnTo>
                    <a:lnTo>
                      <a:pt x="408" y="384"/>
                    </a:lnTo>
                    <a:lnTo>
                      <a:pt x="416" y="384"/>
                    </a:lnTo>
                    <a:lnTo>
                      <a:pt x="408" y="392"/>
                    </a:lnTo>
                    <a:lnTo>
                      <a:pt x="408" y="400"/>
                    </a:lnTo>
                    <a:lnTo>
                      <a:pt x="408" y="408"/>
                    </a:lnTo>
                    <a:lnTo>
                      <a:pt x="408" y="400"/>
                    </a:lnTo>
                    <a:lnTo>
                      <a:pt x="416" y="392"/>
                    </a:lnTo>
                    <a:lnTo>
                      <a:pt x="424" y="384"/>
                    </a:lnTo>
                    <a:lnTo>
                      <a:pt x="424" y="392"/>
                    </a:lnTo>
                    <a:lnTo>
                      <a:pt x="416" y="392"/>
                    </a:lnTo>
                    <a:lnTo>
                      <a:pt x="416" y="400"/>
                    </a:lnTo>
                    <a:lnTo>
                      <a:pt x="424" y="400"/>
                    </a:lnTo>
                    <a:lnTo>
                      <a:pt x="432" y="400"/>
                    </a:lnTo>
                    <a:lnTo>
                      <a:pt x="432" y="408"/>
                    </a:lnTo>
                    <a:lnTo>
                      <a:pt x="424" y="416"/>
                    </a:lnTo>
                    <a:lnTo>
                      <a:pt x="432" y="416"/>
                    </a:lnTo>
                    <a:lnTo>
                      <a:pt x="424" y="416"/>
                    </a:lnTo>
                    <a:lnTo>
                      <a:pt x="432" y="424"/>
                    </a:lnTo>
                    <a:lnTo>
                      <a:pt x="424" y="424"/>
                    </a:lnTo>
                    <a:lnTo>
                      <a:pt x="416" y="424"/>
                    </a:lnTo>
                    <a:lnTo>
                      <a:pt x="424" y="424"/>
                    </a:lnTo>
                    <a:lnTo>
                      <a:pt x="432" y="424"/>
                    </a:lnTo>
                    <a:lnTo>
                      <a:pt x="440" y="424"/>
                    </a:lnTo>
                    <a:lnTo>
                      <a:pt x="440" y="432"/>
                    </a:lnTo>
                    <a:lnTo>
                      <a:pt x="432" y="432"/>
                    </a:lnTo>
                    <a:lnTo>
                      <a:pt x="440" y="432"/>
                    </a:lnTo>
                    <a:lnTo>
                      <a:pt x="448" y="424"/>
                    </a:lnTo>
                    <a:lnTo>
                      <a:pt x="456" y="424"/>
                    </a:lnTo>
                    <a:lnTo>
                      <a:pt x="448" y="432"/>
                    </a:lnTo>
                    <a:lnTo>
                      <a:pt x="440" y="440"/>
                    </a:lnTo>
                    <a:lnTo>
                      <a:pt x="432" y="448"/>
                    </a:lnTo>
                    <a:lnTo>
                      <a:pt x="440" y="448"/>
                    </a:lnTo>
                    <a:lnTo>
                      <a:pt x="440" y="440"/>
                    </a:lnTo>
                    <a:lnTo>
                      <a:pt x="448" y="440"/>
                    </a:lnTo>
                    <a:lnTo>
                      <a:pt x="448" y="432"/>
                    </a:lnTo>
                    <a:lnTo>
                      <a:pt x="448" y="440"/>
                    </a:lnTo>
                    <a:lnTo>
                      <a:pt x="448" y="448"/>
                    </a:lnTo>
                    <a:lnTo>
                      <a:pt x="448" y="440"/>
                    </a:lnTo>
                    <a:lnTo>
                      <a:pt x="456" y="440"/>
                    </a:lnTo>
                    <a:lnTo>
                      <a:pt x="456" y="448"/>
                    </a:lnTo>
                    <a:lnTo>
                      <a:pt x="464" y="440"/>
                    </a:lnTo>
                    <a:lnTo>
                      <a:pt x="472" y="440"/>
                    </a:lnTo>
                    <a:lnTo>
                      <a:pt x="464" y="440"/>
                    </a:lnTo>
                    <a:lnTo>
                      <a:pt x="472" y="440"/>
                    </a:lnTo>
                    <a:lnTo>
                      <a:pt x="472" y="448"/>
                    </a:lnTo>
                    <a:lnTo>
                      <a:pt x="480" y="448"/>
                    </a:lnTo>
                    <a:lnTo>
                      <a:pt x="480" y="456"/>
                    </a:lnTo>
                    <a:lnTo>
                      <a:pt x="480" y="464"/>
                    </a:lnTo>
                    <a:lnTo>
                      <a:pt x="472" y="464"/>
                    </a:lnTo>
                    <a:lnTo>
                      <a:pt x="472" y="456"/>
                    </a:lnTo>
                    <a:lnTo>
                      <a:pt x="464" y="456"/>
                    </a:lnTo>
                    <a:lnTo>
                      <a:pt x="464" y="464"/>
                    </a:lnTo>
                    <a:lnTo>
                      <a:pt x="464" y="456"/>
                    </a:lnTo>
                    <a:lnTo>
                      <a:pt x="472" y="456"/>
                    </a:lnTo>
                    <a:lnTo>
                      <a:pt x="472" y="464"/>
                    </a:lnTo>
                    <a:lnTo>
                      <a:pt x="464" y="464"/>
                    </a:lnTo>
                    <a:lnTo>
                      <a:pt x="464" y="472"/>
                    </a:lnTo>
                    <a:lnTo>
                      <a:pt x="472" y="472"/>
                    </a:lnTo>
                    <a:lnTo>
                      <a:pt x="464" y="472"/>
                    </a:lnTo>
                    <a:lnTo>
                      <a:pt x="456" y="472"/>
                    </a:lnTo>
                    <a:lnTo>
                      <a:pt x="456" y="464"/>
                    </a:lnTo>
                    <a:lnTo>
                      <a:pt x="448" y="464"/>
                    </a:lnTo>
                    <a:lnTo>
                      <a:pt x="448" y="472"/>
                    </a:lnTo>
                    <a:lnTo>
                      <a:pt x="456" y="472"/>
                    </a:lnTo>
                    <a:lnTo>
                      <a:pt x="448" y="472"/>
                    </a:lnTo>
                    <a:lnTo>
                      <a:pt x="448" y="480"/>
                    </a:lnTo>
                    <a:lnTo>
                      <a:pt x="456" y="480"/>
                    </a:lnTo>
                    <a:lnTo>
                      <a:pt x="456" y="488"/>
                    </a:lnTo>
                    <a:lnTo>
                      <a:pt x="448" y="488"/>
                    </a:lnTo>
                    <a:lnTo>
                      <a:pt x="448" y="480"/>
                    </a:lnTo>
                    <a:lnTo>
                      <a:pt x="440" y="480"/>
                    </a:lnTo>
                    <a:lnTo>
                      <a:pt x="448" y="488"/>
                    </a:lnTo>
                    <a:lnTo>
                      <a:pt x="448" y="496"/>
                    </a:lnTo>
                    <a:lnTo>
                      <a:pt x="440" y="496"/>
                    </a:lnTo>
                    <a:lnTo>
                      <a:pt x="440" y="488"/>
                    </a:lnTo>
                    <a:lnTo>
                      <a:pt x="440" y="496"/>
                    </a:lnTo>
                    <a:lnTo>
                      <a:pt x="440" y="504"/>
                    </a:lnTo>
                    <a:lnTo>
                      <a:pt x="432" y="504"/>
                    </a:lnTo>
                    <a:lnTo>
                      <a:pt x="432" y="496"/>
                    </a:lnTo>
                    <a:lnTo>
                      <a:pt x="432" y="504"/>
                    </a:lnTo>
                    <a:lnTo>
                      <a:pt x="424" y="504"/>
                    </a:lnTo>
                    <a:lnTo>
                      <a:pt x="424" y="496"/>
                    </a:lnTo>
                    <a:lnTo>
                      <a:pt x="424" y="488"/>
                    </a:lnTo>
                    <a:lnTo>
                      <a:pt x="424" y="496"/>
                    </a:lnTo>
                    <a:lnTo>
                      <a:pt x="416" y="496"/>
                    </a:lnTo>
                    <a:lnTo>
                      <a:pt x="416" y="504"/>
                    </a:lnTo>
                    <a:lnTo>
                      <a:pt x="424" y="504"/>
                    </a:lnTo>
                    <a:lnTo>
                      <a:pt x="416" y="504"/>
                    </a:lnTo>
                    <a:lnTo>
                      <a:pt x="424" y="512"/>
                    </a:lnTo>
                    <a:lnTo>
                      <a:pt x="416" y="512"/>
                    </a:lnTo>
                    <a:lnTo>
                      <a:pt x="416" y="520"/>
                    </a:lnTo>
                    <a:lnTo>
                      <a:pt x="416" y="528"/>
                    </a:lnTo>
                    <a:lnTo>
                      <a:pt x="408" y="536"/>
                    </a:lnTo>
                    <a:lnTo>
                      <a:pt x="408" y="528"/>
                    </a:lnTo>
                    <a:lnTo>
                      <a:pt x="408" y="520"/>
                    </a:lnTo>
                    <a:lnTo>
                      <a:pt x="400" y="520"/>
                    </a:lnTo>
                    <a:lnTo>
                      <a:pt x="400" y="528"/>
                    </a:lnTo>
                    <a:lnTo>
                      <a:pt x="400" y="520"/>
                    </a:lnTo>
                    <a:lnTo>
                      <a:pt x="400" y="512"/>
                    </a:lnTo>
                    <a:lnTo>
                      <a:pt x="392" y="520"/>
                    </a:lnTo>
                    <a:lnTo>
                      <a:pt x="392" y="512"/>
                    </a:lnTo>
                    <a:lnTo>
                      <a:pt x="392" y="504"/>
                    </a:lnTo>
                    <a:lnTo>
                      <a:pt x="400" y="504"/>
                    </a:lnTo>
                    <a:lnTo>
                      <a:pt x="392" y="504"/>
                    </a:lnTo>
                    <a:lnTo>
                      <a:pt x="384" y="504"/>
                    </a:lnTo>
                    <a:lnTo>
                      <a:pt x="384" y="496"/>
                    </a:lnTo>
                    <a:lnTo>
                      <a:pt x="392" y="496"/>
                    </a:lnTo>
                    <a:lnTo>
                      <a:pt x="384" y="496"/>
                    </a:lnTo>
                    <a:lnTo>
                      <a:pt x="384" y="488"/>
                    </a:lnTo>
                    <a:lnTo>
                      <a:pt x="392" y="488"/>
                    </a:lnTo>
                    <a:lnTo>
                      <a:pt x="384" y="488"/>
                    </a:lnTo>
                    <a:lnTo>
                      <a:pt x="392" y="480"/>
                    </a:lnTo>
                    <a:lnTo>
                      <a:pt x="400" y="480"/>
                    </a:lnTo>
                    <a:lnTo>
                      <a:pt x="400" y="472"/>
                    </a:lnTo>
                    <a:lnTo>
                      <a:pt x="408" y="472"/>
                    </a:lnTo>
                    <a:lnTo>
                      <a:pt x="408" y="464"/>
                    </a:lnTo>
                    <a:lnTo>
                      <a:pt x="400" y="464"/>
                    </a:lnTo>
                    <a:lnTo>
                      <a:pt x="400" y="472"/>
                    </a:lnTo>
                    <a:lnTo>
                      <a:pt x="392" y="472"/>
                    </a:lnTo>
                    <a:lnTo>
                      <a:pt x="384" y="480"/>
                    </a:lnTo>
                    <a:lnTo>
                      <a:pt x="376" y="480"/>
                    </a:lnTo>
                    <a:lnTo>
                      <a:pt x="384" y="472"/>
                    </a:lnTo>
                    <a:lnTo>
                      <a:pt x="384" y="464"/>
                    </a:lnTo>
                    <a:lnTo>
                      <a:pt x="392" y="464"/>
                    </a:lnTo>
                    <a:lnTo>
                      <a:pt x="384" y="464"/>
                    </a:lnTo>
                    <a:lnTo>
                      <a:pt x="376" y="472"/>
                    </a:lnTo>
                    <a:lnTo>
                      <a:pt x="368" y="472"/>
                    </a:lnTo>
                    <a:lnTo>
                      <a:pt x="368" y="464"/>
                    </a:lnTo>
                    <a:lnTo>
                      <a:pt x="368" y="456"/>
                    </a:lnTo>
                    <a:lnTo>
                      <a:pt x="368" y="448"/>
                    </a:lnTo>
                    <a:lnTo>
                      <a:pt x="360" y="448"/>
                    </a:lnTo>
                    <a:lnTo>
                      <a:pt x="360" y="456"/>
                    </a:lnTo>
                    <a:lnTo>
                      <a:pt x="360" y="448"/>
                    </a:lnTo>
                    <a:lnTo>
                      <a:pt x="352" y="448"/>
                    </a:lnTo>
                    <a:lnTo>
                      <a:pt x="360" y="456"/>
                    </a:lnTo>
                    <a:lnTo>
                      <a:pt x="352" y="456"/>
                    </a:lnTo>
                    <a:lnTo>
                      <a:pt x="352" y="464"/>
                    </a:lnTo>
                    <a:lnTo>
                      <a:pt x="352" y="456"/>
                    </a:lnTo>
                    <a:lnTo>
                      <a:pt x="344" y="456"/>
                    </a:lnTo>
                    <a:lnTo>
                      <a:pt x="344" y="464"/>
                    </a:lnTo>
                    <a:lnTo>
                      <a:pt x="352" y="464"/>
                    </a:lnTo>
                    <a:lnTo>
                      <a:pt x="352" y="472"/>
                    </a:lnTo>
                    <a:lnTo>
                      <a:pt x="352" y="480"/>
                    </a:lnTo>
                    <a:lnTo>
                      <a:pt x="344" y="480"/>
                    </a:lnTo>
                    <a:lnTo>
                      <a:pt x="344" y="472"/>
                    </a:lnTo>
                    <a:lnTo>
                      <a:pt x="344" y="480"/>
                    </a:lnTo>
                    <a:lnTo>
                      <a:pt x="336" y="472"/>
                    </a:lnTo>
                    <a:lnTo>
                      <a:pt x="336" y="464"/>
                    </a:lnTo>
                    <a:lnTo>
                      <a:pt x="328" y="464"/>
                    </a:lnTo>
                    <a:lnTo>
                      <a:pt x="328" y="456"/>
                    </a:lnTo>
                    <a:lnTo>
                      <a:pt x="320" y="464"/>
                    </a:lnTo>
                    <a:lnTo>
                      <a:pt x="312" y="456"/>
                    </a:lnTo>
                    <a:lnTo>
                      <a:pt x="320" y="464"/>
                    </a:lnTo>
                    <a:lnTo>
                      <a:pt x="328" y="464"/>
                    </a:lnTo>
                    <a:lnTo>
                      <a:pt x="328" y="472"/>
                    </a:lnTo>
                    <a:lnTo>
                      <a:pt x="328" y="480"/>
                    </a:lnTo>
                    <a:lnTo>
                      <a:pt x="336" y="480"/>
                    </a:lnTo>
                    <a:lnTo>
                      <a:pt x="328" y="480"/>
                    </a:lnTo>
                    <a:lnTo>
                      <a:pt x="336" y="480"/>
                    </a:lnTo>
                    <a:lnTo>
                      <a:pt x="336" y="488"/>
                    </a:lnTo>
                    <a:lnTo>
                      <a:pt x="328" y="496"/>
                    </a:lnTo>
                    <a:lnTo>
                      <a:pt x="336" y="496"/>
                    </a:lnTo>
                    <a:lnTo>
                      <a:pt x="336" y="488"/>
                    </a:lnTo>
                    <a:lnTo>
                      <a:pt x="344" y="488"/>
                    </a:lnTo>
                    <a:lnTo>
                      <a:pt x="344" y="496"/>
                    </a:lnTo>
                    <a:lnTo>
                      <a:pt x="336" y="496"/>
                    </a:lnTo>
                    <a:lnTo>
                      <a:pt x="344" y="504"/>
                    </a:lnTo>
                    <a:lnTo>
                      <a:pt x="336" y="504"/>
                    </a:lnTo>
                    <a:lnTo>
                      <a:pt x="344" y="512"/>
                    </a:lnTo>
                    <a:lnTo>
                      <a:pt x="344" y="520"/>
                    </a:lnTo>
                    <a:lnTo>
                      <a:pt x="344" y="528"/>
                    </a:lnTo>
                    <a:lnTo>
                      <a:pt x="352" y="528"/>
                    </a:lnTo>
                    <a:lnTo>
                      <a:pt x="352" y="520"/>
                    </a:lnTo>
                    <a:lnTo>
                      <a:pt x="352" y="528"/>
                    </a:lnTo>
                    <a:lnTo>
                      <a:pt x="360" y="528"/>
                    </a:lnTo>
                    <a:lnTo>
                      <a:pt x="352" y="536"/>
                    </a:lnTo>
                    <a:lnTo>
                      <a:pt x="360" y="536"/>
                    </a:lnTo>
                    <a:lnTo>
                      <a:pt x="360" y="528"/>
                    </a:lnTo>
                    <a:lnTo>
                      <a:pt x="368" y="528"/>
                    </a:lnTo>
                    <a:lnTo>
                      <a:pt x="368" y="536"/>
                    </a:lnTo>
                    <a:lnTo>
                      <a:pt x="368" y="544"/>
                    </a:lnTo>
                    <a:lnTo>
                      <a:pt x="360" y="544"/>
                    </a:lnTo>
                    <a:lnTo>
                      <a:pt x="368" y="544"/>
                    </a:lnTo>
                    <a:lnTo>
                      <a:pt x="376" y="544"/>
                    </a:lnTo>
                    <a:lnTo>
                      <a:pt x="368" y="552"/>
                    </a:lnTo>
                    <a:lnTo>
                      <a:pt x="368" y="560"/>
                    </a:lnTo>
                    <a:lnTo>
                      <a:pt x="368" y="568"/>
                    </a:lnTo>
                    <a:lnTo>
                      <a:pt x="376" y="568"/>
                    </a:lnTo>
                    <a:lnTo>
                      <a:pt x="376" y="576"/>
                    </a:lnTo>
                    <a:lnTo>
                      <a:pt x="384" y="584"/>
                    </a:lnTo>
                    <a:lnTo>
                      <a:pt x="376" y="584"/>
                    </a:lnTo>
                    <a:lnTo>
                      <a:pt x="376" y="592"/>
                    </a:lnTo>
                    <a:lnTo>
                      <a:pt x="376" y="600"/>
                    </a:lnTo>
                    <a:lnTo>
                      <a:pt x="368" y="592"/>
                    </a:lnTo>
                    <a:lnTo>
                      <a:pt x="368" y="584"/>
                    </a:lnTo>
                    <a:lnTo>
                      <a:pt x="368" y="576"/>
                    </a:lnTo>
                    <a:lnTo>
                      <a:pt x="368" y="584"/>
                    </a:lnTo>
                    <a:lnTo>
                      <a:pt x="360" y="592"/>
                    </a:lnTo>
                    <a:lnTo>
                      <a:pt x="368" y="600"/>
                    </a:lnTo>
                    <a:lnTo>
                      <a:pt x="368" y="608"/>
                    </a:lnTo>
                    <a:lnTo>
                      <a:pt x="368" y="616"/>
                    </a:lnTo>
                    <a:lnTo>
                      <a:pt x="360" y="616"/>
                    </a:lnTo>
                    <a:lnTo>
                      <a:pt x="360" y="608"/>
                    </a:lnTo>
                    <a:lnTo>
                      <a:pt x="352" y="608"/>
                    </a:lnTo>
                    <a:lnTo>
                      <a:pt x="360" y="624"/>
                    </a:lnTo>
                    <a:lnTo>
                      <a:pt x="360" y="632"/>
                    </a:lnTo>
                    <a:lnTo>
                      <a:pt x="352" y="632"/>
                    </a:lnTo>
                    <a:lnTo>
                      <a:pt x="352" y="624"/>
                    </a:lnTo>
                    <a:lnTo>
                      <a:pt x="352" y="616"/>
                    </a:lnTo>
                    <a:lnTo>
                      <a:pt x="344" y="616"/>
                    </a:lnTo>
                    <a:lnTo>
                      <a:pt x="344" y="608"/>
                    </a:lnTo>
                    <a:lnTo>
                      <a:pt x="336" y="600"/>
                    </a:lnTo>
                    <a:lnTo>
                      <a:pt x="336" y="608"/>
                    </a:lnTo>
                    <a:lnTo>
                      <a:pt x="328" y="608"/>
                    </a:lnTo>
                    <a:lnTo>
                      <a:pt x="328" y="600"/>
                    </a:lnTo>
                    <a:lnTo>
                      <a:pt x="328" y="592"/>
                    </a:lnTo>
                    <a:lnTo>
                      <a:pt x="328" y="584"/>
                    </a:lnTo>
                    <a:lnTo>
                      <a:pt x="328" y="592"/>
                    </a:lnTo>
                    <a:lnTo>
                      <a:pt x="328" y="600"/>
                    </a:lnTo>
                    <a:lnTo>
                      <a:pt x="328" y="608"/>
                    </a:lnTo>
                    <a:lnTo>
                      <a:pt x="320" y="600"/>
                    </a:lnTo>
                    <a:lnTo>
                      <a:pt x="320" y="592"/>
                    </a:lnTo>
                    <a:lnTo>
                      <a:pt x="312" y="584"/>
                    </a:lnTo>
                    <a:lnTo>
                      <a:pt x="312" y="576"/>
                    </a:lnTo>
                    <a:lnTo>
                      <a:pt x="304" y="576"/>
                    </a:lnTo>
                    <a:lnTo>
                      <a:pt x="312" y="584"/>
                    </a:lnTo>
                    <a:lnTo>
                      <a:pt x="312" y="592"/>
                    </a:lnTo>
                    <a:lnTo>
                      <a:pt x="304" y="584"/>
                    </a:lnTo>
                    <a:lnTo>
                      <a:pt x="296" y="576"/>
                    </a:lnTo>
                    <a:lnTo>
                      <a:pt x="296" y="568"/>
                    </a:lnTo>
                    <a:lnTo>
                      <a:pt x="288" y="568"/>
                    </a:lnTo>
                    <a:lnTo>
                      <a:pt x="288" y="576"/>
                    </a:lnTo>
                    <a:lnTo>
                      <a:pt x="296" y="584"/>
                    </a:lnTo>
                    <a:lnTo>
                      <a:pt x="296" y="592"/>
                    </a:lnTo>
                    <a:lnTo>
                      <a:pt x="296" y="600"/>
                    </a:lnTo>
                    <a:lnTo>
                      <a:pt x="296" y="592"/>
                    </a:lnTo>
                    <a:lnTo>
                      <a:pt x="304" y="600"/>
                    </a:lnTo>
                    <a:lnTo>
                      <a:pt x="312" y="600"/>
                    </a:lnTo>
                    <a:lnTo>
                      <a:pt x="304" y="608"/>
                    </a:lnTo>
                    <a:lnTo>
                      <a:pt x="312" y="608"/>
                    </a:lnTo>
                    <a:lnTo>
                      <a:pt x="312" y="616"/>
                    </a:lnTo>
                    <a:lnTo>
                      <a:pt x="320" y="616"/>
                    </a:lnTo>
                    <a:lnTo>
                      <a:pt x="320" y="624"/>
                    </a:lnTo>
                    <a:lnTo>
                      <a:pt x="320" y="632"/>
                    </a:lnTo>
                    <a:lnTo>
                      <a:pt x="328" y="632"/>
                    </a:lnTo>
                    <a:lnTo>
                      <a:pt x="328" y="640"/>
                    </a:lnTo>
                    <a:lnTo>
                      <a:pt x="328" y="648"/>
                    </a:lnTo>
                    <a:lnTo>
                      <a:pt x="328" y="640"/>
                    </a:lnTo>
                    <a:lnTo>
                      <a:pt x="328" y="648"/>
                    </a:lnTo>
                    <a:lnTo>
                      <a:pt x="328" y="65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09" name="Freeform 188"/>
              <p:cNvSpPr>
                <a:spLocks/>
              </p:cNvSpPr>
              <p:nvPr/>
            </p:nvSpPr>
            <p:spPr bwMode="auto">
              <a:xfrm>
                <a:off x="5664200" y="3657600"/>
                <a:ext cx="241300" cy="266700"/>
              </a:xfrm>
              <a:custGeom>
                <a:avLst/>
                <a:gdLst>
                  <a:gd name="T0" fmla="*/ 56 w 152"/>
                  <a:gd name="T1" fmla="*/ 40 h 168"/>
                  <a:gd name="T2" fmla="*/ 48 w 152"/>
                  <a:gd name="T3" fmla="*/ 64 h 168"/>
                  <a:gd name="T4" fmla="*/ 40 w 152"/>
                  <a:gd name="T5" fmla="*/ 64 h 168"/>
                  <a:gd name="T6" fmla="*/ 40 w 152"/>
                  <a:gd name="T7" fmla="*/ 80 h 168"/>
                  <a:gd name="T8" fmla="*/ 24 w 152"/>
                  <a:gd name="T9" fmla="*/ 96 h 168"/>
                  <a:gd name="T10" fmla="*/ 16 w 152"/>
                  <a:gd name="T11" fmla="*/ 88 h 168"/>
                  <a:gd name="T12" fmla="*/ 24 w 152"/>
                  <a:gd name="T13" fmla="*/ 104 h 168"/>
                  <a:gd name="T14" fmla="*/ 8 w 152"/>
                  <a:gd name="T15" fmla="*/ 120 h 168"/>
                  <a:gd name="T16" fmla="*/ 16 w 152"/>
                  <a:gd name="T17" fmla="*/ 128 h 168"/>
                  <a:gd name="T18" fmla="*/ 32 w 152"/>
                  <a:gd name="T19" fmla="*/ 128 h 168"/>
                  <a:gd name="T20" fmla="*/ 56 w 152"/>
                  <a:gd name="T21" fmla="*/ 136 h 168"/>
                  <a:gd name="T22" fmla="*/ 72 w 152"/>
                  <a:gd name="T23" fmla="*/ 120 h 168"/>
                  <a:gd name="T24" fmla="*/ 80 w 152"/>
                  <a:gd name="T25" fmla="*/ 120 h 168"/>
                  <a:gd name="T26" fmla="*/ 80 w 152"/>
                  <a:gd name="T27" fmla="*/ 136 h 168"/>
                  <a:gd name="T28" fmla="*/ 96 w 152"/>
                  <a:gd name="T29" fmla="*/ 136 h 168"/>
                  <a:gd name="T30" fmla="*/ 96 w 152"/>
                  <a:gd name="T31" fmla="*/ 136 h 168"/>
                  <a:gd name="T32" fmla="*/ 72 w 152"/>
                  <a:gd name="T33" fmla="*/ 152 h 168"/>
                  <a:gd name="T34" fmla="*/ 88 w 152"/>
                  <a:gd name="T35" fmla="*/ 160 h 168"/>
                  <a:gd name="T36" fmla="*/ 104 w 152"/>
                  <a:gd name="T37" fmla="*/ 136 h 168"/>
                  <a:gd name="T38" fmla="*/ 112 w 152"/>
                  <a:gd name="T39" fmla="*/ 136 h 168"/>
                  <a:gd name="T40" fmla="*/ 120 w 152"/>
                  <a:gd name="T41" fmla="*/ 128 h 168"/>
                  <a:gd name="T42" fmla="*/ 112 w 152"/>
                  <a:gd name="T43" fmla="*/ 160 h 168"/>
                  <a:gd name="T44" fmla="*/ 128 w 152"/>
                  <a:gd name="T45" fmla="*/ 144 h 168"/>
                  <a:gd name="T46" fmla="*/ 128 w 152"/>
                  <a:gd name="T47" fmla="*/ 160 h 168"/>
                  <a:gd name="T48" fmla="*/ 144 w 152"/>
                  <a:gd name="T49" fmla="*/ 168 h 168"/>
                  <a:gd name="T50" fmla="*/ 152 w 152"/>
                  <a:gd name="T51" fmla="*/ 144 h 168"/>
                  <a:gd name="T52" fmla="*/ 144 w 152"/>
                  <a:gd name="T53" fmla="*/ 136 h 168"/>
                  <a:gd name="T54" fmla="*/ 152 w 152"/>
                  <a:gd name="T55" fmla="*/ 120 h 168"/>
                  <a:gd name="T56" fmla="*/ 128 w 152"/>
                  <a:gd name="T57" fmla="*/ 136 h 168"/>
                  <a:gd name="T58" fmla="*/ 128 w 152"/>
                  <a:gd name="T59" fmla="*/ 120 h 168"/>
                  <a:gd name="T60" fmla="*/ 144 w 152"/>
                  <a:gd name="T61" fmla="*/ 104 h 168"/>
                  <a:gd name="T62" fmla="*/ 144 w 152"/>
                  <a:gd name="T63" fmla="*/ 104 h 168"/>
                  <a:gd name="T64" fmla="*/ 128 w 152"/>
                  <a:gd name="T65" fmla="*/ 104 h 168"/>
                  <a:gd name="T66" fmla="*/ 120 w 152"/>
                  <a:gd name="T67" fmla="*/ 112 h 168"/>
                  <a:gd name="T68" fmla="*/ 128 w 152"/>
                  <a:gd name="T69" fmla="*/ 96 h 168"/>
                  <a:gd name="T70" fmla="*/ 144 w 152"/>
                  <a:gd name="T71" fmla="*/ 80 h 168"/>
                  <a:gd name="T72" fmla="*/ 120 w 152"/>
                  <a:gd name="T73" fmla="*/ 80 h 168"/>
                  <a:gd name="T74" fmla="*/ 120 w 152"/>
                  <a:gd name="T75" fmla="*/ 80 h 168"/>
                  <a:gd name="T76" fmla="*/ 104 w 152"/>
                  <a:gd name="T77" fmla="*/ 80 h 168"/>
                  <a:gd name="T78" fmla="*/ 96 w 152"/>
                  <a:gd name="T79" fmla="*/ 72 h 168"/>
                  <a:gd name="T80" fmla="*/ 88 w 152"/>
                  <a:gd name="T81" fmla="*/ 80 h 168"/>
                  <a:gd name="T82" fmla="*/ 88 w 152"/>
                  <a:gd name="T83" fmla="*/ 64 h 168"/>
                  <a:gd name="T84" fmla="*/ 96 w 152"/>
                  <a:gd name="T85" fmla="*/ 56 h 168"/>
                  <a:gd name="T86" fmla="*/ 88 w 152"/>
                  <a:gd name="T87" fmla="*/ 48 h 168"/>
                  <a:gd name="T88" fmla="*/ 72 w 152"/>
                  <a:gd name="T89" fmla="*/ 64 h 168"/>
                  <a:gd name="T90" fmla="*/ 80 w 152"/>
                  <a:gd name="T91" fmla="*/ 40 h 168"/>
                  <a:gd name="T92" fmla="*/ 88 w 152"/>
                  <a:gd name="T93" fmla="*/ 24 h 168"/>
                  <a:gd name="T94" fmla="*/ 96 w 152"/>
                  <a:gd name="T95" fmla="*/ 16 h 168"/>
                  <a:gd name="T96" fmla="*/ 112 w 152"/>
                  <a:gd name="T97" fmla="*/ 0 h 168"/>
                  <a:gd name="T98" fmla="*/ 96 w 152"/>
                  <a:gd name="T99" fmla="*/ 0 h 168"/>
                  <a:gd name="T100" fmla="*/ 72 w 152"/>
                  <a:gd name="T101" fmla="*/ 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2" h="168">
                    <a:moveTo>
                      <a:pt x="72" y="24"/>
                    </a:moveTo>
                    <a:lnTo>
                      <a:pt x="64" y="32"/>
                    </a:lnTo>
                    <a:lnTo>
                      <a:pt x="64" y="40"/>
                    </a:lnTo>
                    <a:lnTo>
                      <a:pt x="56" y="40"/>
                    </a:lnTo>
                    <a:lnTo>
                      <a:pt x="56" y="48"/>
                    </a:lnTo>
                    <a:lnTo>
                      <a:pt x="48" y="48"/>
                    </a:lnTo>
                    <a:lnTo>
                      <a:pt x="48" y="56"/>
                    </a:lnTo>
                    <a:lnTo>
                      <a:pt x="48" y="64"/>
                    </a:lnTo>
                    <a:lnTo>
                      <a:pt x="40" y="64"/>
                    </a:lnTo>
                    <a:lnTo>
                      <a:pt x="48" y="64"/>
                    </a:lnTo>
                    <a:lnTo>
                      <a:pt x="48" y="72"/>
                    </a:lnTo>
                    <a:lnTo>
                      <a:pt x="40" y="64"/>
                    </a:lnTo>
                    <a:lnTo>
                      <a:pt x="40" y="72"/>
                    </a:lnTo>
                    <a:lnTo>
                      <a:pt x="32" y="72"/>
                    </a:lnTo>
                    <a:lnTo>
                      <a:pt x="40" y="72"/>
                    </a:lnTo>
                    <a:lnTo>
                      <a:pt x="40" y="80"/>
                    </a:lnTo>
                    <a:lnTo>
                      <a:pt x="32" y="80"/>
                    </a:lnTo>
                    <a:lnTo>
                      <a:pt x="32" y="88"/>
                    </a:lnTo>
                    <a:lnTo>
                      <a:pt x="24" y="88"/>
                    </a:lnTo>
                    <a:lnTo>
                      <a:pt x="24" y="96"/>
                    </a:lnTo>
                    <a:lnTo>
                      <a:pt x="16" y="96"/>
                    </a:lnTo>
                    <a:lnTo>
                      <a:pt x="16" y="88"/>
                    </a:lnTo>
                    <a:lnTo>
                      <a:pt x="24" y="88"/>
                    </a:lnTo>
                    <a:lnTo>
                      <a:pt x="16" y="88"/>
                    </a:lnTo>
                    <a:lnTo>
                      <a:pt x="8" y="96"/>
                    </a:lnTo>
                    <a:lnTo>
                      <a:pt x="16" y="96"/>
                    </a:lnTo>
                    <a:lnTo>
                      <a:pt x="24" y="96"/>
                    </a:lnTo>
                    <a:lnTo>
                      <a:pt x="24" y="104"/>
                    </a:lnTo>
                    <a:lnTo>
                      <a:pt x="16" y="104"/>
                    </a:lnTo>
                    <a:lnTo>
                      <a:pt x="16" y="112"/>
                    </a:lnTo>
                    <a:lnTo>
                      <a:pt x="8" y="112"/>
                    </a:lnTo>
                    <a:lnTo>
                      <a:pt x="8" y="120"/>
                    </a:lnTo>
                    <a:lnTo>
                      <a:pt x="0" y="120"/>
                    </a:lnTo>
                    <a:lnTo>
                      <a:pt x="0" y="128"/>
                    </a:lnTo>
                    <a:lnTo>
                      <a:pt x="8" y="128"/>
                    </a:lnTo>
                    <a:lnTo>
                      <a:pt x="16" y="128"/>
                    </a:lnTo>
                    <a:lnTo>
                      <a:pt x="24" y="128"/>
                    </a:lnTo>
                    <a:lnTo>
                      <a:pt x="24" y="120"/>
                    </a:lnTo>
                    <a:lnTo>
                      <a:pt x="24" y="128"/>
                    </a:lnTo>
                    <a:lnTo>
                      <a:pt x="32" y="128"/>
                    </a:lnTo>
                    <a:lnTo>
                      <a:pt x="40" y="128"/>
                    </a:lnTo>
                    <a:lnTo>
                      <a:pt x="48" y="128"/>
                    </a:lnTo>
                    <a:lnTo>
                      <a:pt x="56" y="128"/>
                    </a:lnTo>
                    <a:lnTo>
                      <a:pt x="56" y="136"/>
                    </a:lnTo>
                    <a:lnTo>
                      <a:pt x="56" y="128"/>
                    </a:lnTo>
                    <a:lnTo>
                      <a:pt x="64" y="128"/>
                    </a:lnTo>
                    <a:lnTo>
                      <a:pt x="72" y="128"/>
                    </a:lnTo>
                    <a:lnTo>
                      <a:pt x="72" y="120"/>
                    </a:lnTo>
                    <a:lnTo>
                      <a:pt x="80" y="120"/>
                    </a:lnTo>
                    <a:lnTo>
                      <a:pt x="72" y="128"/>
                    </a:lnTo>
                    <a:lnTo>
                      <a:pt x="80" y="128"/>
                    </a:lnTo>
                    <a:lnTo>
                      <a:pt x="80" y="120"/>
                    </a:lnTo>
                    <a:lnTo>
                      <a:pt x="80" y="128"/>
                    </a:lnTo>
                    <a:lnTo>
                      <a:pt x="80" y="136"/>
                    </a:lnTo>
                    <a:lnTo>
                      <a:pt x="72" y="136"/>
                    </a:lnTo>
                    <a:lnTo>
                      <a:pt x="80" y="136"/>
                    </a:lnTo>
                    <a:lnTo>
                      <a:pt x="88" y="136"/>
                    </a:lnTo>
                    <a:lnTo>
                      <a:pt x="88" y="128"/>
                    </a:lnTo>
                    <a:lnTo>
                      <a:pt x="96" y="128"/>
                    </a:lnTo>
                    <a:lnTo>
                      <a:pt x="96" y="136"/>
                    </a:lnTo>
                    <a:lnTo>
                      <a:pt x="104" y="136"/>
                    </a:lnTo>
                    <a:lnTo>
                      <a:pt x="104" y="128"/>
                    </a:lnTo>
                    <a:lnTo>
                      <a:pt x="104" y="136"/>
                    </a:lnTo>
                    <a:lnTo>
                      <a:pt x="96" y="136"/>
                    </a:lnTo>
                    <a:lnTo>
                      <a:pt x="88" y="144"/>
                    </a:lnTo>
                    <a:lnTo>
                      <a:pt x="80" y="144"/>
                    </a:lnTo>
                    <a:lnTo>
                      <a:pt x="80" y="152"/>
                    </a:lnTo>
                    <a:lnTo>
                      <a:pt x="72" y="152"/>
                    </a:lnTo>
                    <a:lnTo>
                      <a:pt x="80" y="160"/>
                    </a:lnTo>
                    <a:lnTo>
                      <a:pt x="80" y="152"/>
                    </a:lnTo>
                    <a:lnTo>
                      <a:pt x="88" y="152"/>
                    </a:lnTo>
                    <a:lnTo>
                      <a:pt x="88" y="160"/>
                    </a:lnTo>
                    <a:lnTo>
                      <a:pt x="88" y="152"/>
                    </a:lnTo>
                    <a:lnTo>
                      <a:pt x="96" y="152"/>
                    </a:lnTo>
                    <a:lnTo>
                      <a:pt x="96" y="144"/>
                    </a:lnTo>
                    <a:lnTo>
                      <a:pt x="104" y="136"/>
                    </a:lnTo>
                    <a:lnTo>
                      <a:pt x="112" y="136"/>
                    </a:lnTo>
                    <a:lnTo>
                      <a:pt x="104" y="144"/>
                    </a:lnTo>
                    <a:lnTo>
                      <a:pt x="112" y="144"/>
                    </a:lnTo>
                    <a:lnTo>
                      <a:pt x="112" y="136"/>
                    </a:lnTo>
                    <a:lnTo>
                      <a:pt x="112" y="128"/>
                    </a:lnTo>
                    <a:lnTo>
                      <a:pt x="112" y="120"/>
                    </a:lnTo>
                    <a:lnTo>
                      <a:pt x="120" y="120"/>
                    </a:lnTo>
                    <a:lnTo>
                      <a:pt x="120" y="128"/>
                    </a:lnTo>
                    <a:lnTo>
                      <a:pt x="120" y="136"/>
                    </a:lnTo>
                    <a:lnTo>
                      <a:pt x="120" y="144"/>
                    </a:lnTo>
                    <a:lnTo>
                      <a:pt x="112" y="152"/>
                    </a:lnTo>
                    <a:lnTo>
                      <a:pt x="112" y="160"/>
                    </a:lnTo>
                    <a:lnTo>
                      <a:pt x="120" y="160"/>
                    </a:lnTo>
                    <a:lnTo>
                      <a:pt x="120" y="152"/>
                    </a:lnTo>
                    <a:lnTo>
                      <a:pt x="128" y="152"/>
                    </a:lnTo>
                    <a:lnTo>
                      <a:pt x="128" y="144"/>
                    </a:lnTo>
                    <a:lnTo>
                      <a:pt x="136" y="144"/>
                    </a:lnTo>
                    <a:lnTo>
                      <a:pt x="136" y="152"/>
                    </a:lnTo>
                    <a:lnTo>
                      <a:pt x="128" y="152"/>
                    </a:lnTo>
                    <a:lnTo>
                      <a:pt x="128" y="160"/>
                    </a:lnTo>
                    <a:lnTo>
                      <a:pt x="128" y="168"/>
                    </a:lnTo>
                    <a:lnTo>
                      <a:pt x="136" y="160"/>
                    </a:lnTo>
                    <a:lnTo>
                      <a:pt x="136" y="168"/>
                    </a:lnTo>
                    <a:lnTo>
                      <a:pt x="144" y="168"/>
                    </a:lnTo>
                    <a:lnTo>
                      <a:pt x="144" y="160"/>
                    </a:lnTo>
                    <a:lnTo>
                      <a:pt x="144" y="152"/>
                    </a:lnTo>
                    <a:lnTo>
                      <a:pt x="144" y="144"/>
                    </a:lnTo>
                    <a:lnTo>
                      <a:pt x="152" y="144"/>
                    </a:lnTo>
                    <a:lnTo>
                      <a:pt x="152" y="136"/>
                    </a:lnTo>
                    <a:lnTo>
                      <a:pt x="152" y="128"/>
                    </a:lnTo>
                    <a:lnTo>
                      <a:pt x="152" y="136"/>
                    </a:lnTo>
                    <a:lnTo>
                      <a:pt x="144" y="136"/>
                    </a:lnTo>
                    <a:lnTo>
                      <a:pt x="136" y="136"/>
                    </a:lnTo>
                    <a:lnTo>
                      <a:pt x="144" y="136"/>
                    </a:lnTo>
                    <a:lnTo>
                      <a:pt x="144" y="128"/>
                    </a:lnTo>
                    <a:lnTo>
                      <a:pt x="152" y="120"/>
                    </a:lnTo>
                    <a:lnTo>
                      <a:pt x="144" y="120"/>
                    </a:lnTo>
                    <a:lnTo>
                      <a:pt x="136" y="128"/>
                    </a:lnTo>
                    <a:lnTo>
                      <a:pt x="136" y="136"/>
                    </a:lnTo>
                    <a:lnTo>
                      <a:pt x="128" y="136"/>
                    </a:lnTo>
                    <a:lnTo>
                      <a:pt x="128" y="128"/>
                    </a:lnTo>
                    <a:lnTo>
                      <a:pt x="128" y="120"/>
                    </a:lnTo>
                    <a:lnTo>
                      <a:pt x="128" y="128"/>
                    </a:lnTo>
                    <a:lnTo>
                      <a:pt x="128" y="120"/>
                    </a:lnTo>
                    <a:lnTo>
                      <a:pt x="128" y="112"/>
                    </a:lnTo>
                    <a:lnTo>
                      <a:pt x="136" y="112"/>
                    </a:lnTo>
                    <a:lnTo>
                      <a:pt x="136" y="104"/>
                    </a:lnTo>
                    <a:lnTo>
                      <a:pt x="144" y="104"/>
                    </a:lnTo>
                    <a:lnTo>
                      <a:pt x="152" y="104"/>
                    </a:lnTo>
                    <a:lnTo>
                      <a:pt x="152" y="96"/>
                    </a:lnTo>
                    <a:lnTo>
                      <a:pt x="144" y="96"/>
                    </a:lnTo>
                    <a:lnTo>
                      <a:pt x="144" y="104"/>
                    </a:lnTo>
                    <a:lnTo>
                      <a:pt x="144" y="96"/>
                    </a:lnTo>
                    <a:lnTo>
                      <a:pt x="136" y="96"/>
                    </a:lnTo>
                    <a:lnTo>
                      <a:pt x="136" y="104"/>
                    </a:lnTo>
                    <a:lnTo>
                      <a:pt x="128" y="104"/>
                    </a:lnTo>
                    <a:lnTo>
                      <a:pt x="128" y="112"/>
                    </a:lnTo>
                    <a:lnTo>
                      <a:pt x="128" y="104"/>
                    </a:lnTo>
                    <a:lnTo>
                      <a:pt x="128" y="112"/>
                    </a:lnTo>
                    <a:lnTo>
                      <a:pt x="120" y="112"/>
                    </a:lnTo>
                    <a:lnTo>
                      <a:pt x="128" y="104"/>
                    </a:lnTo>
                    <a:lnTo>
                      <a:pt x="128" y="96"/>
                    </a:lnTo>
                    <a:lnTo>
                      <a:pt x="120" y="96"/>
                    </a:lnTo>
                    <a:lnTo>
                      <a:pt x="128" y="96"/>
                    </a:lnTo>
                    <a:lnTo>
                      <a:pt x="128" y="88"/>
                    </a:lnTo>
                    <a:lnTo>
                      <a:pt x="136" y="88"/>
                    </a:lnTo>
                    <a:lnTo>
                      <a:pt x="136" y="80"/>
                    </a:lnTo>
                    <a:lnTo>
                      <a:pt x="144" y="80"/>
                    </a:lnTo>
                    <a:lnTo>
                      <a:pt x="136" y="80"/>
                    </a:lnTo>
                    <a:lnTo>
                      <a:pt x="136" y="72"/>
                    </a:lnTo>
                    <a:lnTo>
                      <a:pt x="128" y="72"/>
                    </a:lnTo>
                    <a:lnTo>
                      <a:pt x="120" y="80"/>
                    </a:lnTo>
                    <a:lnTo>
                      <a:pt x="120" y="88"/>
                    </a:lnTo>
                    <a:lnTo>
                      <a:pt x="120" y="80"/>
                    </a:lnTo>
                    <a:lnTo>
                      <a:pt x="120" y="72"/>
                    </a:lnTo>
                    <a:lnTo>
                      <a:pt x="120" y="80"/>
                    </a:lnTo>
                    <a:lnTo>
                      <a:pt x="112" y="80"/>
                    </a:lnTo>
                    <a:lnTo>
                      <a:pt x="104" y="80"/>
                    </a:lnTo>
                    <a:lnTo>
                      <a:pt x="104" y="88"/>
                    </a:lnTo>
                    <a:lnTo>
                      <a:pt x="104" y="80"/>
                    </a:lnTo>
                    <a:lnTo>
                      <a:pt x="104" y="72"/>
                    </a:lnTo>
                    <a:lnTo>
                      <a:pt x="104" y="80"/>
                    </a:lnTo>
                    <a:lnTo>
                      <a:pt x="96" y="80"/>
                    </a:lnTo>
                    <a:lnTo>
                      <a:pt x="96" y="72"/>
                    </a:lnTo>
                    <a:lnTo>
                      <a:pt x="104" y="72"/>
                    </a:lnTo>
                    <a:lnTo>
                      <a:pt x="96" y="72"/>
                    </a:lnTo>
                    <a:lnTo>
                      <a:pt x="96" y="80"/>
                    </a:lnTo>
                    <a:lnTo>
                      <a:pt x="88" y="80"/>
                    </a:lnTo>
                    <a:lnTo>
                      <a:pt x="88" y="72"/>
                    </a:lnTo>
                    <a:lnTo>
                      <a:pt x="80" y="72"/>
                    </a:lnTo>
                    <a:lnTo>
                      <a:pt x="88" y="72"/>
                    </a:lnTo>
                    <a:lnTo>
                      <a:pt x="88" y="64"/>
                    </a:lnTo>
                    <a:lnTo>
                      <a:pt x="80" y="64"/>
                    </a:lnTo>
                    <a:lnTo>
                      <a:pt x="88" y="64"/>
                    </a:lnTo>
                    <a:lnTo>
                      <a:pt x="96" y="64"/>
                    </a:lnTo>
                    <a:lnTo>
                      <a:pt x="96" y="56"/>
                    </a:lnTo>
                    <a:lnTo>
                      <a:pt x="104" y="56"/>
                    </a:lnTo>
                    <a:lnTo>
                      <a:pt x="96" y="56"/>
                    </a:lnTo>
                    <a:lnTo>
                      <a:pt x="88" y="56"/>
                    </a:lnTo>
                    <a:lnTo>
                      <a:pt x="88" y="48"/>
                    </a:lnTo>
                    <a:lnTo>
                      <a:pt x="80" y="48"/>
                    </a:lnTo>
                    <a:lnTo>
                      <a:pt x="80" y="56"/>
                    </a:lnTo>
                    <a:lnTo>
                      <a:pt x="72" y="56"/>
                    </a:lnTo>
                    <a:lnTo>
                      <a:pt x="72" y="64"/>
                    </a:lnTo>
                    <a:lnTo>
                      <a:pt x="72" y="56"/>
                    </a:lnTo>
                    <a:lnTo>
                      <a:pt x="72" y="48"/>
                    </a:lnTo>
                    <a:lnTo>
                      <a:pt x="80" y="48"/>
                    </a:lnTo>
                    <a:lnTo>
                      <a:pt x="80" y="40"/>
                    </a:lnTo>
                    <a:lnTo>
                      <a:pt x="88" y="32"/>
                    </a:lnTo>
                    <a:lnTo>
                      <a:pt x="88" y="24"/>
                    </a:lnTo>
                    <a:lnTo>
                      <a:pt x="96" y="24"/>
                    </a:lnTo>
                    <a:lnTo>
                      <a:pt x="88" y="24"/>
                    </a:lnTo>
                    <a:lnTo>
                      <a:pt x="96" y="32"/>
                    </a:lnTo>
                    <a:lnTo>
                      <a:pt x="96" y="24"/>
                    </a:lnTo>
                    <a:lnTo>
                      <a:pt x="104" y="16"/>
                    </a:lnTo>
                    <a:lnTo>
                      <a:pt x="96" y="16"/>
                    </a:lnTo>
                    <a:lnTo>
                      <a:pt x="96" y="8"/>
                    </a:lnTo>
                    <a:lnTo>
                      <a:pt x="104" y="8"/>
                    </a:lnTo>
                    <a:lnTo>
                      <a:pt x="112" y="8"/>
                    </a:lnTo>
                    <a:lnTo>
                      <a:pt x="112" y="0"/>
                    </a:lnTo>
                    <a:lnTo>
                      <a:pt x="104" y="0"/>
                    </a:lnTo>
                    <a:lnTo>
                      <a:pt x="104" y="8"/>
                    </a:lnTo>
                    <a:lnTo>
                      <a:pt x="104" y="0"/>
                    </a:lnTo>
                    <a:lnTo>
                      <a:pt x="96" y="0"/>
                    </a:lnTo>
                    <a:lnTo>
                      <a:pt x="88" y="8"/>
                    </a:lnTo>
                    <a:lnTo>
                      <a:pt x="80" y="8"/>
                    </a:lnTo>
                    <a:lnTo>
                      <a:pt x="80" y="16"/>
                    </a:lnTo>
                    <a:lnTo>
                      <a:pt x="72" y="16"/>
                    </a:lnTo>
                    <a:lnTo>
                      <a:pt x="72"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0" name="Freeform 216"/>
              <p:cNvSpPr>
                <a:spLocks/>
              </p:cNvSpPr>
              <p:nvPr/>
            </p:nvSpPr>
            <p:spPr bwMode="auto">
              <a:xfrm>
                <a:off x="3987800" y="2019300"/>
                <a:ext cx="12700" cy="12700"/>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1" name="Freeform 217"/>
              <p:cNvSpPr>
                <a:spLocks/>
              </p:cNvSpPr>
              <p:nvPr/>
            </p:nvSpPr>
            <p:spPr bwMode="auto">
              <a:xfrm>
                <a:off x="3911600" y="1943100"/>
                <a:ext cx="12700" cy="12700"/>
              </a:xfrm>
              <a:custGeom>
                <a:avLst/>
                <a:gdLst>
                  <a:gd name="T0" fmla="*/ 0 w 8"/>
                  <a:gd name="T1" fmla="*/ 8 h 8"/>
                  <a:gd name="T2" fmla="*/ 8 w 8"/>
                  <a:gd name="T3" fmla="*/ 8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2" name="Freeform 218"/>
              <p:cNvSpPr>
                <a:spLocks/>
              </p:cNvSpPr>
              <p:nvPr/>
            </p:nvSpPr>
            <p:spPr bwMode="auto">
              <a:xfrm>
                <a:off x="3644900" y="19685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3" name="Freeform 219"/>
              <p:cNvSpPr>
                <a:spLocks/>
              </p:cNvSpPr>
              <p:nvPr/>
            </p:nvSpPr>
            <p:spPr bwMode="auto">
              <a:xfrm>
                <a:off x="3644900" y="19812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4" name="Freeform 220"/>
              <p:cNvSpPr>
                <a:spLocks/>
              </p:cNvSpPr>
              <p:nvPr/>
            </p:nvSpPr>
            <p:spPr bwMode="auto">
              <a:xfrm>
                <a:off x="3619500" y="1981200"/>
                <a:ext cx="63500" cy="63500"/>
              </a:xfrm>
              <a:custGeom>
                <a:avLst/>
                <a:gdLst>
                  <a:gd name="T0" fmla="*/ 8 w 40"/>
                  <a:gd name="T1" fmla="*/ 24 h 40"/>
                  <a:gd name="T2" fmla="*/ 8 w 40"/>
                  <a:gd name="T3" fmla="*/ 32 h 40"/>
                  <a:gd name="T4" fmla="*/ 0 w 40"/>
                  <a:gd name="T5" fmla="*/ 32 h 40"/>
                  <a:gd name="T6" fmla="*/ 0 w 40"/>
                  <a:gd name="T7" fmla="*/ 40 h 40"/>
                  <a:gd name="T8" fmla="*/ 8 w 40"/>
                  <a:gd name="T9" fmla="*/ 40 h 40"/>
                  <a:gd name="T10" fmla="*/ 8 w 40"/>
                  <a:gd name="T11" fmla="*/ 32 h 40"/>
                  <a:gd name="T12" fmla="*/ 16 w 40"/>
                  <a:gd name="T13" fmla="*/ 32 h 40"/>
                  <a:gd name="T14" fmla="*/ 32 w 40"/>
                  <a:gd name="T15" fmla="*/ 24 h 40"/>
                  <a:gd name="T16" fmla="*/ 40 w 40"/>
                  <a:gd name="T17" fmla="*/ 16 h 40"/>
                  <a:gd name="T18" fmla="*/ 40 w 40"/>
                  <a:gd name="T19" fmla="*/ 8 h 40"/>
                  <a:gd name="T20" fmla="*/ 40 w 40"/>
                  <a:gd name="T21" fmla="*/ 16 h 40"/>
                  <a:gd name="T22" fmla="*/ 40 w 40"/>
                  <a:gd name="T23" fmla="*/ 8 h 40"/>
                  <a:gd name="T24" fmla="*/ 32 w 40"/>
                  <a:gd name="T25" fmla="*/ 0 h 40"/>
                  <a:gd name="T26" fmla="*/ 32 w 40"/>
                  <a:gd name="T27" fmla="*/ 8 h 40"/>
                  <a:gd name="T28" fmla="*/ 24 w 40"/>
                  <a:gd name="T29" fmla="*/ 8 h 40"/>
                  <a:gd name="T30" fmla="*/ 24 w 40"/>
                  <a:gd name="T31" fmla="*/ 16 h 40"/>
                  <a:gd name="T32" fmla="*/ 16 w 40"/>
                  <a:gd name="T33" fmla="*/ 16 h 40"/>
                  <a:gd name="T34" fmla="*/ 16 w 40"/>
                  <a:gd name="T35" fmla="*/ 8 h 40"/>
                  <a:gd name="T36" fmla="*/ 8 w 40"/>
                  <a:gd name="T37" fmla="*/ 16 h 40"/>
                  <a:gd name="T38" fmla="*/ 8 w 40"/>
                  <a:gd name="T39"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8" y="24"/>
                    </a:moveTo>
                    <a:lnTo>
                      <a:pt x="8" y="32"/>
                    </a:lnTo>
                    <a:lnTo>
                      <a:pt x="0" y="32"/>
                    </a:lnTo>
                    <a:lnTo>
                      <a:pt x="0" y="40"/>
                    </a:lnTo>
                    <a:lnTo>
                      <a:pt x="8" y="40"/>
                    </a:lnTo>
                    <a:lnTo>
                      <a:pt x="8" y="32"/>
                    </a:lnTo>
                    <a:lnTo>
                      <a:pt x="16" y="32"/>
                    </a:lnTo>
                    <a:lnTo>
                      <a:pt x="32" y="24"/>
                    </a:lnTo>
                    <a:lnTo>
                      <a:pt x="40" y="16"/>
                    </a:lnTo>
                    <a:lnTo>
                      <a:pt x="40" y="8"/>
                    </a:lnTo>
                    <a:lnTo>
                      <a:pt x="40" y="16"/>
                    </a:lnTo>
                    <a:lnTo>
                      <a:pt x="40" y="8"/>
                    </a:lnTo>
                    <a:lnTo>
                      <a:pt x="32" y="0"/>
                    </a:lnTo>
                    <a:lnTo>
                      <a:pt x="32" y="8"/>
                    </a:lnTo>
                    <a:lnTo>
                      <a:pt x="24" y="8"/>
                    </a:lnTo>
                    <a:lnTo>
                      <a:pt x="24" y="16"/>
                    </a:lnTo>
                    <a:lnTo>
                      <a:pt x="16" y="16"/>
                    </a:lnTo>
                    <a:lnTo>
                      <a:pt x="16" y="8"/>
                    </a:lnTo>
                    <a:lnTo>
                      <a:pt x="8" y="16"/>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5" name="Freeform 221"/>
              <p:cNvSpPr>
                <a:spLocks/>
              </p:cNvSpPr>
              <p:nvPr/>
            </p:nvSpPr>
            <p:spPr bwMode="auto">
              <a:xfrm>
                <a:off x="3594100" y="2019300"/>
                <a:ext cx="12700" cy="25400"/>
              </a:xfrm>
              <a:custGeom>
                <a:avLst/>
                <a:gdLst>
                  <a:gd name="T0" fmla="*/ 0 w 8"/>
                  <a:gd name="T1" fmla="*/ 16 h 16"/>
                  <a:gd name="T2" fmla="*/ 8 w 8"/>
                  <a:gd name="T3" fmla="*/ 8 h 16"/>
                  <a:gd name="T4" fmla="*/ 8 w 8"/>
                  <a:gd name="T5" fmla="*/ 0 h 16"/>
                  <a:gd name="T6" fmla="*/ 0 w 8"/>
                  <a:gd name="T7" fmla="*/ 0 h 16"/>
                  <a:gd name="T8" fmla="*/ 0 w 8"/>
                  <a:gd name="T9" fmla="*/ 8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8" y="8"/>
                    </a:lnTo>
                    <a:lnTo>
                      <a:pt x="8" y="0"/>
                    </a:lnTo>
                    <a:lnTo>
                      <a:pt x="0" y="0"/>
                    </a:lnTo>
                    <a:lnTo>
                      <a:pt x="0"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6" name="Freeform 222"/>
              <p:cNvSpPr>
                <a:spLocks/>
              </p:cNvSpPr>
              <p:nvPr/>
            </p:nvSpPr>
            <p:spPr bwMode="auto">
              <a:xfrm>
                <a:off x="3594100" y="2006600"/>
                <a:ext cx="25400" cy="38100"/>
              </a:xfrm>
              <a:custGeom>
                <a:avLst/>
                <a:gdLst>
                  <a:gd name="T0" fmla="*/ 0 w 16"/>
                  <a:gd name="T1" fmla="*/ 24 h 24"/>
                  <a:gd name="T2" fmla="*/ 8 w 16"/>
                  <a:gd name="T3" fmla="*/ 24 h 24"/>
                  <a:gd name="T4" fmla="*/ 8 w 16"/>
                  <a:gd name="T5" fmla="*/ 16 h 24"/>
                  <a:gd name="T6" fmla="*/ 8 w 16"/>
                  <a:gd name="T7" fmla="*/ 8 h 24"/>
                  <a:gd name="T8" fmla="*/ 8 w 16"/>
                  <a:gd name="T9" fmla="*/ 0 h 24"/>
                  <a:gd name="T10" fmla="*/ 16 w 16"/>
                  <a:gd name="T11" fmla="*/ 0 h 24"/>
                  <a:gd name="T12" fmla="*/ 16 w 16"/>
                  <a:gd name="T13" fmla="*/ 16 h 24"/>
                  <a:gd name="T14" fmla="*/ 16 w 16"/>
                  <a:gd name="T15" fmla="*/ 24 h 24"/>
                  <a:gd name="T16" fmla="*/ 8 w 16"/>
                  <a:gd name="T17" fmla="*/ 24 h 24"/>
                  <a:gd name="T18" fmla="*/ 0 w 1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4">
                    <a:moveTo>
                      <a:pt x="0" y="24"/>
                    </a:moveTo>
                    <a:lnTo>
                      <a:pt x="8" y="24"/>
                    </a:lnTo>
                    <a:lnTo>
                      <a:pt x="8" y="16"/>
                    </a:lnTo>
                    <a:lnTo>
                      <a:pt x="8" y="8"/>
                    </a:lnTo>
                    <a:lnTo>
                      <a:pt x="8" y="0"/>
                    </a:lnTo>
                    <a:lnTo>
                      <a:pt x="16" y="0"/>
                    </a:lnTo>
                    <a:lnTo>
                      <a:pt x="16" y="16"/>
                    </a:lnTo>
                    <a:lnTo>
                      <a:pt x="16" y="24"/>
                    </a:lnTo>
                    <a:lnTo>
                      <a:pt x="8" y="24"/>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7" name="Freeform 223"/>
              <p:cNvSpPr>
                <a:spLocks/>
              </p:cNvSpPr>
              <p:nvPr/>
            </p:nvSpPr>
            <p:spPr bwMode="auto">
              <a:xfrm>
                <a:off x="3594100" y="2044700"/>
                <a:ext cx="25400" cy="38100"/>
              </a:xfrm>
              <a:custGeom>
                <a:avLst/>
                <a:gdLst>
                  <a:gd name="T0" fmla="*/ 8 w 16"/>
                  <a:gd name="T1" fmla="*/ 24 h 24"/>
                  <a:gd name="T2" fmla="*/ 16 w 16"/>
                  <a:gd name="T3" fmla="*/ 24 h 24"/>
                  <a:gd name="T4" fmla="*/ 8 w 16"/>
                  <a:gd name="T5" fmla="*/ 16 h 24"/>
                  <a:gd name="T6" fmla="*/ 8 w 16"/>
                  <a:gd name="T7" fmla="*/ 8 h 24"/>
                  <a:gd name="T8" fmla="*/ 0 w 16"/>
                  <a:gd name="T9" fmla="*/ 0 h 24"/>
                  <a:gd name="T10" fmla="*/ 8 w 16"/>
                  <a:gd name="T11" fmla="*/ 8 h 24"/>
                  <a:gd name="T12" fmla="*/ 0 w 16"/>
                  <a:gd name="T13" fmla="*/ 8 h 24"/>
                  <a:gd name="T14" fmla="*/ 0 w 16"/>
                  <a:gd name="T15" fmla="*/ 16 h 24"/>
                  <a:gd name="T16" fmla="*/ 8 w 16"/>
                  <a:gd name="T17" fmla="*/ 16 h 24"/>
                  <a:gd name="T18" fmla="*/ 8 w 1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4">
                    <a:moveTo>
                      <a:pt x="8" y="24"/>
                    </a:moveTo>
                    <a:lnTo>
                      <a:pt x="16" y="24"/>
                    </a:lnTo>
                    <a:lnTo>
                      <a:pt x="8" y="16"/>
                    </a:lnTo>
                    <a:lnTo>
                      <a:pt x="8" y="8"/>
                    </a:lnTo>
                    <a:lnTo>
                      <a:pt x="0" y="0"/>
                    </a:lnTo>
                    <a:lnTo>
                      <a:pt x="8" y="8"/>
                    </a:lnTo>
                    <a:lnTo>
                      <a:pt x="0" y="8"/>
                    </a:lnTo>
                    <a:lnTo>
                      <a:pt x="0" y="16"/>
                    </a:lnTo>
                    <a:lnTo>
                      <a:pt x="8" y="16"/>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18" name="Rectangle 224"/>
              <p:cNvSpPr>
                <a:spLocks noChangeArrowheads="1"/>
              </p:cNvSpPr>
              <p:nvPr/>
            </p:nvSpPr>
            <p:spPr bwMode="auto">
              <a:xfrm>
                <a:off x="3530600" y="19431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19" name="Freeform 258"/>
              <p:cNvSpPr>
                <a:spLocks/>
              </p:cNvSpPr>
              <p:nvPr/>
            </p:nvSpPr>
            <p:spPr bwMode="auto">
              <a:xfrm>
                <a:off x="2832100" y="26289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0" name="Freeform 259"/>
              <p:cNvSpPr>
                <a:spLocks/>
              </p:cNvSpPr>
              <p:nvPr/>
            </p:nvSpPr>
            <p:spPr bwMode="auto">
              <a:xfrm>
                <a:off x="2794000" y="27432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1" name="Freeform 260"/>
              <p:cNvSpPr>
                <a:spLocks/>
              </p:cNvSpPr>
              <p:nvPr/>
            </p:nvSpPr>
            <p:spPr bwMode="auto">
              <a:xfrm>
                <a:off x="2882900" y="2730500"/>
                <a:ext cx="12700" cy="12700"/>
              </a:xfrm>
              <a:custGeom>
                <a:avLst/>
                <a:gdLst>
                  <a:gd name="T0" fmla="*/ 0 w 8"/>
                  <a:gd name="T1" fmla="*/ 0 h 8"/>
                  <a:gd name="T2" fmla="*/ 8 w 8"/>
                  <a:gd name="T3" fmla="*/ 0 h 8"/>
                  <a:gd name="T4" fmla="*/ 0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2" name="Rectangle 261"/>
              <p:cNvSpPr>
                <a:spLocks noChangeArrowheads="1"/>
              </p:cNvSpPr>
              <p:nvPr/>
            </p:nvSpPr>
            <p:spPr bwMode="auto">
              <a:xfrm>
                <a:off x="2819400" y="26416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23" name="Rectangle 262"/>
              <p:cNvSpPr>
                <a:spLocks noChangeArrowheads="1"/>
              </p:cNvSpPr>
              <p:nvPr/>
            </p:nvSpPr>
            <p:spPr bwMode="auto">
              <a:xfrm>
                <a:off x="2832100" y="26670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24" name="Freeform 263"/>
              <p:cNvSpPr>
                <a:spLocks/>
              </p:cNvSpPr>
              <p:nvPr/>
            </p:nvSpPr>
            <p:spPr bwMode="auto">
              <a:xfrm>
                <a:off x="2768600" y="2679700"/>
                <a:ext cx="50800" cy="38100"/>
              </a:xfrm>
              <a:custGeom>
                <a:avLst/>
                <a:gdLst>
                  <a:gd name="T0" fmla="*/ 0 w 32"/>
                  <a:gd name="T1" fmla="*/ 24 h 24"/>
                  <a:gd name="T2" fmla="*/ 8 w 32"/>
                  <a:gd name="T3" fmla="*/ 24 h 24"/>
                  <a:gd name="T4" fmla="*/ 8 w 32"/>
                  <a:gd name="T5" fmla="*/ 16 h 24"/>
                  <a:gd name="T6" fmla="*/ 16 w 32"/>
                  <a:gd name="T7" fmla="*/ 8 h 24"/>
                  <a:gd name="T8" fmla="*/ 24 w 32"/>
                  <a:gd name="T9" fmla="*/ 8 h 24"/>
                  <a:gd name="T10" fmla="*/ 24 w 32"/>
                  <a:gd name="T11" fmla="*/ 0 h 24"/>
                  <a:gd name="T12" fmla="*/ 32 w 32"/>
                  <a:gd name="T13" fmla="*/ 0 h 24"/>
                  <a:gd name="T14" fmla="*/ 32 w 32"/>
                  <a:gd name="T15" fmla="*/ 8 h 24"/>
                  <a:gd name="T16" fmla="*/ 24 w 32"/>
                  <a:gd name="T17" fmla="*/ 8 h 24"/>
                  <a:gd name="T18" fmla="*/ 16 w 32"/>
                  <a:gd name="T19" fmla="*/ 16 h 24"/>
                  <a:gd name="T20" fmla="*/ 16 w 32"/>
                  <a:gd name="T21" fmla="*/ 24 h 24"/>
                  <a:gd name="T22" fmla="*/ 8 w 32"/>
                  <a:gd name="T23" fmla="*/ 24 h 24"/>
                  <a:gd name="T24" fmla="*/ 0 w 32"/>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4">
                    <a:moveTo>
                      <a:pt x="0" y="24"/>
                    </a:moveTo>
                    <a:lnTo>
                      <a:pt x="8" y="24"/>
                    </a:lnTo>
                    <a:lnTo>
                      <a:pt x="8" y="16"/>
                    </a:lnTo>
                    <a:lnTo>
                      <a:pt x="16" y="8"/>
                    </a:lnTo>
                    <a:lnTo>
                      <a:pt x="24" y="8"/>
                    </a:lnTo>
                    <a:lnTo>
                      <a:pt x="24" y="0"/>
                    </a:lnTo>
                    <a:lnTo>
                      <a:pt x="32" y="0"/>
                    </a:lnTo>
                    <a:lnTo>
                      <a:pt x="32" y="8"/>
                    </a:lnTo>
                    <a:lnTo>
                      <a:pt x="24" y="8"/>
                    </a:lnTo>
                    <a:lnTo>
                      <a:pt x="16" y="16"/>
                    </a:lnTo>
                    <a:lnTo>
                      <a:pt x="16" y="24"/>
                    </a:lnTo>
                    <a:lnTo>
                      <a:pt x="8" y="24"/>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5" name="Freeform 264"/>
              <p:cNvSpPr>
                <a:spLocks/>
              </p:cNvSpPr>
              <p:nvPr/>
            </p:nvSpPr>
            <p:spPr bwMode="auto">
              <a:xfrm>
                <a:off x="2768600" y="2692400"/>
                <a:ext cx="12700" cy="12700"/>
              </a:xfrm>
              <a:custGeom>
                <a:avLst/>
                <a:gdLst>
                  <a:gd name="T0" fmla="*/ 0 w 8"/>
                  <a:gd name="T1" fmla="*/ 8 h 8"/>
                  <a:gd name="T2" fmla="*/ 8 w 8"/>
                  <a:gd name="T3" fmla="*/ 0 h 8"/>
                  <a:gd name="T4" fmla="*/ 0 w 8"/>
                  <a:gd name="T5" fmla="*/ 8 h 8"/>
                </a:gdLst>
                <a:ahLst/>
                <a:cxnLst>
                  <a:cxn ang="0">
                    <a:pos x="T0" y="T1"/>
                  </a:cxn>
                  <a:cxn ang="0">
                    <a:pos x="T2" y="T3"/>
                  </a:cxn>
                  <a:cxn ang="0">
                    <a:pos x="T4" y="T5"/>
                  </a:cxn>
                </a:cxnLst>
                <a:rect l="0" t="0" r="r" b="b"/>
                <a:pathLst>
                  <a:path w="8" h="8">
                    <a:moveTo>
                      <a:pt x="0" y="8"/>
                    </a:move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6" name="Freeform 265"/>
              <p:cNvSpPr>
                <a:spLocks/>
              </p:cNvSpPr>
              <p:nvPr/>
            </p:nvSpPr>
            <p:spPr bwMode="auto">
              <a:xfrm>
                <a:off x="2794000" y="2654300"/>
                <a:ext cx="12700" cy="25400"/>
              </a:xfrm>
              <a:custGeom>
                <a:avLst/>
                <a:gdLst>
                  <a:gd name="T0" fmla="*/ 0 w 8"/>
                  <a:gd name="T1" fmla="*/ 16 h 16"/>
                  <a:gd name="T2" fmla="*/ 0 w 8"/>
                  <a:gd name="T3" fmla="*/ 8 h 16"/>
                  <a:gd name="T4" fmla="*/ 8 w 8"/>
                  <a:gd name="T5" fmla="*/ 0 h 16"/>
                  <a:gd name="T6" fmla="*/ 8 w 8"/>
                  <a:gd name="T7" fmla="*/ 8 h 16"/>
                  <a:gd name="T8" fmla="*/ 8 w 8"/>
                  <a:gd name="T9" fmla="*/ 16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8" y="0"/>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7" name="Freeform 266"/>
              <p:cNvSpPr>
                <a:spLocks/>
              </p:cNvSpPr>
              <p:nvPr/>
            </p:nvSpPr>
            <p:spPr bwMode="auto">
              <a:xfrm>
                <a:off x="2794000" y="2628900"/>
                <a:ext cx="12700" cy="12700"/>
              </a:xfrm>
              <a:custGeom>
                <a:avLst/>
                <a:gdLst>
                  <a:gd name="T0" fmla="*/ 0 w 8"/>
                  <a:gd name="T1" fmla="*/ 0 h 8"/>
                  <a:gd name="T2" fmla="*/ 8 w 8"/>
                  <a:gd name="T3" fmla="*/ 0 h 8"/>
                  <a:gd name="T4" fmla="*/ 8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8"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28" name="Rectangle 335"/>
              <p:cNvSpPr>
                <a:spLocks noChangeArrowheads="1"/>
              </p:cNvSpPr>
              <p:nvPr/>
            </p:nvSpPr>
            <p:spPr bwMode="auto">
              <a:xfrm>
                <a:off x="5194300" y="41529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29" name="Freeform 336"/>
              <p:cNvSpPr>
                <a:spLocks/>
              </p:cNvSpPr>
              <p:nvPr/>
            </p:nvSpPr>
            <p:spPr bwMode="auto">
              <a:xfrm>
                <a:off x="5067300" y="4178300"/>
                <a:ext cx="76200" cy="25400"/>
              </a:xfrm>
              <a:custGeom>
                <a:avLst/>
                <a:gdLst>
                  <a:gd name="T0" fmla="*/ 8 w 48"/>
                  <a:gd name="T1" fmla="*/ 8 h 16"/>
                  <a:gd name="T2" fmla="*/ 8 w 48"/>
                  <a:gd name="T3" fmla="*/ 16 h 16"/>
                  <a:gd name="T4" fmla="*/ 8 w 48"/>
                  <a:gd name="T5" fmla="*/ 8 h 16"/>
                  <a:gd name="T6" fmla="*/ 16 w 48"/>
                  <a:gd name="T7" fmla="*/ 8 h 16"/>
                  <a:gd name="T8" fmla="*/ 24 w 48"/>
                  <a:gd name="T9" fmla="*/ 8 h 16"/>
                  <a:gd name="T10" fmla="*/ 32 w 48"/>
                  <a:gd name="T11" fmla="*/ 8 h 16"/>
                  <a:gd name="T12" fmla="*/ 40 w 48"/>
                  <a:gd name="T13" fmla="*/ 8 h 16"/>
                  <a:gd name="T14" fmla="*/ 40 w 48"/>
                  <a:gd name="T15" fmla="*/ 0 h 16"/>
                  <a:gd name="T16" fmla="*/ 40 w 48"/>
                  <a:gd name="T17" fmla="*/ 8 h 16"/>
                  <a:gd name="T18" fmla="*/ 48 w 48"/>
                  <a:gd name="T19" fmla="*/ 0 h 16"/>
                  <a:gd name="T20" fmla="*/ 40 w 48"/>
                  <a:gd name="T21" fmla="*/ 0 h 16"/>
                  <a:gd name="T22" fmla="*/ 32 w 48"/>
                  <a:gd name="T23" fmla="*/ 0 h 16"/>
                  <a:gd name="T24" fmla="*/ 24 w 48"/>
                  <a:gd name="T25" fmla="*/ 0 h 16"/>
                  <a:gd name="T26" fmla="*/ 16 w 48"/>
                  <a:gd name="T27" fmla="*/ 0 h 16"/>
                  <a:gd name="T28" fmla="*/ 8 w 48"/>
                  <a:gd name="T29" fmla="*/ 0 h 16"/>
                  <a:gd name="T30" fmla="*/ 8 w 48"/>
                  <a:gd name="T31" fmla="*/ 8 h 16"/>
                  <a:gd name="T32" fmla="*/ 0 w 48"/>
                  <a:gd name="T33" fmla="*/ 8 h 16"/>
                  <a:gd name="T34" fmla="*/ 8 w 48"/>
                  <a:gd name="T3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6">
                    <a:moveTo>
                      <a:pt x="8" y="8"/>
                    </a:moveTo>
                    <a:lnTo>
                      <a:pt x="8" y="16"/>
                    </a:lnTo>
                    <a:lnTo>
                      <a:pt x="8" y="8"/>
                    </a:lnTo>
                    <a:lnTo>
                      <a:pt x="16" y="8"/>
                    </a:lnTo>
                    <a:lnTo>
                      <a:pt x="24" y="8"/>
                    </a:lnTo>
                    <a:lnTo>
                      <a:pt x="32" y="8"/>
                    </a:lnTo>
                    <a:lnTo>
                      <a:pt x="40" y="8"/>
                    </a:lnTo>
                    <a:lnTo>
                      <a:pt x="40" y="0"/>
                    </a:lnTo>
                    <a:lnTo>
                      <a:pt x="40" y="8"/>
                    </a:lnTo>
                    <a:lnTo>
                      <a:pt x="48" y="0"/>
                    </a:lnTo>
                    <a:lnTo>
                      <a:pt x="40" y="0"/>
                    </a:lnTo>
                    <a:lnTo>
                      <a:pt x="32" y="0"/>
                    </a:lnTo>
                    <a:lnTo>
                      <a:pt x="24" y="0"/>
                    </a:lnTo>
                    <a:lnTo>
                      <a:pt x="16" y="0"/>
                    </a:lnTo>
                    <a:lnTo>
                      <a:pt x="8" y="0"/>
                    </a:lnTo>
                    <a:lnTo>
                      <a:pt x="8" y="8"/>
                    </a:lnTo>
                    <a:lnTo>
                      <a:pt x="0" y="8"/>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grpSp>
            <p:nvGrpSpPr>
              <p:cNvPr id="1030" name="Group 1029"/>
              <p:cNvGrpSpPr/>
              <p:nvPr/>
            </p:nvGrpSpPr>
            <p:grpSpPr>
              <a:xfrm>
                <a:off x="3022600" y="1320800"/>
                <a:ext cx="2857500" cy="2794000"/>
                <a:chOff x="3022600" y="1320800"/>
                <a:chExt cx="2857500" cy="2794000"/>
              </a:xfrm>
              <a:grpFill/>
            </p:grpSpPr>
            <p:sp>
              <p:nvSpPr>
                <p:cNvPr id="1031" name="Freeform 43"/>
                <p:cNvSpPr>
                  <a:spLocks/>
                </p:cNvSpPr>
                <p:nvPr/>
              </p:nvSpPr>
              <p:spPr bwMode="auto">
                <a:xfrm>
                  <a:off x="5740400" y="16256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2" name="Freeform 46"/>
                <p:cNvSpPr>
                  <a:spLocks/>
                </p:cNvSpPr>
                <p:nvPr/>
              </p:nvSpPr>
              <p:spPr bwMode="auto">
                <a:xfrm>
                  <a:off x="5689600" y="2895600"/>
                  <a:ext cx="12700" cy="25400"/>
                </a:xfrm>
                <a:custGeom>
                  <a:avLst/>
                  <a:gdLst>
                    <a:gd name="T0" fmla="*/ 0 w 8"/>
                    <a:gd name="T1" fmla="*/ 0 h 16"/>
                    <a:gd name="T2" fmla="*/ 0 w 8"/>
                    <a:gd name="T3" fmla="*/ 8 h 16"/>
                    <a:gd name="T4" fmla="*/ 0 w 8"/>
                    <a:gd name="T5" fmla="*/ 16 h 16"/>
                    <a:gd name="T6" fmla="*/ 8 w 8"/>
                    <a:gd name="T7" fmla="*/ 16 h 16"/>
                    <a:gd name="T8" fmla="*/ 0 w 8"/>
                    <a:gd name="T9" fmla="*/ 16 h 16"/>
                    <a:gd name="T10" fmla="*/ 8 w 8"/>
                    <a:gd name="T11" fmla="*/ 8 h 16"/>
                    <a:gd name="T12" fmla="*/ 8 w 8"/>
                    <a:gd name="T13" fmla="*/ 0 h 16"/>
                    <a:gd name="T14" fmla="*/ 0 w 8"/>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6">
                      <a:moveTo>
                        <a:pt x="0" y="0"/>
                      </a:moveTo>
                      <a:lnTo>
                        <a:pt x="0" y="8"/>
                      </a:lnTo>
                      <a:lnTo>
                        <a:pt x="0" y="16"/>
                      </a:lnTo>
                      <a:lnTo>
                        <a:pt x="8" y="16"/>
                      </a:lnTo>
                      <a:lnTo>
                        <a:pt x="0" y="16"/>
                      </a:lnTo>
                      <a:lnTo>
                        <a:pt x="8"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3" name="Freeform 47"/>
                <p:cNvSpPr>
                  <a:spLocks/>
                </p:cNvSpPr>
                <p:nvPr/>
              </p:nvSpPr>
              <p:spPr bwMode="auto">
                <a:xfrm>
                  <a:off x="5689600" y="28448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4" name="Freeform 48"/>
                <p:cNvSpPr>
                  <a:spLocks/>
                </p:cNvSpPr>
                <p:nvPr/>
              </p:nvSpPr>
              <p:spPr bwMode="auto">
                <a:xfrm>
                  <a:off x="5676900" y="2819400"/>
                  <a:ext cx="12700" cy="12700"/>
                </a:xfrm>
                <a:custGeom>
                  <a:avLst/>
                  <a:gdLst>
                    <a:gd name="T0" fmla="*/ 0 w 8"/>
                    <a:gd name="T1" fmla="*/ 8 h 8"/>
                    <a:gd name="T2" fmla="*/ 0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5" name="Freeform 49"/>
                <p:cNvSpPr>
                  <a:spLocks/>
                </p:cNvSpPr>
                <p:nvPr/>
              </p:nvSpPr>
              <p:spPr bwMode="auto">
                <a:xfrm>
                  <a:off x="5613400" y="22352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6" name="Freeform 50"/>
                <p:cNvSpPr>
                  <a:spLocks/>
                </p:cNvSpPr>
                <p:nvPr/>
              </p:nvSpPr>
              <p:spPr bwMode="auto">
                <a:xfrm>
                  <a:off x="5626100" y="22479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7" name="Freeform 51"/>
                <p:cNvSpPr>
                  <a:spLocks/>
                </p:cNvSpPr>
                <p:nvPr/>
              </p:nvSpPr>
              <p:spPr bwMode="auto">
                <a:xfrm>
                  <a:off x="5613400" y="2260600"/>
                  <a:ext cx="12700" cy="12700"/>
                </a:xfrm>
                <a:custGeom>
                  <a:avLst/>
                  <a:gdLst>
                    <a:gd name="T0" fmla="*/ 0 w 8"/>
                    <a:gd name="T1" fmla="*/ 8 h 8"/>
                    <a:gd name="T2" fmla="*/ 0 w 8"/>
                    <a:gd name="T3" fmla="*/ 0 h 8"/>
                    <a:gd name="T4" fmla="*/ 8 w 8"/>
                    <a:gd name="T5" fmla="*/ 0 h 8"/>
                    <a:gd name="T6" fmla="*/ 0 w 8"/>
                    <a:gd name="T7" fmla="*/ 0 h 8"/>
                    <a:gd name="T8" fmla="*/ 0 w 8"/>
                    <a:gd name="T9" fmla="*/ 8 h 8"/>
                  </a:gdLst>
                  <a:ahLst/>
                  <a:cxnLst>
                    <a:cxn ang="0">
                      <a:pos x="T0" y="T1"/>
                    </a:cxn>
                    <a:cxn ang="0">
                      <a:pos x="T2" y="T3"/>
                    </a:cxn>
                    <a:cxn ang="0">
                      <a:pos x="T4" y="T5"/>
                    </a:cxn>
                    <a:cxn ang="0">
                      <a:pos x="T6" y="T7"/>
                    </a:cxn>
                    <a:cxn ang="0">
                      <a:pos x="T8" y="T9"/>
                    </a:cxn>
                  </a:cxnLst>
                  <a:rect l="0" t="0" r="r" b="b"/>
                  <a:pathLst>
                    <a:path w="8" h="8">
                      <a:moveTo>
                        <a:pt x="0" y="8"/>
                      </a:moveTo>
                      <a:lnTo>
                        <a:pt x="0" y="0"/>
                      </a:lnTo>
                      <a:lnTo>
                        <a:pt x="8" y="0"/>
                      </a:ln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8" name="Freeform 52"/>
                <p:cNvSpPr>
                  <a:spLocks/>
                </p:cNvSpPr>
                <p:nvPr/>
              </p:nvSpPr>
              <p:spPr bwMode="auto">
                <a:xfrm>
                  <a:off x="5727700" y="2438400"/>
                  <a:ext cx="12700" cy="12700"/>
                </a:xfrm>
                <a:custGeom>
                  <a:avLst/>
                  <a:gdLst>
                    <a:gd name="T0" fmla="*/ 0 w 8"/>
                    <a:gd name="T1" fmla="*/ 8 h 8"/>
                    <a:gd name="T2" fmla="*/ 0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39" name="Rectangle 53"/>
                <p:cNvSpPr>
                  <a:spLocks noChangeArrowheads="1"/>
                </p:cNvSpPr>
                <p:nvPr/>
              </p:nvSpPr>
              <p:spPr bwMode="auto">
                <a:xfrm>
                  <a:off x="5715000" y="24384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40" name="Freeform 54"/>
                <p:cNvSpPr>
                  <a:spLocks/>
                </p:cNvSpPr>
                <p:nvPr/>
              </p:nvSpPr>
              <p:spPr bwMode="auto">
                <a:xfrm>
                  <a:off x="5689600" y="25273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1" name="Freeform 55"/>
                <p:cNvSpPr>
                  <a:spLocks/>
                </p:cNvSpPr>
                <p:nvPr/>
              </p:nvSpPr>
              <p:spPr bwMode="auto">
                <a:xfrm>
                  <a:off x="5778500" y="26035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2" name="Freeform 59"/>
                <p:cNvSpPr>
                  <a:spLocks/>
                </p:cNvSpPr>
                <p:nvPr/>
              </p:nvSpPr>
              <p:spPr bwMode="auto">
                <a:xfrm>
                  <a:off x="5334000" y="1651000"/>
                  <a:ext cx="25400" cy="50800"/>
                </a:xfrm>
                <a:custGeom>
                  <a:avLst/>
                  <a:gdLst>
                    <a:gd name="T0" fmla="*/ 8 w 16"/>
                    <a:gd name="T1" fmla="*/ 32 h 32"/>
                    <a:gd name="T2" fmla="*/ 8 w 16"/>
                    <a:gd name="T3" fmla="*/ 24 h 32"/>
                    <a:gd name="T4" fmla="*/ 0 w 16"/>
                    <a:gd name="T5" fmla="*/ 24 h 32"/>
                    <a:gd name="T6" fmla="*/ 8 w 16"/>
                    <a:gd name="T7" fmla="*/ 16 h 32"/>
                    <a:gd name="T8" fmla="*/ 0 w 16"/>
                    <a:gd name="T9" fmla="*/ 8 h 32"/>
                    <a:gd name="T10" fmla="*/ 0 w 16"/>
                    <a:gd name="T11" fmla="*/ 0 h 32"/>
                    <a:gd name="T12" fmla="*/ 8 w 16"/>
                    <a:gd name="T13" fmla="*/ 0 h 32"/>
                    <a:gd name="T14" fmla="*/ 16 w 16"/>
                    <a:gd name="T15" fmla="*/ 8 h 32"/>
                    <a:gd name="T16" fmla="*/ 8 w 16"/>
                    <a:gd name="T17" fmla="*/ 16 h 32"/>
                    <a:gd name="T18" fmla="*/ 8 w 16"/>
                    <a:gd name="T19" fmla="*/ 24 h 32"/>
                    <a:gd name="T20" fmla="*/ 16 w 16"/>
                    <a:gd name="T21" fmla="*/ 24 h 32"/>
                    <a:gd name="T22" fmla="*/ 8 w 16"/>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2">
                      <a:moveTo>
                        <a:pt x="8" y="32"/>
                      </a:moveTo>
                      <a:lnTo>
                        <a:pt x="8" y="24"/>
                      </a:lnTo>
                      <a:lnTo>
                        <a:pt x="0" y="24"/>
                      </a:lnTo>
                      <a:lnTo>
                        <a:pt x="8" y="16"/>
                      </a:lnTo>
                      <a:lnTo>
                        <a:pt x="0" y="8"/>
                      </a:lnTo>
                      <a:lnTo>
                        <a:pt x="0" y="0"/>
                      </a:lnTo>
                      <a:lnTo>
                        <a:pt x="8" y="0"/>
                      </a:lnTo>
                      <a:lnTo>
                        <a:pt x="16" y="8"/>
                      </a:lnTo>
                      <a:lnTo>
                        <a:pt x="8" y="16"/>
                      </a:lnTo>
                      <a:lnTo>
                        <a:pt x="8" y="24"/>
                      </a:lnTo>
                      <a:lnTo>
                        <a:pt x="16" y="24"/>
                      </a:lnTo>
                      <a:lnTo>
                        <a:pt x="8"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3" name="Freeform 64"/>
                <p:cNvSpPr>
                  <a:spLocks/>
                </p:cNvSpPr>
                <p:nvPr/>
              </p:nvSpPr>
              <p:spPr bwMode="auto">
                <a:xfrm>
                  <a:off x="5359400" y="16129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4" name="Freeform 73"/>
                <p:cNvSpPr>
                  <a:spLocks/>
                </p:cNvSpPr>
                <p:nvPr/>
              </p:nvSpPr>
              <p:spPr bwMode="auto">
                <a:xfrm>
                  <a:off x="4800600" y="1346200"/>
                  <a:ext cx="127000" cy="88900"/>
                </a:xfrm>
                <a:custGeom>
                  <a:avLst/>
                  <a:gdLst>
                    <a:gd name="T0" fmla="*/ 0 w 80"/>
                    <a:gd name="T1" fmla="*/ 24 h 56"/>
                    <a:gd name="T2" fmla="*/ 0 w 80"/>
                    <a:gd name="T3" fmla="*/ 16 h 56"/>
                    <a:gd name="T4" fmla="*/ 8 w 80"/>
                    <a:gd name="T5" fmla="*/ 8 h 56"/>
                    <a:gd name="T6" fmla="*/ 8 w 80"/>
                    <a:gd name="T7" fmla="*/ 0 h 56"/>
                    <a:gd name="T8" fmla="*/ 16 w 80"/>
                    <a:gd name="T9" fmla="*/ 0 h 56"/>
                    <a:gd name="T10" fmla="*/ 32 w 80"/>
                    <a:gd name="T11" fmla="*/ 0 h 56"/>
                    <a:gd name="T12" fmla="*/ 40 w 80"/>
                    <a:gd name="T13" fmla="*/ 0 h 56"/>
                    <a:gd name="T14" fmla="*/ 48 w 80"/>
                    <a:gd name="T15" fmla="*/ 0 h 56"/>
                    <a:gd name="T16" fmla="*/ 56 w 80"/>
                    <a:gd name="T17" fmla="*/ 0 h 56"/>
                    <a:gd name="T18" fmla="*/ 56 w 80"/>
                    <a:gd name="T19" fmla="*/ 8 h 56"/>
                    <a:gd name="T20" fmla="*/ 64 w 80"/>
                    <a:gd name="T21" fmla="*/ 0 h 56"/>
                    <a:gd name="T22" fmla="*/ 72 w 80"/>
                    <a:gd name="T23" fmla="*/ 8 h 56"/>
                    <a:gd name="T24" fmla="*/ 80 w 80"/>
                    <a:gd name="T25" fmla="*/ 8 h 56"/>
                    <a:gd name="T26" fmla="*/ 72 w 80"/>
                    <a:gd name="T27" fmla="*/ 16 h 56"/>
                    <a:gd name="T28" fmla="*/ 56 w 80"/>
                    <a:gd name="T29" fmla="*/ 24 h 56"/>
                    <a:gd name="T30" fmla="*/ 48 w 80"/>
                    <a:gd name="T31" fmla="*/ 24 h 56"/>
                    <a:gd name="T32" fmla="*/ 48 w 80"/>
                    <a:gd name="T33" fmla="*/ 32 h 56"/>
                    <a:gd name="T34" fmla="*/ 56 w 80"/>
                    <a:gd name="T35" fmla="*/ 32 h 56"/>
                    <a:gd name="T36" fmla="*/ 48 w 80"/>
                    <a:gd name="T37" fmla="*/ 40 h 56"/>
                    <a:gd name="T38" fmla="*/ 48 w 80"/>
                    <a:gd name="T39" fmla="*/ 48 h 56"/>
                    <a:gd name="T40" fmla="*/ 40 w 80"/>
                    <a:gd name="T41" fmla="*/ 48 h 56"/>
                    <a:gd name="T42" fmla="*/ 32 w 80"/>
                    <a:gd name="T43" fmla="*/ 56 h 56"/>
                    <a:gd name="T44" fmla="*/ 24 w 80"/>
                    <a:gd name="T45" fmla="*/ 56 h 56"/>
                    <a:gd name="T46" fmla="*/ 24 w 80"/>
                    <a:gd name="T47" fmla="*/ 48 h 56"/>
                    <a:gd name="T48" fmla="*/ 16 w 80"/>
                    <a:gd name="T49" fmla="*/ 48 h 56"/>
                    <a:gd name="T50" fmla="*/ 8 w 80"/>
                    <a:gd name="T51" fmla="*/ 48 h 56"/>
                    <a:gd name="T52" fmla="*/ 8 w 80"/>
                    <a:gd name="T53" fmla="*/ 40 h 56"/>
                    <a:gd name="T54" fmla="*/ 0 w 80"/>
                    <a:gd name="T55" fmla="*/ 40 h 56"/>
                    <a:gd name="T56" fmla="*/ 0 w 80"/>
                    <a:gd name="T57" fmla="*/ 32 h 56"/>
                    <a:gd name="T58" fmla="*/ 0 w 80"/>
                    <a:gd name="T59"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56">
                      <a:moveTo>
                        <a:pt x="0" y="24"/>
                      </a:moveTo>
                      <a:lnTo>
                        <a:pt x="0" y="16"/>
                      </a:lnTo>
                      <a:lnTo>
                        <a:pt x="8" y="8"/>
                      </a:lnTo>
                      <a:lnTo>
                        <a:pt x="8" y="0"/>
                      </a:lnTo>
                      <a:lnTo>
                        <a:pt x="16" y="0"/>
                      </a:lnTo>
                      <a:lnTo>
                        <a:pt x="32" y="0"/>
                      </a:lnTo>
                      <a:lnTo>
                        <a:pt x="40" y="0"/>
                      </a:lnTo>
                      <a:lnTo>
                        <a:pt x="48" y="0"/>
                      </a:lnTo>
                      <a:lnTo>
                        <a:pt x="56" y="0"/>
                      </a:lnTo>
                      <a:lnTo>
                        <a:pt x="56" y="8"/>
                      </a:lnTo>
                      <a:lnTo>
                        <a:pt x="64" y="0"/>
                      </a:lnTo>
                      <a:lnTo>
                        <a:pt x="72" y="8"/>
                      </a:lnTo>
                      <a:lnTo>
                        <a:pt x="80" y="8"/>
                      </a:lnTo>
                      <a:lnTo>
                        <a:pt x="72" y="16"/>
                      </a:lnTo>
                      <a:lnTo>
                        <a:pt x="56" y="24"/>
                      </a:lnTo>
                      <a:lnTo>
                        <a:pt x="48" y="24"/>
                      </a:lnTo>
                      <a:lnTo>
                        <a:pt x="48" y="32"/>
                      </a:lnTo>
                      <a:lnTo>
                        <a:pt x="56" y="32"/>
                      </a:lnTo>
                      <a:lnTo>
                        <a:pt x="48" y="40"/>
                      </a:lnTo>
                      <a:lnTo>
                        <a:pt x="48" y="48"/>
                      </a:lnTo>
                      <a:lnTo>
                        <a:pt x="40" y="48"/>
                      </a:lnTo>
                      <a:lnTo>
                        <a:pt x="32" y="56"/>
                      </a:lnTo>
                      <a:lnTo>
                        <a:pt x="24" y="56"/>
                      </a:lnTo>
                      <a:lnTo>
                        <a:pt x="24" y="48"/>
                      </a:lnTo>
                      <a:lnTo>
                        <a:pt x="16" y="48"/>
                      </a:lnTo>
                      <a:lnTo>
                        <a:pt x="8" y="48"/>
                      </a:lnTo>
                      <a:lnTo>
                        <a:pt x="8" y="40"/>
                      </a:lnTo>
                      <a:lnTo>
                        <a:pt x="0" y="40"/>
                      </a:lnTo>
                      <a:lnTo>
                        <a:pt x="0" y="32"/>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5" name="Freeform 74"/>
                <p:cNvSpPr>
                  <a:spLocks/>
                </p:cNvSpPr>
                <p:nvPr/>
              </p:nvSpPr>
              <p:spPr bwMode="auto">
                <a:xfrm>
                  <a:off x="4775200" y="1320800"/>
                  <a:ext cx="38100" cy="38100"/>
                </a:xfrm>
                <a:custGeom>
                  <a:avLst/>
                  <a:gdLst>
                    <a:gd name="T0" fmla="*/ 8 w 24"/>
                    <a:gd name="T1" fmla="*/ 24 h 24"/>
                    <a:gd name="T2" fmla="*/ 16 w 24"/>
                    <a:gd name="T3" fmla="*/ 24 h 24"/>
                    <a:gd name="T4" fmla="*/ 16 w 24"/>
                    <a:gd name="T5" fmla="*/ 16 h 24"/>
                    <a:gd name="T6" fmla="*/ 24 w 24"/>
                    <a:gd name="T7" fmla="*/ 8 h 24"/>
                    <a:gd name="T8" fmla="*/ 24 w 24"/>
                    <a:gd name="T9" fmla="*/ 0 h 24"/>
                    <a:gd name="T10" fmla="*/ 16 w 24"/>
                    <a:gd name="T11" fmla="*/ 0 h 24"/>
                    <a:gd name="T12" fmla="*/ 8 w 24"/>
                    <a:gd name="T13" fmla="*/ 0 h 24"/>
                    <a:gd name="T14" fmla="*/ 0 w 24"/>
                    <a:gd name="T15" fmla="*/ 8 h 24"/>
                    <a:gd name="T16" fmla="*/ 0 w 24"/>
                    <a:gd name="T17" fmla="*/ 16 h 24"/>
                    <a:gd name="T18" fmla="*/ 8 w 24"/>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8" y="24"/>
                      </a:moveTo>
                      <a:lnTo>
                        <a:pt x="16" y="24"/>
                      </a:lnTo>
                      <a:lnTo>
                        <a:pt x="16" y="16"/>
                      </a:lnTo>
                      <a:lnTo>
                        <a:pt x="24" y="8"/>
                      </a:lnTo>
                      <a:lnTo>
                        <a:pt x="24" y="0"/>
                      </a:lnTo>
                      <a:lnTo>
                        <a:pt x="16" y="0"/>
                      </a:lnTo>
                      <a:lnTo>
                        <a:pt x="8" y="0"/>
                      </a:lnTo>
                      <a:lnTo>
                        <a:pt x="0" y="8"/>
                      </a:lnTo>
                      <a:lnTo>
                        <a:pt x="0" y="16"/>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6" name="Freeform 75"/>
                <p:cNvSpPr>
                  <a:spLocks/>
                </p:cNvSpPr>
                <p:nvPr/>
              </p:nvSpPr>
              <p:spPr bwMode="auto">
                <a:xfrm>
                  <a:off x="5181600" y="1587500"/>
                  <a:ext cx="393700" cy="355600"/>
                </a:xfrm>
                <a:custGeom>
                  <a:avLst/>
                  <a:gdLst>
                    <a:gd name="T0" fmla="*/ 184 w 248"/>
                    <a:gd name="T1" fmla="*/ 224 h 224"/>
                    <a:gd name="T2" fmla="*/ 216 w 248"/>
                    <a:gd name="T3" fmla="*/ 224 h 224"/>
                    <a:gd name="T4" fmla="*/ 216 w 248"/>
                    <a:gd name="T5" fmla="*/ 200 h 224"/>
                    <a:gd name="T6" fmla="*/ 240 w 248"/>
                    <a:gd name="T7" fmla="*/ 208 h 224"/>
                    <a:gd name="T8" fmla="*/ 224 w 248"/>
                    <a:gd name="T9" fmla="*/ 192 h 224"/>
                    <a:gd name="T10" fmla="*/ 240 w 248"/>
                    <a:gd name="T11" fmla="*/ 176 h 224"/>
                    <a:gd name="T12" fmla="*/ 240 w 248"/>
                    <a:gd name="T13" fmla="*/ 168 h 224"/>
                    <a:gd name="T14" fmla="*/ 232 w 248"/>
                    <a:gd name="T15" fmla="*/ 152 h 224"/>
                    <a:gd name="T16" fmla="*/ 200 w 248"/>
                    <a:gd name="T17" fmla="*/ 144 h 224"/>
                    <a:gd name="T18" fmla="*/ 168 w 248"/>
                    <a:gd name="T19" fmla="*/ 136 h 224"/>
                    <a:gd name="T20" fmla="*/ 152 w 248"/>
                    <a:gd name="T21" fmla="*/ 136 h 224"/>
                    <a:gd name="T22" fmla="*/ 136 w 248"/>
                    <a:gd name="T23" fmla="*/ 136 h 224"/>
                    <a:gd name="T24" fmla="*/ 136 w 248"/>
                    <a:gd name="T25" fmla="*/ 144 h 224"/>
                    <a:gd name="T26" fmla="*/ 120 w 248"/>
                    <a:gd name="T27" fmla="*/ 128 h 224"/>
                    <a:gd name="T28" fmla="*/ 112 w 248"/>
                    <a:gd name="T29" fmla="*/ 128 h 224"/>
                    <a:gd name="T30" fmla="*/ 88 w 248"/>
                    <a:gd name="T31" fmla="*/ 128 h 224"/>
                    <a:gd name="T32" fmla="*/ 80 w 248"/>
                    <a:gd name="T33" fmla="*/ 112 h 224"/>
                    <a:gd name="T34" fmla="*/ 80 w 248"/>
                    <a:gd name="T35" fmla="*/ 96 h 224"/>
                    <a:gd name="T36" fmla="*/ 72 w 248"/>
                    <a:gd name="T37" fmla="*/ 88 h 224"/>
                    <a:gd name="T38" fmla="*/ 64 w 248"/>
                    <a:gd name="T39" fmla="*/ 72 h 224"/>
                    <a:gd name="T40" fmla="*/ 88 w 248"/>
                    <a:gd name="T41" fmla="*/ 88 h 224"/>
                    <a:gd name="T42" fmla="*/ 104 w 248"/>
                    <a:gd name="T43" fmla="*/ 88 h 224"/>
                    <a:gd name="T44" fmla="*/ 80 w 248"/>
                    <a:gd name="T45" fmla="*/ 56 h 224"/>
                    <a:gd name="T46" fmla="*/ 88 w 248"/>
                    <a:gd name="T47" fmla="*/ 64 h 224"/>
                    <a:gd name="T48" fmla="*/ 88 w 248"/>
                    <a:gd name="T49" fmla="*/ 40 h 224"/>
                    <a:gd name="T50" fmla="*/ 64 w 248"/>
                    <a:gd name="T51" fmla="*/ 40 h 224"/>
                    <a:gd name="T52" fmla="*/ 40 w 248"/>
                    <a:gd name="T53" fmla="*/ 48 h 224"/>
                    <a:gd name="T54" fmla="*/ 56 w 248"/>
                    <a:gd name="T55" fmla="*/ 16 h 224"/>
                    <a:gd name="T56" fmla="*/ 32 w 248"/>
                    <a:gd name="T57" fmla="*/ 0 h 224"/>
                    <a:gd name="T58" fmla="*/ 0 w 248"/>
                    <a:gd name="T59" fmla="*/ 8 h 224"/>
                    <a:gd name="T60" fmla="*/ 0 w 248"/>
                    <a:gd name="T61" fmla="*/ 16 h 224"/>
                    <a:gd name="T62" fmla="*/ 8 w 248"/>
                    <a:gd name="T63" fmla="*/ 32 h 224"/>
                    <a:gd name="T64" fmla="*/ 0 w 248"/>
                    <a:gd name="T65" fmla="*/ 56 h 224"/>
                    <a:gd name="T66" fmla="*/ 24 w 248"/>
                    <a:gd name="T67" fmla="*/ 56 h 224"/>
                    <a:gd name="T68" fmla="*/ 40 w 248"/>
                    <a:gd name="T69" fmla="*/ 64 h 224"/>
                    <a:gd name="T70" fmla="*/ 48 w 248"/>
                    <a:gd name="T71" fmla="*/ 80 h 224"/>
                    <a:gd name="T72" fmla="*/ 40 w 248"/>
                    <a:gd name="T73" fmla="*/ 104 h 224"/>
                    <a:gd name="T74" fmla="*/ 24 w 248"/>
                    <a:gd name="T75" fmla="*/ 120 h 224"/>
                    <a:gd name="T76" fmla="*/ 24 w 248"/>
                    <a:gd name="T77" fmla="*/ 144 h 224"/>
                    <a:gd name="T78" fmla="*/ 16 w 248"/>
                    <a:gd name="T79" fmla="*/ 168 h 224"/>
                    <a:gd name="T80" fmla="*/ 40 w 248"/>
                    <a:gd name="T81" fmla="*/ 168 h 224"/>
                    <a:gd name="T82" fmla="*/ 48 w 248"/>
                    <a:gd name="T83" fmla="*/ 184 h 224"/>
                    <a:gd name="T84" fmla="*/ 64 w 248"/>
                    <a:gd name="T85" fmla="*/ 168 h 224"/>
                    <a:gd name="T86" fmla="*/ 64 w 248"/>
                    <a:gd name="T87" fmla="*/ 184 h 224"/>
                    <a:gd name="T88" fmla="*/ 80 w 248"/>
                    <a:gd name="T89" fmla="*/ 192 h 224"/>
                    <a:gd name="T90" fmla="*/ 96 w 248"/>
                    <a:gd name="T91" fmla="*/ 192 h 224"/>
                    <a:gd name="T92" fmla="*/ 104 w 248"/>
                    <a:gd name="T93" fmla="*/ 200 h 224"/>
                    <a:gd name="T94" fmla="*/ 112 w 248"/>
                    <a:gd name="T95" fmla="*/ 208 h 224"/>
                    <a:gd name="T96" fmla="*/ 120 w 248"/>
                    <a:gd name="T97" fmla="*/ 208 h 224"/>
                    <a:gd name="T98" fmla="*/ 128 w 248"/>
                    <a:gd name="T99" fmla="*/ 208 h 224"/>
                    <a:gd name="T100" fmla="*/ 152 w 248"/>
                    <a:gd name="T101" fmla="*/ 216 h 224"/>
                    <a:gd name="T102" fmla="*/ 168 w 248"/>
                    <a:gd name="T103" fmla="*/ 200 h 224"/>
                    <a:gd name="T104" fmla="*/ 168 w 248"/>
                    <a:gd name="T105" fmla="*/ 20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8" h="224">
                      <a:moveTo>
                        <a:pt x="168" y="216"/>
                      </a:moveTo>
                      <a:lnTo>
                        <a:pt x="176" y="216"/>
                      </a:lnTo>
                      <a:lnTo>
                        <a:pt x="176" y="224"/>
                      </a:lnTo>
                      <a:lnTo>
                        <a:pt x="184" y="224"/>
                      </a:lnTo>
                      <a:lnTo>
                        <a:pt x="192" y="216"/>
                      </a:lnTo>
                      <a:lnTo>
                        <a:pt x="200" y="216"/>
                      </a:lnTo>
                      <a:lnTo>
                        <a:pt x="208" y="224"/>
                      </a:lnTo>
                      <a:lnTo>
                        <a:pt x="216" y="224"/>
                      </a:lnTo>
                      <a:lnTo>
                        <a:pt x="216" y="216"/>
                      </a:lnTo>
                      <a:lnTo>
                        <a:pt x="216" y="208"/>
                      </a:lnTo>
                      <a:lnTo>
                        <a:pt x="224" y="208"/>
                      </a:lnTo>
                      <a:lnTo>
                        <a:pt x="216" y="200"/>
                      </a:lnTo>
                      <a:lnTo>
                        <a:pt x="224" y="200"/>
                      </a:lnTo>
                      <a:lnTo>
                        <a:pt x="224" y="208"/>
                      </a:lnTo>
                      <a:lnTo>
                        <a:pt x="232" y="208"/>
                      </a:lnTo>
                      <a:lnTo>
                        <a:pt x="240" y="208"/>
                      </a:lnTo>
                      <a:lnTo>
                        <a:pt x="232" y="200"/>
                      </a:lnTo>
                      <a:lnTo>
                        <a:pt x="240" y="192"/>
                      </a:lnTo>
                      <a:lnTo>
                        <a:pt x="232" y="192"/>
                      </a:lnTo>
                      <a:lnTo>
                        <a:pt x="224" y="192"/>
                      </a:lnTo>
                      <a:lnTo>
                        <a:pt x="232" y="192"/>
                      </a:lnTo>
                      <a:lnTo>
                        <a:pt x="232" y="184"/>
                      </a:lnTo>
                      <a:lnTo>
                        <a:pt x="240" y="184"/>
                      </a:lnTo>
                      <a:lnTo>
                        <a:pt x="240" y="176"/>
                      </a:lnTo>
                      <a:lnTo>
                        <a:pt x="248" y="176"/>
                      </a:lnTo>
                      <a:lnTo>
                        <a:pt x="240" y="176"/>
                      </a:lnTo>
                      <a:lnTo>
                        <a:pt x="248" y="168"/>
                      </a:lnTo>
                      <a:lnTo>
                        <a:pt x="240" y="168"/>
                      </a:lnTo>
                      <a:lnTo>
                        <a:pt x="240" y="160"/>
                      </a:lnTo>
                      <a:lnTo>
                        <a:pt x="224" y="160"/>
                      </a:lnTo>
                      <a:lnTo>
                        <a:pt x="224" y="152"/>
                      </a:lnTo>
                      <a:lnTo>
                        <a:pt x="232" y="152"/>
                      </a:lnTo>
                      <a:lnTo>
                        <a:pt x="224" y="144"/>
                      </a:lnTo>
                      <a:lnTo>
                        <a:pt x="216" y="136"/>
                      </a:lnTo>
                      <a:lnTo>
                        <a:pt x="208" y="144"/>
                      </a:lnTo>
                      <a:lnTo>
                        <a:pt x="200" y="144"/>
                      </a:lnTo>
                      <a:lnTo>
                        <a:pt x="192" y="136"/>
                      </a:lnTo>
                      <a:lnTo>
                        <a:pt x="184" y="136"/>
                      </a:lnTo>
                      <a:lnTo>
                        <a:pt x="176" y="136"/>
                      </a:lnTo>
                      <a:lnTo>
                        <a:pt x="168" y="136"/>
                      </a:lnTo>
                      <a:lnTo>
                        <a:pt x="168" y="144"/>
                      </a:lnTo>
                      <a:lnTo>
                        <a:pt x="168" y="136"/>
                      </a:lnTo>
                      <a:lnTo>
                        <a:pt x="160" y="136"/>
                      </a:lnTo>
                      <a:lnTo>
                        <a:pt x="152" y="136"/>
                      </a:lnTo>
                      <a:lnTo>
                        <a:pt x="152" y="144"/>
                      </a:lnTo>
                      <a:lnTo>
                        <a:pt x="152" y="136"/>
                      </a:lnTo>
                      <a:lnTo>
                        <a:pt x="144" y="136"/>
                      </a:lnTo>
                      <a:lnTo>
                        <a:pt x="136" y="136"/>
                      </a:lnTo>
                      <a:lnTo>
                        <a:pt x="128" y="136"/>
                      </a:lnTo>
                      <a:lnTo>
                        <a:pt x="136" y="144"/>
                      </a:lnTo>
                      <a:lnTo>
                        <a:pt x="136" y="152"/>
                      </a:lnTo>
                      <a:lnTo>
                        <a:pt x="136" y="144"/>
                      </a:lnTo>
                      <a:lnTo>
                        <a:pt x="128" y="144"/>
                      </a:lnTo>
                      <a:lnTo>
                        <a:pt x="120" y="144"/>
                      </a:lnTo>
                      <a:lnTo>
                        <a:pt x="120" y="136"/>
                      </a:lnTo>
                      <a:lnTo>
                        <a:pt x="120" y="128"/>
                      </a:lnTo>
                      <a:lnTo>
                        <a:pt x="112" y="128"/>
                      </a:lnTo>
                      <a:lnTo>
                        <a:pt x="112" y="136"/>
                      </a:lnTo>
                      <a:lnTo>
                        <a:pt x="104" y="136"/>
                      </a:lnTo>
                      <a:lnTo>
                        <a:pt x="112" y="128"/>
                      </a:lnTo>
                      <a:lnTo>
                        <a:pt x="104" y="128"/>
                      </a:lnTo>
                      <a:lnTo>
                        <a:pt x="96" y="128"/>
                      </a:lnTo>
                      <a:lnTo>
                        <a:pt x="96" y="120"/>
                      </a:lnTo>
                      <a:lnTo>
                        <a:pt x="88" y="128"/>
                      </a:lnTo>
                      <a:lnTo>
                        <a:pt x="80" y="128"/>
                      </a:lnTo>
                      <a:lnTo>
                        <a:pt x="88" y="120"/>
                      </a:lnTo>
                      <a:lnTo>
                        <a:pt x="88" y="112"/>
                      </a:lnTo>
                      <a:lnTo>
                        <a:pt x="80" y="112"/>
                      </a:lnTo>
                      <a:lnTo>
                        <a:pt x="80" y="104"/>
                      </a:lnTo>
                      <a:lnTo>
                        <a:pt x="88" y="104"/>
                      </a:lnTo>
                      <a:lnTo>
                        <a:pt x="88" y="96"/>
                      </a:lnTo>
                      <a:lnTo>
                        <a:pt x="80" y="96"/>
                      </a:lnTo>
                      <a:lnTo>
                        <a:pt x="72" y="96"/>
                      </a:lnTo>
                      <a:lnTo>
                        <a:pt x="64" y="96"/>
                      </a:lnTo>
                      <a:lnTo>
                        <a:pt x="64" y="88"/>
                      </a:lnTo>
                      <a:lnTo>
                        <a:pt x="72" y="88"/>
                      </a:lnTo>
                      <a:lnTo>
                        <a:pt x="80" y="88"/>
                      </a:lnTo>
                      <a:lnTo>
                        <a:pt x="72" y="80"/>
                      </a:lnTo>
                      <a:lnTo>
                        <a:pt x="72" y="72"/>
                      </a:lnTo>
                      <a:lnTo>
                        <a:pt x="64" y="72"/>
                      </a:lnTo>
                      <a:lnTo>
                        <a:pt x="72" y="72"/>
                      </a:lnTo>
                      <a:lnTo>
                        <a:pt x="72" y="80"/>
                      </a:lnTo>
                      <a:lnTo>
                        <a:pt x="80" y="80"/>
                      </a:lnTo>
                      <a:lnTo>
                        <a:pt x="88" y="88"/>
                      </a:lnTo>
                      <a:lnTo>
                        <a:pt x="88" y="80"/>
                      </a:lnTo>
                      <a:lnTo>
                        <a:pt x="88" y="88"/>
                      </a:lnTo>
                      <a:lnTo>
                        <a:pt x="96" y="88"/>
                      </a:lnTo>
                      <a:lnTo>
                        <a:pt x="104" y="88"/>
                      </a:lnTo>
                      <a:lnTo>
                        <a:pt x="104" y="80"/>
                      </a:lnTo>
                      <a:lnTo>
                        <a:pt x="96" y="72"/>
                      </a:lnTo>
                      <a:lnTo>
                        <a:pt x="88" y="64"/>
                      </a:lnTo>
                      <a:lnTo>
                        <a:pt x="80" y="56"/>
                      </a:lnTo>
                      <a:lnTo>
                        <a:pt x="80" y="48"/>
                      </a:lnTo>
                      <a:lnTo>
                        <a:pt x="80" y="56"/>
                      </a:lnTo>
                      <a:lnTo>
                        <a:pt x="88" y="56"/>
                      </a:lnTo>
                      <a:lnTo>
                        <a:pt x="88" y="64"/>
                      </a:lnTo>
                      <a:lnTo>
                        <a:pt x="96" y="64"/>
                      </a:lnTo>
                      <a:lnTo>
                        <a:pt x="96" y="56"/>
                      </a:lnTo>
                      <a:lnTo>
                        <a:pt x="96" y="48"/>
                      </a:lnTo>
                      <a:lnTo>
                        <a:pt x="88" y="40"/>
                      </a:lnTo>
                      <a:lnTo>
                        <a:pt x="80" y="40"/>
                      </a:lnTo>
                      <a:lnTo>
                        <a:pt x="72" y="48"/>
                      </a:lnTo>
                      <a:lnTo>
                        <a:pt x="64" y="48"/>
                      </a:lnTo>
                      <a:lnTo>
                        <a:pt x="64" y="40"/>
                      </a:lnTo>
                      <a:lnTo>
                        <a:pt x="56" y="40"/>
                      </a:lnTo>
                      <a:lnTo>
                        <a:pt x="48" y="48"/>
                      </a:lnTo>
                      <a:lnTo>
                        <a:pt x="40" y="56"/>
                      </a:lnTo>
                      <a:lnTo>
                        <a:pt x="40" y="48"/>
                      </a:lnTo>
                      <a:lnTo>
                        <a:pt x="48" y="48"/>
                      </a:lnTo>
                      <a:lnTo>
                        <a:pt x="56" y="40"/>
                      </a:lnTo>
                      <a:lnTo>
                        <a:pt x="56" y="32"/>
                      </a:lnTo>
                      <a:lnTo>
                        <a:pt x="56" y="16"/>
                      </a:lnTo>
                      <a:lnTo>
                        <a:pt x="48" y="16"/>
                      </a:lnTo>
                      <a:lnTo>
                        <a:pt x="40" y="16"/>
                      </a:lnTo>
                      <a:lnTo>
                        <a:pt x="40" y="8"/>
                      </a:lnTo>
                      <a:lnTo>
                        <a:pt x="32" y="0"/>
                      </a:lnTo>
                      <a:lnTo>
                        <a:pt x="24" y="0"/>
                      </a:lnTo>
                      <a:lnTo>
                        <a:pt x="16" y="0"/>
                      </a:lnTo>
                      <a:lnTo>
                        <a:pt x="8" y="0"/>
                      </a:lnTo>
                      <a:lnTo>
                        <a:pt x="0" y="8"/>
                      </a:lnTo>
                      <a:lnTo>
                        <a:pt x="8" y="8"/>
                      </a:lnTo>
                      <a:lnTo>
                        <a:pt x="8" y="16"/>
                      </a:lnTo>
                      <a:lnTo>
                        <a:pt x="0" y="8"/>
                      </a:lnTo>
                      <a:lnTo>
                        <a:pt x="0" y="16"/>
                      </a:lnTo>
                      <a:lnTo>
                        <a:pt x="8" y="16"/>
                      </a:lnTo>
                      <a:lnTo>
                        <a:pt x="8" y="24"/>
                      </a:lnTo>
                      <a:lnTo>
                        <a:pt x="16" y="24"/>
                      </a:lnTo>
                      <a:lnTo>
                        <a:pt x="8" y="32"/>
                      </a:lnTo>
                      <a:lnTo>
                        <a:pt x="16" y="40"/>
                      </a:lnTo>
                      <a:lnTo>
                        <a:pt x="16" y="48"/>
                      </a:lnTo>
                      <a:lnTo>
                        <a:pt x="8" y="48"/>
                      </a:lnTo>
                      <a:lnTo>
                        <a:pt x="0" y="56"/>
                      </a:lnTo>
                      <a:lnTo>
                        <a:pt x="8" y="48"/>
                      </a:lnTo>
                      <a:lnTo>
                        <a:pt x="16" y="56"/>
                      </a:lnTo>
                      <a:lnTo>
                        <a:pt x="24" y="48"/>
                      </a:lnTo>
                      <a:lnTo>
                        <a:pt x="24" y="56"/>
                      </a:lnTo>
                      <a:lnTo>
                        <a:pt x="32" y="64"/>
                      </a:lnTo>
                      <a:lnTo>
                        <a:pt x="40" y="64"/>
                      </a:lnTo>
                      <a:lnTo>
                        <a:pt x="40" y="56"/>
                      </a:lnTo>
                      <a:lnTo>
                        <a:pt x="40" y="64"/>
                      </a:lnTo>
                      <a:lnTo>
                        <a:pt x="40" y="56"/>
                      </a:lnTo>
                      <a:lnTo>
                        <a:pt x="48" y="56"/>
                      </a:lnTo>
                      <a:lnTo>
                        <a:pt x="48" y="64"/>
                      </a:lnTo>
                      <a:lnTo>
                        <a:pt x="48" y="80"/>
                      </a:lnTo>
                      <a:lnTo>
                        <a:pt x="48" y="88"/>
                      </a:lnTo>
                      <a:lnTo>
                        <a:pt x="48" y="96"/>
                      </a:lnTo>
                      <a:lnTo>
                        <a:pt x="48" y="104"/>
                      </a:lnTo>
                      <a:lnTo>
                        <a:pt x="40" y="104"/>
                      </a:lnTo>
                      <a:lnTo>
                        <a:pt x="40" y="112"/>
                      </a:lnTo>
                      <a:lnTo>
                        <a:pt x="32" y="112"/>
                      </a:lnTo>
                      <a:lnTo>
                        <a:pt x="32" y="120"/>
                      </a:lnTo>
                      <a:lnTo>
                        <a:pt x="24" y="120"/>
                      </a:lnTo>
                      <a:lnTo>
                        <a:pt x="24" y="128"/>
                      </a:lnTo>
                      <a:lnTo>
                        <a:pt x="16" y="136"/>
                      </a:lnTo>
                      <a:lnTo>
                        <a:pt x="24" y="136"/>
                      </a:lnTo>
                      <a:lnTo>
                        <a:pt x="24" y="144"/>
                      </a:lnTo>
                      <a:lnTo>
                        <a:pt x="16" y="144"/>
                      </a:lnTo>
                      <a:lnTo>
                        <a:pt x="16" y="152"/>
                      </a:lnTo>
                      <a:lnTo>
                        <a:pt x="16" y="160"/>
                      </a:lnTo>
                      <a:lnTo>
                        <a:pt x="16" y="168"/>
                      </a:lnTo>
                      <a:lnTo>
                        <a:pt x="24" y="168"/>
                      </a:lnTo>
                      <a:lnTo>
                        <a:pt x="32" y="168"/>
                      </a:lnTo>
                      <a:lnTo>
                        <a:pt x="40" y="160"/>
                      </a:lnTo>
                      <a:lnTo>
                        <a:pt x="40" y="168"/>
                      </a:lnTo>
                      <a:lnTo>
                        <a:pt x="32" y="168"/>
                      </a:lnTo>
                      <a:lnTo>
                        <a:pt x="32" y="176"/>
                      </a:lnTo>
                      <a:lnTo>
                        <a:pt x="40" y="184"/>
                      </a:lnTo>
                      <a:lnTo>
                        <a:pt x="48" y="184"/>
                      </a:lnTo>
                      <a:lnTo>
                        <a:pt x="56" y="184"/>
                      </a:lnTo>
                      <a:lnTo>
                        <a:pt x="56" y="176"/>
                      </a:lnTo>
                      <a:lnTo>
                        <a:pt x="64" y="176"/>
                      </a:lnTo>
                      <a:lnTo>
                        <a:pt x="64" y="168"/>
                      </a:lnTo>
                      <a:lnTo>
                        <a:pt x="64" y="176"/>
                      </a:lnTo>
                      <a:lnTo>
                        <a:pt x="72" y="168"/>
                      </a:lnTo>
                      <a:lnTo>
                        <a:pt x="72" y="176"/>
                      </a:lnTo>
                      <a:lnTo>
                        <a:pt x="64" y="184"/>
                      </a:lnTo>
                      <a:lnTo>
                        <a:pt x="64" y="192"/>
                      </a:lnTo>
                      <a:lnTo>
                        <a:pt x="72" y="200"/>
                      </a:lnTo>
                      <a:lnTo>
                        <a:pt x="80" y="200"/>
                      </a:lnTo>
                      <a:lnTo>
                        <a:pt x="80" y="192"/>
                      </a:lnTo>
                      <a:lnTo>
                        <a:pt x="88" y="200"/>
                      </a:lnTo>
                      <a:lnTo>
                        <a:pt x="96" y="208"/>
                      </a:lnTo>
                      <a:lnTo>
                        <a:pt x="96" y="200"/>
                      </a:lnTo>
                      <a:lnTo>
                        <a:pt x="96" y="192"/>
                      </a:lnTo>
                      <a:lnTo>
                        <a:pt x="104" y="192"/>
                      </a:lnTo>
                      <a:lnTo>
                        <a:pt x="96" y="200"/>
                      </a:lnTo>
                      <a:lnTo>
                        <a:pt x="104" y="208"/>
                      </a:lnTo>
                      <a:lnTo>
                        <a:pt x="104" y="200"/>
                      </a:lnTo>
                      <a:lnTo>
                        <a:pt x="112" y="200"/>
                      </a:lnTo>
                      <a:lnTo>
                        <a:pt x="104" y="200"/>
                      </a:lnTo>
                      <a:lnTo>
                        <a:pt x="104" y="208"/>
                      </a:lnTo>
                      <a:lnTo>
                        <a:pt x="112" y="208"/>
                      </a:lnTo>
                      <a:lnTo>
                        <a:pt x="120" y="200"/>
                      </a:lnTo>
                      <a:lnTo>
                        <a:pt x="120" y="192"/>
                      </a:lnTo>
                      <a:lnTo>
                        <a:pt x="120" y="200"/>
                      </a:lnTo>
                      <a:lnTo>
                        <a:pt x="120" y="208"/>
                      </a:lnTo>
                      <a:lnTo>
                        <a:pt x="128" y="208"/>
                      </a:lnTo>
                      <a:lnTo>
                        <a:pt x="128" y="200"/>
                      </a:lnTo>
                      <a:lnTo>
                        <a:pt x="128" y="192"/>
                      </a:lnTo>
                      <a:lnTo>
                        <a:pt x="128" y="208"/>
                      </a:lnTo>
                      <a:lnTo>
                        <a:pt x="136" y="208"/>
                      </a:lnTo>
                      <a:lnTo>
                        <a:pt x="144" y="216"/>
                      </a:lnTo>
                      <a:lnTo>
                        <a:pt x="144" y="208"/>
                      </a:lnTo>
                      <a:lnTo>
                        <a:pt x="152" y="216"/>
                      </a:lnTo>
                      <a:lnTo>
                        <a:pt x="152" y="208"/>
                      </a:lnTo>
                      <a:lnTo>
                        <a:pt x="160" y="208"/>
                      </a:lnTo>
                      <a:lnTo>
                        <a:pt x="160" y="200"/>
                      </a:lnTo>
                      <a:lnTo>
                        <a:pt x="168" y="200"/>
                      </a:lnTo>
                      <a:lnTo>
                        <a:pt x="160" y="192"/>
                      </a:lnTo>
                      <a:lnTo>
                        <a:pt x="168" y="184"/>
                      </a:lnTo>
                      <a:lnTo>
                        <a:pt x="168" y="192"/>
                      </a:lnTo>
                      <a:lnTo>
                        <a:pt x="168" y="200"/>
                      </a:lnTo>
                      <a:lnTo>
                        <a:pt x="160" y="208"/>
                      </a:lnTo>
                      <a:lnTo>
                        <a:pt x="168" y="2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7" name="Freeform 76"/>
                <p:cNvSpPr>
                  <a:spLocks/>
                </p:cNvSpPr>
                <p:nvPr/>
              </p:nvSpPr>
              <p:spPr bwMode="auto">
                <a:xfrm>
                  <a:off x="5168900" y="1574800"/>
                  <a:ext cx="12700" cy="1588"/>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8" name="Freeform 77"/>
                <p:cNvSpPr>
                  <a:spLocks/>
                </p:cNvSpPr>
                <p:nvPr/>
              </p:nvSpPr>
              <p:spPr bwMode="auto">
                <a:xfrm>
                  <a:off x="5156200" y="1612900"/>
                  <a:ext cx="12700" cy="12700"/>
                </a:xfrm>
                <a:custGeom>
                  <a:avLst/>
                  <a:gdLst>
                    <a:gd name="T0" fmla="*/ 0 w 8"/>
                    <a:gd name="T1" fmla="*/ 8 h 8"/>
                    <a:gd name="T2" fmla="*/ 8 w 8"/>
                    <a:gd name="T3" fmla="*/ 8 h 8"/>
                    <a:gd name="T4" fmla="*/ 8 w 8"/>
                    <a:gd name="T5" fmla="*/ 0 h 8"/>
                    <a:gd name="T6" fmla="*/ 8 w 8"/>
                    <a:gd name="T7" fmla="*/ 8 h 8"/>
                    <a:gd name="T8" fmla="*/ 0 w 8"/>
                    <a:gd name="T9" fmla="*/ 8 h 8"/>
                  </a:gdLst>
                  <a:ahLst/>
                  <a:cxnLst>
                    <a:cxn ang="0">
                      <a:pos x="T0" y="T1"/>
                    </a:cxn>
                    <a:cxn ang="0">
                      <a:pos x="T2" y="T3"/>
                    </a:cxn>
                    <a:cxn ang="0">
                      <a:pos x="T4" y="T5"/>
                    </a:cxn>
                    <a:cxn ang="0">
                      <a:pos x="T6" y="T7"/>
                    </a:cxn>
                    <a:cxn ang="0">
                      <a:pos x="T8" y="T9"/>
                    </a:cxn>
                  </a:cxnLst>
                  <a:rect l="0" t="0" r="r" b="b"/>
                  <a:pathLst>
                    <a:path w="8" h="8">
                      <a:moveTo>
                        <a:pt x="0" y="8"/>
                      </a:moveTo>
                      <a:lnTo>
                        <a:pt x="8" y="8"/>
                      </a:ln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49" name="Freeform 78"/>
                <p:cNvSpPr>
                  <a:spLocks/>
                </p:cNvSpPr>
                <p:nvPr/>
              </p:nvSpPr>
              <p:spPr bwMode="auto">
                <a:xfrm>
                  <a:off x="4978400" y="16891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0" name="Freeform 79"/>
                <p:cNvSpPr>
                  <a:spLocks/>
                </p:cNvSpPr>
                <p:nvPr/>
              </p:nvSpPr>
              <p:spPr bwMode="auto">
                <a:xfrm>
                  <a:off x="5092700" y="1574800"/>
                  <a:ext cx="12700" cy="12700"/>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1" name="Freeform 80"/>
                <p:cNvSpPr>
                  <a:spLocks/>
                </p:cNvSpPr>
                <p:nvPr/>
              </p:nvSpPr>
              <p:spPr bwMode="auto">
                <a:xfrm>
                  <a:off x="5041900" y="1574800"/>
                  <a:ext cx="38100" cy="12700"/>
                </a:xfrm>
                <a:custGeom>
                  <a:avLst/>
                  <a:gdLst>
                    <a:gd name="T0" fmla="*/ 0 w 24"/>
                    <a:gd name="T1" fmla="*/ 0 h 8"/>
                    <a:gd name="T2" fmla="*/ 0 w 24"/>
                    <a:gd name="T3" fmla="*/ 8 h 8"/>
                    <a:gd name="T4" fmla="*/ 8 w 24"/>
                    <a:gd name="T5" fmla="*/ 8 h 8"/>
                    <a:gd name="T6" fmla="*/ 16 w 24"/>
                    <a:gd name="T7" fmla="*/ 0 h 8"/>
                    <a:gd name="T8" fmla="*/ 24 w 24"/>
                    <a:gd name="T9" fmla="*/ 0 h 8"/>
                    <a:gd name="T10" fmla="*/ 16 w 24"/>
                    <a:gd name="T11" fmla="*/ 0 h 8"/>
                    <a:gd name="T12" fmla="*/ 8 w 24"/>
                    <a:gd name="T13" fmla="*/ 0 h 8"/>
                    <a:gd name="T14" fmla="*/ 0 w 2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8">
                      <a:moveTo>
                        <a:pt x="0" y="0"/>
                      </a:moveTo>
                      <a:lnTo>
                        <a:pt x="0" y="8"/>
                      </a:lnTo>
                      <a:lnTo>
                        <a:pt x="8" y="8"/>
                      </a:lnTo>
                      <a:lnTo>
                        <a:pt x="16" y="0"/>
                      </a:lnTo>
                      <a:lnTo>
                        <a:pt x="24" y="0"/>
                      </a:lnTo>
                      <a:lnTo>
                        <a:pt x="16" y="0"/>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2" name="Freeform 81"/>
                <p:cNvSpPr>
                  <a:spLocks/>
                </p:cNvSpPr>
                <p:nvPr/>
              </p:nvSpPr>
              <p:spPr bwMode="auto">
                <a:xfrm>
                  <a:off x="4953000" y="1549400"/>
                  <a:ext cx="38100" cy="50800"/>
                </a:xfrm>
                <a:custGeom>
                  <a:avLst/>
                  <a:gdLst>
                    <a:gd name="T0" fmla="*/ 16 w 24"/>
                    <a:gd name="T1" fmla="*/ 32 h 32"/>
                    <a:gd name="T2" fmla="*/ 8 w 24"/>
                    <a:gd name="T3" fmla="*/ 32 h 32"/>
                    <a:gd name="T4" fmla="*/ 0 w 24"/>
                    <a:gd name="T5" fmla="*/ 24 h 32"/>
                    <a:gd name="T6" fmla="*/ 0 w 24"/>
                    <a:gd name="T7" fmla="*/ 16 h 32"/>
                    <a:gd name="T8" fmla="*/ 8 w 24"/>
                    <a:gd name="T9" fmla="*/ 16 h 32"/>
                    <a:gd name="T10" fmla="*/ 0 w 24"/>
                    <a:gd name="T11" fmla="*/ 8 h 32"/>
                    <a:gd name="T12" fmla="*/ 8 w 24"/>
                    <a:gd name="T13" fmla="*/ 0 h 32"/>
                    <a:gd name="T14" fmla="*/ 16 w 24"/>
                    <a:gd name="T15" fmla="*/ 0 h 32"/>
                    <a:gd name="T16" fmla="*/ 16 w 24"/>
                    <a:gd name="T17" fmla="*/ 8 h 32"/>
                    <a:gd name="T18" fmla="*/ 16 w 24"/>
                    <a:gd name="T19" fmla="*/ 16 h 32"/>
                    <a:gd name="T20" fmla="*/ 24 w 24"/>
                    <a:gd name="T21" fmla="*/ 16 h 32"/>
                    <a:gd name="T22" fmla="*/ 16 w 24"/>
                    <a:gd name="T23" fmla="*/ 16 h 32"/>
                    <a:gd name="T24" fmla="*/ 24 w 24"/>
                    <a:gd name="T25" fmla="*/ 24 h 32"/>
                    <a:gd name="T26" fmla="*/ 16 w 24"/>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2">
                      <a:moveTo>
                        <a:pt x="16" y="32"/>
                      </a:moveTo>
                      <a:lnTo>
                        <a:pt x="8" y="32"/>
                      </a:lnTo>
                      <a:lnTo>
                        <a:pt x="0" y="24"/>
                      </a:lnTo>
                      <a:lnTo>
                        <a:pt x="0" y="16"/>
                      </a:lnTo>
                      <a:lnTo>
                        <a:pt x="8" y="16"/>
                      </a:lnTo>
                      <a:lnTo>
                        <a:pt x="0" y="8"/>
                      </a:lnTo>
                      <a:lnTo>
                        <a:pt x="8" y="0"/>
                      </a:lnTo>
                      <a:lnTo>
                        <a:pt x="16" y="0"/>
                      </a:lnTo>
                      <a:lnTo>
                        <a:pt x="16" y="8"/>
                      </a:lnTo>
                      <a:lnTo>
                        <a:pt x="16" y="16"/>
                      </a:lnTo>
                      <a:lnTo>
                        <a:pt x="24" y="16"/>
                      </a:lnTo>
                      <a:lnTo>
                        <a:pt x="16" y="16"/>
                      </a:lnTo>
                      <a:lnTo>
                        <a:pt x="24" y="24"/>
                      </a:lnTo>
                      <a:lnTo>
                        <a:pt x="16"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3" name="Freeform 82"/>
                <p:cNvSpPr>
                  <a:spLocks/>
                </p:cNvSpPr>
                <p:nvPr/>
              </p:nvSpPr>
              <p:spPr bwMode="auto">
                <a:xfrm>
                  <a:off x="4940300" y="1600200"/>
                  <a:ext cx="50800" cy="25400"/>
                </a:xfrm>
                <a:custGeom>
                  <a:avLst/>
                  <a:gdLst>
                    <a:gd name="T0" fmla="*/ 16 w 32"/>
                    <a:gd name="T1" fmla="*/ 16 h 16"/>
                    <a:gd name="T2" fmla="*/ 24 w 32"/>
                    <a:gd name="T3" fmla="*/ 16 h 16"/>
                    <a:gd name="T4" fmla="*/ 32 w 32"/>
                    <a:gd name="T5" fmla="*/ 16 h 16"/>
                    <a:gd name="T6" fmla="*/ 32 w 32"/>
                    <a:gd name="T7" fmla="*/ 8 h 16"/>
                    <a:gd name="T8" fmla="*/ 24 w 32"/>
                    <a:gd name="T9" fmla="*/ 8 h 16"/>
                    <a:gd name="T10" fmla="*/ 16 w 32"/>
                    <a:gd name="T11" fmla="*/ 0 h 16"/>
                    <a:gd name="T12" fmla="*/ 8 w 32"/>
                    <a:gd name="T13" fmla="*/ 0 h 16"/>
                    <a:gd name="T14" fmla="*/ 0 w 32"/>
                    <a:gd name="T15" fmla="*/ 0 h 16"/>
                    <a:gd name="T16" fmla="*/ 0 w 32"/>
                    <a:gd name="T17" fmla="*/ 8 h 16"/>
                    <a:gd name="T18" fmla="*/ 0 w 32"/>
                    <a:gd name="T19" fmla="*/ 16 h 16"/>
                    <a:gd name="T20" fmla="*/ 8 w 32"/>
                    <a:gd name="T21" fmla="*/ 16 h 16"/>
                    <a:gd name="T22" fmla="*/ 16 w 32"/>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6">
                      <a:moveTo>
                        <a:pt x="16" y="16"/>
                      </a:moveTo>
                      <a:lnTo>
                        <a:pt x="24" y="16"/>
                      </a:lnTo>
                      <a:lnTo>
                        <a:pt x="32" y="16"/>
                      </a:lnTo>
                      <a:lnTo>
                        <a:pt x="32" y="8"/>
                      </a:lnTo>
                      <a:lnTo>
                        <a:pt x="24" y="8"/>
                      </a:lnTo>
                      <a:lnTo>
                        <a:pt x="16" y="0"/>
                      </a:lnTo>
                      <a:lnTo>
                        <a:pt x="8" y="0"/>
                      </a:lnTo>
                      <a:lnTo>
                        <a:pt x="0" y="0"/>
                      </a:lnTo>
                      <a:lnTo>
                        <a:pt x="0" y="8"/>
                      </a:lnTo>
                      <a:lnTo>
                        <a:pt x="0" y="16"/>
                      </a:lnTo>
                      <a:lnTo>
                        <a:pt x="8" y="16"/>
                      </a:lnTo>
                      <a:lnTo>
                        <a:pt x="16"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4" name="Freeform 83"/>
                <p:cNvSpPr>
                  <a:spLocks/>
                </p:cNvSpPr>
                <p:nvPr/>
              </p:nvSpPr>
              <p:spPr bwMode="auto">
                <a:xfrm>
                  <a:off x="4940300" y="1638300"/>
                  <a:ext cx="50800" cy="1588"/>
                </a:xfrm>
                <a:custGeom>
                  <a:avLst/>
                  <a:gdLst>
                    <a:gd name="T0" fmla="*/ 0 w 32"/>
                    <a:gd name="T1" fmla="*/ 8 w 32"/>
                    <a:gd name="T2" fmla="*/ 16 w 32"/>
                    <a:gd name="T3" fmla="*/ 24 w 32"/>
                    <a:gd name="T4" fmla="*/ 32 w 32"/>
                    <a:gd name="T5" fmla="*/ 24 w 32"/>
                    <a:gd name="T6" fmla="*/ 16 w 32"/>
                    <a:gd name="T7" fmla="*/ 8 w 32"/>
                    <a:gd name="T8" fmla="*/ 0 w 3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2">
                      <a:moveTo>
                        <a:pt x="0" y="0"/>
                      </a:moveTo>
                      <a:lnTo>
                        <a:pt x="8" y="0"/>
                      </a:lnTo>
                      <a:lnTo>
                        <a:pt x="16" y="0"/>
                      </a:lnTo>
                      <a:lnTo>
                        <a:pt x="24" y="0"/>
                      </a:lnTo>
                      <a:lnTo>
                        <a:pt x="32" y="0"/>
                      </a:lnTo>
                      <a:lnTo>
                        <a:pt x="24" y="0"/>
                      </a:lnTo>
                      <a:lnTo>
                        <a:pt x="16" y="0"/>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5" name="Freeform 84"/>
                <p:cNvSpPr>
                  <a:spLocks/>
                </p:cNvSpPr>
                <p:nvPr/>
              </p:nvSpPr>
              <p:spPr bwMode="auto">
                <a:xfrm>
                  <a:off x="4940300" y="1651000"/>
                  <a:ext cx="50800" cy="12700"/>
                </a:xfrm>
                <a:custGeom>
                  <a:avLst/>
                  <a:gdLst>
                    <a:gd name="T0" fmla="*/ 0 w 32"/>
                    <a:gd name="T1" fmla="*/ 8 h 8"/>
                    <a:gd name="T2" fmla="*/ 8 w 32"/>
                    <a:gd name="T3" fmla="*/ 0 h 8"/>
                    <a:gd name="T4" fmla="*/ 24 w 32"/>
                    <a:gd name="T5" fmla="*/ 0 h 8"/>
                    <a:gd name="T6" fmla="*/ 32 w 32"/>
                    <a:gd name="T7" fmla="*/ 0 h 8"/>
                    <a:gd name="T8" fmla="*/ 24 w 32"/>
                    <a:gd name="T9" fmla="*/ 0 h 8"/>
                    <a:gd name="T10" fmla="*/ 16 w 32"/>
                    <a:gd name="T11" fmla="*/ 8 h 8"/>
                    <a:gd name="T12" fmla="*/ 8 w 32"/>
                    <a:gd name="T13" fmla="*/ 8 h 8"/>
                    <a:gd name="T14" fmla="*/ 0 w 3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8">
                      <a:moveTo>
                        <a:pt x="0" y="8"/>
                      </a:moveTo>
                      <a:lnTo>
                        <a:pt x="8" y="0"/>
                      </a:lnTo>
                      <a:lnTo>
                        <a:pt x="24" y="0"/>
                      </a:lnTo>
                      <a:lnTo>
                        <a:pt x="32" y="0"/>
                      </a:lnTo>
                      <a:lnTo>
                        <a:pt x="24" y="0"/>
                      </a:lnTo>
                      <a:lnTo>
                        <a:pt x="16" y="8"/>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6" name="Freeform 85"/>
                <p:cNvSpPr>
                  <a:spLocks/>
                </p:cNvSpPr>
                <p:nvPr/>
              </p:nvSpPr>
              <p:spPr bwMode="auto">
                <a:xfrm>
                  <a:off x="4749800" y="14224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7" name="Freeform 86"/>
                <p:cNvSpPr>
                  <a:spLocks/>
                </p:cNvSpPr>
                <p:nvPr/>
              </p:nvSpPr>
              <p:spPr bwMode="auto">
                <a:xfrm>
                  <a:off x="4699000" y="1447800"/>
                  <a:ext cx="38100" cy="25400"/>
                </a:xfrm>
                <a:custGeom>
                  <a:avLst/>
                  <a:gdLst>
                    <a:gd name="T0" fmla="*/ 0 w 24"/>
                    <a:gd name="T1" fmla="*/ 0 h 16"/>
                    <a:gd name="T2" fmla="*/ 8 w 24"/>
                    <a:gd name="T3" fmla="*/ 0 h 16"/>
                    <a:gd name="T4" fmla="*/ 16 w 24"/>
                    <a:gd name="T5" fmla="*/ 0 h 16"/>
                    <a:gd name="T6" fmla="*/ 24 w 24"/>
                    <a:gd name="T7" fmla="*/ 0 h 16"/>
                    <a:gd name="T8" fmla="*/ 24 w 24"/>
                    <a:gd name="T9" fmla="*/ 8 h 16"/>
                    <a:gd name="T10" fmla="*/ 16 w 24"/>
                    <a:gd name="T11" fmla="*/ 16 h 16"/>
                    <a:gd name="T12" fmla="*/ 16 w 24"/>
                    <a:gd name="T13" fmla="*/ 8 h 16"/>
                    <a:gd name="T14" fmla="*/ 8 w 24"/>
                    <a:gd name="T15" fmla="*/ 8 h 16"/>
                    <a:gd name="T16" fmla="*/ 8 w 24"/>
                    <a:gd name="T17" fmla="*/ 0 h 16"/>
                    <a:gd name="T18" fmla="*/ 0 w 24"/>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6">
                      <a:moveTo>
                        <a:pt x="0" y="0"/>
                      </a:moveTo>
                      <a:lnTo>
                        <a:pt x="8" y="0"/>
                      </a:lnTo>
                      <a:lnTo>
                        <a:pt x="16" y="0"/>
                      </a:lnTo>
                      <a:lnTo>
                        <a:pt x="24" y="0"/>
                      </a:lnTo>
                      <a:lnTo>
                        <a:pt x="24" y="8"/>
                      </a:lnTo>
                      <a:lnTo>
                        <a:pt x="16" y="16"/>
                      </a:lnTo>
                      <a:lnTo>
                        <a:pt x="16" y="8"/>
                      </a:lnTo>
                      <a:lnTo>
                        <a:pt x="8"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8" name="Freeform 87"/>
                <p:cNvSpPr>
                  <a:spLocks/>
                </p:cNvSpPr>
                <p:nvPr/>
              </p:nvSpPr>
              <p:spPr bwMode="auto">
                <a:xfrm>
                  <a:off x="4419600" y="1460500"/>
                  <a:ext cx="12700" cy="1588"/>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59" name="Freeform 88"/>
                <p:cNvSpPr>
                  <a:spLocks/>
                </p:cNvSpPr>
                <p:nvPr/>
              </p:nvSpPr>
              <p:spPr bwMode="auto">
                <a:xfrm>
                  <a:off x="4419600" y="1346200"/>
                  <a:ext cx="304800" cy="165100"/>
                </a:xfrm>
                <a:custGeom>
                  <a:avLst/>
                  <a:gdLst>
                    <a:gd name="T0" fmla="*/ 32 w 192"/>
                    <a:gd name="T1" fmla="*/ 80 h 104"/>
                    <a:gd name="T2" fmla="*/ 48 w 192"/>
                    <a:gd name="T3" fmla="*/ 72 h 104"/>
                    <a:gd name="T4" fmla="*/ 40 w 192"/>
                    <a:gd name="T5" fmla="*/ 80 h 104"/>
                    <a:gd name="T6" fmla="*/ 40 w 192"/>
                    <a:gd name="T7" fmla="*/ 96 h 104"/>
                    <a:gd name="T8" fmla="*/ 40 w 192"/>
                    <a:gd name="T9" fmla="*/ 96 h 104"/>
                    <a:gd name="T10" fmla="*/ 48 w 192"/>
                    <a:gd name="T11" fmla="*/ 104 h 104"/>
                    <a:gd name="T12" fmla="*/ 64 w 192"/>
                    <a:gd name="T13" fmla="*/ 96 h 104"/>
                    <a:gd name="T14" fmla="*/ 64 w 192"/>
                    <a:gd name="T15" fmla="*/ 80 h 104"/>
                    <a:gd name="T16" fmla="*/ 72 w 192"/>
                    <a:gd name="T17" fmla="*/ 72 h 104"/>
                    <a:gd name="T18" fmla="*/ 72 w 192"/>
                    <a:gd name="T19" fmla="*/ 88 h 104"/>
                    <a:gd name="T20" fmla="*/ 80 w 192"/>
                    <a:gd name="T21" fmla="*/ 80 h 104"/>
                    <a:gd name="T22" fmla="*/ 88 w 192"/>
                    <a:gd name="T23" fmla="*/ 72 h 104"/>
                    <a:gd name="T24" fmla="*/ 88 w 192"/>
                    <a:gd name="T25" fmla="*/ 64 h 104"/>
                    <a:gd name="T26" fmla="*/ 96 w 192"/>
                    <a:gd name="T27" fmla="*/ 64 h 104"/>
                    <a:gd name="T28" fmla="*/ 104 w 192"/>
                    <a:gd name="T29" fmla="*/ 48 h 104"/>
                    <a:gd name="T30" fmla="*/ 112 w 192"/>
                    <a:gd name="T31" fmla="*/ 40 h 104"/>
                    <a:gd name="T32" fmla="*/ 120 w 192"/>
                    <a:gd name="T33" fmla="*/ 40 h 104"/>
                    <a:gd name="T34" fmla="*/ 120 w 192"/>
                    <a:gd name="T35" fmla="*/ 48 h 104"/>
                    <a:gd name="T36" fmla="*/ 112 w 192"/>
                    <a:gd name="T37" fmla="*/ 64 h 104"/>
                    <a:gd name="T38" fmla="*/ 104 w 192"/>
                    <a:gd name="T39" fmla="*/ 80 h 104"/>
                    <a:gd name="T40" fmla="*/ 104 w 192"/>
                    <a:gd name="T41" fmla="*/ 96 h 104"/>
                    <a:gd name="T42" fmla="*/ 112 w 192"/>
                    <a:gd name="T43" fmla="*/ 88 h 104"/>
                    <a:gd name="T44" fmla="*/ 120 w 192"/>
                    <a:gd name="T45" fmla="*/ 80 h 104"/>
                    <a:gd name="T46" fmla="*/ 136 w 192"/>
                    <a:gd name="T47" fmla="*/ 72 h 104"/>
                    <a:gd name="T48" fmla="*/ 152 w 192"/>
                    <a:gd name="T49" fmla="*/ 72 h 104"/>
                    <a:gd name="T50" fmla="*/ 152 w 192"/>
                    <a:gd name="T51" fmla="*/ 56 h 104"/>
                    <a:gd name="T52" fmla="*/ 168 w 192"/>
                    <a:gd name="T53" fmla="*/ 48 h 104"/>
                    <a:gd name="T54" fmla="*/ 168 w 192"/>
                    <a:gd name="T55" fmla="*/ 32 h 104"/>
                    <a:gd name="T56" fmla="*/ 184 w 192"/>
                    <a:gd name="T57" fmla="*/ 32 h 104"/>
                    <a:gd name="T58" fmla="*/ 192 w 192"/>
                    <a:gd name="T59" fmla="*/ 16 h 104"/>
                    <a:gd name="T60" fmla="*/ 192 w 192"/>
                    <a:gd name="T61" fmla="*/ 8 h 104"/>
                    <a:gd name="T62" fmla="*/ 176 w 192"/>
                    <a:gd name="T63" fmla="*/ 0 h 104"/>
                    <a:gd name="T64" fmla="*/ 176 w 192"/>
                    <a:gd name="T65" fmla="*/ 16 h 104"/>
                    <a:gd name="T66" fmla="*/ 168 w 192"/>
                    <a:gd name="T67" fmla="*/ 8 h 104"/>
                    <a:gd name="T68" fmla="*/ 160 w 192"/>
                    <a:gd name="T69" fmla="*/ 16 h 104"/>
                    <a:gd name="T70" fmla="*/ 160 w 192"/>
                    <a:gd name="T71" fmla="*/ 0 h 104"/>
                    <a:gd name="T72" fmla="*/ 144 w 192"/>
                    <a:gd name="T73" fmla="*/ 0 h 104"/>
                    <a:gd name="T74" fmla="*/ 128 w 192"/>
                    <a:gd name="T75" fmla="*/ 0 h 104"/>
                    <a:gd name="T76" fmla="*/ 120 w 192"/>
                    <a:gd name="T77" fmla="*/ 8 h 104"/>
                    <a:gd name="T78" fmla="*/ 104 w 192"/>
                    <a:gd name="T79" fmla="*/ 16 h 104"/>
                    <a:gd name="T80" fmla="*/ 88 w 192"/>
                    <a:gd name="T81" fmla="*/ 24 h 104"/>
                    <a:gd name="T82" fmla="*/ 80 w 192"/>
                    <a:gd name="T83" fmla="*/ 32 h 104"/>
                    <a:gd name="T84" fmla="*/ 72 w 192"/>
                    <a:gd name="T85" fmla="*/ 40 h 104"/>
                    <a:gd name="T86" fmla="*/ 64 w 192"/>
                    <a:gd name="T87" fmla="*/ 40 h 104"/>
                    <a:gd name="T88" fmla="*/ 48 w 192"/>
                    <a:gd name="T89" fmla="*/ 40 h 104"/>
                    <a:gd name="T90" fmla="*/ 40 w 192"/>
                    <a:gd name="T91" fmla="*/ 48 h 104"/>
                    <a:gd name="T92" fmla="*/ 16 w 192"/>
                    <a:gd name="T93" fmla="*/ 56 h 104"/>
                    <a:gd name="T94" fmla="*/ 8 w 192"/>
                    <a:gd name="T95" fmla="*/ 64 h 104"/>
                    <a:gd name="T96" fmla="*/ 8 w 192"/>
                    <a:gd name="T97" fmla="*/ 64 h 104"/>
                    <a:gd name="T98" fmla="*/ 0 w 192"/>
                    <a:gd name="T99" fmla="*/ 80 h 104"/>
                    <a:gd name="T100" fmla="*/ 16 w 192"/>
                    <a:gd name="T101" fmla="*/ 80 h 104"/>
                    <a:gd name="T102" fmla="*/ 24 w 192"/>
                    <a:gd name="T103" fmla="*/ 80 h 104"/>
                    <a:gd name="T104" fmla="*/ 32 w 192"/>
                    <a:gd name="T10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2" h="104">
                      <a:moveTo>
                        <a:pt x="32" y="88"/>
                      </a:moveTo>
                      <a:lnTo>
                        <a:pt x="32" y="80"/>
                      </a:lnTo>
                      <a:lnTo>
                        <a:pt x="40" y="80"/>
                      </a:lnTo>
                      <a:lnTo>
                        <a:pt x="48" y="72"/>
                      </a:lnTo>
                      <a:lnTo>
                        <a:pt x="48" y="80"/>
                      </a:lnTo>
                      <a:lnTo>
                        <a:pt x="40" y="80"/>
                      </a:lnTo>
                      <a:lnTo>
                        <a:pt x="40" y="88"/>
                      </a:lnTo>
                      <a:lnTo>
                        <a:pt x="40" y="96"/>
                      </a:lnTo>
                      <a:lnTo>
                        <a:pt x="40" y="104"/>
                      </a:lnTo>
                      <a:lnTo>
                        <a:pt x="40" y="96"/>
                      </a:lnTo>
                      <a:lnTo>
                        <a:pt x="48" y="96"/>
                      </a:lnTo>
                      <a:lnTo>
                        <a:pt x="48" y="104"/>
                      </a:lnTo>
                      <a:lnTo>
                        <a:pt x="56" y="96"/>
                      </a:lnTo>
                      <a:lnTo>
                        <a:pt x="64" y="96"/>
                      </a:lnTo>
                      <a:lnTo>
                        <a:pt x="64" y="88"/>
                      </a:lnTo>
                      <a:lnTo>
                        <a:pt x="64" y="80"/>
                      </a:lnTo>
                      <a:lnTo>
                        <a:pt x="72" y="80"/>
                      </a:lnTo>
                      <a:lnTo>
                        <a:pt x="72" y="72"/>
                      </a:lnTo>
                      <a:lnTo>
                        <a:pt x="72" y="80"/>
                      </a:lnTo>
                      <a:lnTo>
                        <a:pt x="72" y="88"/>
                      </a:lnTo>
                      <a:lnTo>
                        <a:pt x="80" y="88"/>
                      </a:lnTo>
                      <a:lnTo>
                        <a:pt x="80" y="80"/>
                      </a:lnTo>
                      <a:lnTo>
                        <a:pt x="88" y="80"/>
                      </a:lnTo>
                      <a:lnTo>
                        <a:pt x="88" y="72"/>
                      </a:lnTo>
                      <a:lnTo>
                        <a:pt x="96" y="64"/>
                      </a:lnTo>
                      <a:lnTo>
                        <a:pt x="88" y="64"/>
                      </a:lnTo>
                      <a:lnTo>
                        <a:pt x="96" y="56"/>
                      </a:lnTo>
                      <a:lnTo>
                        <a:pt x="96" y="64"/>
                      </a:lnTo>
                      <a:lnTo>
                        <a:pt x="104" y="56"/>
                      </a:lnTo>
                      <a:lnTo>
                        <a:pt x="104" y="48"/>
                      </a:lnTo>
                      <a:lnTo>
                        <a:pt x="112" y="48"/>
                      </a:lnTo>
                      <a:lnTo>
                        <a:pt x="112" y="40"/>
                      </a:lnTo>
                      <a:lnTo>
                        <a:pt x="120" y="48"/>
                      </a:lnTo>
                      <a:lnTo>
                        <a:pt x="120" y="40"/>
                      </a:lnTo>
                      <a:lnTo>
                        <a:pt x="128" y="40"/>
                      </a:lnTo>
                      <a:lnTo>
                        <a:pt x="120" y="48"/>
                      </a:lnTo>
                      <a:lnTo>
                        <a:pt x="120" y="56"/>
                      </a:lnTo>
                      <a:lnTo>
                        <a:pt x="112" y="64"/>
                      </a:lnTo>
                      <a:lnTo>
                        <a:pt x="112" y="72"/>
                      </a:lnTo>
                      <a:lnTo>
                        <a:pt x="104" y="80"/>
                      </a:lnTo>
                      <a:lnTo>
                        <a:pt x="104" y="88"/>
                      </a:lnTo>
                      <a:lnTo>
                        <a:pt x="104" y="96"/>
                      </a:lnTo>
                      <a:lnTo>
                        <a:pt x="112" y="96"/>
                      </a:lnTo>
                      <a:lnTo>
                        <a:pt x="112" y="88"/>
                      </a:lnTo>
                      <a:lnTo>
                        <a:pt x="120" y="88"/>
                      </a:lnTo>
                      <a:lnTo>
                        <a:pt x="120" y="80"/>
                      </a:lnTo>
                      <a:lnTo>
                        <a:pt x="128" y="72"/>
                      </a:lnTo>
                      <a:lnTo>
                        <a:pt x="136" y="72"/>
                      </a:lnTo>
                      <a:lnTo>
                        <a:pt x="144" y="72"/>
                      </a:lnTo>
                      <a:lnTo>
                        <a:pt x="152" y="72"/>
                      </a:lnTo>
                      <a:lnTo>
                        <a:pt x="152" y="64"/>
                      </a:lnTo>
                      <a:lnTo>
                        <a:pt x="152" y="56"/>
                      </a:lnTo>
                      <a:lnTo>
                        <a:pt x="160" y="48"/>
                      </a:lnTo>
                      <a:lnTo>
                        <a:pt x="168" y="48"/>
                      </a:lnTo>
                      <a:lnTo>
                        <a:pt x="168" y="40"/>
                      </a:lnTo>
                      <a:lnTo>
                        <a:pt x="168" y="32"/>
                      </a:lnTo>
                      <a:lnTo>
                        <a:pt x="176" y="32"/>
                      </a:lnTo>
                      <a:lnTo>
                        <a:pt x="184" y="32"/>
                      </a:lnTo>
                      <a:lnTo>
                        <a:pt x="192" y="24"/>
                      </a:lnTo>
                      <a:lnTo>
                        <a:pt x="192" y="16"/>
                      </a:lnTo>
                      <a:lnTo>
                        <a:pt x="184" y="8"/>
                      </a:lnTo>
                      <a:lnTo>
                        <a:pt x="192" y="8"/>
                      </a:lnTo>
                      <a:lnTo>
                        <a:pt x="184" y="0"/>
                      </a:lnTo>
                      <a:lnTo>
                        <a:pt x="176" y="0"/>
                      </a:lnTo>
                      <a:lnTo>
                        <a:pt x="176" y="8"/>
                      </a:lnTo>
                      <a:lnTo>
                        <a:pt x="176" y="16"/>
                      </a:lnTo>
                      <a:lnTo>
                        <a:pt x="168" y="16"/>
                      </a:lnTo>
                      <a:lnTo>
                        <a:pt x="168" y="8"/>
                      </a:lnTo>
                      <a:lnTo>
                        <a:pt x="168" y="16"/>
                      </a:lnTo>
                      <a:lnTo>
                        <a:pt x="160" y="16"/>
                      </a:lnTo>
                      <a:lnTo>
                        <a:pt x="160" y="8"/>
                      </a:lnTo>
                      <a:lnTo>
                        <a:pt x="160" y="0"/>
                      </a:lnTo>
                      <a:lnTo>
                        <a:pt x="152" y="0"/>
                      </a:lnTo>
                      <a:lnTo>
                        <a:pt x="144" y="0"/>
                      </a:lnTo>
                      <a:lnTo>
                        <a:pt x="136" y="0"/>
                      </a:lnTo>
                      <a:lnTo>
                        <a:pt x="128" y="0"/>
                      </a:lnTo>
                      <a:lnTo>
                        <a:pt x="120" y="0"/>
                      </a:lnTo>
                      <a:lnTo>
                        <a:pt x="120" y="8"/>
                      </a:lnTo>
                      <a:lnTo>
                        <a:pt x="112" y="8"/>
                      </a:lnTo>
                      <a:lnTo>
                        <a:pt x="104" y="16"/>
                      </a:lnTo>
                      <a:lnTo>
                        <a:pt x="96" y="24"/>
                      </a:lnTo>
                      <a:lnTo>
                        <a:pt x="88" y="24"/>
                      </a:lnTo>
                      <a:lnTo>
                        <a:pt x="88" y="32"/>
                      </a:lnTo>
                      <a:lnTo>
                        <a:pt x="80" y="32"/>
                      </a:lnTo>
                      <a:lnTo>
                        <a:pt x="72" y="32"/>
                      </a:lnTo>
                      <a:lnTo>
                        <a:pt x="72" y="40"/>
                      </a:lnTo>
                      <a:lnTo>
                        <a:pt x="64" y="32"/>
                      </a:lnTo>
                      <a:lnTo>
                        <a:pt x="64" y="40"/>
                      </a:lnTo>
                      <a:lnTo>
                        <a:pt x="56" y="40"/>
                      </a:lnTo>
                      <a:lnTo>
                        <a:pt x="48" y="40"/>
                      </a:lnTo>
                      <a:lnTo>
                        <a:pt x="48" y="48"/>
                      </a:lnTo>
                      <a:lnTo>
                        <a:pt x="40" y="48"/>
                      </a:lnTo>
                      <a:lnTo>
                        <a:pt x="24" y="48"/>
                      </a:lnTo>
                      <a:lnTo>
                        <a:pt x="16" y="56"/>
                      </a:lnTo>
                      <a:lnTo>
                        <a:pt x="8" y="56"/>
                      </a:lnTo>
                      <a:lnTo>
                        <a:pt x="8" y="64"/>
                      </a:lnTo>
                      <a:lnTo>
                        <a:pt x="16" y="64"/>
                      </a:lnTo>
                      <a:lnTo>
                        <a:pt x="8" y="64"/>
                      </a:lnTo>
                      <a:lnTo>
                        <a:pt x="8" y="72"/>
                      </a:lnTo>
                      <a:lnTo>
                        <a:pt x="0" y="80"/>
                      </a:lnTo>
                      <a:lnTo>
                        <a:pt x="8" y="80"/>
                      </a:lnTo>
                      <a:lnTo>
                        <a:pt x="16" y="80"/>
                      </a:lnTo>
                      <a:lnTo>
                        <a:pt x="16" y="72"/>
                      </a:lnTo>
                      <a:lnTo>
                        <a:pt x="24" y="80"/>
                      </a:lnTo>
                      <a:lnTo>
                        <a:pt x="24" y="88"/>
                      </a:lnTo>
                      <a:lnTo>
                        <a:pt x="32" y="8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0" name="Freeform 89"/>
                <p:cNvSpPr>
                  <a:spLocks/>
                </p:cNvSpPr>
                <p:nvPr/>
              </p:nvSpPr>
              <p:spPr bwMode="auto">
                <a:xfrm>
                  <a:off x="5207000" y="19177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1" name="Freeform 90"/>
                <p:cNvSpPr>
                  <a:spLocks/>
                </p:cNvSpPr>
                <p:nvPr/>
              </p:nvSpPr>
              <p:spPr bwMode="auto">
                <a:xfrm>
                  <a:off x="5080000" y="1739900"/>
                  <a:ext cx="88900" cy="101600"/>
                </a:xfrm>
                <a:custGeom>
                  <a:avLst/>
                  <a:gdLst>
                    <a:gd name="T0" fmla="*/ 32 w 56"/>
                    <a:gd name="T1" fmla="*/ 8 h 64"/>
                    <a:gd name="T2" fmla="*/ 24 w 56"/>
                    <a:gd name="T3" fmla="*/ 8 h 64"/>
                    <a:gd name="T4" fmla="*/ 16 w 56"/>
                    <a:gd name="T5" fmla="*/ 8 h 64"/>
                    <a:gd name="T6" fmla="*/ 24 w 56"/>
                    <a:gd name="T7" fmla="*/ 8 h 64"/>
                    <a:gd name="T8" fmla="*/ 24 w 56"/>
                    <a:gd name="T9" fmla="*/ 16 h 64"/>
                    <a:gd name="T10" fmla="*/ 16 w 56"/>
                    <a:gd name="T11" fmla="*/ 16 h 64"/>
                    <a:gd name="T12" fmla="*/ 16 w 56"/>
                    <a:gd name="T13" fmla="*/ 24 h 64"/>
                    <a:gd name="T14" fmla="*/ 24 w 56"/>
                    <a:gd name="T15" fmla="*/ 24 h 64"/>
                    <a:gd name="T16" fmla="*/ 16 w 56"/>
                    <a:gd name="T17" fmla="*/ 24 h 64"/>
                    <a:gd name="T18" fmla="*/ 8 w 56"/>
                    <a:gd name="T19" fmla="*/ 24 h 64"/>
                    <a:gd name="T20" fmla="*/ 0 w 56"/>
                    <a:gd name="T21" fmla="*/ 32 h 64"/>
                    <a:gd name="T22" fmla="*/ 8 w 56"/>
                    <a:gd name="T23" fmla="*/ 32 h 64"/>
                    <a:gd name="T24" fmla="*/ 8 w 56"/>
                    <a:gd name="T25" fmla="*/ 40 h 64"/>
                    <a:gd name="T26" fmla="*/ 0 w 56"/>
                    <a:gd name="T27" fmla="*/ 40 h 64"/>
                    <a:gd name="T28" fmla="*/ 8 w 56"/>
                    <a:gd name="T29" fmla="*/ 40 h 64"/>
                    <a:gd name="T30" fmla="*/ 8 w 56"/>
                    <a:gd name="T31" fmla="*/ 48 h 64"/>
                    <a:gd name="T32" fmla="*/ 16 w 56"/>
                    <a:gd name="T33" fmla="*/ 48 h 64"/>
                    <a:gd name="T34" fmla="*/ 24 w 56"/>
                    <a:gd name="T35" fmla="*/ 48 h 64"/>
                    <a:gd name="T36" fmla="*/ 24 w 56"/>
                    <a:gd name="T37" fmla="*/ 56 h 64"/>
                    <a:gd name="T38" fmla="*/ 32 w 56"/>
                    <a:gd name="T39" fmla="*/ 64 h 64"/>
                    <a:gd name="T40" fmla="*/ 40 w 56"/>
                    <a:gd name="T41" fmla="*/ 64 h 64"/>
                    <a:gd name="T42" fmla="*/ 48 w 56"/>
                    <a:gd name="T43" fmla="*/ 64 h 64"/>
                    <a:gd name="T44" fmla="*/ 48 w 56"/>
                    <a:gd name="T45" fmla="*/ 56 h 64"/>
                    <a:gd name="T46" fmla="*/ 48 w 56"/>
                    <a:gd name="T47" fmla="*/ 48 h 64"/>
                    <a:gd name="T48" fmla="*/ 56 w 56"/>
                    <a:gd name="T49" fmla="*/ 40 h 64"/>
                    <a:gd name="T50" fmla="*/ 56 w 56"/>
                    <a:gd name="T51" fmla="*/ 32 h 64"/>
                    <a:gd name="T52" fmla="*/ 56 w 56"/>
                    <a:gd name="T53" fmla="*/ 24 h 64"/>
                    <a:gd name="T54" fmla="*/ 56 w 56"/>
                    <a:gd name="T55" fmla="*/ 16 h 64"/>
                    <a:gd name="T56" fmla="*/ 56 w 56"/>
                    <a:gd name="T57" fmla="*/ 8 h 64"/>
                    <a:gd name="T58" fmla="*/ 48 w 56"/>
                    <a:gd name="T59" fmla="*/ 0 h 64"/>
                    <a:gd name="T60" fmla="*/ 40 w 56"/>
                    <a:gd name="T61" fmla="*/ 0 h 64"/>
                    <a:gd name="T62" fmla="*/ 32 w 56"/>
                    <a:gd name="T63" fmla="*/ 0 h 64"/>
                    <a:gd name="T64" fmla="*/ 32 w 56"/>
                    <a:gd name="T65"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4">
                      <a:moveTo>
                        <a:pt x="32" y="8"/>
                      </a:moveTo>
                      <a:lnTo>
                        <a:pt x="24" y="8"/>
                      </a:lnTo>
                      <a:lnTo>
                        <a:pt x="16" y="8"/>
                      </a:lnTo>
                      <a:lnTo>
                        <a:pt x="24" y="8"/>
                      </a:lnTo>
                      <a:lnTo>
                        <a:pt x="24" y="16"/>
                      </a:lnTo>
                      <a:lnTo>
                        <a:pt x="16" y="16"/>
                      </a:lnTo>
                      <a:lnTo>
                        <a:pt x="16" y="24"/>
                      </a:lnTo>
                      <a:lnTo>
                        <a:pt x="24" y="24"/>
                      </a:lnTo>
                      <a:lnTo>
                        <a:pt x="16" y="24"/>
                      </a:lnTo>
                      <a:lnTo>
                        <a:pt x="8" y="24"/>
                      </a:lnTo>
                      <a:lnTo>
                        <a:pt x="0" y="32"/>
                      </a:lnTo>
                      <a:lnTo>
                        <a:pt x="8" y="32"/>
                      </a:lnTo>
                      <a:lnTo>
                        <a:pt x="8" y="40"/>
                      </a:lnTo>
                      <a:lnTo>
                        <a:pt x="0" y="40"/>
                      </a:lnTo>
                      <a:lnTo>
                        <a:pt x="8" y="40"/>
                      </a:lnTo>
                      <a:lnTo>
                        <a:pt x="8" y="48"/>
                      </a:lnTo>
                      <a:lnTo>
                        <a:pt x="16" y="48"/>
                      </a:lnTo>
                      <a:lnTo>
                        <a:pt x="24" y="48"/>
                      </a:lnTo>
                      <a:lnTo>
                        <a:pt x="24" y="56"/>
                      </a:lnTo>
                      <a:lnTo>
                        <a:pt x="32" y="64"/>
                      </a:lnTo>
                      <a:lnTo>
                        <a:pt x="40" y="64"/>
                      </a:lnTo>
                      <a:lnTo>
                        <a:pt x="48" y="64"/>
                      </a:lnTo>
                      <a:lnTo>
                        <a:pt x="48" y="56"/>
                      </a:lnTo>
                      <a:lnTo>
                        <a:pt x="48" y="48"/>
                      </a:lnTo>
                      <a:lnTo>
                        <a:pt x="56" y="40"/>
                      </a:lnTo>
                      <a:lnTo>
                        <a:pt x="56" y="32"/>
                      </a:lnTo>
                      <a:lnTo>
                        <a:pt x="56" y="24"/>
                      </a:lnTo>
                      <a:lnTo>
                        <a:pt x="56" y="16"/>
                      </a:lnTo>
                      <a:lnTo>
                        <a:pt x="56" y="8"/>
                      </a:lnTo>
                      <a:lnTo>
                        <a:pt x="48" y="0"/>
                      </a:lnTo>
                      <a:lnTo>
                        <a:pt x="40" y="0"/>
                      </a:lnTo>
                      <a:lnTo>
                        <a:pt x="32" y="0"/>
                      </a:lnTo>
                      <a:lnTo>
                        <a:pt x="32"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2" name="Freeform 91"/>
                <p:cNvSpPr>
                  <a:spLocks/>
                </p:cNvSpPr>
                <p:nvPr/>
              </p:nvSpPr>
              <p:spPr bwMode="auto">
                <a:xfrm>
                  <a:off x="5168900" y="1689100"/>
                  <a:ext cx="12700" cy="1588"/>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3" name="Freeform 92"/>
                <p:cNvSpPr>
                  <a:spLocks/>
                </p:cNvSpPr>
                <p:nvPr/>
              </p:nvSpPr>
              <p:spPr bwMode="auto">
                <a:xfrm>
                  <a:off x="5168900" y="1701800"/>
                  <a:ext cx="12700" cy="38100"/>
                </a:xfrm>
                <a:custGeom>
                  <a:avLst/>
                  <a:gdLst>
                    <a:gd name="T0" fmla="*/ 0 w 8"/>
                    <a:gd name="T1" fmla="*/ 24 h 24"/>
                    <a:gd name="T2" fmla="*/ 0 w 8"/>
                    <a:gd name="T3" fmla="*/ 16 h 24"/>
                    <a:gd name="T4" fmla="*/ 0 w 8"/>
                    <a:gd name="T5" fmla="*/ 8 h 24"/>
                    <a:gd name="T6" fmla="*/ 0 w 8"/>
                    <a:gd name="T7" fmla="*/ 0 h 24"/>
                    <a:gd name="T8" fmla="*/ 8 w 8"/>
                    <a:gd name="T9" fmla="*/ 0 h 24"/>
                    <a:gd name="T10" fmla="*/ 0 w 8"/>
                    <a:gd name="T11" fmla="*/ 16 h 24"/>
                    <a:gd name="T12" fmla="*/ 0 w 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0" y="24"/>
                      </a:moveTo>
                      <a:lnTo>
                        <a:pt x="0" y="16"/>
                      </a:lnTo>
                      <a:lnTo>
                        <a:pt x="0" y="8"/>
                      </a:lnTo>
                      <a:lnTo>
                        <a:pt x="0" y="0"/>
                      </a:lnTo>
                      <a:lnTo>
                        <a:pt x="8" y="0"/>
                      </a:lnTo>
                      <a:lnTo>
                        <a:pt x="0" y="16"/>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4" name="Freeform 93"/>
                <p:cNvSpPr>
                  <a:spLocks/>
                </p:cNvSpPr>
                <p:nvPr/>
              </p:nvSpPr>
              <p:spPr bwMode="auto">
                <a:xfrm>
                  <a:off x="5105400" y="1714500"/>
                  <a:ext cx="12700" cy="1588"/>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5" name="Freeform 94"/>
                <p:cNvSpPr>
                  <a:spLocks/>
                </p:cNvSpPr>
                <p:nvPr/>
              </p:nvSpPr>
              <p:spPr bwMode="auto">
                <a:xfrm>
                  <a:off x="5092700" y="1714500"/>
                  <a:ext cx="12700" cy="12700"/>
                </a:xfrm>
                <a:custGeom>
                  <a:avLst/>
                  <a:gdLst>
                    <a:gd name="T0" fmla="*/ 8 w 8"/>
                    <a:gd name="T1" fmla="*/ 8 h 8"/>
                    <a:gd name="T2" fmla="*/ 0 w 8"/>
                    <a:gd name="T3" fmla="*/ 8 h 8"/>
                    <a:gd name="T4" fmla="*/ 8 w 8"/>
                    <a:gd name="T5" fmla="*/ 8 h 8"/>
                    <a:gd name="T6" fmla="*/ 8 w 8"/>
                    <a:gd name="T7" fmla="*/ 0 h 8"/>
                    <a:gd name="T8" fmla="*/ 8 w 8"/>
                    <a:gd name="T9" fmla="*/ 8 h 8"/>
                  </a:gdLst>
                  <a:ahLst/>
                  <a:cxnLst>
                    <a:cxn ang="0">
                      <a:pos x="T0" y="T1"/>
                    </a:cxn>
                    <a:cxn ang="0">
                      <a:pos x="T2" y="T3"/>
                    </a:cxn>
                    <a:cxn ang="0">
                      <a:pos x="T4" y="T5"/>
                    </a:cxn>
                    <a:cxn ang="0">
                      <a:pos x="T6" y="T7"/>
                    </a:cxn>
                    <a:cxn ang="0">
                      <a:pos x="T8" y="T9"/>
                    </a:cxn>
                  </a:cxnLst>
                  <a:rect l="0" t="0" r="r" b="b"/>
                  <a:pathLst>
                    <a:path w="8" h="8">
                      <a:moveTo>
                        <a:pt x="8" y="8"/>
                      </a:moveTo>
                      <a:lnTo>
                        <a:pt x="0" y="8"/>
                      </a:lnTo>
                      <a:lnTo>
                        <a:pt x="8" y="8"/>
                      </a:lnTo>
                      <a:lnTo>
                        <a:pt x="8" y="0"/>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6" name="Rectangle 95"/>
                <p:cNvSpPr>
                  <a:spLocks noChangeArrowheads="1"/>
                </p:cNvSpPr>
                <p:nvPr/>
              </p:nvSpPr>
              <p:spPr bwMode="auto">
                <a:xfrm>
                  <a:off x="5105400" y="17272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67" name="Freeform 96"/>
                <p:cNvSpPr>
                  <a:spLocks/>
                </p:cNvSpPr>
                <p:nvPr/>
              </p:nvSpPr>
              <p:spPr bwMode="auto">
                <a:xfrm>
                  <a:off x="5092700" y="1727200"/>
                  <a:ext cx="12700" cy="25400"/>
                </a:xfrm>
                <a:custGeom>
                  <a:avLst/>
                  <a:gdLst>
                    <a:gd name="T0" fmla="*/ 0 w 8"/>
                    <a:gd name="T1" fmla="*/ 16 h 16"/>
                    <a:gd name="T2" fmla="*/ 0 w 8"/>
                    <a:gd name="T3" fmla="*/ 8 h 16"/>
                    <a:gd name="T4" fmla="*/ 8 w 8"/>
                    <a:gd name="T5" fmla="*/ 0 h 16"/>
                    <a:gd name="T6" fmla="*/ 8 w 8"/>
                    <a:gd name="T7" fmla="*/ 8 h 16"/>
                    <a:gd name="T8" fmla="*/ 8 w 8"/>
                    <a:gd name="T9" fmla="*/ 16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8" y="0"/>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8" name="Freeform 97"/>
                <p:cNvSpPr>
                  <a:spLocks/>
                </p:cNvSpPr>
                <p:nvPr/>
              </p:nvSpPr>
              <p:spPr bwMode="auto">
                <a:xfrm>
                  <a:off x="4953000" y="1587500"/>
                  <a:ext cx="190500" cy="190500"/>
                </a:xfrm>
                <a:custGeom>
                  <a:avLst/>
                  <a:gdLst>
                    <a:gd name="T0" fmla="*/ 16 w 120"/>
                    <a:gd name="T1" fmla="*/ 112 h 120"/>
                    <a:gd name="T2" fmla="*/ 16 w 120"/>
                    <a:gd name="T3" fmla="*/ 96 h 120"/>
                    <a:gd name="T4" fmla="*/ 24 w 120"/>
                    <a:gd name="T5" fmla="*/ 88 h 120"/>
                    <a:gd name="T6" fmla="*/ 16 w 120"/>
                    <a:gd name="T7" fmla="*/ 80 h 120"/>
                    <a:gd name="T8" fmla="*/ 24 w 120"/>
                    <a:gd name="T9" fmla="*/ 80 h 120"/>
                    <a:gd name="T10" fmla="*/ 40 w 120"/>
                    <a:gd name="T11" fmla="*/ 80 h 120"/>
                    <a:gd name="T12" fmla="*/ 40 w 120"/>
                    <a:gd name="T13" fmla="*/ 80 h 120"/>
                    <a:gd name="T14" fmla="*/ 56 w 120"/>
                    <a:gd name="T15" fmla="*/ 72 h 120"/>
                    <a:gd name="T16" fmla="*/ 56 w 120"/>
                    <a:gd name="T17" fmla="*/ 72 h 120"/>
                    <a:gd name="T18" fmla="*/ 32 w 120"/>
                    <a:gd name="T19" fmla="*/ 64 h 120"/>
                    <a:gd name="T20" fmla="*/ 16 w 120"/>
                    <a:gd name="T21" fmla="*/ 64 h 120"/>
                    <a:gd name="T22" fmla="*/ 0 w 120"/>
                    <a:gd name="T23" fmla="*/ 64 h 120"/>
                    <a:gd name="T24" fmla="*/ 8 w 120"/>
                    <a:gd name="T25" fmla="*/ 56 h 120"/>
                    <a:gd name="T26" fmla="*/ 16 w 120"/>
                    <a:gd name="T27" fmla="*/ 48 h 120"/>
                    <a:gd name="T28" fmla="*/ 24 w 120"/>
                    <a:gd name="T29" fmla="*/ 56 h 120"/>
                    <a:gd name="T30" fmla="*/ 32 w 120"/>
                    <a:gd name="T31" fmla="*/ 40 h 120"/>
                    <a:gd name="T32" fmla="*/ 32 w 120"/>
                    <a:gd name="T33" fmla="*/ 32 h 120"/>
                    <a:gd name="T34" fmla="*/ 40 w 120"/>
                    <a:gd name="T35" fmla="*/ 24 h 120"/>
                    <a:gd name="T36" fmla="*/ 32 w 120"/>
                    <a:gd name="T37" fmla="*/ 16 h 120"/>
                    <a:gd name="T38" fmla="*/ 40 w 120"/>
                    <a:gd name="T39" fmla="*/ 8 h 120"/>
                    <a:gd name="T40" fmla="*/ 48 w 120"/>
                    <a:gd name="T41" fmla="*/ 24 h 120"/>
                    <a:gd name="T42" fmla="*/ 56 w 120"/>
                    <a:gd name="T43" fmla="*/ 48 h 120"/>
                    <a:gd name="T44" fmla="*/ 64 w 120"/>
                    <a:gd name="T45" fmla="*/ 48 h 120"/>
                    <a:gd name="T46" fmla="*/ 64 w 120"/>
                    <a:gd name="T47" fmla="*/ 40 h 120"/>
                    <a:gd name="T48" fmla="*/ 56 w 120"/>
                    <a:gd name="T49" fmla="*/ 32 h 120"/>
                    <a:gd name="T50" fmla="*/ 64 w 120"/>
                    <a:gd name="T51" fmla="*/ 24 h 120"/>
                    <a:gd name="T52" fmla="*/ 64 w 120"/>
                    <a:gd name="T53" fmla="*/ 16 h 120"/>
                    <a:gd name="T54" fmla="*/ 72 w 120"/>
                    <a:gd name="T55" fmla="*/ 8 h 120"/>
                    <a:gd name="T56" fmla="*/ 80 w 120"/>
                    <a:gd name="T57" fmla="*/ 0 h 120"/>
                    <a:gd name="T58" fmla="*/ 96 w 120"/>
                    <a:gd name="T59" fmla="*/ 8 h 120"/>
                    <a:gd name="T60" fmla="*/ 88 w 120"/>
                    <a:gd name="T61" fmla="*/ 24 h 120"/>
                    <a:gd name="T62" fmla="*/ 96 w 120"/>
                    <a:gd name="T63" fmla="*/ 16 h 120"/>
                    <a:gd name="T64" fmla="*/ 112 w 120"/>
                    <a:gd name="T65" fmla="*/ 8 h 120"/>
                    <a:gd name="T66" fmla="*/ 112 w 120"/>
                    <a:gd name="T67" fmla="*/ 8 h 120"/>
                    <a:gd name="T68" fmla="*/ 120 w 120"/>
                    <a:gd name="T69" fmla="*/ 24 h 120"/>
                    <a:gd name="T70" fmla="*/ 112 w 120"/>
                    <a:gd name="T71" fmla="*/ 32 h 120"/>
                    <a:gd name="T72" fmla="*/ 112 w 120"/>
                    <a:gd name="T73" fmla="*/ 48 h 120"/>
                    <a:gd name="T74" fmla="*/ 104 w 120"/>
                    <a:gd name="T75" fmla="*/ 56 h 120"/>
                    <a:gd name="T76" fmla="*/ 96 w 120"/>
                    <a:gd name="T77" fmla="*/ 64 h 120"/>
                    <a:gd name="T78" fmla="*/ 88 w 120"/>
                    <a:gd name="T79" fmla="*/ 72 h 120"/>
                    <a:gd name="T80" fmla="*/ 80 w 120"/>
                    <a:gd name="T81" fmla="*/ 80 h 120"/>
                    <a:gd name="T82" fmla="*/ 80 w 120"/>
                    <a:gd name="T83" fmla="*/ 88 h 120"/>
                    <a:gd name="T84" fmla="*/ 80 w 120"/>
                    <a:gd name="T85" fmla="*/ 88 h 120"/>
                    <a:gd name="T86" fmla="*/ 72 w 120"/>
                    <a:gd name="T87" fmla="*/ 96 h 120"/>
                    <a:gd name="T88" fmla="*/ 64 w 120"/>
                    <a:gd name="T89" fmla="*/ 104 h 120"/>
                    <a:gd name="T90" fmla="*/ 64 w 120"/>
                    <a:gd name="T91" fmla="*/ 104 h 120"/>
                    <a:gd name="T92" fmla="*/ 64 w 120"/>
                    <a:gd name="T93" fmla="*/ 104 h 120"/>
                    <a:gd name="T94" fmla="*/ 56 w 120"/>
                    <a:gd name="T95" fmla="*/ 112 h 120"/>
                    <a:gd name="T96" fmla="*/ 40 w 120"/>
                    <a:gd name="T97" fmla="*/ 120 h 120"/>
                    <a:gd name="T98" fmla="*/ 32 w 120"/>
                    <a:gd name="T99" fmla="*/ 112 h 120"/>
                    <a:gd name="T100" fmla="*/ 32 w 120"/>
                    <a:gd name="T101"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0">
                      <a:moveTo>
                        <a:pt x="24" y="112"/>
                      </a:moveTo>
                      <a:lnTo>
                        <a:pt x="16" y="112"/>
                      </a:lnTo>
                      <a:lnTo>
                        <a:pt x="16" y="104"/>
                      </a:lnTo>
                      <a:lnTo>
                        <a:pt x="16" y="96"/>
                      </a:lnTo>
                      <a:lnTo>
                        <a:pt x="24" y="96"/>
                      </a:lnTo>
                      <a:lnTo>
                        <a:pt x="24" y="88"/>
                      </a:lnTo>
                      <a:lnTo>
                        <a:pt x="16" y="88"/>
                      </a:lnTo>
                      <a:lnTo>
                        <a:pt x="16" y="80"/>
                      </a:lnTo>
                      <a:lnTo>
                        <a:pt x="24" y="88"/>
                      </a:lnTo>
                      <a:lnTo>
                        <a:pt x="24" y="80"/>
                      </a:lnTo>
                      <a:lnTo>
                        <a:pt x="32" y="80"/>
                      </a:lnTo>
                      <a:lnTo>
                        <a:pt x="40" y="80"/>
                      </a:lnTo>
                      <a:lnTo>
                        <a:pt x="32" y="80"/>
                      </a:lnTo>
                      <a:lnTo>
                        <a:pt x="40" y="80"/>
                      </a:lnTo>
                      <a:lnTo>
                        <a:pt x="48" y="72"/>
                      </a:lnTo>
                      <a:lnTo>
                        <a:pt x="56" y="72"/>
                      </a:lnTo>
                      <a:lnTo>
                        <a:pt x="64" y="72"/>
                      </a:lnTo>
                      <a:lnTo>
                        <a:pt x="56" y="72"/>
                      </a:lnTo>
                      <a:lnTo>
                        <a:pt x="40" y="64"/>
                      </a:lnTo>
                      <a:lnTo>
                        <a:pt x="32" y="64"/>
                      </a:lnTo>
                      <a:lnTo>
                        <a:pt x="24" y="64"/>
                      </a:lnTo>
                      <a:lnTo>
                        <a:pt x="16" y="64"/>
                      </a:lnTo>
                      <a:lnTo>
                        <a:pt x="8" y="64"/>
                      </a:lnTo>
                      <a:lnTo>
                        <a:pt x="0" y="64"/>
                      </a:lnTo>
                      <a:lnTo>
                        <a:pt x="0" y="56"/>
                      </a:lnTo>
                      <a:lnTo>
                        <a:pt x="8" y="56"/>
                      </a:lnTo>
                      <a:lnTo>
                        <a:pt x="8" y="48"/>
                      </a:lnTo>
                      <a:lnTo>
                        <a:pt x="16" y="48"/>
                      </a:lnTo>
                      <a:lnTo>
                        <a:pt x="24" y="48"/>
                      </a:lnTo>
                      <a:lnTo>
                        <a:pt x="24" y="56"/>
                      </a:lnTo>
                      <a:lnTo>
                        <a:pt x="24" y="48"/>
                      </a:lnTo>
                      <a:lnTo>
                        <a:pt x="32" y="40"/>
                      </a:lnTo>
                      <a:lnTo>
                        <a:pt x="24" y="40"/>
                      </a:lnTo>
                      <a:lnTo>
                        <a:pt x="32" y="32"/>
                      </a:lnTo>
                      <a:lnTo>
                        <a:pt x="32" y="24"/>
                      </a:lnTo>
                      <a:lnTo>
                        <a:pt x="40" y="24"/>
                      </a:lnTo>
                      <a:lnTo>
                        <a:pt x="32" y="24"/>
                      </a:lnTo>
                      <a:lnTo>
                        <a:pt x="32" y="16"/>
                      </a:lnTo>
                      <a:lnTo>
                        <a:pt x="40" y="16"/>
                      </a:lnTo>
                      <a:lnTo>
                        <a:pt x="40" y="8"/>
                      </a:lnTo>
                      <a:lnTo>
                        <a:pt x="48" y="16"/>
                      </a:lnTo>
                      <a:lnTo>
                        <a:pt x="48" y="24"/>
                      </a:lnTo>
                      <a:lnTo>
                        <a:pt x="48" y="32"/>
                      </a:lnTo>
                      <a:lnTo>
                        <a:pt x="56" y="48"/>
                      </a:lnTo>
                      <a:lnTo>
                        <a:pt x="56" y="56"/>
                      </a:lnTo>
                      <a:lnTo>
                        <a:pt x="64" y="48"/>
                      </a:lnTo>
                      <a:lnTo>
                        <a:pt x="56" y="48"/>
                      </a:lnTo>
                      <a:lnTo>
                        <a:pt x="64" y="40"/>
                      </a:lnTo>
                      <a:lnTo>
                        <a:pt x="64" y="32"/>
                      </a:lnTo>
                      <a:lnTo>
                        <a:pt x="56" y="32"/>
                      </a:lnTo>
                      <a:lnTo>
                        <a:pt x="64" y="32"/>
                      </a:lnTo>
                      <a:lnTo>
                        <a:pt x="64" y="24"/>
                      </a:lnTo>
                      <a:lnTo>
                        <a:pt x="56" y="16"/>
                      </a:lnTo>
                      <a:lnTo>
                        <a:pt x="64" y="16"/>
                      </a:lnTo>
                      <a:lnTo>
                        <a:pt x="64" y="8"/>
                      </a:lnTo>
                      <a:lnTo>
                        <a:pt x="72" y="8"/>
                      </a:lnTo>
                      <a:lnTo>
                        <a:pt x="72" y="0"/>
                      </a:lnTo>
                      <a:lnTo>
                        <a:pt x="80" y="0"/>
                      </a:lnTo>
                      <a:lnTo>
                        <a:pt x="88" y="8"/>
                      </a:lnTo>
                      <a:lnTo>
                        <a:pt x="96" y="8"/>
                      </a:lnTo>
                      <a:lnTo>
                        <a:pt x="88" y="16"/>
                      </a:lnTo>
                      <a:lnTo>
                        <a:pt x="88" y="24"/>
                      </a:lnTo>
                      <a:lnTo>
                        <a:pt x="96" y="24"/>
                      </a:lnTo>
                      <a:lnTo>
                        <a:pt x="96" y="16"/>
                      </a:lnTo>
                      <a:lnTo>
                        <a:pt x="104" y="8"/>
                      </a:lnTo>
                      <a:lnTo>
                        <a:pt x="112" y="8"/>
                      </a:lnTo>
                      <a:lnTo>
                        <a:pt x="104" y="8"/>
                      </a:lnTo>
                      <a:lnTo>
                        <a:pt x="112" y="8"/>
                      </a:lnTo>
                      <a:lnTo>
                        <a:pt x="112" y="16"/>
                      </a:lnTo>
                      <a:lnTo>
                        <a:pt x="120" y="24"/>
                      </a:lnTo>
                      <a:lnTo>
                        <a:pt x="120" y="32"/>
                      </a:lnTo>
                      <a:lnTo>
                        <a:pt x="112" y="32"/>
                      </a:lnTo>
                      <a:lnTo>
                        <a:pt x="112" y="40"/>
                      </a:lnTo>
                      <a:lnTo>
                        <a:pt x="112" y="48"/>
                      </a:lnTo>
                      <a:lnTo>
                        <a:pt x="104" y="48"/>
                      </a:lnTo>
                      <a:lnTo>
                        <a:pt x="104" y="56"/>
                      </a:lnTo>
                      <a:lnTo>
                        <a:pt x="96" y="56"/>
                      </a:lnTo>
                      <a:lnTo>
                        <a:pt x="96" y="64"/>
                      </a:lnTo>
                      <a:lnTo>
                        <a:pt x="88" y="64"/>
                      </a:lnTo>
                      <a:lnTo>
                        <a:pt x="88" y="72"/>
                      </a:lnTo>
                      <a:lnTo>
                        <a:pt x="80" y="72"/>
                      </a:lnTo>
                      <a:lnTo>
                        <a:pt x="80" y="80"/>
                      </a:lnTo>
                      <a:lnTo>
                        <a:pt x="88" y="80"/>
                      </a:lnTo>
                      <a:lnTo>
                        <a:pt x="80" y="88"/>
                      </a:lnTo>
                      <a:lnTo>
                        <a:pt x="80" y="96"/>
                      </a:lnTo>
                      <a:lnTo>
                        <a:pt x="80" y="88"/>
                      </a:lnTo>
                      <a:lnTo>
                        <a:pt x="72" y="88"/>
                      </a:lnTo>
                      <a:lnTo>
                        <a:pt x="72" y="96"/>
                      </a:lnTo>
                      <a:lnTo>
                        <a:pt x="64" y="96"/>
                      </a:lnTo>
                      <a:lnTo>
                        <a:pt x="64" y="104"/>
                      </a:lnTo>
                      <a:lnTo>
                        <a:pt x="72" y="104"/>
                      </a:lnTo>
                      <a:lnTo>
                        <a:pt x="64" y="104"/>
                      </a:lnTo>
                      <a:lnTo>
                        <a:pt x="64" y="112"/>
                      </a:lnTo>
                      <a:lnTo>
                        <a:pt x="64" y="104"/>
                      </a:lnTo>
                      <a:lnTo>
                        <a:pt x="56" y="104"/>
                      </a:lnTo>
                      <a:lnTo>
                        <a:pt x="56" y="112"/>
                      </a:lnTo>
                      <a:lnTo>
                        <a:pt x="56" y="120"/>
                      </a:lnTo>
                      <a:lnTo>
                        <a:pt x="40" y="120"/>
                      </a:lnTo>
                      <a:lnTo>
                        <a:pt x="40" y="112"/>
                      </a:lnTo>
                      <a:lnTo>
                        <a:pt x="32" y="112"/>
                      </a:lnTo>
                      <a:lnTo>
                        <a:pt x="32" y="104"/>
                      </a:lnTo>
                      <a:lnTo>
                        <a:pt x="32" y="112"/>
                      </a:lnTo>
                      <a:lnTo>
                        <a:pt x="24" y="11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69" name="Freeform 98"/>
                <p:cNvSpPr>
                  <a:spLocks/>
                </p:cNvSpPr>
                <p:nvPr/>
              </p:nvSpPr>
              <p:spPr bwMode="auto">
                <a:xfrm>
                  <a:off x="4483100" y="1498600"/>
                  <a:ext cx="88900" cy="63500"/>
                </a:xfrm>
                <a:custGeom>
                  <a:avLst/>
                  <a:gdLst>
                    <a:gd name="T0" fmla="*/ 0 w 56"/>
                    <a:gd name="T1" fmla="*/ 32 h 40"/>
                    <a:gd name="T2" fmla="*/ 0 w 56"/>
                    <a:gd name="T3" fmla="*/ 24 h 40"/>
                    <a:gd name="T4" fmla="*/ 16 w 56"/>
                    <a:gd name="T5" fmla="*/ 16 h 40"/>
                    <a:gd name="T6" fmla="*/ 24 w 56"/>
                    <a:gd name="T7" fmla="*/ 16 h 40"/>
                    <a:gd name="T8" fmla="*/ 32 w 56"/>
                    <a:gd name="T9" fmla="*/ 8 h 40"/>
                    <a:gd name="T10" fmla="*/ 40 w 56"/>
                    <a:gd name="T11" fmla="*/ 8 h 40"/>
                    <a:gd name="T12" fmla="*/ 48 w 56"/>
                    <a:gd name="T13" fmla="*/ 8 h 40"/>
                    <a:gd name="T14" fmla="*/ 56 w 56"/>
                    <a:gd name="T15" fmla="*/ 0 h 40"/>
                    <a:gd name="T16" fmla="*/ 56 w 56"/>
                    <a:gd name="T17" fmla="*/ 8 h 40"/>
                    <a:gd name="T18" fmla="*/ 48 w 56"/>
                    <a:gd name="T19" fmla="*/ 16 h 40"/>
                    <a:gd name="T20" fmla="*/ 40 w 56"/>
                    <a:gd name="T21" fmla="*/ 16 h 40"/>
                    <a:gd name="T22" fmla="*/ 24 w 56"/>
                    <a:gd name="T23" fmla="*/ 32 h 40"/>
                    <a:gd name="T24" fmla="*/ 16 w 56"/>
                    <a:gd name="T25" fmla="*/ 32 h 40"/>
                    <a:gd name="T26" fmla="*/ 16 w 56"/>
                    <a:gd name="T27" fmla="*/ 40 h 40"/>
                    <a:gd name="T28" fmla="*/ 8 w 56"/>
                    <a:gd name="T29" fmla="*/ 40 h 40"/>
                    <a:gd name="T30" fmla="*/ 8 w 56"/>
                    <a:gd name="T31" fmla="*/ 32 h 40"/>
                    <a:gd name="T32" fmla="*/ 0 w 56"/>
                    <a:gd name="T33"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40">
                      <a:moveTo>
                        <a:pt x="0" y="32"/>
                      </a:moveTo>
                      <a:lnTo>
                        <a:pt x="0" y="24"/>
                      </a:lnTo>
                      <a:lnTo>
                        <a:pt x="16" y="16"/>
                      </a:lnTo>
                      <a:lnTo>
                        <a:pt x="24" y="16"/>
                      </a:lnTo>
                      <a:lnTo>
                        <a:pt x="32" y="8"/>
                      </a:lnTo>
                      <a:lnTo>
                        <a:pt x="40" y="8"/>
                      </a:lnTo>
                      <a:lnTo>
                        <a:pt x="48" y="8"/>
                      </a:lnTo>
                      <a:lnTo>
                        <a:pt x="56" y="0"/>
                      </a:lnTo>
                      <a:lnTo>
                        <a:pt x="56" y="8"/>
                      </a:lnTo>
                      <a:lnTo>
                        <a:pt x="48" y="16"/>
                      </a:lnTo>
                      <a:lnTo>
                        <a:pt x="40" y="16"/>
                      </a:lnTo>
                      <a:lnTo>
                        <a:pt x="24" y="32"/>
                      </a:lnTo>
                      <a:lnTo>
                        <a:pt x="16" y="32"/>
                      </a:lnTo>
                      <a:lnTo>
                        <a:pt x="16" y="40"/>
                      </a:lnTo>
                      <a:lnTo>
                        <a:pt x="8" y="40"/>
                      </a:lnTo>
                      <a:lnTo>
                        <a:pt x="8" y="32"/>
                      </a:lnTo>
                      <a:lnTo>
                        <a:pt x="0"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0" name="Freeform 99"/>
                <p:cNvSpPr>
                  <a:spLocks/>
                </p:cNvSpPr>
                <p:nvPr/>
              </p:nvSpPr>
              <p:spPr bwMode="auto">
                <a:xfrm>
                  <a:off x="4864100" y="1689100"/>
                  <a:ext cx="38100" cy="38100"/>
                </a:xfrm>
                <a:custGeom>
                  <a:avLst/>
                  <a:gdLst>
                    <a:gd name="T0" fmla="*/ 0 w 24"/>
                    <a:gd name="T1" fmla="*/ 16 h 24"/>
                    <a:gd name="T2" fmla="*/ 0 w 24"/>
                    <a:gd name="T3" fmla="*/ 8 h 24"/>
                    <a:gd name="T4" fmla="*/ 8 w 24"/>
                    <a:gd name="T5" fmla="*/ 8 h 24"/>
                    <a:gd name="T6" fmla="*/ 8 w 24"/>
                    <a:gd name="T7" fmla="*/ 0 h 24"/>
                    <a:gd name="T8" fmla="*/ 16 w 24"/>
                    <a:gd name="T9" fmla="*/ 0 h 24"/>
                    <a:gd name="T10" fmla="*/ 24 w 24"/>
                    <a:gd name="T11" fmla="*/ 8 h 24"/>
                    <a:gd name="T12" fmla="*/ 16 w 24"/>
                    <a:gd name="T13" fmla="*/ 16 h 24"/>
                    <a:gd name="T14" fmla="*/ 8 w 24"/>
                    <a:gd name="T15" fmla="*/ 16 h 24"/>
                    <a:gd name="T16" fmla="*/ 8 w 24"/>
                    <a:gd name="T17" fmla="*/ 24 h 24"/>
                    <a:gd name="T18" fmla="*/ 0 w 24"/>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0" y="16"/>
                      </a:moveTo>
                      <a:lnTo>
                        <a:pt x="0" y="8"/>
                      </a:lnTo>
                      <a:lnTo>
                        <a:pt x="8" y="8"/>
                      </a:lnTo>
                      <a:lnTo>
                        <a:pt x="8" y="0"/>
                      </a:lnTo>
                      <a:lnTo>
                        <a:pt x="16" y="0"/>
                      </a:lnTo>
                      <a:lnTo>
                        <a:pt x="24" y="8"/>
                      </a:lnTo>
                      <a:lnTo>
                        <a:pt x="16" y="16"/>
                      </a:lnTo>
                      <a:lnTo>
                        <a:pt x="8" y="16"/>
                      </a:lnTo>
                      <a:lnTo>
                        <a:pt x="8" y="24"/>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1" name="Freeform 100"/>
                <p:cNvSpPr>
                  <a:spLocks/>
                </p:cNvSpPr>
                <p:nvPr/>
              </p:nvSpPr>
              <p:spPr bwMode="auto">
                <a:xfrm>
                  <a:off x="4508500" y="1485900"/>
                  <a:ext cx="381000" cy="241300"/>
                </a:xfrm>
                <a:custGeom>
                  <a:avLst/>
                  <a:gdLst>
                    <a:gd name="T0" fmla="*/ 32 w 240"/>
                    <a:gd name="T1" fmla="*/ 120 h 152"/>
                    <a:gd name="T2" fmla="*/ 56 w 240"/>
                    <a:gd name="T3" fmla="*/ 120 h 152"/>
                    <a:gd name="T4" fmla="*/ 80 w 240"/>
                    <a:gd name="T5" fmla="*/ 112 h 152"/>
                    <a:gd name="T6" fmla="*/ 96 w 240"/>
                    <a:gd name="T7" fmla="*/ 112 h 152"/>
                    <a:gd name="T8" fmla="*/ 112 w 240"/>
                    <a:gd name="T9" fmla="*/ 112 h 152"/>
                    <a:gd name="T10" fmla="*/ 96 w 240"/>
                    <a:gd name="T11" fmla="*/ 112 h 152"/>
                    <a:gd name="T12" fmla="*/ 80 w 240"/>
                    <a:gd name="T13" fmla="*/ 104 h 152"/>
                    <a:gd name="T14" fmla="*/ 64 w 240"/>
                    <a:gd name="T15" fmla="*/ 104 h 152"/>
                    <a:gd name="T16" fmla="*/ 64 w 240"/>
                    <a:gd name="T17" fmla="*/ 96 h 152"/>
                    <a:gd name="T18" fmla="*/ 40 w 240"/>
                    <a:gd name="T19" fmla="*/ 104 h 152"/>
                    <a:gd name="T20" fmla="*/ 40 w 240"/>
                    <a:gd name="T21" fmla="*/ 96 h 152"/>
                    <a:gd name="T22" fmla="*/ 24 w 240"/>
                    <a:gd name="T23" fmla="*/ 104 h 152"/>
                    <a:gd name="T24" fmla="*/ 16 w 240"/>
                    <a:gd name="T25" fmla="*/ 88 h 152"/>
                    <a:gd name="T26" fmla="*/ 8 w 240"/>
                    <a:gd name="T27" fmla="*/ 88 h 152"/>
                    <a:gd name="T28" fmla="*/ 8 w 240"/>
                    <a:gd name="T29" fmla="*/ 72 h 152"/>
                    <a:gd name="T30" fmla="*/ 24 w 240"/>
                    <a:gd name="T31" fmla="*/ 64 h 152"/>
                    <a:gd name="T32" fmla="*/ 48 w 240"/>
                    <a:gd name="T33" fmla="*/ 64 h 152"/>
                    <a:gd name="T34" fmla="*/ 40 w 240"/>
                    <a:gd name="T35" fmla="*/ 56 h 152"/>
                    <a:gd name="T36" fmla="*/ 24 w 240"/>
                    <a:gd name="T37" fmla="*/ 48 h 152"/>
                    <a:gd name="T38" fmla="*/ 48 w 240"/>
                    <a:gd name="T39" fmla="*/ 40 h 152"/>
                    <a:gd name="T40" fmla="*/ 72 w 240"/>
                    <a:gd name="T41" fmla="*/ 40 h 152"/>
                    <a:gd name="T42" fmla="*/ 48 w 240"/>
                    <a:gd name="T43" fmla="*/ 32 h 152"/>
                    <a:gd name="T44" fmla="*/ 56 w 240"/>
                    <a:gd name="T45" fmla="*/ 16 h 152"/>
                    <a:gd name="T46" fmla="*/ 80 w 240"/>
                    <a:gd name="T47" fmla="*/ 16 h 152"/>
                    <a:gd name="T48" fmla="*/ 88 w 240"/>
                    <a:gd name="T49" fmla="*/ 16 h 152"/>
                    <a:gd name="T50" fmla="*/ 80 w 240"/>
                    <a:gd name="T51" fmla="*/ 0 h 152"/>
                    <a:gd name="T52" fmla="*/ 112 w 240"/>
                    <a:gd name="T53" fmla="*/ 8 h 152"/>
                    <a:gd name="T54" fmla="*/ 112 w 240"/>
                    <a:gd name="T55" fmla="*/ 24 h 152"/>
                    <a:gd name="T56" fmla="*/ 128 w 240"/>
                    <a:gd name="T57" fmla="*/ 32 h 152"/>
                    <a:gd name="T58" fmla="*/ 128 w 240"/>
                    <a:gd name="T59" fmla="*/ 56 h 152"/>
                    <a:gd name="T60" fmla="*/ 120 w 240"/>
                    <a:gd name="T61" fmla="*/ 64 h 152"/>
                    <a:gd name="T62" fmla="*/ 128 w 240"/>
                    <a:gd name="T63" fmla="*/ 72 h 152"/>
                    <a:gd name="T64" fmla="*/ 136 w 240"/>
                    <a:gd name="T65" fmla="*/ 88 h 152"/>
                    <a:gd name="T66" fmla="*/ 168 w 240"/>
                    <a:gd name="T67" fmla="*/ 88 h 152"/>
                    <a:gd name="T68" fmla="*/ 160 w 240"/>
                    <a:gd name="T69" fmla="*/ 64 h 152"/>
                    <a:gd name="T70" fmla="*/ 176 w 240"/>
                    <a:gd name="T71" fmla="*/ 56 h 152"/>
                    <a:gd name="T72" fmla="*/ 168 w 240"/>
                    <a:gd name="T73" fmla="*/ 32 h 152"/>
                    <a:gd name="T74" fmla="*/ 192 w 240"/>
                    <a:gd name="T75" fmla="*/ 24 h 152"/>
                    <a:gd name="T76" fmla="*/ 216 w 240"/>
                    <a:gd name="T77" fmla="*/ 8 h 152"/>
                    <a:gd name="T78" fmla="*/ 208 w 240"/>
                    <a:gd name="T79" fmla="*/ 24 h 152"/>
                    <a:gd name="T80" fmla="*/ 208 w 240"/>
                    <a:gd name="T81" fmla="*/ 56 h 152"/>
                    <a:gd name="T82" fmla="*/ 200 w 240"/>
                    <a:gd name="T83" fmla="*/ 64 h 152"/>
                    <a:gd name="T84" fmla="*/ 192 w 240"/>
                    <a:gd name="T85" fmla="*/ 80 h 152"/>
                    <a:gd name="T86" fmla="*/ 200 w 240"/>
                    <a:gd name="T87" fmla="*/ 80 h 152"/>
                    <a:gd name="T88" fmla="*/ 216 w 240"/>
                    <a:gd name="T89" fmla="*/ 88 h 152"/>
                    <a:gd name="T90" fmla="*/ 216 w 240"/>
                    <a:gd name="T91" fmla="*/ 96 h 152"/>
                    <a:gd name="T92" fmla="*/ 232 w 240"/>
                    <a:gd name="T93" fmla="*/ 72 h 152"/>
                    <a:gd name="T94" fmla="*/ 240 w 240"/>
                    <a:gd name="T95" fmla="*/ 96 h 152"/>
                    <a:gd name="T96" fmla="*/ 224 w 240"/>
                    <a:gd name="T97" fmla="*/ 112 h 152"/>
                    <a:gd name="T98" fmla="*/ 208 w 240"/>
                    <a:gd name="T99" fmla="*/ 128 h 152"/>
                    <a:gd name="T100" fmla="*/ 200 w 240"/>
                    <a:gd name="T101" fmla="*/ 144 h 152"/>
                    <a:gd name="T102" fmla="*/ 184 w 240"/>
                    <a:gd name="T103" fmla="*/ 144 h 152"/>
                    <a:gd name="T104" fmla="*/ 168 w 240"/>
                    <a:gd name="T105" fmla="*/ 136 h 152"/>
                    <a:gd name="T106" fmla="*/ 152 w 240"/>
                    <a:gd name="T107" fmla="*/ 128 h 152"/>
                    <a:gd name="T108" fmla="*/ 136 w 240"/>
                    <a:gd name="T109" fmla="*/ 136 h 152"/>
                    <a:gd name="T110" fmla="*/ 112 w 240"/>
                    <a:gd name="T111" fmla="*/ 136 h 152"/>
                    <a:gd name="T112" fmla="*/ 96 w 240"/>
                    <a:gd name="T113" fmla="*/ 144 h 152"/>
                    <a:gd name="T114" fmla="*/ 72 w 240"/>
                    <a:gd name="T115" fmla="*/ 144 h 152"/>
                    <a:gd name="T116" fmla="*/ 48 w 240"/>
                    <a:gd name="T117" fmla="*/ 1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152">
                      <a:moveTo>
                        <a:pt x="32" y="136"/>
                      </a:moveTo>
                      <a:lnTo>
                        <a:pt x="32" y="128"/>
                      </a:lnTo>
                      <a:lnTo>
                        <a:pt x="32" y="120"/>
                      </a:lnTo>
                      <a:lnTo>
                        <a:pt x="40" y="120"/>
                      </a:lnTo>
                      <a:lnTo>
                        <a:pt x="48" y="120"/>
                      </a:lnTo>
                      <a:lnTo>
                        <a:pt x="56" y="120"/>
                      </a:lnTo>
                      <a:lnTo>
                        <a:pt x="64" y="120"/>
                      </a:lnTo>
                      <a:lnTo>
                        <a:pt x="72" y="112"/>
                      </a:lnTo>
                      <a:lnTo>
                        <a:pt x="80" y="112"/>
                      </a:lnTo>
                      <a:lnTo>
                        <a:pt x="88" y="120"/>
                      </a:lnTo>
                      <a:lnTo>
                        <a:pt x="96" y="120"/>
                      </a:lnTo>
                      <a:lnTo>
                        <a:pt x="96" y="112"/>
                      </a:lnTo>
                      <a:lnTo>
                        <a:pt x="112" y="112"/>
                      </a:lnTo>
                      <a:lnTo>
                        <a:pt x="112" y="104"/>
                      </a:lnTo>
                      <a:lnTo>
                        <a:pt x="112" y="112"/>
                      </a:lnTo>
                      <a:lnTo>
                        <a:pt x="104" y="112"/>
                      </a:lnTo>
                      <a:lnTo>
                        <a:pt x="104" y="104"/>
                      </a:lnTo>
                      <a:lnTo>
                        <a:pt x="96" y="112"/>
                      </a:lnTo>
                      <a:lnTo>
                        <a:pt x="88" y="112"/>
                      </a:lnTo>
                      <a:lnTo>
                        <a:pt x="88" y="104"/>
                      </a:lnTo>
                      <a:lnTo>
                        <a:pt x="80" y="104"/>
                      </a:lnTo>
                      <a:lnTo>
                        <a:pt x="72" y="112"/>
                      </a:lnTo>
                      <a:lnTo>
                        <a:pt x="72" y="104"/>
                      </a:lnTo>
                      <a:lnTo>
                        <a:pt x="64" y="104"/>
                      </a:lnTo>
                      <a:lnTo>
                        <a:pt x="64" y="96"/>
                      </a:lnTo>
                      <a:lnTo>
                        <a:pt x="72" y="96"/>
                      </a:lnTo>
                      <a:lnTo>
                        <a:pt x="64" y="96"/>
                      </a:lnTo>
                      <a:lnTo>
                        <a:pt x="56" y="96"/>
                      </a:lnTo>
                      <a:lnTo>
                        <a:pt x="48" y="104"/>
                      </a:lnTo>
                      <a:lnTo>
                        <a:pt x="40" y="104"/>
                      </a:lnTo>
                      <a:lnTo>
                        <a:pt x="32" y="104"/>
                      </a:lnTo>
                      <a:lnTo>
                        <a:pt x="32" y="96"/>
                      </a:lnTo>
                      <a:lnTo>
                        <a:pt x="40" y="96"/>
                      </a:lnTo>
                      <a:lnTo>
                        <a:pt x="32" y="96"/>
                      </a:lnTo>
                      <a:lnTo>
                        <a:pt x="32" y="104"/>
                      </a:lnTo>
                      <a:lnTo>
                        <a:pt x="24" y="104"/>
                      </a:lnTo>
                      <a:lnTo>
                        <a:pt x="24" y="96"/>
                      </a:lnTo>
                      <a:lnTo>
                        <a:pt x="16" y="96"/>
                      </a:lnTo>
                      <a:lnTo>
                        <a:pt x="16" y="88"/>
                      </a:lnTo>
                      <a:lnTo>
                        <a:pt x="16" y="96"/>
                      </a:lnTo>
                      <a:lnTo>
                        <a:pt x="16" y="88"/>
                      </a:lnTo>
                      <a:lnTo>
                        <a:pt x="8" y="88"/>
                      </a:lnTo>
                      <a:lnTo>
                        <a:pt x="0" y="80"/>
                      </a:lnTo>
                      <a:lnTo>
                        <a:pt x="8" y="80"/>
                      </a:lnTo>
                      <a:lnTo>
                        <a:pt x="8" y="72"/>
                      </a:lnTo>
                      <a:lnTo>
                        <a:pt x="0" y="72"/>
                      </a:lnTo>
                      <a:lnTo>
                        <a:pt x="16" y="64"/>
                      </a:lnTo>
                      <a:lnTo>
                        <a:pt x="24" y="64"/>
                      </a:lnTo>
                      <a:lnTo>
                        <a:pt x="32" y="64"/>
                      </a:lnTo>
                      <a:lnTo>
                        <a:pt x="40" y="64"/>
                      </a:lnTo>
                      <a:lnTo>
                        <a:pt x="48" y="64"/>
                      </a:lnTo>
                      <a:lnTo>
                        <a:pt x="56" y="56"/>
                      </a:lnTo>
                      <a:lnTo>
                        <a:pt x="48" y="56"/>
                      </a:lnTo>
                      <a:lnTo>
                        <a:pt x="40" y="56"/>
                      </a:lnTo>
                      <a:lnTo>
                        <a:pt x="32" y="56"/>
                      </a:lnTo>
                      <a:lnTo>
                        <a:pt x="24" y="56"/>
                      </a:lnTo>
                      <a:lnTo>
                        <a:pt x="24" y="48"/>
                      </a:lnTo>
                      <a:lnTo>
                        <a:pt x="32" y="48"/>
                      </a:lnTo>
                      <a:lnTo>
                        <a:pt x="40" y="40"/>
                      </a:lnTo>
                      <a:lnTo>
                        <a:pt x="48" y="40"/>
                      </a:lnTo>
                      <a:lnTo>
                        <a:pt x="56" y="40"/>
                      </a:lnTo>
                      <a:lnTo>
                        <a:pt x="64" y="40"/>
                      </a:lnTo>
                      <a:lnTo>
                        <a:pt x="72" y="40"/>
                      </a:lnTo>
                      <a:lnTo>
                        <a:pt x="72" y="32"/>
                      </a:lnTo>
                      <a:lnTo>
                        <a:pt x="64" y="32"/>
                      </a:lnTo>
                      <a:lnTo>
                        <a:pt x="48" y="32"/>
                      </a:lnTo>
                      <a:lnTo>
                        <a:pt x="48" y="24"/>
                      </a:lnTo>
                      <a:lnTo>
                        <a:pt x="56" y="24"/>
                      </a:lnTo>
                      <a:lnTo>
                        <a:pt x="56" y="16"/>
                      </a:lnTo>
                      <a:lnTo>
                        <a:pt x="64" y="16"/>
                      </a:lnTo>
                      <a:lnTo>
                        <a:pt x="72" y="16"/>
                      </a:lnTo>
                      <a:lnTo>
                        <a:pt x="80" y="16"/>
                      </a:lnTo>
                      <a:lnTo>
                        <a:pt x="88" y="16"/>
                      </a:lnTo>
                      <a:lnTo>
                        <a:pt x="88" y="24"/>
                      </a:lnTo>
                      <a:lnTo>
                        <a:pt x="88" y="16"/>
                      </a:lnTo>
                      <a:lnTo>
                        <a:pt x="80" y="16"/>
                      </a:lnTo>
                      <a:lnTo>
                        <a:pt x="80" y="8"/>
                      </a:lnTo>
                      <a:lnTo>
                        <a:pt x="80" y="0"/>
                      </a:lnTo>
                      <a:lnTo>
                        <a:pt x="96" y="0"/>
                      </a:lnTo>
                      <a:lnTo>
                        <a:pt x="104" y="0"/>
                      </a:lnTo>
                      <a:lnTo>
                        <a:pt x="112" y="8"/>
                      </a:lnTo>
                      <a:lnTo>
                        <a:pt x="112" y="16"/>
                      </a:lnTo>
                      <a:lnTo>
                        <a:pt x="104" y="24"/>
                      </a:lnTo>
                      <a:lnTo>
                        <a:pt x="112" y="24"/>
                      </a:lnTo>
                      <a:lnTo>
                        <a:pt x="120" y="24"/>
                      </a:lnTo>
                      <a:lnTo>
                        <a:pt x="128" y="24"/>
                      </a:lnTo>
                      <a:lnTo>
                        <a:pt x="128" y="32"/>
                      </a:lnTo>
                      <a:lnTo>
                        <a:pt x="128" y="40"/>
                      </a:lnTo>
                      <a:lnTo>
                        <a:pt x="128" y="48"/>
                      </a:lnTo>
                      <a:lnTo>
                        <a:pt x="128" y="56"/>
                      </a:lnTo>
                      <a:lnTo>
                        <a:pt x="128" y="64"/>
                      </a:lnTo>
                      <a:lnTo>
                        <a:pt x="120" y="56"/>
                      </a:lnTo>
                      <a:lnTo>
                        <a:pt x="120" y="64"/>
                      </a:lnTo>
                      <a:lnTo>
                        <a:pt x="128" y="64"/>
                      </a:lnTo>
                      <a:lnTo>
                        <a:pt x="136" y="64"/>
                      </a:lnTo>
                      <a:lnTo>
                        <a:pt x="128" y="72"/>
                      </a:lnTo>
                      <a:lnTo>
                        <a:pt x="128" y="80"/>
                      </a:lnTo>
                      <a:lnTo>
                        <a:pt x="128" y="88"/>
                      </a:lnTo>
                      <a:lnTo>
                        <a:pt x="136" y="88"/>
                      </a:lnTo>
                      <a:lnTo>
                        <a:pt x="144" y="88"/>
                      </a:lnTo>
                      <a:lnTo>
                        <a:pt x="160" y="96"/>
                      </a:lnTo>
                      <a:lnTo>
                        <a:pt x="168" y="88"/>
                      </a:lnTo>
                      <a:lnTo>
                        <a:pt x="168" y="80"/>
                      </a:lnTo>
                      <a:lnTo>
                        <a:pt x="160" y="72"/>
                      </a:lnTo>
                      <a:lnTo>
                        <a:pt x="160" y="64"/>
                      </a:lnTo>
                      <a:lnTo>
                        <a:pt x="168" y="64"/>
                      </a:lnTo>
                      <a:lnTo>
                        <a:pt x="176" y="64"/>
                      </a:lnTo>
                      <a:lnTo>
                        <a:pt x="176" y="56"/>
                      </a:lnTo>
                      <a:lnTo>
                        <a:pt x="176" y="48"/>
                      </a:lnTo>
                      <a:lnTo>
                        <a:pt x="176" y="40"/>
                      </a:lnTo>
                      <a:lnTo>
                        <a:pt x="168" y="32"/>
                      </a:lnTo>
                      <a:lnTo>
                        <a:pt x="176" y="32"/>
                      </a:lnTo>
                      <a:lnTo>
                        <a:pt x="184" y="24"/>
                      </a:lnTo>
                      <a:lnTo>
                        <a:pt x="192" y="24"/>
                      </a:lnTo>
                      <a:lnTo>
                        <a:pt x="192" y="16"/>
                      </a:lnTo>
                      <a:lnTo>
                        <a:pt x="208" y="8"/>
                      </a:lnTo>
                      <a:lnTo>
                        <a:pt x="216" y="8"/>
                      </a:lnTo>
                      <a:lnTo>
                        <a:pt x="216" y="16"/>
                      </a:lnTo>
                      <a:lnTo>
                        <a:pt x="216" y="24"/>
                      </a:lnTo>
                      <a:lnTo>
                        <a:pt x="208" y="24"/>
                      </a:lnTo>
                      <a:lnTo>
                        <a:pt x="208" y="32"/>
                      </a:lnTo>
                      <a:lnTo>
                        <a:pt x="208" y="40"/>
                      </a:lnTo>
                      <a:lnTo>
                        <a:pt x="208" y="56"/>
                      </a:lnTo>
                      <a:lnTo>
                        <a:pt x="200" y="56"/>
                      </a:lnTo>
                      <a:lnTo>
                        <a:pt x="192" y="64"/>
                      </a:lnTo>
                      <a:lnTo>
                        <a:pt x="200" y="64"/>
                      </a:lnTo>
                      <a:lnTo>
                        <a:pt x="208" y="64"/>
                      </a:lnTo>
                      <a:lnTo>
                        <a:pt x="200" y="72"/>
                      </a:lnTo>
                      <a:lnTo>
                        <a:pt x="192" y="80"/>
                      </a:lnTo>
                      <a:lnTo>
                        <a:pt x="184" y="88"/>
                      </a:lnTo>
                      <a:lnTo>
                        <a:pt x="192" y="88"/>
                      </a:lnTo>
                      <a:lnTo>
                        <a:pt x="200" y="80"/>
                      </a:lnTo>
                      <a:lnTo>
                        <a:pt x="208" y="80"/>
                      </a:lnTo>
                      <a:lnTo>
                        <a:pt x="216" y="80"/>
                      </a:lnTo>
                      <a:lnTo>
                        <a:pt x="216" y="88"/>
                      </a:lnTo>
                      <a:lnTo>
                        <a:pt x="208" y="96"/>
                      </a:lnTo>
                      <a:lnTo>
                        <a:pt x="216" y="88"/>
                      </a:lnTo>
                      <a:lnTo>
                        <a:pt x="216" y="96"/>
                      </a:lnTo>
                      <a:lnTo>
                        <a:pt x="216" y="88"/>
                      </a:lnTo>
                      <a:lnTo>
                        <a:pt x="224" y="80"/>
                      </a:lnTo>
                      <a:lnTo>
                        <a:pt x="232" y="72"/>
                      </a:lnTo>
                      <a:lnTo>
                        <a:pt x="240" y="80"/>
                      </a:lnTo>
                      <a:lnTo>
                        <a:pt x="240" y="88"/>
                      </a:lnTo>
                      <a:lnTo>
                        <a:pt x="240" y="96"/>
                      </a:lnTo>
                      <a:lnTo>
                        <a:pt x="232" y="104"/>
                      </a:lnTo>
                      <a:lnTo>
                        <a:pt x="232" y="112"/>
                      </a:lnTo>
                      <a:lnTo>
                        <a:pt x="224" y="112"/>
                      </a:lnTo>
                      <a:lnTo>
                        <a:pt x="224" y="120"/>
                      </a:lnTo>
                      <a:lnTo>
                        <a:pt x="216" y="128"/>
                      </a:lnTo>
                      <a:lnTo>
                        <a:pt x="208" y="128"/>
                      </a:lnTo>
                      <a:lnTo>
                        <a:pt x="208" y="136"/>
                      </a:lnTo>
                      <a:lnTo>
                        <a:pt x="200" y="136"/>
                      </a:lnTo>
                      <a:lnTo>
                        <a:pt x="200" y="144"/>
                      </a:lnTo>
                      <a:lnTo>
                        <a:pt x="192" y="136"/>
                      </a:lnTo>
                      <a:lnTo>
                        <a:pt x="192" y="144"/>
                      </a:lnTo>
                      <a:lnTo>
                        <a:pt x="184" y="144"/>
                      </a:lnTo>
                      <a:lnTo>
                        <a:pt x="176" y="144"/>
                      </a:lnTo>
                      <a:lnTo>
                        <a:pt x="168" y="144"/>
                      </a:lnTo>
                      <a:lnTo>
                        <a:pt x="168" y="136"/>
                      </a:lnTo>
                      <a:lnTo>
                        <a:pt x="160" y="136"/>
                      </a:lnTo>
                      <a:lnTo>
                        <a:pt x="152" y="136"/>
                      </a:lnTo>
                      <a:lnTo>
                        <a:pt x="152" y="128"/>
                      </a:lnTo>
                      <a:lnTo>
                        <a:pt x="144" y="128"/>
                      </a:lnTo>
                      <a:lnTo>
                        <a:pt x="144" y="136"/>
                      </a:lnTo>
                      <a:lnTo>
                        <a:pt x="136" y="136"/>
                      </a:lnTo>
                      <a:lnTo>
                        <a:pt x="128" y="136"/>
                      </a:lnTo>
                      <a:lnTo>
                        <a:pt x="120" y="136"/>
                      </a:lnTo>
                      <a:lnTo>
                        <a:pt x="112" y="136"/>
                      </a:lnTo>
                      <a:lnTo>
                        <a:pt x="104" y="136"/>
                      </a:lnTo>
                      <a:lnTo>
                        <a:pt x="104" y="144"/>
                      </a:lnTo>
                      <a:lnTo>
                        <a:pt x="96" y="144"/>
                      </a:lnTo>
                      <a:lnTo>
                        <a:pt x="88" y="152"/>
                      </a:lnTo>
                      <a:lnTo>
                        <a:pt x="80" y="152"/>
                      </a:lnTo>
                      <a:lnTo>
                        <a:pt x="72" y="144"/>
                      </a:lnTo>
                      <a:lnTo>
                        <a:pt x="64" y="152"/>
                      </a:lnTo>
                      <a:lnTo>
                        <a:pt x="56" y="152"/>
                      </a:lnTo>
                      <a:lnTo>
                        <a:pt x="48" y="144"/>
                      </a:lnTo>
                      <a:lnTo>
                        <a:pt x="40" y="144"/>
                      </a:lnTo>
                      <a:lnTo>
                        <a:pt x="32" y="13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2" name="Freeform 101"/>
                <p:cNvSpPr>
                  <a:spLocks/>
                </p:cNvSpPr>
                <p:nvPr/>
              </p:nvSpPr>
              <p:spPr bwMode="auto">
                <a:xfrm>
                  <a:off x="4076700" y="1651000"/>
                  <a:ext cx="381000" cy="304800"/>
                </a:xfrm>
                <a:custGeom>
                  <a:avLst/>
                  <a:gdLst>
                    <a:gd name="T0" fmla="*/ 16 w 240"/>
                    <a:gd name="T1" fmla="*/ 176 h 192"/>
                    <a:gd name="T2" fmla="*/ 16 w 240"/>
                    <a:gd name="T3" fmla="*/ 160 h 192"/>
                    <a:gd name="T4" fmla="*/ 16 w 240"/>
                    <a:gd name="T5" fmla="*/ 144 h 192"/>
                    <a:gd name="T6" fmla="*/ 16 w 240"/>
                    <a:gd name="T7" fmla="*/ 136 h 192"/>
                    <a:gd name="T8" fmla="*/ 8 w 240"/>
                    <a:gd name="T9" fmla="*/ 128 h 192"/>
                    <a:gd name="T10" fmla="*/ 0 w 240"/>
                    <a:gd name="T11" fmla="*/ 120 h 192"/>
                    <a:gd name="T12" fmla="*/ 8 w 240"/>
                    <a:gd name="T13" fmla="*/ 120 h 192"/>
                    <a:gd name="T14" fmla="*/ 16 w 240"/>
                    <a:gd name="T15" fmla="*/ 112 h 192"/>
                    <a:gd name="T16" fmla="*/ 32 w 240"/>
                    <a:gd name="T17" fmla="*/ 104 h 192"/>
                    <a:gd name="T18" fmla="*/ 48 w 240"/>
                    <a:gd name="T19" fmla="*/ 88 h 192"/>
                    <a:gd name="T20" fmla="*/ 48 w 240"/>
                    <a:gd name="T21" fmla="*/ 88 h 192"/>
                    <a:gd name="T22" fmla="*/ 64 w 240"/>
                    <a:gd name="T23" fmla="*/ 80 h 192"/>
                    <a:gd name="T24" fmla="*/ 64 w 240"/>
                    <a:gd name="T25" fmla="*/ 72 h 192"/>
                    <a:gd name="T26" fmla="*/ 80 w 240"/>
                    <a:gd name="T27" fmla="*/ 56 h 192"/>
                    <a:gd name="T28" fmla="*/ 96 w 240"/>
                    <a:gd name="T29" fmla="*/ 48 h 192"/>
                    <a:gd name="T30" fmla="*/ 104 w 240"/>
                    <a:gd name="T31" fmla="*/ 40 h 192"/>
                    <a:gd name="T32" fmla="*/ 104 w 240"/>
                    <a:gd name="T33" fmla="*/ 16 h 192"/>
                    <a:gd name="T34" fmla="*/ 104 w 240"/>
                    <a:gd name="T35" fmla="*/ 8 h 192"/>
                    <a:gd name="T36" fmla="*/ 112 w 240"/>
                    <a:gd name="T37" fmla="*/ 0 h 192"/>
                    <a:gd name="T38" fmla="*/ 136 w 240"/>
                    <a:gd name="T39" fmla="*/ 0 h 192"/>
                    <a:gd name="T40" fmla="*/ 168 w 240"/>
                    <a:gd name="T41" fmla="*/ 0 h 192"/>
                    <a:gd name="T42" fmla="*/ 176 w 240"/>
                    <a:gd name="T43" fmla="*/ 8 h 192"/>
                    <a:gd name="T44" fmla="*/ 184 w 240"/>
                    <a:gd name="T45" fmla="*/ 16 h 192"/>
                    <a:gd name="T46" fmla="*/ 192 w 240"/>
                    <a:gd name="T47" fmla="*/ 24 h 192"/>
                    <a:gd name="T48" fmla="*/ 208 w 240"/>
                    <a:gd name="T49" fmla="*/ 24 h 192"/>
                    <a:gd name="T50" fmla="*/ 200 w 240"/>
                    <a:gd name="T51" fmla="*/ 40 h 192"/>
                    <a:gd name="T52" fmla="*/ 208 w 240"/>
                    <a:gd name="T53" fmla="*/ 32 h 192"/>
                    <a:gd name="T54" fmla="*/ 224 w 240"/>
                    <a:gd name="T55" fmla="*/ 24 h 192"/>
                    <a:gd name="T56" fmla="*/ 240 w 240"/>
                    <a:gd name="T57" fmla="*/ 40 h 192"/>
                    <a:gd name="T58" fmla="*/ 240 w 240"/>
                    <a:gd name="T59" fmla="*/ 64 h 192"/>
                    <a:gd name="T60" fmla="*/ 240 w 240"/>
                    <a:gd name="T61" fmla="*/ 80 h 192"/>
                    <a:gd name="T62" fmla="*/ 240 w 240"/>
                    <a:gd name="T63" fmla="*/ 96 h 192"/>
                    <a:gd name="T64" fmla="*/ 224 w 240"/>
                    <a:gd name="T65" fmla="*/ 104 h 192"/>
                    <a:gd name="T66" fmla="*/ 208 w 240"/>
                    <a:gd name="T67" fmla="*/ 104 h 192"/>
                    <a:gd name="T68" fmla="*/ 184 w 240"/>
                    <a:gd name="T69" fmla="*/ 104 h 192"/>
                    <a:gd name="T70" fmla="*/ 168 w 240"/>
                    <a:gd name="T71" fmla="*/ 112 h 192"/>
                    <a:gd name="T72" fmla="*/ 160 w 240"/>
                    <a:gd name="T73" fmla="*/ 120 h 192"/>
                    <a:gd name="T74" fmla="*/ 136 w 240"/>
                    <a:gd name="T75" fmla="*/ 120 h 192"/>
                    <a:gd name="T76" fmla="*/ 128 w 240"/>
                    <a:gd name="T77" fmla="*/ 128 h 192"/>
                    <a:gd name="T78" fmla="*/ 120 w 240"/>
                    <a:gd name="T79" fmla="*/ 136 h 192"/>
                    <a:gd name="T80" fmla="*/ 112 w 240"/>
                    <a:gd name="T81" fmla="*/ 144 h 192"/>
                    <a:gd name="T82" fmla="*/ 104 w 240"/>
                    <a:gd name="T83" fmla="*/ 144 h 192"/>
                    <a:gd name="T84" fmla="*/ 96 w 240"/>
                    <a:gd name="T85" fmla="*/ 152 h 192"/>
                    <a:gd name="T86" fmla="*/ 80 w 240"/>
                    <a:gd name="T87" fmla="*/ 168 h 192"/>
                    <a:gd name="T88" fmla="*/ 80 w 240"/>
                    <a:gd name="T89" fmla="*/ 176 h 192"/>
                    <a:gd name="T90" fmla="*/ 64 w 240"/>
                    <a:gd name="T91" fmla="*/ 184 h 192"/>
                    <a:gd name="T92" fmla="*/ 56 w 240"/>
                    <a:gd name="T93" fmla="*/ 176 h 192"/>
                    <a:gd name="T94" fmla="*/ 48 w 240"/>
                    <a:gd name="T95" fmla="*/ 168 h 192"/>
                    <a:gd name="T96" fmla="*/ 40 w 240"/>
                    <a:gd name="T97" fmla="*/ 184 h 192"/>
                    <a:gd name="T98" fmla="*/ 24 w 240"/>
                    <a:gd name="T99" fmla="*/ 184 h 192"/>
                    <a:gd name="T100" fmla="*/ 16 w 240"/>
                    <a:gd name="T101"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 h="192">
                      <a:moveTo>
                        <a:pt x="16" y="184"/>
                      </a:moveTo>
                      <a:lnTo>
                        <a:pt x="16" y="176"/>
                      </a:lnTo>
                      <a:lnTo>
                        <a:pt x="16" y="168"/>
                      </a:lnTo>
                      <a:lnTo>
                        <a:pt x="16" y="160"/>
                      </a:lnTo>
                      <a:lnTo>
                        <a:pt x="16" y="152"/>
                      </a:lnTo>
                      <a:lnTo>
                        <a:pt x="16" y="144"/>
                      </a:lnTo>
                      <a:lnTo>
                        <a:pt x="8" y="136"/>
                      </a:lnTo>
                      <a:lnTo>
                        <a:pt x="16" y="136"/>
                      </a:lnTo>
                      <a:lnTo>
                        <a:pt x="16" y="128"/>
                      </a:lnTo>
                      <a:lnTo>
                        <a:pt x="8" y="128"/>
                      </a:lnTo>
                      <a:lnTo>
                        <a:pt x="0" y="128"/>
                      </a:lnTo>
                      <a:lnTo>
                        <a:pt x="0" y="120"/>
                      </a:lnTo>
                      <a:lnTo>
                        <a:pt x="0" y="128"/>
                      </a:lnTo>
                      <a:lnTo>
                        <a:pt x="8" y="120"/>
                      </a:lnTo>
                      <a:lnTo>
                        <a:pt x="16" y="120"/>
                      </a:lnTo>
                      <a:lnTo>
                        <a:pt x="16" y="112"/>
                      </a:lnTo>
                      <a:lnTo>
                        <a:pt x="24" y="112"/>
                      </a:lnTo>
                      <a:lnTo>
                        <a:pt x="32" y="104"/>
                      </a:lnTo>
                      <a:lnTo>
                        <a:pt x="40" y="96"/>
                      </a:lnTo>
                      <a:lnTo>
                        <a:pt x="48" y="88"/>
                      </a:lnTo>
                      <a:lnTo>
                        <a:pt x="48" y="80"/>
                      </a:lnTo>
                      <a:lnTo>
                        <a:pt x="48" y="88"/>
                      </a:lnTo>
                      <a:lnTo>
                        <a:pt x="64" y="88"/>
                      </a:lnTo>
                      <a:lnTo>
                        <a:pt x="64" y="80"/>
                      </a:lnTo>
                      <a:lnTo>
                        <a:pt x="56" y="72"/>
                      </a:lnTo>
                      <a:lnTo>
                        <a:pt x="64" y="72"/>
                      </a:lnTo>
                      <a:lnTo>
                        <a:pt x="64" y="64"/>
                      </a:lnTo>
                      <a:lnTo>
                        <a:pt x="80" y="56"/>
                      </a:lnTo>
                      <a:lnTo>
                        <a:pt x="88" y="48"/>
                      </a:lnTo>
                      <a:lnTo>
                        <a:pt x="96" y="48"/>
                      </a:lnTo>
                      <a:lnTo>
                        <a:pt x="96" y="40"/>
                      </a:lnTo>
                      <a:lnTo>
                        <a:pt x="104" y="40"/>
                      </a:lnTo>
                      <a:lnTo>
                        <a:pt x="104" y="32"/>
                      </a:lnTo>
                      <a:lnTo>
                        <a:pt x="104" y="16"/>
                      </a:lnTo>
                      <a:lnTo>
                        <a:pt x="112" y="8"/>
                      </a:lnTo>
                      <a:lnTo>
                        <a:pt x="104" y="8"/>
                      </a:lnTo>
                      <a:lnTo>
                        <a:pt x="104" y="0"/>
                      </a:lnTo>
                      <a:lnTo>
                        <a:pt x="112" y="0"/>
                      </a:lnTo>
                      <a:lnTo>
                        <a:pt x="120" y="0"/>
                      </a:lnTo>
                      <a:lnTo>
                        <a:pt x="136" y="0"/>
                      </a:lnTo>
                      <a:lnTo>
                        <a:pt x="152" y="0"/>
                      </a:lnTo>
                      <a:lnTo>
                        <a:pt x="168" y="0"/>
                      </a:lnTo>
                      <a:lnTo>
                        <a:pt x="176" y="0"/>
                      </a:lnTo>
                      <a:lnTo>
                        <a:pt x="176" y="8"/>
                      </a:lnTo>
                      <a:lnTo>
                        <a:pt x="184" y="8"/>
                      </a:lnTo>
                      <a:lnTo>
                        <a:pt x="184" y="16"/>
                      </a:lnTo>
                      <a:lnTo>
                        <a:pt x="200" y="24"/>
                      </a:lnTo>
                      <a:lnTo>
                        <a:pt x="192" y="24"/>
                      </a:lnTo>
                      <a:lnTo>
                        <a:pt x="200" y="24"/>
                      </a:lnTo>
                      <a:lnTo>
                        <a:pt x="208" y="24"/>
                      </a:lnTo>
                      <a:lnTo>
                        <a:pt x="208" y="32"/>
                      </a:lnTo>
                      <a:lnTo>
                        <a:pt x="200" y="40"/>
                      </a:lnTo>
                      <a:lnTo>
                        <a:pt x="208" y="40"/>
                      </a:lnTo>
                      <a:lnTo>
                        <a:pt x="208" y="32"/>
                      </a:lnTo>
                      <a:lnTo>
                        <a:pt x="216" y="32"/>
                      </a:lnTo>
                      <a:lnTo>
                        <a:pt x="224" y="24"/>
                      </a:lnTo>
                      <a:lnTo>
                        <a:pt x="232" y="32"/>
                      </a:lnTo>
                      <a:lnTo>
                        <a:pt x="240" y="40"/>
                      </a:lnTo>
                      <a:lnTo>
                        <a:pt x="240" y="56"/>
                      </a:lnTo>
                      <a:lnTo>
                        <a:pt x="240" y="64"/>
                      </a:lnTo>
                      <a:lnTo>
                        <a:pt x="240" y="72"/>
                      </a:lnTo>
                      <a:lnTo>
                        <a:pt x="240" y="80"/>
                      </a:lnTo>
                      <a:lnTo>
                        <a:pt x="240" y="88"/>
                      </a:lnTo>
                      <a:lnTo>
                        <a:pt x="240" y="96"/>
                      </a:lnTo>
                      <a:lnTo>
                        <a:pt x="232" y="96"/>
                      </a:lnTo>
                      <a:lnTo>
                        <a:pt x="224" y="104"/>
                      </a:lnTo>
                      <a:lnTo>
                        <a:pt x="216" y="104"/>
                      </a:lnTo>
                      <a:lnTo>
                        <a:pt x="208" y="104"/>
                      </a:lnTo>
                      <a:lnTo>
                        <a:pt x="192" y="104"/>
                      </a:lnTo>
                      <a:lnTo>
                        <a:pt x="184" y="104"/>
                      </a:lnTo>
                      <a:lnTo>
                        <a:pt x="176" y="112"/>
                      </a:lnTo>
                      <a:lnTo>
                        <a:pt x="168" y="112"/>
                      </a:lnTo>
                      <a:lnTo>
                        <a:pt x="168" y="120"/>
                      </a:lnTo>
                      <a:lnTo>
                        <a:pt x="160" y="120"/>
                      </a:lnTo>
                      <a:lnTo>
                        <a:pt x="152" y="120"/>
                      </a:lnTo>
                      <a:lnTo>
                        <a:pt x="136" y="120"/>
                      </a:lnTo>
                      <a:lnTo>
                        <a:pt x="136" y="128"/>
                      </a:lnTo>
                      <a:lnTo>
                        <a:pt x="128" y="128"/>
                      </a:lnTo>
                      <a:lnTo>
                        <a:pt x="128" y="136"/>
                      </a:lnTo>
                      <a:lnTo>
                        <a:pt x="120" y="136"/>
                      </a:lnTo>
                      <a:lnTo>
                        <a:pt x="120" y="144"/>
                      </a:lnTo>
                      <a:lnTo>
                        <a:pt x="112" y="144"/>
                      </a:lnTo>
                      <a:lnTo>
                        <a:pt x="104" y="136"/>
                      </a:lnTo>
                      <a:lnTo>
                        <a:pt x="104" y="144"/>
                      </a:lnTo>
                      <a:lnTo>
                        <a:pt x="104" y="152"/>
                      </a:lnTo>
                      <a:lnTo>
                        <a:pt x="96" y="152"/>
                      </a:lnTo>
                      <a:lnTo>
                        <a:pt x="88" y="160"/>
                      </a:lnTo>
                      <a:lnTo>
                        <a:pt x="80" y="168"/>
                      </a:lnTo>
                      <a:lnTo>
                        <a:pt x="88" y="168"/>
                      </a:lnTo>
                      <a:lnTo>
                        <a:pt x="80" y="176"/>
                      </a:lnTo>
                      <a:lnTo>
                        <a:pt x="72" y="184"/>
                      </a:lnTo>
                      <a:lnTo>
                        <a:pt x="64" y="184"/>
                      </a:lnTo>
                      <a:lnTo>
                        <a:pt x="56" y="184"/>
                      </a:lnTo>
                      <a:lnTo>
                        <a:pt x="56" y="176"/>
                      </a:lnTo>
                      <a:lnTo>
                        <a:pt x="56" y="168"/>
                      </a:lnTo>
                      <a:lnTo>
                        <a:pt x="48" y="168"/>
                      </a:lnTo>
                      <a:lnTo>
                        <a:pt x="48" y="176"/>
                      </a:lnTo>
                      <a:lnTo>
                        <a:pt x="40" y="184"/>
                      </a:lnTo>
                      <a:lnTo>
                        <a:pt x="32" y="184"/>
                      </a:lnTo>
                      <a:lnTo>
                        <a:pt x="24" y="184"/>
                      </a:lnTo>
                      <a:lnTo>
                        <a:pt x="16" y="192"/>
                      </a:lnTo>
                      <a:lnTo>
                        <a:pt x="16" y="18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3" name="Freeform 102"/>
                <p:cNvSpPr>
                  <a:spLocks/>
                </p:cNvSpPr>
                <p:nvPr/>
              </p:nvSpPr>
              <p:spPr bwMode="auto">
                <a:xfrm>
                  <a:off x="5092700" y="18288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4" name="Rectangle 103"/>
                <p:cNvSpPr>
                  <a:spLocks noChangeArrowheads="1"/>
                </p:cNvSpPr>
                <p:nvPr/>
              </p:nvSpPr>
              <p:spPr bwMode="auto">
                <a:xfrm>
                  <a:off x="5016500" y="18161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75" name="Freeform 104"/>
                <p:cNvSpPr>
                  <a:spLocks/>
                </p:cNvSpPr>
                <p:nvPr/>
              </p:nvSpPr>
              <p:spPr bwMode="auto">
                <a:xfrm>
                  <a:off x="4940300" y="1866900"/>
                  <a:ext cx="63500" cy="25400"/>
                </a:xfrm>
                <a:custGeom>
                  <a:avLst/>
                  <a:gdLst>
                    <a:gd name="T0" fmla="*/ 0 w 40"/>
                    <a:gd name="T1" fmla="*/ 0 h 16"/>
                    <a:gd name="T2" fmla="*/ 0 w 40"/>
                    <a:gd name="T3" fmla="*/ 8 h 16"/>
                    <a:gd name="T4" fmla="*/ 8 w 40"/>
                    <a:gd name="T5" fmla="*/ 8 h 16"/>
                    <a:gd name="T6" fmla="*/ 16 w 40"/>
                    <a:gd name="T7" fmla="*/ 16 h 16"/>
                    <a:gd name="T8" fmla="*/ 16 w 40"/>
                    <a:gd name="T9" fmla="*/ 8 h 16"/>
                    <a:gd name="T10" fmla="*/ 24 w 40"/>
                    <a:gd name="T11" fmla="*/ 8 h 16"/>
                    <a:gd name="T12" fmla="*/ 32 w 40"/>
                    <a:gd name="T13" fmla="*/ 8 h 16"/>
                    <a:gd name="T14" fmla="*/ 40 w 40"/>
                    <a:gd name="T15" fmla="*/ 8 h 16"/>
                    <a:gd name="T16" fmla="*/ 40 w 40"/>
                    <a:gd name="T17" fmla="*/ 0 h 16"/>
                    <a:gd name="T18" fmla="*/ 32 w 40"/>
                    <a:gd name="T19" fmla="*/ 0 h 16"/>
                    <a:gd name="T20" fmla="*/ 24 w 40"/>
                    <a:gd name="T21" fmla="*/ 0 h 16"/>
                    <a:gd name="T22" fmla="*/ 16 w 40"/>
                    <a:gd name="T23" fmla="*/ 0 h 16"/>
                    <a:gd name="T24" fmla="*/ 8 w 40"/>
                    <a:gd name="T25" fmla="*/ 0 h 16"/>
                    <a:gd name="T26" fmla="*/ 0 w 40"/>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0" y="0"/>
                      </a:moveTo>
                      <a:lnTo>
                        <a:pt x="0" y="8"/>
                      </a:lnTo>
                      <a:lnTo>
                        <a:pt x="8" y="8"/>
                      </a:lnTo>
                      <a:lnTo>
                        <a:pt x="16" y="16"/>
                      </a:lnTo>
                      <a:lnTo>
                        <a:pt x="16" y="8"/>
                      </a:lnTo>
                      <a:lnTo>
                        <a:pt x="24" y="8"/>
                      </a:lnTo>
                      <a:lnTo>
                        <a:pt x="32" y="8"/>
                      </a:lnTo>
                      <a:lnTo>
                        <a:pt x="40" y="8"/>
                      </a:lnTo>
                      <a:lnTo>
                        <a:pt x="40" y="0"/>
                      </a:lnTo>
                      <a:lnTo>
                        <a:pt x="32" y="0"/>
                      </a:lnTo>
                      <a:lnTo>
                        <a:pt x="24" y="0"/>
                      </a:lnTo>
                      <a:lnTo>
                        <a:pt x="16" y="0"/>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6" name="Rectangle 105"/>
                <p:cNvSpPr>
                  <a:spLocks noChangeArrowheads="1"/>
                </p:cNvSpPr>
                <p:nvPr/>
              </p:nvSpPr>
              <p:spPr bwMode="auto">
                <a:xfrm>
                  <a:off x="4889500" y="21336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77" name="Freeform 106"/>
                <p:cNvSpPr>
                  <a:spLocks/>
                </p:cNvSpPr>
                <p:nvPr/>
              </p:nvSpPr>
              <p:spPr bwMode="auto">
                <a:xfrm>
                  <a:off x="4787900" y="1866900"/>
                  <a:ext cx="215900" cy="266700"/>
                </a:xfrm>
                <a:custGeom>
                  <a:avLst/>
                  <a:gdLst>
                    <a:gd name="T0" fmla="*/ 32 w 136"/>
                    <a:gd name="T1" fmla="*/ 160 h 168"/>
                    <a:gd name="T2" fmla="*/ 24 w 136"/>
                    <a:gd name="T3" fmla="*/ 144 h 168"/>
                    <a:gd name="T4" fmla="*/ 32 w 136"/>
                    <a:gd name="T5" fmla="*/ 136 h 168"/>
                    <a:gd name="T6" fmla="*/ 24 w 136"/>
                    <a:gd name="T7" fmla="*/ 128 h 168"/>
                    <a:gd name="T8" fmla="*/ 24 w 136"/>
                    <a:gd name="T9" fmla="*/ 112 h 168"/>
                    <a:gd name="T10" fmla="*/ 16 w 136"/>
                    <a:gd name="T11" fmla="*/ 104 h 168"/>
                    <a:gd name="T12" fmla="*/ 8 w 136"/>
                    <a:gd name="T13" fmla="*/ 96 h 168"/>
                    <a:gd name="T14" fmla="*/ 0 w 136"/>
                    <a:gd name="T15" fmla="*/ 88 h 168"/>
                    <a:gd name="T16" fmla="*/ 0 w 136"/>
                    <a:gd name="T17" fmla="*/ 72 h 168"/>
                    <a:gd name="T18" fmla="*/ 8 w 136"/>
                    <a:gd name="T19" fmla="*/ 64 h 168"/>
                    <a:gd name="T20" fmla="*/ 8 w 136"/>
                    <a:gd name="T21" fmla="*/ 48 h 168"/>
                    <a:gd name="T22" fmla="*/ 24 w 136"/>
                    <a:gd name="T23" fmla="*/ 48 h 168"/>
                    <a:gd name="T24" fmla="*/ 32 w 136"/>
                    <a:gd name="T25" fmla="*/ 56 h 168"/>
                    <a:gd name="T26" fmla="*/ 40 w 136"/>
                    <a:gd name="T27" fmla="*/ 72 h 168"/>
                    <a:gd name="T28" fmla="*/ 48 w 136"/>
                    <a:gd name="T29" fmla="*/ 80 h 168"/>
                    <a:gd name="T30" fmla="*/ 56 w 136"/>
                    <a:gd name="T31" fmla="*/ 64 h 168"/>
                    <a:gd name="T32" fmla="*/ 56 w 136"/>
                    <a:gd name="T33" fmla="*/ 48 h 168"/>
                    <a:gd name="T34" fmla="*/ 64 w 136"/>
                    <a:gd name="T35" fmla="*/ 56 h 168"/>
                    <a:gd name="T36" fmla="*/ 72 w 136"/>
                    <a:gd name="T37" fmla="*/ 48 h 168"/>
                    <a:gd name="T38" fmla="*/ 64 w 136"/>
                    <a:gd name="T39" fmla="*/ 40 h 168"/>
                    <a:gd name="T40" fmla="*/ 56 w 136"/>
                    <a:gd name="T41" fmla="*/ 48 h 168"/>
                    <a:gd name="T42" fmla="*/ 48 w 136"/>
                    <a:gd name="T43" fmla="*/ 32 h 168"/>
                    <a:gd name="T44" fmla="*/ 56 w 136"/>
                    <a:gd name="T45" fmla="*/ 24 h 168"/>
                    <a:gd name="T46" fmla="*/ 56 w 136"/>
                    <a:gd name="T47" fmla="*/ 24 h 168"/>
                    <a:gd name="T48" fmla="*/ 64 w 136"/>
                    <a:gd name="T49" fmla="*/ 32 h 168"/>
                    <a:gd name="T50" fmla="*/ 64 w 136"/>
                    <a:gd name="T51" fmla="*/ 16 h 168"/>
                    <a:gd name="T52" fmla="*/ 72 w 136"/>
                    <a:gd name="T53" fmla="*/ 0 h 168"/>
                    <a:gd name="T54" fmla="*/ 80 w 136"/>
                    <a:gd name="T55" fmla="*/ 8 h 168"/>
                    <a:gd name="T56" fmla="*/ 80 w 136"/>
                    <a:gd name="T57" fmla="*/ 8 h 168"/>
                    <a:gd name="T58" fmla="*/ 88 w 136"/>
                    <a:gd name="T59" fmla="*/ 0 h 168"/>
                    <a:gd name="T60" fmla="*/ 88 w 136"/>
                    <a:gd name="T61" fmla="*/ 8 h 168"/>
                    <a:gd name="T62" fmla="*/ 96 w 136"/>
                    <a:gd name="T63" fmla="*/ 16 h 168"/>
                    <a:gd name="T64" fmla="*/ 112 w 136"/>
                    <a:gd name="T65" fmla="*/ 16 h 168"/>
                    <a:gd name="T66" fmla="*/ 128 w 136"/>
                    <a:gd name="T67" fmla="*/ 16 h 168"/>
                    <a:gd name="T68" fmla="*/ 136 w 136"/>
                    <a:gd name="T69" fmla="*/ 24 h 168"/>
                    <a:gd name="T70" fmla="*/ 128 w 136"/>
                    <a:gd name="T71" fmla="*/ 32 h 168"/>
                    <a:gd name="T72" fmla="*/ 120 w 136"/>
                    <a:gd name="T73" fmla="*/ 40 h 168"/>
                    <a:gd name="T74" fmla="*/ 128 w 136"/>
                    <a:gd name="T75" fmla="*/ 48 h 168"/>
                    <a:gd name="T76" fmla="*/ 112 w 136"/>
                    <a:gd name="T77" fmla="*/ 48 h 168"/>
                    <a:gd name="T78" fmla="*/ 96 w 136"/>
                    <a:gd name="T79" fmla="*/ 56 h 168"/>
                    <a:gd name="T80" fmla="*/ 88 w 136"/>
                    <a:gd name="T81" fmla="*/ 64 h 168"/>
                    <a:gd name="T82" fmla="*/ 88 w 136"/>
                    <a:gd name="T83" fmla="*/ 64 h 168"/>
                    <a:gd name="T84" fmla="*/ 104 w 136"/>
                    <a:gd name="T85" fmla="*/ 64 h 168"/>
                    <a:gd name="T86" fmla="*/ 104 w 136"/>
                    <a:gd name="T87" fmla="*/ 72 h 168"/>
                    <a:gd name="T88" fmla="*/ 112 w 136"/>
                    <a:gd name="T89" fmla="*/ 80 h 168"/>
                    <a:gd name="T90" fmla="*/ 104 w 136"/>
                    <a:gd name="T91" fmla="*/ 88 h 168"/>
                    <a:gd name="T92" fmla="*/ 112 w 136"/>
                    <a:gd name="T93" fmla="*/ 88 h 168"/>
                    <a:gd name="T94" fmla="*/ 120 w 136"/>
                    <a:gd name="T95" fmla="*/ 96 h 168"/>
                    <a:gd name="T96" fmla="*/ 112 w 136"/>
                    <a:gd name="T97" fmla="*/ 112 h 168"/>
                    <a:gd name="T98" fmla="*/ 104 w 136"/>
                    <a:gd name="T99" fmla="*/ 120 h 168"/>
                    <a:gd name="T100" fmla="*/ 96 w 136"/>
                    <a:gd name="T101" fmla="*/ 128 h 168"/>
                    <a:gd name="T102" fmla="*/ 96 w 136"/>
                    <a:gd name="T103" fmla="*/ 128 h 168"/>
                    <a:gd name="T104" fmla="*/ 88 w 136"/>
                    <a:gd name="T105" fmla="*/ 144 h 168"/>
                    <a:gd name="T106" fmla="*/ 72 w 136"/>
                    <a:gd name="T107" fmla="*/ 144 h 168"/>
                    <a:gd name="T108" fmla="*/ 64 w 136"/>
                    <a:gd name="T109" fmla="*/ 144 h 168"/>
                    <a:gd name="T110" fmla="*/ 56 w 136"/>
                    <a:gd name="T111" fmla="*/ 136 h 168"/>
                    <a:gd name="T112" fmla="*/ 48 w 136"/>
                    <a:gd name="T113" fmla="*/ 136 h 168"/>
                    <a:gd name="T114" fmla="*/ 56 w 136"/>
                    <a:gd name="T115" fmla="*/ 152 h 168"/>
                    <a:gd name="T116" fmla="*/ 48 w 136"/>
                    <a:gd name="T117" fmla="*/ 160 h 168"/>
                    <a:gd name="T118" fmla="*/ 40 w 136"/>
                    <a:gd name="T11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68">
                      <a:moveTo>
                        <a:pt x="40" y="168"/>
                      </a:moveTo>
                      <a:lnTo>
                        <a:pt x="32" y="160"/>
                      </a:lnTo>
                      <a:lnTo>
                        <a:pt x="32" y="152"/>
                      </a:lnTo>
                      <a:lnTo>
                        <a:pt x="24" y="144"/>
                      </a:lnTo>
                      <a:lnTo>
                        <a:pt x="32" y="144"/>
                      </a:lnTo>
                      <a:lnTo>
                        <a:pt x="32" y="136"/>
                      </a:lnTo>
                      <a:lnTo>
                        <a:pt x="32" y="128"/>
                      </a:lnTo>
                      <a:lnTo>
                        <a:pt x="24" y="128"/>
                      </a:lnTo>
                      <a:lnTo>
                        <a:pt x="24" y="120"/>
                      </a:lnTo>
                      <a:lnTo>
                        <a:pt x="24" y="112"/>
                      </a:lnTo>
                      <a:lnTo>
                        <a:pt x="24" y="104"/>
                      </a:lnTo>
                      <a:lnTo>
                        <a:pt x="16" y="104"/>
                      </a:lnTo>
                      <a:lnTo>
                        <a:pt x="16" y="96"/>
                      </a:lnTo>
                      <a:lnTo>
                        <a:pt x="8" y="96"/>
                      </a:lnTo>
                      <a:lnTo>
                        <a:pt x="0" y="96"/>
                      </a:lnTo>
                      <a:lnTo>
                        <a:pt x="0" y="88"/>
                      </a:lnTo>
                      <a:lnTo>
                        <a:pt x="8" y="80"/>
                      </a:lnTo>
                      <a:lnTo>
                        <a:pt x="0" y="72"/>
                      </a:lnTo>
                      <a:lnTo>
                        <a:pt x="8" y="72"/>
                      </a:lnTo>
                      <a:lnTo>
                        <a:pt x="8" y="64"/>
                      </a:lnTo>
                      <a:lnTo>
                        <a:pt x="0" y="56"/>
                      </a:lnTo>
                      <a:lnTo>
                        <a:pt x="8" y="48"/>
                      </a:lnTo>
                      <a:lnTo>
                        <a:pt x="16" y="48"/>
                      </a:lnTo>
                      <a:lnTo>
                        <a:pt x="24" y="48"/>
                      </a:lnTo>
                      <a:lnTo>
                        <a:pt x="32" y="48"/>
                      </a:lnTo>
                      <a:lnTo>
                        <a:pt x="32" y="56"/>
                      </a:lnTo>
                      <a:lnTo>
                        <a:pt x="32" y="64"/>
                      </a:lnTo>
                      <a:lnTo>
                        <a:pt x="40" y="72"/>
                      </a:lnTo>
                      <a:lnTo>
                        <a:pt x="40" y="80"/>
                      </a:lnTo>
                      <a:lnTo>
                        <a:pt x="48" y="80"/>
                      </a:lnTo>
                      <a:lnTo>
                        <a:pt x="48" y="72"/>
                      </a:lnTo>
                      <a:lnTo>
                        <a:pt x="56" y="64"/>
                      </a:lnTo>
                      <a:lnTo>
                        <a:pt x="56" y="56"/>
                      </a:lnTo>
                      <a:lnTo>
                        <a:pt x="56" y="48"/>
                      </a:lnTo>
                      <a:lnTo>
                        <a:pt x="64" y="48"/>
                      </a:lnTo>
                      <a:lnTo>
                        <a:pt x="64" y="56"/>
                      </a:lnTo>
                      <a:lnTo>
                        <a:pt x="72" y="56"/>
                      </a:lnTo>
                      <a:lnTo>
                        <a:pt x="72" y="48"/>
                      </a:lnTo>
                      <a:lnTo>
                        <a:pt x="64" y="48"/>
                      </a:lnTo>
                      <a:lnTo>
                        <a:pt x="64" y="40"/>
                      </a:lnTo>
                      <a:lnTo>
                        <a:pt x="64" y="48"/>
                      </a:lnTo>
                      <a:lnTo>
                        <a:pt x="56" y="48"/>
                      </a:lnTo>
                      <a:lnTo>
                        <a:pt x="48" y="40"/>
                      </a:lnTo>
                      <a:lnTo>
                        <a:pt x="48" y="32"/>
                      </a:lnTo>
                      <a:lnTo>
                        <a:pt x="48" y="24"/>
                      </a:lnTo>
                      <a:lnTo>
                        <a:pt x="56" y="24"/>
                      </a:lnTo>
                      <a:lnTo>
                        <a:pt x="56" y="16"/>
                      </a:lnTo>
                      <a:lnTo>
                        <a:pt x="56" y="24"/>
                      </a:lnTo>
                      <a:lnTo>
                        <a:pt x="64" y="24"/>
                      </a:lnTo>
                      <a:lnTo>
                        <a:pt x="64" y="32"/>
                      </a:lnTo>
                      <a:lnTo>
                        <a:pt x="64" y="24"/>
                      </a:lnTo>
                      <a:lnTo>
                        <a:pt x="64" y="16"/>
                      </a:lnTo>
                      <a:lnTo>
                        <a:pt x="64" y="8"/>
                      </a:lnTo>
                      <a:lnTo>
                        <a:pt x="72" y="0"/>
                      </a:lnTo>
                      <a:lnTo>
                        <a:pt x="72" y="8"/>
                      </a:lnTo>
                      <a:lnTo>
                        <a:pt x="80" y="8"/>
                      </a:lnTo>
                      <a:lnTo>
                        <a:pt x="88" y="8"/>
                      </a:lnTo>
                      <a:lnTo>
                        <a:pt x="80" y="8"/>
                      </a:lnTo>
                      <a:lnTo>
                        <a:pt x="80" y="0"/>
                      </a:lnTo>
                      <a:lnTo>
                        <a:pt x="88" y="0"/>
                      </a:lnTo>
                      <a:lnTo>
                        <a:pt x="96" y="0"/>
                      </a:lnTo>
                      <a:lnTo>
                        <a:pt x="88" y="8"/>
                      </a:lnTo>
                      <a:lnTo>
                        <a:pt x="96" y="8"/>
                      </a:lnTo>
                      <a:lnTo>
                        <a:pt x="96" y="16"/>
                      </a:lnTo>
                      <a:lnTo>
                        <a:pt x="104" y="16"/>
                      </a:lnTo>
                      <a:lnTo>
                        <a:pt x="112" y="16"/>
                      </a:lnTo>
                      <a:lnTo>
                        <a:pt x="120" y="16"/>
                      </a:lnTo>
                      <a:lnTo>
                        <a:pt x="128" y="16"/>
                      </a:lnTo>
                      <a:lnTo>
                        <a:pt x="136" y="16"/>
                      </a:lnTo>
                      <a:lnTo>
                        <a:pt x="136" y="24"/>
                      </a:lnTo>
                      <a:lnTo>
                        <a:pt x="136" y="32"/>
                      </a:lnTo>
                      <a:lnTo>
                        <a:pt x="128" y="32"/>
                      </a:lnTo>
                      <a:lnTo>
                        <a:pt x="120" y="32"/>
                      </a:lnTo>
                      <a:lnTo>
                        <a:pt x="120" y="40"/>
                      </a:lnTo>
                      <a:lnTo>
                        <a:pt x="128" y="40"/>
                      </a:lnTo>
                      <a:lnTo>
                        <a:pt x="128" y="48"/>
                      </a:lnTo>
                      <a:lnTo>
                        <a:pt x="120" y="48"/>
                      </a:lnTo>
                      <a:lnTo>
                        <a:pt x="112" y="48"/>
                      </a:lnTo>
                      <a:lnTo>
                        <a:pt x="112" y="56"/>
                      </a:lnTo>
                      <a:lnTo>
                        <a:pt x="96" y="56"/>
                      </a:lnTo>
                      <a:lnTo>
                        <a:pt x="96" y="64"/>
                      </a:lnTo>
                      <a:lnTo>
                        <a:pt x="88" y="64"/>
                      </a:lnTo>
                      <a:lnTo>
                        <a:pt x="88" y="72"/>
                      </a:lnTo>
                      <a:lnTo>
                        <a:pt x="88" y="64"/>
                      </a:lnTo>
                      <a:lnTo>
                        <a:pt x="96" y="64"/>
                      </a:lnTo>
                      <a:lnTo>
                        <a:pt x="104" y="64"/>
                      </a:lnTo>
                      <a:lnTo>
                        <a:pt x="112" y="72"/>
                      </a:lnTo>
                      <a:lnTo>
                        <a:pt x="104" y="72"/>
                      </a:lnTo>
                      <a:lnTo>
                        <a:pt x="104" y="80"/>
                      </a:lnTo>
                      <a:lnTo>
                        <a:pt x="112" y="80"/>
                      </a:lnTo>
                      <a:lnTo>
                        <a:pt x="112" y="88"/>
                      </a:lnTo>
                      <a:lnTo>
                        <a:pt x="104" y="88"/>
                      </a:lnTo>
                      <a:lnTo>
                        <a:pt x="104" y="96"/>
                      </a:lnTo>
                      <a:lnTo>
                        <a:pt x="112" y="88"/>
                      </a:lnTo>
                      <a:lnTo>
                        <a:pt x="120" y="88"/>
                      </a:lnTo>
                      <a:lnTo>
                        <a:pt x="120" y="96"/>
                      </a:lnTo>
                      <a:lnTo>
                        <a:pt x="112" y="104"/>
                      </a:lnTo>
                      <a:lnTo>
                        <a:pt x="112" y="112"/>
                      </a:lnTo>
                      <a:lnTo>
                        <a:pt x="104" y="112"/>
                      </a:lnTo>
                      <a:lnTo>
                        <a:pt x="104" y="120"/>
                      </a:lnTo>
                      <a:lnTo>
                        <a:pt x="104" y="128"/>
                      </a:lnTo>
                      <a:lnTo>
                        <a:pt x="96" y="128"/>
                      </a:lnTo>
                      <a:lnTo>
                        <a:pt x="96" y="120"/>
                      </a:lnTo>
                      <a:lnTo>
                        <a:pt x="96" y="128"/>
                      </a:lnTo>
                      <a:lnTo>
                        <a:pt x="96" y="136"/>
                      </a:lnTo>
                      <a:lnTo>
                        <a:pt x="88" y="144"/>
                      </a:lnTo>
                      <a:lnTo>
                        <a:pt x="80" y="144"/>
                      </a:lnTo>
                      <a:lnTo>
                        <a:pt x="72" y="144"/>
                      </a:lnTo>
                      <a:lnTo>
                        <a:pt x="72" y="152"/>
                      </a:lnTo>
                      <a:lnTo>
                        <a:pt x="64" y="144"/>
                      </a:lnTo>
                      <a:lnTo>
                        <a:pt x="56" y="152"/>
                      </a:lnTo>
                      <a:lnTo>
                        <a:pt x="56" y="136"/>
                      </a:lnTo>
                      <a:lnTo>
                        <a:pt x="56" y="128"/>
                      </a:lnTo>
                      <a:lnTo>
                        <a:pt x="48" y="136"/>
                      </a:lnTo>
                      <a:lnTo>
                        <a:pt x="48" y="144"/>
                      </a:lnTo>
                      <a:lnTo>
                        <a:pt x="56" y="152"/>
                      </a:lnTo>
                      <a:lnTo>
                        <a:pt x="56" y="160"/>
                      </a:lnTo>
                      <a:lnTo>
                        <a:pt x="48" y="160"/>
                      </a:lnTo>
                      <a:lnTo>
                        <a:pt x="48" y="168"/>
                      </a:lnTo>
                      <a:lnTo>
                        <a:pt x="40" y="16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8" name="Freeform 107"/>
                <p:cNvSpPr>
                  <a:spLocks/>
                </p:cNvSpPr>
                <p:nvPr/>
              </p:nvSpPr>
              <p:spPr bwMode="auto">
                <a:xfrm>
                  <a:off x="4978400" y="19558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79" name="Freeform 108"/>
                <p:cNvSpPr>
                  <a:spLocks/>
                </p:cNvSpPr>
                <p:nvPr/>
              </p:nvSpPr>
              <p:spPr bwMode="auto">
                <a:xfrm>
                  <a:off x="4965700" y="1955800"/>
                  <a:ext cx="25400" cy="25400"/>
                </a:xfrm>
                <a:custGeom>
                  <a:avLst/>
                  <a:gdLst>
                    <a:gd name="T0" fmla="*/ 8 w 16"/>
                    <a:gd name="T1" fmla="*/ 16 h 16"/>
                    <a:gd name="T2" fmla="*/ 16 w 16"/>
                    <a:gd name="T3" fmla="*/ 16 h 16"/>
                    <a:gd name="T4" fmla="*/ 16 w 16"/>
                    <a:gd name="T5" fmla="*/ 8 h 16"/>
                    <a:gd name="T6" fmla="*/ 8 w 16"/>
                    <a:gd name="T7" fmla="*/ 8 h 16"/>
                    <a:gd name="T8" fmla="*/ 8 w 16"/>
                    <a:gd name="T9" fmla="*/ 0 h 16"/>
                    <a:gd name="T10" fmla="*/ 8 w 16"/>
                    <a:gd name="T11" fmla="*/ 8 h 16"/>
                    <a:gd name="T12" fmla="*/ 0 w 16"/>
                    <a:gd name="T13" fmla="*/ 8 h 16"/>
                    <a:gd name="T14" fmla="*/ 0 w 16"/>
                    <a:gd name="T15" fmla="*/ 16 h 16"/>
                    <a:gd name="T16" fmla="*/ 8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16"/>
                      </a:moveTo>
                      <a:lnTo>
                        <a:pt x="16" y="16"/>
                      </a:lnTo>
                      <a:lnTo>
                        <a:pt x="16" y="8"/>
                      </a:lnTo>
                      <a:lnTo>
                        <a:pt x="8" y="8"/>
                      </a:lnTo>
                      <a:lnTo>
                        <a:pt x="8" y="0"/>
                      </a:lnTo>
                      <a:lnTo>
                        <a:pt x="8" y="8"/>
                      </a:lnTo>
                      <a:lnTo>
                        <a:pt x="0" y="8"/>
                      </a:lnTo>
                      <a:lnTo>
                        <a:pt x="0" y="16"/>
                      </a:lnTo>
                      <a:lnTo>
                        <a:pt x="8"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0" name="Rectangle 109"/>
                <p:cNvSpPr>
                  <a:spLocks noChangeArrowheads="1"/>
                </p:cNvSpPr>
                <p:nvPr/>
              </p:nvSpPr>
              <p:spPr bwMode="auto">
                <a:xfrm>
                  <a:off x="4965700" y="19939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081" name="Freeform 110"/>
                <p:cNvSpPr>
                  <a:spLocks/>
                </p:cNvSpPr>
                <p:nvPr/>
              </p:nvSpPr>
              <p:spPr bwMode="auto">
                <a:xfrm>
                  <a:off x="4673600" y="1828800"/>
                  <a:ext cx="12700" cy="12700"/>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2" name="Freeform 111"/>
                <p:cNvSpPr>
                  <a:spLocks/>
                </p:cNvSpPr>
                <p:nvPr/>
              </p:nvSpPr>
              <p:spPr bwMode="auto">
                <a:xfrm>
                  <a:off x="4699000" y="1841500"/>
                  <a:ext cx="88900" cy="88900"/>
                </a:xfrm>
                <a:custGeom>
                  <a:avLst/>
                  <a:gdLst>
                    <a:gd name="T0" fmla="*/ 16 w 56"/>
                    <a:gd name="T1" fmla="*/ 56 h 56"/>
                    <a:gd name="T2" fmla="*/ 8 w 56"/>
                    <a:gd name="T3" fmla="*/ 56 h 56"/>
                    <a:gd name="T4" fmla="*/ 8 w 56"/>
                    <a:gd name="T5" fmla="*/ 40 h 56"/>
                    <a:gd name="T6" fmla="*/ 8 w 56"/>
                    <a:gd name="T7" fmla="*/ 32 h 56"/>
                    <a:gd name="T8" fmla="*/ 8 w 56"/>
                    <a:gd name="T9" fmla="*/ 24 h 56"/>
                    <a:gd name="T10" fmla="*/ 0 w 56"/>
                    <a:gd name="T11" fmla="*/ 16 h 56"/>
                    <a:gd name="T12" fmla="*/ 0 w 56"/>
                    <a:gd name="T13" fmla="*/ 8 h 56"/>
                    <a:gd name="T14" fmla="*/ 8 w 56"/>
                    <a:gd name="T15" fmla="*/ 0 h 56"/>
                    <a:gd name="T16" fmla="*/ 16 w 56"/>
                    <a:gd name="T17" fmla="*/ 0 h 56"/>
                    <a:gd name="T18" fmla="*/ 24 w 56"/>
                    <a:gd name="T19" fmla="*/ 0 h 56"/>
                    <a:gd name="T20" fmla="*/ 32 w 56"/>
                    <a:gd name="T21" fmla="*/ 0 h 56"/>
                    <a:gd name="T22" fmla="*/ 40 w 56"/>
                    <a:gd name="T23" fmla="*/ 0 h 56"/>
                    <a:gd name="T24" fmla="*/ 48 w 56"/>
                    <a:gd name="T25" fmla="*/ 0 h 56"/>
                    <a:gd name="T26" fmla="*/ 48 w 56"/>
                    <a:gd name="T27" fmla="*/ 8 h 56"/>
                    <a:gd name="T28" fmla="*/ 48 w 56"/>
                    <a:gd name="T29" fmla="*/ 16 h 56"/>
                    <a:gd name="T30" fmla="*/ 56 w 56"/>
                    <a:gd name="T31" fmla="*/ 16 h 56"/>
                    <a:gd name="T32" fmla="*/ 56 w 56"/>
                    <a:gd name="T33" fmla="*/ 24 h 56"/>
                    <a:gd name="T34" fmla="*/ 48 w 56"/>
                    <a:gd name="T35" fmla="*/ 24 h 56"/>
                    <a:gd name="T36" fmla="*/ 48 w 56"/>
                    <a:gd name="T37" fmla="*/ 32 h 56"/>
                    <a:gd name="T38" fmla="*/ 40 w 56"/>
                    <a:gd name="T39" fmla="*/ 32 h 56"/>
                    <a:gd name="T40" fmla="*/ 32 w 56"/>
                    <a:gd name="T41" fmla="*/ 40 h 56"/>
                    <a:gd name="T42" fmla="*/ 24 w 56"/>
                    <a:gd name="T43" fmla="*/ 48 h 56"/>
                    <a:gd name="T44" fmla="*/ 16 w 56"/>
                    <a:gd name="T45" fmla="*/ 48 h 56"/>
                    <a:gd name="T46" fmla="*/ 16 w 56"/>
                    <a:gd name="T4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56">
                      <a:moveTo>
                        <a:pt x="16" y="56"/>
                      </a:moveTo>
                      <a:lnTo>
                        <a:pt x="8" y="56"/>
                      </a:lnTo>
                      <a:lnTo>
                        <a:pt x="8" y="40"/>
                      </a:lnTo>
                      <a:lnTo>
                        <a:pt x="8" y="32"/>
                      </a:lnTo>
                      <a:lnTo>
                        <a:pt x="8" y="24"/>
                      </a:lnTo>
                      <a:lnTo>
                        <a:pt x="0" y="16"/>
                      </a:lnTo>
                      <a:lnTo>
                        <a:pt x="0" y="8"/>
                      </a:lnTo>
                      <a:lnTo>
                        <a:pt x="8" y="0"/>
                      </a:lnTo>
                      <a:lnTo>
                        <a:pt x="16" y="0"/>
                      </a:lnTo>
                      <a:lnTo>
                        <a:pt x="24" y="0"/>
                      </a:lnTo>
                      <a:lnTo>
                        <a:pt x="32" y="0"/>
                      </a:lnTo>
                      <a:lnTo>
                        <a:pt x="40" y="0"/>
                      </a:lnTo>
                      <a:lnTo>
                        <a:pt x="48" y="0"/>
                      </a:lnTo>
                      <a:lnTo>
                        <a:pt x="48" y="8"/>
                      </a:lnTo>
                      <a:lnTo>
                        <a:pt x="48" y="16"/>
                      </a:lnTo>
                      <a:lnTo>
                        <a:pt x="56" y="16"/>
                      </a:lnTo>
                      <a:lnTo>
                        <a:pt x="56" y="24"/>
                      </a:lnTo>
                      <a:lnTo>
                        <a:pt x="48" y="24"/>
                      </a:lnTo>
                      <a:lnTo>
                        <a:pt x="48" y="32"/>
                      </a:lnTo>
                      <a:lnTo>
                        <a:pt x="40" y="32"/>
                      </a:lnTo>
                      <a:lnTo>
                        <a:pt x="32" y="40"/>
                      </a:lnTo>
                      <a:lnTo>
                        <a:pt x="24" y="48"/>
                      </a:lnTo>
                      <a:lnTo>
                        <a:pt x="16" y="48"/>
                      </a:lnTo>
                      <a:lnTo>
                        <a:pt x="16" y="5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3" name="Freeform 112"/>
                <p:cNvSpPr>
                  <a:spLocks/>
                </p:cNvSpPr>
                <p:nvPr/>
              </p:nvSpPr>
              <p:spPr bwMode="auto">
                <a:xfrm>
                  <a:off x="4965700" y="1892300"/>
                  <a:ext cx="241300" cy="203200"/>
                </a:xfrm>
                <a:custGeom>
                  <a:avLst/>
                  <a:gdLst>
                    <a:gd name="T0" fmla="*/ 16 w 152"/>
                    <a:gd name="T1" fmla="*/ 120 h 128"/>
                    <a:gd name="T2" fmla="*/ 8 w 152"/>
                    <a:gd name="T3" fmla="*/ 112 h 128"/>
                    <a:gd name="T4" fmla="*/ 8 w 152"/>
                    <a:gd name="T5" fmla="*/ 112 h 128"/>
                    <a:gd name="T6" fmla="*/ 16 w 152"/>
                    <a:gd name="T7" fmla="*/ 96 h 128"/>
                    <a:gd name="T8" fmla="*/ 24 w 152"/>
                    <a:gd name="T9" fmla="*/ 88 h 128"/>
                    <a:gd name="T10" fmla="*/ 16 w 152"/>
                    <a:gd name="T11" fmla="*/ 72 h 128"/>
                    <a:gd name="T12" fmla="*/ 24 w 152"/>
                    <a:gd name="T13" fmla="*/ 56 h 128"/>
                    <a:gd name="T14" fmla="*/ 32 w 152"/>
                    <a:gd name="T15" fmla="*/ 48 h 128"/>
                    <a:gd name="T16" fmla="*/ 40 w 152"/>
                    <a:gd name="T17" fmla="*/ 32 h 128"/>
                    <a:gd name="T18" fmla="*/ 48 w 152"/>
                    <a:gd name="T19" fmla="*/ 24 h 128"/>
                    <a:gd name="T20" fmla="*/ 56 w 152"/>
                    <a:gd name="T21" fmla="*/ 16 h 128"/>
                    <a:gd name="T22" fmla="*/ 64 w 152"/>
                    <a:gd name="T23" fmla="*/ 24 h 128"/>
                    <a:gd name="T24" fmla="*/ 64 w 152"/>
                    <a:gd name="T25" fmla="*/ 16 h 128"/>
                    <a:gd name="T26" fmla="*/ 64 w 152"/>
                    <a:gd name="T27" fmla="*/ 0 h 128"/>
                    <a:gd name="T28" fmla="*/ 80 w 152"/>
                    <a:gd name="T29" fmla="*/ 0 h 128"/>
                    <a:gd name="T30" fmla="*/ 96 w 152"/>
                    <a:gd name="T31" fmla="*/ 0 h 128"/>
                    <a:gd name="T32" fmla="*/ 104 w 152"/>
                    <a:gd name="T33" fmla="*/ 8 h 128"/>
                    <a:gd name="T34" fmla="*/ 120 w 152"/>
                    <a:gd name="T35" fmla="*/ 16 h 128"/>
                    <a:gd name="T36" fmla="*/ 136 w 152"/>
                    <a:gd name="T37" fmla="*/ 16 h 128"/>
                    <a:gd name="T38" fmla="*/ 152 w 152"/>
                    <a:gd name="T39" fmla="*/ 32 h 128"/>
                    <a:gd name="T40" fmla="*/ 144 w 152"/>
                    <a:gd name="T41" fmla="*/ 40 h 128"/>
                    <a:gd name="T42" fmla="*/ 128 w 152"/>
                    <a:gd name="T43" fmla="*/ 48 h 128"/>
                    <a:gd name="T44" fmla="*/ 120 w 152"/>
                    <a:gd name="T45" fmla="*/ 64 h 128"/>
                    <a:gd name="T46" fmla="*/ 104 w 152"/>
                    <a:gd name="T47" fmla="*/ 72 h 128"/>
                    <a:gd name="T48" fmla="*/ 104 w 152"/>
                    <a:gd name="T49" fmla="*/ 72 h 128"/>
                    <a:gd name="T50" fmla="*/ 96 w 152"/>
                    <a:gd name="T51" fmla="*/ 88 h 128"/>
                    <a:gd name="T52" fmla="*/ 80 w 152"/>
                    <a:gd name="T53" fmla="*/ 96 h 128"/>
                    <a:gd name="T54" fmla="*/ 64 w 152"/>
                    <a:gd name="T55" fmla="*/ 88 h 128"/>
                    <a:gd name="T56" fmla="*/ 56 w 152"/>
                    <a:gd name="T57" fmla="*/ 80 h 128"/>
                    <a:gd name="T58" fmla="*/ 40 w 152"/>
                    <a:gd name="T59" fmla="*/ 80 h 128"/>
                    <a:gd name="T60" fmla="*/ 56 w 152"/>
                    <a:gd name="T61" fmla="*/ 88 h 128"/>
                    <a:gd name="T62" fmla="*/ 48 w 152"/>
                    <a:gd name="T63" fmla="*/ 96 h 128"/>
                    <a:gd name="T64" fmla="*/ 40 w 152"/>
                    <a:gd name="T65" fmla="*/ 112 h 128"/>
                    <a:gd name="T66" fmla="*/ 32 w 152"/>
                    <a:gd name="T67" fmla="*/ 120 h 128"/>
                    <a:gd name="T68" fmla="*/ 24 w 152"/>
                    <a:gd name="T6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8">
                      <a:moveTo>
                        <a:pt x="24" y="128"/>
                      </a:moveTo>
                      <a:lnTo>
                        <a:pt x="16" y="120"/>
                      </a:lnTo>
                      <a:lnTo>
                        <a:pt x="0" y="120"/>
                      </a:lnTo>
                      <a:lnTo>
                        <a:pt x="8" y="112"/>
                      </a:lnTo>
                      <a:lnTo>
                        <a:pt x="16" y="112"/>
                      </a:lnTo>
                      <a:lnTo>
                        <a:pt x="8" y="112"/>
                      </a:lnTo>
                      <a:lnTo>
                        <a:pt x="16" y="104"/>
                      </a:lnTo>
                      <a:lnTo>
                        <a:pt x="16" y="96"/>
                      </a:lnTo>
                      <a:lnTo>
                        <a:pt x="16" y="88"/>
                      </a:lnTo>
                      <a:lnTo>
                        <a:pt x="24" y="88"/>
                      </a:lnTo>
                      <a:lnTo>
                        <a:pt x="16" y="80"/>
                      </a:lnTo>
                      <a:lnTo>
                        <a:pt x="16" y="72"/>
                      </a:lnTo>
                      <a:lnTo>
                        <a:pt x="24" y="64"/>
                      </a:lnTo>
                      <a:lnTo>
                        <a:pt x="24" y="56"/>
                      </a:lnTo>
                      <a:lnTo>
                        <a:pt x="32" y="56"/>
                      </a:lnTo>
                      <a:lnTo>
                        <a:pt x="32" y="48"/>
                      </a:lnTo>
                      <a:lnTo>
                        <a:pt x="32" y="40"/>
                      </a:lnTo>
                      <a:lnTo>
                        <a:pt x="40" y="32"/>
                      </a:lnTo>
                      <a:lnTo>
                        <a:pt x="40" y="24"/>
                      </a:lnTo>
                      <a:lnTo>
                        <a:pt x="48" y="24"/>
                      </a:lnTo>
                      <a:lnTo>
                        <a:pt x="48" y="16"/>
                      </a:lnTo>
                      <a:lnTo>
                        <a:pt x="56" y="16"/>
                      </a:lnTo>
                      <a:lnTo>
                        <a:pt x="56" y="24"/>
                      </a:lnTo>
                      <a:lnTo>
                        <a:pt x="64" y="24"/>
                      </a:lnTo>
                      <a:lnTo>
                        <a:pt x="56" y="16"/>
                      </a:lnTo>
                      <a:lnTo>
                        <a:pt x="64" y="16"/>
                      </a:lnTo>
                      <a:lnTo>
                        <a:pt x="56" y="8"/>
                      </a:lnTo>
                      <a:lnTo>
                        <a:pt x="64" y="0"/>
                      </a:lnTo>
                      <a:lnTo>
                        <a:pt x="72" y="0"/>
                      </a:lnTo>
                      <a:lnTo>
                        <a:pt x="80" y="0"/>
                      </a:lnTo>
                      <a:lnTo>
                        <a:pt x="88" y="0"/>
                      </a:lnTo>
                      <a:lnTo>
                        <a:pt x="96" y="0"/>
                      </a:lnTo>
                      <a:lnTo>
                        <a:pt x="104" y="0"/>
                      </a:lnTo>
                      <a:lnTo>
                        <a:pt x="104" y="8"/>
                      </a:lnTo>
                      <a:lnTo>
                        <a:pt x="112" y="8"/>
                      </a:lnTo>
                      <a:lnTo>
                        <a:pt x="120" y="16"/>
                      </a:lnTo>
                      <a:lnTo>
                        <a:pt x="128" y="16"/>
                      </a:lnTo>
                      <a:lnTo>
                        <a:pt x="136" y="16"/>
                      </a:lnTo>
                      <a:lnTo>
                        <a:pt x="144" y="24"/>
                      </a:lnTo>
                      <a:lnTo>
                        <a:pt x="152" y="32"/>
                      </a:lnTo>
                      <a:lnTo>
                        <a:pt x="144" y="32"/>
                      </a:lnTo>
                      <a:lnTo>
                        <a:pt x="144" y="40"/>
                      </a:lnTo>
                      <a:lnTo>
                        <a:pt x="136" y="48"/>
                      </a:lnTo>
                      <a:lnTo>
                        <a:pt x="128" y="48"/>
                      </a:lnTo>
                      <a:lnTo>
                        <a:pt x="128" y="56"/>
                      </a:lnTo>
                      <a:lnTo>
                        <a:pt x="120" y="64"/>
                      </a:lnTo>
                      <a:lnTo>
                        <a:pt x="112" y="64"/>
                      </a:lnTo>
                      <a:lnTo>
                        <a:pt x="104" y="72"/>
                      </a:lnTo>
                      <a:lnTo>
                        <a:pt x="112" y="72"/>
                      </a:lnTo>
                      <a:lnTo>
                        <a:pt x="104" y="72"/>
                      </a:lnTo>
                      <a:lnTo>
                        <a:pt x="96" y="80"/>
                      </a:lnTo>
                      <a:lnTo>
                        <a:pt x="96" y="88"/>
                      </a:lnTo>
                      <a:lnTo>
                        <a:pt x="88" y="96"/>
                      </a:lnTo>
                      <a:lnTo>
                        <a:pt x="80" y="96"/>
                      </a:lnTo>
                      <a:lnTo>
                        <a:pt x="72" y="88"/>
                      </a:lnTo>
                      <a:lnTo>
                        <a:pt x="64" y="88"/>
                      </a:lnTo>
                      <a:lnTo>
                        <a:pt x="64" y="80"/>
                      </a:lnTo>
                      <a:lnTo>
                        <a:pt x="56" y="80"/>
                      </a:lnTo>
                      <a:lnTo>
                        <a:pt x="48" y="80"/>
                      </a:lnTo>
                      <a:lnTo>
                        <a:pt x="40" y="80"/>
                      </a:lnTo>
                      <a:lnTo>
                        <a:pt x="40" y="88"/>
                      </a:lnTo>
                      <a:lnTo>
                        <a:pt x="56" y="88"/>
                      </a:lnTo>
                      <a:lnTo>
                        <a:pt x="48" y="88"/>
                      </a:lnTo>
                      <a:lnTo>
                        <a:pt x="48" y="96"/>
                      </a:lnTo>
                      <a:lnTo>
                        <a:pt x="48" y="104"/>
                      </a:lnTo>
                      <a:lnTo>
                        <a:pt x="40" y="112"/>
                      </a:lnTo>
                      <a:lnTo>
                        <a:pt x="32" y="112"/>
                      </a:lnTo>
                      <a:lnTo>
                        <a:pt x="32" y="120"/>
                      </a:lnTo>
                      <a:lnTo>
                        <a:pt x="24" y="120"/>
                      </a:lnTo>
                      <a:lnTo>
                        <a:pt x="24" y="12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4" name="Freeform 113"/>
                <p:cNvSpPr>
                  <a:spLocks/>
                </p:cNvSpPr>
                <p:nvPr/>
              </p:nvSpPr>
              <p:spPr bwMode="auto">
                <a:xfrm>
                  <a:off x="5448300" y="2019300"/>
                  <a:ext cx="127000" cy="114300"/>
                </a:xfrm>
                <a:custGeom>
                  <a:avLst/>
                  <a:gdLst>
                    <a:gd name="T0" fmla="*/ 24 w 80"/>
                    <a:gd name="T1" fmla="*/ 64 h 72"/>
                    <a:gd name="T2" fmla="*/ 16 w 80"/>
                    <a:gd name="T3" fmla="*/ 64 h 72"/>
                    <a:gd name="T4" fmla="*/ 8 w 80"/>
                    <a:gd name="T5" fmla="*/ 64 h 72"/>
                    <a:gd name="T6" fmla="*/ 8 w 80"/>
                    <a:gd name="T7" fmla="*/ 56 h 72"/>
                    <a:gd name="T8" fmla="*/ 0 w 80"/>
                    <a:gd name="T9" fmla="*/ 48 h 72"/>
                    <a:gd name="T10" fmla="*/ 8 w 80"/>
                    <a:gd name="T11" fmla="*/ 48 h 72"/>
                    <a:gd name="T12" fmla="*/ 8 w 80"/>
                    <a:gd name="T13" fmla="*/ 40 h 72"/>
                    <a:gd name="T14" fmla="*/ 8 w 80"/>
                    <a:gd name="T15" fmla="*/ 32 h 72"/>
                    <a:gd name="T16" fmla="*/ 0 w 80"/>
                    <a:gd name="T17" fmla="*/ 24 h 72"/>
                    <a:gd name="T18" fmla="*/ 8 w 80"/>
                    <a:gd name="T19" fmla="*/ 16 h 72"/>
                    <a:gd name="T20" fmla="*/ 8 w 80"/>
                    <a:gd name="T21" fmla="*/ 8 h 72"/>
                    <a:gd name="T22" fmla="*/ 16 w 80"/>
                    <a:gd name="T23" fmla="*/ 8 h 72"/>
                    <a:gd name="T24" fmla="*/ 16 w 80"/>
                    <a:gd name="T25" fmla="*/ 0 h 72"/>
                    <a:gd name="T26" fmla="*/ 24 w 80"/>
                    <a:gd name="T27" fmla="*/ 0 h 72"/>
                    <a:gd name="T28" fmla="*/ 32 w 80"/>
                    <a:gd name="T29" fmla="*/ 8 h 72"/>
                    <a:gd name="T30" fmla="*/ 40 w 80"/>
                    <a:gd name="T31" fmla="*/ 16 h 72"/>
                    <a:gd name="T32" fmla="*/ 40 w 80"/>
                    <a:gd name="T33" fmla="*/ 8 h 72"/>
                    <a:gd name="T34" fmla="*/ 48 w 80"/>
                    <a:gd name="T35" fmla="*/ 16 h 72"/>
                    <a:gd name="T36" fmla="*/ 56 w 80"/>
                    <a:gd name="T37" fmla="*/ 16 h 72"/>
                    <a:gd name="T38" fmla="*/ 64 w 80"/>
                    <a:gd name="T39" fmla="*/ 16 h 72"/>
                    <a:gd name="T40" fmla="*/ 72 w 80"/>
                    <a:gd name="T41" fmla="*/ 24 h 72"/>
                    <a:gd name="T42" fmla="*/ 72 w 80"/>
                    <a:gd name="T43" fmla="*/ 32 h 72"/>
                    <a:gd name="T44" fmla="*/ 72 w 80"/>
                    <a:gd name="T45" fmla="*/ 40 h 72"/>
                    <a:gd name="T46" fmla="*/ 72 w 80"/>
                    <a:gd name="T47" fmla="*/ 48 h 72"/>
                    <a:gd name="T48" fmla="*/ 80 w 80"/>
                    <a:gd name="T49" fmla="*/ 56 h 72"/>
                    <a:gd name="T50" fmla="*/ 72 w 80"/>
                    <a:gd name="T51" fmla="*/ 64 h 72"/>
                    <a:gd name="T52" fmla="*/ 80 w 80"/>
                    <a:gd name="T53" fmla="*/ 64 h 72"/>
                    <a:gd name="T54" fmla="*/ 80 w 80"/>
                    <a:gd name="T55" fmla="*/ 72 h 72"/>
                    <a:gd name="T56" fmla="*/ 72 w 80"/>
                    <a:gd name="T57" fmla="*/ 72 h 72"/>
                    <a:gd name="T58" fmla="*/ 64 w 80"/>
                    <a:gd name="T59" fmla="*/ 72 h 72"/>
                    <a:gd name="T60" fmla="*/ 56 w 80"/>
                    <a:gd name="T61" fmla="*/ 64 h 72"/>
                    <a:gd name="T62" fmla="*/ 48 w 80"/>
                    <a:gd name="T63" fmla="*/ 64 h 72"/>
                    <a:gd name="T64" fmla="*/ 40 w 80"/>
                    <a:gd name="T65" fmla="*/ 64 h 72"/>
                    <a:gd name="T66" fmla="*/ 40 w 80"/>
                    <a:gd name="T67" fmla="*/ 56 h 72"/>
                    <a:gd name="T68" fmla="*/ 32 w 80"/>
                    <a:gd name="T69" fmla="*/ 64 h 72"/>
                    <a:gd name="T70" fmla="*/ 24 w 80"/>
                    <a:gd name="T7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72">
                      <a:moveTo>
                        <a:pt x="24" y="64"/>
                      </a:moveTo>
                      <a:lnTo>
                        <a:pt x="16" y="64"/>
                      </a:lnTo>
                      <a:lnTo>
                        <a:pt x="8" y="64"/>
                      </a:lnTo>
                      <a:lnTo>
                        <a:pt x="8" y="56"/>
                      </a:lnTo>
                      <a:lnTo>
                        <a:pt x="0" y="48"/>
                      </a:lnTo>
                      <a:lnTo>
                        <a:pt x="8" y="48"/>
                      </a:lnTo>
                      <a:lnTo>
                        <a:pt x="8" y="40"/>
                      </a:lnTo>
                      <a:lnTo>
                        <a:pt x="8" y="32"/>
                      </a:lnTo>
                      <a:lnTo>
                        <a:pt x="0" y="24"/>
                      </a:lnTo>
                      <a:lnTo>
                        <a:pt x="8" y="16"/>
                      </a:lnTo>
                      <a:lnTo>
                        <a:pt x="8" y="8"/>
                      </a:lnTo>
                      <a:lnTo>
                        <a:pt x="16" y="8"/>
                      </a:lnTo>
                      <a:lnTo>
                        <a:pt x="16" y="0"/>
                      </a:lnTo>
                      <a:lnTo>
                        <a:pt x="24" y="0"/>
                      </a:lnTo>
                      <a:lnTo>
                        <a:pt x="32" y="8"/>
                      </a:lnTo>
                      <a:lnTo>
                        <a:pt x="40" y="16"/>
                      </a:lnTo>
                      <a:lnTo>
                        <a:pt x="40" y="8"/>
                      </a:lnTo>
                      <a:lnTo>
                        <a:pt x="48" y="16"/>
                      </a:lnTo>
                      <a:lnTo>
                        <a:pt x="56" y="16"/>
                      </a:lnTo>
                      <a:lnTo>
                        <a:pt x="64" y="16"/>
                      </a:lnTo>
                      <a:lnTo>
                        <a:pt x="72" y="24"/>
                      </a:lnTo>
                      <a:lnTo>
                        <a:pt x="72" y="32"/>
                      </a:lnTo>
                      <a:lnTo>
                        <a:pt x="72" y="40"/>
                      </a:lnTo>
                      <a:lnTo>
                        <a:pt x="72" y="48"/>
                      </a:lnTo>
                      <a:lnTo>
                        <a:pt x="80" y="56"/>
                      </a:lnTo>
                      <a:lnTo>
                        <a:pt x="72" y="64"/>
                      </a:lnTo>
                      <a:lnTo>
                        <a:pt x="80" y="64"/>
                      </a:lnTo>
                      <a:lnTo>
                        <a:pt x="80" y="72"/>
                      </a:lnTo>
                      <a:lnTo>
                        <a:pt x="72" y="72"/>
                      </a:lnTo>
                      <a:lnTo>
                        <a:pt x="64" y="72"/>
                      </a:lnTo>
                      <a:lnTo>
                        <a:pt x="56" y="64"/>
                      </a:lnTo>
                      <a:lnTo>
                        <a:pt x="48" y="64"/>
                      </a:lnTo>
                      <a:lnTo>
                        <a:pt x="40" y="64"/>
                      </a:lnTo>
                      <a:lnTo>
                        <a:pt x="40" y="56"/>
                      </a:lnTo>
                      <a:lnTo>
                        <a:pt x="32" y="64"/>
                      </a:lnTo>
                      <a:lnTo>
                        <a:pt x="24" y="6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5" name="Freeform 114"/>
                <p:cNvSpPr>
                  <a:spLocks/>
                </p:cNvSpPr>
                <p:nvPr/>
              </p:nvSpPr>
              <p:spPr bwMode="auto">
                <a:xfrm>
                  <a:off x="5435600" y="2120900"/>
                  <a:ext cx="12700" cy="12700"/>
                </a:xfrm>
                <a:custGeom>
                  <a:avLst/>
                  <a:gdLst>
                    <a:gd name="T0" fmla="*/ 0 w 8"/>
                    <a:gd name="T1" fmla="*/ 8 h 8"/>
                    <a:gd name="T2" fmla="*/ 0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6" name="Freeform 115"/>
                <p:cNvSpPr>
                  <a:spLocks/>
                </p:cNvSpPr>
                <p:nvPr/>
              </p:nvSpPr>
              <p:spPr bwMode="auto">
                <a:xfrm>
                  <a:off x="5448300" y="21336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7" name="Freeform 116"/>
                <p:cNvSpPr>
                  <a:spLocks/>
                </p:cNvSpPr>
                <p:nvPr/>
              </p:nvSpPr>
              <p:spPr bwMode="auto">
                <a:xfrm>
                  <a:off x="5461000" y="2133600"/>
                  <a:ext cx="12700" cy="12700"/>
                </a:xfrm>
                <a:custGeom>
                  <a:avLst/>
                  <a:gdLst>
                    <a:gd name="T0" fmla="*/ 8 w 8"/>
                    <a:gd name="T1" fmla="*/ 8 h 8"/>
                    <a:gd name="T2" fmla="*/ 0 w 8"/>
                    <a:gd name="T3" fmla="*/ 8 h 8"/>
                    <a:gd name="T4" fmla="*/ 0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8"/>
                      </a:lnTo>
                      <a:lnTo>
                        <a:pt x="0" y="0"/>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8" name="Freeform 117"/>
                <p:cNvSpPr>
                  <a:spLocks/>
                </p:cNvSpPr>
                <p:nvPr/>
              </p:nvSpPr>
              <p:spPr bwMode="auto">
                <a:xfrm>
                  <a:off x="4978400" y="2298700"/>
                  <a:ext cx="12700" cy="12700"/>
                </a:xfrm>
                <a:custGeom>
                  <a:avLst/>
                  <a:gdLst>
                    <a:gd name="T0" fmla="*/ 8 w 8"/>
                    <a:gd name="T1" fmla="*/ 8 h 8"/>
                    <a:gd name="T2" fmla="*/ 0 w 8"/>
                    <a:gd name="T3" fmla="*/ 8 h 8"/>
                    <a:gd name="T4" fmla="*/ 8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8"/>
                      </a:lnTo>
                      <a:lnTo>
                        <a:pt x="8" y="0"/>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89" name="Freeform 118"/>
                <p:cNvSpPr>
                  <a:spLocks/>
                </p:cNvSpPr>
                <p:nvPr/>
              </p:nvSpPr>
              <p:spPr bwMode="auto">
                <a:xfrm>
                  <a:off x="5003800" y="2349500"/>
                  <a:ext cx="12700" cy="12700"/>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0" name="Freeform 119"/>
                <p:cNvSpPr>
                  <a:spLocks/>
                </p:cNvSpPr>
                <p:nvPr/>
              </p:nvSpPr>
              <p:spPr bwMode="auto">
                <a:xfrm>
                  <a:off x="5003800" y="23495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1" name="Freeform 120"/>
                <p:cNvSpPr>
                  <a:spLocks/>
                </p:cNvSpPr>
                <p:nvPr/>
              </p:nvSpPr>
              <p:spPr bwMode="auto">
                <a:xfrm>
                  <a:off x="5130800" y="2298700"/>
                  <a:ext cx="25400" cy="25400"/>
                </a:xfrm>
                <a:custGeom>
                  <a:avLst/>
                  <a:gdLst>
                    <a:gd name="T0" fmla="*/ 16 w 16"/>
                    <a:gd name="T1" fmla="*/ 16 h 16"/>
                    <a:gd name="T2" fmla="*/ 8 w 16"/>
                    <a:gd name="T3" fmla="*/ 16 h 16"/>
                    <a:gd name="T4" fmla="*/ 8 w 16"/>
                    <a:gd name="T5" fmla="*/ 8 h 16"/>
                    <a:gd name="T6" fmla="*/ 8 w 16"/>
                    <a:gd name="T7" fmla="*/ 16 h 16"/>
                    <a:gd name="T8" fmla="*/ 0 w 16"/>
                    <a:gd name="T9" fmla="*/ 8 h 16"/>
                    <a:gd name="T10" fmla="*/ 8 w 16"/>
                    <a:gd name="T11" fmla="*/ 8 h 16"/>
                    <a:gd name="T12" fmla="*/ 8 w 16"/>
                    <a:gd name="T13" fmla="*/ 0 h 16"/>
                    <a:gd name="T14" fmla="*/ 8 w 16"/>
                    <a:gd name="T15" fmla="*/ 8 h 16"/>
                    <a:gd name="T16" fmla="*/ 16 w 16"/>
                    <a:gd name="T17" fmla="*/ 8 h 16"/>
                    <a:gd name="T18" fmla="*/ 16 w 16"/>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6" y="16"/>
                      </a:moveTo>
                      <a:lnTo>
                        <a:pt x="8" y="16"/>
                      </a:lnTo>
                      <a:lnTo>
                        <a:pt x="8" y="8"/>
                      </a:lnTo>
                      <a:lnTo>
                        <a:pt x="8" y="16"/>
                      </a:lnTo>
                      <a:lnTo>
                        <a:pt x="0" y="8"/>
                      </a:lnTo>
                      <a:lnTo>
                        <a:pt x="8" y="8"/>
                      </a:lnTo>
                      <a:lnTo>
                        <a:pt x="8" y="0"/>
                      </a:lnTo>
                      <a:lnTo>
                        <a:pt x="8" y="8"/>
                      </a:lnTo>
                      <a:lnTo>
                        <a:pt x="16" y="8"/>
                      </a:lnTo>
                      <a:lnTo>
                        <a:pt x="16"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2" name="Freeform 121"/>
                <p:cNvSpPr>
                  <a:spLocks/>
                </p:cNvSpPr>
                <p:nvPr/>
              </p:nvSpPr>
              <p:spPr bwMode="auto">
                <a:xfrm>
                  <a:off x="5232400" y="2349500"/>
                  <a:ext cx="12700" cy="12700"/>
                </a:xfrm>
                <a:custGeom>
                  <a:avLst/>
                  <a:gdLst>
                    <a:gd name="T0" fmla="*/ 0 w 8"/>
                    <a:gd name="T1" fmla="*/ 8 h 8"/>
                    <a:gd name="T2" fmla="*/ 0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3" name="Freeform 122"/>
                <p:cNvSpPr>
                  <a:spLocks/>
                </p:cNvSpPr>
                <p:nvPr/>
              </p:nvSpPr>
              <p:spPr bwMode="auto">
                <a:xfrm>
                  <a:off x="5245100" y="23622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4" name="Freeform 123"/>
                <p:cNvSpPr>
                  <a:spLocks/>
                </p:cNvSpPr>
                <p:nvPr/>
              </p:nvSpPr>
              <p:spPr bwMode="auto">
                <a:xfrm>
                  <a:off x="5257800" y="23622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5" name="Freeform 124"/>
                <p:cNvSpPr>
                  <a:spLocks/>
                </p:cNvSpPr>
                <p:nvPr/>
              </p:nvSpPr>
              <p:spPr bwMode="auto">
                <a:xfrm>
                  <a:off x="5346700" y="2463800"/>
                  <a:ext cx="12700" cy="25400"/>
                </a:xfrm>
                <a:custGeom>
                  <a:avLst/>
                  <a:gdLst>
                    <a:gd name="T0" fmla="*/ 0 w 8"/>
                    <a:gd name="T1" fmla="*/ 16 h 16"/>
                    <a:gd name="T2" fmla="*/ 0 w 8"/>
                    <a:gd name="T3" fmla="*/ 8 h 16"/>
                    <a:gd name="T4" fmla="*/ 0 w 8"/>
                    <a:gd name="T5" fmla="*/ 0 h 16"/>
                    <a:gd name="T6" fmla="*/ 8 w 8"/>
                    <a:gd name="T7" fmla="*/ 8 h 16"/>
                    <a:gd name="T8" fmla="*/ 8 w 8"/>
                    <a:gd name="T9" fmla="*/ 16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0" y="0"/>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6" name="Freeform 125"/>
                <p:cNvSpPr>
                  <a:spLocks/>
                </p:cNvSpPr>
                <p:nvPr/>
              </p:nvSpPr>
              <p:spPr bwMode="auto">
                <a:xfrm>
                  <a:off x="5334000" y="2489200"/>
                  <a:ext cx="12700" cy="12700"/>
                </a:xfrm>
                <a:custGeom>
                  <a:avLst/>
                  <a:gdLst>
                    <a:gd name="T0" fmla="*/ 8 w 8"/>
                    <a:gd name="T1" fmla="*/ 8 h 8"/>
                    <a:gd name="T2" fmla="*/ 0 w 8"/>
                    <a:gd name="T3" fmla="*/ 8 h 8"/>
                    <a:gd name="T4" fmla="*/ 8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8"/>
                      </a:lnTo>
                      <a:lnTo>
                        <a:pt x="8" y="0"/>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7" name="Freeform 126"/>
                <p:cNvSpPr>
                  <a:spLocks/>
                </p:cNvSpPr>
                <p:nvPr/>
              </p:nvSpPr>
              <p:spPr bwMode="auto">
                <a:xfrm>
                  <a:off x="5270500" y="23876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8" name="Freeform 127"/>
                <p:cNvSpPr>
                  <a:spLocks/>
                </p:cNvSpPr>
                <p:nvPr/>
              </p:nvSpPr>
              <p:spPr bwMode="auto">
                <a:xfrm>
                  <a:off x="5283200" y="24003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099" name="Freeform 128"/>
                <p:cNvSpPr>
                  <a:spLocks/>
                </p:cNvSpPr>
                <p:nvPr/>
              </p:nvSpPr>
              <p:spPr bwMode="auto">
                <a:xfrm>
                  <a:off x="5334000" y="2362200"/>
                  <a:ext cx="25400" cy="25400"/>
                </a:xfrm>
                <a:custGeom>
                  <a:avLst/>
                  <a:gdLst>
                    <a:gd name="T0" fmla="*/ 0 w 16"/>
                    <a:gd name="T1" fmla="*/ 8 h 16"/>
                    <a:gd name="T2" fmla="*/ 0 w 16"/>
                    <a:gd name="T3" fmla="*/ 16 h 16"/>
                    <a:gd name="T4" fmla="*/ 8 w 16"/>
                    <a:gd name="T5" fmla="*/ 16 h 16"/>
                    <a:gd name="T6" fmla="*/ 16 w 16"/>
                    <a:gd name="T7" fmla="*/ 16 h 16"/>
                    <a:gd name="T8" fmla="*/ 16 w 16"/>
                    <a:gd name="T9" fmla="*/ 8 h 16"/>
                    <a:gd name="T10" fmla="*/ 8 w 16"/>
                    <a:gd name="T11" fmla="*/ 8 h 16"/>
                    <a:gd name="T12" fmla="*/ 0 w 16"/>
                    <a:gd name="T13" fmla="*/ 0 h 16"/>
                    <a:gd name="T14" fmla="*/ 0 w 16"/>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0" y="8"/>
                      </a:moveTo>
                      <a:lnTo>
                        <a:pt x="0" y="16"/>
                      </a:lnTo>
                      <a:lnTo>
                        <a:pt x="8" y="16"/>
                      </a:lnTo>
                      <a:lnTo>
                        <a:pt x="16" y="16"/>
                      </a:lnTo>
                      <a:lnTo>
                        <a:pt x="16" y="8"/>
                      </a:lnTo>
                      <a:lnTo>
                        <a:pt x="8" y="8"/>
                      </a:ln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0" name="Freeform 129"/>
                <p:cNvSpPr>
                  <a:spLocks/>
                </p:cNvSpPr>
                <p:nvPr/>
              </p:nvSpPr>
              <p:spPr bwMode="auto">
                <a:xfrm>
                  <a:off x="5422900" y="23622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1" name="Freeform 130"/>
                <p:cNvSpPr>
                  <a:spLocks/>
                </p:cNvSpPr>
                <p:nvPr/>
              </p:nvSpPr>
              <p:spPr bwMode="auto">
                <a:xfrm>
                  <a:off x="5384800" y="2387600"/>
                  <a:ext cx="25400" cy="12700"/>
                </a:xfrm>
                <a:custGeom>
                  <a:avLst/>
                  <a:gdLst>
                    <a:gd name="T0" fmla="*/ 0 w 16"/>
                    <a:gd name="T1" fmla="*/ 8 h 8"/>
                    <a:gd name="T2" fmla="*/ 8 w 16"/>
                    <a:gd name="T3" fmla="*/ 8 h 8"/>
                    <a:gd name="T4" fmla="*/ 16 w 16"/>
                    <a:gd name="T5" fmla="*/ 0 h 8"/>
                    <a:gd name="T6" fmla="*/ 16 w 16"/>
                    <a:gd name="T7" fmla="*/ 8 h 8"/>
                    <a:gd name="T8" fmla="*/ 8 w 16"/>
                    <a:gd name="T9" fmla="*/ 8 h 8"/>
                    <a:gd name="T10" fmla="*/ 0 w 16"/>
                    <a:gd name="T11" fmla="*/ 8 h 8"/>
                  </a:gdLst>
                  <a:ahLst/>
                  <a:cxnLst>
                    <a:cxn ang="0">
                      <a:pos x="T0" y="T1"/>
                    </a:cxn>
                    <a:cxn ang="0">
                      <a:pos x="T2" y="T3"/>
                    </a:cxn>
                    <a:cxn ang="0">
                      <a:pos x="T4" y="T5"/>
                    </a:cxn>
                    <a:cxn ang="0">
                      <a:pos x="T6" y="T7"/>
                    </a:cxn>
                    <a:cxn ang="0">
                      <a:pos x="T8" y="T9"/>
                    </a:cxn>
                    <a:cxn ang="0">
                      <a:pos x="T10" y="T11"/>
                    </a:cxn>
                  </a:cxnLst>
                  <a:rect l="0" t="0" r="r" b="b"/>
                  <a:pathLst>
                    <a:path w="16" h="8">
                      <a:moveTo>
                        <a:pt x="0" y="8"/>
                      </a:moveTo>
                      <a:lnTo>
                        <a:pt x="8" y="8"/>
                      </a:lnTo>
                      <a:lnTo>
                        <a:pt x="16" y="0"/>
                      </a:lnTo>
                      <a:lnTo>
                        <a:pt x="16" y="8"/>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2" name="Freeform 131"/>
                <p:cNvSpPr>
                  <a:spLocks/>
                </p:cNvSpPr>
                <p:nvPr/>
              </p:nvSpPr>
              <p:spPr bwMode="auto">
                <a:xfrm>
                  <a:off x="5334000" y="2413000"/>
                  <a:ext cx="63500" cy="38100"/>
                </a:xfrm>
                <a:custGeom>
                  <a:avLst/>
                  <a:gdLst>
                    <a:gd name="T0" fmla="*/ 16 w 40"/>
                    <a:gd name="T1" fmla="*/ 24 h 24"/>
                    <a:gd name="T2" fmla="*/ 24 w 40"/>
                    <a:gd name="T3" fmla="*/ 16 h 24"/>
                    <a:gd name="T4" fmla="*/ 32 w 40"/>
                    <a:gd name="T5" fmla="*/ 16 h 24"/>
                    <a:gd name="T6" fmla="*/ 32 w 40"/>
                    <a:gd name="T7" fmla="*/ 8 h 24"/>
                    <a:gd name="T8" fmla="*/ 40 w 40"/>
                    <a:gd name="T9" fmla="*/ 8 h 24"/>
                    <a:gd name="T10" fmla="*/ 40 w 40"/>
                    <a:gd name="T11" fmla="*/ 0 h 24"/>
                    <a:gd name="T12" fmla="*/ 32 w 40"/>
                    <a:gd name="T13" fmla="*/ 0 h 24"/>
                    <a:gd name="T14" fmla="*/ 32 w 40"/>
                    <a:gd name="T15" fmla="*/ 8 h 24"/>
                    <a:gd name="T16" fmla="*/ 24 w 40"/>
                    <a:gd name="T17" fmla="*/ 8 h 24"/>
                    <a:gd name="T18" fmla="*/ 16 w 40"/>
                    <a:gd name="T19" fmla="*/ 16 h 24"/>
                    <a:gd name="T20" fmla="*/ 8 w 40"/>
                    <a:gd name="T21" fmla="*/ 16 h 24"/>
                    <a:gd name="T22" fmla="*/ 0 w 40"/>
                    <a:gd name="T23" fmla="*/ 24 h 24"/>
                    <a:gd name="T24" fmla="*/ 8 w 40"/>
                    <a:gd name="T25" fmla="*/ 24 h 24"/>
                    <a:gd name="T26" fmla="*/ 16 w 40"/>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4">
                      <a:moveTo>
                        <a:pt x="16" y="24"/>
                      </a:moveTo>
                      <a:lnTo>
                        <a:pt x="24" y="16"/>
                      </a:lnTo>
                      <a:lnTo>
                        <a:pt x="32" y="16"/>
                      </a:lnTo>
                      <a:lnTo>
                        <a:pt x="32" y="8"/>
                      </a:lnTo>
                      <a:lnTo>
                        <a:pt x="40" y="8"/>
                      </a:lnTo>
                      <a:lnTo>
                        <a:pt x="40" y="0"/>
                      </a:lnTo>
                      <a:lnTo>
                        <a:pt x="32" y="0"/>
                      </a:lnTo>
                      <a:lnTo>
                        <a:pt x="32" y="8"/>
                      </a:lnTo>
                      <a:lnTo>
                        <a:pt x="24" y="8"/>
                      </a:lnTo>
                      <a:lnTo>
                        <a:pt x="16" y="16"/>
                      </a:lnTo>
                      <a:lnTo>
                        <a:pt x="8" y="16"/>
                      </a:lnTo>
                      <a:lnTo>
                        <a:pt x="0" y="24"/>
                      </a:lnTo>
                      <a:lnTo>
                        <a:pt x="8" y="24"/>
                      </a:lnTo>
                      <a:lnTo>
                        <a:pt x="16"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3" name="Freeform 132"/>
                <p:cNvSpPr>
                  <a:spLocks/>
                </p:cNvSpPr>
                <p:nvPr/>
              </p:nvSpPr>
              <p:spPr bwMode="auto">
                <a:xfrm>
                  <a:off x="5422900" y="2425700"/>
                  <a:ext cx="12700" cy="25400"/>
                </a:xfrm>
                <a:custGeom>
                  <a:avLst/>
                  <a:gdLst>
                    <a:gd name="T0" fmla="*/ 0 w 8"/>
                    <a:gd name="T1" fmla="*/ 16 h 16"/>
                    <a:gd name="T2" fmla="*/ 0 w 8"/>
                    <a:gd name="T3" fmla="*/ 8 h 16"/>
                    <a:gd name="T4" fmla="*/ 0 w 8"/>
                    <a:gd name="T5" fmla="*/ 0 h 16"/>
                    <a:gd name="T6" fmla="*/ 8 w 8"/>
                    <a:gd name="T7" fmla="*/ 0 h 16"/>
                    <a:gd name="T8" fmla="*/ 8 w 8"/>
                    <a:gd name="T9" fmla="*/ 8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0" y="0"/>
                      </a:lnTo>
                      <a:lnTo>
                        <a:pt x="8" y="0"/>
                      </a:lnTo>
                      <a:lnTo>
                        <a:pt x="8"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4" name="Freeform 133"/>
                <p:cNvSpPr>
                  <a:spLocks/>
                </p:cNvSpPr>
                <p:nvPr/>
              </p:nvSpPr>
              <p:spPr bwMode="auto">
                <a:xfrm>
                  <a:off x="5461000" y="2476500"/>
                  <a:ext cx="12700" cy="38100"/>
                </a:xfrm>
                <a:custGeom>
                  <a:avLst/>
                  <a:gdLst>
                    <a:gd name="T0" fmla="*/ 8 w 8"/>
                    <a:gd name="T1" fmla="*/ 24 h 24"/>
                    <a:gd name="T2" fmla="*/ 8 w 8"/>
                    <a:gd name="T3" fmla="*/ 16 h 24"/>
                    <a:gd name="T4" fmla="*/ 8 w 8"/>
                    <a:gd name="T5" fmla="*/ 8 h 24"/>
                    <a:gd name="T6" fmla="*/ 0 w 8"/>
                    <a:gd name="T7" fmla="*/ 0 h 24"/>
                    <a:gd name="T8" fmla="*/ 0 w 8"/>
                    <a:gd name="T9" fmla="*/ 8 h 24"/>
                    <a:gd name="T10" fmla="*/ 0 w 8"/>
                    <a:gd name="T11" fmla="*/ 16 h 24"/>
                    <a:gd name="T12" fmla="*/ 0 w 8"/>
                    <a:gd name="T13" fmla="*/ 24 h 24"/>
                    <a:gd name="T14" fmla="*/ 8 w 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4">
                      <a:moveTo>
                        <a:pt x="8" y="24"/>
                      </a:moveTo>
                      <a:lnTo>
                        <a:pt x="8" y="16"/>
                      </a:lnTo>
                      <a:lnTo>
                        <a:pt x="8" y="8"/>
                      </a:lnTo>
                      <a:lnTo>
                        <a:pt x="0" y="0"/>
                      </a:lnTo>
                      <a:lnTo>
                        <a:pt x="0" y="8"/>
                      </a:lnTo>
                      <a:lnTo>
                        <a:pt x="0" y="16"/>
                      </a:lnTo>
                      <a:lnTo>
                        <a:pt x="0" y="24"/>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5" name="Freeform 134"/>
                <p:cNvSpPr>
                  <a:spLocks/>
                </p:cNvSpPr>
                <p:nvPr/>
              </p:nvSpPr>
              <p:spPr bwMode="auto">
                <a:xfrm>
                  <a:off x="5473700" y="2489200"/>
                  <a:ext cx="12700" cy="12700"/>
                </a:xfrm>
                <a:custGeom>
                  <a:avLst/>
                  <a:gdLst>
                    <a:gd name="T0" fmla="*/ 0 w 8"/>
                    <a:gd name="T1" fmla="*/ 8 h 8"/>
                    <a:gd name="T2" fmla="*/ 0 w 8"/>
                    <a:gd name="T3" fmla="*/ 0 h 8"/>
                    <a:gd name="T4" fmla="*/ 0 w 8"/>
                    <a:gd name="T5" fmla="*/ 8 h 8"/>
                    <a:gd name="T6" fmla="*/ 8 w 8"/>
                    <a:gd name="T7" fmla="*/ 8 h 8"/>
                    <a:gd name="T8" fmla="*/ 0 w 8"/>
                    <a:gd name="T9" fmla="*/ 8 h 8"/>
                  </a:gdLst>
                  <a:ahLst/>
                  <a:cxnLst>
                    <a:cxn ang="0">
                      <a:pos x="T0" y="T1"/>
                    </a:cxn>
                    <a:cxn ang="0">
                      <a:pos x="T2" y="T3"/>
                    </a:cxn>
                    <a:cxn ang="0">
                      <a:pos x="T4" y="T5"/>
                    </a:cxn>
                    <a:cxn ang="0">
                      <a:pos x="T6" y="T7"/>
                    </a:cxn>
                    <a:cxn ang="0">
                      <a:pos x="T8" y="T9"/>
                    </a:cxn>
                  </a:cxnLst>
                  <a:rect l="0" t="0" r="r" b="b"/>
                  <a:pathLst>
                    <a:path w="8" h="8">
                      <a:moveTo>
                        <a:pt x="0" y="8"/>
                      </a:moveTo>
                      <a:lnTo>
                        <a:pt x="0" y="0"/>
                      </a:lnTo>
                      <a:lnTo>
                        <a:pt x="0" y="8"/>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6" name="Freeform 135"/>
                <p:cNvSpPr>
                  <a:spLocks/>
                </p:cNvSpPr>
                <p:nvPr/>
              </p:nvSpPr>
              <p:spPr bwMode="auto">
                <a:xfrm>
                  <a:off x="5461000" y="2527300"/>
                  <a:ext cx="38100" cy="38100"/>
                </a:xfrm>
                <a:custGeom>
                  <a:avLst/>
                  <a:gdLst>
                    <a:gd name="T0" fmla="*/ 0 w 24"/>
                    <a:gd name="T1" fmla="*/ 8 h 24"/>
                    <a:gd name="T2" fmla="*/ 0 w 24"/>
                    <a:gd name="T3" fmla="*/ 16 h 24"/>
                    <a:gd name="T4" fmla="*/ 8 w 24"/>
                    <a:gd name="T5" fmla="*/ 16 h 24"/>
                    <a:gd name="T6" fmla="*/ 16 w 24"/>
                    <a:gd name="T7" fmla="*/ 24 h 24"/>
                    <a:gd name="T8" fmla="*/ 16 w 24"/>
                    <a:gd name="T9" fmla="*/ 16 h 24"/>
                    <a:gd name="T10" fmla="*/ 24 w 24"/>
                    <a:gd name="T11" fmla="*/ 24 h 24"/>
                    <a:gd name="T12" fmla="*/ 24 w 24"/>
                    <a:gd name="T13" fmla="*/ 16 h 24"/>
                    <a:gd name="T14" fmla="*/ 24 w 24"/>
                    <a:gd name="T15" fmla="*/ 8 h 24"/>
                    <a:gd name="T16" fmla="*/ 16 w 24"/>
                    <a:gd name="T17" fmla="*/ 8 h 24"/>
                    <a:gd name="T18" fmla="*/ 8 w 24"/>
                    <a:gd name="T19" fmla="*/ 8 h 24"/>
                    <a:gd name="T20" fmla="*/ 8 w 24"/>
                    <a:gd name="T21" fmla="*/ 0 h 24"/>
                    <a:gd name="T22" fmla="*/ 8 w 24"/>
                    <a:gd name="T23" fmla="*/ 8 h 24"/>
                    <a:gd name="T24" fmla="*/ 0 w 24"/>
                    <a:gd name="T25"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4">
                      <a:moveTo>
                        <a:pt x="0" y="8"/>
                      </a:moveTo>
                      <a:lnTo>
                        <a:pt x="0" y="16"/>
                      </a:lnTo>
                      <a:lnTo>
                        <a:pt x="8" y="16"/>
                      </a:lnTo>
                      <a:lnTo>
                        <a:pt x="16" y="24"/>
                      </a:lnTo>
                      <a:lnTo>
                        <a:pt x="16" y="16"/>
                      </a:lnTo>
                      <a:lnTo>
                        <a:pt x="24" y="24"/>
                      </a:lnTo>
                      <a:lnTo>
                        <a:pt x="24" y="16"/>
                      </a:lnTo>
                      <a:lnTo>
                        <a:pt x="24" y="8"/>
                      </a:lnTo>
                      <a:lnTo>
                        <a:pt x="16" y="8"/>
                      </a:lnTo>
                      <a:lnTo>
                        <a:pt x="8" y="8"/>
                      </a:ln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7" name="Freeform 136"/>
                <p:cNvSpPr>
                  <a:spLocks/>
                </p:cNvSpPr>
                <p:nvPr/>
              </p:nvSpPr>
              <p:spPr bwMode="auto">
                <a:xfrm>
                  <a:off x="5257800" y="28194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08" name="Rectangle 137"/>
                <p:cNvSpPr>
                  <a:spLocks noChangeArrowheads="1"/>
                </p:cNvSpPr>
                <p:nvPr/>
              </p:nvSpPr>
              <p:spPr bwMode="auto">
                <a:xfrm>
                  <a:off x="5143500" y="26289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09" name="Freeform 138"/>
                <p:cNvSpPr>
                  <a:spLocks/>
                </p:cNvSpPr>
                <p:nvPr/>
              </p:nvSpPr>
              <p:spPr bwMode="auto">
                <a:xfrm>
                  <a:off x="5105400" y="2628900"/>
                  <a:ext cx="25400" cy="50800"/>
                </a:xfrm>
                <a:custGeom>
                  <a:avLst/>
                  <a:gdLst>
                    <a:gd name="T0" fmla="*/ 8 w 16"/>
                    <a:gd name="T1" fmla="*/ 32 h 32"/>
                    <a:gd name="T2" fmla="*/ 8 w 16"/>
                    <a:gd name="T3" fmla="*/ 24 h 32"/>
                    <a:gd name="T4" fmla="*/ 0 w 16"/>
                    <a:gd name="T5" fmla="*/ 24 h 32"/>
                    <a:gd name="T6" fmla="*/ 0 w 16"/>
                    <a:gd name="T7" fmla="*/ 16 h 32"/>
                    <a:gd name="T8" fmla="*/ 0 w 16"/>
                    <a:gd name="T9" fmla="*/ 8 h 32"/>
                    <a:gd name="T10" fmla="*/ 0 w 16"/>
                    <a:gd name="T11" fmla="*/ 0 h 32"/>
                    <a:gd name="T12" fmla="*/ 0 w 16"/>
                    <a:gd name="T13" fmla="*/ 8 h 32"/>
                    <a:gd name="T14" fmla="*/ 8 w 16"/>
                    <a:gd name="T15" fmla="*/ 8 h 32"/>
                    <a:gd name="T16" fmla="*/ 8 w 16"/>
                    <a:gd name="T17" fmla="*/ 16 h 32"/>
                    <a:gd name="T18" fmla="*/ 8 w 16"/>
                    <a:gd name="T19" fmla="*/ 24 h 32"/>
                    <a:gd name="T20" fmla="*/ 16 w 16"/>
                    <a:gd name="T21" fmla="*/ 24 h 32"/>
                    <a:gd name="T22" fmla="*/ 16 w 16"/>
                    <a:gd name="T23" fmla="*/ 32 h 32"/>
                    <a:gd name="T24" fmla="*/ 8 w 1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2">
                      <a:moveTo>
                        <a:pt x="8" y="32"/>
                      </a:moveTo>
                      <a:lnTo>
                        <a:pt x="8" y="24"/>
                      </a:lnTo>
                      <a:lnTo>
                        <a:pt x="0" y="24"/>
                      </a:lnTo>
                      <a:lnTo>
                        <a:pt x="0" y="16"/>
                      </a:lnTo>
                      <a:lnTo>
                        <a:pt x="0" y="8"/>
                      </a:lnTo>
                      <a:lnTo>
                        <a:pt x="0" y="0"/>
                      </a:lnTo>
                      <a:lnTo>
                        <a:pt x="0" y="8"/>
                      </a:lnTo>
                      <a:lnTo>
                        <a:pt x="8" y="8"/>
                      </a:lnTo>
                      <a:lnTo>
                        <a:pt x="8" y="16"/>
                      </a:lnTo>
                      <a:lnTo>
                        <a:pt x="8" y="24"/>
                      </a:lnTo>
                      <a:lnTo>
                        <a:pt x="16" y="24"/>
                      </a:lnTo>
                      <a:lnTo>
                        <a:pt x="16" y="32"/>
                      </a:lnTo>
                      <a:lnTo>
                        <a:pt x="8"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0" name="Freeform 139"/>
                <p:cNvSpPr>
                  <a:spLocks/>
                </p:cNvSpPr>
                <p:nvPr/>
              </p:nvSpPr>
              <p:spPr bwMode="auto">
                <a:xfrm>
                  <a:off x="5067300" y="2641600"/>
                  <a:ext cx="12700" cy="38100"/>
                </a:xfrm>
                <a:custGeom>
                  <a:avLst/>
                  <a:gdLst>
                    <a:gd name="T0" fmla="*/ 0 w 8"/>
                    <a:gd name="T1" fmla="*/ 24 h 24"/>
                    <a:gd name="T2" fmla="*/ 0 w 8"/>
                    <a:gd name="T3" fmla="*/ 16 h 24"/>
                    <a:gd name="T4" fmla="*/ 0 w 8"/>
                    <a:gd name="T5" fmla="*/ 8 h 24"/>
                    <a:gd name="T6" fmla="*/ 0 w 8"/>
                    <a:gd name="T7" fmla="*/ 0 h 24"/>
                    <a:gd name="T8" fmla="*/ 8 w 8"/>
                    <a:gd name="T9" fmla="*/ 0 h 24"/>
                    <a:gd name="T10" fmla="*/ 8 w 8"/>
                    <a:gd name="T11" fmla="*/ 8 h 24"/>
                    <a:gd name="T12" fmla="*/ 8 w 8"/>
                    <a:gd name="T13" fmla="*/ 16 h 24"/>
                    <a:gd name="T14" fmla="*/ 0 w 8"/>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4">
                      <a:moveTo>
                        <a:pt x="0" y="24"/>
                      </a:moveTo>
                      <a:lnTo>
                        <a:pt x="0" y="16"/>
                      </a:lnTo>
                      <a:lnTo>
                        <a:pt x="0" y="8"/>
                      </a:lnTo>
                      <a:lnTo>
                        <a:pt x="0" y="0"/>
                      </a:lnTo>
                      <a:lnTo>
                        <a:pt x="8" y="0"/>
                      </a:lnTo>
                      <a:lnTo>
                        <a:pt x="8" y="8"/>
                      </a:lnTo>
                      <a:lnTo>
                        <a:pt x="8" y="16"/>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1" name="Rectangle 140"/>
                <p:cNvSpPr>
                  <a:spLocks noChangeArrowheads="1"/>
                </p:cNvSpPr>
                <p:nvPr/>
              </p:nvSpPr>
              <p:spPr bwMode="auto">
                <a:xfrm>
                  <a:off x="5067300" y="24892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12" name="Freeform 141"/>
                <p:cNvSpPr>
                  <a:spLocks/>
                </p:cNvSpPr>
                <p:nvPr/>
              </p:nvSpPr>
              <p:spPr bwMode="auto">
                <a:xfrm>
                  <a:off x="5067300" y="2463800"/>
                  <a:ext cx="25400" cy="25400"/>
                </a:xfrm>
                <a:custGeom>
                  <a:avLst/>
                  <a:gdLst>
                    <a:gd name="T0" fmla="*/ 0 w 16"/>
                    <a:gd name="T1" fmla="*/ 16 h 16"/>
                    <a:gd name="T2" fmla="*/ 8 w 16"/>
                    <a:gd name="T3" fmla="*/ 8 h 16"/>
                    <a:gd name="T4" fmla="*/ 8 w 16"/>
                    <a:gd name="T5" fmla="*/ 0 h 16"/>
                    <a:gd name="T6" fmla="*/ 16 w 16"/>
                    <a:gd name="T7" fmla="*/ 0 h 16"/>
                    <a:gd name="T8" fmla="*/ 16 w 16"/>
                    <a:gd name="T9" fmla="*/ 8 h 16"/>
                    <a:gd name="T10" fmla="*/ 16 w 16"/>
                    <a:gd name="T11" fmla="*/ 16 h 16"/>
                    <a:gd name="T12" fmla="*/ 8 w 16"/>
                    <a:gd name="T13" fmla="*/ 16 h 16"/>
                    <a:gd name="T14" fmla="*/ 0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0" y="16"/>
                      </a:moveTo>
                      <a:lnTo>
                        <a:pt x="8" y="8"/>
                      </a:lnTo>
                      <a:lnTo>
                        <a:pt x="8" y="0"/>
                      </a:lnTo>
                      <a:lnTo>
                        <a:pt x="16" y="0"/>
                      </a:lnTo>
                      <a:lnTo>
                        <a:pt x="16" y="8"/>
                      </a:lnTo>
                      <a:lnTo>
                        <a:pt x="16" y="16"/>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3" name="Freeform 142"/>
                <p:cNvSpPr>
                  <a:spLocks/>
                </p:cNvSpPr>
                <p:nvPr/>
              </p:nvSpPr>
              <p:spPr bwMode="auto">
                <a:xfrm>
                  <a:off x="4699000" y="24003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4" name="Freeform 143"/>
                <p:cNvSpPr>
                  <a:spLocks/>
                </p:cNvSpPr>
                <p:nvPr/>
              </p:nvSpPr>
              <p:spPr bwMode="auto">
                <a:xfrm>
                  <a:off x="4381500" y="23114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5" name="Freeform 144"/>
                <p:cNvSpPr>
                  <a:spLocks/>
                </p:cNvSpPr>
                <p:nvPr/>
              </p:nvSpPr>
              <p:spPr bwMode="auto">
                <a:xfrm>
                  <a:off x="4356100" y="23241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6" name="Freeform 145"/>
                <p:cNvSpPr>
                  <a:spLocks/>
                </p:cNvSpPr>
                <p:nvPr/>
              </p:nvSpPr>
              <p:spPr bwMode="auto">
                <a:xfrm>
                  <a:off x="4368800" y="23495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7" name="Freeform 146"/>
                <p:cNvSpPr>
                  <a:spLocks/>
                </p:cNvSpPr>
                <p:nvPr/>
              </p:nvSpPr>
              <p:spPr bwMode="auto">
                <a:xfrm>
                  <a:off x="4356100" y="2349500"/>
                  <a:ext cx="12700" cy="12700"/>
                </a:xfrm>
                <a:custGeom>
                  <a:avLst/>
                  <a:gdLst>
                    <a:gd name="T0" fmla="*/ 8 w 8"/>
                    <a:gd name="T1" fmla="*/ 8 h 8"/>
                    <a:gd name="T2" fmla="*/ 0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0" y="0"/>
                      </a:lnTo>
                      <a:lnTo>
                        <a:pt x="0" y="8"/>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8" name="Freeform 147"/>
                <p:cNvSpPr>
                  <a:spLocks/>
                </p:cNvSpPr>
                <p:nvPr/>
              </p:nvSpPr>
              <p:spPr bwMode="auto">
                <a:xfrm>
                  <a:off x="4381500" y="2374900"/>
                  <a:ext cx="12700" cy="12700"/>
                </a:xfrm>
                <a:custGeom>
                  <a:avLst/>
                  <a:gdLst>
                    <a:gd name="T0" fmla="*/ 0 w 8"/>
                    <a:gd name="T1" fmla="*/ 0 h 8"/>
                    <a:gd name="T2" fmla="*/ 0 w 8"/>
                    <a:gd name="T3" fmla="*/ 8 h 8"/>
                    <a:gd name="T4" fmla="*/ 8 w 8"/>
                    <a:gd name="T5" fmla="*/ 8 h 8"/>
                    <a:gd name="T6" fmla="*/ 0 w 8"/>
                    <a:gd name="T7" fmla="*/ 0 h 8"/>
                    <a:gd name="T8" fmla="*/ 8 w 8"/>
                    <a:gd name="T9" fmla="*/ 0 h 8"/>
                    <a:gd name="T10" fmla="*/ 0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0" y="0"/>
                      </a:moveTo>
                      <a:lnTo>
                        <a:pt x="0" y="8"/>
                      </a:lnTo>
                      <a:lnTo>
                        <a:pt x="8" y="8"/>
                      </a:lnTo>
                      <a:lnTo>
                        <a:pt x="0" y="0"/>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19" name="Freeform 148"/>
                <p:cNvSpPr>
                  <a:spLocks/>
                </p:cNvSpPr>
                <p:nvPr/>
              </p:nvSpPr>
              <p:spPr bwMode="auto">
                <a:xfrm>
                  <a:off x="4368800" y="2400300"/>
                  <a:ext cx="12700" cy="25400"/>
                </a:xfrm>
                <a:custGeom>
                  <a:avLst/>
                  <a:gdLst>
                    <a:gd name="T0" fmla="*/ 0 w 8"/>
                    <a:gd name="T1" fmla="*/ 16 h 16"/>
                    <a:gd name="T2" fmla="*/ 0 w 8"/>
                    <a:gd name="T3" fmla="*/ 8 h 16"/>
                    <a:gd name="T4" fmla="*/ 0 w 8"/>
                    <a:gd name="T5" fmla="*/ 0 h 16"/>
                    <a:gd name="T6" fmla="*/ 8 w 8"/>
                    <a:gd name="T7" fmla="*/ 8 h 16"/>
                    <a:gd name="T8" fmla="*/ 0 w 8"/>
                    <a:gd name="T9" fmla="*/ 8 h 16"/>
                    <a:gd name="T10" fmla="*/ 8 w 8"/>
                    <a:gd name="T11" fmla="*/ 8 h 16"/>
                    <a:gd name="T12" fmla="*/ 0 w 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0" y="16"/>
                      </a:moveTo>
                      <a:lnTo>
                        <a:pt x="0" y="8"/>
                      </a:lnTo>
                      <a:lnTo>
                        <a:pt x="0" y="0"/>
                      </a:lnTo>
                      <a:lnTo>
                        <a:pt x="8" y="8"/>
                      </a:lnTo>
                      <a:lnTo>
                        <a:pt x="0" y="8"/>
                      </a:lnTo>
                      <a:lnTo>
                        <a:pt x="8"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0" name="Freeform 149"/>
                <p:cNvSpPr>
                  <a:spLocks/>
                </p:cNvSpPr>
                <p:nvPr/>
              </p:nvSpPr>
              <p:spPr bwMode="auto">
                <a:xfrm>
                  <a:off x="4749800" y="2171700"/>
                  <a:ext cx="12700" cy="12700"/>
                </a:xfrm>
                <a:custGeom>
                  <a:avLst/>
                  <a:gdLst>
                    <a:gd name="T0" fmla="*/ 0 w 8"/>
                    <a:gd name="T1" fmla="*/ 8 h 8"/>
                    <a:gd name="T2" fmla="*/ 0 w 8"/>
                    <a:gd name="T3" fmla="*/ 0 h 8"/>
                    <a:gd name="T4" fmla="*/ 8 w 8"/>
                    <a:gd name="T5" fmla="*/ 0 h 8"/>
                    <a:gd name="T6" fmla="*/ 0 w 8"/>
                    <a:gd name="T7" fmla="*/ 0 h 8"/>
                    <a:gd name="T8" fmla="*/ 8 w 8"/>
                    <a:gd name="T9" fmla="*/ 0 h 8"/>
                    <a:gd name="T10" fmla="*/ 0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0" y="8"/>
                      </a:moveTo>
                      <a:lnTo>
                        <a:pt x="0" y="0"/>
                      </a:lnTo>
                      <a:lnTo>
                        <a:pt x="8" y="0"/>
                      </a:lnTo>
                      <a:lnTo>
                        <a:pt x="0"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1" name="Freeform 150"/>
                <p:cNvSpPr>
                  <a:spLocks/>
                </p:cNvSpPr>
                <p:nvPr/>
              </p:nvSpPr>
              <p:spPr bwMode="auto">
                <a:xfrm>
                  <a:off x="4203700" y="1816100"/>
                  <a:ext cx="508000" cy="495300"/>
                </a:xfrm>
                <a:custGeom>
                  <a:avLst/>
                  <a:gdLst>
                    <a:gd name="T0" fmla="*/ 272 w 320"/>
                    <a:gd name="T1" fmla="*/ 280 h 312"/>
                    <a:gd name="T2" fmla="*/ 264 w 320"/>
                    <a:gd name="T3" fmla="*/ 272 h 312"/>
                    <a:gd name="T4" fmla="*/ 272 w 320"/>
                    <a:gd name="T5" fmla="*/ 264 h 312"/>
                    <a:gd name="T6" fmla="*/ 288 w 320"/>
                    <a:gd name="T7" fmla="*/ 264 h 312"/>
                    <a:gd name="T8" fmla="*/ 304 w 320"/>
                    <a:gd name="T9" fmla="*/ 272 h 312"/>
                    <a:gd name="T10" fmla="*/ 320 w 320"/>
                    <a:gd name="T11" fmla="*/ 256 h 312"/>
                    <a:gd name="T12" fmla="*/ 304 w 320"/>
                    <a:gd name="T13" fmla="*/ 224 h 312"/>
                    <a:gd name="T14" fmla="*/ 288 w 320"/>
                    <a:gd name="T15" fmla="*/ 208 h 312"/>
                    <a:gd name="T16" fmla="*/ 296 w 320"/>
                    <a:gd name="T17" fmla="*/ 168 h 312"/>
                    <a:gd name="T18" fmla="*/ 304 w 320"/>
                    <a:gd name="T19" fmla="*/ 120 h 312"/>
                    <a:gd name="T20" fmla="*/ 320 w 320"/>
                    <a:gd name="T21" fmla="*/ 80 h 312"/>
                    <a:gd name="T22" fmla="*/ 304 w 320"/>
                    <a:gd name="T23" fmla="*/ 40 h 312"/>
                    <a:gd name="T24" fmla="*/ 288 w 320"/>
                    <a:gd name="T25" fmla="*/ 40 h 312"/>
                    <a:gd name="T26" fmla="*/ 264 w 320"/>
                    <a:gd name="T27" fmla="*/ 80 h 312"/>
                    <a:gd name="T28" fmla="*/ 248 w 320"/>
                    <a:gd name="T29" fmla="*/ 112 h 312"/>
                    <a:gd name="T30" fmla="*/ 232 w 320"/>
                    <a:gd name="T31" fmla="*/ 144 h 312"/>
                    <a:gd name="T32" fmla="*/ 240 w 320"/>
                    <a:gd name="T33" fmla="*/ 104 h 312"/>
                    <a:gd name="T34" fmla="*/ 248 w 320"/>
                    <a:gd name="T35" fmla="*/ 64 h 312"/>
                    <a:gd name="T36" fmla="*/ 224 w 320"/>
                    <a:gd name="T37" fmla="*/ 48 h 312"/>
                    <a:gd name="T38" fmla="*/ 224 w 320"/>
                    <a:gd name="T39" fmla="*/ 80 h 312"/>
                    <a:gd name="T40" fmla="*/ 208 w 320"/>
                    <a:gd name="T41" fmla="*/ 80 h 312"/>
                    <a:gd name="T42" fmla="*/ 192 w 320"/>
                    <a:gd name="T43" fmla="*/ 72 h 312"/>
                    <a:gd name="T44" fmla="*/ 208 w 320"/>
                    <a:gd name="T45" fmla="*/ 56 h 312"/>
                    <a:gd name="T46" fmla="*/ 184 w 320"/>
                    <a:gd name="T47" fmla="*/ 24 h 312"/>
                    <a:gd name="T48" fmla="*/ 160 w 320"/>
                    <a:gd name="T49" fmla="*/ 48 h 312"/>
                    <a:gd name="T50" fmla="*/ 152 w 320"/>
                    <a:gd name="T51" fmla="*/ 40 h 312"/>
                    <a:gd name="T52" fmla="*/ 168 w 320"/>
                    <a:gd name="T53" fmla="*/ 8 h 312"/>
                    <a:gd name="T54" fmla="*/ 104 w 320"/>
                    <a:gd name="T55" fmla="*/ 16 h 312"/>
                    <a:gd name="T56" fmla="*/ 64 w 320"/>
                    <a:gd name="T57" fmla="*/ 48 h 312"/>
                    <a:gd name="T58" fmla="*/ 24 w 320"/>
                    <a:gd name="T59" fmla="*/ 72 h 312"/>
                    <a:gd name="T60" fmla="*/ 40 w 320"/>
                    <a:gd name="T61" fmla="*/ 88 h 312"/>
                    <a:gd name="T62" fmla="*/ 48 w 320"/>
                    <a:gd name="T63" fmla="*/ 96 h 312"/>
                    <a:gd name="T64" fmla="*/ 96 w 320"/>
                    <a:gd name="T65" fmla="*/ 104 h 312"/>
                    <a:gd name="T66" fmla="*/ 72 w 320"/>
                    <a:gd name="T67" fmla="*/ 112 h 312"/>
                    <a:gd name="T68" fmla="*/ 32 w 320"/>
                    <a:gd name="T69" fmla="*/ 112 h 312"/>
                    <a:gd name="T70" fmla="*/ 16 w 320"/>
                    <a:gd name="T71" fmla="*/ 144 h 312"/>
                    <a:gd name="T72" fmla="*/ 48 w 320"/>
                    <a:gd name="T73" fmla="*/ 152 h 312"/>
                    <a:gd name="T74" fmla="*/ 80 w 320"/>
                    <a:gd name="T75" fmla="*/ 160 h 312"/>
                    <a:gd name="T76" fmla="*/ 120 w 320"/>
                    <a:gd name="T77" fmla="*/ 176 h 312"/>
                    <a:gd name="T78" fmla="*/ 112 w 320"/>
                    <a:gd name="T79" fmla="*/ 192 h 312"/>
                    <a:gd name="T80" fmla="*/ 72 w 320"/>
                    <a:gd name="T81" fmla="*/ 184 h 312"/>
                    <a:gd name="T82" fmla="*/ 32 w 320"/>
                    <a:gd name="T83" fmla="*/ 176 h 312"/>
                    <a:gd name="T84" fmla="*/ 0 w 320"/>
                    <a:gd name="T85" fmla="*/ 200 h 312"/>
                    <a:gd name="T86" fmla="*/ 24 w 320"/>
                    <a:gd name="T87" fmla="*/ 232 h 312"/>
                    <a:gd name="T88" fmla="*/ 48 w 320"/>
                    <a:gd name="T89" fmla="*/ 240 h 312"/>
                    <a:gd name="T90" fmla="*/ 32 w 320"/>
                    <a:gd name="T91" fmla="*/ 272 h 312"/>
                    <a:gd name="T92" fmla="*/ 48 w 320"/>
                    <a:gd name="T93" fmla="*/ 288 h 312"/>
                    <a:gd name="T94" fmla="*/ 88 w 320"/>
                    <a:gd name="T95" fmla="*/ 296 h 312"/>
                    <a:gd name="T96" fmla="*/ 128 w 320"/>
                    <a:gd name="T97" fmla="*/ 288 h 312"/>
                    <a:gd name="T98" fmla="*/ 176 w 320"/>
                    <a:gd name="T99" fmla="*/ 272 h 312"/>
                    <a:gd name="T100" fmla="*/ 192 w 320"/>
                    <a:gd name="T101" fmla="*/ 280 h 312"/>
                    <a:gd name="T102" fmla="*/ 200 w 320"/>
                    <a:gd name="T103" fmla="*/ 296 h 312"/>
                    <a:gd name="T104" fmla="*/ 232 w 320"/>
                    <a:gd name="T105" fmla="*/ 304 h 312"/>
                    <a:gd name="T106" fmla="*/ 256 w 320"/>
                    <a:gd name="T10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12">
                      <a:moveTo>
                        <a:pt x="280" y="312"/>
                      </a:moveTo>
                      <a:lnTo>
                        <a:pt x="280" y="304"/>
                      </a:lnTo>
                      <a:lnTo>
                        <a:pt x="280" y="296"/>
                      </a:lnTo>
                      <a:lnTo>
                        <a:pt x="280" y="288"/>
                      </a:lnTo>
                      <a:lnTo>
                        <a:pt x="280" y="280"/>
                      </a:lnTo>
                      <a:lnTo>
                        <a:pt x="272" y="280"/>
                      </a:lnTo>
                      <a:lnTo>
                        <a:pt x="264" y="280"/>
                      </a:lnTo>
                      <a:lnTo>
                        <a:pt x="256" y="288"/>
                      </a:lnTo>
                      <a:lnTo>
                        <a:pt x="264" y="280"/>
                      </a:lnTo>
                      <a:lnTo>
                        <a:pt x="256" y="280"/>
                      </a:lnTo>
                      <a:lnTo>
                        <a:pt x="256" y="272"/>
                      </a:lnTo>
                      <a:lnTo>
                        <a:pt x="264" y="272"/>
                      </a:lnTo>
                      <a:lnTo>
                        <a:pt x="256" y="264"/>
                      </a:lnTo>
                      <a:lnTo>
                        <a:pt x="264" y="264"/>
                      </a:lnTo>
                      <a:lnTo>
                        <a:pt x="264" y="272"/>
                      </a:lnTo>
                      <a:lnTo>
                        <a:pt x="272" y="272"/>
                      </a:lnTo>
                      <a:lnTo>
                        <a:pt x="280" y="272"/>
                      </a:lnTo>
                      <a:lnTo>
                        <a:pt x="272" y="264"/>
                      </a:lnTo>
                      <a:lnTo>
                        <a:pt x="280" y="264"/>
                      </a:lnTo>
                      <a:lnTo>
                        <a:pt x="288" y="264"/>
                      </a:lnTo>
                      <a:lnTo>
                        <a:pt x="288" y="256"/>
                      </a:lnTo>
                      <a:lnTo>
                        <a:pt x="288" y="264"/>
                      </a:lnTo>
                      <a:lnTo>
                        <a:pt x="296" y="256"/>
                      </a:lnTo>
                      <a:lnTo>
                        <a:pt x="288" y="264"/>
                      </a:lnTo>
                      <a:lnTo>
                        <a:pt x="288" y="272"/>
                      </a:lnTo>
                      <a:lnTo>
                        <a:pt x="296" y="272"/>
                      </a:lnTo>
                      <a:lnTo>
                        <a:pt x="304" y="264"/>
                      </a:lnTo>
                      <a:lnTo>
                        <a:pt x="312" y="256"/>
                      </a:lnTo>
                      <a:lnTo>
                        <a:pt x="304" y="264"/>
                      </a:lnTo>
                      <a:lnTo>
                        <a:pt x="304" y="272"/>
                      </a:lnTo>
                      <a:lnTo>
                        <a:pt x="304" y="280"/>
                      </a:lnTo>
                      <a:lnTo>
                        <a:pt x="312" y="280"/>
                      </a:lnTo>
                      <a:lnTo>
                        <a:pt x="312" y="272"/>
                      </a:lnTo>
                      <a:lnTo>
                        <a:pt x="320" y="272"/>
                      </a:lnTo>
                      <a:lnTo>
                        <a:pt x="320" y="264"/>
                      </a:lnTo>
                      <a:lnTo>
                        <a:pt x="320" y="256"/>
                      </a:lnTo>
                      <a:lnTo>
                        <a:pt x="320" y="248"/>
                      </a:lnTo>
                      <a:lnTo>
                        <a:pt x="312" y="248"/>
                      </a:lnTo>
                      <a:lnTo>
                        <a:pt x="320" y="240"/>
                      </a:lnTo>
                      <a:lnTo>
                        <a:pt x="312" y="240"/>
                      </a:lnTo>
                      <a:lnTo>
                        <a:pt x="304" y="232"/>
                      </a:lnTo>
                      <a:lnTo>
                        <a:pt x="304" y="224"/>
                      </a:lnTo>
                      <a:lnTo>
                        <a:pt x="304" y="216"/>
                      </a:lnTo>
                      <a:lnTo>
                        <a:pt x="304" y="208"/>
                      </a:lnTo>
                      <a:lnTo>
                        <a:pt x="296" y="208"/>
                      </a:lnTo>
                      <a:lnTo>
                        <a:pt x="296" y="216"/>
                      </a:lnTo>
                      <a:lnTo>
                        <a:pt x="296" y="208"/>
                      </a:lnTo>
                      <a:lnTo>
                        <a:pt x="288" y="208"/>
                      </a:lnTo>
                      <a:lnTo>
                        <a:pt x="288" y="200"/>
                      </a:lnTo>
                      <a:lnTo>
                        <a:pt x="288" y="192"/>
                      </a:lnTo>
                      <a:lnTo>
                        <a:pt x="280" y="184"/>
                      </a:lnTo>
                      <a:lnTo>
                        <a:pt x="280" y="176"/>
                      </a:lnTo>
                      <a:lnTo>
                        <a:pt x="288" y="168"/>
                      </a:lnTo>
                      <a:lnTo>
                        <a:pt x="296" y="168"/>
                      </a:lnTo>
                      <a:lnTo>
                        <a:pt x="296" y="160"/>
                      </a:lnTo>
                      <a:lnTo>
                        <a:pt x="296" y="152"/>
                      </a:lnTo>
                      <a:lnTo>
                        <a:pt x="296" y="144"/>
                      </a:lnTo>
                      <a:lnTo>
                        <a:pt x="296" y="136"/>
                      </a:lnTo>
                      <a:lnTo>
                        <a:pt x="296" y="128"/>
                      </a:lnTo>
                      <a:lnTo>
                        <a:pt x="304" y="120"/>
                      </a:lnTo>
                      <a:lnTo>
                        <a:pt x="304" y="112"/>
                      </a:lnTo>
                      <a:lnTo>
                        <a:pt x="312" y="112"/>
                      </a:lnTo>
                      <a:lnTo>
                        <a:pt x="312" y="96"/>
                      </a:lnTo>
                      <a:lnTo>
                        <a:pt x="320" y="88"/>
                      </a:lnTo>
                      <a:lnTo>
                        <a:pt x="312" y="80"/>
                      </a:lnTo>
                      <a:lnTo>
                        <a:pt x="320" y="80"/>
                      </a:lnTo>
                      <a:lnTo>
                        <a:pt x="320" y="72"/>
                      </a:lnTo>
                      <a:lnTo>
                        <a:pt x="320" y="64"/>
                      </a:lnTo>
                      <a:lnTo>
                        <a:pt x="312" y="56"/>
                      </a:lnTo>
                      <a:lnTo>
                        <a:pt x="312" y="48"/>
                      </a:lnTo>
                      <a:lnTo>
                        <a:pt x="312" y="40"/>
                      </a:lnTo>
                      <a:lnTo>
                        <a:pt x="304" y="40"/>
                      </a:lnTo>
                      <a:lnTo>
                        <a:pt x="304" y="48"/>
                      </a:lnTo>
                      <a:lnTo>
                        <a:pt x="296" y="48"/>
                      </a:lnTo>
                      <a:lnTo>
                        <a:pt x="296" y="32"/>
                      </a:lnTo>
                      <a:lnTo>
                        <a:pt x="288" y="32"/>
                      </a:lnTo>
                      <a:lnTo>
                        <a:pt x="280" y="32"/>
                      </a:lnTo>
                      <a:lnTo>
                        <a:pt x="288" y="40"/>
                      </a:lnTo>
                      <a:lnTo>
                        <a:pt x="280" y="40"/>
                      </a:lnTo>
                      <a:lnTo>
                        <a:pt x="280" y="48"/>
                      </a:lnTo>
                      <a:lnTo>
                        <a:pt x="272" y="48"/>
                      </a:lnTo>
                      <a:lnTo>
                        <a:pt x="272" y="64"/>
                      </a:lnTo>
                      <a:lnTo>
                        <a:pt x="264" y="72"/>
                      </a:lnTo>
                      <a:lnTo>
                        <a:pt x="264" y="80"/>
                      </a:lnTo>
                      <a:lnTo>
                        <a:pt x="264" y="96"/>
                      </a:lnTo>
                      <a:lnTo>
                        <a:pt x="256" y="96"/>
                      </a:lnTo>
                      <a:lnTo>
                        <a:pt x="248" y="104"/>
                      </a:lnTo>
                      <a:lnTo>
                        <a:pt x="256" y="104"/>
                      </a:lnTo>
                      <a:lnTo>
                        <a:pt x="256" y="112"/>
                      </a:lnTo>
                      <a:lnTo>
                        <a:pt x="248" y="112"/>
                      </a:lnTo>
                      <a:lnTo>
                        <a:pt x="248" y="120"/>
                      </a:lnTo>
                      <a:lnTo>
                        <a:pt x="248" y="128"/>
                      </a:lnTo>
                      <a:lnTo>
                        <a:pt x="248" y="136"/>
                      </a:lnTo>
                      <a:lnTo>
                        <a:pt x="240" y="136"/>
                      </a:lnTo>
                      <a:lnTo>
                        <a:pt x="232" y="136"/>
                      </a:lnTo>
                      <a:lnTo>
                        <a:pt x="232" y="144"/>
                      </a:lnTo>
                      <a:lnTo>
                        <a:pt x="232" y="136"/>
                      </a:lnTo>
                      <a:lnTo>
                        <a:pt x="232" y="128"/>
                      </a:lnTo>
                      <a:lnTo>
                        <a:pt x="232" y="120"/>
                      </a:lnTo>
                      <a:lnTo>
                        <a:pt x="232" y="112"/>
                      </a:lnTo>
                      <a:lnTo>
                        <a:pt x="240" y="112"/>
                      </a:lnTo>
                      <a:lnTo>
                        <a:pt x="240" y="104"/>
                      </a:lnTo>
                      <a:lnTo>
                        <a:pt x="240" y="88"/>
                      </a:lnTo>
                      <a:lnTo>
                        <a:pt x="248" y="88"/>
                      </a:lnTo>
                      <a:lnTo>
                        <a:pt x="248" y="80"/>
                      </a:lnTo>
                      <a:lnTo>
                        <a:pt x="240" y="80"/>
                      </a:lnTo>
                      <a:lnTo>
                        <a:pt x="248" y="72"/>
                      </a:lnTo>
                      <a:lnTo>
                        <a:pt x="248" y="64"/>
                      </a:lnTo>
                      <a:lnTo>
                        <a:pt x="240" y="64"/>
                      </a:lnTo>
                      <a:lnTo>
                        <a:pt x="240" y="56"/>
                      </a:lnTo>
                      <a:lnTo>
                        <a:pt x="240" y="48"/>
                      </a:lnTo>
                      <a:lnTo>
                        <a:pt x="232" y="40"/>
                      </a:lnTo>
                      <a:lnTo>
                        <a:pt x="232" y="48"/>
                      </a:lnTo>
                      <a:lnTo>
                        <a:pt x="224" y="48"/>
                      </a:lnTo>
                      <a:lnTo>
                        <a:pt x="232" y="56"/>
                      </a:lnTo>
                      <a:lnTo>
                        <a:pt x="232" y="64"/>
                      </a:lnTo>
                      <a:lnTo>
                        <a:pt x="224" y="64"/>
                      </a:lnTo>
                      <a:lnTo>
                        <a:pt x="224" y="72"/>
                      </a:lnTo>
                      <a:lnTo>
                        <a:pt x="232" y="80"/>
                      </a:lnTo>
                      <a:lnTo>
                        <a:pt x="224" y="80"/>
                      </a:lnTo>
                      <a:lnTo>
                        <a:pt x="224" y="72"/>
                      </a:lnTo>
                      <a:lnTo>
                        <a:pt x="224" y="80"/>
                      </a:lnTo>
                      <a:lnTo>
                        <a:pt x="216" y="80"/>
                      </a:lnTo>
                      <a:lnTo>
                        <a:pt x="216" y="72"/>
                      </a:lnTo>
                      <a:lnTo>
                        <a:pt x="216" y="80"/>
                      </a:lnTo>
                      <a:lnTo>
                        <a:pt x="208" y="80"/>
                      </a:lnTo>
                      <a:lnTo>
                        <a:pt x="208" y="72"/>
                      </a:lnTo>
                      <a:lnTo>
                        <a:pt x="216" y="72"/>
                      </a:lnTo>
                      <a:lnTo>
                        <a:pt x="208" y="72"/>
                      </a:lnTo>
                      <a:lnTo>
                        <a:pt x="200" y="80"/>
                      </a:lnTo>
                      <a:lnTo>
                        <a:pt x="200" y="72"/>
                      </a:lnTo>
                      <a:lnTo>
                        <a:pt x="192" y="72"/>
                      </a:lnTo>
                      <a:lnTo>
                        <a:pt x="184" y="72"/>
                      </a:lnTo>
                      <a:lnTo>
                        <a:pt x="176" y="72"/>
                      </a:lnTo>
                      <a:lnTo>
                        <a:pt x="184" y="64"/>
                      </a:lnTo>
                      <a:lnTo>
                        <a:pt x="192" y="64"/>
                      </a:lnTo>
                      <a:lnTo>
                        <a:pt x="200" y="64"/>
                      </a:lnTo>
                      <a:lnTo>
                        <a:pt x="208" y="56"/>
                      </a:lnTo>
                      <a:lnTo>
                        <a:pt x="208" y="48"/>
                      </a:lnTo>
                      <a:lnTo>
                        <a:pt x="200" y="40"/>
                      </a:lnTo>
                      <a:lnTo>
                        <a:pt x="192" y="40"/>
                      </a:lnTo>
                      <a:lnTo>
                        <a:pt x="192" y="32"/>
                      </a:lnTo>
                      <a:lnTo>
                        <a:pt x="184" y="32"/>
                      </a:lnTo>
                      <a:lnTo>
                        <a:pt x="184" y="24"/>
                      </a:lnTo>
                      <a:lnTo>
                        <a:pt x="176" y="32"/>
                      </a:lnTo>
                      <a:lnTo>
                        <a:pt x="168" y="40"/>
                      </a:lnTo>
                      <a:lnTo>
                        <a:pt x="168" y="48"/>
                      </a:lnTo>
                      <a:lnTo>
                        <a:pt x="160" y="48"/>
                      </a:lnTo>
                      <a:lnTo>
                        <a:pt x="160" y="40"/>
                      </a:lnTo>
                      <a:lnTo>
                        <a:pt x="160" y="48"/>
                      </a:lnTo>
                      <a:lnTo>
                        <a:pt x="152" y="40"/>
                      </a:lnTo>
                      <a:lnTo>
                        <a:pt x="144" y="48"/>
                      </a:lnTo>
                      <a:lnTo>
                        <a:pt x="144" y="40"/>
                      </a:lnTo>
                      <a:lnTo>
                        <a:pt x="136" y="40"/>
                      </a:lnTo>
                      <a:lnTo>
                        <a:pt x="144" y="40"/>
                      </a:lnTo>
                      <a:lnTo>
                        <a:pt x="152" y="40"/>
                      </a:lnTo>
                      <a:lnTo>
                        <a:pt x="152" y="32"/>
                      </a:lnTo>
                      <a:lnTo>
                        <a:pt x="160" y="32"/>
                      </a:lnTo>
                      <a:lnTo>
                        <a:pt x="160" y="24"/>
                      </a:lnTo>
                      <a:lnTo>
                        <a:pt x="168" y="24"/>
                      </a:lnTo>
                      <a:lnTo>
                        <a:pt x="168" y="16"/>
                      </a:lnTo>
                      <a:lnTo>
                        <a:pt x="168" y="8"/>
                      </a:lnTo>
                      <a:lnTo>
                        <a:pt x="168" y="0"/>
                      </a:lnTo>
                      <a:lnTo>
                        <a:pt x="160" y="0"/>
                      </a:lnTo>
                      <a:lnTo>
                        <a:pt x="152" y="0"/>
                      </a:lnTo>
                      <a:lnTo>
                        <a:pt x="144" y="8"/>
                      </a:lnTo>
                      <a:lnTo>
                        <a:pt x="120" y="8"/>
                      </a:lnTo>
                      <a:lnTo>
                        <a:pt x="104" y="16"/>
                      </a:lnTo>
                      <a:lnTo>
                        <a:pt x="96" y="24"/>
                      </a:lnTo>
                      <a:lnTo>
                        <a:pt x="80" y="24"/>
                      </a:lnTo>
                      <a:lnTo>
                        <a:pt x="64" y="32"/>
                      </a:lnTo>
                      <a:lnTo>
                        <a:pt x="56" y="40"/>
                      </a:lnTo>
                      <a:lnTo>
                        <a:pt x="64" y="40"/>
                      </a:lnTo>
                      <a:lnTo>
                        <a:pt x="64" y="48"/>
                      </a:lnTo>
                      <a:lnTo>
                        <a:pt x="56" y="48"/>
                      </a:lnTo>
                      <a:lnTo>
                        <a:pt x="48" y="56"/>
                      </a:lnTo>
                      <a:lnTo>
                        <a:pt x="40" y="56"/>
                      </a:lnTo>
                      <a:lnTo>
                        <a:pt x="32" y="56"/>
                      </a:lnTo>
                      <a:lnTo>
                        <a:pt x="32" y="64"/>
                      </a:lnTo>
                      <a:lnTo>
                        <a:pt x="24" y="72"/>
                      </a:lnTo>
                      <a:lnTo>
                        <a:pt x="24" y="80"/>
                      </a:lnTo>
                      <a:lnTo>
                        <a:pt x="32" y="80"/>
                      </a:lnTo>
                      <a:lnTo>
                        <a:pt x="40" y="80"/>
                      </a:lnTo>
                      <a:lnTo>
                        <a:pt x="48" y="80"/>
                      </a:lnTo>
                      <a:lnTo>
                        <a:pt x="48" y="88"/>
                      </a:lnTo>
                      <a:lnTo>
                        <a:pt x="40" y="88"/>
                      </a:lnTo>
                      <a:lnTo>
                        <a:pt x="32" y="88"/>
                      </a:lnTo>
                      <a:lnTo>
                        <a:pt x="32" y="96"/>
                      </a:lnTo>
                      <a:lnTo>
                        <a:pt x="40" y="96"/>
                      </a:lnTo>
                      <a:lnTo>
                        <a:pt x="40" y="88"/>
                      </a:lnTo>
                      <a:lnTo>
                        <a:pt x="48" y="88"/>
                      </a:lnTo>
                      <a:lnTo>
                        <a:pt x="48" y="96"/>
                      </a:lnTo>
                      <a:lnTo>
                        <a:pt x="56" y="96"/>
                      </a:lnTo>
                      <a:lnTo>
                        <a:pt x="64" y="96"/>
                      </a:lnTo>
                      <a:lnTo>
                        <a:pt x="72" y="96"/>
                      </a:lnTo>
                      <a:lnTo>
                        <a:pt x="80" y="96"/>
                      </a:lnTo>
                      <a:lnTo>
                        <a:pt x="88" y="104"/>
                      </a:lnTo>
                      <a:lnTo>
                        <a:pt x="96" y="104"/>
                      </a:lnTo>
                      <a:lnTo>
                        <a:pt x="88" y="104"/>
                      </a:lnTo>
                      <a:lnTo>
                        <a:pt x="80" y="104"/>
                      </a:lnTo>
                      <a:lnTo>
                        <a:pt x="72" y="104"/>
                      </a:lnTo>
                      <a:lnTo>
                        <a:pt x="80" y="104"/>
                      </a:lnTo>
                      <a:lnTo>
                        <a:pt x="80" y="112"/>
                      </a:lnTo>
                      <a:lnTo>
                        <a:pt x="72" y="112"/>
                      </a:lnTo>
                      <a:lnTo>
                        <a:pt x="64" y="104"/>
                      </a:lnTo>
                      <a:lnTo>
                        <a:pt x="56" y="104"/>
                      </a:lnTo>
                      <a:lnTo>
                        <a:pt x="56" y="112"/>
                      </a:lnTo>
                      <a:lnTo>
                        <a:pt x="48" y="112"/>
                      </a:lnTo>
                      <a:lnTo>
                        <a:pt x="40" y="112"/>
                      </a:lnTo>
                      <a:lnTo>
                        <a:pt x="32" y="112"/>
                      </a:lnTo>
                      <a:lnTo>
                        <a:pt x="24" y="112"/>
                      </a:lnTo>
                      <a:lnTo>
                        <a:pt x="16" y="112"/>
                      </a:lnTo>
                      <a:lnTo>
                        <a:pt x="16" y="120"/>
                      </a:lnTo>
                      <a:lnTo>
                        <a:pt x="16" y="128"/>
                      </a:lnTo>
                      <a:lnTo>
                        <a:pt x="16" y="136"/>
                      </a:lnTo>
                      <a:lnTo>
                        <a:pt x="16" y="144"/>
                      </a:lnTo>
                      <a:lnTo>
                        <a:pt x="24" y="144"/>
                      </a:lnTo>
                      <a:lnTo>
                        <a:pt x="32" y="144"/>
                      </a:lnTo>
                      <a:lnTo>
                        <a:pt x="40" y="144"/>
                      </a:lnTo>
                      <a:lnTo>
                        <a:pt x="40" y="152"/>
                      </a:lnTo>
                      <a:lnTo>
                        <a:pt x="40" y="144"/>
                      </a:lnTo>
                      <a:lnTo>
                        <a:pt x="48" y="152"/>
                      </a:lnTo>
                      <a:lnTo>
                        <a:pt x="56" y="152"/>
                      </a:lnTo>
                      <a:lnTo>
                        <a:pt x="64" y="152"/>
                      </a:lnTo>
                      <a:lnTo>
                        <a:pt x="72" y="160"/>
                      </a:lnTo>
                      <a:lnTo>
                        <a:pt x="72" y="152"/>
                      </a:lnTo>
                      <a:lnTo>
                        <a:pt x="80" y="152"/>
                      </a:lnTo>
                      <a:lnTo>
                        <a:pt x="80" y="160"/>
                      </a:lnTo>
                      <a:lnTo>
                        <a:pt x="88" y="152"/>
                      </a:lnTo>
                      <a:lnTo>
                        <a:pt x="96" y="160"/>
                      </a:lnTo>
                      <a:lnTo>
                        <a:pt x="104" y="168"/>
                      </a:lnTo>
                      <a:lnTo>
                        <a:pt x="112" y="168"/>
                      </a:lnTo>
                      <a:lnTo>
                        <a:pt x="112" y="176"/>
                      </a:lnTo>
                      <a:lnTo>
                        <a:pt x="120" y="176"/>
                      </a:lnTo>
                      <a:lnTo>
                        <a:pt x="120" y="184"/>
                      </a:lnTo>
                      <a:lnTo>
                        <a:pt x="120" y="192"/>
                      </a:lnTo>
                      <a:lnTo>
                        <a:pt x="128" y="192"/>
                      </a:lnTo>
                      <a:lnTo>
                        <a:pt x="128" y="200"/>
                      </a:lnTo>
                      <a:lnTo>
                        <a:pt x="120" y="192"/>
                      </a:lnTo>
                      <a:lnTo>
                        <a:pt x="112" y="192"/>
                      </a:lnTo>
                      <a:lnTo>
                        <a:pt x="104" y="192"/>
                      </a:lnTo>
                      <a:lnTo>
                        <a:pt x="96" y="192"/>
                      </a:lnTo>
                      <a:lnTo>
                        <a:pt x="88" y="192"/>
                      </a:lnTo>
                      <a:lnTo>
                        <a:pt x="88" y="184"/>
                      </a:lnTo>
                      <a:lnTo>
                        <a:pt x="80" y="184"/>
                      </a:lnTo>
                      <a:lnTo>
                        <a:pt x="72" y="184"/>
                      </a:lnTo>
                      <a:lnTo>
                        <a:pt x="72" y="176"/>
                      </a:lnTo>
                      <a:lnTo>
                        <a:pt x="64" y="176"/>
                      </a:lnTo>
                      <a:lnTo>
                        <a:pt x="56" y="176"/>
                      </a:lnTo>
                      <a:lnTo>
                        <a:pt x="48" y="176"/>
                      </a:lnTo>
                      <a:lnTo>
                        <a:pt x="40" y="176"/>
                      </a:lnTo>
                      <a:lnTo>
                        <a:pt x="32" y="176"/>
                      </a:lnTo>
                      <a:lnTo>
                        <a:pt x="16" y="176"/>
                      </a:lnTo>
                      <a:lnTo>
                        <a:pt x="8" y="176"/>
                      </a:lnTo>
                      <a:lnTo>
                        <a:pt x="8" y="184"/>
                      </a:lnTo>
                      <a:lnTo>
                        <a:pt x="0" y="184"/>
                      </a:lnTo>
                      <a:lnTo>
                        <a:pt x="0" y="192"/>
                      </a:lnTo>
                      <a:lnTo>
                        <a:pt x="0" y="200"/>
                      </a:lnTo>
                      <a:lnTo>
                        <a:pt x="0" y="208"/>
                      </a:lnTo>
                      <a:lnTo>
                        <a:pt x="0" y="216"/>
                      </a:lnTo>
                      <a:lnTo>
                        <a:pt x="8" y="224"/>
                      </a:lnTo>
                      <a:lnTo>
                        <a:pt x="8" y="232"/>
                      </a:lnTo>
                      <a:lnTo>
                        <a:pt x="16" y="232"/>
                      </a:lnTo>
                      <a:lnTo>
                        <a:pt x="24" y="232"/>
                      </a:lnTo>
                      <a:lnTo>
                        <a:pt x="24" y="240"/>
                      </a:lnTo>
                      <a:lnTo>
                        <a:pt x="32" y="240"/>
                      </a:lnTo>
                      <a:lnTo>
                        <a:pt x="32" y="232"/>
                      </a:lnTo>
                      <a:lnTo>
                        <a:pt x="40" y="232"/>
                      </a:lnTo>
                      <a:lnTo>
                        <a:pt x="40" y="240"/>
                      </a:lnTo>
                      <a:lnTo>
                        <a:pt x="48" y="240"/>
                      </a:lnTo>
                      <a:lnTo>
                        <a:pt x="48" y="248"/>
                      </a:lnTo>
                      <a:lnTo>
                        <a:pt x="56" y="248"/>
                      </a:lnTo>
                      <a:lnTo>
                        <a:pt x="48" y="248"/>
                      </a:lnTo>
                      <a:lnTo>
                        <a:pt x="48" y="256"/>
                      </a:lnTo>
                      <a:lnTo>
                        <a:pt x="40" y="264"/>
                      </a:lnTo>
                      <a:lnTo>
                        <a:pt x="32" y="272"/>
                      </a:lnTo>
                      <a:lnTo>
                        <a:pt x="40" y="272"/>
                      </a:lnTo>
                      <a:lnTo>
                        <a:pt x="40" y="280"/>
                      </a:lnTo>
                      <a:lnTo>
                        <a:pt x="40" y="288"/>
                      </a:lnTo>
                      <a:lnTo>
                        <a:pt x="32" y="288"/>
                      </a:lnTo>
                      <a:lnTo>
                        <a:pt x="40" y="288"/>
                      </a:lnTo>
                      <a:lnTo>
                        <a:pt x="48" y="288"/>
                      </a:lnTo>
                      <a:lnTo>
                        <a:pt x="56" y="296"/>
                      </a:lnTo>
                      <a:lnTo>
                        <a:pt x="56" y="288"/>
                      </a:lnTo>
                      <a:lnTo>
                        <a:pt x="64" y="288"/>
                      </a:lnTo>
                      <a:lnTo>
                        <a:pt x="72" y="296"/>
                      </a:lnTo>
                      <a:lnTo>
                        <a:pt x="80" y="288"/>
                      </a:lnTo>
                      <a:lnTo>
                        <a:pt x="88" y="296"/>
                      </a:lnTo>
                      <a:lnTo>
                        <a:pt x="88" y="288"/>
                      </a:lnTo>
                      <a:lnTo>
                        <a:pt x="96" y="296"/>
                      </a:lnTo>
                      <a:lnTo>
                        <a:pt x="104" y="296"/>
                      </a:lnTo>
                      <a:lnTo>
                        <a:pt x="112" y="296"/>
                      </a:lnTo>
                      <a:lnTo>
                        <a:pt x="120" y="288"/>
                      </a:lnTo>
                      <a:lnTo>
                        <a:pt x="128" y="288"/>
                      </a:lnTo>
                      <a:lnTo>
                        <a:pt x="136" y="280"/>
                      </a:lnTo>
                      <a:lnTo>
                        <a:pt x="144" y="280"/>
                      </a:lnTo>
                      <a:lnTo>
                        <a:pt x="152" y="280"/>
                      </a:lnTo>
                      <a:lnTo>
                        <a:pt x="160" y="280"/>
                      </a:lnTo>
                      <a:lnTo>
                        <a:pt x="176" y="280"/>
                      </a:lnTo>
                      <a:lnTo>
                        <a:pt x="176" y="272"/>
                      </a:lnTo>
                      <a:lnTo>
                        <a:pt x="184" y="272"/>
                      </a:lnTo>
                      <a:lnTo>
                        <a:pt x="184" y="264"/>
                      </a:lnTo>
                      <a:lnTo>
                        <a:pt x="192" y="264"/>
                      </a:lnTo>
                      <a:lnTo>
                        <a:pt x="200" y="272"/>
                      </a:lnTo>
                      <a:lnTo>
                        <a:pt x="192" y="272"/>
                      </a:lnTo>
                      <a:lnTo>
                        <a:pt x="192" y="280"/>
                      </a:lnTo>
                      <a:lnTo>
                        <a:pt x="200" y="288"/>
                      </a:lnTo>
                      <a:lnTo>
                        <a:pt x="200" y="280"/>
                      </a:lnTo>
                      <a:lnTo>
                        <a:pt x="208" y="288"/>
                      </a:lnTo>
                      <a:lnTo>
                        <a:pt x="216" y="288"/>
                      </a:lnTo>
                      <a:lnTo>
                        <a:pt x="208" y="296"/>
                      </a:lnTo>
                      <a:lnTo>
                        <a:pt x="200" y="296"/>
                      </a:lnTo>
                      <a:lnTo>
                        <a:pt x="208" y="304"/>
                      </a:lnTo>
                      <a:lnTo>
                        <a:pt x="216" y="304"/>
                      </a:lnTo>
                      <a:lnTo>
                        <a:pt x="224" y="296"/>
                      </a:lnTo>
                      <a:lnTo>
                        <a:pt x="224" y="304"/>
                      </a:lnTo>
                      <a:lnTo>
                        <a:pt x="224" y="312"/>
                      </a:lnTo>
                      <a:lnTo>
                        <a:pt x="232" y="304"/>
                      </a:lnTo>
                      <a:lnTo>
                        <a:pt x="232" y="312"/>
                      </a:lnTo>
                      <a:lnTo>
                        <a:pt x="240" y="312"/>
                      </a:lnTo>
                      <a:lnTo>
                        <a:pt x="248" y="312"/>
                      </a:lnTo>
                      <a:lnTo>
                        <a:pt x="248" y="304"/>
                      </a:lnTo>
                      <a:lnTo>
                        <a:pt x="248" y="312"/>
                      </a:lnTo>
                      <a:lnTo>
                        <a:pt x="256" y="312"/>
                      </a:lnTo>
                      <a:lnTo>
                        <a:pt x="264" y="312"/>
                      </a:lnTo>
                      <a:lnTo>
                        <a:pt x="272" y="304"/>
                      </a:lnTo>
                      <a:lnTo>
                        <a:pt x="272" y="312"/>
                      </a:lnTo>
                      <a:lnTo>
                        <a:pt x="280" y="31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2" name="Freeform 151"/>
                <p:cNvSpPr>
                  <a:spLocks/>
                </p:cNvSpPr>
                <p:nvPr/>
              </p:nvSpPr>
              <p:spPr bwMode="auto">
                <a:xfrm>
                  <a:off x="5372100" y="2501900"/>
                  <a:ext cx="88900" cy="88900"/>
                </a:xfrm>
                <a:custGeom>
                  <a:avLst/>
                  <a:gdLst>
                    <a:gd name="T0" fmla="*/ 0 w 56"/>
                    <a:gd name="T1" fmla="*/ 48 h 56"/>
                    <a:gd name="T2" fmla="*/ 0 w 56"/>
                    <a:gd name="T3" fmla="*/ 40 h 56"/>
                    <a:gd name="T4" fmla="*/ 0 w 56"/>
                    <a:gd name="T5" fmla="*/ 32 h 56"/>
                    <a:gd name="T6" fmla="*/ 8 w 56"/>
                    <a:gd name="T7" fmla="*/ 24 h 56"/>
                    <a:gd name="T8" fmla="*/ 16 w 56"/>
                    <a:gd name="T9" fmla="*/ 16 h 56"/>
                    <a:gd name="T10" fmla="*/ 24 w 56"/>
                    <a:gd name="T11" fmla="*/ 8 h 56"/>
                    <a:gd name="T12" fmla="*/ 32 w 56"/>
                    <a:gd name="T13" fmla="*/ 0 h 56"/>
                    <a:gd name="T14" fmla="*/ 40 w 56"/>
                    <a:gd name="T15" fmla="*/ 0 h 56"/>
                    <a:gd name="T16" fmla="*/ 48 w 56"/>
                    <a:gd name="T17" fmla="*/ 8 h 56"/>
                    <a:gd name="T18" fmla="*/ 56 w 56"/>
                    <a:gd name="T19" fmla="*/ 16 h 56"/>
                    <a:gd name="T20" fmla="*/ 48 w 56"/>
                    <a:gd name="T21" fmla="*/ 16 h 56"/>
                    <a:gd name="T22" fmla="*/ 48 w 56"/>
                    <a:gd name="T23" fmla="*/ 24 h 56"/>
                    <a:gd name="T24" fmla="*/ 48 w 56"/>
                    <a:gd name="T25" fmla="*/ 32 h 56"/>
                    <a:gd name="T26" fmla="*/ 40 w 56"/>
                    <a:gd name="T27" fmla="*/ 40 h 56"/>
                    <a:gd name="T28" fmla="*/ 40 w 56"/>
                    <a:gd name="T29" fmla="*/ 48 h 56"/>
                    <a:gd name="T30" fmla="*/ 32 w 56"/>
                    <a:gd name="T31" fmla="*/ 48 h 56"/>
                    <a:gd name="T32" fmla="*/ 24 w 56"/>
                    <a:gd name="T33" fmla="*/ 48 h 56"/>
                    <a:gd name="T34" fmla="*/ 16 w 56"/>
                    <a:gd name="T35" fmla="*/ 56 h 56"/>
                    <a:gd name="T36" fmla="*/ 16 w 56"/>
                    <a:gd name="T37" fmla="*/ 48 h 56"/>
                    <a:gd name="T38" fmla="*/ 8 w 56"/>
                    <a:gd name="T39" fmla="*/ 56 h 56"/>
                    <a:gd name="T40" fmla="*/ 0 w 56"/>
                    <a:gd name="T41" fmla="*/ 48 h 56"/>
                    <a:gd name="T42" fmla="*/ 0 w 56"/>
                    <a:gd name="T43" fmla="*/ 56 h 56"/>
                    <a:gd name="T44" fmla="*/ 0 w 56"/>
                    <a:gd name="T45"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6">
                      <a:moveTo>
                        <a:pt x="0" y="48"/>
                      </a:moveTo>
                      <a:lnTo>
                        <a:pt x="0" y="40"/>
                      </a:lnTo>
                      <a:lnTo>
                        <a:pt x="0" y="32"/>
                      </a:lnTo>
                      <a:lnTo>
                        <a:pt x="8" y="24"/>
                      </a:lnTo>
                      <a:lnTo>
                        <a:pt x="16" y="16"/>
                      </a:lnTo>
                      <a:lnTo>
                        <a:pt x="24" y="8"/>
                      </a:lnTo>
                      <a:lnTo>
                        <a:pt x="32" y="0"/>
                      </a:lnTo>
                      <a:lnTo>
                        <a:pt x="40" y="0"/>
                      </a:lnTo>
                      <a:lnTo>
                        <a:pt x="48" y="8"/>
                      </a:lnTo>
                      <a:lnTo>
                        <a:pt x="56" y="16"/>
                      </a:lnTo>
                      <a:lnTo>
                        <a:pt x="48" y="16"/>
                      </a:lnTo>
                      <a:lnTo>
                        <a:pt x="48" y="24"/>
                      </a:lnTo>
                      <a:lnTo>
                        <a:pt x="48" y="32"/>
                      </a:lnTo>
                      <a:lnTo>
                        <a:pt x="40" y="40"/>
                      </a:lnTo>
                      <a:lnTo>
                        <a:pt x="40" y="48"/>
                      </a:lnTo>
                      <a:lnTo>
                        <a:pt x="32" y="48"/>
                      </a:lnTo>
                      <a:lnTo>
                        <a:pt x="24" y="48"/>
                      </a:lnTo>
                      <a:lnTo>
                        <a:pt x="16" y="56"/>
                      </a:lnTo>
                      <a:lnTo>
                        <a:pt x="16" y="48"/>
                      </a:lnTo>
                      <a:lnTo>
                        <a:pt x="8" y="56"/>
                      </a:lnTo>
                      <a:lnTo>
                        <a:pt x="0" y="48"/>
                      </a:lnTo>
                      <a:lnTo>
                        <a:pt x="0" y="56"/>
                      </a:lnTo>
                      <a:lnTo>
                        <a:pt x="0" y="4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3" name="Freeform 152"/>
                <p:cNvSpPr>
                  <a:spLocks/>
                </p:cNvSpPr>
                <p:nvPr/>
              </p:nvSpPr>
              <p:spPr bwMode="auto">
                <a:xfrm>
                  <a:off x="4673600" y="2260600"/>
                  <a:ext cx="12700" cy="25400"/>
                </a:xfrm>
                <a:custGeom>
                  <a:avLst/>
                  <a:gdLst>
                    <a:gd name="T0" fmla="*/ 0 w 8"/>
                    <a:gd name="T1" fmla="*/ 16 h 16"/>
                    <a:gd name="T2" fmla="*/ 0 w 8"/>
                    <a:gd name="T3" fmla="*/ 8 h 16"/>
                    <a:gd name="T4" fmla="*/ 8 w 8"/>
                    <a:gd name="T5" fmla="*/ 8 h 16"/>
                    <a:gd name="T6" fmla="*/ 8 w 8"/>
                    <a:gd name="T7" fmla="*/ 0 h 16"/>
                    <a:gd name="T8" fmla="*/ 8 w 8"/>
                    <a:gd name="T9" fmla="*/ 8 h 16"/>
                    <a:gd name="T10" fmla="*/ 8 w 8"/>
                    <a:gd name="T11" fmla="*/ 16 h 16"/>
                    <a:gd name="T12" fmla="*/ 8 w 8"/>
                    <a:gd name="T13" fmla="*/ 8 h 16"/>
                    <a:gd name="T14" fmla="*/ 8 w 8"/>
                    <a:gd name="T15" fmla="*/ 16 h 16"/>
                    <a:gd name="T16" fmla="*/ 0 w 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0" y="16"/>
                      </a:moveTo>
                      <a:lnTo>
                        <a:pt x="0" y="8"/>
                      </a:lnTo>
                      <a:lnTo>
                        <a:pt x="8" y="8"/>
                      </a:lnTo>
                      <a:lnTo>
                        <a:pt x="8" y="0"/>
                      </a:lnTo>
                      <a:lnTo>
                        <a:pt x="8" y="8"/>
                      </a:lnTo>
                      <a:lnTo>
                        <a:pt x="8" y="16"/>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4" name="Freeform 153"/>
                <p:cNvSpPr>
                  <a:spLocks/>
                </p:cNvSpPr>
                <p:nvPr/>
              </p:nvSpPr>
              <p:spPr bwMode="auto">
                <a:xfrm>
                  <a:off x="4610100" y="2324100"/>
                  <a:ext cx="12700" cy="25400"/>
                </a:xfrm>
                <a:custGeom>
                  <a:avLst/>
                  <a:gdLst>
                    <a:gd name="T0" fmla="*/ 0 w 8"/>
                    <a:gd name="T1" fmla="*/ 16 h 16"/>
                    <a:gd name="T2" fmla="*/ 8 w 8"/>
                    <a:gd name="T3" fmla="*/ 8 h 16"/>
                    <a:gd name="T4" fmla="*/ 8 w 8"/>
                    <a:gd name="T5" fmla="*/ 0 h 16"/>
                    <a:gd name="T6" fmla="*/ 0 w 8"/>
                    <a:gd name="T7" fmla="*/ 0 h 16"/>
                    <a:gd name="T8" fmla="*/ 0 w 8"/>
                    <a:gd name="T9" fmla="*/ 8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8" y="8"/>
                      </a:lnTo>
                      <a:lnTo>
                        <a:pt x="8" y="0"/>
                      </a:lnTo>
                      <a:lnTo>
                        <a:pt x="0" y="0"/>
                      </a:lnTo>
                      <a:lnTo>
                        <a:pt x="0"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5" name="Freeform 154"/>
                <p:cNvSpPr>
                  <a:spLocks/>
                </p:cNvSpPr>
                <p:nvPr/>
              </p:nvSpPr>
              <p:spPr bwMode="auto">
                <a:xfrm>
                  <a:off x="4673600" y="2311400"/>
                  <a:ext cx="25400" cy="25400"/>
                </a:xfrm>
                <a:custGeom>
                  <a:avLst/>
                  <a:gdLst>
                    <a:gd name="T0" fmla="*/ 8 w 16"/>
                    <a:gd name="T1" fmla="*/ 8 h 16"/>
                    <a:gd name="T2" fmla="*/ 8 w 16"/>
                    <a:gd name="T3" fmla="*/ 16 h 16"/>
                    <a:gd name="T4" fmla="*/ 0 w 16"/>
                    <a:gd name="T5" fmla="*/ 16 h 16"/>
                    <a:gd name="T6" fmla="*/ 8 w 16"/>
                    <a:gd name="T7" fmla="*/ 8 h 16"/>
                    <a:gd name="T8" fmla="*/ 8 w 16"/>
                    <a:gd name="T9" fmla="*/ 0 h 16"/>
                    <a:gd name="T10" fmla="*/ 16 w 16"/>
                    <a:gd name="T11" fmla="*/ 8 h 16"/>
                    <a:gd name="T12" fmla="*/ 8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8"/>
                      </a:moveTo>
                      <a:lnTo>
                        <a:pt x="8" y="16"/>
                      </a:lnTo>
                      <a:lnTo>
                        <a:pt x="0" y="16"/>
                      </a:lnTo>
                      <a:lnTo>
                        <a:pt x="8" y="8"/>
                      </a:lnTo>
                      <a:lnTo>
                        <a:pt x="8" y="0"/>
                      </a:lnTo>
                      <a:lnTo>
                        <a:pt x="16" y="8"/>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6" name="Freeform 155"/>
                <p:cNvSpPr>
                  <a:spLocks/>
                </p:cNvSpPr>
                <p:nvPr/>
              </p:nvSpPr>
              <p:spPr bwMode="auto">
                <a:xfrm>
                  <a:off x="4699000" y="2298700"/>
                  <a:ext cx="12700" cy="25400"/>
                </a:xfrm>
                <a:custGeom>
                  <a:avLst/>
                  <a:gdLst>
                    <a:gd name="T0" fmla="*/ 0 w 8"/>
                    <a:gd name="T1" fmla="*/ 16 h 16"/>
                    <a:gd name="T2" fmla="*/ 0 w 8"/>
                    <a:gd name="T3" fmla="*/ 8 h 16"/>
                    <a:gd name="T4" fmla="*/ 0 w 8"/>
                    <a:gd name="T5" fmla="*/ 0 h 16"/>
                    <a:gd name="T6" fmla="*/ 8 w 8"/>
                    <a:gd name="T7" fmla="*/ 0 h 16"/>
                    <a:gd name="T8" fmla="*/ 8 w 8"/>
                    <a:gd name="T9" fmla="*/ 8 h 16"/>
                    <a:gd name="T10" fmla="*/ 0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0" y="16"/>
                      </a:moveTo>
                      <a:lnTo>
                        <a:pt x="0" y="8"/>
                      </a:lnTo>
                      <a:lnTo>
                        <a:pt x="0" y="0"/>
                      </a:lnTo>
                      <a:lnTo>
                        <a:pt x="8" y="0"/>
                      </a:lnTo>
                      <a:lnTo>
                        <a:pt x="8"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7" name="Freeform 156"/>
                <p:cNvSpPr>
                  <a:spLocks/>
                </p:cNvSpPr>
                <p:nvPr/>
              </p:nvSpPr>
              <p:spPr bwMode="auto">
                <a:xfrm>
                  <a:off x="4838700" y="2298700"/>
                  <a:ext cx="25400" cy="25400"/>
                </a:xfrm>
                <a:custGeom>
                  <a:avLst/>
                  <a:gdLst>
                    <a:gd name="T0" fmla="*/ 0 w 16"/>
                    <a:gd name="T1" fmla="*/ 16 h 16"/>
                    <a:gd name="T2" fmla="*/ 8 w 16"/>
                    <a:gd name="T3" fmla="*/ 8 h 16"/>
                    <a:gd name="T4" fmla="*/ 8 w 16"/>
                    <a:gd name="T5" fmla="*/ 0 h 16"/>
                    <a:gd name="T6" fmla="*/ 16 w 16"/>
                    <a:gd name="T7" fmla="*/ 0 h 16"/>
                    <a:gd name="T8" fmla="*/ 16 w 16"/>
                    <a:gd name="T9" fmla="*/ 8 h 16"/>
                    <a:gd name="T10" fmla="*/ 16 w 16"/>
                    <a:gd name="T11" fmla="*/ 16 h 16"/>
                    <a:gd name="T12" fmla="*/ 8 w 16"/>
                    <a:gd name="T13" fmla="*/ 16 h 16"/>
                    <a:gd name="T14" fmla="*/ 8 w 16"/>
                    <a:gd name="T15" fmla="*/ 8 h 16"/>
                    <a:gd name="T16" fmla="*/ 8 w 16"/>
                    <a:gd name="T17" fmla="*/ 16 h 16"/>
                    <a:gd name="T18" fmla="*/ 0 w 16"/>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16"/>
                      </a:moveTo>
                      <a:lnTo>
                        <a:pt x="8" y="8"/>
                      </a:lnTo>
                      <a:lnTo>
                        <a:pt x="8" y="0"/>
                      </a:lnTo>
                      <a:lnTo>
                        <a:pt x="16" y="0"/>
                      </a:lnTo>
                      <a:lnTo>
                        <a:pt x="16" y="8"/>
                      </a:lnTo>
                      <a:lnTo>
                        <a:pt x="16" y="16"/>
                      </a:lnTo>
                      <a:lnTo>
                        <a:pt x="8" y="16"/>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8" name="Freeform 157"/>
                <p:cNvSpPr>
                  <a:spLocks/>
                </p:cNvSpPr>
                <p:nvPr/>
              </p:nvSpPr>
              <p:spPr bwMode="auto">
                <a:xfrm>
                  <a:off x="4838700" y="2298700"/>
                  <a:ext cx="12700" cy="12700"/>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29" name="Freeform 158"/>
                <p:cNvSpPr>
                  <a:spLocks/>
                </p:cNvSpPr>
                <p:nvPr/>
              </p:nvSpPr>
              <p:spPr bwMode="auto">
                <a:xfrm>
                  <a:off x="4711700" y="2260600"/>
                  <a:ext cx="139700" cy="127000"/>
                </a:xfrm>
                <a:custGeom>
                  <a:avLst/>
                  <a:gdLst>
                    <a:gd name="T0" fmla="*/ 80 w 88"/>
                    <a:gd name="T1" fmla="*/ 72 h 80"/>
                    <a:gd name="T2" fmla="*/ 88 w 88"/>
                    <a:gd name="T3" fmla="*/ 72 h 80"/>
                    <a:gd name="T4" fmla="*/ 88 w 88"/>
                    <a:gd name="T5" fmla="*/ 64 h 80"/>
                    <a:gd name="T6" fmla="*/ 80 w 88"/>
                    <a:gd name="T7" fmla="*/ 64 h 80"/>
                    <a:gd name="T8" fmla="*/ 80 w 88"/>
                    <a:gd name="T9" fmla="*/ 56 h 80"/>
                    <a:gd name="T10" fmla="*/ 88 w 88"/>
                    <a:gd name="T11" fmla="*/ 48 h 80"/>
                    <a:gd name="T12" fmla="*/ 80 w 88"/>
                    <a:gd name="T13" fmla="*/ 48 h 80"/>
                    <a:gd name="T14" fmla="*/ 72 w 88"/>
                    <a:gd name="T15" fmla="*/ 56 h 80"/>
                    <a:gd name="T16" fmla="*/ 80 w 88"/>
                    <a:gd name="T17" fmla="*/ 40 h 80"/>
                    <a:gd name="T18" fmla="*/ 72 w 88"/>
                    <a:gd name="T19" fmla="*/ 24 h 80"/>
                    <a:gd name="T20" fmla="*/ 72 w 88"/>
                    <a:gd name="T21" fmla="*/ 16 h 80"/>
                    <a:gd name="T22" fmla="*/ 64 w 88"/>
                    <a:gd name="T23" fmla="*/ 16 h 80"/>
                    <a:gd name="T24" fmla="*/ 64 w 88"/>
                    <a:gd name="T25" fmla="*/ 24 h 80"/>
                    <a:gd name="T26" fmla="*/ 64 w 88"/>
                    <a:gd name="T27" fmla="*/ 16 h 80"/>
                    <a:gd name="T28" fmla="*/ 64 w 88"/>
                    <a:gd name="T29" fmla="*/ 8 h 80"/>
                    <a:gd name="T30" fmla="*/ 64 w 88"/>
                    <a:gd name="T31" fmla="*/ 0 h 80"/>
                    <a:gd name="T32" fmla="*/ 56 w 88"/>
                    <a:gd name="T33" fmla="*/ 0 h 80"/>
                    <a:gd name="T34" fmla="*/ 48 w 88"/>
                    <a:gd name="T35" fmla="*/ 8 h 80"/>
                    <a:gd name="T36" fmla="*/ 48 w 88"/>
                    <a:gd name="T37" fmla="*/ 16 h 80"/>
                    <a:gd name="T38" fmla="*/ 48 w 88"/>
                    <a:gd name="T39" fmla="*/ 24 h 80"/>
                    <a:gd name="T40" fmla="*/ 40 w 88"/>
                    <a:gd name="T41" fmla="*/ 16 h 80"/>
                    <a:gd name="T42" fmla="*/ 40 w 88"/>
                    <a:gd name="T43" fmla="*/ 24 h 80"/>
                    <a:gd name="T44" fmla="*/ 32 w 88"/>
                    <a:gd name="T45" fmla="*/ 32 h 80"/>
                    <a:gd name="T46" fmla="*/ 24 w 88"/>
                    <a:gd name="T47" fmla="*/ 32 h 80"/>
                    <a:gd name="T48" fmla="*/ 16 w 88"/>
                    <a:gd name="T49" fmla="*/ 32 h 80"/>
                    <a:gd name="T50" fmla="*/ 0 w 88"/>
                    <a:gd name="T51" fmla="*/ 40 h 80"/>
                    <a:gd name="T52" fmla="*/ 8 w 88"/>
                    <a:gd name="T53" fmla="*/ 48 h 80"/>
                    <a:gd name="T54" fmla="*/ 16 w 88"/>
                    <a:gd name="T55" fmla="*/ 48 h 80"/>
                    <a:gd name="T56" fmla="*/ 16 w 88"/>
                    <a:gd name="T57" fmla="*/ 40 h 80"/>
                    <a:gd name="T58" fmla="*/ 16 w 88"/>
                    <a:gd name="T59" fmla="*/ 48 h 80"/>
                    <a:gd name="T60" fmla="*/ 16 w 88"/>
                    <a:gd name="T61" fmla="*/ 56 h 80"/>
                    <a:gd name="T62" fmla="*/ 24 w 88"/>
                    <a:gd name="T63" fmla="*/ 56 h 80"/>
                    <a:gd name="T64" fmla="*/ 32 w 88"/>
                    <a:gd name="T65" fmla="*/ 64 h 80"/>
                    <a:gd name="T66" fmla="*/ 40 w 88"/>
                    <a:gd name="T67" fmla="*/ 72 h 80"/>
                    <a:gd name="T68" fmla="*/ 40 w 88"/>
                    <a:gd name="T69" fmla="*/ 80 h 80"/>
                    <a:gd name="T70" fmla="*/ 48 w 88"/>
                    <a:gd name="T71" fmla="*/ 72 h 80"/>
                    <a:gd name="T72" fmla="*/ 48 w 88"/>
                    <a:gd name="T73" fmla="*/ 80 h 80"/>
                    <a:gd name="T74" fmla="*/ 56 w 88"/>
                    <a:gd name="T75" fmla="*/ 80 h 80"/>
                    <a:gd name="T76" fmla="*/ 64 w 88"/>
                    <a:gd name="T77" fmla="*/ 80 h 80"/>
                    <a:gd name="T78" fmla="*/ 72 w 88"/>
                    <a:gd name="T79" fmla="*/ 72 h 80"/>
                    <a:gd name="T80" fmla="*/ 80 w 88"/>
                    <a:gd name="T81"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 h="80">
                      <a:moveTo>
                        <a:pt x="80" y="72"/>
                      </a:moveTo>
                      <a:lnTo>
                        <a:pt x="88" y="72"/>
                      </a:lnTo>
                      <a:lnTo>
                        <a:pt x="88" y="64"/>
                      </a:lnTo>
                      <a:lnTo>
                        <a:pt x="80" y="64"/>
                      </a:lnTo>
                      <a:lnTo>
                        <a:pt x="80" y="56"/>
                      </a:lnTo>
                      <a:lnTo>
                        <a:pt x="88" y="48"/>
                      </a:lnTo>
                      <a:lnTo>
                        <a:pt x="80" y="48"/>
                      </a:lnTo>
                      <a:lnTo>
                        <a:pt x="72" y="56"/>
                      </a:lnTo>
                      <a:lnTo>
                        <a:pt x="80" y="40"/>
                      </a:lnTo>
                      <a:lnTo>
                        <a:pt x="72" y="24"/>
                      </a:lnTo>
                      <a:lnTo>
                        <a:pt x="72" y="16"/>
                      </a:lnTo>
                      <a:lnTo>
                        <a:pt x="64" y="16"/>
                      </a:lnTo>
                      <a:lnTo>
                        <a:pt x="64" y="24"/>
                      </a:lnTo>
                      <a:lnTo>
                        <a:pt x="64" y="16"/>
                      </a:lnTo>
                      <a:lnTo>
                        <a:pt x="64" y="8"/>
                      </a:lnTo>
                      <a:lnTo>
                        <a:pt x="64" y="0"/>
                      </a:lnTo>
                      <a:lnTo>
                        <a:pt x="56" y="0"/>
                      </a:lnTo>
                      <a:lnTo>
                        <a:pt x="48" y="8"/>
                      </a:lnTo>
                      <a:lnTo>
                        <a:pt x="48" y="16"/>
                      </a:lnTo>
                      <a:lnTo>
                        <a:pt x="48" y="24"/>
                      </a:lnTo>
                      <a:lnTo>
                        <a:pt x="40" y="16"/>
                      </a:lnTo>
                      <a:lnTo>
                        <a:pt x="40" y="24"/>
                      </a:lnTo>
                      <a:lnTo>
                        <a:pt x="32" y="32"/>
                      </a:lnTo>
                      <a:lnTo>
                        <a:pt x="24" y="32"/>
                      </a:lnTo>
                      <a:lnTo>
                        <a:pt x="16" y="32"/>
                      </a:lnTo>
                      <a:lnTo>
                        <a:pt x="0" y="40"/>
                      </a:lnTo>
                      <a:lnTo>
                        <a:pt x="8" y="48"/>
                      </a:lnTo>
                      <a:lnTo>
                        <a:pt x="16" y="48"/>
                      </a:lnTo>
                      <a:lnTo>
                        <a:pt x="16" y="40"/>
                      </a:lnTo>
                      <a:lnTo>
                        <a:pt x="16" y="48"/>
                      </a:lnTo>
                      <a:lnTo>
                        <a:pt x="16" y="56"/>
                      </a:lnTo>
                      <a:lnTo>
                        <a:pt x="24" y="56"/>
                      </a:lnTo>
                      <a:lnTo>
                        <a:pt x="32" y="64"/>
                      </a:lnTo>
                      <a:lnTo>
                        <a:pt x="40" y="72"/>
                      </a:lnTo>
                      <a:lnTo>
                        <a:pt x="40" y="80"/>
                      </a:lnTo>
                      <a:lnTo>
                        <a:pt x="48" y="72"/>
                      </a:lnTo>
                      <a:lnTo>
                        <a:pt x="48" y="80"/>
                      </a:lnTo>
                      <a:lnTo>
                        <a:pt x="56" y="80"/>
                      </a:lnTo>
                      <a:lnTo>
                        <a:pt x="64" y="80"/>
                      </a:lnTo>
                      <a:lnTo>
                        <a:pt x="72" y="72"/>
                      </a:lnTo>
                      <a:lnTo>
                        <a:pt x="80" y="7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0" name="Freeform 159"/>
                <p:cNvSpPr>
                  <a:spLocks/>
                </p:cNvSpPr>
                <p:nvPr/>
              </p:nvSpPr>
              <p:spPr bwMode="auto">
                <a:xfrm>
                  <a:off x="5626100" y="2311400"/>
                  <a:ext cx="25400" cy="12700"/>
                </a:xfrm>
                <a:custGeom>
                  <a:avLst/>
                  <a:gdLst>
                    <a:gd name="T0" fmla="*/ 0 w 16"/>
                    <a:gd name="T1" fmla="*/ 8 h 8"/>
                    <a:gd name="T2" fmla="*/ 0 w 16"/>
                    <a:gd name="T3" fmla="*/ 0 h 8"/>
                    <a:gd name="T4" fmla="*/ 8 w 16"/>
                    <a:gd name="T5" fmla="*/ 0 h 8"/>
                    <a:gd name="T6" fmla="*/ 16 w 16"/>
                    <a:gd name="T7" fmla="*/ 0 h 8"/>
                    <a:gd name="T8" fmla="*/ 16 w 16"/>
                    <a:gd name="T9" fmla="*/ 8 h 8"/>
                    <a:gd name="T10" fmla="*/ 8 w 16"/>
                    <a:gd name="T11" fmla="*/ 8 h 8"/>
                    <a:gd name="T12" fmla="*/ 0 w 1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8"/>
                      </a:moveTo>
                      <a:lnTo>
                        <a:pt x="0" y="0"/>
                      </a:lnTo>
                      <a:lnTo>
                        <a:pt x="8" y="0"/>
                      </a:lnTo>
                      <a:lnTo>
                        <a:pt x="16" y="0"/>
                      </a:lnTo>
                      <a:lnTo>
                        <a:pt x="16" y="8"/>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1" name="Freeform 161"/>
                <p:cNvSpPr>
                  <a:spLocks/>
                </p:cNvSpPr>
                <p:nvPr/>
              </p:nvSpPr>
              <p:spPr bwMode="auto">
                <a:xfrm>
                  <a:off x="4965700" y="2654300"/>
                  <a:ext cx="203200" cy="203200"/>
                </a:xfrm>
                <a:custGeom>
                  <a:avLst/>
                  <a:gdLst>
                    <a:gd name="T0" fmla="*/ 0 w 128"/>
                    <a:gd name="T1" fmla="*/ 96 h 128"/>
                    <a:gd name="T2" fmla="*/ 8 w 128"/>
                    <a:gd name="T3" fmla="*/ 104 h 128"/>
                    <a:gd name="T4" fmla="*/ 16 w 128"/>
                    <a:gd name="T5" fmla="*/ 104 h 128"/>
                    <a:gd name="T6" fmla="*/ 16 w 128"/>
                    <a:gd name="T7" fmla="*/ 120 h 128"/>
                    <a:gd name="T8" fmla="*/ 16 w 128"/>
                    <a:gd name="T9" fmla="*/ 120 h 128"/>
                    <a:gd name="T10" fmla="*/ 24 w 128"/>
                    <a:gd name="T11" fmla="*/ 128 h 128"/>
                    <a:gd name="T12" fmla="*/ 32 w 128"/>
                    <a:gd name="T13" fmla="*/ 120 h 128"/>
                    <a:gd name="T14" fmla="*/ 40 w 128"/>
                    <a:gd name="T15" fmla="*/ 112 h 128"/>
                    <a:gd name="T16" fmla="*/ 56 w 128"/>
                    <a:gd name="T17" fmla="*/ 104 h 128"/>
                    <a:gd name="T18" fmla="*/ 64 w 128"/>
                    <a:gd name="T19" fmla="*/ 96 h 128"/>
                    <a:gd name="T20" fmla="*/ 72 w 128"/>
                    <a:gd name="T21" fmla="*/ 88 h 128"/>
                    <a:gd name="T22" fmla="*/ 80 w 128"/>
                    <a:gd name="T23" fmla="*/ 80 h 128"/>
                    <a:gd name="T24" fmla="*/ 80 w 128"/>
                    <a:gd name="T25" fmla="*/ 96 h 128"/>
                    <a:gd name="T26" fmla="*/ 88 w 128"/>
                    <a:gd name="T27" fmla="*/ 104 h 128"/>
                    <a:gd name="T28" fmla="*/ 96 w 128"/>
                    <a:gd name="T29" fmla="*/ 112 h 128"/>
                    <a:gd name="T30" fmla="*/ 104 w 128"/>
                    <a:gd name="T31" fmla="*/ 120 h 128"/>
                    <a:gd name="T32" fmla="*/ 120 w 128"/>
                    <a:gd name="T33" fmla="*/ 120 h 128"/>
                    <a:gd name="T34" fmla="*/ 128 w 128"/>
                    <a:gd name="T35" fmla="*/ 112 h 128"/>
                    <a:gd name="T36" fmla="*/ 128 w 128"/>
                    <a:gd name="T37" fmla="*/ 96 h 128"/>
                    <a:gd name="T38" fmla="*/ 112 w 128"/>
                    <a:gd name="T39" fmla="*/ 96 h 128"/>
                    <a:gd name="T40" fmla="*/ 104 w 128"/>
                    <a:gd name="T41" fmla="*/ 88 h 128"/>
                    <a:gd name="T42" fmla="*/ 112 w 128"/>
                    <a:gd name="T43" fmla="*/ 80 h 128"/>
                    <a:gd name="T44" fmla="*/ 112 w 128"/>
                    <a:gd name="T45" fmla="*/ 64 h 128"/>
                    <a:gd name="T46" fmla="*/ 96 w 128"/>
                    <a:gd name="T47" fmla="*/ 56 h 128"/>
                    <a:gd name="T48" fmla="*/ 88 w 128"/>
                    <a:gd name="T49" fmla="*/ 48 h 128"/>
                    <a:gd name="T50" fmla="*/ 80 w 128"/>
                    <a:gd name="T51" fmla="*/ 40 h 128"/>
                    <a:gd name="T52" fmla="*/ 72 w 128"/>
                    <a:gd name="T53" fmla="*/ 24 h 128"/>
                    <a:gd name="T54" fmla="*/ 64 w 128"/>
                    <a:gd name="T55" fmla="*/ 16 h 128"/>
                    <a:gd name="T56" fmla="*/ 64 w 128"/>
                    <a:gd name="T57" fmla="*/ 32 h 128"/>
                    <a:gd name="T58" fmla="*/ 56 w 128"/>
                    <a:gd name="T59" fmla="*/ 24 h 128"/>
                    <a:gd name="T60" fmla="*/ 64 w 128"/>
                    <a:gd name="T61" fmla="*/ 16 h 128"/>
                    <a:gd name="T62" fmla="*/ 56 w 128"/>
                    <a:gd name="T63" fmla="*/ 8 h 128"/>
                    <a:gd name="T64" fmla="*/ 64 w 128"/>
                    <a:gd name="T65" fmla="*/ 0 h 128"/>
                    <a:gd name="T66" fmla="*/ 48 w 128"/>
                    <a:gd name="T67" fmla="*/ 0 h 128"/>
                    <a:gd name="T68" fmla="*/ 40 w 128"/>
                    <a:gd name="T69" fmla="*/ 16 h 128"/>
                    <a:gd name="T70" fmla="*/ 32 w 128"/>
                    <a:gd name="T71" fmla="*/ 32 h 128"/>
                    <a:gd name="T72" fmla="*/ 32 w 128"/>
                    <a:gd name="T73" fmla="*/ 40 h 128"/>
                    <a:gd name="T74" fmla="*/ 24 w 128"/>
                    <a:gd name="T75" fmla="*/ 48 h 128"/>
                    <a:gd name="T76" fmla="*/ 16 w 128"/>
                    <a:gd name="T77" fmla="*/ 64 h 128"/>
                    <a:gd name="T78" fmla="*/ 16 w 128"/>
                    <a:gd name="T79" fmla="*/ 80 h 128"/>
                    <a:gd name="T80" fmla="*/ 0 w 128"/>
                    <a:gd name="T81" fmla="*/ 88 h 128"/>
                    <a:gd name="T82" fmla="*/ 0 w 128"/>
                    <a:gd name="T83"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8">
                      <a:moveTo>
                        <a:pt x="0" y="104"/>
                      </a:moveTo>
                      <a:lnTo>
                        <a:pt x="0" y="96"/>
                      </a:lnTo>
                      <a:lnTo>
                        <a:pt x="8" y="96"/>
                      </a:lnTo>
                      <a:lnTo>
                        <a:pt x="8" y="104"/>
                      </a:lnTo>
                      <a:lnTo>
                        <a:pt x="16" y="96"/>
                      </a:lnTo>
                      <a:lnTo>
                        <a:pt x="16" y="104"/>
                      </a:lnTo>
                      <a:lnTo>
                        <a:pt x="16" y="112"/>
                      </a:lnTo>
                      <a:lnTo>
                        <a:pt x="16" y="120"/>
                      </a:lnTo>
                      <a:lnTo>
                        <a:pt x="16" y="128"/>
                      </a:lnTo>
                      <a:lnTo>
                        <a:pt x="16" y="120"/>
                      </a:lnTo>
                      <a:lnTo>
                        <a:pt x="16" y="128"/>
                      </a:lnTo>
                      <a:lnTo>
                        <a:pt x="24" y="128"/>
                      </a:lnTo>
                      <a:lnTo>
                        <a:pt x="24" y="120"/>
                      </a:lnTo>
                      <a:lnTo>
                        <a:pt x="32" y="120"/>
                      </a:lnTo>
                      <a:lnTo>
                        <a:pt x="40" y="120"/>
                      </a:lnTo>
                      <a:lnTo>
                        <a:pt x="40" y="112"/>
                      </a:lnTo>
                      <a:lnTo>
                        <a:pt x="48" y="104"/>
                      </a:lnTo>
                      <a:lnTo>
                        <a:pt x="56" y="104"/>
                      </a:lnTo>
                      <a:lnTo>
                        <a:pt x="64" y="104"/>
                      </a:lnTo>
                      <a:lnTo>
                        <a:pt x="64" y="96"/>
                      </a:lnTo>
                      <a:lnTo>
                        <a:pt x="64" y="88"/>
                      </a:lnTo>
                      <a:lnTo>
                        <a:pt x="72" y="88"/>
                      </a:lnTo>
                      <a:lnTo>
                        <a:pt x="72" y="80"/>
                      </a:lnTo>
                      <a:lnTo>
                        <a:pt x="80" y="80"/>
                      </a:lnTo>
                      <a:lnTo>
                        <a:pt x="80" y="88"/>
                      </a:lnTo>
                      <a:lnTo>
                        <a:pt x="80" y="96"/>
                      </a:lnTo>
                      <a:lnTo>
                        <a:pt x="88" y="96"/>
                      </a:lnTo>
                      <a:lnTo>
                        <a:pt x="88" y="104"/>
                      </a:lnTo>
                      <a:lnTo>
                        <a:pt x="88" y="112"/>
                      </a:lnTo>
                      <a:lnTo>
                        <a:pt x="96" y="112"/>
                      </a:lnTo>
                      <a:lnTo>
                        <a:pt x="104" y="112"/>
                      </a:lnTo>
                      <a:lnTo>
                        <a:pt x="104" y="120"/>
                      </a:lnTo>
                      <a:lnTo>
                        <a:pt x="112" y="120"/>
                      </a:lnTo>
                      <a:lnTo>
                        <a:pt x="120" y="120"/>
                      </a:lnTo>
                      <a:lnTo>
                        <a:pt x="120" y="112"/>
                      </a:lnTo>
                      <a:lnTo>
                        <a:pt x="128" y="112"/>
                      </a:lnTo>
                      <a:lnTo>
                        <a:pt x="128" y="104"/>
                      </a:lnTo>
                      <a:lnTo>
                        <a:pt x="128" y="96"/>
                      </a:lnTo>
                      <a:lnTo>
                        <a:pt x="120" y="96"/>
                      </a:lnTo>
                      <a:lnTo>
                        <a:pt x="112" y="96"/>
                      </a:lnTo>
                      <a:lnTo>
                        <a:pt x="104" y="96"/>
                      </a:lnTo>
                      <a:lnTo>
                        <a:pt x="104" y="88"/>
                      </a:lnTo>
                      <a:lnTo>
                        <a:pt x="112" y="88"/>
                      </a:lnTo>
                      <a:lnTo>
                        <a:pt x="112" y="80"/>
                      </a:lnTo>
                      <a:lnTo>
                        <a:pt x="112" y="72"/>
                      </a:lnTo>
                      <a:lnTo>
                        <a:pt x="112" y="64"/>
                      </a:lnTo>
                      <a:lnTo>
                        <a:pt x="104" y="64"/>
                      </a:lnTo>
                      <a:lnTo>
                        <a:pt x="96" y="56"/>
                      </a:lnTo>
                      <a:lnTo>
                        <a:pt x="96" y="48"/>
                      </a:lnTo>
                      <a:lnTo>
                        <a:pt x="88" y="48"/>
                      </a:lnTo>
                      <a:lnTo>
                        <a:pt x="88" y="40"/>
                      </a:lnTo>
                      <a:lnTo>
                        <a:pt x="80" y="40"/>
                      </a:lnTo>
                      <a:lnTo>
                        <a:pt x="72" y="32"/>
                      </a:lnTo>
                      <a:lnTo>
                        <a:pt x="72" y="24"/>
                      </a:lnTo>
                      <a:lnTo>
                        <a:pt x="72" y="16"/>
                      </a:lnTo>
                      <a:lnTo>
                        <a:pt x="64" y="16"/>
                      </a:lnTo>
                      <a:lnTo>
                        <a:pt x="64" y="24"/>
                      </a:lnTo>
                      <a:lnTo>
                        <a:pt x="64" y="32"/>
                      </a:lnTo>
                      <a:lnTo>
                        <a:pt x="56" y="32"/>
                      </a:lnTo>
                      <a:lnTo>
                        <a:pt x="56" y="24"/>
                      </a:lnTo>
                      <a:lnTo>
                        <a:pt x="56" y="16"/>
                      </a:lnTo>
                      <a:lnTo>
                        <a:pt x="64" y="16"/>
                      </a:lnTo>
                      <a:lnTo>
                        <a:pt x="64" y="8"/>
                      </a:lnTo>
                      <a:lnTo>
                        <a:pt x="56" y="8"/>
                      </a:lnTo>
                      <a:lnTo>
                        <a:pt x="56" y="0"/>
                      </a:lnTo>
                      <a:lnTo>
                        <a:pt x="64" y="0"/>
                      </a:lnTo>
                      <a:lnTo>
                        <a:pt x="56" y="0"/>
                      </a:lnTo>
                      <a:lnTo>
                        <a:pt x="48" y="0"/>
                      </a:lnTo>
                      <a:lnTo>
                        <a:pt x="48" y="8"/>
                      </a:lnTo>
                      <a:lnTo>
                        <a:pt x="40" y="16"/>
                      </a:lnTo>
                      <a:lnTo>
                        <a:pt x="32" y="24"/>
                      </a:lnTo>
                      <a:lnTo>
                        <a:pt x="32" y="32"/>
                      </a:lnTo>
                      <a:lnTo>
                        <a:pt x="24" y="40"/>
                      </a:lnTo>
                      <a:lnTo>
                        <a:pt x="32" y="40"/>
                      </a:lnTo>
                      <a:lnTo>
                        <a:pt x="24" y="40"/>
                      </a:lnTo>
                      <a:lnTo>
                        <a:pt x="24" y="48"/>
                      </a:lnTo>
                      <a:lnTo>
                        <a:pt x="16" y="56"/>
                      </a:lnTo>
                      <a:lnTo>
                        <a:pt x="16" y="64"/>
                      </a:lnTo>
                      <a:lnTo>
                        <a:pt x="16" y="72"/>
                      </a:lnTo>
                      <a:lnTo>
                        <a:pt x="16" y="80"/>
                      </a:lnTo>
                      <a:lnTo>
                        <a:pt x="8" y="80"/>
                      </a:lnTo>
                      <a:lnTo>
                        <a:pt x="0" y="88"/>
                      </a:lnTo>
                      <a:lnTo>
                        <a:pt x="0" y="96"/>
                      </a:lnTo>
                      <a:lnTo>
                        <a:pt x="0" y="10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2" name="Freeform 162"/>
                <p:cNvSpPr>
                  <a:spLocks/>
                </p:cNvSpPr>
                <p:nvPr/>
              </p:nvSpPr>
              <p:spPr bwMode="auto">
                <a:xfrm>
                  <a:off x="5016500" y="2882900"/>
                  <a:ext cx="88900" cy="50800"/>
                </a:xfrm>
                <a:custGeom>
                  <a:avLst/>
                  <a:gdLst>
                    <a:gd name="T0" fmla="*/ 8 w 56"/>
                    <a:gd name="T1" fmla="*/ 32 h 32"/>
                    <a:gd name="T2" fmla="*/ 16 w 56"/>
                    <a:gd name="T3" fmla="*/ 24 h 32"/>
                    <a:gd name="T4" fmla="*/ 24 w 56"/>
                    <a:gd name="T5" fmla="*/ 32 h 32"/>
                    <a:gd name="T6" fmla="*/ 32 w 56"/>
                    <a:gd name="T7" fmla="*/ 24 h 32"/>
                    <a:gd name="T8" fmla="*/ 40 w 56"/>
                    <a:gd name="T9" fmla="*/ 16 h 32"/>
                    <a:gd name="T10" fmla="*/ 48 w 56"/>
                    <a:gd name="T11" fmla="*/ 16 h 32"/>
                    <a:gd name="T12" fmla="*/ 48 w 56"/>
                    <a:gd name="T13" fmla="*/ 8 h 32"/>
                    <a:gd name="T14" fmla="*/ 56 w 56"/>
                    <a:gd name="T15" fmla="*/ 0 h 32"/>
                    <a:gd name="T16" fmla="*/ 48 w 56"/>
                    <a:gd name="T17" fmla="*/ 0 h 32"/>
                    <a:gd name="T18" fmla="*/ 40 w 56"/>
                    <a:gd name="T19" fmla="*/ 0 h 32"/>
                    <a:gd name="T20" fmla="*/ 32 w 56"/>
                    <a:gd name="T21" fmla="*/ 0 h 32"/>
                    <a:gd name="T22" fmla="*/ 24 w 56"/>
                    <a:gd name="T23" fmla="*/ 0 h 32"/>
                    <a:gd name="T24" fmla="*/ 16 w 56"/>
                    <a:gd name="T25" fmla="*/ 8 h 32"/>
                    <a:gd name="T26" fmla="*/ 0 w 56"/>
                    <a:gd name="T27" fmla="*/ 16 h 32"/>
                    <a:gd name="T28" fmla="*/ 8 w 56"/>
                    <a:gd name="T29" fmla="*/ 16 h 32"/>
                    <a:gd name="T30" fmla="*/ 8 w 56"/>
                    <a:gd name="T31" fmla="*/ 24 h 32"/>
                    <a:gd name="T32" fmla="*/ 8 w 56"/>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32">
                      <a:moveTo>
                        <a:pt x="8" y="32"/>
                      </a:moveTo>
                      <a:lnTo>
                        <a:pt x="16" y="24"/>
                      </a:lnTo>
                      <a:lnTo>
                        <a:pt x="24" y="32"/>
                      </a:lnTo>
                      <a:lnTo>
                        <a:pt x="32" y="24"/>
                      </a:lnTo>
                      <a:lnTo>
                        <a:pt x="40" y="16"/>
                      </a:lnTo>
                      <a:lnTo>
                        <a:pt x="48" y="16"/>
                      </a:lnTo>
                      <a:lnTo>
                        <a:pt x="48" y="8"/>
                      </a:lnTo>
                      <a:lnTo>
                        <a:pt x="56" y="0"/>
                      </a:lnTo>
                      <a:lnTo>
                        <a:pt x="48" y="0"/>
                      </a:lnTo>
                      <a:lnTo>
                        <a:pt x="40" y="0"/>
                      </a:lnTo>
                      <a:lnTo>
                        <a:pt x="32" y="0"/>
                      </a:lnTo>
                      <a:lnTo>
                        <a:pt x="24" y="0"/>
                      </a:lnTo>
                      <a:lnTo>
                        <a:pt x="16" y="8"/>
                      </a:lnTo>
                      <a:lnTo>
                        <a:pt x="0" y="16"/>
                      </a:lnTo>
                      <a:lnTo>
                        <a:pt x="8" y="16"/>
                      </a:lnTo>
                      <a:lnTo>
                        <a:pt x="8" y="24"/>
                      </a:lnTo>
                      <a:lnTo>
                        <a:pt x="8"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3" name="Freeform 163"/>
                <p:cNvSpPr>
                  <a:spLocks/>
                </p:cNvSpPr>
                <p:nvPr/>
              </p:nvSpPr>
              <p:spPr bwMode="auto">
                <a:xfrm>
                  <a:off x="5651500" y="2971800"/>
                  <a:ext cx="25400" cy="12700"/>
                </a:xfrm>
                <a:custGeom>
                  <a:avLst/>
                  <a:gdLst>
                    <a:gd name="T0" fmla="*/ 0 w 16"/>
                    <a:gd name="T1" fmla="*/ 8 h 8"/>
                    <a:gd name="T2" fmla="*/ 8 w 16"/>
                    <a:gd name="T3" fmla="*/ 8 h 8"/>
                    <a:gd name="T4" fmla="*/ 16 w 16"/>
                    <a:gd name="T5" fmla="*/ 8 h 8"/>
                    <a:gd name="T6" fmla="*/ 16 w 16"/>
                    <a:gd name="T7" fmla="*/ 0 h 8"/>
                    <a:gd name="T8" fmla="*/ 8 w 16"/>
                    <a:gd name="T9" fmla="*/ 0 h 8"/>
                    <a:gd name="T10" fmla="*/ 0 w 16"/>
                    <a:gd name="T11" fmla="*/ 8 h 8"/>
                  </a:gdLst>
                  <a:ahLst/>
                  <a:cxnLst>
                    <a:cxn ang="0">
                      <a:pos x="T0" y="T1"/>
                    </a:cxn>
                    <a:cxn ang="0">
                      <a:pos x="T2" y="T3"/>
                    </a:cxn>
                    <a:cxn ang="0">
                      <a:pos x="T4" y="T5"/>
                    </a:cxn>
                    <a:cxn ang="0">
                      <a:pos x="T6" y="T7"/>
                    </a:cxn>
                    <a:cxn ang="0">
                      <a:pos x="T8" y="T9"/>
                    </a:cxn>
                    <a:cxn ang="0">
                      <a:pos x="T10" y="T11"/>
                    </a:cxn>
                  </a:cxnLst>
                  <a:rect l="0" t="0" r="r" b="b"/>
                  <a:pathLst>
                    <a:path w="16" h="8">
                      <a:moveTo>
                        <a:pt x="0" y="8"/>
                      </a:moveTo>
                      <a:lnTo>
                        <a:pt x="8" y="8"/>
                      </a:lnTo>
                      <a:lnTo>
                        <a:pt x="16" y="8"/>
                      </a:lnTo>
                      <a:lnTo>
                        <a:pt x="16"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4" name="Freeform 164"/>
                <p:cNvSpPr>
                  <a:spLocks/>
                </p:cNvSpPr>
                <p:nvPr/>
              </p:nvSpPr>
              <p:spPr bwMode="auto">
                <a:xfrm>
                  <a:off x="5461000" y="2933700"/>
                  <a:ext cx="25400" cy="12700"/>
                </a:xfrm>
                <a:custGeom>
                  <a:avLst/>
                  <a:gdLst>
                    <a:gd name="T0" fmla="*/ 0 w 16"/>
                    <a:gd name="T1" fmla="*/ 0 h 8"/>
                    <a:gd name="T2" fmla="*/ 8 w 16"/>
                    <a:gd name="T3" fmla="*/ 0 h 8"/>
                    <a:gd name="T4" fmla="*/ 8 w 16"/>
                    <a:gd name="T5" fmla="*/ 8 h 8"/>
                    <a:gd name="T6" fmla="*/ 16 w 16"/>
                    <a:gd name="T7" fmla="*/ 8 h 8"/>
                    <a:gd name="T8" fmla="*/ 8 w 16"/>
                    <a:gd name="T9" fmla="*/ 0 h 8"/>
                    <a:gd name="T10" fmla="*/ 0 w 16"/>
                    <a:gd name="T11" fmla="*/ 0 h 8"/>
                  </a:gdLst>
                  <a:ahLst/>
                  <a:cxnLst>
                    <a:cxn ang="0">
                      <a:pos x="T0" y="T1"/>
                    </a:cxn>
                    <a:cxn ang="0">
                      <a:pos x="T2" y="T3"/>
                    </a:cxn>
                    <a:cxn ang="0">
                      <a:pos x="T4" y="T5"/>
                    </a:cxn>
                    <a:cxn ang="0">
                      <a:pos x="T6" y="T7"/>
                    </a:cxn>
                    <a:cxn ang="0">
                      <a:pos x="T8" y="T9"/>
                    </a:cxn>
                    <a:cxn ang="0">
                      <a:pos x="T10" y="T11"/>
                    </a:cxn>
                  </a:cxnLst>
                  <a:rect l="0" t="0" r="r" b="b"/>
                  <a:pathLst>
                    <a:path w="16" h="8">
                      <a:moveTo>
                        <a:pt x="0" y="0"/>
                      </a:moveTo>
                      <a:lnTo>
                        <a:pt x="8" y="0"/>
                      </a:lnTo>
                      <a:lnTo>
                        <a:pt x="8" y="8"/>
                      </a:lnTo>
                      <a:lnTo>
                        <a:pt x="16"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5" name="Freeform 165"/>
                <p:cNvSpPr>
                  <a:spLocks/>
                </p:cNvSpPr>
                <p:nvPr/>
              </p:nvSpPr>
              <p:spPr bwMode="auto">
                <a:xfrm>
                  <a:off x="5638800" y="3009900"/>
                  <a:ext cx="12700" cy="25400"/>
                </a:xfrm>
                <a:custGeom>
                  <a:avLst/>
                  <a:gdLst>
                    <a:gd name="T0" fmla="*/ 8 w 8"/>
                    <a:gd name="T1" fmla="*/ 16 h 16"/>
                    <a:gd name="T2" fmla="*/ 0 w 8"/>
                    <a:gd name="T3" fmla="*/ 8 h 16"/>
                    <a:gd name="T4" fmla="*/ 0 w 8"/>
                    <a:gd name="T5" fmla="*/ 0 h 16"/>
                    <a:gd name="T6" fmla="*/ 0 w 8"/>
                    <a:gd name="T7" fmla="*/ 8 h 16"/>
                    <a:gd name="T8" fmla="*/ 8 w 8"/>
                    <a:gd name="T9" fmla="*/ 8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lnTo>
                        <a:pt x="0" y="8"/>
                      </a:lnTo>
                      <a:lnTo>
                        <a:pt x="0" y="0"/>
                      </a:lnTo>
                      <a:lnTo>
                        <a:pt x="0" y="8"/>
                      </a:lnTo>
                      <a:lnTo>
                        <a:pt x="8" y="8"/>
                      </a:lnTo>
                      <a:lnTo>
                        <a:pt x="8"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6" name="Freeform 166"/>
                <p:cNvSpPr>
                  <a:spLocks/>
                </p:cNvSpPr>
                <p:nvPr/>
              </p:nvSpPr>
              <p:spPr bwMode="auto">
                <a:xfrm>
                  <a:off x="5626100" y="3035300"/>
                  <a:ext cx="25400" cy="25400"/>
                </a:xfrm>
                <a:custGeom>
                  <a:avLst/>
                  <a:gdLst>
                    <a:gd name="T0" fmla="*/ 8 w 16"/>
                    <a:gd name="T1" fmla="*/ 16 h 16"/>
                    <a:gd name="T2" fmla="*/ 8 w 16"/>
                    <a:gd name="T3" fmla="*/ 8 h 16"/>
                    <a:gd name="T4" fmla="*/ 0 w 16"/>
                    <a:gd name="T5" fmla="*/ 8 h 16"/>
                    <a:gd name="T6" fmla="*/ 0 w 16"/>
                    <a:gd name="T7" fmla="*/ 0 h 16"/>
                    <a:gd name="T8" fmla="*/ 8 w 16"/>
                    <a:gd name="T9" fmla="*/ 0 h 16"/>
                    <a:gd name="T10" fmla="*/ 16 w 16"/>
                    <a:gd name="T11" fmla="*/ 0 h 16"/>
                    <a:gd name="T12" fmla="*/ 16 w 16"/>
                    <a:gd name="T13" fmla="*/ 8 h 16"/>
                    <a:gd name="T14" fmla="*/ 8 w 16"/>
                    <a:gd name="T15" fmla="*/ 8 h 16"/>
                    <a:gd name="T16" fmla="*/ 8 w 16"/>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16"/>
                      </a:moveTo>
                      <a:lnTo>
                        <a:pt x="8" y="8"/>
                      </a:lnTo>
                      <a:lnTo>
                        <a:pt x="0" y="8"/>
                      </a:lnTo>
                      <a:lnTo>
                        <a:pt x="0" y="0"/>
                      </a:lnTo>
                      <a:lnTo>
                        <a:pt x="8" y="0"/>
                      </a:lnTo>
                      <a:lnTo>
                        <a:pt x="16" y="0"/>
                      </a:lnTo>
                      <a:lnTo>
                        <a:pt x="16" y="8"/>
                      </a:lnTo>
                      <a:lnTo>
                        <a:pt x="8" y="8"/>
                      </a:lnTo>
                      <a:lnTo>
                        <a:pt x="8"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7" name="Rectangle 167"/>
                <p:cNvSpPr>
                  <a:spLocks noChangeArrowheads="1"/>
                </p:cNvSpPr>
                <p:nvPr/>
              </p:nvSpPr>
              <p:spPr bwMode="auto">
                <a:xfrm>
                  <a:off x="5448300" y="31750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38" name="Freeform 168"/>
                <p:cNvSpPr>
                  <a:spLocks/>
                </p:cNvSpPr>
                <p:nvPr/>
              </p:nvSpPr>
              <p:spPr bwMode="auto">
                <a:xfrm>
                  <a:off x="5499100" y="3086100"/>
                  <a:ext cx="25400" cy="25400"/>
                </a:xfrm>
                <a:custGeom>
                  <a:avLst/>
                  <a:gdLst>
                    <a:gd name="T0" fmla="*/ 0 w 16"/>
                    <a:gd name="T1" fmla="*/ 16 h 16"/>
                    <a:gd name="T2" fmla="*/ 8 w 16"/>
                    <a:gd name="T3" fmla="*/ 8 h 16"/>
                    <a:gd name="T4" fmla="*/ 8 w 16"/>
                    <a:gd name="T5" fmla="*/ 0 h 16"/>
                    <a:gd name="T6" fmla="*/ 16 w 16"/>
                    <a:gd name="T7" fmla="*/ 0 h 16"/>
                    <a:gd name="T8" fmla="*/ 16 w 16"/>
                    <a:gd name="T9" fmla="*/ 8 h 16"/>
                    <a:gd name="T10" fmla="*/ 16 w 16"/>
                    <a:gd name="T11" fmla="*/ 16 h 16"/>
                    <a:gd name="T12" fmla="*/ 8 w 16"/>
                    <a:gd name="T13" fmla="*/ 16 h 16"/>
                    <a:gd name="T14" fmla="*/ 0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0" y="16"/>
                      </a:moveTo>
                      <a:lnTo>
                        <a:pt x="8" y="8"/>
                      </a:lnTo>
                      <a:lnTo>
                        <a:pt x="8" y="0"/>
                      </a:lnTo>
                      <a:lnTo>
                        <a:pt x="16" y="0"/>
                      </a:lnTo>
                      <a:lnTo>
                        <a:pt x="16" y="8"/>
                      </a:lnTo>
                      <a:lnTo>
                        <a:pt x="16" y="16"/>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39" name="Freeform 169"/>
                <p:cNvSpPr>
                  <a:spLocks/>
                </p:cNvSpPr>
                <p:nvPr/>
              </p:nvSpPr>
              <p:spPr bwMode="auto">
                <a:xfrm>
                  <a:off x="5334000" y="2921000"/>
                  <a:ext cx="25400" cy="12700"/>
                </a:xfrm>
                <a:custGeom>
                  <a:avLst/>
                  <a:gdLst>
                    <a:gd name="T0" fmla="*/ 0 w 16"/>
                    <a:gd name="T1" fmla="*/ 0 h 8"/>
                    <a:gd name="T2" fmla="*/ 8 w 16"/>
                    <a:gd name="T3" fmla="*/ 0 h 8"/>
                    <a:gd name="T4" fmla="*/ 8 w 16"/>
                    <a:gd name="T5" fmla="*/ 8 h 8"/>
                    <a:gd name="T6" fmla="*/ 16 w 16"/>
                    <a:gd name="T7" fmla="*/ 8 h 8"/>
                    <a:gd name="T8" fmla="*/ 8 w 16"/>
                    <a:gd name="T9" fmla="*/ 8 h 8"/>
                    <a:gd name="T10" fmla="*/ 8 w 16"/>
                    <a:gd name="T11" fmla="*/ 0 h 8"/>
                    <a:gd name="T12" fmla="*/ 0 w 1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6" h="8">
                      <a:moveTo>
                        <a:pt x="0" y="0"/>
                      </a:moveTo>
                      <a:lnTo>
                        <a:pt x="8" y="0"/>
                      </a:lnTo>
                      <a:lnTo>
                        <a:pt x="8" y="8"/>
                      </a:lnTo>
                      <a:lnTo>
                        <a:pt x="16" y="8"/>
                      </a:lnTo>
                      <a:lnTo>
                        <a:pt x="8"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0" name="Freeform 170"/>
                <p:cNvSpPr>
                  <a:spLocks/>
                </p:cNvSpPr>
                <p:nvPr/>
              </p:nvSpPr>
              <p:spPr bwMode="auto">
                <a:xfrm>
                  <a:off x="5257800" y="2844800"/>
                  <a:ext cx="38100" cy="25400"/>
                </a:xfrm>
                <a:custGeom>
                  <a:avLst/>
                  <a:gdLst>
                    <a:gd name="T0" fmla="*/ 8 w 24"/>
                    <a:gd name="T1" fmla="*/ 16 h 16"/>
                    <a:gd name="T2" fmla="*/ 16 w 24"/>
                    <a:gd name="T3" fmla="*/ 16 h 16"/>
                    <a:gd name="T4" fmla="*/ 24 w 24"/>
                    <a:gd name="T5" fmla="*/ 16 h 16"/>
                    <a:gd name="T6" fmla="*/ 16 w 24"/>
                    <a:gd name="T7" fmla="*/ 8 h 16"/>
                    <a:gd name="T8" fmla="*/ 24 w 24"/>
                    <a:gd name="T9" fmla="*/ 8 h 16"/>
                    <a:gd name="T10" fmla="*/ 16 w 24"/>
                    <a:gd name="T11" fmla="*/ 8 h 16"/>
                    <a:gd name="T12" fmla="*/ 16 w 24"/>
                    <a:gd name="T13" fmla="*/ 0 h 16"/>
                    <a:gd name="T14" fmla="*/ 8 w 24"/>
                    <a:gd name="T15" fmla="*/ 0 h 16"/>
                    <a:gd name="T16" fmla="*/ 0 w 24"/>
                    <a:gd name="T17" fmla="*/ 0 h 16"/>
                    <a:gd name="T18" fmla="*/ 8 w 24"/>
                    <a:gd name="T19" fmla="*/ 8 h 16"/>
                    <a:gd name="T20" fmla="*/ 8 w 2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
                      <a:moveTo>
                        <a:pt x="8" y="16"/>
                      </a:moveTo>
                      <a:lnTo>
                        <a:pt x="16" y="16"/>
                      </a:lnTo>
                      <a:lnTo>
                        <a:pt x="24" y="16"/>
                      </a:lnTo>
                      <a:lnTo>
                        <a:pt x="16" y="8"/>
                      </a:lnTo>
                      <a:lnTo>
                        <a:pt x="24" y="8"/>
                      </a:lnTo>
                      <a:lnTo>
                        <a:pt x="16" y="8"/>
                      </a:lnTo>
                      <a:lnTo>
                        <a:pt x="16" y="0"/>
                      </a:lnTo>
                      <a:lnTo>
                        <a:pt x="8" y="0"/>
                      </a:lnTo>
                      <a:lnTo>
                        <a:pt x="0" y="0"/>
                      </a:lnTo>
                      <a:lnTo>
                        <a:pt x="8" y="8"/>
                      </a:lnTo>
                      <a:lnTo>
                        <a:pt x="8"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1" name="Freeform 171"/>
                <p:cNvSpPr>
                  <a:spLocks/>
                </p:cNvSpPr>
                <p:nvPr/>
              </p:nvSpPr>
              <p:spPr bwMode="auto">
                <a:xfrm>
                  <a:off x="5219700" y="2857500"/>
                  <a:ext cx="38100" cy="25400"/>
                </a:xfrm>
                <a:custGeom>
                  <a:avLst/>
                  <a:gdLst>
                    <a:gd name="T0" fmla="*/ 8 w 24"/>
                    <a:gd name="T1" fmla="*/ 16 h 16"/>
                    <a:gd name="T2" fmla="*/ 16 w 24"/>
                    <a:gd name="T3" fmla="*/ 16 h 16"/>
                    <a:gd name="T4" fmla="*/ 24 w 24"/>
                    <a:gd name="T5" fmla="*/ 16 h 16"/>
                    <a:gd name="T6" fmla="*/ 24 w 24"/>
                    <a:gd name="T7" fmla="*/ 8 h 16"/>
                    <a:gd name="T8" fmla="*/ 16 w 24"/>
                    <a:gd name="T9" fmla="*/ 0 h 16"/>
                    <a:gd name="T10" fmla="*/ 8 w 24"/>
                    <a:gd name="T11" fmla="*/ 0 h 16"/>
                    <a:gd name="T12" fmla="*/ 0 w 24"/>
                    <a:gd name="T13" fmla="*/ 0 h 16"/>
                    <a:gd name="T14" fmla="*/ 0 w 24"/>
                    <a:gd name="T15" fmla="*/ 8 h 16"/>
                    <a:gd name="T16" fmla="*/ 8 w 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
                      <a:moveTo>
                        <a:pt x="8" y="16"/>
                      </a:moveTo>
                      <a:lnTo>
                        <a:pt x="16" y="16"/>
                      </a:lnTo>
                      <a:lnTo>
                        <a:pt x="24" y="16"/>
                      </a:lnTo>
                      <a:lnTo>
                        <a:pt x="24" y="8"/>
                      </a:lnTo>
                      <a:lnTo>
                        <a:pt x="16" y="0"/>
                      </a:lnTo>
                      <a:lnTo>
                        <a:pt x="8" y="0"/>
                      </a:lnTo>
                      <a:lnTo>
                        <a:pt x="0" y="0"/>
                      </a:lnTo>
                      <a:lnTo>
                        <a:pt x="0" y="8"/>
                      </a:lnTo>
                      <a:lnTo>
                        <a:pt x="8"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2" name="Freeform 172"/>
                <p:cNvSpPr>
                  <a:spLocks/>
                </p:cNvSpPr>
                <p:nvPr/>
              </p:nvSpPr>
              <p:spPr bwMode="auto">
                <a:xfrm>
                  <a:off x="5219700" y="2921000"/>
                  <a:ext cx="12700" cy="1588"/>
                </a:xfrm>
                <a:custGeom>
                  <a:avLst/>
                  <a:gdLst>
                    <a:gd name="T0" fmla="*/ 8 w 8"/>
                    <a:gd name="T1" fmla="*/ 0 w 8"/>
                    <a:gd name="T2" fmla="*/ 8 w 8"/>
                  </a:gdLst>
                  <a:ahLst/>
                  <a:cxnLst>
                    <a:cxn ang="0">
                      <a:pos x="T0" y="0"/>
                    </a:cxn>
                    <a:cxn ang="0">
                      <a:pos x="T1" y="0"/>
                    </a:cxn>
                    <a:cxn ang="0">
                      <a:pos x="T2" y="0"/>
                    </a:cxn>
                  </a:cxnLst>
                  <a:rect l="0" t="0" r="r" b="b"/>
                  <a:pathLst>
                    <a:path w="8">
                      <a:moveTo>
                        <a:pt x="8" y="0"/>
                      </a:moveTo>
                      <a:lnTo>
                        <a:pt x="0" y="0"/>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3" name="Freeform 173"/>
                <p:cNvSpPr>
                  <a:spLocks/>
                </p:cNvSpPr>
                <p:nvPr/>
              </p:nvSpPr>
              <p:spPr bwMode="auto">
                <a:xfrm>
                  <a:off x="5130800" y="2921000"/>
                  <a:ext cx="38100" cy="63500"/>
                </a:xfrm>
                <a:custGeom>
                  <a:avLst/>
                  <a:gdLst>
                    <a:gd name="T0" fmla="*/ 8 w 24"/>
                    <a:gd name="T1" fmla="*/ 40 h 40"/>
                    <a:gd name="T2" fmla="*/ 8 w 24"/>
                    <a:gd name="T3" fmla="*/ 32 h 40"/>
                    <a:gd name="T4" fmla="*/ 16 w 24"/>
                    <a:gd name="T5" fmla="*/ 32 h 40"/>
                    <a:gd name="T6" fmla="*/ 8 w 24"/>
                    <a:gd name="T7" fmla="*/ 32 h 40"/>
                    <a:gd name="T8" fmla="*/ 16 w 24"/>
                    <a:gd name="T9" fmla="*/ 24 h 40"/>
                    <a:gd name="T10" fmla="*/ 16 w 24"/>
                    <a:gd name="T11" fmla="*/ 16 h 40"/>
                    <a:gd name="T12" fmla="*/ 24 w 24"/>
                    <a:gd name="T13" fmla="*/ 16 h 40"/>
                    <a:gd name="T14" fmla="*/ 24 w 24"/>
                    <a:gd name="T15" fmla="*/ 8 h 40"/>
                    <a:gd name="T16" fmla="*/ 24 w 24"/>
                    <a:gd name="T17" fmla="*/ 0 h 40"/>
                    <a:gd name="T18" fmla="*/ 16 w 24"/>
                    <a:gd name="T19" fmla="*/ 0 h 40"/>
                    <a:gd name="T20" fmla="*/ 8 w 24"/>
                    <a:gd name="T21" fmla="*/ 8 h 40"/>
                    <a:gd name="T22" fmla="*/ 0 w 24"/>
                    <a:gd name="T23" fmla="*/ 16 h 40"/>
                    <a:gd name="T24" fmla="*/ 8 w 24"/>
                    <a:gd name="T25" fmla="*/ 16 h 40"/>
                    <a:gd name="T26" fmla="*/ 0 w 24"/>
                    <a:gd name="T27" fmla="*/ 16 h 40"/>
                    <a:gd name="T28" fmla="*/ 0 w 24"/>
                    <a:gd name="T29" fmla="*/ 24 h 40"/>
                    <a:gd name="T30" fmla="*/ 0 w 24"/>
                    <a:gd name="T31" fmla="*/ 32 h 40"/>
                    <a:gd name="T32" fmla="*/ 8 w 24"/>
                    <a:gd name="T33" fmla="*/ 32 h 40"/>
                    <a:gd name="T34" fmla="*/ 8 w 24"/>
                    <a:gd name="T3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40">
                      <a:moveTo>
                        <a:pt x="8" y="40"/>
                      </a:moveTo>
                      <a:lnTo>
                        <a:pt x="8" y="32"/>
                      </a:lnTo>
                      <a:lnTo>
                        <a:pt x="16" y="32"/>
                      </a:lnTo>
                      <a:lnTo>
                        <a:pt x="8" y="32"/>
                      </a:lnTo>
                      <a:lnTo>
                        <a:pt x="16" y="24"/>
                      </a:lnTo>
                      <a:lnTo>
                        <a:pt x="16" y="16"/>
                      </a:lnTo>
                      <a:lnTo>
                        <a:pt x="24" y="16"/>
                      </a:lnTo>
                      <a:lnTo>
                        <a:pt x="24" y="8"/>
                      </a:lnTo>
                      <a:lnTo>
                        <a:pt x="24" y="0"/>
                      </a:lnTo>
                      <a:lnTo>
                        <a:pt x="16" y="0"/>
                      </a:lnTo>
                      <a:lnTo>
                        <a:pt x="8" y="8"/>
                      </a:lnTo>
                      <a:lnTo>
                        <a:pt x="0" y="16"/>
                      </a:lnTo>
                      <a:lnTo>
                        <a:pt x="8" y="16"/>
                      </a:lnTo>
                      <a:lnTo>
                        <a:pt x="0" y="16"/>
                      </a:lnTo>
                      <a:lnTo>
                        <a:pt x="0" y="24"/>
                      </a:lnTo>
                      <a:lnTo>
                        <a:pt x="0" y="32"/>
                      </a:lnTo>
                      <a:lnTo>
                        <a:pt x="8" y="32"/>
                      </a:lnTo>
                      <a:lnTo>
                        <a:pt x="8" y="4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4" name="Freeform 174"/>
                <p:cNvSpPr>
                  <a:spLocks/>
                </p:cNvSpPr>
                <p:nvPr/>
              </p:nvSpPr>
              <p:spPr bwMode="auto">
                <a:xfrm>
                  <a:off x="5067300" y="33020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5" name="Freeform 175"/>
                <p:cNvSpPr>
                  <a:spLocks/>
                </p:cNvSpPr>
                <p:nvPr/>
              </p:nvSpPr>
              <p:spPr bwMode="auto">
                <a:xfrm>
                  <a:off x="5067300" y="3327400"/>
                  <a:ext cx="12700" cy="12700"/>
                </a:xfrm>
                <a:custGeom>
                  <a:avLst/>
                  <a:gdLst>
                    <a:gd name="T0" fmla="*/ 0 w 8"/>
                    <a:gd name="T1" fmla="*/ 8 h 8"/>
                    <a:gd name="T2" fmla="*/ 8 w 8"/>
                    <a:gd name="T3" fmla="*/ 8 h 8"/>
                    <a:gd name="T4" fmla="*/ 8 w 8"/>
                    <a:gd name="T5" fmla="*/ 0 h 8"/>
                    <a:gd name="T6" fmla="*/ 8 w 8"/>
                    <a:gd name="T7" fmla="*/ 8 h 8"/>
                    <a:gd name="T8" fmla="*/ 0 w 8"/>
                    <a:gd name="T9" fmla="*/ 8 h 8"/>
                  </a:gdLst>
                  <a:ahLst/>
                  <a:cxnLst>
                    <a:cxn ang="0">
                      <a:pos x="T0" y="T1"/>
                    </a:cxn>
                    <a:cxn ang="0">
                      <a:pos x="T2" y="T3"/>
                    </a:cxn>
                    <a:cxn ang="0">
                      <a:pos x="T4" y="T5"/>
                    </a:cxn>
                    <a:cxn ang="0">
                      <a:pos x="T6" y="T7"/>
                    </a:cxn>
                    <a:cxn ang="0">
                      <a:pos x="T8" y="T9"/>
                    </a:cxn>
                  </a:cxnLst>
                  <a:rect l="0" t="0" r="r" b="b"/>
                  <a:pathLst>
                    <a:path w="8" h="8">
                      <a:moveTo>
                        <a:pt x="0" y="8"/>
                      </a:moveTo>
                      <a:lnTo>
                        <a:pt x="8" y="8"/>
                      </a:ln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6" name="Rectangle 176"/>
                <p:cNvSpPr>
                  <a:spLocks noChangeArrowheads="1"/>
                </p:cNvSpPr>
                <p:nvPr/>
              </p:nvSpPr>
              <p:spPr bwMode="auto">
                <a:xfrm>
                  <a:off x="5029200" y="33147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47" name="Freeform 177"/>
                <p:cNvSpPr>
                  <a:spLocks/>
                </p:cNvSpPr>
                <p:nvPr/>
              </p:nvSpPr>
              <p:spPr bwMode="auto">
                <a:xfrm>
                  <a:off x="5029200" y="3314700"/>
                  <a:ext cx="38100" cy="38100"/>
                </a:xfrm>
                <a:custGeom>
                  <a:avLst/>
                  <a:gdLst>
                    <a:gd name="T0" fmla="*/ 16 w 24"/>
                    <a:gd name="T1" fmla="*/ 16 h 24"/>
                    <a:gd name="T2" fmla="*/ 24 w 24"/>
                    <a:gd name="T3" fmla="*/ 8 h 24"/>
                    <a:gd name="T4" fmla="*/ 16 w 24"/>
                    <a:gd name="T5" fmla="*/ 16 h 24"/>
                    <a:gd name="T6" fmla="*/ 16 w 24"/>
                    <a:gd name="T7" fmla="*/ 24 h 24"/>
                    <a:gd name="T8" fmla="*/ 16 w 24"/>
                    <a:gd name="T9" fmla="*/ 16 h 24"/>
                    <a:gd name="T10" fmla="*/ 24 w 24"/>
                    <a:gd name="T11" fmla="*/ 16 h 24"/>
                    <a:gd name="T12" fmla="*/ 24 w 24"/>
                    <a:gd name="T13" fmla="*/ 8 h 24"/>
                    <a:gd name="T14" fmla="*/ 24 w 24"/>
                    <a:gd name="T15" fmla="*/ 0 h 24"/>
                    <a:gd name="T16" fmla="*/ 16 w 24"/>
                    <a:gd name="T17" fmla="*/ 0 h 24"/>
                    <a:gd name="T18" fmla="*/ 16 w 24"/>
                    <a:gd name="T19" fmla="*/ 8 h 24"/>
                    <a:gd name="T20" fmla="*/ 8 w 24"/>
                    <a:gd name="T21" fmla="*/ 16 h 24"/>
                    <a:gd name="T22" fmla="*/ 8 w 24"/>
                    <a:gd name="T23" fmla="*/ 8 h 24"/>
                    <a:gd name="T24" fmla="*/ 16 w 24"/>
                    <a:gd name="T25" fmla="*/ 8 h 24"/>
                    <a:gd name="T26" fmla="*/ 16 w 24"/>
                    <a:gd name="T27" fmla="*/ 0 h 24"/>
                    <a:gd name="T28" fmla="*/ 8 w 24"/>
                    <a:gd name="T29" fmla="*/ 8 h 24"/>
                    <a:gd name="T30" fmla="*/ 0 w 24"/>
                    <a:gd name="T31" fmla="*/ 16 h 24"/>
                    <a:gd name="T32" fmla="*/ 0 w 24"/>
                    <a:gd name="T33" fmla="*/ 24 h 24"/>
                    <a:gd name="T34" fmla="*/ 8 w 24"/>
                    <a:gd name="T35" fmla="*/ 16 h 24"/>
                    <a:gd name="T36" fmla="*/ 8 w 24"/>
                    <a:gd name="T37" fmla="*/ 24 h 24"/>
                    <a:gd name="T38" fmla="*/ 16 w 24"/>
                    <a:gd name="T39" fmla="*/ 24 h 24"/>
                    <a:gd name="T40" fmla="*/ 16 w 24"/>
                    <a:gd name="T41"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24">
                      <a:moveTo>
                        <a:pt x="16" y="16"/>
                      </a:moveTo>
                      <a:lnTo>
                        <a:pt x="24" y="8"/>
                      </a:lnTo>
                      <a:lnTo>
                        <a:pt x="16" y="16"/>
                      </a:lnTo>
                      <a:lnTo>
                        <a:pt x="16" y="24"/>
                      </a:lnTo>
                      <a:lnTo>
                        <a:pt x="16" y="16"/>
                      </a:lnTo>
                      <a:lnTo>
                        <a:pt x="24" y="16"/>
                      </a:lnTo>
                      <a:lnTo>
                        <a:pt x="24" y="8"/>
                      </a:lnTo>
                      <a:lnTo>
                        <a:pt x="24" y="0"/>
                      </a:lnTo>
                      <a:lnTo>
                        <a:pt x="16" y="0"/>
                      </a:lnTo>
                      <a:lnTo>
                        <a:pt x="16" y="8"/>
                      </a:lnTo>
                      <a:lnTo>
                        <a:pt x="8" y="16"/>
                      </a:lnTo>
                      <a:lnTo>
                        <a:pt x="8" y="8"/>
                      </a:lnTo>
                      <a:lnTo>
                        <a:pt x="16" y="8"/>
                      </a:lnTo>
                      <a:lnTo>
                        <a:pt x="16" y="0"/>
                      </a:lnTo>
                      <a:lnTo>
                        <a:pt x="8" y="8"/>
                      </a:lnTo>
                      <a:lnTo>
                        <a:pt x="0" y="16"/>
                      </a:lnTo>
                      <a:lnTo>
                        <a:pt x="0" y="24"/>
                      </a:lnTo>
                      <a:lnTo>
                        <a:pt x="8" y="16"/>
                      </a:lnTo>
                      <a:lnTo>
                        <a:pt x="8" y="24"/>
                      </a:lnTo>
                      <a:lnTo>
                        <a:pt x="16" y="24"/>
                      </a:lnTo>
                      <a:lnTo>
                        <a:pt x="16"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8" name="Freeform 178"/>
                <p:cNvSpPr>
                  <a:spLocks/>
                </p:cNvSpPr>
                <p:nvPr/>
              </p:nvSpPr>
              <p:spPr bwMode="auto">
                <a:xfrm>
                  <a:off x="5041900" y="3327400"/>
                  <a:ext cx="12700" cy="12700"/>
                </a:xfrm>
                <a:custGeom>
                  <a:avLst/>
                  <a:gdLst>
                    <a:gd name="T0" fmla="*/ 0 w 8"/>
                    <a:gd name="T1" fmla="*/ 8 h 8"/>
                    <a:gd name="T2" fmla="*/ 8 w 8"/>
                    <a:gd name="T3" fmla="*/ 8 h 8"/>
                    <a:gd name="T4" fmla="*/ 8 w 8"/>
                    <a:gd name="T5" fmla="*/ 0 h 8"/>
                    <a:gd name="T6" fmla="*/ 8 w 8"/>
                    <a:gd name="T7" fmla="*/ 8 h 8"/>
                    <a:gd name="T8" fmla="*/ 0 w 8"/>
                    <a:gd name="T9" fmla="*/ 8 h 8"/>
                  </a:gdLst>
                  <a:ahLst/>
                  <a:cxnLst>
                    <a:cxn ang="0">
                      <a:pos x="T0" y="T1"/>
                    </a:cxn>
                    <a:cxn ang="0">
                      <a:pos x="T2" y="T3"/>
                    </a:cxn>
                    <a:cxn ang="0">
                      <a:pos x="T4" y="T5"/>
                    </a:cxn>
                    <a:cxn ang="0">
                      <a:pos x="T6" y="T7"/>
                    </a:cxn>
                    <a:cxn ang="0">
                      <a:pos x="T8" y="T9"/>
                    </a:cxn>
                  </a:cxnLst>
                  <a:rect l="0" t="0" r="r" b="b"/>
                  <a:pathLst>
                    <a:path w="8" h="8">
                      <a:moveTo>
                        <a:pt x="0" y="8"/>
                      </a:moveTo>
                      <a:lnTo>
                        <a:pt x="8" y="8"/>
                      </a:ln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49" name="Freeform 179"/>
                <p:cNvSpPr>
                  <a:spLocks/>
                </p:cNvSpPr>
                <p:nvPr/>
              </p:nvSpPr>
              <p:spPr bwMode="auto">
                <a:xfrm>
                  <a:off x="5562600" y="3860800"/>
                  <a:ext cx="12700" cy="25400"/>
                </a:xfrm>
                <a:custGeom>
                  <a:avLst/>
                  <a:gdLst>
                    <a:gd name="T0" fmla="*/ 8 w 8"/>
                    <a:gd name="T1" fmla="*/ 8 h 16"/>
                    <a:gd name="T2" fmla="*/ 0 w 8"/>
                    <a:gd name="T3" fmla="*/ 8 h 16"/>
                    <a:gd name="T4" fmla="*/ 8 w 8"/>
                    <a:gd name="T5" fmla="*/ 8 h 16"/>
                    <a:gd name="T6" fmla="*/ 8 w 8"/>
                    <a:gd name="T7" fmla="*/ 0 h 16"/>
                    <a:gd name="T8" fmla="*/ 8 w 8"/>
                    <a:gd name="T9" fmla="*/ 8 h 16"/>
                    <a:gd name="T10" fmla="*/ 0 w 8"/>
                    <a:gd name="T11" fmla="*/ 8 h 16"/>
                    <a:gd name="T12" fmla="*/ 8 w 8"/>
                    <a:gd name="T13" fmla="*/ 8 h 16"/>
                    <a:gd name="T14" fmla="*/ 8 w 8"/>
                    <a:gd name="T15" fmla="*/ 16 h 16"/>
                    <a:gd name="T16" fmla="*/ 8 w 8"/>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6">
                      <a:moveTo>
                        <a:pt x="8" y="8"/>
                      </a:moveTo>
                      <a:lnTo>
                        <a:pt x="0" y="8"/>
                      </a:lnTo>
                      <a:lnTo>
                        <a:pt x="8" y="8"/>
                      </a:lnTo>
                      <a:lnTo>
                        <a:pt x="8" y="0"/>
                      </a:lnTo>
                      <a:lnTo>
                        <a:pt x="8" y="8"/>
                      </a:lnTo>
                      <a:lnTo>
                        <a:pt x="0" y="8"/>
                      </a:lnTo>
                      <a:lnTo>
                        <a:pt x="8" y="8"/>
                      </a:lnTo>
                      <a:lnTo>
                        <a:pt x="8" y="16"/>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0" name="Freeform 180"/>
                <p:cNvSpPr>
                  <a:spLocks/>
                </p:cNvSpPr>
                <p:nvPr/>
              </p:nvSpPr>
              <p:spPr bwMode="auto">
                <a:xfrm>
                  <a:off x="5765800" y="3886200"/>
                  <a:ext cx="1588" cy="25400"/>
                </a:xfrm>
                <a:custGeom>
                  <a:avLst/>
                  <a:gdLst>
                    <a:gd name="T0" fmla="*/ 16 h 16"/>
                    <a:gd name="T1" fmla="*/ 8 h 16"/>
                    <a:gd name="T2" fmla="*/ 0 h 16"/>
                    <a:gd name="T3" fmla="*/ 8 h 16"/>
                    <a:gd name="T4" fmla="*/ 16 h 16"/>
                  </a:gdLst>
                  <a:ahLst/>
                  <a:cxnLst>
                    <a:cxn ang="0">
                      <a:pos x="0" y="T0"/>
                    </a:cxn>
                    <a:cxn ang="0">
                      <a:pos x="0" y="T1"/>
                    </a:cxn>
                    <a:cxn ang="0">
                      <a:pos x="0" y="T2"/>
                    </a:cxn>
                    <a:cxn ang="0">
                      <a:pos x="0" y="T3"/>
                    </a:cxn>
                    <a:cxn ang="0">
                      <a:pos x="0" y="T4"/>
                    </a:cxn>
                  </a:cxnLst>
                  <a:rect l="0" t="0" r="r" b="b"/>
                  <a:pathLst>
                    <a:path h="16">
                      <a:moveTo>
                        <a:pt x="0" y="16"/>
                      </a:moveTo>
                      <a:lnTo>
                        <a:pt x="0" y="8"/>
                      </a:lnTo>
                      <a:lnTo>
                        <a:pt x="0" y="0"/>
                      </a:lnTo>
                      <a:lnTo>
                        <a:pt x="0" y="8"/>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1" name="Freeform 181"/>
                <p:cNvSpPr>
                  <a:spLocks/>
                </p:cNvSpPr>
                <p:nvPr/>
              </p:nvSpPr>
              <p:spPr bwMode="auto">
                <a:xfrm>
                  <a:off x="5778500" y="39116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2" name="Freeform 182"/>
                <p:cNvSpPr>
                  <a:spLocks/>
                </p:cNvSpPr>
                <p:nvPr/>
              </p:nvSpPr>
              <p:spPr bwMode="auto">
                <a:xfrm>
                  <a:off x="5854700" y="36322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3" name="Freeform 183"/>
                <p:cNvSpPr>
                  <a:spLocks/>
                </p:cNvSpPr>
                <p:nvPr/>
              </p:nvSpPr>
              <p:spPr bwMode="auto">
                <a:xfrm>
                  <a:off x="5829300" y="36957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4" name="Freeform 184"/>
                <p:cNvSpPr>
                  <a:spLocks/>
                </p:cNvSpPr>
                <p:nvPr/>
              </p:nvSpPr>
              <p:spPr bwMode="auto">
                <a:xfrm>
                  <a:off x="5867400" y="3759200"/>
                  <a:ext cx="12700" cy="12700"/>
                </a:xfrm>
                <a:custGeom>
                  <a:avLst/>
                  <a:gdLst>
                    <a:gd name="T0" fmla="*/ 0 w 8"/>
                    <a:gd name="T1" fmla="*/ 8 h 8"/>
                    <a:gd name="T2" fmla="*/ 0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5" name="Freeform 185"/>
                <p:cNvSpPr>
                  <a:spLocks/>
                </p:cNvSpPr>
                <p:nvPr/>
              </p:nvSpPr>
              <p:spPr bwMode="auto">
                <a:xfrm>
                  <a:off x="5842000" y="3759200"/>
                  <a:ext cx="12700" cy="12700"/>
                </a:xfrm>
                <a:custGeom>
                  <a:avLst/>
                  <a:gdLst>
                    <a:gd name="T0" fmla="*/ 0 w 8"/>
                    <a:gd name="T1" fmla="*/ 0 h 8"/>
                    <a:gd name="T2" fmla="*/ 8 w 8"/>
                    <a:gd name="T3" fmla="*/ 8 h 8"/>
                    <a:gd name="T4" fmla="*/ 8 w 8"/>
                    <a:gd name="T5" fmla="*/ 0 h 8"/>
                    <a:gd name="T6" fmla="*/ 8 w 8"/>
                    <a:gd name="T7" fmla="*/ 8 h 8"/>
                    <a:gd name="T8" fmla="*/ 0 w 8"/>
                    <a:gd name="T9" fmla="*/ 8 h 8"/>
                    <a:gd name="T10" fmla="*/ 0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0" y="0"/>
                      </a:moveTo>
                      <a:lnTo>
                        <a:pt x="8" y="8"/>
                      </a:lnTo>
                      <a:lnTo>
                        <a:pt x="8" y="0"/>
                      </a:lnTo>
                      <a:lnTo>
                        <a:pt x="8" y="8"/>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6" name="Freeform 186"/>
                <p:cNvSpPr>
                  <a:spLocks/>
                </p:cNvSpPr>
                <p:nvPr/>
              </p:nvSpPr>
              <p:spPr bwMode="auto">
                <a:xfrm>
                  <a:off x="5778500" y="38608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7" name="Freeform 187"/>
                <p:cNvSpPr>
                  <a:spLocks/>
                </p:cNvSpPr>
                <p:nvPr/>
              </p:nvSpPr>
              <p:spPr bwMode="auto">
                <a:xfrm>
                  <a:off x="5867400" y="3835400"/>
                  <a:ext cx="12700" cy="12700"/>
                </a:xfrm>
                <a:custGeom>
                  <a:avLst/>
                  <a:gdLst>
                    <a:gd name="T0" fmla="*/ 0 w 8"/>
                    <a:gd name="T1" fmla="*/ 8 h 8"/>
                    <a:gd name="T2" fmla="*/ 8 w 8"/>
                    <a:gd name="T3" fmla="*/ 8 h 8"/>
                    <a:gd name="T4" fmla="*/ 0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8" y="8"/>
                      </a:ln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8" name="Freeform 189"/>
                <p:cNvSpPr>
                  <a:spLocks/>
                </p:cNvSpPr>
                <p:nvPr/>
              </p:nvSpPr>
              <p:spPr bwMode="auto">
                <a:xfrm>
                  <a:off x="5499100" y="3733800"/>
                  <a:ext cx="101600" cy="50800"/>
                </a:xfrm>
                <a:custGeom>
                  <a:avLst/>
                  <a:gdLst>
                    <a:gd name="T0" fmla="*/ 16 w 64"/>
                    <a:gd name="T1" fmla="*/ 16 h 32"/>
                    <a:gd name="T2" fmla="*/ 24 w 64"/>
                    <a:gd name="T3" fmla="*/ 24 h 32"/>
                    <a:gd name="T4" fmla="*/ 32 w 64"/>
                    <a:gd name="T5" fmla="*/ 24 h 32"/>
                    <a:gd name="T6" fmla="*/ 40 w 64"/>
                    <a:gd name="T7" fmla="*/ 24 h 32"/>
                    <a:gd name="T8" fmla="*/ 40 w 64"/>
                    <a:gd name="T9" fmla="*/ 32 h 32"/>
                    <a:gd name="T10" fmla="*/ 48 w 64"/>
                    <a:gd name="T11" fmla="*/ 32 h 32"/>
                    <a:gd name="T12" fmla="*/ 56 w 64"/>
                    <a:gd name="T13" fmla="*/ 32 h 32"/>
                    <a:gd name="T14" fmla="*/ 64 w 64"/>
                    <a:gd name="T15" fmla="*/ 32 h 32"/>
                    <a:gd name="T16" fmla="*/ 56 w 64"/>
                    <a:gd name="T17" fmla="*/ 24 h 32"/>
                    <a:gd name="T18" fmla="*/ 48 w 64"/>
                    <a:gd name="T19" fmla="*/ 24 h 32"/>
                    <a:gd name="T20" fmla="*/ 48 w 64"/>
                    <a:gd name="T21" fmla="*/ 16 h 32"/>
                    <a:gd name="T22" fmla="*/ 40 w 64"/>
                    <a:gd name="T23" fmla="*/ 8 h 32"/>
                    <a:gd name="T24" fmla="*/ 32 w 64"/>
                    <a:gd name="T25" fmla="*/ 8 h 32"/>
                    <a:gd name="T26" fmla="*/ 24 w 64"/>
                    <a:gd name="T27" fmla="*/ 0 h 32"/>
                    <a:gd name="T28" fmla="*/ 8 w 64"/>
                    <a:gd name="T29" fmla="*/ 0 h 32"/>
                    <a:gd name="T30" fmla="*/ 0 w 64"/>
                    <a:gd name="T31" fmla="*/ 0 h 32"/>
                    <a:gd name="T32" fmla="*/ 0 w 64"/>
                    <a:gd name="T33" fmla="*/ 8 h 32"/>
                    <a:gd name="T34" fmla="*/ 8 w 64"/>
                    <a:gd name="T35" fmla="*/ 8 h 32"/>
                    <a:gd name="T36" fmla="*/ 16 w 64"/>
                    <a:gd name="T3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32">
                      <a:moveTo>
                        <a:pt x="16" y="16"/>
                      </a:moveTo>
                      <a:lnTo>
                        <a:pt x="24" y="24"/>
                      </a:lnTo>
                      <a:lnTo>
                        <a:pt x="32" y="24"/>
                      </a:lnTo>
                      <a:lnTo>
                        <a:pt x="40" y="24"/>
                      </a:lnTo>
                      <a:lnTo>
                        <a:pt x="40" y="32"/>
                      </a:lnTo>
                      <a:lnTo>
                        <a:pt x="48" y="32"/>
                      </a:lnTo>
                      <a:lnTo>
                        <a:pt x="56" y="32"/>
                      </a:lnTo>
                      <a:lnTo>
                        <a:pt x="64" y="32"/>
                      </a:lnTo>
                      <a:lnTo>
                        <a:pt x="56" y="24"/>
                      </a:lnTo>
                      <a:lnTo>
                        <a:pt x="48" y="24"/>
                      </a:lnTo>
                      <a:lnTo>
                        <a:pt x="48" y="16"/>
                      </a:lnTo>
                      <a:lnTo>
                        <a:pt x="40" y="8"/>
                      </a:lnTo>
                      <a:lnTo>
                        <a:pt x="32" y="8"/>
                      </a:lnTo>
                      <a:lnTo>
                        <a:pt x="24" y="0"/>
                      </a:lnTo>
                      <a:lnTo>
                        <a:pt x="8" y="0"/>
                      </a:lnTo>
                      <a:lnTo>
                        <a:pt x="0" y="0"/>
                      </a:lnTo>
                      <a:lnTo>
                        <a:pt x="0" y="8"/>
                      </a:lnTo>
                      <a:lnTo>
                        <a:pt x="8" y="8"/>
                      </a:lnTo>
                      <a:lnTo>
                        <a:pt x="16"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59" name="Freeform 190"/>
                <p:cNvSpPr>
                  <a:spLocks/>
                </p:cNvSpPr>
                <p:nvPr/>
              </p:nvSpPr>
              <p:spPr bwMode="auto">
                <a:xfrm>
                  <a:off x="5473700" y="3886200"/>
                  <a:ext cx="76200" cy="50800"/>
                </a:xfrm>
                <a:custGeom>
                  <a:avLst/>
                  <a:gdLst>
                    <a:gd name="T0" fmla="*/ 40 w 48"/>
                    <a:gd name="T1" fmla="*/ 32 h 32"/>
                    <a:gd name="T2" fmla="*/ 32 w 48"/>
                    <a:gd name="T3" fmla="*/ 32 h 32"/>
                    <a:gd name="T4" fmla="*/ 16 w 48"/>
                    <a:gd name="T5" fmla="*/ 24 h 32"/>
                    <a:gd name="T6" fmla="*/ 8 w 48"/>
                    <a:gd name="T7" fmla="*/ 16 h 32"/>
                    <a:gd name="T8" fmla="*/ 0 w 48"/>
                    <a:gd name="T9" fmla="*/ 8 h 32"/>
                    <a:gd name="T10" fmla="*/ 8 w 48"/>
                    <a:gd name="T11" fmla="*/ 0 h 32"/>
                    <a:gd name="T12" fmla="*/ 8 w 48"/>
                    <a:gd name="T13" fmla="*/ 8 h 32"/>
                    <a:gd name="T14" fmla="*/ 8 w 48"/>
                    <a:gd name="T15" fmla="*/ 16 h 32"/>
                    <a:gd name="T16" fmla="*/ 16 w 48"/>
                    <a:gd name="T17" fmla="*/ 16 h 32"/>
                    <a:gd name="T18" fmla="*/ 24 w 48"/>
                    <a:gd name="T19" fmla="*/ 16 h 32"/>
                    <a:gd name="T20" fmla="*/ 32 w 48"/>
                    <a:gd name="T21" fmla="*/ 24 h 32"/>
                    <a:gd name="T22" fmla="*/ 40 w 48"/>
                    <a:gd name="T23" fmla="*/ 24 h 32"/>
                    <a:gd name="T24" fmla="*/ 40 w 48"/>
                    <a:gd name="T25" fmla="*/ 16 h 32"/>
                    <a:gd name="T26" fmla="*/ 48 w 48"/>
                    <a:gd name="T27" fmla="*/ 16 h 32"/>
                    <a:gd name="T28" fmla="*/ 48 w 48"/>
                    <a:gd name="T29" fmla="*/ 24 h 32"/>
                    <a:gd name="T30" fmla="*/ 40 w 48"/>
                    <a:gd name="T31" fmla="*/ 24 h 32"/>
                    <a:gd name="T32" fmla="*/ 40 w 48"/>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32">
                      <a:moveTo>
                        <a:pt x="40" y="32"/>
                      </a:moveTo>
                      <a:lnTo>
                        <a:pt x="32" y="32"/>
                      </a:lnTo>
                      <a:lnTo>
                        <a:pt x="16" y="24"/>
                      </a:lnTo>
                      <a:lnTo>
                        <a:pt x="8" y="16"/>
                      </a:lnTo>
                      <a:lnTo>
                        <a:pt x="0" y="8"/>
                      </a:lnTo>
                      <a:lnTo>
                        <a:pt x="8" y="0"/>
                      </a:lnTo>
                      <a:lnTo>
                        <a:pt x="8" y="8"/>
                      </a:lnTo>
                      <a:lnTo>
                        <a:pt x="8" y="16"/>
                      </a:lnTo>
                      <a:lnTo>
                        <a:pt x="16" y="16"/>
                      </a:lnTo>
                      <a:lnTo>
                        <a:pt x="24" y="16"/>
                      </a:lnTo>
                      <a:lnTo>
                        <a:pt x="32" y="24"/>
                      </a:lnTo>
                      <a:lnTo>
                        <a:pt x="40" y="24"/>
                      </a:lnTo>
                      <a:lnTo>
                        <a:pt x="40" y="16"/>
                      </a:lnTo>
                      <a:lnTo>
                        <a:pt x="48" y="16"/>
                      </a:lnTo>
                      <a:lnTo>
                        <a:pt x="48" y="24"/>
                      </a:lnTo>
                      <a:lnTo>
                        <a:pt x="40" y="24"/>
                      </a:lnTo>
                      <a:lnTo>
                        <a:pt x="40"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0" name="Freeform 191"/>
                <p:cNvSpPr>
                  <a:spLocks/>
                </p:cNvSpPr>
                <p:nvPr/>
              </p:nvSpPr>
              <p:spPr bwMode="auto">
                <a:xfrm>
                  <a:off x="5575300" y="3886200"/>
                  <a:ext cx="63500" cy="88900"/>
                </a:xfrm>
                <a:custGeom>
                  <a:avLst/>
                  <a:gdLst>
                    <a:gd name="T0" fmla="*/ 8 w 40"/>
                    <a:gd name="T1" fmla="*/ 56 h 56"/>
                    <a:gd name="T2" fmla="*/ 8 w 40"/>
                    <a:gd name="T3" fmla="*/ 48 h 56"/>
                    <a:gd name="T4" fmla="*/ 0 w 40"/>
                    <a:gd name="T5" fmla="*/ 48 h 56"/>
                    <a:gd name="T6" fmla="*/ 0 w 40"/>
                    <a:gd name="T7" fmla="*/ 40 h 56"/>
                    <a:gd name="T8" fmla="*/ 0 w 40"/>
                    <a:gd name="T9" fmla="*/ 32 h 56"/>
                    <a:gd name="T10" fmla="*/ 8 w 40"/>
                    <a:gd name="T11" fmla="*/ 32 h 56"/>
                    <a:gd name="T12" fmla="*/ 8 w 40"/>
                    <a:gd name="T13" fmla="*/ 24 h 56"/>
                    <a:gd name="T14" fmla="*/ 16 w 40"/>
                    <a:gd name="T15" fmla="*/ 16 h 56"/>
                    <a:gd name="T16" fmla="*/ 24 w 40"/>
                    <a:gd name="T17" fmla="*/ 8 h 56"/>
                    <a:gd name="T18" fmla="*/ 24 w 40"/>
                    <a:gd name="T19" fmla="*/ 0 h 56"/>
                    <a:gd name="T20" fmla="*/ 24 w 40"/>
                    <a:gd name="T21" fmla="*/ 8 h 56"/>
                    <a:gd name="T22" fmla="*/ 32 w 40"/>
                    <a:gd name="T23" fmla="*/ 8 h 56"/>
                    <a:gd name="T24" fmla="*/ 32 w 40"/>
                    <a:gd name="T25" fmla="*/ 16 h 56"/>
                    <a:gd name="T26" fmla="*/ 24 w 40"/>
                    <a:gd name="T27" fmla="*/ 24 h 56"/>
                    <a:gd name="T28" fmla="*/ 24 w 40"/>
                    <a:gd name="T29" fmla="*/ 32 h 56"/>
                    <a:gd name="T30" fmla="*/ 32 w 40"/>
                    <a:gd name="T31" fmla="*/ 32 h 56"/>
                    <a:gd name="T32" fmla="*/ 40 w 40"/>
                    <a:gd name="T33" fmla="*/ 32 h 56"/>
                    <a:gd name="T34" fmla="*/ 40 w 40"/>
                    <a:gd name="T35" fmla="*/ 40 h 56"/>
                    <a:gd name="T36" fmla="*/ 32 w 40"/>
                    <a:gd name="T37" fmla="*/ 40 h 56"/>
                    <a:gd name="T38" fmla="*/ 24 w 40"/>
                    <a:gd name="T39" fmla="*/ 40 h 56"/>
                    <a:gd name="T40" fmla="*/ 16 w 40"/>
                    <a:gd name="T41" fmla="*/ 48 h 56"/>
                    <a:gd name="T42" fmla="*/ 8 w 40"/>
                    <a:gd name="T43" fmla="*/ 48 h 56"/>
                    <a:gd name="T44" fmla="*/ 8 w 40"/>
                    <a:gd name="T4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56">
                      <a:moveTo>
                        <a:pt x="8" y="56"/>
                      </a:moveTo>
                      <a:lnTo>
                        <a:pt x="8" y="48"/>
                      </a:lnTo>
                      <a:lnTo>
                        <a:pt x="0" y="48"/>
                      </a:lnTo>
                      <a:lnTo>
                        <a:pt x="0" y="40"/>
                      </a:lnTo>
                      <a:lnTo>
                        <a:pt x="0" y="32"/>
                      </a:lnTo>
                      <a:lnTo>
                        <a:pt x="8" y="32"/>
                      </a:lnTo>
                      <a:lnTo>
                        <a:pt x="8" y="24"/>
                      </a:lnTo>
                      <a:lnTo>
                        <a:pt x="16" y="16"/>
                      </a:lnTo>
                      <a:lnTo>
                        <a:pt x="24" y="8"/>
                      </a:lnTo>
                      <a:lnTo>
                        <a:pt x="24" y="0"/>
                      </a:lnTo>
                      <a:lnTo>
                        <a:pt x="24" y="8"/>
                      </a:lnTo>
                      <a:lnTo>
                        <a:pt x="32" y="8"/>
                      </a:lnTo>
                      <a:lnTo>
                        <a:pt x="32" y="16"/>
                      </a:lnTo>
                      <a:lnTo>
                        <a:pt x="24" y="24"/>
                      </a:lnTo>
                      <a:lnTo>
                        <a:pt x="24" y="32"/>
                      </a:lnTo>
                      <a:lnTo>
                        <a:pt x="32" y="32"/>
                      </a:lnTo>
                      <a:lnTo>
                        <a:pt x="40" y="32"/>
                      </a:lnTo>
                      <a:lnTo>
                        <a:pt x="40" y="40"/>
                      </a:lnTo>
                      <a:lnTo>
                        <a:pt x="32" y="40"/>
                      </a:lnTo>
                      <a:lnTo>
                        <a:pt x="24" y="40"/>
                      </a:lnTo>
                      <a:lnTo>
                        <a:pt x="16" y="48"/>
                      </a:lnTo>
                      <a:lnTo>
                        <a:pt x="8" y="48"/>
                      </a:lnTo>
                      <a:lnTo>
                        <a:pt x="8" y="5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1" name="Rectangle 192"/>
                <p:cNvSpPr>
                  <a:spLocks noChangeArrowheads="1"/>
                </p:cNvSpPr>
                <p:nvPr/>
              </p:nvSpPr>
              <p:spPr bwMode="auto">
                <a:xfrm>
                  <a:off x="4978400" y="34925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62" name="Freeform 193"/>
                <p:cNvSpPr>
                  <a:spLocks/>
                </p:cNvSpPr>
                <p:nvPr/>
              </p:nvSpPr>
              <p:spPr bwMode="auto">
                <a:xfrm>
                  <a:off x="4978400" y="35814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3" name="Freeform 194"/>
                <p:cNvSpPr>
                  <a:spLocks/>
                </p:cNvSpPr>
                <p:nvPr/>
              </p:nvSpPr>
              <p:spPr bwMode="auto">
                <a:xfrm>
                  <a:off x="4914900" y="3505200"/>
                  <a:ext cx="38100" cy="25400"/>
                </a:xfrm>
                <a:custGeom>
                  <a:avLst/>
                  <a:gdLst>
                    <a:gd name="T0" fmla="*/ 0 w 24"/>
                    <a:gd name="T1" fmla="*/ 8 h 16"/>
                    <a:gd name="T2" fmla="*/ 8 w 24"/>
                    <a:gd name="T3" fmla="*/ 8 h 16"/>
                    <a:gd name="T4" fmla="*/ 8 w 24"/>
                    <a:gd name="T5" fmla="*/ 0 h 16"/>
                    <a:gd name="T6" fmla="*/ 16 w 24"/>
                    <a:gd name="T7" fmla="*/ 0 h 16"/>
                    <a:gd name="T8" fmla="*/ 24 w 24"/>
                    <a:gd name="T9" fmla="*/ 8 h 16"/>
                    <a:gd name="T10" fmla="*/ 24 w 24"/>
                    <a:gd name="T11" fmla="*/ 16 h 16"/>
                    <a:gd name="T12" fmla="*/ 16 w 24"/>
                    <a:gd name="T13" fmla="*/ 16 h 16"/>
                    <a:gd name="T14" fmla="*/ 8 w 24"/>
                    <a:gd name="T15" fmla="*/ 16 h 16"/>
                    <a:gd name="T16" fmla="*/ 0 w 24"/>
                    <a:gd name="T17" fmla="*/ 16 h 16"/>
                    <a:gd name="T18" fmla="*/ 0 w 24"/>
                    <a:gd name="T1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6">
                      <a:moveTo>
                        <a:pt x="0" y="8"/>
                      </a:moveTo>
                      <a:lnTo>
                        <a:pt x="8" y="8"/>
                      </a:lnTo>
                      <a:lnTo>
                        <a:pt x="8" y="0"/>
                      </a:lnTo>
                      <a:lnTo>
                        <a:pt x="16" y="0"/>
                      </a:lnTo>
                      <a:lnTo>
                        <a:pt x="24" y="8"/>
                      </a:lnTo>
                      <a:lnTo>
                        <a:pt x="24" y="16"/>
                      </a:lnTo>
                      <a:lnTo>
                        <a:pt x="16" y="16"/>
                      </a:lnTo>
                      <a:lnTo>
                        <a:pt x="8" y="16"/>
                      </a:lnTo>
                      <a:lnTo>
                        <a:pt x="0" y="16"/>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4" name="Freeform 195"/>
                <p:cNvSpPr>
                  <a:spLocks/>
                </p:cNvSpPr>
                <p:nvPr/>
              </p:nvSpPr>
              <p:spPr bwMode="auto">
                <a:xfrm>
                  <a:off x="3314700" y="3556000"/>
                  <a:ext cx="12700" cy="25400"/>
                </a:xfrm>
                <a:custGeom>
                  <a:avLst/>
                  <a:gdLst>
                    <a:gd name="T0" fmla="*/ 0 w 8"/>
                    <a:gd name="T1" fmla="*/ 0 h 16"/>
                    <a:gd name="T2" fmla="*/ 8 w 8"/>
                    <a:gd name="T3" fmla="*/ 0 h 16"/>
                    <a:gd name="T4" fmla="*/ 8 w 8"/>
                    <a:gd name="T5" fmla="*/ 8 h 16"/>
                    <a:gd name="T6" fmla="*/ 8 w 8"/>
                    <a:gd name="T7" fmla="*/ 16 h 16"/>
                    <a:gd name="T8" fmla="*/ 0 w 8"/>
                    <a:gd name="T9" fmla="*/ 8 h 16"/>
                    <a:gd name="T10" fmla="*/ 0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0" y="0"/>
                      </a:moveTo>
                      <a:lnTo>
                        <a:pt x="8" y="0"/>
                      </a:lnTo>
                      <a:lnTo>
                        <a:pt x="8" y="8"/>
                      </a:lnTo>
                      <a:lnTo>
                        <a:pt x="8" y="16"/>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5" name="Freeform 196"/>
                <p:cNvSpPr>
                  <a:spLocks/>
                </p:cNvSpPr>
                <p:nvPr/>
              </p:nvSpPr>
              <p:spPr bwMode="auto">
                <a:xfrm>
                  <a:off x="3302000" y="35306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6" name="Freeform 197"/>
                <p:cNvSpPr>
                  <a:spLocks/>
                </p:cNvSpPr>
                <p:nvPr/>
              </p:nvSpPr>
              <p:spPr bwMode="auto">
                <a:xfrm>
                  <a:off x="3187700" y="3467100"/>
                  <a:ext cx="152400" cy="177800"/>
                </a:xfrm>
                <a:custGeom>
                  <a:avLst/>
                  <a:gdLst>
                    <a:gd name="T0" fmla="*/ 0 w 96"/>
                    <a:gd name="T1" fmla="*/ 0 h 112"/>
                    <a:gd name="T2" fmla="*/ 8 w 96"/>
                    <a:gd name="T3" fmla="*/ 8 h 112"/>
                    <a:gd name="T4" fmla="*/ 8 w 96"/>
                    <a:gd name="T5" fmla="*/ 16 h 112"/>
                    <a:gd name="T6" fmla="*/ 24 w 96"/>
                    <a:gd name="T7" fmla="*/ 16 h 112"/>
                    <a:gd name="T8" fmla="*/ 16 w 96"/>
                    <a:gd name="T9" fmla="*/ 24 h 112"/>
                    <a:gd name="T10" fmla="*/ 8 w 96"/>
                    <a:gd name="T11" fmla="*/ 24 h 112"/>
                    <a:gd name="T12" fmla="*/ 8 w 96"/>
                    <a:gd name="T13" fmla="*/ 32 h 112"/>
                    <a:gd name="T14" fmla="*/ 16 w 96"/>
                    <a:gd name="T15" fmla="*/ 32 h 112"/>
                    <a:gd name="T16" fmla="*/ 16 w 96"/>
                    <a:gd name="T17" fmla="*/ 40 h 112"/>
                    <a:gd name="T18" fmla="*/ 24 w 96"/>
                    <a:gd name="T19" fmla="*/ 40 h 112"/>
                    <a:gd name="T20" fmla="*/ 24 w 96"/>
                    <a:gd name="T21" fmla="*/ 48 h 112"/>
                    <a:gd name="T22" fmla="*/ 32 w 96"/>
                    <a:gd name="T23" fmla="*/ 40 h 112"/>
                    <a:gd name="T24" fmla="*/ 24 w 96"/>
                    <a:gd name="T25" fmla="*/ 48 h 112"/>
                    <a:gd name="T26" fmla="*/ 24 w 96"/>
                    <a:gd name="T27" fmla="*/ 56 h 112"/>
                    <a:gd name="T28" fmla="*/ 32 w 96"/>
                    <a:gd name="T29" fmla="*/ 56 h 112"/>
                    <a:gd name="T30" fmla="*/ 32 w 96"/>
                    <a:gd name="T31" fmla="*/ 48 h 112"/>
                    <a:gd name="T32" fmla="*/ 40 w 96"/>
                    <a:gd name="T33" fmla="*/ 48 h 112"/>
                    <a:gd name="T34" fmla="*/ 32 w 96"/>
                    <a:gd name="T35" fmla="*/ 56 h 112"/>
                    <a:gd name="T36" fmla="*/ 32 w 96"/>
                    <a:gd name="T37" fmla="*/ 64 h 112"/>
                    <a:gd name="T38" fmla="*/ 48 w 96"/>
                    <a:gd name="T39" fmla="*/ 64 h 112"/>
                    <a:gd name="T40" fmla="*/ 40 w 96"/>
                    <a:gd name="T41" fmla="*/ 72 h 112"/>
                    <a:gd name="T42" fmla="*/ 48 w 96"/>
                    <a:gd name="T43" fmla="*/ 72 h 112"/>
                    <a:gd name="T44" fmla="*/ 48 w 96"/>
                    <a:gd name="T45" fmla="*/ 80 h 112"/>
                    <a:gd name="T46" fmla="*/ 56 w 96"/>
                    <a:gd name="T47" fmla="*/ 88 h 112"/>
                    <a:gd name="T48" fmla="*/ 56 w 96"/>
                    <a:gd name="T49" fmla="*/ 80 h 112"/>
                    <a:gd name="T50" fmla="*/ 56 w 96"/>
                    <a:gd name="T51" fmla="*/ 88 h 112"/>
                    <a:gd name="T52" fmla="*/ 64 w 96"/>
                    <a:gd name="T53" fmla="*/ 88 h 112"/>
                    <a:gd name="T54" fmla="*/ 56 w 96"/>
                    <a:gd name="T55" fmla="*/ 88 h 112"/>
                    <a:gd name="T56" fmla="*/ 64 w 96"/>
                    <a:gd name="T57" fmla="*/ 104 h 112"/>
                    <a:gd name="T58" fmla="*/ 72 w 96"/>
                    <a:gd name="T59" fmla="*/ 104 h 112"/>
                    <a:gd name="T60" fmla="*/ 88 w 96"/>
                    <a:gd name="T61" fmla="*/ 112 h 112"/>
                    <a:gd name="T62" fmla="*/ 96 w 96"/>
                    <a:gd name="T63" fmla="*/ 112 h 112"/>
                    <a:gd name="T64" fmla="*/ 88 w 96"/>
                    <a:gd name="T65" fmla="*/ 104 h 112"/>
                    <a:gd name="T66" fmla="*/ 88 w 96"/>
                    <a:gd name="T67" fmla="*/ 96 h 112"/>
                    <a:gd name="T68" fmla="*/ 88 w 96"/>
                    <a:gd name="T69" fmla="*/ 88 h 112"/>
                    <a:gd name="T70" fmla="*/ 88 w 96"/>
                    <a:gd name="T71" fmla="*/ 80 h 112"/>
                    <a:gd name="T72" fmla="*/ 88 w 96"/>
                    <a:gd name="T73" fmla="*/ 72 h 112"/>
                    <a:gd name="T74" fmla="*/ 72 w 96"/>
                    <a:gd name="T75" fmla="*/ 64 h 112"/>
                    <a:gd name="T76" fmla="*/ 72 w 96"/>
                    <a:gd name="T77" fmla="*/ 56 h 112"/>
                    <a:gd name="T78" fmla="*/ 64 w 96"/>
                    <a:gd name="T79" fmla="*/ 48 h 112"/>
                    <a:gd name="T80" fmla="*/ 64 w 96"/>
                    <a:gd name="T81" fmla="*/ 32 h 112"/>
                    <a:gd name="T82" fmla="*/ 56 w 96"/>
                    <a:gd name="T83" fmla="*/ 32 h 112"/>
                    <a:gd name="T84" fmla="*/ 48 w 96"/>
                    <a:gd name="T85" fmla="*/ 24 h 112"/>
                    <a:gd name="T86" fmla="*/ 40 w 96"/>
                    <a:gd name="T87" fmla="*/ 24 h 112"/>
                    <a:gd name="T88" fmla="*/ 32 w 96"/>
                    <a:gd name="T89" fmla="*/ 16 h 112"/>
                    <a:gd name="T90" fmla="*/ 24 w 96"/>
                    <a:gd name="T91" fmla="*/ 16 h 112"/>
                    <a:gd name="T92" fmla="*/ 24 w 96"/>
                    <a:gd name="T93" fmla="*/ 8 h 112"/>
                    <a:gd name="T94" fmla="*/ 16 w 96"/>
                    <a:gd name="T95" fmla="*/ 8 h 112"/>
                    <a:gd name="T96" fmla="*/ 16 w 96"/>
                    <a:gd name="T97" fmla="*/ 0 h 112"/>
                    <a:gd name="T98" fmla="*/ 8 w 96"/>
                    <a:gd name="T99" fmla="*/ 0 h 112"/>
                    <a:gd name="T100" fmla="*/ 0 w 96"/>
                    <a:gd name="T10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12">
                      <a:moveTo>
                        <a:pt x="0" y="0"/>
                      </a:moveTo>
                      <a:lnTo>
                        <a:pt x="8" y="8"/>
                      </a:lnTo>
                      <a:lnTo>
                        <a:pt x="8" y="16"/>
                      </a:lnTo>
                      <a:lnTo>
                        <a:pt x="24" y="16"/>
                      </a:lnTo>
                      <a:lnTo>
                        <a:pt x="16" y="24"/>
                      </a:lnTo>
                      <a:lnTo>
                        <a:pt x="8" y="24"/>
                      </a:lnTo>
                      <a:lnTo>
                        <a:pt x="8" y="32"/>
                      </a:lnTo>
                      <a:lnTo>
                        <a:pt x="16" y="32"/>
                      </a:lnTo>
                      <a:lnTo>
                        <a:pt x="16" y="40"/>
                      </a:lnTo>
                      <a:lnTo>
                        <a:pt x="24" y="40"/>
                      </a:lnTo>
                      <a:lnTo>
                        <a:pt x="24" y="48"/>
                      </a:lnTo>
                      <a:lnTo>
                        <a:pt x="32" y="40"/>
                      </a:lnTo>
                      <a:lnTo>
                        <a:pt x="24" y="48"/>
                      </a:lnTo>
                      <a:lnTo>
                        <a:pt x="24" y="56"/>
                      </a:lnTo>
                      <a:lnTo>
                        <a:pt x="32" y="56"/>
                      </a:lnTo>
                      <a:lnTo>
                        <a:pt x="32" y="48"/>
                      </a:lnTo>
                      <a:lnTo>
                        <a:pt x="40" y="48"/>
                      </a:lnTo>
                      <a:lnTo>
                        <a:pt x="32" y="56"/>
                      </a:lnTo>
                      <a:lnTo>
                        <a:pt x="32" y="64"/>
                      </a:lnTo>
                      <a:lnTo>
                        <a:pt x="48" y="64"/>
                      </a:lnTo>
                      <a:lnTo>
                        <a:pt x="40" y="72"/>
                      </a:lnTo>
                      <a:lnTo>
                        <a:pt x="48" y="72"/>
                      </a:lnTo>
                      <a:lnTo>
                        <a:pt x="48" y="80"/>
                      </a:lnTo>
                      <a:lnTo>
                        <a:pt x="56" y="88"/>
                      </a:lnTo>
                      <a:lnTo>
                        <a:pt x="56" y="80"/>
                      </a:lnTo>
                      <a:lnTo>
                        <a:pt x="56" y="88"/>
                      </a:lnTo>
                      <a:lnTo>
                        <a:pt x="64" y="88"/>
                      </a:lnTo>
                      <a:lnTo>
                        <a:pt x="56" y="88"/>
                      </a:lnTo>
                      <a:lnTo>
                        <a:pt x="64" y="104"/>
                      </a:lnTo>
                      <a:lnTo>
                        <a:pt x="72" y="104"/>
                      </a:lnTo>
                      <a:lnTo>
                        <a:pt x="88" y="112"/>
                      </a:lnTo>
                      <a:lnTo>
                        <a:pt x="96" y="112"/>
                      </a:lnTo>
                      <a:lnTo>
                        <a:pt x="88" y="104"/>
                      </a:lnTo>
                      <a:lnTo>
                        <a:pt x="88" y="96"/>
                      </a:lnTo>
                      <a:lnTo>
                        <a:pt x="88" y="88"/>
                      </a:lnTo>
                      <a:lnTo>
                        <a:pt x="88" y="80"/>
                      </a:lnTo>
                      <a:lnTo>
                        <a:pt x="88" y="72"/>
                      </a:lnTo>
                      <a:lnTo>
                        <a:pt x="72" y="64"/>
                      </a:lnTo>
                      <a:lnTo>
                        <a:pt x="72" y="56"/>
                      </a:lnTo>
                      <a:lnTo>
                        <a:pt x="64" y="48"/>
                      </a:lnTo>
                      <a:lnTo>
                        <a:pt x="64" y="32"/>
                      </a:lnTo>
                      <a:lnTo>
                        <a:pt x="56" y="32"/>
                      </a:lnTo>
                      <a:lnTo>
                        <a:pt x="48" y="24"/>
                      </a:lnTo>
                      <a:lnTo>
                        <a:pt x="40" y="24"/>
                      </a:lnTo>
                      <a:lnTo>
                        <a:pt x="32" y="16"/>
                      </a:lnTo>
                      <a:lnTo>
                        <a:pt x="24" y="16"/>
                      </a:lnTo>
                      <a:lnTo>
                        <a:pt x="24" y="8"/>
                      </a:lnTo>
                      <a:lnTo>
                        <a:pt x="16" y="8"/>
                      </a:lnTo>
                      <a:lnTo>
                        <a:pt x="16" y="0"/>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7" name="Freeform 198"/>
                <p:cNvSpPr>
                  <a:spLocks/>
                </p:cNvSpPr>
                <p:nvPr/>
              </p:nvSpPr>
              <p:spPr bwMode="auto">
                <a:xfrm>
                  <a:off x="3263900" y="34798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8" name="Freeform 199"/>
                <p:cNvSpPr>
                  <a:spLocks/>
                </p:cNvSpPr>
                <p:nvPr/>
              </p:nvSpPr>
              <p:spPr bwMode="auto">
                <a:xfrm>
                  <a:off x="3251200" y="34798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69" name="Freeform 200"/>
                <p:cNvSpPr>
                  <a:spLocks/>
                </p:cNvSpPr>
                <p:nvPr/>
              </p:nvSpPr>
              <p:spPr bwMode="auto">
                <a:xfrm>
                  <a:off x="3213100" y="33147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0" name="Freeform 201"/>
                <p:cNvSpPr>
                  <a:spLocks/>
                </p:cNvSpPr>
                <p:nvPr/>
              </p:nvSpPr>
              <p:spPr bwMode="auto">
                <a:xfrm>
                  <a:off x="3225800" y="33782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1" name="Freeform 202"/>
                <p:cNvSpPr>
                  <a:spLocks/>
                </p:cNvSpPr>
                <p:nvPr/>
              </p:nvSpPr>
              <p:spPr bwMode="auto">
                <a:xfrm>
                  <a:off x="3225800" y="34163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2" name="Freeform 203"/>
                <p:cNvSpPr>
                  <a:spLocks/>
                </p:cNvSpPr>
                <p:nvPr/>
              </p:nvSpPr>
              <p:spPr bwMode="auto">
                <a:xfrm>
                  <a:off x="3225800" y="3390900"/>
                  <a:ext cx="12700" cy="12700"/>
                </a:xfrm>
                <a:custGeom>
                  <a:avLst/>
                  <a:gdLst>
                    <a:gd name="T0" fmla="*/ 8 w 8"/>
                    <a:gd name="T1" fmla="*/ 8 h 8"/>
                    <a:gd name="T2" fmla="*/ 8 w 8"/>
                    <a:gd name="T3" fmla="*/ 0 h 8"/>
                    <a:gd name="T4" fmla="*/ 0 w 8"/>
                    <a:gd name="T5" fmla="*/ 8 h 8"/>
                    <a:gd name="T6" fmla="*/ 8 w 8"/>
                    <a:gd name="T7" fmla="*/ 8 h 8"/>
                  </a:gdLst>
                  <a:ahLst/>
                  <a:cxnLst>
                    <a:cxn ang="0">
                      <a:pos x="T0" y="T1"/>
                    </a:cxn>
                    <a:cxn ang="0">
                      <a:pos x="T2" y="T3"/>
                    </a:cxn>
                    <a:cxn ang="0">
                      <a:pos x="T4" y="T5"/>
                    </a:cxn>
                    <a:cxn ang="0">
                      <a:pos x="T6" y="T7"/>
                    </a:cxn>
                  </a:cxnLst>
                  <a:rect l="0" t="0" r="r" b="b"/>
                  <a:pathLst>
                    <a:path w="8" h="8">
                      <a:moveTo>
                        <a:pt x="8" y="8"/>
                      </a:moveTo>
                      <a:lnTo>
                        <a:pt x="8" y="0"/>
                      </a:lnTo>
                      <a:lnTo>
                        <a:pt x="0" y="8"/>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3" name="Freeform 204"/>
                <p:cNvSpPr>
                  <a:spLocks/>
                </p:cNvSpPr>
                <p:nvPr/>
              </p:nvSpPr>
              <p:spPr bwMode="auto">
                <a:xfrm>
                  <a:off x="3238500" y="3378200"/>
                  <a:ext cx="38100" cy="25400"/>
                </a:xfrm>
                <a:custGeom>
                  <a:avLst/>
                  <a:gdLst>
                    <a:gd name="T0" fmla="*/ 0 w 24"/>
                    <a:gd name="T1" fmla="*/ 16 h 16"/>
                    <a:gd name="T2" fmla="*/ 8 w 24"/>
                    <a:gd name="T3" fmla="*/ 8 h 16"/>
                    <a:gd name="T4" fmla="*/ 16 w 24"/>
                    <a:gd name="T5" fmla="*/ 8 h 16"/>
                    <a:gd name="T6" fmla="*/ 16 w 24"/>
                    <a:gd name="T7" fmla="*/ 0 h 16"/>
                    <a:gd name="T8" fmla="*/ 24 w 24"/>
                    <a:gd name="T9" fmla="*/ 0 h 16"/>
                    <a:gd name="T10" fmla="*/ 16 w 24"/>
                    <a:gd name="T11" fmla="*/ 8 h 16"/>
                    <a:gd name="T12" fmla="*/ 8 w 24"/>
                    <a:gd name="T13" fmla="*/ 8 h 16"/>
                    <a:gd name="T14" fmla="*/ 8 w 24"/>
                    <a:gd name="T15" fmla="*/ 16 h 16"/>
                    <a:gd name="T16" fmla="*/ 0 w 24"/>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
                      <a:moveTo>
                        <a:pt x="0" y="16"/>
                      </a:moveTo>
                      <a:lnTo>
                        <a:pt x="8" y="8"/>
                      </a:lnTo>
                      <a:lnTo>
                        <a:pt x="16" y="8"/>
                      </a:lnTo>
                      <a:lnTo>
                        <a:pt x="16" y="0"/>
                      </a:lnTo>
                      <a:lnTo>
                        <a:pt x="24" y="0"/>
                      </a:lnTo>
                      <a:lnTo>
                        <a:pt x="16" y="8"/>
                      </a:lnTo>
                      <a:lnTo>
                        <a:pt x="8" y="8"/>
                      </a:lnTo>
                      <a:lnTo>
                        <a:pt x="8" y="16"/>
                      </a:lnTo>
                      <a:lnTo>
                        <a:pt x="0" y="1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4" name="Freeform 206"/>
                <p:cNvSpPr>
                  <a:spLocks/>
                </p:cNvSpPr>
                <p:nvPr/>
              </p:nvSpPr>
              <p:spPr bwMode="auto">
                <a:xfrm>
                  <a:off x="3238500" y="3340100"/>
                  <a:ext cx="12700" cy="12700"/>
                </a:xfrm>
                <a:custGeom>
                  <a:avLst/>
                  <a:gdLst>
                    <a:gd name="T0" fmla="*/ 0 w 8"/>
                    <a:gd name="T1" fmla="*/ 8 h 8"/>
                    <a:gd name="T2" fmla="*/ 0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5" name="Freeform 207"/>
                <p:cNvSpPr>
                  <a:spLocks/>
                </p:cNvSpPr>
                <p:nvPr/>
              </p:nvSpPr>
              <p:spPr bwMode="auto">
                <a:xfrm>
                  <a:off x="3225800" y="3352800"/>
                  <a:ext cx="12700" cy="12700"/>
                </a:xfrm>
                <a:custGeom>
                  <a:avLst/>
                  <a:gdLst>
                    <a:gd name="T0" fmla="*/ 0 w 8"/>
                    <a:gd name="T1" fmla="*/ 0 h 8"/>
                    <a:gd name="T2" fmla="*/ 0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0"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6" name="Freeform 208"/>
                <p:cNvSpPr>
                  <a:spLocks/>
                </p:cNvSpPr>
                <p:nvPr/>
              </p:nvSpPr>
              <p:spPr bwMode="auto">
                <a:xfrm>
                  <a:off x="3213100" y="3327400"/>
                  <a:ext cx="1588" cy="25400"/>
                </a:xfrm>
                <a:custGeom>
                  <a:avLst/>
                  <a:gdLst>
                    <a:gd name="T0" fmla="*/ 0 h 16"/>
                    <a:gd name="T1" fmla="*/ 8 h 16"/>
                    <a:gd name="T2" fmla="*/ 16 h 16"/>
                    <a:gd name="T3" fmla="*/ 8 h 16"/>
                    <a:gd name="T4" fmla="*/ 0 h 16"/>
                  </a:gdLst>
                  <a:ahLst/>
                  <a:cxnLst>
                    <a:cxn ang="0">
                      <a:pos x="0" y="T0"/>
                    </a:cxn>
                    <a:cxn ang="0">
                      <a:pos x="0" y="T1"/>
                    </a:cxn>
                    <a:cxn ang="0">
                      <a:pos x="0" y="T2"/>
                    </a:cxn>
                    <a:cxn ang="0">
                      <a:pos x="0" y="T3"/>
                    </a:cxn>
                    <a:cxn ang="0">
                      <a:pos x="0" y="T4"/>
                    </a:cxn>
                  </a:cxnLst>
                  <a:rect l="0" t="0" r="r" b="b"/>
                  <a:pathLst>
                    <a:path h="16">
                      <a:moveTo>
                        <a:pt x="0" y="0"/>
                      </a:moveTo>
                      <a:lnTo>
                        <a:pt x="0" y="8"/>
                      </a:lnTo>
                      <a:lnTo>
                        <a:pt x="0" y="16"/>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7" name="Freeform 209"/>
                <p:cNvSpPr>
                  <a:spLocks/>
                </p:cNvSpPr>
                <p:nvPr/>
              </p:nvSpPr>
              <p:spPr bwMode="auto">
                <a:xfrm>
                  <a:off x="3213100" y="3314700"/>
                  <a:ext cx="25400" cy="38100"/>
                </a:xfrm>
                <a:custGeom>
                  <a:avLst/>
                  <a:gdLst>
                    <a:gd name="T0" fmla="*/ 0 w 16"/>
                    <a:gd name="T1" fmla="*/ 8 h 24"/>
                    <a:gd name="T2" fmla="*/ 8 w 16"/>
                    <a:gd name="T3" fmla="*/ 8 h 24"/>
                    <a:gd name="T4" fmla="*/ 8 w 16"/>
                    <a:gd name="T5" fmla="*/ 16 h 24"/>
                    <a:gd name="T6" fmla="*/ 16 w 16"/>
                    <a:gd name="T7" fmla="*/ 8 h 24"/>
                    <a:gd name="T8" fmla="*/ 8 w 16"/>
                    <a:gd name="T9" fmla="*/ 16 h 24"/>
                    <a:gd name="T10" fmla="*/ 8 w 16"/>
                    <a:gd name="T11" fmla="*/ 24 h 24"/>
                    <a:gd name="T12" fmla="*/ 16 w 16"/>
                    <a:gd name="T13" fmla="*/ 16 h 24"/>
                    <a:gd name="T14" fmla="*/ 16 w 16"/>
                    <a:gd name="T15" fmla="*/ 0 h 24"/>
                    <a:gd name="T16" fmla="*/ 8 w 16"/>
                    <a:gd name="T17" fmla="*/ 0 h 24"/>
                    <a:gd name="T18" fmla="*/ 0 w 16"/>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4">
                      <a:moveTo>
                        <a:pt x="0" y="8"/>
                      </a:moveTo>
                      <a:lnTo>
                        <a:pt x="8" y="8"/>
                      </a:lnTo>
                      <a:lnTo>
                        <a:pt x="8" y="16"/>
                      </a:lnTo>
                      <a:lnTo>
                        <a:pt x="16" y="8"/>
                      </a:lnTo>
                      <a:lnTo>
                        <a:pt x="8" y="16"/>
                      </a:lnTo>
                      <a:lnTo>
                        <a:pt x="8" y="24"/>
                      </a:lnTo>
                      <a:lnTo>
                        <a:pt x="16" y="16"/>
                      </a:lnTo>
                      <a:lnTo>
                        <a:pt x="16"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8" name="Freeform 210"/>
                <p:cNvSpPr>
                  <a:spLocks/>
                </p:cNvSpPr>
                <p:nvPr/>
              </p:nvSpPr>
              <p:spPr bwMode="auto">
                <a:xfrm>
                  <a:off x="3213100" y="3302000"/>
                  <a:ext cx="12700" cy="12700"/>
                </a:xfrm>
                <a:custGeom>
                  <a:avLst/>
                  <a:gdLst>
                    <a:gd name="T0" fmla="*/ 0 w 8"/>
                    <a:gd name="T1" fmla="*/ 0 h 8"/>
                    <a:gd name="T2" fmla="*/ 8 w 8"/>
                    <a:gd name="T3" fmla="*/ 8 h 8"/>
                    <a:gd name="T4" fmla="*/ 8 w 8"/>
                    <a:gd name="T5" fmla="*/ 0 h 8"/>
                    <a:gd name="T6" fmla="*/ 0 w 8"/>
                    <a:gd name="T7" fmla="*/ 0 h 8"/>
                  </a:gdLst>
                  <a:ahLst/>
                  <a:cxnLst>
                    <a:cxn ang="0">
                      <a:pos x="T0" y="T1"/>
                    </a:cxn>
                    <a:cxn ang="0">
                      <a:pos x="T2" y="T3"/>
                    </a:cxn>
                    <a:cxn ang="0">
                      <a:pos x="T4" y="T5"/>
                    </a:cxn>
                    <a:cxn ang="0">
                      <a:pos x="T6" y="T7"/>
                    </a:cxn>
                  </a:cxnLst>
                  <a:rect l="0" t="0" r="r" b="b"/>
                  <a:pathLst>
                    <a:path w="8" h="8">
                      <a:moveTo>
                        <a:pt x="0" y="0"/>
                      </a:moveTo>
                      <a:lnTo>
                        <a:pt x="8" y="8"/>
                      </a:ln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79" name="Freeform 211"/>
                <p:cNvSpPr>
                  <a:spLocks/>
                </p:cNvSpPr>
                <p:nvPr/>
              </p:nvSpPr>
              <p:spPr bwMode="auto">
                <a:xfrm>
                  <a:off x="3225800" y="3276600"/>
                  <a:ext cx="25400" cy="12700"/>
                </a:xfrm>
                <a:custGeom>
                  <a:avLst/>
                  <a:gdLst>
                    <a:gd name="T0" fmla="*/ 0 w 16"/>
                    <a:gd name="T1" fmla="*/ 8 h 8"/>
                    <a:gd name="T2" fmla="*/ 8 w 16"/>
                    <a:gd name="T3" fmla="*/ 8 h 8"/>
                    <a:gd name="T4" fmla="*/ 8 w 16"/>
                    <a:gd name="T5" fmla="*/ 0 h 8"/>
                    <a:gd name="T6" fmla="*/ 16 w 16"/>
                    <a:gd name="T7" fmla="*/ 0 h 8"/>
                    <a:gd name="T8" fmla="*/ 8 w 16"/>
                    <a:gd name="T9" fmla="*/ 8 h 8"/>
                    <a:gd name="T10" fmla="*/ 0 w 16"/>
                    <a:gd name="T11" fmla="*/ 8 h 8"/>
                  </a:gdLst>
                  <a:ahLst/>
                  <a:cxnLst>
                    <a:cxn ang="0">
                      <a:pos x="T0" y="T1"/>
                    </a:cxn>
                    <a:cxn ang="0">
                      <a:pos x="T2" y="T3"/>
                    </a:cxn>
                    <a:cxn ang="0">
                      <a:pos x="T4" y="T5"/>
                    </a:cxn>
                    <a:cxn ang="0">
                      <a:pos x="T6" y="T7"/>
                    </a:cxn>
                    <a:cxn ang="0">
                      <a:pos x="T8" y="T9"/>
                    </a:cxn>
                    <a:cxn ang="0">
                      <a:pos x="T10" y="T11"/>
                    </a:cxn>
                  </a:cxnLst>
                  <a:rect l="0" t="0" r="r" b="b"/>
                  <a:pathLst>
                    <a:path w="16" h="8">
                      <a:moveTo>
                        <a:pt x="0" y="8"/>
                      </a:moveTo>
                      <a:lnTo>
                        <a:pt x="8" y="8"/>
                      </a:lnTo>
                      <a:lnTo>
                        <a:pt x="8" y="0"/>
                      </a:lnTo>
                      <a:lnTo>
                        <a:pt x="16"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0" name="Freeform 212"/>
                <p:cNvSpPr>
                  <a:spLocks/>
                </p:cNvSpPr>
                <p:nvPr/>
              </p:nvSpPr>
              <p:spPr bwMode="auto">
                <a:xfrm>
                  <a:off x="3187700" y="3276600"/>
                  <a:ext cx="12700" cy="38100"/>
                </a:xfrm>
                <a:custGeom>
                  <a:avLst/>
                  <a:gdLst>
                    <a:gd name="T0" fmla="*/ 0 w 8"/>
                    <a:gd name="T1" fmla="*/ 0 h 24"/>
                    <a:gd name="T2" fmla="*/ 8 w 8"/>
                    <a:gd name="T3" fmla="*/ 8 h 24"/>
                    <a:gd name="T4" fmla="*/ 8 w 8"/>
                    <a:gd name="T5" fmla="*/ 16 h 24"/>
                    <a:gd name="T6" fmla="*/ 8 w 8"/>
                    <a:gd name="T7" fmla="*/ 24 h 24"/>
                    <a:gd name="T8" fmla="*/ 8 w 8"/>
                    <a:gd name="T9" fmla="*/ 16 h 24"/>
                    <a:gd name="T10" fmla="*/ 0 w 8"/>
                    <a:gd name="T11" fmla="*/ 8 h 24"/>
                    <a:gd name="T12" fmla="*/ 0 w 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0" y="0"/>
                      </a:moveTo>
                      <a:lnTo>
                        <a:pt x="8" y="8"/>
                      </a:lnTo>
                      <a:lnTo>
                        <a:pt x="8" y="16"/>
                      </a:lnTo>
                      <a:lnTo>
                        <a:pt x="8" y="24"/>
                      </a:lnTo>
                      <a:lnTo>
                        <a:pt x="8" y="16"/>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1" name="Freeform 213"/>
                <p:cNvSpPr>
                  <a:spLocks/>
                </p:cNvSpPr>
                <p:nvPr/>
              </p:nvSpPr>
              <p:spPr bwMode="auto">
                <a:xfrm>
                  <a:off x="3200400" y="3263900"/>
                  <a:ext cx="12700" cy="38100"/>
                </a:xfrm>
                <a:custGeom>
                  <a:avLst/>
                  <a:gdLst>
                    <a:gd name="T0" fmla="*/ 0 w 8"/>
                    <a:gd name="T1" fmla="*/ 0 h 24"/>
                    <a:gd name="T2" fmla="*/ 0 w 8"/>
                    <a:gd name="T3" fmla="*/ 8 h 24"/>
                    <a:gd name="T4" fmla="*/ 0 w 8"/>
                    <a:gd name="T5" fmla="*/ 16 h 24"/>
                    <a:gd name="T6" fmla="*/ 8 w 8"/>
                    <a:gd name="T7" fmla="*/ 24 h 24"/>
                    <a:gd name="T8" fmla="*/ 8 w 8"/>
                    <a:gd name="T9" fmla="*/ 16 h 24"/>
                    <a:gd name="T10" fmla="*/ 8 w 8"/>
                    <a:gd name="T11" fmla="*/ 8 h 24"/>
                    <a:gd name="T12" fmla="*/ 0 w 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8" h="24">
                      <a:moveTo>
                        <a:pt x="0" y="0"/>
                      </a:moveTo>
                      <a:lnTo>
                        <a:pt x="0" y="8"/>
                      </a:lnTo>
                      <a:lnTo>
                        <a:pt x="0" y="16"/>
                      </a:lnTo>
                      <a:lnTo>
                        <a:pt x="8" y="24"/>
                      </a:lnTo>
                      <a:lnTo>
                        <a:pt x="8" y="16"/>
                      </a:lnTo>
                      <a:lnTo>
                        <a:pt x="8"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2" name="Freeform 214"/>
                <p:cNvSpPr>
                  <a:spLocks/>
                </p:cNvSpPr>
                <p:nvPr/>
              </p:nvSpPr>
              <p:spPr bwMode="auto">
                <a:xfrm>
                  <a:off x="3187700" y="3238500"/>
                  <a:ext cx="12700" cy="25400"/>
                </a:xfrm>
                <a:custGeom>
                  <a:avLst/>
                  <a:gdLst>
                    <a:gd name="T0" fmla="*/ 0 w 8"/>
                    <a:gd name="T1" fmla="*/ 8 h 16"/>
                    <a:gd name="T2" fmla="*/ 8 w 8"/>
                    <a:gd name="T3" fmla="*/ 8 h 16"/>
                    <a:gd name="T4" fmla="*/ 8 w 8"/>
                    <a:gd name="T5" fmla="*/ 16 h 16"/>
                    <a:gd name="T6" fmla="*/ 8 w 8"/>
                    <a:gd name="T7" fmla="*/ 8 h 16"/>
                    <a:gd name="T8" fmla="*/ 8 w 8"/>
                    <a:gd name="T9" fmla="*/ 0 h 16"/>
                    <a:gd name="T10" fmla="*/ 0 w 8"/>
                    <a:gd name="T11" fmla="*/ 8 h 16"/>
                  </a:gdLst>
                  <a:ahLst/>
                  <a:cxnLst>
                    <a:cxn ang="0">
                      <a:pos x="T0" y="T1"/>
                    </a:cxn>
                    <a:cxn ang="0">
                      <a:pos x="T2" y="T3"/>
                    </a:cxn>
                    <a:cxn ang="0">
                      <a:pos x="T4" y="T5"/>
                    </a:cxn>
                    <a:cxn ang="0">
                      <a:pos x="T6" y="T7"/>
                    </a:cxn>
                    <a:cxn ang="0">
                      <a:pos x="T8" y="T9"/>
                    </a:cxn>
                    <a:cxn ang="0">
                      <a:pos x="T10" y="T11"/>
                    </a:cxn>
                  </a:cxnLst>
                  <a:rect l="0" t="0" r="r" b="b"/>
                  <a:pathLst>
                    <a:path w="8" h="16">
                      <a:moveTo>
                        <a:pt x="0" y="8"/>
                      </a:moveTo>
                      <a:lnTo>
                        <a:pt x="8" y="8"/>
                      </a:lnTo>
                      <a:lnTo>
                        <a:pt x="8" y="16"/>
                      </a:lnTo>
                      <a:lnTo>
                        <a:pt x="8" y="8"/>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3" name="Freeform 215"/>
                <p:cNvSpPr>
                  <a:spLocks/>
                </p:cNvSpPr>
                <p:nvPr/>
              </p:nvSpPr>
              <p:spPr bwMode="auto">
                <a:xfrm>
                  <a:off x="3098800" y="3225800"/>
                  <a:ext cx="63500" cy="139700"/>
                </a:xfrm>
                <a:custGeom>
                  <a:avLst/>
                  <a:gdLst>
                    <a:gd name="T0" fmla="*/ 0 w 40"/>
                    <a:gd name="T1" fmla="*/ 24 h 88"/>
                    <a:gd name="T2" fmla="*/ 0 w 40"/>
                    <a:gd name="T3" fmla="*/ 16 h 88"/>
                    <a:gd name="T4" fmla="*/ 8 w 40"/>
                    <a:gd name="T5" fmla="*/ 0 h 88"/>
                    <a:gd name="T6" fmla="*/ 16 w 40"/>
                    <a:gd name="T7" fmla="*/ 0 h 88"/>
                    <a:gd name="T8" fmla="*/ 16 w 40"/>
                    <a:gd name="T9" fmla="*/ 8 h 88"/>
                    <a:gd name="T10" fmla="*/ 24 w 40"/>
                    <a:gd name="T11" fmla="*/ 0 h 88"/>
                    <a:gd name="T12" fmla="*/ 24 w 40"/>
                    <a:gd name="T13" fmla="*/ 8 h 88"/>
                    <a:gd name="T14" fmla="*/ 24 w 40"/>
                    <a:gd name="T15" fmla="*/ 16 h 88"/>
                    <a:gd name="T16" fmla="*/ 8 w 40"/>
                    <a:gd name="T17" fmla="*/ 24 h 88"/>
                    <a:gd name="T18" fmla="*/ 16 w 40"/>
                    <a:gd name="T19" fmla="*/ 24 h 88"/>
                    <a:gd name="T20" fmla="*/ 24 w 40"/>
                    <a:gd name="T21" fmla="*/ 24 h 88"/>
                    <a:gd name="T22" fmla="*/ 24 w 40"/>
                    <a:gd name="T23" fmla="*/ 16 h 88"/>
                    <a:gd name="T24" fmla="*/ 32 w 40"/>
                    <a:gd name="T25" fmla="*/ 8 h 88"/>
                    <a:gd name="T26" fmla="*/ 40 w 40"/>
                    <a:gd name="T27" fmla="*/ 8 h 88"/>
                    <a:gd name="T28" fmla="*/ 32 w 40"/>
                    <a:gd name="T29" fmla="*/ 16 h 88"/>
                    <a:gd name="T30" fmla="*/ 32 w 40"/>
                    <a:gd name="T31" fmla="*/ 24 h 88"/>
                    <a:gd name="T32" fmla="*/ 24 w 40"/>
                    <a:gd name="T33" fmla="*/ 32 h 88"/>
                    <a:gd name="T34" fmla="*/ 24 w 40"/>
                    <a:gd name="T35" fmla="*/ 40 h 88"/>
                    <a:gd name="T36" fmla="*/ 16 w 40"/>
                    <a:gd name="T37" fmla="*/ 40 h 88"/>
                    <a:gd name="T38" fmla="*/ 8 w 40"/>
                    <a:gd name="T39" fmla="*/ 48 h 88"/>
                    <a:gd name="T40" fmla="*/ 16 w 40"/>
                    <a:gd name="T41" fmla="*/ 48 h 88"/>
                    <a:gd name="T42" fmla="*/ 24 w 40"/>
                    <a:gd name="T43" fmla="*/ 48 h 88"/>
                    <a:gd name="T44" fmla="*/ 16 w 40"/>
                    <a:gd name="T45" fmla="*/ 48 h 88"/>
                    <a:gd name="T46" fmla="*/ 16 w 40"/>
                    <a:gd name="T47" fmla="*/ 56 h 88"/>
                    <a:gd name="T48" fmla="*/ 16 w 40"/>
                    <a:gd name="T49" fmla="*/ 64 h 88"/>
                    <a:gd name="T50" fmla="*/ 16 w 40"/>
                    <a:gd name="T51" fmla="*/ 72 h 88"/>
                    <a:gd name="T52" fmla="*/ 16 w 40"/>
                    <a:gd name="T53" fmla="*/ 80 h 88"/>
                    <a:gd name="T54" fmla="*/ 16 w 40"/>
                    <a:gd name="T55" fmla="*/ 88 h 88"/>
                    <a:gd name="T56" fmla="*/ 24 w 40"/>
                    <a:gd name="T57" fmla="*/ 80 h 88"/>
                    <a:gd name="T58" fmla="*/ 24 w 40"/>
                    <a:gd name="T59" fmla="*/ 88 h 88"/>
                    <a:gd name="T60" fmla="*/ 16 w 40"/>
                    <a:gd name="T61" fmla="*/ 88 h 88"/>
                    <a:gd name="T62" fmla="*/ 8 w 40"/>
                    <a:gd name="T63" fmla="*/ 72 h 88"/>
                    <a:gd name="T64" fmla="*/ 8 w 40"/>
                    <a:gd name="T65" fmla="*/ 64 h 88"/>
                    <a:gd name="T66" fmla="*/ 0 w 40"/>
                    <a:gd name="T67" fmla="*/ 64 h 88"/>
                    <a:gd name="T68" fmla="*/ 0 w 40"/>
                    <a:gd name="T69" fmla="*/ 56 h 88"/>
                    <a:gd name="T70" fmla="*/ 8 w 40"/>
                    <a:gd name="T71" fmla="*/ 56 h 88"/>
                    <a:gd name="T72" fmla="*/ 8 w 40"/>
                    <a:gd name="T73" fmla="*/ 48 h 88"/>
                    <a:gd name="T74" fmla="*/ 0 w 40"/>
                    <a:gd name="T75" fmla="*/ 48 h 88"/>
                    <a:gd name="T76" fmla="*/ 8 w 40"/>
                    <a:gd name="T77" fmla="*/ 40 h 88"/>
                    <a:gd name="T78" fmla="*/ 0 w 40"/>
                    <a:gd name="T79" fmla="*/ 40 h 88"/>
                    <a:gd name="T80" fmla="*/ 8 w 40"/>
                    <a:gd name="T81" fmla="*/ 40 h 88"/>
                    <a:gd name="T82" fmla="*/ 8 w 40"/>
                    <a:gd name="T83" fmla="*/ 32 h 88"/>
                    <a:gd name="T84" fmla="*/ 0 w 40"/>
                    <a:gd name="T85" fmla="*/ 32 h 88"/>
                    <a:gd name="T86" fmla="*/ 0 w 40"/>
                    <a:gd name="T87" fmla="*/ 2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88">
                      <a:moveTo>
                        <a:pt x="0" y="24"/>
                      </a:moveTo>
                      <a:lnTo>
                        <a:pt x="0" y="16"/>
                      </a:lnTo>
                      <a:lnTo>
                        <a:pt x="8" y="0"/>
                      </a:lnTo>
                      <a:lnTo>
                        <a:pt x="16" y="0"/>
                      </a:lnTo>
                      <a:lnTo>
                        <a:pt x="16" y="8"/>
                      </a:lnTo>
                      <a:lnTo>
                        <a:pt x="24" y="0"/>
                      </a:lnTo>
                      <a:lnTo>
                        <a:pt x="24" y="8"/>
                      </a:lnTo>
                      <a:lnTo>
                        <a:pt x="24" y="16"/>
                      </a:lnTo>
                      <a:lnTo>
                        <a:pt x="8" y="24"/>
                      </a:lnTo>
                      <a:lnTo>
                        <a:pt x="16" y="24"/>
                      </a:lnTo>
                      <a:lnTo>
                        <a:pt x="24" y="24"/>
                      </a:lnTo>
                      <a:lnTo>
                        <a:pt x="24" y="16"/>
                      </a:lnTo>
                      <a:lnTo>
                        <a:pt x="32" y="8"/>
                      </a:lnTo>
                      <a:lnTo>
                        <a:pt x="40" y="8"/>
                      </a:lnTo>
                      <a:lnTo>
                        <a:pt x="32" y="16"/>
                      </a:lnTo>
                      <a:lnTo>
                        <a:pt x="32" y="24"/>
                      </a:lnTo>
                      <a:lnTo>
                        <a:pt x="24" y="32"/>
                      </a:lnTo>
                      <a:lnTo>
                        <a:pt x="24" y="40"/>
                      </a:lnTo>
                      <a:lnTo>
                        <a:pt x="16" y="40"/>
                      </a:lnTo>
                      <a:lnTo>
                        <a:pt x="8" y="48"/>
                      </a:lnTo>
                      <a:lnTo>
                        <a:pt x="16" y="48"/>
                      </a:lnTo>
                      <a:lnTo>
                        <a:pt x="24" y="48"/>
                      </a:lnTo>
                      <a:lnTo>
                        <a:pt x="16" y="48"/>
                      </a:lnTo>
                      <a:lnTo>
                        <a:pt x="16" y="56"/>
                      </a:lnTo>
                      <a:lnTo>
                        <a:pt x="16" y="64"/>
                      </a:lnTo>
                      <a:lnTo>
                        <a:pt x="16" y="72"/>
                      </a:lnTo>
                      <a:lnTo>
                        <a:pt x="16" y="80"/>
                      </a:lnTo>
                      <a:lnTo>
                        <a:pt x="16" y="88"/>
                      </a:lnTo>
                      <a:lnTo>
                        <a:pt x="24" y="80"/>
                      </a:lnTo>
                      <a:lnTo>
                        <a:pt x="24" y="88"/>
                      </a:lnTo>
                      <a:lnTo>
                        <a:pt x="16" y="88"/>
                      </a:lnTo>
                      <a:lnTo>
                        <a:pt x="8" y="72"/>
                      </a:lnTo>
                      <a:lnTo>
                        <a:pt x="8" y="64"/>
                      </a:lnTo>
                      <a:lnTo>
                        <a:pt x="0" y="64"/>
                      </a:lnTo>
                      <a:lnTo>
                        <a:pt x="0" y="56"/>
                      </a:lnTo>
                      <a:lnTo>
                        <a:pt x="8" y="56"/>
                      </a:lnTo>
                      <a:lnTo>
                        <a:pt x="8" y="48"/>
                      </a:lnTo>
                      <a:lnTo>
                        <a:pt x="0" y="48"/>
                      </a:lnTo>
                      <a:lnTo>
                        <a:pt x="8" y="40"/>
                      </a:lnTo>
                      <a:lnTo>
                        <a:pt x="0" y="40"/>
                      </a:lnTo>
                      <a:lnTo>
                        <a:pt x="8" y="40"/>
                      </a:lnTo>
                      <a:lnTo>
                        <a:pt x="8" y="32"/>
                      </a:lnTo>
                      <a:lnTo>
                        <a:pt x="0" y="32"/>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4" name="Freeform 225"/>
                <p:cNvSpPr>
                  <a:spLocks/>
                </p:cNvSpPr>
                <p:nvPr/>
              </p:nvSpPr>
              <p:spPr bwMode="auto">
                <a:xfrm>
                  <a:off x="3022600" y="1917700"/>
                  <a:ext cx="2819400" cy="2197100"/>
                </a:xfrm>
                <a:custGeom>
                  <a:avLst/>
                  <a:gdLst>
                    <a:gd name="T0" fmla="*/ 184 w 1776"/>
                    <a:gd name="T1" fmla="*/ 1008 h 1384"/>
                    <a:gd name="T2" fmla="*/ 136 w 1776"/>
                    <a:gd name="T3" fmla="*/ 968 h 1384"/>
                    <a:gd name="T4" fmla="*/ 176 w 1776"/>
                    <a:gd name="T5" fmla="*/ 920 h 1384"/>
                    <a:gd name="T6" fmla="*/ 152 w 1776"/>
                    <a:gd name="T7" fmla="*/ 872 h 1384"/>
                    <a:gd name="T8" fmla="*/ 144 w 1776"/>
                    <a:gd name="T9" fmla="*/ 784 h 1384"/>
                    <a:gd name="T10" fmla="*/ 128 w 1776"/>
                    <a:gd name="T11" fmla="*/ 632 h 1384"/>
                    <a:gd name="T12" fmla="*/ 0 w 1776"/>
                    <a:gd name="T13" fmla="*/ 512 h 1384"/>
                    <a:gd name="T14" fmla="*/ 368 w 1776"/>
                    <a:gd name="T15" fmla="*/ 120 h 1384"/>
                    <a:gd name="T16" fmla="*/ 520 w 1776"/>
                    <a:gd name="T17" fmla="*/ 40 h 1384"/>
                    <a:gd name="T18" fmla="*/ 424 w 1776"/>
                    <a:gd name="T19" fmla="*/ 96 h 1384"/>
                    <a:gd name="T20" fmla="*/ 544 w 1776"/>
                    <a:gd name="T21" fmla="*/ 64 h 1384"/>
                    <a:gd name="T22" fmla="*/ 600 w 1776"/>
                    <a:gd name="T23" fmla="*/ 88 h 1384"/>
                    <a:gd name="T24" fmla="*/ 672 w 1776"/>
                    <a:gd name="T25" fmla="*/ 144 h 1384"/>
                    <a:gd name="T26" fmla="*/ 728 w 1776"/>
                    <a:gd name="T27" fmla="*/ 232 h 1384"/>
                    <a:gd name="T28" fmla="*/ 840 w 1776"/>
                    <a:gd name="T29" fmla="*/ 304 h 1384"/>
                    <a:gd name="T30" fmla="*/ 904 w 1776"/>
                    <a:gd name="T31" fmla="*/ 264 h 1384"/>
                    <a:gd name="T32" fmla="*/ 880 w 1776"/>
                    <a:gd name="T33" fmla="*/ 240 h 1384"/>
                    <a:gd name="T34" fmla="*/ 992 w 1776"/>
                    <a:gd name="T35" fmla="*/ 320 h 1384"/>
                    <a:gd name="T36" fmla="*/ 1072 w 1776"/>
                    <a:gd name="T37" fmla="*/ 288 h 1384"/>
                    <a:gd name="T38" fmla="*/ 1096 w 1776"/>
                    <a:gd name="T39" fmla="*/ 360 h 1384"/>
                    <a:gd name="T40" fmla="*/ 1120 w 1776"/>
                    <a:gd name="T41" fmla="*/ 368 h 1384"/>
                    <a:gd name="T42" fmla="*/ 1160 w 1776"/>
                    <a:gd name="T43" fmla="*/ 280 h 1384"/>
                    <a:gd name="T44" fmla="*/ 1160 w 1776"/>
                    <a:gd name="T45" fmla="*/ 192 h 1384"/>
                    <a:gd name="T46" fmla="*/ 1248 w 1776"/>
                    <a:gd name="T47" fmla="*/ 128 h 1384"/>
                    <a:gd name="T48" fmla="*/ 1216 w 1776"/>
                    <a:gd name="T49" fmla="*/ 248 h 1384"/>
                    <a:gd name="T50" fmla="*/ 1264 w 1776"/>
                    <a:gd name="T51" fmla="*/ 296 h 1384"/>
                    <a:gd name="T52" fmla="*/ 1328 w 1776"/>
                    <a:gd name="T53" fmla="*/ 336 h 1384"/>
                    <a:gd name="T54" fmla="*/ 1400 w 1776"/>
                    <a:gd name="T55" fmla="*/ 280 h 1384"/>
                    <a:gd name="T56" fmla="*/ 1400 w 1776"/>
                    <a:gd name="T57" fmla="*/ 344 h 1384"/>
                    <a:gd name="T58" fmla="*/ 1328 w 1776"/>
                    <a:gd name="T59" fmla="*/ 432 h 1384"/>
                    <a:gd name="T60" fmla="*/ 1304 w 1776"/>
                    <a:gd name="T61" fmla="*/ 432 h 1384"/>
                    <a:gd name="T62" fmla="*/ 1200 w 1776"/>
                    <a:gd name="T63" fmla="*/ 448 h 1384"/>
                    <a:gd name="T64" fmla="*/ 1184 w 1776"/>
                    <a:gd name="T65" fmla="*/ 544 h 1384"/>
                    <a:gd name="T66" fmla="*/ 1088 w 1776"/>
                    <a:gd name="T67" fmla="*/ 528 h 1384"/>
                    <a:gd name="T68" fmla="*/ 1080 w 1776"/>
                    <a:gd name="T69" fmla="*/ 600 h 1384"/>
                    <a:gd name="T70" fmla="*/ 1000 w 1776"/>
                    <a:gd name="T71" fmla="*/ 688 h 1384"/>
                    <a:gd name="T72" fmla="*/ 1008 w 1776"/>
                    <a:gd name="T73" fmla="*/ 800 h 1384"/>
                    <a:gd name="T74" fmla="*/ 1128 w 1776"/>
                    <a:gd name="T75" fmla="*/ 896 h 1384"/>
                    <a:gd name="T76" fmla="*/ 1200 w 1776"/>
                    <a:gd name="T77" fmla="*/ 1040 h 1384"/>
                    <a:gd name="T78" fmla="*/ 1256 w 1776"/>
                    <a:gd name="T79" fmla="*/ 984 h 1384"/>
                    <a:gd name="T80" fmla="*/ 1344 w 1776"/>
                    <a:gd name="T81" fmla="*/ 888 h 1384"/>
                    <a:gd name="T82" fmla="*/ 1368 w 1776"/>
                    <a:gd name="T83" fmla="*/ 728 h 1384"/>
                    <a:gd name="T84" fmla="*/ 1432 w 1776"/>
                    <a:gd name="T85" fmla="*/ 648 h 1384"/>
                    <a:gd name="T86" fmla="*/ 1536 w 1776"/>
                    <a:gd name="T87" fmla="*/ 728 h 1384"/>
                    <a:gd name="T88" fmla="*/ 1544 w 1776"/>
                    <a:gd name="T89" fmla="*/ 808 h 1384"/>
                    <a:gd name="T90" fmla="*/ 1616 w 1776"/>
                    <a:gd name="T91" fmla="*/ 792 h 1384"/>
                    <a:gd name="T92" fmla="*/ 1656 w 1776"/>
                    <a:gd name="T93" fmla="*/ 800 h 1384"/>
                    <a:gd name="T94" fmla="*/ 1672 w 1776"/>
                    <a:gd name="T95" fmla="*/ 864 h 1384"/>
                    <a:gd name="T96" fmla="*/ 1688 w 1776"/>
                    <a:gd name="T97" fmla="*/ 936 h 1384"/>
                    <a:gd name="T98" fmla="*/ 1712 w 1776"/>
                    <a:gd name="T99" fmla="*/ 968 h 1384"/>
                    <a:gd name="T100" fmla="*/ 1672 w 1776"/>
                    <a:gd name="T101" fmla="*/ 1016 h 1384"/>
                    <a:gd name="T102" fmla="*/ 1752 w 1776"/>
                    <a:gd name="T103" fmla="*/ 1024 h 1384"/>
                    <a:gd name="T104" fmla="*/ 1752 w 1776"/>
                    <a:gd name="T105" fmla="*/ 1096 h 1384"/>
                    <a:gd name="T106" fmla="*/ 1624 w 1776"/>
                    <a:gd name="T107" fmla="*/ 1136 h 1384"/>
                    <a:gd name="T108" fmla="*/ 1464 w 1776"/>
                    <a:gd name="T109" fmla="*/ 1168 h 1384"/>
                    <a:gd name="T110" fmla="*/ 1512 w 1776"/>
                    <a:gd name="T111" fmla="*/ 1168 h 1384"/>
                    <a:gd name="T112" fmla="*/ 1536 w 1776"/>
                    <a:gd name="T113" fmla="*/ 1216 h 1384"/>
                    <a:gd name="T114" fmla="*/ 1616 w 1776"/>
                    <a:gd name="T115" fmla="*/ 1296 h 1384"/>
                    <a:gd name="T116" fmla="*/ 1488 w 1776"/>
                    <a:gd name="T117" fmla="*/ 1320 h 1384"/>
                    <a:gd name="T118" fmla="*/ 1496 w 1776"/>
                    <a:gd name="T119" fmla="*/ 1296 h 1384"/>
                    <a:gd name="T120" fmla="*/ 1368 w 1776"/>
                    <a:gd name="T121" fmla="*/ 1288 h 1384"/>
                    <a:gd name="T122" fmla="*/ 960 w 1776"/>
                    <a:gd name="T123" fmla="*/ 1168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6" h="1384">
                      <a:moveTo>
                        <a:pt x="216" y="1064"/>
                      </a:moveTo>
                      <a:lnTo>
                        <a:pt x="208" y="1064"/>
                      </a:lnTo>
                      <a:lnTo>
                        <a:pt x="208" y="1056"/>
                      </a:lnTo>
                      <a:lnTo>
                        <a:pt x="216" y="1048"/>
                      </a:lnTo>
                      <a:lnTo>
                        <a:pt x="216" y="1040"/>
                      </a:lnTo>
                      <a:lnTo>
                        <a:pt x="208" y="1040"/>
                      </a:lnTo>
                      <a:lnTo>
                        <a:pt x="208" y="1048"/>
                      </a:lnTo>
                      <a:lnTo>
                        <a:pt x="200" y="1048"/>
                      </a:lnTo>
                      <a:lnTo>
                        <a:pt x="192" y="1040"/>
                      </a:lnTo>
                      <a:lnTo>
                        <a:pt x="200" y="1040"/>
                      </a:lnTo>
                      <a:lnTo>
                        <a:pt x="200" y="1032"/>
                      </a:lnTo>
                      <a:lnTo>
                        <a:pt x="192" y="1032"/>
                      </a:lnTo>
                      <a:lnTo>
                        <a:pt x="184" y="1032"/>
                      </a:lnTo>
                      <a:lnTo>
                        <a:pt x="184" y="1024"/>
                      </a:lnTo>
                      <a:lnTo>
                        <a:pt x="192" y="1016"/>
                      </a:lnTo>
                      <a:lnTo>
                        <a:pt x="192" y="1008"/>
                      </a:lnTo>
                      <a:lnTo>
                        <a:pt x="200" y="1008"/>
                      </a:lnTo>
                      <a:lnTo>
                        <a:pt x="192" y="1008"/>
                      </a:lnTo>
                      <a:lnTo>
                        <a:pt x="184" y="1008"/>
                      </a:lnTo>
                      <a:lnTo>
                        <a:pt x="184" y="1000"/>
                      </a:lnTo>
                      <a:lnTo>
                        <a:pt x="192" y="1000"/>
                      </a:lnTo>
                      <a:lnTo>
                        <a:pt x="192" y="992"/>
                      </a:lnTo>
                      <a:lnTo>
                        <a:pt x="192" y="984"/>
                      </a:lnTo>
                      <a:lnTo>
                        <a:pt x="192" y="992"/>
                      </a:lnTo>
                      <a:lnTo>
                        <a:pt x="184" y="1000"/>
                      </a:lnTo>
                      <a:lnTo>
                        <a:pt x="184" y="1008"/>
                      </a:lnTo>
                      <a:lnTo>
                        <a:pt x="176" y="1008"/>
                      </a:lnTo>
                      <a:lnTo>
                        <a:pt x="176" y="1000"/>
                      </a:lnTo>
                      <a:lnTo>
                        <a:pt x="176" y="992"/>
                      </a:lnTo>
                      <a:lnTo>
                        <a:pt x="168" y="1000"/>
                      </a:lnTo>
                      <a:lnTo>
                        <a:pt x="160" y="1000"/>
                      </a:lnTo>
                      <a:lnTo>
                        <a:pt x="160" y="992"/>
                      </a:lnTo>
                      <a:lnTo>
                        <a:pt x="168" y="992"/>
                      </a:lnTo>
                      <a:lnTo>
                        <a:pt x="176" y="984"/>
                      </a:lnTo>
                      <a:lnTo>
                        <a:pt x="176" y="976"/>
                      </a:lnTo>
                      <a:lnTo>
                        <a:pt x="176" y="984"/>
                      </a:lnTo>
                      <a:lnTo>
                        <a:pt x="168" y="992"/>
                      </a:lnTo>
                      <a:lnTo>
                        <a:pt x="160" y="992"/>
                      </a:lnTo>
                      <a:lnTo>
                        <a:pt x="160" y="984"/>
                      </a:lnTo>
                      <a:lnTo>
                        <a:pt x="152" y="984"/>
                      </a:lnTo>
                      <a:lnTo>
                        <a:pt x="152" y="976"/>
                      </a:lnTo>
                      <a:lnTo>
                        <a:pt x="144" y="976"/>
                      </a:lnTo>
                      <a:lnTo>
                        <a:pt x="144" y="984"/>
                      </a:lnTo>
                      <a:lnTo>
                        <a:pt x="136" y="976"/>
                      </a:lnTo>
                      <a:lnTo>
                        <a:pt x="144" y="976"/>
                      </a:lnTo>
                      <a:lnTo>
                        <a:pt x="152" y="976"/>
                      </a:lnTo>
                      <a:lnTo>
                        <a:pt x="144" y="976"/>
                      </a:lnTo>
                      <a:lnTo>
                        <a:pt x="144" y="968"/>
                      </a:lnTo>
                      <a:lnTo>
                        <a:pt x="144" y="976"/>
                      </a:lnTo>
                      <a:lnTo>
                        <a:pt x="152" y="968"/>
                      </a:lnTo>
                      <a:lnTo>
                        <a:pt x="144" y="968"/>
                      </a:lnTo>
                      <a:lnTo>
                        <a:pt x="136" y="968"/>
                      </a:lnTo>
                      <a:lnTo>
                        <a:pt x="128" y="968"/>
                      </a:lnTo>
                      <a:lnTo>
                        <a:pt x="136" y="960"/>
                      </a:lnTo>
                      <a:lnTo>
                        <a:pt x="144" y="960"/>
                      </a:lnTo>
                      <a:lnTo>
                        <a:pt x="152" y="960"/>
                      </a:lnTo>
                      <a:lnTo>
                        <a:pt x="144" y="960"/>
                      </a:lnTo>
                      <a:lnTo>
                        <a:pt x="136" y="960"/>
                      </a:lnTo>
                      <a:lnTo>
                        <a:pt x="144" y="952"/>
                      </a:lnTo>
                      <a:lnTo>
                        <a:pt x="144" y="960"/>
                      </a:lnTo>
                      <a:lnTo>
                        <a:pt x="144" y="952"/>
                      </a:lnTo>
                      <a:lnTo>
                        <a:pt x="152" y="952"/>
                      </a:lnTo>
                      <a:lnTo>
                        <a:pt x="160" y="952"/>
                      </a:lnTo>
                      <a:lnTo>
                        <a:pt x="160" y="944"/>
                      </a:lnTo>
                      <a:lnTo>
                        <a:pt x="152" y="944"/>
                      </a:lnTo>
                      <a:lnTo>
                        <a:pt x="144" y="944"/>
                      </a:lnTo>
                      <a:lnTo>
                        <a:pt x="144" y="952"/>
                      </a:lnTo>
                      <a:lnTo>
                        <a:pt x="136" y="952"/>
                      </a:lnTo>
                      <a:lnTo>
                        <a:pt x="136" y="944"/>
                      </a:lnTo>
                      <a:lnTo>
                        <a:pt x="136" y="936"/>
                      </a:lnTo>
                      <a:lnTo>
                        <a:pt x="144" y="936"/>
                      </a:lnTo>
                      <a:lnTo>
                        <a:pt x="160" y="928"/>
                      </a:lnTo>
                      <a:lnTo>
                        <a:pt x="160" y="920"/>
                      </a:lnTo>
                      <a:lnTo>
                        <a:pt x="160" y="928"/>
                      </a:lnTo>
                      <a:lnTo>
                        <a:pt x="168" y="936"/>
                      </a:lnTo>
                      <a:lnTo>
                        <a:pt x="168" y="928"/>
                      </a:lnTo>
                      <a:lnTo>
                        <a:pt x="168" y="920"/>
                      </a:lnTo>
                      <a:lnTo>
                        <a:pt x="176" y="920"/>
                      </a:lnTo>
                      <a:lnTo>
                        <a:pt x="168" y="920"/>
                      </a:lnTo>
                      <a:lnTo>
                        <a:pt x="160" y="920"/>
                      </a:lnTo>
                      <a:lnTo>
                        <a:pt x="160" y="912"/>
                      </a:lnTo>
                      <a:lnTo>
                        <a:pt x="168" y="912"/>
                      </a:lnTo>
                      <a:lnTo>
                        <a:pt x="176" y="912"/>
                      </a:lnTo>
                      <a:lnTo>
                        <a:pt x="176" y="904"/>
                      </a:lnTo>
                      <a:lnTo>
                        <a:pt x="176" y="896"/>
                      </a:lnTo>
                      <a:lnTo>
                        <a:pt x="168" y="904"/>
                      </a:lnTo>
                      <a:lnTo>
                        <a:pt x="160" y="904"/>
                      </a:lnTo>
                      <a:lnTo>
                        <a:pt x="160" y="912"/>
                      </a:lnTo>
                      <a:lnTo>
                        <a:pt x="152" y="920"/>
                      </a:lnTo>
                      <a:lnTo>
                        <a:pt x="144" y="920"/>
                      </a:lnTo>
                      <a:lnTo>
                        <a:pt x="144" y="912"/>
                      </a:lnTo>
                      <a:lnTo>
                        <a:pt x="136" y="912"/>
                      </a:lnTo>
                      <a:lnTo>
                        <a:pt x="144" y="904"/>
                      </a:lnTo>
                      <a:lnTo>
                        <a:pt x="152" y="904"/>
                      </a:lnTo>
                      <a:lnTo>
                        <a:pt x="144" y="896"/>
                      </a:lnTo>
                      <a:lnTo>
                        <a:pt x="152" y="896"/>
                      </a:lnTo>
                      <a:lnTo>
                        <a:pt x="144" y="896"/>
                      </a:lnTo>
                      <a:lnTo>
                        <a:pt x="144" y="888"/>
                      </a:lnTo>
                      <a:lnTo>
                        <a:pt x="136" y="880"/>
                      </a:lnTo>
                      <a:lnTo>
                        <a:pt x="136" y="872"/>
                      </a:lnTo>
                      <a:lnTo>
                        <a:pt x="144" y="872"/>
                      </a:lnTo>
                      <a:lnTo>
                        <a:pt x="152" y="872"/>
                      </a:lnTo>
                      <a:lnTo>
                        <a:pt x="160" y="872"/>
                      </a:lnTo>
                      <a:lnTo>
                        <a:pt x="152" y="872"/>
                      </a:lnTo>
                      <a:lnTo>
                        <a:pt x="144" y="872"/>
                      </a:lnTo>
                      <a:lnTo>
                        <a:pt x="144" y="864"/>
                      </a:lnTo>
                      <a:lnTo>
                        <a:pt x="144" y="856"/>
                      </a:lnTo>
                      <a:lnTo>
                        <a:pt x="152" y="856"/>
                      </a:lnTo>
                      <a:lnTo>
                        <a:pt x="152" y="848"/>
                      </a:lnTo>
                      <a:lnTo>
                        <a:pt x="144" y="856"/>
                      </a:lnTo>
                      <a:lnTo>
                        <a:pt x="136" y="856"/>
                      </a:lnTo>
                      <a:lnTo>
                        <a:pt x="128" y="864"/>
                      </a:lnTo>
                      <a:lnTo>
                        <a:pt x="120" y="856"/>
                      </a:lnTo>
                      <a:lnTo>
                        <a:pt x="120" y="848"/>
                      </a:lnTo>
                      <a:lnTo>
                        <a:pt x="120" y="840"/>
                      </a:lnTo>
                      <a:lnTo>
                        <a:pt x="120" y="832"/>
                      </a:lnTo>
                      <a:lnTo>
                        <a:pt x="120" y="824"/>
                      </a:lnTo>
                      <a:lnTo>
                        <a:pt x="120" y="816"/>
                      </a:lnTo>
                      <a:lnTo>
                        <a:pt x="128" y="824"/>
                      </a:lnTo>
                      <a:lnTo>
                        <a:pt x="128" y="816"/>
                      </a:lnTo>
                      <a:lnTo>
                        <a:pt x="128" y="808"/>
                      </a:lnTo>
                      <a:lnTo>
                        <a:pt x="136" y="808"/>
                      </a:lnTo>
                      <a:lnTo>
                        <a:pt x="144" y="808"/>
                      </a:lnTo>
                      <a:lnTo>
                        <a:pt x="144" y="800"/>
                      </a:lnTo>
                      <a:lnTo>
                        <a:pt x="144" y="792"/>
                      </a:lnTo>
                      <a:lnTo>
                        <a:pt x="152" y="792"/>
                      </a:lnTo>
                      <a:lnTo>
                        <a:pt x="160" y="784"/>
                      </a:lnTo>
                      <a:lnTo>
                        <a:pt x="152" y="784"/>
                      </a:lnTo>
                      <a:lnTo>
                        <a:pt x="152" y="776"/>
                      </a:lnTo>
                      <a:lnTo>
                        <a:pt x="144" y="784"/>
                      </a:lnTo>
                      <a:lnTo>
                        <a:pt x="144" y="792"/>
                      </a:lnTo>
                      <a:lnTo>
                        <a:pt x="136" y="800"/>
                      </a:lnTo>
                      <a:lnTo>
                        <a:pt x="136" y="792"/>
                      </a:lnTo>
                      <a:lnTo>
                        <a:pt x="144" y="792"/>
                      </a:lnTo>
                      <a:lnTo>
                        <a:pt x="144" y="784"/>
                      </a:lnTo>
                      <a:lnTo>
                        <a:pt x="152" y="768"/>
                      </a:lnTo>
                      <a:lnTo>
                        <a:pt x="152" y="760"/>
                      </a:lnTo>
                      <a:lnTo>
                        <a:pt x="152" y="752"/>
                      </a:lnTo>
                      <a:lnTo>
                        <a:pt x="152" y="744"/>
                      </a:lnTo>
                      <a:lnTo>
                        <a:pt x="144" y="736"/>
                      </a:lnTo>
                      <a:lnTo>
                        <a:pt x="136" y="736"/>
                      </a:lnTo>
                      <a:lnTo>
                        <a:pt x="136" y="728"/>
                      </a:lnTo>
                      <a:lnTo>
                        <a:pt x="136" y="720"/>
                      </a:lnTo>
                      <a:lnTo>
                        <a:pt x="128" y="720"/>
                      </a:lnTo>
                      <a:lnTo>
                        <a:pt x="128" y="712"/>
                      </a:lnTo>
                      <a:lnTo>
                        <a:pt x="120" y="712"/>
                      </a:lnTo>
                      <a:lnTo>
                        <a:pt x="128" y="704"/>
                      </a:lnTo>
                      <a:lnTo>
                        <a:pt x="120" y="704"/>
                      </a:lnTo>
                      <a:lnTo>
                        <a:pt x="120" y="696"/>
                      </a:lnTo>
                      <a:lnTo>
                        <a:pt x="128" y="696"/>
                      </a:lnTo>
                      <a:lnTo>
                        <a:pt x="120" y="680"/>
                      </a:lnTo>
                      <a:lnTo>
                        <a:pt x="128" y="664"/>
                      </a:lnTo>
                      <a:lnTo>
                        <a:pt x="128" y="648"/>
                      </a:lnTo>
                      <a:lnTo>
                        <a:pt x="128" y="640"/>
                      </a:lnTo>
                      <a:lnTo>
                        <a:pt x="120" y="640"/>
                      </a:lnTo>
                      <a:lnTo>
                        <a:pt x="128" y="632"/>
                      </a:lnTo>
                      <a:lnTo>
                        <a:pt x="120" y="624"/>
                      </a:lnTo>
                      <a:lnTo>
                        <a:pt x="120" y="616"/>
                      </a:lnTo>
                      <a:lnTo>
                        <a:pt x="120" y="608"/>
                      </a:lnTo>
                      <a:lnTo>
                        <a:pt x="112" y="600"/>
                      </a:lnTo>
                      <a:lnTo>
                        <a:pt x="120" y="600"/>
                      </a:lnTo>
                      <a:lnTo>
                        <a:pt x="112" y="584"/>
                      </a:lnTo>
                      <a:lnTo>
                        <a:pt x="112" y="576"/>
                      </a:lnTo>
                      <a:lnTo>
                        <a:pt x="112" y="568"/>
                      </a:lnTo>
                      <a:lnTo>
                        <a:pt x="112" y="560"/>
                      </a:lnTo>
                      <a:lnTo>
                        <a:pt x="104" y="560"/>
                      </a:lnTo>
                      <a:lnTo>
                        <a:pt x="96" y="560"/>
                      </a:lnTo>
                      <a:lnTo>
                        <a:pt x="88" y="568"/>
                      </a:lnTo>
                      <a:lnTo>
                        <a:pt x="80" y="568"/>
                      </a:lnTo>
                      <a:lnTo>
                        <a:pt x="80" y="576"/>
                      </a:lnTo>
                      <a:lnTo>
                        <a:pt x="72" y="584"/>
                      </a:lnTo>
                      <a:lnTo>
                        <a:pt x="64" y="584"/>
                      </a:lnTo>
                      <a:lnTo>
                        <a:pt x="56" y="584"/>
                      </a:lnTo>
                      <a:lnTo>
                        <a:pt x="48" y="592"/>
                      </a:lnTo>
                      <a:lnTo>
                        <a:pt x="48" y="584"/>
                      </a:lnTo>
                      <a:lnTo>
                        <a:pt x="48" y="576"/>
                      </a:lnTo>
                      <a:lnTo>
                        <a:pt x="40" y="544"/>
                      </a:lnTo>
                      <a:lnTo>
                        <a:pt x="32" y="528"/>
                      </a:lnTo>
                      <a:lnTo>
                        <a:pt x="40" y="512"/>
                      </a:lnTo>
                      <a:lnTo>
                        <a:pt x="24" y="512"/>
                      </a:lnTo>
                      <a:lnTo>
                        <a:pt x="16" y="520"/>
                      </a:lnTo>
                      <a:lnTo>
                        <a:pt x="0" y="512"/>
                      </a:lnTo>
                      <a:lnTo>
                        <a:pt x="280" y="0"/>
                      </a:lnTo>
                      <a:lnTo>
                        <a:pt x="288" y="0"/>
                      </a:lnTo>
                      <a:lnTo>
                        <a:pt x="296" y="8"/>
                      </a:lnTo>
                      <a:lnTo>
                        <a:pt x="304" y="8"/>
                      </a:lnTo>
                      <a:lnTo>
                        <a:pt x="304" y="16"/>
                      </a:lnTo>
                      <a:lnTo>
                        <a:pt x="312" y="16"/>
                      </a:lnTo>
                      <a:lnTo>
                        <a:pt x="312" y="24"/>
                      </a:lnTo>
                      <a:lnTo>
                        <a:pt x="320" y="32"/>
                      </a:lnTo>
                      <a:lnTo>
                        <a:pt x="320" y="40"/>
                      </a:lnTo>
                      <a:lnTo>
                        <a:pt x="320" y="48"/>
                      </a:lnTo>
                      <a:lnTo>
                        <a:pt x="328" y="48"/>
                      </a:lnTo>
                      <a:lnTo>
                        <a:pt x="328" y="56"/>
                      </a:lnTo>
                      <a:lnTo>
                        <a:pt x="328" y="64"/>
                      </a:lnTo>
                      <a:lnTo>
                        <a:pt x="336" y="72"/>
                      </a:lnTo>
                      <a:lnTo>
                        <a:pt x="344" y="72"/>
                      </a:lnTo>
                      <a:lnTo>
                        <a:pt x="344" y="80"/>
                      </a:lnTo>
                      <a:lnTo>
                        <a:pt x="352" y="80"/>
                      </a:lnTo>
                      <a:lnTo>
                        <a:pt x="352" y="88"/>
                      </a:lnTo>
                      <a:lnTo>
                        <a:pt x="352" y="96"/>
                      </a:lnTo>
                      <a:lnTo>
                        <a:pt x="360" y="96"/>
                      </a:lnTo>
                      <a:lnTo>
                        <a:pt x="368" y="96"/>
                      </a:lnTo>
                      <a:lnTo>
                        <a:pt x="368" y="104"/>
                      </a:lnTo>
                      <a:lnTo>
                        <a:pt x="368" y="112"/>
                      </a:lnTo>
                      <a:lnTo>
                        <a:pt x="376" y="112"/>
                      </a:lnTo>
                      <a:lnTo>
                        <a:pt x="368" y="112"/>
                      </a:lnTo>
                      <a:lnTo>
                        <a:pt x="368" y="120"/>
                      </a:lnTo>
                      <a:lnTo>
                        <a:pt x="360" y="120"/>
                      </a:lnTo>
                      <a:lnTo>
                        <a:pt x="376" y="112"/>
                      </a:lnTo>
                      <a:lnTo>
                        <a:pt x="384" y="112"/>
                      </a:lnTo>
                      <a:lnTo>
                        <a:pt x="384" y="104"/>
                      </a:lnTo>
                      <a:lnTo>
                        <a:pt x="384" y="96"/>
                      </a:lnTo>
                      <a:lnTo>
                        <a:pt x="384" y="88"/>
                      </a:lnTo>
                      <a:lnTo>
                        <a:pt x="384" y="80"/>
                      </a:lnTo>
                      <a:lnTo>
                        <a:pt x="392" y="80"/>
                      </a:lnTo>
                      <a:lnTo>
                        <a:pt x="400" y="72"/>
                      </a:lnTo>
                      <a:lnTo>
                        <a:pt x="408" y="72"/>
                      </a:lnTo>
                      <a:lnTo>
                        <a:pt x="408" y="64"/>
                      </a:lnTo>
                      <a:lnTo>
                        <a:pt x="416" y="64"/>
                      </a:lnTo>
                      <a:lnTo>
                        <a:pt x="424" y="64"/>
                      </a:lnTo>
                      <a:lnTo>
                        <a:pt x="432" y="64"/>
                      </a:lnTo>
                      <a:lnTo>
                        <a:pt x="432" y="56"/>
                      </a:lnTo>
                      <a:lnTo>
                        <a:pt x="440" y="56"/>
                      </a:lnTo>
                      <a:lnTo>
                        <a:pt x="448" y="56"/>
                      </a:lnTo>
                      <a:lnTo>
                        <a:pt x="448" y="48"/>
                      </a:lnTo>
                      <a:lnTo>
                        <a:pt x="456" y="56"/>
                      </a:lnTo>
                      <a:lnTo>
                        <a:pt x="464" y="56"/>
                      </a:lnTo>
                      <a:lnTo>
                        <a:pt x="480" y="48"/>
                      </a:lnTo>
                      <a:lnTo>
                        <a:pt x="488" y="48"/>
                      </a:lnTo>
                      <a:lnTo>
                        <a:pt x="496" y="40"/>
                      </a:lnTo>
                      <a:lnTo>
                        <a:pt x="504" y="40"/>
                      </a:lnTo>
                      <a:lnTo>
                        <a:pt x="512" y="40"/>
                      </a:lnTo>
                      <a:lnTo>
                        <a:pt x="520" y="40"/>
                      </a:lnTo>
                      <a:lnTo>
                        <a:pt x="520" y="48"/>
                      </a:lnTo>
                      <a:lnTo>
                        <a:pt x="520" y="56"/>
                      </a:lnTo>
                      <a:lnTo>
                        <a:pt x="504" y="56"/>
                      </a:lnTo>
                      <a:lnTo>
                        <a:pt x="496" y="56"/>
                      </a:lnTo>
                      <a:lnTo>
                        <a:pt x="496" y="64"/>
                      </a:lnTo>
                      <a:lnTo>
                        <a:pt x="488" y="64"/>
                      </a:lnTo>
                      <a:lnTo>
                        <a:pt x="480" y="64"/>
                      </a:lnTo>
                      <a:lnTo>
                        <a:pt x="472" y="64"/>
                      </a:lnTo>
                      <a:lnTo>
                        <a:pt x="464" y="64"/>
                      </a:lnTo>
                      <a:lnTo>
                        <a:pt x="464" y="72"/>
                      </a:lnTo>
                      <a:lnTo>
                        <a:pt x="448" y="64"/>
                      </a:lnTo>
                      <a:lnTo>
                        <a:pt x="448" y="72"/>
                      </a:lnTo>
                      <a:lnTo>
                        <a:pt x="440" y="72"/>
                      </a:lnTo>
                      <a:lnTo>
                        <a:pt x="432" y="80"/>
                      </a:lnTo>
                      <a:lnTo>
                        <a:pt x="424" y="80"/>
                      </a:lnTo>
                      <a:lnTo>
                        <a:pt x="424" y="88"/>
                      </a:lnTo>
                      <a:lnTo>
                        <a:pt x="416" y="88"/>
                      </a:lnTo>
                      <a:lnTo>
                        <a:pt x="408" y="96"/>
                      </a:lnTo>
                      <a:lnTo>
                        <a:pt x="400" y="96"/>
                      </a:lnTo>
                      <a:lnTo>
                        <a:pt x="408" y="104"/>
                      </a:lnTo>
                      <a:lnTo>
                        <a:pt x="416" y="104"/>
                      </a:lnTo>
                      <a:lnTo>
                        <a:pt x="408" y="104"/>
                      </a:lnTo>
                      <a:lnTo>
                        <a:pt x="408" y="96"/>
                      </a:lnTo>
                      <a:lnTo>
                        <a:pt x="416" y="104"/>
                      </a:lnTo>
                      <a:lnTo>
                        <a:pt x="416" y="96"/>
                      </a:lnTo>
                      <a:lnTo>
                        <a:pt x="424" y="96"/>
                      </a:lnTo>
                      <a:lnTo>
                        <a:pt x="416" y="96"/>
                      </a:lnTo>
                      <a:lnTo>
                        <a:pt x="424" y="88"/>
                      </a:lnTo>
                      <a:lnTo>
                        <a:pt x="432" y="88"/>
                      </a:lnTo>
                      <a:lnTo>
                        <a:pt x="440" y="88"/>
                      </a:lnTo>
                      <a:lnTo>
                        <a:pt x="448" y="80"/>
                      </a:lnTo>
                      <a:lnTo>
                        <a:pt x="448" y="72"/>
                      </a:lnTo>
                      <a:lnTo>
                        <a:pt x="456" y="72"/>
                      </a:lnTo>
                      <a:lnTo>
                        <a:pt x="456" y="80"/>
                      </a:lnTo>
                      <a:lnTo>
                        <a:pt x="464" y="72"/>
                      </a:lnTo>
                      <a:lnTo>
                        <a:pt x="464" y="80"/>
                      </a:lnTo>
                      <a:lnTo>
                        <a:pt x="472" y="72"/>
                      </a:lnTo>
                      <a:lnTo>
                        <a:pt x="472" y="80"/>
                      </a:lnTo>
                      <a:lnTo>
                        <a:pt x="472" y="88"/>
                      </a:lnTo>
                      <a:lnTo>
                        <a:pt x="472" y="80"/>
                      </a:lnTo>
                      <a:lnTo>
                        <a:pt x="480" y="72"/>
                      </a:lnTo>
                      <a:lnTo>
                        <a:pt x="496" y="64"/>
                      </a:lnTo>
                      <a:lnTo>
                        <a:pt x="504" y="64"/>
                      </a:lnTo>
                      <a:lnTo>
                        <a:pt x="512" y="64"/>
                      </a:lnTo>
                      <a:lnTo>
                        <a:pt x="520" y="64"/>
                      </a:lnTo>
                      <a:lnTo>
                        <a:pt x="520" y="56"/>
                      </a:lnTo>
                      <a:lnTo>
                        <a:pt x="528" y="56"/>
                      </a:lnTo>
                      <a:lnTo>
                        <a:pt x="528" y="64"/>
                      </a:lnTo>
                      <a:lnTo>
                        <a:pt x="520" y="64"/>
                      </a:lnTo>
                      <a:lnTo>
                        <a:pt x="520" y="72"/>
                      </a:lnTo>
                      <a:lnTo>
                        <a:pt x="528" y="64"/>
                      </a:lnTo>
                      <a:lnTo>
                        <a:pt x="544" y="64"/>
                      </a:lnTo>
                      <a:lnTo>
                        <a:pt x="544" y="56"/>
                      </a:lnTo>
                      <a:lnTo>
                        <a:pt x="552" y="56"/>
                      </a:lnTo>
                      <a:lnTo>
                        <a:pt x="552" y="48"/>
                      </a:lnTo>
                      <a:lnTo>
                        <a:pt x="560" y="56"/>
                      </a:lnTo>
                      <a:lnTo>
                        <a:pt x="560" y="48"/>
                      </a:lnTo>
                      <a:lnTo>
                        <a:pt x="560" y="40"/>
                      </a:lnTo>
                      <a:lnTo>
                        <a:pt x="560" y="32"/>
                      </a:lnTo>
                      <a:lnTo>
                        <a:pt x="568" y="24"/>
                      </a:lnTo>
                      <a:lnTo>
                        <a:pt x="568" y="32"/>
                      </a:lnTo>
                      <a:lnTo>
                        <a:pt x="568" y="48"/>
                      </a:lnTo>
                      <a:lnTo>
                        <a:pt x="568" y="56"/>
                      </a:lnTo>
                      <a:lnTo>
                        <a:pt x="568" y="72"/>
                      </a:lnTo>
                      <a:lnTo>
                        <a:pt x="568" y="80"/>
                      </a:lnTo>
                      <a:lnTo>
                        <a:pt x="568" y="104"/>
                      </a:lnTo>
                      <a:lnTo>
                        <a:pt x="568" y="112"/>
                      </a:lnTo>
                      <a:lnTo>
                        <a:pt x="576" y="112"/>
                      </a:lnTo>
                      <a:lnTo>
                        <a:pt x="576" y="120"/>
                      </a:lnTo>
                      <a:lnTo>
                        <a:pt x="584" y="112"/>
                      </a:lnTo>
                      <a:lnTo>
                        <a:pt x="576" y="112"/>
                      </a:lnTo>
                      <a:lnTo>
                        <a:pt x="576" y="104"/>
                      </a:lnTo>
                      <a:lnTo>
                        <a:pt x="584" y="104"/>
                      </a:lnTo>
                      <a:lnTo>
                        <a:pt x="584" y="96"/>
                      </a:lnTo>
                      <a:lnTo>
                        <a:pt x="592" y="96"/>
                      </a:lnTo>
                      <a:lnTo>
                        <a:pt x="600" y="96"/>
                      </a:lnTo>
                      <a:lnTo>
                        <a:pt x="592" y="88"/>
                      </a:lnTo>
                      <a:lnTo>
                        <a:pt x="600" y="88"/>
                      </a:lnTo>
                      <a:lnTo>
                        <a:pt x="608" y="80"/>
                      </a:lnTo>
                      <a:lnTo>
                        <a:pt x="616" y="72"/>
                      </a:lnTo>
                      <a:lnTo>
                        <a:pt x="616" y="80"/>
                      </a:lnTo>
                      <a:lnTo>
                        <a:pt x="616" y="88"/>
                      </a:lnTo>
                      <a:lnTo>
                        <a:pt x="608" y="88"/>
                      </a:lnTo>
                      <a:lnTo>
                        <a:pt x="608" y="96"/>
                      </a:lnTo>
                      <a:lnTo>
                        <a:pt x="608" y="104"/>
                      </a:lnTo>
                      <a:lnTo>
                        <a:pt x="608" y="96"/>
                      </a:lnTo>
                      <a:lnTo>
                        <a:pt x="608" y="104"/>
                      </a:lnTo>
                      <a:lnTo>
                        <a:pt x="600" y="112"/>
                      </a:lnTo>
                      <a:lnTo>
                        <a:pt x="592" y="120"/>
                      </a:lnTo>
                      <a:lnTo>
                        <a:pt x="600" y="120"/>
                      </a:lnTo>
                      <a:lnTo>
                        <a:pt x="608" y="120"/>
                      </a:lnTo>
                      <a:lnTo>
                        <a:pt x="616" y="120"/>
                      </a:lnTo>
                      <a:lnTo>
                        <a:pt x="624" y="120"/>
                      </a:lnTo>
                      <a:lnTo>
                        <a:pt x="624" y="112"/>
                      </a:lnTo>
                      <a:lnTo>
                        <a:pt x="632" y="104"/>
                      </a:lnTo>
                      <a:lnTo>
                        <a:pt x="640" y="104"/>
                      </a:lnTo>
                      <a:lnTo>
                        <a:pt x="648" y="104"/>
                      </a:lnTo>
                      <a:lnTo>
                        <a:pt x="648" y="112"/>
                      </a:lnTo>
                      <a:lnTo>
                        <a:pt x="656" y="112"/>
                      </a:lnTo>
                      <a:lnTo>
                        <a:pt x="664" y="112"/>
                      </a:lnTo>
                      <a:lnTo>
                        <a:pt x="664" y="120"/>
                      </a:lnTo>
                      <a:lnTo>
                        <a:pt x="672" y="128"/>
                      </a:lnTo>
                      <a:lnTo>
                        <a:pt x="672" y="136"/>
                      </a:lnTo>
                      <a:lnTo>
                        <a:pt x="672" y="144"/>
                      </a:lnTo>
                      <a:lnTo>
                        <a:pt x="696" y="160"/>
                      </a:lnTo>
                      <a:lnTo>
                        <a:pt x="704" y="168"/>
                      </a:lnTo>
                      <a:lnTo>
                        <a:pt x="712" y="176"/>
                      </a:lnTo>
                      <a:lnTo>
                        <a:pt x="720" y="176"/>
                      </a:lnTo>
                      <a:lnTo>
                        <a:pt x="720" y="184"/>
                      </a:lnTo>
                      <a:lnTo>
                        <a:pt x="728" y="184"/>
                      </a:lnTo>
                      <a:lnTo>
                        <a:pt x="736" y="192"/>
                      </a:lnTo>
                      <a:lnTo>
                        <a:pt x="744" y="200"/>
                      </a:lnTo>
                      <a:lnTo>
                        <a:pt x="744" y="192"/>
                      </a:lnTo>
                      <a:lnTo>
                        <a:pt x="736" y="192"/>
                      </a:lnTo>
                      <a:lnTo>
                        <a:pt x="744" y="184"/>
                      </a:lnTo>
                      <a:lnTo>
                        <a:pt x="736" y="184"/>
                      </a:lnTo>
                      <a:lnTo>
                        <a:pt x="744" y="184"/>
                      </a:lnTo>
                      <a:lnTo>
                        <a:pt x="744" y="192"/>
                      </a:lnTo>
                      <a:lnTo>
                        <a:pt x="752" y="184"/>
                      </a:lnTo>
                      <a:lnTo>
                        <a:pt x="760" y="192"/>
                      </a:lnTo>
                      <a:lnTo>
                        <a:pt x="768" y="200"/>
                      </a:lnTo>
                      <a:lnTo>
                        <a:pt x="768" y="208"/>
                      </a:lnTo>
                      <a:lnTo>
                        <a:pt x="768" y="216"/>
                      </a:lnTo>
                      <a:lnTo>
                        <a:pt x="768" y="224"/>
                      </a:lnTo>
                      <a:lnTo>
                        <a:pt x="760" y="232"/>
                      </a:lnTo>
                      <a:lnTo>
                        <a:pt x="752" y="232"/>
                      </a:lnTo>
                      <a:lnTo>
                        <a:pt x="744" y="224"/>
                      </a:lnTo>
                      <a:lnTo>
                        <a:pt x="744" y="232"/>
                      </a:lnTo>
                      <a:lnTo>
                        <a:pt x="736" y="232"/>
                      </a:lnTo>
                      <a:lnTo>
                        <a:pt x="728" y="232"/>
                      </a:lnTo>
                      <a:lnTo>
                        <a:pt x="728" y="240"/>
                      </a:lnTo>
                      <a:lnTo>
                        <a:pt x="720" y="240"/>
                      </a:lnTo>
                      <a:lnTo>
                        <a:pt x="720" y="248"/>
                      </a:lnTo>
                      <a:lnTo>
                        <a:pt x="728" y="248"/>
                      </a:lnTo>
                      <a:lnTo>
                        <a:pt x="736" y="256"/>
                      </a:lnTo>
                      <a:lnTo>
                        <a:pt x="744" y="256"/>
                      </a:lnTo>
                      <a:lnTo>
                        <a:pt x="744" y="264"/>
                      </a:lnTo>
                      <a:lnTo>
                        <a:pt x="752" y="264"/>
                      </a:lnTo>
                      <a:lnTo>
                        <a:pt x="760" y="264"/>
                      </a:lnTo>
                      <a:lnTo>
                        <a:pt x="776" y="272"/>
                      </a:lnTo>
                      <a:lnTo>
                        <a:pt x="784" y="272"/>
                      </a:lnTo>
                      <a:lnTo>
                        <a:pt x="792" y="272"/>
                      </a:lnTo>
                      <a:lnTo>
                        <a:pt x="800" y="272"/>
                      </a:lnTo>
                      <a:lnTo>
                        <a:pt x="808" y="272"/>
                      </a:lnTo>
                      <a:lnTo>
                        <a:pt x="816" y="264"/>
                      </a:lnTo>
                      <a:lnTo>
                        <a:pt x="832" y="264"/>
                      </a:lnTo>
                      <a:lnTo>
                        <a:pt x="832" y="272"/>
                      </a:lnTo>
                      <a:lnTo>
                        <a:pt x="832" y="280"/>
                      </a:lnTo>
                      <a:lnTo>
                        <a:pt x="840" y="280"/>
                      </a:lnTo>
                      <a:lnTo>
                        <a:pt x="840" y="288"/>
                      </a:lnTo>
                      <a:lnTo>
                        <a:pt x="840" y="296"/>
                      </a:lnTo>
                      <a:lnTo>
                        <a:pt x="840" y="304"/>
                      </a:lnTo>
                      <a:lnTo>
                        <a:pt x="840" y="296"/>
                      </a:lnTo>
                      <a:lnTo>
                        <a:pt x="848" y="288"/>
                      </a:lnTo>
                      <a:lnTo>
                        <a:pt x="848" y="296"/>
                      </a:lnTo>
                      <a:lnTo>
                        <a:pt x="840" y="304"/>
                      </a:lnTo>
                      <a:lnTo>
                        <a:pt x="840" y="312"/>
                      </a:lnTo>
                      <a:lnTo>
                        <a:pt x="840" y="320"/>
                      </a:lnTo>
                      <a:lnTo>
                        <a:pt x="840" y="328"/>
                      </a:lnTo>
                      <a:lnTo>
                        <a:pt x="840" y="336"/>
                      </a:lnTo>
                      <a:lnTo>
                        <a:pt x="848" y="344"/>
                      </a:lnTo>
                      <a:lnTo>
                        <a:pt x="848" y="352"/>
                      </a:lnTo>
                      <a:lnTo>
                        <a:pt x="848" y="360"/>
                      </a:lnTo>
                      <a:lnTo>
                        <a:pt x="848" y="376"/>
                      </a:lnTo>
                      <a:lnTo>
                        <a:pt x="848" y="360"/>
                      </a:lnTo>
                      <a:lnTo>
                        <a:pt x="848" y="344"/>
                      </a:lnTo>
                      <a:lnTo>
                        <a:pt x="848" y="336"/>
                      </a:lnTo>
                      <a:lnTo>
                        <a:pt x="856" y="328"/>
                      </a:lnTo>
                      <a:lnTo>
                        <a:pt x="856" y="336"/>
                      </a:lnTo>
                      <a:lnTo>
                        <a:pt x="864" y="336"/>
                      </a:lnTo>
                      <a:lnTo>
                        <a:pt x="864" y="328"/>
                      </a:lnTo>
                      <a:lnTo>
                        <a:pt x="864" y="320"/>
                      </a:lnTo>
                      <a:lnTo>
                        <a:pt x="864" y="312"/>
                      </a:lnTo>
                      <a:lnTo>
                        <a:pt x="864" y="304"/>
                      </a:lnTo>
                      <a:lnTo>
                        <a:pt x="872" y="288"/>
                      </a:lnTo>
                      <a:lnTo>
                        <a:pt x="872" y="280"/>
                      </a:lnTo>
                      <a:lnTo>
                        <a:pt x="880" y="280"/>
                      </a:lnTo>
                      <a:lnTo>
                        <a:pt x="880" y="272"/>
                      </a:lnTo>
                      <a:lnTo>
                        <a:pt x="888" y="272"/>
                      </a:lnTo>
                      <a:lnTo>
                        <a:pt x="896" y="272"/>
                      </a:lnTo>
                      <a:lnTo>
                        <a:pt x="904" y="272"/>
                      </a:lnTo>
                      <a:lnTo>
                        <a:pt x="904" y="264"/>
                      </a:lnTo>
                      <a:lnTo>
                        <a:pt x="912" y="264"/>
                      </a:lnTo>
                      <a:lnTo>
                        <a:pt x="912" y="272"/>
                      </a:lnTo>
                      <a:lnTo>
                        <a:pt x="912" y="264"/>
                      </a:lnTo>
                      <a:lnTo>
                        <a:pt x="912" y="256"/>
                      </a:lnTo>
                      <a:lnTo>
                        <a:pt x="920" y="256"/>
                      </a:lnTo>
                      <a:lnTo>
                        <a:pt x="928" y="256"/>
                      </a:lnTo>
                      <a:lnTo>
                        <a:pt x="936" y="256"/>
                      </a:lnTo>
                      <a:lnTo>
                        <a:pt x="936" y="248"/>
                      </a:lnTo>
                      <a:lnTo>
                        <a:pt x="928" y="248"/>
                      </a:lnTo>
                      <a:lnTo>
                        <a:pt x="920" y="248"/>
                      </a:lnTo>
                      <a:lnTo>
                        <a:pt x="912" y="248"/>
                      </a:lnTo>
                      <a:lnTo>
                        <a:pt x="912" y="256"/>
                      </a:lnTo>
                      <a:lnTo>
                        <a:pt x="904" y="256"/>
                      </a:lnTo>
                      <a:lnTo>
                        <a:pt x="904" y="248"/>
                      </a:lnTo>
                      <a:lnTo>
                        <a:pt x="904" y="256"/>
                      </a:lnTo>
                      <a:lnTo>
                        <a:pt x="896" y="256"/>
                      </a:lnTo>
                      <a:lnTo>
                        <a:pt x="888" y="256"/>
                      </a:lnTo>
                      <a:lnTo>
                        <a:pt x="888" y="248"/>
                      </a:lnTo>
                      <a:lnTo>
                        <a:pt x="888" y="256"/>
                      </a:lnTo>
                      <a:lnTo>
                        <a:pt x="888" y="264"/>
                      </a:lnTo>
                      <a:lnTo>
                        <a:pt x="880" y="256"/>
                      </a:lnTo>
                      <a:lnTo>
                        <a:pt x="872" y="256"/>
                      </a:lnTo>
                      <a:lnTo>
                        <a:pt x="880" y="256"/>
                      </a:lnTo>
                      <a:lnTo>
                        <a:pt x="880" y="248"/>
                      </a:lnTo>
                      <a:lnTo>
                        <a:pt x="872" y="248"/>
                      </a:lnTo>
                      <a:lnTo>
                        <a:pt x="880" y="240"/>
                      </a:lnTo>
                      <a:lnTo>
                        <a:pt x="888" y="232"/>
                      </a:lnTo>
                      <a:lnTo>
                        <a:pt x="896" y="232"/>
                      </a:lnTo>
                      <a:lnTo>
                        <a:pt x="912" y="232"/>
                      </a:lnTo>
                      <a:lnTo>
                        <a:pt x="928" y="232"/>
                      </a:lnTo>
                      <a:lnTo>
                        <a:pt x="936" y="232"/>
                      </a:lnTo>
                      <a:lnTo>
                        <a:pt x="944" y="232"/>
                      </a:lnTo>
                      <a:lnTo>
                        <a:pt x="944" y="240"/>
                      </a:lnTo>
                      <a:lnTo>
                        <a:pt x="944" y="248"/>
                      </a:lnTo>
                      <a:lnTo>
                        <a:pt x="944" y="256"/>
                      </a:lnTo>
                      <a:lnTo>
                        <a:pt x="936" y="256"/>
                      </a:lnTo>
                      <a:lnTo>
                        <a:pt x="936" y="264"/>
                      </a:lnTo>
                      <a:lnTo>
                        <a:pt x="944" y="264"/>
                      </a:lnTo>
                      <a:lnTo>
                        <a:pt x="944" y="272"/>
                      </a:lnTo>
                      <a:lnTo>
                        <a:pt x="952" y="272"/>
                      </a:lnTo>
                      <a:lnTo>
                        <a:pt x="944" y="280"/>
                      </a:lnTo>
                      <a:lnTo>
                        <a:pt x="944" y="288"/>
                      </a:lnTo>
                      <a:lnTo>
                        <a:pt x="952" y="288"/>
                      </a:lnTo>
                      <a:lnTo>
                        <a:pt x="960" y="288"/>
                      </a:lnTo>
                      <a:lnTo>
                        <a:pt x="968" y="288"/>
                      </a:lnTo>
                      <a:lnTo>
                        <a:pt x="968" y="296"/>
                      </a:lnTo>
                      <a:lnTo>
                        <a:pt x="976" y="296"/>
                      </a:lnTo>
                      <a:lnTo>
                        <a:pt x="976" y="304"/>
                      </a:lnTo>
                      <a:lnTo>
                        <a:pt x="984" y="312"/>
                      </a:lnTo>
                      <a:lnTo>
                        <a:pt x="984" y="320"/>
                      </a:lnTo>
                      <a:lnTo>
                        <a:pt x="992" y="312"/>
                      </a:lnTo>
                      <a:lnTo>
                        <a:pt x="992" y="320"/>
                      </a:lnTo>
                      <a:lnTo>
                        <a:pt x="1000" y="320"/>
                      </a:lnTo>
                      <a:lnTo>
                        <a:pt x="1008" y="320"/>
                      </a:lnTo>
                      <a:lnTo>
                        <a:pt x="1016" y="320"/>
                      </a:lnTo>
                      <a:lnTo>
                        <a:pt x="1024" y="312"/>
                      </a:lnTo>
                      <a:lnTo>
                        <a:pt x="1024" y="320"/>
                      </a:lnTo>
                      <a:lnTo>
                        <a:pt x="1032" y="312"/>
                      </a:lnTo>
                      <a:lnTo>
                        <a:pt x="1040" y="320"/>
                      </a:lnTo>
                      <a:lnTo>
                        <a:pt x="1048" y="320"/>
                      </a:lnTo>
                      <a:lnTo>
                        <a:pt x="1048" y="328"/>
                      </a:lnTo>
                      <a:lnTo>
                        <a:pt x="1056" y="320"/>
                      </a:lnTo>
                      <a:lnTo>
                        <a:pt x="1064" y="328"/>
                      </a:lnTo>
                      <a:lnTo>
                        <a:pt x="1064" y="320"/>
                      </a:lnTo>
                      <a:lnTo>
                        <a:pt x="1064" y="312"/>
                      </a:lnTo>
                      <a:lnTo>
                        <a:pt x="1056" y="312"/>
                      </a:lnTo>
                      <a:lnTo>
                        <a:pt x="1064" y="304"/>
                      </a:lnTo>
                      <a:lnTo>
                        <a:pt x="1064" y="312"/>
                      </a:lnTo>
                      <a:lnTo>
                        <a:pt x="1064" y="320"/>
                      </a:lnTo>
                      <a:lnTo>
                        <a:pt x="1072" y="328"/>
                      </a:lnTo>
                      <a:lnTo>
                        <a:pt x="1080" y="336"/>
                      </a:lnTo>
                      <a:lnTo>
                        <a:pt x="1080" y="328"/>
                      </a:lnTo>
                      <a:lnTo>
                        <a:pt x="1072" y="320"/>
                      </a:lnTo>
                      <a:lnTo>
                        <a:pt x="1072" y="312"/>
                      </a:lnTo>
                      <a:lnTo>
                        <a:pt x="1064" y="304"/>
                      </a:lnTo>
                      <a:lnTo>
                        <a:pt x="1072" y="304"/>
                      </a:lnTo>
                      <a:lnTo>
                        <a:pt x="1072" y="296"/>
                      </a:lnTo>
                      <a:lnTo>
                        <a:pt x="1072" y="288"/>
                      </a:lnTo>
                      <a:lnTo>
                        <a:pt x="1080" y="288"/>
                      </a:lnTo>
                      <a:lnTo>
                        <a:pt x="1080" y="296"/>
                      </a:lnTo>
                      <a:lnTo>
                        <a:pt x="1088" y="296"/>
                      </a:lnTo>
                      <a:lnTo>
                        <a:pt x="1088" y="288"/>
                      </a:lnTo>
                      <a:lnTo>
                        <a:pt x="1096" y="288"/>
                      </a:lnTo>
                      <a:lnTo>
                        <a:pt x="1096" y="296"/>
                      </a:lnTo>
                      <a:lnTo>
                        <a:pt x="1104" y="296"/>
                      </a:lnTo>
                      <a:lnTo>
                        <a:pt x="1104" y="304"/>
                      </a:lnTo>
                      <a:lnTo>
                        <a:pt x="1096" y="304"/>
                      </a:lnTo>
                      <a:lnTo>
                        <a:pt x="1104" y="312"/>
                      </a:lnTo>
                      <a:lnTo>
                        <a:pt x="1112" y="312"/>
                      </a:lnTo>
                      <a:lnTo>
                        <a:pt x="1104" y="312"/>
                      </a:lnTo>
                      <a:lnTo>
                        <a:pt x="1104" y="320"/>
                      </a:lnTo>
                      <a:lnTo>
                        <a:pt x="1112" y="312"/>
                      </a:lnTo>
                      <a:lnTo>
                        <a:pt x="1120" y="312"/>
                      </a:lnTo>
                      <a:lnTo>
                        <a:pt x="1128" y="312"/>
                      </a:lnTo>
                      <a:lnTo>
                        <a:pt x="1120" y="312"/>
                      </a:lnTo>
                      <a:lnTo>
                        <a:pt x="1120" y="320"/>
                      </a:lnTo>
                      <a:lnTo>
                        <a:pt x="1112" y="328"/>
                      </a:lnTo>
                      <a:lnTo>
                        <a:pt x="1104" y="336"/>
                      </a:lnTo>
                      <a:lnTo>
                        <a:pt x="1104" y="344"/>
                      </a:lnTo>
                      <a:lnTo>
                        <a:pt x="1096" y="336"/>
                      </a:lnTo>
                      <a:lnTo>
                        <a:pt x="1096" y="344"/>
                      </a:lnTo>
                      <a:lnTo>
                        <a:pt x="1096" y="352"/>
                      </a:lnTo>
                      <a:lnTo>
                        <a:pt x="1104" y="352"/>
                      </a:lnTo>
                      <a:lnTo>
                        <a:pt x="1096" y="360"/>
                      </a:lnTo>
                      <a:lnTo>
                        <a:pt x="1104" y="360"/>
                      </a:lnTo>
                      <a:lnTo>
                        <a:pt x="1104" y="352"/>
                      </a:lnTo>
                      <a:lnTo>
                        <a:pt x="1112" y="360"/>
                      </a:lnTo>
                      <a:lnTo>
                        <a:pt x="1104" y="360"/>
                      </a:lnTo>
                      <a:lnTo>
                        <a:pt x="1104" y="368"/>
                      </a:lnTo>
                      <a:lnTo>
                        <a:pt x="1112" y="360"/>
                      </a:lnTo>
                      <a:lnTo>
                        <a:pt x="1104" y="368"/>
                      </a:lnTo>
                      <a:lnTo>
                        <a:pt x="1104" y="376"/>
                      </a:lnTo>
                      <a:lnTo>
                        <a:pt x="1096" y="376"/>
                      </a:lnTo>
                      <a:lnTo>
                        <a:pt x="1096" y="368"/>
                      </a:lnTo>
                      <a:lnTo>
                        <a:pt x="1088" y="376"/>
                      </a:lnTo>
                      <a:lnTo>
                        <a:pt x="1088" y="368"/>
                      </a:lnTo>
                      <a:lnTo>
                        <a:pt x="1088" y="376"/>
                      </a:lnTo>
                      <a:lnTo>
                        <a:pt x="1088" y="384"/>
                      </a:lnTo>
                      <a:lnTo>
                        <a:pt x="1088" y="392"/>
                      </a:lnTo>
                      <a:lnTo>
                        <a:pt x="1096" y="384"/>
                      </a:lnTo>
                      <a:lnTo>
                        <a:pt x="1088" y="376"/>
                      </a:lnTo>
                      <a:lnTo>
                        <a:pt x="1096" y="376"/>
                      </a:lnTo>
                      <a:lnTo>
                        <a:pt x="1104" y="376"/>
                      </a:lnTo>
                      <a:lnTo>
                        <a:pt x="1104" y="384"/>
                      </a:lnTo>
                      <a:lnTo>
                        <a:pt x="1112" y="376"/>
                      </a:lnTo>
                      <a:lnTo>
                        <a:pt x="1120" y="368"/>
                      </a:lnTo>
                      <a:lnTo>
                        <a:pt x="1128" y="368"/>
                      </a:lnTo>
                      <a:lnTo>
                        <a:pt x="1128" y="360"/>
                      </a:lnTo>
                      <a:lnTo>
                        <a:pt x="1120" y="360"/>
                      </a:lnTo>
                      <a:lnTo>
                        <a:pt x="1120" y="368"/>
                      </a:lnTo>
                      <a:lnTo>
                        <a:pt x="1112" y="368"/>
                      </a:lnTo>
                      <a:lnTo>
                        <a:pt x="1112" y="360"/>
                      </a:lnTo>
                      <a:lnTo>
                        <a:pt x="1120" y="360"/>
                      </a:lnTo>
                      <a:lnTo>
                        <a:pt x="1120" y="352"/>
                      </a:lnTo>
                      <a:lnTo>
                        <a:pt x="1120" y="344"/>
                      </a:lnTo>
                      <a:lnTo>
                        <a:pt x="1120" y="336"/>
                      </a:lnTo>
                      <a:lnTo>
                        <a:pt x="1120" y="328"/>
                      </a:lnTo>
                      <a:lnTo>
                        <a:pt x="1128" y="320"/>
                      </a:lnTo>
                      <a:lnTo>
                        <a:pt x="1128" y="328"/>
                      </a:lnTo>
                      <a:lnTo>
                        <a:pt x="1136" y="320"/>
                      </a:lnTo>
                      <a:lnTo>
                        <a:pt x="1136" y="328"/>
                      </a:lnTo>
                      <a:lnTo>
                        <a:pt x="1144" y="328"/>
                      </a:lnTo>
                      <a:lnTo>
                        <a:pt x="1144" y="320"/>
                      </a:lnTo>
                      <a:lnTo>
                        <a:pt x="1160" y="320"/>
                      </a:lnTo>
                      <a:lnTo>
                        <a:pt x="1160" y="312"/>
                      </a:lnTo>
                      <a:lnTo>
                        <a:pt x="1168" y="304"/>
                      </a:lnTo>
                      <a:lnTo>
                        <a:pt x="1176" y="304"/>
                      </a:lnTo>
                      <a:lnTo>
                        <a:pt x="1176" y="296"/>
                      </a:lnTo>
                      <a:lnTo>
                        <a:pt x="1176" y="288"/>
                      </a:lnTo>
                      <a:lnTo>
                        <a:pt x="1184" y="288"/>
                      </a:lnTo>
                      <a:lnTo>
                        <a:pt x="1184" y="280"/>
                      </a:lnTo>
                      <a:lnTo>
                        <a:pt x="1176" y="280"/>
                      </a:lnTo>
                      <a:lnTo>
                        <a:pt x="1176" y="288"/>
                      </a:lnTo>
                      <a:lnTo>
                        <a:pt x="1168" y="288"/>
                      </a:lnTo>
                      <a:lnTo>
                        <a:pt x="1160" y="288"/>
                      </a:lnTo>
                      <a:lnTo>
                        <a:pt x="1160" y="280"/>
                      </a:lnTo>
                      <a:lnTo>
                        <a:pt x="1168" y="280"/>
                      </a:lnTo>
                      <a:lnTo>
                        <a:pt x="1168" y="272"/>
                      </a:lnTo>
                      <a:lnTo>
                        <a:pt x="1176" y="272"/>
                      </a:lnTo>
                      <a:lnTo>
                        <a:pt x="1176" y="264"/>
                      </a:lnTo>
                      <a:lnTo>
                        <a:pt x="1176" y="256"/>
                      </a:lnTo>
                      <a:lnTo>
                        <a:pt x="1184" y="256"/>
                      </a:lnTo>
                      <a:lnTo>
                        <a:pt x="1192" y="264"/>
                      </a:lnTo>
                      <a:lnTo>
                        <a:pt x="1184" y="264"/>
                      </a:lnTo>
                      <a:lnTo>
                        <a:pt x="1184" y="272"/>
                      </a:lnTo>
                      <a:lnTo>
                        <a:pt x="1192" y="264"/>
                      </a:lnTo>
                      <a:lnTo>
                        <a:pt x="1192" y="256"/>
                      </a:lnTo>
                      <a:lnTo>
                        <a:pt x="1200" y="256"/>
                      </a:lnTo>
                      <a:lnTo>
                        <a:pt x="1192" y="256"/>
                      </a:lnTo>
                      <a:lnTo>
                        <a:pt x="1184" y="256"/>
                      </a:lnTo>
                      <a:lnTo>
                        <a:pt x="1184" y="248"/>
                      </a:lnTo>
                      <a:lnTo>
                        <a:pt x="1176" y="248"/>
                      </a:lnTo>
                      <a:lnTo>
                        <a:pt x="1176" y="240"/>
                      </a:lnTo>
                      <a:lnTo>
                        <a:pt x="1168" y="240"/>
                      </a:lnTo>
                      <a:lnTo>
                        <a:pt x="1160" y="232"/>
                      </a:lnTo>
                      <a:lnTo>
                        <a:pt x="1160" y="224"/>
                      </a:lnTo>
                      <a:lnTo>
                        <a:pt x="1152" y="232"/>
                      </a:lnTo>
                      <a:lnTo>
                        <a:pt x="1152" y="224"/>
                      </a:lnTo>
                      <a:lnTo>
                        <a:pt x="1152" y="216"/>
                      </a:lnTo>
                      <a:lnTo>
                        <a:pt x="1152" y="208"/>
                      </a:lnTo>
                      <a:lnTo>
                        <a:pt x="1152" y="200"/>
                      </a:lnTo>
                      <a:lnTo>
                        <a:pt x="1160" y="192"/>
                      </a:lnTo>
                      <a:lnTo>
                        <a:pt x="1168" y="184"/>
                      </a:lnTo>
                      <a:lnTo>
                        <a:pt x="1176" y="184"/>
                      </a:lnTo>
                      <a:lnTo>
                        <a:pt x="1176" y="176"/>
                      </a:lnTo>
                      <a:lnTo>
                        <a:pt x="1168" y="176"/>
                      </a:lnTo>
                      <a:lnTo>
                        <a:pt x="1168" y="168"/>
                      </a:lnTo>
                      <a:lnTo>
                        <a:pt x="1176" y="160"/>
                      </a:lnTo>
                      <a:lnTo>
                        <a:pt x="1176" y="152"/>
                      </a:lnTo>
                      <a:lnTo>
                        <a:pt x="1184" y="152"/>
                      </a:lnTo>
                      <a:lnTo>
                        <a:pt x="1184" y="144"/>
                      </a:lnTo>
                      <a:lnTo>
                        <a:pt x="1192" y="144"/>
                      </a:lnTo>
                      <a:lnTo>
                        <a:pt x="1192" y="136"/>
                      </a:lnTo>
                      <a:lnTo>
                        <a:pt x="1200" y="136"/>
                      </a:lnTo>
                      <a:lnTo>
                        <a:pt x="1200" y="144"/>
                      </a:lnTo>
                      <a:lnTo>
                        <a:pt x="1208" y="144"/>
                      </a:lnTo>
                      <a:lnTo>
                        <a:pt x="1216" y="136"/>
                      </a:lnTo>
                      <a:lnTo>
                        <a:pt x="1216" y="128"/>
                      </a:lnTo>
                      <a:lnTo>
                        <a:pt x="1208" y="128"/>
                      </a:lnTo>
                      <a:lnTo>
                        <a:pt x="1200" y="128"/>
                      </a:lnTo>
                      <a:lnTo>
                        <a:pt x="1208" y="120"/>
                      </a:lnTo>
                      <a:lnTo>
                        <a:pt x="1216" y="120"/>
                      </a:lnTo>
                      <a:lnTo>
                        <a:pt x="1224" y="112"/>
                      </a:lnTo>
                      <a:lnTo>
                        <a:pt x="1224" y="104"/>
                      </a:lnTo>
                      <a:lnTo>
                        <a:pt x="1232" y="112"/>
                      </a:lnTo>
                      <a:lnTo>
                        <a:pt x="1240" y="112"/>
                      </a:lnTo>
                      <a:lnTo>
                        <a:pt x="1240" y="120"/>
                      </a:lnTo>
                      <a:lnTo>
                        <a:pt x="1248" y="128"/>
                      </a:lnTo>
                      <a:lnTo>
                        <a:pt x="1240" y="128"/>
                      </a:lnTo>
                      <a:lnTo>
                        <a:pt x="1248" y="136"/>
                      </a:lnTo>
                      <a:lnTo>
                        <a:pt x="1240" y="136"/>
                      </a:lnTo>
                      <a:lnTo>
                        <a:pt x="1248" y="144"/>
                      </a:lnTo>
                      <a:lnTo>
                        <a:pt x="1248" y="152"/>
                      </a:lnTo>
                      <a:lnTo>
                        <a:pt x="1248" y="160"/>
                      </a:lnTo>
                      <a:lnTo>
                        <a:pt x="1248" y="168"/>
                      </a:lnTo>
                      <a:lnTo>
                        <a:pt x="1240" y="176"/>
                      </a:lnTo>
                      <a:lnTo>
                        <a:pt x="1240" y="184"/>
                      </a:lnTo>
                      <a:lnTo>
                        <a:pt x="1240" y="192"/>
                      </a:lnTo>
                      <a:lnTo>
                        <a:pt x="1248" y="200"/>
                      </a:lnTo>
                      <a:lnTo>
                        <a:pt x="1248" y="208"/>
                      </a:lnTo>
                      <a:lnTo>
                        <a:pt x="1248" y="216"/>
                      </a:lnTo>
                      <a:lnTo>
                        <a:pt x="1248" y="224"/>
                      </a:lnTo>
                      <a:lnTo>
                        <a:pt x="1240" y="224"/>
                      </a:lnTo>
                      <a:lnTo>
                        <a:pt x="1240" y="216"/>
                      </a:lnTo>
                      <a:lnTo>
                        <a:pt x="1232" y="216"/>
                      </a:lnTo>
                      <a:lnTo>
                        <a:pt x="1232" y="224"/>
                      </a:lnTo>
                      <a:lnTo>
                        <a:pt x="1224" y="224"/>
                      </a:lnTo>
                      <a:lnTo>
                        <a:pt x="1224" y="232"/>
                      </a:lnTo>
                      <a:lnTo>
                        <a:pt x="1232" y="224"/>
                      </a:lnTo>
                      <a:lnTo>
                        <a:pt x="1240" y="232"/>
                      </a:lnTo>
                      <a:lnTo>
                        <a:pt x="1232" y="232"/>
                      </a:lnTo>
                      <a:lnTo>
                        <a:pt x="1224" y="240"/>
                      </a:lnTo>
                      <a:lnTo>
                        <a:pt x="1216" y="240"/>
                      </a:lnTo>
                      <a:lnTo>
                        <a:pt x="1216" y="248"/>
                      </a:lnTo>
                      <a:lnTo>
                        <a:pt x="1216" y="256"/>
                      </a:lnTo>
                      <a:lnTo>
                        <a:pt x="1224" y="256"/>
                      </a:lnTo>
                      <a:lnTo>
                        <a:pt x="1232" y="264"/>
                      </a:lnTo>
                      <a:lnTo>
                        <a:pt x="1240" y="256"/>
                      </a:lnTo>
                      <a:lnTo>
                        <a:pt x="1240" y="264"/>
                      </a:lnTo>
                      <a:lnTo>
                        <a:pt x="1248" y="264"/>
                      </a:lnTo>
                      <a:lnTo>
                        <a:pt x="1256" y="264"/>
                      </a:lnTo>
                      <a:lnTo>
                        <a:pt x="1248" y="272"/>
                      </a:lnTo>
                      <a:lnTo>
                        <a:pt x="1240" y="272"/>
                      </a:lnTo>
                      <a:lnTo>
                        <a:pt x="1232" y="272"/>
                      </a:lnTo>
                      <a:lnTo>
                        <a:pt x="1240" y="272"/>
                      </a:lnTo>
                      <a:lnTo>
                        <a:pt x="1240" y="280"/>
                      </a:lnTo>
                      <a:lnTo>
                        <a:pt x="1240" y="288"/>
                      </a:lnTo>
                      <a:lnTo>
                        <a:pt x="1240" y="296"/>
                      </a:lnTo>
                      <a:lnTo>
                        <a:pt x="1240" y="304"/>
                      </a:lnTo>
                      <a:lnTo>
                        <a:pt x="1240" y="312"/>
                      </a:lnTo>
                      <a:lnTo>
                        <a:pt x="1232" y="320"/>
                      </a:lnTo>
                      <a:lnTo>
                        <a:pt x="1232" y="328"/>
                      </a:lnTo>
                      <a:lnTo>
                        <a:pt x="1240" y="328"/>
                      </a:lnTo>
                      <a:lnTo>
                        <a:pt x="1240" y="320"/>
                      </a:lnTo>
                      <a:lnTo>
                        <a:pt x="1248" y="320"/>
                      </a:lnTo>
                      <a:lnTo>
                        <a:pt x="1248" y="312"/>
                      </a:lnTo>
                      <a:lnTo>
                        <a:pt x="1256" y="312"/>
                      </a:lnTo>
                      <a:lnTo>
                        <a:pt x="1256" y="304"/>
                      </a:lnTo>
                      <a:lnTo>
                        <a:pt x="1256" y="296"/>
                      </a:lnTo>
                      <a:lnTo>
                        <a:pt x="1264" y="296"/>
                      </a:lnTo>
                      <a:lnTo>
                        <a:pt x="1264" y="280"/>
                      </a:lnTo>
                      <a:lnTo>
                        <a:pt x="1272" y="280"/>
                      </a:lnTo>
                      <a:lnTo>
                        <a:pt x="1272" y="288"/>
                      </a:lnTo>
                      <a:lnTo>
                        <a:pt x="1280" y="296"/>
                      </a:lnTo>
                      <a:lnTo>
                        <a:pt x="1280" y="304"/>
                      </a:lnTo>
                      <a:lnTo>
                        <a:pt x="1280" y="312"/>
                      </a:lnTo>
                      <a:lnTo>
                        <a:pt x="1280" y="328"/>
                      </a:lnTo>
                      <a:lnTo>
                        <a:pt x="1272" y="328"/>
                      </a:lnTo>
                      <a:lnTo>
                        <a:pt x="1272" y="336"/>
                      </a:lnTo>
                      <a:lnTo>
                        <a:pt x="1272" y="344"/>
                      </a:lnTo>
                      <a:lnTo>
                        <a:pt x="1264" y="344"/>
                      </a:lnTo>
                      <a:lnTo>
                        <a:pt x="1264" y="352"/>
                      </a:lnTo>
                      <a:lnTo>
                        <a:pt x="1264" y="360"/>
                      </a:lnTo>
                      <a:lnTo>
                        <a:pt x="1272" y="376"/>
                      </a:lnTo>
                      <a:lnTo>
                        <a:pt x="1272" y="384"/>
                      </a:lnTo>
                      <a:lnTo>
                        <a:pt x="1272" y="392"/>
                      </a:lnTo>
                      <a:lnTo>
                        <a:pt x="1280" y="392"/>
                      </a:lnTo>
                      <a:lnTo>
                        <a:pt x="1280" y="384"/>
                      </a:lnTo>
                      <a:lnTo>
                        <a:pt x="1288" y="392"/>
                      </a:lnTo>
                      <a:lnTo>
                        <a:pt x="1288" y="384"/>
                      </a:lnTo>
                      <a:lnTo>
                        <a:pt x="1296" y="376"/>
                      </a:lnTo>
                      <a:lnTo>
                        <a:pt x="1296" y="368"/>
                      </a:lnTo>
                      <a:lnTo>
                        <a:pt x="1304" y="360"/>
                      </a:lnTo>
                      <a:lnTo>
                        <a:pt x="1312" y="352"/>
                      </a:lnTo>
                      <a:lnTo>
                        <a:pt x="1320" y="344"/>
                      </a:lnTo>
                      <a:lnTo>
                        <a:pt x="1328" y="336"/>
                      </a:lnTo>
                      <a:lnTo>
                        <a:pt x="1328" y="320"/>
                      </a:lnTo>
                      <a:lnTo>
                        <a:pt x="1336" y="320"/>
                      </a:lnTo>
                      <a:lnTo>
                        <a:pt x="1336" y="328"/>
                      </a:lnTo>
                      <a:lnTo>
                        <a:pt x="1344" y="320"/>
                      </a:lnTo>
                      <a:lnTo>
                        <a:pt x="1344" y="328"/>
                      </a:lnTo>
                      <a:lnTo>
                        <a:pt x="1344" y="320"/>
                      </a:lnTo>
                      <a:lnTo>
                        <a:pt x="1352" y="320"/>
                      </a:lnTo>
                      <a:lnTo>
                        <a:pt x="1344" y="320"/>
                      </a:lnTo>
                      <a:lnTo>
                        <a:pt x="1344" y="312"/>
                      </a:lnTo>
                      <a:lnTo>
                        <a:pt x="1352" y="312"/>
                      </a:lnTo>
                      <a:lnTo>
                        <a:pt x="1360" y="312"/>
                      </a:lnTo>
                      <a:lnTo>
                        <a:pt x="1352" y="304"/>
                      </a:lnTo>
                      <a:lnTo>
                        <a:pt x="1352" y="296"/>
                      </a:lnTo>
                      <a:lnTo>
                        <a:pt x="1352" y="288"/>
                      </a:lnTo>
                      <a:lnTo>
                        <a:pt x="1360" y="288"/>
                      </a:lnTo>
                      <a:lnTo>
                        <a:pt x="1352" y="288"/>
                      </a:lnTo>
                      <a:lnTo>
                        <a:pt x="1352" y="280"/>
                      </a:lnTo>
                      <a:lnTo>
                        <a:pt x="1360" y="280"/>
                      </a:lnTo>
                      <a:lnTo>
                        <a:pt x="1360" y="272"/>
                      </a:lnTo>
                      <a:lnTo>
                        <a:pt x="1360" y="264"/>
                      </a:lnTo>
                      <a:lnTo>
                        <a:pt x="1368" y="272"/>
                      </a:lnTo>
                      <a:lnTo>
                        <a:pt x="1368" y="264"/>
                      </a:lnTo>
                      <a:lnTo>
                        <a:pt x="1376" y="272"/>
                      </a:lnTo>
                      <a:lnTo>
                        <a:pt x="1384" y="272"/>
                      </a:lnTo>
                      <a:lnTo>
                        <a:pt x="1392" y="280"/>
                      </a:lnTo>
                      <a:lnTo>
                        <a:pt x="1400" y="280"/>
                      </a:lnTo>
                      <a:lnTo>
                        <a:pt x="1408" y="280"/>
                      </a:lnTo>
                      <a:lnTo>
                        <a:pt x="1416" y="288"/>
                      </a:lnTo>
                      <a:lnTo>
                        <a:pt x="1408" y="288"/>
                      </a:lnTo>
                      <a:lnTo>
                        <a:pt x="1416" y="296"/>
                      </a:lnTo>
                      <a:lnTo>
                        <a:pt x="1408" y="296"/>
                      </a:lnTo>
                      <a:lnTo>
                        <a:pt x="1400" y="288"/>
                      </a:lnTo>
                      <a:lnTo>
                        <a:pt x="1400" y="296"/>
                      </a:lnTo>
                      <a:lnTo>
                        <a:pt x="1416" y="304"/>
                      </a:lnTo>
                      <a:lnTo>
                        <a:pt x="1408" y="304"/>
                      </a:lnTo>
                      <a:lnTo>
                        <a:pt x="1416" y="312"/>
                      </a:lnTo>
                      <a:lnTo>
                        <a:pt x="1416" y="304"/>
                      </a:lnTo>
                      <a:lnTo>
                        <a:pt x="1424" y="312"/>
                      </a:lnTo>
                      <a:lnTo>
                        <a:pt x="1432" y="312"/>
                      </a:lnTo>
                      <a:lnTo>
                        <a:pt x="1424" y="320"/>
                      </a:lnTo>
                      <a:lnTo>
                        <a:pt x="1416" y="328"/>
                      </a:lnTo>
                      <a:lnTo>
                        <a:pt x="1408" y="328"/>
                      </a:lnTo>
                      <a:lnTo>
                        <a:pt x="1416" y="328"/>
                      </a:lnTo>
                      <a:lnTo>
                        <a:pt x="1424" y="328"/>
                      </a:lnTo>
                      <a:lnTo>
                        <a:pt x="1424" y="336"/>
                      </a:lnTo>
                      <a:lnTo>
                        <a:pt x="1424" y="344"/>
                      </a:lnTo>
                      <a:lnTo>
                        <a:pt x="1416" y="344"/>
                      </a:lnTo>
                      <a:lnTo>
                        <a:pt x="1408" y="352"/>
                      </a:lnTo>
                      <a:lnTo>
                        <a:pt x="1408" y="344"/>
                      </a:lnTo>
                      <a:lnTo>
                        <a:pt x="1408" y="352"/>
                      </a:lnTo>
                      <a:lnTo>
                        <a:pt x="1400" y="352"/>
                      </a:lnTo>
                      <a:lnTo>
                        <a:pt x="1400" y="344"/>
                      </a:lnTo>
                      <a:lnTo>
                        <a:pt x="1392" y="344"/>
                      </a:lnTo>
                      <a:lnTo>
                        <a:pt x="1384" y="344"/>
                      </a:lnTo>
                      <a:lnTo>
                        <a:pt x="1392" y="352"/>
                      </a:lnTo>
                      <a:lnTo>
                        <a:pt x="1392" y="360"/>
                      </a:lnTo>
                      <a:lnTo>
                        <a:pt x="1392" y="368"/>
                      </a:lnTo>
                      <a:lnTo>
                        <a:pt x="1392" y="360"/>
                      </a:lnTo>
                      <a:lnTo>
                        <a:pt x="1400" y="360"/>
                      </a:lnTo>
                      <a:lnTo>
                        <a:pt x="1392" y="368"/>
                      </a:lnTo>
                      <a:lnTo>
                        <a:pt x="1384" y="376"/>
                      </a:lnTo>
                      <a:lnTo>
                        <a:pt x="1392" y="384"/>
                      </a:lnTo>
                      <a:lnTo>
                        <a:pt x="1400" y="400"/>
                      </a:lnTo>
                      <a:lnTo>
                        <a:pt x="1392" y="400"/>
                      </a:lnTo>
                      <a:lnTo>
                        <a:pt x="1392" y="408"/>
                      </a:lnTo>
                      <a:lnTo>
                        <a:pt x="1392" y="416"/>
                      </a:lnTo>
                      <a:lnTo>
                        <a:pt x="1384" y="424"/>
                      </a:lnTo>
                      <a:lnTo>
                        <a:pt x="1384" y="416"/>
                      </a:lnTo>
                      <a:lnTo>
                        <a:pt x="1376" y="416"/>
                      </a:lnTo>
                      <a:lnTo>
                        <a:pt x="1368" y="424"/>
                      </a:lnTo>
                      <a:lnTo>
                        <a:pt x="1368" y="432"/>
                      </a:lnTo>
                      <a:lnTo>
                        <a:pt x="1360" y="432"/>
                      </a:lnTo>
                      <a:lnTo>
                        <a:pt x="1352" y="440"/>
                      </a:lnTo>
                      <a:lnTo>
                        <a:pt x="1344" y="440"/>
                      </a:lnTo>
                      <a:lnTo>
                        <a:pt x="1344" y="448"/>
                      </a:lnTo>
                      <a:lnTo>
                        <a:pt x="1328" y="448"/>
                      </a:lnTo>
                      <a:lnTo>
                        <a:pt x="1328" y="440"/>
                      </a:lnTo>
                      <a:lnTo>
                        <a:pt x="1328" y="432"/>
                      </a:lnTo>
                      <a:lnTo>
                        <a:pt x="1328" y="424"/>
                      </a:lnTo>
                      <a:lnTo>
                        <a:pt x="1336" y="416"/>
                      </a:lnTo>
                      <a:lnTo>
                        <a:pt x="1328" y="424"/>
                      </a:lnTo>
                      <a:lnTo>
                        <a:pt x="1328" y="416"/>
                      </a:lnTo>
                      <a:lnTo>
                        <a:pt x="1320" y="416"/>
                      </a:lnTo>
                      <a:lnTo>
                        <a:pt x="1320" y="408"/>
                      </a:lnTo>
                      <a:lnTo>
                        <a:pt x="1312" y="408"/>
                      </a:lnTo>
                      <a:lnTo>
                        <a:pt x="1304" y="416"/>
                      </a:lnTo>
                      <a:lnTo>
                        <a:pt x="1312" y="416"/>
                      </a:lnTo>
                      <a:lnTo>
                        <a:pt x="1320" y="416"/>
                      </a:lnTo>
                      <a:lnTo>
                        <a:pt x="1320" y="424"/>
                      </a:lnTo>
                      <a:lnTo>
                        <a:pt x="1320" y="432"/>
                      </a:lnTo>
                      <a:lnTo>
                        <a:pt x="1328" y="440"/>
                      </a:lnTo>
                      <a:lnTo>
                        <a:pt x="1328" y="448"/>
                      </a:lnTo>
                      <a:lnTo>
                        <a:pt x="1320" y="448"/>
                      </a:lnTo>
                      <a:lnTo>
                        <a:pt x="1312" y="448"/>
                      </a:lnTo>
                      <a:lnTo>
                        <a:pt x="1312" y="440"/>
                      </a:lnTo>
                      <a:lnTo>
                        <a:pt x="1312" y="432"/>
                      </a:lnTo>
                      <a:lnTo>
                        <a:pt x="1304" y="440"/>
                      </a:lnTo>
                      <a:lnTo>
                        <a:pt x="1312" y="440"/>
                      </a:lnTo>
                      <a:lnTo>
                        <a:pt x="1312" y="448"/>
                      </a:lnTo>
                      <a:lnTo>
                        <a:pt x="1304" y="448"/>
                      </a:lnTo>
                      <a:lnTo>
                        <a:pt x="1304" y="440"/>
                      </a:lnTo>
                      <a:lnTo>
                        <a:pt x="1296" y="440"/>
                      </a:lnTo>
                      <a:lnTo>
                        <a:pt x="1296" y="432"/>
                      </a:lnTo>
                      <a:lnTo>
                        <a:pt x="1304" y="432"/>
                      </a:lnTo>
                      <a:lnTo>
                        <a:pt x="1296" y="432"/>
                      </a:lnTo>
                      <a:lnTo>
                        <a:pt x="1288" y="432"/>
                      </a:lnTo>
                      <a:lnTo>
                        <a:pt x="1280" y="424"/>
                      </a:lnTo>
                      <a:lnTo>
                        <a:pt x="1280" y="432"/>
                      </a:lnTo>
                      <a:lnTo>
                        <a:pt x="1272" y="424"/>
                      </a:lnTo>
                      <a:lnTo>
                        <a:pt x="1272" y="432"/>
                      </a:lnTo>
                      <a:lnTo>
                        <a:pt x="1272" y="440"/>
                      </a:lnTo>
                      <a:lnTo>
                        <a:pt x="1280" y="440"/>
                      </a:lnTo>
                      <a:lnTo>
                        <a:pt x="1280" y="448"/>
                      </a:lnTo>
                      <a:lnTo>
                        <a:pt x="1280" y="456"/>
                      </a:lnTo>
                      <a:lnTo>
                        <a:pt x="1272" y="456"/>
                      </a:lnTo>
                      <a:lnTo>
                        <a:pt x="1264" y="464"/>
                      </a:lnTo>
                      <a:lnTo>
                        <a:pt x="1256" y="472"/>
                      </a:lnTo>
                      <a:lnTo>
                        <a:pt x="1248" y="480"/>
                      </a:lnTo>
                      <a:lnTo>
                        <a:pt x="1248" y="472"/>
                      </a:lnTo>
                      <a:lnTo>
                        <a:pt x="1248" y="480"/>
                      </a:lnTo>
                      <a:lnTo>
                        <a:pt x="1240" y="480"/>
                      </a:lnTo>
                      <a:lnTo>
                        <a:pt x="1240" y="488"/>
                      </a:lnTo>
                      <a:lnTo>
                        <a:pt x="1224" y="480"/>
                      </a:lnTo>
                      <a:lnTo>
                        <a:pt x="1216" y="480"/>
                      </a:lnTo>
                      <a:lnTo>
                        <a:pt x="1216" y="472"/>
                      </a:lnTo>
                      <a:lnTo>
                        <a:pt x="1208" y="472"/>
                      </a:lnTo>
                      <a:lnTo>
                        <a:pt x="1208" y="464"/>
                      </a:lnTo>
                      <a:lnTo>
                        <a:pt x="1216" y="464"/>
                      </a:lnTo>
                      <a:lnTo>
                        <a:pt x="1208" y="464"/>
                      </a:lnTo>
                      <a:lnTo>
                        <a:pt x="1200" y="448"/>
                      </a:lnTo>
                      <a:lnTo>
                        <a:pt x="1192" y="448"/>
                      </a:lnTo>
                      <a:lnTo>
                        <a:pt x="1184" y="448"/>
                      </a:lnTo>
                      <a:lnTo>
                        <a:pt x="1176" y="440"/>
                      </a:lnTo>
                      <a:lnTo>
                        <a:pt x="1168" y="440"/>
                      </a:lnTo>
                      <a:lnTo>
                        <a:pt x="1160" y="440"/>
                      </a:lnTo>
                      <a:lnTo>
                        <a:pt x="1168" y="448"/>
                      </a:lnTo>
                      <a:lnTo>
                        <a:pt x="1168" y="440"/>
                      </a:lnTo>
                      <a:lnTo>
                        <a:pt x="1184" y="448"/>
                      </a:lnTo>
                      <a:lnTo>
                        <a:pt x="1192" y="448"/>
                      </a:lnTo>
                      <a:lnTo>
                        <a:pt x="1192" y="456"/>
                      </a:lnTo>
                      <a:lnTo>
                        <a:pt x="1192" y="464"/>
                      </a:lnTo>
                      <a:lnTo>
                        <a:pt x="1200" y="472"/>
                      </a:lnTo>
                      <a:lnTo>
                        <a:pt x="1200" y="480"/>
                      </a:lnTo>
                      <a:lnTo>
                        <a:pt x="1216" y="488"/>
                      </a:lnTo>
                      <a:lnTo>
                        <a:pt x="1224" y="488"/>
                      </a:lnTo>
                      <a:lnTo>
                        <a:pt x="1240" y="488"/>
                      </a:lnTo>
                      <a:lnTo>
                        <a:pt x="1240" y="496"/>
                      </a:lnTo>
                      <a:lnTo>
                        <a:pt x="1232" y="504"/>
                      </a:lnTo>
                      <a:lnTo>
                        <a:pt x="1224" y="504"/>
                      </a:lnTo>
                      <a:lnTo>
                        <a:pt x="1224" y="512"/>
                      </a:lnTo>
                      <a:lnTo>
                        <a:pt x="1216" y="512"/>
                      </a:lnTo>
                      <a:lnTo>
                        <a:pt x="1216" y="520"/>
                      </a:lnTo>
                      <a:lnTo>
                        <a:pt x="1200" y="536"/>
                      </a:lnTo>
                      <a:lnTo>
                        <a:pt x="1192" y="536"/>
                      </a:lnTo>
                      <a:lnTo>
                        <a:pt x="1192" y="544"/>
                      </a:lnTo>
                      <a:lnTo>
                        <a:pt x="1184" y="544"/>
                      </a:lnTo>
                      <a:lnTo>
                        <a:pt x="1176" y="536"/>
                      </a:lnTo>
                      <a:lnTo>
                        <a:pt x="1168" y="536"/>
                      </a:lnTo>
                      <a:lnTo>
                        <a:pt x="1168" y="528"/>
                      </a:lnTo>
                      <a:lnTo>
                        <a:pt x="1160" y="528"/>
                      </a:lnTo>
                      <a:lnTo>
                        <a:pt x="1160" y="536"/>
                      </a:lnTo>
                      <a:lnTo>
                        <a:pt x="1152" y="528"/>
                      </a:lnTo>
                      <a:lnTo>
                        <a:pt x="1152" y="536"/>
                      </a:lnTo>
                      <a:lnTo>
                        <a:pt x="1152" y="544"/>
                      </a:lnTo>
                      <a:lnTo>
                        <a:pt x="1144" y="552"/>
                      </a:lnTo>
                      <a:lnTo>
                        <a:pt x="1144" y="544"/>
                      </a:lnTo>
                      <a:lnTo>
                        <a:pt x="1136" y="552"/>
                      </a:lnTo>
                      <a:lnTo>
                        <a:pt x="1144" y="552"/>
                      </a:lnTo>
                      <a:lnTo>
                        <a:pt x="1136" y="552"/>
                      </a:lnTo>
                      <a:lnTo>
                        <a:pt x="1136" y="560"/>
                      </a:lnTo>
                      <a:lnTo>
                        <a:pt x="1128" y="560"/>
                      </a:lnTo>
                      <a:lnTo>
                        <a:pt x="1128" y="552"/>
                      </a:lnTo>
                      <a:lnTo>
                        <a:pt x="1120" y="544"/>
                      </a:lnTo>
                      <a:lnTo>
                        <a:pt x="1112" y="544"/>
                      </a:lnTo>
                      <a:lnTo>
                        <a:pt x="1104" y="536"/>
                      </a:lnTo>
                      <a:lnTo>
                        <a:pt x="1096" y="528"/>
                      </a:lnTo>
                      <a:lnTo>
                        <a:pt x="1088" y="520"/>
                      </a:lnTo>
                      <a:lnTo>
                        <a:pt x="1088" y="528"/>
                      </a:lnTo>
                      <a:lnTo>
                        <a:pt x="1080" y="520"/>
                      </a:lnTo>
                      <a:lnTo>
                        <a:pt x="1080" y="528"/>
                      </a:lnTo>
                      <a:lnTo>
                        <a:pt x="1088" y="536"/>
                      </a:lnTo>
                      <a:lnTo>
                        <a:pt x="1088" y="528"/>
                      </a:lnTo>
                      <a:lnTo>
                        <a:pt x="1096" y="536"/>
                      </a:lnTo>
                      <a:lnTo>
                        <a:pt x="1112" y="544"/>
                      </a:lnTo>
                      <a:lnTo>
                        <a:pt x="1104" y="552"/>
                      </a:lnTo>
                      <a:lnTo>
                        <a:pt x="1096" y="552"/>
                      </a:lnTo>
                      <a:lnTo>
                        <a:pt x="1104" y="552"/>
                      </a:lnTo>
                      <a:lnTo>
                        <a:pt x="1112" y="544"/>
                      </a:lnTo>
                      <a:lnTo>
                        <a:pt x="1120" y="552"/>
                      </a:lnTo>
                      <a:lnTo>
                        <a:pt x="1128" y="568"/>
                      </a:lnTo>
                      <a:lnTo>
                        <a:pt x="1128" y="576"/>
                      </a:lnTo>
                      <a:lnTo>
                        <a:pt x="1120" y="584"/>
                      </a:lnTo>
                      <a:lnTo>
                        <a:pt x="1112" y="584"/>
                      </a:lnTo>
                      <a:lnTo>
                        <a:pt x="1104" y="584"/>
                      </a:lnTo>
                      <a:lnTo>
                        <a:pt x="1096" y="584"/>
                      </a:lnTo>
                      <a:lnTo>
                        <a:pt x="1088" y="576"/>
                      </a:lnTo>
                      <a:lnTo>
                        <a:pt x="1088" y="568"/>
                      </a:lnTo>
                      <a:lnTo>
                        <a:pt x="1080" y="560"/>
                      </a:lnTo>
                      <a:lnTo>
                        <a:pt x="1080" y="568"/>
                      </a:lnTo>
                      <a:lnTo>
                        <a:pt x="1088" y="576"/>
                      </a:lnTo>
                      <a:lnTo>
                        <a:pt x="1088" y="584"/>
                      </a:lnTo>
                      <a:lnTo>
                        <a:pt x="1096" y="592"/>
                      </a:lnTo>
                      <a:lnTo>
                        <a:pt x="1088" y="600"/>
                      </a:lnTo>
                      <a:lnTo>
                        <a:pt x="1080" y="600"/>
                      </a:lnTo>
                      <a:lnTo>
                        <a:pt x="1080" y="592"/>
                      </a:lnTo>
                      <a:lnTo>
                        <a:pt x="1080" y="600"/>
                      </a:lnTo>
                      <a:lnTo>
                        <a:pt x="1088" y="600"/>
                      </a:lnTo>
                      <a:lnTo>
                        <a:pt x="1080" y="600"/>
                      </a:lnTo>
                      <a:lnTo>
                        <a:pt x="1072" y="600"/>
                      </a:lnTo>
                      <a:lnTo>
                        <a:pt x="1080" y="608"/>
                      </a:lnTo>
                      <a:lnTo>
                        <a:pt x="1072" y="616"/>
                      </a:lnTo>
                      <a:lnTo>
                        <a:pt x="1072" y="608"/>
                      </a:lnTo>
                      <a:lnTo>
                        <a:pt x="1072" y="616"/>
                      </a:lnTo>
                      <a:lnTo>
                        <a:pt x="1064" y="616"/>
                      </a:lnTo>
                      <a:lnTo>
                        <a:pt x="1056" y="616"/>
                      </a:lnTo>
                      <a:lnTo>
                        <a:pt x="1056" y="624"/>
                      </a:lnTo>
                      <a:lnTo>
                        <a:pt x="1048" y="616"/>
                      </a:lnTo>
                      <a:lnTo>
                        <a:pt x="1048" y="624"/>
                      </a:lnTo>
                      <a:lnTo>
                        <a:pt x="1040" y="624"/>
                      </a:lnTo>
                      <a:lnTo>
                        <a:pt x="1048" y="624"/>
                      </a:lnTo>
                      <a:lnTo>
                        <a:pt x="1048" y="632"/>
                      </a:lnTo>
                      <a:lnTo>
                        <a:pt x="1040" y="632"/>
                      </a:lnTo>
                      <a:lnTo>
                        <a:pt x="1040" y="640"/>
                      </a:lnTo>
                      <a:lnTo>
                        <a:pt x="1032" y="640"/>
                      </a:lnTo>
                      <a:lnTo>
                        <a:pt x="1032" y="648"/>
                      </a:lnTo>
                      <a:lnTo>
                        <a:pt x="1024" y="648"/>
                      </a:lnTo>
                      <a:lnTo>
                        <a:pt x="1032" y="656"/>
                      </a:lnTo>
                      <a:lnTo>
                        <a:pt x="1024" y="656"/>
                      </a:lnTo>
                      <a:lnTo>
                        <a:pt x="1016" y="664"/>
                      </a:lnTo>
                      <a:lnTo>
                        <a:pt x="1008" y="664"/>
                      </a:lnTo>
                      <a:lnTo>
                        <a:pt x="1008" y="672"/>
                      </a:lnTo>
                      <a:lnTo>
                        <a:pt x="1000" y="672"/>
                      </a:lnTo>
                      <a:lnTo>
                        <a:pt x="1000" y="680"/>
                      </a:lnTo>
                      <a:lnTo>
                        <a:pt x="1000" y="688"/>
                      </a:lnTo>
                      <a:lnTo>
                        <a:pt x="1000" y="696"/>
                      </a:lnTo>
                      <a:lnTo>
                        <a:pt x="992" y="696"/>
                      </a:lnTo>
                      <a:lnTo>
                        <a:pt x="992" y="704"/>
                      </a:lnTo>
                      <a:lnTo>
                        <a:pt x="984" y="704"/>
                      </a:lnTo>
                      <a:lnTo>
                        <a:pt x="984" y="720"/>
                      </a:lnTo>
                      <a:lnTo>
                        <a:pt x="984" y="728"/>
                      </a:lnTo>
                      <a:lnTo>
                        <a:pt x="984" y="736"/>
                      </a:lnTo>
                      <a:lnTo>
                        <a:pt x="976" y="736"/>
                      </a:lnTo>
                      <a:lnTo>
                        <a:pt x="976" y="744"/>
                      </a:lnTo>
                      <a:lnTo>
                        <a:pt x="984" y="744"/>
                      </a:lnTo>
                      <a:lnTo>
                        <a:pt x="976" y="752"/>
                      </a:lnTo>
                      <a:lnTo>
                        <a:pt x="984" y="752"/>
                      </a:lnTo>
                      <a:lnTo>
                        <a:pt x="984" y="760"/>
                      </a:lnTo>
                      <a:lnTo>
                        <a:pt x="976" y="776"/>
                      </a:lnTo>
                      <a:lnTo>
                        <a:pt x="968" y="776"/>
                      </a:lnTo>
                      <a:lnTo>
                        <a:pt x="960" y="784"/>
                      </a:lnTo>
                      <a:lnTo>
                        <a:pt x="976" y="784"/>
                      </a:lnTo>
                      <a:lnTo>
                        <a:pt x="984" y="768"/>
                      </a:lnTo>
                      <a:lnTo>
                        <a:pt x="992" y="760"/>
                      </a:lnTo>
                      <a:lnTo>
                        <a:pt x="1000" y="760"/>
                      </a:lnTo>
                      <a:lnTo>
                        <a:pt x="1008" y="760"/>
                      </a:lnTo>
                      <a:lnTo>
                        <a:pt x="1008" y="768"/>
                      </a:lnTo>
                      <a:lnTo>
                        <a:pt x="1008" y="776"/>
                      </a:lnTo>
                      <a:lnTo>
                        <a:pt x="1008" y="784"/>
                      </a:lnTo>
                      <a:lnTo>
                        <a:pt x="1008" y="792"/>
                      </a:lnTo>
                      <a:lnTo>
                        <a:pt x="1008" y="800"/>
                      </a:lnTo>
                      <a:lnTo>
                        <a:pt x="1008" y="808"/>
                      </a:lnTo>
                      <a:lnTo>
                        <a:pt x="1008" y="816"/>
                      </a:lnTo>
                      <a:lnTo>
                        <a:pt x="992" y="832"/>
                      </a:lnTo>
                      <a:lnTo>
                        <a:pt x="984" y="840"/>
                      </a:lnTo>
                      <a:lnTo>
                        <a:pt x="984" y="832"/>
                      </a:lnTo>
                      <a:lnTo>
                        <a:pt x="984" y="840"/>
                      </a:lnTo>
                      <a:lnTo>
                        <a:pt x="992" y="840"/>
                      </a:lnTo>
                      <a:lnTo>
                        <a:pt x="1008" y="832"/>
                      </a:lnTo>
                      <a:lnTo>
                        <a:pt x="1032" y="824"/>
                      </a:lnTo>
                      <a:lnTo>
                        <a:pt x="1040" y="824"/>
                      </a:lnTo>
                      <a:lnTo>
                        <a:pt x="1048" y="832"/>
                      </a:lnTo>
                      <a:lnTo>
                        <a:pt x="1056" y="840"/>
                      </a:lnTo>
                      <a:lnTo>
                        <a:pt x="1064" y="840"/>
                      </a:lnTo>
                      <a:lnTo>
                        <a:pt x="1072" y="848"/>
                      </a:lnTo>
                      <a:lnTo>
                        <a:pt x="1080" y="856"/>
                      </a:lnTo>
                      <a:lnTo>
                        <a:pt x="1088" y="856"/>
                      </a:lnTo>
                      <a:lnTo>
                        <a:pt x="1088" y="864"/>
                      </a:lnTo>
                      <a:lnTo>
                        <a:pt x="1096" y="864"/>
                      </a:lnTo>
                      <a:lnTo>
                        <a:pt x="1096" y="872"/>
                      </a:lnTo>
                      <a:lnTo>
                        <a:pt x="1096" y="880"/>
                      </a:lnTo>
                      <a:lnTo>
                        <a:pt x="1096" y="888"/>
                      </a:lnTo>
                      <a:lnTo>
                        <a:pt x="1104" y="880"/>
                      </a:lnTo>
                      <a:lnTo>
                        <a:pt x="1104" y="888"/>
                      </a:lnTo>
                      <a:lnTo>
                        <a:pt x="1112" y="896"/>
                      </a:lnTo>
                      <a:lnTo>
                        <a:pt x="1120" y="896"/>
                      </a:lnTo>
                      <a:lnTo>
                        <a:pt x="1128" y="896"/>
                      </a:lnTo>
                      <a:lnTo>
                        <a:pt x="1136" y="904"/>
                      </a:lnTo>
                      <a:lnTo>
                        <a:pt x="1136" y="912"/>
                      </a:lnTo>
                      <a:lnTo>
                        <a:pt x="1144" y="920"/>
                      </a:lnTo>
                      <a:lnTo>
                        <a:pt x="1152" y="920"/>
                      </a:lnTo>
                      <a:lnTo>
                        <a:pt x="1160" y="920"/>
                      </a:lnTo>
                      <a:lnTo>
                        <a:pt x="1168" y="920"/>
                      </a:lnTo>
                      <a:lnTo>
                        <a:pt x="1176" y="920"/>
                      </a:lnTo>
                      <a:lnTo>
                        <a:pt x="1184" y="928"/>
                      </a:lnTo>
                      <a:lnTo>
                        <a:pt x="1192" y="928"/>
                      </a:lnTo>
                      <a:lnTo>
                        <a:pt x="1200" y="928"/>
                      </a:lnTo>
                      <a:lnTo>
                        <a:pt x="1208" y="928"/>
                      </a:lnTo>
                      <a:lnTo>
                        <a:pt x="1208" y="936"/>
                      </a:lnTo>
                      <a:lnTo>
                        <a:pt x="1200" y="944"/>
                      </a:lnTo>
                      <a:lnTo>
                        <a:pt x="1200" y="952"/>
                      </a:lnTo>
                      <a:lnTo>
                        <a:pt x="1192" y="960"/>
                      </a:lnTo>
                      <a:lnTo>
                        <a:pt x="1192" y="968"/>
                      </a:lnTo>
                      <a:lnTo>
                        <a:pt x="1192" y="976"/>
                      </a:lnTo>
                      <a:lnTo>
                        <a:pt x="1192" y="984"/>
                      </a:lnTo>
                      <a:lnTo>
                        <a:pt x="1192" y="992"/>
                      </a:lnTo>
                      <a:lnTo>
                        <a:pt x="1184" y="1000"/>
                      </a:lnTo>
                      <a:lnTo>
                        <a:pt x="1176" y="1016"/>
                      </a:lnTo>
                      <a:lnTo>
                        <a:pt x="1184" y="1016"/>
                      </a:lnTo>
                      <a:lnTo>
                        <a:pt x="1184" y="1024"/>
                      </a:lnTo>
                      <a:lnTo>
                        <a:pt x="1192" y="1032"/>
                      </a:lnTo>
                      <a:lnTo>
                        <a:pt x="1192" y="1040"/>
                      </a:lnTo>
                      <a:lnTo>
                        <a:pt x="1200" y="1040"/>
                      </a:lnTo>
                      <a:lnTo>
                        <a:pt x="1200" y="1048"/>
                      </a:lnTo>
                      <a:lnTo>
                        <a:pt x="1208" y="1048"/>
                      </a:lnTo>
                      <a:lnTo>
                        <a:pt x="1208" y="1056"/>
                      </a:lnTo>
                      <a:lnTo>
                        <a:pt x="1208" y="1064"/>
                      </a:lnTo>
                      <a:lnTo>
                        <a:pt x="1208" y="1072"/>
                      </a:lnTo>
                      <a:lnTo>
                        <a:pt x="1200" y="1080"/>
                      </a:lnTo>
                      <a:lnTo>
                        <a:pt x="1208" y="1080"/>
                      </a:lnTo>
                      <a:lnTo>
                        <a:pt x="1216" y="1072"/>
                      </a:lnTo>
                      <a:lnTo>
                        <a:pt x="1224" y="1080"/>
                      </a:lnTo>
                      <a:lnTo>
                        <a:pt x="1232" y="1072"/>
                      </a:lnTo>
                      <a:lnTo>
                        <a:pt x="1240" y="1064"/>
                      </a:lnTo>
                      <a:lnTo>
                        <a:pt x="1240" y="1080"/>
                      </a:lnTo>
                      <a:lnTo>
                        <a:pt x="1248" y="1088"/>
                      </a:lnTo>
                      <a:lnTo>
                        <a:pt x="1256" y="1088"/>
                      </a:lnTo>
                      <a:lnTo>
                        <a:pt x="1248" y="1088"/>
                      </a:lnTo>
                      <a:lnTo>
                        <a:pt x="1248" y="1080"/>
                      </a:lnTo>
                      <a:lnTo>
                        <a:pt x="1248" y="1072"/>
                      </a:lnTo>
                      <a:lnTo>
                        <a:pt x="1248" y="1064"/>
                      </a:lnTo>
                      <a:lnTo>
                        <a:pt x="1248" y="1056"/>
                      </a:lnTo>
                      <a:lnTo>
                        <a:pt x="1256" y="1048"/>
                      </a:lnTo>
                      <a:lnTo>
                        <a:pt x="1256" y="1040"/>
                      </a:lnTo>
                      <a:lnTo>
                        <a:pt x="1256" y="1032"/>
                      </a:lnTo>
                      <a:lnTo>
                        <a:pt x="1256" y="1024"/>
                      </a:lnTo>
                      <a:lnTo>
                        <a:pt x="1256" y="1016"/>
                      </a:lnTo>
                      <a:lnTo>
                        <a:pt x="1256" y="1000"/>
                      </a:lnTo>
                      <a:lnTo>
                        <a:pt x="1256" y="984"/>
                      </a:lnTo>
                      <a:lnTo>
                        <a:pt x="1264" y="984"/>
                      </a:lnTo>
                      <a:lnTo>
                        <a:pt x="1256" y="984"/>
                      </a:lnTo>
                      <a:lnTo>
                        <a:pt x="1264" y="976"/>
                      </a:lnTo>
                      <a:lnTo>
                        <a:pt x="1256" y="976"/>
                      </a:lnTo>
                      <a:lnTo>
                        <a:pt x="1264" y="976"/>
                      </a:lnTo>
                      <a:lnTo>
                        <a:pt x="1256" y="976"/>
                      </a:lnTo>
                      <a:lnTo>
                        <a:pt x="1256" y="968"/>
                      </a:lnTo>
                      <a:lnTo>
                        <a:pt x="1264" y="968"/>
                      </a:lnTo>
                      <a:lnTo>
                        <a:pt x="1256" y="960"/>
                      </a:lnTo>
                      <a:lnTo>
                        <a:pt x="1256" y="952"/>
                      </a:lnTo>
                      <a:lnTo>
                        <a:pt x="1256" y="944"/>
                      </a:lnTo>
                      <a:lnTo>
                        <a:pt x="1264" y="944"/>
                      </a:lnTo>
                      <a:lnTo>
                        <a:pt x="1272" y="944"/>
                      </a:lnTo>
                      <a:lnTo>
                        <a:pt x="1272" y="936"/>
                      </a:lnTo>
                      <a:lnTo>
                        <a:pt x="1280" y="936"/>
                      </a:lnTo>
                      <a:lnTo>
                        <a:pt x="1288" y="936"/>
                      </a:lnTo>
                      <a:lnTo>
                        <a:pt x="1296" y="936"/>
                      </a:lnTo>
                      <a:lnTo>
                        <a:pt x="1312" y="928"/>
                      </a:lnTo>
                      <a:lnTo>
                        <a:pt x="1312" y="920"/>
                      </a:lnTo>
                      <a:lnTo>
                        <a:pt x="1320" y="920"/>
                      </a:lnTo>
                      <a:lnTo>
                        <a:pt x="1328" y="912"/>
                      </a:lnTo>
                      <a:lnTo>
                        <a:pt x="1336" y="904"/>
                      </a:lnTo>
                      <a:lnTo>
                        <a:pt x="1344" y="904"/>
                      </a:lnTo>
                      <a:lnTo>
                        <a:pt x="1352" y="896"/>
                      </a:lnTo>
                      <a:lnTo>
                        <a:pt x="1344" y="896"/>
                      </a:lnTo>
                      <a:lnTo>
                        <a:pt x="1344" y="888"/>
                      </a:lnTo>
                      <a:lnTo>
                        <a:pt x="1344" y="896"/>
                      </a:lnTo>
                      <a:lnTo>
                        <a:pt x="1336" y="896"/>
                      </a:lnTo>
                      <a:lnTo>
                        <a:pt x="1344" y="888"/>
                      </a:lnTo>
                      <a:lnTo>
                        <a:pt x="1344" y="880"/>
                      </a:lnTo>
                      <a:lnTo>
                        <a:pt x="1344" y="872"/>
                      </a:lnTo>
                      <a:lnTo>
                        <a:pt x="1344" y="864"/>
                      </a:lnTo>
                      <a:lnTo>
                        <a:pt x="1352" y="856"/>
                      </a:lnTo>
                      <a:lnTo>
                        <a:pt x="1344" y="856"/>
                      </a:lnTo>
                      <a:lnTo>
                        <a:pt x="1344" y="840"/>
                      </a:lnTo>
                      <a:lnTo>
                        <a:pt x="1344" y="824"/>
                      </a:lnTo>
                      <a:lnTo>
                        <a:pt x="1336" y="816"/>
                      </a:lnTo>
                      <a:lnTo>
                        <a:pt x="1328" y="808"/>
                      </a:lnTo>
                      <a:lnTo>
                        <a:pt x="1328" y="800"/>
                      </a:lnTo>
                      <a:lnTo>
                        <a:pt x="1320" y="800"/>
                      </a:lnTo>
                      <a:lnTo>
                        <a:pt x="1328" y="792"/>
                      </a:lnTo>
                      <a:lnTo>
                        <a:pt x="1328" y="784"/>
                      </a:lnTo>
                      <a:lnTo>
                        <a:pt x="1344" y="776"/>
                      </a:lnTo>
                      <a:lnTo>
                        <a:pt x="1352" y="768"/>
                      </a:lnTo>
                      <a:lnTo>
                        <a:pt x="1352" y="760"/>
                      </a:lnTo>
                      <a:lnTo>
                        <a:pt x="1360" y="760"/>
                      </a:lnTo>
                      <a:lnTo>
                        <a:pt x="1360" y="752"/>
                      </a:lnTo>
                      <a:lnTo>
                        <a:pt x="1368" y="752"/>
                      </a:lnTo>
                      <a:lnTo>
                        <a:pt x="1368" y="744"/>
                      </a:lnTo>
                      <a:lnTo>
                        <a:pt x="1360" y="736"/>
                      </a:lnTo>
                      <a:lnTo>
                        <a:pt x="1368" y="736"/>
                      </a:lnTo>
                      <a:lnTo>
                        <a:pt x="1368" y="728"/>
                      </a:lnTo>
                      <a:lnTo>
                        <a:pt x="1360" y="728"/>
                      </a:lnTo>
                      <a:lnTo>
                        <a:pt x="1368" y="720"/>
                      </a:lnTo>
                      <a:lnTo>
                        <a:pt x="1376" y="720"/>
                      </a:lnTo>
                      <a:lnTo>
                        <a:pt x="1368" y="720"/>
                      </a:lnTo>
                      <a:lnTo>
                        <a:pt x="1368" y="712"/>
                      </a:lnTo>
                      <a:lnTo>
                        <a:pt x="1376" y="712"/>
                      </a:lnTo>
                      <a:lnTo>
                        <a:pt x="1368" y="712"/>
                      </a:lnTo>
                      <a:lnTo>
                        <a:pt x="1360" y="712"/>
                      </a:lnTo>
                      <a:lnTo>
                        <a:pt x="1360" y="704"/>
                      </a:lnTo>
                      <a:lnTo>
                        <a:pt x="1368" y="696"/>
                      </a:lnTo>
                      <a:lnTo>
                        <a:pt x="1376" y="688"/>
                      </a:lnTo>
                      <a:lnTo>
                        <a:pt x="1376" y="680"/>
                      </a:lnTo>
                      <a:lnTo>
                        <a:pt x="1384" y="680"/>
                      </a:lnTo>
                      <a:lnTo>
                        <a:pt x="1384" y="672"/>
                      </a:lnTo>
                      <a:lnTo>
                        <a:pt x="1376" y="672"/>
                      </a:lnTo>
                      <a:lnTo>
                        <a:pt x="1376" y="664"/>
                      </a:lnTo>
                      <a:lnTo>
                        <a:pt x="1376" y="656"/>
                      </a:lnTo>
                      <a:lnTo>
                        <a:pt x="1376" y="648"/>
                      </a:lnTo>
                      <a:lnTo>
                        <a:pt x="1376" y="640"/>
                      </a:lnTo>
                      <a:lnTo>
                        <a:pt x="1384" y="640"/>
                      </a:lnTo>
                      <a:lnTo>
                        <a:pt x="1392" y="632"/>
                      </a:lnTo>
                      <a:lnTo>
                        <a:pt x="1400" y="632"/>
                      </a:lnTo>
                      <a:lnTo>
                        <a:pt x="1408" y="632"/>
                      </a:lnTo>
                      <a:lnTo>
                        <a:pt x="1416" y="640"/>
                      </a:lnTo>
                      <a:lnTo>
                        <a:pt x="1424" y="648"/>
                      </a:lnTo>
                      <a:lnTo>
                        <a:pt x="1432" y="648"/>
                      </a:lnTo>
                      <a:lnTo>
                        <a:pt x="1424" y="656"/>
                      </a:lnTo>
                      <a:lnTo>
                        <a:pt x="1432" y="656"/>
                      </a:lnTo>
                      <a:lnTo>
                        <a:pt x="1440" y="648"/>
                      </a:lnTo>
                      <a:lnTo>
                        <a:pt x="1448" y="648"/>
                      </a:lnTo>
                      <a:lnTo>
                        <a:pt x="1456" y="656"/>
                      </a:lnTo>
                      <a:lnTo>
                        <a:pt x="1456" y="648"/>
                      </a:lnTo>
                      <a:lnTo>
                        <a:pt x="1456" y="656"/>
                      </a:lnTo>
                      <a:lnTo>
                        <a:pt x="1464" y="648"/>
                      </a:lnTo>
                      <a:lnTo>
                        <a:pt x="1472" y="648"/>
                      </a:lnTo>
                      <a:lnTo>
                        <a:pt x="1480" y="656"/>
                      </a:lnTo>
                      <a:lnTo>
                        <a:pt x="1488" y="664"/>
                      </a:lnTo>
                      <a:lnTo>
                        <a:pt x="1488" y="672"/>
                      </a:lnTo>
                      <a:lnTo>
                        <a:pt x="1488" y="680"/>
                      </a:lnTo>
                      <a:lnTo>
                        <a:pt x="1488" y="672"/>
                      </a:lnTo>
                      <a:lnTo>
                        <a:pt x="1496" y="680"/>
                      </a:lnTo>
                      <a:lnTo>
                        <a:pt x="1496" y="688"/>
                      </a:lnTo>
                      <a:lnTo>
                        <a:pt x="1504" y="688"/>
                      </a:lnTo>
                      <a:lnTo>
                        <a:pt x="1504" y="696"/>
                      </a:lnTo>
                      <a:lnTo>
                        <a:pt x="1496" y="696"/>
                      </a:lnTo>
                      <a:lnTo>
                        <a:pt x="1504" y="704"/>
                      </a:lnTo>
                      <a:lnTo>
                        <a:pt x="1512" y="704"/>
                      </a:lnTo>
                      <a:lnTo>
                        <a:pt x="1520" y="712"/>
                      </a:lnTo>
                      <a:lnTo>
                        <a:pt x="1528" y="712"/>
                      </a:lnTo>
                      <a:lnTo>
                        <a:pt x="1536" y="712"/>
                      </a:lnTo>
                      <a:lnTo>
                        <a:pt x="1536" y="720"/>
                      </a:lnTo>
                      <a:lnTo>
                        <a:pt x="1536" y="728"/>
                      </a:lnTo>
                      <a:lnTo>
                        <a:pt x="1544" y="720"/>
                      </a:lnTo>
                      <a:lnTo>
                        <a:pt x="1544" y="712"/>
                      </a:lnTo>
                      <a:lnTo>
                        <a:pt x="1544" y="720"/>
                      </a:lnTo>
                      <a:lnTo>
                        <a:pt x="1544" y="728"/>
                      </a:lnTo>
                      <a:lnTo>
                        <a:pt x="1536" y="728"/>
                      </a:lnTo>
                      <a:lnTo>
                        <a:pt x="1536" y="736"/>
                      </a:lnTo>
                      <a:lnTo>
                        <a:pt x="1536" y="752"/>
                      </a:lnTo>
                      <a:lnTo>
                        <a:pt x="1528" y="752"/>
                      </a:lnTo>
                      <a:lnTo>
                        <a:pt x="1528" y="760"/>
                      </a:lnTo>
                      <a:lnTo>
                        <a:pt x="1520" y="760"/>
                      </a:lnTo>
                      <a:lnTo>
                        <a:pt x="1504" y="752"/>
                      </a:lnTo>
                      <a:lnTo>
                        <a:pt x="1512" y="760"/>
                      </a:lnTo>
                      <a:lnTo>
                        <a:pt x="1528" y="760"/>
                      </a:lnTo>
                      <a:lnTo>
                        <a:pt x="1528" y="768"/>
                      </a:lnTo>
                      <a:lnTo>
                        <a:pt x="1528" y="776"/>
                      </a:lnTo>
                      <a:lnTo>
                        <a:pt x="1528" y="784"/>
                      </a:lnTo>
                      <a:lnTo>
                        <a:pt x="1520" y="792"/>
                      </a:lnTo>
                      <a:lnTo>
                        <a:pt x="1528" y="800"/>
                      </a:lnTo>
                      <a:lnTo>
                        <a:pt x="1536" y="800"/>
                      </a:lnTo>
                      <a:lnTo>
                        <a:pt x="1528" y="808"/>
                      </a:lnTo>
                      <a:lnTo>
                        <a:pt x="1520" y="800"/>
                      </a:lnTo>
                      <a:lnTo>
                        <a:pt x="1528" y="808"/>
                      </a:lnTo>
                      <a:lnTo>
                        <a:pt x="1536" y="808"/>
                      </a:lnTo>
                      <a:lnTo>
                        <a:pt x="1528" y="808"/>
                      </a:lnTo>
                      <a:lnTo>
                        <a:pt x="1536" y="808"/>
                      </a:lnTo>
                      <a:lnTo>
                        <a:pt x="1544" y="808"/>
                      </a:lnTo>
                      <a:lnTo>
                        <a:pt x="1544" y="816"/>
                      </a:lnTo>
                      <a:lnTo>
                        <a:pt x="1544" y="824"/>
                      </a:lnTo>
                      <a:lnTo>
                        <a:pt x="1536" y="832"/>
                      </a:lnTo>
                      <a:lnTo>
                        <a:pt x="1536" y="840"/>
                      </a:lnTo>
                      <a:lnTo>
                        <a:pt x="1536" y="848"/>
                      </a:lnTo>
                      <a:lnTo>
                        <a:pt x="1536" y="840"/>
                      </a:lnTo>
                      <a:lnTo>
                        <a:pt x="1544" y="832"/>
                      </a:lnTo>
                      <a:lnTo>
                        <a:pt x="1552" y="824"/>
                      </a:lnTo>
                      <a:lnTo>
                        <a:pt x="1552" y="840"/>
                      </a:lnTo>
                      <a:lnTo>
                        <a:pt x="1552" y="848"/>
                      </a:lnTo>
                      <a:lnTo>
                        <a:pt x="1552" y="840"/>
                      </a:lnTo>
                      <a:lnTo>
                        <a:pt x="1560" y="832"/>
                      </a:lnTo>
                      <a:lnTo>
                        <a:pt x="1568" y="832"/>
                      </a:lnTo>
                      <a:lnTo>
                        <a:pt x="1568" y="824"/>
                      </a:lnTo>
                      <a:lnTo>
                        <a:pt x="1576" y="832"/>
                      </a:lnTo>
                      <a:lnTo>
                        <a:pt x="1584" y="824"/>
                      </a:lnTo>
                      <a:lnTo>
                        <a:pt x="1584" y="816"/>
                      </a:lnTo>
                      <a:lnTo>
                        <a:pt x="1592" y="816"/>
                      </a:lnTo>
                      <a:lnTo>
                        <a:pt x="1592" y="824"/>
                      </a:lnTo>
                      <a:lnTo>
                        <a:pt x="1592" y="832"/>
                      </a:lnTo>
                      <a:lnTo>
                        <a:pt x="1600" y="824"/>
                      </a:lnTo>
                      <a:lnTo>
                        <a:pt x="1600" y="816"/>
                      </a:lnTo>
                      <a:lnTo>
                        <a:pt x="1600" y="808"/>
                      </a:lnTo>
                      <a:lnTo>
                        <a:pt x="1608" y="808"/>
                      </a:lnTo>
                      <a:lnTo>
                        <a:pt x="1608" y="800"/>
                      </a:lnTo>
                      <a:lnTo>
                        <a:pt x="1616" y="792"/>
                      </a:lnTo>
                      <a:lnTo>
                        <a:pt x="1624" y="792"/>
                      </a:lnTo>
                      <a:lnTo>
                        <a:pt x="1624" y="784"/>
                      </a:lnTo>
                      <a:lnTo>
                        <a:pt x="1616" y="784"/>
                      </a:lnTo>
                      <a:lnTo>
                        <a:pt x="1616" y="776"/>
                      </a:lnTo>
                      <a:lnTo>
                        <a:pt x="1624" y="776"/>
                      </a:lnTo>
                      <a:lnTo>
                        <a:pt x="1624" y="768"/>
                      </a:lnTo>
                      <a:lnTo>
                        <a:pt x="1632" y="760"/>
                      </a:lnTo>
                      <a:lnTo>
                        <a:pt x="1632" y="752"/>
                      </a:lnTo>
                      <a:lnTo>
                        <a:pt x="1640" y="752"/>
                      </a:lnTo>
                      <a:lnTo>
                        <a:pt x="1640" y="744"/>
                      </a:lnTo>
                      <a:lnTo>
                        <a:pt x="1648" y="752"/>
                      </a:lnTo>
                      <a:lnTo>
                        <a:pt x="1640" y="752"/>
                      </a:lnTo>
                      <a:lnTo>
                        <a:pt x="1648" y="752"/>
                      </a:lnTo>
                      <a:lnTo>
                        <a:pt x="1640" y="760"/>
                      </a:lnTo>
                      <a:lnTo>
                        <a:pt x="1648" y="760"/>
                      </a:lnTo>
                      <a:lnTo>
                        <a:pt x="1648" y="768"/>
                      </a:lnTo>
                      <a:lnTo>
                        <a:pt x="1640" y="768"/>
                      </a:lnTo>
                      <a:lnTo>
                        <a:pt x="1648" y="768"/>
                      </a:lnTo>
                      <a:lnTo>
                        <a:pt x="1648" y="776"/>
                      </a:lnTo>
                      <a:lnTo>
                        <a:pt x="1648" y="784"/>
                      </a:lnTo>
                      <a:lnTo>
                        <a:pt x="1648" y="792"/>
                      </a:lnTo>
                      <a:lnTo>
                        <a:pt x="1648" y="800"/>
                      </a:lnTo>
                      <a:lnTo>
                        <a:pt x="1648" y="792"/>
                      </a:lnTo>
                      <a:lnTo>
                        <a:pt x="1640" y="792"/>
                      </a:lnTo>
                      <a:lnTo>
                        <a:pt x="1648" y="800"/>
                      </a:lnTo>
                      <a:lnTo>
                        <a:pt x="1656" y="800"/>
                      </a:lnTo>
                      <a:lnTo>
                        <a:pt x="1656" y="808"/>
                      </a:lnTo>
                      <a:lnTo>
                        <a:pt x="1648" y="808"/>
                      </a:lnTo>
                      <a:lnTo>
                        <a:pt x="1640" y="808"/>
                      </a:lnTo>
                      <a:lnTo>
                        <a:pt x="1640" y="816"/>
                      </a:lnTo>
                      <a:lnTo>
                        <a:pt x="1648" y="816"/>
                      </a:lnTo>
                      <a:lnTo>
                        <a:pt x="1656" y="816"/>
                      </a:lnTo>
                      <a:lnTo>
                        <a:pt x="1664" y="816"/>
                      </a:lnTo>
                      <a:lnTo>
                        <a:pt x="1656" y="816"/>
                      </a:lnTo>
                      <a:lnTo>
                        <a:pt x="1656" y="824"/>
                      </a:lnTo>
                      <a:lnTo>
                        <a:pt x="1664" y="824"/>
                      </a:lnTo>
                      <a:lnTo>
                        <a:pt x="1656" y="832"/>
                      </a:lnTo>
                      <a:lnTo>
                        <a:pt x="1648" y="832"/>
                      </a:lnTo>
                      <a:lnTo>
                        <a:pt x="1648" y="840"/>
                      </a:lnTo>
                      <a:lnTo>
                        <a:pt x="1656" y="840"/>
                      </a:lnTo>
                      <a:lnTo>
                        <a:pt x="1664" y="832"/>
                      </a:lnTo>
                      <a:lnTo>
                        <a:pt x="1664" y="840"/>
                      </a:lnTo>
                      <a:lnTo>
                        <a:pt x="1656" y="848"/>
                      </a:lnTo>
                      <a:lnTo>
                        <a:pt x="1648" y="856"/>
                      </a:lnTo>
                      <a:lnTo>
                        <a:pt x="1656" y="848"/>
                      </a:lnTo>
                      <a:lnTo>
                        <a:pt x="1664" y="848"/>
                      </a:lnTo>
                      <a:lnTo>
                        <a:pt x="1664" y="856"/>
                      </a:lnTo>
                      <a:lnTo>
                        <a:pt x="1656" y="856"/>
                      </a:lnTo>
                      <a:lnTo>
                        <a:pt x="1656" y="864"/>
                      </a:lnTo>
                      <a:lnTo>
                        <a:pt x="1664" y="864"/>
                      </a:lnTo>
                      <a:lnTo>
                        <a:pt x="1664" y="856"/>
                      </a:lnTo>
                      <a:lnTo>
                        <a:pt x="1672" y="864"/>
                      </a:lnTo>
                      <a:lnTo>
                        <a:pt x="1672" y="872"/>
                      </a:lnTo>
                      <a:lnTo>
                        <a:pt x="1664" y="872"/>
                      </a:lnTo>
                      <a:lnTo>
                        <a:pt x="1656" y="872"/>
                      </a:lnTo>
                      <a:lnTo>
                        <a:pt x="1664" y="880"/>
                      </a:lnTo>
                      <a:lnTo>
                        <a:pt x="1672" y="880"/>
                      </a:lnTo>
                      <a:lnTo>
                        <a:pt x="1672" y="888"/>
                      </a:lnTo>
                      <a:lnTo>
                        <a:pt x="1680" y="888"/>
                      </a:lnTo>
                      <a:lnTo>
                        <a:pt x="1680" y="896"/>
                      </a:lnTo>
                      <a:lnTo>
                        <a:pt x="1672" y="904"/>
                      </a:lnTo>
                      <a:lnTo>
                        <a:pt x="1664" y="904"/>
                      </a:lnTo>
                      <a:lnTo>
                        <a:pt x="1672" y="904"/>
                      </a:lnTo>
                      <a:lnTo>
                        <a:pt x="1672" y="912"/>
                      </a:lnTo>
                      <a:lnTo>
                        <a:pt x="1664" y="912"/>
                      </a:lnTo>
                      <a:lnTo>
                        <a:pt x="1664" y="904"/>
                      </a:lnTo>
                      <a:lnTo>
                        <a:pt x="1656" y="904"/>
                      </a:lnTo>
                      <a:lnTo>
                        <a:pt x="1656" y="912"/>
                      </a:lnTo>
                      <a:lnTo>
                        <a:pt x="1664" y="920"/>
                      </a:lnTo>
                      <a:lnTo>
                        <a:pt x="1664" y="928"/>
                      </a:lnTo>
                      <a:lnTo>
                        <a:pt x="1656" y="928"/>
                      </a:lnTo>
                      <a:lnTo>
                        <a:pt x="1664" y="928"/>
                      </a:lnTo>
                      <a:lnTo>
                        <a:pt x="1672" y="928"/>
                      </a:lnTo>
                      <a:lnTo>
                        <a:pt x="1672" y="936"/>
                      </a:lnTo>
                      <a:lnTo>
                        <a:pt x="1680" y="936"/>
                      </a:lnTo>
                      <a:lnTo>
                        <a:pt x="1680" y="944"/>
                      </a:lnTo>
                      <a:lnTo>
                        <a:pt x="1680" y="936"/>
                      </a:lnTo>
                      <a:lnTo>
                        <a:pt x="1688" y="936"/>
                      </a:lnTo>
                      <a:lnTo>
                        <a:pt x="1688" y="944"/>
                      </a:lnTo>
                      <a:lnTo>
                        <a:pt x="1688" y="952"/>
                      </a:lnTo>
                      <a:lnTo>
                        <a:pt x="1696" y="944"/>
                      </a:lnTo>
                      <a:lnTo>
                        <a:pt x="1696" y="952"/>
                      </a:lnTo>
                      <a:lnTo>
                        <a:pt x="1688" y="960"/>
                      </a:lnTo>
                      <a:lnTo>
                        <a:pt x="1680" y="968"/>
                      </a:lnTo>
                      <a:lnTo>
                        <a:pt x="1672" y="968"/>
                      </a:lnTo>
                      <a:lnTo>
                        <a:pt x="1680" y="968"/>
                      </a:lnTo>
                      <a:lnTo>
                        <a:pt x="1688" y="960"/>
                      </a:lnTo>
                      <a:lnTo>
                        <a:pt x="1696" y="960"/>
                      </a:lnTo>
                      <a:lnTo>
                        <a:pt x="1696" y="968"/>
                      </a:lnTo>
                      <a:lnTo>
                        <a:pt x="1688" y="968"/>
                      </a:lnTo>
                      <a:lnTo>
                        <a:pt x="1688" y="976"/>
                      </a:lnTo>
                      <a:lnTo>
                        <a:pt x="1696" y="968"/>
                      </a:lnTo>
                      <a:lnTo>
                        <a:pt x="1696" y="960"/>
                      </a:lnTo>
                      <a:lnTo>
                        <a:pt x="1704" y="960"/>
                      </a:lnTo>
                      <a:lnTo>
                        <a:pt x="1704" y="968"/>
                      </a:lnTo>
                      <a:lnTo>
                        <a:pt x="1696" y="968"/>
                      </a:lnTo>
                      <a:lnTo>
                        <a:pt x="1704" y="968"/>
                      </a:lnTo>
                      <a:lnTo>
                        <a:pt x="1712" y="968"/>
                      </a:lnTo>
                      <a:lnTo>
                        <a:pt x="1704" y="976"/>
                      </a:lnTo>
                      <a:lnTo>
                        <a:pt x="1696" y="976"/>
                      </a:lnTo>
                      <a:lnTo>
                        <a:pt x="1704" y="976"/>
                      </a:lnTo>
                      <a:lnTo>
                        <a:pt x="1712" y="968"/>
                      </a:lnTo>
                      <a:lnTo>
                        <a:pt x="1720" y="968"/>
                      </a:lnTo>
                      <a:lnTo>
                        <a:pt x="1712" y="968"/>
                      </a:lnTo>
                      <a:lnTo>
                        <a:pt x="1720" y="968"/>
                      </a:lnTo>
                      <a:lnTo>
                        <a:pt x="1720" y="976"/>
                      </a:lnTo>
                      <a:lnTo>
                        <a:pt x="1720" y="984"/>
                      </a:lnTo>
                      <a:lnTo>
                        <a:pt x="1728" y="984"/>
                      </a:lnTo>
                      <a:lnTo>
                        <a:pt x="1736" y="976"/>
                      </a:lnTo>
                      <a:lnTo>
                        <a:pt x="1744" y="976"/>
                      </a:lnTo>
                      <a:lnTo>
                        <a:pt x="1736" y="984"/>
                      </a:lnTo>
                      <a:lnTo>
                        <a:pt x="1744" y="992"/>
                      </a:lnTo>
                      <a:lnTo>
                        <a:pt x="1752" y="992"/>
                      </a:lnTo>
                      <a:lnTo>
                        <a:pt x="1744" y="992"/>
                      </a:lnTo>
                      <a:lnTo>
                        <a:pt x="1736" y="1000"/>
                      </a:lnTo>
                      <a:lnTo>
                        <a:pt x="1736" y="992"/>
                      </a:lnTo>
                      <a:lnTo>
                        <a:pt x="1728" y="1000"/>
                      </a:lnTo>
                      <a:lnTo>
                        <a:pt x="1720" y="1000"/>
                      </a:lnTo>
                      <a:lnTo>
                        <a:pt x="1712" y="1000"/>
                      </a:lnTo>
                      <a:lnTo>
                        <a:pt x="1696" y="1008"/>
                      </a:lnTo>
                      <a:lnTo>
                        <a:pt x="1704" y="1008"/>
                      </a:lnTo>
                      <a:lnTo>
                        <a:pt x="1720" y="1000"/>
                      </a:lnTo>
                      <a:lnTo>
                        <a:pt x="1720" y="1008"/>
                      </a:lnTo>
                      <a:lnTo>
                        <a:pt x="1712" y="1008"/>
                      </a:lnTo>
                      <a:lnTo>
                        <a:pt x="1704" y="1008"/>
                      </a:lnTo>
                      <a:lnTo>
                        <a:pt x="1696" y="1016"/>
                      </a:lnTo>
                      <a:lnTo>
                        <a:pt x="1688" y="1016"/>
                      </a:lnTo>
                      <a:lnTo>
                        <a:pt x="1688" y="1024"/>
                      </a:lnTo>
                      <a:lnTo>
                        <a:pt x="1680" y="1024"/>
                      </a:lnTo>
                      <a:lnTo>
                        <a:pt x="1672" y="1016"/>
                      </a:lnTo>
                      <a:lnTo>
                        <a:pt x="1672" y="1008"/>
                      </a:lnTo>
                      <a:lnTo>
                        <a:pt x="1672" y="1016"/>
                      </a:lnTo>
                      <a:lnTo>
                        <a:pt x="1664" y="1016"/>
                      </a:lnTo>
                      <a:lnTo>
                        <a:pt x="1672" y="1016"/>
                      </a:lnTo>
                      <a:lnTo>
                        <a:pt x="1680" y="1032"/>
                      </a:lnTo>
                      <a:lnTo>
                        <a:pt x="1672" y="1032"/>
                      </a:lnTo>
                      <a:lnTo>
                        <a:pt x="1680" y="1040"/>
                      </a:lnTo>
                      <a:lnTo>
                        <a:pt x="1680" y="1032"/>
                      </a:lnTo>
                      <a:lnTo>
                        <a:pt x="1688" y="1024"/>
                      </a:lnTo>
                      <a:lnTo>
                        <a:pt x="1696" y="1024"/>
                      </a:lnTo>
                      <a:lnTo>
                        <a:pt x="1704" y="1024"/>
                      </a:lnTo>
                      <a:lnTo>
                        <a:pt x="1704" y="1016"/>
                      </a:lnTo>
                      <a:lnTo>
                        <a:pt x="1712" y="1016"/>
                      </a:lnTo>
                      <a:lnTo>
                        <a:pt x="1720" y="1008"/>
                      </a:lnTo>
                      <a:lnTo>
                        <a:pt x="1728" y="1008"/>
                      </a:lnTo>
                      <a:lnTo>
                        <a:pt x="1736" y="1008"/>
                      </a:lnTo>
                      <a:lnTo>
                        <a:pt x="1728" y="1008"/>
                      </a:lnTo>
                      <a:lnTo>
                        <a:pt x="1736" y="1000"/>
                      </a:lnTo>
                      <a:lnTo>
                        <a:pt x="1752" y="1008"/>
                      </a:lnTo>
                      <a:lnTo>
                        <a:pt x="1752" y="1016"/>
                      </a:lnTo>
                      <a:lnTo>
                        <a:pt x="1744" y="1024"/>
                      </a:lnTo>
                      <a:lnTo>
                        <a:pt x="1736" y="1024"/>
                      </a:lnTo>
                      <a:lnTo>
                        <a:pt x="1744" y="1024"/>
                      </a:lnTo>
                      <a:lnTo>
                        <a:pt x="1744" y="1032"/>
                      </a:lnTo>
                      <a:lnTo>
                        <a:pt x="1752" y="1032"/>
                      </a:lnTo>
                      <a:lnTo>
                        <a:pt x="1752" y="1024"/>
                      </a:lnTo>
                      <a:lnTo>
                        <a:pt x="1760" y="1024"/>
                      </a:lnTo>
                      <a:lnTo>
                        <a:pt x="1768" y="1024"/>
                      </a:lnTo>
                      <a:lnTo>
                        <a:pt x="1760" y="1024"/>
                      </a:lnTo>
                      <a:lnTo>
                        <a:pt x="1768" y="1024"/>
                      </a:lnTo>
                      <a:lnTo>
                        <a:pt x="1776" y="1032"/>
                      </a:lnTo>
                      <a:lnTo>
                        <a:pt x="1768" y="1032"/>
                      </a:lnTo>
                      <a:lnTo>
                        <a:pt x="1776" y="1040"/>
                      </a:lnTo>
                      <a:lnTo>
                        <a:pt x="1776" y="1048"/>
                      </a:lnTo>
                      <a:lnTo>
                        <a:pt x="1768" y="1040"/>
                      </a:lnTo>
                      <a:lnTo>
                        <a:pt x="1768" y="1048"/>
                      </a:lnTo>
                      <a:lnTo>
                        <a:pt x="1776" y="1048"/>
                      </a:lnTo>
                      <a:lnTo>
                        <a:pt x="1776" y="1056"/>
                      </a:lnTo>
                      <a:lnTo>
                        <a:pt x="1768" y="1056"/>
                      </a:lnTo>
                      <a:lnTo>
                        <a:pt x="1760" y="1064"/>
                      </a:lnTo>
                      <a:lnTo>
                        <a:pt x="1760" y="1056"/>
                      </a:lnTo>
                      <a:lnTo>
                        <a:pt x="1760" y="1064"/>
                      </a:lnTo>
                      <a:lnTo>
                        <a:pt x="1768" y="1064"/>
                      </a:lnTo>
                      <a:lnTo>
                        <a:pt x="1776" y="1072"/>
                      </a:lnTo>
                      <a:lnTo>
                        <a:pt x="1768" y="1072"/>
                      </a:lnTo>
                      <a:lnTo>
                        <a:pt x="1776" y="1072"/>
                      </a:lnTo>
                      <a:lnTo>
                        <a:pt x="1776" y="1080"/>
                      </a:lnTo>
                      <a:lnTo>
                        <a:pt x="1768" y="1080"/>
                      </a:lnTo>
                      <a:lnTo>
                        <a:pt x="1768" y="1088"/>
                      </a:lnTo>
                      <a:lnTo>
                        <a:pt x="1760" y="1088"/>
                      </a:lnTo>
                      <a:lnTo>
                        <a:pt x="1752" y="1088"/>
                      </a:lnTo>
                      <a:lnTo>
                        <a:pt x="1752" y="1096"/>
                      </a:lnTo>
                      <a:lnTo>
                        <a:pt x="1744" y="1096"/>
                      </a:lnTo>
                      <a:lnTo>
                        <a:pt x="1736" y="1104"/>
                      </a:lnTo>
                      <a:lnTo>
                        <a:pt x="1736" y="1096"/>
                      </a:lnTo>
                      <a:lnTo>
                        <a:pt x="1728" y="1104"/>
                      </a:lnTo>
                      <a:lnTo>
                        <a:pt x="1720" y="1096"/>
                      </a:lnTo>
                      <a:lnTo>
                        <a:pt x="1720" y="1104"/>
                      </a:lnTo>
                      <a:lnTo>
                        <a:pt x="1712" y="1104"/>
                      </a:lnTo>
                      <a:lnTo>
                        <a:pt x="1712" y="1096"/>
                      </a:lnTo>
                      <a:lnTo>
                        <a:pt x="1712" y="1104"/>
                      </a:lnTo>
                      <a:lnTo>
                        <a:pt x="1704" y="1104"/>
                      </a:lnTo>
                      <a:lnTo>
                        <a:pt x="1696" y="1104"/>
                      </a:lnTo>
                      <a:lnTo>
                        <a:pt x="1704" y="1104"/>
                      </a:lnTo>
                      <a:lnTo>
                        <a:pt x="1704" y="1112"/>
                      </a:lnTo>
                      <a:lnTo>
                        <a:pt x="1696" y="1112"/>
                      </a:lnTo>
                      <a:lnTo>
                        <a:pt x="1696" y="1120"/>
                      </a:lnTo>
                      <a:lnTo>
                        <a:pt x="1688" y="1120"/>
                      </a:lnTo>
                      <a:lnTo>
                        <a:pt x="1688" y="1128"/>
                      </a:lnTo>
                      <a:lnTo>
                        <a:pt x="1680" y="1128"/>
                      </a:lnTo>
                      <a:lnTo>
                        <a:pt x="1672" y="1128"/>
                      </a:lnTo>
                      <a:lnTo>
                        <a:pt x="1672" y="1136"/>
                      </a:lnTo>
                      <a:lnTo>
                        <a:pt x="1664" y="1136"/>
                      </a:lnTo>
                      <a:lnTo>
                        <a:pt x="1656" y="1136"/>
                      </a:lnTo>
                      <a:lnTo>
                        <a:pt x="1648" y="1136"/>
                      </a:lnTo>
                      <a:lnTo>
                        <a:pt x="1640" y="1136"/>
                      </a:lnTo>
                      <a:lnTo>
                        <a:pt x="1632" y="1136"/>
                      </a:lnTo>
                      <a:lnTo>
                        <a:pt x="1624" y="1136"/>
                      </a:lnTo>
                      <a:lnTo>
                        <a:pt x="1616" y="1136"/>
                      </a:lnTo>
                      <a:lnTo>
                        <a:pt x="1608" y="1136"/>
                      </a:lnTo>
                      <a:lnTo>
                        <a:pt x="1600" y="1136"/>
                      </a:lnTo>
                      <a:lnTo>
                        <a:pt x="1592" y="1128"/>
                      </a:lnTo>
                      <a:lnTo>
                        <a:pt x="1592" y="1136"/>
                      </a:lnTo>
                      <a:lnTo>
                        <a:pt x="1584" y="1136"/>
                      </a:lnTo>
                      <a:lnTo>
                        <a:pt x="1576" y="1128"/>
                      </a:lnTo>
                      <a:lnTo>
                        <a:pt x="1568" y="1128"/>
                      </a:lnTo>
                      <a:lnTo>
                        <a:pt x="1560" y="1128"/>
                      </a:lnTo>
                      <a:lnTo>
                        <a:pt x="1552" y="1128"/>
                      </a:lnTo>
                      <a:lnTo>
                        <a:pt x="1544" y="1128"/>
                      </a:lnTo>
                      <a:lnTo>
                        <a:pt x="1536" y="1128"/>
                      </a:lnTo>
                      <a:lnTo>
                        <a:pt x="1528" y="1128"/>
                      </a:lnTo>
                      <a:lnTo>
                        <a:pt x="1528" y="1120"/>
                      </a:lnTo>
                      <a:lnTo>
                        <a:pt x="1520" y="1128"/>
                      </a:lnTo>
                      <a:lnTo>
                        <a:pt x="1520" y="1136"/>
                      </a:lnTo>
                      <a:lnTo>
                        <a:pt x="1512" y="1136"/>
                      </a:lnTo>
                      <a:lnTo>
                        <a:pt x="1504" y="1144"/>
                      </a:lnTo>
                      <a:lnTo>
                        <a:pt x="1496" y="1144"/>
                      </a:lnTo>
                      <a:lnTo>
                        <a:pt x="1496" y="1152"/>
                      </a:lnTo>
                      <a:lnTo>
                        <a:pt x="1496" y="1160"/>
                      </a:lnTo>
                      <a:lnTo>
                        <a:pt x="1488" y="1160"/>
                      </a:lnTo>
                      <a:lnTo>
                        <a:pt x="1480" y="1160"/>
                      </a:lnTo>
                      <a:lnTo>
                        <a:pt x="1472" y="1160"/>
                      </a:lnTo>
                      <a:lnTo>
                        <a:pt x="1472" y="1168"/>
                      </a:lnTo>
                      <a:lnTo>
                        <a:pt x="1464" y="1168"/>
                      </a:lnTo>
                      <a:lnTo>
                        <a:pt x="1456" y="1176"/>
                      </a:lnTo>
                      <a:lnTo>
                        <a:pt x="1448" y="1176"/>
                      </a:lnTo>
                      <a:lnTo>
                        <a:pt x="1448" y="1184"/>
                      </a:lnTo>
                      <a:lnTo>
                        <a:pt x="1440" y="1192"/>
                      </a:lnTo>
                      <a:lnTo>
                        <a:pt x="1432" y="1200"/>
                      </a:lnTo>
                      <a:lnTo>
                        <a:pt x="1424" y="1208"/>
                      </a:lnTo>
                      <a:lnTo>
                        <a:pt x="1416" y="1216"/>
                      </a:lnTo>
                      <a:lnTo>
                        <a:pt x="1408" y="1216"/>
                      </a:lnTo>
                      <a:lnTo>
                        <a:pt x="1408" y="1224"/>
                      </a:lnTo>
                      <a:lnTo>
                        <a:pt x="1392" y="1232"/>
                      </a:lnTo>
                      <a:lnTo>
                        <a:pt x="1392" y="1240"/>
                      </a:lnTo>
                      <a:lnTo>
                        <a:pt x="1384" y="1240"/>
                      </a:lnTo>
                      <a:lnTo>
                        <a:pt x="1376" y="1248"/>
                      </a:lnTo>
                      <a:lnTo>
                        <a:pt x="1392" y="1240"/>
                      </a:lnTo>
                      <a:lnTo>
                        <a:pt x="1400" y="1232"/>
                      </a:lnTo>
                      <a:lnTo>
                        <a:pt x="1408" y="1232"/>
                      </a:lnTo>
                      <a:lnTo>
                        <a:pt x="1416" y="1224"/>
                      </a:lnTo>
                      <a:lnTo>
                        <a:pt x="1424" y="1216"/>
                      </a:lnTo>
                      <a:lnTo>
                        <a:pt x="1440" y="1200"/>
                      </a:lnTo>
                      <a:lnTo>
                        <a:pt x="1456" y="1192"/>
                      </a:lnTo>
                      <a:lnTo>
                        <a:pt x="1464" y="1184"/>
                      </a:lnTo>
                      <a:lnTo>
                        <a:pt x="1472" y="1184"/>
                      </a:lnTo>
                      <a:lnTo>
                        <a:pt x="1480" y="1176"/>
                      </a:lnTo>
                      <a:lnTo>
                        <a:pt x="1496" y="1176"/>
                      </a:lnTo>
                      <a:lnTo>
                        <a:pt x="1504" y="1168"/>
                      </a:lnTo>
                      <a:lnTo>
                        <a:pt x="1512" y="1168"/>
                      </a:lnTo>
                      <a:lnTo>
                        <a:pt x="1520" y="1168"/>
                      </a:lnTo>
                      <a:lnTo>
                        <a:pt x="1536" y="1168"/>
                      </a:lnTo>
                      <a:lnTo>
                        <a:pt x="1544" y="1168"/>
                      </a:lnTo>
                      <a:lnTo>
                        <a:pt x="1552" y="1176"/>
                      </a:lnTo>
                      <a:lnTo>
                        <a:pt x="1544" y="1176"/>
                      </a:lnTo>
                      <a:lnTo>
                        <a:pt x="1544" y="1184"/>
                      </a:lnTo>
                      <a:lnTo>
                        <a:pt x="1552" y="1184"/>
                      </a:lnTo>
                      <a:lnTo>
                        <a:pt x="1560" y="1184"/>
                      </a:lnTo>
                      <a:lnTo>
                        <a:pt x="1552" y="1184"/>
                      </a:lnTo>
                      <a:lnTo>
                        <a:pt x="1552" y="1192"/>
                      </a:lnTo>
                      <a:lnTo>
                        <a:pt x="1552" y="1200"/>
                      </a:lnTo>
                      <a:lnTo>
                        <a:pt x="1544" y="1200"/>
                      </a:lnTo>
                      <a:lnTo>
                        <a:pt x="1536" y="1200"/>
                      </a:lnTo>
                      <a:lnTo>
                        <a:pt x="1528" y="1208"/>
                      </a:lnTo>
                      <a:lnTo>
                        <a:pt x="1520" y="1208"/>
                      </a:lnTo>
                      <a:lnTo>
                        <a:pt x="1520" y="1200"/>
                      </a:lnTo>
                      <a:lnTo>
                        <a:pt x="1512" y="1208"/>
                      </a:lnTo>
                      <a:lnTo>
                        <a:pt x="1504" y="1208"/>
                      </a:lnTo>
                      <a:lnTo>
                        <a:pt x="1496" y="1208"/>
                      </a:lnTo>
                      <a:lnTo>
                        <a:pt x="1504" y="1208"/>
                      </a:lnTo>
                      <a:lnTo>
                        <a:pt x="1512" y="1208"/>
                      </a:lnTo>
                      <a:lnTo>
                        <a:pt x="1520" y="1208"/>
                      </a:lnTo>
                      <a:lnTo>
                        <a:pt x="1520" y="1216"/>
                      </a:lnTo>
                      <a:lnTo>
                        <a:pt x="1528" y="1216"/>
                      </a:lnTo>
                      <a:lnTo>
                        <a:pt x="1536" y="1208"/>
                      </a:lnTo>
                      <a:lnTo>
                        <a:pt x="1536" y="1216"/>
                      </a:lnTo>
                      <a:lnTo>
                        <a:pt x="1544" y="1216"/>
                      </a:lnTo>
                      <a:lnTo>
                        <a:pt x="1536" y="1224"/>
                      </a:lnTo>
                      <a:lnTo>
                        <a:pt x="1536" y="1232"/>
                      </a:lnTo>
                      <a:lnTo>
                        <a:pt x="1528" y="1232"/>
                      </a:lnTo>
                      <a:lnTo>
                        <a:pt x="1528" y="1240"/>
                      </a:lnTo>
                      <a:lnTo>
                        <a:pt x="1536" y="1240"/>
                      </a:lnTo>
                      <a:lnTo>
                        <a:pt x="1536" y="1248"/>
                      </a:lnTo>
                      <a:lnTo>
                        <a:pt x="1536" y="1256"/>
                      </a:lnTo>
                      <a:lnTo>
                        <a:pt x="1536" y="1264"/>
                      </a:lnTo>
                      <a:lnTo>
                        <a:pt x="1544" y="1264"/>
                      </a:lnTo>
                      <a:lnTo>
                        <a:pt x="1552" y="1272"/>
                      </a:lnTo>
                      <a:lnTo>
                        <a:pt x="1552" y="1280"/>
                      </a:lnTo>
                      <a:lnTo>
                        <a:pt x="1560" y="1280"/>
                      </a:lnTo>
                      <a:lnTo>
                        <a:pt x="1568" y="1280"/>
                      </a:lnTo>
                      <a:lnTo>
                        <a:pt x="1576" y="1280"/>
                      </a:lnTo>
                      <a:lnTo>
                        <a:pt x="1576" y="1288"/>
                      </a:lnTo>
                      <a:lnTo>
                        <a:pt x="1584" y="1288"/>
                      </a:lnTo>
                      <a:lnTo>
                        <a:pt x="1584" y="1280"/>
                      </a:lnTo>
                      <a:lnTo>
                        <a:pt x="1592" y="1280"/>
                      </a:lnTo>
                      <a:lnTo>
                        <a:pt x="1592" y="1288"/>
                      </a:lnTo>
                      <a:lnTo>
                        <a:pt x="1600" y="1288"/>
                      </a:lnTo>
                      <a:lnTo>
                        <a:pt x="1608" y="1288"/>
                      </a:lnTo>
                      <a:lnTo>
                        <a:pt x="1608" y="1296"/>
                      </a:lnTo>
                      <a:lnTo>
                        <a:pt x="1600" y="1296"/>
                      </a:lnTo>
                      <a:lnTo>
                        <a:pt x="1608" y="1296"/>
                      </a:lnTo>
                      <a:lnTo>
                        <a:pt x="1616" y="1296"/>
                      </a:lnTo>
                      <a:lnTo>
                        <a:pt x="1608" y="1304"/>
                      </a:lnTo>
                      <a:lnTo>
                        <a:pt x="1608" y="1296"/>
                      </a:lnTo>
                      <a:lnTo>
                        <a:pt x="1600" y="1296"/>
                      </a:lnTo>
                      <a:lnTo>
                        <a:pt x="1600" y="1304"/>
                      </a:lnTo>
                      <a:lnTo>
                        <a:pt x="1584" y="1304"/>
                      </a:lnTo>
                      <a:lnTo>
                        <a:pt x="1576" y="1312"/>
                      </a:lnTo>
                      <a:lnTo>
                        <a:pt x="1568" y="1312"/>
                      </a:lnTo>
                      <a:lnTo>
                        <a:pt x="1560" y="1320"/>
                      </a:lnTo>
                      <a:lnTo>
                        <a:pt x="1552" y="1320"/>
                      </a:lnTo>
                      <a:lnTo>
                        <a:pt x="1544" y="1320"/>
                      </a:lnTo>
                      <a:lnTo>
                        <a:pt x="1544" y="1312"/>
                      </a:lnTo>
                      <a:lnTo>
                        <a:pt x="1536" y="1312"/>
                      </a:lnTo>
                      <a:lnTo>
                        <a:pt x="1536" y="1320"/>
                      </a:lnTo>
                      <a:lnTo>
                        <a:pt x="1528" y="1328"/>
                      </a:lnTo>
                      <a:lnTo>
                        <a:pt x="1520" y="1336"/>
                      </a:lnTo>
                      <a:lnTo>
                        <a:pt x="1512" y="1344"/>
                      </a:lnTo>
                      <a:lnTo>
                        <a:pt x="1504" y="1344"/>
                      </a:lnTo>
                      <a:lnTo>
                        <a:pt x="1504" y="1352"/>
                      </a:lnTo>
                      <a:lnTo>
                        <a:pt x="1504" y="1344"/>
                      </a:lnTo>
                      <a:lnTo>
                        <a:pt x="1496" y="1352"/>
                      </a:lnTo>
                      <a:lnTo>
                        <a:pt x="1496" y="1344"/>
                      </a:lnTo>
                      <a:lnTo>
                        <a:pt x="1496" y="1336"/>
                      </a:lnTo>
                      <a:lnTo>
                        <a:pt x="1488" y="1344"/>
                      </a:lnTo>
                      <a:lnTo>
                        <a:pt x="1488" y="1336"/>
                      </a:lnTo>
                      <a:lnTo>
                        <a:pt x="1488" y="1328"/>
                      </a:lnTo>
                      <a:lnTo>
                        <a:pt x="1488" y="1320"/>
                      </a:lnTo>
                      <a:lnTo>
                        <a:pt x="1496" y="1312"/>
                      </a:lnTo>
                      <a:lnTo>
                        <a:pt x="1504" y="1304"/>
                      </a:lnTo>
                      <a:lnTo>
                        <a:pt x="1520" y="1304"/>
                      </a:lnTo>
                      <a:lnTo>
                        <a:pt x="1528" y="1296"/>
                      </a:lnTo>
                      <a:lnTo>
                        <a:pt x="1536" y="1296"/>
                      </a:lnTo>
                      <a:lnTo>
                        <a:pt x="1544" y="1304"/>
                      </a:lnTo>
                      <a:lnTo>
                        <a:pt x="1544" y="1296"/>
                      </a:lnTo>
                      <a:lnTo>
                        <a:pt x="1552" y="1296"/>
                      </a:lnTo>
                      <a:lnTo>
                        <a:pt x="1560" y="1296"/>
                      </a:lnTo>
                      <a:lnTo>
                        <a:pt x="1552" y="1296"/>
                      </a:lnTo>
                      <a:lnTo>
                        <a:pt x="1544" y="1296"/>
                      </a:lnTo>
                      <a:lnTo>
                        <a:pt x="1536" y="1288"/>
                      </a:lnTo>
                      <a:lnTo>
                        <a:pt x="1528" y="1296"/>
                      </a:lnTo>
                      <a:lnTo>
                        <a:pt x="1520" y="1296"/>
                      </a:lnTo>
                      <a:lnTo>
                        <a:pt x="1528" y="1288"/>
                      </a:lnTo>
                      <a:lnTo>
                        <a:pt x="1536" y="1288"/>
                      </a:lnTo>
                      <a:lnTo>
                        <a:pt x="1536" y="1280"/>
                      </a:lnTo>
                      <a:lnTo>
                        <a:pt x="1528" y="1280"/>
                      </a:lnTo>
                      <a:lnTo>
                        <a:pt x="1528" y="1288"/>
                      </a:lnTo>
                      <a:lnTo>
                        <a:pt x="1520" y="1288"/>
                      </a:lnTo>
                      <a:lnTo>
                        <a:pt x="1512" y="1288"/>
                      </a:lnTo>
                      <a:lnTo>
                        <a:pt x="1512" y="1296"/>
                      </a:lnTo>
                      <a:lnTo>
                        <a:pt x="1504" y="1296"/>
                      </a:lnTo>
                      <a:lnTo>
                        <a:pt x="1496" y="1296"/>
                      </a:lnTo>
                      <a:lnTo>
                        <a:pt x="1504" y="1296"/>
                      </a:lnTo>
                      <a:lnTo>
                        <a:pt x="1496" y="1296"/>
                      </a:lnTo>
                      <a:lnTo>
                        <a:pt x="1504" y="1288"/>
                      </a:lnTo>
                      <a:lnTo>
                        <a:pt x="1496" y="1296"/>
                      </a:lnTo>
                      <a:lnTo>
                        <a:pt x="1488" y="1296"/>
                      </a:lnTo>
                      <a:lnTo>
                        <a:pt x="1480" y="1296"/>
                      </a:lnTo>
                      <a:lnTo>
                        <a:pt x="1472" y="1296"/>
                      </a:lnTo>
                      <a:lnTo>
                        <a:pt x="1464" y="1296"/>
                      </a:lnTo>
                      <a:lnTo>
                        <a:pt x="1464" y="1288"/>
                      </a:lnTo>
                      <a:lnTo>
                        <a:pt x="1464" y="1280"/>
                      </a:lnTo>
                      <a:lnTo>
                        <a:pt x="1464" y="1272"/>
                      </a:lnTo>
                      <a:lnTo>
                        <a:pt x="1464" y="1240"/>
                      </a:lnTo>
                      <a:lnTo>
                        <a:pt x="1464" y="1232"/>
                      </a:lnTo>
                      <a:lnTo>
                        <a:pt x="1456" y="1224"/>
                      </a:lnTo>
                      <a:lnTo>
                        <a:pt x="1448" y="1224"/>
                      </a:lnTo>
                      <a:lnTo>
                        <a:pt x="1440" y="1224"/>
                      </a:lnTo>
                      <a:lnTo>
                        <a:pt x="1432" y="1224"/>
                      </a:lnTo>
                      <a:lnTo>
                        <a:pt x="1432" y="1232"/>
                      </a:lnTo>
                      <a:lnTo>
                        <a:pt x="1424" y="1240"/>
                      </a:lnTo>
                      <a:lnTo>
                        <a:pt x="1416" y="1248"/>
                      </a:lnTo>
                      <a:lnTo>
                        <a:pt x="1408" y="1248"/>
                      </a:lnTo>
                      <a:lnTo>
                        <a:pt x="1408" y="1256"/>
                      </a:lnTo>
                      <a:lnTo>
                        <a:pt x="1408" y="1264"/>
                      </a:lnTo>
                      <a:lnTo>
                        <a:pt x="1400" y="1272"/>
                      </a:lnTo>
                      <a:lnTo>
                        <a:pt x="1392" y="1280"/>
                      </a:lnTo>
                      <a:lnTo>
                        <a:pt x="1384" y="1288"/>
                      </a:lnTo>
                      <a:lnTo>
                        <a:pt x="1376" y="1288"/>
                      </a:lnTo>
                      <a:lnTo>
                        <a:pt x="1368" y="1288"/>
                      </a:lnTo>
                      <a:lnTo>
                        <a:pt x="1296" y="1288"/>
                      </a:lnTo>
                      <a:lnTo>
                        <a:pt x="1288" y="1288"/>
                      </a:lnTo>
                      <a:lnTo>
                        <a:pt x="1288" y="1296"/>
                      </a:lnTo>
                      <a:lnTo>
                        <a:pt x="1280" y="1296"/>
                      </a:lnTo>
                      <a:lnTo>
                        <a:pt x="1272" y="1304"/>
                      </a:lnTo>
                      <a:lnTo>
                        <a:pt x="1264" y="1312"/>
                      </a:lnTo>
                      <a:lnTo>
                        <a:pt x="1256" y="1312"/>
                      </a:lnTo>
                      <a:lnTo>
                        <a:pt x="1248" y="1320"/>
                      </a:lnTo>
                      <a:lnTo>
                        <a:pt x="1232" y="1336"/>
                      </a:lnTo>
                      <a:lnTo>
                        <a:pt x="1184" y="1344"/>
                      </a:lnTo>
                      <a:lnTo>
                        <a:pt x="1184" y="1360"/>
                      </a:lnTo>
                      <a:lnTo>
                        <a:pt x="1168" y="1360"/>
                      </a:lnTo>
                      <a:lnTo>
                        <a:pt x="1088" y="1384"/>
                      </a:lnTo>
                      <a:lnTo>
                        <a:pt x="1080" y="1376"/>
                      </a:lnTo>
                      <a:lnTo>
                        <a:pt x="1088" y="1368"/>
                      </a:lnTo>
                      <a:lnTo>
                        <a:pt x="1096" y="1368"/>
                      </a:lnTo>
                      <a:lnTo>
                        <a:pt x="1104" y="1360"/>
                      </a:lnTo>
                      <a:lnTo>
                        <a:pt x="1104" y="1352"/>
                      </a:lnTo>
                      <a:lnTo>
                        <a:pt x="1112" y="1320"/>
                      </a:lnTo>
                      <a:lnTo>
                        <a:pt x="1096" y="1240"/>
                      </a:lnTo>
                      <a:lnTo>
                        <a:pt x="1080" y="1232"/>
                      </a:lnTo>
                      <a:lnTo>
                        <a:pt x="1072" y="1224"/>
                      </a:lnTo>
                      <a:lnTo>
                        <a:pt x="976" y="1176"/>
                      </a:lnTo>
                      <a:lnTo>
                        <a:pt x="968" y="1176"/>
                      </a:lnTo>
                      <a:lnTo>
                        <a:pt x="960" y="1176"/>
                      </a:lnTo>
                      <a:lnTo>
                        <a:pt x="960" y="1168"/>
                      </a:lnTo>
                      <a:lnTo>
                        <a:pt x="952" y="1168"/>
                      </a:lnTo>
                      <a:lnTo>
                        <a:pt x="944" y="1168"/>
                      </a:lnTo>
                      <a:lnTo>
                        <a:pt x="944" y="1160"/>
                      </a:lnTo>
                      <a:lnTo>
                        <a:pt x="944" y="1168"/>
                      </a:lnTo>
                      <a:lnTo>
                        <a:pt x="936" y="1168"/>
                      </a:lnTo>
                      <a:lnTo>
                        <a:pt x="928" y="1160"/>
                      </a:lnTo>
                      <a:lnTo>
                        <a:pt x="920" y="1160"/>
                      </a:lnTo>
                      <a:lnTo>
                        <a:pt x="912" y="1160"/>
                      </a:lnTo>
                      <a:lnTo>
                        <a:pt x="912" y="1152"/>
                      </a:lnTo>
                      <a:lnTo>
                        <a:pt x="904" y="1152"/>
                      </a:lnTo>
                      <a:lnTo>
                        <a:pt x="904" y="1144"/>
                      </a:lnTo>
                      <a:lnTo>
                        <a:pt x="896" y="1144"/>
                      </a:lnTo>
                      <a:lnTo>
                        <a:pt x="888" y="1144"/>
                      </a:lnTo>
                      <a:lnTo>
                        <a:pt x="880" y="1144"/>
                      </a:lnTo>
                      <a:lnTo>
                        <a:pt x="872" y="1136"/>
                      </a:lnTo>
                      <a:lnTo>
                        <a:pt x="864" y="1136"/>
                      </a:lnTo>
                      <a:lnTo>
                        <a:pt x="864" y="1128"/>
                      </a:lnTo>
                      <a:lnTo>
                        <a:pt x="856" y="1128"/>
                      </a:lnTo>
                      <a:lnTo>
                        <a:pt x="848" y="1128"/>
                      </a:lnTo>
                      <a:lnTo>
                        <a:pt x="216" y="106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5" name="Freeform 228"/>
                <p:cNvSpPr>
                  <a:spLocks/>
                </p:cNvSpPr>
                <p:nvPr/>
              </p:nvSpPr>
              <p:spPr bwMode="auto">
                <a:xfrm>
                  <a:off x="3136900" y="3162300"/>
                  <a:ext cx="12700" cy="12700"/>
                </a:xfrm>
                <a:custGeom>
                  <a:avLst/>
                  <a:gdLst>
                    <a:gd name="T0" fmla="*/ 8 w 8"/>
                    <a:gd name="T1" fmla="*/ 8 h 8"/>
                    <a:gd name="T2" fmla="*/ 0 w 8"/>
                    <a:gd name="T3" fmla="*/ 0 h 8"/>
                    <a:gd name="T4" fmla="*/ 8 w 8"/>
                    <a:gd name="T5" fmla="*/ 0 h 8"/>
                    <a:gd name="T6" fmla="*/ 8 w 8"/>
                    <a:gd name="T7" fmla="*/ 8 h 8"/>
                  </a:gdLst>
                  <a:ahLst/>
                  <a:cxnLst>
                    <a:cxn ang="0">
                      <a:pos x="T0" y="T1"/>
                    </a:cxn>
                    <a:cxn ang="0">
                      <a:pos x="T2" y="T3"/>
                    </a:cxn>
                    <a:cxn ang="0">
                      <a:pos x="T4" y="T5"/>
                    </a:cxn>
                    <a:cxn ang="0">
                      <a:pos x="T6" y="T7"/>
                    </a:cxn>
                  </a:cxnLst>
                  <a:rect l="0" t="0" r="r" b="b"/>
                  <a:pathLst>
                    <a:path w="8" h="8">
                      <a:moveTo>
                        <a:pt x="8" y="8"/>
                      </a:moveTo>
                      <a:lnTo>
                        <a:pt x="0" y="0"/>
                      </a:lnTo>
                      <a:lnTo>
                        <a:pt x="8" y="0"/>
                      </a:lnTo>
                      <a:lnTo>
                        <a:pt x="8"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6" name="Freeform 229"/>
                <p:cNvSpPr>
                  <a:spLocks/>
                </p:cNvSpPr>
                <p:nvPr/>
              </p:nvSpPr>
              <p:spPr bwMode="auto">
                <a:xfrm>
                  <a:off x="3187700" y="31750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7" name="Rectangle 230"/>
                <p:cNvSpPr>
                  <a:spLocks noChangeArrowheads="1"/>
                </p:cNvSpPr>
                <p:nvPr/>
              </p:nvSpPr>
              <p:spPr bwMode="auto">
                <a:xfrm>
                  <a:off x="3187700" y="31623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188" name="Freeform 231"/>
                <p:cNvSpPr>
                  <a:spLocks/>
                </p:cNvSpPr>
                <p:nvPr/>
              </p:nvSpPr>
              <p:spPr bwMode="auto">
                <a:xfrm>
                  <a:off x="3187700" y="3149600"/>
                  <a:ext cx="12700" cy="12700"/>
                </a:xfrm>
                <a:custGeom>
                  <a:avLst/>
                  <a:gdLst>
                    <a:gd name="T0" fmla="*/ 0 w 8"/>
                    <a:gd name="T1" fmla="*/ 0 h 8"/>
                    <a:gd name="T2" fmla="*/ 8 w 8"/>
                    <a:gd name="T3" fmla="*/ 0 h 8"/>
                    <a:gd name="T4" fmla="*/ 0 w 8"/>
                    <a:gd name="T5" fmla="*/ 8 h 8"/>
                    <a:gd name="T6" fmla="*/ 0 w 8"/>
                    <a:gd name="T7" fmla="*/ 0 h 8"/>
                  </a:gdLst>
                  <a:ahLst/>
                  <a:cxnLst>
                    <a:cxn ang="0">
                      <a:pos x="T0" y="T1"/>
                    </a:cxn>
                    <a:cxn ang="0">
                      <a:pos x="T2" y="T3"/>
                    </a:cxn>
                    <a:cxn ang="0">
                      <a:pos x="T4" y="T5"/>
                    </a:cxn>
                    <a:cxn ang="0">
                      <a:pos x="T6" y="T7"/>
                    </a:cxn>
                  </a:cxnLst>
                  <a:rect l="0" t="0" r="r" b="b"/>
                  <a:pathLst>
                    <a:path w="8" h="8">
                      <a:moveTo>
                        <a:pt x="0" y="0"/>
                      </a:moveTo>
                      <a:lnTo>
                        <a:pt x="8" y="0"/>
                      </a:ln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89" name="Freeform 232"/>
                <p:cNvSpPr>
                  <a:spLocks/>
                </p:cNvSpPr>
                <p:nvPr/>
              </p:nvSpPr>
              <p:spPr bwMode="auto">
                <a:xfrm>
                  <a:off x="3200400" y="3111500"/>
                  <a:ext cx="25400" cy="50800"/>
                </a:xfrm>
                <a:custGeom>
                  <a:avLst/>
                  <a:gdLst>
                    <a:gd name="T0" fmla="*/ 0 w 16"/>
                    <a:gd name="T1" fmla="*/ 24 h 32"/>
                    <a:gd name="T2" fmla="*/ 0 w 16"/>
                    <a:gd name="T3" fmla="*/ 16 h 32"/>
                    <a:gd name="T4" fmla="*/ 0 w 16"/>
                    <a:gd name="T5" fmla="*/ 8 h 32"/>
                    <a:gd name="T6" fmla="*/ 8 w 16"/>
                    <a:gd name="T7" fmla="*/ 8 h 32"/>
                    <a:gd name="T8" fmla="*/ 8 w 16"/>
                    <a:gd name="T9" fmla="*/ 0 h 32"/>
                    <a:gd name="T10" fmla="*/ 16 w 16"/>
                    <a:gd name="T11" fmla="*/ 0 h 32"/>
                    <a:gd name="T12" fmla="*/ 16 w 16"/>
                    <a:gd name="T13" fmla="*/ 8 h 32"/>
                    <a:gd name="T14" fmla="*/ 16 w 16"/>
                    <a:gd name="T15" fmla="*/ 16 h 32"/>
                    <a:gd name="T16" fmla="*/ 8 w 16"/>
                    <a:gd name="T17" fmla="*/ 24 h 32"/>
                    <a:gd name="T18" fmla="*/ 0 w 16"/>
                    <a:gd name="T19" fmla="*/ 32 h 32"/>
                    <a:gd name="T20" fmla="*/ 0 w 16"/>
                    <a:gd name="T21" fmla="*/ 24 h 32"/>
                    <a:gd name="T22" fmla="*/ 8 w 16"/>
                    <a:gd name="T23" fmla="*/ 24 h 32"/>
                    <a:gd name="T24" fmla="*/ 8 w 16"/>
                    <a:gd name="T25" fmla="*/ 16 h 32"/>
                    <a:gd name="T26" fmla="*/ 0 w 1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0" y="24"/>
                      </a:moveTo>
                      <a:lnTo>
                        <a:pt x="0" y="16"/>
                      </a:lnTo>
                      <a:lnTo>
                        <a:pt x="0" y="8"/>
                      </a:lnTo>
                      <a:lnTo>
                        <a:pt x="8" y="8"/>
                      </a:lnTo>
                      <a:lnTo>
                        <a:pt x="8" y="0"/>
                      </a:lnTo>
                      <a:lnTo>
                        <a:pt x="16" y="0"/>
                      </a:lnTo>
                      <a:lnTo>
                        <a:pt x="16" y="8"/>
                      </a:lnTo>
                      <a:lnTo>
                        <a:pt x="16" y="16"/>
                      </a:lnTo>
                      <a:lnTo>
                        <a:pt x="8" y="24"/>
                      </a:lnTo>
                      <a:lnTo>
                        <a:pt x="0" y="32"/>
                      </a:lnTo>
                      <a:lnTo>
                        <a:pt x="0" y="24"/>
                      </a:lnTo>
                      <a:lnTo>
                        <a:pt x="8" y="24"/>
                      </a:lnTo>
                      <a:lnTo>
                        <a:pt x="8" y="16"/>
                      </a:lnTo>
                      <a:lnTo>
                        <a:pt x="0"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0" name="Freeform 233"/>
                <p:cNvSpPr>
                  <a:spLocks/>
                </p:cNvSpPr>
                <p:nvPr/>
              </p:nvSpPr>
              <p:spPr bwMode="auto">
                <a:xfrm>
                  <a:off x="3124200" y="3175000"/>
                  <a:ext cx="12700" cy="25400"/>
                </a:xfrm>
                <a:custGeom>
                  <a:avLst/>
                  <a:gdLst>
                    <a:gd name="T0" fmla="*/ 0 w 8"/>
                    <a:gd name="T1" fmla="*/ 0 h 16"/>
                    <a:gd name="T2" fmla="*/ 8 w 8"/>
                    <a:gd name="T3" fmla="*/ 0 h 16"/>
                    <a:gd name="T4" fmla="*/ 8 w 8"/>
                    <a:gd name="T5" fmla="*/ 8 h 16"/>
                    <a:gd name="T6" fmla="*/ 8 w 8"/>
                    <a:gd name="T7" fmla="*/ 16 h 16"/>
                    <a:gd name="T8" fmla="*/ 8 w 8"/>
                    <a:gd name="T9" fmla="*/ 8 h 16"/>
                    <a:gd name="T10" fmla="*/ 0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0" y="0"/>
                      </a:moveTo>
                      <a:lnTo>
                        <a:pt x="8" y="0"/>
                      </a:lnTo>
                      <a:lnTo>
                        <a:pt x="8" y="8"/>
                      </a:lnTo>
                      <a:lnTo>
                        <a:pt x="8" y="16"/>
                      </a:lnTo>
                      <a:lnTo>
                        <a:pt x="8"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1" name="Freeform 234"/>
                <p:cNvSpPr>
                  <a:spLocks/>
                </p:cNvSpPr>
                <p:nvPr/>
              </p:nvSpPr>
              <p:spPr bwMode="auto">
                <a:xfrm>
                  <a:off x="3124200" y="31623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2" name="Freeform 235"/>
                <p:cNvSpPr>
                  <a:spLocks/>
                </p:cNvSpPr>
                <p:nvPr/>
              </p:nvSpPr>
              <p:spPr bwMode="auto">
                <a:xfrm>
                  <a:off x="3124200" y="31496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3" name="Freeform 236"/>
                <p:cNvSpPr>
                  <a:spLocks/>
                </p:cNvSpPr>
                <p:nvPr/>
              </p:nvSpPr>
              <p:spPr bwMode="auto">
                <a:xfrm>
                  <a:off x="3124200" y="3136900"/>
                  <a:ext cx="1588" cy="12700"/>
                </a:xfrm>
                <a:custGeom>
                  <a:avLst/>
                  <a:gdLst>
                    <a:gd name="T0" fmla="*/ 0 h 8"/>
                    <a:gd name="T1" fmla="*/ 8 h 8"/>
                    <a:gd name="T2" fmla="*/ 0 h 8"/>
                  </a:gdLst>
                  <a:ahLst/>
                  <a:cxnLst>
                    <a:cxn ang="0">
                      <a:pos x="0" y="T0"/>
                    </a:cxn>
                    <a:cxn ang="0">
                      <a:pos x="0" y="T1"/>
                    </a:cxn>
                    <a:cxn ang="0">
                      <a:pos x="0" y="T2"/>
                    </a:cxn>
                  </a:cxnLst>
                  <a:rect l="0" t="0" r="r" b="b"/>
                  <a:pathLst>
                    <a:path h="8">
                      <a:moveTo>
                        <a:pt x="0" y="0"/>
                      </a:moveTo>
                      <a:lnTo>
                        <a:pt x="0" y="8"/>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4" name="Freeform 237"/>
                <p:cNvSpPr>
                  <a:spLocks/>
                </p:cNvSpPr>
                <p:nvPr/>
              </p:nvSpPr>
              <p:spPr bwMode="auto">
                <a:xfrm>
                  <a:off x="3111500" y="30988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5" name="Freeform 238"/>
                <p:cNvSpPr>
                  <a:spLocks/>
                </p:cNvSpPr>
                <p:nvPr/>
              </p:nvSpPr>
              <p:spPr bwMode="auto">
                <a:xfrm>
                  <a:off x="3136900" y="3111500"/>
                  <a:ext cx="12700" cy="1588"/>
                </a:xfrm>
                <a:custGeom>
                  <a:avLst/>
                  <a:gdLst>
                    <a:gd name="T0" fmla="*/ 0 w 8"/>
                    <a:gd name="T1" fmla="*/ 8 w 8"/>
                    <a:gd name="T2" fmla="*/ 0 w 8"/>
                  </a:gdLst>
                  <a:ahLst/>
                  <a:cxnLst>
                    <a:cxn ang="0">
                      <a:pos x="T0" y="0"/>
                    </a:cxn>
                    <a:cxn ang="0">
                      <a:pos x="T1" y="0"/>
                    </a:cxn>
                    <a:cxn ang="0">
                      <a:pos x="T2" y="0"/>
                    </a:cxn>
                  </a:cxnLst>
                  <a:rect l="0" t="0" r="r" b="b"/>
                  <a:pathLst>
                    <a:path w="8">
                      <a:moveTo>
                        <a:pt x="0" y="0"/>
                      </a:moveTo>
                      <a:lnTo>
                        <a:pt x="8" y="0"/>
                      </a:lnTo>
                      <a:lnTo>
                        <a:pt x="0"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6" name="Freeform 239"/>
                <p:cNvSpPr>
                  <a:spLocks/>
                </p:cNvSpPr>
                <p:nvPr/>
              </p:nvSpPr>
              <p:spPr bwMode="auto">
                <a:xfrm>
                  <a:off x="3136900" y="3086100"/>
                  <a:ext cx="12700" cy="12700"/>
                </a:xfrm>
                <a:custGeom>
                  <a:avLst/>
                  <a:gdLst>
                    <a:gd name="T0" fmla="*/ 0 w 8"/>
                    <a:gd name="T1" fmla="*/ 8 h 8"/>
                    <a:gd name="T2" fmla="*/ 8 w 8"/>
                    <a:gd name="T3" fmla="*/ 0 h 8"/>
                    <a:gd name="T4" fmla="*/ 8 w 8"/>
                    <a:gd name="T5" fmla="*/ 8 h 8"/>
                    <a:gd name="T6" fmla="*/ 0 w 8"/>
                    <a:gd name="T7" fmla="*/ 8 h 8"/>
                  </a:gdLst>
                  <a:ahLst/>
                  <a:cxnLst>
                    <a:cxn ang="0">
                      <a:pos x="T0" y="T1"/>
                    </a:cxn>
                    <a:cxn ang="0">
                      <a:pos x="T2" y="T3"/>
                    </a:cxn>
                    <a:cxn ang="0">
                      <a:pos x="T4" y="T5"/>
                    </a:cxn>
                    <a:cxn ang="0">
                      <a:pos x="T6" y="T7"/>
                    </a:cxn>
                  </a:cxnLst>
                  <a:rect l="0" t="0" r="r" b="b"/>
                  <a:pathLst>
                    <a:path w="8" h="8">
                      <a:moveTo>
                        <a:pt x="0" y="8"/>
                      </a:moveTo>
                      <a:lnTo>
                        <a:pt x="8"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7" name="Freeform 240"/>
                <p:cNvSpPr>
                  <a:spLocks/>
                </p:cNvSpPr>
                <p:nvPr/>
              </p:nvSpPr>
              <p:spPr bwMode="auto">
                <a:xfrm>
                  <a:off x="3136900" y="3073400"/>
                  <a:ext cx="38100" cy="127000"/>
                </a:xfrm>
                <a:custGeom>
                  <a:avLst/>
                  <a:gdLst>
                    <a:gd name="T0" fmla="*/ 8 w 24"/>
                    <a:gd name="T1" fmla="*/ 24 h 80"/>
                    <a:gd name="T2" fmla="*/ 16 w 24"/>
                    <a:gd name="T3" fmla="*/ 16 h 80"/>
                    <a:gd name="T4" fmla="*/ 16 w 24"/>
                    <a:gd name="T5" fmla="*/ 8 h 80"/>
                    <a:gd name="T6" fmla="*/ 8 w 24"/>
                    <a:gd name="T7" fmla="*/ 8 h 80"/>
                    <a:gd name="T8" fmla="*/ 16 w 24"/>
                    <a:gd name="T9" fmla="*/ 0 h 80"/>
                    <a:gd name="T10" fmla="*/ 16 w 24"/>
                    <a:gd name="T11" fmla="*/ 8 h 80"/>
                    <a:gd name="T12" fmla="*/ 16 w 24"/>
                    <a:gd name="T13" fmla="*/ 16 h 80"/>
                    <a:gd name="T14" fmla="*/ 24 w 24"/>
                    <a:gd name="T15" fmla="*/ 24 h 80"/>
                    <a:gd name="T16" fmla="*/ 24 w 24"/>
                    <a:gd name="T17" fmla="*/ 32 h 80"/>
                    <a:gd name="T18" fmla="*/ 24 w 24"/>
                    <a:gd name="T19" fmla="*/ 40 h 80"/>
                    <a:gd name="T20" fmla="*/ 16 w 24"/>
                    <a:gd name="T21" fmla="*/ 40 h 80"/>
                    <a:gd name="T22" fmla="*/ 24 w 24"/>
                    <a:gd name="T23" fmla="*/ 48 h 80"/>
                    <a:gd name="T24" fmla="*/ 24 w 24"/>
                    <a:gd name="T25" fmla="*/ 56 h 80"/>
                    <a:gd name="T26" fmla="*/ 24 w 24"/>
                    <a:gd name="T27" fmla="*/ 64 h 80"/>
                    <a:gd name="T28" fmla="*/ 16 w 24"/>
                    <a:gd name="T29" fmla="*/ 64 h 80"/>
                    <a:gd name="T30" fmla="*/ 24 w 24"/>
                    <a:gd name="T31" fmla="*/ 72 h 80"/>
                    <a:gd name="T32" fmla="*/ 16 w 24"/>
                    <a:gd name="T33" fmla="*/ 72 h 80"/>
                    <a:gd name="T34" fmla="*/ 24 w 24"/>
                    <a:gd name="T35" fmla="*/ 72 h 80"/>
                    <a:gd name="T36" fmla="*/ 16 w 24"/>
                    <a:gd name="T37" fmla="*/ 80 h 80"/>
                    <a:gd name="T38" fmla="*/ 8 w 24"/>
                    <a:gd name="T39" fmla="*/ 72 h 80"/>
                    <a:gd name="T40" fmla="*/ 16 w 24"/>
                    <a:gd name="T41" fmla="*/ 72 h 80"/>
                    <a:gd name="T42" fmla="*/ 8 w 24"/>
                    <a:gd name="T43" fmla="*/ 64 h 80"/>
                    <a:gd name="T44" fmla="*/ 16 w 24"/>
                    <a:gd name="T45" fmla="*/ 56 h 80"/>
                    <a:gd name="T46" fmla="*/ 8 w 24"/>
                    <a:gd name="T47" fmla="*/ 56 h 80"/>
                    <a:gd name="T48" fmla="*/ 16 w 24"/>
                    <a:gd name="T49" fmla="*/ 56 h 80"/>
                    <a:gd name="T50" fmla="*/ 16 w 24"/>
                    <a:gd name="T51" fmla="*/ 48 h 80"/>
                    <a:gd name="T52" fmla="*/ 8 w 24"/>
                    <a:gd name="T53" fmla="*/ 48 h 80"/>
                    <a:gd name="T54" fmla="*/ 8 w 24"/>
                    <a:gd name="T55" fmla="*/ 56 h 80"/>
                    <a:gd name="T56" fmla="*/ 8 w 24"/>
                    <a:gd name="T57" fmla="*/ 48 h 80"/>
                    <a:gd name="T58" fmla="*/ 0 w 24"/>
                    <a:gd name="T59" fmla="*/ 48 h 80"/>
                    <a:gd name="T60" fmla="*/ 8 w 24"/>
                    <a:gd name="T61" fmla="*/ 48 h 80"/>
                    <a:gd name="T62" fmla="*/ 8 w 24"/>
                    <a:gd name="T63" fmla="*/ 40 h 80"/>
                    <a:gd name="T64" fmla="*/ 8 w 24"/>
                    <a:gd name="T65" fmla="*/ 32 h 80"/>
                    <a:gd name="T66" fmla="*/ 8 w 24"/>
                    <a:gd name="T6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80">
                      <a:moveTo>
                        <a:pt x="8" y="24"/>
                      </a:moveTo>
                      <a:lnTo>
                        <a:pt x="16" y="16"/>
                      </a:lnTo>
                      <a:lnTo>
                        <a:pt x="16" y="8"/>
                      </a:lnTo>
                      <a:lnTo>
                        <a:pt x="8" y="8"/>
                      </a:lnTo>
                      <a:lnTo>
                        <a:pt x="16" y="0"/>
                      </a:lnTo>
                      <a:lnTo>
                        <a:pt x="16" y="8"/>
                      </a:lnTo>
                      <a:lnTo>
                        <a:pt x="16" y="16"/>
                      </a:lnTo>
                      <a:lnTo>
                        <a:pt x="24" y="24"/>
                      </a:lnTo>
                      <a:lnTo>
                        <a:pt x="24" y="32"/>
                      </a:lnTo>
                      <a:lnTo>
                        <a:pt x="24" y="40"/>
                      </a:lnTo>
                      <a:lnTo>
                        <a:pt x="16" y="40"/>
                      </a:lnTo>
                      <a:lnTo>
                        <a:pt x="24" y="48"/>
                      </a:lnTo>
                      <a:lnTo>
                        <a:pt x="24" y="56"/>
                      </a:lnTo>
                      <a:lnTo>
                        <a:pt x="24" y="64"/>
                      </a:lnTo>
                      <a:lnTo>
                        <a:pt x="16" y="64"/>
                      </a:lnTo>
                      <a:lnTo>
                        <a:pt x="24" y="72"/>
                      </a:lnTo>
                      <a:lnTo>
                        <a:pt x="16" y="72"/>
                      </a:lnTo>
                      <a:lnTo>
                        <a:pt x="24" y="72"/>
                      </a:lnTo>
                      <a:lnTo>
                        <a:pt x="16" y="80"/>
                      </a:lnTo>
                      <a:lnTo>
                        <a:pt x="8" y="72"/>
                      </a:lnTo>
                      <a:lnTo>
                        <a:pt x="16" y="72"/>
                      </a:lnTo>
                      <a:lnTo>
                        <a:pt x="8" y="64"/>
                      </a:lnTo>
                      <a:lnTo>
                        <a:pt x="16" y="56"/>
                      </a:lnTo>
                      <a:lnTo>
                        <a:pt x="8" y="56"/>
                      </a:lnTo>
                      <a:lnTo>
                        <a:pt x="16" y="56"/>
                      </a:lnTo>
                      <a:lnTo>
                        <a:pt x="16" y="48"/>
                      </a:lnTo>
                      <a:lnTo>
                        <a:pt x="8" y="48"/>
                      </a:lnTo>
                      <a:lnTo>
                        <a:pt x="8" y="56"/>
                      </a:lnTo>
                      <a:lnTo>
                        <a:pt x="8" y="48"/>
                      </a:lnTo>
                      <a:lnTo>
                        <a:pt x="0" y="48"/>
                      </a:lnTo>
                      <a:lnTo>
                        <a:pt x="8" y="48"/>
                      </a:lnTo>
                      <a:lnTo>
                        <a:pt x="8" y="40"/>
                      </a:lnTo>
                      <a:lnTo>
                        <a:pt x="8" y="32"/>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8" name="Freeform 241"/>
                <p:cNvSpPr>
                  <a:spLocks/>
                </p:cNvSpPr>
                <p:nvPr/>
              </p:nvSpPr>
              <p:spPr bwMode="auto">
                <a:xfrm>
                  <a:off x="3200400" y="3086100"/>
                  <a:ext cx="12700" cy="12700"/>
                </a:xfrm>
                <a:custGeom>
                  <a:avLst/>
                  <a:gdLst>
                    <a:gd name="T0" fmla="*/ 0 w 8"/>
                    <a:gd name="T1" fmla="*/ 8 h 8"/>
                    <a:gd name="T2" fmla="*/ 0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lnTo>
                        <a:pt x="0" y="0"/>
                      </a:lnTo>
                      <a:lnTo>
                        <a:pt x="8"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199" name="Rectangle 242"/>
                <p:cNvSpPr>
                  <a:spLocks noChangeArrowheads="1"/>
                </p:cNvSpPr>
                <p:nvPr/>
              </p:nvSpPr>
              <p:spPr bwMode="auto">
                <a:xfrm>
                  <a:off x="3187700" y="30988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200" name="Freeform 243"/>
                <p:cNvSpPr>
                  <a:spLocks/>
                </p:cNvSpPr>
                <p:nvPr/>
              </p:nvSpPr>
              <p:spPr bwMode="auto">
                <a:xfrm>
                  <a:off x="3175000" y="3086100"/>
                  <a:ext cx="25400" cy="12700"/>
                </a:xfrm>
                <a:custGeom>
                  <a:avLst/>
                  <a:gdLst>
                    <a:gd name="T0" fmla="*/ 0 w 16"/>
                    <a:gd name="T1" fmla="*/ 8 h 8"/>
                    <a:gd name="T2" fmla="*/ 8 w 16"/>
                    <a:gd name="T3" fmla="*/ 8 h 8"/>
                    <a:gd name="T4" fmla="*/ 16 w 16"/>
                    <a:gd name="T5" fmla="*/ 0 h 8"/>
                    <a:gd name="T6" fmla="*/ 8 w 16"/>
                    <a:gd name="T7" fmla="*/ 8 h 8"/>
                    <a:gd name="T8" fmla="*/ 0 w 16"/>
                    <a:gd name="T9" fmla="*/ 8 h 8"/>
                  </a:gdLst>
                  <a:ahLst/>
                  <a:cxnLst>
                    <a:cxn ang="0">
                      <a:pos x="T0" y="T1"/>
                    </a:cxn>
                    <a:cxn ang="0">
                      <a:pos x="T2" y="T3"/>
                    </a:cxn>
                    <a:cxn ang="0">
                      <a:pos x="T4" y="T5"/>
                    </a:cxn>
                    <a:cxn ang="0">
                      <a:pos x="T6" y="T7"/>
                    </a:cxn>
                    <a:cxn ang="0">
                      <a:pos x="T8" y="T9"/>
                    </a:cxn>
                  </a:cxnLst>
                  <a:rect l="0" t="0" r="r" b="b"/>
                  <a:pathLst>
                    <a:path w="16" h="8">
                      <a:moveTo>
                        <a:pt x="0" y="8"/>
                      </a:moveTo>
                      <a:lnTo>
                        <a:pt x="8" y="8"/>
                      </a:lnTo>
                      <a:lnTo>
                        <a:pt x="16" y="0"/>
                      </a:lnTo>
                      <a:lnTo>
                        <a:pt x="8" y="8"/>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1" name="Rectangle 244"/>
                <p:cNvSpPr>
                  <a:spLocks noChangeArrowheads="1"/>
                </p:cNvSpPr>
                <p:nvPr/>
              </p:nvSpPr>
              <p:spPr bwMode="auto">
                <a:xfrm>
                  <a:off x="3175000" y="30734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202" name="Freeform 245"/>
                <p:cNvSpPr>
                  <a:spLocks/>
                </p:cNvSpPr>
                <p:nvPr/>
              </p:nvSpPr>
              <p:spPr bwMode="auto">
                <a:xfrm>
                  <a:off x="3187700" y="3048000"/>
                  <a:ext cx="12700" cy="25400"/>
                </a:xfrm>
                <a:custGeom>
                  <a:avLst/>
                  <a:gdLst>
                    <a:gd name="T0" fmla="*/ 0 w 8"/>
                    <a:gd name="T1" fmla="*/ 8 h 16"/>
                    <a:gd name="T2" fmla="*/ 0 w 8"/>
                    <a:gd name="T3" fmla="*/ 0 h 16"/>
                    <a:gd name="T4" fmla="*/ 8 w 8"/>
                    <a:gd name="T5" fmla="*/ 0 h 16"/>
                    <a:gd name="T6" fmla="*/ 8 w 8"/>
                    <a:gd name="T7" fmla="*/ 8 h 16"/>
                    <a:gd name="T8" fmla="*/ 8 w 8"/>
                    <a:gd name="T9" fmla="*/ 16 h 16"/>
                    <a:gd name="T10" fmla="*/ 0 w 8"/>
                    <a:gd name="T11" fmla="*/ 16 h 16"/>
                    <a:gd name="T12" fmla="*/ 0 w 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8" h="16">
                      <a:moveTo>
                        <a:pt x="0" y="8"/>
                      </a:moveTo>
                      <a:lnTo>
                        <a:pt x="0" y="0"/>
                      </a:lnTo>
                      <a:lnTo>
                        <a:pt x="8" y="0"/>
                      </a:lnTo>
                      <a:lnTo>
                        <a:pt x="8" y="8"/>
                      </a:lnTo>
                      <a:lnTo>
                        <a:pt x="8" y="16"/>
                      </a:lnTo>
                      <a:lnTo>
                        <a:pt x="0" y="16"/>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3" name="Freeform 246"/>
                <p:cNvSpPr>
                  <a:spLocks/>
                </p:cNvSpPr>
                <p:nvPr/>
              </p:nvSpPr>
              <p:spPr bwMode="auto">
                <a:xfrm>
                  <a:off x="3162300" y="3022600"/>
                  <a:ext cx="25400" cy="50800"/>
                </a:xfrm>
                <a:custGeom>
                  <a:avLst/>
                  <a:gdLst>
                    <a:gd name="T0" fmla="*/ 0 w 16"/>
                    <a:gd name="T1" fmla="*/ 32 h 32"/>
                    <a:gd name="T2" fmla="*/ 0 w 16"/>
                    <a:gd name="T3" fmla="*/ 24 h 32"/>
                    <a:gd name="T4" fmla="*/ 0 w 16"/>
                    <a:gd name="T5" fmla="*/ 16 h 32"/>
                    <a:gd name="T6" fmla="*/ 0 w 16"/>
                    <a:gd name="T7" fmla="*/ 8 h 32"/>
                    <a:gd name="T8" fmla="*/ 0 w 16"/>
                    <a:gd name="T9" fmla="*/ 0 h 32"/>
                    <a:gd name="T10" fmla="*/ 8 w 16"/>
                    <a:gd name="T11" fmla="*/ 0 h 32"/>
                    <a:gd name="T12" fmla="*/ 16 w 16"/>
                    <a:gd name="T13" fmla="*/ 0 h 32"/>
                    <a:gd name="T14" fmla="*/ 16 w 16"/>
                    <a:gd name="T15" fmla="*/ 8 h 32"/>
                    <a:gd name="T16" fmla="*/ 16 w 16"/>
                    <a:gd name="T17" fmla="*/ 16 h 32"/>
                    <a:gd name="T18" fmla="*/ 16 w 16"/>
                    <a:gd name="T19" fmla="*/ 24 h 32"/>
                    <a:gd name="T20" fmla="*/ 8 w 16"/>
                    <a:gd name="T21" fmla="*/ 24 h 32"/>
                    <a:gd name="T22" fmla="*/ 8 w 16"/>
                    <a:gd name="T23" fmla="*/ 16 h 32"/>
                    <a:gd name="T24" fmla="*/ 8 w 16"/>
                    <a:gd name="T25" fmla="*/ 24 h 32"/>
                    <a:gd name="T26" fmla="*/ 8 w 16"/>
                    <a:gd name="T27" fmla="*/ 32 h 32"/>
                    <a:gd name="T28" fmla="*/ 0 w 16"/>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32">
                      <a:moveTo>
                        <a:pt x="0" y="32"/>
                      </a:moveTo>
                      <a:lnTo>
                        <a:pt x="0" y="24"/>
                      </a:lnTo>
                      <a:lnTo>
                        <a:pt x="0" y="16"/>
                      </a:lnTo>
                      <a:lnTo>
                        <a:pt x="0" y="8"/>
                      </a:lnTo>
                      <a:lnTo>
                        <a:pt x="0" y="0"/>
                      </a:lnTo>
                      <a:lnTo>
                        <a:pt x="8" y="0"/>
                      </a:lnTo>
                      <a:lnTo>
                        <a:pt x="16" y="0"/>
                      </a:lnTo>
                      <a:lnTo>
                        <a:pt x="16" y="8"/>
                      </a:lnTo>
                      <a:lnTo>
                        <a:pt x="16" y="16"/>
                      </a:lnTo>
                      <a:lnTo>
                        <a:pt x="16" y="24"/>
                      </a:lnTo>
                      <a:lnTo>
                        <a:pt x="8" y="24"/>
                      </a:lnTo>
                      <a:lnTo>
                        <a:pt x="8" y="16"/>
                      </a:lnTo>
                      <a:lnTo>
                        <a:pt x="8" y="24"/>
                      </a:lnTo>
                      <a:lnTo>
                        <a:pt x="8" y="32"/>
                      </a:lnTo>
                      <a:lnTo>
                        <a:pt x="0" y="32"/>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4" name="Freeform 247"/>
                <p:cNvSpPr>
                  <a:spLocks/>
                </p:cNvSpPr>
                <p:nvPr/>
              </p:nvSpPr>
              <p:spPr bwMode="auto">
                <a:xfrm>
                  <a:off x="3124200" y="3022600"/>
                  <a:ext cx="38100" cy="63500"/>
                </a:xfrm>
                <a:custGeom>
                  <a:avLst/>
                  <a:gdLst>
                    <a:gd name="T0" fmla="*/ 8 w 24"/>
                    <a:gd name="T1" fmla="*/ 24 h 40"/>
                    <a:gd name="T2" fmla="*/ 8 w 24"/>
                    <a:gd name="T3" fmla="*/ 16 h 40"/>
                    <a:gd name="T4" fmla="*/ 8 w 24"/>
                    <a:gd name="T5" fmla="*/ 8 h 40"/>
                    <a:gd name="T6" fmla="*/ 16 w 24"/>
                    <a:gd name="T7" fmla="*/ 8 h 40"/>
                    <a:gd name="T8" fmla="*/ 16 w 24"/>
                    <a:gd name="T9" fmla="*/ 0 h 40"/>
                    <a:gd name="T10" fmla="*/ 16 w 24"/>
                    <a:gd name="T11" fmla="*/ 8 h 40"/>
                    <a:gd name="T12" fmla="*/ 16 w 24"/>
                    <a:gd name="T13" fmla="*/ 16 h 40"/>
                    <a:gd name="T14" fmla="*/ 24 w 24"/>
                    <a:gd name="T15" fmla="*/ 16 h 40"/>
                    <a:gd name="T16" fmla="*/ 16 w 24"/>
                    <a:gd name="T17" fmla="*/ 24 h 40"/>
                    <a:gd name="T18" fmla="*/ 8 w 24"/>
                    <a:gd name="T19" fmla="*/ 32 h 40"/>
                    <a:gd name="T20" fmla="*/ 8 w 24"/>
                    <a:gd name="T21" fmla="*/ 40 h 40"/>
                    <a:gd name="T22" fmla="*/ 0 w 24"/>
                    <a:gd name="T23" fmla="*/ 40 h 40"/>
                    <a:gd name="T24" fmla="*/ 8 w 24"/>
                    <a:gd name="T25" fmla="*/ 40 h 40"/>
                    <a:gd name="T26" fmla="*/ 8 w 24"/>
                    <a:gd name="T27" fmla="*/ 32 h 40"/>
                    <a:gd name="T28" fmla="*/ 0 w 24"/>
                    <a:gd name="T29" fmla="*/ 40 h 40"/>
                    <a:gd name="T30" fmla="*/ 0 w 24"/>
                    <a:gd name="T31" fmla="*/ 32 h 40"/>
                    <a:gd name="T32" fmla="*/ 0 w 24"/>
                    <a:gd name="T33" fmla="*/ 24 h 40"/>
                    <a:gd name="T34" fmla="*/ 8 w 24"/>
                    <a:gd name="T35" fmla="*/ 32 h 40"/>
                    <a:gd name="T36" fmla="*/ 8 w 24"/>
                    <a:gd name="T37"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40">
                      <a:moveTo>
                        <a:pt x="8" y="24"/>
                      </a:moveTo>
                      <a:lnTo>
                        <a:pt x="8" y="16"/>
                      </a:lnTo>
                      <a:lnTo>
                        <a:pt x="8" y="8"/>
                      </a:lnTo>
                      <a:lnTo>
                        <a:pt x="16" y="8"/>
                      </a:lnTo>
                      <a:lnTo>
                        <a:pt x="16" y="0"/>
                      </a:lnTo>
                      <a:lnTo>
                        <a:pt x="16" y="8"/>
                      </a:lnTo>
                      <a:lnTo>
                        <a:pt x="16" y="16"/>
                      </a:lnTo>
                      <a:lnTo>
                        <a:pt x="24" y="16"/>
                      </a:lnTo>
                      <a:lnTo>
                        <a:pt x="16" y="24"/>
                      </a:lnTo>
                      <a:lnTo>
                        <a:pt x="8" y="32"/>
                      </a:lnTo>
                      <a:lnTo>
                        <a:pt x="8" y="40"/>
                      </a:lnTo>
                      <a:lnTo>
                        <a:pt x="0" y="40"/>
                      </a:lnTo>
                      <a:lnTo>
                        <a:pt x="8" y="40"/>
                      </a:lnTo>
                      <a:lnTo>
                        <a:pt x="8" y="32"/>
                      </a:lnTo>
                      <a:lnTo>
                        <a:pt x="0" y="40"/>
                      </a:lnTo>
                      <a:lnTo>
                        <a:pt x="0" y="32"/>
                      </a:lnTo>
                      <a:lnTo>
                        <a:pt x="0" y="24"/>
                      </a:lnTo>
                      <a:lnTo>
                        <a:pt x="8" y="32"/>
                      </a:lnTo>
                      <a:lnTo>
                        <a:pt x="8" y="24"/>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5" name="Freeform 248"/>
                <p:cNvSpPr>
                  <a:spLocks/>
                </p:cNvSpPr>
                <p:nvPr/>
              </p:nvSpPr>
              <p:spPr bwMode="auto">
                <a:xfrm>
                  <a:off x="3111500" y="2984500"/>
                  <a:ext cx="25400" cy="88900"/>
                </a:xfrm>
                <a:custGeom>
                  <a:avLst/>
                  <a:gdLst>
                    <a:gd name="T0" fmla="*/ 0 w 16"/>
                    <a:gd name="T1" fmla="*/ 8 h 56"/>
                    <a:gd name="T2" fmla="*/ 8 w 16"/>
                    <a:gd name="T3" fmla="*/ 8 h 56"/>
                    <a:gd name="T4" fmla="*/ 8 w 16"/>
                    <a:gd name="T5" fmla="*/ 0 h 56"/>
                    <a:gd name="T6" fmla="*/ 16 w 16"/>
                    <a:gd name="T7" fmla="*/ 8 h 56"/>
                    <a:gd name="T8" fmla="*/ 16 w 16"/>
                    <a:gd name="T9" fmla="*/ 16 h 56"/>
                    <a:gd name="T10" fmla="*/ 16 w 16"/>
                    <a:gd name="T11" fmla="*/ 24 h 56"/>
                    <a:gd name="T12" fmla="*/ 8 w 16"/>
                    <a:gd name="T13" fmla="*/ 32 h 56"/>
                    <a:gd name="T14" fmla="*/ 8 w 16"/>
                    <a:gd name="T15" fmla="*/ 40 h 56"/>
                    <a:gd name="T16" fmla="*/ 8 w 16"/>
                    <a:gd name="T17" fmla="*/ 48 h 56"/>
                    <a:gd name="T18" fmla="*/ 0 w 16"/>
                    <a:gd name="T19" fmla="*/ 56 h 56"/>
                    <a:gd name="T20" fmla="*/ 0 w 16"/>
                    <a:gd name="T21" fmla="*/ 48 h 56"/>
                    <a:gd name="T22" fmla="*/ 0 w 16"/>
                    <a:gd name="T23" fmla="*/ 40 h 56"/>
                    <a:gd name="T24" fmla="*/ 8 w 16"/>
                    <a:gd name="T25" fmla="*/ 32 h 56"/>
                    <a:gd name="T26" fmla="*/ 0 w 16"/>
                    <a:gd name="T27" fmla="*/ 32 h 56"/>
                    <a:gd name="T28" fmla="*/ 0 w 16"/>
                    <a:gd name="T29" fmla="*/ 24 h 56"/>
                    <a:gd name="T30" fmla="*/ 0 w 16"/>
                    <a:gd name="T31" fmla="*/ 16 h 56"/>
                    <a:gd name="T32" fmla="*/ 8 w 16"/>
                    <a:gd name="T33" fmla="*/ 16 h 56"/>
                    <a:gd name="T34" fmla="*/ 0 w 16"/>
                    <a:gd name="T3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56">
                      <a:moveTo>
                        <a:pt x="0" y="8"/>
                      </a:moveTo>
                      <a:lnTo>
                        <a:pt x="8" y="8"/>
                      </a:lnTo>
                      <a:lnTo>
                        <a:pt x="8" y="0"/>
                      </a:lnTo>
                      <a:lnTo>
                        <a:pt x="16" y="8"/>
                      </a:lnTo>
                      <a:lnTo>
                        <a:pt x="16" y="16"/>
                      </a:lnTo>
                      <a:lnTo>
                        <a:pt x="16" y="24"/>
                      </a:lnTo>
                      <a:lnTo>
                        <a:pt x="8" y="32"/>
                      </a:lnTo>
                      <a:lnTo>
                        <a:pt x="8" y="40"/>
                      </a:lnTo>
                      <a:lnTo>
                        <a:pt x="8" y="48"/>
                      </a:lnTo>
                      <a:lnTo>
                        <a:pt x="0" y="56"/>
                      </a:lnTo>
                      <a:lnTo>
                        <a:pt x="0" y="48"/>
                      </a:lnTo>
                      <a:lnTo>
                        <a:pt x="0" y="40"/>
                      </a:lnTo>
                      <a:lnTo>
                        <a:pt x="8" y="32"/>
                      </a:lnTo>
                      <a:lnTo>
                        <a:pt x="0" y="32"/>
                      </a:lnTo>
                      <a:lnTo>
                        <a:pt x="0" y="24"/>
                      </a:lnTo>
                      <a:lnTo>
                        <a:pt x="0" y="16"/>
                      </a:lnTo>
                      <a:lnTo>
                        <a:pt x="8" y="16"/>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6" name="Rectangle 249"/>
                <p:cNvSpPr>
                  <a:spLocks noChangeArrowheads="1"/>
                </p:cNvSpPr>
                <p:nvPr/>
              </p:nvSpPr>
              <p:spPr bwMode="auto">
                <a:xfrm>
                  <a:off x="3098800" y="2997200"/>
                  <a:ext cx="12700" cy="12700"/>
                </a:xfrm>
                <a:prstGeom prst="rect">
                  <a:avLst/>
                </a:prstGeom>
                <a:grpFill/>
                <a:ln w="12700">
                  <a:solidFill>
                    <a:schemeClr val="bg1"/>
                  </a:solidFill>
                  <a:miter lim="800000"/>
                  <a:headEnd/>
                  <a:tailEnd/>
                </a:ln>
              </p:spPr>
              <p:txBody>
                <a:bodyPr/>
                <a:lstStyle/>
                <a:p>
                  <a:endParaRPr lang="en-US">
                    <a:solidFill>
                      <a:srgbClr val="000000"/>
                    </a:solidFill>
                  </a:endParaRPr>
                </a:p>
              </p:txBody>
            </p:sp>
            <p:sp>
              <p:nvSpPr>
                <p:cNvPr id="1207" name="Freeform 250"/>
                <p:cNvSpPr>
                  <a:spLocks/>
                </p:cNvSpPr>
                <p:nvPr/>
              </p:nvSpPr>
              <p:spPr bwMode="auto">
                <a:xfrm>
                  <a:off x="3136900" y="2921000"/>
                  <a:ext cx="50800" cy="101600"/>
                </a:xfrm>
                <a:custGeom>
                  <a:avLst/>
                  <a:gdLst>
                    <a:gd name="T0" fmla="*/ 0 w 32"/>
                    <a:gd name="T1" fmla="*/ 56 h 64"/>
                    <a:gd name="T2" fmla="*/ 0 w 32"/>
                    <a:gd name="T3" fmla="*/ 48 h 64"/>
                    <a:gd name="T4" fmla="*/ 8 w 32"/>
                    <a:gd name="T5" fmla="*/ 48 h 64"/>
                    <a:gd name="T6" fmla="*/ 16 w 32"/>
                    <a:gd name="T7" fmla="*/ 48 h 64"/>
                    <a:gd name="T8" fmla="*/ 8 w 32"/>
                    <a:gd name="T9" fmla="*/ 40 h 64"/>
                    <a:gd name="T10" fmla="*/ 16 w 32"/>
                    <a:gd name="T11" fmla="*/ 40 h 64"/>
                    <a:gd name="T12" fmla="*/ 8 w 32"/>
                    <a:gd name="T13" fmla="*/ 40 h 64"/>
                    <a:gd name="T14" fmla="*/ 8 w 32"/>
                    <a:gd name="T15" fmla="*/ 32 h 64"/>
                    <a:gd name="T16" fmla="*/ 16 w 32"/>
                    <a:gd name="T17" fmla="*/ 24 h 64"/>
                    <a:gd name="T18" fmla="*/ 16 w 32"/>
                    <a:gd name="T19" fmla="*/ 8 h 64"/>
                    <a:gd name="T20" fmla="*/ 16 w 32"/>
                    <a:gd name="T21" fmla="*/ 0 h 64"/>
                    <a:gd name="T22" fmla="*/ 24 w 32"/>
                    <a:gd name="T23" fmla="*/ 0 h 64"/>
                    <a:gd name="T24" fmla="*/ 24 w 32"/>
                    <a:gd name="T25" fmla="*/ 8 h 64"/>
                    <a:gd name="T26" fmla="*/ 24 w 32"/>
                    <a:gd name="T27" fmla="*/ 16 h 64"/>
                    <a:gd name="T28" fmla="*/ 32 w 32"/>
                    <a:gd name="T29" fmla="*/ 16 h 64"/>
                    <a:gd name="T30" fmla="*/ 32 w 32"/>
                    <a:gd name="T31" fmla="*/ 32 h 64"/>
                    <a:gd name="T32" fmla="*/ 32 w 32"/>
                    <a:gd name="T33" fmla="*/ 40 h 64"/>
                    <a:gd name="T34" fmla="*/ 24 w 32"/>
                    <a:gd name="T35" fmla="*/ 40 h 64"/>
                    <a:gd name="T36" fmla="*/ 24 w 32"/>
                    <a:gd name="T37" fmla="*/ 32 h 64"/>
                    <a:gd name="T38" fmla="*/ 24 w 32"/>
                    <a:gd name="T39" fmla="*/ 16 h 64"/>
                    <a:gd name="T40" fmla="*/ 24 w 32"/>
                    <a:gd name="T41" fmla="*/ 24 h 64"/>
                    <a:gd name="T42" fmla="*/ 24 w 32"/>
                    <a:gd name="T43" fmla="*/ 40 h 64"/>
                    <a:gd name="T44" fmla="*/ 24 w 32"/>
                    <a:gd name="T45" fmla="*/ 48 h 64"/>
                    <a:gd name="T46" fmla="*/ 16 w 32"/>
                    <a:gd name="T47" fmla="*/ 48 h 64"/>
                    <a:gd name="T48" fmla="*/ 16 w 32"/>
                    <a:gd name="T49" fmla="*/ 56 h 64"/>
                    <a:gd name="T50" fmla="*/ 8 w 32"/>
                    <a:gd name="T51" fmla="*/ 56 h 64"/>
                    <a:gd name="T52" fmla="*/ 0 w 32"/>
                    <a:gd name="T53" fmla="*/ 64 h 64"/>
                    <a:gd name="T54" fmla="*/ 0 w 32"/>
                    <a:gd name="T5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64">
                      <a:moveTo>
                        <a:pt x="0" y="56"/>
                      </a:moveTo>
                      <a:lnTo>
                        <a:pt x="0" y="48"/>
                      </a:lnTo>
                      <a:lnTo>
                        <a:pt x="8" y="48"/>
                      </a:lnTo>
                      <a:lnTo>
                        <a:pt x="16" y="48"/>
                      </a:lnTo>
                      <a:lnTo>
                        <a:pt x="8" y="40"/>
                      </a:lnTo>
                      <a:lnTo>
                        <a:pt x="16" y="40"/>
                      </a:lnTo>
                      <a:lnTo>
                        <a:pt x="8" y="40"/>
                      </a:lnTo>
                      <a:lnTo>
                        <a:pt x="8" y="32"/>
                      </a:lnTo>
                      <a:lnTo>
                        <a:pt x="16" y="24"/>
                      </a:lnTo>
                      <a:lnTo>
                        <a:pt x="16" y="8"/>
                      </a:lnTo>
                      <a:lnTo>
                        <a:pt x="16" y="0"/>
                      </a:lnTo>
                      <a:lnTo>
                        <a:pt x="24" y="0"/>
                      </a:lnTo>
                      <a:lnTo>
                        <a:pt x="24" y="8"/>
                      </a:lnTo>
                      <a:lnTo>
                        <a:pt x="24" y="16"/>
                      </a:lnTo>
                      <a:lnTo>
                        <a:pt x="32" y="16"/>
                      </a:lnTo>
                      <a:lnTo>
                        <a:pt x="32" y="32"/>
                      </a:lnTo>
                      <a:lnTo>
                        <a:pt x="32" y="40"/>
                      </a:lnTo>
                      <a:lnTo>
                        <a:pt x="24" y="40"/>
                      </a:lnTo>
                      <a:lnTo>
                        <a:pt x="24" y="32"/>
                      </a:lnTo>
                      <a:lnTo>
                        <a:pt x="24" y="16"/>
                      </a:lnTo>
                      <a:lnTo>
                        <a:pt x="24" y="24"/>
                      </a:lnTo>
                      <a:lnTo>
                        <a:pt x="24" y="40"/>
                      </a:lnTo>
                      <a:lnTo>
                        <a:pt x="24" y="48"/>
                      </a:lnTo>
                      <a:lnTo>
                        <a:pt x="16" y="48"/>
                      </a:lnTo>
                      <a:lnTo>
                        <a:pt x="16" y="56"/>
                      </a:lnTo>
                      <a:lnTo>
                        <a:pt x="8" y="56"/>
                      </a:lnTo>
                      <a:lnTo>
                        <a:pt x="0" y="64"/>
                      </a:lnTo>
                      <a:lnTo>
                        <a:pt x="0" y="56"/>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8" name="Freeform 251"/>
                <p:cNvSpPr>
                  <a:spLocks/>
                </p:cNvSpPr>
                <p:nvPr/>
              </p:nvSpPr>
              <p:spPr bwMode="auto">
                <a:xfrm>
                  <a:off x="3098800" y="2921000"/>
                  <a:ext cx="50800" cy="63500"/>
                </a:xfrm>
                <a:custGeom>
                  <a:avLst/>
                  <a:gdLst>
                    <a:gd name="T0" fmla="*/ 16 w 32"/>
                    <a:gd name="T1" fmla="*/ 0 h 40"/>
                    <a:gd name="T2" fmla="*/ 24 w 32"/>
                    <a:gd name="T3" fmla="*/ 8 h 40"/>
                    <a:gd name="T4" fmla="*/ 24 w 32"/>
                    <a:gd name="T5" fmla="*/ 16 h 40"/>
                    <a:gd name="T6" fmla="*/ 24 w 32"/>
                    <a:gd name="T7" fmla="*/ 8 h 40"/>
                    <a:gd name="T8" fmla="*/ 32 w 32"/>
                    <a:gd name="T9" fmla="*/ 8 h 40"/>
                    <a:gd name="T10" fmla="*/ 32 w 32"/>
                    <a:gd name="T11" fmla="*/ 16 h 40"/>
                    <a:gd name="T12" fmla="*/ 32 w 32"/>
                    <a:gd name="T13" fmla="*/ 24 h 40"/>
                    <a:gd name="T14" fmla="*/ 24 w 32"/>
                    <a:gd name="T15" fmla="*/ 24 h 40"/>
                    <a:gd name="T16" fmla="*/ 24 w 32"/>
                    <a:gd name="T17" fmla="*/ 16 h 40"/>
                    <a:gd name="T18" fmla="*/ 16 w 32"/>
                    <a:gd name="T19" fmla="*/ 16 h 40"/>
                    <a:gd name="T20" fmla="*/ 24 w 32"/>
                    <a:gd name="T21" fmla="*/ 24 h 40"/>
                    <a:gd name="T22" fmla="*/ 24 w 32"/>
                    <a:gd name="T23" fmla="*/ 32 h 40"/>
                    <a:gd name="T24" fmla="*/ 32 w 32"/>
                    <a:gd name="T25" fmla="*/ 32 h 40"/>
                    <a:gd name="T26" fmla="*/ 24 w 32"/>
                    <a:gd name="T27" fmla="*/ 32 h 40"/>
                    <a:gd name="T28" fmla="*/ 24 w 32"/>
                    <a:gd name="T29" fmla="*/ 40 h 40"/>
                    <a:gd name="T30" fmla="*/ 16 w 32"/>
                    <a:gd name="T31" fmla="*/ 40 h 40"/>
                    <a:gd name="T32" fmla="*/ 16 w 32"/>
                    <a:gd name="T33" fmla="*/ 32 h 40"/>
                    <a:gd name="T34" fmla="*/ 16 w 32"/>
                    <a:gd name="T35" fmla="*/ 24 h 40"/>
                    <a:gd name="T36" fmla="*/ 8 w 32"/>
                    <a:gd name="T37" fmla="*/ 24 h 40"/>
                    <a:gd name="T38" fmla="*/ 16 w 32"/>
                    <a:gd name="T39" fmla="*/ 32 h 40"/>
                    <a:gd name="T40" fmla="*/ 16 w 32"/>
                    <a:gd name="T41" fmla="*/ 40 h 40"/>
                    <a:gd name="T42" fmla="*/ 8 w 32"/>
                    <a:gd name="T43" fmla="*/ 40 h 40"/>
                    <a:gd name="T44" fmla="*/ 0 w 32"/>
                    <a:gd name="T45" fmla="*/ 40 h 40"/>
                    <a:gd name="T46" fmla="*/ 8 w 32"/>
                    <a:gd name="T47" fmla="*/ 32 h 40"/>
                    <a:gd name="T48" fmla="*/ 0 w 32"/>
                    <a:gd name="T49" fmla="*/ 32 h 40"/>
                    <a:gd name="T50" fmla="*/ 8 w 32"/>
                    <a:gd name="T51" fmla="*/ 24 h 40"/>
                    <a:gd name="T52" fmla="*/ 0 w 32"/>
                    <a:gd name="T53" fmla="*/ 16 h 40"/>
                    <a:gd name="T54" fmla="*/ 8 w 32"/>
                    <a:gd name="T55" fmla="*/ 16 h 40"/>
                    <a:gd name="T56" fmla="*/ 8 w 32"/>
                    <a:gd name="T57" fmla="*/ 8 h 40"/>
                    <a:gd name="T58" fmla="*/ 8 w 32"/>
                    <a:gd name="T59" fmla="*/ 0 h 40"/>
                    <a:gd name="T60" fmla="*/ 8 w 32"/>
                    <a:gd name="T61" fmla="*/ 8 h 40"/>
                    <a:gd name="T62" fmla="*/ 16 w 32"/>
                    <a:gd name="T6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40">
                      <a:moveTo>
                        <a:pt x="16" y="0"/>
                      </a:moveTo>
                      <a:lnTo>
                        <a:pt x="24" y="8"/>
                      </a:lnTo>
                      <a:lnTo>
                        <a:pt x="24" y="16"/>
                      </a:lnTo>
                      <a:lnTo>
                        <a:pt x="24" y="8"/>
                      </a:lnTo>
                      <a:lnTo>
                        <a:pt x="32" y="8"/>
                      </a:lnTo>
                      <a:lnTo>
                        <a:pt x="32" y="16"/>
                      </a:lnTo>
                      <a:lnTo>
                        <a:pt x="32" y="24"/>
                      </a:lnTo>
                      <a:lnTo>
                        <a:pt x="24" y="24"/>
                      </a:lnTo>
                      <a:lnTo>
                        <a:pt x="24" y="16"/>
                      </a:lnTo>
                      <a:lnTo>
                        <a:pt x="16" y="16"/>
                      </a:lnTo>
                      <a:lnTo>
                        <a:pt x="24" y="24"/>
                      </a:lnTo>
                      <a:lnTo>
                        <a:pt x="24" y="32"/>
                      </a:lnTo>
                      <a:lnTo>
                        <a:pt x="32" y="32"/>
                      </a:lnTo>
                      <a:lnTo>
                        <a:pt x="24" y="32"/>
                      </a:lnTo>
                      <a:lnTo>
                        <a:pt x="24" y="40"/>
                      </a:lnTo>
                      <a:lnTo>
                        <a:pt x="16" y="40"/>
                      </a:lnTo>
                      <a:lnTo>
                        <a:pt x="16" y="32"/>
                      </a:lnTo>
                      <a:lnTo>
                        <a:pt x="16" y="24"/>
                      </a:lnTo>
                      <a:lnTo>
                        <a:pt x="8" y="24"/>
                      </a:lnTo>
                      <a:lnTo>
                        <a:pt x="16" y="32"/>
                      </a:lnTo>
                      <a:lnTo>
                        <a:pt x="16" y="40"/>
                      </a:lnTo>
                      <a:lnTo>
                        <a:pt x="8" y="40"/>
                      </a:lnTo>
                      <a:lnTo>
                        <a:pt x="0" y="40"/>
                      </a:lnTo>
                      <a:lnTo>
                        <a:pt x="8" y="32"/>
                      </a:lnTo>
                      <a:lnTo>
                        <a:pt x="0" y="32"/>
                      </a:lnTo>
                      <a:lnTo>
                        <a:pt x="8" y="24"/>
                      </a:lnTo>
                      <a:lnTo>
                        <a:pt x="0" y="16"/>
                      </a:lnTo>
                      <a:lnTo>
                        <a:pt x="8" y="16"/>
                      </a:lnTo>
                      <a:lnTo>
                        <a:pt x="8" y="8"/>
                      </a:lnTo>
                      <a:lnTo>
                        <a:pt x="8" y="0"/>
                      </a:lnTo>
                      <a:lnTo>
                        <a:pt x="8" y="8"/>
                      </a:lnTo>
                      <a:lnTo>
                        <a:pt x="16" y="0"/>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09" name="Freeform 252"/>
                <p:cNvSpPr>
                  <a:spLocks/>
                </p:cNvSpPr>
                <p:nvPr/>
              </p:nvSpPr>
              <p:spPr bwMode="auto">
                <a:xfrm>
                  <a:off x="3124200" y="2908300"/>
                  <a:ext cx="1588" cy="12700"/>
                </a:xfrm>
                <a:custGeom>
                  <a:avLst/>
                  <a:gdLst>
                    <a:gd name="T0" fmla="*/ 8 h 8"/>
                    <a:gd name="T1" fmla="*/ 0 h 8"/>
                    <a:gd name="T2" fmla="*/ 8 h 8"/>
                  </a:gdLst>
                  <a:ahLst/>
                  <a:cxnLst>
                    <a:cxn ang="0">
                      <a:pos x="0" y="T0"/>
                    </a:cxn>
                    <a:cxn ang="0">
                      <a:pos x="0" y="T1"/>
                    </a:cxn>
                    <a:cxn ang="0">
                      <a:pos x="0" y="T2"/>
                    </a:cxn>
                  </a:cxnLst>
                  <a:rect l="0" t="0" r="r" b="b"/>
                  <a:pathLst>
                    <a:path h="8">
                      <a:moveTo>
                        <a:pt x="0" y="8"/>
                      </a:moveTo>
                      <a:lnTo>
                        <a:pt x="0" y="0"/>
                      </a:lnTo>
                      <a:lnTo>
                        <a:pt x="0" y="8"/>
                      </a:lnTo>
                      <a:close/>
                    </a:path>
                  </a:pathLst>
                </a:custGeom>
                <a:grpFill/>
                <a:ln w="12700">
                  <a:solidFill>
                    <a:schemeClr val="bg1"/>
                  </a:solidFill>
                  <a:prstDash val="solid"/>
                  <a:round/>
                  <a:headEnd/>
                  <a:tailEnd/>
                </a:ln>
              </p:spPr>
              <p:txBody>
                <a:bodyPr/>
                <a:lstStyle/>
                <a:p>
                  <a:endParaRPr lang="en-US">
                    <a:solidFill>
                      <a:srgbClr val="000000"/>
                    </a:solidFill>
                  </a:endParaRPr>
                </a:p>
              </p:txBody>
            </p:sp>
            <p:sp>
              <p:nvSpPr>
                <p:cNvPr id="1210" name="Freeform 337"/>
                <p:cNvSpPr>
                  <a:spLocks/>
                </p:cNvSpPr>
                <p:nvPr/>
              </p:nvSpPr>
              <p:spPr bwMode="auto">
                <a:xfrm>
                  <a:off x="3352800" y="3644900"/>
                  <a:ext cx="12700" cy="25400"/>
                </a:xfrm>
                <a:custGeom>
                  <a:avLst/>
                  <a:gdLst>
                    <a:gd name="T0" fmla="*/ 8 w 8"/>
                    <a:gd name="T1" fmla="*/ 0 h 16"/>
                    <a:gd name="T2" fmla="*/ 0 w 8"/>
                    <a:gd name="T3" fmla="*/ 8 h 16"/>
                    <a:gd name="T4" fmla="*/ 0 w 8"/>
                    <a:gd name="T5" fmla="*/ 16 h 16"/>
                    <a:gd name="T6" fmla="*/ 8 w 8"/>
                    <a:gd name="T7" fmla="*/ 16 h 16"/>
                    <a:gd name="T8" fmla="*/ 8 w 8"/>
                    <a:gd name="T9" fmla="*/ 8 h 16"/>
                    <a:gd name="T10" fmla="*/ 8 w 8"/>
                    <a:gd name="T11" fmla="*/ 0 h 16"/>
                  </a:gdLst>
                  <a:ahLst/>
                  <a:cxnLst>
                    <a:cxn ang="0">
                      <a:pos x="T0" y="T1"/>
                    </a:cxn>
                    <a:cxn ang="0">
                      <a:pos x="T2" y="T3"/>
                    </a:cxn>
                    <a:cxn ang="0">
                      <a:pos x="T4" y="T5"/>
                    </a:cxn>
                    <a:cxn ang="0">
                      <a:pos x="T6" y="T7"/>
                    </a:cxn>
                    <a:cxn ang="0">
                      <a:pos x="T8" y="T9"/>
                    </a:cxn>
                    <a:cxn ang="0">
                      <a:pos x="T10" y="T11"/>
                    </a:cxn>
                  </a:cxnLst>
                  <a:rect l="0" t="0" r="r" b="b"/>
                  <a:pathLst>
                    <a:path w="8" h="16">
                      <a:moveTo>
                        <a:pt x="8" y="0"/>
                      </a:moveTo>
                      <a:lnTo>
                        <a:pt x="0" y="8"/>
                      </a:lnTo>
                      <a:lnTo>
                        <a:pt x="0" y="16"/>
                      </a:lnTo>
                      <a:lnTo>
                        <a:pt x="8" y="16"/>
                      </a:lnTo>
                      <a:lnTo>
                        <a:pt x="8" y="8"/>
                      </a:lnTo>
                      <a:lnTo>
                        <a:pt x="8" y="0"/>
                      </a:lnTo>
                      <a:close/>
                    </a:path>
                  </a:pathLst>
                </a:custGeom>
                <a:grpFill/>
                <a:ln w="12700">
                  <a:solidFill>
                    <a:schemeClr val="bg1"/>
                  </a:solidFill>
                  <a:prstDash val="solid"/>
                  <a:round/>
                  <a:headEnd/>
                  <a:tailEnd/>
                </a:ln>
              </p:spPr>
              <p:txBody>
                <a:bodyPr/>
                <a:lstStyle/>
                <a:p>
                  <a:endParaRPr lang="en-US">
                    <a:solidFill>
                      <a:srgbClr val="000000"/>
                    </a:solidFill>
                  </a:endParaRPr>
                </a:p>
              </p:txBody>
            </p:sp>
          </p:grpSp>
        </p:grpSp>
      </p:grpSp>
    </p:spTree>
    <p:extLst>
      <p:ext uri="{BB962C8B-B14F-4D97-AF65-F5344CB8AC3E}">
        <p14:creationId xmlns:p14="http://schemas.microsoft.com/office/powerpoint/2010/main" val="91394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Map South America">
    <p:spTree>
      <p:nvGrpSpPr>
        <p:cNvPr id="1" name=""/>
        <p:cNvGrpSpPr/>
        <p:nvPr/>
      </p:nvGrpSpPr>
      <p:grpSpPr>
        <a:xfrm>
          <a:off x="0" y="0"/>
          <a:ext cx="0" cy="0"/>
          <a:chOff x="0" y="0"/>
          <a:chExt cx="0" cy="0"/>
        </a:xfrm>
      </p:grpSpPr>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grpSp>
        <p:nvGrpSpPr>
          <p:cNvPr id="716" name="Group 715"/>
          <p:cNvGrpSpPr/>
          <p:nvPr userDrawn="1"/>
        </p:nvGrpSpPr>
        <p:grpSpPr>
          <a:xfrm>
            <a:off x="3679735" y="1590687"/>
            <a:ext cx="4030936" cy="5051293"/>
            <a:chOff x="2347637" y="1382334"/>
            <a:chExt cx="4030936" cy="5051293"/>
          </a:xfrm>
        </p:grpSpPr>
        <p:grpSp>
          <p:nvGrpSpPr>
            <p:cNvPr id="717" name="Group 716"/>
            <p:cNvGrpSpPr/>
            <p:nvPr/>
          </p:nvGrpSpPr>
          <p:grpSpPr>
            <a:xfrm>
              <a:off x="3854256" y="1384991"/>
              <a:ext cx="751980" cy="409206"/>
              <a:chOff x="3854256" y="1384991"/>
              <a:chExt cx="751980" cy="409206"/>
            </a:xfrm>
          </p:grpSpPr>
          <p:sp>
            <p:nvSpPr>
              <p:cNvPr id="1005" name="Freeform 1931"/>
              <p:cNvSpPr>
                <a:spLocks/>
              </p:cNvSpPr>
              <p:nvPr/>
            </p:nvSpPr>
            <p:spPr bwMode="auto">
              <a:xfrm>
                <a:off x="4486664" y="1384991"/>
                <a:ext cx="13286" cy="29229"/>
              </a:xfrm>
              <a:custGeom>
                <a:avLst/>
                <a:gdLst/>
                <a:ahLst/>
                <a:cxnLst>
                  <a:cxn ang="0">
                    <a:pos x="6" y="22"/>
                  </a:cxn>
                  <a:cxn ang="0">
                    <a:pos x="6" y="20"/>
                  </a:cxn>
                  <a:cxn ang="0">
                    <a:pos x="4" y="20"/>
                  </a:cxn>
                  <a:cxn ang="0">
                    <a:pos x="2" y="20"/>
                  </a:cxn>
                  <a:cxn ang="0">
                    <a:pos x="0" y="18"/>
                  </a:cxn>
                  <a:cxn ang="0">
                    <a:pos x="0" y="14"/>
                  </a:cxn>
                  <a:cxn ang="0">
                    <a:pos x="0" y="12"/>
                  </a:cxn>
                  <a:cxn ang="0">
                    <a:pos x="2" y="8"/>
                  </a:cxn>
                  <a:cxn ang="0">
                    <a:pos x="4" y="6"/>
                  </a:cxn>
                  <a:cxn ang="0">
                    <a:pos x="6" y="2"/>
                  </a:cxn>
                  <a:cxn ang="0">
                    <a:pos x="8" y="0"/>
                  </a:cxn>
                  <a:cxn ang="0">
                    <a:pos x="8" y="2"/>
                  </a:cxn>
                  <a:cxn ang="0">
                    <a:pos x="10" y="6"/>
                  </a:cxn>
                  <a:cxn ang="0">
                    <a:pos x="10" y="8"/>
                  </a:cxn>
                  <a:cxn ang="0">
                    <a:pos x="10" y="10"/>
                  </a:cxn>
                  <a:cxn ang="0">
                    <a:pos x="10" y="14"/>
                  </a:cxn>
                  <a:cxn ang="0">
                    <a:pos x="10" y="16"/>
                  </a:cxn>
                  <a:cxn ang="0">
                    <a:pos x="10" y="18"/>
                  </a:cxn>
                  <a:cxn ang="0">
                    <a:pos x="8" y="22"/>
                  </a:cxn>
                  <a:cxn ang="0">
                    <a:pos x="6" y="22"/>
                  </a:cxn>
                </a:cxnLst>
                <a:rect l="0" t="0" r="r" b="b"/>
                <a:pathLst>
                  <a:path w="10" h="22">
                    <a:moveTo>
                      <a:pt x="6" y="22"/>
                    </a:moveTo>
                    <a:lnTo>
                      <a:pt x="6" y="20"/>
                    </a:lnTo>
                    <a:lnTo>
                      <a:pt x="4" y="20"/>
                    </a:lnTo>
                    <a:lnTo>
                      <a:pt x="2" y="20"/>
                    </a:lnTo>
                    <a:lnTo>
                      <a:pt x="0" y="18"/>
                    </a:lnTo>
                    <a:lnTo>
                      <a:pt x="0" y="14"/>
                    </a:lnTo>
                    <a:lnTo>
                      <a:pt x="0" y="12"/>
                    </a:lnTo>
                    <a:lnTo>
                      <a:pt x="2" y="8"/>
                    </a:lnTo>
                    <a:lnTo>
                      <a:pt x="4" y="6"/>
                    </a:lnTo>
                    <a:lnTo>
                      <a:pt x="6" y="2"/>
                    </a:lnTo>
                    <a:lnTo>
                      <a:pt x="8" y="0"/>
                    </a:lnTo>
                    <a:lnTo>
                      <a:pt x="8" y="2"/>
                    </a:lnTo>
                    <a:lnTo>
                      <a:pt x="10" y="6"/>
                    </a:lnTo>
                    <a:lnTo>
                      <a:pt x="10" y="8"/>
                    </a:lnTo>
                    <a:lnTo>
                      <a:pt x="10" y="10"/>
                    </a:lnTo>
                    <a:lnTo>
                      <a:pt x="10" y="14"/>
                    </a:lnTo>
                    <a:lnTo>
                      <a:pt x="10" y="16"/>
                    </a:lnTo>
                    <a:lnTo>
                      <a:pt x="10" y="18"/>
                    </a:lnTo>
                    <a:lnTo>
                      <a:pt x="8" y="22"/>
                    </a:lnTo>
                    <a:lnTo>
                      <a:pt x="6" y="2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06" name="Freeform 1932"/>
              <p:cNvSpPr>
                <a:spLocks/>
              </p:cNvSpPr>
              <p:nvPr/>
            </p:nvSpPr>
            <p:spPr bwMode="auto">
              <a:xfrm>
                <a:off x="4473378" y="1438135"/>
                <a:ext cx="13286" cy="18600"/>
              </a:xfrm>
              <a:custGeom>
                <a:avLst/>
                <a:gdLst/>
                <a:ahLst/>
                <a:cxnLst>
                  <a:cxn ang="0">
                    <a:pos x="6" y="14"/>
                  </a:cxn>
                  <a:cxn ang="0">
                    <a:pos x="2" y="12"/>
                  </a:cxn>
                  <a:cxn ang="0">
                    <a:pos x="0" y="10"/>
                  </a:cxn>
                  <a:cxn ang="0">
                    <a:pos x="0" y="8"/>
                  </a:cxn>
                  <a:cxn ang="0">
                    <a:pos x="2" y="8"/>
                  </a:cxn>
                  <a:cxn ang="0">
                    <a:pos x="4" y="2"/>
                  </a:cxn>
                  <a:cxn ang="0">
                    <a:pos x="6" y="0"/>
                  </a:cxn>
                  <a:cxn ang="0">
                    <a:pos x="8" y="2"/>
                  </a:cxn>
                  <a:cxn ang="0">
                    <a:pos x="10" y="4"/>
                  </a:cxn>
                  <a:cxn ang="0">
                    <a:pos x="10" y="6"/>
                  </a:cxn>
                  <a:cxn ang="0">
                    <a:pos x="10" y="8"/>
                  </a:cxn>
                  <a:cxn ang="0">
                    <a:pos x="8" y="10"/>
                  </a:cxn>
                  <a:cxn ang="0">
                    <a:pos x="8" y="12"/>
                  </a:cxn>
                  <a:cxn ang="0">
                    <a:pos x="6" y="14"/>
                  </a:cxn>
                </a:cxnLst>
                <a:rect l="0" t="0" r="r" b="b"/>
                <a:pathLst>
                  <a:path w="10" h="14">
                    <a:moveTo>
                      <a:pt x="6" y="14"/>
                    </a:moveTo>
                    <a:lnTo>
                      <a:pt x="2" y="12"/>
                    </a:lnTo>
                    <a:lnTo>
                      <a:pt x="0" y="10"/>
                    </a:lnTo>
                    <a:lnTo>
                      <a:pt x="0" y="8"/>
                    </a:lnTo>
                    <a:lnTo>
                      <a:pt x="2" y="8"/>
                    </a:lnTo>
                    <a:lnTo>
                      <a:pt x="4" y="2"/>
                    </a:lnTo>
                    <a:lnTo>
                      <a:pt x="6" y="0"/>
                    </a:lnTo>
                    <a:lnTo>
                      <a:pt x="8" y="2"/>
                    </a:lnTo>
                    <a:lnTo>
                      <a:pt x="10" y="4"/>
                    </a:lnTo>
                    <a:lnTo>
                      <a:pt x="10" y="6"/>
                    </a:lnTo>
                    <a:lnTo>
                      <a:pt x="10" y="8"/>
                    </a:lnTo>
                    <a:lnTo>
                      <a:pt x="8" y="10"/>
                    </a:lnTo>
                    <a:lnTo>
                      <a:pt x="8" y="12"/>
                    </a:lnTo>
                    <a:lnTo>
                      <a:pt x="6" y="1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07" name="Freeform 1933"/>
              <p:cNvSpPr>
                <a:spLocks/>
              </p:cNvSpPr>
              <p:nvPr/>
            </p:nvSpPr>
            <p:spPr bwMode="auto">
              <a:xfrm>
                <a:off x="4587636" y="1440792"/>
                <a:ext cx="18600" cy="21257"/>
              </a:xfrm>
              <a:custGeom>
                <a:avLst/>
                <a:gdLst/>
                <a:ahLst/>
                <a:cxnLst>
                  <a:cxn ang="0">
                    <a:pos x="8" y="16"/>
                  </a:cxn>
                  <a:cxn ang="0">
                    <a:pos x="8" y="14"/>
                  </a:cxn>
                  <a:cxn ang="0">
                    <a:pos x="6" y="14"/>
                  </a:cxn>
                  <a:cxn ang="0">
                    <a:pos x="4" y="14"/>
                  </a:cxn>
                  <a:cxn ang="0">
                    <a:pos x="2" y="12"/>
                  </a:cxn>
                  <a:cxn ang="0">
                    <a:pos x="2" y="10"/>
                  </a:cxn>
                  <a:cxn ang="0">
                    <a:pos x="0" y="2"/>
                  </a:cxn>
                  <a:cxn ang="0">
                    <a:pos x="2" y="0"/>
                  </a:cxn>
                  <a:cxn ang="0">
                    <a:pos x="4" y="0"/>
                  </a:cxn>
                  <a:cxn ang="0">
                    <a:pos x="6" y="2"/>
                  </a:cxn>
                  <a:cxn ang="0">
                    <a:pos x="6" y="4"/>
                  </a:cxn>
                  <a:cxn ang="0">
                    <a:pos x="6" y="6"/>
                  </a:cxn>
                  <a:cxn ang="0">
                    <a:pos x="8" y="8"/>
                  </a:cxn>
                  <a:cxn ang="0">
                    <a:pos x="10" y="8"/>
                  </a:cxn>
                  <a:cxn ang="0">
                    <a:pos x="12" y="8"/>
                  </a:cxn>
                  <a:cxn ang="0">
                    <a:pos x="14" y="8"/>
                  </a:cxn>
                  <a:cxn ang="0">
                    <a:pos x="14" y="10"/>
                  </a:cxn>
                  <a:cxn ang="0">
                    <a:pos x="12" y="12"/>
                  </a:cxn>
                  <a:cxn ang="0">
                    <a:pos x="12" y="14"/>
                  </a:cxn>
                  <a:cxn ang="0">
                    <a:pos x="10" y="14"/>
                  </a:cxn>
                  <a:cxn ang="0">
                    <a:pos x="10" y="16"/>
                  </a:cxn>
                  <a:cxn ang="0">
                    <a:pos x="8" y="16"/>
                  </a:cxn>
                </a:cxnLst>
                <a:rect l="0" t="0" r="r" b="b"/>
                <a:pathLst>
                  <a:path w="14" h="16">
                    <a:moveTo>
                      <a:pt x="8" y="16"/>
                    </a:moveTo>
                    <a:lnTo>
                      <a:pt x="8" y="14"/>
                    </a:lnTo>
                    <a:lnTo>
                      <a:pt x="6" y="14"/>
                    </a:lnTo>
                    <a:lnTo>
                      <a:pt x="4" y="14"/>
                    </a:lnTo>
                    <a:lnTo>
                      <a:pt x="2" y="12"/>
                    </a:lnTo>
                    <a:lnTo>
                      <a:pt x="2" y="10"/>
                    </a:lnTo>
                    <a:lnTo>
                      <a:pt x="0" y="2"/>
                    </a:lnTo>
                    <a:lnTo>
                      <a:pt x="2" y="0"/>
                    </a:lnTo>
                    <a:lnTo>
                      <a:pt x="4" y="0"/>
                    </a:lnTo>
                    <a:lnTo>
                      <a:pt x="6" y="2"/>
                    </a:lnTo>
                    <a:lnTo>
                      <a:pt x="6" y="4"/>
                    </a:lnTo>
                    <a:lnTo>
                      <a:pt x="6" y="6"/>
                    </a:lnTo>
                    <a:lnTo>
                      <a:pt x="8" y="8"/>
                    </a:lnTo>
                    <a:lnTo>
                      <a:pt x="10" y="8"/>
                    </a:lnTo>
                    <a:lnTo>
                      <a:pt x="12" y="8"/>
                    </a:lnTo>
                    <a:lnTo>
                      <a:pt x="14" y="8"/>
                    </a:lnTo>
                    <a:lnTo>
                      <a:pt x="14" y="10"/>
                    </a:lnTo>
                    <a:lnTo>
                      <a:pt x="12" y="12"/>
                    </a:lnTo>
                    <a:lnTo>
                      <a:pt x="12" y="14"/>
                    </a:lnTo>
                    <a:lnTo>
                      <a:pt x="10" y="14"/>
                    </a:lnTo>
                    <a:lnTo>
                      <a:pt x="10" y="16"/>
                    </a:lnTo>
                    <a:lnTo>
                      <a:pt x="8" y="1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08" name="Freeform 1934"/>
              <p:cNvSpPr>
                <a:spLocks/>
              </p:cNvSpPr>
              <p:nvPr/>
            </p:nvSpPr>
            <p:spPr bwMode="auto">
              <a:xfrm>
                <a:off x="3854256" y="1499250"/>
                <a:ext cx="13286" cy="15943"/>
              </a:xfrm>
              <a:custGeom>
                <a:avLst/>
                <a:gdLst/>
                <a:ahLst/>
                <a:cxnLst>
                  <a:cxn ang="0">
                    <a:pos x="10" y="12"/>
                  </a:cxn>
                  <a:cxn ang="0">
                    <a:pos x="6" y="10"/>
                  </a:cxn>
                  <a:cxn ang="0">
                    <a:pos x="0" y="4"/>
                  </a:cxn>
                  <a:cxn ang="0">
                    <a:pos x="0" y="0"/>
                  </a:cxn>
                  <a:cxn ang="0">
                    <a:pos x="2" y="0"/>
                  </a:cxn>
                  <a:cxn ang="0">
                    <a:pos x="6" y="6"/>
                  </a:cxn>
                  <a:cxn ang="0">
                    <a:pos x="8" y="8"/>
                  </a:cxn>
                  <a:cxn ang="0">
                    <a:pos x="10" y="8"/>
                  </a:cxn>
                  <a:cxn ang="0">
                    <a:pos x="10" y="10"/>
                  </a:cxn>
                  <a:cxn ang="0">
                    <a:pos x="10" y="12"/>
                  </a:cxn>
                </a:cxnLst>
                <a:rect l="0" t="0" r="r" b="b"/>
                <a:pathLst>
                  <a:path w="10" h="12">
                    <a:moveTo>
                      <a:pt x="10" y="12"/>
                    </a:moveTo>
                    <a:lnTo>
                      <a:pt x="6" y="10"/>
                    </a:lnTo>
                    <a:lnTo>
                      <a:pt x="0" y="4"/>
                    </a:lnTo>
                    <a:lnTo>
                      <a:pt x="0" y="0"/>
                    </a:lnTo>
                    <a:lnTo>
                      <a:pt x="2" y="0"/>
                    </a:lnTo>
                    <a:lnTo>
                      <a:pt x="6" y="6"/>
                    </a:lnTo>
                    <a:lnTo>
                      <a:pt x="8" y="8"/>
                    </a:lnTo>
                    <a:lnTo>
                      <a:pt x="10" y="8"/>
                    </a:lnTo>
                    <a:lnTo>
                      <a:pt x="10" y="10"/>
                    </a:lnTo>
                    <a:lnTo>
                      <a:pt x="10" y="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09" name="Freeform 1935"/>
              <p:cNvSpPr>
                <a:spLocks/>
              </p:cNvSpPr>
              <p:nvPr/>
            </p:nvSpPr>
            <p:spPr bwMode="auto">
              <a:xfrm>
                <a:off x="3918028" y="1517850"/>
                <a:ext cx="29229" cy="23915"/>
              </a:xfrm>
              <a:custGeom>
                <a:avLst/>
                <a:gdLst/>
                <a:ahLst/>
                <a:cxnLst>
                  <a:cxn ang="0">
                    <a:pos x="22" y="18"/>
                  </a:cxn>
                  <a:cxn ang="0">
                    <a:pos x="20" y="18"/>
                  </a:cxn>
                  <a:cxn ang="0">
                    <a:pos x="18" y="18"/>
                  </a:cxn>
                  <a:cxn ang="0">
                    <a:pos x="10" y="14"/>
                  </a:cxn>
                  <a:cxn ang="0">
                    <a:pos x="6" y="10"/>
                  </a:cxn>
                  <a:cxn ang="0">
                    <a:pos x="2" y="4"/>
                  </a:cxn>
                  <a:cxn ang="0">
                    <a:pos x="0" y="4"/>
                  </a:cxn>
                  <a:cxn ang="0">
                    <a:pos x="0" y="0"/>
                  </a:cxn>
                  <a:cxn ang="0">
                    <a:pos x="4" y="0"/>
                  </a:cxn>
                  <a:cxn ang="0">
                    <a:pos x="4" y="2"/>
                  </a:cxn>
                  <a:cxn ang="0">
                    <a:pos x="6" y="2"/>
                  </a:cxn>
                  <a:cxn ang="0">
                    <a:pos x="6" y="4"/>
                  </a:cxn>
                  <a:cxn ang="0">
                    <a:pos x="6" y="6"/>
                  </a:cxn>
                  <a:cxn ang="0">
                    <a:pos x="8" y="8"/>
                  </a:cxn>
                  <a:cxn ang="0">
                    <a:pos x="10" y="8"/>
                  </a:cxn>
                  <a:cxn ang="0">
                    <a:pos x="14" y="10"/>
                  </a:cxn>
                  <a:cxn ang="0">
                    <a:pos x="16" y="10"/>
                  </a:cxn>
                  <a:cxn ang="0">
                    <a:pos x="18" y="10"/>
                  </a:cxn>
                  <a:cxn ang="0">
                    <a:pos x="18" y="12"/>
                  </a:cxn>
                  <a:cxn ang="0">
                    <a:pos x="22" y="16"/>
                  </a:cxn>
                  <a:cxn ang="0">
                    <a:pos x="22" y="18"/>
                  </a:cxn>
                </a:cxnLst>
                <a:rect l="0" t="0" r="r" b="b"/>
                <a:pathLst>
                  <a:path w="22" h="18">
                    <a:moveTo>
                      <a:pt x="22" y="18"/>
                    </a:moveTo>
                    <a:lnTo>
                      <a:pt x="20" y="18"/>
                    </a:lnTo>
                    <a:lnTo>
                      <a:pt x="18" y="18"/>
                    </a:lnTo>
                    <a:lnTo>
                      <a:pt x="10" y="14"/>
                    </a:lnTo>
                    <a:lnTo>
                      <a:pt x="6" y="10"/>
                    </a:lnTo>
                    <a:lnTo>
                      <a:pt x="2" y="4"/>
                    </a:lnTo>
                    <a:lnTo>
                      <a:pt x="0" y="4"/>
                    </a:lnTo>
                    <a:lnTo>
                      <a:pt x="0" y="0"/>
                    </a:lnTo>
                    <a:lnTo>
                      <a:pt x="4" y="0"/>
                    </a:lnTo>
                    <a:lnTo>
                      <a:pt x="4" y="2"/>
                    </a:lnTo>
                    <a:lnTo>
                      <a:pt x="6" y="2"/>
                    </a:lnTo>
                    <a:lnTo>
                      <a:pt x="6" y="4"/>
                    </a:lnTo>
                    <a:lnTo>
                      <a:pt x="6" y="6"/>
                    </a:lnTo>
                    <a:lnTo>
                      <a:pt x="8" y="8"/>
                    </a:lnTo>
                    <a:lnTo>
                      <a:pt x="10" y="8"/>
                    </a:lnTo>
                    <a:lnTo>
                      <a:pt x="14" y="10"/>
                    </a:lnTo>
                    <a:lnTo>
                      <a:pt x="16" y="10"/>
                    </a:lnTo>
                    <a:lnTo>
                      <a:pt x="18" y="10"/>
                    </a:lnTo>
                    <a:lnTo>
                      <a:pt x="18" y="12"/>
                    </a:lnTo>
                    <a:lnTo>
                      <a:pt x="22" y="16"/>
                    </a:lnTo>
                    <a:lnTo>
                      <a:pt x="22" y="1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0" name="Freeform 1936"/>
              <p:cNvSpPr>
                <a:spLocks/>
              </p:cNvSpPr>
              <p:nvPr/>
            </p:nvSpPr>
            <p:spPr bwMode="auto">
              <a:xfrm>
                <a:off x="3971172" y="1523164"/>
                <a:ext cx="15943" cy="18600"/>
              </a:xfrm>
              <a:custGeom>
                <a:avLst/>
                <a:gdLst/>
                <a:ahLst/>
                <a:cxnLst>
                  <a:cxn ang="0">
                    <a:pos x="8" y="14"/>
                  </a:cxn>
                  <a:cxn ang="0">
                    <a:pos x="6" y="12"/>
                  </a:cxn>
                  <a:cxn ang="0">
                    <a:pos x="6" y="10"/>
                  </a:cxn>
                  <a:cxn ang="0">
                    <a:pos x="6" y="8"/>
                  </a:cxn>
                  <a:cxn ang="0">
                    <a:pos x="6" y="6"/>
                  </a:cxn>
                  <a:cxn ang="0">
                    <a:pos x="6" y="4"/>
                  </a:cxn>
                  <a:cxn ang="0">
                    <a:pos x="4" y="4"/>
                  </a:cxn>
                  <a:cxn ang="0">
                    <a:pos x="2" y="4"/>
                  </a:cxn>
                  <a:cxn ang="0">
                    <a:pos x="0" y="4"/>
                  </a:cxn>
                  <a:cxn ang="0">
                    <a:pos x="0" y="2"/>
                  </a:cxn>
                  <a:cxn ang="0">
                    <a:pos x="0" y="0"/>
                  </a:cxn>
                  <a:cxn ang="0">
                    <a:pos x="2" y="0"/>
                  </a:cxn>
                  <a:cxn ang="0">
                    <a:pos x="12" y="4"/>
                  </a:cxn>
                  <a:cxn ang="0">
                    <a:pos x="10" y="10"/>
                  </a:cxn>
                  <a:cxn ang="0">
                    <a:pos x="10" y="14"/>
                  </a:cxn>
                  <a:cxn ang="0">
                    <a:pos x="8" y="14"/>
                  </a:cxn>
                </a:cxnLst>
                <a:rect l="0" t="0" r="r" b="b"/>
                <a:pathLst>
                  <a:path w="12" h="14">
                    <a:moveTo>
                      <a:pt x="8" y="14"/>
                    </a:moveTo>
                    <a:lnTo>
                      <a:pt x="6" y="12"/>
                    </a:lnTo>
                    <a:lnTo>
                      <a:pt x="6" y="10"/>
                    </a:lnTo>
                    <a:lnTo>
                      <a:pt x="6" y="8"/>
                    </a:lnTo>
                    <a:lnTo>
                      <a:pt x="6" y="6"/>
                    </a:lnTo>
                    <a:lnTo>
                      <a:pt x="6" y="4"/>
                    </a:lnTo>
                    <a:lnTo>
                      <a:pt x="4" y="4"/>
                    </a:lnTo>
                    <a:lnTo>
                      <a:pt x="2" y="4"/>
                    </a:lnTo>
                    <a:lnTo>
                      <a:pt x="0" y="4"/>
                    </a:lnTo>
                    <a:lnTo>
                      <a:pt x="0" y="2"/>
                    </a:lnTo>
                    <a:lnTo>
                      <a:pt x="0" y="0"/>
                    </a:lnTo>
                    <a:lnTo>
                      <a:pt x="2" y="0"/>
                    </a:lnTo>
                    <a:lnTo>
                      <a:pt x="12" y="4"/>
                    </a:lnTo>
                    <a:lnTo>
                      <a:pt x="10" y="10"/>
                    </a:lnTo>
                    <a:lnTo>
                      <a:pt x="10" y="14"/>
                    </a:lnTo>
                    <a:lnTo>
                      <a:pt x="8" y="1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1" name="Freeform 1937"/>
              <p:cNvSpPr>
                <a:spLocks/>
              </p:cNvSpPr>
              <p:nvPr/>
            </p:nvSpPr>
            <p:spPr bwMode="auto">
              <a:xfrm>
                <a:off x="4441492" y="1523164"/>
                <a:ext cx="13286" cy="15943"/>
              </a:xfrm>
              <a:custGeom>
                <a:avLst/>
                <a:gdLst/>
                <a:ahLst/>
                <a:cxnLst>
                  <a:cxn ang="0">
                    <a:pos x="8" y="0"/>
                  </a:cxn>
                  <a:cxn ang="0">
                    <a:pos x="10" y="2"/>
                  </a:cxn>
                  <a:cxn ang="0">
                    <a:pos x="10" y="6"/>
                  </a:cxn>
                  <a:cxn ang="0">
                    <a:pos x="8" y="8"/>
                  </a:cxn>
                  <a:cxn ang="0">
                    <a:pos x="8" y="10"/>
                  </a:cxn>
                  <a:cxn ang="0">
                    <a:pos x="6" y="10"/>
                  </a:cxn>
                  <a:cxn ang="0">
                    <a:pos x="4" y="12"/>
                  </a:cxn>
                  <a:cxn ang="0">
                    <a:pos x="2" y="12"/>
                  </a:cxn>
                  <a:cxn ang="0">
                    <a:pos x="0" y="12"/>
                  </a:cxn>
                  <a:cxn ang="0">
                    <a:pos x="2" y="2"/>
                  </a:cxn>
                  <a:cxn ang="0">
                    <a:pos x="4" y="2"/>
                  </a:cxn>
                  <a:cxn ang="0">
                    <a:pos x="4" y="0"/>
                  </a:cxn>
                  <a:cxn ang="0">
                    <a:pos x="6" y="0"/>
                  </a:cxn>
                  <a:cxn ang="0">
                    <a:pos x="8" y="0"/>
                  </a:cxn>
                </a:cxnLst>
                <a:rect l="0" t="0" r="r" b="b"/>
                <a:pathLst>
                  <a:path w="10" h="12">
                    <a:moveTo>
                      <a:pt x="8" y="0"/>
                    </a:moveTo>
                    <a:lnTo>
                      <a:pt x="10" y="2"/>
                    </a:lnTo>
                    <a:lnTo>
                      <a:pt x="10" y="6"/>
                    </a:lnTo>
                    <a:lnTo>
                      <a:pt x="8" y="8"/>
                    </a:lnTo>
                    <a:lnTo>
                      <a:pt x="8" y="10"/>
                    </a:lnTo>
                    <a:lnTo>
                      <a:pt x="6" y="10"/>
                    </a:lnTo>
                    <a:lnTo>
                      <a:pt x="4" y="12"/>
                    </a:lnTo>
                    <a:lnTo>
                      <a:pt x="2" y="12"/>
                    </a:lnTo>
                    <a:lnTo>
                      <a:pt x="0" y="12"/>
                    </a:lnTo>
                    <a:lnTo>
                      <a:pt x="2" y="2"/>
                    </a:lnTo>
                    <a:lnTo>
                      <a:pt x="4" y="2"/>
                    </a:lnTo>
                    <a:lnTo>
                      <a:pt x="4" y="0"/>
                    </a:lnTo>
                    <a:lnTo>
                      <a:pt x="6" y="0"/>
                    </a:lnTo>
                    <a:lnTo>
                      <a:pt x="8" y="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2" name="Freeform 1938"/>
              <p:cNvSpPr>
                <a:spLocks/>
              </p:cNvSpPr>
              <p:nvPr/>
            </p:nvSpPr>
            <p:spPr bwMode="auto">
              <a:xfrm>
                <a:off x="4510578" y="1586937"/>
                <a:ext cx="21257" cy="13286"/>
              </a:xfrm>
              <a:custGeom>
                <a:avLst/>
                <a:gdLst/>
                <a:ahLst/>
                <a:cxnLst>
                  <a:cxn ang="0">
                    <a:pos x="2" y="10"/>
                  </a:cxn>
                  <a:cxn ang="0">
                    <a:pos x="0" y="10"/>
                  </a:cxn>
                  <a:cxn ang="0">
                    <a:pos x="0" y="8"/>
                  </a:cxn>
                  <a:cxn ang="0">
                    <a:pos x="4" y="6"/>
                  </a:cxn>
                  <a:cxn ang="0">
                    <a:pos x="6" y="4"/>
                  </a:cxn>
                  <a:cxn ang="0">
                    <a:pos x="8" y="2"/>
                  </a:cxn>
                  <a:cxn ang="0">
                    <a:pos x="16" y="0"/>
                  </a:cxn>
                  <a:cxn ang="0">
                    <a:pos x="16" y="4"/>
                  </a:cxn>
                  <a:cxn ang="0">
                    <a:pos x="10" y="8"/>
                  </a:cxn>
                  <a:cxn ang="0">
                    <a:pos x="8" y="8"/>
                  </a:cxn>
                  <a:cxn ang="0">
                    <a:pos x="4" y="8"/>
                  </a:cxn>
                  <a:cxn ang="0">
                    <a:pos x="2" y="10"/>
                  </a:cxn>
                </a:cxnLst>
                <a:rect l="0" t="0" r="r" b="b"/>
                <a:pathLst>
                  <a:path w="16" h="10">
                    <a:moveTo>
                      <a:pt x="2" y="10"/>
                    </a:moveTo>
                    <a:lnTo>
                      <a:pt x="0" y="10"/>
                    </a:lnTo>
                    <a:lnTo>
                      <a:pt x="0" y="8"/>
                    </a:lnTo>
                    <a:lnTo>
                      <a:pt x="4" y="6"/>
                    </a:lnTo>
                    <a:lnTo>
                      <a:pt x="6" y="4"/>
                    </a:lnTo>
                    <a:lnTo>
                      <a:pt x="8" y="2"/>
                    </a:lnTo>
                    <a:lnTo>
                      <a:pt x="16" y="0"/>
                    </a:lnTo>
                    <a:lnTo>
                      <a:pt x="16" y="4"/>
                    </a:lnTo>
                    <a:lnTo>
                      <a:pt x="10" y="8"/>
                    </a:lnTo>
                    <a:lnTo>
                      <a:pt x="8" y="8"/>
                    </a:lnTo>
                    <a:lnTo>
                      <a:pt x="4" y="8"/>
                    </a:lnTo>
                    <a:lnTo>
                      <a:pt x="2" y="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3" name="Freeform 1939"/>
              <p:cNvSpPr>
                <a:spLocks/>
              </p:cNvSpPr>
              <p:nvPr/>
            </p:nvSpPr>
            <p:spPr bwMode="auto">
              <a:xfrm>
                <a:off x="4436177" y="1621480"/>
                <a:ext cx="69087" cy="61115"/>
              </a:xfrm>
              <a:custGeom>
                <a:avLst/>
                <a:gdLst/>
                <a:ahLst/>
                <a:cxnLst>
                  <a:cxn ang="0">
                    <a:pos x="42" y="2"/>
                  </a:cxn>
                  <a:cxn ang="0">
                    <a:pos x="46" y="0"/>
                  </a:cxn>
                  <a:cxn ang="0">
                    <a:pos x="52" y="0"/>
                  </a:cxn>
                  <a:cxn ang="0">
                    <a:pos x="52" y="2"/>
                  </a:cxn>
                  <a:cxn ang="0">
                    <a:pos x="52" y="4"/>
                  </a:cxn>
                  <a:cxn ang="0">
                    <a:pos x="50" y="6"/>
                  </a:cxn>
                  <a:cxn ang="0">
                    <a:pos x="48" y="8"/>
                  </a:cxn>
                  <a:cxn ang="0">
                    <a:pos x="46" y="8"/>
                  </a:cxn>
                  <a:cxn ang="0">
                    <a:pos x="46" y="10"/>
                  </a:cxn>
                  <a:cxn ang="0">
                    <a:pos x="46" y="20"/>
                  </a:cxn>
                  <a:cxn ang="0">
                    <a:pos x="46" y="26"/>
                  </a:cxn>
                  <a:cxn ang="0">
                    <a:pos x="48" y="28"/>
                  </a:cxn>
                  <a:cxn ang="0">
                    <a:pos x="48" y="38"/>
                  </a:cxn>
                  <a:cxn ang="0">
                    <a:pos x="44" y="42"/>
                  </a:cxn>
                  <a:cxn ang="0">
                    <a:pos x="42" y="42"/>
                  </a:cxn>
                  <a:cxn ang="0">
                    <a:pos x="40" y="42"/>
                  </a:cxn>
                  <a:cxn ang="0">
                    <a:pos x="38" y="44"/>
                  </a:cxn>
                  <a:cxn ang="0">
                    <a:pos x="26" y="44"/>
                  </a:cxn>
                  <a:cxn ang="0">
                    <a:pos x="20" y="44"/>
                  </a:cxn>
                  <a:cxn ang="0">
                    <a:pos x="12" y="44"/>
                  </a:cxn>
                  <a:cxn ang="0">
                    <a:pos x="10" y="42"/>
                  </a:cxn>
                  <a:cxn ang="0">
                    <a:pos x="4" y="42"/>
                  </a:cxn>
                  <a:cxn ang="0">
                    <a:pos x="4" y="44"/>
                  </a:cxn>
                  <a:cxn ang="0">
                    <a:pos x="2" y="44"/>
                  </a:cxn>
                  <a:cxn ang="0">
                    <a:pos x="2" y="46"/>
                  </a:cxn>
                  <a:cxn ang="0">
                    <a:pos x="0" y="46"/>
                  </a:cxn>
                  <a:cxn ang="0">
                    <a:pos x="0" y="44"/>
                  </a:cxn>
                  <a:cxn ang="0">
                    <a:pos x="4" y="40"/>
                  </a:cxn>
                  <a:cxn ang="0">
                    <a:pos x="14" y="38"/>
                  </a:cxn>
                  <a:cxn ang="0">
                    <a:pos x="20" y="34"/>
                  </a:cxn>
                  <a:cxn ang="0">
                    <a:pos x="22" y="32"/>
                  </a:cxn>
                  <a:cxn ang="0">
                    <a:pos x="24" y="32"/>
                  </a:cxn>
                  <a:cxn ang="0">
                    <a:pos x="22" y="16"/>
                  </a:cxn>
                  <a:cxn ang="0">
                    <a:pos x="22" y="14"/>
                  </a:cxn>
                  <a:cxn ang="0">
                    <a:pos x="20" y="12"/>
                  </a:cxn>
                  <a:cxn ang="0">
                    <a:pos x="18" y="10"/>
                  </a:cxn>
                  <a:cxn ang="0">
                    <a:pos x="16" y="10"/>
                  </a:cxn>
                  <a:cxn ang="0">
                    <a:pos x="14" y="10"/>
                  </a:cxn>
                  <a:cxn ang="0">
                    <a:pos x="12" y="10"/>
                  </a:cxn>
                  <a:cxn ang="0">
                    <a:pos x="12" y="8"/>
                  </a:cxn>
                  <a:cxn ang="0">
                    <a:pos x="16" y="6"/>
                  </a:cxn>
                  <a:cxn ang="0">
                    <a:pos x="22" y="6"/>
                  </a:cxn>
                  <a:cxn ang="0">
                    <a:pos x="24" y="6"/>
                  </a:cxn>
                  <a:cxn ang="0">
                    <a:pos x="26" y="4"/>
                  </a:cxn>
                  <a:cxn ang="0">
                    <a:pos x="34" y="4"/>
                  </a:cxn>
                  <a:cxn ang="0">
                    <a:pos x="38" y="4"/>
                  </a:cxn>
                  <a:cxn ang="0">
                    <a:pos x="40" y="2"/>
                  </a:cxn>
                  <a:cxn ang="0">
                    <a:pos x="42" y="2"/>
                  </a:cxn>
                </a:cxnLst>
                <a:rect l="0" t="0" r="r" b="b"/>
                <a:pathLst>
                  <a:path w="52" h="46">
                    <a:moveTo>
                      <a:pt x="42" y="2"/>
                    </a:moveTo>
                    <a:lnTo>
                      <a:pt x="46" y="0"/>
                    </a:lnTo>
                    <a:lnTo>
                      <a:pt x="52" y="0"/>
                    </a:lnTo>
                    <a:lnTo>
                      <a:pt x="52" y="2"/>
                    </a:lnTo>
                    <a:lnTo>
                      <a:pt x="52" y="4"/>
                    </a:lnTo>
                    <a:lnTo>
                      <a:pt x="50" y="6"/>
                    </a:lnTo>
                    <a:lnTo>
                      <a:pt x="48" y="8"/>
                    </a:lnTo>
                    <a:lnTo>
                      <a:pt x="46" y="8"/>
                    </a:lnTo>
                    <a:lnTo>
                      <a:pt x="46" y="10"/>
                    </a:lnTo>
                    <a:lnTo>
                      <a:pt x="46" y="20"/>
                    </a:lnTo>
                    <a:lnTo>
                      <a:pt x="46" y="26"/>
                    </a:lnTo>
                    <a:lnTo>
                      <a:pt x="48" y="28"/>
                    </a:lnTo>
                    <a:lnTo>
                      <a:pt x="48" y="38"/>
                    </a:lnTo>
                    <a:lnTo>
                      <a:pt x="44" y="42"/>
                    </a:lnTo>
                    <a:lnTo>
                      <a:pt x="42" y="42"/>
                    </a:lnTo>
                    <a:lnTo>
                      <a:pt x="40" y="42"/>
                    </a:lnTo>
                    <a:lnTo>
                      <a:pt x="38" y="44"/>
                    </a:lnTo>
                    <a:lnTo>
                      <a:pt x="26" y="44"/>
                    </a:lnTo>
                    <a:lnTo>
                      <a:pt x="20" y="44"/>
                    </a:lnTo>
                    <a:lnTo>
                      <a:pt x="12" y="44"/>
                    </a:lnTo>
                    <a:lnTo>
                      <a:pt x="10" y="42"/>
                    </a:lnTo>
                    <a:lnTo>
                      <a:pt x="4" y="42"/>
                    </a:lnTo>
                    <a:lnTo>
                      <a:pt x="4" y="44"/>
                    </a:lnTo>
                    <a:lnTo>
                      <a:pt x="2" y="44"/>
                    </a:lnTo>
                    <a:lnTo>
                      <a:pt x="2" y="46"/>
                    </a:lnTo>
                    <a:lnTo>
                      <a:pt x="0" y="46"/>
                    </a:lnTo>
                    <a:lnTo>
                      <a:pt x="0" y="44"/>
                    </a:lnTo>
                    <a:lnTo>
                      <a:pt x="4" y="40"/>
                    </a:lnTo>
                    <a:lnTo>
                      <a:pt x="14" y="38"/>
                    </a:lnTo>
                    <a:lnTo>
                      <a:pt x="20" y="34"/>
                    </a:lnTo>
                    <a:lnTo>
                      <a:pt x="22" y="32"/>
                    </a:lnTo>
                    <a:lnTo>
                      <a:pt x="24" y="32"/>
                    </a:lnTo>
                    <a:lnTo>
                      <a:pt x="22" y="16"/>
                    </a:lnTo>
                    <a:lnTo>
                      <a:pt x="22" y="14"/>
                    </a:lnTo>
                    <a:lnTo>
                      <a:pt x="20" y="12"/>
                    </a:lnTo>
                    <a:lnTo>
                      <a:pt x="18" y="10"/>
                    </a:lnTo>
                    <a:lnTo>
                      <a:pt x="16" y="10"/>
                    </a:lnTo>
                    <a:lnTo>
                      <a:pt x="14" y="10"/>
                    </a:lnTo>
                    <a:lnTo>
                      <a:pt x="12" y="10"/>
                    </a:lnTo>
                    <a:lnTo>
                      <a:pt x="12" y="8"/>
                    </a:lnTo>
                    <a:lnTo>
                      <a:pt x="16" y="6"/>
                    </a:lnTo>
                    <a:lnTo>
                      <a:pt x="22" y="6"/>
                    </a:lnTo>
                    <a:lnTo>
                      <a:pt x="24" y="6"/>
                    </a:lnTo>
                    <a:lnTo>
                      <a:pt x="26" y="4"/>
                    </a:lnTo>
                    <a:lnTo>
                      <a:pt x="34" y="4"/>
                    </a:lnTo>
                    <a:lnTo>
                      <a:pt x="38" y="4"/>
                    </a:lnTo>
                    <a:lnTo>
                      <a:pt x="40" y="2"/>
                    </a:lnTo>
                    <a:lnTo>
                      <a:pt x="42"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4" name="Freeform 2084"/>
              <p:cNvSpPr>
                <a:spLocks/>
              </p:cNvSpPr>
              <p:nvPr/>
            </p:nvSpPr>
            <p:spPr bwMode="auto">
              <a:xfrm>
                <a:off x="4494635" y="1749024"/>
                <a:ext cx="18600" cy="15943"/>
              </a:xfrm>
              <a:custGeom>
                <a:avLst/>
                <a:gdLst/>
                <a:ahLst/>
                <a:cxnLst>
                  <a:cxn ang="0">
                    <a:pos x="14" y="2"/>
                  </a:cxn>
                  <a:cxn ang="0">
                    <a:pos x="10" y="4"/>
                  </a:cxn>
                  <a:cxn ang="0">
                    <a:pos x="8" y="4"/>
                  </a:cxn>
                  <a:cxn ang="0">
                    <a:pos x="6" y="8"/>
                  </a:cxn>
                  <a:cxn ang="0">
                    <a:pos x="4" y="10"/>
                  </a:cxn>
                  <a:cxn ang="0">
                    <a:pos x="2" y="12"/>
                  </a:cxn>
                  <a:cxn ang="0">
                    <a:pos x="0" y="12"/>
                  </a:cxn>
                  <a:cxn ang="0">
                    <a:pos x="2" y="8"/>
                  </a:cxn>
                  <a:cxn ang="0">
                    <a:pos x="8" y="2"/>
                  </a:cxn>
                  <a:cxn ang="0">
                    <a:pos x="14" y="0"/>
                  </a:cxn>
                  <a:cxn ang="0">
                    <a:pos x="14" y="2"/>
                  </a:cxn>
                </a:cxnLst>
                <a:rect l="0" t="0" r="r" b="b"/>
                <a:pathLst>
                  <a:path w="14" h="12">
                    <a:moveTo>
                      <a:pt x="14" y="2"/>
                    </a:moveTo>
                    <a:lnTo>
                      <a:pt x="10" y="4"/>
                    </a:lnTo>
                    <a:lnTo>
                      <a:pt x="8" y="4"/>
                    </a:lnTo>
                    <a:lnTo>
                      <a:pt x="6" y="8"/>
                    </a:lnTo>
                    <a:lnTo>
                      <a:pt x="4" y="10"/>
                    </a:lnTo>
                    <a:lnTo>
                      <a:pt x="2" y="12"/>
                    </a:lnTo>
                    <a:lnTo>
                      <a:pt x="0" y="12"/>
                    </a:lnTo>
                    <a:lnTo>
                      <a:pt x="2" y="8"/>
                    </a:lnTo>
                    <a:lnTo>
                      <a:pt x="8" y="2"/>
                    </a:lnTo>
                    <a:lnTo>
                      <a:pt x="14" y="0"/>
                    </a:lnTo>
                    <a:lnTo>
                      <a:pt x="14"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5" name="Freeform 2085"/>
              <p:cNvSpPr>
                <a:spLocks/>
              </p:cNvSpPr>
              <p:nvPr/>
            </p:nvSpPr>
            <p:spPr bwMode="auto">
              <a:xfrm>
                <a:off x="4499950" y="1754339"/>
                <a:ext cx="13286" cy="13286"/>
              </a:xfrm>
              <a:custGeom>
                <a:avLst/>
                <a:gdLst/>
                <a:ahLst/>
                <a:cxnLst>
                  <a:cxn ang="0">
                    <a:pos x="6" y="8"/>
                  </a:cxn>
                  <a:cxn ang="0">
                    <a:pos x="4" y="8"/>
                  </a:cxn>
                  <a:cxn ang="0">
                    <a:pos x="0" y="10"/>
                  </a:cxn>
                  <a:cxn ang="0">
                    <a:pos x="4" y="0"/>
                  </a:cxn>
                  <a:cxn ang="0">
                    <a:pos x="6" y="0"/>
                  </a:cxn>
                  <a:cxn ang="0">
                    <a:pos x="8" y="0"/>
                  </a:cxn>
                  <a:cxn ang="0">
                    <a:pos x="10" y="0"/>
                  </a:cxn>
                  <a:cxn ang="0">
                    <a:pos x="10" y="2"/>
                  </a:cxn>
                  <a:cxn ang="0">
                    <a:pos x="10" y="4"/>
                  </a:cxn>
                  <a:cxn ang="0">
                    <a:pos x="8" y="6"/>
                  </a:cxn>
                  <a:cxn ang="0">
                    <a:pos x="6" y="8"/>
                  </a:cxn>
                </a:cxnLst>
                <a:rect l="0" t="0" r="r" b="b"/>
                <a:pathLst>
                  <a:path w="10" h="10">
                    <a:moveTo>
                      <a:pt x="6" y="8"/>
                    </a:moveTo>
                    <a:lnTo>
                      <a:pt x="4" y="8"/>
                    </a:lnTo>
                    <a:lnTo>
                      <a:pt x="0" y="10"/>
                    </a:lnTo>
                    <a:lnTo>
                      <a:pt x="4" y="0"/>
                    </a:lnTo>
                    <a:lnTo>
                      <a:pt x="6" y="0"/>
                    </a:lnTo>
                    <a:lnTo>
                      <a:pt x="8" y="0"/>
                    </a:lnTo>
                    <a:lnTo>
                      <a:pt x="10" y="0"/>
                    </a:lnTo>
                    <a:lnTo>
                      <a:pt x="10" y="2"/>
                    </a:lnTo>
                    <a:lnTo>
                      <a:pt x="10" y="4"/>
                    </a:lnTo>
                    <a:lnTo>
                      <a:pt x="8" y="6"/>
                    </a:lnTo>
                    <a:lnTo>
                      <a:pt x="6"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6" name="Freeform 2086"/>
              <p:cNvSpPr>
                <a:spLocks/>
              </p:cNvSpPr>
              <p:nvPr/>
            </p:nvSpPr>
            <p:spPr bwMode="auto">
              <a:xfrm>
                <a:off x="4489321" y="1767625"/>
                <a:ext cx="23915" cy="10629"/>
              </a:xfrm>
              <a:custGeom>
                <a:avLst/>
                <a:gdLst/>
                <a:ahLst/>
                <a:cxnLst>
                  <a:cxn ang="0">
                    <a:pos x="0" y="8"/>
                  </a:cxn>
                  <a:cxn ang="0">
                    <a:pos x="0" y="6"/>
                  </a:cxn>
                  <a:cxn ang="0">
                    <a:pos x="2" y="6"/>
                  </a:cxn>
                  <a:cxn ang="0">
                    <a:pos x="4" y="4"/>
                  </a:cxn>
                  <a:cxn ang="0">
                    <a:pos x="6" y="2"/>
                  </a:cxn>
                  <a:cxn ang="0">
                    <a:pos x="8" y="0"/>
                  </a:cxn>
                  <a:cxn ang="0">
                    <a:pos x="18" y="0"/>
                  </a:cxn>
                  <a:cxn ang="0">
                    <a:pos x="12" y="4"/>
                  </a:cxn>
                  <a:cxn ang="0">
                    <a:pos x="12" y="6"/>
                  </a:cxn>
                  <a:cxn ang="0">
                    <a:pos x="10" y="6"/>
                  </a:cxn>
                  <a:cxn ang="0">
                    <a:pos x="6" y="6"/>
                  </a:cxn>
                  <a:cxn ang="0">
                    <a:pos x="4" y="8"/>
                  </a:cxn>
                  <a:cxn ang="0">
                    <a:pos x="2" y="8"/>
                  </a:cxn>
                  <a:cxn ang="0">
                    <a:pos x="0" y="8"/>
                  </a:cxn>
                </a:cxnLst>
                <a:rect l="0" t="0" r="r" b="b"/>
                <a:pathLst>
                  <a:path w="18" h="8">
                    <a:moveTo>
                      <a:pt x="0" y="8"/>
                    </a:moveTo>
                    <a:lnTo>
                      <a:pt x="0" y="6"/>
                    </a:lnTo>
                    <a:lnTo>
                      <a:pt x="2" y="6"/>
                    </a:lnTo>
                    <a:lnTo>
                      <a:pt x="4" y="4"/>
                    </a:lnTo>
                    <a:lnTo>
                      <a:pt x="6" y="2"/>
                    </a:lnTo>
                    <a:lnTo>
                      <a:pt x="8" y="0"/>
                    </a:lnTo>
                    <a:lnTo>
                      <a:pt x="18" y="0"/>
                    </a:lnTo>
                    <a:lnTo>
                      <a:pt x="12" y="4"/>
                    </a:lnTo>
                    <a:lnTo>
                      <a:pt x="12" y="6"/>
                    </a:lnTo>
                    <a:lnTo>
                      <a:pt x="10" y="6"/>
                    </a:lnTo>
                    <a:lnTo>
                      <a:pt x="6" y="6"/>
                    </a:lnTo>
                    <a:lnTo>
                      <a:pt x="4" y="8"/>
                    </a:lnTo>
                    <a:lnTo>
                      <a:pt x="2" y="8"/>
                    </a:lnTo>
                    <a:lnTo>
                      <a:pt x="0"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7" name="Freeform 2087"/>
              <p:cNvSpPr>
                <a:spLocks/>
              </p:cNvSpPr>
              <p:nvPr/>
            </p:nvSpPr>
            <p:spPr bwMode="auto">
              <a:xfrm>
                <a:off x="4502607" y="1775596"/>
                <a:ext cx="13286" cy="7972"/>
              </a:xfrm>
              <a:custGeom>
                <a:avLst/>
                <a:gdLst/>
                <a:ahLst/>
                <a:cxnLst>
                  <a:cxn ang="0">
                    <a:pos x="4" y="6"/>
                  </a:cxn>
                  <a:cxn ang="0">
                    <a:pos x="2" y="6"/>
                  </a:cxn>
                  <a:cxn ang="0">
                    <a:pos x="0" y="6"/>
                  </a:cxn>
                  <a:cxn ang="0">
                    <a:pos x="8" y="0"/>
                  </a:cxn>
                  <a:cxn ang="0">
                    <a:pos x="10" y="0"/>
                  </a:cxn>
                  <a:cxn ang="0">
                    <a:pos x="10" y="2"/>
                  </a:cxn>
                  <a:cxn ang="0">
                    <a:pos x="10" y="4"/>
                  </a:cxn>
                  <a:cxn ang="0">
                    <a:pos x="8" y="4"/>
                  </a:cxn>
                  <a:cxn ang="0">
                    <a:pos x="4" y="6"/>
                  </a:cxn>
                </a:cxnLst>
                <a:rect l="0" t="0" r="r" b="b"/>
                <a:pathLst>
                  <a:path w="10" h="6">
                    <a:moveTo>
                      <a:pt x="4" y="6"/>
                    </a:moveTo>
                    <a:lnTo>
                      <a:pt x="2" y="6"/>
                    </a:lnTo>
                    <a:lnTo>
                      <a:pt x="0" y="6"/>
                    </a:lnTo>
                    <a:lnTo>
                      <a:pt x="8" y="0"/>
                    </a:lnTo>
                    <a:lnTo>
                      <a:pt x="10" y="0"/>
                    </a:lnTo>
                    <a:lnTo>
                      <a:pt x="10" y="2"/>
                    </a:lnTo>
                    <a:lnTo>
                      <a:pt x="10" y="4"/>
                    </a:lnTo>
                    <a:lnTo>
                      <a:pt x="8" y="4"/>
                    </a:lnTo>
                    <a:lnTo>
                      <a:pt x="4"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8" name="Freeform 2088"/>
              <p:cNvSpPr>
                <a:spLocks/>
              </p:cNvSpPr>
              <p:nvPr/>
            </p:nvSpPr>
            <p:spPr bwMode="auto">
              <a:xfrm>
                <a:off x="4489321" y="1775596"/>
                <a:ext cx="18600" cy="7972"/>
              </a:xfrm>
              <a:custGeom>
                <a:avLst/>
                <a:gdLst/>
                <a:ahLst/>
                <a:cxnLst>
                  <a:cxn ang="0">
                    <a:pos x="8" y="6"/>
                  </a:cxn>
                  <a:cxn ang="0">
                    <a:pos x="6" y="6"/>
                  </a:cxn>
                  <a:cxn ang="0">
                    <a:pos x="2" y="4"/>
                  </a:cxn>
                  <a:cxn ang="0">
                    <a:pos x="0" y="4"/>
                  </a:cxn>
                  <a:cxn ang="0">
                    <a:pos x="4" y="2"/>
                  </a:cxn>
                  <a:cxn ang="0">
                    <a:pos x="8" y="0"/>
                  </a:cxn>
                  <a:cxn ang="0">
                    <a:pos x="14" y="0"/>
                  </a:cxn>
                  <a:cxn ang="0">
                    <a:pos x="12" y="2"/>
                  </a:cxn>
                  <a:cxn ang="0">
                    <a:pos x="10" y="4"/>
                  </a:cxn>
                  <a:cxn ang="0">
                    <a:pos x="8" y="4"/>
                  </a:cxn>
                  <a:cxn ang="0">
                    <a:pos x="8" y="6"/>
                  </a:cxn>
                </a:cxnLst>
                <a:rect l="0" t="0" r="r" b="b"/>
                <a:pathLst>
                  <a:path w="14" h="6">
                    <a:moveTo>
                      <a:pt x="8" y="6"/>
                    </a:moveTo>
                    <a:lnTo>
                      <a:pt x="6" y="6"/>
                    </a:lnTo>
                    <a:lnTo>
                      <a:pt x="2" y="4"/>
                    </a:lnTo>
                    <a:lnTo>
                      <a:pt x="0" y="4"/>
                    </a:lnTo>
                    <a:lnTo>
                      <a:pt x="4" y="2"/>
                    </a:lnTo>
                    <a:lnTo>
                      <a:pt x="8" y="0"/>
                    </a:lnTo>
                    <a:lnTo>
                      <a:pt x="14" y="0"/>
                    </a:lnTo>
                    <a:lnTo>
                      <a:pt x="12" y="2"/>
                    </a:lnTo>
                    <a:lnTo>
                      <a:pt x="10" y="4"/>
                    </a:lnTo>
                    <a:lnTo>
                      <a:pt x="8" y="4"/>
                    </a:lnTo>
                    <a:lnTo>
                      <a:pt x="8"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sp>
            <p:nvSpPr>
              <p:cNvPr id="1019" name="Freeform 2089"/>
              <p:cNvSpPr>
                <a:spLocks/>
              </p:cNvSpPr>
              <p:nvPr/>
            </p:nvSpPr>
            <p:spPr bwMode="auto">
              <a:xfrm>
                <a:off x="4484007" y="1783568"/>
                <a:ext cx="18600" cy="10629"/>
              </a:xfrm>
              <a:custGeom>
                <a:avLst/>
                <a:gdLst/>
                <a:ahLst/>
                <a:cxnLst>
                  <a:cxn ang="0">
                    <a:pos x="6" y="8"/>
                  </a:cxn>
                  <a:cxn ang="0">
                    <a:pos x="4" y="6"/>
                  </a:cxn>
                  <a:cxn ang="0">
                    <a:pos x="0" y="6"/>
                  </a:cxn>
                  <a:cxn ang="0">
                    <a:pos x="0" y="4"/>
                  </a:cxn>
                  <a:cxn ang="0">
                    <a:pos x="2" y="4"/>
                  </a:cxn>
                  <a:cxn ang="0">
                    <a:pos x="4" y="4"/>
                  </a:cxn>
                  <a:cxn ang="0">
                    <a:pos x="6" y="4"/>
                  </a:cxn>
                  <a:cxn ang="0">
                    <a:pos x="10" y="0"/>
                  </a:cxn>
                  <a:cxn ang="0">
                    <a:pos x="12" y="0"/>
                  </a:cxn>
                  <a:cxn ang="0">
                    <a:pos x="14" y="2"/>
                  </a:cxn>
                  <a:cxn ang="0">
                    <a:pos x="14" y="4"/>
                  </a:cxn>
                  <a:cxn ang="0">
                    <a:pos x="12" y="6"/>
                  </a:cxn>
                  <a:cxn ang="0">
                    <a:pos x="6" y="8"/>
                  </a:cxn>
                </a:cxnLst>
                <a:rect l="0" t="0" r="r" b="b"/>
                <a:pathLst>
                  <a:path w="14" h="8">
                    <a:moveTo>
                      <a:pt x="6" y="8"/>
                    </a:moveTo>
                    <a:lnTo>
                      <a:pt x="4" y="6"/>
                    </a:lnTo>
                    <a:lnTo>
                      <a:pt x="0" y="6"/>
                    </a:lnTo>
                    <a:lnTo>
                      <a:pt x="0" y="4"/>
                    </a:lnTo>
                    <a:lnTo>
                      <a:pt x="2" y="4"/>
                    </a:lnTo>
                    <a:lnTo>
                      <a:pt x="4" y="4"/>
                    </a:lnTo>
                    <a:lnTo>
                      <a:pt x="6" y="4"/>
                    </a:lnTo>
                    <a:lnTo>
                      <a:pt x="10" y="0"/>
                    </a:lnTo>
                    <a:lnTo>
                      <a:pt x="12" y="0"/>
                    </a:lnTo>
                    <a:lnTo>
                      <a:pt x="14" y="2"/>
                    </a:lnTo>
                    <a:lnTo>
                      <a:pt x="14" y="4"/>
                    </a:lnTo>
                    <a:lnTo>
                      <a:pt x="12" y="6"/>
                    </a:lnTo>
                    <a:lnTo>
                      <a:pt x="6" y="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46464"/>
                  </a:solidFill>
                </a:endParaRPr>
              </a:p>
            </p:txBody>
          </p:sp>
        </p:grpSp>
        <p:sp>
          <p:nvSpPr>
            <p:cNvPr id="718" name="Freeform 1940"/>
            <p:cNvSpPr>
              <a:spLocks/>
            </p:cNvSpPr>
            <p:nvPr/>
          </p:nvSpPr>
          <p:spPr bwMode="auto">
            <a:xfrm>
              <a:off x="4478692" y="1788882"/>
              <a:ext cx="356062" cy="534093"/>
            </a:xfrm>
            <a:custGeom>
              <a:avLst/>
              <a:gdLst/>
              <a:ahLst/>
              <a:cxnLst>
                <a:cxn ang="0">
                  <a:pos x="60" y="180"/>
                </a:cxn>
                <a:cxn ang="0">
                  <a:pos x="34" y="182"/>
                </a:cxn>
                <a:cxn ang="0">
                  <a:pos x="4" y="140"/>
                </a:cxn>
                <a:cxn ang="0">
                  <a:pos x="12" y="116"/>
                </a:cxn>
                <a:cxn ang="0">
                  <a:pos x="18" y="100"/>
                </a:cxn>
                <a:cxn ang="0">
                  <a:pos x="38" y="96"/>
                </a:cxn>
                <a:cxn ang="0">
                  <a:pos x="52" y="88"/>
                </a:cxn>
                <a:cxn ang="0">
                  <a:pos x="46" y="76"/>
                </a:cxn>
                <a:cxn ang="0">
                  <a:pos x="42" y="68"/>
                </a:cxn>
                <a:cxn ang="0">
                  <a:pos x="34" y="56"/>
                </a:cxn>
                <a:cxn ang="0">
                  <a:pos x="56" y="36"/>
                </a:cxn>
                <a:cxn ang="0">
                  <a:pos x="72" y="26"/>
                </a:cxn>
                <a:cxn ang="0">
                  <a:pos x="82" y="14"/>
                </a:cxn>
                <a:cxn ang="0">
                  <a:pos x="76" y="4"/>
                </a:cxn>
                <a:cxn ang="0">
                  <a:pos x="84" y="8"/>
                </a:cxn>
                <a:cxn ang="0">
                  <a:pos x="120" y="30"/>
                </a:cxn>
                <a:cxn ang="0">
                  <a:pos x="142" y="50"/>
                </a:cxn>
                <a:cxn ang="0">
                  <a:pos x="154" y="84"/>
                </a:cxn>
                <a:cxn ang="0">
                  <a:pos x="148" y="112"/>
                </a:cxn>
                <a:cxn ang="0">
                  <a:pos x="150" y="104"/>
                </a:cxn>
                <a:cxn ang="0">
                  <a:pos x="164" y="90"/>
                </a:cxn>
                <a:cxn ang="0">
                  <a:pos x="182" y="94"/>
                </a:cxn>
                <a:cxn ang="0">
                  <a:pos x="204" y="114"/>
                </a:cxn>
                <a:cxn ang="0">
                  <a:pos x="224" y="128"/>
                </a:cxn>
                <a:cxn ang="0">
                  <a:pos x="228" y="160"/>
                </a:cxn>
                <a:cxn ang="0">
                  <a:pos x="222" y="180"/>
                </a:cxn>
                <a:cxn ang="0">
                  <a:pos x="222" y="182"/>
                </a:cxn>
                <a:cxn ang="0">
                  <a:pos x="204" y="192"/>
                </a:cxn>
                <a:cxn ang="0">
                  <a:pos x="188" y="204"/>
                </a:cxn>
                <a:cxn ang="0">
                  <a:pos x="186" y="230"/>
                </a:cxn>
                <a:cxn ang="0">
                  <a:pos x="182" y="248"/>
                </a:cxn>
                <a:cxn ang="0">
                  <a:pos x="192" y="264"/>
                </a:cxn>
                <a:cxn ang="0">
                  <a:pos x="204" y="278"/>
                </a:cxn>
                <a:cxn ang="0">
                  <a:pos x="222" y="280"/>
                </a:cxn>
                <a:cxn ang="0">
                  <a:pos x="226" y="298"/>
                </a:cxn>
                <a:cxn ang="0">
                  <a:pos x="242" y="330"/>
                </a:cxn>
                <a:cxn ang="0">
                  <a:pos x="258" y="354"/>
                </a:cxn>
                <a:cxn ang="0">
                  <a:pos x="262" y="360"/>
                </a:cxn>
                <a:cxn ang="0">
                  <a:pos x="238" y="360"/>
                </a:cxn>
                <a:cxn ang="0">
                  <a:pos x="228" y="358"/>
                </a:cxn>
                <a:cxn ang="0">
                  <a:pos x="214" y="368"/>
                </a:cxn>
                <a:cxn ang="0">
                  <a:pos x="192" y="374"/>
                </a:cxn>
                <a:cxn ang="0">
                  <a:pos x="164" y="386"/>
                </a:cxn>
                <a:cxn ang="0">
                  <a:pos x="148" y="396"/>
                </a:cxn>
                <a:cxn ang="0">
                  <a:pos x="136" y="398"/>
                </a:cxn>
                <a:cxn ang="0">
                  <a:pos x="118" y="390"/>
                </a:cxn>
                <a:cxn ang="0">
                  <a:pos x="94" y="370"/>
                </a:cxn>
                <a:cxn ang="0">
                  <a:pos x="90" y="352"/>
                </a:cxn>
                <a:cxn ang="0">
                  <a:pos x="82" y="334"/>
                </a:cxn>
                <a:cxn ang="0">
                  <a:pos x="78" y="308"/>
                </a:cxn>
                <a:cxn ang="0">
                  <a:pos x="84" y="284"/>
                </a:cxn>
                <a:cxn ang="0">
                  <a:pos x="98" y="254"/>
                </a:cxn>
                <a:cxn ang="0">
                  <a:pos x="94" y="226"/>
                </a:cxn>
                <a:cxn ang="0">
                  <a:pos x="66" y="216"/>
                </a:cxn>
                <a:cxn ang="0">
                  <a:pos x="76" y="192"/>
                </a:cxn>
              </a:cxnLst>
              <a:rect l="0" t="0" r="r" b="b"/>
              <a:pathLst>
                <a:path w="268" h="402">
                  <a:moveTo>
                    <a:pt x="70" y="184"/>
                  </a:moveTo>
                  <a:lnTo>
                    <a:pt x="70" y="182"/>
                  </a:lnTo>
                  <a:lnTo>
                    <a:pt x="68" y="180"/>
                  </a:lnTo>
                  <a:lnTo>
                    <a:pt x="64" y="178"/>
                  </a:lnTo>
                  <a:lnTo>
                    <a:pt x="62" y="180"/>
                  </a:lnTo>
                  <a:lnTo>
                    <a:pt x="60" y="180"/>
                  </a:lnTo>
                  <a:lnTo>
                    <a:pt x="58" y="182"/>
                  </a:lnTo>
                  <a:lnTo>
                    <a:pt x="44" y="184"/>
                  </a:lnTo>
                  <a:lnTo>
                    <a:pt x="44" y="182"/>
                  </a:lnTo>
                  <a:lnTo>
                    <a:pt x="38" y="182"/>
                  </a:lnTo>
                  <a:lnTo>
                    <a:pt x="36" y="182"/>
                  </a:lnTo>
                  <a:lnTo>
                    <a:pt x="34" y="182"/>
                  </a:lnTo>
                  <a:lnTo>
                    <a:pt x="32" y="180"/>
                  </a:lnTo>
                  <a:lnTo>
                    <a:pt x="28" y="174"/>
                  </a:lnTo>
                  <a:lnTo>
                    <a:pt x="14" y="158"/>
                  </a:lnTo>
                  <a:lnTo>
                    <a:pt x="0" y="142"/>
                  </a:lnTo>
                  <a:lnTo>
                    <a:pt x="2" y="140"/>
                  </a:lnTo>
                  <a:lnTo>
                    <a:pt x="4" y="140"/>
                  </a:lnTo>
                  <a:lnTo>
                    <a:pt x="6" y="136"/>
                  </a:lnTo>
                  <a:lnTo>
                    <a:pt x="6" y="134"/>
                  </a:lnTo>
                  <a:lnTo>
                    <a:pt x="6" y="132"/>
                  </a:lnTo>
                  <a:lnTo>
                    <a:pt x="12" y="130"/>
                  </a:lnTo>
                  <a:lnTo>
                    <a:pt x="12" y="122"/>
                  </a:lnTo>
                  <a:lnTo>
                    <a:pt x="12" y="116"/>
                  </a:lnTo>
                  <a:lnTo>
                    <a:pt x="8" y="110"/>
                  </a:lnTo>
                  <a:lnTo>
                    <a:pt x="8" y="108"/>
                  </a:lnTo>
                  <a:lnTo>
                    <a:pt x="10" y="104"/>
                  </a:lnTo>
                  <a:lnTo>
                    <a:pt x="12" y="100"/>
                  </a:lnTo>
                  <a:lnTo>
                    <a:pt x="16" y="98"/>
                  </a:lnTo>
                  <a:lnTo>
                    <a:pt x="18" y="100"/>
                  </a:lnTo>
                  <a:lnTo>
                    <a:pt x="24" y="100"/>
                  </a:lnTo>
                  <a:lnTo>
                    <a:pt x="26" y="96"/>
                  </a:lnTo>
                  <a:lnTo>
                    <a:pt x="30" y="96"/>
                  </a:lnTo>
                  <a:lnTo>
                    <a:pt x="34" y="98"/>
                  </a:lnTo>
                  <a:lnTo>
                    <a:pt x="36" y="96"/>
                  </a:lnTo>
                  <a:lnTo>
                    <a:pt x="38" y="96"/>
                  </a:lnTo>
                  <a:lnTo>
                    <a:pt x="40" y="94"/>
                  </a:lnTo>
                  <a:lnTo>
                    <a:pt x="42" y="92"/>
                  </a:lnTo>
                  <a:lnTo>
                    <a:pt x="44" y="92"/>
                  </a:lnTo>
                  <a:lnTo>
                    <a:pt x="46" y="90"/>
                  </a:lnTo>
                  <a:lnTo>
                    <a:pt x="48" y="90"/>
                  </a:lnTo>
                  <a:lnTo>
                    <a:pt x="52" y="88"/>
                  </a:lnTo>
                  <a:lnTo>
                    <a:pt x="58" y="80"/>
                  </a:lnTo>
                  <a:lnTo>
                    <a:pt x="58" y="78"/>
                  </a:lnTo>
                  <a:lnTo>
                    <a:pt x="56" y="76"/>
                  </a:lnTo>
                  <a:lnTo>
                    <a:pt x="54" y="74"/>
                  </a:lnTo>
                  <a:lnTo>
                    <a:pt x="48" y="74"/>
                  </a:lnTo>
                  <a:lnTo>
                    <a:pt x="46" y="76"/>
                  </a:lnTo>
                  <a:lnTo>
                    <a:pt x="44" y="76"/>
                  </a:lnTo>
                  <a:lnTo>
                    <a:pt x="40" y="74"/>
                  </a:lnTo>
                  <a:lnTo>
                    <a:pt x="40" y="72"/>
                  </a:lnTo>
                  <a:lnTo>
                    <a:pt x="40" y="70"/>
                  </a:lnTo>
                  <a:lnTo>
                    <a:pt x="40" y="68"/>
                  </a:lnTo>
                  <a:lnTo>
                    <a:pt x="42" y="68"/>
                  </a:lnTo>
                  <a:lnTo>
                    <a:pt x="42" y="66"/>
                  </a:lnTo>
                  <a:lnTo>
                    <a:pt x="40" y="64"/>
                  </a:lnTo>
                  <a:lnTo>
                    <a:pt x="38" y="60"/>
                  </a:lnTo>
                  <a:lnTo>
                    <a:pt x="36" y="60"/>
                  </a:lnTo>
                  <a:lnTo>
                    <a:pt x="34" y="58"/>
                  </a:lnTo>
                  <a:lnTo>
                    <a:pt x="34" y="56"/>
                  </a:lnTo>
                  <a:lnTo>
                    <a:pt x="36" y="54"/>
                  </a:lnTo>
                  <a:lnTo>
                    <a:pt x="38" y="54"/>
                  </a:lnTo>
                  <a:lnTo>
                    <a:pt x="42" y="50"/>
                  </a:lnTo>
                  <a:lnTo>
                    <a:pt x="42" y="46"/>
                  </a:lnTo>
                  <a:lnTo>
                    <a:pt x="44" y="40"/>
                  </a:lnTo>
                  <a:lnTo>
                    <a:pt x="56" y="36"/>
                  </a:lnTo>
                  <a:lnTo>
                    <a:pt x="58" y="34"/>
                  </a:lnTo>
                  <a:lnTo>
                    <a:pt x="60" y="32"/>
                  </a:lnTo>
                  <a:lnTo>
                    <a:pt x="66" y="28"/>
                  </a:lnTo>
                  <a:lnTo>
                    <a:pt x="68" y="28"/>
                  </a:lnTo>
                  <a:lnTo>
                    <a:pt x="70" y="28"/>
                  </a:lnTo>
                  <a:lnTo>
                    <a:pt x="72" y="26"/>
                  </a:lnTo>
                  <a:lnTo>
                    <a:pt x="72" y="22"/>
                  </a:lnTo>
                  <a:lnTo>
                    <a:pt x="74" y="20"/>
                  </a:lnTo>
                  <a:lnTo>
                    <a:pt x="76" y="18"/>
                  </a:lnTo>
                  <a:lnTo>
                    <a:pt x="78" y="18"/>
                  </a:lnTo>
                  <a:lnTo>
                    <a:pt x="80" y="16"/>
                  </a:lnTo>
                  <a:lnTo>
                    <a:pt x="82" y="14"/>
                  </a:lnTo>
                  <a:lnTo>
                    <a:pt x="82" y="12"/>
                  </a:lnTo>
                  <a:lnTo>
                    <a:pt x="78" y="8"/>
                  </a:lnTo>
                  <a:lnTo>
                    <a:pt x="72" y="2"/>
                  </a:lnTo>
                  <a:lnTo>
                    <a:pt x="72" y="0"/>
                  </a:lnTo>
                  <a:lnTo>
                    <a:pt x="74" y="2"/>
                  </a:lnTo>
                  <a:lnTo>
                    <a:pt x="76" y="4"/>
                  </a:lnTo>
                  <a:lnTo>
                    <a:pt x="78" y="4"/>
                  </a:lnTo>
                  <a:lnTo>
                    <a:pt x="78" y="6"/>
                  </a:lnTo>
                  <a:lnTo>
                    <a:pt x="80" y="8"/>
                  </a:lnTo>
                  <a:lnTo>
                    <a:pt x="80" y="10"/>
                  </a:lnTo>
                  <a:lnTo>
                    <a:pt x="84" y="10"/>
                  </a:lnTo>
                  <a:lnTo>
                    <a:pt x="84" y="8"/>
                  </a:lnTo>
                  <a:lnTo>
                    <a:pt x="84" y="6"/>
                  </a:lnTo>
                  <a:lnTo>
                    <a:pt x="90" y="10"/>
                  </a:lnTo>
                  <a:lnTo>
                    <a:pt x="106" y="20"/>
                  </a:lnTo>
                  <a:lnTo>
                    <a:pt x="118" y="26"/>
                  </a:lnTo>
                  <a:lnTo>
                    <a:pt x="120" y="28"/>
                  </a:lnTo>
                  <a:lnTo>
                    <a:pt x="120" y="30"/>
                  </a:lnTo>
                  <a:lnTo>
                    <a:pt x="122" y="30"/>
                  </a:lnTo>
                  <a:lnTo>
                    <a:pt x="130" y="38"/>
                  </a:lnTo>
                  <a:lnTo>
                    <a:pt x="136" y="44"/>
                  </a:lnTo>
                  <a:lnTo>
                    <a:pt x="138" y="46"/>
                  </a:lnTo>
                  <a:lnTo>
                    <a:pt x="140" y="48"/>
                  </a:lnTo>
                  <a:lnTo>
                    <a:pt x="142" y="50"/>
                  </a:lnTo>
                  <a:lnTo>
                    <a:pt x="146" y="52"/>
                  </a:lnTo>
                  <a:lnTo>
                    <a:pt x="154" y="62"/>
                  </a:lnTo>
                  <a:lnTo>
                    <a:pt x="156" y="64"/>
                  </a:lnTo>
                  <a:lnTo>
                    <a:pt x="156" y="76"/>
                  </a:lnTo>
                  <a:lnTo>
                    <a:pt x="154" y="82"/>
                  </a:lnTo>
                  <a:lnTo>
                    <a:pt x="154" y="84"/>
                  </a:lnTo>
                  <a:lnTo>
                    <a:pt x="152" y="86"/>
                  </a:lnTo>
                  <a:lnTo>
                    <a:pt x="152" y="88"/>
                  </a:lnTo>
                  <a:lnTo>
                    <a:pt x="150" y="94"/>
                  </a:lnTo>
                  <a:lnTo>
                    <a:pt x="150" y="96"/>
                  </a:lnTo>
                  <a:lnTo>
                    <a:pt x="148" y="102"/>
                  </a:lnTo>
                  <a:lnTo>
                    <a:pt x="148" y="112"/>
                  </a:lnTo>
                  <a:lnTo>
                    <a:pt x="148" y="114"/>
                  </a:lnTo>
                  <a:lnTo>
                    <a:pt x="150" y="114"/>
                  </a:lnTo>
                  <a:lnTo>
                    <a:pt x="150" y="112"/>
                  </a:lnTo>
                  <a:lnTo>
                    <a:pt x="152" y="110"/>
                  </a:lnTo>
                  <a:lnTo>
                    <a:pt x="150" y="108"/>
                  </a:lnTo>
                  <a:lnTo>
                    <a:pt x="150" y="104"/>
                  </a:lnTo>
                  <a:lnTo>
                    <a:pt x="152" y="100"/>
                  </a:lnTo>
                  <a:lnTo>
                    <a:pt x="156" y="94"/>
                  </a:lnTo>
                  <a:lnTo>
                    <a:pt x="156" y="92"/>
                  </a:lnTo>
                  <a:lnTo>
                    <a:pt x="158" y="90"/>
                  </a:lnTo>
                  <a:lnTo>
                    <a:pt x="160" y="90"/>
                  </a:lnTo>
                  <a:lnTo>
                    <a:pt x="164" y="90"/>
                  </a:lnTo>
                  <a:lnTo>
                    <a:pt x="168" y="90"/>
                  </a:lnTo>
                  <a:lnTo>
                    <a:pt x="170" y="92"/>
                  </a:lnTo>
                  <a:lnTo>
                    <a:pt x="172" y="94"/>
                  </a:lnTo>
                  <a:lnTo>
                    <a:pt x="172" y="92"/>
                  </a:lnTo>
                  <a:lnTo>
                    <a:pt x="180" y="94"/>
                  </a:lnTo>
                  <a:lnTo>
                    <a:pt x="182" y="94"/>
                  </a:lnTo>
                  <a:lnTo>
                    <a:pt x="184" y="96"/>
                  </a:lnTo>
                  <a:lnTo>
                    <a:pt x="186" y="98"/>
                  </a:lnTo>
                  <a:lnTo>
                    <a:pt x="188" y="100"/>
                  </a:lnTo>
                  <a:lnTo>
                    <a:pt x="194" y="106"/>
                  </a:lnTo>
                  <a:lnTo>
                    <a:pt x="202" y="112"/>
                  </a:lnTo>
                  <a:lnTo>
                    <a:pt x="204" y="114"/>
                  </a:lnTo>
                  <a:lnTo>
                    <a:pt x="208" y="122"/>
                  </a:lnTo>
                  <a:lnTo>
                    <a:pt x="210" y="118"/>
                  </a:lnTo>
                  <a:lnTo>
                    <a:pt x="216" y="122"/>
                  </a:lnTo>
                  <a:lnTo>
                    <a:pt x="218" y="122"/>
                  </a:lnTo>
                  <a:lnTo>
                    <a:pt x="222" y="126"/>
                  </a:lnTo>
                  <a:lnTo>
                    <a:pt x="224" y="128"/>
                  </a:lnTo>
                  <a:lnTo>
                    <a:pt x="226" y="130"/>
                  </a:lnTo>
                  <a:lnTo>
                    <a:pt x="226" y="132"/>
                  </a:lnTo>
                  <a:lnTo>
                    <a:pt x="228" y="134"/>
                  </a:lnTo>
                  <a:lnTo>
                    <a:pt x="228" y="140"/>
                  </a:lnTo>
                  <a:lnTo>
                    <a:pt x="228" y="156"/>
                  </a:lnTo>
                  <a:lnTo>
                    <a:pt x="228" y="160"/>
                  </a:lnTo>
                  <a:lnTo>
                    <a:pt x="226" y="160"/>
                  </a:lnTo>
                  <a:lnTo>
                    <a:pt x="224" y="166"/>
                  </a:lnTo>
                  <a:lnTo>
                    <a:pt x="222" y="170"/>
                  </a:lnTo>
                  <a:lnTo>
                    <a:pt x="220" y="172"/>
                  </a:lnTo>
                  <a:lnTo>
                    <a:pt x="220" y="176"/>
                  </a:lnTo>
                  <a:lnTo>
                    <a:pt x="222" y="180"/>
                  </a:lnTo>
                  <a:lnTo>
                    <a:pt x="224" y="178"/>
                  </a:lnTo>
                  <a:lnTo>
                    <a:pt x="226" y="180"/>
                  </a:lnTo>
                  <a:lnTo>
                    <a:pt x="226" y="182"/>
                  </a:lnTo>
                  <a:lnTo>
                    <a:pt x="224" y="184"/>
                  </a:lnTo>
                  <a:lnTo>
                    <a:pt x="224" y="182"/>
                  </a:lnTo>
                  <a:lnTo>
                    <a:pt x="222" y="182"/>
                  </a:lnTo>
                  <a:lnTo>
                    <a:pt x="222" y="184"/>
                  </a:lnTo>
                  <a:lnTo>
                    <a:pt x="220" y="188"/>
                  </a:lnTo>
                  <a:lnTo>
                    <a:pt x="220" y="190"/>
                  </a:lnTo>
                  <a:lnTo>
                    <a:pt x="214" y="192"/>
                  </a:lnTo>
                  <a:lnTo>
                    <a:pt x="212" y="192"/>
                  </a:lnTo>
                  <a:lnTo>
                    <a:pt x="204" y="192"/>
                  </a:lnTo>
                  <a:lnTo>
                    <a:pt x="202" y="192"/>
                  </a:lnTo>
                  <a:lnTo>
                    <a:pt x="200" y="192"/>
                  </a:lnTo>
                  <a:lnTo>
                    <a:pt x="192" y="196"/>
                  </a:lnTo>
                  <a:lnTo>
                    <a:pt x="188" y="200"/>
                  </a:lnTo>
                  <a:lnTo>
                    <a:pt x="188" y="202"/>
                  </a:lnTo>
                  <a:lnTo>
                    <a:pt x="188" y="204"/>
                  </a:lnTo>
                  <a:lnTo>
                    <a:pt x="190" y="206"/>
                  </a:lnTo>
                  <a:lnTo>
                    <a:pt x="192" y="210"/>
                  </a:lnTo>
                  <a:lnTo>
                    <a:pt x="192" y="212"/>
                  </a:lnTo>
                  <a:lnTo>
                    <a:pt x="190" y="220"/>
                  </a:lnTo>
                  <a:lnTo>
                    <a:pt x="186" y="228"/>
                  </a:lnTo>
                  <a:lnTo>
                    <a:pt x="186" y="230"/>
                  </a:lnTo>
                  <a:lnTo>
                    <a:pt x="186" y="232"/>
                  </a:lnTo>
                  <a:lnTo>
                    <a:pt x="184" y="234"/>
                  </a:lnTo>
                  <a:lnTo>
                    <a:pt x="182" y="236"/>
                  </a:lnTo>
                  <a:lnTo>
                    <a:pt x="180" y="238"/>
                  </a:lnTo>
                  <a:lnTo>
                    <a:pt x="182" y="246"/>
                  </a:lnTo>
                  <a:lnTo>
                    <a:pt x="182" y="248"/>
                  </a:lnTo>
                  <a:lnTo>
                    <a:pt x="186" y="250"/>
                  </a:lnTo>
                  <a:lnTo>
                    <a:pt x="186" y="252"/>
                  </a:lnTo>
                  <a:lnTo>
                    <a:pt x="188" y="254"/>
                  </a:lnTo>
                  <a:lnTo>
                    <a:pt x="190" y="258"/>
                  </a:lnTo>
                  <a:lnTo>
                    <a:pt x="192" y="260"/>
                  </a:lnTo>
                  <a:lnTo>
                    <a:pt x="192" y="264"/>
                  </a:lnTo>
                  <a:lnTo>
                    <a:pt x="194" y="266"/>
                  </a:lnTo>
                  <a:lnTo>
                    <a:pt x="196" y="268"/>
                  </a:lnTo>
                  <a:lnTo>
                    <a:pt x="198" y="268"/>
                  </a:lnTo>
                  <a:lnTo>
                    <a:pt x="202" y="272"/>
                  </a:lnTo>
                  <a:lnTo>
                    <a:pt x="202" y="274"/>
                  </a:lnTo>
                  <a:lnTo>
                    <a:pt x="204" y="278"/>
                  </a:lnTo>
                  <a:lnTo>
                    <a:pt x="202" y="280"/>
                  </a:lnTo>
                  <a:lnTo>
                    <a:pt x="204" y="282"/>
                  </a:lnTo>
                  <a:lnTo>
                    <a:pt x="206" y="282"/>
                  </a:lnTo>
                  <a:lnTo>
                    <a:pt x="210" y="282"/>
                  </a:lnTo>
                  <a:lnTo>
                    <a:pt x="214" y="282"/>
                  </a:lnTo>
                  <a:lnTo>
                    <a:pt x="222" y="280"/>
                  </a:lnTo>
                  <a:lnTo>
                    <a:pt x="224" y="284"/>
                  </a:lnTo>
                  <a:lnTo>
                    <a:pt x="222" y="286"/>
                  </a:lnTo>
                  <a:lnTo>
                    <a:pt x="222" y="292"/>
                  </a:lnTo>
                  <a:lnTo>
                    <a:pt x="224" y="294"/>
                  </a:lnTo>
                  <a:lnTo>
                    <a:pt x="224" y="296"/>
                  </a:lnTo>
                  <a:lnTo>
                    <a:pt x="226" y="298"/>
                  </a:lnTo>
                  <a:lnTo>
                    <a:pt x="228" y="300"/>
                  </a:lnTo>
                  <a:lnTo>
                    <a:pt x="228" y="302"/>
                  </a:lnTo>
                  <a:lnTo>
                    <a:pt x="228" y="308"/>
                  </a:lnTo>
                  <a:lnTo>
                    <a:pt x="228" y="312"/>
                  </a:lnTo>
                  <a:lnTo>
                    <a:pt x="232" y="316"/>
                  </a:lnTo>
                  <a:lnTo>
                    <a:pt x="242" y="330"/>
                  </a:lnTo>
                  <a:lnTo>
                    <a:pt x="244" y="334"/>
                  </a:lnTo>
                  <a:lnTo>
                    <a:pt x="246" y="340"/>
                  </a:lnTo>
                  <a:lnTo>
                    <a:pt x="248" y="346"/>
                  </a:lnTo>
                  <a:lnTo>
                    <a:pt x="250" y="348"/>
                  </a:lnTo>
                  <a:lnTo>
                    <a:pt x="256" y="354"/>
                  </a:lnTo>
                  <a:lnTo>
                    <a:pt x="258" y="354"/>
                  </a:lnTo>
                  <a:lnTo>
                    <a:pt x="262" y="354"/>
                  </a:lnTo>
                  <a:lnTo>
                    <a:pt x="264" y="354"/>
                  </a:lnTo>
                  <a:lnTo>
                    <a:pt x="266" y="358"/>
                  </a:lnTo>
                  <a:lnTo>
                    <a:pt x="268" y="360"/>
                  </a:lnTo>
                  <a:lnTo>
                    <a:pt x="264" y="360"/>
                  </a:lnTo>
                  <a:lnTo>
                    <a:pt x="262" y="360"/>
                  </a:lnTo>
                  <a:lnTo>
                    <a:pt x="260" y="360"/>
                  </a:lnTo>
                  <a:lnTo>
                    <a:pt x="254" y="360"/>
                  </a:lnTo>
                  <a:lnTo>
                    <a:pt x="252" y="362"/>
                  </a:lnTo>
                  <a:lnTo>
                    <a:pt x="252" y="364"/>
                  </a:lnTo>
                  <a:lnTo>
                    <a:pt x="246" y="362"/>
                  </a:lnTo>
                  <a:lnTo>
                    <a:pt x="238" y="360"/>
                  </a:lnTo>
                  <a:lnTo>
                    <a:pt x="236" y="358"/>
                  </a:lnTo>
                  <a:lnTo>
                    <a:pt x="236" y="356"/>
                  </a:lnTo>
                  <a:lnTo>
                    <a:pt x="234" y="356"/>
                  </a:lnTo>
                  <a:lnTo>
                    <a:pt x="234" y="354"/>
                  </a:lnTo>
                  <a:lnTo>
                    <a:pt x="230" y="356"/>
                  </a:lnTo>
                  <a:lnTo>
                    <a:pt x="228" y="358"/>
                  </a:lnTo>
                  <a:lnTo>
                    <a:pt x="226" y="358"/>
                  </a:lnTo>
                  <a:lnTo>
                    <a:pt x="224" y="358"/>
                  </a:lnTo>
                  <a:lnTo>
                    <a:pt x="222" y="358"/>
                  </a:lnTo>
                  <a:lnTo>
                    <a:pt x="216" y="362"/>
                  </a:lnTo>
                  <a:lnTo>
                    <a:pt x="216" y="364"/>
                  </a:lnTo>
                  <a:lnTo>
                    <a:pt x="214" y="368"/>
                  </a:lnTo>
                  <a:lnTo>
                    <a:pt x="210" y="372"/>
                  </a:lnTo>
                  <a:lnTo>
                    <a:pt x="204" y="372"/>
                  </a:lnTo>
                  <a:lnTo>
                    <a:pt x="202" y="372"/>
                  </a:lnTo>
                  <a:lnTo>
                    <a:pt x="200" y="372"/>
                  </a:lnTo>
                  <a:lnTo>
                    <a:pt x="198" y="372"/>
                  </a:lnTo>
                  <a:lnTo>
                    <a:pt x="192" y="374"/>
                  </a:lnTo>
                  <a:lnTo>
                    <a:pt x="186" y="378"/>
                  </a:lnTo>
                  <a:lnTo>
                    <a:pt x="186" y="380"/>
                  </a:lnTo>
                  <a:lnTo>
                    <a:pt x="184" y="384"/>
                  </a:lnTo>
                  <a:lnTo>
                    <a:pt x="178" y="384"/>
                  </a:lnTo>
                  <a:lnTo>
                    <a:pt x="170" y="380"/>
                  </a:lnTo>
                  <a:lnTo>
                    <a:pt x="164" y="386"/>
                  </a:lnTo>
                  <a:lnTo>
                    <a:pt x="158" y="386"/>
                  </a:lnTo>
                  <a:lnTo>
                    <a:pt x="160" y="392"/>
                  </a:lnTo>
                  <a:lnTo>
                    <a:pt x="158" y="394"/>
                  </a:lnTo>
                  <a:lnTo>
                    <a:pt x="156" y="396"/>
                  </a:lnTo>
                  <a:lnTo>
                    <a:pt x="154" y="396"/>
                  </a:lnTo>
                  <a:lnTo>
                    <a:pt x="148" y="396"/>
                  </a:lnTo>
                  <a:lnTo>
                    <a:pt x="146" y="396"/>
                  </a:lnTo>
                  <a:lnTo>
                    <a:pt x="146" y="398"/>
                  </a:lnTo>
                  <a:lnTo>
                    <a:pt x="144" y="400"/>
                  </a:lnTo>
                  <a:lnTo>
                    <a:pt x="140" y="402"/>
                  </a:lnTo>
                  <a:lnTo>
                    <a:pt x="138" y="400"/>
                  </a:lnTo>
                  <a:lnTo>
                    <a:pt x="136" y="398"/>
                  </a:lnTo>
                  <a:lnTo>
                    <a:pt x="136" y="396"/>
                  </a:lnTo>
                  <a:lnTo>
                    <a:pt x="136" y="394"/>
                  </a:lnTo>
                  <a:lnTo>
                    <a:pt x="134" y="394"/>
                  </a:lnTo>
                  <a:lnTo>
                    <a:pt x="132" y="394"/>
                  </a:lnTo>
                  <a:lnTo>
                    <a:pt x="126" y="392"/>
                  </a:lnTo>
                  <a:lnTo>
                    <a:pt x="118" y="390"/>
                  </a:lnTo>
                  <a:lnTo>
                    <a:pt x="108" y="380"/>
                  </a:lnTo>
                  <a:lnTo>
                    <a:pt x="104" y="376"/>
                  </a:lnTo>
                  <a:lnTo>
                    <a:pt x="102" y="374"/>
                  </a:lnTo>
                  <a:lnTo>
                    <a:pt x="98" y="372"/>
                  </a:lnTo>
                  <a:lnTo>
                    <a:pt x="96" y="372"/>
                  </a:lnTo>
                  <a:lnTo>
                    <a:pt x="94" y="370"/>
                  </a:lnTo>
                  <a:lnTo>
                    <a:pt x="96" y="368"/>
                  </a:lnTo>
                  <a:lnTo>
                    <a:pt x="96" y="366"/>
                  </a:lnTo>
                  <a:lnTo>
                    <a:pt x="92" y="364"/>
                  </a:lnTo>
                  <a:lnTo>
                    <a:pt x="90" y="364"/>
                  </a:lnTo>
                  <a:lnTo>
                    <a:pt x="90" y="362"/>
                  </a:lnTo>
                  <a:lnTo>
                    <a:pt x="90" y="352"/>
                  </a:lnTo>
                  <a:lnTo>
                    <a:pt x="92" y="344"/>
                  </a:lnTo>
                  <a:lnTo>
                    <a:pt x="90" y="342"/>
                  </a:lnTo>
                  <a:lnTo>
                    <a:pt x="88" y="340"/>
                  </a:lnTo>
                  <a:lnTo>
                    <a:pt x="84" y="338"/>
                  </a:lnTo>
                  <a:lnTo>
                    <a:pt x="82" y="336"/>
                  </a:lnTo>
                  <a:lnTo>
                    <a:pt x="82" y="334"/>
                  </a:lnTo>
                  <a:lnTo>
                    <a:pt x="82" y="332"/>
                  </a:lnTo>
                  <a:lnTo>
                    <a:pt x="80" y="326"/>
                  </a:lnTo>
                  <a:lnTo>
                    <a:pt x="80" y="324"/>
                  </a:lnTo>
                  <a:lnTo>
                    <a:pt x="78" y="318"/>
                  </a:lnTo>
                  <a:lnTo>
                    <a:pt x="78" y="310"/>
                  </a:lnTo>
                  <a:lnTo>
                    <a:pt x="78" y="308"/>
                  </a:lnTo>
                  <a:lnTo>
                    <a:pt x="78" y="300"/>
                  </a:lnTo>
                  <a:lnTo>
                    <a:pt x="80" y="298"/>
                  </a:lnTo>
                  <a:lnTo>
                    <a:pt x="80" y="292"/>
                  </a:lnTo>
                  <a:lnTo>
                    <a:pt x="82" y="288"/>
                  </a:lnTo>
                  <a:lnTo>
                    <a:pt x="84" y="286"/>
                  </a:lnTo>
                  <a:lnTo>
                    <a:pt x="84" y="284"/>
                  </a:lnTo>
                  <a:lnTo>
                    <a:pt x="86" y="282"/>
                  </a:lnTo>
                  <a:lnTo>
                    <a:pt x="86" y="276"/>
                  </a:lnTo>
                  <a:lnTo>
                    <a:pt x="84" y="274"/>
                  </a:lnTo>
                  <a:lnTo>
                    <a:pt x="88" y="268"/>
                  </a:lnTo>
                  <a:lnTo>
                    <a:pt x="94" y="262"/>
                  </a:lnTo>
                  <a:lnTo>
                    <a:pt x="98" y="254"/>
                  </a:lnTo>
                  <a:lnTo>
                    <a:pt x="98" y="248"/>
                  </a:lnTo>
                  <a:lnTo>
                    <a:pt x="92" y="238"/>
                  </a:lnTo>
                  <a:lnTo>
                    <a:pt x="90" y="238"/>
                  </a:lnTo>
                  <a:lnTo>
                    <a:pt x="90" y="236"/>
                  </a:lnTo>
                  <a:lnTo>
                    <a:pt x="90" y="232"/>
                  </a:lnTo>
                  <a:lnTo>
                    <a:pt x="94" y="226"/>
                  </a:lnTo>
                  <a:lnTo>
                    <a:pt x="90" y="224"/>
                  </a:lnTo>
                  <a:lnTo>
                    <a:pt x="86" y="224"/>
                  </a:lnTo>
                  <a:lnTo>
                    <a:pt x="78" y="220"/>
                  </a:lnTo>
                  <a:lnTo>
                    <a:pt x="74" y="222"/>
                  </a:lnTo>
                  <a:lnTo>
                    <a:pt x="68" y="220"/>
                  </a:lnTo>
                  <a:lnTo>
                    <a:pt x="66" y="216"/>
                  </a:lnTo>
                  <a:lnTo>
                    <a:pt x="68" y="216"/>
                  </a:lnTo>
                  <a:lnTo>
                    <a:pt x="70" y="214"/>
                  </a:lnTo>
                  <a:lnTo>
                    <a:pt x="72" y="214"/>
                  </a:lnTo>
                  <a:lnTo>
                    <a:pt x="74" y="208"/>
                  </a:lnTo>
                  <a:lnTo>
                    <a:pt x="76" y="202"/>
                  </a:lnTo>
                  <a:lnTo>
                    <a:pt x="76" y="192"/>
                  </a:lnTo>
                  <a:lnTo>
                    <a:pt x="74" y="188"/>
                  </a:lnTo>
                  <a:lnTo>
                    <a:pt x="70" y="18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9" name="Freeform 1941"/>
            <p:cNvSpPr>
              <a:spLocks/>
            </p:cNvSpPr>
            <p:nvPr/>
          </p:nvSpPr>
          <p:spPr bwMode="auto">
            <a:xfrm>
              <a:off x="4717838" y="1969570"/>
              <a:ext cx="292289" cy="305575"/>
            </a:xfrm>
            <a:custGeom>
              <a:avLst/>
              <a:gdLst/>
              <a:ahLst/>
              <a:cxnLst>
                <a:cxn ang="0">
                  <a:pos x="210" y="156"/>
                </a:cxn>
                <a:cxn ang="0">
                  <a:pos x="212" y="168"/>
                </a:cxn>
                <a:cxn ang="0">
                  <a:pos x="204" y="184"/>
                </a:cxn>
                <a:cxn ang="0">
                  <a:pos x="198" y="196"/>
                </a:cxn>
                <a:cxn ang="0">
                  <a:pos x="184" y="202"/>
                </a:cxn>
                <a:cxn ang="0">
                  <a:pos x="180" y="194"/>
                </a:cxn>
                <a:cxn ang="0">
                  <a:pos x="168" y="190"/>
                </a:cxn>
                <a:cxn ang="0">
                  <a:pos x="128" y="198"/>
                </a:cxn>
                <a:cxn ang="0">
                  <a:pos x="114" y="190"/>
                </a:cxn>
                <a:cxn ang="0">
                  <a:pos x="106" y="206"/>
                </a:cxn>
                <a:cxn ang="0">
                  <a:pos x="116" y="228"/>
                </a:cxn>
                <a:cxn ang="0">
                  <a:pos x="106" y="228"/>
                </a:cxn>
                <a:cxn ang="0">
                  <a:pos x="88" y="224"/>
                </a:cxn>
                <a:cxn ang="0">
                  <a:pos x="78" y="218"/>
                </a:cxn>
                <a:cxn ang="0">
                  <a:pos x="66" y="204"/>
                </a:cxn>
                <a:cxn ang="0">
                  <a:pos x="48" y="176"/>
                </a:cxn>
                <a:cxn ang="0">
                  <a:pos x="46" y="162"/>
                </a:cxn>
                <a:cxn ang="0">
                  <a:pos x="42" y="150"/>
                </a:cxn>
                <a:cxn ang="0">
                  <a:pos x="30" y="146"/>
                </a:cxn>
                <a:cxn ang="0">
                  <a:pos x="24" y="142"/>
                </a:cxn>
                <a:cxn ang="0">
                  <a:pos x="16" y="132"/>
                </a:cxn>
                <a:cxn ang="0">
                  <a:pos x="10" y="122"/>
                </a:cxn>
                <a:cxn ang="0">
                  <a:pos x="2" y="112"/>
                </a:cxn>
                <a:cxn ang="0">
                  <a:pos x="4" y="98"/>
                </a:cxn>
                <a:cxn ang="0">
                  <a:pos x="10" y="84"/>
                </a:cxn>
                <a:cxn ang="0">
                  <a:pos x="8" y="68"/>
                </a:cxn>
                <a:cxn ang="0">
                  <a:pos x="20" y="56"/>
                </a:cxn>
                <a:cxn ang="0">
                  <a:pos x="34" y="56"/>
                </a:cxn>
                <a:cxn ang="0">
                  <a:pos x="42" y="46"/>
                </a:cxn>
                <a:cxn ang="0">
                  <a:pos x="46" y="44"/>
                </a:cxn>
                <a:cxn ang="0">
                  <a:pos x="40" y="36"/>
                </a:cxn>
                <a:cxn ang="0">
                  <a:pos x="48" y="26"/>
                </a:cxn>
                <a:cxn ang="0">
                  <a:pos x="56" y="2"/>
                </a:cxn>
                <a:cxn ang="0">
                  <a:pos x="80" y="4"/>
                </a:cxn>
                <a:cxn ang="0">
                  <a:pos x="116" y="14"/>
                </a:cxn>
                <a:cxn ang="0">
                  <a:pos x="114" y="8"/>
                </a:cxn>
                <a:cxn ang="0">
                  <a:pos x="130" y="2"/>
                </a:cxn>
                <a:cxn ang="0">
                  <a:pos x="146" y="2"/>
                </a:cxn>
                <a:cxn ang="0">
                  <a:pos x="158" y="6"/>
                </a:cxn>
                <a:cxn ang="0">
                  <a:pos x="172" y="8"/>
                </a:cxn>
                <a:cxn ang="0">
                  <a:pos x="158" y="6"/>
                </a:cxn>
                <a:cxn ang="0">
                  <a:pos x="166" y="0"/>
                </a:cxn>
                <a:cxn ang="0">
                  <a:pos x="184" y="2"/>
                </a:cxn>
                <a:cxn ang="0">
                  <a:pos x="216" y="10"/>
                </a:cxn>
                <a:cxn ang="0">
                  <a:pos x="216" y="26"/>
                </a:cxn>
                <a:cxn ang="0">
                  <a:pos x="210" y="36"/>
                </a:cxn>
                <a:cxn ang="0">
                  <a:pos x="202" y="44"/>
                </a:cxn>
                <a:cxn ang="0">
                  <a:pos x="194" y="54"/>
                </a:cxn>
                <a:cxn ang="0">
                  <a:pos x="196" y="72"/>
                </a:cxn>
                <a:cxn ang="0">
                  <a:pos x="194" y="82"/>
                </a:cxn>
                <a:cxn ang="0">
                  <a:pos x="200" y="100"/>
                </a:cxn>
                <a:cxn ang="0">
                  <a:pos x="212" y="122"/>
                </a:cxn>
                <a:cxn ang="0">
                  <a:pos x="220" y="140"/>
                </a:cxn>
              </a:cxnLst>
              <a:rect l="0" t="0" r="r" b="b"/>
              <a:pathLst>
                <a:path w="220" h="230">
                  <a:moveTo>
                    <a:pt x="214" y="148"/>
                  </a:moveTo>
                  <a:lnTo>
                    <a:pt x="214" y="150"/>
                  </a:lnTo>
                  <a:lnTo>
                    <a:pt x="210" y="154"/>
                  </a:lnTo>
                  <a:lnTo>
                    <a:pt x="210" y="156"/>
                  </a:lnTo>
                  <a:lnTo>
                    <a:pt x="210" y="158"/>
                  </a:lnTo>
                  <a:lnTo>
                    <a:pt x="210" y="160"/>
                  </a:lnTo>
                  <a:lnTo>
                    <a:pt x="212" y="162"/>
                  </a:lnTo>
                  <a:lnTo>
                    <a:pt x="212" y="168"/>
                  </a:lnTo>
                  <a:lnTo>
                    <a:pt x="210" y="176"/>
                  </a:lnTo>
                  <a:lnTo>
                    <a:pt x="210" y="178"/>
                  </a:lnTo>
                  <a:lnTo>
                    <a:pt x="208" y="180"/>
                  </a:lnTo>
                  <a:lnTo>
                    <a:pt x="204" y="184"/>
                  </a:lnTo>
                  <a:lnTo>
                    <a:pt x="204" y="186"/>
                  </a:lnTo>
                  <a:lnTo>
                    <a:pt x="202" y="192"/>
                  </a:lnTo>
                  <a:lnTo>
                    <a:pt x="200" y="192"/>
                  </a:lnTo>
                  <a:lnTo>
                    <a:pt x="198" y="196"/>
                  </a:lnTo>
                  <a:lnTo>
                    <a:pt x="194" y="200"/>
                  </a:lnTo>
                  <a:lnTo>
                    <a:pt x="188" y="202"/>
                  </a:lnTo>
                  <a:lnTo>
                    <a:pt x="186" y="202"/>
                  </a:lnTo>
                  <a:lnTo>
                    <a:pt x="184" y="202"/>
                  </a:lnTo>
                  <a:lnTo>
                    <a:pt x="182" y="198"/>
                  </a:lnTo>
                  <a:lnTo>
                    <a:pt x="184" y="198"/>
                  </a:lnTo>
                  <a:lnTo>
                    <a:pt x="184" y="196"/>
                  </a:lnTo>
                  <a:lnTo>
                    <a:pt x="180" y="194"/>
                  </a:lnTo>
                  <a:lnTo>
                    <a:pt x="178" y="196"/>
                  </a:lnTo>
                  <a:lnTo>
                    <a:pt x="176" y="196"/>
                  </a:lnTo>
                  <a:lnTo>
                    <a:pt x="174" y="196"/>
                  </a:lnTo>
                  <a:lnTo>
                    <a:pt x="168" y="190"/>
                  </a:lnTo>
                  <a:lnTo>
                    <a:pt x="162" y="190"/>
                  </a:lnTo>
                  <a:lnTo>
                    <a:pt x="160" y="192"/>
                  </a:lnTo>
                  <a:lnTo>
                    <a:pt x="140" y="196"/>
                  </a:lnTo>
                  <a:lnTo>
                    <a:pt x="128" y="198"/>
                  </a:lnTo>
                  <a:lnTo>
                    <a:pt x="120" y="194"/>
                  </a:lnTo>
                  <a:lnTo>
                    <a:pt x="118" y="192"/>
                  </a:lnTo>
                  <a:lnTo>
                    <a:pt x="116" y="192"/>
                  </a:lnTo>
                  <a:lnTo>
                    <a:pt x="114" y="190"/>
                  </a:lnTo>
                  <a:lnTo>
                    <a:pt x="114" y="192"/>
                  </a:lnTo>
                  <a:lnTo>
                    <a:pt x="112" y="196"/>
                  </a:lnTo>
                  <a:lnTo>
                    <a:pt x="108" y="200"/>
                  </a:lnTo>
                  <a:lnTo>
                    <a:pt x="106" y="206"/>
                  </a:lnTo>
                  <a:lnTo>
                    <a:pt x="110" y="208"/>
                  </a:lnTo>
                  <a:lnTo>
                    <a:pt x="118" y="218"/>
                  </a:lnTo>
                  <a:lnTo>
                    <a:pt x="118" y="226"/>
                  </a:lnTo>
                  <a:lnTo>
                    <a:pt x="116" y="228"/>
                  </a:lnTo>
                  <a:lnTo>
                    <a:pt x="114" y="230"/>
                  </a:lnTo>
                  <a:lnTo>
                    <a:pt x="112" y="230"/>
                  </a:lnTo>
                  <a:lnTo>
                    <a:pt x="110" y="228"/>
                  </a:lnTo>
                  <a:lnTo>
                    <a:pt x="106" y="228"/>
                  </a:lnTo>
                  <a:lnTo>
                    <a:pt x="102" y="226"/>
                  </a:lnTo>
                  <a:lnTo>
                    <a:pt x="96" y="224"/>
                  </a:lnTo>
                  <a:lnTo>
                    <a:pt x="90" y="224"/>
                  </a:lnTo>
                  <a:lnTo>
                    <a:pt x="88" y="224"/>
                  </a:lnTo>
                  <a:lnTo>
                    <a:pt x="86" y="222"/>
                  </a:lnTo>
                  <a:lnTo>
                    <a:pt x="84" y="218"/>
                  </a:lnTo>
                  <a:lnTo>
                    <a:pt x="82" y="218"/>
                  </a:lnTo>
                  <a:lnTo>
                    <a:pt x="78" y="218"/>
                  </a:lnTo>
                  <a:lnTo>
                    <a:pt x="76" y="218"/>
                  </a:lnTo>
                  <a:lnTo>
                    <a:pt x="70" y="212"/>
                  </a:lnTo>
                  <a:lnTo>
                    <a:pt x="68" y="210"/>
                  </a:lnTo>
                  <a:lnTo>
                    <a:pt x="66" y="204"/>
                  </a:lnTo>
                  <a:lnTo>
                    <a:pt x="64" y="198"/>
                  </a:lnTo>
                  <a:lnTo>
                    <a:pt x="62" y="194"/>
                  </a:lnTo>
                  <a:lnTo>
                    <a:pt x="52" y="180"/>
                  </a:lnTo>
                  <a:lnTo>
                    <a:pt x="48" y="176"/>
                  </a:lnTo>
                  <a:lnTo>
                    <a:pt x="48" y="172"/>
                  </a:lnTo>
                  <a:lnTo>
                    <a:pt x="48" y="166"/>
                  </a:lnTo>
                  <a:lnTo>
                    <a:pt x="48" y="164"/>
                  </a:lnTo>
                  <a:lnTo>
                    <a:pt x="46" y="162"/>
                  </a:lnTo>
                  <a:lnTo>
                    <a:pt x="44" y="160"/>
                  </a:lnTo>
                  <a:lnTo>
                    <a:pt x="44" y="158"/>
                  </a:lnTo>
                  <a:lnTo>
                    <a:pt x="42" y="156"/>
                  </a:lnTo>
                  <a:lnTo>
                    <a:pt x="42" y="150"/>
                  </a:lnTo>
                  <a:lnTo>
                    <a:pt x="44" y="148"/>
                  </a:lnTo>
                  <a:lnTo>
                    <a:pt x="42" y="144"/>
                  </a:lnTo>
                  <a:lnTo>
                    <a:pt x="34" y="146"/>
                  </a:lnTo>
                  <a:lnTo>
                    <a:pt x="30" y="146"/>
                  </a:lnTo>
                  <a:lnTo>
                    <a:pt x="26" y="146"/>
                  </a:lnTo>
                  <a:lnTo>
                    <a:pt x="24" y="146"/>
                  </a:lnTo>
                  <a:lnTo>
                    <a:pt x="22" y="144"/>
                  </a:lnTo>
                  <a:lnTo>
                    <a:pt x="24" y="142"/>
                  </a:lnTo>
                  <a:lnTo>
                    <a:pt x="22" y="138"/>
                  </a:lnTo>
                  <a:lnTo>
                    <a:pt x="22" y="136"/>
                  </a:lnTo>
                  <a:lnTo>
                    <a:pt x="18" y="132"/>
                  </a:lnTo>
                  <a:lnTo>
                    <a:pt x="16" y="132"/>
                  </a:lnTo>
                  <a:lnTo>
                    <a:pt x="14" y="130"/>
                  </a:lnTo>
                  <a:lnTo>
                    <a:pt x="12" y="128"/>
                  </a:lnTo>
                  <a:lnTo>
                    <a:pt x="12" y="124"/>
                  </a:lnTo>
                  <a:lnTo>
                    <a:pt x="10" y="122"/>
                  </a:lnTo>
                  <a:lnTo>
                    <a:pt x="8" y="118"/>
                  </a:lnTo>
                  <a:lnTo>
                    <a:pt x="6" y="116"/>
                  </a:lnTo>
                  <a:lnTo>
                    <a:pt x="6" y="114"/>
                  </a:lnTo>
                  <a:lnTo>
                    <a:pt x="2" y="112"/>
                  </a:lnTo>
                  <a:lnTo>
                    <a:pt x="2" y="110"/>
                  </a:lnTo>
                  <a:lnTo>
                    <a:pt x="0" y="102"/>
                  </a:lnTo>
                  <a:lnTo>
                    <a:pt x="2" y="100"/>
                  </a:lnTo>
                  <a:lnTo>
                    <a:pt x="4" y="98"/>
                  </a:lnTo>
                  <a:lnTo>
                    <a:pt x="6" y="96"/>
                  </a:lnTo>
                  <a:lnTo>
                    <a:pt x="6" y="94"/>
                  </a:lnTo>
                  <a:lnTo>
                    <a:pt x="6" y="92"/>
                  </a:lnTo>
                  <a:lnTo>
                    <a:pt x="10" y="84"/>
                  </a:lnTo>
                  <a:lnTo>
                    <a:pt x="12" y="76"/>
                  </a:lnTo>
                  <a:lnTo>
                    <a:pt x="12" y="74"/>
                  </a:lnTo>
                  <a:lnTo>
                    <a:pt x="10" y="70"/>
                  </a:lnTo>
                  <a:lnTo>
                    <a:pt x="8" y="68"/>
                  </a:lnTo>
                  <a:lnTo>
                    <a:pt x="8" y="66"/>
                  </a:lnTo>
                  <a:lnTo>
                    <a:pt x="8" y="64"/>
                  </a:lnTo>
                  <a:lnTo>
                    <a:pt x="12" y="60"/>
                  </a:lnTo>
                  <a:lnTo>
                    <a:pt x="20" y="56"/>
                  </a:lnTo>
                  <a:lnTo>
                    <a:pt x="22" y="56"/>
                  </a:lnTo>
                  <a:lnTo>
                    <a:pt x="24" y="56"/>
                  </a:lnTo>
                  <a:lnTo>
                    <a:pt x="32" y="56"/>
                  </a:lnTo>
                  <a:lnTo>
                    <a:pt x="34" y="56"/>
                  </a:lnTo>
                  <a:lnTo>
                    <a:pt x="40" y="54"/>
                  </a:lnTo>
                  <a:lnTo>
                    <a:pt x="40" y="52"/>
                  </a:lnTo>
                  <a:lnTo>
                    <a:pt x="42" y="48"/>
                  </a:lnTo>
                  <a:lnTo>
                    <a:pt x="42" y="46"/>
                  </a:lnTo>
                  <a:lnTo>
                    <a:pt x="44" y="46"/>
                  </a:lnTo>
                  <a:lnTo>
                    <a:pt x="44" y="48"/>
                  </a:lnTo>
                  <a:lnTo>
                    <a:pt x="46" y="46"/>
                  </a:lnTo>
                  <a:lnTo>
                    <a:pt x="46" y="44"/>
                  </a:lnTo>
                  <a:lnTo>
                    <a:pt x="44" y="42"/>
                  </a:lnTo>
                  <a:lnTo>
                    <a:pt x="42" y="44"/>
                  </a:lnTo>
                  <a:lnTo>
                    <a:pt x="40" y="40"/>
                  </a:lnTo>
                  <a:lnTo>
                    <a:pt x="40" y="36"/>
                  </a:lnTo>
                  <a:lnTo>
                    <a:pt x="42" y="34"/>
                  </a:lnTo>
                  <a:lnTo>
                    <a:pt x="44" y="30"/>
                  </a:lnTo>
                  <a:lnTo>
                    <a:pt x="48" y="28"/>
                  </a:lnTo>
                  <a:lnTo>
                    <a:pt x="48" y="26"/>
                  </a:lnTo>
                  <a:lnTo>
                    <a:pt x="48" y="18"/>
                  </a:lnTo>
                  <a:lnTo>
                    <a:pt x="48" y="14"/>
                  </a:lnTo>
                  <a:lnTo>
                    <a:pt x="52" y="4"/>
                  </a:lnTo>
                  <a:lnTo>
                    <a:pt x="56" y="2"/>
                  </a:lnTo>
                  <a:lnTo>
                    <a:pt x="58" y="2"/>
                  </a:lnTo>
                  <a:lnTo>
                    <a:pt x="72" y="2"/>
                  </a:lnTo>
                  <a:lnTo>
                    <a:pt x="78" y="4"/>
                  </a:lnTo>
                  <a:lnTo>
                    <a:pt x="80" y="4"/>
                  </a:lnTo>
                  <a:lnTo>
                    <a:pt x="84" y="4"/>
                  </a:lnTo>
                  <a:lnTo>
                    <a:pt x="96" y="6"/>
                  </a:lnTo>
                  <a:lnTo>
                    <a:pt x="110" y="10"/>
                  </a:lnTo>
                  <a:lnTo>
                    <a:pt x="116" y="14"/>
                  </a:lnTo>
                  <a:lnTo>
                    <a:pt x="116" y="18"/>
                  </a:lnTo>
                  <a:lnTo>
                    <a:pt x="118" y="16"/>
                  </a:lnTo>
                  <a:lnTo>
                    <a:pt x="116" y="14"/>
                  </a:lnTo>
                  <a:lnTo>
                    <a:pt x="114" y="8"/>
                  </a:lnTo>
                  <a:lnTo>
                    <a:pt x="118" y="4"/>
                  </a:lnTo>
                  <a:lnTo>
                    <a:pt x="120" y="2"/>
                  </a:lnTo>
                  <a:lnTo>
                    <a:pt x="122" y="2"/>
                  </a:lnTo>
                  <a:lnTo>
                    <a:pt x="130" y="2"/>
                  </a:lnTo>
                  <a:lnTo>
                    <a:pt x="134" y="2"/>
                  </a:lnTo>
                  <a:lnTo>
                    <a:pt x="142" y="2"/>
                  </a:lnTo>
                  <a:lnTo>
                    <a:pt x="144" y="2"/>
                  </a:lnTo>
                  <a:lnTo>
                    <a:pt x="146" y="2"/>
                  </a:lnTo>
                  <a:lnTo>
                    <a:pt x="150" y="4"/>
                  </a:lnTo>
                  <a:lnTo>
                    <a:pt x="152" y="6"/>
                  </a:lnTo>
                  <a:lnTo>
                    <a:pt x="154" y="6"/>
                  </a:lnTo>
                  <a:lnTo>
                    <a:pt x="158" y="6"/>
                  </a:lnTo>
                  <a:lnTo>
                    <a:pt x="158" y="10"/>
                  </a:lnTo>
                  <a:lnTo>
                    <a:pt x="164" y="8"/>
                  </a:lnTo>
                  <a:lnTo>
                    <a:pt x="166" y="8"/>
                  </a:lnTo>
                  <a:lnTo>
                    <a:pt x="172" y="8"/>
                  </a:lnTo>
                  <a:lnTo>
                    <a:pt x="170" y="6"/>
                  </a:lnTo>
                  <a:lnTo>
                    <a:pt x="166" y="8"/>
                  </a:lnTo>
                  <a:lnTo>
                    <a:pt x="164" y="8"/>
                  </a:lnTo>
                  <a:lnTo>
                    <a:pt x="158" y="6"/>
                  </a:lnTo>
                  <a:lnTo>
                    <a:pt x="156" y="4"/>
                  </a:lnTo>
                  <a:lnTo>
                    <a:pt x="156" y="2"/>
                  </a:lnTo>
                  <a:lnTo>
                    <a:pt x="162" y="0"/>
                  </a:lnTo>
                  <a:lnTo>
                    <a:pt x="166" y="0"/>
                  </a:lnTo>
                  <a:lnTo>
                    <a:pt x="170" y="0"/>
                  </a:lnTo>
                  <a:lnTo>
                    <a:pt x="176" y="0"/>
                  </a:lnTo>
                  <a:lnTo>
                    <a:pt x="180" y="2"/>
                  </a:lnTo>
                  <a:lnTo>
                    <a:pt x="184" y="2"/>
                  </a:lnTo>
                  <a:lnTo>
                    <a:pt x="200" y="4"/>
                  </a:lnTo>
                  <a:lnTo>
                    <a:pt x="202" y="6"/>
                  </a:lnTo>
                  <a:lnTo>
                    <a:pt x="208" y="6"/>
                  </a:lnTo>
                  <a:lnTo>
                    <a:pt x="216" y="10"/>
                  </a:lnTo>
                  <a:lnTo>
                    <a:pt x="218" y="14"/>
                  </a:lnTo>
                  <a:lnTo>
                    <a:pt x="216" y="18"/>
                  </a:lnTo>
                  <a:lnTo>
                    <a:pt x="216" y="22"/>
                  </a:lnTo>
                  <a:lnTo>
                    <a:pt x="216" y="26"/>
                  </a:lnTo>
                  <a:lnTo>
                    <a:pt x="214" y="28"/>
                  </a:lnTo>
                  <a:lnTo>
                    <a:pt x="214" y="30"/>
                  </a:lnTo>
                  <a:lnTo>
                    <a:pt x="212" y="32"/>
                  </a:lnTo>
                  <a:lnTo>
                    <a:pt x="210" y="36"/>
                  </a:lnTo>
                  <a:lnTo>
                    <a:pt x="208" y="36"/>
                  </a:lnTo>
                  <a:lnTo>
                    <a:pt x="206" y="38"/>
                  </a:lnTo>
                  <a:lnTo>
                    <a:pt x="204" y="40"/>
                  </a:lnTo>
                  <a:lnTo>
                    <a:pt x="202" y="44"/>
                  </a:lnTo>
                  <a:lnTo>
                    <a:pt x="200" y="46"/>
                  </a:lnTo>
                  <a:lnTo>
                    <a:pt x="198" y="48"/>
                  </a:lnTo>
                  <a:lnTo>
                    <a:pt x="196" y="50"/>
                  </a:lnTo>
                  <a:lnTo>
                    <a:pt x="194" y="54"/>
                  </a:lnTo>
                  <a:lnTo>
                    <a:pt x="194" y="62"/>
                  </a:lnTo>
                  <a:lnTo>
                    <a:pt x="194" y="68"/>
                  </a:lnTo>
                  <a:lnTo>
                    <a:pt x="194" y="70"/>
                  </a:lnTo>
                  <a:lnTo>
                    <a:pt x="196" y="72"/>
                  </a:lnTo>
                  <a:lnTo>
                    <a:pt x="196" y="76"/>
                  </a:lnTo>
                  <a:lnTo>
                    <a:pt x="196" y="78"/>
                  </a:lnTo>
                  <a:lnTo>
                    <a:pt x="196" y="80"/>
                  </a:lnTo>
                  <a:lnTo>
                    <a:pt x="194" y="82"/>
                  </a:lnTo>
                  <a:lnTo>
                    <a:pt x="196" y="88"/>
                  </a:lnTo>
                  <a:lnTo>
                    <a:pt x="196" y="90"/>
                  </a:lnTo>
                  <a:lnTo>
                    <a:pt x="198" y="96"/>
                  </a:lnTo>
                  <a:lnTo>
                    <a:pt x="200" y="100"/>
                  </a:lnTo>
                  <a:lnTo>
                    <a:pt x="200" y="106"/>
                  </a:lnTo>
                  <a:lnTo>
                    <a:pt x="204" y="114"/>
                  </a:lnTo>
                  <a:lnTo>
                    <a:pt x="210" y="120"/>
                  </a:lnTo>
                  <a:lnTo>
                    <a:pt x="212" y="122"/>
                  </a:lnTo>
                  <a:lnTo>
                    <a:pt x="214" y="122"/>
                  </a:lnTo>
                  <a:lnTo>
                    <a:pt x="220" y="130"/>
                  </a:lnTo>
                  <a:lnTo>
                    <a:pt x="220" y="132"/>
                  </a:lnTo>
                  <a:lnTo>
                    <a:pt x="220" y="140"/>
                  </a:lnTo>
                  <a:lnTo>
                    <a:pt x="216" y="148"/>
                  </a:lnTo>
                  <a:lnTo>
                    <a:pt x="214" y="1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0" name="Freeform 1942"/>
            <p:cNvSpPr>
              <a:spLocks/>
            </p:cNvSpPr>
            <p:nvPr/>
          </p:nvSpPr>
          <p:spPr bwMode="auto">
            <a:xfrm>
              <a:off x="4967613" y="1988170"/>
              <a:ext cx="209917" cy="265718"/>
            </a:xfrm>
            <a:custGeom>
              <a:avLst/>
              <a:gdLst/>
              <a:ahLst/>
              <a:cxnLst>
                <a:cxn ang="0">
                  <a:pos x="10" y="182"/>
                </a:cxn>
                <a:cxn ang="0">
                  <a:pos x="16" y="172"/>
                </a:cxn>
                <a:cxn ang="0">
                  <a:pos x="22" y="164"/>
                </a:cxn>
                <a:cxn ang="0">
                  <a:pos x="24" y="148"/>
                </a:cxn>
                <a:cxn ang="0">
                  <a:pos x="22" y="142"/>
                </a:cxn>
                <a:cxn ang="0">
                  <a:pos x="26" y="134"/>
                </a:cxn>
                <a:cxn ang="0">
                  <a:pos x="32" y="118"/>
                </a:cxn>
                <a:cxn ang="0">
                  <a:pos x="24" y="108"/>
                </a:cxn>
                <a:cxn ang="0">
                  <a:pos x="12" y="92"/>
                </a:cxn>
                <a:cxn ang="0">
                  <a:pos x="8" y="76"/>
                </a:cxn>
                <a:cxn ang="0">
                  <a:pos x="8" y="66"/>
                </a:cxn>
                <a:cxn ang="0">
                  <a:pos x="8" y="58"/>
                </a:cxn>
                <a:cxn ang="0">
                  <a:pos x="6" y="48"/>
                </a:cxn>
                <a:cxn ang="0">
                  <a:pos x="10" y="34"/>
                </a:cxn>
                <a:cxn ang="0">
                  <a:pos x="16" y="26"/>
                </a:cxn>
                <a:cxn ang="0">
                  <a:pos x="22" y="22"/>
                </a:cxn>
                <a:cxn ang="0">
                  <a:pos x="28" y="16"/>
                </a:cxn>
                <a:cxn ang="0">
                  <a:pos x="30" y="4"/>
                </a:cxn>
                <a:cxn ang="0">
                  <a:pos x="38" y="0"/>
                </a:cxn>
                <a:cxn ang="0">
                  <a:pos x="56" y="6"/>
                </a:cxn>
                <a:cxn ang="0">
                  <a:pos x="68" y="12"/>
                </a:cxn>
                <a:cxn ang="0">
                  <a:pos x="86" y="14"/>
                </a:cxn>
                <a:cxn ang="0">
                  <a:pos x="96" y="20"/>
                </a:cxn>
                <a:cxn ang="0">
                  <a:pos x="106" y="32"/>
                </a:cxn>
                <a:cxn ang="0">
                  <a:pos x="120" y="42"/>
                </a:cxn>
                <a:cxn ang="0">
                  <a:pos x="138" y="56"/>
                </a:cxn>
                <a:cxn ang="0">
                  <a:pos x="140" y="62"/>
                </a:cxn>
                <a:cxn ang="0">
                  <a:pos x="142" y="72"/>
                </a:cxn>
                <a:cxn ang="0">
                  <a:pos x="138" y="76"/>
                </a:cxn>
                <a:cxn ang="0">
                  <a:pos x="144" y="72"/>
                </a:cxn>
                <a:cxn ang="0">
                  <a:pos x="144" y="66"/>
                </a:cxn>
                <a:cxn ang="0">
                  <a:pos x="144" y="58"/>
                </a:cxn>
                <a:cxn ang="0">
                  <a:pos x="152" y="64"/>
                </a:cxn>
                <a:cxn ang="0">
                  <a:pos x="154" y="70"/>
                </a:cxn>
                <a:cxn ang="0">
                  <a:pos x="156" y="78"/>
                </a:cxn>
                <a:cxn ang="0">
                  <a:pos x="158" y="84"/>
                </a:cxn>
                <a:cxn ang="0">
                  <a:pos x="158" y="90"/>
                </a:cxn>
                <a:cxn ang="0">
                  <a:pos x="154" y="94"/>
                </a:cxn>
                <a:cxn ang="0">
                  <a:pos x="150" y="102"/>
                </a:cxn>
                <a:cxn ang="0">
                  <a:pos x="142" y="110"/>
                </a:cxn>
                <a:cxn ang="0">
                  <a:pos x="136" y="126"/>
                </a:cxn>
                <a:cxn ang="0">
                  <a:pos x="126" y="136"/>
                </a:cxn>
                <a:cxn ang="0">
                  <a:pos x="122" y="146"/>
                </a:cxn>
                <a:cxn ang="0">
                  <a:pos x="118" y="154"/>
                </a:cxn>
                <a:cxn ang="0">
                  <a:pos x="112" y="170"/>
                </a:cxn>
                <a:cxn ang="0">
                  <a:pos x="110" y="176"/>
                </a:cxn>
                <a:cxn ang="0">
                  <a:pos x="100" y="188"/>
                </a:cxn>
                <a:cxn ang="0">
                  <a:pos x="90" y="196"/>
                </a:cxn>
                <a:cxn ang="0">
                  <a:pos x="84" y="194"/>
                </a:cxn>
                <a:cxn ang="0">
                  <a:pos x="76" y="194"/>
                </a:cxn>
                <a:cxn ang="0">
                  <a:pos x="72" y="188"/>
                </a:cxn>
                <a:cxn ang="0">
                  <a:pos x="68" y="188"/>
                </a:cxn>
                <a:cxn ang="0">
                  <a:pos x="48" y="188"/>
                </a:cxn>
                <a:cxn ang="0">
                  <a:pos x="44" y="186"/>
                </a:cxn>
                <a:cxn ang="0">
                  <a:pos x="36" y="194"/>
                </a:cxn>
                <a:cxn ang="0">
                  <a:pos x="8" y="194"/>
                </a:cxn>
                <a:cxn ang="0">
                  <a:pos x="4" y="188"/>
                </a:cxn>
              </a:cxnLst>
              <a:rect l="0" t="0" r="r" b="b"/>
              <a:pathLst>
                <a:path w="158" h="200">
                  <a:moveTo>
                    <a:pt x="0" y="188"/>
                  </a:moveTo>
                  <a:lnTo>
                    <a:pt x="6" y="186"/>
                  </a:lnTo>
                  <a:lnTo>
                    <a:pt x="10" y="182"/>
                  </a:lnTo>
                  <a:lnTo>
                    <a:pt x="12" y="178"/>
                  </a:lnTo>
                  <a:lnTo>
                    <a:pt x="14" y="178"/>
                  </a:lnTo>
                  <a:lnTo>
                    <a:pt x="16" y="172"/>
                  </a:lnTo>
                  <a:lnTo>
                    <a:pt x="16" y="170"/>
                  </a:lnTo>
                  <a:lnTo>
                    <a:pt x="20" y="166"/>
                  </a:lnTo>
                  <a:lnTo>
                    <a:pt x="22" y="164"/>
                  </a:lnTo>
                  <a:lnTo>
                    <a:pt x="22" y="162"/>
                  </a:lnTo>
                  <a:lnTo>
                    <a:pt x="24" y="154"/>
                  </a:lnTo>
                  <a:lnTo>
                    <a:pt x="24" y="148"/>
                  </a:lnTo>
                  <a:lnTo>
                    <a:pt x="22" y="146"/>
                  </a:lnTo>
                  <a:lnTo>
                    <a:pt x="22" y="144"/>
                  </a:lnTo>
                  <a:lnTo>
                    <a:pt x="22" y="142"/>
                  </a:lnTo>
                  <a:lnTo>
                    <a:pt x="22" y="140"/>
                  </a:lnTo>
                  <a:lnTo>
                    <a:pt x="26" y="136"/>
                  </a:lnTo>
                  <a:lnTo>
                    <a:pt x="26" y="134"/>
                  </a:lnTo>
                  <a:lnTo>
                    <a:pt x="28" y="134"/>
                  </a:lnTo>
                  <a:lnTo>
                    <a:pt x="32" y="126"/>
                  </a:lnTo>
                  <a:lnTo>
                    <a:pt x="32" y="118"/>
                  </a:lnTo>
                  <a:lnTo>
                    <a:pt x="32" y="116"/>
                  </a:lnTo>
                  <a:lnTo>
                    <a:pt x="26" y="108"/>
                  </a:lnTo>
                  <a:lnTo>
                    <a:pt x="24" y="108"/>
                  </a:lnTo>
                  <a:lnTo>
                    <a:pt x="22" y="106"/>
                  </a:lnTo>
                  <a:lnTo>
                    <a:pt x="16" y="100"/>
                  </a:lnTo>
                  <a:lnTo>
                    <a:pt x="12" y="92"/>
                  </a:lnTo>
                  <a:lnTo>
                    <a:pt x="12" y="86"/>
                  </a:lnTo>
                  <a:lnTo>
                    <a:pt x="10" y="82"/>
                  </a:lnTo>
                  <a:lnTo>
                    <a:pt x="8" y="76"/>
                  </a:lnTo>
                  <a:lnTo>
                    <a:pt x="8" y="74"/>
                  </a:lnTo>
                  <a:lnTo>
                    <a:pt x="6" y="68"/>
                  </a:lnTo>
                  <a:lnTo>
                    <a:pt x="8" y="66"/>
                  </a:lnTo>
                  <a:lnTo>
                    <a:pt x="8" y="64"/>
                  </a:lnTo>
                  <a:lnTo>
                    <a:pt x="8" y="62"/>
                  </a:lnTo>
                  <a:lnTo>
                    <a:pt x="8" y="58"/>
                  </a:lnTo>
                  <a:lnTo>
                    <a:pt x="6" y="56"/>
                  </a:lnTo>
                  <a:lnTo>
                    <a:pt x="6" y="54"/>
                  </a:lnTo>
                  <a:lnTo>
                    <a:pt x="6" y="48"/>
                  </a:lnTo>
                  <a:lnTo>
                    <a:pt x="6" y="40"/>
                  </a:lnTo>
                  <a:lnTo>
                    <a:pt x="8" y="36"/>
                  </a:lnTo>
                  <a:lnTo>
                    <a:pt x="10" y="34"/>
                  </a:lnTo>
                  <a:lnTo>
                    <a:pt x="12" y="32"/>
                  </a:lnTo>
                  <a:lnTo>
                    <a:pt x="14" y="30"/>
                  </a:lnTo>
                  <a:lnTo>
                    <a:pt x="16" y="26"/>
                  </a:lnTo>
                  <a:lnTo>
                    <a:pt x="18" y="24"/>
                  </a:lnTo>
                  <a:lnTo>
                    <a:pt x="20" y="22"/>
                  </a:lnTo>
                  <a:lnTo>
                    <a:pt x="22" y="22"/>
                  </a:lnTo>
                  <a:lnTo>
                    <a:pt x="24" y="20"/>
                  </a:lnTo>
                  <a:lnTo>
                    <a:pt x="26" y="18"/>
                  </a:lnTo>
                  <a:lnTo>
                    <a:pt x="28" y="16"/>
                  </a:lnTo>
                  <a:lnTo>
                    <a:pt x="30" y="10"/>
                  </a:lnTo>
                  <a:lnTo>
                    <a:pt x="30" y="8"/>
                  </a:lnTo>
                  <a:lnTo>
                    <a:pt x="30" y="4"/>
                  </a:lnTo>
                  <a:lnTo>
                    <a:pt x="32" y="2"/>
                  </a:lnTo>
                  <a:lnTo>
                    <a:pt x="34" y="0"/>
                  </a:lnTo>
                  <a:lnTo>
                    <a:pt x="38" y="0"/>
                  </a:lnTo>
                  <a:lnTo>
                    <a:pt x="44" y="0"/>
                  </a:lnTo>
                  <a:lnTo>
                    <a:pt x="50" y="2"/>
                  </a:lnTo>
                  <a:lnTo>
                    <a:pt x="56" y="6"/>
                  </a:lnTo>
                  <a:lnTo>
                    <a:pt x="58" y="8"/>
                  </a:lnTo>
                  <a:lnTo>
                    <a:pt x="62" y="10"/>
                  </a:lnTo>
                  <a:lnTo>
                    <a:pt x="68" y="12"/>
                  </a:lnTo>
                  <a:lnTo>
                    <a:pt x="74" y="12"/>
                  </a:lnTo>
                  <a:lnTo>
                    <a:pt x="80" y="14"/>
                  </a:lnTo>
                  <a:lnTo>
                    <a:pt x="86" y="14"/>
                  </a:lnTo>
                  <a:lnTo>
                    <a:pt x="88" y="14"/>
                  </a:lnTo>
                  <a:lnTo>
                    <a:pt x="90" y="18"/>
                  </a:lnTo>
                  <a:lnTo>
                    <a:pt x="96" y="20"/>
                  </a:lnTo>
                  <a:lnTo>
                    <a:pt x="96" y="22"/>
                  </a:lnTo>
                  <a:lnTo>
                    <a:pt x="100" y="26"/>
                  </a:lnTo>
                  <a:lnTo>
                    <a:pt x="106" y="32"/>
                  </a:lnTo>
                  <a:lnTo>
                    <a:pt x="108" y="34"/>
                  </a:lnTo>
                  <a:lnTo>
                    <a:pt x="116" y="40"/>
                  </a:lnTo>
                  <a:lnTo>
                    <a:pt x="120" y="42"/>
                  </a:lnTo>
                  <a:lnTo>
                    <a:pt x="124" y="42"/>
                  </a:lnTo>
                  <a:lnTo>
                    <a:pt x="136" y="54"/>
                  </a:lnTo>
                  <a:lnTo>
                    <a:pt x="138" y="56"/>
                  </a:lnTo>
                  <a:lnTo>
                    <a:pt x="140" y="58"/>
                  </a:lnTo>
                  <a:lnTo>
                    <a:pt x="140" y="60"/>
                  </a:lnTo>
                  <a:lnTo>
                    <a:pt x="140" y="62"/>
                  </a:lnTo>
                  <a:lnTo>
                    <a:pt x="142" y="68"/>
                  </a:lnTo>
                  <a:lnTo>
                    <a:pt x="142" y="70"/>
                  </a:lnTo>
                  <a:lnTo>
                    <a:pt x="142" y="72"/>
                  </a:lnTo>
                  <a:lnTo>
                    <a:pt x="140" y="74"/>
                  </a:lnTo>
                  <a:lnTo>
                    <a:pt x="138" y="74"/>
                  </a:lnTo>
                  <a:lnTo>
                    <a:pt x="138" y="76"/>
                  </a:lnTo>
                  <a:lnTo>
                    <a:pt x="140" y="76"/>
                  </a:lnTo>
                  <a:lnTo>
                    <a:pt x="142" y="74"/>
                  </a:lnTo>
                  <a:lnTo>
                    <a:pt x="144" y="72"/>
                  </a:lnTo>
                  <a:lnTo>
                    <a:pt x="144" y="70"/>
                  </a:lnTo>
                  <a:lnTo>
                    <a:pt x="144" y="68"/>
                  </a:lnTo>
                  <a:lnTo>
                    <a:pt x="144" y="66"/>
                  </a:lnTo>
                  <a:lnTo>
                    <a:pt x="144" y="64"/>
                  </a:lnTo>
                  <a:lnTo>
                    <a:pt x="144" y="60"/>
                  </a:lnTo>
                  <a:lnTo>
                    <a:pt x="144" y="58"/>
                  </a:lnTo>
                  <a:lnTo>
                    <a:pt x="146" y="58"/>
                  </a:lnTo>
                  <a:lnTo>
                    <a:pt x="150" y="60"/>
                  </a:lnTo>
                  <a:lnTo>
                    <a:pt x="152" y="64"/>
                  </a:lnTo>
                  <a:lnTo>
                    <a:pt x="152" y="68"/>
                  </a:lnTo>
                  <a:lnTo>
                    <a:pt x="154" y="68"/>
                  </a:lnTo>
                  <a:lnTo>
                    <a:pt x="154" y="70"/>
                  </a:lnTo>
                  <a:lnTo>
                    <a:pt x="154" y="72"/>
                  </a:lnTo>
                  <a:lnTo>
                    <a:pt x="154" y="76"/>
                  </a:lnTo>
                  <a:lnTo>
                    <a:pt x="156" y="78"/>
                  </a:lnTo>
                  <a:lnTo>
                    <a:pt x="158" y="80"/>
                  </a:lnTo>
                  <a:lnTo>
                    <a:pt x="158" y="82"/>
                  </a:lnTo>
                  <a:lnTo>
                    <a:pt x="158" y="84"/>
                  </a:lnTo>
                  <a:lnTo>
                    <a:pt x="158" y="86"/>
                  </a:lnTo>
                  <a:lnTo>
                    <a:pt x="158" y="88"/>
                  </a:lnTo>
                  <a:lnTo>
                    <a:pt x="158" y="90"/>
                  </a:lnTo>
                  <a:lnTo>
                    <a:pt x="158" y="92"/>
                  </a:lnTo>
                  <a:lnTo>
                    <a:pt x="156" y="92"/>
                  </a:lnTo>
                  <a:lnTo>
                    <a:pt x="154" y="94"/>
                  </a:lnTo>
                  <a:lnTo>
                    <a:pt x="152" y="96"/>
                  </a:lnTo>
                  <a:lnTo>
                    <a:pt x="152" y="100"/>
                  </a:lnTo>
                  <a:lnTo>
                    <a:pt x="150" y="102"/>
                  </a:lnTo>
                  <a:lnTo>
                    <a:pt x="146" y="106"/>
                  </a:lnTo>
                  <a:lnTo>
                    <a:pt x="144" y="108"/>
                  </a:lnTo>
                  <a:lnTo>
                    <a:pt x="142" y="110"/>
                  </a:lnTo>
                  <a:lnTo>
                    <a:pt x="140" y="114"/>
                  </a:lnTo>
                  <a:lnTo>
                    <a:pt x="140" y="116"/>
                  </a:lnTo>
                  <a:lnTo>
                    <a:pt x="136" y="126"/>
                  </a:lnTo>
                  <a:lnTo>
                    <a:pt x="132" y="130"/>
                  </a:lnTo>
                  <a:lnTo>
                    <a:pt x="128" y="136"/>
                  </a:lnTo>
                  <a:lnTo>
                    <a:pt x="126" y="136"/>
                  </a:lnTo>
                  <a:lnTo>
                    <a:pt x="122" y="142"/>
                  </a:lnTo>
                  <a:lnTo>
                    <a:pt x="122" y="144"/>
                  </a:lnTo>
                  <a:lnTo>
                    <a:pt x="122" y="146"/>
                  </a:lnTo>
                  <a:lnTo>
                    <a:pt x="122" y="148"/>
                  </a:lnTo>
                  <a:lnTo>
                    <a:pt x="120" y="152"/>
                  </a:lnTo>
                  <a:lnTo>
                    <a:pt x="118" y="154"/>
                  </a:lnTo>
                  <a:lnTo>
                    <a:pt x="116" y="160"/>
                  </a:lnTo>
                  <a:lnTo>
                    <a:pt x="114" y="166"/>
                  </a:lnTo>
                  <a:lnTo>
                    <a:pt x="112" y="170"/>
                  </a:lnTo>
                  <a:lnTo>
                    <a:pt x="112" y="172"/>
                  </a:lnTo>
                  <a:lnTo>
                    <a:pt x="112" y="174"/>
                  </a:lnTo>
                  <a:lnTo>
                    <a:pt x="110" y="176"/>
                  </a:lnTo>
                  <a:lnTo>
                    <a:pt x="110" y="180"/>
                  </a:lnTo>
                  <a:lnTo>
                    <a:pt x="104" y="184"/>
                  </a:lnTo>
                  <a:lnTo>
                    <a:pt x="100" y="188"/>
                  </a:lnTo>
                  <a:lnTo>
                    <a:pt x="94" y="194"/>
                  </a:lnTo>
                  <a:lnTo>
                    <a:pt x="92" y="194"/>
                  </a:lnTo>
                  <a:lnTo>
                    <a:pt x="90" y="196"/>
                  </a:lnTo>
                  <a:lnTo>
                    <a:pt x="88" y="196"/>
                  </a:lnTo>
                  <a:lnTo>
                    <a:pt x="84" y="196"/>
                  </a:lnTo>
                  <a:lnTo>
                    <a:pt x="84" y="194"/>
                  </a:lnTo>
                  <a:lnTo>
                    <a:pt x="82" y="194"/>
                  </a:lnTo>
                  <a:lnTo>
                    <a:pt x="80" y="194"/>
                  </a:lnTo>
                  <a:lnTo>
                    <a:pt x="76" y="194"/>
                  </a:lnTo>
                  <a:lnTo>
                    <a:pt x="74" y="194"/>
                  </a:lnTo>
                  <a:lnTo>
                    <a:pt x="76" y="190"/>
                  </a:lnTo>
                  <a:lnTo>
                    <a:pt x="72" y="188"/>
                  </a:lnTo>
                  <a:lnTo>
                    <a:pt x="70" y="186"/>
                  </a:lnTo>
                  <a:lnTo>
                    <a:pt x="68" y="186"/>
                  </a:lnTo>
                  <a:lnTo>
                    <a:pt x="68" y="188"/>
                  </a:lnTo>
                  <a:lnTo>
                    <a:pt x="62" y="192"/>
                  </a:lnTo>
                  <a:lnTo>
                    <a:pt x="58" y="192"/>
                  </a:lnTo>
                  <a:lnTo>
                    <a:pt x="48" y="188"/>
                  </a:lnTo>
                  <a:lnTo>
                    <a:pt x="48" y="186"/>
                  </a:lnTo>
                  <a:lnTo>
                    <a:pt x="46" y="184"/>
                  </a:lnTo>
                  <a:lnTo>
                    <a:pt x="44" y="186"/>
                  </a:lnTo>
                  <a:lnTo>
                    <a:pt x="38" y="190"/>
                  </a:lnTo>
                  <a:lnTo>
                    <a:pt x="38" y="192"/>
                  </a:lnTo>
                  <a:lnTo>
                    <a:pt x="36" y="194"/>
                  </a:lnTo>
                  <a:lnTo>
                    <a:pt x="26" y="200"/>
                  </a:lnTo>
                  <a:lnTo>
                    <a:pt x="16" y="198"/>
                  </a:lnTo>
                  <a:lnTo>
                    <a:pt x="8" y="194"/>
                  </a:lnTo>
                  <a:lnTo>
                    <a:pt x="6" y="192"/>
                  </a:lnTo>
                  <a:lnTo>
                    <a:pt x="4" y="190"/>
                  </a:lnTo>
                  <a:lnTo>
                    <a:pt x="4" y="188"/>
                  </a:lnTo>
                  <a:lnTo>
                    <a:pt x="2" y="188"/>
                  </a:lnTo>
                  <a:lnTo>
                    <a:pt x="0" y="1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721" name="Group 2141"/>
            <p:cNvGrpSpPr>
              <a:grpSpLocks/>
            </p:cNvGrpSpPr>
            <p:nvPr/>
          </p:nvGrpSpPr>
          <p:grpSpPr bwMode="auto">
            <a:xfrm>
              <a:off x="3070389" y="2304374"/>
              <a:ext cx="414519" cy="465006"/>
              <a:chOff x="1924" y="908"/>
              <a:chExt cx="312" cy="350"/>
            </a:xfrm>
            <a:solidFill>
              <a:srgbClr val="B9B9B9"/>
            </a:solidFill>
          </p:grpSpPr>
          <p:sp>
            <p:nvSpPr>
              <p:cNvPr id="1003" name="Freeform 1943"/>
              <p:cNvSpPr>
                <a:spLocks/>
              </p:cNvSpPr>
              <p:nvPr/>
            </p:nvSpPr>
            <p:spPr bwMode="auto">
              <a:xfrm>
                <a:off x="1924" y="908"/>
                <a:ext cx="312" cy="350"/>
              </a:xfrm>
              <a:custGeom>
                <a:avLst/>
                <a:gdLst/>
                <a:ahLst/>
                <a:cxnLst>
                  <a:cxn ang="0">
                    <a:pos x="114" y="334"/>
                  </a:cxn>
                  <a:cxn ang="0">
                    <a:pos x="100" y="348"/>
                  </a:cxn>
                  <a:cxn ang="0">
                    <a:pos x="80" y="330"/>
                  </a:cxn>
                  <a:cxn ang="0">
                    <a:pos x="66" y="322"/>
                  </a:cxn>
                  <a:cxn ang="0">
                    <a:pos x="44" y="314"/>
                  </a:cxn>
                  <a:cxn ang="0">
                    <a:pos x="28" y="318"/>
                  </a:cxn>
                  <a:cxn ang="0">
                    <a:pos x="30" y="308"/>
                  </a:cxn>
                  <a:cxn ang="0">
                    <a:pos x="34" y="294"/>
                  </a:cxn>
                  <a:cxn ang="0">
                    <a:pos x="42" y="274"/>
                  </a:cxn>
                  <a:cxn ang="0">
                    <a:pos x="46" y="260"/>
                  </a:cxn>
                  <a:cxn ang="0">
                    <a:pos x="60" y="242"/>
                  </a:cxn>
                  <a:cxn ang="0">
                    <a:pos x="68" y="212"/>
                  </a:cxn>
                  <a:cxn ang="0">
                    <a:pos x="66" y="188"/>
                  </a:cxn>
                  <a:cxn ang="0">
                    <a:pos x="60" y="200"/>
                  </a:cxn>
                  <a:cxn ang="0">
                    <a:pos x="58" y="218"/>
                  </a:cxn>
                  <a:cxn ang="0">
                    <a:pos x="56" y="204"/>
                  </a:cxn>
                  <a:cxn ang="0">
                    <a:pos x="40" y="226"/>
                  </a:cxn>
                  <a:cxn ang="0">
                    <a:pos x="12" y="206"/>
                  </a:cxn>
                  <a:cxn ang="0">
                    <a:pos x="12" y="194"/>
                  </a:cxn>
                  <a:cxn ang="0">
                    <a:pos x="10" y="168"/>
                  </a:cxn>
                  <a:cxn ang="0">
                    <a:pos x="14" y="150"/>
                  </a:cxn>
                  <a:cxn ang="0">
                    <a:pos x="14" y="128"/>
                  </a:cxn>
                  <a:cxn ang="0">
                    <a:pos x="26" y="114"/>
                  </a:cxn>
                  <a:cxn ang="0">
                    <a:pos x="36" y="112"/>
                  </a:cxn>
                  <a:cxn ang="0">
                    <a:pos x="36" y="88"/>
                  </a:cxn>
                  <a:cxn ang="0">
                    <a:pos x="52" y="70"/>
                  </a:cxn>
                  <a:cxn ang="0">
                    <a:pos x="52" y="56"/>
                  </a:cxn>
                  <a:cxn ang="0">
                    <a:pos x="50" y="42"/>
                  </a:cxn>
                  <a:cxn ang="0">
                    <a:pos x="62" y="30"/>
                  </a:cxn>
                  <a:cxn ang="0">
                    <a:pos x="76" y="24"/>
                  </a:cxn>
                  <a:cxn ang="0">
                    <a:pos x="98" y="20"/>
                  </a:cxn>
                  <a:cxn ang="0">
                    <a:pos x="114" y="6"/>
                  </a:cxn>
                  <a:cxn ang="0">
                    <a:pos x="132" y="12"/>
                  </a:cxn>
                  <a:cxn ang="0">
                    <a:pos x="150" y="22"/>
                  </a:cxn>
                  <a:cxn ang="0">
                    <a:pos x="168" y="34"/>
                  </a:cxn>
                  <a:cxn ang="0">
                    <a:pos x="180" y="36"/>
                  </a:cxn>
                  <a:cxn ang="0">
                    <a:pos x="192" y="42"/>
                  </a:cxn>
                  <a:cxn ang="0">
                    <a:pos x="204" y="60"/>
                  </a:cxn>
                  <a:cxn ang="0">
                    <a:pos x="232" y="64"/>
                  </a:cxn>
                  <a:cxn ang="0">
                    <a:pos x="248" y="56"/>
                  </a:cxn>
                  <a:cxn ang="0">
                    <a:pos x="284" y="76"/>
                  </a:cxn>
                  <a:cxn ang="0">
                    <a:pos x="306" y="82"/>
                  </a:cxn>
                  <a:cxn ang="0">
                    <a:pos x="298" y="86"/>
                  </a:cxn>
                  <a:cxn ang="0">
                    <a:pos x="300" y="96"/>
                  </a:cxn>
                  <a:cxn ang="0">
                    <a:pos x="312" y="112"/>
                  </a:cxn>
                  <a:cxn ang="0">
                    <a:pos x="306" y="130"/>
                  </a:cxn>
                  <a:cxn ang="0">
                    <a:pos x="294" y="160"/>
                  </a:cxn>
                  <a:cxn ang="0">
                    <a:pos x="248" y="206"/>
                  </a:cxn>
                  <a:cxn ang="0">
                    <a:pos x="172" y="240"/>
                  </a:cxn>
                  <a:cxn ang="0">
                    <a:pos x="152" y="258"/>
                  </a:cxn>
                  <a:cxn ang="0">
                    <a:pos x="148" y="264"/>
                  </a:cxn>
                  <a:cxn ang="0">
                    <a:pos x="142" y="270"/>
                  </a:cxn>
                  <a:cxn ang="0">
                    <a:pos x="138" y="286"/>
                  </a:cxn>
                  <a:cxn ang="0">
                    <a:pos x="128" y="310"/>
                  </a:cxn>
                  <a:cxn ang="0">
                    <a:pos x="128" y="326"/>
                  </a:cxn>
                </a:cxnLst>
                <a:rect l="0" t="0" r="r" b="b"/>
                <a:pathLst>
                  <a:path w="312" h="350">
                    <a:moveTo>
                      <a:pt x="124" y="326"/>
                    </a:moveTo>
                    <a:lnTo>
                      <a:pt x="124" y="328"/>
                    </a:lnTo>
                    <a:lnTo>
                      <a:pt x="122" y="328"/>
                    </a:lnTo>
                    <a:lnTo>
                      <a:pt x="120" y="328"/>
                    </a:lnTo>
                    <a:lnTo>
                      <a:pt x="118" y="330"/>
                    </a:lnTo>
                    <a:lnTo>
                      <a:pt x="116" y="332"/>
                    </a:lnTo>
                    <a:lnTo>
                      <a:pt x="114" y="334"/>
                    </a:lnTo>
                    <a:lnTo>
                      <a:pt x="114" y="338"/>
                    </a:lnTo>
                    <a:lnTo>
                      <a:pt x="112" y="342"/>
                    </a:lnTo>
                    <a:lnTo>
                      <a:pt x="108" y="348"/>
                    </a:lnTo>
                    <a:lnTo>
                      <a:pt x="108" y="350"/>
                    </a:lnTo>
                    <a:lnTo>
                      <a:pt x="106" y="350"/>
                    </a:lnTo>
                    <a:lnTo>
                      <a:pt x="104" y="348"/>
                    </a:lnTo>
                    <a:lnTo>
                      <a:pt x="100" y="348"/>
                    </a:lnTo>
                    <a:lnTo>
                      <a:pt x="98" y="348"/>
                    </a:lnTo>
                    <a:lnTo>
                      <a:pt x="96" y="348"/>
                    </a:lnTo>
                    <a:lnTo>
                      <a:pt x="94" y="348"/>
                    </a:lnTo>
                    <a:lnTo>
                      <a:pt x="90" y="344"/>
                    </a:lnTo>
                    <a:lnTo>
                      <a:pt x="86" y="338"/>
                    </a:lnTo>
                    <a:lnTo>
                      <a:pt x="84" y="336"/>
                    </a:lnTo>
                    <a:lnTo>
                      <a:pt x="80" y="330"/>
                    </a:lnTo>
                    <a:lnTo>
                      <a:pt x="80" y="326"/>
                    </a:lnTo>
                    <a:lnTo>
                      <a:pt x="80" y="324"/>
                    </a:lnTo>
                    <a:lnTo>
                      <a:pt x="74" y="320"/>
                    </a:lnTo>
                    <a:lnTo>
                      <a:pt x="74" y="318"/>
                    </a:lnTo>
                    <a:lnTo>
                      <a:pt x="72" y="318"/>
                    </a:lnTo>
                    <a:lnTo>
                      <a:pt x="72" y="320"/>
                    </a:lnTo>
                    <a:lnTo>
                      <a:pt x="66" y="322"/>
                    </a:lnTo>
                    <a:lnTo>
                      <a:pt x="64" y="320"/>
                    </a:lnTo>
                    <a:lnTo>
                      <a:pt x="54" y="314"/>
                    </a:lnTo>
                    <a:lnTo>
                      <a:pt x="52" y="312"/>
                    </a:lnTo>
                    <a:lnTo>
                      <a:pt x="50" y="312"/>
                    </a:lnTo>
                    <a:lnTo>
                      <a:pt x="48" y="310"/>
                    </a:lnTo>
                    <a:lnTo>
                      <a:pt x="46" y="312"/>
                    </a:lnTo>
                    <a:lnTo>
                      <a:pt x="44" y="314"/>
                    </a:lnTo>
                    <a:lnTo>
                      <a:pt x="42" y="314"/>
                    </a:lnTo>
                    <a:lnTo>
                      <a:pt x="40" y="316"/>
                    </a:lnTo>
                    <a:lnTo>
                      <a:pt x="36" y="320"/>
                    </a:lnTo>
                    <a:lnTo>
                      <a:pt x="34" y="322"/>
                    </a:lnTo>
                    <a:lnTo>
                      <a:pt x="32" y="320"/>
                    </a:lnTo>
                    <a:lnTo>
                      <a:pt x="30" y="318"/>
                    </a:lnTo>
                    <a:lnTo>
                      <a:pt x="28" y="318"/>
                    </a:lnTo>
                    <a:lnTo>
                      <a:pt x="28" y="316"/>
                    </a:lnTo>
                    <a:lnTo>
                      <a:pt x="32" y="312"/>
                    </a:lnTo>
                    <a:lnTo>
                      <a:pt x="34" y="310"/>
                    </a:lnTo>
                    <a:lnTo>
                      <a:pt x="36" y="306"/>
                    </a:lnTo>
                    <a:lnTo>
                      <a:pt x="34" y="306"/>
                    </a:lnTo>
                    <a:lnTo>
                      <a:pt x="32" y="306"/>
                    </a:lnTo>
                    <a:lnTo>
                      <a:pt x="30" y="308"/>
                    </a:lnTo>
                    <a:lnTo>
                      <a:pt x="30" y="306"/>
                    </a:lnTo>
                    <a:lnTo>
                      <a:pt x="28" y="304"/>
                    </a:lnTo>
                    <a:lnTo>
                      <a:pt x="28" y="302"/>
                    </a:lnTo>
                    <a:lnTo>
                      <a:pt x="28" y="298"/>
                    </a:lnTo>
                    <a:lnTo>
                      <a:pt x="30" y="294"/>
                    </a:lnTo>
                    <a:lnTo>
                      <a:pt x="32" y="294"/>
                    </a:lnTo>
                    <a:lnTo>
                      <a:pt x="34" y="294"/>
                    </a:lnTo>
                    <a:lnTo>
                      <a:pt x="36" y="296"/>
                    </a:lnTo>
                    <a:lnTo>
                      <a:pt x="38" y="296"/>
                    </a:lnTo>
                    <a:lnTo>
                      <a:pt x="46" y="290"/>
                    </a:lnTo>
                    <a:lnTo>
                      <a:pt x="46" y="288"/>
                    </a:lnTo>
                    <a:lnTo>
                      <a:pt x="44" y="280"/>
                    </a:lnTo>
                    <a:lnTo>
                      <a:pt x="44" y="276"/>
                    </a:lnTo>
                    <a:lnTo>
                      <a:pt x="42" y="274"/>
                    </a:lnTo>
                    <a:lnTo>
                      <a:pt x="42" y="268"/>
                    </a:lnTo>
                    <a:lnTo>
                      <a:pt x="40" y="264"/>
                    </a:lnTo>
                    <a:lnTo>
                      <a:pt x="36" y="262"/>
                    </a:lnTo>
                    <a:lnTo>
                      <a:pt x="36" y="260"/>
                    </a:lnTo>
                    <a:lnTo>
                      <a:pt x="38" y="260"/>
                    </a:lnTo>
                    <a:lnTo>
                      <a:pt x="40" y="260"/>
                    </a:lnTo>
                    <a:lnTo>
                      <a:pt x="46" y="260"/>
                    </a:lnTo>
                    <a:lnTo>
                      <a:pt x="54" y="256"/>
                    </a:lnTo>
                    <a:lnTo>
                      <a:pt x="56" y="252"/>
                    </a:lnTo>
                    <a:lnTo>
                      <a:pt x="58" y="250"/>
                    </a:lnTo>
                    <a:lnTo>
                      <a:pt x="58" y="248"/>
                    </a:lnTo>
                    <a:lnTo>
                      <a:pt x="58" y="246"/>
                    </a:lnTo>
                    <a:lnTo>
                      <a:pt x="60" y="244"/>
                    </a:lnTo>
                    <a:lnTo>
                      <a:pt x="60" y="242"/>
                    </a:lnTo>
                    <a:lnTo>
                      <a:pt x="62" y="236"/>
                    </a:lnTo>
                    <a:lnTo>
                      <a:pt x="64" y="230"/>
                    </a:lnTo>
                    <a:lnTo>
                      <a:pt x="66" y="222"/>
                    </a:lnTo>
                    <a:lnTo>
                      <a:pt x="68" y="220"/>
                    </a:lnTo>
                    <a:lnTo>
                      <a:pt x="70" y="220"/>
                    </a:lnTo>
                    <a:lnTo>
                      <a:pt x="70" y="216"/>
                    </a:lnTo>
                    <a:lnTo>
                      <a:pt x="68" y="212"/>
                    </a:lnTo>
                    <a:lnTo>
                      <a:pt x="66" y="214"/>
                    </a:lnTo>
                    <a:lnTo>
                      <a:pt x="66" y="212"/>
                    </a:lnTo>
                    <a:lnTo>
                      <a:pt x="62" y="206"/>
                    </a:lnTo>
                    <a:lnTo>
                      <a:pt x="64" y="204"/>
                    </a:lnTo>
                    <a:lnTo>
                      <a:pt x="62" y="198"/>
                    </a:lnTo>
                    <a:lnTo>
                      <a:pt x="64" y="190"/>
                    </a:lnTo>
                    <a:lnTo>
                      <a:pt x="66" y="188"/>
                    </a:lnTo>
                    <a:lnTo>
                      <a:pt x="68" y="186"/>
                    </a:lnTo>
                    <a:lnTo>
                      <a:pt x="64" y="188"/>
                    </a:lnTo>
                    <a:lnTo>
                      <a:pt x="60" y="192"/>
                    </a:lnTo>
                    <a:lnTo>
                      <a:pt x="60" y="194"/>
                    </a:lnTo>
                    <a:lnTo>
                      <a:pt x="60" y="196"/>
                    </a:lnTo>
                    <a:lnTo>
                      <a:pt x="60" y="198"/>
                    </a:lnTo>
                    <a:lnTo>
                      <a:pt x="60" y="200"/>
                    </a:lnTo>
                    <a:lnTo>
                      <a:pt x="62" y="200"/>
                    </a:lnTo>
                    <a:lnTo>
                      <a:pt x="62" y="202"/>
                    </a:lnTo>
                    <a:lnTo>
                      <a:pt x="62" y="208"/>
                    </a:lnTo>
                    <a:lnTo>
                      <a:pt x="62" y="210"/>
                    </a:lnTo>
                    <a:lnTo>
                      <a:pt x="60" y="216"/>
                    </a:lnTo>
                    <a:lnTo>
                      <a:pt x="60" y="218"/>
                    </a:lnTo>
                    <a:lnTo>
                      <a:pt x="58" y="218"/>
                    </a:lnTo>
                    <a:lnTo>
                      <a:pt x="56" y="220"/>
                    </a:lnTo>
                    <a:lnTo>
                      <a:pt x="54" y="220"/>
                    </a:lnTo>
                    <a:lnTo>
                      <a:pt x="52" y="218"/>
                    </a:lnTo>
                    <a:lnTo>
                      <a:pt x="54" y="210"/>
                    </a:lnTo>
                    <a:lnTo>
                      <a:pt x="54" y="206"/>
                    </a:lnTo>
                    <a:lnTo>
                      <a:pt x="56" y="206"/>
                    </a:lnTo>
                    <a:lnTo>
                      <a:pt x="56" y="204"/>
                    </a:lnTo>
                    <a:lnTo>
                      <a:pt x="54" y="204"/>
                    </a:lnTo>
                    <a:lnTo>
                      <a:pt x="52" y="208"/>
                    </a:lnTo>
                    <a:lnTo>
                      <a:pt x="50" y="212"/>
                    </a:lnTo>
                    <a:lnTo>
                      <a:pt x="48" y="214"/>
                    </a:lnTo>
                    <a:lnTo>
                      <a:pt x="44" y="218"/>
                    </a:lnTo>
                    <a:lnTo>
                      <a:pt x="42" y="220"/>
                    </a:lnTo>
                    <a:lnTo>
                      <a:pt x="40" y="226"/>
                    </a:lnTo>
                    <a:lnTo>
                      <a:pt x="38" y="226"/>
                    </a:lnTo>
                    <a:lnTo>
                      <a:pt x="30" y="222"/>
                    </a:lnTo>
                    <a:lnTo>
                      <a:pt x="24" y="214"/>
                    </a:lnTo>
                    <a:lnTo>
                      <a:pt x="20" y="210"/>
                    </a:lnTo>
                    <a:lnTo>
                      <a:pt x="18" y="208"/>
                    </a:lnTo>
                    <a:lnTo>
                      <a:pt x="14" y="206"/>
                    </a:lnTo>
                    <a:lnTo>
                      <a:pt x="12" y="206"/>
                    </a:lnTo>
                    <a:lnTo>
                      <a:pt x="10" y="206"/>
                    </a:lnTo>
                    <a:lnTo>
                      <a:pt x="6" y="204"/>
                    </a:lnTo>
                    <a:lnTo>
                      <a:pt x="2" y="198"/>
                    </a:lnTo>
                    <a:lnTo>
                      <a:pt x="0" y="196"/>
                    </a:lnTo>
                    <a:lnTo>
                      <a:pt x="4" y="198"/>
                    </a:lnTo>
                    <a:lnTo>
                      <a:pt x="8" y="196"/>
                    </a:lnTo>
                    <a:lnTo>
                      <a:pt x="12" y="194"/>
                    </a:lnTo>
                    <a:lnTo>
                      <a:pt x="12" y="192"/>
                    </a:lnTo>
                    <a:lnTo>
                      <a:pt x="14" y="190"/>
                    </a:lnTo>
                    <a:lnTo>
                      <a:pt x="14" y="184"/>
                    </a:lnTo>
                    <a:lnTo>
                      <a:pt x="14" y="182"/>
                    </a:lnTo>
                    <a:lnTo>
                      <a:pt x="12" y="174"/>
                    </a:lnTo>
                    <a:lnTo>
                      <a:pt x="12" y="172"/>
                    </a:lnTo>
                    <a:lnTo>
                      <a:pt x="10" y="168"/>
                    </a:lnTo>
                    <a:lnTo>
                      <a:pt x="8" y="166"/>
                    </a:lnTo>
                    <a:lnTo>
                      <a:pt x="8" y="164"/>
                    </a:lnTo>
                    <a:lnTo>
                      <a:pt x="8" y="162"/>
                    </a:lnTo>
                    <a:lnTo>
                      <a:pt x="10" y="160"/>
                    </a:lnTo>
                    <a:lnTo>
                      <a:pt x="10" y="158"/>
                    </a:lnTo>
                    <a:lnTo>
                      <a:pt x="12" y="158"/>
                    </a:lnTo>
                    <a:lnTo>
                      <a:pt x="14" y="150"/>
                    </a:lnTo>
                    <a:lnTo>
                      <a:pt x="10" y="146"/>
                    </a:lnTo>
                    <a:lnTo>
                      <a:pt x="8" y="142"/>
                    </a:lnTo>
                    <a:lnTo>
                      <a:pt x="6" y="140"/>
                    </a:lnTo>
                    <a:lnTo>
                      <a:pt x="4" y="136"/>
                    </a:lnTo>
                    <a:lnTo>
                      <a:pt x="4" y="134"/>
                    </a:lnTo>
                    <a:lnTo>
                      <a:pt x="8" y="128"/>
                    </a:lnTo>
                    <a:lnTo>
                      <a:pt x="14" y="128"/>
                    </a:lnTo>
                    <a:lnTo>
                      <a:pt x="16" y="128"/>
                    </a:lnTo>
                    <a:lnTo>
                      <a:pt x="20" y="128"/>
                    </a:lnTo>
                    <a:lnTo>
                      <a:pt x="22" y="128"/>
                    </a:lnTo>
                    <a:lnTo>
                      <a:pt x="26" y="122"/>
                    </a:lnTo>
                    <a:lnTo>
                      <a:pt x="26" y="120"/>
                    </a:lnTo>
                    <a:lnTo>
                      <a:pt x="26" y="118"/>
                    </a:lnTo>
                    <a:lnTo>
                      <a:pt x="26" y="114"/>
                    </a:lnTo>
                    <a:lnTo>
                      <a:pt x="30" y="110"/>
                    </a:lnTo>
                    <a:lnTo>
                      <a:pt x="32" y="110"/>
                    </a:lnTo>
                    <a:lnTo>
                      <a:pt x="32" y="112"/>
                    </a:lnTo>
                    <a:lnTo>
                      <a:pt x="34" y="112"/>
                    </a:lnTo>
                    <a:lnTo>
                      <a:pt x="36" y="112"/>
                    </a:lnTo>
                    <a:lnTo>
                      <a:pt x="40" y="112"/>
                    </a:lnTo>
                    <a:lnTo>
                      <a:pt x="36" y="112"/>
                    </a:lnTo>
                    <a:lnTo>
                      <a:pt x="34" y="112"/>
                    </a:lnTo>
                    <a:lnTo>
                      <a:pt x="32" y="110"/>
                    </a:lnTo>
                    <a:lnTo>
                      <a:pt x="32" y="108"/>
                    </a:lnTo>
                    <a:lnTo>
                      <a:pt x="28" y="100"/>
                    </a:lnTo>
                    <a:lnTo>
                      <a:pt x="26" y="98"/>
                    </a:lnTo>
                    <a:lnTo>
                      <a:pt x="34" y="90"/>
                    </a:lnTo>
                    <a:lnTo>
                      <a:pt x="36" y="88"/>
                    </a:lnTo>
                    <a:lnTo>
                      <a:pt x="38" y="86"/>
                    </a:lnTo>
                    <a:lnTo>
                      <a:pt x="40" y="86"/>
                    </a:lnTo>
                    <a:lnTo>
                      <a:pt x="46" y="80"/>
                    </a:lnTo>
                    <a:lnTo>
                      <a:pt x="48" y="78"/>
                    </a:lnTo>
                    <a:lnTo>
                      <a:pt x="50" y="76"/>
                    </a:lnTo>
                    <a:lnTo>
                      <a:pt x="52" y="72"/>
                    </a:lnTo>
                    <a:lnTo>
                      <a:pt x="52" y="70"/>
                    </a:lnTo>
                    <a:lnTo>
                      <a:pt x="52" y="66"/>
                    </a:lnTo>
                    <a:lnTo>
                      <a:pt x="52" y="64"/>
                    </a:lnTo>
                    <a:lnTo>
                      <a:pt x="52" y="62"/>
                    </a:lnTo>
                    <a:lnTo>
                      <a:pt x="52" y="58"/>
                    </a:lnTo>
                    <a:lnTo>
                      <a:pt x="54" y="58"/>
                    </a:lnTo>
                    <a:lnTo>
                      <a:pt x="54" y="56"/>
                    </a:lnTo>
                    <a:lnTo>
                      <a:pt x="52" y="56"/>
                    </a:lnTo>
                    <a:lnTo>
                      <a:pt x="52" y="54"/>
                    </a:lnTo>
                    <a:lnTo>
                      <a:pt x="52" y="52"/>
                    </a:lnTo>
                    <a:lnTo>
                      <a:pt x="54" y="50"/>
                    </a:lnTo>
                    <a:lnTo>
                      <a:pt x="54" y="48"/>
                    </a:lnTo>
                    <a:lnTo>
                      <a:pt x="54" y="46"/>
                    </a:lnTo>
                    <a:lnTo>
                      <a:pt x="52" y="44"/>
                    </a:lnTo>
                    <a:lnTo>
                      <a:pt x="50" y="42"/>
                    </a:lnTo>
                    <a:lnTo>
                      <a:pt x="48" y="40"/>
                    </a:lnTo>
                    <a:lnTo>
                      <a:pt x="48" y="38"/>
                    </a:lnTo>
                    <a:lnTo>
                      <a:pt x="48" y="36"/>
                    </a:lnTo>
                    <a:lnTo>
                      <a:pt x="52" y="34"/>
                    </a:lnTo>
                    <a:lnTo>
                      <a:pt x="54" y="34"/>
                    </a:lnTo>
                    <a:lnTo>
                      <a:pt x="56" y="34"/>
                    </a:lnTo>
                    <a:lnTo>
                      <a:pt x="62" y="30"/>
                    </a:lnTo>
                    <a:lnTo>
                      <a:pt x="64" y="30"/>
                    </a:lnTo>
                    <a:lnTo>
                      <a:pt x="64" y="28"/>
                    </a:lnTo>
                    <a:lnTo>
                      <a:pt x="66" y="26"/>
                    </a:lnTo>
                    <a:lnTo>
                      <a:pt x="68" y="26"/>
                    </a:lnTo>
                    <a:lnTo>
                      <a:pt x="72" y="24"/>
                    </a:lnTo>
                    <a:lnTo>
                      <a:pt x="74" y="24"/>
                    </a:lnTo>
                    <a:lnTo>
                      <a:pt x="76" y="24"/>
                    </a:lnTo>
                    <a:lnTo>
                      <a:pt x="78" y="24"/>
                    </a:lnTo>
                    <a:lnTo>
                      <a:pt x="82" y="22"/>
                    </a:lnTo>
                    <a:lnTo>
                      <a:pt x="84" y="20"/>
                    </a:lnTo>
                    <a:lnTo>
                      <a:pt x="92" y="20"/>
                    </a:lnTo>
                    <a:lnTo>
                      <a:pt x="94" y="20"/>
                    </a:lnTo>
                    <a:lnTo>
                      <a:pt x="96" y="20"/>
                    </a:lnTo>
                    <a:lnTo>
                      <a:pt x="98" y="20"/>
                    </a:lnTo>
                    <a:lnTo>
                      <a:pt x="100" y="18"/>
                    </a:lnTo>
                    <a:lnTo>
                      <a:pt x="102" y="16"/>
                    </a:lnTo>
                    <a:lnTo>
                      <a:pt x="104" y="14"/>
                    </a:lnTo>
                    <a:lnTo>
                      <a:pt x="108" y="14"/>
                    </a:lnTo>
                    <a:lnTo>
                      <a:pt x="112" y="12"/>
                    </a:lnTo>
                    <a:lnTo>
                      <a:pt x="114" y="10"/>
                    </a:lnTo>
                    <a:lnTo>
                      <a:pt x="114" y="6"/>
                    </a:lnTo>
                    <a:lnTo>
                      <a:pt x="118" y="0"/>
                    </a:lnTo>
                    <a:lnTo>
                      <a:pt x="126" y="8"/>
                    </a:lnTo>
                    <a:lnTo>
                      <a:pt x="128" y="8"/>
                    </a:lnTo>
                    <a:lnTo>
                      <a:pt x="128" y="10"/>
                    </a:lnTo>
                    <a:lnTo>
                      <a:pt x="130" y="10"/>
                    </a:lnTo>
                    <a:lnTo>
                      <a:pt x="132" y="14"/>
                    </a:lnTo>
                    <a:lnTo>
                      <a:pt x="132" y="12"/>
                    </a:lnTo>
                    <a:lnTo>
                      <a:pt x="138" y="14"/>
                    </a:lnTo>
                    <a:lnTo>
                      <a:pt x="138" y="16"/>
                    </a:lnTo>
                    <a:lnTo>
                      <a:pt x="144" y="20"/>
                    </a:lnTo>
                    <a:lnTo>
                      <a:pt x="146" y="20"/>
                    </a:lnTo>
                    <a:lnTo>
                      <a:pt x="146" y="22"/>
                    </a:lnTo>
                    <a:lnTo>
                      <a:pt x="148" y="22"/>
                    </a:lnTo>
                    <a:lnTo>
                      <a:pt x="150" y="22"/>
                    </a:lnTo>
                    <a:lnTo>
                      <a:pt x="152" y="26"/>
                    </a:lnTo>
                    <a:lnTo>
                      <a:pt x="156" y="28"/>
                    </a:lnTo>
                    <a:lnTo>
                      <a:pt x="158" y="28"/>
                    </a:lnTo>
                    <a:lnTo>
                      <a:pt x="160" y="30"/>
                    </a:lnTo>
                    <a:lnTo>
                      <a:pt x="162" y="28"/>
                    </a:lnTo>
                    <a:lnTo>
                      <a:pt x="166" y="30"/>
                    </a:lnTo>
                    <a:lnTo>
                      <a:pt x="168" y="34"/>
                    </a:lnTo>
                    <a:lnTo>
                      <a:pt x="170" y="34"/>
                    </a:lnTo>
                    <a:lnTo>
                      <a:pt x="172" y="34"/>
                    </a:lnTo>
                    <a:lnTo>
                      <a:pt x="174" y="34"/>
                    </a:lnTo>
                    <a:lnTo>
                      <a:pt x="178" y="32"/>
                    </a:lnTo>
                    <a:lnTo>
                      <a:pt x="180" y="32"/>
                    </a:lnTo>
                    <a:lnTo>
                      <a:pt x="182" y="34"/>
                    </a:lnTo>
                    <a:lnTo>
                      <a:pt x="180" y="36"/>
                    </a:lnTo>
                    <a:lnTo>
                      <a:pt x="182" y="38"/>
                    </a:lnTo>
                    <a:lnTo>
                      <a:pt x="184" y="38"/>
                    </a:lnTo>
                    <a:lnTo>
                      <a:pt x="184" y="40"/>
                    </a:lnTo>
                    <a:lnTo>
                      <a:pt x="186" y="42"/>
                    </a:lnTo>
                    <a:lnTo>
                      <a:pt x="188" y="42"/>
                    </a:lnTo>
                    <a:lnTo>
                      <a:pt x="190" y="42"/>
                    </a:lnTo>
                    <a:lnTo>
                      <a:pt x="192" y="42"/>
                    </a:lnTo>
                    <a:lnTo>
                      <a:pt x="192" y="44"/>
                    </a:lnTo>
                    <a:lnTo>
                      <a:pt x="192" y="46"/>
                    </a:lnTo>
                    <a:lnTo>
                      <a:pt x="192" y="48"/>
                    </a:lnTo>
                    <a:lnTo>
                      <a:pt x="194" y="56"/>
                    </a:lnTo>
                    <a:lnTo>
                      <a:pt x="196" y="56"/>
                    </a:lnTo>
                    <a:lnTo>
                      <a:pt x="200" y="58"/>
                    </a:lnTo>
                    <a:lnTo>
                      <a:pt x="204" y="60"/>
                    </a:lnTo>
                    <a:lnTo>
                      <a:pt x="206" y="60"/>
                    </a:lnTo>
                    <a:lnTo>
                      <a:pt x="212" y="58"/>
                    </a:lnTo>
                    <a:lnTo>
                      <a:pt x="214" y="62"/>
                    </a:lnTo>
                    <a:lnTo>
                      <a:pt x="224" y="64"/>
                    </a:lnTo>
                    <a:lnTo>
                      <a:pt x="226" y="64"/>
                    </a:lnTo>
                    <a:lnTo>
                      <a:pt x="228" y="64"/>
                    </a:lnTo>
                    <a:lnTo>
                      <a:pt x="232" y="64"/>
                    </a:lnTo>
                    <a:lnTo>
                      <a:pt x="232" y="62"/>
                    </a:lnTo>
                    <a:lnTo>
                      <a:pt x="238" y="64"/>
                    </a:lnTo>
                    <a:lnTo>
                      <a:pt x="238" y="66"/>
                    </a:lnTo>
                    <a:lnTo>
                      <a:pt x="240" y="66"/>
                    </a:lnTo>
                    <a:lnTo>
                      <a:pt x="246" y="64"/>
                    </a:lnTo>
                    <a:lnTo>
                      <a:pt x="248" y="64"/>
                    </a:lnTo>
                    <a:lnTo>
                      <a:pt x="248" y="56"/>
                    </a:lnTo>
                    <a:lnTo>
                      <a:pt x="256" y="56"/>
                    </a:lnTo>
                    <a:lnTo>
                      <a:pt x="262" y="58"/>
                    </a:lnTo>
                    <a:lnTo>
                      <a:pt x="268" y="60"/>
                    </a:lnTo>
                    <a:lnTo>
                      <a:pt x="270" y="60"/>
                    </a:lnTo>
                    <a:lnTo>
                      <a:pt x="272" y="64"/>
                    </a:lnTo>
                    <a:lnTo>
                      <a:pt x="276" y="70"/>
                    </a:lnTo>
                    <a:lnTo>
                      <a:pt x="284" y="76"/>
                    </a:lnTo>
                    <a:lnTo>
                      <a:pt x="286" y="76"/>
                    </a:lnTo>
                    <a:lnTo>
                      <a:pt x="288" y="76"/>
                    </a:lnTo>
                    <a:lnTo>
                      <a:pt x="294" y="76"/>
                    </a:lnTo>
                    <a:lnTo>
                      <a:pt x="296" y="78"/>
                    </a:lnTo>
                    <a:lnTo>
                      <a:pt x="302" y="82"/>
                    </a:lnTo>
                    <a:lnTo>
                      <a:pt x="304" y="82"/>
                    </a:lnTo>
                    <a:lnTo>
                      <a:pt x="306" y="82"/>
                    </a:lnTo>
                    <a:lnTo>
                      <a:pt x="308" y="82"/>
                    </a:lnTo>
                    <a:lnTo>
                      <a:pt x="308" y="84"/>
                    </a:lnTo>
                    <a:lnTo>
                      <a:pt x="310" y="84"/>
                    </a:lnTo>
                    <a:lnTo>
                      <a:pt x="308" y="86"/>
                    </a:lnTo>
                    <a:lnTo>
                      <a:pt x="306" y="86"/>
                    </a:lnTo>
                    <a:lnTo>
                      <a:pt x="302" y="88"/>
                    </a:lnTo>
                    <a:lnTo>
                      <a:pt x="298" y="86"/>
                    </a:lnTo>
                    <a:lnTo>
                      <a:pt x="296" y="84"/>
                    </a:lnTo>
                    <a:lnTo>
                      <a:pt x="292" y="84"/>
                    </a:lnTo>
                    <a:lnTo>
                      <a:pt x="292" y="88"/>
                    </a:lnTo>
                    <a:lnTo>
                      <a:pt x="294" y="88"/>
                    </a:lnTo>
                    <a:lnTo>
                      <a:pt x="298" y="90"/>
                    </a:lnTo>
                    <a:lnTo>
                      <a:pt x="300" y="94"/>
                    </a:lnTo>
                    <a:lnTo>
                      <a:pt x="300" y="96"/>
                    </a:lnTo>
                    <a:lnTo>
                      <a:pt x="302" y="98"/>
                    </a:lnTo>
                    <a:lnTo>
                      <a:pt x="302" y="100"/>
                    </a:lnTo>
                    <a:lnTo>
                      <a:pt x="304" y="102"/>
                    </a:lnTo>
                    <a:lnTo>
                      <a:pt x="306" y="104"/>
                    </a:lnTo>
                    <a:lnTo>
                      <a:pt x="310" y="106"/>
                    </a:lnTo>
                    <a:lnTo>
                      <a:pt x="312" y="108"/>
                    </a:lnTo>
                    <a:lnTo>
                      <a:pt x="312" y="112"/>
                    </a:lnTo>
                    <a:lnTo>
                      <a:pt x="310" y="112"/>
                    </a:lnTo>
                    <a:lnTo>
                      <a:pt x="310" y="114"/>
                    </a:lnTo>
                    <a:lnTo>
                      <a:pt x="310" y="118"/>
                    </a:lnTo>
                    <a:lnTo>
                      <a:pt x="310" y="122"/>
                    </a:lnTo>
                    <a:lnTo>
                      <a:pt x="312" y="130"/>
                    </a:lnTo>
                    <a:lnTo>
                      <a:pt x="308" y="130"/>
                    </a:lnTo>
                    <a:lnTo>
                      <a:pt x="306" y="130"/>
                    </a:lnTo>
                    <a:lnTo>
                      <a:pt x="304" y="130"/>
                    </a:lnTo>
                    <a:lnTo>
                      <a:pt x="302" y="128"/>
                    </a:lnTo>
                    <a:lnTo>
                      <a:pt x="302" y="134"/>
                    </a:lnTo>
                    <a:lnTo>
                      <a:pt x="300" y="136"/>
                    </a:lnTo>
                    <a:lnTo>
                      <a:pt x="300" y="140"/>
                    </a:lnTo>
                    <a:lnTo>
                      <a:pt x="298" y="146"/>
                    </a:lnTo>
                    <a:lnTo>
                      <a:pt x="294" y="160"/>
                    </a:lnTo>
                    <a:lnTo>
                      <a:pt x="294" y="162"/>
                    </a:lnTo>
                    <a:lnTo>
                      <a:pt x="292" y="164"/>
                    </a:lnTo>
                    <a:lnTo>
                      <a:pt x="286" y="170"/>
                    </a:lnTo>
                    <a:lnTo>
                      <a:pt x="282" y="174"/>
                    </a:lnTo>
                    <a:lnTo>
                      <a:pt x="272" y="186"/>
                    </a:lnTo>
                    <a:lnTo>
                      <a:pt x="266" y="194"/>
                    </a:lnTo>
                    <a:lnTo>
                      <a:pt x="248" y="206"/>
                    </a:lnTo>
                    <a:lnTo>
                      <a:pt x="236" y="218"/>
                    </a:lnTo>
                    <a:lnTo>
                      <a:pt x="222" y="222"/>
                    </a:lnTo>
                    <a:lnTo>
                      <a:pt x="214" y="224"/>
                    </a:lnTo>
                    <a:lnTo>
                      <a:pt x="204" y="228"/>
                    </a:lnTo>
                    <a:lnTo>
                      <a:pt x="192" y="232"/>
                    </a:lnTo>
                    <a:lnTo>
                      <a:pt x="174" y="240"/>
                    </a:lnTo>
                    <a:lnTo>
                      <a:pt x="172" y="240"/>
                    </a:lnTo>
                    <a:lnTo>
                      <a:pt x="170" y="240"/>
                    </a:lnTo>
                    <a:lnTo>
                      <a:pt x="166" y="242"/>
                    </a:lnTo>
                    <a:lnTo>
                      <a:pt x="160" y="250"/>
                    </a:lnTo>
                    <a:lnTo>
                      <a:pt x="160" y="252"/>
                    </a:lnTo>
                    <a:lnTo>
                      <a:pt x="156" y="256"/>
                    </a:lnTo>
                    <a:lnTo>
                      <a:pt x="154" y="256"/>
                    </a:lnTo>
                    <a:lnTo>
                      <a:pt x="152" y="258"/>
                    </a:lnTo>
                    <a:lnTo>
                      <a:pt x="152" y="260"/>
                    </a:lnTo>
                    <a:lnTo>
                      <a:pt x="150" y="260"/>
                    </a:lnTo>
                    <a:lnTo>
                      <a:pt x="152" y="262"/>
                    </a:lnTo>
                    <a:lnTo>
                      <a:pt x="154" y="264"/>
                    </a:lnTo>
                    <a:lnTo>
                      <a:pt x="152" y="266"/>
                    </a:lnTo>
                    <a:lnTo>
                      <a:pt x="148" y="268"/>
                    </a:lnTo>
                    <a:lnTo>
                      <a:pt x="148" y="264"/>
                    </a:lnTo>
                    <a:lnTo>
                      <a:pt x="148" y="262"/>
                    </a:lnTo>
                    <a:lnTo>
                      <a:pt x="146" y="262"/>
                    </a:lnTo>
                    <a:lnTo>
                      <a:pt x="146" y="264"/>
                    </a:lnTo>
                    <a:lnTo>
                      <a:pt x="144" y="264"/>
                    </a:lnTo>
                    <a:lnTo>
                      <a:pt x="144" y="266"/>
                    </a:lnTo>
                    <a:lnTo>
                      <a:pt x="144" y="268"/>
                    </a:lnTo>
                    <a:lnTo>
                      <a:pt x="142" y="270"/>
                    </a:lnTo>
                    <a:lnTo>
                      <a:pt x="144" y="272"/>
                    </a:lnTo>
                    <a:lnTo>
                      <a:pt x="142" y="276"/>
                    </a:lnTo>
                    <a:lnTo>
                      <a:pt x="142" y="278"/>
                    </a:lnTo>
                    <a:lnTo>
                      <a:pt x="142" y="280"/>
                    </a:lnTo>
                    <a:lnTo>
                      <a:pt x="140" y="282"/>
                    </a:lnTo>
                    <a:lnTo>
                      <a:pt x="140" y="284"/>
                    </a:lnTo>
                    <a:lnTo>
                      <a:pt x="138" y="286"/>
                    </a:lnTo>
                    <a:lnTo>
                      <a:pt x="134" y="290"/>
                    </a:lnTo>
                    <a:lnTo>
                      <a:pt x="134" y="292"/>
                    </a:lnTo>
                    <a:lnTo>
                      <a:pt x="132" y="294"/>
                    </a:lnTo>
                    <a:lnTo>
                      <a:pt x="132" y="296"/>
                    </a:lnTo>
                    <a:lnTo>
                      <a:pt x="132" y="298"/>
                    </a:lnTo>
                    <a:lnTo>
                      <a:pt x="132" y="300"/>
                    </a:lnTo>
                    <a:lnTo>
                      <a:pt x="128" y="310"/>
                    </a:lnTo>
                    <a:lnTo>
                      <a:pt x="128" y="312"/>
                    </a:lnTo>
                    <a:lnTo>
                      <a:pt x="126" y="312"/>
                    </a:lnTo>
                    <a:lnTo>
                      <a:pt x="126" y="314"/>
                    </a:lnTo>
                    <a:lnTo>
                      <a:pt x="128" y="314"/>
                    </a:lnTo>
                    <a:lnTo>
                      <a:pt x="128" y="318"/>
                    </a:lnTo>
                    <a:lnTo>
                      <a:pt x="128" y="320"/>
                    </a:lnTo>
                    <a:lnTo>
                      <a:pt x="128" y="326"/>
                    </a:lnTo>
                    <a:lnTo>
                      <a:pt x="126" y="326"/>
                    </a:lnTo>
                    <a:lnTo>
                      <a:pt x="124" y="3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1004" name="Freeform 1950"/>
              <p:cNvSpPr>
                <a:spLocks/>
              </p:cNvSpPr>
              <p:nvPr/>
            </p:nvSpPr>
            <p:spPr bwMode="auto">
              <a:xfrm>
                <a:off x="1964" y="1130"/>
                <a:ext cx="20" cy="20"/>
              </a:xfrm>
              <a:custGeom>
                <a:avLst/>
                <a:gdLst/>
                <a:ahLst/>
                <a:cxnLst>
                  <a:cxn ang="0">
                    <a:pos x="2" y="20"/>
                  </a:cxn>
                  <a:cxn ang="0">
                    <a:pos x="0" y="20"/>
                  </a:cxn>
                  <a:cxn ang="0">
                    <a:pos x="0" y="12"/>
                  </a:cxn>
                  <a:cxn ang="0">
                    <a:pos x="0" y="10"/>
                  </a:cxn>
                  <a:cxn ang="0">
                    <a:pos x="2" y="8"/>
                  </a:cxn>
                  <a:cxn ang="0">
                    <a:pos x="2" y="4"/>
                  </a:cxn>
                  <a:cxn ang="0">
                    <a:pos x="10" y="0"/>
                  </a:cxn>
                  <a:cxn ang="0">
                    <a:pos x="12" y="0"/>
                  </a:cxn>
                  <a:cxn ang="0">
                    <a:pos x="14" y="0"/>
                  </a:cxn>
                  <a:cxn ang="0">
                    <a:pos x="20" y="4"/>
                  </a:cxn>
                  <a:cxn ang="0">
                    <a:pos x="18" y="4"/>
                  </a:cxn>
                  <a:cxn ang="0">
                    <a:pos x="18" y="6"/>
                  </a:cxn>
                  <a:cxn ang="0">
                    <a:pos x="8" y="12"/>
                  </a:cxn>
                  <a:cxn ang="0">
                    <a:pos x="10" y="16"/>
                  </a:cxn>
                  <a:cxn ang="0">
                    <a:pos x="8" y="20"/>
                  </a:cxn>
                  <a:cxn ang="0">
                    <a:pos x="4" y="20"/>
                  </a:cxn>
                  <a:cxn ang="0">
                    <a:pos x="2" y="20"/>
                  </a:cxn>
                </a:cxnLst>
                <a:rect l="0" t="0" r="r" b="b"/>
                <a:pathLst>
                  <a:path w="20" h="20">
                    <a:moveTo>
                      <a:pt x="2" y="20"/>
                    </a:moveTo>
                    <a:lnTo>
                      <a:pt x="0" y="20"/>
                    </a:lnTo>
                    <a:lnTo>
                      <a:pt x="0" y="12"/>
                    </a:lnTo>
                    <a:lnTo>
                      <a:pt x="0" y="10"/>
                    </a:lnTo>
                    <a:lnTo>
                      <a:pt x="2" y="8"/>
                    </a:lnTo>
                    <a:lnTo>
                      <a:pt x="2" y="4"/>
                    </a:lnTo>
                    <a:lnTo>
                      <a:pt x="10" y="0"/>
                    </a:lnTo>
                    <a:lnTo>
                      <a:pt x="12" y="0"/>
                    </a:lnTo>
                    <a:lnTo>
                      <a:pt x="14" y="0"/>
                    </a:lnTo>
                    <a:lnTo>
                      <a:pt x="20" y="4"/>
                    </a:lnTo>
                    <a:lnTo>
                      <a:pt x="18" y="4"/>
                    </a:lnTo>
                    <a:lnTo>
                      <a:pt x="18" y="6"/>
                    </a:lnTo>
                    <a:lnTo>
                      <a:pt x="8" y="12"/>
                    </a:lnTo>
                    <a:lnTo>
                      <a:pt x="10" y="16"/>
                    </a:lnTo>
                    <a:lnTo>
                      <a:pt x="8" y="20"/>
                    </a:lnTo>
                    <a:lnTo>
                      <a:pt x="4" y="20"/>
                    </a:lnTo>
                    <a:lnTo>
                      <a:pt x="2"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722" name="Freeform 1951"/>
            <p:cNvSpPr>
              <a:spLocks/>
            </p:cNvSpPr>
            <p:nvPr/>
          </p:nvSpPr>
          <p:spPr bwMode="auto">
            <a:xfrm>
              <a:off x="4353805" y="3805679"/>
              <a:ext cx="560664" cy="611151"/>
            </a:xfrm>
            <a:custGeom>
              <a:avLst/>
              <a:gdLst/>
              <a:ahLst/>
              <a:cxnLst>
                <a:cxn ang="0">
                  <a:pos x="234" y="320"/>
                </a:cxn>
                <a:cxn ang="0">
                  <a:pos x="214" y="314"/>
                </a:cxn>
                <a:cxn ang="0">
                  <a:pos x="194" y="304"/>
                </a:cxn>
                <a:cxn ang="0">
                  <a:pos x="176" y="292"/>
                </a:cxn>
                <a:cxn ang="0">
                  <a:pos x="156" y="278"/>
                </a:cxn>
                <a:cxn ang="0">
                  <a:pos x="124" y="258"/>
                </a:cxn>
                <a:cxn ang="0">
                  <a:pos x="100" y="250"/>
                </a:cxn>
                <a:cxn ang="0">
                  <a:pos x="80" y="244"/>
                </a:cxn>
                <a:cxn ang="0">
                  <a:pos x="58" y="224"/>
                </a:cxn>
                <a:cxn ang="0">
                  <a:pos x="38" y="204"/>
                </a:cxn>
                <a:cxn ang="0">
                  <a:pos x="28" y="190"/>
                </a:cxn>
                <a:cxn ang="0">
                  <a:pos x="16" y="170"/>
                </a:cxn>
                <a:cxn ang="0">
                  <a:pos x="4" y="152"/>
                </a:cxn>
                <a:cxn ang="0">
                  <a:pos x="24" y="90"/>
                </a:cxn>
                <a:cxn ang="0">
                  <a:pos x="32" y="54"/>
                </a:cxn>
                <a:cxn ang="0">
                  <a:pos x="74" y="14"/>
                </a:cxn>
                <a:cxn ang="0">
                  <a:pos x="144" y="0"/>
                </a:cxn>
                <a:cxn ang="0">
                  <a:pos x="208" y="14"/>
                </a:cxn>
                <a:cxn ang="0">
                  <a:pos x="240" y="46"/>
                </a:cxn>
                <a:cxn ang="0">
                  <a:pos x="242" y="64"/>
                </a:cxn>
                <a:cxn ang="0">
                  <a:pos x="252" y="82"/>
                </a:cxn>
                <a:cxn ang="0">
                  <a:pos x="246" y="122"/>
                </a:cxn>
                <a:cxn ang="0">
                  <a:pos x="240" y="154"/>
                </a:cxn>
                <a:cxn ang="0">
                  <a:pos x="250" y="158"/>
                </a:cxn>
                <a:cxn ang="0">
                  <a:pos x="280" y="164"/>
                </a:cxn>
                <a:cxn ang="0">
                  <a:pos x="302" y="166"/>
                </a:cxn>
                <a:cxn ang="0">
                  <a:pos x="318" y="158"/>
                </a:cxn>
                <a:cxn ang="0">
                  <a:pos x="330" y="170"/>
                </a:cxn>
                <a:cxn ang="0">
                  <a:pos x="354" y="178"/>
                </a:cxn>
                <a:cxn ang="0">
                  <a:pos x="358" y="190"/>
                </a:cxn>
                <a:cxn ang="0">
                  <a:pos x="358" y="212"/>
                </a:cxn>
                <a:cxn ang="0">
                  <a:pos x="360" y="236"/>
                </a:cxn>
                <a:cxn ang="0">
                  <a:pos x="364" y="252"/>
                </a:cxn>
                <a:cxn ang="0">
                  <a:pos x="374" y="268"/>
                </a:cxn>
                <a:cxn ang="0">
                  <a:pos x="392" y="262"/>
                </a:cxn>
                <a:cxn ang="0">
                  <a:pos x="420" y="272"/>
                </a:cxn>
                <a:cxn ang="0">
                  <a:pos x="420" y="290"/>
                </a:cxn>
                <a:cxn ang="0">
                  <a:pos x="416" y="302"/>
                </a:cxn>
                <a:cxn ang="0">
                  <a:pos x="408" y="324"/>
                </a:cxn>
                <a:cxn ang="0">
                  <a:pos x="402" y="340"/>
                </a:cxn>
                <a:cxn ang="0">
                  <a:pos x="396" y="366"/>
                </a:cxn>
                <a:cxn ang="0">
                  <a:pos x="390" y="390"/>
                </a:cxn>
                <a:cxn ang="0">
                  <a:pos x="374" y="414"/>
                </a:cxn>
                <a:cxn ang="0">
                  <a:pos x="358" y="428"/>
                </a:cxn>
                <a:cxn ang="0">
                  <a:pos x="340" y="438"/>
                </a:cxn>
                <a:cxn ang="0">
                  <a:pos x="324" y="450"/>
                </a:cxn>
                <a:cxn ang="0">
                  <a:pos x="310" y="446"/>
                </a:cxn>
                <a:cxn ang="0">
                  <a:pos x="296" y="460"/>
                </a:cxn>
                <a:cxn ang="0">
                  <a:pos x="286" y="452"/>
                </a:cxn>
                <a:cxn ang="0">
                  <a:pos x="276" y="454"/>
                </a:cxn>
                <a:cxn ang="0">
                  <a:pos x="266" y="454"/>
                </a:cxn>
                <a:cxn ang="0">
                  <a:pos x="252" y="450"/>
                </a:cxn>
                <a:cxn ang="0">
                  <a:pos x="232" y="442"/>
                </a:cxn>
                <a:cxn ang="0">
                  <a:pos x="194" y="438"/>
                </a:cxn>
                <a:cxn ang="0">
                  <a:pos x="186" y="434"/>
                </a:cxn>
                <a:cxn ang="0">
                  <a:pos x="202" y="418"/>
                </a:cxn>
                <a:cxn ang="0">
                  <a:pos x="214" y="386"/>
                </a:cxn>
                <a:cxn ang="0">
                  <a:pos x="230" y="368"/>
                </a:cxn>
                <a:cxn ang="0">
                  <a:pos x="248" y="346"/>
                </a:cxn>
              </a:cxnLst>
              <a:rect l="0" t="0" r="r" b="b"/>
              <a:pathLst>
                <a:path w="422" h="460">
                  <a:moveTo>
                    <a:pt x="244" y="332"/>
                  </a:moveTo>
                  <a:lnTo>
                    <a:pt x="242" y="330"/>
                  </a:lnTo>
                  <a:lnTo>
                    <a:pt x="240" y="328"/>
                  </a:lnTo>
                  <a:lnTo>
                    <a:pt x="240" y="326"/>
                  </a:lnTo>
                  <a:lnTo>
                    <a:pt x="234" y="322"/>
                  </a:lnTo>
                  <a:lnTo>
                    <a:pt x="234" y="320"/>
                  </a:lnTo>
                  <a:lnTo>
                    <a:pt x="232" y="320"/>
                  </a:lnTo>
                  <a:lnTo>
                    <a:pt x="230" y="320"/>
                  </a:lnTo>
                  <a:lnTo>
                    <a:pt x="226" y="318"/>
                  </a:lnTo>
                  <a:lnTo>
                    <a:pt x="222" y="316"/>
                  </a:lnTo>
                  <a:lnTo>
                    <a:pt x="218" y="314"/>
                  </a:lnTo>
                  <a:lnTo>
                    <a:pt x="214" y="314"/>
                  </a:lnTo>
                  <a:lnTo>
                    <a:pt x="210" y="312"/>
                  </a:lnTo>
                  <a:lnTo>
                    <a:pt x="206" y="308"/>
                  </a:lnTo>
                  <a:lnTo>
                    <a:pt x="202" y="306"/>
                  </a:lnTo>
                  <a:lnTo>
                    <a:pt x="200" y="306"/>
                  </a:lnTo>
                  <a:lnTo>
                    <a:pt x="198" y="306"/>
                  </a:lnTo>
                  <a:lnTo>
                    <a:pt x="194" y="304"/>
                  </a:lnTo>
                  <a:lnTo>
                    <a:pt x="188" y="302"/>
                  </a:lnTo>
                  <a:lnTo>
                    <a:pt x="184" y="298"/>
                  </a:lnTo>
                  <a:lnTo>
                    <a:pt x="182" y="298"/>
                  </a:lnTo>
                  <a:lnTo>
                    <a:pt x="182" y="296"/>
                  </a:lnTo>
                  <a:lnTo>
                    <a:pt x="180" y="294"/>
                  </a:lnTo>
                  <a:lnTo>
                    <a:pt x="176" y="292"/>
                  </a:lnTo>
                  <a:lnTo>
                    <a:pt x="174" y="292"/>
                  </a:lnTo>
                  <a:lnTo>
                    <a:pt x="164" y="286"/>
                  </a:lnTo>
                  <a:lnTo>
                    <a:pt x="162" y="286"/>
                  </a:lnTo>
                  <a:lnTo>
                    <a:pt x="162" y="284"/>
                  </a:lnTo>
                  <a:lnTo>
                    <a:pt x="160" y="282"/>
                  </a:lnTo>
                  <a:lnTo>
                    <a:pt x="156" y="278"/>
                  </a:lnTo>
                  <a:lnTo>
                    <a:pt x="154" y="274"/>
                  </a:lnTo>
                  <a:lnTo>
                    <a:pt x="146" y="270"/>
                  </a:lnTo>
                  <a:lnTo>
                    <a:pt x="132" y="260"/>
                  </a:lnTo>
                  <a:lnTo>
                    <a:pt x="128" y="258"/>
                  </a:lnTo>
                  <a:lnTo>
                    <a:pt x="126" y="258"/>
                  </a:lnTo>
                  <a:lnTo>
                    <a:pt x="124" y="258"/>
                  </a:lnTo>
                  <a:lnTo>
                    <a:pt x="122" y="258"/>
                  </a:lnTo>
                  <a:lnTo>
                    <a:pt x="122" y="260"/>
                  </a:lnTo>
                  <a:lnTo>
                    <a:pt x="116" y="258"/>
                  </a:lnTo>
                  <a:lnTo>
                    <a:pt x="108" y="256"/>
                  </a:lnTo>
                  <a:lnTo>
                    <a:pt x="100" y="252"/>
                  </a:lnTo>
                  <a:lnTo>
                    <a:pt x="100" y="250"/>
                  </a:lnTo>
                  <a:lnTo>
                    <a:pt x="94" y="250"/>
                  </a:lnTo>
                  <a:lnTo>
                    <a:pt x="92" y="250"/>
                  </a:lnTo>
                  <a:lnTo>
                    <a:pt x="86" y="248"/>
                  </a:lnTo>
                  <a:lnTo>
                    <a:pt x="82" y="246"/>
                  </a:lnTo>
                  <a:lnTo>
                    <a:pt x="80" y="246"/>
                  </a:lnTo>
                  <a:lnTo>
                    <a:pt x="80" y="244"/>
                  </a:lnTo>
                  <a:lnTo>
                    <a:pt x="78" y="242"/>
                  </a:lnTo>
                  <a:lnTo>
                    <a:pt x="76" y="234"/>
                  </a:lnTo>
                  <a:lnTo>
                    <a:pt x="72" y="232"/>
                  </a:lnTo>
                  <a:lnTo>
                    <a:pt x="66" y="228"/>
                  </a:lnTo>
                  <a:lnTo>
                    <a:pt x="64" y="226"/>
                  </a:lnTo>
                  <a:lnTo>
                    <a:pt x="58" y="224"/>
                  </a:lnTo>
                  <a:lnTo>
                    <a:pt x="52" y="216"/>
                  </a:lnTo>
                  <a:lnTo>
                    <a:pt x="50" y="216"/>
                  </a:lnTo>
                  <a:lnTo>
                    <a:pt x="46" y="216"/>
                  </a:lnTo>
                  <a:lnTo>
                    <a:pt x="44" y="214"/>
                  </a:lnTo>
                  <a:lnTo>
                    <a:pt x="44" y="210"/>
                  </a:lnTo>
                  <a:lnTo>
                    <a:pt x="38" y="204"/>
                  </a:lnTo>
                  <a:lnTo>
                    <a:pt x="36" y="204"/>
                  </a:lnTo>
                  <a:lnTo>
                    <a:pt x="32" y="200"/>
                  </a:lnTo>
                  <a:lnTo>
                    <a:pt x="30" y="198"/>
                  </a:lnTo>
                  <a:lnTo>
                    <a:pt x="32" y="198"/>
                  </a:lnTo>
                  <a:lnTo>
                    <a:pt x="30" y="194"/>
                  </a:lnTo>
                  <a:lnTo>
                    <a:pt x="28" y="190"/>
                  </a:lnTo>
                  <a:lnTo>
                    <a:pt x="24" y="186"/>
                  </a:lnTo>
                  <a:lnTo>
                    <a:pt x="20" y="176"/>
                  </a:lnTo>
                  <a:lnTo>
                    <a:pt x="20" y="174"/>
                  </a:lnTo>
                  <a:lnTo>
                    <a:pt x="18" y="172"/>
                  </a:lnTo>
                  <a:lnTo>
                    <a:pt x="16" y="172"/>
                  </a:lnTo>
                  <a:lnTo>
                    <a:pt x="16" y="170"/>
                  </a:lnTo>
                  <a:lnTo>
                    <a:pt x="14" y="170"/>
                  </a:lnTo>
                  <a:lnTo>
                    <a:pt x="12" y="170"/>
                  </a:lnTo>
                  <a:lnTo>
                    <a:pt x="6" y="164"/>
                  </a:lnTo>
                  <a:lnTo>
                    <a:pt x="2" y="160"/>
                  </a:lnTo>
                  <a:lnTo>
                    <a:pt x="0" y="158"/>
                  </a:lnTo>
                  <a:lnTo>
                    <a:pt x="4" y="152"/>
                  </a:lnTo>
                  <a:lnTo>
                    <a:pt x="8" y="138"/>
                  </a:lnTo>
                  <a:lnTo>
                    <a:pt x="10" y="132"/>
                  </a:lnTo>
                  <a:lnTo>
                    <a:pt x="10" y="130"/>
                  </a:lnTo>
                  <a:lnTo>
                    <a:pt x="16" y="114"/>
                  </a:lnTo>
                  <a:lnTo>
                    <a:pt x="24" y="94"/>
                  </a:lnTo>
                  <a:lnTo>
                    <a:pt x="24" y="90"/>
                  </a:lnTo>
                  <a:lnTo>
                    <a:pt x="24" y="80"/>
                  </a:lnTo>
                  <a:lnTo>
                    <a:pt x="24" y="76"/>
                  </a:lnTo>
                  <a:lnTo>
                    <a:pt x="24" y="70"/>
                  </a:lnTo>
                  <a:lnTo>
                    <a:pt x="24" y="68"/>
                  </a:lnTo>
                  <a:lnTo>
                    <a:pt x="28" y="62"/>
                  </a:lnTo>
                  <a:lnTo>
                    <a:pt x="32" y="54"/>
                  </a:lnTo>
                  <a:lnTo>
                    <a:pt x="44" y="42"/>
                  </a:lnTo>
                  <a:lnTo>
                    <a:pt x="46" y="32"/>
                  </a:lnTo>
                  <a:lnTo>
                    <a:pt x="52" y="22"/>
                  </a:lnTo>
                  <a:lnTo>
                    <a:pt x="54" y="18"/>
                  </a:lnTo>
                  <a:lnTo>
                    <a:pt x="58" y="16"/>
                  </a:lnTo>
                  <a:lnTo>
                    <a:pt x="74" y="14"/>
                  </a:lnTo>
                  <a:lnTo>
                    <a:pt x="102" y="10"/>
                  </a:lnTo>
                  <a:lnTo>
                    <a:pt x="112" y="10"/>
                  </a:lnTo>
                  <a:lnTo>
                    <a:pt x="118" y="8"/>
                  </a:lnTo>
                  <a:lnTo>
                    <a:pt x="122" y="6"/>
                  </a:lnTo>
                  <a:lnTo>
                    <a:pt x="142" y="2"/>
                  </a:lnTo>
                  <a:lnTo>
                    <a:pt x="144" y="0"/>
                  </a:lnTo>
                  <a:lnTo>
                    <a:pt x="146" y="0"/>
                  </a:lnTo>
                  <a:lnTo>
                    <a:pt x="166" y="2"/>
                  </a:lnTo>
                  <a:lnTo>
                    <a:pt x="174" y="4"/>
                  </a:lnTo>
                  <a:lnTo>
                    <a:pt x="188" y="4"/>
                  </a:lnTo>
                  <a:lnTo>
                    <a:pt x="192" y="4"/>
                  </a:lnTo>
                  <a:lnTo>
                    <a:pt x="208" y="14"/>
                  </a:lnTo>
                  <a:lnTo>
                    <a:pt x="220" y="22"/>
                  </a:lnTo>
                  <a:lnTo>
                    <a:pt x="234" y="30"/>
                  </a:lnTo>
                  <a:lnTo>
                    <a:pt x="236" y="30"/>
                  </a:lnTo>
                  <a:lnTo>
                    <a:pt x="240" y="32"/>
                  </a:lnTo>
                  <a:lnTo>
                    <a:pt x="240" y="42"/>
                  </a:lnTo>
                  <a:lnTo>
                    <a:pt x="240" y="46"/>
                  </a:lnTo>
                  <a:lnTo>
                    <a:pt x="240" y="48"/>
                  </a:lnTo>
                  <a:lnTo>
                    <a:pt x="238" y="50"/>
                  </a:lnTo>
                  <a:lnTo>
                    <a:pt x="238" y="54"/>
                  </a:lnTo>
                  <a:lnTo>
                    <a:pt x="238" y="56"/>
                  </a:lnTo>
                  <a:lnTo>
                    <a:pt x="240" y="60"/>
                  </a:lnTo>
                  <a:lnTo>
                    <a:pt x="242" y="64"/>
                  </a:lnTo>
                  <a:lnTo>
                    <a:pt x="244" y="70"/>
                  </a:lnTo>
                  <a:lnTo>
                    <a:pt x="246" y="76"/>
                  </a:lnTo>
                  <a:lnTo>
                    <a:pt x="246" y="82"/>
                  </a:lnTo>
                  <a:lnTo>
                    <a:pt x="248" y="78"/>
                  </a:lnTo>
                  <a:lnTo>
                    <a:pt x="248" y="80"/>
                  </a:lnTo>
                  <a:lnTo>
                    <a:pt x="252" y="82"/>
                  </a:lnTo>
                  <a:lnTo>
                    <a:pt x="250" y="88"/>
                  </a:lnTo>
                  <a:lnTo>
                    <a:pt x="252" y="96"/>
                  </a:lnTo>
                  <a:lnTo>
                    <a:pt x="250" y="116"/>
                  </a:lnTo>
                  <a:lnTo>
                    <a:pt x="248" y="118"/>
                  </a:lnTo>
                  <a:lnTo>
                    <a:pt x="246" y="120"/>
                  </a:lnTo>
                  <a:lnTo>
                    <a:pt x="246" y="122"/>
                  </a:lnTo>
                  <a:lnTo>
                    <a:pt x="244" y="124"/>
                  </a:lnTo>
                  <a:lnTo>
                    <a:pt x="244" y="132"/>
                  </a:lnTo>
                  <a:lnTo>
                    <a:pt x="244" y="140"/>
                  </a:lnTo>
                  <a:lnTo>
                    <a:pt x="242" y="150"/>
                  </a:lnTo>
                  <a:lnTo>
                    <a:pt x="240" y="152"/>
                  </a:lnTo>
                  <a:lnTo>
                    <a:pt x="240" y="154"/>
                  </a:lnTo>
                  <a:lnTo>
                    <a:pt x="240" y="156"/>
                  </a:lnTo>
                  <a:lnTo>
                    <a:pt x="244" y="158"/>
                  </a:lnTo>
                  <a:lnTo>
                    <a:pt x="246" y="160"/>
                  </a:lnTo>
                  <a:lnTo>
                    <a:pt x="248" y="160"/>
                  </a:lnTo>
                  <a:lnTo>
                    <a:pt x="250" y="160"/>
                  </a:lnTo>
                  <a:lnTo>
                    <a:pt x="250" y="158"/>
                  </a:lnTo>
                  <a:lnTo>
                    <a:pt x="258" y="160"/>
                  </a:lnTo>
                  <a:lnTo>
                    <a:pt x="260" y="162"/>
                  </a:lnTo>
                  <a:lnTo>
                    <a:pt x="270" y="164"/>
                  </a:lnTo>
                  <a:lnTo>
                    <a:pt x="274" y="164"/>
                  </a:lnTo>
                  <a:lnTo>
                    <a:pt x="278" y="164"/>
                  </a:lnTo>
                  <a:lnTo>
                    <a:pt x="280" y="164"/>
                  </a:lnTo>
                  <a:lnTo>
                    <a:pt x="282" y="164"/>
                  </a:lnTo>
                  <a:lnTo>
                    <a:pt x="290" y="166"/>
                  </a:lnTo>
                  <a:lnTo>
                    <a:pt x="296" y="168"/>
                  </a:lnTo>
                  <a:lnTo>
                    <a:pt x="300" y="168"/>
                  </a:lnTo>
                  <a:lnTo>
                    <a:pt x="302" y="168"/>
                  </a:lnTo>
                  <a:lnTo>
                    <a:pt x="302" y="166"/>
                  </a:lnTo>
                  <a:lnTo>
                    <a:pt x="306" y="166"/>
                  </a:lnTo>
                  <a:lnTo>
                    <a:pt x="308" y="168"/>
                  </a:lnTo>
                  <a:lnTo>
                    <a:pt x="312" y="164"/>
                  </a:lnTo>
                  <a:lnTo>
                    <a:pt x="314" y="162"/>
                  </a:lnTo>
                  <a:lnTo>
                    <a:pt x="316" y="160"/>
                  </a:lnTo>
                  <a:lnTo>
                    <a:pt x="318" y="158"/>
                  </a:lnTo>
                  <a:lnTo>
                    <a:pt x="322" y="158"/>
                  </a:lnTo>
                  <a:lnTo>
                    <a:pt x="322" y="160"/>
                  </a:lnTo>
                  <a:lnTo>
                    <a:pt x="322" y="162"/>
                  </a:lnTo>
                  <a:lnTo>
                    <a:pt x="324" y="164"/>
                  </a:lnTo>
                  <a:lnTo>
                    <a:pt x="326" y="166"/>
                  </a:lnTo>
                  <a:lnTo>
                    <a:pt x="330" y="170"/>
                  </a:lnTo>
                  <a:lnTo>
                    <a:pt x="332" y="170"/>
                  </a:lnTo>
                  <a:lnTo>
                    <a:pt x="338" y="170"/>
                  </a:lnTo>
                  <a:lnTo>
                    <a:pt x="340" y="170"/>
                  </a:lnTo>
                  <a:lnTo>
                    <a:pt x="342" y="170"/>
                  </a:lnTo>
                  <a:lnTo>
                    <a:pt x="348" y="172"/>
                  </a:lnTo>
                  <a:lnTo>
                    <a:pt x="354" y="178"/>
                  </a:lnTo>
                  <a:lnTo>
                    <a:pt x="354" y="180"/>
                  </a:lnTo>
                  <a:lnTo>
                    <a:pt x="354" y="182"/>
                  </a:lnTo>
                  <a:lnTo>
                    <a:pt x="354" y="184"/>
                  </a:lnTo>
                  <a:lnTo>
                    <a:pt x="354" y="186"/>
                  </a:lnTo>
                  <a:lnTo>
                    <a:pt x="356" y="188"/>
                  </a:lnTo>
                  <a:lnTo>
                    <a:pt x="358" y="190"/>
                  </a:lnTo>
                  <a:lnTo>
                    <a:pt x="360" y="190"/>
                  </a:lnTo>
                  <a:lnTo>
                    <a:pt x="358" y="196"/>
                  </a:lnTo>
                  <a:lnTo>
                    <a:pt x="358" y="198"/>
                  </a:lnTo>
                  <a:lnTo>
                    <a:pt x="358" y="200"/>
                  </a:lnTo>
                  <a:lnTo>
                    <a:pt x="358" y="202"/>
                  </a:lnTo>
                  <a:lnTo>
                    <a:pt x="358" y="212"/>
                  </a:lnTo>
                  <a:lnTo>
                    <a:pt x="358" y="216"/>
                  </a:lnTo>
                  <a:lnTo>
                    <a:pt x="360" y="218"/>
                  </a:lnTo>
                  <a:lnTo>
                    <a:pt x="360" y="228"/>
                  </a:lnTo>
                  <a:lnTo>
                    <a:pt x="360" y="230"/>
                  </a:lnTo>
                  <a:lnTo>
                    <a:pt x="362" y="232"/>
                  </a:lnTo>
                  <a:lnTo>
                    <a:pt x="360" y="236"/>
                  </a:lnTo>
                  <a:lnTo>
                    <a:pt x="360" y="244"/>
                  </a:lnTo>
                  <a:lnTo>
                    <a:pt x="360" y="246"/>
                  </a:lnTo>
                  <a:lnTo>
                    <a:pt x="362" y="246"/>
                  </a:lnTo>
                  <a:lnTo>
                    <a:pt x="362" y="248"/>
                  </a:lnTo>
                  <a:lnTo>
                    <a:pt x="364" y="250"/>
                  </a:lnTo>
                  <a:lnTo>
                    <a:pt x="364" y="252"/>
                  </a:lnTo>
                  <a:lnTo>
                    <a:pt x="364" y="254"/>
                  </a:lnTo>
                  <a:lnTo>
                    <a:pt x="364" y="260"/>
                  </a:lnTo>
                  <a:lnTo>
                    <a:pt x="364" y="262"/>
                  </a:lnTo>
                  <a:lnTo>
                    <a:pt x="364" y="264"/>
                  </a:lnTo>
                  <a:lnTo>
                    <a:pt x="366" y="266"/>
                  </a:lnTo>
                  <a:lnTo>
                    <a:pt x="374" y="268"/>
                  </a:lnTo>
                  <a:lnTo>
                    <a:pt x="376" y="268"/>
                  </a:lnTo>
                  <a:lnTo>
                    <a:pt x="378" y="268"/>
                  </a:lnTo>
                  <a:lnTo>
                    <a:pt x="382" y="266"/>
                  </a:lnTo>
                  <a:lnTo>
                    <a:pt x="388" y="266"/>
                  </a:lnTo>
                  <a:lnTo>
                    <a:pt x="390" y="264"/>
                  </a:lnTo>
                  <a:lnTo>
                    <a:pt x="392" y="262"/>
                  </a:lnTo>
                  <a:lnTo>
                    <a:pt x="404" y="256"/>
                  </a:lnTo>
                  <a:lnTo>
                    <a:pt x="408" y="260"/>
                  </a:lnTo>
                  <a:lnTo>
                    <a:pt x="414" y="264"/>
                  </a:lnTo>
                  <a:lnTo>
                    <a:pt x="420" y="270"/>
                  </a:lnTo>
                  <a:lnTo>
                    <a:pt x="422" y="272"/>
                  </a:lnTo>
                  <a:lnTo>
                    <a:pt x="420" y="272"/>
                  </a:lnTo>
                  <a:lnTo>
                    <a:pt x="418" y="274"/>
                  </a:lnTo>
                  <a:lnTo>
                    <a:pt x="418" y="276"/>
                  </a:lnTo>
                  <a:lnTo>
                    <a:pt x="418" y="282"/>
                  </a:lnTo>
                  <a:lnTo>
                    <a:pt x="420" y="284"/>
                  </a:lnTo>
                  <a:lnTo>
                    <a:pt x="420" y="288"/>
                  </a:lnTo>
                  <a:lnTo>
                    <a:pt x="420" y="290"/>
                  </a:lnTo>
                  <a:lnTo>
                    <a:pt x="418" y="292"/>
                  </a:lnTo>
                  <a:lnTo>
                    <a:pt x="416" y="292"/>
                  </a:lnTo>
                  <a:lnTo>
                    <a:pt x="416" y="294"/>
                  </a:lnTo>
                  <a:lnTo>
                    <a:pt x="416" y="296"/>
                  </a:lnTo>
                  <a:lnTo>
                    <a:pt x="416" y="298"/>
                  </a:lnTo>
                  <a:lnTo>
                    <a:pt x="416" y="302"/>
                  </a:lnTo>
                  <a:lnTo>
                    <a:pt x="416" y="304"/>
                  </a:lnTo>
                  <a:lnTo>
                    <a:pt x="416" y="306"/>
                  </a:lnTo>
                  <a:lnTo>
                    <a:pt x="414" y="306"/>
                  </a:lnTo>
                  <a:lnTo>
                    <a:pt x="412" y="312"/>
                  </a:lnTo>
                  <a:lnTo>
                    <a:pt x="410" y="314"/>
                  </a:lnTo>
                  <a:lnTo>
                    <a:pt x="408" y="324"/>
                  </a:lnTo>
                  <a:lnTo>
                    <a:pt x="406" y="326"/>
                  </a:lnTo>
                  <a:lnTo>
                    <a:pt x="406" y="328"/>
                  </a:lnTo>
                  <a:lnTo>
                    <a:pt x="408" y="330"/>
                  </a:lnTo>
                  <a:lnTo>
                    <a:pt x="408" y="332"/>
                  </a:lnTo>
                  <a:lnTo>
                    <a:pt x="404" y="338"/>
                  </a:lnTo>
                  <a:lnTo>
                    <a:pt x="402" y="340"/>
                  </a:lnTo>
                  <a:lnTo>
                    <a:pt x="400" y="342"/>
                  </a:lnTo>
                  <a:lnTo>
                    <a:pt x="396" y="346"/>
                  </a:lnTo>
                  <a:lnTo>
                    <a:pt x="396" y="350"/>
                  </a:lnTo>
                  <a:lnTo>
                    <a:pt x="396" y="354"/>
                  </a:lnTo>
                  <a:lnTo>
                    <a:pt x="396" y="358"/>
                  </a:lnTo>
                  <a:lnTo>
                    <a:pt x="396" y="366"/>
                  </a:lnTo>
                  <a:lnTo>
                    <a:pt x="396" y="374"/>
                  </a:lnTo>
                  <a:lnTo>
                    <a:pt x="392" y="376"/>
                  </a:lnTo>
                  <a:lnTo>
                    <a:pt x="392" y="386"/>
                  </a:lnTo>
                  <a:lnTo>
                    <a:pt x="392" y="388"/>
                  </a:lnTo>
                  <a:lnTo>
                    <a:pt x="392" y="390"/>
                  </a:lnTo>
                  <a:lnTo>
                    <a:pt x="390" y="390"/>
                  </a:lnTo>
                  <a:lnTo>
                    <a:pt x="390" y="394"/>
                  </a:lnTo>
                  <a:lnTo>
                    <a:pt x="388" y="400"/>
                  </a:lnTo>
                  <a:lnTo>
                    <a:pt x="378" y="414"/>
                  </a:lnTo>
                  <a:lnTo>
                    <a:pt x="378" y="412"/>
                  </a:lnTo>
                  <a:lnTo>
                    <a:pt x="376" y="414"/>
                  </a:lnTo>
                  <a:lnTo>
                    <a:pt x="374" y="414"/>
                  </a:lnTo>
                  <a:lnTo>
                    <a:pt x="374" y="418"/>
                  </a:lnTo>
                  <a:lnTo>
                    <a:pt x="372" y="420"/>
                  </a:lnTo>
                  <a:lnTo>
                    <a:pt x="370" y="420"/>
                  </a:lnTo>
                  <a:lnTo>
                    <a:pt x="368" y="420"/>
                  </a:lnTo>
                  <a:lnTo>
                    <a:pt x="364" y="424"/>
                  </a:lnTo>
                  <a:lnTo>
                    <a:pt x="358" y="428"/>
                  </a:lnTo>
                  <a:lnTo>
                    <a:pt x="356" y="428"/>
                  </a:lnTo>
                  <a:lnTo>
                    <a:pt x="350" y="428"/>
                  </a:lnTo>
                  <a:lnTo>
                    <a:pt x="350" y="430"/>
                  </a:lnTo>
                  <a:lnTo>
                    <a:pt x="348" y="430"/>
                  </a:lnTo>
                  <a:lnTo>
                    <a:pt x="340" y="436"/>
                  </a:lnTo>
                  <a:lnTo>
                    <a:pt x="340" y="438"/>
                  </a:lnTo>
                  <a:lnTo>
                    <a:pt x="340" y="442"/>
                  </a:lnTo>
                  <a:lnTo>
                    <a:pt x="340" y="444"/>
                  </a:lnTo>
                  <a:lnTo>
                    <a:pt x="338" y="448"/>
                  </a:lnTo>
                  <a:lnTo>
                    <a:pt x="330" y="454"/>
                  </a:lnTo>
                  <a:lnTo>
                    <a:pt x="324" y="452"/>
                  </a:lnTo>
                  <a:lnTo>
                    <a:pt x="324" y="450"/>
                  </a:lnTo>
                  <a:lnTo>
                    <a:pt x="322" y="448"/>
                  </a:lnTo>
                  <a:lnTo>
                    <a:pt x="320" y="448"/>
                  </a:lnTo>
                  <a:lnTo>
                    <a:pt x="316" y="446"/>
                  </a:lnTo>
                  <a:lnTo>
                    <a:pt x="314" y="446"/>
                  </a:lnTo>
                  <a:lnTo>
                    <a:pt x="312" y="446"/>
                  </a:lnTo>
                  <a:lnTo>
                    <a:pt x="310" y="446"/>
                  </a:lnTo>
                  <a:lnTo>
                    <a:pt x="304" y="450"/>
                  </a:lnTo>
                  <a:lnTo>
                    <a:pt x="304" y="452"/>
                  </a:lnTo>
                  <a:lnTo>
                    <a:pt x="304" y="454"/>
                  </a:lnTo>
                  <a:lnTo>
                    <a:pt x="300" y="460"/>
                  </a:lnTo>
                  <a:lnTo>
                    <a:pt x="298" y="460"/>
                  </a:lnTo>
                  <a:lnTo>
                    <a:pt x="296" y="460"/>
                  </a:lnTo>
                  <a:lnTo>
                    <a:pt x="294" y="458"/>
                  </a:lnTo>
                  <a:lnTo>
                    <a:pt x="292" y="454"/>
                  </a:lnTo>
                  <a:lnTo>
                    <a:pt x="290" y="454"/>
                  </a:lnTo>
                  <a:lnTo>
                    <a:pt x="290" y="452"/>
                  </a:lnTo>
                  <a:lnTo>
                    <a:pt x="288" y="452"/>
                  </a:lnTo>
                  <a:lnTo>
                    <a:pt x="286" y="452"/>
                  </a:lnTo>
                  <a:lnTo>
                    <a:pt x="284" y="452"/>
                  </a:lnTo>
                  <a:lnTo>
                    <a:pt x="284" y="454"/>
                  </a:lnTo>
                  <a:lnTo>
                    <a:pt x="282" y="454"/>
                  </a:lnTo>
                  <a:lnTo>
                    <a:pt x="280" y="454"/>
                  </a:lnTo>
                  <a:lnTo>
                    <a:pt x="278" y="454"/>
                  </a:lnTo>
                  <a:lnTo>
                    <a:pt x="276" y="454"/>
                  </a:lnTo>
                  <a:lnTo>
                    <a:pt x="276" y="452"/>
                  </a:lnTo>
                  <a:lnTo>
                    <a:pt x="274" y="450"/>
                  </a:lnTo>
                  <a:lnTo>
                    <a:pt x="272" y="450"/>
                  </a:lnTo>
                  <a:lnTo>
                    <a:pt x="268" y="450"/>
                  </a:lnTo>
                  <a:lnTo>
                    <a:pt x="266" y="452"/>
                  </a:lnTo>
                  <a:lnTo>
                    <a:pt x="266" y="454"/>
                  </a:lnTo>
                  <a:lnTo>
                    <a:pt x="264" y="454"/>
                  </a:lnTo>
                  <a:lnTo>
                    <a:pt x="262" y="454"/>
                  </a:lnTo>
                  <a:lnTo>
                    <a:pt x="258" y="454"/>
                  </a:lnTo>
                  <a:lnTo>
                    <a:pt x="256" y="452"/>
                  </a:lnTo>
                  <a:lnTo>
                    <a:pt x="254" y="450"/>
                  </a:lnTo>
                  <a:lnTo>
                    <a:pt x="252" y="450"/>
                  </a:lnTo>
                  <a:lnTo>
                    <a:pt x="250" y="450"/>
                  </a:lnTo>
                  <a:lnTo>
                    <a:pt x="248" y="448"/>
                  </a:lnTo>
                  <a:lnTo>
                    <a:pt x="236" y="446"/>
                  </a:lnTo>
                  <a:lnTo>
                    <a:pt x="236" y="444"/>
                  </a:lnTo>
                  <a:lnTo>
                    <a:pt x="234" y="444"/>
                  </a:lnTo>
                  <a:lnTo>
                    <a:pt x="232" y="442"/>
                  </a:lnTo>
                  <a:lnTo>
                    <a:pt x="228" y="440"/>
                  </a:lnTo>
                  <a:lnTo>
                    <a:pt x="222" y="440"/>
                  </a:lnTo>
                  <a:lnTo>
                    <a:pt x="218" y="438"/>
                  </a:lnTo>
                  <a:lnTo>
                    <a:pt x="210" y="438"/>
                  </a:lnTo>
                  <a:lnTo>
                    <a:pt x="204" y="438"/>
                  </a:lnTo>
                  <a:lnTo>
                    <a:pt x="194" y="438"/>
                  </a:lnTo>
                  <a:lnTo>
                    <a:pt x="192" y="438"/>
                  </a:lnTo>
                  <a:lnTo>
                    <a:pt x="192" y="440"/>
                  </a:lnTo>
                  <a:lnTo>
                    <a:pt x="190" y="440"/>
                  </a:lnTo>
                  <a:lnTo>
                    <a:pt x="188" y="440"/>
                  </a:lnTo>
                  <a:lnTo>
                    <a:pt x="188" y="436"/>
                  </a:lnTo>
                  <a:lnTo>
                    <a:pt x="186" y="434"/>
                  </a:lnTo>
                  <a:lnTo>
                    <a:pt x="186" y="432"/>
                  </a:lnTo>
                  <a:lnTo>
                    <a:pt x="188" y="430"/>
                  </a:lnTo>
                  <a:lnTo>
                    <a:pt x="190" y="430"/>
                  </a:lnTo>
                  <a:lnTo>
                    <a:pt x="196" y="422"/>
                  </a:lnTo>
                  <a:lnTo>
                    <a:pt x="200" y="418"/>
                  </a:lnTo>
                  <a:lnTo>
                    <a:pt x="202" y="418"/>
                  </a:lnTo>
                  <a:lnTo>
                    <a:pt x="204" y="418"/>
                  </a:lnTo>
                  <a:lnTo>
                    <a:pt x="212" y="406"/>
                  </a:lnTo>
                  <a:lnTo>
                    <a:pt x="212" y="402"/>
                  </a:lnTo>
                  <a:lnTo>
                    <a:pt x="212" y="400"/>
                  </a:lnTo>
                  <a:lnTo>
                    <a:pt x="212" y="392"/>
                  </a:lnTo>
                  <a:lnTo>
                    <a:pt x="214" y="386"/>
                  </a:lnTo>
                  <a:lnTo>
                    <a:pt x="216" y="384"/>
                  </a:lnTo>
                  <a:lnTo>
                    <a:pt x="216" y="382"/>
                  </a:lnTo>
                  <a:lnTo>
                    <a:pt x="220" y="376"/>
                  </a:lnTo>
                  <a:lnTo>
                    <a:pt x="224" y="376"/>
                  </a:lnTo>
                  <a:lnTo>
                    <a:pt x="230" y="370"/>
                  </a:lnTo>
                  <a:lnTo>
                    <a:pt x="230" y="368"/>
                  </a:lnTo>
                  <a:lnTo>
                    <a:pt x="232" y="364"/>
                  </a:lnTo>
                  <a:lnTo>
                    <a:pt x="234" y="362"/>
                  </a:lnTo>
                  <a:lnTo>
                    <a:pt x="234" y="358"/>
                  </a:lnTo>
                  <a:lnTo>
                    <a:pt x="236" y="358"/>
                  </a:lnTo>
                  <a:lnTo>
                    <a:pt x="238" y="356"/>
                  </a:lnTo>
                  <a:lnTo>
                    <a:pt x="248" y="346"/>
                  </a:lnTo>
                  <a:lnTo>
                    <a:pt x="248" y="342"/>
                  </a:lnTo>
                  <a:lnTo>
                    <a:pt x="248" y="340"/>
                  </a:lnTo>
                  <a:lnTo>
                    <a:pt x="246" y="338"/>
                  </a:lnTo>
                  <a:lnTo>
                    <a:pt x="244" y="3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23" name="Freeform 1956"/>
            <p:cNvSpPr>
              <a:spLocks/>
            </p:cNvSpPr>
            <p:nvPr/>
          </p:nvSpPr>
          <p:spPr bwMode="auto">
            <a:xfrm>
              <a:off x="4571693" y="4597518"/>
              <a:ext cx="348090" cy="358719"/>
            </a:xfrm>
            <a:custGeom>
              <a:avLst/>
              <a:gdLst/>
              <a:ahLst/>
              <a:cxnLst>
                <a:cxn ang="0">
                  <a:pos x="8" y="170"/>
                </a:cxn>
                <a:cxn ang="0">
                  <a:pos x="10" y="162"/>
                </a:cxn>
                <a:cxn ang="0">
                  <a:pos x="20" y="158"/>
                </a:cxn>
                <a:cxn ang="0">
                  <a:pos x="20" y="144"/>
                </a:cxn>
                <a:cxn ang="0">
                  <a:pos x="18" y="128"/>
                </a:cxn>
                <a:cxn ang="0">
                  <a:pos x="24" y="118"/>
                </a:cxn>
                <a:cxn ang="0">
                  <a:pos x="22" y="108"/>
                </a:cxn>
                <a:cxn ang="0">
                  <a:pos x="22" y="96"/>
                </a:cxn>
                <a:cxn ang="0">
                  <a:pos x="30" y="90"/>
                </a:cxn>
                <a:cxn ang="0">
                  <a:pos x="30" y="74"/>
                </a:cxn>
                <a:cxn ang="0">
                  <a:pos x="44" y="50"/>
                </a:cxn>
                <a:cxn ang="0">
                  <a:pos x="46" y="28"/>
                </a:cxn>
                <a:cxn ang="0">
                  <a:pos x="48" y="18"/>
                </a:cxn>
                <a:cxn ang="0">
                  <a:pos x="58" y="6"/>
                </a:cxn>
                <a:cxn ang="0">
                  <a:pos x="64" y="8"/>
                </a:cxn>
                <a:cxn ang="0">
                  <a:pos x="80" y="10"/>
                </a:cxn>
                <a:cxn ang="0">
                  <a:pos x="92" y="0"/>
                </a:cxn>
                <a:cxn ang="0">
                  <a:pos x="110" y="14"/>
                </a:cxn>
                <a:cxn ang="0">
                  <a:pos x="122" y="26"/>
                </a:cxn>
                <a:cxn ang="0">
                  <a:pos x="136" y="44"/>
                </a:cxn>
                <a:cxn ang="0">
                  <a:pos x="134" y="56"/>
                </a:cxn>
                <a:cxn ang="0">
                  <a:pos x="152" y="46"/>
                </a:cxn>
                <a:cxn ang="0">
                  <a:pos x="164" y="56"/>
                </a:cxn>
                <a:cxn ang="0">
                  <a:pos x="180" y="72"/>
                </a:cxn>
                <a:cxn ang="0">
                  <a:pos x="188" y="80"/>
                </a:cxn>
                <a:cxn ang="0">
                  <a:pos x="204" y="88"/>
                </a:cxn>
                <a:cxn ang="0">
                  <a:pos x="212" y="100"/>
                </a:cxn>
                <a:cxn ang="0">
                  <a:pos x="230" y="112"/>
                </a:cxn>
                <a:cxn ang="0">
                  <a:pos x="238" y="134"/>
                </a:cxn>
                <a:cxn ang="0">
                  <a:pos x="250" y="146"/>
                </a:cxn>
                <a:cxn ang="0">
                  <a:pos x="258" y="158"/>
                </a:cxn>
                <a:cxn ang="0">
                  <a:pos x="240" y="172"/>
                </a:cxn>
                <a:cxn ang="0">
                  <a:pos x="238" y="182"/>
                </a:cxn>
                <a:cxn ang="0">
                  <a:pos x="236" y="194"/>
                </a:cxn>
                <a:cxn ang="0">
                  <a:pos x="234" y="204"/>
                </a:cxn>
                <a:cxn ang="0">
                  <a:pos x="238" y="210"/>
                </a:cxn>
                <a:cxn ang="0">
                  <a:pos x="232" y="222"/>
                </a:cxn>
                <a:cxn ang="0">
                  <a:pos x="220" y="238"/>
                </a:cxn>
                <a:cxn ang="0">
                  <a:pos x="200" y="254"/>
                </a:cxn>
                <a:cxn ang="0">
                  <a:pos x="194" y="256"/>
                </a:cxn>
                <a:cxn ang="0">
                  <a:pos x="188" y="260"/>
                </a:cxn>
                <a:cxn ang="0">
                  <a:pos x="164" y="270"/>
                </a:cxn>
                <a:cxn ang="0">
                  <a:pos x="150" y="266"/>
                </a:cxn>
                <a:cxn ang="0">
                  <a:pos x="140" y="264"/>
                </a:cxn>
                <a:cxn ang="0">
                  <a:pos x="120" y="260"/>
                </a:cxn>
                <a:cxn ang="0">
                  <a:pos x="108" y="264"/>
                </a:cxn>
                <a:cxn ang="0">
                  <a:pos x="90" y="260"/>
                </a:cxn>
                <a:cxn ang="0">
                  <a:pos x="68" y="250"/>
                </a:cxn>
                <a:cxn ang="0">
                  <a:pos x="32" y="236"/>
                </a:cxn>
                <a:cxn ang="0">
                  <a:pos x="20" y="228"/>
                </a:cxn>
                <a:cxn ang="0">
                  <a:pos x="4" y="208"/>
                </a:cxn>
                <a:cxn ang="0">
                  <a:pos x="0" y="200"/>
                </a:cxn>
                <a:cxn ang="0">
                  <a:pos x="4" y="180"/>
                </a:cxn>
              </a:cxnLst>
              <a:rect l="0" t="0" r="r" b="b"/>
              <a:pathLst>
                <a:path w="262" h="270">
                  <a:moveTo>
                    <a:pt x="4" y="178"/>
                  </a:moveTo>
                  <a:lnTo>
                    <a:pt x="4" y="174"/>
                  </a:lnTo>
                  <a:lnTo>
                    <a:pt x="6" y="174"/>
                  </a:lnTo>
                  <a:lnTo>
                    <a:pt x="6" y="172"/>
                  </a:lnTo>
                  <a:lnTo>
                    <a:pt x="8" y="170"/>
                  </a:lnTo>
                  <a:lnTo>
                    <a:pt x="8" y="168"/>
                  </a:lnTo>
                  <a:lnTo>
                    <a:pt x="8" y="166"/>
                  </a:lnTo>
                  <a:lnTo>
                    <a:pt x="8" y="164"/>
                  </a:lnTo>
                  <a:lnTo>
                    <a:pt x="8" y="162"/>
                  </a:lnTo>
                  <a:lnTo>
                    <a:pt x="10" y="162"/>
                  </a:lnTo>
                  <a:lnTo>
                    <a:pt x="12" y="162"/>
                  </a:lnTo>
                  <a:lnTo>
                    <a:pt x="14" y="162"/>
                  </a:lnTo>
                  <a:lnTo>
                    <a:pt x="16" y="162"/>
                  </a:lnTo>
                  <a:lnTo>
                    <a:pt x="18" y="162"/>
                  </a:lnTo>
                  <a:lnTo>
                    <a:pt x="20" y="158"/>
                  </a:lnTo>
                  <a:lnTo>
                    <a:pt x="24" y="152"/>
                  </a:lnTo>
                  <a:lnTo>
                    <a:pt x="24" y="150"/>
                  </a:lnTo>
                  <a:lnTo>
                    <a:pt x="22" y="148"/>
                  </a:lnTo>
                  <a:lnTo>
                    <a:pt x="20" y="146"/>
                  </a:lnTo>
                  <a:lnTo>
                    <a:pt x="20" y="144"/>
                  </a:lnTo>
                  <a:lnTo>
                    <a:pt x="20" y="142"/>
                  </a:lnTo>
                  <a:lnTo>
                    <a:pt x="20" y="140"/>
                  </a:lnTo>
                  <a:lnTo>
                    <a:pt x="20" y="138"/>
                  </a:lnTo>
                  <a:lnTo>
                    <a:pt x="20" y="134"/>
                  </a:lnTo>
                  <a:lnTo>
                    <a:pt x="18" y="128"/>
                  </a:lnTo>
                  <a:lnTo>
                    <a:pt x="18" y="126"/>
                  </a:lnTo>
                  <a:lnTo>
                    <a:pt x="20" y="122"/>
                  </a:lnTo>
                  <a:lnTo>
                    <a:pt x="22" y="122"/>
                  </a:lnTo>
                  <a:lnTo>
                    <a:pt x="22" y="120"/>
                  </a:lnTo>
                  <a:lnTo>
                    <a:pt x="24" y="118"/>
                  </a:lnTo>
                  <a:lnTo>
                    <a:pt x="24" y="116"/>
                  </a:lnTo>
                  <a:lnTo>
                    <a:pt x="24" y="114"/>
                  </a:lnTo>
                  <a:lnTo>
                    <a:pt x="22" y="112"/>
                  </a:lnTo>
                  <a:lnTo>
                    <a:pt x="22" y="110"/>
                  </a:lnTo>
                  <a:lnTo>
                    <a:pt x="22" y="108"/>
                  </a:lnTo>
                  <a:lnTo>
                    <a:pt x="22" y="106"/>
                  </a:lnTo>
                  <a:lnTo>
                    <a:pt x="24" y="104"/>
                  </a:lnTo>
                  <a:lnTo>
                    <a:pt x="24" y="100"/>
                  </a:lnTo>
                  <a:lnTo>
                    <a:pt x="24" y="98"/>
                  </a:lnTo>
                  <a:lnTo>
                    <a:pt x="22" y="96"/>
                  </a:lnTo>
                  <a:lnTo>
                    <a:pt x="22" y="94"/>
                  </a:lnTo>
                  <a:lnTo>
                    <a:pt x="24" y="92"/>
                  </a:lnTo>
                  <a:lnTo>
                    <a:pt x="26" y="92"/>
                  </a:lnTo>
                  <a:lnTo>
                    <a:pt x="28" y="92"/>
                  </a:lnTo>
                  <a:lnTo>
                    <a:pt x="30" y="90"/>
                  </a:lnTo>
                  <a:lnTo>
                    <a:pt x="34" y="80"/>
                  </a:lnTo>
                  <a:lnTo>
                    <a:pt x="34" y="78"/>
                  </a:lnTo>
                  <a:lnTo>
                    <a:pt x="32" y="76"/>
                  </a:lnTo>
                  <a:lnTo>
                    <a:pt x="32" y="74"/>
                  </a:lnTo>
                  <a:lnTo>
                    <a:pt x="30" y="74"/>
                  </a:lnTo>
                  <a:lnTo>
                    <a:pt x="30" y="72"/>
                  </a:lnTo>
                  <a:lnTo>
                    <a:pt x="32" y="70"/>
                  </a:lnTo>
                  <a:lnTo>
                    <a:pt x="34" y="70"/>
                  </a:lnTo>
                  <a:lnTo>
                    <a:pt x="38" y="62"/>
                  </a:lnTo>
                  <a:lnTo>
                    <a:pt x="44" y="50"/>
                  </a:lnTo>
                  <a:lnTo>
                    <a:pt x="48" y="42"/>
                  </a:lnTo>
                  <a:lnTo>
                    <a:pt x="48" y="36"/>
                  </a:lnTo>
                  <a:lnTo>
                    <a:pt x="48" y="34"/>
                  </a:lnTo>
                  <a:lnTo>
                    <a:pt x="48" y="32"/>
                  </a:lnTo>
                  <a:lnTo>
                    <a:pt x="46" y="28"/>
                  </a:lnTo>
                  <a:lnTo>
                    <a:pt x="44" y="26"/>
                  </a:lnTo>
                  <a:lnTo>
                    <a:pt x="44" y="24"/>
                  </a:lnTo>
                  <a:lnTo>
                    <a:pt x="44" y="22"/>
                  </a:lnTo>
                  <a:lnTo>
                    <a:pt x="46" y="20"/>
                  </a:lnTo>
                  <a:lnTo>
                    <a:pt x="48" y="18"/>
                  </a:lnTo>
                  <a:lnTo>
                    <a:pt x="52" y="16"/>
                  </a:lnTo>
                  <a:lnTo>
                    <a:pt x="56" y="12"/>
                  </a:lnTo>
                  <a:lnTo>
                    <a:pt x="58" y="10"/>
                  </a:lnTo>
                  <a:lnTo>
                    <a:pt x="58" y="8"/>
                  </a:lnTo>
                  <a:lnTo>
                    <a:pt x="58" y="6"/>
                  </a:lnTo>
                  <a:lnTo>
                    <a:pt x="60" y="4"/>
                  </a:lnTo>
                  <a:lnTo>
                    <a:pt x="62" y="4"/>
                  </a:lnTo>
                  <a:lnTo>
                    <a:pt x="62" y="6"/>
                  </a:lnTo>
                  <a:lnTo>
                    <a:pt x="62" y="8"/>
                  </a:lnTo>
                  <a:lnTo>
                    <a:pt x="64" y="8"/>
                  </a:lnTo>
                  <a:lnTo>
                    <a:pt x="72" y="8"/>
                  </a:lnTo>
                  <a:lnTo>
                    <a:pt x="74" y="8"/>
                  </a:lnTo>
                  <a:lnTo>
                    <a:pt x="74" y="10"/>
                  </a:lnTo>
                  <a:lnTo>
                    <a:pt x="78" y="10"/>
                  </a:lnTo>
                  <a:lnTo>
                    <a:pt x="80" y="10"/>
                  </a:lnTo>
                  <a:lnTo>
                    <a:pt x="82" y="6"/>
                  </a:lnTo>
                  <a:lnTo>
                    <a:pt x="82" y="4"/>
                  </a:lnTo>
                  <a:lnTo>
                    <a:pt x="84" y="2"/>
                  </a:lnTo>
                  <a:lnTo>
                    <a:pt x="86" y="0"/>
                  </a:lnTo>
                  <a:lnTo>
                    <a:pt x="92" y="0"/>
                  </a:lnTo>
                  <a:lnTo>
                    <a:pt x="96" y="0"/>
                  </a:lnTo>
                  <a:lnTo>
                    <a:pt x="100" y="2"/>
                  </a:lnTo>
                  <a:lnTo>
                    <a:pt x="106" y="8"/>
                  </a:lnTo>
                  <a:lnTo>
                    <a:pt x="110" y="12"/>
                  </a:lnTo>
                  <a:lnTo>
                    <a:pt x="110" y="14"/>
                  </a:lnTo>
                  <a:lnTo>
                    <a:pt x="112" y="14"/>
                  </a:lnTo>
                  <a:lnTo>
                    <a:pt x="112" y="16"/>
                  </a:lnTo>
                  <a:lnTo>
                    <a:pt x="118" y="22"/>
                  </a:lnTo>
                  <a:lnTo>
                    <a:pt x="120" y="24"/>
                  </a:lnTo>
                  <a:lnTo>
                    <a:pt x="122" y="26"/>
                  </a:lnTo>
                  <a:lnTo>
                    <a:pt x="124" y="26"/>
                  </a:lnTo>
                  <a:lnTo>
                    <a:pt x="130" y="34"/>
                  </a:lnTo>
                  <a:lnTo>
                    <a:pt x="134" y="42"/>
                  </a:lnTo>
                  <a:lnTo>
                    <a:pt x="136" y="42"/>
                  </a:lnTo>
                  <a:lnTo>
                    <a:pt x="136" y="44"/>
                  </a:lnTo>
                  <a:lnTo>
                    <a:pt x="134" y="46"/>
                  </a:lnTo>
                  <a:lnTo>
                    <a:pt x="134" y="48"/>
                  </a:lnTo>
                  <a:lnTo>
                    <a:pt x="134" y="50"/>
                  </a:lnTo>
                  <a:lnTo>
                    <a:pt x="132" y="56"/>
                  </a:lnTo>
                  <a:lnTo>
                    <a:pt x="134" y="56"/>
                  </a:lnTo>
                  <a:lnTo>
                    <a:pt x="138" y="56"/>
                  </a:lnTo>
                  <a:lnTo>
                    <a:pt x="140" y="56"/>
                  </a:lnTo>
                  <a:lnTo>
                    <a:pt x="144" y="54"/>
                  </a:lnTo>
                  <a:lnTo>
                    <a:pt x="150" y="50"/>
                  </a:lnTo>
                  <a:lnTo>
                    <a:pt x="152" y="46"/>
                  </a:lnTo>
                  <a:lnTo>
                    <a:pt x="152" y="44"/>
                  </a:lnTo>
                  <a:lnTo>
                    <a:pt x="154" y="44"/>
                  </a:lnTo>
                  <a:lnTo>
                    <a:pt x="158" y="46"/>
                  </a:lnTo>
                  <a:lnTo>
                    <a:pt x="162" y="52"/>
                  </a:lnTo>
                  <a:lnTo>
                    <a:pt x="164" y="56"/>
                  </a:lnTo>
                  <a:lnTo>
                    <a:pt x="166" y="58"/>
                  </a:lnTo>
                  <a:lnTo>
                    <a:pt x="168" y="66"/>
                  </a:lnTo>
                  <a:lnTo>
                    <a:pt x="170" y="68"/>
                  </a:lnTo>
                  <a:lnTo>
                    <a:pt x="176" y="72"/>
                  </a:lnTo>
                  <a:lnTo>
                    <a:pt x="180" y="72"/>
                  </a:lnTo>
                  <a:lnTo>
                    <a:pt x="182" y="74"/>
                  </a:lnTo>
                  <a:lnTo>
                    <a:pt x="184" y="76"/>
                  </a:lnTo>
                  <a:lnTo>
                    <a:pt x="186" y="78"/>
                  </a:lnTo>
                  <a:lnTo>
                    <a:pt x="188" y="78"/>
                  </a:lnTo>
                  <a:lnTo>
                    <a:pt x="188" y="80"/>
                  </a:lnTo>
                  <a:lnTo>
                    <a:pt x="190" y="80"/>
                  </a:lnTo>
                  <a:lnTo>
                    <a:pt x="192" y="80"/>
                  </a:lnTo>
                  <a:lnTo>
                    <a:pt x="194" y="80"/>
                  </a:lnTo>
                  <a:lnTo>
                    <a:pt x="198" y="80"/>
                  </a:lnTo>
                  <a:lnTo>
                    <a:pt x="204" y="88"/>
                  </a:lnTo>
                  <a:lnTo>
                    <a:pt x="204" y="94"/>
                  </a:lnTo>
                  <a:lnTo>
                    <a:pt x="206" y="94"/>
                  </a:lnTo>
                  <a:lnTo>
                    <a:pt x="208" y="96"/>
                  </a:lnTo>
                  <a:lnTo>
                    <a:pt x="208" y="98"/>
                  </a:lnTo>
                  <a:lnTo>
                    <a:pt x="212" y="100"/>
                  </a:lnTo>
                  <a:lnTo>
                    <a:pt x="216" y="106"/>
                  </a:lnTo>
                  <a:lnTo>
                    <a:pt x="220" y="106"/>
                  </a:lnTo>
                  <a:lnTo>
                    <a:pt x="222" y="106"/>
                  </a:lnTo>
                  <a:lnTo>
                    <a:pt x="228" y="110"/>
                  </a:lnTo>
                  <a:lnTo>
                    <a:pt x="230" y="112"/>
                  </a:lnTo>
                  <a:lnTo>
                    <a:pt x="236" y="118"/>
                  </a:lnTo>
                  <a:lnTo>
                    <a:pt x="238" y="124"/>
                  </a:lnTo>
                  <a:lnTo>
                    <a:pt x="240" y="128"/>
                  </a:lnTo>
                  <a:lnTo>
                    <a:pt x="238" y="130"/>
                  </a:lnTo>
                  <a:lnTo>
                    <a:pt x="238" y="134"/>
                  </a:lnTo>
                  <a:lnTo>
                    <a:pt x="242" y="136"/>
                  </a:lnTo>
                  <a:lnTo>
                    <a:pt x="242" y="138"/>
                  </a:lnTo>
                  <a:lnTo>
                    <a:pt x="244" y="140"/>
                  </a:lnTo>
                  <a:lnTo>
                    <a:pt x="248" y="146"/>
                  </a:lnTo>
                  <a:lnTo>
                    <a:pt x="250" y="146"/>
                  </a:lnTo>
                  <a:lnTo>
                    <a:pt x="254" y="148"/>
                  </a:lnTo>
                  <a:lnTo>
                    <a:pt x="258" y="150"/>
                  </a:lnTo>
                  <a:lnTo>
                    <a:pt x="260" y="152"/>
                  </a:lnTo>
                  <a:lnTo>
                    <a:pt x="262" y="154"/>
                  </a:lnTo>
                  <a:lnTo>
                    <a:pt x="258" y="158"/>
                  </a:lnTo>
                  <a:lnTo>
                    <a:pt x="254" y="162"/>
                  </a:lnTo>
                  <a:lnTo>
                    <a:pt x="250" y="166"/>
                  </a:lnTo>
                  <a:lnTo>
                    <a:pt x="244" y="172"/>
                  </a:lnTo>
                  <a:lnTo>
                    <a:pt x="242" y="172"/>
                  </a:lnTo>
                  <a:lnTo>
                    <a:pt x="240" y="172"/>
                  </a:lnTo>
                  <a:lnTo>
                    <a:pt x="240" y="174"/>
                  </a:lnTo>
                  <a:lnTo>
                    <a:pt x="238" y="176"/>
                  </a:lnTo>
                  <a:lnTo>
                    <a:pt x="238" y="178"/>
                  </a:lnTo>
                  <a:lnTo>
                    <a:pt x="238" y="180"/>
                  </a:lnTo>
                  <a:lnTo>
                    <a:pt x="238" y="182"/>
                  </a:lnTo>
                  <a:lnTo>
                    <a:pt x="238" y="184"/>
                  </a:lnTo>
                  <a:lnTo>
                    <a:pt x="238" y="186"/>
                  </a:lnTo>
                  <a:lnTo>
                    <a:pt x="238" y="190"/>
                  </a:lnTo>
                  <a:lnTo>
                    <a:pt x="238" y="192"/>
                  </a:lnTo>
                  <a:lnTo>
                    <a:pt x="236" y="194"/>
                  </a:lnTo>
                  <a:lnTo>
                    <a:pt x="236" y="196"/>
                  </a:lnTo>
                  <a:lnTo>
                    <a:pt x="236" y="198"/>
                  </a:lnTo>
                  <a:lnTo>
                    <a:pt x="234" y="200"/>
                  </a:lnTo>
                  <a:lnTo>
                    <a:pt x="234" y="202"/>
                  </a:lnTo>
                  <a:lnTo>
                    <a:pt x="234" y="204"/>
                  </a:lnTo>
                  <a:lnTo>
                    <a:pt x="234" y="206"/>
                  </a:lnTo>
                  <a:lnTo>
                    <a:pt x="240" y="210"/>
                  </a:lnTo>
                  <a:lnTo>
                    <a:pt x="242" y="210"/>
                  </a:lnTo>
                  <a:lnTo>
                    <a:pt x="240" y="210"/>
                  </a:lnTo>
                  <a:lnTo>
                    <a:pt x="238" y="210"/>
                  </a:lnTo>
                  <a:lnTo>
                    <a:pt x="238" y="212"/>
                  </a:lnTo>
                  <a:lnTo>
                    <a:pt x="236" y="214"/>
                  </a:lnTo>
                  <a:lnTo>
                    <a:pt x="234" y="216"/>
                  </a:lnTo>
                  <a:lnTo>
                    <a:pt x="234" y="218"/>
                  </a:lnTo>
                  <a:lnTo>
                    <a:pt x="232" y="222"/>
                  </a:lnTo>
                  <a:lnTo>
                    <a:pt x="232" y="228"/>
                  </a:lnTo>
                  <a:lnTo>
                    <a:pt x="230" y="228"/>
                  </a:lnTo>
                  <a:lnTo>
                    <a:pt x="228" y="228"/>
                  </a:lnTo>
                  <a:lnTo>
                    <a:pt x="222" y="234"/>
                  </a:lnTo>
                  <a:lnTo>
                    <a:pt x="220" y="238"/>
                  </a:lnTo>
                  <a:lnTo>
                    <a:pt x="218" y="242"/>
                  </a:lnTo>
                  <a:lnTo>
                    <a:pt x="214" y="246"/>
                  </a:lnTo>
                  <a:lnTo>
                    <a:pt x="210" y="246"/>
                  </a:lnTo>
                  <a:lnTo>
                    <a:pt x="206" y="250"/>
                  </a:lnTo>
                  <a:lnTo>
                    <a:pt x="200" y="254"/>
                  </a:lnTo>
                  <a:lnTo>
                    <a:pt x="198" y="256"/>
                  </a:lnTo>
                  <a:lnTo>
                    <a:pt x="198" y="258"/>
                  </a:lnTo>
                  <a:lnTo>
                    <a:pt x="196" y="258"/>
                  </a:lnTo>
                  <a:lnTo>
                    <a:pt x="194" y="258"/>
                  </a:lnTo>
                  <a:lnTo>
                    <a:pt x="194" y="256"/>
                  </a:lnTo>
                  <a:lnTo>
                    <a:pt x="194" y="254"/>
                  </a:lnTo>
                  <a:lnTo>
                    <a:pt x="190" y="252"/>
                  </a:lnTo>
                  <a:lnTo>
                    <a:pt x="192" y="258"/>
                  </a:lnTo>
                  <a:lnTo>
                    <a:pt x="192" y="260"/>
                  </a:lnTo>
                  <a:lnTo>
                    <a:pt x="188" y="260"/>
                  </a:lnTo>
                  <a:lnTo>
                    <a:pt x="178" y="264"/>
                  </a:lnTo>
                  <a:lnTo>
                    <a:pt x="176" y="264"/>
                  </a:lnTo>
                  <a:lnTo>
                    <a:pt x="170" y="266"/>
                  </a:lnTo>
                  <a:lnTo>
                    <a:pt x="168" y="268"/>
                  </a:lnTo>
                  <a:lnTo>
                    <a:pt x="164" y="270"/>
                  </a:lnTo>
                  <a:lnTo>
                    <a:pt x="160" y="270"/>
                  </a:lnTo>
                  <a:lnTo>
                    <a:pt x="158" y="270"/>
                  </a:lnTo>
                  <a:lnTo>
                    <a:pt x="154" y="268"/>
                  </a:lnTo>
                  <a:lnTo>
                    <a:pt x="152" y="266"/>
                  </a:lnTo>
                  <a:lnTo>
                    <a:pt x="150" y="266"/>
                  </a:lnTo>
                  <a:lnTo>
                    <a:pt x="148" y="266"/>
                  </a:lnTo>
                  <a:lnTo>
                    <a:pt x="144" y="268"/>
                  </a:lnTo>
                  <a:lnTo>
                    <a:pt x="142" y="266"/>
                  </a:lnTo>
                  <a:lnTo>
                    <a:pt x="142" y="264"/>
                  </a:lnTo>
                  <a:lnTo>
                    <a:pt x="140" y="264"/>
                  </a:lnTo>
                  <a:lnTo>
                    <a:pt x="140" y="262"/>
                  </a:lnTo>
                  <a:lnTo>
                    <a:pt x="136" y="262"/>
                  </a:lnTo>
                  <a:lnTo>
                    <a:pt x="128" y="260"/>
                  </a:lnTo>
                  <a:lnTo>
                    <a:pt x="124" y="260"/>
                  </a:lnTo>
                  <a:lnTo>
                    <a:pt x="120" y="260"/>
                  </a:lnTo>
                  <a:lnTo>
                    <a:pt x="118" y="260"/>
                  </a:lnTo>
                  <a:lnTo>
                    <a:pt x="114" y="262"/>
                  </a:lnTo>
                  <a:lnTo>
                    <a:pt x="112" y="262"/>
                  </a:lnTo>
                  <a:lnTo>
                    <a:pt x="110" y="264"/>
                  </a:lnTo>
                  <a:lnTo>
                    <a:pt x="108" y="264"/>
                  </a:lnTo>
                  <a:lnTo>
                    <a:pt x="106" y="264"/>
                  </a:lnTo>
                  <a:lnTo>
                    <a:pt x="102" y="266"/>
                  </a:lnTo>
                  <a:lnTo>
                    <a:pt x="94" y="264"/>
                  </a:lnTo>
                  <a:lnTo>
                    <a:pt x="88" y="260"/>
                  </a:lnTo>
                  <a:lnTo>
                    <a:pt x="90" y="260"/>
                  </a:lnTo>
                  <a:lnTo>
                    <a:pt x="92" y="258"/>
                  </a:lnTo>
                  <a:lnTo>
                    <a:pt x="90" y="258"/>
                  </a:lnTo>
                  <a:lnTo>
                    <a:pt x="82" y="256"/>
                  </a:lnTo>
                  <a:lnTo>
                    <a:pt x="70" y="252"/>
                  </a:lnTo>
                  <a:lnTo>
                    <a:pt x="68" y="250"/>
                  </a:lnTo>
                  <a:lnTo>
                    <a:pt x="60" y="238"/>
                  </a:lnTo>
                  <a:lnTo>
                    <a:pt x="56" y="238"/>
                  </a:lnTo>
                  <a:lnTo>
                    <a:pt x="44" y="236"/>
                  </a:lnTo>
                  <a:lnTo>
                    <a:pt x="38" y="236"/>
                  </a:lnTo>
                  <a:lnTo>
                    <a:pt x="32" y="236"/>
                  </a:lnTo>
                  <a:lnTo>
                    <a:pt x="24" y="238"/>
                  </a:lnTo>
                  <a:lnTo>
                    <a:pt x="24" y="236"/>
                  </a:lnTo>
                  <a:lnTo>
                    <a:pt x="22" y="232"/>
                  </a:lnTo>
                  <a:lnTo>
                    <a:pt x="22" y="230"/>
                  </a:lnTo>
                  <a:lnTo>
                    <a:pt x="20" y="228"/>
                  </a:lnTo>
                  <a:lnTo>
                    <a:pt x="14" y="220"/>
                  </a:lnTo>
                  <a:lnTo>
                    <a:pt x="10" y="216"/>
                  </a:lnTo>
                  <a:lnTo>
                    <a:pt x="8" y="214"/>
                  </a:lnTo>
                  <a:lnTo>
                    <a:pt x="6" y="210"/>
                  </a:lnTo>
                  <a:lnTo>
                    <a:pt x="4" y="208"/>
                  </a:lnTo>
                  <a:lnTo>
                    <a:pt x="2" y="208"/>
                  </a:lnTo>
                  <a:lnTo>
                    <a:pt x="0" y="206"/>
                  </a:lnTo>
                  <a:lnTo>
                    <a:pt x="0" y="204"/>
                  </a:lnTo>
                  <a:lnTo>
                    <a:pt x="0" y="202"/>
                  </a:lnTo>
                  <a:lnTo>
                    <a:pt x="0" y="200"/>
                  </a:lnTo>
                  <a:lnTo>
                    <a:pt x="0" y="194"/>
                  </a:lnTo>
                  <a:lnTo>
                    <a:pt x="2" y="186"/>
                  </a:lnTo>
                  <a:lnTo>
                    <a:pt x="2" y="184"/>
                  </a:lnTo>
                  <a:lnTo>
                    <a:pt x="2" y="182"/>
                  </a:lnTo>
                  <a:lnTo>
                    <a:pt x="4" y="180"/>
                  </a:lnTo>
                  <a:lnTo>
                    <a:pt x="4" y="17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724" name="Group 2136"/>
            <p:cNvGrpSpPr>
              <a:grpSpLocks/>
            </p:cNvGrpSpPr>
            <p:nvPr/>
          </p:nvGrpSpPr>
          <p:grpSpPr bwMode="auto">
            <a:xfrm>
              <a:off x="4260804" y="6117423"/>
              <a:ext cx="175374" cy="79715"/>
              <a:chOff x="2820" y="3778"/>
              <a:chExt cx="132" cy="60"/>
            </a:xfrm>
            <a:solidFill>
              <a:srgbClr val="B9B9B9"/>
            </a:solidFill>
          </p:grpSpPr>
          <p:sp>
            <p:nvSpPr>
              <p:cNvPr id="998" name="Freeform 1957"/>
              <p:cNvSpPr>
                <a:spLocks/>
              </p:cNvSpPr>
              <p:nvPr/>
            </p:nvSpPr>
            <p:spPr bwMode="auto">
              <a:xfrm>
                <a:off x="2876" y="3778"/>
                <a:ext cx="14" cy="6"/>
              </a:xfrm>
              <a:custGeom>
                <a:avLst/>
                <a:gdLst/>
                <a:ahLst/>
                <a:cxnLst>
                  <a:cxn ang="0">
                    <a:pos x="0" y="0"/>
                  </a:cxn>
                  <a:cxn ang="0">
                    <a:pos x="4" y="0"/>
                  </a:cxn>
                  <a:cxn ang="0">
                    <a:pos x="8" y="2"/>
                  </a:cxn>
                  <a:cxn ang="0">
                    <a:pos x="12" y="2"/>
                  </a:cxn>
                  <a:cxn ang="0">
                    <a:pos x="14" y="4"/>
                  </a:cxn>
                  <a:cxn ang="0">
                    <a:pos x="12" y="6"/>
                  </a:cxn>
                  <a:cxn ang="0">
                    <a:pos x="10" y="6"/>
                  </a:cxn>
                  <a:cxn ang="0">
                    <a:pos x="8" y="6"/>
                  </a:cxn>
                  <a:cxn ang="0">
                    <a:pos x="8" y="4"/>
                  </a:cxn>
                  <a:cxn ang="0">
                    <a:pos x="0" y="2"/>
                  </a:cxn>
                  <a:cxn ang="0">
                    <a:pos x="0" y="0"/>
                  </a:cxn>
                </a:cxnLst>
                <a:rect l="0" t="0" r="r" b="b"/>
                <a:pathLst>
                  <a:path w="14" h="6">
                    <a:moveTo>
                      <a:pt x="0" y="0"/>
                    </a:moveTo>
                    <a:lnTo>
                      <a:pt x="4" y="0"/>
                    </a:lnTo>
                    <a:lnTo>
                      <a:pt x="8" y="2"/>
                    </a:lnTo>
                    <a:lnTo>
                      <a:pt x="12" y="2"/>
                    </a:lnTo>
                    <a:lnTo>
                      <a:pt x="14" y="4"/>
                    </a:lnTo>
                    <a:lnTo>
                      <a:pt x="12" y="6"/>
                    </a:lnTo>
                    <a:lnTo>
                      <a:pt x="10" y="6"/>
                    </a:lnTo>
                    <a:lnTo>
                      <a:pt x="8" y="6"/>
                    </a:lnTo>
                    <a:lnTo>
                      <a:pt x="8" y="4"/>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999" name="Freeform 1958"/>
              <p:cNvSpPr>
                <a:spLocks/>
              </p:cNvSpPr>
              <p:nvPr/>
            </p:nvSpPr>
            <p:spPr bwMode="auto">
              <a:xfrm>
                <a:off x="2856" y="3778"/>
                <a:ext cx="10" cy="8"/>
              </a:xfrm>
              <a:custGeom>
                <a:avLst/>
                <a:gdLst/>
                <a:ahLst/>
                <a:cxnLst>
                  <a:cxn ang="0">
                    <a:pos x="0" y="6"/>
                  </a:cxn>
                  <a:cxn ang="0">
                    <a:pos x="0" y="4"/>
                  </a:cxn>
                  <a:cxn ang="0">
                    <a:pos x="2" y="2"/>
                  </a:cxn>
                  <a:cxn ang="0">
                    <a:pos x="0" y="0"/>
                  </a:cxn>
                  <a:cxn ang="0">
                    <a:pos x="2" y="0"/>
                  </a:cxn>
                  <a:cxn ang="0">
                    <a:pos x="8" y="2"/>
                  </a:cxn>
                  <a:cxn ang="0">
                    <a:pos x="10" y="2"/>
                  </a:cxn>
                  <a:cxn ang="0">
                    <a:pos x="10" y="4"/>
                  </a:cxn>
                  <a:cxn ang="0">
                    <a:pos x="6" y="8"/>
                  </a:cxn>
                  <a:cxn ang="0">
                    <a:pos x="2" y="6"/>
                  </a:cxn>
                  <a:cxn ang="0">
                    <a:pos x="0" y="6"/>
                  </a:cxn>
                </a:cxnLst>
                <a:rect l="0" t="0" r="r" b="b"/>
                <a:pathLst>
                  <a:path w="10" h="8">
                    <a:moveTo>
                      <a:pt x="0" y="6"/>
                    </a:moveTo>
                    <a:lnTo>
                      <a:pt x="0" y="4"/>
                    </a:lnTo>
                    <a:lnTo>
                      <a:pt x="2" y="2"/>
                    </a:lnTo>
                    <a:lnTo>
                      <a:pt x="0" y="0"/>
                    </a:lnTo>
                    <a:lnTo>
                      <a:pt x="2" y="0"/>
                    </a:lnTo>
                    <a:lnTo>
                      <a:pt x="8" y="2"/>
                    </a:lnTo>
                    <a:lnTo>
                      <a:pt x="10" y="2"/>
                    </a:lnTo>
                    <a:lnTo>
                      <a:pt x="10" y="4"/>
                    </a:lnTo>
                    <a:lnTo>
                      <a:pt x="6" y="8"/>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1000" name="Freeform 1959"/>
              <p:cNvSpPr>
                <a:spLocks/>
              </p:cNvSpPr>
              <p:nvPr/>
            </p:nvSpPr>
            <p:spPr bwMode="auto">
              <a:xfrm>
                <a:off x="2872" y="3782"/>
                <a:ext cx="80" cy="56"/>
              </a:xfrm>
              <a:custGeom>
                <a:avLst/>
                <a:gdLst/>
                <a:ahLst/>
                <a:cxnLst>
                  <a:cxn ang="0">
                    <a:pos x="6" y="50"/>
                  </a:cxn>
                  <a:cxn ang="0">
                    <a:pos x="10" y="30"/>
                  </a:cxn>
                  <a:cxn ang="0">
                    <a:pos x="26" y="22"/>
                  </a:cxn>
                  <a:cxn ang="0">
                    <a:pos x="28" y="28"/>
                  </a:cxn>
                  <a:cxn ang="0">
                    <a:pos x="28" y="18"/>
                  </a:cxn>
                  <a:cxn ang="0">
                    <a:pos x="28" y="14"/>
                  </a:cxn>
                  <a:cxn ang="0">
                    <a:pos x="34" y="12"/>
                  </a:cxn>
                  <a:cxn ang="0">
                    <a:pos x="30" y="6"/>
                  </a:cxn>
                  <a:cxn ang="0">
                    <a:pos x="38" y="2"/>
                  </a:cxn>
                  <a:cxn ang="0">
                    <a:pos x="46" y="4"/>
                  </a:cxn>
                  <a:cxn ang="0">
                    <a:pos x="52" y="2"/>
                  </a:cxn>
                  <a:cxn ang="0">
                    <a:pos x="60" y="6"/>
                  </a:cxn>
                  <a:cxn ang="0">
                    <a:pos x="54" y="12"/>
                  </a:cxn>
                  <a:cxn ang="0">
                    <a:pos x="50" y="10"/>
                  </a:cxn>
                  <a:cxn ang="0">
                    <a:pos x="54" y="18"/>
                  </a:cxn>
                  <a:cxn ang="0">
                    <a:pos x="60" y="20"/>
                  </a:cxn>
                  <a:cxn ang="0">
                    <a:pos x="64" y="20"/>
                  </a:cxn>
                  <a:cxn ang="0">
                    <a:pos x="60" y="14"/>
                  </a:cxn>
                  <a:cxn ang="0">
                    <a:pos x="64" y="8"/>
                  </a:cxn>
                  <a:cxn ang="0">
                    <a:pos x="78" y="10"/>
                  </a:cxn>
                  <a:cxn ang="0">
                    <a:pos x="78" y="18"/>
                  </a:cxn>
                  <a:cxn ang="0">
                    <a:pos x="72" y="18"/>
                  </a:cxn>
                  <a:cxn ang="0">
                    <a:pos x="66" y="18"/>
                  </a:cxn>
                  <a:cxn ang="0">
                    <a:pos x="72" y="20"/>
                  </a:cxn>
                  <a:cxn ang="0">
                    <a:pos x="80" y="22"/>
                  </a:cxn>
                  <a:cxn ang="0">
                    <a:pos x="70" y="28"/>
                  </a:cxn>
                  <a:cxn ang="0">
                    <a:pos x="62" y="28"/>
                  </a:cxn>
                  <a:cxn ang="0">
                    <a:pos x="62" y="30"/>
                  </a:cxn>
                  <a:cxn ang="0">
                    <a:pos x="56" y="32"/>
                  </a:cxn>
                  <a:cxn ang="0">
                    <a:pos x="52" y="36"/>
                  </a:cxn>
                  <a:cxn ang="0">
                    <a:pos x="34" y="32"/>
                  </a:cxn>
                  <a:cxn ang="0">
                    <a:pos x="32" y="28"/>
                  </a:cxn>
                  <a:cxn ang="0">
                    <a:pos x="32" y="32"/>
                  </a:cxn>
                  <a:cxn ang="0">
                    <a:pos x="44" y="38"/>
                  </a:cxn>
                  <a:cxn ang="0">
                    <a:pos x="40" y="44"/>
                  </a:cxn>
                  <a:cxn ang="0">
                    <a:pos x="34" y="42"/>
                  </a:cxn>
                  <a:cxn ang="0">
                    <a:pos x="28" y="42"/>
                  </a:cxn>
                  <a:cxn ang="0">
                    <a:pos x="20" y="38"/>
                  </a:cxn>
                  <a:cxn ang="0">
                    <a:pos x="20" y="38"/>
                  </a:cxn>
                  <a:cxn ang="0">
                    <a:pos x="24" y="42"/>
                  </a:cxn>
                  <a:cxn ang="0">
                    <a:pos x="24" y="52"/>
                  </a:cxn>
                  <a:cxn ang="0">
                    <a:pos x="16" y="46"/>
                  </a:cxn>
                  <a:cxn ang="0">
                    <a:pos x="10" y="50"/>
                  </a:cxn>
                  <a:cxn ang="0">
                    <a:pos x="12" y="56"/>
                  </a:cxn>
                </a:cxnLst>
                <a:rect l="0" t="0" r="r" b="b"/>
                <a:pathLst>
                  <a:path w="80" h="56">
                    <a:moveTo>
                      <a:pt x="12" y="56"/>
                    </a:moveTo>
                    <a:lnTo>
                      <a:pt x="10" y="56"/>
                    </a:lnTo>
                    <a:lnTo>
                      <a:pt x="6" y="50"/>
                    </a:lnTo>
                    <a:lnTo>
                      <a:pt x="0" y="44"/>
                    </a:lnTo>
                    <a:lnTo>
                      <a:pt x="8" y="34"/>
                    </a:lnTo>
                    <a:lnTo>
                      <a:pt x="10" y="30"/>
                    </a:lnTo>
                    <a:lnTo>
                      <a:pt x="20" y="24"/>
                    </a:lnTo>
                    <a:lnTo>
                      <a:pt x="22" y="22"/>
                    </a:lnTo>
                    <a:lnTo>
                      <a:pt x="26" y="22"/>
                    </a:lnTo>
                    <a:lnTo>
                      <a:pt x="28" y="22"/>
                    </a:lnTo>
                    <a:lnTo>
                      <a:pt x="30" y="26"/>
                    </a:lnTo>
                    <a:lnTo>
                      <a:pt x="28" y="28"/>
                    </a:lnTo>
                    <a:lnTo>
                      <a:pt x="30" y="28"/>
                    </a:lnTo>
                    <a:lnTo>
                      <a:pt x="30" y="22"/>
                    </a:lnTo>
                    <a:lnTo>
                      <a:pt x="28" y="18"/>
                    </a:lnTo>
                    <a:lnTo>
                      <a:pt x="26" y="16"/>
                    </a:lnTo>
                    <a:lnTo>
                      <a:pt x="28" y="12"/>
                    </a:lnTo>
                    <a:lnTo>
                      <a:pt x="28" y="14"/>
                    </a:lnTo>
                    <a:lnTo>
                      <a:pt x="30" y="16"/>
                    </a:lnTo>
                    <a:lnTo>
                      <a:pt x="32" y="16"/>
                    </a:lnTo>
                    <a:lnTo>
                      <a:pt x="34" y="12"/>
                    </a:lnTo>
                    <a:lnTo>
                      <a:pt x="32" y="10"/>
                    </a:lnTo>
                    <a:lnTo>
                      <a:pt x="30" y="10"/>
                    </a:lnTo>
                    <a:lnTo>
                      <a:pt x="30" y="6"/>
                    </a:lnTo>
                    <a:lnTo>
                      <a:pt x="34" y="6"/>
                    </a:lnTo>
                    <a:lnTo>
                      <a:pt x="40" y="6"/>
                    </a:lnTo>
                    <a:lnTo>
                      <a:pt x="38" y="2"/>
                    </a:lnTo>
                    <a:lnTo>
                      <a:pt x="40" y="0"/>
                    </a:lnTo>
                    <a:lnTo>
                      <a:pt x="44" y="2"/>
                    </a:lnTo>
                    <a:lnTo>
                      <a:pt x="46" y="4"/>
                    </a:lnTo>
                    <a:lnTo>
                      <a:pt x="48" y="4"/>
                    </a:lnTo>
                    <a:lnTo>
                      <a:pt x="50" y="2"/>
                    </a:lnTo>
                    <a:lnTo>
                      <a:pt x="52" y="2"/>
                    </a:lnTo>
                    <a:lnTo>
                      <a:pt x="56" y="2"/>
                    </a:lnTo>
                    <a:lnTo>
                      <a:pt x="58" y="4"/>
                    </a:lnTo>
                    <a:lnTo>
                      <a:pt x="60" y="6"/>
                    </a:lnTo>
                    <a:lnTo>
                      <a:pt x="60" y="10"/>
                    </a:lnTo>
                    <a:lnTo>
                      <a:pt x="58" y="10"/>
                    </a:lnTo>
                    <a:lnTo>
                      <a:pt x="54" y="12"/>
                    </a:lnTo>
                    <a:lnTo>
                      <a:pt x="54" y="10"/>
                    </a:lnTo>
                    <a:lnTo>
                      <a:pt x="54" y="8"/>
                    </a:lnTo>
                    <a:lnTo>
                      <a:pt x="50" y="10"/>
                    </a:lnTo>
                    <a:lnTo>
                      <a:pt x="52" y="12"/>
                    </a:lnTo>
                    <a:lnTo>
                      <a:pt x="52" y="14"/>
                    </a:lnTo>
                    <a:lnTo>
                      <a:pt x="54" y="18"/>
                    </a:lnTo>
                    <a:lnTo>
                      <a:pt x="56" y="18"/>
                    </a:lnTo>
                    <a:lnTo>
                      <a:pt x="58" y="18"/>
                    </a:lnTo>
                    <a:lnTo>
                      <a:pt x="60" y="20"/>
                    </a:lnTo>
                    <a:lnTo>
                      <a:pt x="60" y="22"/>
                    </a:lnTo>
                    <a:lnTo>
                      <a:pt x="62" y="22"/>
                    </a:lnTo>
                    <a:lnTo>
                      <a:pt x="64" y="20"/>
                    </a:lnTo>
                    <a:lnTo>
                      <a:pt x="64" y="18"/>
                    </a:lnTo>
                    <a:lnTo>
                      <a:pt x="62" y="16"/>
                    </a:lnTo>
                    <a:lnTo>
                      <a:pt x="60" y="14"/>
                    </a:lnTo>
                    <a:lnTo>
                      <a:pt x="58" y="14"/>
                    </a:lnTo>
                    <a:lnTo>
                      <a:pt x="62" y="10"/>
                    </a:lnTo>
                    <a:lnTo>
                      <a:pt x="64" y="8"/>
                    </a:lnTo>
                    <a:lnTo>
                      <a:pt x="74" y="8"/>
                    </a:lnTo>
                    <a:lnTo>
                      <a:pt x="76" y="8"/>
                    </a:lnTo>
                    <a:lnTo>
                      <a:pt x="78" y="10"/>
                    </a:lnTo>
                    <a:lnTo>
                      <a:pt x="80" y="16"/>
                    </a:lnTo>
                    <a:lnTo>
                      <a:pt x="80" y="18"/>
                    </a:lnTo>
                    <a:lnTo>
                      <a:pt x="78" y="18"/>
                    </a:lnTo>
                    <a:lnTo>
                      <a:pt x="76" y="18"/>
                    </a:lnTo>
                    <a:lnTo>
                      <a:pt x="74" y="18"/>
                    </a:lnTo>
                    <a:lnTo>
                      <a:pt x="72" y="18"/>
                    </a:lnTo>
                    <a:lnTo>
                      <a:pt x="72" y="16"/>
                    </a:lnTo>
                    <a:lnTo>
                      <a:pt x="70" y="16"/>
                    </a:lnTo>
                    <a:lnTo>
                      <a:pt x="66" y="18"/>
                    </a:lnTo>
                    <a:lnTo>
                      <a:pt x="68" y="20"/>
                    </a:lnTo>
                    <a:lnTo>
                      <a:pt x="70" y="20"/>
                    </a:lnTo>
                    <a:lnTo>
                      <a:pt x="72" y="20"/>
                    </a:lnTo>
                    <a:lnTo>
                      <a:pt x="76" y="20"/>
                    </a:lnTo>
                    <a:lnTo>
                      <a:pt x="78" y="22"/>
                    </a:lnTo>
                    <a:lnTo>
                      <a:pt x="80" y="22"/>
                    </a:lnTo>
                    <a:lnTo>
                      <a:pt x="80" y="26"/>
                    </a:lnTo>
                    <a:lnTo>
                      <a:pt x="76" y="28"/>
                    </a:lnTo>
                    <a:lnTo>
                      <a:pt x="70" y="28"/>
                    </a:lnTo>
                    <a:lnTo>
                      <a:pt x="68" y="28"/>
                    </a:lnTo>
                    <a:lnTo>
                      <a:pt x="64" y="28"/>
                    </a:lnTo>
                    <a:lnTo>
                      <a:pt x="62" y="28"/>
                    </a:lnTo>
                    <a:lnTo>
                      <a:pt x="60" y="28"/>
                    </a:lnTo>
                    <a:lnTo>
                      <a:pt x="60" y="30"/>
                    </a:lnTo>
                    <a:lnTo>
                      <a:pt x="62" y="30"/>
                    </a:lnTo>
                    <a:lnTo>
                      <a:pt x="60" y="30"/>
                    </a:lnTo>
                    <a:lnTo>
                      <a:pt x="54" y="32"/>
                    </a:lnTo>
                    <a:lnTo>
                      <a:pt x="56" y="32"/>
                    </a:lnTo>
                    <a:lnTo>
                      <a:pt x="58" y="32"/>
                    </a:lnTo>
                    <a:lnTo>
                      <a:pt x="60" y="32"/>
                    </a:lnTo>
                    <a:lnTo>
                      <a:pt x="52" y="36"/>
                    </a:lnTo>
                    <a:lnTo>
                      <a:pt x="44" y="36"/>
                    </a:lnTo>
                    <a:lnTo>
                      <a:pt x="38" y="34"/>
                    </a:lnTo>
                    <a:lnTo>
                      <a:pt x="34" y="32"/>
                    </a:lnTo>
                    <a:lnTo>
                      <a:pt x="34" y="30"/>
                    </a:lnTo>
                    <a:lnTo>
                      <a:pt x="32" y="30"/>
                    </a:lnTo>
                    <a:lnTo>
                      <a:pt x="32" y="28"/>
                    </a:lnTo>
                    <a:lnTo>
                      <a:pt x="32" y="30"/>
                    </a:lnTo>
                    <a:lnTo>
                      <a:pt x="30" y="32"/>
                    </a:lnTo>
                    <a:lnTo>
                      <a:pt x="32" y="32"/>
                    </a:lnTo>
                    <a:lnTo>
                      <a:pt x="36" y="36"/>
                    </a:lnTo>
                    <a:lnTo>
                      <a:pt x="40" y="36"/>
                    </a:lnTo>
                    <a:lnTo>
                      <a:pt x="44" y="38"/>
                    </a:lnTo>
                    <a:lnTo>
                      <a:pt x="44" y="40"/>
                    </a:lnTo>
                    <a:lnTo>
                      <a:pt x="42" y="44"/>
                    </a:lnTo>
                    <a:lnTo>
                      <a:pt x="40" y="44"/>
                    </a:lnTo>
                    <a:lnTo>
                      <a:pt x="38" y="42"/>
                    </a:lnTo>
                    <a:lnTo>
                      <a:pt x="36" y="42"/>
                    </a:lnTo>
                    <a:lnTo>
                      <a:pt x="34" y="42"/>
                    </a:lnTo>
                    <a:lnTo>
                      <a:pt x="34" y="44"/>
                    </a:lnTo>
                    <a:lnTo>
                      <a:pt x="30" y="44"/>
                    </a:lnTo>
                    <a:lnTo>
                      <a:pt x="28" y="42"/>
                    </a:lnTo>
                    <a:lnTo>
                      <a:pt x="26" y="40"/>
                    </a:lnTo>
                    <a:lnTo>
                      <a:pt x="24" y="38"/>
                    </a:lnTo>
                    <a:lnTo>
                      <a:pt x="20" y="38"/>
                    </a:lnTo>
                    <a:lnTo>
                      <a:pt x="18" y="38"/>
                    </a:lnTo>
                    <a:lnTo>
                      <a:pt x="18" y="40"/>
                    </a:lnTo>
                    <a:lnTo>
                      <a:pt x="20" y="38"/>
                    </a:lnTo>
                    <a:lnTo>
                      <a:pt x="20" y="40"/>
                    </a:lnTo>
                    <a:lnTo>
                      <a:pt x="22" y="40"/>
                    </a:lnTo>
                    <a:lnTo>
                      <a:pt x="24" y="42"/>
                    </a:lnTo>
                    <a:lnTo>
                      <a:pt x="26" y="46"/>
                    </a:lnTo>
                    <a:lnTo>
                      <a:pt x="26" y="50"/>
                    </a:lnTo>
                    <a:lnTo>
                      <a:pt x="24" y="52"/>
                    </a:lnTo>
                    <a:lnTo>
                      <a:pt x="20" y="50"/>
                    </a:lnTo>
                    <a:lnTo>
                      <a:pt x="18" y="48"/>
                    </a:lnTo>
                    <a:lnTo>
                      <a:pt x="16" y="46"/>
                    </a:lnTo>
                    <a:lnTo>
                      <a:pt x="12" y="44"/>
                    </a:lnTo>
                    <a:lnTo>
                      <a:pt x="10" y="46"/>
                    </a:lnTo>
                    <a:lnTo>
                      <a:pt x="10" y="50"/>
                    </a:lnTo>
                    <a:lnTo>
                      <a:pt x="12" y="50"/>
                    </a:lnTo>
                    <a:lnTo>
                      <a:pt x="14" y="52"/>
                    </a:lnTo>
                    <a:lnTo>
                      <a:pt x="12" y="5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1001" name="Freeform 1960"/>
              <p:cNvSpPr>
                <a:spLocks/>
              </p:cNvSpPr>
              <p:nvPr/>
            </p:nvSpPr>
            <p:spPr bwMode="auto">
              <a:xfrm>
                <a:off x="2824" y="3782"/>
                <a:ext cx="74" cy="48"/>
              </a:xfrm>
              <a:custGeom>
                <a:avLst/>
                <a:gdLst/>
                <a:ahLst/>
                <a:cxnLst>
                  <a:cxn ang="0">
                    <a:pos x="28" y="24"/>
                  </a:cxn>
                  <a:cxn ang="0">
                    <a:pos x="32" y="24"/>
                  </a:cxn>
                  <a:cxn ang="0">
                    <a:pos x="34" y="20"/>
                  </a:cxn>
                  <a:cxn ang="0">
                    <a:pos x="26" y="20"/>
                  </a:cxn>
                  <a:cxn ang="0">
                    <a:pos x="20" y="22"/>
                  </a:cxn>
                  <a:cxn ang="0">
                    <a:pos x="16" y="18"/>
                  </a:cxn>
                  <a:cxn ang="0">
                    <a:pos x="20" y="18"/>
                  </a:cxn>
                  <a:cxn ang="0">
                    <a:pos x="24" y="18"/>
                  </a:cxn>
                  <a:cxn ang="0">
                    <a:pos x="28" y="18"/>
                  </a:cxn>
                  <a:cxn ang="0">
                    <a:pos x="36" y="18"/>
                  </a:cxn>
                  <a:cxn ang="0">
                    <a:pos x="26" y="10"/>
                  </a:cxn>
                  <a:cxn ang="0">
                    <a:pos x="28" y="6"/>
                  </a:cxn>
                  <a:cxn ang="0">
                    <a:pos x="24" y="4"/>
                  </a:cxn>
                  <a:cxn ang="0">
                    <a:pos x="20" y="2"/>
                  </a:cxn>
                  <a:cxn ang="0">
                    <a:pos x="24" y="2"/>
                  </a:cxn>
                  <a:cxn ang="0">
                    <a:pos x="30" y="6"/>
                  </a:cxn>
                  <a:cxn ang="0">
                    <a:pos x="34" y="8"/>
                  </a:cxn>
                  <a:cxn ang="0">
                    <a:pos x="42" y="8"/>
                  </a:cxn>
                  <a:cxn ang="0">
                    <a:pos x="40" y="4"/>
                  </a:cxn>
                  <a:cxn ang="0">
                    <a:pos x="48" y="2"/>
                  </a:cxn>
                  <a:cxn ang="0">
                    <a:pos x="50" y="6"/>
                  </a:cxn>
                  <a:cxn ang="0">
                    <a:pos x="62" y="8"/>
                  </a:cxn>
                  <a:cxn ang="0">
                    <a:pos x="66" y="6"/>
                  </a:cxn>
                  <a:cxn ang="0">
                    <a:pos x="64" y="2"/>
                  </a:cxn>
                  <a:cxn ang="0">
                    <a:pos x="74" y="6"/>
                  </a:cxn>
                  <a:cxn ang="0">
                    <a:pos x="64" y="18"/>
                  </a:cxn>
                  <a:cxn ang="0">
                    <a:pos x="56" y="20"/>
                  </a:cxn>
                  <a:cxn ang="0">
                    <a:pos x="46" y="32"/>
                  </a:cxn>
                  <a:cxn ang="0">
                    <a:pos x="36" y="34"/>
                  </a:cxn>
                  <a:cxn ang="0">
                    <a:pos x="28" y="38"/>
                  </a:cxn>
                  <a:cxn ang="0">
                    <a:pos x="26" y="42"/>
                  </a:cxn>
                  <a:cxn ang="0">
                    <a:pos x="14" y="48"/>
                  </a:cxn>
                  <a:cxn ang="0">
                    <a:pos x="12" y="46"/>
                  </a:cxn>
                  <a:cxn ang="0">
                    <a:pos x="4" y="40"/>
                  </a:cxn>
                  <a:cxn ang="0">
                    <a:pos x="4" y="36"/>
                  </a:cxn>
                  <a:cxn ang="0">
                    <a:pos x="10" y="34"/>
                  </a:cxn>
                  <a:cxn ang="0">
                    <a:pos x="6" y="32"/>
                  </a:cxn>
                  <a:cxn ang="0">
                    <a:pos x="12" y="32"/>
                  </a:cxn>
                  <a:cxn ang="0">
                    <a:pos x="18" y="34"/>
                  </a:cxn>
                  <a:cxn ang="0">
                    <a:pos x="22" y="34"/>
                  </a:cxn>
                  <a:cxn ang="0">
                    <a:pos x="22" y="30"/>
                  </a:cxn>
                  <a:cxn ang="0">
                    <a:pos x="22" y="24"/>
                  </a:cxn>
                  <a:cxn ang="0">
                    <a:pos x="26" y="22"/>
                  </a:cxn>
                  <a:cxn ang="0">
                    <a:pos x="26" y="26"/>
                  </a:cxn>
                </a:cxnLst>
                <a:rect l="0" t="0" r="r" b="b"/>
                <a:pathLst>
                  <a:path w="74" h="48">
                    <a:moveTo>
                      <a:pt x="26" y="28"/>
                    </a:moveTo>
                    <a:lnTo>
                      <a:pt x="28" y="24"/>
                    </a:lnTo>
                    <a:lnTo>
                      <a:pt x="30" y="24"/>
                    </a:lnTo>
                    <a:lnTo>
                      <a:pt x="32" y="24"/>
                    </a:lnTo>
                    <a:lnTo>
                      <a:pt x="34" y="22"/>
                    </a:lnTo>
                    <a:lnTo>
                      <a:pt x="34" y="20"/>
                    </a:lnTo>
                    <a:lnTo>
                      <a:pt x="32" y="18"/>
                    </a:lnTo>
                    <a:lnTo>
                      <a:pt x="26" y="20"/>
                    </a:lnTo>
                    <a:lnTo>
                      <a:pt x="22" y="22"/>
                    </a:lnTo>
                    <a:lnTo>
                      <a:pt x="20" y="22"/>
                    </a:lnTo>
                    <a:lnTo>
                      <a:pt x="16" y="20"/>
                    </a:lnTo>
                    <a:lnTo>
                      <a:pt x="16" y="18"/>
                    </a:lnTo>
                    <a:lnTo>
                      <a:pt x="18" y="18"/>
                    </a:lnTo>
                    <a:lnTo>
                      <a:pt x="20" y="18"/>
                    </a:lnTo>
                    <a:lnTo>
                      <a:pt x="22" y="18"/>
                    </a:lnTo>
                    <a:lnTo>
                      <a:pt x="24" y="18"/>
                    </a:lnTo>
                    <a:lnTo>
                      <a:pt x="26" y="18"/>
                    </a:lnTo>
                    <a:lnTo>
                      <a:pt x="28" y="18"/>
                    </a:lnTo>
                    <a:lnTo>
                      <a:pt x="32" y="18"/>
                    </a:lnTo>
                    <a:lnTo>
                      <a:pt x="36" y="18"/>
                    </a:lnTo>
                    <a:lnTo>
                      <a:pt x="30" y="14"/>
                    </a:lnTo>
                    <a:lnTo>
                      <a:pt x="26" y="10"/>
                    </a:lnTo>
                    <a:lnTo>
                      <a:pt x="28" y="8"/>
                    </a:lnTo>
                    <a:lnTo>
                      <a:pt x="28" y="6"/>
                    </a:lnTo>
                    <a:lnTo>
                      <a:pt x="26" y="4"/>
                    </a:lnTo>
                    <a:lnTo>
                      <a:pt x="24" y="4"/>
                    </a:lnTo>
                    <a:lnTo>
                      <a:pt x="22" y="4"/>
                    </a:lnTo>
                    <a:lnTo>
                      <a:pt x="20" y="2"/>
                    </a:lnTo>
                    <a:lnTo>
                      <a:pt x="20" y="0"/>
                    </a:lnTo>
                    <a:lnTo>
                      <a:pt x="24" y="2"/>
                    </a:lnTo>
                    <a:lnTo>
                      <a:pt x="28" y="4"/>
                    </a:lnTo>
                    <a:lnTo>
                      <a:pt x="30" y="6"/>
                    </a:lnTo>
                    <a:lnTo>
                      <a:pt x="32" y="8"/>
                    </a:lnTo>
                    <a:lnTo>
                      <a:pt x="34" y="8"/>
                    </a:lnTo>
                    <a:lnTo>
                      <a:pt x="38" y="8"/>
                    </a:lnTo>
                    <a:lnTo>
                      <a:pt x="42" y="8"/>
                    </a:lnTo>
                    <a:lnTo>
                      <a:pt x="40" y="6"/>
                    </a:lnTo>
                    <a:lnTo>
                      <a:pt x="40" y="4"/>
                    </a:lnTo>
                    <a:lnTo>
                      <a:pt x="42" y="2"/>
                    </a:lnTo>
                    <a:lnTo>
                      <a:pt x="48" y="2"/>
                    </a:lnTo>
                    <a:lnTo>
                      <a:pt x="50" y="4"/>
                    </a:lnTo>
                    <a:lnTo>
                      <a:pt x="50" y="6"/>
                    </a:lnTo>
                    <a:lnTo>
                      <a:pt x="52" y="6"/>
                    </a:lnTo>
                    <a:lnTo>
                      <a:pt x="62" y="8"/>
                    </a:lnTo>
                    <a:lnTo>
                      <a:pt x="64" y="8"/>
                    </a:lnTo>
                    <a:lnTo>
                      <a:pt x="66" y="6"/>
                    </a:lnTo>
                    <a:lnTo>
                      <a:pt x="64" y="6"/>
                    </a:lnTo>
                    <a:lnTo>
                      <a:pt x="64" y="2"/>
                    </a:lnTo>
                    <a:lnTo>
                      <a:pt x="66" y="2"/>
                    </a:lnTo>
                    <a:lnTo>
                      <a:pt x="74" y="6"/>
                    </a:lnTo>
                    <a:lnTo>
                      <a:pt x="64" y="16"/>
                    </a:lnTo>
                    <a:lnTo>
                      <a:pt x="64" y="18"/>
                    </a:lnTo>
                    <a:lnTo>
                      <a:pt x="62" y="18"/>
                    </a:lnTo>
                    <a:lnTo>
                      <a:pt x="56" y="20"/>
                    </a:lnTo>
                    <a:lnTo>
                      <a:pt x="54" y="24"/>
                    </a:lnTo>
                    <a:lnTo>
                      <a:pt x="46" y="32"/>
                    </a:lnTo>
                    <a:lnTo>
                      <a:pt x="40" y="36"/>
                    </a:lnTo>
                    <a:lnTo>
                      <a:pt x="36" y="34"/>
                    </a:lnTo>
                    <a:lnTo>
                      <a:pt x="32" y="34"/>
                    </a:lnTo>
                    <a:lnTo>
                      <a:pt x="28" y="38"/>
                    </a:lnTo>
                    <a:lnTo>
                      <a:pt x="26" y="40"/>
                    </a:lnTo>
                    <a:lnTo>
                      <a:pt x="26" y="42"/>
                    </a:lnTo>
                    <a:lnTo>
                      <a:pt x="22" y="44"/>
                    </a:lnTo>
                    <a:lnTo>
                      <a:pt x="14" y="48"/>
                    </a:lnTo>
                    <a:lnTo>
                      <a:pt x="12" y="48"/>
                    </a:lnTo>
                    <a:lnTo>
                      <a:pt x="12" y="46"/>
                    </a:lnTo>
                    <a:lnTo>
                      <a:pt x="8" y="44"/>
                    </a:lnTo>
                    <a:lnTo>
                      <a:pt x="4" y="40"/>
                    </a:lnTo>
                    <a:lnTo>
                      <a:pt x="0" y="36"/>
                    </a:lnTo>
                    <a:lnTo>
                      <a:pt x="4" y="36"/>
                    </a:lnTo>
                    <a:lnTo>
                      <a:pt x="6" y="36"/>
                    </a:lnTo>
                    <a:lnTo>
                      <a:pt x="10" y="34"/>
                    </a:lnTo>
                    <a:lnTo>
                      <a:pt x="8" y="34"/>
                    </a:lnTo>
                    <a:lnTo>
                      <a:pt x="6" y="32"/>
                    </a:lnTo>
                    <a:lnTo>
                      <a:pt x="10" y="32"/>
                    </a:lnTo>
                    <a:lnTo>
                      <a:pt x="12" y="32"/>
                    </a:lnTo>
                    <a:lnTo>
                      <a:pt x="14" y="34"/>
                    </a:lnTo>
                    <a:lnTo>
                      <a:pt x="18" y="34"/>
                    </a:lnTo>
                    <a:lnTo>
                      <a:pt x="20" y="34"/>
                    </a:lnTo>
                    <a:lnTo>
                      <a:pt x="22" y="34"/>
                    </a:lnTo>
                    <a:lnTo>
                      <a:pt x="24" y="32"/>
                    </a:lnTo>
                    <a:lnTo>
                      <a:pt x="22" y="30"/>
                    </a:lnTo>
                    <a:lnTo>
                      <a:pt x="22" y="28"/>
                    </a:lnTo>
                    <a:lnTo>
                      <a:pt x="22" y="24"/>
                    </a:lnTo>
                    <a:lnTo>
                      <a:pt x="22" y="22"/>
                    </a:lnTo>
                    <a:lnTo>
                      <a:pt x="26" y="22"/>
                    </a:lnTo>
                    <a:lnTo>
                      <a:pt x="26" y="24"/>
                    </a:lnTo>
                    <a:lnTo>
                      <a:pt x="26" y="26"/>
                    </a:lnTo>
                    <a:lnTo>
                      <a:pt x="26"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1002" name="Freeform 1961"/>
              <p:cNvSpPr>
                <a:spLocks/>
              </p:cNvSpPr>
              <p:nvPr/>
            </p:nvSpPr>
            <p:spPr bwMode="auto">
              <a:xfrm>
                <a:off x="2820" y="3804"/>
                <a:ext cx="10" cy="10"/>
              </a:xfrm>
              <a:custGeom>
                <a:avLst/>
                <a:gdLst/>
                <a:ahLst/>
                <a:cxnLst>
                  <a:cxn ang="0">
                    <a:pos x="6" y="10"/>
                  </a:cxn>
                  <a:cxn ang="0">
                    <a:pos x="4" y="8"/>
                  </a:cxn>
                  <a:cxn ang="0">
                    <a:pos x="0" y="6"/>
                  </a:cxn>
                  <a:cxn ang="0">
                    <a:pos x="0" y="2"/>
                  </a:cxn>
                  <a:cxn ang="0">
                    <a:pos x="2" y="2"/>
                  </a:cxn>
                  <a:cxn ang="0">
                    <a:pos x="6" y="0"/>
                  </a:cxn>
                  <a:cxn ang="0">
                    <a:pos x="8" y="2"/>
                  </a:cxn>
                  <a:cxn ang="0">
                    <a:pos x="6" y="2"/>
                  </a:cxn>
                  <a:cxn ang="0">
                    <a:pos x="6" y="4"/>
                  </a:cxn>
                  <a:cxn ang="0">
                    <a:pos x="4" y="4"/>
                  </a:cxn>
                  <a:cxn ang="0">
                    <a:pos x="6" y="4"/>
                  </a:cxn>
                  <a:cxn ang="0">
                    <a:pos x="8" y="4"/>
                  </a:cxn>
                  <a:cxn ang="0">
                    <a:pos x="8" y="2"/>
                  </a:cxn>
                  <a:cxn ang="0">
                    <a:pos x="10" y="2"/>
                  </a:cxn>
                  <a:cxn ang="0">
                    <a:pos x="10" y="4"/>
                  </a:cxn>
                  <a:cxn ang="0">
                    <a:pos x="10" y="6"/>
                  </a:cxn>
                  <a:cxn ang="0">
                    <a:pos x="8" y="8"/>
                  </a:cxn>
                  <a:cxn ang="0">
                    <a:pos x="6" y="10"/>
                  </a:cxn>
                </a:cxnLst>
                <a:rect l="0" t="0" r="r" b="b"/>
                <a:pathLst>
                  <a:path w="10" h="10">
                    <a:moveTo>
                      <a:pt x="6" y="10"/>
                    </a:moveTo>
                    <a:lnTo>
                      <a:pt x="4" y="8"/>
                    </a:lnTo>
                    <a:lnTo>
                      <a:pt x="0" y="6"/>
                    </a:lnTo>
                    <a:lnTo>
                      <a:pt x="0" y="2"/>
                    </a:lnTo>
                    <a:lnTo>
                      <a:pt x="2" y="2"/>
                    </a:lnTo>
                    <a:lnTo>
                      <a:pt x="6" y="0"/>
                    </a:lnTo>
                    <a:lnTo>
                      <a:pt x="8" y="2"/>
                    </a:lnTo>
                    <a:lnTo>
                      <a:pt x="6" y="2"/>
                    </a:lnTo>
                    <a:lnTo>
                      <a:pt x="6" y="4"/>
                    </a:lnTo>
                    <a:lnTo>
                      <a:pt x="4" y="4"/>
                    </a:lnTo>
                    <a:lnTo>
                      <a:pt x="6" y="4"/>
                    </a:lnTo>
                    <a:lnTo>
                      <a:pt x="8" y="4"/>
                    </a:lnTo>
                    <a:lnTo>
                      <a:pt x="8" y="2"/>
                    </a:lnTo>
                    <a:lnTo>
                      <a:pt x="10" y="2"/>
                    </a:lnTo>
                    <a:lnTo>
                      <a:pt x="10" y="4"/>
                    </a:lnTo>
                    <a:lnTo>
                      <a:pt x="10" y="6"/>
                    </a:lnTo>
                    <a:lnTo>
                      <a:pt x="8"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725" name="Group 2135"/>
            <p:cNvGrpSpPr>
              <a:grpSpLocks/>
            </p:cNvGrpSpPr>
            <p:nvPr/>
          </p:nvGrpSpPr>
          <p:grpSpPr bwMode="auto">
            <a:xfrm>
              <a:off x="3623081" y="3978396"/>
              <a:ext cx="1315302" cy="2412717"/>
              <a:chOff x="2340" y="2168"/>
              <a:chExt cx="990" cy="1816"/>
            </a:xfrm>
            <a:solidFill>
              <a:srgbClr val="646464"/>
            </a:solidFill>
          </p:grpSpPr>
          <p:sp>
            <p:nvSpPr>
              <p:cNvPr id="993" name="Freeform 1952"/>
              <p:cNvSpPr>
                <a:spLocks/>
              </p:cNvSpPr>
              <p:nvPr/>
            </p:nvSpPr>
            <p:spPr bwMode="auto">
              <a:xfrm>
                <a:off x="2340" y="2168"/>
                <a:ext cx="990" cy="1656"/>
              </a:xfrm>
              <a:custGeom>
                <a:avLst/>
                <a:gdLst/>
                <a:ahLst/>
                <a:cxnLst>
                  <a:cxn ang="0">
                    <a:pos x="136" y="726"/>
                  </a:cxn>
                  <a:cxn ang="0">
                    <a:pos x="174" y="628"/>
                  </a:cxn>
                  <a:cxn ang="0">
                    <a:pos x="148" y="556"/>
                  </a:cxn>
                  <a:cxn ang="0">
                    <a:pos x="156" y="472"/>
                  </a:cxn>
                  <a:cxn ang="0">
                    <a:pos x="178" y="392"/>
                  </a:cxn>
                  <a:cxn ang="0">
                    <a:pos x="224" y="300"/>
                  </a:cxn>
                  <a:cxn ang="0">
                    <a:pos x="242" y="248"/>
                  </a:cxn>
                  <a:cxn ang="0">
                    <a:pos x="244" y="160"/>
                  </a:cxn>
                  <a:cxn ang="0">
                    <a:pos x="324" y="40"/>
                  </a:cxn>
                  <a:cxn ang="0">
                    <a:pos x="430" y="18"/>
                  </a:cxn>
                  <a:cxn ang="0">
                    <a:pos x="478" y="28"/>
                  </a:cxn>
                  <a:cxn ang="0">
                    <a:pos x="582" y="68"/>
                  </a:cxn>
                  <a:cxn ang="0">
                    <a:pos x="672" y="130"/>
                  </a:cxn>
                  <a:cxn ang="0">
                    <a:pos x="764" y="184"/>
                  </a:cxn>
                  <a:cxn ang="0">
                    <a:pos x="766" y="254"/>
                  </a:cxn>
                  <a:cxn ang="0">
                    <a:pos x="784" y="314"/>
                  </a:cxn>
                  <a:cxn ang="0">
                    <a:pos x="840" y="324"/>
                  </a:cxn>
                  <a:cxn ang="0">
                    <a:pos x="906" y="298"/>
                  </a:cxn>
                  <a:cxn ang="0">
                    <a:pos x="964" y="224"/>
                  </a:cxn>
                  <a:cxn ang="0">
                    <a:pos x="978" y="312"/>
                  </a:cxn>
                  <a:cxn ang="0">
                    <a:pos x="898" y="352"/>
                  </a:cxn>
                  <a:cxn ang="0">
                    <a:pos x="838" y="410"/>
                  </a:cxn>
                  <a:cxn ang="0">
                    <a:pos x="774" y="470"/>
                  </a:cxn>
                  <a:cxn ang="0">
                    <a:pos x="744" y="556"/>
                  </a:cxn>
                  <a:cxn ang="0">
                    <a:pos x="732" y="624"/>
                  </a:cxn>
                  <a:cxn ang="0">
                    <a:pos x="712" y="688"/>
                  </a:cxn>
                  <a:cxn ang="0">
                    <a:pos x="760" y="766"/>
                  </a:cxn>
                  <a:cxn ang="0">
                    <a:pos x="758" y="862"/>
                  </a:cxn>
                  <a:cxn ang="0">
                    <a:pos x="658" y="930"/>
                  </a:cxn>
                  <a:cxn ang="0">
                    <a:pos x="522" y="938"/>
                  </a:cxn>
                  <a:cxn ang="0">
                    <a:pos x="508" y="956"/>
                  </a:cxn>
                  <a:cxn ang="0">
                    <a:pos x="498" y="1026"/>
                  </a:cxn>
                  <a:cxn ang="0">
                    <a:pos x="420" y="1046"/>
                  </a:cxn>
                  <a:cxn ang="0">
                    <a:pos x="374" y="1082"/>
                  </a:cxn>
                  <a:cxn ang="0">
                    <a:pos x="414" y="1116"/>
                  </a:cxn>
                  <a:cxn ang="0">
                    <a:pos x="422" y="1146"/>
                  </a:cxn>
                  <a:cxn ang="0">
                    <a:pos x="386" y="1148"/>
                  </a:cxn>
                  <a:cxn ang="0">
                    <a:pos x="356" y="1204"/>
                  </a:cxn>
                  <a:cxn ang="0">
                    <a:pos x="312" y="1256"/>
                  </a:cxn>
                  <a:cxn ang="0">
                    <a:pos x="250" y="1328"/>
                  </a:cxn>
                  <a:cxn ang="0">
                    <a:pos x="322" y="1392"/>
                  </a:cxn>
                  <a:cxn ang="0">
                    <a:pos x="310" y="1424"/>
                  </a:cxn>
                  <a:cxn ang="0">
                    <a:pos x="242" y="1476"/>
                  </a:cxn>
                  <a:cxn ang="0">
                    <a:pos x="224" y="1528"/>
                  </a:cxn>
                  <a:cxn ang="0">
                    <a:pos x="202" y="1530"/>
                  </a:cxn>
                  <a:cxn ang="0">
                    <a:pos x="166" y="1582"/>
                  </a:cxn>
                  <a:cxn ang="0">
                    <a:pos x="158" y="1614"/>
                  </a:cxn>
                  <a:cxn ang="0">
                    <a:pos x="184" y="1650"/>
                  </a:cxn>
                  <a:cxn ang="0">
                    <a:pos x="48" y="1608"/>
                  </a:cxn>
                  <a:cxn ang="0">
                    <a:pos x="36" y="1560"/>
                  </a:cxn>
                  <a:cxn ang="0">
                    <a:pos x="2" y="1518"/>
                  </a:cxn>
                  <a:cxn ang="0">
                    <a:pos x="42" y="1452"/>
                  </a:cxn>
                  <a:cxn ang="0">
                    <a:pos x="50" y="1386"/>
                  </a:cxn>
                  <a:cxn ang="0">
                    <a:pos x="70" y="1316"/>
                  </a:cxn>
                  <a:cxn ang="0">
                    <a:pos x="62" y="1248"/>
                  </a:cxn>
                  <a:cxn ang="0">
                    <a:pos x="100" y="1226"/>
                  </a:cxn>
                  <a:cxn ang="0">
                    <a:pos x="68" y="1170"/>
                  </a:cxn>
                  <a:cxn ang="0">
                    <a:pos x="64" y="1100"/>
                  </a:cxn>
                  <a:cxn ang="0">
                    <a:pos x="72" y="1038"/>
                  </a:cxn>
                  <a:cxn ang="0">
                    <a:pos x="80" y="970"/>
                  </a:cxn>
                  <a:cxn ang="0">
                    <a:pos x="120" y="908"/>
                  </a:cxn>
                  <a:cxn ang="0">
                    <a:pos x="106" y="834"/>
                  </a:cxn>
                </a:cxnLst>
                <a:rect l="0" t="0" r="r" b="b"/>
                <a:pathLst>
                  <a:path w="990" h="1656">
                    <a:moveTo>
                      <a:pt x="114" y="792"/>
                    </a:moveTo>
                    <a:lnTo>
                      <a:pt x="114" y="794"/>
                    </a:lnTo>
                    <a:lnTo>
                      <a:pt x="116" y="794"/>
                    </a:lnTo>
                    <a:lnTo>
                      <a:pt x="128" y="790"/>
                    </a:lnTo>
                    <a:lnTo>
                      <a:pt x="128" y="788"/>
                    </a:lnTo>
                    <a:lnTo>
                      <a:pt x="126" y="786"/>
                    </a:lnTo>
                    <a:lnTo>
                      <a:pt x="128" y="782"/>
                    </a:lnTo>
                    <a:lnTo>
                      <a:pt x="134" y="776"/>
                    </a:lnTo>
                    <a:lnTo>
                      <a:pt x="136" y="776"/>
                    </a:lnTo>
                    <a:lnTo>
                      <a:pt x="138" y="776"/>
                    </a:lnTo>
                    <a:lnTo>
                      <a:pt x="140" y="776"/>
                    </a:lnTo>
                    <a:lnTo>
                      <a:pt x="140" y="774"/>
                    </a:lnTo>
                    <a:lnTo>
                      <a:pt x="142" y="772"/>
                    </a:lnTo>
                    <a:lnTo>
                      <a:pt x="142" y="766"/>
                    </a:lnTo>
                    <a:lnTo>
                      <a:pt x="142" y="762"/>
                    </a:lnTo>
                    <a:lnTo>
                      <a:pt x="142" y="760"/>
                    </a:lnTo>
                    <a:lnTo>
                      <a:pt x="144" y="758"/>
                    </a:lnTo>
                    <a:lnTo>
                      <a:pt x="144" y="752"/>
                    </a:lnTo>
                    <a:lnTo>
                      <a:pt x="142" y="750"/>
                    </a:lnTo>
                    <a:lnTo>
                      <a:pt x="142" y="748"/>
                    </a:lnTo>
                    <a:lnTo>
                      <a:pt x="142" y="746"/>
                    </a:lnTo>
                    <a:lnTo>
                      <a:pt x="142" y="742"/>
                    </a:lnTo>
                    <a:lnTo>
                      <a:pt x="142" y="732"/>
                    </a:lnTo>
                    <a:lnTo>
                      <a:pt x="136" y="730"/>
                    </a:lnTo>
                    <a:lnTo>
                      <a:pt x="136" y="728"/>
                    </a:lnTo>
                    <a:lnTo>
                      <a:pt x="136" y="726"/>
                    </a:lnTo>
                    <a:lnTo>
                      <a:pt x="136" y="724"/>
                    </a:lnTo>
                    <a:lnTo>
                      <a:pt x="138" y="724"/>
                    </a:lnTo>
                    <a:lnTo>
                      <a:pt x="140" y="724"/>
                    </a:lnTo>
                    <a:lnTo>
                      <a:pt x="144" y="722"/>
                    </a:lnTo>
                    <a:lnTo>
                      <a:pt x="144" y="718"/>
                    </a:lnTo>
                    <a:lnTo>
                      <a:pt x="144" y="716"/>
                    </a:lnTo>
                    <a:lnTo>
                      <a:pt x="144" y="714"/>
                    </a:lnTo>
                    <a:lnTo>
                      <a:pt x="144" y="712"/>
                    </a:lnTo>
                    <a:lnTo>
                      <a:pt x="148" y="706"/>
                    </a:lnTo>
                    <a:lnTo>
                      <a:pt x="152" y="694"/>
                    </a:lnTo>
                    <a:lnTo>
                      <a:pt x="154" y="688"/>
                    </a:lnTo>
                    <a:lnTo>
                      <a:pt x="160" y="680"/>
                    </a:lnTo>
                    <a:lnTo>
                      <a:pt x="160" y="678"/>
                    </a:lnTo>
                    <a:lnTo>
                      <a:pt x="160" y="674"/>
                    </a:lnTo>
                    <a:lnTo>
                      <a:pt x="162" y="674"/>
                    </a:lnTo>
                    <a:lnTo>
                      <a:pt x="164" y="674"/>
                    </a:lnTo>
                    <a:lnTo>
                      <a:pt x="166" y="674"/>
                    </a:lnTo>
                    <a:lnTo>
                      <a:pt x="168" y="674"/>
                    </a:lnTo>
                    <a:lnTo>
                      <a:pt x="172" y="672"/>
                    </a:lnTo>
                    <a:lnTo>
                      <a:pt x="170" y="664"/>
                    </a:lnTo>
                    <a:lnTo>
                      <a:pt x="168" y="654"/>
                    </a:lnTo>
                    <a:lnTo>
                      <a:pt x="168" y="650"/>
                    </a:lnTo>
                    <a:lnTo>
                      <a:pt x="168" y="648"/>
                    </a:lnTo>
                    <a:lnTo>
                      <a:pt x="170" y="636"/>
                    </a:lnTo>
                    <a:lnTo>
                      <a:pt x="172" y="628"/>
                    </a:lnTo>
                    <a:lnTo>
                      <a:pt x="174" y="628"/>
                    </a:lnTo>
                    <a:lnTo>
                      <a:pt x="174" y="626"/>
                    </a:lnTo>
                    <a:lnTo>
                      <a:pt x="172" y="620"/>
                    </a:lnTo>
                    <a:lnTo>
                      <a:pt x="170" y="618"/>
                    </a:lnTo>
                    <a:lnTo>
                      <a:pt x="168" y="618"/>
                    </a:lnTo>
                    <a:lnTo>
                      <a:pt x="166" y="620"/>
                    </a:lnTo>
                    <a:lnTo>
                      <a:pt x="164" y="620"/>
                    </a:lnTo>
                    <a:lnTo>
                      <a:pt x="158" y="616"/>
                    </a:lnTo>
                    <a:lnTo>
                      <a:pt x="158" y="614"/>
                    </a:lnTo>
                    <a:lnTo>
                      <a:pt x="160" y="612"/>
                    </a:lnTo>
                    <a:lnTo>
                      <a:pt x="160" y="610"/>
                    </a:lnTo>
                    <a:lnTo>
                      <a:pt x="158" y="608"/>
                    </a:lnTo>
                    <a:lnTo>
                      <a:pt x="160" y="606"/>
                    </a:lnTo>
                    <a:lnTo>
                      <a:pt x="162" y="602"/>
                    </a:lnTo>
                    <a:lnTo>
                      <a:pt x="164" y="598"/>
                    </a:lnTo>
                    <a:lnTo>
                      <a:pt x="162" y="598"/>
                    </a:lnTo>
                    <a:lnTo>
                      <a:pt x="156" y="592"/>
                    </a:lnTo>
                    <a:lnTo>
                      <a:pt x="156" y="584"/>
                    </a:lnTo>
                    <a:lnTo>
                      <a:pt x="156" y="582"/>
                    </a:lnTo>
                    <a:lnTo>
                      <a:pt x="156" y="580"/>
                    </a:lnTo>
                    <a:lnTo>
                      <a:pt x="156" y="578"/>
                    </a:lnTo>
                    <a:lnTo>
                      <a:pt x="156" y="576"/>
                    </a:lnTo>
                    <a:lnTo>
                      <a:pt x="154" y="570"/>
                    </a:lnTo>
                    <a:lnTo>
                      <a:pt x="154" y="568"/>
                    </a:lnTo>
                    <a:lnTo>
                      <a:pt x="150" y="566"/>
                    </a:lnTo>
                    <a:lnTo>
                      <a:pt x="150" y="564"/>
                    </a:lnTo>
                    <a:lnTo>
                      <a:pt x="148" y="556"/>
                    </a:lnTo>
                    <a:lnTo>
                      <a:pt x="150" y="554"/>
                    </a:lnTo>
                    <a:lnTo>
                      <a:pt x="152" y="554"/>
                    </a:lnTo>
                    <a:lnTo>
                      <a:pt x="154" y="548"/>
                    </a:lnTo>
                    <a:lnTo>
                      <a:pt x="152" y="546"/>
                    </a:lnTo>
                    <a:lnTo>
                      <a:pt x="150" y="544"/>
                    </a:lnTo>
                    <a:lnTo>
                      <a:pt x="148" y="546"/>
                    </a:lnTo>
                    <a:lnTo>
                      <a:pt x="146" y="546"/>
                    </a:lnTo>
                    <a:lnTo>
                      <a:pt x="144" y="544"/>
                    </a:lnTo>
                    <a:lnTo>
                      <a:pt x="144" y="542"/>
                    </a:lnTo>
                    <a:lnTo>
                      <a:pt x="142" y="542"/>
                    </a:lnTo>
                    <a:lnTo>
                      <a:pt x="136" y="528"/>
                    </a:lnTo>
                    <a:lnTo>
                      <a:pt x="136" y="526"/>
                    </a:lnTo>
                    <a:lnTo>
                      <a:pt x="138" y="522"/>
                    </a:lnTo>
                    <a:lnTo>
                      <a:pt x="138" y="514"/>
                    </a:lnTo>
                    <a:lnTo>
                      <a:pt x="140" y="506"/>
                    </a:lnTo>
                    <a:lnTo>
                      <a:pt x="144" y="502"/>
                    </a:lnTo>
                    <a:lnTo>
                      <a:pt x="148" y="502"/>
                    </a:lnTo>
                    <a:lnTo>
                      <a:pt x="152" y="498"/>
                    </a:lnTo>
                    <a:lnTo>
                      <a:pt x="152" y="496"/>
                    </a:lnTo>
                    <a:lnTo>
                      <a:pt x="150" y="494"/>
                    </a:lnTo>
                    <a:lnTo>
                      <a:pt x="150" y="492"/>
                    </a:lnTo>
                    <a:lnTo>
                      <a:pt x="150" y="490"/>
                    </a:lnTo>
                    <a:lnTo>
                      <a:pt x="150" y="488"/>
                    </a:lnTo>
                    <a:lnTo>
                      <a:pt x="154" y="480"/>
                    </a:lnTo>
                    <a:lnTo>
                      <a:pt x="154" y="476"/>
                    </a:lnTo>
                    <a:lnTo>
                      <a:pt x="156" y="472"/>
                    </a:lnTo>
                    <a:lnTo>
                      <a:pt x="160" y="466"/>
                    </a:lnTo>
                    <a:lnTo>
                      <a:pt x="164" y="464"/>
                    </a:lnTo>
                    <a:lnTo>
                      <a:pt x="166" y="464"/>
                    </a:lnTo>
                    <a:lnTo>
                      <a:pt x="170" y="462"/>
                    </a:lnTo>
                    <a:lnTo>
                      <a:pt x="172" y="460"/>
                    </a:lnTo>
                    <a:lnTo>
                      <a:pt x="174" y="454"/>
                    </a:lnTo>
                    <a:lnTo>
                      <a:pt x="174" y="450"/>
                    </a:lnTo>
                    <a:lnTo>
                      <a:pt x="172" y="448"/>
                    </a:lnTo>
                    <a:lnTo>
                      <a:pt x="170" y="442"/>
                    </a:lnTo>
                    <a:lnTo>
                      <a:pt x="172" y="442"/>
                    </a:lnTo>
                    <a:lnTo>
                      <a:pt x="172" y="438"/>
                    </a:lnTo>
                    <a:lnTo>
                      <a:pt x="172" y="432"/>
                    </a:lnTo>
                    <a:lnTo>
                      <a:pt x="172" y="428"/>
                    </a:lnTo>
                    <a:lnTo>
                      <a:pt x="170" y="426"/>
                    </a:lnTo>
                    <a:lnTo>
                      <a:pt x="168" y="424"/>
                    </a:lnTo>
                    <a:lnTo>
                      <a:pt x="170" y="422"/>
                    </a:lnTo>
                    <a:lnTo>
                      <a:pt x="170" y="420"/>
                    </a:lnTo>
                    <a:lnTo>
                      <a:pt x="170" y="418"/>
                    </a:lnTo>
                    <a:lnTo>
                      <a:pt x="168" y="412"/>
                    </a:lnTo>
                    <a:lnTo>
                      <a:pt x="166" y="408"/>
                    </a:lnTo>
                    <a:lnTo>
                      <a:pt x="166" y="404"/>
                    </a:lnTo>
                    <a:lnTo>
                      <a:pt x="170" y="398"/>
                    </a:lnTo>
                    <a:lnTo>
                      <a:pt x="172" y="396"/>
                    </a:lnTo>
                    <a:lnTo>
                      <a:pt x="176" y="396"/>
                    </a:lnTo>
                    <a:lnTo>
                      <a:pt x="178" y="394"/>
                    </a:lnTo>
                    <a:lnTo>
                      <a:pt x="178" y="392"/>
                    </a:lnTo>
                    <a:lnTo>
                      <a:pt x="178" y="390"/>
                    </a:lnTo>
                    <a:lnTo>
                      <a:pt x="180" y="382"/>
                    </a:lnTo>
                    <a:lnTo>
                      <a:pt x="182" y="378"/>
                    </a:lnTo>
                    <a:lnTo>
                      <a:pt x="182" y="376"/>
                    </a:lnTo>
                    <a:lnTo>
                      <a:pt x="180" y="374"/>
                    </a:lnTo>
                    <a:lnTo>
                      <a:pt x="180" y="370"/>
                    </a:lnTo>
                    <a:lnTo>
                      <a:pt x="182" y="366"/>
                    </a:lnTo>
                    <a:lnTo>
                      <a:pt x="184" y="366"/>
                    </a:lnTo>
                    <a:lnTo>
                      <a:pt x="184" y="364"/>
                    </a:lnTo>
                    <a:lnTo>
                      <a:pt x="186" y="356"/>
                    </a:lnTo>
                    <a:lnTo>
                      <a:pt x="188" y="354"/>
                    </a:lnTo>
                    <a:lnTo>
                      <a:pt x="190" y="352"/>
                    </a:lnTo>
                    <a:lnTo>
                      <a:pt x="198" y="344"/>
                    </a:lnTo>
                    <a:lnTo>
                      <a:pt x="200" y="342"/>
                    </a:lnTo>
                    <a:lnTo>
                      <a:pt x="202" y="340"/>
                    </a:lnTo>
                    <a:lnTo>
                      <a:pt x="202" y="338"/>
                    </a:lnTo>
                    <a:lnTo>
                      <a:pt x="204" y="334"/>
                    </a:lnTo>
                    <a:lnTo>
                      <a:pt x="206" y="334"/>
                    </a:lnTo>
                    <a:lnTo>
                      <a:pt x="208" y="334"/>
                    </a:lnTo>
                    <a:lnTo>
                      <a:pt x="210" y="332"/>
                    </a:lnTo>
                    <a:lnTo>
                      <a:pt x="210" y="330"/>
                    </a:lnTo>
                    <a:lnTo>
                      <a:pt x="212" y="322"/>
                    </a:lnTo>
                    <a:lnTo>
                      <a:pt x="212" y="320"/>
                    </a:lnTo>
                    <a:lnTo>
                      <a:pt x="214" y="314"/>
                    </a:lnTo>
                    <a:lnTo>
                      <a:pt x="216" y="314"/>
                    </a:lnTo>
                    <a:lnTo>
                      <a:pt x="224" y="300"/>
                    </a:lnTo>
                    <a:lnTo>
                      <a:pt x="226" y="296"/>
                    </a:lnTo>
                    <a:lnTo>
                      <a:pt x="226" y="294"/>
                    </a:lnTo>
                    <a:lnTo>
                      <a:pt x="226" y="292"/>
                    </a:lnTo>
                    <a:lnTo>
                      <a:pt x="228" y="290"/>
                    </a:lnTo>
                    <a:lnTo>
                      <a:pt x="228" y="288"/>
                    </a:lnTo>
                    <a:lnTo>
                      <a:pt x="230" y="286"/>
                    </a:lnTo>
                    <a:lnTo>
                      <a:pt x="232" y="286"/>
                    </a:lnTo>
                    <a:lnTo>
                      <a:pt x="234" y="288"/>
                    </a:lnTo>
                    <a:lnTo>
                      <a:pt x="236" y="288"/>
                    </a:lnTo>
                    <a:lnTo>
                      <a:pt x="248" y="284"/>
                    </a:lnTo>
                    <a:lnTo>
                      <a:pt x="250" y="284"/>
                    </a:lnTo>
                    <a:lnTo>
                      <a:pt x="252" y="284"/>
                    </a:lnTo>
                    <a:lnTo>
                      <a:pt x="252" y="282"/>
                    </a:lnTo>
                    <a:lnTo>
                      <a:pt x="254" y="276"/>
                    </a:lnTo>
                    <a:lnTo>
                      <a:pt x="254" y="274"/>
                    </a:lnTo>
                    <a:lnTo>
                      <a:pt x="248" y="266"/>
                    </a:lnTo>
                    <a:lnTo>
                      <a:pt x="248" y="264"/>
                    </a:lnTo>
                    <a:lnTo>
                      <a:pt x="246" y="264"/>
                    </a:lnTo>
                    <a:lnTo>
                      <a:pt x="246" y="262"/>
                    </a:lnTo>
                    <a:lnTo>
                      <a:pt x="242" y="258"/>
                    </a:lnTo>
                    <a:lnTo>
                      <a:pt x="242" y="256"/>
                    </a:lnTo>
                    <a:lnTo>
                      <a:pt x="242" y="254"/>
                    </a:lnTo>
                    <a:lnTo>
                      <a:pt x="240" y="254"/>
                    </a:lnTo>
                    <a:lnTo>
                      <a:pt x="240" y="252"/>
                    </a:lnTo>
                    <a:lnTo>
                      <a:pt x="240" y="250"/>
                    </a:lnTo>
                    <a:lnTo>
                      <a:pt x="242" y="248"/>
                    </a:lnTo>
                    <a:lnTo>
                      <a:pt x="242" y="246"/>
                    </a:lnTo>
                    <a:lnTo>
                      <a:pt x="242" y="244"/>
                    </a:lnTo>
                    <a:lnTo>
                      <a:pt x="244" y="242"/>
                    </a:lnTo>
                    <a:lnTo>
                      <a:pt x="244" y="240"/>
                    </a:lnTo>
                    <a:lnTo>
                      <a:pt x="246" y="240"/>
                    </a:lnTo>
                    <a:lnTo>
                      <a:pt x="248" y="236"/>
                    </a:lnTo>
                    <a:lnTo>
                      <a:pt x="250" y="236"/>
                    </a:lnTo>
                    <a:lnTo>
                      <a:pt x="248" y="222"/>
                    </a:lnTo>
                    <a:lnTo>
                      <a:pt x="246" y="214"/>
                    </a:lnTo>
                    <a:lnTo>
                      <a:pt x="246" y="212"/>
                    </a:lnTo>
                    <a:lnTo>
                      <a:pt x="244" y="206"/>
                    </a:lnTo>
                    <a:lnTo>
                      <a:pt x="242" y="200"/>
                    </a:lnTo>
                    <a:lnTo>
                      <a:pt x="242" y="198"/>
                    </a:lnTo>
                    <a:lnTo>
                      <a:pt x="242" y="196"/>
                    </a:lnTo>
                    <a:lnTo>
                      <a:pt x="242" y="192"/>
                    </a:lnTo>
                    <a:lnTo>
                      <a:pt x="244" y="190"/>
                    </a:lnTo>
                    <a:lnTo>
                      <a:pt x="244" y="188"/>
                    </a:lnTo>
                    <a:lnTo>
                      <a:pt x="246" y="186"/>
                    </a:lnTo>
                    <a:lnTo>
                      <a:pt x="246" y="184"/>
                    </a:lnTo>
                    <a:lnTo>
                      <a:pt x="246" y="182"/>
                    </a:lnTo>
                    <a:lnTo>
                      <a:pt x="250" y="180"/>
                    </a:lnTo>
                    <a:lnTo>
                      <a:pt x="254" y="178"/>
                    </a:lnTo>
                    <a:lnTo>
                      <a:pt x="246" y="166"/>
                    </a:lnTo>
                    <a:lnTo>
                      <a:pt x="244" y="166"/>
                    </a:lnTo>
                    <a:lnTo>
                      <a:pt x="244" y="162"/>
                    </a:lnTo>
                    <a:lnTo>
                      <a:pt x="244" y="160"/>
                    </a:lnTo>
                    <a:lnTo>
                      <a:pt x="246" y="158"/>
                    </a:lnTo>
                    <a:lnTo>
                      <a:pt x="246" y="154"/>
                    </a:lnTo>
                    <a:lnTo>
                      <a:pt x="248" y="152"/>
                    </a:lnTo>
                    <a:lnTo>
                      <a:pt x="252" y="146"/>
                    </a:lnTo>
                    <a:lnTo>
                      <a:pt x="254" y="144"/>
                    </a:lnTo>
                    <a:lnTo>
                      <a:pt x="256" y="146"/>
                    </a:lnTo>
                    <a:lnTo>
                      <a:pt x="258" y="142"/>
                    </a:lnTo>
                    <a:lnTo>
                      <a:pt x="260" y="140"/>
                    </a:lnTo>
                    <a:lnTo>
                      <a:pt x="264" y="140"/>
                    </a:lnTo>
                    <a:lnTo>
                      <a:pt x="278" y="132"/>
                    </a:lnTo>
                    <a:lnTo>
                      <a:pt x="292" y="126"/>
                    </a:lnTo>
                    <a:lnTo>
                      <a:pt x="294" y="126"/>
                    </a:lnTo>
                    <a:lnTo>
                      <a:pt x="306" y="120"/>
                    </a:lnTo>
                    <a:lnTo>
                      <a:pt x="312" y="104"/>
                    </a:lnTo>
                    <a:lnTo>
                      <a:pt x="316" y="94"/>
                    </a:lnTo>
                    <a:lnTo>
                      <a:pt x="318" y="86"/>
                    </a:lnTo>
                    <a:lnTo>
                      <a:pt x="318" y="84"/>
                    </a:lnTo>
                    <a:lnTo>
                      <a:pt x="320" y="78"/>
                    </a:lnTo>
                    <a:lnTo>
                      <a:pt x="322" y="72"/>
                    </a:lnTo>
                    <a:lnTo>
                      <a:pt x="326" y="66"/>
                    </a:lnTo>
                    <a:lnTo>
                      <a:pt x="320" y="60"/>
                    </a:lnTo>
                    <a:lnTo>
                      <a:pt x="316" y="56"/>
                    </a:lnTo>
                    <a:lnTo>
                      <a:pt x="320" y="50"/>
                    </a:lnTo>
                    <a:lnTo>
                      <a:pt x="326" y="46"/>
                    </a:lnTo>
                    <a:lnTo>
                      <a:pt x="324" y="42"/>
                    </a:lnTo>
                    <a:lnTo>
                      <a:pt x="324" y="40"/>
                    </a:lnTo>
                    <a:lnTo>
                      <a:pt x="330" y="36"/>
                    </a:lnTo>
                    <a:lnTo>
                      <a:pt x="334" y="36"/>
                    </a:lnTo>
                    <a:lnTo>
                      <a:pt x="338" y="34"/>
                    </a:lnTo>
                    <a:lnTo>
                      <a:pt x="338" y="30"/>
                    </a:lnTo>
                    <a:lnTo>
                      <a:pt x="340" y="24"/>
                    </a:lnTo>
                    <a:lnTo>
                      <a:pt x="342" y="22"/>
                    </a:lnTo>
                    <a:lnTo>
                      <a:pt x="346" y="22"/>
                    </a:lnTo>
                    <a:lnTo>
                      <a:pt x="350" y="20"/>
                    </a:lnTo>
                    <a:lnTo>
                      <a:pt x="352" y="20"/>
                    </a:lnTo>
                    <a:lnTo>
                      <a:pt x="358" y="18"/>
                    </a:lnTo>
                    <a:lnTo>
                      <a:pt x="360" y="18"/>
                    </a:lnTo>
                    <a:lnTo>
                      <a:pt x="362" y="16"/>
                    </a:lnTo>
                    <a:lnTo>
                      <a:pt x="364" y="12"/>
                    </a:lnTo>
                    <a:lnTo>
                      <a:pt x="364" y="10"/>
                    </a:lnTo>
                    <a:lnTo>
                      <a:pt x="364" y="6"/>
                    </a:lnTo>
                    <a:lnTo>
                      <a:pt x="366" y="0"/>
                    </a:lnTo>
                    <a:lnTo>
                      <a:pt x="368" y="0"/>
                    </a:lnTo>
                    <a:lnTo>
                      <a:pt x="374" y="2"/>
                    </a:lnTo>
                    <a:lnTo>
                      <a:pt x="382" y="8"/>
                    </a:lnTo>
                    <a:lnTo>
                      <a:pt x="386" y="12"/>
                    </a:lnTo>
                    <a:lnTo>
                      <a:pt x="388" y="16"/>
                    </a:lnTo>
                    <a:lnTo>
                      <a:pt x="392" y="18"/>
                    </a:lnTo>
                    <a:lnTo>
                      <a:pt x="396" y="18"/>
                    </a:lnTo>
                    <a:lnTo>
                      <a:pt x="398" y="18"/>
                    </a:lnTo>
                    <a:lnTo>
                      <a:pt x="420" y="18"/>
                    </a:lnTo>
                    <a:lnTo>
                      <a:pt x="430" y="18"/>
                    </a:lnTo>
                    <a:lnTo>
                      <a:pt x="444" y="22"/>
                    </a:lnTo>
                    <a:lnTo>
                      <a:pt x="446" y="22"/>
                    </a:lnTo>
                    <a:lnTo>
                      <a:pt x="450" y="24"/>
                    </a:lnTo>
                    <a:lnTo>
                      <a:pt x="452" y="28"/>
                    </a:lnTo>
                    <a:lnTo>
                      <a:pt x="454" y="34"/>
                    </a:lnTo>
                    <a:lnTo>
                      <a:pt x="456" y="40"/>
                    </a:lnTo>
                    <a:lnTo>
                      <a:pt x="458" y="44"/>
                    </a:lnTo>
                    <a:lnTo>
                      <a:pt x="456" y="46"/>
                    </a:lnTo>
                    <a:lnTo>
                      <a:pt x="456" y="48"/>
                    </a:lnTo>
                    <a:lnTo>
                      <a:pt x="458" y="50"/>
                    </a:lnTo>
                    <a:lnTo>
                      <a:pt x="462" y="52"/>
                    </a:lnTo>
                    <a:lnTo>
                      <a:pt x="462" y="54"/>
                    </a:lnTo>
                    <a:lnTo>
                      <a:pt x="462" y="58"/>
                    </a:lnTo>
                    <a:lnTo>
                      <a:pt x="462" y="60"/>
                    </a:lnTo>
                    <a:lnTo>
                      <a:pt x="464" y="60"/>
                    </a:lnTo>
                    <a:lnTo>
                      <a:pt x="464" y="58"/>
                    </a:lnTo>
                    <a:lnTo>
                      <a:pt x="466" y="54"/>
                    </a:lnTo>
                    <a:lnTo>
                      <a:pt x="466" y="52"/>
                    </a:lnTo>
                    <a:lnTo>
                      <a:pt x="466" y="48"/>
                    </a:lnTo>
                    <a:lnTo>
                      <a:pt x="466" y="44"/>
                    </a:lnTo>
                    <a:lnTo>
                      <a:pt x="468" y="44"/>
                    </a:lnTo>
                    <a:lnTo>
                      <a:pt x="468" y="40"/>
                    </a:lnTo>
                    <a:lnTo>
                      <a:pt x="470" y="40"/>
                    </a:lnTo>
                    <a:lnTo>
                      <a:pt x="472" y="38"/>
                    </a:lnTo>
                    <a:lnTo>
                      <a:pt x="474" y="36"/>
                    </a:lnTo>
                    <a:lnTo>
                      <a:pt x="478" y="28"/>
                    </a:lnTo>
                    <a:lnTo>
                      <a:pt x="482" y="18"/>
                    </a:lnTo>
                    <a:lnTo>
                      <a:pt x="484" y="12"/>
                    </a:lnTo>
                    <a:lnTo>
                      <a:pt x="494" y="14"/>
                    </a:lnTo>
                    <a:lnTo>
                      <a:pt x="498" y="14"/>
                    </a:lnTo>
                    <a:lnTo>
                      <a:pt x="502" y="14"/>
                    </a:lnTo>
                    <a:lnTo>
                      <a:pt x="526" y="14"/>
                    </a:lnTo>
                    <a:lnTo>
                      <a:pt x="538" y="14"/>
                    </a:lnTo>
                    <a:lnTo>
                      <a:pt x="542" y="14"/>
                    </a:lnTo>
                    <a:lnTo>
                      <a:pt x="542" y="16"/>
                    </a:lnTo>
                    <a:lnTo>
                      <a:pt x="542" y="18"/>
                    </a:lnTo>
                    <a:lnTo>
                      <a:pt x="542" y="20"/>
                    </a:lnTo>
                    <a:lnTo>
                      <a:pt x="544" y="24"/>
                    </a:lnTo>
                    <a:lnTo>
                      <a:pt x="550" y="28"/>
                    </a:lnTo>
                    <a:lnTo>
                      <a:pt x="552" y="30"/>
                    </a:lnTo>
                    <a:lnTo>
                      <a:pt x="556" y="34"/>
                    </a:lnTo>
                    <a:lnTo>
                      <a:pt x="562" y="40"/>
                    </a:lnTo>
                    <a:lnTo>
                      <a:pt x="564" y="40"/>
                    </a:lnTo>
                    <a:lnTo>
                      <a:pt x="566" y="40"/>
                    </a:lnTo>
                    <a:lnTo>
                      <a:pt x="566" y="42"/>
                    </a:lnTo>
                    <a:lnTo>
                      <a:pt x="568" y="42"/>
                    </a:lnTo>
                    <a:lnTo>
                      <a:pt x="570" y="44"/>
                    </a:lnTo>
                    <a:lnTo>
                      <a:pt x="570" y="46"/>
                    </a:lnTo>
                    <a:lnTo>
                      <a:pt x="574" y="56"/>
                    </a:lnTo>
                    <a:lnTo>
                      <a:pt x="578" y="60"/>
                    </a:lnTo>
                    <a:lnTo>
                      <a:pt x="580" y="64"/>
                    </a:lnTo>
                    <a:lnTo>
                      <a:pt x="582" y="68"/>
                    </a:lnTo>
                    <a:lnTo>
                      <a:pt x="580" y="68"/>
                    </a:lnTo>
                    <a:lnTo>
                      <a:pt x="582" y="70"/>
                    </a:lnTo>
                    <a:lnTo>
                      <a:pt x="586" y="74"/>
                    </a:lnTo>
                    <a:lnTo>
                      <a:pt x="588" y="74"/>
                    </a:lnTo>
                    <a:lnTo>
                      <a:pt x="594" y="80"/>
                    </a:lnTo>
                    <a:lnTo>
                      <a:pt x="594" y="84"/>
                    </a:lnTo>
                    <a:lnTo>
                      <a:pt x="596" y="86"/>
                    </a:lnTo>
                    <a:lnTo>
                      <a:pt x="600" y="86"/>
                    </a:lnTo>
                    <a:lnTo>
                      <a:pt x="602" y="86"/>
                    </a:lnTo>
                    <a:lnTo>
                      <a:pt x="608" y="94"/>
                    </a:lnTo>
                    <a:lnTo>
                      <a:pt x="614" y="96"/>
                    </a:lnTo>
                    <a:lnTo>
                      <a:pt x="616" y="98"/>
                    </a:lnTo>
                    <a:lnTo>
                      <a:pt x="622" y="102"/>
                    </a:lnTo>
                    <a:lnTo>
                      <a:pt x="626" y="104"/>
                    </a:lnTo>
                    <a:lnTo>
                      <a:pt x="628" y="112"/>
                    </a:lnTo>
                    <a:lnTo>
                      <a:pt x="630" y="114"/>
                    </a:lnTo>
                    <a:lnTo>
                      <a:pt x="630" y="116"/>
                    </a:lnTo>
                    <a:lnTo>
                      <a:pt x="632" y="116"/>
                    </a:lnTo>
                    <a:lnTo>
                      <a:pt x="636" y="118"/>
                    </a:lnTo>
                    <a:lnTo>
                      <a:pt x="642" y="120"/>
                    </a:lnTo>
                    <a:lnTo>
                      <a:pt x="644" y="120"/>
                    </a:lnTo>
                    <a:lnTo>
                      <a:pt x="650" y="120"/>
                    </a:lnTo>
                    <a:lnTo>
                      <a:pt x="650" y="122"/>
                    </a:lnTo>
                    <a:lnTo>
                      <a:pt x="658" y="126"/>
                    </a:lnTo>
                    <a:lnTo>
                      <a:pt x="666" y="128"/>
                    </a:lnTo>
                    <a:lnTo>
                      <a:pt x="672" y="130"/>
                    </a:lnTo>
                    <a:lnTo>
                      <a:pt x="672" y="128"/>
                    </a:lnTo>
                    <a:lnTo>
                      <a:pt x="674" y="128"/>
                    </a:lnTo>
                    <a:lnTo>
                      <a:pt x="676" y="128"/>
                    </a:lnTo>
                    <a:lnTo>
                      <a:pt x="678" y="128"/>
                    </a:lnTo>
                    <a:lnTo>
                      <a:pt x="682" y="130"/>
                    </a:lnTo>
                    <a:lnTo>
                      <a:pt x="696" y="140"/>
                    </a:lnTo>
                    <a:lnTo>
                      <a:pt x="704" y="144"/>
                    </a:lnTo>
                    <a:lnTo>
                      <a:pt x="706" y="148"/>
                    </a:lnTo>
                    <a:lnTo>
                      <a:pt x="710" y="152"/>
                    </a:lnTo>
                    <a:lnTo>
                      <a:pt x="712" y="154"/>
                    </a:lnTo>
                    <a:lnTo>
                      <a:pt x="712" y="156"/>
                    </a:lnTo>
                    <a:lnTo>
                      <a:pt x="714" y="156"/>
                    </a:lnTo>
                    <a:lnTo>
                      <a:pt x="724" y="162"/>
                    </a:lnTo>
                    <a:lnTo>
                      <a:pt x="726" y="162"/>
                    </a:lnTo>
                    <a:lnTo>
                      <a:pt x="730" y="164"/>
                    </a:lnTo>
                    <a:lnTo>
                      <a:pt x="732" y="166"/>
                    </a:lnTo>
                    <a:lnTo>
                      <a:pt x="732" y="168"/>
                    </a:lnTo>
                    <a:lnTo>
                      <a:pt x="734" y="168"/>
                    </a:lnTo>
                    <a:lnTo>
                      <a:pt x="738" y="172"/>
                    </a:lnTo>
                    <a:lnTo>
                      <a:pt x="744" y="174"/>
                    </a:lnTo>
                    <a:lnTo>
                      <a:pt x="748" y="176"/>
                    </a:lnTo>
                    <a:lnTo>
                      <a:pt x="750" y="176"/>
                    </a:lnTo>
                    <a:lnTo>
                      <a:pt x="752" y="176"/>
                    </a:lnTo>
                    <a:lnTo>
                      <a:pt x="756" y="178"/>
                    </a:lnTo>
                    <a:lnTo>
                      <a:pt x="760" y="182"/>
                    </a:lnTo>
                    <a:lnTo>
                      <a:pt x="764" y="184"/>
                    </a:lnTo>
                    <a:lnTo>
                      <a:pt x="768" y="184"/>
                    </a:lnTo>
                    <a:lnTo>
                      <a:pt x="772" y="186"/>
                    </a:lnTo>
                    <a:lnTo>
                      <a:pt x="776" y="188"/>
                    </a:lnTo>
                    <a:lnTo>
                      <a:pt x="780" y="190"/>
                    </a:lnTo>
                    <a:lnTo>
                      <a:pt x="782" y="190"/>
                    </a:lnTo>
                    <a:lnTo>
                      <a:pt x="784" y="190"/>
                    </a:lnTo>
                    <a:lnTo>
                      <a:pt x="784" y="192"/>
                    </a:lnTo>
                    <a:lnTo>
                      <a:pt x="790" y="196"/>
                    </a:lnTo>
                    <a:lnTo>
                      <a:pt x="790" y="198"/>
                    </a:lnTo>
                    <a:lnTo>
                      <a:pt x="792" y="200"/>
                    </a:lnTo>
                    <a:lnTo>
                      <a:pt x="794" y="202"/>
                    </a:lnTo>
                    <a:lnTo>
                      <a:pt x="796" y="208"/>
                    </a:lnTo>
                    <a:lnTo>
                      <a:pt x="798" y="210"/>
                    </a:lnTo>
                    <a:lnTo>
                      <a:pt x="798" y="212"/>
                    </a:lnTo>
                    <a:lnTo>
                      <a:pt x="798" y="216"/>
                    </a:lnTo>
                    <a:lnTo>
                      <a:pt x="788" y="226"/>
                    </a:lnTo>
                    <a:lnTo>
                      <a:pt x="786" y="228"/>
                    </a:lnTo>
                    <a:lnTo>
                      <a:pt x="784" y="228"/>
                    </a:lnTo>
                    <a:lnTo>
                      <a:pt x="784" y="232"/>
                    </a:lnTo>
                    <a:lnTo>
                      <a:pt x="782" y="234"/>
                    </a:lnTo>
                    <a:lnTo>
                      <a:pt x="780" y="238"/>
                    </a:lnTo>
                    <a:lnTo>
                      <a:pt x="780" y="240"/>
                    </a:lnTo>
                    <a:lnTo>
                      <a:pt x="774" y="246"/>
                    </a:lnTo>
                    <a:lnTo>
                      <a:pt x="770" y="246"/>
                    </a:lnTo>
                    <a:lnTo>
                      <a:pt x="766" y="252"/>
                    </a:lnTo>
                    <a:lnTo>
                      <a:pt x="766" y="254"/>
                    </a:lnTo>
                    <a:lnTo>
                      <a:pt x="764" y="256"/>
                    </a:lnTo>
                    <a:lnTo>
                      <a:pt x="762" y="262"/>
                    </a:lnTo>
                    <a:lnTo>
                      <a:pt x="762" y="270"/>
                    </a:lnTo>
                    <a:lnTo>
                      <a:pt x="762" y="272"/>
                    </a:lnTo>
                    <a:lnTo>
                      <a:pt x="762" y="276"/>
                    </a:lnTo>
                    <a:lnTo>
                      <a:pt x="754" y="288"/>
                    </a:lnTo>
                    <a:lnTo>
                      <a:pt x="752" y="288"/>
                    </a:lnTo>
                    <a:lnTo>
                      <a:pt x="750" y="288"/>
                    </a:lnTo>
                    <a:lnTo>
                      <a:pt x="746" y="292"/>
                    </a:lnTo>
                    <a:lnTo>
                      <a:pt x="740" y="300"/>
                    </a:lnTo>
                    <a:lnTo>
                      <a:pt x="738" y="300"/>
                    </a:lnTo>
                    <a:lnTo>
                      <a:pt x="736" y="302"/>
                    </a:lnTo>
                    <a:lnTo>
                      <a:pt x="736" y="304"/>
                    </a:lnTo>
                    <a:lnTo>
                      <a:pt x="738" y="306"/>
                    </a:lnTo>
                    <a:lnTo>
                      <a:pt x="738" y="310"/>
                    </a:lnTo>
                    <a:lnTo>
                      <a:pt x="740" y="310"/>
                    </a:lnTo>
                    <a:lnTo>
                      <a:pt x="742" y="310"/>
                    </a:lnTo>
                    <a:lnTo>
                      <a:pt x="742" y="308"/>
                    </a:lnTo>
                    <a:lnTo>
                      <a:pt x="744" y="308"/>
                    </a:lnTo>
                    <a:lnTo>
                      <a:pt x="754" y="308"/>
                    </a:lnTo>
                    <a:lnTo>
                      <a:pt x="760" y="308"/>
                    </a:lnTo>
                    <a:lnTo>
                      <a:pt x="768" y="308"/>
                    </a:lnTo>
                    <a:lnTo>
                      <a:pt x="772" y="310"/>
                    </a:lnTo>
                    <a:lnTo>
                      <a:pt x="778" y="310"/>
                    </a:lnTo>
                    <a:lnTo>
                      <a:pt x="782" y="312"/>
                    </a:lnTo>
                    <a:lnTo>
                      <a:pt x="784" y="314"/>
                    </a:lnTo>
                    <a:lnTo>
                      <a:pt x="786" y="314"/>
                    </a:lnTo>
                    <a:lnTo>
                      <a:pt x="786" y="316"/>
                    </a:lnTo>
                    <a:lnTo>
                      <a:pt x="798" y="318"/>
                    </a:lnTo>
                    <a:lnTo>
                      <a:pt x="800" y="320"/>
                    </a:lnTo>
                    <a:lnTo>
                      <a:pt x="802" y="320"/>
                    </a:lnTo>
                    <a:lnTo>
                      <a:pt x="804" y="320"/>
                    </a:lnTo>
                    <a:lnTo>
                      <a:pt x="806" y="322"/>
                    </a:lnTo>
                    <a:lnTo>
                      <a:pt x="808" y="324"/>
                    </a:lnTo>
                    <a:lnTo>
                      <a:pt x="812" y="324"/>
                    </a:lnTo>
                    <a:lnTo>
                      <a:pt x="814" y="324"/>
                    </a:lnTo>
                    <a:lnTo>
                      <a:pt x="816" y="324"/>
                    </a:lnTo>
                    <a:lnTo>
                      <a:pt x="816" y="322"/>
                    </a:lnTo>
                    <a:lnTo>
                      <a:pt x="818" y="320"/>
                    </a:lnTo>
                    <a:lnTo>
                      <a:pt x="822" y="320"/>
                    </a:lnTo>
                    <a:lnTo>
                      <a:pt x="824" y="320"/>
                    </a:lnTo>
                    <a:lnTo>
                      <a:pt x="826" y="322"/>
                    </a:lnTo>
                    <a:lnTo>
                      <a:pt x="826" y="324"/>
                    </a:lnTo>
                    <a:lnTo>
                      <a:pt x="828" y="324"/>
                    </a:lnTo>
                    <a:lnTo>
                      <a:pt x="830" y="324"/>
                    </a:lnTo>
                    <a:lnTo>
                      <a:pt x="832" y="324"/>
                    </a:lnTo>
                    <a:lnTo>
                      <a:pt x="834" y="324"/>
                    </a:lnTo>
                    <a:lnTo>
                      <a:pt x="834" y="322"/>
                    </a:lnTo>
                    <a:lnTo>
                      <a:pt x="836" y="322"/>
                    </a:lnTo>
                    <a:lnTo>
                      <a:pt x="838" y="322"/>
                    </a:lnTo>
                    <a:lnTo>
                      <a:pt x="840" y="322"/>
                    </a:lnTo>
                    <a:lnTo>
                      <a:pt x="840" y="324"/>
                    </a:lnTo>
                    <a:lnTo>
                      <a:pt x="842" y="324"/>
                    </a:lnTo>
                    <a:lnTo>
                      <a:pt x="844" y="328"/>
                    </a:lnTo>
                    <a:lnTo>
                      <a:pt x="846" y="330"/>
                    </a:lnTo>
                    <a:lnTo>
                      <a:pt x="848" y="330"/>
                    </a:lnTo>
                    <a:lnTo>
                      <a:pt x="850" y="330"/>
                    </a:lnTo>
                    <a:lnTo>
                      <a:pt x="854" y="324"/>
                    </a:lnTo>
                    <a:lnTo>
                      <a:pt x="854" y="322"/>
                    </a:lnTo>
                    <a:lnTo>
                      <a:pt x="854" y="320"/>
                    </a:lnTo>
                    <a:lnTo>
                      <a:pt x="860" y="316"/>
                    </a:lnTo>
                    <a:lnTo>
                      <a:pt x="862" y="316"/>
                    </a:lnTo>
                    <a:lnTo>
                      <a:pt x="864" y="316"/>
                    </a:lnTo>
                    <a:lnTo>
                      <a:pt x="866" y="316"/>
                    </a:lnTo>
                    <a:lnTo>
                      <a:pt x="870" y="318"/>
                    </a:lnTo>
                    <a:lnTo>
                      <a:pt x="872" y="318"/>
                    </a:lnTo>
                    <a:lnTo>
                      <a:pt x="874" y="320"/>
                    </a:lnTo>
                    <a:lnTo>
                      <a:pt x="874" y="322"/>
                    </a:lnTo>
                    <a:lnTo>
                      <a:pt x="880" y="324"/>
                    </a:lnTo>
                    <a:lnTo>
                      <a:pt x="888" y="318"/>
                    </a:lnTo>
                    <a:lnTo>
                      <a:pt x="890" y="314"/>
                    </a:lnTo>
                    <a:lnTo>
                      <a:pt x="890" y="312"/>
                    </a:lnTo>
                    <a:lnTo>
                      <a:pt x="890" y="308"/>
                    </a:lnTo>
                    <a:lnTo>
                      <a:pt x="890" y="306"/>
                    </a:lnTo>
                    <a:lnTo>
                      <a:pt x="898" y="300"/>
                    </a:lnTo>
                    <a:lnTo>
                      <a:pt x="900" y="300"/>
                    </a:lnTo>
                    <a:lnTo>
                      <a:pt x="900" y="298"/>
                    </a:lnTo>
                    <a:lnTo>
                      <a:pt x="906" y="298"/>
                    </a:lnTo>
                    <a:lnTo>
                      <a:pt x="908" y="298"/>
                    </a:lnTo>
                    <a:lnTo>
                      <a:pt x="914" y="294"/>
                    </a:lnTo>
                    <a:lnTo>
                      <a:pt x="918" y="290"/>
                    </a:lnTo>
                    <a:lnTo>
                      <a:pt x="920" y="290"/>
                    </a:lnTo>
                    <a:lnTo>
                      <a:pt x="922" y="290"/>
                    </a:lnTo>
                    <a:lnTo>
                      <a:pt x="924" y="288"/>
                    </a:lnTo>
                    <a:lnTo>
                      <a:pt x="924" y="284"/>
                    </a:lnTo>
                    <a:lnTo>
                      <a:pt x="926" y="284"/>
                    </a:lnTo>
                    <a:lnTo>
                      <a:pt x="928" y="282"/>
                    </a:lnTo>
                    <a:lnTo>
                      <a:pt x="928" y="284"/>
                    </a:lnTo>
                    <a:lnTo>
                      <a:pt x="938" y="270"/>
                    </a:lnTo>
                    <a:lnTo>
                      <a:pt x="940" y="264"/>
                    </a:lnTo>
                    <a:lnTo>
                      <a:pt x="940" y="260"/>
                    </a:lnTo>
                    <a:lnTo>
                      <a:pt x="942" y="260"/>
                    </a:lnTo>
                    <a:lnTo>
                      <a:pt x="942" y="258"/>
                    </a:lnTo>
                    <a:lnTo>
                      <a:pt x="942" y="256"/>
                    </a:lnTo>
                    <a:lnTo>
                      <a:pt x="942" y="246"/>
                    </a:lnTo>
                    <a:lnTo>
                      <a:pt x="946" y="244"/>
                    </a:lnTo>
                    <a:lnTo>
                      <a:pt x="946" y="236"/>
                    </a:lnTo>
                    <a:lnTo>
                      <a:pt x="946" y="228"/>
                    </a:lnTo>
                    <a:lnTo>
                      <a:pt x="946" y="224"/>
                    </a:lnTo>
                    <a:lnTo>
                      <a:pt x="950" y="224"/>
                    </a:lnTo>
                    <a:lnTo>
                      <a:pt x="954" y="228"/>
                    </a:lnTo>
                    <a:lnTo>
                      <a:pt x="958" y="226"/>
                    </a:lnTo>
                    <a:lnTo>
                      <a:pt x="962" y="224"/>
                    </a:lnTo>
                    <a:lnTo>
                      <a:pt x="964" y="224"/>
                    </a:lnTo>
                    <a:lnTo>
                      <a:pt x="968" y="224"/>
                    </a:lnTo>
                    <a:lnTo>
                      <a:pt x="970" y="224"/>
                    </a:lnTo>
                    <a:lnTo>
                      <a:pt x="972" y="220"/>
                    </a:lnTo>
                    <a:lnTo>
                      <a:pt x="982" y="230"/>
                    </a:lnTo>
                    <a:lnTo>
                      <a:pt x="984" y="232"/>
                    </a:lnTo>
                    <a:lnTo>
                      <a:pt x="984" y="238"/>
                    </a:lnTo>
                    <a:lnTo>
                      <a:pt x="984" y="240"/>
                    </a:lnTo>
                    <a:lnTo>
                      <a:pt x="984" y="242"/>
                    </a:lnTo>
                    <a:lnTo>
                      <a:pt x="984" y="248"/>
                    </a:lnTo>
                    <a:lnTo>
                      <a:pt x="988" y="254"/>
                    </a:lnTo>
                    <a:lnTo>
                      <a:pt x="990" y="260"/>
                    </a:lnTo>
                    <a:lnTo>
                      <a:pt x="990" y="262"/>
                    </a:lnTo>
                    <a:lnTo>
                      <a:pt x="990" y="264"/>
                    </a:lnTo>
                    <a:lnTo>
                      <a:pt x="990" y="266"/>
                    </a:lnTo>
                    <a:lnTo>
                      <a:pt x="990" y="268"/>
                    </a:lnTo>
                    <a:lnTo>
                      <a:pt x="988" y="268"/>
                    </a:lnTo>
                    <a:lnTo>
                      <a:pt x="988" y="270"/>
                    </a:lnTo>
                    <a:lnTo>
                      <a:pt x="986" y="278"/>
                    </a:lnTo>
                    <a:lnTo>
                      <a:pt x="984" y="286"/>
                    </a:lnTo>
                    <a:lnTo>
                      <a:pt x="984" y="288"/>
                    </a:lnTo>
                    <a:lnTo>
                      <a:pt x="984" y="292"/>
                    </a:lnTo>
                    <a:lnTo>
                      <a:pt x="984" y="298"/>
                    </a:lnTo>
                    <a:lnTo>
                      <a:pt x="984" y="300"/>
                    </a:lnTo>
                    <a:lnTo>
                      <a:pt x="982" y="304"/>
                    </a:lnTo>
                    <a:lnTo>
                      <a:pt x="982" y="306"/>
                    </a:lnTo>
                    <a:lnTo>
                      <a:pt x="978" y="312"/>
                    </a:lnTo>
                    <a:lnTo>
                      <a:pt x="976" y="314"/>
                    </a:lnTo>
                    <a:lnTo>
                      <a:pt x="976" y="312"/>
                    </a:lnTo>
                    <a:lnTo>
                      <a:pt x="974" y="312"/>
                    </a:lnTo>
                    <a:lnTo>
                      <a:pt x="968" y="314"/>
                    </a:lnTo>
                    <a:lnTo>
                      <a:pt x="966" y="316"/>
                    </a:lnTo>
                    <a:lnTo>
                      <a:pt x="964" y="318"/>
                    </a:lnTo>
                    <a:lnTo>
                      <a:pt x="964" y="320"/>
                    </a:lnTo>
                    <a:lnTo>
                      <a:pt x="962" y="320"/>
                    </a:lnTo>
                    <a:lnTo>
                      <a:pt x="960" y="320"/>
                    </a:lnTo>
                    <a:lnTo>
                      <a:pt x="956" y="324"/>
                    </a:lnTo>
                    <a:lnTo>
                      <a:pt x="952" y="326"/>
                    </a:lnTo>
                    <a:lnTo>
                      <a:pt x="948" y="328"/>
                    </a:lnTo>
                    <a:lnTo>
                      <a:pt x="944" y="328"/>
                    </a:lnTo>
                    <a:lnTo>
                      <a:pt x="940" y="330"/>
                    </a:lnTo>
                    <a:lnTo>
                      <a:pt x="934" y="332"/>
                    </a:lnTo>
                    <a:lnTo>
                      <a:pt x="932" y="332"/>
                    </a:lnTo>
                    <a:lnTo>
                      <a:pt x="928" y="332"/>
                    </a:lnTo>
                    <a:lnTo>
                      <a:pt x="928" y="330"/>
                    </a:lnTo>
                    <a:lnTo>
                      <a:pt x="926" y="332"/>
                    </a:lnTo>
                    <a:lnTo>
                      <a:pt x="920" y="338"/>
                    </a:lnTo>
                    <a:lnTo>
                      <a:pt x="920" y="340"/>
                    </a:lnTo>
                    <a:lnTo>
                      <a:pt x="920" y="342"/>
                    </a:lnTo>
                    <a:lnTo>
                      <a:pt x="914" y="346"/>
                    </a:lnTo>
                    <a:lnTo>
                      <a:pt x="912" y="348"/>
                    </a:lnTo>
                    <a:lnTo>
                      <a:pt x="906" y="348"/>
                    </a:lnTo>
                    <a:lnTo>
                      <a:pt x="898" y="352"/>
                    </a:lnTo>
                    <a:lnTo>
                      <a:pt x="896" y="354"/>
                    </a:lnTo>
                    <a:lnTo>
                      <a:pt x="894" y="356"/>
                    </a:lnTo>
                    <a:lnTo>
                      <a:pt x="890" y="360"/>
                    </a:lnTo>
                    <a:lnTo>
                      <a:pt x="884" y="362"/>
                    </a:lnTo>
                    <a:lnTo>
                      <a:pt x="882" y="362"/>
                    </a:lnTo>
                    <a:lnTo>
                      <a:pt x="878" y="364"/>
                    </a:lnTo>
                    <a:lnTo>
                      <a:pt x="878" y="366"/>
                    </a:lnTo>
                    <a:lnTo>
                      <a:pt x="876" y="366"/>
                    </a:lnTo>
                    <a:lnTo>
                      <a:pt x="874" y="366"/>
                    </a:lnTo>
                    <a:lnTo>
                      <a:pt x="874" y="368"/>
                    </a:lnTo>
                    <a:lnTo>
                      <a:pt x="876" y="370"/>
                    </a:lnTo>
                    <a:lnTo>
                      <a:pt x="878" y="372"/>
                    </a:lnTo>
                    <a:lnTo>
                      <a:pt x="878" y="374"/>
                    </a:lnTo>
                    <a:lnTo>
                      <a:pt x="876" y="378"/>
                    </a:lnTo>
                    <a:lnTo>
                      <a:pt x="876" y="376"/>
                    </a:lnTo>
                    <a:lnTo>
                      <a:pt x="876" y="374"/>
                    </a:lnTo>
                    <a:lnTo>
                      <a:pt x="870" y="374"/>
                    </a:lnTo>
                    <a:lnTo>
                      <a:pt x="868" y="374"/>
                    </a:lnTo>
                    <a:lnTo>
                      <a:pt x="862" y="380"/>
                    </a:lnTo>
                    <a:lnTo>
                      <a:pt x="860" y="384"/>
                    </a:lnTo>
                    <a:lnTo>
                      <a:pt x="858" y="388"/>
                    </a:lnTo>
                    <a:lnTo>
                      <a:pt x="852" y="394"/>
                    </a:lnTo>
                    <a:lnTo>
                      <a:pt x="846" y="396"/>
                    </a:lnTo>
                    <a:lnTo>
                      <a:pt x="846" y="398"/>
                    </a:lnTo>
                    <a:lnTo>
                      <a:pt x="844" y="398"/>
                    </a:lnTo>
                    <a:lnTo>
                      <a:pt x="838" y="410"/>
                    </a:lnTo>
                    <a:lnTo>
                      <a:pt x="836" y="412"/>
                    </a:lnTo>
                    <a:lnTo>
                      <a:pt x="834" y="412"/>
                    </a:lnTo>
                    <a:lnTo>
                      <a:pt x="832" y="414"/>
                    </a:lnTo>
                    <a:lnTo>
                      <a:pt x="830" y="414"/>
                    </a:lnTo>
                    <a:lnTo>
                      <a:pt x="828" y="416"/>
                    </a:lnTo>
                    <a:lnTo>
                      <a:pt x="826" y="418"/>
                    </a:lnTo>
                    <a:lnTo>
                      <a:pt x="826" y="420"/>
                    </a:lnTo>
                    <a:lnTo>
                      <a:pt x="822" y="426"/>
                    </a:lnTo>
                    <a:lnTo>
                      <a:pt x="816" y="432"/>
                    </a:lnTo>
                    <a:lnTo>
                      <a:pt x="810" y="436"/>
                    </a:lnTo>
                    <a:lnTo>
                      <a:pt x="804" y="444"/>
                    </a:lnTo>
                    <a:lnTo>
                      <a:pt x="802" y="446"/>
                    </a:lnTo>
                    <a:lnTo>
                      <a:pt x="800" y="448"/>
                    </a:lnTo>
                    <a:lnTo>
                      <a:pt x="798" y="448"/>
                    </a:lnTo>
                    <a:lnTo>
                      <a:pt x="796" y="448"/>
                    </a:lnTo>
                    <a:lnTo>
                      <a:pt x="794" y="448"/>
                    </a:lnTo>
                    <a:lnTo>
                      <a:pt x="792" y="448"/>
                    </a:lnTo>
                    <a:lnTo>
                      <a:pt x="792" y="450"/>
                    </a:lnTo>
                    <a:lnTo>
                      <a:pt x="790" y="450"/>
                    </a:lnTo>
                    <a:lnTo>
                      <a:pt x="790" y="454"/>
                    </a:lnTo>
                    <a:lnTo>
                      <a:pt x="788" y="458"/>
                    </a:lnTo>
                    <a:lnTo>
                      <a:pt x="788" y="460"/>
                    </a:lnTo>
                    <a:lnTo>
                      <a:pt x="780" y="466"/>
                    </a:lnTo>
                    <a:lnTo>
                      <a:pt x="778" y="468"/>
                    </a:lnTo>
                    <a:lnTo>
                      <a:pt x="776" y="470"/>
                    </a:lnTo>
                    <a:lnTo>
                      <a:pt x="774" y="470"/>
                    </a:lnTo>
                    <a:lnTo>
                      <a:pt x="772" y="472"/>
                    </a:lnTo>
                    <a:lnTo>
                      <a:pt x="772" y="474"/>
                    </a:lnTo>
                    <a:lnTo>
                      <a:pt x="772" y="476"/>
                    </a:lnTo>
                    <a:lnTo>
                      <a:pt x="770" y="478"/>
                    </a:lnTo>
                    <a:lnTo>
                      <a:pt x="766" y="482"/>
                    </a:lnTo>
                    <a:lnTo>
                      <a:pt x="762" y="484"/>
                    </a:lnTo>
                    <a:lnTo>
                      <a:pt x="760" y="486"/>
                    </a:lnTo>
                    <a:lnTo>
                      <a:pt x="758" y="488"/>
                    </a:lnTo>
                    <a:lnTo>
                      <a:pt x="758" y="490"/>
                    </a:lnTo>
                    <a:lnTo>
                      <a:pt x="758" y="492"/>
                    </a:lnTo>
                    <a:lnTo>
                      <a:pt x="760" y="494"/>
                    </a:lnTo>
                    <a:lnTo>
                      <a:pt x="762" y="498"/>
                    </a:lnTo>
                    <a:lnTo>
                      <a:pt x="762" y="500"/>
                    </a:lnTo>
                    <a:lnTo>
                      <a:pt x="762" y="502"/>
                    </a:lnTo>
                    <a:lnTo>
                      <a:pt x="762" y="508"/>
                    </a:lnTo>
                    <a:lnTo>
                      <a:pt x="758" y="516"/>
                    </a:lnTo>
                    <a:lnTo>
                      <a:pt x="752" y="528"/>
                    </a:lnTo>
                    <a:lnTo>
                      <a:pt x="748" y="536"/>
                    </a:lnTo>
                    <a:lnTo>
                      <a:pt x="746" y="536"/>
                    </a:lnTo>
                    <a:lnTo>
                      <a:pt x="744" y="538"/>
                    </a:lnTo>
                    <a:lnTo>
                      <a:pt x="744" y="540"/>
                    </a:lnTo>
                    <a:lnTo>
                      <a:pt x="746" y="540"/>
                    </a:lnTo>
                    <a:lnTo>
                      <a:pt x="746" y="542"/>
                    </a:lnTo>
                    <a:lnTo>
                      <a:pt x="748" y="544"/>
                    </a:lnTo>
                    <a:lnTo>
                      <a:pt x="748" y="546"/>
                    </a:lnTo>
                    <a:lnTo>
                      <a:pt x="744" y="556"/>
                    </a:lnTo>
                    <a:lnTo>
                      <a:pt x="742" y="558"/>
                    </a:lnTo>
                    <a:lnTo>
                      <a:pt x="740" y="558"/>
                    </a:lnTo>
                    <a:lnTo>
                      <a:pt x="738" y="558"/>
                    </a:lnTo>
                    <a:lnTo>
                      <a:pt x="736" y="560"/>
                    </a:lnTo>
                    <a:lnTo>
                      <a:pt x="736" y="562"/>
                    </a:lnTo>
                    <a:lnTo>
                      <a:pt x="738" y="564"/>
                    </a:lnTo>
                    <a:lnTo>
                      <a:pt x="738" y="566"/>
                    </a:lnTo>
                    <a:lnTo>
                      <a:pt x="738" y="570"/>
                    </a:lnTo>
                    <a:lnTo>
                      <a:pt x="736" y="572"/>
                    </a:lnTo>
                    <a:lnTo>
                      <a:pt x="736" y="574"/>
                    </a:lnTo>
                    <a:lnTo>
                      <a:pt x="736" y="576"/>
                    </a:lnTo>
                    <a:lnTo>
                      <a:pt x="736" y="578"/>
                    </a:lnTo>
                    <a:lnTo>
                      <a:pt x="738" y="580"/>
                    </a:lnTo>
                    <a:lnTo>
                      <a:pt x="738" y="582"/>
                    </a:lnTo>
                    <a:lnTo>
                      <a:pt x="738" y="584"/>
                    </a:lnTo>
                    <a:lnTo>
                      <a:pt x="736" y="586"/>
                    </a:lnTo>
                    <a:lnTo>
                      <a:pt x="736" y="588"/>
                    </a:lnTo>
                    <a:lnTo>
                      <a:pt x="734" y="588"/>
                    </a:lnTo>
                    <a:lnTo>
                      <a:pt x="732" y="592"/>
                    </a:lnTo>
                    <a:lnTo>
                      <a:pt x="732" y="594"/>
                    </a:lnTo>
                    <a:lnTo>
                      <a:pt x="732" y="596"/>
                    </a:lnTo>
                    <a:lnTo>
                      <a:pt x="730" y="598"/>
                    </a:lnTo>
                    <a:lnTo>
                      <a:pt x="732" y="606"/>
                    </a:lnTo>
                    <a:lnTo>
                      <a:pt x="732" y="614"/>
                    </a:lnTo>
                    <a:lnTo>
                      <a:pt x="732" y="620"/>
                    </a:lnTo>
                    <a:lnTo>
                      <a:pt x="732" y="624"/>
                    </a:lnTo>
                    <a:lnTo>
                      <a:pt x="732" y="626"/>
                    </a:lnTo>
                    <a:lnTo>
                      <a:pt x="730" y="626"/>
                    </a:lnTo>
                    <a:lnTo>
                      <a:pt x="728" y="626"/>
                    </a:lnTo>
                    <a:lnTo>
                      <a:pt x="726" y="626"/>
                    </a:lnTo>
                    <a:lnTo>
                      <a:pt x="722" y="626"/>
                    </a:lnTo>
                    <a:lnTo>
                      <a:pt x="720" y="626"/>
                    </a:lnTo>
                    <a:lnTo>
                      <a:pt x="718" y="626"/>
                    </a:lnTo>
                    <a:lnTo>
                      <a:pt x="718" y="636"/>
                    </a:lnTo>
                    <a:lnTo>
                      <a:pt x="716" y="638"/>
                    </a:lnTo>
                    <a:lnTo>
                      <a:pt x="714" y="640"/>
                    </a:lnTo>
                    <a:lnTo>
                      <a:pt x="712" y="642"/>
                    </a:lnTo>
                    <a:lnTo>
                      <a:pt x="712" y="648"/>
                    </a:lnTo>
                    <a:lnTo>
                      <a:pt x="710" y="650"/>
                    </a:lnTo>
                    <a:lnTo>
                      <a:pt x="710" y="656"/>
                    </a:lnTo>
                    <a:lnTo>
                      <a:pt x="710" y="658"/>
                    </a:lnTo>
                    <a:lnTo>
                      <a:pt x="708" y="660"/>
                    </a:lnTo>
                    <a:lnTo>
                      <a:pt x="710" y="662"/>
                    </a:lnTo>
                    <a:lnTo>
                      <a:pt x="712" y="666"/>
                    </a:lnTo>
                    <a:lnTo>
                      <a:pt x="712" y="668"/>
                    </a:lnTo>
                    <a:lnTo>
                      <a:pt x="712" y="674"/>
                    </a:lnTo>
                    <a:lnTo>
                      <a:pt x="712" y="676"/>
                    </a:lnTo>
                    <a:lnTo>
                      <a:pt x="714" y="676"/>
                    </a:lnTo>
                    <a:lnTo>
                      <a:pt x="714" y="678"/>
                    </a:lnTo>
                    <a:lnTo>
                      <a:pt x="716" y="678"/>
                    </a:lnTo>
                    <a:lnTo>
                      <a:pt x="714" y="686"/>
                    </a:lnTo>
                    <a:lnTo>
                      <a:pt x="712" y="688"/>
                    </a:lnTo>
                    <a:lnTo>
                      <a:pt x="712" y="690"/>
                    </a:lnTo>
                    <a:lnTo>
                      <a:pt x="710" y="692"/>
                    </a:lnTo>
                    <a:lnTo>
                      <a:pt x="708" y="694"/>
                    </a:lnTo>
                    <a:lnTo>
                      <a:pt x="708" y="696"/>
                    </a:lnTo>
                    <a:lnTo>
                      <a:pt x="708" y="702"/>
                    </a:lnTo>
                    <a:lnTo>
                      <a:pt x="708" y="706"/>
                    </a:lnTo>
                    <a:lnTo>
                      <a:pt x="710" y="708"/>
                    </a:lnTo>
                    <a:lnTo>
                      <a:pt x="712" y="708"/>
                    </a:lnTo>
                    <a:lnTo>
                      <a:pt x="714" y="710"/>
                    </a:lnTo>
                    <a:lnTo>
                      <a:pt x="714" y="712"/>
                    </a:lnTo>
                    <a:lnTo>
                      <a:pt x="718" y="714"/>
                    </a:lnTo>
                    <a:lnTo>
                      <a:pt x="722" y="716"/>
                    </a:lnTo>
                    <a:lnTo>
                      <a:pt x="724" y="718"/>
                    </a:lnTo>
                    <a:lnTo>
                      <a:pt x="726" y="718"/>
                    </a:lnTo>
                    <a:lnTo>
                      <a:pt x="728" y="720"/>
                    </a:lnTo>
                    <a:lnTo>
                      <a:pt x="736" y="724"/>
                    </a:lnTo>
                    <a:lnTo>
                      <a:pt x="738" y="726"/>
                    </a:lnTo>
                    <a:lnTo>
                      <a:pt x="752" y="734"/>
                    </a:lnTo>
                    <a:lnTo>
                      <a:pt x="758" y="742"/>
                    </a:lnTo>
                    <a:lnTo>
                      <a:pt x="760" y="742"/>
                    </a:lnTo>
                    <a:lnTo>
                      <a:pt x="764" y="750"/>
                    </a:lnTo>
                    <a:lnTo>
                      <a:pt x="766" y="756"/>
                    </a:lnTo>
                    <a:lnTo>
                      <a:pt x="766" y="760"/>
                    </a:lnTo>
                    <a:lnTo>
                      <a:pt x="764" y="760"/>
                    </a:lnTo>
                    <a:lnTo>
                      <a:pt x="762" y="764"/>
                    </a:lnTo>
                    <a:lnTo>
                      <a:pt x="760" y="766"/>
                    </a:lnTo>
                    <a:lnTo>
                      <a:pt x="756" y="770"/>
                    </a:lnTo>
                    <a:lnTo>
                      <a:pt x="754" y="774"/>
                    </a:lnTo>
                    <a:lnTo>
                      <a:pt x="752" y="776"/>
                    </a:lnTo>
                    <a:lnTo>
                      <a:pt x="752" y="778"/>
                    </a:lnTo>
                    <a:lnTo>
                      <a:pt x="750" y="782"/>
                    </a:lnTo>
                    <a:lnTo>
                      <a:pt x="750" y="784"/>
                    </a:lnTo>
                    <a:lnTo>
                      <a:pt x="752" y="786"/>
                    </a:lnTo>
                    <a:lnTo>
                      <a:pt x="754" y="792"/>
                    </a:lnTo>
                    <a:lnTo>
                      <a:pt x="756" y="798"/>
                    </a:lnTo>
                    <a:lnTo>
                      <a:pt x="758" y="798"/>
                    </a:lnTo>
                    <a:lnTo>
                      <a:pt x="760" y="802"/>
                    </a:lnTo>
                    <a:lnTo>
                      <a:pt x="762" y="804"/>
                    </a:lnTo>
                    <a:lnTo>
                      <a:pt x="764" y="804"/>
                    </a:lnTo>
                    <a:lnTo>
                      <a:pt x="770" y="808"/>
                    </a:lnTo>
                    <a:lnTo>
                      <a:pt x="772" y="808"/>
                    </a:lnTo>
                    <a:lnTo>
                      <a:pt x="778" y="806"/>
                    </a:lnTo>
                    <a:lnTo>
                      <a:pt x="780" y="812"/>
                    </a:lnTo>
                    <a:lnTo>
                      <a:pt x="780" y="822"/>
                    </a:lnTo>
                    <a:lnTo>
                      <a:pt x="778" y="838"/>
                    </a:lnTo>
                    <a:lnTo>
                      <a:pt x="778" y="840"/>
                    </a:lnTo>
                    <a:lnTo>
                      <a:pt x="776" y="840"/>
                    </a:lnTo>
                    <a:lnTo>
                      <a:pt x="776" y="842"/>
                    </a:lnTo>
                    <a:lnTo>
                      <a:pt x="774" y="842"/>
                    </a:lnTo>
                    <a:lnTo>
                      <a:pt x="770" y="848"/>
                    </a:lnTo>
                    <a:lnTo>
                      <a:pt x="762" y="858"/>
                    </a:lnTo>
                    <a:lnTo>
                      <a:pt x="758" y="862"/>
                    </a:lnTo>
                    <a:lnTo>
                      <a:pt x="758" y="864"/>
                    </a:lnTo>
                    <a:lnTo>
                      <a:pt x="756" y="868"/>
                    </a:lnTo>
                    <a:lnTo>
                      <a:pt x="754" y="870"/>
                    </a:lnTo>
                    <a:lnTo>
                      <a:pt x="750" y="874"/>
                    </a:lnTo>
                    <a:lnTo>
                      <a:pt x="748" y="874"/>
                    </a:lnTo>
                    <a:lnTo>
                      <a:pt x="746" y="876"/>
                    </a:lnTo>
                    <a:lnTo>
                      <a:pt x="744" y="876"/>
                    </a:lnTo>
                    <a:lnTo>
                      <a:pt x="742" y="878"/>
                    </a:lnTo>
                    <a:lnTo>
                      <a:pt x="738" y="882"/>
                    </a:lnTo>
                    <a:lnTo>
                      <a:pt x="734" y="886"/>
                    </a:lnTo>
                    <a:lnTo>
                      <a:pt x="732" y="888"/>
                    </a:lnTo>
                    <a:lnTo>
                      <a:pt x="732" y="890"/>
                    </a:lnTo>
                    <a:lnTo>
                      <a:pt x="732" y="892"/>
                    </a:lnTo>
                    <a:lnTo>
                      <a:pt x="730" y="892"/>
                    </a:lnTo>
                    <a:lnTo>
                      <a:pt x="730" y="896"/>
                    </a:lnTo>
                    <a:lnTo>
                      <a:pt x="730" y="900"/>
                    </a:lnTo>
                    <a:lnTo>
                      <a:pt x="728" y="902"/>
                    </a:lnTo>
                    <a:lnTo>
                      <a:pt x="728" y="904"/>
                    </a:lnTo>
                    <a:lnTo>
                      <a:pt x="724" y="906"/>
                    </a:lnTo>
                    <a:lnTo>
                      <a:pt x="714" y="912"/>
                    </a:lnTo>
                    <a:lnTo>
                      <a:pt x="700" y="918"/>
                    </a:lnTo>
                    <a:lnTo>
                      <a:pt x="698" y="918"/>
                    </a:lnTo>
                    <a:lnTo>
                      <a:pt x="692" y="920"/>
                    </a:lnTo>
                    <a:lnTo>
                      <a:pt x="676" y="924"/>
                    </a:lnTo>
                    <a:lnTo>
                      <a:pt x="670" y="926"/>
                    </a:lnTo>
                    <a:lnTo>
                      <a:pt x="658" y="930"/>
                    </a:lnTo>
                    <a:lnTo>
                      <a:pt x="656" y="930"/>
                    </a:lnTo>
                    <a:lnTo>
                      <a:pt x="654" y="930"/>
                    </a:lnTo>
                    <a:lnTo>
                      <a:pt x="650" y="930"/>
                    </a:lnTo>
                    <a:lnTo>
                      <a:pt x="648" y="932"/>
                    </a:lnTo>
                    <a:lnTo>
                      <a:pt x="636" y="932"/>
                    </a:lnTo>
                    <a:lnTo>
                      <a:pt x="628" y="934"/>
                    </a:lnTo>
                    <a:lnTo>
                      <a:pt x="622" y="936"/>
                    </a:lnTo>
                    <a:lnTo>
                      <a:pt x="618" y="936"/>
                    </a:lnTo>
                    <a:lnTo>
                      <a:pt x="616" y="936"/>
                    </a:lnTo>
                    <a:lnTo>
                      <a:pt x="604" y="938"/>
                    </a:lnTo>
                    <a:lnTo>
                      <a:pt x="592" y="938"/>
                    </a:lnTo>
                    <a:lnTo>
                      <a:pt x="580" y="940"/>
                    </a:lnTo>
                    <a:lnTo>
                      <a:pt x="576" y="940"/>
                    </a:lnTo>
                    <a:lnTo>
                      <a:pt x="574" y="940"/>
                    </a:lnTo>
                    <a:lnTo>
                      <a:pt x="562" y="942"/>
                    </a:lnTo>
                    <a:lnTo>
                      <a:pt x="558" y="942"/>
                    </a:lnTo>
                    <a:lnTo>
                      <a:pt x="552" y="940"/>
                    </a:lnTo>
                    <a:lnTo>
                      <a:pt x="550" y="940"/>
                    </a:lnTo>
                    <a:lnTo>
                      <a:pt x="548" y="940"/>
                    </a:lnTo>
                    <a:lnTo>
                      <a:pt x="546" y="940"/>
                    </a:lnTo>
                    <a:lnTo>
                      <a:pt x="544" y="942"/>
                    </a:lnTo>
                    <a:lnTo>
                      <a:pt x="542" y="942"/>
                    </a:lnTo>
                    <a:lnTo>
                      <a:pt x="538" y="940"/>
                    </a:lnTo>
                    <a:lnTo>
                      <a:pt x="530" y="940"/>
                    </a:lnTo>
                    <a:lnTo>
                      <a:pt x="528" y="938"/>
                    </a:lnTo>
                    <a:lnTo>
                      <a:pt x="522" y="938"/>
                    </a:lnTo>
                    <a:lnTo>
                      <a:pt x="520" y="936"/>
                    </a:lnTo>
                    <a:lnTo>
                      <a:pt x="518" y="934"/>
                    </a:lnTo>
                    <a:lnTo>
                      <a:pt x="518" y="932"/>
                    </a:lnTo>
                    <a:lnTo>
                      <a:pt x="516" y="932"/>
                    </a:lnTo>
                    <a:lnTo>
                      <a:pt x="512" y="930"/>
                    </a:lnTo>
                    <a:lnTo>
                      <a:pt x="506" y="928"/>
                    </a:lnTo>
                    <a:lnTo>
                      <a:pt x="504" y="928"/>
                    </a:lnTo>
                    <a:lnTo>
                      <a:pt x="504" y="930"/>
                    </a:lnTo>
                    <a:lnTo>
                      <a:pt x="504" y="932"/>
                    </a:lnTo>
                    <a:lnTo>
                      <a:pt x="506" y="934"/>
                    </a:lnTo>
                    <a:lnTo>
                      <a:pt x="508" y="936"/>
                    </a:lnTo>
                    <a:lnTo>
                      <a:pt x="506" y="942"/>
                    </a:lnTo>
                    <a:lnTo>
                      <a:pt x="506" y="944"/>
                    </a:lnTo>
                    <a:lnTo>
                      <a:pt x="504" y="948"/>
                    </a:lnTo>
                    <a:lnTo>
                      <a:pt x="504" y="952"/>
                    </a:lnTo>
                    <a:lnTo>
                      <a:pt x="506" y="954"/>
                    </a:lnTo>
                    <a:lnTo>
                      <a:pt x="508" y="954"/>
                    </a:lnTo>
                    <a:lnTo>
                      <a:pt x="510" y="954"/>
                    </a:lnTo>
                    <a:lnTo>
                      <a:pt x="512" y="954"/>
                    </a:lnTo>
                    <a:lnTo>
                      <a:pt x="516" y="958"/>
                    </a:lnTo>
                    <a:lnTo>
                      <a:pt x="518" y="960"/>
                    </a:lnTo>
                    <a:lnTo>
                      <a:pt x="516" y="962"/>
                    </a:lnTo>
                    <a:lnTo>
                      <a:pt x="514" y="960"/>
                    </a:lnTo>
                    <a:lnTo>
                      <a:pt x="512" y="958"/>
                    </a:lnTo>
                    <a:lnTo>
                      <a:pt x="510" y="956"/>
                    </a:lnTo>
                    <a:lnTo>
                      <a:pt x="508" y="956"/>
                    </a:lnTo>
                    <a:lnTo>
                      <a:pt x="506" y="958"/>
                    </a:lnTo>
                    <a:lnTo>
                      <a:pt x="512" y="964"/>
                    </a:lnTo>
                    <a:lnTo>
                      <a:pt x="516" y="968"/>
                    </a:lnTo>
                    <a:lnTo>
                      <a:pt x="514" y="974"/>
                    </a:lnTo>
                    <a:lnTo>
                      <a:pt x="512" y="978"/>
                    </a:lnTo>
                    <a:lnTo>
                      <a:pt x="512" y="980"/>
                    </a:lnTo>
                    <a:lnTo>
                      <a:pt x="512" y="982"/>
                    </a:lnTo>
                    <a:lnTo>
                      <a:pt x="512" y="986"/>
                    </a:lnTo>
                    <a:lnTo>
                      <a:pt x="510" y="986"/>
                    </a:lnTo>
                    <a:lnTo>
                      <a:pt x="504" y="986"/>
                    </a:lnTo>
                    <a:lnTo>
                      <a:pt x="504" y="988"/>
                    </a:lnTo>
                    <a:lnTo>
                      <a:pt x="502" y="994"/>
                    </a:lnTo>
                    <a:lnTo>
                      <a:pt x="500" y="1000"/>
                    </a:lnTo>
                    <a:lnTo>
                      <a:pt x="500" y="1004"/>
                    </a:lnTo>
                    <a:lnTo>
                      <a:pt x="498" y="1006"/>
                    </a:lnTo>
                    <a:lnTo>
                      <a:pt x="496" y="1006"/>
                    </a:lnTo>
                    <a:lnTo>
                      <a:pt x="494" y="1008"/>
                    </a:lnTo>
                    <a:lnTo>
                      <a:pt x="492" y="1010"/>
                    </a:lnTo>
                    <a:lnTo>
                      <a:pt x="494" y="1016"/>
                    </a:lnTo>
                    <a:lnTo>
                      <a:pt x="496" y="1018"/>
                    </a:lnTo>
                    <a:lnTo>
                      <a:pt x="500" y="1024"/>
                    </a:lnTo>
                    <a:lnTo>
                      <a:pt x="502" y="1024"/>
                    </a:lnTo>
                    <a:lnTo>
                      <a:pt x="502" y="1026"/>
                    </a:lnTo>
                    <a:lnTo>
                      <a:pt x="502" y="1028"/>
                    </a:lnTo>
                    <a:lnTo>
                      <a:pt x="500" y="1028"/>
                    </a:lnTo>
                    <a:lnTo>
                      <a:pt x="498" y="1026"/>
                    </a:lnTo>
                    <a:lnTo>
                      <a:pt x="498" y="1030"/>
                    </a:lnTo>
                    <a:lnTo>
                      <a:pt x="502" y="1028"/>
                    </a:lnTo>
                    <a:lnTo>
                      <a:pt x="504" y="1028"/>
                    </a:lnTo>
                    <a:lnTo>
                      <a:pt x="504" y="1030"/>
                    </a:lnTo>
                    <a:lnTo>
                      <a:pt x="500" y="1036"/>
                    </a:lnTo>
                    <a:lnTo>
                      <a:pt x="498" y="1040"/>
                    </a:lnTo>
                    <a:lnTo>
                      <a:pt x="494" y="1042"/>
                    </a:lnTo>
                    <a:lnTo>
                      <a:pt x="486" y="1046"/>
                    </a:lnTo>
                    <a:lnTo>
                      <a:pt x="478" y="1050"/>
                    </a:lnTo>
                    <a:lnTo>
                      <a:pt x="476" y="1050"/>
                    </a:lnTo>
                    <a:lnTo>
                      <a:pt x="468" y="1052"/>
                    </a:lnTo>
                    <a:lnTo>
                      <a:pt x="466" y="1054"/>
                    </a:lnTo>
                    <a:lnTo>
                      <a:pt x="464" y="1054"/>
                    </a:lnTo>
                    <a:lnTo>
                      <a:pt x="460" y="1056"/>
                    </a:lnTo>
                    <a:lnTo>
                      <a:pt x="450" y="1054"/>
                    </a:lnTo>
                    <a:lnTo>
                      <a:pt x="446" y="1054"/>
                    </a:lnTo>
                    <a:lnTo>
                      <a:pt x="442" y="1054"/>
                    </a:lnTo>
                    <a:lnTo>
                      <a:pt x="436" y="1054"/>
                    </a:lnTo>
                    <a:lnTo>
                      <a:pt x="434" y="1054"/>
                    </a:lnTo>
                    <a:lnTo>
                      <a:pt x="432" y="1054"/>
                    </a:lnTo>
                    <a:lnTo>
                      <a:pt x="430" y="1054"/>
                    </a:lnTo>
                    <a:lnTo>
                      <a:pt x="428" y="1052"/>
                    </a:lnTo>
                    <a:lnTo>
                      <a:pt x="426" y="1050"/>
                    </a:lnTo>
                    <a:lnTo>
                      <a:pt x="424" y="1048"/>
                    </a:lnTo>
                    <a:lnTo>
                      <a:pt x="422" y="1048"/>
                    </a:lnTo>
                    <a:lnTo>
                      <a:pt x="420" y="1046"/>
                    </a:lnTo>
                    <a:lnTo>
                      <a:pt x="416" y="1046"/>
                    </a:lnTo>
                    <a:lnTo>
                      <a:pt x="410" y="1042"/>
                    </a:lnTo>
                    <a:lnTo>
                      <a:pt x="402" y="1038"/>
                    </a:lnTo>
                    <a:lnTo>
                      <a:pt x="400" y="1038"/>
                    </a:lnTo>
                    <a:lnTo>
                      <a:pt x="398" y="1038"/>
                    </a:lnTo>
                    <a:lnTo>
                      <a:pt x="392" y="1034"/>
                    </a:lnTo>
                    <a:lnTo>
                      <a:pt x="390" y="1032"/>
                    </a:lnTo>
                    <a:lnTo>
                      <a:pt x="388" y="1028"/>
                    </a:lnTo>
                    <a:lnTo>
                      <a:pt x="384" y="1028"/>
                    </a:lnTo>
                    <a:lnTo>
                      <a:pt x="382" y="1028"/>
                    </a:lnTo>
                    <a:lnTo>
                      <a:pt x="380" y="1028"/>
                    </a:lnTo>
                    <a:lnTo>
                      <a:pt x="372" y="1034"/>
                    </a:lnTo>
                    <a:lnTo>
                      <a:pt x="370" y="1040"/>
                    </a:lnTo>
                    <a:lnTo>
                      <a:pt x="370" y="1042"/>
                    </a:lnTo>
                    <a:lnTo>
                      <a:pt x="370" y="1048"/>
                    </a:lnTo>
                    <a:lnTo>
                      <a:pt x="372" y="1056"/>
                    </a:lnTo>
                    <a:lnTo>
                      <a:pt x="374" y="1066"/>
                    </a:lnTo>
                    <a:lnTo>
                      <a:pt x="374" y="1068"/>
                    </a:lnTo>
                    <a:lnTo>
                      <a:pt x="374" y="1070"/>
                    </a:lnTo>
                    <a:lnTo>
                      <a:pt x="376" y="1070"/>
                    </a:lnTo>
                    <a:lnTo>
                      <a:pt x="376" y="1072"/>
                    </a:lnTo>
                    <a:lnTo>
                      <a:pt x="376" y="1074"/>
                    </a:lnTo>
                    <a:lnTo>
                      <a:pt x="374" y="1076"/>
                    </a:lnTo>
                    <a:lnTo>
                      <a:pt x="374" y="1078"/>
                    </a:lnTo>
                    <a:lnTo>
                      <a:pt x="374" y="1080"/>
                    </a:lnTo>
                    <a:lnTo>
                      <a:pt x="374" y="1082"/>
                    </a:lnTo>
                    <a:lnTo>
                      <a:pt x="374" y="1084"/>
                    </a:lnTo>
                    <a:lnTo>
                      <a:pt x="374" y="1088"/>
                    </a:lnTo>
                    <a:lnTo>
                      <a:pt x="374" y="1090"/>
                    </a:lnTo>
                    <a:lnTo>
                      <a:pt x="372" y="1094"/>
                    </a:lnTo>
                    <a:lnTo>
                      <a:pt x="372" y="1096"/>
                    </a:lnTo>
                    <a:lnTo>
                      <a:pt x="372" y="1098"/>
                    </a:lnTo>
                    <a:lnTo>
                      <a:pt x="374" y="1102"/>
                    </a:lnTo>
                    <a:lnTo>
                      <a:pt x="374" y="1104"/>
                    </a:lnTo>
                    <a:lnTo>
                      <a:pt x="376" y="1106"/>
                    </a:lnTo>
                    <a:lnTo>
                      <a:pt x="378" y="1108"/>
                    </a:lnTo>
                    <a:lnTo>
                      <a:pt x="384" y="1110"/>
                    </a:lnTo>
                    <a:lnTo>
                      <a:pt x="390" y="1112"/>
                    </a:lnTo>
                    <a:lnTo>
                      <a:pt x="392" y="1112"/>
                    </a:lnTo>
                    <a:lnTo>
                      <a:pt x="394" y="1112"/>
                    </a:lnTo>
                    <a:lnTo>
                      <a:pt x="396" y="1112"/>
                    </a:lnTo>
                    <a:lnTo>
                      <a:pt x="396" y="1114"/>
                    </a:lnTo>
                    <a:lnTo>
                      <a:pt x="394" y="1114"/>
                    </a:lnTo>
                    <a:lnTo>
                      <a:pt x="394" y="1116"/>
                    </a:lnTo>
                    <a:lnTo>
                      <a:pt x="392" y="1116"/>
                    </a:lnTo>
                    <a:lnTo>
                      <a:pt x="390" y="1120"/>
                    </a:lnTo>
                    <a:lnTo>
                      <a:pt x="390" y="1122"/>
                    </a:lnTo>
                    <a:lnTo>
                      <a:pt x="396" y="1122"/>
                    </a:lnTo>
                    <a:lnTo>
                      <a:pt x="410" y="1122"/>
                    </a:lnTo>
                    <a:lnTo>
                      <a:pt x="412" y="1122"/>
                    </a:lnTo>
                    <a:lnTo>
                      <a:pt x="414" y="1120"/>
                    </a:lnTo>
                    <a:lnTo>
                      <a:pt x="414" y="1116"/>
                    </a:lnTo>
                    <a:lnTo>
                      <a:pt x="414" y="1114"/>
                    </a:lnTo>
                    <a:lnTo>
                      <a:pt x="412" y="1114"/>
                    </a:lnTo>
                    <a:lnTo>
                      <a:pt x="412" y="1112"/>
                    </a:lnTo>
                    <a:lnTo>
                      <a:pt x="408" y="1112"/>
                    </a:lnTo>
                    <a:lnTo>
                      <a:pt x="406" y="1114"/>
                    </a:lnTo>
                    <a:lnTo>
                      <a:pt x="404" y="1112"/>
                    </a:lnTo>
                    <a:lnTo>
                      <a:pt x="402" y="1112"/>
                    </a:lnTo>
                    <a:lnTo>
                      <a:pt x="404" y="1112"/>
                    </a:lnTo>
                    <a:lnTo>
                      <a:pt x="410" y="1110"/>
                    </a:lnTo>
                    <a:lnTo>
                      <a:pt x="416" y="1108"/>
                    </a:lnTo>
                    <a:lnTo>
                      <a:pt x="422" y="1106"/>
                    </a:lnTo>
                    <a:lnTo>
                      <a:pt x="424" y="1104"/>
                    </a:lnTo>
                    <a:lnTo>
                      <a:pt x="428" y="1104"/>
                    </a:lnTo>
                    <a:lnTo>
                      <a:pt x="430" y="1104"/>
                    </a:lnTo>
                    <a:lnTo>
                      <a:pt x="430" y="1108"/>
                    </a:lnTo>
                    <a:lnTo>
                      <a:pt x="430" y="1110"/>
                    </a:lnTo>
                    <a:lnTo>
                      <a:pt x="432" y="1112"/>
                    </a:lnTo>
                    <a:lnTo>
                      <a:pt x="432" y="1114"/>
                    </a:lnTo>
                    <a:lnTo>
                      <a:pt x="434" y="1114"/>
                    </a:lnTo>
                    <a:lnTo>
                      <a:pt x="434" y="1116"/>
                    </a:lnTo>
                    <a:lnTo>
                      <a:pt x="434" y="1118"/>
                    </a:lnTo>
                    <a:lnTo>
                      <a:pt x="434" y="1134"/>
                    </a:lnTo>
                    <a:lnTo>
                      <a:pt x="430" y="1140"/>
                    </a:lnTo>
                    <a:lnTo>
                      <a:pt x="428" y="1144"/>
                    </a:lnTo>
                    <a:lnTo>
                      <a:pt x="426" y="1144"/>
                    </a:lnTo>
                    <a:lnTo>
                      <a:pt x="422" y="1146"/>
                    </a:lnTo>
                    <a:lnTo>
                      <a:pt x="412" y="1148"/>
                    </a:lnTo>
                    <a:lnTo>
                      <a:pt x="410" y="1148"/>
                    </a:lnTo>
                    <a:lnTo>
                      <a:pt x="408" y="1146"/>
                    </a:lnTo>
                    <a:lnTo>
                      <a:pt x="404" y="1140"/>
                    </a:lnTo>
                    <a:lnTo>
                      <a:pt x="404" y="1138"/>
                    </a:lnTo>
                    <a:lnTo>
                      <a:pt x="406" y="1136"/>
                    </a:lnTo>
                    <a:lnTo>
                      <a:pt x="406" y="1134"/>
                    </a:lnTo>
                    <a:lnTo>
                      <a:pt x="402" y="1128"/>
                    </a:lnTo>
                    <a:lnTo>
                      <a:pt x="398" y="1126"/>
                    </a:lnTo>
                    <a:lnTo>
                      <a:pt x="396" y="1126"/>
                    </a:lnTo>
                    <a:lnTo>
                      <a:pt x="394" y="1126"/>
                    </a:lnTo>
                    <a:lnTo>
                      <a:pt x="390" y="1126"/>
                    </a:lnTo>
                    <a:lnTo>
                      <a:pt x="384" y="1128"/>
                    </a:lnTo>
                    <a:lnTo>
                      <a:pt x="382" y="1130"/>
                    </a:lnTo>
                    <a:lnTo>
                      <a:pt x="380" y="1132"/>
                    </a:lnTo>
                    <a:lnTo>
                      <a:pt x="378" y="1132"/>
                    </a:lnTo>
                    <a:lnTo>
                      <a:pt x="376" y="1132"/>
                    </a:lnTo>
                    <a:lnTo>
                      <a:pt x="374" y="1132"/>
                    </a:lnTo>
                    <a:lnTo>
                      <a:pt x="374" y="1134"/>
                    </a:lnTo>
                    <a:lnTo>
                      <a:pt x="370" y="1138"/>
                    </a:lnTo>
                    <a:lnTo>
                      <a:pt x="372" y="1140"/>
                    </a:lnTo>
                    <a:lnTo>
                      <a:pt x="374" y="1140"/>
                    </a:lnTo>
                    <a:lnTo>
                      <a:pt x="380" y="1144"/>
                    </a:lnTo>
                    <a:lnTo>
                      <a:pt x="382" y="1146"/>
                    </a:lnTo>
                    <a:lnTo>
                      <a:pt x="384" y="1148"/>
                    </a:lnTo>
                    <a:lnTo>
                      <a:pt x="386" y="1148"/>
                    </a:lnTo>
                    <a:lnTo>
                      <a:pt x="388" y="1150"/>
                    </a:lnTo>
                    <a:lnTo>
                      <a:pt x="396" y="1152"/>
                    </a:lnTo>
                    <a:lnTo>
                      <a:pt x="398" y="1150"/>
                    </a:lnTo>
                    <a:lnTo>
                      <a:pt x="400" y="1150"/>
                    </a:lnTo>
                    <a:lnTo>
                      <a:pt x="400" y="1152"/>
                    </a:lnTo>
                    <a:lnTo>
                      <a:pt x="398" y="1154"/>
                    </a:lnTo>
                    <a:lnTo>
                      <a:pt x="396" y="1154"/>
                    </a:lnTo>
                    <a:lnTo>
                      <a:pt x="390" y="1158"/>
                    </a:lnTo>
                    <a:lnTo>
                      <a:pt x="388" y="1158"/>
                    </a:lnTo>
                    <a:lnTo>
                      <a:pt x="382" y="1160"/>
                    </a:lnTo>
                    <a:lnTo>
                      <a:pt x="380" y="1160"/>
                    </a:lnTo>
                    <a:lnTo>
                      <a:pt x="378" y="1160"/>
                    </a:lnTo>
                    <a:lnTo>
                      <a:pt x="376" y="1162"/>
                    </a:lnTo>
                    <a:lnTo>
                      <a:pt x="372" y="1164"/>
                    </a:lnTo>
                    <a:lnTo>
                      <a:pt x="368" y="1168"/>
                    </a:lnTo>
                    <a:lnTo>
                      <a:pt x="368" y="1170"/>
                    </a:lnTo>
                    <a:lnTo>
                      <a:pt x="362" y="1176"/>
                    </a:lnTo>
                    <a:lnTo>
                      <a:pt x="356" y="1182"/>
                    </a:lnTo>
                    <a:lnTo>
                      <a:pt x="356" y="1184"/>
                    </a:lnTo>
                    <a:lnTo>
                      <a:pt x="354" y="1188"/>
                    </a:lnTo>
                    <a:lnTo>
                      <a:pt x="354" y="1190"/>
                    </a:lnTo>
                    <a:lnTo>
                      <a:pt x="354" y="1196"/>
                    </a:lnTo>
                    <a:lnTo>
                      <a:pt x="354" y="1198"/>
                    </a:lnTo>
                    <a:lnTo>
                      <a:pt x="356" y="1198"/>
                    </a:lnTo>
                    <a:lnTo>
                      <a:pt x="356" y="1200"/>
                    </a:lnTo>
                    <a:lnTo>
                      <a:pt x="356" y="1204"/>
                    </a:lnTo>
                    <a:lnTo>
                      <a:pt x="358" y="1204"/>
                    </a:lnTo>
                    <a:lnTo>
                      <a:pt x="356" y="1212"/>
                    </a:lnTo>
                    <a:lnTo>
                      <a:pt x="354" y="1212"/>
                    </a:lnTo>
                    <a:lnTo>
                      <a:pt x="352" y="1216"/>
                    </a:lnTo>
                    <a:lnTo>
                      <a:pt x="354" y="1222"/>
                    </a:lnTo>
                    <a:lnTo>
                      <a:pt x="352" y="1228"/>
                    </a:lnTo>
                    <a:lnTo>
                      <a:pt x="350" y="1228"/>
                    </a:lnTo>
                    <a:lnTo>
                      <a:pt x="348" y="1234"/>
                    </a:lnTo>
                    <a:lnTo>
                      <a:pt x="338" y="1238"/>
                    </a:lnTo>
                    <a:lnTo>
                      <a:pt x="338" y="1240"/>
                    </a:lnTo>
                    <a:lnTo>
                      <a:pt x="336" y="1240"/>
                    </a:lnTo>
                    <a:lnTo>
                      <a:pt x="334" y="1244"/>
                    </a:lnTo>
                    <a:lnTo>
                      <a:pt x="332" y="1246"/>
                    </a:lnTo>
                    <a:lnTo>
                      <a:pt x="332" y="1248"/>
                    </a:lnTo>
                    <a:lnTo>
                      <a:pt x="332" y="1250"/>
                    </a:lnTo>
                    <a:lnTo>
                      <a:pt x="334" y="1250"/>
                    </a:lnTo>
                    <a:lnTo>
                      <a:pt x="336" y="1250"/>
                    </a:lnTo>
                    <a:lnTo>
                      <a:pt x="336" y="1252"/>
                    </a:lnTo>
                    <a:lnTo>
                      <a:pt x="340" y="1254"/>
                    </a:lnTo>
                    <a:lnTo>
                      <a:pt x="336" y="1260"/>
                    </a:lnTo>
                    <a:lnTo>
                      <a:pt x="334" y="1262"/>
                    </a:lnTo>
                    <a:lnTo>
                      <a:pt x="332" y="1260"/>
                    </a:lnTo>
                    <a:lnTo>
                      <a:pt x="330" y="1260"/>
                    </a:lnTo>
                    <a:lnTo>
                      <a:pt x="326" y="1258"/>
                    </a:lnTo>
                    <a:lnTo>
                      <a:pt x="316" y="1256"/>
                    </a:lnTo>
                    <a:lnTo>
                      <a:pt x="312" y="1256"/>
                    </a:lnTo>
                    <a:lnTo>
                      <a:pt x="304" y="1260"/>
                    </a:lnTo>
                    <a:lnTo>
                      <a:pt x="298" y="1262"/>
                    </a:lnTo>
                    <a:lnTo>
                      <a:pt x="298" y="1264"/>
                    </a:lnTo>
                    <a:lnTo>
                      <a:pt x="296" y="1266"/>
                    </a:lnTo>
                    <a:lnTo>
                      <a:pt x="290" y="1268"/>
                    </a:lnTo>
                    <a:lnTo>
                      <a:pt x="284" y="1268"/>
                    </a:lnTo>
                    <a:lnTo>
                      <a:pt x="282" y="1268"/>
                    </a:lnTo>
                    <a:lnTo>
                      <a:pt x="280" y="1272"/>
                    </a:lnTo>
                    <a:lnTo>
                      <a:pt x="278" y="1272"/>
                    </a:lnTo>
                    <a:lnTo>
                      <a:pt x="274" y="1276"/>
                    </a:lnTo>
                    <a:lnTo>
                      <a:pt x="272" y="1280"/>
                    </a:lnTo>
                    <a:lnTo>
                      <a:pt x="268" y="1286"/>
                    </a:lnTo>
                    <a:lnTo>
                      <a:pt x="264" y="1288"/>
                    </a:lnTo>
                    <a:lnTo>
                      <a:pt x="264" y="1290"/>
                    </a:lnTo>
                    <a:lnTo>
                      <a:pt x="262" y="1290"/>
                    </a:lnTo>
                    <a:lnTo>
                      <a:pt x="262" y="1292"/>
                    </a:lnTo>
                    <a:lnTo>
                      <a:pt x="260" y="1300"/>
                    </a:lnTo>
                    <a:lnTo>
                      <a:pt x="258" y="1300"/>
                    </a:lnTo>
                    <a:lnTo>
                      <a:pt x="252" y="1306"/>
                    </a:lnTo>
                    <a:lnTo>
                      <a:pt x="250" y="1310"/>
                    </a:lnTo>
                    <a:lnTo>
                      <a:pt x="248" y="1316"/>
                    </a:lnTo>
                    <a:lnTo>
                      <a:pt x="248" y="1318"/>
                    </a:lnTo>
                    <a:lnTo>
                      <a:pt x="248" y="1320"/>
                    </a:lnTo>
                    <a:lnTo>
                      <a:pt x="248" y="1322"/>
                    </a:lnTo>
                    <a:lnTo>
                      <a:pt x="248" y="1328"/>
                    </a:lnTo>
                    <a:lnTo>
                      <a:pt x="250" y="1328"/>
                    </a:lnTo>
                    <a:lnTo>
                      <a:pt x="250" y="1334"/>
                    </a:lnTo>
                    <a:lnTo>
                      <a:pt x="252" y="1336"/>
                    </a:lnTo>
                    <a:lnTo>
                      <a:pt x="254" y="1340"/>
                    </a:lnTo>
                    <a:lnTo>
                      <a:pt x="256" y="1342"/>
                    </a:lnTo>
                    <a:lnTo>
                      <a:pt x="258" y="1344"/>
                    </a:lnTo>
                    <a:lnTo>
                      <a:pt x="264" y="1350"/>
                    </a:lnTo>
                    <a:lnTo>
                      <a:pt x="268" y="1352"/>
                    </a:lnTo>
                    <a:lnTo>
                      <a:pt x="274" y="1358"/>
                    </a:lnTo>
                    <a:lnTo>
                      <a:pt x="280" y="1366"/>
                    </a:lnTo>
                    <a:lnTo>
                      <a:pt x="282" y="1368"/>
                    </a:lnTo>
                    <a:lnTo>
                      <a:pt x="284" y="1368"/>
                    </a:lnTo>
                    <a:lnTo>
                      <a:pt x="286" y="1370"/>
                    </a:lnTo>
                    <a:lnTo>
                      <a:pt x="288" y="1368"/>
                    </a:lnTo>
                    <a:lnTo>
                      <a:pt x="292" y="1368"/>
                    </a:lnTo>
                    <a:lnTo>
                      <a:pt x="298" y="1370"/>
                    </a:lnTo>
                    <a:lnTo>
                      <a:pt x="298" y="1372"/>
                    </a:lnTo>
                    <a:lnTo>
                      <a:pt x="304" y="1372"/>
                    </a:lnTo>
                    <a:lnTo>
                      <a:pt x="308" y="1372"/>
                    </a:lnTo>
                    <a:lnTo>
                      <a:pt x="310" y="1372"/>
                    </a:lnTo>
                    <a:lnTo>
                      <a:pt x="312" y="1370"/>
                    </a:lnTo>
                    <a:lnTo>
                      <a:pt x="314" y="1370"/>
                    </a:lnTo>
                    <a:lnTo>
                      <a:pt x="318" y="1374"/>
                    </a:lnTo>
                    <a:lnTo>
                      <a:pt x="320" y="1378"/>
                    </a:lnTo>
                    <a:lnTo>
                      <a:pt x="322" y="1386"/>
                    </a:lnTo>
                    <a:lnTo>
                      <a:pt x="322" y="1388"/>
                    </a:lnTo>
                    <a:lnTo>
                      <a:pt x="322" y="1392"/>
                    </a:lnTo>
                    <a:lnTo>
                      <a:pt x="320" y="1396"/>
                    </a:lnTo>
                    <a:lnTo>
                      <a:pt x="320" y="1400"/>
                    </a:lnTo>
                    <a:lnTo>
                      <a:pt x="316" y="1408"/>
                    </a:lnTo>
                    <a:lnTo>
                      <a:pt x="314" y="1408"/>
                    </a:lnTo>
                    <a:lnTo>
                      <a:pt x="312" y="1410"/>
                    </a:lnTo>
                    <a:lnTo>
                      <a:pt x="312" y="1408"/>
                    </a:lnTo>
                    <a:lnTo>
                      <a:pt x="310" y="1408"/>
                    </a:lnTo>
                    <a:lnTo>
                      <a:pt x="308" y="1408"/>
                    </a:lnTo>
                    <a:lnTo>
                      <a:pt x="308" y="1410"/>
                    </a:lnTo>
                    <a:lnTo>
                      <a:pt x="306" y="1410"/>
                    </a:lnTo>
                    <a:lnTo>
                      <a:pt x="304" y="1412"/>
                    </a:lnTo>
                    <a:lnTo>
                      <a:pt x="302" y="1412"/>
                    </a:lnTo>
                    <a:lnTo>
                      <a:pt x="300" y="1412"/>
                    </a:lnTo>
                    <a:lnTo>
                      <a:pt x="302" y="1412"/>
                    </a:lnTo>
                    <a:lnTo>
                      <a:pt x="304" y="1412"/>
                    </a:lnTo>
                    <a:lnTo>
                      <a:pt x="306" y="1412"/>
                    </a:lnTo>
                    <a:lnTo>
                      <a:pt x="310" y="1410"/>
                    </a:lnTo>
                    <a:lnTo>
                      <a:pt x="312" y="1410"/>
                    </a:lnTo>
                    <a:lnTo>
                      <a:pt x="314" y="1412"/>
                    </a:lnTo>
                    <a:lnTo>
                      <a:pt x="318" y="1418"/>
                    </a:lnTo>
                    <a:lnTo>
                      <a:pt x="318" y="1420"/>
                    </a:lnTo>
                    <a:lnTo>
                      <a:pt x="316" y="1420"/>
                    </a:lnTo>
                    <a:lnTo>
                      <a:pt x="314" y="1418"/>
                    </a:lnTo>
                    <a:lnTo>
                      <a:pt x="312" y="1418"/>
                    </a:lnTo>
                    <a:lnTo>
                      <a:pt x="310" y="1420"/>
                    </a:lnTo>
                    <a:lnTo>
                      <a:pt x="310" y="1424"/>
                    </a:lnTo>
                    <a:lnTo>
                      <a:pt x="310" y="1426"/>
                    </a:lnTo>
                    <a:lnTo>
                      <a:pt x="306" y="1426"/>
                    </a:lnTo>
                    <a:lnTo>
                      <a:pt x="296" y="1434"/>
                    </a:lnTo>
                    <a:lnTo>
                      <a:pt x="294" y="1436"/>
                    </a:lnTo>
                    <a:lnTo>
                      <a:pt x="290" y="1440"/>
                    </a:lnTo>
                    <a:lnTo>
                      <a:pt x="288" y="1442"/>
                    </a:lnTo>
                    <a:lnTo>
                      <a:pt x="284" y="1442"/>
                    </a:lnTo>
                    <a:lnTo>
                      <a:pt x="282" y="1444"/>
                    </a:lnTo>
                    <a:lnTo>
                      <a:pt x="280" y="1444"/>
                    </a:lnTo>
                    <a:lnTo>
                      <a:pt x="280" y="1446"/>
                    </a:lnTo>
                    <a:lnTo>
                      <a:pt x="276" y="1448"/>
                    </a:lnTo>
                    <a:lnTo>
                      <a:pt x="274" y="1450"/>
                    </a:lnTo>
                    <a:lnTo>
                      <a:pt x="270" y="1452"/>
                    </a:lnTo>
                    <a:lnTo>
                      <a:pt x="268" y="1452"/>
                    </a:lnTo>
                    <a:lnTo>
                      <a:pt x="264" y="1454"/>
                    </a:lnTo>
                    <a:lnTo>
                      <a:pt x="262" y="1454"/>
                    </a:lnTo>
                    <a:lnTo>
                      <a:pt x="262" y="1456"/>
                    </a:lnTo>
                    <a:lnTo>
                      <a:pt x="258" y="1462"/>
                    </a:lnTo>
                    <a:lnTo>
                      <a:pt x="256" y="1464"/>
                    </a:lnTo>
                    <a:lnTo>
                      <a:pt x="254" y="1466"/>
                    </a:lnTo>
                    <a:lnTo>
                      <a:pt x="252" y="1466"/>
                    </a:lnTo>
                    <a:lnTo>
                      <a:pt x="248" y="1468"/>
                    </a:lnTo>
                    <a:lnTo>
                      <a:pt x="246" y="1472"/>
                    </a:lnTo>
                    <a:lnTo>
                      <a:pt x="244" y="1472"/>
                    </a:lnTo>
                    <a:lnTo>
                      <a:pt x="242" y="1474"/>
                    </a:lnTo>
                    <a:lnTo>
                      <a:pt x="242" y="1476"/>
                    </a:lnTo>
                    <a:lnTo>
                      <a:pt x="238" y="1480"/>
                    </a:lnTo>
                    <a:lnTo>
                      <a:pt x="240" y="1482"/>
                    </a:lnTo>
                    <a:lnTo>
                      <a:pt x="240" y="1484"/>
                    </a:lnTo>
                    <a:lnTo>
                      <a:pt x="236" y="1486"/>
                    </a:lnTo>
                    <a:lnTo>
                      <a:pt x="234" y="1488"/>
                    </a:lnTo>
                    <a:lnTo>
                      <a:pt x="232" y="1490"/>
                    </a:lnTo>
                    <a:lnTo>
                      <a:pt x="230" y="1494"/>
                    </a:lnTo>
                    <a:lnTo>
                      <a:pt x="234" y="1494"/>
                    </a:lnTo>
                    <a:lnTo>
                      <a:pt x="236" y="1492"/>
                    </a:lnTo>
                    <a:lnTo>
                      <a:pt x="236" y="1490"/>
                    </a:lnTo>
                    <a:lnTo>
                      <a:pt x="238" y="1488"/>
                    </a:lnTo>
                    <a:lnTo>
                      <a:pt x="240" y="1486"/>
                    </a:lnTo>
                    <a:lnTo>
                      <a:pt x="240" y="1488"/>
                    </a:lnTo>
                    <a:lnTo>
                      <a:pt x="238" y="1496"/>
                    </a:lnTo>
                    <a:lnTo>
                      <a:pt x="236" y="1502"/>
                    </a:lnTo>
                    <a:lnTo>
                      <a:pt x="234" y="1508"/>
                    </a:lnTo>
                    <a:lnTo>
                      <a:pt x="234" y="1512"/>
                    </a:lnTo>
                    <a:lnTo>
                      <a:pt x="232" y="1514"/>
                    </a:lnTo>
                    <a:lnTo>
                      <a:pt x="232" y="1516"/>
                    </a:lnTo>
                    <a:lnTo>
                      <a:pt x="232" y="1518"/>
                    </a:lnTo>
                    <a:lnTo>
                      <a:pt x="232" y="1520"/>
                    </a:lnTo>
                    <a:lnTo>
                      <a:pt x="230" y="1522"/>
                    </a:lnTo>
                    <a:lnTo>
                      <a:pt x="228" y="1526"/>
                    </a:lnTo>
                    <a:lnTo>
                      <a:pt x="226" y="1526"/>
                    </a:lnTo>
                    <a:lnTo>
                      <a:pt x="226" y="1528"/>
                    </a:lnTo>
                    <a:lnTo>
                      <a:pt x="224" y="1528"/>
                    </a:lnTo>
                    <a:lnTo>
                      <a:pt x="222" y="1530"/>
                    </a:lnTo>
                    <a:lnTo>
                      <a:pt x="220" y="1530"/>
                    </a:lnTo>
                    <a:lnTo>
                      <a:pt x="220" y="1532"/>
                    </a:lnTo>
                    <a:lnTo>
                      <a:pt x="214" y="1532"/>
                    </a:lnTo>
                    <a:lnTo>
                      <a:pt x="214" y="1534"/>
                    </a:lnTo>
                    <a:lnTo>
                      <a:pt x="212" y="1534"/>
                    </a:lnTo>
                    <a:lnTo>
                      <a:pt x="210" y="1534"/>
                    </a:lnTo>
                    <a:lnTo>
                      <a:pt x="208" y="1534"/>
                    </a:lnTo>
                    <a:lnTo>
                      <a:pt x="206" y="1530"/>
                    </a:lnTo>
                    <a:lnTo>
                      <a:pt x="202" y="1526"/>
                    </a:lnTo>
                    <a:lnTo>
                      <a:pt x="198" y="1522"/>
                    </a:lnTo>
                    <a:lnTo>
                      <a:pt x="198" y="1524"/>
                    </a:lnTo>
                    <a:lnTo>
                      <a:pt x="194" y="1524"/>
                    </a:lnTo>
                    <a:lnTo>
                      <a:pt x="192" y="1524"/>
                    </a:lnTo>
                    <a:lnTo>
                      <a:pt x="190" y="1524"/>
                    </a:lnTo>
                    <a:lnTo>
                      <a:pt x="188" y="1524"/>
                    </a:lnTo>
                    <a:lnTo>
                      <a:pt x="184" y="1526"/>
                    </a:lnTo>
                    <a:lnTo>
                      <a:pt x="182" y="1526"/>
                    </a:lnTo>
                    <a:lnTo>
                      <a:pt x="186" y="1526"/>
                    </a:lnTo>
                    <a:lnTo>
                      <a:pt x="188" y="1526"/>
                    </a:lnTo>
                    <a:lnTo>
                      <a:pt x="190" y="1526"/>
                    </a:lnTo>
                    <a:lnTo>
                      <a:pt x="196" y="1526"/>
                    </a:lnTo>
                    <a:lnTo>
                      <a:pt x="198" y="1526"/>
                    </a:lnTo>
                    <a:lnTo>
                      <a:pt x="200" y="1526"/>
                    </a:lnTo>
                    <a:lnTo>
                      <a:pt x="200" y="1528"/>
                    </a:lnTo>
                    <a:lnTo>
                      <a:pt x="202" y="1530"/>
                    </a:lnTo>
                    <a:lnTo>
                      <a:pt x="202" y="1532"/>
                    </a:lnTo>
                    <a:lnTo>
                      <a:pt x="204" y="1532"/>
                    </a:lnTo>
                    <a:lnTo>
                      <a:pt x="206" y="1534"/>
                    </a:lnTo>
                    <a:lnTo>
                      <a:pt x="208" y="1536"/>
                    </a:lnTo>
                    <a:lnTo>
                      <a:pt x="206" y="1536"/>
                    </a:lnTo>
                    <a:lnTo>
                      <a:pt x="204" y="1538"/>
                    </a:lnTo>
                    <a:lnTo>
                      <a:pt x="202" y="1538"/>
                    </a:lnTo>
                    <a:lnTo>
                      <a:pt x="200" y="1540"/>
                    </a:lnTo>
                    <a:lnTo>
                      <a:pt x="196" y="1540"/>
                    </a:lnTo>
                    <a:lnTo>
                      <a:pt x="194" y="1540"/>
                    </a:lnTo>
                    <a:lnTo>
                      <a:pt x="190" y="1542"/>
                    </a:lnTo>
                    <a:lnTo>
                      <a:pt x="188" y="1544"/>
                    </a:lnTo>
                    <a:lnTo>
                      <a:pt x="186" y="1544"/>
                    </a:lnTo>
                    <a:lnTo>
                      <a:pt x="184" y="1548"/>
                    </a:lnTo>
                    <a:lnTo>
                      <a:pt x="178" y="1554"/>
                    </a:lnTo>
                    <a:lnTo>
                      <a:pt x="178" y="1556"/>
                    </a:lnTo>
                    <a:lnTo>
                      <a:pt x="176" y="1558"/>
                    </a:lnTo>
                    <a:lnTo>
                      <a:pt x="174" y="1566"/>
                    </a:lnTo>
                    <a:lnTo>
                      <a:pt x="174" y="1570"/>
                    </a:lnTo>
                    <a:lnTo>
                      <a:pt x="174" y="1574"/>
                    </a:lnTo>
                    <a:lnTo>
                      <a:pt x="174" y="1576"/>
                    </a:lnTo>
                    <a:lnTo>
                      <a:pt x="170" y="1578"/>
                    </a:lnTo>
                    <a:lnTo>
                      <a:pt x="168" y="1580"/>
                    </a:lnTo>
                    <a:lnTo>
                      <a:pt x="166" y="1582"/>
                    </a:lnTo>
                    <a:lnTo>
                      <a:pt x="164" y="1584"/>
                    </a:lnTo>
                    <a:lnTo>
                      <a:pt x="166" y="1582"/>
                    </a:lnTo>
                    <a:lnTo>
                      <a:pt x="168" y="1580"/>
                    </a:lnTo>
                    <a:lnTo>
                      <a:pt x="172" y="1578"/>
                    </a:lnTo>
                    <a:lnTo>
                      <a:pt x="174" y="1580"/>
                    </a:lnTo>
                    <a:lnTo>
                      <a:pt x="174" y="1582"/>
                    </a:lnTo>
                    <a:lnTo>
                      <a:pt x="174" y="1584"/>
                    </a:lnTo>
                    <a:lnTo>
                      <a:pt x="174" y="1586"/>
                    </a:lnTo>
                    <a:lnTo>
                      <a:pt x="174" y="1588"/>
                    </a:lnTo>
                    <a:lnTo>
                      <a:pt x="174" y="1590"/>
                    </a:lnTo>
                    <a:lnTo>
                      <a:pt x="176" y="1598"/>
                    </a:lnTo>
                    <a:lnTo>
                      <a:pt x="178" y="1598"/>
                    </a:lnTo>
                    <a:lnTo>
                      <a:pt x="178" y="1604"/>
                    </a:lnTo>
                    <a:lnTo>
                      <a:pt x="180" y="1604"/>
                    </a:lnTo>
                    <a:lnTo>
                      <a:pt x="180" y="1606"/>
                    </a:lnTo>
                    <a:lnTo>
                      <a:pt x="180" y="1608"/>
                    </a:lnTo>
                    <a:lnTo>
                      <a:pt x="180" y="1610"/>
                    </a:lnTo>
                    <a:lnTo>
                      <a:pt x="180" y="1612"/>
                    </a:lnTo>
                    <a:lnTo>
                      <a:pt x="178" y="1612"/>
                    </a:lnTo>
                    <a:lnTo>
                      <a:pt x="176" y="1612"/>
                    </a:lnTo>
                    <a:lnTo>
                      <a:pt x="174" y="1614"/>
                    </a:lnTo>
                    <a:lnTo>
                      <a:pt x="172" y="1614"/>
                    </a:lnTo>
                    <a:lnTo>
                      <a:pt x="172" y="1612"/>
                    </a:lnTo>
                    <a:lnTo>
                      <a:pt x="168" y="1610"/>
                    </a:lnTo>
                    <a:lnTo>
                      <a:pt x="164" y="1610"/>
                    </a:lnTo>
                    <a:lnTo>
                      <a:pt x="160" y="1612"/>
                    </a:lnTo>
                    <a:lnTo>
                      <a:pt x="154" y="1614"/>
                    </a:lnTo>
                    <a:lnTo>
                      <a:pt x="158" y="1614"/>
                    </a:lnTo>
                    <a:lnTo>
                      <a:pt x="160" y="1614"/>
                    </a:lnTo>
                    <a:lnTo>
                      <a:pt x="164" y="1612"/>
                    </a:lnTo>
                    <a:lnTo>
                      <a:pt x="166" y="1612"/>
                    </a:lnTo>
                    <a:lnTo>
                      <a:pt x="170" y="1614"/>
                    </a:lnTo>
                    <a:lnTo>
                      <a:pt x="172" y="1614"/>
                    </a:lnTo>
                    <a:lnTo>
                      <a:pt x="178" y="1614"/>
                    </a:lnTo>
                    <a:lnTo>
                      <a:pt x="182" y="1618"/>
                    </a:lnTo>
                    <a:lnTo>
                      <a:pt x="184" y="1622"/>
                    </a:lnTo>
                    <a:lnTo>
                      <a:pt x="186" y="1628"/>
                    </a:lnTo>
                    <a:lnTo>
                      <a:pt x="186" y="1630"/>
                    </a:lnTo>
                    <a:lnTo>
                      <a:pt x="188" y="1632"/>
                    </a:lnTo>
                    <a:lnTo>
                      <a:pt x="190" y="1636"/>
                    </a:lnTo>
                    <a:lnTo>
                      <a:pt x="190" y="1638"/>
                    </a:lnTo>
                    <a:lnTo>
                      <a:pt x="192" y="1640"/>
                    </a:lnTo>
                    <a:lnTo>
                      <a:pt x="194" y="1642"/>
                    </a:lnTo>
                    <a:lnTo>
                      <a:pt x="196" y="1644"/>
                    </a:lnTo>
                    <a:lnTo>
                      <a:pt x="198" y="1648"/>
                    </a:lnTo>
                    <a:lnTo>
                      <a:pt x="200" y="1650"/>
                    </a:lnTo>
                    <a:lnTo>
                      <a:pt x="200" y="1652"/>
                    </a:lnTo>
                    <a:lnTo>
                      <a:pt x="200" y="1654"/>
                    </a:lnTo>
                    <a:lnTo>
                      <a:pt x="198" y="1656"/>
                    </a:lnTo>
                    <a:lnTo>
                      <a:pt x="198" y="1652"/>
                    </a:lnTo>
                    <a:lnTo>
                      <a:pt x="192" y="1652"/>
                    </a:lnTo>
                    <a:lnTo>
                      <a:pt x="190" y="1650"/>
                    </a:lnTo>
                    <a:lnTo>
                      <a:pt x="188" y="1650"/>
                    </a:lnTo>
                    <a:lnTo>
                      <a:pt x="184" y="1650"/>
                    </a:lnTo>
                    <a:lnTo>
                      <a:pt x="182" y="1648"/>
                    </a:lnTo>
                    <a:lnTo>
                      <a:pt x="180" y="1648"/>
                    </a:lnTo>
                    <a:lnTo>
                      <a:pt x="178" y="1646"/>
                    </a:lnTo>
                    <a:lnTo>
                      <a:pt x="176" y="1646"/>
                    </a:lnTo>
                    <a:lnTo>
                      <a:pt x="168" y="1642"/>
                    </a:lnTo>
                    <a:lnTo>
                      <a:pt x="166" y="1642"/>
                    </a:lnTo>
                    <a:lnTo>
                      <a:pt x="160" y="1642"/>
                    </a:lnTo>
                    <a:lnTo>
                      <a:pt x="148" y="1638"/>
                    </a:lnTo>
                    <a:lnTo>
                      <a:pt x="144" y="1636"/>
                    </a:lnTo>
                    <a:lnTo>
                      <a:pt x="142" y="1634"/>
                    </a:lnTo>
                    <a:lnTo>
                      <a:pt x="140" y="1634"/>
                    </a:lnTo>
                    <a:lnTo>
                      <a:pt x="136" y="1634"/>
                    </a:lnTo>
                    <a:lnTo>
                      <a:pt x="122" y="1634"/>
                    </a:lnTo>
                    <a:lnTo>
                      <a:pt x="114" y="1634"/>
                    </a:lnTo>
                    <a:lnTo>
                      <a:pt x="92" y="1632"/>
                    </a:lnTo>
                    <a:lnTo>
                      <a:pt x="74" y="1632"/>
                    </a:lnTo>
                    <a:lnTo>
                      <a:pt x="66" y="1632"/>
                    </a:lnTo>
                    <a:lnTo>
                      <a:pt x="64" y="1628"/>
                    </a:lnTo>
                    <a:lnTo>
                      <a:pt x="64" y="1626"/>
                    </a:lnTo>
                    <a:lnTo>
                      <a:pt x="60" y="1620"/>
                    </a:lnTo>
                    <a:lnTo>
                      <a:pt x="58" y="1618"/>
                    </a:lnTo>
                    <a:lnTo>
                      <a:pt x="56" y="1618"/>
                    </a:lnTo>
                    <a:lnTo>
                      <a:pt x="54" y="1618"/>
                    </a:lnTo>
                    <a:lnTo>
                      <a:pt x="52" y="1618"/>
                    </a:lnTo>
                    <a:lnTo>
                      <a:pt x="52" y="1616"/>
                    </a:lnTo>
                    <a:lnTo>
                      <a:pt x="48" y="1608"/>
                    </a:lnTo>
                    <a:lnTo>
                      <a:pt x="48" y="1606"/>
                    </a:lnTo>
                    <a:lnTo>
                      <a:pt x="50" y="1606"/>
                    </a:lnTo>
                    <a:lnTo>
                      <a:pt x="50" y="1600"/>
                    </a:lnTo>
                    <a:lnTo>
                      <a:pt x="50" y="1598"/>
                    </a:lnTo>
                    <a:lnTo>
                      <a:pt x="50" y="1596"/>
                    </a:lnTo>
                    <a:lnTo>
                      <a:pt x="52" y="1594"/>
                    </a:lnTo>
                    <a:lnTo>
                      <a:pt x="54" y="1592"/>
                    </a:lnTo>
                    <a:lnTo>
                      <a:pt x="52" y="1590"/>
                    </a:lnTo>
                    <a:lnTo>
                      <a:pt x="50" y="1590"/>
                    </a:lnTo>
                    <a:lnTo>
                      <a:pt x="48" y="1588"/>
                    </a:lnTo>
                    <a:lnTo>
                      <a:pt x="48" y="1584"/>
                    </a:lnTo>
                    <a:lnTo>
                      <a:pt x="50" y="1580"/>
                    </a:lnTo>
                    <a:lnTo>
                      <a:pt x="52" y="1580"/>
                    </a:lnTo>
                    <a:lnTo>
                      <a:pt x="54" y="1572"/>
                    </a:lnTo>
                    <a:lnTo>
                      <a:pt x="54" y="1570"/>
                    </a:lnTo>
                    <a:lnTo>
                      <a:pt x="52" y="1568"/>
                    </a:lnTo>
                    <a:lnTo>
                      <a:pt x="50" y="1566"/>
                    </a:lnTo>
                    <a:lnTo>
                      <a:pt x="50" y="1564"/>
                    </a:lnTo>
                    <a:lnTo>
                      <a:pt x="52" y="1562"/>
                    </a:lnTo>
                    <a:lnTo>
                      <a:pt x="52" y="1560"/>
                    </a:lnTo>
                    <a:lnTo>
                      <a:pt x="48" y="1558"/>
                    </a:lnTo>
                    <a:lnTo>
                      <a:pt x="44" y="1558"/>
                    </a:lnTo>
                    <a:lnTo>
                      <a:pt x="42" y="1558"/>
                    </a:lnTo>
                    <a:lnTo>
                      <a:pt x="40" y="1560"/>
                    </a:lnTo>
                    <a:lnTo>
                      <a:pt x="38" y="1560"/>
                    </a:lnTo>
                    <a:lnTo>
                      <a:pt x="36" y="1560"/>
                    </a:lnTo>
                    <a:lnTo>
                      <a:pt x="34" y="1558"/>
                    </a:lnTo>
                    <a:lnTo>
                      <a:pt x="28" y="1560"/>
                    </a:lnTo>
                    <a:lnTo>
                      <a:pt x="26" y="1562"/>
                    </a:lnTo>
                    <a:lnTo>
                      <a:pt x="24" y="1564"/>
                    </a:lnTo>
                    <a:lnTo>
                      <a:pt x="24" y="1566"/>
                    </a:lnTo>
                    <a:lnTo>
                      <a:pt x="22" y="1566"/>
                    </a:lnTo>
                    <a:lnTo>
                      <a:pt x="20" y="1566"/>
                    </a:lnTo>
                    <a:lnTo>
                      <a:pt x="18" y="1566"/>
                    </a:lnTo>
                    <a:lnTo>
                      <a:pt x="18" y="1564"/>
                    </a:lnTo>
                    <a:lnTo>
                      <a:pt x="14" y="1558"/>
                    </a:lnTo>
                    <a:lnTo>
                      <a:pt x="14" y="1552"/>
                    </a:lnTo>
                    <a:lnTo>
                      <a:pt x="14" y="1544"/>
                    </a:lnTo>
                    <a:lnTo>
                      <a:pt x="12" y="1542"/>
                    </a:lnTo>
                    <a:lnTo>
                      <a:pt x="12" y="1540"/>
                    </a:lnTo>
                    <a:lnTo>
                      <a:pt x="10" y="1538"/>
                    </a:lnTo>
                    <a:lnTo>
                      <a:pt x="6" y="1536"/>
                    </a:lnTo>
                    <a:lnTo>
                      <a:pt x="4" y="1534"/>
                    </a:lnTo>
                    <a:lnTo>
                      <a:pt x="2" y="1532"/>
                    </a:lnTo>
                    <a:lnTo>
                      <a:pt x="4" y="1530"/>
                    </a:lnTo>
                    <a:lnTo>
                      <a:pt x="4" y="1528"/>
                    </a:lnTo>
                    <a:lnTo>
                      <a:pt x="6" y="1526"/>
                    </a:lnTo>
                    <a:lnTo>
                      <a:pt x="6" y="1524"/>
                    </a:lnTo>
                    <a:lnTo>
                      <a:pt x="4" y="1524"/>
                    </a:lnTo>
                    <a:lnTo>
                      <a:pt x="4" y="1522"/>
                    </a:lnTo>
                    <a:lnTo>
                      <a:pt x="2" y="1522"/>
                    </a:lnTo>
                    <a:lnTo>
                      <a:pt x="2" y="1518"/>
                    </a:lnTo>
                    <a:lnTo>
                      <a:pt x="4" y="1516"/>
                    </a:lnTo>
                    <a:lnTo>
                      <a:pt x="6" y="1514"/>
                    </a:lnTo>
                    <a:lnTo>
                      <a:pt x="4" y="1504"/>
                    </a:lnTo>
                    <a:lnTo>
                      <a:pt x="2" y="1502"/>
                    </a:lnTo>
                    <a:lnTo>
                      <a:pt x="0" y="1500"/>
                    </a:lnTo>
                    <a:lnTo>
                      <a:pt x="2" y="1494"/>
                    </a:lnTo>
                    <a:lnTo>
                      <a:pt x="6" y="1488"/>
                    </a:lnTo>
                    <a:lnTo>
                      <a:pt x="16" y="1488"/>
                    </a:lnTo>
                    <a:lnTo>
                      <a:pt x="18" y="1486"/>
                    </a:lnTo>
                    <a:lnTo>
                      <a:pt x="20" y="1484"/>
                    </a:lnTo>
                    <a:lnTo>
                      <a:pt x="16" y="1484"/>
                    </a:lnTo>
                    <a:lnTo>
                      <a:pt x="20" y="1474"/>
                    </a:lnTo>
                    <a:lnTo>
                      <a:pt x="24" y="1470"/>
                    </a:lnTo>
                    <a:lnTo>
                      <a:pt x="24" y="1468"/>
                    </a:lnTo>
                    <a:lnTo>
                      <a:pt x="26" y="1468"/>
                    </a:lnTo>
                    <a:lnTo>
                      <a:pt x="28" y="1468"/>
                    </a:lnTo>
                    <a:lnTo>
                      <a:pt x="30" y="1468"/>
                    </a:lnTo>
                    <a:lnTo>
                      <a:pt x="32" y="1468"/>
                    </a:lnTo>
                    <a:lnTo>
                      <a:pt x="34" y="1466"/>
                    </a:lnTo>
                    <a:lnTo>
                      <a:pt x="36" y="1466"/>
                    </a:lnTo>
                    <a:lnTo>
                      <a:pt x="40" y="1462"/>
                    </a:lnTo>
                    <a:lnTo>
                      <a:pt x="42" y="1460"/>
                    </a:lnTo>
                    <a:lnTo>
                      <a:pt x="42" y="1458"/>
                    </a:lnTo>
                    <a:lnTo>
                      <a:pt x="42" y="1456"/>
                    </a:lnTo>
                    <a:lnTo>
                      <a:pt x="42" y="1454"/>
                    </a:lnTo>
                    <a:lnTo>
                      <a:pt x="42" y="1452"/>
                    </a:lnTo>
                    <a:lnTo>
                      <a:pt x="40" y="1448"/>
                    </a:lnTo>
                    <a:lnTo>
                      <a:pt x="40" y="1446"/>
                    </a:lnTo>
                    <a:lnTo>
                      <a:pt x="40" y="1444"/>
                    </a:lnTo>
                    <a:lnTo>
                      <a:pt x="40" y="1442"/>
                    </a:lnTo>
                    <a:lnTo>
                      <a:pt x="42" y="1440"/>
                    </a:lnTo>
                    <a:lnTo>
                      <a:pt x="44" y="1440"/>
                    </a:lnTo>
                    <a:lnTo>
                      <a:pt x="46" y="1438"/>
                    </a:lnTo>
                    <a:lnTo>
                      <a:pt x="52" y="1436"/>
                    </a:lnTo>
                    <a:lnTo>
                      <a:pt x="52" y="1428"/>
                    </a:lnTo>
                    <a:lnTo>
                      <a:pt x="50" y="1420"/>
                    </a:lnTo>
                    <a:lnTo>
                      <a:pt x="48" y="1416"/>
                    </a:lnTo>
                    <a:lnTo>
                      <a:pt x="46" y="1416"/>
                    </a:lnTo>
                    <a:lnTo>
                      <a:pt x="44" y="1416"/>
                    </a:lnTo>
                    <a:lnTo>
                      <a:pt x="44" y="1414"/>
                    </a:lnTo>
                    <a:lnTo>
                      <a:pt x="42" y="1414"/>
                    </a:lnTo>
                    <a:lnTo>
                      <a:pt x="42" y="1412"/>
                    </a:lnTo>
                    <a:lnTo>
                      <a:pt x="46" y="1404"/>
                    </a:lnTo>
                    <a:lnTo>
                      <a:pt x="46" y="1402"/>
                    </a:lnTo>
                    <a:lnTo>
                      <a:pt x="48" y="1400"/>
                    </a:lnTo>
                    <a:lnTo>
                      <a:pt x="48" y="1398"/>
                    </a:lnTo>
                    <a:lnTo>
                      <a:pt x="50" y="1396"/>
                    </a:lnTo>
                    <a:lnTo>
                      <a:pt x="50" y="1394"/>
                    </a:lnTo>
                    <a:lnTo>
                      <a:pt x="52" y="1390"/>
                    </a:lnTo>
                    <a:lnTo>
                      <a:pt x="50" y="1390"/>
                    </a:lnTo>
                    <a:lnTo>
                      <a:pt x="50" y="1388"/>
                    </a:lnTo>
                    <a:lnTo>
                      <a:pt x="50" y="1386"/>
                    </a:lnTo>
                    <a:lnTo>
                      <a:pt x="52" y="1386"/>
                    </a:lnTo>
                    <a:lnTo>
                      <a:pt x="54" y="1384"/>
                    </a:lnTo>
                    <a:lnTo>
                      <a:pt x="56" y="1386"/>
                    </a:lnTo>
                    <a:lnTo>
                      <a:pt x="58" y="1384"/>
                    </a:lnTo>
                    <a:lnTo>
                      <a:pt x="62" y="1382"/>
                    </a:lnTo>
                    <a:lnTo>
                      <a:pt x="64" y="1378"/>
                    </a:lnTo>
                    <a:lnTo>
                      <a:pt x="68" y="1374"/>
                    </a:lnTo>
                    <a:lnTo>
                      <a:pt x="70" y="1374"/>
                    </a:lnTo>
                    <a:lnTo>
                      <a:pt x="70" y="1372"/>
                    </a:lnTo>
                    <a:lnTo>
                      <a:pt x="70" y="1370"/>
                    </a:lnTo>
                    <a:lnTo>
                      <a:pt x="68" y="1370"/>
                    </a:lnTo>
                    <a:lnTo>
                      <a:pt x="64" y="1364"/>
                    </a:lnTo>
                    <a:lnTo>
                      <a:pt x="66" y="1352"/>
                    </a:lnTo>
                    <a:lnTo>
                      <a:pt x="68" y="1352"/>
                    </a:lnTo>
                    <a:lnTo>
                      <a:pt x="70" y="1352"/>
                    </a:lnTo>
                    <a:lnTo>
                      <a:pt x="72" y="1352"/>
                    </a:lnTo>
                    <a:lnTo>
                      <a:pt x="78" y="1346"/>
                    </a:lnTo>
                    <a:lnTo>
                      <a:pt x="78" y="1344"/>
                    </a:lnTo>
                    <a:lnTo>
                      <a:pt x="78" y="1338"/>
                    </a:lnTo>
                    <a:lnTo>
                      <a:pt x="78" y="1336"/>
                    </a:lnTo>
                    <a:lnTo>
                      <a:pt x="76" y="1332"/>
                    </a:lnTo>
                    <a:lnTo>
                      <a:pt x="76" y="1322"/>
                    </a:lnTo>
                    <a:lnTo>
                      <a:pt x="74" y="1320"/>
                    </a:lnTo>
                    <a:lnTo>
                      <a:pt x="72" y="1320"/>
                    </a:lnTo>
                    <a:lnTo>
                      <a:pt x="68" y="1316"/>
                    </a:lnTo>
                    <a:lnTo>
                      <a:pt x="70" y="1316"/>
                    </a:lnTo>
                    <a:lnTo>
                      <a:pt x="72" y="1316"/>
                    </a:lnTo>
                    <a:lnTo>
                      <a:pt x="74" y="1316"/>
                    </a:lnTo>
                    <a:lnTo>
                      <a:pt x="76" y="1314"/>
                    </a:lnTo>
                    <a:lnTo>
                      <a:pt x="76" y="1312"/>
                    </a:lnTo>
                    <a:lnTo>
                      <a:pt x="78" y="1310"/>
                    </a:lnTo>
                    <a:lnTo>
                      <a:pt x="80" y="1310"/>
                    </a:lnTo>
                    <a:lnTo>
                      <a:pt x="80" y="1308"/>
                    </a:lnTo>
                    <a:lnTo>
                      <a:pt x="80" y="1302"/>
                    </a:lnTo>
                    <a:lnTo>
                      <a:pt x="78" y="1300"/>
                    </a:lnTo>
                    <a:lnTo>
                      <a:pt x="76" y="1300"/>
                    </a:lnTo>
                    <a:lnTo>
                      <a:pt x="74" y="1294"/>
                    </a:lnTo>
                    <a:lnTo>
                      <a:pt x="74" y="1290"/>
                    </a:lnTo>
                    <a:lnTo>
                      <a:pt x="76" y="1284"/>
                    </a:lnTo>
                    <a:lnTo>
                      <a:pt x="78" y="1284"/>
                    </a:lnTo>
                    <a:lnTo>
                      <a:pt x="78" y="1282"/>
                    </a:lnTo>
                    <a:lnTo>
                      <a:pt x="80" y="1282"/>
                    </a:lnTo>
                    <a:lnTo>
                      <a:pt x="88" y="1280"/>
                    </a:lnTo>
                    <a:lnTo>
                      <a:pt x="94" y="1270"/>
                    </a:lnTo>
                    <a:lnTo>
                      <a:pt x="94" y="1266"/>
                    </a:lnTo>
                    <a:lnTo>
                      <a:pt x="86" y="1258"/>
                    </a:lnTo>
                    <a:lnTo>
                      <a:pt x="84" y="1254"/>
                    </a:lnTo>
                    <a:lnTo>
                      <a:pt x="82" y="1252"/>
                    </a:lnTo>
                    <a:lnTo>
                      <a:pt x="76" y="1250"/>
                    </a:lnTo>
                    <a:lnTo>
                      <a:pt x="74" y="1250"/>
                    </a:lnTo>
                    <a:lnTo>
                      <a:pt x="68" y="1250"/>
                    </a:lnTo>
                    <a:lnTo>
                      <a:pt x="62" y="1248"/>
                    </a:lnTo>
                    <a:lnTo>
                      <a:pt x="62" y="1244"/>
                    </a:lnTo>
                    <a:lnTo>
                      <a:pt x="62" y="1242"/>
                    </a:lnTo>
                    <a:lnTo>
                      <a:pt x="64" y="1242"/>
                    </a:lnTo>
                    <a:lnTo>
                      <a:pt x="66" y="1242"/>
                    </a:lnTo>
                    <a:lnTo>
                      <a:pt x="72" y="1244"/>
                    </a:lnTo>
                    <a:lnTo>
                      <a:pt x="74" y="1244"/>
                    </a:lnTo>
                    <a:lnTo>
                      <a:pt x="74" y="1242"/>
                    </a:lnTo>
                    <a:lnTo>
                      <a:pt x="78" y="1242"/>
                    </a:lnTo>
                    <a:lnTo>
                      <a:pt x="80" y="1242"/>
                    </a:lnTo>
                    <a:lnTo>
                      <a:pt x="82" y="1242"/>
                    </a:lnTo>
                    <a:lnTo>
                      <a:pt x="84" y="1242"/>
                    </a:lnTo>
                    <a:lnTo>
                      <a:pt x="86" y="1240"/>
                    </a:lnTo>
                    <a:lnTo>
                      <a:pt x="88" y="1240"/>
                    </a:lnTo>
                    <a:lnTo>
                      <a:pt x="88" y="1242"/>
                    </a:lnTo>
                    <a:lnTo>
                      <a:pt x="90" y="1244"/>
                    </a:lnTo>
                    <a:lnTo>
                      <a:pt x="92" y="1244"/>
                    </a:lnTo>
                    <a:lnTo>
                      <a:pt x="94" y="1244"/>
                    </a:lnTo>
                    <a:lnTo>
                      <a:pt x="96" y="1244"/>
                    </a:lnTo>
                    <a:lnTo>
                      <a:pt x="98" y="1240"/>
                    </a:lnTo>
                    <a:lnTo>
                      <a:pt x="98" y="1238"/>
                    </a:lnTo>
                    <a:lnTo>
                      <a:pt x="98" y="1236"/>
                    </a:lnTo>
                    <a:lnTo>
                      <a:pt x="100" y="1232"/>
                    </a:lnTo>
                    <a:lnTo>
                      <a:pt x="102" y="1232"/>
                    </a:lnTo>
                    <a:lnTo>
                      <a:pt x="102" y="1230"/>
                    </a:lnTo>
                    <a:lnTo>
                      <a:pt x="102" y="1228"/>
                    </a:lnTo>
                    <a:lnTo>
                      <a:pt x="100" y="1226"/>
                    </a:lnTo>
                    <a:lnTo>
                      <a:pt x="100" y="1224"/>
                    </a:lnTo>
                    <a:lnTo>
                      <a:pt x="90" y="1222"/>
                    </a:lnTo>
                    <a:lnTo>
                      <a:pt x="88" y="1222"/>
                    </a:lnTo>
                    <a:lnTo>
                      <a:pt x="84" y="1222"/>
                    </a:lnTo>
                    <a:lnTo>
                      <a:pt x="80" y="1222"/>
                    </a:lnTo>
                    <a:lnTo>
                      <a:pt x="74" y="1222"/>
                    </a:lnTo>
                    <a:lnTo>
                      <a:pt x="72" y="1222"/>
                    </a:lnTo>
                    <a:lnTo>
                      <a:pt x="72" y="1220"/>
                    </a:lnTo>
                    <a:lnTo>
                      <a:pt x="74" y="1218"/>
                    </a:lnTo>
                    <a:lnTo>
                      <a:pt x="74" y="1212"/>
                    </a:lnTo>
                    <a:lnTo>
                      <a:pt x="74" y="1210"/>
                    </a:lnTo>
                    <a:lnTo>
                      <a:pt x="74" y="1208"/>
                    </a:lnTo>
                    <a:lnTo>
                      <a:pt x="74" y="1206"/>
                    </a:lnTo>
                    <a:lnTo>
                      <a:pt x="76" y="1204"/>
                    </a:lnTo>
                    <a:lnTo>
                      <a:pt x="80" y="1198"/>
                    </a:lnTo>
                    <a:lnTo>
                      <a:pt x="80" y="1196"/>
                    </a:lnTo>
                    <a:lnTo>
                      <a:pt x="78" y="1192"/>
                    </a:lnTo>
                    <a:lnTo>
                      <a:pt x="76" y="1190"/>
                    </a:lnTo>
                    <a:lnTo>
                      <a:pt x="74" y="1188"/>
                    </a:lnTo>
                    <a:lnTo>
                      <a:pt x="74" y="1186"/>
                    </a:lnTo>
                    <a:lnTo>
                      <a:pt x="76" y="1186"/>
                    </a:lnTo>
                    <a:lnTo>
                      <a:pt x="78" y="1184"/>
                    </a:lnTo>
                    <a:lnTo>
                      <a:pt x="80" y="1182"/>
                    </a:lnTo>
                    <a:lnTo>
                      <a:pt x="78" y="1178"/>
                    </a:lnTo>
                    <a:lnTo>
                      <a:pt x="72" y="1172"/>
                    </a:lnTo>
                    <a:lnTo>
                      <a:pt x="68" y="1170"/>
                    </a:lnTo>
                    <a:lnTo>
                      <a:pt x="68" y="1168"/>
                    </a:lnTo>
                    <a:lnTo>
                      <a:pt x="70" y="1164"/>
                    </a:lnTo>
                    <a:lnTo>
                      <a:pt x="74" y="1162"/>
                    </a:lnTo>
                    <a:lnTo>
                      <a:pt x="76" y="1162"/>
                    </a:lnTo>
                    <a:lnTo>
                      <a:pt x="78" y="1162"/>
                    </a:lnTo>
                    <a:lnTo>
                      <a:pt x="78" y="1156"/>
                    </a:lnTo>
                    <a:lnTo>
                      <a:pt x="72" y="1154"/>
                    </a:lnTo>
                    <a:lnTo>
                      <a:pt x="68" y="1154"/>
                    </a:lnTo>
                    <a:lnTo>
                      <a:pt x="66" y="1154"/>
                    </a:lnTo>
                    <a:lnTo>
                      <a:pt x="62" y="1152"/>
                    </a:lnTo>
                    <a:lnTo>
                      <a:pt x="60" y="1148"/>
                    </a:lnTo>
                    <a:lnTo>
                      <a:pt x="60" y="1146"/>
                    </a:lnTo>
                    <a:lnTo>
                      <a:pt x="60" y="1144"/>
                    </a:lnTo>
                    <a:lnTo>
                      <a:pt x="60" y="1142"/>
                    </a:lnTo>
                    <a:lnTo>
                      <a:pt x="62" y="1140"/>
                    </a:lnTo>
                    <a:lnTo>
                      <a:pt x="62" y="1138"/>
                    </a:lnTo>
                    <a:lnTo>
                      <a:pt x="62" y="1134"/>
                    </a:lnTo>
                    <a:lnTo>
                      <a:pt x="62" y="1132"/>
                    </a:lnTo>
                    <a:lnTo>
                      <a:pt x="60" y="1128"/>
                    </a:lnTo>
                    <a:lnTo>
                      <a:pt x="60" y="1124"/>
                    </a:lnTo>
                    <a:lnTo>
                      <a:pt x="60" y="1122"/>
                    </a:lnTo>
                    <a:lnTo>
                      <a:pt x="62" y="1120"/>
                    </a:lnTo>
                    <a:lnTo>
                      <a:pt x="64" y="1112"/>
                    </a:lnTo>
                    <a:lnTo>
                      <a:pt x="62" y="1110"/>
                    </a:lnTo>
                    <a:lnTo>
                      <a:pt x="60" y="1108"/>
                    </a:lnTo>
                    <a:lnTo>
                      <a:pt x="64" y="1100"/>
                    </a:lnTo>
                    <a:lnTo>
                      <a:pt x="64" y="1098"/>
                    </a:lnTo>
                    <a:lnTo>
                      <a:pt x="66" y="1098"/>
                    </a:lnTo>
                    <a:lnTo>
                      <a:pt x="68" y="1098"/>
                    </a:lnTo>
                    <a:lnTo>
                      <a:pt x="68" y="1100"/>
                    </a:lnTo>
                    <a:lnTo>
                      <a:pt x="70" y="1102"/>
                    </a:lnTo>
                    <a:lnTo>
                      <a:pt x="76" y="1098"/>
                    </a:lnTo>
                    <a:lnTo>
                      <a:pt x="78" y="1098"/>
                    </a:lnTo>
                    <a:lnTo>
                      <a:pt x="78" y="1094"/>
                    </a:lnTo>
                    <a:lnTo>
                      <a:pt x="76" y="1092"/>
                    </a:lnTo>
                    <a:lnTo>
                      <a:pt x="76" y="1088"/>
                    </a:lnTo>
                    <a:lnTo>
                      <a:pt x="76" y="1086"/>
                    </a:lnTo>
                    <a:lnTo>
                      <a:pt x="76" y="1084"/>
                    </a:lnTo>
                    <a:lnTo>
                      <a:pt x="72" y="1080"/>
                    </a:lnTo>
                    <a:lnTo>
                      <a:pt x="70" y="1074"/>
                    </a:lnTo>
                    <a:lnTo>
                      <a:pt x="70" y="1072"/>
                    </a:lnTo>
                    <a:lnTo>
                      <a:pt x="70" y="1070"/>
                    </a:lnTo>
                    <a:lnTo>
                      <a:pt x="72" y="1068"/>
                    </a:lnTo>
                    <a:lnTo>
                      <a:pt x="72" y="1062"/>
                    </a:lnTo>
                    <a:lnTo>
                      <a:pt x="72" y="1060"/>
                    </a:lnTo>
                    <a:lnTo>
                      <a:pt x="70" y="1060"/>
                    </a:lnTo>
                    <a:lnTo>
                      <a:pt x="70" y="1058"/>
                    </a:lnTo>
                    <a:lnTo>
                      <a:pt x="72" y="1054"/>
                    </a:lnTo>
                    <a:lnTo>
                      <a:pt x="72" y="1052"/>
                    </a:lnTo>
                    <a:lnTo>
                      <a:pt x="72" y="1050"/>
                    </a:lnTo>
                    <a:lnTo>
                      <a:pt x="74" y="1042"/>
                    </a:lnTo>
                    <a:lnTo>
                      <a:pt x="72" y="1038"/>
                    </a:lnTo>
                    <a:lnTo>
                      <a:pt x="74" y="1036"/>
                    </a:lnTo>
                    <a:lnTo>
                      <a:pt x="72" y="1032"/>
                    </a:lnTo>
                    <a:lnTo>
                      <a:pt x="70" y="1026"/>
                    </a:lnTo>
                    <a:lnTo>
                      <a:pt x="68" y="1024"/>
                    </a:lnTo>
                    <a:lnTo>
                      <a:pt x="70" y="1022"/>
                    </a:lnTo>
                    <a:lnTo>
                      <a:pt x="70" y="1020"/>
                    </a:lnTo>
                    <a:lnTo>
                      <a:pt x="72" y="1020"/>
                    </a:lnTo>
                    <a:lnTo>
                      <a:pt x="72" y="1018"/>
                    </a:lnTo>
                    <a:lnTo>
                      <a:pt x="74" y="1016"/>
                    </a:lnTo>
                    <a:lnTo>
                      <a:pt x="74" y="1014"/>
                    </a:lnTo>
                    <a:lnTo>
                      <a:pt x="74" y="1012"/>
                    </a:lnTo>
                    <a:lnTo>
                      <a:pt x="76" y="1006"/>
                    </a:lnTo>
                    <a:lnTo>
                      <a:pt x="78" y="1006"/>
                    </a:lnTo>
                    <a:lnTo>
                      <a:pt x="80" y="1006"/>
                    </a:lnTo>
                    <a:lnTo>
                      <a:pt x="80" y="1002"/>
                    </a:lnTo>
                    <a:lnTo>
                      <a:pt x="80" y="1000"/>
                    </a:lnTo>
                    <a:lnTo>
                      <a:pt x="80" y="998"/>
                    </a:lnTo>
                    <a:lnTo>
                      <a:pt x="80" y="1000"/>
                    </a:lnTo>
                    <a:lnTo>
                      <a:pt x="76" y="996"/>
                    </a:lnTo>
                    <a:lnTo>
                      <a:pt x="74" y="994"/>
                    </a:lnTo>
                    <a:lnTo>
                      <a:pt x="76" y="990"/>
                    </a:lnTo>
                    <a:lnTo>
                      <a:pt x="78" y="988"/>
                    </a:lnTo>
                    <a:lnTo>
                      <a:pt x="80" y="986"/>
                    </a:lnTo>
                    <a:lnTo>
                      <a:pt x="82" y="982"/>
                    </a:lnTo>
                    <a:lnTo>
                      <a:pt x="80" y="976"/>
                    </a:lnTo>
                    <a:lnTo>
                      <a:pt x="80" y="970"/>
                    </a:lnTo>
                    <a:lnTo>
                      <a:pt x="80" y="964"/>
                    </a:lnTo>
                    <a:lnTo>
                      <a:pt x="80" y="960"/>
                    </a:lnTo>
                    <a:lnTo>
                      <a:pt x="82" y="962"/>
                    </a:lnTo>
                    <a:lnTo>
                      <a:pt x="84" y="964"/>
                    </a:lnTo>
                    <a:lnTo>
                      <a:pt x="88" y="964"/>
                    </a:lnTo>
                    <a:lnTo>
                      <a:pt x="90" y="962"/>
                    </a:lnTo>
                    <a:lnTo>
                      <a:pt x="90" y="960"/>
                    </a:lnTo>
                    <a:lnTo>
                      <a:pt x="92" y="952"/>
                    </a:lnTo>
                    <a:lnTo>
                      <a:pt x="94" y="948"/>
                    </a:lnTo>
                    <a:lnTo>
                      <a:pt x="94" y="942"/>
                    </a:lnTo>
                    <a:lnTo>
                      <a:pt x="94" y="936"/>
                    </a:lnTo>
                    <a:lnTo>
                      <a:pt x="94" y="932"/>
                    </a:lnTo>
                    <a:lnTo>
                      <a:pt x="92" y="932"/>
                    </a:lnTo>
                    <a:lnTo>
                      <a:pt x="92" y="930"/>
                    </a:lnTo>
                    <a:lnTo>
                      <a:pt x="94" y="928"/>
                    </a:lnTo>
                    <a:lnTo>
                      <a:pt x="94" y="926"/>
                    </a:lnTo>
                    <a:lnTo>
                      <a:pt x="94" y="924"/>
                    </a:lnTo>
                    <a:lnTo>
                      <a:pt x="96" y="924"/>
                    </a:lnTo>
                    <a:lnTo>
                      <a:pt x="98" y="922"/>
                    </a:lnTo>
                    <a:lnTo>
                      <a:pt x="100" y="920"/>
                    </a:lnTo>
                    <a:lnTo>
                      <a:pt x="108" y="916"/>
                    </a:lnTo>
                    <a:lnTo>
                      <a:pt x="110" y="916"/>
                    </a:lnTo>
                    <a:lnTo>
                      <a:pt x="112" y="916"/>
                    </a:lnTo>
                    <a:lnTo>
                      <a:pt x="116" y="916"/>
                    </a:lnTo>
                    <a:lnTo>
                      <a:pt x="118" y="914"/>
                    </a:lnTo>
                    <a:lnTo>
                      <a:pt x="120" y="908"/>
                    </a:lnTo>
                    <a:lnTo>
                      <a:pt x="120" y="906"/>
                    </a:lnTo>
                    <a:lnTo>
                      <a:pt x="120" y="904"/>
                    </a:lnTo>
                    <a:lnTo>
                      <a:pt x="118" y="902"/>
                    </a:lnTo>
                    <a:lnTo>
                      <a:pt x="116" y="902"/>
                    </a:lnTo>
                    <a:lnTo>
                      <a:pt x="116" y="900"/>
                    </a:lnTo>
                    <a:lnTo>
                      <a:pt x="114" y="898"/>
                    </a:lnTo>
                    <a:lnTo>
                      <a:pt x="112" y="892"/>
                    </a:lnTo>
                    <a:lnTo>
                      <a:pt x="112" y="888"/>
                    </a:lnTo>
                    <a:lnTo>
                      <a:pt x="112" y="886"/>
                    </a:lnTo>
                    <a:lnTo>
                      <a:pt x="112" y="884"/>
                    </a:lnTo>
                    <a:lnTo>
                      <a:pt x="112" y="878"/>
                    </a:lnTo>
                    <a:lnTo>
                      <a:pt x="108" y="870"/>
                    </a:lnTo>
                    <a:lnTo>
                      <a:pt x="108" y="866"/>
                    </a:lnTo>
                    <a:lnTo>
                      <a:pt x="106" y="866"/>
                    </a:lnTo>
                    <a:lnTo>
                      <a:pt x="106" y="864"/>
                    </a:lnTo>
                    <a:lnTo>
                      <a:pt x="106" y="862"/>
                    </a:lnTo>
                    <a:lnTo>
                      <a:pt x="104" y="858"/>
                    </a:lnTo>
                    <a:lnTo>
                      <a:pt x="104" y="856"/>
                    </a:lnTo>
                    <a:lnTo>
                      <a:pt x="106" y="854"/>
                    </a:lnTo>
                    <a:lnTo>
                      <a:pt x="108" y="854"/>
                    </a:lnTo>
                    <a:lnTo>
                      <a:pt x="108" y="846"/>
                    </a:lnTo>
                    <a:lnTo>
                      <a:pt x="108" y="844"/>
                    </a:lnTo>
                    <a:lnTo>
                      <a:pt x="106" y="842"/>
                    </a:lnTo>
                    <a:lnTo>
                      <a:pt x="104" y="838"/>
                    </a:lnTo>
                    <a:lnTo>
                      <a:pt x="104" y="836"/>
                    </a:lnTo>
                    <a:lnTo>
                      <a:pt x="106" y="834"/>
                    </a:lnTo>
                    <a:lnTo>
                      <a:pt x="108" y="832"/>
                    </a:lnTo>
                    <a:lnTo>
                      <a:pt x="108" y="828"/>
                    </a:lnTo>
                    <a:lnTo>
                      <a:pt x="106" y="820"/>
                    </a:lnTo>
                    <a:lnTo>
                      <a:pt x="104" y="812"/>
                    </a:lnTo>
                    <a:lnTo>
                      <a:pt x="108" y="808"/>
                    </a:lnTo>
                    <a:lnTo>
                      <a:pt x="112" y="796"/>
                    </a:lnTo>
                    <a:lnTo>
                      <a:pt x="114" y="79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4" name="Freeform 1953"/>
              <p:cNvSpPr>
                <a:spLocks/>
              </p:cNvSpPr>
              <p:nvPr/>
            </p:nvSpPr>
            <p:spPr bwMode="auto">
              <a:xfrm>
                <a:off x="2856" y="3112"/>
                <a:ext cx="10" cy="8"/>
              </a:xfrm>
              <a:custGeom>
                <a:avLst/>
                <a:gdLst/>
                <a:ahLst/>
                <a:cxnLst>
                  <a:cxn ang="0">
                    <a:pos x="8" y="8"/>
                  </a:cxn>
                  <a:cxn ang="0">
                    <a:pos x="2" y="6"/>
                  </a:cxn>
                  <a:cxn ang="0">
                    <a:pos x="0" y="2"/>
                  </a:cxn>
                  <a:cxn ang="0">
                    <a:pos x="0" y="0"/>
                  </a:cxn>
                  <a:cxn ang="0">
                    <a:pos x="2" y="0"/>
                  </a:cxn>
                  <a:cxn ang="0">
                    <a:pos x="6" y="2"/>
                  </a:cxn>
                  <a:cxn ang="0">
                    <a:pos x="10" y="4"/>
                  </a:cxn>
                  <a:cxn ang="0">
                    <a:pos x="10" y="6"/>
                  </a:cxn>
                  <a:cxn ang="0">
                    <a:pos x="10" y="8"/>
                  </a:cxn>
                  <a:cxn ang="0">
                    <a:pos x="8" y="8"/>
                  </a:cxn>
                </a:cxnLst>
                <a:rect l="0" t="0" r="r" b="b"/>
                <a:pathLst>
                  <a:path w="10" h="8">
                    <a:moveTo>
                      <a:pt x="8" y="8"/>
                    </a:moveTo>
                    <a:lnTo>
                      <a:pt x="2" y="6"/>
                    </a:lnTo>
                    <a:lnTo>
                      <a:pt x="0" y="2"/>
                    </a:lnTo>
                    <a:lnTo>
                      <a:pt x="0" y="0"/>
                    </a:lnTo>
                    <a:lnTo>
                      <a:pt x="2" y="0"/>
                    </a:lnTo>
                    <a:lnTo>
                      <a:pt x="6" y="2"/>
                    </a:lnTo>
                    <a:lnTo>
                      <a:pt x="10" y="4"/>
                    </a:lnTo>
                    <a:lnTo>
                      <a:pt x="10" y="6"/>
                    </a:lnTo>
                    <a:lnTo>
                      <a:pt x="10" y="8"/>
                    </a:lnTo>
                    <a:lnTo>
                      <a:pt x="8"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5" name="Freeform 1954"/>
              <p:cNvSpPr>
                <a:spLocks/>
              </p:cNvSpPr>
              <p:nvPr/>
            </p:nvSpPr>
            <p:spPr bwMode="auto">
              <a:xfrm>
                <a:off x="2524" y="3838"/>
                <a:ext cx="128" cy="132"/>
              </a:xfrm>
              <a:custGeom>
                <a:avLst/>
                <a:gdLst/>
                <a:ahLst/>
                <a:cxnLst>
                  <a:cxn ang="0">
                    <a:pos x="10" y="4"/>
                  </a:cxn>
                  <a:cxn ang="0">
                    <a:pos x="16" y="14"/>
                  </a:cxn>
                  <a:cxn ang="0">
                    <a:pos x="20" y="18"/>
                  </a:cxn>
                  <a:cxn ang="0">
                    <a:pos x="20" y="22"/>
                  </a:cxn>
                  <a:cxn ang="0">
                    <a:pos x="18" y="18"/>
                  </a:cxn>
                  <a:cxn ang="0">
                    <a:pos x="14" y="20"/>
                  </a:cxn>
                  <a:cxn ang="0">
                    <a:pos x="6" y="28"/>
                  </a:cxn>
                  <a:cxn ang="0">
                    <a:pos x="8" y="32"/>
                  </a:cxn>
                  <a:cxn ang="0">
                    <a:pos x="12" y="36"/>
                  </a:cxn>
                  <a:cxn ang="0">
                    <a:pos x="18" y="36"/>
                  </a:cxn>
                  <a:cxn ang="0">
                    <a:pos x="24" y="36"/>
                  </a:cxn>
                  <a:cxn ang="0">
                    <a:pos x="26" y="42"/>
                  </a:cxn>
                  <a:cxn ang="0">
                    <a:pos x="26" y="50"/>
                  </a:cxn>
                  <a:cxn ang="0">
                    <a:pos x="36" y="60"/>
                  </a:cxn>
                  <a:cxn ang="0">
                    <a:pos x="42" y="66"/>
                  </a:cxn>
                  <a:cxn ang="0">
                    <a:pos x="44" y="70"/>
                  </a:cxn>
                  <a:cxn ang="0">
                    <a:pos x="54" y="78"/>
                  </a:cxn>
                  <a:cxn ang="0">
                    <a:pos x="68" y="88"/>
                  </a:cxn>
                  <a:cxn ang="0">
                    <a:pos x="74" y="92"/>
                  </a:cxn>
                  <a:cxn ang="0">
                    <a:pos x="86" y="104"/>
                  </a:cxn>
                  <a:cxn ang="0">
                    <a:pos x="96" y="108"/>
                  </a:cxn>
                  <a:cxn ang="0">
                    <a:pos x="110" y="112"/>
                  </a:cxn>
                  <a:cxn ang="0">
                    <a:pos x="126" y="112"/>
                  </a:cxn>
                  <a:cxn ang="0">
                    <a:pos x="120" y="126"/>
                  </a:cxn>
                  <a:cxn ang="0">
                    <a:pos x="118" y="126"/>
                  </a:cxn>
                  <a:cxn ang="0">
                    <a:pos x="106" y="128"/>
                  </a:cxn>
                  <a:cxn ang="0">
                    <a:pos x="100" y="124"/>
                  </a:cxn>
                  <a:cxn ang="0">
                    <a:pos x="96" y="128"/>
                  </a:cxn>
                  <a:cxn ang="0">
                    <a:pos x="90" y="130"/>
                  </a:cxn>
                  <a:cxn ang="0">
                    <a:pos x="82" y="128"/>
                  </a:cxn>
                  <a:cxn ang="0">
                    <a:pos x="74" y="132"/>
                  </a:cxn>
                  <a:cxn ang="0">
                    <a:pos x="70" y="128"/>
                  </a:cxn>
                  <a:cxn ang="0">
                    <a:pos x="60" y="124"/>
                  </a:cxn>
                  <a:cxn ang="0">
                    <a:pos x="38" y="122"/>
                  </a:cxn>
                  <a:cxn ang="0">
                    <a:pos x="30" y="122"/>
                  </a:cxn>
                  <a:cxn ang="0">
                    <a:pos x="20" y="118"/>
                  </a:cxn>
                  <a:cxn ang="0">
                    <a:pos x="12" y="118"/>
                  </a:cxn>
                  <a:cxn ang="0">
                    <a:pos x="4" y="120"/>
                  </a:cxn>
                  <a:cxn ang="0">
                    <a:pos x="2" y="102"/>
                  </a:cxn>
                  <a:cxn ang="0">
                    <a:pos x="4" y="72"/>
                  </a:cxn>
                  <a:cxn ang="0">
                    <a:pos x="6" y="36"/>
                  </a:cxn>
                  <a:cxn ang="0">
                    <a:pos x="6" y="8"/>
                  </a:cxn>
                </a:cxnLst>
                <a:rect l="0" t="0" r="r" b="b"/>
                <a:pathLst>
                  <a:path w="128" h="132">
                    <a:moveTo>
                      <a:pt x="6" y="0"/>
                    </a:moveTo>
                    <a:lnTo>
                      <a:pt x="8" y="2"/>
                    </a:lnTo>
                    <a:lnTo>
                      <a:pt x="10" y="4"/>
                    </a:lnTo>
                    <a:lnTo>
                      <a:pt x="12" y="10"/>
                    </a:lnTo>
                    <a:lnTo>
                      <a:pt x="14" y="10"/>
                    </a:lnTo>
                    <a:lnTo>
                      <a:pt x="16" y="14"/>
                    </a:lnTo>
                    <a:lnTo>
                      <a:pt x="18" y="14"/>
                    </a:lnTo>
                    <a:lnTo>
                      <a:pt x="18" y="16"/>
                    </a:lnTo>
                    <a:lnTo>
                      <a:pt x="20" y="18"/>
                    </a:lnTo>
                    <a:lnTo>
                      <a:pt x="20" y="26"/>
                    </a:lnTo>
                    <a:lnTo>
                      <a:pt x="20" y="24"/>
                    </a:lnTo>
                    <a:lnTo>
                      <a:pt x="20" y="22"/>
                    </a:lnTo>
                    <a:lnTo>
                      <a:pt x="20" y="20"/>
                    </a:lnTo>
                    <a:lnTo>
                      <a:pt x="18" y="20"/>
                    </a:lnTo>
                    <a:lnTo>
                      <a:pt x="18" y="18"/>
                    </a:lnTo>
                    <a:lnTo>
                      <a:pt x="16" y="18"/>
                    </a:lnTo>
                    <a:lnTo>
                      <a:pt x="16" y="20"/>
                    </a:lnTo>
                    <a:lnTo>
                      <a:pt x="14" y="20"/>
                    </a:lnTo>
                    <a:lnTo>
                      <a:pt x="8" y="26"/>
                    </a:lnTo>
                    <a:lnTo>
                      <a:pt x="8" y="28"/>
                    </a:lnTo>
                    <a:lnTo>
                      <a:pt x="6" y="28"/>
                    </a:lnTo>
                    <a:lnTo>
                      <a:pt x="6" y="30"/>
                    </a:lnTo>
                    <a:lnTo>
                      <a:pt x="8" y="30"/>
                    </a:lnTo>
                    <a:lnTo>
                      <a:pt x="8" y="32"/>
                    </a:lnTo>
                    <a:lnTo>
                      <a:pt x="8" y="34"/>
                    </a:lnTo>
                    <a:lnTo>
                      <a:pt x="10" y="34"/>
                    </a:lnTo>
                    <a:lnTo>
                      <a:pt x="12" y="36"/>
                    </a:lnTo>
                    <a:lnTo>
                      <a:pt x="14" y="36"/>
                    </a:lnTo>
                    <a:lnTo>
                      <a:pt x="16" y="36"/>
                    </a:lnTo>
                    <a:lnTo>
                      <a:pt x="18" y="36"/>
                    </a:lnTo>
                    <a:lnTo>
                      <a:pt x="20" y="36"/>
                    </a:lnTo>
                    <a:lnTo>
                      <a:pt x="22" y="36"/>
                    </a:lnTo>
                    <a:lnTo>
                      <a:pt x="24" y="36"/>
                    </a:lnTo>
                    <a:lnTo>
                      <a:pt x="24" y="40"/>
                    </a:lnTo>
                    <a:lnTo>
                      <a:pt x="26" y="40"/>
                    </a:lnTo>
                    <a:lnTo>
                      <a:pt x="26" y="42"/>
                    </a:lnTo>
                    <a:lnTo>
                      <a:pt x="26" y="44"/>
                    </a:lnTo>
                    <a:lnTo>
                      <a:pt x="26" y="48"/>
                    </a:lnTo>
                    <a:lnTo>
                      <a:pt x="26" y="50"/>
                    </a:lnTo>
                    <a:lnTo>
                      <a:pt x="28" y="52"/>
                    </a:lnTo>
                    <a:lnTo>
                      <a:pt x="34" y="58"/>
                    </a:lnTo>
                    <a:lnTo>
                      <a:pt x="36" y="60"/>
                    </a:lnTo>
                    <a:lnTo>
                      <a:pt x="40" y="62"/>
                    </a:lnTo>
                    <a:lnTo>
                      <a:pt x="40" y="64"/>
                    </a:lnTo>
                    <a:lnTo>
                      <a:pt x="42" y="66"/>
                    </a:lnTo>
                    <a:lnTo>
                      <a:pt x="42" y="68"/>
                    </a:lnTo>
                    <a:lnTo>
                      <a:pt x="42" y="70"/>
                    </a:lnTo>
                    <a:lnTo>
                      <a:pt x="44" y="70"/>
                    </a:lnTo>
                    <a:lnTo>
                      <a:pt x="44" y="72"/>
                    </a:lnTo>
                    <a:lnTo>
                      <a:pt x="50" y="76"/>
                    </a:lnTo>
                    <a:lnTo>
                      <a:pt x="54" y="78"/>
                    </a:lnTo>
                    <a:lnTo>
                      <a:pt x="62" y="86"/>
                    </a:lnTo>
                    <a:lnTo>
                      <a:pt x="66" y="88"/>
                    </a:lnTo>
                    <a:lnTo>
                      <a:pt x="68" y="88"/>
                    </a:lnTo>
                    <a:lnTo>
                      <a:pt x="72" y="90"/>
                    </a:lnTo>
                    <a:lnTo>
                      <a:pt x="74" y="90"/>
                    </a:lnTo>
                    <a:lnTo>
                      <a:pt x="74" y="92"/>
                    </a:lnTo>
                    <a:lnTo>
                      <a:pt x="78" y="96"/>
                    </a:lnTo>
                    <a:lnTo>
                      <a:pt x="78" y="98"/>
                    </a:lnTo>
                    <a:lnTo>
                      <a:pt x="86" y="104"/>
                    </a:lnTo>
                    <a:lnTo>
                      <a:pt x="88" y="104"/>
                    </a:lnTo>
                    <a:lnTo>
                      <a:pt x="90" y="106"/>
                    </a:lnTo>
                    <a:lnTo>
                      <a:pt x="96" y="108"/>
                    </a:lnTo>
                    <a:lnTo>
                      <a:pt x="104" y="112"/>
                    </a:lnTo>
                    <a:lnTo>
                      <a:pt x="108" y="112"/>
                    </a:lnTo>
                    <a:lnTo>
                      <a:pt x="110" y="112"/>
                    </a:lnTo>
                    <a:lnTo>
                      <a:pt x="118" y="112"/>
                    </a:lnTo>
                    <a:lnTo>
                      <a:pt x="122" y="112"/>
                    </a:lnTo>
                    <a:lnTo>
                      <a:pt x="126" y="112"/>
                    </a:lnTo>
                    <a:lnTo>
                      <a:pt x="128" y="112"/>
                    </a:lnTo>
                    <a:lnTo>
                      <a:pt x="124" y="122"/>
                    </a:lnTo>
                    <a:lnTo>
                      <a:pt x="120" y="126"/>
                    </a:lnTo>
                    <a:lnTo>
                      <a:pt x="120" y="128"/>
                    </a:lnTo>
                    <a:lnTo>
                      <a:pt x="118" y="128"/>
                    </a:lnTo>
                    <a:lnTo>
                      <a:pt x="118" y="126"/>
                    </a:lnTo>
                    <a:lnTo>
                      <a:pt x="116" y="126"/>
                    </a:lnTo>
                    <a:lnTo>
                      <a:pt x="110" y="128"/>
                    </a:lnTo>
                    <a:lnTo>
                      <a:pt x="106" y="128"/>
                    </a:lnTo>
                    <a:lnTo>
                      <a:pt x="106" y="126"/>
                    </a:lnTo>
                    <a:lnTo>
                      <a:pt x="104" y="126"/>
                    </a:lnTo>
                    <a:lnTo>
                      <a:pt x="100" y="124"/>
                    </a:lnTo>
                    <a:lnTo>
                      <a:pt x="98" y="126"/>
                    </a:lnTo>
                    <a:lnTo>
                      <a:pt x="98" y="128"/>
                    </a:lnTo>
                    <a:lnTo>
                      <a:pt x="96" y="128"/>
                    </a:lnTo>
                    <a:lnTo>
                      <a:pt x="92" y="128"/>
                    </a:lnTo>
                    <a:lnTo>
                      <a:pt x="90" y="128"/>
                    </a:lnTo>
                    <a:lnTo>
                      <a:pt x="90" y="130"/>
                    </a:lnTo>
                    <a:lnTo>
                      <a:pt x="86" y="128"/>
                    </a:lnTo>
                    <a:lnTo>
                      <a:pt x="84" y="128"/>
                    </a:lnTo>
                    <a:lnTo>
                      <a:pt x="82" y="128"/>
                    </a:lnTo>
                    <a:lnTo>
                      <a:pt x="80" y="132"/>
                    </a:lnTo>
                    <a:lnTo>
                      <a:pt x="76" y="132"/>
                    </a:lnTo>
                    <a:lnTo>
                      <a:pt x="74" y="132"/>
                    </a:lnTo>
                    <a:lnTo>
                      <a:pt x="72" y="130"/>
                    </a:lnTo>
                    <a:lnTo>
                      <a:pt x="70" y="130"/>
                    </a:lnTo>
                    <a:lnTo>
                      <a:pt x="70" y="128"/>
                    </a:lnTo>
                    <a:lnTo>
                      <a:pt x="68" y="128"/>
                    </a:lnTo>
                    <a:lnTo>
                      <a:pt x="66" y="126"/>
                    </a:lnTo>
                    <a:lnTo>
                      <a:pt x="60" y="124"/>
                    </a:lnTo>
                    <a:lnTo>
                      <a:pt x="54" y="124"/>
                    </a:lnTo>
                    <a:lnTo>
                      <a:pt x="42" y="122"/>
                    </a:lnTo>
                    <a:lnTo>
                      <a:pt x="38" y="122"/>
                    </a:lnTo>
                    <a:lnTo>
                      <a:pt x="36" y="122"/>
                    </a:lnTo>
                    <a:lnTo>
                      <a:pt x="34" y="122"/>
                    </a:lnTo>
                    <a:lnTo>
                      <a:pt x="30" y="122"/>
                    </a:lnTo>
                    <a:lnTo>
                      <a:pt x="24" y="120"/>
                    </a:lnTo>
                    <a:lnTo>
                      <a:pt x="22" y="120"/>
                    </a:lnTo>
                    <a:lnTo>
                      <a:pt x="20" y="118"/>
                    </a:lnTo>
                    <a:lnTo>
                      <a:pt x="18" y="118"/>
                    </a:lnTo>
                    <a:lnTo>
                      <a:pt x="14" y="118"/>
                    </a:lnTo>
                    <a:lnTo>
                      <a:pt x="12" y="118"/>
                    </a:lnTo>
                    <a:lnTo>
                      <a:pt x="12" y="120"/>
                    </a:lnTo>
                    <a:lnTo>
                      <a:pt x="6" y="120"/>
                    </a:lnTo>
                    <a:lnTo>
                      <a:pt x="4" y="120"/>
                    </a:lnTo>
                    <a:lnTo>
                      <a:pt x="2" y="118"/>
                    </a:lnTo>
                    <a:lnTo>
                      <a:pt x="0" y="116"/>
                    </a:lnTo>
                    <a:lnTo>
                      <a:pt x="2" y="102"/>
                    </a:lnTo>
                    <a:lnTo>
                      <a:pt x="2" y="92"/>
                    </a:lnTo>
                    <a:lnTo>
                      <a:pt x="2" y="90"/>
                    </a:lnTo>
                    <a:lnTo>
                      <a:pt x="4" y="72"/>
                    </a:lnTo>
                    <a:lnTo>
                      <a:pt x="4" y="64"/>
                    </a:lnTo>
                    <a:lnTo>
                      <a:pt x="4" y="46"/>
                    </a:lnTo>
                    <a:lnTo>
                      <a:pt x="6" y="36"/>
                    </a:lnTo>
                    <a:lnTo>
                      <a:pt x="6" y="34"/>
                    </a:lnTo>
                    <a:lnTo>
                      <a:pt x="6" y="26"/>
                    </a:lnTo>
                    <a:lnTo>
                      <a:pt x="6" y="8"/>
                    </a:lnTo>
                    <a:lnTo>
                      <a:pt x="6" y="4"/>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6" name="Freeform 1955"/>
              <p:cNvSpPr>
                <a:spLocks/>
              </p:cNvSpPr>
              <p:nvPr/>
            </p:nvSpPr>
            <p:spPr bwMode="auto">
              <a:xfrm>
                <a:off x="2666" y="3956"/>
                <a:ext cx="34" cy="10"/>
              </a:xfrm>
              <a:custGeom>
                <a:avLst/>
                <a:gdLst/>
                <a:ahLst/>
                <a:cxnLst>
                  <a:cxn ang="0">
                    <a:pos x="2" y="10"/>
                  </a:cxn>
                  <a:cxn ang="0">
                    <a:pos x="2" y="8"/>
                  </a:cxn>
                  <a:cxn ang="0">
                    <a:pos x="2" y="6"/>
                  </a:cxn>
                  <a:cxn ang="0">
                    <a:pos x="0" y="6"/>
                  </a:cxn>
                  <a:cxn ang="0">
                    <a:pos x="0" y="4"/>
                  </a:cxn>
                  <a:cxn ang="0">
                    <a:pos x="2" y="2"/>
                  </a:cxn>
                  <a:cxn ang="0">
                    <a:pos x="4" y="2"/>
                  </a:cxn>
                  <a:cxn ang="0">
                    <a:pos x="6" y="4"/>
                  </a:cxn>
                  <a:cxn ang="0">
                    <a:pos x="10" y="4"/>
                  </a:cxn>
                  <a:cxn ang="0">
                    <a:pos x="14" y="2"/>
                  </a:cxn>
                  <a:cxn ang="0">
                    <a:pos x="16" y="0"/>
                  </a:cxn>
                  <a:cxn ang="0">
                    <a:pos x="22" y="2"/>
                  </a:cxn>
                  <a:cxn ang="0">
                    <a:pos x="28" y="2"/>
                  </a:cxn>
                  <a:cxn ang="0">
                    <a:pos x="30" y="0"/>
                  </a:cxn>
                  <a:cxn ang="0">
                    <a:pos x="32" y="0"/>
                  </a:cxn>
                  <a:cxn ang="0">
                    <a:pos x="34" y="0"/>
                  </a:cxn>
                  <a:cxn ang="0">
                    <a:pos x="34" y="2"/>
                  </a:cxn>
                  <a:cxn ang="0">
                    <a:pos x="32" y="4"/>
                  </a:cxn>
                  <a:cxn ang="0">
                    <a:pos x="30" y="6"/>
                  </a:cxn>
                  <a:cxn ang="0">
                    <a:pos x="28" y="4"/>
                  </a:cxn>
                  <a:cxn ang="0">
                    <a:pos x="26" y="4"/>
                  </a:cxn>
                  <a:cxn ang="0">
                    <a:pos x="22" y="6"/>
                  </a:cxn>
                  <a:cxn ang="0">
                    <a:pos x="18" y="6"/>
                  </a:cxn>
                  <a:cxn ang="0">
                    <a:pos x="18" y="4"/>
                  </a:cxn>
                  <a:cxn ang="0">
                    <a:pos x="16" y="4"/>
                  </a:cxn>
                  <a:cxn ang="0">
                    <a:pos x="14" y="4"/>
                  </a:cxn>
                  <a:cxn ang="0">
                    <a:pos x="12" y="6"/>
                  </a:cxn>
                  <a:cxn ang="0">
                    <a:pos x="10" y="6"/>
                  </a:cxn>
                  <a:cxn ang="0">
                    <a:pos x="6" y="8"/>
                  </a:cxn>
                  <a:cxn ang="0">
                    <a:pos x="4" y="10"/>
                  </a:cxn>
                  <a:cxn ang="0">
                    <a:pos x="2" y="10"/>
                  </a:cxn>
                </a:cxnLst>
                <a:rect l="0" t="0" r="r" b="b"/>
                <a:pathLst>
                  <a:path w="34" h="10">
                    <a:moveTo>
                      <a:pt x="2" y="10"/>
                    </a:moveTo>
                    <a:lnTo>
                      <a:pt x="2" y="8"/>
                    </a:lnTo>
                    <a:lnTo>
                      <a:pt x="2" y="6"/>
                    </a:lnTo>
                    <a:lnTo>
                      <a:pt x="0" y="6"/>
                    </a:lnTo>
                    <a:lnTo>
                      <a:pt x="0" y="4"/>
                    </a:lnTo>
                    <a:lnTo>
                      <a:pt x="2" y="2"/>
                    </a:lnTo>
                    <a:lnTo>
                      <a:pt x="4" y="2"/>
                    </a:lnTo>
                    <a:lnTo>
                      <a:pt x="6" y="4"/>
                    </a:lnTo>
                    <a:lnTo>
                      <a:pt x="10" y="4"/>
                    </a:lnTo>
                    <a:lnTo>
                      <a:pt x="14" y="2"/>
                    </a:lnTo>
                    <a:lnTo>
                      <a:pt x="16" y="0"/>
                    </a:lnTo>
                    <a:lnTo>
                      <a:pt x="22" y="2"/>
                    </a:lnTo>
                    <a:lnTo>
                      <a:pt x="28" y="2"/>
                    </a:lnTo>
                    <a:lnTo>
                      <a:pt x="30" y="0"/>
                    </a:lnTo>
                    <a:lnTo>
                      <a:pt x="32" y="0"/>
                    </a:lnTo>
                    <a:lnTo>
                      <a:pt x="34" y="0"/>
                    </a:lnTo>
                    <a:lnTo>
                      <a:pt x="34" y="2"/>
                    </a:lnTo>
                    <a:lnTo>
                      <a:pt x="32" y="4"/>
                    </a:lnTo>
                    <a:lnTo>
                      <a:pt x="30" y="6"/>
                    </a:lnTo>
                    <a:lnTo>
                      <a:pt x="28" y="4"/>
                    </a:lnTo>
                    <a:lnTo>
                      <a:pt x="26" y="4"/>
                    </a:lnTo>
                    <a:lnTo>
                      <a:pt x="22" y="6"/>
                    </a:lnTo>
                    <a:lnTo>
                      <a:pt x="18" y="6"/>
                    </a:lnTo>
                    <a:lnTo>
                      <a:pt x="18" y="4"/>
                    </a:lnTo>
                    <a:lnTo>
                      <a:pt x="16" y="4"/>
                    </a:lnTo>
                    <a:lnTo>
                      <a:pt x="14" y="4"/>
                    </a:lnTo>
                    <a:lnTo>
                      <a:pt x="12" y="6"/>
                    </a:lnTo>
                    <a:lnTo>
                      <a:pt x="10" y="6"/>
                    </a:lnTo>
                    <a:lnTo>
                      <a:pt x="6" y="8"/>
                    </a:lnTo>
                    <a:lnTo>
                      <a:pt x="4" y="10"/>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7" name="Freeform 2075"/>
              <p:cNvSpPr>
                <a:spLocks/>
              </p:cNvSpPr>
              <p:nvPr/>
            </p:nvSpPr>
            <p:spPr bwMode="auto">
              <a:xfrm>
                <a:off x="2596" y="3976"/>
                <a:ext cx="8" cy="8"/>
              </a:xfrm>
              <a:custGeom>
                <a:avLst/>
                <a:gdLst/>
                <a:ahLst/>
                <a:cxnLst>
                  <a:cxn ang="0">
                    <a:pos x="2" y="8"/>
                  </a:cxn>
                  <a:cxn ang="0">
                    <a:pos x="0" y="6"/>
                  </a:cxn>
                  <a:cxn ang="0">
                    <a:pos x="0" y="4"/>
                  </a:cxn>
                  <a:cxn ang="0">
                    <a:pos x="0" y="2"/>
                  </a:cxn>
                  <a:cxn ang="0">
                    <a:pos x="4" y="0"/>
                  </a:cxn>
                  <a:cxn ang="0">
                    <a:pos x="6" y="0"/>
                  </a:cxn>
                  <a:cxn ang="0">
                    <a:pos x="8" y="2"/>
                  </a:cxn>
                  <a:cxn ang="0">
                    <a:pos x="4" y="6"/>
                  </a:cxn>
                  <a:cxn ang="0">
                    <a:pos x="2" y="8"/>
                  </a:cxn>
                </a:cxnLst>
                <a:rect l="0" t="0" r="r" b="b"/>
                <a:pathLst>
                  <a:path w="8" h="8">
                    <a:moveTo>
                      <a:pt x="2" y="8"/>
                    </a:moveTo>
                    <a:lnTo>
                      <a:pt x="0" y="6"/>
                    </a:lnTo>
                    <a:lnTo>
                      <a:pt x="0" y="4"/>
                    </a:lnTo>
                    <a:lnTo>
                      <a:pt x="0" y="2"/>
                    </a:lnTo>
                    <a:lnTo>
                      <a:pt x="4" y="0"/>
                    </a:lnTo>
                    <a:lnTo>
                      <a:pt x="6" y="0"/>
                    </a:lnTo>
                    <a:lnTo>
                      <a:pt x="8" y="2"/>
                    </a:lnTo>
                    <a:lnTo>
                      <a:pt x="4" y="6"/>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grpSp>
        <p:grpSp>
          <p:nvGrpSpPr>
            <p:cNvPr id="726" name="Group 2134"/>
            <p:cNvGrpSpPr>
              <a:grpSpLocks/>
            </p:cNvGrpSpPr>
            <p:nvPr/>
          </p:nvGrpSpPr>
          <p:grpSpPr bwMode="auto">
            <a:xfrm>
              <a:off x="3503509" y="3667506"/>
              <a:ext cx="552693" cy="2766121"/>
              <a:chOff x="2250" y="1934"/>
              <a:chExt cx="416" cy="2082"/>
            </a:xfrm>
            <a:solidFill>
              <a:srgbClr val="646464"/>
            </a:solidFill>
          </p:grpSpPr>
          <p:sp>
            <p:nvSpPr>
              <p:cNvPr id="775" name="Freeform 1963"/>
              <p:cNvSpPr>
                <a:spLocks/>
              </p:cNvSpPr>
              <p:nvPr/>
            </p:nvSpPr>
            <p:spPr bwMode="auto">
              <a:xfrm>
                <a:off x="2250" y="1934"/>
                <a:ext cx="416" cy="1970"/>
              </a:xfrm>
              <a:custGeom>
                <a:avLst/>
                <a:gdLst/>
                <a:ahLst/>
                <a:cxnLst>
                  <a:cxn ang="0">
                    <a:pos x="136" y="1946"/>
                  </a:cxn>
                  <a:cxn ang="0">
                    <a:pos x="172" y="1928"/>
                  </a:cxn>
                  <a:cxn ang="0">
                    <a:pos x="130" y="1940"/>
                  </a:cxn>
                  <a:cxn ang="0">
                    <a:pos x="116" y="1926"/>
                  </a:cxn>
                  <a:cxn ang="0">
                    <a:pos x="134" y="1896"/>
                  </a:cxn>
                  <a:cxn ang="0">
                    <a:pos x="104" y="1908"/>
                  </a:cxn>
                  <a:cxn ang="0">
                    <a:pos x="86" y="1870"/>
                  </a:cxn>
                  <a:cxn ang="0">
                    <a:pos x="130" y="1874"/>
                  </a:cxn>
                  <a:cxn ang="0">
                    <a:pos x="108" y="1840"/>
                  </a:cxn>
                  <a:cxn ang="0">
                    <a:pos x="106" y="1872"/>
                  </a:cxn>
                  <a:cxn ang="0">
                    <a:pos x="78" y="1834"/>
                  </a:cxn>
                  <a:cxn ang="0">
                    <a:pos x="92" y="1796"/>
                  </a:cxn>
                  <a:cxn ang="0">
                    <a:pos x="48" y="1768"/>
                  </a:cxn>
                  <a:cxn ang="0">
                    <a:pos x="72" y="1744"/>
                  </a:cxn>
                  <a:cxn ang="0">
                    <a:pos x="74" y="1718"/>
                  </a:cxn>
                  <a:cxn ang="0">
                    <a:pos x="70" y="1690"/>
                  </a:cxn>
                  <a:cxn ang="0">
                    <a:pos x="60" y="1662"/>
                  </a:cxn>
                  <a:cxn ang="0">
                    <a:pos x="90" y="1648"/>
                  </a:cxn>
                  <a:cxn ang="0">
                    <a:pos x="42" y="1638"/>
                  </a:cxn>
                  <a:cxn ang="0">
                    <a:pos x="66" y="1612"/>
                  </a:cxn>
                  <a:cxn ang="0">
                    <a:pos x="14" y="1578"/>
                  </a:cxn>
                  <a:cxn ang="0">
                    <a:pos x="30" y="1554"/>
                  </a:cxn>
                  <a:cxn ang="0">
                    <a:pos x="56" y="1556"/>
                  </a:cxn>
                  <a:cxn ang="0">
                    <a:pos x="94" y="1546"/>
                  </a:cxn>
                  <a:cxn ang="0">
                    <a:pos x="100" y="1506"/>
                  </a:cxn>
                  <a:cxn ang="0">
                    <a:pos x="102" y="1486"/>
                  </a:cxn>
                  <a:cxn ang="0">
                    <a:pos x="110" y="1412"/>
                  </a:cxn>
                  <a:cxn ang="0">
                    <a:pos x="120" y="1340"/>
                  </a:cxn>
                  <a:cxn ang="0">
                    <a:pos x="128" y="1310"/>
                  </a:cxn>
                  <a:cxn ang="0">
                    <a:pos x="74" y="1298"/>
                  </a:cxn>
                  <a:cxn ang="0">
                    <a:pos x="100" y="1182"/>
                  </a:cxn>
                  <a:cxn ang="0">
                    <a:pos x="92" y="1068"/>
                  </a:cxn>
                  <a:cxn ang="0">
                    <a:pos x="138" y="960"/>
                  </a:cxn>
                  <a:cxn ang="0">
                    <a:pos x="174" y="870"/>
                  </a:cxn>
                  <a:cxn ang="0">
                    <a:pos x="174" y="724"/>
                  </a:cxn>
                  <a:cxn ang="0">
                    <a:pos x="194" y="604"/>
                  </a:cxn>
                  <a:cxn ang="0">
                    <a:pos x="226" y="468"/>
                  </a:cxn>
                  <a:cxn ang="0">
                    <a:pos x="238" y="338"/>
                  </a:cxn>
                  <a:cxn ang="0">
                    <a:pos x="252" y="246"/>
                  </a:cxn>
                  <a:cxn ang="0">
                    <a:pos x="250" y="98"/>
                  </a:cxn>
                  <a:cxn ang="0">
                    <a:pos x="282" y="8"/>
                  </a:cxn>
                  <a:cxn ang="0">
                    <a:pos x="322" y="84"/>
                  </a:cxn>
                  <a:cxn ang="0">
                    <a:pos x="342" y="170"/>
                  </a:cxn>
                  <a:cxn ang="0">
                    <a:pos x="398" y="290"/>
                  </a:cxn>
                  <a:cxn ang="0">
                    <a:pos x="332" y="426"/>
                  </a:cxn>
                  <a:cxn ang="0">
                    <a:pos x="322" y="520"/>
                  </a:cxn>
                  <a:cxn ang="0">
                    <a:pos x="268" y="628"/>
                  </a:cxn>
                  <a:cxn ang="0">
                    <a:pos x="238" y="736"/>
                  </a:cxn>
                  <a:cxn ang="0">
                    <a:pos x="250" y="846"/>
                  </a:cxn>
                  <a:cxn ang="0">
                    <a:pos x="226" y="958"/>
                  </a:cxn>
                  <a:cxn ang="0">
                    <a:pos x="196" y="1068"/>
                  </a:cxn>
                  <a:cxn ang="0">
                    <a:pos x="186" y="1158"/>
                  </a:cxn>
                  <a:cxn ang="0">
                    <a:pos x="164" y="1248"/>
                  </a:cxn>
                  <a:cxn ang="0">
                    <a:pos x="156" y="1332"/>
                  </a:cxn>
                  <a:cxn ang="0">
                    <a:pos x="164" y="1420"/>
                  </a:cxn>
                  <a:cxn ang="0">
                    <a:pos x="176" y="1474"/>
                  </a:cxn>
                  <a:cxn ang="0">
                    <a:pos x="166" y="1546"/>
                  </a:cxn>
                  <a:cxn ang="0">
                    <a:pos x="140" y="1628"/>
                  </a:cxn>
                  <a:cxn ang="0">
                    <a:pos x="114" y="1702"/>
                  </a:cxn>
                  <a:cxn ang="0">
                    <a:pos x="112" y="1800"/>
                  </a:cxn>
                  <a:cxn ang="0">
                    <a:pos x="142" y="1852"/>
                  </a:cxn>
                  <a:cxn ang="0">
                    <a:pos x="270" y="1884"/>
                  </a:cxn>
                </a:cxnLst>
                <a:rect l="0" t="0" r="r" b="b"/>
                <a:pathLst>
                  <a:path w="416" h="1970">
                    <a:moveTo>
                      <a:pt x="196" y="1916"/>
                    </a:moveTo>
                    <a:lnTo>
                      <a:pt x="198" y="1918"/>
                    </a:lnTo>
                    <a:lnTo>
                      <a:pt x="198" y="1922"/>
                    </a:lnTo>
                    <a:lnTo>
                      <a:pt x="194" y="1928"/>
                    </a:lnTo>
                    <a:lnTo>
                      <a:pt x="194" y="1930"/>
                    </a:lnTo>
                    <a:lnTo>
                      <a:pt x="192" y="1930"/>
                    </a:lnTo>
                    <a:lnTo>
                      <a:pt x="192" y="1932"/>
                    </a:lnTo>
                    <a:lnTo>
                      <a:pt x="192" y="1934"/>
                    </a:lnTo>
                    <a:lnTo>
                      <a:pt x="190" y="1942"/>
                    </a:lnTo>
                    <a:lnTo>
                      <a:pt x="190" y="1944"/>
                    </a:lnTo>
                    <a:lnTo>
                      <a:pt x="190" y="1946"/>
                    </a:lnTo>
                    <a:lnTo>
                      <a:pt x="190" y="1948"/>
                    </a:lnTo>
                    <a:lnTo>
                      <a:pt x="192" y="1950"/>
                    </a:lnTo>
                    <a:lnTo>
                      <a:pt x="192" y="1952"/>
                    </a:lnTo>
                    <a:lnTo>
                      <a:pt x="192" y="1954"/>
                    </a:lnTo>
                    <a:lnTo>
                      <a:pt x="192" y="1956"/>
                    </a:lnTo>
                    <a:lnTo>
                      <a:pt x="190" y="1962"/>
                    </a:lnTo>
                    <a:lnTo>
                      <a:pt x="188" y="1964"/>
                    </a:lnTo>
                    <a:lnTo>
                      <a:pt x="188" y="1966"/>
                    </a:lnTo>
                    <a:lnTo>
                      <a:pt x="180" y="1970"/>
                    </a:lnTo>
                    <a:lnTo>
                      <a:pt x="178" y="1970"/>
                    </a:lnTo>
                    <a:lnTo>
                      <a:pt x="172" y="1966"/>
                    </a:lnTo>
                    <a:lnTo>
                      <a:pt x="170" y="1966"/>
                    </a:lnTo>
                    <a:lnTo>
                      <a:pt x="168" y="1966"/>
                    </a:lnTo>
                    <a:lnTo>
                      <a:pt x="166" y="1966"/>
                    </a:lnTo>
                    <a:lnTo>
                      <a:pt x="164" y="1966"/>
                    </a:lnTo>
                    <a:lnTo>
                      <a:pt x="158" y="1962"/>
                    </a:lnTo>
                    <a:lnTo>
                      <a:pt x="154" y="1960"/>
                    </a:lnTo>
                    <a:lnTo>
                      <a:pt x="150" y="1960"/>
                    </a:lnTo>
                    <a:lnTo>
                      <a:pt x="148" y="1958"/>
                    </a:lnTo>
                    <a:lnTo>
                      <a:pt x="142" y="1954"/>
                    </a:lnTo>
                    <a:lnTo>
                      <a:pt x="138" y="1950"/>
                    </a:lnTo>
                    <a:lnTo>
                      <a:pt x="138" y="1948"/>
                    </a:lnTo>
                    <a:lnTo>
                      <a:pt x="136" y="1946"/>
                    </a:lnTo>
                    <a:lnTo>
                      <a:pt x="134" y="1942"/>
                    </a:lnTo>
                    <a:lnTo>
                      <a:pt x="136" y="1940"/>
                    </a:lnTo>
                    <a:lnTo>
                      <a:pt x="142" y="1934"/>
                    </a:lnTo>
                    <a:lnTo>
                      <a:pt x="148" y="1936"/>
                    </a:lnTo>
                    <a:lnTo>
                      <a:pt x="150" y="1938"/>
                    </a:lnTo>
                    <a:lnTo>
                      <a:pt x="150" y="1940"/>
                    </a:lnTo>
                    <a:lnTo>
                      <a:pt x="150" y="1942"/>
                    </a:lnTo>
                    <a:lnTo>
                      <a:pt x="146" y="1944"/>
                    </a:lnTo>
                    <a:lnTo>
                      <a:pt x="144" y="1944"/>
                    </a:lnTo>
                    <a:lnTo>
                      <a:pt x="146" y="1946"/>
                    </a:lnTo>
                    <a:lnTo>
                      <a:pt x="148" y="1944"/>
                    </a:lnTo>
                    <a:lnTo>
                      <a:pt x="150" y="1944"/>
                    </a:lnTo>
                    <a:lnTo>
                      <a:pt x="152" y="1942"/>
                    </a:lnTo>
                    <a:lnTo>
                      <a:pt x="152" y="1940"/>
                    </a:lnTo>
                    <a:lnTo>
                      <a:pt x="152" y="1938"/>
                    </a:lnTo>
                    <a:lnTo>
                      <a:pt x="152" y="1936"/>
                    </a:lnTo>
                    <a:lnTo>
                      <a:pt x="152" y="1934"/>
                    </a:lnTo>
                    <a:lnTo>
                      <a:pt x="158" y="1934"/>
                    </a:lnTo>
                    <a:lnTo>
                      <a:pt x="160" y="1944"/>
                    </a:lnTo>
                    <a:lnTo>
                      <a:pt x="160" y="1946"/>
                    </a:lnTo>
                    <a:lnTo>
                      <a:pt x="158" y="1946"/>
                    </a:lnTo>
                    <a:lnTo>
                      <a:pt x="158" y="1948"/>
                    </a:lnTo>
                    <a:lnTo>
                      <a:pt x="154" y="1950"/>
                    </a:lnTo>
                    <a:lnTo>
                      <a:pt x="152" y="1950"/>
                    </a:lnTo>
                    <a:lnTo>
                      <a:pt x="152" y="1952"/>
                    </a:lnTo>
                    <a:lnTo>
                      <a:pt x="154" y="1952"/>
                    </a:lnTo>
                    <a:lnTo>
                      <a:pt x="158" y="1950"/>
                    </a:lnTo>
                    <a:lnTo>
                      <a:pt x="160" y="1950"/>
                    </a:lnTo>
                    <a:lnTo>
                      <a:pt x="162" y="1946"/>
                    </a:lnTo>
                    <a:lnTo>
                      <a:pt x="162" y="1942"/>
                    </a:lnTo>
                    <a:lnTo>
                      <a:pt x="160" y="1940"/>
                    </a:lnTo>
                    <a:lnTo>
                      <a:pt x="160" y="1938"/>
                    </a:lnTo>
                    <a:lnTo>
                      <a:pt x="162" y="1934"/>
                    </a:lnTo>
                    <a:lnTo>
                      <a:pt x="172" y="1928"/>
                    </a:lnTo>
                    <a:lnTo>
                      <a:pt x="174" y="1928"/>
                    </a:lnTo>
                    <a:lnTo>
                      <a:pt x="176" y="1928"/>
                    </a:lnTo>
                    <a:lnTo>
                      <a:pt x="178" y="1926"/>
                    </a:lnTo>
                    <a:lnTo>
                      <a:pt x="186" y="1916"/>
                    </a:lnTo>
                    <a:lnTo>
                      <a:pt x="186" y="1914"/>
                    </a:lnTo>
                    <a:lnTo>
                      <a:pt x="184" y="1912"/>
                    </a:lnTo>
                    <a:lnTo>
                      <a:pt x="180" y="1910"/>
                    </a:lnTo>
                    <a:lnTo>
                      <a:pt x="176" y="1910"/>
                    </a:lnTo>
                    <a:lnTo>
                      <a:pt x="168" y="1914"/>
                    </a:lnTo>
                    <a:lnTo>
                      <a:pt x="160" y="1920"/>
                    </a:lnTo>
                    <a:lnTo>
                      <a:pt x="156" y="1922"/>
                    </a:lnTo>
                    <a:lnTo>
                      <a:pt x="152" y="1928"/>
                    </a:lnTo>
                    <a:lnTo>
                      <a:pt x="150" y="1928"/>
                    </a:lnTo>
                    <a:lnTo>
                      <a:pt x="148" y="1928"/>
                    </a:lnTo>
                    <a:lnTo>
                      <a:pt x="146" y="1926"/>
                    </a:lnTo>
                    <a:lnTo>
                      <a:pt x="144" y="1924"/>
                    </a:lnTo>
                    <a:lnTo>
                      <a:pt x="140" y="1922"/>
                    </a:lnTo>
                    <a:lnTo>
                      <a:pt x="134" y="1924"/>
                    </a:lnTo>
                    <a:lnTo>
                      <a:pt x="132" y="1926"/>
                    </a:lnTo>
                    <a:lnTo>
                      <a:pt x="134" y="1926"/>
                    </a:lnTo>
                    <a:lnTo>
                      <a:pt x="138" y="1926"/>
                    </a:lnTo>
                    <a:lnTo>
                      <a:pt x="144" y="1930"/>
                    </a:lnTo>
                    <a:lnTo>
                      <a:pt x="146" y="1932"/>
                    </a:lnTo>
                    <a:lnTo>
                      <a:pt x="144" y="1932"/>
                    </a:lnTo>
                    <a:lnTo>
                      <a:pt x="140" y="1934"/>
                    </a:lnTo>
                    <a:lnTo>
                      <a:pt x="138" y="1934"/>
                    </a:lnTo>
                    <a:lnTo>
                      <a:pt x="136" y="1932"/>
                    </a:lnTo>
                    <a:lnTo>
                      <a:pt x="134" y="1932"/>
                    </a:lnTo>
                    <a:lnTo>
                      <a:pt x="132" y="1932"/>
                    </a:lnTo>
                    <a:lnTo>
                      <a:pt x="134" y="1934"/>
                    </a:lnTo>
                    <a:lnTo>
                      <a:pt x="136" y="1936"/>
                    </a:lnTo>
                    <a:lnTo>
                      <a:pt x="134" y="1940"/>
                    </a:lnTo>
                    <a:lnTo>
                      <a:pt x="132" y="1942"/>
                    </a:lnTo>
                    <a:lnTo>
                      <a:pt x="130" y="1940"/>
                    </a:lnTo>
                    <a:lnTo>
                      <a:pt x="128" y="1940"/>
                    </a:lnTo>
                    <a:lnTo>
                      <a:pt x="132" y="1944"/>
                    </a:lnTo>
                    <a:lnTo>
                      <a:pt x="134" y="1942"/>
                    </a:lnTo>
                    <a:lnTo>
                      <a:pt x="138" y="1948"/>
                    </a:lnTo>
                    <a:lnTo>
                      <a:pt x="138" y="1950"/>
                    </a:lnTo>
                    <a:lnTo>
                      <a:pt x="136" y="1950"/>
                    </a:lnTo>
                    <a:lnTo>
                      <a:pt x="134" y="1952"/>
                    </a:lnTo>
                    <a:lnTo>
                      <a:pt x="132" y="1950"/>
                    </a:lnTo>
                    <a:lnTo>
                      <a:pt x="124" y="1944"/>
                    </a:lnTo>
                    <a:lnTo>
                      <a:pt x="120" y="1942"/>
                    </a:lnTo>
                    <a:lnTo>
                      <a:pt x="116" y="1940"/>
                    </a:lnTo>
                    <a:lnTo>
                      <a:pt x="112" y="1938"/>
                    </a:lnTo>
                    <a:lnTo>
                      <a:pt x="112" y="1936"/>
                    </a:lnTo>
                    <a:lnTo>
                      <a:pt x="110" y="1936"/>
                    </a:lnTo>
                    <a:lnTo>
                      <a:pt x="106" y="1934"/>
                    </a:lnTo>
                    <a:lnTo>
                      <a:pt x="104" y="1930"/>
                    </a:lnTo>
                    <a:lnTo>
                      <a:pt x="112" y="1930"/>
                    </a:lnTo>
                    <a:lnTo>
                      <a:pt x="114" y="1930"/>
                    </a:lnTo>
                    <a:lnTo>
                      <a:pt x="116" y="1930"/>
                    </a:lnTo>
                    <a:lnTo>
                      <a:pt x="120" y="1932"/>
                    </a:lnTo>
                    <a:lnTo>
                      <a:pt x="124" y="1938"/>
                    </a:lnTo>
                    <a:lnTo>
                      <a:pt x="126" y="1938"/>
                    </a:lnTo>
                    <a:lnTo>
                      <a:pt x="126" y="1934"/>
                    </a:lnTo>
                    <a:lnTo>
                      <a:pt x="124" y="1932"/>
                    </a:lnTo>
                    <a:lnTo>
                      <a:pt x="122" y="1932"/>
                    </a:lnTo>
                    <a:lnTo>
                      <a:pt x="124" y="1930"/>
                    </a:lnTo>
                    <a:lnTo>
                      <a:pt x="126" y="1930"/>
                    </a:lnTo>
                    <a:lnTo>
                      <a:pt x="128" y="1930"/>
                    </a:lnTo>
                    <a:lnTo>
                      <a:pt x="126" y="1928"/>
                    </a:lnTo>
                    <a:lnTo>
                      <a:pt x="124" y="1928"/>
                    </a:lnTo>
                    <a:lnTo>
                      <a:pt x="122" y="1928"/>
                    </a:lnTo>
                    <a:lnTo>
                      <a:pt x="122" y="1930"/>
                    </a:lnTo>
                    <a:lnTo>
                      <a:pt x="120" y="1930"/>
                    </a:lnTo>
                    <a:lnTo>
                      <a:pt x="116" y="1926"/>
                    </a:lnTo>
                    <a:lnTo>
                      <a:pt x="118" y="1926"/>
                    </a:lnTo>
                    <a:lnTo>
                      <a:pt x="118" y="1922"/>
                    </a:lnTo>
                    <a:lnTo>
                      <a:pt x="116" y="1918"/>
                    </a:lnTo>
                    <a:lnTo>
                      <a:pt x="116" y="1914"/>
                    </a:lnTo>
                    <a:lnTo>
                      <a:pt x="118" y="1912"/>
                    </a:lnTo>
                    <a:lnTo>
                      <a:pt x="126" y="1908"/>
                    </a:lnTo>
                    <a:lnTo>
                      <a:pt x="130" y="1910"/>
                    </a:lnTo>
                    <a:lnTo>
                      <a:pt x="134" y="1912"/>
                    </a:lnTo>
                    <a:lnTo>
                      <a:pt x="136" y="1912"/>
                    </a:lnTo>
                    <a:lnTo>
                      <a:pt x="140" y="1908"/>
                    </a:lnTo>
                    <a:lnTo>
                      <a:pt x="146" y="1902"/>
                    </a:lnTo>
                    <a:lnTo>
                      <a:pt x="152" y="1902"/>
                    </a:lnTo>
                    <a:lnTo>
                      <a:pt x="154" y="1902"/>
                    </a:lnTo>
                    <a:lnTo>
                      <a:pt x="156" y="1904"/>
                    </a:lnTo>
                    <a:lnTo>
                      <a:pt x="158" y="1904"/>
                    </a:lnTo>
                    <a:lnTo>
                      <a:pt x="160" y="1904"/>
                    </a:lnTo>
                    <a:lnTo>
                      <a:pt x="164" y="1904"/>
                    </a:lnTo>
                    <a:lnTo>
                      <a:pt x="166" y="1904"/>
                    </a:lnTo>
                    <a:lnTo>
                      <a:pt x="168" y="1904"/>
                    </a:lnTo>
                    <a:lnTo>
                      <a:pt x="172" y="1902"/>
                    </a:lnTo>
                    <a:lnTo>
                      <a:pt x="170" y="1898"/>
                    </a:lnTo>
                    <a:lnTo>
                      <a:pt x="168" y="1898"/>
                    </a:lnTo>
                    <a:lnTo>
                      <a:pt x="166" y="1898"/>
                    </a:lnTo>
                    <a:lnTo>
                      <a:pt x="162" y="1898"/>
                    </a:lnTo>
                    <a:lnTo>
                      <a:pt x="156" y="1896"/>
                    </a:lnTo>
                    <a:lnTo>
                      <a:pt x="148" y="1896"/>
                    </a:lnTo>
                    <a:lnTo>
                      <a:pt x="142" y="1896"/>
                    </a:lnTo>
                    <a:lnTo>
                      <a:pt x="140" y="1896"/>
                    </a:lnTo>
                    <a:lnTo>
                      <a:pt x="140" y="1898"/>
                    </a:lnTo>
                    <a:lnTo>
                      <a:pt x="138" y="1900"/>
                    </a:lnTo>
                    <a:lnTo>
                      <a:pt x="136" y="1902"/>
                    </a:lnTo>
                    <a:lnTo>
                      <a:pt x="132" y="1900"/>
                    </a:lnTo>
                    <a:lnTo>
                      <a:pt x="134" y="1898"/>
                    </a:lnTo>
                    <a:lnTo>
                      <a:pt x="134" y="1896"/>
                    </a:lnTo>
                    <a:lnTo>
                      <a:pt x="136" y="1896"/>
                    </a:lnTo>
                    <a:lnTo>
                      <a:pt x="138" y="1896"/>
                    </a:lnTo>
                    <a:lnTo>
                      <a:pt x="136" y="1894"/>
                    </a:lnTo>
                    <a:lnTo>
                      <a:pt x="134" y="1896"/>
                    </a:lnTo>
                    <a:lnTo>
                      <a:pt x="132" y="1896"/>
                    </a:lnTo>
                    <a:lnTo>
                      <a:pt x="128" y="1896"/>
                    </a:lnTo>
                    <a:lnTo>
                      <a:pt x="122" y="1896"/>
                    </a:lnTo>
                    <a:lnTo>
                      <a:pt x="118" y="1902"/>
                    </a:lnTo>
                    <a:lnTo>
                      <a:pt x="122" y="1900"/>
                    </a:lnTo>
                    <a:lnTo>
                      <a:pt x="126" y="1902"/>
                    </a:lnTo>
                    <a:lnTo>
                      <a:pt x="124" y="1906"/>
                    </a:lnTo>
                    <a:lnTo>
                      <a:pt x="122" y="1908"/>
                    </a:lnTo>
                    <a:lnTo>
                      <a:pt x="120" y="1910"/>
                    </a:lnTo>
                    <a:lnTo>
                      <a:pt x="116" y="1910"/>
                    </a:lnTo>
                    <a:lnTo>
                      <a:pt x="114" y="1912"/>
                    </a:lnTo>
                    <a:lnTo>
                      <a:pt x="114" y="1914"/>
                    </a:lnTo>
                    <a:lnTo>
                      <a:pt x="116" y="1918"/>
                    </a:lnTo>
                    <a:lnTo>
                      <a:pt x="116" y="1920"/>
                    </a:lnTo>
                    <a:lnTo>
                      <a:pt x="116" y="1922"/>
                    </a:lnTo>
                    <a:lnTo>
                      <a:pt x="114" y="1924"/>
                    </a:lnTo>
                    <a:lnTo>
                      <a:pt x="112" y="1926"/>
                    </a:lnTo>
                    <a:lnTo>
                      <a:pt x="110" y="1926"/>
                    </a:lnTo>
                    <a:lnTo>
                      <a:pt x="108" y="1926"/>
                    </a:lnTo>
                    <a:lnTo>
                      <a:pt x="102" y="1926"/>
                    </a:lnTo>
                    <a:lnTo>
                      <a:pt x="98" y="1922"/>
                    </a:lnTo>
                    <a:lnTo>
                      <a:pt x="102" y="1918"/>
                    </a:lnTo>
                    <a:lnTo>
                      <a:pt x="106" y="1916"/>
                    </a:lnTo>
                    <a:lnTo>
                      <a:pt x="100" y="1916"/>
                    </a:lnTo>
                    <a:lnTo>
                      <a:pt x="94" y="1910"/>
                    </a:lnTo>
                    <a:lnTo>
                      <a:pt x="96" y="1910"/>
                    </a:lnTo>
                    <a:lnTo>
                      <a:pt x="98" y="1910"/>
                    </a:lnTo>
                    <a:lnTo>
                      <a:pt x="100" y="1910"/>
                    </a:lnTo>
                    <a:lnTo>
                      <a:pt x="106" y="1910"/>
                    </a:lnTo>
                    <a:lnTo>
                      <a:pt x="104" y="1908"/>
                    </a:lnTo>
                    <a:lnTo>
                      <a:pt x="104" y="1906"/>
                    </a:lnTo>
                    <a:lnTo>
                      <a:pt x="110" y="1894"/>
                    </a:lnTo>
                    <a:lnTo>
                      <a:pt x="112" y="1894"/>
                    </a:lnTo>
                    <a:lnTo>
                      <a:pt x="114" y="1894"/>
                    </a:lnTo>
                    <a:lnTo>
                      <a:pt x="118" y="1896"/>
                    </a:lnTo>
                    <a:lnTo>
                      <a:pt x="118" y="1894"/>
                    </a:lnTo>
                    <a:lnTo>
                      <a:pt x="114" y="1894"/>
                    </a:lnTo>
                    <a:lnTo>
                      <a:pt x="112" y="1894"/>
                    </a:lnTo>
                    <a:lnTo>
                      <a:pt x="108" y="1894"/>
                    </a:lnTo>
                    <a:lnTo>
                      <a:pt x="108" y="1898"/>
                    </a:lnTo>
                    <a:lnTo>
                      <a:pt x="104" y="1904"/>
                    </a:lnTo>
                    <a:lnTo>
                      <a:pt x="102" y="1904"/>
                    </a:lnTo>
                    <a:lnTo>
                      <a:pt x="102" y="1902"/>
                    </a:lnTo>
                    <a:lnTo>
                      <a:pt x="102" y="1900"/>
                    </a:lnTo>
                    <a:lnTo>
                      <a:pt x="100" y="1900"/>
                    </a:lnTo>
                    <a:lnTo>
                      <a:pt x="96" y="1902"/>
                    </a:lnTo>
                    <a:lnTo>
                      <a:pt x="94" y="1904"/>
                    </a:lnTo>
                    <a:lnTo>
                      <a:pt x="92" y="1906"/>
                    </a:lnTo>
                    <a:lnTo>
                      <a:pt x="92" y="1908"/>
                    </a:lnTo>
                    <a:lnTo>
                      <a:pt x="88" y="1906"/>
                    </a:lnTo>
                    <a:lnTo>
                      <a:pt x="88" y="1900"/>
                    </a:lnTo>
                    <a:lnTo>
                      <a:pt x="90" y="1898"/>
                    </a:lnTo>
                    <a:lnTo>
                      <a:pt x="92" y="1898"/>
                    </a:lnTo>
                    <a:lnTo>
                      <a:pt x="94" y="1898"/>
                    </a:lnTo>
                    <a:lnTo>
                      <a:pt x="94" y="1896"/>
                    </a:lnTo>
                    <a:lnTo>
                      <a:pt x="92" y="1896"/>
                    </a:lnTo>
                    <a:lnTo>
                      <a:pt x="90" y="1890"/>
                    </a:lnTo>
                    <a:lnTo>
                      <a:pt x="90" y="1888"/>
                    </a:lnTo>
                    <a:lnTo>
                      <a:pt x="92" y="1888"/>
                    </a:lnTo>
                    <a:lnTo>
                      <a:pt x="94" y="1884"/>
                    </a:lnTo>
                    <a:lnTo>
                      <a:pt x="92" y="1880"/>
                    </a:lnTo>
                    <a:lnTo>
                      <a:pt x="90" y="1876"/>
                    </a:lnTo>
                    <a:lnTo>
                      <a:pt x="86" y="1872"/>
                    </a:lnTo>
                    <a:lnTo>
                      <a:pt x="86" y="1870"/>
                    </a:lnTo>
                    <a:lnTo>
                      <a:pt x="88" y="1868"/>
                    </a:lnTo>
                    <a:lnTo>
                      <a:pt x="88" y="1870"/>
                    </a:lnTo>
                    <a:lnTo>
                      <a:pt x="90" y="1872"/>
                    </a:lnTo>
                    <a:lnTo>
                      <a:pt x="94" y="1878"/>
                    </a:lnTo>
                    <a:lnTo>
                      <a:pt x="96" y="1878"/>
                    </a:lnTo>
                    <a:lnTo>
                      <a:pt x="96" y="1876"/>
                    </a:lnTo>
                    <a:lnTo>
                      <a:pt x="100" y="1880"/>
                    </a:lnTo>
                    <a:lnTo>
                      <a:pt x="102" y="1880"/>
                    </a:lnTo>
                    <a:lnTo>
                      <a:pt x="104" y="1880"/>
                    </a:lnTo>
                    <a:lnTo>
                      <a:pt x="106" y="1878"/>
                    </a:lnTo>
                    <a:lnTo>
                      <a:pt x="106" y="1876"/>
                    </a:lnTo>
                    <a:lnTo>
                      <a:pt x="108" y="1874"/>
                    </a:lnTo>
                    <a:lnTo>
                      <a:pt x="110" y="1872"/>
                    </a:lnTo>
                    <a:lnTo>
                      <a:pt x="114" y="1870"/>
                    </a:lnTo>
                    <a:lnTo>
                      <a:pt x="114" y="1874"/>
                    </a:lnTo>
                    <a:lnTo>
                      <a:pt x="114" y="1878"/>
                    </a:lnTo>
                    <a:lnTo>
                      <a:pt x="118" y="1882"/>
                    </a:lnTo>
                    <a:lnTo>
                      <a:pt x="120" y="1882"/>
                    </a:lnTo>
                    <a:lnTo>
                      <a:pt x="120" y="1880"/>
                    </a:lnTo>
                    <a:lnTo>
                      <a:pt x="122" y="1872"/>
                    </a:lnTo>
                    <a:lnTo>
                      <a:pt x="122" y="1870"/>
                    </a:lnTo>
                    <a:lnTo>
                      <a:pt x="122" y="1872"/>
                    </a:lnTo>
                    <a:lnTo>
                      <a:pt x="120" y="1874"/>
                    </a:lnTo>
                    <a:lnTo>
                      <a:pt x="120" y="1876"/>
                    </a:lnTo>
                    <a:lnTo>
                      <a:pt x="118" y="1878"/>
                    </a:lnTo>
                    <a:lnTo>
                      <a:pt x="116" y="1876"/>
                    </a:lnTo>
                    <a:lnTo>
                      <a:pt x="116" y="1872"/>
                    </a:lnTo>
                    <a:lnTo>
                      <a:pt x="120" y="1866"/>
                    </a:lnTo>
                    <a:lnTo>
                      <a:pt x="122" y="1864"/>
                    </a:lnTo>
                    <a:lnTo>
                      <a:pt x="126" y="1866"/>
                    </a:lnTo>
                    <a:lnTo>
                      <a:pt x="126" y="1870"/>
                    </a:lnTo>
                    <a:lnTo>
                      <a:pt x="128" y="1872"/>
                    </a:lnTo>
                    <a:lnTo>
                      <a:pt x="130" y="1872"/>
                    </a:lnTo>
                    <a:lnTo>
                      <a:pt x="130" y="1874"/>
                    </a:lnTo>
                    <a:lnTo>
                      <a:pt x="132" y="1876"/>
                    </a:lnTo>
                    <a:lnTo>
                      <a:pt x="132" y="1878"/>
                    </a:lnTo>
                    <a:lnTo>
                      <a:pt x="130" y="1884"/>
                    </a:lnTo>
                    <a:lnTo>
                      <a:pt x="130" y="1886"/>
                    </a:lnTo>
                    <a:lnTo>
                      <a:pt x="124" y="1888"/>
                    </a:lnTo>
                    <a:lnTo>
                      <a:pt x="116" y="1892"/>
                    </a:lnTo>
                    <a:lnTo>
                      <a:pt x="118" y="1892"/>
                    </a:lnTo>
                    <a:lnTo>
                      <a:pt x="122" y="1890"/>
                    </a:lnTo>
                    <a:lnTo>
                      <a:pt x="128" y="1888"/>
                    </a:lnTo>
                    <a:lnTo>
                      <a:pt x="130" y="1888"/>
                    </a:lnTo>
                    <a:lnTo>
                      <a:pt x="134" y="1884"/>
                    </a:lnTo>
                    <a:lnTo>
                      <a:pt x="134" y="1878"/>
                    </a:lnTo>
                    <a:lnTo>
                      <a:pt x="132" y="1874"/>
                    </a:lnTo>
                    <a:lnTo>
                      <a:pt x="128" y="1870"/>
                    </a:lnTo>
                    <a:lnTo>
                      <a:pt x="128" y="1866"/>
                    </a:lnTo>
                    <a:lnTo>
                      <a:pt x="128" y="1864"/>
                    </a:lnTo>
                    <a:lnTo>
                      <a:pt x="134" y="1866"/>
                    </a:lnTo>
                    <a:lnTo>
                      <a:pt x="134" y="1864"/>
                    </a:lnTo>
                    <a:lnTo>
                      <a:pt x="134" y="1856"/>
                    </a:lnTo>
                    <a:lnTo>
                      <a:pt x="134" y="1852"/>
                    </a:lnTo>
                    <a:lnTo>
                      <a:pt x="128" y="1846"/>
                    </a:lnTo>
                    <a:lnTo>
                      <a:pt x="126" y="1846"/>
                    </a:lnTo>
                    <a:lnTo>
                      <a:pt x="124" y="1844"/>
                    </a:lnTo>
                    <a:lnTo>
                      <a:pt x="122" y="1844"/>
                    </a:lnTo>
                    <a:lnTo>
                      <a:pt x="120" y="1844"/>
                    </a:lnTo>
                    <a:lnTo>
                      <a:pt x="118" y="1842"/>
                    </a:lnTo>
                    <a:lnTo>
                      <a:pt x="112" y="1840"/>
                    </a:lnTo>
                    <a:lnTo>
                      <a:pt x="112" y="1838"/>
                    </a:lnTo>
                    <a:lnTo>
                      <a:pt x="110" y="1838"/>
                    </a:lnTo>
                    <a:lnTo>
                      <a:pt x="108" y="1838"/>
                    </a:lnTo>
                    <a:lnTo>
                      <a:pt x="104" y="1838"/>
                    </a:lnTo>
                    <a:lnTo>
                      <a:pt x="104" y="1840"/>
                    </a:lnTo>
                    <a:lnTo>
                      <a:pt x="106" y="1840"/>
                    </a:lnTo>
                    <a:lnTo>
                      <a:pt x="108" y="1840"/>
                    </a:lnTo>
                    <a:lnTo>
                      <a:pt x="112" y="1840"/>
                    </a:lnTo>
                    <a:lnTo>
                      <a:pt x="114" y="1842"/>
                    </a:lnTo>
                    <a:lnTo>
                      <a:pt x="120" y="1846"/>
                    </a:lnTo>
                    <a:lnTo>
                      <a:pt x="126" y="1850"/>
                    </a:lnTo>
                    <a:lnTo>
                      <a:pt x="128" y="1852"/>
                    </a:lnTo>
                    <a:lnTo>
                      <a:pt x="132" y="1852"/>
                    </a:lnTo>
                    <a:lnTo>
                      <a:pt x="132" y="1856"/>
                    </a:lnTo>
                    <a:lnTo>
                      <a:pt x="128" y="1858"/>
                    </a:lnTo>
                    <a:lnTo>
                      <a:pt x="126" y="1858"/>
                    </a:lnTo>
                    <a:lnTo>
                      <a:pt x="122" y="1856"/>
                    </a:lnTo>
                    <a:lnTo>
                      <a:pt x="122" y="1854"/>
                    </a:lnTo>
                    <a:lnTo>
                      <a:pt x="114" y="1852"/>
                    </a:lnTo>
                    <a:lnTo>
                      <a:pt x="108" y="1848"/>
                    </a:lnTo>
                    <a:lnTo>
                      <a:pt x="104" y="1846"/>
                    </a:lnTo>
                    <a:lnTo>
                      <a:pt x="106" y="1852"/>
                    </a:lnTo>
                    <a:lnTo>
                      <a:pt x="108" y="1852"/>
                    </a:lnTo>
                    <a:lnTo>
                      <a:pt x="110" y="1852"/>
                    </a:lnTo>
                    <a:lnTo>
                      <a:pt x="112" y="1852"/>
                    </a:lnTo>
                    <a:lnTo>
                      <a:pt x="114" y="1854"/>
                    </a:lnTo>
                    <a:lnTo>
                      <a:pt x="114" y="1856"/>
                    </a:lnTo>
                    <a:lnTo>
                      <a:pt x="112" y="1860"/>
                    </a:lnTo>
                    <a:lnTo>
                      <a:pt x="110" y="1860"/>
                    </a:lnTo>
                    <a:lnTo>
                      <a:pt x="106" y="1860"/>
                    </a:lnTo>
                    <a:lnTo>
                      <a:pt x="112" y="1860"/>
                    </a:lnTo>
                    <a:lnTo>
                      <a:pt x="114" y="1858"/>
                    </a:lnTo>
                    <a:lnTo>
                      <a:pt x="116" y="1858"/>
                    </a:lnTo>
                    <a:lnTo>
                      <a:pt x="116" y="1860"/>
                    </a:lnTo>
                    <a:lnTo>
                      <a:pt x="116" y="1862"/>
                    </a:lnTo>
                    <a:lnTo>
                      <a:pt x="114" y="1862"/>
                    </a:lnTo>
                    <a:lnTo>
                      <a:pt x="112" y="1864"/>
                    </a:lnTo>
                    <a:lnTo>
                      <a:pt x="110" y="1864"/>
                    </a:lnTo>
                    <a:lnTo>
                      <a:pt x="108" y="1866"/>
                    </a:lnTo>
                    <a:lnTo>
                      <a:pt x="108" y="1872"/>
                    </a:lnTo>
                    <a:lnTo>
                      <a:pt x="106" y="1872"/>
                    </a:lnTo>
                    <a:lnTo>
                      <a:pt x="104" y="1868"/>
                    </a:lnTo>
                    <a:lnTo>
                      <a:pt x="102" y="1864"/>
                    </a:lnTo>
                    <a:lnTo>
                      <a:pt x="102" y="1858"/>
                    </a:lnTo>
                    <a:lnTo>
                      <a:pt x="102" y="1852"/>
                    </a:lnTo>
                    <a:lnTo>
                      <a:pt x="102" y="1850"/>
                    </a:lnTo>
                    <a:lnTo>
                      <a:pt x="100" y="1850"/>
                    </a:lnTo>
                    <a:lnTo>
                      <a:pt x="100" y="1854"/>
                    </a:lnTo>
                    <a:lnTo>
                      <a:pt x="102" y="1856"/>
                    </a:lnTo>
                    <a:lnTo>
                      <a:pt x="104" y="1874"/>
                    </a:lnTo>
                    <a:lnTo>
                      <a:pt x="104" y="1876"/>
                    </a:lnTo>
                    <a:lnTo>
                      <a:pt x="102" y="1876"/>
                    </a:lnTo>
                    <a:lnTo>
                      <a:pt x="100" y="1876"/>
                    </a:lnTo>
                    <a:lnTo>
                      <a:pt x="94" y="1870"/>
                    </a:lnTo>
                    <a:lnTo>
                      <a:pt x="92" y="1870"/>
                    </a:lnTo>
                    <a:lnTo>
                      <a:pt x="92" y="1868"/>
                    </a:lnTo>
                    <a:lnTo>
                      <a:pt x="92" y="1866"/>
                    </a:lnTo>
                    <a:lnTo>
                      <a:pt x="92" y="1862"/>
                    </a:lnTo>
                    <a:lnTo>
                      <a:pt x="90" y="1858"/>
                    </a:lnTo>
                    <a:lnTo>
                      <a:pt x="92" y="1858"/>
                    </a:lnTo>
                    <a:lnTo>
                      <a:pt x="96" y="1864"/>
                    </a:lnTo>
                    <a:lnTo>
                      <a:pt x="98" y="1868"/>
                    </a:lnTo>
                    <a:lnTo>
                      <a:pt x="96" y="1862"/>
                    </a:lnTo>
                    <a:lnTo>
                      <a:pt x="92" y="1854"/>
                    </a:lnTo>
                    <a:lnTo>
                      <a:pt x="94" y="1854"/>
                    </a:lnTo>
                    <a:lnTo>
                      <a:pt x="94" y="1852"/>
                    </a:lnTo>
                    <a:lnTo>
                      <a:pt x="96" y="1850"/>
                    </a:lnTo>
                    <a:lnTo>
                      <a:pt x="90" y="1852"/>
                    </a:lnTo>
                    <a:lnTo>
                      <a:pt x="88" y="1856"/>
                    </a:lnTo>
                    <a:lnTo>
                      <a:pt x="84" y="1852"/>
                    </a:lnTo>
                    <a:lnTo>
                      <a:pt x="84" y="1848"/>
                    </a:lnTo>
                    <a:lnTo>
                      <a:pt x="80" y="1848"/>
                    </a:lnTo>
                    <a:lnTo>
                      <a:pt x="78" y="1848"/>
                    </a:lnTo>
                    <a:lnTo>
                      <a:pt x="78" y="1836"/>
                    </a:lnTo>
                    <a:lnTo>
                      <a:pt x="78" y="1834"/>
                    </a:lnTo>
                    <a:lnTo>
                      <a:pt x="82" y="1834"/>
                    </a:lnTo>
                    <a:lnTo>
                      <a:pt x="86" y="1838"/>
                    </a:lnTo>
                    <a:lnTo>
                      <a:pt x="88" y="1840"/>
                    </a:lnTo>
                    <a:lnTo>
                      <a:pt x="90" y="1848"/>
                    </a:lnTo>
                    <a:lnTo>
                      <a:pt x="92" y="1848"/>
                    </a:lnTo>
                    <a:lnTo>
                      <a:pt x="92" y="1846"/>
                    </a:lnTo>
                    <a:lnTo>
                      <a:pt x="90" y="1844"/>
                    </a:lnTo>
                    <a:lnTo>
                      <a:pt x="88" y="1836"/>
                    </a:lnTo>
                    <a:lnTo>
                      <a:pt x="84" y="1826"/>
                    </a:lnTo>
                    <a:lnTo>
                      <a:pt x="86" y="1824"/>
                    </a:lnTo>
                    <a:lnTo>
                      <a:pt x="86" y="1826"/>
                    </a:lnTo>
                    <a:lnTo>
                      <a:pt x="88" y="1828"/>
                    </a:lnTo>
                    <a:lnTo>
                      <a:pt x="86" y="1822"/>
                    </a:lnTo>
                    <a:lnTo>
                      <a:pt x="84" y="1822"/>
                    </a:lnTo>
                    <a:lnTo>
                      <a:pt x="80" y="1826"/>
                    </a:lnTo>
                    <a:lnTo>
                      <a:pt x="78" y="1826"/>
                    </a:lnTo>
                    <a:lnTo>
                      <a:pt x="72" y="1824"/>
                    </a:lnTo>
                    <a:lnTo>
                      <a:pt x="70" y="1824"/>
                    </a:lnTo>
                    <a:lnTo>
                      <a:pt x="70" y="1818"/>
                    </a:lnTo>
                    <a:lnTo>
                      <a:pt x="66" y="1816"/>
                    </a:lnTo>
                    <a:lnTo>
                      <a:pt x="66" y="1810"/>
                    </a:lnTo>
                    <a:lnTo>
                      <a:pt x="66" y="1808"/>
                    </a:lnTo>
                    <a:lnTo>
                      <a:pt x="68" y="1808"/>
                    </a:lnTo>
                    <a:lnTo>
                      <a:pt x="70" y="1806"/>
                    </a:lnTo>
                    <a:lnTo>
                      <a:pt x="78" y="1806"/>
                    </a:lnTo>
                    <a:lnTo>
                      <a:pt x="78" y="1808"/>
                    </a:lnTo>
                    <a:lnTo>
                      <a:pt x="80" y="1810"/>
                    </a:lnTo>
                    <a:lnTo>
                      <a:pt x="84" y="1802"/>
                    </a:lnTo>
                    <a:lnTo>
                      <a:pt x="84" y="1796"/>
                    </a:lnTo>
                    <a:lnTo>
                      <a:pt x="84" y="1794"/>
                    </a:lnTo>
                    <a:lnTo>
                      <a:pt x="88" y="1794"/>
                    </a:lnTo>
                    <a:lnTo>
                      <a:pt x="90" y="1794"/>
                    </a:lnTo>
                    <a:lnTo>
                      <a:pt x="92" y="1794"/>
                    </a:lnTo>
                    <a:lnTo>
                      <a:pt x="92" y="1796"/>
                    </a:lnTo>
                    <a:lnTo>
                      <a:pt x="94" y="1798"/>
                    </a:lnTo>
                    <a:lnTo>
                      <a:pt x="94" y="1794"/>
                    </a:lnTo>
                    <a:lnTo>
                      <a:pt x="92" y="1792"/>
                    </a:lnTo>
                    <a:lnTo>
                      <a:pt x="90" y="1792"/>
                    </a:lnTo>
                    <a:lnTo>
                      <a:pt x="88" y="1792"/>
                    </a:lnTo>
                    <a:lnTo>
                      <a:pt x="86" y="1790"/>
                    </a:lnTo>
                    <a:lnTo>
                      <a:pt x="86" y="1788"/>
                    </a:lnTo>
                    <a:lnTo>
                      <a:pt x="88" y="1788"/>
                    </a:lnTo>
                    <a:lnTo>
                      <a:pt x="90" y="1786"/>
                    </a:lnTo>
                    <a:lnTo>
                      <a:pt x="92" y="1780"/>
                    </a:lnTo>
                    <a:lnTo>
                      <a:pt x="84" y="1788"/>
                    </a:lnTo>
                    <a:lnTo>
                      <a:pt x="82" y="1792"/>
                    </a:lnTo>
                    <a:lnTo>
                      <a:pt x="82" y="1796"/>
                    </a:lnTo>
                    <a:lnTo>
                      <a:pt x="82" y="1798"/>
                    </a:lnTo>
                    <a:lnTo>
                      <a:pt x="82" y="1800"/>
                    </a:lnTo>
                    <a:lnTo>
                      <a:pt x="78" y="1804"/>
                    </a:lnTo>
                    <a:lnTo>
                      <a:pt x="74" y="1804"/>
                    </a:lnTo>
                    <a:lnTo>
                      <a:pt x="70" y="1800"/>
                    </a:lnTo>
                    <a:lnTo>
                      <a:pt x="68" y="1798"/>
                    </a:lnTo>
                    <a:lnTo>
                      <a:pt x="66" y="1792"/>
                    </a:lnTo>
                    <a:lnTo>
                      <a:pt x="62" y="1786"/>
                    </a:lnTo>
                    <a:lnTo>
                      <a:pt x="66" y="1784"/>
                    </a:lnTo>
                    <a:lnTo>
                      <a:pt x="70" y="1786"/>
                    </a:lnTo>
                    <a:lnTo>
                      <a:pt x="72" y="1788"/>
                    </a:lnTo>
                    <a:lnTo>
                      <a:pt x="74" y="1788"/>
                    </a:lnTo>
                    <a:lnTo>
                      <a:pt x="78" y="1790"/>
                    </a:lnTo>
                    <a:lnTo>
                      <a:pt x="78" y="1788"/>
                    </a:lnTo>
                    <a:lnTo>
                      <a:pt x="76" y="1788"/>
                    </a:lnTo>
                    <a:lnTo>
                      <a:pt x="72" y="1784"/>
                    </a:lnTo>
                    <a:lnTo>
                      <a:pt x="70" y="1784"/>
                    </a:lnTo>
                    <a:lnTo>
                      <a:pt x="62" y="1782"/>
                    </a:lnTo>
                    <a:lnTo>
                      <a:pt x="56" y="1778"/>
                    </a:lnTo>
                    <a:lnTo>
                      <a:pt x="46" y="1770"/>
                    </a:lnTo>
                    <a:lnTo>
                      <a:pt x="48" y="1768"/>
                    </a:lnTo>
                    <a:lnTo>
                      <a:pt x="48" y="1766"/>
                    </a:lnTo>
                    <a:lnTo>
                      <a:pt x="52" y="1764"/>
                    </a:lnTo>
                    <a:lnTo>
                      <a:pt x="54" y="1764"/>
                    </a:lnTo>
                    <a:lnTo>
                      <a:pt x="58" y="1764"/>
                    </a:lnTo>
                    <a:lnTo>
                      <a:pt x="60" y="1764"/>
                    </a:lnTo>
                    <a:lnTo>
                      <a:pt x="62" y="1766"/>
                    </a:lnTo>
                    <a:lnTo>
                      <a:pt x="64" y="1768"/>
                    </a:lnTo>
                    <a:lnTo>
                      <a:pt x="66" y="1772"/>
                    </a:lnTo>
                    <a:lnTo>
                      <a:pt x="76" y="1774"/>
                    </a:lnTo>
                    <a:lnTo>
                      <a:pt x="78" y="1774"/>
                    </a:lnTo>
                    <a:lnTo>
                      <a:pt x="80" y="1774"/>
                    </a:lnTo>
                    <a:lnTo>
                      <a:pt x="70" y="1770"/>
                    </a:lnTo>
                    <a:lnTo>
                      <a:pt x="68" y="1770"/>
                    </a:lnTo>
                    <a:lnTo>
                      <a:pt x="66" y="1770"/>
                    </a:lnTo>
                    <a:lnTo>
                      <a:pt x="60" y="1758"/>
                    </a:lnTo>
                    <a:lnTo>
                      <a:pt x="60" y="1756"/>
                    </a:lnTo>
                    <a:lnTo>
                      <a:pt x="64" y="1756"/>
                    </a:lnTo>
                    <a:lnTo>
                      <a:pt x="66" y="1756"/>
                    </a:lnTo>
                    <a:lnTo>
                      <a:pt x="68" y="1758"/>
                    </a:lnTo>
                    <a:lnTo>
                      <a:pt x="70" y="1760"/>
                    </a:lnTo>
                    <a:lnTo>
                      <a:pt x="78" y="1764"/>
                    </a:lnTo>
                    <a:lnTo>
                      <a:pt x="78" y="1762"/>
                    </a:lnTo>
                    <a:lnTo>
                      <a:pt x="78" y="1760"/>
                    </a:lnTo>
                    <a:lnTo>
                      <a:pt x="74" y="1758"/>
                    </a:lnTo>
                    <a:lnTo>
                      <a:pt x="70" y="1756"/>
                    </a:lnTo>
                    <a:lnTo>
                      <a:pt x="62" y="1754"/>
                    </a:lnTo>
                    <a:lnTo>
                      <a:pt x="60" y="1752"/>
                    </a:lnTo>
                    <a:lnTo>
                      <a:pt x="60" y="1748"/>
                    </a:lnTo>
                    <a:lnTo>
                      <a:pt x="64" y="1746"/>
                    </a:lnTo>
                    <a:lnTo>
                      <a:pt x="66" y="1746"/>
                    </a:lnTo>
                    <a:lnTo>
                      <a:pt x="68" y="1746"/>
                    </a:lnTo>
                    <a:lnTo>
                      <a:pt x="70" y="1746"/>
                    </a:lnTo>
                    <a:lnTo>
                      <a:pt x="72" y="1746"/>
                    </a:lnTo>
                    <a:lnTo>
                      <a:pt x="72" y="1744"/>
                    </a:lnTo>
                    <a:lnTo>
                      <a:pt x="66" y="1744"/>
                    </a:lnTo>
                    <a:lnTo>
                      <a:pt x="62" y="1746"/>
                    </a:lnTo>
                    <a:lnTo>
                      <a:pt x="60" y="1742"/>
                    </a:lnTo>
                    <a:lnTo>
                      <a:pt x="60" y="1740"/>
                    </a:lnTo>
                    <a:lnTo>
                      <a:pt x="60" y="1738"/>
                    </a:lnTo>
                    <a:lnTo>
                      <a:pt x="64" y="1736"/>
                    </a:lnTo>
                    <a:lnTo>
                      <a:pt x="70" y="1734"/>
                    </a:lnTo>
                    <a:lnTo>
                      <a:pt x="76" y="1736"/>
                    </a:lnTo>
                    <a:lnTo>
                      <a:pt x="78" y="1740"/>
                    </a:lnTo>
                    <a:lnTo>
                      <a:pt x="80" y="1742"/>
                    </a:lnTo>
                    <a:lnTo>
                      <a:pt x="84" y="1744"/>
                    </a:lnTo>
                    <a:lnTo>
                      <a:pt x="84" y="1748"/>
                    </a:lnTo>
                    <a:lnTo>
                      <a:pt x="86" y="1746"/>
                    </a:lnTo>
                    <a:lnTo>
                      <a:pt x="84" y="1744"/>
                    </a:lnTo>
                    <a:lnTo>
                      <a:pt x="84" y="1742"/>
                    </a:lnTo>
                    <a:lnTo>
                      <a:pt x="82" y="1740"/>
                    </a:lnTo>
                    <a:lnTo>
                      <a:pt x="80" y="1740"/>
                    </a:lnTo>
                    <a:lnTo>
                      <a:pt x="78" y="1738"/>
                    </a:lnTo>
                    <a:lnTo>
                      <a:pt x="78" y="1734"/>
                    </a:lnTo>
                    <a:lnTo>
                      <a:pt x="76" y="1734"/>
                    </a:lnTo>
                    <a:lnTo>
                      <a:pt x="74" y="1734"/>
                    </a:lnTo>
                    <a:lnTo>
                      <a:pt x="70" y="1732"/>
                    </a:lnTo>
                    <a:lnTo>
                      <a:pt x="68" y="1728"/>
                    </a:lnTo>
                    <a:lnTo>
                      <a:pt x="70" y="1720"/>
                    </a:lnTo>
                    <a:lnTo>
                      <a:pt x="70" y="1718"/>
                    </a:lnTo>
                    <a:lnTo>
                      <a:pt x="72" y="1718"/>
                    </a:lnTo>
                    <a:lnTo>
                      <a:pt x="74" y="1720"/>
                    </a:lnTo>
                    <a:lnTo>
                      <a:pt x="74" y="1722"/>
                    </a:lnTo>
                    <a:lnTo>
                      <a:pt x="76" y="1722"/>
                    </a:lnTo>
                    <a:lnTo>
                      <a:pt x="78" y="1724"/>
                    </a:lnTo>
                    <a:lnTo>
                      <a:pt x="80" y="1724"/>
                    </a:lnTo>
                    <a:lnTo>
                      <a:pt x="78" y="1722"/>
                    </a:lnTo>
                    <a:lnTo>
                      <a:pt x="76" y="1722"/>
                    </a:lnTo>
                    <a:lnTo>
                      <a:pt x="74" y="1718"/>
                    </a:lnTo>
                    <a:lnTo>
                      <a:pt x="72" y="1710"/>
                    </a:lnTo>
                    <a:lnTo>
                      <a:pt x="74" y="1708"/>
                    </a:lnTo>
                    <a:lnTo>
                      <a:pt x="74" y="1706"/>
                    </a:lnTo>
                    <a:lnTo>
                      <a:pt x="76" y="1706"/>
                    </a:lnTo>
                    <a:lnTo>
                      <a:pt x="78" y="1706"/>
                    </a:lnTo>
                    <a:lnTo>
                      <a:pt x="78" y="1708"/>
                    </a:lnTo>
                    <a:lnTo>
                      <a:pt x="80" y="1708"/>
                    </a:lnTo>
                    <a:lnTo>
                      <a:pt x="80" y="1706"/>
                    </a:lnTo>
                    <a:lnTo>
                      <a:pt x="78" y="1706"/>
                    </a:lnTo>
                    <a:lnTo>
                      <a:pt x="72" y="1706"/>
                    </a:lnTo>
                    <a:lnTo>
                      <a:pt x="72" y="1708"/>
                    </a:lnTo>
                    <a:lnTo>
                      <a:pt x="72" y="1714"/>
                    </a:lnTo>
                    <a:lnTo>
                      <a:pt x="70" y="1718"/>
                    </a:lnTo>
                    <a:lnTo>
                      <a:pt x="68" y="1722"/>
                    </a:lnTo>
                    <a:lnTo>
                      <a:pt x="68" y="1726"/>
                    </a:lnTo>
                    <a:lnTo>
                      <a:pt x="66" y="1734"/>
                    </a:lnTo>
                    <a:lnTo>
                      <a:pt x="64" y="1734"/>
                    </a:lnTo>
                    <a:lnTo>
                      <a:pt x="62" y="1734"/>
                    </a:lnTo>
                    <a:lnTo>
                      <a:pt x="60" y="1728"/>
                    </a:lnTo>
                    <a:lnTo>
                      <a:pt x="58" y="1724"/>
                    </a:lnTo>
                    <a:lnTo>
                      <a:pt x="58" y="1714"/>
                    </a:lnTo>
                    <a:lnTo>
                      <a:pt x="58" y="1702"/>
                    </a:lnTo>
                    <a:lnTo>
                      <a:pt x="56" y="1700"/>
                    </a:lnTo>
                    <a:lnTo>
                      <a:pt x="56" y="1698"/>
                    </a:lnTo>
                    <a:lnTo>
                      <a:pt x="56" y="1696"/>
                    </a:lnTo>
                    <a:lnTo>
                      <a:pt x="56" y="1694"/>
                    </a:lnTo>
                    <a:lnTo>
                      <a:pt x="58" y="1690"/>
                    </a:lnTo>
                    <a:lnTo>
                      <a:pt x="60" y="1692"/>
                    </a:lnTo>
                    <a:lnTo>
                      <a:pt x="62" y="1692"/>
                    </a:lnTo>
                    <a:lnTo>
                      <a:pt x="62" y="1690"/>
                    </a:lnTo>
                    <a:lnTo>
                      <a:pt x="64" y="1690"/>
                    </a:lnTo>
                    <a:lnTo>
                      <a:pt x="68" y="1690"/>
                    </a:lnTo>
                    <a:lnTo>
                      <a:pt x="70" y="1692"/>
                    </a:lnTo>
                    <a:lnTo>
                      <a:pt x="70" y="1690"/>
                    </a:lnTo>
                    <a:lnTo>
                      <a:pt x="68" y="1690"/>
                    </a:lnTo>
                    <a:lnTo>
                      <a:pt x="66" y="1690"/>
                    </a:lnTo>
                    <a:lnTo>
                      <a:pt x="64" y="1690"/>
                    </a:lnTo>
                    <a:lnTo>
                      <a:pt x="62" y="1690"/>
                    </a:lnTo>
                    <a:lnTo>
                      <a:pt x="60" y="1690"/>
                    </a:lnTo>
                    <a:lnTo>
                      <a:pt x="58" y="1688"/>
                    </a:lnTo>
                    <a:lnTo>
                      <a:pt x="58" y="1684"/>
                    </a:lnTo>
                    <a:lnTo>
                      <a:pt x="58" y="1682"/>
                    </a:lnTo>
                    <a:lnTo>
                      <a:pt x="62" y="1678"/>
                    </a:lnTo>
                    <a:lnTo>
                      <a:pt x="64" y="1678"/>
                    </a:lnTo>
                    <a:lnTo>
                      <a:pt x="66" y="1678"/>
                    </a:lnTo>
                    <a:lnTo>
                      <a:pt x="72" y="1682"/>
                    </a:lnTo>
                    <a:lnTo>
                      <a:pt x="72" y="1680"/>
                    </a:lnTo>
                    <a:lnTo>
                      <a:pt x="72" y="1674"/>
                    </a:lnTo>
                    <a:lnTo>
                      <a:pt x="68" y="1672"/>
                    </a:lnTo>
                    <a:lnTo>
                      <a:pt x="68" y="1670"/>
                    </a:lnTo>
                    <a:lnTo>
                      <a:pt x="66" y="1670"/>
                    </a:lnTo>
                    <a:lnTo>
                      <a:pt x="62" y="1670"/>
                    </a:lnTo>
                    <a:lnTo>
                      <a:pt x="64" y="1668"/>
                    </a:lnTo>
                    <a:lnTo>
                      <a:pt x="68" y="1668"/>
                    </a:lnTo>
                    <a:lnTo>
                      <a:pt x="62" y="1666"/>
                    </a:lnTo>
                    <a:lnTo>
                      <a:pt x="56" y="1662"/>
                    </a:lnTo>
                    <a:lnTo>
                      <a:pt x="52" y="1658"/>
                    </a:lnTo>
                    <a:lnTo>
                      <a:pt x="48" y="1656"/>
                    </a:lnTo>
                    <a:lnTo>
                      <a:pt x="46" y="1656"/>
                    </a:lnTo>
                    <a:lnTo>
                      <a:pt x="46" y="1652"/>
                    </a:lnTo>
                    <a:lnTo>
                      <a:pt x="46" y="1650"/>
                    </a:lnTo>
                    <a:lnTo>
                      <a:pt x="50" y="1648"/>
                    </a:lnTo>
                    <a:lnTo>
                      <a:pt x="56" y="1650"/>
                    </a:lnTo>
                    <a:lnTo>
                      <a:pt x="58" y="1652"/>
                    </a:lnTo>
                    <a:lnTo>
                      <a:pt x="60" y="1654"/>
                    </a:lnTo>
                    <a:lnTo>
                      <a:pt x="60" y="1656"/>
                    </a:lnTo>
                    <a:lnTo>
                      <a:pt x="60" y="1660"/>
                    </a:lnTo>
                    <a:lnTo>
                      <a:pt x="60" y="1662"/>
                    </a:lnTo>
                    <a:lnTo>
                      <a:pt x="64" y="1664"/>
                    </a:lnTo>
                    <a:lnTo>
                      <a:pt x="62" y="1656"/>
                    </a:lnTo>
                    <a:lnTo>
                      <a:pt x="60" y="1652"/>
                    </a:lnTo>
                    <a:lnTo>
                      <a:pt x="60" y="1650"/>
                    </a:lnTo>
                    <a:lnTo>
                      <a:pt x="64" y="1650"/>
                    </a:lnTo>
                    <a:lnTo>
                      <a:pt x="70" y="1650"/>
                    </a:lnTo>
                    <a:lnTo>
                      <a:pt x="70" y="1652"/>
                    </a:lnTo>
                    <a:lnTo>
                      <a:pt x="72" y="1652"/>
                    </a:lnTo>
                    <a:lnTo>
                      <a:pt x="74" y="1654"/>
                    </a:lnTo>
                    <a:lnTo>
                      <a:pt x="78" y="1654"/>
                    </a:lnTo>
                    <a:lnTo>
                      <a:pt x="82" y="1652"/>
                    </a:lnTo>
                    <a:lnTo>
                      <a:pt x="90" y="1658"/>
                    </a:lnTo>
                    <a:lnTo>
                      <a:pt x="90" y="1662"/>
                    </a:lnTo>
                    <a:lnTo>
                      <a:pt x="90" y="1664"/>
                    </a:lnTo>
                    <a:lnTo>
                      <a:pt x="92" y="1662"/>
                    </a:lnTo>
                    <a:lnTo>
                      <a:pt x="94" y="1660"/>
                    </a:lnTo>
                    <a:lnTo>
                      <a:pt x="96" y="1660"/>
                    </a:lnTo>
                    <a:lnTo>
                      <a:pt x="96" y="1662"/>
                    </a:lnTo>
                    <a:lnTo>
                      <a:pt x="98" y="1662"/>
                    </a:lnTo>
                    <a:lnTo>
                      <a:pt x="100" y="1660"/>
                    </a:lnTo>
                    <a:lnTo>
                      <a:pt x="102" y="1660"/>
                    </a:lnTo>
                    <a:lnTo>
                      <a:pt x="102" y="1658"/>
                    </a:lnTo>
                    <a:lnTo>
                      <a:pt x="102" y="1656"/>
                    </a:lnTo>
                    <a:lnTo>
                      <a:pt x="102" y="1654"/>
                    </a:lnTo>
                    <a:lnTo>
                      <a:pt x="102" y="1656"/>
                    </a:lnTo>
                    <a:lnTo>
                      <a:pt x="100" y="1658"/>
                    </a:lnTo>
                    <a:lnTo>
                      <a:pt x="98" y="1660"/>
                    </a:lnTo>
                    <a:lnTo>
                      <a:pt x="96" y="1660"/>
                    </a:lnTo>
                    <a:lnTo>
                      <a:pt x="94" y="1658"/>
                    </a:lnTo>
                    <a:lnTo>
                      <a:pt x="90" y="1654"/>
                    </a:lnTo>
                    <a:lnTo>
                      <a:pt x="86" y="1650"/>
                    </a:lnTo>
                    <a:lnTo>
                      <a:pt x="86" y="1646"/>
                    </a:lnTo>
                    <a:lnTo>
                      <a:pt x="90" y="1646"/>
                    </a:lnTo>
                    <a:lnTo>
                      <a:pt x="90" y="1648"/>
                    </a:lnTo>
                    <a:lnTo>
                      <a:pt x="92" y="1648"/>
                    </a:lnTo>
                    <a:lnTo>
                      <a:pt x="92" y="1650"/>
                    </a:lnTo>
                    <a:lnTo>
                      <a:pt x="94" y="1650"/>
                    </a:lnTo>
                    <a:lnTo>
                      <a:pt x="96" y="1650"/>
                    </a:lnTo>
                    <a:lnTo>
                      <a:pt x="104" y="1650"/>
                    </a:lnTo>
                    <a:lnTo>
                      <a:pt x="102" y="1650"/>
                    </a:lnTo>
                    <a:lnTo>
                      <a:pt x="98" y="1648"/>
                    </a:lnTo>
                    <a:lnTo>
                      <a:pt x="96" y="1648"/>
                    </a:lnTo>
                    <a:lnTo>
                      <a:pt x="94" y="1648"/>
                    </a:lnTo>
                    <a:lnTo>
                      <a:pt x="92" y="1648"/>
                    </a:lnTo>
                    <a:lnTo>
                      <a:pt x="84" y="1640"/>
                    </a:lnTo>
                    <a:lnTo>
                      <a:pt x="82" y="1636"/>
                    </a:lnTo>
                    <a:lnTo>
                      <a:pt x="82" y="1634"/>
                    </a:lnTo>
                    <a:lnTo>
                      <a:pt x="84" y="1634"/>
                    </a:lnTo>
                    <a:lnTo>
                      <a:pt x="84" y="1632"/>
                    </a:lnTo>
                    <a:lnTo>
                      <a:pt x="86" y="1630"/>
                    </a:lnTo>
                    <a:lnTo>
                      <a:pt x="86" y="1626"/>
                    </a:lnTo>
                    <a:lnTo>
                      <a:pt x="82" y="1626"/>
                    </a:lnTo>
                    <a:lnTo>
                      <a:pt x="82" y="1628"/>
                    </a:lnTo>
                    <a:lnTo>
                      <a:pt x="82" y="1630"/>
                    </a:lnTo>
                    <a:lnTo>
                      <a:pt x="82" y="1640"/>
                    </a:lnTo>
                    <a:lnTo>
                      <a:pt x="80" y="1640"/>
                    </a:lnTo>
                    <a:lnTo>
                      <a:pt x="76" y="1642"/>
                    </a:lnTo>
                    <a:lnTo>
                      <a:pt x="72" y="1642"/>
                    </a:lnTo>
                    <a:lnTo>
                      <a:pt x="70" y="1642"/>
                    </a:lnTo>
                    <a:lnTo>
                      <a:pt x="70" y="1640"/>
                    </a:lnTo>
                    <a:lnTo>
                      <a:pt x="68" y="1640"/>
                    </a:lnTo>
                    <a:lnTo>
                      <a:pt x="66" y="1640"/>
                    </a:lnTo>
                    <a:lnTo>
                      <a:pt x="60" y="1638"/>
                    </a:lnTo>
                    <a:lnTo>
                      <a:pt x="56" y="1638"/>
                    </a:lnTo>
                    <a:lnTo>
                      <a:pt x="52" y="1638"/>
                    </a:lnTo>
                    <a:lnTo>
                      <a:pt x="50" y="1640"/>
                    </a:lnTo>
                    <a:lnTo>
                      <a:pt x="46" y="1638"/>
                    </a:lnTo>
                    <a:lnTo>
                      <a:pt x="42" y="1638"/>
                    </a:lnTo>
                    <a:lnTo>
                      <a:pt x="42" y="1636"/>
                    </a:lnTo>
                    <a:lnTo>
                      <a:pt x="46" y="1628"/>
                    </a:lnTo>
                    <a:lnTo>
                      <a:pt x="48" y="1626"/>
                    </a:lnTo>
                    <a:lnTo>
                      <a:pt x="50" y="1626"/>
                    </a:lnTo>
                    <a:lnTo>
                      <a:pt x="54" y="1626"/>
                    </a:lnTo>
                    <a:lnTo>
                      <a:pt x="58" y="1628"/>
                    </a:lnTo>
                    <a:lnTo>
                      <a:pt x="58" y="1632"/>
                    </a:lnTo>
                    <a:lnTo>
                      <a:pt x="60" y="1636"/>
                    </a:lnTo>
                    <a:lnTo>
                      <a:pt x="62" y="1638"/>
                    </a:lnTo>
                    <a:lnTo>
                      <a:pt x="64" y="1638"/>
                    </a:lnTo>
                    <a:lnTo>
                      <a:pt x="62" y="1636"/>
                    </a:lnTo>
                    <a:lnTo>
                      <a:pt x="60" y="1636"/>
                    </a:lnTo>
                    <a:lnTo>
                      <a:pt x="60" y="1634"/>
                    </a:lnTo>
                    <a:lnTo>
                      <a:pt x="62" y="1630"/>
                    </a:lnTo>
                    <a:lnTo>
                      <a:pt x="64" y="1630"/>
                    </a:lnTo>
                    <a:lnTo>
                      <a:pt x="68" y="1630"/>
                    </a:lnTo>
                    <a:lnTo>
                      <a:pt x="70" y="1630"/>
                    </a:lnTo>
                    <a:lnTo>
                      <a:pt x="70" y="1626"/>
                    </a:lnTo>
                    <a:lnTo>
                      <a:pt x="66" y="1626"/>
                    </a:lnTo>
                    <a:lnTo>
                      <a:pt x="64" y="1628"/>
                    </a:lnTo>
                    <a:lnTo>
                      <a:pt x="60" y="1630"/>
                    </a:lnTo>
                    <a:lnTo>
                      <a:pt x="50" y="1622"/>
                    </a:lnTo>
                    <a:lnTo>
                      <a:pt x="50" y="1620"/>
                    </a:lnTo>
                    <a:lnTo>
                      <a:pt x="52" y="1616"/>
                    </a:lnTo>
                    <a:lnTo>
                      <a:pt x="56" y="1612"/>
                    </a:lnTo>
                    <a:lnTo>
                      <a:pt x="58" y="1610"/>
                    </a:lnTo>
                    <a:lnTo>
                      <a:pt x="58" y="1608"/>
                    </a:lnTo>
                    <a:lnTo>
                      <a:pt x="64" y="1608"/>
                    </a:lnTo>
                    <a:lnTo>
                      <a:pt x="64" y="1610"/>
                    </a:lnTo>
                    <a:lnTo>
                      <a:pt x="64" y="1612"/>
                    </a:lnTo>
                    <a:lnTo>
                      <a:pt x="66" y="1616"/>
                    </a:lnTo>
                    <a:lnTo>
                      <a:pt x="68" y="1616"/>
                    </a:lnTo>
                    <a:lnTo>
                      <a:pt x="66" y="1614"/>
                    </a:lnTo>
                    <a:lnTo>
                      <a:pt x="66" y="1612"/>
                    </a:lnTo>
                    <a:lnTo>
                      <a:pt x="66" y="1610"/>
                    </a:lnTo>
                    <a:lnTo>
                      <a:pt x="66" y="1608"/>
                    </a:lnTo>
                    <a:lnTo>
                      <a:pt x="70" y="1606"/>
                    </a:lnTo>
                    <a:lnTo>
                      <a:pt x="74" y="1598"/>
                    </a:lnTo>
                    <a:lnTo>
                      <a:pt x="70" y="1596"/>
                    </a:lnTo>
                    <a:lnTo>
                      <a:pt x="68" y="1596"/>
                    </a:lnTo>
                    <a:lnTo>
                      <a:pt x="66" y="1596"/>
                    </a:lnTo>
                    <a:lnTo>
                      <a:pt x="60" y="1590"/>
                    </a:lnTo>
                    <a:lnTo>
                      <a:pt x="60" y="1588"/>
                    </a:lnTo>
                    <a:lnTo>
                      <a:pt x="60" y="1586"/>
                    </a:lnTo>
                    <a:lnTo>
                      <a:pt x="58" y="1584"/>
                    </a:lnTo>
                    <a:lnTo>
                      <a:pt x="46" y="1586"/>
                    </a:lnTo>
                    <a:lnTo>
                      <a:pt x="46" y="1588"/>
                    </a:lnTo>
                    <a:lnTo>
                      <a:pt x="48" y="1588"/>
                    </a:lnTo>
                    <a:lnTo>
                      <a:pt x="54" y="1590"/>
                    </a:lnTo>
                    <a:lnTo>
                      <a:pt x="52" y="1590"/>
                    </a:lnTo>
                    <a:lnTo>
                      <a:pt x="52" y="1592"/>
                    </a:lnTo>
                    <a:lnTo>
                      <a:pt x="50" y="1592"/>
                    </a:lnTo>
                    <a:lnTo>
                      <a:pt x="48" y="1592"/>
                    </a:lnTo>
                    <a:lnTo>
                      <a:pt x="44" y="1590"/>
                    </a:lnTo>
                    <a:lnTo>
                      <a:pt x="34" y="1586"/>
                    </a:lnTo>
                    <a:lnTo>
                      <a:pt x="30" y="1584"/>
                    </a:lnTo>
                    <a:lnTo>
                      <a:pt x="26" y="1578"/>
                    </a:lnTo>
                    <a:lnTo>
                      <a:pt x="26" y="1576"/>
                    </a:lnTo>
                    <a:lnTo>
                      <a:pt x="28" y="1572"/>
                    </a:lnTo>
                    <a:lnTo>
                      <a:pt x="32" y="1572"/>
                    </a:lnTo>
                    <a:lnTo>
                      <a:pt x="32" y="1568"/>
                    </a:lnTo>
                    <a:lnTo>
                      <a:pt x="30" y="1568"/>
                    </a:lnTo>
                    <a:lnTo>
                      <a:pt x="30" y="1570"/>
                    </a:lnTo>
                    <a:lnTo>
                      <a:pt x="26" y="1574"/>
                    </a:lnTo>
                    <a:lnTo>
                      <a:pt x="24" y="1576"/>
                    </a:lnTo>
                    <a:lnTo>
                      <a:pt x="22" y="1576"/>
                    </a:lnTo>
                    <a:lnTo>
                      <a:pt x="16" y="1578"/>
                    </a:lnTo>
                    <a:lnTo>
                      <a:pt x="14" y="1578"/>
                    </a:lnTo>
                    <a:lnTo>
                      <a:pt x="12" y="1578"/>
                    </a:lnTo>
                    <a:lnTo>
                      <a:pt x="8" y="1580"/>
                    </a:lnTo>
                    <a:lnTo>
                      <a:pt x="6" y="1580"/>
                    </a:lnTo>
                    <a:lnTo>
                      <a:pt x="4" y="1582"/>
                    </a:lnTo>
                    <a:lnTo>
                      <a:pt x="4" y="1586"/>
                    </a:lnTo>
                    <a:lnTo>
                      <a:pt x="6" y="1584"/>
                    </a:lnTo>
                    <a:lnTo>
                      <a:pt x="10" y="1582"/>
                    </a:lnTo>
                    <a:lnTo>
                      <a:pt x="12" y="1582"/>
                    </a:lnTo>
                    <a:lnTo>
                      <a:pt x="16" y="1590"/>
                    </a:lnTo>
                    <a:lnTo>
                      <a:pt x="16" y="1592"/>
                    </a:lnTo>
                    <a:lnTo>
                      <a:pt x="12" y="1594"/>
                    </a:lnTo>
                    <a:lnTo>
                      <a:pt x="10" y="1594"/>
                    </a:lnTo>
                    <a:lnTo>
                      <a:pt x="8" y="1594"/>
                    </a:lnTo>
                    <a:lnTo>
                      <a:pt x="6" y="1594"/>
                    </a:lnTo>
                    <a:lnTo>
                      <a:pt x="4" y="1590"/>
                    </a:lnTo>
                    <a:lnTo>
                      <a:pt x="0" y="1586"/>
                    </a:lnTo>
                    <a:lnTo>
                      <a:pt x="0" y="1582"/>
                    </a:lnTo>
                    <a:lnTo>
                      <a:pt x="0" y="1578"/>
                    </a:lnTo>
                    <a:lnTo>
                      <a:pt x="4" y="1574"/>
                    </a:lnTo>
                    <a:lnTo>
                      <a:pt x="6" y="1574"/>
                    </a:lnTo>
                    <a:lnTo>
                      <a:pt x="8" y="1572"/>
                    </a:lnTo>
                    <a:lnTo>
                      <a:pt x="10" y="1572"/>
                    </a:lnTo>
                    <a:lnTo>
                      <a:pt x="12" y="1570"/>
                    </a:lnTo>
                    <a:lnTo>
                      <a:pt x="12" y="1568"/>
                    </a:lnTo>
                    <a:lnTo>
                      <a:pt x="14" y="1566"/>
                    </a:lnTo>
                    <a:lnTo>
                      <a:pt x="16" y="1564"/>
                    </a:lnTo>
                    <a:lnTo>
                      <a:pt x="18" y="1564"/>
                    </a:lnTo>
                    <a:lnTo>
                      <a:pt x="20" y="1564"/>
                    </a:lnTo>
                    <a:lnTo>
                      <a:pt x="20" y="1566"/>
                    </a:lnTo>
                    <a:lnTo>
                      <a:pt x="20" y="1562"/>
                    </a:lnTo>
                    <a:lnTo>
                      <a:pt x="22" y="1560"/>
                    </a:lnTo>
                    <a:lnTo>
                      <a:pt x="24" y="1554"/>
                    </a:lnTo>
                    <a:lnTo>
                      <a:pt x="26" y="1554"/>
                    </a:lnTo>
                    <a:lnTo>
                      <a:pt x="30" y="1554"/>
                    </a:lnTo>
                    <a:lnTo>
                      <a:pt x="36" y="1550"/>
                    </a:lnTo>
                    <a:lnTo>
                      <a:pt x="38" y="1546"/>
                    </a:lnTo>
                    <a:lnTo>
                      <a:pt x="40" y="1538"/>
                    </a:lnTo>
                    <a:lnTo>
                      <a:pt x="42" y="1534"/>
                    </a:lnTo>
                    <a:lnTo>
                      <a:pt x="52" y="1532"/>
                    </a:lnTo>
                    <a:lnTo>
                      <a:pt x="56" y="1532"/>
                    </a:lnTo>
                    <a:lnTo>
                      <a:pt x="58" y="1534"/>
                    </a:lnTo>
                    <a:lnTo>
                      <a:pt x="60" y="1532"/>
                    </a:lnTo>
                    <a:lnTo>
                      <a:pt x="64" y="1532"/>
                    </a:lnTo>
                    <a:lnTo>
                      <a:pt x="66" y="1534"/>
                    </a:lnTo>
                    <a:lnTo>
                      <a:pt x="68" y="1540"/>
                    </a:lnTo>
                    <a:lnTo>
                      <a:pt x="68" y="1546"/>
                    </a:lnTo>
                    <a:lnTo>
                      <a:pt x="66" y="1548"/>
                    </a:lnTo>
                    <a:lnTo>
                      <a:pt x="64" y="1550"/>
                    </a:lnTo>
                    <a:lnTo>
                      <a:pt x="68" y="1548"/>
                    </a:lnTo>
                    <a:lnTo>
                      <a:pt x="68" y="1546"/>
                    </a:lnTo>
                    <a:lnTo>
                      <a:pt x="68" y="1544"/>
                    </a:lnTo>
                    <a:lnTo>
                      <a:pt x="68" y="1542"/>
                    </a:lnTo>
                    <a:lnTo>
                      <a:pt x="72" y="1544"/>
                    </a:lnTo>
                    <a:lnTo>
                      <a:pt x="72" y="1546"/>
                    </a:lnTo>
                    <a:lnTo>
                      <a:pt x="72" y="1548"/>
                    </a:lnTo>
                    <a:lnTo>
                      <a:pt x="72" y="1550"/>
                    </a:lnTo>
                    <a:lnTo>
                      <a:pt x="70" y="1550"/>
                    </a:lnTo>
                    <a:lnTo>
                      <a:pt x="70" y="1552"/>
                    </a:lnTo>
                    <a:lnTo>
                      <a:pt x="68" y="1552"/>
                    </a:lnTo>
                    <a:lnTo>
                      <a:pt x="66" y="1554"/>
                    </a:lnTo>
                    <a:lnTo>
                      <a:pt x="62" y="1554"/>
                    </a:lnTo>
                    <a:lnTo>
                      <a:pt x="58" y="1556"/>
                    </a:lnTo>
                    <a:lnTo>
                      <a:pt x="56" y="1556"/>
                    </a:lnTo>
                    <a:lnTo>
                      <a:pt x="54" y="1554"/>
                    </a:lnTo>
                    <a:lnTo>
                      <a:pt x="52" y="1554"/>
                    </a:lnTo>
                    <a:lnTo>
                      <a:pt x="50" y="1554"/>
                    </a:lnTo>
                    <a:lnTo>
                      <a:pt x="54" y="1556"/>
                    </a:lnTo>
                    <a:lnTo>
                      <a:pt x="56" y="1556"/>
                    </a:lnTo>
                    <a:lnTo>
                      <a:pt x="58" y="1556"/>
                    </a:lnTo>
                    <a:lnTo>
                      <a:pt x="60" y="1556"/>
                    </a:lnTo>
                    <a:lnTo>
                      <a:pt x="64" y="1554"/>
                    </a:lnTo>
                    <a:lnTo>
                      <a:pt x="66" y="1554"/>
                    </a:lnTo>
                    <a:lnTo>
                      <a:pt x="68" y="1554"/>
                    </a:lnTo>
                    <a:lnTo>
                      <a:pt x="70" y="1558"/>
                    </a:lnTo>
                    <a:lnTo>
                      <a:pt x="76" y="1560"/>
                    </a:lnTo>
                    <a:lnTo>
                      <a:pt x="76" y="1562"/>
                    </a:lnTo>
                    <a:lnTo>
                      <a:pt x="78" y="1562"/>
                    </a:lnTo>
                    <a:lnTo>
                      <a:pt x="78" y="1560"/>
                    </a:lnTo>
                    <a:lnTo>
                      <a:pt x="76" y="1560"/>
                    </a:lnTo>
                    <a:lnTo>
                      <a:pt x="76" y="1558"/>
                    </a:lnTo>
                    <a:lnTo>
                      <a:pt x="74" y="1558"/>
                    </a:lnTo>
                    <a:lnTo>
                      <a:pt x="70" y="1554"/>
                    </a:lnTo>
                    <a:lnTo>
                      <a:pt x="72" y="1552"/>
                    </a:lnTo>
                    <a:lnTo>
                      <a:pt x="72" y="1550"/>
                    </a:lnTo>
                    <a:lnTo>
                      <a:pt x="76" y="1550"/>
                    </a:lnTo>
                    <a:lnTo>
                      <a:pt x="80" y="1556"/>
                    </a:lnTo>
                    <a:lnTo>
                      <a:pt x="80" y="1558"/>
                    </a:lnTo>
                    <a:lnTo>
                      <a:pt x="80" y="1560"/>
                    </a:lnTo>
                    <a:lnTo>
                      <a:pt x="80" y="1562"/>
                    </a:lnTo>
                    <a:lnTo>
                      <a:pt x="78" y="1564"/>
                    </a:lnTo>
                    <a:lnTo>
                      <a:pt x="76" y="1568"/>
                    </a:lnTo>
                    <a:lnTo>
                      <a:pt x="72" y="1572"/>
                    </a:lnTo>
                    <a:lnTo>
                      <a:pt x="76" y="1574"/>
                    </a:lnTo>
                    <a:lnTo>
                      <a:pt x="78" y="1574"/>
                    </a:lnTo>
                    <a:lnTo>
                      <a:pt x="80" y="1570"/>
                    </a:lnTo>
                    <a:lnTo>
                      <a:pt x="80" y="1568"/>
                    </a:lnTo>
                    <a:lnTo>
                      <a:pt x="82" y="1566"/>
                    </a:lnTo>
                    <a:lnTo>
                      <a:pt x="84" y="1564"/>
                    </a:lnTo>
                    <a:lnTo>
                      <a:pt x="88" y="1558"/>
                    </a:lnTo>
                    <a:lnTo>
                      <a:pt x="90" y="1554"/>
                    </a:lnTo>
                    <a:lnTo>
                      <a:pt x="96" y="1546"/>
                    </a:lnTo>
                    <a:lnTo>
                      <a:pt x="94" y="1546"/>
                    </a:lnTo>
                    <a:lnTo>
                      <a:pt x="90" y="1552"/>
                    </a:lnTo>
                    <a:lnTo>
                      <a:pt x="88" y="1554"/>
                    </a:lnTo>
                    <a:lnTo>
                      <a:pt x="88" y="1556"/>
                    </a:lnTo>
                    <a:lnTo>
                      <a:pt x="86" y="1558"/>
                    </a:lnTo>
                    <a:lnTo>
                      <a:pt x="84" y="1560"/>
                    </a:lnTo>
                    <a:lnTo>
                      <a:pt x="84" y="1556"/>
                    </a:lnTo>
                    <a:lnTo>
                      <a:pt x="84" y="1554"/>
                    </a:lnTo>
                    <a:lnTo>
                      <a:pt x="86" y="1554"/>
                    </a:lnTo>
                    <a:lnTo>
                      <a:pt x="86" y="1552"/>
                    </a:lnTo>
                    <a:lnTo>
                      <a:pt x="86" y="1550"/>
                    </a:lnTo>
                    <a:lnTo>
                      <a:pt x="86" y="1548"/>
                    </a:lnTo>
                    <a:lnTo>
                      <a:pt x="86" y="1544"/>
                    </a:lnTo>
                    <a:lnTo>
                      <a:pt x="84" y="1542"/>
                    </a:lnTo>
                    <a:lnTo>
                      <a:pt x="90" y="1532"/>
                    </a:lnTo>
                    <a:lnTo>
                      <a:pt x="94" y="1528"/>
                    </a:lnTo>
                    <a:lnTo>
                      <a:pt x="96" y="1528"/>
                    </a:lnTo>
                    <a:lnTo>
                      <a:pt x="96" y="1526"/>
                    </a:lnTo>
                    <a:lnTo>
                      <a:pt x="98" y="1526"/>
                    </a:lnTo>
                    <a:lnTo>
                      <a:pt x="100" y="1526"/>
                    </a:lnTo>
                    <a:lnTo>
                      <a:pt x="102" y="1526"/>
                    </a:lnTo>
                    <a:lnTo>
                      <a:pt x="104" y="1526"/>
                    </a:lnTo>
                    <a:lnTo>
                      <a:pt x="104" y="1524"/>
                    </a:lnTo>
                    <a:lnTo>
                      <a:pt x="98" y="1522"/>
                    </a:lnTo>
                    <a:lnTo>
                      <a:pt x="96" y="1522"/>
                    </a:lnTo>
                    <a:lnTo>
                      <a:pt x="96" y="1524"/>
                    </a:lnTo>
                    <a:lnTo>
                      <a:pt x="94" y="1524"/>
                    </a:lnTo>
                    <a:lnTo>
                      <a:pt x="94" y="1526"/>
                    </a:lnTo>
                    <a:lnTo>
                      <a:pt x="92" y="1528"/>
                    </a:lnTo>
                    <a:lnTo>
                      <a:pt x="90" y="1530"/>
                    </a:lnTo>
                    <a:lnTo>
                      <a:pt x="88" y="1530"/>
                    </a:lnTo>
                    <a:lnTo>
                      <a:pt x="88" y="1526"/>
                    </a:lnTo>
                    <a:lnTo>
                      <a:pt x="90" y="1514"/>
                    </a:lnTo>
                    <a:lnTo>
                      <a:pt x="96" y="1508"/>
                    </a:lnTo>
                    <a:lnTo>
                      <a:pt x="100" y="1506"/>
                    </a:lnTo>
                    <a:lnTo>
                      <a:pt x="104" y="1504"/>
                    </a:lnTo>
                    <a:lnTo>
                      <a:pt x="104" y="1506"/>
                    </a:lnTo>
                    <a:lnTo>
                      <a:pt x="104" y="1508"/>
                    </a:lnTo>
                    <a:lnTo>
                      <a:pt x="106" y="1508"/>
                    </a:lnTo>
                    <a:lnTo>
                      <a:pt x="108" y="1510"/>
                    </a:lnTo>
                    <a:lnTo>
                      <a:pt x="112" y="1512"/>
                    </a:lnTo>
                    <a:lnTo>
                      <a:pt x="114" y="1514"/>
                    </a:lnTo>
                    <a:lnTo>
                      <a:pt x="118" y="1514"/>
                    </a:lnTo>
                    <a:lnTo>
                      <a:pt x="120" y="1512"/>
                    </a:lnTo>
                    <a:lnTo>
                      <a:pt x="120" y="1510"/>
                    </a:lnTo>
                    <a:lnTo>
                      <a:pt x="116" y="1510"/>
                    </a:lnTo>
                    <a:lnTo>
                      <a:pt x="114" y="1510"/>
                    </a:lnTo>
                    <a:lnTo>
                      <a:pt x="110" y="1508"/>
                    </a:lnTo>
                    <a:lnTo>
                      <a:pt x="108" y="1506"/>
                    </a:lnTo>
                    <a:lnTo>
                      <a:pt x="106" y="1504"/>
                    </a:lnTo>
                    <a:lnTo>
                      <a:pt x="102" y="1502"/>
                    </a:lnTo>
                    <a:lnTo>
                      <a:pt x="100" y="1502"/>
                    </a:lnTo>
                    <a:lnTo>
                      <a:pt x="98" y="1502"/>
                    </a:lnTo>
                    <a:lnTo>
                      <a:pt x="98" y="1504"/>
                    </a:lnTo>
                    <a:lnTo>
                      <a:pt x="96" y="1504"/>
                    </a:lnTo>
                    <a:lnTo>
                      <a:pt x="94" y="1504"/>
                    </a:lnTo>
                    <a:lnTo>
                      <a:pt x="94" y="1502"/>
                    </a:lnTo>
                    <a:lnTo>
                      <a:pt x="94" y="1498"/>
                    </a:lnTo>
                    <a:lnTo>
                      <a:pt x="96" y="1498"/>
                    </a:lnTo>
                    <a:lnTo>
                      <a:pt x="98" y="1498"/>
                    </a:lnTo>
                    <a:lnTo>
                      <a:pt x="100" y="1496"/>
                    </a:lnTo>
                    <a:lnTo>
                      <a:pt x="98" y="1496"/>
                    </a:lnTo>
                    <a:lnTo>
                      <a:pt x="96" y="1492"/>
                    </a:lnTo>
                    <a:lnTo>
                      <a:pt x="96" y="1490"/>
                    </a:lnTo>
                    <a:lnTo>
                      <a:pt x="96" y="1488"/>
                    </a:lnTo>
                    <a:lnTo>
                      <a:pt x="96" y="1486"/>
                    </a:lnTo>
                    <a:lnTo>
                      <a:pt x="98" y="1486"/>
                    </a:lnTo>
                    <a:lnTo>
                      <a:pt x="100" y="1486"/>
                    </a:lnTo>
                    <a:lnTo>
                      <a:pt x="102" y="1486"/>
                    </a:lnTo>
                    <a:lnTo>
                      <a:pt x="106" y="1486"/>
                    </a:lnTo>
                    <a:lnTo>
                      <a:pt x="114" y="1480"/>
                    </a:lnTo>
                    <a:lnTo>
                      <a:pt x="116" y="1480"/>
                    </a:lnTo>
                    <a:lnTo>
                      <a:pt x="122" y="1476"/>
                    </a:lnTo>
                    <a:lnTo>
                      <a:pt x="124" y="1472"/>
                    </a:lnTo>
                    <a:lnTo>
                      <a:pt x="126" y="1468"/>
                    </a:lnTo>
                    <a:lnTo>
                      <a:pt x="130" y="1460"/>
                    </a:lnTo>
                    <a:lnTo>
                      <a:pt x="130" y="1454"/>
                    </a:lnTo>
                    <a:lnTo>
                      <a:pt x="126" y="1456"/>
                    </a:lnTo>
                    <a:lnTo>
                      <a:pt x="124" y="1460"/>
                    </a:lnTo>
                    <a:lnTo>
                      <a:pt x="118" y="1456"/>
                    </a:lnTo>
                    <a:lnTo>
                      <a:pt x="114" y="1452"/>
                    </a:lnTo>
                    <a:lnTo>
                      <a:pt x="112" y="1450"/>
                    </a:lnTo>
                    <a:lnTo>
                      <a:pt x="108" y="1448"/>
                    </a:lnTo>
                    <a:lnTo>
                      <a:pt x="106" y="1448"/>
                    </a:lnTo>
                    <a:lnTo>
                      <a:pt x="104" y="1448"/>
                    </a:lnTo>
                    <a:lnTo>
                      <a:pt x="100" y="1444"/>
                    </a:lnTo>
                    <a:lnTo>
                      <a:pt x="100" y="1442"/>
                    </a:lnTo>
                    <a:lnTo>
                      <a:pt x="100" y="1440"/>
                    </a:lnTo>
                    <a:lnTo>
                      <a:pt x="102" y="1438"/>
                    </a:lnTo>
                    <a:lnTo>
                      <a:pt x="106" y="1436"/>
                    </a:lnTo>
                    <a:lnTo>
                      <a:pt x="106" y="1434"/>
                    </a:lnTo>
                    <a:lnTo>
                      <a:pt x="108" y="1430"/>
                    </a:lnTo>
                    <a:lnTo>
                      <a:pt x="112" y="1424"/>
                    </a:lnTo>
                    <a:lnTo>
                      <a:pt x="114" y="1424"/>
                    </a:lnTo>
                    <a:lnTo>
                      <a:pt x="118" y="1422"/>
                    </a:lnTo>
                    <a:lnTo>
                      <a:pt x="118" y="1420"/>
                    </a:lnTo>
                    <a:lnTo>
                      <a:pt x="118" y="1418"/>
                    </a:lnTo>
                    <a:lnTo>
                      <a:pt x="118" y="1420"/>
                    </a:lnTo>
                    <a:lnTo>
                      <a:pt x="116" y="1422"/>
                    </a:lnTo>
                    <a:lnTo>
                      <a:pt x="114" y="1422"/>
                    </a:lnTo>
                    <a:lnTo>
                      <a:pt x="110" y="1420"/>
                    </a:lnTo>
                    <a:lnTo>
                      <a:pt x="110" y="1418"/>
                    </a:lnTo>
                    <a:lnTo>
                      <a:pt x="110" y="1412"/>
                    </a:lnTo>
                    <a:lnTo>
                      <a:pt x="108" y="1406"/>
                    </a:lnTo>
                    <a:lnTo>
                      <a:pt x="108" y="1404"/>
                    </a:lnTo>
                    <a:lnTo>
                      <a:pt x="108" y="1398"/>
                    </a:lnTo>
                    <a:lnTo>
                      <a:pt x="110" y="1396"/>
                    </a:lnTo>
                    <a:lnTo>
                      <a:pt x="112" y="1394"/>
                    </a:lnTo>
                    <a:lnTo>
                      <a:pt x="114" y="1394"/>
                    </a:lnTo>
                    <a:lnTo>
                      <a:pt x="116" y="1392"/>
                    </a:lnTo>
                    <a:lnTo>
                      <a:pt x="116" y="1388"/>
                    </a:lnTo>
                    <a:lnTo>
                      <a:pt x="114" y="1388"/>
                    </a:lnTo>
                    <a:lnTo>
                      <a:pt x="114" y="1386"/>
                    </a:lnTo>
                    <a:lnTo>
                      <a:pt x="116" y="1382"/>
                    </a:lnTo>
                    <a:lnTo>
                      <a:pt x="118" y="1380"/>
                    </a:lnTo>
                    <a:lnTo>
                      <a:pt x="120" y="1380"/>
                    </a:lnTo>
                    <a:lnTo>
                      <a:pt x="122" y="1382"/>
                    </a:lnTo>
                    <a:lnTo>
                      <a:pt x="124" y="1376"/>
                    </a:lnTo>
                    <a:lnTo>
                      <a:pt x="122" y="1374"/>
                    </a:lnTo>
                    <a:lnTo>
                      <a:pt x="120" y="1372"/>
                    </a:lnTo>
                    <a:lnTo>
                      <a:pt x="118" y="1372"/>
                    </a:lnTo>
                    <a:lnTo>
                      <a:pt x="118" y="1370"/>
                    </a:lnTo>
                    <a:lnTo>
                      <a:pt x="118" y="1368"/>
                    </a:lnTo>
                    <a:lnTo>
                      <a:pt x="118" y="1364"/>
                    </a:lnTo>
                    <a:lnTo>
                      <a:pt x="118" y="1356"/>
                    </a:lnTo>
                    <a:lnTo>
                      <a:pt x="120" y="1352"/>
                    </a:lnTo>
                    <a:lnTo>
                      <a:pt x="124" y="1352"/>
                    </a:lnTo>
                    <a:lnTo>
                      <a:pt x="126" y="1352"/>
                    </a:lnTo>
                    <a:lnTo>
                      <a:pt x="126" y="1354"/>
                    </a:lnTo>
                    <a:lnTo>
                      <a:pt x="130" y="1356"/>
                    </a:lnTo>
                    <a:lnTo>
                      <a:pt x="132" y="1356"/>
                    </a:lnTo>
                    <a:lnTo>
                      <a:pt x="132" y="1354"/>
                    </a:lnTo>
                    <a:lnTo>
                      <a:pt x="130" y="1354"/>
                    </a:lnTo>
                    <a:lnTo>
                      <a:pt x="128" y="1352"/>
                    </a:lnTo>
                    <a:lnTo>
                      <a:pt x="126" y="1352"/>
                    </a:lnTo>
                    <a:lnTo>
                      <a:pt x="118" y="1342"/>
                    </a:lnTo>
                    <a:lnTo>
                      <a:pt x="120" y="1340"/>
                    </a:lnTo>
                    <a:lnTo>
                      <a:pt x="122" y="1338"/>
                    </a:lnTo>
                    <a:lnTo>
                      <a:pt x="130" y="1336"/>
                    </a:lnTo>
                    <a:lnTo>
                      <a:pt x="132" y="1338"/>
                    </a:lnTo>
                    <a:lnTo>
                      <a:pt x="132" y="1340"/>
                    </a:lnTo>
                    <a:lnTo>
                      <a:pt x="136" y="1350"/>
                    </a:lnTo>
                    <a:lnTo>
                      <a:pt x="136" y="1346"/>
                    </a:lnTo>
                    <a:lnTo>
                      <a:pt x="134" y="1338"/>
                    </a:lnTo>
                    <a:lnTo>
                      <a:pt x="134" y="1336"/>
                    </a:lnTo>
                    <a:lnTo>
                      <a:pt x="134" y="1332"/>
                    </a:lnTo>
                    <a:lnTo>
                      <a:pt x="134" y="1330"/>
                    </a:lnTo>
                    <a:lnTo>
                      <a:pt x="134" y="1328"/>
                    </a:lnTo>
                    <a:lnTo>
                      <a:pt x="134" y="1326"/>
                    </a:lnTo>
                    <a:lnTo>
                      <a:pt x="134" y="1324"/>
                    </a:lnTo>
                    <a:lnTo>
                      <a:pt x="132" y="1326"/>
                    </a:lnTo>
                    <a:lnTo>
                      <a:pt x="128" y="1328"/>
                    </a:lnTo>
                    <a:lnTo>
                      <a:pt x="122" y="1326"/>
                    </a:lnTo>
                    <a:lnTo>
                      <a:pt x="120" y="1324"/>
                    </a:lnTo>
                    <a:lnTo>
                      <a:pt x="118" y="1322"/>
                    </a:lnTo>
                    <a:lnTo>
                      <a:pt x="118" y="1320"/>
                    </a:lnTo>
                    <a:lnTo>
                      <a:pt x="120" y="1318"/>
                    </a:lnTo>
                    <a:lnTo>
                      <a:pt x="126" y="1312"/>
                    </a:lnTo>
                    <a:lnTo>
                      <a:pt x="128" y="1312"/>
                    </a:lnTo>
                    <a:lnTo>
                      <a:pt x="130" y="1312"/>
                    </a:lnTo>
                    <a:lnTo>
                      <a:pt x="134" y="1310"/>
                    </a:lnTo>
                    <a:lnTo>
                      <a:pt x="138" y="1310"/>
                    </a:lnTo>
                    <a:lnTo>
                      <a:pt x="140" y="1308"/>
                    </a:lnTo>
                    <a:lnTo>
                      <a:pt x="142" y="1306"/>
                    </a:lnTo>
                    <a:lnTo>
                      <a:pt x="142" y="1296"/>
                    </a:lnTo>
                    <a:lnTo>
                      <a:pt x="140" y="1296"/>
                    </a:lnTo>
                    <a:lnTo>
                      <a:pt x="138" y="1306"/>
                    </a:lnTo>
                    <a:lnTo>
                      <a:pt x="138" y="1308"/>
                    </a:lnTo>
                    <a:lnTo>
                      <a:pt x="134" y="1308"/>
                    </a:lnTo>
                    <a:lnTo>
                      <a:pt x="130" y="1310"/>
                    </a:lnTo>
                    <a:lnTo>
                      <a:pt x="128" y="1310"/>
                    </a:lnTo>
                    <a:lnTo>
                      <a:pt x="126" y="1308"/>
                    </a:lnTo>
                    <a:lnTo>
                      <a:pt x="124" y="1304"/>
                    </a:lnTo>
                    <a:lnTo>
                      <a:pt x="124" y="1302"/>
                    </a:lnTo>
                    <a:lnTo>
                      <a:pt x="120" y="1300"/>
                    </a:lnTo>
                    <a:lnTo>
                      <a:pt x="118" y="1298"/>
                    </a:lnTo>
                    <a:lnTo>
                      <a:pt x="114" y="1298"/>
                    </a:lnTo>
                    <a:lnTo>
                      <a:pt x="112" y="1298"/>
                    </a:lnTo>
                    <a:lnTo>
                      <a:pt x="110" y="1300"/>
                    </a:lnTo>
                    <a:lnTo>
                      <a:pt x="106" y="1304"/>
                    </a:lnTo>
                    <a:lnTo>
                      <a:pt x="108" y="1306"/>
                    </a:lnTo>
                    <a:lnTo>
                      <a:pt x="110" y="1310"/>
                    </a:lnTo>
                    <a:lnTo>
                      <a:pt x="106" y="1312"/>
                    </a:lnTo>
                    <a:lnTo>
                      <a:pt x="102" y="1314"/>
                    </a:lnTo>
                    <a:lnTo>
                      <a:pt x="98" y="1314"/>
                    </a:lnTo>
                    <a:lnTo>
                      <a:pt x="96" y="1314"/>
                    </a:lnTo>
                    <a:lnTo>
                      <a:pt x="94" y="1314"/>
                    </a:lnTo>
                    <a:lnTo>
                      <a:pt x="92" y="1314"/>
                    </a:lnTo>
                    <a:lnTo>
                      <a:pt x="90" y="1314"/>
                    </a:lnTo>
                    <a:lnTo>
                      <a:pt x="86" y="1314"/>
                    </a:lnTo>
                    <a:lnTo>
                      <a:pt x="80" y="1314"/>
                    </a:lnTo>
                    <a:lnTo>
                      <a:pt x="78" y="1314"/>
                    </a:lnTo>
                    <a:lnTo>
                      <a:pt x="78" y="1308"/>
                    </a:lnTo>
                    <a:lnTo>
                      <a:pt x="80" y="1306"/>
                    </a:lnTo>
                    <a:lnTo>
                      <a:pt x="82" y="1306"/>
                    </a:lnTo>
                    <a:lnTo>
                      <a:pt x="84" y="1306"/>
                    </a:lnTo>
                    <a:lnTo>
                      <a:pt x="86" y="1304"/>
                    </a:lnTo>
                    <a:lnTo>
                      <a:pt x="90" y="1300"/>
                    </a:lnTo>
                    <a:lnTo>
                      <a:pt x="88" y="1300"/>
                    </a:lnTo>
                    <a:lnTo>
                      <a:pt x="88" y="1302"/>
                    </a:lnTo>
                    <a:lnTo>
                      <a:pt x="86" y="1304"/>
                    </a:lnTo>
                    <a:lnTo>
                      <a:pt x="84" y="1304"/>
                    </a:lnTo>
                    <a:lnTo>
                      <a:pt x="80" y="1304"/>
                    </a:lnTo>
                    <a:lnTo>
                      <a:pt x="78" y="1302"/>
                    </a:lnTo>
                    <a:lnTo>
                      <a:pt x="74" y="1298"/>
                    </a:lnTo>
                    <a:lnTo>
                      <a:pt x="74" y="1296"/>
                    </a:lnTo>
                    <a:lnTo>
                      <a:pt x="74" y="1294"/>
                    </a:lnTo>
                    <a:lnTo>
                      <a:pt x="74" y="1290"/>
                    </a:lnTo>
                    <a:lnTo>
                      <a:pt x="74" y="1288"/>
                    </a:lnTo>
                    <a:lnTo>
                      <a:pt x="72" y="1284"/>
                    </a:lnTo>
                    <a:lnTo>
                      <a:pt x="70" y="1284"/>
                    </a:lnTo>
                    <a:lnTo>
                      <a:pt x="70" y="1282"/>
                    </a:lnTo>
                    <a:lnTo>
                      <a:pt x="68" y="1276"/>
                    </a:lnTo>
                    <a:lnTo>
                      <a:pt x="66" y="1270"/>
                    </a:lnTo>
                    <a:lnTo>
                      <a:pt x="70" y="1264"/>
                    </a:lnTo>
                    <a:lnTo>
                      <a:pt x="74" y="1252"/>
                    </a:lnTo>
                    <a:lnTo>
                      <a:pt x="76" y="1248"/>
                    </a:lnTo>
                    <a:lnTo>
                      <a:pt x="78" y="1246"/>
                    </a:lnTo>
                    <a:lnTo>
                      <a:pt x="78" y="1242"/>
                    </a:lnTo>
                    <a:lnTo>
                      <a:pt x="76" y="1240"/>
                    </a:lnTo>
                    <a:lnTo>
                      <a:pt x="78" y="1226"/>
                    </a:lnTo>
                    <a:lnTo>
                      <a:pt x="80" y="1224"/>
                    </a:lnTo>
                    <a:lnTo>
                      <a:pt x="82" y="1224"/>
                    </a:lnTo>
                    <a:lnTo>
                      <a:pt x="80" y="1222"/>
                    </a:lnTo>
                    <a:lnTo>
                      <a:pt x="80" y="1220"/>
                    </a:lnTo>
                    <a:lnTo>
                      <a:pt x="80" y="1218"/>
                    </a:lnTo>
                    <a:lnTo>
                      <a:pt x="78" y="1216"/>
                    </a:lnTo>
                    <a:lnTo>
                      <a:pt x="80" y="1216"/>
                    </a:lnTo>
                    <a:lnTo>
                      <a:pt x="80" y="1214"/>
                    </a:lnTo>
                    <a:lnTo>
                      <a:pt x="90" y="1210"/>
                    </a:lnTo>
                    <a:lnTo>
                      <a:pt x="94" y="1212"/>
                    </a:lnTo>
                    <a:lnTo>
                      <a:pt x="94" y="1210"/>
                    </a:lnTo>
                    <a:lnTo>
                      <a:pt x="94" y="1204"/>
                    </a:lnTo>
                    <a:lnTo>
                      <a:pt x="96" y="1196"/>
                    </a:lnTo>
                    <a:lnTo>
                      <a:pt x="98" y="1194"/>
                    </a:lnTo>
                    <a:lnTo>
                      <a:pt x="100" y="1190"/>
                    </a:lnTo>
                    <a:lnTo>
                      <a:pt x="100" y="1186"/>
                    </a:lnTo>
                    <a:lnTo>
                      <a:pt x="100" y="1184"/>
                    </a:lnTo>
                    <a:lnTo>
                      <a:pt x="100" y="1182"/>
                    </a:lnTo>
                    <a:lnTo>
                      <a:pt x="100" y="1176"/>
                    </a:lnTo>
                    <a:lnTo>
                      <a:pt x="98" y="1168"/>
                    </a:lnTo>
                    <a:lnTo>
                      <a:pt x="96" y="1160"/>
                    </a:lnTo>
                    <a:lnTo>
                      <a:pt x="90" y="1148"/>
                    </a:lnTo>
                    <a:lnTo>
                      <a:pt x="88" y="1142"/>
                    </a:lnTo>
                    <a:lnTo>
                      <a:pt x="88" y="1138"/>
                    </a:lnTo>
                    <a:lnTo>
                      <a:pt x="86" y="1138"/>
                    </a:lnTo>
                    <a:lnTo>
                      <a:pt x="86" y="1132"/>
                    </a:lnTo>
                    <a:lnTo>
                      <a:pt x="86" y="1130"/>
                    </a:lnTo>
                    <a:lnTo>
                      <a:pt x="86" y="1128"/>
                    </a:lnTo>
                    <a:lnTo>
                      <a:pt x="88" y="1128"/>
                    </a:lnTo>
                    <a:lnTo>
                      <a:pt x="86" y="1124"/>
                    </a:lnTo>
                    <a:lnTo>
                      <a:pt x="88" y="1122"/>
                    </a:lnTo>
                    <a:lnTo>
                      <a:pt x="90" y="1120"/>
                    </a:lnTo>
                    <a:lnTo>
                      <a:pt x="90" y="1112"/>
                    </a:lnTo>
                    <a:lnTo>
                      <a:pt x="90" y="1110"/>
                    </a:lnTo>
                    <a:lnTo>
                      <a:pt x="88" y="1108"/>
                    </a:lnTo>
                    <a:lnTo>
                      <a:pt x="86" y="1102"/>
                    </a:lnTo>
                    <a:lnTo>
                      <a:pt x="82" y="1098"/>
                    </a:lnTo>
                    <a:lnTo>
                      <a:pt x="80" y="1094"/>
                    </a:lnTo>
                    <a:lnTo>
                      <a:pt x="78" y="1088"/>
                    </a:lnTo>
                    <a:lnTo>
                      <a:pt x="80" y="1086"/>
                    </a:lnTo>
                    <a:lnTo>
                      <a:pt x="82" y="1084"/>
                    </a:lnTo>
                    <a:lnTo>
                      <a:pt x="84" y="1080"/>
                    </a:lnTo>
                    <a:lnTo>
                      <a:pt x="82" y="1078"/>
                    </a:lnTo>
                    <a:lnTo>
                      <a:pt x="80" y="1076"/>
                    </a:lnTo>
                    <a:lnTo>
                      <a:pt x="80" y="1074"/>
                    </a:lnTo>
                    <a:lnTo>
                      <a:pt x="78" y="1074"/>
                    </a:lnTo>
                    <a:lnTo>
                      <a:pt x="80" y="1066"/>
                    </a:lnTo>
                    <a:lnTo>
                      <a:pt x="82" y="1064"/>
                    </a:lnTo>
                    <a:lnTo>
                      <a:pt x="84" y="1064"/>
                    </a:lnTo>
                    <a:lnTo>
                      <a:pt x="86" y="1066"/>
                    </a:lnTo>
                    <a:lnTo>
                      <a:pt x="90" y="1068"/>
                    </a:lnTo>
                    <a:lnTo>
                      <a:pt x="92" y="1068"/>
                    </a:lnTo>
                    <a:lnTo>
                      <a:pt x="94" y="1068"/>
                    </a:lnTo>
                    <a:lnTo>
                      <a:pt x="96" y="1068"/>
                    </a:lnTo>
                    <a:lnTo>
                      <a:pt x="98" y="1066"/>
                    </a:lnTo>
                    <a:lnTo>
                      <a:pt x="100" y="1066"/>
                    </a:lnTo>
                    <a:lnTo>
                      <a:pt x="100" y="1064"/>
                    </a:lnTo>
                    <a:lnTo>
                      <a:pt x="102" y="1062"/>
                    </a:lnTo>
                    <a:lnTo>
                      <a:pt x="102" y="1058"/>
                    </a:lnTo>
                    <a:lnTo>
                      <a:pt x="104" y="1048"/>
                    </a:lnTo>
                    <a:lnTo>
                      <a:pt x="104" y="1038"/>
                    </a:lnTo>
                    <a:lnTo>
                      <a:pt x="106" y="1038"/>
                    </a:lnTo>
                    <a:lnTo>
                      <a:pt x="108" y="1040"/>
                    </a:lnTo>
                    <a:lnTo>
                      <a:pt x="110" y="1040"/>
                    </a:lnTo>
                    <a:lnTo>
                      <a:pt x="112" y="1038"/>
                    </a:lnTo>
                    <a:lnTo>
                      <a:pt x="112" y="1036"/>
                    </a:lnTo>
                    <a:lnTo>
                      <a:pt x="114" y="1028"/>
                    </a:lnTo>
                    <a:lnTo>
                      <a:pt x="116" y="1024"/>
                    </a:lnTo>
                    <a:lnTo>
                      <a:pt x="118" y="1020"/>
                    </a:lnTo>
                    <a:lnTo>
                      <a:pt x="118" y="1008"/>
                    </a:lnTo>
                    <a:lnTo>
                      <a:pt x="120" y="1000"/>
                    </a:lnTo>
                    <a:lnTo>
                      <a:pt x="122" y="998"/>
                    </a:lnTo>
                    <a:lnTo>
                      <a:pt x="124" y="996"/>
                    </a:lnTo>
                    <a:lnTo>
                      <a:pt x="130" y="992"/>
                    </a:lnTo>
                    <a:lnTo>
                      <a:pt x="130" y="990"/>
                    </a:lnTo>
                    <a:lnTo>
                      <a:pt x="130" y="988"/>
                    </a:lnTo>
                    <a:lnTo>
                      <a:pt x="130" y="986"/>
                    </a:lnTo>
                    <a:lnTo>
                      <a:pt x="128" y="984"/>
                    </a:lnTo>
                    <a:lnTo>
                      <a:pt x="126" y="980"/>
                    </a:lnTo>
                    <a:lnTo>
                      <a:pt x="126" y="978"/>
                    </a:lnTo>
                    <a:lnTo>
                      <a:pt x="128" y="976"/>
                    </a:lnTo>
                    <a:lnTo>
                      <a:pt x="130" y="976"/>
                    </a:lnTo>
                    <a:lnTo>
                      <a:pt x="134" y="974"/>
                    </a:lnTo>
                    <a:lnTo>
                      <a:pt x="136" y="966"/>
                    </a:lnTo>
                    <a:lnTo>
                      <a:pt x="138" y="962"/>
                    </a:lnTo>
                    <a:lnTo>
                      <a:pt x="138" y="960"/>
                    </a:lnTo>
                    <a:lnTo>
                      <a:pt x="140" y="958"/>
                    </a:lnTo>
                    <a:lnTo>
                      <a:pt x="142" y="958"/>
                    </a:lnTo>
                    <a:lnTo>
                      <a:pt x="144" y="956"/>
                    </a:lnTo>
                    <a:lnTo>
                      <a:pt x="146" y="954"/>
                    </a:lnTo>
                    <a:lnTo>
                      <a:pt x="148" y="952"/>
                    </a:lnTo>
                    <a:lnTo>
                      <a:pt x="148" y="948"/>
                    </a:lnTo>
                    <a:lnTo>
                      <a:pt x="148" y="946"/>
                    </a:lnTo>
                    <a:lnTo>
                      <a:pt x="148" y="944"/>
                    </a:lnTo>
                    <a:lnTo>
                      <a:pt x="148" y="942"/>
                    </a:lnTo>
                    <a:lnTo>
                      <a:pt x="152" y="936"/>
                    </a:lnTo>
                    <a:lnTo>
                      <a:pt x="152" y="934"/>
                    </a:lnTo>
                    <a:lnTo>
                      <a:pt x="154" y="930"/>
                    </a:lnTo>
                    <a:lnTo>
                      <a:pt x="154" y="928"/>
                    </a:lnTo>
                    <a:lnTo>
                      <a:pt x="156" y="920"/>
                    </a:lnTo>
                    <a:lnTo>
                      <a:pt x="154" y="918"/>
                    </a:lnTo>
                    <a:lnTo>
                      <a:pt x="154" y="916"/>
                    </a:lnTo>
                    <a:lnTo>
                      <a:pt x="156" y="914"/>
                    </a:lnTo>
                    <a:lnTo>
                      <a:pt x="158" y="912"/>
                    </a:lnTo>
                    <a:lnTo>
                      <a:pt x="158" y="908"/>
                    </a:lnTo>
                    <a:lnTo>
                      <a:pt x="158" y="904"/>
                    </a:lnTo>
                    <a:lnTo>
                      <a:pt x="156" y="904"/>
                    </a:lnTo>
                    <a:lnTo>
                      <a:pt x="156" y="902"/>
                    </a:lnTo>
                    <a:lnTo>
                      <a:pt x="156" y="900"/>
                    </a:lnTo>
                    <a:lnTo>
                      <a:pt x="162" y="890"/>
                    </a:lnTo>
                    <a:lnTo>
                      <a:pt x="164" y="890"/>
                    </a:lnTo>
                    <a:lnTo>
                      <a:pt x="164" y="888"/>
                    </a:lnTo>
                    <a:lnTo>
                      <a:pt x="166" y="884"/>
                    </a:lnTo>
                    <a:lnTo>
                      <a:pt x="168" y="880"/>
                    </a:lnTo>
                    <a:lnTo>
                      <a:pt x="170" y="880"/>
                    </a:lnTo>
                    <a:lnTo>
                      <a:pt x="172" y="878"/>
                    </a:lnTo>
                    <a:lnTo>
                      <a:pt x="174" y="876"/>
                    </a:lnTo>
                    <a:lnTo>
                      <a:pt x="174" y="874"/>
                    </a:lnTo>
                    <a:lnTo>
                      <a:pt x="174" y="872"/>
                    </a:lnTo>
                    <a:lnTo>
                      <a:pt x="174" y="870"/>
                    </a:lnTo>
                    <a:lnTo>
                      <a:pt x="174" y="866"/>
                    </a:lnTo>
                    <a:lnTo>
                      <a:pt x="172" y="858"/>
                    </a:lnTo>
                    <a:lnTo>
                      <a:pt x="172" y="852"/>
                    </a:lnTo>
                    <a:lnTo>
                      <a:pt x="170" y="844"/>
                    </a:lnTo>
                    <a:lnTo>
                      <a:pt x="172" y="844"/>
                    </a:lnTo>
                    <a:lnTo>
                      <a:pt x="178" y="838"/>
                    </a:lnTo>
                    <a:lnTo>
                      <a:pt x="180" y="834"/>
                    </a:lnTo>
                    <a:lnTo>
                      <a:pt x="182" y="826"/>
                    </a:lnTo>
                    <a:lnTo>
                      <a:pt x="184" y="822"/>
                    </a:lnTo>
                    <a:lnTo>
                      <a:pt x="184" y="820"/>
                    </a:lnTo>
                    <a:lnTo>
                      <a:pt x="186" y="818"/>
                    </a:lnTo>
                    <a:lnTo>
                      <a:pt x="186" y="812"/>
                    </a:lnTo>
                    <a:lnTo>
                      <a:pt x="186" y="806"/>
                    </a:lnTo>
                    <a:lnTo>
                      <a:pt x="184" y="800"/>
                    </a:lnTo>
                    <a:lnTo>
                      <a:pt x="182" y="798"/>
                    </a:lnTo>
                    <a:lnTo>
                      <a:pt x="180" y="794"/>
                    </a:lnTo>
                    <a:lnTo>
                      <a:pt x="180" y="790"/>
                    </a:lnTo>
                    <a:lnTo>
                      <a:pt x="182" y="786"/>
                    </a:lnTo>
                    <a:lnTo>
                      <a:pt x="182" y="784"/>
                    </a:lnTo>
                    <a:lnTo>
                      <a:pt x="182" y="780"/>
                    </a:lnTo>
                    <a:lnTo>
                      <a:pt x="182" y="772"/>
                    </a:lnTo>
                    <a:lnTo>
                      <a:pt x="182" y="770"/>
                    </a:lnTo>
                    <a:lnTo>
                      <a:pt x="180" y="768"/>
                    </a:lnTo>
                    <a:lnTo>
                      <a:pt x="180" y="764"/>
                    </a:lnTo>
                    <a:lnTo>
                      <a:pt x="180" y="760"/>
                    </a:lnTo>
                    <a:lnTo>
                      <a:pt x="176" y="748"/>
                    </a:lnTo>
                    <a:lnTo>
                      <a:pt x="174" y="740"/>
                    </a:lnTo>
                    <a:lnTo>
                      <a:pt x="174" y="738"/>
                    </a:lnTo>
                    <a:lnTo>
                      <a:pt x="174" y="736"/>
                    </a:lnTo>
                    <a:lnTo>
                      <a:pt x="174" y="734"/>
                    </a:lnTo>
                    <a:lnTo>
                      <a:pt x="176" y="730"/>
                    </a:lnTo>
                    <a:lnTo>
                      <a:pt x="174" y="728"/>
                    </a:lnTo>
                    <a:lnTo>
                      <a:pt x="174" y="726"/>
                    </a:lnTo>
                    <a:lnTo>
                      <a:pt x="174" y="724"/>
                    </a:lnTo>
                    <a:lnTo>
                      <a:pt x="172" y="718"/>
                    </a:lnTo>
                    <a:lnTo>
                      <a:pt x="172" y="712"/>
                    </a:lnTo>
                    <a:lnTo>
                      <a:pt x="172" y="706"/>
                    </a:lnTo>
                    <a:lnTo>
                      <a:pt x="172" y="704"/>
                    </a:lnTo>
                    <a:lnTo>
                      <a:pt x="174" y="694"/>
                    </a:lnTo>
                    <a:lnTo>
                      <a:pt x="176" y="690"/>
                    </a:lnTo>
                    <a:lnTo>
                      <a:pt x="178" y="690"/>
                    </a:lnTo>
                    <a:lnTo>
                      <a:pt x="178" y="692"/>
                    </a:lnTo>
                    <a:lnTo>
                      <a:pt x="180" y="692"/>
                    </a:lnTo>
                    <a:lnTo>
                      <a:pt x="182" y="690"/>
                    </a:lnTo>
                    <a:lnTo>
                      <a:pt x="188" y="686"/>
                    </a:lnTo>
                    <a:lnTo>
                      <a:pt x="190" y="674"/>
                    </a:lnTo>
                    <a:lnTo>
                      <a:pt x="194" y="672"/>
                    </a:lnTo>
                    <a:lnTo>
                      <a:pt x="192" y="668"/>
                    </a:lnTo>
                    <a:lnTo>
                      <a:pt x="192" y="666"/>
                    </a:lnTo>
                    <a:lnTo>
                      <a:pt x="190" y="662"/>
                    </a:lnTo>
                    <a:lnTo>
                      <a:pt x="190" y="652"/>
                    </a:lnTo>
                    <a:lnTo>
                      <a:pt x="192" y="648"/>
                    </a:lnTo>
                    <a:lnTo>
                      <a:pt x="192" y="646"/>
                    </a:lnTo>
                    <a:lnTo>
                      <a:pt x="192" y="644"/>
                    </a:lnTo>
                    <a:lnTo>
                      <a:pt x="190" y="640"/>
                    </a:lnTo>
                    <a:lnTo>
                      <a:pt x="190" y="638"/>
                    </a:lnTo>
                    <a:lnTo>
                      <a:pt x="188" y="638"/>
                    </a:lnTo>
                    <a:lnTo>
                      <a:pt x="186" y="636"/>
                    </a:lnTo>
                    <a:lnTo>
                      <a:pt x="186" y="634"/>
                    </a:lnTo>
                    <a:lnTo>
                      <a:pt x="184" y="634"/>
                    </a:lnTo>
                    <a:lnTo>
                      <a:pt x="184" y="632"/>
                    </a:lnTo>
                    <a:lnTo>
                      <a:pt x="184" y="628"/>
                    </a:lnTo>
                    <a:lnTo>
                      <a:pt x="184" y="620"/>
                    </a:lnTo>
                    <a:lnTo>
                      <a:pt x="184" y="616"/>
                    </a:lnTo>
                    <a:lnTo>
                      <a:pt x="184" y="614"/>
                    </a:lnTo>
                    <a:lnTo>
                      <a:pt x="186" y="614"/>
                    </a:lnTo>
                    <a:lnTo>
                      <a:pt x="190" y="610"/>
                    </a:lnTo>
                    <a:lnTo>
                      <a:pt x="194" y="604"/>
                    </a:lnTo>
                    <a:lnTo>
                      <a:pt x="194" y="602"/>
                    </a:lnTo>
                    <a:lnTo>
                      <a:pt x="194" y="598"/>
                    </a:lnTo>
                    <a:lnTo>
                      <a:pt x="196" y="596"/>
                    </a:lnTo>
                    <a:lnTo>
                      <a:pt x="196" y="594"/>
                    </a:lnTo>
                    <a:lnTo>
                      <a:pt x="200" y="586"/>
                    </a:lnTo>
                    <a:lnTo>
                      <a:pt x="200" y="580"/>
                    </a:lnTo>
                    <a:lnTo>
                      <a:pt x="200" y="576"/>
                    </a:lnTo>
                    <a:lnTo>
                      <a:pt x="202" y="566"/>
                    </a:lnTo>
                    <a:lnTo>
                      <a:pt x="204" y="560"/>
                    </a:lnTo>
                    <a:lnTo>
                      <a:pt x="204" y="556"/>
                    </a:lnTo>
                    <a:lnTo>
                      <a:pt x="206" y="554"/>
                    </a:lnTo>
                    <a:lnTo>
                      <a:pt x="208" y="550"/>
                    </a:lnTo>
                    <a:lnTo>
                      <a:pt x="210" y="550"/>
                    </a:lnTo>
                    <a:lnTo>
                      <a:pt x="212" y="548"/>
                    </a:lnTo>
                    <a:lnTo>
                      <a:pt x="214" y="540"/>
                    </a:lnTo>
                    <a:lnTo>
                      <a:pt x="214" y="538"/>
                    </a:lnTo>
                    <a:lnTo>
                      <a:pt x="212" y="532"/>
                    </a:lnTo>
                    <a:lnTo>
                      <a:pt x="210" y="524"/>
                    </a:lnTo>
                    <a:lnTo>
                      <a:pt x="210" y="522"/>
                    </a:lnTo>
                    <a:lnTo>
                      <a:pt x="212" y="522"/>
                    </a:lnTo>
                    <a:lnTo>
                      <a:pt x="212" y="520"/>
                    </a:lnTo>
                    <a:lnTo>
                      <a:pt x="216" y="520"/>
                    </a:lnTo>
                    <a:lnTo>
                      <a:pt x="218" y="516"/>
                    </a:lnTo>
                    <a:lnTo>
                      <a:pt x="220" y="514"/>
                    </a:lnTo>
                    <a:lnTo>
                      <a:pt x="220" y="510"/>
                    </a:lnTo>
                    <a:lnTo>
                      <a:pt x="218" y="508"/>
                    </a:lnTo>
                    <a:lnTo>
                      <a:pt x="218" y="506"/>
                    </a:lnTo>
                    <a:lnTo>
                      <a:pt x="222" y="498"/>
                    </a:lnTo>
                    <a:lnTo>
                      <a:pt x="224" y="492"/>
                    </a:lnTo>
                    <a:lnTo>
                      <a:pt x="226" y="490"/>
                    </a:lnTo>
                    <a:lnTo>
                      <a:pt x="226" y="484"/>
                    </a:lnTo>
                    <a:lnTo>
                      <a:pt x="228" y="476"/>
                    </a:lnTo>
                    <a:lnTo>
                      <a:pt x="226" y="470"/>
                    </a:lnTo>
                    <a:lnTo>
                      <a:pt x="226" y="468"/>
                    </a:lnTo>
                    <a:lnTo>
                      <a:pt x="226" y="464"/>
                    </a:lnTo>
                    <a:lnTo>
                      <a:pt x="228" y="462"/>
                    </a:lnTo>
                    <a:lnTo>
                      <a:pt x="228" y="460"/>
                    </a:lnTo>
                    <a:lnTo>
                      <a:pt x="226" y="456"/>
                    </a:lnTo>
                    <a:lnTo>
                      <a:pt x="226" y="454"/>
                    </a:lnTo>
                    <a:lnTo>
                      <a:pt x="224" y="450"/>
                    </a:lnTo>
                    <a:lnTo>
                      <a:pt x="226" y="444"/>
                    </a:lnTo>
                    <a:lnTo>
                      <a:pt x="226" y="442"/>
                    </a:lnTo>
                    <a:lnTo>
                      <a:pt x="228" y="436"/>
                    </a:lnTo>
                    <a:lnTo>
                      <a:pt x="232" y="432"/>
                    </a:lnTo>
                    <a:lnTo>
                      <a:pt x="234" y="430"/>
                    </a:lnTo>
                    <a:lnTo>
                      <a:pt x="238" y="426"/>
                    </a:lnTo>
                    <a:lnTo>
                      <a:pt x="238" y="420"/>
                    </a:lnTo>
                    <a:lnTo>
                      <a:pt x="238" y="416"/>
                    </a:lnTo>
                    <a:lnTo>
                      <a:pt x="238" y="414"/>
                    </a:lnTo>
                    <a:lnTo>
                      <a:pt x="236" y="410"/>
                    </a:lnTo>
                    <a:lnTo>
                      <a:pt x="236" y="404"/>
                    </a:lnTo>
                    <a:lnTo>
                      <a:pt x="234" y="400"/>
                    </a:lnTo>
                    <a:lnTo>
                      <a:pt x="232" y="396"/>
                    </a:lnTo>
                    <a:lnTo>
                      <a:pt x="230" y="390"/>
                    </a:lnTo>
                    <a:lnTo>
                      <a:pt x="232" y="382"/>
                    </a:lnTo>
                    <a:lnTo>
                      <a:pt x="234" y="374"/>
                    </a:lnTo>
                    <a:lnTo>
                      <a:pt x="234" y="370"/>
                    </a:lnTo>
                    <a:lnTo>
                      <a:pt x="232" y="370"/>
                    </a:lnTo>
                    <a:lnTo>
                      <a:pt x="234" y="364"/>
                    </a:lnTo>
                    <a:lnTo>
                      <a:pt x="234" y="362"/>
                    </a:lnTo>
                    <a:lnTo>
                      <a:pt x="236" y="360"/>
                    </a:lnTo>
                    <a:lnTo>
                      <a:pt x="236" y="356"/>
                    </a:lnTo>
                    <a:lnTo>
                      <a:pt x="236" y="354"/>
                    </a:lnTo>
                    <a:lnTo>
                      <a:pt x="234" y="352"/>
                    </a:lnTo>
                    <a:lnTo>
                      <a:pt x="234" y="350"/>
                    </a:lnTo>
                    <a:lnTo>
                      <a:pt x="236" y="344"/>
                    </a:lnTo>
                    <a:lnTo>
                      <a:pt x="236" y="340"/>
                    </a:lnTo>
                    <a:lnTo>
                      <a:pt x="238" y="338"/>
                    </a:lnTo>
                    <a:lnTo>
                      <a:pt x="240" y="338"/>
                    </a:lnTo>
                    <a:lnTo>
                      <a:pt x="240" y="336"/>
                    </a:lnTo>
                    <a:lnTo>
                      <a:pt x="242" y="334"/>
                    </a:lnTo>
                    <a:lnTo>
                      <a:pt x="242" y="332"/>
                    </a:lnTo>
                    <a:lnTo>
                      <a:pt x="242" y="330"/>
                    </a:lnTo>
                    <a:lnTo>
                      <a:pt x="242" y="328"/>
                    </a:lnTo>
                    <a:lnTo>
                      <a:pt x="242" y="326"/>
                    </a:lnTo>
                    <a:lnTo>
                      <a:pt x="240" y="324"/>
                    </a:lnTo>
                    <a:lnTo>
                      <a:pt x="238" y="322"/>
                    </a:lnTo>
                    <a:lnTo>
                      <a:pt x="236" y="322"/>
                    </a:lnTo>
                    <a:lnTo>
                      <a:pt x="234" y="326"/>
                    </a:lnTo>
                    <a:lnTo>
                      <a:pt x="230" y="324"/>
                    </a:lnTo>
                    <a:lnTo>
                      <a:pt x="230" y="318"/>
                    </a:lnTo>
                    <a:lnTo>
                      <a:pt x="232" y="310"/>
                    </a:lnTo>
                    <a:lnTo>
                      <a:pt x="232" y="302"/>
                    </a:lnTo>
                    <a:lnTo>
                      <a:pt x="234" y="300"/>
                    </a:lnTo>
                    <a:lnTo>
                      <a:pt x="236" y="298"/>
                    </a:lnTo>
                    <a:lnTo>
                      <a:pt x="236" y="302"/>
                    </a:lnTo>
                    <a:lnTo>
                      <a:pt x="238" y="302"/>
                    </a:lnTo>
                    <a:lnTo>
                      <a:pt x="240" y="302"/>
                    </a:lnTo>
                    <a:lnTo>
                      <a:pt x="242" y="302"/>
                    </a:lnTo>
                    <a:lnTo>
                      <a:pt x="244" y="300"/>
                    </a:lnTo>
                    <a:lnTo>
                      <a:pt x="244" y="298"/>
                    </a:lnTo>
                    <a:lnTo>
                      <a:pt x="246" y="294"/>
                    </a:lnTo>
                    <a:lnTo>
                      <a:pt x="248" y="292"/>
                    </a:lnTo>
                    <a:lnTo>
                      <a:pt x="246" y="290"/>
                    </a:lnTo>
                    <a:lnTo>
                      <a:pt x="246" y="288"/>
                    </a:lnTo>
                    <a:lnTo>
                      <a:pt x="246" y="286"/>
                    </a:lnTo>
                    <a:lnTo>
                      <a:pt x="248" y="278"/>
                    </a:lnTo>
                    <a:lnTo>
                      <a:pt x="248" y="268"/>
                    </a:lnTo>
                    <a:lnTo>
                      <a:pt x="250" y="260"/>
                    </a:lnTo>
                    <a:lnTo>
                      <a:pt x="250" y="252"/>
                    </a:lnTo>
                    <a:lnTo>
                      <a:pt x="252" y="248"/>
                    </a:lnTo>
                    <a:lnTo>
                      <a:pt x="252" y="246"/>
                    </a:lnTo>
                    <a:lnTo>
                      <a:pt x="256" y="230"/>
                    </a:lnTo>
                    <a:lnTo>
                      <a:pt x="254" y="228"/>
                    </a:lnTo>
                    <a:lnTo>
                      <a:pt x="254" y="226"/>
                    </a:lnTo>
                    <a:lnTo>
                      <a:pt x="256" y="224"/>
                    </a:lnTo>
                    <a:lnTo>
                      <a:pt x="258" y="220"/>
                    </a:lnTo>
                    <a:lnTo>
                      <a:pt x="258" y="218"/>
                    </a:lnTo>
                    <a:lnTo>
                      <a:pt x="260" y="212"/>
                    </a:lnTo>
                    <a:lnTo>
                      <a:pt x="258" y="210"/>
                    </a:lnTo>
                    <a:lnTo>
                      <a:pt x="258" y="208"/>
                    </a:lnTo>
                    <a:lnTo>
                      <a:pt x="260" y="206"/>
                    </a:lnTo>
                    <a:lnTo>
                      <a:pt x="258" y="194"/>
                    </a:lnTo>
                    <a:lnTo>
                      <a:pt x="256" y="192"/>
                    </a:lnTo>
                    <a:lnTo>
                      <a:pt x="254" y="190"/>
                    </a:lnTo>
                    <a:lnTo>
                      <a:pt x="256" y="188"/>
                    </a:lnTo>
                    <a:lnTo>
                      <a:pt x="256" y="186"/>
                    </a:lnTo>
                    <a:lnTo>
                      <a:pt x="256" y="182"/>
                    </a:lnTo>
                    <a:lnTo>
                      <a:pt x="256" y="180"/>
                    </a:lnTo>
                    <a:lnTo>
                      <a:pt x="254" y="180"/>
                    </a:lnTo>
                    <a:lnTo>
                      <a:pt x="252" y="178"/>
                    </a:lnTo>
                    <a:lnTo>
                      <a:pt x="254" y="156"/>
                    </a:lnTo>
                    <a:lnTo>
                      <a:pt x="256" y="152"/>
                    </a:lnTo>
                    <a:lnTo>
                      <a:pt x="256" y="150"/>
                    </a:lnTo>
                    <a:lnTo>
                      <a:pt x="256" y="146"/>
                    </a:lnTo>
                    <a:lnTo>
                      <a:pt x="256" y="142"/>
                    </a:lnTo>
                    <a:lnTo>
                      <a:pt x="256" y="140"/>
                    </a:lnTo>
                    <a:lnTo>
                      <a:pt x="258" y="140"/>
                    </a:lnTo>
                    <a:lnTo>
                      <a:pt x="258" y="136"/>
                    </a:lnTo>
                    <a:lnTo>
                      <a:pt x="258" y="134"/>
                    </a:lnTo>
                    <a:lnTo>
                      <a:pt x="256" y="130"/>
                    </a:lnTo>
                    <a:lnTo>
                      <a:pt x="256" y="124"/>
                    </a:lnTo>
                    <a:lnTo>
                      <a:pt x="254" y="116"/>
                    </a:lnTo>
                    <a:lnTo>
                      <a:pt x="254" y="108"/>
                    </a:lnTo>
                    <a:lnTo>
                      <a:pt x="252" y="100"/>
                    </a:lnTo>
                    <a:lnTo>
                      <a:pt x="250" y="98"/>
                    </a:lnTo>
                    <a:lnTo>
                      <a:pt x="250" y="92"/>
                    </a:lnTo>
                    <a:lnTo>
                      <a:pt x="250" y="90"/>
                    </a:lnTo>
                    <a:lnTo>
                      <a:pt x="250" y="88"/>
                    </a:lnTo>
                    <a:lnTo>
                      <a:pt x="248" y="76"/>
                    </a:lnTo>
                    <a:lnTo>
                      <a:pt x="248" y="74"/>
                    </a:lnTo>
                    <a:lnTo>
                      <a:pt x="246" y="72"/>
                    </a:lnTo>
                    <a:lnTo>
                      <a:pt x="246" y="62"/>
                    </a:lnTo>
                    <a:lnTo>
                      <a:pt x="246" y="58"/>
                    </a:lnTo>
                    <a:lnTo>
                      <a:pt x="248" y="50"/>
                    </a:lnTo>
                    <a:lnTo>
                      <a:pt x="246" y="48"/>
                    </a:lnTo>
                    <a:lnTo>
                      <a:pt x="246" y="46"/>
                    </a:lnTo>
                    <a:lnTo>
                      <a:pt x="244" y="46"/>
                    </a:lnTo>
                    <a:lnTo>
                      <a:pt x="244" y="44"/>
                    </a:lnTo>
                    <a:lnTo>
                      <a:pt x="246" y="44"/>
                    </a:lnTo>
                    <a:lnTo>
                      <a:pt x="248" y="44"/>
                    </a:lnTo>
                    <a:lnTo>
                      <a:pt x="252" y="44"/>
                    </a:lnTo>
                    <a:lnTo>
                      <a:pt x="254" y="44"/>
                    </a:lnTo>
                    <a:lnTo>
                      <a:pt x="256" y="44"/>
                    </a:lnTo>
                    <a:lnTo>
                      <a:pt x="258" y="44"/>
                    </a:lnTo>
                    <a:lnTo>
                      <a:pt x="264" y="42"/>
                    </a:lnTo>
                    <a:lnTo>
                      <a:pt x="266" y="40"/>
                    </a:lnTo>
                    <a:lnTo>
                      <a:pt x="272" y="36"/>
                    </a:lnTo>
                    <a:lnTo>
                      <a:pt x="272" y="34"/>
                    </a:lnTo>
                    <a:lnTo>
                      <a:pt x="276" y="28"/>
                    </a:lnTo>
                    <a:lnTo>
                      <a:pt x="276" y="26"/>
                    </a:lnTo>
                    <a:lnTo>
                      <a:pt x="278" y="24"/>
                    </a:lnTo>
                    <a:lnTo>
                      <a:pt x="274" y="16"/>
                    </a:lnTo>
                    <a:lnTo>
                      <a:pt x="274" y="14"/>
                    </a:lnTo>
                    <a:lnTo>
                      <a:pt x="272" y="14"/>
                    </a:lnTo>
                    <a:lnTo>
                      <a:pt x="274" y="10"/>
                    </a:lnTo>
                    <a:lnTo>
                      <a:pt x="274" y="8"/>
                    </a:lnTo>
                    <a:lnTo>
                      <a:pt x="278" y="8"/>
                    </a:lnTo>
                    <a:lnTo>
                      <a:pt x="280" y="8"/>
                    </a:lnTo>
                    <a:lnTo>
                      <a:pt x="282" y="8"/>
                    </a:lnTo>
                    <a:lnTo>
                      <a:pt x="284" y="6"/>
                    </a:lnTo>
                    <a:lnTo>
                      <a:pt x="292" y="0"/>
                    </a:lnTo>
                    <a:lnTo>
                      <a:pt x="292" y="6"/>
                    </a:lnTo>
                    <a:lnTo>
                      <a:pt x="298" y="12"/>
                    </a:lnTo>
                    <a:lnTo>
                      <a:pt x="300" y="14"/>
                    </a:lnTo>
                    <a:lnTo>
                      <a:pt x="300" y="16"/>
                    </a:lnTo>
                    <a:lnTo>
                      <a:pt x="300" y="18"/>
                    </a:lnTo>
                    <a:lnTo>
                      <a:pt x="300" y="22"/>
                    </a:lnTo>
                    <a:lnTo>
                      <a:pt x="300" y="24"/>
                    </a:lnTo>
                    <a:lnTo>
                      <a:pt x="300" y="26"/>
                    </a:lnTo>
                    <a:lnTo>
                      <a:pt x="302" y="26"/>
                    </a:lnTo>
                    <a:lnTo>
                      <a:pt x="310" y="28"/>
                    </a:lnTo>
                    <a:lnTo>
                      <a:pt x="314" y="28"/>
                    </a:lnTo>
                    <a:lnTo>
                      <a:pt x="314" y="30"/>
                    </a:lnTo>
                    <a:lnTo>
                      <a:pt x="314" y="32"/>
                    </a:lnTo>
                    <a:lnTo>
                      <a:pt x="312" y="32"/>
                    </a:lnTo>
                    <a:lnTo>
                      <a:pt x="310" y="34"/>
                    </a:lnTo>
                    <a:lnTo>
                      <a:pt x="310" y="36"/>
                    </a:lnTo>
                    <a:lnTo>
                      <a:pt x="312" y="38"/>
                    </a:lnTo>
                    <a:lnTo>
                      <a:pt x="312" y="40"/>
                    </a:lnTo>
                    <a:lnTo>
                      <a:pt x="312" y="42"/>
                    </a:lnTo>
                    <a:lnTo>
                      <a:pt x="314" y="48"/>
                    </a:lnTo>
                    <a:lnTo>
                      <a:pt x="314" y="50"/>
                    </a:lnTo>
                    <a:lnTo>
                      <a:pt x="316" y="50"/>
                    </a:lnTo>
                    <a:lnTo>
                      <a:pt x="316" y="52"/>
                    </a:lnTo>
                    <a:lnTo>
                      <a:pt x="316" y="54"/>
                    </a:lnTo>
                    <a:lnTo>
                      <a:pt x="316" y="58"/>
                    </a:lnTo>
                    <a:lnTo>
                      <a:pt x="316" y="60"/>
                    </a:lnTo>
                    <a:lnTo>
                      <a:pt x="316" y="62"/>
                    </a:lnTo>
                    <a:lnTo>
                      <a:pt x="318" y="68"/>
                    </a:lnTo>
                    <a:lnTo>
                      <a:pt x="318" y="74"/>
                    </a:lnTo>
                    <a:lnTo>
                      <a:pt x="320" y="76"/>
                    </a:lnTo>
                    <a:lnTo>
                      <a:pt x="318" y="80"/>
                    </a:lnTo>
                    <a:lnTo>
                      <a:pt x="322" y="84"/>
                    </a:lnTo>
                    <a:lnTo>
                      <a:pt x="328" y="90"/>
                    </a:lnTo>
                    <a:lnTo>
                      <a:pt x="330" y="92"/>
                    </a:lnTo>
                    <a:lnTo>
                      <a:pt x="334" y="96"/>
                    </a:lnTo>
                    <a:lnTo>
                      <a:pt x="336" y="98"/>
                    </a:lnTo>
                    <a:lnTo>
                      <a:pt x="338" y="98"/>
                    </a:lnTo>
                    <a:lnTo>
                      <a:pt x="340" y="98"/>
                    </a:lnTo>
                    <a:lnTo>
                      <a:pt x="342" y="102"/>
                    </a:lnTo>
                    <a:lnTo>
                      <a:pt x="346" y="104"/>
                    </a:lnTo>
                    <a:lnTo>
                      <a:pt x="340" y="110"/>
                    </a:lnTo>
                    <a:lnTo>
                      <a:pt x="338" y="112"/>
                    </a:lnTo>
                    <a:lnTo>
                      <a:pt x="336" y="114"/>
                    </a:lnTo>
                    <a:lnTo>
                      <a:pt x="332" y="120"/>
                    </a:lnTo>
                    <a:lnTo>
                      <a:pt x="332" y="122"/>
                    </a:lnTo>
                    <a:lnTo>
                      <a:pt x="336" y="124"/>
                    </a:lnTo>
                    <a:lnTo>
                      <a:pt x="338" y="126"/>
                    </a:lnTo>
                    <a:lnTo>
                      <a:pt x="340" y="132"/>
                    </a:lnTo>
                    <a:lnTo>
                      <a:pt x="338" y="138"/>
                    </a:lnTo>
                    <a:lnTo>
                      <a:pt x="336" y="138"/>
                    </a:lnTo>
                    <a:lnTo>
                      <a:pt x="334" y="138"/>
                    </a:lnTo>
                    <a:lnTo>
                      <a:pt x="328" y="140"/>
                    </a:lnTo>
                    <a:lnTo>
                      <a:pt x="326" y="142"/>
                    </a:lnTo>
                    <a:lnTo>
                      <a:pt x="328" y="142"/>
                    </a:lnTo>
                    <a:lnTo>
                      <a:pt x="330" y="148"/>
                    </a:lnTo>
                    <a:lnTo>
                      <a:pt x="330" y="154"/>
                    </a:lnTo>
                    <a:lnTo>
                      <a:pt x="328" y="156"/>
                    </a:lnTo>
                    <a:lnTo>
                      <a:pt x="328" y="158"/>
                    </a:lnTo>
                    <a:lnTo>
                      <a:pt x="328" y="160"/>
                    </a:lnTo>
                    <a:lnTo>
                      <a:pt x="330" y="160"/>
                    </a:lnTo>
                    <a:lnTo>
                      <a:pt x="332" y="162"/>
                    </a:lnTo>
                    <a:lnTo>
                      <a:pt x="334" y="164"/>
                    </a:lnTo>
                    <a:lnTo>
                      <a:pt x="336" y="166"/>
                    </a:lnTo>
                    <a:lnTo>
                      <a:pt x="338" y="166"/>
                    </a:lnTo>
                    <a:lnTo>
                      <a:pt x="342" y="168"/>
                    </a:lnTo>
                    <a:lnTo>
                      <a:pt x="342" y="170"/>
                    </a:lnTo>
                    <a:lnTo>
                      <a:pt x="342" y="172"/>
                    </a:lnTo>
                    <a:lnTo>
                      <a:pt x="340" y="172"/>
                    </a:lnTo>
                    <a:lnTo>
                      <a:pt x="338" y="176"/>
                    </a:lnTo>
                    <a:lnTo>
                      <a:pt x="338" y="182"/>
                    </a:lnTo>
                    <a:lnTo>
                      <a:pt x="338" y="184"/>
                    </a:lnTo>
                    <a:lnTo>
                      <a:pt x="338" y="186"/>
                    </a:lnTo>
                    <a:lnTo>
                      <a:pt x="340" y="186"/>
                    </a:lnTo>
                    <a:lnTo>
                      <a:pt x="342" y="186"/>
                    </a:lnTo>
                    <a:lnTo>
                      <a:pt x="344" y="186"/>
                    </a:lnTo>
                    <a:lnTo>
                      <a:pt x="354" y="202"/>
                    </a:lnTo>
                    <a:lnTo>
                      <a:pt x="356" y="206"/>
                    </a:lnTo>
                    <a:lnTo>
                      <a:pt x="356" y="224"/>
                    </a:lnTo>
                    <a:lnTo>
                      <a:pt x="358" y="226"/>
                    </a:lnTo>
                    <a:lnTo>
                      <a:pt x="360" y="228"/>
                    </a:lnTo>
                    <a:lnTo>
                      <a:pt x="360" y="230"/>
                    </a:lnTo>
                    <a:lnTo>
                      <a:pt x="360" y="234"/>
                    </a:lnTo>
                    <a:lnTo>
                      <a:pt x="362" y="236"/>
                    </a:lnTo>
                    <a:lnTo>
                      <a:pt x="362" y="238"/>
                    </a:lnTo>
                    <a:lnTo>
                      <a:pt x="360" y="240"/>
                    </a:lnTo>
                    <a:lnTo>
                      <a:pt x="360" y="242"/>
                    </a:lnTo>
                    <a:lnTo>
                      <a:pt x="366" y="246"/>
                    </a:lnTo>
                    <a:lnTo>
                      <a:pt x="366" y="248"/>
                    </a:lnTo>
                    <a:lnTo>
                      <a:pt x="368" y="250"/>
                    </a:lnTo>
                    <a:lnTo>
                      <a:pt x="370" y="258"/>
                    </a:lnTo>
                    <a:lnTo>
                      <a:pt x="370" y="260"/>
                    </a:lnTo>
                    <a:lnTo>
                      <a:pt x="368" y="260"/>
                    </a:lnTo>
                    <a:lnTo>
                      <a:pt x="370" y="268"/>
                    </a:lnTo>
                    <a:lnTo>
                      <a:pt x="372" y="274"/>
                    </a:lnTo>
                    <a:lnTo>
                      <a:pt x="370" y="282"/>
                    </a:lnTo>
                    <a:lnTo>
                      <a:pt x="372" y="290"/>
                    </a:lnTo>
                    <a:lnTo>
                      <a:pt x="374" y="292"/>
                    </a:lnTo>
                    <a:lnTo>
                      <a:pt x="386" y="294"/>
                    </a:lnTo>
                    <a:lnTo>
                      <a:pt x="390" y="292"/>
                    </a:lnTo>
                    <a:lnTo>
                      <a:pt x="398" y="290"/>
                    </a:lnTo>
                    <a:lnTo>
                      <a:pt x="406" y="290"/>
                    </a:lnTo>
                    <a:lnTo>
                      <a:pt x="410" y="294"/>
                    </a:lnTo>
                    <a:lnTo>
                      <a:pt x="416" y="300"/>
                    </a:lnTo>
                    <a:lnTo>
                      <a:pt x="412" y="306"/>
                    </a:lnTo>
                    <a:lnTo>
                      <a:pt x="410" y="312"/>
                    </a:lnTo>
                    <a:lnTo>
                      <a:pt x="408" y="318"/>
                    </a:lnTo>
                    <a:lnTo>
                      <a:pt x="408" y="320"/>
                    </a:lnTo>
                    <a:lnTo>
                      <a:pt x="406" y="328"/>
                    </a:lnTo>
                    <a:lnTo>
                      <a:pt x="402" y="338"/>
                    </a:lnTo>
                    <a:lnTo>
                      <a:pt x="396" y="354"/>
                    </a:lnTo>
                    <a:lnTo>
                      <a:pt x="384" y="360"/>
                    </a:lnTo>
                    <a:lnTo>
                      <a:pt x="382" y="360"/>
                    </a:lnTo>
                    <a:lnTo>
                      <a:pt x="368" y="366"/>
                    </a:lnTo>
                    <a:lnTo>
                      <a:pt x="354" y="374"/>
                    </a:lnTo>
                    <a:lnTo>
                      <a:pt x="350" y="374"/>
                    </a:lnTo>
                    <a:lnTo>
                      <a:pt x="348" y="376"/>
                    </a:lnTo>
                    <a:lnTo>
                      <a:pt x="346" y="380"/>
                    </a:lnTo>
                    <a:lnTo>
                      <a:pt x="344" y="378"/>
                    </a:lnTo>
                    <a:lnTo>
                      <a:pt x="342" y="380"/>
                    </a:lnTo>
                    <a:lnTo>
                      <a:pt x="338" y="386"/>
                    </a:lnTo>
                    <a:lnTo>
                      <a:pt x="336" y="388"/>
                    </a:lnTo>
                    <a:lnTo>
                      <a:pt x="336" y="392"/>
                    </a:lnTo>
                    <a:lnTo>
                      <a:pt x="334" y="394"/>
                    </a:lnTo>
                    <a:lnTo>
                      <a:pt x="334" y="396"/>
                    </a:lnTo>
                    <a:lnTo>
                      <a:pt x="334" y="400"/>
                    </a:lnTo>
                    <a:lnTo>
                      <a:pt x="336" y="400"/>
                    </a:lnTo>
                    <a:lnTo>
                      <a:pt x="344" y="412"/>
                    </a:lnTo>
                    <a:lnTo>
                      <a:pt x="340" y="414"/>
                    </a:lnTo>
                    <a:lnTo>
                      <a:pt x="336" y="416"/>
                    </a:lnTo>
                    <a:lnTo>
                      <a:pt x="336" y="418"/>
                    </a:lnTo>
                    <a:lnTo>
                      <a:pt x="336" y="420"/>
                    </a:lnTo>
                    <a:lnTo>
                      <a:pt x="334" y="422"/>
                    </a:lnTo>
                    <a:lnTo>
                      <a:pt x="334" y="424"/>
                    </a:lnTo>
                    <a:lnTo>
                      <a:pt x="332" y="426"/>
                    </a:lnTo>
                    <a:lnTo>
                      <a:pt x="332" y="430"/>
                    </a:lnTo>
                    <a:lnTo>
                      <a:pt x="332" y="432"/>
                    </a:lnTo>
                    <a:lnTo>
                      <a:pt x="332" y="434"/>
                    </a:lnTo>
                    <a:lnTo>
                      <a:pt x="334" y="440"/>
                    </a:lnTo>
                    <a:lnTo>
                      <a:pt x="336" y="446"/>
                    </a:lnTo>
                    <a:lnTo>
                      <a:pt x="336" y="448"/>
                    </a:lnTo>
                    <a:lnTo>
                      <a:pt x="338" y="456"/>
                    </a:lnTo>
                    <a:lnTo>
                      <a:pt x="340" y="470"/>
                    </a:lnTo>
                    <a:lnTo>
                      <a:pt x="338" y="470"/>
                    </a:lnTo>
                    <a:lnTo>
                      <a:pt x="336" y="474"/>
                    </a:lnTo>
                    <a:lnTo>
                      <a:pt x="334" y="474"/>
                    </a:lnTo>
                    <a:lnTo>
                      <a:pt x="334" y="476"/>
                    </a:lnTo>
                    <a:lnTo>
                      <a:pt x="332" y="478"/>
                    </a:lnTo>
                    <a:lnTo>
                      <a:pt x="332" y="480"/>
                    </a:lnTo>
                    <a:lnTo>
                      <a:pt x="332" y="482"/>
                    </a:lnTo>
                    <a:lnTo>
                      <a:pt x="330" y="484"/>
                    </a:lnTo>
                    <a:lnTo>
                      <a:pt x="330" y="486"/>
                    </a:lnTo>
                    <a:lnTo>
                      <a:pt x="330" y="488"/>
                    </a:lnTo>
                    <a:lnTo>
                      <a:pt x="332" y="488"/>
                    </a:lnTo>
                    <a:lnTo>
                      <a:pt x="332" y="490"/>
                    </a:lnTo>
                    <a:lnTo>
                      <a:pt x="332" y="492"/>
                    </a:lnTo>
                    <a:lnTo>
                      <a:pt x="336" y="496"/>
                    </a:lnTo>
                    <a:lnTo>
                      <a:pt x="336" y="498"/>
                    </a:lnTo>
                    <a:lnTo>
                      <a:pt x="338" y="498"/>
                    </a:lnTo>
                    <a:lnTo>
                      <a:pt x="338" y="500"/>
                    </a:lnTo>
                    <a:lnTo>
                      <a:pt x="344" y="508"/>
                    </a:lnTo>
                    <a:lnTo>
                      <a:pt x="344" y="510"/>
                    </a:lnTo>
                    <a:lnTo>
                      <a:pt x="342" y="516"/>
                    </a:lnTo>
                    <a:lnTo>
                      <a:pt x="342" y="518"/>
                    </a:lnTo>
                    <a:lnTo>
                      <a:pt x="340" y="518"/>
                    </a:lnTo>
                    <a:lnTo>
                      <a:pt x="338" y="518"/>
                    </a:lnTo>
                    <a:lnTo>
                      <a:pt x="326" y="522"/>
                    </a:lnTo>
                    <a:lnTo>
                      <a:pt x="324" y="522"/>
                    </a:lnTo>
                    <a:lnTo>
                      <a:pt x="322" y="520"/>
                    </a:lnTo>
                    <a:lnTo>
                      <a:pt x="320" y="520"/>
                    </a:lnTo>
                    <a:lnTo>
                      <a:pt x="318" y="522"/>
                    </a:lnTo>
                    <a:lnTo>
                      <a:pt x="318" y="524"/>
                    </a:lnTo>
                    <a:lnTo>
                      <a:pt x="316" y="526"/>
                    </a:lnTo>
                    <a:lnTo>
                      <a:pt x="316" y="528"/>
                    </a:lnTo>
                    <a:lnTo>
                      <a:pt x="316" y="530"/>
                    </a:lnTo>
                    <a:lnTo>
                      <a:pt x="314" y="534"/>
                    </a:lnTo>
                    <a:lnTo>
                      <a:pt x="306" y="548"/>
                    </a:lnTo>
                    <a:lnTo>
                      <a:pt x="304" y="548"/>
                    </a:lnTo>
                    <a:lnTo>
                      <a:pt x="302" y="554"/>
                    </a:lnTo>
                    <a:lnTo>
                      <a:pt x="302" y="556"/>
                    </a:lnTo>
                    <a:lnTo>
                      <a:pt x="300" y="564"/>
                    </a:lnTo>
                    <a:lnTo>
                      <a:pt x="300" y="566"/>
                    </a:lnTo>
                    <a:lnTo>
                      <a:pt x="298" y="568"/>
                    </a:lnTo>
                    <a:lnTo>
                      <a:pt x="296" y="568"/>
                    </a:lnTo>
                    <a:lnTo>
                      <a:pt x="294" y="568"/>
                    </a:lnTo>
                    <a:lnTo>
                      <a:pt x="292" y="572"/>
                    </a:lnTo>
                    <a:lnTo>
                      <a:pt x="292" y="574"/>
                    </a:lnTo>
                    <a:lnTo>
                      <a:pt x="290" y="576"/>
                    </a:lnTo>
                    <a:lnTo>
                      <a:pt x="288" y="578"/>
                    </a:lnTo>
                    <a:lnTo>
                      <a:pt x="280" y="586"/>
                    </a:lnTo>
                    <a:lnTo>
                      <a:pt x="278" y="588"/>
                    </a:lnTo>
                    <a:lnTo>
                      <a:pt x="276" y="590"/>
                    </a:lnTo>
                    <a:lnTo>
                      <a:pt x="274" y="598"/>
                    </a:lnTo>
                    <a:lnTo>
                      <a:pt x="274" y="600"/>
                    </a:lnTo>
                    <a:lnTo>
                      <a:pt x="272" y="600"/>
                    </a:lnTo>
                    <a:lnTo>
                      <a:pt x="270" y="604"/>
                    </a:lnTo>
                    <a:lnTo>
                      <a:pt x="270" y="608"/>
                    </a:lnTo>
                    <a:lnTo>
                      <a:pt x="272" y="610"/>
                    </a:lnTo>
                    <a:lnTo>
                      <a:pt x="272" y="612"/>
                    </a:lnTo>
                    <a:lnTo>
                      <a:pt x="270" y="616"/>
                    </a:lnTo>
                    <a:lnTo>
                      <a:pt x="268" y="624"/>
                    </a:lnTo>
                    <a:lnTo>
                      <a:pt x="268" y="626"/>
                    </a:lnTo>
                    <a:lnTo>
                      <a:pt x="268" y="628"/>
                    </a:lnTo>
                    <a:lnTo>
                      <a:pt x="266" y="630"/>
                    </a:lnTo>
                    <a:lnTo>
                      <a:pt x="262" y="630"/>
                    </a:lnTo>
                    <a:lnTo>
                      <a:pt x="260" y="632"/>
                    </a:lnTo>
                    <a:lnTo>
                      <a:pt x="256" y="638"/>
                    </a:lnTo>
                    <a:lnTo>
                      <a:pt x="256" y="642"/>
                    </a:lnTo>
                    <a:lnTo>
                      <a:pt x="258" y="646"/>
                    </a:lnTo>
                    <a:lnTo>
                      <a:pt x="260" y="652"/>
                    </a:lnTo>
                    <a:lnTo>
                      <a:pt x="260" y="654"/>
                    </a:lnTo>
                    <a:lnTo>
                      <a:pt x="260" y="656"/>
                    </a:lnTo>
                    <a:lnTo>
                      <a:pt x="258" y="658"/>
                    </a:lnTo>
                    <a:lnTo>
                      <a:pt x="260" y="660"/>
                    </a:lnTo>
                    <a:lnTo>
                      <a:pt x="262" y="662"/>
                    </a:lnTo>
                    <a:lnTo>
                      <a:pt x="262" y="666"/>
                    </a:lnTo>
                    <a:lnTo>
                      <a:pt x="262" y="672"/>
                    </a:lnTo>
                    <a:lnTo>
                      <a:pt x="262" y="676"/>
                    </a:lnTo>
                    <a:lnTo>
                      <a:pt x="260" y="676"/>
                    </a:lnTo>
                    <a:lnTo>
                      <a:pt x="262" y="682"/>
                    </a:lnTo>
                    <a:lnTo>
                      <a:pt x="264" y="684"/>
                    </a:lnTo>
                    <a:lnTo>
                      <a:pt x="264" y="688"/>
                    </a:lnTo>
                    <a:lnTo>
                      <a:pt x="262" y="694"/>
                    </a:lnTo>
                    <a:lnTo>
                      <a:pt x="260" y="696"/>
                    </a:lnTo>
                    <a:lnTo>
                      <a:pt x="256" y="698"/>
                    </a:lnTo>
                    <a:lnTo>
                      <a:pt x="254" y="698"/>
                    </a:lnTo>
                    <a:lnTo>
                      <a:pt x="250" y="700"/>
                    </a:lnTo>
                    <a:lnTo>
                      <a:pt x="246" y="706"/>
                    </a:lnTo>
                    <a:lnTo>
                      <a:pt x="244" y="710"/>
                    </a:lnTo>
                    <a:lnTo>
                      <a:pt x="244" y="714"/>
                    </a:lnTo>
                    <a:lnTo>
                      <a:pt x="240" y="722"/>
                    </a:lnTo>
                    <a:lnTo>
                      <a:pt x="240" y="724"/>
                    </a:lnTo>
                    <a:lnTo>
                      <a:pt x="240" y="726"/>
                    </a:lnTo>
                    <a:lnTo>
                      <a:pt x="240" y="728"/>
                    </a:lnTo>
                    <a:lnTo>
                      <a:pt x="242" y="730"/>
                    </a:lnTo>
                    <a:lnTo>
                      <a:pt x="242" y="732"/>
                    </a:lnTo>
                    <a:lnTo>
                      <a:pt x="238" y="736"/>
                    </a:lnTo>
                    <a:lnTo>
                      <a:pt x="234" y="736"/>
                    </a:lnTo>
                    <a:lnTo>
                      <a:pt x="230" y="740"/>
                    </a:lnTo>
                    <a:lnTo>
                      <a:pt x="228" y="748"/>
                    </a:lnTo>
                    <a:lnTo>
                      <a:pt x="228" y="756"/>
                    </a:lnTo>
                    <a:lnTo>
                      <a:pt x="226" y="760"/>
                    </a:lnTo>
                    <a:lnTo>
                      <a:pt x="226" y="762"/>
                    </a:lnTo>
                    <a:lnTo>
                      <a:pt x="232" y="776"/>
                    </a:lnTo>
                    <a:lnTo>
                      <a:pt x="234" y="776"/>
                    </a:lnTo>
                    <a:lnTo>
                      <a:pt x="234" y="778"/>
                    </a:lnTo>
                    <a:lnTo>
                      <a:pt x="236" y="780"/>
                    </a:lnTo>
                    <a:lnTo>
                      <a:pt x="238" y="780"/>
                    </a:lnTo>
                    <a:lnTo>
                      <a:pt x="240" y="778"/>
                    </a:lnTo>
                    <a:lnTo>
                      <a:pt x="242" y="780"/>
                    </a:lnTo>
                    <a:lnTo>
                      <a:pt x="244" y="782"/>
                    </a:lnTo>
                    <a:lnTo>
                      <a:pt x="242" y="788"/>
                    </a:lnTo>
                    <a:lnTo>
                      <a:pt x="240" y="788"/>
                    </a:lnTo>
                    <a:lnTo>
                      <a:pt x="238" y="790"/>
                    </a:lnTo>
                    <a:lnTo>
                      <a:pt x="240" y="798"/>
                    </a:lnTo>
                    <a:lnTo>
                      <a:pt x="240" y="800"/>
                    </a:lnTo>
                    <a:lnTo>
                      <a:pt x="244" y="802"/>
                    </a:lnTo>
                    <a:lnTo>
                      <a:pt x="244" y="804"/>
                    </a:lnTo>
                    <a:lnTo>
                      <a:pt x="246" y="810"/>
                    </a:lnTo>
                    <a:lnTo>
                      <a:pt x="246" y="812"/>
                    </a:lnTo>
                    <a:lnTo>
                      <a:pt x="246" y="814"/>
                    </a:lnTo>
                    <a:lnTo>
                      <a:pt x="246" y="816"/>
                    </a:lnTo>
                    <a:lnTo>
                      <a:pt x="246" y="818"/>
                    </a:lnTo>
                    <a:lnTo>
                      <a:pt x="246" y="826"/>
                    </a:lnTo>
                    <a:lnTo>
                      <a:pt x="252" y="832"/>
                    </a:lnTo>
                    <a:lnTo>
                      <a:pt x="254" y="832"/>
                    </a:lnTo>
                    <a:lnTo>
                      <a:pt x="252" y="836"/>
                    </a:lnTo>
                    <a:lnTo>
                      <a:pt x="250" y="840"/>
                    </a:lnTo>
                    <a:lnTo>
                      <a:pt x="248" y="842"/>
                    </a:lnTo>
                    <a:lnTo>
                      <a:pt x="250" y="844"/>
                    </a:lnTo>
                    <a:lnTo>
                      <a:pt x="250" y="846"/>
                    </a:lnTo>
                    <a:lnTo>
                      <a:pt x="248" y="848"/>
                    </a:lnTo>
                    <a:lnTo>
                      <a:pt x="248" y="850"/>
                    </a:lnTo>
                    <a:lnTo>
                      <a:pt x="254" y="854"/>
                    </a:lnTo>
                    <a:lnTo>
                      <a:pt x="256" y="854"/>
                    </a:lnTo>
                    <a:lnTo>
                      <a:pt x="258" y="852"/>
                    </a:lnTo>
                    <a:lnTo>
                      <a:pt x="260" y="852"/>
                    </a:lnTo>
                    <a:lnTo>
                      <a:pt x="262" y="854"/>
                    </a:lnTo>
                    <a:lnTo>
                      <a:pt x="264" y="860"/>
                    </a:lnTo>
                    <a:lnTo>
                      <a:pt x="264" y="862"/>
                    </a:lnTo>
                    <a:lnTo>
                      <a:pt x="262" y="862"/>
                    </a:lnTo>
                    <a:lnTo>
                      <a:pt x="260" y="870"/>
                    </a:lnTo>
                    <a:lnTo>
                      <a:pt x="258" y="882"/>
                    </a:lnTo>
                    <a:lnTo>
                      <a:pt x="258" y="884"/>
                    </a:lnTo>
                    <a:lnTo>
                      <a:pt x="258" y="888"/>
                    </a:lnTo>
                    <a:lnTo>
                      <a:pt x="260" y="898"/>
                    </a:lnTo>
                    <a:lnTo>
                      <a:pt x="262" y="906"/>
                    </a:lnTo>
                    <a:lnTo>
                      <a:pt x="258" y="908"/>
                    </a:lnTo>
                    <a:lnTo>
                      <a:pt x="256" y="908"/>
                    </a:lnTo>
                    <a:lnTo>
                      <a:pt x="254" y="908"/>
                    </a:lnTo>
                    <a:lnTo>
                      <a:pt x="252" y="908"/>
                    </a:lnTo>
                    <a:lnTo>
                      <a:pt x="250" y="908"/>
                    </a:lnTo>
                    <a:lnTo>
                      <a:pt x="250" y="912"/>
                    </a:lnTo>
                    <a:lnTo>
                      <a:pt x="250" y="914"/>
                    </a:lnTo>
                    <a:lnTo>
                      <a:pt x="244" y="922"/>
                    </a:lnTo>
                    <a:lnTo>
                      <a:pt x="242" y="928"/>
                    </a:lnTo>
                    <a:lnTo>
                      <a:pt x="238" y="940"/>
                    </a:lnTo>
                    <a:lnTo>
                      <a:pt x="234" y="946"/>
                    </a:lnTo>
                    <a:lnTo>
                      <a:pt x="234" y="948"/>
                    </a:lnTo>
                    <a:lnTo>
                      <a:pt x="234" y="950"/>
                    </a:lnTo>
                    <a:lnTo>
                      <a:pt x="234" y="952"/>
                    </a:lnTo>
                    <a:lnTo>
                      <a:pt x="234" y="956"/>
                    </a:lnTo>
                    <a:lnTo>
                      <a:pt x="230" y="958"/>
                    </a:lnTo>
                    <a:lnTo>
                      <a:pt x="228" y="958"/>
                    </a:lnTo>
                    <a:lnTo>
                      <a:pt x="226" y="958"/>
                    </a:lnTo>
                    <a:lnTo>
                      <a:pt x="226" y="960"/>
                    </a:lnTo>
                    <a:lnTo>
                      <a:pt x="226" y="962"/>
                    </a:lnTo>
                    <a:lnTo>
                      <a:pt x="226" y="964"/>
                    </a:lnTo>
                    <a:lnTo>
                      <a:pt x="232" y="966"/>
                    </a:lnTo>
                    <a:lnTo>
                      <a:pt x="232" y="976"/>
                    </a:lnTo>
                    <a:lnTo>
                      <a:pt x="232" y="980"/>
                    </a:lnTo>
                    <a:lnTo>
                      <a:pt x="232" y="982"/>
                    </a:lnTo>
                    <a:lnTo>
                      <a:pt x="232" y="984"/>
                    </a:lnTo>
                    <a:lnTo>
                      <a:pt x="234" y="986"/>
                    </a:lnTo>
                    <a:lnTo>
                      <a:pt x="234" y="992"/>
                    </a:lnTo>
                    <a:lnTo>
                      <a:pt x="232" y="994"/>
                    </a:lnTo>
                    <a:lnTo>
                      <a:pt x="232" y="996"/>
                    </a:lnTo>
                    <a:lnTo>
                      <a:pt x="232" y="1000"/>
                    </a:lnTo>
                    <a:lnTo>
                      <a:pt x="232" y="1006"/>
                    </a:lnTo>
                    <a:lnTo>
                      <a:pt x="230" y="1008"/>
                    </a:lnTo>
                    <a:lnTo>
                      <a:pt x="230" y="1010"/>
                    </a:lnTo>
                    <a:lnTo>
                      <a:pt x="228" y="1010"/>
                    </a:lnTo>
                    <a:lnTo>
                      <a:pt x="226" y="1010"/>
                    </a:lnTo>
                    <a:lnTo>
                      <a:pt x="224" y="1010"/>
                    </a:lnTo>
                    <a:lnTo>
                      <a:pt x="218" y="1016"/>
                    </a:lnTo>
                    <a:lnTo>
                      <a:pt x="216" y="1020"/>
                    </a:lnTo>
                    <a:lnTo>
                      <a:pt x="218" y="1022"/>
                    </a:lnTo>
                    <a:lnTo>
                      <a:pt x="218" y="1024"/>
                    </a:lnTo>
                    <a:lnTo>
                      <a:pt x="206" y="1028"/>
                    </a:lnTo>
                    <a:lnTo>
                      <a:pt x="204" y="1028"/>
                    </a:lnTo>
                    <a:lnTo>
                      <a:pt x="204" y="1026"/>
                    </a:lnTo>
                    <a:lnTo>
                      <a:pt x="202" y="1028"/>
                    </a:lnTo>
                    <a:lnTo>
                      <a:pt x="202" y="1030"/>
                    </a:lnTo>
                    <a:lnTo>
                      <a:pt x="198" y="1042"/>
                    </a:lnTo>
                    <a:lnTo>
                      <a:pt x="194" y="1046"/>
                    </a:lnTo>
                    <a:lnTo>
                      <a:pt x="196" y="1054"/>
                    </a:lnTo>
                    <a:lnTo>
                      <a:pt x="198" y="1062"/>
                    </a:lnTo>
                    <a:lnTo>
                      <a:pt x="198" y="1066"/>
                    </a:lnTo>
                    <a:lnTo>
                      <a:pt x="196" y="1068"/>
                    </a:lnTo>
                    <a:lnTo>
                      <a:pt x="194" y="1070"/>
                    </a:lnTo>
                    <a:lnTo>
                      <a:pt x="194" y="1072"/>
                    </a:lnTo>
                    <a:lnTo>
                      <a:pt x="196" y="1076"/>
                    </a:lnTo>
                    <a:lnTo>
                      <a:pt x="198" y="1078"/>
                    </a:lnTo>
                    <a:lnTo>
                      <a:pt x="198" y="1080"/>
                    </a:lnTo>
                    <a:lnTo>
                      <a:pt x="198" y="1088"/>
                    </a:lnTo>
                    <a:lnTo>
                      <a:pt x="196" y="1088"/>
                    </a:lnTo>
                    <a:lnTo>
                      <a:pt x="194" y="1090"/>
                    </a:lnTo>
                    <a:lnTo>
                      <a:pt x="194" y="1092"/>
                    </a:lnTo>
                    <a:lnTo>
                      <a:pt x="196" y="1096"/>
                    </a:lnTo>
                    <a:lnTo>
                      <a:pt x="196" y="1098"/>
                    </a:lnTo>
                    <a:lnTo>
                      <a:pt x="196" y="1100"/>
                    </a:lnTo>
                    <a:lnTo>
                      <a:pt x="198" y="1100"/>
                    </a:lnTo>
                    <a:lnTo>
                      <a:pt x="198" y="1104"/>
                    </a:lnTo>
                    <a:lnTo>
                      <a:pt x="202" y="1112"/>
                    </a:lnTo>
                    <a:lnTo>
                      <a:pt x="202" y="1118"/>
                    </a:lnTo>
                    <a:lnTo>
                      <a:pt x="202" y="1120"/>
                    </a:lnTo>
                    <a:lnTo>
                      <a:pt x="202" y="1122"/>
                    </a:lnTo>
                    <a:lnTo>
                      <a:pt x="202" y="1126"/>
                    </a:lnTo>
                    <a:lnTo>
                      <a:pt x="204" y="1132"/>
                    </a:lnTo>
                    <a:lnTo>
                      <a:pt x="206" y="1134"/>
                    </a:lnTo>
                    <a:lnTo>
                      <a:pt x="206" y="1136"/>
                    </a:lnTo>
                    <a:lnTo>
                      <a:pt x="208" y="1136"/>
                    </a:lnTo>
                    <a:lnTo>
                      <a:pt x="210" y="1138"/>
                    </a:lnTo>
                    <a:lnTo>
                      <a:pt x="210" y="1140"/>
                    </a:lnTo>
                    <a:lnTo>
                      <a:pt x="210" y="1142"/>
                    </a:lnTo>
                    <a:lnTo>
                      <a:pt x="208" y="1148"/>
                    </a:lnTo>
                    <a:lnTo>
                      <a:pt x="206" y="1150"/>
                    </a:lnTo>
                    <a:lnTo>
                      <a:pt x="202" y="1150"/>
                    </a:lnTo>
                    <a:lnTo>
                      <a:pt x="200" y="1150"/>
                    </a:lnTo>
                    <a:lnTo>
                      <a:pt x="198" y="1150"/>
                    </a:lnTo>
                    <a:lnTo>
                      <a:pt x="190" y="1154"/>
                    </a:lnTo>
                    <a:lnTo>
                      <a:pt x="188" y="1156"/>
                    </a:lnTo>
                    <a:lnTo>
                      <a:pt x="186" y="1158"/>
                    </a:lnTo>
                    <a:lnTo>
                      <a:pt x="184" y="1158"/>
                    </a:lnTo>
                    <a:lnTo>
                      <a:pt x="184" y="1160"/>
                    </a:lnTo>
                    <a:lnTo>
                      <a:pt x="184" y="1162"/>
                    </a:lnTo>
                    <a:lnTo>
                      <a:pt x="182" y="1164"/>
                    </a:lnTo>
                    <a:lnTo>
                      <a:pt x="182" y="1166"/>
                    </a:lnTo>
                    <a:lnTo>
                      <a:pt x="184" y="1166"/>
                    </a:lnTo>
                    <a:lnTo>
                      <a:pt x="184" y="1170"/>
                    </a:lnTo>
                    <a:lnTo>
                      <a:pt x="184" y="1176"/>
                    </a:lnTo>
                    <a:lnTo>
                      <a:pt x="184" y="1182"/>
                    </a:lnTo>
                    <a:lnTo>
                      <a:pt x="182" y="1186"/>
                    </a:lnTo>
                    <a:lnTo>
                      <a:pt x="180" y="1194"/>
                    </a:lnTo>
                    <a:lnTo>
                      <a:pt x="180" y="1196"/>
                    </a:lnTo>
                    <a:lnTo>
                      <a:pt x="178" y="1198"/>
                    </a:lnTo>
                    <a:lnTo>
                      <a:pt x="174" y="1198"/>
                    </a:lnTo>
                    <a:lnTo>
                      <a:pt x="172" y="1196"/>
                    </a:lnTo>
                    <a:lnTo>
                      <a:pt x="170" y="1194"/>
                    </a:lnTo>
                    <a:lnTo>
                      <a:pt x="170" y="1198"/>
                    </a:lnTo>
                    <a:lnTo>
                      <a:pt x="170" y="1204"/>
                    </a:lnTo>
                    <a:lnTo>
                      <a:pt x="170" y="1210"/>
                    </a:lnTo>
                    <a:lnTo>
                      <a:pt x="172" y="1216"/>
                    </a:lnTo>
                    <a:lnTo>
                      <a:pt x="170" y="1220"/>
                    </a:lnTo>
                    <a:lnTo>
                      <a:pt x="168" y="1222"/>
                    </a:lnTo>
                    <a:lnTo>
                      <a:pt x="166" y="1224"/>
                    </a:lnTo>
                    <a:lnTo>
                      <a:pt x="164" y="1228"/>
                    </a:lnTo>
                    <a:lnTo>
                      <a:pt x="166" y="1230"/>
                    </a:lnTo>
                    <a:lnTo>
                      <a:pt x="170" y="1234"/>
                    </a:lnTo>
                    <a:lnTo>
                      <a:pt x="170" y="1232"/>
                    </a:lnTo>
                    <a:lnTo>
                      <a:pt x="170" y="1234"/>
                    </a:lnTo>
                    <a:lnTo>
                      <a:pt x="170" y="1236"/>
                    </a:lnTo>
                    <a:lnTo>
                      <a:pt x="170" y="1240"/>
                    </a:lnTo>
                    <a:lnTo>
                      <a:pt x="168" y="1240"/>
                    </a:lnTo>
                    <a:lnTo>
                      <a:pt x="166" y="1240"/>
                    </a:lnTo>
                    <a:lnTo>
                      <a:pt x="164" y="1246"/>
                    </a:lnTo>
                    <a:lnTo>
                      <a:pt x="164" y="1248"/>
                    </a:lnTo>
                    <a:lnTo>
                      <a:pt x="164" y="1250"/>
                    </a:lnTo>
                    <a:lnTo>
                      <a:pt x="162" y="1252"/>
                    </a:lnTo>
                    <a:lnTo>
                      <a:pt x="162" y="1254"/>
                    </a:lnTo>
                    <a:lnTo>
                      <a:pt x="160" y="1254"/>
                    </a:lnTo>
                    <a:lnTo>
                      <a:pt x="160" y="1256"/>
                    </a:lnTo>
                    <a:lnTo>
                      <a:pt x="158" y="1258"/>
                    </a:lnTo>
                    <a:lnTo>
                      <a:pt x="160" y="1260"/>
                    </a:lnTo>
                    <a:lnTo>
                      <a:pt x="162" y="1266"/>
                    </a:lnTo>
                    <a:lnTo>
                      <a:pt x="164" y="1270"/>
                    </a:lnTo>
                    <a:lnTo>
                      <a:pt x="162" y="1272"/>
                    </a:lnTo>
                    <a:lnTo>
                      <a:pt x="164" y="1276"/>
                    </a:lnTo>
                    <a:lnTo>
                      <a:pt x="162" y="1284"/>
                    </a:lnTo>
                    <a:lnTo>
                      <a:pt x="162" y="1286"/>
                    </a:lnTo>
                    <a:lnTo>
                      <a:pt x="162" y="1288"/>
                    </a:lnTo>
                    <a:lnTo>
                      <a:pt x="160" y="1292"/>
                    </a:lnTo>
                    <a:lnTo>
                      <a:pt x="160" y="1294"/>
                    </a:lnTo>
                    <a:lnTo>
                      <a:pt x="162" y="1294"/>
                    </a:lnTo>
                    <a:lnTo>
                      <a:pt x="162" y="1296"/>
                    </a:lnTo>
                    <a:lnTo>
                      <a:pt x="162" y="1302"/>
                    </a:lnTo>
                    <a:lnTo>
                      <a:pt x="160" y="1304"/>
                    </a:lnTo>
                    <a:lnTo>
                      <a:pt x="160" y="1306"/>
                    </a:lnTo>
                    <a:lnTo>
                      <a:pt x="160" y="1308"/>
                    </a:lnTo>
                    <a:lnTo>
                      <a:pt x="162" y="1314"/>
                    </a:lnTo>
                    <a:lnTo>
                      <a:pt x="166" y="1318"/>
                    </a:lnTo>
                    <a:lnTo>
                      <a:pt x="166" y="1320"/>
                    </a:lnTo>
                    <a:lnTo>
                      <a:pt x="166" y="1322"/>
                    </a:lnTo>
                    <a:lnTo>
                      <a:pt x="166" y="1326"/>
                    </a:lnTo>
                    <a:lnTo>
                      <a:pt x="168" y="1328"/>
                    </a:lnTo>
                    <a:lnTo>
                      <a:pt x="168" y="1332"/>
                    </a:lnTo>
                    <a:lnTo>
                      <a:pt x="166" y="1332"/>
                    </a:lnTo>
                    <a:lnTo>
                      <a:pt x="160" y="1336"/>
                    </a:lnTo>
                    <a:lnTo>
                      <a:pt x="158" y="1334"/>
                    </a:lnTo>
                    <a:lnTo>
                      <a:pt x="158" y="1332"/>
                    </a:lnTo>
                    <a:lnTo>
                      <a:pt x="156" y="1332"/>
                    </a:lnTo>
                    <a:lnTo>
                      <a:pt x="154" y="1332"/>
                    </a:lnTo>
                    <a:lnTo>
                      <a:pt x="154" y="1334"/>
                    </a:lnTo>
                    <a:lnTo>
                      <a:pt x="150" y="1342"/>
                    </a:lnTo>
                    <a:lnTo>
                      <a:pt x="152" y="1344"/>
                    </a:lnTo>
                    <a:lnTo>
                      <a:pt x="154" y="1346"/>
                    </a:lnTo>
                    <a:lnTo>
                      <a:pt x="152" y="1354"/>
                    </a:lnTo>
                    <a:lnTo>
                      <a:pt x="150" y="1356"/>
                    </a:lnTo>
                    <a:lnTo>
                      <a:pt x="150" y="1358"/>
                    </a:lnTo>
                    <a:lnTo>
                      <a:pt x="150" y="1362"/>
                    </a:lnTo>
                    <a:lnTo>
                      <a:pt x="152" y="1366"/>
                    </a:lnTo>
                    <a:lnTo>
                      <a:pt x="152" y="1368"/>
                    </a:lnTo>
                    <a:lnTo>
                      <a:pt x="152" y="1372"/>
                    </a:lnTo>
                    <a:lnTo>
                      <a:pt x="152" y="1374"/>
                    </a:lnTo>
                    <a:lnTo>
                      <a:pt x="150" y="1376"/>
                    </a:lnTo>
                    <a:lnTo>
                      <a:pt x="150" y="1378"/>
                    </a:lnTo>
                    <a:lnTo>
                      <a:pt x="150" y="1380"/>
                    </a:lnTo>
                    <a:lnTo>
                      <a:pt x="150" y="1382"/>
                    </a:lnTo>
                    <a:lnTo>
                      <a:pt x="152" y="1386"/>
                    </a:lnTo>
                    <a:lnTo>
                      <a:pt x="156" y="1388"/>
                    </a:lnTo>
                    <a:lnTo>
                      <a:pt x="158" y="1388"/>
                    </a:lnTo>
                    <a:lnTo>
                      <a:pt x="162" y="1388"/>
                    </a:lnTo>
                    <a:lnTo>
                      <a:pt x="168" y="1390"/>
                    </a:lnTo>
                    <a:lnTo>
                      <a:pt x="168" y="1396"/>
                    </a:lnTo>
                    <a:lnTo>
                      <a:pt x="166" y="1396"/>
                    </a:lnTo>
                    <a:lnTo>
                      <a:pt x="164" y="1396"/>
                    </a:lnTo>
                    <a:lnTo>
                      <a:pt x="160" y="1398"/>
                    </a:lnTo>
                    <a:lnTo>
                      <a:pt x="158" y="1402"/>
                    </a:lnTo>
                    <a:lnTo>
                      <a:pt x="158" y="1404"/>
                    </a:lnTo>
                    <a:lnTo>
                      <a:pt x="162" y="1406"/>
                    </a:lnTo>
                    <a:lnTo>
                      <a:pt x="168" y="1412"/>
                    </a:lnTo>
                    <a:lnTo>
                      <a:pt x="170" y="1416"/>
                    </a:lnTo>
                    <a:lnTo>
                      <a:pt x="168" y="1418"/>
                    </a:lnTo>
                    <a:lnTo>
                      <a:pt x="166" y="1420"/>
                    </a:lnTo>
                    <a:lnTo>
                      <a:pt x="164" y="1420"/>
                    </a:lnTo>
                    <a:lnTo>
                      <a:pt x="164" y="1422"/>
                    </a:lnTo>
                    <a:lnTo>
                      <a:pt x="166" y="1424"/>
                    </a:lnTo>
                    <a:lnTo>
                      <a:pt x="168" y="1426"/>
                    </a:lnTo>
                    <a:lnTo>
                      <a:pt x="170" y="1430"/>
                    </a:lnTo>
                    <a:lnTo>
                      <a:pt x="170" y="1432"/>
                    </a:lnTo>
                    <a:lnTo>
                      <a:pt x="166" y="1438"/>
                    </a:lnTo>
                    <a:lnTo>
                      <a:pt x="164" y="1440"/>
                    </a:lnTo>
                    <a:lnTo>
                      <a:pt x="164" y="1442"/>
                    </a:lnTo>
                    <a:lnTo>
                      <a:pt x="164" y="1444"/>
                    </a:lnTo>
                    <a:lnTo>
                      <a:pt x="164" y="1446"/>
                    </a:lnTo>
                    <a:lnTo>
                      <a:pt x="164" y="1452"/>
                    </a:lnTo>
                    <a:lnTo>
                      <a:pt x="162" y="1454"/>
                    </a:lnTo>
                    <a:lnTo>
                      <a:pt x="162" y="1456"/>
                    </a:lnTo>
                    <a:lnTo>
                      <a:pt x="164" y="1456"/>
                    </a:lnTo>
                    <a:lnTo>
                      <a:pt x="170" y="1456"/>
                    </a:lnTo>
                    <a:lnTo>
                      <a:pt x="174" y="1456"/>
                    </a:lnTo>
                    <a:lnTo>
                      <a:pt x="178" y="1456"/>
                    </a:lnTo>
                    <a:lnTo>
                      <a:pt x="180" y="1456"/>
                    </a:lnTo>
                    <a:lnTo>
                      <a:pt x="190" y="1458"/>
                    </a:lnTo>
                    <a:lnTo>
                      <a:pt x="190" y="1460"/>
                    </a:lnTo>
                    <a:lnTo>
                      <a:pt x="192" y="1462"/>
                    </a:lnTo>
                    <a:lnTo>
                      <a:pt x="192" y="1464"/>
                    </a:lnTo>
                    <a:lnTo>
                      <a:pt x="192" y="1466"/>
                    </a:lnTo>
                    <a:lnTo>
                      <a:pt x="190" y="1466"/>
                    </a:lnTo>
                    <a:lnTo>
                      <a:pt x="188" y="1470"/>
                    </a:lnTo>
                    <a:lnTo>
                      <a:pt x="188" y="1472"/>
                    </a:lnTo>
                    <a:lnTo>
                      <a:pt x="188" y="1474"/>
                    </a:lnTo>
                    <a:lnTo>
                      <a:pt x="186" y="1478"/>
                    </a:lnTo>
                    <a:lnTo>
                      <a:pt x="184" y="1478"/>
                    </a:lnTo>
                    <a:lnTo>
                      <a:pt x="182" y="1478"/>
                    </a:lnTo>
                    <a:lnTo>
                      <a:pt x="180" y="1478"/>
                    </a:lnTo>
                    <a:lnTo>
                      <a:pt x="178" y="1476"/>
                    </a:lnTo>
                    <a:lnTo>
                      <a:pt x="178" y="1474"/>
                    </a:lnTo>
                    <a:lnTo>
                      <a:pt x="176" y="1474"/>
                    </a:lnTo>
                    <a:lnTo>
                      <a:pt x="174" y="1476"/>
                    </a:lnTo>
                    <a:lnTo>
                      <a:pt x="172" y="1476"/>
                    </a:lnTo>
                    <a:lnTo>
                      <a:pt x="170" y="1476"/>
                    </a:lnTo>
                    <a:lnTo>
                      <a:pt x="168" y="1476"/>
                    </a:lnTo>
                    <a:lnTo>
                      <a:pt x="164" y="1476"/>
                    </a:lnTo>
                    <a:lnTo>
                      <a:pt x="164" y="1478"/>
                    </a:lnTo>
                    <a:lnTo>
                      <a:pt x="162" y="1478"/>
                    </a:lnTo>
                    <a:lnTo>
                      <a:pt x="156" y="1476"/>
                    </a:lnTo>
                    <a:lnTo>
                      <a:pt x="154" y="1476"/>
                    </a:lnTo>
                    <a:lnTo>
                      <a:pt x="152" y="1476"/>
                    </a:lnTo>
                    <a:lnTo>
                      <a:pt x="152" y="1478"/>
                    </a:lnTo>
                    <a:lnTo>
                      <a:pt x="152" y="1482"/>
                    </a:lnTo>
                    <a:lnTo>
                      <a:pt x="158" y="1484"/>
                    </a:lnTo>
                    <a:lnTo>
                      <a:pt x="164" y="1484"/>
                    </a:lnTo>
                    <a:lnTo>
                      <a:pt x="166" y="1484"/>
                    </a:lnTo>
                    <a:lnTo>
                      <a:pt x="172" y="1486"/>
                    </a:lnTo>
                    <a:lnTo>
                      <a:pt x="174" y="1488"/>
                    </a:lnTo>
                    <a:lnTo>
                      <a:pt x="176" y="1492"/>
                    </a:lnTo>
                    <a:lnTo>
                      <a:pt x="184" y="1500"/>
                    </a:lnTo>
                    <a:lnTo>
                      <a:pt x="184" y="1504"/>
                    </a:lnTo>
                    <a:lnTo>
                      <a:pt x="178" y="1514"/>
                    </a:lnTo>
                    <a:lnTo>
                      <a:pt x="170" y="1516"/>
                    </a:lnTo>
                    <a:lnTo>
                      <a:pt x="168" y="1516"/>
                    </a:lnTo>
                    <a:lnTo>
                      <a:pt x="168" y="1518"/>
                    </a:lnTo>
                    <a:lnTo>
                      <a:pt x="166" y="1518"/>
                    </a:lnTo>
                    <a:lnTo>
                      <a:pt x="164" y="1524"/>
                    </a:lnTo>
                    <a:lnTo>
                      <a:pt x="164" y="1528"/>
                    </a:lnTo>
                    <a:lnTo>
                      <a:pt x="166" y="1534"/>
                    </a:lnTo>
                    <a:lnTo>
                      <a:pt x="168" y="1534"/>
                    </a:lnTo>
                    <a:lnTo>
                      <a:pt x="170" y="1536"/>
                    </a:lnTo>
                    <a:lnTo>
                      <a:pt x="170" y="1542"/>
                    </a:lnTo>
                    <a:lnTo>
                      <a:pt x="170" y="1544"/>
                    </a:lnTo>
                    <a:lnTo>
                      <a:pt x="168" y="1544"/>
                    </a:lnTo>
                    <a:lnTo>
                      <a:pt x="166" y="1546"/>
                    </a:lnTo>
                    <a:lnTo>
                      <a:pt x="166" y="1548"/>
                    </a:lnTo>
                    <a:lnTo>
                      <a:pt x="164" y="1550"/>
                    </a:lnTo>
                    <a:lnTo>
                      <a:pt x="162" y="1550"/>
                    </a:lnTo>
                    <a:lnTo>
                      <a:pt x="160" y="1550"/>
                    </a:lnTo>
                    <a:lnTo>
                      <a:pt x="158" y="1550"/>
                    </a:lnTo>
                    <a:lnTo>
                      <a:pt x="162" y="1554"/>
                    </a:lnTo>
                    <a:lnTo>
                      <a:pt x="164" y="1554"/>
                    </a:lnTo>
                    <a:lnTo>
                      <a:pt x="166" y="1556"/>
                    </a:lnTo>
                    <a:lnTo>
                      <a:pt x="166" y="1566"/>
                    </a:lnTo>
                    <a:lnTo>
                      <a:pt x="168" y="1570"/>
                    </a:lnTo>
                    <a:lnTo>
                      <a:pt x="168" y="1572"/>
                    </a:lnTo>
                    <a:lnTo>
                      <a:pt x="168" y="1578"/>
                    </a:lnTo>
                    <a:lnTo>
                      <a:pt x="168" y="1580"/>
                    </a:lnTo>
                    <a:lnTo>
                      <a:pt x="162" y="1586"/>
                    </a:lnTo>
                    <a:lnTo>
                      <a:pt x="160" y="1586"/>
                    </a:lnTo>
                    <a:lnTo>
                      <a:pt x="158" y="1586"/>
                    </a:lnTo>
                    <a:lnTo>
                      <a:pt x="156" y="1586"/>
                    </a:lnTo>
                    <a:lnTo>
                      <a:pt x="154" y="1598"/>
                    </a:lnTo>
                    <a:lnTo>
                      <a:pt x="158" y="1604"/>
                    </a:lnTo>
                    <a:lnTo>
                      <a:pt x="160" y="1604"/>
                    </a:lnTo>
                    <a:lnTo>
                      <a:pt x="160" y="1606"/>
                    </a:lnTo>
                    <a:lnTo>
                      <a:pt x="160" y="1608"/>
                    </a:lnTo>
                    <a:lnTo>
                      <a:pt x="158" y="1608"/>
                    </a:lnTo>
                    <a:lnTo>
                      <a:pt x="154" y="1612"/>
                    </a:lnTo>
                    <a:lnTo>
                      <a:pt x="152" y="1616"/>
                    </a:lnTo>
                    <a:lnTo>
                      <a:pt x="148" y="1618"/>
                    </a:lnTo>
                    <a:lnTo>
                      <a:pt x="146" y="1620"/>
                    </a:lnTo>
                    <a:lnTo>
                      <a:pt x="144" y="1618"/>
                    </a:lnTo>
                    <a:lnTo>
                      <a:pt x="142" y="1620"/>
                    </a:lnTo>
                    <a:lnTo>
                      <a:pt x="140" y="1620"/>
                    </a:lnTo>
                    <a:lnTo>
                      <a:pt x="140" y="1622"/>
                    </a:lnTo>
                    <a:lnTo>
                      <a:pt x="140" y="1624"/>
                    </a:lnTo>
                    <a:lnTo>
                      <a:pt x="142" y="1624"/>
                    </a:lnTo>
                    <a:lnTo>
                      <a:pt x="140" y="1628"/>
                    </a:lnTo>
                    <a:lnTo>
                      <a:pt x="140" y="1630"/>
                    </a:lnTo>
                    <a:lnTo>
                      <a:pt x="138" y="1632"/>
                    </a:lnTo>
                    <a:lnTo>
                      <a:pt x="138" y="1634"/>
                    </a:lnTo>
                    <a:lnTo>
                      <a:pt x="136" y="1636"/>
                    </a:lnTo>
                    <a:lnTo>
                      <a:pt x="136" y="1638"/>
                    </a:lnTo>
                    <a:lnTo>
                      <a:pt x="132" y="1646"/>
                    </a:lnTo>
                    <a:lnTo>
                      <a:pt x="132" y="1648"/>
                    </a:lnTo>
                    <a:lnTo>
                      <a:pt x="134" y="1648"/>
                    </a:lnTo>
                    <a:lnTo>
                      <a:pt x="134" y="1650"/>
                    </a:lnTo>
                    <a:lnTo>
                      <a:pt x="136" y="1650"/>
                    </a:lnTo>
                    <a:lnTo>
                      <a:pt x="138" y="1650"/>
                    </a:lnTo>
                    <a:lnTo>
                      <a:pt x="140" y="1654"/>
                    </a:lnTo>
                    <a:lnTo>
                      <a:pt x="142" y="1662"/>
                    </a:lnTo>
                    <a:lnTo>
                      <a:pt x="142" y="1670"/>
                    </a:lnTo>
                    <a:lnTo>
                      <a:pt x="136" y="1672"/>
                    </a:lnTo>
                    <a:lnTo>
                      <a:pt x="134" y="1674"/>
                    </a:lnTo>
                    <a:lnTo>
                      <a:pt x="132" y="1674"/>
                    </a:lnTo>
                    <a:lnTo>
                      <a:pt x="130" y="1676"/>
                    </a:lnTo>
                    <a:lnTo>
                      <a:pt x="130" y="1678"/>
                    </a:lnTo>
                    <a:lnTo>
                      <a:pt x="130" y="1680"/>
                    </a:lnTo>
                    <a:lnTo>
                      <a:pt x="130" y="1682"/>
                    </a:lnTo>
                    <a:lnTo>
                      <a:pt x="132" y="1686"/>
                    </a:lnTo>
                    <a:lnTo>
                      <a:pt x="132" y="1688"/>
                    </a:lnTo>
                    <a:lnTo>
                      <a:pt x="132" y="1690"/>
                    </a:lnTo>
                    <a:lnTo>
                      <a:pt x="132" y="1692"/>
                    </a:lnTo>
                    <a:lnTo>
                      <a:pt x="132" y="1694"/>
                    </a:lnTo>
                    <a:lnTo>
                      <a:pt x="130" y="1696"/>
                    </a:lnTo>
                    <a:lnTo>
                      <a:pt x="126" y="1700"/>
                    </a:lnTo>
                    <a:lnTo>
                      <a:pt x="124" y="1700"/>
                    </a:lnTo>
                    <a:lnTo>
                      <a:pt x="122" y="1702"/>
                    </a:lnTo>
                    <a:lnTo>
                      <a:pt x="120" y="1702"/>
                    </a:lnTo>
                    <a:lnTo>
                      <a:pt x="118" y="1702"/>
                    </a:lnTo>
                    <a:lnTo>
                      <a:pt x="116" y="1702"/>
                    </a:lnTo>
                    <a:lnTo>
                      <a:pt x="114" y="1702"/>
                    </a:lnTo>
                    <a:lnTo>
                      <a:pt x="114" y="1704"/>
                    </a:lnTo>
                    <a:lnTo>
                      <a:pt x="110" y="1708"/>
                    </a:lnTo>
                    <a:lnTo>
                      <a:pt x="106" y="1718"/>
                    </a:lnTo>
                    <a:lnTo>
                      <a:pt x="110" y="1718"/>
                    </a:lnTo>
                    <a:lnTo>
                      <a:pt x="108" y="1720"/>
                    </a:lnTo>
                    <a:lnTo>
                      <a:pt x="106" y="1722"/>
                    </a:lnTo>
                    <a:lnTo>
                      <a:pt x="96" y="1722"/>
                    </a:lnTo>
                    <a:lnTo>
                      <a:pt x="92" y="1728"/>
                    </a:lnTo>
                    <a:lnTo>
                      <a:pt x="90" y="1734"/>
                    </a:lnTo>
                    <a:lnTo>
                      <a:pt x="92" y="1736"/>
                    </a:lnTo>
                    <a:lnTo>
                      <a:pt x="94" y="1738"/>
                    </a:lnTo>
                    <a:lnTo>
                      <a:pt x="96" y="1748"/>
                    </a:lnTo>
                    <a:lnTo>
                      <a:pt x="94" y="1750"/>
                    </a:lnTo>
                    <a:lnTo>
                      <a:pt x="92" y="1752"/>
                    </a:lnTo>
                    <a:lnTo>
                      <a:pt x="92" y="1756"/>
                    </a:lnTo>
                    <a:lnTo>
                      <a:pt x="94" y="1756"/>
                    </a:lnTo>
                    <a:lnTo>
                      <a:pt x="94" y="1758"/>
                    </a:lnTo>
                    <a:lnTo>
                      <a:pt x="96" y="1758"/>
                    </a:lnTo>
                    <a:lnTo>
                      <a:pt x="96" y="1760"/>
                    </a:lnTo>
                    <a:lnTo>
                      <a:pt x="94" y="1762"/>
                    </a:lnTo>
                    <a:lnTo>
                      <a:pt x="94" y="1764"/>
                    </a:lnTo>
                    <a:lnTo>
                      <a:pt x="92" y="1766"/>
                    </a:lnTo>
                    <a:lnTo>
                      <a:pt x="94" y="1768"/>
                    </a:lnTo>
                    <a:lnTo>
                      <a:pt x="96" y="1770"/>
                    </a:lnTo>
                    <a:lnTo>
                      <a:pt x="100" y="1772"/>
                    </a:lnTo>
                    <a:lnTo>
                      <a:pt x="102" y="1774"/>
                    </a:lnTo>
                    <a:lnTo>
                      <a:pt x="102" y="1776"/>
                    </a:lnTo>
                    <a:lnTo>
                      <a:pt x="104" y="1778"/>
                    </a:lnTo>
                    <a:lnTo>
                      <a:pt x="104" y="1786"/>
                    </a:lnTo>
                    <a:lnTo>
                      <a:pt x="104" y="1792"/>
                    </a:lnTo>
                    <a:lnTo>
                      <a:pt x="108" y="1798"/>
                    </a:lnTo>
                    <a:lnTo>
                      <a:pt x="108" y="1800"/>
                    </a:lnTo>
                    <a:lnTo>
                      <a:pt x="110" y="1800"/>
                    </a:lnTo>
                    <a:lnTo>
                      <a:pt x="112" y="1800"/>
                    </a:lnTo>
                    <a:lnTo>
                      <a:pt x="114" y="1800"/>
                    </a:lnTo>
                    <a:lnTo>
                      <a:pt x="114" y="1798"/>
                    </a:lnTo>
                    <a:lnTo>
                      <a:pt x="116" y="1796"/>
                    </a:lnTo>
                    <a:lnTo>
                      <a:pt x="118" y="1794"/>
                    </a:lnTo>
                    <a:lnTo>
                      <a:pt x="124" y="1792"/>
                    </a:lnTo>
                    <a:lnTo>
                      <a:pt x="126" y="1794"/>
                    </a:lnTo>
                    <a:lnTo>
                      <a:pt x="128" y="1794"/>
                    </a:lnTo>
                    <a:lnTo>
                      <a:pt x="130" y="1794"/>
                    </a:lnTo>
                    <a:lnTo>
                      <a:pt x="132" y="1792"/>
                    </a:lnTo>
                    <a:lnTo>
                      <a:pt x="134" y="1792"/>
                    </a:lnTo>
                    <a:lnTo>
                      <a:pt x="138" y="1792"/>
                    </a:lnTo>
                    <a:lnTo>
                      <a:pt x="142" y="1794"/>
                    </a:lnTo>
                    <a:lnTo>
                      <a:pt x="142" y="1796"/>
                    </a:lnTo>
                    <a:lnTo>
                      <a:pt x="140" y="1798"/>
                    </a:lnTo>
                    <a:lnTo>
                      <a:pt x="140" y="1800"/>
                    </a:lnTo>
                    <a:lnTo>
                      <a:pt x="142" y="1802"/>
                    </a:lnTo>
                    <a:lnTo>
                      <a:pt x="144" y="1804"/>
                    </a:lnTo>
                    <a:lnTo>
                      <a:pt x="144" y="1806"/>
                    </a:lnTo>
                    <a:lnTo>
                      <a:pt x="142" y="1814"/>
                    </a:lnTo>
                    <a:lnTo>
                      <a:pt x="140" y="1814"/>
                    </a:lnTo>
                    <a:lnTo>
                      <a:pt x="138" y="1818"/>
                    </a:lnTo>
                    <a:lnTo>
                      <a:pt x="138" y="1822"/>
                    </a:lnTo>
                    <a:lnTo>
                      <a:pt x="140" y="1824"/>
                    </a:lnTo>
                    <a:lnTo>
                      <a:pt x="142" y="1824"/>
                    </a:lnTo>
                    <a:lnTo>
                      <a:pt x="144" y="1826"/>
                    </a:lnTo>
                    <a:lnTo>
                      <a:pt x="142" y="1828"/>
                    </a:lnTo>
                    <a:lnTo>
                      <a:pt x="140" y="1830"/>
                    </a:lnTo>
                    <a:lnTo>
                      <a:pt x="140" y="1832"/>
                    </a:lnTo>
                    <a:lnTo>
                      <a:pt x="140" y="1834"/>
                    </a:lnTo>
                    <a:lnTo>
                      <a:pt x="140" y="1840"/>
                    </a:lnTo>
                    <a:lnTo>
                      <a:pt x="138" y="1840"/>
                    </a:lnTo>
                    <a:lnTo>
                      <a:pt x="138" y="1842"/>
                    </a:lnTo>
                    <a:lnTo>
                      <a:pt x="142" y="1850"/>
                    </a:lnTo>
                    <a:lnTo>
                      <a:pt x="142" y="1852"/>
                    </a:lnTo>
                    <a:lnTo>
                      <a:pt x="144" y="1852"/>
                    </a:lnTo>
                    <a:lnTo>
                      <a:pt x="146" y="1852"/>
                    </a:lnTo>
                    <a:lnTo>
                      <a:pt x="148" y="1852"/>
                    </a:lnTo>
                    <a:lnTo>
                      <a:pt x="150" y="1854"/>
                    </a:lnTo>
                    <a:lnTo>
                      <a:pt x="154" y="1860"/>
                    </a:lnTo>
                    <a:lnTo>
                      <a:pt x="154" y="1862"/>
                    </a:lnTo>
                    <a:lnTo>
                      <a:pt x="156" y="1866"/>
                    </a:lnTo>
                    <a:lnTo>
                      <a:pt x="164" y="1866"/>
                    </a:lnTo>
                    <a:lnTo>
                      <a:pt x="182" y="1866"/>
                    </a:lnTo>
                    <a:lnTo>
                      <a:pt x="204" y="1868"/>
                    </a:lnTo>
                    <a:lnTo>
                      <a:pt x="212" y="1868"/>
                    </a:lnTo>
                    <a:lnTo>
                      <a:pt x="226" y="1868"/>
                    </a:lnTo>
                    <a:lnTo>
                      <a:pt x="230" y="1868"/>
                    </a:lnTo>
                    <a:lnTo>
                      <a:pt x="232" y="1868"/>
                    </a:lnTo>
                    <a:lnTo>
                      <a:pt x="234" y="1870"/>
                    </a:lnTo>
                    <a:lnTo>
                      <a:pt x="238" y="1872"/>
                    </a:lnTo>
                    <a:lnTo>
                      <a:pt x="250" y="1876"/>
                    </a:lnTo>
                    <a:lnTo>
                      <a:pt x="256" y="1876"/>
                    </a:lnTo>
                    <a:lnTo>
                      <a:pt x="258" y="1876"/>
                    </a:lnTo>
                    <a:lnTo>
                      <a:pt x="266" y="1880"/>
                    </a:lnTo>
                    <a:lnTo>
                      <a:pt x="268" y="1880"/>
                    </a:lnTo>
                    <a:lnTo>
                      <a:pt x="270" y="1882"/>
                    </a:lnTo>
                    <a:lnTo>
                      <a:pt x="272" y="1882"/>
                    </a:lnTo>
                    <a:lnTo>
                      <a:pt x="274" y="1884"/>
                    </a:lnTo>
                    <a:lnTo>
                      <a:pt x="278" y="1884"/>
                    </a:lnTo>
                    <a:lnTo>
                      <a:pt x="280" y="1884"/>
                    </a:lnTo>
                    <a:lnTo>
                      <a:pt x="282" y="1886"/>
                    </a:lnTo>
                    <a:lnTo>
                      <a:pt x="288" y="1886"/>
                    </a:lnTo>
                    <a:lnTo>
                      <a:pt x="288" y="1890"/>
                    </a:lnTo>
                    <a:lnTo>
                      <a:pt x="286" y="1886"/>
                    </a:lnTo>
                    <a:lnTo>
                      <a:pt x="280" y="1886"/>
                    </a:lnTo>
                    <a:lnTo>
                      <a:pt x="276" y="1884"/>
                    </a:lnTo>
                    <a:lnTo>
                      <a:pt x="274" y="1884"/>
                    </a:lnTo>
                    <a:lnTo>
                      <a:pt x="270" y="1884"/>
                    </a:lnTo>
                    <a:lnTo>
                      <a:pt x="268" y="1884"/>
                    </a:lnTo>
                    <a:lnTo>
                      <a:pt x="266" y="1884"/>
                    </a:lnTo>
                    <a:lnTo>
                      <a:pt x="266" y="1882"/>
                    </a:lnTo>
                    <a:lnTo>
                      <a:pt x="264" y="1882"/>
                    </a:lnTo>
                    <a:lnTo>
                      <a:pt x="262" y="1880"/>
                    </a:lnTo>
                    <a:lnTo>
                      <a:pt x="260" y="1880"/>
                    </a:lnTo>
                    <a:lnTo>
                      <a:pt x="258" y="1880"/>
                    </a:lnTo>
                    <a:lnTo>
                      <a:pt x="250" y="1882"/>
                    </a:lnTo>
                    <a:lnTo>
                      <a:pt x="250" y="1884"/>
                    </a:lnTo>
                    <a:lnTo>
                      <a:pt x="248" y="1884"/>
                    </a:lnTo>
                    <a:lnTo>
                      <a:pt x="248" y="1888"/>
                    </a:lnTo>
                    <a:lnTo>
                      <a:pt x="246" y="1892"/>
                    </a:lnTo>
                    <a:lnTo>
                      <a:pt x="244" y="1894"/>
                    </a:lnTo>
                    <a:lnTo>
                      <a:pt x="242" y="1896"/>
                    </a:lnTo>
                    <a:lnTo>
                      <a:pt x="238" y="1896"/>
                    </a:lnTo>
                    <a:lnTo>
                      <a:pt x="236" y="1896"/>
                    </a:lnTo>
                    <a:lnTo>
                      <a:pt x="232" y="1896"/>
                    </a:lnTo>
                    <a:lnTo>
                      <a:pt x="224" y="1900"/>
                    </a:lnTo>
                    <a:lnTo>
                      <a:pt x="222" y="1900"/>
                    </a:lnTo>
                    <a:lnTo>
                      <a:pt x="210" y="1906"/>
                    </a:lnTo>
                    <a:lnTo>
                      <a:pt x="208" y="1906"/>
                    </a:lnTo>
                    <a:lnTo>
                      <a:pt x="202" y="1906"/>
                    </a:lnTo>
                    <a:lnTo>
                      <a:pt x="198" y="1908"/>
                    </a:lnTo>
                    <a:lnTo>
                      <a:pt x="196" y="19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6" name="Freeform 1964"/>
              <p:cNvSpPr>
                <a:spLocks/>
              </p:cNvSpPr>
              <p:nvPr/>
            </p:nvSpPr>
            <p:spPr bwMode="auto">
              <a:xfrm>
                <a:off x="2300" y="3248"/>
                <a:ext cx="46" cy="88"/>
              </a:xfrm>
              <a:custGeom>
                <a:avLst/>
                <a:gdLst/>
                <a:ahLst/>
                <a:cxnLst>
                  <a:cxn ang="0">
                    <a:pos x="38" y="70"/>
                  </a:cxn>
                  <a:cxn ang="0">
                    <a:pos x="40" y="74"/>
                  </a:cxn>
                  <a:cxn ang="0">
                    <a:pos x="28" y="74"/>
                  </a:cxn>
                  <a:cxn ang="0">
                    <a:pos x="30" y="78"/>
                  </a:cxn>
                  <a:cxn ang="0">
                    <a:pos x="32" y="82"/>
                  </a:cxn>
                  <a:cxn ang="0">
                    <a:pos x="24" y="88"/>
                  </a:cxn>
                  <a:cxn ang="0">
                    <a:pos x="22" y="86"/>
                  </a:cxn>
                  <a:cxn ang="0">
                    <a:pos x="16" y="86"/>
                  </a:cxn>
                  <a:cxn ang="0">
                    <a:pos x="6" y="84"/>
                  </a:cxn>
                  <a:cxn ang="0">
                    <a:pos x="2" y="80"/>
                  </a:cxn>
                  <a:cxn ang="0">
                    <a:pos x="4" y="72"/>
                  </a:cxn>
                  <a:cxn ang="0">
                    <a:pos x="8" y="66"/>
                  </a:cxn>
                  <a:cxn ang="0">
                    <a:pos x="10" y="60"/>
                  </a:cxn>
                  <a:cxn ang="0">
                    <a:pos x="12" y="44"/>
                  </a:cxn>
                  <a:cxn ang="0">
                    <a:pos x="10" y="38"/>
                  </a:cxn>
                  <a:cxn ang="0">
                    <a:pos x="10" y="24"/>
                  </a:cxn>
                  <a:cxn ang="0">
                    <a:pos x="12" y="22"/>
                  </a:cxn>
                  <a:cxn ang="0">
                    <a:pos x="14" y="20"/>
                  </a:cxn>
                  <a:cxn ang="0">
                    <a:pos x="16" y="8"/>
                  </a:cxn>
                  <a:cxn ang="0">
                    <a:pos x="14" y="2"/>
                  </a:cxn>
                  <a:cxn ang="0">
                    <a:pos x="22" y="0"/>
                  </a:cxn>
                  <a:cxn ang="0">
                    <a:pos x="22" y="4"/>
                  </a:cxn>
                  <a:cxn ang="0">
                    <a:pos x="20" y="2"/>
                  </a:cxn>
                  <a:cxn ang="0">
                    <a:pos x="18" y="4"/>
                  </a:cxn>
                  <a:cxn ang="0">
                    <a:pos x="24" y="6"/>
                  </a:cxn>
                  <a:cxn ang="0">
                    <a:pos x="30" y="2"/>
                  </a:cxn>
                  <a:cxn ang="0">
                    <a:pos x="36" y="2"/>
                  </a:cxn>
                  <a:cxn ang="0">
                    <a:pos x="38" y="10"/>
                  </a:cxn>
                  <a:cxn ang="0">
                    <a:pos x="42" y="18"/>
                  </a:cxn>
                  <a:cxn ang="0">
                    <a:pos x="40" y="20"/>
                  </a:cxn>
                  <a:cxn ang="0">
                    <a:pos x="46" y="26"/>
                  </a:cxn>
                  <a:cxn ang="0">
                    <a:pos x="44" y="28"/>
                  </a:cxn>
                  <a:cxn ang="0">
                    <a:pos x="38" y="30"/>
                  </a:cxn>
                  <a:cxn ang="0">
                    <a:pos x="34" y="32"/>
                  </a:cxn>
                  <a:cxn ang="0">
                    <a:pos x="32" y="36"/>
                  </a:cxn>
                  <a:cxn ang="0">
                    <a:pos x="34" y="38"/>
                  </a:cxn>
                  <a:cxn ang="0">
                    <a:pos x="30" y="42"/>
                  </a:cxn>
                  <a:cxn ang="0">
                    <a:pos x="28" y="36"/>
                  </a:cxn>
                  <a:cxn ang="0">
                    <a:pos x="26" y="40"/>
                  </a:cxn>
                  <a:cxn ang="0">
                    <a:pos x="34" y="52"/>
                  </a:cxn>
                  <a:cxn ang="0">
                    <a:pos x="40" y="54"/>
                  </a:cxn>
                  <a:cxn ang="0">
                    <a:pos x="40" y="60"/>
                  </a:cxn>
                  <a:cxn ang="0">
                    <a:pos x="34" y="60"/>
                  </a:cxn>
                  <a:cxn ang="0">
                    <a:pos x="34" y="64"/>
                  </a:cxn>
                </a:cxnLst>
                <a:rect l="0" t="0" r="r" b="b"/>
                <a:pathLst>
                  <a:path w="46" h="88">
                    <a:moveTo>
                      <a:pt x="38" y="66"/>
                    </a:moveTo>
                    <a:lnTo>
                      <a:pt x="38" y="70"/>
                    </a:lnTo>
                    <a:lnTo>
                      <a:pt x="40" y="72"/>
                    </a:lnTo>
                    <a:lnTo>
                      <a:pt x="40" y="74"/>
                    </a:lnTo>
                    <a:lnTo>
                      <a:pt x="30" y="72"/>
                    </a:lnTo>
                    <a:lnTo>
                      <a:pt x="28" y="74"/>
                    </a:lnTo>
                    <a:lnTo>
                      <a:pt x="28" y="78"/>
                    </a:lnTo>
                    <a:lnTo>
                      <a:pt x="30" y="78"/>
                    </a:lnTo>
                    <a:lnTo>
                      <a:pt x="30" y="80"/>
                    </a:lnTo>
                    <a:lnTo>
                      <a:pt x="32" y="82"/>
                    </a:lnTo>
                    <a:lnTo>
                      <a:pt x="30" y="86"/>
                    </a:lnTo>
                    <a:lnTo>
                      <a:pt x="24" y="88"/>
                    </a:lnTo>
                    <a:lnTo>
                      <a:pt x="24" y="86"/>
                    </a:lnTo>
                    <a:lnTo>
                      <a:pt x="22" y="86"/>
                    </a:lnTo>
                    <a:lnTo>
                      <a:pt x="20" y="86"/>
                    </a:lnTo>
                    <a:lnTo>
                      <a:pt x="16" y="86"/>
                    </a:lnTo>
                    <a:lnTo>
                      <a:pt x="12" y="84"/>
                    </a:lnTo>
                    <a:lnTo>
                      <a:pt x="6" y="84"/>
                    </a:lnTo>
                    <a:lnTo>
                      <a:pt x="2" y="82"/>
                    </a:lnTo>
                    <a:lnTo>
                      <a:pt x="2" y="80"/>
                    </a:lnTo>
                    <a:lnTo>
                      <a:pt x="0" y="80"/>
                    </a:lnTo>
                    <a:lnTo>
                      <a:pt x="4" y="72"/>
                    </a:lnTo>
                    <a:lnTo>
                      <a:pt x="8" y="68"/>
                    </a:lnTo>
                    <a:lnTo>
                      <a:pt x="8" y="66"/>
                    </a:lnTo>
                    <a:lnTo>
                      <a:pt x="10" y="64"/>
                    </a:lnTo>
                    <a:lnTo>
                      <a:pt x="10" y="60"/>
                    </a:lnTo>
                    <a:lnTo>
                      <a:pt x="12" y="48"/>
                    </a:lnTo>
                    <a:lnTo>
                      <a:pt x="12" y="44"/>
                    </a:lnTo>
                    <a:lnTo>
                      <a:pt x="10" y="40"/>
                    </a:lnTo>
                    <a:lnTo>
                      <a:pt x="10" y="38"/>
                    </a:lnTo>
                    <a:lnTo>
                      <a:pt x="10" y="36"/>
                    </a:lnTo>
                    <a:lnTo>
                      <a:pt x="10" y="24"/>
                    </a:lnTo>
                    <a:lnTo>
                      <a:pt x="10" y="22"/>
                    </a:lnTo>
                    <a:lnTo>
                      <a:pt x="12" y="22"/>
                    </a:lnTo>
                    <a:lnTo>
                      <a:pt x="12" y="20"/>
                    </a:lnTo>
                    <a:lnTo>
                      <a:pt x="14" y="20"/>
                    </a:lnTo>
                    <a:lnTo>
                      <a:pt x="16" y="16"/>
                    </a:lnTo>
                    <a:lnTo>
                      <a:pt x="16" y="8"/>
                    </a:lnTo>
                    <a:lnTo>
                      <a:pt x="16" y="4"/>
                    </a:lnTo>
                    <a:lnTo>
                      <a:pt x="14" y="2"/>
                    </a:lnTo>
                    <a:lnTo>
                      <a:pt x="16" y="0"/>
                    </a:lnTo>
                    <a:lnTo>
                      <a:pt x="22" y="0"/>
                    </a:lnTo>
                    <a:lnTo>
                      <a:pt x="22" y="2"/>
                    </a:lnTo>
                    <a:lnTo>
                      <a:pt x="22" y="4"/>
                    </a:lnTo>
                    <a:lnTo>
                      <a:pt x="20" y="4"/>
                    </a:lnTo>
                    <a:lnTo>
                      <a:pt x="20" y="2"/>
                    </a:lnTo>
                    <a:lnTo>
                      <a:pt x="18" y="2"/>
                    </a:lnTo>
                    <a:lnTo>
                      <a:pt x="18" y="4"/>
                    </a:lnTo>
                    <a:lnTo>
                      <a:pt x="20" y="6"/>
                    </a:lnTo>
                    <a:lnTo>
                      <a:pt x="24" y="6"/>
                    </a:lnTo>
                    <a:lnTo>
                      <a:pt x="26" y="4"/>
                    </a:lnTo>
                    <a:lnTo>
                      <a:pt x="30" y="2"/>
                    </a:lnTo>
                    <a:lnTo>
                      <a:pt x="34" y="0"/>
                    </a:lnTo>
                    <a:lnTo>
                      <a:pt x="36" y="2"/>
                    </a:lnTo>
                    <a:lnTo>
                      <a:pt x="40" y="4"/>
                    </a:lnTo>
                    <a:lnTo>
                      <a:pt x="38" y="10"/>
                    </a:lnTo>
                    <a:lnTo>
                      <a:pt x="42" y="16"/>
                    </a:lnTo>
                    <a:lnTo>
                      <a:pt x="42" y="18"/>
                    </a:lnTo>
                    <a:lnTo>
                      <a:pt x="40" y="18"/>
                    </a:lnTo>
                    <a:lnTo>
                      <a:pt x="40" y="20"/>
                    </a:lnTo>
                    <a:lnTo>
                      <a:pt x="44" y="22"/>
                    </a:lnTo>
                    <a:lnTo>
                      <a:pt x="46" y="26"/>
                    </a:lnTo>
                    <a:lnTo>
                      <a:pt x="46" y="28"/>
                    </a:lnTo>
                    <a:lnTo>
                      <a:pt x="44" y="28"/>
                    </a:lnTo>
                    <a:lnTo>
                      <a:pt x="40" y="30"/>
                    </a:lnTo>
                    <a:lnTo>
                      <a:pt x="38" y="30"/>
                    </a:lnTo>
                    <a:lnTo>
                      <a:pt x="36" y="30"/>
                    </a:lnTo>
                    <a:lnTo>
                      <a:pt x="34" y="32"/>
                    </a:lnTo>
                    <a:lnTo>
                      <a:pt x="32" y="32"/>
                    </a:lnTo>
                    <a:lnTo>
                      <a:pt x="32" y="36"/>
                    </a:lnTo>
                    <a:lnTo>
                      <a:pt x="32" y="38"/>
                    </a:lnTo>
                    <a:lnTo>
                      <a:pt x="34" y="38"/>
                    </a:lnTo>
                    <a:lnTo>
                      <a:pt x="34" y="40"/>
                    </a:lnTo>
                    <a:lnTo>
                      <a:pt x="30" y="42"/>
                    </a:lnTo>
                    <a:lnTo>
                      <a:pt x="28" y="40"/>
                    </a:lnTo>
                    <a:lnTo>
                      <a:pt x="28" y="36"/>
                    </a:lnTo>
                    <a:lnTo>
                      <a:pt x="28" y="38"/>
                    </a:lnTo>
                    <a:lnTo>
                      <a:pt x="26" y="40"/>
                    </a:lnTo>
                    <a:lnTo>
                      <a:pt x="26" y="44"/>
                    </a:lnTo>
                    <a:lnTo>
                      <a:pt x="34" y="52"/>
                    </a:lnTo>
                    <a:lnTo>
                      <a:pt x="36" y="54"/>
                    </a:lnTo>
                    <a:lnTo>
                      <a:pt x="40" y="54"/>
                    </a:lnTo>
                    <a:lnTo>
                      <a:pt x="40" y="58"/>
                    </a:lnTo>
                    <a:lnTo>
                      <a:pt x="40" y="60"/>
                    </a:lnTo>
                    <a:lnTo>
                      <a:pt x="36" y="60"/>
                    </a:lnTo>
                    <a:lnTo>
                      <a:pt x="34" y="60"/>
                    </a:lnTo>
                    <a:lnTo>
                      <a:pt x="34" y="62"/>
                    </a:lnTo>
                    <a:lnTo>
                      <a:pt x="34" y="64"/>
                    </a:lnTo>
                    <a:lnTo>
                      <a:pt x="38" y="6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7" name="Freeform 1965"/>
              <p:cNvSpPr>
                <a:spLocks/>
              </p:cNvSpPr>
              <p:nvPr/>
            </p:nvSpPr>
            <p:spPr bwMode="auto">
              <a:xfrm>
                <a:off x="2332" y="3280"/>
                <a:ext cx="12" cy="10"/>
              </a:xfrm>
              <a:custGeom>
                <a:avLst/>
                <a:gdLst/>
                <a:ahLst/>
                <a:cxnLst>
                  <a:cxn ang="0">
                    <a:pos x="10" y="10"/>
                  </a:cxn>
                  <a:cxn ang="0">
                    <a:pos x="10" y="8"/>
                  </a:cxn>
                  <a:cxn ang="0">
                    <a:pos x="10" y="6"/>
                  </a:cxn>
                  <a:cxn ang="0">
                    <a:pos x="4" y="4"/>
                  </a:cxn>
                  <a:cxn ang="0">
                    <a:pos x="2" y="4"/>
                  </a:cxn>
                  <a:cxn ang="0">
                    <a:pos x="0" y="2"/>
                  </a:cxn>
                  <a:cxn ang="0">
                    <a:pos x="0" y="0"/>
                  </a:cxn>
                  <a:cxn ang="0">
                    <a:pos x="2" y="0"/>
                  </a:cxn>
                  <a:cxn ang="0">
                    <a:pos x="4" y="0"/>
                  </a:cxn>
                  <a:cxn ang="0">
                    <a:pos x="6" y="0"/>
                  </a:cxn>
                  <a:cxn ang="0">
                    <a:pos x="6" y="2"/>
                  </a:cxn>
                  <a:cxn ang="0">
                    <a:pos x="12" y="8"/>
                  </a:cxn>
                  <a:cxn ang="0">
                    <a:pos x="12" y="10"/>
                  </a:cxn>
                  <a:cxn ang="0">
                    <a:pos x="10" y="10"/>
                  </a:cxn>
                </a:cxnLst>
                <a:rect l="0" t="0" r="r" b="b"/>
                <a:pathLst>
                  <a:path w="12" h="10">
                    <a:moveTo>
                      <a:pt x="10" y="10"/>
                    </a:moveTo>
                    <a:lnTo>
                      <a:pt x="10" y="8"/>
                    </a:lnTo>
                    <a:lnTo>
                      <a:pt x="10" y="6"/>
                    </a:lnTo>
                    <a:lnTo>
                      <a:pt x="4" y="4"/>
                    </a:lnTo>
                    <a:lnTo>
                      <a:pt x="2" y="4"/>
                    </a:lnTo>
                    <a:lnTo>
                      <a:pt x="0" y="2"/>
                    </a:lnTo>
                    <a:lnTo>
                      <a:pt x="0" y="0"/>
                    </a:lnTo>
                    <a:lnTo>
                      <a:pt x="2" y="0"/>
                    </a:lnTo>
                    <a:lnTo>
                      <a:pt x="4" y="0"/>
                    </a:lnTo>
                    <a:lnTo>
                      <a:pt x="6" y="0"/>
                    </a:lnTo>
                    <a:lnTo>
                      <a:pt x="6" y="2"/>
                    </a:lnTo>
                    <a:lnTo>
                      <a:pt x="12" y="8"/>
                    </a:lnTo>
                    <a:lnTo>
                      <a:pt x="12" y="10"/>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8" name="Freeform 1966"/>
              <p:cNvSpPr>
                <a:spLocks/>
              </p:cNvSpPr>
              <p:nvPr/>
            </p:nvSpPr>
            <p:spPr bwMode="auto">
              <a:xfrm>
                <a:off x="2282" y="3342"/>
                <a:ext cx="10" cy="8"/>
              </a:xfrm>
              <a:custGeom>
                <a:avLst/>
                <a:gdLst/>
                <a:ahLst/>
                <a:cxnLst>
                  <a:cxn ang="0">
                    <a:pos x="2" y="8"/>
                  </a:cxn>
                  <a:cxn ang="0">
                    <a:pos x="0" y="4"/>
                  </a:cxn>
                  <a:cxn ang="0">
                    <a:pos x="0" y="2"/>
                  </a:cxn>
                  <a:cxn ang="0">
                    <a:pos x="4" y="0"/>
                  </a:cxn>
                  <a:cxn ang="0">
                    <a:pos x="8" y="2"/>
                  </a:cxn>
                  <a:cxn ang="0">
                    <a:pos x="10" y="4"/>
                  </a:cxn>
                  <a:cxn ang="0">
                    <a:pos x="8" y="6"/>
                  </a:cxn>
                  <a:cxn ang="0">
                    <a:pos x="6" y="6"/>
                  </a:cxn>
                  <a:cxn ang="0">
                    <a:pos x="4" y="6"/>
                  </a:cxn>
                  <a:cxn ang="0">
                    <a:pos x="2" y="8"/>
                  </a:cxn>
                </a:cxnLst>
                <a:rect l="0" t="0" r="r" b="b"/>
                <a:pathLst>
                  <a:path w="10" h="8">
                    <a:moveTo>
                      <a:pt x="2" y="8"/>
                    </a:moveTo>
                    <a:lnTo>
                      <a:pt x="0" y="4"/>
                    </a:lnTo>
                    <a:lnTo>
                      <a:pt x="0" y="2"/>
                    </a:lnTo>
                    <a:lnTo>
                      <a:pt x="4" y="0"/>
                    </a:lnTo>
                    <a:lnTo>
                      <a:pt x="8" y="2"/>
                    </a:lnTo>
                    <a:lnTo>
                      <a:pt x="10" y="4"/>
                    </a:lnTo>
                    <a:lnTo>
                      <a:pt x="8" y="6"/>
                    </a:lnTo>
                    <a:lnTo>
                      <a:pt x="6" y="6"/>
                    </a:lnTo>
                    <a:lnTo>
                      <a:pt x="4" y="6"/>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9" name="Freeform 1967"/>
              <p:cNvSpPr>
                <a:spLocks/>
              </p:cNvSpPr>
              <p:nvPr/>
            </p:nvSpPr>
            <p:spPr bwMode="auto">
              <a:xfrm>
                <a:off x="2312" y="3356"/>
                <a:ext cx="16" cy="8"/>
              </a:xfrm>
              <a:custGeom>
                <a:avLst/>
                <a:gdLst/>
                <a:ahLst/>
                <a:cxnLst>
                  <a:cxn ang="0">
                    <a:pos x="8" y="8"/>
                  </a:cxn>
                  <a:cxn ang="0">
                    <a:pos x="6" y="8"/>
                  </a:cxn>
                  <a:cxn ang="0">
                    <a:pos x="2" y="6"/>
                  </a:cxn>
                  <a:cxn ang="0">
                    <a:pos x="0" y="6"/>
                  </a:cxn>
                  <a:cxn ang="0">
                    <a:pos x="0" y="2"/>
                  </a:cxn>
                  <a:cxn ang="0">
                    <a:pos x="2" y="2"/>
                  </a:cxn>
                  <a:cxn ang="0">
                    <a:pos x="4" y="2"/>
                  </a:cxn>
                  <a:cxn ang="0">
                    <a:pos x="10" y="2"/>
                  </a:cxn>
                  <a:cxn ang="0">
                    <a:pos x="14" y="0"/>
                  </a:cxn>
                  <a:cxn ang="0">
                    <a:pos x="16" y="2"/>
                  </a:cxn>
                  <a:cxn ang="0">
                    <a:pos x="16" y="4"/>
                  </a:cxn>
                  <a:cxn ang="0">
                    <a:pos x="16" y="6"/>
                  </a:cxn>
                  <a:cxn ang="0">
                    <a:pos x="14" y="6"/>
                  </a:cxn>
                  <a:cxn ang="0">
                    <a:pos x="12" y="6"/>
                  </a:cxn>
                  <a:cxn ang="0">
                    <a:pos x="12" y="4"/>
                  </a:cxn>
                  <a:cxn ang="0">
                    <a:pos x="14" y="4"/>
                  </a:cxn>
                  <a:cxn ang="0">
                    <a:pos x="12" y="4"/>
                  </a:cxn>
                  <a:cxn ang="0">
                    <a:pos x="8" y="4"/>
                  </a:cxn>
                  <a:cxn ang="0">
                    <a:pos x="8" y="6"/>
                  </a:cxn>
                  <a:cxn ang="0">
                    <a:pos x="10" y="6"/>
                  </a:cxn>
                  <a:cxn ang="0">
                    <a:pos x="10" y="8"/>
                  </a:cxn>
                  <a:cxn ang="0">
                    <a:pos x="8" y="8"/>
                  </a:cxn>
                </a:cxnLst>
                <a:rect l="0" t="0" r="r" b="b"/>
                <a:pathLst>
                  <a:path w="16" h="8">
                    <a:moveTo>
                      <a:pt x="8" y="8"/>
                    </a:moveTo>
                    <a:lnTo>
                      <a:pt x="6" y="8"/>
                    </a:lnTo>
                    <a:lnTo>
                      <a:pt x="2" y="6"/>
                    </a:lnTo>
                    <a:lnTo>
                      <a:pt x="0" y="6"/>
                    </a:lnTo>
                    <a:lnTo>
                      <a:pt x="0" y="2"/>
                    </a:lnTo>
                    <a:lnTo>
                      <a:pt x="2" y="2"/>
                    </a:lnTo>
                    <a:lnTo>
                      <a:pt x="4" y="2"/>
                    </a:lnTo>
                    <a:lnTo>
                      <a:pt x="10" y="2"/>
                    </a:lnTo>
                    <a:lnTo>
                      <a:pt x="14" y="0"/>
                    </a:lnTo>
                    <a:lnTo>
                      <a:pt x="16" y="2"/>
                    </a:lnTo>
                    <a:lnTo>
                      <a:pt x="16" y="4"/>
                    </a:lnTo>
                    <a:lnTo>
                      <a:pt x="16" y="6"/>
                    </a:lnTo>
                    <a:lnTo>
                      <a:pt x="14" y="6"/>
                    </a:lnTo>
                    <a:lnTo>
                      <a:pt x="12" y="6"/>
                    </a:lnTo>
                    <a:lnTo>
                      <a:pt x="12" y="4"/>
                    </a:lnTo>
                    <a:lnTo>
                      <a:pt x="14" y="4"/>
                    </a:lnTo>
                    <a:lnTo>
                      <a:pt x="12" y="4"/>
                    </a:lnTo>
                    <a:lnTo>
                      <a:pt x="8" y="4"/>
                    </a:lnTo>
                    <a:lnTo>
                      <a:pt x="8" y="6"/>
                    </a:lnTo>
                    <a:lnTo>
                      <a:pt x="10" y="6"/>
                    </a:lnTo>
                    <a:lnTo>
                      <a:pt x="10" y="8"/>
                    </a:lnTo>
                    <a:lnTo>
                      <a:pt x="8"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0" name="Freeform 1968"/>
              <p:cNvSpPr>
                <a:spLocks/>
              </p:cNvSpPr>
              <p:nvPr/>
            </p:nvSpPr>
            <p:spPr bwMode="auto">
              <a:xfrm>
                <a:off x="2350" y="3362"/>
                <a:ext cx="6" cy="8"/>
              </a:xfrm>
              <a:custGeom>
                <a:avLst/>
                <a:gdLst/>
                <a:ahLst/>
                <a:cxnLst>
                  <a:cxn ang="0">
                    <a:pos x="4" y="8"/>
                  </a:cxn>
                  <a:cxn ang="0">
                    <a:pos x="0" y="6"/>
                  </a:cxn>
                  <a:cxn ang="0">
                    <a:pos x="0" y="4"/>
                  </a:cxn>
                  <a:cxn ang="0">
                    <a:pos x="0" y="2"/>
                  </a:cxn>
                  <a:cxn ang="0">
                    <a:pos x="4" y="0"/>
                  </a:cxn>
                  <a:cxn ang="0">
                    <a:pos x="6" y="0"/>
                  </a:cxn>
                  <a:cxn ang="0">
                    <a:pos x="6" y="2"/>
                  </a:cxn>
                  <a:cxn ang="0">
                    <a:pos x="6" y="8"/>
                  </a:cxn>
                  <a:cxn ang="0">
                    <a:pos x="4" y="8"/>
                  </a:cxn>
                </a:cxnLst>
                <a:rect l="0" t="0" r="r" b="b"/>
                <a:pathLst>
                  <a:path w="6" h="8">
                    <a:moveTo>
                      <a:pt x="4" y="8"/>
                    </a:moveTo>
                    <a:lnTo>
                      <a:pt x="0" y="6"/>
                    </a:lnTo>
                    <a:lnTo>
                      <a:pt x="0" y="4"/>
                    </a:lnTo>
                    <a:lnTo>
                      <a:pt x="0" y="2"/>
                    </a:lnTo>
                    <a:lnTo>
                      <a:pt x="4" y="0"/>
                    </a:lnTo>
                    <a:lnTo>
                      <a:pt x="6" y="0"/>
                    </a:lnTo>
                    <a:lnTo>
                      <a:pt x="6" y="2"/>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1" name="Freeform 1969"/>
              <p:cNvSpPr>
                <a:spLocks/>
              </p:cNvSpPr>
              <p:nvPr/>
            </p:nvSpPr>
            <p:spPr bwMode="auto">
              <a:xfrm>
                <a:off x="2330" y="3364"/>
                <a:ext cx="6" cy="12"/>
              </a:xfrm>
              <a:custGeom>
                <a:avLst/>
                <a:gdLst/>
                <a:ahLst/>
                <a:cxnLst>
                  <a:cxn ang="0">
                    <a:pos x="4" y="12"/>
                  </a:cxn>
                  <a:cxn ang="0">
                    <a:pos x="0" y="6"/>
                  </a:cxn>
                  <a:cxn ang="0">
                    <a:pos x="0" y="4"/>
                  </a:cxn>
                  <a:cxn ang="0">
                    <a:pos x="0" y="2"/>
                  </a:cxn>
                  <a:cxn ang="0">
                    <a:pos x="0" y="0"/>
                  </a:cxn>
                  <a:cxn ang="0">
                    <a:pos x="2" y="0"/>
                  </a:cxn>
                  <a:cxn ang="0">
                    <a:pos x="4" y="4"/>
                  </a:cxn>
                  <a:cxn ang="0">
                    <a:pos x="6" y="8"/>
                  </a:cxn>
                  <a:cxn ang="0">
                    <a:pos x="6" y="10"/>
                  </a:cxn>
                  <a:cxn ang="0">
                    <a:pos x="4" y="12"/>
                  </a:cxn>
                </a:cxnLst>
                <a:rect l="0" t="0" r="r" b="b"/>
                <a:pathLst>
                  <a:path w="6" h="12">
                    <a:moveTo>
                      <a:pt x="4" y="12"/>
                    </a:moveTo>
                    <a:lnTo>
                      <a:pt x="0" y="6"/>
                    </a:lnTo>
                    <a:lnTo>
                      <a:pt x="0" y="4"/>
                    </a:lnTo>
                    <a:lnTo>
                      <a:pt x="0" y="2"/>
                    </a:lnTo>
                    <a:lnTo>
                      <a:pt x="0" y="0"/>
                    </a:lnTo>
                    <a:lnTo>
                      <a:pt x="2" y="0"/>
                    </a:lnTo>
                    <a:lnTo>
                      <a:pt x="4" y="4"/>
                    </a:lnTo>
                    <a:lnTo>
                      <a:pt x="6" y="8"/>
                    </a:lnTo>
                    <a:lnTo>
                      <a:pt x="6"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2" name="Freeform 1970"/>
              <p:cNvSpPr>
                <a:spLocks/>
              </p:cNvSpPr>
              <p:nvPr/>
            </p:nvSpPr>
            <p:spPr bwMode="auto">
              <a:xfrm>
                <a:off x="2318" y="3374"/>
                <a:ext cx="8" cy="4"/>
              </a:xfrm>
              <a:custGeom>
                <a:avLst/>
                <a:gdLst/>
                <a:ahLst/>
                <a:cxnLst>
                  <a:cxn ang="0">
                    <a:pos x="8" y="4"/>
                  </a:cxn>
                  <a:cxn ang="0">
                    <a:pos x="4" y="4"/>
                  </a:cxn>
                  <a:cxn ang="0">
                    <a:pos x="2" y="4"/>
                  </a:cxn>
                  <a:cxn ang="0">
                    <a:pos x="2" y="2"/>
                  </a:cxn>
                  <a:cxn ang="0">
                    <a:pos x="0" y="2"/>
                  </a:cxn>
                  <a:cxn ang="0">
                    <a:pos x="2" y="2"/>
                  </a:cxn>
                  <a:cxn ang="0">
                    <a:pos x="4" y="0"/>
                  </a:cxn>
                  <a:cxn ang="0">
                    <a:pos x="6" y="2"/>
                  </a:cxn>
                  <a:cxn ang="0">
                    <a:pos x="8" y="2"/>
                  </a:cxn>
                  <a:cxn ang="0">
                    <a:pos x="8" y="4"/>
                  </a:cxn>
                </a:cxnLst>
                <a:rect l="0" t="0" r="r" b="b"/>
                <a:pathLst>
                  <a:path w="8" h="4">
                    <a:moveTo>
                      <a:pt x="8" y="4"/>
                    </a:moveTo>
                    <a:lnTo>
                      <a:pt x="4" y="4"/>
                    </a:lnTo>
                    <a:lnTo>
                      <a:pt x="2" y="4"/>
                    </a:lnTo>
                    <a:lnTo>
                      <a:pt x="2" y="2"/>
                    </a:lnTo>
                    <a:lnTo>
                      <a:pt x="0" y="2"/>
                    </a:lnTo>
                    <a:lnTo>
                      <a:pt x="2" y="2"/>
                    </a:lnTo>
                    <a:lnTo>
                      <a:pt x="4" y="0"/>
                    </a:lnTo>
                    <a:lnTo>
                      <a:pt x="6" y="2"/>
                    </a:lnTo>
                    <a:lnTo>
                      <a:pt x="8" y="2"/>
                    </a:lnTo>
                    <a:lnTo>
                      <a:pt x="8"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3" name="Freeform 1971"/>
              <p:cNvSpPr>
                <a:spLocks/>
              </p:cNvSpPr>
              <p:nvPr/>
            </p:nvSpPr>
            <p:spPr bwMode="auto">
              <a:xfrm>
                <a:off x="2314" y="3376"/>
                <a:ext cx="8" cy="10"/>
              </a:xfrm>
              <a:custGeom>
                <a:avLst/>
                <a:gdLst/>
                <a:ahLst/>
                <a:cxnLst>
                  <a:cxn ang="0">
                    <a:pos x="6" y="10"/>
                  </a:cxn>
                  <a:cxn ang="0">
                    <a:pos x="4" y="10"/>
                  </a:cxn>
                  <a:cxn ang="0">
                    <a:pos x="2" y="8"/>
                  </a:cxn>
                  <a:cxn ang="0">
                    <a:pos x="0" y="2"/>
                  </a:cxn>
                  <a:cxn ang="0">
                    <a:pos x="2" y="0"/>
                  </a:cxn>
                  <a:cxn ang="0">
                    <a:pos x="4" y="0"/>
                  </a:cxn>
                  <a:cxn ang="0">
                    <a:pos x="6" y="4"/>
                  </a:cxn>
                  <a:cxn ang="0">
                    <a:pos x="8" y="6"/>
                  </a:cxn>
                  <a:cxn ang="0">
                    <a:pos x="4" y="6"/>
                  </a:cxn>
                  <a:cxn ang="0">
                    <a:pos x="4" y="8"/>
                  </a:cxn>
                  <a:cxn ang="0">
                    <a:pos x="6" y="10"/>
                  </a:cxn>
                </a:cxnLst>
                <a:rect l="0" t="0" r="r" b="b"/>
                <a:pathLst>
                  <a:path w="8" h="10">
                    <a:moveTo>
                      <a:pt x="6" y="10"/>
                    </a:moveTo>
                    <a:lnTo>
                      <a:pt x="4" y="10"/>
                    </a:lnTo>
                    <a:lnTo>
                      <a:pt x="2" y="8"/>
                    </a:lnTo>
                    <a:lnTo>
                      <a:pt x="0" y="2"/>
                    </a:lnTo>
                    <a:lnTo>
                      <a:pt x="2" y="0"/>
                    </a:lnTo>
                    <a:lnTo>
                      <a:pt x="4" y="0"/>
                    </a:lnTo>
                    <a:lnTo>
                      <a:pt x="6" y="4"/>
                    </a:lnTo>
                    <a:lnTo>
                      <a:pt x="8" y="6"/>
                    </a:lnTo>
                    <a:lnTo>
                      <a:pt x="4" y="6"/>
                    </a:lnTo>
                    <a:lnTo>
                      <a:pt x="4"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4" name="Freeform 1972"/>
              <p:cNvSpPr>
                <a:spLocks/>
              </p:cNvSpPr>
              <p:nvPr/>
            </p:nvSpPr>
            <p:spPr bwMode="auto">
              <a:xfrm>
                <a:off x="2320" y="3382"/>
                <a:ext cx="8" cy="4"/>
              </a:xfrm>
              <a:custGeom>
                <a:avLst/>
                <a:gdLst/>
                <a:ahLst/>
                <a:cxnLst>
                  <a:cxn ang="0">
                    <a:pos x="6" y="4"/>
                  </a:cxn>
                  <a:cxn ang="0">
                    <a:pos x="2" y="4"/>
                  </a:cxn>
                  <a:cxn ang="0">
                    <a:pos x="0" y="4"/>
                  </a:cxn>
                  <a:cxn ang="0">
                    <a:pos x="0" y="2"/>
                  </a:cxn>
                  <a:cxn ang="0">
                    <a:pos x="8" y="0"/>
                  </a:cxn>
                  <a:cxn ang="0">
                    <a:pos x="8" y="4"/>
                  </a:cxn>
                  <a:cxn ang="0">
                    <a:pos x="6" y="4"/>
                  </a:cxn>
                </a:cxnLst>
                <a:rect l="0" t="0" r="r" b="b"/>
                <a:pathLst>
                  <a:path w="8" h="4">
                    <a:moveTo>
                      <a:pt x="6" y="4"/>
                    </a:moveTo>
                    <a:lnTo>
                      <a:pt x="2" y="4"/>
                    </a:lnTo>
                    <a:lnTo>
                      <a:pt x="0" y="4"/>
                    </a:lnTo>
                    <a:lnTo>
                      <a:pt x="0" y="2"/>
                    </a:lnTo>
                    <a:lnTo>
                      <a:pt x="8" y="0"/>
                    </a:lnTo>
                    <a:lnTo>
                      <a:pt x="8" y="4"/>
                    </a:lnTo>
                    <a:lnTo>
                      <a:pt x="6"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5" name="Freeform 1973"/>
              <p:cNvSpPr>
                <a:spLocks/>
              </p:cNvSpPr>
              <p:nvPr/>
            </p:nvSpPr>
            <p:spPr bwMode="auto">
              <a:xfrm>
                <a:off x="2314" y="3386"/>
                <a:ext cx="8" cy="6"/>
              </a:xfrm>
              <a:custGeom>
                <a:avLst/>
                <a:gdLst/>
                <a:ahLst/>
                <a:cxnLst>
                  <a:cxn ang="0">
                    <a:pos x="6" y="6"/>
                  </a:cxn>
                  <a:cxn ang="0">
                    <a:pos x="2" y="4"/>
                  </a:cxn>
                  <a:cxn ang="0">
                    <a:pos x="0" y="0"/>
                  </a:cxn>
                  <a:cxn ang="0">
                    <a:pos x="2" y="0"/>
                  </a:cxn>
                  <a:cxn ang="0">
                    <a:pos x="8" y="2"/>
                  </a:cxn>
                  <a:cxn ang="0">
                    <a:pos x="8" y="6"/>
                  </a:cxn>
                  <a:cxn ang="0">
                    <a:pos x="6" y="6"/>
                  </a:cxn>
                </a:cxnLst>
                <a:rect l="0" t="0" r="r" b="b"/>
                <a:pathLst>
                  <a:path w="8" h="6">
                    <a:moveTo>
                      <a:pt x="6" y="6"/>
                    </a:moveTo>
                    <a:lnTo>
                      <a:pt x="2" y="4"/>
                    </a:lnTo>
                    <a:lnTo>
                      <a:pt x="0" y="0"/>
                    </a:lnTo>
                    <a:lnTo>
                      <a:pt x="2" y="0"/>
                    </a:lnTo>
                    <a:lnTo>
                      <a:pt x="8" y="2"/>
                    </a:lnTo>
                    <a:lnTo>
                      <a:pt x="8" y="6"/>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6" name="Freeform 1974"/>
              <p:cNvSpPr>
                <a:spLocks/>
              </p:cNvSpPr>
              <p:nvPr/>
            </p:nvSpPr>
            <p:spPr bwMode="auto">
              <a:xfrm>
                <a:off x="2342" y="3388"/>
                <a:ext cx="32" cy="32"/>
              </a:xfrm>
              <a:custGeom>
                <a:avLst/>
                <a:gdLst/>
                <a:ahLst/>
                <a:cxnLst>
                  <a:cxn ang="0">
                    <a:pos x="26" y="20"/>
                  </a:cxn>
                  <a:cxn ang="0">
                    <a:pos x="24" y="22"/>
                  </a:cxn>
                  <a:cxn ang="0">
                    <a:pos x="22" y="24"/>
                  </a:cxn>
                  <a:cxn ang="0">
                    <a:pos x="18" y="26"/>
                  </a:cxn>
                  <a:cxn ang="0">
                    <a:pos x="18" y="28"/>
                  </a:cxn>
                  <a:cxn ang="0">
                    <a:pos x="14" y="30"/>
                  </a:cxn>
                  <a:cxn ang="0">
                    <a:pos x="12" y="30"/>
                  </a:cxn>
                  <a:cxn ang="0">
                    <a:pos x="10" y="30"/>
                  </a:cxn>
                  <a:cxn ang="0">
                    <a:pos x="10" y="32"/>
                  </a:cxn>
                  <a:cxn ang="0">
                    <a:pos x="8" y="30"/>
                  </a:cxn>
                  <a:cxn ang="0">
                    <a:pos x="4" y="26"/>
                  </a:cxn>
                  <a:cxn ang="0">
                    <a:pos x="4" y="24"/>
                  </a:cxn>
                  <a:cxn ang="0">
                    <a:pos x="8" y="24"/>
                  </a:cxn>
                  <a:cxn ang="0">
                    <a:pos x="10" y="24"/>
                  </a:cxn>
                  <a:cxn ang="0">
                    <a:pos x="12" y="24"/>
                  </a:cxn>
                  <a:cxn ang="0">
                    <a:pos x="10" y="22"/>
                  </a:cxn>
                  <a:cxn ang="0">
                    <a:pos x="8" y="22"/>
                  </a:cxn>
                  <a:cxn ang="0">
                    <a:pos x="6" y="22"/>
                  </a:cxn>
                  <a:cxn ang="0">
                    <a:pos x="4" y="24"/>
                  </a:cxn>
                  <a:cxn ang="0">
                    <a:pos x="4" y="22"/>
                  </a:cxn>
                  <a:cxn ang="0">
                    <a:pos x="2" y="20"/>
                  </a:cxn>
                  <a:cxn ang="0">
                    <a:pos x="2" y="18"/>
                  </a:cxn>
                  <a:cxn ang="0">
                    <a:pos x="0" y="16"/>
                  </a:cxn>
                  <a:cxn ang="0">
                    <a:pos x="2" y="12"/>
                  </a:cxn>
                  <a:cxn ang="0">
                    <a:pos x="4" y="12"/>
                  </a:cxn>
                  <a:cxn ang="0">
                    <a:pos x="8" y="12"/>
                  </a:cxn>
                  <a:cxn ang="0">
                    <a:pos x="8" y="8"/>
                  </a:cxn>
                  <a:cxn ang="0">
                    <a:pos x="8" y="6"/>
                  </a:cxn>
                  <a:cxn ang="0">
                    <a:pos x="10" y="4"/>
                  </a:cxn>
                  <a:cxn ang="0">
                    <a:pos x="10" y="2"/>
                  </a:cxn>
                  <a:cxn ang="0">
                    <a:pos x="12" y="2"/>
                  </a:cxn>
                  <a:cxn ang="0">
                    <a:pos x="16" y="2"/>
                  </a:cxn>
                  <a:cxn ang="0">
                    <a:pos x="20" y="0"/>
                  </a:cxn>
                  <a:cxn ang="0">
                    <a:pos x="22" y="0"/>
                  </a:cxn>
                  <a:cxn ang="0">
                    <a:pos x="26" y="4"/>
                  </a:cxn>
                  <a:cxn ang="0">
                    <a:pos x="30" y="6"/>
                  </a:cxn>
                  <a:cxn ang="0">
                    <a:pos x="32" y="8"/>
                  </a:cxn>
                  <a:cxn ang="0">
                    <a:pos x="32" y="10"/>
                  </a:cxn>
                  <a:cxn ang="0">
                    <a:pos x="28" y="14"/>
                  </a:cxn>
                  <a:cxn ang="0">
                    <a:pos x="26" y="14"/>
                  </a:cxn>
                  <a:cxn ang="0">
                    <a:pos x="24" y="14"/>
                  </a:cxn>
                  <a:cxn ang="0">
                    <a:pos x="22" y="14"/>
                  </a:cxn>
                  <a:cxn ang="0">
                    <a:pos x="22" y="12"/>
                  </a:cxn>
                  <a:cxn ang="0">
                    <a:pos x="22" y="14"/>
                  </a:cxn>
                  <a:cxn ang="0">
                    <a:pos x="24" y="16"/>
                  </a:cxn>
                  <a:cxn ang="0">
                    <a:pos x="26" y="16"/>
                  </a:cxn>
                  <a:cxn ang="0">
                    <a:pos x="28" y="18"/>
                  </a:cxn>
                  <a:cxn ang="0">
                    <a:pos x="26" y="18"/>
                  </a:cxn>
                  <a:cxn ang="0">
                    <a:pos x="26" y="20"/>
                  </a:cxn>
                </a:cxnLst>
                <a:rect l="0" t="0" r="r" b="b"/>
                <a:pathLst>
                  <a:path w="32" h="32">
                    <a:moveTo>
                      <a:pt x="26" y="20"/>
                    </a:moveTo>
                    <a:lnTo>
                      <a:pt x="24" y="22"/>
                    </a:lnTo>
                    <a:lnTo>
                      <a:pt x="22" y="24"/>
                    </a:lnTo>
                    <a:lnTo>
                      <a:pt x="18" y="26"/>
                    </a:lnTo>
                    <a:lnTo>
                      <a:pt x="18" y="28"/>
                    </a:lnTo>
                    <a:lnTo>
                      <a:pt x="14" y="30"/>
                    </a:lnTo>
                    <a:lnTo>
                      <a:pt x="12" y="30"/>
                    </a:lnTo>
                    <a:lnTo>
                      <a:pt x="10" y="30"/>
                    </a:lnTo>
                    <a:lnTo>
                      <a:pt x="10" y="32"/>
                    </a:lnTo>
                    <a:lnTo>
                      <a:pt x="8" y="30"/>
                    </a:lnTo>
                    <a:lnTo>
                      <a:pt x="4" y="26"/>
                    </a:lnTo>
                    <a:lnTo>
                      <a:pt x="4" y="24"/>
                    </a:lnTo>
                    <a:lnTo>
                      <a:pt x="8" y="24"/>
                    </a:lnTo>
                    <a:lnTo>
                      <a:pt x="10" y="24"/>
                    </a:lnTo>
                    <a:lnTo>
                      <a:pt x="12" y="24"/>
                    </a:lnTo>
                    <a:lnTo>
                      <a:pt x="10" y="22"/>
                    </a:lnTo>
                    <a:lnTo>
                      <a:pt x="8" y="22"/>
                    </a:lnTo>
                    <a:lnTo>
                      <a:pt x="6" y="22"/>
                    </a:lnTo>
                    <a:lnTo>
                      <a:pt x="4" y="24"/>
                    </a:lnTo>
                    <a:lnTo>
                      <a:pt x="4" y="22"/>
                    </a:lnTo>
                    <a:lnTo>
                      <a:pt x="2" y="20"/>
                    </a:lnTo>
                    <a:lnTo>
                      <a:pt x="2" y="18"/>
                    </a:lnTo>
                    <a:lnTo>
                      <a:pt x="0" y="16"/>
                    </a:lnTo>
                    <a:lnTo>
                      <a:pt x="2" y="12"/>
                    </a:lnTo>
                    <a:lnTo>
                      <a:pt x="4" y="12"/>
                    </a:lnTo>
                    <a:lnTo>
                      <a:pt x="8" y="12"/>
                    </a:lnTo>
                    <a:lnTo>
                      <a:pt x="8" y="8"/>
                    </a:lnTo>
                    <a:lnTo>
                      <a:pt x="8" y="6"/>
                    </a:lnTo>
                    <a:lnTo>
                      <a:pt x="10" y="4"/>
                    </a:lnTo>
                    <a:lnTo>
                      <a:pt x="10" y="2"/>
                    </a:lnTo>
                    <a:lnTo>
                      <a:pt x="12" y="2"/>
                    </a:lnTo>
                    <a:lnTo>
                      <a:pt x="16" y="2"/>
                    </a:lnTo>
                    <a:lnTo>
                      <a:pt x="20" y="0"/>
                    </a:lnTo>
                    <a:lnTo>
                      <a:pt x="22" y="0"/>
                    </a:lnTo>
                    <a:lnTo>
                      <a:pt x="26" y="4"/>
                    </a:lnTo>
                    <a:lnTo>
                      <a:pt x="30" y="6"/>
                    </a:lnTo>
                    <a:lnTo>
                      <a:pt x="32" y="8"/>
                    </a:lnTo>
                    <a:lnTo>
                      <a:pt x="32" y="10"/>
                    </a:lnTo>
                    <a:lnTo>
                      <a:pt x="28" y="14"/>
                    </a:lnTo>
                    <a:lnTo>
                      <a:pt x="26" y="14"/>
                    </a:lnTo>
                    <a:lnTo>
                      <a:pt x="24" y="14"/>
                    </a:lnTo>
                    <a:lnTo>
                      <a:pt x="22" y="14"/>
                    </a:lnTo>
                    <a:lnTo>
                      <a:pt x="22" y="12"/>
                    </a:lnTo>
                    <a:lnTo>
                      <a:pt x="22" y="14"/>
                    </a:lnTo>
                    <a:lnTo>
                      <a:pt x="24" y="16"/>
                    </a:lnTo>
                    <a:lnTo>
                      <a:pt x="26" y="16"/>
                    </a:lnTo>
                    <a:lnTo>
                      <a:pt x="28" y="18"/>
                    </a:lnTo>
                    <a:lnTo>
                      <a:pt x="26" y="18"/>
                    </a:lnTo>
                    <a:lnTo>
                      <a:pt x="26" y="2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7" name="Freeform 1975"/>
              <p:cNvSpPr>
                <a:spLocks/>
              </p:cNvSpPr>
              <p:nvPr/>
            </p:nvSpPr>
            <p:spPr bwMode="auto">
              <a:xfrm>
                <a:off x="2296" y="3390"/>
                <a:ext cx="14" cy="8"/>
              </a:xfrm>
              <a:custGeom>
                <a:avLst/>
                <a:gdLst/>
                <a:ahLst/>
                <a:cxnLst>
                  <a:cxn ang="0">
                    <a:pos x="6" y="8"/>
                  </a:cxn>
                  <a:cxn ang="0">
                    <a:pos x="2" y="6"/>
                  </a:cxn>
                  <a:cxn ang="0">
                    <a:pos x="0" y="6"/>
                  </a:cxn>
                  <a:cxn ang="0">
                    <a:pos x="0" y="4"/>
                  </a:cxn>
                  <a:cxn ang="0">
                    <a:pos x="2" y="2"/>
                  </a:cxn>
                  <a:cxn ang="0">
                    <a:pos x="10" y="0"/>
                  </a:cxn>
                  <a:cxn ang="0">
                    <a:pos x="12" y="0"/>
                  </a:cxn>
                  <a:cxn ang="0">
                    <a:pos x="14" y="4"/>
                  </a:cxn>
                  <a:cxn ang="0">
                    <a:pos x="10" y="6"/>
                  </a:cxn>
                  <a:cxn ang="0">
                    <a:pos x="6" y="6"/>
                  </a:cxn>
                  <a:cxn ang="0">
                    <a:pos x="6" y="8"/>
                  </a:cxn>
                </a:cxnLst>
                <a:rect l="0" t="0" r="r" b="b"/>
                <a:pathLst>
                  <a:path w="14" h="8">
                    <a:moveTo>
                      <a:pt x="6" y="8"/>
                    </a:moveTo>
                    <a:lnTo>
                      <a:pt x="2" y="6"/>
                    </a:lnTo>
                    <a:lnTo>
                      <a:pt x="0" y="6"/>
                    </a:lnTo>
                    <a:lnTo>
                      <a:pt x="0" y="4"/>
                    </a:lnTo>
                    <a:lnTo>
                      <a:pt x="2" y="2"/>
                    </a:lnTo>
                    <a:lnTo>
                      <a:pt x="10" y="0"/>
                    </a:lnTo>
                    <a:lnTo>
                      <a:pt x="12" y="0"/>
                    </a:lnTo>
                    <a:lnTo>
                      <a:pt x="14" y="4"/>
                    </a:lnTo>
                    <a:lnTo>
                      <a:pt x="10" y="6"/>
                    </a:lnTo>
                    <a:lnTo>
                      <a:pt x="6" y="6"/>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8" name="Freeform 1976"/>
              <p:cNvSpPr>
                <a:spLocks/>
              </p:cNvSpPr>
              <p:nvPr/>
            </p:nvSpPr>
            <p:spPr bwMode="auto">
              <a:xfrm>
                <a:off x="2314" y="3394"/>
                <a:ext cx="8" cy="4"/>
              </a:xfrm>
              <a:custGeom>
                <a:avLst/>
                <a:gdLst/>
                <a:ahLst/>
                <a:cxnLst>
                  <a:cxn ang="0">
                    <a:pos x="4" y="4"/>
                  </a:cxn>
                  <a:cxn ang="0">
                    <a:pos x="2" y="4"/>
                  </a:cxn>
                  <a:cxn ang="0">
                    <a:pos x="0" y="4"/>
                  </a:cxn>
                  <a:cxn ang="0">
                    <a:pos x="0" y="2"/>
                  </a:cxn>
                  <a:cxn ang="0">
                    <a:pos x="0" y="0"/>
                  </a:cxn>
                  <a:cxn ang="0">
                    <a:pos x="4" y="0"/>
                  </a:cxn>
                  <a:cxn ang="0">
                    <a:pos x="6" y="0"/>
                  </a:cxn>
                  <a:cxn ang="0">
                    <a:pos x="8" y="2"/>
                  </a:cxn>
                  <a:cxn ang="0">
                    <a:pos x="8" y="4"/>
                  </a:cxn>
                  <a:cxn ang="0">
                    <a:pos x="6" y="4"/>
                  </a:cxn>
                  <a:cxn ang="0">
                    <a:pos x="4" y="4"/>
                  </a:cxn>
                </a:cxnLst>
                <a:rect l="0" t="0" r="r" b="b"/>
                <a:pathLst>
                  <a:path w="8" h="4">
                    <a:moveTo>
                      <a:pt x="4" y="4"/>
                    </a:moveTo>
                    <a:lnTo>
                      <a:pt x="2" y="4"/>
                    </a:lnTo>
                    <a:lnTo>
                      <a:pt x="0" y="4"/>
                    </a:lnTo>
                    <a:lnTo>
                      <a:pt x="0" y="2"/>
                    </a:lnTo>
                    <a:lnTo>
                      <a:pt x="0" y="0"/>
                    </a:lnTo>
                    <a:lnTo>
                      <a:pt x="4" y="0"/>
                    </a:lnTo>
                    <a:lnTo>
                      <a:pt x="6" y="0"/>
                    </a:lnTo>
                    <a:lnTo>
                      <a:pt x="8" y="2"/>
                    </a:lnTo>
                    <a:lnTo>
                      <a:pt x="8" y="4"/>
                    </a:lnTo>
                    <a:lnTo>
                      <a:pt x="6"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89" name="Freeform 1977"/>
              <p:cNvSpPr>
                <a:spLocks/>
              </p:cNvSpPr>
              <p:nvPr/>
            </p:nvSpPr>
            <p:spPr bwMode="auto">
              <a:xfrm>
                <a:off x="2304" y="3396"/>
                <a:ext cx="10" cy="4"/>
              </a:xfrm>
              <a:custGeom>
                <a:avLst/>
                <a:gdLst/>
                <a:ahLst/>
                <a:cxnLst>
                  <a:cxn ang="0">
                    <a:pos x="2" y="4"/>
                  </a:cxn>
                  <a:cxn ang="0">
                    <a:pos x="0" y="4"/>
                  </a:cxn>
                  <a:cxn ang="0">
                    <a:pos x="0" y="2"/>
                  </a:cxn>
                  <a:cxn ang="0">
                    <a:pos x="0" y="0"/>
                  </a:cxn>
                  <a:cxn ang="0">
                    <a:pos x="4" y="0"/>
                  </a:cxn>
                  <a:cxn ang="0">
                    <a:pos x="6" y="0"/>
                  </a:cxn>
                  <a:cxn ang="0">
                    <a:pos x="10" y="2"/>
                  </a:cxn>
                  <a:cxn ang="0">
                    <a:pos x="6" y="2"/>
                  </a:cxn>
                  <a:cxn ang="0">
                    <a:pos x="4" y="4"/>
                  </a:cxn>
                  <a:cxn ang="0">
                    <a:pos x="2" y="4"/>
                  </a:cxn>
                </a:cxnLst>
                <a:rect l="0" t="0" r="r" b="b"/>
                <a:pathLst>
                  <a:path w="10" h="4">
                    <a:moveTo>
                      <a:pt x="2" y="4"/>
                    </a:moveTo>
                    <a:lnTo>
                      <a:pt x="0" y="4"/>
                    </a:lnTo>
                    <a:lnTo>
                      <a:pt x="0" y="2"/>
                    </a:lnTo>
                    <a:lnTo>
                      <a:pt x="0" y="0"/>
                    </a:lnTo>
                    <a:lnTo>
                      <a:pt x="4" y="0"/>
                    </a:lnTo>
                    <a:lnTo>
                      <a:pt x="6" y="0"/>
                    </a:lnTo>
                    <a:lnTo>
                      <a:pt x="10" y="2"/>
                    </a:lnTo>
                    <a:lnTo>
                      <a:pt x="6" y="2"/>
                    </a:lnTo>
                    <a:lnTo>
                      <a:pt x="4"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0" name="Freeform 1978"/>
              <p:cNvSpPr>
                <a:spLocks/>
              </p:cNvSpPr>
              <p:nvPr/>
            </p:nvSpPr>
            <p:spPr bwMode="auto">
              <a:xfrm>
                <a:off x="2328" y="3398"/>
                <a:ext cx="10" cy="10"/>
              </a:xfrm>
              <a:custGeom>
                <a:avLst/>
                <a:gdLst/>
                <a:ahLst/>
                <a:cxnLst>
                  <a:cxn ang="0">
                    <a:pos x="2" y="10"/>
                  </a:cxn>
                  <a:cxn ang="0">
                    <a:pos x="0" y="8"/>
                  </a:cxn>
                  <a:cxn ang="0">
                    <a:pos x="0" y="2"/>
                  </a:cxn>
                  <a:cxn ang="0">
                    <a:pos x="0" y="0"/>
                  </a:cxn>
                  <a:cxn ang="0">
                    <a:pos x="4" y="0"/>
                  </a:cxn>
                  <a:cxn ang="0">
                    <a:pos x="6" y="0"/>
                  </a:cxn>
                  <a:cxn ang="0">
                    <a:pos x="8" y="4"/>
                  </a:cxn>
                  <a:cxn ang="0">
                    <a:pos x="10" y="8"/>
                  </a:cxn>
                  <a:cxn ang="0">
                    <a:pos x="8" y="10"/>
                  </a:cxn>
                  <a:cxn ang="0">
                    <a:pos x="4" y="10"/>
                  </a:cxn>
                  <a:cxn ang="0">
                    <a:pos x="2" y="10"/>
                  </a:cxn>
                </a:cxnLst>
                <a:rect l="0" t="0" r="r" b="b"/>
                <a:pathLst>
                  <a:path w="10" h="10">
                    <a:moveTo>
                      <a:pt x="2" y="10"/>
                    </a:moveTo>
                    <a:lnTo>
                      <a:pt x="0" y="8"/>
                    </a:lnTo>
                    <a:lnTo>
                      <a:pt x="0" y="2"/>
                    </a:lnTo>
                    <a:lnTo>
                      <a:pt x="0" y="0"/>
                    </a:lnTo>
                    <a:lnTo>
                      <a:pt x="4" y="0"/>
                    </a:lnTo>
                    <a:lnTo>
                      <a:pt x="6" y="0"/>
                    </a:lnTo>
                    <a:lnTo>
                      <a:pt x="8" y="4"/>
                    </a:lnTo>
                    <a:lnTo>
                      <a:pt x="10" y="8"/>
                    </a:lnTo>
                    <a:lnTo>
                      <a:pt x="8" y="10"/>
                    </a:lnTo>
                    <a:lnTo>
                      <a:pt x="4" y="10"/>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1" name="Freeform 1979"/>
              <p:cNvSpPr>
                <a:spLocks/>
              </p:cNvSpPr>
              <p:nvPr/>
            </p:nvSpPr>
            <p:spPr bwMode="auto">
              <a:xfrm>
                <a:off x="2284" y="3398"/>
                <a:ext cx="4" cy="8"/>
              </a:xfrm>
              <a:custGeom>
                <a:avLst/>
                <a:gdLst/>
                <a:ahLst/>
                <a:cxnLst>
                  <a:cxn ang="0">
                    <a:pos x="2" y="8"/>
                  </a:cxn>
                  <a:cxn ang="0">
                    <a:pos x="0" y="6"/>
                  </a:cxn>
                  <a:cxn ang="0">
                    <a:pos x="0" y="4"/>
                  </a:cxn>
                  <a:cxn ang="0">
                    <a:pos x="0" y="2"/>
                  </a:cxn>
                  <a:cxn ang="0">
                    <a:pos x="0" y="0"/>
                  </a:cxn>
                  <a:cxn ang="0">
                    <a:pos x="2" y="0"/>
                  </a:cxn>
                  <a:cxn ang="0">
                    <a:pos x="4" y="2"/>
                  </a:cxn>
                  <a:cxn ang="0">
                    <a:pos x="4" y="4"/>
                  </a:cxn>
                  <a:cxn ang="0">
                    <a:pos x="4" y="8"/>
                  </a:cxn>
                  <a:cxn ang="0">
                    <a:pos x="2" y="8"/>
                  </a:cxn>
                </a:cxnLst>
                <a:rect l="0" t="0" r="r" b="b"/>
                <a:pathLst>
                  <a:path w="4" h="8">
                    <a:moveTo>
                      <a:pt x="2" y="8"/>
                    </a:moveTo>
                    <a:lnTo>
                      <a:pt x="0" y="6"/>
                    </a:lnTo>
                    <a:lnTo>
                      <a:pt x="0" y="4"/>
                    </a:lnTo>
                    <a:lnTo>
                      <a:pt x="0" y="2"/>
                    </a:lnTo>
                    <a:lnTo>
                      <a:pt x="0" y="0"/>
                    </a:lnTo>
                    <a:lnTo>
                      <a:pt x="2" y="0"/>
                    </a:lnTo>
                    <a:lnTo>
                      <a:pt x="4" y="2"/>
                    </a:lnTo>
                    <a:lnTo>
                      <a:pt x="4" y="4"/>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2" name="Freeform 1980"/>
              <p:cNvSpPr>
                <a:spLocks/>
              </p:cNvSpPr>
              <p:nvPr/>
            </p:nvSpPr>
            <p:spPr bwMode="auto">
              <a:xfrm>
                <a:off x="2302" y="3400"/>
                <a:ext cx="24" cy="12"/>
              </a:xfrm>
              <a:custGeom>
                <a:avLst/>
                <a:gdLst/>
                <a:ahLst/>
                <a:cxnLst>
                  <a:cxn ang="0">
                    <a:pos x="6" y="12"/>
                  </a:cxn>
                  <a:cxn ang="0">
                    <a:pos x="4" y="12"/>
                  </a:cxn>
                  <a:cxn ang="0">
                    <a:pos x="2" y="10"/>
                  </a:cxn>
                  <a:cxn ang="0">
                    <a:pos x="0" y="6"/>
                  </a:cxn>
                  <a:cxn ang="0">
                    <a:pos x="0" y="2"/>
                  </a:cxn>
                  <a:cxn ang="0">
                    <a:pos x="6" y="0"/>
                  </a:cxn>
                  <a:cxn ang="0">
                    <a:pos x="8" y="0"/>
                  </a:cxn>
                  <a:cxn ang="0">
                    <a:pos x="10" y="0"/>
                  </a:cxn>
                  <a:cxn ang="0">
                    <a:pos x="18" y="2"/>
                  </a:cxn>
                  <a:cxn ang="0">
                    <a:pos x="20" y="2"/>
                  </a:cxn>
                  <a:cxn ang="0">
                    <a:pos x="22" y="2"/>
                  </a:cxn>
                  <a:cxn ang="0">
                    <a:pos x="22" y="4"/>
                  </a:cxn>
                  <a:cxn ang="0">
                    <a:pos x="24" y="6"/>
                  </a:cxn>
                  <a:cxn ang="0">
                    <a:pos x="16" y="8"/>
                  </a:cxn>
                  <a:cxn ang="0">
                    <a:pos x="10" y="10"/>
                  </a:cxn>
                  <a:cxn ang="0">
                    <a:pos x="8" y="12"/>
                  </a:cxn>
                  <a:cxn ang="0">
                    <a:pos x="6" y="12"/>
                  </a:cxn>
                </a:cxnLst>
                <a:rect l="0" t="0" r="r" b="b"/>
                <a:pathLst>
                  <a:path w="24" h="12">
                    <a:moveTo>
                      <a:pt x="6" y="12"/>
                    </a:moveTo>
                    <a:lnTo>
                      <a:pt x="4" y="12"/>
                    </a:lnTo>
                    <a:lnTo>
                      <a:pt x="2" y="10"/>
                    </a:lnTo>
                    <a:lnTo>
                      <a:pt x="0" y="6"/>
                    </a:lnTo>
                    <a:lnTo>
                      <a:pt x="0" y="2"/>
                    </a:lnTo>
                    <a:lnTo>
                      <a:pt x="6" y="0"/>
                    </a:lnTo>
                    <a:lnTo>
                      <a:pt x="8" y="0"/>
                    </a:lnTo>
                    <a:lnTo>
                      <a:pt x="10" y="0"/>
                    </a:lnTo>
                    <a:lnTo>
                      <a:pt x="18" y="2"/>
                    </a:lnTo>
                    <a:lnTo>
                      <a:pt x="20" y="2"/>
                    </a:lnTo>
                    <a:lnTo>
                      <a:pt x="22" y="2"/>
                    </a:lnTo>
                    <a:lnTo>
                      <a:pt x="22" y="4"/>
                    </a:lnTo>
                    <a:lnTo>
                      <a:pt x="24" y="6"/>
                    </a:lnTo>
                    <a:lnTo>
                      <a:pt x="16" y="8"/>
                    </a:lnTo>
                    <a:lnTo>
                      <a:pt x="10" y="10"/>
                    </a:lnTo>
                    <a:lnTo>
                      <a:pt x="8" y="12"/>
                    </a:lnTo>
                    <a:lnTo>
                      <a:pt x="6"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3" name="Freeform 1981"/>
              <p:cNvSpPr>
                <a:spLocks/>
              </p:cNvSpPr>
              <p:nvPr/>
            </p:nvSpPr>
            <p:spPr bwMode="auto">
              <a:xfrm>
                <a:off x="2292" y="3402"/>
                <a:ext cx="8" cy="4"/>
              </a:xfrm>
              <a:custGeom>
                <a:avLst/>
                <a:gdLst/>
                <a:ahLst/>
                <a:cxnLst>
                  <a:cxn ang="0">
                    <a:pos x="8" y="4"/>
                  </a:cxn>
                  <a:cxn ang="0">
                    <a:pos x="6" y="4"/>
                  </a:cxn>
                  <a:cxn ang="0">
                    <a:pos x="0" y="4"/>
                  </a:cxn>
                  <a:cxn ang="0">
                    <a:pos x="0" y="2"/>
                  </a:cxn>
                  <a:cxn ang="0">
                    <a:pos x="0" y="0"/>
                  </a:cxn>
                  <a:cxn ang="0">
                    <a:pos x="2" y="0"/>
                  </a:cxn>
                  <a:cxn ang="0">
                    <a:pos x="4" y="0"/>
                  </a:cxn>
                  <a:cxn ang="0">
                    <a:pos x="8" y="0"/>
                  </a:cxn>
                  <a:cxn ang="0">
                    <a:pos x="8" y="2"/>
                  </a:cxn>
                  <a:cxn ang="0">
                    <a:pos x="8" y="4"/>
                  </a:cxn>
                </a:cxnLst>
                <a:rect l="0" t="0" r="r" b="b"/>
                <a:pathLst>
                  <a:path w="8" h="4">
                    <a:moveTo>
                      <a:pt x="8" y="4"/>
                    </a:moveTo>
                    <a:lnTo>
                      <a:pt x="6" y="4"/>
                    </a:lnTo>
                    <a:lnTo>
                      <a:pt x="0" y="4"/>
                    </a:lnTo>
                    <a:lnTo>
                      <a:pt x="0" y="2"/>
                    </a:lnTo>
                    <a:lnTo>
                      <a:pt x="0" y="0"/>
                    </a:lnTo>
                    <a:lnTo>
                      <a:pt x="2" y="0"/>
                    </a:lnTo>
                    <a:lnTo>
                      <a:pt x="4" y="0"/>
                    </a:lnTo>
                    <a:lnTo>
                      <a:pt x="8" y="0"/>
                    </a:lnTo>
                    <a:lnTo>
                      <a:pt x="8" y="2"/>
                    </a:lnTo>
                    <a:lnTo>
                      <a:pt x="8"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4" name="Freeform 1982"/>
              <p:cNvSpPr>
                <a:spLocks/>
              </p:cNvSpPr>
              <p:nvPr/>
            </p:nvSpPr>
            <p:spPr bwMode="auto">
              <a:xfrm>
                <a:off x="2296" y="3408"/>
                <a:ext cx="10" cy="6"/>
              </a:xfrm>
              <a:custGeom>
                <a:avLst/>
                <a:gdLst/>
                <a:ahLst/>
                <a:cxnLst>
                  <a:cxn ang="0">
                    <a:pos x="8" y="6"/>
                  </a:cxn>
                  <a:cxn ang="0">
                    <a:pos x="6" y="6"/>
                  </a:cxn>
                  <a:cxn ang="0">
                    <a:pos x="4" y="6"/>
                  </a:cxn>
                  <a:cxn ang="0">
                    <a:pos x="2" y="2"/>
                  </a:cxn>
                  <a:cxn ang="0">
                    <a:pos x="0" y="2"/>
                  </a:cxn>
                  <a:cxn ang="0">
                    <a:pos x="2" y="0"/>
                  </a:cxn>
                  <a:cxn ang="0">
                    <a:pos x="4" y="0"/>
                  </a:cxn>
                  <a:cxn ang="0">
                    <a:pos x="6" y="0"/>
                  </a:cxn>
                  <a:cxn ang="0">
                    <a:pos x="10" y="6"/>
                  </a:cxn>
                  <a:cxn ang="0">
                    <a:pos x="8" y="6"/>
                  </a:cxn>
                </a:cxnLst>
                <a:rect l="0" t="0" r="r" b="b"/>
                <a:pathLst>
                  <a:path w="10" h="6">
                    <a:moveTo>
                      <a:pt x="8" y="6"/>
                    </a:moveTo>
                    <a:lnTo>
                      <a:pt x="6" y="6"/>
                    </a:lnTo>
                    <a:lnTo>
                      <a:pt x="4" y="6"/>
                    </a:lnTo>
                    <a:lnTo>
                      <a:pt x="2" y="2"/>
                    </a:lnTo>
                    <a:lnTo>
                      <a:pt x="0" y="2"/>
                    </a:lnTo>
                    <a:lnTo>
                      <a:pt x="2" y="0"/>
                    </a:lnTo>
                    <a:lnTo>
                      <a:pt x="4" y="0"/>
                    </a:lnTo>
                    <a:lnTo>
                      <a:pt x="6" y="0"/>
                    </a:lnTo>
                    <a:lnTo>
                      <a:pt x="10" y="6"/>
                    </a:lnTo>
                    <a:lnTo>
                      <a:pt x="8"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5" name="Freeform 1983"/>
              <p:cNvSpPr>
                <a:spLocks/>
              </p:cNvSpPr>
              <p:nvPr/>
            </p:nvSpPr>
            <p:spPr bwMode="auto">
              <a:xfrm>
                <a:off x="2330" y="3408"/>
                <a:ext cx="6" cy="6"/>
              </a:xfrm>
              <a:custGeom>
                <a:avLst/>
                <a:gdLst/>
                <a:ahLst/>
                <a:cxnLst>
                  <a:cxn ang="0">
                    <a:pos x="2" y="6"/>
                  </a:cxn>
                  <a:cxn ang="0">
                    <a:pos x="0" y="4"/>
                  </a:cxn>
                  <a:cxn ang="0">
                    <a:pos x="0" y="2"/>
                  </a:cxn>
                  <a:cxn ang="0">
                    <a:pos x="6" y="0"/>
                  </a:cxn>
                  <a:cxn ang="0">
                    <a:pos x="6" y="2"/>
                  </a:cxn>
                  <a:cxn ang="0">
                    <a:pos x="6" y="6"/>
                  </a:cxn>
                  <a:cxn ang="0">
                    <a:pos x="4" y="6"/>
                  </a:cxn>
                  <a:cxn ang="0">
                    <a:pos x="2" y="6"/>
                  </a:cxn>
                </a:cxnLst>
                <a:rect l="0" t="0" r="r" b="b"/>
                <a:pathLst>
                  <a:path w="6" h="6">
                    <a:moveTo>
                      <a:pt x="2" y="6"/>
                    </a:moveTo>
                    <a:lnTo>
                      <a:pt x="0" y="4"/>
                    </a:lnTo>
                    <a:lnTo>
                      <a:pt x="0" y="2"/>
                    </a:lnTo>
                    <a:lnTo>
                      <a:pt x="6" y="0"/>
                    </a:lnTo>
                    <a:lnTo>
                      <a:pt x="6" y="2"/>
                    </a:lnTo>
                    <a:lnTo>
                      <a:pt x="6" y="6"/>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96" name="Freeform 1984"/>
              <p:cNvSpPr>
                <a:spLocks/>
              </p:cNvSpPr>
              <p:nvPr/>
            </p:nvSpPr>
            <p:spPr bwMode="auto">
              <a:xfrm>
                <a:off x="2322" y="3410"/>
                <a:ext cx="8" cy="10"/>
              </a:xfrm>
              <a:custGeom>
                <a:avLst/>
                <a:gdLst/>
                <a:ahLst/>
                <a:cxnLst>
                  <a:cxn ang="0">
                    <a:pos x="4" y="10"/>
                  </a:cxn>
                  <a:cxn ang="0">
                    <a:pos x="4" y="8"/>
                  </a:cxn>
                  <a:cxn ang="0">
                    <a:pos x="2" y="8"/>
                  </a:cxn>
                  <a:cxn ang="0">
                    <a:pos x="2" y="6"/>
                  </a:cxn>
                  <a:cxn ang="0">
                    <a:pos x="0" y="6"/>
                  </a:cxn>
                  <a:cxn ang="0">
                    <a:pos x="0" y="2"/>
                  </a:cxn>
                  <a:cxn ang="0">
                    <a:pos x="2" y="0"/>
                  </a:cxn>
                  <a:cxn ang="0">
                    <a:pos x="4" y="0"/>
                  </a:cxn>
                  <a:cxn ang="0">
                    <a:pos x="6" y="2"/>
                  </a:cxn>
                  <a:cxn ang="0">
                    <a:pos x="8" y="6"/>
                  </a:cxn>
                  <a:cxn ang="0">
                    <a:pos x="8" y="8"/>
                  </a:cxn>
                  <a:cxn ang="0">
                    <a:pos x="8" y="10"/>
                  </a:cxn>
                  <a:cxn ang="0">
                    <a:pos x="6" y="10"/>
                  </a:cxn>
                  <a:cxn ang="0">
                    <a:pos x="4" y="10"/>
                  </a:cxn>
                </a:cxnLst>
                <a:rect l="0" t="0" r="r" b="b"/>
                <a:pathLst>
                  <a:path w="8" h="10">
                    <a:moveTo>
                      <a:pt x="4" y="10"/>
                    </a:moveTo>
                    <a:lnTo>
                      <a:pt x="4" y="8"/>
                    </a:lnTo>
                    <a:lnTo>
                      <a:pt x="2" y="8"/>
                    </a:lnTo>
                    <a:lnTo>
                      <a:pt x="2" y="6"/>
                    </a:lnTo>
                    <a:lnTo>
                      <a:pt x="0" y="6"/>
                    </a:lnTo>
                    <a:lnTo>
                      <a:pt x="0" y="2"/>
                    </a:lnTo>
                    <a:lnTo>
                      <a:pt x="2" y="0"/>
                    </a:lnTo>
                    <a:lnTo>
                      <a:pt x="4" y="0"/>
                    </a:lnTo>
                    <a:lnTo>
                      <a:pt x="6" y="2"/>
                    </a:lnTo>
                    <a:lnTo>
                      <a:pt x="8" y="6"/>
                    </a:lnTo>
                    <a:lnTo>
                      <a:pt x="8" y="8"/>
                    </a:lnTo>
                    <a:lnTo>
                      <a:pt x="8" y="10"/>
                    </a:lnTo>
                    <a:lnTo>
                      <a:pt x="6"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898" name="Freeform 1985"/>
              <p:cNvSpPr>
                <a:spLocks/>
              </p:cNvSpPr>
              <p:nvPr/>
            </p:nvSpPr>
            <p:spPr bwMode="auto">
              <a:xfrm>
                <a:off x="2312" y="3410"/>
                <a:ext cx="10" cy="4"/>
              </a:xfrm>
              <a:custGeom>
                <a:avLst/>
                <a:gdLst/>
                <a:ahLst/>
                <a:cxnLst>
                  <a:cxn ang="0">
                    <a:pos x="6" y="4"/>
                  </a:cxn>
                  <a:cxn ang="0">
                    <a:pos x="4" y="4"/>
                  </a:cxn>
                  <a:cxn ang="0">
                    <a:pos x="0" y="4"/>
                  </a:cxn>
                  <a:cxn ang="0">
                    <a:pos x="0" y="2"/>
                  </a:cxn>
                  <a:cxn ang="0">
                    <a:pos x="2" y="2"/>
                  </a:cxn>
                  <a:cxn ang="0">
                    <a:pos x="4" y="2"/>
                  </a:cxn>
                  <a:cxn ang="0">
                    <a:pos x="6" y="2"/>
                  </a:cxn>
                  <a:cxn ang="0">
                    <a:pos x="6" y="0"/>
                  </a:cxn>
                  <a:cxn ang="0">
                    <a:pos x="8" y="0"/>
                  </a:cxn>
                  <a:cxn ang="0">
                    <a:pos x="10" y="0"/>
                  </a:cxn>
                  <a:cxn ang="0">
                    <a:pos x="10" y="2"/>
                  </a:cxn>
                  <a:cxn ang="0">
                    <a:pos x="10" y="4"/>
                  </a:cxn>
                  <a:cxn ang="0">
                    <a:pos x="8" y="4"/>
                  </a:cxn>
                  <a:cxn ang="0">
                    <a:pos x="6" y="4"/>
                  </a:cxn>
                </a:cxnLst>
                <a:rect l="0" t="0" r="r" b="b"/>
                <a:pathLst>
                  <a:path w="10" h="4">
                    <a:moveTo>
                      <a:pt x="6" y="4"/>
                    </a:moveTo>
                    <a:lnTo>
                      <a:pt x="4" y="4"/>
                    </a:lnTo>
                    <a:lnTo>
                      <a:pt x="0" y="4"/>
                    </a:lnTo>
                    <a:lnTo>
                      <a:pt x="0" y="2"/>
                    </a:lnTo>
                    <a:lnTo>
                      <a:pt x="2" y="2"/>
                    </a:lnTo>
                    <a:lnTo>
                      <a:pt x="4" y="2"/>
                    </a:lnTo>
                    <a:lnTo>
                      <a:pt x="6" y="2"/>
                    </a:lnTo>
                    <a:lnTo>
                      <a:pt x="6" y="0"/>
                    </a:lnTo>
                    <a:lnTo>
                      <a:pt x="8" y="0"/>
                    </a:lnTo>
                    <a:lnTo>
                      <a:pt x="10" y="0"/>
                    </a:lnTo>
                    <a:lnTo>
                      <a:pt x="10" y="2"/>
                    </a:lnTo>
                    <a:lnTo>
                      <a:pt x="10" y="4"/>
                    </a:lnTo>
                    <a:lnTo>
                      <a:pt x="8" y="4"/>
                    </a:lnTo>
                    <a:lnTo>
                      <a:pt x="6"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899" name="Freeform 1986"/>
              <p:cNvSpPr>
                <a:spLocks/>
              </p:cNvSpPr>
              <p:nvPr/>
            </p:nvSpPr>
            <p:spPr bwMode="auto">
              <a:xfrm>
                <a:off x="2272" y="3412"/>
                <a:ext cx="4" cy="6"/>
              </a:xfrm>
              <a:custGeom>
                <a:avLst/>
                <a:gdLst/>
                <a:ahLst/>
                <a:cxnLst>
                  <a:cxn ang="0">
                    <a:pos x="2" y="6"/>
                  </a:cxn>
                  <a:cxn ang="0">
                    <a:pos x="0" y="6"/>
                  </a:cxn>
                  <a:cxn ang="0">
                    <a:pos x="0" y="2"/>
                  </a:cxn>
                  <a:cxn ang="0">
                    <a:pos x="0" y="0"/>
                  </a:cxn>
                  <a:cxn ang="0">
                    <a:pos x="2" y="0"/>
                  </a:cxn>
                  <a:cxn ang="0">
                    <a:pos x="4" y="2"/>
                  </a:cxn>
                  <a:cxn ang="0">
                    <a:pos x="4" y="4"/>
                  </a:cxn>
                  <a:cxn ang="0">
                    <a:pos x="2" y="6"/>
                  </a:cxn>
                </a:cxnLst>
                <a:rect l="0" t="0" r="r" b="b"/>
                <a:pathLst>
                  <a:path w="4" h="6">
                    <a:moveTo>
                      <a:pt x="2" y="6"/>
                    </a:moveTo>
                    <a:lnTo>
                      <a:pt x="0" y="6"/>
                    </a:lnTo>
                    <a:lnTo>
                      <a:pt x="0" y="2"/>
                    </a:lnTo>
                    <a:lnTo>
                      <a:pt x="0" y="0"/>
                    </a:lnTo>
                    <a:lnTo>
                      <a:pt x="2" y="0"/>
                    </a:lnTo>
                    <a:lnTo>
                      <a:pt x="4" y="2"/>
                    </a:lnTo>
                    <a:lnTo>
                      <a:pt x="4"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0" name="Freeform 1987"/>
              <p:cNvSpPr>
                <a:spLocks/>
              </p:cNvSpPr>
              <p:nvPr/>
            </p:nvSpPr>
            <p:spPr bwMode="auto">
              <a:xfrm>
                <a:off x="2304" y="3414"/>
                <a:ext cx="20" cy="10"/>
              </a:xfrm>
              <a:custGeom>
                <a:avLst/>
                <a:gdLst/>
                <a:ahLst/>
                <a:cxnLst>
                  <a:cxn ang="0">
                    <a:pos x="4" y="10"/>
                  </a:cxn>
                  <a:cxn ang="0">
                    <a:pos x="0" y="10"/>
                  </a:cxn>
                  <a:cxn ang="0">
                    <a:pos x="2" y="8"/>
                  </a:cxn>
                  <a:cxn ang="0">
                    <a:pos x="6" y="2"/>
                  </a:cxn>
                  <a:cxn ang="0">
                    <a:pos x="8" y="2"/>
                  </a:cxn>
                  <a:cxn ang="0">
                    <a:pos x="8" y="0"/>
                  </a:cxn>
                  <a:cxn ang="0">
                    <a:pos x="10" y="0"/>
                  </a:cxn>
                  <a:cxn ang="0">
                    <a:pos x="18" y="2"/>
                  </a:cxn>
                  <a:cxn ang="0">
                    <a:pos x="18" y="4"/>
                  </a:cxn>
                  <a:cxn ang="0">
                    <a:pos x="20" y="6"/>
                  </a:cxn>
                  <a:cxn ang="0">
                    <a:pos x="18" y="8"/>
                  </a:cxn>
                  <a:cxn ang="0">
                    <a:pos x="16" y="8"/>
                  </a:cxn>
                  <a:cxn ang="0">
                    <a:pos x="14" y="8"/>
                  </a:cxn>
                  <a:cxn ang="0">
                    <a:pos x="10" y="8"/>
                  </a:cxn>
                  <a:cxn ang="0">
                    <a:pos x="8" y="8"/>
                  </a:cxn>
                  <a:cxn ang="0">
                    <a:pos x="6" y="8"/>
                  </a:cxn>
                  <a:cxn ang="0">
                    <a:pos x="4" y="10"/>
                  </a:cxn>
                </a:cxnLst>
                <a:rect l="0" t="0" r="r" b="b"/>
                <a:pathLst>
                  <a:path w="20" h="10">
                    <a:moveTo>
                      <a:pt x="4" y="10"/>
                    </a:moveTo>
                    <a:lnTo>
                      <a:pt x="0" y="10"/>
                    </a:lnTo>
                    <a:lnTo>
                      <a:pt x="2" y="8"/>
                    </a:lnTo>
                    <a:lnTo>
                      <a:pt x="6" y="2"/>
                    </a:lnTo>
                    <a:lnTo>
                      <a:pt x="8" y="2"/>
                    </a:lnTo>
                    <a:lnTo>
                      <a:pt x="8" y="0"/>
                    </a:lnTo>
                    <a:lnTo>
                      <a:pt x="10" y="0"/>
                    </a:lnTo>
                    <a:lnTo>
                      <a:pt x="18" y="2"/>
                    </a:lnTo>
                    <a:lnTo>
                      <a:pt x="18" y="4"/>
                    </a:lnTo>
                    <a:lnTo>
                      <a:pt x="20" y="6"/>
                    </a:lnTo>
                    <a:lnTo>
                      <a:pt x="18" y="8"/>
                    </a:lnTo>
                    <a:lnTo>
                      <a:pt x="16" y="8"/>
                    </a:lnTo>
                    <a:lnTo>
                      <a:pt x="14" y="8"/>
                    </a:lnTo>
                    <a:lnTo>
                      <a:pt x="10" y="8"/>
                    </a:lnTo>
                    <a:lnTo>
                      <a:pt x="8" y="8"/>
                    </a:lnTo>
                    <a:lnTo>
                      <a:pt x="6" y="8"/>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1" name="Freeform 1988"/>
              <p:cNvSpPr>
                <a:spLocks/>
              </p:cNvSpPr>
              <p:nvPr/>
            </p:nvSpPr>
            <p:spPr bwMode="auto">
              <a:xfrm>
                <a:off x="2310" y="3422"/>
                <a:ext cx="22" cy="16"/>
              </a:xfrm>
              <a:custGeom>
                <a:avLst/>
                <a:gdLst/>
                <a:ahLst/>
                <a:cxnLst>
                  <a:cxn ang="0">
                    <a:pos x="22" y="16"/>
                  </a:cxn>
                  <a:cxn ang="0">
                    <a:pos x="18" y="14"/>
                  </a:cxn>
                  <a:cxn ang="0">
                    <a:pos x="16" y="14"/>
                  </a:cxn>
                  <a:cxn ang="0">
                    <a:pos x="14" y="14"/>
                  </a:cxn>
                  <a:cxn ang="0">
                    <a:pos x="12" y="14"/>
                  </a:cxn>
                  <a:cxn ang="0">
                    <a:pos x="10" y="14"/>
                  </a:cxn>
                  <a:cxn ang="0">
                    <a:pos x="10" y="12"/>
                  </a:cxn>
                  <a:cxn ang="0">
                    <a:pos x="6" y="10"/>
                  </a:cxn>
                  <a:cxn ang="0">
                    <a:pos x="4" y="10"/>
                  </a:cxn>
                  <a:cxn ang="0">
                    <a:pos x="0" y="10"/>
                  </a:cxn>
                  <a:cxn ang="0">
                    <a:pos x="0" y="8"/>
                  </a:cxn>
                  <a:cxn ang="0">
                    <a:pos x="0" y="6"/>
                  </a:cxn>
                  <a:cxn ang="0">
                    <a:pos x="0" y="4"/>
                  </a:cxn>
                  <a:cxn ang="0">
                    <a:pos x="2" y="2"/>
                  </a:cxn>
                  <a:cxn ang="0">
                    <a:pos x="4" y="2"/>
                  </a:cxn>
                  <a:cxn ang="0">
                    <a:pos x="6" y="2"/>
                  </a:cxn>
                  <a:cxn ang="0">
                    <a:pos x="8" y="2"/>
                  </a:cxn>
                  <a:cxn ang="0">
                    <a:pos x="10" y="2"/>
                  </a:cxn>
                  <a:cxn ang="0">
                    <a:pos x="12" y="2"/>
                  </a:cxn>
                  <a:cxn ang="0">
                    <a:pos x="14" y="0"/>
                  </a:cxn>
                  <a:cxn ang="0">
                    <a:pos x="16" y="0"/>
                  </a:cxn>
                  <a:cxn ang="0">
                    <a:pos x="18" y="2"/>
                  </a:cxn>
                  <a:cxn ang="0">
                    <a:pos x="20" y="4"/>
                  </a:cxn>
                  <a:cxn ang="0">
                    <a:pos x="22" y="6"/>
                  </a:cxn>
                  <a:cxn ang="0">
                    <a:pos x="22" y="8"/>
                  </a:cxn>
                  <a:cxn ang="0">
                    <a:pos x="22" y="10"/>
                  </a:cxn>
                  <a:cxn ang="0">
                    <a:pos x="22" y="16"/>
                  </a:cxn>
                </a:cxnLst>
                <a:rect l="0" t="0" r="r" b="b"/>
                <a:pathLst>
                  <a:path w="22" h="16">
                    <a:moveTo>
                      <a:pt x="22" y="16"/>
                    </a:moveTo>
                    <a:lnTo>
                      <a:pt x="18" y="14"/>
                    </a:lnTo>
                    <a:lnTo>
                      <a:pt x="16" y="14"/>
                    </a:lnTo>
                    <a:lnTo>
                      <a:pt x="14" y="14"/>
                    </a:lnTo>
                    <a:lnTo>
                      <a:pt x="12" y="14"/>
                    </a:lnTo>
                    <a:lnTo>
                      <a:pt x="10" y="14"/>
                    </a:lnTo>
                    <a:lnTo>
                      <a:pt x="10" y="12"/>
                    </a:lnTo>
                    <a:lnTo>
                      <a:pt x="6" y="10"/>
                    </a:lnTo>
                    <a:lnTo>
                      <a:pt x="4" y="10"/>
                    </a:lnTo>
                    <a:lnTo>
                      <a:pt x="0" y="10"/>
                    </a:lnTo>
                    <a:lnTo>
                      <a:pt x="0" y="8"/>
                    </a:lnTo>
                    <a:lnTo>
                      <a:pt x="0" y="6"/>
                    </a:lnTo>
                    <a:lnTo>
                      <a:pt x="0" y="4"/>
                    </a:lnTo>
                    <a:lnTo>
                      <a:pt x="2" y="2"/>
                    </a:lnTo>
                    <a:lnTo>
                      <a:pt x="4" y="2"/>
                    </a:lnTo>
                    <a:lnTo>
                      <a:pt x="6" y="2"/>
                    </a:lnTo>
                    <a:lnTo>
                      <a:pt x="8" y="2"/>
                    </a:lnTo>
                    <a:lnTo>
                      <a:pt x="10" y="2"/>
                    </a:lnTo>
                    <a:lnTo>
                      <a:pt x="12" y="2"/>
                    </a:lnTo>
                    <a:lnTo>
                      <a:pt x="14" y="0"/>
                    </a:lnTo>
                    <a:lnTo>
                      <a:pt x="16" y="0"/>
                    </a:lnTo>
                    <a:lnTo>
                      <a:pt x="18" y="2"/>
                    </a:lnTo>
                    <a:lnTo>
                      <a:pt x="20" y="4"/>
                    </a:lnTo>
                    <a:lnTo>
                      <a:pt x="22" y="6"/>
                    </a:lnTo>
                    <a:lnTo>
                      <a:pt x="22" y="8"/>
                    </a:lnTo>
                    <a:lnTo>
                      <a:pt x="22" y="10"/>
                    </a:lnTo>
                    <a:lnTo>
                      <a:pt x="22"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2" name="Freeform 1989"/>
              <p:cNvSpPr>
                <a:spLocks/>
              </p:cNvSpPr>
              <p:nvPr/>
            </p:nvSpPr>
            <p:spPr bwMode="auto">
              <a:xfrm>
                <a:off x="2302" y="3432"/>
                <a:ext cx="6" cy="8"/>
              </a:xfrm>
              <a:custGeom>
                <a:avLst/>
                <a:gdLst/>
                <a:ahLst/>
                <a:cxnLst>
                  <a:cxn ang="0">
                    <a:pos x="4" y="6"/>
                  </a:cxn>
                  <a:cxn ang="0">
                    <a:pos x="2" y="4"/>
                  </a:cxn>
                  <a:cxn ang="0">
                    <a:pos x="0" y="4"/>
                  </a:cxn>
                  <a:cxn ang="0">
                    <a:pos x="0" y="2"/>
                  </a:cxn>
                  <a:cxn ang="0">
                    <a:pos x="0" y="0"/>
                  </a:cxn>
                  <a:cxn ang="0">
                    <a:pos x="2" y="0"/>
                  </a:cxn>
                  <a:cxn ang="0">
                    <a:pos x="4" y="0"/>
                  </a:cxn>
                  <a:cxn ang="0">
                    <a:pos x="6" y="2"/>
                  </a:cxn>
                  <a:cxn ang="0">
                    <a:pos x="6" y="6"/>
                  </a:cxn>
                  <a:cxn ang="0">
                    <a:pos x="6" y="8"/>
                  </a:cxn>
                  <a:cxn ang="0">
                    <a:pos x="4" y="6"/>
                  </a:cxn>
                </a:cxnLst>
                <a:rect l="0" t="0" r="r" b="b"/>
                <a:pathLst>
                  <a:path w="6" h="8">
                    <a:moveTo>
                      <a:pt x="4" y="6"/>
                    </a:moveTo>
                    <a:lnTo>
                      <a:pt x="2" y="4"/>
                    </a:lnTo>
                    <a:lnTo>
                      <a:pt x="0" y="4"/>
                    </a:lnTo>
                    <a:lnTo>
                      <a:pt x="0" y="2"/>
                    </a:lnTo>
                    <a:lnTo>
                      <a:pt x="0" y="0"/>
                    </a:lnTo>
                    <a:lnTo>
                      <a:pt x="2" y="0"/>
                    </a:lnTo>
                    <a:lnTo>
                      <a:pt x="4" y="0"/>
                    </a:lnTo>
                    <a:lnTo>
                      <a:pt x="6" y="2"/>
                    </a:lnTo>
                    <a:lnTo>
                      <a:pt x="6" y="6"/>
                    </a:lnTo>
                    <a:lnTo>
                      <a:pt x="6" y="8"/>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3" name="Freeform 1990"/>
              <p:cNvSpPr>
                <a:spLocks/>
              </p:cNvSpPr>
              <p:nvPr/>
            </p:nvSpPr>
            <p:spPr bwMode="auto">
              <a:xfrm>
                <a:off x="2312" y="3434"/>
                <a:ext cx="16" cy="8"/>
              </a:xfrm>
              <a:custGeom>
                <a:avLst/>
                <a:gdLst/>
                <a:ahLst/>
                <a:cxnLst>
                  <a:cxn ang="0">
                    <a:pos x="8" y="8"/>
                  </a:cxn>
                  <a:cxn ang="0">
                    <a:pos x="2" y="6"/>
                  </a:cxn>
                  <a:cxn ang="0">
                    <a:pos x="0" y="2"/>
                  </a:cxn>
                  <a:cxn ang="0">
                    <a:pos x="2" y="0"/>
                  </a:cxn>
                  <a:cxn ang="0">
                    <a:pos x="4" y="0"/>
                  </a:cxn>
                  <a:cxn ang="0">
                    <a:pos x="6" y="0"/>
                  </a:cxn>
                  <a:cxn ang="0">
                    <a:pos x="6" y="2"/>
                  </a:cxn>
                  <a:cxn ang="0">
                    <a:pos x="8" y="2"/>
                  </a:cxn>
                  <a:cxn ang="0">
                    <a:pos x="10" y="2"/>
                  </a:cxn>
                  <a:cxn ang="0">
                    <a:pos x="12" y="2"/>
                  </a:cxn>
                  <a:cxn ang="0">
                    <a:pos x="14" y="2"/>
                  </a:cxn>
                  <a:cxn ang="0">
                    <a:pos x="16" y="2"/>
                  </a:cxn>
                  <a:cxn ang="0">
                    <a:pos x="16" y="4"/>
                  </a:cxn>
                  <a:cxn ang="0">
                    <a:pos x="16" y="6"/>
                  </a:cxn>
                  <a:cxn ang="0">
                    <a:pos x="16" y="8"/>
                  </a:cxn>
                  <a:cxn ang="0">
                    <a:pos x="14" y="8"/>
                  </a:cxn>
                  <a:cxn ang="0">
                    <a:pos x="10" y="8"/>
                  </a:cxn>
                  <a:cxn ang="0">
                    <a:pos x="8" y="8"/>
                  </a:cxn>
                </a:cxnLst>
                <a:rect l="0" t="0" r="r" b="b"/>
                <a:pathLst>
                  <a:path w="16" h="8">
                    <a:moveTo>
                      <a:pt x="8" y="8"/>
                    </a:moveTo>
                    <a:lnTo>
                      <a:pt x="2" y="6"/>
                    </a:lnTo>
                    <a:lnTo>
                      <a:pt x="0" y="2"/>
                    </a:lnTo>
                    <a:lnTo>
                      <a:pt x="2" y="0"/>
                    </a:lnTo>
                    <a:lnTo>
                      <a:pt x="4" y="0"/>
                    </a:lnTo>
                    <a:lnTo>
                      <a:pt x="6" y="0"/>
                    </a:lnTo>
                    <a:lnTo>
                      <a:pt x="6" y="2"/>
                    </a:lnTo>
                    <a:lnTo>
                      <a:pt x="8" y="2"/>
                    </a:lnTo>
                    <a:lnTo>
                      <a:pt x="10" y="2"/>
                    </a:lnTo>
                    <a:lnTo>
                      <a:pt x="12" y="2"/>
                    </a:lnTo>
                    <a:lnTo>
                      <a:pt x="14" y="2"/>
                    </a:lnTo>
                    <a:lnTo>
                      <a:pt x="16" y="2"/>
                    </a:lnTo>
                    <a:lnTo>
                      <a:pt x="16" y="4"/>
                    </a:lnTo>
                    <a:lnTo>
                      <a:pt x="16" y="6"/>
                    </a:lnTo>
                    <a:lnTo>
                      <a:pt x="16" y="8"/>
                    </a:lnTo>
                    <a:lnTo>
                      <a:pt x="14" y="8"/>
                    </a:lnTo>
                    <a:lnTo>
                      <a:pt x="10" y="8"/>
                    </a:lnTo>
                    <a:lnTo>
                      <a:pt x="8"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4" name="Freeform 1991"/>
              <p:cNvSpPr>
                <a:spLocks/>
              </p:cNvSpPr>
              <p:nvPr/>
            </p:nvSpPr>
            <p:spPr bwMode="auto">
              <a:xfrm>
                <a:off x="2298" y="3438"/>
                <a:ext cx="10" cy="6"/>
              </a:xfrm>
              <a:custGeom>
                <a:avLst/>
                <a:gdLst/>
                <a:ahLst/>
                <a:cxnLst>
                  <a:cxn ang="0">
                    <a:pos x="6" y="6"/>
                  </a:cxn>
                  <a:cxn ang="0">
                    <a:pos x="2" y="4"/>
                  </a:cxn>
                  <a:cxn ang="0">
                    <a:pos x="0" y="4"/>
                  </a:cxn>
                  <a:cxn ang="0">
                    <a:pos x="0" y="2"/>
                  </a:cxn>
                  <a:cxn ang="0">
                    <a:pos x="0" y="0"/>
                  </a:cxn>
                  <a:cxn ang="0">
                    <a:pos x="2" y="0"/>
                  </a:cxn>
                  <a:cxn ang="0">
                    <a:pos x="4" y="0"/>
                  </a:cxn>
                  <a:cxn ang="0">
                    <a:pos x="6" y="0"/>
                  </a:cxn>
                  <a:cxn ang="0">
                    <a:pos x="8" y="2"/>
                  </a:cxn>
                  <a:cxn ang="0">
                    <a:pos x="10" y="6"/>
                  </a:cxn>
                  <a:cxn ang="0">
                    <a:pos x="8" y="6"/>
                  </a:cxn>
                  <a:cxn ang="0">
                    <a:pos x="6" y="6"/>
                  </a:cxn>
                </a:cxnLst>
                <a:rect l="0" t="0" r="r" b="b"/>
                <a:pathLst>
                  <a:path w="10" h="6">
                    <a:moveTo>
                      <a:pt x="6" y="6"/>
                    </a:moveTo>
                    <a:lnTo>
                      <a:pt x="2" y="4"/>
                    </a:lnTo>
                    <a:lnTo>
                      <a:pt x="0" y="4"/>
                    </a:lnTo>
                    <a:lnTo>
                      <a:pt x="0" y="2"/>
                    </a:lnTo>
                    <a:lnTo>
                      <a:pt x="0" y="0"/>
                    </a:lnTo>
                    <a:lnTo>
                      <a:pt x="2" y="0"/>
                    </a:lnTo>
                    <a:lnTo>
                      <a:pt x="4" y="0"/>
                    </a:lnTo>
                    <a:lnTo>
                      <a:pt x="6" y="0"/>
                    </a:lnTo>
                    <a:lnTo>
                      <a:pt x="8" y="2"/>
                    </a:lnTo>
                    <a:lnTo>
                      <a:pt x="10" y="6"/>
                    </a:lnTo>
                    <a:lnTo>
                      <a:pt x="8" y="6"/>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5" name="Freeform 1992"/>
              <p:cNvSpPr>
                <a:spLocks/>
              </p:cNvSpPr>
              <p:nvPr/>
            </p:nvSpPr>
            <p:spPr bwMode="auto">
              <a:xfrm>
                <a:off x="2320" y="3442"/>
                <a:ext cx="8" cy="4"/>
              </a:xfrm>
              <a:custGeom>
                <a:avLst/>
                <a:gdLst/>
                <a:ahLst/>
                <a:cxnLst>
                  <a:cxn ang="0">
                    <a:pos x="4" y="4"/>
                  </a:cxn>
                  <a:cxn ang="0">
                    <a:pos x="0" y="4"/>
                  </a:cxn>
                  <a:cxn ang="0">
                    <a:pos x="0" y="2"/>
                  </a:cxn>
                  <a:cxn ang="0">
                    <a:pos x="2" y="0"/>
                  </a:cxn>
                  <a:cxn ang="0">
                    <a:pos x="8" y="0"/>
                  </a:cxn>
                  <a:cxn ang="0">
                    <a:pos x="8" y="2"/>
                  </a:cxn>
                  <a:cxn ang="0">
                    <a:pos x="6" y="4"/>
                  </a:cxn>
                  <a:cxn ang="0">
                    <a:pos x="4" y="4"/>
                  </a:cxn>
                </a:cxnLst>
                <a:rect l="0" t="0" r="r" b="b"/>
                <a:pathLst>
                  <a:path w="8" h="4">
                    <a:moveTo>
                      <a:pt x="4" y="4"/>
                    </a:moveTo>
                    <a:lnTo>
                      <a:pt x="0" y="4"/>
                    </a:lnTo>
                    <a:lnTo>
                      <a:pt x="0" y="2"/>
                    </a:lnTo>
                    <a:lnTo>
                      <a:pt x="2" y="0"/>
                    </a:lnTo>
                    <a:lnTo>
                      <a:pt x="8" y="0"/>
                    </a:lnTo>
                    <a:lnTo>
                      <a:pt x="8" y="2"/>
                    </a:lnTo>
                    <a:lnTo>
                      <a:pt x="6"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6" name="Freeform 1993"/>
              <p:cNvSpPr>
                <a:spLocks/>
              </p:cNvSpPr>
              <p:nvPr/>
            </p:nvSpPr>
            <p:spPr bwMode="auto">
              <a:xfrm>
                <a:off x="2314" y="3446"/>
                <a:ext cx="14" cy="8"/>
              </a:xfrm>
              <a:custGeom>
                <a:avLst/>
                <a:gdLst/>
                <a:ahLst/>
                <a:cxnLst>
                  <a:cxn ang="0">
                    <a:pos x="0" y="8"/>
                  </a:cxn>
                  <a:cxn ang="0">
                    <a:pos x="0" y="6"/>
                  </a:cxn>
                  <a:cxn ang="0">
                    <a:pos x="0" y="4"/>
                  </a:cxn>
                  <a:cxn ang="0">
                    <a:pos x="2" y="4"/>
                  </a:cxn>
                  <a:cxn ang="0">
                    <a:pos x="2" y="2"/>
                  </a:cxn>
                  <a:cxn ang="0">
                    <a:pos x="2" y="0"/>
                  </a:cxn>
                  <a:cxn ang="0">
                    <a:pos x="4" y="0"/>
                  </a:cxn>
                  <a:cxn ang="0">
                    <a:pos x="6" y="0"/>
                  </a:cxn>
                  <a:cxn ang="0">
                    <a:pos x="8" y="0"/>
                  </a:cxn>
                  <a:cxn ang="0">
                    <a:pos x="8" y="2"/>
                  </a:cxn>
                  <a:cxn ang="0">
                    <a:pos x="10" y="2"/>
                  </a:cxn>
                  <a:cxn ang="0">
                    <a:pos x="12" y="2"/>
                  </a:cxn>
                  <a:cxn ang="0">
                    <a:pos x="14" y="2"/>
                  </a:cxn>
                  <a:cxn ang="0">
                    <a:pos x="14" y="4"/>
                  </a:cxn>
                  <a:cxn ang="0">
                    <a:pos x="12" y="6"/>
                  </a:cxn>
                  <a:cxn ang="0">
                    <a:pos x="10" y="6"/>
                  </a:cxn>
                  <a:cxn ang="0">
                    <a:pos x="8" y="6"/>
                  </a:cxn>
                  <a:cxn ang="0">
                    <a:pos x="8" y="4"/>
                  </a:cxn>
                  <a:cxn ang="0">
                    <a:pos x="6" y="4"/>
                  </a:cxn>
                  <a:cxn ang="0">
                    <a:pos x="4" y="4"/>
                  </a:cxn>
                  <a:cxn ang="0">
                    <a:pos x="2" y="4"/>
                  </a:cxn>
                  <a:cxn ang="0">
                    <a:pos x="2" y="6"/>
                  </a:cxn>
                  <a:cxn ang="0">
                    <a:pos x="0" y="8"/>
                  </a:cxn>
                </a:cxnLst>
                <a:rect l="0" t="0" r="r" b="b"/>
                <a:pathLst>
                  <a:path w="14" h="8">
                    <a:moveTo>
                      <a:pt x="0" y="8"/>
                    </a:moveTo>
                    <a:lnTo>
                      <a:pt x="0" y="6"/>
                    </a:lnTo>
                    <a:lnTo>
                      <a:pt x="0" y="4"/>
                    </a:lnTo>
                    <a:lnTo>
                      <a:pt x="2" y="4"/>
                    </a:lnTo>
                    <a:lnTo>
                      <a:pt x="2" y="2"/>
                    </a:lnTo>
                    <a:lnTo>
                      <a:pt x="2" y="0"/>
                    </a:lnTo>
                    <a:lnTo>
                      <a:pt x="4" y="0"/>
                    </a:lnTo>
                    <a:lnTo>
                      <a:pt x="6" y="0"/>
                    </a:lnTo>
                    <a:lnTo>
                      <a:pt x="8" y="0"/>
                    </a:lnTo>
                    <a:lnTo>
                      <a:pt x="8" y="2"/>
                    </a:lnTo>
                    <a:lnTo>
                      <a:pt x="10" y="2"/>
                    </a:lnTo>
                    <a:lnTo>
                      <a:pt x="12" y="2"/>
                    </a:lnTo>
                    <a:lnTo>
                      <a:pt x="14" y="2"/>
                    </a:lnTo>
                    <a:lnTo>
                      <a:pt x="14" y="4"/>
                    </a:lnTo>
                    <a:lnTo>
                      <a:pt x="12" y="6"/>
                    </a:lnTo>
                    <a:lnTo>
                      <a:pt x="10" y="6"/>
                    </a:lnTo>
                    <a:lnTo>
                      <a:pt x="8" y="6"/>
                    </a:lnTo>
                    <a:lnTo>
                      <a:pt x="8" y="4"/>
                    </a:lnTo>
                    <a:lnTo>
                      <a:pt x="6" y="4"/>
                    </a:lnTo>
                    <a:lnTo>
                      <a:pt x="4" y="4"/>
                    </a:lnTo>
                    <a:lnTo>
                      <a:pt x="2" y="4"/>
                    </a:lnTo>
                    <a:lnTo>
                      <a:pt x="2" y="6"/>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7" name="Freeform 1994"/>
              <p:cNvSpPr>
                <a:spLocks/>
              </p:cNvSpPr>
              <p:nvPr/>
            </p:nvSpPr>
            <p:spPr bwMode="auto">
              <a:xfrm>
                <a:off x="2328" y="3446"/>
                <a:ext cx="10" cy="18"/>
              </a:xfrm>
              <a:custGeom>
                <a:avLst/>
                <a:gdLst/>
                <a:ahLst/>
                <a:cxnLst>
                  <a:cxn ang="0">
                    <a:pos x="6" y="18"/>
                  </a:cxn>
                  <a:cxn ang="0">
                    <a:pos x="2" y="12"/>
                  </a:cxn>
                  <a:cxn ang="0">
                    <a:pos x="0" y="6"/>
                  </a:cxn>
                  <a:cxn ang="0">
                    <a:pos x="0" y="4"/>
                  </a:cxn>
                  <a:cxn ang="0">
                    <a:pos x="2" y="4"/>
                  </a:cxn>
                  <a:cxn ang="0">
                    <a:pos x="4" y="2"/>
                  </a:cxn>
                  <a:cxn ang="0">
                    <a:pos x="4" y="0"/>
                  </a:cxn>
                  <a:cxn ang="0">
                    <a:pos x="6" y="0"/>
                  </a:cxn>
                  <a:cxn ang="0">
                    <a:pos x="10" y="2"/>
                  </a:cxn>
                  <a:cxn ang="0">
                    <a:pos x="10" y="4"/>
                  </a:cxn>
                  <a:cxn ang="0">
                    <a:pos x="8" y="14"/>
                  </a:cxn>
                  <a:cxn ang="0">
                    <a:pos x="8" y="16"/>
                  </a:cxn>
                  <a:cxn ang="0">
                    <a:pos x="8" y="18"/>
                  </a:cxn>
                  <a:cxn ang="0">
                    <a:pos x="6" y="18"/>
                  </a:cxn>
                </a:cxnLst>
                <a:rect l="0" t="0" r="r" b="b"/>
                <a:pathLst>
                  <a:path w="10" h="18">
                    <a:moveTo>
                      <a:pt x="6" y="18"/>
                    </a:moveTo>
                    <a:lnTo>
                      <a:pt x="2" y="12"/>
                    </a:lnTo>
                    <a:lnTo>
                      <a:pt x="0" y="6"/>
                    </a:lnTo>
                    <a:lnTo>
                      <a:pt x="0" y="4"/>
                    </a:lnTo>
                    <a:lnTo>
                      <a:pt x="2" y="4"/>
                    </a:lnTo>
                    <a:lnTo>
                      <a:pt x="4" y="2"/>
                    </a:lnTo>
                    <a:lnTo>
                      <a:pt x="4" y="0"/>
                    </a:lnTo>
                    <a:lnTo>
                      <a:pt x="6" y="0"/>
                    </a:lnTo>
                    <a:lnTo>
                      <a:pt x="10" y="2"/>
                    </a:lnTo>
                    <a:lnTo>
                      <a:pt x="10" y="4"/>
                    </a:lnTo>
                    <a:lnTo>
                      <a:pt x="8" y="14"/>
                    </a:lnTo>
                    <a:lnTo>
                      <a:pt x="8" y="16"/>
                    </a:lnTo>
                    <a:lnTo>
                      <a:pt x="8" y="18"/>
                    </a:lnTo>
                    <a:lnTo>
                      <a:pt x="6" y="1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8" name="Freeform 1995"/>
              <p:cNvSpPr>
                <a:spLocks/>
              </p:cNvSpPr>
              <p:nvPr/>
            </p:nvSpPr>
            <p:spPr bwMode="auto">
              <a:xfrm>
                <a:off x="2300" y="3446"/>
                <a:ext cx="12" cy="20"/>
              </a:xfrm>
              <a:custGeom>
                <a:avLst/>
                <a:gdLst/>
                <a:ahLst/>
                <a:cxnLst>
                  <a:cxn ang="0">
                    <a:pos x="2" y="20"/>
                  </a:cxn>
                  <a:cxn ang="0">
                    <a:pos x="0" y="18"/>
                  </a:cxn>
                  <a:cxn ang="0">
                    <a:pos x="0" y="16"/>
                  </a:cxn>
                  <a:cxn ang="0">
                    <a:pos x="0" y="14"/>
                  </a:cxn>
                  <a:cxn ang="0">
                    <a:pos x="2" y="14"/>
                  </a:cxn>
                  <a:cxn ang="0">
                    <a:pos x="2" y="12"/>
                  </a:cxn>
                  <a:cxn ang="0">
                    <a:pos x="2" y="8"/>
                  </a:cxn>
                  <a:cxn ang="0">
                    <a:pos x="0" y="8"/>
                  </a:cxn>
                  <a:cxn ang="0">
                    <a:pos x="0" y="6"/>
                  </a:cxn>
                  <a:cxn ang="0">
                    <a:pos x="0" y="4"/>
                  </a:cxn>
                  <a:cxn ang="0">
                    <a:pos x="2" y="4"/>
                  </a:cxn>
                  <a:cxn ang="0">
                    <a:pos x="2" y="2"/>
                  </a:cxn>
                  <a:cxn ang="0">
                    <a:pos x="4" y="0"/>
                  </a:cxn>
                  <a:cxn ang="0">
                    <a:pos x="8" y="2"/>
                  </a:cxn>
                  <a:cxn ang="0">
                    <a:pos x="8" y="4"/>
                  </a:cxn>
                  <a:cxn ang="0">
                    <a:pos x="10" y="4"/>
                  </a:cxn>
                  <a:cxn ang="0">
                    <a:pos x="10" y="6"/>
                  </a:cxn>
                  <a:cxn ang="0">
                    <a:pos x="10" y="8"/>
                  </a:cxn>
                  <a:cxn ang="0">
                    <a:pos x="12" y="10"/>
                  </a:cxn>
                  <a:cxn ang="0">
                    <a:pos x="10" y="12"/>
                  </a:cxn>
                  <a:cxn ang="0">
                    <a:pos x="10" y="14"/>
                  </a:cxn>
                  <a:cxn ang="0">
                    <a:pos x="4" y="18"/>
                  </a:cxn>
                  <a:cxn ang="0">
                    <a:pos x="2" y="20"/>
                  </a:cxn>
                </a:cxnLst>
                <a:rect l="0" t="0" r="r" b="b"/>
                <a:pathLst>
                  <a:path w="12" h="20">
                    <a:moveTo>
                      <a:pt x="2" y="20"/>
                    </a:moveTo>
                    <a:lnTo>
                      <a:pt x="0" y="18"/>
                    </a:lnTo>
                    <a:lnTo>
                      <a:pt x="0" y="16"/>
                    </a:lnTo>
                    <a:lnTo>
                      <a:pt x="0" y="14"/>
                    </a:lnTo>
                    <a:lnTo>
                      <a:pt x="2" y="14"/>
                    </a:lnTo>
                    <a:lnTo>
                      <a:pt x="2" y="12"/>
                    </a:lnTo>
                    <a:lnTo>
                      <a:pt x="2" y="8"/>
                    </a:lnTo>
                    <a:lnTo>
                      <a:pt x="0" y="8"/>
                    </a:lnTo>
                    <a:lnTo>
                      <a:pt x="0" y="6"/>
                    </a:lnTo>
                    <a:lnTo>
                      <a:pt x="0" y="4"/>
                    </a:lnTo>
                    <a:lnTo>
                      <a:pt x="2" y="4"/>
                    </a:lnTo>
                    <a:lnTo>
                      <a:pt x="2" y="2"/>
                    </a:lnTo>
                    <a:lnTo>
                      <a:pt x="4" y="0"/>
                    </a:lnTo>
                    <a:lnTo>
                      <a:pt x="8" y="2"/>
                    </a:lnTo>
                    <a:lnTo>
                      <a:pt x="8" y="4"/>
                    </a:lnTo>
                    <a:lnTo>
                      <a:pt x="10" y="4"/>
                    </a:lnTo>
                    <a:lnTo>
                      <a:pt x="10" y="6"/>
                    </a:lnTo>
                    <a:lnTo>
                      <a:pt x="10" y="8"/>
                    </a:lnTo>
                    <a:lnTo>
                      <a:pt x="12" y="10"/>
                    </a:lnTo>
                    <a:lnTo>
                      <a:pt x="10" y="12"/>
                    </a:lnTo>
                    <a:lnTo>
                      <a:pt x="10" y="14"/>
                    </a:lnTo>
                    <a:lnTo>
                      <a:pt x="4" y="18"/>
                    </a:lnTo>
                    <a:lnTo>
                      <a:pt x="2" y="2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09" name="Freeform 1996"/>
              <p:cNvSpPr>
                <a:spLocks/>
              </p:cNvSpPr>
              <p:nvPr/>
            </p:nvSpPr>
            <p:spPr bwMode="auto">
              <a:xfrm>
                <a:off x="2316" y="3452"/>
                <a:ext cx="10" cy="10"/>
              </a:xfrm>
              <a:custGeom>
                <a:avLst/>
                <a:gdLst/>
                <a:ahLst/>
                <a:cxnLst>
                  <a:cxn ang="0">
                    <a:pos x="6" y="10"/>
                  </a:cxn>
                  <a:cxn ang="0">
                    <a:pos x="4" y="10"/>
                  </a:cxn>
                  <a:cxn ang="0">
                    <a:pos x="2" y="10"/>
                  </a:cxn>
                  <a:cxn ang="0">
                    <a:pos x="2" y="8"/>
                  </a:cxn>
                  <a:cxn ang="0">
                    <a:pos x="0" y="6"/>
                  </a:cxn>
                  <a:cxn ang="0">
                    <a:pos x="0" y="4"/>
                  </a:cxn>
                  <a:cxn ang="0">
                    <a:pos x="0" y="2"/>
                  </a:cxn>
                  <a:cxn ang="0">
                    <a:pos x="2" y="0"/>
                  </a:cxn>
                  <a:cxn ang="0">
                    <a:pos x="4" y="0"/>
                  </a:cxn>
                  <a:cxn ang="0">
                    <a:pos x="6" y="0"/>
                  </a:cxn>
                  <a:cxn ang="0">
                    <a:pos x="8" y="2"/>
                  </a:cxn>
                  <a:cxn ang="0">
                    <a:pos x="10" y="4"/>
                  </a:cxn>
                  <a:cxn ang="0">
                    <a:pos x="8" y="6"/>
                  </a:cxn>
                  <a:cxn ang="0">
                    <a:pos x="8" y="8"/>
                  </a:cxn>
                  <a:cxn ang="0">
                    <a:pos x="6" y="10"/>
                  </a:cxn>
                </a:cxnLst>
                <a:rect l="0" t="0" r="r" b="b"/>
                <a:pathLst>
                  <a:path w="10" h="10">
                    <a:moveTo>
                      <a:pt x="6" y="10"/>
                    </a:moveTo>
                    <a:lnTo>
                      <a:pt x="4" y="10"/>
                    </a:lnTo>
                    <a:lnTo>
                      <a:pt x="2" y="10"/>
                    </a:lnTo>
                    <a:lnTo>
                      <a:pt x="2" y="8"/>
                    </a:lnTo>
                    <a:lnTo>
                      <a:pt x="0" y="6"/>
                    </a:lnTo>
                    <a:lnTo>
                      <a:pt x="0" y="4"/>
                    </a:lnTo>
                    <a:lnTo>
                      <a:pt x="0" y="2"/>
                    </a:lnTo>
                    <a:lnTo>
                      <a:pt x="2" y="0"/>
                    </a:lnTo>
                    <a:lnTo>
                      <a:pt x="4" y="0"/>
                    </a:lnTo>
                    <a:lnTo>
                      <a:pt x="6" y="0"/>
                    </a:lnTo>
                    <a:lnTo>
                      <a:pt x="8" y="2"/>
                    </a:lnTo>
                    <a:lnTo>
                      <a:pt x="10" y="4"/>
                    </a:lnTo>
                    <a:lnTo>
                      <a:pt x="8" y="6"/>
                    </a:lnTo>
                    <a:lnTo>
                      <a:pt x="8"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0" name="Freeform 1997"/>
              <p:cNvSpPr>
                <a:spLocks/>
              </p:cNvSpPr>
              <p:nvPr/>
            </p:nvSpPr>
            <p:spPr bwMode="auto">
              <a:xfrm>
                <a:off x="2292" y="3454"/>
                <a:ext cx="6" cy="10"/>
              </a:xfrm>
              <a:custGeom>
                <a:avLst/>
                <a:gdLst/>
                <a:ahLst/>
                <a:cxnLst>
                  <a:cxn ang="0">
                    <a:pos x="0" y="8"/>
                  </a:cxn>
                  <a:cxn ang="0">
                    <a:pos x="0" y="6"/>
                  </a:cxn>
                  <a:cxn ang="0">
                    <a:pos x="0" y="4"/>
                  </a:cxn>
                  <a:cxn ang="0">
                    <a:pos x="0" y="2"/>
                  </a:cxn>
                  <a:cxn ang="0">
                    <a:pos x="0" y="0"/>
                  </a:cxn>
                  <a:cxn ang="0">
                    <a:pos x="2" y="0"/>
                  </a:cxn>
                  <a:cxn ang="0">
                    <a:pos x="4" y="0"/>
                  </a:cxn>
                  <a:cxn ang="0">
                    <a:pos x="6" y="0"/>
                  </a:cxn>
                  <a:cxn ang="0">
                    <a:pos x="6" y="6"/>
                  </a:cxn>
                  <a:cxn ang="0">
                    <a:pos x="4" y="8"/>
                  </a:cxn>
                  <a:cxn ang="0">
                    <a:pos x="4" y="10"/>
                  </a:cxn>
                  <a:cxn ang="0">
                    <a:pos x="2" y="10"/>
                  </a:cxn>
                  <a:cxn ang="0">
                    <a:pos x="0" y="10"/>
                  </a:cxn>
                  <a:cxn ang="0">
                    <a:pos x="0" y="8"/>
                  </a:cxn>
                </a:cxnLst>
                <a:rect l="0" t="0" r="r" b="b"/>
                <a:pathLst>
                  <a:path w="6" h="10">
                    <a:moveTo>
                      <a:pt x="0" y="8"/>
                    </a:moveTo>
                    <a:lnTo>
                      <a:pt x="0" y="6"/>
                    </a:lnTo>
                    <a:lnTo>
                      <a:pt x="0" y="4"/>
                    </a:lnTo>
                    <a:lnTo>
                      <a:pt x="0" y="2"/>
                    </a:lnTo>
                    <a:lnTo>
                      <a:pt x="0" y="0"/>
                    </a:lnTo>
                    <a:lnTo>
                      <a:pt x="2" y="0"/>
                    </a:lnTo>
                    <a:lnTo>
                      <a:pt x="4" y="0"/>
                    </a:lnTo>
                    <a:lnTo>
                      <a:pt x="6" y="0"/>
                    </a:lnTo>
                    <a:lnTo>
                      <a:pt x="6" y="6"/>
                    </a:lnTo>
                    <a:lnTo>
                      <a:pt x="4" y="8"/>
                    </a:lnTo>
                    <a:lnTo>
                      <a:pt x="4" y="10"/>
                    </a:lnTo>
                    <a:lnTo>
                      <a:pt x="2" y="10"/>
                    </a:lnTo>
                    <a:lnTo>
                      <a:pt x="0" y="10"/>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1" name="Freeform 1998"/>
              <p:cNvSpPr>
                <a:spLocks/>
              </p:cNvSpPr>
              <p:nvPr/>
            </p:nvSpPr>
            <p:spPr bwMode="auto">
              <a:xfrm>
                <a:off x="2316" y="3462"/>
                <a:ext cx="6" cy="10"/>
              </a:xfrm>
              <a:custGeom>
                <a:avLst/>
                <a:gdLst/>
                <a:ahLst/>
                <a:cxnLst>
                  <a:cxn ang="0">
                    <a:pos x="4" y="10"/>
                  </a:cxn>
                  <a:cxn ang="0">
                    <a:pos x="2" y="6"/>
                  </a:cxn>
                  <a:cxn ang="0">
                    <a:pos x="0" y="4"/>
                  </a:cxn>
                  <a:cxn ang="0">
                    <a:pos x="0" y="2"/>
                  </a:cxn>
                  <a:cxn ang="0">
                    <a:pos x="2" y="0"/>
                  </a:cxn>
                  <a:cxn ang="0">
                    <a:pos x="4" y="0"/>
                  </a:cxn>
                  <a:cxn ang="0">
                    <a:pos x="6" y="2"/>
                  </a:cxn>
                  <a:cxn ang="0">
                    <a:pos x="6" y="4"/>
                  </a:cxn>
                  <a:cxn ang="0">
                    <a:pos x="6" y="6"/>
                  </a:cxn>
                  <a:cxn ang="0">
                    <a:pos x="6" y="8"/>
                  </a:cxn>
                  <a:cxn ang="0">
                    <a:pos x="4" y="10"/>
                  </a:cxn>
                </a:cxnLst>
                <a:rect l="0" t="0" r="r" b="b"/>
                <a:pathLst>
                  <a:path w="6" h="10">
                    <a:moveTo>
                      <a:pt x="4" y="10"/>
                    </a:moveTo>
                    <a:lnTo>
                      <a:pt x="2" y="6"/>
                    </a:lnTo>
                    <a:lnTo>
                      <a:pt x="0" y="4"/>
                    </a:lnTo>
                    <a:lnTo>
                      <a:pt x="0" y="2"/>
                    </a:lnTo>
                    <a:lnTo>
                      <a:pt x="2" y="0"/>
                    </a:lnTo>
                    <a:lnTo>
                      <a:pt x="4" y="0"/>
                    </a:lnTo>
                    <a:lnTo>
                      <a:pt x="6" y="2"/>
                    </a:lnTo>
                    <a:lnTo>
                      <a:pt x="6" y="4"/>
                    </a:lnTo>
                    <a:lnTo>
                      <a:pt x="6" y="6"/>
                    </a:lnTo>
                    <a:lnTo>
                      <a:pt x="6" y="8"/>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2" name="Freeform 1999"/>
              <p:cNvSpPr>
                <a:spLocks/>
              </p:cNvSpPr>
              <p:nvPr/>
            </p:nvSpPr>
            <p:spPr bwMode="auto">
              <a:xfrm>
                <a:off x="2324" y="3466"/>
                <a:ext cx="8" cy="10"/>
              </a:xfrm>
              <a:custGeom>
                <a:avLst/>
                <a:gdLst/>
                <a:ahLst/>
                <a:cxnLst>
                  <a:cxn ang="0">
                    <a:pos x="0" y="10"/>
                  </a:cxn>
                  <a:cxn ang="0">
                    <a:pos x="0" y="8"/>
                  </a:cxn>
                  <a:cxn ang="0">
                    <a:pos x="0" y="6"/>
                  </a:cxn>
                  <a:cxn ang="0">
                    <a:pos x="0" y="4"/>
                  </a:cxn>
                  <a:cxn ang="0">
                    <a:pos x="2" y="2"/>
                  </a:cxn>
                  <a:cxn ang="0">
                    <a:pos x="8" y="0"/>
                  </a:cxn>
                  <a:cxn ang="0">
                    <a:pos x="8" y="2"/>
                  </a:cxn>
                  <a:cxn ang="0">
                    <a:pos x="8" y="4"/>
                  </a:cxn>
                  <a:cxn ang="0">
                    <a:pos x="6" y="4"/>
                  </a:cxn>
                  <a:cxn ang="0">
                    <a:pos x="4" y="4"/>
                  </a:cxn>
                  <a:cxn ang="0">
                    <a:pos x="4" y="6"/>
                  </a:cxn>
                  <a:cxn ang="0">
                    <a:pos x="4" y="10"/>
                  </a:cxn>
                  <a:cxn ang="0">
                    <a:pos x="0" y="10"/>
                  </a:cxn>
                </a:cxnLst>
                <a:rect l="0" t="0" r="r" b="b"/>
                <a:pathLst>
                  <a:path w="8" h="10">
                    <a:moveTo>
                      <a:pt x="0" y="10"/>
                    </a:moveTo>
                    <a:lnTo>
                      <a:pt x="0" y="8"/>
                    </a:lnTo>
                    <a:lnTo>
                      <a:pt x="0" y="6"/>
                    </a:lnTo>
                    <a:lnTo>
                      <a:pt x="0" y="4"/>
                    </a:lnTo>
                    <a:lnTo>
                      <a:pt x="2" y="2"/>
                    </a:lnTo>
                    <a:lnTo>
                      <a:pt x="8" y="0"/>
                    </a:lnTo>
                    <a:lnTo>
                      <a:pt x="8" y="2"/>
                    </a:lnTo>
                    <a:lnTo>
                      <a:pt x="8" y="4"/>
                    </a:lnTo>
                    <a:lnTo>
                      <a:pt x="6" y="4"/>
                    </a:lnTo>
                    <a:lnTo>
                      <a:pt x="4" y="4"/>
                    </a:lnTo>
                    <a:lnTo>
                      <a:pt x="4" y="6"/>
                    </a:lnTo>
                    <a:lnTo>
                      <a:pt x="4" y="10"/>
                    </a:lnTo>
                    <a:lnTo>
                      <a:pt x="0"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3" name="Freeform 2000"/>
              <p:cNvSpPr>
                <a:spLocks/>
              </p:cNvSpPr>
              <p:nvPr/>
            </p:nvSpPr>
            <p:spPr bwMode="auto">
              <a:xfrm>
                <a:off x="2274" y="3466"/>
                <a:ext cx="18" cy="18"/>
              </a:xfrm>
              <a:custGeom>
                <a:avLst/>
                <a:gdLst/>
                <a:ahLst/>
                <a:cxnLst>
                  <a:cxn ang="0">
                    <a:pos x="2" y="16"/>
                  </a:cxn>
                  <a:cxn ang="0">
                    <a:pos x="0" y="16"/>
                  </a:cxn>
                  <a:cxn ang="0">
                    <a:pos x="0" y="14"/>
                  </a:cxn>
                  <a:cxn ang="0">
                    <a:pos x="0" y="12"/>
                  </a:cxn>
                  <a:cxn ang="0">
                    <a:pos x="6" y="12"/>
                  </a:cxn>
                  <a:cxn ang="0">
                    <a:pos x="6" y="10"/>
                  </a:cxn>
                  <a:cxn ang="0">
                    <a:pos x="4" y="10"/>
                  </a:cxn>
                  <a:cxn ang="0">
                    <a:pos x="2" y="10"/>
                  </a:cxn>
                  <a:cxn ang="0">
                    <a:pos x="0" y="4"/>
                  </a:cxn>
                  <a:cxn ang="0">
                    <a:pos x="2" y="4"/>
                  </a:cxn>
                  <a:cxn ang="0">
                    <a:pos x="6" y="4"/>
                  </a:cxn>
                  <a:cxn ang="0">
                    <a:pos x="6" y="6"/>
                  </a:cxn>
                  <a:cxn ang="0">
                    <a:pos x="10" y="4"/>
                  </a:cxn>
                  <a:cxn ang="0">
                    <a:pos x="14" y="2"/>
                  </a:cxn>
                  <a:cxn ang="0">
                    <a:pos x="16" y="0"/>
                  </a:cxn>
                  <a:cxn ang="0">
                    <a:pos x="18" y="2"/>
                  </a:cxn>
                  <a:cxn ang="0">
                    <a:pos x="16" y="2"/>
                  </a:cxn>
                  <a:cxn ang="0">
                    <a:pos x="16" y="10"/>
                  </a:cxn>
                  <a:cxn ang="0">
                    <a:pos x="14" y="10"/>
                  </a:cxn>
                  <a:cxn ang="0">
                    <a:pos x="14" y="12"/>
                  </a:cxn>
                  <a:cxn ang="0">
                    <a:pos x="8" y="16"/>
                  </a:cxn>
                  <a:cxn ang="0">
                    <a:pos x="8" y="18"/>
                  </a:cxn>
                  <a:cxn ang="0">
                    <a:pos x="4" y="18"/>
                  </a:cxn>
                  <a:cxn ang="0">
                    <a:pos x="2" y="16"/>
                  </a:cxn>
                </a:cxnLst>
                <a:rect l="0" t="0" r="r" b="b"/>
                <a:pathLst>
                  <a:path w="18" h="18">
                    <a:moveTo>
                      <a:pt x="2" y="16"/>
                    </a:moveTo>
                    <a:lnTo>
                      <a:pt x="0" y="16"/>
                    </a:lnTo>
                    <a:lnTo>
                      <a:pt x="0" y="14"/>
                    </a:lnTo>
                    <a:lnTo>
                      <a:pt x="0" y="12"/>
                    </a:lnTo>
                    <a:lnTo>
                      <a:pt x="6" y="12"/>
                    </a:lnTo>
                    <a:lnTo>
                      <a:pt x="6" y="10"/>
                    </a:lnTo>
                    <a:lnTo>
                      <a:pt x="4" y="10"/>
                    </a:lnTo>
                    <a:lnTo>
                      <a:pt x="2" y="10"/>
                    </a:lnTo>
                    <a:lnTo>
                      <a:pt x="0" y="4"/>
                    </a:lnTo>
                    <a:lnTo>
                      <a:pt x="2" y="4"/>
                    </a:lnTo>
                    <a:lnTo>
                      <a:pt x="6" y="4"/>
                    </a:lnTo>
                    <a:lnTo>
                      <a:pt x="6" y="6"/>
                    </a:lnTo>
                    <a:lnTo>
                      <a:pt x="10" y="4"/>
                    </a:lnTo>
                    <a:lnTo>
                      <a:pt x="14" y="2"/>
                    </a:lnTo>
                    <a:lnTo>
                      <a:pt x="16" y="0"/>
                    </a:lnTo>
                    <a:lnTo>
                      <a:pt x="18" y="2"/>
                    </a:lnTo>
                    <a:lnTo>
                      <a:pt x="16" y="2"/>
                    </a:lnTo>
                    <a:lnTo>
                      <a:pt x="16" y="10"/>
                    </a:lnTo>
                    <a:lnTo>
                      <a:pt x="14" y="10"/>
                    </a:lnTo>
                    <a:lnTo>
                      <a:pt x="14" y="12"/>
                    </a:lnTo>
                    <a:lnTo>
                      <a:pt x="8" y="16"/>
                    </a:lnTo>
                    <a:lnTo>
                      <a:pt x="8" y="18"/>
                    </a:lnTo>
                    <a:lnTo>
                      <a:pt x="4" y="18"/>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4" name="Freeform 2001"/>
              <p:cNvSpPr>
                <a:spLocks/>
              </p:cNvSpPr>
              <p:nvPr/>
            </p:nvSpPr>
            <p:spPr bwMode="auto">
              <a:xfrm>
                <a:off x="2328" y="3470"/>
                <a:ext cx="6" cy="8"/>
              </a:xfrm>
              <a:custGeom>
                <a:avLst/>
                <a:gdLst/>
                <a:ahLst/>
                <a:cxnLst>
                  <a:cxn ang="0">
                    <a:pos x="6" y="8"/>
                  </a:cxn>
                  <a:cxn ang="0">
                    <a:pos x="0" y="8"/>
                  </a:cxn>
                  <a:cxn ang="0">
                    <a:pos x="0" y="6"/>
                  </a:cxn>
                  <a:cxn ang="0">
                    <a:pos x="0" y="4"/>
                  </a:cxn>
                  <a:cxn ang="0">
                    <a:pos x="2" y="2"/>
                  </a:cxn>
                  <a:cxn ang="0">
                    <a:pos x="2" y="0"/>
                  </a:cxn>
                  <a:cxn ang="0">
                    <a:pos x="4" y="2"/>
                  </a:cxn>
                  <a:cxn ang="0">
                    <a:pos x="6" y="8"/>
                  </a:cxn>
                </a:cxnLst>
                <a:rect l="0" t="0" r="r" b="b"/>
                <a:pathLst>
                  <a:path w="6" h="8">
                    <a:moveTo>
                      <a:pt x="6" y="8"/>
                    </a:moveTo>
                    <a:lnTo>
                      <a:pt x="0" y="8"/>
                    </a:lnTo>
                    <a:lnTo>
                      <a:pt x="0" y="6"/>
                    </a:lnTo>
                    <a:lnTo>
                      <a:pt x="0" y="4"/>
                    </a:lnTo>
                    <a:lnTo>
                      <a:pt x="2" y="2"/>
                    </a:lnTo>
                    <a:lnTo>
                      <a:pt x="2" y="0"/>
                    </a:lnTo>
                    <a:lnTo>
                      <a:pt x="4" y="2"/>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5" name="Freeform 2002"/>
              <p:cNvSpPr>
                <a:spLocks/>
              </p:cNvSpPr>
              <p:nvPr/>
            </p:nvSpPr>
            <p:spPr bwMode="auto">
              <a:xfrm>
                <a:off x="2324" y="3478"/>
                <a:ext cx="10" cy="10"/>
              </a:xfrm>
              <a:custGeom>
                <a:avLst/>
                <a:gdLst/>
                <a:ahLst/>
                <a:cxnLst>
                  <a:cxn ang="0">
                    <a:pos x="6" y="10"/>
                  </a:cxn>
                  <a:cxn ang="0">
                    <a:pos x="4" y="10"/>
                  </a:cxn>
                  <a:cxn ang="0">
                    <a:pos x="4" y="8"/>
                  </a:cxn>
                  <a:cxn ang="0">
                    <a:pos x="0" y="2"/>
                  </a:cxn>
                  <a:cxn ang="0">
                    <a:pos x="0" y="0"/>
                  </a:cxn>
                  <a:cxn ang="0">
                    <a:pos x="2" y="0"/>
                  </a:cxn>
                  <a:cxn ang="0">
                    <a:pos x="4" y="0"/>
                  </a:cxn>
                  <a:cxn ang="0">
                    <a:pos x="8" y="0"/>
                  </a:cxn>
                  <a:cxn ang="0">
                    <a:pos x="10" y="2"/>
                  </a:cxn>
                  <a:cxn ang="0">
                    <a:pos x="10" y="4"/>
                  </a:cxn>
                  <a:cxn ang="0">
                    <a:pos x="8" y="10"/>
                  </a:cxn>
                  <a:cxn ang="0">
                    <a:pos x="6" y="10"/>
                  </a:cxn>
                </a:cxnLst>
                <a:rect l="0" t="0" r="r" b="b"/>
                <a:pathLst>
                  <a:path w="10" h="10">
                    <a:moveTo>
                      <a:pt x="6" y="10"/>
                    </a:moveTo>
                    <a:lnTo>
                      <a:pt x="4" y="10"/>
                    </a:lnTo>
                    <a:lnTo>
                      <a:pt x="4" y="8"/>
                    </a:lnTo>
                    <a:lnTo>
                      <a:pt x="0" y="2"/>
                    </a:lnTo>
                    <a:lnTo>
                      <a:pt x="0" y="0"/>
                    </a:lnTo>
                    <a:lnTo>
                      <a:pt x="2" y="0"/>
                    </a:lnTo>
                    <a:lnTo>
                      <a:pt x="4" y="0"/>
                    </a:lnTo>
                    <a:lnTo>
                      <a:pt x="8" y="0"/>
                    </a:lnTo>
                    <a:lnTo>
                      <a:pt x="10" y="2"/>
                    </a:lnTo>
                    <a:lnTo>
                      <a:pt x="10" y="4"/>
                    </a:lnTo>
                    <a:lnTo>
                      <a:pt x="8" y="10"/>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6" name="Freeform 2003"/>
              <p:cNvSpPr>
                <a:spLocks/>
              </p:cNvSpPr>
              <p:nvPr/>
            </p:nvSpPr>
            <p:spPr bwMode="auto">
              <a:xfrm>
                <a:off x="2312" y="3532"/>
                <a:ext cx="10" cy="8"/>
              </a:xfrm>
              <a:custGeom>
                <a:avLst/>
                <a:gdLst/>
                <a:ahLst/>
                <a:cxnLst>
                  <a:cxn ang="0">
                    <a:pos x="2" y="8"/>
                  </a:cxn>
                  <a:cxn ang="0">
                    <a:pos x="0" y="6"/>
                  </a:cxn>
                  <a:cxn ang="0">
                    <a:pos x="0" y="4"/>
                  </a:cxn>
                  <a:cxn ang="0">
                    <a:pos x="0" y="2"/>
                  </a:cxn>
                  <a:cxn ang="0">
                    <a:pos x="2" y="0"/>
                  </a:cxn>
                  <a:cxn ang="0">
                    <a:pos x="8" y="0"/>
                  </a:cxn>
                  <a:cxn ang="0">
                    <a:pos x="10" y="2"/>
                  </a:cxn>
                  <a:cxn ang="0">
                    <a:pos x="8" y="6"/>
                  </a:cxn>
                  <a:cxn ang="0">
                    <a:pos x="6" y="8"/>
                  </a:cxn>
                  <a:cxn ang="0">
                    <a:pos x="4" y="8"/>
                  </a:cxn>
                  <a:cxn ang="0">
                    <a:pos x="2" y="8"/>
                  </a:cxn>
                </a:cxnLst>
                <a:rect l="0" t="0" r="r" b="b"/>
                <a:pathLst>
                  <a:path w="10" h="8">
                    <a:moveTo>
                      <a:pt x="2" y="8"/>
                    </a:moveTo>
                    <a:lnTo>
                      <a:pt x="0" y="6"/>
                    </a:lnTo>
                    <a:lnTo>
                      <a:pt x="0" y="4"/>
                    </a:lnTo>
                    <a:lnTo>
                      <a:pt x="0" y="2"/>
                    </a:lnTo>
                    <a:lnTo>
                      <a:pt x="2" y="0"/>
                    </a:lnTo>
                    <a:lnTo>
                      <a:pt x="8" y="0"/>
                    </a:lnTo>
                    <a:lnTo>
                      <a:pt x="10" y="2"/>
                    </a:lnTo>
                    <a:lnTo>
                      <a:pt x="8" y="6"/>
                    </a:lnTo>
                    <a:lnTo>
                      <a:pt x="6" y="8"/>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7" name="Freeform 2004"/>
              <p:cNvSpPr>
                <a:spLocks/>
              </p:cNvSpPr>
              <p:nvPr/>
            </p:nvSpPr>
            <p:spPr bwMode="auto">
              <a:xfrm>
                <a:off x="2302" y="3534"/>
                <a:ext cx="8" cy="6"/>
              </a:xfrm>
              <a:custGeom>
                <a:avLst/>
                <a:gdLst/>
                <a:ahLst/>
                <a:cxnLst>
                  <a:cxn ang="0">
                    <a:pos x="0" y="6"/>
                  </a:cxn>
                  <a:cxn ang="0">
                    <a:pos x="0" y="4"/>
                  </a:cxn>
                  <a:cxn ang="0">
                    <a:pos x="0" y="2"/>
                  </a:cxn>
                  <a:cxn ang="0">
                    <a:pos x="2" y="0"/>
                  </a:cxn>
                  <a:cxn ang="0">
                    <a:pos x="4" y="0"/>
                  </a:cxn>
                  <a:cxn ang="0">
                    <a:pos x="6" y="0"/>
                  </a:cxn>
                  <a:cxn ang="0">
                    <a:pos x="8" y="0"/>
                  </a:cxn>
                  <a:cxn ang="0">
                    <a:pos x="6" y="2"/>
                  </a:cxn>
                  <a:cxn ang="0">
                    <a:pos x="2" y="6"/>
                  </a:cxn>
                  <a:cxn ang="0">
                    <a:pos x="0" y="6"/>
                  </a:cxn>
                </a:cxnLst>
                <a:rect l="0" t="0" r="r" b="b"/>
                <a:pathLst>
                  <a:path w="8" h="6">
                    <a:moveTo>
                      <a:pt x="0" y="6"/>
                    </a:moveTo>
                    <a:lnTo>
                      <a:pt x="0" y="4"/>
                    </a:lnTo>
                    <a:lnTo>
                      <a:pt x="0" y="2"/>
                    </a:lnTo>
                    <a:lnTo>
                      <a:pt x="2" y="0"/>
                    </a:lnTo>
                    <a:lnTo>
                      <a:pt x="4" y="0"/>
                    </a:lnTo>
                    <a:lnTo>
                      <a:pt x="6" y="0"/>
                    </a:lnTo>
                    <a:lnTo>
                      <a:pt x="8" y="0"/>
                    </a:lnTo>
                    <a:lnTo>
                      <a:pt x="6" y="2"/>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8" name="Freeform 2005"/>
              <p:cNvSpPr>
                <a:spLocks/>
              </p:cNvSpPr>
              <p:nvPr/>
            </p:nvSpPr>
            <p:spPr bwMode="auto">
              <a:xfrm>
                <a:off x="2278" y="3568"/>
                <a:ext cx="8" cy="6"/>
              </a:xfrm>
              <a:custGeom>
                <a:avLst/>
                <a:gdLst/>
                <a:ahLst/>
                <a:cxnLst>
                  <a:cxn ang="0">
                    <a:pos x="4" y="6"/>
                  </a:cxn>
                  <a:cxn ang="0">
                    <a:pos x="2" y="6"/>
                  </a:cxn>
                  <a:cxn ang="0">
                    <a:pos x="2" y="4"/>
                  </a:cxn>
                  <a:cxn ang="0">
                    <a:pos x="0" y="4"/>
                  </a:cxn>
                  <a:cxn ang="0">
                    <a:pos x="0" y="0"/>
                  </a:cxn>
                  <a:cxn ang="0">
                    <a:pos x="2" y="0"/>
                  </a:cxn>
                  <a:cxn ang="0">
                    <a:pos x="4" y="2"/>
                  </a:cxn>
                  <a:cxn ang="0">
                    <a:pos x="6" y="2"/>
                  </a:cxn>
                  <a:cxn ang="0">
                    <a:pos x="6" y="4"/>
                  </a:cxn>
                  <a:cxn ang="0">
                    <a:pos x="8" y="4"/>
                  </a:cxn>
                  <a:cxn ang="0">
                    <a:pos x="6" y="6"/>
                  </a:cxn>
                  <a:cxn ang="0">
                    <a:pos x="4" y="6"/>
                  </a:cxn>
                </a:cxnLst>
                <a:rect l="0" t="0" r="r" b="b"/>
                <a:pathLst>
                  <a:path w="8" h="6">
                    <a:moveTo>
                      <a:pt x="4" y="6"/>
                    </a:moveTo>
                    <a:lnTo>
                      <a:pt x="2" y="6"/>
                    </a:lnTo>
                    <a:lnTo>
                      <a:pt x="2" y="4"/>
                    </a:lnTo>
                    <a:lnTo>
                      <a:pt x="0" y="4"/>
                    </a:lnTo>
                    <a:lnTo>
                      <a:pt x="0" y="0"/>
                    </a:lnTo>
                    <a:lnTo>
                      <a:pt x="2" y="0"/>
                    </a:lnTo>
                    <a:lnTo>
                      <a:pt x="4" y="2"/>
                    </a:lnTo>
                    <a:lnTo>
                      <a:pt x="6" y="2"/>
                    </a:lnTo>
                    <a:lnTo>
                      <a:pt x="6" y="4"/>
                    </a:lnTo>
                    <a:lnTo>
                      <a:pt x="8" y="4"/>
                    </a:lnTo>
                    <a:lnTo>
                      <a:pt x="6"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19" name="Freeform 2006"/>
              <p:cNvSpPr>
                <a:spLocks/>
              </p:cNvSpPr>
              <p:nvPr/>
            </p:nvSpPr>
            <p:spPr bwMode="auto">
              <a:xfrm>
                <a:off x="2270" y="3570"/>
                <a:ext cx="8" cy="8"/>
              </a:xfrm>
              <a:custGeom>
                <a:avLst/>
                <a:gdLst/>
                <a:ahLst/>
                <a:cxnLst>
                  <a:cxn ang="0">
                    <a:pos x="4" y="6"/>
                  </a:cxn>
                  <a:cxn ang="0">
                    <a:pos x="2" y="4"/>
                  </a:cxn>
                  <a:cxn ang="0">
                    <a:pos x="0" y="4"/>
                  </a:cxn>
                  <a:cxn ang="0">
                    <a:pos x="0" y="2"/>
                  </a:cxn>
                  <a:cxn ang="0">
                    <a:pos x="4" y="0"/>
                  </a:cxn>
                  <a:cxn ang="0">
                    <a:pos x="6" y="0"/>
                  </a:cxn>
                  <a:cxn ang="0">
                    <a:pos x="8" y="0"/>
                  </a:cxn>
                  <a:cxn ang="0">
                    <a:pos x="8" y="2"/>
                  </a:cxn>
                  <a:cxn ang="0">
                    <a:pos x="8" y="4"/>
                  </a:cxn>
                  <a:cxn ang="0">
                    <a:pos x="8" y="6"/>
                  </a:cxn>
                  <a:cxn ang="0">
                    <a:pos x="6" y="6"/>
                  </a:cxn>
                  <a:cxn ang="0">
                    <a:pos x="6" y="8"/>
                  </a:cxn>
                  <a:cxn ang="0">
                    <a:pos x="2" y="8"/>
                  </a:cxn>
                  <a:cxn ang="0">
                    <a:pos x="4" y="6"/>
                  </a:cxn>
                </a:cxnLst>
                <a:rect l="0" t="0" r="r" b="b"/>
                <a:pathLst>
                  <a:path w="8" h="8">
                    <a:moveTo>
                      <a:pt x="4" y="6"/>
                    </a:moveTo>
                    <a:lnTo>
                      <a:pt x="2" y="4"/>
                    </a:lnTo>
                    <a:lnTo>
                      <a:pt x="0" y="4"/>
                    </a:lnTo>
                    <a:lnTo>
                      <a:pt x="0" y="2"/>
                    </a:lnTo>
                    <a:lnTo>
                      <a:pt x="4" y="0"/>
                    </a:lnTo>
                    <a:lnTo>
                      <a:pt x="6" y="0"/>
                    </a:lnTo>
                    <a:lnTo>
                      <a:pt x="8" y="0"/>
                    </a:lnTo>
                    <a:lnTo>
                      <a:pt x="8" y="2"/>
                    </a:lnTo>
                    <a:lnTo>
                      <a:pt x="8" y="4"/>
                    </a:lnTo>
                    <a:lnTo>
                      <a:pt x="8" y="6"/>
                    </a:lnTo>
                    <a:lnTo>
                      <a:pt x="6" y="6"/>
                    </a:lnTo>
                    <a:lnTo>
                      <a:pt x="6" y="8"/>
                    </a:lnTo>
                    <a:lnTo>
                      <a:pt x="2" y="8"/>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0" name="Freeform 2007"/>
              <p:cNvSpPr>
                <a:spLocks/>
              </p:cNvSpPr>
              <p:nvPr/>
            </p:nvSpPr>
            <p:spPr bwMode="auto">
              <a:xfrm>
                <a:off x="2302" y="3574"/>
                <a:ext cx="28" cy="10"/>
              </a:xfrm>
              <a:custGeom>
                <a:avLst/>
                <a:gdLst/>
                <a:ahLst/>
                <a:cxnLst>
                  <a:cxn ang="0">
                    <a:pos x="8" y="10"/>
                  </a:cxn>
                  <a:cxn ang="0">
                    <a:pos x="6" y="10"/>
                  </a:cxn>
                  <a:cxn ang="0">
                    <a:pos x="2" y="8"/>
                  </a:cxn>
                  <a:cxn ang="0">
                    <a:pos x="0" y="8"/>
                  </a:cxn>
                  <a:cxn ang="0">
                    <a:pos x="0" y="6"/>
                  </a:cxn>
                  <a:cxn ang="0">
                    <a:pos x="4" y="4"/>
                  </a:cxn>
                  <a:cxn ang="0">
                    <a:pos x="4" y="2"/>
                  </a:cxn>
                  <a:cxn ang="0">
                    <a:pos x="8" y="0"/>
                  </a:cxn>
                  <a:cxn ang="0">
                    <a:pos x="18" y="4"/>
                  </a:cxn>
                  <a:cxn ang="0">
                    <a:pos x="24" y="6"/>
                  </a:cxn>
                  <a:cxn ang="0">
                    <a:pos x="26" y="6"/>
                  </a:cxn>
                  <a:cxn ang="0">
                    <a:pos x="26" y="4"/>
                  </a:cxn>
                  <a:cxn ang="0">
                    <a:pos x="28" y="4"/>
                  </a:cxn>
                  <a:cxn ang="0">
                    <a:pos x="28" y="6"/>
                  </a:cxn>
                  <a:cxn ang="0">
                    <a:pos x="26" y="8"/>
                  </a:cxn>
                  <a:cxn ang="0">
                    <a:pos x="24" y="8"/>
                  </a:cxn>
                  <a:cxn ang="0">
                    <a:pos x="18" y="8"/>
                  </a:cxn>
                  <a:cxn ang="0">
                    <a:pos x="16" y="8"/>
                  </a:cxn>
                  <a:cxn ang="0">
                    <a:pos x="8" y="10"/>
                  </a:cxn>
                </a:cxnLst>
                <a:rect l="0" t="0" r="r" b="b"/>
                <a:pathLst>
                  <a:path w="28" h="10">
                    <a:moveTo>
                      <a:pt x="8" y="10"/>
                    </a:moveTo>
                    <a:lnTo>
                      <a:pt x="6" y="10"/>
                    </a:lnTo>
                    <a:lnTo>
                      <a:pt x="2" y="8"/>
                    </a:lnTo>
                    <a:lnTo>
                      <a:pt x="0" y="8"/>
                    </a:lnTo>
                    <a:lnTo>
                      <a:pt x="0" y="6"/>
                    </a:lnTo>
                    <a:lnTo>
                      <a:pt x="4" y="4"/>
                    </a:lnTo>
                    <a:lnTo>
                      <a:pt x="4" y="2"/>
                    </a:lnTo>
                    <a:lnTo>
                      <a:pt x="8" y="0"/>
                    </a:lnTo>
                    <a:lnTo>
                      <a:pt x="18" y="4"/>
                    </a:lnTo>
                    <a:lnTo>
                      <a:pt x="24" y="6"/>
                    </a:lnTo>
                    <a:lnTo>
                      <a:pt x="26" y="6"/>
                    </a:lnTo>
                    <a:lnTo>
                      <a:pt x="26" y="4"/>
                    </a:lnTo>
                    <a:lnTo>
                      <a:pt x="28" y="4"/>
                    </a:lnTo>
                    <a:lnTo>
                      <a:pt x="28" y="6"/>
                    </a:lnTo>
                    <a:lnTo>
                      <a:pt x="26" y="8"/>
                    </a:lnTo>
                    <a:lnTo>
                      <a:pt x="24" y="8"/>
                    </a:lnTo>
                    <a:lnTo>
                      <a:pt x="18" y="8"/>
                    </a:lnTo>
                    <a:lnTo>
                      <a:pt x="16" y="8"/>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1" name="Freeform 2008"/>
              <p:cNvSpPr>
                <a:spLocks/>
              </p:cNvSpPr>
              <p:nvPr/>
            </p:nvSpPr>
            <p:spPr bwMode="auto">
              <a:xfrm>
                <a:off x="2272" y="3576"/>
                <a:ext cx="18" cy="14"/>
              </a:xfrm>
              <a:custGeom>
                <a:avLst/>
                <a:gdLst/>
                <a:ahLst/>
                <a:cxnLst>
                  <a:cxn ang="0">
                    <a:pos x="14" y="14"/>
                  </a:cxn>
                  <a:cxn ang="0">
                    <a:pos x="12" y="12"/>
                  </a:cxn>
                  <a:cxn ang="0">
                    <a:pos x="8" y="12"/>
                  </a:cxn>
                  <a:cxn ang="0">
                    <a:pos x="8" y="10"/>
                  </a:cxn>
                  <a:cxn ang="0">
                    <a:pos x="8" y="8"/>
                  </a:cxn>
                  <a:cxn ang="0">
                    <a:pos x="6" y="8"/>
                  </a:cxn>
                  <a:cxn ang="0">
                    <a:pos x="4" y="10"/>
                  </a:cxn>
                  <a:cxn ang="0">
                    <a:pos x="2" y="12"/>
                  </a:cxn>
                  <a:cxn ang="0">
                    <a:pos x="0" y="12"/>
                  </a:cxn>
                  <a:cxn ang="0">
                    <a:pos x="0" y="8"/>
                  </a:cxn>
                  <a:cxn ang="0">
                    <a:pos x="2" y="6"/>
                  </a:cxn>
                  <a:cxn ang="0">
                    <a:pos x="6" y="6"/>
                  </a:cxn>
                  <a:cxn ang="0">
                    <a:pos x="8" y="6"/>
                  </a:cxn>
                  <a:cxn ang="0">
                    <a:pos x="12" y="4"/>
                  </a:cxn>
                  <a:cxn ang="0">
                    <a:pos x="14" y="0"/>
                  </a:cxn>
                  <a:cxn ang="0">
                    <a:pos x="16" y="0"/>
                  </a:cxn>
                  <a:cxn ang="0">
                    <a:pos x="18" y="0"/>
                  </a:cxn>
                  <a:cxn ang="0">
                    <a:pos x="18" y="2"/>
                  </a:cxn>
                  <a:cxn ang="0">
                    <a:pos x="18" y="4"/>
                  </a:cxn>
                  <a:cxn ang="0">
                    <a:pos x="18" y="12"/>
                  </a:cxn>
                  <a:cxn ang="0">
                    <a:pos x="16" y="12"/>
                  </a:cxn>
                  <a:cxn ang="0">
                    <a:pos x="16" y="14"/>
                  </a:cxn>
                  <a:cxn ang="0">
                    <a:pos x="14" y="14"/>
                  </a:cxn>
                </a:cxnLst>
                <a:rect l="0" t="0" r="r" b="b"/>
                <a:pathLst>
                  <a:path w="18" h="14">
                    <a:moveTo>
                      <a:pt x="14" y="14"/>
                    </a:moveTo>
                    <a:lnTo>
                      <a:pt x="12" y="12"/>
                    </a:lnTo>
                    <a:lnTo>
                      <a:pt x="8" y="12"/>
                    </a:lnTo>
                    <a:lnTo>
                      <a:pt x="8" y="10"/>
                    </a:lnTo>
                    <a:lnTo>
                      <a:pt x="8" y="8"/>
                    </a:lnTo>
                    <a:lnTo>
                      <a:pt x="6" y="8"/>
                    </a:lnTo>
                    <a:lnTo>
                      <a:pt x="4" y="10"/>
                    </a:lnTo>
                    <a:lnTo>
                      <a:pt x="2" y="12"/>
                    </a:lnTo>
                    <a:lnTo>
                      <a:pt x="0" y="12"/>
                    </a:lnTo>
                    <a:lnTo>
                      <a:pt x="0" y="8"/>
                    </a:lnTo>
                    <a:lnTo>
                      <a:pt x="2" y="6"/>
                    </a:lnTo>
                    <a:lnTo>
                      <a:pt x="6" y="6"/>
                    </a:lnTo>
                    <a:lnTo>
                      <a:pt x="8" y="6"/>
                    </a:lnTo>
                    <a:lnTo>
                      <a:pt x="12" y="4"/>
                    </a:lnTo>
                    <a:lnTo>
                      <a:pt x="14" y="0"/>
                    </a:lnTo>
                    <a:lnTo>
                      <a:pt x="16" y="0"/>
                    </a:lnTo>
                    <a:lnTo>
                      <a:pt x="18" y="0"/>
                    </a:lnTo>
                    <a:lnTo>
                      <a:pt x="18" y="2"/>
                    </a:lnTo>
                    <a:lnTo>
                      <a:pt x="18" y="4"/>
                    </a:lnTo>
                    <a:lnTo>
                      <a:pt x="18" y="12"/>
                    </a:lnTo>
                    <a:lnTo>
                      <a:pt x="16" y="12"/>
                    </a:lnTo>
                    <a:lnTo>
                      <a:pt x="16" y="14"/>
                    </a:lnTo>
                    <a:lnTo>
                      <a:pt x="14"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2" name="Freeform 2009"/>
              <p:cNvSpPr>
                <a:spLocks/>
              </p:cNvSpPr>
              <p:nvPr/>
            </p:nvSpPr>
            <p:spPr bwMode="auto">
              <a:xfrm>
                <a:off x="2258" y="3586"/>
                <a:ext cx="22" cy="38"/>
              </a:xfrm>
              <a:custGeom>
                <a:avLst/>
                <a:gdLst/>
                <a:ahLst/>
                <a:cxnLst>
                  <a:cxn ang="0">
                    <a:pos x="16" y="38"/>
                  </a:cxn>
                  <a:cxn ang="0">
                    <a:pos x="14" y="38"/>
                  </a:cxn>
                  <a:cxn ang="0">
                    <a:pos x="14" y="34"/>
                  </a:cxn>
                  <a:cxn ang="0">
                    <a:pos x="12" y="30"/>
                  </a:cxn>
                  <a:cxn ang="0">
                    <a:pos x="12" y="26"/>
                  </a:cxn>
                  <a:cxn ang="0">
                    <a:pos x="12" y="24"/>
                  </a:cxn>
                  <a:cxn ang="0">
                    <a:pos x="8" y="22"/>
                  </a:cxn>
                  <a:cxn ang="0">
                    <a:pos x="6" y="22"/>
                  </a:cxn>
                  <a:cxn ang="0">
                    <a:pos x="4" y="22"/>
                  </a:cxn>
                  <a:cxn ang="0">
                    <a:pos x="2" y="22"/>
                  </a:cxn>
                  <a:cxn ang="0">
                    <a:pos x="2" y="20"/>
                  </a:cxn>
                  <a:cxn ang="0">
                    <a:pos x="4" y="18"/>
                  </a:cxn>
                  <a:cxn ang="0">
                    <a:pos x="6" y="18"/>
                  </a:cxn>
                  <a:cxn ang="0">
                    <a:pos x="8" y="18"/>
                  </a:cxn>
                  <a:cxn ang="0">
                    <a:pos x="10" y="16"/>
                  </a:cxn>
                  <a:cxn ang="0">
                    <a:pos x="8" y="16"/>
                  </a:cxn>
                  <a:cxn ang="0">
                    <a:pos x="2" y="18"/>
                  </a:cxn>
                  <a:cxn ang="0">
                    <a:pos x="2" y="16"/>
                  </a:cxn>
                  <a:cxn ang="0">
                    <a:pos x="0" y="4"/>
                  </a:cxn>
                  <a:cxn ang="0">
                    <a:pos x="2" y="2"/>
                  </a:cxn>
                  <a:cxn ang="0">
                    <a:pos x="8" y="0"/>
                  </a:cxn>
                  <a:cxn ang="0">
                    <a:pos x="10" y="0"/>
                  </a:cxn>
                  <a:cxn ang="0">
                    <a:pos x="12" y="8"/>
                  </a:cxn>
                  <a:cxn ang="0">
                    <a:pos x="14" y="8"/>
                  </a:cxn>
                  <a:cxn ang="0">
                    <a:pos x="14" y="12"/>
                  </a:cxn>
                  <a:cxn ang="0">
                    <a:pos x="14" y="14"/>
                  </a:cxn>
                  <a:cxn ang="0">
                    <a:pos x="14" y="16"/>
                  </a:cxn>
                  <a:cxn ang="0">
                    <a:pos x="16" y="18"/>
                  </a:cxn>
                  <a:cxn ang="0">
                    <a:pos x="16" y="20"/>
                  </a:cxn>
                  <a:cxn ang="0">
                    <a:pos x="18" y="22"/>
                  </a:cxn>
                  <a:cxn ang="0">
                    <a:pos x="20" y="28"/>
                  </a:cxn>
                  <a:cxn ang="0">
                    <a:pos x="22" y="32"/>
                  </a:cxn>
                  <a:cxn ang="0">
                    <a:pos x="20" y="32"/>
                  </a:cxn>
                  <a:cxn ang="0">
                    <a:pos x="16" y="36"/>
                  </a:cxn>
                  <a:cxn ang="0">
                    <a:pos x="16" y="38"/>
                  </a:cxn>
                </a:cxnLst>
                <a:rect l="0" t="0" r="r" b="b"/>
                <a:pathLst>
                  <a:path w="22" h="38">
                    <a:moveTo>
                      <a:pt x="16" y="38"/>
                    </a:moveTo>
                    <a:lnTo>
                      <a:pt x="14" y="38"/>
                    </a:lnTo>
                    <a:lnTo>
                      <a:pt x="14" y="34"/>
                    </a:lnTo>
                    <a:lnTo>
                      <a:pt x="12" y="30"/>
                    </a:lnTo>
                    <a:lnTo>
                      <a:pt x="12" y="26"/>
                    </a:lnTo>
                    <a:lnTo>
                      <a:pt x="12" y="24"/>
                    </a:lnTo>
                    <a:lnTo>
                      <a:pt x="8" y="22"/>
                    </a:lnTo>
                    <a:lnTo>
                      <a:pt x="6" y="22"/>
                    </a:lnTo>
                    <a:lnTo>
                      <a:pt x="4" y="22"/>
                    </a:lnTo>
                    <a:lnTo>
                      <a:pt x="2" y="22"/>
                    </a:lnTo>
                    <a:lnTo>
                      <a:pt x="2" y="20"/>
                    </a:lnTo>
                    <a:lnTo>
                      <a:pt x="4" y="18"/>
                    </a:lnTo>
                    <a:lnTo>
                      <a:pt x="6" y="18"/>
                    </a:lnTo>
                    <a:lnTo>
                      <a:pt x="8" y="18"/>
                    </a:lnTo>
                    <a:lnTo>
                      <a:pt x="10" y="16"/>
                    </a:lnTo>
                    <a:lnTo>
                      <a:pt x="8" y="16"/>
                    </a:lnTo>
                    <a:lnTo>
                      <a:pt x="2" y="18"/>
                    </a:lnTo>
                    <a:lnTo>
                      <a:pt x="2" y="16"/>
                    </a:lnTo>
                    <a:lnTo>
                      <a:pt x="0" y="4"/>
                    </a:lnTo>
                    <a:lnTo>
                      <a:pt x="2" y="2"/>
                    </a:lnTo>
                    <a:lnTo>
                      <a:pt x="8" y="0"/>
                    </a:lnTo>
                    <a:lnTo>
                      <a:pt x="10" y="0"/>
                    </a:lnTo>
                    <a:lnTo>
                      <a:pt x="12" y="8"/>
                    </a:lnTo>
                    <a:lnTo>
                      <a:pt x="14" y="8"/>
                    </a:lnTo>
                    <a:lnTo>
                      <a:pt x="14" y="12"/>
                    </a:lnTo>
                    <a:lnTo>
                      <a:pt x="14" y="14"/>
                    </a:lnTo>
                    <a:lnTo>
                      <a:pt x="14" y="16"/>
                    </a:lnTo>
                    <a:lnTo>
                      <a:pt x="16" y="18"/>
                    </a:lnTo>
                    <a:lnTo>
                      <a:pt x="16" y="20"/>
                    </a:lnTo>
                    <a:lnTo>
                      <a:pt x="18" y="22"/>
                    </a:lnTo>
                    <a:lnTo>
                      <a:pt x="20" y="28"/>
                    </a:lnTo>
                    <a:lnTo>
                      <a:pt x="22" y="32"/>
                    </a:lnTo>
                    <a:lnTo>
                      <a:pt x="20" y="32"/>
                    </a:lnTo>
                    <a:lnTo>
                      <a:pt x="16" y="36"/>
                    </a:lnTo>
                    <a:lnTo>
                      <a:pt x="16" y="3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3" name="Freeform 2010"/>
              <p:cNvSpPr>
                <a:spLocks/>
              </p:cNvSpPr>
              <p:nvPr/>
            </p:nvSpPr>
            <p:spPr bwMode="auto">
              <a:xfrm>
                <a:off x="2272" y="3590"/>
                <a:ext cx="18" cy="20"/>
              </a:xfrm>
              <a:custGeom>
                <a:avLst/>
                <a:gdLst/>
                <a:ahLst/>
                <a:cxnLst>
                  <a:cxn ang="0">
                    <a:pos x="10" y="20"/>
                  </a:cxn>
                  <a:cxn ang="0">
                    <a:pos x="8" y="20"/>
                  </a:cxn>
                  <a:cxn ang="0">
                    <a:pos x="2" y="8"/>
                  </a:cxn>
                  <a:cxn ang="0">
                    <a:pos x="0" y="2"/>
                  </a:cxn>
                  <a:cxn ang="0">
                    <a:pos x="0" y="0"/>
                  </a:cxn>
                  <a:cxn ang="0">
                    <a:pos x="2" y="0"/>
                  </a:cxn>
                  <a:cxn ang="0">
                    <a:pos x="8" y="0"/>
                  </a:cxn>
                  <a:cxn ang="0">
                    <a:pos x="10" y="2"/>
                  </a:cxn>
                  <a:cxn ang="0">
                    <a:pos x="12" y="4"/>
                  </a:cxn>
                  <a:cxn ang="0">
                    <a:pos x="18" y="4"/>
                  </a:cxn>
                  <a:cxn ang="0">
                    <a:pos x="18" y="6"/>
                  </a:cxn>
                  <a:cxn ang="0">
                    <a:pos x="18" y="8"/>
                  </a:cxn>
                  <a:cxn ang="0">
                    <a:pos x="16" y="14"/>
                  </a:cxn>
                  <a:cxn ang="0">
                    <a:pos x="16" y="16"/>
                  </a:cxn>
                  <a:cxn ang="0">
                    <a:pos x="14" y="16"/>
                  </a:cxn>
                  <a:cxn ang="0">
                    <a:pos x="12" y="16"/>
                  </a:cxn>
                  <a:cxn ang="0">
                    <a:pos x="12" y="18"/>
                  </a:cxn>
                  <a:cxn ang="0">
                    <a:pos x="10" y="18"/>
                  </a:cxn>
                  <a:cxn ang="0">
                    <a:pos x="10" y="20"/>
                  </a:cxn>
                </a:cxnLst>
                <a:rect l="0" t="0" r="r" b="b"/>
                <a:pathLst>
                  <a:path w="18" h="20">
                    <a:moveTo>
                      <a:pt x="10" y="20"/>
                    </a:moveTo>
                    <a:lnTo>
                      <a:pt x="8" y="20"/>
                    </a:lnTo>
                    <a:lnTo>
                      <a:pt x="2" y="8"/>
                    </a:lnTo>
                    <a:lnTo>
                      <a:pt x="0" y="2"/>
                    </a:lnTo>
                    <a:lnTo>
                      <a:pt x="0" y="0"/>
                    </a:lnTo>
                    <a:lnTo>
                      <a:pt x="2" y="0"/>
                    </a:lnTo>
                    <a:lnTo>
                      <a:pt x="8" y="0"/>
                    </a:lnTo>
                    <a:lnTo>
                      <a:pt x="10" y="2"/>
                    </a:lnTo>
                    <a:lnTo>
                      <a:pt x="12" y="4"/>
                    </a:lnTo>
                    <a:lnTo>
                      <a:pt x="18" y="4"/>
                    </a:lnTo>
                    <a:lnTo>
                      <a:pt x="18" y="6"/>
                    </a:lnTo>
                    <a:lnTo>
                      <a:pt x="18" y="8"/>
                    </a:lnTo>
                    <a:lnTo>
                      <a:pt x="16" y="14"/>
                    </a:lnTo>
                    <a:lnTo>
                      <a:pt x="16" y="16"/>
                    </a:lnTo>
                    <a:lnTo>
                      <a:pt x="14" y="16"/>
                    </a:lnTo>
                    <a:lnTo>
                      <a:pt x="12" y="16"/>
                    </a:lnTo>
                    <a:lnTo>
                      <a:pt x="12" y="18"/>
                    </a:lnTo>
                    <a:lnTo>
                      <a:pt x="10" y="18"/>
                    </a:lnTo>
                    <a:lnTo>
                      <a:pt x="10" y="2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4" name="Freeform 2011"/>
              <p:cNvSpPr>
                <a:spLocks/>
              </p:cNvSpPr>
              <p:nvPr/>
            </p:nvSpPr>
            <p:spPr bwMode="auto">
              <a:xfrm>
                <a:off x="2298" y="3592"/>
                <a:ext cx="10" cy="12"/>
              </a:xfrm>
              <a:custGeom>
                <a:avLst/>
                <a:gdLst/>
                <a:ahLst/>
                <a:cxnLst>
                  <a:cxn ang="0">
                    <a:pos x="4" y="12"/>
                  </a:cxn>
                  <a:cxn ang="0">
                    <a:pos x="2" y="12"/>
                  </a:cxn>
                  <a:cxn ang="0">
                    <a:pos x="0" y="6"/>
                  </a:cxn>
                  <a:cxn ang="0">
                    <a:pos x="0" y="4"/>
                  </a:cxn>
                  <a:cxn ang="0">
                    <a:pos x="0" y="2"/>
                  </a:cxn>
                  <a:cxn ang="0">
                    <a:pos x="2" y="0"/>
                  </a:cxn>
                  <a:cxn ang="0">
                    <a:pos x="4" y="2"/>
                  </a:cxn>
                  <a:cxn ang="0">
                    <a:pos x="8" y="6"/>
                  </a:cxn>
                  <a:cxn ang="0">
                    <a:pos x="10" y="6"/>
                  </a:cxn>
                  <a:cxn ang="0">
                    <a:pos x="8" y="8"/>
                  </a:cxn>
                  <a:cxn ang="0">
                    <a:pos x="8" y="10"/>
                  </a:cxn>
                  <a:cxn ang="0">
                    <a:pos x="4" y="12"/>
                  </a:cxn>
                </a:cxnLst>
                <a:rect l="0" t="0" r="r" b="b"/>
                <a:pathLst>
                  <a:path w="10" h="12">
                    <a:moveTo>
                      <a:pt x="4" y="12"/>
                    </a:moveTo>
                    <a:lnTo>
                      <a:pt x="2" y="12"/>
                    </a:lnTo>
                    <a:lnTo>
                      <a:pt x="0" y="6"/>
                    </a:lnTo>
                    <a:lnTo>
                      <a:pt x="0" y="4"/>
                    </a:lnTo>
                    <a:lnTo>
                      <a:pt x="0" y="2"/>
                    </a:lnTo>
                    <a:lnTo>
                      <a:pt x="2" y="0"/>
                    </a:lnTo>
                    <a:lnTo>
                      <a:pt x="4" y="2"/>
                    </a:lnTo>
                    <a:lnTo>
                      <a:pt x="8" y="6"/>
                    </a:lnTo>
                    <a:lnTo>
                      <a:pt x="10" y="6"/>
                    </a:lnTo>
                    <a:lnTo>
                      <a:pt x="8" y="8"/>
                    </a:lnTo>
                    <a:lnTo>
                      <a:pt x="8"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5" name="Freeform 2012"/>
              <p:cNvSpPr>
                <a:spLocks/>
              </p:cNvSpPr>
              <p:nvPr/>
            </p:nvSpPr>
            <p:spPr bwMode="auto">
              <a:xfrm>
                <a:off x="2280" y="3592"/>
                <a:ext cx="24" cy="30"/>
              </a:xfrm>
              <a:custGeom>
                <a:avLst/>
                <a:gdLst/>
                <a:ahLst/>
                <a:cxnLst>
                  <a:cxn ang="0">
                    <a:pos x="18" y="30"/>
                  </a:cxn>
                  <a:cxn ang="0">
                    <a:pos x="12" y="28"/>
                  </a:cxn>
                  <a:cxn ang="0">
                    <a:pos x="10" y="28"/>
                  </a:cxn>
                  <a:cxn ang="0">
                    <a:pos x="6" y="26"/>
                  </a:cxn>
                  <a:cxn ang="0">
                    <a:pos x="2" y="26"/>
                  </a:cxn>
                  <a:cxn ang="0">
                    <a:pos x="2" y="24"/>
                  </a:cxn>
                  <a:cxn ang="0">
                    <a:pos x="0" y="22"/>
                  </a:cxn>
                  <a:cxn ang="0">
                    <a:pos x="2" y="20"/>
                  </a:cxn>
                  <a:cxn ang="0">
                    <a:pos x="4" y="16"/>
                  </a:cxn>
                  <a:cxn ang="0">
                    <a:pos x="6" y="16"/>
                  </a:cxn>
                  <a:cxn ang="0">
                    <a:pos x="8" y="16"/>
                  </a:cxn>
                  <a:cxn ang="0">
                    <a:pos x="10" y="16"/>
                  </a:cxn>
                  <a:cxn ang="0">
                    <a:pos x="10" y="18"/>
                  </a:cxn>
                  <a:cxn ang="0">
                    <a:pos x="12" y="20"/>
                  </a:cxn>
                  <a:cxn ang="0">
                    <a:pos x="14" y="18"/>
                  </a:cxn>
                  <a:cxn ang="0">
                    <a:pos x="14" y="16"/>
                  </a:cxn>
                  <a:cxn ang="0">
                    <a:pos x="12" y="16"/>
                  </a:cxn>
                  <a:cxn ang="0">
                    <a:pos x="10" y="14"/>
                  </a:cxn>
                  <a:cxn ang="0">
                    <a:pos x="10" y="10"/>
                  </a:cxn>
                  <a:cxn ang="0">
                    <a:pos x="12" y="2"/>
                  </a:cxn>
                  <a:cxn ang="0">
                    <a:pos x="12" y="0"/>
                  </a:cxn>
                  <a:cxn ang="0">
                    <a:pos x="14" y="2"/>
                  </a:cxn>
                  <a:cxn ang="0">
                    <a:pos x="14" y="4"/>
                  </a:cxn>
                  <a:cxn ang="0">
                    <a:pos x="14" y="6"/>
                  </a:cxn>
                  <a:cxn ang="0">
                    <a:pos x="14" y="10"/>
                  </a:cxn>
                  <a:cxn ang="0">
                    <a:pos x="18" y="16"/>
                  </a:cxn>
                  <a:cxn ang="0">
                    <a:pos x="18" y="18"/>
                  </a:cxn>
                  <a:cxn ang="0">
                    <a:pos x="18" y="22"/>
                  </a:cxn>
                  <a:cxn ang="0">
                    <a:pos x="18" y="24"/>
                  </a:cxn>
                  <a:cxn ang="0">
                    <a:pos x="20" y="26"/>
                  </a:cxn>
                  <a:cxn ang="0">
                    <a:pos x="22" y="26"/>
                  </a:cxn>
                  <a:cxn ang="0">
                    <a:pos x="22" y="24"/>
                  </a:cxn>
                  <a:cxn ang="0">
                    <a:pos x="24" y="24"/>
                  </a:cxn>
                  <a:cxn ang="0">
                    <a:pos x="24" y="26"/>
                  </a:cxn>
                  <a:cxn ang="0">
                    <a:pos x="24" y="28"/>
                  </a:cxn>
                  <a:cxn ang="0">
                    <a:pos x="22" y="28"/>
                  </a:cxn>
                  <a:cxn ang="0">
                    <a:pos x="22" y="30"/>
                  </a:cxn>
                  <a:cxn ang="0">
                    <a:pos x="20" y="30"/>
                  </a:cxn>
                  <a:cxn ang="0">
                    <a:pos x="18" y="30"/>
                  </a:cxn>
                </a:cxnLst>
                <a:rect l="0" t="0" r="r" b="b"/>
                <a:pathLst>
                  <a:path w="24" h="30">
                    <a:moveTo>
                      <a:pt x="18" y="30"/>
                    </a:moveTo>
                    <a:lnTo>
                      <a:pt x="12" y="28"/>
                    </a:lnTo>
                    <a:lnTo>
                      <a:pt x="10" y="28"/>
                    </a:lnTo>
                    <a:lnTo>
                      <a:pt x="6" y="26"/>
                    </a:lnTo>
                    <a:lnTo>
                      <a:pt x="2" y="26"/>
                    </a:lnTo>
                    <a:lnTo>
                      <a:pt x="2" y="24"/>
                    </a:lnTo>
                    <a:lnTo>
                      <a:pt x="0" y="22"/>
                    </a:lnTo>
                    <a:lnTo>
                      <a:pt x="2" y="20"/>
                    </a:lnTo>
                    <a:lnTo>
                      <a:pt x="4" y="16"/>
                    </a:lnTo>
                    <a:lnTo>
                      <a:pt x="6" y="16"/>
                    </a:lnTo>
                    <a:lnTo>
                      <a:pt x="8" y="16"/>
                    </a:lnTo>
                    <a:lnTo>
                      <a:pt x="10" y="16"/>
                    </a:lnTo>
                    <a:lnTo>
                      <a:pt x="10" y="18"/>
                    </a:lnTo>
                    <a:lnTo>
                      <a:pt x="12" y="20"/>
                    </a:lnTo>
                    <a:lnTo>
                      <a:pt x="14" y="18"/>
                    </a:lnTo>
                    <a:lnTo>
                      <a:pt x="14" y="16"/>
                    </a:lnTo>
                    <a:lnTo>
                      <a:pt x="12" y="16"/>
                    </a:lnTo>
                    <a:lnTo>
                      <a:pt x="10" y="14"/>
                    </a:lnTo>
                    <a:lnTo>
                      <a:pt x="10" y="10"/>
                    </a:lnTo>
                    <a:lnTo>
                      <a:pt x="12" y="2"/>
                    </a:lnTo>
                    <a:lnTo>
                      <a:pt x="12" y="0"/>
                    </a:lnTo>
                    <a:lnTo>
                      <a:pt x="14" y="2"/>
                    </a:lnTo>
                    <a:lnTo>
                      <a:pt x="14" y="4"/>
                    </a:lnTo>
                    <a:lnTo>
                      <a:pt x="14" y="6"/>
                    </a:lnTo>
                    <a:lnTo>
                      <a:pt x="14" y="10"/>
                    </a:lnTo>
                    <a:lnTo>
                      <a:pt x="18" y="16"/>
                    </a:lnTo>
                    <a:lnTo>
                      <a:pt x="18" y="18"/>
                    </a:lnTo>
                    <a:lnTo>
                      <a:pt x="18" y="22"/>
                    </a:lnTo>
                    <a:lnTo>
                      <a:pt x="18" y="24"/>
                    </a:lnTo>
                    <a:lnTo>
                      <a:pt x="20" y="26"/>
                    </a:lnTo>
                    <a:lnTo>
                      <a:pt x="22" y="26"/>
                    </a:lnTo>
                    <a:lnTo>
                      <a:pt x="22" y="24"/>
                    </a:lnTo>
                    <a:lnTo>
                      <a:pt x="24" y="24"/>
                    </a:lnTo>
                    <a:lnTo>
                      <a:pt x="24" y="26"/>
                    </a:lnTo>
                    <a:lnTo>
                      <a:pt x="24" y="28"/>
                    </a:lnTo>
                    <a:lnTo>
                      <a:pt x="22" y="28"/>
                    </a:lnTo>
                    <a:lnTo>
                      <a:pt x="22" y="30"/>
                    </a:lnTo>
                    <a:lnTo>
                      <a:pt x="20" y="30"/>
                    </a:lnTo>
                    <a:lnTo>
                      <a:pt x="18" y="3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6" name="Freeform 2013"/>
              <p:cNvSpPr>
                <a:spLocks/>
              </p:cNvSpPr>
              <p:nvPr/>
            </p:nvSpPr>
            <p:spPr bwMode="auto">
              <a:xfrm>
                <a:off x="2302" y="3600"/>
                <a:ext cx="12" cy="10"/>
              </a:xfrm>
              <a:custGeom>
                <a:avLst/>
                <a:gdLst/>
                <a:ahLst/>
                <a:cxnLst>
                  <a:cxn ang="0">
                    <a:pos x="10" y="10"/>
                  </a:cxn>
                  <a:cxn ang="0">
                    <a:pos x="8" y="10"/>
                  </a:cxn>
                  <a:cxn ang="0">
                    <a:pos x="8" y="8"/>
                  </a:cxn>
                  <a:cxn ang="0">
                    <a:pos x="6" y="8"/>
                  </a:cxn>
                  <a:cxn ang="0">
                    <a:pos x="4" y="6"/>
                  </a:cxn>
                  <a:cxn ang="0">
                    <a:pos x="2" y="6"/>
                  </a:cxn>
                  <a:cxn ang="0">
                    <a:pos x="0" y="4"/>
                  </a:cxn>
                  <a:cxn ang="0">
                    <a:pos x="6" y="0"/>
                  </a:cxn>
                  <a:cxn ang="0">
                    <a:pos x="8" y="0"/>
                  </a:cxn>
                  <a:cxn ang="0">
                    <a:pos x="8" y="2"/>
                  </a:cxn>
                  <a:cxn ang="0">
                    <a:pos x="8" y="4"/>
                  </a:cxn>
                  <a:cxn ang="0">
                    <a:pos x="10" y="6"/>
                  </a:cxn>
                  <a:cxn ang="0">
                    <a:pos x="10" y="8"/>
                  </a:cxn>
                  <a:cxn ang="0">
                    <a:pos x="12" y="8"/>
                  </a:cxn>
                  <a:cxn ang="0">
                    <a:pos x="12" y="10"/>
                  </a:cxn>
                  <a:cxn ang="0">
                    <a:pos x="10" y="10"/>
                  </a:cxn>
                </a:cxnLst>
                <a:rect l="0" t="0" r="r" b="b"/>
                <a:pathLst>
                  <a:path w="12" h="10">
                    <a:moveTo>
                      <a:pt x="10" y="10"/>
                    </a:moveTo>
                    <a:lnTo>
                      <a:pt x="8" y="10"/>
                    </a:lnTo>
                    <a:lnTo>
                      <a:pt x="8" y="8"/>
                    </a:lnTo>
                    <a:lnTo>
                      <a:pt x="6" y="8"/>
                    </a:lnTo>
                    <a:lnTo>
                      <a:pt x="4" y="6"/>
                    </a:lnTo>
                    <a:lnTo>
                      <a:pt x="2" y="6"/>
                    </a:lnTo>
                    <a:lnTo>
                      <a:pt x="0" y="4"/>
                    </a:lnTo>
                    <a:lnTo>
                      <a:pt x="6" y="0"/>
                    </a:lnTo>
                    <a:lnTo>
                      <a:pt x="8" y="0"/>
                    </a:lnTo>
                    <a:lnTo>
                      <a:pt x="8" y="2"/>
                    </a:lnTo>
                    <a:lnTo>
                      <a:pt x="8" y="4"/>
                    </a:lnTo>
                    <a:lnTo>
                      <a:pt x="10" y="6"/>
                    </a:lnTo>
                    <a:lnTo>
                      <a:pt x="10" y="8"/>
                    </a:lnTo>
                    <a:lnTo>
                      <a:pt x="12" y="8"/>
                    </a:lnTo>
                    <a:lnTo>
                      <a:pt x="12" y="10"/>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7" name="Freeform 2014"/>
              <p:cNvSpPr>
                <a:spLocks/>
              </p:cNvSpPr>
              <p:nvPr/>
            </p:nvSpPr>
            <p:spPr bwMode="auto">
              <a:xfrm>
                <a:off x="2312" y="3604"/>
                <a:ext cx="8" cy="8"/>
              </a:xfrm>
              <a:custGeom>
                <a:avLst/>
                <a:gdLst/>
                <a:ahLst/>
                <a:cxnLst>
                  <a:cxn ang="0">
                    <a:pos x="8" y="8"/>
                  </a:cxn>
                  <a:cxn ang="0">
                    <a:pos x="6" y="8"/>
                  </a:cxn>
                  <a:cxn ang="0">
                    <a:pos x="4" y="6"/>
                  </a:cxn>
                  <a:cxn ang="0">
                    <a:pos x="0" y="2"/>
                  </a:cxn>
                  <a:cxn ang="0">
                    <a:pos x="2" y="0"/>
                  </a:cxn>
                  <a:cxn ang="0">
                    <a:pos x="4" y="0"/>
                  </a:cxn>
                  <a:cxn ang="0">
                    <a:pos x="8" y="4"/>
                  </a:cxn>
                  <a:cxn ang="0">
                    <a:pos x="8" y="6"/>
                  </a:cxn>
                  <a:cxn ang="0">
                    <a:pos x="8" y="8"/>
                  </a:cxn>
                </a:cxnLst>
                <a:rect l="0" t="0" r="r" b="b"/>
                <a:pathLst>
                  <a:path w="8" h="8">
                    <a:moveTo>
                      <a:pt x="8" y="8"/>
                    </a:moveTo>
                    <a:lnTo>
                      <a:pt x="6" y="8"/>
                    </a:lnTo>
                    <a:lnTo>
                      <a:pt x="4" y="6"/>
                    </a:lnTo>
                    <a:lnTo>
                      <a:pt x="0" y="2"/>
                    </a:lnTo>
                    <a:lnTo>
                      <a:pt x="2" y="0"/>
                    </a:lnTo>
                    <a:lnTo>
                      <a:pt x="4" y="0"/>
                    </a:lnTo>
                    <a:lnTo>
                      <a:pt x="8" y="4"/>
                    </a:lnTo>
                    <a:lnTo>
                      <a:pt x="8" y="6"/>
                    </a:lnTo>
                    <a:lnTo>
                      <a:pt x="8"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8" name="Freeform 2015"/>
              <p:cNvSpPr>
                <a:spLocks/>
              </p:cNvSpPr>
              <p:nvPr/>
            </p:nvSpPr>
            <p:spPr bwMode="auto">
              <a:xfrm>
                <a:off x="2302" y="3606"/>
                <a:ext cx="8" cy="8"/>
              </a:xfrm>
              <a:custGeom>
                <a:avLst/>
                <a:gdLst/>
                <a:ahLst/>
                <a:cxnLst>
                  <a:cxn ang="0">
                    <a:pos x="4" y="8"/>
                  </a:cxn>
                  <a:cxn ang="0">
                    <a:pos x="2" y="6"/>
                  </a:cxn>
                  <a:cxn ang="0">
                    <a:pos x="0" y="4"/>
                  </a:cxn>
                  <a:cxn ang="0">
                    <a:pos x="0" y="2"/>
                  </a:cxn>
                  <a:cxn ang="0">
                    <a:pos x="0" y="0"/>
                  </a:cxn>
                  <a:cxn ang="0">
                    <a:pos x="2" y="0"/>
                  </a:cxn>
                  <a:cxn ang="0">
                    <a:pos x="2" y="2"/>
                  </a:cxn>
                  <a:cxn ang="0">
                    <a:pos x="6" y="2"/>
                  </a:cxn>
                  <a:cxn ang="0">
                    <a:pos x="8" y="4"/>
                  </a:cxn>
                  <a:cxn ang="0">
                    <a:pos x="8" y="6"/>
                  </a:cxn>
                  <a:cxn ang="0">
                    <a:pos x="6" y="8"/>
                  </a:cxn>
                  <a:cxn ang="0">
                    <a:pos x="4" y="8"/>
                  </a:cxn>
                </a:cxnLst>
                <a:rect l="0" t="0" r="r" b="b"/>
                <a:pathLst>
                  <a:path w="8" h="8">
                    <a:moveTo>
                      <a:pt x="4" y="8"/>
                    </a:moveTo>
                    <a:lnTo>
                      <a:pt x="2" y="6"/>
                    </a:lnTo>
                    <a:lnTo>
                      <a:pt x="0" y="4"/>
                    </a:lnTo>
                    <a:lnTo>
                      <a:pt x="0" y="2"/>
                    </a:lnTo>
                    <a:lnTo>
                      <a:pt x="0" y="0"/>
                    </a:lnTo>
                    <a:lnTo>
                      <a:pt x="2" y="0"/>
                    </a:lnTo>
                    <a:lnTo>
                      <a:pt x="2" y="2"/>
                    </a:lnTo>
                    <a:lnTo>
                      <a:pt x="6" y="2"/>
                    </a:lnTo>
                    <a:lnTo>
                      <a:pt x="8" y="4"/>
                    </a:lnTo>
                    <a:lnTo>
                      <a:pt x="8" y="6"/>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29" name="Freeform 2016"/>
              <p:cNvSpPr>
                <a:spLocks/>
              </p:cNvSpPr>
              <p:nvPr/>
            </p:nvSpPr>
            <p:spPr bwMode="auto">
              <a:xfrm>
                <a:off x="2254" y="3608"/>
                <a:ext cx="16" cy="16"/>
              </a:xfrm>
              <a:custGeom>
                <a:avLst/>
                <a:gdLst/>
                <a:ahLst/>
                <a:cxnLst>
                  <a:cxn ang="0">
                    <a:pos x="4" y="14"/>
                  </a:cxn>
                  <a:cxn ang="0">
                    <a:pos x="6" y="14"/>
                  </a:cxn>
                  <a:cxn ang="0">
                    <a:pos x="8" y="14"/>
                  </a:cxn>
                  <a:cxn ang="0">
                    <a:pos x="10" y="12"/>
                  </a:cxn>
                  <a:cxn ang="0">
                    <a:pos x="10" y="10"/>
                  </a:cxn>
                  <a:cxn ang="0">
                    <a:pos x="8" y="12"/>
                  </a:cxn>
                  <a:cxn ang="0">
                    <a:pos x="6" y="12"/>
                  </a:cxn>
                  <a:cxn ang="0">
                    <a:pos x="4" y="12"/>
                  </a:cxn>
                  <a:cxn ang="0">
                    <a:pos x="2" y="10"/>
                  </a:cxn>
                  <a:cxn ang="0">
                    <a:pos x="0" y="10"/>
                  </a:cxn>
                  <a:cxn ang="0">
                    <a:pos x="2" y="4"/>
                  </a:cxn>
                  <a:cxn ang="0">
                    <a:pos x="2" y="2"/>
                  </a:cxn>
                  <a:cxn ang="0">
                    <a:pos x="4" y="2"/>
                  </a:cxn>
                  <a:cxn ang="0">
                    <a:pos x="12" y="0"/>
                  </a:cxn>
                  <a:cxn ang="0">
                    <a:pos x="14" y="2"/>
                  </a:cxn>
                  <a:cxn ang="0">
                    <a:pos x="16" y="10"/>
                  </a:cxn>
                  <a:cxn ang="0">
                    <a:pos x="14" y="12"/>
                  </a:cxn>
                  <a:cxn ang="0">
                    <a:pos x="12" y="12"/>
                  </a:cxn>
                  <a:cxn ang="0">
                    <a:pos x="10" y="14"/>
                  </a:cxn>
                  <a:cxn ang="0">
                    <a:pos x="8" y="14"/>
                  </a:cxn>
                  <a:cxn ang="0">
                    <a:pos x="8" y="16"/>
                  </a:cxn>
                  <a:cxn ang="0">
                    <a:pos x="6" y="16"/>
                  </a:cxn>
                  <a:cxn ang="0">
                    <a:pos x="4" y="16"/>
                  </a:cxn>
                  <a:cxn ang="0">
                    <a:pos x="4" y="14"/>
                  </a:cxn>
                </a:cxnLst>
                <a:rect l="0" t="0" r="r" b="b"/>
                <a:pathLst>
                  <a:path w="16" h="16">
                    <a:moveTo>
                      <a:pt x="4" y="14"/>
                    </a:moveTo>
                    <a:lnTo>
                      <a:pt x="6" y="14"/>
                    </a:lnTo>
                    <a:lnTo>
                      <a:pt x="8" y="14"/>
                    </a:lnTo>
                    <a:lnTo>
                      <a:pt x="10" y="12"/>
                    </a:lnTo>
                    <a:lnTo>
                      <a:pt x="10" y="10"/>
                    </a:lnTo>
                    <a:lnTo>
                      <a:pt x="8" y="12"/>
                    </a:lnTo>
                    <a:lnTo>
                      <a:pt x="6" y="12"/>
                    </a:lnTo>
                    <a:lnTo>
                      <a:pt x="4" y="12"/>
                    </a:lnTo>
                    <a:lnTo>
                      <a:pt x="2" y="10"/>
                    </a:lnTo>
                    <a:lnTo>
                      <a:pt x="0" y="10"/>
                    </a:lnTo>
                    <a:lnTo>
                      <a:pt x="2" y="4"/>
                    </a:lnTo>
                    <a:lnTo>
                      <a:pt x="2" y="2"/>
                    </a:lnTo>
                    <a:lnTo>
                      <a:pt x="4" y="2"/>
                    </a:lnTo>
                    <a:lnTo>
                      <a:pt x="12" y="0"/>
                    </a:lnTo>
                    <a:lnTo>
                      <a:pt x="14" y="2"/>
                    </a:lnTo>
                    <a:lnTo>
                      <a:pt x="16" y="10"/>
                    </a:lnTo>
                    <a:lnTo>
                      <a:pt x="14" y="12"/>
                    </a:lnTo>
                    <a:lnTo>
                      <a:pt x="12" y="12"/>
                    </a:lnTo>
                    <a:lnTo>
                      <a:pt x="10" y="14"/>
                    </a:lnTo>
                    <a:lnTo>
                      <a:pt x="8" y="14"/>
                    </a:lnTo>
                    <a:lnTo>
                      <a:pt x="8" y="16"/>
                    </a:lnTo>
                    <a:lnTo>
                      <a:pt x="6" y="16"/>
                    </a:lnTo>
                    <a:lnTo>
                      <a:pt x="4" y="16"/>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0" name="Freeform 2017"/>
              <p:cNvSpPr>
                <a:spLocks/>
              </p:cNvSpPr>
              <p:nvPr/>
            </p:nvSpPr>
            <p:spPr bwMode="auto">
              <a:xfrm>
                <a:off x="2256" y="3620"/>
                <a:ext cx="16" cy="10"/>
              </a:xfrm>
              <a:custGeom>
                <a:avLst/>
                <a:gdLst/>
                <a:ahLst/>
                <a:cxnLst>
                  <a:cxn ang="0">
                    <a:pos x="2" y="10"/>
                  </a:cxn>
                  <a:cxn ang="0">
                    <a:pos x="2" y="8"/>
                  </a:cxn>
                  <a:cxn ang="0">
                    <a:pos x="0" y="8"/>
                  </a:cxn>
                  <a:cxn ang="0">
                    <a:pos x="0" y="4"/>
                  </a:cxn>
                  <a:cxn ang="0">
                    <a:pos x="2" y="4"/>
                  </a:cxn>
                  <a:cxn ang="0">
                    <a:pos x="4" y="4"/>
                  </a:cxn>
                  <a:cxn ang="0">
                    <a:pos x="6" y="4"/>
                  </a:cxn>
                  <a:cxn ang="0">
                    <a:pos x="10" y="2"/>
                  </a:cxn>
                  <a:cxn ang="0">
                    <a:pos x="12" y="0"/>
                  </a:cxn>
                  <a:cxn ang="0">
                    <a:pos x="14" y="0"/>
                  </a:cxn>
                  <a:cxn ang="0">
                    <a:pos x="16" y="2"/>
                  </a:cxn>
                  <a:cxn ang="0">
                    <a:pos x="16" y="4"/>
                  </a:cxn>
                  <a:cxn ang="0">
                    <a:pos x="14" y="4"/>
                  </a:cxn>
                  <a:cxn ang="0">
                    <a:pos x="14" y="6"/>
                  </a:cxn>
                  <a:cxn ang="0">
                    <a:pos x="6" y="8"/>
                  </a:cxn>
                  <a:cxn ang="0">
                    <a:pos x="2" y="10"/>
                  </a:cxn>
                </a:cxnLst>
                <a:rect l="0" t="0" r="r" b="b"/>
                <a:pathLst>
                  <a:path w="16" h="10">
                    <a:moveTo>
                      <a:pt x="2" y="10"/>
                    </a:moveTo>
                    <a:lnTo>
                      <a:pt x="2" y="8"/>
                    </a:lnTo>
                    <a:lnTo>
                      <a:pt x="0" y="8"/>
                    </a:lnTo>
                    <a:lnTo>
                      <a:pt x="0" y="4"/>
                    </a:lnTo>
                    <a:lnTo>
                      <a:pt x="2" y="4"/>
                    </a:lnTo>
                    <a:lnTo>
                      <a:pt x="4" y="4"/>
                    </a:lnTo>
                    <a:lnTo>
                      <a:pt x="6" y="4"/>
                    </a:lnTo>
                    <a:lnTo>
                      <a:pt x="10" y="2"/>
                    </a:lnTo>
                    <a:lnTo>
                      <a:pt x="12" y="0"/>
                    </a:lnTo>
                    <a:lnTo>
                      <a:pt x="14" y="0"/>
                    </a:lnTo>
                    <a:lnTo>
                      <a:pt x="16" y="2"/>
                    </a:lnTo>
                    <a:lnTo>
                      <a:pt x="16" y="4"/>
                    </a:lnTo>
                    <a:lnTo>
                      <a:pt x="14" y="4"/>
                    </a:lnTo>
                    <a:lnTo>
                      <a:pt x="14" y="6"/>
                    </a:lnTo>
                    <a:lnTo>
                      <a:pt x="6"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1" name="Freeform 2018"/>
              <p:cNvSpPr>
                <a:spLocks/>
              </p:cNvSpPr>
              <p:nvPr/>
            </p:nvSpPr>
            <p:spPr bwMode="auto">
              <a:xfrm>
                <a:off x="2272" y="3620"/>
                <a:ext cx="8" cy="10"/>
              </a:xfrm>
              <a:custGeom>
                <a:avLst/>
                <a:gdLst/>
                <a:ahLst/>
                <a:cxnLst>
                  <a:cxn ang="0">
                    <a:pos x="6" y="10"/>
                  </a:cxn>
                  <a:cxn ang="0">
                    <a:pos x="4" y="10"/>
                  </a:cxn>
                  <a:cxn ang="0">
                    <a:pos x="0" y="8"/>
                  </a:cxn>
                  <a:cxn ang="0">
                    <a:pos x="2" y="4"/>
                  </a:cxn>
                  <a:cxn ang="0">
                    <a:pos x="6" y="0"/>
                  </a:cxn>
                  <a:cxn ang="0">
                    <a:pos x="8" y="0"/>
                  </a:cxn>
                  <a:cxn ang="0">
                    <a:pos x="8" y="2"/>
                  </a:cxn>
                  <a:cxn ang="0">
                    <a:pos x="8" y="4"/>
                  </a:cxn>
                  <a:cxn ang="0">
                    <a:pos x="8" y="8"/>
                  </a:cxn>
                  <a:cxn ang="0">
                    <a:pos x="6" y="10"/>
                  </a:cxn>
                </a:cxnLst>
                <a:rect l="0" t="0" r="r" b="b"/>
                <a:pathLst>
                  <a:path w="8" h="10">
                    <a:moveTo>
                      <a:pt x="6" y="10"/>
                    </a:moveTo>
                    <a:lnTo>
                      <a:pt x="4" y="10"/>
                    </a:lnTo>
                    <a:lnTo>
                      <a:pt x="0" y="8"/>
                    </a:lnTo>
                    <a:lnTo>
                      <a:pt x="2" y="4"/>
                    </a:lnTo>
                    <a:lnTo>
                      <a:pt x="6" y="0"/>
                    </a:lnTo>
                    <a:lnTo>
                      <a:pt x="8" y="0"/>
                    </a:lnTo>
                    <a:lnTo>
                      <a:pt x="8" y="2"/>
                    </a:lnTo>
                    <a:lnTo>
                      <a:pt x="8" y="4"/>
                    </a:lnTo>
                    <a:lnTo>
                      <a:pt x="8"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2" name="Freeform 2019"/>
              <p:cNvSpPr>
                <a:spLocks/>
              </p:cNvSpPr>
              <p:nvPr/>
            </p:nvSpPr>
            <p:spPr bwMode="auto">
              <a:xfrm>
                <a:off x="2280" y="3620"/>
                <a:ext cx="10" cy="6"/>
              </a:xfrm>
              <a:custGeom>
                <a:avLst/>
                <a:gdLst/>
                <a:ahLst/>
                <a:cxnLst>
                  <a:cxn ang="0">
                    <a:pos x="2" y="6"/>
                  </a:cxn>
                  <a:cxn ang="0">
                    <a:pos x="0" y="6"/>
                  </a:cxn>
                  <a:cxn ang="0">
                    <a:pos x="0" y="4"/>
                  </a:cxn>
                  <a:cxn ang="0">
                    <a:pos x="2" y="2"/>
                  </a:cxn>
                  <a:cxn ang="0">
                    <a:pos x="2" y="0"/>
                  </a:cxn>
                  <a:cxn ang="0">
                    <a:pos x="6" y="0"/>
                  </a:cxn>
                  <a:cxn ang="0">
                    <a:pos x="8" y="0"/>
                  </a:cxn>
                  <a:cxn ang="0">
                    <a:pos x="10" y="0"/>
                  </a:cxn>
                  <a:cxn ang="0">
                    <a:pos x="6" y="4"/>
                  </a:cxn>
                  <a:cxn ang="0">
                    <a:pos x="4" y="6"/>
                  </a:cxn>
                  <a:cxn ang="0">
                    <a:pos x="2" y="6"/>
                  </a:cxn>
                </a:cxnLst>
                <a:rect l="0" t="0" r="r" b="b"/>
                <a:pathLst>
                  <a:path w="10" h="6">
                    <a:moveTo>
                      <a:pt x="2" y="6"/>
                    </a:moveTo>
                    <a:lnTo>
                      <a:pt x="0" y="6"/>
                    </a:lnTo>
                    <a:lnTo>
                      <a:pt x="0" y="4"/>
                    </a:lnTo>
                    <a:lnTo>
                      <a:pt x="2" y="2"/>
                    </a:lnTo>
                    <a:lnTo>
                      <a:pt x="2" y="0"/>
                    </a:lnTo>
                    <a:lnTo>
                      <a:pt x="6" y="0"/>
                    </a:lnTo>
                    <a:lnTo>
                      <a:pt x="8" y="0"/>
                    </a:lnTo>
                    <a:lnTo>
                      <a:pt x="10" y="0"/>
                    </a:lnTo>
                    <a:lnTo>
                      <a:pt x="6" y="4"/>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3" name="Freeform 2020"/>
              <p:cNvSpPr>
                <a:spLocks/>
              </p:cNvSpPr>
              <p:nvPr/>
            </p:nvSpPr>
            <p:spPr bwMode="auto">
              <a:xfrm>
                <a:off x="2264" y="3622"/>
                <a:ext cx="44" cy="74"/>
              </a:xfrm>
              <a:custGeom>
                <a:avLst/>
                <a:gdLst/>
                <a:ahLst/>
                <a:cxnLst>
                  <a:cxn ang="0">
                    <a:pos x="12" y="44"/>
                  </a:cxn>
                  <a:cxn ang="0">
                    <a:pos x="10" y="40"/>
                  </a:cxn>
                  <a:cxn ang="0">
                    <a:pos x="8" y="38"/>
                  </a:cxn>
                  <a:cxn ang="0">
                    <a:pos x="6" y="32"/>
                  </a:cxn>
                  <a:cxn ang="0">
                    <a:pos x="12" y="36"/>
                  </a:cxn>
                  <a:cxn ang="0">
                    <a:pos x="16" y="32"/>
                  </a:cxn>
                  <a:cxn ang="0">
                    <a:pos x="16" y="28"/>
                  </a:cxn>
                  <a:cxn ang="0">
                    <a:pos x="20" y="32"/>
                  </a:cxn>
                  <a:cxn ang="0">
                    <a:pos x="24" y="32"/>
                  </a:cxn>
                  <a:cxn ang="0">
                    <a:pos x="24" y="20"/>
                  </a:cxn>
                  <a:cxn ang="0">
                    <a:pos x="20" y="16"/>
                  </a:cxn>
                  <a:cxn ang="0">
                    <a:pos x="16" y="10"/>
                  </a:cxn>
                  <a:cxn ang="0">
                    <a:pos x="20" y="4"/>
                  </a:cxn>
                  <a:cxn ang="0">
                    <a:pos x="28" y="0"/>
                  </a:cxn>
                  <a:cxn ang="0">
                    <a:pos x="38" y="4"/>
                  </a:cxn>
                  <a:cxn ang="0">
                    <a:pos x="40" y="14"/>
                  </a:cxn>
                  <a:cxn ang="0">
                    <a:pos x="40" y="22"/>
                  </a:cxn>
                  <a:cxn ang="0">
                    <a:pos x="42" y="30"/>
                  </a:cxn>
                  <a:cxn ang="0">
                    <a:pos x="42" y="40"/>
                  </a:cxn>
                  <a:cxn ang="0">
                    <a:pos x="38" y="46"/>
                  </a:cxn>
                  <a:cxn ang="0">
                    <a:pos x="38" y="50"/>
                  </a:cxn>
                  <a:cxn ang="0">
                    <a:pos x="36" y="56"/>
                  </a:cxn>
                  <a:cxn ang="0">
                    <a:pos x="38" y="52"/>
                  </a:cxn>
                  <a:cxn ang="0">
                    <a:pos x="42" y="52"/>
                  </a:cxn>
                  <a:cxn ang="0">
                    <a:pos x="44" y="58"/>
                  </a:cxn>
                  <a:cxn ang="0">
                    <a:pos x="38" y="70"/>
                  </a:cxn>
                  <a:cxn ang="0">
                    <a:pos x="34" y="74"/>
                  </a:cxn>
                  <a:cxn ang="0">
                    <a:pos x="26" y="72"/>
                  </a:cxn>
                  <a:cxn ang="0">
                    <a:pos x="28" y="68"/>
                  </a:cxn>
                  <a:cxn ang="0">
                    <a:pos x="32" y="68"/>
                  </a:cxn>
                  <a:cxn ang="0">
                    <a:pos x="32" y="66"/>
                  </a:cxn>
                  <a:cxn ang="0">
                    <a:pos x="30" y="68"/>
                  </a:cxn>
                  <a:cxn ang="0">
                    <a:pos x="24" y="68"/>
                  </a:cxn>
                  <a:cxn ang="0">
                    <a:pos x="26" y="60"/>
                  </a:cxn>
                  <a:cxn ang="0">
                    <a:pos x="24" y="46"/>
                  </a:cxn>
                  <a:cxn ang="0">
                    <a:pos x="28" y="44"/>
                  </a:cxn>
                  <a:cxn ang="0">
                    <a:pos x="32" y="38"/>
                  </a:cxn>
                  <a:cxn ang="0">
                    <a:pos x="26" y="46"/>
                  </a:cxn>
                  <a:cxn ang="0">
                    <a:pos x="22" y="46"/>
                  </a:cxn>
                  <a:cxn ang="0">
                    <a:pos x="20" y="46"/>
                  </a:cxn>
                  <a:cxn ang="0">
                    <a:pos x="20" y="52"/>
                  </a:cxn>
                  <a:cxn ang="0">
                    <a:pos x="20" y="62"/>
                  </a:cxn>
                  <a:cxn ang="0">
                    <a:pos x="18" y="66"/>
                  </a:cxn>
                  <a:cxn ang="0">
                    <a:pos x="12" y="58"/>
                  </a:cxn>
                  <a:cxn ang="0">
                    <a:pos x="8" y="50"/>
                  </a:cxn>
                  <a:cxn ang="0">
                    <a:pos x="6" y="42"/>
                  </a:cxn>
                  <a:cxn ang="0">
                    <a:pos x="2" y="42"/>
                  </a:cxn>
                  <a:cxn ang="0">
                    <a:pos x="0" y="38"/>
                  </a:cxn>
                  <a:cxn ang="0">
                    <a:pos x="2" y="32"/>
                  </a:cxn>
                  <a:cxn ang="0">
                    <a:pos x="6" y="36"/>
                  </a:cxn>
                  <a:cxn ang="0">
                    <a:pos x="8" y="40"/>
                  </a:cxn>
                  <a:cxn ang="0">
                    <a:pos x="12" y="46"/>
                  </a:cxn>
                </a:cxnLst>
                <a:rect l="0" t="0" r="r" b="b"/>
                <a:pathLst>
                  <a:path w="44" h="74">
                    <a:moveTo>
                      <a:pt x="12" y="46"/>
                    </a:moveTo>
                    <a:lnTo>
                      <a:pt x="12" y="44"/>
                    </a:lnTo>
                    <a:lnTo>
                      <a:pt x="12" y="42"/>
                    </a:lnTo>
                    <a:lnTo>
                      <a:pt x="10" y="40"/>
                    </a:lnTo>
                    <a:lnTo>
                      <a:pt x="8" y="40"/>
                    </a:lnTo>
                    <a:lnTo>
                      <a:pt x="8" y="38"/>
                    </a:lnTo>
                    <a:lnTo>
                      <a:pt x="6" y="34"/>
                    </a:lnTo>
                    <a:lnTo>
                      <a:pt x="6" y="32"/>
                    </a:lnTo>
                    <a:lnTo>
                      <a:pt x="8" y="32"/>
                    </a:lnTo>
                    <a:lnTo>
                      <a:pt x="12" y="36"/>
                    </a:lnTo>
                    <a:lnTo>
                      <a:pt x="14" y="34"/>
                    </a:lnTo>
                    <a:lnTo>
                      <a:pt x="16" y="32"/>
                    </a:lnTo>
                    <a:lnTo>
                      <a:pt x="16" y="30"/>
                    </a:lnTo>
                    <a:lnTo>
                      <a:pt x="16" y="28"/>
                    </a:lnTo>
                    <a:lnTo>
                      <a:pt x="16" y="30"/>
                    </a:lnTo>
                    <a:lnTo>
                      <a:pt x="20" y="32"/>
                    </a:lnTo>
                    <a:lnTo>
                      <a:pt x="22" y="36"/>
                    </a:lnTo>
                    <a:lnTo>
                      <a:pt x="24" y="32"/>
                    </a:lnTo>
                    <a:lnTo>
                      <a:pt x="26" y="22"/>
                    </a:lnTo>
                    <a:lnTo>
                      <a:pt x="24" y="20"/>
                    </a:lnTo>
                    <a:lnTo>
                      <a:pt x="22" y="18"/>
                    </a:lnTo>
                    <a:lnTo>
                      <a:pt x="20" y="16"/>
                    </a:lnTo>
                    <a:lnTo>
                      <a:pt x="18" y="12"/>
                    </a:lnTo>
                    <a:lnTo>
                      <a:pt x="16" y="10"/>
                    </a:lnTo>
                    <a:lnTo>
                      <a:pt x="16" y="6"/>
                    </a:lnTo>
                    <a:lnTo>
                      <a:pt x="20" y="4"/>
                    </a:lnTo>
                    <a:lnTo>
                      <a:pt x="26" y="0"/>
                    </a:lnTo>
                    <a:lnTo>
                      <a:pt x="28" y="0"/>
                    </a:lnTo>
                    <a:lnTo>
                      <a:pt x="38" y="2"/>
                    </a:lnTo>
                    <a:lnTo>
                      <a:pt x="38" y="4"/>
                    </a:lnTo>
                    <a:lnTo>
                      <a:pt x="40" y="12"/>
                    </a:lnTo>
                    <a:lnTo>
                      <a:pt x="40" y="14"/>
                    </a:lnTo>
                    <a:lnTo>
                      <a:pt x="40" y="16"/>
                    </a:lnTo>
                    <a:lnTo>
                      <a:pt x="40" y="22"/>
                    </a:lnTo>
                    <a:lnTo>
                      <a:pt x="42" y="28"/>
                    </a:lnTo>
                    <a:lnTo>
                      <a:pt x="42" y="30"/>
                    </a:lnTo>
                    <a:lnTo>
                      <a:pt x="42" y="34"/>
                    </a:lnTo>
                    <a:lnTo>
                      <a:pt x="42" y="40"/>
                    </a:lnTo>
                    <a:lnTo>
                      <a:pt x="40" y="44"/>
                    </a:lnTo>
                    <a:lnTo>
                      <a:pt x="38" y="46"/>
                    </a:lnTo>
                    <a:lnTo>
                      <a:pt x="40" y="50"/>
                    </a:lnTo>
                    <a:lnTo>
                      <a:pt x="38" y="50"/>
                    </a:lnTo>
                    <a:lnTo>
                      <a:pt x="36" y="54"/>
                    </a:lnTo>
                    <a:lnTo>
                      <a:pt x="36" y="56"/>
                    </a:lnTo>
                    <a:lnTo>
                      <a:pt x="38" y="54"/>
                    </a:lnTo>
                    <a:lnTo>
                      <a:pt x="38" y="52"/>
                    </a:lnTo>
                    <a:lnTo>
                      <a:pt x="42" y="50"/>
                    </a:lnTo>
                    <a:lnTo>
                      <a:pt x="42" y="52"/>
                    </a:lnTo>
                    <a:lnTo>
                      <a:pt x="44" y="54"/>
                    </a:lnTo>
                    <a:lnTo>
                      <a:pt x="44" y="58"/>
                    </a:lnTo>
                    <a:lnTo>
                      <a:pt x="42" y="68"/>
                    </a:lnTo>
                    <a:lnTo>
                      <a:pt x="38" y="70"/>
                    </a:lnTo>
                    <a:lnTo>
                      <a:pt x="36" y="74"/>
                    </a:lnTo>
                    <a:lnTo>
                      <a:pt x="34" y="74"/>
                    </a:lnTo>
                    <a:lnTo>
                      <a:pt x="30" y="74"/>
                    </a:lnTo>
                    <a:lnTo>
                      <a:pt x="26" y="72"/>
                    </a:lnTo>
                    <a:lnTo>
                      <a:pt x="28" y="70"/>
                    </a:lnTo>
                    <a:lnTo>
                      <a:pt x="28" y="68"/>
                    </a:lnTo>
                    <a:lnTo>
                      <a:pt x="30" y="68"/>
                    </a:lnTo>
                    <a:lnTo>
                      <a:pt x="32" y="68"/>
                    </a:lnTo>
                    <a:lnTo>
                      <a:pt x="34" y="68"/>
                    </a:lnTo>
                    <a:lnTo>
                      <a:pt x="32" y="66"/>
                    </a:lnTo>
                    <a:lnTo>
                      <a:pt x="30" y="66"/>
                    </a:lnTo>
                    <a:lnTo>
                      <a:pt x="30" y="68"/>
                    </a:lnTo>
                    <a:lnTo>
                      <a:pt x="26" y="68"/>
                    </a:lnTo>
                    <a:lnTo>
                      <a:pt x="24" y="68"/>
                    </a:lnTo>
                    <a:lnTo>
                      <a:pt x="24" y="66"/>
                    </a:lnTo>
                    <a:lnTo>
                      <a:pt x="26" y="60"/>
                    </a:lnTo>
                    <a:lnTo>
                      <a:pt x="24" y="54"/>
                    </a:lnTo>
                    <a:lnTo>
                      <a:pt x="24" y="46"/>
                    </a:lnTo>
                    <a:lnTo>
                      <a:pt x="26" y="46"/>
                    </a:lnTo>
                    <a:lnTo>
                      <a:pt x="28" y="44"/>
                    </a:lnTo>
                    <a:lnTo>
                      <a:pt x="34" y="36"/>
                    </a:lnTo>
                    <a:lnTo>
                      <a:pt x="32" y="38"/>
                    </a:lnTo>
                    <a:lnTo>
                      <a:pt x="28" y="40"/>
                    </a:lnTo>
                    <a:lnTo>
                      <a:pt x="26" y="46"/>
                    </a:lnTo>
                    <a:lnTo>
                      <a:pt x="22" y="48"/>
                    </a:lnTo>
                    <a:lnTo>
                      <a:pt x="22" y="46"/>
                    </a:lnTo>
                    <a:lnTo>
                      <a:pt x="20" y="44"/>
                    </a:lnTo>
                    <a:lnTo>
                      <a:pt x="20" y="46"/>
                    </a:lnTo>
                    <a:lnTo>
                      <a:pt x="20" y="50"/>
                    </a:lnTo>
                    <a:lnTo>
                      <a:pt x="20" y="52"/>
                    </a:lnTo>
                    <a:lnTo>
                      <a:pt x="22" y="54"/>
                    </a:lnTo>
                    <a:lnTo>
                      <a:pt x="20" y="62"/>
                    </a:lnTo>
                    <a:lnTo>
                      <a:pt x="20" y="66"/>
                    </a:lnTo>
                    <a:lnTo>
                      <a:pt x="18" y="66"/>
                    </a:lnTo>
                    <a:lnTo>
                      <a:pt x="14" y="64"/>
                    </a:lnTo>
                    <a:lnTo>
                      <a:pt x="12" y="58"/>
                    </a:lnTo>
                    <a:lnTo>
                      <a:pt x="8" y="52"/>
                    </a:lnTo>
                    <a:lnTo>
                      <a:pt x="8" y="50"/>
                    </a:lnTo>
                    <a:lnTo>
                      <a:pt x="8" y="46"/>
                    </a:lnTo>
                    <a:lnTo>
                      <a:pt x="6" y="42"/>
                    </a:lnTo>
                    <a:lnTo>
                      <a:pt x="4" y="42"/>
                    </a:lnTo>
                    <a:lnTo>
                      <a:pt x="2" y="42"/>
                    </a:lnTo>
                    <a:lnTo>
                      <a:pt x="2" y="40"/>
                    </a:lnTo>
                    <a:lnTo>
                      <a:pt x="0" y="38"/>
                    </a:lnTo>
                    <a:lnTo>
                      <a:pt x="0" y="34"/>
                    </a:lnTo>
                    <a:lnTo>
                      <a:pt x="2" y="32"/>
                    </a:lnTo>
                    <a:lnTo>
                      <a:pt x="4" y="32"/>
                    </a:lnTo>
                    <a:lnTo>
                      <a:pt x="6" y="36"/>
                    </a:lnTo>
                    <a:lnTo>
                      <a:pt x="8" y="38"/>
                    </a:lnTo>
                    <a:lnTo>
                      <a:pt x="8" y="40"/>
                    </a:lnTo>
                    <a:lnTo>
                      <a:pt x="12" y="44"/>
                    </a:lnTo>
                    <a:lnTo>
                      <a:pt x="12" y="4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4" name="Freeform 2021"/>
              <p:cNvSpPr>
                <a:spLocks/>
              </p:cNvSpPr>
              <p:nvPr/>
            </p:nvSpPr>
            <p:spPr bwMode="auto">
              <a:xfrm>
                <a:off x="2270" y="3628"/>
                <a:ext cx="10" cy="12"/>
              </a:xfrm>
              <a:custGeom>
                <a:avLst/>
                <a:gdLst/>
                <a:ahLst/>
                <a:cxnLst>
                  <a:cxn ang="0">
                    <a:pos x="4" y="12"/>
                  </a:cxn>
                  <a:cxn ang="0">
                    <a:pos x="4" y="10"/>
                  </a:cxn>
                  <a:cxn ang="0">
                    <a:pos x="0" y="2"/>
                  </a:cxn>
                  <a:cxn ang="0">
                    <a:pos x="2" y="0"/>
                  </a:cxn>
                  <a:cxn ang="0">
                    <a:pos x="4" y="2"/>
                  </a:cxn>
                  <a:cxn ang="0">
                    <a:pos x="6" y="4"/>
                  </a:cxn>
                  <a:cxn ang="0">
                    <a:pos x="8" y="4"/>
                  </a:cxn>
                  <a:cxn ang="0">
                    <a:pos x="10" y="6"/>
                  </a:cxn>
                  <a:cxn ang="0">
                    <a:pos x="10" y="8"/>
                  </a:cxn>
                  <a:cxn ang="0">
                    <a:pos x="10" y="10"/>
                  </a:cxn>
                  <a:cxn ang="0">
                    <a:pos x="6" y="12"/>
                  </a:cxn>
                  <a:cxn ang="0">
                    <a:pos x="4" y="12"/>
                  </a:cxn>
                </a:cxnLst>
                <a:rect l="0" t="0" r="r" b="b"/>
                <a:pathLst>
                  <a:path w="10" h="12">
                    <a:moveTo>
                      <a:pt x="4" y="12"/>
                    </a:moveTo>
                    <a:lnTo>
                      <a:pt x="4" y="10"/>
                    </a:lnTo>
                    <a:lnTo>
                      <a:pt x="0" y="2"/>
                    </a:lnTo>
                    <a:lnTo>
                      <a:pt x="2" y="0"/>
                    </a:lnTo>
                    <a:lnTo>
                      <a:pt x="4" y="2"/>
                    </a:lnTo>
                    <a:lnTo>
                      <a:pt x="6" y="4"/>
                    </a:lnTo>
                    <a:lnTo>
                      <a:pt x="8" y="4"/>
                    </a:lnTo>
                    <a:lnTo>
                      <a:pt x="10" y="6"/>
                    </a:lnTo>
                    <a:lnTo>
                      <a:pt x="10" y="8"/>
                    </a:lnTo>
                    <a:lnTo>
                      <a:pt x="10" y="10"/>
                    </a:lnTo>
                    <a:lnTo>
                      <a:pt x="6" y="12"/>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5" name="Freeform 2022"/>
              <p:cNvSpPr>
                <a:spLocks/>
              </p:cNvSpPr>
              <p:nvPr/>
            </p:nvSpPr>
            <p:spPr bwMode="auto">
              <a:xfrm>
                <a:off x="2256" y="3632"/>
                <a:ext cx="18" cy="12"/>
              </a:xfrm>
              <a:custGeom>
                <a:avLst/>
                <a:gdLst/>
                <a:ahLst/>
                <a:cxnLst>
                  <a:cxn ang="0">
                    <a:pos x="16" y="12"/>
                  </a:cxn>
                  <a:cxn ang="0">
                    <a:pos x="14" y="6"/>
                  </a:cxn>
                  <a:cxn ang="0">
                    <a:pos x="14" y="4"/>
                  </a:cxn>
                  <a:cxn ang="0">
                    <a:pos x="10" y="6"/>
                  </a:cxn>
                  <a:cxn ang="0">
                    <a:pos x="8" y="10"/>
                  </a:cxn>
                  <a:cxn ang="0">
                    <a:pos x="6" y="10"/>
                  </a:cxn>
                  <a:cxn ang="0">
                    <a:pos x="2" y="6"/>
                  </a:cxn>
                  <a:cxn ang="0">
                    <a:pos x="0" y="6"/>
                  </a:cxn>
                  <a:cxn ang="0">
                    <a:pos x="0" y="4"/>
                  </a:cxn>
                  <a:cxn ang="0">
                    <a:pos x="0" y="2"/>
                  </a:cxn>
                  <a:cxn ang="0">
                    <a:pos x="2" y="0"/>
                  </a:cxn>
                  <a:cxn ang="0">
                    <a:pos x="4" y="0"/>
                  </a:cxn>
                  <a:cxn ang="0">
                    <a:pos x="12" y="0"/>
                  </a:cxn>
                  <a:cxn ang="0">
                    <a:pos x="14" y="0"/>
                  </a:cxn>
                  <a:cxn ang="0">
                    <a:pos x="16" y="2"/>
                  </a:cxn>
                  <a:cxn ang="0">
                    <a:pos x="18" y="10"/>
                  </a:cxn>
                  <a:cxn ang="0">
                    <a:pos x="16" y="12"/>
                  </a:cxn>
                </a:cxnLst>
                <a:rect l="0" t="0" r="r" b="b"/>
                <a:pathLst>
                  <a:path w="18" h="12">
                    <a:moveTo>
                      <a:pt x="16" y="12"/>
                    </a:moveTo>
                    <a:lnTo>
                      <a:pt x="14" y="6"/>
                    </a:lnTo>
                    <a:lnTo>
                      <a:pt x="14" y="4"/>
                    </a:lnTo>
                    <a:lnTo>
                      <a:pt x="10" y="6"/>
                    </a:lnTo>
                    <a:lnTo>
                      <a:pt x="8" y="10"/>
                    </a:lnTo>
                    <a:lnTo>
                      <a:pt x="6" y="10"/>
                    </a:lnTo>
                    <a:lnTo>
                      <a:pt x="2" y="6"/>
                    </a:lnTo>
                    <a:lnTo>
                      <a:pt x="0" y="6"/>
                    </a:lnTo>
                    <a:lnTo>
                      <a:pt x="0" y="4"/>
                    </a:lnTo>
                    <a:lnTo>
                      <a:pt x="0" y="2"/>
                    </a:lnTo>
                    <a:lnTo>
                      <a:pt x="2" y="0"/>
                    </a:lnTo>
                    <a:lnTo>
                      <a:pt x="4" y="0"/>
                    </a:lnTo>
                    <a:lnTo>
                      <a:pt x="12" y="0"/>
                    </a:lnTo>
                    <a:lnTo>
                      <a:pt x="14" y="0"/>
                    </a:lnTo>
                    <a:lnTo>
                      <a:pt x="16" y="2"/>
                    </a:lnTo>
                    <a:lnTo>
                      <a:pt x="18" y="10"/>
                    </a:lnTo>
                    <a:lnTo>
                      <a:pt x="16"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6" name="Freeform 2023"/>
              <p:cNvSpPr>
                <a:spLocks/>
              </p:cNvSpPr>
              <p:nvPr/>
            </p:nvSpPr>
            <p:spPr bwMode="auto">
              <a:xfrm>
                <a:off x="2256" y="3638"/>
                <a:ext cx="16" cy="16"/>
              </a:xfrm>
              <a:custGeom>
                <a:avLst/>
                <a:gdLst/>
                <a:ahLst/>
                <a:cxnLst>
                  <a:cxn ang="0">
                    <a:pos x="6" y="16"/>
                  </a:cxn>
                  <a:cxn ang="0">
                    <a:pos x="2" y="14"/>
                  </a:cxn>
                  <a:cxn ang="0">
                    <a:pos x="0" y="14"/>
                  </a:cxn>
                  <a:cxn ang="0">
                    <a:pos x="2" y="10"/>
                  </a:cxn>
                  <a:cxn ang="0">
                    <a:pos x="4" y="8"/>
                  </a:cxn>
                  <a:cxn ang="0">
                    <a:pos x="6" y="8"/>
                  </a:cxn>
                  <a:cxn ang="0">
                    <a:pos x="8" y="6"/>
                  </a:cxn>
                  <a:cxn ang="0">
                    <a:pos x="10" y="4"/>
                  </a:cxn>
                  <a:cxn ang="0">
                    <a:pos x="12" y="2"/>
                  </a:cxn>
                  <a:cxn ang="0">
                    <a:pos x="12" y="0"/>
                  </a:cxn>
                  <a:cxn ang="0">
                    <a:pos x="14" y="0"/>
                  </a:cxn>
                  <a:cxn ang="0">
                    <a:pos x="14" y="2"/>
                  </a:cxn>
                  <a:cxn ang="0">
                    <a:pos x="16" y="6"/>
                  </a:cxn>
                  <a:cxn ang="0">
                    <a:pos x="16" y="8"/>
                  </a:cxn>
                  <a:cxn ang="0">
                    <a:pos x="14" y="10"/>
                  </a:cxn>
                  <a:cxn ang="0">
                    <a:pos x="8" y="14"/>
                  </a:cxn>
                  <a:cxn ang="0">
                    <a:pos x="6" y="16"/>
                  </a:cxn>
                </a:cxnLst>
                <a:rect l="0" t="0" r="r" b="b"/>
                <a:pathLst>
                  <a:path w="16" h="16">
                    <a:moveTo>
                      <a:pt x="6" y="16"/>
                    </a:moveTo>
                    <a:lnTo>
                      <a:pt x="2" y="14"/>
                    </a:lnTo>
                    <a:lnTo>
                      <a:pt x="0" y="14"/>
                    </a:lnTo>
                    <a:lnTo>
                      <a:pt x="2" y="10"/>
                    </a:lnTo>
                    <a:lnTo>
                      <a:pt x="4" y="8"/>
                    </a:lnTo>
                    <a:lnTo>
                      <a:pt x="6" y="8"/>
                    </a:lnTo>
                    <a:lnTo>
                      <a:pt x="8" y="6"/>
                    </a:lnTo>
                    <a:lnTo>
                      <a:pt x="10" y="4"/>
                    </a:lnTo>
                    <a:lnTo>
                      <a:pt x="12" y="2"/>
                    </a:lnTo>
                    <a:lnTo>
                      <a:pt x="12" y="0"/>
                    </a:lnTo>
                    <a:lnTo>
                      <a:pt x="14" y="0"/>
                    </a:lnTo>
                    <a:lnTo>
                      <a:pt x="14" y="2"/>
                    </a:lnTo>
                    <a:lnTo>
                      <a:pt x="16" y="6"/>
                    </a:lnTo>
                    <a:lnTo>
                      <a:pt x="16" y="8"/>
                    </a:lnTo>
                    <a:lnTo>
                      <a:pt x="14" y="10"/>
                    </a:lnTo>
                    <a:lnTo>
                      <a:pt x="8" y="14"/>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7" name="Freeform 2024"/>
              <p:cNvSpPr>
                <a:spLocks/>
              </p:cNvSpPr>
              <p:nvPr/>
            </p:nvSpPr>
            <p:spPr bwMode="auto">
              <a:xfrm>
                <a:off x="2274" y="3640"/>
                <a:ext cx="14" cy="16"/>
              </a:xfrm>
              <a:custGeom>
                <a:avLst/>
                <a:gdLst/>
                <a:ahLst/>
                <a:cxnLst>
                  <a:cxn ang="0">
                    <a:pos x="12" y="14"/>
                  </a:cxn>
                  <a:cxn ang="0">
                    <a:pos x="8" y="10"/>
                  </a:cxn>
                  <a:cxn ang="0">
                    <a:pos x="2" y="10"/>
                  </a:cxn>
                  <a:cxn ang="0">
                    <a:pos x="0" y="8"/>
                  </a:cxn>
                  <a:cxn ang="0">
                    <a:pos x="0" y="6"/>
                  </a:cxn>
                  <a:cxn ang="0">
                    <a:pos x="0" y="4"/>
                  </a:cxn>
                  <a:cxn ang="0">
                    <a:pos x="2" y="4"/>
                  </a:cxn>
                  <a:cxn ang="0">
                    <a:pos x="4" y="0"/>
                  </a:cxn>
                  <a:cxn ang="0">
                    <a:pos x="10" y="0"/>
                  </a:cxn>
                  <a:cxn ang="0">
                    <a:pos x="12" y="2"/>
                  </a:cxn>
                  <a:cxn ang="0">
                    <a:pos x="14" y="4"/>
                  </a:cxn>
                  <a:cxn ang="0">
                    <a:pos x="14" y="6"/>
                  </a:cxn>
                  <a:cxn ang="0">
                    <a:pos x="12" y="16"/>
                  </a:cxn>
                  <a:cxn ang="0">
                    <a:pos x="12" y="14"/>
                  </a:cxn>
                </a:cxnLst>
                <a:rect l="0" t="0" r="r" b="b"/>
                <a:pathLst>
                  <a:path w="14" h="16">
                    <a:moveTo>
                      <a:pt x="12" y="14"/>
                    </a:moveTo>
                    <a:lnTo>
                      <a:pt x="8" y="10"/>
                    </a:lnTo>
                    <a:lnTo>
                      <a:pt x="2" y="10"/>
                    </a:lnTo>
                    <a:lnTo>
                      <a:pt x="0" y="8"/>
                    </a:lnTo>
                    <a:lnTo>
                      <a:pt x="0" y="6"/>
                    </a:lnTo>
                    <a:lnTo>
                      <a:pt x="0" y="4"/>
                    </a:lnTo>
                    <a:lnTo>
                      <a:pt x="2" y="4"/>
                    </a:lnTo>
                    <a:lnTo>
                      <a:pt x="4" y="0"/>
                    </a:lnTo>
                    <a:lnTo>
                      <a:pt x="10" y="0"/>
                    </a:lnTo>
                    <a:lnTo>
                      <a:pt x="12" y="2"/>
                    </a:lnTo>
                    <a:lnTo>
                      <a:pt x="14" y="4"/>
                    </a:lnTo>
                    <a:lnTo>
                      <a:pt x="14" y="6"/>
                    </a:lnTo>
                    <a:lnTo>
                      <a:pt x="12" y="16"/>
                    </a:lnTo>
                    <a:lnTo>
                      <a:pt x="12"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8" name="Freeform 2025"/>
              <p:cNvSpPr>
                <a:spLocks/>
              </p:cNvSpPr>
              <p:nvPr/>
            </p:nvSpPr>
            <p:spPr bwMode="auto">
              <a:xfrm>
                <a:off x="2306" y="3662"/>
                <a:ext cx="6" cy="10"/>
              </a:xfrm>
              <a:custGeom>
                <a:avLst/>
                <a:gdLst/>
                <a:ahLst/>
                <a:cxnLst>
                  <a:cxn ang="0">
                    <a:pos x="0" y="10"/>
                  </a:cxn>
                  <a:cxn ang="0">
                    <a:pos x="0" y="8"/>
                  </a:cxn>
                  <a:cxn ang="0">
                    <a:pos x="0" y="4"/>
                  </a:cxn>
                  <a:cxn ang="0">
                    <a:pos x="0" y="2"/>
                  </a:cxn>
                  <a:cxn ang="0">
                    <a:pos x="0" y="0"/>
                  </a:cxn>
                  <a:cxn ang="0">
                    <a:pos x="4" y="2"/>
                  </a:cxn>
                  <a:cxn ang="0">
                    <a:pos x="4" y="4"/>
                  </a:cxn>
                  <a:cxn ang="0">
                    <a:pos x="6" y="8"/>
                  </a:cxn>
                  <a:cxn ang="0">
                    <a:pos x="2" y="10"/>
                  </a:cxn>
                  <a:cxn ang="0">
                    <a:pos x="0" y="10"/>
                  </a:cxn>
                </a:cxnLst>
                <a:rect l="0" t="0" r="r" b="b"/>
                <a:pathLst>
                  <a:path w="6" h="10">
                    <a:moveTo>
                      <a:pt x="0" y="10"/>
                    </a:moveTo>
                    <a:lnTo>
                      <a:pt x="0" y="8"/>
                    </a:lnTo>
                    <a:lnTo>
                      <a:pt x="0" y="4"/>
                    </a:lnTo>
                    <a:lnTo>
                      <a:pt x="0" y="2"/>
                    </a:lnTo>
                    <a:lnTo>
                      <a:pt x="0" y="0"/>
                    </a:lnTo>
                    <a:lnTo>
                      <a:pt x="4" y="2"/>
                    </a:lnTo>
                    <a:lnTo>
                      <a:pt x="4" y="4"/>
                    </a:lnTo>
                    <a:lnTo>
                      <a:pt x="6" y="8"/>
                    </a:lnTo>
                    <a:lnTo>
                      <a:pt x="2" y="10"/>
                    </a:lnTo>
                    <a:lnTo>
                      <a:pt x="0"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39" name="Freeform 2026"/>
              <p:cNvSpPr>
                <a:spLocks/>
              </p:cNvSpPr>
              <p:nvPr/>
            </p:nvSpPr>
            <p:spPr bwMode="auto">
              <a:xfrm>
                <a:off x="2260" y="3672"/>
                <a:ext cx="18" cy="16"/>
              </a:xfrm>
              <a:custGeom>
                <a:avLst/>
                <a:gdLst/>
                <a:ahLst/>
                <a:cxnLst>
                  <a:cxn ang="0">
                    <a:pos x="16" y="16"/>
                  </a:cxn>
                  <a:cxn ang="0">
                    <a:pos x="14" y="14"/>
                  </a:cxn>
                  <a:cxn ang="0">
                    <a:pos x="12" y="14"/>
                  </a:cxn>
                  <a:cxn ang="0">
                    <a:pos x="14" y="14"/>
                  </a:cxn>
                  <a:cxn ang="0">
                    <a:pos x="14" y="16"/>
                  </a:cxn>
                  <a:cxn ang="0">
                    <a:pos x="12" y="16"/>
                  </a:cxn>
                  <a:cxn ang="0">
                    <a:pos x="10" y="14"/>
                  </a:cxn>
                  <a:cxn ang="0">
                    <a:pos x="10" y="12"/>
                  </a:cxn>
                  <a:cxn ang="0">
                    <a:pos x="8" y="10"/>
                  </a:cxn>
                  <a:cxn ang="0">
                    <a:pos x="2" y="14"/>
                  </a:cxn>
                  <a:cxn ang="0">
                    <a:pos x="0" y="10"/>
                  </a:cxn>
                  <a:cxn ang="0">
                    <a:pos x="0" y="4"/>
                  </a:cxn>
                  <a:cxn ang="0">
                    <a:pos x="2" y="2"/>
                  </a:cxn>
                  <a:cxn ang="0">
                    <a:pos x="8" y="0"/>
                  </a:cxn>
                  <a:cxn ang="0">
                    <a:pos x="10" y="0"/>
                  </a:cxn>
                  <a:cxn ang="0">
                    <a:pos x="10" y="2"/>
                  </a:cxn>
                  <a:cxn ang="0">
                    <a:pos x="12" y="4"/>
                  </a:cxn>
                  <a:cxn ang="0">
                    <a:pos x="16" y="12"/>
                  </a:cxn>
                  <a:cxn ang="0">
                    <a:pos x="18" y="16"/>
                  </a:cxn>
                  <a:cxn ang="0">
                    <a:pos x="16" y="16"/>
                  </a:cxn>
                </a:cxnLst>
                <a:rect l="0" t="0" r="r" b="b"/>
                <a:pathLst>
                  <a:path w="18" h="16">
                    <a:moveTo>
                      <a:pt x="16" y="16"/>
                    </a:moveTo>
                    <a:lnTo>
                      <a:pt x="14" y="14"/>
                    </a:lnTo>
                    <a:lnTo>
                      <a:pt x="12" y="14"/>
                    </a:lnTo>
                    <a:lnTo>
                      <a:pt x="14" y="14"/>
                    </a:lnTo>
                    <a:lnTo>
                      <a:pt x="14" y="16"/>
                    </a:lnTo>
                    <a:lnTo>
                      <a:pt x="12" y="16"/>
                    </a:lnTo>
                    <a:lnTo>
                      <a:pt x="10" y="14"/>
                    </a:lnTo>
                    <a:lnTo>
                      <a:pt x="10" y="12"/>
                    </a:lnTo>
                    <a:lnTo>
                      <a:pt x="8" y="10"/>
                    </a:lnTo>
                    <a:lnTo>
                      <a:pt x="2" y="14"/>
                    </a:lnTo>
                    <a:lnTo>
                      <a:pt x="0" y="10"/>
                    </a:lnTo>
                    <a:lnTo>
                      <a:pt x="0" y="4"/>
                    </a:lnTo>
                    <a:lnTo>
                      <a:pt x="2" y="2"/>
                    </a:lnTo>
                    <a:lnTo>
                      <a:pt x="8" y="0"/>
                    </a:lnTo>
                    <a:lnTo>
                      <a:pt x="10" y="0"/>
                    </a:lnTo>
                    <a:lnTo>
                      <a:pt x="10" y="2"/>
                    </a:lnTo>
                    <a:lnTo>
                      <a:pt x="12" y="4"/>
                    </a:lnTo>
                    <a:lnTo>
                      <a:pt x="16" y="12"/>
                    </a:lnTo>
                    <a:lnTo>
                      <a:pt x="18" y="16"/>
                    </a:lnTo>
                    <a:lnTo>
                      <a:pt x="16"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0" name="Freeform 2027"/>
              <p:cNvSpPr>
                <a:spLocks/>
              </p:cNvSpPr>
              <p:nvPr/>
            </p:nvSpPr>
            <p:spPr bwMode="auto">
              <a:xfrm>
                <a:off x="2268" y="3694"/>
                <a:ext cx="24" cy="24"/>
              </a:xfrm>
              <a:custGeom>
                <a:avLst/>
                <a:gdLst/>
                <a:ahLst/>
                <a:cxnLst>
                  <a:cxn ang="0">
                    <a:pos x="14" y="16"/>
                  </a:cxn>
                  <a:cxn ang="0">
                    <a:pos x="10" y="22"/>
                  </a:cxn>
                  <a:cxn ang="0">
                    <a:pos x="8" y="24"/>
                  </a:cxn>
                  <a:cxn ang="0">
                    <a:pos x="4" y="24"/>
                  </a:cxn>
                  <a:cxn ang="0">
                    <a:pos x="4" y="22"/>
                  </a:cxn>
                  <a:cxn ang="0">
                    <a:pos x="6" y="20"/>
                  </a:cxn>
                  <a:cxn ang="0">
                    <a:pos x="6" y="18"/>
                  </a:cxn>
                  <a:cxn ang="0">
                    <a:pos x="8" y="16"/>
                  </a:cxn>
                  <a:cxn ang="0">
                    <a:pos x="6" y="16"/>
                  </a:cxn>
                  <a:cxn ang="0">
                    <a:pos x="4" y="18"/>
                  </a:cxn>
                  <a:cxn ang="0">
                    <a:pos x="0" y="20"/>
                  </a:cxn>
                  <a:cxn ang="0">
                    <a:pos x="0" y="18"/>
                  </a:cxn>
                  <a:cxn ang="0">
                    <a:pos x="0" y="16"/>
                  </a:cxn>
                  <a:cxn ang="0">
                    <a:pos x="0" y="14"/>
                  </a:cxn>
                  <a:cxn ang="0">
                    <a:pos x="0" y="12"/>
                  </a:cxn>
                  <a:cxn ang="0">
                    <a:pos x="2" y="10"/>
                  </a:cxn>
                  <a:cxn ang="0">
                    <a:pos x="2" y="8"/>
                  </a:cxn>
                  <a:cxn ang="0">
                    <a:pos x="4" y="8"/>
                  </a:cxn>
                  <a:cxn ang="0">
                    <a:pos x="6" y="8"/>
                  </a:cxn>
                  <a:cxn ang="0">
                    <a:pos x="6" y="10"/>
                  </a:cxn>
                  <a:cxn ang="0">
                    <a:pos x="4" y="10"/>
                  </a:cxn>
                  <a:cxn ang="0">
                    <a:pos x="4" y="12"/>
                  </a:cxn>
                  <a:cxn ang="0">
                    <a:pos x="6" y="14"/>
                  </a:cxn>
                  <a:cxn ang="0">
                    <a:pos x="8" y="14"/>
                  </a:cxn>
                  <a:cxn ang="0">
                    <a:pos x="10" y="14"/>
                  </a:cxn>
                  <a:cxn ang="0">
                    <a:pos x="10" y="10"/>
                  </a:cxn>
                  <a:cxn ang="0">
                    <a:pos x="8" y="8"/>
                  </a:cxn>
                  <a:cxn ang="0">
                    <a:pos x="4" y="6"/>
                  </a:cxn>
                  <a:cxn ang="0">
                    <a:pos x="2" y="4"/>
                  </a:cxn>
                  <a:cxn ang="0">
                    <a:pos x="0" y="2"/>
                  </a:cxn>
                  <a:cxn ang="0">
                    <a:pos x="4" y="0"/>
                  </a:cxn>
                  <a:cxn ang="0">
                    <a:pos x="10" y="0"/>
                  </a:cxn>
                  <a:cxn ang="0">
                    <a:pos x="12" y="2"/>
                  </a:cxn>
                  <a:cxn ang="0">
                    <a:pos x="16" y="8"/>
                  </a:cxn>
                  <a:cxn ang="0">
                    <a:pos x="14" y="8"/>
                  </a:cxn>
                  <a:cxn ang="0">
                    <a:pos x="14" y="10"/>
                  </a:cxn>
                  <a:cxn ang="0">
                    <a:pos x="16" y="10"/>
                  </a:cxn>
                  <a:cxn ang="0">
                    <a:pos x="22" y="8"/>
                  </a:cxn>
                  <a:cxn ang="0">
                    <a:pos x="24" y="8"/>
                  </a:cxn>
                  <a:cxn ang="0">
                    <a:pos x="22" y="6"/>
                  </a:cxn>
                  <a:cxn ang="0">
                    <a:pos x="24" y="6"/>
                  </a:cxn>
                  <a:cxn ang="0">
                    <a:pos x="24" y="8"/>
                  </a:cxn>
                  <a:cxn ang="0">
                    <a:pos x="24" y="10"/>
                  </a:cxn>
                  <a:cxn ang="0">
                    <a:pos x="24" y="12"/>
                  </a:cxn>
                  <a:cxn ang="0">
                    <a:pos x="16" y="14"/>
                  </a:cxn>
                  <a:cxn ang="0">
                    <a:pos x="14" y="16"/>
                  </a:cxn>
                </a:cxnLst>
                <a:rect l="0" t="0" r="r" b="b"/>
                <a:pathLst>
                  <a:path w="24" h="24">
                    <a:moveTo>
                      <a:pt x="14" y="16"/>
                    </a:moveTo>
                    <a:lnTo>
                      <a:pt x="10" y="22"/>
                    </a:lnTo>
                    <a:lnTo>
                      <a:pt x="8" y="24"/>
                    </a:lnTo>
                    <a:lnTo>
                      <a:pt x="4" y="24"/>
                    </a:lnTo>
                    <a:lnTo>
                      <a:pt x="4" y="22"/>
                    </a:lnTo>
                    <a:lnTo>
                      <a:pt x="6" y="20"/>
                    </a:lnTo>
                    <a:lnTo>
                      <a:pt x="6" y="18"/>
                    </a:lnTo>
                    <a:lnTo>
                      <a:pt x="8" y="16"/>
                    </a:lnTo>
                    <a:lnTo>
                      <a:pt x="6" y="16"/>
                    </a:lnTo>
                    <a:lnTo>
                      <a:pt x="4" y="18"/>
                    </a:lnTo>
                    <a:lnTo>
                      <a:pt x="0" y="20"/>
                    </a:lnTo>
                    <a:lnTo>
                      <a:pt x="0" y="18"/>
                    </a:lnTo>
                    <a:lnTo>
                      <a:pt x="0" y="16"/>
                    </a:lnTo>
                    <a:lnTo>
                      <a:pt x="0" y="14"/>
                    </a:lnTo>
                    <a:lnTo>
                      <a:pt x="0" y="12"/>
                    </a:lnTo>
                    <a:lnTo>
                      <a:pt x="2" y="10"/>
                    </a:lnTo>
                    <a:lnTo>
                      <a:pt x="2" y="8"/>
                    </a:lnTo>
                    <a:lnTo>
                      <a:pt x="4" y="8"/>
                    </a:lnTo>
                    <a:lnTo>
                      <a:pt x="6" y="8"/>
                    </a:lnTo>
                    <a:lnTo>
                      <a:pt x="6" y="10"/>
                    </a:lnTo>
                    <a:lnTo>
                      <a:pt x="4" y="10"/>
                    </a:lnTo>
                    <a:lnTo>
                      <a:pt x="4" y="12"/>
                    </a:lnTo>
                    <a:lnTo>
                      <a:pt x="6" y="14"/>
                    </a:lnTo>
                    <a:lnTo>
                      <a:pt x="8" y="14"/>
                    </a:lnTo>
                    <a:lnTo>
                      <a:pt x="10" y="14"/>
                    </a:lnTo>
                    <a:lnTo>
                      <a:pt x="10" y="10"/>
                    </a:lnTo>
                    <a:lnTo>
                      <a:pt x="8" y="8"/>
                    </a:lnTo>
                    <a:lnTo>
                      <a:pt x="4" y="6"/>
                    </a:lnTo>
                    <a:lnTo>
                      <a:pt x="2" y="4"/>
                    </a:lnTo>
                    <a:lnTo>
                      <a:pt x="0" y="2"/>
                    </a:lnTo>
                    <a:lnTo>
                      <a:pt x="4" y="0"/>
                    </a:lnTo>
                    <a:lnTo>
                      <a:pt x="10" y="0"/>
                    </a:lnTo>
                    <a:lnTo>
                      <a:pt x="12" y="2"/>
                    </a:lnTo>
                    <a:lnTo>
                      <a:pt x="16" y="8"/>
                    </a:lnTo>
                    <a:lnTo>
                      <a:pt x="14" y="8"/>
                    </a:lnTo>
                    <a:lnTo>
                      <a:pt x="14" y="10"/>
                    </a:lnTo>
                    <a:lnTo>
                      <a:pt x="16" y="10"/>
                    </a:lnTo>
                    <a:lnTo>
                      <a:pt x="22" y="8"/>
                    </a:lnTo>
                    <a:lnTo>
                      <a:pt x="24" y="8"/>
                    </a:lnTo>
                    <a:lnTo>
                      <a:pt x="22" y="6"/>
                    </a:lnTo>
                    <a:lnTo>
                      <a:pt x="24" y="6"/>
                    </a:lnTo>
                    <a:lnTo>
                      <a:pt x="24" y="8"/>
                    </a:lnTo>
                    <a:lnTo>
                      <a:pt x="24" y="10"/>
                    </a:lnTo>
                    <a:lnTo>
                      <a:pt x="24" y="12"/>
                    </a:lnTo>
                    <a:lnTo>
                      <a:pt x="16" y="14"/>
                    </a:lnTo>
                    <a:lnTo>
                      <a:pt x="14"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1" name="Freeform 2028"/>
              <p:cNvSpPr>
                <a:spLocks/>
              </p:cNvSpPr>
              <p:nvPr/>
            </p:nvSpPr>
            <p:spPr bwMode="auto">
              <a:xfrm>
                <a:off x="2294" y="3712"/>
                <a:ext cx="10" cy="8"/>
              </a:xfrm>
              <a:custGeom>
                <a:avLst/>
                <a:gdLst/>
                <a:ahLst/>
                <a:cxnLst>
                  <a:cxn ang="0">
                    <a:pos x="0" y="8"/>
                  </a:cxn>
                  <a:cxn ang="0">
                    <a:pos x="0" y="2"/>
                  </a:cxn>
                  <a:cxn ang="0">
                    <a:pos x="2" y="0"/>
                  </a:cxn>
                  <a:cxn ang="0">
                    <a:pos x="4" y="0"/>
                  </a:cxn>
                  <a:cxn ang="0">
                    <a:pos x="6" y="2"/>
                  </a:cxn>
                  <a:cxn ang="0">
                    <a:pos x="10" y="2"/>
                  </a:cxn>
                  <a:cxn ang="0">
                    <a:pos x="8" y="4"/>
                  </a:cxn>
                  <a:cxn ang="0">
                    <a:pos x="6" y="6"/>
                  </a:cxn>
                  <a:cxn ang="0">
                    <a:pos x="2" y="8"/>
                  </a:cxn>
                  <a:cxn ang="0">
                    <a:pos x="0" y="8"/>
                  </a:cxn>
                </a:cxnLst>
                <a:rect l="0" t="0" r="r" b="b"/>
                <a:pathLst>
                  <a:path w="10" h="8">
                    <a:moveTo>
                      <a:pt x="0" y="8"/>
                    </a:moveTo>
                    <a:lnTo>
                      <a:pt x="0" y="2"/>
                    </a:lnTo>
                    <a:lnTo>
                      <a:pt x="2" y="0"/>
                    </a:lnTo>
                    <a:lnTo>
                      <a:pt x="4" y="0"/>
                    </a:lnTo>
                    <a:lnTo>
                      <a:pt x="6" y="2"/>
                    </a:lnTo>
                    <a:lnTo>
                      <a:pt x="10" y="2"/>
                    </a:lnTo>
                    <a:lnTo>
                      <a:pt x="8" y="4"/>
                    </a:lnTo>
                    <a:lnTo>
                      <a:pt x="6" y="6"/>
                    </a:lnTo>
                    <a:lnTo>
                      <a:pt x="2"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2" name="Freeform 2029"/>
              <p:cNvSpPr>
                <a:spLocks/>
              </p:cNvSpPr>
              <p:nvPr/>
            </p:nvSpPr>
            <p:spPr bwMode="auto">
              <a:xfrm>
                <a:off x="2298" y="3716"/>
                <a:ext cx="20" cy="24"/>
              </a:xfrm>
              <a:custGeom>
                <a:avLst/>
                <a:gdLst/>
                <a:ahLst/>
                <a:cxnLst>
                  <a:cxn ang="0">
                    <a:pos x="18" y="24"/>
                  </a:cxn>
                  <a:cxn ang="0">
                    <a:pos x="18" y="20"/>
                  </a:cxn>
                  <a:cxn ang="0">
                    <a:pos x="16" y="20"/>
                  </a:cxn>
                  <a:cxn ang="0">
                    <a:pos x="14" y="20"/>
                  </a:cxn>
                  <a:cxn ang="0">
                    <a:pos x="14" y="22"/>
                  </a:cxn>
                  <a:cxn ang="0">
                    <a:pos x="12" y="20"/>
                  </a:cxn>
                  <a:cxn ang="0">
                    <a:pos x="8" y="18"/>
                  </a:cxn>
                  <a:cxn ang="0">
                    <a:pos x="6" y="16"/>
                  </a:cxn>
                  <a:cxn ang="0">
                    <a:pos x="4" y="14"/>
                  </a:cxn>
                  <a:cxn ang="0">
                    <a:pos x="4" y="12"/>
                  </a:cxn>
                  <a:cxn ang="0">
                    <a:pos x="4" y="10"/>
                  </a:cxn>
                  <a:cxn ang="0">
                    <a:pos x="8" y="8"/>
                  </a:cxn>
                  <a:cxn ang="0">
                    <a:pos x="10" y="6"/>
                  </a:cxn>
                  <a:cxn ang="0">
                    <a:pos x="8" y="4"/>
                  </a:cxn>
                  <a:cxn ang="0">
                    <a:pos x="6" y="4"/>
                  </a:cxn>
                  <a:cxn ang="0">
                    <a:pos x="6" y="6"/>
                  </a:cxn>
                  <a:cxn ang="0">
                    <a:pos x="4" y="6"/>
                  </a:cxn>
                  <a:cxn ang="0">
                    <a:pos x="0" y="4"/>
                  </a:cxn>
                  <a:cxn ang="0">
                    <a:pos x="2" y="2"/>
                  </a:cxn>
                  <a:cxn ang="0">
                    <a:pos x="4" y="2"/>
                  </a:cxn>
                  <a:cxn ang="0">
                    <a:pos x="4" y="0"/>
                  </a:cxn>
                  <a:cxn ang="0">
                    <a:pos x="6" y="0"/>
                  </a:cxn>
                  <a:cxn ang="0">
                    <a:pos x="12" y="4"/>
                  </a:cxn>
                  <a:cxn ang="0">
                    <a:pos x="16" y="10"/>
                  </a:cxn>
                  <a:cxn ang="0">
                    <a:pos x="18" y="14"/>
                  </a:cxn>
                  <a:cxn ang="0">
                    <a:pos x="20" y="18"/>
                  </a:cxn>
                  <a:cxn ang="0">
                    <a:pos x="20" y="20"/>
                  </a:cxn>
                  <a:cxn ang="0">
                    <a:pos x="20" y="22"/>
                  </a:cxn>
                  <a:cxn ang="0">
                    <a:pos x="20" y="24"/>
                  </a:cxn>
                  <a:cxn ang="0">
                    <a:pos x="18" y="24"/>
                  </a:cxn>
                </a:cxnLst>
                <a:rect l="0" t="0" r="r" b="b"/>
                <a:pathLst>
                  <a:path w="20" h="24">
                    <a:moveTo>
                      <a:pt x="18" y="24"/>
                    </a:moveTo>
                    <a:lnTo>
                      <a:pt x="18" y="20"/>
                    </a:lnTo>
                    <a:lnTo>
                      <a:pt x="16" y="20"/>
                    </a:lnTo>
                    <a:lnTo>
                      <a:pt x="14" y="20"/>
                    </a:lnTo>
                    <a:lnTo>
                      <a:pt x="14" y="22"/>
                    </a:lnTo>
                    <a:lnTo>
                      <a:pt x="12" y="20"/>
                    </a:lnTo>
                    <a:lnTo>
                      <a:pt x="8" y="18"/>
                    </a:lnTo>
                    <a:lnTo>
                      <a:pt x="6" y="16"/>
                    </a:lnTo>
                    <a:lnTo>
                      <a:pt x="4" y="14"/>
                    </a:lnTo>
                    <a:lnTo>
                      <a:pt x="4" y="12"/>
                    </a:lnTo>
                    <a:lnTo>
                      <a:pt x="4" y="10"/>
                    </a:lnTo>
                    <a:lnTo>
                      <a:pt x="8" y="8"/>
                    </a:lnTo>
                    <a:lnTo>
                      <a:pt x="10" y="6"/>
                    </a:lnTo>
                    <a:lnTo>
                      <a:pt x="8" y="4"/>
                    </a:lnTo>
                    <a:lnTo>
                      <a:pt x="6" y="4"/>
                    </a:lnTo>
                    <a:lnTo>
                      <a:pt x="6" y="6"/>
                    </a:lnTo>
                    <a:lnTo>
                      <a:pt x="4" y="6"/>
                    </a:lnTo>
                    <a:lnTo>
                      <a:pt x="0" y="4"/>
                    </a:lnTo>
                    <a:lnTo>
                      <a:pt x="2" y="2"/>
                    </a:lnTo>
                    <a:lnTo>
                      <a:pt x="4" y="2"/>
                    </a:lnTo>
                    <a:lnTo>
                      <a:pt x="4" y="0"/>
                    </a:lnTo>
                    <a:lnTo>
                      <a:pt x="6" y="0"/>
                    </a:lnTo>
                    <a:lnTo>
                      <a:pt x="12" y="4"/>
                    </a:lnTo>
                    <a:lnTo>
                      <a:pt x="16" y="10"/>
                    </a:lnTo>
                    <a:lnTo>
                      <a:pt x="18" y="14"/>
                    </a:lnTo>
                    <a:lnTo>
                      <a:pt x="20" y="18"/>
                    </a:lnTo>
                    <a:lnTo>
                      <a:pt x="20" y="20"/>
                    </a:lnTo>
                    <a:lnTo>
                      <a:pt x="20" y="22"/>
                    </a:lnTo>
                    <a:lnTo>
                      <a:pt x="20" y="24"/>
                    </a:lnTo>
                    <a:lnTo>
                      <a:pt x="18" y="2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3" name="Freeform 2030"/>
              <p:cNvSpPr>
                <a:spLocks/>
              </p:cNvSpPr>
              <p:nvPr/>
            </p:nvSpPr>
            <p:spPr bwMode="auto">
              <a:xfrm>
                <a:off x="2266" y="3720"/>
                <a:ext cx="16" cy="16"/>
              </a:xfrm>
              <a:custGeom>
                <a:avLst/>
                <a:gdLst/>
                <a:ahLst/>
                <a:cxnLst>
                  <a:cxn ang="0">
                    <a:pos x="6" y="16"/>
                  </a:cxn>
                  <a:cxn ang="0">
                    <a:pos x="4" y="16"/>
                  </a:cxn>
                  <a:cxn ang="0">
                    <a:pos x="2" y="16"/>
                  </a:cxn>
                  <a:cxn ang="0">
                    <a:pos x="0" y="10"/>
                  </a:cxn>
                  <a:cxn ang="0">
                    <a:pos x="0" y="8"/>
                  </a:cxn>
                  <a:cxn ang="0">
                    <a:pos x="2" y="6"/>
                  </a:cxn>
                  <a:cxn ang="0">
                    <a:pos x="4" y="6"/>
                  </a:cxn>
                  <a:cxn ang="0">
                    <a:pos x="6" y="6"/>
                  </a:cxn>
                  <a:cxn ang="0">
                    <a:pos x="4" y="4"/>
                  </a:cxn>
                  <a:cxn ang="0">
                    <a:pos x="2" y="2"/>
                  </a:cxn>
                  <a:cxn ang="0">
                    <a:pos x="2" y="0"/>
                  </a:cxn>
                  <a:cxn ang="0">
                    <a:pos x="4" y="0"/>
                  </a:cxn>
                  <a:cxn ang="0">
                    <a:pos x="12" y="0"/>
                  </a:cxn>
                  <a:cxn ang="0">
                    <a:pos x="16" y="0"/>
                  </a:cxn>
                  <a:cxn ang="0">
                    <a:pos x="16" y="2"/>
                  </a:cxn>
                  <a:cxn ang="0">
                    <a:pos x="12" y="6"/>
                  </a:cxn>
                  <a:cxn ang="0">
                    <a:pos x="10" y="6"/>
                  </a:cxn>
                  <a:cxn ang="0">
                    <a:pos x="8" y="6"/>
                  </a:cxn>
                  <a:cxn ang="0">
                    <a:pos x="8" y="10"/>
                  </a:cxn>
                  <a:cxn ang="0">
                    <a:pos x="8" y="14"/>
                  </a:cxn>
                  <a:cxn ang="0">
                    <a:pos x="8" y="16"/>
                  </a:cxn>
                  <a:cxn ang="0">
                    <a:pos x="6" y="16"/>
                  </a:cxn>
                </a:cxnLst>
                <a:rect l="0" t="0" r="r" b="b"/>
                <a:pathLst>
                  <a:path w="16" h="16">
                    <a:moveTo>
                      <a:pt x="6" y="16"/>
                    </a:moveTo>
                    <a:lnTo>
                      <a:pt x="4" y="16"/>
                    </a:lnTo>
                    <a:lnTo>
                      <a:pt x="2" y="16"/>
                    </a:lnTo>
                    <a:lnTo>
                      <a:pt x="0" y="10"/>
                    </a:lnTo>
                    <a:lnTo>
                      <a:pt x="0" y="8"/>
                    </a:lnTo>
                    <a:lnTo>
                      <a:pt x="2" y="6"/>
                    </a:lnTo>
                    <a:lnTo>
                      <a:pt x="4" y="6"/>
                    </a:lnTo>
                    <a:lnTo>
                      <a:pt x="6" y="6"/>
                    </a:lnTo>
                    <a:lnTo>
                      <a:pt x="4" y="4"/>
                    </a:lnTo>
                    <a:lnTo>
                      <a:pt x="2" y="2"/>
                    </a:lnTo>
                    <a:lnTo>
                      <a:pt x="2" y="0"/>
                    </a:lnTo>
                    <a:lnTo>
                      <a:pt x="4" y="0"/>
                    </a:lnTo>
                    <a:lnTo>
                      <a:pt x="12" y="0"/>
                    </a:lnTo>
                    <a:lnTo>
                      <a:pt x="16" y="0"/>
                    </a:lnTo>
                    <a:lnTo>
                      <a:pt x="16" y="2"/>
                    </a:lnTo>
                    <a:lnTo>
                      <a:pt x="12" y="6"/>
                    </a:lnTo>
                    <a:lnTo>
                      <a:pt x="10" y="6"/>
                    </a:lnTo>
                    <a:lnTo>
                      <a:pt x="8" y="6"/>
                    </a:lnTo>
                    <a:lnTo>
                      <a:pt x="8" y="10"/>
                    </a:lnTo>
                    <a:lnTo>
                      <a:pt x="8" y="14"/>
                    </a:lnTo>
                    <a:lnTo>
                      <a:pt x="8" y="16"/>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4" name="Freeform 2031"/>
              <p:cNvSpPr>
                <a:spLocks/>
              </p:cNvSpPr>
              <p:nvPr/>
            </p:nvSpPr>
            <p:spPr bwMode="auto">
              <a:xfrm>
                <a:off x="2282" y="3728"/>
                <a:ext cx="4" cy="10"/>
              </a:xfrm>
              <a:custGeom>
                <a:avLst/>
                <a:gdLst/>
                <a:ahLst/>
                <a:cxnLst>
                  <a:cxn ang="0">
                    <a:pos x="2" y="8"/>
                  </a:cxn>
                  <a:cxn ang="0">
                    <a:pos x="0" y="8"/>
                  </a:cxn>
                  <a:cxn ang="0">
                    <a:pos x="0" y="6"/>
                  </a:cxn>
                  <a:cxn ang="0">
                    <a:pos x="0" y="4"/>
                  </a:cxn>
                  <a:cxn ang="0">
                    <a:pos x="0" y="0"/>
                  </a:cxn>
                  <a:cxn ang="0">
                    <a:pos x="4" y="0"/>
                  </a:cxn>
                  <a:cxn ang="0">
                    <a:pos x="4" y="2"/>
                  </a:cxn>
                  <a:cxn ang="0">
                    <a:pos x="4" y="10"/>
                  </a:cxn>
                  <a:cxn ang="0">
                    <a:pos x="2" y="10"/>
                  </a:cxn>
                  <a:cxn ang="0">
                    <a:pos x="2" y="8"/>
                  </a:cxn>
                </a:cxnLst>
                <a:rect l="0" t="0" r="r" b="b"/>
                <a:pathLst>
                  <a:path w="4" h="10">
                    <a:moveTo>
                      <a:pt x="2" y="8"/>
                    </a:moveTo>
                    <a:lnTo>
                      <a:pt x="0" y="8"/>
                    </a:lnTo>
                    <a:lnTo>
                      <a:pt x="0" y="6"/>
                    </a:lnTo>
                    <a:lnTo>
                      <a:pt x="0" y="4"/>
                    </a:lnTo>
                    <a:lnTo>
                      <a:pt x="0" y="0"/>
                    </a:lnTo>
                    <a:lnTo>
                      <a:pt x="4" y="0"/>
                    </a:lnTo>
                    <a:lnTo>
                      <a:pt x="4" y="2"/>
                    </a:lnTo>
                    <a:lnTo>
                      <a:pt x="4" y="10"/>
                    </a:lnTo>
                    <a:lnTo>
                      <a:pt x="2" y="10"/>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5" name="Freeform 2032"/>
              <p:cNvSpPr>
                <a:spLocks/>
              </p:cNvSpPr>
              <p:nvPr/>
            </p:nvSpPr>
            <p:spPr bwMode="auto">
              <a:xfrm>
                <a:off x="2288" y="3730"/>
                <a:ext cx="10" cy="12"/>
              </a:xfrm>
              <a:custGeom>
                <a:avLst/>
                <a:gdLst/>
                <a:ahLst/>
                <a:cxnLst>
                  <a:cxn ang="0">
                    <a:pos x="10" y="12"/>
                  </a:cxn>
                  <a:cxn ang="0">
                    <a:pos x="6" y="12"/>
                  </a:cxn>
                  <a:cxn ang="0">
                    <a:pos x="4" y="12"/>
                  </a:cxn>
                  <a:cxn ang="0">
                    <a:pos x="2" y="10"/>
                  </a:cxn>
                  <a:cxn ang="0">
                    <a:pos x="0" y="10"/>
                  </a:cxn>
                  <a:cxn ang="0">
                    <a:pos x="0" y="6"/>
                  </a:cxn>
                  <a:cxn ang="0">
                    <a:pos x="0" y="4"/>
                  </a:cxn>
                  <a:cxn ang="0">
                    <a:pos x="0" y="2"/>
                  </a:cxn>
                  <a:cxn ang="0">
                    <a:pos x="2" y="0"/>
                  </a:cxn>
                  <a:cxn ang="0">
                    <a:pos x="4" y="0"/>
                  </a:cxn>
                  <a:cxn ang="0">
                    <a:pos x="8" y="2"/>
                  </a:cxn>
                  <a:cxn ang="0">
                    <a:pos x="10" y="8"/>
                  </a:cxn>
                  <a:cxn ang="0">
                    <a:pos x="10" y="10"/>
                  </a:cxn>
                  <a:cxn ang="0">
                    <a:pos x="10" y="12"/>
                  </a:cxn>
                </a:cxnLst>
                <a:rect l="0" t="0" r="r" b="b"/>
                <a:pathLst>
                  <a:path w="10" h="12">
                    <a:moveTo>
                      <a:pt x="10" y="12"/>
                    </a:moveTo>
                    <a:lnTo>
                      <a:pt x="6" y="12"/>
                    </a:lnTo>
                    <a:lnTo>
                      <a:pt x="4" y="12"/>
                    </a:lnTo>
                    <a:lnTo>
                      <a:pt x="2" y="10"/>
                    </a:lnTo>
                    <a:lnTo>
                      <a:pt x="0" y="10"/>
                    </a:lnTo>
                    <a:lnTo>
                      <a:pt x="0" y="6"/>
                    </a:lnTo>
                    <a:lnTo>
                      <a:pt x="0" y="4"/>
                    </a:lnTo>
                    <a:lnTo>
                      <a:pt x="0" y="2"/>
                    </a:lnTo>
                    <a:lnTo>
                      <a:pt x="2" y="0"/>
                    </a:lnTo>
                    <a:lnTo>
                      <a:pt x="4" y="0"/>
                    </a:lnTo>
                    <a:lnTo>
                      <a:pt x="8" y="2"/>
                    </a:lnTo>
                    <a:lnTo>
                      <a:pt x="10" y="8"/>
                    </a:lnTo>
                    <a:lnTo>
                      <a:pt x="10" y="10"/>
                    </a:lnTo>
                    <a:lnTo>
                      <a:pt x="10"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6" name="Freeform 2033"/>
              <p:cNvSpPr>
                <a:spLocks/>
              </p:cNvSpPr>
              <p:nvPr/>
            </p:nvSpPr>
            <p:spPr bwMode="auto">
              <a:xfrm>
                <a:off x="2288" y="3732"/>
                <a:ext cx="22" cy="22"/>
              </a:xfrm>
              <a:custGeom>
                <a:avLst/>
                <a:gdLst/>
                <a:ahLst/>
                <a:cxnLst>
                  <a:cxn ang="0">
                    <a:pos x="8" y="22"/>
                  </a:cxn>
                  <a:cxn ang="0">
                    <a:pos x="2" y="18"/>
                  </a:cxn>
                  <a:cxn ang="0">
                    <a:pos x="0" y="14"/>
                  </a:cxn>
                  <a:cxn ang="0">
                    <a:pos x="0" y="12"/>
                  </a:cxn>
                  <a:cxn ang="0">
                    <a:pos x="0" y="10"/>
                  </a:cxn>
                  <a:cxn ang="0">
                    <a:pos x="2" y="10"/>
                  </a:cxn>
                  <a:cxn ang="0">
                    <a:pos x="4" y="10"/>
                  </a:cxn>
                  <a:cxn ang="0">
                    <a:pos x="8" y="10"/>
                  </a:cxn>
                  <a:cxn ang="0">
                    <a:pos x="10" y="12"/>
                  </a:cxn>
                  <a:cxn ang="0">
                    <a:pos x="12" y="10"/>
                  </a:cxn>
                  <a:cxn ang="0">
                    <a:pos x="12" y="6"/>
                  </a:cxn>
                  <a:cxn ang="0">
                    <a:pos x="12" y="4"/>
                  </a:cxn>
                  <a:cxn ang="0">
                    <a:pos x="12" y="2"/>
                  </a:cxn>
                  <a:cxn ang="0">
                    <a:pos x="10" y="2"/>
                  </a:cxn>
                  <a:cxn ang="0">
                    <a:pos x="10" y="0"/>
                  </a:cxn>
                  <a:cxn ang="0">
                    <a:pos x="12" y="0"/>
                  </a:cxn>
                  <a:cxn ang="0">
                    <a:pos x="16" y="2"/>
                  </a:cxn>
                  <a:cxn ang="0">
                    <a:pos x="18" y="4"/>
                  </a:cxn>
                  <a:cxn ang="0">
                    <a:pos x="22" y="6"/>
                  </a:cxn>
                  <a:cxn ang="0">
                    <a:pos x="22" y="8"/>
                  </a:cxn>
                  <a:cxn ang="0">
                    <a:pos x="22" y="16"/>
                  </a:cxn>
                  <a:cxn ang="0">
                    <a:pos x="22" y="20"/>
                  </a:cxn>
                  <a:cxn ang="0">
                    <a:pos x="22" y="18"/>
                  </a:cxn>
                  <a:cxn ang="0">
                    <a:pos x="20" y="16"/>
                  </a:cxn>
                  <a:cxn ang="0">
                    <a:pos x="18" y="16"/>
                  </a:cxn>
                  <a:cxn ang="0">
                    <a:pos x="14" y="18"/>
                  </a:cxn>
                  <a:cxn ang="0">
                    <a:pos x="12" y="20"/>
                  </a:cxn>
                  <a:cxn ang="0">
                    <a:pos x="10" y="22"/>
                  </a:cxn>
                  <a:cxn ang="0">
                    <a:pos x="8" y="22"/>
                  </a:cxn>
                </a:cxnLst>
                <a:rect l="0" t="0" r="r" b="b"/>
                <a:pathLst>
                  <a:path w="22" h="22">
                    <a:moveTo>
                      <a:pt x="8" y="22"/>
                    </a:moveTo>
                    <a:lnTo>
                      <a:pt x="2" y="18"/>
                    </a:lnTo>
                    <a:lnTo>
                      <a:pt x="0" y="14"/>
                    </a:lnTo>
                    <a:lnTo>
                      <a:pt x="0" y="12"/>
                    </a:lnTo>
                    <a:lnTo>
                      <a:pt x="0" y="10"/>
                    </a:lnTo>
                    <a:lnTo>
                      <a:pt x="2" y="10"/>
                    </a:lnTo>
                    <a:lnTo>
                      <a:pt x="4" y="10"/>
                    </a:lnTo>
                    <a:lnTo>
                      <a:pt x="8" y="10"/>
                    </a:lnTo>
                    <a:lnTo>
                      <a:pt x="10" y="12"/>
                    </a:lnTo>
                    <a:lnTo>
                      <a:pt x="12" y="10"/>
                    </a:lnTo>
                    <a:lnTo>
                      <a:pt x="12" y="6"/>
                    </a:lnTo>
                    <a:lnTo>
                      <a:pt x="12" y="4"/>
                    </a:lnTo>
                    <a:lnTo>
                      <a:pt x="12" y="2"/>
                    </a:lnTo>
                    <a:lnTo>
                      <a:pt x="10" y="2"/>
                    </a:lnTo>
                    <a:lnTo>
                      <a:pt x="10" y="0"/>
                    </a:lnTo>
                    <a:lnTo>
                      <a:pt x="12" y="0"/>
                    </a:lnTo>
                    <a:lnTo>
                      <a:pt x="16" y="2"/>
                    </a:lnTo>
                    <a:lnTo>
                      <a:pt x="18" y="4"/>
                    </a:lnTo>
                    <a:lnTo>
                      <a:pt x="22" y="6"/>
                    </a:lnTo>
                    <a:lnTo>
                      <a:pt x="22" y="8"/>
                    </a:lnTo>
                    <a:lnTo>
                      <a:pt x="22" y="16"/>
                    </a:lnTo>
                    <a:lnTo>
                      <a:pt x="22" y="20"/>
                    </a:lnTo>
                    <a:lnTo>
                      <a:pt x="22" y="18"/>
                    </a:lnTo>
                    <a:lnTo>
                      <a:pt x="20" y="16"/>
                    </a:lnTo>
                    <a:lnTo>
                      <a:pt x="18" y="16"/>
                    </a:lnTo>
                    <a:lnTo>
                      <a:pt x="14" y="18"/>
                    </a:lnTo>
                    <a:lnTo>
                      <a:pt x="12" y="20"/>
                    </a:lnTo>
                    <a:lnTo>
                      <a:pt x="10" y="22"/>
                    </a:lnTo>
                    <a:lnTo>
                      <a:pt x="8" y="2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7" name="Freeform 2034"/>
              <p:cNvSpPr>
                <a:spLocks/>
              </p:cNvSpPr>
              <p:nvPr/>
            </p:nvSpPr>
            <p:spPr bwMode="auto">
              <a:xfrm>
                <a:off x="2310" y="3744"/>
                <a:ext cx="8" cy="18"/>
              </a:xfrm>
              <a:custGeom>
                <a:avLst/>
                <a:gdLst/>
                <a:ahLst/>
                <a:cxnLst>
                  <a:cxn ang="0">
                    <a:pos x="4" y="16"/>
                  </a:cxn>
                  <a:cxn ang="0">
                    <a:pos x="2" y="8"/>
                  </a:cxn>
                  <a:cxn ang="0">
                    <a:pos x="2" y="4"/>
                  </a:cxn>
                  <a:cxn ang="0">
                    <a:pos x="0" y="0"/>
                  </a:cxn>
                  <a:cxn ang="0">
                    <a:pos x="2" y="0"/>
                  </a:cxn>
                  <a:cxn ang="0">
                    <a:pos x="4" y="0"/>
                  </a:cxn>
                  <a:cxn ang="0">
                    <a:pos x="6" y="8"/>
                  </a:cxn>
                  <a:cxn ang="0">
                    <a:pos x="8" y="12"/>
                  </a:cxn>
                  <a:cxn ang="0">
                    <a:pos x="8" y="14"/>
                  </a:cxn>
                  <a:cxn ang="0">
                    <a:pos x="6" y="16"/>
                  </a:cxn>
                  <a:cxn ang="0">
                    <a:pos x="4" y="18"/>
                  </a:cxn>
                  <a:cxn ang="0">
                    <a:pos x="4" y="16"/>
                  </a:cxn>
                </a:cxnLst>
                <a:rect l="0" t="0" r="r" b="b"/>
                <a:pathLst>
                  <a:path w="8" h="18">
                    <a:moveTo>
                      <a:pt x="4" y="16"/>
                    </a:moveTo>
                    <a:lnTo>
                      <a:pt x="2" y="8"/>
                    </a:lnTo>
                    <a:lnTo>
                      <a:pt x="2" y="4"/>
                    </a:lnTo>
                    <a:lnTo>
                      <a:pt x="0" y="0"/>
                    </a:lnTo>
                    <a:lnTo>
                      <a:pt x="2" y="0"/>
                    </a:lnTo>
                    <a:lnTo>
                      <a:pt x="4" y="0"/>
                    </a:lnTo>
                    <a:lnTo>
                      <a:pt x="6" y="8"/>
                    </a:lnTo>
                    <a:lnTo>
                      <a:pt x="8" y="12"/>
                    </a:lnTo>
                    <a:lnTo>
                      <a:pt x="8" y="14"/>
                    </a:lnTo>
                    <a:lnTo>
                      <a:pt x="6" y="16"/>
                    </a:lnTo>
                    <a:lnTo>
                      <a:pt x="4" y="18"/>
                    </a:lnTo>
                    <a:lnTo>
                      <a:pt x="4"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8" name="Freeform 2035"/>
              <p:cNvSpPr>
                <a:spLocks/>
              </p:cNvSpPr>
              <p:nvPr/>
            </p:nvSpPr>
            <p:spPr bwMode="auto">
              <a:xfrm>
                <a:off x="2302" y="3748"/>
                <a:ext cx="8" cy="12"/>
              </a:xfrm>
              <a:custGeom>
                <a:avLst/>
                <a:gdLst/>
                <a:ahLst/>
                <a:cxnLst>
                  <a:cxn ang="0">
                    <a:pos x="6" y="10"/>
                  </a:cxn>
                  <a:cxn ang="0">
                    <a:pos x="2" y="8"/>
                  </a:cxn>
                  <a:cxn ang="0">
                    <a:pos x="0" y="8"/>
                  </a:cxn>
                  <a:cxn ang="0">
                    <a:pos x="0" y="6"/>
                  </a:cxn>
                  <a:cxn ang="0">
                    <a:pos x="0" y="4"/>
                  </a:cxn>
                  <a:cxn ang="0">
                    <a:pos x="4" y="0"/>
                  </a:cxn>
                  <a:cxn ang="0">
                    <a:pos x="6" y="0"/>
                  </a:cxn>
                  <a:cxn ang="0">
                    <a:pos x="6" y="2"/>
                  </a:cxn>
                  <a:cxn ang="0">
                    <a:pos x="8" y="6"/>
                  </a:cxn>
                  <a:cxn ang="0">
                    <a:pos x="8" y="8"/>
                  </a:cxn>
                  <a:cxn ang="0">
                    <a:pos x="8" y="10"/>
                  </a:cxn>
                  <a:cxn ang="0">
                    <a:pos x="8" y="12"/>
                  </a:cxn>
                  <a:cxn ang="0">
                    <a:pos x="6" y="10"/>
                  </a:cxn>
                </a:cxnLst>
                <a:rect l="0" t="0" r="r" b="b"/>
                <a:pathLst>
                  <a:path w="8" h="12">
                    <a:moveTo>
                      <a:pt x="6" y="10"/>
                    </a:moveTo>
                    <a:lnTo>
                      <a:pt x="2" y="8"/>
                    </a:lnTo>
                    <a:lnTo>
                      <a:pt x="0" y="8"/>
                    </a:lnTo>
                    <a:lnTo>
                      <a:pt x="0" y="6"/>
                    </a:lnTo>
                    <a:lnTo>
                      <a:pt x="0" y="4"/>
                    </a:lnTo>
                    <a:lnTo>
                      <a:pt x="4" y="0"/>
                    </a:lnTo>
                    <a:lnTo>
                      <a:pt x="6" y="0"/>
                    </a:lnTo>
                    <a:lnTo>
                      <a:pt x="6" y="2"/>
                    </a:lnTo>
                    <a:lnTo>
                      <a:pt x="8" y="6"/>
                    </a:lnTo>
                    <a:lnTo>
                      <a:pt x="8" y="8"/>
                    </a:lnTo>
                    <a:lnTo>
                      <a:pt x="8" y="10"/>
                    </a:lnTo>
                    <a:lnTo>
                      <a:pt x="8" y="12"/>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49" name="Freeform 2036"/>
              <p:cNvSpPr>
                <a:spLocks/>
              </p:cNvSpPr>
              <p:nvPr/>
            </p:nvSpPr>
            <p:spPr bwMode="auto">
              <a:xfrm>
                <a:off x="2286" y="3758"/>
                <a:ext cx="18" cy="16"/>
              </a:xfrm>
              <a:custGeom>
                <a:avLst/>
                <a:gdLst/>
                <a:ahLst/>
                <a:cxnLst>
                  <a:cxn ang="0">
                    <a:pos x="2" y="16"/>
                  </a:cxn>
                  <a:cxn ang="0">
                    <a:pos x="0" y="16"/>
                  </a:cxn>
                  <a:cxn ang="0">
                    <a:pos x="0" y="14"/>
                  </a:cxn>
                  <a:cxn ang="0">
                    <a:pos x="4" y="12"/>
                  </a:cxn>
                  <a:cxn ang="0">
                    <a:pos x="6" y="10"/>
                  </a:cxn>
                  <a:cxn ang="0">
                    <a:pos x="8" y="8"/>
                  </a:cxn>
                  <a:cxn ang="0">
                    <a:pos x="8" y="6"/>
                  </a:cxn>
                  <a:cxn ang="0">
                    <a:pos x="4" y="8"/>
                  </a:cxn>
                  <a:cxn ang="0">
                    <a:pos x="4" y="10"/>
                  </a:cxn>
                  <a:cxn ang="0">
                    <a:pos x="2" y="10"/>
                  </a:cxn>
                  <a:cxn ang="0">
                    <a:pos x="2" y="8"/>
                  </a:cxn>
                  <a:cxn ang="0">
                    <a:pos x="2" y="6"/>
                  </a:cxn>
                  <a:cxn ang="0">
                    <a:pos x="8" y="2"/>
                  </a:cxn>
                  <a:cxn ang="0">
                    <a:pos x="12" y="0"/>
                  </a:cxn>
                  <a:cxn ang="0">
                    <a:pos x="16" y="0"/>
                  </a:cxn>
                  <a:cxn ang="0">
                    <a:pos x="18" y="2"/>
                  </a:cxn>
                  <a:cxn ang="0">
                    <a:pos x="18" y="6"/>
                  </a:cxn>
                  <a:cxn ang="0">
                    <a:pos x="18" y="8"/>
                  </a:cxn>
                  <a:cxn ang="0">
                    <a:pos x="18" y="10"/>
                  </a:cxn>
                  <a:cxn ang="0">
                    <a:pos x="16" y="12"/>
                  </a:cxn>
                  <a:cxn ang="0">
                    <a:pos x="14" y="12"/>
                  </a:cxn>
                  <a:cxn ang="0">
                    <a:pos x="12" y="8"/>
                  </a:cxn>
                  <a:cxn ang="0">
                    <a:pos x="10" y="10"/>
                  </a:cxn>
                  <a:cxn ang="0">
                    <a:pos x="8" y="12"/>
                  </a:cxn>
                  <a:cxn ang="0">
                    <a:pos x="8" y="14"/>
                  </a:cxn>
                  <a:cxn ang="0">
                    <a:pos x="6" y="14"/>
                  </a:cxn>
                  <a:cxn ang="0">
                    <a:pos x="4" y="14"/>
                  </a:cxn>
                  <a:cxn ang="0">
                    <a:pos x="2" y="14"/>
                  </a:cxn>
                  <a:cxn ang="0">
                    <a:pos x="2" y="16"/>
                  </a:cxn>
                </a:cxnLst>
                <a:rect l="0" t="0" r="r" b="b"/>
                <a:pathLst>
                  <a:path w="18" h="16">
                    <a:moveTo>
                      <a:pt x="2" y="16"/>
                    </a:moveTo>
                    <a:lnTo>
                      <a:pt x="0" y="16"/>
                    </a:lnTo>
                    <a:lnTo>
                      <a:pt x="0" y="14"/>
                    </a:lnTo>
                    <a:lnTo>
                      <a:pt x="4" y="12"/>
                    </a:lnTo>
                    <a:lnTo>
                      <a:pt x="6" y="10"/>
                    </a:lnTo>
                    <a:lnTo>
                      <a:pt x="8" y="8"/>
                    </a:lnTo>
                    <a:lnTo>
                      <a:pt x="8" y="6"/>
                    </a:lnTo>
                    <a:lnTo>
                      <a:pt x="4" y="8"/>
                    </a:lnTo>
                    <a:lnTo>
                      <a:pt x="4" y="10"/>
                    </a:lnTo>
                    <a:lnTo>
                      <a:pt x="2" y="10"/>
                    </a:lnTo>
                    <a:lnTo>
                      <a:pt x="2" y="8"/>
                    </a:lnTo>
                    <a:lnTo>
                      <a:pt x="2" y="6"/>
                    </a:lnTo>
                    <a:lnTo>
                      <a:pt x="8" y="2"/>
                    </a:lnTo>
                    <a:lnTo>
                      <a:pt x="12" y="0"/>
                    </a:lnTo>
                    <a:lnTo>
                      <a:pt x="16" y="0"/>
                    </a:lnTo>
                    <a:lnTo>
                      <a:pt x="18" y="2"/>
                    </a:lnTo>
                    <a:lnTo>
                      <a:pt x="18" y="6"/>
                    </a:lnTo>
                    <a:lnTo>
                      <a:pt x="18" y="8"/>
                    </a:lnTo>
                    <a:lnTo>
                      <a:pt x="18" y="10"/>
                    </a:lnTo>
                    <a:lnTo>
                      <a:pt x="16" y="12"/>
                    </a:lnTo>
                    <a:lnTo>
                      <a:pt x="14" y="12"/>
                    </a:lnTo>
                    <a:lnTo>
                      <a:pt x="12" y="8"/>
                    </a:lnTo>
                    <a:lnTo>
                      <a:pt x="10" y="10"/>
                    </a:lnTo>
                    <a:lnTo>
                      <a:pt x="8" y="12"/>
                    </a:lnTo>
                    <a:lnTo>
                      <a:pt x="8" y="14"/>
                    </a:lnTo>
                    <a:lnTo>
                      <a:pt x="6" y="14"/>
                    </a:lnTo>
                    <a:lnTo>
                      <a:pt x="4" y="14"/>
                    </a:lnTo>
                    <a:lnTo>
                      <a:pt x="2" y="14"/>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0" name="Freeform 2037"/>
              <p:cNvSpPr>
                <a:spLocks/>
              </p:cNvSpPr>
              <p:nvPr/>
            </p:nvSpPr>
            <p:spPr bwMode="auto">
              <a:xfrm>
                <a:off x="2320" y="3760"/>
                <a:ext cx="8" cy="8"/>
              </a:xfrm>
              <a:custGeom>
                <a:avLst/>
                <a:gdLst/>
                <a:ahLst/>
                <a:cxnLst>
                  <a:cxn ang="0">
                    <a:pos x="2" y="8"/>
                  </a:cxn>
                  <a:cxn ang="0">
                    <a:pos x="2" y="6"/>
                  </a:cxn>
                  <a:cxn ang="0">
                    <a:pos x="0" y="4"/>
                  </a:cxn>
                  <a:cxn ang="0">
                    <a:pos x="2" y="0"/>
                  </a:cxn>
                  <a:cxn ang="0">
                    <a:pos x="6" y="0"/>
                  </a:cxn>
                  <a:cxn ang="0">
                    <a:pos x="6" y="2"/>
                  </a:cxn>
                  <a:cxn ang="0">
                    <a:pos x="8" y="4"/>
                  </a:cxn>
                  <a:cxn ang="0">
                    <a:pos x="4" y="8"/>
                  </a:cxn>
                  <a:cxn ang="0">
                    <a:pos x="2" y="8"/>
                  </a:cxn>
                </a:cxnLst>
                <a:rect l="0" t="0" r="r" b="b"/>
                <a:pathLst>
                  <a:path w="8" h="8">
                    <a:moveTo>
                      <a:pt x="2" y="8"/>
                    </a:moveTo>
                    <a:lnTo>
                      <a:pt x="2" y="6"/>
                    </a:lnTo>
                    <a:lnTo>
                      <a:pt x="0" y="4"/>
                    </a:lnTo>
                    <a:lnTo>
                      <a:pt x="2" y="0"/>
                    </a:lnTo>
                    <a:lnTo>
                      <a:pt x="6" y="0"/>
                    </a:lnTo>
                    <a:lnTo>
                      <a:pt x="6" y="2"/>
                    </a:lnTo>
                    <a:lnTo>
                      <a:pt x="8" y="4"/>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1" name="Freeform 2038"/>
              <p:cNvSpPr>
                <a:spLocks/>
              </p:cNvSpPr>
              <p:nvPr/>
            </p:nvSpPr>
            <p:spPr bwMode="auto">
              <a:xfrm>
                <a:off x="2274" y="3762"/>
                <a:ext cx="12" cy="20"/>
              </a:xfrm>
              <a:custGeom>
                <a:avLst/>
                <a:gdLst/>
                <a:ahLst/>
                <a:cxnLst>
                  <a:cxn ang="0">
                    <a:pos x="0" y="20"/>
                  </a:cxn>
                  <a:cxn ang="0">
                    <a:pos x="0" y="16"/>
                  </a:cxn>
                  <a:cxn ang="0">
                    <a:pos x="2" y="14"/>
                  </a:cxn>
                  <a:cxn ang="0">
                    <a:pos x="4" y="12"/>
                  </a:cxn>
                  <a:cxn ang="0">
                    <a:pos x="4" y="8"/>
                  </a:cxn>
                  <a:cxn ang="0">
                    <a:pos x="4" y="4"/>
                  </a:cxn>
                  <a:cxn ang="0">
                    <a:pos x="4" y="2"/>
                  </a:cxn>
                  <a:cxn ang="0">
                    <a:pos x="6" y="2"/>
                  </a:cxn>
                  <a:cxn ang="0">
                    <a:pos x="6" y="0"/>
                  </a:cxn>
                  <a:cxn ang="0">
                    <a:pos x="8" y="0"/>
                  </a:cxn>
                  <a:cxn ang="0">
                    <a:pos x="12" y="4"/>
                  </a:cxn>
                  <a:cxn ang="0">
                    <a:pos x="12" y="6"/>
                  </a:cxn>
                  <a:cxn ang="0">
                    <a:pos x="12" y="8"/>
                  </a:cxn>
                  <a:cxn ang="0">
                    <a:pos x="10" y="8"/>
                  </a:cxn>
                  <a:cxn ang="0">
                    <a:pos x="8" y="12"/>
                  </a:cxn>
                  <a:cxn ang="0">
                    <a:pos x="8" y="14"/>
                  </a:cxn>
                  <a:cxn ang="0">
                    <a:pos x="8" y="16"/>
                  </a:cxn>
                  <a:cxn ang="0">
                    <a:pos x="6" y="18"/>
                  </a:cxn>
                  <a:cxn ang="0">
                    <a:pos x="2" y="20"/>
                  </a:cxn>
                  <a:cxn ang="0">
                    <a:pos x="0" y="20"/>
                  </a:cxn>
                </a:cxnLst>
                <a:rect l="0" t="0" r="r" b="b"/>
                <a:pathLst>
                  <a:path w="12" h="20">
                    <a:moveTo>
                      <a:pt x="0" y="20"/>
                    </a:moveTo>
                    <a:lnTo>
                      <a:pt x="0" y="16"/>
                    </a:lnTo>
                    <a:lnTo>
                      <a:pt x="2" y="14"/>
                    </a:lnTo>
                    <a:lnTo>
                      <a:pt x="4" y="12"/>
                    </a:lnTo>
                    <a:lnTo>
                      <a:pt x="4" y="8"/>
                    </a:lnTo>
                    <a:lnTo>
                      <a:pt x="4" y="4"/>
                    </a:lnTo>
                    <a:lnTo>
                      <a:pt x="4" y="2"/>
                    </a:lnTo>
                    <a:lnTo>
                      <a:pt x="6" y="2"/>
                    </a:lnTo>
                    <a:lnTo>
                      <a:pt x="6" y="0"/>
                    </a:lnTo>
                    <a:lnTo>
                      <a:pt x="8" y="0"/>
                    </a:lnTo>
                    <a:lnTo>
                      <a:pt x="12" y="4"/>
                    </a:lnTo>
                    <a:lnTo>
                      <a:pt x="12" y="6"/>
                    </a:lnTo>
                    <a:lnTo>
                      <a:pt x="12" y="8"/>
                    </a:lnTo>
                    <a:lnTo>
                      <a:pt x="10" y="8"/>
                    </a:lnTo>
                    <a:lnTo>
                      <a:pt x="8" y="12"/>
                    </a:lnTo>
                    <a:lnTo>
                      <a:pt x="8" y="14"/>
                    </a:lnTo>
                    <a:lnTo>
                      <a:pt x="8" y="16"/>
                    </a:lnTo>
                    <a:lnTo>
                      <a:pt x="6" y="18"/>
                    </a:lnTo>
                    <a:lnTo>
                      <a:pt x="2" y="20"/>
                    </a:lnTo>
                    <a:lnTo>
                      <a:pt x="0" y="2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2" name="Freeform 2039"/>
              <p:cNvSpPr>
                <a:spLocks/>
              </p:cNvSpPr>
              <p:nvPr/>
            </p:nvSpPr>
            <p:spPr bwMode="auto">
              <a:xfrm>
                <a:off x="2314" y="3764"/>
                <a:ext cx="8" cy="8"/>
              </a:xfrm>
              <a:custGeom>
                <a:avLst/>
                <a:gdLst/>
                <a:ahLst/>
                <a:cxnLst>
                  <a:cxn ang="0">
                    <a:pos x="6" y="8"/>
                  </a:cxn>
                  <a:cxn ang="0">
                    <a:pos x="4" y="6"/>
                  </a:cxn>
                  <a:cxn ang="0">
                    <a:pos x="2" y="6"/>
                  </a:cxn>
                  <a:cxn ang="0">
                    <a:pos x="0" y="2"/>
                  </a:cxn>
                  <a:cxn ang="0">
                    <a:pos x="0" y="0"/>
                  </a:cxn>
                  <a:cxn ang="0">
                    <a:pos x="4" y="0"/>
                  </a:cxn>
                  <a:cxn ang="0">
                    <a:pos x="6" y="4"/>
                  </a:cxn>
                  <a:cxn ang="0">
                    <a:pos x="8" y="4"/>
                  </a:cxn>
                  <a:cxn ang="0">
                    <a:pos x="8" y="8"/>
                  </a:cxn>
                  <a:cxn ang="0">
                    <a:pos x="6" y="8"/>
                  </a:cxn>
                </a:cxnLst>
                <a:rect l="0" t="0" r="r" b="b"/>
                <a:pathLst>
                  <a:path w="8" h="8">
                    <a:moveTo>
                      <a:pt x="6" y="8"/>
                    </a:moveTo>
                    <a:lnTo>
                      <a:pt x="4" y="6"/>
                    </a:lnTo>
                    <a:lnTo>
                      <a:pt x="2" y="6"/>
                    </a:lnTo>
                    <a:lnTo>
                      <a:pt x="0" y="2"/>
                    </a:lnTo>
                    <a:lnTo>
                      <a:pt x="0" y="0"/>
                    </a:lnTo>
                    <a:lnTo>
                      <a:pt x="4" y="0"/>
                    </a:lnTo>
                    <a:lnTo>
                      <a:pt x="6" y="4"/>
                    </a:lnTo>
                    <a:lnTo>
                      <a:pt x="8" y="4"/>
                    </a:lnTo>
                    <a:lnTo>
                      <a:pt x="8" y="8"/>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3" name="Freeform 2040"/>
              <p:cNvSpPr>
                <a:spLocks/>
              </p:cNvSpPr>
              <p:nvPr/>
            </p:nvSpPr>
            <p:spPr bwMode="auto">
              <a:xfrm>
                <a:off x="2316" y="3776"/>
                <a:ext cx="12" cy="14"/>
              </a:xfrm>
              <a:custGeom>
                <a:avLst/>
                <a:gdLst/>
                <a:ahLst/>
                <a:cxnLst>
                  <a:cxn ang="0">
                    <a:pos x="10" y="14"/>
                  </a:cxn>
                  <a:cxn ang="0">
                    <a:pos x="8" y="14"/>
                  </a:cxn>
                  <a:cxn ang="0">
                    <a:pos x="2" y="10"/>
                  </a:cxn>
                  <a:cxn ang="0">
                    <a:pos x="0" y="10"/>
                  </a:cxn>
                  <a:cxn ang="0">
                    <a:pos x="0" y="8"/>
                  </a:cxn>
                  <a:cxn ang="0">
                    <a:pos x="2" y="8"/>
                  </a:cxn>
                  <a:cxn ang="0">
                    <a:pos x="4" y="8"/>
                  </a:cxn>
                  <a:cxn ang="0">
                    <a:pos x="6" y="6"/>
                  </a:cxn>
                  <a:cxn ang="0">
                    <a:pos x="6" y="2"/>
                  </a:cxn>
                  <a:cxn ang="0">
                    <a:pos x="6" y="0"/>
                  </a:cxn>
                  <a:cxn ang="0">
                    <a:pos x="8" y="2"/>
                  </a:cxn>
                  <a:cxn ang="0">
                    <a:pos x="12" y="12"/>
                  </a:cxn>
                  <a:cxn ang="0">
                    <a:pos x="12" y="14"/>
                  </a:cxn>
                  <a:cxn ang="0">
                    <a:pos x="10" y="14"/>
                  </a:cxn>
                </a:cxnLst>
                <a:rect l="0" t="0" r="r" b="b"/>
                <a:pathLst>
                  <a:path w="12" h="14">
                    <a:moveTo>
                      <a:pt x="10" y="14"/>
                    </a:moveTo>
                    <a:lnTo>
                      <a:pt x="8" y="14"/>
                    </a:lnTo>
                    <a:lnTo>
                      <a:pt x="2" y="10"/>
                    </a:lnTo>
                    <a:lnTo>
                      <a:pt x="0" y="10"/>
                    </a:lnTo>
                    <a:lnTo>
                      <a:pt x="0" y="8"/>
                    </a:lnTo>
                    <a:lnTo>
                      <a:pt x="2" y="8"/>
                    </a:lnTo>
                    <a:lnTo>
                      <a:pt x="4" y="8"/>
                    </a:lnTo>
                    <a:lnTo>
                      <a:pt x="6" y="6"/>
                    </a:lnTo>
                    <a:lnTo>
                      <a:pt x="6" y="2"/>
                    </a:lnTo>
                    <a:lnTo>
                      <a:pt x="6" y="0"/>
                    </a:lnTo>
                    <a:lnTo>
                      <a:pt x="8" y="2"/>
                    </a:lnTo>
                    <a:lnTo>
                      <a:pt x="12" y="12"/>
                    </a:lnTo>
                    <a:lnTo>
                      <a:pt x="12" y="14"/>
                    </a:lnTo>
                    <a:lnTo>
                      <a:pt x="10"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4" name="Freeform 2041"/>
              <p:cNvSpPr>
                <a:spLocks/>
              </p:cNvSpPr>
              <p:nvPr/>
            </p:nvSpPr>
            <p:spPr bwMode="auto">
              <a:xfrm>
                <a:off x="2286" y="3782"/>
                <a:ext cx="10" cy="26"/>
              </a:xfrm>
              <a:custGeom>
                <a:avLst/>
                <a:gdLst/>
                <a:ahLst/>
                <a:cxnLst>
                  <a:cxn ang="0">
                    <a:pos x="4" y="26"/>
                  </a:cxn>
                  <a:cxn ang="0">
                    <a:pos x="2" y="26"/>
                  </a:cxn>
                  <a:cxn ang="0">
                    <a:pos x="0" y="18"/>
                  </a:cxn>
                  <a:cxn ang="0">
                    <a:pos x="2" y="10"/>
                  </a:cxn>
                  <a:cxn ang="0">
                    <a:pos x="4" y="10"/>
                  </a:cxn>
                  <a:cxn ang="0">
                    <a:pos x="4" y="12"/>
                  </a:cxn>
                  <a:cxn ang="0">
                    <a:pos x="6" y="12"/>
                  </a:cxn>
                  <a:cxn ang="0">
                    <a:pos x="8" y="12"/>
                  </a:cxn>
                  <a:cxn ang="0">
                    <a:pos x="6" y="4"/>
                  </a:cxn>
                  <a:cxn ang="0">
                    <a:pos x="6" y="2"/>
                  </a:cxn>
                  <a:cxn ang="0">
                    <a:pos x="4" y="2"/>
                  </a:cxn>
                  <a:cxn ang="0">
                    <a:pos x="4" y="0"/>
                  </a:cxn>
                  <a:cxn ang="0">
                    <a:pos x="6" y="0"/>
                  </a:cxn>
                  <a:cxn ang="0">
                    <a:pos x="8" y="0"/>
                  </a:cxn>
                  <a:cxn ang="0">
                    <a:pos x="10" y="6"/>
                  </a:cxn>
                  <a:cxn ang="0">
                    <a:pos x="10" y="8"/>
                  </a:cxn>
                  <a:cxn ang="0">
                    <a:pos x="10" y="10"/>
                  </a:cxn>
                  <a:cxn ang="0">
                    <a:pos x="8" y="18"/>
                  </a:cxn>
                  <a:cxn ang="0">
                    <a:pos x="6" y="22"/>
                  </a:cxn>
                  <a:cxn ang="0">
                    <a:pos x="4" y="26"/>
                  </a:cxn>
                </a:cxnLst>
                <a:rect l="0" t="0" r="r" b="b"/>
                <a:pathLst>
                  <a:path w="10" h="26">
                    <a:moveTo>
                      <a:pt x="4" y="26"/>
                    </a:moveTo>
                    <a:lnTo>
                      <a:pt x="2" y="26"/>
                    </a:lnTo>
                    <a:lnTo>
                      <a:pt x="0" y="18"/>
                    </a:lnTo>
                    <a:lnTo>
                      <a:pt x="2" y="10"/>
                    </a:lnTo>
                    <a:lnTo>
                      <a:pt x="4" y="10"/>
                    </a:lnTo>
                    <a:lnTo>
                      <a:pt x="4" y="12"/>
                    </a:lnTo>
                    <a:lnTo>
                      <a:pt x="6" y="12"/>
                    </a:lnTo>
                    <a:lnTo>
                      <a:pt x="8" y="12"/>
                    </a:lnTo>
                    <a:lnTo>
                      <a:pt x="6" y="4"/>
                    </a:lnTo>
                    <a:lnTo>
                      <a:pt x="6" y="2"/>
                    </a:lnTo>
                    <a:lnTo>
                      <a:pt x="4" y="2"/>
                    </a:lnTo>
                    <a:lnTo>
                      <a:pt x="4" y="0"/>
                    </a:lnTo>
                    <a:lnTo>
                      <a:pt x="6" y="0"/>
                    </a:lnTo>
                    <a:lnTo>
                      <a:pt x="8" y="0"/>
                    </a:lnTo>
                    <a:lnTo>
                      <a:pt x="10" y="6"/>
                    </a:lnTo>
                    <a:lnTo>
                      <a:pt x="10" y="8"/>
                    </a:lnTo>
                    <a:lnTo>
                      <a:pt x="10" y="10"/>
                    </a:lnTo>
                    <a:lnTo>
                      <a:pt x="8" y="18"/>
                    </a:lnTo>
                    <a:lnTo>
                      <a:pt x="6" y="22"/>
                    </a:lnTo>
                    <a:lnTo>
                      <a:pt x="4" y="2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5" name="Freeform 2042"/>
              <p:cNvSpPr>
                <a:spLocks/>
              </p:cNvSpPr>
              <p:nvPr/>
            </p:nvSpPr>
            <p:spPr bwMode="auto">
              <a:xfrm>
                <a:off x="2306" y="3786"/>
                <a:ext cx="16" cy="14"/>
              </a:xfrm>
              <a:custGeom>
                <a:avLst/>
                <a:gdLst/>
                <a:ahLst/>
                <a:cxnLst>
                  <a:cxn ang="0">
                    <a:pos x="14" y="14"/>
                  </a:cxn>
                  <a:cxn ang="0">
                    <a:pos x="10" y="14"/>
                  </a:cxn>
                  <a:cxn ang="0">
                    <a:pos x="6" y="10"/>
                  </a:cxn>
                  <a:cxn ang="0">
                    <a:pos x="4" y="8"/>
                  </a:cxn>
                  <a:cxn ang="0">
                    <a:pos x="0" y="0"/>
                  </a:cxn>
                  <a:cxn ang="0">
                    <a:pos x="4" y="2"/>
                  </a:cxn>
                  <a:cxn ang="0">
                    <a:pos x="14" y="8"/>
                  </a:cxn>
                  <a:cxn ang="0">
                    <a:pos x="16" y="10"/>
                  </a:cxn>
                  <a:cxn ang="0">
                    <a:pos x="14" y="12"/>
                  </a:cxn>
                  <a:cxn ang="0">
                    <a:pos x="14" y="14"/>
                  </a:cxn>
                </a:cxnLst>
                <a:rect l="0" t="0" r="r" b="b"/>
                <a:pathLst>
                  <a:path w="16" h="14">
                    <a:moveTo>
                      <a:pt x="14" y="14"/>
                    </a:moveTo>
                    <a:lnTo>
                      <a:pt x="10" y="14"/>
                    </a:lnTo>
                    <a:lnTo>
                      <a:pt x="6" y="10"/>
                    </a:lnTo>
                    <a:lnTo>
                      <a:pt x="4" y="8"/>
                    </a:lnTo>
                    <a:lnTo>
                      <a:pt x="0" y="0"/>
                    </a:lnTo>
                    <a:lnTo>
                      <a:pt x="4" y="2"/>
                    </a:lnTo>
                    <a:lnTo>
                      <a:pt x="14" y="8"/>
                    </a:lnTo>
                    <a:lnTo>
                      <a:pt x="16" y="10"/>
                    </a:lnTo>
                    <a:lnTo>
                      <a:pt x="14" y="12"/>
                    </a:lnTo>
                    <a:lnTo>
                      <a:pt x="14"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6" name="Freeform 2043"/>
              <p:cNvSpPr>
                <a:spLocks/>
              </p:cNvSpPr>
              <p:nvPr/>
            </p:nvSpPr>
            <p:spPr bwMode="auto">
              <a:xfrm>
                <a:off x="2282" y="3786"/>
                <a:ext cx="6" cy="10"/>
              </a:xfrm>
              <a:custGeom>
                <a:avLst/>
                <a:gdLst/>
                <a:ahLst/>
                <a:cxnLst>
                  <a:cxn ang="0">
                    <a:pos x="2" y="10"/>
                  </a:cxn>
                  <a:cxn ang="0">
                    <a:pos x="0" y="10"/>
                  </a:cxn>
                  <a:cxn ang="0">
                    <a:pos x="2" y="4"/>
                  </a:cxn>
                  <a:cxn ang="0">
                    <a:pos x="2" y="2"/>
                  </a:cxn>
                  <a:cxn ang="0">
                    <a:pos x="4" y="2"/>
                  </a:cxn>
                  <a:cxn ang="0">
                    <a:pos x="4" y="0"/>
                  </a:cxn>
                  <a:cxn ang="0">
                    <a:pos x="6" y="0"/>
                  </a:cxn>
                  <a:cxn ang="0">
                    <a:pos x="6" y="2"/>
                  </a:cxn>
                  <a:cxn ang="0">
                    <a:pos x="6" y="4"/>
                  </a:cxn>
                  <a:cxn ang="0">
                    <a:pos x="6" y="6"/>
                  </a:cxn>
                  <a:cxn ang="0">
                    <a:pos x="6" y="8"/>
                  </a:cxn>
                  <a:cxn ang="0">
                    <a:pos x="4" y="8"/>
                  </a:cxn>
                  <a:cxn ang="0">
                    <a:pos x="4" y="10"/>
                  </a:cxn>
                  <a:cxn ang="0">
                    <a:pos x="2" y="10"/>
                  </a:cxn>
                </a:cxnLst>
                <a:rect l="0" t="0" r="r" b="b"/>
                <a:pathLst>
                  <a:path w="6" h="10">
                    <a:moveTo>
                      <a:pt x="2" y="10"/>
                    </a:moveTo>
                    <a:lnTo>
                      <a:pt x="0" y="10"/>
                    </a:lnTo>
                    <a:lnTo>
                      <a:pt x="2" y="4"/>
                    </a:lnTo>
                    <a:lnTo>
                      <a:pt x="2" y="2"/>
                    </a:lnTo>
                    <a:lnTo>
                      <a:pt x="4" y="2"/>
                    </a:lnTo>
                    <a:lnTo>
                      <a:pt x="4" y="0"/>
                    </a:lnTo>
                    <a:lnTo>
                      <a:pt x="6" y="0"/>
                    </a:lnTo>
                    <a:lnTo>
                      <a:pt x="6" y="2"/>
                    </a:lnTo>
                    <a:lnTo>
                      <a:pt x="6" y="4"/>
                    </a:lnTo>
                    <a:lnTo>
                      <a:pt x="6" y="6"/>
                    </a:lnTo>
                    <a:lnTo>
                      <a:pt x="6" y="8"/>
                    </a:lnTo>
                    <a:lnTo>
                      <a:pt x="4" y="8"/>
                    </a:lnTo>
                    <a:lnTo>
                      <a:pt x="4" y="10"/>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7" name="Freeform 2044"/>
              <p:cNvSpPr>
                <a:spLocks/>
              </p:cNvSpPr>
              <p:nvPr/>
            </p:nvSpPr>
            <p:spPr bwMode="auto">
              <a:xfrm>
                <a:off x="2328" y="3790"/>
                <a:ext cx="4" cy="6"/>
              </a:xfrm>
              <a:custGeom>
                <a:avLst/>
                <a:gdLst/>
                <a:ahLst/>
                <a:cxnLst>
                  <a:cxn ang="0">
                    <a:pos x="2" y="6"/>
                  </a:cxn>
                  <a:cxn ang="0">
                    <a:pos x="0" y="6"/>
                  </a:cxn>
                  <a:cxn ang="0">
                    <a:pos x="0" y="2"/>
                  </a:cxn>
                  <a:cxn ang="0">
                    <a:pos x="0" y="0"/>
                  </a:cxn>
                  <a:cxn ang="0">
                    <a:pos x="2" y="0"/>
                  </a:cxn>
                  <a:cxn ang="0">
                    <a:pos x="2" y="2"/>
                  </a:cxn>
                  <a:cxn ang="0">
                    <a:pos x="4" y="4"/>
                  </a:cxn>
                  <a:cxn ang="0">
                    <a:pos x="4" y="6"/>
                  </a:cxn>
                  <a:cxn ang="0">
                    <a:pos x="2" y="6"/>
                  </a:cxn>
                </a:cxnLst>
                <a:rect l="0" t="0" r="r" b="b"/>
                <a:pathLst>
                  <a:path w="4" h="6">
                    <a:moveTo>
                      <a:pt x="2" y="6"/>
                    </a:moveTo>
                    <a:lnTo>
                      <a:pt x="0" y="6"/>
                    </a:lnTo>
                    <a:lnTo>
                      <a:pt x="0" y="2"/>
                    </a:lnTo>
                    <a:lnTo>
                      <a:pt x="0" y="0"/>
                    </a:lnTo>
                    <a:lnTo>
                      <a:pt x="2" y="0"/>
                    </a:lnTo>
                    <a:lnTo>
                      <a:pt x="2" y="2"/>
                    </a:lnTo>
                    <a:lnTo>
                      <a:pt x="4" y="4"/>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8" name="Freeform 2045"/>
              <p:cNvSpPr>
                <a:spLocks/>
              </p:cNvSpPr>
              <p:nvPr/>
            </p:nvSpPr>
            <p:spPr bwMode="auto">
              <a:xfrm>
                <a:off x="2292" y="3792"/>
                <a:ext cx="10" cy="18"/>
              </a:xfrm>
              <a:custGeom>
                <a:avLst/>
                <a:gdLst/>
                <a:ahLst/>
                <a:cxnLst>
                  <a:cxn ang="0">
                    <a:pos x="0" y="18"/>
                  </a:cxn>
                  <a:cxn ang="0">
                    <a:pos x="0" y="16"/>
                  </a:cxn>
                  <a:cxn ang="0">
                    <a:pos x="2" y="4"/>
                  </a:cxn>
                  <a:cxn ang="0">
                    <a:pos x="4" y="4"/>
                  </a:cxn>
                  <a:cxn ang="0">
                    <a:pos x="4" y="2"/>
                  </a:cxn>
                  <a:cxn ang="0">
                    <a:pos x="4" y="0"/>
                  </a:cxn>
                  <a:cxn ang="0">
                    <a:pos x="6" y="0"/>
                  </a:cxn>
                  <a:cxn ang="0">
                    <a:pos x="10" y="2"/>
                  </a:cxn>
                  <a:cxn ang="0">
                    <a:pos x="4" y="14"/>
                  </a:cxn>
                  <a:cxn ang="0">
                    <a:pos x="0" y="18"/>
                  </a:cxn>
                </a:cxnLst>
                <a:rect l="0" t="0" r="r" b="b"/>
                <a:pathLst>
                  <a:path w="10" h="18">
                    <a:moveTo>
                      <a:pt x="0" y="18"/>
                    </a:moveTo>
                    <a:lnTo>
                      <a:pt x="0" y="16"/>
                    </a:lnTo>
                    <a:lnTo>
                      <a:pt x="2" y="4"/>
                    </a:lnTo>
                    <a:lnTo>
                      <a:pt x="4" y="4"/>
                    </a:lnTo>
                    <a:lnTo>
                      <a:pt x="4" y="2"/>
                    </a:lnTo>
                    <a:lnTo>
                      <a:pt x="4" y="0"/>
                    </a:lnTo>
                    <a:lnTo>
                      <a:pt x="6" y="0"/>
                    </a:lnTo>
                    <a:lnTo>
                      <a:pt x="10" y="2"/>
                    </a:lnTo>
                    <a:lnTo>
                      <a:pt x="4" y="14"/>
                    </a:lnTo>
                    <a:lnTo>
                      <a:pt x="0" y="1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59" name="Freeform 2046"/>
              <p:cNvSpPr>
                <a:spLocks/>
              </p:cNvSpPr>
              <p:nvPr/>
            </p:nvSpPr>
            <p:spPr bwMode="auto">
              <a:xfrm>
                <a:off x="2322" y="3796"/>
                <a:ext cx="16" cy="18"/>
              </a:xfrm>
              <a:custGeom>
                <a:avLst/>
                <a:gdLst/>
                <a:ahLst/>
                <a:cxnLst>
                  <a:cxn ang="0">
                    <a:pos x="14" y="18"/>
                  </a:cxn>
                  <a:cxn ang="0">
                    <a:pos x="14" y="16"/>
                  </a:cxn>
                  <a:cxn ang="0">
                    <a:pos x="12" y="14"/>
                  </a:cxn>
                  <a:cxn ang="0">
                    <a:pos x="8" y="10"/>
                  </a:cxn>
                  <a:cxn ang="0">
                    <a:pos x="6" y="8"/>
                  </a:cxn>
                  <a:cxn ang="0">
                    <a:pos x="4" y="8"/>
                  </a:cxn>
                  <a:cxn ang="0">
                    <a:pos x="2" y="6"/>
                  </a:cxn>
                  <a:cxn ang="0">
                    <a:pos x="0" y="6"/>
                  </a:cxn>
                  <a:cxn ang="0">
                    <a:pos x="0" y="4"/>
                  </a:cxn>
                  <a:cxn ang="0">
                    <a:pos x="0" y="2"/>
                  </a:cxn>
                  <a:cxn ang="0">
                    <a:pos x="2" y="0"/>
                  </a:cxn>
                  <a:cxn ang="0">
                    <a:pos x="4" y="2"/>
                  </a:cxn>
                  <a:cxn ang="0">
                    <a:pos x="10" y="6"/>
                  </a:cxn>
                  <a:cxn ang="0">
                    <a:pos x="12" y="8"/>
                  </a:cxn>
                  <a:cxn ang="0">
                    <a:pos x="14" y="10"/>
                  </a:cxn>
                  <a:cxn ang="0">
                    <a:pos x="16" y="14"/>
                  </a:cxn>
                  <a:cxn ang="0">
                    <a:pos x="16" y="16"/>
                  </a:cxn>
                  <a:cxn ang="0">
                    <a:pos x="16" y="18"/>
                  </a:cxn>
                  <a:cxn ang="0">
                    <a:pos x="14" y="18"/>
                  </a:cxn>
                </a:cxnLst>
                <a:rect l="0" t="0" r="r" b="b"/>
                <a:pathLst>
                  <a:path w="16" h="18">
                    <a:moveTo>
                      <a:pt x="14" y="18"/>
                    </a:moveTo>
                    <a:lnTo>
                      <a:pt x="14" y="16"/>
                    </a:lnTo>
                    <a:lnTo>
                      <a:pt x="12" y="14"/>
                    </a:lnTo>
                    <a:lnTo>
                      <a:pt x="8" y="10"/>
                    </a:lnTo>
                    <a:lnTo>
                      <a:pt x="6" y="8"/>
                    </a:lnTo>
                    <a:lnTo>
                      <a:pt x="4" y="8"/>
                    </a:lnTo>
                    <a:lnTo>
                      <a:pt x="2" y="6"/>
                    </a:lnTo>
                    <a:lnTo>
                      <a:pt x="0" y="6"/>
                    </a:lnTo>
                    <a:lnTo>
                      <a:pt x="0" y="4"/>
                    </a:lnTo>
                    <a:lnTo>
                      <a:pt x="0" y="2"/>
                    </a:lnTo>
                    <a:lnTo>
                      <a:pt x="2" y="0"/>
                    </a:lnTo>
                    <a:lnTo>
                      <a:pt x="4" y="2"/>
                    </a:lnTo>
                    <a:lnTo>
                      <a:pt x="10" y="6"/>
                    </a:lnTo>
                    <a:lnTo>
                      <a:pt x="12" y="8"/>
                    </a:lnTo>
                    <a:lnTo>
                      <a:pt x="14" y="10"/>
                    </a:lnTo>
                    <a:lnTo>
                      <a:pt x="16" y="14"/>
                    </a:lnTo>
                    <a:lnTo>
                      <a:pt x="16" y="16"/>
                    </a:lnTo>
                    <a:lnTo>
                      <a:pt x="16" y="18"/>
                    </a:lnTo>
                    <a:lnTo>
                      <a:pt x="14" y="1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0" name="Freeform 2047"/>
              <p:cNvSpPr>
                <a:spLocks/>
              </p:cNvSpPr>
              <p:nvPr/>
            </p:nvSpPr>
            <p:spPr bwMode="auto">
              <a:xfrm>
                <a:off x="2298" y="3798"/>
                <a:ext cx="10" cy="8"/>
              </a:xfrm>
              <a:custGeom>
                <a:avLst/>
                <a:gdLst/>
                <a:ahLst/>
                <a:cxnLst>
                  <a:cxn ang="0">
                    <a:pos x="0" y="8"/>
                  </a:cxn>
                  <a:cxn ang="0">
                    <a:pos x="0" y="6"/>
                  </a:cxn>
                  <a:cxn ang="0">
                    <a:pos x="2" y="4"/>
                  </a:cxn>
                  <a:cxn ang="0">
                    <a:pos x="8" y="0"/>
                  </a:cxn>
                  <a:cxn ang="0">
                    <a:pos x="10" y="2"/>
                  </a:cxn>
                  <a:cxn ang="0">
                    <a:pos x="8" y="4"/>
                  </a:cxn>
                  <a:cxn ang="0">
                    <a:pos x="6" y="4"/>
                  </a:cxn>
                  <a:cxn ang="0">
                    <a:pos x="2" y="8"/>
                  </a:cxn>
                  <a:cxn ang="0">
                    <a:pos x="0" y="8"/>
                  </a:cxn>
                </a:cxnLst>
                <a:rect l="0" t="0" r="r" b="b"/>
                <a:pathLst>
                  <a:path w="10" h="8">
                    <a:moveTo>
                      <a:pt x="0" y="8"/>
                    </a:moveTo>
                    <a:lnTo>
                      <a:pt x="0" y="6"/>
                    </a:lnTo>
                    <a:lnTo>
                      <a:pt x="2" y="4"/>
                    </a:lnTo>
                    <a:lnTo>
                      <a:pt x="8" y="0"/>
                    </a:lnTo>
                    <a:lnTo>
                      <a:pt x="10" y="2"/>
                    </a:lnTo>
                    <a:lnTo>
                      <a:pt x="8" y="4"/>
                    </a:lnTo>
                    <a:lnTo>
                      <a:pt x="6" y="4"/>
                    </a:lnTo>
                    <a:lnTo>
                      <a:pt x="2"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1" name="Freeform 2048"/>
              <p:cNvSpPr>
                <a:spLocks/>
              </p:cNvSpPr>
              <p:nvPr/>
            </p:nvSpPr>
            <p:spPr bwMode="auto">
              <a:xfrm>
                <a:off x="2296" y="3804"/>
                <a:ext cx="8" cy="8"/>
              </a:xfrm>
              <a:custGeom>
                <a:avLst/>
                <a:gdLst/>
                <a:ahLst/>
                <a:cxnLst>
                  <a:cxn ang="0">
                    <a:pos x="0" y="8"/>
                  </a:cxn>
                  <a:cxn ang="0">
                    <a:pos x="0" y="6"/>
                  </a:cxn>
                  <a:cxn ang="0">
                    <a:pos x="0" y="4"/>
                  </a:cxn>
                  <a:cxn ang="0">
                    <a:pos x="6" y="0"/>
                  </a:cxn>
                  <a:cxn ang="0">
                    <a:pos x="8" y="2"/>
                  </a:cxn>
                  <a:cxn ang="0">
                    <a:pos x="4" y="6"/>
                  </a:cxn>
                  <a:cxn ang="0">
                    <a:pos x="2" y="8"/>
                  </a:cxn>
                  <a:cxn ang="0">
                    <a:pos x="0" y="8"/>
                  </a:cxn>
                </a:cxnLst>
                <a:rect l="0" t="0" r="r" b="b"/>
                <a:pathLst>
                  <a:path w="8" h="8">
                    <a:moveTo>
                      <a:pt x="0" y="8"/>
                    </a:moveTo>
                    <a:lnTo>
                      <a:pt x="0" y="6"/>
                    </a:lnTo>
                    <a:lnTo>
                      <a:pt x="0" y="4"/>
                    </a:lnTo>
                    <a:lnTo>
                      <a:pt x="6" y="0"/>
                    </a:lnTo>
                    <a:lnTo>
                      <a:pt x="8" y="2"/>
                    </a:lnTo>
                    <a:lnTo>
                      <a:pt x="4" y="6"/>
                    </a:lnTo>
                    <a:lnTo>
                      <a:pt x="2"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2" name="Freeform 2049"/>
              <p:cNvSpPr>
                <a:spLocks/>
              </p:cNvSpPr>
              <p:nvPr/>
            </p:nvSpPr>
            <p:spPr bwMode="auto">
              <a:xfrm>
                <a:off x="2310" y="3806"/>
                <a:ext cx="18" cy="16"/>
              </a:xfrm>
              <a:custGeom>
                <a:avLst/>
                <a:gdLst/>
                <a:ahLst/>
                <a:cxnLst>
                  <a:cxn ang="0">
                    <a:pos x="10" y="16"/>
                  </a:cxn>
                  <a:cxn ang="0">
                    <a:pos x="8" y="12"/>
                  </a:cxn>
                  <a:cxn ang="0">
                    <a:pos x="8" y="10"/>
                  </a:cxn>
                  <a:cxn ang="0">
                    <a:pos x="8" y="8"/>
                  </a:cxn>
                  <a:cxn ang="0">
                    <a:pos x="10" y="8"/>
                  </a:cxn>
                  <a:cxn ang="0">
                    <a:pos x="10" y="10"/>
                  </a:cxn>
                  <a:cxn ang="0">
                    <a:pos x="12" y="10"/>
                  </a:cxn>
                  <a:cxn ang="0">
                    <a:pos x="10" y="6"/>
                  </a:cxn>
                  <a:cxn ang="0">
                    <a:pos x="6" y="4"/>
                  </a:cxn>
                  <a:cxn ang="0">
                    <a:pos x="4" y="4"/>
                  </a:cxn>
                  <a:cxn ang="0">
                    <a:pos x="2" y="4"/>
                  </a:cxn>
                  <a:cxn ang="0">
                    <a:pos x="0" y="4"/>
                  </a:cxn>
                  <a:cxn ang="0">
                    <a:pos x="0" y="2"/>
                  </a:cxn>
                  <a:cxn ang="0">
                    <a:pos x="2" y="0"/>
                  </a:cxn>
                  <a:cxn ang="0">
                    <a:pos x="4" y="0"/>
                  </a:cxn>
                  <a:cxn ang="0">
                    <a:pos x="6" y="0"/>
                  </a:cxn>
                  <a:cxn ang="0">
                    <a:pos x="6" y="2"/>
                  </a:cxn>
                  <a:cxn ang="0">
                    <a:pos x="8" y="2"/>
                  </a:cxn>
                  <a:cxn ang="0">
                    <a:pos x="12" y="6"/>
                  </a:cxn>
                  <a:cxn ang="0">
                    <a:pos x="14" y="6"/>
                  </a:cxn>
                  <a:cxn ang="0">
                    <a:pos x="18" y="12"/>
                  </a:cxn>
                  <a:cxn ang="0">
                    <a:pos x="18" y="14"/>
                  </a:cxn>
                  <a:cxn ang="0">
                    <a:pos x="12" y="16"/>
                  </a:cxn>
                  <a:cxn ang="0">
                    <a:pos x="10" y="16"/>
                  </a:cxn>
                </a:cxnLst>
                <a:rect l="0" t="0" r="r" b="b"/>
                <a:pathLst>
                  <a:path w="18" h="16">
                    <a:moveTo>
                      <a:pt x="10" y="16"/>
                    </a:moveTo>
                    <a:lnTo>
                      <a:pt x="8" y="12"/>
                    </a:lnTo>
                    <a:lnTo>
                      <a:pt x="8" y="10"/>
                    </a:lnTo>
                    <a:lnTo>
                      <a:pt x="8" y="8"/>
                    </a:lnTo>
                    <a:lnTo>
                      <a:pt x="10" y="8"/>
                    </a:lnTo>
                    <a:lnTo>
                      <a:pt x="10" y="10"/>
                    </a:lnTo>
                    <a:lnTo>
                      <a:pt x="12" y="10"/>
                    </a:lnTo>
                    <a:lnTo>
                      <a:pt x="10" y="6"/>
                    </a:lnTo>
                    <a:lnTo>
                      <a:pt x="6" y="4"/>
                    </a:lnTo>
                    <a:lnTo>
                      <a:pt x="4" y="4"/>
                    </a:lnTo>
                    <a:lnTo>
                      <a:pt x="2" y="4"/>
                    </a:lnTo>
                    <a:lnTo>
                      <a:pt x="0" y="4"/>
                    </a:lnTo>
                    <a:lnTo>
                      <a:pt x="0" y="2"/>
                    </a:lnTo>
                    <a:lnTo>
                      <a:pt x="2" y="0"/>
                    </a:lnTo>
                    <a:lnTo>
                      <a:pt x="4" y="0"/>
                    </a:lnTo>
                    <a:lnTo>
                      <a:pt x="6" y="0"/>
                    </a:lnTo>
                    <a:lnTo>
                      <a:pt x="6" y="2"/>
                    </a:lnTo>
                    <a:lnTo>
                      <a:pt x="8" y="2"/>
                    </a:lnTo>
                    <a:lnTo>
                      <a:pt x="12" y="6"/>
                    </a:lnTo>
                    <a:lnTo>
                      <a:pt x="14" y="6"/>
                    </a:lnTo>
                    <a:lnTo>
                      <a:pt x="18" y="12"/>
                    </a:lnTo>
                    <a:lnTo>
                      <a:pt x="18" y="14"/>
                    </a:lnTo>
                    <a:lnTo>
                      <a:pt x="12" y="16"/>
                    </a:lnTo>
                    <a:lnTo>
                      <a:pt x="10"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3" name="Freeform 2050"/>
              <p:cNvSpPr>
                <a:spLocks/>
              </p:cNvSpPr>
              <p:nvPr/>
            </p:nvSpPr>
            <p:spPr bwMode="auto">
              <a:xfrm>
                <a:off x="2322" y="3810"/>
                <a:ext cx="14" cy="12"/>
              </a:xfrm>
              <a:custGeom>
                <a:avLst/>
                <a:gdLst/>
                <a:ahLst/>
                <a:cxnLst>
                  <a:cxn ang="0">
                    <a:pos x="10" y="12"/>
                  </a:cxn>
                  <a:cxn ang="0">
                    <a:pos x="8" y="10"/>
                  </a:cxn>
                  <a:cxn ang="0">
                    <a:pos x="8" y="8"/>
                  </a:cxn>
                  <a:cxn ang="0">
                    <a:pos x="4" y="6"/>
                  </a:cxn>
                  <a:cxn ang="0">
                    <a:pos x="2" y="2"/>
                  </a:cxn>
                  <a:cxn ang="0">
                    <a:pos x="0" y="0"/>
                  </a:cxn>
                  <a:cxn ang="0">
                    <a:pos x="2" y="0"/>
                  </a:cxn>
                  <a:cxn ang="0">
                    <a:pos x="4" y="0"/>
                  </a:cxn>
                  <a:cxn ang="0">
                    <a:pos x="6" y="2"/>
                  </a:cxn>
                  <a:cxn ang="0">
                    <a:pos x="8" y="4"/>
                  </a:cxn>
                  <a:cxn ang="0">
                    <a:pos x="12" y="6"/>
                  </a:cxn>
                  <a:cxn ang="0">
                    <a:pos x="12" y="8"/>
                  </a:cxn>
                  <a:cxn ang="0">
                    <a:pos x="14" y="10"/>
                  </a:cxn>
                  <a:cxn ang="0">
                    <a:pos x="14" y="12"/>
                  </a:cxn>
                  <a:cxn ang="0">
                    <a:pos x="12" y="12"/>
                  </a:cxn>
                  <a:cxn ang="0">
                    <a:pos x="10" y="12"/>
                  </a:cxn>
                </a:cxnLst>
                <a:rect l="0" t="0" r="r" b="b"/>
                <a:pathLst>
                  <a:path w="14" h="12">
                    <a:moveTo>
                      <a:pt x="10" y="12"/>
                    </a:moveTo>
                    <a:lnTo>
                      <a:pt x="8" y="10"/>
                    </a:lnTo>
                    <a:lnTo>
                      <a:pt x="8" y="8"/>
                    </a:lnTo>
                    <a:lnTo>
                      <a:pt x="4" y="6"/>
                    </a:lnTo>
                    <a:lnTo>
                      <a:pt x="2" y="2"/>
                    </a:lnTo>
                    <a:lnTo>
                      <a:pt x="0" y="0"/>
                    </a:lnTo>
                    <a:lnTo>
                      <a:pt x="2" y="0"/>
                    </a:lnTo>
                    <a:lnTo>
                      <a:pt x="4" y="0"/>
                    </a:lnTo>
                    <a:lnTo>
                      <a:pt x="6" y="2"/>
                    </a:lnTo>
                    <a:lnTo>
                      <a:pt x="8" y="4"/>
                    </a:lnTo>
                    <a:lnTo>
                      <a:pt x="12" y="6"/>
                    </a:lnTo>
                    <a:lnTo>
                      <a:pt x="12" y="8"/>
                    </a:lnTo>
                    <a:lnTo>
                      <a:pt x="14" y="10"/>
                    </a:lnTo>
                    <a:lnTo>
                      <a:pt x="14" y="12"/>
                    </a:lnTo>
                    <a:lnTo>
                      <a:pt x="12" y="12"/>
                    </a:lnTo>
                    <a:lnTo>
                      <a:pt x="10"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4" name="Freeform 2051"/>
              <p:cNvSpPr>
                <a:spLocks/>
              </p:cNvSpPr>
              <p:nvPr/>
            </p:nvSpPr>
            <p:spPr bwMode="auto">
              <a:xfrm>
                <a:off x="2294" y="3812"/>
                <a:ext cx="8" cy="6"/>
              </a:xfrm>
              <a:custGeom>
                <a:avLst/>
                <a:gdLst/>
                <a:ahLst/>
                <a:cxnLst>
                  <a:cxn ang="0">
                    <a:pos x="4" y="6"/>
                  </a:cxn>
                  <a:cxn ang="0">
                    <a:pos x="0" y="6"/>
                  </a:cxn>
                  <a:cxn ang="0">
                    <a:pos x="0" y="2"/>
                  </a:cxn>
                  <a:cxn ang="0">
                    <a:pos x="6" y="2"/>
                  </a:cxn>
                  <a:cxn ang="0">
                    <a:pos x="8" y="0"/>
                  </a:cxn>
                  <a:cxn ang="0">
                    <a:pos x="8" y="2"/>
                  </a:cxn>
                  <a:cxn ang="0">
                    <a:pos x="6" y="6"/>
                  </a:cxn>
                  <a:cxn ang="0">
                    <a:pos x="4" y="6"/>
                  </a:cxn>
                </a:cxnLst>
                <a:rect l="0" t="0" r="r" b="b"/>
                <a:pathLst>
                  <a:path w="8" h="6">
                    <a:moveTo>
                      <a:pt x="4" y="6"/>
                    </a:moveTo>
                    <a:lnTo>
                      <a:pt x="0" y="6"/>
                    </a:lnTo>
                    <a:lnTo>
                      <a:pt x="0" y="2"/>
                    </a:lnTo>
                    <a:lnTo>
                      <a:pt x="6" y="2"/>
                    </a:lnTo>
                    <a:lnTo>
                      <a:pt x="8" y="0"/>
                    </a:lnTo>
                    <a:lnTo>
                      <a:pt x="8" y="2"/>
                    </a:lnTo>
                    <a:lnTo>
                      <a:pt x="6"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5" name="Freeform 2052"/>
              <p:cNvSpPr>
                <a:spLocks/>
              </p:cNvSpPr>
              <p:nvPr/>
            </p:nvSpPr>
            <p:spPr bwMode="auto">
              <a:xfrm>
                <a:off x="2324" y="3822"/>
                <a:ext cx="14" cy="18"/>
              </a:xfrm>
              <a:custGeom>
                <a:avLst/>
                <a:gdLst/>
                <a:ahLst/>
                <a:cxnLst>
                  <a:cxn ang="0">
                    <a:pos x="6" y="18"/>
                  </a:cxn>
                  <a:cxn ang="0">
                    <a:pos x="4" y="18"/>
                  </a:cxn>
                  <a:cxn ang="0">
                    <a:pos x="0" y="14"/>
                  </a:cxn>
                  <a:cxn ang="0">
                    <a:pos x="0" y="12"/>
                  </a:cxn>
                  <a:cxn ang="0">
                    <a:pos x="0" y="10"/>
                  </a:cxn>
                  <a:cxn ang="0">
                    <a:pos x="2" y="10"/>
                  </a:cxn>
                  <a:cxn ang="0">
                    <a:pos x="4" y="8"/>
                  </a:cxn>
                  <a:cxn ang="0">
                    <a:pos x="8" y="2"/>
                  </a:cxn>
                  <a:cxn ang="0">
                    <a:pos x="12" y="2"/>
                  </a:cxn>
                  <a:cxn ang="0">
                    <a:pos x="12" y="0"/>
                  </a:cxn>
                  <a:cxn ang="0">
                    <a:pos x="12" y="2"/>
                  </a:cxn>
                  <a:cxn ang="0">
                    <a:pos x="14" y="2"/>
                  </a:cxn>
                  <a:cxn ang="0">
                    <a:pos x="14" y="6"/>
                  </a:cxn>
                  <a:cxn ang="0">
                    <a:pos x="12" y="12"/>
                  </a:cxn>
                  <a:cxn ang="0">
                    <a:pos x="10" y="16"/>
                  </a:cxn>
                  <a:cxn ang="0">
                    <a:pos x="8" y="18"/>
                  </a:cxn>
                  <a:cxn ang="0">
                    <a:pos x="8" y="16"/>
                  </a:cxn>
                  <a:cxn ang="0">
                    <a:pos x="8" y="18"/>
                  </a:cxn>
                  <a:cxn ang="0">
                    <a:pos x="6" y="18"/>
                  </a:cxn>
                </a:cxnLst>
                <a:rect l="0" t="0" r="r" b="b"/>
                <a:pathLst>
                  <a:path w="14" h="18">
                    <a:moveTo>
                      <a:pt x="6" y="18"/>
                    </a:moveTo>
                    <a:lnTo>
                      <a:pt x="4" y="18"/>
                    </a:lnTo>
                    <a:lnTo>
                      <a:pt x="0" y="14"/>
                    </a:lnTo>
                    <a:lnTo>
                      <a:pt x="0" y="12"/>
                    </a:lnTo>
                    <a:lnTo>
                      <a:pt x="0" y="10"/>
                    </a:lnTo>
                    <a:lnTo>
                      <a:pt x="2" y="10"/>
                    </a:lnTo>
                    <a:lnTo>
                      <a:pt x="4" y="8"/>
                    </a:lnTo>
                    <a:lnTo>
                      <a:pt x="8" y="2"/>
                    </a:lnTo>
                    <a:lnTo>
                      <a:pt x="12" y="2"/>
                    </a:lnTo>
                    <a:lnTo>
                      <a:pt x="12" y="0"/>
                    </a:lnTo>
                    <a:lnTo>
                      <a:pt x="12" y="2"/>
                    </a:lnTo>
                    <a:lnTo>
                      <a:pt x="14" y="2"/>
                    </a:lnTo>
                    <a:lnTo>
                      <a:pt x="14" y="6"/>
                    </a:lnTo>
                    <a:lnTo>
                      <a:pt x="12" y="12"/>
                    </a:lnTo>
                    <a:lnTo>
                      <a:pt x="10" y="16"/>
                    </a:lnTo>
                    <a:lnTo>
                      <a:pt x="8" y="18"/>
                    </a:lnTo>
                    <a:lnTo>
                      <a:pt x="8" y="16"/>
                    </a:lnTo>
                    <a:lnTo>
                      <a:pt x="8" y="18"/>
                    </a:lnTo>
                    <a:lnTo>
                      <a:pt x="6" y="1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6" name="Freeform 2053"/>
              <p:cNvSpPr>
                <a:spLocks/>
              </p:cNvSpPr>
              <p:nvPr/>
            </p:nvSpPr>
            <p:spPr bwMode="auto">
              <a:xfrm>
                <a:off x="2402" y="3828"/>
                <a:ext cx="128" cy="134"/>
              </a:xfrm>
              <a:custGeom>
                <a:avLst/>
                <a:gdLst/>
                <a:ahLst/>
                <a:cxnLst>
                  <a:cxn ang="0">
                    <a:pos x="62" y="122"/>
                  </a:cxn>
                  <a:cxn ang="0">
                    <a:pos x="56" y="126"/>
                  </a:cxn>
                  <a:cxn ang="0">
                    <a:pos x="46" y="124"/>
                  </a:cxn>
                  <a:cxn ang="0">
                    <a:pos x="56" y="116"/>
                  </a:cxn>
                  <a:cxn ang="0">
                    <a:pos x="50" y="120"/>
                  </a:cxn>
                  <a:cxn ang="0">
                    <a:pos x="42" y="120"/>
                  </a:cxn>
                  <a:cxn ang="0">
                    <a:pos x="36" y="122"/>
                  </a:cxn>
                  <a:cxn ang="0">
                    <a:pos x="36" y="116"/>
                  </a:cxn>
                  <a:cxn ang="0">
                    <a:pos x="26" y="114"/>
                  </a:cxn>
                  <a:cxn ang="0">
                    <a:pos x="12" y="114"/>
                  </a:cxn>
                  <a:cxn ang="0">
                    <a:pos x="0" y="112"/>
                  </a:cxn>
                  <a:cxn ang="0">
                    <a:pos x="6" y="110"/>
                  </a:cxn>
                  <a:cxn ang="0">
                    <a:pos x="10" y="106"/>
                  </a:cxn>
                  <a:cxn ang="0">
                    <a:pos x="10" y="104"/>
                  </a:cxn>
                  <a:cxn ang="0">
                    <a:pos x="14" y="106"/>
                  </a:cxn>
                  <a:cxn ang="0">
                    <a:pos x="22" y="102"/>
                  </a:cxn>
                  <a:cxn ang="0">
                    <a:pos x="38" y="100"/>
                  </a:cxn>
                  <a:cxn ang="0">
                    <a:pos x="48" y="104"/>
                  </a:cxn>
                  <a:cxn ang="0">
                    <a:pos x="48" y="112"/>
                  </a:cxn>
                  <a:cxn ang="0">
                    <a:pos x="54" y="104"/>
                  </a:cxn>
                  <a:cxn ang="0">
                    <a:pos x="64" y="114"/>
                  </a:cxn>
                  <a:cxn ang="0">
                    <a:pos x="58" y="106"/>
                  </a:cxn>
                  <a:cxn ang="0">
                    <a:pos x="50" y="96"/>
                  </a:cxn>
                  <a:cxn ang="0">
                    <a:pos x="42" y="88"/>
                  </a:cxn>
                  <a:cxn ang="0">
                    <a:pos x="66" y="104"/>
                  </a:cxn>
                  <a:cxn ang="0">
                    <a:pos x="66" y="100"/>
                  </a:cxn>
                  <a:cxn ang="0">
                    <a:pos x="78" y="106"/>
                  </a:cxn>
                  <a:cxn ang="0">
                    <a:pos x="78" y="100"/>
                  </a:cxn>
                  <a:cxn ang="0">
                    <a:pos x="96" y="104"/>
                  </a:cxn>
                  <a:cxn ang="0">
                    <a:pos x="96" y="114"/>
                  </a:cxn>
                  <a:cxn ang="0">
                    <a:pos x="100" y="112"/>
                  </a:cxn>
                  <a:cxn ang="0">
                    <a:pos x="106" y="106"/>
                  </a:cxn>
                  <a:cxn ang="0">
                    <a:pos x="100" y="100"/>
                  </a:cxn>
                  <a:cxn ang="0">
                    <a:pos x="90" y="94"/>
                  </a:cxn>
                  <a:cxn ang="0">
                    <a:pos x="72" y="88"/>
                  </a:cxn>
                  <a:cxn ang="0">
                    <a:pos x="68" y="68"/>
                  </a:cxn>
                  <a:cxn ang="0">
                    <a:pos x="98" y="56"/>
                  </a:cxn>
                  <a:cxn ang="0">
                    <a:pos x="98" y="46"/>
                  </a:cxn>
                  <a:cxn ang="0">
                    <a:pos x="76" y="48"/>
                  </a:cxn>
                  <a:cxn ang="0">
                    <a:pos x="66" y="54"/>
                  </a:cxn>
                  <a:cxn ang="0">
                    <a:pos x="56" y="40"/>
                  </a:cxn>
                  <a:cxn ang="0">
                    <a:pos x="62" y="30"/>
                  </a:cxn>
                  <a:cxn ang="0">
                    <a:pos x="72" y="24"/>
                  </a:cxn>
                  <a:cxn ang="0">
                    <a:pos x="62" y="16"/>
                  </a:cxn>
                  <a:cxn ang="0">
                    <a:pos x="72" y="14"/>
                  </a:cxn>
                  <a:cxn ang="0">
                    <a:pos x="80" y="18"/>
                  </a:cxn>
                  <a:cxn ang="0">
                    <a:pos x="98" y="0"/>
                  </a:cxn>
                  <a:cxn ang="0">
                    <a:pos x="108" y="10"/>
                  </a:cxn>
                  <a:cxn ang="0">
                    <a:pos x="126" y="8"/>
                  </a:cxn>
                  <a:cxn ang="0">
                    <a:pos x="128" y="46"/>
                  </a:cxn>
                  <a:cxn ang="0">
                    <a:pos x="124" y="112"/>
                  </a:cxn>
                  <a:cxn ang="0">
                    <a:pos x="118" y="128"/>
                  </a:cxn>
                  <a:cxn ang="0">
                    <a:pos x="118" y="132"/>
                  </a:cxn>
                  <a:cxn ang="0">
                    <a:pos x="90" y="128"/>
                  </a:cxn>
                  <a:cxn ang="0">
                    <a:pos x="82" y="126"/>
                  </a:cxn>
                </a:cxnLst>
                <a:rect l="0" t="0" r="r" b="b"/>
                <a:pathLst>
                  <a:path w="128" h="134">
                    <a:moveTo>
                      <a:pt x="64" y="128"/>
                    </a:moveTo>
                    <a:lnTo>
                      <a:pt x="62" y="128"/>
                    </a:lnTo>
                    <a:lnTo>
                      <a:pt x="60" y="126"/>
                    </a:lnTo>
                    <a:lnTo>
                      <a:pt x="60" y="124"/>
                    </a:lnTo>
                    <a:lnTo>
                      <a:pt x="62" y="124"/>
                    </a:lnTo>
                    <a:lnTo>
                      <a:pt x="62" y="122"/>
                    </a:lnTo>
                    <a:lnTo>
                      <a:pt x="64" y="120"/>
                    </a:lnTo>
                    <a:lnTo>
                      <a:pt x="60" y="122"/>
                    </a:lnTo>
                    <a:lnTo>
                      <a:pt x="60" y="124"/>
                    </a:lnTo>
                    <a:lnTo>
                      <a:pt x="60" y="126"/>
                    </a:lnTo>
                    <a:lnTo>
                      <a:pt x="58" y="126"/>
                    </a:lnTo>
                    <a:lnTo>
                      <a:pt x="56" y="126"/>
                    </a:lnTo>
                    <a:lnTo>
                      <a:pt x="50" y="126"/>
                    </a:lnTo>
                    <a:lnTo>
                      <a:pt x="46" y="128"/>
                    </a:lnTo>
                    <a:lnTo>
                      <a:pt x="44" y="128"/>
                    </a:lnTo>
                    <a:lnTo>
                      <a:pt x="42" y="126"/>
                    </a:lnTo>
                    <a:lnTo>
                      <a:pt x="44" y="124"/>
                    </a:lnTo>
                    <a:lnTo>
                      <a:pt x="46" y="124"/>
                    </a:lnTo>
                    <a:lnTo>
                      <a:pt x="46" y="122"/>
                    </a:lnTo>
                    <a:lnTo>
                      <a:pt x="48" y="122"/>
                    </a:lnTo>
                    <a:lnTo>
                      <a:pt x="50" y="122"/>
                    </a:lnTo>
                    <a:lnTo>
                      <a:pt x="54" y="120"/>
                    </a:lnTo>
                    <a:lnTo>
                      <a:pt x="56" y="118"/>
                    </a:lnTo>
                    <a:lnTo>
                      <a:pt x="56" y="116"/>
                    </a:lnTo>
                    <a:lnTo>
                      <a:pt x="54" y="116"/>
                    </a:lnTo>
                    <a:lnTo>
                      <a:pt x="52" y="116"/>
                    </a:lnTo>
                    <a:lnTo>
                      <a:pt x="50" y="118"/>
                    </a:lnTo>
                    <a:lnTo>
                      <a:pt x="50" y="120"/>
                    </a:lnTo>
                    <a:lnTo>
                      <a:pt x="52" y="120"/>
                    </a:lnTo>
                    <a:lnTo>
                      <a:pt x="50" y="120"/>
                    </a:lnTo>
                    <a:lnTo>
                      <a:pt x="46" y="122"/>
                    </a:lnTo>
                    <a:lnTo>
                      <a:pt x="44" y="122"/>
                    </a:lnTo>
                    <a:lnTo>
                      <a:pt x="40" y="122"/>
                    </a:lnTo>
                    <a:lnTo>
                      <a:pt x="38" y="120"/>
                    </a:lnTo>
                    <a:lnTo>
                      <a:pt x="40" y="120"/>
                    </a:lnTo>
                    <a:lnTo>
                      <a:pt x="42" y="120"/>
                    </a:lnTo>
                    <a:lnTo>
                      <a:pt x="44" y="120"/>
                    </a:lnTo>
                    <a:lnTo>
                      <a:pt x="44" y="118"/>
                    </a:lnTo>
                    <a:lnTo>
                      <a:pt x="42" y="120"/>
                    </a:lnTo>
                    <a:lnTo>
                      <a:pt x="40" y="120"/>
                    </a:lnTo>
                    <a:lnTo>
                      <a:pt x="38" y="120"/>
                    </a:lnTo>
                    <a:lnTo>
                      <a:pt x="36" y="122"/>
                    </a:lnTo>
                    <a:lnTo>
                      <a:pt x="36" y="124"/>
                    </a:lnTo>
                    <a:lnTo>
                      <a:pt x="34" y="124"/>
                    </a:lnTo>
                    <a:lnTo>
                      <a:pt x="36" y="122"/>
                    </a:lnTo>
                    <a:lnTo>
                      <a:pt x="36" y="120"/>
                    </a:lnTo>
                    <a:lnTo>
                      <a:pt x="38" y="116"/>
                    </a:lnTo>
                    <a:lnTo>
                      <a:pt x="36" y="116"/>
                    </a:lnTo>
                    <a:lnTo>
                      <a:pt x="36" y="118"/>
                    </a:lnTo>
                    <a:lnTo>
                      <a:pt x="34" y="118"/>
                    </a:lnTo>
                    <a:lnTo>
                      <a:pt x="30" y="120"/>
                    </a:lnTo>
                    <a:lnTo>
                      <a:pt x="26" y="118"/>
                    </a:lnTo>
                    <a:lnTo>
                      <a:pt x="26" y="116"/>
                    </a:lnTo>
                    <a:lnTo>
                      <a:pt x="26" y="114"/>
                    </a:lnTo>
                    <a:lnTo>
                      <a:pt x="24" y="110"/>
                    </a:lnTo>
                    <a:lnTo>
                      <a:pt x="22" y="112"/>
                    </a:lnTo>
                    <a:lnTo>
                      <a:pt x="18" y="118"/>
                    </a:lnTo>
                    <a:lnTo>
                      <a:pt x="18" y="120"/>
                    </a:lnTo>
                    <a:lnTo>
                      <a:pt x="12" y="116"/>
                    </a:lnTo>
                    <a:lnTo>
                      <a:pt x="12" y="114"/>
                    </a:lnTo>
                    <a:lnTo>
                      <a:pt x="10" y="114"/>
                    </a:lnTo>
                    <a:lnTo>
                      <a:pt x="8" y="116"/>
                    </a:lnTo>
                    <a:lnTo>
                      <a:pt x="6" y="118"/>
                    </a:lnTo>
                    <a:lnTo>
                      <a:pt x="2" y="118"/>
                    </a:lnTo>
                    <a:lnTo>
                      <a:pt x="0" y="116"/>
                    </a:lnTo>
                    <a:lnTo>
                      <a:pt x="0" y="112"/>
                    </a:lnTo>
                    <a:lnTo>
                      <a:pt x="0" y="108"/>
                    </a:lnTo>
                    <a:lnTo>
                      <a:pt x="0" y="106"/>
                    </a:lnTo>
                    <a:lnTo>
                      <a:pt x="2" y="106"/>
                    </a:lnTo>
                    <a:lnTo>
                      <a:pt x="4" y="108"/>
                    </a:lnTo>
                    <a:lnTo>
                      <a:pt x="4" y="110"/>
                    </a:lnTo>
                    <a:lnTo>
                      <a:pt x="6" y="110"/>
                    </a:lnTo>
                    <a:lnTo>
                      <a:pt x="6" y="112"/>
                    </a:lnTo>
                    <a:lnTo>
                      <a:pt x="8" y="112"/>
                    </a:lnTo>
                    <a:lnTo>
                      <a:pt x="12" y="112"/>
                    </a:lnTo>
                    <a:lnTo>
                      <a:pt x="16" y="112"/>
                    </a:lnTo>
                    <a:lnTo>
                      <a:pt x="12" y="106"/>
                    </a:lnTo>
                    <a:lnTo>
                      <a:pt x="10" y="106"/>
                    </a:lnTo>
                    <a:lnTo>
                      <a:pt x="8" y="108"/>
                    </a:lnTo>
                    <a:lnTo>
                      <a:pt x="6" y="106"/>
                    </a:lnTo>
                    <a:lnTo>
                      <a:pt x="6" y="104"/>
                    </a:lnTo>
                    <a:lnTo>
                      <a:pt x="8" y="102"/>
                    </a:lnTo>
                    <a:lnTo>
                      <a:pt x="10" y="102"/>
                    </a:lnTo>
                    <a:lnTo>
                      <a:pt x="10" y="104"/>
                    </a:lnTo>
                    <a:lnTo>
                      <a:pt x="14" y="108"/>
                    </a:lnTo>
                    <a:lnTo>
                      <a:pt x="14" y="110"/>
                    </a:lnTo>
                    <a:lnTo>
                      <a:pt x="16" y="110"/>
                    </a:lnTo>
                    <a:lnTo>
                      <a:pt x="18" y="108"/>
                    </a:lnTo>
                    <a:lnTo>
                      <a:pt x="16" y="106"/>
                    </a:lnTo>
                    <a:lnTo>
                      <a:pt x="14" y="106"/>
                    </a:lnTo>
                    <a:lnTo>
                      <a:pt x="14" y="104"/>
                    </a:lnTo>
                    <a:lnTo>
                      <a:pt x="16" y="104"/>
                    </a:lnTo>
                    <a:lnTo>
                      <a:pt x="20" y="106"/>
                    </a:lnTo>
                    <a:lnTo>
                      <a:pt x="22" y="104"/>
                    </a:lnTo>
                    <a:lnTo>
                      <a:pt x="20" y="104"/>
                    </a:lnTo>
                    <a:lnTo>
                      <a:pt x="22" y="102"/>
                    </a:lnTo>
                    <a:lnTo>
                      <a:pt x="24" y="102"/>
                    </a:lnTo>
                    <a:lnTo>
                      <a:pt x="30" y="104"/>
                    </a:lnTo>
                    <a:lnTo>
                      <a:pt x="38" y="108"/>
                    </a:lnTo>
                    <a:lnTo>
                      <a:pt x="38" y="104"/>
                    </a:lnTo>
                    <a:lnTo>
                      <a:pt x="38" y="102"/>
                    </a:lnTo>
                    <a:lnTo>
                      <a:pt x="38" y="100"/>
                    </a:lnTo>
                    <a:lnTo>
                      <a:pt x="40" y="100"/>
                    </a:lnTo>
                    <a:lnTo>
                      <a:pt x="42" y="100"/>
                    </a:lnTo>
                    <a:lnTo>
                      <a:pt x="44" y="100"/>
                    </a:lnTo>
                    <a:lnTo>
                      <a:pt x="50" y="100"/>
                    </a:lnTo>
                    <a:lnTo>
                      <a:pt x="52" y="100"/>
                    </a:lnTo>
                    <a:lnTo>
                      <a:pt x="48" y="104"/>
                    </a:lnTo>
                    <a:lnTo>
                      <a:pt x="48" y="106"/>
                    </a:lnTo>
                    <a:lnTo>
                      <a:pt x="46" y="110"/>
                    </a:lnTo>
                    <a:lnTo>
                      <a:pt x="46" y="114"/>
                    </a:lnTo>
                    <a:lnTo>
                      <a:pt x="46" y="112"/>
                    </a:lnTo>
                    <a:lnTo>
                      <a:pt x="50" y="116"/>
                    </a:lnTo>
                    <a:lnTo>
                      <a:pt x="48" y="112"/>
                    </a:lnTo>
                    <a:lnTo>
                      <a:pt x="48" y="110"/>
                    </a:lnTo>
                    <a:lnTo>
                      <a:pt x="48" y="106"/>
                    </a:lnTo>
                    <a:lnTo>
                      <a:pt x="50" y="106"/>
                    </a:lnTo>
                    <a:lnTo>
                      <a:pt x="50" y="104"/>
                    </a:lnTo>
                    <a:lnTo>
                      <a:pt x="52" y="102"/>
                    </a:lnTo>
                    <a:lnTo>
                      <a:pt x="54" y="104"/>
                    </a:lnTo>
                    <a:lnTo>
                      <a:pt x="56" y="108"/>
                    </a:lnTo>
                    <a:lnTo>
                      <a:pt x="58" y="108"/>
                    </a:lnTo>
                    <a:lnTo>
                      <a:pt x="60" y="110"/>
                    </a:lnTo>
                    <a:lnTo>
                      <a:pt x="62" y="110"/>
                    </a:lnTo>
                    <a:lnTo>
                      <a:pt x="62" y="112"/>
                    </a:lnTo>
                    <a:lnTo>
                      <a:pt x="64" y="114"/>
                    </a:lnTo>
                    <a:lnTo>
                      <a:pt x="68" y="112"/>
                    </a:lnTo>
                    <a:lnTo>
                      <a:pt x="64" y="110"/>
                    </a:lnTo>
                    <a:lnTo>
                      <a:pt x="64" y="108"/>
                    </a:lnTo>
                    <a:lnTo>
                      <a:pt x="62" y="108"/>
                    </a:lnTo>
                    <a:lnTo>
                      <a:pt x="60" y="106"/>
                    </a:lnTo>
                    <a:lnTo>
                      <a:pt x="58" y="106"/>
                    </a:lnTo>
                    <a:lnTo>
                      <a:pt x="56" y="104"/>
                    </a:lnTo>
                    <a:lnTo>
                      <a:pt x="54" y="102"/>
                    </a:lnTo>
                    <a:lnTo>
                      <a:pt x="54" y="100"/>
                    </a:lnTo>
                    <a:lnTo>
                      <a:pt x="54" y="98"/>
                    </a:lnTo>
                    <a:lnTo>
                      <a:pt x="52" y="98"/>
                    </a:lnTo>
                    <a:lnTo>
                      <a:pt x="50" y="96"/>
                    </a:lnTo>
                    <a:lnTo>
                      <a:pt x="48" y="96"/>
                    </a:lnTo>
                    <a:lnTo>
                      <a:pt x="44" y="96"/>
                    </a:lnTo>
                    <a:lnTo>
                      <a:pt x="42" y="96"/>
                    </a:lnTo>
                    <a:lnTo>
                      <a:pt x="42" y="94"/>
                    </a:lnTo>
                    <a:lnTo>
                      <a:pt x="40" y="90"/>
                    </a:lnTo>
                    <a:lnTo>
                      <a:pt x="42" y="88"/>
                    </a:lnTo>
                    <a:lnTo>
                      <a:pt x="42" y="90"/>
                    </a:lnTo>
                    <a:lnTo>
                      <a:pt x="44" y="92"/>
                    </a:lnTo>
                    <a:lnTo>
                      <a:pt x="46" y="92"/>
                    </a:lnTo>
                    <a:lnTo>
                      <a:pt x="50" y="94"/>
                    </a:lnTo>
                    <a:lnTo>
                      <a:pt x="60" y="100"/>
                    </a:lnTo>
                    <a:lnTo>
                      <a:pt x="66" y="104"/>
                    </a:lnTo>
                    <a:lnTo>
                      <a:pt x="68" y="104"/>
                    </a:lnTo>
                    <a:lnTo>
                      <a:pt x="68" y="106"/>
                    </a:lnTo>
                    <a:lnTo>
                      <a:pt x="72" y="102"/>
                    </a:lnTo>
                    <a:lnTo>
                      <a:pt x="70" y="102"/>
                    </a:lnTo>
                    <a:lnTo>
                      <a:pt x="68" y="100"/>
                    </a:lnTo>
                    <a:lnTo>
                      <a:pt x="66" y="100"/>
                    </a:lnTo>
                    <a:lnTo>
                      <a:pt x="68" y="98"/>
                    </a:lnTo>
                    <a:lnTo>
                      <a:pt x="70" y="98"/>
                    </a:lnTo>
                    <a:lnTo>
                      <a:pt x="70" y="96"/>
                    </a:lnTo>
                    <a:lnTo>
                      <a:pt x="72" y="96"/>
                    </a:lnTo>
                    <a:lnTo>
                      <a:pt x="74" y="98"/>
                    </a:lnTo>
                    <a:lnTo>
                      <a:pt x="78" y="106"/>
                    </a:lnTo>
                    <a:lnTo>
                      <a:pt x="80" y="112"/>
                    </a:lnTo>
                    <a:lnTo>
                      <a:pt x="82" y="112"/>
                    </a:lnTo>
                    <a:lnTo>
                      <a:pt x="82" y="108"/>
                    </a:lnTo>
                    <a:lnTo>
                      <a:pt x="80" y="102"/>
                    </a:lnTo>
                    <a:lnTo>
                      <a:pt x="80" y="100"/>
                    </a:lnTo>
                    <a:lnTo>
                      <a:pt x="78" y="100"/>
                    </a:lnTo>
                    <a:lnTo>
                      <a:pt x="78" y="98"/>
                    </a:lnTo>
                    <a:lnTo>
                      <a:pt x="80" y="98"/>
                    </a:lnTo>
                    <a:lnTo>
                      <a:pt x="82" y="98"/>
                    </a:lnTo>
                    <a:lnTo>
                      <a:pt x="86" y="100"/>
                    </a:lnTo>
                    <a:lnTo>
                      <a:pt x="88" y="102"/>
                    </a:lnTo>
                    <a:lnTo>
                      <a:pt x="96" y="104"/>
                    </a:lnTo>
                    <a:lnTo>
                      <a:pt x="100" y="106"/>
                    </a:lnTo>
                    <a:lnTo>
                      <a:pt x="102" y="106"/>
                    </a:lnTo>
                    <a:lnTo>
                      <a:pt x="102" y="108"/>
                    </a:lnTo>
                    <a:lnTo>
                      <a:pt x="98" y="112"/>
                    </a:lnTo>
                    <a:lnTo>
                      <a:pt x="96" y="112"/>
                    </a:lnTo>
                    <a:lnTo>
                      <a:pt x="96" y="114"/>
                    </a:lnTo>
                    <a:lnTo>
                      <a:pt x="94" y="116"/>
                    </a:lnTo>
                    <a:lnTo>
                      <a:pt x="96" y="120"/>
                    </a:lnTo>
                    <a:lnTo>
                      <a:pt x="96" y="118"/>
                    </a:lnTo>
                    <a:lnTo>
                      <a:pt x="98" y="116"/>
                    </a:lnTo>
                    <a:lnTo>
                      <a:pt x="98" y="114"/>
                    </a:lnTo>
                    <a:lnTo>
                      <a:pt x="100" y="112"/>
                    </a:lnTo>
                    <a:lnTo>
                      <a:pt x="102" y="112"/>
                    </a:lnTo>
                    <a:lnTo>
                      <a:pt x="104" y="114"/>
                    </a:lnTo>
                    <a:lnTo>
                      <a:pt x="104" y="112"/>
                    </a:lnTo>
                    <a:lnTo>
                      <a:pt x="104" y="110"/>
                    </a:lnTo>
                    <a:lnTo>
                      <a:pt x="104" y="108"/>
                    </a:lnTo>
                    <a:lnTo>
                      <a:pt x="106" y="106"/>
                    </a:lnTo>
                    <a:lnTo>
                      <a:pt x="106" y="108"/>
                    </a:lnTo>
                    <a:lnTo>
                      <a:pt x="108" y="108"/>
                    </a:lnTo>
                    <a:lnTo>
                      <a:pt x="110" y="108"/>
                    </a:lnTo>
                    <a:lnTo>
                      <a:pt x="110" y="106"/>
                    </a:lnTo>
                    <a:lnTo>
                      <a:pt x="108" y="104"/>
                    </a:lnTo>
                    <a:lnTo>
                      <a:pt x="100" y="100"/>
                    </a:lnTo>
                    <a:lnTo>
                      <a:pt x="96" y="98"/>
                    </a:lnTo>
                    <a:lnTo>
                      <a:pt x="94" y="98"/>
                    </a:lnTo>
                    <a:lnTo>
                      <a:pt x="92" y="98"/>
                    </a:lnTo>
                    <a:lnTo>
                      <a:pt x="92" y="96"/>
                    </a:lnTo>
                    <a:lnTo>
                      <a:pt x="90" y="96"/>
                    </a:lnTo>
                    <a:lnTo>
                      <a:pt x="90" y="94"/>
                    </a:lnTo>
                    <a:lnTo>
                      <a:pt x="86" y="94"/>
                    </a:lnTo>
                    <a:lnTo>
                      <a:pt x="84" y="94"/>
                    </a:lnTo>
                    <a:lnTo>
                      <a:pt x="84" y="92"/>
                    </a:lnTo>
                    <a:lnTo>
                      <a:pt x="82" y="92"/>
                    </a:lnTo>
                    <a:lnTo>
                      <a:pt x="78" y="92"/>
                    </a:lnTo>
                    <a:lnTo>
                      <a:pt x="72" y="88"/>
                    </a:lnTo>
                    <a:lnTo>
                      <a:pt x="72" y="86"/>
                    </a:lnTo>
                    <a:lnTo>
                      <a:pt x="68" y="78"/>
                    </a:lnTo>
                    <a:lnTo>
                      <a:pt x="68" y="74"/>
                    </a:lnTo>
                    <a:lnTo>
                      <a:pt x="68" y="72"/>
                    </a:lnTo>
                    <a:lnTo>
                      <a:pt x="68" y="70"/>
                    </a:lnTo>
                    <a:lnTo>
                      <a:pt x="68" y="68"/>
                    </a:lnTo>
                    <a:lnTo>
                      <a:pt x="70" y="68"/>
                    </a:lnTo>
                    <a:lnTo>
                      <a:pt x="78" y="64"/>
                    </a:lnTo>
                    <a:lnTo>
                      <a:pt x="80" y="64"/>
                    </a:lnTo>
                    <a:lnTo>
                      <a:pt x="82" y="64"/>
                    </a:lnTo>
                    <a:lnTo>
                      <a:pt x="84" y="64"/>
                    </a:lnTo>
                    <a:lnTo>
                      <a:pt x="98" y="56"/>
                    </a:lnTo>
                    <a:lnTo>
                      <a:pt x="100" y="56"/>
                    </a:lnTo>
                    <a:lnTo>
                      <a:pt x="100" y="54"/>
                    </a:lnTo>
                    <a:lnTo>
                      <a:pt x="100" y="52"/>
                    </a:lnTo>
                    <a:lnTo>
                      <a:pt x="100" y="48"/>
                    </a:lnTo>
                    <a:lnTo>
                      <a:pt x="100" y="46"/>
                    </a:lnTo>
                    <a:lnTo>
                      <a:pt x="98" y="46"/>
                    </a:lnTo>
                    <a:lnTo>
                      <a:pt x="92" y="46"/>
                    </a:lnTo>
                    <a:lnTo>
                      <a:pt x="90" y="46"/>
                    </a:lnTo>
                    <a:lnTo>
                      <a:pt x="80" y="46"/>
                    </a:lnTo>
                    <a:lnTo>
                      <a:pt x="78" y="46"/>
                    </a:lnTo>
                    <a:lnTo>
                      <a:pt x="78" y="48"/>
                    </a:lnTo>
                    <a:lnTo>
                      <a:pt x="76" y="48"/>
                    </a:lnTo>
                    <a:lnTo>
                      <a:pt x="74" y="48"/>
                    </a:lnTo>
                    <a:lnTo>
                      <a:pt x="74" y="50"/>
                    </a:lnTo>
                    <a:lnTo>
                      <a:pt x="74" y="52"/>
                    </a:lnTo>
                    <a:lnTo>
                      <a:pt x="72" y="52"/>
                    </a:lnTo>
                    <a:lnTo>
                      <a:pt x="68" y="54"/>
                    </a:lnTo>
                    <a:lnTo>
                      <a:pt x="66" y="54"/>
                    </a:lnTo>
                    <a:lnTo>
                      <a:pt x="66" y="52"/>
                    </a:lnTo>
                    <a:lnTo>
                      <a:pt x="64" y="52"/>
                    </a:lnTo>
                    <a:lnTo>
                      <a:pt x="58" y="48"/>
                    </a:lnTo>
                    <a:lnTo>
                      <a:pt x="58" y="46"/>
                    </a:lnTo>
                    <a:lnTo>
                      <a:pt x="56" y="44"/>
                    </a:lnTo>
                    <a:lnTo>
                      <a:pt x="56" y="40"/>
                    </a:lnTo>
                    <a:lnTo>
                      <a:pt x="58" y="30"/>
                    </a:lnTo>
                    <a:lnTo>
                      <a:pt x="58" y="28"/>
                    </a:lnTo>
                    <a:lnTo>
                      <a:pt x="60" y="28"/>
                    </a:lnTo>
                    <a:lnTo>
                      <a:pt x="62" y="26"/>
                    </a:lnTo>
                    <a:lnTo>
                      <a:pt x="62" y="28"/>
                    </a:lnTo>
                    <a:lnTo>
                      <a:pt x="62" y="30"/>
                    </a:lnTo>
                    <a:lnTo>
                      <a:pt x="64" y="30"/>
                    </a:lnTo>
                    <a:lnTo>
                      <a:pt x="68" y="28"/>
                    </a:lnTo>
                    <a:lnTo>
                      <a:pt x="70" y="28"/>
                    </a:lnTo>
                    <a:lnTo>
                      <a:pt x="72" y="28"/>
                    </a:lnTo>
                    <a:lnTo>
                      <a:pt x="72" y="26"/>
                    </a:lnTo>
                    <a:lnTo>
                      <a:pt x="72" y="24"/>
                    </a:lnTo>
                    <a:lnTo>
                      <a:pt x="72" y="22"/>
                    </a:lnTo>
                    <a:lnTo>
                      <a:pt x="68" y="22"/>
                    </a:lnTo>
                    <a:lnTo>
                      <a:pt x="66" y="18"/>
                    </a:lnTo>
                    <a:lnTo>
                      <a:pt x="66" y="16"/>
                    </a:lnTo>
                    <a:lnTo>
                      <a:pt x="64" y="16"/>
                    </a:lnTo>
                    <a:lnTo>
                      <a:pt x="62" y="16"/>
                    </a:lnTo>
                    <a:lnTo>
                      <a:pt x="60" y="16"/>
                    </a:lnTo>
                    <a:lnTo>
                      <a:pt x="60" y="14"/>
                    </a:lnTo>
                    <a:lnTo>
                      <a:pt x="62" y="14"/>
                    </a:lnTo>
                    <a:lnTo>
                      <a:pt x="70" y="12"/>
                    </a:lnTo>
                    <a:lnTo>
                      <a:pt x="72" y="12"/>
                    </a:lnTo>
                    <a:lnTo>
                      <a:pt x="72" y="14"/>
                    </a:lnTo>
                    <a:lnTo>
                      <a:pt x="74" y="14"/>
                    </a:lnTo>
                    <a:lnTo>
                      <a:pt x="74" y="16"/>
                    </a:lnTo>
                    <a:lnTo>
                      <a:pt x="74" y="18"/>
                    </a:lnTo>
                    <a:lnTo>
                      <a:pt x="76" y="18"/>
                    </a:lnTo>
                    <a:lnTo>
                      <a:pt x="78" y="20"/>
                    </a:lnTo>
                    <a:lnTo>
                      <a:pt x="80" y="18"/>
                    </a:lnTo>
                    <a:lnTo>
                      <a:pt x="86" y="16"/>
                    </a:lnTo>
                    <a:lnTo>
                      <a:pt x="86" y="14"/>
                    </a:lnTo>
                    <a:lnTo>
                      <a:pt x="88" y="14"/>
                    </a:lnTo>
                    <a:lnTo>
                      <a:pt x="92" y="8"/>
                    </a:lnTo>
                    <a:lnTo>
                      <a:pt x="92" y="2"/>
                    </a:lnTo>
                    <a:lnTo>
                      <a:pt x="98" y="0"/>
                    </a:lnTo>
                    <a:lnTo>
                      <a:pt x="100" y="2"/>
                    </a:lnTo>
                    <a:lnTo>
                      <a:pt x="102" y="2"/>
                    </a:lnTo>
                    <a:lnTo>
                      <a:pt x="102" y="4"/>
                    </a:lnTo>
                    <a:lnTo>
                      <a:pt x="106" y="8"/>
                    </a:lnTo>
                    <a:lnTo>
                      <a:pt x="106" y="10"/>
                    </a:lnTo>
                    <a:lnTo>
                      <a:pt x="108" y="10"/>
                    </a:lnTo>
                    <a:lnTo>
                      <a:pt x="108" y="12"/>
                    </a:lnTo>
                    <a:lnTo>
                      <a:pt x="110" y="12"/>
                    </a:lnTo>
                    <a:lnTo>
                      <a:pt x="116" y="10"/>
                    </a:lnTo>
                    <a:lnTo>
                      <a:pt x="120" y="8"/>
                    </a:lnTo>
                    <a:lnTo>
                      <a:pt x="122" y="6"/>
                    </a:lnTo>
                    <a:lnTo>
                      <a:pt x="126" y="8"/>
                    </a:lnTo>
                    <a:lnTo>
                      <a:pt x="128" y="10"/>
                    </a:lnTo>
                    <a:lnTo>
                      <a:pt x="128" y="14"/>
                    </a:lnTo>
                    <a:lnTo>
                      <a:pt x="128" y="18"/>
                    </a:lnTo>
                    <a:lnTo>
                      <a:pt x="128" y="36"/>
                    </a:lnTo>
                    <a:lnTo>
                      <a:pt x="128" y="44"/>
                    </a:lnTo>
                    <a:lnTo>
                      <a:pt x="128" y="46"/>
                    </a:lnTo>
                    <a:lnTo>
                      <a:pt x="126" y="56"/>
                    </a:lnTo>
                    <a:lnTo>
                      <a:pt x="126" y="74"/>
                    </a:lnTo>
                    <a:lnTo>
                      <a:pt x="126" y="82"/>
                    </a:lnTo>
                    <a:lnTo>
                      <a:pt x="124" y="100"/>
                    </a:lnTo>
                    <a:lnTo>
                      <a:pt x="124" y="102"/>
                    </a:lnTo>
                    <a:lnTo>
                      <a:pt x="124" y="112"/>
                    </a:lnTo>
                    <a:lnTo>
                      <a:pt x="122" y="126"/>
                    </a:lnTo>
                    <a:lnTo>
                      <a:pt x="122" y="132"/>
                    </a:lnTo>
                    <a:lnTo>
                      <a:pt x="120" y="132"/>
                    </a:lnTo>
                    <a:lnTo>
                      <a:pt x="120" y="130"/>
                    </a:lnTo>
                    <a:lnTo>
                      <a:pt x="118" y="130"/>
                    </a:lnTo>
                    <a:lnTo>
                      <a:pt x="118" y="128"/>
                    </a:lnTo>
                    <a:lnTo>
                      <a:pt x="112" y="126"/>
                    </a:lnTo>
                    <a:lnTo>
                      <a:pt x="114" y="128"/>
                    </a:lnTo>
                    <a:lnTo>
                      <a:pt x="114" y="130"/>
                    </a:lnTo>
                    <a:lnTo>
                      <a:pt x="116" y="130"/>
                    </a:lnTo>
                    <a:lnTo>
                      <a:pt x="118" y="130"/>
                    </a:lnTo>
                    <a:lnTo>
                      <a:pt x="118" y="132"/>
                    </a:lnTo>
                    <a:lnTo>
                      <a:pt x="116" y="134"/>
                    </a:lnTo>
                    <a:lnTo>
                      <a:pt x="110" y="134"/>
                    </a:lnTo>
                    <a:lnTo>
                      <a:pt x="108" y="134"/>
                    </a:lnTo>
                    <a:lnTo>
                      <a:pt x="106" y="134"/>
                    </a:lnTo>
                    <a:lnTo>
                      <a:pt x="92" y="130"/>
                    </a:lnTo>
                    <a:lnTo>
                      <a:pt x="90" y="128"/>
                    </a:lnTo>
                    <a:lnTo>
                      <a:pt x="86" y="126"/>
                    </a:lnTo>
                    <a:lnTo>
                      <a:pt x="86" y="124"/>
                    </a:lnTo>
                    <a:lnTo>
                      <a:pt x="86" y="120"/>
                    </a:lnTo>
                    <a:lnTo>
                      <a:pt x="84" y="122"/>
                    </a:lnTo>
                    <a:lnTo>
                      <a:pt x="82" y="124"/>
                    </a:lnTo>
                    <a:lnTo>
                      <a:pt x="82" y="126"/>
                    </a:lnTo>
                    <a:lnTo>
                      <a:pt x="70" y="128"/>
                    </a:lnTo>
                    <a:lnTo>
                      <a:pt x="64" y="12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7" name="Freeform 2054"/>
              <p:cNvSpPr>
                <a:spLocks/>
              </p:cNvSpPr>
              <p:nvPr/>
            </p:nvSpPr>
            <p:spPr bwMode="auto">
              <a:xfrm>
                <a:off x="2298" y="3840"/>
                <a:ext cx="64" cy="36"/>
              </a:xfrm>
              <a:custGeom>
                <a:avLst/>
                <a:gdLst/>
                <a:ahLst/>
                <a:cxnLst>
                  <a:cxn ang="0">
                    <a:pos x="52" y="30"/>
                  </a:cxn>
                  <a:cxn ang="0">
                    <a:pos x="56" y="30"/>
                  </a:cxn>
                  <a:cxn ang="0">
                    <a:pos x="58" y="32"/>
                  </a:cxn>
                  <a:cxn ang="0">
                    <a:pos x="64" y="34"/>
                  </a:cxn>
                  <a:cxn ang="0">
                    <a:pos x="62" y="36"/>
                  </a:cxn>
                  <a:cxn ang="0">
                    <a:pos x="58" y="34"/>
                  </a:cxn>
                  <a:cxn ang="0">
                    <a:pos x="48" y="34"/>
                  </a:cxn>
                  <a:cxn ang="0">
                    <a:pos x="48" y="32"/>
                  </a:cxn>
                  <a:cxn ang="0">
                    <a:pos x="46" y="30"/>
                  </a:cxn>
                  <a:cxn ang="0">
                    <a:pos x="44" y="28"/>
                  </a:cxn>
                  <a:cxn ang="0">
                    <a:pos x="40" y="24"/>
                  </a:cxn>
                  <a:cxn ang="0">
                    <a:pos x="36" y="22"/>
                  </a:cxn>
                  <a:cxn ang="0">
                    <a:pos x="32" y="18"/>
                  </a:cxn>
                  <a:cxn ang="0">
                    <a:pos x="30" y="20"/>
                  </a:cxn>
                  <a:cxn ang="0">
                    <a:pos x="28" y="20"/>
                  </a:cxn>
                  <a:cxn ang="0">
                    <a:pos x="26" y="22"/>
                  </a:cxn>
                  <a:cxn ang="0">
                    <a:pos x="18" y="22"/>
                  </a:cxn>
                  <a:cxn ang="0">
                    <a:pos x="16" y="20"/>
                  </a:cxn>
                  <a:cxn ang="0">
                    <a:pos x="16" y="18"/>
                  </a:cxn>
                  <a:cxn ang="0">
                    <a:pos x="12" y="16"/>
                  </a:cxn>
                  <a:cxn ang="0">
                    <a:pos x="10" y="14"/>
                  </a:cxn>
                  <a:cxn ang="0">
                    <a:pos x="8" y="12"/>
                  </a:cxn>
                  <a:cxn ang="0">
                    <a:pos x="6" y="12"/>
                  </a:cxn>
                  <a:cxn ang="0">
                    <a:pos x="6" y="10"/>
                  </a:cxn>
                  <a:cxn ang="0">
                    <a:pos x="8" y="8"/>
                  </a:cxn>
                  <a:cxn ang="0">
                    <a:pos x="6" y="6"/>
                  </a:cxn>
                  <a:cxn ang="0">
                    <a:pos x="4" y="6"/>
                  </a:cxn>
                  <a:cxn ang="0">
                    <a:pos x="2" y="6"/>
                  </a:cxn>
                  <a:cxn ang="0">
                    <a:pos x="0" y="2"/>
                  </a:cxn>
                  <a:cxn ang="0">
                    <a:pos x="2" y="0"/>
                  </a:cxn>
                  <a:cxn ang="0">
                    <a:pos x="4" y="2"/>
                  </a:cxn>
                  <a:cxn ang="0">
                    <a:pos x="10" y="6"/>
                  </a:cxn>
                  <a:cxn ang="0">
                    <a:pos x="12" y="8"/>
                  </a:cxn>
                  <a:cxn ang="0">
                    <a:pos x="14" y="12"/>
                  </a:cxn>
                  <a:cxn ang="0">
                    <a:pos x="14" y="14"/>
                  </a:cxn>
                  <a:cxn ang="0">
                    <a:pos x="20" y="14"/>
                  </a:cxn>
                  <a:cxn ang="0">
                    <a:pos x="22" y="12"/>
                  </a:cxn>
                  <a:cxn ang="0">
                    <a:pos x="24" y="12"/>
                  </a:cxn>
                  <a:cxn ang="0">
                    <a:pos x="28" y="14"/>
                  </a:cxn>
                  <a:cxn ang="0">
                    <a:pos x="32" y="16"/>
                  </a:cxn>
                  <a:cxn ang="0">
                    <a:pos x="34" y="18"/>
                  </a:cxn>
                  <a:cxn ang="0">
                    <a:pos x="36" y="18"/>
                  </a:cxn>
                  <a:cxn ang="0">
                    <a:pos x="40" y="20"/>
                  </a:cxn>
                  <a:cxn ang="0">
                    <a:pos x="42" y="20"/>
                  </a:cxn>
                  <a:cxn ang="0">
                    <a:pos x="42" y="18"/>
                  </a:cxn>
                  <a:cxn ang="0">
                    <a:pos x="44" y="18"/>
                  </a:cxn>
                  <a:cxn ang="0">
                    <a:pos x="46" y="20"/>
                  </a:cxn>
                  <a:cxn ang="0">
                    <a:pos x="46" y="22"/>
                  </a:cxn>
                  <a:cxn ang="0">
                    <a:pos x="46" y="24"/>
                  </a:cxn>
                  <a:cxn ang="0">
                    <a:pos x="46" y="26"/>
                  </a:cxn>
                  <a:cxn ang="0">
                    <a:pos x="46" y="30"/>
                  </a:cxn>
                  <a:cxn ang="0">
                    <a:pos x="48" y="30"/>
                  </a:cxn>
                  <a:cxn ang="0">
                    <a:pos x="48" y="28"/>
                  </a:cxn>
                  <a:cxn ang="0">
                    <a:pos x="48" y="26"/>
                  </a:cxn>
                  <a:cxn ang="0">
                    <a:pos x="48" y="24"/>
                  </a:cxn>
                  <a:cxn ang="0">
                    <a:pos x="48" y="22"/>
                  </a:cxn>
                  <a:cxn ang="0">
                    <a:pos x="50" y="22"/>
                  </a:cxn>
                  <a:cxn ang="0">
                    <a:pos x="50" y="24"/>
                  </a:cxn>
                  <a:cxn ang="0">
                    <a:pos x="54" y="28"/>
                  </a:cxn>
                  <a:cxn ang="0">
                    <a:pos x="52" y="30"/>
                  </a:cxn>
                </a:cxnLst>
                <a:rect l="0" t="0" r="r" b="b"/>
                <a:pathLst>
                  <a:path w="64" h="36">
                    <a:moveTo>
                      <a:pt x="52" y="30"/>
                    </a:moveTo>
                    <a:lnTo>
                      <a:pt x="56" y="30"/>
                    </a:lnTo>
                    <a:lnTo>
                      <a:pt x="58" y="32"/>
                    </a:lnTo>
                    <a:lnTo>
                      <a:pt x="64" y="34"/>
                    </a:lnTo>
                    <a:lnTo>
                      <a:pt x="62" y="36"/>
                    </a:lnTo>
                    <a:lnTo>
                      <a:pt x="58" y="34"/>
                    </a:lnTo>
                    <a:lnTo>
                      <a:pt x="48" y="34"/>
                    </a:lnTo>
                    <a:lnTo>
                      <a:pt x="48" y="32"/>
                    </a:lnTo>
                    <a:lnTo>
                      <a:pt x="46" y="30"/>
                    </a:lnTo>
                    <a:lnTo>
                      <a:pt x="44" y="28"/>
                    </a:lnTo>
                    <a:lnTo>
                      <a:pt x="40" y="24"/>
                    </a:lnTo>
                    <a:lnTo>
                      <a:pt x="36" y="22"/>
                    </a:lnTo>
                    <a:lnTo>
                      <a:pt x="32" y="18"/>
                    </a:lnTo>
                    <a:lnTo>
                      <a:pt x="30" y="20"/>
                    </a:lnTo>
                    <a:lnTo>
                      <a:pt x="28" y="20"/>
                    </a:lnTo>
                    <a:lnTo>
                      <a:pt x="26" y="22"/>
                    </a:lnTo>
                    <a:lnTo>
                      <a:pt x="18" y="22"/>
                    </a:lnTo>
                    <a:lnTo>
                      <a:pt x="16" y="20"/>
                    </a:lnTo>
                    <a:lnTo>
                      <a:pt x="16" y="18"/>
                    </a:lnTo>
                    <a:lnTo>
                      <a:pt x="12" y="16"/>
                    </a:lnTo>
                    <a:lnTo>
                      <a:pt x="10" y="14"/>
                    </a:lnTo>
                    <a:lnTo>
                      <a:pt x="8" y="12"/>
                    </a:lnTo>
                    <a:lnTo>
                      <a:pt x="6" y="12"/>
                    </a:lnTo>
                    <a:lnTo>
                      <a:pt x="6" y="10"/>
                    </a:lnTo>
                    <a:lnTo>
                      <a:pt x="8" y="8"/>
                    </a:lnTo>
                    <a:lnTo>
                      <a:pt x="6" y="6"/>
                    </a:lnTo>
                    <a:lnTo>
                      <a:pt x="4" y="6"/>
                    </a:lnTo>
                    <a:lnTo>
                      <a:pt x="2" y="6"/>
                    </a:lnTo>
                    <a:lnTo>
                      <a:pt x="0" y="2"/>
                    </a:lnTo>
                    <a:lnTo>
                      <a:pt x="2" y="0"/>
                    </a:lnTo>
                    <a:lnTo>
                      <a:pt x="4" y="2"/>
                    </a:lnTo>
                    <a:lnTo>
                      <a:pt x="10" y="6"/>
                    </a:lnTo>
                    <a:lnTo>
                      <a:pt x="12" y="8"/>
                    </a:lnTo>
                    <a:lnTo>
                      <a:pt x="14" y="12"/>
                    </a:lnTo>
                    <a:lnTo>
                      <a:pt x="14" y="14"/>
                    </a:lnTo>
                    <a:lnTo>
                      <a:pt x="20" y="14"/>
                    </a:lnTo>
                    <a:lnTo>
                      <a:pt x="22" y="12"/>
                    </a:lnTo>
                    <a:lnTo>
                      <a:pt x="24" y="12"/>
                    </a:lnTo>
                    <a:lnTo>
                      <a:pt x="28" y="14"/>
                    </a:lnTo>
                    <a:lnTo>
                      <a:pt x="32" y="16"/>
                    </a:lnTo>
                    <a:lnTo>
                      <a:pt x="34" y="18"/>
                    </a:lnTo>
                    <a:lnTo>
                      <a:pt x="36" y="18"/>
                    </a:lnTo>
                    <a:lnTo>
                      <a:pt x="40" y="20"/>
                    </a:lnTo>
                    <a:lnTo>
                      <a:pt x="42" y="20"/>
                    </a:lnTo>
                    <a:lnTo>
                      <a:pt x="42" y="18"/>
                    </a:lnTo>
                    <a:lnTo>
                      <a:pt x="44" y="18"/>
                    </a:lnTo>
                    <a:lnTo>
                      <a:pt x="46" y="20"/>
                    </a:lnTo>
                    <a:lnTo>
                      <a:pt x="46" y="22"/>
                    </a:lnTo>
                    <a:lnTo>
                      <a:pt x="46" y="24"/>
                    </a:lnTo>
                    <a:lnTo>
                      <a:pt x="46" y="26"/>
                    </a:lnTo>
                    <a:lnTo>
                      <a:pt x="46" y="30"/>
                    </a:lnTo>
                    <a:lnTo>
                      <a:pt x="48" y="30"/>
                    </a:lnTo>
                    <a:lnTo>
                      <a:pt x="48" y="28"/>
                    </a:lnTo>
                    <a:lnTo>
                      <a:pt x="48" y="26"/>
                    </a:lnTo>
                    <a:lnTo>
                      <a:pt x="48" y="24"/>
                    </a:lnTo>
                    <a:lnTo>
                      <a:pt x="48" y="22"/>
                    </a:lnTo>
                    <a:lnTo>
                      <a:pt x="50" y="22"/>
                    </a:lnTo>
                    <a:lnTo>
                      <a:pt x="50" y="24"/>
                    </a:lnTo>
                    <a:lnTo>
                      <a:pt x="54" y="28"/>
                    </a:lnTo>
                    <a:lnTo>
                      <a:pt x="52" y="3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8" name="Freeform 2055"/>
              <p:cNvSpPr>
                <a:spLocks/>
              </p:cNvSpPr>
              <p:nvPr/>
            </p:nvSpPr>
            <p:spPr bwMode="auto">
              <a:xfrm>
                <a:off x="2336" y="3848"/>
                <a:ext cx="14" cy="6"/>
              </a:xfrm>
              <a:custGeom>
                <a:avLst/>
                <a:gdLst/>
                <a:ahLst/>
                <a:cxnLst>
                  <a:cxn ang="0">
                    <a:pos x="12" y="6"/>
                  </a:cxn>
                  <a:cxn ang="0">
                    <a:pos x="10" y="6"/>
                  </a:cxn>
                  <a:cxn ang="0">
                    <a:pos x="10" y="4"/>
                  </a:cxn>
                  <a:cxn ang="0">
                    <a:pos x="10" y="2"/>
                  </a:cxn>
                  <a:cxn ang="0">
                    <a:pos x="8" y="2"/>
                  </a:cxn>
                  <a:cxn ang="0">
                    <a:pos x="6" y="2"/>
                  </a:cxn>
                  <a:cxn ang="0">
                    <a:pos x="4" y="2"/>
                  </a:cxn>
                  <a:cxn ang="0">
                    <a:pos x="2" y="2"/>
                  </a:cxn>
                  <a:cxn ang="0">
                    <a:pos x="0" y="2"/>
                  </a:cxn>
                  <a:cxn ang="0">
                    <a:pos x="2" y="0"/>
                  </a:cxn>
                  <a:cxn ang="0">
                    <a:pos x="8" y="0"/>
                  </a:cxn>
                  <a:cxn ang="0">
                    <a:pos x="12" y="0"/>
                  </a:cxn>
                  <a:cxn ang="0">
                    <a:pos x="14" y="2"/>
                  </a:cxn>
                  <a:cxn ang="0">
                    <a:pos x="14" y="6"/>
                  </a:cxn>
                  <a:cxn ang="0">
                    <a:pos x="12" y="6"/>
                  </a:cxn>
                </a:cxnLst>
                <a:rect l="0" t="0" r="r" b="b"/>
                <a:pathLst>
                  <a:path w="14" h="6">
                    <a:moveTo>
                      <a:pt x="12" y="6"/>
                    </a:moveTo>
                    <a:lnTo>
                      <a:pt x="10" y="6"/>
                    </a:lnTo>
                    <a:lnTo>
                      <a:pt x="10" y="4"/>
                    </a:lnTo>
                    <a:lnTo>
                      <a:pt x="10" y="2"/>
                    </a:lnTo>
                    <a:lnTo>
                      <a:pt x="8" y="2"/>
                    </a:lnTo>
                    <a:lnTo>
                      <a:pt x="6" y="2"/>
                    </a:lnTo>
                    <a:lnTo>
                      <a:pt x="4" y="2"/>
                    </a:lnTo>
                    <a:lnTo>
                      <a:pt x="2" y="2"/>
                    </a:lnTo>
                    <a:lnTo>
                      <a:pt x="0" y="2"/>
                    </a:lnTo>
                    <a:lnTo>
                      <a:pt x="2" y="0"/>
                    </a:lnTo>
                    <a:lnTo>
                      <a:pt x="8" y="0"/>
                    </a:lnTo>
                    <a:lnTo>
                      <a:pt x="12" y="0"/>
                    </a:lnTo>
                    <a:lnTo>
                      <a:pt x="14" y="2"/>
                    </a:lnTo>
                    <a:lnTo>
                      <a:pt x="14" y="6"/>
                    </a:lnTo>
                    <a:lnTo>
                      <a:pt x="1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69" name="Freeform 2056"/>
              <p:cNvSpPr>
                <a:spLocks/>
              </p:cNvSpPr>
              <p:nvPr/>
            </p:nvSpPr>
            <p:spPr bwMode="auto">
              <a:xfrm>
                <a:off x="2318" y="3868"/>
                <a:ext cx="8" cy="6"/>
              </a:xfrm>
              <a:custGeom>
                <a:avLst/>
                <a:gdLst/>
                <a:ahLst/>
                <a:cxnLst>
                  <a:cxn ang="0">
                    <a:pos x="8" y="2"/>
                  </a:cxn>
                  <a:cxn ang="0">
                    <a:pos x="6" y="4"/>
                  </a:cxn>
                  <a:cxn ang="0">
                    <a:pos x="4" y="6"/>
                  </a:cxn>
                  <a:cxn ang="0">
                    <a:pos x="2" y="6"/>
                  </a:cxn>
                  <a:cxn ang="0">
                    <a:pos x="0" y="6"/>
                  </a:cxn>
                  <a:cxn ang="0">
                    <a:pos x="0" y="4"/>
                  </a:cxn>
                  <a:cxn ang="0">
                    <a:pos x="2" y="2"/>
                  </a:cxn>
                  <a:cxn ang="0">
                    <a:pos x="4" y="2"/>
                  </a:cxn>
                  <a:cxn ang="0">
                    <a:pos x="6" y="0"/>
                  </a:cxn>
                  <a:cxn ang="0">
                    <a:pos x="8" y="2"/>
                  </a:cxn>
                </a:cxnLst>
                <a:rect l="0" t="0" r="r" b="b"/>
                <a:pathLst>
                  <a:path w="8" h="6">
                    <a:moveTo>
                      <a:pt x="8" y="2"/>
                    </a:moveTo>
                    <a:lnTo>
                      <a:pt x="6" y="4"/>
                    </a:lnTo>
                    <a:lnTo>
                      <a:pt x="4" y="6"/>
                    </a:lnTo>
                    <a:lnTo>
                      <a:pt x="2" y="6"/>
                    </a:lnTo>
                    <a:lnTo>
                      <a:pt x="0" y="6"/>
                    </a:lnTo>
                    <a:lnTo>
                      <a:pt x="0" y="4"/>
                    </a:lnTo>
                    <a:lnTo>
                      <a:pt x="2" y="2"/>
                    </a:lnTo>
                    <a:lnTo>
                      <a:pt x="4" y="2"/>
                    </a:lnTo>
                    <a:lnTo>
                      <a:pt x="6" y="0"/>
                    </a:lnTo>
                    <a:lnTo>
                      <a:pt x="8" y="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0" name="Freeform 2057"/>
              <p:cNvSpPr>
                <a:spLocks/>
              </p:cNvSpPr>
              <p:nvPr/>
            </p:nvSpPr>
            <p:spPr bwMode="auto">
              <a:xfrm>
                <a:off x="2334" y="3876"/>
                <a:ext cx="16" cy="10"/>
              </a:xfrm>
              <a:custGeom>
                <a:avLst/>
                <a:gdLst/>
                <a:ahLst/>
                <a:cxnLst>
                  <a:cxn ang="0">
                    <a:pos x="14" y="0"/>
                  </a:cxn>
                  <a:cxn ang="0">
                    <a:pos x="16" y="0"/>
                  </a:cxn>
                  <a:cxn ang="0">
                    <a:pos x="16" y="2"/>
                  </a:cxn>
                  <a:cxn ang="0">
                    <a:pos x="12" y="4"/>
                  </a:cxn>
                  <a:cxn ang="0">
                    <a:pos x="16" y="8"/>
                  </a:cxn>
                  <a:cxn ang="0">
                    <a:pos x="12" y="10"/>
                  </a:cxn>
                  <a:cxn ang="0">
                    <a:pos x="6" y="8"/>
                  </a:cxn>
                  <a:cxn ang="0">
                    <a:pos x="2" y="4"/>
                  </a:cxn>
                  <a:cxn ang="0">
                    <a:pos x="0" y="2"/>
                  </a:cxn>
                  <a:cxn ang="0">
                    <a:pos x="2" y="2"/>
                  </a:cxn>
                  <a:cxn ang="0">
                    <a:pos x="2" y="4"/>
                  </a:cxn>
                  <a:cxn ang="0">
                    <a:pos x="4" y="4"/>
                  </a:cxn>
                  <a:cxn ang="0">
                    <a:pos x="6" y="6"/>
                  </a:cxn>
                  <a:cxn ang="0">
                    <a:pos x="8" y="6"/>
                  </a:cxn>
                  <a:cxn ang="0">
                    <a:pos x="12" y="4"/>
                  </a:cxn>
                  <a:cxn ang="0">
                    <a:pos x="10" y="4"/>
                  </a:cxn>
                  <a:cxn ang="0">
                    <a:pos x="10" y="2"/>
                  </a:cxn>
                  <a:cxn ang="0">
                    <a:pos x="10" y="0"/>
                  </a:cxn>
                  <a:cxn ang="0">
                    <a:pos x="14" y="0"/>
                  </a:cxn>
                </a:cxnLst>
                <a:rect l="0" t="0" r="r" b="b"/>
                <a:pathLst>
                  <a:path w="16" h="10">
                    <a:moveTo>
                      <a:pt x="14" y="0"/>
                    </a:moveTo>
                    <a:lnTo>
                      <a:pt x="16" y="0"/>
                    </a:lnTo>
                    <a:lnTo>
                      <a:pt x="16" y="2"/>
                    </a:lnTo>
                    <a:lnTo>
                      <a:pt x="12" y="4"/>
                    </a:lnTo>
                    <a:lnTo>
                      <a:pt x="16" y="8"/>
                    </a:lnTo>
                    <a:lnTo>
                      <a:pt x="12" y="10"/>
                    </a:lnTo>
                    <a:lnTo>
                      <a:pt x="6" y="8"/>
                    </a:lnTo>
                    <a:lnTo>
                      <a:pt x="2" y="4"/>
                    </a:lnTo>
                    <a:lnTo>
                      <a:pt x="0" y="2"/>
                    </a:lnTo>
                    <a:lnTo>
                      <a:pt x="2" y="2"/>
                    </a:lnTo>
                    <a:lnTo>
                      <a:pt x="2" y="4"/>
                    </a:lnTo>
                    <a:lnTo>
                      <a:pt x="4" y="4"/>
                    </a:lnTo>
                    <a:lnTo>
                      <a:pt x="6" y="6"/>
                    </a:lnTo>
                    <a:lnTo>
                      <a:pt x="8" y="6"/>
                    </a:lnTo>
                    <a:lnTo>
                      <a:pt x="12" y="4"/>
                    </a:lnTo>
                    <a:lnTo>
                      <a:pt x="10" y="4"/>
                    </a:lnTo>
                    <a:lnTo>
                      <a:pt x="10" y="2"/>
                    </a:lnTo>
                    <a:lnTo>
                      <a:pt x="10" y="0"/>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1" name="Freeform 2058"/>
              <p:cNvSpPr>
                <a:spLocks/>
              </p:cNvSpPr>
              <p:nvPr/>
            </p:nvSpPr>
            <p:spPr bwMode="auto">
              <a:xfrm>
                <a:off x="2342" y="3876"/>
                <a:ext cx="54" cy="40"/>
              </a:xfrm>
              <a:custGeom>
                <a:avLst/>
                <a:gdLst/>
                <a:ahLst/>
                <a:cxnLst>
                  <a:cxn ang="0">
                    <a:pos x="14" y="24"/>
                  </a:cxn>
                  <a:cxn ang="0">
                    <a:pos x="8" y="18"/>
                  </a:cxn>
                  <a:cxn ang="0">
                    <a:pos x="6" y="20"/>
                  </a:cxn>
                  <a:cxn ang="0">
                    <a:pos x="2" y="20"/>
                  </a:cxn>
                  <a:cxn ang="0">
                    <a:pos x="4" y="16"/>
                  </a:cxn>
                  <a:cxn ang="0">
                    <a:pos x="0" y="16"/>
                  </a:cxn>
                  <a:cxn ang="0">
                    <a:pos x="2" y="12"/>
                  </a:cxn>
                  <a:cxn ang="0">
                    <a:pos x="4" y="12"/>
                  </a:cxn>
                  <a:cxn ang="0">
                    <a:pos x="10" y="12"/>
                  </a:cxn>
                  <a:cxn ang="0">
                    <a:pos x="12" y="16"/>
                  </a:cxn>
                  <a:cxn ang="0">
                    <a:pos x="16" y="16"/>
                  </a:cxn>
                  <a:cxn ang="0">
                    <a:pos x="22" y="16"/>
                  </a:cxn>
                  <a:cxn ang="0">
                    <a:pos x="24" y="14"/>
                  </a:cxn>
                  <a:cxn ang="0">
                    <a:pos x="22" y="16"/>
                  </a:cxn>
                  <a:cxn ang="0">
                    <a:pos x="18" y="16"/>
                  </a:cxn>
                  <a:cxn ang="0">
                    <a:pos x="14" y="14"/>
                  </a:cxn>
                  <a:cxn ang="0">
                    <a:pos x="8" y="6"/>
                  </a:cxn>
                  <a:cxn ang="0">
                    <a:pos x="8" y="4"/>
                  </a:cxn>
                  <a:cxn ang="0">
                    <a:pos x="12" y="6"/>
                  </a:cxn>
                  <a:cxn ang="0">
                    <a:pos x="18" y="4"/>
                  </a:cxn>
                  <a:cxn ang="0">
                    <a:pos x="20" y="0"/>
                  </a:cxn>
                  <a:cxn ang="0">
                    <a:pos x="26" y="2"/>
                  </a:cxn>
                  <a:cxn ang="0">
                    <a:pos x="26" y="12"/>
                  </a:cxn>
                  <a:cxn ang="0">
                    <a:pos x="28" y="16"/>
                  </a:cxn>
                  <a:cxn ang="0">
                    <a:pos x="30" y="8"/>
                  </a:cxn>
                  <a:cxn ang="0">
                    <a:pos x="28" y="4"/>
                  </a:cxn>
                  <a:cxn ang="0">
                    <a:pos x="32" y="8"/>
                  </a:cxn>
                  <a:cxn ang="0">
                    <a:pos x="38" y="10"/>
                  </a:cxn>
                  <a:cxn ang="0">
                    <a:pos x="44" y="12"/>
                  </a:cxn>
                  <a:cxn ang="0">
                    <a:pos x="44" y="16"/>
                  </a:cxn>
                  <a:cxn ang="0">
                    <a:pos x="44" y="20"/>
                  </a:cxn>
                  <a:cxn ang="0">
                    <a:pos x="46" y="16"/>
                  </a:cxn>
                  <a:cxn ang="0">
                    <a:pos x="52" y="18"/>
                  </a:cxn>
                  <a:cxn ang="0">
                    <a:pos x="54" y="24"/>
                  </a:cxn>
                  <a:cxn ang="0">
                    <a:pos x="52" y="26"/>
                  </a:cxn>
                  <a:cxn ang="0">
                    <a:pos x="46" y="26"/>
                  </a:cxn>
                  <a:cxn ang="0">
                    <a:pos x="44" y="32"/>
                  </a:cxn>
                  <a:cxn ang="0">
                    <a:pos x="48" y="34"/>
                  </a:cxn>
                  <a:cxn ang="0">
                    <a:pos x="44" y="36"/>
                  </a:cxn>
                  <a:cxn ang="0">
                    <a:pos x="38" y="38"/>
                  </a:cxn>
                  <a:cxn ang="0">
                    <a:pos x="34" y="38"/>
                  </a:cxn>
                  <a:cxn ang="0">
                    <a:pos x="28" y="40"/>
                  </a:cxn>
                  <a:cxn ang="0">
                    <a:pos x="22" y="36"/>
                  </a:cxn>
                  <a:cxn ang="0">
                    <a:pos x="32" y="34"/>
                  </a:cxn>
                  <a:cxn ang="0">
                    <a:pos x="30" y="24"/>
                  </a:cxn>
                  <a:cxn ang="0">
                    <a:pos x="22" y="26"/>
                  </a:cxn>
                  <a:cxn ang="0">
                    <a:pos x="20" y="30"/>
                  </a:cxn>
                  <a:cxn ang="0">
                    <a:pos x="14" y="34"/>
                  </a:cxn>
                  <a:cxn ang="0">
                    <a:pos x="12" y="28"/>
                  </a:cxn>
                </a:cxnLst>
                <a:rect l="0" t="0" r="r" b="b"/>
                <a:pathLst>
                  <a:path w="54" h="40">
                    <a:moveTo>
                      <a:pt x="12" y="24"/>
                    </a:moveTo>
                    <a:lnTo>
                      <a:pt x="14" y="24"/>
                    </a:lnTo>
                    <a:lnTo>
                      <a:pt x="14" y="18"/>
                    </a:lnTo>
                    <a:lnTo>
                      <a:pt x="8" y="18"/>
                    </a:lnTo>
                    <a:lnTo>
                      <a:pt x="6" y="18"/>
                    </a:lnTo>
                    <a:lnTo>
                      <a:pt x="6" y="20"/>
                    </a:lnTo>
                    <a:lnTo>
                      <a:pt x="4" y="20"/>
                    </a:lnTo>
                    <a:lnTo>
                      <a:pt x="2" y="20"/>
                    </a:lnTo>
                    <a:lnTo>
                      <a:pt x="4" y="18"/>
                    </a:lnTo>
                    <a:lnTo>
                      <a:pt x="4" y="16"/>
                    </a:lnTo>
                    <a:lnTo>
                      <a:pt x="2" y="16"/>
                    </a:lnTo>
                    <a:lnTo>
                      <a:pt x="0" y="16"/>
                    </a:lnTo>
                    <a:lnTo>
                      <a:pt x="0" y="12"/>
                    </a:lnTo>
                    <a:lnTo>
                      <a:pt x="2" y="12"/>
                    </a:lnTo>
                    <a:lnTo>
                      <a:pt x="4" y="10"/>
                    </a:lnTo>
                    <a:lnTo>
                      <a:pt x="4" y="12"/>
                    </a:lnTo>
                    <a:lnTo>
                      <a:pt x="6" y="10"/>
                    </a:lnTo>
                    <a:lnTo>
                      <a:pt x="10" y="12"/>
                    </a:lnTo>
                    <a:lnTo>
                      <a:pt x="12" y="14"/>
                    </a:lnTo>
                    <a:lnTo>
                      <a:pt x="12" y="16"/>
                    </a:lnTo>
                    <a:lnTo>
                      <a:pt x="14" y="16"/>
                    </a:lnTo>
                    <a:lnTo>
                      <a:pt x="16" y="16"/>
                    </a:lnTo>
                    <a:lnTo>
                      <a:pt x="18" y="16"/>
                    </a:lnTo>
                    <a:lnTo>
                      <a:pt x="22" y="16"/>
                    </a:lnTo>
                    <a:lnTo>
                      <a:pt x="24" y="16"/>
                    </a:lnTo>
                    <a:lnTo>
                      <a:pt x="24" y="14"/>
                    </a:lnTo>
                    <a:lnTo>
                      <a:pt x="22" y="14"/>
                    </a:lnTo>
                    <a:lnTo>
                      <a:pt x="22" y="16"/>
                    </a:lnTo>
                    <a:lnTo>
                      <a:pt x="20" y="16"/>
                    </a:lnTo>
                    <a:lnTo>
                      <a:pt x="18" y="16"/>
                    </a:lnTo>
                    <a:lnTo>
                      <a:pt x="16" y="14"/>
                    </a:lnTo>
                    <a:lnTo>
                      <a:pt x="14" y="14"/>
                    </a:lnTo>
                    <a:lnTo>
                      <a:pt x="12" y="14"/>
                    </a:lnTo>
                    <a:lnTo>
                      <a:pt x="8" y="6"/>
                    </a:lnTo>
                    <a:lnTo>
                      <a:pt x="6" y="4"/>
                    </a:lnTo>
                    <a:lnTo>
                      <a:pt x="8" y="4"/>
                    </a:lnTo>
                    <a:lnTo>
                      <a:pt x="10" y="4"/>
                    </a:lnTo>
                    <a:lnTo>
                      <a:pt x="12" y="6"/>
                    </a:lnTo>
                    <a:lnTo>
                      <a:pt x="20" y="8"/>
                    </a:lnTo>
                    <a:lnTo>
                      <a:pt x="18" y="4"/>
                    </a:lnTo>
                    <a:lnTo>
                      <a:pt x="16" y="2"/>
                    </a:lnTo>
                    <a:lnTo>
                      <a:pt x="20" y="0"/>
                    </a:lnTo>
                    <a:lnTo>
                      <a:pt x="22" y="2"/>
                    </a:lnTo>
                    <a:lnTo>
                      <a:pt x="26" y="2"/>
                    </a:lnTo>
                    <a:lnTo>
                      <a:pt x="28" y="8"/>
                    </a:lnTo>
                    <a:lnTo>
                      <a:pt x="26" y="12"/>
                    </a:lnTo>
                    <a:lnTo>
                      <a:pt x="26" y="14"/>
                    </a:lnTo>
                    <a:lnTo>
                      <a:pt x="28" y="16"/>
                    </a:lnTo>
                    <a:lnTo>
                      <a:pt x="30" y="10"/>
                    </a:lnTo>
                    <a:lnTo>
                      <a:pt x="30" y="8"/>
                    </a:lnTo>
                    <a:lnTo>
                      <a:pt x="28" y="6"/>
                    </a:lnTo>
                    <a:lnTo>
                      <a:pt x="28" y="4"/>
                    </a:lnTo>
                    <a:lnTo>
                      <a:pt x="30" y="6"/>
                    </a:lnTo>
                    <a:lnTo>
                      <a:pt x="32" y="8"/>
                    </a:lnTo>
                    <a:lnTo>
                      <a:pt x="36" y="12"/>
                    </a:lnTo>
                    <a:lnTo>
                      <a:pt x="38" y="10"/>
                    </a:lnTo>
                    <a:lnTo>
                      <a:pt x="42" y="10"/>
                    </a:lnTo>
                    <a:lnTo>
                      <a:pt x="44" y="12"/>
                    </a:lnTo>
                    <a:lnTo>
                      <a:pt x="44" y="14"/>
                    </a:lnTo>
                    <a:lnTo>
                      <a:pt x="44" y="16"/>
                    </a:lnTo>
                    <a:lnTo>
                      <a:pt x="42" y="16"/>
                    </a:lnTo>
                    <a:lnTo>
                      <a:pt x="44" y="20"/>
                    </a:lnTo>
                    <a:lnTo>
                      <a:pt x="44" y="18"/>
                    </a:lnTo>
                    <a:lnTo>
                      <a:pt x="46" y="16"/>
                    </a:lnTo>
                    <a:lnTo>
                      <a:pt x="50" y="18"/>
                    </a:lnTo>
                    <a:lnTo>
                      <a:pt x="52" y="18"/>
                    </a:lnTo>
                    <a:lnTo>
                      <a:pt x="54" y="22"/>
                    </a:lnTo>
                    <a:lnTo>
                      <a:pt x="54" y="24"/>
                    </a:lnTo>
                    <a:lnTo>
                      <a:pt x="52" y="24"/>
                    </a:lnTo>
                    <a:lnTo>
                      <a:pt x="52" y="26"/>
                    </a:lnTo>
                    <a:lnTo>
                      <a:pt x="50" y="26"/>
                    </a:lnTo>
                    <a:lnTo>
                      <a:pt x="46" y="26"/>
                    </a:lnTo>
                    <a:lnTo>
                      <a:pt x="44" y="28"/>
                    </a:lnTo>
                    <a:lnTo>
                      <a:pt x="44" y="32"/>
                    </a:lnTo>
                    <a:lnTo>
                      <a:pt x="46" y="34"/>
                    </a:lnTo>
                    <a:lnTo>
                      <a:pt x="48" y="34"/>
                    </a:lnTo>
                    <a:lnTo>
                      <a:pt x="48" y="36"/>
                    </a:lnTo>
                    <a:lnTo>
                      <a:pt x="44" y="36"/>
                    </a:lnTo>
                    <a:lnTo>
                      <a:pt x="40" y="38"/>
                    </a:lnTo>
                    <a:lnTo>
                      <a:pt x="38" y="38"/>
                    </a:lnTo>
                    <a:lnTo>
                      <a:pt x="38" y="36"/>
                    </a:lnTo>
                    <a:lnTo>
                      <a:pt x="34" y="38"/>
                    </a:lnTo>
                    <a:lnTo>
                      <a:pt x="30" y="40"/>
                    </a:lnTo>
                    <a:lnTo>
                      <a:pt x="28" y="40"/>
                    </a:lnTo>
                    <a:lnTo>
                      <a:pt x="22" y="38"/>
                    </a:lnTo>
                    <a:lnTo>
                      <a:pt x="22" y="36"/>
                    </a:lnTo>
                    <a:lnTo>
                      <a:pt x="26" y="36"/>
                    </a:lnTo>
                    <a:lnTo>
                      <a:pt x="32" y="34"/>
                    </a:lnTo>
                    <a:lnTo>
                      <a:pt x="34" y="26"/>
                    </a:lnTo>
                    <a:lnTo>
                      <a:pt x="30" y="24"/>
                    </a:lnTo>
                    <a:lnTo>
                      <a:pt x="26" y="26"/>
                    </a:lnTo>
                    <a:lnTo>
                      <a:pt x="22" y="26"/>
                    </a:lnTo>
                    <a:lnTo>
                      <a:pt x="22" y="24"/>
                    </a:lnTo>
                    <a:lnTo>
                      <a:pt x="20" y="30"/>
                    </a:lnTo>
                    <a:lnTo>
                      <a:pt x="18" y="34"/>
                    </a:lnTo>
                    <a:lnTo>
                      <a:pt x="14" y="34"/>
                    </a:lnTo>
                    <a:lnTo>
                      <a:pt x="14" y="30"/>
                    </a:lnTo>
                    <a:lnTo>
                      <a:pt x="12" y="28"/>
                    </a:lnTo>
                    <a:lnTo>
                      <a:pt x="12" y="2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2" name="Freeform 2059"/>
              <p:cNvSpPr>
                <a:spLocks/>
              </p:cNvSpPr>
              <p:nvPr/>
            </p:nvSpPr>
            <p:spPr bwMode="auto">
              <a:xfrm>
                <a:off x="2332" y="3880"/>
                <a:ext cx="8" cy="8"/>
              </a:xfrm>
              <a:custGeom>
                <a:avLst/>
                <a:gdLst/>
                <a:ahLst/>
                <a:cxnLst>
                  <a:cxn ang="0">
                    <a:pos x="2" y="8"/>
                  </a:cxn>
                  <a:cxn ang="0">
                    <a:pos x="0" y="8"/>
                  </a:cxn>
                  <a:cxn ang="0">
                    <a:pos x="0" y="4"/>
                  </a:cxn>
                  <a:cxn ang="0">
                    <a:pos x="0" y="0"/>
                  </a:cxn>
                  <a:cxn ang="0">
                    <a:pos x="2" y="0"/>
                  </a:cxn>
                  <a:cxn ang="0">
                    <a:pos x="6" y="4"/>
                  </a:cxn>
                  <a:cxn ang="0">
                    <a:pos x="8" y="4"/>
                  </a:cxn>
                  <a:cxn ang="0">
                    <a:pos x="6" y="4"/>
                  </a:cxn>
                  <a:cxn ang="0">
                    <a:pos x="2" y="8"/>
                  </a:cxn>
                </a:cxnLst>
                <a:rect l="0" t="0" r="r" b="b"/>
                <a:pathLst>
                  <a:path w="8" h="8">
                    <a:moveTo>
                      <a:pt x="2" y="8"/>
                    </a:moveTo>
                    <a:lnTo>
                      <a:pt x="0" y="8"/>
                    </a:lnTo>
                    <a:lnTo>
                      <a:pt x="0" y="4"/>
                    </a:lnTo>
                    <a:lnTo>
                      <a:pt x="0" y="0"/>
                    </a:lnTo>
                    <a:lnTo>
                      <a:pt x="2" y="0"/>
                    </a:lnTo>
                    <a:lnTo>
                      <a:pt x="6" y="4"/>
                    </a:lnTo>
                    <a:lnTo>
                      <a:pt x="8" y="4"/>
                    </a:lnTo>
                    <a:lnTo>
                      <a:pt x="6" y="4"/>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3" name="Freeform 2060"/>
              <p:cNvSpPr>
                <a:spLocks/>
              </p:cNvSpPr>
              <p:nvPr/>
            </p:nvSpPr>
            <p:spPr bwMode="auto">
              <a:xfrm>
                <a:off x="2442" y="3886"/>
                <a:ext cx="22" cy="36"/>
              </a:xfrm>
              <a:custGeom>
                <a:avLst/>
                <a:gdLst/>
                <a:ahLst/>
                <a:cxnLst>
                  <a:cxn ang="0">
                    <a:pos x="14" y="36"/>
                  </a:cxn>
                  <a:cxn ang="0">
                    <a:pos x="12" y="36"/>
                  </a:cxn>
                  <a:cxn ang="0">
                    <a:pos x="10" y="34"/>
                  </a:cxn>
                  <a:cxn ang="0">
                    <a:pos x="8" y="34"/>
                  </a:cxn>
                  <a:cxn ang="0">
                    <a:pos x="4" y="30"/>
                  </a:cxn>
                  <a:cxn ang="0">
                    <a:pos x="2" y="26"/>
                  </a:cxn>
                  <a:cxn ang="0">
                    <a:pos x="0" y="22"/>
                  </a:cxn>
                  <a:cxn ang="0">
                    <a:pos x="0" y="20"/>
                  </a:cxn>
                  <a:cxn ang="0">
                    <a:pos x="0" y="18"/>
                  </a:cxn>
                  <a:cxn ang="0">
                    <a:pos x="2" y="16"/>
                  </a:cxn>
                  <a:cxn ang="0">
                    <a:pos x="4" y="16"/>
                  </a:cxn>
                  <a:cxn ang="0">
                    <a:pos x="6" y="14"/>
                  </a:cxn>
                  <a:cxn ang="0">
                    <a:pos x="6" y="16"/>
                  </a:cxn>
                  <a:cxn ang="0">
                    <a:pos x="8" y="16"/>
                  </a:cxn>
                  <a:cxn ang="0">
                    <a:pos x="10" y="16"/>
                  </a:cxn>
                  <a:cxn ang="0">
                    <a:pos x="12" y="16"/>
                  </a:cxn>
                  <a:cxn ang="0">
                    <a:pos x="12" y="14"/>
                  </a:cxn>
                  <a:cxn ang="0">
                    <a:pos x="10" y="14"/>
                  </a:cxn>
                  <a:cxn ang="0">
                    <a:pos x="8" y="12"/>
                  </a:cxn>
                  <a:cxn ang="0">
                    <a:pos x="8" y="8"/>
                  </a:cxn>
                  <a:cxn ang="0">
                    <a:pos x="8" y="6"/>
                  </a:cxn>
                  <a:cxn ang="0">
                    <a:pos x="10" y="6"/>
                  </a:cxn>
                  <a:cxn ang="0">
                    <a:pos x="12" y="6"/>
                  </a:cxn>
                  <a:cxn ang="0">
                    <a:pos x="12" y="4"/>
                  </a:cxn>
                  <a:cxn ang="0">
                    <a:pos x="14" y="4"/>
                  </a:cxn>
                  <a:cxn ang="0">
                    <a:pos x="14" y="2"/>
                  </a:cxn>
                  <a:cxn ang="0">
                    <a:pos x="14" y="0"/>
                  </a:cxn>
                  <a:cxn ang="0">
                    <a:pos x="16" y="0"/>
                  </a:cxn>
                  <a:cxn ang="0">
                    <a:pos x="16" y="4"/>
                  </a:cxn>
                  <a:cxn ang="0">
                    <a:pos x="16" y="6"/>
                  </a:cxn>
                  <a:cxn ang="0">
                    <a:pos x="16" y="8"/>
                  </a:cxn>
                  <a:cxn ang="0">
                    <a:pos x="18" y="16"/>
                  </a:cxn>
                  <a:cxn ang="0">
                    <a:pos x="20" y="22"/>
                  </a:cxn>
                  <a:cxn ang="0">
                    <a:pos x="22" y="24"/>
                  </a:cxn>
                  <a:cxn ang="0">
                    <a:pos x="20" y="24"/>
                  </a:cxn>
                  <a:cxn ang="0">
                    <a:pos x="20" y="26"/>
                  </a:cxn>
                  <a:cxn ang="0">
                    <a:pos x="18" y="26"/>
                  </a:cxn>
                  <a:cxn ang="0">
                    <a:pos x="16" y="26"/>
                  </a:cxn>
                  <a:cxn ang="0">
                    <a:pos x="14" y="24"/>
                  </a:cxn>
                  <a:cxn ang="0">
                    <a:pos x="14" y="22"/>
                  </a:cxn>
                  <a:cxn ang="0">
                    <a:pos x="10" y="20"/>
                  </a:cxn>
                  <a:cxn ang="0">
                    <a:pos x="10" y="22"/>
                  </a:cxn>
                  <a:cxn ang="0">
                    <a:pos x="10" y="24"/>
                  </a:cxn>
                  <a:cxn ang="0">
                    <a:pos x="12" y="24"/>
                  </a:cxn>
                  <a:cxn ang="0">
                    <a:pos x="12" y="26"/>
                  </a:cxn>
                  <a:cxn ang="0">
                    <a:pos x="14" y="30"/>
                  </a:cxn>
                  <a:cxn ang="0">
                    <a:pos x="14" y="32"/>
                  </a:cxn>
                  <a:cxn ang="0">
                    <a:pos x="14" y="36"/>
                  </a:cxn>
                </a:cxnLst>
                <a:rect l="0" t="0" r="r" b="b"/>
                <a:pathLst>
                  <a:path w="22" h="36">
                    <a:moveTo>
                      <a:pt x="14" y="36"/>
                    </a:moveTo>
                    <a:lnTo>
                      <a:pt x="12" y="36"/>
                    </a:lnTo>
                    <a:lnTo>
                      <a:pt x="10" y="34"/>
                    </a:lnTo>
                    <a:lnTo>
                      <a:pt x="8" y="34"/>
                    </a:lnTo>
                    <a:lnTo>
                      <a:pt x="4" y="30"/>
                    </a:lnTo>
                    <a:lnTo>
                      <a:pt x="2" y="26"/>
                    </a:lnTo>
                    <a:lnTo>
                      <a:pt x="0" y="22"/>
                    </a:lnTo>
                    <a:lnTo>
                      <a:pt x="0" y="20"/>
                    </a:lnTo>
                    <a:lnTo>
                      <a:pt x="0" y="18"/>
                    </a:lnTo>
                    <a:lnTo>
                      <a:pt x="2" y="16"/>
                    </a:lnTo>
                    <a:lnTo>
                      <a:pt x="4" y="16"/>
                    </a:lnTo>
                    <a:lnTo>
                      <a:pt x="6" y="14"/>
                    </a:lnTo>
                    <a:lnTo>
                      <a:pt x="6" y="16"/>
                    </a:lnTo>
                    <a:lnTo>
                      <a:pt x="8" y="16"/>
                    </a:lnTo>
                    <a:lnTo>
                      <a:pt x="10" y="16"/>
                    </a:lnTo>
                    <a:lnTo>
                      <a:pt x="12" y="16"/>
                    </a:lnTo>
                    <a:lnTo>
                      <a:pt x="12" y="14"/>
                    </a:lnTo>
                    <a:lnTo>
                      <a:pt x="10" y="14"/>
                    </a:lnTo>
                    <a:lnTo>
                      <a:pt x="8" y="12"/>
                    </a:lnTo>
                    <a:lnTo>
                      <a:pt x="8" y="8"/>
                    </a:lnTo>
                    <a:lnTo>
                      <a:pt x="8" y="6"/>
                    </a:lnTo>
                    <a:lnTo>
                      <a:pt x="10" y="6"/>
                    </a:lnTo>
                    <a:lnTo>
                      <a:pt x="12" y="6"/>
                    </a:lnTo>
                    <a:lnTo>
                      <a:pt x="12" y="4"/>
                    </a:lnTo>
                    <a:lnTo>
                      <a:pt x="14" y="4"/>
                    </a:lnTo>
                    <a:lnTo>
                      <a:pt x="14" y="2"/>
                    </a:lnTo>
                    <a:lnTo>
                      <a:pt x="14" y="0"/>
                    </a:lnTo>
                    <a:lnTo>
                      <a:pt x="16" y="0"/>
                    </a:lnTo>
                    <a:lnTo>
                      <a:pt x="16" y="4"/>
                    </a:lnTo>
                    <a:lnTo>
                      <a:pt x="16" y="6"/>
                    </a:lnTo>
                    <a:lnTo>
                      <a:pt x="16" y="8"/>
                    </a:lnTo>
                    <a:lnTo>
                      <a:pt x="18" y="16"/>
                    </a:lnTo>
                    <a:lnTo>
                      <a:pt x="20" y="22"/>
                    </a:lnTo>
                    <a:lnTo>
                      <a:pt x="22" y="24"/>
                    </a:lnTo>
                    <a:lnTo>
                      <a:pt x="20" y="24"/>
                    </a:lnTo>
                    <a:lnTo>
                      <a:pt x="20" y="26"/>
                    </a:lnTo>
                    <a:lnTo>
                      <a:pt x="18" y="26"/>
                    </a:lnTo>
                    <a:lnTo>
                      <a:pt x="16" y="26"/>
                    </a:lnTo>
                    <a:lnTo>
                      <a:pt x="14" y="24"/>
                    </a:lnTo>
                    <a:lnTo>
                      <a:pt x="14" y="22"/>
                    </a:lnTo>
                    <a:lnTo>
                      <a:pt x="10" y="20"/>
                    </a:lnTo>
                    <a:lnTo>
                      <a:pt x="10" y="22"/>
                    </a:lnTo>
                    <a:lnTo>
                      <a:pt x="10" y="24"/>
                    </a:lnTo>
                    <a:lnTo>
                      <a:pt x="12" y="24"/>
                    </a:lnTo>
                    <a:lnTo>
                      <a:pt x="12" y="26"/>
                    </a:lnTo>
                    <a:lnTo>
                      <a:pt x="14" y="30"/>
                    </a:lnTo>
                    <a:lnTo>
                      <a:pt x="14" y="32"/>
                    </a:lnTo>
                    <a:lnTo>
                      <a:pt x="14" y="3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4" name="Freeform 2061"/>
              <p:cNvSpPr>
                <a:spLocks/>
              </p:cNvSpPr>
              <p:nvPr/>
            </p:nvSpPr>
            <p:spPr bwMode="auto">
              <a:xfrm>
                <a:off x="2392" y="3902"/>
                <a:ext cx="24" cy="26"/>
              </a:xfrm>
              <a:custGeom>
                <a:avLst/>
                <a:gdLst/>
                <a:ahLst/>
                <a:cxnLst>
                  <a:cxn ang="0">
                    <a:pos x="22" y="4"/>
                  </a:cxn>
                  <a:cxn ang="0">
                    <a:pos x="20" y="6"/>
                  </a:cxn>
                  <a:cxn ang="0">
                    <a:pos x="20" y="8"/>
                  </a:cxn>
                  <a:cxn ang="0">
                    <a:pos x="22" y="8"/>
                  </a:cxn>
                  <a:cxn ang="0">
                    <a:pos x="24" y="12"/>
                  </a:cxn>
                  <a:cxn ang="0">
                    <a:pos x="22" y="12"/>
                  </a:cxn>
                  <a:cxn ang="0">
                    <a:pos x="20" y="16"/>
                  </a:cxn>
                  <a:cxn ang="0">
                    <a:pos x="18" y="16"/>
                  </a:cxn>
                  <a:cxn ang="0">
                    <a:pos x="16" y="16"/>
                  </a:cxn>
                  <a:cxn ang="0">
                    <a:pos x="16" y="14"/>
                  </a:cxn>
                  <a:cxn ang="0">
                    <a:pos x="14" y="10"/>
                  </a:cxn>
                  <a:cxn ang="0">
                    <a:pos x="12" y="10"/>
                  </a:cxn>
                  <a:cxn ang="0">
                    <a:pos x="12" y="8"/>
                  </a:cxn>
                  <a:cxn ang="0">
                    <a:pos x="12" y="10"/>
                  </a:cxn>
                  <a:cxn ang="0">
                    <a:pos x="12" y="14"/>
                  </a:cxn>
                  <a:cxn ang="0">
                    <a:pos x="14" y="16"/>
                  </a:cxn>
                  <a:cxn ang="0">
                    <a:pos x="16" y="16"/>
                  </a:cxn>
                  <a:cxn ang="0">
                    <a:pos x="20" y="20"/>
                  </a:cxn>
                  <a:cxn ang="0">
                    <a:pos x="20" y="22"/>
                  </a:cxn>
                  <a:cxn ang="0">
                    <a:pos x="16" y="26"/>
                  </a:cxn>
                  <a:cxn ang="0">
                    <a:pos x="14" y="26"/>
                  </a:cxn>
                  <a:cxn ang="0">
                    <a:pos x="12" y="26"/>
                  </a:cxn>
                  <a:cxn ang="0">
                    <a:pos x="10" y="24"/>
                  </a:cxn>
                  <a:cxn ang="0">
                    <a:pos x="12" y="22"/>
                  </a:cxn>
                  <a:cxn ang="0">
                    <a:pos x="10" y="18"/>
                  </a:cxn>
                  <a:cxn ang="0">
                    <a:pos x="6" y="16"/>
                  </a:cxn>
                  <a:cxn ang="0">
                    <a:pos x="2" y="12"/>
                  </a:cxn>
                  <a:cxn ang="0">
                    <a:pos x="0" y="6"/>
                  </a:cxn>
                  <a:cxn ang="0">
                    <a:pos x="0" y="4"/>
                  </a:cxn>
                  <a:cxn ang="0">
                    <a:pos x="2" y="4"/>
                  </a:cxn>
                  <a:cxn ang="0">
                    <a:pos x="4" y="4"/>
                  </a:cxn>
                  <a:cxn ang="0">
                    <a:pos x="6" y="4"/>
                  </a:cxn>
                  <a:cxn ang="0">
                    <a:pos x="6" y="6"/>
                  </a:cxn>
                  <a:cxn ang="0">
                    <a:pos x="8" y="6"/>
                  </a:cxn>
                  <a:cxn ang="0">
                    <a:pos x="10" y="2"/>
                  </a:cxn>
                  <a:cxn ang="0">
                    <a:pos x="10" y="0"/>
                  </a:cxn>
                  <a:cxn ang="0">
                    <a:pos x="12" y="0"/>
                  </a:cxn>
                  <a:cxn ang="0">
                    <a:pos x="20" y="2"/>
                  </a:cxn>
                  <a:cxn ang="0">
                    <a:pos x="22" y="4"/>
                  </a:cxn>
                </a:cxnLst>
                <a:rect l="0" t="0" r="r" b="b"/>
                <a:pathLst>
                  <a:path w="24" h="26">
                    <a:moveTo>
                      <a:pt x="22" y="4"/>
                    </a:moveTo>
                    <a:lnTo>
                      <a:pt x="20" y="6"/>
                    </a:lnTo>
                    <a:lnTo>
                      <a:pt x="20" y="8"/>
                    </a:lnTo>
                    <a:lnTo>
                      <a:pt x="22" y="8"/>
                    </a:lnTo>
                    <a:lnTo>
                      <a:pt x="24" y="12"/>
                    </a:lnTo>
                    <a:lnTo>
                      <a:pt x="22" y="12"/>
                    </a:lnTo>
                    <a:lnTo>
                      <a:pt x="20" y="16"/>
                    </a:lnTo>
                    <a:lnTo>
                      <a:pt x="18" y="16"/>
                    </a:lnTo>
                    <a:lnTo>
                      <a:pt x="16" y="16"/>
                    </a:lnTo>
                    <a:lnTo>
                      <a:pt x="16" y="14"/>
                    </a:lnTo>
                    <a:lnTo>
                      <a:pt x="14" y="10"/>
                    </a:lnTo>
                    <a:lnTo>
                      <a:pt x="12" y="10"/>
                    </a:lnTo>
                    <a:lnTo>
                      <a:pt x="12" y="8"/>
                    </a:lnTo>
                    <a:lnTo>
                      <a:pt x="12" y="10"/>
                    </a:lnTo>
                    <a:lnTo>
                      <a:pt x="12" y="14"/>
                    </a:lnTo>
                    <a:lnTo>
                      <a:pt x="14" y="16"/>
                    </a:lnTo>
                    <a:lnTo>
                      <a:pt x="16" y="16"/>
                    </a:lnTo>
                    <a:lnTo>
                      <a:pt x="20" y="20"/>
                    </a:lnTo>
                    <a:lnTo>
                      <a:pt x="20" y="22"/>
                    </a:lnTo>
                    <a:lnTo>
                      <a:pt x="16" y="26"/>
                    </a:lnTo>
                    <a:lnTo>
                      <a:pt x="14" y="26"/>
                    </a:lnTo>
                    <a:lnTo>
                      <a:pt x="12" y="26"/>
                    </a:lnTo>
                    <a:lnTo>
                      <a:pt x="10" y="24"/>
                    </a:lnTo>
                    <a:lnTo>
                      <a:pt x="12" y="22"/>
                    </a:lnTo>
                    <a:lnTo>
                      <a:pt x="10" y="18"/>
                    </a:lnTo>
                    <a:lnTo>
                      <a:pt x="6" y="16"/>
                    </a:lnTo>
                    <a:lnTo>
                      <a:pt x="2" y="12"/>
                    </a:lnTo>
                    <a:lnTo>
                      <a:pt x="0" y="6"/>
                    </a:lnTo>
                    <a:lnTo>
                      <a:pt x="0" y="4"/>
                    </a:lnTo>
                    <a:lnTo>
                      <a:pt x="2" y="4"/>
                    </a:lnTo>
                    <a:lnTo>
                      <a:pt x="4" y="4"/>
                    </a:lnTo>
                    <a:lnTo>
                      <a:pt x="6" y="4"/>
                    </a:lnTo>
                    <a:lnTo>
                      <a:pt x="6" y="6"/>
                    </a:lnTo>
                    <a:lnTo>
                      <a:pt x="8" y="6"/>
                    </a:lnTo>
                    <a:lnTo>
                      <a:pt x="10" y="2"/>
                    </a:lnTo>
                    <a:lnTo>
                      <a:pt x="10" y="0"/>
                    </a:lnTo>
                    <a:lnTo>
                      <a:pt x="12" y="0"/>
                    </a:lnTo>
                    <a:lnTo>
                      <a:pt x="20" y="2"/>
                    </a:lnTo>
                    <a:lnTo>
                      <a:pt x="22"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5" name="Freeform 2062"/>
              <p:cNvSpPr>
                <a:spLocks/>
              </p:cNvSpPr>
              <p:nvPr/>
            </p:nvSpPr>
            <p:spPr bwMode="auto">
              <a:xfrm>
                <a:off x="2414" y="3906"/>
                <a:ext cx="24" cy="24"/>
              </a:xfrm>
              <a:custGeom>
                <a:avLst/>
                <a:gdLst/>
                <a:ahLst/>
                <a:cxnLst>
                  <a:cxn ang="0">
                    <a:pos x="14" y="4"/>
                  </a:cxn>
                  <a:cxn ang="0">
                    <a:pos x="16" y="8"/>
                  </a:cxn>
                  <a:cxn ang="0">
                    <a:pos x="18" y="8"/>
                  </a:cxn>
                  <a:cxn ang="0">
                    <a:pos x="22" y="6"/>
                  </a:cxn>
                  <a:cxn ang="0">
                    <a:pos x="24" y="8"/>
                  </a:cxn>
                  <a:cxn ang="0">
                    <a:pos x="24" y="10"/>
                  </a:cxn>
                  <a:cxn ang="0">
                    <a:pos x="24" y="14"/>
                  </a:cxn>
                  <a:cxn ang="0">
                    <a:pos x="24" y="18"/>
                  </a:cxn>
                  <a:cxn ang="0">
                    <a:pos x="20" y="24"/>
                  </a:cxn>
                  <a:cxn ang="0">
                    <a:pos x="18" y="22"/>
                  </a:cxn>
                  <a:cxn ang="0">
                    <a:pos x="16" y="22"/>
                  </a:cxn>
                  <a:cxn ang="0">
                    <a:pos x="12" y="20"/>
                  </a:cxn>
                  <a:cxn ang="0">
                    <a:pos x="8" y="14"/>
                  </a:cxn>
                  <a:cxn ang="0">
                    <a:pos x="8" y="12"/>
                  </a:cxn>
                  <a:cxn ang="0">
                    <a:pos x="10" y="12"/>
                  </a:cxn>
                  <a:cxn ang="0">
                    <a:pos x="10" y="10"/>
                  </a:cxn>
                  <a:cxn ang="0">
                    <a:pos x="6" y="12"/>
                  </a:cxn>
                  <a:cxn ang="0">
                    <a:pos x="6" y="16"/>
                  </a:cxn>
                  <a:cxn ang="0">
                    <a:pos x="6" y="18"/>
                  </a:cxn>
                  <a:cxn ang="0">
                    <a:pos x="2" y="16"/>
                  </a:cxn>
                  <a:cxn ang="0">
                    <a:pos x="0" y="16"/>
                  </a:cxn>
                  <a:cxn ang="0">
                    <a:pos x="0" y="14"/>
                  </a:cxn>
                  <a:cxn ang="0">
                    <a:pos x="0" y="12"/>
                  </a:cxn>
                  <a:cxn ang="0">
                    <a:pos x="2" y="10"/>
                  </a:cxn>
                  <a:cxn ang="0">
                    <a:pos x="0" y="4"/>
                  </a:cxn>
                  <a:cxn ang="0">
                    <a:pos x="2" y="2"/>
                  </a:cxn>
                  <a:cxn ang="0">
                    <a:pos x="4" y="0"/>
                  </a:cxn>
                  <a:cxn ang="0">
                    <a:pos x="8" y="0"/>
                  </a:cxn>
                  <a:cxn ang="0">
                    <a:pos x="10" y="2"/>
                  </a:cxn>
                  <a:cxn ang="0">
                    <a:pos x="14" y="4"/>
                  </a:cxn>
                </a:cxnLst>
                <a:rect l="0" t="0" r="r" b="b"/>
                <a:pathLst>
                  <a:path w="24" h="24">
                    <a:moveTo>
                      <a:pt x="14" y="4"/>
                    </a:moveTo>
                    <a:lnTo>
                      <a:pt x="16" y="8"/>
                    </a:lnTo>
                    <a:lnTo>
                      <a:pt x="18" y="8"/>
                    </a:lnTo>
                    <a:lnTo>
                      <a:pt x="22" y="6"/>
                    </a:lnTo>
                    <a:lnTo>
                      <a:pt x="24" y="8"/>
                    </a:lnTo>
                    <a:lnTo>
                      <a:pt x="24" y="10"/>
                    </a:lnTo>
                    <a:lnTo>
                      <a:pt x="24" y="14"/>
                    </a:lnTo>
                    <a:lnTo>
                      <a:pt x="24" y="18"/>
                    </a:lnTo>
                    <a:lnTo>
                      <a:pt x="20" y="24"/>
                    </a:lnTo>
                    <a:lnTo>
                      <a:pt x="18" y="22"/>
                    </a:lnTo>
                    <a:lnTo>
                      <a:pt x="16" y="22"/>
                    </a:lnTo>
                    <a:lnTo>
                      <a:pt x="12" y="20"/>
                    </a:lnTo>
                    <a:lnTo>
                      <a:pt x="8" y="14"/>
                    </a:lnTo>
                    <a:lnTo>
                      <a:pt x="8" y="12"/>
                    </a:lnTo>
                    <a:lnTo>
                      <a:pt x="10" y="12"/>
                    </a:lnTo>
                    <a:lnTo>
                      <a:pt x="10" y="10"/>
                    </a:lnTo>
                    <a:lnTo>
                      <a:pt x="6" y="12"/>
                    </a:lnTo>
                    <a:lnTo>
                      <a:pt x="6" y="16"/>
                    </a:lnTo>
                    <a:lnTo>
                      <a:pt x="6" y="18"/>
                    </a:lnTo>
                    <a:lnTo>
                      <a:pt x="2" y="16"/>
                    </a:lnTo>
                    <a:lnTo>
                      <a:pt x="0" y="16"/>
                    </a:lnTo>
                    <a:lnTo>
                      <a:pt x="0" y="14"/>
                    </a:lnTo>
                    <a:lnTo>
                      <a:pt x="0" y="12"/>
                    </a:lnTo>
                    <a:lnTo>
                      <a:pt x="2" y="10"/>
                    </a:lnTo>
                    <a:lnTo>
                      <a:pt x="0" y="4"/>
                    </a:lnTo>
                    <a:lnTo>
                      <a:pt x="2" y="2"/>
                    </a:lnTo>
                    <a:lnTo>
                      <a:pt x="4" y="0"/>
                    </a:lnTo>
                    <a:lnTo>
                      <a:pt x="8" y="0"/>
                    </a:lnTo>
                    <a:lnTo>
                      <a:pt x="10" y="2"/>
                    </a:lnTo>
                    <a:lnTo>
                      <a:pt x="14"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6" name="Freeform 2063"/>
              <p:cNvSpPr>
                <a:spLocks/>
              </p:cNvSpPr>
              <p:nvPr/>
            </p:nvSpPr>
            <p:spPr bwMode="auto">
              <a:xfrm>
                <a:off x="2348" y="3910"/>
                <a:ext cx="12" cy="6"/>
              </a:xfrm>
              <a:custGeom>
                <a:avLst/>
                <a:gdLst/>
                <a:ahLst/>
                <a:cxnLst>
                  <a:cxn ang="0">
                    <a:pos x="6" y="6"/>
                  </a:cxn>
                  <a:cxn ang="0">
                    <a:pos x="4" y="6"/>
                  </a:cxn>
                  <a:cxn ang="0">
                    <a:pos x="0" y="4"/>
                  </a:cxn>
                  <a:cxn ang="0">
                    <a:pos x="2" y="0"/>
                  </a:cxn>
                  <a:cxn ang="0">
                    <a:pos x="4" y="0"/>
                  </a:cxn>
                  <a:cxn ang="0">
                    <a:pos x="8" y="2"/>
                  </a:cxn>
                  <a:cxn ang="0">
                    <a:pos x="10" y="2"/>
                  </a:cxn>
                  <a:cxn ang="0">
                    <a:pos x="12" y="6"/>
                  </a:cxn>
                  <a:cxn ang="0">
                    <a:pos x="10" y="6"/>
                  </a:cxn>
                  <a:cxn ang="0">
                    <a:pos x="6" y="6"/>
                  </a:cxn>
                </a:cxnLst>
                <a:rect l="0" t="0" r="r" b="b"/>
                <a:pathLst>
                  <a:path w="12" h="6">
                    <a:moveTo>
                      <a:pt x="6" y="6"/>
                    </a:moveTo>
                    <a:lnTo>
                      <a:pt x="4" y="6"/>
                    </a:lnTo>
                    <a:lnTo>
                      <a:pt x="0" y="4"/>
                    </a:lnTo>
                    <a:lnTo>
                      <a:pt x="2" y="0"/>
                    </a:lnTo>
                    <a:lnTo>
                      <a:pt x="4" y="0"/>
                    </a:lnTo>
                    <a:lnTo>
                      <a:pt x="8" y="2"/>
                    </a:lnTo>
                    <a:lnTo>
                      <a:pt x="10" y="2"/>
                    </a:lnTo>
                    <a:lnTo>
                      <a:pt x="12" y="6"/>
                    </a:lnTo>
                    <a:lnTo>
                      <a:pt x="10" y="6"/>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7" name="Freeform 2064"/>
              <p:cNvSpPr>
                <a:spLocks/>
              </p:cNvSpPr>
              <p:nvPr/>
            </p:nvSpPr>
            <p:spPr bwMode="auto">
              <a:xfrm>
                <a:off x="2458" y="3912"/>
                <a:ext cx="8" cy="6"/>
              </a:xfrm>
              <a:custGeom>
                <a:avLst/>
                <a:gdLst/>
                <a:ahLst/>
                <a:cxnLst>
                  <a:cxn ang="0">
                    <a:pos x="4" y="6"/>
                  </a:cxn>
                  <a:cxn ang="0">
                    <a:pos x="0" y="4"/>
                  </a:cxn>
                  <a:cxn ang="0">
                    <a:pos x="0" y="2"/>
                  </a:cxn>
                  <a:cxn ang="0">
                    <a:pos x="0" y="0"/>
                  </a:cxn>
                  <a:cxn ang="0">
                    <a:pos x="6" y="0"/>
                  </a:cxn>
                  <a:cxn ang="0">
                    <a:pos x="8" y="2"/>
                  </a:cxn>
                  <a:cxn ang="0">
                    <a:pos x="6" y="4"/>
                  </a:cxn>
                  <a:cxn ang="0">
                    <a:pos x="6" y="6"/>
                  </a:cxn>
                  <a:cxn ang="0">
                    <a:pos x="4" y="6"/>
                  </a:cxn>
                </a:cxnLst>
                <a:rect l="0" t="0" r="r" b="b"/>
                <a:pathLst>
                  <a:path w="8" h="6">
                    <a:moveTo>
                      <a:pt x="4" y="6"/>
                    </a:moveTo>
                    <a:lnTo>
                      <a:pt x="0" y="4"/>
                    </a:lnTo>
                    <a:lnTo>
                      <a:pt x="0" y="2"/>
                    </a:lnTo>
                    <a:lnTo>
                      <a:pt x="0" y="0"/>
                    </a:lnTo>
                    <a:lnTo>
                      <a:pt x="6" y="0"/>
                    </a:lnTo>
                    <a:lnTo>
                      <a:pt x="8" y="2"/>
                    </a:lnTo>
                    <a:lnTo>
                      <a:pt x="6" y="4"/>
                    </a:lnTo>
                    <a:lnTo>
                      <a:pt x="6"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8" name="Freeform 2065"/>
              <p:cNvSpPr>
                <a:spLocks/>
              </p:cNvSpPr>
              <p:nvPr/>
            </p:nvSpPr>
            <p:spPr bwMode="auto">
              <a:xfrm>
                <a:off x="2384" y="3912"/>
                <a:ext cx="10" cy="12"/>
              </a:xfrm>
              <a:custGeom>
                <a:avLst/>
                <a:gdLst/>
                <a:ahLst/>
                <a:cxnLst>
                  <a:cxn ang="0">
                    <a:pos x="6" y="2"/>
                  </a:cxn>
                  <a:cxn ang="0">
                    <a:pos x="10" y="4"/>
                  </a:cxn>
                  <a:cxn ang="0">
                    <a:pos x="10" y="6"/>
                  </a:cxn>
                  <a:cxn ang="0">
                    <a:pos x="8" y="8"/>
                  </a:cxn>
                  <a:cxn ang="0">
                    <a:pos x="6" y="12"/>
                  </a:cxn>
                  <a:cxn ang="0">
                    <a:pos x="2" y="12"/>
                  </a:cxn>
                  <a:cxn ang="0">
                    <a:pos x="0" y="12"/>
                  </a:cxn>
                  <a:cxn ang="0">
                    <a:pos x="0" y="10"/>
                  </a:cxn>
                  <a:cxn ang="0">
                    <a:pos x="0" y="8"/>
                  </a:cxn>
                  <a:cxn ang="0">
                    <a:pos x="4" y="2"/>
                  </a:cxn>
                  <a:cxn ang="0">
                    <a:pos x="6" y="0"/>
                  </a:cxn>
                  <a:cxn ang="0">
                    <a:pos x="6" y="2"/>
                  </a:cxn>
                </a:cxnLst>
                <a:rect l="0" t="0" r="r" b="b"/>
                <a:pathLst>
                  <a:path w="10" h="12">
                    <a:moveTo>
                      <a:pt x="6" y="2"/>
                    </a:moveTo>
                    <a:lnTo>
                      <a:pt x="10" y="4"/>
                    </a:lnTo>
                    <a:lnTo>
                      <a:pt x="10" y="6"/>
                    </a:lnTo>
                    <a:lnTo>
                      <a:pt x="8" y="8"/>
                    </a:lnTo>
                    <a:lnTo>
                      <a:pt x="6" y="12"/>
                    </a:lnTo>
                    <a:lnTo>
                      <a:pt x="2" y="12"/>
                    </a:lnTo>
                    <a:lnTo>
                      <a:pt x="0" y="12"/>
                    </a:lnTo>
                    <a:lnTo>
                      <a:pt x="0" y="10"/>
                    </a:lnTo>
                    <a:lnTo>
                      <a:pt x="0" y="8"/>
                    </a:lnTo>
                    <a:lnTo>
                      <a:pt x="4" y="2"/>
                    </a:lnTo>
                    <a:lnTo>
                      <a:pt x="6" y="0"/>
                    </a:lnTo>
                    <a:lnTo>
                      <a:pt x="6" y="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79" name="Freeform 2066"/>
              <p:cNvSpPr>
                <a:spLocks/>
              </p:cNvSpPr>
              <p:nvPr/>
            </p:nvSpPr>
            <p:spPr bwMode="auto">
              <a:xfrm>
                <a:off x="2456" y="3918"/>
                <a:ext cx="12" cy="8"/>
              </a:xfrm>
              <a:custGeom>
                <a:avLst/>
                <a:gdLst/>
                <a:ahLst/>
                <a:cxnLst>
                  <a:cxn ang="0">
                    <a:pos x="10" y="8"/>
                  </a:cxn>
                  <a:cxn ang="0">
                    <a:pos x="8" y="8"/>
                  </a:cxn>
                  <a:cxn ang="0">
                    <a:pos x="2" y="6"/>
                  </a:cxn>
                  <a:cxn ang="0">
                    <a:pos x="2" y="4"/>
                  </a:cxn>
                  <a:cxn ang="0">
                    <a:pos x="0" y="2"/>
                  </a:cxn>
                  <a:cxn ang="0">
                    <a:pos x="0" y="0"/>
                  </a:cxn>
                  <a:cxn ang="0">
                    <a:pos x="2" y="0"/>
                  </a:cxn>
                  <a:cxn ang="0">
                    <a:pos x="8" y="2"/>
                  </a:cxn>
                  <a:cxn ang="0">
                    <a:pos x="12" y="4"/>
                  </a:cxn>
                  <a:cxn ang="0">
                    <a:pos x="12" y="6"/>
                  </a:cxn>
                  <a:cxn ang="0">
                    <a:pos x="10" y="8"/>
                  </a:cxn>
                </a:cxnLst>
                <a:rect l="0" t="0" r="r" b="b"/>
                <a:pathLst>
                  <a:path w="12" h="8">
                    <a:moveTo>
                      <a:pt x="10" y="8"/>
                    </a:moveTo>
                    <a:lnTo>
                      <a:pt x="8" y="8"/>
                    </a:lnTo>
                    <a:lnTo>
                      <a:pt x="2" y="6"/>
                    </a:lnTo>
                    <a:lnTo>
                      <a:pt x="2" y="4"/>
                    </a:lnTo>
                    <a:lnTo>
                      <a:pt x="0" y="2"/>
                    </a:lnTo>
                    <a:lnTo>
                      <a:pt x="0" y="0"/>
                    </a:lnTo>
                    <a:lnTo>
                      <a:pt x="2" y="0"/>
                    </a:lnTo>
                    <a:lnTo>
                      <a:pt x="8" y="2"/>
                    </a:lnTo>
                    <a:lnTo>
                      <a:pt x="12" y="4"/>
                    </a:lnTo>
                    <a:lnTo>
                      <a:pt x="12" y="6"/>
                    </a:lnTo>
                    <a:lnTo>
                      <a:pt x="1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0" name="Freeform 2067"/>
              <p:cNvSpPr>
                <a:spLocks/>
              </p:cNvSpPr>
              <p:nvPr/>
            </p:nvSpPr>
            <p:spPr bwMode="auto">
              <a:xfrm>
                <a:off x="2382" y="3926"/>
                <a:ext cx="8" cy="6"/>
              </a:xfrm>
              <a:custGeom>
                <a:avLst/>
                <a:gdLst/>
                <a:ahLst/>
                <a:cxnLst>
                  <a:cxn ang="0">
                    <a:pos x="2" y="6"/>
                  </a:cxn>
                  <a:cxn ang="0">
                    <a:pos x="0" y="4"/>
                  </a:cxn>
                  <a:cxn ang="0">
                    <a:pos x="0" y="2"/>
                  </a:cxn>
                  <a:cxn ang="0">
                    <a:pos x="4" y="0"/>
                  </a:cxn>
                  <a:cxn ang="0">
                    <a:pos x="8" y="2"/>
                  </a:cxn>
                  <a:cxn ang="0">
                    <a:pos x="6" y="4"/>
                  </a:cxn>
                  <a:cxn ang="0">
                    <a:pos x="2" y="6"/>
                  </a:cxn>
                </a:cxnLst>
                <a:rect l="0" t="0" r="r" b="b"/>
                <a:pathLst>
                  <a:path w="8" h="6">
                    <a:moveTo>
                      <a:pt x="2" y="6"/>
                    </a:moveTo>
                    <a:lnTo>
                      <a:pt x="0" y="4"/>
                    </a:lnTo>
                    <a:lnTo>
                      <a:pt x="0" y="2"/>
                    </a:lnTo>
                    <a:lnTo>
                      <a:pt x="4" y="0"/>
                    </a:lnTo>
                    <a:lnTo>
                      <a:pt x="8" y="2"/>
                    </a:lnTo>
                    <a:lnTo>
                      <a:pt x="6"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1" name="Freeform 2068"/>
              <p:cNvSpPr>
                <a:spLocks/>
              </p:cNvSpPr>
              <p:nvPr/>
            </p:nvSpPr>
            <p:spPr bwMode="auto">
              <a:xfrm>
                <a:off x="2422" y="3954"/>
                <a:ext cx="18" cy="8"/>
              </a:xfrm>
              <a:custGeom>
                <a:avLst/>
                <a:gdLst/>
                <a:ahLst/>
                <a:cxnLst>
                  <a:cxn ang="0">
                    <a:pos x="14" y="8"/>
                  </a:cxn>
                  <a:cxn ang="0">
                    <a:pos x="10" y="6"/>
                  </a:cxn>
                  <a:cxn ang="0">
                    <a:pos x="8" y="4"/>
                  </a:cxn>
                  <a:cxn ang="0">
                    <a:pos x="4" y="8"/>
                  </a:cxn>
                  <a:cxn ang="0">
                    <a:pos x="0" y="6"/>
                  </a:cxn>
                  <a:cxn ang="0">
                    <a:pos x="0" y="4"/>
                  </a:cxn>
                  <a:cxn ang="0">
                    <a:pos x="2" y="0"/>
                  </a:cxn>
                  <a:cxn ang="0">
                    <a:pos x="4" y="0"/>
                  </a:cxn>
                  <a:cxn ang="0">
                    <a:pos x="8" y="2"/>
                  </a:cxn>
                  <a:cxn ang="0">
                    <a:pos x="12" y="2"/>
                  </a:cxn>
                  <a:cxn ang="0">
                    <a:pos x="14" y="4"/>
                  </a:cxn>
                  <a:cxn ang="0">
                    <a:pos x="16" y="2"/>
                  </a:cxn>
                  <a:cxn ang="0">
                    <a:pos x="18" y="4"/>
                  </a:cxn>
                  <a:cxn ang="0">
                    <a:pos x="18" y="6"/>
                  </a:cxn>
                  <a:cxn ang="0">
                    <a:pos x="16" y="6"/>
                  </a:cxn>
                  <a:cxn ang="0">
                    <a:pos x="14" y="8"/>
                  </a:cxn>
                </a:cxnLst>
                <a:rect l="0" t="0" r="r" b="b"/>
                <a:pathLst>
                  <a:path w="18" h="8">
                    <a:moveTo>
                      <a:pt x="14" y="8"/>
                    </a:moveTo>
                    <a:lnTo>
                      <a:pt x="10" y="6"/>
                    </a:lnTo>
                    <a:lnTo>
                      <a:pt x="8" y="4"/>
                    </a:lnTo>
                    <a:lnTo>
                      <a:pt x="4" y="8"/>
                    </a:lnTo>
                    <a:lnTo>
                      <a:pt x="0" y="6"/>
                    </a:lnTo>
                    <a:lnTo>
                      <a:pt x="0" y="4"/>
                    </a:lnTo>
                    <a:lnTo>
                      <a:pt x="2" y="0"/>
                    </a:lnTo>
                    <a:lnTo>
                      <a:pt x="4" y="0"/>
                    </a:lnTo>
                    <a:lnTo>
                      <a:pt x="8" y="2"/>
                    </a:lnTo>
                    <a:lnTo>
                      <a:pt x="12" y="2"/>
                    </a:lnTo>
                    <a:lnTo>
                      <a:pt x="14" y="4"/>
                    </a:lnTo>
                    <a:lnTo>
                      <a:pt x="16" y="2"/>
                    </a:lnTo>
                    <a:lnTo>
                      <a:pt x="18" y="4"/>
                    </a:lnTo>
                    <a:lnTo>
                      <a:pt x="18" y="6"/>
                    </a:lnTo>
                    <a:lnTo>
                      <a:pt x="16" y="6"/>
                    </a:lnTo>
                    <a:lnTo>
                      <a:pt x="14"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2" name="Freeform 2069"/>
              <p:cNvSpPr>
                <a:spLocks/>
              </p:cNvSpPr>
              <p:nvPr/>
            </p:nvSpPr>
            <p:spPr bwMode="auto">
              <a:xfrm>
                <a:off x="2448" y="3954"/>
                <a:ext cx="12" cy="4"/>
              </a:xfrm>
              <a:custGeom>
                <a:avLst/>
                <a:gdLst/>
                <a:ahLst/>
                <a:cxnLst>
                  <a:cxn ang="0">
                    <a:pos x="10" y="2"/>
                  </a:cxn>
                  <a:cxn ang="0">
                    <a:pos x="12" y="4"/>
                  </a:cxn>
                  <a:cxn ang="0">
                    <a:pos x="10" y="4"/>
                  </a:cxn>
                  <a:cxn ang="0">
                    <a:pos x="4" y="4"/>
                  </a:cxn>
                  <a:cxn ang="0">
                    <a:pos x="2" y="4"/>
                  </a:cxn>
                  <a:cxn ang="0">
                    <a:pos x="0" y="4"/>
                  </a:cxn>
                  <a:cxn ang="0">
                    <a:pos x="0" y="2"/>
                  </a:cxn>
                  <a:cxn ang="0">
                    <a:pos x="2" y="2"/>
                  </a:cxn>
                  <a:cxn ang="0">
                    <a:pos x="6" y="2"/>
                  </a:cxn>
                  <a:cxn ang="0">
                    <a:pos x="8" y="0"/>
                  </a:cxn>
                  <a:cxn ang="0">
                    <a:pos x="10" y="2"/>
                  </a:cxn>
                </a:cxnLst>
                <a:rect l="0" t="0" r="r" b="b"/>
                <a:pathLst>
                  <a:path w="12" h="4">
                    <a:moveTo>
                      <a:pt x="10" y="2"/>
                    </a:moveTo>
                    <a:lnTo>
                      <a:pt x="12" y="4"/>
                    </a:lnTo>
                    <a:lnTo>
                      <a:pt x="10" y="4"/>
                    </a:lnTo>
                    <a:lnTo>
                      <a:pt x="4" y="4"/>
                    </a:lnTo>
                    <a:lnTo>
                      <a:pt x="2" y="4"/>
                    </a:lnTo>
                    <a:lnTo>
                      <a:pt x="0" y="4"/>
                    </a:lnTo>
                    <a:lnTo>
                      <a:pt x="0" y="2"/>
                    </a:lnTo>
                    <a:lnTo>
                      <a:pt x="2" y="2"/>
                    </a:lnTo>
                    <a:lnTo>
                      <a:pt x="6" y="2"/>
                    </a:lnTo>
                    <a:lnTo>
                      <a:pt x="8" y="0"/>
                    </a:lnTo>
                    <a:lnTo>
                      <a:pt x="10" y="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3" name="Freeform 2070"/>
              <p:cNvSpPr>
                <a:spLocks/>
              </p:cNvSpPr>
              <p:nvPr/>
            </p:nvSpPr>
            <p:spPr bwMode="auto">
              <a:xfrm>
                <a:off x="2476" y="3958"/>
                <a:ext cx="28" cy="8"/>
              </a:xfrm>
              <a:custGeom>
                <a:avLst/>
                <a:gdLst/>
                <a:ahLst/>
                <a:cxnLst>
                  <a:cxn ang="0">
                    <a:pos x="2" y="8"/>
                  </a:cxn>
                  <a:cxn ang="0">
                    <a:pos x="2" y="6"/>
                  </a:cxn>
                  <a:cxn ang="0">
                    <a:pos x="0" y="6"/>
                  </a:cxn>
                  <a:cxn ang="0">
                    <a:pos x="0" y="4"/>
                  </a:cxn>
                  <a:cxn ang="0">
                    <a:pos x="0" y="0"/>
                  </a:cxn>
                  <a:cxn ang="0">
                    <a:pos x="2" y="0"/>
                  </a:cxn>
                  <a:cxn ang="0">
                    <a:pos x="4" y="0"/>
                  </a:cxn>
                  <a:cxn ang="0">
                    <a:pos x="8" y="0"/>
                  </a:cxn>
                  <a:cxn ang="0">
                    <a:pos x="10" y="0"/>
                  </a:cxn>
                  <a:cxn ang="0">
                    <a:pos x="20" y="2"/>
                  </a:cxn>
                  <a:cxn ang="0">
                    <a:pos x="22" y="2"/>
                  </a:cxn>
                  <a:cxn ang="0">
                    <a:pos x="28" y="4"/>
                  </a:cxn>
                  <a:cxn ang="0">
                    <a:pos x="28" y="6"/>
                  </a:cxn>
                  <a:cxn ang="0">
                    <a:pos x="26" y="6"/>
                  </a:cxn>
                  <a:cxn ang="0">
                    <a:pos x="20" y="6"/>
                  </a:cxn>
                  <a:cxn ang="0">
                    <a:pos x="16" y="8"/>
                  </a:cxn>
                  <a:cxn ang="0">
                    <a:pos x="12" y="8"/>
                  </a:cxn>
                  <a:cxn ang="0">
                    <a:pos x="6" y="8"/>
                  </a:cxn>
                  <a:cxn ang="0">
                    <a:pos x="2" y="8"/>
                  </a:cxn>
                </a:cxnLst>
                <a:rect l="0" t="0" r="r" b="b"/>
                <a:pathLst>
                  <a:path w="28" h="8">
                    <a:moveTo>
                      <a:pt x="2" y="8"/>
                    </a:moveTo>
                    <a:lnTo>
                      <a:pt x="2" y="6"/>
                    </a:lnTo>
                    <a:lnTo>
                      <a:pt x="0" y="6"/>
                    </a:lnTo>
                    <a:lnTo>
                      <a:pt x="0" y="4"/>
                    </a:lnTo>
                    <a:lnTo>
                      <a:pt x="0" y="0"/>
                    </a:lnTo>
                    <a:lnTo>
                      <a:pt x="2" y="0"/>
                    </a:lnTo>
                    <a:lnTo>
                      <a:pt x="4" y="0"/>
                    </a:lnTo>
                    <a:lnTo>
                      <a:pt x="8" y="0"/>
                    </a:lnTo>
                    <a:lnTo>
                      <a:pt x="10" y="0"/>
                    </a:lnTo>
                    <a:lnTo>
                      <a:pt x="20" y="2"/>
                    </a:lnTo>
                    <a:lnTo>
                      <a:pt x="22" y="2"/>
                    </a:lnTo>
                    <a:lnTo>
                      <a:pt x="28" y="4"/>
                    </a:lnTo>
                    <a:lnTo>
                      <a:pt x="28" y="6"/>
                    </a:lnTo>
                    <a:lnTo>
                      <a:pt x="26" y="6"/>
                    </a:lnTo>
                    <a:lnTo>
                      <a:pt x="20" y="6"/>
                    </a:lnTo>
                    <a:lnTo>
                      <a:pt x="16" y="8"/>
                    </a:lnTo>
                    <a:lnTo>
                      <a:pt x="12" y="8"/>
                    </a:lnTo>
                    <a:lnTo>
                      <a:pt x="6"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4" name="Freeform 2071"/>
              <p:cNvSpPr>
                <a:spLocks/>
              </p:cNvSpPr>
              <p:nvPr/>
            </p:nvSpPr>
            <p:spPr bwMode="auto">
              <a:xfrm>
                <a:off x="2438" y="3958"/>
                <a:ext cx="26" cy="18"/>
              </a:xfrm>
              <a:custGeom>
                <a:avLst/>
                <a:gdLst/>
                <a:ahLst/>
                <a:cxnLst>
                  <a:cxn ang="0">
                    <a:pos x="24" y="0"/>
                  </a:cxn>
                  <a:cxn ang="0">
                    <a:pos x="24" y="2"/>
                  </a:cxn>
                  <a:cxn ang="0">
                    <a:pos x="20" y="4"/>
                  </a:cxn>
                  <a:cxn ang="0">
                    <a:pos x="18" y="4"/>
                  </a:cxn>
                  <a:cxn ang="0">
                    <a:pos x="18" y="6"/>
                  </a:cxn>
                  <a:cxn ang="0">
                    <a:pos x="14" y="6"/>
                  </a:cxn>
                  <a:cxn ang="0">
                    <a:pos x="12" y="6"/>
                  </a:cxn>
                  <a:cxn ang="0">
                    <a:pos x="10" y="6"/>
                  </a:cxn>
                  <a:cxn ang="0">
                    <a:pos x="10" y="8"/>
                  </a:cxn>
                  <a:cxn ang="0">
                    <a:pos x="12" y="8"/>
                  </a:cxn>
                  <a:cxn ang="0">
                    <a:pos x="18" y="8"/>
                  </a:cxn>
                  <a:cxn ang="0">
                    <a:pos x="22" y="8"/>
                  </a:cxn>
                  <a:cxn ang="0">
                    <a:pos x="24" y="8"/>
                  </a:cxn>
                  <a:cxn ang="0">
                    <a:pos x="26" y="8"/>
                  </a:cxn>
                  <a:cxn ang="0">
                    <a:pos x="26" y="12"/>
                  </a:cxn>
                  <a:cxn ang="0">
                    <a:pos x="26" y="14"/>
                  </a:cxn>
                  <a:cxn ang="0">
                    <a:pos x="24" y="14"/>
                  </a:cxn>
                  <a:cxn ang="0">
                    <a:pos x="24" y="12"/>
                  </a:cxn>
                  <a:cxn ang="0">
                    <a:pos x="22" y="10"/>
                  </a:cxn>
                  <a:cxn ang="0">
                    <a:pos x="20" y="10"/>
                  </a:cxn>
                  <a:cxn ang="0">
                    <a:pos x="20" y="12"/>
                  </a:cxn>
                  <a:cxn ang="0">
                    <a:pos x="20" y="14"/>
                  </a:cxn>
                  <a:cxn ang="0">
                    <a:pos x="22" y="14"/>
                  </a:cxn>
                  <a:cxn ang="0">
                    <a:pos x="22" y="16"/>
                  </a:cxn>
                  <a:cxn ang="0">
                    <a:pos x="18" y="18"/>
                  </a:cxn>
                  <a:cxn ang="0">
                    <a:pos x="16" y="18"/>
                  </a:cxn>
                  <a:cxn ang="0">
                    <a:pos x="16" y="16"/>
                  </a:cxn>
                  <a:cxn ang="0">
                    <a:pos x="16" y="14"/>
                  </a:cxn>
                  <a:cxn ang="0">
                    <a:pos x="16" y="12"/>
                  </a:cxn>
                  <a:cxn ang="0">
                    <a:pos x="14" y="10"/>
                  </a:cxn>
                  <a:cxn ang="0">
                    <a:pos x="10" y="12"/>
                  </a:cxn>
                  <a:cxn ang="0">
                    <a:pos x="2" y="10"/>
                  </a:cxn>
                  <a:cxn ang="0">
                    <a:pos x="0" y="8"/>
                  </a:cxn>
                  <a:cxn ang="0">
                    <a:pos x="0" y="4"/>
                  </a:cxn>
                  <a:cxn ang="0">
                    <a:pos x="4" y="2"/>
                  </a:cxn>
                  <a:cxn ang="0">
                    <a:pos x="8" y="4"/>
                  </a:cxn>
                  <a:cxn ang="0">
                    <a:pos x="10" y="4"/>
                  </a:cxn>
                  <a:cxn ang="0">
                    <a:pos x="16" y="4"/>
                  </a:cxn>
                  <a:cxn ang="0">
                    <a:pos x="14" y="4"/>
                  </a:cxn>
                  <a:cxn ang="0">
                    <a:pos x="18" y="2"/>
                  </a:cxn>
                  <a:cxn ang="0">
                    <a:pos x="20" y="2"/>
                  </a:cxn>
                  <a:cxn ang="0">
                    <a:pos x="24" y="0"/>
                  </a:cxn>
                </a:cxnLst>
                <a:rect l="0" t="0" r="r" b="b"/>
                <a:pathLst>
                  <a:path w="26" h="18">
                    <a:moveTo>
                      <a:pt x="24" y="0"/>
                    </a:moveTo>
                    <a:lnTo>
                      <a:pt x="24" y="2"/>
                    </a:lnTo>
                    <a:lnTo>
                      <a:pt x="20" y="4"/>
                    </a:lnTo>
                    <a:lnTo>
                      <a:pt x="18" y="4"/>
                    </a:lnTo>
                    <a:lnTo>
                      <a:pt x="18" y="6"/>
                    </a:lnTo>
                    <a:lnTo>
                      <a:pt x="14" y="6"/>
                    </a:lnTo>
                    <a:lnTo>
                      <a:pt x="12" y="6"/>
                    </a:lnTo>
                    <a:lnTo>
                      <a:pt x="10" y="6"/>
                    </a:lnTo>
                    <a:lnTo>
                      <a:pt x="10" y="8"/>
                    </a:lnTo>
                    <a:lnTo>
                      <a:pt x="12" y="8"/>
                    </a:lnTo>
                    <a:lnTo>
                      <a:pt x="18" y="8"/>
                    </a:lnTo>
                    <a:lnTo>
                      <a:pt x="22" y="8"/>
                    </a:lnTo>
                    <a:lnTo>
                      <a:pt x="24" y="8"/>
                    </a:lnTo>
                    <a:lnTo>
                      <a:pt x="26" y="8"/>
                    </a:lnTo>
                    <a:lnTo>
                      <a:pt x="26" y="12"/>
                    </a:lnTo>
                    <a:lnTo>
                      <a:pt x="26" y="14"/>
                    </a:lnTo>
                    <a:lnTo>
                      <a:pt x="24" y="14"/>
                    </a:lnTo>
                    <a:lnTo>
                      <a:pt x="24" y="12"/>
                    </a:lnTo>
                    <a:lnTo>
                      <a:pt x="22" y="10"/>
                    </a:lnTo>
                    <a:lnTo>
                      <a:pt x="20" y="10"/>
                    </a:lnTo>
                    <a:lnTo>
                      <a:pt x="20" y="12"/>
                    </a:lnTo>
                    <a:lnTo>
                      <a:pt x="20" y="14"/>
                    </a:lnTo>
                    <a:lnTo>
                      <a:pt x="22" y="14"/>
                    </a:lnTo>
                    <a:lnTo>
                      <a:pt x="22" y="16"/>
                    </a:lnTo>
                    <a:lnTo>
                      <a:pt x="18" y="18"/>
                    </a:lnTo>
                    <a:lnTo>
                      <a:pt x="16" y="18"/>
                    </a:lnTo>
                    <a:lnTo>
                      <a:pt x="16" y="16"/>
                    </a:lnTo>
                    <a:lnTo>
                      <a:pt x="16" y="14"/>
                    </a:lnTo>
                    <a:lnTo>
                      <a:pt x="16" y="12"/>
                    </a:lnTo>
                    <a:lnTo>
                      <a:pt x="14" y="10"/>
                    </a:lnTo>
                    <a:lnTo>
                      <a:pt x="10" y="12"/>
                    </a:lnTo>
                    <a:lnTo>
                      <a:pt x="2" y="10"/>
                    </a:lnTo>
                    <a:lnTo>
                      <a:pt x="0" y="8"/>
                    </a:lnTo>
                    <a:lnTo>
                      <a:pt x="0" y="4"/>
                    </a:lnTo>
                    <a:lnTo>
                      <a:pt x="4" y="2"/>
                    </a:lnTo>
                    <a:lnTo>
                      <a:pt x="8" y="4"/>
                    </a:lnTo>
                    <a:lnTo>
                      <a:pt x="10" y="4"/>
                    </a:lnTo>
                    <a:lnTo>
                      <a:pt x="16" y="4"/>
                    </a:lnTo>
                    <a:lnTo>
                      <a:pt x="14" y="4"/>
                    </a:lnTo>
                    <a:lnTo>
                      <a:pt x="18" y="2"/>
                    </a:lnTo>
                    <a:lnTo>
                      <a:pt x="20" y="2"/>
                    </a:lnTo>
                    <a:lnTo>
                      <a:pt x="24" y="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5" name="Freeform 2072"/>
              <p:cNvSpPr>
                <a:spLocks/>
              </p:cNvSpPr>
              <p:nvPr/>
            </p:nvSpPr>
            <p:spPr bwMode="auto">
              <a:xfrm>
                <a:off x="2534" y="3960"/>
                <a:ext cx="48" cy="24"/>
              </a:xfrm>
              <a:custGeom>
                <a:avLst/>
                <a:gdLst/>
                <a:ahLst/>
                <a:cxnLst>
                  <a:cxn ang="0">
                    <a:pos x="10" y="18"/>
                  </a:cxn>
                  <a:cxn ang="0">
                    <a:pos x="8" y="18"/>
                  </a:cxn>
                  <a:cxn ang="0">
                    <a:pos x="6" y="10"/>
                  </a:cxn>
                  <a:cxn ang="0">
                    <a:pos x="6" y="6"/>
                  </a:cxn>
                  <a:cxn ang="0">
                    <a:pos x="4" y="6"/>
                  </a:cxn>
                  <a:cxn ang="0">
                    <a:pos x="2" y="6"/>
                  </a:cxn>
                  <a:cxn ang="0">
                    <a:pos x="0" y="4"/>
                  </a:cxn>
                  <a:cxn ang="0">
                    <a:pos x="0" y="2"/>
                  </a:cxn>
                  <a:cxn ang="0">
                    <a:pos x="6" y="0"/>
                  </a:cxn>
                  <a:cxn ang="0">
                    <a:pos x="12" y="2"/>
                  </a:cxn>
                  <a:cxn ang="0">
                    <a:pos x="14" y="2"/>
                  </a:cxn>
                  <a:cxn ang="0">
                    <a:pos x="18" y="2"/>
                  </a:cxn>
                  <a:cxn ang="0">
                    <a:pos x="22" y="2"/>
                  </a:cxn>
                  <a:cxn ang="0">
                    <a:pos x="26" y="2"/>
                  </a:cxn>
                  <a:cxn ang="0">
                    <a:pos x="28" y="2"/>
                  </a:cxn>
                  <a:cxn ang="0">
                    <a:pos x="30" y="2"/>
                  </a:cxn>
                  <a:cxn ang="0">
                    <a:pos x="34" y="2"/>
                  </a:cxn>
                  <a:cxn ang="0">
                    <a:pos x="36" y="2"/>
                  </a:cxn>
                  <a:cxn ang="0">
                    <a:pos x="38" y="4"/>
                  </a:cxn>
                  <a:cxn ang="0">
                    <a:pos x="40" y="4"/>
                  </a:cxn>
                  <a:cxn ang="0">
                    <a:pos x="42" y="4"/>
                  </a:cxn>
                  <a:cxn ang="0">
                    <a:pos x="42" y="6"/>
                  </a:cxn>
                  <a:cxn ang="0">
                    <a:pos x="44" y="6"/>
                  </a:cxn>
                  <a:cxn ang="0">
                    <a:pos x="48" y="10"/>
                  </a:cxn>
                  <a:cxn ang="0">
                    <a:pos x="48" y="14"/>
                  </a:cxn>
                  <a:cxn ang="0">
                    <a:pos x="46" y="14"/>
                  </a:cxn>
                  <a:cxn ang="0">
                    <a:pos x="46" y="16"/>
                  </a:cxn>
                  <a:cxn ang="0">
                    <a:pos x="46" y="18"/>
                  </a:cxn>
                  <a:cxn ang="0">
                    <a:pos x="40" y="24"/>
                  </a:cxn>
                  <a:cxn ang="0">
                    <a:pos x="38" y="24"/>
                  </a:cxn>
                  <a:cxn ang="0">
                    <a:pos x="34" y="22"/>
                  </a:cxn>
                  <a:cxn ang="0">
                    <a:pos x="32" y="22"/>
                  </a:cxn>
                  <a:cxn ang="0">
                    <a:pos x="32" y="20"/>
                  </a:cxn>
                  <a:cxn ang="0">
                    <a:pos x="34" y="20"/>
                  </a:cxn>
                  <a:cxn ang="0">
                    <a:pos x="34" y="18"/>
                  </a:cxn>
                  <a:cxn ang="0">
                    <a:pos x="32" y="16"/>
                  </a:cxn>
                  <a:cxn ang="0">
                    <a:pos x="30" y="16"/>
                  </a:cxn>
                  <a:cxn ang="0">
                    <a:pos x="28" y="16"/>
                  </a:cxn>
                  <a:cxn ang="0">
                    <a:pos x="26" y="16"/>
                  </a:cxn>
                  <a:cxn ang="0">
                    <a:pos x="26" y="18"/>
                  </a:cxn>
                  <a:cxn ang="0">
                    <a:pos x="26" y="20"/>
                  </a:cxn>
                  <a:cxn ang="0">
                    <a:pos x="24" y="22"/>
                  </a:cxn>
                  <a:cxn ang="0">
                    <a:pos x="20" y="20"/>
                  </a:cxn>
                  <a:cxn ang="0">
                    <a:pos x="18" y="20"/>
                  </a:cxn>
                  <a:cxn ang="0">
                    <a:pos x="16" y="20"/>
                  </a:cxn>
                  <a:cxn ang="0">
                    <a:pos x="16" y="18"/>
                  </a:cxn>
                  <a:cxn ang="0">
                    <a:pos x="18" y="18"/>
                  </a:cxn>
                  <a:cxn ang="0">
                    <a:pos x="16" y="16"/>
                  </a:cxn>
                  <a:cxn ang="0">
                    <a:pos x="12" y="18"/>
                  </a:cxn>
                  <a:cxn ang="0">
                    <a:pos x="10" y="18"/>
                  </a:cxn>
                </a:cxnLst>
                <a:rect l="0" t="0" r="r" b="b"/>
                <a:pathLst>
                  <a:path w="48" h="24">
                    <a:moveTo>
                      <a:pt x="10" y="18"/>
                    </a:moveTo>
                    <a:lnTo>
                      <a:pt x="8" y="18"/>
                    </a:lnTo>
                    <a:lnTo>
                      <a:pt x="6" y="10"/>
                    </a:lnTo>
                    <a:lnTo>
                      <a:pt x="6" y="6"/>
                    </a:lnTo>
                    <a:lnTo>
                      <a:pt x="4" y="6"/>
                    </a:lnTo>
                    <a:lnTo>
                      <a:pt x="2" y="6"/>
                    </a:lnTo>
                    <a:lnTo>
                      <a:pt x="0" y="4"/>
                    </a:lnTo>
                    <a:lnTo>
                      <a:pt x="0" y="2"/>
                    </a:lnTo>
                    <a:lnTo>
                      <a:pt x="6" y="0"/>
                    </a:lnTo>
                    <a:lnTo>
                      <a:pt x="12" y="2"/>
                    </a:lnTo>
                    <a:lnTo>
                      <a:pt x="14" y="2"/>
                    </a:lnTo>
                    <a:lnTo>
                      <a:pt x="18" y="2"/>
                    </a:lnTo>
                    <a:lnTo>
                      <a:pt x="22" y="2"/>
                    </a:lnTo>
                    <a:lnTo>
                      <a:pt x="26" y="2"/>
                    </a:lnTo>
                    <a:lnTo>
                      <a:pt x="28" y="2"/>
                    </a:lnTo>
                    <a:lnTo>
                      <a:pt x="30" y="2"/>
                    </a:lnTo>
                    <a:lnTo>
                      <a:pt x="34" y="2"/>
                    </a:lnTo>
                    <a:lnTo>
                      <a:pt x="36" y="2"/>
                    </a:lnTo>
                    <a:lnTo>
                      <a:pt x="38" y="4"/>
                    </a:lnTo>
                    <a:lnTo>
                      <a:pt x="40" y="4"/>
                    </a:lnTo>
                    <a:lnTo>
                      <a:pt x="42" y="4"/>
                    </a:lnTo>
                    <a:lnTo>
                      <a:pt x="42" y="6"/>
                    </a:lnTo>
                    <a:lnTo>
                      <a:pt x="44" y="6"/>
                    </a:lnTo>
                    <a:lnTo>
                      <a:pt x="48" y="10"/>
                    </a:lnTo>
                    <a:lnTo>
                      <a:pt x="48" y="14"/>
                    </a:lnTo>
                    <a:lnTo>
                      <a:pt x="46" y="14"/>
                    </a:lnTo>
                    <a:lnTo>
                      <a:pt x="46" y="16"/>
                    </a:lnTo>
                    <a:lnTo>
                      <a:pt x="46" y="18"/>
                    </a:lnTo>
                    <a:lnTo>
                      <a:pt x="40" y="24"/>
                    </a:lnTo>
                    <a:lnTo>
                      <a:pt x="38" y="24"/>
                    </a:lnTo>
                    <a:lnTo>
                      <a:pt x="34" y="22"/>
                    </a:lnTo>
                    <a:lnTo>
                      <a:pt x="32" y="22"/>
                    </a:lnTo>
                    <a:lnTo>
                      <a:pt x="32" y="20"/>
                    </a:lnTo>
                    <a:lnTo>
                      <a:pt x="34" y="20"/>
                    </a:lnTo>
                    <a:lnTo>
                      <a:pt x="34" y="18"/>
                    </a:lnTo>
                    <a:lnTo>
                      <a:pt x="32" y="16"/>
                    </a:lnTo>
                    <a:lnTo>
                      <a:pt x="30" y="16"/>
                    </a:lnTo>
                    <a:lnTo>
                      <a:pt x="28" y="16"/>
                    </a:lnTo>
                    <a:lnTo>
                      <a:pt x="26" y="16"/>
                    </a:lnTo>
                    <a:lnTo>
                      <a:pt x="26" y="18"/>
                    </a:lnTo>
                    <a:lnTo>
                      <a:pt x="26" y="20"/>
                    </a:lnTo>
                    <a:lnTo>
                      <a:pt x="24" y="22"/>
                    </a:lnTo>
                    <a:lnTo>
                      <a:pt x="20" y="20"/>
                    </a:lnTo>
                    <a:lnTo>
                      <a:pt x="18" y="20"/>
                    </a:lnTo>
                    <a:lnTo>
                      <a:pt x="16" y="20"/>
                    </a:lnTo>
                    <a:lnTo>
                      <a:pt x="16" y="18"/>
                    </a:lnTo>
                    <a:lnTo>
                      <a:pt x="18" y="18"/>
                    </a:lnTo>
                    <a:lnTo>
                      <a:pt x="16" y="16"/>
                    </a:lnTo>
                    <a:lnTo>
                      <a:pt x="12" y="18"/>
                    </a:lnTo>
                    <a:lnTo>
                      <a:pt x="10" y="1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6" name="Freeform 2073"/>
              <p:cNvSpPr>
                <a:spLocks/>
              </p:cNvSpPr>
              <p:nvPr/>
            </p:nvSpPr>
            <p:spPr bwMode="auto">
              <a:xfrm>
                <a:off x="2468" y="3960"/>
                <a:ext cx="8" cy="6"/>
              </a:xfrm>
              <a:custGeom>
                <a:avLst/>
                <a:gdLst/>
                <a:ahLst/>
                <a:cxnLst>
                  <a:cxn ang="0">
                    <a:pos x="0" y="6"/>
                  </a:cxn>
                  <a:cxn ang="0">
                    <a:pos x="0" y="4"/>
                  </a:cxn>
                  <a:cxn ang="0">
                    <a:pos x="0" y="2"/>
                  </a:cxn>
                  <a:cxn ang="0">
                    <a:pos x="6" y="0"/>
                  </a:cxn>
                  <a:cxn ang="0">
                    <a:pos x="8" y="0"/>
                  </a:cxn>
                  <a:cxn ang="0">
                    <a:pos x="8" y="2"/>
                  </a:cxn>
                  <a:cxn ang="0">
                    <a:pos x="6" y="4"/>
                  </a:cxn>
                  <a:cxn ang="0">
                    <a:pos x="2" y="4"/>
                  </a:cxn>
                  <a:cxn ang="0">
                    <a:pos x="0" y="6"/>
                  </a:cxn>
                </a:cxnLst>
                <a:rect l="0" t="0" r="r" b="b"/>
                <a:pathLst>
                  <a:path w="8" h="6">
                    <a:moveTo>
                      <a:pt x="0" y="6"/>
                    </a:moveTo>
                    <a:lnTo>
                      <a:pt x="0" y="4"/>
                    </a:lnTo>
                    <a:lnTo>
                      <a:pt x="0" y="2"/>
                    </a:lnTo>
                    <a:lnTo>
                      <a:pt x="6" y="0"/>
                    </a:lnTo>
                    <a:lnTo>
                      <a:pt x="8" y="0"/>
                    </a:lnTo>
                    <a:lnTo>
                      <a:pt x="8" y="2"/>
                    </a:lnTo>
                    <a:lnTo>
                      <a:pt x="6" y="4"/>
                    </a:lnTo>
                    <a:lnTo>
                      <a:pt x="2" y="4"/>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7" name="Freeform 2074"/>
              <p:cNvSpPr>
                <a:spLocks/>
              </p:cNvSpPr>
              <p:nvPr/>
            </p:nvSpPr>
            <p:spPr bwMode="auto">
              <a:xfrm>
                <a:off x="2474" y="3962"/>
                <a:ext cx="72" cy="42"/>
              </a:xfrm>
              <a:custGeom>
                <a:avLst/>
                <a:gdLst/>
                <a:ahLst/>
                <a:cxnLst>
                  <a:cxn ang="0">
                    <a:pos x="70" y="36"/>
                  </a:cxn>
                  <a:cxn ang="0">
                    <a:pos x="70" y="42"/>
                  </a:cxn>
                  <a:cxn ang="0">
                    <a:pos x="66" y="40"/>
                  </a:cxn>
                  <a:cxn ang="0">
                    <a:pos x="62" y="32"/>
                  </a:cxn>
                  <a:cxn ang="0">
                    <a:pos x="54" y="30"/>
                  </a:cxn>
                  <a:cxn ang="0">
                    <a:pos x="46" y="28"/>
                  </a:cxn>
                  <a:cxn ang="0">
                    <a:pos x="40" y="30"/>
                  </a:cxn>
                  <a:cxn ang="0">
                    <a:pos x="38" y="26"/>
                  </a:cxn>
                  <a:cxn ang="0">
                    <a:pos x="42" y="24"/>
                  </a:cxn>
                  <a:cxn ang="0">
                    <a:pos x="40" y="22"/>
                  </a:cxn>
                  <a:cxn ang="0">
                    <a:pos x="40" y="16"/>
                  </a:cxn>
                  <a:cxn ang="0">
                    <a:pos x="36" y="18"/>
                  </a:cxn>
                  <a:cxn ang="0">
                    <a:pos x="28" y="10"/>
                  </a:cxn>
                  <a:cxn ang="0">
                    <a:pos x="20" y="12"/>
                  </a:cxn>
                  <a:cxn ang="0">
                    <a:pos x="26" y="16"/>
                  </a:cxn>
                  <a:cxn ang="0">
                    <a:pos x="24" y="22"/>
                  </a:cxn>
                  <a:cxn ang="0">
                    <a:pos x="30" y="26"/>
                  </a:cxn>
                  <a:cxn ang="0">
                    <a:pos x="20" y="30"/>
                  </a:cxn>
                  <a:cxn ang="0">
                    <a:pos x="22" y="22"/>
                  </a:cxn>
                  <a:cxn ang="0">
                    <a:pos x="16" y="22"/>
                  </a:cxn>
                  <a:cxn ang="0">
                    <a:pos x="10" y="18"/>
                  </a:cxn>
                  <a:cxn ang="0">
                    <a:pos x="18" y="14"/>
                  </a:cxn>
                  <a:cxn ang="0">
                    <a:pos x="16" y="14"/>
                  </a:cxn>
                  <a:cxn ang="0">
                    <a:pos x="4" y="16"/>
                  </a:cxn>
                  <a:cxn ang="0">
                    <a:pos x="6" y="14"/>
                  </a:cxn>
                  <a:cxn ang="0">
                    <a:pos x="0" y="10"/>
                  </a:cxn>
                  <a:cxn ang="0">
                    <a:pos x="8" y="6"/>
                  </a:cxn>
                  <a:cxn ang="0">
                    <a:pos x="24" y="4"/>
                  </a:cxn>
                  <a:cxn ang="0">
                    <a:pos x="42" y="2"/>
                  </a:cxn>
                  <a:cxn ang="0">
                    <a:pos x="46" y="0"/>
                  </a:cxn>
                  <a:cxn ang="0">
                    <a:pos x="58" y="2"/>
                  </a:cxn>
                  <a:cxn ang="0">
                    <a:pos x="60" y="8"/>
                  </a:cxn>
                  <a:cxn ang="0">
                    <a:pos x="50" y="12"/>
                  </a:cxn>
                  <a:cxn ang="0">
                    <a:pos x="42" y="8"/>
                  </a:cxn>
                  <a:cxn ang="0">
                    <a:pos x="36" y="4"/>
                  </a:cxn>
                  <a:cxn ang="0">
                    <a:pos x="40" y="10"/>
                  </a:cxn>
                  <a:cxn ang="0">
                    <a:pos x="56" y="14"/>
                  </a:cxn>
                  <a:cxn ang="0">
                    <a:pos x="64" y="18"/>
                  </a:cxn>
                  <a:cxn ang="0">
                    <a:pos x="52" y="20"/>
                  </a:cxn>
                  <a:cxn ang="0">
                    <a:pos x="46" y="18"/>
                  </a:cxn>
                  <a:cxn ang="0">
                    <a:pos x="54" y="22"/>
                  </a:cxn>
                  <a:cxn ang="0">
                    <a:pos x="66" y="24"/>
                  </a:cxn>
                  <a:cxn ang="0">
                    <a:pos x="68" y="30"/>
                  </a:cxn>
                </a:cxnLst>
                <a:rect l="0" t="0" r="r" b="b"/>
                <a:pathLst>
                  <a:path w="72" h="42">
                    <a:moveTo>
                      <a:pt x="70" y="30"/>
                    </a:moveTo>
                    <a:lnTo>
                      <a:pt x="68" y="32"/>
                    </a:lnTo>
                    <a:lnTo>
                      <a:pt x="70" y="36"/>
                    </a:lnTo>
                    <a:lnTo>
                      <a:pt x="72" y="36"/>
                    </a:lnTo>
                    <a:lnTo>
                      <a:pt x="72" y="40"/>
                    </a:lnTo>
                    <a:lnTo>
                      <a:pt x="70" y="42"/>
                    </a:lnTo>
                    <a:lnTo>
                      <a:pt x="68" y="42"/>
                    </a:lnTo>
                    <a:lnTo>
                      <a:pt x="66" y="42"/>
                    </a:lnTo>
                    <a:lnTo>
                      <a:pt x="66" y="40"/>
                    </a:lnTo>
                    <a:lnTo>
                      <a:pt x="64" y="38"/>
                    </a:lnTo>
                    <a:lnTo>
                      <a:pt x="62" y="34"/>
                    </a:lnTo>
                    <a:lnTo>
                      <a:pt x="62" y="32"/>
                    </a:lnTo>
                    <a:lnTo>
                      <a:pt x="58" y="30"/>
                    </a:lnTo>
                    <a:lnTo>
                      <a:pt x="56" y="30"/>
                    </a:lnTo>
                    <a:lnTo>
                      <a:pt x="54" y="30"/>
                    </a:lnTo>
                    <a:lnTo>
                      <a:pt x="52" y="28"/>
                    </a:lnTo>
                    <a:lnTo>
                      <a:pt x="50" y="28"/>
                    </a:lnTo>
                    <a:lnTo>
                      <a:pt x="46" y="28"/>
                    </a:lnTo>
                    <a:lnTo>
                      <a:pt x="44" y="30"/>
                    </a:lnTo>
                    <a:lnTo>
                      <a:pt x="42" y="30"/>
                    </a:lnTo>
                    <a:lnTo>
                      <a:pt x="40" y="30"/>
                    </a:lnTo>
                    <a:lnTo>
                      <a:pt x="38" y="30"/>
                    </a:lnTo>
                    <a:lnTo>
                      <a:pt x="38" y="28"/>
                    </a:lnTo>
                    <a:lnTo>
                      <a:pt x="38" y="26"/>
                    </a:lnTo>
                    <a:lnTo>
                      <a:pt x="38" y="24"/>
                    </a:lnTo>
                    <a:lnTo>
                      <a:pt x="40" y="24"/>
                    </a:lnTo>
                    <a:lnTo>
                      <a:pt x="42" y="24"/>
                    </a:lnTo>
                    <a:lnTo>
                      <a:pt x="44" y="24"/>
                    </a:lnTo>
                    <a:lnTo>
                      <a:pt x="44" y="22"/>
                    </a:lnTo>
                    <a:lnTo>
                      <a:pt x="40" y="22"/>
                    </a:lnTo>
                    <a:lnTo>
                      <a:pt x="38" y="22"/>
                    </a:lnTo>
                    <a:lnTo>
                      <a:pt x="40" y="18"/>
                    </a:lnTo>
                    <a:lnTo>
                      <a:pt x="40" y="16"/>
                    </a:lnTo>
                    <a:lnTo>
                      <a:pt x="42" y="14"/>
                    </a:lnTo>
                    <a:lnTo>
                      <a:pt x="38" y="18"/>
                    </a:lnTo>
                    <a:lnTo>
                      <a:pt x="36" y="18"/>
                    </a:lnTo>
                    <a:lnTo>
                      <a:pt x="30" y="16"/>
                    </a:lnTo>
                    <a:lnTo>
                      <a:pt x="28" y="14"/>
                    </a:lnTo>
                    <a:lnTo>
                      <a:pt x="28" y="10"/>
                    </a:lnTo>
                    <a:lnTo>
                      <a:pt x="22" y="10"/>
                    </a:lnTo>
                    <a:lnTo>
                      <a:pt x="22" y="12"/>
                    </a:lnTo>
                    <a:lnTo>
                      <a:pt x="20" y="12"/>
                    </a:lnTo>
                    <a:lnTo>
                      <a:pt x="22" y="12"/>
                    </a:lnTo>
                    <a:lnTo>
                      <a:pt x="26" y="12"/>
                    </a:lnTo>
                    <a:lnTo>
                      <a:pt x="26" y="16"/>
                    </a:lnTo>
                    <a:lnTo>
                      <a:pt x="22" y="16"/>
                    </a:lnTo>
                    <a:lnTo>
                      <a:pt x="22" y="18"/>
                    </a:lnTo>
                    <a:lnTo>
                      <a:pt x="24" y="22"/>
                    </a:lnTo>
                    <a:lnTo>
                      <a:pt x="24" y="26"/>
                    </a:lnTo>
                    <a:lnTo>
                      <a:pt x="28" y="26"/>
                    </a:lnTo>
                    <a:lnTo>
                      <a:pt x="30" y="26"/>
                    </a:lnTo>
                    <a:lnTo>
                      <a:pt x="30" y="30"/>
                    </a:lnTo>
                    <a:lnTo>
                      <a:pt x="24" y="30"/>
                    </a:lnTo>
                    <a:lnTo>
                      <a:pt x="20" y="30"/>
                    </a:lnTo>
                    <a:lnTo>
                      <a:pt x="18" y="24"/>
                    </a:lnTo>
                    <a:lnTo>
                      <a:pt x="20" y="22"/>
                    </a:lnTo>
                    <a:lnTo>
                      <a:pt x="22" y="22"/>
                    </a:lnTo>
                    <a:lnTo>
                      <a:pt x="20" y="22"/>
                    </a:lnTo>
                    <a:lnTo>
                      <a:pt x="18" y="22"/>
                    </a:lnTo>
                    <a:lnTo>
                      <a:pt x="16" y="22"/>
                    </a:lnTo>
                    <a:lnTo>
                      <a:pt x="14" y="22"/>
                    </a:lnTo>
                    <a:lnTo>
                      <a:pt x="10" y="20"/>
                    </a:lnTo>
                    <a:lnTo>
                      <a:pt x="10" y="18"/>
                    </a:lnTo>
                    <a:lnTo>
                      <a:pt x="12" y="16"/>
                    </a:lnTo>
                    <a:lnTo>
                      <a:pt x="16" y="14"/>
                    </a:lnTo>
                    <a:lnTo>
                      <a:pt x="18" y="14"/>
                    </a:lnTo>
                    <a:lnTo>
                      <a:pt x="18" y="12"/>
                    </a:lnTo>
                    <a:lnTo>
                      <a:pt x="16" y="12"/>
                    </a:lnTo>
                    <a:lnTo>
                      <a:pt x="16" y="14"/>
                    </a:lnTo>
                    <a:lnTo>
                      <a:pt x="12" y="16"/>
                    </a:lnTo>
                    <a:lnTo>
                      <a:pt x="6" y="16"/>
                    </a:lnTo>
                    <a:lnTo>
                      <a:pt x="4" y="16"/>
                    </a:lnTo>
                    <a:lnTo>
                      <a:pt x="2" y="14"/>
                    </a:lnTo>
                    <a:lnTo>
                      <a:pt x="4" y="14"/>
                    </a:lnTo>
                    <a:lnTo>
                      <a:pt x="6" y="14"/>
                    </a:lnTo>
                    <a:lnTo>
                      <a:pt x="4" y="12"/>
                    </a:lnTo>
                    <a:lnTo>
                      <a:pt x="0" y="12"/>
                    </a:lnTo>
                    <a:lnTo>
                      <a:pt x="0" y="10"/>
                    </a:lnTo>
                    <a:lnTo>
                      <a:pt x="2" y="6"/>
                    </a:lnTo>
                    <a:lnTo>
                      <a:pt x="4" y="6"/>
                    </a:lnTo>
                    <a:lnTo>
                      <a:pt x="8" y="6"/>
                    </a:lnTo>
                    <a:lnTo>
                      <a:pt x="10" y="4"/>
                    </a:lnTo>
                    <a:lnTo>
                      <a:pt x="14" y="4"/>
                    </a:lnTo>
                    <a:lnTo>
                      <a:pt x="24" y="4"/>
                    </a:lnTo>
                    <a:lnTo>
                      <a:pt x="30" y="2"/>
                    </a:lnTo>
                    <a:lnTo>
                      <a:pt x="38" y="2"/>
                    </a:lnTo>
                    <a:lnTo>
                      <a:pt x="42" y="2"/>
                    </a:lnTo>
                    <a:lnTo>
                      <a:pt x="44" y="2"/>
                    </a:lnTo>
                    <a:lnTo>
                      <a:pt x="46" y="2"/>
                    </a:lnTo>
                    <a:lnTo>
                      <a:pt x="46" y="0"/>
                    </a:lnTo>
                    <a:lnTo>
                      <a:pt x="50" y="0"/>
                    </a:lnTo>
                    <a:lnTo>
                      <a:pt x="56" y="0"/>
                    </a:lnTo>
                    <a:lnTo>
                      <a:pt x="58" y="2"/>
                    </a:lnTo>
                    <a:lnTo>
                      <a:pt x="60" y="4"/>
                    </a:lnTo>
                    <a:lnTo>
                      <a:pt x="60" y="6"/>
                    </a:lnTo>
                    <a:lnTo>
                      <a:pt x="60" y="8"/>
                    </a:lnTo>
                    <a:lnTo>
                      <a:pt x="52" y="10"/>
                    </a:lnTo>
                    <a:lnTo>
                      <a:pt x="52" y="12"/>
                    </a:lnTo>
                    <a:lnTo>
                      <a:pt x="50" y="12"/>
                    </a:lnTo>
                    <a:lnTo>
                      <a:pt x="44" y="10"/>
                    </a:lnTo>
                    <a:lnTo>
                      <a:pt x="42" y="10"/>
                    </a:lnTo>
                    <a:lnTo>
                      <a:pt x="42" y="8"/>
                    </a:lnTo>
                    <a:lnTo>
                      <a:pt x="40" y="8"/>
                    </a:lnTo>
                    <a:lnTo>
                      <a:pt x="40" y="6"/>
                    </a:lnTo>
                    <a:lnTo>
                      <a:pt x="36" y="4"/>
                    </a:lnTo>
                    <a:lnTo>
                      <a:pt x="34" y="6"/>
                    </a:lnTo>
                    <a:lnTo>
                      <a:pt x="38" y="8"/>
                    </a:lnTo>
                    <a:lnTo>
                      <a:pt x="40" y="10"/>
                    </a:lnTo>
                    <a:lnTo>
                      <a:pt x="44" y="12"/>
                    </a:lnTo>
                    <a:lnTo>
                      <a:pt x="52" y="14"/>
                    </a:lnTo>
                    <a:lnTo>
                      <a:pt x="56" y="14"/>
                    </a:lnTo>
                    <a:lnTo>
                      <a:pt x="58" y="14"/>
                    </a:lnTo>
                    <a:lnTo>
                      <a:pt x="62" y="16"/>
                    </a:lnTo>
                    <a:lnTo>
                      <a:pt x="64" y="18"/>
                    </a:lnTo>
                    <a:lnTo>
                      <a:pt x="64" y="20"/>
                    </a:lnTo>
                    <a:lnTo>
                      <a:pt x="54" y="20"/>
                    </a:lnTo>
                    <a:lnTo>
                      <a:pt x="52" y="20"/>
                    </a:lnTo>
                    <a:lnTo>
                      <a:pt x="50" y="20"/>
                    </a:lnTo>
                    <a:lnTo>
                      <a:pt x="48" y="18"/>
                    </a:lnTo>
                    <a:lnTo>
                      <a:pt x="46" y="18"/>
                    </a:lnTo>
                    <a:lnTo>
                      <a:pt x="50" y="22"/>
                    </a:lnTo>
                    <a:lnTo>
                      <a:pt x="52" y="22"/>
                    </a:lnTo>
                    <a:lnTo>
                      <a:pt x="54" y="22"/>
                    </a:lnTo>
                    <a:lnTo>
                      <a:pt x="56" y="22"/>
                    </a:lnTo>
                    <a:lnTo>
                      <a:pt x="60" y="22"/>
                    </a:lnTo>
                    <a:lnTo>
                      <a:pt x="66" y="24"/>
                    </a:lnTo>
                    <a:lnTo>
                      <a:pt x="66" y="26"/>
                    </a:lnTo>
                    <a:lnTo>
                      <a:pt x="66" y="28"/>
                    </a:lnTo>
                    <a:lnTo>
                      <a:pt x="68" y="30"/>
                    </a:lnTo>
                    <a:lnTo>
                      <a:pt x="70" y="3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8" name="Freeform 2076"/>
              <p:cNvSpPr>
                <a:spLocks/>
              </p:cNvSpPr>
              <p:nvPr/>
            </p:nvSpPr>
            <p:spPr bwMode="auto">
              <a:xfrm>
                <a:off x="2580" y="3980"/>
                <a:ext cx="8" cy="4"/>
              </a:xfrm>
              <a:custGeom>
                <a:avLst/>
                <a:gdLst/>
                <a:ahLst/>
                <a:cxnLst>
                  <a:cxn ang="0">
                    <a:pos x="6" y="0"/>
                  </a:cxn>
                  <a:cxn ang="0">
                    <a:pos x="8" y="0"/>
                  </a:cxn>
                  <a:cxn ang="0">
                    <a:pos x="8" y="4"/>
                  </a:cxn>
                  <a:cxn ang="0">
                    <a:pos x="6" y="4"/>
                  </a:cxn>
                  <a:cxn ang="0">
                    <a:pos x="2" y="4"/>
                  </a:cxn>
                  <a:cxn ang="0">
                    <a:pos x="0" y="4"/>
                  </a:cxn>
                  <a:cxn ang="0">
                    <a:pos x="0" y="2"/>
                  </a:cxn>
                  <a:cxn ang="0">
                    <a:pos x="2" y="0"/>
                  </a:cxn>
                  <a:cxn ang="0">
                    <a:pos x="6" y="0"/>
                  </a:cxn>
                </a:cxnLst>
                <a:rect l="0" t="0" r="r" b="b"/>
                <a:pathLst>
                  <a:path w="8" h="4">
                    <a:moveTo>
                      <a:pt x="6" y="0"/>
                    </a:moveTo>
                    <a:lnTo>
                      <a:pt x="8" y="0"/>
                    </a:lnTo>
                    <a:lnTo>
                      <a:pt x="8" y="4"/>
                    </a:lnTo>
                    <a:lnTo>
                      <a:pt x="6" y="4"/>
                    </a:lnTo>
                    <a:lnTo>
                      <a:pt x="2" y="4"/>
                    </a:lnTo>
                    <a:lnTo>
                      <a:pt x="0" y="4"/>
                    </a:lnTo>
                    <a:lnTo>
                      <a:pt x="0" y="2"/>
                    </a:lnTo>
                    <a:lnTo>
                      <a:pt x="2"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89" name="Freeform 2077"/>
              <p:cNvSpPr>
                <a:spLocks/>
              </p:cNvSpPr>
              <p:nvPr/>
            </p:nvSpPr>
            <p:spPr bwMode="auto">
              <a:xfrm>
                <a:off x="2554" y="3992"/>
                <a:ext cx="6" cy="8"/>
              </a:xfrm>
              <a:custGeom>
                <a:avLst/>
                <a:gdLst/>
                <a:ahLst/>
                <a:cxnLst>
                  <a:cxn ang="0">
                    <a:pos x="0" y="8"/>
                  </a:cxn>
                  <a:cxn ang="0">
                    <a:pos x="2" y="2"/>
                  </a:cxn>
                  <a:cxn ang="0">
                    <a:pos x="4" y="0"/>
                  </a:cxn>
                  <a:cxn ang="0">
                    <a:pos x="4" y="2"/>
                  </a:cxn>
                  <a:cxn ang="0">
                    <a:pos x="6" y="2"/>
                  </a:cxn>
                  <a:cxn ang="0">
                    <a:pos x="6" y="4"/>
                  </a:cxn>
                  <a:cxn ang="0">
                    <a:pos x="6" y="6"/>
                  </a:cxn>
                  <a:cxn ang="0">
                    <a:pos x="4" y="8"/>
                  </a:cxn>
                  <a:cxn ang="0">
                    <a:pos x="2" y="8"/>
                  </a:cxn>
                  <a:cxn ang="0">
                    <a:pos x="0" y="8"/>
                  </a:cxn>
                </a:cxnLst>
                <a:rect l="0" t="0" r="r" b="b"/>
                <a:pathLst>
                  <a:path w="6" h="8">
                    <a:moveTo>
                      <a:pt x="0" y="8"/>
                    </a:moveTo>
                    <a:lnTo>
                      <a:pt x="2" y="2"/>
                    </a:lnTo>
                    <a:lnTo>
                      <a:pt x="4" y="0"/>
                    </a:lnTo>
                    <a:lnTo>
                      <a:pt x="4" y="2"/>
                    </a:lnTo>
                    <a:lnTo>
                      <a:pt x="6" y="2"/>
                    </a:lnTo>
                    <a:lnTo>
                      <a:pt x="6" y="4"/>
                    </a:lnTo>
                    <a:lnTo>
                      <a:pt x="6" y="6"/>
                    </a:lnTo>
                    <a:lnTo>
                      <a:pt x="4" y="8"/>
                    </a:lnTo>
                    <a:lnTo>
                      <a:pt x="2"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0" name="Freeform 2078"/>
              <p:cNvSpPr>
                <a:spLocks/>
              </p:cNvSpPr>
              <p:nvPr/>
            </p:nvSpPr>
            <p:spPr bwMode="auto">
              <a:xfrm>
                <a:off x="2560" y="3998"/>
                <a:ext cx="12" cy="12"/>
              </a:xfrm>
              <a:custGeom>
                <a:avLst/>
                <a:gdLst/>
                <a:ahLst/>
                <a:cxnLst>
                  <a:cxn ang="0">
                    <a:pos x="8" y="12"/>
                  </a:cxn>
                  <a:cxn ang="0">
                    <a:pos x="8" y="10"/>
                  </a:cxn>
                  <a:cxn ang="0">
                    <a:pos x="6" y="8"/>
                  </a:cxn>
                  <a:cxn ang="0">
                    <a:pos x="4" y="10"/>
                  </a:cxn>
                  <a:cxn ang="0">
                    <a:pos x="0" y="8"/>
                  </a:cxn>
                  <a:cxn ang="0">
                    <a:pos x="0" y="6"/>
                  </a:cxn>
                  <a:cxn ang="0">
                    <a:pos x="2" y="4"/>
                  </a:cxn>
                  <a:cxn ang="0">
                    <a:pos x="6" y="0"/>
                  </a:cxn>
                  <a:cxn ang="0">
                    <a:pos x="8" y="0"/>
                  </a:cxn>
                  <a:cxn ang="0">
                    <a:pos x="10" y="8"/>
                  </a:cxn>
                  <a:cxn ang="0">
                    <a:pos x="12" y="10"/>
                  </a:cxn>
                  <a:cxn ang="0">
                    <a:pos x="10" y="10"/>
                  </a:cxn>
                  <a:cxn ang="0">
                    <a:pos x="10" y="12"/>
                  </a:cxn>
                  <a:cxn ang="0">
                    <a:pos x="8" y="12"/>
                  </a:cxn>
                </a:cxnLst>
                <a:rect l="0" t="0" r="r" b="b"/>
                <a:pathLst>
                  <a:path w="12" h="12">
                    <a:moveTo>
                      <a:pt x="8" y="12"/>
                    </a:moveTo>
                    <a:lnTo>
                      <a:pt x="8" y="10"/>
                    </a:lnTo>
                    <a:lnTo>
                      <a:pt x="6" y="8"/>
                    </a:lnTo>
                    <a:lnTo>
                      <a:pt x="4" y="10"/>
                    </a:lnTo>
                    <a:lnTo>
                      <a:pt x="0" y="8"/>
                    </a:lnTo>
                    <a:lnTo>
                      <a:pt x="0" y="6"/>
                    </a:lnTo>
                    <a:lnTo>
                      <a:pt x="2" y="4"/>
                    </a:lnTo>
                    <a:lnTo>
                      <a:pt x="6" y="0"/>
                    </a:lnTo>
                    <a:lnTo>
                      <a:pt x="8" y="0"/>
                    </a:lnTo>
                    <a:lnTo>
                      <a:pt x="10" y="8"/>
                    </a:lnTo>
                    <a:lnTo>
                      <a:pt x="12" y="10"/>
                    </a:lnTo>
                    <a:lnTo>
                      <a:pt x="10" y="10"/>
                    </a:lnTo>
                    <a:lnTo>
                      <a:pt x="10" y="12"/>
                    </a:lnTo>
                    <a:lnTo>
                      <a:pt x="8"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1" name="Freeform 2079"/>
              <p:cNvSpPr>
                <a:spLocks/>
              </p:cNvSpPr>
              <p:nvPr/>
            </p:nvSpPr>
            <p:spPr bwMode="auto">
              <a:xfrm>
                <a:off x="2550" y="4010"/>
                <a:ext cx="12" cy="6"/>
              </a:xfrm>
              <a:custGeom>
                <a:avLst/>
                <a:gdLst/>
                <a:ahLst/>
                <a:cxnLst>
                  <a:cxn ang="0">
                    <a:pos x="8" y="6"/>
                  </a:cxn>
                  <a:cxn ang="0">
                    <a:pos x="8" y="2"/>
                  </a:cxn>
                  <a:cxn ang="0">
                    <a:pos x="6" y="2"/>
                  </a:cxn>
                  <a:cxn ang="0">
                    <a:pos x="4" y="2"/>
                  </a:cxn>
                  <a:cxn ang="0">
                    <a:pos x="2" y="2"/>
                  </a:cxn>
                  <a:cxn ang="0">
                    <a:pos x="0" y="4"/>
                  </a:cxn>
                  <a:cxn ang="0">
                    <a:pos x="0" y="2"/>
                  </a:cxn>
                  <a:cxn ang="0">
                    <a:pos x="0" y="0"/>
                  </a:cxn>
                  <a:cxn ang="0">
                    <a:pos x="2" y="0"/>
                  </a:cxn>
                  <a:cxn ang="0">
                    <a:pos x="4" y="0"/>
                  </a:cxn>
                  <a:cxn ang="0">
                    <a:pos x="8" y="2"/>
                  </a:cxn>
                  <a:cxn ang="0">
                    <a:pos x="10" y="0"/>
                  </a:cxn>
                  <a:cxn ang="0">
                    <a:pos x="12" y="0"/>
                  </a:cxn>
                  <a:cxn ang="0">
                    <a:pos x="12" y="2"/>
                  </a:cxn>
                  <a:cxn ang="0">
                    <a:pos x="12" y="4"/>
                  </a:cxn>
                  <a:cxn ang="0">
                    <a:pos x="10" y="4"/>
                  </a:cxn>
                  <a:cxn ang="0">
                    <a:pos x="8" y="4"/>
                  </a:cxn>
                  <a:cxn ang="0">
                    <a:pos x="8" y="6"/>
                  </a:cxn>
                </a:cxnLst>
                <a:rect l="0" t="0" r="r" b="b"/>
                <a:pathLst>
                  <a:path w="12" h="6">
                    <a:moveTo>
                      <a:pt x="8" y="6"/>
                    </a:moveTo>
                    <a:lnTo>
                      <a:pt x="8" y="2"/>
                    </a:lnTo>
                    <a:lnTo>
                      <a:pt x="6" y="2"/>
                    </a:lnTo>
                    <a:lnTo>
                      <a:pt x="4" y="2"/>
                    </a:lnTo>
                    <a:lnTo>
                      <a:pt x="2" y="2"/>
                    </a:lnTo>
                    <a:lnTo>
                      <a:pt x="0" y="4"/>
                    </a:lnTo>
                    <a:lnTo>
                      <a:pt x="0" y="2"/>
                    </a:lnTo>
                    <a:lnTo>
                      <a:pt x="0" y="0"/>
                    </a:lnTo>
                    <a:lnTo>
                      <a:pt x="2" y="0"/>
                    </a:lnTo>
                    <a:lnTo>
                      <a:pt x="4" y="0"/>
                    </a:lnTo>
                    <a:lnTo>
                      <a:pt x="8" y="2"/>
                    </a:lnTo>
                    <a:lnTo>
                      <a:pt x="10" y="0"/>
                    </a:lnTo>
                    <a:lnTo>
                      <a:pt x="12" y="0"/>
                    </a:lnTo>
                    <a:lnTo>
                      <a:pt x="12" y="2"/>
                    </a:lnTo>
                    <a:lnTo>
                      <a:pt x="12" y="4"/>
                    </a:lnTo>
                    <a:lnTo>
                      <a:pt x="10" y="4"/>
                    </a:lnTo>
                    <a:lnTo>
                      <a:pt x="8" y="4"/>
                    </a:lnTo>
                    <a:lnTo>
                      <a:pt x="8"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992" name="Freeform 2080"/>
              <p:cNvSpPr>
                <a:spLocks/>
              </p:cNvSpPr>
              <p:nvPr/>
            </p:nvSpPr>
            <p:spPr bwMode="auto">
              <a:xfrm>
                <a:off x="2566" y="4010"/>
                <a:ext cx="6" cy="6"/>
              </a:xfrm>
              <a:custGeom>
                <a:avLst/>
                <a:gdLst/>
                <a:ahLst/>
                <a:cxnLst>
                  <a:cxn ang="0">
                    <a:pos x="4" y="6"/>
                  </a:cxn>
                  <a:cxn ang="0">
                    <a:pos x="2" y="4"/>
                  </a:cxn>
                  <a:cxn ang="0">
                    <a:pos x="0" y="2"/>
                  </a:cxn>
                  <a:cxn ang="0">
                    <a:pos x="0" y="0"/>
                  </a:cxn>
                  <a:cxn ang="0">
                    <a:pos x="2" y="0"/>
                  </a:cxn>
                  <a:cxn ang="0">
                    <a:pos x="6" y="2"/>
                  </a:cxn>
                  <a:cxn ang="0">
                    <a:pos x="6" y="4"/>
                  </a:cxn>
                  <a:cxn ang="0">
                    <a:pos x="6" y="6"/>
                  </a:cxn>
                  <a:cxn ang="0">
                    <a:pos x="4" y="6"/>
                  </a:cxn>
                </a:cxnLst>
                <a:rect l="0" t="0" r="r" b="b"/>
                <a:pathLst>
                  <a:path w="6" h="6">
                    <a:moveTo>
                      <a:pt x="4" y="6"/>
                    </a:moveTo>
                    <a:lnTo>
                      <a:pt x="2" y="4"/>
                    </a:lnTo>
                    <a:lnTo>
                      <a:pt x="0" y="2"/>
                    </a:lnTo>
                    <a:lnTo>
                      <a:pt x="0" y="0"/>
                    </a:lnTo>
                    <a:lnTo>
                      <a:pt x="2" y="0"/>
                    </a:lnTo>
                    <a:lnTo>
                      <a:pt x="6" y="2"/>
                    </a:lnTo>
                    <a:lnTo>
                      <a:pt x="6" y="4"/>
                    </a:lnTo>
                    <a:lnTo>
                      <a:pt x="6"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grpSp>
        <p:grpSp>
          <p:nvGrpSpPr>
            <p:cNvPr id="727" name="Group 2138"/>
            <p:cNvGrpSpPr>
              <a:grpSpLocks/>
            </p:cNvGrpSpPr>
            <p:nvPr/>
          </p:nvGrpSpPr>
          <p:grpSpPr bwMode="auto">
            <a:xfrm>
              <a:off x="3617767" y="1531136"/>
              <a:ext cx="969869" cy="829039"/>
              <a:chOff x="2336" y="326"/>
              <a:chExt cx="730" cy="624"/>
            </a:xfrm>
            <a:solidFill>
              <a:srgbClr val="B9B9B9"/>
            </a:solidFill>
          </p:grpSpPr>
          <p:sp>
            <p:nvSpPr>
              <p:cNvPr id="772" name="Freeform 2081"/>
              <p:cNvSpPr>
                <a:spLocks/>
              </p:cNvSpPr>
              <p:nvPr/>
            </p:nvSpPr>
            <p:spPr bwMode="auto">
              <a:xfrm>
                <a:off x="2336" y="326"/>
                <a:ext cx="730" cy="624"/>
              </a:xfrm>
              <a:custGeom>
                <a:avLst/>
                <a:gdLst/>
                <a:ahLst/>
                <a:cxnLst>
                  <a:cxn ang="0">
                    <a:pos x="688" y="262"/>
                  </a:cxn>
                  <a:cxn ang="0">
                    <a:pos x="690" y="286"/>
                  </a:cxn>
                  <a:cxn ang="0">
                    <a:pos x="660" y="316"/>
                  </a:cxn>
                  <a:cxn ang="0">
                    <a:pos x="688" y="380"/>
                  </a:cxn>
                  <a:cxn ang="0">
                    <a:pos x="660" y="416"/>
                  </a:cxn>
                  <a:cxn ang="0">
                    <a:pos x="618" y="434"/>
                  </a:cxn>
                  <a:cxn ang="0">
                    <a:pos x="576" y="440"/>
                  </a:cxn>
                  <a:cxn ang="0">
                    <a:pos x="546" y="446"/>
                  </a:cxn>
                  <a:cxn ang="0">
                    <a:pos x="510" y="448"/>
                  </a:cxn>
                  <a:cxn ang="0">
                    <a:pos x="478" y="436"/>
                  </a:cxn>
                  <a:cxn ang="0">
                    <a:pos x="474" y="444"/>
                  </a:cxn>
                  <a:cxn ang="0">
                    <a:pos x="506" y="506"/>
                  </a:cxn>
                  <a:cxn ang="0">
                    <a:pos x="532" y="544"/>
                  </a:cxn>
                  <a:cxn ang="0">
                    <a:pos x="494" y="580"/>
                  </a:cxn>
                  <a:cxn ang="0">
                    <a:pos x="446" y="604"/>
                  </a:cxn>
                  <a:cxn ang="0">
                    <a:pos x="426" y="624"/>
                  </a:cxn>
                  <a:cxn ang="0">
                    <a:pos x="404" y="614"/>
                  </a:cxn>
                  <a:cxn ang="0">
                    <a:pos x="336" y="544"/>
                  </a:cxn>
                  <a:cxn ang="0">
                    <a:pos x="302" y="508"/>
                  </a:cxn>
                  <a:cxn ang="0">
                    <a:pos x="316" y="458"/>
                  </a:cxn>
                  <a:cxn ang="0">
                    <a:pos x="302" y="400"/>
                  </a:cxn>
                  <a:cxn ang="0">
                    <a:pos x="310" y="354"/>
                  </a:cxn>
                  <a:cxn ang="0">
                    <a:pos x="318" y="324"/>
                  </a:cxn>
                  <a:cxn ang="0">
                    <a:pos x="274" y="326"/>
                  </a:cxn>
                  <a:cxn ang="0">
                    <a:pos x="228" y="326"/>
                  </a:cxn>
                  <a:cxn ang="0">
                    <a:pos x="164" y="284"/>
                  </a:cxn>
                  <a:cxn ang="0">
                    <a:pos x="100" y="278"/>
                  </a:cxn>
                  <a:cxn ang="0">
                    <a:pos x="66" y="266"/>
                  </a:cxn>
                  <a:cxn ang="0">
                    <a:pos x="54" y="206"/>
                  </a:cxn>
                  <a:cxn ang="0">
                    <a:pos x="8" y="150"/>
                  </a:cxn>
                  <a:cxn ang="0">
                    <a:pos x="46" y="62"/>
                  </a:cxn>
                  <a:cxn ang="0">
                    <a:pos x="108" y="24"/>
                  </a:cxn>
                  <a:cxn ang="0">
                    <a:pos x="80" y="48"/>
                  </a:cxn>
                  <a:cxn ang="0">
                    <a:pos x="88" y="98"/>
                  </a:cxn>
                  <a:cxn ang="0">
                    <a:pos x="88" y="160"/>
                  </a:cxn>
                  <a:cxn ang="0">
                    <a:pos x="126" y="154"/>
                  </a:cxn>
                  <a:cxn ang="0">
                    <a:pos x="100" y="88"/>
                  </a:cxn>
                  <a:cxn ang="0">
                    <a:pos x="134" y="54"/>
                  </a:cxn>
                  <a:cxn ang="0">
                    <a:pos x="180" y="40"/>
                  </a:cxn>
                  <a:cxn ang="0">
                    <a:pos x="170" y="32"/>
                  </a:cxn>
                  <a:cxn ang="0">
                    <a:pos x="190" y="8"/>
                  </a:cxn>
                  <a:cxn ang="0">
                    <a:pos x="206" y="36"/>
                  </a:cxn>
                  <a:cxn ang="0">
                    <a:pos x="268" y="56"/>
                  </a:cxn>
                  <a:cxn ang="0">
                    <a:pos x="296" y="92"/>
                  </a:cxn>
                  <a:cxn ang="0">
                    <a:pos x="380" y="82"/>
                  </a:cxn>
                  <a:cxn ang="0">
                    <a:pos x="446" y="114"/>
                  </a:cxn>
                  <a:cxn ang="0">
                    <a:pos x="498" y="92"/>
                  </a:cxn>
                  <a:cxn ang="0">
                    <a:pos x="494" y="84"/>
                  </a:cxn>
                  <a:cxn ang="0">
                    <a:pos x="568" y="76"/>
                  </a:cxn>
                  <a:cxn ang="0">
                    <a:pos x="606" y="82"/>
                  </a:cxn>
                  <a:cxn ang="0">
                    <a:pos x="562" y="86"/>
                  </a:cxn>
                  <a:cxn ang="0">
                    <a:pos x="560" y="98"/>
                  </a:cxn>
                  <a:cxn ang="0">
                    <a:pos x="562" y="112"/>
                  </a:cxn>
                  <a:cxn ang="0">
                    <a:pos x="580" y="104"/>
                  </a:cxn>
                  <a:cxn ang="0">
                    <a:pos x="598" y="120"/>
                  </a:cxn>
                  <a:cxn ang="0">
                    <a:pos x="598" y="118"/>
                  </a:cxn>
                  <a:cxn ang="0">
                    <a:pos x="626" y="126"/>
                  </a:cxn>
                  <a:cxn ang="0">
                    <a:pos x="644" y="132"/>
                  </a:cxn>
                  <a:cxn ang="0">
                    <a:pos x="660" y="164"/>
                  </a:cxn>
                  <a:cxn ang="0">
                    <a:pos x="648" y="192"/>
                  </a:cxn>
                  <a:cxn ang="0">
                    <a:pos x="666" y="196"/>
                  </a:cxn>
                  <a:cxn ang="0">
                    <a:pos x="730" y="206"/>
                  </a:cxn>
                </a:cxnLst>
                <a:rect l="0" t="0" r="r" b="b"/>
                <a:pathLst>
                  <a:path w="730" h="624">
                    <a:moveTo>
                      <a:pt x="706" y="228"/>
                    </a:moveTo>
                    <a:lnTo>
                      <a:pt x="704" y="230"/>
                    </a:lnTo>
                    <a:lnTo>
                      <a:pt x="692" y="234"/>
                    </a:lnTo>
                    <a:lnTo>
                      <a:pt x="690" y="240"/>
                    </a:lnTo>
                    <a:lnTo>
                      <a:pt x="690" y="244"/>
                    </a:lnTo>
                    <a:lnTo>
                      <a:pt x="686" y="248"/>
                    </a:lnTo>
                    <a:lnTo>
                      <a:pt x="684" y="248"/>
                    </a:lnTo>
                    <a:lnTo>
                      <a:pt x="682" y="250"/>
                    </a:lnTo>
                    <a:lnTo>
                      <a:pt x="682" y="252"/>
                    </a:lnTo>
                    <a:lnTo>
                      <a:pt x="684" y="254"/>
                    </a:lnTo>
                    <a:lnTo>
                      <a:pt x="686" y="254"/>
                    </a:lnTo>
                    <a:lnTo>
                      <a:pt x="688" y="258"/>
                    </a:lnTo>
                    <a:lnTo>
                      <a:pt x="690" y="260"/>
                    </a:lnTo>
                    <a:lnTo>
                      <a:pt x="690" y="262"/>
                    </a:lnTo>
                    <a:lnTo>
                      <a:pt x="688" y="262"/>
                    </a:lnTo>
                    <a:lnTo>
                      <a:pt x="688" y="264"/>
                    </a:lnTo>
                    <a:lnTo>
                      <a:pt x="688" y="266"/>
                    </a:lnTo>
                    <a:lnTo>
                      <a:pt x="688" y="268"/>
                    </a:lnTo>
                    <a:lnTo>
                      <a:pt x="692" y="270"/>
                    </a:lnTo>
                    <a:lnTo>
                      <a:pt x="694" y="270"/>
                    </a:lnTo>
                    <a:lnTo>
                      <a:pt x="696" y="268"/>
                    </a:lnTo>
                    <a:lnTo>
                      <a:pt x="702" y="268"/>
                    </a:lnTo>
                    <a:lnTo>
                      <a:pt x="704" y="270"/>
                    </a:lnTo>
                    <a:lnTo>
                      <a:pt x="706" y="272"/>
                    </a:lnTo>
                    <a:lnTo>
                      <a:pt x="706" y="274"/>
                    </a:lnTo>
                    <a:lnTo>
                      <a:pt x="700" y="282"/>
                    </a:lnTo>
                    <a:lnTo>
                      <a:pt x="696" y="284"/>
                    </a:lnTo>
                    <a:lnTo>
                      <a:pt x="694" y="284"/>
                    </a:lnTo>
                    <a:lnTo>
                      <a:pt x="692" y="286"/>
                    </a:lnTo>
                    <a:lnTo>
                      <a:pt x="690" y="286"/>
                    </a:lnTo>
                    <a:lnTo>
                      <a:pt x="688" y="288"/>
                    </a:lnTo>
                    <a:lnTo>
                      <a:pt x="686" y="290"/>
                    </a:lnTo>
                    <a:lnTo>
                      <a:pt x="684" y="290"/>
                    </a:lnTo>
                    <a:lnTo>
                      <a:pt x="682" y="292"/>
                    </a:lnTo>
                    <a:lnTo>
                      <a:pt x="678" y="290"/>
                    </a:lnTo>
                    <a:lnTo>
                      <a:pt x="674" y="290"/>
                    </a:lnTo>
                    <a:lnTo>
                      <a:pt x="672" y="294"/>
                    </a:lnTo>
                    <a:lnTo>
                      <a:pt x="666" y="294"/>
                    </a:lnTo>
                    <a:lnTo>
                      <a:pt x="664" y="292"/>
                    </a:lnTo>
                    <a:lnTo>
                      <a:pt x="660" y="294"/>
                    </a:lnTo>
                    <a:lnTo>
                      <a:pt x="658" y="298"/>
                    </a:lnTo>
                    <a:lnTo>
                      <a:pt x="656" y="302"/>
                    </a:lnTo>
                    <a:lnTo>
                      <a:pt x="656" y="304"/>
                    </a:lnTo>
                    <a:lnTo>
                      <a:pt x="660" y="310"/>
                    </a:lnTo>
                    <a:lnTo>
                      <a:pt x="660" y="316"/>
                    </a:lnTo>
                    <a:lnTo>
                      <a:pt x="660" y="324"/>
                    </a:lnTo>
                    <a:lnTo>
                      <a:pt x="654" y="326"/>
                    </a:lnTo>
                    <a:lnTo>
                      <a:pt x="654" y="328"/>
                    </a:lnTo>
                    <a:lnTo>
                      <a:pt x="654" y="330"/>
                    </a:lnTo>
                    <a:lnTo>
                      <a:pt x="652" y="334"/>
                    </a:lnTo>
                    <a:lnTo>
                      <a:pt x="650" y="334"/>
                    </a:lnTo>
                    <a:lnTo>
                      <a:pt x="648" y="336"/>
                    </a:lnTo>
                    <a:lnTo>
                      <a:pt x="662" y="352"/>
                    </a:lnTo>
                    <a:lnTo>
                      <a:pt x="676" y="368"/>
                    </a:lnTo>
                    <a:lnTo>
                      <a:pt x="680" y="374"/>
                    </a:lnTo>
                    <a:lnTo>
                      <a:pt x="682" y="376"/>
                    </a:lnTo>
                    <a:lnTo>
                      <a:pt x="684" y="376"/>
                    </a:lnTo>
                    <a:lnTo>
                      <a:pt x="686" y="376"/>
                    </a:lnTo>
                    <a:lnTo>
                      <a:pt x="688" y="378"/>
                    </a:lnTo>
                    <a:lnTo>
                      <a:pt x="688" y="380"/>
                    </a:lnTo>
                    <a:lnTo>
                      <a:pt x="692" y="388"/>
                    </a:lnTo>
                    <a:lnTo>
                      <a:pt x="692" y="390"/>
                    </a:lnTo>
                    <a:lnTo>
                      <a:pt x="692" y="392"/>
                    </a:lnTo>
                    <a:lnTo>
                      <a:pt x="688" y="396"/>
                    </a:lnTo>
                    <a:lnTo>
                      <a:pt x="686" y="398"/>
                    </a:lnTo>
                    <a:lnTo>
                      <a:pt x="684" y="400"/>
                    </a:lnTo>
                    <a:lnTo>
                      <a:pt x="678" y="402"/>
                    </a:lnTo>
                    <a:lnTo>
                      <a:pt x="676" y="402"/>
                    </a:lnTo>
                    <a:lnTo>
                      <a:pt x="674" y="402"/>
                    </a:lnTo>
                    <a:lnTo>
                      <a:pt x="674" y="408"/>
                    </a:lnTo>
                    <a:lnTo>
                      <a:pt x="674" y="410"/>
                    </a:lnTo>
                    <a:lnTo>
                      <a:pt x="672" y="412"/>
                    </a:lnTo>
                    <a:lnTo>
                      <a:pt x="670" y="414"/>
                    </a:lnTo>
                    <a:lnTo>
                      <a:pt x="666" y="414"/>
                    </a:lnTo>
                    <a:lnTo>
                      <a:pt x="660" y="416"/>
                    </a:lnTo>
                    <a:lnTo>
                      <a:pt x="652" y="414"/>
                    </a:lnTo>
                    <a:lnTo>
                      <a:pt x="642" y="420"/>
                    </a:lnTo>
                    <a:lnTo>
                      <a:pt x="642" y="422"/>
                    </a:lnTo>
                    <a:lnTo>
                      <a:pt x="642" y="424"/>
                    </a:lnTo>
                    <a:lnTo>
                      <a:pt x="642" y="426"/>
                    </a:lnTo>
                    <a:lnTo>
                      <a:pt x="640" y="428"/>
                    </a:lnTo>
                    <a:lnTo>
                      <a:pt x="636" y="428"/>
                    </a:lnTo>
                    <a:lnTo>
                      <a:pt x="634" y="428"/>
                    </a:lnTo>
                    <a:lnTo>
                      <a:pt x="632" y="428"/>
                    </a:lnTo>
                    <a:lnTo>
                      <a:pt x="628" y="428"/>
                    </a:lnTo>
                    <a:lnTo>
                      <a:pt x="626" y="430"/>
                    </a:lnTo>
                    <a:lnTo>
                      <a:pt x="626" y="432"/>
                    </a:lnTo>
                    <a:lnTo>
                      <a:pt x="624" y="434"/>
                    </a:lnTo>
                    <a:lnTo>
                      <a:pt x="620" y="434"/>
                    </a:lnTo>
                    <a:lnTo>
                      <a:pt x="618" y="434"/>
                    </a:lnTo>
                    <a:lnTo>
                      <a:pt x="616" y="434"/>
                    </a:lnTo>
                    <a:lnTo>
                      <a:pt x="612" y="434"/>
                    </a:lnTo>
                    <a:lnTo>
                      <a:pt x="612" y="436"/>
                    </a:lnTo>
                    <a:lnTo>
                      <a:pt x="610" y="436"/>
                    </a:lnTo>
                    <a:lnTo>
                      <a:pt x="608" y="436"/>
                    </a:lnTo>
                    <a:lnTo>
                      <a:pt x="606" y="436"/>
                    </a:lnTo>
                    <a:lnTo>
                      <a:pt x="604" y="436"/>
                    </a:lnTo>
                    <a:lnTo>
                      <a:pt x="600" y="436"/>
                    </a:lnTo>
                    <a:lnTo>
                      <a:pt x="598" y="434"/>
                    </a:lnTo>
                    <a:lnTo>
                      <a:pt x="594" y="432"/>
                    </a:lnTo>
                    <a:lnTo>
                      <a:pt x="592" y="432"/>
                    </a:lnTo>
                    <a:lnTo>
                      <a:pt x="586" y="436"/>
                    </a:lnTo>
                    <a:lnTo>
                      <a:pt x="582" y="440"/>
                    </a:lnTo>
                    <a:lnTo>
                      <a:pt x="580" y="440"/>
                    </a:lnTo>
                    <a:lnTo>
                      <a:pt x="576" y="440"/>
                    </a:lnTo>
                    <a:lnTo>
                      <a:pt x="574" y="442"/>
                    </a:lnTo>
                    <a:lnTo>
                      <a:pt x="574" y="448"/>
                    </a:lnTo>
                    <a:lnTo>
                      <a:pt x="574" y="452"/>
                    </a:lnTo>
                    <a:lnTo>
                      <a:pt x="576" y="454"/>
                    </a:lnTo>
                    <a:lnTo>
                      <a:pt x="576" y="456"/>
                    </a:lnTo>
                    <a:lnTo>
                      <a:pt x="576" y="458"/>
                    </a:lnTo>
                    <a:lnTo>
                      <a:pt x="576" y="460"/>
                    </a:lnTo>
                    <a:lnTo>
                      <a:pt x="576" y="462"/>
                    </a:lnTo>
                    <a:lnTo>
                      <a:pt x="574" y="464"/>
                    </a:lnTo>
                    <a:lnTo>
                      <a:pt x="568" y="466"/>
                    </a:lnTo>
                    <a:lnTo>
                      <a:pt x="566" y="466"/>
                    </a:lnTo>
                    <a:lnTo>
                      <a:pt x="562" y="464"/>
                    </a:lnTo>
                    <a:lnTo>
                      <a:pt x="552" y="454"/>
                    </a:lnTo>
                    <a:lnTo>
                      <a:pt x="548" y="448"/>
                    </a:lnTo>
                    <a:lnTo>
                      <a:pt x="546" y="446"/>
                    </a:lnTo>
                    <a:lnTo>
                      <a:pt x="544" y="444"/>
                    </a:lnTo>
                    <a:lnTo>
                      <a:pt x="542" y="444"/>
                    </a:lnTo>
                    <a:lnTo>
                      <a:pt x="540" y="444"/>
                    </a:lnTo>
                    <a:lnTo>
                      <a:pt x="538" y="446"/>
                    </a:lnTo>
                    <a:lnTo>
                      <a:pt x="538" y="448"/>
                    </a:lnTo>
                    <a:lnTo>
                      <a:pt x="536" y="450"/>
                    </a:lnTo>
                    <a:lnTo>
                      <a:pt x="534" y="450"/>
                    </a:lnTo>
                    <a:lnTo>
                      <a:pt x="532" y="450"/>
                    </a:lnTo>
                    <a:lnTo>
                      <a:pt x="530" y="448"/>
                    </a:lnTo>
                    <a:lnTo>
                      <a:pt x="530" y="446"/>
                    </a:lnTo>
                    <a:lnTo>
                      <a:pt x="528" y="446"/>
                    </a:lnTo>
                    <a:lnTo>
                      <a:pt x="526" y="446"/>
                    </a:lnTo>
                    <a:lnTo>
                      <a:pt x="516" y="444"/>
                    </a:lnTo>
                    <a:lnTo>
                      <a:pt x="512" y="446"/>
                    </a:lnTo>
                    <a:lnTo>
                      <a:pt x="510" y="448"/>
                    </a:lnTo>
                    <a:lnTo>
                      <a:pt x="508" y="450"/>
                    </a:lnTo>
                    <a:lnTo>
                      <a:pt x="506" y="448"/>
                    </a:lnTo>
                    <a:lnTo>
                      <a:pt x="504" y="448"/>
                    </a:lnTo>
                    <a:lnTo>
                      <a:pt x="504" y="446"/>
                    </a:lnTo>
                    <a:lnTo>
                      <a:pt x="502" y="440"/>
                    </a:lnTo>
                    <a:lnTo>
                      <a:pt x="502" y="438"/>
                    </a:lnTo>
                    <a:lnTo>
                      <a:pt x="500" y="436"/>
                    </a:lnTo>
                    <a:lnTo>
                      <a:pt x="496" y="436"/>
                    </a:lnTo>
                    <a:lnTo>
                      <a:pt x="494" y="436"/>
                    </a:lnTo>
                    <a:lnTo>
                      <a:pt x="490" y="434"/>
                    </a:lnTo>
                    <a:lnTo>
                      <a:pt x="488" y="434"/>
                    </a:lnTo>
                    <a:lnTo>
                      <a:pt x="486" y="434"/>
                    </a:lnTo>
                    <a:lnTo>
                      <a:pt x="484" y="436"/>
                    </a:lnTo>
                    <a:lnTo>
                      <a:pt x="482" y="436"/>
                    </a:lnTo>
                    <a:lnTo>
                      <a:pt x="478" y="436"/>
                    </a:lnTo>
                    <a:lnTo>
                      <a:pt x="476" y="436"/>
                    </a:lnTo>
                    <a:lnTo>
                      <a:pt x="474" y="436"/>
                    </a:lnTo>
                    <a:lnTo>
                      <a:pt x="472" y="430"/>
                    </a:lnTo>
                    <a:lnTo>
                      <a:pt x="470" y="428"/>
                    </a:lnTo>
                    <a:lnTo>
                      <a:pt x="468" y="428"/>
                    </a:lnTo>
                    <a:lnTo>
                      <a:pt x="466" y="428"/>
                    </a:lnTo>
                    <a:lnTo>
                      <a:pt x="464" y="428"/>
                    </a:lnTo>
                    <a:lnTo>
                      <a:pt x="464" y="432"/>
                    </a:lnTo>
                    <a:lnTo>
                      <a:pt x="466" y="432"/>
                    </a:lnTo>
                    <a:lnTo>
                      <a:pt x="468" y="434"/>
                    </a:lnTo>
                    <a:lnTo>
                      <a:pt x="470" y="436"/>
                    </a:lnTo>
                    <a:lnTo>
                      <a:pt x="470" y="438"/>
                    </a:lnTo>
                    <a:lnTo>
                      <a:pt x="472" y="442"/>
                    </a:lnTo>
                    <a:lnTo>
                      <a:pt x="472" y="444"/>
                    </a:lnTo>
                    <a:lnTo>
                      <a:pt x="474" y="444"/>
                    </a:lnTo>
                    <a:lnTo>
                      <a:pt x="480" y="450"/>
                    </a:lnTo>
                    <a:lnTo>
                      <a:pt x="484" y="454"/>
                    </a:lnTo>
                    <a:lnTo>
                      <a:pt x="486" y="454"/>
                    </a:lnTo>
                    <a:lnTo>
                      <a:pt x="488" y="456"/>
                    </a:lnTo>
                    <a:lnTo>
                      <a:pt x="490" y="458"/>
                    </a:lnTo>
                    <a:lnTo>
                      <a:pt x="498" y="464"/>
                    </a:lnTo>
                    <a:lnTo>
                      <a:pt x="498" y="468"/>
                    </a:lnTo>
                    <a:lnTo>
                      <a:pt x="498" y="470"/>
                    </a:lnTo>
                    <a:lnTo>
                      <a:pt x="496" y="472"/>
                    </a:lnTo>
                    <a:lnTo>
                      <a:pt x="494" y="474"/>
                    </a:lnTo>
                    <a:lnTo>
                      <a:pt x="496" y="478"/>
                    </a:lnTo>
                    <a:lnTo>
                      <a:pt x="496" y="486"/>
                    </a:lnTo>
                    <a:lnTo>
                      <a:pt x="500" y="494"/>
                    </a:lnTo>
                    <a:lnTo>
                      <a:pt x="504" y="500"/>
                    </a:lnTo>
                    <a:lnTo>
                      <a:pt x="506" y="506"/>
                    </a:lnTo>
                    <a:lnTo>
                      <a:pt x="508" y="512"/>
                    </a:lnTo>
                    <a:lnTo>
                      <a:pt x="508" y="518"/>
                    </a:lnTo>
                    <a:lnTo>
                      <a:pt x="508" y="520"/>
                    </a:lnTo>
                    <a:lnTo>
                      <a:pt x="506" y="522"/>
                    </a:lnTo>
                    <a:lnTo>
                      <a:pt x="506" y="524"/>
                    </a:lnTo>
                    <a:lnTo>
                      <a:pt x="506" y="526"/>
                    </a:lnTo>
                    <a:lnTo>
                      <a:pt x="518" y="528"/>
                    </a:lnTo>
                    <a:lnTo>
                      <a:pt x="520" y="528"/>
                    </a:lnTo>
                    <a:lnTo>
                      <a:pt x="530" y="528"/>
                    </a:lnTo>
                    <a:lnTo>
                      <a:pt x="542" y="528"/>
                    </a:lnTo>
                    <a:lnTo>
                      <a:pt x="544" y="528"/>
                    </a:lnTo>
                    <a:lnTo>
                      <a:pt x="542" y="538"/>
                    </a:lnTo>
                    <a:lnTo>
                      <a:pt x="540" y="544"/>
                    </a:lnTo>
                    <a:lnTo>
                      <a:pt x="536" y="544"/>
                    </a:lnTo>
                    <a:lnTo>
                      <a:pt x="532" y="544"/>
                    </a:lnTo>
                    <a:lnTo>
                      <a:pt x="528" y="546"/>
                    </a:lnTo>
                    <a:lnTo>
                      <a:pt x="524" y="550"/>
                    </a:lnTo>
                    <a:lnTo>
                      <a:pt x="522" y="550"/>
                    </a:lnTo>
                    <a:lnTo>
                      <a:pt x="518" y="552"/>
                    </a:lnTo>
                    <a:lnTo>
                      <a:pt x="512" y="552"/>
                    </a:lnTo>
                    <a:lnTo>
                      <a:pt x="510" y="552"/>
                    </a:lnTo>
                    <a:lnTo>
                      <a:pt x="508" y="554"/>
                    </a:lnTo>
                    <a:lnTo>
                      <a:pt x="506" y="556"/>
                    </a:lnTo>
                    <a:lnTo>
                      <a:pt x="506" y="558"/>
                    </a:lnTo>
                    <a:lnTo>
                      <a:pt x="506" y="560"/>
                    </a:lnTo>
                    <a:lnTo>
                      <a:pt x="506" y="562"/>
                    </a:lnTo>
                    <a:lnTo>
                      <a:pt x="506" y="568"/>
                    </a:lnTo>
                    <a:lnTo>
                      <a:pt x="504" y="570"/>
                    </a:lnTo>
                    <a:lnTo>
                      <a:pt x="502" y="574"/>
                    </a:lnTo>
                    <a:lnTo>
                      <a:pt x="494" y="580"/>
                    </a:lnTo>
                    <a:lnTo>
                      <a:pt x="488" y="578"/>
                    </a:lnTo>
                    <a:lnTo>
                      <a:pt x="480" y="582"/>
                    </a:lnTo>
                    <a:lnTo>
                      <a:pt x="478" y="584"/>
                    </a:lnTo>
                    <a:lnTo>
                      <a:pt x="476" y="586"/>
                    </a:lnTo>
                    <a:lnTo>
                      <a:pt x="476" y="588"/>
                    </a:lnTo>
                    <a:lnTo>
                      <a:pt x="470" y="592"/>
                    </a:lnTo>
                    <a:lnTo>
                      <a:pt x="468" y="592"/>
                    </a:lnTo>
                    <a:lnTo>
                      <a:pt x="466" y="592"/>
                    </a:lnTo>
                    <a:lnTo>
                      <a:pt x="464" y="590"/>
                    </a:lnTo>
                    <a:lnTo>
                      <a:pt x="456" y="594"/>
                    </a:lnTo>
                    <a:lnTo>
                      <a:pt x="454" y="596"/>
                    </a:lnTo>
                    <a:lnTo>
                      <a:pt x="448" y="598"/>
                    </a:lnTo>
                    <a:lnTo>
                      <a:pt x="446" y="600"/>
                    </a:lnTo>
                    <a:lnTo>
                      <a:pt x="446" y="602"/>
                    </a:lnTo>
                    <a:lnTo>
                      <a:pt x="446" y="604"/>
                    </a:lnTo>
                    <a:lnTo>
                      <a:pt x="446" y="606"/>
                    </a:lnTo>
                    <a:lnTo>
                      <a:pt x="446" y="608"/>
                    </a:lnTo>
                    <a:lnTo>
                      <a:pt x="444" y="608"/>
                    </a:lnTo>
                    <a:lnTo>
                      <a:pt x="444" y="610"/>
                    </a:lnTo>
                    <a:lnTo>
                      <a:pt x="442" y="610"/>
                    </a:lnTo>
                    <a:lnTo>
                      <a:pt x="440" y="610"/>
                    </a:lnTo>
                    <a:lnTo>
                      <a:pt x="438" y="610"/>
                    </a:lnTo>
                    <a:lnTo>
                      <a:pt x="436" y="610"/>
                    </a:lnTo>
                    <a:lnTo>
                      <a:pt x="434" y="614"/>
                    </a:lnTo>
                    <a:lnTo>
                      <a:pt x="434" y="616"/>
                    </a:lnTo>
                    <a:lnTo>
                      <a:pt x="432" y="618"/>
                    </a:lnTo>
                    <a:lnTo>
                      <a:pt x="432" y="620"/>
                    </a:lnTo>
                    <a:lnTo>
                      <a:pt x="430" y="622"/>
                    </a:lnTo>
                    <a:lnTo>
                      <a:pt x="428" y="624"/>
                    </a:lnTo>
                    <a:lnTo>
                      <a:pt x="426" y="624"/>
                    </a:lnTo>
                    <a:lnTo>
                      <a:pt x="424" y="624"/>
                    </a:lnTo>
                    <a:lnTo>
                      <a:pt x="422" y="622"/>
                    </a:lnTo>
                    <a:lnTo>
                      <a:pt x="422" y="620"/>
                    </a:lnTo>
                    <a:lnTo>
                      <a:pt x="424" y="618"/>
                    </a:lnTo>
                    <a:lnTo>
                      <a:pt x="426" y="616"/>
                    </a:lnTo>
                    <a:lnTo>
                      <a:pt x="426" y="614"/>
                    </a:lnTo>
                    <a:lnTo>
                      <a:pt x="426" y="612"/>
                    </a:lnTo>
                    <a:lnTo>
                      <a:pt x="426" y="610"/>
                    </a:lnTo>
                    <a:lnTo>
                      <a:pt x="424" y="608"/>
                    </a:lnTo>
                    <a:lnTo>
                      <a:pt x="422" y="606"/>
                    </a:lnTo>
                    <a:lnTo>
                      <a:pt x="418" y="606"/>
                    </a:lnTo>
                    <a:lnTo>
                      <a:pt x="414" y="606"/>
                    </a:lnTo>
                    <a:lnTo>
                      <a:pt x="406" y="610"/>
                    </a:lnTo>
                    <a:lnTo>
                      <a:pt x="404" y="612"/>
                    </a:lnTo>
                    <a:lnTo>
                      <a:pt x="404" y="614"/>
                    </a:lnTo>
                    <a:lnTo>
                      <a:pt x="402" y="616"/>
                    </a:lnTo>
                    <a:lnTo>
                      <a:pt x="400" y="616"/>
                    </a:lnTo>
                    <a:lnTo>
                      <a:pt x="394" y="620"/>
                    </a:lnTo>
                    <a:lnTo>
                      <a:pt x="384" y="620"/>
                    </a:lnTo>
                    <a:lnTo>
                      <a:pt x="382" y="620"/>
                    </a:lnTo>
                    <a:lnTo>
                      <a:pt x="382" y="618"/>
                    </a:lnTo>
                    <a:lnTo>
                      <a:pt x="358" y="598"/>
                    </a:lnTo>
                    <a:lnTo>
                      <a:pt x="352" y="594"/>
                    </a:lnTo>
                    <a:lnTo>
                      <a:pt x="352" y="592"/>
                    </a:lnTo>
                    <a:lnTo>
                      <a:pt x="352" y="590"/>
                    </a:lnTo>
                    <a:lnTo>
                      <a:pt x="350" y="582"/>
                    </a:lnTo>
                    <a:lnTo>
                      <a:pt x="346" y="568"/>
                    </a:lnTo>
                    <a:lnTo>
                      <a:pt x="340" y="550"/>
                    </a:lnTo>
                    <a:lnTo>
                      <a:pt x="338" y="544"/>
                    </a:lnTo>
                    <a:lnTo>
                      <a:pt x="336" y="544"/>
                    </a:lnTo>
                    <a:lnTo>
                      <a:pt x="336" y="540"/>
                    </a:lnTo>
                    <a:lnTo>
                      <a:pt x="334" y="538"/>
                    </a:lnTo>
                    <a:lnTo>
                      <a:pt x="334" y="536"/>
                    </a:lnTo>
                    <a:lnTo>
                      <a:pt x="336" y="534"/>
                    </a:lnTo>
                    <a:lnTo>
                      <a:pt x="336" y="530"/>
                    </a:lnTo>
                    <a:lnTo>
                      <a:pt x="334" y="528"/>
                    </a:lnTo>
                    <a:lnTo>
                      <a:pt x="332" y="528"/>
                    </a:lnTo>
                    <a:lnTo>
                      <a:pt x="330" y="528"/>
                    </a:lnTo>
                    <a:lnTo>
                      <a:pt x="328" y="526"/>
                    </a:lnTo>
                    <a:lnTo>
                      <a:pt x="320" y="516"/>
                    </a:lnTo>
                    <a:lnTo>
                      <a:pt x="316" y="514"/>
                    </a:lnTo>
                    <a:lnTo>
                      <a:pt x="314" y="510"/>
                    </a:lnTo>
                    <a:lnTo>
                      <a:pt x="312" y="508"/>
                    </a:lnTo>
                    <a:lnTo>
                      <a:pt x="304" y="506"/>
                    </a:lnTo>
                    <a:lnTo>
                      <a:pt x="302" y="508"/>
                    </a:lnTo>
                    <a:lnTo>
                      <a:pt x="300" y="504"/>
                    </a:lnTo>
                    <a:lnTo>
                      <a:pt x="310" y="494"/>
                    </a:lnTo>
                    <a:lnTo>
                      <a:pt x="318" y="488"/>
                    </a:lnTo>
                    <a:lnTo>
                      <a:pt x="322" y="484"/>
                    </a:lnTo>
                    <a:lnTo>
                      <a:pt x="326" y="480"/>
                    </a:lnTo>
                    <a:lnTo>
                      <a:pt x="330" y="476"/>
                    </a:lnTo>
                    <a:lnTo>
                      <a:pt x="328" y="474"/>
                    </a:lnTo>
                    <a:lnTo>
                      <a:pt x="326" y="472"/>
                    </a:lnTo>
                    <a:lnTo>
                      <a:pt x="324" y="472"/>
                    </a:lnTo>
                    <a:lnTo>
                      <a:pt x="324" y="470"/>
                    </a:lnTo>
                    <a:lnTo>
                      <a:pt x="322" y="464"/>
                    </a:lnTo>
                    <a:lnTo>
                      <a:pt x="322" y="462"/>
                    </a:lnTo>
                    <a:lnTo>
                      <a:pt x="320" y="458"/>
                    </a:lnTo>
                    <a:lnTo>
                      <a:pt x="318" y="456"/>
                    </a:lnTo>
                    <a:lnTo>
                      <a:pt x="316" y="458"/>
                    </a:lnTo>
                    <a:lnTo>
                      <a:pt x="314" y="458"/>
                    </a:lnTo>
                    <a:lnTo>
                      <a:pt x="312" y="456"/>
                    </a:lnTo>
                    <a:lnTo>
                      <a:pt x="310" y="454"/>
                    </a:lnTo>
                    <a:lnTo>
                      <a:pt x="308" y="448"/>
                    </a:lnTo>
                    <a:lnTo>
                      <a:pt x="308" y="444"/>
                    </a:lnTo>
                    <a:lnTo>
                      <a:pt x="306" y="440"/>
                    </a:lnTo>
                    <a:lnTo>
                      <a:pt x="306" y="438"/>
                    </a:lnTo>
                    <a:lnTo>
                      <a:pt x="304" y="434"/>
                    </a:lnTo>
                    <a:lnTo>
                      <a:pt x="302" y="430"/>
                    </a:lnTo>
                    <a:lnTo>
                      <a:pt x="302" y="428"/>
                    </a:lnTo>
                    <a:lnTo>
                      <a:pt x="302" y="426"/>
                    </a:lnTo>
                    <a:lnTo>
                      <a:pt x="304" y="424"/>
                    </a:lnTo>
                    <a:lnTo>
                      <a:pt x="298" y="412"/>
                    </a:lnTo>
                    <a:lnTo>
                      <a:pt x="300" y="402"/>
                    </a:lnTo>
                    <a:lnTo>
                      <a:pt x="302" y="400"/>
                    </a:lnTo>
                    <a:lnTo>
                      <a:pt x="302" y="398"/>
                    </a:lnTo>
                    <a:lnTo>
                      <a:pt x="302" y="390"/>
                    </a:lnTo>
                    <a:lnTo>
                      <a:pt x="302" y="386"/>
                    </a:lnTo>
                    <a:lnTo>
                      <a:pt x="300" y="384"/>
                    </a:lnTo>
                    <a:lnTo>
                      <a:pt x="300" y="382"/>
                    </a:lnTo>
                    <a:lnTo>
                      <a:pt x="300" y="372"/>
                    </a:lnTo>
                    <a:lnTo>
                      <a:pt x="302" y="368"/>
                    </a:lnTo>
                    <a:lnTo>
                      <a:pt x="304" y="366"/>
                    </a:lnTo>
                    <a:lnTo>
                      <a:pt x="306" y="366"/>
                    </a:lnTo>
                    <a:lnTo>
                      <a:pt x="308" y="364"/>
                    </a:lnTo>
                    <a:lnTo>
                      <a:pt x="310" y="362"/>
                    </a:lnTo>
                    <a:lnTo>
                      <a:pt x="312" y="360"/>
                    </a:lnTo>
                    <a:lnTo>
                      <a:pt x="310" y="358"/>
                    </a:lnTo>
                    <a:lnTo>
                      <a:pt x="310" y="356"/>
                    </a:lnTo>
                    <a:lnTo>
                      <a:pt x="310" y="354"/>
                    </a:lnTo>
                    <a:lnTo>
                      <a:pt x="310" y="352"/>
                    </a:lnTo>
                    <a:lnTo>
                      <a:pt x="310" y="350"/>
                    </a:lnTo>
                    <a:lnTo>
                      <a:pt x="312" y="346"/>
                    </a:lnTo>
                    <a:lnTo>
                      <a:pt x="312" y="344"/>
                    </a:lnTo>
                    <a:lnTo>
                      <a:pt x="316" y="340"/>
                    </a:lnTo>
                    <a:lnTo>
                      <a:pt x="320" y="338"/>
                    </a:lnTo>
                    <a:lnTo>
                      <a:pt x="322" y="336"/>
                    </a:lnTo>
                    <a:lnTo>
                      <a:pt x="322" y="334"/>
                    </a:lnTo>
                    <a:lnTo>
                      <a:pt x="322" y="332"/>
                    </a:lnTo>
                    <a:lnTo>
                      <a:pt x="320" y="330"/>
                    </a:lnTo>
                    <a:lnTo>
                      <a:pt x="318" y="330"/>
                    </a:lnTo>
                    <a:lnTo>
                      <a:pt x="318" y="328"/>
                    </a:lnTo>
                    <a:lnTo>
                      <a:pt x="318" y="326"/>
                    </a:lnTo>
                    <a:lnTo>
                      <a:pt x="320" y="324"/>
                    </a:lnTo>
                    <a:lnTo>
                      <a:pt x="318" y="324"/>
                    </a:lnTo>
                    <a:lnTo>
                      <a:pt x="316" y="322"/>
                    </a:lnTo>
                    <a:lnTo>
                      <a:pt x="314" y="320"/>
                    </a:lnTo>
                    <a:lnTo>
                      <a:pt x="310" y="320"/>
                    </a:lnTo>
                    <a:lnTo>
                      <a:pt x="306" y="318"/>
                    </a:lnTo>
                    <a:lnTo>
                      <a:pt x="300" y="318"/>
                    </a:lnTo>
                    <a:lnTo>
                      <a:pt x="296" y="322"/>
                    </a:lnTo>
                    <a:lnTo>
                      <a:pt x="292" y="324"/>
                    </a:lnTo>
                    <a:lnTo>
                      <a:pt x="290" y="324"/>
                    </a:lnTo>
                    <a:lnTo>
                      <a:pt x="288" y="324"/>
                    </a:lnTo>
                    <a:lnTo>
                      <a:pt x="286" y="324"/>
                    </a:lnTo>
                    <a:lnTo>
                      <a:pt x="284" y="324"/>
                    </a:lnTo>
                    <a:lnTo>
                      <a:pt x="282" y="324"/>
                    </a:lnTo>
                    <a:lnTo>
                      <a:pt x="280" y="324"/>
                    </a:lnTo>
                    <a:lnTo>
                      <a:pt x="278" y="324"/>
                    </a:lnTo>
                    <a:lnTo>
                      <a:pt x="274" y="326"/>
                    </a:lnTo>
                    <a:lnTo>
                      <a:pt x="270" y="326"/>
                    </a:lnTo>
                    <a:lnTo>
                      <a:pt x="268" y="324"/>
                    </a:lnTo>
                    <a:lnTo>
                      <a:pt x="266" y="324"/>
                    </a:lnTo>
                    <a:lnTo>
                      <a:pt x="266" y="326"/>
                    </a:lnTo>
                    <a:lnTo>
                      <a:pt x="262" y="326"/>
                    </a:lnTo>
                    <a:lnTo>
                      <a:pt x="256" y="328"/>
                    </a:lnTo>
                    <a:lnTo>
                      <a:pt x="254" y="326"/>
                    </a:lnTo>
                    <a:lnTo>
                      <a:pt x="252" y="326"/>
                    </a:lnTo>
                    <a:lnTo>
                      <a:pt x="250" y="326"/>
                    </a:lnTo>
                    <a:lnTo>
                      <a:pt x="246" y="326"/>
                    </a:lnTo>
                    <a:lnTo>
                      <a:pt x="236" y="324"/>
                    </a:lnTo>
                    <a:lnTo>
                      <a:pt x="234" y="324"/>
                    </a:lnTo>
                    <a:lnTo>
                      <a:pt x="232" y="324"/>
                    </a:lnTo>
                    <a:lnTo>
                      <a:pt x="230" y="326"/>
                    </a:lnTo>
                    <a:lnTo>
                      <a:pt x="228" y="326"/>
                    </a:lnTo>
                    <a:lnTo>
                      <a:pt x="226" y="330"/>
                    </a:lnTo>
                    <a:lnTo>
                      <a:pt x="224" y="330"/>
                    </a:lnTo>
                    <a:lnTo>
                      <a:pt x="222" y="330"/>
                    </a:lnTo>
                    <a:lnTo>
                      <a:pt x="220" y="328"/>
                    </a:lnTo>
                    <a:lnTo>
                      <a:pt x="220" y="326"/>
                    </a:lnTo>
                    <a:lnTo>
                      <a:pt x="216" y="326"/>
                    </a:lnTo>
                    <a:lnTo>
                      <a:pt x="214" y="328"/>
                    </a:lnTo>
                    <a:lnTo>
                      <a:pt x="198" y="308"/>
                    </a:lnTo>
                    <a:lnTo>
                      <a:pt x="176" y="282"/>
                    </a:lnTo>
                    <a:lnTo>
                      <a:pt x="174" y="282"/>
                    </a:lnTo>
                    <a:lnTo>
                      <a:pt x="170" y="282"/>
                    </a:lnTo>
                    <a:lnTo>
                      <a:pt x="170" y="284"/>
                    </a:lnTo>
                    <a:lnTo>
                      <a:pt x="168" y="284"/>
                    </a:lnTo>
                    <a:lnTo>
                      <a:pt x="166" y="284"/>
                    </a:lnTo>
                    <a:lnTo>
                      <a:pt x="164" y="284"/>
                    </a:lnTo>
                    <a:lnTo>
                      <a:pt x="162" y="282"/>
                    </a:lnTo>
                    <a:lnTo>
                      <a:pt x="158" y="280"/>
                    </a:lnTo>
                    <a:lnTo>
                      <a:pt x="154" y="278"/>
                    </a:lnTo>
                    <a:lnTo>
                      <a:pt x="144" y="276"/>
                    </a:lnTo>
                    <a:lnTo>
                      <a:pt x="138" y="276"/>
                    </a:lnTo>
                    <a:lnTo>
                      <a:pt x="136" y="276"/>
                    </a:lnTo>
                    <a:lnTo>
                      <a:pt x="134" y="278"/>
                    </a:lnTo>
                    <a:lnTo>
                      <a:pt x="130" y="280"/>
                    </a:lnTo>
                    <a:lnTo>
                      <a:pt x="128" y="282"/>
                    </a:lnTo>
                    <a:lnTo>
                      <a:pt x="120" y="284"/>
                    </a:lnTo>
                    <a:lnTo>
                      <a:pt x="114" y="282"/>
                    </a:lnTo>
                    <a:lnTo>
                      <a:pt x="110" y="280"/>
                    </a:lnTo>
                    <a:lnTo>
                      <a:pt x="104" y="280"/>
                    </a:lnTo>
                    <a:lnTo>
                      <a:pt x="102" y="280"/>
                    </a:lnTo>
                    <a:lnTo>
                      <a:pt x="100" y="278"/>
                    </a:lnTo>
                    <a:lnTo>
                      <a:pt x="96" y="278"/>
                    </a:lnTo>
                    <a:lnTo>
                      <a:pt x="94" y="278"/>
                    </a:lnTo>
                    <a:lnTo>
                      <a:pt x="90" y="278"/>
                    </a:lnTo>
                    <a:lnTo>
                      <a:pt x="86" y="280"/>
                    </a:lnTo>
                    <a:lnTo>
                      <a:pt x="84" y="282"/>
                    </a:lnTo>
                    <a:lnTo>
                      <a:pt x="82" y="282"/>
                    </a:lnTo>
                    <a:lnTo>
                      <a:pt x="80" y="280"/>
                    </a:lnTo>
                    <a:lnTo>
                      <a:pt x="76" y="280"/>
                    </a:lnTo>
                    <a:lnTo>
                      <a:pt x="72" y="278"/>
                    </a:lnTo>
                    <a:lnTo>
                      <a:pt x="70" y="276"/>
                    </a:lnTo>
                    <a:lnTo>
                      <a:pt x="68" y="274"/>
                    </a:lnTo>
                    <a:lnTo>
                      <a:pt x="68" y="272"/>
                    </a:lnTo>
                    <a:lnTo>
                      <a:pt x="66" y="270"/>
                    </a:lnTo>
                    <a:lnTo>
                      <a:pt x="66" y="268"/>
                    </a:lnTo>
                    <a:lnTo>
                      <a:pt x="66" y="266"/>
                    </a:lnTo>
                    <a:lnTo>
                      <a:pt x="66" y="264"/>
                    </a:lnTo>
                    <a:lnTo>
                      <a:pt x="62" y="260"/>
                    </a:lnTo>
                    <a:lnTo>
                      <a:pt x="58" y="260"/>
                    </a:lnTo>
                    <a:lnTo>
                      <a:pt x="54" y="258"/>
                    </a:lnTo>
                    <a:lnTo>
                      <a:pt x="52" y="258"/>
                    </a:lnTo>
                    <a:lnTo>
                      <a:pt x="50" y="254"/>
                    </a:lnTo>
                    <a:lnTo>
                      <a:pt x="50" y="246"/>
                    </a:lnTo>
                    <a:lnTo>
                      <a:pt x="50" y="232"/>
                    </a:lnTo>
                    <a:lnTo>
                      <a:pt x="54" y="224"/>
                    </a:lnTo>
                    <a:lnTo>
                      <a:pt x="56" y="224"/>
                    </a:lnTo>
                    <a:lnTo>
                      <a:pt x="58" y="224"/>
                    </a:lnTo>
                    <a:lnTo>
                      <a:pt x="58" y="222"/>
                    </a:lnTo>
                    <a:lnTo>
                      <a:pt x="56" y="218"/>
                    </a:lnTo>
                    <a:lnTo>
                      <a:pt x="54" y="208"/>
                    </a:lnTo>
                    <a:lnTo>
                      <a:pt x="54" y="206"/>
                    </a:lnTo>
                    <a:lnTo>
                      <a:pt x="52" y="206"/>
                    </a:lnTo>
                    <a:lnTo>
                      <a:pt x="40" y="192"/>
                    </a:lnTo>
                    <a:lnTo>
                      <a:pt x="36" y="178"/>
                    </a:lnTo>
                    <a:lnTo>
                      <a:pt x="32" y="168"/>
                    </a:lnTo>
                    <a:lnTo>
                      <a:pt x="28" y="166"/>
                    </a:lnTo>
                    <a:lnTo>
                      <a:pt x="24" y="162"/>
                    </a:lnTo>
                    <a:lnTo>
                      <a:pt x="22" y="160"/>
                    </a:lnTo>
                    <a:lnTo>
                      <a:pt x="20" y="156"/>
                    </a:lnTo>
                    <a:lnTo>
                      <a:pt x="14" y="160"/>
                    </a:lnTo>
                    <a:lnTo>
                      <a:pt x="12" y="162"/>
                    </a:lnTo>
                    <a:lnTo>
                      <a:pt x="10" y="164"/>
                    </a:lnTo>
                    <a:lnTo>
                      <a:pt x="2" y="164"/>
                    </a:lnTo>
                    <a:lnTo>
                      <a:pt x="0" y="164"/>
                    </a:lnTo>
                    <a:lnTo>
                      <a:pt x="2" y="160"/>
                    </a:lnTo>
                    <a:lnTo>
                      <a:pt x="8" y="150"/>
                    </a:lnTo>
                    <a:lnTo>
                      <a:pt x="14" y="142"/>
                    </a:lnTo>
                    <a:lnTo>
                      <a:pt x="16" y="140"/>
                    </a:lnTo>
                    <a:lnTo>
                      <a:pt x="22" y="132"/>
                    </a:lnTo>
                    <a:lnTo>
                      <a:pt x="22" y="124"/>
                    </a:lnTo>
                    <a:lnTo>
                      <a:pt x="22" y="118"/>
                    </a:lnTo>
                    <a:lnTo>
                      <a:pt x="24" y="114"/>
                    </a:lnTo>
                    <a:lnTo>
                      <a:pt x="24" y="112"/>
                    </a:lnTo>
                    <a:lnTo>
                      <a:pt x="26" y="100"/>
                    </a:lnTo>
                    <a:lnTo>
                      <a:pt x="26" y="96"/>
                    </a:lnTo>
                    <a:lnTo>
                      <a:pt x="26" y="94"/>
                    </a:lnTo>
                    <a:lnTo>
                      <a:pt x="30" y="88"/>
                    </a:lnTo>
                    <a:lnTo>
                      <a:pt x="32" y="86"/>
                    </a:lnTo>
                    <a:lnTo>
                      <a:pt x="36" y="76"/>
                    </a:lnTo>
                    <a:lnTo>
                      <a:pt x="42" y="70"/>
                    </a:lnTo>
                    <a:lnTo>
                      <a:pt x="46" y="62"/>
                    </a:lnTo>
                    <a:lnTo>
                      <a:pt x="48" y="58"/>
                    </a:lnTo>
                    <a:lnTo>
                      <a:pt x="50" y="58"/>
                    </a:lnTo>
                    <a:lnTo>
                      <a:pt x="56" y="56"/>
                    </a:lnTo>
                    <a:lnTo>
                      <a:pt x="58" y="56"/>
                    </a:lnTo>
                    <a:lnTo>
                      <a:pt x="64" y="50"/>
                    </a:lnTo>
                    <a:lnTo>
                      <a:pt x="70" y="38"/>
                    </a:lnTo>
                    <a:lnTo>
                      <a:pt x="76" y="28"/>
                    </a:lnTo>
                    <a:lnTo>
                      <a:pt x="86" y="26"/>
                    </a:lnTo>
                    <a:lnTo>
                      <a:pt x="90" y="26"/>
                    </a:lnTo>
                    <a:lnTo>
                      <a:pt x="94" y="24"/>
                    </a:lnTo>
                    <a:lnTo>
                      <a:pt x="102" y="22"/>
                    </a:lnTo>
                    <a:lnTo>
                      <a:pt x="106" y="20"/>
                    </a:lnTo>
                    <a:lnTo>
                      <a:pt x="110" y="18"/>
                    </a:lnTo>
                    <a:lnTo>
                      <a:pt x="110" y="22"/>
                    </a:lnTo>
                    <a:lnTo>
                      <a:pt x="108" y="24"/>
                    </a:lnTo>
                    <a:lnTo>
                      <a:pt x="104" y="26"/>
                    </a:lnTo>
                    <a:lnTo>
                      <a:pt x="102" y="26"/>
                    </a:lnTo>
                    <a:lnTo>
                      <a:pt x="100" y="26"/>
                    </a:lnTo>
                    <a:lnTo>
                      <a:pt x="94" y="28"/>
                    </a:lnTo>
                    <a:lnTo>
                      <a:pt x="90" y="28"/>
                    </a:lnTo>
                    <a:lnTo>
                      <a:pt x="86" y="28"/>
                    </a:lnTo>
                    <a:lnTo>
                      <a:pt x="84" y="30"/>
                    </a:lnTo>
                    <a:lnTo>
                      <a:pt x="78" y="32"/>
                    </a:lnTo>
                    <a:lnTo>
                      <a:pt x="76" y="34"/>
                    </a:lnTo>
                    <a:lnTo>
                      <a:pt x="76" y="36"/>
                    </a:lnTo>
                    <a:lnTo>
                      <a:pt x="76" y="40"/>
                    </a:lnTo>
                    <a:lnTo>
                      <a:pt x="78" y="42"/>
                    </a:lnTo>
                    <a:lnTo>
                      <a:pt x="78" y="44"/>
                    </a:lnTo>
                    <a:lnTo>
                      <a:pt x="78" y="46"/>
                    </a:lnTo>
                    <a:lnTo>
                      <a:pt x="80" y="48"/>
                    </a:lnTo>
                    <a:lnTo>
                      <a:pt x="82" y="52"/>
                    </a:lnTo>
                    <a:lnTo>
                      <a:pt x="84" y="54"/>
                    </a:lnTo>
                    <a:lnTo>
                      <a:pt x="86" y="58"/>
                    </a:lnTo>
                    <a:lnTo>
                      <a:pt x="88" y="62"/>
                    </a:lnTo>
                    <a:lnTo>
                      <a:pt x="88" y="64"/>
                    </a:lnTo>
                    <a:lnTo>
                      <a:pt x="92" y="74"/>
                    </a:lnTo>
                    <a:lnTo>
                      <a:pt x="92" y="76"/>
                    </a:lnTo>
                    <a:lnTo>
                      <a:pt x="96" y="78"/>
                    </a:lnTo>
                    <a:lnTo>
                      <a:pt x="96" y="80"/>
                    </a:lnTo>
                    <a:lnTo>
                      <a:pt x="98" y="80"/>
                    </a:lnTo>
                    <a:lnTo>
                      <a:pt x="98" y="82"/>
                    </a:lnTo>
                    <a:lnTo>
                      <a:pt x="94" y="92"/>
                    </a:lnTo>
                    <a:lnTo>
                      <a:pt x="94" y="94"/>
                    </a:lnTo>
                    <a:lnTo>
                      <a:pt x="92" y="96"/>
                    </a:lnTo>
                    <a:lnTo>
                      <a:pt x="88" y="98"/>
                    </a:lnTo>
                    <a:lnTo>
                      <a:pt x="86" y="100"/>
                    </a:lnTo>
                    <a:lnTo>
                      <a:pt x="86" y="102"/>
                    </a:lnTo>
                    <a:lnTo>
                      <a:pt x="84" y="106"/>
                    </a:lnTo>
                    <a:lnTo>
                      <a:pt x="80" y="112"/>
                    </a:lnTo>
                    <a:lnTo>
                      <a:pt x="68" y="128"/>
                    </a:lnTo>
                    <a:lnTo>
                      <a:pt x="70" y="132"/>
                    </a:lnTo>
                    <a:lnTo>
                      <a:pt x="72" y="134"/>
                    </a:lnTo>
                    <a:lnTo>
                      <a:pt x="74" y="138"/>
                    </a:lnTo>
                    <a:lnTo>
                      <a:pt x="76" y="140"/>
                    </a:lnTo>
                    <a:lnTo>
                      <a:pt x="78" y="142"/>
                    </a:lnTo>
                    <a:lnTo>
                      <a:pt x="80" y="146"/>
                    </a:lnTo>
                    <a:lnTo>
                      <a:pt x="88" y="152"/>
                    </a:lnTo>
                    <a:lnTo>
                      <a:pt x="90" y="154"/>
                    </a:lnTo>
                    <a:lnTo>
                      <a:pt x="88" y="156"/>
                    </a:lnTo>
                    <a:lnTo>
                      <a:pt x="88" y="160"/>
                    </a:lnTo>
                    <a:lnTo>
                      <a:pt x="88" y="166"/>
                    </a:lnTo>
                    <a:lnTo>
                      <a:pt x="88" y="168"/>
                    </a:lnTo>
                    <a:lnTo>
                      <a:pt x="90" y="168"/>
                    </a:lnTo>
                    <a:lnTo>
                      <a:pt x="92" y="170"/>
                    </a:lnTo>
                    <a:lnTo>
                      <a:pt x="96" y="170"/>
                    </a:lnTo>
                    <a:lnTo>
                      <a:pt x="100" y="170"/>
                    </a:lnTo>
                    <a:lnTo>
                      <a:pt x="102" y="170"/>
                    </a:lnTo>
                    <a:lnTo>
                      <a:pt x="112" y="166"/>
                    </a:lnTo>
                    <a:lnTo>
                      <a:pt x="116" y="164"/>
                    </a:lnTo>
                    <a:lnTo>
                      <a:pt x="116" y="162"/>
                    </a:lnTo>
                    <a:lnTo>
                      <a:pt x="118" y="160"/>
                    </a:lnTo>
                    <a:lnTo>
                      <a:pt x="120" y="158"/>
                    </a:lnTo>
                    <a:lnTo>
                      <a:pt x="122" y="158"/>
                    </a:lnTo>
                    <a:lnTo>
                      <a:pt x="124" y="156"/>
                    </a:lnTo>
                    <a:lnTo>
                      <a:pt x="126" y="154"/>
                    </a:lnTo>
                    <a:lnTo>
                      <a:pt x="124" y="152"/>
                    </a:lnTo>
                    <a:lnTo>
                      <a:pt x="124" y="144"/>
                    </a:lnTo>
                    <a:lnTo>
                      <a:pt x="124" y="142"/>
                    </a:lnTo>
                    <a:lnTo>
                      <a:pt x="124" y="140"/>
                    </a:lnTo>
                    <a:lnTo>
                      <a:pt x="126" y="134"/>
                    </a:lnTo>
                    <a:lnTo>
                      <a:pt x="124" y="126"/>
                    </a:lnTo>
                    <a:lnTo>
                      <a:pt x="122" y="124"/>
                    </a:lnTo>
                    <a:lnTo>
                      <a:pt x="120" y="122"/>
                    </a:lnTo>
                    <a:lnTo>
                      <a:pt x="114" y="110"/>
                    </a:lnTo>
                    <a:lnTo>
                      <a:pt x="112" y="108"/>
                    </a:lnTo>
                    <a:lnTo>
                      <a:pt x="108" y="104"/>
                    </a:lnTo>
                    <a:lnTo>
                      <a:pt x="104" y="98"/>
                    </a:lnTo>
                    <a:lnTo>
                      <a:pt x="104" y="94"/>
                    </a:lnTo>
                    <a:lnTo>
                      <a:pt x="100" y="90"/>
                    </a:lnTo>
                    <a:lnTo>
                      <a:pt x="100" y="88"/>
                    </a:lnTo>
                    <a:lnTo>
                      <a:pt x="100" y="80"/>
                    </a:lnTo>
                    <a:lnTo>
                      <a:pt x="104" y="76"/>
                    </a:lnTo>
                    <a:lnTo>
                      <a:pt x="104" y="68"/>
                    </a:lnTo>
                    <a:lnTo>
                      <a:pt x="102" y="66"/>
                    </a:lnTo>
                    <a:lnTo>
                      <a:pt x="104" y="66"/>
                    </a:lnTo>
                    <a:lnTo>
                      <a:pt x="106" y="66"/>
                    </a:lnTo>
                    <a:lnTo>
                      <a:pt x="108" y="66"/>
                    </a:lnTo>
                    <a:lnTo>
                      <a:pt x="110" y="66"/>
                    </a:lnTo>
                    <a:lnTo>
                      <a:pt x="114" y="66"/>
                    </a:lnTo>
                    <a:lnTo>
                      <a:pt x="120" y="62"/>
                    </a:lnTo>
                    <a:lnTo>
                      <a:pt x="124" y="60"/>
                    </a:lnTo>
                    <a:lnTo>
                      <a:pt x="126" y="58"/>
                    </a:lnTo>
                    <a:lnTo>
                      <a:pt x="128" y="58"/>
                    </a:lnTo>
                    <a:lnTo>
                      <a:pt x="132" y="56"/>
                    </a:lnTo>
                    <a:lnTo>
                      <a:pt x="134" y="54"/>
                    </a:lnTo>
                    <a:lnTo>
                      <a:pt x="136" y="54"/>
                    </a:lnTo>
                    <a:lnTo>
                      <a:pt x="138" y="52"/>
                    </a:lnTo>
                    <a:lnTo>
                      <a:pt x="142" y="52"/>
                    </a:lnTo>
                    <a:lnTo>
                      <a:pt x="146" y="52"/>
                    </a:lnTo>
                    <a:lnTo>
                      <a:pt x="148" y="52"/>
                    </a:lnTo>
                    <a:lnTo>
                      <a:pt x="152" y="50"/>
                    </a:lnTo>
                    <a:lnTo>
                      <a:pt x="154" y="50"/>
                    </a:lnTo>
                    <a:lnTo>
                      <a:pt x="156" y="50"/>
                    </a:lnTo>
                    <a:lnTo>
                      <a:pt x="158" y="50"/>
                    </a:lnTo>
                    <a:lnTo>
                      <a:pt x="158" y="48"/>
                    </a:lnTo>
                    <a:lnTo>
                      <a:pt x="164" y="46"/>
                    </a:lnTo>
                    <a:lnTo>
                      <a:pt x="168" y="46"/>
                    </a:lnTo>
                    <a:lnTo>
                      <a:pt x="174" y="42"/>
                    </a:lnTo>
                    <a:lnTo>
                      <a:pt x="176" y="40"/>
                    </a:lnTo>
                    <a:lnTo>
                      <a:pt x="180" y="40"/>
                    </a:lnTo>
                    <a:lnTo>
                      <a:pt x="180" y="38"/>
                    </a:lnTo>
                    <a:lnTo>
                      <a:pt x="178" y="36"/>
                    </a:lnTo>
                    <a:lnTo>
                      <a:pt x="182" y="36"/>
                    </a:lnTo>
                    <a:lnTo>
                      <a:pt x="188" y="40"/>
                    </a:lnTo>
                    <a:lnTo>
                      <a:pt x="188" y="42"/>
                    </a:lnTo>
                    <a:lnTo>
                      <a:pt x="190" y="42"/>
                    </a:lnTo>
                    <a:lnTo>
                      <a:pt x="192" y="42"/>
                    </a:lnTo>
                    <a:lnTo>
                      <a:pt x="194" y="36"/>
                    </a:lnTo>
                    <a:lnTo>
                      <a:pt x="194" y="32"/>
                    </a:lnTo>
                    <a:lnTo>
                      <a:pt x="194" y="30"/>
                    </a:lnTo>
                    <a:lnTo>
                      <a:pt x="192" y="28"/>
                    </a:lnTo>
                    <a:lnTo>
                      <a:pt x="190" y="28"/>
                    </a:lnTo>
                    <a:lnTo>
                      <a:pt x="180" y="30"/>
                    </a:lnTo>
                    <a:lnTo>
                      <a:pt x="172" y="32"/>
                    </a:lnTo>
                    <a:lnTo>
                      <a:pt x="170" y="32"/>
                    </a:lnTo>
                    <a:lnTo>
                      <a:pt x="168" y="30"/>
                    </a:lnTo>
                    <a:lnTo>
                      <a:pt x="170" y="30"/>
                    </a:lnTo>
                    <a:lnTo>
                      <a:pt x="168" y="22"/>
                    </a:lnTo>
                    <a:lnTo>
                      <a:pt x="166" y="18"/>
                    </a:lnTo>
                    <a:lnTo>
                      <a:pt x="166" y="16"/>
                    </a:lnTo>
                    <a:lnTo>
                      <a:pt x="166" y="14"/>
                    </a:lnTo>
                    <a:lnTo>
                      <a:pt x="168" y="12"/>
                    </a:lnTo>
                    <a:lnTo>
                      <a:pt x="170" y="6"/>
                    </a:lnTo>
                    <a:lnTo>
                      <a:pt x="172" y="4"/>
                    </a:lnTo>
                    <a:lnTo>
                      <a:pt x="178" y="0"/>
                    </a:lnTo>
                    <a:lnTo>
                      <a:pt x="180" y="0"/>
                    </a:lnTo>
                    <a:lnTo>
                      <a:pt x="184" y="0"/>
                    </a:lnTo>
                    <a:lnTo>
                      <a:pt x="186" y="2"/>
                    </a:lnTo>
                    <a:lnTo>
                      <a:pt x="190" y="6"/>
                    </a:lnTo>
                    <a:lnTo>
                      <a:pt x="190" y="8"/>
                    </a:lnTo>
                    <a:lnTo>
                      <a:pt x="192" y="12"/>
                    </a:lnTo>
                    <a:lnTo>
                      <a:pt x="192" y="14"/>
                    </a:lnTo>
                    <a:lnTo>
                      <a:pt x="192" y="16"/>
                    </a:lnTo>
                    <a:lnTo>
                      <a:pt x="192" y="18"/>
                    </a:lnTo>
                    <a:lnTo>
                      <a:pt x="192" y="22"/>
                    </a:lnTo>
                    <a:lnTo>
                      <a:pt x="194" y="26"/>
                    </a:lnTo>
                    <a:lnTo>
                      <a:pt x="194" y="28"/>
                    </a:lnTo>
                    <a:lnTo>
                      <a:pt x="196" y="32"/>
                    </a:lnTo>
                    <a:lnTo>
                      <a:pt x="196" y="34"/>
                    </a:lnTo>
                    <a:lnTo>
                      <a:pt x="198" y="36"/>
                    </a:lnTo>
                    <a:lnTo>
                      <a:pt x="202" y="38"/>
                    </a:lnTo>
                    <a:lnTo>
                      <a:pt x="202" y="40"/>
                    </a:lnTo>
                    <a:lnTo>
                      <a:pt x="204" y="38"/>
                    </a:lnTo>
                    <a:lnTo>
                      <a:pt x="206" y="38"/>
                    </a:lnTo>
                    <a:lnTo>
                      <a:pt x="206" y="36"/>
                    </a:lnTo>
                    <a:lnTo>
                      <a:pt x="208" y="36"/>
                    </a:lnTo>
                    <a:lnTo>
                      <a:pt x="212" y="36"/>
                    </a:lnTo>
                    <a:lnTo>
                      <a:pt x="214" y="38"/>
                    </a:lnTo>
                    <a:lnTo>
                      <a:pt x="216" y="38"/>
                    </a:lnTo>
                    <a:lnTo>
                      <a:pt x="218" y="36"/>
                    </a:lnTo>
                    <a:lnTo>
                      <a:pt x="220" y="34"/>
                    </a:lnTo>
                    <a:lnTo>
                      <a:pt x="230" y="38"/>
                    </a:lnTo>
                    <a:lnTo>
                      <a:pt x="238" y="40"/>
                    </a:lnTo>
                    <a:lnTo>
                      <a:pt x="244" y="40"/>
                    </a:lnTo>
                    <a:lnTo>
                      <a:pt x="252" y="46"/>
                    </a:lnTo>
                    <a:lnTo>
                      <a:pt x="256" y="48"/>
                    </a:lnTo>
                    <a:lnTo>
                      <a:pt x="258" y="50"/>
                    </a:lnTo>
                    <a:lnTo>
                      <a:pt x="260" y="50"/>
                    </a:lnTo>
                    <a:lnTo>
                      <a:pt x="266" y="54"/>
                    </a:lnTo>
                    <a:lnTo>
                      <a:pt x="268" y="56"/>
                    </a:lnTo>
                    <a:lnTo>
                      <a:pt x="270" y="62"/>
                    </a:lnTo>
                    <a:lnTo>
                      <a:pt x="276" y="70"/>
                    </a:lnTo>
                    <a:lnTo>
                      <a:pt x="276" y="72"/>
                    </a:lnTo>
                    <a:lnTo>
                      <a:pt x="272" y="72"/>
                    </a:lnTo>
                    <a:lnTo>
                      <a:pt x="270" y="72"/>
                    </a:lnTo>
                    <a:lnTo>
                      <a:pt x="270" y="74"/>
                    </a:lnTo>
                    <a:lnTo>
                      <a:pt x="270" y="76"/>
                    </a:lnTo>
                    <a:lnTo>
                      <a:pt x="274" y="84"/>
                    </a:lnTo>
                    <a:lnTo>
                      <a:pt x="276" y="86"/>
                    </a:lnTo>
                    <a:lnTo>
                      <a:pt x="280" y="90"/>
                    </a:lnTo>
                    <a:lnTo>
                      <a:pt x="284" y="92"/>
                    </a:lnTo>
                    <a:lnTo>
                      <a:pt x="286" y="92"/>
                    </a:lnTo>
                    <a:lnTo>
                      <a:pt x="288" y="92"/>
                    </a:lnTo>
                    <a:lnTo>
                      <a:pt x="294" y="92"/>
                    </a:lnTo>
                    <a:lnTo>
                      <a:pt x="296" y="92"/>
                    </a:lnTo>
                    <a:lnTo>
                      <a:pt x="298" y="92"/>
                    </a:lnTo>
                    <a:lnTo>
                      <a:pt x="300" y="92"/>
                    </a:lnTo>
                    <a:lnTo>
                      <a:pt x="314" y="88"/>
                    </a:lnTo>
                    <a:lnTo>
                      <a:pt x="318" y="88"/>
                    </a:lnTo>
                    <a:lnTo>
                      <a:pt x="322" y="88"/>
                    </a:lnTo>
                    <a:lnTo>
                      <a:pt x="328" y="88"/>
                    </a:lnTo>
                    <a:lnTo>
                      <a:pt x="336" y="86"/>
                    </a:lnTo>
                    <a:lnTo>
                      <a:pt x="342" y="86"/>
                    </a:lnTo>
                    <a:lnTo>
                      <a:pt x="368" y="84"/>
                    </a:lnTo>
                    <a:lnTo>
                      <a:pt x="370" y="84"/>
                    </a:lnTo>
                    <a:lnTo>
                      <a:pt x="374" y="84"/>
                    </a:lnTo>
                    <a:lnTo>
                      <a:pt x="376" y="84"/>
                    </a:lnTo>
                    <a:lnTo>
                      <a:pt x="378" y="86"/>
                    </a:lnTo>
                    <a:lnTo>
                      <a:pt x="378" y="84"/>
                    </a:lnTo>
                    <a:lnTo>
                      <a:pt x="380" y="82"/>
                    </a:lnTo>
                    <a:lnTo>
                      <a:pt x="384" y="84"/>
                    </a:lnTo>
                    <a:lnTo>
                      <a:pt x="392" y="86"/>
                    </a:lnTo>
                    <a:lnTo>
                      <a:pt x="390" y="88"/>
                    </a:lnTo>
                    <a:lnTo>
                      <a:pt x="390" y="90"/>
                    </a:lnTo>
                    <a:lnTo>
                      <a:pt x="390" y="92"/>
                    </a:lnTo>
                    <a:lnTo>
                      <a:pt x="392" y="94"/>
                    </a:lnTo>
                    <a:lnTo>
                      <a:pt x="398" y="98"/>
                    </a:lnTo>
                    <a:lnTo>
                      <a:pt x="400" y="102"/>
                    </a:lnTo>
                    <a:lnTo>
                      <a:pt x="406" y="106"/>
                    </a:lnTo>
                    <a:lnTo>
                      <a:pt x="408" y="106"/>
                    </a:lnTo>
                    <a:lnTo>
                      <a:pt x="412" y="106"/>
                    </a:lnTo>
                    <a:lnTo>
                      <a:pt x="420" y="108"/>
                    </a:lnTo>
                    <a:lnTo>
                      <a:pt x="428" y="110"/>
                    </a:lnTo>
                    <a:lnTo>
                      <a:pt x="434" y="110"/>
                    </a:lnTo>
                    <a:lnTo>
                      <a:pt x="446" y="114"/>
                    </a:lnTo>
                    <a:lnTo>
                      <a:pt x="460" y="112"/>
                    </a:lnTo>
                    <a:lnTo>
                      <a:pt x="462" y="112"/>
                    </a:lnTo>
                    <a:lnTo>
                      <a:pt x="464" y="110"/>
                    </a:lnTo>
                    <a:lnTo>
                      <a:pt x="466" y="106"/>
                    </a:lnTo>
                    <a:lnTo>
                      <a:pt x="470" y="104"/>
                    </a:lnTo>
                    <a:lnTo>
                      <a:pt x="472" y="104"/>
                    </a:lnTo>
                    <a:lnTo>
                      <a:pt x="474" y="104"/>
                    </a:lnTo>
                    <a:lnTo>
                      <a:pt x="478" y="104"/>
                    </a:lnTo>
                    <a:lnTo>
                      <a:pt x="484" y="100"/>
                    </a:lnTo>
                    <a:lnTo>
                      <a:pt x="482" y="98"/>
                    </a:lnTo>
                    <a:lnTo>
                      <a:pt x="482" y="96"/>
                    </a:lnTo>
                    <a:lnTo>
                      <a:pt x="484" y="96"/>
                    </a:lnTo>
                    <a:lnTo>
                      <a:pt x="492" y="92"/>
                    </a:lnTo>
                    <a:lnTo>
                      <a:pt x="494" y="92"/>
                    </a:lnTo>
                    <a:lnTo>
                      <a:pt x="498" y="92"/>
                    </a:lnTo>
                    <a:lnTo>
                      <a:pt x="500" y="92"/>
                    </a:lnTo>
                    <a:lnTo>
                      <a:pt x="510" y="92"/>
                    </a:lnTo>
                    <a:lnTo>
                      <a:pt x="514" y="92"/>
                    </a:lnTo>
                    <a:lnTo>
                      <a:pt x="518" y="90"/>
                    </a:lnTo>
                    <a:lnTo>
                      <a:pt x="520" y="90"/>
                    </a:lnTo>
                    <a:lnTo>
                      <a:pt x="514" y="88"/>
                    </a:lnTo>
                    <a:lnTo>
                      <a:pt x="512" y="86"/>
                    </a:lnTo>
                    <a:lnTo>
                      <a:pt x="506" y="86"/>
                    </a:lnTo>
                    <a:lnTo>
                      <a:pt x="494" y="86"/>
                    </a:lnTo>
                    <a:lnTo>
                      <a:pt x="492" y="86"/>
                    </a:lnTo>
                    <a:lnTo>
                      <a:pt x="492" y="88"/>
                    </a:lnTo>
                    <a:lnTo>
                      <a:pt x="490" y="88"/>
                    </a:lnTo>
                    <a:lnTo>
                      <a:pt x="488" y="82"/>
                    </a:lnTo>
                    <a:lnTo>
                      <a:pt x="490" y="82"/>
                    </a:lnTo>
                    <a:lnTo>
                      <a:pt x="494" y="84"/>
                    </a:lnTo>
                    <a:lnTo>
                      <a:pt x="504" y="82"/>
                    </a:lnTo>
                    <a:lnTo>
                      <a:pt x="510" y="82"/>
                    </a:lnTo>
                    <a:lnTo>
                      <a:pt x="520" y="82"/>
                    </a:lnTo>
                    <a:lnTo>
                      <a:pt x="528" y="82"/>
                    </a:lnTo>
                    <a:lnTo>
                      <a:pt x="530" y="82"/>
                    </a:lnTo>
                    <a:lnTo>
                      <a:pt x="538" y="80"/>
                    </a:lnTo>
                    <a:lnTo>
                      <a:pt x="542" y="80"/>
                    </a:lnTo>
                    <a:lnTo>
                      <a:pt x="544" y="80"/>
                    </a:lnTo>
                    <a:lnTo>
                      <a:pt x="544" y="78"/>
                    </a:lnTo>
                    <a:lnTo>
                      <a:pt x="546" y="78"/>
                    </a:lnTo>
                    <a:lnTo>
                      <a:pt x="556" y="78"/>
                    </a:lnTo>
                    <a:lnTo>
                      <a:pt x="558" y="78"/>
                    </a:lnTo>
                    <a:lnTo>
                      <a:pt x="560" y="78"/>
                    </a:lnTo>
                    <a:lnTo>
                      <a:pt x="562" y="78"/>
                    </a:lnTo>
                    <a:lnTo>
                      <a:pt x="568" y="76"/>
                    </a:lnTo>
                    <a:lnTo>
                      <a:pt x="570" y="76"/>
                    </a:lnTo>
                    <a:lnTo>
                      <a:pt x="572" y="76"/>
                    </a:lnTo>
                    <a:lnTo>
                      <a:pt x="582" y="76"/>
                    </a:lnTo>
                    <a:lnTo>
                      <a:pt x="584" y="76"/>
                    </a:lnTo>
                    <a:lnTo>
                      <a:pt x="590" y="78"/>
                    </a:lnTo>
                    <a:lnTo>
                      <a:pt x="594" y="78"/>
                    </a:lnTo>
                    <a:lnTo>
                      <a:pt x="600" y="78"/>
                    </a:lnTo>
                    <a:lnTo>
                      <a:pt x="602" y="78"/>
                    </a:lnTo>
                    <a:lnTo>
                      <a:pt x="610" y="76"/>
                    </a:lnTo>
                    <a:lnTo>
                      <a:pt x="616" y="76"/>
                    </a:lnTo>
                    <a:lnTo>
                      <a:pt x="616" y="78"/>
                    </a:lnTo>
                    <a:lnTo>
                      <a:pt x="614" y="80"/>
                    </a:lnTo>
                    <a:lnTo>
                      <a:pt x="612" y="80"/>
                    </a:lnTo>
                    <a:lnTo>
                      <a:pt x="608" y="82"/>
                    </a:lnTo>
                    <a:lnTo>
                      <a:pt x="606" y="82"/>
                    </a:lnTo>
                    <a:lnTo>
                      <a:pt x="604" y="82"/>
                    </a:lnTo>
                    <a:lnTo>
                      <a:pt x="602" y="82"/>
                    </a:lnTo>
                    <a:lnTo>
                      <a:pt x="600" y="82"/>
                    </a:lnTo>
                    <a:lnTo>
                      <a:pt x="596" y="82"/>
                    </a:lnTo>
                    <a:lnTo>
                      <a:pt x="596" y="84"/>
                    </a:lnTo>
                    <a:lnTo>
                      <a:pt x="594" y="84"/>
                    </a:lnTo>
                    <a:lnTo>
                      <a:pt x="594" y="86"/>
                    </a:lnTo>
                    <a:lnTo>
                      <a:pt x="592" y="86"/>
                    </a:lnTo>
                    <a:lnTo>
                      <a:pt x="586" y="86"/>
                    </a:lnTo>
                    <a:lnTo>
                      <a:pt x="582" y="86"/>
                    </a:lnTo>
                    <a:lnTo>
                      <a:pt x="580" y="86"/>
                    </a:lnTo>
                    <a:lnTo>
                      <a:pt x="576" y="86"/>
                    </a:lnTo>
                    <a:lnTo>
                      <a:pt x="574" y="86"/>
                    </a:lnTo>
                    <a:lnTo>
                      <a:pt x="566" y="86"/>
                    </a:lnTo>
                    <a:lnTo>
                      <a:pt x="562" y="86"/>
                    </a:lnTo>
                    <a:lnTo>
                      <a:pt x="556" y="92"/>
                    </a:lnTo>
                    <a:lnTo>
                      <a:pt x="558" y="90"/>
                    </a:lnTo>
                    <a:lnTo>
                      <a:pt x="560" y="90"/>
                    </a:lnTo>
                    <a:lnTo>
                      <a:pt x="562" y="88"/>
                    </a:lnTo>
                    <a:lnTo>
                      <a:pt x="564" y="88"/>
                    </a:lnTo>
                    <a:lnTo>
                      <a:pt x="566" y="92"/>
                    </a:lnTo>
                    <a:lnTo>
                      <a:pt x="564" y="94"/>
                    </a:lnTo>
                    <a:lnTo>
                      <a:pt x="562" y="94"/>
                    </a:lnTo>
                    <a:lnTo>
                      <a:pt x="560" y="94"/>
                    </a:lnTo>
                    <a:lnTo>
                      <a:pt x="558" y="94"/>
                    </a:lnTo>
                    <a:lnTo>
                      <a:pt x="556" y="94"/>
                    </a:lnTo>
                    <a:lnTo>
                      <a:pt x="558" y="102"/>
                    </a:lnTo>
                    <a:lnTo>
                      <a:pt x="560" y="102"/>
                    </a:lnTo>
                    <a:lnTo>
                      <a:pt x="562" y="100"/>
                    </a:lnTo>
                    <a:lnTo>
                      <a:pt x="560" y="98"/>
                    </a:lnTo>
                    <a:lnTo>
                      <a:pt x="560" y="96"/>
                    </a:lnTo>
                    <a:lnTo>
                      <a:pt x="560" y="94"/>
                    </a:lnTo>
                    <a:lnTo>
                      <a:pt x="562" y="94"/>
                    </a:lnTo>
                    <a:lnTo>
                      <a:pt x="562" y="96"/>
                    </a:lnTo>
                    <a:lnTo>
                      <a:pt x="564" y="96"/>
                    </a:lnTo>
                    <a:lnTo>
                      <a:pt x="566" y="94"/>
                    </a:lnTo>
                    <a:lnTo>
                      <a:pt x="568" y="94"/>
                    </a:lnTo>
                    <a:lnTo>
                      <a:pt x="570" y="96"/>
                    </a:lnTo>
                    <a:lnTo>
                      <a:pt x="574" y="100"/>
                    </a:lnTo>
                    <a:lnTo>
                      <a:pt x="578" y="110"/>
                    </a:lnTo>
                    <a:lnTo>
                      <a:pt x="574" y="112"/>
                    </a:lnTo>
                    <a:lnTo>
                      <a:pt x="572" y="112"/>
                    </a:lnTo>
                    <a:lnTo>
                      <a:pt x="568" y="112"/>
                    </a:lnTo>
                    <a:lnTo>
                      <a:pt x="566" y="114"/>
                    </a:lnTo>
                    <a:lnTo>
                      <a:pt x="562" y="112"/>
                    </a:lnTo>
                    <a:lnTo>
                      <a:pt x="562" y="110"/>
                    </a:lnTo>
                    <a:lnTo>
                      <a:pt x="560" y="110"/>
                    </a:lnTo>
                    <a:lnTo>
                      <a:pt x="556" y="110"/>
                    </a:lnTo>
                    <a:lnTo>
                      <a:pt x="558" y="112"/>
                    </a:lnTo>
                    <a:lnTo>
                      <a:pt x="560" y="112"/>
                    </a:lnTo>
                    <a:lnTo>
                      <a:pt x="562" y="112"/>
                    </a:lnTo>
                    <a:lnTo>
                      <a:pt x="564" y="114"/>
                    </a:lnTo>
                    <a:lnTo>
                      <a:pt x="568" y="116"/>
                    </a:lnTo>
                    <a:lnTo>
                      <a:pt x="574" y="114"/>
                    </a:lnTo>
                    <a:lnTo>
                      <a:pt x="576" y="112"/>
                    </a:lnTo>
                    <a:lnTo>
                      <a:pt x="578" y="110"/>
                    </a:lnTo>
                    <a:lnTo>
                      <a:pt x="578" y="108"/>
                    </a:lnTo>
                    <a:lnTo>
                      <a:pt x="578" y="106"/>
                    </a:lnTo>
                    <a:lnTo>
                      <a:pt x="578" y="104"/>
                    </a:lnTo>
                    <a:lnTo>
                      <a:pt x="580" y="104"/>
                    </a:lnTo>
                    <a:lnTo>
                      <a:pt x="582" y="106"/>
                    </a:lnTo>
                    <a:lnTo>
                      <a:pt x="584" y="106"/>
                    </a:lnTo>
                    <a:lnTo>
                      <a:pt x="584" y="108"/>
                    </a:lnTo>
                    <a:lnTo>
                      <a:pt x="586" y="110"/>
                    </a:lnTo>
                    <a:lnTo>
                      <a:pt x="588" y="118"/>
                    </a:lnTo>
                    <a:lnTo>
                      <a:pt x="590" y="122"/>
                    </a:lnTo>
                    <a:lnTo>
                      <a:pt x="594" y="128"/>
                    </a:lnTo>
                    <a:lnTo>
                      <a:pt x="594" y="130"/>
                    </a:lnTo>
                    <a:lnTo>
                      <a:pt x="594" y="132"/>
                    </a:lnTo>
                    <a:lnTo>
                      <a:pt x="596" y="130"/>
                    </a:lnTo>
                    <a:lnTo>
                      <a:pt x="596" y="128"/>
                    </a:lnTo>
                    <a:lnTo>
                      <a:pt x="598" y="126"/>
                    </a:lnTo>
                    <a:lnTo>
                      <a:pt x="598" y="124"/>
                    </a:lnTo>
                    <a:lnTo>
                      <a:pt x="598" y="122"/>
                    </a:lnTo>
                    <a:lnTo>
                      <a:pt x="598" y="120"/>
                    </a:lnTo>
                    <a:lnTo>
                      <a:pt x="598" y="118"/>
                    </a:lnTo>
                    <a:lnTo>
                      <a:pt x="600" y="120"/>
                    </a:lnTo>
                    <a:lnTo>
                      <a:pt x="600" y="124"/>
                    </a:lnTo>
                    <a:lnTo>
                      <a:pt x="602" y="132"/>
                    </a:lnTo>
                    <a:lnTo>
                      <a:pt x="600" y="136"/>
                    </a:lnTo>
                    <a:lnTo>
                      <a:pt x="602" y="134"/>
                    </a:lnTo>
                    <a:lnTo>
                      <a:pt x="602" y="132"/>
                    </a:lnTo>
                    <a:lnTo>
                      <a:pt x="604" y="128"/>
                    </a:lnTo>
                    <a:lnTo>
                      <a:pt x="604" y="124"/>
                    </a:lnTo>
                    <a:lnTo>
                      <a:pt x="610" y="124"/>
                    </a:lnTo>
                    <a:lnTo>
                      <a:pt x="608" y="122"/>
                    </a:lnTo>
                    <a:lnTo>
                      <a:pt x="604" y="120"/>
                    </a:lnTo>
                    <a:lnTo>
                      <a:pt x="602" y="118"/>
                    </a:lnTo>
                    <a:lnTo>
                      <a:pt x="600" y="120"/>
                    </a:lnTo>
                    <a:lnTo>
                      <a:pt x="598" y="118"/>
                    </a:lnTo>
                    <a:lnTo>
                      <a:pt x="600" y="116"/>
                    </a:lnTo>
                    <a:lnTo>
                      <a:pt x="600" y="114"/>
                    </a:lnTo>
                    <a:lnTo>
                      <a:pt x="606" y="116"/>
                    </a:lnTo>
                    <a:lnTo>
                      <a:pt x="608" y="116"/>
                    </a:lnTo>
                    <a:lnTo>
                      <a:pt x="614" y="120"/>
                    </a:lnTo>
                    <a:lnTo>
                      <a:pt x="620" y="128"/>
                    </a:lnTo>
                    <a:lnTo>
                      <a:pt x="626" y="138"/>
                    </a:lnTo>
                    <a:lnTo>
                      <a:pt x="626" y="136"/>
                    </a:lnTo>
                    <a:lnTo>
                      <a:pt x="626" y="134"/>
                    </a:lnTo>
                    <a:lnTo>
                      <a:pt x="626" y="132"/>
                    </a:lnTo>
                    <a:lnTo>
                      <a:pt x="624" y="128"/>
                    </a:lnTo>
                    <a:lnTo>
                      <a:pt x="622" y="128"/>
                    </a:lnTo>
                    <a:lnTo>
                      <a:pt x="622" y="126"/>
                    </a:lnTo>
                    <a:lnTo>
                      <a:pt x="622" y="124"/>
                    </a:lnTo>
                    <a:lnTo>
                      <a:pt x="626" y="126"/>
                    </a:lnTo>
                    <a:lnTo>
                      <a:pt x="628" y="126"/>
                    </a:lnTo>
                    <a:lnTo>
                      <a:pt x="630" y="126"/>
                    </a:lnTo>
                    <a:lnTo>
                      <a:pt x="632" y="126"/>
                    </a:lnTo>
                    <a:lnTo>
                      <a:pt x="634" y="126"/>
                    </a:lnTo>
                    <a:lnTo>
                      <a:pt x="634" y="124"/>
                    </a:lnTo>
                    <a:lnTo>
                      <a:pt x="632" y="124"/>
                    </a:lnTo>
                    <a:lnTo>
                      <a:pt x="630" y="122"/>
                    </a:lnTo>
                    <a:lnTo>
                      <a:pt x="632" y="120"/>
                    </a:lnTo>
                    <a:lnTo>
                      <a:pt x="634" y="122"/>
                    </a:lnTo>
                    <a:lnTo>
                      <a:pt x="636" y="122"/>
                    </a:lnTo>
                    <a:lnTo>
                      <a:pt x="638" y="124"/>
                    </a:lnTo>
                    <a:lnTo>
                      <a:pt x="640" y="126"/>
                    </a:lnTo>
                    <a:lnTo>
                      <a:pt x="642" y="130"/>
                    </a:lnTo>
                    <a:lnTo>
                      <a:pt x="642" y="132"/>
                    </a:lnTo>
                    <a:lnTo>
                      <a:pt x="644" y="132"/>
                    </a:lnTo>
                    <a:lnTo>
                      <a:pt x="652" y="138"/>
                    </a:lnTo>
                    <a:lnTo>
                      <a:pt x="654" y="138"/>
                    </a:lnTo>
                    <a:lnTo>
                      <a:pt x="660" y="138"/>
                    </a:lnTo>
                    <a:lnTo>
                      <a:pt x="662" y="138"/>
                    </a:lnTo>
                    <a:lnTo>
                      <a:pt x="666" y="140"/>
                    </a:lnTo>
                    <a:lnTo>
                      <a:pt x="668" y="140"/>
                    </a:lnTo>
                    <a:lnTo>
                      <a:pt x="674" y="144"/>
                    </a:lnTo>
                    <a:lnTo>
                      <a:pt x="676" y="148"/>
                    </a:lnTo>
                    <a:lnTo>
                      <a:pt x="676" y="152"/>
                    </a:lnTo>
                    <a:lnTo>
                      <a:pt x="674" y="154"/>
                    </a:lnTo>
                    <a:lnTo>
                      <a:pt x="674" y="156"/>
                    </a:lnTo>
                    <a:lnTo>
                      <a:pt x="670" y="156"/>
                    </a:lnTo>
                    <a:lnTo>
                      <a:pt x="666" y="160"/>
                    </a:lnTo>
                    <a:lnTo>
                      <a:pt x="662" y="162"/>
                    </a:lnTo>
                    <a:lnTo>
                      <a:pt x="660" y="164"/>
                    </a:lnTo>
                    <a:lnTo>
                      <a:pt x="660" y="166"/>
                    </a:lnTo>
                    <a:lnTo>
                      <a:pt x="662" y="166"/>
                    </a:lnTo>
                    <a:lnTo>
                      <a:pt x="662" y="164"/>
                    </a:lnTo>
                    <a:lnTo>
                      <a:pt x="666" y="160"/>
                    </a:lnTo>
                    <a:lnTo>
                      <a:pt x="668" y="160"/>
                    </a:lnTo>
                    <a:lnTo>
                      <a:pt x="664" y="168"/>
                    </a:lnTo>
                    <a:lnTo>
                      <a:pt x="662" y="170"/>
                    </a:lnTo>
                    <a:lnTo>
                      <a:pt x="660" y="172"/>
                    </a:lnTo>
                    <a:lnTo>
                      <a:pt x="658" y="176"/>
                    </a:lnTo>
                    <a:lnTo>
                      <a:pt x="656" y="184"/>
                    </a:lnTo>
                    <a:lnTo>
                      <a:pt x="656" y="186"/>
                    </a:lnTo>
                    <a:lnTo>
                      <a:pt x="656" y="190"/>
                    </a:lnTo>
                    <a:lnTo>
                      <a:pt x="654" y="192"/>
                    </a:lnTo>
                    <a:lnTo>
                      <a:pt x="652" y="192"/>
                    </a:lnTo>
                    <a:lnTo>
                      <a:pt x="648" y="192"/>
                    </a:lnTo>
                    <a:lnTo>
                      <a:pt x="642" y="192"/>
                    </a:lnTo>
                    <a:lnTo>
                      <a:pt x="638" y="192"/>
                    </a:lnTo>
                    <a:lnTo>
                      <a:pt x="636" y="192"/>
                    </a:lnTo>
                    <a:lnTo>
                      <a:pt x="634" y="190"/>
                    </a:lnTo>
                    <a:lnTo>
                      <a:pt x="634" y="194"/>
                    </a:lnTo>
                    <a:lnTo>
                      <a:pt x="640" y="196"/>
                    </a:lnTo>
                    <a:lnTo>
                      <a:pt x="644" y="198"/>
                    </a:lnTo>
                    <a:lnTo>
                      <a:pt x="648" y="200"/>
                    </a:lnTo>
                    <a:lnTo>
                      <a:pt x="654" y="198"/>
                    </a:lnTo>
                    <a:lnTo>
                      <a:pt x="656" y="198"/>
                    </a:lnTo>
                    <a:lnTo>
                      <a:pt x="662" y="198"/>
                    </a:lnTo>
                    <a:lnTo>
                      <a:pt x="662" y="200"/>
                    </a:lnTo>
                    <a:lnTo>
                      <a:pt x="662" y="202"/>
                    </a:lnTo>
                    <a:lnTo>
                      <a:pt x="666" y="198"/>
                    </a:lnTo>
                    <a:lnTo>
                      <a:pt x="666" y="196"/>
                    </a:lnTo>
                    <a:lnTo>
                      <a:pt x="668" y="194"/>
                    </a:lnTo>
                    <a:lnTo>
                      <a:pt x="672" y="192"/>
                    </a:lnTo>
                    <a:lnTo>
                      <a:pt x="682" y="190"/>
                    </a:lnTo>
                    <a:lnTo>
                      <a:pt x="684" y="192"/>
                    </a:lnTo>
                    <a:lnTo>
                      <a:pt x="686" y="194"/>
                    </a:lnTo>
                    <a:lnTo>
                      <a:pt x="694" y="196"/>
                    </a:lnTo>
                    <a:lnTo>
                      <a:pt x="696" y="192"/>
                    </a:lnTo>
                    <a:lnTo>
                      <a:pt x="698" y="190"/>
                    </a:lnTo>
                    <a:lnTo>
                      <a:pt x="708" y="190"/>
                    </a:lnTo>
                    <a:lnTo>
                      <a:pt x="712" y="190"/>
                    </a:lnTo>
                    <a:lnTo>
                      <a:pt x="718" y="194"/>
                    </a:lnTo>
                    <a:lnTo>
                      <a:pt x="720" y="194"/>
                    </a:lnTo>
                    <a:lnTo>
                      <a:pt x="720" y="196"/>
                    </a:lnTo>
                    <a:lnTo>
                      <a:pt x="726" y="202"/>
                    </a:lnTo>
                    <a:lnTo>
                      <a:pt x="730" y="206"/>
                    </a:lnTo>
                    <a:lnTo>
                      <a:pt x="730" y="208"/>
                    </a:lnTo>
                    <a:lnTo>
                      <a:pt x="728" y="210"/>
                    </a:lnTo>
                    <a:lnTo>
                      <a:pt x="726" y="212"/>
                    </a:lnTo>
                    <a:lnTo>
                      <a:pt x="724" y="212"/>
                    </a:lnTo>
                    <a:lnTo>
                      <a:pt x="722" y="214"/>
                    </a:lnTo>
                    <a:lnTo>
                      <a:pt x="720" y="216"/>
                    </a:lnTo>
                    <a:lnTo>
                      <a:pt x="720" y="220"/>
                    </a:lnTo>
                    <a:lnTo>
                      <a:pt x="718" y="222"/>
                    </a:lnTo>
                    <a:lnTo>
                      <a:pt x="716" y="222"/>
                    </a:lnTo>
                    <a:lnTo>
                      <a:pt x="714" y="222"/>
                    </a:lnTo>
                    <a:lnTo>
                      <a:pt x="706" y="2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73" name="Freeform 2082"/>
              <p:cNvSpPr>
                <a:spLocks/>
              </p:cNvSpPr>
              <p:nvPr/>
            </p:nvSpPr>
            <p:spPr bwMode="auto">
              <a:xfrm>
                <a:off x="2816" y="378"/>
                <a:ext cx="32" cy="18"/>
              </a:xfrm>
              <a:custGeom>
                <a:avLst/>
                <a:gdLst/>
                <a:ahLst/>
                <a:cxnLst>
                  <a:cxn ang="0">
                    <a:pos x="20" y="18"/>
                  </a:cxn>
                  <a:cxn ang="0">
                    <a:pos x="16" y="14"/>
                  </a:cxn>
                  <a:cxn ang="0">
                    <a:pos x="14" y="14"/>
                  </a:cxn>
                  <a:cxn ang="0">
                    <a:pos x="12" y="12"/>
                  </a:cxn>
                  <a:cxn ang="0">
                    <a:pos x="12" y="14"/>
                  </a:cxn>
                  <a:cxn ang="0">
                    <a:pos x="10" y="14"/>
                  </a:cxn>
                  <a:cxn ang="0">
                    <a:pos x="4" y="14"/>
                  </a:cxn>
                  <a:cxn ang="0">
                    <a:pos x="0" y="12"/>
                  </a:cxn>
                  <a:cxn ang="0">
                    <a:pos x="2" y="8"/>
                  </a:cxn>
                  <a:cxn ang="0">
                    <a:pos x="10" y="6"/>
                  </a:cxn>
                  <a:cxn ang="0">
                    <a:pos x="12" y="6"/>
                  </a:cxn>
                  <a:cxn ang="0">
                    <a:pos x="12" y="8"/>
                  </a:cxn>
                  <a:cxn ang="0">
                    <a:pos x="16" y="10"/>
                  </a:cxn>
                  <a:cxn ang="0">
                    <a:pos x="18" y="12"/>
                  </a:cxn>
                  <a:cxn ang="0">
                    <a:pos x="20" y="12"/>
                  </a:cxn>
                  <a:cxn ang="0">
                    <a:pos x="22" y="10"/>
                  </a:cxn>
                  <a:cxn ang="0">
                    <a:pos x="24" y="6"/>
                  </a:cxn>
                  <a:cxn ang="0">
                    <a:pos x="26" y="4"/>
                  </a:cxn>
                  <a:cxn ang="0">
                    <a:pos x="28" y="0"/>
                  </a:cxn>
                  <a:cxn ang="0">
                    <a:pos x="30" y="4"/>
                  </a:cxn>
                  <a:cxn ang="0">
                    <a:pos x="32" y="10"/>
                  </a:cxn>
                  <a:cxn ang="0">
                    <a:pos x="32" y="12"/>
                  </a:cxn>
                  <a:cxn ang="0">
                    <a:pos x="28" y="16"/>
                  </a:cxn>
                  <a:cxn ang="0">
                    <a:pos x="24" y="16"/>
                  </a:cxn>
                  <a:cxn ang="0">
                    <a:pos x="20" y="18"/>
                  </a:cxn>
                </a:cxnLst>
                <a:rect l="0" t="0" r="r" b="b"/>
                <a:pathLst>
                  <a:path w="32" h="18">
                    <a:moveTo>
                      <a:pt x="20" y="18"/>
                    </a:moveTo>
                    <a:lnTo>
                      <a:pt x="16" y="14"/>
                    </a:lnTo>
                    <a:lnTo>
                      <a:pt x="14" y="14"/>
                    </a:lnTo>
                    <a:lnTo>
                      <a:pt x="12" y="12"/>
                    </a:lnTo>
                    <a:lnTo>
                      <a:pt x="12" y="14"/>
                    </a:lnTo>
                    <a:lnTo>
                      <a:pt x="10" y="14"/>
                    </a:lnTo>
                    <a:lnTo>
                      <a:pt x="4" y="14"/>
                    </a:lnTo>
                    <a:lnTo>
                      <a:pt x="0" y="12"/>
                    </a:lnTo>
                    <a:lnTo>
                      <a:pt x="2" y="8"/>
                    </a:lnTo>
                    <a:lnTo>
                      <a:pt x="10" y="6"/>
                    </a:lnTo>
                    <a:lnTo>
                      <a:pt x="12" y="6"/>
                    </a:lnTo>
                    <a:lnTo>
                      <a:pt x="12" y="8"/>
                    </a:lnTo>
                    <a:lnTo>
                      <a:pt x="16" y="10"/>
                    </a:lnTo>
                    <a:lnTo>
                      <a:pt x="18" y="12"/>
                    </a:lnTo>
                    <a:lnTo>
                      <a:pt x="20" y="12"/>
                    </a:lnTo>
                    <a:lnTo>
                      <a:pt x="22" y="10"/>
                    </a:lnTo>
                    <a:lnTo>
                      <a:pt x="24" y="6"/>
                    </a:lnTo>
                    <a:lnTo>
                      <a:pt x="26" y="4"/>
                    </a:lnTo>
                    <a:lnTo>
                      <a:pt x="28" y="0"/>
                    </a:lnTo>
                    <a:lnTo>
                      <a:pt x="30" y="4"/>
                    </a:lnTo>
                    <a:lnTo>
                      <a:pt x="32" y="10"/>
                    </a:lnTo>
                    <a:lnTo>
                      <a:pt x="32" y="12"/>
                    </a:lnTo>
                    <a:lnTo>
                      <a:pt x="28" y="16"/>
                    </a:lnTo>
                    <a:lnTo>
                      <a:pt x="24" y="16"/>
                    </a:lnTo>
                    <a:lnTo>
                      <a:pt x="20"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74" name="Freeform 2083"/>
              <p:cNvSpPr>
                <a:spLocks/>
              </p:cNvSpPr>
              <p:nvPr/>
            </p:nvSpPr>
            <p:spPr bwMode="auto">
              <a:xfrm>
                <a:off x="2762" y="390"/>
                <a:ext cx="12" cy="4"/>
              </a:xfrm>
              <a:custGeom>
                <a:avLst/>
                <a:gdLst/>
                <a:ahLst/>
                <a:cxnLst>
                  <a:cxn ang="0">
                    <a:pos x="8" y="4"/>
                  </a:cxn>
                  <a:cxn ang="0">
                    <a:pos x="2" y="4"/>
                  </a:cxn>
                  <a:cxn ang="0">
                    <a:pos x="0" y="4"/>
                  </a:cxn>
                  <a:cxn ang="0">
                    <a:pos x="2" y="2"/>
                  </a:cxn>
                  <a:cxn ang="0">
                    <a:pos x="4" y="2"/>
                  </a:cxn>
                  <a:cxn ang="0">
                    <a:pos x="4" y="0"/>
                  </a:cxn>
                  <a:cxn ang="0">
                    <a:pos x="8" y="0"/>
                  </a:cxn>
                  <a:cxn ang="0">
                    <a:pos x="12" y="2"/>
                  </a:cxn>
                  <a:cxn ang="0">
                    <a:pos x="12" y="4"/>
                  </a:cxn>
                  <a:cxn ang="0">
                    <a:pos x="8" y="4"/>
                  </a:cxn>
                </a:cxnLst>
                <a:rect l="0" t="0" r="r" b="b"/>
                <a:pathLst>
                  <a:path w="12" h="4">
                    <a:moveTo>
                      <a:pt x="8" y="4"/>
                    </a:moveTo>
                    <a:lnTo>
                      <a:pt x="2" y="4"/>
                    </a:lnTo>
                    <a:lnTo>
                      <a:pt x="0" y="4"/>
                    </a:lnTo>
                    <a:lnTo>
                      <a:pt x="2" y="2"/>
                    </a:lnTo>
                    <a:lnTo>
                      <a:pt x="4" y="2"/>
                    </a:lnTo>
                    <a:lnTo>
                      <a:pt x="4" y="0"/>
                    </a:lnTo>
                    <a:lnTo>
                      <a:pt x="8" y="0"/>
                    </a:lnTo>
                    <a:lnTo>
                      <a:pt x="12" y="2"/>
                    </a:lnTo>
                    <a:lnTo>
                      <a:pt x="12" y="4"/>
                    </a:lnTo>
                    <a:lnTo>
                      <a:pt x="8"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728" name="Freeform 2090"/>
            <p:cNvSpPr>
              <a:spLocks/>
            </p:cNvSpPr>
            <p:nvPr/>
          </p:nvSpPr>
          <p:spPr bwMode="auto">
            <a:xfrm>
              <a:off x="3046474" y="2410661"/>
              <a:ext cx="906097" cy="1317960"/>
            </a:xfrm>
            <a:custGeom>
              <a:avLst/>
              <a:gdLst/>
              <a:ahLst/>
              <a:cxnLst>
                <a:cxn ang="0">
                  <a:pos x="674" y="658"/>
                </a:cxn>
                <a:cxn ang="0">
                  <a:pos x="666" y="712"/>
                </a:cxn>
                <a:cxn ang="0">
                  <a:pos x="666" y="768"/>
                </a:cxn>
                <a:cxn ang="0">
                  <a:pos x="648" y="814"/>
                </a:cxn>
                <a:cxn ang="0">
                  <a:pos x="664" y="876"/>
                </a:cxn>
                <a:cxn ang="0">
                  <a:pos x="652" y="906"/>
                </a:cxn>
                <a:cxn ang="0">
                  <a:pos x="628" y="952"/>
                </a:cxn>
                <a:cxn ang="0">
                  <a:pos x="610" y="986"/>
                </a:cxn>
                <a:cxn ang="0">
                  <a:pos x="576" y="984"/>
                </a:cxn>
                <a:cxn ang="0">
                  <a:pos x="536" y="946"/>
                </a:cxn>
                <a:cxn ang="0">
                  <a:pos x="506" y="922"/>
                </a:cxn>
                <a:cxn ang="0">
                  <a:pos x="462" y="898"/>
                </a:cxn>
                <a:cxn ang="0">
                  <a:pos x="400" y="866"/>
                </a:cxn>
                <a:cxn ang="0">
                  <a:pos x="348" y="838"/>
                </a:cxn>
                <a:cxn ang="0">
                  <a:pos x="302" y="796"/>
                </a:cxn>
                <a:cxn ang="0">
                  <a:pos x="272" y="752"/>
                </a:cxn>
                <a:cxn ang="0">
                  <a:pos x="272" y="712"/>
                </a:cxn>
                <a:cxn ang="0">
                  <a:pos x="248" y="668"/>
                </a:cxn>
                <a:cxn ang="0">
                  <a:pos x="218" y="620"/>
                </a:cxn>
                <a:cxn ang="0">
                  <a:pos x="190" y="574"/>
                </a:cxn>
                <a:cxn ang="0">
                  <a:pos x="160" y="506"/>
                </a:cxn>
                <a:cxn ang="0">
                  <a:pos x="142" y="464"/>
                </a:cxn>
                <a:cxn ang="0">
                  <a:pos x="104" y="416"/>
                </a:cxn>
                <a:cxn ang="0">
                  <a:pos x="88" y="382"/>
                </a:cxn>
                <a:cxn ang="0">
                  <a:pos x="44" y="346"/>
                </a:cxn>
                <a:cxn ang="0">
                  <a:pos x="18" y="316"/>
                </a:cxn>
                <a:cxn ang="0">
                  <a:pos x="14" y="286"/>
                </a:cxn>
                <a:cxn ang="0">
                  <a:pos x="4" y="234"/>
                </a:cxn>
                <a:cxn ang="0">
                  <a:pos x="36" y="196"/>
                </a:cxn>
                <a:cxn ang="0">
                  <a:pos x="60" y="188"/>
                </a:cxn>
                <a:cxn ang="0">
                  <a:pos x="48" y="226"/>
                </a:cxn>
                <a:cxn ang="0">
                  <a:pos x="60" y="234"/>
                </a:cxn>
                <a:cxn ang="0">
                  <a:pos x="98" y="246"/>
                </a:cxn>
                <a:cxn ang="0">
                  <a:pos x="132" y="258"/>
                </a:cxn>
                <a:cxn ang="0">
                  <a:pos x="144" y="232"/>
                </a:cxn>
                <a:cxn ang="0">
                  <a:pos x="160" y="196"/>
                </a:cxn>
                <a:cxn ang="0">
                  <a:pos x="168" y="180"/>
                </a:cxn>
                <a:cxn ang="0">
                  <a:pos x="240" y="142"/>
                </a:cxn>
                <a:cxn ang="0">
                  <a:pos x="320" y="48"/>
                </a:cxn>
                <a:cxn ang="0">
                  <a:pos x="320" y="20"/>
                </a:cxn>
                <a:cxn ang="0">
                  <a:pos x="330" y="4"/>
                </a:cxn>
                <a:cxn ang="0">
                  <a:pos x="362" y="20"/>
                </a:cxn>
                <a:cxn ang="0">
                  <a:pos x="386" y="54"/>
                </a:cxn>
                <a:cxn ang="0">
                  <a:pos x="424" y="94"/>
                </a:cxn>
                <a:cxn ang="0">
                  <a:pos x="450" y="128"/>
                </a:cxn>
                <a:cxn ang="0">
                  <a:pos x="512" y="126"/>
                </a:cxn>
                <a:cxn ang="0">
                  <a:pos x="568" y="118"/>
                </a:cxn>
                <a:cxn ang="0">
                  <a:pos x="590" y="176"/>
                </a:cxn>
                <a:cxn ang="0">
                  <a:pos x="600" y="208"/>
                </a:cxn>
                <a:cxn ang="0">
                  <a:pos x="600" y="230"/>
                </a:cxn>
                <a:cxn ang="0">
                  <a:pos x="566" y="230"/>
                </a:cxn>
                <a:cxn ang="0">
                  <a:pos x="492" y="256"/>
                </a:cxn>
                <a:cxn ang="0">
                  <a:pos x="454" y="292"/>
                </a:cxn>
                <a:cxn ang="0">
                  <a:pos x="444" y="344"/>
                </a:cxn>
                <a:cxn ang="0">
                  <a:pos x="410" y="384"/>
                </a:cxn>
                <a:cxn ang="0">
                  <a:pos x="412" y="418"/>
                </a:cxn>
                <a:cxn ang="0">
                  <a:pos x="426" y="454"/>
                </a:cxn>
                <a:cxn ang="0">
                  <a:pos x="454" y="488"/>
                </a:cxn>
                <a:cxn ang="0">
                  <a:pos x="484" y="512"/>
                </a:cxn>
                <a:cxn ang="0">
                  <a:pos x="508" y="540"/>
                </a:cxn>
                <a:cxn ang="0">
                  <a:pos x="580" y="510"/>
                </a:cxn>
                <a:cxn ang="0">
                  <a:pos x="578" y="558"/>
                </a:cxn>
                <a:cxn ang="0">
                  <a:pos x="594" y="598"/>
                </a:cxn>
              </a:cxnLst>
              <a:rect l="0" t="0" r="r" b="b"/>
              <a:pathLst>
                <a:path w="682" h="992">
                  <a:moveTo>
                    <a:pt x="634" y="590"/>
                  </a:moveTo>
                  <a:lnTo>
                    <a:pt x="638" y="598"/>
                  </a:lnTo>
                  <a:lnTo>
                    <a:pt x="642" y="602"/>
                  </a:lnTo>
                  <a:lnTo>
                    <a:pt x="652" y="620"/>
                  </a:lnTo>
                  <a:lnTo>
                    <a:pt x="654" y="622"/>
                  </a:lnTo>
                  <a:lnTo>
                    <a:pt x="656" y="626"/>
                  </a:lnTo>
                  <a:lnTo>
                    <a:pt x="662" y="636"/>
                  </a:lnTo>
                  <a:lnTo>
                    <a:pt x="662" y="638"/>
                  </a:lnTo>
                  <a:lnTo>
                    <a:pt x="664" y="640"/>
                  </a:lnTo>
                  <a:lnTo>
                    <a:pt x="666" y="642"/>
                  </a:lnTo>
                  <a:lnTo>
                    <a:pt x="666" y="644"/>
                  </a:lnTo>
                  <a:lnTo>
                    <a:pt x="668" y="648"/>
                  </a:lnTo>
                  <a:lnTo>
                    <a:pt x="672" y="654"/>
                  </a:lnTo>
                  <a:lnTo>
                    <a:pt x="674" y="658"/>
                  </a:lnTo>
                  <a:lnTo>
                    <a:pt x="678" y="668"/>
                  </a:lnTo>
                  <a:lnTo>
                    <a:pt x="680" y="668"/>
                  </a:lnTo>
                  <a:lnTo>
                    <a:pt x="680" y="674"/>
                  </a:lnTo>
                  <a:lnTo>
                    <a:pt x="682" y="676"/>
                  </a:lnTo>
                  <a:lnTo>
                    <a:pt x="678" y="680"/>
                  </a:lnTo>
                  <a:lnTo>
                    <a:pt x="678" y="682"/>
                  </a:lnTo>
                  <a:lnTo>
                    <a:pt x="674" y="688"/>
                  </a:lnTo>
                  <a:lnTo>
                    <a:pt x="670" y="690"/>
                  </a:lnTo>
                  <a:lnTo>
                    <a:pt x="668" y="692"/>
                  </a:lnTo>
                  <a:lnTo>
                    <a:pt x="666" y="694"/>
                  </a:lnTo>
                  <a:lnTo>
                    <a:pt x="666" y="702"/>
                  </a:lnTo>
                  <a:lnTo>
                    <a:pt x="666" y="704"/>
                  </a:lnTo>
                  <a:lnTo>
                    <a:pt x="666" y="708"/>
                  </a:lnTo>
                  <a:lnTo>
                    <a:pt x="666" y="712"/>
                  </a:lnTo>
                  <a:lnTo>
                    <a:pt x="666" y="716"/>
                  </a:lnTo>
                  <a:lnTo>
                    <a:pt x="666" y="728"/>
                  </a:lnTo>
                  <a:lnTo>
                    <a:pt x="666" y="730"/>
                  </a:lnTo>
                  <a:lnTo>
                    <a:pt x="664" y="732"/>
                  </a:lnTo>
                  <a:lnTo>
                    <a:pt x="662" y="736"/>
                  </a:lnTo>
                  <a:lnTo>
                    <a:pt x="660" y="740"/>
                  </a:lnTo>
                  <a:lnTo>
                    <a:pt x="662" y="746"/>
                  </a:lnTo>
                  <a:lnTo>
                    <a:pt x="664" y="748"/>
                  </a:lnTo>
                  <a:lnTo>
                    <a:pt x="664" y="754"/>
                  </a:lnTo>
                  <a:lnTo>
                    <a:pt x="666" y="756"/>
                  </a:lnTo>
                  <a:lnTo>
                    <a:pt x="668" y="758"/>
                  </a:lnTo>
                  <a:lnTo>
                    <a:pt x="672" y="768"/>
                  </a:lnTo>
                  <a:lnTo>
                    <a:pt x="668" y="768"/>
                  </a:lnTo>
                  <a:lnTo>
                    <a:pt x="666" y="768"/>
                  </a:lnTo>
                  <a:lnTo>
                    <a:pt x="664" y="768"/>
                  </a:lnTo>
                  <a:lnTo>
                    <a:pt x="664" y="770"/>
                  </a:lnTo>
                  <a:lnTo>
                    <a:pt x="664" y="774"/>
                  </a:lnTo>
                  <a:lnTo>
                    <a:pt x="664" y="776"/>
                  </a:lnTo>
                  <a:lnTo>
                    <a:pt x="658" y="782"/>
                  </a:lnTo>
                  <a:lnTo>
                    <a:pt x="650" y="788"/>
                  </a:lnTo>
                  <a:lnTo>
                    <a:pt x="650" y="790"/>
                  </a:lnTo>
                  <a:lnTo>
                    <a:pt x="650" y="792"/>
                  </a:lnTo>
                  <a:lnTo>
                    <a:pt x="650" y="794"/>
                  </a:lnTo>
                  <a:lnTo>
                    <a:pt x="646" y="798"/>
                  </a:lnTo>
                  <a:lnTo>
                    <a:pt x="644" y="798"/>
                  </a:lnTo>
                  <a:lnTo>
                    <a:pt x="644" y="800"/>
                  </a:lnTo>
                  <a:lnTo>
                    <a:pt x="644" y="808"/>
                  </a:lnTo>
                  <a:lnTo>
                    <a:pt x="648" y="814"/>
                  </a:lnTo>
                  <a:lnTo>
                    <a:pt x="652" y="820"/>
                  </a:lnTo>
                  <a:lnTo>
                    <a:pt x="654" y="822"/>
                  </a:lnTo>
                  <a:lnTo>
                    <a:pt x="656" y="824"/>
                  </a:lnTo>
                  <a:lnTo>
                    <a:pt x="654" y="824"/>
                  </a:lnTo>
                  <a:lnTo>
                    <a:pt x="652" y="824"/>
                  </a:lnTo>
                  <a:lnTo>
                    <a:pt x="648" y="828"/>
                  </a:lnTo>
                  <a:lnTo>
                    <a:pt x="644" y="834"/>
                  </a:lnTo>
                  <a:lnTo>
                    <a:pt x="640" y="844"/>
                  </a:lnTo>
                  <a:lnTo>
                    <a:pt x="652" y="874"/>
                  </a:lnTo>
                  <a:lnTo>
                    <a:pt x="654" y="876"/>
                  </a:lnTo>
                  <a:lnTo>
                    <a:pt x="656" y="878"/>
                  </a:lnTo>
                  <a:lnTo>
                    <a:pt x="658" y="878"/>
                  </a:lnTo>
                  <a:lnTo>
                    <a:pt x="660" y="876"/>
                  </a:lnTo>
                  <a:lnTo>
                    <a:pt x="664" y="876"/>
                  </a:lnTo>
                  <a:lnTo>
                    <a:pt x="666" y="878"/>
                  </a:lnTo>
                  <a:lnTo>
                    <a:pt x="668" y="880"/>
                  </a:lnTo>
                  <a:lnTo>
                    <a:pt x="670" y="880"/>
                  </a:lnTo>
                  <a:lnTo>
                    <a:pt x="672" y="882"/>
                  </a:lnTo>
                  <a:lnTo>
                    <a:pt x="672" y="884"/>
                  </a:lnTo>
                  <a:lnTo>
                    <a:pt x="662" y="888"/>
                  </a:lnTo>
                  <a:lnTo>
                    <a:pt x="660" y="890"/>
                  </a:lnTo>
                  <a:lnTo>
                    <a:pt x="660" y="894"/>
                  </a:lnTo>
                  <a:lnTo>
                    <a:pt x="660" y="898"/>
                  </a:lnTo>
                  <a:lnTo>
                    <a:pt x="662" y="898"/>
                  </a:lnTo>
                  <a:lnTo>
                    <a:pt x="662" y="900"/>
                  </a:lnTo>
                  <a:lnTo>
                    <a:pt x="660" y="902"/>
                  </a:lnTo>
                  <a:lnTo>
                    <a:pt x="656" y="904"/>
                  </a:lnTo>
                  <a:lnTo>
                    <a:pt x="652" y="906"/>
                  </a:lnTo>
                  <a:lnTo>
                    <a:pt x="644" y="916"/>
                  </a:lnTo>
                  <a:lnTo>
                    <a:pt x="642" y="922"/>
                  </a:lnTo>
                  <a:lnTo>
                    <a:pt x="640" y="922"/>
                  </a:lnTo>
                  <a:lnTo>
                    <a:pt x="638" y="924"/>
                  </a:lnTo>
                  <a:lnTo>
                    <a:pt x="634" y="926"/>
                  </a:lnTo>
                  <a:lnTo>
                    <a:pt x="630" y="928"/>
                  </a:lnTo>
                  <a:lnTo>
                    <a:pt x="628" y="930"/>
                  </a:lnTo>
                  <a:lnTo>
                    <a:pt x="626" y="934"/>
                  </a:lnTo>
                  <a:lnTo>
                    <a:pt x="630" y="934"/>
                  </a:lnTo>
                  <a:lnTo>
                    <a:pt x="634" y="938"/>
                  </a:lnTo>
                  <a:lnTo>
                    <a:pt x="636" y="940"/>
                  </a:lnTo>
                  <a:lnTo>
                    <a:pt x="636" y="942"/>
                  </a:lnTo>
                  <a:lnTo>
                    <a:pt x="636" y="946"/>
                  </a:lnTo>
                  <a:lnTo>
                    <a:pt x="628" y="952"/>
                  </a:lnTo>
                  <a:lnTo>
                    <a:pt x="626" y="954"/>
                  </a:lnTo>
                  <a:lnTo>
                    <a:pt x="624" y="954"/>
                  </a:lnTo>
                  <a:lnTo>
                    <a:pt x="622" y="954"/>
                  </a:lnTo>
                  <a:lnTo>
                    <a:pt x="618" y="954"/>
                  </a:lnTo>
                  <a:lnTo>
                    <a:pt x="618" y="956"/>
                  </a:lnTo>
                  <a:lnTo>
                    <a:pt x="616" y="960"/>
                  </a:lnTo>
                  <a:lnTo>
                    <a:pt x="618" y="960"/>
                  </a:lnTo>
                  <a:lnTo>
                    <a:pt x="618" y="962"/>
                  </a:lnTo>
                  <a:lnTo>
                    <a:pt x="622" y="970"/>
                  </a:lnTo>
                  <a:lnTo>
                    <a:pt x="620" y="972"/>
                  </a:lnTo>
                  <a:lnTo>
                    <a:pt x="620" y="974"/>
                  </a:lnTo>
                  <a:lnTo>
                    <a:pt x="616" y="980"/>
                  </a:lnTo>
                  <a:lnTo>
                    <a:pt x="616" y="982"/>
                  </a:lnTo>
                  <a:lnTo>
                    <a:pt x="610" y="986"/>
                  </a:lnTo>
                  <a:lnTo>
                    <a:pt x="608" y="988"/>
                  </a:lnTo>
                  <a:lnTo>
                    <a:pt x="602" y="990"/>
                  </a:lnTo>
                  <a:lnTo>
                    <a:pt x="600" y="990"/>
                  </a:lnTo>
                  <a:lnTo>
                    <a:pt x="598" y="990"/>
                  </a:lnTo>
                  <a:lnTo>
                    <a:pt x="596" y="990"/>
                  </a:lnTo>
                  <a:lnTo>
                    <a:pt x="592" y="990"/>
                  </a:lnTo>
                  <a:lnTo>
                    <a:pt x="590" y="990"/>
                  </a:lnTo>
                  <a:lnTo>
                    <a:pt x="588" y="990"/>
                  </a:lnTo>
                  <a:lnTo>
                    <a:pt x="588" y="992"/>
                  </a:lnTo>
                  <a:lnTo>
                    <a:pt x="588" y="990"/>
                  </a:lnTo>
                  <a:lnTo>
                    <a:pt x="582" y="986"/>
                  </a:lnTo>
                  <a:lnTo>
                    <a:pt x="580" y="984"/>
                  </a:lnTo>
                  <a:lnTo>
                    <a:pt x="578" y="984"/>
                  </a:lnTo>
                  <a:lnTo>
                    <a:pt x="576" y="984"/>
                  </a:lnTo>
                  <a:lnTo>
                    <a:pt x="574" y="984"/>
                  </a:lnTo>
                  <a:lnTo>
                    <a:pt x="570" y="980"/>
                  </a:lnTo>
                  <a:lnTo>
                    <a:pt x="562" y="972"/>
                  </a:lnTo>
                  <a:lnTo>
                    <a:pt x="560" y="970"/>
                  </a:lnTo>
                  <a:lnTo>
                    <a:pt x="558" y="968"/>
                  </a:lnTo>
                  <a:lnTo>
                    <a:pt x="556" y="966"/>
                  </a:lnTo>
                  <a:lnTo>
                    <a:pt x="552" y="966"/>
                  </a:lnTo>
                  <a:lnTo>
                    <a:pt x="548" y="962"/>
                  </a:lnTo>
                  <a:lnTo>
                    <a:pt x="548" y="960"/>
                  </a:lnTo>
                  <a:lnTo>
                    <a:pt x="546" y="960"/>
                  </a:lnTo>
                  <a:lnTo>
                    <a:pt x="540" y="956"/>
                  </a:lnTo>
                  <a:lnTo>
                    <a:pt x="538" y="952"/>
                  </a:lnTo>
                  <a:lnTo>
                    <a:pt x="538" y="948"/>
                  </a:lnTo>
                  <a:lnTo>
                    <a:pt x="536" y="946"/>
                  </a:lnTo>
                  <a:lnTo>
                    <a:pt x="536" y="940"/>
                  </a:lnTo>
                  <a:lnTo>
                    <a:pt x="534" y="940"/>
                  </a:lnTo>
                  <a:lnTo>
                    <a:pt x="532" y="936"/>
                  </a:lnTo>
                  <a:lnTo>
                    <a:pt x="532" y="934"/>
                  </a:lnTo>
                  <a:lnTo>
                    <a:pt x="528" y="934"/>
                  </a:lnTo>
                  <a:lnTo>
                    <a:pt x="522" y="930"/>
                  </a:lnTo>
                  <a:lnTo>
                    <a:pt x="520" y="930"/>
                  </a:lnTo>
                  <a:lnTo>
                    <a:pt x="518" y="930"/>
                  </a:lnTo>
                  <a:lnTo>
                    <a:pt x="514" y="930"/>
                  </a:lnTo>
                  <a:lnTo>
                    <a:pt x="514" y="928"/>
                  </a:lnTo>
                  <a:lnTo>
                    <a:pt x="510" y="926"/>
                  </a:lnTo>
                  <a:lnTo>
                    <a:pt x="510" y="924"/>
                  </a:lnTo>
                  <a:lnTo>
                    <a:pt x="508" y="924"/>
                  </a:lnTo>
                  <a:lnTo>
                    <a:pt x="506" y="922"/>
                  </a:lnTo>
                  <a:lnTo>
                    <a:pt x="504" y="920"/>
                  </a:lnTo>
                  <a:lnTo>
                    <a:pt x="502" y="920"/>
                  </a:lnTo>
                  <a:lnTo>
                    <a:pt x="498" y="916"/>
                  </a:lnTo>
                  <a:lnTo>
                    <a:pt x="492" y="914"/>
                  </a:lnTo>
                  <a:lnTo>
                    <a:pt x="488" y="910"/>
                  </a:lnTo>
                  <a:lnTo>
                    <a:pt x="486" y="906"/>
                  </a:lnTo>
                  <a:lnTo>
                    <a:pt x="480" y="902"/>
                  </a:lnTo>
                  <a:lnTo>
                    <a:pt x="478" y="902"/>
                  </a:lnTo>
                  <a:lnTo>
                    <a:pt x="474" y="900"/>
                  </a:lnTo>
                  <a:lnTo>
                    <a:pt x="472" y="900"/>
                  </a:lnTo>
                  <a:lnTo>
                    <a:pt x="470" y="900"/>
                  </a:lnTo>
                  <a:lnTo>
                    <a:pt x="468" y="900"/>
                  </a:lnTo>
                  <a:lnTo>
                    <a:pt x="466" y="900"/>
                  </a:lnTo>
                  <a:lnTo>
                    <a:pt x="462" y="898"/>
                  </a:lnTo>
                  <a:lnTo>
                    <a:pt x="460" y="898"/>
                  </a:lnTo>
                  <a:lnTo>
                    <a:pt x="460" y="896"/>
                  </a:lnTo>
                  <a:lnTo>
                    <a:pt x="458" y="894"/>
                  </a:lnTo>
                  <a:lnTo>
                    <a:pt x="456" y="894"/>
                  </a:lnTo>
                  <a:lnTo>
                    <a:pt x="450" y="892"/>
                  </a:lnTo>
                  <a:lnTo>
                    <a:pt x="440" y="886"/>
                  </a:lnTo>
                  <a:lnTo>
                    <a:pt x="436" y="882"/>
                  </a:lnTo>
                  <a:lnTo>
                    <a:pt x="430" y="880"/>
                  </a:lnTo>
                  <a:lnTo>
                    <a:pt x="428" y="880"/>
                  </a:lnTo>
                  <a:lnTo>
                    <a:pt x="420" y="878"/>
                  </a:lnTo>
                  <a:lnTo>
                    <a:pt x="418" y="876"/>
                  </a:lnTo>
                  <a:lnTo>
                    <a:pt x="408" y="872"/>
                  </a:lnTo>
                  <a:lnTo>
                    <a:pt x="402" y="868"/>
                  </a:lnTo>
                  <a:lnTo>
                    <a:pt x="400" y="866"/>
                  </a:lnTo>
                  <a:lnTo>
                    <a:pt x="396" y="862"/>
                  </a:lnTo>
                  <a:lnTo>
                    <a:pt x="390" y="860"/>
                  </a:lnTo>
                  <a:lnTo>
                    <a:pt x="386" y="858"/>
                  </a:lnTo>
                  <a:lnTo>
                    <a:pt x="380" y="856"/>
                  </a:lnTo>
                  <a:lnTo>
                    <a:pt x="378" y="856"/>
                  </a:lnTo>
                  <a:lnTo>
                    <a:pt x="376" y="854"/>
                  </a:lnTo>
                  <a:lnTo>
                    <a:pt x="374" y="852"/>
                  </a:lnTo>
                  <a:lnTo>
                    <a:pt x="374" y="850"/>
                  </a:lnTo>
                  <a:lnTo>
                    <a:pt x="372" y="848"/>
                  </a:lnTo>
                  <a:lnTo>
                    <a:pt x="366" y="846"/>
                  </a:lnTo>
                  <a:lnTo>
                    <a:pt x="362" y="844"/>
                  </a:lnTo>
                  <a:lnTo>
                    <a:pt x="356" y="842"/>
                  </a:lnTo>
                  <a:lnTo>
                    <a:pt x="354" y="840"/>
                  </a:lnTo>
                  <a:lnTo>
                    <a:pt x="348" y="838"/>
                  </a:lnTo>
                  <a:lnTo>
                    <a:pt x="344" y="836"/>
                  </a:lnTo>
                  <a:lnTo>
                    <a:pt x="342" y="834"/>
                  </a:lnTo>
                  <a:lnTo>
                    <a:pt x="340" y="832"/>
                  </a:lnTo>
                  <a:lnTo>
                    <a:pt x="338" y="828"/>
                  </a:lnTo>
                  <a:lnTo>
                    <a:pt x="334" y="822"/>
                  </a:lnTo>
                  <a:lnTo>
                    <a:pt x="332" y="822"/>
                  </a:lnTo>
                  <a:lnTo>
                    <a:pt x="332" y="820"/>
                  </a:lnTo>
                  <a:lnTo>
                    <a:pt x="330" y="820"/>
                  </a:lnTo>
                  <a:lnTo>
                    <a:pt x="326" y="816"/>
                  </a:lnTo>
                  <a:lnTo>
                    <a:pt x="318" y="806"/>
                  </a:lnTo>
                  <a:lnTo>
                    <a:pt x="316" y="804"/>
                  </a:lnTo>
                  <a:lnTo>
                    <a:pt x="312" y="804"/>
                  </a:lnTo>
                  <a:lnTo>
                    <a:pt x="308" y="800"/>
                  </a:lnTo>
                  <a:lnTo>
                    <a:pt x="302" y="796"/>
                  </a:lnTo>
                  <a:lnTo>
                    <a:pt x="296" y="792"/>
                  </a:lnTo>
                  <a:lnTo>
                    <a:pt x="296" y="790"/>
                  </a:lnTo>
                  <a:lnTo>
                    <a:pt x="296" y="788"/>
                  </a:lnTo>
                  <a:lnTo>
                    <a:pt x="294" y="782"/>
                  </a:lnTo>
                  <a:lnTo>
                    <a:pt x="290" y="778"/>
                  </a:lnTo>
                  <a:lnTo>
                    <a:pt x="288" y="776"/>
                  </a:lnTo>
                  <a:lnTo>
                    <a:pt x="286" y="774"/>
                  </a:lnTo>
                  <a:lnTo>
                    <a:pt x="286" y="768"/>
                  </a:lnTo>
                  <a:lnTo>
                    <a:pt x="282" y="766"/>
                  </a:lnTo>
                  <a:lnTo>
                    <a:pt x="280" y="766"/>
                  </a:lnTo>
                  <a:lnTo>
                    <a:pt x="278" y="758"/>
                  </a:lnTo>
                  <a:lnTo>
                    <a:pt x="276" y="750"/>
                  </a:lnTo>
                  <a:lnTo>
                    <a:pt x="274" y="752"/>
                  </a:lnTo>
                  <a:lnTo>
                    <a:pt x="272" y="752"/>
                  </a:lnTo>
                  <a:lnTo>
                    <a:pt x="272" y="750"/>
                  </a:lnTo>
                  <a:lnTo>
                    <a:pt x="272" y="746"/>
                  </a:lnTo>
                  <a:lnTo>
                    <a:pt x="274" y="746"/>
                  </a:lnTo>
                  <a:lnTo>
                    <a:pt x="276" y="746"/>
                  </a:lnTo>
                  <a:lnTo>
                    <a:pt x="278" y="748"/>
                  </a:lnTo>
                  <a:lnTo>
                    <a:pt x="280" y="744"/>
                  </a:lnTo>
                  <a:lnTo>
                    <a:pt x="280" y="742"/>
                  </a:lnTo>
                  <a:lnTo>
                    <a:pt x="282" y="736"/>
                  </a:lnTo>
                  <a:lnTo>
                    <a:pt x="282" y="734"/>
                  </a:lnTo>
                  <a:lnTo>
                    <a:pt x="282" y="728"/>
                  </a:lnTo>
                  <a:lnTo>
                    <a:pt x="282" y="726"/>
                  </a:lnTo>
                  <a:lnTo>
                    <a:pt x="278" y="720"/>
                  </a:lnTo>
                  <a:lnTo>
                    <a:pt x="276" y="718"/>
                  </a:lnTo>
                  <a:lnTo>
                    <a:pt x="272" y="712"/>
                  </a:lnTo>
                  <a:lnTo>
                    <a:pt x="270" y="710"/>
                  </a:lnTo>
                  <a:lnTo>
                    <a:pt x="270" y="708"/>
                  </a:lnTo>
                  <a:lnTo>
                    <a:pt x="268" y="706"/>
                  </a:lnTo>
                  <a:lnTo>
                    <a:pt x="266" y="706"/>
                  </a:lnTo>
                  <a:lnTo>
                    <a:pt x="266" y="704"/>
                  </a:lnTo>
                  <a:lnTo>
                    <a:pt x="264" y="702"/>
                  </a:lnTo>
                  <a:lnTo>
                    <a:pt x="264" y="700"/>
                  </a:lnTo>
                  <a:lnTo>
                    <a:pt x="264" y="696"/>
                  </a:lnTo>
                  <a:lnTo>
                    <a:pt x="260" y="692"/>
                  </a:lnTo>
                  <a:lnTo>
                    <a:pt x="258" y="688"/>
                  </a:lnTo>
                  <a:lnTo>
                    <a:pt x="252" y="676"/>
                  </a:lnTo>
                  <a:lnTo>
                    <a:pt x="250" y="672"/>
                  </a:lnTo>
                  <a:lnTo>
                    <a:pt x="248" y="670"/>
                  </a:lnTo>
                  <a:lnTo>
                    <a:pt x="248" y="668"/>
                  </a:lnTo>
                  <a:lnTo>
                    <a:pt x="246" y="666"/>
                  </a:lnTo>
                  <a:lnTo>
                    <a:pt x="242" y="662"/>
                  </a:lnTo>
                  <a:lnTo>
                    <a:pt x="236" y="656"/>
                  </a:lnTo>
                  <a:lnTo>
                    <a:pt x="234" y="654"/>
                  </a:lnTo>
                  <a:lnTo>
                    <a:pt x="232" y="652"/>
                  </a:lnTo>
                  <a:lnTo>
                    <a:pt x="228" y="652"/>
                  </a:lnTo>
                  <a:lnTo>
                    <a:pt x="230" y="648"/>
                  </a:lnTo>
                  <a:lnTo>
                    <a:pt x="230" y="646"/>
                  </a:lnTo>
                  <a:lnTo>
                    <a:pt x="230" y="642"/>
                  </a:lnTo>
                  <a:lnTo>
                    <a:pt x="228" y="638"/>
                  </a:lnTo>
                  <a:lnTo>
                    <a:pt x="228" y="634"/>
                  </a:lnTo>
                  <a:lnTo>
                    <a:pt x="226" y="630"/>
                  </a:lnTo>
                  <a:lnTo>
                    <a:pt x="220" y="622"/>
                  </a:lnTo>
                  <a:lnTo>
                    <a:pt x="218" y="620"/>
                  </a:lnTo>
                  <a:lnTo>
                    <a:pt x="212" y="616"/>
                  </a:lnTo>
                  <a:lnTo>
                    <a:pt x="208" y="614"/>
                  </a:lnTo>
                  <a:lnTo>
                    <a:pt x="208" y="612"/>
                  </a:lnTo>
                  <a:lnTo>
                    <a:pt x="206" y="612"/>
                  </a:lnTo>
                  <a:lnTo>
                    <a:pt x="202" y="610"/>
                  </a:lnTo>
                  <a:lnTo>
                    <a:pt x="202" y="608"/>
                  </a:lnTo>
                  <a:lnTo>
                    <a:pt x="202" y="606"/>
                  </a:lnTo>
                  <a:lnTo>
                    <a:pt x="204" y="606"/>
                  </a:lnTo>
                  <a:lnTo>
                    <a:pt x="204" y="604"/>
                  </a:lnTo>
                  <a:lnTo>
                    <a:pt x="202" y="590"/>
                  </a:lnTo>
                  <a:lnTo>
                    <a:pt x="200" y="586"/>
                  </a:lnTo>
                  <a:lnTo>
                    <a:pt x="196" y="582"/>
                  </a:lnTo>
                  <a:lnTo>
                    <a:pt x="192" y="578"/>
                  </a:lnTo>
                  <a:lnTo>
                    <a:pt x="190" y="574"/>
                  </a:lnTo>
                  <a:lnTo>
                    <a:pt x="190" y="572"/>
                  </a:lnTo>
                  <a:lnTo>
                    <a:pt x="188" y="570"/>
                  </a:lnTo>
                  <a:lnTo>
                    <a:pt x="186" y="568"/>
                  </a:lnTo>
                  <a:lnTo>
                    <a:pt x="182" y="564"/>
                  </a:lnTo>
                  <a:lnTo>
                    <a:pt x="180" y="558"/>
                  </a:lnTo>
                  <a:lnTo>
                    <a:pt x="174" y="546"/>
                  </a:lnTo>
                  <a:lnTo>
                    <a:pt x="170" y="536"/>
                  </a:lnTo>
                  <a:lnTo>
                    <a:pt x="170" y="534"/>
                  </a:lnTo>
                  <a:lnTo>
                    <a:pt x="170" y="530"/>
                  </a:lnTo>
                  <a:lnTo>
                    <a:pt x="164" y="524"/>
                  </a:lnTo>
                  <a:lnTo>
                    <a:pt x="164" y="520"/>
                  </a:lnTo>
                  <a:lnTo>
                    <a:pt x="162" y="514"/>
                  </a:lnTo>
                  <a:lnTo>
                    <a:pt x="162" y="510"/>
                  </a:lnTo>
                  <a:lnTo>
                    <a:pt x="160" y="506"/>
                  </a:lnTo>
                  <a:lnTo>
                    <a:pt x="156" y="504"/>
                  </a:lnTo>
                  <a:lnTo>
                    <a:pt x="156" y="498"/>
                  </a:lnTo>
                  <a:lnTo>
                    <a:pt x="154" y="496"/>
                  </a:lnTo>
                  <a:lnTo>
                    <a:pt x="152" y="492"/>
                  </a:lnTo>
                  <a:lnTo>
                    <a:pt x="148" y="490"/>
                  </a:lnTo>
                  <a:lnTo>
                    <a:pt x="146" y="486"/>
                  </a:lnTo>
                  <a:lnTo>
                    <a:pt x="146" y="484"/>
                  </a:lnTo>
                  <a:lnTo>
                    <a:pt x="146" y="482"/>
                  </a:lnTo>
                  <a:lnTo>
                    <a:pt x="144" y="476"/>
                  </a:lnTo>
                  <a:lnTo>
                    <a:pt x="142" y="472"/>
                  </a:lnTo>
                  <a:lnTo>
                    <a:pt x="142" y="470"/>
                  </a:lnTo>
                  <a:lnTo>
                    <a:pt x="142" y="468"/>
                  </a:lnTo>
                  <a:lnTo>
                    <a:pt x="142" y="466"/>
                  </a:lnTo>
                  <a:lnTo>
                    <a:pt x="142" y="464"/>
                  </a:lnTo>
                  <a:lnTo>
                    <a:pt x="138" y="460"/>
                  </a:lnTo>
                  <a:lnTo>
                    <a:pt x="132" y="456"/>
                  </a:lnTo>
                  <a:lnTo>
                    <a:pt x="132" y="454"/>
                  </a:lnTo>
                  <a:lnTo>
                    <a:pt x="132" y="452"/>
                  </a:lnTo>
                  <a:lnTo>
                    <a:pt x="128" y="444"/>
                  </a:lnTo>
                  <a:lnTo>
                    <a:pt x="120" y="434"/>
                  </a:lnTo>
                  <a:lnTo>
                    <a:pt x="118" y="434"/>
                  </a:lnTo>
                  <a:lnTo>
                    <a:pt x="116" y="432"/>
                  </a:lnTo>
                  <a:lnTo>
                    <a:pt x="112" y="430"/>
                  </a:lnTo>
                  <a:lnTo>
                    <a:pt x="110" y="428"/>
                  </a:lnTo>
                  <a:lnTo>
                    <a:pt x="110" y="426"/>
                  </a:lnTo>
                  <a:lnTo>
                    <a:pt x="108" y="424"/>
                  </a:lnTo>
                  <a:lnTo>
                    <a:pt x="106" y="418"/>
                  </a:lnTo>
                  <a:lnTo>
                    <a:pt x="104" y="416"/>
                  </a:lnTo>
                  <a:lnTo>
                    <a:pt x="104" y="414"/>
                  </a:lnTo>
                  <a:lnTo>
                    <a:pt x="102" y="410"/>
                  </a:lnTo>
                  <a:lnTo>
                    <a:pt x="100" y="408"/>
                  </a:lnTo>
                  <a:lnTo>
                    <a:pt x="98" y="406"/>
                  </a:lnTo>
                  <a:lnTo>
                    <a:pt x="96" y="402"/>
                  </a:lnTo>
                  <a:lnTo>
                    <a:pt x="96" y="400"/>
                  </a:lnTo>
                  <a:lnTo>
                    <a:pt x="96" y="396"/>
                  </a:lnTo>
                  <a:lnTo>
                    <a:pt x="94" y="396"/>
                  </a:lnTo>
                  <a:lnTo>
                    <a:pt x="94" y="392"/>
                  </a:lnTo>
                  <a:lnTo>
                    <a:pt x="92" y="390"/>
                  </a:lnTo>
                  <a:lnTo>
                    <a:pt x="90" y="388"/>
                  </a:lnTo>
                  <a:lnTo>
                    <a:pt x="90" y="386"/>
                  </a:lnTo>
                  <a:lnTo>
                    <a:pt x="90" y="384"/>
                  </a:lnTo>
                  <a:lnTo>
                    <a:pt x="88" y="382"/>
                  </a:lnTo>
                  <a:lnTo>
                    <a:pt x="84" y="378"/>
                  </a:lnTo>
                  <a:lnTo>
                    <a:pt x="82" y="376"/>
                  </a:lnTo>
                  <a:lnTo>
                    <a:pt x="80" y="376"/>
                  </a:lnTo>
                  <a:lnTo>
                    <a:pt x="78" y="372"/>
                  </a:lnTo>
                  <a:lnTo>
                    <a:pt x="76" y="370"/>
                  </a:lnTo>
                  <a:lnTo>
                    <a:pt x="76" y="368"/>
                  </a:lnTo>
                  <a:lnTo>
                    <a:pt x="74" y="366"/>
                  </a:lnTo>
                  <a:lnTo>
                    <a:pt x="68" y="360"/>
                  </a:lnTo>
                  <a:lnTo>
                    <a:pt x="66" y="358"/>
                  </a:lnTo>
                  <a:lnTo>
                    <a:pt x="64" y="356"/>
                  </a:lnTo>
                  <a:lnTo>
                    <a:pt x="56" y="354"/>
                  </a:lnTo>
                  <a:lnTo>
                    <a:pt x="50" y="350"/>
                  </a:lnTo>
                  <a:lnTo>
                    <a:pt x="46" y="346"/>
                  </a:lnTo>
                  <a:lnTo>
                    <a:pt x="44" y="346"/>
                  </a:lnTo>
                  <a:lnTo>
                    <a:pt x="42" y="344"/>
                  </a:lnTo>
                  <a:lnTo>
                    <a:pt x="40" y="344"/>
                  </a:lnTo>
                  <a:lnTo>
                    <a:pt x="38" y="342"/>
                  </a:lnTo>
                  <a:lnTo>
                    <a:pt x="26" y="336"/>
                  </a:lnTo>
                  <a:lnTo>
                    <a:pt x="16" y="332"/>
                  </a:lnTo>
                  <a:lnTo>
                    <a:pt x="12" y="330"/>
                  </a:lnTo>
                  <a:lnTo>
                    <a:pt x="10" y="328"/>
                  </a:lnTo>
                  <a:lnTo>
                    <a:pt x="8" y="324"/>
                  </a:lnTo>
                  <a:lnTo>
                    <a:pt x="8" y="322"/>
                  </a:lnTo>
                  <a:lnTo>
                    <a:pt x="10" y="318"/>
                  </a:lnTo>
                  <a:lnTo>
                    <a:pt x="12" y="316"/>
                  </a:lnTo>
                  <a:lnTo>
                    <a:pt x="14" y="314"/>
                  </a:lnTo>
                  <a:lnTo>
                    <a:pt x="16" y="314"/>
                  </a:lnTo>
                  <a:lnTo>
                    <a:pt x="18" y="316"/>
                  </a:lnTo>
                  <a:lnTo>
                    <a:pt x="20" y="316"/>
                  </a:lnTo>
                  <a:lnTo>
                    <a:pt x="22" y="316"/>
                  </a:lnTo>
                  <a:lnTo>
                    <a:pt x="24" y="316"/>
                  </a:lnTo>
                  <a:lnTo>
                    <a:pt x="24" y="314"/>
                  </a:lnTo>
                  <a:lnTo>
                    <a:pt x="26" y="312"/>
                  </a:lnTo>
                  <a:lnTo>
                    <a:pt x="26" y="310"/>
                  </a:lnTo>
                  <a:lnTo>
                    <a:pt x="26" y="308"/>
                  </a:lnTo>
                  <a:lnTo>
                    <a:pt x="26" y="304"/>
                  </a:lnTo>
                  <a:lnTo>
                    <a:pt x="24" y="298"/>
                  </a:lnTo>
                  <a:lnTo>
                    <a:pt x="24" y="296"/>
                  </a:lnTo>
                  <a:lnTo>
                    <a:pt x="22" y="294"/>
                  </a:lnTo>
                  <a:lnTo>
                    <a:pt x="20" y="292"/>
                  </a:lnTo>
                  <a:lnTo>
                    <a:pt x="16" y="288"/>
                  </a:lnTo>
                  <a:lnTo>
                    <a:pt x="14" y="286"/>
                  </a:lnTo>
                  <a:lnTo>
                    <a:pt x="12" y="286"/>
                  </a:lnTo>
                  <a:lnTo>
                    <a:pt x="8" y="280"/>
                  </a:lnTo>
                  <a:lnTo>
                    <a:pt x="10" y="274"/>
                  </a:lnTo>
                  <a:lnTo>
                    <a:pt x="10" y="272"/>
                  </a:lnTo>
                  <a:lnTo>
                    <a:pt x="14" y="272"/>
                  </a:lnTo>
                  <a:lnTo>
                    <a:pt x="14" y="268"/>
                  </a:lnTo>
                  <a:lnTo>
                    <a:pt x="12" y="268"/>
                  </a:lnTo>
                  <a:lnTo>
                    <a:pt x="8" y="262"/>
                  </a:lnTo>
                  <a:lnTo>
                    <a:pt x="0" y="254"/>
                  </a:lnTo>
                  <a:lnTo>
                    <a:pt x="0" y="252"/>
                  </a:lnTo>
                  <a:lnTo>
                    <a:pt x="0" y="250"/>
                  </a:lnTo>
                  <a:lnTo>
                    <a:pt x="2" y="246"/>
                  </a:lnTo>
                  <a:lnTo>
                    <a:pt x="4" y="236"/>
                  </a:lnTo>
                  <a:lnTo>
                    <a:pt x="4" y="234"/>
                  </a:lnTo>
                  <a:lnTo>
                    <a:pt x="2" y="232"/>
                  </a:lnTo>
                  <a:lnTo>
                    <a:pt x="4" y="230"/>
                  </a:lnTo>
                  <a:lnTo>
                    <a:pt x="12" y="222"/>
                  </a:lnTo>
                  <a:lnTo>
                    <a:pt x="16" y="220"/>
                  </a:lnTo>
                  <a:lnTo>
                    <a:pt x="18" y="216"/>
                  </a:lnTo>
                  <a:lnTo>
                    <a:pt x="18" y="214"/>
                  </a:lnTo>
                  <a:lnTo>
                    <a:pt x="22" y="212"/>
                  </a:lnTo>
                  <a:lnTo>
                    <a:pt x="24" y="210"/>
                  </a:lnTo>
                  <a:lnTo>
                    <a:pt x="26" y="208"/>
                  </a:lnTo>
                  <a:lnTo>
                    <a:pt x="26" y="206"/>
                  </a:lnTo>
                  <a:lnTo>
                    <a:pt x="26" y="204"/>
                  </a:lnTo>
                  <a:lnTo>
                    <a:pt x="28" y="202"/>
                  </a:lnTo>
                  <a:lnTo>
                    <a:pt x="34" y="198"/>
                  </a:lnTo>
                  <a:lnTo>
                    <a:pt x="36" y="196"/>
                  </a:lnTo>
                  <a:lnTo>
                    <a:pt x="40" y="194"/>
                  </a:lnTo>
                  <a:lnTo>
                    <a:pt x="42" y="192"/>
                  </a:lnTo>
                  <a:lnTo>
                    <a:pt x="42" y="190"/>
                  </a:lnTo>
                  <a:lnTo>
                    <a:pt x="44" y="188"/>
                  </a:lnTo>
                  <a:lnTo>
                    <a:pt x="46" y="188"/>
                  </a:lnTo>
                  <a:lnTo>
                    <a:pt x="48" y="188"/>
                  </a:lnTo>
                  <a:lnTo>
                    <a:pt x="50" y="188"/>
                  </a:lnTo>
                  <a:lnTo>
                    <a:pt x="52" y="188"/>
                  </a:lnTo>
                  <a:lnTo>
                    <a:pt x="52" y="186"/>
                  </a:lnTo>
                  <a:lnTo>
                    <a:pt x="54" y="186"/>
                  </a:lnTo>
                  <a:lnTo>
                    <a:pt x="54" y="184"/>
                  </a:lnTo>
                  <a:lnTo>
                    <a:pt x="54" y="182"/>
                  </a:lnTo>
                  <a:lnTo>
                    <a:pt x="58" y="184"/>
                  </a:lnTo>
                  <a:lnTo>
                    <a:pt x="60" y="188"/>
                  </a:lnTo>
                  <a:lnTo>
                    <a:pt x="60" y="194"/>
                  </a:lnTo>
                  <a:lnTo>
                    <a:pt x="62" y="196"/>
                  </a:lnTo>
                  <a:lnTo>
                    <a:pt x="62" y="200"/>
                  </a:lnTo>
                  <a:lnTo>
                    <a:pt x="64" y="208"/>
                  </a:lnTo>
                  <a:lnTo>
                    <a:pt x="64" y="210"/>
                  </a:lnTo>
                  <a:lnTo>
                    <a:pt x="56" y="216"/>
                  </a:lnTo>
                  <a:lnTo>
                    <a:pt x="54" y="216"/>
                  </a:lnTo>
                  <a:lnTo>
                    <a:pt x="52" y="214"/>
                  </a:lnTo>
                  <a:lnTo>
                    <a:pt x="50" y="214"/>
                  </a:lnTo>
                  <a:lnTo>
                    <a:pt x="48" y="214"/>
                  </a:lnTo>
                  <a:lnTo>
                    <a:pt x="46" y="218"/>
                  </a:lnTo>
                  <a:lnTo>
                    <a:pt x="46" y="222"/>
                  </a:lnTo>
                  <a:lnTo>
                    <a:pt x="46" y="224"/>
                  </a:lnTo>
                  <a:lnTo>
                    <a:pt x="48" y="226"/>
                  </a:lnTo>
                  <a:lnTo>
                    <a:pt x="48" y="228"/>
                  </a:lnTo>
                  <a:lnTo>
                    <a:pt x="50" y="226"/>
                  </a:lnTo>
                  <a:lnTo>
                    <a:pt x="52" y="226"/>
                  </a:lnTo>
                  <a:lnTo>
                    <a:pt x="54" y="226"/>
                  </a:lnTo>
                  <a:lnTo>
                    <a:pt x="52" y="230"/>
                  </a:lnTo>
                  <a:lnTo>
                    <a:pt x="50" y="232"/>
                  </a:lnTo>
                  <a:lnTo>
                    <a:pt x="46" y="236"/>
                  </a:lnTo>
                  <a:lnTo>
                    <a:pt x="46" y="238"/>
                  </a:lnTo>
                  <a:lnTo>
                    <a:pt x="48" y="238"/>
                  </a:lnTo>
                  <a:lnTo>
                    <a:pt x="50" y="240"/>
                  </a:lnTo>
                  <a:lnTo>
                    <a:pt x="52" y="242"/>
                  </a:lnTo>
                  <a:lnTo>
                    <a:pt x="54" y="240"/>
                  </a:lnTo>
                  <a:lnTo>
                    <a:pt x="58" y="236"/>
                  </a:lnTo>
                  <a:lnTo>
                    <a:pt x="60" y="234"/>
                  </a:lnTo>
                  <a:lnTo>
                    <a:pt x="62" y="234"/>
                  </a:lnTo>
                  <a:lnTo>
                    <a:pt x="64" y="232"/>
                  </a:lnTo>
                  <a:lnTo>
                    <a:pt x="66" y="230"/>
                  </a:lnTo>
                  <a:lnTo>
                    <a:pt x="68" y="232"/>
                  </a:lnTo>
                  <a:lnTo>
                    <a:pt x="70" y="232"/>
                  </a:lnTo>
                  <a:lnTo>
                    <a:pt x="72" y="234"/>
                  </a:lnTo>
                  <a:lnTo>
                    <a:pt x="82" y="240"/>
                  </a:lnTo>
                  <a:lnTo>
                    <a:pt x="84" y="242"/>
                  </a:lnTo>
                  <a:lnTo>
                    <a:pt x="90" y="240"/>
                  </a:lnTo>
                  <a:lnTo>
                    <a:pt x="90" y="238"/>
                  </a:lnTo>
                  <a:lnTo>
                    <a:pt x="92" y="238"/>
                  </a:lnTo>
                  <a:lnTo>
                    <a:pt x="92" y="240"/>
                  </a:lnTo>
                  <a:lnTo>
                    <a:pt x="98" y="244"/>
                  </a:lnTo>
                  <a:lnTo>
                    <a:pt x="98" y="246"/>
                  </a:lnTo>
                  <a:lnTo>
                    <a:pt x="98" y="250"/>
                  </a:lnTo>
                  <a:lnTo>
                    <a:pt x="102" y="256"/>
                  </a:lnTo>
                  <a:lnTo>
                    <a:pt x="104" y="258"/>
                  </a:lnTo>
                  <a:lnTo>
                    <a:pt x="108" y="264"/>
                  </a:lnTo>
                  <a:lnTo>
                    <a:pt x="112" y="268"/>
                  </a:lnTo>
                  <a:lnTo>
                    <a:pt x="114" y="268"/>
                  </a:lnTo>
                  <a:lnTo>
                    <a:pt x="116" y="268"/>
                  </a:lnTo>
                  <a:lnTo>
                    <a:pt x="118" y="268"/>
                  </a:lnTo>
                  <a:lnTo>
                    <a:pt x="122" y="268"/>
                  </a:lnTo>
                  <a:lnTo>
                    <a:pt x="124" y="270"/>
                  </a:lnTo>
                  <a:lnTo>
                    <a:pt x="126" y="270"/>
                  </a:lnTo>
                  <a:lnTo>
                    <a:pt x="126" y="268"/>
                  </a:lnTo>
                  <a:lnTo>
                    <a:pt x="130" y="262"/>
                  </a:lnTo>
                  <a:lnTo>
                    <a:pt x="132" y="258"/>
                  </a:lnTo>
                  <a:lnTo>
                    <a:pt x="132" y="254"/>
                  </a:lnTo>
                  <a:lnTo>
                    <a:pt x="134" y="252"/>
                  </a:lnTo>
                  <a:lnTo>
                    <a:pt x="136" y="250"/>
                  </a:lnTo>
                  <a:lnTo>
                    <a:pt x="138" y="248"/>
                  </a:lnTo>
                  <a:lnTo>
                    <a:pt x="140" y="248"/>
                  </a:lnTo>
                  <a:lnTo>
                    <a:pt x="142" y="248"/>
                  </a:lnTo>
                  <a:lnTo>
                    <a:pt x="142" y="246"/>
                  </a:lnTo>
                  <a:lnTo>
                    <a:pt x="144" y="246"/>
                  </a:lnTo>
                  <a:lnTo>
                    <a:pt x="146" y="246"/>
                  </a:lnTo>
                  <a:lnTo>
                    <a:pt x="146" y="240"/>
                  </a:lnTo>
                  <a:lnTo>
                    <a:pt x="146" y="238"/>
                  </a:lnTo>
                  <a:lnTo>
                    <a:pt x="146" y="234"/>
                  </a:lnTo>
                  <a:lnTo>
                    <a:pt x="144" y="234"/>
                  </a:lnTo>
                  <a:lnTo>
                    <a:pt x="144" y="232"/>
                  </a:lnTo>
                  <a:lnTo>
                    <a:pt x="146" y="232"/>
                  </a:lnTo>
                  <a:lnTo>
                    <a:pt x="146" y="230"/>
                  </a:lnTo>
                  <a:lnTo>
                    <a:pt x="150" y="220"/>
                  </a:lnTo>
                  <a:lnTo>
                    <a:pt x="150" y="218"/>
                  </a:lnTo>
                  <a:lnTo>
                    <a:pt x="150" y="216"/>
                  </a:lnTo>
                  <a:lnTo>
                    <a:pt x="150" y="214"/>
                  </a:lnTo>
                  <a:lnTo>
                    <a:pt x="152" y="212"/>
                  </a:lnTo>
                  <a:lnTo>
                    <a:pt x="152" y="210"/>
                  </a:lnTo>
                  <a:lnTo>
                    <a:pt x="156" y="206"/>
                  </a:lnTo>
                  <a:lnTo>
                    <a:pt x="158" y="204"/>
                  </a:lnTo>
                  <a:lnTo>
                    <a:pt x="158" y="202"/>
                  </a:lnTo>
                  <a:lnTo>
                    <a:pt x="160" y="200"/>
                  </a:lnTo>
                  <a:lnTo>
                    <a:pt x="160" y="198"/>
                  </a:lnTo>
                  <a:lnTo>
                    <a:pt x="160" y="196"/>
                  </a:lnTo>
                  <a:lnTo>
                    <a:pt x="162" y="192"/>
                  </a:lnTo>
                  <a:lnTo>
                    <a:pt x="160" y="190"/>
                  </a:lnTo>
                  <a:lnTo>
                    <a:pt x="162" y="188"/>
                  </a:lnTo>
                  <a:lnTo>
                    <a:pt x="162" y="186"/>
                  </a:lnTo>
                  <a:lnTo>
                    <a:pt x="162" y="184"/>
                  </a:lnTo>
                  <a:lnTo>
                    <a:pt x="164" y="184"/>
                  </a:lnTo>
                  <a:lnTo>
                    <a:pt x="164" y="182"/>
                  </a:lnTo>
                  <a:lnTo>
                    <a:pt x="166" y="182"/>
                  </a:lnTo>
                  <a:lnTo>
                    <a:pt x="166" y="184"/>
                  </a:lnTo>
                  <a:lnTo>
                    <a:pt x="166" y="188"/>
                  </a:lnTo>
                  <a:lnTo>
                    <a:pt x="170" y="186"/>
                  </a:lnTo>
                  <a:lnTo>
                    <a:pt x="172" y="184"/>
                  </a:lnTo>
                  <a:lnTo>
                    <a:pt x="170" y="182"/>
                  </a:lnTo>
                  <a:lnTo>
                    <a:pt x="168" y="180"/>
                  </a:lnTo>
                  <a:lnTo>
                    <a:pt x="170" y="180"/>
                  </a:lnTo>
                  <a:lnTo>
                    <a:pt x="170" y="178"/>
                  </a:lnTo>
                  <a:lnTo>
                    <a:pt x="172" y="176"/>
                  </a:lnTo>
                  <a:lnTo>
                    <a:pt x="174" y="176"/>
                  </a:lnTo>
                  <a:lnTo>
                    <a:pt x="178" y="172"/>
                  </a:lnTo>
                  <a:lnTo>
                    <a:pt x="178" y="170"/>
                  </a:lnTo>
                  <a:lnTo>
                    <a:pt x="184" y="162"/>
                  </a:lnTo>
                  <a:lnTo>
                    <a:pt x="188" y="160"/>
                  </a:lnTo>
                  <a:lnTo>
                    <a:pt x="190" y="160"/>
                  </a:lnTo>
                  <a:lnTo>
                    <a:pt x="192" y="160"/>
                  </a:lnTo>
                  <a:lnTo>
                    <a:pt x="210" y="152"/>
                  </a:lnTo>
                  <a:lnTo>
                    <a:pt x="222" y="148"/>
                  </a:lnTo>
                  <a:lnTo>
                    <a:pt x="232" y="144"/>
                  </a:lnTo>
                  <a:lnTo>
                    <a:pt x="240" y="142"/>
                  </a:lnTo>
                  <a:lnTo>
                    <a:pt x="254" y="138"/>
                  </a:lnTo>
                  <a:lnTo>
                    <a:pt x="266" y="126"/>
                  </a:lnTo>
                  <a:lnTo>
                    <a:pt x="284" y="114"/>
                  </a:lnTo>
                  <a:lnTo>
                    <a:pt x="290" y="106"/>
                  </a:lnTo>
                  <a:lnTo>
                    <a:pt x="300" y="94"/>
                  </a:lnTo>
                  <a:lnTo>
                    <a:pt x="304" y="90"/>
                  </a:lnTo>
                  <a:lnTo>
                    <a:pt x="310" y="84"/>
                  </a:lnTo>
                  <a:lnTo>
                    <a:pt x="312" y="82"/>
                  </a:lnTo>
                  <a:lnTo>
                    <a:pt x="312" y="80"/>
                  </a:lnTo>
                  <a:lnTo>
                    <a:pt x="316" y="66"/>
                  </a:lnTo>
                  <a:lnTo>
                    <a:pt x="318" y="60"/>
                  </a:lnTo>
                  <a:lnTo>
                    <a:pt x="318" y="56"/>
                  </a:lnTo>
                  <a:lnTo>
                    <a:pt x="320" y="54"/>
                  </a:lnTo>
                  <a:lnTo>
                    <a:pt x="320" y="48"/>
                  </a:lnTo>
                  <a:lnTo>
                    <a:pt x="322" y="50"/>
                  </a:lnTo>
                  <a:lnTo>
                    <a:pt x="324" y="50"/>
                  </a:lnTo>
                  <a:lnTo>
                    <a:pt x="326" y="50"/>
                  </a:lnTo>
                  <a:lnTo>
                    <a:pt x="330" y="50"/>
                  </a:lnTo>
                  <a:lnTo>
                    <a:pt x="328" y="42"/>
                  </a:lnTo>
                  <a:lnTo>
                    <a:pt x="328" y="38"/>
                  </a:lnTo>
                  <a:lnTo>
                    <a:pt x="328" y="34"/>
                  </a:lnTo>
                  <a:lnTo>
                    <a:pt x="328" y="32"/>
                  </a:lnTo>
                  <a:lnTo>
                    <a:pt x="330" y="32"/>
                  </a:lnTo>
                  <a:lnTo>
                    <a:pt x="330" y="28"/>
                  </a:lnTo>
                  <a:lnTo>
                    <a:pt x="328" y="26"/>
                  </a:lnTo>
                  <a:lnTo>
                    <a:pt x="324" y="24"/>
                  </a:lnTo>
                  <a:lnTo>
                    <a:pt x="322" y="22"/>
                  </a:lnTo>
                  <a:lnTo>
                    <a:pt x="320" y="20"/>
                  </a:lnTo>
                  <a:lnTo>
                    <a:pt x="320" y="18"/>
                  </a:lnTo>
                  <a:lnTo>
                    <a:pt x="318" y="16"/>
                  </a:lnTo>
                  <a:lnTo>
                    <a:pt x="318" y="14"/>
                  </a:lnTo>
                  <a:lnTo>
                    <a:pt x="316" y="10"/>
                  </a:lnTo>
                  <a:lnTo>
                    <a:pt x="312" y="8"/>
                  </a:lnTo>
                  <a:lnTo>
                    <a:pt x="310" y="8"/>
                  </a:lnTo>
                  <a:lnTo>
                    <a:pt x="310" y="4"/>
                  </a:lnTo>
                  <a:lnTo>
                    <a:pt x="314" y="4"/>
                  </a:lnTo>
                  <a:lnTo>
                    <a:pt x="316" y="6"/>
                  </a:lnTo>
                  <a:lnTo>
                    <a:pt x="320" y="8"/>
                  </a:lnTo>
                  <a:lnTo>
                    <a:pt x="324" y="6"/>
                  </a:lnTo>
                  <a:lnTo>
                    <a:pt x="326" y="6"/>
                  </a:lnTo>
                  <a:lnTo>
                    <a:pt x="328" y="4"/>
                  </a:lnTo>
                  <a:lnTo>
                    <a:pt x="330" y="4"/>
                  </a:lnTo>
                  <a:lnTo>
                    <a:pt x="330" y="2"/>
                  </a:lnTo>
                  <a:lnTo>
                    <a:pt x="332" y="0"/>
                  </a:lnTo>
                  <a:lnTo>
                    <a:pt x="336" y="0"/>
                  </a:lnTo>
                  <a:lnTo>
                    <a:pt x="342" y="4"/>
                  </a:lnTo>
                  <a:lnTo>
                    <a:pt x="346" y="8"/>
                  </a:lnTo>
                  <a:lnTo>
                    <a:pt x="350" y="10"/>
                  </a:lnTo>
                  <a:lnTo>
                    <a:pt x="352" y="10"/>
                  </a:lnTo>
                  <a:lnTo>
                    <a:pt x="354" y="10"/>
                  </a:lnTo>
                  <a:lnTo>
                    <a:pt x="356" y="12"/>
                  </a:lnTo>
                  <a:lnTo>
                    <a:pt x="358" y="12"/>
                  </a:lnTo>
                  <a:lnTo>
                    <a:pt x="358" y="14"/>
                  </a:lnTo>
                  <a:lnTo>
                    <a:pt x="358" y="16"/>
                  </a:lnTo>
                  <a:lnTo>
                    <a:pt x="358" y="18"/>
                  </a:lnTo>
                  <a:lnTo>
                    <a:pt x="362" y="20"/>
                  </a:lnTo>
                  <a:lnTo>
                    <a:pt x="364" y="18"/>
                  </a:lnTo>
                  <a:lnTo>
                    <a:pt x="366" y="20"/>
                  </a:lnTo>
                  <a:lnTo>
                    <a:pt x="376" y="28"/>
                  </a:lnTo>
                  <a:lnTo>
                    <a:pt x="376" y="30"/>
                  </a:lnTo>
                  <a:lnTo>
                    <a:pt x="378" y="32"/>
                  </a:lnTo>
                  <a:lnTo>
                    <a:pt x="378" y="36"/>
                  </a:lnTo>
                  <a:lnTo>
                    <a:pt x="380" y="40"/>
                  </a:lnTo>
                  <a:lnTo>
                    <a:pt x="382" y="42"/>
                  </a:lnTo>
                  <a:lnTo>
                    <a:pt x="384" y="44"/>
                  </a:lnTo>
                  <a:lnTo>
                    <a:pt x="382" y="46"/>
                  </a:lnTo>
                  <a:lnTo>
                    <a:pt x="382" y="48"/>
                  </a:lnTo>
                  <a:lnTo>
                    <a:pt x="384" y="50"/>
                  </a:lnTo>
                  <a:lnTo>
                    <a:pt x="384" y="52"/>
                  </a:lnTo>
                  <a:lnTo>
                    <a:pt x="386" y="54"/>
                  </a:lnTo>
                  <a:lnTo>
                    <a:pt x="392" y="56"/>
                  </a:lnTo>
                  <a:lnTo>
                    <a:pt x="404" y="64"/>
                  </a:lnTo>
                  <a:lnTo>
                    <a:pt x="406" y="66"/>
                  </a:lnTo>
                  <a:lnTo>
                    <a:pt x="410" y="68"/>
                  </a:lnTo>
                  <a:lnTo>
                    <a:pt x="412" y="68"/>
                  </a:lnTo>
                  <a:lnTo>
                    <a:pt x="416" y="68"/>
                  </a:lnTo>
                  <a:lnTo>
                    <a:pt x="422" y="72"/>
                  </a:lnTo>
                  <a:lnTo>
                    <a:pt x="422" y="76"/>
                  </a:lnTo>
                  <a:lnTo>
                    <a:pt x="422" y="78"/>
                  </a:lnTo>
                  <a:lnTo>
                    <a:pt x="424" y="82"/>
                  </a:lnTo>
                  <a:lnTo>
                    <a:pt x="426" y="86"/>
                  </a:lnTo>
                  <a:lnTo>
                    <a:pt x="424" y="88"/>
                  </a:lnTo>
                  <a:lnTo>
                    <a:pt x="424" y="92"/>
                  </a:lnTo>
                  <a:lnTo>
                    <a:pt x="424" y="94"/>
                  </a:lnTo>
                  <a:lnTo>
                    <a:pt x="428" y="96"/>
                  </a:lnTo>
                  <a:lnTo>
                    <a:pt x="436" y="100"/>
                  </a:lnTo>
                  <a:lnTo>
                    <a:pt x="438" y="98"/>
                  </a:lnTo>
                  <a:lnTo>
                    <a:pt x="440" y="96"/>
                  </a:lnTo>
                  <a:lnTo>
                    <a:pt x="444" y="98"/>
                  </a:lnTo>
                  <a:lnTo>
                    <a:pt x="446" y="102"/>
                  </a:lnTo>
                  <a:lnTo>
                    <a:pt x="448" y="114"/>
                  </a:lnTo>
                  <a:lnTo>
                    <a:pt x="446" y="118"/>
                  </a:lnTo>
                  <a:lnTo>
                    <a:pt x="446" y="120"/>
                  </a:lnTo>
                  <a:lnTo>
                    <a:pt x="444" y="120"/>
                  </a:lnTo>
                  <a:lnTo>
                    <a:pt x="444" y="124"/>
                  </a:lnTo>
                  <a:lnTo>
                    <a:pt x="446" y="124"/>
                  </a:lnTo>
                  <a:lnTo>
                    <a:pt x="446" y="126"/>
                  </a:lnTo>
                  <a:lnTo>
                    <a:pt x="450" y="128"/>
                  </a:lnTo>
                  <a:lnTo>
                    <a:pt x="452" y="128"/>
                  </a:lnTo>
                  <a:lnTo>
                    <a:pt x="454" y="128"/>
                  </a:lnTo>
                  <a:lnTo>
                    <a:pt x="456" y="130"/>
                  </a:lnTo>
                  <a:lnTo>
                    <a:pt x="458" y="134"/>
                  </a:lnTo>
                  <a:lnTo>
                    <a:pt x="460" y="132"/>
                  </a:lnTo>
                  <a:lnTo>
                    <a:pt x="468" y="130"/>
                  </a:lnTo>
                  <a:lnTo>
                    <a:pt x="474" y="128"/>
                  </a:lnTo>
                  <a:lnTo>
                    <a:pt x="480" y="130"/>
                  </a:lnTo>
                  <a:lnTo>
                    <a:pt x="488" y="132"/>
                  </a:lnTo>
                  <a:lnTo>
                    <a:pt x="494" y="134"/>
                  </a:lnTo>
                  <a:lnTo>
                    <a:pt x="502" y="128"/>
                  </a:lnTo>
                  <a:lnTo>
                    <a:pt x="506" y="126"/>
                  </a:lnTo>
                  <a:lnTo>
                    <a:pt x="508" y="126"/>
                  </a:lnTo>
                  <a:lnTo>
                    <a:pt x="512" y="126"/>
                  </a:lnTo>
                  <a:lnTo>
                    <a:pt x="512" y="124"/>
                  </a:lnTo>
                  <a:lnTo>
                    <a:pt x="516" y="118"/>
                  </a:lnTo>
                  <a:lnTo>
                    <a:pt x="520" y="114"/>
                  </a:lnTo>
                  <a:lnTo>
                    <a:pt x="522" y="114"/>
                  </a:lnTo>
                  <a:lnTo>
                    <a:pt x="522" y="116"/>
                  </a:lnTo>
                  <a:lnTo>
                    <a:pt x="522" y="118"/>
                  </a:lnTo>
                  <a:lnTo>
                    <a:pt x="528" y="120"/>
                  </a:lnTo>
                  <a:lnTo>
                    <a:pt x="532" y="120"/>
                  </a:lnTo>
                  <a:lnTo>
                    <a:pt x="536" y="122"/>
                  </a:lnTo>
                  <a:lnTo>
                    <a:pt x="540" y="124"/>
                  </a:lnTo>
                  <a:lnTo>
                    <a:pt x="550" y="126"/>
                  </a:lnTo>
                  <a:lnTo>
                    <a:pt x="554" y="124"/>
                  </a:lnTo>
                  <a:lnTo>
                    <a:pt x="560" y="122"/>
                  </a:lnTo>
                  <a:lnTo>
                    <a:pt x="568" y="118"/>
                  </a:lnTo>
                  <a:lnTo>
                    <a:pt x="578" y="126"/>
                  </a:lnTo>
                  <a:lnTo>
                    <a:pt x="578" y="128"/>
                  </a:lnTo>
                  <a:lnTo>
                    <a:pt x="582" y="132"/>
                  </a:lnTo>
                  <a:lnTo>
                    <a:pt x="592" y="134"/>
                  </a:lnTo>
                  <a:lnTo>
                    <a:pt x="594" y="134"/>
                  </a:lnTo>
                  <a:lnTo>
                    <a:pt x="596" y="132"/>
                  </a:lnTo>
                  <a:lnTo>
                    <a:pt x="598" y="134"/>
                  </a:lnTo>
                  <a:lnTo>
                    <a:pt x="602" y="138"/>
                  </a:lnTo>
                  <a:lnTo>
                    <a:pt x="602" y="140"/>
                  </a:lnTo>
                  <a:lnTo>
                    <a:pt x="604" y="142"/>
                  </a:lnTo>
                  <a:lnTo>
                    <a:pt x="606" y="144"/>
                  </a:lnTo>
                  <a:lnTo>
                    <a:pt x="608" y="144"/>
                  </a:lnTo>
                  <a:lnTo>
                    <a:pt x="610" y="146"/>
                  </a:lnTo>
                  <a:lnTo>
                    <a:pt x="590" y="176"/>
                  </a:lnTo>
                  <a:lnTo>
                    <a:pt x="588" y="180"/>
                  </a:lnTo>
                  <a:lnTo>
                    <a:pt x="582" y="190"/>
                  </a:lnTo>
                  <a:lnTo>
                    <a:pt x="580" y="194"/>
                  </a:lnTo>
                  <a:lnTo>
                    <a:pt x="576" y="198"/>
                  </a:lnTo>
                  <a:lnTo>
                    <a:pt x="574" y="202"/>
                  </a:lnTo>
                  <a:lnTo>
                    <a:pt x="580" y="206"/>
                  </a:lnTo>
                  <a:lnTo>
                    <a:pt x="584" y="206"/>
                  </a:lnTo>
                  <a:lnTo>
                    <a:pt x="586" y="206"/>
                  </a:lnTo>
                  <a:lnTo>
                    <a:pt x="588" y="206"/>
                  </a:lnTo>
                  <a:lnTo>
                    <a:pt x="590" y="204"/>
                  </a:lnTo>
                  <a:lnTo>
                    <a:pt x="594" y="202"/>
                  </a:lnTo>
                  <a:lnTo>
                    <a:pt x="594" y="204"/>
                  </a:lnTo>
                  <a:lnTo>
                    <a:pt x="596" y="204"/>
                  </a:lnTo>
                  <a:lnTo>
                    <a:pt x="600" y="208"/>
                  </a:lnTo>
                  <a:lnTo>
                    <a:pt x="604" y="212"/>
                  </a:lnTo>
                  <a:lnTo>
                    <a:pt x="604" y="214"/>
                  </a:lnTo>
                  <a:lnTo>
                    <a:pt x="606" y="216"/>
                  </a:lnTo>
                  <a:lnTo>
                    <a:pt x="606" y="218"/>
                  </a:lnTo>
                  <a:lnTo>
                    <a:pt x="610" y="222"/>
                  </a:lnTo>
                  <a:lnTo>
                    <a:pt x="612" y="222"/>
                  </a:lnTo>
                  <a:lnTo>
                    <a:pt x="614" y="224"/>
                  </a:lnTo>
                  <a:lnTo>
                    <a:pt x="616" y="226"/>
                  </a:lnTo>
                  <a:lnTo>
                    <a:pt x="616" y="228"/>
                  </a:lnTo>
                  <a:lnTo>
                    <a:pt x="616" y="230"/>
                  </a:lnTo>
                  <a:lnTo>
                    <a:pt x="614" y="232"/>
                  </a:lnTo>
                  <a:lnTo>
                    <a:pt x="612" y="234"/>
                  </a:lnTo>
                  <a:lnTo>
                    <a:pt x="602" y="232"/>
                  </a:lnTo>
                  <a:lnTo>
                    <a:pt x="600" y="230"/>
                  </a:lnTo>
                  <a:lnTo>
                    <a:pt x="596" y="228"/>
                  </a:lnTo>
                  <a:lnTo>
                    <a:pt x="598" y="226"/>
                  </a:lnTo>
                  <a:lnTo>
                    <a:pt x="596" y="224"/>
                  </a:lnTo>
                  <a:lnTo>
                    <a:pt x="596" y="222"/>
                  </a:lnTo>
                  <a:lnTo>
                    <a:pt x="590" y="222"/>
                  </a:lnTo>
                  <a:lnTo>
                    <a:pt x="588" y="222"/>
                  </a:lnTo>
                  <a:lnTo>
                    <a:pt x="586" y="224"/>
                  </a:lnTo>
                  <a:lnTo>
                    <a:pt x="582" y="226"/>
                  </a:lnTo>
                  <a:lnTo>
                    <a:pt x="580" y="224"/>
                  </a:lnTo>
                  <a:lnTo>
                    <a:pt x="572" y="222"/>
                  </a:lnTo>
                  <a:lnTo>
                    <a:pt x="570" y="224"/>
                  </a:lnTo>
                  <a:lnTo>
                    <a:pt x="568" y="224"/>
                  </a:lnTo>
                  <a:lnTo>
                    <a:pt x="566" y="228"/>
                  </a:lnTo>
                  <a:lnTo>
                    <a:pt x="566" y="230"/>
                  </a:lnTo>
                  <a:lnTo>
                    <a:pt x="562" y="234"/>
                  </a:lnTo>
                  <a:lnTo>
                    <a:pt x="556" y="234"/>
                  </a:lnTo>
                  <a:lnTo>
                    <a:pt x="550" y="234"/>
                  </a:lnTo>
                  <a:lnTo>
                    <a:pt x="544" y="234"/>
                  </a:lnTo>
                  <a:lnTo>
                    <a:pt x="538" y="238"/>
                  </a:lnTo>
                  <a:lnTo>
                    <a:pt x="524" y="242"/>
                  </a:lnTo>
                  <a:lnTo>
                    <a:pt x="520" y="242"/>
                  </a:lnTo>
                  <a:lnTo>
                    <a:pt x="518" y="240"/>
                  </a:lnTo>
                  <a:lnTo>
                    <a:pt x="512" y="242"/>
                  </a:lnTo>
                  <a:lnTo>
                    <a:pt x="510" y="242"/>
                  </a:lnTo>
                  <a:lnTo>
                    <a:pt x="504" y="248"/>
                  </a:lnTo>
                  <a:lnTo>
                    <a:pt x="498" y="252"/>
                  </a:lnTo>
                  <a:lnTo>
                    <a:pt x="492" y="254"/>
                  </a:lnTo>
                  <a:lnTo>
                    <a:pt x="492" y="256"/>
                  </a:lnTo>
                  <a:lnTo>
                    <a:pt x="490" y="256"/>
                  </a:lnTo>
                  <a:lnTo>
                    <a:pt x="488" y="256"/>
                  </a:lnTo>
                  <a:lnTo>
                    <a:pt x="484" y="256"/>
                  </a:lnTo>
                  <a:lnTo>
                    <a:pt x="484" y="258"/>
                  </a:lnTo>
                  <a:lnTo>
                    <a:pt x="484" y="260"/>
                  </a:lnTo>
                  <a:lnTo>
                    <a:pt x="484" y="262"/>
                  </a:lnTo>
                  <a:lnTo>
                    <a:pt x="478" y="266"/>
                  </a:lnTo>
                  <a:lnTo>
                    <a:pt x="472" y="270"/>
                  </a:lnTo>
                  <a:lnTo>
                    <a:pt x="464" y="272"/>
                  </a:lnTo>
                  <a:lnTo>
                    <a:pt x="462" y="274"/>
                  </a:lnTo>
                  <a:lnTo>
                    <a:pt x="458" y="276"/>
                  </a:lnTo>
                  <a:lnTo>
                    <a:pt x="456" y="278"/>
                  </a:lnTo>
                  <a:lnTo>
                    <a:pt x="456" y="286"/>
                  </a:lnTo>
                  <a:lnTo>
                    <a:pt x="454" y="292"/>
                  </a:lnTo>
                  <a:lnTo>
                    <a:pt x="454" y="294"/>
                  </a:lnTo>
                  <a:lnTo>
                    <a:pt x="454" y="296"/>
                  </a:lnTo>
                  <a:lnTo>
                    <a:pt x="454" y="298"/>
                  </a:lnTo>
                  <a:lnTo>
                    <a:pt x="454" y="304"/>
                  </a:lnTo>
                  <a:lnTo>
                    <a:pt x="452" y="308"/>
                  </a:lnTo>
                  <a:lnTo>
                    <a:pt x="448" y="312"/>
                  </a:lnTo>
                  <a:lnTo>
                    <a:pt x="446" y="314"/>
                  </a:lnTo>
                  <a:lnTo>
                    <a:pt x="444" y="316"/>
                  </a:lnTo>
                  <a:lnTo>
                    <a:pt x="440" y="324"/>
                  </a:lnTo>
                  <a:lnTo>
                    <a:pt x="440" y="326"/>
                  </a:lnTo>
                  <a:lnTo>
                    <a:pt x="440" y="328"/>
                  </a:lnTo>
                  <a:lnTo>
                    <a:pt x="440" y="330"/>
                  </a:lnTo>
                  <a:lnTo>
                    <a:pt x="442" y="336"/>
                  </a:lnTo>
                  <a:lnTo>
                    <a:pt x="444" y="344"/>
                  </a:lnTo>
                  <a:lnTo>
                    <a:pt x="444" y="346"/>
                  </a:lnTo>
                  <a:lnTo>
                    <a:pt x="442" y="350"/>
                  </a:lnTo>
                  <a:lnTo>
                    <a:pt x="440" y="352"/>
                  </a:lnTo>
                  <a:lnTo>
                    <a:pt x="440" y="354"/>
                  </a:lnTo>
                  <a:lnTo>
                    <a:pt x="436" y="354"/>
                  </a:lnTo>
                  <a:lnTo>
                    <a:pt x="434" y="354"/>
                  </a:lnTo>
                  <a:lnTo>
                    <a:pt x="432" y="354"/>
                  </a:lnTo>
                  <a:lnTo>
                    <a:pt x="420" y="364"/>
                  </a:lnTo>
                  <a:lnTo>
                    <a:pt x="414" y="366"/>
                  </a:lnTo>
                  <a:lnTo>
                    <a:pt x="410" y="370"/>
                  </a:lnTo>
                  <a:lnTo>
                    <a:pt x="410" y="372"/>
                  </a:lnTo>
                  <a:lnTo>
                    <a:pt x="408" y="382"/>
                  </a:lnTo>
                  <a:lnTo>
                    <a:pt x="408" y="384"/>
                  </a:lnTo>
                  <a:lnTo>
                    <a:pt x="410" y="384"/>
                  </a:lnTo>
                  <a:lnTo>
                    <a:pt x="412" y="388"/>
                  </a:lnTo>
                  <a:lnTo>
                    <a:pt x="414" y="394"/>
                  </a:lnTo>
                  <a:lnTo>
                    <a:pt x="412" y="396"/>
                  </a:lnTo>
                  <a:lnTo>
                    <a:pt x="402" y="396"/>
                  </a:lnTo>
                  <a:lnTo>
                    <a:pt x="402" y="400"/>
                  </a:lnTo>
                  <a:lnTo>
                    <a:pt x="400" y="406"/>
                  </a:lnTo>
                  <a:lnTo>
                    <a:pt x="398" y="406"/>
                  </a:lnTo>
                  <a:lnTo>
                    <a:pt x="398" y="408"/>
                  </a:lnTo>
                  <a:lnTo>
                    <a:pt x="402" y="410"/>
                  </a:lnTo>
                  <a:lnTo>
                    <a:pt x="404" y="414"/>
                  </a:lnTo>
                  <a:lnTo>
                    <a:pt x="404" y="416"/>
                  </a:lnTo>
                  <a:lnTo>
                    <a:pt x="406" y="416"/>
                  </a:lnTo>
                  <a:lnTo>
                    <a:pt x="410" y="418"/>
                  </a:lnTo>
                  <a:lnTo>
                    <a:pt x="412" y="418"/>
                  </a:lnTo>
                  <a:lnTo>
                    <a:pt x="414" y="418"/>
                  </a:lnTo>
                  <a:lnTo>
                    <a:pt x="414" y="420"/>
                  </a:lnTo>
                  <a:lnTo>
                    <a:pt x="414" y="422"/>
                  </a:lnTo>
                  <a:lnTo>
                    <a:pt x="412" y="424"/>
                  </a:lnTo>
                  <a:lnTo>
                    <a:pt x="410" y="424"/>
                  </a:lnTo>
                  <a:lnTo>
                    <a:pt x="410" y="428"/>
                  </a:lnTo>
                  <a:lnTo>
                    <a:pt x="410" y="430"/>
                  </a:lnTo>
                  <a:lnTo>
                    <a:pt x="412" y="430"/>
                  </a:lnTo>
                  <a:lnTo>
                    <a:pt x="416" y="432"/>
                  </a:lnTo>
                  <a:lnTo>
                    <a:pt x="420" y="438"/>
                  </a:lnTo>
                  <a:lnTo>
                    <a:pt x="422" y="444"/>
                  </a:lnTo>
                  <a:lnTo>
                    <a:pt x="422" y="448"/>
                  </a:lnTo>
                  <a:lnTo>
                    <a:pt x="422" y="450"/>
                  </a:lnTo>
                  <a:lnTo>
                    <a:pt x="426" y="454"/>
                  </a:lnTo>
                  <a:lnTo>
                    <a:pt x="430" y="456"/>
                  </a:lnTo>
                  <a:lnTo>
                    <a:pt x="432" y="464"/>
                  </a:lnTo>
                  <a:lnTo>
                    <a:pt x="436" y="468"/>
                  </a:lnTo>
                  <a:lnTo>
                    <a:pt x="438" y="468"/>
                  </a:lnTo>
                  <a:lnTo>
                    <a:pt x="440" y="468"/>
                  </a:lnTo>
                  <a:lnTo>
                    <a:pt x="440" y="470"/>
                  </a:lnTo>
                  <a:lnTo>
                    <a:pt x="442" y="470"/>
                  </a:lnTo>
                  <a:lnTo>
                    <a:pt x="442" y="472"/>
                  </a:lnTo>
                  <a:lnTo>
                    <a:pt x="444" y="472"/>
                  </a:lnTo>
                  <a:lnTo>
                    <a:pt x="444" y="474"/>
                  </a:lnTo>
                  <a:lnTo>
                    <a:pt x="448" y="480"/>
                  </a:lnTo>
                  <a:lnTo>
                    <a:pt x="450" y="482"/>
                  </a:lnTo>
                  <a:lnTo>
                    <a:pt x="454" y="484"/>
                  </a:lnTo>
                  <a:lnTo>
                    <a:pt x="454" y="488"/>
                  </a:lnTo>
                  <a:lnTo>
                    <a:pt x="454" y="490"/>
                  </a:lnTo>
                  <a:lnTo>
                    <a:pt x="454" y="492"/>
                  </a:lnTo>
                  <a:lnTo>
                    <a:pt x="450" y="496"/>
                  </a:lnTo>
                  <a:lnTo>
                    <a:pt x="444" y="502"/>
                  </a:lnTo>
                  <a:lnTo>
                    <a:pt x="442" y="504"/>
                  </a:lnTo>
                  <a:lnTo>
                    <a:pt x="440" y="506"/>
                  </a:lnTo>
                  <a:lnTo>
                    <a:pt x="440" y="508"/>
                  </a:lnTo>
                  <a:lnTo>
                    <a:pt x="452" y="508"/>
                  </a:lnTo>
                  <a:lnTo>
                    <a:pt x="458" y="508"/>
                  </a:lnTo>
                  <a:lnTo>
                    <a:pt x="460" y="508"/>
                  </a:lnTo>
                  <a:lnTo>
                    <a:pt x="466" y="508"/>
                  </a:lnTo>
                  <a:lnTo>
                    <a:pt x="472" y="510"/>
                  </a:lnTo>
                  <a:lnTo>
                    <a:pt x="484" y="510"/>
                  </a:lnTo>
                  <a:lnTo>
                    <a:pt x="484" y="512"/>
                  </a:lnTo>
                  <a:lnTo>
                    <a:pt x="488" y="514"/>
                  </a:lnTo>
                  <a:lnTo>
                    <a:pt x="492" y="520"/>
                  </a:lnTo>
                  <a:lnTo>
                    <a:pt x="492" y="522"/>
                  </a:lnTo>
                  <a:lnTo>
                    <a:pt x="490" y="526"/>
                  </a:lnTo>
                  <a:lnTo>
                    <a:pt x="492" y="526"/>
                  </a:lnTo>
                  <a:lnTo>
                    <a:pt x="492" y="528"/>
                  </a:lnTo>
                  <a:lnTo>
                    <a:pt x="496" y="530"/>
                  </a:lnTo>
                  <a:lnTo>
                    <a:pt x="496" y="532"/>
                  </a:lnTo>
                  <a:lnTo>
                    <a:pt x="496" y="536"/>
                  </a:lnTo>
                  <a:lnTo>
                    <a:pt x="496" y="540"/>
                  </a:lnTo>
                  <a:lnTo>
                    <a:pt x="502" y="540"/>
                  </a:lnTo>
                  <a:lnTo>
                    <a:pt x="504" y="540"/>
                  </a:lnTo>
                  <a:lnTo>
                    <a:pt x="506" y="540"/>
                  </a:lnTo>
                  <a:lnTo>
                    <a:pt x="508" y="540"/>
                  </a:lnTo>
                  <a:lnTo>
                    <a:pt x="524" y="540"/>
                  </a:lnTo>
                  <a:lnTo>
                    <a:pt x="534" y="540"/>
                  </a:lnTo>
                  <a:lnTo>
                    <a:pt x="538" y="540"/>
                  </a:lnTo>
                  <a:lnTo>
                    <a:pt x="542" y="540"/>
                  </a:lnTo>
                  <a:lnTo>
                    <a:pt x="550" y="536"/>
                  </a:lnTo>
                  <a:lnTo>
                    <a:pt x="550" y="534"/>
                  </a:lnTo>
                  <a:lnTo>
                    <a:pt x="550" y="532"/>
                  </a:lnTo>
                  <a:lnTo>
                    <a:pt x="558" y="530"/>
                  </a:lnTo>
                  <a:lnTo>
                    <a:pt x="560" y="528"/>
                  </a:lnTo>
                  <a:lnTo>
                    <a:pt x="566" y="522"/>
                  </a:lnTo>
                  <a:lnTo>
                    <a:pt x="568" y="520"/>
                  </a:lnTo>
                  <a:lnTo>
                    <a:pt x="570" y="518"/>
                  </a:lnTo>
                  <a:lnTo>
                    <a:pt x="578" y="512"/>
                  </a:lnTo>
                  <a:lnTo>
                    <a:pt x="580" y="510"/>
                  </a:lnTo>
                  <a:lnTo>
                    <a:pt x="582" y="510"/>
                  </a:lnTo>
                  <a:lnTo>
                    <a:pt x="584" y="508"/>
                  </a:lnTo>
                  <a:lnTo>
                    <a:pt x="584" y="512"/>
                  </a:lnTo>
                  <a:lnTo>
                    <a:pt x="582" y="514"/>
                  </a:lnTo>
                  <a:lnTo>
                    <a:pt x="580" y="516"/>
                  </a:lnTo>
                  <a:lnTo>
                    <a:pt x="580" y="520"/>
                  </a:lnTo>
                  <a:lnTo>
                    <a:pt x="580" y="528"/>
                  </a:lnTo>
                  <a:lnTo>
                    <a:pt x="580" y="530"/>
                  </a:lnTo>
                  <a:lnTo>
                    <a:pt x="578" y="530"/>
                  </a:lnTo>
                  <a:lnTo>
                    <a:pt x="578" y="534"/>
                  </a:lnTo>
                  <a:lnTo>
                    <a:pt x="578" y="536"/>
                  </a:lnTo>
                  <a:lnTo>
                    <a:pt x="578" y="544"/>
                  </a:lnTo>
                  <a:lnTo>
                    <a:pt x="578" y="550"/>
                  </a:lnTo>
                  <a:lnTo>
                    <a:pt x="578" y="558"/>
                  </a:lnTo>
                  <a:lnTo>
                    <a:pt x="578" y="572"/>
                  </a:lnTo>
                  <a:lnTo>
                    <a:pt x="578" y="582"/>
                  </a:lnTo>
                  <a:lnTo>
                    <a:pt x="578" y="588"/>
                  </a:lnTo>
                  <a:lnTo>
                    <a:pt x="578" y="592"/>
                  </a:lnTo>
                  <a:lnTo>
                    <a:pt x="578" y="594"/>
                  </a:lnTo>
                  <a:lnTo>
                    <a:pt x="580" y="592"/>
                  </a:lnTo>
                  <a:lnTo>
                    <a:pt x="584" y="590"/>
                  </a:lnTo>
                  <a:lnTo>
                    <a:pt x="586" y="590"/>
                  </a:lnTo>
                  <a:lnTo>
                    <a:pt x="586" y="592"/>
                  </a:lnTo>
                  <a:lnTo>
                    <a:pt x="588" y="594"/>
                  </a:lnTo>
                  <a:lnTo>
                    <a:pt x="588" y="596"/>
                  </a:lnTo>
                  <a:lnTo>
                    <a:pt x="590" y="596"/>
                  </a:lnTo>
                  <a:lnTo>
                    <a:pt x="592" y="598"/>
                  </a:lnTo>
                  <a:lnTo>
                    <a:pt x="594" y="598"/>
                  </a:lnTo>
                  <a:lnTo>
                    <a:pt x="600" y="596"/>
                  </a:lnTo>
                  <a:lnTo>
                    <a:pt x="602" y="596"/>
                  </a:lnTo>
                  <a:lnTo>
                    <a:pt x="604" y="596"/>
                  </a:lnTo>
                  <a:lnTo>
                    <a:pt x="608" y="592"/>
                  </a:lnTo>
                  <a:lnTo>
                    <a:pt x="612" y="590"/>
                  </a:lnTo>
                  <a:lnTo>
                    <a:pt x="614" y="590"/>
                  </a:lnTo>
                  <a:lnTo>
                    <a:pt x="616" y="588"/>
                  </a:lnTo>
                  <a:lnTo>
                    <a:pt x="624" y="590"/>
                  </a:lnTo>
                  <a:lnTo>
                    <a:pt x="626" y="592"/>
                  </a:lnTo>
                  <a:lnTo>
                    <a:pt x="628" y="592"/>
                  </a:lnTo>
                  <a:lnTo>
                    <a:pt x="630" y="592"/>
                  </a:lnTo>
                  <a:lnTo>
                    <a:pt x="634" y="59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29" name="Freeform 2091"/>
            <p:cNvSpPr>
              <a:spLocks/>
            </p:cNvSpPr>
            <p:nvPr/>
          </p:nvSpPr>
          <p:spPr bwMode="auto">
            <a:xfrm>
              <a:off x="3878170" y="3106842"/>
              <a:ext cx="844982" cy="951269"/>
            </a:xfrm>
            <a:custGeom>
              <a:avLst/>
              <a:gdLst/>
              <a:ahLst/>
              <a:cxnLst>
                <a:cxn ang="0">
                  <a:pos x="368" y="656"/>
                </a:cxn>
                <a:cxn ang="0">
                  <a:pos x="350" y="670"/>
                </a:cxn>
                <a:cxn ang="0">
                  <a:pos x="282" y="692"/>
                </a:cxn>
                <a:cxn ang="0">
                  <a:pos x="272" y="714"/>
                </a:cxn>
                <a:cxn ang="0">
                  <a:pos x="266" y="700"/>
                </a:cxn>
                <a:cxn ang="0">
                  <a:pos x="206" y="674"/>
                </a:cxn>
                <a:cxn ang="0">
                  <a:pos x="172" y="662"/>
                </a:cxn>
                <a:cxn ang="0">
                  <a:pos x="150" y="678"/>
                </a:cxn>
                <a:cxn ang="0">
                  <a:pos x="128" y="706"/>
                </a:cxn>
                <a:cxn ang="0">
                  <a:pos x="88" y="690"/>
                </a:cxn>
                <a:cxn ang="0">
                  <a:pos x="80" y="660"/>
                </a:cxn>
                <a:cxn ang="0">
                  <a:pos x="62" y="608"/>
                </a:cxn>
                <a:cxn ang="0">
                  <a:pos x="60" y="592"/>
                </a:cxn>
                <a:cxn ang="0">
                  <a:pos x="46" y="578"/>
                </a:cxn>
                <a:cxn ang="0">
                  <a:pos x="58" y="554"/>
                </a:cxn>
                <a:cxn ang="0">
                  <a:pos x="60" y="524"/>
                </a:cxn>
                <a:cxn ang="0">
                  <a:pos x="38" y="498"/>
                </a:cxn>
                <a:cxn ang="0">
                  <a:pos x="32" y="472"/>
                </a:cxn>
                <a:cxn ang="0">
                  <a:pos x="32" y="452"/>
                </a:cxn>
                <a:cxn ang="0">
                  <a:pos x="18" y="436"/>
                </a:cxn>
                <a:cxn ang="0">
                  <a:pos x="2" y="406"/>
                </a:cxn>
                <a:cxn ang="0">
                  <a:pos x="34" y="378"/>
                </a:cxn>
                <a:cxn ang="0">
                  <a:pos x="44" y="356"/>
                </a:cxn>
                <a:cxn ang="0">
                  <a:pos x="14" y="320"/>
                </a:cxn>
                <a:cxn ang="0">
                  <a:pos x="18" y="284"/>
                </a:cxn>
                <a:cxn ang="0">
                  <a:pos x="38" y="252"/>
                </a:cxn>
                <a:cxn ang="0">
                  <a:pos x="38" y="230"/>
                </a:cxn>
                <a:cxn ang="0">
                  <a:pos x="40" y="188"/>
                </a:cxn>
                <a:cxn ang="0">
                  <a:pos x="52" y="156"/>
                </a:cxn>
                <a:cxn ang="0">
                  <a:pos x="40" y="118"/>
                </a:cxn>
                <a:cxn ang="0">
                  <a:pos x="8" y="66"/>
                </a:cxn>
                <a:cxn ang="0">
                  <a:pos x="52" y="78"/>
                </a:cxn>
                <a:cxn ang="0">
                  <a:pos x="76" y="70"/>
                </a:cxn>
                <a:cxn ang="0">
                  <a:pos x="102" y="52"/>
                </a:cxn>
                <a:cxn ang="0">
                  <a:pos x="122" y="40"/>
                </a:cxn>
                <a:cxn ang="0">
                  <a:pos x="150" y="24"/>
                </a:cxn>
                <a:cxn ang="0">
                  <a:pos x="180" y="8"/>
                </a:cxn>
                <a:cxn ang="0">
                  <a:pos x="226" y="4"/>
                </a:cxn>
                <a:cxn ang="0">
                  <a:pos x="236" y="20"/>
                </a:cxn>
                <a:cxn ang="0">
                  <a:pos x="230" y="42"/>
                </a:cxn>
                <a:cxn ang="0">
                  <a:pos x="232" y="86"/>
                </a:cxn>
                <a:cxn ang="0">
                  <a:pos x="242" y="112"/>
                </a:cxn>
                <a:cxn ang="0">
                  <a:pos x="260" y="126"/>
                </a:cxn>
                <a:cxn ang="0">
                  <a:pos x="284" y="152"/>
                </a:cxn>
                <a:cxn ang="0">
                  <a:pos x="312" y="152"/>
                </a:cxn>
                <a:cxn ang="0">
                  <a:pos x="348" y="162"/>
                </a:cxn>
                <a:cxn ang="0">
                  <a:pos x="370" y="182"/>
                </a:cxn>
                <a:cxn ang="0">
                  <a:pos x="400" y="188"/>
                </a:cxn>
                <a:cxn ang="0">
                  <a:pos x="418" y="210"/>
                </a:cxn>
                <a:cxn ang="0">
                  <a:pos x="464" y="214"/>
                </a:cxn>
                <a:cxn ang="0">
                  <a:pos x="490" y="244"/>
                </a:cxn>
                <a:cxn ang="0">
                  <a:pos x="498" y="298"/>
                </a:cxn>
                <a:cxn ang="0">
                  <a:pos x="534" y="364"/>
                </a:cxn>
                <a:cxn ang="0">
                  <a:pos x="598" y="370"/>
                </a:cxn>
                <a:cxn ang="0">
                  <a:pos x="590" y="400"/>
                </a:cxn>
                <a:cxn ang="0">
                  <a:pos x="596" y="420"/>
                </a:cxn>
                <a:cxn ang="0">
                  <a:pos x="618" y="430"/>
                </a:cxn>
                <a:cxn ang="0">
                  <a:pos x="626" y="450"/>
                </a:cxn>
                <a:cxn ang="0">
                  <a:pos x="624" y="516"/>
                </a:cxn>
                <a:cxn ang="0">
                  <a:pos x="612" y="566"/>
                </a:cxn>
                <a:cxn ang="0">
                  <a:pos x="592" y="556"/>
                </a:cxn>
                <a:cxn ang="0">
                  <a:pos x="500" y="528"/>
                </a:cxn>
                <a:cxn ang="0">
                  <a:pos x="404" y="558"/>
                </a:cxn>
              </a:cxnLst>
              <a:rect l="0" t="0" r="r" b="b"/>
              <a:pathLst>
                <a:path w="636" h="716">
                  <a:moveTo>
                    <a:pt x="386" y="588"/>
                  </a:moveTo>
                  <a:lnTo>
                    <a:pt x="382" y="594"/>
                  </a:lnTo>
                  <a:lnTo>
                    <a:pt x="382" y="596"/>
                  </a:lnTo>
                  <a:lnTo>
                    <a:pt x="382" y="602"/>
                  </a:lnTo>
                  <a:lnTo>
                    <a:pt x="382" y="606"/>
                  </a:lnTo>
                  <a:lnTo>
                    <a:pt x="382" y="616"/>
                  </a:lnTo>
                  <a:lnTo>
                    <a:pt x="382" y="620"/>
                  </a:lnTo>
                  <a:lnTo>
                    <a:pt x="374" y="640"/>
                  </a:lnTo>
                  <a:lnTo>
                    <a:pt x="368" y="656"/>
                  </a:lnTo>
                  <a:lnTo>
                    <a:pt x="368" y="658"/>
                  </a:lnTo>
                  <a:lnTo>
                    <a:pt x="366" y="664"/>
                  </a:lnTo>
                  <a:lnTo>
                    <a:pt x="362" y="678"/>
                  </a:lnTo>
                  <a:lnTo>
                    <a:pt x="358" y="684"/>
                  </a:lnTo>
                  <a:lnTo>
                    <a:pt x="352" y="680"/>
                  </a:lnTo>
                  <a:lnTo>
                    <a:pt x="350" y="676"/>
                  </a:lnTo>
                  <a:lnTo>
                    <a:pt x="350" y="674"/>
                  </a:lnTo>
                  <a:lnTo>
                    <a:pt x="350" y="672"/>
                  </a:lnTo>
                  <a:lnTo>
                    <a:pt x="350" y="670"/>
                  </a:lnTo>
                  <a:lnTo>
                    <a:pt x="346" y="670"/>
                  </a:lnTo>
                  <a:lnTo>
                    <a:pt x="334" y="670"/>
                  </a:lnTo>
                  <a:lnTo>
                    <a:pt x="310" y="670"/>
                  </a:lnTo>
                  <a:lnTo>
                    <a:pt x="306" y="670"/>
                  </a:lnTo>
                  <a:lnTo>
                    <a:pt x="302" y="670"/>
                  </a:lnTo>
                  <a:lnTo>
                    <a:pt x="292" y="668"/>
                  </a:lnTo>
                  <a:lnTo>
                    <a:pt x="290" y="674"/>
                  </a:lnTo>
                  <a:lnTo>
                    <a:pt x="286" y="684"/>
                  </a:lnTo>
                  <a:lnTo>
                    <a:pt x="282" y="692"/>
                  </a:lnTo>
                  <a:lnTo>
                    <a:pt x="280" y="694"/>
                  </a:lnTo>
                  <a:lnTo>
                    <a:pt x="278" y="696"/>
                  </a:lnTo>
                  <a:lnTo>
                    <a:pt x="276" y="696"/>
                  </a:lnTo>
                  <a:lnTo>
                    <a:pt x="276" y="700"/>
                  </a:lnTo>
                  <a:lnTo>
                    <a:pt x="274" y="700"/>
                  </a:lnTo>
                  <a:lnTo>
                    <a:pt x="274" y="704"/>
                  </a:lnTo>
                  <a:lnTo>
                    <a:pt x="274" y="708"/>
                  </a:lnTo>
                  <a:lnTo>
                    <a:pt x="274" y="710"/>
                  </a:lnTo>
                  <a:lnTo>
                    <a:pt x="272" y="714"/>
                  </a:lnTo>
                  <a:lnTo>
                    <a:pt x="272" y="716"/>
                  </a:lnTo>
                  <a:lnTo>
                    <a:pt x="270" y="716"/>
                  </a:lnTo>
                  <a:lnTo>
                    <a:pt x="270" y="714"/>
                  </a:lnTo>
                  <a:lnTo>
                    <a:pt x="270" y="710"/>
                  </a:lnTo>
                  <a:lnTo>
                    <a:pt x="270" y="708"/>
                  </a:lnTo>
                  <a:lnTo>
                    <a:pt x="266" y="706"/>
                  </a:lnTo>
                  <a:lnTo>
                    <a:pt x="264" y="704"/>
                  </a:lnTo>
                  <a:lnTo>
                    <a:pt x="264" y="702"/>
                  </a:lnTo>
                  <a:lnTo>
                    <a:pt x="266" y="700"/>
                  </a:lnTo>
                  <a:lnTo>
                    <a:pt x="264" y="696"/>
                  </a:lnTo>
                  <a:lnTo>
                    <a:pt x="262" y="690"/>
                  </a:lnTo>
                  <a:lnTo>
                    <a:pt x="260" y="684"/>
                  </a:lnTo>
                  <a:lnTo>
                    <a:pt x="258" y="680"/>
                  </a:lnTo>
                  <a:lnTo>
                    <a:pt x="254" y="678"/>
                  </a:lnTo>
                  <a:lnTo>
                    <a:pt x="252" y="678"/>
                  </a:lnTo>
                  <a:lnTo>
                    <a:pt x="238" y="674"/>
                  </a:lnTo>
                  <a:lnTo>
                    <a:pt x="228" y="674"/>
                  </a:lnTo>
                  <a:lnTo>
                    <a:pt x="206" y="674"/>
                  </a:lnTo>
                  <a:lnTo>
                    <a:pt x="204" y="674"/>
                  </a:lnTo>
                  <a:lnTo>
                    <a:pt x="200" y="674"/>
                  </a:lnTo>
                  <a:lnTo>
                    <a:pt x="196" y="672"/>
                  </a:lnTo>
                  <a:lnTo>
                    <a:pt x="194" y="668"/>
                  </a:lnTo>
                  <a:lnTo>
                    <a:pt x="190" y="664"/>
                  </a:lnTo>
                  <a:lnTo>
                    <a:pt x="182" y="658"/>
                  </a:lnTo>
                  <a:lnTo>
                    <a:pt x="176" y="656"/>
                  </a:lnTo>
                  <a:lnTo>
                    <a:pt x="174" y="656"/>
                  </a:lnTo>
                  <a:lnTo>
                    <a:pt x="172" y="662"/>
                  </a:lnTo>
                  <a:lnTo>
                    <a:pt x="172" y="666"/>
                  </a:lnTo>
                  <a:lnTo>
                    <a:pt x="172" y="668"/>
                  </a:lnTo>
                  <a:lnTo>
                    <a:pt x="170" y="672"/>
                  </a:lnTo>
                  <a:lnTo>
                    <a:pt x="168" y="674"/>
                  </a:lnTo>
                  <a:lnTo>
                    <a:pt x="166" y="674"/>
                  </a:lnTo>
                  <a:lnTo>
                    <a:pt x="160" y="676"/>
                  </a:lnTo>
                  <a:lnTo>
                    <a:pt x="158" y="676"/>
                  </a:lnTo>
                  <a:lnTo>
                    <a:pt x="154" y="678"/>
                  </a:lnTo>
                  <a:lnTo>
                    <a:pt x="150" y="678"/>
                  </a:lnTo>
                  <a:lnTo>
                    <a:pt x="148" y="680"/>
                  </a:lnTo>
                  <a:lnTo>
                    <a:pt x="146" y="686"/>
                  </a:lnTo>
                  <a:lnTo>
                    <a:pt x="146" y="690"/>
                  </a:lnTo>
                  <a:lnTo>
                    <a:pt x="142" y="692"/>
                  </a:lnTo>
                  <a:lnTo>
                    <a:pt x="138" y="692"/>
                  </a:lnTo>
                  <a:lnTo>
                    <a:pt x="132" y="696"/>
                  </a:lnTo>
                  <a:lnTo>
                    <a:pt x="132" y="698"/>
                  </a:lnTo>
                  <a:lnTo>
                    <a:pt x="134" y="702"/>
                  </a:lnTo>
                  <a:lnTo>
                    <a:pt x="128" y="706"/>
                  </a:lnTo>
                  <a:lnTo>
                    <a:pt x="124" y="712"/>
                  </a:lnTo>
                  <a:lnTo>
                    <a:pt x="116" y="712"/>
                  </a:lnTo>
                  <a:lnTo>
                    <a:pt x="108" y="714"/>
                  </a:lnTo>
                  <a:lnTo>
                    <a:pt x="104" y="716"/>
                  </a:lnTo>
                  <a:lnTo>
                    <a:pt x="92" y="714"/>
                  </a:lnTo>
                  <a:lnTo>
                    <a:pt x="90" y="712"/>
                  </a:lnTo>
                  <a:lnTo>
                    <a:pt x="88" y="704"/>
                  </a:lnTo>
                  <a:lnTo>
                    <a:pt x="90" y="696"/>
                  </a:lnTo>
                  <a:lnTo>
                    <a:pt x="88" y="690"/>
                  </a:lnTo>
                  <a:lnTo>
                    <a:pt x="86" y="682"/>
                  </a:lnTo>
                  <a:lnTo>
                    <a:pt x="88" y="682"/>
                  </a:lnTo>
                  <a:lnTo>
                    <a:pt x="88" y="680"/>
                  </a:lnTo>
                  <a:lnTo>
                    <a:pt x="86" y="672"/>
                  </a:lnTo>
                  <a:lnTo>
                    <a:pt x="84" y="670"/>
                  </a:lnTo>
                  <a:lnTo>
                    <a:pt x="84" y="668"/>
                  </a:lnTo>
                  <a:lnTo>
                    <a:pt x="78" y="664"/>
                  </a:lnTo>
                  <a:lnTo>
                    <a:pt x="78" y="662"/>
                  </a:lnTo>
                  <a:lnTo>
                    <a:pt x="80" y="660"/>
                  </a:lnTo>
                  <a:lnTo>
                    <a:pt x="80" y="658"/>
                  </a:lnTo>
                  <a:lnTo>
                    <a:pt x="78" y="656"/>
                  </a:lnTo>
                  <a:lnTo>
                    <a:pt x="78" y="652"/>
                  </a:lnTo>
                  <a:lnTo>
                    <a:pt x="78" y="650"/>
                  </a:lnTo>
                  <a:lnTo>
                    <a:pt x="76" y="648"/>
                  </a:lnTo>
                  <a:lnTo>
                    <a:pt x="74" y="646"/>
                  </a:lnTo>
                  <a:lnTo>
                    <a:pt x="74" y="628"/>
                  </a:lnTo>
                  <a:lnTo>
                    <a:pt x="72" y="624"/>
                  </a:lnTo>
                  <a:lnTo>
                    <a:pt x="62" y="608"/>
                  </a:lnTo>
                  <a:lnTo>
                    <a:pt x="60" y="608"/>
                  </a:lnTo>
                  <a:lnTo>
                    <a:pt x="58" y="608"/>
                  </a:lnTo>
                  <a:lnTo>
                    <a:pt x="56" y="608"/>
                  </a:lnTo>
                  <a:lnTo>
                    <a:pt x="56" y="606"/>
                  </a:lnTo>
                  <a:lnTo>
                    <a:pt x="56" y="604"/>
                  </a:lnTo>
                  <a:lnTo>
                    <a:pt x="56" y="598"/>
                  </a:lnTo>
                  <a:lnTo>
                    <a:pt x="58" y="594"/>
                  </a:lnTo>
                  <a:lnTo>
                    <a:pt x="60" y="594"/>
                  </a:lnTo>
                  <a:lnTo>
                    <a:pt x="60" y="592"/>
                  </a:lnTo>
                  <a:lnTo>
                    <a:pt x="60" y="590"/>
                  </a:lnTo>
                  <a:lnTo>
                    <a:pt x="56" y="588"/>
                  </a:lnTo>
                  <a:lnTo>
                    <a:pt x="54" y="588"/>
                  </a:lnTo>
                  <a:lnTo>
                    <a:pt x="52" y="586"/>
                  </a:lnTo>
                  <a:lnTo>
                    <a:pt x="50" y="584"/>
                  </a:lnTo>
                  <a:lnTo>
                    <a:pt x="48" y="582"/>
                  </a:lnTo>
                  <a:lnTo>
                    <a:pt x="46" y="582"/>
                  </a:lnTo>
                  <a:lnTo>
                    <a:pt x="46" y="580"/>
                  </a:lnTo>
                  <a:lnTo>
                    <a:pt x="46" y="578"/>
                  </a:lnTo>
                  <a:lnTo>
                    <a:pt x="48" y="576"/>
                  </a:lnTo>
                  <a:lnTo>
                    <a:pt x="48" y="570"/>
                  </a:lnTo>
                  <a:lnTo>
                    <a:pt x="46" y="564"/>
                  </a:lnTo>
                  <a:lnTo>
                    <a:pt x="44" y="564"/>
                  </a:lnTo>
                  <a:lnTo>
                    <a:pt x="46" y="562"/>
                  </a:lnTo>
                  <a:lnTo>
                    <a:pt x="52" y="560"/>
                  </a:lnTo>
                  <a:lnTo>
                    <a:pt x="54" y="560"/>
                  </a:lnTo>
                  <a:lnTo>
                    <a:pt x="56" y="560"/>
                  </a:lnTo>
                  <a:lnTo>
                    <a:pt x="58" y="554"/>
                  </a:lnTo>
                  <a:lnTo>
                    <a:pt x="56" y="548"/>
                  </a:lnTo>
                  <a:lnTo>
                    <a:pt x="54" y="546"/>
                  </a:lnTo>
                  <a:lnTo>
                    <a:pt x="50" y="544"/>
                  </a:lnTo>
                  <a:lnTo>
                    <a:pt x="50" y="542"/>
                  </a:lnTo>
                  <a:lnTo>
                    <a:pt x="54" y="536"/>
                  </a:lnTo>
                  <a:lnTo>
                    <a:pt x="56" y="534"/>
                  </a:lnTo>
                  <a:lnTo>
                    <a:pt x="58" y="532"/>
                  </a:lnTo>
                  <a:lnTo>
                    <a:pt x="64" y="526"/>
                  </a:lnTo>
                  <a:lnTo>
                    <a:pt x="60" y="524"/>
                  </a:lnTo>
                  <a:lnTo>
                    <a:pt x="58" y="520"/>
                  </a:lnTo>
                  <a:lnTo>
                    <a:pt x="56" y="520"/>
                  </a:lnTo>
                  <a:lnTo>
                    <a:pt x="54" y="520"/>
                  </a:lnTo>
                  <a:lnTo>
                    <a:pt x="52" y="518"/>
                  </a:lnTo>
                  <a:lnTo>
                    <a:pt x="48" y="514"/>
                  </a:lnTo>
                  <a:lnTo>
                    <a:pt x="46" y="512"/>
                  </a:lnTo>
                  <a:lnTo>
                    <a:pt x="40" y="506"/>
                  </a:lnTo>
                  <a:lnTo>
                    <a:pt x="36" y="502"/>
                  </a:lnTo>
                  <a:lnTo>
                    <a:pt x="38" y="498"/>
                  </a:lnTo>
                  <a:lnTo>
                    <a:pt x="36" y="496"/>
                  </a:lnTo>
                  <a:lnTo>
                    <a:pt x="36" y="490"/>
                  </a:lnTo>
                  <a:lnTo>
                    <a:pt x="34" y="484"/>
                  </a:lnTo>
                  <a:lnTo>
                    <a:pt x="34" y="482"/>
                  </a:lnTo>
                  <a:lnTo>
                    <a:pt x="34" y="480"/>
                  </a:lnTo>
                  <a:lnTo>
                    <a:pt x="34" y="476"/>
                  </a:lnTo>
                  <a:lnTo>
                    <a:pt x="34" y="474"/>
                  </a:lnTo>
                  <a:lnTo>
                    <a:pt x="34" y="472"/>
                  </a:lnTo>
                  <a:lnTo>
                    <a:pt x="32" y="472"/>
                  </a:lnTo>
                  <a:lnTo>
                    <a:pt x="32" y="470"/>
                  </a:lnTo>
                  <a:lnTo>
                    <a:pt x="30" y="464"/>
                  </a:lnTo>
                  <a:lnTo>
                    <a:pt x="30" y="462"/>
                  </a:lnTo>
                  <a:lnTo>
                    <a:pt x="30" y="460"/>
                  </a:lnTo>
                  <a:lnTo>
                    <a:pt x="28" y="458"/>
                  </a:lnTo>
                  <a:lnTo>
                    <a:pt x="28" y="456"/>
                  </a:lnTo>
                  <a:lnTo>
                    <a:pt x="30" y="454"/>
                  </a:lnTo>
                  <a:lnTo>
                    <a:pt x="32" y="454"/>
                  </a:lnTo>
                  <a:lnTo>
                    <a:pt x="32" y="452"/>
                  </a:lnTo>
                  <a:lnTo>
                    <a:pt x="32" y="450"/>
                  </a:lnTo>
                  <a:lnTo>
                    <a:pt x="28" y="450"/>
                  </a:lnTo>
                  <a:lnTo>
                    <a:pt x="20" y="448"/>
                  </a:lnTo>
                  <a:lnTo>
                    <a:pt x="18" y="448"/>
                  </a:lnTo>
                  <a:lnTo>
                    <a:pt x="18" y="446"/>
                  </a:lnTo>
                  <a:lnTo>
                    <a:pt x="18" y="444"/>
                  </a:lnTo>
                  <a:lnTo>
                    <a:pt x="18" y="440"/>
                  </a:lnTo>
                  <a:lnTo>
                    <a:pt x="18" y="438"/>
                  </a:lnTo>
                  <a:lnTo>
                    <a:pt x="18" y="436"/>
                  </a:lnTo>
                  <a:lnTo>
                    <a:pt x="16" y="434"/>
                  </a:lnTo>
                  <a:lnTo>
                    <a:pt x="10" y="428"/>
                  </a:lnTo>
                  <a:lnTo>
                    <a:pt x="10" y="422"/>
                  </a:lnTo>
                  <a:lnTo>
                    <a:pt x="10" y="418"/>
                  </a:lnTo>
                  <a:lnTo>
                    <a:pt x="10" y="416"/>
                  </a:lnTo>
                  <a:lnTo>
                    <a:pt x="8" y="414"/>
                  </a:lnTo>
                  <a:lnTo>
                    <a:pt x="4" y="410"/>
                  </a:lnTo>
                  <a:lnTo>
                    <a:pt x="0" y="410"/>
                  </a:lnTo>
                  <a:lnTo>
                    <a:pt x="2" y="406"/>
                  </a:lnTo>
                  <a:lnTo>
                    <a:pt x="4" y="404"/>
                  </a:lnTo>
                  <a:lnTo>
                    <a:pt x="8" y="402"/>
                  </a:lnTo>
                  <a:lnTo>
                    <a:pt x="12" y="400"/>
                  </a:lnTo>
                  <a:lnTo>
                    <a:pt x="14" y="398"/>
                  </a:lnTo>
                  <a:lnTo>
                    <a:pt x="16" y="398"/>
                  </a:lnTo>
                  <a:lnTo>
                    <a:pt x="18" y="392"/>
                  </a:lnTo>
                  <a:lnTo>
                    <a:pt x="26" y="382"/>
                  </a:lnTo>
                  <a:lnTo>
                    <a:pt x="30" y="380"/>
                  </a:lnTo>
                  <a:lnTo>
                    <a:pt x="34" y="378"/>
                  </a:lnTo>
                  <a:lnTo>
                    <a:pt x="36" y="376"/>
                  </a:lnTo>
                  <a:lnTo>
                    <a:pt x="36" y="374"/>
                  </a:lnTo>
                  <a:lnTo>
                    <a:pt x="34" y="374"/>
                  </a:lnTo>
                  <a:lnTo>
                    <a:pt x="34" y="370"/>
                  </a:lnTo>
                  <a:lnTo>
                    <a:pt x="34" y="366"/>
                  </a:lnTo>
                  <a:lnTo>
                    <a:pt x="36" y="364"/>
                  </a:lnTo>
                  <a:lnTo>
                    <a:pt x="46" y="360"/>
                  </a:lnTo>
                  <a:lnTo>
                    <a:pt x="46" y="358"/>
                  </a:lnTo>
                  <a:lnTo>
                    <a:pt x="44" y="356"/>
                  </a:lnTo>
                  <a:lnTo>
                    <a:pt x="42" y="356"/>
                  </a:lnTo>
                  <a:lnTo>
                    <a:pt x="40" y="354"/>
                  </a:lnTo>
                  <a:lnTo>
                    <a:pt x="38" y="352"/>
                  </a:lnTo>
                  <a:lnTo>
                    <a:pt x="34" y="352"/>
                  </a:lnTo>
                  <a:lnTo>
                    <a:pt x="32" y="354"/>
                  </a:lnTo>
                  <a:lnTo>
                    <a:pt x="30" y="354"/>
                  </a:lnTo>
                  <a:lnTo>
                    <a:pt x="28" y="352"/>
                  </a:lnTo>
                  <a:lnTo>
                    <a:pt x="26" y="350"/>
                  </a:lnTo>
                  <a:lnTo>
                    <a:pt x="14" y="320"/>
                  </a:lnTo>
                  <a:lnTo>
                    <a:pt x="18" y="310"/>
                  </a:lnTo>
                  <a:lnTo>
                    <a:pt x="22" y="304"/>
                  </a:lnTo>
                  <a:lnTo>
                    <a:pt x="26" y="300"/>
                  </a:lnTo>
                  <a:lnTo>
                    <a:pt x="28" y="300"/>
                  </a:lnTo>
                  <a:lnTo>
                    <a:pt x="30" y="300"/>
                  </a:lnTo>
                  <a:lnTo>
                    <a:pt x="28" y="298"/>
                  </a:lnTo>
                  <a:lnTo>
                    <a:pt x="26" y="296"/>
                  </a:lnTo>
                  <a:lnTo>
                    <a:pt x="22" y="290"/>
                  </a:lnTo>
                  <a:lnTo>
                    <a:pt x="18" y="284"/>
                  </a:lnTo>
                  <a:lnTo>
                    <a:pt x="18" y="276"/>
                  </a:lnTo>
                  <a:lnTo>
                    <a:pt x="18" y="274"/>
                  </a:lnTo>
                  <a:lnTo>
                    <a:pt x="20" y="274"/>
                  </a:lnTo>
                  <a:lnTo>
                    <a:pt x="24" y="270"/>
                  </a:lnTo>
                  <a:lnTo>
                    <a:pt x="24" y="268"/>
                  </a:lnTo>
                  <a:lnTo>
                    <a:pt x="24" y="266"/>
                  </a:lnTo>
                  <a:lnTo>
                    <a:pt x="24" y="264"/>
                  </a:lnTo>
                  <a:lnTo>
                    <a:pt x="32" y="258"/>
                  </a:lnTo>
                  <a:lnTo>
                    <a:pt x="38" y="252"/>
                  </a:lnTo>
                  <a:lnTo>
                    <a:pt x="38" y="250"/>
                  </a:lnTo>
                  <a:lnTo>
                    <a:pt x="38" y="246"/>
                  </a:lnTo>
                  <a:lnTo>
                    <a:pt x="38" y="244"/>
                  </a:lnTo>
                  <a:lnTo>
                    <a:pt x="40" y="244"/>
                  </a:lnTo>
                  <a:lnTo>
                    <a:pt x="42" y="244"/>
                  </a:lnTo>
                  <a:lnTo>
                    <a:pt x="46" y="244"/>
                  </a:lnTo>
                  <a:lnTo>
                    <a:pt x="42" y="234"/>
                  </a:lnTo>
                  <a:lnTo>
                    <a:pt x="40" y="232"/>
                  </a:lnTo>
                  <a:lnTo>
                    <a:pt x="38" y="230"/>
                  </a:lnTo>
                  <a:lnTo>
                    <a:pt x="38" y="224"/>
                  </a:lnTo>
                  <a:lnTo>
                    <a:pt x="36" y="222"/>
                  </a:lnTo>
                  <a:lnTo>
                    <a:pt x="34" y="216"/>
                  </a:lnTo>
                  <a:lnTo>
                    <a:pt x="36" y="212"/>
                  </a:lnTo>
                  <a:lnTo>
                    <a:pt x="38" y="208"/>
                  </a:lnTo>
                  <a:lnTo>
                    <a:pt x="40" y="206"/>
                  </a:lnTo>
                  <a:lnTo>
                    <a:pt x="40" y="204"/>
                  </a:lnTo>
                  <a:lnTo>
                    <a:pt x="40" y="192"/>
                  </a:lnTo>
                  <a:lnTo>
                    <a:pt x="40" y="188"/>
                  </a:lnTo>
                  <a:lnTo>
                    <a:pt x="40" y="184"/>
                  </a:lnTo>
                  <a:lnTo>
                    <a:pt x="40" y="180"/>
                  </a:lnTo>
                  <a:lnTo>
                    <a:pt x="40" y="178"/>
                  </a:lnTo>
                  <a:lnTo>
                    <a:pt x="40" y="170"/>
                  </a:lnTo>
                  <a:lnTo>
                    <a:pt x="42" y="168"/>
                  </a:lnTo>
                  <a:lnTo>
                    <a:pt x="44" y="166"/>
                  </a:lnTo>
                  <a:lnTo>
                    <a:pt x="48" y="164"/>
                  </a:lnTo>
                  <a:lnTo>
                    <a:pt x="52" y="158"/>
                  </a:lnTo>
                  <a:lnTo>
                    <a:pt x="52" y="156"/>
                  </a:lnTo>
                  <a:lnTo>
                    <a:pt x="56" y="152"/>
                  </a:lnTo>
                  <a:lnTo>
                    <a:pt x="54" y="150"/>
                  </a:lnTo>
                  <a:lnTo>
                    <a:pt x="54" y="144"/>
                  </a:lnTo>
                  <a:lnTo>
                    <a:pt x="52" y="144"/>
                  </a:lnTo>
                  <a:lnTo>
                    <a:pt x="48" y="134"/>
                  </a:lnTo>
                  <a:lnTo>
                    <a:pt x="46" y="130"/>
                  </a:lnTo>
                  <a:lnTo>
                    <a:pt x="42" y="124"/>
                  </a:lnTo>
                  <a:lnTo>
                    <a:pt x="40" y="120"/>
                  </a:lnTo>
                  <a:lnTo>
                    <a:pt x="40" y="118"/>
                  </a:lnTo>
                  <a:lnTo>
                    <a:pt x="38" y="116"/>
                  </a:lnTo>
                  <a:lnTo>
                    <a:pt x="36" y="114"/>
                  </a:lnTo>
                  <a:lnTo>
                    <a:pt x="36" y="112"/>
                  </a:lnTo>
                  <a:lnTo>
                    <a:pt x="30" y="102"/>
                  </a:lnTo>
                  <a:lnTo>
                    <a:pt x="28" y="98"/>
                  </a:lnTo>
                  <a:lnTo>
                    <a:pt x="26" y="96"/>
                  </a:lnTo>
                  <a:lnTo>
                    <a:pt x="16" y="78"/>
                  </a:lnTo>
                  <a:lnTo>
                    <a:pt x="12" y="74"/>
                  </a:lnTo>
                  <a:lnTo>
                    <a:pt x="8" y="66"/>
                  </a:lnTo>
                  <a:lnTo>
                    <a:pt x="10" y="68"/>
                  </a:lnTo>
                  <a:lnTo>
                    <a:pt x="14" y="68"/>
                  </a:lnTo>
                  <a:lnTo>
                    <a:pt x="16" y="66"/>
                  </a:lnTo>
                  <a:lnTo>
                    <a:pt x="18" y="66"/>
                  </a:lnTo>
                  <a:lnTo>
                    <a:pt x="28" y="68"/>
                  </a:lnTo>
                  <a:lnTo>
                    <a:pt x="36" y="68"/>
                  </a:lnTo>
                  <a:lnTo>
                    <a:pt x="48" y="70"/>
                  </a:lnTo>
                  <a:lnTo>
                    <a:pt x="52" y="70"/>
                  </a:lnTo>
                  <a:lnTo>
                    <a:pt x="52" y="78"/>
                  </a:lnTo>
                  <a:lnTo>
                    <a:pt x="54" y="78"/>
                  </a:lnTo>
                  <a:lnTo>
                    <a:pt x="58" y="78"/>
                  </a:lnTo>
                  <a:lnTo>
                    <a:pt x="60" y="76"/>
                  </a:lnTo>
                  <a:lnTo>
                    <a:pt x="62" y="76"/>
                  </a:lnTo>
                  <a:lnTo>
                    <a:pt x="64" y="76"/>
                  </a:lnTo>
                  <a:lnTo>
                    <a:pt x="64" y="74"/>
                  </a:lnTo>
                  <a:lnTo>
                    <a:pt x="72" y="72"/>
                  </a:lnTo>
                  <a:lnTo>
                    <a:pt x="74" y="70"/>
                  </a:lnTo>
                  <a:lnTo>
                    <a:pt x="76" y="70"/>
                  </a:lnTo>
                  <a:lnTo>
                    <a:pt x="78" y="68"/>
                  </a:lnTo>
                  <a:lnTo>
                    <a:pt x="80" y="66"/>
                  </a:lnTo>
                  <a:lnTo>
                    <a:pt x="86" y="58"/>
                  </a:lnTo>
                  <a:lnTo>
                    <a:pt x="86" y="56"/>
                  </a:lnTo>
                  <a:lnTo>
                    <a:pt x="88" y="54"/>
                  </a:lnTo>
                  <a:lnTo>
                    <a:pt x="90" y="52"/>
                  </a:lnTo>
                  <a:lnTo>
                    <a:pt x="92" y="52"/>
                  </a:lnTo>
                  <a:lnTo>
                    <a:pt x="100" y="52"/>
                  </a:lnTo>
                  <a:lnTo>
                    <a:pt x="102" y="52"/>
                  </a:lnTo>
                  <a:lnTo>
                    <a:pt x="104" y="54"/>
                  </a:lnTo>
                  <a:lnTo>
                    <a:pt x="106" y="54"/>
                  </a:lnTo>
                  <a:lnTo>
                    <a:pt x="110" y="54"/>
                  </a:lnTo>
                  <a:lnTo>
                    <a:pt x="110" y="50"/>
                  </a:lnTo>
                  <a:lnTo>
                    <a:pt x="114" y="44"/>
                  </a:lnTo>
                  <a:lnTo>
                    <a:pt x="116" y="42"/>
                  </a:lnTo>
                  <a:lnTo>
                    <a:pt x="118" y="42"/>
                  </a:lnTo>
                  <a:lnTo>
                    <a:pt x="120" y="42"/>
                  </a:lnTo>
                  <a:lnTo>
                    <a:pt x="122" y="40"/>
                  </a:lnTo>
                  <a:lnTo>
                    <a:pt x="128" y="36"/>
                  </a:lnTo>
                  <a:lnTo>
                    <a:pt x="128" y="34"/>
                  </a:lnTo>
                  <a:lnTo>
                    <a:pt x="130" y="34"/>
                  </a:lnTo>
                  <a:lnTo>
                    <a:pt x="134" y="34"/>
                  </a:lnTo>
                  <a:lnTo>
                    <a:pt x="136" y="34"/>
                  </a:lnTo>
                  <a:lnTo>
                    <a:pt x="142" y="30"/>
                  </a:lnTo>
                  <a:lnTo>
                    <a:pt x="144" y="30"/>
                  </a:lnTo>
                  <a:lnTo>
                    <a:pt x="148" y="26"/>
                  </a:lnTo>
                  <a:lnTo>
                    <a:pt x="150" y="24"/>
                  </a:lnTo>
                  <a:lnTo>
                    <a:pt x="152" y="22"/>
                  </a:lnTo>
                  <a:lnTo>
                    <a:pt x="160" y="16"/>
                  </a:lnTo>
                  <a:lnTo>
                    <a:pt x="162" y="16"/>
                  </a:lnTo>
                  <a:lnTo>
                    <a:pt x="164" y="14"/>
                  </a:lnTo>
                  <a:lnTo>
                    <a:pt x="166" y="12"/>
                  </a:lnTo>
                  <a:lnTo>
                    <a:pt x="172" y="10"/>
                  </a:lnTo>
                  <a:lnTo>
                    <a:pt x="174" y="10"/>
                  </a:lnTo>
                  <a:lnTo>
                    <a:pt x="178" y="10"/>
                  </a:lnTo>
                  <a:lnTo>
                    <a:pt x="180" y="8"/>
                  </a:lnTo>
                  <a:lnTo>
                    <a:pt x="192" y="6"/>
                  </a:lnTo>
                  <a:lnTo>
                    <a:pt x="196" y="4"/>
                  </a:lnTo>
                  <a:lnTo>
                    <a:pt x="202" y="6"/>
                  </a:lnTo>
                  <a:lnTo>
                    <a:pt x="208" y="6"/>
                  </a:lnTo>
                  <a:lnTo>
                    <a:pt x="212" y="4"/>
                  </a:lnTo>
                  <a:lnTo>
                    <a:pt x="214" y="4"/>
                  </a:lnTo>
                  <a:lnTo>
                    <a:pt x="222" y="8"/>
                  </a:lnTo>
                  <a:lnTo>
                    <a:pt x="224" y="8"/>
                  </a:lnTo>
                  <a:lnTo>
                    <a:pt x="226" y="4"/>
                  </a:lnTo>
                  <a:lnTo>
                    <a:pt x="228" y="2"/>
                  </a:lnTo>
                  <a:lnTo>
                    <a:pt x="230" y="0"/>
                  </a:lnTo>
                  <a:lnTo>
                    <a:pt x="232" y="0"/>
                  </a:lnTo>
                  <a:lnTo>
                    <a:pt x="234" y="0"/>
                  </a:lnTo>
                  <a:lnTo>
                    <a:pt x="236" y="4"/>
                  </a:lnTo>
                  <a:lnTo>
                    <a:pt x="238" y="8"/>
                  </a:lnTo>
                  <a:lnTo>
                    <a:pt x="238" y="12"/>
                  </a:lnTo>
                  <a:lnTo>
                    <a:pt x="236" y="14"/>
                  </a:lnTo>
                  <a:lnTo>
                    <a:pt x="236" y="20"/>
                  </a:lnTo>
                  <a:lnTo>
                    <a:pt x="238" y="22"/>
                  </a:lnTo>
                  <a:lnTo>
                    <a:pt x="238" y="28"/>
                  </a:lnTo>
                  <a:lnTo>
                    <a:pt x="238" y="32"/>
                  </a:lnTo>
                  <a:lnTo>
                    <a:pt x="236" y="34"/>
                  </a:lnTo>
                  <a:lnTo>
                    <a:pt x="234" y="36"/>
                  </a:lnTo>
                  <a:lnTo>
                    <a:pt x="232" y="38"/>
                  </a:lnTo>
                  <a:lnTo>
                    <a:pt x="232" y="40"/>
                  </a:lnTo>
                  <a:lnTo>
                    <a:pt x="232" y="42"/>
                  </a:lnTo>
                  <a:lnTo>
                    <a:pt x="230" y="42"/>
                  </a:lnTo>
                  <a:lnTo>
                    <a:pt x="230" y="50"/>
                  </a:lnTo>
                  <a:lnTo>
                    <a:pt x="232" y="58"/>
                  </a:lnTo>
                  <a:lnTo>
                    <a:pt x="236" y="62"/>
                  </a:lnTo>
                  <a:lnTo>
                    <a:pt x="236" y="64"/>
                  </a:lnTo>
                  <a:lnTo>
                    <a:pt x="238" y="70"/>
                  </a:lnTo>
                  <a:lnTo>
                    <a:pt x="234" y="74"/>
                  </a:lnTo>
                  <a:lnTo>
                    <a:pt x="232" y="78"/>
                  </a:lnTo>
                  <a:lnTo>
                    <a:pt x="232" y="80"/>
                  </a:lnTo>
                  <a:lnTo>
                    <a:pt x="232" y="86"/>
                  </a:lnTo>
                  <a:lnTo>
                    <a:pt x="234" y="94"/>
                  </a:lnTo>
                  <a:lnTo>
                    <a:pt x="236" y="98"/>
                  </a:lnTo>
                  <a:lnTo>
                    <a:pt x="238" y="98"/>
                  </a:lnTo>
                  <a:lnTo>
                    <a:pt x="240" y="98"/>
                  </a:lnTo>
                  <a:lnTo>
                    <a:pt x="244" y="104"/>
                  </a:lnTo>
                  <a:lnTo>
                    <a:pt x="242" y="106"/>
                  </a:lnTo>
                  <a:lnTo>
                    <a:pt x="242" y="108"/>
                  </a:lnTo>
                  <a:lnTo>
                    <a:pt x="240" y="110"/>
                  </a:lnTo>
                  <a:lnTo>
                    <a:pt x="242" y="112"/>
                  </a:lnTo>
                  <a:lnTo>
                    <a:pt x="244" y="114"/>
                  </a:lnTo>
                  <a:lnTo>
                    <a:pt x="246" y="110"/>
                  </a:lnTo>
                  <a:lnTo>
                    <a:pt x="250" y="112"/>
                  </a:lnTo>
                  <a:lnTo>
                    <a:pt x="250" y="116"/>
                  </a:lnTo>
                  <a:lnTo>
                    <a:pt x="250" y="118"/>
                  </a:lnTo>
                  <a:lnTo>
                    <a:pt x="252" y="124"/>
                  </a:lnTo>
                  <a:lnTo>
                    <a:pt x="254" y="126"/>
                  </a:lnTo>
                  <a:lnTo>
                    <a:pt x="258" y="126"/>
                  </a:lnTo>
                  <a:lnTo>
                    <a:pt x="260" y="126"/>
                  </a:lnTo>
                  <a:lnTo>
                    <a:pt x="262" y="128"/>
                  </a:lnTo>
                  <a:lnTo>
                    <a:pt x="264" y="128"/>
                  </a:lnTo>
                  <a:lnTo>
                    <a:pt x="264" y="132"/>
                  </a:lnTo>
                  <a:lnTo>
                    <a:pt x="266" y="134"/>
                  </a:lnTo>
                  <a:lnTo>
                    <a:pt x="272" y="136"/>
                  </a:lnTo>
                  <a:lnTo>
                    <a:pt x="278" y="138"/>
                  </a:lnTo>
                  <a:lnTo>
                    <a:pt x="278" y="146"/>
                  </a:lnTo>
                  <a:lnTo>
                    <a:pt x="282" y="150"/>
                  </a:lnTo>
                  <a:lnTo>
                    <a:pt x="284" y="152"/>
                  </a:lnTo>
                  <a:lnTo>
                    <a:pt x="286" y="152"/>
                  </a:lnTo>
                  <a:lnTo>
                    <a:pt x="290" y="152"/>
                  </a:lnTo>
                  <a:lnTo>
                    <a:pt x="292" y="152"/>
                  </a:lnTo>
                  <a:lnTo>
                    <a:pt x="296" y="152"/>
                  </a:lnTo>
                  <a:lnTo>
                    <a:pt x="302" y="154"/>
                  </a:lnTo>
                  <a:lnTo>
                    <a:pt x="304" y="154"/>
                  </a:lnTo>
                  <a:lnTo>
                    <a:pt x="308" y="156"/>
                  </a:lnTo>
                  <a:lnTo>
                    <a:pt x="310" y="154"/>
                  </a:lnTo>
                  <a:lnTo>
                    <a:pt x="312" y="152"/>
                  </a:lnTo>
                  <a:lnTo>
                    <a:pt x="314" y="152"/>
                  </a:lnTo>
                  <a:lnTo>
                    <a:pt x="316" y="152"/>
                  </a:lnTo>
                  <a:lnTo>
                    <a:pt x="322" y="152"/>
                  </a:lnTo>
                  <a:lnTo>
                    <a:pt x="332" y="158"/>
                  </a:lnTo>
                  <a:lnTo>
                    <a:pt x="336" y="162"/>
                  </a:lnTo>
                  <a:lnTo>
                    <a:pt x="340" y="164"/>
                  </a:lnTo>
                  <a:lnTo>
                    <a:pt x="344" y="166"/>
                  </a:lnTo>
                  <a:lnTo>
                    <a:pt x="346" y="164"/>
                  </a:lnTo>
                  <a:lnTo>
                    <a:pt x="348" y="162"/>
                  </a:lnTo>
                  <a:lnTo>
                    <a:pt x="350" y="162"/>
                  </a:lnTo>
                  <a:lnTo>
                    <a:pt x="354" y="162"/>
                  </a:lnTo>
                  <a:lnTo>
                    <a:pt x="354" y="164"/>
                  </a:lnTo>
                  <a:lnTo>
                    <a:pt x="356" y="168"/>
                  </a:lnTo>
                  <a:lnTo>
                    <a:pt x="358" y="172"/>
                  </a:lnTo>
                  <a:lnTo>
                    <a:pt x="360" y="172"/>
                  </a:lnTo>
                  <a:lnTo>
                    <a:pt x="364" y="176"/>
                  </a:lnTo>
                  <a:lnTo>
                    <a:pt x="366" y="178"/>
                  </a:lnTo>
                  <a:lnTo>
                    <a:pt x="370" y="182"/>
                  </a:lnTo>
                  <a:lnTo>
                    <a:pt x="374" y="180"/>
                  </a:lnTo>
                  <a:lnTo>
                    <a:pt x="376" y="182"/>
                  </a:lnTo>
                  <a:lnTo>
                    <a:pt x="376" y="184"/>
                  </a:lnTo>
                  <a:lnTo>
                    <a:pt x="388" y="190"/>
                  </a:lnTo>
                  <a:lnTo>
                    <a:pt x="390" y="190"/>
                  </a:lnTo>
                  <a:lnTo>
                    <a:pt x="392" y="190"/>
                  </a:lnTo>
                  <a:lnTo>
                    <a:pt x="396" y="190"/>
                  </a:lnTo>
                  <a:lnTo>
                    <a:pt x="398" y="188"/>
                  </a:lnTo>
                  <a:lnTo>
                    <a:pt x="400" y="188"/>
                  </a:lnTo>
                  <a:lnTo>
                    <a:pt x="404" y="190"/>
                  </a:lnTo>
                  <a:lnTo>
                    <a:pt x="404" y="192"/>
                  </a:lnTo>
                  <a:lnTo>
                    <a:pt x="406" y="196"/>
                  </a:lnTo>
                  <a:lnTo>
                    <a:pt x="410" y="202"/>
                  </a:lnTo>
                  <a:lnTo>
                    <a:pt x="412" y="202"/>
                  </a:lnTo>
                  <a:lnTo>
                    <a:pt x="412" y="204"/>
                  </a:lnTo>
                  <a:lnTo>
                    <a:pt x="416" y="206"/>
                  </a:lnTo>
                  <a:lnTo>
                    <a:pt x="418" y="208"/>
                  </a:lnTo>
                  <a:lnTo>
                    <a:pt x="418" y="210"/>
                  </a:lnTo>
                  <a:lnTo>
                    <a:pt x="420" y="212"/>
                  </a:lnTo>
                  <a:lnTo>
                    <a:pt x="424" y="210"/>
                  </a:lnTo>
                  <a:lnTo>
                    <a:pt x="430" y="210"/>
                  </a:lnTo>
                  <a:lnTo>
                    <a:pt x="432" y="210"/>
                  </a:lnTo>
                  <a:lnTo>
                    <a:pt x="436" y="212"/>
                  </a:lnTo>
                  <a:lnTo>
                    <a:pt x="448" y="210"/>
                  </a:lnTo>
                  <a:lnTo>
                    <a:pt x="460" y="208"/>
                  </a:lnTo>
                  <a:lnTo>
                    <a:pt x="462" y="212"/>
                  </a:lnTo>
                  <a:lnTo>
                    <a:pt x="464" y="214"/>
                  </a:lnTo>
                  <a:lnTo>
                    <a:pt x="474" y="220"/>
                  </a:lnTo>
                  <a:lnTo>
                    <a:pt x="476" y="220"/>
                  </a:lnTo>
                  <a:lnTo>
                    <a:pt x="480" y="224"/>
                  </a:lnTo>
                  <a:lnTo>
                    <a:pt x="484" y="226"/>
                  </a:lnTo>
                  <a:lnTo>
                    <a:pt x="490" y="226"/>
                  </a:lnTo>
                  <a:lnTo>
                    <a:pt x="496" y="236"/>
                  </a:lnTo>
                  <a:lnTo>
                    <a:pt x="494" y="240"/>
                  </a:lnTo>
                  <a:lnTo>
                    <a:pt x="492" y="242"/>
                  </a:lnTo>
                  <a:lnTo>
                    <a:pt x="490" y="244"/>
                  </a:lnTo>
                  <a:lnTo>
                    <a:pt x="490" y="246"/>
                  </a:lnTo>
                  <a:lnTo>
                    <a:pt x="490" y="254"/>
                  </a:lnTo>
                  <a:lnTo>
                    <a:pt x="492" y="256"/>
                  </a:lnTo>
                  <a:lnTo>
                    <a:pt x="496" y="264"/>
                  </a:lnTo>
                  <a:lnTo>
                    <a:pt x="498" y="272"/>
                  </a:lnTo>
                  <a:lnTo>
                    <a:pt x="498" y="276"/>
                  </a:lnTo>
                  <a:lnTo>
                    <a:pt x="498" y="288"/>
                  </a:lnTo>
                  <a:lnTo>
                    <a:pt x="498" y="294"/>
                  </a:lnTo>
                  <a:lnTo>
                    <a:pt x="498" y="298"/>
                  </a:lnTo>
                  <a:lnTo>
                    <a:pt x="492" y="298"/>
                  </a:lnTo>
                  <a:lnTo>
                    <a:pt x="482" y="298"/>
                  </a:lnTo>
                  <a:lnTo>
                    <a:pt x="490" y="304"/>
                  </a:lnTo>
                  <a:lnTo>
                    <a:pt x="500" y="318"/>
                  </a:lnTo>
                  <a:lnTo>
                    <a:pt x="502" y="346"/>
                  </a:lnTo>
                  <a:lnTo>
                    <a:pt x="502" y="362"/>
                  </a:lnTo>
                  <a:lnTo>
                    <a:pt x="504" y="362"/>
                  </a:lnTo>
                  <a:lnTo>
                    <a:pt x="510" y="362"/>
                  </a:lnTo>
                  <a:lnTo>
                    <a:pt x="534" y="364"/>
                  </a:lnTo>
                  <a:lnTo>
                    <a:pt x="536" y="364"/>
                  </a:lnTo>
                  <a:lnTo>
                    <a:pt x="564" y="366"/>
                  </a:lnTo>
                  <a:lnTo>
                    <a:pt x="588" y="366"/>
                  </a:lnTo>
                  <a:lnTo>
                    <a:pt x="592" y="366"/>
                  </a:lnTo>
                  <a:lnTo>
                    <a:pt x="594" y="366"/>
                  </a:lnTo>
                  <a:lnTo>
                    <a:pt x="594" y="364"/>
                  </a:lnTo>
                  <a:lnTo>
                    <a:pt x="598" y="364"/>
                  </a:lnTo>
                  <a:lnTo>
                    <a:pt x="598" y="366"/>
                  </a:lnTo>
                  <a:lnTo>
                    <a:pt x="598" y="370"/>
                  </a:lnTo>
                  <a:lnTo>
                    <a:pt x="596" y="376"/>
                  </a:lnTo>
                  <a:lnTo>
                    <a:pt x="596" y="378"/>
                  </a:lnTo>
                  <a:lnTo>
                    <a:pt x="594" y="378"/>
                  </a:lnTo>
                  <a:lnTo>
                    <a:pt x="592" y="380"/>
                  </a:lnTo>
                  <a:lnTo>
                    <a:pt x="590" y="384"/>
                  </a:lnTo>
                  <a:lnTo>
                    <a:pt x="590" y="386"/>
                  </a:lnTo>
                  <a:lnTo>
                    <a:pt x="588" y="388"/>
                  </a:lnTo>
                  <a:lnTo>
                    <a:pt x="590" y="398"/>
                  </a:lnTo>
                  <a:lnTo>
                    <a:pt x="590" y="400"/>
                  </a:lnTo>
                  <a:lnTo>
                    <a:pt x="590" y="402"/>
                  </a:lnTo>
                  <a:lnTo>
                    <a:pt x="592" y="404"/>
                  </a:lnTo>
                  <a:lnTo>
                    <a:pt x="592" y="410"/>
                  </a:lnTo>
                  <a:lnTo>
                    <a:pt x="592" y="414"/>
                  </a:lnTo>
                  <a:lnTo>
                    <a:pt x="592" y="416"/>
                  </a:lnTo>
                  <a:lnTo>
                    <a:pt x="592" y="418"/>
                  </a:lnTo>
                  <a:lnTo>
                    <a:pt x="594" y="418"/>
                  </a:lnTo>
                  <a:lnTo>
                    <a:pt x="594" y="420"/>
                  </a:lnTo>
                  <a:lnTo>
                    <a:pt x="596" y="420"/>
                  </a:lnTo>
                  <a:lnTo>
                    <a:pt x="598" y="420"/>
                  </a:lnTo>
                  <a:lnTo>
                    <a:pt x="600" y="422"/>
                  </a:lnTo>
                  <a:lnTo>
                    <a:pt x="606" y="426"/>
                  </a:lnTo>
                  <a:lnTo>
                    <a:pt x="606" y="428"/>
                  </a:lnTo>
                  <a:lnTo>
                    <a:pt x="608" y="428"/>
                  </a:lnTo>
                  <a:lnTo>
                    <a:pt x="612" y="430"/>
                  </a:lnTo>
                  <a:lnTo>
                    <a:pt x="612" y="432"/>
                  </a:lnTo>
                  <a:lnTo>
                    <a:pt x="618" y="428"/>
                  </a:lnTo>
                  <a:lnTo>
                    <a:pt x="618" y="430"/>
                  </a:lnTo>
                  <a:lnTo>
                    <a:pt x="624" y="434"/>
                  </a:lnTo>
                  <a:lnTo>
                    <a:pt x="624" y="436"/>
                  </a:lnTo>
                  <a:lnTo>
                    <a:pt x="624" y="438"/>
                  </a:lnTo>
                  <a:lnTo>
                    <a:pt x="624" y="440"/>
                  </a:lnTo>
                  <a:lnTo>
                    <a:pt x="624" y="442"/>
                  </a:lnTo>
                  <a:lnTo>
                    <a:pt x="626" y="444"/>
                  </a:lnTo>
                  <a:lnTo>
                    <a:pt x="626" y="446"/>
                  </a:lnTo>
                  <a:lnTo>
                    <a:pt x="626" y="448"/>
                  </a:lnTo>
                  <a:lnTo>
                    <a:pt x="626" y="450"/>
                  </a:lnTo>
                  <a:lnTo>
                    <a:pt x="632" y="466"/>
                  </a:lnTo>
                  <a:lnTo>
                    <a:pt x="636" y="470"/>
                  </a:lnTo>
                  <a:lnTo>
                    <a:pt x="634" y="472"/>
                  </a:lnTo>
                  <a:lnTo>
                    <a:pt x="632" y="474"/>
                  </a:lnTo>
                  <a:lnTo>
                    <a:pt x="628" y="484"/>
                  </a:lnTo>
                  <a:lnTo>
                    <a:pt x="620" y="508"/>
                  </a:lnTo>
                  <a:lnTo>
                    <a:pt x="622" y="508"/>
                  </a:lnTo>
                  <a:lnTo>
                    <a:pt x="624" y="510"/>
                  </a:lnTo>
                  <a:lnTo>
                    <a:pt x="624" y="516"/>
                  </a:lnTo>
                  <a:lnTo>
                    <a:pt x="620" y="516"/>
                  </a:lnTo>
                  <a:lnTo>
                    <a:pt x="618" y="518"/>
                  </a:lnTo>
                  <a:lnTo>
                    <a:pt x="616" y="520"/>
                  </a:lnTo>
                  <a:lnTo>
                    <a:pt x="614" y="524"/>
                  </a:lnTo>
                  <a:lnTo>
                    <a:pt x="608" y="536"/>
                  </a:lnTo>
                  <a:lnTo>
                    <a:pt x="602" y="550"/>
                  </a:lnTo>
                  <a:lnTo>
                    <a:pt x="600" y="554"/>
                  </a:lnTo>
                  <a:lnTo>
                    <a:pt x="600" y="556"/>
                  </a:lnTo>
                  <a:lnTo>
                    <a:pt x="612" y="566"/>
                  </a:lnTo>
                  <a:lnTo>
                    <a:pt x="610" y="570"/>
                  </a:lnTo>
                  <a:lnTo>
                    <a:pt x="598" y="576"/>
                  </a:lnTo>
                  <a:lnTo>
                    <a:pt x="596" y="576"/>
                  </a:lnTo>
                  <a:lnTo>
                    <a:pt x="598" y="574"/>
                  </a:lnTo>
                  <a:lnTo>
                    <a:pt x="598" y="572"/>
                  </a:lnTo>
                  <a:lnTo>
                    <a:pt x="598" y="568"/>
                  </a:lnTo>
                  <a:lnTo>
                    <a:pt x="598" y="558"/>
                  </a:lnTo>
                  <a:lnTo>
                    <a:pt x="594" y="556"/>
                  </a:lnTo>
                  <a:lnTo>
                    <a:pt x="592" y="556"/>
                  </a:lnTo>
                  <a:lnTo>
                    <a:pt x="578" y="548"/>
                  </a:lnTo>
                  <a:lnTo>
                    <a:pt x="566" y="540"/>
                  </a:lnTo>
                  <a:lnTo>
                    <a:pt x="550" y="530"/>
                  </a:lnTo>
                  <a:lnTo>
                    <a:pt x="546" y="530"/>
                  </a:lnTo>
                  <a:lnTo>
                    <a:pt x="532" y="530"/>
                  </a:lnTo>
                  <a:lnTo>
                    <a:pt x="524" y="528"/>
                  </a:lnTo>
                  <a:lnTo>
                    <a:pt x="504" y="526"/>
                  </a:lnTo>
                  <a:lnTo>
                    <a:pt x="502" y="526"/>
                  </a:lnTo>
                  <a:lnTo>
                    <a:pt x="500" y="528"/>
                  </a:lnTo>
                  <a:lnTo>
                    <a:pt x="480" y="532"/>
                  </a:lnTo>
                  <a:lnTo>
                    <a:pt x="476" y="534"/>
                  </a:lnTo>
                  <a:lnTo>
                    <a:pt x="470" y="536"/>
                  </a:lnTo>
                  <a:lnTo>
                    <a:pt x="460" y="536"/>
                  </a:lnTo>
                  <a:lnTo>
                    <a:pt x="432" y="540"/>
                  </a:lnTo>
                  <a:lnTo>
                    <a:pt x="416" y="542"/>
                  </a:lnTo>
                  <a:lnTo>
                    <a:pt x="412" y="544"/>
                  </a:lnTo>
                  <a:lnTo>
                    <a:pt x="410" y="548"/>
                  </a:lnTo>
                  <a:lnTo>
                    <a:pt x="404" y="558"/>
                  </a:lnTo>
                  <a:lnTo>
                    <a:pt x="402" y="568"/>
                  </a:lnTo>
                  <a:lnTo>
                    <a:pt x="390" y="580"/>
                  </a:lnTo>
                  <a:lnTo>
                    <a:pt x="386" y="5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730" name="Group 2137"/>
            <p:cNvGrpSpPr>
              <a:grpSpLocks/>
            </p:cNvGrpSpPr>
            <p:nvPr/>
          </p:nvGrpSpPr>
          <p:grpSpPr bwMode="auto">
            <a:xfrm>
              <a:off x="3575252" y="2025371"/>
              <a:ext cx="2803321" cy="2851151"/>
              <a:chOff x="2304" y="698"/>
              <a:chExt cx="2110" cy="2146"/>
            </a:xfrm>
            <a:solidFill>
              <a:srgbClr val="646464"/>
            </a:solidFill>
          </p:grpSpPr>
          <p:sp>
            <p:nvSpPr>
              <p:cNvPr id="743" name="Freeform 2092"/>
              <p:cNvSpPr>
                <a:spLocks/>
              </p:cNvSpPr>
              <p:nvPr/>
            </p:nvSpPr>
            <p:spPr bwMode="auto">
              <a:xfrm>
                <a:off x="2304" y="698"/>
                <a:ext cx="2110" cy="2146"/>
              </a:xfrm>
              <a:custGeom>
                <a:avLst/>
                <a:gdLst/>
                <a:ahLst/>
                <a:cxnLst>
                  <a:cxn ang="0">
                    <a:pos x="1284" y="1728"/>
                  </a:cxn>
                  <a:cxn ang="0">
                    <a:pos x="1256" y="1872"/>
                  </a:cxn>
                  <a:cxn ang="0">
                    <a:pos x="1120" y="2024"/>
                  </a:cxn>
                  <a:cxn ang="0">
                    <a:pos x="1118" y="2006"/>
                  </a:cxn>
                  <a:cxn ang="0">
                    <a:pos x="1122" y="1950"/>
                  </a:cxn>
                  <a:cxn ang="0">
                    <a:pos x="1062" y="2052"/>
                  </a:cxn>
                  <a:cxn ang="0">
                    <a:pos x="988" y="2112"/>
                  </a:cxn>
                  <a:cxn ang="0">
                    <a:pos x="926" y="2008"/>
                  </a:cxn>
                  <a:cxn ang="0">
                    <a:pos x="822" y="1944"/>
                  </a:cxn>
                  <a:cxn ang="0">
                    <a:pos x="912" y="1848"/>
                  </a:cxn>
                  <a:cxn ang="0">
                    <a:pos x="1020" y="1770"/>
                  </a:cxn>
                  <a:cxn ang="0">
                    <a:pos x="1002" y="1644"/>
                  </a:cxn>
                  <a:cxn ang="0">
                    <a:pos x="944" y="1552"/>
                  </a:cxn>
                  <a:cxn ang="0">
                    <a:pos x="836" y="1500"/>
                  </a:cxn>
                  <a:cxn ang="0">
                    <a:pos x="856" y="1298"/>
                  </a:cxn>
                  <a:cxn ang="0">
                    <a:pos x="826" y="1178"/>
                  </a:cxn>
                  <a:cxn ang="0">
                    <a:pos x="646" y="1024"/>
                  </a:cxn>
                  <a:cxn ang="0">
                    <a:pos x="518" y="966"/>
                  </a:cxn>
                  <a:cxn ang="0">
                    <a:pos x="464" y="848"/>
                  </a:cxn>
                  <a:cxn ang="0">
                    <a:pos x="344" y="856"/>
                  </a:cxn>
                  <a:cxn ang="0">
                    <a:pos x="204" y="886"/>
                  </a:cxn>
                  <a:cxn ang="0">
                    <a:pos x="108" y="830"/>
                  </a:cxn>
                  <a:cxn ang="0">
                    <a:pos x="24" y="738"/>
                  </a:cxn>
                  <a:cxn ang="0">
                    <a:pos x="42" y="618"/>
                  </a:cxn>
                  <a:cxn ang="0">
                    <a:pos x="174" y="512"/>
                  </a:cxn>
                  <a:cxn ang="0">
                    <a:pos x="214" y="300"/>
                  </a:cxn>
                  <a:cxn ang="0">
                    <a:pos x="310" y="188"/>
                  </a:cxn>
                  <a:cxn ang="0">
                    <a:pos x="416" y="248"/>
                  </a:cxn>
                  <a:cxn ang="0">
                    <a:pos x="502" y="220"/>
                  </a:cxn>
                  <a:cxn ang="0">
                    <a:pos x="530" y="98"/>
                  </a:cxn>
                  <a:cxn ang="0">
                    <a:pos x="562" y="74"/>
                  </a:cxn>
                  <a:cxn ang="0">
                    <a:pos x="658" y="60"/>
                  </a:cxn>
                  <a:cxn ang="0">
                    <a:pos x="756" y="24"/>
                  </a:cxn>
                  <a:cxn ang="0">
                    <a:pos x="770" y="186"/>
                  </a:cxn>
                  <a:cxn ang="0">
                    <a:pos x="902" y="180"/>
                  </a:cxn>
                  <a:cxn ang="0">
                    <a:pos x="1036" y="154"/>
                  </a:cxn>
                  <a:cxn ang="0">
                    <a:pos x="1158" y="148"/>
                  </a:cxn>
                  <a:cxn ang="0">
                    <a:pos x="1232" y="64"/>
                  </a:cxn>
                  <a:cxn ang="0">
                    <a:pos x="1298" y="220"/>
                  </a:cxn>
                  <a:cxn ang="0">
                    <a:pos x="1218" y="316"/>
                  </a:cxn>
                  <a:cxn ang="0">
                    <a:pos x="1188" y="378"/>
                  </a:cxn>
                  <a:cxn ang="0">
                    <a:pos x="1218" y="394"/>
                  </a:cxn>
                  <a:cxn ang="0">
                    <a:pos x="1256" y="406"/>
                  </a:cxn>
                  <a:cxn ang="0">
                    <a:pos x="1328" y="426"/>
                  </a:cxn>
                  <a:cxn ang="0">
                    <a:pos x="1380" y="360"/>
                  </a:cxn>
                  <a:cxn ang="0">
                    <a:pos x="1464" y="336"/>
                  </a:cxn>
                  <a:cxn ang="0">
                    <a:pos x="1536" y="360"/>
                  </a:cxn>
                  <a:cxn ang="0">
                    <a:pos x="1592" y="390"/>
                  </a:cxn>
                  <a:cxn ang="0">
                    <a:pos x="1602" y="440"/>
                  </a:cxn>
                  <a:cxn ang="0">
                    <a:pos x="1678" y="428"/>
                  </a:cxn>
                  <a:cxn ang="0">
                    <a:pos x="1772" y="458"/>
                  </a:cxn>
                  <a:cxn ang="0">
                    <a:pos x="1958" y="548"/>
                  </a:cxn>
                  <a:cxn ang="0">
                    <a:pos x="2092" y="622"/>
                  </a:cxn>
                  <a:cxn ang="0">
                    <a:pos x="2104" y="754"/>
                  </a:cxn>
                  <a:cxn ang="0">
                    <a:pos x="1976" y="914"/>
                  </a:cxn>
                  <a:cxn ang="0">
                    <a:pos x="1942" y="970"/>
                  </a:cxn>
                  <a:cxn ang="0">
                    <a:pos x="1870" y="1026"/>
                  </a:cxn>
                  <a:cxn ang="0">
                    <a:pos x="1848" y="1128"/>
                  </a:cxn>
                  <a:cxn ang="0">
                    <a:pos x="1796" y="1330"/>
                  </a:cxn>
                  <a:cxn ang="0">
                    <a:pos x="1720" y="1474"/>
                  </a:cxn>
                  <a:cxn ang="0">
                    <a:pos x="1616" y="1586"/>
                  </a:cxn>
                  <a:cxn ang="0">
                    <a:pos x="1530" y="1586"/>
                  </a:cxn>
                  <a:cxn ang="0">
                    <a:pos x="1430" y="1620"/>
                  </a:cxn>
                </a:cxnLst>
                <a:rect l="0" t="0" r="r" b="b"/>
                <a:pathLst>
                  <a:path w="2110" h="2146">
                    <a:moveTo>
                      <a:pt x="1318" y="1694"/>
                    </a:moveTo>
                    <a:lnTo>
                      <a:pt x="1316" y="1694"/>
                    </a:lnTo>
                    <a:lnTo>
                      <a:pt x="1314" y="1696"/>
                    </a:lnTo>
                    <a:lnTo>
                      <a:pt x="1312" y="1698"/>
                    </a:lnTo>
                    <a:lnTo>
                      <a:pt x="1308" y="1702"/>
                    </a:lnTo>
                    <a:lnTo>
                      <a:pt x="1306" y="1704"/>
                    </a:lnTo>
                    <a:lnTo>
                      <a:pt x="1306" y="1706"/>
                    </a:lnTo>
                    <a:lnTo>
                      <a:pt x="1304" y="1706"/>
                    </a:lnTo>
                    <a:lnTo>
                      <a:pt x="1304" y="1704"/>
                    </a:lnTo>
                    <a:lnTo>
                      <a:pt x="1306" y="1700"/>
                    </a:lnTo>
                    <a:lnTo>
                      <a:pt x="1308" y="1698"/>
                    </a:lnTo>
                    <a:lnTo>
                      <a:pt x="1310" y="1696"/>
                    </a:lnTo>
                    <a:lnTo>
                      <a:pt x="1306" y="1698"/>
                    </a:lnTo>
                    <a:lnTo>
                      <a:pt x="1302" y="1700"/>
                    </a:lnTo>
                    <a:lnTo>
                      <a:pt x="1300" y="1698"/>
                    </a:lnTo>
                    <a:lnTo>
                      <a:pt x="1298" y="1698"/>
                    </a:lnTo>
                    <a:lnTo>
                      <a:pt x="1296" y="1696"/>
                    </a:lnTo>
                    <a:lnTo>
                      <a:pt x="1294" y="1698"/>
                    </a:lnTo>
                    <a:lnTo>
                      <a:pt x="1294" y="1700"/>
                    </a:lnTo>
                    <a:lnTo>
                      <a:pt x="1294" y="1702"/>
                    </a:lnTo>
                    <a:lnTo>
                      <a:pt x="1292" y="1706"/>
                    </a:lnTo>
                    <a:lnTo>
                      <a:pt x="1288" y="1706"/>
                    </a:lnTo>
                    <a:lnTo>
                      <a:pt x="1284" y="1704"/>
                    </a:lnTo>
                    <a:lnTo>
                      <a:pt x="1282" y="1702"/>
                    </a:lnTo>
                    <a:lnTo>
                      <a:pt x="1280" y="1702"/>
                    </a:lnTo>
                    <a:lnTo>
                      <a:pt x="1278" y="1706"/>
                    </a:lnTo>
                    <a:lnTo>
                      <a:pt x="1280" y="1706"/>
                    </a:lnTo>
                    <a:lnTo>
                      <a:pt x="1282" y="1708"/>
                    </a:lnTo>
                    <a:lnTo>
                      <a:pt x="1284" y="1708"/>
                    </a:lnTo>
                    <a:lnTo>
                      <a:pt x="1288" y="1708"/>
                    </a:lnTo>
                    <a:lnTo>
                      <a:pt x="1290" y="1708"/>
                    </a:lnTo>
                    <a:lnTo>
                      <a:pt x="1296" y="1710"/>
                    </a:lnTo>
                    <a:lnTo>
                      <a:pt x="1296" y="1712"/>
                    </a:lnTo>
                    <a:lnTo>
                      <a:pt x="1296" y="1714"/>
                    </a:lnTo>
                    <a:lnTo>
                      <a:pt x="1294" y="1714"/>
                    </a:lnTo>
                    <a:lnTo>
                      <a:pt x="1292" y="1716"/>
                    </a:lnTo>
                    <a:lnTo>
                      <a:pt x="1290" y="1720"/>
                    </a:lnTo>
                    <a:lnTo>
                      <a:pt x="1288" y="1722"/>
                    </a:lnTo>
                    <a:lnTo>
                      <a:pt x="1282" y="1724"/>
                    </a:lnTo>
                    <a:lnTo>
                      <a:pt x="1276" y="1726"/>
                    </a:lnTo>
                    <a:lnTo>
                      <a:pt x="1274" y="1728"/>
                    </a:lnTo>
                    <a:lnTo>
                      <a:pt x="1280" y="1728"/>
                    </a:lnTo>
                    <a:lnTo>
                      <a:pt x="1284" y="1728"/>
                    </a:lnTo>
                    <a:lnTo>
                      <a:pt x="1284" y="1732"/>
                    </a:lnTo>
                    <a:lnTo>
                      <a:pt x="1282" y="1734"/>
                    </a:lnTo>
                    <a:lnTo>
                      <a:pt x="1280" y="1738"/>
                    </a:lnTo>
                    <a:lnTo>
                      <a:pt x="1282" y="1742"/>
                    </a:lnTo>
                    <a:lnTo>
                      <a:pt x="1282" y="1744"/>
                    </a:lnTo>
                    <a:lnTo>
                      <a:pt x="1278" y="1748"/>
                    </a:lnTo>
                    <a:lnTo>
                      <a:pt x="1276" y="1748"/>
                    </a:lnTo>
                    <a:lnTo>
                      <a:pt x="1274" y="1746"/>
                    </a:lnTo>
                    <a:lnTo>
                      <a:pt x="1274" y="1744"/>
                    </a:lnTo>
                    <a:lnTo>
                      <a:pt x="1272" y="1740"/>
                    </a:lnTo>
                    <a:lnTo>
                      <a:pt x="1272" y="1738"/>
                    </a:lnTo>
                    <a:lnTo>
                      <a:pt x="1272" y="1742"/>
                    </a:lnTo>
                    <a:lnTo>
                      <a:pt x="1272" y="1750"/>
                    </a:lnTo>
                    <a:lnTo>
                      <a:pt x="1276" y="1756"/>
                    </a:lnTo>
                    <a:lnTo>
                      <a:pt x="1278" y="1758"/>
                    </a:lnTo>
                    <a:lnTo>
                      <a:pt x="1278" y="1760"/>
                    </a:lnTo>
                    <a:lnTo>
                      <a:pt x="1276" y="1762"/>
                    </a:lnTo>
                    <a:lnTo>
                      <a:pt x="1274" y="1766"/>
                    </a:lnTo>
                    <a:lnTo>
                      <a:pt x="1274" y="1768"/>
                    </a:lnTo>
                    <a:lnTo>
                      <a:pt x="1272" y="1772"/>
                    </a:lnTo>
                    <a:lnTo>
                      <a:pt x="1272" y="1774"/>
                    </a:lnTo>
                    <a:lnTo>
                      <a:pt x="1272" y="1776"/>
                    </a:lnTo>
                    <a:lnTo>
                      <a:pt x="1276" y="1778"/>
                    </a:lnTo>
                    <a:lnTo>
                      <a:pt x="1274" y="1784"/>
                    </a:lnTo>
                    <a:lnTo>
                      <a:pt x="1274" y="1796"/>
                    </a:lnTo>
                    <a:lnTo>
                      <a:pt x="1274" y="1798"/>
                    </a:lnTo>
                    <a:lnTo>
                      <a:pt x="1276" y="1798"/>
                    </a:lnTo>
                    <a:lnTo>
                      <a:pt x="1278" y="1798"/>
                    </a:lnTo>
                    <a:lnTo>
                      <a:pt x="1278" y="1800"/>
                    </a:lnTo>
                    <a:lnTo>
                      <a:pt x="1278" y="1802"/>
                    </a:lnTo>
                    <a:lnTo>
                      <a:pt x="1276" y="1802"/>
                    </a:lnTo>
                    <a:lnTo>
                      <a:pt x="1272" y="1804"/>
                    </a:lnTo>
                    <a:lnTo>
                      <a:pt x="1268" y="1816"/>
                    </a:lnTo>
                    <a:lnTo>
                      <a:pt x="1270" y="1824"/>
                    </a:lnTo>
                    <a:lnTo>
                      <a:pt x="1268" y="1826"/>
                    </a:lnTo>
                    <a:lnTo>
                      <a:pt x="1268" y="1832"/>
                    </a:lnTo>
                    <a:lnTo>
                      <a:pt x="1268" y="1834"/>
                    </a:lnTo>
                    <a:lnTo>
                      <a:pt x="1270" y="1836"/>
                    </a:lnTo>
                    <a:lnTo>
                      <a:pt x="1270" y="1838"/>
                    </a:lnTo>
                    <a:lnTo>
                      <a:pt x="1266" y="1846"/>
                    </a:lnTo>
                    <a:lnTo>
                      <a:pt x="1264" y="1850"/>
                    </a:lnTo>
                    <a:lnTo>
                      <a:pt x="1262" y="1858"/>
                    </a:lnTo>
                    <a:lnTo>
                      <a:pt x="1256" y="1872"/>
                    </a:lnTo>
                    <a:lnTo>
                      <a:pt x="1254" y="1872"/>
                    </a:lnTo>
                    <a:lnTo>
                      <a:pt x="1254" y="1870"/>
                    </a:lnTo>
                    <a:lnTo>
                      <a:pt x="1254" y="1866"/>
                    </a:lnTo>
                    <a:lnTo>
                      <a:pt x="1252" y="1862"/>
                    </a:lnTo>
                    <a:lnTo>
                      <a:pt x="1250" y="1864"/>
                    </a:lnTo>
                    <a:lnTo>
                      <a:pt x="1250" y="1868"/>
                    </a:lnTo>
                    <a:lnTo>
                      <a:pt x="1250" y="1870"/>
                    </a:lnTo>
                    <a:lnTo>
                      <a:pt x="1254" y="1874"/>
                    </a:lnTo>
                    <a:lnTo>
                      <a:pt x="1250" y="1880"/>
                    </a:lnTo>
                    <a:lnTo>
                      <a:pt x="1246" y="1880"/>
                    </a:lnTo>
                    <a:lnTo>
                      <a:pt x="1244" y="1882"/>
                    </a:lnTo>
                    <a:lnTo>
                      <a:pt x="1232" y="1888"/>
                    </a:lnTo>
                    <a:lnTo>
                      <a:pt x="1230" y="1890"/>
                    </a:lnTo>
                    <a:lnTo>
                      <a:pt x="1220" y="1896"/>
                    </a:lnTo>
                    <a:lnTo>
                      <a:pt x="1218" y="1900"/>
                    </a:lnTo>
                    <a:lnTo>
                      <a:pt x="1206" y="1910"/>
                    </a:lnTo>
                    <a:lnTo>
                      <a:pt x="1204" y="1912"/>
                    </a:lnTo>
                    <a:lnTo>
                      <a:pt x="1202" y="1914"/>
                    </a:lnTo>
                    <a:lnTo>
                      <a:pt x="1202" y="1916"/>
                    </a:lnTo>
                    <a:lnTo>
                      <a:pt x="1200" y="1918"/>
                    </a:lnTo>
                    <a:lnTo>
                      <a:pt x="1198" y="1920"/>
                    </a:lnTo>
                    <a:lnTo>
                      <a:pt x="1190" y="1928"/>
                    </a:lnTo>
                    <a:lnTo>
                      <a:pt x="1188" y="1932"/>
                    </a:lnTo>
                    <a:lnTo>
                      <a:pt x="1182" y="1942"/>
                    </a:lnTo>
                    <a:lnTo>
                      <a:pt x="1180" y="1946"/>
                    </a:lnTo>
                    <a:lnTo>
                      <a:pt x="1172" y="1958"/>
                    </a:lnTo>
                    <a:lnTo>
                      <a:pt x="1170" y="1966"/>
                    </a:lnTo>
                    <a:lnTo>
                      <a:pt x="1168" y="1966"/>
                    </a:lnTo>
                    <a:lnTo>
                      <a:pt x="1168" y="1968"/>
                    </a:lnTo>
                    <a:lnTo>
                      <a:pt x="1166" y="1970"/>
                    </a:lnTo>
                    <a:lnTo>
                      <a:pt x="1166" y="1972"/>
                    </a:lnTo>
                    <a:lnTo>
                      <a:pt x="1164" y="1976"/>
                    </a:lnTo>
                    <a:lnTo>
                      <a:pt x="1160" y="1980"/>
                    </a:lnTo>
                    <a:lnTo>
                      <a:pt x="1156" y="1984"/>
                    </a:lnTo>
                    <a:lnTo>
                      <a:pt x="1154" y="1988"/>
                    </a:lnTo>
                    <a:lnTo>
                      <a:pt x="1144" y="2000"/>
                    </a:lnTo>
                    <a:lnTo>
                      <a:pt x="1144" y="2002"/>
                    </a:lnTo>
                    <a:lnTo>
                      <a:pt x="1142" y="2004"/>
                    </a:lnTo>
                    <a:lnTo>
                      <a:pt x="1140" y="2006"/>
                    </a:lnTo>
                    <a:lnTo>
                      <a:pt x="1138" y="2008"/>
                    </a:lnTo>
                    <a:lnTo>
                      <a:pt x="1132" y="2014"/>
                    </a:lnTo>
                    <a:lnTo>
                      <a:pt x="1128" y="2018"/>
                    </a:lnTo>
                    <a:lnTo>
                      <a:pt x="1120" y="2024"/>
                    </a:lnTo>
                    <a:lnTo>
                      <a:pt x="1120" y="2026"/>
                    </a:lnTo>
                    <a:lnTo>
                      <a:pt x="1116" y="2028"/>
                    </a:lnTo>
                    <a:lnTo>
                      <a:pt x="1110" y="2032"/>
                    </a:lnTo>
                    <a:lnTo>
                      <a:pt x="1096" y="2042"/>
                    </a:lnTo>
                    <a:lnTo>
                      <a:pt x="1090" y="2046"/>
                    </a:lnTo>
                    <a:lnTo>
                      <a:pt x="1086" y="2046"/>
                    </a:lnTo>
                    <a:lnTo>
                      <a:pt x="1078" y="2050"/>
                    </a:lnTo>
                    <a:lnTo>
                      <a:pt x="1076" y="2052"/>
                    </a:lnTo>
                    <a:lnTo>
                      <a:pt x="1074" y="2052"/>
                    </a:lnTo>
                    <a:lnTo>
                      <a:pt x="1074" y="2056"/>
                    </a:lnTo>
                    <a:lnTo>
                      <a:pt x="1072" y="2058"/>
                    </a:lnTo>
                    <a:lnTo>
                      <a:pt x="1066" y="2064"/>
                    </a:lnTo>
                    <a:lnTo>
                      <a:pt x="1064" y="2062"/>
                    </a:lnTo>
                    <a:lnTo>
                      <a:pt x="1066" y="2060"/>
                    </a:lnTo>
                    <a:lnTo>
                      <a:pt x="1068" y="2058"/>
                    </a:lnTo>
                    <a:lnTo>
                      <a:pt x="1070" y="2052"/>
                    </a:lnTo>
                    <a:lnTo>
                      <a:pt x="1068" y="2050"/>
                    </a:lnTo>
                    <a:lnTo>
                      <a:pt x="1068" y="2048"/>
                    </a:lnTo>
                    <a:lnTo>
                      <a:pt x="1066" y="2046"/>
                    </a:lnTo>
                    <a:lnTo>
                      <a:pt x="1068" y="2046"/>
                    </a:lnTo>
                    <a:lnTo>
                      <a:pt x="1070" y="2044"/>
                    </a:lnTo>
                    <a:lnTo>
                      <a:pt x="1072" y="2046"/>
                    </a:lnTo>
                    <a:lnTo>
                      <a:pt x="1074" y="2046"/>
                    </a:lnTo>
                    <a:lnTo>
                      <a:pt x="1074" y="2048"/>
                    </a:lnTo>
                    <a:lnTo>
                      <a:pt x="1076" y="2048"/>
                    </a:lnTo>
                    <a:lnTo>
                      <a:pt x="1078" y="2048"/>
                    </a:lnTo>
                    <a:lnTo>
                      <a:pt x="1086" y="2044"/>
                    </a:lnTo>
                    <a:lnTo>
                      <a:pt x="1088" y="2044"/>
                    </a:lnTo>
                    <a:lnTo>
                      <a:pt x="1090" y="2042"/>
                    </a:lnTo>
                    <a:lnTo>
                      <a:pt x="1094" y="2036"/>
                    </a:lnTo>
                    <a:lnTo>
                      <a:pt x="1100" y="2032"/>
                    </a:lnTo>
                    <a:lnTo>
                      <a:pt x="1102" y="2030"/>
                    </a:lnTo>
                    <a:lnTo>
                      <a:pt x="1104" y="2032"/>
                    </a:lnTo>
                    <a:lnTo>
                      <a:pt x="1106" y="2032"/>
                    </a:lnTo>
                    <a:lnTo>
                      <a:pt x="1106" y="2030"/>
                    </a:lnTo>
                    <a:lnTo>
                      <a:pt x="1110" y="2030"/>
                    </a:lnTo>
                    <a:lnTo>
                      <a:pt x="1110" y="2028"/>
                    </a:lnTo>
                    <a:lnTo>
                      <a:pt x="1114" y="2024"/>
                    </a:lnTo>
                    <a:lnTo>
                      <a:pt x="1116" y="2020"/>
                    </a:lnTo>
                    <a:lnTo>
                      <a:pt x="1116" y="2016"/>
                    </a:lnTo>
                    <a:lnTo>
                      <a:pt x="1116" y="2014"/>
                    </a:lnTo>
                    <a:lnTo>
                      <a:pt x="1116" y="2012"/>
                    </a:lnTo>
                    <a:lnTo>
                      <a:pt x="1118" y="2006"/>
                    </a:lnTo>
                    <a:lnTo>
                      <a:pt x="1122" y="2008"/>
                    </a:lnTo>
                    <a:lnTo>
                      <a:pt x="1124" y="2008"/>
                    </a:lnTo>
                    <a:lnTo>
                      <a:pt x="1126" y="2010"/>
                    </a:lnTo>
                    <a:lnTo>
                      <a:pt x="1126" y="2006"/>
                    </a:lnTo>
                    <a:lnTo>
                      <a:pt x="1128" y="2000"/>
                    </a:lnTo>
                    <a:lnTo>
                      <a:pt x="1130" y="1998"/>
                    </a:lnTo>
                    <a:lnTo>
                      <a:pt x="1132" y="1998"/>
                    </a:lnTo>
                    <a:lnTo>
                      <a:pt x="1138" y="1994"/>
                    </a:lnTo>
                    <a:lnTo>
                      <a:pt x="1140" y="1994"/>
                    </a:lnTo>
                    <a:lnTo>
                      <a:pt x="1140" y="1992"/>
                    </a:lnTo>
                    <a:lnTo>
                      <a:pt x="1142" y="1990"/>
                    </a:lnTo>
                    <a:lnTo>
                      <a:pt x="1144" y="1988"/>
                    </a:lnTo>
                    <a:lnTo>
                      <a:pt x="1144" y="1984"/>
                    </a:lnTo>
                    <a:lnTo>
                      <a:pt x="1146" y="1982"/>
                    </a:lnTo>
                    <a:lnTo>
                      <a:pt x="1146" y="1976"/>
                    </a:lnTo>
                    <a:lnTo>
                      <a:pt x="1148" y="1974"/>
                    </a:lnTo>
                    <a:lnTo>
                      <a:pt x="1148" y="1976"/>
                    </a:lnTo>
                    <a:lnTo>
                      <a:pt x="1150" y="1976"/>
                    </a:lnTo>
                    <a:lnTo>
                      <a:pt x="1150" y="1974"/>
                    </a:lnTo>
                    <a:lnTo>
                      <a:pt x="1152" y="1968"/>
                    </a:lnTo>
                    <a:lnTo>
                      <a:pt x="1154" y="1966"/>
                    </a:lnTo>
                    <a:lnTo>
                      <a:pt x="1154" y="1964"/>
                    </a:lnTo>
                    <a:lnTo>
                      <a:pt x="1152" y="1960"/>
                    </a:lnTo>
                    <a:lnTo>
                      <a:pt x="1150" y="1960"/>
                    </a:lnTo>
                    <a:lnTo>
                      <a:pt x="1148" y="1960"/>
                    </a:lnTo>
                    <a:lnTo>
                      <a:pt x="1148" y="1962"/>
                    </a:lnTo>
                    <a:lnTo>
                      <a:pt x="1148" y="1964"/>
                    </a:lnTo>
                    <a:lnTo>
                      <a:pt x="1148" y="1966"/>
                    </a:lnTo>
                    <a:lnTo>
                      <a:pt x="1142" y="1964"/>
                    </a:lnTo>
                    <a:lnTo>
                      <a:pt x="1136" y="1966"/>
                    </a:lnTo>
                    <a:lnTo>
                      <a:pt x="1134" y="1966"/>
                    </a:lnTo>
                    <a:lnTo>
                      <a:pt x="1134" y="1970"/>
                    </a:lnTo>
                    <a:lnTo>
                      <a:pt x="1132" y="1970"/>
                    </a:lnTo>
                    <a:lnTo>
                      <a:pt x="1130" y="1970"/>
                    </a:lnTo>
                    <a:lnTo>
                      <a:pt x="1130" y="1966"/>
                    </a:lnTo>
                    <a:lnTo>
                      <a:pt x="1130" y="1964"/>
                    </a:lnTo>
                    <a:lnTo>
                      <a:pt x="1128" y="1960"/>
                    </a:lnTo>
                    <a:lnTo>
                      <a:pt x="1126" y="1960"/>
                    </a:lnTo>
                    <a:lnTo>
                      <a:pt x="1126" y="1962"/>
                    </a:lnTo>
                    <a:lnTo>
                      <a:pt x="1124" y="1960"/>
                    </a:lnTo>
                    <a:lnTo>
                      <a:pt x="1122" y="1956"/>
                    </a:lnTo>
                    <a:lnTo>
                      <a:pt x="1122" y="1952"/>
                    </a:lnTo>
                    <a:lnTo>
                      <a:pt x="1122" y="1950"/>
                    </a:lnTo>
                    <a:lnTo>
                      <a:pt x="1120" y="1948"/>
                    </a:lnTo>
                    <a:lnTo>
                      <a:pt x="1116" y="1956"/>
                    </a:lnTo>
                    <a:lnTo>
                      <a:pt x="1118" y="1962"/>
                    </a:lnTo>
                    <a:lnTo>
                      <a:pt x="1120" y="1970"/>
                    </a:lnTo>
                    <a:lnTo>
                      <a:pt x="1118" y="1972"/>
                    </a:lnTo>
                    <a:lnTo>
                      <a:pt x="1116" y="1976"/>
                    </a:lnTo>
                    <a:lnTo>
                      <a:pt x="1114" y="1980"/>
                    </a:lnTo>
                    <a:lnTo>
                      <a:pt x="1114" y="1982"/>
                    </a:lnTo>
                    <a:lnTo>
                      <a:pt x="1114" y="1988"/>
                    </a:lnTo>
                    <a:lnTo>
                      <a:pt x="1114" y="1990"/>
                    </a:lnTo>
                    <a:lnTo>
                      <a:pt x="1114" y="1992"/>
                    </a:lnTo>
                    <a:lnTo>
                      <a:pt x="1112" y="1990"/>
                    </a:lnTo>
                    <a:lnTo>
                      <a:pt x="1114" y="1990"/>
                    </a:lnTo>
                    <a:lnTo>
                      <a:pt x="1114" y="1988"/>
                    </a:lnTo>
                    <a:lnTo>
                      <a:pt x="1112" y="1982"/>
                    </a:lnTo>
                    <a:lnTo>
                      <a:pt x="1110" y="1982"/>
                    </a:lnTo>
                    <a:lnTo>
                      <a:pt x="1110" y="1984"/>
                    </a:lnTo>
                    <a:lnTo>
                      <a:pt x="1110" y="1988"/>
                    </a:lnTo>
                    <a:lnTo>
                      <a:pt x="1104" y="1996"/>
                    </a:lnTo>
                    <a:lnTo>
                      <a:pt x="1104" y="1998"/>
                    </a:lnTo>
                    <a:lnTo>
                      <a:pt x="1102" y="1998"/>
                    </a:lnTo>
                    <a:lnTo>
                      <a:pt x="1102" y="2000"/>
                    </a:lnTo>
                    <a:lnTo>
                      <a:pt x="1102" y="2004"/>
                    </a:lnTo>
                    <a:lnTo>
                      <a:pt x="1100" y="2006"/>
                    </a:lnTo>
                    <a:lnTo>
                      <a:pt x="1098" y="2008"/>
                    </a:lnTo>
                    <a:lnTo>
                      <a:pt x="1094" y="2008"/>
                    </a:lnTo>
                    <a:lnTo>
                      <a:pt x="1094" y="2010"/>
                    </a:lnTo>
                    <a:lnTo>
                      <a:pt x="1092" y="2012"/>
                    </a:lnTo>
                    <a:lnTo>
                      <a:pt x="1092" y="2014"/>
                    </a:lnTo>
                    <a:lnTo>
                      <a:pt x="1078" y="2016"/>
                    </a:lnTo>
                    <a:lnTo>
                      <a:pt x="1076" y="2018"/>
                    </a:lnTo>
                    <a:lnTo>
                      <a:pt x="1074" y="2022"/>
                    </a:lnTo>
                    <a:lnTo>
                      <a:pt x="1074" y="2030"/>
                    </a:lnTo>
                    <a:lnTo>
                      <a:pt x="1072" y="2034"/>
                    </a:lnTo>
                    <a:lnTo>
                      <a:pt x="1070" y="2036"/>
                    </a:lnTo>
                    <a:lnTo>
                      <a:pt x="1068" y="2036"/>
                    </a:lnTo>
                    <a:lnTo>
                      <a:pt x="1066" y="2038"/>
                    </a:lnTo>
                    <a:lnTo>
                      <a:pt x="1064" y="2038"/>
                    </a:lnTo>
                    <a:lnTo>
                      <a:pt x="1062" y="2038"/>
                    </a:lnTo>
                    <a:lnTo>
                      <a:pt x="1062" y="2040"/>
                    </a:lnTo>
                    <a:lnTo>
                      <a:pt x="1060" y="2046"/>
                    </a:lnTo>
                    <a:lnTo>
                      <a:pt x="1062" y="2048"/>
                    </a:lnTo>
                    <a:lnTo>
                      <a:pt x="1062" y="2052"/>
                    </a:lnTo>
                    <a:lnTo>
                      <a:pt x="1058" y="2052"/>
                    </a:lnTo>
                    <a:lnTo>
                      <a:pt x="1056" y="2056"/>
                    </a:lnTo>
                    <a:lnTo>
                      <a:pt x="1058" y="2058"/>
                    </a:lnTo>
                    <a:lnTo>
                      <a:pt x="1060" y="2058"/>
                    </a:lnTo>
                    <a:lnTo>
                      <a:pt x="1064" y="2060"/>
                    </a:lnTo>
                    <a:lnTo>
                      <a:pt x="1064" y="2064"/>
                    </a:lnTo>
                    <a:lnTo>
                      <a:pt x="1060" y="2066"/>
                    </a:lnTo>
                    <a:lnTo>
                      <a:pt x="1056" y="2068"/>
                    </a:lnTo>
                    <a:lnTo>
                      <a:pt x="1056" y="2070"/>
                    </a:lnTo>
                    <a:lnTo>
                      <a:pt x="1054" y="2072"/>
                    </a:lnTo>
                    <a:lnTo>
                      <a:pt x="1048" y="2082"/>
                    </a:lnTo>
                    <a:lnTo>
                      <a:pt x="1044" y="2090"/>
                    </a:lnTo>
                    <a:lnTo>
                      <a:pt x="1044" y="2092"/>
                    </a:lnTo>
                    <a:lnTo>
                      <a:pt x="1042" y="2094"/>
                    </a:lnTo>
                    <a:lnTo>
                      <a:pt x="1038" y="2102"/>
                    </a:lnTo>
                    <a:lnTo>
                      <a:pt x="1038" y="2104"/>
                    </a:lnTo>
                    <a:lnTo>
                      <a:pt x="1032" y="2114"/>
                    </a:lnTo>
                    <a:lnTo>
                      <a:pt x="1030" y="2114"/>
                    </a:lnTo>
                    <a:lnTo>
                      <a:pt x="1024" y="2122"/>
                    </a:lnTo>
                    <a:lnTo>
                      <a:pt x="1016" y="2128"/>
                    </a:lnTo>
                    <a:lnTo>
                      <a:pt x="1014" y="2130"/>
                    </a:lnTo>
                    <a:lnTo>
                      <a:pt x="1002" y="2138"/>
                    </a:lnTo>
                    <a:lnTo>
                      <a:pt x="1000" y="2142"/>
                    </a:lnTo>
                    <a:lnTo>
                      <a:pt x="998" y="2142"/>
                    </a:lnTo>
                    <a:lnTo>
                      <a:pt x="996" y="2144"/>
                    </a:lnTo>
                    <a:lnTo>
                      <a:pt x="994" y="2144"/>
                    </a:lnTo>
                    <a:lnTo>
                      <a:pt x="992" y="2146"/>
                    </a:lnTo>
                    <a:lnTo>
                      <a:pt x="990" y="2146"/>
                    </a:lnTo>
                    <a:lnTo>
                      <a:pt x="984" y="2142"/>
                    </a:lnTo>
                    <a:lnTo>
                      <a:pt x="984" y="2140"/>
                    </a:lnTo>
                    <a:lnTo>
                      <a:pt x="984" y="2138"/>
                    </a:lnTo>
                    <a:lnTo>
                      <a:pt x="984" y="2136"/>
                    </a:lnTo>
                    <a:lnTo>
                      <a:pt x="986" y="2134"/>
                    </a:lnTo>
                    <a:lnTo>
                      <a:pt x="986" y="2132"/>
                    </a:lnTo>
                    <a:lnTo>
                      <a:pt x="986" y="2130"/>
                    </a:lnTo>
                    <a:lnTo>
                      <a:pt x="988" y="2128"/>
                    </a:lnTo>
                    <a:lnTo>
                      <a:pt x="988" y="2126"/>
                    </a:lnTo>
                    <a:lnTo>
                      <a:pt x="988" y="2122"/>
                    </a:lnTo>
                    <a:lnTo>
                      <a:pt x="988" y="2120"/>
                    </a:lnTo>
                    <a:lnTo>
                      <a:pt x="988" y="2118"/>
                    </a:lnTo>
                    <a:lnTo>
                      <a:pt x="988" y="2116"/>
                    </a:lnTo>
                    <a:lnTo>
                      <a:pt x="988" y="2114"/>
                    </a:lnTo>
                    <a:lnTo>
                      <a:pt x="988" y="2112"/>
                    </a:lnTo>
                    <a:lnTo>
                      <a:pt x="990" y="2110"/>
                    </a:lnTo>
                    <a:lnTo>
                      <a:pt x="990" y="2108"/>
                    </a:lnTo>
                    <a:lnTo>
                      <a:pt x="992" y="2108"/>
                    </a:lnTo>
                    <a:lnTo>
                      <a:pt x="994" y="2108"/>
                    </a:lnTo>
                    <a:lnTo>
                      <a:pt x="1000" y="2102"/>
                    </a:lnTo>
                    <a:lnTo>
                      <a:pt x="1004" y="2098"/>
                    </a:lnTo>
                    <a:lnTo>
                      <a:pt x="1008" y="2094"/>
                    </a:lnTo>
                    <a:lnTo>
                      <a:pt x="1012" y="2090"/>
                    </a:lnTo>
                    <a:lnTo>
                      <a:pt x="1010" y="2088"/>
                    </a:lnTo>
                    <a:lnTo>
                      <a:pt x="1008" y="2086"/>
                    </a:lnTo>
                    <a:lnTo>
                      <a:pt x="1004" y="2084"/>
                    </a:lnTo>
                    <a:lnTo>
                      <a:pt x="1000" y="2082"/>
                    </a:lnTo>
                    <a:lnTo>
                      <a:pt x="998" y="2082"/>
                    </a:lnTo>
                    <a:lnTo>
                      <a:pt x="994" y="2076"/>
                    </a:lnTo>
                    <a:lnTo>
                      <a:pt x="992" y="2074"/>
                    </a:lnTo>
                    <a:lnTo>
                      <a:pt x="992" y="2072"/>
                    </a:lnTo>
                    <a:lnTo>
                      <a:pt x="988" y="2070"/>
                    </a:lnTo>
                    <a:lnTo>
                      <a:pt x="988" y="2066"/>
                    </a:lnTo>
                    <a:lnTo>
                      <a:pt x="990" y="2064"/>
                    </a:lnTo>
                    <a:lnTo>
                      <a:pt x="988" y="2060"/>
                    </a:lnTo>
                    <a:lnTo>
                      <a:pt x="986" y="2054"/>
                    </a:lnTo>
                    <a:lnTo>
                      <a:pt x="980" y="2048"/>
                    </a:lnTo>
                    <a:lnTo>
                      <a:pt x="978" y="2046"/>
                    </a:lnTo>
                    <a:lnTo>
                      <a:pt x="972" y="2042"/>
                    </a:lnTo>
                    <a:lnTo>
                      <a:pt x="970" y="2042"/>
                    </a:lnTo>
                    <a:lnTo>
                      <a:pt x="966" y="2042"/>
                    </a:lnTo>
                    <a:lnTo>
                      <a:pt x="962" y="2036"/>
                    </a:lnTo>
                    <a:lnTo>
                      <a:pt x="958" y="2034"/>
                    </a:lnTo>
                    <a:lnTo>
                      <a:pt x="958" y="2032"/>
                    </a:lnTo>
                    <a:lnTo>
                      <a:pt x="956" y="2030"/>
                    </a:lnTo>
                    <a:lnTo>
                      <a:pt x="954" y="2030"/>
                    </a:lnTo>
                    <a:lnTo>
                      <a:pt x="954" y="2024"/>
                    </a:lnTo>
                    <a:lnTo>
                      <a:pt x="948" y="2016"/>
                    </a:lnTo>
                    <a:lnTo>
                      <a:pt x="944" y="2016"/>
                    </a:lnTo>
                    <a:lnTo>
                      <a:pt x="942" y="2016"/>
                    </a:lnTo>
                    <a:lnTo>
                      <a:pt x="940" y="2016"/>
                    </a:lnTo>
                    <a:lnTo>
                      <a:pt x="938" y="2016"/>
                    </a:lnTo>
                    <a:lnTo>
                      <a:pt x="938" y="2014"/>
                    </a:lnTo>
                    <a:lnTo>
                      <a:pt x="936" y="2014"/>
                    </a:lnTo>
                    <a:lnTo>
                      <a:pt x="934" y="2012"/>
                    </a:lnTo>
                    <a:lnTo>
                      <a:pt x="932" y="2010"/>
                    </a:lnTo>
                    <a:lnTo>
                      <a:pt x="930" y="2008"/>
                    </a:lnTo>
                    <a:lnTo>
                      <a:pt x="926" y="2008"/>
                    </a:lnTo>
                    <a:lnTo>
                      <a:pt x="920" y="2004"/>
                    </a:lnTo>
                    <a:lnTo>
                      <a:pt x="918" y="2002"/>
                    </a:lnTo>
                    <a:lnTo>
                      <a:pt x="916" y="1994"/>
                    </a:lnTo>
                    <a:lnTo>
                      <a:pt x="914" y="1992"/>
                    </a:lnTo>
                    <a:lnTo>
                      <a:pt x="912" y="1988"/>
                    </a:lnTo>
                    <a:lnTo>
                      <a:pt x="908" y="1982"/>
                    </a:lnTo>
                    <a:lnTo>
                      <a:pt x="904" y="1980"/>
                    </a:lnTo>
                    <a:lnTo>
                      <a:pt x="902" y="1980"/>
                    </a:lnTo>
                    <a:lnTo>
                      <a:pt x="902" y="1982"/>
                    </a:lnTo>
                    <a:lnTo>
                      <a:pt x="900" y="1986"/>
                    </a:lnTo>
                    <a:lnTo>
                      <a:pt x="894" y="1990"/>
                    </a:lnTo>
                    <a:lnTo>
                      <a:pt x="890" y="1992"/>
                    </a:lnTo>
                    <a:lnTo>
                      <a:pt x="888" y="1992"/>
                    </a:lnTo>
                    <a:lnTo>
                      <a:pt x="884" y="1992"/>
                    </a:lnTo>
                    <a:lnTo>
                      <a:pt x="882" y="1992"/>
                    </a:lnTo>
                    <a:lnTo>
                      <a:pt x="884" y="1986"/>
                    </a:lnTo>
                    <a:lnTo>
                      <a:pt x="884" y="1984"/>
                    </a:lnTo>
                    <a:lnTo>
                      <a:pt x="884" y="1982"/>
                    </a:lnTo>
                    <a:lnTo>
                      <a:pt x="886" y="1980"/>
                    </a:lnTo>
                    <a:lnTo>
                      <a:pt x="886" y="1978"/>
                    </a:lnTo>
                    <a:lnTo>
                      <a:pt x="884" y="1978"/>
                    </a:lnTo>
                    <a:lnTo>
                      <a:pt x="880" y="1970"/>
                    </a:lnTo>
                    <a:lnTo>
                      <a:pt x="874" y="1962"/>
                    </a:lnTo>
                    <a:lnTo>
                      <a:pt x="872" y="1962"/>
                    </a:lnTo>
                    <a:lnTo>
                      <a:pt x="870" y="1960"/>
                    </a:lnTo>
                    <a:lnTo>
                      <a:pt x="868" y="1958"/>
                    </a:lnTo>
                    <a:lnTo>
                      <a:pt x="862" y="1952"/>
                    </a:lnTo>
                    <a:lnTo>
                      <a:pt x="862" y="1950"/>
                    </a:lnTo>
                    <a:lnTo>
                      <a:pt x="860" y="1950"/>
                    </a:lnTo>
                    <a:lnTo>
                      <a:pt x="860" y="1948"/>
                    </a:lnTo>
                    <a:lnTo>
                      <a:pt x="856" y="1944"/>
                    </a:lnTo>
                    <a:lnTo>
                      <a:pt x="850" y="1938"/>
                    </a:lnTo>
                    <a:lnTo>
                      <a:pt x="846" y="1936"/>
                    </a:lnTo>
                    <a:lnTo>
                      <a:pt x="842" y="1936"/>
                    </a:lnTo>
                    <a:lnTo>
                      <a:pt x="836" y="1936"/>
                    </a:lnTo>
                    <a:lnTo>
                      <a:pt x="834" y="1938"/>
                    </a:lnTo>
                    <a:lnTo>
                      <a:pt x="832" y="1940"/>
                    </a:lnTo>
                    <a:lnTo>
                      <a:pt x="832" y="1942"/>
                    </a:lnTo>
                    <a:lnTo>
                      <a:pt x="830" y="1946"/>
                    </a:lnTo>
                    <a:lnTo>
                      <a:pt x="828" y="1946"/>
                    </a:lnTo>
                    <a:lnTo>
                      <a:pt x="824" y="1946"/>
                    </a:lnTo>
                    <a:lnTo>
                      <a:pt x="824" y="1944"/>
                    </a:lnTo>
                    <a:lnTo>
                      <a:pt x="822" y="1944"/>
                    </a:lnTo>
                    <a:lnTo>
                      <a:pt x="814" y="1944"/>
                    </a:lnTo>
                    <a:lnTo>
                      <a:pt x="812" y="1944"/>
                    </a:lnTo>
                    <a:lnTo>
                      <a:pt x="812" y="1942"/>
                    </a:lnTo>
                    <a:lnTo>
                      <a:pt x="812" y="1940"/>
                    </a:lnTo>
                    <a:lnTo>
                      <a:pt x="810" y="1940"/>
                    </a:lnTo>
                    <a:lnTo>
                      <a:pt x="812" y="1940"/>
                    </a:lnTo>
                    <a:lnTo>
                      <a:pt x="814" y="1938"/>
                    </a:lnTo>
                    <a:lnTo>
                      <a:pt x="816" y="1936"/>
                    </a:lnTo>
                    <a:lnTo>
                      <a:pt x="824" y="1930"/>
                    </a:lnTo>
                    <a:lnTo>
                      <a:pt x="824" y="1928"/>
                    </a:lnTo>
                    <a:lnTo>
                      <a:pt x="826" y="1924"/>
                    </a:lnTo>
                    <a:lnTo>
                      <a:pt x="826" y="1920"/>
                    </a:lnTo>
                    <a:lnTo>
                      <a:pt x="828" y="1920"/>
                    </a:lnTo>
                    <a:lnTo>
                      <a:pt x="828" y="1918"/>
                    </a:lnTo>
                    <a:lnTo>
                      <a:pt x="830" y="1918"/>
                    </a:lnTo>
                    <a:lnTo>
                      <a:pt x="832" y="1918"/>
                    </a:lnTo>
                    <a:lnTo>
                      <a:pt x="834" y="1918"/>
                    </a:lnTo>
                    <a:lnTo>
                      <a:pt x="836" y="1918"/>
                    </a:lnTo>
                    <a:lnTo>
                      <a:pt x="838" y="1916"/>
                    </a:lnTo>
                    <a:lnTo>
                      <a:pt x="840" y="1914"/>
                    </a:lnTo>
                    <a:lnTo>
                      <a:pt x="846" y="1906"/>
                    </a:lnTo>
                    <a:lnTo>
                      <a:pt x="852" y="1902"/>
                    </a:lnTo>
                    <a:lnTo>
                      <a:pt x="858" y="1896"/>
                    </a:lnTo>
                    <a:lnTo>
                      <a:pt x="862" y="1890"/>
                    </a:lnTo>
                    <a:lnTo>
                      <a:pt x="862" y="1888"/>
                    </a:lnTo>
                    <a:lnTo>
                      <a:pt x="864" y="1886"/>
                    </a:lnTo>
                    <a:lnTo>
                      <a:pt x="866" y="1884"/>
                    </a:lnTo>
                    <a:lnTo>
                      <a:pt x="868" y="1884"/>
                    </a:lnTo>
                    <a:lnTo>
                      <a:pt x="870" y="1882"/>
                    </a:lnTo>
                    <a:lnTo>
                      <a:pt x="872" y="1882"/>
                    </a:lnTo>
                    <a:lnTo>
                      <a:pt x="874" y="1880"/>
                    </a:lnTo>
                    <a:lnTo>
                      <a:pt x="880" y="1868"/>
                    </a:lnTo>
                    <a:lnTo>
                      <a:pt x="882" y="1868"/>
                    </a:lnTo>
                    <a:lnTo>
                      <a:pt x="882" y="1866"/>
                    </a:lnTo>
                    <a:lnTo>
                      <a:pt x="888" y="1864"/>
                    </a:lnTo>
                    <a:lnTo>
                      <a:pt x="894" y="1858"/>
                    </a:lnTo>
                    <a:lnTo>
                      <a:pt x="896" y="1854"/>
                    </a:lnTo>
                    <a:lnTo>
                      <a:pt x="898" y="1850"/>
                    </a:lnTo>
                    <a:lnTo>
                      <a:pt x="904" y="1844"/>
                    </a:lnTo>
                    <a:lnTo>
                      <a:pt x="906" y="1844"/>
                    </a:lnTo>
                    <a:lnTo>
                      <a:pt x="912" y="1844"/>
                    </a:lnTo>
                    <a:lnTo>
                      <a:pt x="912" y="1846"/>
                    </a:lnTo>
                    <a:lnTo>
                      <a:pt x="912" y="1848"/>
                    </a:lnTo>
                    <a:lnTo>
                      <a:pt x="914" y="1844"/>
                    </a:lnTo>
                    <a:lnTo>
                      <a:pt x="914" y="1842"/>
                    </a:lnTo>
                    <a:lnTo>
                      <a:pt x="912" y="1840"/>
                    </a:lnTo>
                    <a:lnTo>
                      <a:pt x="910" y="1838"/>
                    </a:lnTo>
                    <a:lnTo>
                      <a:pt x="910" y="1836"/>
                    </a:lnTo>
                    <a:lnTo>
                      <a:pt x="912" y="1836"/>
                    </a:lnTo>
                    <a:lnTo>
                      <a:pt x="914" y="1836"/>
                    </a:lnTo>
                    <a:lnTo>
                      <a:pt x="914" y="1834"/>
                    </a:lnTo>
                    <a:lnTo>
                      <a:pt x="918" y="1832"/>
                    </a:lnTo>
                    <a:lnTo>
                      <a:pt x="920" y="1832"/>
                    </a:lnTo>
                    <a:lnTo>
                      <a:pt x="926" y="1830"/>
                    </a:lnTo>
                    <a:lnTo>
                      <a:pt x="930" y="1826"/>
                    </a:lnTo>
                    <a:lnTo>
                      <a:pt x="932" y="1824"/>
                    </a:lnTo>
                    <a:lnTo>
                      <a:pt x="934" y="1822"/>
                    </a:lnTo>
                    <a:lnTo>
                      <a:pt x="942" y="1818"/>
                    </a:lnTo>
                    <a:lnTo>
                      <a:pt x="948" y="1818"/>
                    </a:lnTo>
                    <a:lnTo>
                      <a:pt x="950" y="1816"/>
                    </a:lnTo>
                    <a:lnTo>
                      <a:pt x="956" y="1812"/>
                    </a:lnTo>
                    <a:lnTo>
                      <a:pt x="956" y="1810"/>
                    </a:lnTo>
                    <a:lnTo>
                      <a:pt x="956" y="1808"/>
                    </a:lnTo>
                    <a:lnTo>
                      <a:pt x="962" y="1802"/>
                    </a:lnTo>
                    <a:lnTo>
                      <a:pt x="964" y="1800"/>
                    </a:lnTo>
                    <a:lnTo>
                      <a:pt x="964" y="1802"/>
                    </a:lnTo>
                    <a:lnTo>
                      <a:pt x="968" y="1802"/>
                    </a:lnTo>
                    <a:lnTo>
                      <a:pt x="970" y="1802"/>
                    </a:lnTo>
                    <a:lnTo>
                      <a:pt x="976" y="1800"/>
                    </a:lnTo>
                    <a:lnTo>
                      <a:pt x="980" y="1798"/>
                    </a:lnTo>
                    <a:lnTo>
                      <a:pt x="984" y="1798"/>
                    </a:lnTo>
                    <a:lnTo>
                      <a:pt x="988" y="1796"/>
                    </a:lnTo>
                    <a:lnTo>
                      <a:pt x="992" y="1794"/>
                    </a:lnTo>
                    <a:lnTo>
                      <a:pt x="996" y="1790"/>
                    </a:lnTo>
                    <a:lnTo>
                      <a:pt x="998" y="1790"/>
                    </a:lnTo>
                    <a:lnTo>
                      <a:pt x="1000" y="1790"/>
                    </a:lnTo>
                    <a:lnTo>
                      <a:pt x="1000" y="1788"/>
                    </a:lnTo>
                    <a:lnTo>
                      <a:pt x="1002" y="1786"/>
                    </a:lnTo>
                    <a:lnTo>
                      <a:pt x="1004" y="1784"/>
                    </a:lnTo>
                    <a:lnTo>
                      <a:pt x="1010" y="1782"/>
                    </a:lnTo>
                    <a:lnTo>
                      <a:pt x="1012" y="1782"/>
                    </a:lnTo>
                    <a:lnTo>
                      <a:pt x="1012" y="1784"/>
                    </a:lnTo>
                    <a:lnTo>
                      <a:pt x="1014" y="1782"/>
                    </a:lnTo>
                    <a:lnTo>
                      <a:pt x="1018" y="1776"/>
                    </a:lnTo>
                    <a:lnTo>
                      <a:pt x="1018" y="1774"/>
                    </a:lnTo>
                    <a:lnTo>
                      <a:pt x="1020" y="1770"/>
                    </a:lnTo>
                    <a:lnTo>
                      <a:pt x="1020" y="1768"/>
                    </a:lnTo>
                    <a:lnTo>
                      <a:pt x="1020" y="1762"/>
                    </a:lnTo>
                    <a:lnTo>
                      <a:pt x="1020" y="1758"/>
                    </a:lnTo>
                    <a:lnTo>
                      <a:pt x="1020" y="1756"/>
                    </a:lnTo>
                    <a:lnTo>
                      <a:pt x="1022" y="1748"/>
                    </a:lnTo>
                    <a:lnTo>
                      <a:pt x="1024" y="1740"/>
                    </a:lnTo>
                    <a:lnTo>
                      <a:pt x="1024" y="1738"/>
                    </a:lnTo>
                    <a:lnTo>
                      <a:pt x="1026" y="1738"/>
                    </a:lnTo>
                    <a:lnTo>
                      <a:pt x="1026" y="1736"/>
                    </a:lnTo>
                    <a:lnTo>
                      <a:pt x="1026" y="1734"/>
                    </a:lnTo>
                    <a:lnTo>
                      <a:pt x="1026" y="1732"/>
                    </a:lnTo>
                    <a:lnTo>
                      <a:pt x="1026" y="1730"/>
                    </a:lnTo>
                    <a:lnTo>
                      <a:pt x="1024" y="1724"/>
                    </a:lnTo>
                    <a:lnTo>
                      <a:pt x="1020" y="1718"/>
                    </a:lnTo>
                    <a:lnTo>
                      <a:pt x="1020" y="1712"/>
                    </a:lnTo>
                    <a:lnTo>
                      <a:pt x="1020" y="1710"/>
                    </a:lnTo>
                    <a:lnTo>
                      <a:pt x="1020" y="1708"/>
                    </a:lnTo>
                    <a:lnTo>
                      <a:pt x="1020" y="1702"/>
                    </a:lnTo>
                    <a:lnTo>
                      <a:pt x="1018" y="1700"/>
                    </a:lnTo>
                    <a:lnTo>
                      <a:pt x="1008" y="1690"/>
                    </a:lnTo>
                    <a:lnTo>
                      <a:pt x="1006" y="1694"/>
                    </a:lnTo>
                    <a:lnTo>
                      <a:pt x="1004" y="1694"/>
                    </a:lnTo>
                    <a:lnTo>
                      <a:pt x="1000" y="1694"/>
                    </a:lnTo>
                    <a:lnTo>
                      <a:pt x="998" y="1694"/>
                    </a:lnTo>
                    <a:lnTo>
                      <a:pt x="994" y="1696"/>
                    </a:lnTo>
                    <a:lnTo>
                      <a:pt x="990" y="1698"/>
                    </a:lnTo>
                    <a:lnTo>
                      <a:pt x="986" y="1694"/>
                    </a:lnTo>
                    <a:lnTo>
                      <a:pt x="982" y="1694"/>
                    </a:lnTo>
                    <a:lnTo>
                      <a:pt x="982" y="1690"/>
                    </a:lnTo>
                    <a:lnTo>
                      <a:pt x="982" y="1686"/>
                    </a:lnTo>
                    <a:lnTo>
                      <a:pt x="986" y="1682"/>
                    </a:lnTo>
                    <a:lnTo>
                      <a:pt x="988" y="1680"/>
                    </a:lnTo>
                    <a:lnTo>
                      <a:pt x="990" y="1678"/>
                    </a:lnTo>
                    <a:lnTo>
                      <a:pt x="994" y="1672"/>
                    </a:lnTo>
                    <a:lnTo>
                      <a:pt x="994" y="1670"/>
                    </a:lnTo>
                    <a:lnTo>
                      <a:pt x="992" y="1668"/>
                    </a:lnTo>
                    <a:lnTo>
                      <a:pt x="992" y="1666"/>
                    </a:lnTo>
                    <a:lnTo>
                      <a:pt x="994" y="1664"/>
                    </a:lnTo>
                    <a:lnTo>
                      <a:pt x="996" y="1654"/>
                    </a:lnTo>
                    <a:lnTo>
                      <a:pt x="998" y="1652"/>
                    </a:lnTo>
                    <a:lnTo>
                      <a:pt x="1000" y="1646"/>
                    </a:lnTo>
                    <a:lnTo>
                      <a:pt x="1002" y="1646"/>
                    </a:lnTo>
                    <a:lnTo>
                      <a:pt x="1002" y="1644"/>
                    </a:lnTo>
                    <a:lnTo>
                      <a:pt x="1002" y="1642"/>
                    </a:lnTo>
                    <a:lnTo>
                      <a:pt x="1002" y="1638"/>
                    </a:lnTo>
                    <a:lnTo>
                      <a:pt x="1002" y="1636"/>
                    </a:lnTo>
                    <a:lnTo>
                      <a:pt x="1002" y="1634"/>
                    </a:lnTo>
                    <a:lnTo>
                      <a:pt x="1002" y="1632"/>
                    </a:lnTo>
                    <a:lnTo>
                      <a:pt x="1004" y="1632"/>
                    </a:lnTo>
                    <a:lnTo>
                      <a:pt x="1006" y="1630"/>
                    </a:lnTo>
                    <a:lnTo>
                      <a:pt x="1006" y="1628"/>
                    </a:lnTo>
                    <a:lnTo>
                      <a:pt x="1006" y="1624"/>
                    </a:lnTo>
                    <a:lnTo>
                      <a:pt x="1004" y="1622"/>
                    </a:lnTo>
                    <a:lnTo>
                      <a:pt x="1004" y="1616"/>
                    </a:lnTo>
                    <a:lnTo>
                      <a:pt x="1004" y="1614"/>
                    </a:lnTo>
                    <a:lnTo>
                      <a:pt x="1006" y="1612"/>
                    </a:lnTo>
                    <a:lnTo>
                      <a:pt x="1008" y="1612"/>
                    </a:lnTo>
                    <a:lnTo>
                      <a:pt x="1006" y="1610"/>
                    </a:lnTo>
                    <a:lnTo>
                      <a:pt x="1000" y="1604"/>
                    </a:lnTo>
                    <a:lnTo>
                      <a:pt x="994" y="1600"/>
                    </a:lnTo>
                    <a:lnTo>
                      <a:pt x="990" y="1596"/>
                    </a:lnTo>
                    <a:lnTo>
                      <a:pt x="978" y="1602"/>
                    </a:lnTo>
                    <a:lnTo>
                      <a:pt x="976" y="1604"/>
                    </a:lnTo>
                    <a:lnTo>
                      <a:pt x="974" y="1606"/>
                    </a:lnTo>
                    <a:lnTo>
                      <a:pt x="968" y="1606"/>
                    </a:lnTo>
                    <a:lnTo>
                      <a:pt x="964" y="1608"/>
                    </a:lnTo>
                    <a:lnTo>
                      <a:pt x="962" y="1608"/>
                    </a:lnTo>
                    <a:lnTo>
                      <a:pt x="960" y="1608"/>
                    </a:lnTo>
                    <a:lnTo>
                      <a:pt x="952" y="1606"/>
                    </a:lnTo>
                    <a:lnTo>
                      <a:pt x="950" y="1604"/>
                    </a:lnTo>
                    <a:lnTo>
                      <a:pt x="950" y="1602"/>
                    </a:lnTo>
                    <a:lnTo>
                      <a:pt x="950" y="1600"/>
                    </a:lnTo>
                    <a:lnTo>
                      <a:pt x="950" y="1594"/>
                    </a:lnTo>
                    <a:lnTo>
                      <a:pt x="950" y="1592"/>
                    </a:lnTo>
                    <a:lnTo>
                      <a:pt x="950" y="1590"/>
                    </a:lnTo>
                    <a:lnTo>
                      <a:pt x="948" y="1588"/>
                    </a:lnTo>
                    <a:lnTo>
                      <a:pt x="948" y="1586"/>
                    </a:lnTo>
                    <a:lnTo>
                      <a:pt x="946" y="1586"/>
                    </a:lnTo>
                    <a:lnTo>
                      <a:pt x="946" y="1584"/>
                    </a:lnTo>
                    <a:lnTo>
                      <a:pt x="946" y="1576"/>
                    </a:lnTo>
                    <a:lnTo>
                      <a:pt x="948" y="1572"/>
                    </a:lnTo>
                    <a:lnTo>
                      <a:pt x="946" y="1570"/>
                    </a:lnTo>
                    <a:lnTo>
                      <a:pt x="946" y="1568"/>
                    </a:lnTo>
                    <a:lnTo>
                      <a:pt x="946" y="1558"/>
                    </a:lnTo>
                    <a:lnTo>
                      <a:pt x="944" y="1556"/>
                    </a:lnTo>
                    <a:lnTo>
                      <a:pt x="944" y="1552"/>
                    </a:lnTo>
                    <a:lnTo>
                      <a:pt x="944" y="1542"/>
                    </a:lnTo>
                    <a:lnTo>
                      <a:pt x="944" y="1540"/>
                    </a:lnTo>
                    <a:lnTo>
                      <a:pt x="944" y="1538"/>
                    </a:lnTo>
                    <a:lnTo>
                      <a:pt x="944" y="1536"/>
                    </a:lnTo>
                    <a:lnTo>
                      <a:pt x="946" y="1530"/>
                    </a:lnTo>
                    <a:lnTo>
                      <a:pt x="944" y="1530"/>
                    </a:lnTo>
                    <a:lnTo>
                      <a:pt x="942" y="1528"/>
                    </a:lnTo>
                    <a:lnTo>
                      <a:pt x="940" y="1526"/>
                    </a:lnTo>
                    <a:lnTo>
                      <a:pt x="940" y="1524"/>
                    </a:lnTo>
                    <a:lnTo>
                      <a:pt x="940" y="1522"/>
                    </a:lnTo>
                    <a:lnTo>
                      <a:pt x="940" y="1520"/>
                    </a:lnTo>
                    <a:lnTo>
                      <a:pt x="940" y="1518"/>
                    </a:lnTo>
                    <a:lnTo>
                      <a:pt x="934" y="1512"/>
                    </a:lnTo>
                    <a:lnTo>
                      <a:pt x="928" y="1510"/>
                    </a:lnTo>
                    <a:lnTo>
                      <a:pt x="926" y="1510"/>
                    </a:lnTo>
                    <a:lnTo>
                      <a:pt x="924" y="1510"/>
                    </a:lnTo>
                    <a:lnTo>
                      <a:pt x="918" y="1510"/>
                    </a:lnTo>
                    <a:lnTo>
                      <a:pt x="916" y="1510"/>
                    </a:lnTo>
                    <a:lnTo>
                      <a:pt x="912" y="1506"/>
                    </a:lnTo>
                    <a:lnTo>
                      <a:pt x="910" y="1504"/>
                    </a:lnTo>
                    <a:lnTo>
                      <a:pt x="908" y="1502"/>
                    </a:lnTo>
                    <a:lnTo>
                      <a:pt x="908" y="1500"/>
                    </a:lnTo>
                    <a:lnTo>
                      <a:pt x="908" y="1498"/>
                    </a:lnTo>
                    <a:lnTo>
                      <a:pt x="904" y="1498"/>
                    </a:lnTo>
                    <a:lnTo>
                      <a:pt x="902" y="1500"/>
                    </a:lnTo>
                    <a:lnTo>
                      <a:pt x="900" y="1502"/>
                    </a:lnTo>
                    <a:lnTo>
                      <a:pt x="898" y="1504"/>
                    </a:lnTo>
                    <a:lnTo>
                      <a:pt x="894" y="1508"/>
                    </a:lnTo>
                    <a:lnTo>
                      <a:pt x="892" y="1506"/>
                    </a:lnTo>
                    <a:lnTo>
                      <a:pt x="888" y="1506"/>
                    </a:lnTo>
                    <a:lnTo>
                      <a:pt x="888" y="1508"/>
                    </a:lnTo>
                    <a:lnTo>
                      <a:pt x="886" y="1508"/>
                    </a:lnTo>
                    <a:lnTo>
                      <a:pt x="882" y="1508"/>
                    </a:lnTo>
                    <a:lnTo>
                      <a:pt x="876" y="1506"/>
                    </a:lnTo>
                    <a:lnTo>
                      <a:pt x="868" y="1504"/>
                    </a:lnTo>
                    <a:lnTo>
                      <a:pt x="866" y="1504"/>
                    </a:lnTo>
                    <a:lnTo>
                      <a:pt x="864" y="1504"/>
                    </a:lnTo>
                    <a:lnTo>
                      <a:pt x="860" y="1504"/>
                    </a:lnTo>
                    <a:lnTo>
                      <a:pt x="856" y="1504"/>
                    </a:lnTo>
                    <a:lnTo>
                      <a:pt x="846" y="1502"/>
                    </a:lnTo>
                    <a:lnTo>
                      <a:pt x="844" y="1500"/>
                    </a:lnTo>
                    <a:lnTo>
                      <a:pt x="836" y="1498"/>
                    </a:lnTo>
                    <a:lnTo>
                      <a:pt x="836" y="1500"/>
                    </a:lnTo>
                    <a:lnTo>
                      <a:pt x="834" y="1500"/>
                    </a:lnTo>
                    <a:lnTo>
                      <a:pt x="832" y="1500"/>
                    </a:lnTo>
                    <a:lnTo>
                      <a:pt x="830" y="1498"/>
                    </a:lnTo>
                    <a:lnTo>
                      <a:pt x="826" y="1496"/>
                    </a:lnTo>
                    <a:lnTo>
                      <a:pt x="826" y="1494"/>
                    </a:lnTo>
                    <a:lnTo>
                      <a:pt x="826" y="1492"/>
                    </a:lnTo>
                    <a:lnTo>
                      <a:pt x="828" y="1490"/>
                    </a:lnTo>
                    <a:lnTo>
                      <a:pt x="830" y="1480"/>
                    </a:lnTo>
                    <a:lnTo>
                      <a:pt x="830" y="1472"/>
                    </a:lnTo>
                    <a:lnTo>
                      <a:pt x="830" y="1464"/>
                    </a:lnTo>
                    <a:lnTo>
                      <a:pt x="832" y="1462"/>
                    </a:lnTo>
                    <a:lnTo>
                      <a:pt x="832" y="1460"/>
                    </a:lnTo>
                    <a:lnTo>
                      <a:pt x="834" y="1458"/>
                    </a:lnTo>
                    <a:lnTo>
                      <a:pt x="836" y="1456"/>
                    </a:lnTo>
                    <a:lnTo>
                      <a:pt x="838" y="1436"/>
                    </a:lnTo>
                    <a:lnTo>
                      <a:pt x="836" y="1428"/>
                    </a:lnTo>
                    <a:lnTo>
                      <a:pt x="838" y="1422"/>
                    </a:lnTo>
                    <a:lnTo>
                      <a:pt x="834" y="1420"/>
                    </a:lnTo>
                    <a:lnTo>
                      <a:pt x="834" y="1418"/>
                    </a:lnTo>
                    <a:lnTo>
                      <a:pt x="832" y="1422"/>
                    </a:lnTo>
                    <a:lnTo>
                      <a:pt x="832" y="1416"/>
                    </a:lnTo>
                    <a:lnTo>
                      <a:pt x="830" y="1410"/>
                    </a:lnTo>
                    <a:lnTo>
                      <a:pt x="828" y="1404"/>
                    </a:lnTo>
                    <a:lnTo>
                      <a:pt x="826" y="1400"/>
                    </a:lnTo>
                    <a:lnTo>
                      <a:pt x="824" y="1396"/>
                    </a:lnTo>
                    <a:lnTo>
                      <a:pt x="824" y="1394"/>
                    </a:lnTo>
                    <a:lnTo>
                      <a:pt x="824" y="1390"/>
                    </a:lnTo>
                    <a:lnTo>
                      <a:pt x="826" y="1390"/>
                    </a:lnTo>
                    <a:lnTo>
                      <a:pt x="838" y="1384"/>
                    </a:lnTo>
                    <a:lnTo>
                      <a:pt x="840" y="1380"/>
                    </a:lnTo>
                    <a:lnTo>
                      <a:pt x="828" y="1370"/>
                    </a:lnTo>
                    <a:lnTo>
                      <a:pt x="828" y="1368"/>
                    </a:lnTo>
                    <a:lnTo>
                      <a:pt x="830" y="1364"/>
                    </a:lnTo>
                    <a:lnTo>
                      <a:pt x="836" y="1350"/>
                    </a:lnTo>
                    <a:lnTo>
                      <a:pt x="842" y="1338"/>
                    </a:lnTo>
                    <a:lnTo>
                      <a:pt x="844" y="1334"/>
                    </a:lnTo>
                    <a:lnTo>
                      <a:pt x="846" y="1332"/>
                    </a:lnTo>
                    <a:lnTo>
                      <a:pt x="848" y="1330"/>
                    </a:lnTo>
                    <a:lnTo>
                      <a:pt x="852" y="1330"/>
                    </a:lnTo>
                    <a:lnTo>
                      <a:pt x="852" y="1324"/>
                    </a:lnTo>
                    <a:lnTo>
                      <a:pt x="850" y="1322"/>
                    </a:lnTo>
                    <a:lnTo>
                      <a:pt x="848" y="1322"/>
                    </a:lnTo>
                    <a:lnTo>
                      <a:pt x="856" y="1298"/>
                    </a:lnTo>
                    <a:lnTo>
                      <a:pt x="860" y="1288"/>
                    </a:lnTo>
                    <a:lnTo>
                      <a:pt x="862" y="1286"/>
                    </a:lnTo>
                    <a:lnTo>
                      <a:pt x="864" y="1284"/>
                    </a:lnTo>
                    <a:lnTo>
                      <a:pt x="860" y="1280"/>
                    </a:lnTo>
                    <a:lnTo>
                      <a:pt x="854" y="1264"/>
                    </a:lnTo>
                    <a:lnTo>
                      <a:pt x="854" y="1262"/>
                    </a:lnTo>
                    <a:lnTo>
                      <a:pt x="854" y="1260"/>
                    </a:lnTo>
                    <a:lnTo>
                      <a:pt x="854" y="1258"/>
                    </a:lnTo>
                    <a:lnTo>
                      <a:pt x="852" y="1256"/>
                    </a:lnTo>
                    <a:lnTo>
                      <a:pt x="852" y="1254"/>
                    </a:lnTo>
                    <a:lnTo>
                      <a:pt x="852" y="1252"/>
                    </a:lnTo>
                    <a:lnTo>
                      <a:pt x="852" y="1250"/>
                    </a:lnTo>
                    <a:lnTo>
                      <a:pt x="852" y="1248"/>
                    </a:lnTo>
                    <a:lnTo>
                      <a:pt x="846" y="1244"/>
                    </a:lnTo>
                    <a:lnTo>
                      <a:pt x="846" y="1242"/>
                    </a:lnTo>
                    <a:lnTo>
                      <a:pt x="840" y="1246"/>
                    </a:lnTo>
                    <a:lnTo>
                      <a:pt x="840" y="1244"/>
                    </a:lnTo>
                    <a:lnTo>
                      <a:pt x="836" y="1242"/>
                    </a:lnTo>
                    <a:lnTo>
                      <a:pt x="834" y="1242"/>
                    </a:lnTo>
                    <a:lnTo>
                      <a:pt x="834" y="1240"/>
                    </a:lnTo>
                    <a:lnTo>
                      <a:pt x="828" y="1236"/>
                    </a:lnTo>
                    <a:lnTo>
                      <a:pt x="826" y="1234"/>
                    </a:lnTo>
                    <a:lnTo>
                      <a:pt x="824" y="1234"/>
                    </a:lnTo>
                    <a:lnTo>
                      <a:pt x="822" y="1234"/>
                    </a:lnTo>
                    <a:lnTo>
                      <a:pt x="822" y="1232"/>
                    </a:lnTo>
                    <a:lnTo>
                      <a:pt x="820" y="1232"/>
                    </a:lnTo>
                    <a:lnTo>
                      <a:pt x="820" y="1230"/>
                    </a:lnTo>
                    <a:lnTo>
                      <a:pt x="820" y="1228"/>
                    </a:lnTo>
                    <a:lnTo>
                      <a:pt x="820" y="1224"/>
                    </a:lnTo>
                    <a:lnTo>
                      <a:pt x="820" y="1218"/>
                    </a:lnTo>
                    <a:lnTo>
                      <a:pt x="818" y="1216"/>
                    </a:lnTo>
                    <a:lnTo>
                      <a:pt x="818" y="1214"/>
                    </a:lnTo>
                    <a:lnTo>
                      <a:pt x="818" y="1212"/>
                    </a:lnTo>
                    <a:lnTo>
                      <a:pt x="816" y="1202"/>
                    </a:lnTo>
                    <a:lnTo>
                      <a:pt x="818" y="1200"/>
                    </a:lnTo>
                    <a:lnTo>
                      <a:pt x="818" y="1198"/>
                    </a:lnTo>
                    <a:lnTo>
                      <a:pt x="820" y="1194"/>
                    </a:lnTo>
                    <a:lnTo>
                      <a:pt x="822" y="1192"/>
                    </a:lnTo>
                    <a:lnTo>
                      <a:pt x="824" y="1192"/>
                    </a:lnTo>
                    <a:lnTo>
                      <a:pt x="824" y="1190"/>
                    </a:lnTo>
                    <a:lnTo>
                      <a:pt x="826" y="1184"/>
                    </a:lnTo>
                    <a:lnTo>
                      <a:pt x="826" y="1180"/>
                    </a:lnTo>
                    <a:lnTo>
                      <a:pt x="826" y="1178"/>
                    </a:lnTo>
                    <a:lnTo>
                      <a:pt x="822" y="1178"/>
                    </a:lnTo>
                    <a:lnTo>
                      <a:pt x="822" y="1180"/>
                    </a:lnTo>
                    <a:lnTo>
                      <a:pt x="820" y="1180"/>
                    </a:lnTo>
                    <a:lnTo>
                      <a:pt x="816" y="1180"/>
                    </a:lnTo>
                    <a:lnTo>
                      <a:pt x="792" y="1180"/>
                    </a:lnTo>
                    <a:lnTo>
                      <a:pt x="764" y="1178"/>
                    </a:lnTo>
                    <a:lnTo>
                      <a:pt x="762" y="1178"/>
                    </a:lnTo>
                    <a:lnTo>
                      <a:pt x="738" y="1176"/>
                    </a:lnTo>
                    <a:lnTo>
                      <a:pt x="732" y="1176"/>
                    </a:lnTo>
                    <a:lnTo>
                      <a:pt x="730" y="1176"/>
                    </a:lnTo>
                    <a:lnTo>
                      <a:pt x="730" y="1160"/>
                    </a:lnTo>
                    <a:lnTo>
                      <a:pt x="728" y="1132"/>
                    </a:lnTo>
                    <a:lnTo>
                      <a:pt x="718" y="1118"/>
                    </a:lnTo>
                    <a:lnTo>
                      <a:pt x="710" y="1112"/>
                    </a:lnTo>
                    <a:lnTo>
                      <a:pt x="720" y="1112"/>
                    </a:lnTo>
                    <a:lnTo>
                      <a:pt x="726" y="1112"/>
                    </a:lnTo>
                    <a:lnTo>
                      <a:pt x="726" y="1108"/>
                    </a:lnTo>
                    <a:lnTo>
                      <a:pt x="726" y="1102"/>
                    </a:lnTo>
                    <a:lnTo>
                      <a:pt x="726" y="1090"/>
                    </a:lnTo>
                    <a:lnTo>
                      <a:pt x="726" y="1086"/>
                    </a:lnTo>
                    <a:lnTo>
                      <a:pt x="724" y="1078"/>
                    </a:lnTo>
                    <a:lnTo>
                      <a:pt x="720" y="1070"/>
                    </a:lnTo>
                    <a:lnTo>
                      <a:pt x="718" y="1068"/>
                    </a:lnTo>
                    <a:lnTo>
                      <a:pt x="718" y="1060"/>
                    </a:lnTo>
                    <a:lnTo>
                      <a:pt x="718" y="1058"/>
                    </a:lnTo>
                    <a:lnTo>
                      <a:pt x="720" y="1056"/>
                    </a:lnTo>
                    <a:lnTo>
                      <a:pt x="722" y="1054"/>
                    </a:lnTo>
                    <a:lnTo>
                      <a:pt x="724" y="1050"/>
                    </a:lnTo>
                    <a:lnTo>
                      <a:pt x="718" y="1040"/>
                    </a:lnTo>
                    <a:lnTo>
                      <a:pt x="712" y="1040"/>
                    </a:lnTo>
                    <a:lnTo>
                      <a:pt x="708" y="1038"/>
                    </a:lnTo>
                    <a:lnTo>
                      <a:pt x="704" y="1034"/>
                    </a:lnTo>
                    <a:lnTo>
                      <a:pt x="702" y="1034"/>
                    </a:lnTo>
                    <a:lnTo>
                      <a:pt x="692" y="1028"/>
                    </a:lnTo>
                    <a:lnTo>
                      <a:pt x="690" y="1026"/>
                    </a:lnTo>
                    <a:lnTo>
                      <a:pt x="688" y="1022"/>
                    </a:lnTo>
                    <a:lnTo>
                      <a:pt x="676" y="1024"/>
                    </a:lnTo>
                    <a:lnTo>
                      <a:pt x="664" y="1026"/>
                    </a:lnTo>
                    <a:lnTo>
                      <a:pt x="660" y="1024"/>
                    </a:lnTo>
                    <a:lnTo>
                      <a:pt x="658" y="1024"/>
                    </a:lnTo>
                    <a:lnTo>
                      <a:pt x="652" y="1024"/>
                    </a:lnTo>
                    <a:lnTo>
                      <a:pt x="648" y="1026"/>
                    </a:lnTo>
                    <a:lnTo>
                      <a:pt x="646" y="1024"/>
                    </a:lnTo>
                    <a:lnTo>
                      <a:pt x="646" y="1022"/>
                    </a:lnTo>
                    <a:lnTo>
                      <a:pt x="644" y="1020"/>
                    </a:lnTo>
                    <a:lnTo>
                      <a:pt x="640" y="1018"/>
                    </a:lnTo>
                    <a:lnTo>
                      <a:pt x="640" y="1016"/>
                    </a:lnTo>
                    <a:lnTo>
                      <a:pt x="638" y="1016"/>
                    </a:lnTo>
                    <a:lnTo>
                      <a:pt x="634" y="1010"/>
                    </a:lnTo>
                    <a:lnTo>
                      <a:pt x="632" y="1006"/>
                    </a:lnTo>
                    <a:lnTo>
                      <a:pt x="632" y="1004"/>
                    </a:lnTo>
                    <a:lnTo>
                      <a:pt x="628" y="1002"/>
                    </a:lnTo>
                    <a:lnTo>
                      <a:pt x="626" y="1002"/>
                    </a:lnTo>
                    <a:lnTo>
                      <a:pt x="624" y="1004"/>
                    </a:lnTo>
                    <a:lnTo>
                      <a:pt x="620" y="1004"/>
                    </a:lnTo>
                    <a:lnTo>
                      <a:pt x="618" y="1004"/>
                    </a:lnTo>
                    <a:lnTo>
                      <a:pt x="616" y="1004"/>
                    </a:lnTo>
                    <a:lnTo>
                      <a:pt x="604" y="998"/>
                    </a:lnTo>
                    <a:lnTo>
                      <a:pt x="604" y="996"/>
                    </a:lnTo>
                    <a:lnTo>
                      <a:pt x="602" y="994"/>
                    </a:lnTo>
                    <a:lnTo>
                      <a:pt x="598" y="996"/>
                    </a:lnTo>
                    <a:lnTo>
                      <a:pt x="594" y="992"/>
                    </a:lnTo>
                    <a:lnTo>
                      <a:pt x="592" y="990"/>
                    </a:lnTo>
                    <a:lnTo>
                      <a:pt x="588" y="986"/>
                    </a:lnTo>
                    <a:lnTo>
                      <a:pt x="586" y="986"/>
                    </a:lnTo>
                    <a:lnTo>
                      <a:pt x="584" y="982"/>
                    </a:lnTo>
                    <a:lnTo>
                      <a:pt x="582" y="978"/>
                    </a:lnTo>
                    <a:lnTo>
                      <a:pt x="582" y="976"/>
                    </a:lnTo>
                    <a:lnTo>
                      <a:pt x="578" y="976"/>
                    </a:lnTo>
                    <a:lnTo>
                      <a:pt x="576" y="976"/>
                    </a:lnTo>
                    <a:lnTo>
                      <a:pt x="574" y="978"/>
                    </a:lnTo>
                    <a:lnTo>
                      <a:pt x="572" y="980"/>
                    </a:lnTo>
                    <a:lnTo>
                      <a:pt x="568" y="978"/>
                    </a:lnTo>
                    <a:lnTo>
                      <a:pt x="564" y="976"/>
                    </a:lnTo>
                    <a:lnTo>
                      <a:pt x="560" y="972"/>
                    </a:lnTo>
                    <a:lnTo>
                      <a:pt x="550" y="966"/>
                    </a:lnTo>
                    <a:lnTo>
                      <a:pt x="544" y="966"/>
                    </a:lnTo>
                    <a:lnTo>
                      <a:pt x="542" y="966"/>
                    </a:lnTo>
                    <a:lnTo>
                      <a:pt x="540" y="966"/>
                    </a:lnTo>
                    <a:lnTo>
                      <a:pt x="538" y="968"/>
                    </a:lnTo>
                    <a:lnTo>
                      <a:pt x="536" y="970"/>
                    </a:lnTo>
                    <a:lnTo>
                      <a:pt x="532" y="968"/>
                    </a:lnTo>
                    <a:lnTo>
                      <a:pt x="530" y="968"/>
                    </a:lnTo>
                    <a:lnTo>
                      <a:pt x="524" y="966"/>
                    </a:lnTo>
                    <a:lnTo>
                      <a:pt x="520" y="966"/>
                    </a:lnTo>
                    <a:lnTo>
                      <a:pt x="518" y="966"/>
                    </a:lnTo>
                    <a:lnTo>
                      <a:pt x="514" y="966"/>
                    </a:lnTo>
                    <a:lnTo>
                      <a:pt x="512" y="966"/>
                    </a:lnTo>
                    <a:lnTo>
                      <a:pt x="510" y="964"/>
                    </a:lnTo>
                    <a:lnTo>
                      <a:pt x="506" y="960"/>
                    </a:lnTo>
                    <a:lnTo>
                      <a:pt x="506" y="952"/>
                    </a:lnTo>
                    <a:lnTo>
                      <a:pt x="500" y="950"/>
                    </a:lnTo>
                    <a:lnTo>
                      <a:pt x="494" y="948"/>
                    </a:lnTo>
                    <a:lnTo>
                      <a:pt x="492" y="946"/>
                    </a:lnTo>
                    <a:lnTo>
                      <a:pt x="492" y="942"/>
                    </a:lnTo>
                    <a:lnTo>
                      <a:pt x="490" y="942"/>
                    </a:lnTo>
                    <a:lnTo>
                      <a:pt x="488" y="940"/>
                    </a:lnTo>
                    <a:lnTo>
                      <a:pt x="486" y="940"/>
                    </a:lnTo>
                    <a:lnTo>
                      <a:pt x="482" y="940"/>
                    </a:lnTo>
                    <a:lnTo>
                      <a:pt x="480" y="938"/>
                    </a:lnTo>
                    <a:lnTo>
                      <a:pt x="478" y="932"/>
                    </a:lnTo>
                    <a:lnTo>
                      <a:pt x="478" y="930"/>
                    </a:lnTo>
                    <a:lnTo>
                      <a:pt x="478" y="926"/>
                    </a:lnTo>
                    <a:lnTo>
                      <a:pt x="474" y="924"/>
                    </a:lnTo>
                    <a:lnTo>
                      <a:pt x="472" y="928"/>
                    </a:lnTo>
                    <a:lnTo>
                      <a:pt x="470" y="926"/>
                    </a:lnTo>
                    <a:lnTo>
                      <a:pt x="468" y="924"/>
                    </a:lnTo>
                    <a:lnTo>
                      <a:pt x="470" y="922"/>
                    </a:lnTo>
                    <a:lnTo>
                      <a:pt x="470" y="920"/>
                    </a:lnTo>
                    <a:lnTo>
                      <a:pt x="472" y="918"/>
                    </a:lnTo>
                    <a:lnTo>
                      <a:pt x="468" y="912"/>
                    </a:lnTo>
                    <a:lnTo>
                      <a:pt x="466" y="912"/>
                    </a:lnTo>
                    <a:lnTo>
                      <a:pt x="464" y="912"/>
                    </a:lnTo>
                    <a:lnTo>
                      <a:pt x="462" y="908"/>
                    </a:lnTo>
                    <a:lnTo>
                      <a:pt x="460" y="900"/>
                    </a:lnTo>
                    <a:lnTo>
                      <a:pt x="460" y="894"/>
                    </a:lnTo>
                    <a:lnTo>
                      <a:pt x="460" y="892"/>
                    </a:lnTo>
                    <a:lnTo>
                      <a:pt x="462" y="888"/>
                    </a:lnTo>
                    <a:lnTo>
                      <a:pt x="466" y="884"/>
                    </a:lnTo>
                    <a:lnTo>
                      <a:pt x="464" y="878"/>
                    </a:lnTo>
                    <a:lnTo>
                      <a:pt x="464" y="876"/>
                    </a:lnTo>
                    <a:lnTo>
                      <a:pt x="460" y="872"/>
                    </a:lnTo>
                    <a:lnTo>
                      <a:pt x="458" y="864"/>
                    </a:lnTo>
                    <a:lnTo>
                      <a:pt x="458" y="856"/>
                    </a:lnTo>
                    <a:lnTo>
                      <a:pt x="460" y="856"/>
                    </a:lnTo>
                    <a:lnTo>
                      <a:pt x="460" y="854"/>
                    </a:lnTo>
                    <a:lnTo>
                      <a:pt x="460" y="852"/>
                    </a:lnTo>
                    <a:lnTo>
                      <a:pt x="462" y="850"/>
                    </a:lnTo>
                    <a:lnTo>
                      <a:pt x="464" y="848"/>
                    </a:lnTo>
                    <a:lnTo>
                      <a:pt x="466" y="846"/>
                    </a:lnTo>
                    <a:lnTo>
                      <a:pt x="466" y="842"/>
                    </a:lnTo>
                    <a:lnTo>
                      <a:pt x="466" y="836"/>
                    </a:lnTo>
                    <a:lnTo>
                      <a:pt x="464" y="834"/>
                    </a:lnTo>
                    <a:lnTo>
                      <a:pt x="464" y="828"/>
                    </a:lnTo>
                    <a:lnTo>
                      <a:pt x="466" y="826"/>
                    </a:lnTo>
                    <a:lnTo>
                      <a:pt x="466" y="822"/>
                    </a:lnTo>
                    <a:lnTo>
                      <a:pt x="464" y="818"/>
                    </a:lnTo>
                    <a:lnTo>
                      <a:pt x="462" y="814"/>
                    </a:lnTo>
                    <a:lnTo>
                      <a:pt x="460" y="814"/>
                    </a:lnTo>
                    <a:lnTo>
                      <a:pt x="458" y="814"/>
                    </a:lnTo>
                    <a:lnTo>
                      <a:pt x="456" y="816"/>
                    </a:lnTo>
                    <a:lnTo>
                      <a:pt x="454" y="818"/>
                    </a:lnTo>
                    <a:lnTo>
                      <a:pt x="452" y="822"/>
                    </a:lnTo>
                    <a:lnTo>
                      <a:pt x="450" y="822"/>
                    </a:lnTo>
                    <a:lnTo>
                      <a:pt x="442" y="818"/>
                    </a:lnTo>
                    <a:lnTo>
                      <a:pt x="440" y="818"/>
                    </a:lnTo>
                    <a:lnTo>
                      <a:pt x="436" y="820"/>
                    </a:lnTo>
                    <a:lnTo>
                      <a:pt x="430" y="820"/>
                    </a:lnTo>
                    <a:lnTo>
                      <a:pt x="424" y="818"/>
                    </a:lnTo>
                    <a:lnTo>
                      <a:pt x="420" y="820"/>
                    </a:lnTo>
                    <a:lnTo>
                      <a:pt x="408" y="822"/>
                    </a:lnTo>
                    <a:lnTo>
                      <a:pt x="406" y="824"/>
                    </a:lnTo>
                    <a:lnTo>
                      <a:pt x="402" y="824"/>
                    </a:lnTo>
                    <a:lnTo>
                      <a:pt x="400" y="824"/>
                    </a:lnTo>
                    <a:lnTo>
                      <a:pt x="394" y="826"/>
                    </a:lnTo>
                    <a:lnTo>
                      <a:pt x="392" y="828"/>
                    </a:lnTo>
                    <a:lnTo>
                      <a:pt x="390" y="830"/>
                    </a:lnTo>
                    <a:lnTo>
                      <a:pt x="388" y="830"/>
                    </a:lnTo>
                    <a:lnTo>
                      <a:pt x="380" y="836"/>
                    </a:lnTo>
                    <a:lnTo>
                      <a:pt x="378" y="838"/>
                    </a:lnTo>
                    <a:lnTo>
                      <a:pt x="376" y="840"/>
                    </a:lnTo>
                    <a:lnTo>
                      <a:pt x="372" y="844"/>
                    </a:lnTo>
                    <a:lnTo>
                      <a:pt x="370" y="844"/>
                    </a:lnTo>
                    <a:lnTo>
                      <a:pt x="364" y="848"/>
                    </a:lnTo>
                    <a:lnTo>
                      <a:pt x="362" y="848"/>
                    </a:lnTo>
                    <a:lnTo>
                      <a:pt x="358" y="848"/>
                    </a:lnTo>
                    <a:lnTo>
                      <a:pt x="356" y="848"/>
                    </a:lnTo>
                    <a:lnTo>
                      <a:pt x="356" y="850"/>
                    </a:lnTo>
                    <a:lnTo>
                      <a:pt x="350" y="854"/>
                    </a:lnTo>
                    <a:lnTo>
                      <a:pt x="348" y="856"/>
                    </a:lnTo>
                    <a:lnTo>
                      <a:pt x="346" y="856"/>
                    </a:lnTo>
                    <a:lnTo>
                      <a:pt x="344" y="856"/>
                    </a:lnTo>
                    <a:lnTo>
                      <a:pt x="342" y="858"/>
                    </a:lnTo>
                    <a:lnTo>
                      <a:pt x="338" y="864"/>
                    </a:lnTo>
                    <a:lnTo>
                      <a:pt x="338" y="868"/>
                    </a:lnTo>
                    <a:lnTo>
                      <a:pt x="334" y="868"/>
                    </a:lnTo>
                    <a:lnTo>
                      <a:pt x="332" y="868"/>
                    </a:lnTo>
                    <a:lnTo>
                      <a:pt x="330" y="866"/>
                    </a:lnTo>
                    <a:lnTo>
                      <a:pt x="328" y="866"/>
                    </a:lnTo>
                    <a:lnTo>
                      <a:pt x="320" y="866"/>
                    </a:lnTo>
                    <a:lnTo>
                      <a:pt x="318" y="866"/>
                    </a:lnTo>
                    <a:lnTo>
                      <a:pt x="316" y="868"/>
                    </a:lnTo>
                    <a:lnTo>
                      <a:pt x="314" y="870"/>
                    </a:lnTo>
                    <a:lnTo>
                      <a:pt x="314" y="872"/>
                    </a:lnTo>
                    <a:lnTo>
                      <a:pt x="308" y="880"/>
                    </a:lnTo>
                    <a:lnTo>
                      <a:pt x="306" y="882"/>
                    </a:lnTo>
                    <a:lnTo>
                      <a:pt x="304" y="884"/>
                    </a:lnTo>
                    <a:lnTo>
                      <a:pt x="302" y="884"/>
                    </a:lnTo>
                    <a:lnTo>
                      <a:pt x="300" y="886"/>
                    </a:lnTo>
                    <a:lnTo>
                      <a:pt x="292" y="888"/>
                    </a:lnTo>
                    <a:lnTo>
                      <a:pt x="292" y="890"/>
                    </a:lnTo>
                    <a:lnTo>
                      <a:pt x="290" y="890"/>
                    </a:lnTo>
                    <a:lnTo>
                      <a:pt x="288" y="890"/>
                    </a:lnTo>
                    <a:lnTo>
                      <a:pt x="286" y="892"/>
                    </a:lnTo>
                    <a:lnTo>
                      <a:pt x="282" y="892"/>
                    </a:lnTo>
                    <a:lnTo>
                      <a:pt x="280" y="892"/>
                    </a:lnTo>
                    <a:lnTo>
                      <a:pt x="280" y="884"/>
                    </a:lnTo>
                    <a:lnTo>
                      <a:pt x="276" y="884"/>
                    </a:lnTo>
                    <a:lnTo>
                      <a:pt x="264" y="882"/>
                    </a:lnTo>
                    <a:lnTo>
                      <a:pt x="256" y="882"/>
                    </a:lnTo>
                    <a:lnTo>
                      <a:pt x="246" y="880"/>
                    </a:lnTo>
                    <a:lnTo>
                      <a:pt x="244" y="880"/>
                    </a:lnTo>
                    <a:lnTo>
                      <a:pt x="242" y="882"/>
                    </a:lnTo>
                    <a:lnTo>
                      <a:pt x="238" y="882"/>
                    </a:lnTo>
                    <a:lnTo>
                      <a:pt x="236" y="880"/>
                    </a:lnTo>
                    <a:lnTo>
                      <a:pt x="232" y="882"/>
                    </a:lnTo>
                    <a:lnTo>
                      <a:pt x="230" y="882"/>
                    </a:lnTo>
                    <a:lnTo>
                      <a:pt x="228" y="882"/>
                    </a:lnTo>
                    <a:lnTo>
                      <a:pt x="226" y="880"/>
                    </a:lnTo>
                    <a:lnTo>
                      <a:pt x="218" y="878"/>
                    </a:lnTo>
                    <a:lnTo>
                      <a:pt x="216" y="880"/>
                    </a:lnTo>
                    <a:lnTo>
                      <a:pt x="214" y="880"/>
                    </a:lnTo>
                    <a:lnTo>
                      <a:pt x="210" y="882"/>
                    </a:lnTo>
                    <a:lnTo>
                      <a:pt x="206" y="886"/>
                    </a:lnTo>
                    <a:lnTo>
                      <a:pt x="204" y="886"/>
                    </a:lnTo>
                    <a:lnTo>
                      <a:pt x="202" y="886"/>
                    </a:lnTo>
                    <a:lnTo>
                      <a:pt x="196" y="888"/>
                    </a:lnTo>
                    <a:lnTo>
                      <a:pt x="194" y="888"/>
                    </a:lnTo>
                    <a:lnTo>
                      <a:pt x="192" y="886"/>
                    </a:lnTo>
                    <a:lnTo>
                      <a:pt x="190" y="886"/>
                    </a:lnTo>
                    <a:lnTo>
                      <a:pt x="190" y="884"/>
                    </a:lnTo>
                    <a:lnTo>
                      <a:pt x="188" y="882"/>
                    </a:lnTo>
                    <a:lnTo>
                      <a:pt x="188" y="880"/>
                    </a:lnTo>
                    <a:lnTo>
                      <a:pt x="186" y="880"/>
                    </a:lnTo>
                    <a:lnTo>
                      <a:pt x="182" y="882"/>
                    </a:lnTo>
                    <a:lnTo>
                      <a:pt x="180" y="884"/>
                    </a:lnTo>
                    <a:lnTo>
                      <a:pt x="180" y="882"/>
                    </a:lnTo>
                    <a:lnTo>
                      <a:pt x="180" y="878"/>
                    </a:lnTo>
                    <a:lnTo>
                      <a:pt x="180" y="872"/>
                    </a:lnTo>
                    <a:lnTo>
                      <a:pt x="180" y="862"/>
                    </a:lnTo>
                    <a:lnTo>
                      <a:pt x="180" y="848"/>
                    </a:lnTo>
                    <a:lnTo>
                      <a:pt x="180" y="826"/>
                    </a:lnTo>
                    <a:lnTo>
                      <a:pt x="180" y="824"/>
                    </a:lnTo>
                    <a:lnTo>
                      <a:pt x="180" y="820"/>
                    </a:lnTo>
                    <a:lnTo>
                      <a:pt x="182" y="820"/>
                    </a:lnTo>
                    <a:lnTo>
                      <a:pt x="182" y="818"/>
                    </a:lnTo>
                    <a:lnTo>
                      <a:pt x="182" y="810"/>
                    </a:lnTo>
                    <a:lnTo>
                      <a:pt x="182" y="806"/>
                    </a:lnTo>
                    <a:lnTo>
                      <a:pt x="184" y="804"/>
                    </a:lnTo>
                    <a:lnTo>
                      <a:pt x="186" y="802"/>
                    </a:lnTo>
                    <a:lnTo>
                      <a:pt x="186" y="798"/>
                    </a:lnTo>
                    <a:lnTo>
                      <a:pt x="184" y="800"/>
                    </a:lnTo>
                    <a:lnTo>
                      <a:pt x="182" y="800"/>
                    </a:lnTo>
                    <a:lnTo>
                      <a:pt x="180" y="802"/>
                    </a:lnTo>
                    <a:lnTo>
                      <a:pt x="172" y="808"/>
                    </a:lnTo>
                    <a:lnTo>
                      <a:pt x="170" y="810"/>
                    </a:lnTo>
                    <a:lnTo>
                      <a:pt x="168" y="812"/>
                    </a:lnTo>
                    <a:lnTo>
                      <a:pt x="162" y="818"/>
                    </a:lnTo>
                    <a:lnTo>
                      <a:pt x="160" y="820"/>
                    </a:lnTo>
                    <a:lnTo>
                      <a:pt x="152" y="822"/>
                    </a:lnTo>
                    <a:lnTo>
                      <a:pt x="152" y="824"/>
                    </a:lnTo>
                    <a:lnTo>
                      <a:pt x="152" y="826"/>
                    </a:lnTo>
                    <a:lnTo>
                      <a:pt x="144" y="830"/>
                    </a:lnTo>
                    <a:lnTo>
                      <a:pt x="140" y="830"/>
                    </a:lnTo>
                    <a:lnTo>
                      <a:pt x="136" y="830"/>
                    </a:lnTo>
                    <a:lnTo>
                      <a:pt x="126" y="830"/>
                    </a:lnTo>
                    <a:lnTo>
                      <a:pt x="110" y="830"/>
                    </a:lnTo>
                    <a:lnTo>
                      <a:pt x="108" y="830"/>
                    </a:lnTo>
                    <a:lnTo>
                      <a:pt x="106" y="830"/>
                    </a:lnTo>
                    <a:lnTo>
                      <a:pt x="104" y="830"/>
                    </a:lnTo>
                    <a:lnTo>
                      <a:pt x="98" y="830"/>
                    </a:lnTo>
                    <a:lnTo>
                      <a:pt x="98" y="826"/>
                    </a:lnTo>
                    <a:lnTo>
                      <a:pt x="98" y="822"/>
                    </a:lnTo>
                    <a:lnTo>
                      <a:pt x="98" y="820"/>
                    </a:lnTo>
                    <a:lnTo>
                      <a:pt x="94" y="818"/>
                    </a:lnTo>
                    <a:lnTo>
                      <a:pt x="94" y="816"/>
                    </a:lnTo>
                    <a:lnTo>
                      <a:pt x="92" y="816"/>
                    </a:lnTo>
                    <a:lnTo>
                      <a:pt x="94" y="812"/>
                    </a:lnTo>
                    <a:lnTo>
                      <a:pt x="94" y="810"/>
                    </a:lnTo>
                    <a:lnTo>
                      <a:pt x="90" y="804"/>
                    </a:lnTo>
                    <a:lnTo>
                      <a:pt x="86" y="802"/>
                    </a:lnTo>
                    <a:lnTo>
                      <a:pt x="86" y="800"/>
                    </a:lnTo>
                    <a:lnTo>
                      <a:pt x="74" y="800"/>
                    </a:lnTo>
                    <a:lnTo>
                      <a:pt x="68" y="798"/>
                    </a:lnTo>
                    <a:lnTo>
                      <a:pt x="62" y="798"/>
                    </a:lnTo>
                    <a:lnTo>
                      <a:pt x="60" y="798"/>
                    </a:lnTo>
                    <a:lnTo>
                      <a:pt x="54" y="798"/>
                    </a:lnTo>
                    <a:lnTo>
                      <a:pt x="42" y="798"/>
                    </a:lnTo>
                    <a:lnTo>
                      <a:pt x="42" y="796"/>
                    </a:lnTo>
                    <a:lnTo>
                      <a:pt x="44" y="794"/>
                    </a:lnTo>
                    <a:lnTo>
                      <a:pt x="46" y="792"/>
                    </a:lnTo>
                    <a:lnTo>
                      <a:pt x="52" y="786"/>
                    </a:lnTo>
                    <a:lnTo>
                      <a:pt x="56" y="782"/>
                    </a:lnTo>
                    <a:lnTo>
                      <a:pt x="56" y="780"/>
                    </a:lnTo>
                    <a:lnTo>
                      <a:pt x="56" y="778"/>
                    </a:lnTo>
                    <a:lnTo>
                      <a:pt x="56" y="774"/>
                    </a:lnTo>
                    <a:lnTo>
                      <a:pt x="52" y="772"/>
                    </a:lnTo>
                    <a:lnTo>
                      <a:pt x="50" y="770"/>
                    </a:lnTo>
                    <a:lnTo>
                      <a:pt x="46" y="764"/>
                    </a:lnTo>
                    <a:lnTo>
                      <a:pt x="46" y="762"/>
                    </a:lnTo>
                    <a:lnTo>
                      <a:pt x="44" y="762"/>
                    </a:lnTo>
                    <a:lnTo>
                      <a:pt x="44" y="760"/>
                    </a:lnTo>
                    <a:lnTo>
                      <a:pt x="42" y="760"/>
                    </a:lnTo>
                    <a:lnTo>
                      <a:pt x="42" y="758"/>
                    </a:lnTo>
                    <a:lnTo>
                      <a:pt x="40" y="758"/>
                    </a:lnTo>
                    <a:lnTo>
                      <a:pt x="38" y="758"/>
                    </a:lnTo>
                    <a:lnTo>
                      <a:pt x="34" y="754"/>
                    </a:lnTo>
                    <a:lnTo>
                      <a:pt x="32" y="746"/>
                    </a:lnTo>
                    <a:lnTo>
                      <a:pt x="28" y="744"/>
                    </a:lnTo>
                    <a:lnTo>
                      <a:pt x="24" y="740"/>
                    </a:lnTo>
                    <a:lnTo>
                      <a:pt x="24" y="738"/>
                    </a:lnTo>
                    <a:lnTo>
                      <a:pt x="24" y="734"/>
                    </a:lnTo>
                    <a:lnTo>
                      <a:pt x="22" y="728"/>
                    </a:lnTo>
                    <a:lnTo>
                      <a:pt x="18" y="722"/>
                    </a:lnTo>
                    <a:lnTo>
                      <a:pt x="14" y="720"/>
                    </a:lnTo>
                    <a:lnTo>
                      <a:pt x="12" y="720"/>
                    </a:lnTo>
                    <a:lnTo>
                      <a:pt x="12" y="718"/>
                    </a:lnTo>
                    <a:lnTo>
                      <a:pt x="12" y="714"/>
                    </a:lnTo>
                    <a:lnTo>
                      <a:pt x="14" y="714"/>
                    </a:lnTo>
                    <a:lnTo>
                      <a:pt x="16" y="712"/>
                    </a:lnTo>
                    <a:lnTo>
                      <a:pt x="16" y="710"/>
                    </a:lnTo>
                    <a:lnTo>
                      <a:pt x="16" y="708"/>
                    </a:lnTo>
                    <a:lnTo>
                      <a:pt x="14" y="708"/>
                    </a:lnTo>
                    <a:lnTo>
                      <a:pt x="12" y="708"/>
                    </a:lnTo>
                    <a:lnTo>
                      <a:pt x="8" y="706"/>
                    </a:lnTo>
                    <a:lnTo>
                      <a:pt x="6" y="706"/>
                    </a:lnTo>
                    <a:lnTo>
                      <a:pt x="6" y="704"/>
                    </a:lnTo>
                    <a:lnTo>
                      <a:pt x="4" y="700"/>
                    </a:lnTo>
                    <a:lnTo>
                      <a:pt x="0" y="698"/>
                    </a:lnTo>
                    <a:lnTo>
                      <a:pt x="0" y="696"/>
                    </a:lnTo>
                    <a:lnTo>
                      <a:pt x="2" y="696"/>
                    </a:lnTo>
                    <a:lnTo>
                      <a:pt x="4" y="690"/>
                    </a:lnTo>
                    <a:lnTo>
                      <a:pt x="4" y="686"/>
                    </a:lnTo>
                    <a:lnTo>
                      <a:pt x="14" y="686"/>
                    </a:lnTo>
                    <a:lnTo>
                      <a:pt x="16" y="684"/>
                    </a:lnTo>
                    <a:lnTo>
                      <a:pt x="14" y="678"/>
                    </a:lnTo>
                    <a:lnTo>
                      <a:pt x="12" y="674"/>
                    </a:lnTo>
                    <a:lnTo>
                      <a:pt x="10" y="674"/>
                    </a:lnTo>
                    <a:lnTo>
                      <a:pt x="10" y="672"/>
                    </a:lnTo>
                    <a:lnTo>
                      <a:pt x="12" y="662"/>
                    </a:lnTo>
                    <a:lnTo>
                      <a:pt x="12" y="660"/>
                    </a:lnTo>
                    <a:lnTo>
                      <a:pt x="16" y="656"/>
                    </a:lnTo>
                    <a:lnTo>
                      <a:pt x="22" y="654"/>
                    </a:lnTo>
                    <a:lnTo>
                      <a:pt x="34" y="644"/>
                    </a:lnTo>
                    <a:lnTo>
                      <a:pt x="36" y="644"/>
                    </a:lnTo>
                    <a:lnTo>
                      <a:pt x="38" y="644"/>
                    </a:lnTo>
                    <a:lnTo>
                      <a:pt x="42" y="644"/>
                    </a:lnTo>
                    <a:lnTo>
                      <a:pt x="42" y="642"/>
                    </a:lnTo>
                    <a:lnTo>
                      <a:pt x="44" y="640"/>
                    </a:lnTo>
                    <a:lnTo>
                      <a:pt x="46" y="636"/>
                    </a:lnTo>
                    <a:lnTo>
                      <a:pt x="46" y="634"/>
                    </a:lnTo>
                    <a:lnTo>
                      <a:pt x="44" y="626"/>
                    </a:lnTo>
                    <a:lnTo>
                      <a:pt x="42" y="620"/>
                    </a:lnTo>
                    <a:lnTo>
                      <a:pt x="42" y="618"/>
                    </a:lnTo>
                    <a:lnTo>
                      <a:pt x="42" y="616"/>
                    </a:lnTo>
                    <a:lnTo>
                      <a:pt x="42" y="614"/>
                    </a:lnTo>
                    <a:lnTo>
                      <a:pt x="46" y="606"/>
                    </a:lnTo>
                    <a:lnTo>
                      <a:pt x="48" y="604"/>
                    </a:lnTo>
                    <a:lnTo>
                      <a:pt x="50" y="602"/>
                    </a:lnTo>
                    <a:lnTo>
                      <a:pt x="54" y="598"/>
                    </a:lnTo>
                    <a:lnTo>
                      <a:pt x="56" y="594"/>
                    </a:lnTo>
                    <a:lnTo>
                      <a:pt x="56" y="588"/>
                    </a:lnTo>
                    <a:lnTo>
                      <a:pt x="56" y="586"/>
                    </a:lnTo>
                    <a:lnTo>
                      <a:pt x="56" y="584"/>
                    </a:lnTo>
                    <a:lnTo>
                      <a:pt x="56" y="582"/>
                    </a:lnTo>
                    <a:lnTo>
                      <a:pt x="58" y="576"/>
                    </a:lnTo>
                    <a:lnTo>
                      <a:pt x="58" y="568"/>
                    </a:lnTo>
                    <a:lnTo>
                      <a:pt x="60" y="566"/>
                    </a:lnTo>
                    <a:lnTo>
                      <a:pt x="64" y="564"/>
                    </a:lnTo>
                    <a:lnTo>
                      <a:pt x="66" y="562"/>
                    </a:lnTo>
                    <a:lnTo>
                      <a:pt x="74" y="560"/>
                    </a:lnTo>
                    <a:lnTo>
                      <a:pt x="80" y="556"/>
                    </a:lnTo>
                    <a:lnTo>
                      <a:pt x="86" y="552"/>
                    </a:lnTo>
                    <a:lnTo>
                      <a:pt x="86" y="550"/>
                    </a:lnTo>
                    <a:lnTo>
                      <a:pt x="86" y="548"/>
                    </a:lnTo>
                    <a:lnTo>
                      <a:pt x="86" y="546"/>
                    </a:lnTo>
                    <a:lnTo>
                      <a:pt x="90" y="546"/>
                    </a:lnTo>
                    <a:lnTo>
                      <a:pt x="92" y="546"/>
                    </a:lnTo>
                    <a:lnTo>
                      <a:pt x="94" y="546"/>
                    </a:lnTo>
                    <a:lnTo>
                      <a:pt x="94" y="544"/>
                    </a:lnTo>
                    <a:lnTo>
                      <a:pt x="100" y="542"/>
                    </a:lnTo>
                    <a:lnTo>
                      <a:pt x="106" y="538"/>
                    </a:lnTo>
                    <a:lnTo>
                      <a:pt x="112" y="532"/>
                    </a:lnTo>
                    <a:lnTo>
                      <a:pt x="114" y="532"/>
                    </a:lnTo>
                    <a:lnTo>
                      <a:pt x="120" y="530"/>
                    </a:lnTo>
                    <a:lnTo>
                      <a:pt x="122" y="532"/>
                    </a:lnTo>
                    <a:lnTo>
                      <a:pt x="126" y="532"/>
                    </a:lnTo>
                    <a:lnTo>
                      <a:pt x="140" y="528"/>
                    </a:lnTo>
                    <a:lnTo>
                      <a:pt x="146" y="524"/>
                    </a:lnTo>
                    <a:lnTo>
                      <a:pt x="152" y="524"/>
                    </a:lnTo>
                    <a:lnTo>
                      <a:pt x="158" y="524"/>
                    </a:lnTo>
                    <a:lnTo>
                      <a:pt x="164" y="524"/>
                    </a:lnTo>
                    <a:lnTo>
                      <a:pt x="168" y="520"/>
                    </a:lnTo>
                    <a:lnTo>
                      <a:pt x="168" y="518"/>
                    </a:lnTo>
                    <a:lnTo>
                      <a:pt x="170" y="514"/>
                    </a:lnTo>
                    <a:lnTo>
                      <a:pt x="172" y="514"/>
                    </a:lnTo>
                    <a:lnTo>
                      <a:pt x="174" y="512"/>
                    </a:lnTo>
                    <a:lnTo>
                      <a:pt x="182" y="514"/>
                    </a:lnTo>
                    <a:lnTo>
                      <a:pt x="184" y="516"/>
                    </a:lnTo>
                    <a:lnTo>
                      <a:pt x="188" y="514"/>
                    </a:lnTo>
                    <a:lnTo>
                      <a:pt x="190" y="512"/>
                    </a:lnTo>
                    <a:lnTo>
                      <a:pt x="192" y="512"/>
                    </a:lnTo>
                    <a:lnTo>
                      <a:pt x="198" y="512"/>
                    </a:lnTo>
                    <a:lnTo>
                      <a:pt x="198" y="514"/>
                    </a:lnTo>
                    <a:lnTo>
                      <a:pt x="200" y="516"/>
                    </a:lnTo>
                    <a:lnTo>
                      <a:pt x="198" y="518"/>
                    </a:lnTo>
                    <a:lnTo>
                      <a:pt x="202" y="520"/>
                    </a:lnTo>
                    <a:lnTo>
                      <a:pt x="204" y="522"/>
                    </a:lnTo>
                    <a:lnTo>
                      <a:pt x="214" y="524"/>
                    </a:lnTo>
                    <a:lnTo>
                      <a:pt x="216" y="522"/>
                    </a:lnTo>
                    <a:lnTo>
                      <a:pt x="218" y="520"/>
                    </a:lnTo>
                    <a:lnTo>
                      <a:pt x="218" y="518"/>
                    </a:lnTo>
                    <a:lnTo>
                      <a:pt x="218" y="516"/>
                    </a:lnTo>
                    <a:lnTo>
                      <a:pt x="222" y="500"/>
                    </a:lnTo>
                    <a:lnTo>
                      <a:pt x="226" y="472"/>
                    </a:lnTo>
                    <a:lnTo>
                      <a:pt x="234" y="426"/>
                    </a:lnTo>
                    <a:lnTo>
                      <a:pt x="236" y="422"/>
                    </a:lnTo>
                    <a:lnTo>
                      <a:pt x="236" y="416"/>
                    </a:lnTo>
                    <a:lnTo>
                      <a:pt x="238" y="414"/>
                    </a:lnTo>
                    <a:lnTo>
                      <a:pt x="242" y="392"/>
                    </a:lnTo>
                    <a:lnTo>
                      <a:pt x="246" y="370"/>
                    </a:lnTo>
                    <a:lnTo>
                      <a:pt x="248" y="362"/>
                    </a:lnTo>
                    <a:lnTo>
                      <a:pt x="248" y="360"/>
                    </a:lnTo>
                    <a:lnTo>
                      <a:pt x="248" y="356"/>
                    </a:lnTo>
                    <a:lnTo>
                      <a:pt x="246" y="350"/>
                    </a:lnTo>
                    <a:lnTo>
                      <a:pt x="246" y="344"/>
                    </a:lnTo>
                    <a:lnTo>
                      <a:pt x="246" y="342"/>
                    </a:lnTo>
                    <a:lnTo>
                      <a:pt x="244" y="340"/>
                    </a:lnTo>
                    <a:lnTo>
                      <a:pt x="242" y="338"/>
                    </a:lnTo>
                    <a:lnTo>
                      <a:pt x="236" y="328"/>
                    </a:lnTo>
                    <a:lnTo>
                      <a:pt x="236" y="326"/>
                    </a:lnTo>
                    <a:lnTo>
                      <a:pt x="238" y="326"/>
                    </a:lnTo>
                    <a:lnTo>
                      <a:pt x="238" y="324"/>
                    </a:lnTo>
                    <a:lnTo>
                      <a:pt x="238" y="322"/>
                    </a:lnTo>
                    <a:lnTo>
                      <a:pt x="236" y="316"/>
                    </a:lnTo>
                    <a:lnTo>
                      <a:pt x="236" y="314"/>
                    </a:lnTo>
                    <a:lnTo>
                      <a:pt x="232" y="314"/>
                    </a:lnTo>
                    <a:lnTo>
                      <a:pt x="230" y="312"/>
                    </a:lnTo>
                    <a:lnTo>
                      <a:pt x="220" y="304"/>
                    </a:lnTo>
                    <a:lnTo>
                      <a:pt x="214" y="300"/>
                    </a:lnTo>
                    <a:lnTo>
                      <a:pt x="212" y="296"/>
                    </a:lnTo>
                    <a:lnTo>
                      <a:pt x="212" y="292"/>
                    </a:lnTo>
                    <a:lnTo>
                      <a:pt x="212" y="288"/>
                    </a:lnTo>
                    <a:lnTo>
                      <a:pt x="212" y="280"/>
                    </a:lnTo>
                    <a:lnTo>
                      <a:pt x="212" y="272"/>
                    </a:lnTo>
                    <a:lnTo>
                      <a:pt x="212" y="268"/>
                    </a:lnTo>
                    <a:lnTo>
                      <a:pt x="212" y="260"/>
                    </a:lnTo>
                    <a:lnTo>
                      <a:pt x="212" y="256"/>
                    </a:lnTo>
                    <a:lnTo>
                      <a:pt x="216" y="256"/>
                    </a:lnTo>
                    <a:lnTo>
                      <a:pt x="220" y="256"/>
                    </a:lnTo>
                    <a:lnTo>
                      <a:pt x="226" y="256"/>
                    </a:lnTo>
                    <a:lnTo>
                      <a:pt x="228" y="254"/>
                    </a:lnTo>
                    <a:lnTo>
                      <a:pt x="232" y="250"/>
                    </a:lnTo>
                    <a:lnTo>
                      <a:pt x="246" y="248"/>
                    </a:lnTo>
                    <a:lnTo>
                      <a:pt x="252" y="252"/>
                    </a:lnTo>
                    <a:lnTo>
                      <a:pt x="254" y="254"/>
                    </a:lnTo>
                    <a:lnTo>
                      <a:pt x="258" y="254"/>
                    </a:lnTo>
                    <a:lnTo>
                      <a:pt x="264" y="252"/>
                    </a:lnTo>
                    <a:lnTo>
                      <a:pt x="262" y="248"/>
                    </a:lnTo>
                    <a:lnTo>
                      <a:pt x="262" y="242"/>
                    </a:lnTo>
                    <a:lnTo>
                      <a:pt x="258" y="234"/>
                    </a:lnTo>
                    <a:lnTo>
                      <a:pt x="256" y="232"/>
                    </a:lnTo>
                    <a:lnTo>
                      <a:pt x="250" y="230"/>
                    </a:lnTo>
                    <a:lnTo>
                      <a:pt x="248" y="230"/>
                    </a:lnTo>
                    <a:lnTo>
                      <a:pt x="246" y="232"/>
                    </a:lnTo>
                    <a:lnTo>
                      <a:pt x="236" y="230"/>
                    </a:lnTo>
                    <a:lnTo>
                      <a:pt x="230" y="230"/>
                    </a:lnTo>
                    <a:lnTo>
                      <a:pt x="224" y="230"/>
                    </a:lnTo>
                    <a:lnTo>
                      <a:pt x="224" y="196"/>
                    </a:lnTo>
                    <a:lnTo>
                      <a:pt x="224" y="194"/>
                    </a:lnTo>
                    <a:lnTo>
                      <a:pt x="226" y="196"/>
                    </a:lnTo>
                    <a:lnTo>
                      <a:pt x="232" y="194"/>
                    </a:lnTo>
                    <a:lnTo>
                      <a:pt x="240" y="192"/>
                    </a:lnTo>
                    <a:lnTo>
                      <a:pt x="246" y="194"/>
                    </a:lnTo>
                    <a:lnTo>
                      <a:pt x="248" y="194"/>
                    </a:lnTo>
                    <a:lnTo>
                      <a:pt x="250" y="194"/>
                    </a:lnTo>
                    <a:lnTo>
                      <a:pt x="256" y="194"/>
                    </a:lnTo>
                    <a:lnTo>
                      <a:pt x="264" y="194"/>
                    </a:lnTo>
                    <a:lnTo>
                      <a:pt x="280" y="194"/>
                    </a:lnTo>
                    <a:lnTo>
                      <a:pt x="316" y="194"/>
                    </a:lnTo>
                    <a:lnTo>
                      <a:pt x="314" y="192"/>
                    </a:lnTo>
                    <a:lnTo>
                      <a:pt x="312" y="192"/>
                    </a:lnTo>
                    <a:lnTo>
                      <a:pt x="310" y="188"/>
                    </a:lnTo>
                    <a:lnTo>
                      <a:pt x="310" y="184"/>
                    </a:lnTo>
                    <a:lnTo>
                      <a:pt x="312" y="184"/>
                    </a:lnTo>
                    <a:lnTo>
                      <a:pt x="314" y="180"/>
                    </a:lnTo>
                    <a:lnTo>
                      <a:pt x="318" y="182"/>
                    </a:lnTo>
                    <a:lnTo>
                      <a:pt x="318" y="184"/>
                    </a:lnTo>
                    <a:lnTo>
                      <a:pt x="320" y="186"/>
                    </a:lnTo>
                    <a:lnTo>
                      <a:pt x="320" y="188"/>
                    </a:lnTo>
                    <a:lnTo>
                      <a:pt x="322" y="190"/>
                    </a:lnTo>
                    <a:lnTo>
                      <a:pt x="322" y="192"/>
                    </a:lnTo>
                    <a:lnTo>
                      <a:pt x="324" y="194"/>
                    </a:lnTo>
                    <a:lnTo>
                      <a:pt x="326" y="194"/>
                    </a:lnTo>
                    <a:lnTo>
                      <a:pt x="328" y="194"/>
                    </a:lnTo>
                    <a:lnTo>
                      <a:pt x="330" y="194"/>
                    </a:lnTo>
                    <a:lnTo>
                      <a:pt x="334" y="192"/>
                    </a:lnTo>
                    <a:lnTo>
                      <a:pt x="336" y="190"/>
                    </a:lnTo>
                    <a:lnTo>
                      <a:pt x="340" y="184"/>
                    </a:lnTo>
                    <a:lnTo>
                      <a:pt x="340" y="182"/>
                    </a:lnTo>
                    <a:lnTo>
                      <a:pt x="342" y="180"/>
                    </a:lnTo>
                    <a:lnTo>
                      <a:pt x="346" y="176"/>
                    </a:lnTo>
                    <a:lnTo>
                      <a:pt x="348" y="176"/>
                    </a:lnTo>
                    <a:lnTo>
                      <a:pt x="350" y="174"/>
                    </a:lnTo>
                    <a:lnTo>
                      <a:pt x="356" y="172"/>
                    </a:lnTo>
                    <a:lnTo>
                      <a:pt x="358" y="174"/>
                    </a:lnTo>
                    <a:lnTo>
                      <a:pt x="360" y="174"/>
                    </a:lnTo>
                    <a:lnTo>
                      <a:pt x="360" y="176"/>
                    </a:lnTo>
                    <a:lnTo>
                      <a:pt x="360" y="178"/>
                    </a:lnTo>
                    <a:lnTo>
                      <a:pt x="364" y="182"/>
                    </a:lnTo>
                    <a:lnTo>
                      <a:pt x="366" y="186"/>
                    </a:lnTo>
                    <a:lnTo>
                      <a:pt x="370" y="190"/>
                    </a:lnTo>
                    <a:lnTo>
                      <a:pt x="372" y="194"/>
                    </a:lnTo>
                    <a:lnTo>
                      <a:pt x="374" y="200"/>
                    </a:lnTo>
                    <a:lnTo>
                      <a:pt x="374" y="206"/>
                    </a:lnTo>
                    <a:lnTo>
                      <a:pt x="374" y="210"/>
                    </a:lnTo>
                    <a:lnTo>
                      <a:pt x="374" y="212"/>
                    </a:lnTo>
                    <a:lnTo>
                      <a:pt x="374" y="218"/>
                    </a:lnTo>
                    <a:lnTo>
                      <a:pt x="374" y="220"/>
                    </a:lnTo>
                    <a:lnTo>
                      <a:pt x="374" y="224"/>
                    </a:lnTo>
                    <a:lnTo>
                      <a:pt x="376" y="224"/>
                    </a:lnTo>
                    <a:lnTo>
                      <a:pt x="384" y="222"/>
                    </a:lnTo>
                    <a:lnTo>
                      <a:pt x="390" y="226"/>
                    </a:lnTo>
                    <a:lnTo>
                      <a:pt x="414" y="246"/>
                    </a:lnTo>
                    <a:lnTo>
                      <a:pt x="414" y="248"/>
                    </a:lnTo>
                    <a:lnTo>
                      <a:pt x="416" y="248"/>
                    </a:lnTo>
                    <a:lnTo>
                      <a:pt x="426" y="248"/>
                    </a:lnTo>
                    <a:lnTo>
                      <a:pt x="432" y="244"/>
                    </a:lnTo>
                    <a:lnTo>
                      <a:pt x="434" y="244"/>
                    </a:lnTo>
                    <a:lnTo>
                      <a:pt x="436" y="242"/>
                    </a:lnTo>
                    <a:lnTo>
                      <a:pt x="436" y="240"/>
                    </a:lnTo>
                    <a:lnTo>
                      <a:pt x="438" y="238"/>
                    </a:lnTo>
                    <a:lnTo>
                      <a:pt x="446" y="234"/>
                    </a:lnTo>
                    <a:lnTo>
                      <a:pt x="450" y="234"/>
                    </a:lnTo>
                    <a:lnTo>
                      <a:pt x="454" y="234"/>
                    </a:lnTo>
                    <a:lnTo>
                      <a:pt x="456" y="236"/>
                    </a:lnTo>
                    <a:lnTo>
                      <a:pt x="458" y="238"/>
                    </a:lnTo>
                    <a:lnTo>
                      <a:pt x="458" y="240"/>
                    </a:lnTo>
                    <a:lnTo>
                      <a:pt x="458" y="242"/>
                    </a:lnTo>
                    <a:lnTo>
                      <a:pt x="458" y="244"/>
                    </a:lnTo>
                    <a:lnTo>
                      <a:pt x="456" y="246"/>
                    </a:lnTo>
                    <a:lnTo>
                      <a:pt x="454" y="248"/>
                    </a:lnTo>
                    <a:lnTo>
                      <a:pt x="454" y="250"/>
                    </a:lnTo>
                    <a:lnTo>
                      <a:pt x="456" y="252"/>
                    </a:lnTo>
                    <a:lnTo>
                      <a:pt x="458" y="252"/>
                    </a:lnTo>
                    <a:lnTo>
                      <a:pt x="460" y="252"/>
                    </a:lnTo>
                    <a:lnTo>
                      <a:pt x="462" y="250"/>
                    </a:lnTo>
                    <a:lnTo>
                      <a:pt x="464" y="248"/>
                    </a:lnTo>
                    <a:lnTo>
                      <a:pt x="464" y="246"/>
                    </a:lnTo>
                    <a:lnTo>
                      <a:pt x="466" y="244"/>
                    </a:lnTo>
                    <a:lnTo>
                      <a:pt x="466" y="242"/>
                    </a:lnTo>
                    <a:lnTo>
                      <a:pt x="468" y="238"/>
                    </a:lnTo>
                    <a:lnTo>
                      <a:pt x="470" y="238"/>
                    </a:lnTo>
                    <a:lnTo>
                      <a:pt x="472" y="238"/>
                    </a:lnTo>
                    <a:lnTo>
                      <a:pt x="474" y="238"/>
                    </a:lnTo>
                    <a:lnTo>
                      <a:pt x="476" y="238"/>
                    </a:lnTo>
                    <a:lnTo>
                      <a:pt x="476" y="236"/>
                    </a:lnTo>
                    <a:lnTo>
                      <a:pt x="478" y="236"/>
                    </a:lnTo>
                    <a:lnTo>
                      <a:pt x="478" y="234"/>
                    </a:lnTo>
                    <a:lnTo>
                      <a:pt x="478" y="232"/>
                    </a:lnTo>
                    <a:lnTo>
                      <a:pt x="478" y="230"/>
                    </a:lnTo>
                    <a:lnTo>
                      <a:pt x="478" y="228"/>
                    </a:lnTo>
                    <a:lnTo>
                      <a:pt x="480" y="226"/>
                    </a:lnTo>
                    <a:lnTo>
                      <a:pt x="486" y="224"/>
                    </a:lnTo>
                    <a:lnTo>
                      <a:pt x="488" y="222"/>
                    </a:lnTo>
                    <a:lnTo>
                      <a:pt x="496" y="218"/>
                    </a:lnTo>
                    <a:lnTo>
                      <a:pt x="498" y="220"/>
                    </a:lnTo>
                    <a:lnTo>
                      <a:pt x="500" y="220"/>
                    </a:lnTo>
                    <a:lnTo>
                      <a:pt x="502" y="220"/>
                    </a:lnTo>
                    <a:lnTo>
                      <a:pt x="508" y="216"/>
                    </a:lnTo>
                    <a:lnTo>
                      <a:pt x="508" y="214"/>
                    </a:lnTo>
                    <a:lnTo>
                      <a:pt x="510" y="212"/>
                    </a:lnTo>
                    <a:lnTo>
                      <a:pt x="512" y="210"/>
                    </a:lnTo>
                    <a:lnTo>
                      <a:pt x="520" y="206"/>
                    </a:lnTo>
                    <a:lnTo>
                      <a:pt x="526" y="208"/>
                    </a:lnTo>
                    <a:lnTo>
                      <a:pt x="534" y="202"/>
                    </a:lnTo>
                    <a:lnTo>
                      <a:pt x="536" y="198"/>
                    </a:lnTo>
                    <a:lnTo>
                      <a:pt x="538" y="196"/>
                    </a:lnTo>
                    <a:lnTo>
                      <a:pt x="538" y="190"/>
                    </a:lnTo>
                    <a:lnTo>
                      <a:pt x="538" y="188"/>
                    </a:lnTo>
                    <a:lnTo>
                      <a:pt x="538" y="186"/>
                    </a:lnTo>
                    <a:lnTo>
                      <a:pt x="538" y="184"/>
                    </a:lnTo>
                    <a:lnTo>
                      <a:pt x="540" y="182"/>
                    </a:lnTo>
                    <a:lnTo>
                      <a:pt x="542" y="180"/>
                    </a:lnTo>
                    <a:lnTo>
                      <a:pt x="544" y="180"/>
                    </a:lnTo>
                    <a:lnTo>
                      <a:pt x="550" y="180"/>
                    </a:lnTo>
                    <a:lnTo>
                      <a:pt x="554" y="178"/>
                    </a:lnTo>
                    <a:lnTo>
                      <a:pt x="556" y="178"/>
                    </a:lnTo>
                    <a:lnTo>
                      <a:pt x="560" y="174"/>
                    </a:lnTo>
                    <a:lnTo>
                      <a:pt x="564" y="172"/>
                    </a:lnTo>
                    <a:lnTo>
                      <a:pt x="568" y="172"/>
                    </a:lnTo>
                    <a:lnTo>
                      <a:pt x="572" y="172"/>
                    </a:lnTo>
                    <a:lnTo>
                      <a:pt x="574" y="166"/>
                    </a:lnTo>
                    <a:lnTo>
                      <a:pt x="576" y="156"/>
                    </a:lnTo>
                    <a:lnTo>
                      <a:pt x="574" y="156"/>
                    </a:lnTo>
                    <a:lnTo>
                      <a:pt x="562" y="156"/>
                    </a:lnTo>
                    <a:lnTo>
                      <a:pt x="552" y="156"/>
                    </a:lnTo>
                    <a:lnTo>
                      <a:pt x="550" y="156"/>
                    </a:lnTo>
                    <a:lnTo>
                      <a:pt x="538" y="154"/>
                    </a:lnTo>
                    <a:lnTo>
                      <a:pt x="538" y="152"/>
                    </a:lnTo>
                    <a:lnTo>
                      <a:pt x="538" y="150"/>
                    </a:lnTo>
                    <a:lnTo>
                      <a:pt x="540" y="148"/>
                    </a:lnTo>
                    <a:lnTo>
                      <a:pt x="540" y="146"/>
                    </a:lnTo>
                    <a:lnTo>
                      <a:pt x="540" y="140"/>
                    </a:lnTo>
                    <a:lnTo>
                      <a:pt x="538" y="134"/>
                    </a:lnTo>
                    <a:lnTo>
                      <a:pt x="536" y="128"/>
                    </a:lnTo>
                    <a:lnTo>
                      <a:pt x="532" y="122"/>
                    </a:lnTo>
                    <a:lnTo>
                      <a:pt x="528" y="114"/>
                    </a:lnTo>
                    <a:lnTo>
                      <a:pt x="528" y="106"/>
                    </a:lnTo>
                    <a:lnTo>
                      <a:pt x="526" y="102"/>
                    </a:lnTo>
                    <a:lnTo>
                      <a:pt x="528" y="100"/>
                    </a:lnTo>
                    <a:lnTo>
                      <a:pt x="530" y="98"/>
                    </a:lnTo>
                    <a:lnTo>
                      <a:pt x="530" y="96"/>
                    </a:lnTo>
                    <a:lnTo>
                      <a:pt x="530" y="92"/>
                    </a:lnTo>
                    <a:lnTo>
                      <a:pt x="522" y="86"/>
                    </a:lnTo>
                    <a:lnTo>
                      <a:pt x="520" y="84"/>
                    </a:lnTo>
                    <a:lnTo>
                      <a:pt x="518" y="82"/>
                    </a:lnTo>
                    <a:lnTo>
                      <a:pt x="516" y="82"/>
                    </a:lnTo>
                    <a:lnTo>
                      <a:pt x="512" y="78"/>
                    </a:lnTo>
                    <a:lnTo>
                      <a:pt x="506" y="72"/>
                    </a:lnTo>
                    <a:lnTo>
                      <a:pt x="504" y="72"/>
                    </a:lnTo>
                    <a:lnTo>
                      <a:pt x="504" y="70"/>
                    </a:lnTo>
                    <a:lnTo>
                      <a:pt x="502" y="66"/>
                    </a:lnTo>
                    <a:lnTo>
                      <a:pt x="502" y="64"/>
                    </a:lnTo>
                    <a:lnTo>
                      <a:pt x="500" y="62"/>
                    </a:lnTo>
                    <a:lnTo>
                      <a:pt x="498" y="60"/>
                    </a:lnTo>
                    <a:lnTo>
                      <a:pt x="496" y="60"/>
                    </a:lnTo>
                    <a:lnTo>
                      <a:pt x="496" y="56"/>
                    </a:lnTo>
                    <a:lnTo>
                      <a:pt x="498" y="56"/>
                    </a:lnTo>
                    <a:lnTo>
                      <a:pt x="500" y="56"/>
                    </a:lnTo>
                    <a:lnTo>
                      <a:pt x="502" y="56"/>
                    </a:lnTo>
                    <a:lnTo>
                      <a:pt x="504" y="58"/>
                    </a:lnTo>
                    <a:lnTo>
                      <a:pt x="506" y="64"/>
                    </a:lnTo>
                    <a:lnTo>
                      <a:pt x="508" y="64"/>
                    </a:lnTo>
                    <a:lnTo>
                      <a:pt x="510" y="64"/>
                    </a:lnTo>
                    <a:lnTo>
                      <a:pt x="514" y="64"/>
                    </a:lnTo>
                    <a:lnTo>
                      <a:pt x="516" y="64"/>
                    </a:lnTo>
                    <a:lnTo>
                      <a:pt x="518" y="62"/>
                    </a:lnTo>
                    <a:lnTo>
                      <a:pt x="520" y="62"/>
                    </a:lnTo>
                    <a:lnTo>
                      <a:pt x="522" y="62"/>
                    </a:lnTo>
                    <a:lnTo>
                      <a:pt x="526" y="64"/>
                    </a:lnTo>
                    <a:lnTo>
                      <a:pt x="528" y="64"/>
                    </a:lnTo>
                    <a:lnTo>
                      <a:pt x="532" y="64"/>
                    </a:lnTo>
                    <a:lnTo>
                      <a:pt x="534" y="66"/>
                    </a:lnTo>
                    <a:lnTo>
                      <a:pt x="534" y="68"/>
                    </a:lnTo>
                    <a:lnTo>
                      <a:pt x="536" y="74"/>
                    </a:lnTo>
                    <a:lnTo>
                      <a:pt x="536" y="76"/>
                    </a:lnTo>
                    <a:lnTo>
                      <a:pt x="538" y="76"/>
                    </a:lnTo>
                    <a:lnTo>
                      <a:pt x="540" y="78"/>
                    </a:lnTo>
                    <a:lnTo>
                      <a:pt x="542" y="76"/>
                    </a:lnTo>
                    <a:lnTo>
                      <a:pt x="544" y="74"/>
                    </a:lnTo>
                    <a:lnTo>
                      <a:pt x="548" y="72"/>
                    </a:lnTo>
                    <a:lnTo>
                      <a:pt x="558" y="74"/>
                    </a:lnTo>
                    <a:lnTo>
                      <a:pt x="560" y="74"/>
                    </a:lnTo>
                    <a:lnTo>
                      <a:pt x="562" y="74"/>
                    </a:lnTo>
                    <a:lnTo>
                      <a:pt x="562" y="76"/>
                    </a:lnTo>
                    <a:lnTo>
                      <a:pt x="564" y="78"/>
                    </a:lnTo>
                    <a:lnTo>
                      <a:pt x="566" y="78"/>
                    </a:lnTo>
                    <a:lnTo>
                      <a:pt x="568" y="78"/>
                    </a:lnTo>
                    <a:lnTo>
                      <a:pt x="570" y="76"/>
                    </a:lnTo>
                    <a:lnTo>
                      <a:pt x="570" y="74"/>
                    </a:lnTo>
                    <a:lnTo>
                      <a:pt x="572" y="72"/>
                    </a:lnTo>
                    <a:lnTo>
                      <a:pt x="574" y="72"/>
                    </a:lnTo>
                    <a:lnTo>
                      <a:pt x="576" y="72"/>
                    </a:lnTo>
                    <a:lnTo>
                      <a:pt x="578" y="74"/>
                    </a:lnTo>
                    <a:lnTo>
                      <a:pt x="580" y="76"/>
                    </a:lnTo>
                    <a:lnTo>
                      <a:pt x="584" y="82"/>
                    </a:lnTo>
                    <a:lnTo>
                      <a:pt x="594" y="92"/>
                    </a:lnTo>
                    <a:lnTo>
                      <a:pt x="598" y="94"/>
                    </a:lnTo>
                    <a:lnTo>
                      <a:pt x="600" y="94"/>
                    </a:lnTo>
                    <a:lnTo>
                      <a:pt x="606" y="92"/>
                    </a:lnTo>
                    <a:lnTo>
                      <a:pt x="608" y="90"/>
                    </a:lnTo>
                    <a:lnTo>
                      <a:pt x="608" y="88"/>
                    </a:lnTo>
                    <a:lnTo>
                      <a:pt x="608" y="86"/>
                    </a:lnTo>
                    <a:lnTo>
                      <a:pt x="608" y="84"/>
                    </a:lnTo>
                    <a:lnTo>
                      <a:pt x="608" y="82"/>
                    </a:lnTo>
                    <a:lnTo>
                      <a:pt x="606" y="80"/>
                    </a:lnTo>
                    <a:lnTo>
                      <a:pt x="606" y="76"/>
                    </a:lnTo>
                    <a:lnTo>
                      <a:pt x="606" y="70"/>
                    </a:lnTo>
                    <a:lnTo>
                      <a:pt x="608" y="68"/>
                    </a:lnTo>
                    <a:lnTo>
                      <a:pt x="612" y="68"/>
                    </a:lnTo>
                    <a:lnTo>
                      <a:pt x="614" y="68"/>
                    </a:lnTo>
                    <a:lnTo>
                      <a:pt x="618" y="64"/>
                    </a:lnTo>
                    <a:lnTo>
                      <a:pt x="624" y="60"/>
                    </a:lnTo>
                    <a:lnTo>
                      <a:pt x="626" y="60"/>
                    </a:lnTo>
                    <a:lnTo>
                      <a:pt x="630" y="62"/>
                    </a:lnTo>
                    <a:lnTo>
                      <a:pt x="632" y="64"/>
                    </a:lnTo>
                    <a:lnTo>
                      <a:pt x="636" y="64"/>
                    </a:lnTo>
                    <a:lnTo>
                      <a:pt x="638" y="64"/>
                    </a:lnTo>
                    <a:lnTo>
                      <a:pt x="640" y="64"/>
                    </a:lnTo>
                    <a:lnTo>
                      <a:pt x="642" y="64"/>
                    </a:lnTo>
                    <a:lnTo>
                      <a:pt x="644" y="64"/>
                    </a:lnTo>
                    <a:lnTo>
                      <a:pt x="644" y="62"/>
                    </a:lnTo>
                    <a:lnTo>
                      <a:pt x="648" y="62"/>
                    </a:lnTo>
                    <a:lnTo>
                      <a:pt x="650" y="62"/>
                    </a:lnTo>
                    <a:lnTo>
                      <a:pt x="652" y="62"/>
                    </a:lnTo>
                    <a:lnTo>
                      <a:pt x="656" y="62"/>
                    </a:lnTo>
                    <a:lnTo>
                      <a:pt x="658" y="60"/>
                    </a:lnTo>
                    <a:lnTo>
                      <a:pt x="658" y="58"/>
                    </a:lnTo>
                    <a:lnTo>
                      <a:pt x="660" y="56"/>
                    </a:lnTo>
                    <a:lnTo>
                      <a:pt x="664" y="56"/>
                    </a:lnTo>
                    <a:lnTo>
                      <a:pt x="666" y="56"/>
                    </a:lnTo>
                    <a:lnTo>
                      <a:pt x="668" y="56"/>
                    </a:lnTo>
                    <a:lnTo>
                      <a:pt x="672" y="56"/>
                    </a:lnTo>
                    <a:lnTo>
                      <a:pt x="674" y="54"/>
                    </a:lnTo>
                    <a:lnTo>
                      <a:pt x="674" y="52"/>
                    </a:lnTo>
                    <a:lnTo>
                      <a:pt x="674" y="50"/>
                    </a:lnTo>
                    <a:lnTo>
                      <a:pt x="674" y="48"/>
                    </a:lnTo>
                    <a:lnTo>
                      <a:pt x="684" y="42"/>
                    </a:lnTo>
                    <a:lnTo>
                      <a:pt x="692" y="44"/>
                    </a:lnTo>
                    <a:lnTo>
                      <a:pt x="698" y="42"/>
                    </a:lnTo>
                    <a:lnTo>
                      <a:pt x="702" y="42"/>
                    </a:lnTo>
                    <a:lnTo>
                      <a:pt x="704" y="40"/>
                    </a:lnTo>
                    <a:lnTo>
                      <a:pt x="706" y="38"/>
                    </a:lnTo>
                    <a:lnTo>
                      <a:pt x="706" y="36"/>
                    </a:lnTo>
                    <a:lnTo>
                      <a:pt x="706" y="30"/>
                    </a:lnTo>
                    <a:lnTo>
                      <a:pt x="708" y="30"/>
                    </a:lnTo>
                    <a:lnTo>
                      <a:pt x="710" y="30"/>
                    </a:lnTo>
                    <a:lnTo>
                      <a:pt x="716" y="28"/>
                    </a:lnTo>
                    <a:lnTo>
                      <a:pt x="718" y="26"/>
                    </a:lnTo>
                    <a:lnTo>
                      <a:pt x="720" y="24"/>
                    </a:lnTo>
                    <a:lnTo>
                      <a:pt x="724" y="20"/>
                    </a:lnTo>
                    <a:lnTo>
                      <a:pt x="724" y="18"/>
                    </a:lnTo>
                    <a:lnTo>
                      <a:pt x="724" y="16"/>
                    </a:lnTo>
                    <a:lnTo>
                      <a:pt x="720" y="8"/>
                    </a:lnTo>
                    <a:lnTo>
                      <a:pt x="720" y="6"/>
                    </a:lnTo>
                    <a:lnTo>
                      <a:pt x="718" y="4"/>
                    </a:lnTo>
                    <a:lnTo>
                      <a:pt x="716" y="4"/>
                    </a:lnTo>
                    <a:lnTo>
                      <a:pt x="718" y="4"/>
                    </a:lnTo>
                    <a:lnTo>
                      <a:pt x="724" y="4"/>
                    </a:lnTo>
                    <a:lnTo>
                      <a:pt x="724" y="6"/>
                    </a:lnTo>
                    <a:lnTo>
                      <a:pt x="738" y="4"/>
                    </a:lnTo>
                    <a:lnTo>
                      <a:pt x="740" y="2"/>
                    </a:lnTo>
                    <a:lnTo>
                      <a:pt x="742" y="2"/>
                    </a:lnTo>
                    <a:lnTo>
                      <a:pt x="744" y="0"/>
                    </a:lnTo>
                    <a:lnTo>
                      <a:pt x="748" y="2"/>
                    </a:lnTo>
                    <a:lnTo>
                      <a:pt x="750" y="4"/>
                    </a:lnTo>
                    <a:lnTo>
                      <a:pt x="750" y="6"/>
                    </a:lnTo>
                    <a:lnTo>
                      <a:pt x="754" y="10"/>
                    </a:lnTo>
                    <a:lnTo>
                      <a:pt x="756" y="14"/>
                    </a:lnTo>
                    <a:lnTo>
                      <a:pt x="756" y="24"/>
                    </a:lnTo>
                    <a:lnTo>
                      <a:pt x="754" y="30"/>
                    </a:lnTo>
                    <a:lnTo>
                      <a:pt x="752" y="36"/>
                    </a:lnTo>
                    <a:lnTo>
                      <a:pt x="750" y="36"/>
                    </a:lnTo>
                    <a:lnTo>
                      <a:pt x="748" y="38"/>
                    </a:lnTo>
                    <a:lnTo>
                      <a:pt x="746" y="38"/>
                    </a:lnTo>
                    <a:lnTo>
                      <a:pt x="748" y="42"/>
                    </a:lnTo>
                    <a:lnTo>
                      <a:pt x="754" y="44"/>
                    </a:lnTo>
                    <a:lnTo>
                      <a:pt x="758" y="42"/>
                    </a:lnTo>
                    <a:lnTo>
                      <a:pt x="766" y="46"/>
                    </a:lnTo>
                    <a:lnTo>
                      <a:pt x="770" y="46"/>
                    </a:lnTo>
                    <a:lnTo>
                      <a:pt x="774" y="48"/>
                    </a:lnTo>
                    <a:lnTo>
                      <a:pt x="770" y="54"/>
                    </a:lnTo>
                    <a:lnTo>
                      <a:pt x="770" y="58"/>
                    </a:lnTo>
                    <a:lnTo>
                      <a:pt x="770" y="60"/>
                    </a:lnTo>
                    <a:lnTo>
                      <a:pt x="772" y="60"/>
                    </a:lnTo>
                    <a:lnTo>
                      <a:pt x="778" y="70"/>
                    </a:lnTo>
                    <a:lnTo>
                      <a:pt x="778" y="76"/>
                    </a:lnTo>
                    <a:lnTo>
                      <a:pt x="774" y="84"/>
                    </a:lnTo>
                    <a:lnTo>
                      <a:pt x="768" y="90"/>
                    </a:lnTo>
                    <a:lnTo>
                      <a:pt x="764" y="96"/>
                    </a:lnTo>
                    <a:lnTo>
                      <a:pt x="766" y="98"/>
                    </a:lnTo>
                    <a:lnTo>
                      <a:pt x="766" y="104"/>
                    </a:lnTo>
                    <a:lnTo>
                      <a:pt x="764" y="106"/>
                    </a:lnTo>
                    <a:lnTo>
                      <a:pt x="764" y="108"/>
                    </a:lnTo>
                    <a:lnTo>
                      <a:pt x="762" y="110"/>
                    </a:lnTo>
                    <a:lnTo>
                      <a:pt x="760" y="114"/>
                    </a:lnTo>
                    <a:lnTo>
                      <a:pt x="760" y="120"/>
                    </a:lnTo>
                    <a:lnTo>
                      <a:pt x="758" y="122"/>
                    </a:lnTo>
                    <a:lnTo>
                      <a:pt x="758" y="130"/>
                    </a:lnTo>
                    <a:lnTo>
                      <a:pt x="758" y="132"/>
                    </a:lnTo>
                    <a:lnTo>
                      <a:pt x="758" y="140"/>
                    </a:lnTo>
                    <a:lnTo>
                      <a:pt x="760" y="146"/>
                    </a:lnTo>
                    <a:lnTo>
                      <a:pt x="760" y="148"/>
                    </a:lnTo>
                    <a:lnTo>
                      <a:pt x="762" y="154"/>
                    </a:lnTo>
                    <a:lnTo>
                      <a:pt x="762" y="156"/>
                    </a:lnTo>
                    <a:lnTo>
                      <a:pt x="762" y="158"/>
                    </a:lnTo>
                    <a:lnTo>
                      <a:pt x="764" y="160"/>
                    </a:lnTo>
                    <a:lnTo>
                      <a:pt x="768" y="162"/>
                    </a:lnTo>
                    <a:lnTo>
                      <a:pt x="770" y="164"/>
                    </a:lnTo>
                    <a:lnTo>
                      <a:pt x="772" y="166"/>
                    </a:lnTo>
                    <a:lnTo>
                      <a:pt x="770" y="174"/>
                    </a:lnTo>
                    <a:lnTo>
                      <a:pt x="770" y="184"/>
                    </a:lnTo>
                    <a:lnTo>
                      <a:pt x="770" y="186"/>
                    </a:lnTo>
                    <a:lnTo>
                      <a:pt x="772" y="186"/>
                    </a:lnTo>
                    <a:lnTo>
                      <a:pt x="776" y="188"/>
                    </a:lnTo>
                    <a:lnTo>
                      <a:pt x="776" y="190"/>
                    </a:lnTo>
                    <a:lnTo>
                      <a:pt x="774" y="192"/>
                    </a:lnTo>
                    <a:lnTo>
                      <a:pt x="776" y="194"/>
                    </a:lnTo>
                    <a:lnTo>
                      <a:pt x="778" y="194"/>
                    </a:lnTo>
                    <a:lnTo>
                      <a:pt x="782" y="196"/>
                    </a:lnTo>
                    <a:lnTo>
                      <a:pt x="784" y="198"/>
                    </a:lnTo>
                    <a:lnTo>
                      <a:pt x="788" y="202"/>
                    </a:lnTo>
                    <a:lnTo>
                      <a:pt x="798" y="212"/>
                    </a:lnTo>
                    <a:lnTo>
                      <a:pt x="806" y="214"/>
                    </a:lnTo>
                    <a:lnTo>
                      <a:pt x="812" y="216"/>
                    </a:lnTo>
                    <a:lnTo>
                      <a:pt x="814" y="216"/>
                    </a:lnTo>
                    <a:lnTo>
                      <a:pt x="816" y="216"/>
                    </a:lnTo>
                    <a:lnTo>
                      <a:pt x="816" y="218"/>
                    </a:lnTo>
                    <a:lnTo>
                      <a:pt x="816" y="220"/>
                    </a:lnTo>
                    <a:lnTo>
                      <a:pt x="818" y="222"/>
                    </a:lnTo>
                    <a:lnTo>
                      <a:pt x="820" y="224"/>
                    </a:lnTo>
                    <a:lnTo>
                      <a:pt x="824" y="222"/>
                    </a:lnTo>
                    <a:lnTo>
                      <a:pt x="826" y="220"/>
                    </a:lnTo>
                    <a:lnTo>
                      <a:pt x="826" y="218"/>
                    </a:lnTo>
                    <a:lnTo>
                      <a:pt x="828" y="218"/>
                    </a:lnTo>
                    <a:lnTo>
                      <a:pt x="834" y="218"/>
                    </a:lnTo>
                    <a:lnTo>
                      <a:pt x="836" y="218"/>
                    </a:lnTo>
                    <a:lnTo>
                      <a:pt x="838" y="216"/>
                    </a:lnTo>
                    <a:lnTo>
                      <a:pt x="840" y="214"/>
                    </a:lnTo>
                    <a:lnTo>
                      <a:pt x="838" y="208"/>
                    </a:lnTo>
                    <a:lnTo>
                      <a:pt x="844" y="208"/>
                    </a:lnTo>
                    <a:lnTo>
                      <a:pt x="850" y="202"/>
                    </a:lnTo>
                    <a:lnTo>
                      <a:pt x="858" y="206"/>
                    </a:lnTo>
                    <a:lnTo>
                      <a:pt x="864" y="206"/>
                    </a:lnTo>
                    <a:lnTo>
                      <a:pt x="866" y="202"/>
                    </a:lnTo>
                    <a:lnTo>
                      <a:pt x="866" y="200"/>
                    </a:lnTo>
                    <a:lnTo>
                      <a:pt x="872" y="196"/>
                    </a:lnTo>
                    <a:lnTo>
                      <a:pt x="878" y="194"/>
                    </a:lnTo>
                    <a:lnTo>
                      <a:pt x="880" y="194"/>
                    </a:lnTo>
                    <a:lnTo>
                      <a:pt x="882" y="194"/>
                    </a:lnTo>
                    <a:lnTo>
                      <a:pt x="884" y="194"/>
                    </a:lnTo>
                    <a:lnTo>
                      <a:pt x="890" y="194"/>
                    </a:lnTo>
                    <a:lnTo>
                      <a:pt x="894" y="190"/>
                    </a:lnTo>
                    <a:lnTo>
                      <a:pt x="896" y="186"/>
                    </a:lnTo>
                    <a:lnTo>
                      <a:pt x="896" y="184"/>
                    </a:lnTo>
                    <a:lnTo>
                      <a:pt x="902" y="180"/>
                    </a:lnTo>
                    <a:lnTo>
                      <a:pt x="904" y="180"/>
                    </a:lnTo>
                    <a:lnTo>
                      <a:pt x="906" y="180"/>
                    </a:lnTo>
                    <a:lnTo>
                      <a:pt x="908" y="180"/>
                    </a:lnTo>
                    <a:lnTo>
                      <a:pt x="910" y="178"/>
                    </a:lnTo>
                    <a:lnTo>
                      <a:pt x="914" y="176"/>
                    </a:lnTo>
                    <a:lnTo>
                      <a:pt x="914" y="178"/>
                    </a:lnTo>
                    <a:lnTo>
                      <a:pt x="916" y="178"/>
                    </a:lnTo>
                    <a:lnTo>
                      <a:pt x="916" y="180"/>
                    </a:lnTo>
                    <a:lnTo>
                      <a:pt x="918" y="182"/>
                    </a:lnTo>
                    <a:lnTo>
                      <a:pt x="926" y="184"/>
                    </a:lnTo>
                    <a:lnTo>
                      <a:pt x="932" y="186"/>
                    </a:lnTo>
                    <a:lnTo>
                      <a:pt x="932" y="184"/>
                    </a:lnTo>
                    <a:lnTo>
                      <a:pt x="934" y="182"/>
                    </a:lnTo>
                    <a:lnTo>
                      <a:pt x="940" y="182"/>
                    </a:lnTo>
                    <a:lnTo>
                      <a:pt x="942" y="182"/>
                    </a:lnTo>
                    <a:lnTo>
                      <a:pt x="944" y="182"/>
                    </a:lnTo>
                    <a:lnTo>
                      <a:pt x="948" y="182"/>
                    </a:lnTo>
                    <a:lnTo>
                      <a:pt x="950" y="182"/>
                    </a:lnTo>
                    <a:lnTo>
                      <a:pt x="956" y="182"/>
                    </a:lnTo>
                    <a:lnTo>
                      <a:pt x="962" y="184"/>
                    </a:lnTo>
                    <a:lnTo>
                      <a:pt x="966" y="186"/>
                    </a:lnTo>
                    <a:lnTo>
                      <a:pt x="970" y="186"/>
                    </a:lnTo>
                    <a:lnTo>
                      <a:pt x="972" y="188"/>
                    </a:lnTo>
                    <a:lnTo>
                      <a:pt x="974" y="188"/>
                    </a:lnTo>
                    <a:lnTo>
                      <a:pt x="976" y="186"/>
                    </a:lnTo>
                    <a:lnTo>
                      <a:pt x="978" y="184"/>
                    </a:lnTo>
                    <a:lnTo>
                      <a:pt x="978" y="176"/>
                    </a:lnTo>
                    <a:lnTo>
                      <a:pt x="970" y="166"/>
                    </a:lnTo>
                    <a:lnTo>
                      <a:pt x="966" y="164"/>
                    </a:lnTo>
                    <a:lnTo>
                      <a:pt x="968" y="158"/>
                    </a:lnTo>
                    <a:lnTo>
                      <a:pt x="972" y="154"/>
                    </a:lnTo>
                    <a:lnTo>
                      <a:pt x="974" y="150"/>
                    </a:lnTo>
                    <a:lnTo>
                      <a:pt x="974" y="148"/>
                    </a:lnTo>
                    <a:lnTo>
                      <a:pt x="976" y="150"/>
                    </a:lnTo>
                    <a:lnTo>
                      <a:pt x="978" y="150"/>
                    </a:lnTo>
                    <a:lnTo>
                      <a:pt x="980" y="152"/>
                    </a:lnTo>
                    <a:lnTo>
                      <a:pt x="988" y="156"/>
                    </a:lnTo>
                    <a:lnTo>
                      <a:pt x="1000" y="154"/>
                    </a:lnTo>
                    <a:lnTo>
                      <a:pt x="1020" y="150"/>
                    </a:lnTo>
                    <a:lnTo>
                      <a:pt x="1022" y="148"/>
                    </a:lnTo>
                    <a:lnTo>
                      <a:pt x="1028" y="148"/>
                    </a:lnTo>
                    <a:lnTo>
                      <a:pt x="1034" y="154"/>
                    </a:lnTo>
                    <a:lnTo>
                      <a:pt x="1036" y="154"/>
                    </a:lnTo>
                    <a:lnTo>
                      <a:pt x="1038" y="154"/>
                    </a:lnTo>
                    <a:lnTo>
                      <a:pt x="1040" y="152"/>
                    </a:lnTo>
                    <a:lnTo>
                      <a:pt x="1044" y="154"/>
                    </a:lnTo>
                    <a:lnTo>
                      <a:pt x="1044" y="156"/>
                    </a:lnTo>
                    <a:lnTo>
                      <a:pt x="1042" y="156"/>
                    </a:lnTo>
                    <a:lnTo>
                      <a:pt x="1044" y="160"/>
                    </a:lnTo>
                    <a:lnTo>
                      <a:pt x="1046" y="160"/>
                    </a:lnTo>
                    <a:lnTo>
                      <a:pt x="1048" y="160"/>
                    </a:lnTo>
                    <a:lnTo>
                      <a:pt x="1050" y="160"/>
                    </a:lnTo>
                    <a:lnTo>
                      <a:pt x="1052" y="160"/>
                    </a:lnTo>
                    <a:lnTo>
                      <a:pt x="1052" y="162"/>
                    </a:lnTo>
                    <a:lnTo>
                      <a:pt x="1054" y="164"/>
                    </a:lnTo>
                    <a:lnTo>
                      <a:pt x="1056" y="166"/>
                    </a:lnTo>
                    <a:lnTo>
                      <a:pt x="1064" y="170"/>
                    </a:lnTo>
                    <a:lnTo>
                      <a:pt x="1074" y="172"/>
                    </a:lnTo>
                    <a:lnTo>
                      <a:pt x="1084" y="166"/>
                    </a:lnTo>
                    <a:lnTo>
                      <a:pt x="1086" y="164"/>
                    </a:lnTo>
                    <a:lnTo>
                      <a:pt x="1086" y="162"/>
                    </a:lnTo>
                    <a:lnTo>
                      <a:pt x="1092" y="158"/>
                    </a:lnTo>
                    <a:lnTo>
                      <a:pt x="1094" y="156"/>
                    </a:lnTo>
                    <a:lnTo>
                      <a:pt x="1096" y="158"/>
                    </a:lnTo>
                    <a:lnTo>
                      <a:pt x="1096" y="160"/>
                    </a:lnTo>
                    <a:lnTo>
                      <a:pt x="1106" y="164"/>
                    </a:lnTo>
                    <a:lnTo>
                      <a:pt x="1110" y="164"/>
                    </a:lnTo>
                    <a:lnTo>
                      <a:pt x="1116" y="160"/>
                    </a:lnTo>
                    <a:lnTo>
                      <a:pt x="1116" y="158"/>
                    </a:lnTo>
                    <a:lnTo>
                      <a:pt x="1118" y="158"/>
                    </a:lnTo>
                    <a:lnTo>
                      <a:pt x="1120" y="160"/>
                    </a:lnTo>
                    <a:lnTo>
                      <a:pt x="1124" y="162"/>
                    </a:lnTo>
                    <a:lnTo>
                      <a:pt x="1122" y="166"/>
                    </a:lnTo>
                    <a:lnTo>
                      <a:pt x="1124" y="166"/>
                    </a:lnTo>
                    <a:lnTo>
                      <a:pt x="1128" y="166"/>
                    </a:lnTo>
                    <a:lnTo>
                      <a:pt x="1130" y="166"/>
                    </a:lnTo>
                    <a:lnTo>
                      <a:pt x="1132" y="166"/>
                    </a:lnTo>
                    <a:lnTo>
                      <a:pt x="1132" y="168"/>
                    </a:lnTo>
                    <a:lnTo>
                      <a:pt x="1136" y="168"/>
                    </a:lnTo>
                    <a:lnTo>
                      <a:pt x="1138" y="168"/>
                    </a:lnTo>
                    <a:lnTo>
                      <a:pt x="1140" y="166"/>
                    </a:lnTo>
                    <a:lnTo>
                      <a:pt x="1142" y="166"/>
                    </a:lnTo>
                    <a:lnTo>
                      <a:pt x="1148" y="160"/>
                    </a:lnTo>
                    <a:lnTo>
                      <a:pt x="1152" y="156"/>
                    </a:lnTo>
                    <a:lnTo>
                      <a:pt x="1158" y="152"/>
                    </a:lnTo>
                    <a:lnTo>
                      <a:pt x="1158" y="148"/>
                    </a:lnTo>
                    <a:lnTo>
                      <a:pt x="1160" y="146"/>
                    </a:lnTo>
                    <a:lnTo>
                      <a:pt x="1160" y="144"/>
                    </a:lnTo>
                    <a:lnTo>
                      <a:pt x="1160" y="142"/>
                    </a:lnTo>
                    <a:lnTo>
                      <a:pt x="1162" y="138"/>
                    </a:lnTo>
                    <a:lnTo>
                      <a:pt x="1164" y="132"/>
                    </a:lnTo>
                    <a:lnTo>
                      <a:pt x="1166" y="126"/>
                    </a:lnTo>
                    <a:lnTo>
                      <a:pt x="1168" y="124"/>
                    </a:lnTo>
                    <a:lnTo>
                      <a:pt x="1170" y="120"/>
                    </a:lnTo>
                    <a:lnTo>
                      <a:pt x="1170" y="118"/>
                    </a:lnTo>
                    <a:lnTo>
                      <a:pt x="1170" y="116"/>
                    </a:lnTo>
                    <a:lnTo>
                      <a:pt x="1170" y="114"/>
                    </a:lnTo>
                    <a:lnTo>
                      <a:pt x="1174" y="108"/>
                    </a:lnTo>
                    <a:lnTo>
                      <a:pt x="1176" y="108"/>
                    </a:lnTo>
                    <a:lnTo>
                      <a:pt x="1180" y="102"/>
                    </a:lnTo>
                    <a:lnTo>
                      <a:pt x="1184" y="98"/>
                    </a:lnTo>
                    <a:lnTo>
                      <a:pt x="1188" y="88"/>
                    </a:lnTo>
                    <a:lnTo>
                      <a:pt x="1188" y="86"/>
                    </a:lnTo>
                    <a:lnTo>
                      <a:pt x="1190" y="82"/>
                    </a:lnTo>
                    <a:lnTo>
                      <a:pt x="1192" y="80"/>
                    </a:lnTo>
                    <a:lnTo>
                      <a:pt x="1194" y="78"/>
                    </a:lnTo>
                    <a:lnTo>
                      <a:pt x="1198" y="74"/>
                    </a:lnTo>
                    <a:lnTo>
                      <a:pt x="1200" y="72"/>
                    </a:lnTo>
                    <a:lnTo>
                      <a:pt x="1200" y="68"/>
                    </a:lnTo>
                    <a:lnTo>
                      <a:pt x="1202" y="66"/>
                    </a:lnTo>
                    <a:lnTo>
                      <a:pt x="1204" y="64"/>
                    </a:lnTo>
                    <a:lnTo>
                      <a:pt x="1206" y="64"/>
                    </a:lnTo>
                    <a:lnTo>
                      <a:pt x="1208" y="64"/>
                    </a:lnTo>
                    <a:lnTo>
                      <a:pt x="1208" y="62"/>
                    </a:lnTo>
                    <a:lnTo>
                      <a:pt x="1210" y="60"/>
                    </a:lnTo>
                    <a:lnTo>
                      <a:pt x="1212" y="58"/>
                    </a:lnTo>
                    <a:lnTo>
                      <a:pt x="1214" y="64"/>
                    </a:lnTo>
                    <a:lnTo>
                      <a:pt x="1218" y="68"/>
                    </a:lnTo>
                    <a:lnTo>
                      <a:pt x="1218" y="64"/>
                    </a:lnTo>
                    <a:lnTo>
                      <a:pt x="1216" y="64"/>
                    </a:lnTo>
                    <a:lnTo>
                      <a:pt x="1214" y="60"/>
                    </a:lnTo>
                    <a:lnTo>
                      <a:pt x="1212" y="52"/>
                    </a:lnTo>
                    <a:lnTo>
                      <a:pt x="1212" y="50"/>
                    </a:lnTo>
                    <a:lnTo>
                      <a:pt x="1212" y="48"/>
                    </a:lnTo>
                    <a:lnTo>
                      <a:pt x="1212" y="46"/>
                    </a:lnTo>
                    <a:lnTo>
                      <a:pt x="1224" y="54"/>
                    </a:lnTo>
                    <a:lnTo>
                      <a:pt x="1228" y="58"/>
                    </a:lnTo>
                    <a:lnTo>
                      <a:pt x="1232" y="62"/>
                    </a:lnTo>
                    <a:lnTo>
                      <a:pt x="1232" y="64"/>
                    </a:lnTo>
                    <a:lnTo>
                      <a:pt x="1234" y="66"/>
                    </a:lnTo>
                    <a:lnTo>
                      <a:pt x="1234" y="72"/>
                    </a:lnTo>
                    <a:lnTo>
                      <a:pt x="1236" y="74"/>
                    </a:lnTo>
                    <a:lnTo>
                      <a:pt x="1236" y="72"/>
                    </a:lnTo>
                    <a:lnTo>
                      <a:pt x="1238" y="70"/>
                    </a:lnTo>
                    <a:lnTo>
                      <a:pt x="1238" y="72"/>
                    </a:lnTo>
                    <a:lnTo>
                      <a:pt x="1238" y="82"/>
                    </a:lnTo>
                    <a:lnTo>
                      <a:pt x="1238" y="86"/>
                    </a:lnTo>
                    <a:lnTo>
                      <a:pt x="1238" y="90"/>
                    </a:lnTo>
                    <a:lnTo>
                      <a:pt x="1240" y="102"/>
                    </a:lnTo>
                    <a:lnTo>
                      <a:pt x="1240" y="106"/>
                    </a:lnTo>
                    <a:lnTo>
                      <a:pt x="1240" y="108"/>
                    </a:lnTo>
                    <a:lnTo>
                      <a:pt x="1242" y="114"/>
                    </a:lnTo>
                    <a:lnTo>
                      <a:pt x="1242" y="116"/>
                    </a:lnTo>
                    <a:lnTo>
                      <a:pt x="1244" y="120"/>
                    </a:lnTo>
                    <a:lnTo>
                      <a:pt x="1248" y="128"/>
                    </a:lnTo>
                    <a:lnTo>
                      <a:pt x="1252" y="136"/>
                    </a:lnTo>
                    <a:lnTo>
                      <a:pt x="1252" y="140"/>
                    </a:lnTo>
                    <a:lnTo>
                      <a:pt x="1254" y="142"/>
                    </a:lnTo>
                    <a:lnTo>
                      <a:pt x="1256" y="150"/>
                    </a:lnTo>
                    <a:lnTo>
                      <a:pt x="1260" y="168"/>
                    </a:lnTo>
                    <a:lnTo>
                      <a:pt x="1266" y="174"/>
                    </a:lnTo>
                    <a:lnTo>
                      <a:pt x="1270" y="184"/>
                    </a:lnTo>
                    <a:lnTo>
                      <a:pt x="1272" y="184"/>
                    </a:lnTo>
                    <a:lnTo>
                      <a:pt x="1272" y="186"/>
                    </a:lnTo>
                    <a:lnTo>
                      <a:pt x="1274" y="186"/>
                    </a:lnTo>
                    <a:lnTo>
                      <a:pt x="1276" y="188"/>
                    </a:lnTo>
                    <a:lnTo>
                      <a:pt x="1280" y="186"/>
                    </a:lnTo>
                    <a:lnTo>
                      <a:pt x="1288" y="186"/>
                    </a:lnTo>
                    <a:lnTo>
                      <a:pt x="1294" y="190"/>
                    </a:lnTo>
                    <a:lnTo>
                      <a:pt x="1296" y="190"/>
                    </a:lnTo>
                    <a:lnTo>
                      <a:pt x="1302" y="194"/>
                    </a:lnTo>
                    <a:lnTo>
                      <a:pt x="1304" y="200"/>
                    </a:lnTo>
                    <a:lnTo>
                      <a:pt x="1304" y="202"/>
                    </a:lnTo>
                    <a:lnTo>
                      <a:pt x="1304" y="204"/>
                    </a:lnTo>
                    <a:lnTo>
                      <a:pt x="1304" y="208"/>
                    </a:lnTo>
                    <a:lnTo>
                      <a:pt x="1304" y="214"/>
                    </a:lnTo>
                    <a:lnTo>
                      <a:pt x="1300" y="218"/>
                    </a:lnTo>
                    <a:lnTo>
                      <a:pt x="1296" y="218"/>
                    </a:lnTo>
                    <a:lnTo>
                      <a:pt x="1294" y="220"/>
                    </a:lnTo>
                    <a:lnTo>
                      <a:pt x="1292" y="220"/>
                    </a:lnTo>
                    <a:lnTo>
                      <a:pt x="1294" y="220"/>
                    </a:lnTo>
                    <a:lnTo>
                      <a:pt x="1298" y="220"/>
                    </a:lnTo>
                    <a:lnTo>
                      <a:pt x="1300" y="220"/>
                    </a:lnTo>
                    <a:lnTo>
                      <a:pt x="1302" y="218"/>
                    </a:lnTo>
                    <a:lnTo>
                      <a:pt x="1302" y="220"/>
                    </a:lnTo>
                    <a:lnTo>
                      <a:pt x="1304" y="222"/>
                    </a:lnTo>
                    <a:lnTo>
                      <a:pt x="1302" y="224"/>
                    </a:lnTo>
                    <a:lnTo>
                      <a:pt x="1302" y="226"/>
                    </a:lnTo>
                    <a:lnTo>
                      <a:pt x="1298" y="228"/>
                    </a:lnTo>
                    <a:lnTo>
                      <a:pt x="1286" y="238"/>
                    </a:lnTo>
                    <a:lnTo>
                      <a:pt x="1280" y="246"/>
                    </a:lnTo>
                    <a:lnTo>
                      <a:pt x="1278" y="248"/>
                    </a:lnTo>
                    <a:lnTo>
                      <a:pt x="1276" y="250"/>
                    </a:lnTo>
                    <a:lnTo>
                      <a:pt x="1274" y="250"/>
                    </a:lnTo>
                    <a:lnTo>
                      <a:pt x="1272" y="254"/>
                    </a:lnTo>
                    <a:lnTo>
                      <a:pt x="1272" y="256"/>
                    </a:lnTo>
                    <a:lnTo>
                      <a:pt x="1270" y="258"/>
                    </a:lnTo>
                    <a:lnTo>
                      <a:pt x="1268" y="264"/>
                    </a:lnTo>
                    <a:lnTo>
                      <a:pt x="1266" y="266"/>
                    </a:lnTo>
                    <a:lnTo>
                      <a:pt x="1264" y="268"/>
                    </a:lnTo>
                    <a:lnTo>
                      <a:pt x="1258" y="278"/>
                    </a:lnTo>
                    <a:lnTo>
                      <a:pt x="1256" y="278"/>
                    </a:lnTo>
                    <a:lnTo>
                      <a:pt x="1254" y="278"/>
                    </a:lnTo>
                    <a:lnTo>
                      <a:pt x="1252" y="278"/>
                    </a:lnTo>
                    <a:lnTo>
                      <a:pt x="1248" y="280"/>
                    </a:lnTo>
                    <a:lnTo>
                      <a:pt x="1246" y="280"/>
                    </a:lnTo>
                    <a:lnTo>
                      <a:pt x="1244" y="282"/>
                    </a:lnTo>
                    <a:lnTo>
                      <a:pt x="1244" y="284"/>
                    </a:lnTo>
                    <a:lnTo>
                      <a:pt x="1242" y="286"/>
                    </a:lnTo>
                    <a:lnTo>
                      <a:pt x="1240" y="288"/>
                    </a:lnTo>
                    <a:lnTo>
                      <a:pt x="1240" y="290"/>
                    </a:lnTo>
                    <a:lnTo>
                      <a:pt x="1238" y="292"/>
                    </a:lnTo>
                    <a:lnTo>
                      <a:pt x="1236" y="292"/>
                    </a:lnTo>
                    <a:lnTo>
                      <a:pt x="1236" y="294"/>
                    </a:lnTo>
                    <a:lnTo>
                      <a:pt x="1234" y="294"/>
                    </a:lnTo>
                    <a:lnTo>
                      <a:pt x="1232" y="294"/>
                    </a:lnTo>
                    <a:lnTo>
                      <a:pt x="1230" y="296"/>
                    </a:lnTo>
                    <a:lnTo>
                      <a:pt x="1228" y="298"/>
                    </a:lnTo>
                    <a:lnTo>
                      <a:pt x="1226" y="300"/>
                    </a:lnTo>
                    <a:lnTo>
                      <a:pt x="1224" y="304"/>
                    </a:lnTo>
                    <a:lnTo>
                      <a:pt x="1224" y="306"/>
                    </a:lnTo>
                    <a:lnTo>
                      <a:pt x="1224" y="308"/>
                    </a:lnTo>
                    <a:lnTo>
                      <a:pt x="1222" y="310"/>
                    </a:lnTo>
                    <a:lnTo>
                      <a:pt x="1220" y="316"/>
                    </a:lnTo>
                    <a:lnTo>
                      <a:pt x="1218" y="316"/>
                    </a:lnTo>
                    <a:lnTo>
                      <a:pt x="1216" y="318"/>
                    </a:lnTo>
                    <a:lnTo>
                      <a:pt x="1212" y="322"/>
                    </a:lnTo>
                    <a:lnTo>
                      <a:pt x="1206" y="330"/>
                    </a:lnTo>
                    <a:lnTo>
                      <a:pt x="1204" y="332"/>
                    </a:lnTo>
                    <a:lnTo>
                      <a:pt x="1204" y="336"/>
                    </a:lnTo>
                    <a:lnTo>
                      <a:pt x="1204" y="338"/>
                    </a:lnTo>
                    <a:lnTo>
                      <a:pt x="1204" y="340"/>
                    </a:lnTo>
                    <a:lnTo>
                      <a:pt x="1204" y="342"/>
                    </a:lnTo>
                    <a:lnTo>
                      <a:pt x="1206" y="344"/>
                    </a:lnTo>
                    <a:lnTo>
                      <a:pt x="1198" y="352"/>
                    </a:lnTo>
                    <a:lnTo>
                      <a:pt x="1196" y="352"/>
                    </a:lnTo>
                    <a:lnTo>
                      <a:pt x="1194" y="352"/>
                    </a:lnTo>
                    <a:lnTo>
                      <a:pt x="1194" y="354"/>
                    </a:lnTo>
                    <a:lnTo>
                      <a:pt x="1194" y="358"/>
                    </a:lnTo>
                    <a:lnTo>
                      <a:pt x="1194" y="360"/>
                    </a:lnTo>
                    <a:lnTo>
                      <a:pt x="1194" y="362"/>
                    </a:lnTo>
                    <a:lnTo>
                      <a:pt x="1188" y="366"/>
                    </a:lnTo>
                    <a:lnTo>
                      <a:pt x="1186" y="366"/>
                    </a:lnTo>
                    <a:lnTo>
                      <a:pt x="1184" y="366"/>
                    </a:lnTo>
                    <a:lnTo>
                      <a:pt x="1182" y="366"/>
                    </a:lnTo>
                    <a:lnTo>
                      <a:pt x="1182" y="364"/>
                    </a:lnTo>
                    <a:lnTo>
                      <a:pt x="1180" y="362"/>
                    </a:lnTo>
                    <a:lnTo>
                      <a:pt x="1178" y="362"/>
                    </a:lnTo>
                    <a:lnTo>
                      <a:pt x="1166" y="368"/>
                    </a:lnTo>
                    <a:lnTo>
                      <a:pt x="1164" y="370"/>
                    </a:lnTo>
                    <a:lnTo>
                      <a:pt x="1158" y="372"/>
                    </a:lnTo>
                    <a:lnTo>
                      <a:pt x="1156" y="372"/>
                    </a:lnTo>
                    <a:lnTo>
                      <a:pt x="1156" y="374"/>
                    </a:lnTo>
                    <a:lnTo>
                      <a:pt x="1150" y="374"/>
                    </a:lnTo>
                    <a:lnTo>
                      <a:pt x="1152" y="376"/>
                    </a:lnTo>
                    <a:lnTo>
                      <a:pt x="1162" y="376"/>
                    </a:lnTo>
                    <a:lnTo>
                      <a:pt x="1174" y="374"/>
                    </a:lnTo>
                    <a:lnTo>
                      <a:pt x="1176" y="376"/>
                    </a:lnTo>
                    <a:lnTo>
                      <a:pt x="1178" y="378"/>
                    </a:lnTo>
                    <a:lnTo>
                      <a:pt x="1176" y="380"/>
                    </a:lnTo>
                    <a:lnTo>
                      <a:pt x="1176" y="382"/>
                    </a:lnTo>
                    <a:lnTo>
                      <a:pt x="1178" y="382"/>
                    </a:lnTo>
                    <a:lnTo>
                      <a:pt x="1180" y="380"/>
                    </a:lnTo>
                    <a:lnTo>
                      <a:pt x="1180" y="378"/>
                    </a:lnTo>
                    <a:lnTo>
                      <a:pt x="1182" y="378"/>
                    </a:lnTo>
                    <a:lnTo>
                      <a:pt x="1184" y="378"/>
                    </a:lnTo>
                    <a:lnTo>
                      <a:pt x="1186" y="378"/>
                    </a:lnTo>
                    <a:lnTo>
                      <a:pt x="1188" y="378"/>
                    </a:lnTo>
                    <a:lnTo>
                      <a:pt x="1192" y="376"/>
                    </a:lnTo>
                    <a:lnTo>
                      <a:pt x="1196" y="374"/>
                    </a:lnTo>
                    <a:lnTo>
                      <a:pt x="1198" y="372"/>
                    </a:lnTo>
                    <a:lnTo>
                      <a:pt x="1200" y="372"/>
                    </a:lnTo>
                    <a:lnTo>
                      <a:pt x="1208" y="366"/>
                    </a:lnTo>
                    <a:lnTo>
                      <a:pt x="1210" y="364"/>
                    </a:lnTo>
                    <a:lnTo>
                      <a:pt x="1214" y="364"/>
                    </a:lnTo>
                    <a:lnTo>
                      <a:pt x="1218" y="362"/>
                    </a:lnTo>
                    <a:lnTo>
                      <a:pt x="1220" y="362"/>
                    </a:lnTo>
                    <a:lnTo>
                      <a:pt x="1230" y="356"/>
                    </a:lnTo>
                    <a:lnTo>
                      <a:pt x="1232" y="352"/>
                    </a:lnTo>
                    <a:lnTo>
                      <a:pt x="1234" y="350"/>
                    </a:lnTo>
                    <a:lnTo>
                      <a:pt x="1238" y="348"/>
                    </a:lnTo>
                    <a:lnTo>
                      <a:pt x="1240" y="346"/>
                    </a:lnTo>
                    <a:lnTo>
                      <a:pt x="1242" y="346"/>
                    </a:lnTo>
                    <a:lnTo>
                      <a:pt x="1244" y="342"/>
                    </a:lnTo>
                    <a:lnTo>
                      <a:pt x="1244" y="340"/>
                    </a:lnTo>
                    <a:lnTo>
                      <a:pt x="1248" y="338"/>
                    </a:lnTo>
                    <a:lnTo>
                      <a:pt x="1252" y="340"/>
                    </a:lnTo>
                    <a:lnTo>
                      <a:pt x="1254" y="340"/>
                    </a:lnTo>
                    <a:lnTo>
                      <a:pt x="1254" y="354"/>
                    </a:lnTo>
                    <a:lnTo>
                      <a:pt x="1254" y="356"/>
                    </a:lnTo>
                    <a:lnTo>
                      <a:pt x="1254" y="358"/>
                    </a:lnTo>
                    <a:lnTo>
                      <a:pt x="1254" y="360"/>
                    </a:lnTo>
                    <a:lnTo>
                      <a:pt x="1252" y="362"/>
                    </a:lnTo>
                    <a:lnTo>
                      <a:pt x="1254" y="368"/>
                    </a:lnTo>
                    <a:lnTo>
                      <a:pt x="1258" y="374"/>
                    </a:lnTo>
                    <a:lnTo>
                      <a:pt x="1258" y="376"/>
                    </a:lnTo>
                    <a:lnTo>
                      <a:pt x="1260" y="378"/>
                    </a:lnTo>
                    <a:lnTo>
                      <a:pt x="1262" y="384"/>
                    </a:lnTo>
                    <a:lnTo>
                      <a:pt x="1262" y="386"/>
                    </a:lnTo>
                    <a:lnTo>
                      <a:pt x="1256" y="394"/>
                    </a:lnTo>
                    <a:lnTo>
                      <a:pt x="1254" y="394"/>
                    </a:lnTo>
                    <a:lnTo>
                      <a:pt x="1250" y="392"/>
                    </a:lnTo>
                    <a:lnTo>
                      <a:pt x="1244" y="390"/>
                    </a:lnTo>
                    <a:lnTo>
                      <a:pt x="1240" y="388"/>
                    </a:lnTo>
                    <a:lnTo>
                      <a:pt x="1238" y="388"/>
                    </a:lnTo>
                    <a:lnTo>
                      <a:pt x="1230" y="386"/>
                    </a:lnTo>
                    <a:lnTo>
                      <a:pt x="1228" y="382"/>
                    </a:lnTo>
                    <a:lnTo>
                      <a:pt x="1228" y="380"/>
                    </a:lnTo>
                    <a:lnTo>
                      <a:pt x="1226" y="378"/>
                    </a:lnTo>
                    <a:lnTo>
                      <a:pt x="1220" y="386"/>
                    </a:lnTo>
                    <a:lnTo>
                      <a:pt x="1218" y="394"/>
                    </a:lnTo>
                    <a:lnTo>
                      <a:pt x="1216" y="396"/>
                    </a:lnTo>
                    <a:lnTo>
                      <a:pt x="1216" y="400"/>
                    </a:lnTo>
                    <a:lnTo>
                      <a:pt x="1216" y="402"/>
                    </a:lnTo>
                    <a:lnTo>
                      <a:pt x="1218" y="412"/>
                    </a:lnTo>
                    <a:lnTo>
                      <a:pt x="1220" y="414"/>
                    </a:lnTo>
                    <a:lnTo>
                      <a:pt x="1222" y="416"/>
                    </a:lnTo>
                    <a:lnTo>
                      <a:pt x="1220" y="414"/>
                    </a:lnTo>
                    <a:lnTo>
                      <a:pt x="1220" y="412"/>
                    </a:lnTo>
                    <a:lnTo>
                      <a:pt x="1218" y="402"/>
                    </a:lnTo>
                    <a:lnTo>
                      <a:pt x="1218" y="400"/>
                    </a:lnTo>
                    <a:lnTo>
                      <a:pt x="1222" y="392"/>
                    </a:lnTo>
                    <a:lnTo>
                      <a:pt x="1226" y="386"/>
                    </a:lnTo>
                    <a:lnTo>
                      <a:pt x="1234" y="390"/>
                    </a:lnTo>
                    <a:lnTo>
                      <a:pt x="1236" y="390"/>
                    </a:lnTo>
                    <a:lnTo>
                      <a:pt x="1236" y="392"/>
                    </a:lnTo>
                    <a:lnTo>
                      <a:pt x="1240" y="396"/>
                    </a:lnTo>
                    <a:lnTo>
                      <a:pt x="1244" y="400"/>
                    </a:lnTo>
                    <a:lnTo>
                      <a:pt x="1244" y="404"/>
                    </a:lnTo>
                    <a:lnTo>
                      <a:pt x="1242" y="408"/>
                    </a:lnTo>
                    <a:lnTo>
                      <a:pt x="1242" y="410"/>
                    </a:lnTo>
                    <a:lnTo>
                      <a:pt x="1240" y="410"/>
                    </a:lnTo>
                    <a:lnTo>
                      <a:pt x="1242" y="418"/>
                    </a:lnTo>
                    <a:lnTo>
                      <a:pt x="1242" y="420"/>
                    </a:lnTo>
                    <a:lnTo>
                      <a:pt x="1244" y="422"/>
                    </a:lnTo>
                    <a:lnTo>
                      <a:pt x="1246" y="424"/>
                    </a:lnTo>
                    <a:lnTo>
                      <a:pt x="1248" y="424"/>
                    </a:lnTo>
                    <a:lnTo>
                      <a:pt x="1250" y="426"/>
                    </a:lnTo>
                    <a:lnTo>
                      <a:pt x="1252" y="428"/>
                    </a:lnTo>
                    <a:lnTo>
                      <a:pt x="1250" y="424"/>
                    </a:lnTo>
                    <a:lnTo>
                      <a:pt x="1248" y="424"/>
                    </a:lnTo>
                    <a:lnTo>
                      <a:pt x="1244" y="420"/>
                    </a:lnTo>
                    <a:lnTo>
                      <a:pt x="1242" y="418"/>
                    </a:lnTo>
                    <a:lnTo>
                      <a:pt x="1242" y="416"/>
                    </a:lnTo>
                    <a:lnTo>
                      <a:pt x="1244" y="410"/>
                    </a:lnTo>
                    <a:lnTo>
                      <a:pt x="1244" y="402"/>
                    </a:lnTo>
                    <a:lnTo>
                      <a:pt x="1248" y="398"/>
                    </a:lnTo>
                    <a:lnTo>
                      <a:pt x="1252" y="400"/>
                    </a:lnTo>
                    <a:lnTo>
                      <a:pt x="1256" y="406"/>
                    </a:lnTo>
                    <a:lnTo>
                      <a:pt x="1254" y="408"/>
                    </a:lnTo>
                    <a:lnTo>
                      <a:pt x="1258" y="412"/>
                    </a:lnTo>
                    <a:lnTo>
                      <a:pt x="1260" y="410"/>
                    </a:lnTo>
                    <a:lnTo>
                      <a:pt x="1258" y="408"/>
                    </a:lnTo>
                    <a:lnTo>
                      <a:pt x="1256" y="406"/>
                    </a:lnTo>
                    <a:lnTo>
                      <a:pt x="1254" y="400"/>
                    </a:lnTo>
                    <a:lnTo>
                      <a:pt x="1254" y="398"/>
                    </a:lnTo>
                    <a:lnTo>
                      <a:pt x="1254" y="396"/>
                    </a:lnTo>
                    <a:lnTo>
                      <a:pt x="1260" y="388"/>
                    </a:lnTo>
                    <a:lnTo>
                      <a:pt x="1266" y="388"/>
                    </a:lnTo>
                    <a:lnTo>
                      <a:pt x="1274" y="392"/>
                    </a:lnTo>
                    <a:lnTo>
                      <a:pt x="1274" y="394"/>
                    </a:lnTo>
                    <a:lnTo>
                      <a:pt x="1272" y="396"/>
                    </a:lnTo>
                    <a:lnTo>
                      <a:pt x="1274" y="396"/>
                    </a:lnTo>
                    <a:lnTo>
                      <a:pt x="1276" y="396"/>
                    </a:lnTo>
                    <a:lnTo>
                      <a:pt x="1278" y="396"/>
                    </a:lnTo>
                    <a:lnTo>
                      <a:pt x="1280" y="394"/>
                    </a:lnTo>
                    <a:lnTo>
                      <a:pt x="1282" y="394"/>
                    </a:lnTo>
                    <a:lnTo>
                      <a:pt x="1284" y="392"/>
                    </a:lnTo>
                    <a:lnTo>
                      <a:pt x="1298" y="390"/>
                    </a:lnTo>
                    <a:lnTo>
                      <a:pt x="1300" y="390"/>
                    </a:lnTo>
                    <a:lnTo>
                      <a:pt x="1304" y="392"/>
                    </a:lnTo>
                    <a:lnTo>
                      <a:pt x="1306" y="394"/>
                    </a:lnTo>
                    <a:lnTo>
                      <a:pt x="1318" y="392"/>
                    </a:lnTo>
                    <a:lnTo>
                      <a:pt x="1320" y="392"/>
                    </a:lnTo>
                    <a:lnTo>
                      <a:pt x="1324" y="390"/>
                    </a:lnTo>
                    <a:lnTo>
                      <a:pt x="1324" y="388"/>
                    </a:lnTo>
                    <a:lnTo>
                      <a:pt x="1326" y="386"/>
                    </a:lnTo>
                    <a:lnTo>
                      <a:pt x="1328" y="386"/>
                    </a:lnTo>
                    <a:lnTo>
                      <a:pt x="1334" y="384"/>
                    </a:lnTo>
                    <a:lnTo>
                      <a:pt x="1336" y="384"/>
                    </a:lnTo>
                    <a:lnTo>
                      <a:pt x="1336" y="386"/>
                    </a:lnTo>
                    <a:lnTo>
                      <a:pt x="1336" y="388"/>
                    </a:lnTo>
                    <a:lnTo>
                      <a:pt x="1332" y="396"/>
                    </a:lnTo>
                    <a:lnTo>
                      <a:pt x="1330" y="400"/>
                    </a:lnTo>
                    <a:lnTo>
                      <a:pt x="1330" y="406"/>
                    </a:lnTo>
                    <a:lnTo>
                      <a:pt x="1328" y="410"/>
                    </a:lnTo>
                    <a:lnTo>
                      <a:pt x="1326" y="412"/>
                    </a:lnTo>
                    <a:lnTo>
                      <a:pt x="1324" y="414"/>
                    </a:lnTo>
                    <a:lnTo>
                      <a:pt x="1324" y="416"/>
                    </a:lnTo>
                    <a:lnTo>
                      <a:pt x="1326" y="418"/>
                    </a:lnTo>
                    <a:lnTo>
                      <a:pt x="1326" y="420"/>
                    </a:lnTo>
                    <a:lnTo>
                      <a:pt x="1326" y="422"/>
                    </a:lnTo>
                    <a:lnTo>
                      <a:pt x="1326" y="424"/>
                    </a:lnTo>
                    <a:lnTo>
                      <a:pt x="1326" y="426"/>
                    </a:lnTo>
                    <a:lnTo>
                      <a:pt x="1326" y="432"/>
                    </a:lnTo>
                    <a:lnTo>
                      <a:pt x="1328" y="428"/>
                    </a:lnTo>
                    <a:lnTo>
                      <a:pt x="1328" y="426"/>
                    </a:lnTo>
                    <a:lnTo>
                      <a:pt x="1328" y="424"/>
                    </a:lnTo>
                    <a:lnTo>
                      <a:pt x="1328" y="422"/>
                    </a:lnTo>
                    <a:lnTo>
                      <a:pt x="1330" y="418"/>
                    </a:lnTo>
                    <a:lnTo>
                      <a:pt x="1332" y="414"/>
                    </a:lnTo>
                    <a:lnTo>
                      <a:pt x="1334" y="410"/>
                    </a:lnTo>
                    <a:lnTo>
                      <a:pt x="1334" y="408"/>
                    </a:lnTo>
                    <a:lnTo>
                      <a:pt x="1336" y="404"/>
                    </a:lnTo>
                    <a:lnTo>
                      <a:pt x="1338" y="398"/>
                    </a:lnTo>
                    <a:lnTo>
                      <a:pt x="1342" y="394"/>
                    </a:lnTo>
                    <a:lnTo>
                      <a:pt x="1346" y="392"/>
                    </a:lnTo>
                    <a:lnTo>
                      <a:pt x="1348" y="392"/>
                    </a:lnTo>
                    <a:lnTo>
                      <a:pt x="1350" y="392"/>
                    </a:lnTo>
                    <a:lnTo>
                      <a:pt x="1352" y="392"/>
                    </a:lnTo>
                    <a:lnTo>
                      <a:pt x="1354" y="390"/>
                    </a:lnTo>
                    <a:lnTo>
                      <a:pt x="1356" y="386"/>
                    </a:lnTo>
                    <a:lnTo>
                      <a:pt x="1362" y="380"/>
                    </a:lnTo>
                    <a:lnTo>
                      <a:pt x="1364" y="376"/>
                    </a:lnTo>
                    <a:lnTo>
                      <a:pt x="1368" y="372"/>
                    </a:lnTo>
                    <a:lnTo>
                      <a:pt x="1368" y="370"/>
                    </a:lnTo>
                    <a:lnTo>
                      <a:pt x="1370" y="370"/>
                    </a:lnTo>
                    <a:lnTo>
                      <a:pt x="1370" y="372"/>
                    </a:lnTo>
                    <a:lnTo>
                      <a:pt x="1372" y="372"/>
                    </a:lnTo>
                    <a:lnTo>
                      <a:pt x="1374" y="370"/>
                    </a:lnTo>
                    <a:lnTo>
                      <a:pt x="1376" y="374"/>
                    </a:lnTo>
                    <a:lnTo>
                      <a:pt x="1376" y="376"/>
                    </a:lnTo>
                    <a:lnTo>
                      <a:pt x="1378" y="378"/>
                    </a:lnTo>
                    <a:lnTo>
                      <a:pt x="1384" y="380"/>
                    </a:lnTo>
                    <a:lnTo>
                      <a:pt x="1384" y="378"/>
                    </a:lnTo>
                    <a:lnTo>
                      <a:pt x="1382" y="378"/>
                    </a:lnTo>
                    <a:lnTo>
                      <a:pt x="1382" y="376"/>
                    </a:lnTo>
                    <a:lnTo>
                      <a:pt x="1384" y="372"/>
                    </a:lnTo>
                    <a:lnTo>
                      <a:pt x="1386" y="372"/>
                    </a:lnTo>
                    <a:lnTo>
                      <a:pt x="1396" y="370"/>
                    </a:lnTo>
                    <a:lnTo>
                      <a:pt x="1394" y="368"/>
                    </a:lnTo>
                    <a:lnTo>
                      <a:pt x="1392" y="368"/>
                    </a:lnTo>
                    <a:lnTo>
                      <a:pt x="1390" y="368"/>
                    </a:lnTo>
                    <a:lnTo>
                      <a:pt x="1388" y="368"/>
                    </a:lnTo>
                    <a:lnTo>
                      <a:pt x="1386" y="370"/>
                    </a:lnTo>
                    <a:lnTo>
                      <a:pt x="1384" y="370"/>
                    </a:lnTo>
                    <a:lnTo>
                      <a:pt x="1382" y="370"/>
                    </a:lnTo>
                    <a:lnTo>
                      <a:pt x="1380" y="370"/>
                    </a:lnTo>
                    <a:lnTo>
                      <a:pt x="1380" y="366"/>
                    </a:lnTo>
                    <a:lnTo>
                      <a:pt x="1380" y="360"/>
                    </a:lnTo>
                    <a:lnTo>
                      <a:pt x="1382" y="360"/>
                    </a:lnTo>
                    <a:lnTo>
                      <a:pt x="1384" y="360"/>
                    </a:lnTo>
                    <a:lnTo>
                      <a:pt x="1388" y="362"/>
                    </a:lnTo>
                    <a:lnTo>
                      <a:pt x="1390" y="352"/>
                    </a:lnTo>
                    <a:lnTo>
                      <a:pt x="1392" y="350"/>
                    </a:lnTo>
                    <a:lnTo>
                      <a:pt x="1390" y="346"/>
                    </a:lnTo>
                    <a:lnTo>
                      <a:pt x="1388" y="346"/>
                    </a:lnTo>
                    <a:lnTo>
                      <a:pt x="1388" y="344"/>
                    </a:lnTo>
                    <a:lnTo>
                      <a:pt x="1390" y="342"/>
                    </a:lnTo>
                    <a:lnTo>
                      <a:pt x="1390" y="340"/>
                    </a:lnTo>
                    <a:lnTo>
                      <a:pt x="1394" y="336"/>
                    </a:lnTo>
                    <a:lnTo>
                      <a:pt x="1404" y="328"/>
                    </a:lnTo>
                    <a:lnTo>
                      <a:pt x="1404" y="326"/>
                    </a:lnTo>
                    <a:lnTo>
                      <a:pt x="1406" y="330"/>
                    </a:lnTo>
                    <a:lnTo>
                      <a:pt x="1408" y="332"/>
                    </a:lnTo>
                    <a:lnTo>
                      <a:pt x="1412" y="328"/>
                    </a:lnTo>
                    <a:lnTo>
                      <a:pt x="1414" y="326"/>
                    </a:lnTo>
                    <a:lnTo>
                      <a:pt x="1418" y="324"/>
                    </a:lnTo>
                    <a:lnTo>
                      <a:pt x="1420" y="324"/>
                    </a:lnTo>
                    <a:lnTo>
                      <a:pt x="1422" y="324"/>
                    </a:lnTo>
                    <a:lnTo>
                      <a:pt x="1422" y="328"/>
                    </a:lnTo>
                    <a:lnTo>
                      <a:pt x="1422" y="330"/>
                    </a:lnTo>
                    <a:lnTo>
                      <a:pt x="1424" y="328"/>
                    </a:lnTo>
                    <a:lnTo>
                      <a:pt x="1426" y="328"/>
                    </a:lnTo>
                    <a:lnTo>
                      <a:pt x="1428" y="326"/>
                    </a:lnTo>
                    <a:lnTo>
                      <a:pt x="1428" y="324"/>
                    </a:lnTo>
                    <a:lnTo>
                      <a:pt x="1430" y="324"/>
                    </a:lnTo>
                    <a:lnTo>
                      <a:pt x="1432" y="324"/>
                    </a:lnTo>
                    <a:lnTo>
                      <a:pt x="1434" y="328"/>
                    </a:lnTo>
                    <a:lnTo>
                      <a:pt x="1440" y="334"/>
                    </a:lnTo>
                    <a:lnTo>
                      <a:pt x="1440" y="332"/>
                    </a:lnTo>
                    <a:lnTo>
                      <a:pt x="1440" y="330"/>
                    </a:lnTo>
                    <a:lnTo>
                      <a:pt x="1438" y="328"/>
                    </a:lnTo>
                    <a:lnTo>
                      <a:pt x="1436" y="328"/>
                    </a:lnTo>
                    <a:lnTo>
                      <a:pt x="1436" y="326"/>
                    </a:lnTo>
                    <a:lnTo>
                      <a:pt x="1436" y="322"/>
                    </a:lnTo>
                    <a:lnTo>
                      <a:pt x="1438" y="320"/>
                    </a:lnTo>
                    <a:lnTo>
                      <a:pt x="1444" y="322"/>
                    </a:lnTo>
                    <a:lnTo>
                      <a:pt x="1450" y="324"/>
                    </a:lnTo>
                    <a:lnTo>
                      <a:pt x="1452" y="328"/>
                    </a:lnTo>
                    <a:lnTo>
                      <a:pt x="1458" y="330"/>
                    </a:lnTo>
                    <a:lnTo>
                      <a:pt x="1462" y="328"/>
                    </a:lnTo>
                    <a:lnTo>
                      <a:pt x="1464" y="336"/>
                    </a:lnTo>
                    <a:lnTo>
                      <a:pt x="1462" y="336"/>
                    </a:lnTo>
                    <a:lnTo>
                      <a:pt x="1462" y="338"/>
                    </a:lnTo>
                    <a:lnTo>
                      <a:pt x="1466" y="336"/>
                    </a:lnTo>
                    <a:lnTo>
                      <a:pt x="1468" y="332"/>
                    </a:lnTo>
                    <a:lnTo>
                      <a:pt x="1470" y="328"/>
                    </a:lnTo>
                    <a:lnTo>
                      <a:pt x="1472" y="328"/>
                    </a:lnTo>
                    <a:lnTo>
                      <a:pt x="1472" y="330"/>
                    </a:lnTo>
                    <a:lnTo>
                      <a:pt x="1470" y="334"/>
                    </a:lnTo>
                    <a:lnTo>
                      <a:pt x="1472" y="336"/>
                    </a:lnTo>
                    <a:lnTo>
                      <a:pt x="1474" y="334"/>
                    </a:lnTo>
                    <a:lnTo>
                      <a:pt x="1480" y="334"/>
                    </a:lnTo>
                    <a:lnTo>
                      <a:pt x="1482" y="336"/>
                    </a:lnTo>
                    <a:lnTo>
                      <a:pt x="1484" y="342"/>
                    </a:lnTo>
                    <a:lnTo>
                      <a:pt x="1482" y="346"/>
                    </a:lnTo>
                    <a:lnTo>
                      <a:pt x="1484" y="344"/>
                    </a:lnTo>
                    <a:lnTo>
                      <a:pt x="1486" y="346"/>
                    </a:lnTo>
                    <a:lnTo>
                      <a:pt x="1490" y="346"/>
                    </a:lnTo>
                    <a:lnTo>
                      <a:pt x="1492" y="346"/>
                    </a:lnTo>
                    <a:lnTo>
                      <a:pt x="1500" y="344"/>
                    </a:lnTo>
                    <a:lnTo>
                      <a:pt x="1504" y="342"/>
                    </a:lnTo>
                    <a:lnTo>
                      <a:pt x="1502" y="348"/>
                    </a:lnTo>
                    <a:lnTo>
                      <a:pt x="1500" y="352"/>
                    </a:lnTo>
                    <a:lnTo>
                      <a:pt x="1500" y="354"/>
                    </a:lnTo>
                    <a:lnTo>
                      <a:pt x="1506" y="352"/>
                    </a:lnTo>
                    <a:lnTo>
                      <a:pt x="1508" y="350"/>
                    </a:lnTo>
                    <a:lnTo>
                      <a:pt x="1510" y="354"/>
                    </a:lnTo>
                    <a:lnTo>
                      <a:pt x="1510" y="356"/>
                    </a:lnTo>
                    <a:lnTo>
                      <a:pt x="1512" y="356"/>
                    </a:lnTo>
                    <a:lnTo>
                      <a:pt x="1514" y="356"/>
                    </a:lnTo>
                    <a:lnTo>
                      <a:pt x="1512" y="354"/>
                    </a:lnTo>
                    <a:lnTo>
                      <a:pt x="1514" y="350"/>
                    </a:lnTo>
                    <a:lnTo>
                      <a:pt x="1516" y="348"/>
                    </a:lnTo>
                    <a:lnTo>
                      <a:pt x="1520" y="352"/>
                    </a:lnTo>
                    <a:lnTo>
                      <a:pt x="1522" y="354"/>
                    </a:lnTo>
                    <a:lnTo>
                      <a:pt x="1522" y="358"/>
                    </a:lnTo>
                    <a:lnTo>
                      <a:pt x="1522" y="360"/>
                    </a:lnTo>
                    <a:lnTo>
                      <a:pt x="1526" y="360"/>
                    </a:lnTo>
                    <a:lnTo>
                      <a:pt x="1530" y="354"/>
                    </a:lnTo>
                    <a:lnTo>
                      <a:pt x="1530" y="356"/>
                    </a:lnTo>
                    <a:lnTo>
                      <a:pt x="1532" y="364"/>
                    </a:lnTo>
                    <a:lnTo>
                      <a:pt x="1534" y="364"/>
                    </a:lnTo>
                    <a:lnTo>
                      <a:pt x="1534" y="362"/>
                    </a:lnTo>
                    <a:lnTo>
                      <a:pt x="1536" y="360"/>
                    </a:lnTo>
                    <a:lnTo>
                      <a:pt x="1538" y="360"/>
                    </a:lnTo>
                    <a:lnTo>
                      <a:pt x="1544" y="362"/>
                    </a:lnTo>
                    <a:lnTo>
                      <a:pt x="1546" y="364"/>
                    </a:lnTo>
                    <a:lnTo>
                      <a:pt x="1542" y="370"/>
                    </a:lnTo>
                    <a:lnTo>
                      <a:pt x="1544" y="374"/>
                    </a:lnTo>
                    <a:lnTo>
                      <a:pt x="1544" y="376"/>
                    </a:lnTo>
                    <a:lnTo>
                      <a:pt x="1548" y="368"/>
                    </a:lnTo>
                    <a:lnTo>
                      <a:pt x="1550" y="362"/>
                    </a:lnTo>
                    <a:lnTo>
                      <a:pt x="1552" y="362"/>
                    </a:lnTo>
                    <a:lnTo>
                      <a:pt x="1552" y="366"/>
                    </a:lnTo>
                    <a:lnTo>
                      <a:pt x="1552" y="368"/>
                    </a:lnTo>
                    <a:lnTo>
                      <a:pt x="1552" y="370"/>
                    </a:lnTo>
                    <a:lnTo>
                      <a:pt x="1550" y="372"/>
                    </a:lnTo>
                    <a:lnTo>
                      <a:pt x="1548" y="374"/>
                    </a:lnTo>
                    <a:lnTo>
                      <a:pt x="1548" y="384"/>
                    </a:lnTo>
                    <a:lnTo>
                      <a:pt x="1550" y="386"/>
                    </a:lnTo>
                    <a:lnTo>
                      <a:pt x="1552" y="386"/>
                    </a:lnTo>
                    <a:lnTo>
                      <a:pt x="1556" y="382"/>
                    </a:lnTo>
                    <a:lnTo>
                      <a:pt x="1556" y="380"/>
                    </a:lnTo>
                    <a:lnTo>
                      <a:pt x="1554" y="378"/>
                    </a:lnTo>
                    <a:lnTo>
                      <a:pt x="1554" y="376"/>
                    </a:lnTo>
                    <a:lnTo>
                      <a:pt x="1558" y="374"/>
                    </a:lnTo>
                    <a:lnTo>
                      <a:pt x="1560" y="372"/>
                    </a:lnTo>
                    <a:lnTo>
                      <a:pt x="1564" y="370"/>
                    </a:lnTo>
                    <a:lnTo>
                      <a:pt x="1568" y="372"/>
                    </a:lnTo>
                    <a:lnTo>
                      <a:pt x="1570" y="372"/>
                    </a:lnTo>
                    <a:lnTo>
                      <a:pt x="1576" y="368"/>
                    </a:lnTo>
                    <a:lnTo>
                      <a:pt x="1576" y="370"/>
                    </a:lnTo>
                    <a:lnTo>
                      <a:pt x="1576" y="372"/>
                    </a:lnTo>
                    <a:lnTo>
                      <a:pt x="1574" y="372"/>
                    </a:lnTo>
                    <a:lnTo>
                      <a:pt x="1572" y="376"/>
                    </a:lnTo>
                    <a:lnTo>
                      <a:pt x="1570" y="378"/>
                    </a:lnTo>
                    <a:lnTo>
                      <a:pt x="1572" y="378"/>
                    </a:lnTo>
                    <a:lnTo>
                      <a:pt x="1572" y="380"/>
                    </a:lnTo>
                    <a:lnTo>
                      <a:pt x="1574" y="378"/>
                    </a:lnTo>
                    <a:lnTo>
                      <a:pt x="1578" y="378"/>
                    </a:lnTo>
                    <a:lnTo>
                      <a:pt x="1580" y="378"/>
                    </a:lnTo>
                    <a:lnTo>
                      <a:pt x="1580" y="380"/>
                    </a:lnTo>
                    <a:lnTo>
                      <a:pt x="1580" y="384"/>
                    </a:lnTo>
                    <a:lnTo>
                      <a:pt x="1584" y="390"/>
                    </a:lnTo>
                    <a:lnTo>
                      <a:pt x="1586" y="390"/>
                    </a:lnTo>
                    <a:lnTo>
                      <a:pt x="1588" y="388"/>
                    </a:lnTo>
                    <a:lnTo>
                      <a:pt x="1592" y="390"/>
                    </a:lnTo>
                    <a:lnTo>
                      <a:pt x="1594" y="392"/>
                    </a:lnTo>
                    <a:lnTo>
                      <a:pt x="1594" y="394"/>
                    </a:lnTo>
                    <a:lnTo>
                      <a:pt x="1594" y="396"/>
                    </a:lnTo>
                    <a:lnTo>
                      <a:pt x="1596" y="400"/>
                    </a:lnTo>
                    <a:lnTo>
                      <a:pt x="1596" y="404"/>
                    </a:lnTo>
                    <a:lnTo>
                      <a:pt x="1590" y="410"/>
                    </a:lnTo>
                    <a:lnTo>
                      <a:pt x="1588" y="414"/>
                    </a:lnTo>
                    <a:lnTo>
                      <a:pt x="1586" y="416"/>
                    </a:lnTo>
                    <a:lnTo>
                      <a:pt x="1588" y="418"/>
                    </a:lnTo>
                    <a:lnTo>
                      <a:pt x="1588" y="416"/>
                    </a:lnTo>
                    <a:lnTo>
                      <a:pt x="1588" y="414"/>
                    </a:lnTo>
                    <a:lnTo>
                      <a:pt x="1594" y="410"/>
                    </a:lnTo>
                    <a:lnTo>
                      <a:pt x="1598" y="410"/>
                    </a:lnTo>
                    <a:lnTo>
                      <a:pt x="1600" y="410"/>
                    </a:lnTo>
                    <a:lnTo>
                      <a:pt x="1600" y="412"/>
                    </a:lnTo>
                    <a:lnTo>
                      <a:pt x="1602" y="418"/>
                    </a:lnTo>
                    <a:lnTo>
                      <a:pt x="1602" y="420"/>
                    </a:lnTo>
                    <a:lnTo>
                      <a:pt x="1602" y="424"/>
                    </a:lnTo>
                    <a:lnTo>
                      <a:pt x="1600" y="424"/>
                    </a:lnTo>
                    <a:lnTo>
                      <a:pt x="1598" y="424"/>
                    </a:lnTo>
                    <a:lnTo>
                      <a:pt x="1594" y="428"/>
                    </a:lnTo>
                    <a:lnTo>
                      <a:pt x="1590" y="432"/>
                    </a:lnTo>
                    <a:lnTo>
                      <a:pt x="1590" y="436"/>
                    </a:lnTo>
                    <a:lnTo>
                      <a:pt x="1588" y="438"/>
                    </a:lnTo>
                    <a:lnTo>
                      <a:pt x="1586" y="444"/>
                    </a:lnTo>
                    <a:lnTo>
                      <a:pt x="1584" y="452"/>
                    </a:lnTo>
                    <a:lnTo>
                      <a:pt x="1584" y="456"/>
                    </a:lnTo>
                    <a:lnTo>
                      <a:pt x="1586" y="458"/>
                    </a:lnTo>
                    <a:lnTo>
                      <a:pt x="1588" y="458"/>
                    </a:lnTo>
                    <a:lnTo>
                      <a:pt x="1588" y="460"/>
                    </a:lnTo>
                    <a:lnTo>
                      <a:pt x="1580" y="468"/>
                    </a:lnTo>
                    <a:lnTo>
                      <a:pt x="1578" y="468"/>
                    </a:lnTo>
                    <a:lnTo>
                      <a:pt x="1578" y="474"/>
                    </a:lnTo>
                    <a:lnTo>
                      <a:pt x="1580" y="472"/>
                    </a:lnTo>
                    <a:lnTo>
                      <a:pt x="1586" y="468"/>
                    </a:lnTo>
                    <a:lnTo>
                      <a:pt x="1588" y="464"/>
                    </a:lnTo>
                    <a:lnTo>
                      <a:pt x="1592" y="460"/>
                    </a:lnTo>
                    <a:lnTo>
                      <a:pt x="1596" y="458"/>
                    </a:lnTo>
                    <a:lnTo>
                      <a:pt x="1596" y="456"/>
                    </a:lnTo>
                    <a:lnTo>
                      <a:pt x="1598" y="454"/>
                    </a:lnTo>
                    <a:lnTo>
                      <a:pt x="1600" y="452"/>
                    </a:lnTo>
                    <a:lnTo>
                      <a:pt x="1600" y="450"/>
                    </a:lnTo>
                    <a:lnTo>
                      <a:pt x="1602" y="440"/>
                    </a:lnTo>
                    <a:lnTo>
                      <a:pt x="1602" y="432"/>
                    </a:lnTo>
                    <a:lnTo>
                      <a:pt x="1602" y="430"/>
                    </a:lnTo>
                    <a:lnTo>
                      <a:pt x="1608" y="428"/>
                    </a:lnTo>
                    <a:lnTo>
                      <a:pt x="1610" y="428"/>
                    </a:lnTo>
                    <a:lnTo>
                      <a:pt x="1612" y="426"/>
                    </a:lnTo>
                    <a:lnTo>
                      <a:pt x="1616" y="424"/>
                    </a:lnTo>
                    <a:lnTo>
                      <a:pt x="1618" y="424"/>
                    </a:lnTo>
                    <a:lnTo>
                      <a:pt x="1620" y="424"/>
                    </a:lnTo>
                    <a:lnTo>
                      <a:pt x="1620" y="430"/>
                    </a:lnTo>
                    <a:lnTo>
                      <a:pt x="1620" y="432"/>
                    </a:lnTo>
                    <a:lnTo>
                      <a:pt x="1614" y="438"/>
                    </a:lnTo>
                    <a:lnTo>
                      <a:pt x="1612" y="440"/>
                    </a:lnTo>
                    <a:lnTo>
                      <a:pt x="1608" y="440"/>
                    </a:lnTo>
                    <a:lnTo>
                      <a:pt x="1608" y="442"/>
                    </a:lnTo>
                    <a:lnTo>
                      <a:pt x="1604" y="444"/>
                    </a:lnTo>
                    <a:lnTo>
                      <a:pt x="1604" y="448"/>
                    </a:lnTo>
                    <a:lnTo>
                      <a:pt x="1606" y="448"/>
                    </a:lnTo>
                    <a:lnTo>
                      <a:pt x="1608" y="446"/>
                    </a:lnTo>
                    <a:lnTo>
                      <a:pt x="1612" y="444"/>
                    </a:lnTo>
                    <a:lnTo>
                      <a:pt x="1612" y="448"/>
                    </a:lnTo>
                    <a:lnTo>
                      <a:pt x="1610" y="450"/>
                    </a:lnTo>
                    <a:lnTo>
                      <a:pt x="1612" y="450"/>
                    </a:lnTo>
                    <a:lnTo>
                      <a:pt x="1616" y="444"/>
                    </a:lnTo>
                    <a:lnTo>
                      <a:pt x="1620" y="438"/>
                    </a:lnTo>
                    <a:lnTo>
                      <a:pt x="1622" y="436"/>
                    </a:lnTo>
                    <a:lnTo>
                      <a:pt x="1626" y="432"/>
                    </a:lnTo>
                    <a:lnTo>
                      <a:pt x="1628" y="432"/>
                    </a:lnTo>
                    <a:lnTo>
                      <a:pt x="1632" y="432"/>
                    </a:lnTo>
                    <a:lnTo>
                      <a:pt x="1638" y="430"/>
                    </a:lnTo>
                    <a:lnTo>
                      <a:pt x="1646" y="430"/>
                    </a:lnTo>
                    <a:lnTo>
                      <a:pt x="1652" y="432"/>
                    </a:lnTo>
                    <a:lnTo>
                      <a:pt x="1652" y="428"/>
                    </a:lnTo>
                    <a:lnTo>
                      <a:pt x="1650" y="424"/>
                    </a:lnTo>
                    <a:lnTo>
                      <a:pt x="1650" y="422"/>
                    </a:lnTo>
                    <a:lnTo>
                      <a:pt x="1652" y="422"/>
                    </a:lnTo>
                    <a:lnTo>
                      <a:pt x="1658" y="422"/>
                    </a:lnTo>
                    <a:lnTo>
                      <a:pt x="1660" y="422"/>
                    </a:lnTo>
                    <a:lnTo>
                      <a:pt x="1662" y="422"/>
                    </a:lnTo>
                    <a:lnTo>
                      <a:pt x="1666" y="424"/>
                    </a:lnTo>
                    <a:lnTo>
                      <a:pt x="1670" y="426"/>
                    </a:lnTo>
                    <a:lnTo>
                      <a:pt x="1674" y="428"/>
                    </a:lnTo>
                    <a:lnTo>
                      <a:pt x="1676" y="428"/>
                    </a:lnTo>
                    <a:lnTo>
                      <a:pt x="1678" y="428"/>
                    </a:lnTo>
                    <a:lnTo>
                      <a:pt x="1680" y="428"/>
                    </a:lnTo>
                    <a:lnTo>
                      <a:pt x="1682" y="430"/>
                    </a:lnTo>
                    <a:lnTo>
                      <a:pt x="1686" y="432"/>
                    </a:lnTo>
                    <a:lnTo>
                      <a:pt x="1690" y="432"/>
                    </a:lnTo>
                    <a:lnTo>
                      <a:pt x="1692" y="432"/>
                    </a:lnTo>
                    <a:lnTo>
                      <a:pt x="1694" y="434"/>
                    </a:lnTo>
                    <a:lnTo>
                      <a:pt x="1696" y="438"/>
                    </a:lnTo>
                    <a:lnTo>
                      <a:pt x="1702" y="442"/>
                    </a:lnTo>
                    <a:lnTo>
                      <a:pt x="1706" y="444"/>
                    </a:lnTo>
                    <a:lnTo>
                      <a:pt x="1712" y="446"/>
                    </a:lnTo>
                    <a:lnTo>
                      <a:pt x="1714" y="444"/>
                    </a:lnTo>
                    <a:lnTo>
                      <a:pt x="1716" y="444"/>
                    </a:lnTo>
                    <a:lnTo>
                      <a:pt x="1718" y="448"/>
                    </a:lnTo>
                    <a:lnTo>
                      <a:pt x="1718" y="450"/>
                    </a:lnTo>
                    <a:lnTo>
                      <a:pt x="1718" y="448"/>
                    </a:lnTo>
                    <a:lnTo>
                      <a:pt x="1724" y="448"/>
                    </a:lnTo>
                    <a:lnTo>
                      <a:pt x="1726" y="448"/>
                    </a:lnTo>
                    <a:lnTo>
                      <a:pt x="1728" y="450"/>
                    </a:lnTo>
                    <a:lnTo>
                      <a:pt x="1732" y="450"/>
                    </a:lnTo>
                    <a:lnTo>
                      <a:pt x="1734" y="448"/>
                    </a:lnTo>
                    <a:lnTo>
                      <a:pt x="1734" y="446"/>
                    </a:lnTo>
                    <a:lnTo>
                      <a:pt x="1732" y="444"/>
                    </a:lnTo>
                    <a:lnTo>
                      <a:pt x="1734" y="444"/>
                    </a:lnTo>
                    <a:lnTo>
                      <a:pt x="1736" y="444"/>
                    </a:lnTo>
                    <a:lnTo>
                      <a:pt x="1738" y="444"/>
                    </a:lnTo>
                    <a:lnTo>
                      <a:pt x="1738" y="446"/>
                    </a:lnTo>
                    <a:lnTo>
                      <a:pt x="1740" y="446"/>
                    </a:lnTo>
                    <a:lnTo>
                      <a:pt x="1744" y="448"/>
                    </a:lnTo>
                    <a:lnTo>
                      <a:pt x="1746" y="450"/>
                    </a:lnTo>
                    <a:lnTo>
                      <a:pt x="1748" y="450"/>
                    </a:lnTo>
                    <a:lnTo>
                      <a:pt x="1748" y="452"/>
                    </a:lnTo>
                    <a:lnTo>
                      <a:pt x="1746" y="452"/>
                    </a:lnTo>
                    <a:lnTo>
                      <a:pt x="1748" y="452"/>
                    </a:lnTo>
                    <a:lnTo>
                      <a:pt x="1752" y="452"/>
                    </a:lnTo>
                    <a:lnTo>
                      <a:pt x="1756" y="454"/>
                    </a:lnTo>
                    <a:lnTo>
                      <a:pt x="1756" y="452"/>
                    </a:lnTo>
                    <a:lnTo>
                      <a:pt x="1758" y="452"/>
                    </a:lnTo>
                    <a:lnTo>
                      <a:pt x="1762" y="454"/>
                    </a:lnTo>
                    <a:lnTo>
                      <a:pt x="1766" y="454"/>
                    </a:lnTo>
                    <a:lnTo>
                      <a:pt x="1770" y="458"/>
                    </a:lnTo>
                    <a:lnTo>
                      <a:pt x="1770" y="460"/>
                    </a:lnTo>
                    <a:lnTo>
                      <a:pt x="1772" y="460"/>
                    </a:lnTo>
                    <a:lnTo>
                      <a:pt x="1772" y="458"/>
                    </a:lnTo>
                    <a:lnTo>
                      <a:pt x="1770" y="454"/>
                    </a:lnTo>
                    <a:lnTo>
                      <a:pt x="1772" y="452"/>
                    </a:lnTo>
                    <a:lnTo>
                      <a:pt x="1790" y="452"/>
                    </a:lnTo>
                    <a:lnTo>
                      <a:pt x="1794" y="452"/>
                    </a:lnTo>
                    <a:lnTo>
                      <a:pt x="1802" y="450"/>
                    </a:lnTo>
                    <a:lnTo>
                      <a:pt x="1804" y="450"/>
                    </a:lnTo>
                    <a:lnTo>
                      <a:pt x="1806" y="450"/>
                    </a:lnTo>
                    <a:lnTo>
                      <a:pt x="1808" y="450"/>
                    </a:lnTo>
                    <a:lnTo>
                      <a:pt x="1810" y="448"/>
                    </a:lnTo>
                    <a:lnTo>
                      <a:pt x="1812" y="448"/>
                    </a:lnTo>
                    <a:lnTo>
                      <a:pt x="1820" y="448"/>
                    </a:lnTo>
                    <a:lnTo>
                      <a:pt x="1828" y="450"/>
                    </a:lnTo>
                    <a:lnTo>
                      <a:pt x="1838" y="452"/>
                    </a:lnTo>
                    <a:lnTo>
                      <a:pt x="1846" y="454"/>
                    </a:lnTo>
                    <a:lnTo>
                      <a:pt x="1846" y="456"/>
                    </a:lnTo>
                    <a:lnTo>
                      <a:pt x="1852" y="460"/>
                    </a:lnTo>
                    <a:lnTo>
                      <a:pt x="1852" y="462"/>
                    </a:lnTo>
                    <a:lnTo>
                      <a:pt x="1862" y="466"/>
                    </a:lnTo>
                    <a:lnTo>
                      <a:pt x="1866" y="470"/>
                    </a:lnTo>
                    <a:lnTo>
                      <a:pt x="1870" y="470"/>
                    </a:lnTo>
                    <a:lnTo>
                      <a:pt x="1880" y="476"/>
                    </a:lnTo>
                    <a:lnTo>
                      <a:pt x="1888" y="482"/>
                    </a:lnTo>
                    <a:lnTo>
                      <a:pt x="1890" y="482"/>
                    </a:lnTo>
                    <a:lnTo>
                      <a:pt x="1892" y="482"/>
                    </a:lnTo>
                    <a:lnTo>
                      <a:pt x="1894" y="484"/>
                    </a:lnTo>
                    <a:lnTo>
                      <a:pt x="1896" y="488"/>
                    </a:lnTo>
                    <a:lnTo>
                      <a:pt x="1900" y="490"/>
                    </a:lnTo>
                    <a:lnTo>
                      <a:pt x="1910" y="500"/>
                    </a:lnTo>
                    <a:lnTo>
                      <a:pt x="1916" y="502"/>
                    </a:lnTo>
                    <a:lnTo>
                      <a:pt x="1918" y="502"/>
                    </a:lnTo>
                    <a:lnTo>
                      <a:pt x="1926" y="512"/>
                    </a:lnTo>
                    <a:lnTo>
                      <a:pt x="1928" y="514"/>
                    </a:lnTo>
                    <a:lnTo>
                      <a:pt x="1930" y="516"/>
                    </a:lnTo>
                    <a:lnTo>
                      <a:pt x="1936" y="522"/>
                    </a:lnTo>
                    <a:lnTo>
                      <a:pt x="1936" y="524"/>
                    </a:lnTo>
                    <a:lnTo>
                      <a:pt x="1938" y="524"/>
                    </a:lnTo>
                    <a:lnTo>
                      <a:pt x="1938" y="526"/>
                    </a:lnTo>
                    <a:lnTo>
                      <a:pt x="1940" y="530"/>
                    </a:lnTo>
                    <a:lnTo>
                      <a:pt x="1944" y="532"/>
                    </a:lnTo>
                    <a:lnTo>
                      <a:pt x="1948" y="536"/>
                    </a:lnTo>
                    <a:lnTo>
                      <a:pt x="1954" y="542"/>
                    </a:lnTo>
                    <a:lnTo>
                      <a:pt x="1958" y="546"/>
                    </a:lnTo>
                    <a:lnTo>
                      <a:pt x="1958" y="548"/>
                    </a:lnTo>
                    <a:lnTo>
                      <a:pt x="1962" y="552"/>
                    </a:lnTo>
                    <a:lnTo>
                      <a:pt x="1966" y="554"/>
                    </a:lnTo>
                    <a:lnTo>
                      <a:pt x="1968" y="556"/>
                    </a:lnTo>
                    <a:lnTo>
                      <a:pt x="1972" y="556"/>
                    </a:lnTo>
                    <a:lnTo>
                      <a:pt x="1976" y="556"/>
                    </a:lnTo>
                    <a:lnTo>
                      <a:pt x="1978" y="558"/>
                    </a:lnTo>
                    <a:lnTo>
                      <a:pt x="1980" y="560"/>
                    </a:lnTo>
                    <a:lnTo>
                      <a:pt x="1982" y="562"/>
                    </a:lnTo>
                    <a:lnTo>
                      <a:pt x="1984" y="566"/>
                    </a:lnTo>
                    <a:lnTo>
                      <a:pt x="1984" y="568"/>
                    </a:lnTo>
                    <a:lnTo>
                      <a:pt x="1986" y="570"/>
                    </a:lnTo>
                    <a:lnTo>
                      <a:pt x="1988" y="572"/>
                    </a:lnTo>
                    <a:lnTo>
                      <a:pt x="1990" y="572"/>
                    </a:lnTo>
                    <a:lnTo>
                      <a:pt x="1994" y="572"/>
                    </a:lnTo>
                    <a:lnTo>
                      <a:pt x="2000" y="572"/>
                    </a:lnTo>
                    <a:lnTo>
                      <a:pt x="2004" y="574"/>
                    </a:lnTo>
                    <a:lnTo>
                      <a:pt x="2006" y="578"/>
                    </a:lnTo>
                    <a:lnTo>
                      <a:pt x="2008" y="580"/>
                    </a:lnTo>
                    <a:lnTo>
                      <a:pt x="2010" y="580"/>
                    </a:lnTo>
                    <a:lnTo>
                      <a:pt x="2014" y="582"/>
                    </a:lnTo>
                    <a:lnTo>
                      <a:pt x="2018" y="582"/>
                    </a:lnTo>
                    <a:lnTo>
                      <a:pt x="2020" y="582"/>
                    </a:lnTo>
                    <a:lnTo>
                      <a:pt x="2026" y="582"/>
                    </a:lnTo>
                    <a:lnTo>
                      <a:pt x="2028" y="582"/>
                    </a:lnTo>
                    <a:lnTo>
                      <a:pt x="2032" y="582"/>
                    </a:lnTo>
                    <a:lnTo>
                      <a:pt x="2034" y="584"/>
                    </a:lnTo>
                    <a:lnTo>
                      <a:pt x="2044" y="582"/>
                    </a:lnTo>
                    <a:lnTo>
                      <a:pt x="2048" y="582"/>
                    </a:lnTo>
                    <a:lnTo>
                      <a:pt x="2050" y="580"/>
                    </a:lnTo>
                    <a:lnTo>
                      <a:pt x="2052" y="580"/>
                    </a:lnTo>
                    <a:lnTo>
                      <a:pt x="2054" y="580"/>
                    </a:lnTo>
                    <a:lnTo>
                      <a:pt x="2058" y="582"/>
                    </a:lnTo>
                    <a:lnTo>
                      <a:pt x="2068" y="584"/>
                    </a:lnTo>
                    <a:lnTo>
                      <a:pt x="2070" y="584"/>
                    </a:lnTo>
                    <a:lnTo>
                      <a:pt x="2072" y="584"/>
                    </a:lnTo>
                    <a:lnTo>
                      <a:pt x="2076" y="588"/>
                    </a:lnTo>
                    <a:lnTo>
                      <a:pt x="2078" y="588"/>
                    </a:lnTo>
                    <a:lnTo>
                      <a:pt x="2082" y="592"/>
                    </a:lnTo>
                    <a:lnTo>
                      <a:pt x="2084" y="596"/>
                    </a:lnTo>
                    <a:lnTo>
                      <a:pt x="2086" y="600"/>
                    </a:lnTo>
                    <a:lnTo>
                      <a:pt x="2092" y="612"/>
                    </a:lnTo>
                    <a:lnTo>
                      <a:pt x="2092" y="620"/>
                    </a:lnTo>
                    <a:lnTo>
                      <a:pt x="2092" y="622"/>
                    </a:lnTo>
                    <a:lnTo>
                      <a:pt x="2094" y="634"/>
                    </a:lnTo>
                    <a:lnTo>
                      <a:pt x="2096" y="636"/>
                    </a:lnTo>
                    <a:lnTo>
                      <a:pt x="2096" y="642"/>
                    </a:lnTo>
                    <a:lnTo>
                      <a:pt x="2096" y="648"/>
                    </a:lnTo>
                    <a:lnTo>
                      <a:pt x="2098" y="648"/>
                    </a:lnTo>
                    <a:lnTo>
                      <a:pt x="2100" y="652"/>
                    </a:lnTo>
                    <a:lnTo>
                      <a:pt x="2102" y="660"/>
                    </a:lnTo>
                    <a:lnTo>
                      <a:pt x="2104" y="662"/>
                    </a:lnTo>
                    <a:lnTo>
                      <a:pt x="2104" y="666"/>
                    </a:lnTo>
                    <a:lnTo>
                      <a:pt x="2104" y="670"/>
                    </a:lnTo>
                    <a:lnTo>
                      <a:pt x="2104" y="672"/>
                    </a:lnTo>
                    <a:lnTo>
                      <a:pt x="2102" y="674"/>
                    </a:lnTo>
                    <a:lnTo>
                      <a:pt x="2104" y="676"/>
                    </a:lnTo>
                    <a:lnTo>
                      <a:pt x="2106" y="690"/>
                    </a:lnTo>
                    <a:lnTo>
                      <a:pt x="2106" y="692"/>
                    </a:lnTo>
                    <a:lnTo>
                      <a:pt x="2106" y="694"/>
                    </a:lnTo>
                    <a:lnTo>
                      <a:pt x="2106" y="698"/>
                    </a:lnTo>
                    <a:lnTo>
                      <a:pt x="2104" y="700"/>
                    </a:lnTo>
                    <a:lnTo>
                      <a:pt x="2104" y="702"/>
                    </a:lnTo>
                    <a:lnTo>
                      <a:pt x="2106" y="700"/>
                    </a:lnTo>
                    <a:lnTo>
                      <a:pt x="2108" y="696"/>
                    </a:lnTo>
                    <a:lnTo>
                      <a:pt x="2108" y="694"/>
                    </a:lnTo>
                    <a:lnTo>
                      <a:pt x="2108" y="698"/>
                    </a:lnTo>
                    <a:lnTo>
                      <a:pt x="2108" y="700"/>
                    </a:lnTo>
                    <a:lnTo>
                      <a:pt x="2108" y="702"/>
                    </a:lnTo>
                    <a:lnTo>
                      <a:pt x="2110" y="706"/>
                    </a:lnTo>
                    <a:lnTo>
                      <a:pt x="2110" y="716"/>
                    </a:lnTo>
                    <a:lnTo>
                      <a:pt x="2108" y="718"/>
                    </a:lnTo>
                    <a:lnTo>
                      <a:pt x="2108" y="726"/>
                    </a:lnTo>
                    <a:lnTo>
                      <a:pt x="2106" y="728"/>
                    </a:lnTo>
                    <a:lnTo>
                      <a:pt x="2104" y="728"/>
                    </a:lnTo>
                    <a:lnTo>
                      <a:pt x="2106" y="728"/>
                    </a:lnTo>
                    <a:lnTo>
                      <a:pt x="2108" y="730"/>
                    </a:lnTo>
                    <a:lnTo>
                      <a:pt x="2108" y="732"/>
                    </a:lnTo>
                    <a:lnTo>
                      <a:pt x="2106" y="736"/>
                    </a:lnTo>
                    <a:lnTo>
                      <a:pt x="2104" y="736"/>
                    </a:lnTo>
                    <a:lnTo>
                      <a:pt x="2104" y="740"/>
                    </a:lnTo>
                    <a:lnTo>
                      <a:pt x="2104" y="742"/>
                    </a:lnTo>
                    <a:lnTo>
                      <a:pt x="2104" y="744"/>
                    </a:lnTo>
                    <a:lnTo>
                      <a:pt x="2106" y="746"/>
                    </a:lnTo>
                    <a:lnTo>
                      <a:pt x="2106" y="748"/>
                    </a:lnTo>
                    <a:lnTo>
                      <a:pt x="2106" y="750"/>
                    </a:lnTo>
                    <a:lnTo>
                      <a:pt x="2104" y="754"/>
                    </a:lnTo>
                    <a:lnTo>
                      <a:pt x="2104" y="758"/>
                    </a:lnTo>
                    <a:lnTo>
                      <a:pt x="2100" y="764"/>
                    </a:lnTo>
                    <a:lnTo>
                      <a:pt x="2098" y="774"/>
                    </a:lnTo>
                    <a:lnTo>
                      <a:pt x="2092" y="790"/>
                    </a:lnTo>
                    <a:lnTo>
                      <a:pt x="2090" y="792"/>
                    </a:lnTo>
                    <a:lnTo>
                      <a:pt x="2088" y="798"/>
                    </a:lnTo>
                    <a:lnTo>
                      <a:pt x="2086" y="804"/>
                    </a:lnTo>
                    <a:lnTo>
                      <a:pt x="2086" y="806"/>
                    </a:lnTo>
                    <a:lnTo>
                      <a:pt x="2084" y="808"/>
                    </a:lnTo>
                    <a:lnTo>
                      <a:pt x="2084" y="810"/>
                    </a:lnTo>
                    <a:lnTo>
                      <a:pt x="2082" y="812"/>
                    </a:lnTo>
                    <a:lnTo>
                      <a:pt x="2080" y="814"/>
                    </a:lnTo>
                    <a:lnTo>
                      <a:pt x="2076" y="820"/>
                    </a:lnTo>
                    <a:lnTo>
                      <a:pt x="2074" y="824"/>
                    </a:lnTo>
                    <a:lnTo>
                      <a:pt x="2070" y="828"/>
                    </a:lnTo>
                    <a:lnTo>
                      <a:pt x="2070" y="830"/>
                    </a:lnTo>
                    <a:lnTo>
                      <a:pt x="2058" y="842"/>
                    </a:lnTo>
                    <a:lnTo>
                      <a:pt x="2054" y="846"/>
                    </a:lnTo>
                    <a:lnTo>
                      <a:pt x="2048" y="852"/>
                    </a:lnTo>
                    <a:lnTo>
                      <a:pt x="2044" y="856"/>
                    </a:lnTo>
                    <a:lnTo>
                      <a:pt x="2042" y="858"/>
                    </a:lnTo>
                    <a:lnTo>
                      <a:pt x="2040" y="860"/>
                    </a:lnTo>
                    <a:lnTo>
                      <a:pt x="2032" y="872"/>
                    </a:lnTo>
                    <a:lnTo>
                      <a:pt x="2028" y="876"/>
                    </a:lnTo>
                    <a:lnTo>
                      <a:pt x="2026" y="878"/>
                    </a:lnTo>
                    <a:lnTo>
                      <a:pt x="2022" y="880"/>
                    </a:lnTo>
                    <a:lnTo>
                      <a:pt x="2020" y="882"/>
                    </a:lnTo>
                    <a:lnTo>
                      <a:pt x="2018" y="884"/>
                    </a:lnTo>
                    <a:lnTo>
                      <a:pt x="2016" y="890"/>
                    </a:lnTo>
                    <a:lnTo>
                      <a:pt x="2012" y="894"/>
                    </a:lnTo>
                    <a:lnTo>
                      <a:pt x="2012" y="896"/>
                    </a:lnTo>
                    <a:lnTo>
                      <a:pt x="2008" y="896"/>
                    </a:lnTo>
                    <a:lnTo>
                      <a:pt x="2004" y="896"/>
                    </a:lnTo>
                    <a:lnTo>
                      <a:pt x="2002" y="898"/>
                    </a:lnTo>
                    <a:lnTo>
                      <a:pt x="1996" y="902"/>
                    </a:lnTo>
                    <a:lnTo>
                      <a:pt x="1994" y="902"/>
                    </a:lnTo>
                    <a:lnTo>
                      <a:pt x="1986" y="908"/>
                    </a:lnTo>
                    <a:lnTo>
                      <a:pt x="1982" y="912"/>
                    </a:lnTo>
                    <a:lnTo>
                      <a:pt x="1980" y="914"/>
                    </a:lnTo>
                    <a:lnTo>
                      <a:pt x="1978" y="918"/>
                    </a:lnTo>
                    <a:lnTo>
                      <a:pt x="1976" y="918"/>
                    </a:lnTo>
                    <a:lnTo>
                      <a:pt x="1976" y="916"/>
                    </a:lnTo>
                    <a:lnTo>
                      <a:pt x="1976" y="914"/>
                    </a:lnTo>
                    <a:lnTo>
                      <a:pt x="1976" y="912"/>
                    </a:lnTo>
                    <a:lnTo>
                      <a:pt x="1974" y="908"/>
                    </a:lnTo>
                    <a:lnTo>
                      <a:pt x="1970" y="908"/>
                    </a:lnTo>
                    <a:lnTo>
                      <a:pt x="1970" y="912"/>
                    </a:lnTo>
                    <a:lnTo>
                      <a:pt x="1974" y="912"/>
                    </a:lnTo>
                    <a:lnTo>
                      <a:pt x="1976" y="912"/>
                    </a:lnTo>
                    <a:lnTo>
                      <a:pt x="1976" y="914"/>
                    </a:lnTo>
                    <a:lnTo>
                      <a:pt x="1974" y="922"/>
                    </a:lnTo>
                    <a:lnTo>
                      <a:pt x="1968" y="928"/>
                    </a:lnTo>
                    <a:lnTo>
                      <a:pt x="1966" y="928"/>
                    </a:lnTo>
                    <a:lnTo>
                      <a:pt x="1966" y="926"/>
                    </a:lnTo>
                    <a:lnTo>
                      <a:pt x="1966" y="924"/>
                    </a:lnTo>
                    <a:lnTo>
                      <a:pt x="1964" y="924"/>
                    </a:lnTo>
                    <a:lnTo>
                      <a:pt x="1962" y="924"/>
                    </a:lnTo>
                    <a:lnTo>
                      <a:pt x="1962" y="926"/>
                    </a:lnTo>
                    <a:lnTo>
                      <a:pt x="1964" y="928"/>
                    </a:lnTo>
                    <a:lnTo>
                      <a:pt x="1966" y="930"/>
                    </a:lnTo>
                    <a:lnTo>
                      <a:pt x="1964" y="936"/>
                    </a:lnTo>
                    <a:lnTo>
                      <a:pt x="1962" y="940"/>
                    </a:lnTo>
                    <a:lnTo>
                      <a:pt x="1960" y="940"/>
                    </a:lnTo>
                    <a:lnTo>
                      <a:pt x="1958" y="944"/>
                    </a:lnTo>
                    <a:lnTo>
                      <a:pt x="1958" y="946"/>
                    </a:lnTo>
                    <a:lnTo>
                      <a:pt x="1956" y="948"/>
                    </a:lnTo>
                    <a:lnTo>
                      <a:pt x="1954" y="946"/>
                    </a:lnTo>
                    <a:lnTo>
                      <a:pt x="1956" y="940"/>
                    </a:lnTo>
                    <a:lnTo>
                      <a:pt x="1958" y="940"/>
                    </a:lnTo>
                    <a:lnTo>
                      <a:pt x="1958" y="938"/>
                    </a:lnTo>
                    <a:lnTo>
                      <a:pt x="1960" y="936"/>
                    </a:lnTo>
                    <a:lnTo>
                      <a:pt x="1960" y="934"/>
                    </a:lnTo>
                    <a:lnTo>
                      <a:pt x="1958" y="932"/>
                    </a:lnTo>
                    <a:lnTo>
                      <a:pt x="1958" y="936"/>
                    </a:lnTo>
                    <a:lnTo>
                      <a:pt x="1956" y="940"/>
                    </a:lnTo>
                    <a:lnTo>
                      <a:pt x="1954" y="942"/>
                    </a:lnTo>
                    <a:lnTo>
                      <a:pt x="1954" y="946"/>
                    </a:lnTo>
                    <a:lnTo>
                      <a:pt x="1954" y="948"/>
                    </a:lnTo>
                    <a:lnTo>
                      <a:pt x="1954" y="950"/>
                    </a:lnTo>
                    <a:lnTo>
                      <a:pt x="1950" y="950"/>
                    </a:lnTo>
                    <a:lnTo>
                      <a:pt x="1950" y="952"/>
                    </a:lnTo>
                    <a:lnTo>
                      <a:pt x="1948" y="952"/>
                    </a:lnTo>
                    <a:lnTo>
                      <a:pt x="1950" y="952"/>
                    </a:lnTo>
                    <a:lnTo>
                      <a:pt x="1952" y="954"/>
                    </a:lnTo>
                    <a:lnTo>
                      <a:pt x="1950" y="958"/>
                    </a:lnTo>
                    <a:lnTo>
                      <a:pt x="1942" y="970"/>
                    </a:lnTo>
                    <a:lnTo>
                      <a:pt x="1942" y="972"/>
                    </a:lnTo>
                    <a:lnTo>
                      <a:pt x="1940" y="976"/>
                    </a:lnTo>
                    <a:lnTo>
                      <a:pt x="1940" y="978"/>
                    </a:lnTo>
                    <a:lnTo>
                      <a:pt x="1938" y="980"/>
                    </a:lnTo>
                    <a:lnTo>
                      <a:pt x="1938" y="982"/>
                    </a:lnTo>
                    <a:lnTo>
                      <a:pt x="1936" y="984"/>
                    </a:lnTo>
                    <a:lnTo>
                      <a:pt x="1934" y="986"/>
                    </a:lnTo>
                    <a:lnTo>
                      <a:pt x="1928" y="994"/>
                    </a:lnTo>
                    <a:lnTo>
                      <a:pt x="1924" y="1000"/>
                    </a:lnTo>
                    <a:lnTo>
                      <a:pt x="1920" y="1004"/>
                    </a:lnTo>
                    <a:lnTo>
                      <a:pt x="1920" y="1006"/>
                    </a:lnTo>
                    <a:lnTo>
                      <a:pt x="1916" y="1012"/>
                    </a:lnTo>
                    <a:lnTo>
                      <a:pt x="1914" y="1014"/>
                    </a:lnTo>
                    <a:lnTo>
                      <a:pt x="1898" y="1032"/>
                    </a:lnTo>
                    <a:lnTo>
                      <a:pt x="1896" y="1032"/>
                    </a:lnTo>
                    <a:lnTo>
                      <a:pt x="1888" y="1036"/>
                    </a:lnTo>
                    <a:lnTo>
                      <a:pt x="1886" y="1036"/>
                    </a:lnTo>
                    <a:lnTo>
                      <a:pt x="1886" y="1030"/>
                    </a:lnTo>
                    <a:lnTo>
                      <a:pt x="1888" y="1030"/>
                    </a:lnTo>
                    <a:lnTo>
                      <a:pt x="1890" y="1026"/>
                    </a:lnTo>
                    <a:lnTo>
                      <a:pt x="1888" y="1018"/>
                    </a:lnTo>
                    <a:lnTo>
                      <a:pt x="1886" y="1018"/>
                    </a:lnTo>
                    <a:lnTo>
                      <a:pt x="1884" y="1018"/>
                    </a:lnTo>
                    <a:lnTo>
                      <a:pt x="1882" y="1018"/>
                    </a:lnTo>
                    <a:lnTo>
                      <a:pt x="1882" y="1016"/>
                    </a:lnTo>
                    <a:lnTo>
                      <a:pt x="1882" y="1012"/>
                    </a:lnTo>
                    <a:lnTo>
                      <a:pt x="1880" y="1010"/>
                    </a:lnTo>
                    <a:lnTo>
                      <a:pt x="1878" y="1012"/>
                    </a:lnTo>
                    <a:lnTo>
                      <a:pt x="1876" y="1018"/>
                    </a:lnTo>
                    <a:lnTo>
                      <a:pt x="1876" y="1020"/>
                    </a:lnTo>
                    <a:lnTo>
                      <a:pt x="1874" y="1022"/>
                    </a:lnTo>
                    <a:lnTo>
                      <a:pt x="1872" y="1024"/>
                    </a:lnTo>
                    <a:lnTo>
                      <a:pt x="1870" y="1022"/>
                    </a:lnTo>
                    <a:lnTo>
                      <a:pt x="1868" y="1020"/>
                    </a:lnTo>
                    <a:lnTo>
                      <a:pt x="1868" y="1018"/>
                    </a:lnTo>
                    <a:lnTo>
                      <a:pt x="1868" y="1016"/>
                    </a:lnTo>
                    <a:lnTo>
                      <a:pt x="1870" y="1016"/>
                    </a:lnTo>
                    <a:lnTo>
                      <a:pt x="1870" y="1014"/>
                    </a:lnTo>
                    <a:lnTo>
                      <a:pt x="1868" y="1016"/>
                    </a:lnTo>
                    <a:lnTo>
                      <a:pt x="1866" y="1018"/>
                    </a:lnTo>
                    <a:lnTo>
                      <a:pt x="1868" y="1022"/>
                    </a:lnTo>
                    <a:lnTo>
                      <a:pt x="1868" y="1024"/>
                    </a:lnTo>
                    <a:lnTo>
                      <a:pt x="1870" y="1026"/>
                    </a:lnTo>
                    <a:lnTo>
                      <a:pt x="1872" y="1024"/>
                    </a:lnTo>
                    <a:lnTo>
                      <a:pt x="1876" y="1026"/>
                    </a:lnTo>
                    <a:lnTo>
                      <a:pt x="1874" y="1032"/>
                    </a:lnTo>
                    <a:lnTo>
                      <a:pt x="1872" y="1034"/>
                    </a:lnTo>
                    <a:lnTo>
                      <a:pt x="1870" y="1038"/>
                    </a:lnTo>
                    <a:lnTo>
                      <a:pt x="1868" y="1042"/>
                    </a:lnTo>
                    <a:lnTo>
                      <a:pt x="1864" y="1046"/>
                    </a:lnTo>
                    <a:lnTo>
                      <a:pt x="1862" y="1048"/>
                    </a:lnTo>
                    <a:lnTo>
                      <a:pt x="1862" y="1050"/>
                    </a:lnTo>
                    <a:lnTo>
                      <a:pt x="1862" y="1052"/>
                    </a:lnTo>
                    <a:lnTo>
                      <a:pt x="1862" y="1056"/>
                    </a:lnTo>
                    <a:lnTo>
                      <a:pt x="1860" y="1054"/>
                    </a:lnTo>
                    <a:lnTo>
                      <a:pt x="1856" y="1054"/>
                    </a:lnTo>
                    <a:lnTo>
                      <a:pt x="1854" y="1064"/>
                    </a:lnTo>
                    <a:lnTo>
                      <a:pt x="1856" y="1060"/>
                    </a:lnTo>
                    <a:lnTo>
                      <a:pt x="1858" y="1062"/>
                    </a:lnTo>
                    <a:lnTo>
                      <a:pt x="1858" y="1064"/>
                    </a:lnTo>
                    <a:lnTo>
                      <a:pt x="1858" y="1066"/>
                    </a:lnTo>
                    <a:lnTo>
                      <a:pt x="1858" y="1068"/>
                    </a:lnTo>
                    <a:lnTo>
                      <a:pt x="1860" y="1072"/>
                    </a:lnTo>
                    <a:lnTo>
                      <a:pt x="1856" y="1078"/>
                    </a:lnTo>
                    <a:lnTo>
                      <a:pt x="1854" y="1080"/>
                    </a:lnTo>
                    <a:lnTo>
                      <a:pt x="1856" y="1088"/>
                    </a:lnTo>
                    <a:lnTo>
                      <a:pt x="1856" y="1092"/>
                    </a:lnTo>
                    <a:lnTo>
                      <a:pt x="1856" y="1094"/>
                    </a:lnTo>
                    <a:lnTo>
                      <a:pt x="1854" y="1096"/>
                    </a:lnTo>
                    <a:lnTo>
                      <a:pt x="1852" y="1094"/>
                    </a:lnTo>
                    <a:lnTo>
                      <a:pt x="1850" y="1098"/>
                    </a:lnTo>
                    <a:lnTo>
                      <a:pt x="1852" y="1100"/>
                    </a:lnTo>
                    <a:lnTo>
                      <a:pt x="1858" y="1094"/>
                    </a:lnTo>
                    <a:lnTo>
                      <a:pt x="1858" y="1090"/>
                    </a:lnTo>
                    <a:lnTo>
                      <a:pt x="1858" y="1088"/>
                    </a:lnTo>
                    <a:lnTo>
                      <a:pt x="1856" y="1086"/>
                    </a:lnTo>
                    <a:lnTo>
                      <a:pt x="1860" y="1084"/>
                    </a:lnTo>
                    <a:lnTo>
                      <a:pt x="1860" y="1086"/>
                    </a:lnTo>
                    <a:lnTo>
                      <a:pt x="1860" y="1092"/>
                    </a:lnTo>
                    <a:lnTo>
                      <a:pt x="1858" y="1096"/>
                    </a:lnTo>
                    <a:lnTo>
                      <a:pt x="1856" y="1102"/>
                    </a:lnTo>
                    <a:lnTo>
                      <a:pt x="1854" y="1104"/>
                    </a:lnTo>
                    <a:lnTo>
                      <a:pt x="1854" y="1110"/>
                    </a:lnTo>
                    <a:lnTo>
                      <a:pt x="1850" y="1120"/>
                    </a:lnTo>
                    <a:lnTo>
                      <a:pt x="1848" y="1126"/>
                    </a:lnTo>
                    <a:lnTo>
                      <a:pt x="1848" y="1128"/>
                    </a:lnTo>
                    <a:lnTo>
                      <a:pt x="1848" y="1132"/>
                    </a:lnTo>
                    <a:lnTo>
                      <a:pt x="1848" y="1136"/>
                    </a:lnTo>
                    <a:lnTo>
                      <a:pt x="1850" y="1146"/>
                    </a:lnTo>
                    <a:lnTo>
                      <a:pt x="1850" y="1150"/>
                    </a:lnTo>
                    <a:lnTo>
                      <a:pt x="1848" y="1162"/>
                    </a:lnTo>
                    <a:lnTo>
                      <a:pt x="1848" y="1178"/>
                    </a:lnTo>
                    <a:lnTo>
                      <a:pt x="1850" y="1186"/>
                    </a:lnTo>
                    <a:lnTo>
                      <a:pt x="1850" y="1190"/>
                    </a:lnTo>
                    <a:lnTo>
                      <a:pt x="1852" y="1194"/>
                    </a:lnTo>
                    <a:lnTo>
                      <a:pt x="1852" y="1198"/>
                    </a:lnTo>
                    <a:lnTo>
                      <a:pt x="1846" y="1208"/>
                    </a:lnTo>
                    <a:lnTo>
                      <a:pt x="1842" y="1222"/>
                    </a:lnTo>
                    <a:lnTo>
                      <a:pt x="1838" y="1228"/>
                    </a:lnTo>
                    <a:lnTo>
                      <a:pt x="1838" y="1232"/>
                    </a:lnTo>
                    <a:lnTo>
                      <a:pt x="1836" y="1236"/>
                    </a:lnTo>
                    <a:lnTo>
                      <a:pt x="1836" y="1240"/>
                    </a:lnTo>
                    <a:lnTo>
                      <a:pt x="1834" y="1244"/>
                    </a:lnTo>
                    <a:lnTo>
                      <a:pt x="1832" y="1246"/>
                    </a:lnTo>
                    <a:lnTo>
                      <a:pt x="1832" y="1248"/>
                    </a:lnTo>
                    <a:lnTo>
                      <a:pt x="1832" y="1250"/>
                    </a:lnTo>
                    <a:lnTo>
                      <a:pt x="1832" y="1252"/>
                    </a:lnTo>
                    <a:lnTo>
                      <a:pt x="1832" y="1254"/>
                    </a:lnTo>
                    <a:lnTo>
                      <a:pt x="1830" y="1258"/>
                    </a:lnTo>
                    <a:lnTo>
                      <a:pt x="1828" y="1264"/>
                    </a:lnTo>
                    <a:lnTo>
                      <a:pt x="1826" y="1268"/>
                    </a:lnTo>
                    <a:lnTo>
                      <a:pt x="1826" y="1270"/>
                    </a:lnTo>
                    <a:lnTo>
                      <a:pt x="1826" y="1276"/>
                    </a:lnTo>
                    <a:lnTo>
                      <a:pt x="1824" y="1280"/>
                    </a:lnTo>
                    <a:lnTo>
                      <a:pt x="1824" y="1282"/>
                    </a:lnTo>
                    <a:lnTo>
                      <a:pt x="1824" y="1292"/>
                    </a:lnTo>
                    <a:lnTo>
                      <a:pt x="1824" y="1294"/>
                    </a:lnTo>
                    <a:lnTo>
                      <a:pt x="1824" y="1296"/>
                    </a:lnTo>
                    <a:lnTo>
                      <a:pt x="1826" y="1298"/>
                    </a:lnTo>
                    <a:lnTo>
                      <a:pt x="1826" y="1300"/>
                    </a:lnTo>
                    <a:lnTo>
                      <a:pt x="1818" y="1310"/>
                    </a:lnTo>
                    <a:lnTo>
                      <a:pt x="1816" y="1312"/>
                    </a:lnTo>
                    <a:lnTo>
                      <a:pt x="1814" y="1312"/>
                    </a:lnTo>
                    <a:lnTo>
                      <a:pt x="1810" y="1312"/>
                    </a:lnTo>
                    <a:lnTo>
                      <a:pt x="1810" y="1314"/>
                    </a:lnTo>
                    <a:lnTo>
                      <a:pt x="1808" y="1314"/>
                    </a:lnTo>
                    <a:lnTo>
                      <a:pt x="1804" y="1318"/>
                    </a:lnTo>
                    <a:lnTo>
                      <a:pt x="1796" y="1328"/>
                    </a:lnTo>
                    <a:lnTo>
                      <a:pt x="1796" y="1330"/>
                    </a:lnTo>
                    <a:lnTo>
                      <a:pt x="1794" y="1332"/>
                    </a:lnTo>
                    <a:lnTo>
                      <a:pt x="1794" y="1334"/>
                    </a:lnTo>
                    <a:lnTo>
                      <a:pt x="1792" y="1336"/>
                    </a:lnTo>
                    <a:lnTo>
                      <a:pt x="1790" y="1342"/>
                    </a:lnTo>
                    <a:lnTo>
                      <a:pt x="1790" y="1346"/>
                    </a:lnTo>
                    <a:lnTo>
                      <a:pt x="1788" y="1354"/>
                    </a:lnTo>
                    <a:lnTo>
                      <a:pt x="1788" y="1356"/>
                    </a:lnTo>
                    <a:lnTo>
                      <a:pt x="1786" y="1362"/>
                    </a:lnTo>
                    <a:lnTo>
                      <a:pt x="1786" y="1370"/>
                    </a:lnTo>
                    <a:lnTo>
                      <a:pt x="1786" y="1374"/>
                    </a:lnTo>
                    <a:lnTo>
                      <a:pt x="1786" y="1378"/>
                    </a:lnTo>
                    <a:lnTo>
                      <a:pt x="1786" y="1380"/>
                    </a:lnTo>
                    <a:lnTo>
                      <a:pt x="1786" y="1384"/>
                    </a:lnTo>
                    <a:lnTo>
                      <a:pt x="1786" y="1390"/>
                    </a:lnTo>
                    <a:lnTo>
                      <a:pt x="1786" y="1392"/>
                    </a:lnTo>
                    <a:lnTo>
                      <a:pt x="1784" y="1396"/>
                    </a:lnTo>
                    <a:lnTo>
                      <a:pt x="1784" y="1398"/>
                    </a:lnTo>
                    <a:lnTo>
                      <a:pt x="1778" y="1408"/>
                    </a:lnTo>
                    <a:lnTo>
                      <a:pt x="1776" y="1410"/>
                    </a:lnTo>
                    <a:lnTo>
                      <a:pt x="1772" y="1410"/>
                    </a:lnTo>
                    <a:lnTo>
                      <a:pt x="1772" y="1412"/>
                    </a:lnTo>
                    <a:lnTo>
                      <a:pt x="1770" y="1412"/>
                    </a:lnTo>
                    <a:lnTo>
                      <a:pt x="1768" y="1414"/>
                    </a:lnTo>
                    <a:lnTo>
                      <a:pt x="1766" y="1414"/>
                    </a:lnTo>
                    <a:lnTo>
                      <a:pt x="1766" y="1416"/>
                    </a:lnTo>
                    <a:lnTo>
                      <a:pt x="1758" y="1426"/>
                    </a:lnTo>
                    <a:lnTo>
                      <a:pt x="1756" y="1430"/>
                    </a:lnTo>
                    <a:lnTo>
                      <a:pt x="1754" y="1436"/>
                    </a:lnTo>
                    <a:lnTo>
                      <a:pt x="1754" y="1440"/>
                    </a:lnTo>
                    <a:lnTo>
                      <a:pt x="1750" y="1444"/>
                    </a:lnTo>
                    <a:lnTo>
                      <a:pt x="1748" y="1442"/>
                    </a:lnTo>
                    <a:lnTo>
                      <a:pt x="1744" y="1442"/>
                    </a:lnTo>
                    <a:lnTo>
                      <a:pt x="1744" y="1444"/>
                    </a:lnTo>
                    <a:lnTo>
                      <a:pt x="1742" y="1446"/>
                    </a:lnTo>
                    <a:lnTo>
                      <a:pt x="1744" y="1446"/>
                    </a:lnTo>
                    <a:lnTo>
                      <a:pt x="1748" y="1448"/>
                    </a:lnTo>
                    <a:lnTo>
                      <a:pt x="1744" y="1454"/>
                    </a:lnTo>
                    <a:lnTo>
                      <a:pt x="1742" y="1456"/>
                    </a:lnTo>
                    <a:lnTo>
                      <a:pt x="1738" y="1462"/>
                    </a:lnTo>
                    <a:lnTo>
                      <a:pt x="1738" y="1464"/>
                    </a:lnTo>
                    <a:lnTo>
                      <a:pt x="1726" y="1474"/>
                    </a:lnTo>
                    <a:lnTo>
                      <a:pt x="1724" y="1472"/>
                    </a:lnTo>
                    <a:lnTo>
                      <a:pt x="1720" y="1474"/>
                    </a:lnTo>
                    <a:lnTo>
                      <a:pt x="1718" y="1474"/>
                    </a:lnTo>
                    <a:lnTo>
                      <a:pt x="1716" y="1480"/>
                    </a:lnTo>
                    <a:lnTo>
                      <a:pt x="1714" y="1482"/>
                    </a:lnTo>
                    <a:lnTo>
                      <a:pt x="1714" y="1484"/>
                    </a:lnTo>
                    <a:lnTo>
                      <a:pt x="1714" y="1486"/>
                    </a:lnTo>
                    <a:lnTo>
                      <a:pt x="1712" y="1488"/>
                    </a:lnTo>
                    <a:lnTo>
                      <a:pt x="1712" y="1490"/>
                    </a:lnTo>
                    <a:lnTo>
                      <a:pt x="1710" y="1490"/>
                    </a:lnTo>
                    <a:lnTo>
                      <a:pt x="1706" y="1494"/>
                    </a:lnTo>
                    <a:lnTo>
                      <a:pt x="1706" y="1496"/>
                    </a:lnTo>
                    <a:lnTo>
                      <a:pt x="1704" y="1498"/>
                    </a:lnTo>
                    <a:lnTo>
                      <a:pt x="1704" y="1502"/>
                    </a:lnTo>
                    <a:lnTo>
                      <a:pt x="1700" y="1506"/>
                    </a:lnTo>
                    <a:lnTo>
                      <a:pt x="1700" y="1508"/>
                    </a:lnTo>
                    <a:lnTo>
                      <a:pt x="1698" y="1514"/>
                    </a:lnTo>
                    <a:lnTo>
                      <a:pt x="1700" y="1520"/>
                    </a:lnTo>
                    <a:lnTo>
                      <a:pt x="1700" y="1536"/>
                    </a:lnTo>
                    <a:lnTo>
                      <a:pt x="1700" y="1538"/>
                    </a:lnTo>
                    <a:lnTo>
                      <a:pt x="1698" y="1538"/>
                    </a:lnTo>
                    <a:lnTo>
                      <a:pt x="1698" y="1540"/>
                    </a:lnTo>
                    <a:lnTo>
                      <a:pt x="1696" y="1540"/>
                    </a:lnTo>
                    <a:lnTo>
                      <a:pt x="1686" y="1546"/>
                    </a:lnTo>
                    <a:lnTo>
                      <a:pt x="1684" y="1546"/>
                    </a:lnTo>
                    <a:lnTo>
                      <a:pt x="1682" y="1546"/>
                    </a:lnTo>
                    <a:lnTo>
                      <a:pt x="1678" y="1548"/>
                    </a:lnTo>
                    <a:lnTo>
                      <a:pt x="1676" y="1548"/>
                    </a:lnTo>
                    <a:lnTo>
                      <a:pt x="1668" y="1550"/>
                    </a:lnTo>
                    <a:lnTo>
                      <a:pt x="1666" y="1550"/>
                    </a:lnTo>
                    <a:lnTo>
                      <a:pt x="1664" y="1550"/>
                    </a:lnTo>
                    <a:lnTo>
                      <a:pt x="1662" y="1552"/>
                    </a:lnTo>
                    <a:lnTo>
                      <a:pt x="1660" y="1554"/>
                    </a:lnTo>
                    <a:lnTo>
                      <a:pt x="1656" y="1556"/>
                    </a:lnTo>
                    <a:lnTo>
                      <a:pt x="1650" y="1560"/>
                    </a:lnTo>
                    <a:lnTo>
                      <a:pt x="1644" y="1566"/>
                    </a:lnTo>
                    <a:lnTo>
                      <a:pt x="1642" y="1566"/>
                    </a:lnTo>
                    <a:lnTo>
                      <a:pt x="1642" y="1570"/>
                    </a:lnTo>
                    <a:lnTo>
                      <a:pt x="1642" y="1572"/>
                    </a:lnTo>
                    <a:lnTo>
                      <a:pt x="1642" y="1574"/>
                    </a:lnTo>
                    <a:lnTo>
                      <a:pt x="1642" y="1576"/>
                    </a:lnTo>
                    <a:lnTo>
                      <a:pt x="1640" y="1582"/>
                    </a:lnTo>
                    <a:lnTo>
                      <a:pt x="1638" y="1586"/>
                    </a:lnTo>
                    <a:lnTo>
                      <a:pt x="1630" y="1588"/>
                    </a:lnTo>
                    <a:lnTo>
                      <a:pt x="1616" y="1586"/>
                    </a:lnTo>
                    <a:lnTo>
                      <a:pt x="1610" y="1586"/>
                    </a:lnTo>
                    <a:lnTo>
                      <a:pt x="1608" y="1586"/>
                    </a:lnTo>
                    <a:lnTo>
                      <a:pt x="1606" y="1586"/>
                    </a:lnTo>
                    <a:lnTo>
                      <a:pt x="1604" y="1586"/>
                    </a:lnTo>
                    <a:lnTo>
                      <a:pt x="1590" y="1586"/>
                    </a:lnTo>
                    <a:lnTo>
                      <a:pt x="1584" y="1584"/>
                    </a:lnTo>
                    <a:lnTo>
                      <a:pt x="1582" y="1584"/>
                    </a:lnTo>
                    <a:lnTo>
                      <a:pt x="1582" y="1580"/>
                    </a:lnTo>
                    <a:lnTo>
                      <a:pt x="1584" y="1578"/>
                    </a:lnTo>
                    <a:lnTo>
                      <a:pt x="1586" y="1576"/>
                    </a:lnTo>
                    <a:lnTo>
                      <a:pt x="1588" y="1574"/>
                    </a:lnTo>
                    <a:lnTo>
                      <a:pt x="1588" y="1572"/>
                    </a:lnTo>
                    <a:lnTo>
                      <a:pt x="1588" y="1570"/>
                    </a:lnTo>
                    <a:lnTo>
                      <a:pt x="1586" y="1568"/>
                    </a:lnTo>
                    <a:lnTo>
                      <a:pt x="1576" y="1572"/>
                    </a:lnTo>
                    <a:lnTo>
                      <a:pt x="1574" y="1574"/>
                    </a:lnTo>
                    <a:lnTo>
                      <a:pt x="1576" y="1576"/>
                    </a:lnTo>
                    <a:lnTo>
                      <a:pt x="1576" y="1578"/>
                    </a:lnTo>
                    <a:lnTo>
                      <a:pt x="1580" y="1580"/>
                    </a:lnTo>
                    <a:lnTo>
                      <a:pt x="1580" y="1584"/>
                    </a:lnTo>
                    <a:lnTo>
                      <a:pt x="1578" y="1586"/>
                    </a:lnTo>
                    <a:lnTo>
                      <a:pt x="1576" y="1586"/>
                    </a:lnTo>
                    <a:lnTo>
                      <a:pt x="1572" y="1588"/>
                    </a:lnTo>
                    <a:lnTo>
                      <a:pt x="1570" y="1586"/>
                    </a:lnTo>
                    <a:lnTo>
                      <a:pt x="1568" y="1586"/>
                    </a:lnTo>
                    <a:lnTo>
                      <a:pt x="1554" y="1588"/>
                    </a:lnTo>
                    <a:lnTo>
                      <a:pt x="1540" y="1588"/>
                    </a:lnTo>
                    <a:lnTo>
                      <a:pt x="1538" y="1588"/>
                    </a:lnTo>
                    <a:lnTo>
                      <a:pt x="1536" y="1590"/>
                    </a:lnTo>
                    <a:lnTo>
                      <a:pt x="1534" y="1590"/>
                    </a:lnTo>
                    <a:lnTo>
                      <a:pt x="1536" y="1588"/>
                    </a:lnTo>
                    <a:lnTo>
                      <a:pt x="1536" y="1586"/>
                    </a:lnTo>
                    <a:lnTo>
                      <a:pt x="1542" y="1588"/>
                    </a:lnTo>
                    <a:lnTo>
                      <a:pt x="1546" y="1588"/>
                    </a:lnTo>
                    <a:lnTo>
                      <a:pt x="1548" y="1588"/>
                    </a:lnTo>
                    <a:lnTo>
                      <a:pt x="1552" y="1588"/>
                    </a:lnTo>
                    <a:lnTo>
                      <a:pt x="1556" y="1586"/>
                    </a:lnTo>
                    <a:lnTo>
                      <a:pt x="1550" y="1580"/>
                    </a:lnTo>
                    <a:lnTo>
                      <a:pt x="1544" y="1578"/>
                    </a:lnTo>
                    <a:lnTo>
                      <a:pt x="1534" y="1580"/>
                    </a:lnTo>
                    <a:lnTo>
                      <a:pt x="1534" y="1582"/>
                    </a:lnTo>
                    <a:lnTo>
                      <a:pt x="1532" y="1584"/>
                    </a:lnTo>
                    <a:lnTo>
                      <a:pt x="1530" y="1586"/>
                    </a:lnTo>
                    <a:lnTo>
                      <a:pt x="1526" y="1586"/>
                    </a:lnTo>
                    <a:lnTo>
                      <a:pt x="1524" y="1586"/>
                    </a:lnTo>
                    <a:lnTo>
                      <a:pt x="1520" y="1578"/>
                    </a:lnTo>
                    <a:lnTo>
                      <a:pt x="1518" y="1578"/>
                    </a:lnTo>
                    <a:lnTo>
                      <a:pt x="1516" y="1578"/>
                    </a:lnTo>
                    <a:lnTo>
                      <a:pt x="1516" y="1580"/>
                    </a:lnTo>
                    <a:lnTo>
                      <a:pt x="1512" y="1582"/>
                    </a:lnTo>
                    <a:lnTo>
                      <a:pt x="1510" y="1584"/>
                    </a:lnTo>
                    <a:lnTo>
                      <a:pt x="1506" y="1584"/>
                    </a:lnTo>
                    <a:lnTo>
                      <a:pt x="1504" y="1584"/>
                    </a:lnTo>
                    <a:lnTo>
                      <a:pt x="1502" y="1584"/>
                    </a:lnTo>
                    <a:lnTo>
                      <a:pt x="1500" y="1588"/>
                    </a:lnTo>
                    <a:lnTo>
                      <a:pt x="1498" y="1592"/>
                    </a:lnTo>
                    <a:lnTo>
                      <a:pt x="1498" y="1594"/>
                    </a:lnTo>
                    <a:lnTo>
                      <a:pt x="1502" y="1594"/>
                    </a:lnTo>
                    <a:lnTo>
                      <a:pt x="1506" y="1594"/>
                    </a:lnTo>
                    <a:lnTo>
                      <a:pt x="1508" y="1598"/>
                    </a:lnTo>
                    <a:lnTo>
                      <a:pt x="1504" y="1602"/>
                    </a:lnTo>
                    <a:lnTo>
                      <a:pt x="1502" y="1602"/>
                    </a:lnTo>
                    <a:lnTo>
                      <a:pt x="1502" y="1600"/>
                    </a:lnTo>
                    <a:lnTo>
                      <a:pt x="1496" y="1600"/>
                    </a:lnTo>
                    <a:lnTo>
                      <a:pt x="1496" y="1602"/>
                    </a:lnTo>
                    <a:lnTo>
                      <a:pt x="1490" y="1602"/>
                    </a:lnTo>
                    <a:lnTo>
                      <a:pt x="1488" y="1600"/>
                    </a:lnTo>
                    <a:lnTo>
                      <a:pt x="1486" y="1600"/>
                    </a:lnTo>
                    <a:lnTo>
                      <a:pt x="1482" y="1604"/>
                    </a:lnTo>
                    <a:lnTo>
                      <a:pt x="1480" y="1606"/>
                    </a:lnTo>
                    <a:lnTo>
                      <a:pt x="1482" y="1606"/>
                    </a:lnTo>
                    <a:lnTo>
                      <a:pt x="1478" y="1608"/>
                    </a:lnTo>
                    <a:lnTo>
                      <a:pt x="1468" y="1612"/>
                    </a:lnTo>
                    <a:lnTo>
                      <a:pt x="1460" y="1614"/>
                    </a:lnTo>
                    <a:lnTo>
                      <a:pt x="1460" y="1616"/>
                    </a:lnTo>
                    <a:lnTo>
                      <a:pt x="1458" y="1618"/>
                    </a:lnTo>
                    <a:lnTo>
                      <a:pt x="1460" y="1622"/>
                    </a:lnTo>
                    <a:lnTo>
                      <a:pt x="1460" y="1624"/>
                    </a:lnTo>
                    <a:lnTo>
                      <a:pt x="1458" y="1626"/>
                    </a:lnTo>
                    <a:lnTo>
                      <a:pt x="1454" y="1626"/>
                    </a:lnTo>
                    <a:lnTo>
                      <a:pt x="1452" y="1624"/>
                    </a:lnTo>
                    <a:lnTo>
                      <a:pt x="1448" y="1622"/>
                    </a:lnTo>
                    <a:lnTo>
                      <a:pt x="1446" y="1622"/>
                    </a:lnTo>
                    <a:lnTo>
                      <a:pt x="1438" y="1620"/>
                    </a:lnTo>
                    <a:lnTo>
                      <a:pt x="1434" y="1620"/>
                    </a:lnTo>
                    <a:lnTo>
                      <a:pt x="1430" y="1620"/>
                    </a:lnTo>
                    <a:lnTo>
                      <a:pt x="1424" y="1624"/>
                    </a:lnTo>
                    <a:lnTo>
                      <a:pt x="1422" y="1624"/>
                    </a:lnTo>
                    <a:lnTo>
                      <a:pt x="1416" y="1628"/>
                    </a:lnTo>
                    <a:lnTo>
                      <a:pt x="1418" y="1628"/>
                    </a:lnTo>
                    <a:lnTo>
                      <a:pt x="1420" y="1626"/>
                    </a:lnTo>
                    <a:lnTo>
                      <a:pt x="1422" y="1624"/>
                    </a:lnTo>
                    <a:lnTo>
                      <a:pt x="1420" y="1630"/>
                    </a:lnTo>
                    <a:lnTo>
                      <a:pt x="1418" y="1632"/>
                    </a:lnTo>
                    <a:lnTo>
                      <a:pt x="1412" y="1632"/>
                    </a:lnTo>
                    <a:lnTo>
                      <a:pt x="1414" y="1630"/>
                    </a:lnTo>
                    <a:lnTo>
                      <a:pt x="1412" y="1628"/>
                    </a:lnTo>
                    <a:lnTo>
                      <a:pt x="1408" y="1624"/>
                    </a:lnTo>
                    <a:lnTo>
                      <a:pt x="1406" y="1628"/>
                    </a:lnTo>
                    <a:lnTo>
                      <a:pt x="1406" y="1630"/>
                    </a:lnTo>
                    <a:lnTo>
                      <a:pt x="1404" y="1632"/>
                    </a:lnTo>
                    <a:lnTo>
                      <a:pt x="1396" y="1636"/>
                    </a:lnTo>
                    <a:lnTo>
                      <a:pt x="1384" y="1642"/>
                    </a:lnTo>
                    <a:lnTo>
                      <a:pt x="1380" y="1644"/>
                    </a:lnTo>
                    <a:lnTo>
                      <a:pt x="1378" y="1644"/>
                    </a:lnTo>
                    <a:lnTo>
                      <a:pt x="1378" y="1646"/>
                    </a:lnTo>
                    <a:lnTo>
                      <a:pt x="1376" y="1646"/>
                    </a:lnTo>
                    <a:lnTo>
                      <a:pt x="1376" y="1648"/>
                    </a:lnTo>
                    <a:lnTo>
                      <a:pt x="1374" y="1650"/>
                    </a:lnTo>
                    <a:lnTo>
                      <a:pt x="1362" y="1660"/>
                    </a:lnTo>
                    <a:lnTo>
                      <a:pt x="1356" y="1664"/>
                    </a:lnTo>
                    <a:lnTo>
                      <a:pt x="1350" y="1666"/>
                    </a:lnTo>
                    <a:lnTo>
                      <a:pt x="1348" y="1666"/>
                    </a:lnTo>
                    <a:lnTo>
                      <a:pt x="1344" y="1666"/>
                    </a:lnTo>
                    <a:lnTo>
                      <a:pt x="1342" y="1668"/>
                    </a:lnTo>
                    <a:lnTo>
                      <a:pt x="1334" y="1672"/>
                    </a:lnTo>
                    <a:lnTo>
                      <a:pt x="1330" y="1676"/>
                    </a:lnTo>
                    <a:lnTo>
                      <a:pt x="1328" y="1676"/>
                    </a:lnTo>
                    <a:lnTo>
                      <a:pt x="1320" y="1682"/>
                    </a:lnTo>
                    <a:lnTo>
                      <a:pt x="1318" y="1682"/>
                    </a:lnTo>
                    <a:lnTo>
                      <a:pt x="1316" y="1684"/>
                    </a:lnTo>
                    <a:lnTo>
                      <a:pt x="1318" y="1686"/>
                    </a:lnTo>
                    <a:lnTo>
                      <a:pt x="1320" y="1686"/>
                    </a:lnTo>
                    <a:lnTo>
                      <a:pt x="1322" y="1684"/>
                    </a:lnTo>
                    <a:lnTo>
                      <a:pt x="1324" y="1684"/>
                    </a:lnTo>
                    <a:lnTo>
                      <a:pt x="1324" y="1688"/>
                    </a:lnTo>
                    <a:lnTo>
                      <a:pt x="1322" y="1690"/>
                    </a:lnTo>
                    <a:lnTo>
                      <a:pt x="1318" y="169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4" name="Freeform 2093"/>
              <p:cNvSpPr>
                <a:spLocks/>
              </p:cNvSpPr>
              <p:nvPr/>
            </p:nvSpPr>
            <p:spPr bwMode="auto">
              <a:xfrm>
                <a:off x="3572" y="864"/>
                <a:ext cx="8" cy="4"/>
              </a:xfrm>
              <a:custGeom>
                <a:avLst/>
                <a:gdLst/>
                <a:ahLst/>
                <a:cxnLst>
                  <a:cxn ang="0">
                    <a:pos x="4" y="4"/>
                  </a:cxn>
                  <a:cxn ang="0">
                    <a:pos x="2" y="4"/>
                  </a:cxn>
                  <a:cxn ang="0">
                    <a:pos x="0" y="2"/>
                  </a:cxn>
                  <a:cxn ang="0">
                    <a:pos x="2" y="0"/>
                  </a:cxn>
                  <a:cxn ang="0">
                    <a:pos x="4" y="0"/>
                  </a:cxn>
                  <a:cxn ang="0">
                    <a:pos x="6" y="0"/>
                  </a:cxn>
                  <a:cxn ang="0">
                    <a:pos x="8" y="0"/>
                  </a:cxn>
                  <a:cxn ang="0">
                    <a:pos x="8" y="2"/>
                  </a:cxn>
                  <a:cxn ang="0">
                    <a:pos x="8" y="4"/>
                  </a:cxn>
                  <a:cxn ang="0">
                    <a:pos x="4" y="4"/>
                  </a:cxn>
                </a:cxnLst>
                <a:rect l="0" t="0" r="r" b="b"/>
                <a:pathLst>
                  <a:path w="8" h="4">
                    <a:moveTo>
                      <a:pt x="4" y="4"/>
                    </a:moveTo>
                    <a:lnTo>
                      <a:pt x="2" y="4"/>
                    </a:lnTo>
                    <a:lnTo>
                      <a:pt x="0" y="2"/>
                    </a:lnTo>
                    <a:lnTo>
                      <a:pt x="2" y="0"/>
                    </a:lnTo>
                    <a:lnTo>
                      <a:pt x="4" y="0"/>
                    </a:lnTo>
                    <a:lnTo>
                      <a:pt x="6" y="0"/>
                    </a:lnTo>
                    <a:lnTo>
                      <a:pt x="8" y="0"/>
                    </a:lnTo>
                    <a:lnTo>
                      <a:pt x="8" y="2"/>
                    </a:lnTo>
                    <a:lnTo>
                      <a:pt x="8" y="4"/>
                    </a:lnTo>
                    <a:lnTo>
                      <a:pt x="4"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5" name="Freeform 2094"/>
              <p:cNvSpPr>
                <a:spLocks/>
              </p:cNvSpPr>
              <p:nvPr/>
            </p:nvSpPr>
            <p:spPr bwMode="auto">
              <a:xfrm>
                <a:off x="3574" y="868"/>
                <a:ext cx="12" cy="14"/>
              </a:xfrm>
              <a:custGeom>
                <a:avLst/>
                <a:gdLst/>
                <a:ahLst/>
                <a:cxnLst>
                  <a:cxn ang="0">
                    <a:pos x="6" y="14"/>
                  </a:cxn>
                  <a:cxn ang="0">
                    <a:pos x="4" y="12"/>
                  </a:cxn>
                  <a:cxn ang="0">
                    <a:pos x="0" y="6"/>
                  </a:cxn>
                  <a:cxn ang="0">
                    <a:pos x="0" y="4"/>
                  </a:cxn>
                  <a:cxn ang="0">
                    <a:pos x="2" y="2"/>
                  </a:cxn>
                  <a:cxn ang="0">
                    <a:pos x="6" y="0"/>
                  </a:cxn>
                  <a:cxn ang="0">
                    <a:pos x="8" y="0"/>
                  </a:cxn>
                  <a:cxn ang="0">
                    <a:pos x="8" y="2"/>
                  </a:cxn>
                  <a:cxn ang="0">
                    <a:pos x="10" y="6"/>
                  </a:cxn>
                  <a:cxn ang="0">
                    <a:pos x="12" y="8"/>
                  </a:cxn>
                  <a:cxn ang="0">
                    <a:pos x="12" y="10"/>
                  </a:cxn>
                  <a:cxn ang="0">
                    <a:pos x="10" y="10"/>
                  </a:cxn>
                  <a:cxn ang="0">
                    <a:pos x="8" y="12"/>
                  </a:cxn>
                  <a:cxn ang="0">
                    <a:pos x="6" y="14"/>
                  </a:cxn>
                </a:cxnLst>
                <a:rect l="0" t="0" r="r" b="b"/>
                <a:pathLst>
                  <a:path w="12" h="14">
                    <a:moveTo>
                      <a:pt x="6" y="14"/>
                    </a:moveTo>
                    <a:lnTo>
                      <a:pt x="4" y="12"/>
                    </a:lnTo>
                    <a:lnTo>
                      <a:pt x="0" y="6"/>
                    </a:lnTo>
                    <a:lnTo>
                      <a:pt x="0" y="4"/>
                    </a:lnTo>
                    <a:lnTo>
                      <a:pt x="2" y="2"/>
                    </a:lnTo>
                    <a:lnTo>
                      <a:pt x="6" y="0"/>
                    </a:lnTo>
                    <a:lnTo>
                      <a:pt x="8" y="0"/>
                    </a:lnTo>
                    <a:lnTo>
                      <a:pt x="8" y="2"/>
                    </a:lnTo>
                    <a:lnTo>
                      <a:pt x="10" y="6"/>
                    </a:lnTo>
                    <a:lnTo>
                      <a:pt x="12" y="8"/>
                    </a:lnTo>
                    <a:lnTo>
                      <a:pt x="12" y="10"/>
                    </a:lnTo>
                    <a:lnTo>
                      <a:pt x="10" y="10"/>
                    </a:lnTo>
                    <a:lnTo>
                      <a:pt x="8" y="12"/>
                    </a:lnTo>
                    <a:lnTo>
                      <a:pt x="6"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6" name="Freeform 2095"/>
              <p:cNvSpPr>
                <a:spLocks/>
              </p:cNvSpPr>
              <p:nvPr/>
            </p:nvSpPr>
            <p:spPr bwMode="auto">
              <a:xfrm>
                <a:off x="3598" y="928"/>
                <a:ext cx="8" cy="6"/>
              </a:xfrm>
              <a:custGeom>
                <a:avLst/>
                <a:gdLst/>
                <a:ahLst/>
                <a:cxnLst>
                  <a:cxn ang="0">
                    <a:pos x="2" y="6"/>
                  </a:cxn>
                  <a:cxn ang="0">
                    <a:pos x="0" y="6"/>
                  </a:cxn>
                  <a:cxn ang="0">
                    <a:pos x="0" y="4"/>
                  </a:cxn>
                  <a:cxn ang="0">
                    <a:pos x="2" y="0"/>
                  </a:cxn>
                  <a:cxn ang="0">
                    <a:pos x="4" y="0"/>
                  </a:cxn>
                  <a:cxn ang="0">
                    <a:pos x="6" y="0"/>
                  </a:cxn>
                  <a:cxn ang="0">
                    <a:pos x="8" y="0"/>
                  </a:cxn>
                  <a:cxn ang="0">
                    <a:pos x="8" y="2"/>
                  </a:cxn>
                  <a:cxn ang="0">
                    <a:pos x="6" y="2"/>
                  </a:cxn>
                  <a:cxn ang="0">
                    <a:pos x="4" y="4"/>
                  </a:cxn>
                  <a:cxn ang="0">
                    <a:pos x="4" y="6"/>
                  </a:cxn>
                  <a:cxn ang="0">
                    <a:pos x="2" y="6"/>
                  </a:cxn>
                </a:cxnLst>
                <a:rect l="0" t="0" r="r" b="b"/>
                <a:pathLst>
                  <a:path w="8" h="6">
                    <a:moveTo>
                      <a:pt x="2" y="6"/>
                    </a:moveTo>
                    <a:lnTo>
                      <a:pt x="0" y="6"/>
                    </a:lnTo>
                    <a:lnTo>
                      <a:pt x="0" y="4"/>
                    </a:lnTo>
                    <a:lnTo>
                      <a:pt x="2" y="0"/>
                    </a:lnTo>
                    <a:lnTo>
                      <a:pt x="4" y="0"/>
                    </a:lnTo>
                    <a:lnTo>
                      <a:pt x="6" y="0"/>
                    </a:lnTo>
                    <a:lnTo>
                      <a:pt x="8" y="0"/>
                    </a:lnTo>
                    <a:lnTo>
                      <a:pt x="8" y="2"/>
                    </a:lnTo>
                    <a:lnTo>
                      <a:pt x="6" y="2"/>
                    </a:lnTo>
                    <a:lnTo>
                      <a:pt x="4" y="4"/>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7" name="Freeform 2096"/>
              <p:cNvSpPr>
                <a:spLocks/>
              </p:cNvSpPr>
              <p:nvPr/>
            </p:nvSpPr>
            <p:spPr bwMode="auto">
              <a:xfrm>
                <a:off x="3588" y="934"/>
                <a:ext cx="14" cy="12"/>
              </a:xfrm>
              <a:custGeom>
                <a:avLst/>
                <a:gdLst/>
                <a:ahLst/>
                <a:cxnLst>
                  <a:cxn ang="0">
                    <a:pos x="0" y="12"/>
                  </a:cxn>
                  <a:cxn ang="0">
                    <a:pos x="0" y="10"/>
                  </a:cxn>
                  <a:cxn ang="0">
                    <a:pos x="0" y="8"/>
                  </a:cxn>
                  <a:cxn ang="0">
                    <a:pos x="0" y="6"/>
                  </a:cxn>
                  <a:cxn ang="0">
                    <a:pos x="2" y="6"/>
                  </a:cxn>
                  <a:cxn ang="0">
                    <a:pos x="2" y="4"/>
                  </a:cxn>
                  <a:cxn ang="0">
                    <a:pos x="4" y="4"/>
                  </a:cxn>
                  <a:cxn ang="0">
                    <a:pos x="4" y="2"/>
                  </a:cxn>
                  <a:cxn ang="0">
                    <a:pos x="6" y="2"/>
                  </a:cxn>
                  <a:cxn ang="0">
                    <a:pos x="8" y="2"/>
                  </a:cxn>
                  <a:cxn ang="0">
                    <a:pos x="10" y="4"/>
                  </a:cxn>
                  <a:cxn ang="0">
                    <a:pos x="12" y="4"/>
                  </a:cxn>
                  <a:cxn ang="0">
                    <a:pos x="14" y="0"/>
                  </a:cxn>
                  <a:cxn ang="0">
                    <a:pos x="14" y="2"/>
                  </a:cxn>
                  <a:cxn ang="0">
                    <a:pos x="12" y="8"/>
                  </a:cxn>
                  <a:cxn ang="0">
                    <a:pos x="10" y="8"/>
                  </a:cxn>
                  <a:cxn ang="0">
                    <a:pos x="10" y="10"/>
                  </a:cxn>
                  <a:cxn ang="0">
                    <a:pos x="8" y="10"/>
                  </a:cxn>
                  <a:cxn ang="0">
                    <a:pos x="6" y="10"/>
                  </a:cxn>
                  <a:cxn ang="0">
                    <a:pos x="0" y="12"/>
                  </a:cxn>
                </a:cxnLst>
                <a:rect l="0" t="0" r="r" b="b"/>
                <a:pathLst>
                  <a:path w="14" h="12">
                    <a:moveTo>
                      <a:pt x="0" y="12"/>
                    </a:moveTo>
                    <a:lnTo>
                      <a:pt x="0" y="10"/>
                    </a:lnTo>
                    <a:lnTo>
                      <a:pt x="0" y="8"/>
                    </a:lnTo>
                    <a:lnTo>
                      <a:pt x="0" y="6"/>
                    </a:lnTo>
                    <a:lnTo>
                      <a:pt x="2" y="6"/>
                    </a:lnTo>
                    <a:lnTo>
                      <a:pt x="2" y="4"/>
                    </a:lnTo>
                    <a:lnTo>
                      <a:pt x="4" y="4"/>
                    </a:lnTo>
                    <a:lnTo>
                      <a:pt x="4" y="2"/>
                    </a:lnTo>
                    <a:lnTo>
                      <a:pt x="6" y="2"/>
                    </a:lnTo>
                    <a:lnTo>
                      <a:pt x="8" y="2"/>
                    </a:lnTo>
                    <a:lnTo>
                      <a:pt x="10" y="4"/>
                    </a:lnTo>
                    <a:lnTo>
                      <a:pt x="12" y="4"/>
                    </a:lnTo>
                    <a:lnTo>
                      <a:pt x="14" y="0"/>
                    </a:lnTo>
                    <a:lnTo>
                      <a:pt x="14" y="2"/>
                    </a:lnTo>
                    <a:lnTo>
                      <a:pt x="12" y="8"/>
                    </a:lnTo>
                    <a:lnTo>
                      <a:pt x="10" y="8"/>
                    </a:lnTo>
                    <a:lnTo>
                      <a:pt x="10" y="10"/>
                    </a:lnTo>
                    <a:lnTo>
                      <a:pt x="8" y="10"/>
                    </a:lnTo>
                    <a:lnTo>
                      <a:pt x="6" y="10"/>
                    </a:lnTo>
                    <a:lnTo>
                      <a:pt x="0"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8" name="Freeform 2097"/>
              <p:cNvSpPr>
                <a:spLocks/>
              </p:cNvSpPr>
              <p:nvPr/>
            </p:nvSpPr>
            <p:spPr bwMode="auto">
              <a:xfrm>
                <a:off x="3584" y="950"/>
                <a:ext cx="16" cy="16"/>
              </a:xfrm>
              <a:custGeom>
                <a:avLst/>
                <a:gdLst/>
                <a:ahLst/>
                <a:cxnLst>
                  <a:cxn ang="0">
                    <a:pos x="4" y="16"/>
                  </a:cxn>
                  <a:cxn ang="0">
                    <a:pos x="2" y="16"/>
                  </a:cxn>
                  <a:cxn ang="0">
                    <a:pos x="2" y="14"/>
                  </a:cxn>
                  <a:cxn ang="0">
                    <a:pos x="0" y="14"/>
                  </a:cxn>
                  <a:cxn ang="0">
                    <a:pos x="0" y="12"/>
                  </a:cxn>
                  <a:cxn ang="0">
                    <a:pos x="0" y="10"/>
                  </a:cxn>
                  <a:cxn ang="0">
                    <a:pos x="2" y="8"/>
                  </a:cxn>
                  <a:cxn ang="0">
                    <a:pos x="4" y="4"/>
                  </a:cxn>
                  <a:cxn ang="0">
                    <a:pos x="6" y="4"/>
                  </a:cxn>
                  <a:cxn ang="0">
                    <a:pos x="14" y="0"/>
                  </a:cxn>
                  <a:cxn ang="0">
                    <a:pos x="16" y="2"/>
                  </a:cxn>
                  <a:cxn ang="0">
                    <a:pos x="16" y="4"/>
                  </a:cxn>
                  <a:cxn ang="0">
                    <a:pos x="16" y="6"/>
                  </a:cxn>
                  <a:cxn ang="0">
                    <a:pos x="10" y="14"/>
                  </a:cxn>
                  <a:cxn ang="0">
                    <a:pos x="6" y="16"/>
                  </a:cxn>
                  <a:cxn ang="0">
                    <a:pos x="4" y="16"/>
                  </a:cxn>
                </a:cxnLst>
                <a:rect l="0" t="0" r="r" b="b"/>
                <a:pathLst>
                  <a:path w="16" h="16">
                    <a:moveTo>
                      <a:pt x="4" y="16"/>
                    </a:moveTo>
                    <a:lnTo>
                      <a:pt x="2" y="16"/>
                    </a:lnTo>
                    <a:lnTo>
                      <a:pt x="2" y="14"/>
                    </a:lnTo>
                    <a:lnTo>
                      <a:pt x="0" y="14"/>
                    </a:lnTo>
                    <a:lnTo>
                      <a:pt x="0" y="12"/>
                    </a:lnTo>
                    <a:lnTo>
                      <a:pt x="0" y="10"/>
                    </a:lnTo>
                    <a:lnTo>
                      <a:pt x="2" y="8"/>
                    </a:lnTo>
                    <a:lnTo>
                      <a:pt x="4" y="4"/>
                    </a:lnTo>
                    <a:lnTo>
                      <a:pt x="6" y="4"/>
                    </a:lnTo>
                    <a:lnTo>
                      <a:pt x="14" y="0"/>
                    </a:lnTo>
                    <a:lnTo>
                      <a:pt x="16" y="2"/>
                    </a:lnTo>
                    <a:lnTo>
                      <a:pt x="16" y="4"/>
                    </a:lnTo>
                    <a:lnTo>
                      <a:pt x="16" y="6"/>
                    </a:lnTo>
                    <a:lnTo>
                      <a:pt x="10" y="14"/>
                    </a:lnTo>
                    <a:lnTo>
                      <a:pt x="6" y="16"/>
                    </a:lnTo>
                    <a:lnTo>
                      <a:pt x="4"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49" name="Freeform 2098"/>
              <p:cNvSpPr>
                <a:spLocks/>
              </p:cNvSpPr>
              <p:nvPr/>
            </p:nvSpPr>
            <p:spPr bwMode="auto">
              <a:xfrm>
                <a:off x="3574" y="952"/>
                <a:ext cx="10" cy="24"/>
              </a:xfrm>
              <a:custGeom>
                <a:avLst/>
                <a:gdLst/>
                <a:ahLst/>
                <a:cxnLst>
                  <a:cxn ang="0">
                    <a:pos x="4" y="24"/>
                  </a:cxn>
                  <a:cxn ang="0">
                    <a:pos x="0" y="24"/>
                  </a:cxn>
                  <a:cxn ang="0">
                    <a:pos x="0" y="22"/>
                  </a:cxn>
                  <a:cxn ang="0">
                    <a:pos x="0" y="20"/>
                  </a:cxn>
                  <a:cxn ang="0">
                    <a:pos x="2" y="20"/>
                  </a:cxn>
                  <a:cxn ang="0">
                    <a:pos x="2" y="18"/>
                  </a:cxn>
                  <a:cxn ang="0">
                    <a:pos x="2" y="16"/>
                  </a:cxn>
                  <a:cxn ang="0">
                    <a:pos x="4" y="16"/>
                  </a:cxn>
                  <a:cxn ang="0">
                    <a:pos x="4" y="14"/>
                  </a:cxn>
                  <a:cxn ang="0">
                    <a:pos x="4" y="8"/>
                  </a:cxn>
                  <a:cxn ang="0">
                    <a:pos x="6" y="4"/>
                  </a:cxn>
                  <a:cxn ang="0">
                    <a:pos x="8" y="0"/>
                  </a:cxn>
                  <a:cxn ang="0">
                    <a:pos x="8" y="2"/>
                  </a:cxn>
                  <a:cxn ang="0">
                    <a:pos x="10" y="6"/>
                  </a:cxn>
                  <a:cxn ang="0">
                    <a:pos x="8" y="8"/>
                  </a:cxn>
                  <a:cxn ang="0">
                    <a:pos x="8" y="10"/>
                  </a:cxn>
                  <a:cxn ang="0">
                    <a:pos x="8" y="12"/>
                  </a:cxn>
                  <a:cxn ang="0">
                    <a:pos x="10" y="12"/>
                  </a:cxn>
                  <a:cxn ang="0">
                    <a:pos x="10" y="14"/>
                  </a:cxn>
                  <a:cxn ang="0">
                    <a:pos x="10" y="16"/>
                  </a:cxn>
                  <a:cxn ang="0">
                    <a:pos x="10" y="18"/>
                  </a:cxn>
                  <a:cxn ang="0">
                    <a:pos x="10" y="20"/>
                  </a:cxn>
                  <a:cxn ang="0">
                    <a:pos x="8" y="20"/>
                  </a:cxn>
                  <a:cxn ang="0">
                    <a:pos x="6" y="20"/>
                  </a:cxn>
                  <a:cxn ang="0">
                    <a:pos x="6" y="22"/>
                  </a:cxn>
                  <a:cxn ang="0">
                    <a:pos x="4" y="24"/>
                  </a:cxn>
                </a:cxnLst>
                <a:rect l="0" t="0" r="r" b="b"/>
                <a:pathLst>
                  <a:path w="10" h="24">
                    <a:moveTo>
                      <a:pt x="4" y="24"/>
                    </a:moveTo>
                    <a:lnTo>
                      <a:pt x="0" y="24"/>
                    </a:lnTo>
                    <a:lnTo>
                      <a:pt x="0" y="22"/>
                    </a:lnTo>
                    <a:lnTo>
                      <a:pt x="0" y="20"/>
                    </a:lnTo>
                    <a:lnTo>
                      <a:pt x="2" y="20"/>
                    </a:lnTo>
                    <a:lnTo>
                      <a:pt x="2" y="18"/>
                    </a:lnTo>
                    <a:lnTo>
                      <a:pt x="2" y="16"/>
                    </a:lnTo>
                    <a:lnTo>
                      <a:pt x="4" y="16"/>
                    </a:lnTo>
                    <a:lnTo>
                      <a:pt x="4" y="14"/>
                    </a:lnTo>
                    <a:lnTo>
                      <a:pt x="4" y="8"/>
                    </a:lnTo>
                    <a:lnTo>
                      <a:pt x="6" y="4"/>
                    </a:lnTo>
                    <a:lnTo>
                      <a:pt x="8" y="0"/>
                    </a:lnTo>
                    <a:lnTo>
                      <a:pt x="8" y="2"/>
                    </a:lnTo>
                    <a:lnTo>
                      <a:pt x="10" y="6"/>
                    </a:lnTo>
                    <a:lnTo>
                      <a:pt x="8" y="8"/>
                    </a:lnTo>
                    <a:lnTo>
                      <a:pt x="8" y="10"/>
                    </a:lnTo>
                    <a:lnTo>
                      <a:pt x="8" y="12"/>
                    </a:lnTo>
                    <a:lnTo>
                      <a:pt x="10" y="12"/>
                    </a:lnTo>
                    <a:lnTo>
                      <a:pt x="10" y="14"/>
                    </a:lnTo>
                    <a:lnTo>
                      <a:pt x="10" y="16"/>
                    </a:lnTo>
                    <a:lnTo>
                      <a:pt x="10" y="18"/>
                    </a:lnTo>
                    <a:lnTo>
                      <a:pt x="10" y="20"/>
                    </a:lnTo>
                    <a:lnTo>
                      <a:pt x="8" y="20"/>
                    </a:lnTo>
                    <a:lnTo>
                      <a:pt x="6" y="20"/>
                    </a:lnTo>
                    <a:lnTo>
                      <a:pt x="6" y="22"/>
                    </a:lnTo>
                    <a:lnTo>
                      <a:pt x="4" y="2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0" name="Freeform 2099"/>
              <p:cNvSpPr>
                <a:spLocks/>
              </p:cNvSpPr>
              <p:nvPr/>
            </p:nvSpPr>
            <p:spPr bwMode="auto">
              <a:xfrm>
                <a:off x="3580" y="966"/>
                <a:ext cx="42" cy="24"/>
              </a:xfrm>
              <a:custGeom>
                <a:avLst/>
                <a:gdLst/>
                <a:ahLst/>
                <a:cxnLst>
                  <a:cxn ang="0">
                    <a:pos x="22" y="24"/>
                  </a:cxn>
                  <a:cxn ang="0">
                    <a:pos x="20" y="20"/>
                  </a:cxn>
                  <a:cxn ang="0">
                    <a:pos x="18" y="20"/>
                  </a:cxn>
                  <a:cxn ang="0">
                    <a:pos x="16" y="18"/>
                  </a:cxn>
                  <a:cxn ang="0">
                    <a:pos x="14" y="18"/>
                  </a:cxn>
                  <a:cxn ang="0">
                    <a:pos x="12" y="18"/>
                  </a:cxn>
                  <a:cxn ang="0">
                    <a:pos x="10" y="18"/>
                  </a:cxn>
                  <a:cxn ang="0">
                    <a:pos x="8" y="18"/>
                  </a:cxn>
                  <a:cxn ang="0">
                    <a:pos x="6" y="18"/>
                  </a:cxn>
                  <a:cxn ang="0">
                    <a:pos x="4" y="18"/>
                  </a:cxn>
                  <a:cxn ang="0">
                    <a:pos x="2" y="18"/>
                  </a:cxn>
                  <a:cxn ang="0">
                    <a:pos x="0" y="14"/>
                  </a:cxn>
                  <a:cxn ang="0">
                    <a:pos x="0" y="10"/>
                  </a:cxn>
                  <a:cxn ang="0">
                    <a:pos x="2" y="8"/>
                  </a:cxn>
                  <a:cxn ang="0">
                    <a:pos x="6" y="8"/>
                  </a:cxn>
                  <a:cxn ang="0">
                    <a:pos x="8" y="8"/>
                  </a:cxn>
                  <a:cxn ang="0">
                    <a:pos x="12" y="8"/>
                  </a:cxn>
                  <a:cxn ang="0">
                    <a:pos x="14" y="8"/>
                  </a:cxn>
                  <a:cxn ang="0">
                    <a:pos x="16" y="6"/>
                  </a:cxn>
                  <a:cxn ang="0">
                    <a:pos x="18" y="4"/>
                  </a:cxn>
                  <a:cxn ang="0">
                    <a:pos x="20" y="4"/>
                  </a:cxn>
                  <a:cxn ang="0">
                    <a:pos x="22" y="4"/>
                  </a:cxn>
                  <a:cxn ang="0">
                    <a:pos x="24" y="4"/>
                  </a:cxn>
                  <a:cxn ang="0">
                    <a:pos x="28" y="2"/>
                  </a:cxn>
                  <a:cxn ang="0">
                    <a:pos x="32" y="2"/>
                  </a:cxn>
                  <a:cxn ang="0">
                    <a:pos x="36" y="2"/>
                  </a:cxn>
                  <a:cxn ang="0">
                    <a:pos x="36" y="0"/>
                  </a:cxn>
                  <a:cxn ang="0">
                    <a:pos x="38" y="0"/>
                  </a:cxn>
                  <a:cxn ang="0">
                    <a:pos x="38" y="2"/>
                  </a:cxn>
                  <a:cxn ang="0">
                    <a:pos x="40" y="2"/>
                  </a:cxn>
                  <a:cxn ang="0">
                    <a:pos x="40" y="4"/>
                  </a:cxn>
                  <a:cxn ang="0">
                    <a:pos x="42" y="4"/>
                  </a:cxn>
                  <a:cxn ang="0">
                    <a:pos x="42" y="6"/>
                  </a:cxn>
                  <a:cxn ang="0">
                    <a:pos x="42" y="8"/>
                  </a:cxn>
                  <a:cxn ang="0">
                    <a:pos x="40" y="8"/>
                  </a:cxn>
                  <a:cxn ang="0">
                    <a:pos x="40" y="10"/>
                  </a:cxn>
                  <a:cxn ang="0">
                    <a:pos x="38" y="10"/>
                  </a:cxn>
                  <a:cxn ang="0">
                    <a:pos x="34" y="12"/>
                  </a:cxn>
                  <a:cxn ang="0">
                    <a:pos x="32" y="14"/>
                  </a:cxn>
                  <a:cxn ang="0">
                    <a:pos x="30" y="16"/>
                  </a:cxn>
                  <a:cxn ang="0">
                    <a:pos x="30" y="18"/>
                  </a:cxn>
                  <a:cxn ang="0">
                    <a:pos x="28" y="18"/>
                  </a:cxn>
                  <a:cxn ang="0">
                    <a:pos x="28" y="20"/>
                  </a:cxn>
                  <a:cxn ang="0">
                    <a:pos x="28" y="22"/>
                  </a:cxn>
                  <a:cxn ang="0">
                    <a:pos x="26" y="22"/>
                  </a:cxn>
                  <a:cxn ang="0">
                    <a:pos x="22" y="24"/>
                  </a:cxn>
                </a:cxnLst>
                <a:rect l="0" t="0" r="r" b="b"/>
                <a:pathLst>
                  <a:path w="42" h="24">
                    <a:moveTo>
                      <a:pt x="22" y="24"/>
                    </a:moveTo>
                    <a:lnTo>
                      <a:pt x="20" y="20"/>
                    </a:lnTo>
                    <a:lnTo>
                      <a:pt x="18" y="20"/>
                    </a:lnTo>
                    <a:lnTo>
                      <a:pt x="16" y="18"/>
                    </a:lnTo>
                    <a:lnTo>
                      <a:pt x="14" y="18"/>
                    </a:lnTo>
                    <a:lnTo>
                      <a:pt x="12" y="18"/>
                    </a:lnTo>
                    <a:lnTo>
                      <a:pt x="10" y="18"/>
                    </a:lnTo>
                    <a:lnTo>
                      <a:pt x="8" y="18"/>
                    </a:lnTo>
                    <a:lnTo>
                      <a:pt x="6" y="18"/>
                    </a:lnTo>
                    <a:lnTo>
                      <a:pt x="4" y="18"/>
                    </a:lnTo>
                    <a:lnTo>
                      <a:pt x="2" y="18"/>
                    </a:lnTo>
                    <a:lnTo>
                      <a:pt x="0" y="14"/>
                    </a:lnTo>
                    <a:lnTo>
                      <a:pt x="0" y="10"/>
                    </a:lnTo>
                    <a:lnTo>
                      <a:pt x="2" y="8"/>
                    </a:lnTo>
                    <a:lnTo>
                      <a:pt x="6" y="8"/>
                    </a:lnTo>
                    <a:lnTo>
                      <a:pt x="8" y="8"/>
                    </a:lnTo>
                    <a:lnTo>
                      <a:pt x="12" y="8"/>
                    </a:lnTo>
                    <a:lnTo>
                      <a:pt x="14" y="8"/>
                    </a:lnTo>
                    <a:lnTo>
                      <a:pt x="16" y="6"/>
                    </a:lnTo>
                    <a:lnTo>
                      <a:pt x="18" y="4"/>
                    </a:lnTo>
                    <a:lnTo>
                      <a:pt x="20" y="4"/>
                    </a:lnTo>
                    <a:lnTo>
                      <a:pt x="22" y="4"/>
                    </a:lnTo>
                    <a:lnTo>
                      <a:pt x="24" y="4"/>
                    </a:lnTo>
                    <a:lnTo>
                      <a:pt x="28" y="2"/>
                    </a:lnTo>
                    <a:lnTo>
                      <a:pt x="32" y="2"/>
                    </a:lnTo>
                    <a:lnTo>
                      <a:pt x="36" y="2"/>
                    </a:lnTo>
                    <a:lnTo>
                      <a:pt x="36" y="0"/>
                    </a:lnTo>
                    <a:lnTo>
                      <a:pt x="38" y="0"/>
                    </a:lnTo>
                    <a:lnTo>
                      <a:pt x="38" y="2"/>
                    </a:lnTo>
                    <a:lnTo>
                      <a:pt x="40" y="2"/>
                    </a:lnTo>
                    <a:lnTo>
                      <a:pt x="40" y="4"/>
                    </a:lnTo>
                    <a:lnTo>
                      <a:pt x="42" y="4"/>
                    </a:lnTo>
                    <a:lnTo>
                      <a:pt x="42" y="6"/>
                    </a:lnTo>
                    <a:lnTo>
                      <a:pt x="42" y="8"/>
                    </a:lnTo>
                    <a:lnTo>
                      <a:pt x="40" y="8"/>
                    </a:lnTo>
                    <a:lnTo>
                      <a:pt x="40" y="10"/>
                    </a:lnTo>
                    <a:lnTo>
                      <a:pt x="38" y="10"/>
                    </a:lnTo>
                    <a:lnTo>
                      <a:pt x="34" y="12"/>
                    </a:lnTo>
                    <a:lnTo>
                      <a:pt x="32" y="14"/>
                    </a:lnTo>
                    <a:lnTo>
                      <a:pt x="30" y="16"/>
                    </a:lnTo>
                    <a:lnTo>
                      <a:pt x="30" y="18"/>
                    </a:lnTo>
                    <a:lnTo>
                      <a:pt x="28" y="18"/>
                    </a:lnTo>
                    <a:lnTo>
                      <a:pt x="28" y="20"/>
                    </a:lnTo>
                    <a:lnTo>
                      <a:pt x="28" y="22"/>
                    </a:lnTo>
                    <a:lnTo>
                      <a:pt x="26" y="22"/>
                    </a:lnTo>
                    <a:lnTo>
                      <a:pt x="22" y="2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1" name="Freeform 2100"/>
              <p:cNvSpPr>
                <a:spLocks/>
              </p:cNvSpPr>
              <p:nvPr/>
            </p:nvSpPr>
            <p:spPr bwMode="auto">
              <a:xfrm>
                <a:off x="3566" y="974"/>
                <a:ext cx="12" cy="14"/>
              </a:xfrm>
              <a:custGeom>
                <a:avLst/>
                <a:gdLst/>
                <a:ahLst/>
                <a:cxnLst>
                  <a:cxn ang="0">
                    <a:pos x="10" y="14"/>
                  </a:cxn>
                  <a:cxn ang="0">
                    <a:pos x="8" y="14"/>
                  </a:cxn>
                  <a:cxn ang="0">
                    <a:pos x="8" y="12"/>
                  </a:cxn>
                  <a:cxn ang="0">
                    <a:pos x="6" y="12"/>
                  </a:cxn>
                  <a:cxn ang="0">
                    <a:pos x="4" y="10"/>
                  </a:cxn>
                  <a:cxn ang="0">
                    <a:pos x="2" y="8"/>
                  </a:cxn>
                  <a:cxn ang="0">
                    <a:pos x="0" y="6"/>
                  </a:cxn>
                  <a:cxn ang="0">
                    <a:pos x="0" y="4"/>
                  </a:cxn>
                  <a:cxn ang="0">
                    <a:pos x="2" y="2"/>
                  </a:cxn>
                  <a:cxn ang="0">
                    <a:pos x="4" y="0"/>
                  </a:cxn>
                  <a:cxn ang="0">
                    <a:pos x="10" y="4"/>
                  </a:cxn>
                  <a:cxn ang="0">
                    <a:pos x="12" y="4"/>
                  </a:cxn>
                  <a:cxn ang="0">
                    <a:pos x="12" y="6"/>
                  </a:cxn>
                  <a:cxn ang="0">
                    <a:pos x="12" y="10"/>
                  </a:cxn>
                  <a:cxn ang="0">
                    <a:pos x="12" y="12"/>
                  </a:cxn>
                  <a:cxn ang="0">
                    <a:pos x="10" y="14"/>
                  </a:cxn>
                </a:cxnLst>
                <a:rect l="0" t="0" r="r" b="b"/>
                <a:pathLst>
                  <a:path w="12" h="14">
                    <a:moveTo>
                      <a:pt x="10" y="14"/>
                    </a:moveTo>
                    <a:lnTo>
                      <a:pt x="8" y="14"/>
                    </a:lnTo>
                    <a:lnTo>
                      <a:pt x="8" y="12"/>
                    </a:lnTo>
                    <a:lnTo>
                      <a:pt x="6" y="12"/>
                    </a:lnTo>
                    <a:lnTo>
                      <a:pt x="4" y="10"/>
                    </a:lnTo>
                    <a:lnTo>
                      <a:pt x="2" y="8"/>
                    </a:lnTo>
                    <a:lnTo>
                      <a:pt x="0" y="6"/>
                    </a:lnTo>
                    <a:lnTo>
                      <a:pt x="0" y="4"/>
                    </a:lnTo>
                    <a:lnTo>
                      <a:pt x="2" y="2"/>
                    </a:lnTo>
                    <a:lnTo>
                      <a:pt x="4" y="0"/>
                    </a:lnTo>
                    <a:lnTo>
                      <a:pt x="10" y="4"/>
                    </a:lnTo>
                    <a:lnTo>
                      <a:pt x="12" y="4"/>
                    </a:lnTo>
                    <a:lnTo>
                      <a:pt x="12" y="6"/>
                    </a:lnTo>
                    <a:lnTo>
                      <a:pt x="12" y="10"/>
                    </a:lnTo>
                    <a:lnTo>
                      <a:pt x="12" y="12"/>
                    </a:lnTo>
                    <a:lnTo>
                      <a:pt x="10"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2" name="Freeform 2101"/>
              <p:cNvSpPr>
                <a:spLocks/>
              </p:cNvSpPr>
              <p:nvPr/>
            </p:nvSpPr>
            <p:spPr bwMode="auto">
              <a:xfrm>
                <a:off x="3610" y="982"/>
                <a:ext cx="26" cy="12"/>
              </a:xfrm>
              <a:custGeom>
                <a:avLst/>
                <a:gdLst/>
                <a:ahLst/>
                <a:cxnLst>
                  <a:cxn ang="0">
                    <a:pos x="8" y="12"/>
                  </a:cxn>
                  <a:cxn ang="0">
                    <a:pos x="2" y="10"/>
                  </a:cxn>
                  <a:cxn ang="0">
                    <a:pos x="0" y="8"/>
                  </a:cxn>
                  <a:cxn ang="0">
                    <a:pos x="6" y="4"/>
                  </a:cxn>
                  <a:cxn ang="0">
                    <a:pos x="8" y="2"/>
                  </a:cxn>
                  <a:cxn ang="0">
                    <a:pos x="10" y="0"/>
                  </a:cxn>
                  <a:cxn ang="0">
                    <a:pos x="14" y="0"/>
                  </a:cxn>
                  <a:cxn ang="0">
                    <a:pos x="16" y="0"/>
                  </a:cxn>
                  <a:cxn ang="0">
                    <a:pos x="18" y="0"/>
                  </a:cxn>
                  <a:cxn ang="0">
                    <a:pos x="20" y="0"/>
                  </a:cxn>
                  <a:cxn ang="0">
                    <a:pos x="22" y="2"/>
                  </a:cxn>
                  <a:cxn ang="0">
                    <a:pos x="24" y="2"/>
                  </a:cxn>
                  <a:cxn ang="0">
                    <a:pos x="26" y="4"/>
                  </a:cxn>
                  <a:cxn ang="0">
                    <a:pos x="26" y="6"/>
                  </a:cxn>
                  <a:cxn ang="0">
                    <a:pos x="26" y="8"/>
                  </a:cxn>
                  <a:cxn ang="0">
                    <a:pos x="24" y="10"/>
                  </a:cxn>
                  <a:cxn ang="0">
                    <a:pos x="22" y="10"/>
                  </a:cxn>
                  <a:cxn ang="0">
                    <a:pos x="18" y="12"/>
                  </a:cxn>
                  <a:cxn ang="0">
                    <a:pos x="14" y="12"/>
                  </a:cxn>
                  <a:cxn ang="0">
                    <a:pos x="12" y="12"/>
                  </a:cxn>
                  <a:cxn ang="0">
                    <a:pos x="10" y="12"/>
                  </a:cxn>
                  <a:cxn ang="0">
                    <a:pos x="8" y="12"/>
                  </a:cxn>
                </a:cxnLst>
                <a:rect l="0" t="0" r="r" b="b"/>
                <a:pathLst>
                  <a:path w="26" h="12">
                    <a:moveTo>
                      <a:pt x="8" y="12"/>
                    </a:moveTo>
                    <a:lnTo>
                      <a:pt x="2" y="10"/>
                    </a:lnTo>
                    <a:lnTo>
                      <a:pt x="0" y="8"/>
                    </a:lnTo>
                    <a:lnTo>
                      <a:pt x="6" y="4"/>
                    </a:lnTo>
                    <a:lnTo>
                      <a:pt x="8" y="2"/>
                    </a:lnTo>
                    <a:lnTo>
                      <a:pt x="10" y="0"/>
                    </a:lnTo>
                    <a:lnTo>
                      <a:pt x="14" y="0"/>
                    </a:lnTo>
                    <a:lnTo>
                      <a:pt x="16" y="0"/>
                    </a:lnTo>
                    <a:lnTo>
                      <a:pt x="18" y="0"/>
                    </a:lnTo>
                    <a:lnTo>
                      <a:pt x="20" y="0"/>
                    </a:lnTo>
                    <a:lnTo>
                      <a:pt x="22" y="2"/>
                    </a:lnTo>
                    <a:lnTo>
                      <a:pt x="24" y="2"/>
                    </a:lnTo>
                    <a:lnTo>
                      <a:pt x="26" y="4"/>
                    </a:lnTo>
                    <a:lnTo>
                      <a:pt x="26" y="6"/>
                    </a:lnTo>
                    <a:lnTo>
                      <a:pt x="26" y="8"/>
                    </a:lnTo>
                    <a:lnTo>
                      <a:pt x="24" y="10"/>
                    </a:lnTo>
                    <a:lnTo>
                      <a:pt x="22" y="10"/>
                    </a:lnTo>
                    <a:lnTo>
                      <a:pt x="18" y="12"/>
                    </a:lnTo>
                    <a:lnTo>
                      <a:pt x="14" y="12"/>
                    </a:lnTo>
                    <a:lnTo>
                      <a:pt x="12" y="12"/>
                    </a:lnTo>
                    <a:lnTo>
                      <a:pt x="10" y="12"/>
                    </a:lnTo>
                    <a:lnTo>
                      <a:pt x="8"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3" name="Freeform 2102"/>
              <p:cNvSpPr>
                <a:spLocks/>
              </p:cNvSpPr>
              <p:nvPr/>
            </p:nvSpPr>
            <p:spPr bwMode="auto">
              <a:xfrm>
                <a:off x="3552" y="982"/>
                <a:ext cx="12" cy="6"/>
              </a:xfrm>
              <a:custGeom>
                <a:avLst/>
                <a:gdLst/>
                <a:ahLst/>
                <a:cxnLst>
                  <a:cxn ang="0">
                    <a:pos x="2" y="4"/>
                  </a:cxn>
                  <a:cxn ang="0">
                    <a:pos x="4" y="2"/>
                  </a:cxn>
                  <a:cxn ang="0">
                    <a:pos x="6" y="2"/>
                  </a:cxn>
                  <a:cxn ang="0">
                    <a:pos x="8" y="0"/>
                  </a:cxn>
                  <a:cxn ang="0">
                    <a:pos x="10" y="0"/>
                  </a:cxn>
                  <a:cxn ang="0">
                    <a:pos x="10" y="2"/>
                  </a:cxn>
                  <a:cxn ang="0">
                    <a:pos x="12" y="2"/>
                  </a:cxn>
                  <a:cxn ang="0">
                    <a:pos x="12" y="4"/>
                  </a:cxn>
                  <a:cxn ang="0">
                    <a:pos x="10" y="4"/>
                  </a:cxn>
                  <a:cxn ang="0">
                    <a:pos x="6" y="6"/>
                  </a:cxn>
                  <a:cxn ang="0">
                    <a:pos x="4" y="6"/>
                  </a:cxn>
                  <a:cxn ang="0">
                    <a:pos x="2" y="6"/>
                  </a:cxn>
                  <a:cxn ang="0">
                    <a:pos x="0" y="6"/>
                  </a:cxn>
                  <a:cxn ang="0">
                    <a:pos x="0" y="4"/>
                  </a:cxn>
                  <a:cxn ang="0">
                    <a:pos x="2" y="4"/>
                  </a:cxn>
                </a:cxnLst>
                <a:rect l="0" t="0" r="r" b="b"/>
                <a:pathLst>
                  <a:path w="12" h="6">
                    <a:moveTo>
                      <a:pt x="2" y="4"/>
                    </a:moveTo>
                    <a:lnTo>
                      <a:pt x="4" y="2"/>
                    </a:lnTo>
                    <a:lnTo>
                      <a:pt x="6" y="2"/>
                    </a:lnTo>
                    <a:lnTo>
                      <a:pt x="8" y="0"/>
                    </a:lnTo>
                    <a:lnTo>
                      <a:pt x="10" y="0"/>
                    </a:lnTo>
                    <a:lnTo>
                      <a:pt x="10" y="2"/>
                    </a:lnTo>
                    <a:lnTo>
                      <a:pt x="12" y="2"/>
                    </a:lnTo>
                    <a:lnTo>
                      <a:pt x="12" y="4"/>
                    </a:lnTo>
                    <a:lnTo>
                      <a:pt x="10" y="4"/>
                    </a:lnTo>
                    <a:lnTo>
                      <a:pt x="6" y="6"/>
                    </a:lnTo>
                    <a:lnTo>
                      <a:pt x="4" y="6"/>
                    </a:lnTo>
                    <a:lnTo>
                      <a:pt x="2" y="6"/>
                    </a:lnTo>
                    <a:lnTo>
                      <a:pt x="0" y="6"/>
                    </a:lnTo>
                    <a:lnTo>
                      <a:pt x="0" y="4"/>
                    </a:lnTo>
                    <a:lnTo>
                      <a:pt x="2" y="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4" name="Freeform 2103"/>
              <p:cNvSpPr>
                <a:spLocks/>
              </p:cNvSpPr>
              <p:nvPr/>
            </p:nvSpPr>
            <p:spPr bwMode="auto">
              <a:xfrm>
                <a:off x="3546" y="986"/>
                <a:ext cx="26" cy="16"/>
              </a:xfrm>
              <a:custGeom>
                <a:avLst/>
                <a:gdLst/>
                <a:ahLst/>
                <a:cxnLst>
                  <a:cxn ang="0">
                    <a:pos x="10" y="16"/>
                  </a:cxn>
                  <a:cxn ang="0">
                    <a:pos x="8" y="16"/>
                  </a:cxn>
                  <a:cxn ang="0">
                    <a:pos x="6" y="16"/>
                  </a:cxn>
                  <a:cxn ang="0">
                    <a:pos x="0" y="14"/>
                  </a:cxn>
                  <a:cxn ang="0">
                    <a:pos x="0" y="12"/>
                  </a:cxn>
                  <a:cxn ang="0">
                    <a:pos x="0" y="10"/>
                  </a:cxn>
                  <a:cxn ang="0">
                    <a:pos x="0" y="8"/>
                  </a:cxn>
                  <a:cxn ang="0">
                    <a:pos x="2" y="8"/>
                  </a:cxn>
                  <a:cxn ang="0">
                    <a:pos x="2" y="6"/>
                  </a:cxn>
                  <a:cxn ang="0">
                    <a:pos x="4" y="4"/>
                  </a:cxn>
                  <a:cxn ang="0">
                    <a:pos x="6" y="4"/>
                  </a:cxn>
                  <a:cxn ang="0">
                    <a:pos x="10" y="4"/>
                  </a:cxn>
                  <a:cxn ang="0">
                    <a:pos x="14" y="2"/>
                  </a:cxn>
                  <a:cxn ang="0">
                    <a:pos x="16" y="2"/>
                  </a:cxn>
                  <a:cxn ang="0">
                    <a:pos x="16" y="0"/>
                  </a:cxn>
                  <a:cxn ang="0">
                    <a:pos x="18" y="0"/>
                  </a:cxn>
                  <a:cxn ang="0">
                    <a:pos x="22" y="0"/>
                  </a:cxn>
                  <a:cxn ang="0">
                    <a:pos x="26" y="2"/>
                  </a:cxn>
                  <a:cxn ang="0">
                    <a:pos x="26" y="4"/>
                  </a:cxn>
                  <a:cxn ang="0">
                    <a:pos x="20" y="10"/>
                  </a:cxn>
                  <a:cxn ang="0">
                    <a:pos x="18" y="10"/>
                  </a:cxn>
                  <a:cxn ang="0">
                    <a:pos x="16" y="10"/>
                  </a:cxn>
                  <a:cxn ang="0">
                    <a:pos x="14" y="12"/>
                  </a:cxn>
                  <a:cxn ang="0">
                    <a:pos x="12" y="14"/>
                  </a:cxn>
                  <a:cxn ang="0">
                    <a:pos x="10" y="16"/>
                  </a:cxn>
                </a:cxnLst>
                <a:rect l="0" t="0" r="r" b="b"/>
                <a:pathLst>
                  <a:path w="26" h="16">
                    <a:moveTo>
                      <a:pt x="10" y="16"/>
                    </a:moveTo>
                    <a:lnTo>
                      <a:pt x="8" y="16"/>
                    </a:lnTo>
                    <a:lnTo>
                      <a:pt x="6" y="16"/>
                    </a:lnTo>
                    <a:lnTo>
                      <a:pt x="0" y="14"/>
                    </a:lnTo>
                    <a:lnTo>
                      <a:pt x="0" y="12"/>
                    </a:lnTo>
                    <a:lnTo>
                      <a:pt x="0" y="10"/>
                    </a:lnTo>
                    <a:lnTo>
                      <a:pt x="0" y="8"/>
                    </a:lnTo>
                    <a:lnTo>
                      <a:pt x="2" y="8"/>
                    </a:lnTo>
                    <a:lnTo>
                      <a:pt x="2" y="6"/>
                    </a:lnTo>
                    <a:lnTo>
                      <a:pt x="4" y="4"/>
                    </a:lnTo>
                    <a:lnTo>
                      <a:pt x="6" y="4"/>
                    </a:lnTo>
                    <a:lnTo>
                      <a:pt x="10" y="4"/>
                    </a:lnTo>
                    <a:lnTo>
                      <a:pt x="14" y="2"/>
                    </a:lnTo>
                    <a:lnTo>
                      <a:pt x="16" y="2"/>
                    </a:lnTo>
                    <a:lnTo>
                      <a:pt x="16" y="0"/>
                    </a:lnTo>
                    <a:lnTo>
                      <a:pt x="18" y="0"/>
                    </a:lnTo>
                    <a:lnTo>
                      <a:pt x="22" y="0"/>
                    </a:lnTo>
                    <a:lnTo>
                      <a:pt x="26" y="2"/>
                    </a:lnTo>
                    <a:lnTo>
                      <a:pt x="26" y="4"/>
                    </a:lnTo>
                    <a:lnTo>
                      <a:pt x="20" y="10"/>
                    </a:lnTo>
                    <a:lnTo>
                      <a:pt x="18" y="10"/>
                    </a:lnTo>
                    <a:lnTo>
                      <a:pt x="16" y="10"/>
                    </a:lnTo>
                    <a:lnTo>
                      <a:pt x="14" y="12"/>
                    </a:lnTo>
                    <a:lnTo>
                      <a:pt x="12" y="14"/>
                    </a:lnTo>
                    <a:lnTo>
                      <a:pt x="10" y="16"/>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5" name="Freeform 2104"/>
              <p:cNvSpPr>
                <a:spLocks/>
              </p:cNvSpPr>
              <p:nvPr/>
            </p:nvSpPr>
            <p:spPr bwMode="auto">
              <a:xfrm>
                <a:off x="3558" y="992"/>
                <a:ext cx="132" cy="96"/>
              </a:xfrm>
              <a:custGeom>
                <a:avLst/>
                <a:gdLst/>
                <a:ahLst/>
                <a:cxnLst>
                  <a:cxn ang="0">
                    <a:pos x="100" y="80"/>
                  </a:cxn>
                  <a:cxn ang="0">
                    <a:pos x="78" y="86"/>
                  </a:cxn>
                  <a:cxn ang="0">
                    <a:pos x="68" y="88"/>
                  </a:cxn>
                  <a:cxn ang="0">
                    <a:pos x="58" y="90"/>
                  </a:cxn>
                  <a:cxn ang="0">
                    <a:pos x="56" y="86"/>
                  </a:cxn>
                  <a:cxn ang="0">
                    <a:pos x="58" y="88"/>
                  </a:cxn>
                  <a:cxn ang="0">
                    <a:pos x="58" y="92"/>
                  </a:cxn>
                  <a:cxn ang="0">
                    <a:pos x="54" y="94"/>
                  </a:cxn>
                  <a:cxn ang="0">
                    <a:pos x="48" y="92"/>
                  </a:cxn>
                  <a:cxn ang="0">
                    <a:pos x="40" y="88"/>
                  </a:cxn>
                  <a:cxn ang="0">
                    <a:pos x="38" y="92"/>
                  </a:cxn>
                  <a:cxn ang="0">
                    <a:pos x="24" y="96"/>
                  </a:cxn>
                  <a:cxn ang="0">
                    <a:pos x="12" y="94"/>
                  </a:cxn>
                  <a:cxn ang="0">
                    <a:pos x="8" y="90"/>
                  </a:cxn>
                  <a:cxn ang="0">
                    <a:pos x="6" y="82"/>
                  </a:cxn>
                  <a:cxn ang="0">
                    <a:pos x="2" y="76"/>
                  </a:cxn>
                  <a:cxn ang="0">
                    <a:pos x="0" y="68"/>
                  </a:cxn>
                  <a:cxn ang="0">
                    <a:pos x="4" y="56"/>
                  </a:cxn>
                  <a:cxn ang="0">
                    <a:pos x="8" y="58"/>
                  </a:cxn>
                  <a:cxn ang="0">
                    <a:pos x="14" y="56"/>
                  </a:cxn>
                  <a:cxn ang="0">
                    <a:pos x="8" y="54"/>
                  </a:cxn>
                  <a:cxn ang="0">
                    <a:pos x="2" y="52"/>
                  </a:cxn>
                  <a:cxn ang="0">
                    <a:pos x="2" y="46"/>
                  </a:cxn>
                  <a:cxn ang="0">
                    <a:pos x="4" y="28"/>
                  </a:cxn>
                  <a:cxn ang="0">
                    <a:pos x="12" y="32"/>
                  </a:cxn>
                  <a:cxn ang="0">
                    <a:pos x="12" y="30"/>
                  </a:cxn>
                  <a:cxn ang="0">
                    <a:pos x="8" y="28"/>
                  </a:cxn>
                  <a:cxn ang="0">
                    <a:pos x="6" y="24"/>
                  </a:cxn>
                  <a:cxn ang="0">
                    <a:pos x="6" y="16"/>
                  </a:cxn>
                  <a:cxn ang="0">
                    <a:pos x="8" y="10"/>
                  </a:cxn>
                  <a:cxn ang="0">
                    <a:pos x="12" y="6"/>
                  </a:cxn>
                  <a:cxn ang="0">
                    <a:pos x="16" y="2"/>
                  </a:cxn>
                  <a:cxn ang="0">
                    <a:pos x="20" y="0"/>
                  </a:cxn>
                  <a:cxn ang="0">
                    <a:pos x="24" y="0"/>
                  </a:cxn>
                  <a:cxn ang="0">
                    <a:pos x="36" y="2"/>
                  </a:cxn>
                  <a:cxn ang="0">
                    <a:pos x="54" y="6"/>
                  </a:cxn>
                  <a:cxn ang="0">
                    <a:pos x="64" y="8"/>
                  </a:cxn>
                  <a:cxn ang="0">
                    <a:pos x="78" y="6"/>
                  </a:cxn>
                  <a:cxn ang="0">
                    <a:pos x="80" y="2"/>
                  </a:cxn>
                  <a:cxn ang="0">
                    <a:pos x="90" y="2"/>
                  </a:cxn>
                  <a:cxn ang="0">
                    <a:pos x="108" y="6"/>
                  </a:cxn>
                  <a:cxn ang="0">
                    <a:pos x="130" y="10"/>
                  </a:cxn>
                  <a:cxn ang="0">
                    <a:pos x="132" y="12"/>
                  </a:cxn>
                  <a:cxn ang="0">
                    <a:pos x="132" y="16"/>
                  </a:cxn>
                  <a:cxn ang="0">
                    <a:pos x="128" y="24"/>
                  </a:cxn>
                  <a:cxn ang="0">
                    <a:pos x="126" y="32"/>
                  </a:cxn>
                  <a:cxn ang="0">
                    <a:pos x="124" y="42"/>
                  </a:cxn>
                  <a:cxn ang="0">
                    <a:pos x="122" y="46"/>
                  </a:cxn>
                  <a:cxn ang="0">
                    <a:pos x="118" y="46"/>
                  </a:cxn>
                  <a:cxn ang="0">
                    <a:pos x="118" y="50"/>
                  </a:cxn>
                  <a:cxn ang="0">
                    <a:pos x="118" y="54"/>
                  </a:cxn>
                  <a:cxn ang="0">
                    <a:pos x="106" y="76"/>
                  </a:cxn>
                </a:cxnLst>
                <a:rect l="0" t="0" r="r" b="b"/>
                <a:pathLst>
                  <a:path w="132" h="96">
                    <a:moveTo>
                      <a:pt x="104" y="78"/>
                    </a:moveTo>
                    <a:lnTo>
                      <a:pt x="100" y="80"/>
                    </a:lnTo>
                    <a:lnTo>
                      <a:pt x="90" y="84"/>
                    </a:lnTo>
                    <a:lnTo>
                      <a:pt x="78" y="86"/>
                    </a:lnTo>
                    <a:lnTo>
                      <a:pt x="70" y="84"/>
                    </a:lnTo>
                    <a:lnTo>
                      <a:pt x="68" y="88"/>
                    </a:lnTo>
                    <a:lnTo>
                      <a:pt x="62" y="92"/>
                    </a:lnTo>
                    <a:lnTo>
                      <a:pt x="58" y="90"/>
                    </a:lnTo>
                    <a:lnTo>
                      <a:pt x="58" y="84"/>
                    </a:lnTo>
                    <a:lnTo>
                      <a:pt x="56" y="86"/>
                    </a:lnTo>
                    <a:lnTo>
                      <a:pt x="56" y="88"/>
                    </a:lnTo>
                    <a:lnTo>
                      <a:pt x="58" y="88"/>
                    </a:lnTo>
                    <a:lnTo>
                      <a:pt x="58" y="90"/>
                    </a:lnTo>
                    <a:lnTo>
                      <a:pt x="58" y="92"/>
                    </a:lnTo>
                    <a:lnTo>
                      <a:pt x="56" y="94"/>
                    </a:lnTo>
                    <a:lnTo>
                      <a:pt x="54" y="94"/>
                    </a:lnTo>
                    <a:lnTo>
                      <a:pt x="50" y="94"/>
                    </a:lnTo>
                    <a:lnTo>
                      <a:pt x="48" y="92"/>
                    </a:lnTo>
                    <a:lnTo>
                      <a:pt x="46" y="92"/>
                    </a:lnTo>
                    <a:lnTo>
                      <a:pt x="40" y="88"/>
                    </a:lnTo>
                    <a:lnTo>
                      <a:pt x="40" y="90"/>
                    </a:lnTo>
                    <a:lnTo>
                      <a:pt x="38" y="92"/>
                    </a:lnTo>
                    <a:lnTo>
                      <a:pt x="28" y="96"/>
                    </a:lnTo>
                    <a:lnTo>
                      <a:pt x="24" y="96"/>
                    </a:lnTo>
                    <a:lnTo>
                      <a:pt x="20" y="96"/>
                    </a:lnTo>
                    <a:lnTo>
                      <a:pt x="12" y="94"/>
                    </a:lnTo>
                    <a:lnTo>
                      <a:pt x="10" y="92"/>
                    </a:lnTo>
                    <a:lnTo>
                      <a:pt x="8" y="90"/>
                    </a:lnTo>
                    <a:lnTo>
                      <a:pt x="8" y="84"/>
                    </a:lnTo>
                    <a:lnTo>
                      <a:pt x="6" y="82"/>
                    </a:lnTo>
                    <a:lnTo>
                      <a:pt x="4" y="80"/>
                    </a:lnTo>
                    <a:lnTo>
                      <a:pt x="2" y="76"/>
                    </a:lnTo>
                    <a:lnTo>
                      <a:pt x="0" y="74"/>
                    </a:lnTo>
                    <a:lnTo>
                      <a:pt x="0" y="68"/>
                    </a:lnTo>
                    <a:lnTo>
                      <a:pt x="2" y="58"/>
                    </a:lnTo>
                    <a:lnTo>
                      <a:pt x="4" y="56"/>
                    </a:lnTo>
                    <a:lnTo>
                      <a:pt x="6" y="58"/>
                    </a:lnTo>
                    <a:lnTo>
                      <a:pt x="8" y="58"/>
                    </a:lnTo>
                    <a:lnTo>
                      <a:pt x="10" y="58"/>
                    </a:lnTo>
                    <a:lnTo>
                      <a:pt x="14" y="56"/>
                    </a:lnTo>
                    <a:lnTo>
                      <a:pt x="14" y="52"/>
                    </a:lnTo>
                    <a:lnTo>
                      <a:pt x="8" y="54"/>
                    </a:lnTo>
                    <a:lnTo>
                      <a:pt x="4" y="54"/>
                    </a:lnTo>
                    <a:lnTo>
                      <a:pt x="2" y="52"/>
                    </a:lnTo>
                    <a:lnTo>
                      <a:pt x="2" y="48"/>
                    </a:lnTo>
                    <a:lnTo>
                      <a:pt x="2" y="46"/>
                    </a:lnTo>
                    <a:lnTo>
                      <a:pt x="2" y="30"/>
                    </a:lnTo>
                    <a:lnTo>
                      <a:pt x="4" y="28"/>
                    </a:lnTo>
                    <a:lnTo>
                      <a:pt x="6" y="30"/>
                    </a:lnTo>
                    <a:lnTo>
                      <a:pt x="12" y="32"/>
                    </a:lnTo>
                    <a:lnTo>
                      <a:pt x="14" y="32"/>
                    </a:lnTo>
                    <a:lnTo>
                      <a:pt x="12" y="30"/>
                    </a:lnTo>
                    <a:lnTo>
                      <a:pt x="10" y="30"/>
                    </a:lnTo>
                    <a:lnTo>
                      <a:pt x="8" y="28"/>
                    </a:lnTo>
                    <a:lnTo>
                      <a:pt x="6" y="28"/>
                    </a:lnTo>
                    <a:lnTo>
                      <a:pt x="6" y="24"/>
                    </a:lnTo>
                    <a:lnTo>
                      <a:pt x="4" y="22"/>
                    </a:lnTo>
                    <a:lnTo>
                      <a:pt x="6" y="16"/>
                    </a:lnTo>
                    <a:lnTo>
                      <a:pt x="6" y="14"/>
                    </a:lnTo>
                    <a:lnTo>
                      <a:pt x="8" y="10"/>
                    </a:lnTo>
                    <a:lnTo>
                      <a:pt x="8" y="8"/>
                    </a:lnTo>
                    <a:lnTo>
                      <a:pt x="12" y="6"/>
                    </a:lnTo>
                    <a:lnTo>
                      <a:pt x="14" y="4"/>
                    </a:lnTo>
                    <a:lnTo>
                      <a:pt x="16" y="2"/>
                    </a:lnTo>
                    <a:lnTo>
                      <a:pt x="18" y="2"/>
                    </a:lnTo>
                    <a:lnTo>
                      <a:pt x="20" y="0"/>
                    </a:lnTo>
                    <a:lnTo>
                      <a:pt x="22" y="0"/>
                    </a:lnTo>
                    <a:lnTo>
                      <a:pt x="24" y="0"/>
                    </a:lnTo>
                    <a:lnTo>
                      <a:pt x="26" y="0"/>
                    </a:lnTo>
                    <a:lnTo>
                      <a:pt x="36" y="2"/>
                    </a:lnTo>
                    <a:lnTo>
                      <a:pt x="38" y="2"/>
                    </a:lnTo>
                    <a:lnTo>
                      <a:pt x="54" y="6"/>
                    </a:lnTo>
                    <a:lnTo>
                      <a:pt x="60" y="6"/>
                    </a:lnTo>
                    <a:lnTo>
                      <a:pt x="64" y="8"/>
                    </a:lnTo>
                    <a:lnTo>
                      <a:pt x="76" y="6"/>
                    </a:lnTo>
                    <a:lnTo>
                      <a:pt x="78" y="6"/>
                    </a:lnTo>
                    <a:lnTo>
                      <a:pt x="78" y="4"/>
                    </a:lnTo>
                    <a:lnTo>
                      <a:pt x="80" y="2"/>
                    </a:lnTo>
                    <a:lnTo>
                      <a:pt x="88" y="2"/>
                    </a:lnTo>
                    <a:lnTo>
                      <a:pt x="90" y="2"/>
                    </a:lnTo>
                    <a:lnTo>
                      <a:pt x="98" y="2"/>
                    </a:lnTo>
                    <a:lnTo>
                      <a:pt x="108" y="6"/>
                    </a:lnTo>
                    <a:lnTo>
                      <a:pt x="118" y="6"/>
                    </a:lnTo>
                    <a:lnTo>
                      <a:pt x="130" y="10"/>
                    </a:lnTo>
                    <a:lnTo>
                      <a:pt x="132" y="10"/>
                    </a:lnTo>
                    <a:lnTo>
                      <a:pt x="132" y="12"/>
                    </a:lnTo>
                    <a:lnTo>
                      <a:pt x="132" y="14"/>
                    </a:lnTo>
                    <a:lnTo>
                      <a:pt x="132" y="16"/>
                    </a:lnTo>
                    <a:lnTo>
                      <a:pt x="130" y="18"/>
                    </a:lnTo>
                    <a:lnTo>
                      <a:pt x="128" y="24"/>
                    </a:lnTo>
                    <a:lnTo>
                      <a:pt x="128" y="28"/>
                    </a:lnTo>
                    <a:lnTo>
                      <a:pt x="126" y="32"/>
                    </a:lnTo>
                    <a:lnTo>
                      <a:pt x="126" y="34"/>
                    </a:lnTo>
                    <a:lnTo>
                      <a:pt x="124" y="42"/>
                    </a:lnTo>
                    <a:lnTo>
                      <a:pt x="124" y="44"/>
                    </a:lnTo>
                    <a:lnTo>
                      <a:pt x="122" y="46"/>
                    </a:lnTo>
                    <a:lnTo>
                      <a:pt x="120" y="46"/>
                    </a:lnTo>
                    <a:lnTo>
                      <a:pt x="118" y="46"/>
                    </a:lnTo>
                    <a:lnTo>
                      <a:pt x="118" y="48"/>
                    </a:lnTo>
                    <a:lnTo>
                      <a:pt x="118" y="50"/>
                    </a:lnTo>
                    <a:lnTo>
                      <a:pt x="118" y="52"/>
                    </a:lnTo>
                    <a:lnTo>
                      <a:pt x="118" y="54"/>
                    </a:lnTo>
                    <a:lnTo>
                      <a:pt x="112" y="64"/>
                    </a:lnTo>
                    <a:lnTo>
                      <a:pt x="106" y="76"/>
                    </a:lnTo>
                    <a:lnTo>
                      <a:pt x="104" y="7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6" name="Freeform 2105"/>
              <p:cNvSpPr>
                <a:spLocks/>
              </p:cNvSpPr>
              <p:nvPr/>
            </p:nvSpPr>
            <p:spPr bwMode="auto">
              <a:xfrm>
                <a:off x="3526" y="992"/>
                <a:ext cx="18" cy="22"/>
              </a:xfrm>
              <a:custGeom>
                <a:avLst/>
                <a:gdLst/>
                <a:ahLst/>
                <a:cxnLst>
                  <a:cxn ang="0">
                    <a:pos x="0" y="22"/>
                  </a:cxn>
                  <a:cxn ang="0">
                    <a:pos x="0" y="20"/>
                  </a:cxn>
                  <a:cxn ang="0">
                    <a:pos x="0" y="18"/>
                  </a:cxn>
                  <a:cxn ang="0">
                    <a:pos x="2" y="16"/>
                  </a:cxn>
                  <a:cxn ang="0">
                    <a:pos x="6" y="10"/>
                  </a:cxn>
                  <a:cxn ang="0">
                    <a:pos x="8" y="8"/>
                  </a:cxn>
                  <a:cxn ang="0">
                    <a:pos x="8" y="6"/>
                  </a:cxn>
                  <a:cxn ang="0">
                    <a:pos x="10" y="6"/>
                  </a:cxn>
                  <a:cxn ang="0">
                    <a:pos x="10" y="4"/>
                  </a:cxn>
                  <a:cxn ang="0">
                    <a:pos x="12" y="2"/>
                  </a:cxn>
                  <a:cxn ang="0">
                    <a:pos x="16" y="0"/>
                  </a:cxn>
                  <a:cxn ang="0">
                    <a:pos x="18" y="0"/>
                  </a:cxn>
                  <a:cxn ang="0">
                    <a:pos x="18" y="2"/>
                  </a:cxn>
                  <a:cxn ang="0">
                    <a:pos x="16" y="6"/>
                  </a:cxn>
                  <a:cxn ang="0">
                    <a:pos x="14" y="10"/>
                  </a:cxn>
                  <a:cxn ang="0">
                    <a:pos x="10" y="14"/>
                  </a:cxn>
                  <a:cxn ang="0">
                    <a:pos x="8" y="16"/>
                  </a:cxn>
                  <a:cxn ang="0">
                    <a:pos x="4" y="18"/>
                  </a:cxn>
                  <a:cxn ang="0">
                    <a:pos x="4" y="20"/>
                  </a:cxn>
                  <a:cxn ang="0">
                    <a:pos x="2" y="20"/>
                  </a:cxn>
                  <a:cxn ang="0">
                    <a:pos x="0" y="22"/>
                  </a:cxn>
                </a:cxnLst>
                <a:rect l="0" t="0" r="r" b="b"/>
                <a:pathLst>
                  <a:path w="18" h="22">
                    <a:moveTo>
                      <a:pt x="0" y="22"/>
                    </a:moveTo>
                    <a:lnTo>
                      <a:pt x="0" y="20"/>
                    </a:lnTo>
                    <a:lnTo>
                      <a:pt x="0" y="18"/>
                    </a:lnTo>
                    <a:lnTo>
                      <a:pt x="2" y="16"/>
                    </a:lnTo>
                    <a:lnTo>
                      <a:pt x="6" y="10"/>
                    </a:lnTo>
                    <a:lnTo>
                      <a:pt x="8" y="8"/>
                    </a:lnTo>
                    <a:lnTo>
                      <a:pt x="8" y="6"/>
                    </a:lnTo>
                    <a:lnTo>
                      <a:pt x="10" y="6"/>
                    </a:lnTo>
                    <a:lnTo>
                      <a:pt x="10" y="4"/>
                    </a:lnTo>
                    <a:lnTo>
                      <a:pt x="12" y="2"/>
                    </a:lnTo>
                    <a:lnTo>
                      <a:pt x="16" y="0"/>
                    </a:lnTo>
                    <a:lnTo>
                      <a:pt x="18" y="0"/>
                    </a:lnTo>
                    <a:lnTo>
                      <a:pt x="18" y="2"/>
                    </a:lnTo>
                    <a:lnTo>
                      <a:pt x="16" y="6"/>
                    </a:lnTo>
                    <a:lnTo>
                      <a:pt x="14" y="10"/>
                    </a:lnTo>
                    <a:lnTo>
                      <a:pt x="10" y="14"/>
                    </a:lnTo>
                    <a:lnTo>
                      <a:pt x="8" y="16"/>
                    </a:lnTo>
                    <a:lnTo>
                      <a:pt x="4" y="18"/>
                    </a:lnTo>
                    <a:lnTo>
                      <a:pt x="4" y="20"/>
                    </a:lnTo>
                    <a:lnTo>
                      <a:pt x="2" y="20"/>
                    </a:lnTo>
                    <a:lnTo>
                      <a:pt x="0" y="2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7" name="Freeform 2106"/>
              <p:cNvSpPr>
                <a:spLocks/>
              </p:cNvSpPr>
              <p:nvPr/>
            </p:nvSpPr>
            <p:spPr bwMode="auto">
              <a:xfrm>
                <a:off x="3554" y="998"/>
                <a:ext cx="8" cy="8"/>
              </a:xfrm>
              <a:custGeom>
                <a:avLst/>
                <a:gdLst/>
                <a:ahLst/>
                <a:cxnLst>
                  <a:cxn ang="0">
                    <a:pos x="2" y="8"/>
                  </a:cxn>
                  <a:cxn ang="0">
                    <a:pos x="0" y="8"/>
                  </a:cxn>
                  <a:cxn ang="0">
                    <a:pos x="0" y="6"/>
                  </a:cxn>
                  <a:cxn ang="0">
                    <a:pos x="2" y="6"/>
                  </a:cxn>
                  <a:cxn ang="0">
                    <a:pos x="8" y="0"/>
                  </a:cxn>
                  <a:cxn ang="0">
                    <a:pos x="8" y="2"/>
                  </a:cxn>
                  <a:cxn ang="0">
                    <a:pos x="8" y="4"/>
                  </a:cxn>
                  <a:cxn ang="0">
                    <a:pos x="8" y="6"/>
                  </a:cxn>
                  <a:cxn ang="0">
                    <a:pos x="6" y="8"/>
                  </a:cxn>
                  <a:cxn ang="0">
                    <a:pos x="4" y="8"/>
                  </a:cxn>
                  <a:cxn ang="0">
                    <a:pos x="2" y="8"/>
                  </a:cxn>
                </a:cxnLst>
                <a:rect l="0" t="0" r="r" b="b"/>
                <a:pathLst>
                  <a:path w="8" h="8">
                    <a:moveTo>
                      <a:pt x="2" y="8"/>
                    </a:moveTo>
                    <a:lnTo>
                      <a:pt x="0" y="8"/>
                    </a:lnTo>
                    <a:lnTo>
                      <a:pt x="0" y="6"/>
                    </a:lnTo>
                    <a:lnTo>
                      <a:pt x="2" y="6"/>
                    </a:lnTo>
                    <a:lnTo>
                      <a:pt x="8" y="0"/>
                    </a:lnTo>
                    <a:lnTo>
                      <a:pt x="8" y="2"/>
                    </a:lnTo>
                    <a:lnTo>
                      <a:pt x="8" y="4"/>
                    </a:lnTo>
                    <a:lnTo>
                      <a:pt x="8" y="6"/>
                    </a:lnTo>
                    <a:lnTo>
                      <a:pt x="6" y="8"/>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8" name="Freeform 2107"/>
              <p:cNvSpPr>
                <a:spLocks/>
              </p:cNvSpPr>
              <p:nvPr/>
            </p:nvSpPr>
            <p:spPr bwMode="auto">
              <a:xfrm>
                <a:off x="3540" y="1002"/>
                <a:ext cx="10" cy="14"/>
              </a:xfrm>
              <a:custGeom>
                <a:avLst/>
                <a:gdLst/>
                <a:ahLst/>
                <a:cxnLst>
                  <a:cxn ang="0">
                    <a:pos x="2" y="14"/>
                  </a:cxn>
                  <a:cxn ang="0">
                    <a:pos x="0" y="14"/>
                  </a:cxn>
                  <a:cxn ang="0">
                    <a:pos x="0" y="12"/>
                  </a:cxn>
                  <a:cxn ang="0">
                    <a:pos x="2" y="6"/>
                  </a:cxn>
                  <a:cxn ang="0">
                    <a:pos x="6" y="0"/>
                  </a:cxn>
                  <a:cxn ang="0">
                    <a:pos x="10" y="2"/>
                  </a:cxn>
                  <a:cxn ang="0">
                    <a:pos x="10" y="4"/>
                  </a:cxn>
                  <a:cxn ang="0">
                    <a:pos x="8" y="4"/>
                  </a:cxn>
                  <a:cxn ang="0">
                    <a:pos x="6" y="4"/>
                  </a:cxn>
                  <a:cxn ang="0">
                    <a:pos x="6" y="6"/>
                  </a:cxn>
                  <a:cxn ang="0">
                    <a:pos x="4" y="8"/>
                  </a:cxn>
                  <a:cxn ang="0">
                    <a:pos x="4" y="10"/>
                  </a:cxn>
                  <a:cxn ang="0">
                    <a:pos x="4" y="12"/>
                  </a:cxn>
                  <a:cxn ang="0">
                    <a:pos x="4" y="14"/>
                  </a:cxn>
                  <a:cxn ang="0">
                    <a:pos x="2" y="14"/>
                  </a:cxn>
                </a:cxnLst>
                <a:rect l="0" t="0" r="r" b="b"/>
                <a:pathLst>
                  <a:path w="10" h="14">
                    <a:moveTo>
                      <a:pt x="2" y="14"/>
                    </a:moveTo>
                    <a:lnTo>
                      <a:pt x="0" y="14"/>
                    </a:lnTo>
                    <a:lnTo>
                      <a:pt x="0" y="12"/>
                    </a:lnTo>
                    <a:lnTo>
                      <a:pt x="2" y="6"/>
                    </a:lnTo>
                    <a:lnTo>
                      <a:pt x="6" y="0"/>
                    </a:lnTo>
                    <a:lnTo>
                      <a:pt x="10" y="2"/>
                    </a:lnTo>
                    <a:lnTo>
                      <a:pt x="10" y="4"/>
                    </a:lnTo>
                    <a:lnTo>
                      <a:pt x="8" y="4"/>
                    </a:lnTo>
                    <a:lnTo>
                      <a:pt x="6" y="4"/>
                    </a:lnTo>
                    <a:lnTo>
                      <a:pt x="6" y="6"/>
                    </a:lnTo>
                    <a:lnTo>
                      <a:pt x="4" y="8"/>
                    </a:lnTo>
                    <a:lnTo>
                      <a:pt x="4" y="10"/>
                    </a:lnTo>
                    <a:lnTo>
                      <a:pt x="4" y="12"/>
                    </a:lnTo>
                    <a:lnTo>
                      <a:pt x="4" y="14"/>
                    </a:lnTo>
                    <a:lnTo>
                      <a:pt x="2" y="14"/>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59" name="Freeform 2108"/>
              <p:cNvSpPr>
                <a:spLocks/>
              </p:cNvSpPr>
              <p:nvPr/>
            </p:nvSpPr>
            <p:spPr bwMode="auto">
              <a:xfrm>
                <a:off x="3548" y="1006"/>
                <a:ext cx="14" cy="12"/>
              </a:xfrm>
              <a:custGeom>
                <a:avLst/>
                <a:gdLst/>
                <a:ahLst/>
                <a:cxnLst>
                  <a:cxn ang="0">
                    <a:pos x="0" y="12"/>
                  </a:cxn>
                  <a:cxn ang="0">
                    <a:pos x="2" y="10"/>
                  </a:cxn>
                  <a:cxn ang="0">
                    <a:pos x="6" y="2"/>
                  </a:cxn>
                  <a:cxn ang="0">
                    <a:pos x="8" y="0"/>
                  </a:cxn>
                  <a:cxn ang="0">
                    <a:pos x="10" y="0"/>
                  </a:cxn>
                  <a:cxn ang="0">
                    <a:pos x="12" y="0"/>
                  </a:cxn>
                  <a:cxn ang="0">
                    <a:pos x="12" y="2"/>
                  </a:cxn>
                  <a:cxn ang="0">
                    <a:pos x="14" y="2"/>
                  </a:cxn>
                  <a:cxn ang="0">
                    <a:pos x="14" y="4"/>
                  </a:cxn>
                  <a:cxn ang="0">
                    <a:pos x="14" y="6"/>
                  </a:cxn>
                  <a:cxn ang="0">
                    <a:pos x="12" y="6"/>
                  </a:cxn>
                  <a:cxn ang="0">
                    <a:pos x="10" y="8"/>
                  </a:cxn>
                  <a:cxn ang="0">
                    <a:pos x="2" y="12"/>
                  </a:cxn>
                  <a:cxn ang="0">
                    <a:pos x="0" y="12"/>
                  </a:cxn>
                </a:cxnLst>
                <a:rect l="0" t="0" r="r" b="b"/>
                <a:pathLst>
                  <a:path w="14" h="12">
                    <a:moveTo>
                      <a:pt x="0" y="12"/>
                    </a:moveTo>
                    <a:lnTo>
                      <a:pt x="2" y="10"/>
                    </a:lnTo>
                    <a:lnTo>
                      <a:pt x="6" y="2"/>
                    </a:lnTo>
                    <a:lnTo>
                      <a:pt x="8" y="0"/>
                    </a:lnTo>
                    <a:lnTo>
                      <a:pt x="10" y="0"/>
                    </a:lnTo>
                    <a:lnTo>
                      <a:pt x="12" y="0"/>
                    </a:lnTo>
                    <a:lnTo>
                      <a:pt x="12" y="2"/>
                    </a:lnTo>
                    <a:lnTo>
                      <a:pt x="14" y="2"/>
                    </a:lnTo>
                    <a:lnTo>
                      <a:pt x="14" y="4"/>
                    </a:lnTo>
                    <a:lnTo>
                      <a:pt x="14" y="6"/>
                    </a:lnTo>
                    <a:lnTo>
                      <a:pt x="12" y="6"/>
                    </a:lnTo>
                    <a:lnTo>
                      <a:pt x="10" y="8"/>
                    </a:lnTo>
                    <a:lnTo>
                      <a:pt x="2" y="12"/>
                    </a:lnTo>
                    <a:lnTo>
                      <a:pt x="0"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0" name="Freeform 2109"/>
              <p:cNvSpPr>
                <a:spLocks/>
              </p:cNvSpPr>
              <p:nvPr/>
            </p:nvSpPr>
            <p:spPr bwMode="auto">
              <a:xfrm>
                <a:off x="3544" y="1006"/>
                <a:ext cx="10" cy="12"/>
              </a:xfrm>
              <a:custGeom>
                <a:avLst/>
                <a:gdLst/>
                <a:ahLst/>
                <a:cxnLst>
                  <a:cxn ang="0">
                    <a:pos x="0" y="12"/>
                  </a:cxn>
                  <a:cxn ang="0">
                    <a:pos x="0" y="10"/>
                  </a:cxn>
                  <a:cxn ang="0">
                    <a:pos x="0" y="8"/>
                  </a:cxn>
                  <a:cxn ang="0">
                    <a:pos x="0" y="6"/>
                  </a:cxn>
                  <a:cxn ang="0">
                    <a:pos x="4" y="4"/>
                  </a:cxn>
                  <a:cxn ang="0">
                    <a:pos x="6" y="2"/>
                  </a:cxn>
                  <a:cxn ang="0">
                    <a:pos x="8" y="2"/>
                  </a:cxn>
                  <a:cxn ang="0">
                    <a:pos x="10" y="0"/>
                  </a:cxn>
                  <a:cxn ang="0">
                    <a:pos x="8" y="2"/>
                  </a:cxn>
                  <a:cxn ang="0">
                    <a:pos x="6" y="8"/>
                  </a:cxn>
                  <a:cxn ang="0">
                    <a:pos x="4" y="10"/>
                  </a:cxn>
                  <a:cxn ang="0">
                    <a:pos x="0" y="12"/>
                  </a:cxn>
                </a:cxnLst>
                <a:rect l="0" t="0" r="r" b="b"/>
                <a:pathLst>
                  <a:path w="10" h="12">
                    <a:moveTo>
                      <a:pt x="0" y="12"/>
                    </a:moveTo>
                    <a:lnTo>
                      <a:pt x="0" y="10"/>
                    </a:lnTo>
                    <a:lnTo>
                      <a:pt x="0" y="8"/>
                    </a:lnTo>
                    <a:lnTo>
                      <a:pt x="0" y="6"/>
                    </a:lnTo>
                    <a:lnTo>
                      <a:pt x="4" y="4"/>
                    </a:lnTo>
                    <a:lnTo>
                      <a:pt x="6" y="2"/>
                    </a:lnTo>
                    <a:lnTo>
                      <a:pt x="8" y="2"/>
                    </a:lnTo>
                    <a:lnTo>
                      <a:pt x="10" y="0"/>
                    </a:lnTo>
                    <a:lnTo>
                      <a:pt x="8" y="2"/>
                    </a:lnTo>
                    <a:lnTo>
                      <a:pt x="6" y="8"/>
                    </a:lnTo>
                    <a:lnTo>
                      <a:pt x="4" y="10"/>
                    </a:lnTo>
                    <a:lnTo>
                      <a:pt x="0"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1" name="Freeform 2110"/>
              <p:cNvSpPr>
                <a:spLocks/>
              </p:cNvSpPr>
              <p:nvPr/>
            </p:nvSpPr>
            <p:spPr bwMode="auto">
              <a:xfrm>
                <a:off x="3496" y="1016"/>
                <a:ext cx="44" cy="52"/>
              </a:xfrm>
              <a:custGeom>
                <a:avLst/>
                <a:gdLst/>
                <a:ahLst/>
                <a:cxnLst>
                  <a:cxn ang="0">
                    <a:pos x="4" y="52"/>
                  </a:cxn>
                  <a:cxn ang="0">
                    <a:pos x="2" y="52"/>
                  </a:cxn>
                  <a:cxn ang="0">
                    <a:pos x="0" y="50"/>
                  </a:cxn>
                  <a:cxn ang="0">
                    <a:pos x="0" y="48"/>
                  </a:cxn>
                  <a:cxn ang="0">
                    <a:pos x="2" y="46"/>
                  </a:cxn>
                  <a:cxn ang="0">
                    <a:pos x="4" y="44"/>
                  </a:cxn>
                  <a:cxn ang="0">
                    <a:pos x="4" y="42"/>
                  </a:cxn>
                  <a:cxn ang="0">
                    <a:pos x="4" y="40"/>
                  </a:cxn>
                  <a:cxn ang="0">
                    <a:pos x="4" y="38"/>
                  </a:cxn>
                  <a:cxn ang="0">
                    <a:pos x="4" y="36"/>
                  </a:cxn>
                  <a:cxn ang="0">
                    <a:pos x="6" y="34"/>
                  </a:cxn>
                  <a:cxn ang="0">
                    <a:pos x="8" y="34"/>
                  </a:cxn>
                  <a:cxn ang="0">
                    <a:pos x="12" y="34"/>
                  </a:cxn>
                  <a:cxn ang="0">
                    <a:pos x="14" y="32"/>
                  </a:cxn>
                  <a:cxn ang="0">
                    <a:pos x="16" y="30"/>
                  </a:cxn>
                  <a:cxn ang="0">
                    <a:pos x="16" y="28"/>
                  </a:cxn>
                  <a:cxn ang="0">
                    <a:pos x="16" y="26"/>
                  </a:cxn>
                  <a:cxn ang="0">
                    <a:pos x="16" y="24"/>
                  </a:cxn>
                  <a:cxn ang="0">
                    <a:pos x="16" y="22"/>
                  </a:cxn>
                  <a:cxn ang="0">
                    <a:pos x="16" y="20"/>
                  </a:cxn>
                  <a:cxn ang="0">
                    <a:pos x="16" y="18"/>
                  </a:cxn>
                  <a:cxn ang="0">
                    <a:pos x="18" y="10"/>
                  </a:cxn>
                  <a:cxn ang="0">
                    <a:pos x="22" y="6"/>
                  </a:cxn>
                  <a:cxn ang="0">
                    <a:pos x="24" y="4"/>
                  </a:cxn>
                  <a:cxn ang="0">
                    <a:pos x="26" y="4"/>
                  </a:cxn>
                  <a:cxn ang="0">
                    <a:pos x="30" y="0"/>
                  </a:cxn>
                  <a:cxn ang="0">
                    <a:pos x="36" y="0"/>
                  </a:cxn>
                  <a:cxn ang="0">
                    <a:pos x="42" y="0"/>
                  </a:cxn>
                  <a:cxn ang="0">
                    <a:pos x="42" y="2"/>
                  </a:cxn>
                  <a:cxn ang="0">
                    <a:pos x="44" y="6"/>
                  </a:cxn>
                  <a:cxn ang="0">
                    <a:pos x="44" y="8"/>
                  </a:cxn>
                  <a:cxn ang="0">
                    <a:pos x="42" y="12"/>
                  </a:cxn>
                  <a:cxn ang="0">
                    <a:pos x="40" y="14"/>
                  </a:cxn>
                  <a:cxn ang="0">
                    <a:pos x="40" y="16"/>
                  </a:cxn>
                  <a:cxn ang="0">
                    <a:pos x="38" y="20"/>
                  </a:cxn>
                  <a:cxn ang="0">
                    <a:pos x="38" y="24"/>
                  </a:cxn>
                  <a:cxn ang="0">
                    <a:pos x="36" y="26"/>
                  </a:cxn>
                  <a:cxn ang="0">
                    <a:pos x="32" y="28"/>
                  </a:cxn>
                  <a:cxn ang="0">
                    <a:pos x="32" y="30"/>
                  </a:cxn>
                  <a:cxn ang="0">
                    <a:pos x="30" y="32"/>
                  </a:cxn>
                  <a:cxn ang="0">
                    <a:pos x="30" y="34"/>
                  </a:cxn>
                  <a:cxn ang="0">
                    <a:pos x="28" y="36"/>
                  </a:cxn>
                  <a:cxn ang="0">
                    <a:pos x="28" y="38"/>
                  </a:cxn>
                  <a:cxn ang="0">
                    <a:pos x="26" y="38"/>
                  </a:cxn>
                  <a:cxn ang="0">
                    <a:pos x="26" y="40"/>
                  </a:cxn>
                  <a:cxn ang="0">
                    <a:pos x="22" y="42"/>
                  </a:cxn>
                  <a:cxn ang="0">
                    <a:pos x="16" y="46"/>
                  </a:cxn>
                  <a:cxn ang="0">
                    <a:pos x="12" y="48"/>
                  </a:cxn>
                  <a:cxn ang="0">
                    <a:pos x="8" y="50"/>
                  </a:cxn>
                  <a:cxn ang="0">
                    <a:pos x="4" y="52"/>
                  </a:cxn>
                </a:cxnLst>
                <a:rect l="0" t="0" r="r" b="b"/>
                <a:pathLst>
                  <a:path w="44" h="52">
                    <a:moveTo>
                      <a:pt x="4" y="52"/>
                    </a:moveTo>
                    <a:lnTo>
                      <a:pt x="2" y="52"/>
                    </a:lnTo>
                    <a:lnTo>
                      <a:pt x="0" y="50"/>
                    </a:lnTo>
                    <a:lnTo>
                      <a:pt x="0" y="48"/>
                    </a:lnTo>
                    <a:lnTo>
                      <a:pt x="2" y="46"/>
                    </a:lnTo>
                    <a:lnTo>
                      <a:pt x="4" y="44"/>
                    </a:lnTo>
                    <a:lnTo>
                      <a:pt x="4" y="42"/>
                    </a:lnTo>
                    <a:lnTo>
                      <a:pt x="4" y="40"/>
                    </a:lnTo>
                    <a:lnTo>
                      <a:pt x="4" y="38"/>
                    </a:lnTo>
                    <a:lnTo>
                      <a:pt x="4" y="36"/>
                    </a:lnTo>
                    <a:lnTo>
                      <a:pt x="6" y="34"/>
                    </a:lnTo>
                    <a:lnTo>
                      <a:pt x="8" y="34"/>
                    </a:lnTo>
                    <a:lnTo>
                      <a:pt x="12" y="34"/>
                    </a:lnTo>
                    <a:lnTo>
                      <a:pt x="14" y="32"/>
                    </a:lnTo>
                    <a:lnTo>
                      <a:pt x="16" y="30"/>
                    </a:lnTo>
                    <a:lnTo>
                      <a:pt x="16" y="28"/>
                    </a:lnTo>
                    <a:lnTo>
                      <a:pt x="16" y="26"/>
                    </a:lnTo>
                    <a:lnTo>
                      <a:pt x="16" y="24"/>
                    </a:lnTo>
                    <a:lnTo>
                      <a:pt x="16" y="22"/>
                    </a:lnTo>
                    <a:lnTo>
                      <a:pt x="16" y="20"/>
                    </a:lnTo>
                    <a:lnTo>
                      <a:pt x="16" y="18"/>
                    </a:lnTo>
                    <a:lnTo>
                      <a:pt x="18" y="10"/>
                    </a:lnTo>
                    <a:lnTo>
                      <a:pt x="22" y="6"/>
                    </a:lnTo>
                    <a:lnTo>
                      <a:pt x="24" y="4"/>
                    </a:lnTo>
                    <a:lnTo>
                      <a:pt x="26" y="4"/>
                    </a:lnTo>
                    <a:lnTo>
                      <a:pt x="30" y="0"/>
                    </a:lnTo>
                    <a:lnTo>
                      <a:pt x="36" y="0"/>
                    </a:lnTo>
                    <a:lnTo>
                      <a:pt x="42" y="0"/>
                    </a:lnTo>
                    <a:lnTo>
                      <a:pt x="42" y="2"/>
                    </a:lnTo>
                    <a:lnTo>
                      <a:pt x="44" y="6"/>
                    </a:lnTo>
                    <a:lnTo>
                      <a:pt x="44" y="8"/>
                    </a:lnTo>
                    <a:lnTo>
                      <a:pt x="42" y="12"/>
                    </a:lnTo>
                    <a:lnTo>
                      <a:pt x="40" y="14"/>
                    </a:lnTo>
                    <a:lnTo>
                      <a:pt x="40" y="16"/>
                    </a:lnTo>
                    <a:lnTo>
                      <a:pt x="38" y="20"/>
                    </a:lnTo>
                    <a:lnTo>
                      <a:pt x="38" y="24"/>
                    </a:lnTo>
                    <a:lnTo>
                      <a:pt x="36" y="26"/>
                    </a:lnTo>
                    <a:lnTo>
                      <a:pt x="32" y="28"/>
                    </a:lnTo>
                    <a:lnTo>
                      <a:pt x="32" y="30"/>
                    </a:lnTo>
                    <a:lnTo>
                      <a:pt x="30" y="32"/>
                    </a:lnTo>
                    <a:lnTo>
                      <a:pt x="30" y="34"/>
                    </a:lnTo>
                    <a:lnTo>
                      <a:pt x="28" y="36"/>
                    </a:lnTo>
                    <a:lnTo>
                      <a:pt x="28" y="38"/>
                    </a:lnTo>
                    <a:lnTo>
                      <a:pt x="26" y="38"/>
                    </a:lnTo>
                    <a:lnTo>
                      <a:pt x="26" y="40"/>
                    </a:lnTo>
                    <a:lnTo>
                      <a:pt x="22" y="42"/>
                    </a:lnTo>
                    <a:lnTo>
                      <a:pt x="16" y="46"/>
                    </a:lnTo>
                    <a:lnTo>
                      <a:pt x="12" y="48"/>
                    </a:lnTo>
                    <a:lnTo>
                      <a:pt x="8" y="50"/>
                    </a:lnTo>
                    <a:lnTo>
                      <a:pt x="4" y="5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2" name="Freeform 2111"/>
              <p:cNvSpPr>
                <a:spLocks/>
              </p:cNvSpPr>
              <p:nvPr/>
            </p:nvSpPr>
            <p:spPr bwMode="auto">
              <a:xfrm>
                <a:off x="3540" y="1018"/>
                <a:ext cx="18" cy="20"/>
              </a:xfrm>
              <a:custGeom>
                <a:avLst/>
                <a:gdLst/>
                <a:ahLst/>
                <a:cxnLst>
                  <a:cxn ang="0">
                    <a:pos x="0" y="20"/>
                  </a:cxn>
                  <a:cxn ang="0">
                    <a:pos x="0" y="16"/>
                  </a:cxn>
                  <a:cxn ang="0">
                    <a:pos x="2" y="10"/>
                  </a:cxn>
                  <a:cxn ang="0">
                    <a:pos x="4" y="8"/>
                  </a:cxn>
                  <a:cxn ang="0">
                    <a:pos x="4" y="6"/>
                  </a:cxn>
                  <a:cxn ang="0">
                    <a:pos x="10" y="2"/>
                  </a:cxn>
                  <a:cxn ang="0">
                    <a:pos x="14" y="0"/>
                  </a:cxn>
                  <a:cxn ang="0">
                    <a:pos x="16" y="0"/>
                  </a:cxn>
                  <a:cxn ang="0">
                    <a:pos x="18" y="0"/>
                  </a:cxn>
                  <a:cxn ang="0">
                    <a:pos x="18" y="2"/>
                  </a:cxn>
                  <a:cxn ang="0">
                    <a:pos x="18" y="6"/>
                  </a:cxn>
                  <a:cxn ang="0">
                    <a:pos x="16" y="6"/>
                  </a:cxn>
                  <a:cxn ang="0">
                    <a:pos x="14" y="6"/>
                  </a:cxn>
                  <a:cxn ang="0">
                    <a:pos x="12" y="8"/>
                  </a:cxn>
                  <a:cxn ang="0">
                    <a:pos x="10" y="10"/>
                  </a:cxn>
                  <a:cxn ang="0">
                    <a:pos x="6" y="16"/>
                  </a:cxn>
                  <a:cxn ang="0">
                    <a:pos x="2" y="20"/>
                  </a:cxn>
                  <a:cxn ang="0">
                    <a:pos x="0" y="20"/>
                  </a:cxn>
                </a:cxnLst>
                <a:rect l="0" t="0" r="r" b="b"/>
                <a:pathLst>
                  <a:path w="18" h="20">
                    <a:moveTo>
                      <a:pt x="0" y="20"/>
                    </a:moveTo>
                    <a:lnTo>
                      <a:pt x="0" y="16"/>
                    </a:lnTo>
                    <a:lnTo>
                      <a:pt x="2" y="10"/>
                    </a:lnTo>
                    <a:lnTo>
                      <a:pt x="4" y="8"/>
                    </a:lnTo>
                    <a:lnTo>
                      <a:pt x="4" y="6"/>
                    </a:lnTo>
                    <a:lnTo>
                      <a:pt x="10" y="2"/>
                    </a:lnTo>
                    <a:lnTo>
                      <a:pt x="14" y="0"/>
                    </a:lnTo>
                    <a:lnTo>
                      <a:pt x="16" y="0"/>
                    </a:lnTo>
                    <a:lnTo>
                      <a:pt x="18" y="0"/>
                    </a:lnTo>
                    <a:lnTo>
                      <a:pt x="18" y="2"/>
                    </a:lnTo>
                    <a:lnTo>
                      <a:pt x="18" y="6"/>
                    </a:lnTo>
                    <a:lnTo>
                      <a:pt x="16" y="6"/>
                    </a:lnTo>
                    <a:lnTo>
                      <a:pt x="14" y="6"/>
                    </a:lnTo>
                    <a:lnTo>
                      <a:pt x="12" y="8"/>
                    </a:lnTo>
                    <a:lnTo>
                      <a:pt x="10" y="10"/>
                    </a:lnTo>
                    <a:lnTo>
                      <a:pt x="6" y="16"/>
                    </a:lnTo>
                    <a:lnTo>
                      <a:pt x="2" y="20"/>
                    </a:lnTo>
                    <a:lnTo>
                      <a:pt x="0" y="2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3" name="Freeform 2112"/>
              <p:cNvSpPr>
                <a:spLocks/>
              </p:cNvSpPr>
              <p:nvPr/>
            </p:nvSpPr>
            <p:spPr bwMode="auto">
              <a:xfrm>
                <a:off x="3550" y="1026"/>
                <a:ext cx="6" cy="8"/>
              </a:xfrm>
              <a:custGeom>
                <a:avLst/>
                <a:gdLst/>
                <a:ahLst/>
                <a:cxnLst>
                  <a:cxn ang="0">
                    <a:pos x="2" y="8"/>
                  </a:cxn>
                  <a:cxn ang="0">
                    <a:pos x="0" y="8"/>
                  </a:cxn>
                  <a:cxn ang="0">
                    <a:pos x="0" y="6"/>
                  </a:cxn>
                  <a:cxn ang="0">
                    <a:pos x="2" y="0"/>
                  </a:cxn>
                  <a:cxn ang="0">
                    <a:pos x="4" y="0"/>
                  </a:cxn>
                  <a:cxn ang="0">
                    <a:pos x="6" y="0"/>
                  </a:cxn>
                  <a:cxn ang="0">
                    <a:pos x="6" y="2"/>
                  </a:cxn>
                  <a:cxn ang="0">
                    <a:pos x="6" y="6"/>
                  </a:cxn>
                  <a:cxn ang="0">
                    <a:pos x="2" y="6"/>
                  </a:cxn>
                  <a:cxn ang="0">
                    <a:pos x="2" y="8"/>
                  </a:cxn>
                </a:cxnLst>
                <a:rect l="0" t="0" r="r" b="b"/>
                <a:pathLst>
                  <a:path w="6" h="8">
                    <a:moveTo>
                      <a:pt x="2" y="8"/>
                    </a:moveTo>
                    <a:lnTo>
                      <a:pt x="0" y="8"/>
                    </a:lnTo>
                    <a:lnTo>
                      <a:pt x="0" y="6"/>
                    </a:lnTo>
                    <a:lnTo>
                      <a:pt x="2" y="0"/>
                    </a:lnTo>
                    <a:lnTo>
                      <a:pt x="4" y="0"/>
                    </a:lnTo>
                    <a:lnTo>
                      <a:pt x="6" y="0"/>
                    </a:lnTo>
                    <a:lnTo>
                      <a:pt x="6" y="2"/>
                    </a:lnTo>
                    <a:lnTo>
                      <a:pt x="6" y="6"/>
                    </a:lnTo>
                    <a:lnTo>
                      <a:pt x="2" y="6"/>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4" name="Freeform 2113"/>
              <p:cNvSpPr>
                <a:spLocks/>
              </p:cNvSpPr>
              <p:nvPr/>
            </p:nvSpPr>
            <p:spPr bwMode="auto">
              <a:xfrm>
                <a:off x="3526" y="1032"/>
                <a:ext cx="12" cy="22"/>
              </a:xfrm>
              <a:custGeom>
                <a:avLst/>
                <a:gdLst/>
                <a:ahLst/>
                <a:cxnLst>
                  <a:cxn ang="0">
                    <a:pos x="0" y="22"/>
                  </a:cxn>
                  <a:cxn ang="0">
                    <a:pos x="0" y="20"/>
                  </a:cxn>
                  <a:cxn ang="0">
                    <a:pos x="2" y="16"/>
                  </a:cxn>
                  <a:cxn ang="0">
                    <a:pos x="6" y="14"/>
                  </a:cxn>
                  <a:cxn ang="0">
                    <a:pos x="6" y="12"/>
                  </a:cxn>
                  <a:cxn ang="0">
                    <a:pos x="8" y="12"/>
                  </a:cxn>
                  <a:cxn ang="0">
                    <a:pos x="8" y="10"/>
                  </a:cxn>
                  <a:cxn ang="0">
                    <a:pos x="10" y="8"/>
                  </a:cxn>
                  <a:cxn ang="0">
                    <a:pos x="10" y="6"/>
                  </a:cxn>
                  <a:cxn ang="0">
                    <a:pos x="10" y="4"/>
                  </a:cxn>
                  <a:cxn ang="0">
                    <a:pos x="10" y="2"/>
                  </a:cxn>
                  <a:cxn ang="0">
                    <a:pos x="12" y="0"/>
                  </a:cxn>
                  <a:cxn ang="0">
                    <a:pos x="12" y="2"/>
                  </a:cxn>
                  <a:cxn ang="0">
                    <a:pos x="12" y="4"/>
                  </a:cxn>
                  <a:cxn ang="0">
                    <a:pos x="12" y="6"/>
                  </a:cxn>
                  <a:cxn ang="0">
                    <a:pos x="12" y="8"/>
                  </a:cxn>
                  <a:cxn ang="0">
                    <a:pos x="12" y="10"/>
                  </a:cxn>
                  <a:cxn ang="0">
                    <a:pos x="8" y="18"/>
                  </a:cxn>
                  <a:cxn ang="0">
                    <a:pos x="8" y="20"/>
                  </a:cxn>
                  <a:cxn ang="0">
                    <a:pos x="6" y="20"/>
                  </a:cxn>
                  <a:cxn ang="0">
                    <a:pos x="2" y="22"/>
                  </a:cxn>
                  <a:cxn ang="0">
                    <a:pos x="0" y="22"/>
                  </a:cxn>
                </a:cxnLst>
                <a:rect l="0" t="0" r="r" b="b"/>
                <a:pathLst>
                  <a:path w="12" h="22">
                    <a:moveTo>
                      <a:pt x="0" y="22"/>
                    </a:moveTo>
                    <a:lnTo>
                      <a:pt x="0" y="20"/>
                    </a:lnTo>
                    <a:lnTo>
                      <a:pt x="2" y="16"/>
                    </a:lnTo>
                    <a:lnTo>
                      <a:pt x="6" y="14"/>
                    </a:lnTo>
                    <a:lnTo>
                      <a:pt x="6" y="12"/>
                    </a:lnTo>
                    <a:lnTo>
                      <a:pt x="8" y="12"/>
                    </a:lnTo>
                    <a:lnTo>
                      <a:pt x="8" y="10"/>
                    </a:lnTo>
                    <a:lnTo>
                      <a:pt x="10" y="8"/>
                    </a:lnTo>
                    <a:lnTo>
                      <a:pt x="10" y="6"/>
                    </a:lnTo>
                    <a:lnTo>
                      <a:pt x="10" y="4"/>
                    </a:lnTo>
                    <a:lnTo>
                      <a:pt x="10" y="2"/>
                    </a:lnTo>
                    <a:lnTo>
                      <a:pt x="12" y="0"/>
                    </a:lnTo>
                    <a:lnTo>
                      <a:pt x="12" y="2"/>
                    </a:lnTo>
                    <a:lnTo>
                      <a:pt x="12" y="4"/>
                    </a:lnTo>
                    <a:lnTo>
                      <a:pt x="12" y="6"/>
                    </a:lnTo>
                    <a:lnTo>
                      <a:pt x="12" y="8"/>
                    </a:lnTo>
                    <a:lnTo>
                      <a:pt x="12" y="10"/>
                    </a:lnTo>
                    <a:lnTo>
                      <a:pt x="8" y="18"/>
                    </a:lnTo>
                    <a:lnTo>
                      <a:pt x="8" y="20"/>
                    </a:lnTo>
                    <a:lnTo>
                      <a:pt x="6" y="20"/>
                    </a:lnTo>
                    <a:lnTo>
                      <a:pt x="2" y="22"/>
                    </a:lnTo>
                    <a:lnTo>
                      <a:pt x="0" y="2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5" name="Freeform 2114"/>
              <p:cNvSpPr>
                <a:spLocks/>
              </p:cNvSpPr>
              <p:nvPr/>
            </p:nvSpPr>
            <p:spPr bwMode="auto">
              <a:xfrm>
                <a:off x="3538" y="1034"/>
                <a:ext cx="14" cy="12"/>
              </a:xfrm>
              <a:custGeom>
                <a:avLst/>
                <a:gdLst/>
                <a:ahLst/>
                <a:cxnLst>
                  <a:cxn ang="0">
                    <a:pos x="12" y="0"/>
                  </a:cxn>
                  <a:cxn ang="0">
                    <a:pos x="14" y="0"/>
                  </a:cxn>
                  <a:cxn ang="0">
                    <a:pos x="12" y="2"/>
                  </a:cxn>
                  <a:cxn ang="0">
                    <a:pos x="10" y="2"/>
                  </a:cxn>
                  <a:cxn ang="0">
                    <a:pos x="8" y="4"/>
                  </a:cxn>
                  <a:cxn ang="0">
                    <a:pos x="8" y="6"/>
                  </a:cxn>
                  <a:cxn ang="0">
                    <a:pos x="8" y="8"/>
                  </a:cxn>
                  <a:cxn ang="0">
                    <a:pos x="6" y="10"/>
                  </a:cxn>
                  <a:cxn ang="0">
                    <a:pos x="2" y="12"/>
                  </a:cxn>
                  <a:cxn ang="0">
                    <a:pos x="0" y="12"/>
                  </a:cxn>
                  <a:cxn ang="0">
                    <a:pos x="0" y="8"/>
                  </a:cxn>
                  <a:cxn ang="0">
                    <a:pos x="2" y="8"/>
                  </a:cxn>
                  <a:cxn ang="0">
                    <a:pos x="2" y="6"/>
                  </a:cxn>
                  <a:cxn ang="0">
                    <a:pos x="6" y="2"/>
                  </a:cxn>
                  <a:cxn ang="0">
                    <a:pos x="8" y="2"/>
                  </a:cxn>
                  <a:cxn ang="0">
                    <a:pos x="8" y="0"/>
                  </a:cxn>
                  <a:cxn ang="0">
                    <a:pos x="10" y="0"/>
                  </a:cxn>
                  <a:cxn ang="0">
                    <a:pos x="12" y="0"/>
                  </a:cxn>
                </a:cxnLst>
                <a:rect l="0" t="0" r="r" b="b"/>
                <a:pathLst>
                  <a:path w="14" h="12">
                    <a:moveTo>
                      <a:pt x="12" y="0"/>
                    </a:moveTo>
                    <a:lnTo>
                      <a:pt x="14" y="0"/>
                    </a:lnTo>
                    <a:lnTo>
                      <a:pt x="12" y="2"/>
                    </a:lnTo>
                    <a:lnTo>
                      <a:pt x="10" y="2"/>
                    </a:lnTo>
                    <a:lnTo>
                      <a:pt x="8" y="4"/>
                    </a:lnTo>
                    <a:lnTo>
                      <a:pt x="8" y="6"/>
                    </a:lnTo>
                    <a:lnTo>
                      <a:pt x="8" y="8"/>
                    </a:lnTo>
                    <a:lnTo>
                      <a:pt x="6" y="10"/>
                    </a:lnTo>
                    <a:lnTo>
                      <a:pt x="2" y="12"/>
                    </a:lnTo>
                    <a:lnTo>
                      <a:pt x="0" y="12"/>
                    </a:lnTo>
                    <a:lnTo>
                      <a:pt x="0" y="8"/>
                    </a:lnTo>
                    <a:lnTo>
                      <a:pt x="2" y="8"/>
                    </a:lnTo>
                    <a:lnTo>
                      <a:pt x="2" y="6"/>
                    </a:lnTo>
                    <a:lnTo>
                      <a:pt x="6" y="2"/>
                    </a:lnTo>
                    <a:lnTo>
                      <a:pt x="8" y="2"/>
                    </a:lnTo>
                    <a:lnTo>
                      <a:pt x="8" y="0"/>
                    </a:lnTo>
                    <a:lnTo>
                      <a:pt x="10" y="0"/>
                    </a:lnTo>
                    <a:lnTo>
                      <a:pt x="12" y="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6" name="Freeform 2115"/>
              <p:cNvSpPr>
                <a:spLocks/>
              </p:cNvSpPr>
              <p:nvPr/>
            </p:nvSpPr>
            <p:spPr bwMode="auto">
              <a:xfrm>
                <a:off x="3686" y="1046"/>
                <a:ext cx="6" cy="8"/>
              </a:xfrm>
              <a:custGeom>
                <a:avLst/>
                <a:gdLst/>
                <a:ahLst/>
                <a:cxnLst>
                  <a:cxn ang="0">
                    <a:pos x="4" y="8"/>
                  </a:cxn>
                  <a:cxn ang="0">
                    <a:pos x="2" y="8"/>
                  </a:cxn>
                  <a:cxn ang="0">
                    <a:pos x="0" y="6"/>
                  </a:cxn>
                  <a:cxn ang="0">
                    <a:pos x="0" y="4"/>
                  </a:cxn>
                  <a:cxn ang="0">
                    <a:pos x="2" y="0"/>
                  </a:cxn>
                  <a:cxn ang="0">
                    <a:pos x="4" y="0"/>
                  </a:cxn>
                  <a:cxn ang="0">
                    <a:pos x="6" y="0"/>
                  </a:cxn>
                  <a:cxn ang="0">
                    <a:pos x="6" y="2"/>
                  </a:cxn>
                  <a:cxn ang="0">
                    <a:pos x="6" y="4"/>
                  </a:cxn>
                  <a:cxn ang="0">
                    <a:pos x="6" y="6"/>
                  </a:cxn>
                  <a:cxn ang="0">
                    <a:pos x="6" y="8"/>
                  </a:cxn>
                  <a:cxn ang="0">
                    <a:pos x="4" y="8"/>
                  </a:cxn>
                </a:cxnLst>
                <a:rect l="0" t="0" r="r" b="b"/>
                <a:pathLst>
                  <a:path w="6" h="8">
                    <a:moveTo>
                      <a:pt x="4" y="8"/>
                    </a:moveTo>
                    <a:lnTo>
                      <a:pt x="2" y="8"/>
                    </a:lnTo>
                    <a:lnTo>
                      <a:pt x="0" y="6"/>
                    </a:lnTo>
                    <a:lnTo>
                      <a:pt x="0" y="4"/>
                    </a:lnTo>
                    <a:lnTo>
                      <a:pt x="2" y="0"/>
                    </a:lnTo>
                    <a:lnTo>
                      <a:pt x="4" y="0"/>
                    </a:lnTo>
                    <a:lnTo>
                      <a:pt x="6" y="0"/>
                    </a:lnTo>
                    <a:lnTo>
                      <a:pt x="6" y="2"/>
                    </a:lnTo>
                    <a:lnTo>
                      <a:pt x="6" y="4"/>
                    </a:lnTo>
                    <a:lnTo>
                      <a:pt x="6" y="6"/>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7" name="Freeform 2116"/>
              <p:cNvSpPr>
                <a:spLocks/>
              </p:cNvSpPr>
              <p:nvPr/>
            </p:nvSpPr>
            <p:spPr bwMode="auto">
              <a:xfrm>
                <a:off x="3470" y="1062"/>
                <a:ext cx="14" cy="8"/>
              </a:xfrm>
              <a:custGeom>
                <a:avLst/>
                <a:gdLst/>
                <a:ahLst/>
                <a:cxnLst>
                  <a:cxn ang="0">
                    <a:pos x="0" y="8"/>
                  </a:cxn>
                  <a:cxn ang="0">
                    <a:pos x="0" y="6"/>
                  </a:cxn>
                  <a:cxn ang="0">
                    <a:pos x="12" y="0"/>
                  </a:cxn>
                  <a:cxn ang="0">
                    <a:pos x="14" y="2"/>
                  </a:cxn>
                  <a:cxn ang="0">
                    <a:pos x="12" y="4"/>
                  </a:cxn>
                  <a:cxn ang="0">
                    <a:pos x="10" y="6"/>
                  </a:cxn>
                  <a:cxn ang="0">
                    <a:pos x="2" y="8"/>
                  </a:cxn>
                  <a:cxn ang="0">
                    <a:pos x="0" y="8"/>
                  </a:cxn>
                </a:cxnLst>
                <a:rect l="0" t="0" r="r" b="b"/>
                <a:pathLst>
                  <a:path w="14" h="8">
                    <a:moveTo>
                      <a:pt x="0" y="8"/>
                    </a:moveTo>
                    <a:lnTo>
                      <a:pt x="0" y="6"/>
                    </a:lnTo>
                    <a:lnTo>
                      <a:pt x="12" y="0"/>
                    </a:lnTo>
                    <a:lnTo>
                      <a:pt x="14" y="2"/>
                    </a:lnTo>
                    <a:lnTo>
                      <a:pt x="12" y="4"/>
                    </a:lnTo>
                    <a:lnTo>
                      <a:pt x="10" y="6"/>
                    </a:lnTo>
                    <a:lnTo>
                      <a:pt x="2"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8" name="Freeform 2117"/>
              <p:cNvSpPr>
                <a:spLocks/>
              </p:cNvSpPr>
              <p:nvPr/>
            </p:nvSpPr>
            <p:spPr bwMode="auto">
              <a:xfrm>
                <a:off x="3482" y="1066"/>
                <a:ext cx="16" cy="10"/>
              </a:xfrm>
              <a:custGeom>
                <a:avLst/>
                <a:gdLst/>
                <a:ahLst/>
                <a:cxnLst>
                  <a:cxn ang="0">
                    <a:pos x="0" y="10"/>
                  </a:cxn>
                  <a:cxn ang="0">
                    <a:pos x="2" y="8"/>
                  </a:cxn>
                  <a:cxn ang="0">
                    <a:pos x="0" y="8"/>
                  </a:cxn>
                  <a:cxn ang="0">
                    <a:pos x="0" y="6"/>
                  </a:cxn>
                  <a:cxn ang="0">
                    <a:pos x="2" y="2"/>
                  </a:cxn>
                  <a:cxn ang="0">
                    <a:pos x="10" y="0"/>
                  </a:cxn>
                  <a:cxn ang="0">
                    <a:pos x="12" y="0"/>
                  </a:cxn>
                  <a:cxn ang="0">
                    <a:pos x="14" y="2"/>
                  </a:cxn>
                  <a:cxn ang="0">
                    <a:pos x="16" y="4"/>
                  </a:cxn>
                  <a:cxn ang="0">
                    <a:pos x="16" y="6"/>
                  </a:cxn>
                  <a:cxn ang="0">
                    <a:pos x="14" y="6"/>
                  </a:cxn>
                  <a:cxn ang="0">
                    <a:pos x="12" y="8"/>
                  </a:cxn>
                  <a:cxn ang="0">
                    <a:pos x="10" y="8"/>
                  </a:cxn>
                  <a:cxn ang="0">
                    <a:pos x="8" y="8"/>
                  </a:cxn>
                  <a:cxn ang="0">
                    <a:pos x="6" y="8"/>
                  </a:cxn>
                  <a:cxn ang="0">
                    <a:pos x="4" y="8"/>
                  </a:cxn>
                  <a:cxn ang="0">
                    <a:pos x="2" y="10"/>
                  </a:cxn>
                  <a:cxn ang="0">
                    <a:pos x="0" y="10"/>
                  </a:cxn>
                </a:cxnLst>
                <a:rect l="0" t="0" r="r" b="b"/>
                <a:pathLst>
                  <a:path w="16" h="10">
                    <a:moveTo>
                      <a:pt x="0" y="10"/>
                    </a:moveTo>
                    <a:lnTo>
                      <a:pt x="2" y="8"/>
                    </a:lnTo>
                    <a:lnTo>
                      <a:pt x="0" y="8"/>
                    </a:lnTo>
                    <a:lnTo>
                      <a:pt x="0" y="6"/>
                    </a:lnTo>
                    <a:lnTo>
                      <a:pt x="2" y="2"/>
                    </a:lnTo>
                    <a:lnTo>
                      <a:pt x="10" y="0"/>
                    </a:lnTo>
                    <a:lnTo>
                      <a:pt x="12" y="0"/>
                    </a:lnTo>
                    <a:lnTo>
                      <a:pt x="14" y="2"/>
                    </a:lnTo>
                    <a:lnTo>
                      <a:pt x="16" y="4"/>
                    </a:lnTo>
                    <a:lnTo>
                      <a:pt x="16" y="6"/>
                    </a:lnTo>
                    <a:lnTo>
                      <a:pt x="14" y="6"/>
                    </a:lnTo>
                    <a:lnTo>
                      <a:pt x="12" y="8"/>
                    </a:lnTo>
                    <a:lnTo>
                      <a:pt x="10" y="8"/>
                    </a:lnTo>
                    <a:lnTo>
                      <a:pt x="8" y="8"/>
                    </a:lnTo>
                    <a:lnTo>
                      <a:pt x="6" y="8"/>
                    </a:lnTo>
                    <a:lnTo>
                      <a:pt x="4" y="8"/>
                    </a:lnTo>
                    <a:lnTo>
                      <a:pt x="2" y="10"/>
                    </a:lnTo>
                    <a:lnTo>
                      <a:pt x="0" y="10"/>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69" name="Freeform 2118"/>
              <p:cNvSpPr>
                <a:spLocks/>
              </p:cNvSpPr>
              <p:nvPr/>
            </p:nvSpPr>
            <p:spPr bwMode="auto">
              <a:xfrm>
                <a:off x="3654" y="1074"/>
                <a:ext cx="8" cy="12"/>
              </a:xfrm>
              <a:custGeom>
                <a:avLst/>
                <a:gdLst/>
                <a:ahLst/>
                <a:cxnLst>
                  <a:cxn ang="0">
                    <a:pos x="4" y="12"/>
                  </a:cxn>
                  <a:cxn ang="0">
                    <a:pos x="2" y="12"/>
                  </a:cxn>
                  <a:cxn ang="0">
                    <a:pos x="0" y="10"/>
                  </a:cxn>
                  <a:cxn ang="0">
                    <a:pos x="0" y="6"/>
                  </a:cxn>
                  <a:cxn ang="0">
                    <a:pos x="0" y="2"/>
                  </a:cxn>
                  <a:cxn ang="0">
                    <a:pos x="2" y="2"/>
                  </a:cxn>
                  <a:cxn ang="0">
                    <a:pos x="6" y="0"/>
                  </a:cxn>
                  <a:cxn ang="0">
                    <a:pos x="8" y="0"/>
                  </a:cxn>
                  <a:cxn ang="0">
                    <a:pos x="8" y="2"/>
                  </a:cxn>
                  <a:cxn ang="0">
                    <a:pos x="4" y="10"/>
                  </a:cxn>
                  <a:cxn ang="0">
                    <a:pos x="4" y="12"/>
                  </a:cxn>
                </a:cxnLst>
                <a:rect l="0" t="0" r="r" b="b"/>
                <a:pathLst>
                  <a:path w="8" h="12">
                    <a:moveTo>
                      <a:pt x="4" y="12"/>
                    </a:moveTo>
                    <a:lnTo>
                      <a:pt x="2" y="12"/>
                    </a:lnTo>
                    <a:lnTo>
                      <a:pt x="0" y="10"/>
                    </a:lnTo>
                    <a:lnTo>
                      <a:pt x="0" y="6"/>
                    </a:lnTo>
                    <a:lnTo>
                      <a:pt x="0" y="2"/>
                    </a:lnTo>
                    <a:lnTo>
                      <a:pt x="2" y="2"/>
                    </a:lnTo>
                    <a:lnTo>
                      <a:pt x="6" y="0"/>
                    </a:lnTo>
                    <a:lnTo>
                      <a:pt x="8" y="0"/>
                    </a:lnTo>
                    <a:lnTo>
                      <a:pt x="8" y="2"/>
                    </a:lnTo>
                    <a:lnTo>
                      <a:pt x="4"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0" name="Freeform 2119"/>
              <p:cNvSpPr>
                <a:spLocks/>
              </p:cNvSpPr>
              <p:nvPr/>
            </p:nvSpPr>
            <p:spPr bwMode="auto">
              <a:xfrm>
                <a:off x="3648" y="1082"/>
                <a:ext cx="8" cy="8"/>
              </a:xfrm>
              <a:custGeom>
                <a:avLst/>
                <a:gdLst/>
                <a:ahLst/>
                <a:cxnLst>
                  <a:cxn ang="0">
                    <a:pos x="0" y="8"/>
                  </a:cxn>
                  <a:cxn ang="0">
                    <a:pos x="0" y="6"/>
                  </a:cxn>
                  <a:cxn ang="0">
                    <a:pos x="2" y="2"/>
                  </a:cxn>
                  <a:cxn ang="0">
                    <a:pos x="4" y="0"/>
                  </a:cxn>
                  <a:cxn ang="0">
                    <a:pos x="6" y="0"/>
                  </a:cxn>
                  <a:cxn ang="0">
                    <a:pos x="6" y="2"/>
                  </a:cxn>
                  <a:cxn ang="0">
                    <a:pos x="6" y="4"/>
                  </a:cxn>
                  <a:cxn ang="0">
                    <a:pos x="8" y="4"/>
                  </a:cxn>
                  <a:cxn ang="0">
                    <a:pos x="6" y="6"/>
                  </a:cxn>
                  <a:cxn ang="0">
                    <a:pos x="6" y="8"/>
                  </a:cxn>
                  <a:cxn ang="0">
                    <a:pos x="4" y="6"/>
                  </a:cxn>
                  <a:cxn ang="0">
                    <a:pos x="0" y="8"/>
                  </a:cxn>
                </a:cxnLst>
                <a:rect l="0" t="0" r="r" b="b"/>
                <a:pathLst>
                  <a:path w="8" h="8">
                    <a:moveTo>
                      <a:pt x="0" y="8"/>
                    </a:moveTo>
                    <a:lnTo>
                      <a:pt x="0" y="6"/>
                    </a:lnTo>
                    <a:lnTo>
                      <a:pt x="2" y="2"/>
                    </a:lnTo>
                    <a:lnTo>
                      <a:pt x="4" y="0"/>
                    </a:lnTo>
                    <a:lnTo>
                      <a:pt x="6" y="0"/>
                    </a:lnTo>
                    <a:lnTo>
                      <a:pt x="6" y="2"/>
                    </a:lnTo>
                    <a:lnTo>
                      <a:pt x="6" y="4"/>
                    </a:lnTo>
                    <a:lnTo>
                      <a:pt x="8" y="4"/>
                    </a:lnTo>
                    <a:lnTo>
                      <a:pt x="6" y="6"/>
                    </a:lnTo>
                    <a:lnTo>
                      <a:pt x="6" y="8"/>
                    </a:lnTo>
                    <a:lnTo>
                      <a:pt x="4" y="6"/>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sp>
            <p:nvSpPr>
              <p:cNvPr id="771" name="Freeform 2120"/>
              <p:cNvSpPr>
                <a:spLocks/>
              </p:cNvSpPr>
              <p:nvPr/>
            </p:nvSpPr>
            <p:spPr bwMode="auto">
              <a:xfrm>
                <a:off x="3540" y="1088"/>
                <a:ext cx="16" cy="8"/>
              </a:xfrm>
              <a:custGeom>
                <a:avLst/>
                <a:gdLst/>
                <a:ahLst/>
                <a:cxnLst>
                  <a:cxn ang="0">
                    <a:pos x="16" y="8"/>
                  </a:cxn>
                  <a:cxn ang="0">
                    <a:pos x="14" y="8"/>
                  </a:cxn>
                  <a:cxn ang="0">
                    <a:pos x="12" y="8"/>
                  </a:cxn>
                  <a:cxn ang="0">
                    <a:pos x="10" y="6"/>
                  </a:cxn>
                  <a:cxn ang="0">
                    <a:pos x="8" y="8"/>
                  </a:cxn>
                  <a:cxn ang="0">
                    <a:pos x="6" y="8"/>
                  </a:cxn>
                  <a:cxn ang="0">
                    <a:pos x="4" y="6"/>
                  </a:cxn>
                  <a:cxn ang="0">
                    <a:pos x="2" y="4"/>
                  </a:cxn>
                  <a:cxn ang="0">
                    <a:pos x="0" y="2"/>
                  </a:cxn>
                  <a:cxn ang="0">
                    <a:pos x="0" y="0"/>
                  </a:cxn>
                  <a:cxn ang="0">
                    <a:pos x="4" y="0"/>
                  </a:cxn>
                  <a:cxn ang="0">
                    <a:pos x="8" y="0"/>
                  </a:cxn>
                  <a:cxn ang="0">
                    <a:pos x="14" y="4"/>
                  </a:cxn>
                  <a:cxn ang="0">
                    <a:pos x="16" y="8"/>
                  </a:cxn>
                </a:cxnLst>
                <a:rect l="0" t="0" r="r" b="b"/>
                <a:pathLst>
                  <a:path w="16" h="8">
                    <a:moveTo>
                      <a:pt x="16" y="8"/>
                    </a:moveTo>
                    <a:lnTo>
                      <a:pt x="14" y="8"/>
                    </a:lnTo>
                    <a:lnTo>
                      <a:pt x="12" y="8"/>
                    </a:lnTo>
                    <a:lnTo>
                      <a:pt x="10" y="6"/>
                    </a:lnTo>
                    <a:lnTo>
                      <a:pt x="8" y="8"/>
                    </a:lnTo>
                    <a:lnTo>
                      <a:pt x="6" y="8"/>
                    </a:lnTo>
                    <a:lnTo>
                      <a:pt x="4" y="6"/>
                    </a:lnTo>
                    <a:lnTo>
                      <a:pt x="2" y="4"/>
                    </a:lnTo>
                    <a:lnTo>
                      <a:pt x="0" y="2"/>
                    </a:lnTo>
                    <a:lnTo>
                      <a:pt x="0" y="0"/>
                    </a:lnTo>
                    <a:lnTo>
                      <a:pt x="4" y="0"/>
                    </a:lnTo>
                    <a:lnTo>
                      <a:pt x="8" y="0"/>
                    </a:lnTo>
                    <a:lnTo>
                      <a:pt x="14" y="4"/>
                    </a:lnTo>
                    <a:lnTo>
                      <a:pt x="16" y="8"/>
                    </a:lnTo>
                    <a:close/>
                  </a:path>
                </a:pathLst>
              </a:custGeom>
              <a:grpFill/>
              <a:ln w="3175" cmpd="sng">
                <a:solidFill>
                  <a:schemeClr val="bg1"/>
                </a:solidFill>
                <a:round/>
                <a:headEnd/>
                <a:tailEnd/>
              </a:ln>
            </p:spPr>
            <p:txBody>
              <a:bodyPr>
                <a:prstTxWarp prst="textNoShape">
                  <a:avLst/>
                </a:prstTxWarp>
              </a:bodyPr>
              <a:lstStyle/>
              <a:p>
                <a:endParaRPr lang="en-GB">
                  <a:solidFill>
                    <a:srgbClr val="665546"/>
                  </a:solidFill>
                </a:endParaRPr>
              </a:p>
            </p:txBody>
          </p:sp>
        </p:grpSp>
        <p:sp>
          <p:nvSpPr>
            <p:cNvPr id="731" name="Freeform 2121"/>
            <p:cNvSpPr>
              <a:spLocks/>
            </p:cNvSpPr>
            <p:nvPr/>
          </p:nvSpPr>
          <p:spPr bwMode="auto">
            <a:xfrm>
              <a:off x="2727613" y="1594908"/>
              <a:ext cx="236489" cy="233832"/>
            </a:xfrm>
            <a:custGeom>
              <a:avLst/>
              <a:gdLst/>
              <a:ahLst/>
              <a:cxnLst>
                <a:cxn ang="0">
                  <a:pos x="170" y="126"/>
                </a:cxn>
                <a:cxn ang="0">
                  <a:pos x="162" y="130"/>
                </a:cxn>
                <a:cxn ang="0">
                  <a:pos x="160" y="138"/>
                </a:cxn>
                <a:cxn ang="0">
                  <a:pos x="160" y="152"/>
                </a:cxn>
                <a:cxn ang="0">
                  <a:pos x="152" y="160"/>
                </a:cxn>
                <a:cxn ang="0">
                  <a:pos x="158" y="162"/>
                </a:cxn>
                <a:cxn ang="0">
                  <a:pos x="158" y="176"/>
                </a:cxn>
                <a:cxn ang="0">
                  <a:pos x="152" y="162"/>
                </a:cxn>
                <a:cxn ang="0">
                  <a:pos x="146" y="154"/>
                </a:cxn>
                <a:cxn ang="0">
                  <a:pos x="136" y="140"/>
                </a:cxn>
                <a:cxn ang="0">
                  <a:pos x="132" y="136"/>
                </a:cxn>
                <a:cxn ang="0">
                  <a:pos x="134" y="146"/>
                </a:cxn>
                <a:cxn ang="0">
                  <a:pos x="140" y="154"/>
                </a:cxn>
                <a:cxn ang="0">
                  <a:pos x="132" y="154"/>
                </a:cxn>
                <a:cxn ang="0">
                  <a:pos x="122" y="150"/>
                </a:cxn>
                <a:cxn ang="0">
                  <a:pos x="118" y="138"/>
                </a:cxn>
                <a:cxn ang="0">
                  <a:pos x="120" y="120"/>
                </a:cxn>
                <a:cxn ang="0">
                  <a:pos x="100" y="104"/>
                </a:cxn>
                <a:cxn ang="0">
                  <a:pos x="90" y="96"/>
                </a:cxn>
                <a:cxn ang="0">
                  <a:pos x="68" y="90"/>
                </a:cxn>
                <a:cxn ang="0">
                  <a:pos x="68" y="80"/>
                </a:cxn>
                <a:cxn ang="0">
                  <a:pos x="56" y="68"/>
                </a:cxn>
                <a:cxn ang="0">
                  <a:pos x="44" y="58"/>
                </a:cxn>
                <a:cxn ang="0">
                  <a:pos x="38" y="62"/>
                </a:cxn>
                <a:cxn ang="0">
                  <a:pos x="48" y="70"/>
                </a:cxn>
                <a:cxn ang="0">
                  <a:pos x="40" y="88"/>
                </a:cxn>
                <a:cxn ang="0">
                  <a:pos x="28" y="74"/>
                </a:cxn>
                <a:cxn ang="0">
                  <a:pos x="16" y="72"/>
                </a:cxn>
                <a:cxn ang="0">
                  <a:pos x="6" y="60"/>
                </a:cxn>
                <a:cxn ang="0">
                  <a:pos x="6" y="44"/>
                </a:cxn>
                <a:cxn ang="0">
                  <a:pos x="12" y="22"/>
                </a:cxn>
                <a:cxn ang="0">
                  <a:pos x="2" y="16"/>
                </a:cxn>
                <a:cxn ang="0">
                  <a:pos x="12" y="16"/>
                </a:cxn>
                <a:cxn ang="0">
                  <a:pos x="12" y="6"/>
                </a:cxn>
                <a:cxn ang="0">
                  <a:pos x="28" y="4"/>
                </a:cxn>
                <a:cxn ang="0">
                  <a:pos x="40" y="10"/>
                </a:cxn>
                <a:cxn ang="0">
                  <a:pos x="68" y="8"/>
                </a:cxn>
                <a:cxn ang="0">
                  <a:pos x="92" y="24"/>
                </a:cxn>
                <a:cxn ang="0">
                  <a:pos x="100" y="24"/>
                </a:cxn>
                <a:cxn ang="0">
                  <a:pos x="110" y="28"/>
                </a:cxn>
                <a:cxn ang="0">
                  <a:pos x="120" y="24"/>
                </a:cxn>
                <a:cxn ang="0">
                  <a:pos x="122" y="18"/>
                </a:cxn>
                <a:cxn ang="0">
                  <a:pos x="126" y="24"/>
                </a:cxn>
                <a:cxn ang="0">
                  <a:pos x="130" y="40"/>
                </a:cxn>
                <a:cxn ang="0">
                  <a:pos x="154" y="68"/>
                </a:cxn>
                <a:cxn ang="0">
                  <a:pos x="164" y="82"/>
                </a:cxn>
                <a:cxn ang="0">
                  <a:pos x="176" y="90"/>
                </a:cxn>
                <a:cxn ang="0">
                  <a:pos x="174" y="96"/>
                </a:cxn>
                <a:cxn ang="0">
                  <a:pos x="166" y="90"/>
                </a:cxn>
                <a:cxn ang="0">
                  <a:pos x="158" y="112"/>
                </a:cxn>
              </a:cxnLst>
              <a:rect l="0" t="0" r="r" b="b"/>
              <a:pathLst>
                <a:path w="178" h="176">
                  <a:moveTo>
                    <a:pt x="158" y="118"/>
                  </a:moveTo>
                  <a:lnTo>
                    <a:pt x="160" y="118"/>
                  </a:lnTo>
                  <a:lnTo>
                    <a:pt x="168" y="124"/>
                  </a:lnTo>
                  <a:lnTo>
                    <a:pt x="170" y="126"/>
                  </a:lnTo>
                  <a:lnTo>
                    <a:pt x="168" y="128"/>
                  </a:lnTo>
                  <a:lnTo>
                    <a:pt x="166" y="128"/>
                  </a:lnTo>
                  <a:lnTo>
                    <a:pt x="164" y="130"/>
                  </a:lnTo>
                  <a:lnTo>
                    <a:pt x="162" y="130"/>
                  </a:lnTo>
                  <a:lnTo>
                    <a:pt x="160" y="132"/>
                  </a:lnTo>
                  <a:lnTo>
                    <a:pt x="158" y="134"/>
                  </a:lnTo>
                  <a:lnTo>
                    <a:pt x="158" y="136"/>
                  </a:lnTo>
                  <a:lnTo>
                    <a:pt x="160" y="138"/>
                  </a:lnTo>
                  <a:lnTo>
                    <a:pt x="164" y="142"/>
                  </a:lnTo>
                  <a:lnTo>
                    <a:pt x="164" y="146"/>
                  </a:lnTo>
                  <a:lnTo>
                    <a:pt x="164" y="150"/>
                  </a:lnTo>
                  <a:lnTo>
                    <a:pt x="160" y="152"/>
                  </a:lnTo>
                  <a:lnTo>
                    <a:pt x="158" y="154"/>
                  </a:lnTo>
                  <a:lnTo>
                    <a:pt x="156" y="154"/>
                  </a:lnTo>
                  <a:lnTo>
                    <a:pt x="152" y="158"/>
                  </a:lnTo>
                  <a:lnTo>
                    <a:pt x="152" y="160"/>
                  </a:lnTo>
                  <a:lnTo>
                    <a:pt x="154" y="160"/>
                  </a:lnTo>
                  <a:lnTo>
                    <a:pt x="154" y="162"/>
                  </a:lnTo>
                  <a:lnTo>
                    <a:pt x="156" y="162"/>
                  </a:lnTo>
                  <a:lnTo>
                    <a:pt x="158" y="162"/>
                  </a:lnTo>
                  <a:lnTo>
                    <a:pt x="160" y="170"/>
                  </a:lnTo>
                  <a:lnTo>
                    <a:pt x="160" y="172"/>
                  </a:lnTo>
                  <a:lnTo>
                    <a:pt x="160" y="174"/>
                  </a:lnTo>
                  <a:lnTo>
                    <a:pt x="158" y="176"/>
                  </a:lnTo>
                  <a:lnTo>
                    <a:pt x="160" y="170"/>
                  </a:lnTo>
                  <a:lnTo>
                    <a:pt x="156" y="166"/>
                  </a:lnTo>
                  <a:lnTo>
                    <a:pt x="154" y="164"/>
                  </a:lnTo>
                  <a:lnTo>
                    <a:pt x="152" y="162"/>
                  </a:lnTo>
                  <a:lnTo>
                    <a:pt x="148" y="160"/>
                  </a:lnTo>
                  <a:lnTo>
                    <a:pt x="146" y="158"/>
                  </a:lnTo>
                  <a:lnTo>
                    <a:pt x="146" y="156"/>
                  </a:lnTo>
                  <a:lnTo>
                    <a:pt x="146" y="154"/>
                  </a:lnTo>
                  <a:lnTo>
                    <a:pt x="148" y="152"/>
                  </a:lnTo>
                  <a:lnTo>
                    <a:pt x="144" y="144"/>
                  </a:lnTo>
                  <a:lnTo>
                    <a:pt x="142" y="142"/>
                  </a:lnTo>
                  <a:lnTo>
                    <a:pt x="136" y="140"/>
                  </a:lnTo>
                  <a:lnTo>
                    <a:pt x="136" y="138"/>
                  </a:lnTo>
                  <a:lnTo>
                    <a:pt x="136" y="136"/>
                  </a:lnTo>
                  <a:lnTo>
                    <a:pt x="134" y="136"/>
                  </a:lnTo>
                  <a:lnTo>
                    <a:pt x="132" y="136"/>
                  </a:lnTo>
                  <a:lnTo>
                    <a:pt x="128" y="138"/>
                  </a:lnTo>
                  <a:lnTo>
                    <a:pt x="130" y="144"/>
                  </a:lnTo>
                  <a:lnTo>
                    <a:pt x="132" y="144"/>
                  </a:lnTo>
                  <a:lnTo>
                    <a:pt x="134" y="146"/>
                  </a:lnTo>
                  <a:lnTo>
                    <a:pt x="136" y="146"/>
                  </a:lnTo>
                  <a:lnTo>
                    <a:pt x="138" y="148"/>
                  </a:lnTo>
                  <a:lnTo>
                    <a:pt x="140" y="150"/>
                  </a:lnTo>
                  <a:lnTo>
                    <a:pt x="140" y="154"/>
                  </a:lnTo>
                  <a:lnTo>
                    <a:pt x="138" y="156"/>
                  </a:lnTo>
                  <a:lnTo>
                    <a:pt x="136" y="156"/>
                  </a:lnTo>
                  <a:lnTo>
                    <a:pt x="134" y="154"/>
                  </a:lnTo>
                  <a:lnTo>
                    <a:pt x="132" y="154"/>
                  </a:lnTo>
                  <a:lnTo>
                    <a:pt x="130" y="152"/>
                  </a:lnTo>
                  <a:lnTo>
                    <a:pt x="128" y="152"/>
                  </a:lnTo>
                  <a:lnTo>
                    <a:pt x="126" y="152"/>
                  </a:lnTo>
                  <a:lnTo>
                    <a:pt x="122" y="150"/>
                  </a:lnTo>
                  <a:lnTo>
                    <a:pt x="114" y="144"/>
                  </a:lnTo>
                  <a:lnTo>
                    <a:pt x="114" y="142"/>
                  </a:lnTo>
                  <a:lnTo>
                    <a:pt x="116" y="140"/>
                  </a:lnTo>
                  <a:lnTo>
                    <a:pt x="118" y="138"/>
                  </a:lnTo>
                  <a:lnTo>
                    <a:pt x="122" y="130"/>
                  </a:lnTo>
                  <a:lnTo>
                    <a:pt x="122" y="128"/>
                  </a:lnTo>
                  <a:lnTo>
                    <a:pt x="122" y="124"/>
                  </a:lnTo>
                  <a:lnTo>
                    <a:pt x="120" y="120"/>
                  </a:lnTo>
                  <a:lnTo>
                    <a:pt x="116" y="114"/>
                  </a:lnTo>
                  <a:lnTo>
                    <a:pt x="112" y="112"/>
                  </a:lnTo>
                  <a:lnTo>
                    <a:pt x="104" y="104"/>
                  </a:lnTo>
                  <a:lnTo>
                    <a:pt x="100" y="104"/>
                  </a:lnTo>
                  <a:lnTo>
                    <a:pt x="96" y="102"/>
                  </a:lnTo>
                  <a:lnTo>
                    <a:pt x="94" y="102"/>
                  </a:lnTo>
                  <a:lnTo>
                    <a:pt x="92" y="100"/>
                  </a:lnTo>
                  <a:lnTo>
                    <a:pt x="90" y="96"/>
                  </a:lnTo>
                  <a:lnTo>
                    <a:pt x="80" y="94"/>
                  </a:lnTo>
                  <a:lnTo>
                    <a:pt x="74" y="94"/>
                  </a:lnTo>
                  <a:lnTo>
                    <a:pt x="72" y="94"/>
                  </a:lnTo>
                  <a:lnTo>
                    <a:pt x="68" y="90"/>
                  </a:lnTo>
                  <a:lnTo>
                    <a:pt x="66" y="86"/>
                  </a:lnTo>
                  <a:lnTo>
                    <a:pt x="66" y="84"/>
                  </a:lnTo>
                  <a:lnTo>
                    <a:pt x="66" y="82"/>
                  </a:lnTo>
                  <a:lnTo>
                    <a:pt x="68" y="80"/>
                  </a:lnTo>
                  <a:lnTo>
                    <a:pt x="64" y="72"/>
                  </a:lnTo>
                  <a:lnTo>
                    <a:pt x="62" y="68"/>
                  </a:lnTo>
                  <a:lnTo>
                    <a:pt x="58" y="68"/>
                  </a:lnTo>
                  <a:lnTo>
                    <a:pt x="56" y="68"/>
                  </a:lnTo>
                  <a:lnTo>
                    <a:pt x="54" y="66"/>
                  </a:lnTo>
                  <a:lnTo>
                    <a:pt x="54" y="64"/>
                  </a:lnTo>
                  <a:lnTo>
                    <a:pt x="46" y="58"/>
                  </a:lnTo>
                  <a:lnTo>
                    <a:pt x="44" y="58"/>
                  </a:lnTo>
                  <a:lnTo>
                    <a:pt x="36" y="56"/>
                  </a:lnTo>
                  <a:lnTo>
                    <a:pt x="36" y="60"/>
                  </a:lnTo>
                  <a:lnTo>
                    <a:pt x="36" y="62"/>
                  </a:lnTo>
                  <a:lnTo>
                    <a:pt x="38" y="62"/>
                  </a:lnTo>
                  <a:lnTo>
                    <a:pt x="40" y="64"/>
                  </a:lnTo>
                  <a:lnTo>
                    <a:pt x="38" y="66"/>
                  </a:lnTo>
                  <a:lnTo>
                    <a:pt x="40" y="66"/>
                  </a:lnTo>
                  <a:lnTo>
                    <a:pt x="48" y="70"/>
                  </a:lnTo>
                  <a:lnTo>
                    <a:pt x="52" y="72"/>
                  </a:lnTo>
                  <a:lnTo>
                    <a:pt x="54" y="76"/>
                  </a:lnTo>
                  <a:lnTo>
                    <a:pt x="50" y="80"/>
                  </a:lnTo>
                  <a:lnTo>
                    <a:pt x="40" y="88"/>
                  </a:lnTo>
                  <a:lnTo>
                    <a:pt x="36" y="80"/>
                  </a:lnTo>
                  <a:lnTo>
                    <a:pt x="34" y="78"/>
                  </a:lnTo>
                  <a:lnTo>
                    <a:pt x="30" y="76"/>
                  </a:lnTo>
                  <a:lnTo>
                    <a:pt x="28" y="74"/>
                  </a:lnTo>
                  <a:lnTo>
                    <a:pt x="24" y="74"/>
                  </a:lnTo>
                  <a:lnTo>
                    <a:pt x="20" y="74"/>
                  </a:lnTo>
                  <a:lnTo>
                    <a:pt x="18" y="74"/>
                  </a:lnTo>
                  <a:lnTo>
                    <a:pt x="16" y="72"/>
                  </a:lnTo>
                  <a:lnTo>
                    <a:pt x="14" y="72"/>
                  </a:lnTo>
                  <a:lnTo>
                    <a:pt x="10" y="66"/>
                  </a:lnTo>
                  <a:lnTo>
                    <a:pt x="8" y="62"/>
                  </a:lnTo>
                  <a:lnTo>
                    <a:pt x="6" y="60"/>
                  </a:lnTo>
                  <a:lnTo>
                    <a:pt x="4" y="56"/>
                  </a:lnTo>
                  <a:lnTo>
                    <a:pt x="2" y="52"/>
                  </a:lnTo>
                  <a:lnTo>
                    <a:pt x="2" y="46"/>
                  </a:lnTo>
                  <a:lnTo>
                    <a:pt x="6" y="44"/>
                  </a:lnTo>
                  <a:lnTo>
                    <a:pt x="14" y="34"/>
                  </a:lnTo>
                  <a:lnTo>
                    <a:pt x="16" y="32"/>
                  </a:lnTo>
                  <a:lnTo>
                    <a:pt x="14" y="22"/>
                  </a:lnTo>
                  <a:lnTo>
                    <a:pt x="12" y="22"/>
                  </a:lnTo>
                  <a:lnTo>
                    <a:pt x="10" y="20"/>
                  </a:lnTo>
                  <a:lnTo>
                    <a:pt x="6" y="20"/>
                  </a:lnTo>
                  <a:lnTo>
                    <a:pt x="0" y="18"/>
                  </a:lnTo>
                  <a:lnTo>
                    <a:pt x="2" y="16"/>
                  </a:lnTo>
                  <a:lnTo>
                    <a:pt x="4" y="14"/>
                  </a:lnTo>
                  <a:lnTo>
                    <a:pt x="6" y="14"/>
                  </a:lnTo>
                  <a:lnTo>
                    <a:pt x="10" y="16"/>
                  </a:lnTo>
                  <a:lnTo>
                    <a:pt x="12" y="16"/>
                  </a:lnTo>
                  <a:lnTo>
                    <a:pt x="12" y="14"/>
                  </a:lnTo>
                  <a:lnTo>
                    <a:pt x="14" y="8"/>
                  </a:lnTo>
                  <a:lnTo>
                    <a:pt x="14" y="6"/>
                  </a:lnTo>
                  <a:lnTo>
                    <a:pt x="12" y="6"/>
                  </a:lnTo>
                  <a:lnTo>
                    <a:pt x="18" y="0"/>
                  </a:lnTo>
                  <a:lnTo>
                    <a:pt x="20" y="0"/>
                  </a:lnTo>
                  <a:lnTo>
                    <a:pt x="22" y="2"/>
                  </a:lnTo>
                  <a:lnTo>
                    <a:pt x="28" y="4"/>
                  </a:lnTo>
                  <a:lnTo>
                    <a:pt x="30" y="4"/>
                  </a:lnTo>
                  <a:lnTo>
                    <a:pt x="36" y="6"/>
                  </a:lnTo>
                  <a:lnTo>
                    <a:pt x="38" y="8"/>
                  </a:lnTo>
                  <a:lnTo>
                    <a:pt x="40" y="10"/>
                  </a:lnTo>
                  <a:lnTo>
                    <a:pt x="42" y="10"/>
                  </a:lnTo>
                  <a:lnTo>
                    <a:pt x="44" y="12"/>
                  </a:lnTo>
                  <a:lnTo>
                    <a:pt x="54" y="16"/>
                  </a:lnTo>
                  <a:lnTo>
                    <a:pt x="68" y="8"/>
                  </a:lnTo>
                  <a:lnTo>
                    <a:pt x="84" y="14"/>
                  </a:lnTo>
                  <a:lnTo>
                    <a:pt x="88" y="18"/>
                  </a:lnTo>
                  <a:lnTo>
                    <a:pt x="92" y="22"/>
                  </a:lnTo>
                  <a:lnTo>
                    <a:pt x="92" y="24"/>
                  </a:lnTo>
                  <a:lnTo>
                    <a:pt x="94" y="24"/>
                  </a:lnTo>
                  <a:lnTo>
                    <a:pt x="96" y="26"/>
                  </a:lnTo>
                  <a:lnTo>
                    <a:pt x="98" y="24"/>
                  </a:lnTo>
                  <a:lnTo>
                    <a:pt x="100" y="24"/>
                  </a:lnTo>
                  <a:lnTo>
                    <a:pt x="104" y="24"/>
                  </a:lnTo>
                  <a:lnTo>
                    <a:pt x="106" y="26"/>
                  </a:lnTo>
                  <a:lnTo>
                    <a:pt x="108" y="28"/>
                  </a:lnTo>
                  <a:lnTo>
                    <a:pt x="110" y="28"/>
                  </a:lnTo>
                  <a:lnTo>
                    <a:pt x="112" y="26"/>
                  </a:lnTo>
                  <a:lnTo>
                    <a:pt x="114" y="24"/>
                  </a:lnTo>
                  <a:lnTo>
                    <a:pt x="116" y="24"/>
                  </a:lnTo>
                  <a:lnTo>
                    <a:pt x="120" y="24"/>
                  </a:lnTo>
                  <a:lnTo>
                    <a:pt x="122" y="24"/>
                  </a:lnTo>
                  <a:lnTo>
                    <a:pt x="122" y="22"/>
                  </a:lnTo>
                  <a:lnTo>
                    <a:pt x="122" y="20"/>
                  </a:lnTo>
                  <a:lnTo>
                    <a:pt x="122" y="18"/>
                  </a:lnTo>
                  <a:lnTo>
                    <a:pt x="124" y="18"/>
                  </a:lnTo>
                  <a:lnTo>
                    <a:pt x="124" y="20"/>
                  </a:lnTo>
                  <a:lnTo>
                    <a:pt x="124" y="22"/>
                  </a:lnTo>
                  <a:lnTo>
                    <a:pt x="126" y="24"/>
                  </a:lnTo>
                  <a:lnTo>
                    <a:pt x="126" y="26"/>
                  </a:lnTo>
                  <a:lnTo>
                    <a:pt x="126" y="30"/>
                  </a:lnTo>
                  <a:lnTo>
                    <a:pt x="128" y="36"/>
                  </a:lnTo>
                  <a:lnTo>
                    <a:pt x="130" y="40"/>
                  </a:lnTo>
                  <a:lnTo>
                    <a:pt x="134" y="46"/>
                  </a:lnTo>
                  <a:lnTo>
                    <a:pt x="138" y="52"/>
                  </a:lnTo>
                  <a:lnTo>
                    <a:pt x="150" y="68"/>
                  </a:lnTo>
                  <a:lnTo>
                    <a:pt x="154" y="68"/>
                  </a:lnTo>
                  <a:lnTo>
                    <a:pt x="154" y="70"/>
                  </a:lnTo>
                  <a:lnTo>
                    <a:pt x="156" y="72"/>
                  </a:lnTo>
                  <a:lnTo>
                    <a:pt x="160" y="76"/>
                  </a:lnTo>
                  <a:lnTo>
                    <a:pt x="164" y="82"/>
                  </a:lnTo>
                  <a:lnTo>
                    <a:pt x="168" y="86"/>
                  </a:lnTo>
                  <a:lnTo>
                    <a:pt x="170" y="88"/>
                  </a:lnTo>
                  <a:lnTo>
                    <a:pt x="174" y="88"/>
                  </a:lnTo>
                  <a:lnTo>
                    <a:pt x="176" y="90"/>
                  </a:lnTo>
                  <a:lnTo>
                    <a:pt x="178" y="92"/>
                  </a:lnTo>
                  <a:lnTo>
                    <a:pt x="178" y="94"/>
                  </a:lnTo>
                  <a:lnTo>
                    <a:pt x="176" y="96"/>
                  </a:lnTo>
                  <a:lnTo>
                    <a:pt x="174" y="96"/>
                  </a:lnTo>
                  <a:lnTo>
                    <a:pt x="172" y="94"/>
                  </a:lnTo>
                  <a:lnTo>
                    <a:pt x="170" y="92"/>
                  </a:lnTo>
                  <a:lnTo>
                    <a:pt x="168" y="90"/>
                  </a:lnTo>
                  <a:lnTo>
                    <a:pt x="166" y="90"/>
                  </a:lnTo>
                  <a:lnTo>
                    <a:pt x="164" y="90"/>
                  </a:lnTo>
                  <a:lnTo>
                    <a:pt x="162" y="90"/>
                  </a:lnTo>
                  <a:lnTo>
                    <a:pt x="158" y="96"/>
                  </a:lnTo>
                  <a:lnTo>
                    <a:pt x="158" y="112"/>
                  </a:lnTo>
                  <a:lnTo>
                    <a:pt x="158" y="11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732" name="Group 2139"/>
            <p:cNvGrpSpPr>
              <a:grpSpLocks/>
            </p:cNvGrpSpPr>
            <p:nvPr/>
          </p:nvGrpSpPr>
          <p:grpSpPr bwMode="auto">
            <a:xfrm>
              <a:off x="2929559" y="1714481"/>
              <a:ext cx="417177" cy="172716"/>
              <a:chOff x="1818" y="464"/>
              <a:chExt cx="314" cy="130"/>
            </a:xfrm>
            <a:solidFill>
              <a:srgbClr val="B9B9B9"/>
            </a:solidFill>
          </p:grpSpPr>
          <p:sp>
            <p:nvSpPr>
              <p:cNvPr id="739" name="Freeform 2122"/>
              <p:cNvSpPr>
                <a:spLocks/>
              </p:cNvSpPr>
              <p:nvPr/>
            </p:nvSpPr>
            <p:spPr bwMode="auto">
              <a:xfrm>
                <a:off x="1818" y="464"/>
                <a:ext cx="314" cy="130"/>
              </a:xfrm>
              <a:custGeom>
                <a:avLst/>
                <a:gdLst/>
                <a:ahLst/>
                <a:cxnLst>
                  <a:cxn ang="0">
                    <a:pos x="4" y="72"/>
                  </a:cxn>
                  <a:cxn ang="0">
                    <a:pos x="6" y="64"/>
                  </a:cxn>
                  <a:cxn ang="0">
                    <a:pos x="6" y="46"/>
                  </a:cxn>
                  <a:cxn ang="0">
                    <a:pos x="16" y="38"/>
                  </a:cxn>
                  <a:cxn ang="0">
                    <a:pos x="6" y="6"/>
                  </a:cxn>
                  <a:cxn ang="0">
                    <a:pos x="20" y="4"/>
                  </a:cxn>
                  <a:cxn ang="0">
                    <a:pos x="36" y="10"/>
                  </a:cxn>
                  <a:cxn ang="0">
                    <a:pos x="50" y="36"/>
                  </a:cxn>
                  <a:cxn ang="0">
                    <a:pos x="60" y="26"/>
                  </a:cxn>
                  <a:cxn ang="0">
                    <a:pos x="74" y="38"/>
                  </a:cxn>
                  <a:cxn ang="0">
                    <a:pos x="102" y="44"/>
                  </a:cxn>
                  <a:cxn ang="0">
                    <a:pos x="120" y="38"/>
                  </a:cxn>
                  <a:cxn ang="0">
                    <a:pos x="142" y="26"/>
                  </a:cxn>
                  <a:cxn ang="0">
                    <a:pos x="162" y="16"/>
                  </a:cxn>
                  <a:cxn ang="0">
                    <a:pos x="182" y="4"/>
                  </a:cxn>
                  <a:cxn ang="0">
                    <a:pos x="208" y="4"/>
                  </a:cxn>
                  <a:cxn ang="0">
                    <a:pos x="216" y="6"/>
                  </a:cxn>
                  <a:cxn ang="0">
                    <a:pos x="242" y="10"/>
                  </a:cxn>
                  <a:cxn ang="0">
                    <a:pos x="262" y="20"/>
                  </a:cxn>
                  <a:cxn ang="0">
                    <a:pos x="284" y="36"/>
                  </a:cxn>
                  <a:cxn ang="0">
                    <a:pos x="296" y="52"/>
                  </a:cxn>
                  <a:cxn ang="0">
                    <a:pos x="298" y="60"/>
                  </a:cxn>
                  <a:cxn ang="0">
                    <a:pos x="304" y="70"/>
                  </a:cxn>
                  <a:cxn ang="0">
                    <a:pos x="314" y="88"/>
                  </a:cxn>
                  <a:cxn ang="0">
                    <a:pos x="290" y="112"/>
                  </a:cxn>
                  <a:cxn ang="0">
                    <a:pos x="284" y="110"/>
                  </a:cxn>
                  <a:cxn ang="0">
                    <a:pos x="280" y="116"/>
                  </a:cxn>
                  <a:cxn ang="0">
                    <a:pos x="262" y="112"/>
                  </a:cxn>
                  <a:cxn ang="0">
                    <a:pos x="248" y="90"/>
                  </a:cxn>
                  <a:cxn ang="0">
                    <a:pos x="252" y="84"/>
                  </a:cxn>
                  <a:cxn ang="0">
                    <a:pos x="254" y="74"/>
                  </a:cxn>
                  <a:cxn ang="0">
                    <a:pos x="270" y="74"/>
                  </a:cxn>
                  <a:cxn ang="0">
                    <a:pos x="282" y="80"/>
                  </a:cxn>
                  <a:cxn ang="0">
                    <a:pos x="264" y="64"/>
                  </a:cxn>
                  <a:cxn ang="0">
                    <a:pos x="244" y="64"/>
                  </a:cxn>
                  <a:cxn ang="0">
                    <a:pos x="234" y="50"/>
                  </a:cxn>
                  <a:cxn ang="0">
                    <a:pos x="214" y="34"/>
                  </a:cxn>
                  <a:cxn ang="0">
                    <a:pos x="210" y="30"/>
                  </a:cxn>
                  <a:cxn ang="0">
                    <a:pos x="194" y="34"/>
                  </a:cxn>
                  <a:cxn ang="0">
                    <a:pos x="178" y="40"/>
                  </a:cxn>
                  <a:cxn ang="0">
                    <a:pos x="166" y="62"/>
                  </a:cxn>
                  <a:cxn ang="0">
                    <a:pos x="144" y="72"/>
                  </a:cxn>
                  <a:cxn ang="0">
                    <a:pos x="136" y="82"/>
                  </a:cxn>
                  <a:cxn ang="0">
                    <a:pos x="154" y="100"/>
                  </a:cxn>
                  <a:cxn ang="0">
                    <a:pos x="154" y="120"/>
                  </a:cxn>
                  <a:cxn ang="0">
                    <a:pos x="138" y="128"/>
                  </a:cxn>
                  <a:cxn ang="0">
                    <a:pos x="114" y="130"/>
                  </a:cxn>
                  <a:cxn ang="0">
                    <a:pos x="108" y="108"/>
                  </a:cxn>
                  <a:cxn ang="0">
                    <a:pos x="100" y="96"/>
                  </a:cxn>
                  <a:cxn ang="0">
                    <a:pos x="92" y="106"/>
                  </a:cxn>
                  <a:cxn ang="0">
                    <a:pos x="76" y="94"/>
                  </a:cxn>
                  <a:cxn ang="0">
                    <a:pos x="72" y="84"/>
                  </a:cxn>
                  <a:cxn ang="0">
                    <a:pos x="46" y="76"/>
                  </a:cxn>
                  <a:cxn ang="0">
                    <a:pos x="34" y="72"/>
                  </a:cxn>
                  <a:cxn ang="0">
                    <a:pos x="16" y="70"/>
                  </a:cxn>
                  <a:cxn ang="0">
                    <a:pos x="10" y="80"/>
                  </a:cxn>
                </a:cxnLst>
                <a:rect l="0" t="0" r="r" b="b"/>
                <a:pathLst>
                  <a:path w="314" h="130">
                    <a:moveTo>
                      <a:pt x="6" y="86"/>
                    </a:moveTo>
                    <a:lnTo>
                      <a:pt x="8" y="84"/>
                    </a:lnTo>
                    <a:lnTo>
                      <a:pt x="8" y="82"/>
                    </a:lnTo>
                    <a:lnTo>
                      <a:pt x="8" y="80"/>
                    </a:lnTo>
                    <a:lnTo>
                      <a:pt x="6" y="72"/>
                    </a:lnTo>
                    <a:lnTo>
                      <a:pt x="4" y="72"/>
                    </a:lnTo>
                    <a:lnTo>
                      <a:pt x="2" y="72"/>
                    </a:lnTo>
                    <a:lnTo>
                      <a:pt x="2" y="70"/>
                    </a:lnTo>
                    <a:lnTo>
                      <a:pt x="0" y="70"/>
                    </a:lnTo>
                    <a:lnTo>
                      <a:pt x="0" y="68"/>
                    </a:lnTo>
                    <a:lnTo>
                      <a:pt x="4" y="64"/>
                    </a:lnTo>
                    <a:lnTo>
                      <a:pt x="6" y="64"/>
                    </a:lnTo>
                    <a:lnTo>
                      <a:pt x="8" y="62"/>
                    </a:lnTo>
                    <a:lnTo>
                      <a:pt x="12" y="60"/>
                    </a:lnTo>
                    <a:lnTo>
                      <a:pt x="12" y="56"/>
                    </a:lnTo>
                    <a:lnTo>
                      <a:pt x="12" y="52"/>
                    </a:lnTo>
                    <a:lnTo>
                      <a:pt x="8" y="48"/>
                    </a:lnTo>
                    <a:lnTo>
                      <a:pt x="6" y="46"/>
                    </a:lnTo>
                    <a:lnTo>
                      <a:pt x="6" y="44"/>
                    </a:lnTo>
                    <a:lnTo>
                      <a:pt x="8" y="42"/>
                    </a:lnTo>
                    <a:lnTo>
                      <a:pt x="10" y="40"/>
                    </a:lnTo>
                    <a:lnTo>
                      <a:pt x="12" y="40"/>
                    </a:lnTo>
                    <a:lnTo>
                      <a:pt x="14" y="38"/>
                    </a:lnTo>
                    <a:lnTo>
                      <a:pt x="16" y="38"/>
                    </a:lnTo>
                    <a:lnTo>
                      <a:pt x="18" y="36"/>
                    </a:lnTo>
                    <a:lnTo>
                      <a:pt x="16" y="34"/>
                    </a:lnTo>
                    <a:lnTo>
                      <a:pt x="8" y="28"/>
                    </a:lnTo>
                    <a:lnTo>
                      <a:pt x="6" y="28"/>
                    </a:lnTo>
                    <a:lnTo>
                      <a:pt x="6" y="22"/>
                    </a:lnTo>
                    <a:lnTo>
                      <a:pt x="6" y="6"/>
                    </a:lnTo>
                    <a:lnTo>
                      <a:pt x="10" y="0"/>
                    </a:lnTo>
                    <a:lnTo>
                      <a:pt x="12" y="0"/>
                    </a:lnTo>
                    <a:lnTo>
                      <a:pt x="14" y="0"/>
                    </a:lnTo>
                    <a:lnTo>
                      <a:pt x="16" y="0"/>
                    </a:lnTo>
                    <a:lnTo>
                      <a:pt x="18" y="2"/>
                    </a:lnTo>
                    <a:lnTo>
                      <a:pt x="20" y="4"/>
                    </a:lnTo>
                    <a:lnTo>
                      <a:pt x="22" y="6"/>
                    </a:lnTo>
                    <a:lnTo>
                      <a:pt x="24" y="6"/>
                    </a:lnTo>
                    <a:lnTo>
                      <a:pt x="26" y="4"/>
                    </a:lnTo>
                    <a:lnTo>
                      <a:pt x="26" y="2"/>
                    </a:lnTo>
                    <a:lnTo>
                      <a:pt x="28" y="2"/>
                    </a:lnTo>
                    <a:lnTo>
                      <a:pt x="36" y="10"/>
                    </a:lnTo>
                    <a:lnTo>
                      <a:pt x="36" y="14"/>
                    </a:lnTo>
                    <a:lnTo>
                      <a:pt x="36" y="16"/>
                    </a:lnTo>
                    <a:lnTo>
                      <a:pt x="38" y="22"/>
                    </a:lnTo>
                    <a:lnTo>
                      <a:pt x="42" y="26"/>
                    </a:lnTo>
                    <a:lnTo>
                      <a:pt x="44" y="32"/>
                    </a:lnTo>
                    <a:lnTo>
                      <a:pt x="50" y="36"/>
                    </a:lnTo>
                    <a:lnTo>
                      <a:pt x="52" y="36"/>
                    </a:lnTo>
                    <a:lnTo>
                      <a:pt x="56" y="36"/>
                    </a:lnTo>
                    <a:lnTo>
                      <a:pt x="66" y="36"/>
                    </a:lnTo>
                    <a:lnTo>
                      <a:pt x="68" y="32"/>
                    </a:lnTo>
                    <a:lnTo>
                      <a:pt x="64" y="30"/>
                    </a:lnTo>
                    <a:lnTo>
                      <a:pt x="60" y="26"/>
                    </a:lnTo>
                    <a:lnTo>
                      <a:pt x="62" y="22"/>
                    </a:lnTo>
                    <a:lnTo>
                      <a:pt x="64" y="24"/>
                    </a:lnTo>
                    <a:lnTo>
                      <a:pt x="68" y="30"/>
                    </a:lnTo>
                    <a:lnTo>
                      <a:pt x="72" y="32"/>
                    </a:lnTo>
                    <a:lnTo>
                      <a:pt x="74" y="36"/>
                    </a:lnTo>
                    <a:lnTo>
                      <a:pt x="74" y="38"/>
                    </a:lnTo>
                    <a:lnTo>
                      <a:pt x="76" y="40"/>
                    </a:lnTo>
                    <a:lnTo>
                      <a:pt x="80" y="42"/>
                    </a:lnTo>
                    <a:lnTo>
                      <a:pt x="82" y="44"/>
                    </a:lnTo>
                    <a:lnTo>
                      <a:pt x="94" y="44"/>
                    </a:lnTo>
                    <a:lnTo>
                      <a:pt x="98" y="44"/>
                    </a:lnTo>
                    <a:lnTo>
                      <a:pt x="102" y="44"/>
                    </a:lnTo>
                    <a:lnTo>
                      <a:pt x="106" y="44"/>
                    </a:lnTo>
                    <a:lnTo>
                      <a:pt x="112" y="42"/>
                    </a:lnTo>
                    <a:lnTo>
                      <a:pt x="112" y="40"/>
                    </a:lnTo>
                    <a:lnTo>
                      <a:pt x="116" y="40"/>
                    </a:lnTo>
                    <a:lnTo>
                      <a:pt x="118" y="40"/>
                    </a:lnTo>
                    <a:lnTo>
                      <a:pt x="120" y="38"/>
                    </a:lnTo>
                    <a:lnTo>
                      <a:pt x="122" y="36"/>
                    </a:lnTo>
                    <a:lnTo>
                      <a:pt x="124" y="34"/>
                    </a:lnTo>
                    <a:lnTo>
                      <a:pt x="128" y="30"/>
                    </a:lnTo>
                    <a:lnTo>
                      <a:pt x="130" y="30"/>
                    </a:lnTo>
                    <a:lnTo>
                      <a:pt x="134" y="28"/>
                    </a:lnTo>
                    <a:lnTo>
                      <a:pt x="142" y="26"/>
                    </a:lnTo>
                    <a:lnTo>
                      <a:pt x="146" y="24"/>
                    </a:lnTo>
                    <a:lnTo>
                      <a:pt x="150" y="24"/>
                    </a:lnTo>
                    <a:lnTo>
                      <a:pt x="156" y="22"/>
                    </a:lnTo>
                    <a:lnTo>
                      <a:pt x="158" y="22"/>
                    </a:lnTo>
                    <a:lnTo>
                      <a:pt x="160" y="20"/>
                    </a:lnTo>
                    <a:lnTo>
                      <a:pt x="162" y="16"/>
                    </a:lnTo>
                    <a:lnTo>
                      <a:pt x="164" y="16"/>
                    </a:lnTo>
                    <a:lnTo>
                      <a:pt x="166" y="14"/>
                    </a:lnTo>
                    <a:lnTo>
                      <a:pt x="174" y="12"/>
                    </a:lnTo>
                    <a:lnTo>
                      <a:pt x="178" y="10"/>
                    </a:lnTo>
                    <a:lnTo>
                      <a:pt x="180" y="6"/>
                    </a:lnTo>
                    <a:lnTo>
                      <a:pt x="182" y="4"/>
                    </a:lnTo>
                    <a:lnTo>
                      <a:pt x="184" y="2"/>
                    </a:lnTo>
                    <a:lnTo>
                      <a:pt x="186" y="2"/>
                    </a:lnTo>
                    <a:lnTo>
                      <a:pt x="188" y="0"/>
                    </a:lnTo>
                    <a:lnTo>
                      <a:pt x="192" y="4"/>
                    </a:lnTo>
                    <a:lnTo>
                      <a:pt x="204" y="4"/>
                    </a:lnTo>
                    <a:lnTo>
                      <a:pt x="208" y="4"/>
                    </a:lnTo>
                    <a:lnTo>
                      <a:pt x="214" y="4"/>
                    </a:lnTo>
                    <a:lnTo>
                      <a:pt x="216" y="4"/>
                    </a:lnTo>
                    <a:lnTo>
                      <a:pt x="218" y="4"/>
                    </a:lnTo>
                    <a:lnTo>
                      <a:pt x="220" y="4"/>
                    </a:lnTo>
                    <a:lnTo>
                      <a:pt x="218" y="4"/>
                    </a:lnTo>
                    <a:lnTo>
                      <a:pt x="216" y="6"/>
                    </a:lnTo>
                    <a:lnTo>
                      <a:pt x="214" y="6"/>
                    </a:lnTo>
                    <a:lnTo>
                      <a:pt x="214" y="8"/>
                    </a:lnTo>
                    <a:lnTo>
                      <a:pt x="214" y="10"/>
                    </a:lnTo>
                    <a:lnTo>
                      <a:pt x="216" y="10"/>
                    </a:lnTo>
                    <a:lnTo>
                      <a:pt x="234" y="10"/>
                    </a:lnTo>
                    <a:lnTo>
                      <a:pt x="242" y="10"/>
                    </a:lnTo>
                    <a:lnTo>
                      <a:pt x="244" y="12"/>
                    </a:lnTo>
                    <a:lnTo>
                      <a:pt x="246" y="14"/>
                    </a:lnTo>
                    <a:lnTo>
                      <a:pt x="250" y="14"/>
                    </a:lnTo>
                    <a:lnTo>
                      <a:pt x="252" y="16"/>
                    </a:lnTo>
                    <a:lnTo>
                      <a:pt x="258" y="18"/>
                    </a:lnTo>
                    <a:lnTo>
                      <a:pt x="262" y="20"/>
                    </a:lnTo>
                    <a:lnTo>
                      <a:pt x="270" y="22"/>
                    </a:lnTo>
                    <a:lnTo>
                      <a:pt x="274" y="26"/>
                    </a:lnTo>
                    <a:lnTo>
                      <a:pt x="276" y="28"/>
                    </a:lnTo>
                    <a:lnTo>
                      <a:pt x="278" y="30"/>
                    </a:lnTo>
                    <a:lnTo>
                      <a:pt x="282" y="32"/>
                    </a:lnTo>
                    <a:lnTo>
                      <a:pt x="284" y="36"/>
                    </a:lnTo>
                    <a:lnTo>
                      <a:pt x="284" y="38"/>
                    </a:lnTo>
                    <a:lnTo>
                      <a:pt x="286" y="40"/>
                    </a:lnTo>
                    <a:lnTo>
                      <a:pt x="290" y="42"/>
                    </a:lnTo>
                    <a:lnTo>
                      <a:pt x="294" y="46"/>
                    </a:lnTo>
                    <a:lnTo>
                      <a:pt x="296" y="50"/>
                    </a:lnTo>
                    <a:lnTo>
                      <a:pt x="296" y="52"/>
                    </a:lnTo>
                    <a:lnTo>
                      <a:pt x="298" y="52"/>
                    </a:lnTo>
                    <a:lnTo>
                      <a:pt x="302" y="52"/>
                    </a:lnTo>
                    <a:lnTo>
                      <a:pt x="304" y="52"/>
                    </a:lnTo>
                    <a:lnTo>
                      <a:pt x="304" y="54"/>
                    </a:lnTo>
                    <a:lnTo>
                      <a:pt x="300" y="58"/>
                    </a:lnTo>
                    <a:lnTo>
                      <a:pt x="298" y="60"/>
                    </a:lnTo>
                    <a:lnTo>
                      <a:pt x="300" y="62"/>
                    </a:lnTo>
                    <a:lnTo>
                      <a:pt x="302" y="62"/>
                    </a:lnTo>
                    <a:lnTo>
                      <a:pt x="302" y="64"/>
                    </a:lnTo>
                    <a:lnTo>
                      <a:pt x="304" y="66"/>
                    </a:lnTo>
                    <a:lnTo>
                      <a:pt x="304" y="68"/>
                    </a:lnTo>
                    <a:lnTo>
                      <a:pt x="304" y="70"/>
                    </a:lnTo>
                    <a:lnTo>
                      <a:pt x="304" y="74"/>
                    </a:lnTo>
                    <a:lnTo>
                      <a:pt x="306" y="74"/>
                    </a:lnTo>
                    <a:lnTo>
                      <a:pt x="308" y="78"/>
                    </a:lnTo>
                    <a:lnTo>
                      <a:pt x="310" y="80"/>
                    </a:lnTo>
                    <a:lnTo>
                      <a:pt x="312" y="84"/>
                    </a:lnTo>
                    <a:lnTo>
                      <a:pt x="314" y="88"/>
                    </a:lnTo>
                    <a:lnTo>
                      <a:pt x="312" y="92"/>
                    </a:lnTo>
                    <a:lnTo>
                      <a:pt x="308" y="94"/>
                    </a:lnTo>
                    <a:lnTo>
                      <a:pt x="304" y="100"/>
                    </a:lnTo>
                    <a:lnTo>
                      <a:pt x="306" y="104"/>
                    </a:lnTo>
                    <a:lnTo>
                      <a:pt x="292" y="114"/>
                    </a:lnTo>
                    <a:lnTo>
                      <a:pt x="290" y="112"/>
                    </a:lnTo>
                    <a:lnTo>
                      <a:pt x="290" y="110"/>
                    </a:lnTo>
                    <a:lnTo>
                      <a:pt x="288" y="106"/>
                    </a:lnTo>
                    <a:lnTo>
                      <a:pt x="284" y="104"/>
                    </a:lnTo>
                    <a:lnTo>
                      <a:pt x="284" y="106"/>
                    </a:lnTo>
                    <a:lnTo>
                      <a:pt x="284" y="108"/>
                    </a:lnTo>
                    <a:lnTo>
                      <a:pt x="284" y="110"/>
                    </a:lnTo>
                    <a:lnTo>
                      <a:pt x="284" y="112"/>
                    </a:lnTo>
                    <a:lnTo>
                      <a:pt x="286" y="114"/>
                    </a:lnTo>
                    <a:lnTo>
                      <a:pt x="284" y="114"/>
                    </a:lnTo>
                    <a:lnTo>
                      <a:pt x="284" y="116"/>
                    </a:lnTo>
                    <a:lnTo>
                      <a:pt x="282" y="116"/>
                    </a:lnTo>
                    <a:lnTo>
                      <a:pt x="280" y="116"/>
                    </a:lnTo>
                    <a:lnTo>
                      <a:pt x="276" y="130"/>
                    </a:lnTo>
                    <a:lnTo>
                      <a:pt x="274" y="130"/>
                    </a:lnTo>
                    <a:lnTo>
                      <a:pt x="270" y="124"/>
                    </a:lnTo>
                    <a:lnTo>
                      <a:pt x="262" y="114"/>
                    </a:lnTo>
                    <a:lnTo>
                      <a:pt x="260" y="114"/>
                    </a:lnTo>
                    <a:lnTo>
                      <a:pt x="262" y="112"/>
                    </a:lnTo>
                    <a:lnTo>
                      <a:pt x="258" y="108"/>
                    </a:lnTo>
                    <a:lnTo>
                      <a:pt x="254" y="104"/>
                    </a:lnTo>
                    <a:lnTo>
                      <a:pt x="254" y="102"/>
                    </a:lnTo>
                    <a:lnTo>
                      <a:pt x="252" y="96"/>
                    </a:lnTo>
                    <a:lnTo>
                      <a:pt x="250" y="94"/>
                    </a:lnTo>
                    <a:lnTo>
                      <a:pt x="248" y="90"/>
                    </a:lnTo>
                    <a:lnTo>
                      <a:pt x="248" y="86"/>
                    </a:lnTo>
                    <a:lnTo>
                      <a:pt x="248" y="84"/>
                    </a:lnTo>
                    <a:lnTo>
                      <a:pt x="248" y="82"/>
                    </a:lnTo>
                    <a:lnTo>
                      <a:pt x="248" y="84"/>
                    </a:lnTo>
                    <a:lnTo>
                      <a:pt x="250" y="84"/>
                    </a:lnTo>
                    <a:lnTo>
                      <a:pt x="252" y="84"/>
                    </a:lnTo>
                    <a:lnTo>
                      <a:pt x="254" y="84"/>
                    </a:lnTo>
                    <a:lnTo>
                      <a:pt x="256" y="82"/>
                    </a:lnTo>
                    <a:lnTo>
                      <a:pt x="258" y="80"/>
                    </a:lnTo>
                    <a:lnTo>
                      <a:pt x="258" y="78"/>
                    </a:lnTo>
                    <a:lnTo>
                      <a:pt x="254" y="76"/>
                    </a:lnTo>
                    <a:lnTo>
                      <a:pt x="254" y="74"/>
                    </a:lnTo>
                    <a:lnTo>
                      <a:pt x="256" y="74"/>
                    </a:lnTo>
                    <a:lnTo>
                      <a:pt x="260" y="70"/>
                    </a:lnTo>
                    <a:lnTo>
                      <a:pt x="262" y="66"/>
                    </a:lnTo>
                    <a:lnTo>
                      <a:pt x="264" y="66"/>
                    </a:lnTo>
                    <a:lnTo>
                      <a:pt x="268" y="72"/>
                    </a:lnTo>
                    <a:lnTo>
                      <a:pt x="270" y="74"/>
                    </a:lnTo>
                    <a:lnTo>
                      <a:pt x="270" y="76"/>
                    </a:lnTo>
                    <a:lnTo>
                      <a:pt x="272" y="76"/>
                    </a:lnTo>
                    <a:lnTo>
                      <a:pt x="276" y="76"/>
                    </a:lnTo>
                    <a:lnTo>
                      <a:pt x="278" y="78"/>
                    </a:lnTo>
                    <a:lnTo>
                      <a:pt x="280" y="80"/>
                    </a:lnTo>
                    <a:lnTo>
                      <a:pt x="282" y="80"/>
                    </a:lnTo>
                    <a:lnTo>
                      <a:pt x="278" y="76"/>
                    </a:lnTo>
                    <a:lnTo>
                      <a:pt x="276" y="76"/>
                    </a:lnTo>
                    <a:lnTo>
                      <a:pt x="274" y="74"/>
                    </a:lnTo>
                    <a:lnTo>
                      <a:pt x="270" y="74"/>
                    </a:lnTo>
                    <a:lnTo>
                      <a:pt x="268" y="70"/>
                    </a:lnTo>
                    <a:lnTo>
                      <a:pt x="264" y="64"/>
                    </a:lnTo>
                    <a:lnTo>
                      <a:pt x="258" y="68"/>
                    </a:lnTo>
                    <a:lnTo>
                      <a:pt x="256" y="66"/>
                    </a:lnTo>
                    <a:lnTo>
                      <a:pt x="252" y="66"/>
                    </a:lnTo>
                    <a:lnTo>
                      <a:pt x="250" y="70"/>
                    </a:lnTo>
                    <a:lnTo>
                      <a:pt x="248" y="70"/>
                    </a:lnTo>
                    <a:lnTo>
                      <a:pt x="244" y="64"/>
                    </a:lnTo>
                    <a:lnTo>
                      <a:pt x="244" y="60"/>
                    </a:lnTo>
                    <a:lnTo>
                      <a:pt x="244" y="54"/>
                    </a:lnTo>
                    <a:lnTo>
                      <a:pt x="242" y="54"/>
                    </a:lnTo>
                    <a:lnTo>
                      <a:pt x="240" y="52"/>
                    </a:lnTo>
                    <a:lnTo>
                      <a:pt x="238" y="52"/>
                    </a:lnTo>
                    <a:lnTo>
                      <a:pt x="234" y="50"/>
                    </a:lnTo>
                    <a:lnTo>
                      <a:pt x="232" y="48"/>
                    </a:lnTo>
                    <a:lnTo>
                      <a:pt x="232" y="44"/>
                    </a:lnTo>
                    <a:lnTo>
                      <a:pt x="222" y="38"/>
                    </a:lnTo>
                    <a:lnTo>
                      <a:pt x="216" y="36"/>
                    </a:lnTo>
                    <a:lnTo>
                      <a:pt x="214" y="36"/>
                    </a:lnTo>
                    <a:lnTo>
                      <a:pt x="214" y="34"/>
                    </a:lnTo>
                    <a:lnTo>
                      <a:pt x="214" y="30"/>
                    </a:lnTo>
                    <a:lnTo>
                      <a:pt x="216" y="28"/>
                    </a:lnTo>
                    <a:lnTo>
                      <a:pt x="218" y="26"/>
                    </a:lnTo>
                    <a:lnTo>
                      <a:pt x="216" y="26"/>
                    </a:lnTo>
                    <a:lnTo>
                      <a:pt x="212" y="28"/>
                    </a:lnTo>
                    <a:lnTo>
                      <a:pt x="210" y="30"/>
                    </a:lnTo>
                    <a:lnTo>
                      <a:pt x="210" y="32"/>
                    </a:lnTo>
                    <a:lnTo>
                      <a:pt x="204" y="34"/>
                    </a:lnTo>
                    <a:lnTo>
                      <a:pt x="202" y="32"/>
                    </a:lnTo>
                    <a:lnTo>
                      <a:pt x="198" y="32"/>
                    </a:lnTo>
                    <a:lnTo>
                      <a:pt x="196" y="32"/>
                    </a:lnTo>
                    <a:lnTo>
                      <a:pt x="194" y="34"/>
                    </a:lnTo>
                    <a:lnTo>
                      <a:pt x="192" y="34"/>
                    </a:lnTo>
                    <a:lnTo>
                      <a:pt x="188" y="36"/>
                    </a:lnTo>
                    <a:lnTo>
                      <a:pt x="188" y="38"/>
                    </a:lnTo>
                    <a:lnTo>
                      <a:pt x="186" y="40"/>
                    </a:lnTo>
                    <a:lnTo>
                      <a:pt x="182" y="40"/>
                    </a:lnTo>
                    <a:lnTo>
                      <a:pt x="178" y="40"/>
                    </a:lnTo>
                    <a:lnTo>
                      <a:pt x="178" y="42"/>
                    </a:lnTo>
                    <a:lnTo>
                      <a:pt x="176" y="44"/>
                    </a:lnTo>
                    <a:lnTo>
                      <a:pt x="176" y="48"/>
                    </a:lnTo>
                    <a:lnTo>
                      <a:pt x="178" y="50"/>
                    </a:lnTo>
                    <a:lnTo>
                      <a:pt x="176" y="56"/>
                    </a:lnTo>
                    <a:lnTo>
                      <a:pt x="166" y="62"/>
                    </a:lnTo>
                    <a:lnTo>
                      <a:pt x="162" y="66"/>
                    </a:lnTo>
                    <a:lnTo>
                      <a:pt x="160" y="66"/>
                    </a:lnTo>
                    <a:lnTo>
                      <a:pt x="158" y="68"/>
                    </a:lnTo>
                    <a:lnTo>
                      <a:pt x="156" y="70"/>
                    </a:lnTo>
                    <a:lnTo>
                      <a:pt x="150" y="72"/>
                    </a:lnTo>
                    <a:lnTo>
                      <a:pt x="144" y="72"/>
                    </a:lnTo>
                    <a:lnTo>
                      <a:pt x="142" y="72"/>
                    </a:lnTo>
                    <a:lnTo>
                      <a:pt x="140" y="74"/>
                    </a:lnTo>
                    <a:lnTo>
                      <a:pt x="138" y="76"/>
                    </a:lnTo>
                    <a:lnTo>
                      <a:pt x="138" y="78"/>
                    </a:lnTo>
                    <a:lnTo>
                      <a:pt x="138" y="82"/>
                    </a:lnTo>
                    <a:lnTo>
                      <a:pt x="136" y="82"/>
                    </a:lnTo>
                    <a:lnTo>
                      <a:pt x="140" y="86"/>
                    </a:lnTo>
                    <a:lnTo>
                      <a:pt x="142" y="88"/>
                    </a:lnTo>
                    <a:lnTo>
                      <a:pt x="144" y="88"/>
                    </a:lnTo>
                    <a:lnTo>
                      <a:pt x="144" y="90"/>
                    </a:lnTo>
                    <a:lnTo>
                      <a:pt x="146" y="92"/>
                    </a:lnTo>
                    <a:lnTo>
                      <a:pt x="154" y="100"/>
                    </a:lnTo>
                    <a:lnTo>
                      <a:pt x="160" y="108"/>
                    </a:lnTo>
                    <a:lnTo>
                      <a:pt x="162" y="114"/>
                    </a:lnTo>
                    <a:lnTo>
                      <a:pt x="162" y="116"/>
                    </a:lnTo>
                    <a:lnTo>
                      <a:pt x="160" y="118"/>
                    </a:lnTo>
                    <a:lnTo>
                      <a:pt x="158" y="118"/>
                    </a:lnTo>
                    <a:lnTo>
                      <a:pt x="154" y="120"/>
                    </a:lnTo>
                    <a:lnTo>
                      <a:pt x="150" y="118"/>
                    </a:lnTo>
                    <a:lnTo>
                      <a:pt x="148" y="118"/>
                    </a:lnTo>
                    <a:lnTo>
                      <a:pt x="146" y="118"/>
                    </a:lnTo>
                    <a:lnTo>
                      <a:pt x="142" y="122"/>
                    </a:lnTo>
                    <a:lnTo>
                      <a:pt x="142" y="126"/>
                    </a:lnTo>
                    <a:lnTo>
                      <a:pt x="138" y="128"/>
                    </a:lnTo>
                    <a:lnTo>
                      <a:pt x="130" y="130"/>
                    </a:lnTo>
                    <a:lnTo>
                      <a:pt x="128" y="130"/>
                    </a:lnTo>
                    <a:lnTo>
                      <a:pt x="124" y="130"/>
                    </a:lnTo>
                    <a:lnTo>
                      <a:pt x="120" y="130"/>
                    </a:lnTo>
                    <a:lnTo>
                      <a:pt x="116" y="130"/>
                    </a:lnTo>
                    <a:lnTo>
                      <a:pt x="114" y="130"/>
                    </a:lnTo>
                    <a:lnTo>
                      <a:pt x="112" y="128"/>
                    </a:lnTo>
                    <a:lnTo>
                      <a:pt x="114" y="124"/>
                    </a:lnTo>
                    <a:lnTo>
                      <a:pt x="114" y="118"/>
                    </a:lnTo>
                    <a:lnTo>
                      <a:pt x="112" y="112"/>
                    </a:lnTo>
                    <a:lnTo>
                      <a:pt x="110" y="108"/>
                    </a:lnTo>
                    <a:lnTo>
                      <a:pt x="108" y="108"/>
                    </a:lnTo>
                    <a:lnTo>
                      <a:pt x="106" y="104"/>
                    </a:lnTo>
                    <a:lnTo>
                      <a:pt x="106" y="100"/>
                    </a:lnTo>
                    <a:lnTo>
                      <a:pt x="106" y="96"/>
                    </a:lnTo>
                    <a:lnTo>
                      <a:pt x="106" y="94"/>
                    </a:lnTo>
                    <a:lnTo>
                      <a:pt x="102" y="96"/>
                    </a:lnTo>
                    <a:lnTo>
                      <a:pt x="100" y="96"/>
                    </a:lnTo>
                    <a:lnTo>
                      <a:pt x="100" y="98"/>
                    </a:lnTo>
                    <a:lnTo>
                      <a:pt x="98" y="104"/>
                    </a:lnTo>
                    <a:lnTo>
                      <a:pt x="98" y="106"/>
                    </a:lnTo>
                    <a:lnTo>
                      <a:pt x="96" y="108"/>
                    </a:lnTo>
                    <a:lnTo>
                      <a:pt x="94" y="108"/>
                    </a:lnTo>
                    <a:lnTo>
                      <a:pt x="92" y="106"/>
                    </a:lnTo>
                    <a:lnTo>
                      <a:pt x="88" y="106"/>
                    </a:lnTo>
                    <a:lnTo>
                      <a:pt x="86" y="104"/>
                    </a:lnTo>
                    <a:lnTo>
                      <a:pt x="82" y="104"/>
                    </a:lnTo>
                    <a:lnTo>
                      <a:pt x="78" y="100"/>
                    </a:lnTo>
                    <a:lnTo>
                      <a:pt x="76" y="98"/>
                    </a:lnTo>
                    <a:lnTo>
                      <a:pt x="76" y="94"/>
                    </a:lnTo>
                    <a:lnTo>
                      <a:pt x="76" y="90"/>
                    </a:lnTo>
                    <a:lnTo>
                      <a:pt x="76" y="88"/>
                    </a:lnTo>
                    <a:lnTo>
                      <a:pt x="74" y="88"/>
                    </a:lnTo>
                    <a:lnTo>
                      <a:pt x="72" y="86"/>
                    </a:lnTo>
                    <a:lnTo>
                      <a:pt x="70" y="84"/>
                    </a:lnTo>
                    <a:lnTo>
                      <a:pt x="72" y="84"/>
                    </a:lnTo>
                    <a:lnTo>
                      <a:pt x="70" y="80"/>
                    </a:lnTo>
                    <a:lnTo>
                      <a:pt x="68" y="78"/>
                    </a:lnTo>
                    <a:lnTo>
                      <a:pt x="58" y="78"/>
                    </a:lnTo>
                    <a:lnTo>
                      <a:pt x="50" y="76"/>
                    </a:lnTo>
                    <a:lnTo>
                      <a:pt x="48" y="78"/>
                    </a:lnTo>
                    <a:lnTo>
                      <a:pt x="46" y="76"/>
                    </a:lnTo>
                    <a:lnTo>
                      <a:pt x="44" y="76"/>
                    </a:lnTo>
                    <a:lnTo>
                      <a:pt x="44" y="72"/>
                    </a:lnTo>
                    <a:lnTo>
                      <a:pt x="42" y="72"/>
                    </a:lnTo>
                    <a:lnTo>
                      <a:pt x="40" y="70"/>
                    </a:lnTo>
                    <a:lnTo>
                      <a:pt x="36" y="70"/>
                    </a:lnTo>
                    <a:lnTo>
                      <a:pt x="34" y="72"/>
                    </a:lnTo>
                    <a:lnTo>
                      <a:pt x="30" y="72"/>
                    </a:lnTo>
                    <a:lnTo>
                      <a:pt x="28" y="72"/>
                    </a:lnTo>
                    <a:lnTo>
                      <a:pt x="26" y="72"/>
                    </a:lnTo>
                    <a:lnTo>
                      <a:pt x="22" y="70"/>
                    </a:lnTo>
                    <a:lnTo>
                      <a:pt x="20" y="70"/>
                    </a:lnTo>
                    <a:lnTo>
                      <a:pt x="16" y="70"/>
                    </a:lnTo>
                    <a:lnTo>
                      <a:pt x="14" y="70"/>
                    </a:lnTo>
                    <a:lnTo>
                      <a:pt x="12" y="70"/>
                    </a:lnTo>
                    <a:lnTo>
                      <a:pt x="10" y="72"/>
                    </a:lnTo>
                    <a:lnTo>
                      <a:pt x="8" y="74"/>
                    </a:lnTo>
                    <a:lnTo>
                      <a:pt x="8" y="76"/>
                    </a:lnTo>
                    <a:lnTo>
                      <a:pt x="10" y="80"/>
                    </a:lnTo>
                    <a:lnTo>
                      <a:pt x="10" y="82"/>
                    </a:lnTo>
                    <a:lnTo>
                      <a:pt x="8" y="86"/>
                    </a:lnTo>
                    <a:lnTo>
                      <a:pt x="6" y="8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0" name="Freeform 2123"/>
              <p:cNvSpPr>
                <a:spLocks/>
              </p:cNvSpPr>
              <p:nvPr/>
            </p:nvSpPr>
            <p:spPr bwMode="auto">
              <a:xfrm>
                <a:off x="1856" y="472"/>
                <a:ext cx="6" cy="6"/>
              </a:xfrm>
              <a:custGeom>
                <a:avLst/>
                <a:gdLst/>
                <a:ahLst/>
                <a:cxnLst>
                  <a:cxn ang="0">
                    <a:pos x="0" y="2"/>
                  </a:cxn>
                  <a:cxn ang="0">
                    <a:pos x="4" y="0"/>
                  </a:cxn>
                  <a:cxn ang="0">
                    <a:pos x="6" y="4"/>
                  </a:cxn>
                  <a:cxn ang="0">
                    <a:pos x="6" y="6"/>
                  </a:cxn>
                  <a:cxn ang="0">
                    <a:pos x="4" y="6"/>
                  </a:cxn>
                  <a:cxn ang="0">
                    <a:pos x="0" y="2"/>
                  </a:cxn>
                </a:cxnLst>
                <a:rect l="0" t="0" r="r" b="b"/>
                <a:pathLst>
                  <a:path w="6" h="6">
                    <a:moveTo>
                      <a:pt x="0" y="2"/>
                    </a:moveTo>
                    <a:lnTo>
                      <a:pt x="4" y="0"/>
                    </a:lnTo>
                    <a:lnTo>
                      <a:pt x="6" y="4"/>
                    </a:lnTo>
                    <a:lnTo>
                      <a:pt x="6" y="6"/>
                    </a:lnTo>
                    <a:lnTo>
                      <a:pt x="4" y="6"/>
                    </a:lnTo>
                    <a:lnTo>
                      <a:pt x="0"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1" name="Freeform 2124"/>
              <p:cNvSpPr>
                <a:spLocks/>
              </p:cNvSpPr>
              <p:nvPr/>
            </p:nvSpPr>
            <p:spPr bwMode="auto">
              <a:xfrm>
                <a:off x="2036" y="526"/>
                <a:ext cx="8" cy="12"/>
              </a:xfrm>
              <a:custGeom>
                <a:avLst/>
                <a:gdLst/>
                <a:ahLst/>
                <a:cxnLst>
                  <a:cxn ang="0">
                    <a:pos x="6" y="0"/>
                  </a:cxn>
                  <a:cxn ang="0">
                    <a:pos x="6" y="2"/>
                  </a:cxn>
                  <a:cxn ang="0">
                    <a:pos x="8" y="4"/>
                  </a:cxn>
                  <a:cxn ang="0">
                    <a:pos x="8" y="8"/>
                  </a:cxn>
                  <a:cxn ang="0">
                    <a:pos x="6" y="10"/>
                  </a:cxn>
                  <a:cxn ang="0">
                    <a:pos x="2" y="12"/>
                  </a:cxn>
                  <a:cxn ang="0">
                    <a:pos x="0" y="10"/>
                  </a:cxn>
                  <a:cxn ang="0">
                    <a:pos x="0" y="2"/>
                  </a:cxn>
                  <a:cxn ang="0">
                    <a:pos x="4" y="0"/>
                  </a:cxn>
                  <a:cxn ang="0">
                    <a:pos x="6" y="0"/>
                  </a:cxn>
                </a:cxnLst>
                <a:rect l="0" t="0" r="r" b="b"/>
                <a:pathLst>
                  <a:path w="8" h="12">
                    <a:moveTo>
                      <a:pt x="6" y="0"/>
                    </a:moveTo>
                    <a:lnTo>
                      <a:pt x="6" y="2"/>
                    </a:lnTo>
                    <a:lnTo>
                      <a:pt x="8" y="4"/>
                    </a:lnTo>
                    <a:lnTo>
                      <a:pt x="8" y="8"/>
                    </a:lnTo>
                    <a:lnTo>
                      <a:pt x="6" y="10"/>
                    </a:lnTo>
                    <a:lnTo>
                      <a:pt x="2" y="12"/>
                    </a:lnTo>
                    <a:lnTo>
                      <a:pt x="0" y="10"/>
                    </a:lnTo>
                    <a:lnTo>
                      <a:pt x="0" y="2"/>
                    </a:lnTo>
                    <a:lnTo>
                      <a:pt x="4"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42" name="Freeform 2125"/>
              <p:cNvSpPr>
                <a:spLocks/>
              </p:cNvSpPr>
              <p:nvPr/>
            </p:nvSpPr>
            <p:spPr bwMode="auto">
              <a:xfrm>
                <a:off x="1880" y="570"/>
                <a:ext cx="14" cy="18"/>
              </a:xfrm>
              <a:custGeom>
                <a:avLst/>
                <a:gdLst/>
                <a:ahLst/>
                <a:cxnLst>
                  <a:cxn ang="0">
                    <a:pos x="6" y="0"/>
                  </a:cxn>
                  <a:cxn ang="0">
                    <a:pos x="8" y="2"/>
                  </a:cxn>
                  <a:cxn ang="0">
                    <a:pos x="8" y="6"/>
                  </a:cxn>
                  <a:cxn ang="0">
                    <a:pos x="8" y="8"/>
                  </a:cxn>
                  <a:cxn ang="0">
                    <a:pos x="8" y="10"/>
                  </a:cxn>
                  <a:cxn ang="0">
                    <a:pos x="8" y="12"/>
                  </a:cxn>
                  <a:cxn ang="0">
                    <a:pos x="10" y="14"/>
                  </a:cxn>
                  <a:cxn ang="0">
                    <a:pos x="12" y="14"/>
                  </a:cxn>
                  <a:cxn ang="0">
                    <a:pos x="14" y="14"/>
                  </a:cxn>
                  <a:cxn ang="0">
                    <a:pos x="14" y="16"/>
                  </a:cxn>
                  <a:cxn ang="0">
                    <a:pos x="14" y="18"/>
                  </a:cxn>
                  <a:cxn ang="0">
                    <a:pos x="12" y="18"/>
                  </a:cxn>
                  <a:cxn ang="0">
                    <a:pos x="6" y="16"/>
                  </a:cxn>
                  <a:cxn ang="0">
                    <a:pos x="2" y="12"/>
                  </a:cxn>
                  <a:cxn ang="0">
                    <a:pos x="0" y="10"/>
                  </a:cxn>
                  <a:cxn ang="0">
                    <a:pos x="0" y="8"/>
                  </a:cxn>
                  <a:cxn ang="0">
                    <a:pos x="6" y="0"/>
                  </a:cxn>
                </a:cxnLst>
                <a:rect l="0" t="0" r="r" b="b"/>
                <a:pathLst>
                  <a:path w="14" h="18">
                    <a:moveTo>
                      <a:pt x="6" y="0"/>
                    </a:moveTo>
                    <a:lnTo>
                      <a:pt x="8" y="2"/>
                    </a:lnTo>
                    <a:lnTo>
                      <a:pt x="8" y="6"/>
                    </a:lnTo>
                    <a:lnTo>
                      <a:pt x="8" y="8"/>
                    </a:lnTo>
                    <a:lnTo>
                      <a:pt x="8" y="10"/>
                    </a:lnTo>
                    <a:lnTo>
                      <a:pt x="8" y="12"/>
                    </a:lnTo>
                    <a:lnTo>
                      <a:pt x="10" y="14"/>
                    </a:lnTo>
                    <a:lnTo>
                      <a:pt x="12" y="14"/>
                    </a:lnTo>
                    <a:lnTo>
                      <a:pt x="14" y="14"/>
                    </a:lnTo>
                    <a:lnTo>
                      <a:pt x="14" y="16"/>
                    </a:lnTo>
                    <a:lnTo>
                      <a:pt x="14" y="18"/>
                    </a:lnTo>
                    <a:lnTo>
                      <a:pt x="12" y="18"/>
                    </a:lnTo>
                    <a:lnTo>
                      <a:pt x="6" y="16"/>
                    </a:lnTo>
                    <a:lnTo>
                      <a:pt x="2" y="12"/>
                    </a:lnTo>
                    <a:lnTo>
                      <a:pt x="0" y="10"/>
                    </a:lnTo>
                    <a:lnTo>
                      <a:pt x="0" y="8"/>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733" name="Freeform 2127"/>
            <p:cNvSpPr>
              <a:spLocks/>
            </p:cNvSpPr>
            <p:nvPr/>
          </p:nvSpPr>
          <p:spPr bwMode="auto">
            <a:xfrm>
              <a:off x="3211219" y="1512536"/>
              <a:ext cx="874211" cy="1201044"/>
            </a:xfrm>
            <a:custGeom>
              <a:avLst/>
              <a:gdLst/>
              <a:ahLst/>
              <a:cxnLst>
                <a:cxn ang="0">
                  <a:pos x="88" y="494"/>
                </a:cxn>
                <a:cxn ang="0">
                  <a:pos x="96" y="466"/>
                </a:cxn>
                <a:cxn ang="0">
                  <a:pos x="88" y="456"/>
                </a:cxn>
                <a:cxn ang="0">
                  <a:pos x="92" y="414"/>
                </a:cxn>
                <a:cxn ang="0">
                  <a:pos x="90" y="370"/>
                </a:cxn>
                <a:cxn ang="0">
                  <a:pos x="92" y="328"/>
                </a:cxn>
                <a:cxn ang="0">
                  <a:pos x="72" y="266"/>
                </a:cxn>
                <a:cxn ang="0">
                  <a:pos x="100" y="244"/>
                </a:cxn>
                <a:cxn ang="0">
                  <a:pos x="88" y="210"/>
                </a:cxn>
                <a:cxn ang="0">
                  <a:pos x="114" y="230"/>
                </a:cxn>
                <a:cxn ang="0">
                  <a:pos x="126" y="244"/>
                </a:cxn>
                <a:cxn ang="0">
                  <a:pos x="144" y="192"/>
                </a:cxn>
                <a:cxn ang="0">
                  <a:pos x="188" y="158"/>
                </a:cxn>
                <a:cxn ang="0">
                  <a:pos x="190" y="110"/>
                </a:cxn>
                <a:cxn ang="0">
                  <a:pos x="228" y="72"/>
                </a:cxn>
                <a:cxn ang="0">
                  <a:pos x="242" y="84"/>
                </a:cxn>
                <a:cxn ang="0">
                  <a:pos x="262" y="66"/>
                </a:cxn>
                <a:cxn ang="0">
                  <a:pos x="300" y="64"/>
                </a:cxn>
                <a:cxn ang="0">
                  <a:pos x="358" y="36"/>
                </a:cxn>
                <a:cxn ang="0">
                  <a:pos x="390" y="8"/>
                </a:cxn>
                <a:cxn ang="0">
                  <a:pos x="428" y="22"/>
                </a:cxn>
                <a:cxn ang="0">
                  <a:pos x="364" y="70"/>
                </a:cxn>
                <a:cxn ang="0">
                  <a:pos x="328" y="132"/>
                </a:cxn>
                <a:cxn ang="0">
                  <a:pos x="330" y="176"/>
                </a:cxn>
                <a:cxn ang="0">
                  <a:pos x="356" y="260"/>
                </a:cxn>
                <a:cxn ang="0">
                  <a:pos x="382" y="294"/>
                </a:cxn>
                <a:cxn ang="0">
                  <a:pos x="434" y="296"/>
                </a:cxn>
                <a:cxn ang="0">
                  <a:pos x="480" y="296"/>
                </a:cxn>
                <a:cxn ang="0">
                  <a:pos x="542" y="338"/>
                </a:cxn>
                <a:cxn ang="0">
                  <a:pos x="588" y="338"/>
                </a:cxn>
                <a:cxn ang="0">
                  <a:pos x="624" y="340"/>
                </a:cxn>
                <a:cxn ang="0">
                  <a:pos x="616" y="370"/>
                </a:cxn>
                <a:cxn ang="0">
                  <a:pos x="608" y="414"/>
                </a:cxn>
                <a:cxn ang="0">
                  <a:pos x="620" y="472"/>
                </a:cxn>
                <a:cxn ang="0">
                  <a:pos x="616" y="508"/>
                </a:cxn>
                <a:cxn ang="0">
                  <a:pos x="640" y="550"/>
                </a:cxn>
                <a:cxn ang="0">
                  <a:pos x="648" y="604"/>
                </a:cxn>
                <a:cxn ang="0">
                  <a:pos x="624" y="560"/>
                </a:cxn>
                <a:cxn ang="0">
                  <a:pos x="594" y="574"/>
                </a:cxn>
                <a:cxn ang="0">
                  <a:pos x="524" y="580"/>
                </a:cxn>
                <a:cxn ang="0">
                  <a:pos x="530" y="618"/>
                </a:cxn>
                <a:cxn ang="0">
                  <a:pos x="486" y="642"/>
                </a:cxn>
                <a:cxn ang="0">
                  <a:pos x="512" y="708"/>
                </a:cxn>
                <a:cxn ang="0">
                  <a:pos x="516" y="778"/>
                </a:cxn>
                <a:cxn ang="0">
                  <a:pos x="482" y="892"/>
                </a:cxn>
                <a:cxn ang="0">
                  <a:pos x="456" y="870"/>
                </a:cxn>
                <a:cxn ang="0">
                  <a:pos x="458" y="808"/>
                </a:cxn>
                <a:cxn ang="0">
                  <a:pos x="396" y="790"/>
                </a:cxn>
                <a:cxn ang="0">
                  <a:pos x="332" y="806"/>
                </a:cxn>
                <a:cxn ang="0">
                  <a:pos x="314" y="774"/>
                </a:cxn>
                <a:cxn ang="0">
                  <a:pos x="282" y="742"/>
                </a:cxn>
                <a:cxn ang="0">
                  <a:pos x="252" y="704"/>
                </a:cxn>
                <a:cxn ang="0">
                  <a:pos x="212" y="676"/>
                </a:cxn>
                <a:cxn ang="0">
                  <a:pos x="178" y="672"/>
                </a:cxn>
                <a:cxn ang="0">
                  <a:pos x="126" y="660"/>
                </a:cxn>
                <a:cxn ang="0">
                  <a:pos x="86" y="638"/>
                </a:cxn>
                <a:cxn ang="0">
                  <a:pos x="62" y="630"/>
                </a:cxn>
                <a:cxn ang="0">
                  <a:pos x="26" y="608"/>
                </a:cxn>
                <a:cxn ang="0">
                  <a:pos x="10" y="574"/>
                </a:cxn>
                <a:cxn ang="0">
                  <a:pos x="26" y="544"/>
                </a:cxn>
                <a:cxn ang="0">
                  <a:pos x="60" y="532"/>
                </a:cxn>
              </a:cxnLst>
              <a:rect l="0" t="0" r="r" b="b"/>
              <a:pathLst>
                <a:path w="658" h="904">
                  <a:moveTo>
                    <a:pt x="60" y="532"/>
                  </a:moveTo>
                  <a:lnTo>
                    <a:pt x="60" y="530"/>
                  </a:lnTo>
                  <a:lnTo>
                    <a:pt x="62" y="532"/>
                  </a:lnTo>
                  <a:lnTo>
                    <a:pt x="62" y="534"/>
                  </a:lnTo>
                  <a:lnTo>
                    <a:pt x="64" y="536"/>
                  </a:lnTo>
                  <a:lnTo>
                    <a:pt x="68" y="534"/>
                  </a:lnTo>
                  <a:lnTo>
                    <a:pt x="70" y="532"/>
                  </a:lnTo>
                  <a:lnTo>
                    <a:pt x="70" y="530"/>
                  </a:lnTo>
                  <a:lnTo>
                    <a:pt x="68" y="524"/>
                  </a:lnTo>
                  <a:lnTo>
                    <a:pt x="72" y="518"/>
                  </a:lnTo>
                  <a:lnTo>
                    <a:pt x="80" y="508"/>
                  </a:lnTo>
                  <a:lnTo>
                    <a:pt x="88" y="498"/>
                  </a:lnTo>
                  <a:lnTo>
                    <a:pt x="88" y="496"/>
                  </a:lnTo>
                  <a:lnTo>
                    <a:pt x="88" y="494"/>
                  </a:lnTo>
                  <a:lnTo>
                    <a:pt x="86" y="494"/>
                  </a:lnTo>
                  <a:lnTo>
                    <a:pt x="86" y="492"/>
                  </a:lnTo>
                  <a:lnTo>
                    <a:pt x="92" y="488"/>
                  </a:lnTo>
                  <a:lnTo>
                    <a:pt x="98" y="480"/>
                  </a:lnTo>
                  <a:lnTo>
                    <a:pt x="104" y="476"/>
                  </a:lnTo>
                  <a:lnTo>
                    <a:pt x="104" y="472"/>
                  </a:lnTo>
                  <a:lnTo>
                    <a:pt x="104" y="470"/>
                  </a:lnTo>
                  <a:lnTo>
                    <a:pt x="110" y="462"/>
                  </a:lnTo>
                  <a:lnTo>
                    <a:pt x="106" y="462"/>
                  </a:lnTo>
                  <a:lnTo>
                    <a:pt x="104" y="464"/>
                  </a:lnTo>
                  <a:lnTo>
                    <a:pt x="102" y="464"/>
                  </a:lnTo>
                  <a:lnTo>
                    <a:pt x="100" y="466"/>
                  </a:lnTo>
                  <a:lnTo>
                    <a:pt x="98" y="466"/>
                  </a:lnTo>
                  <a:lnTo>
                    <a:pt x="96" y="466"/>
                  </a:lnTo>
                  <a:lnTo>
                    <a:pt x="96" y="462"/>
                  </a:lnTo>
                  <a:lnTo>
                    <a:pt x="96" y="460"/>
                  </a:lnTo>
                  <a:lnTo>
                    <a:pt x="96" y="458"/>
                  </a:lnTo>
                  <a:lnTo>
                    <a:pt x="98" y="458"/>
                  </a:lnTo>
                  <a:lnTo>
                    <a:pt x="100" y="454"/>
                  </a:lnTo>
                  <a:lnTo>
                    <a:pt x="100" y="452"/>
                  </a:lnTo>
                  <a:lnTo>
                    <a:pt x="96" y="452"/>
                  </a:lnTo>
                  <a:lnTo>
                    <a:pt x="96" y="454"/>
                  </a:lnTo>
                  <a:lnTo>
                    <a:pt x="94" y="454"/>
                  </a:lnTo>
                  <a:lnTo>
                    <a:pt x="94" y="458"/>
                  </a:lnTo>
                  <a:lnTo>
                    <a:pt x="92" y="460"/>
                  </a:lnTo>
                  <a:lnTo>
                    <a:pt x="92" y="462"/>
                  </a:lnTo>
                  <a:lnTo>
                    <a:pt x="88" y="458"/>
                  </a:lnTo>
                  <a:lnTo>
                    <a:pt x="88" y="456"/>
                  </a:lnTo>
                  <a:lnTo>
                    <a:pt x="88" y="450"/>
                  </a:lnTo>
                  <a:lnTo>
                    <a:pt x="88" y="448"/>
                  </a:lnTo>
                  <a:lnTo>
                    <a:pt x="92" y="446"/>
                  </a:lnTo>
                  <a:lnTo>
                    <a:pt x="96" y="446"/>
                  </a:lnTo>
                  <a:lnTo>
                    <a:pt x="98" y="444"/>
                  </a:lnTo>
                  <a:lnTo>
                    <a:pt x="96" y="442"/>
                  </a:lnTo>
                  <a:lnTo>
                    <a:pt x="92" y="442"/>
                  </a:lnTo>
                  <a:lnTo>
                    <a:pt x="90" y="438"/>
                  </a:lnTo>
                  <a:lnTo>
                    <a:pt x="92" y="432"/>
                  </a:lnTo>
                  <a:lnTo>
                    <a:pt x="94" y="432"/>
                  </a:lnTo>
                  <a:lnTo>
                    <a:pt x="94" y="428"/>
                  </a:lnTo>
                  <a:lnTo>
                    <a:pt x="94" y="422"/>
                  </a:lnTo>
                  <a:lnTo>
                    <a:pt x="94" y="418"/>
                  </a:lnTo>
                  <a:lnTo>
                    <a:pt x="92" y="414"/>
                  </a:lnTo>
                  <a:lnTo>
                    <a:pt x="92" y="412"/>
                  </a:lnTo>
                  <a:lnTo>
                    <a:pt x="92" y="410"/>
                  </a:lnTo>
                  <a:lnTo>
                    <a:pt x="92" y="406"/>
                  </a:lnTo>
                  <a:lnTo>
                    <a:pt x="92" y="398"/>
                  </a:lnTo>
                  <a:lnTo>
                    <a:pt x="92" y="396"/>
                  </a:lnTo>
                  <a:lnTo>
                    <a:pt x="92" y="392"/>
                  </a:lnTo>
                  <a:lnTo>
                    <a:pt x="92" y="390"/>
                  </a:lnTo>
                  <a:lnTo>
                    <a:pt x="92" y="386"/>
                  </a:lnTo>
                  <a:lnTo>
                    <a:pt x="90" y="378"/>
                  </a:lnTo>
                  <a:lnTo>
                    <a:pt x="86" y="376"/>
                  </a:lnTo>
                  <a:lnTo>
                    <a:pt x="82" y="376"/>
                  </a:lnTo>
                  <a:lnTo>
                    <a:pt x="84" y="372"/>
                  </a:lnTo>
                  <a:lnTo>
                    <a:pt x="88" y="370"/>
                  </a:lnTo>
                  <a:lnTo>
                    <a:pt x="90" y="370"/>
                  </a:lnTo>
                  <a:lnTo>
                    <a:pt x="92" y="370"/>
                  </a:lnTo>
                  <a:lnTo>
                    <a:pt x="94" y="370"/>
                  </a:lnTo>
                  <a:lnTo>
                    <a:pt x="98" y="364"/>
                  </a:lnTo>
                  <a:lnTo>
                    <a:pt x="98" y="362"/>
                  </a:lnTo>
                  <a:lnTo>
                    <a:pt x="98" y="360"/>
                  </a:lnTo>
                  <a:lnTo>
                    <a:pt x="94" y="350"/>
                  </a:lnTo>
                  <a:lnTo>
                    <a:pt x="90" y="344"/>
                  </a:lnTo>
                  <a:lnTo>
                    <a:pt x="86" y="342"/>
                  </a:lnTo>
                  <a:lnTo>
                    <a:pt x="86" y="340"/>
                  </a:lnTo>
                  <a:lnTo>
                    <a:pt x="84" y="340"/>
                  </a:lnTo>
                  <a:lnTo>
                    <a:pt x="86" y="334"/>
                  </a:lnTo>
                  <a:lnTo>
                    <a:pt x="90" y="336"/>
                  </a:lnTo>
                  <a:lnTo>
                    <a:pt x="90" y="334"/>
                  </a:lnTo>
                  <a:lnTo>
                    <a:pt x="92" y="328"/>
                  </a:lnTo>
                  <a:lnTo>
                    <a:pt x="94" y="318"/>
                  </a:lnTo>
                  <a:lnTo>
                    <a:pt x="90" y="312"/>
                  </a:lnTo>
                  <a:lnTo>
                    <a:pt x="88" y="310"/>
                  </a:lnTo>
                  <a:lnTo>
                    <a:pt x="86" y="310"/>
                  </a:lnTo>
                  <a:lnTo>
                    <a:pt x="76" y="302"/>
                  </a:lnTo>
                  <a:lnTo>
                    <a:pt x="76" y="296"/>
                  </a:lnTo>
                  <a:lnTo>
                    <a:pt x="76" y="294"/>
                  </a:lnTo>
                  <a:lnTo>
                    <a:pt x="76" y="292"/>
                  </a:lnTo>
                  <a:lnTo>
                    <a:pt x="68" y="286"/>
                  </a:lnTo>
                  <a:lnTo>
                    <a:pt x="64" y="282"/>
                  </a:lnTo>
                  <a:lnTo>
                    <a:pt x="68" y="268"/>
                  </a:lnTo>
                  <a:lnTo>
                    <a:pt x="70" y="268"/>
                  </a:lnTo>
                  <a:lnTo>
                    <a:pt x="72" y="268"/>
                  </a:lnTo>
                  <a:lnTo>
                    <a:pt x="72" y="266"/>
                  </a:lnTo>
                  <a:lnTo>
                    <a:pt x="74" y="266"/>
                  </a:lnTo>
                  <a:lnTo>
                    <a:pt x="72" y="264"/>
                  </a:lnTo>
                  <a:lnTo>
                    <a:pt x="72" y="262"/>
                  </a:lnTo>
                  <a:lnTo>
                    <a:pt x="72" y="260"/>
                  </a:lnTo>
                  <a:lnTo>
                    <a:pt x="72" y="258"/>
                  </a:lnTo>
                  <a:lnTo>
                    <a:pt x="72" y="256"/>
                  </a:lnTo>
                  <a:lnTo>
                    <a:pt x="76" y="258"/>
                  </a:lnTo>
                  <a:lnTo>
                    <a:pt x="78" y="262"/>
                  </a:lnTo>
                  <a:lnTo>
                    <a:pt x="78" y="264"/>
                  </a:lnTo>
                  <a:lnTo>
                    <a:pt x="80" y="266"/>
                  </a:lnTo>
                  <a:lnTo>
                    <a:pt x="94" y="256"/>
                  </a:lnTo>
                  <a:lnTo>
                    <a:pt x="92" y="252"/>
                  </a:lnTo>
                  <a:lnTo>
                    <a:pt x="96" y="246"/>
                  </a:lnTo>
                  <a:lnTo>
                    <a:pt x="100" y="244"/>
                  </a:lnTo>
                  <a:lnTo>
                    <a:pt x="102" y="240"/>
                  </a:lnTo>
                  <a:lnTo>
                    <a:pt x="100" y="236"/>
                  </a:lnTo>
                  <a:lnTo>
                    <a:pt x="98" y="232"/>
                  </a:lnTo>
                  <a:lnTo>
                    <a:pt x="96" y="230"/>
                  </a:lnTo>
                  <a:lnTo>
                    <a:pt x="94" y="226"/>
                  </a:lnTo>
                  <a:lnTo>
                    <a:pt x="92" y="226"/>
                  </a:lnTo>
                  <a:lnTo>
                    <a:pt x="92" y="222"/>
                  </a:lnTo>
                  <a:lnTo>
                    <a:pt x="92" y="220"/>
                  </a:lnTo>
                  <a:lnTo>
                    <a:pt x="92" y="218"/>
                  </a:lnTo>
                  <a:lnTo>
                    <a:pt x="90" y="216"/>
                  </a:lnTo>
                  <a:lnTo>
                    <a:pt x="90" y="214"/>
                  </a:lnTo>
                  <a:lnTo>
                    <a:pt x="88" y="214"/>
                  </a:lnTo>
                  <a:lnTo>
                    <a:pt x="86" y="212"/>
                  </a:lnTo>
                  <a:lnTo>
                    <a:pt x="88" y="210"/>
                  </a:lnTo>
                  <a:lnTo>
                    <a:pt x="92" y="206"/>
                  </a:lnTo>
                  <a:lnTo>
                    <a:pt x="92" y="204"/>
                  </a:lnTo>
                  <a:lnTo>
                    <a:pt x="94" y="204"/>
                  </a:lnTo>
                  <a:lnTo>
                    <a:pt x="96" y="210"/>
                  </a:lnTo>
                  <a:lnTo>
                    <a:pt x="96" y="212"/>
                  </a:lnTo>
                  <a:lnTo>
                    <a:pt x="98" y="214"/>
                  </a:lnTo>
                  <a:lnTo>
                    <a:pt x="100" y="216"/>
                  </a:lnTo>
                  <a:lnTo>
                    <a:pt x="102" y="216"/>
                  </a:lnTo>
                  <a:lnTo>
                    <a:pt x="104" y="216"/>
                  </a:lnTo>
                  <a:lnTo>
                    <a:pt x="104" y="218"/>
                  </a:lnTo>
                  <a:lnTo>
                    <a:pt x="106" y="220"/>
                  </a:lnTo>
                  <a:lnTo>
                    <a:pt x="108" y="222"/>
                  </a:lnTo>
                  <a:lnTo>
                    <a:pt x="114" y="228"/>
                  </a:lnTo>
                  <a:lnTo>
                    <a:pt x="114" y="230"/>
                  </a:lnTo>
                  <a:lnTo>
                    <a:pt x="114" y="232"/>
                  </a:lnTo>
                  <a:lnTo>
                    <a:pt x="118" y="234"/>
                  </a:lnTo>
                  <a:lnTo>
                    <a:pt x="120" y="232"/>
                  </a:lnTo>
                  <a:lnTo>
                    <a:pt x="120" y="234"/>
                  </a:lnTo>
                  <a:lnTo>
                    <a:pt x="120" y="236"/>
                  </a:lnTo>
                  <a:lnTo>
                    <a:pt x="120" y="240"/>
                  </a:lnTo>
                  <a:lnTo>
                    <a:pt x="118" y="238"/>
                  </a:lnTo>
                  <a:lnTo>
                    <a:pt x="116" y="238"/>
                  </a:lnTo>
                  <a:lnTo>
                    <a:pt x="116" y="242"/>
                  </a:lnTo>
                  <a:lnTo>
                    <a:pt x="116" y="244"/>
                  </a:lnTo>
                  <a:lnTo>
                    <a:pt x="118" y="246"/>
                  </a:lnTo>
                  <a:lnTo>
                    <a:pt x="122" y="246"/>
                  </a:lnTo>
                  <a:lnTo>
                    <a:pt x="126" y="246"/>
                  </a:lnTo>
                  <a:lnTo>
                    <a:pt x="126" y="244"/>
                  </a:lnTo>
                  <a:lnTo>
                    <a:pt x="126" y="238"/>
                  </a:lnTo>
                  <a:lnTo>
                    <a:pt x="126" y="236"/>
                  </a:lnTo>
                  <a:lnTo>
                    <a:pt x="126" y="230"/>
                  </a:lnTo>
                  <a:lnTo>
                    <a:pt x="124" y="222"/>
                  </a:lnTo>
                  <a:lnTo>
                    <a:pt x="124" y="218"/>
                  </a:lnTo>
                  <a:lnTo>
                    <a:pt x="122" y="214"/>
                  </a:lnTo>
                  <a:lnTo>
                    <a:pt x="118" y="212"/>
                  </a:lnTo>
                  <a:lnTo>
                    <a:pt x="116" y="212"/>
                  </a:lnTo>
                  <a:lnTo>
                    <a:pt x="116" y="210"/>
                  </a:lnTo>
                  <a:lnTo>
                    <a:pt x="118" y="206"/>
                  </a:lnTo>
                  <a:lnTo>
                    <a:pt x="122" y="206"/>
                  </a:lnTo>
                  <a:lnTo>
                    <a:pt x="130" y="204"/>
                  </a:lnTo>
                  <a:lnTo>
                    <a:pt x="142" y="192"/>
                  </a:lnTo>
                  <a:lnTo>
                    <a:pt x="144" y="192"/>
                  </a:lnTo>
                  <a:lnTo>
                    <a:pt x="146" y="192"/>
                  </a:lnTo>
                  <a:lnTo>
                    <a:pt x="150" y="190"/>
                  </a:lnTo>
                  <a:lnTo>
                    <a:pt x="152" y="186"/>
                  </a:lnTo>
                  <a:lnTo>
                    <a:pt x="156" y="176"/>
                  </a:lnTo>
                  <a:lnTo>
                    <a:pt x="156" y="174"/>
                  </a:lnTo>
                  <a:lnTo>
                    <a:pt x="160" y="170"/>
                  </a:lnTo>
                  <a:lnTo>
                    <a:pt x="162" y="168"/>
                  </a:lnTo>
                  <a:lnTo>
                    <a:pt x="170" y="164"/>
                  </a:lnTo>
                  <a:lnTo>
                    <a:pt x="176" y="162"/>
                  </a:lnTo>
                  <a:lnTo>
                    <a:pt x="182" y="164"/>
                  </a:lnTo>
                  <a:lnTo>
                    <a:pt x="184" y="164"/>
                  </a:lnTo>
                  <a:lnTo>
                    <a:pt x="186" y="162"/>
                  </a:lnTo>
                  <a:lnTo>
                    <a:pt x="188" y="160"/>
                  </a:lnTo>
                  <a:lnTo>
                    <a:pt x="188" y="158"/>
                  </a:lnTo>
                  <a:lnTo>
                    <a:pt x="188" y="156"/>
                  </a:lnTo>
                  <a:lnTo>
                    <a:pt x="188" y="154"/>
                  </a:lnTo>
                  <a:lnTo>
                    <a:pt x="188" y="152"/>
                  </a:lnTo>
                  <a:lnTo>
                    <a:pt x="188" y="150"/>
                  </a:lnTo>
                  <a:lnTo>
                    <a:pt x="186" y="148"/>
                  </a:lnTo>
                  <a:lnTo>
                    <a:pt x="184" y="146"/>
                  </a:lnTo>
                  <a:lnTo>
                    <a:pt x="186" y="142"/>
                  </a:lnTo>
                  <a:lnTo>
                    <a:pt x="188" y="134"/>
                  </a:lnTo>
                  <a:lnTo>
                    <a:pt x="188" y="130"/>
                  </a:lnTo>
                  <a:lnTo>
                    <a:pt x="188" y="128"/>
                  </a:lnTo>
                  <a:lnTo>
                    <a:pt x="190" y="124"/>
                  </a:lnTo>
                  <a:lnTo>
                    <a:pt x="192" y="122"/>
                  </a:lnTo>
                  <a:lnTo>
                    <a:pt x="192" y="120"/>
                  </a:lnTo>
                  <a:lnTo>
                    <a:pt x="190" y="110"/>
                  </a:lnTo>
                  <a:lnTo>
                    <a:pt x="194" y="108"/>
                  </a:lnTo>
                  <a:lnTo>
                    <a:pt x="194" y="106"/>
                  </a:lnTo>
                  <a:lnTo>
                    <a:pt x="194" y="102"/>
                  </a:lnTo>
                  <a:lnTo>
                    <a:pt x="194" y="100"/>
                  </a:lnTo>
                  <a:lnTo>
                    <a:pt x="198" y="96"/>
                  </a:lnTo>
                  <a:lnTo>
                    <a:pt x="206" y="94"/>
                  </a:lnTo>
                  <a:lnTo>
                    <a:pt x="208" y="92"/>
                  </a:lnTo>
                  <a:lnTo>
                    <a:pt x="206" y="92"/>
                  </a:lnTo>
                  <a:lnTo>
                    <a:pt x="206" y="88"/>
                  </a:lnTo>
                  <a:lnTo>
                    <a:pt x="208" y="88"/>
                  </a:lnTo>
                  <a:lnTo>
                    <a:pt x="218" y="82"/>
                  </a:lnTo>
                  <a:lnTo>
                    <a:pt x="220" y="80"/>
                  </a:lnTo>
                  <a:lnTo>
                    <a:pt x="224" y="74"/>
                  </a:lnTo>
                  <a:lnTo>
                    <a:pt x="228" y="72"/>
                  </a:lnTo>
                  <a:lnTo>
                    <a:pt x="246" y="78"/>
                  </a:lnTo>
                  <a:lnTo>
                    <a:pt x="248" y="80"/>
                  </a:lnTo>
                  <a:lnTo>
                    <a:pt x="250" y="80"/>
                  </a:lnTo>
                  <a:lnTo>
                    <a:pt x="252" y="80"/>
                  </a:lnTo>
                  <a:lnTo>
                    <a:pt x="254" y="80"/>
                  </a:lnTo>
                  <a:lnTo>
                    <a:pt x="256" y="80"/>
                  </a:lnTo>
                  <a:lnTo>
                    <a:pt x="258" y="80"/>
                  </a:lnTo>
                  <a:lnTo>
                    <a:pt x="258" y="78"/>
                  </a:lnTo>
                  <a:lnTo>
                    <a:pt x="258" y="80"/>
                  </a:lnTo>
                  <a:lnTo>
                    <a:pt x="256" y="80"/>
                  </a:lnTo>
                  <a:lnTo>
                    <a:pt x="254" y="80"/>
                  </a:lnTo>
                  <a:lnTo>
                    <a:pt x="252" y="80"/>
                  </a:lnTo>
                  <a:lnTo>
                    <a:pt x="248" y="80"/>
                  </a:lnTo>
                  <a:lnTo>
                    <a:pt x="242" y="84"/>
                  </a:lnTo>
                  <a:lnTo>
                    <a:pt x="242" y="88"/>
                  </a:lnTo>
                  <a:lnTo>
                    <a:pt x="242" y="90"/>
                  </a:lnTo>
                  <a:lnTo>
                    <a:pt x="246" y="88"/>
                  </a:lnTo>
                  <a:lnTo>
                    <a:pt x="248" y="90"/>
                  </a:lnTo>
                  <a:lnTo>
                    <a:pt x="250" y="92"/>
                  </a:lnTo>
                  <a:lnTo>
                    <a:pt x="252" y="92"/>
                  </a:lnTo>
                  <a:lnTo>
                    <a:pt x="254" y="92"/>
                  </a:lnTo>
                  <a:lnTo>
                    <a:pt x="254" y="90"/>
                  </a:lnTo>
                  <a:lnTo>
                    <a:pt x="256" y="86"/>
                  </a:lnTo>
                  <a:lnTo>
                    <a:pt x="258" y="80"/>
                  </a:lnTo>
                  <a:lnTo>
                    <a:pt x="260" y="78"/>
                  </a:lnTo>
                  <a:lnTo>
                    <a:pt x="262" y="72"/>
                  </a:lnTo>
                  <a:lnTo>
                    <a:pt x="262" y="68"/>
                  </a:lnTo>
                  <a:lnTo>
                    <a:pt x="262" y="66"/>
                  </a:lnTo>
                  <a:lnTo>
                    <a:pt x="262" y="64"/>
                  </a:lnTo>
                  <a:lnTo>
                    <a:pt x="264" y="62"/>
                  </a:lnTo>
                  <a:lnTo>
                    <a:pt x="266" y="60"/>
                  </a:lnTo>
                  <a:lnTo>
                    <a:pt x="272" y="60"/>
                  </a:lnTo>
                  <a:lnTo>
                    <a:pt x="274" y="60"/>
                  </a:lnTo>
                  <a:lnTo>
                    <a:pt x="276" y="60"/>
                  </a:lnTo>
                  <a:lnTo>
                    <a:pt x="276" y="62"/>
                  </a:lnTo>
                  <a:lnTo>
                    <a:pt x="280" y="64"/>
                  </a:lnTo>
                  <a:lnTo>
                    <a:pt x="284" y="64"/>
                  </a:lnTo>
                  <a:lnTo>
                    <a:pt x="292" y="64"/>
                  </a:lnTo>
                  <a:lnTo>
                    <a:pt x="294" y="64"/>
                  </a:lnTo>
                  <a:lnTo>
                    <a:pt x="296" y="64"/>
                  </a:lnTo>
                  <a:lnTo>
                    <a:pt x="298" y="64"/>
                  </a:lnTo>
                  <a:lnTo>
                    <a:pt x="300" y="64"/>
                  </a:lnTo>
                  <a:lnTo>
                    <a:pt x="306" y="64"/>
                  </a:lnTo>
                  <a:lnTo>
                    <a:pt x="308" y="64"/>
                  </a:lnTo>
                  <a:lnTo>
                    <a:pt x="310" y="64"/>
                  </a:lnTo>
                  <a:lnTo>
                    <a:pt x="312" y="62"/>
                  </a:lnTo>
                  <a:lnTo>
                    <a:pt x="314" y="62"/>
                  </a:lnTo>
                  <a:lnTo>
                    <a:pt x="316" y="60"/>
                  </a:lnTo>
                  <a:lnTo>
                    <a:pt x="316" y="58"/>
                  </a:lnTo>
                  <a:lnTo>
                    <a:pt x="320" y="56"/>
                  </a:lnTo>
                  <a:lnTo>
                    <a:pt x="326" y="52"/>
                  </a:lnTo>
                  <a:lnTo>
                    <a:pt x="340" y="42"/>
                  </a:lnTo>
                  <a:lnTo>
                    <a:pt x="342" y="40"/>
                  </a:lnTo>
                  <a:lnTo>
                    <a:pt x="354" y="36"/>
                  </a:lnTo>
                  <a:lnTo>
                    <a:pt x="356" y="36"/>
                  </a:lnTo>
                  <a:lnTo>
                    <a:pt x="358" y="36"/>
                  </a:lnTo>
                  <a:lnTo>
                    <a:pt x="366" y="30"/>
                  </a:lnTo>
                  <a:lnTo>
                    <a:pt x="368" y="30"/>
                  </a:lnTo>
                  <a:lnTo>
                    <a:pt x="368" y="28"/>
                  </a:lnTo>
                  <a:lnTo>
                    <a:pt x="372" y="18"/>
                  </a:lnTo>
                  <a:lnTo>
                    <a:pt x="372" y="12"/>
                  </a:lnTo>
                  <a:lnTo>
                    <a:pt x="372" y="10"/>
                  </a:lnTo>
                  <a:lnTo>
                    <a:pt x="380" y="10"/>
                  </a:lnTo>
                  <a:lnTo>
                    <a:pt x="382" y="10"/>
                  </a:lnTo>
                  <a:lnTo>
                    <a:pt x="382" y="12"/>
                  </a:lnTo>
                  <a:lnTo>
                    <a:pt x="380" y="14"/>
                  </a:lnTo>
                  <a:lnTo>
                    <a:pt x="382" y="16"/>
                  </a:lnTo>
                  <a:lnTo>
                    <a:pt x="384" y="16"/>
                  </a:lnTo>
                  <a:lnTo>
                    <a:pt x="388" y="12"/>
                  </a:lnTo>
                  <a:lnTo>
                    <a:pt x="390" y="8"/>
                  </a:lnTo>
                  <a:lnTo>
                    <a:pt x="396" y="4"/>
                  </a:lnTo>
                  <a:lnTo>
                    <a:pt x="400" y="2"/>
                  </a:lnTo>
                  <a:lnTo>
                    <a:pt x="400" y="0"/>
                  </a:lnTo>
                  <a:lnTo>
                    <a:pt x="396" y="0"/>
                  </a:lnTo>
                  <a:lnTo>
                    <a:pt x="394" y="2"/>
                  </a:lnTo>
                  <a:lnTo>
                    <a:pt x="396" y="0"/>
                  </a:lnTo>
                  <a:lnTo>
                    <a:pt x="398" y="0"/>
                  </a:lnTo>
                  <a:lnTo>
                    <a:pt x="404" y="0"/>
                  </a:lnTo>
                  <a:lnTo>
                    <a:pt x="406" y="0"/>
                  </a:lnTo>
                  <a:lnTo>
                    <a:pt x="420" y="6"/>
                  </a:lnTo>
                  <a:lnTo>
                    <a:pt x="422" y="8"/>
                  </a:lnTo>
                  <a:lnTo>
                    <a:pt x="428" y="18"/>
                  </a:lnTo>
                  <a:lnTo>
                    <a:pt x="428" y="20"/>
                  </a:lnTo>
                  <a:lnTo>
                    <a:pt x="428" y="22"/>
                  </a:lnTo>
                  <a:lnTo>
                    <a:pt x="426" y="24"/>
                  </a:lnTo>
                  <a:lnTo>
                    <a:pt x="426" y="26"/>
                  </a:lnTo>
                  <a:lnTo>
                    <a:pt x="422" y="26"/>
                  </a:lnTo>
                  <a:lnTo>
                    <a:pt x="420" y="28"/>
                  </a:lnTo>
                  <a:lnTo>
                    <a:pt x="416" y="32"/>
                  </a:lnTo>
                  <a:lnTo>
                    <a:pt x="412" y="34"/>
                  </a:lnTo>
                  <a:lnTo>
                    <a:pt x="408" y="36"/>
                  </a:lnTo>
                  <a:lnTo>
                    <a:pt x="400" y="38"/>
                  </a:lnTo>
                  <a:lnTo>
                    <a:pt x="396" y="40"/>
                  </a:lnTo>
                  <a:lnTo>
                    <a:pt x="392" y="40"/>
                  </a:lnTo>
                  <a:lnTo>
                    <a:pt x="382" y="42"/>
                  </a:lnTo>
                  <a:lnTo>
                    <a:pt x="376" y="52"/>
                  </a:lnTo>
                  <a:lnTo>
                    <a:pt x="370" y="64"/>
                  </a:lnTo>
                  <a:lnTo>
                    <a:pt x="364" y="70"/>
                  </a:lnTo>
                  <a:lnTo>
                    <a:pt x="362" y="70"/>
                  </a:lnTo>
                  <a:lnTo>
                    <a:pt x="356" y="72"/>
                  </a:lnTo>
                  <a:lnTo>
                    <a:pt x="354" y="72"/>
                  </a:lnTo>
                  <a:lnTo>
                    <a:pt x="352" y="76"/>
                  </a:lnTo>
                  <a:lnTo>
                    <a:pt x="348" y="84"/>
                  </a:lnTo>
                  <a:lnTo>
                    <a:pt x="342" y="90"/>
                  </a:lnTo>
                  <a:lnTo>
                    <a:pt x="338" y="100"/>
                  </a:lnTo>
                  <a:lnTo>
                    <a:pt x="336" y="102"/>
                  </a:lnTo>
                  <a:lnTo>
                    <a:pt x="332" y="108"/>
                  </a:lnTo>
                  <a:lnTo>
                    <a:pt x="332" y="110"/>
                  </a:lnTo>
                  <a:lnTo>
                    <a:pt x="332" y="114"/>
                  </a:lnTo>
                  <a:lnTo>
                    <a:pt x="330" y="126"/>
                  </a:lnTo>
                  <a:lnTo>
                    <a:pt x="330" y="128"/>
                  </a:lnTo>
                  <a:lnTo>
                    <a:pt x="328" y="132"/>
                  </a:lnTo>
                  <a:lnTo>
                    <a:pt x="328" y="138"/>
                  </a:lnTo>
                  <a:lnTo>
                    <a:pt x="328" y="146"/>
                  </a:lnTo>
                  <a:lnTo>
                    <a:pt x="322" y="154"/>
                  </a:lnTo>
                  <a:lnTo>
                    <a:pt x="320" y="156"/>
                  </a:lnTo>
                  <a:lnTo>
                    <a:pt x="314" y="164"/>
                  </a:lnTo>
                  <a:lnTo>
                    <a:pt x="308" y="174"/>
                  </a:lnTo>
                  <a:lnTo>
                    <a:pt x="306" y="178"/>
                  </a:lnTo>
                  <a:lnTo>
                    <a:pt x="308" y="178"/>
                  </a:lnTo>
                  <a:lnTo>
                    <a:pt x="316" y="178"/>
                  </a:lnTo>
                  <a:lnTo>
                    <a:pt x="318" y="176"/>
                  </a:lnTo>
                  <a:lnTo>
                    <a:pt x="320" y="174"/>
                  </a:lnTo>
                  <a:lnTo>
                    <a:pt x="326" y="170"/>
                  </a:lnTo>
                  <a:lnTo>
                    <a:pt x="328" y="174"/>
                  </a:lnTo>
                  <a:lnTo>
                    <a:pt x="330" y="176"/>
                  </a:lnTo>
                  <a:lnTo>
                    <a:pt x="334" y="180"/>
                  </a:lnTo>
                  <a:lnTo>
                    <a:pt x="338" y="182"/>
                  </a:lnTo>
                  <a:lnTo>
                    <a:pt x="342" y="192"/>
                  </a:lnTo>
                  <a:lnTo>
                    <a:pt x="346" y="206"/>
                  </a:lnTo>
                  <a:lnTo>
                    <a:pt x="358" y="220"/>
                  </a:lnTo>
                  <a:lnTo>
                    <a:pt x="360" y="220"/>
                  </a:lnTo>
                  <a:lnTo>
                    <a:pt x="360" y="222"/>
                  </a:lnTo>
                  <a:lnTo>
                    <a:pt x="362" y="232"/>
                  </a:lnTo>
                  <a:lnTo>
                    <a:pt x="364" y="236"/>
                  </a:lnTo>
                  <a:lnTo>
                    <a:pt x="364" y="238"/>
                  </a:lnTo>
                  <a:lnTo>
                    <a:pt x="362" y="238"/>
                  </a:lnTo>
                  <a:lnTo>
                    <a:pt x="360" y="238"/>
                  </a:lnTo>
                  <a:lnTo>
                    <a:pt x="356" y="246"/>
                  </a:lnTo>
                  <a:lnTo>
                    <a:pt x="356" y="260"/>
                  </a:lnTo>
                  <a:lnTo>
                    <a:pt x="356" y="268"/>
                  </a:lnTo>
                  <a:lnTo>
                    <a:pt x="358" y="272"/>
                  </a:lnTo>
                  <a:lnTo>
                    <a:pt x="360" y="272"/>
                  </a:lnTo>
                  <a:lnTo>
                    <a:pt x="364" y="274"/>
                  </a:lnTo>
                  <a:lnTo>
                    <a:pt x="368" y="274"/>
                  </a:lnTo>
                  <a:lnTo>
                    <a:pt x="372" y="278"/>
                  </a:lnTo>
                  <a:lnTo>
                    <a:pt x="372" y="280"/>
                  </a:lnTo>
                  <a:lnTo>
                    <a:pt x="372" y="282"/>
                  </a:lnTo>
                  <a:lnTo>
                    <a:pt x="372" y="284"/>
                  </a:lnTo>
                  <a:lnTo>
                    <a:pt x="374" y="286"/>
                  </a:lnTo>
                  <a:lnTo>
                    <a:pt x="374" y="288"/>
                  </a:lnTo>
                  <a:lnTo>
                    <a:pt x="376" y="290"/>
                  </a:lnTo>
                  <a:lnTo>
                    <a:pt x="378" y="292"/>
                  </a:lnTo>
                  <a:lnTo>
                    <a:pt x="382" y="294"/>
                  </a:lnTo>
                  <a:lnTo>
                    <a:pt x="386" y="294"/>
                  </a:lnTo>
                  <a:lnTo>
                    <a:pt x="388" y="296"/>
                  </a:lnTo>
                  <a:lnTo>
                    <a:pt x="390" y="296"/>
                  </a:lnTo>
                  <a:lnTo>
                    <a:pt x="392" y="294"/>
                  </a:lnTo>
                  <a:lnTo>
                    <a:pt x="396" y="292"/>
                  </a:lnTo>
                  <a:lnTo>
                    <a:pt x="400" y="292"/>
                  </a:lnTo>
                  <a:lnTo>
                    <a:pt x="402" y="292"/>
                  </a:lnTo>
                  <a:lnTo>
                    <a:pt x="406" y="292"/>
                  </a:lnTo>
                  <a:lnTo>
                    <a:pt x="408" y="294"/>
                  </a:lnTo>
                  <a:lnTo>
                    <a:pt x="410" y="294"/>
                  </a:lnTo>
                  <a:lnTo>
                    <a:pt x="416" y="294"/>
                  </a:lnTo>
                  <a:lnTo>
                    <a:pt x="420" y="296"/>
                  </a:lnTo>
                  <a:lnTo>
                    <a:pt x="426" y="298"/>
                  </a:lnTo>
                  <a:lnTo>
                    <a:pt x="434" y="296"/>
                  </a:lnTo>
                  <a:lnTo>
                    <a:pt x="436" y="294"/>
                  </a:lnTo>
                  <a:lnTo>
                    <a:pt x="440" y="292"/>
                  </a:lnTo>
                  <a:lnTo>
                    <a:pt x="442" y="290"/>
                  </a:lnTo>
                  <a:lnTo>
                    <a:pt x="444" y="290"/>
                  </a:lnTo>
                  <a:lnTo>
                    <a:pt x="450" y="290"/>
                  </a:lnTo>
                  <a:lnTo>
                    <a:pt x="460" y="292"/>
                  </a:lnTo>
                  <a:lnTo>
                    <a:pt x="464" y="294"/>
                  </a:lnTo>
                  <a:lnTo>
                    <a:pt x="468" y="296"/>
                  </a:lnTo>
                  <a:lnTo>
                    <a:pt x="470" y="298"/>
                  </a:lnTo>
                  <a:lnTo>
                    <a:pt x="472" y="298"/>
                  </a:lnTo>
                  <a:lnTo>
                    <a:pt x="474" y="298"/>
                  </a:lnTo>
                  <a:lnTo>
                    <a:pt x="476" y="298"/>
                  </a:lnTo>
                  <a:lnTo>
                    <a:pt x="476" y="296"/>
                  </a:lnTo>
                  <a:lnTo>
                    <a:pt x="480" y="296"/>
                  </a:lnTo>
                  <a:lnTo>
                    <a:pt x="482" y="296"/>
                  </a:lnTo>
                  <a:lnTo>
                    <a:pt x="504" y="322"/>
                  </a:lnTo>
                  <a:lnTo>
                    <a:pt x="520" y="342"/>
                  </a:lnTo>
                  <a:lnTo>
                    <a:pt x="522" y="340"/>
                  </a:lnTo>
                  <a:lnTo>
                    <a:pt x="526" y="340"/>
                  </a:lnTo>
                  <a:lnTo>
                    <a:pt x="526" y="342"/>
                  </a:lnTo>
                  <a:lnTo>
                    <a:pt x="528" y="344"/>
                  </a:lnTo>
                  <a:lnTo>
                    <a:pt x="530" y="344"/>
                  </a:lnTo>
                  <a:lnTo>
                    <a:pt x="532" y="344"/>
                  </a:lnTo>
                  <a:lnTo>
                    <a:pt x="534" y="340"/>
                  </a:lnTo>
                  <a:lnTo>
                    <a:pt x="536" y="340"/>
                  </a:lnTo>
                  <a:lnTo>
                    <a:pt x="538" y="338"/>
                  </a:lnTo>
                  <a:lnTo>
                    <a:pt x="540" y="338"/>
                  </a:lnTo>
                  <a:lnTo>
                    <a:pt x="542" y="338"/>
                  </a:lnTo>
                  <a:lnTo>
                    <a:pt x="552" y="340"/>
                  </a:lnTo>
                  <a:lnTo>
                    <a:pt x="556" y="340"/>
                  </a:lnTo>
                  <a:lnTo>
                    <a:pt x="558" y="340"/>
                  </a:lnTo>
                  <a:lnTo>
                    <a:pt x="560" y="340"/>
                  </a:lnTo>
                  <a:lnTo>
                    <a:pt x="562" y="342"/>
                  </a:lnTo>
                  <a:lnTo>
                    <a:pt x="568" y="340"/>
                  </a:lnTo>
                  <a:lnTo>
                    <a:pt x="572" y="340"/>
                  </a:lnTo>
                  <a:lnTo>
                    <a:pt x="572" y="338"/>
                  </a:lnTo>
                  <a:lnTo>
                    <a:pt x="574" y="338"/>
                  </a:lnTo>
                  <a:lnTo>
                    <a:pt x="576" y="340"/>
                  </a:lnTo>
                  <a:lnTo>
                    <a:pt x="580" y="340"/>
                  </a:lnTo>
                  <a:lnTo>
                    <a:pt x="584" y="338"/>
                  </a:lnTo>
                  <a:lnTo>
                    <a:pt x="586" y="338"/>
                  </a:lnTo>
                  <a:lnTo>
                    <a:pt x="588" y="338"/>
                  </a:lnTo>
                  <a:lnTo>
                    <a:pt x="590" y="338"/>
                  </a:lnTo>
                  <a:lnTo>
                    <a:pt x="592" y="338"/>
                  </a:lnTo>
                  <a:lnTo>
                    <a:pt x="594" y="338"/>
                  </a:lnTo>
                  <a:lnTo>
                    <a:pt x="596" y="338"/>
                  </a:lnTo>
                  <a:lnTo>
                    <a:pt x="598" y="338"/>
                  </a:lnTo>
                  <a:lnTo>
                    <a:pt x="602" y="336"/>
                  </a:lnTo>
                  <a:lnTo>
                    <a:pt x="606" y="332"/>
                  </a:lnTo>
                  <a:lnTo>
                    <a:pt x="612" y="332"/>
                  </a:lnTo>
                  <a:lnTo>
                    <a:pt x="616" y="334"/>
                  </a:lnTo>
                  <a:lnTo>
                    <a:pt x="620" y="334"/>
                  </a:lnTo>
                  <a:lnTo>
                    <a:pt x="622" y="336"/>
                  </a:lnTo>
                  <a:lnTo>
                    <a:pt x="624" y="338"/>
                  </a:lnTo>
                  <a:lnTo>
                    <a:pt x="626" y="338"/>
                  </a:lnTo>
                  <a:lnTo>
                    <a:pt x="624" y="340"/>
                  </a:lnTo>
                  <a:lnTo>
                    <a:pt x="624" y="342"/>
                  </a:lnTo>
                  <a:lnTo>
                    <a:pt x="624" y="344"/>
                  </a:lnTo>
                  <a:lnTo>
                    <a:pt x="626" y="344"/>
                  </a:lnTo>
                  <a:lnTo>
                    <a:pt x="628" y="346"/>
                  </a:lnTo>
                  <a:lnTo>
                    <a:pt x="628" y="348"/>
                  </a:lnTo>
                  <a:lnTo>
                    <a:pt x="628" y="350"/>
                  </a:lnTo>
                  <a:lnTo>
                    <a:pt x="626" y="352"/>
                  </a:lnTo>
                  <a:lnTo>
                    <a:pt x="622" y="354"/>
                  </a:lnTo>
                  <a:lnTo>
                    <a:pt x="618" y="358"/>
                  </a:lnTo>
                  <a:lnTo>
                    <a:pt x="618" y="360"/>
                  </a:lnTo>
                  <a:lnTo>
                    <a:pt x="616" y="364"/>
                  </a:lnTo>
                  <a:lnTo>
                    <a:pt x="616" y="366"/>
                  </a:lnTo>
                  <a:lnTo>
                    <a:pt x="616" y="368"/>
                  </a:lnTo>
                  <a:lnTo>
                    <a:pt x="616" y="370"/>
                  </a:lnTo>
                  <a:lnTo>
                    <a:pt x="616" y="372"/>
                  </a:lnTo>
                  <a:lnTo>
                    <a:pt x="618" y="374"/>
                  </a:lnTo>
                  <a:lnTo>
                    <a:pt x="616" y="376"/>
                  </a:lnTo>
                  <a:lnTo>
                    <a:pt x="614" y="378"/>
                  </a:lnTo>
                  <a:lnTo>
                    <a:pt x="612" y="380"/>
                  </a:lnTo>
                  <a:lnTo>
                    <a:pt x="610" y="380"/>
                  </a:lnTo>
                  <a:lnTo>
                    <a:pt x="608" y="382"/>
                  </a:lnTo>
                  <a:lnTo>
                    <a:pt x="606" y="386"/>
                  </a:lnTo>
                  <a:lnTo>
                    <a:pt x="606" y="396"/>
                  </a:lnTo>
                  <a:lnTo>
                    <a:pt x="606" y="398"/>
                  </a:lnTo>
                  <a:lnTo>
                    <a:pt x="608" y="400"/>
                  </a:lnTo>
                  <a:lnTo>
                    <a:pt x="608" y="404"/>
                  </a:lnTo>
                  <a:lnTo>
                    <a:pt x="608" y="412"/>
                  </a:lnTo>
                  <a:lnTo>
                    <a:pt x="608" y="414"/>
                  </a:lnTo>
                  <a:lnTo>
                    <a:pt x="606" y="416"/>
                  </a:lnTo>
                  <a:lnTo>
                    <a:pt x="604" y="426"/>
                  </a:lnTo>
                  <a:lnTo>
                    <a:pt x="610" y="438"/>
                  </a:lnTo>
                  <a:lnTo>
                    <a:pt x="608" y="440"/>
                  </a:lnTo>
                  <a:lnTo>
                    <a:pt x="608" y="442"/>
                  </a:lnTo>
                  <a:lnTo>
                    <a:pt x="608" y="444"/>
                  </a:lnTo>
                  <a:lnTo>
                    <a:pt x="610" y="448"/>
                  </a:lnTo>
                  <a:lnTo>
                    <a:pt x="612" y="452"/>
                  </a:lnTo>
                  <a:lnTo>
                    <a:pt x="612" y="454"/>
                  </a:lnTo>
                  <a:lnTo>
                    <a:pt x="614" y="458"/>
                  </a:lnTo>
                  <a:lnTo>
                    <a:pt x="614" y="462"/>
                  </a:lnTo>
                  <a:lnTo>
                    <a:pt x="616" y="468"/>
                  </a:lnTo>
                  <a:lnTo>
                    <a:pt x="618" y="470"/>
                  </a:lnTo>
                  <a:lnTo>
                    <a:pt x="620" y="472"/>
                  </a:lnTo>
                  <a:lnTo>
                    <a:pt x="622" y="472"/>
                  </a:lnTo>
                  <a:lnTo>
                    <a:pt x="624" y="470"/>
                  </a:lnTo>
                  <a:lnTo>
                    <a:pt x="626" y="472"/>
                  </a:lnTo>
                  <a:lnTo>
                    <a:pt x="628" y="476"/>
                  </a:lnTo>
                  <a:lnTo>
                    <a:pt x="628" y="478"/>
                  </a:lnTo>
                  <a:lnTo>
                    <a:pt x="630" y="484"/>
                  </a:lnTo>
                  <a:lnTo>
                    <a:pt x="630" y="486"/>
                  </a:lnTo>
                  <a:lnTo>
                    <a:pt x="632" y="486"/>
                  </a:lnTo>
                  <a:lnTo>
                    <a:pt x="634" y="488"/>
                  </a:lnTo>
                  <a:lnTo>
                    <a:pt x="636" y="490"/>
                  </a:lnTo>
                  <a:lnTo>
                    <a:pt x="632" y="494"/>
                  </a:lnTo>
                  <a:lnTo>
                    <a:pt x="628" y="498"/>
                  </a:lnTo>
                  <a:lnTo>
                    <a:pt x="624" y="502"/>
                  </a:lnTo>
                  <a:lnTo>
                    <a:pt x="616" y="508"/>
                  </a:lnTo>
                  <a:lnTo>
                    <a:pt x="606" y="518"/>
                  </a:lnTo>
                  <a:lnTo>
                    <a:pt x="608" y="522"/>
                  </a:lnTo>
                  <a:lnTo>
                    <a:pt x="610" y="520"/>
                  </a:lnTo>
                  <a:lnTo>
                    <a:pt x="618" y="522"/>
                  </a:lnTo>
                  <a:lnTo>
                    <a:pt x="620" y="524"/>
                  </a:lnTo>
                  <a:lnTo>
                    <a:pt x="622" y="528"/>
                  </a:lnTo>
                  <a:lnTo>
                    <a:pt x="626" y="530"/>
                  </a:lnTo>
                  <a:lnTo>
                    <a:pt x="634" y="540"/>
                  </a:lnTo>
                  <a:lnTo>
                    <a:pt x="636" y="542"/>
                  </a:lnTo>
                  <a:lnTo>
                    <a:pt x="638" y="542"/>
                  </a:lnTo>
                  <a:lnTo>
                    <a:pt x="640" y="542"/>
                  </a:lnTo>
                  <a:lnTo>
                    <a:pt x="642" y="544"/>
                  </a:lnTo>
                  <a:lnTo>
                    <a:pt x="642" y="548"/>
                  </a:lnTo>
                  <a:lnTo>
                    <a:pt x="640" y="550"/>
                  </a:lnTo>
                  <a:lnTo>
                    <a:pt x="640" y="552"/>
                  </a:lnTo>
                  <a:lnTo>
                    <a:pt x="642" y="554"/>
                  </a:lnTo>
                  <a:lnTo>
                    <a:pt x="642" y="558"/>
                  </a:lnTo>
                  <a:lnTo>
                    <a:pt x="644" y="558"/>
                  </a:lnTo>
                  <a:lnTo>
                    <a:pt x="646" y="564"/>
                  </a:lnTo>
                  <a:lnTo>
                    <a:pt x="652" y="582"/>
                  </a:lnTo>
                  <a:lnTo>
                    <a:pt x="656" y="596"/>
                  </a:lnTo>
                  <a:lnTo>
                    <a:pt x="658" y="604"/>
                  </a:lnTo>
                  <a:lnTo>
                    <a:pt x="658" y="606"/>
                  </a:lnTo>
                  <a:lnTo>
                    <a:pt x="658" y="608"/>
                  </a:lnTo>
                  <a:lnTo>
                    <a:pt x="650" y="610"/>
                  </a:lnTo>
                  <a:lnTo>
                    <a:pt x="648" y="610"/>
                  </a:lnTo>
                  <a:lnTo>
                    <a:pt x="648" y="606"/>
                  </a:lnTo>
                  <a:lnTo>
                    <a:pt x="648" y="604"/>
                  </a:lnTo>
                  <a:lnTo>
                    <a:pt x="648" y="598"/>
                  </a:lnTo>
                  <a:lnTo>
                    <a:pt x="648" y="596"/>
                  </a:lnTo>
                  <a:lnTo>
                    <a:pt x="648" y="592"/>
                  </a:lnTo>
                  <a:lnTo>
                    <a:pt x="648" y="586"/>
                  </a:lnTo>
                  <a:lnTo>
                    <a:pt x="646" y="580"/>
                  </a:lnTo>
                  <a:lnTo>
                    <a:pt x="644" y="576"/>
                  </a:lnTo>
                  <a:lnTo>
                    <a:pt x="640" y="572"/>
                  </a:lnTo>
                  <a:lnTo>
                    <a:pt x="638" y="568"/>
                  </a:lnTo>
                  <a:lnTo>
                    <a:pt x="634" y="564"/>
                  </a:lnTo>
                  <a:lnTo>
                    <a:pt x="634" y="562"/>
                  </a:lnTo>
                  <a:lnTo>
                    <a:pt x="634" y="560"/>
                  </a:lnTo>
                  <a:lnTo>
                    <a:pt x="632" y="560"/>
                  </a:lnTo>
                  <a:lnTo>
                    <a:pt x="630" y="558"/>
                  </a:lnTo>
                  <a:lnTo>
                    <a:pt x="624" y="560"/>
                  </a:lnTo>
                  <a:lnTo>
                    <a:pt x="622" y="562"/>
                  </a:lnTo>
                  <a:lnTo>
                    <a:pt x="620" y="562"/>
                  </a:lnTo>
                  <a:lnTo>
                    <a:pt x="616" y="566"/>
                  </a:lnTo>
                  <a:lnTo>
                    <a:pt x="614" y="568"/>
                  </a:lnTo>
                  <a:lnTo>
                    <a:pt x="614" y="570"/>
                  </a:lnTo>
                  <a:lnTo>
                    <a:pt x="610" y="576"/>
                  </a:lnTo>
                  <a:lnTo>
                    <a:pt x="608" y="578"/>
                  </a:lnTo>
                  <a:lnTo>
                    <a:pt x="604" y="580"/>
                  </a:lnTo>
                  <a:lnTo>
                    <a:pt x="602" y="580"/>
                  </a:lnTo>
                  <a:lnTo>
                    <a:pt x="600" y="580"/>
                  </a:lnTo>
                  <a:lnTo>
                    <a:pt x="598" y="580"/>
                  </a:lnTo>
                  <a:lnTo>
                    <a:pt x="596" y="578"/>
                  </a:lnTo>
                  <a:lnTo>
                    <a:pt x="596" y="576"/>
                  </a:lnTo>
                  <a:lnTo>
                    <a:pt x="594" y="574"/>
                  </a:lnTo>
                  <a:lnTo>
                    <a:pt x="594" y="572"/>
                  </a:lnTo>
                  <a:lnTo>
                    <a:pt x="592" y="570"/>
                  </a:lnTo>
                  <a:lnTo>
                    <a:pt x="592" y="568"/>
                  </a:lnTo>
                  <a:lnTo>
                    <a:pt x="588" y="566"/>
                  </a:lnTo>
                  <a:lnTo>
                    <a:pt x="586" y="570"/>
                  </a:lnTo>
                  <a:lnTo>
                    <a:pt x="584" y="570"/>
                  </a:lnTo>
                  <a:lnTo>
                    <a:pt x="584" y="574"/>
                  </a:lnTo>
                  <a:lnTo>
                    <a:pt x="586" y="578"/>
                  </a:lnTo>
                  <a:lnTo>
                    <a:pt x="588" y="578"/>
                  </a:lnTo>
                  <a:lnTo>
                    <a:pt x="590" y="580"/>
                  </a:lnTo>
                  <a:lnTo>
                    <a:pt x="554" y="580"/>
                  </a:lnTo>
                  <a:lnTo>
                    <a:pt x="538" y="580"/>
                  </a:lnTo>
                  <a:lnTo>
                    <a:pt x="530" y="580"/>
                  </a:lnTo>
                  <a:lnTo>
                    <a:pt x="524" y="580"/>
                  </a:lnTo>
                  <a:lnTo>
                    <a:pt x="522" y="580"/>
                  </a:lnTo>
                  <a:lnTo>
                    <a:pt x="520" y="580"/>
                  </a:lnTo>
                  <a:lnTo>
                    <a:pt x="514" y="578"/>
                  </a:lnTo>
                  <a:lnTo>
                    <a:pt x="506" y="580"/>
                  </a:lnTo>
                  <a:lnTo>
                    <a:pt x="500" y="582"/>
                  </a:lnTo>
                  <a:lnTo>
                    <a:pt x="498" y="580"/>
                  </a:lnTo>
                  <a:lnTo>
                    <a:pt x="498" y="582"/>
                  </a:lnTo>
                  <a:lnTo>
                    <a:pt x="498" y="616"/>
                  </a:lnTo>
                  <a:lnTo>
                    <a:pt x="504" y="616"/>
                  </a:lnTo>
                  <a:lnTo>
                    <a:pt x="510" y="616"/>
                  </a:lnTo>
                  <a:lnTo>
                    <a:pt x="520" y="618"/>
                  </a:lnTo>
                  <a:lnTo>
                    <a:pt x="522" y="616"/>
                  </a:lnTo>
                  <a:lnTo>
                    <a:pt x="524" y="616"/>
                  </a:lnTo>
                  <a:lnTo>
                    <a:pt x="530" y="618"/>
                  </a:lnTo>
                  <a:lnTo>
                    <a:pt x="532" y="620"/>
                  </a:lnTo>
                  <a:lnTo>
                    <a:pt x="536" y="628"/>
                  </a:lnTo>
                  <a:lnTo>
                    <a:pt x="536" y="634"/>
                  </a:lnTo>
                  <a:lnTo>
                    <a:pt x="538" y="638"/>
                  </a:lnTo>
                  <a:lnTo>
                    <a:pt x="532" y="640"/>
                  </a:lnTo>
                  <a:lnTo>
                    <a:pt x="528" y="640"/>
                  </a:lnTo>
                  <a:lnTo>
                    <a:pt x="526" y="638"/>
                  </a:lnTo>
                  <a:lnTo>
                    <a:pt x="520" y="634"/>
                  </a:lnTo>
                  <a:lnTo>
                    <a:pt x="506" y="636"/>
                  </a:lnTo>
                  <a:lnTo>
                    <a:pt x="502" y="640"/>
                  </a:lnTo>
                  <a:lnTo>
                    <a:pt x="500" y="642"/>
                  </a:lnTo>
                  <a:lnTo>
                    <a:pt x="494" y="642"/>
                  </a:lnTo>
                  <a:lnTo>
                    <a:pt x="490" y="642"/>
                  </a:lnTo>
                  <a:lnTo>
                    <a:pt x="486" y="642"/>
                  </a:lnTo>
                  <a:lnTo>
                    <a:pt x="486" y="646"/>
                  </a:lnTo>
                  <a:lnTo>
                    <a:pt x="486" y="654"/>
                  </a:lnTo>
                  <a:lnTo>
                    <a:pt x="486" y="658"/>
                  </a:lnTo>
                  <a:lnTo>
                    <a:pt x="486" y="666"/>
                  </a:lnTo>
                  <a:lnTo>
                    <a:pt x="486" y="674"/>
                  </a:lnTo>
                  <a:lnTo>
                    <a:pt x="486" y="678"/>
                  </a:lnTo>
                  <a:lnTo>
                    <a:pt x="486" y="682"/>
                  </a:lnTo>
                  <a:lnTo>
                    <a:pt x="488" y="686"/>
                  </a:lnTo>
                  <a:lnTo>
                    <a:pt x="494" y="690"/>
                  </a:lnTo>
                  <a:lnTo>
                    <a:pt x="504" y="698"/>
                  </a:lnTo>
                  <a:lnTo>
                    <a:pt x="506" y="700"/>
                  </a:lnTo>
                  <a:lnTo>
                    <a:pt x="510" y="700"/>
                  </a:lnTo>
                  <a:lnTo>
                    <a:pt x="510" y="702"/>
                  </a:lnTo>
                  <a:lnTo>
                    <a:pt x="512" y="708"/>
                  </a:lnTo>
                  <a:lnTo>
                    <a:pt x="512" y="710"/>
                  </a:lnTo>
                  <a:lnTo>
                    <a:pt x="512" y="712"/>
                  </a:lnTo>
                  <a:lnTo>
                    <a:pt x="510" y="712"/>
                  </a:lnTo>
                  <a:lnTo>
                    <a:pt x="510" y="714"/>
                  </a:lnTo>
                  <a:lnTo>
                    <a:pt x="516" y="724"/>
                  </a:lnTo>
                  <a:lnTo>
                    <a:pt x="518" y="726"/>
                  </a:lnTo>
                  <a:lnTo>
                    <a:pt x="520" y="728"/>
                  </a:lnTo>
                  <a:lnTo>
                    <a:pt x="520" y="730"/>
                  </a:lnTo>
                  <a:lnTo>
                    <a:pt x="520" y="736"/>
                  </a:lnTo>
                  <a:lnTo>
                    <a:pt x="522" y="742"/>
                  </a:lnTo>
                  <a:lnTo>
                    <a:pt x="522" y="746"/>
                  </a:lnTo>
                  <a:lnTo>
                    <a:pt x="522" y="748"/>
                  </a:lnTo>
                  <a:lnTo>
                    <a:pt x="520" y="756"/>
                  </a:lnTo>
                  <a:lnTo>
                    <a:pt x="516" y="778"/>
                  </a:lnTo>
                  <a:lnTo>
                    <a:pt x="512" y="800"/>
                  </a:lnTo>
                  <a:lnTo>
                    <a:pt x="510" y="802"/>
                  </a:lnTo>
                  <a:lnTo>
                    <a:pt x="510" y="808"/>
                  </a:lnTo>
                  <a:lnTo>
                    <a:pt x="508" y="812"/>
                  </a:lnTo>
                  <a:lnTo>
                    <a:pt x="500" y="858"/>
                  </a:lnTo>
                  <a:lnTo>
                    <a:pt x="496" y="886"/>
                  </a:lnTo>
                  <a:lnTo>
                    <a:pt x="492" y="902"/>
                  </a:lnTo>
                  <a:lnTo>
                    <a:pt x="492" y="904"/>
                  </a:lnTo>
                  <a:lnTo>
                    <a:pt x="492" y="902"/>
                  </a:lnTo>
                  <a:lnTo>
                    <a:pt x="490" y="900"/>
                  </a:lnTo>
                  <a:lnTo>
                    <a:pt x="488" y="898"/>
                  </a:lnTo>
                  <a:lnTo>
                    <a:pt x="486" y="898"/>
                  </a:lnTo>
                  <a:lnTo>
                    <a:pt x="482" y="894"/>
                  </a:lnTo>
                  <a:lnTo>
                    <a:pt x="482" y="892"/>
                  </a:lnTo>
                  <a:lnTo>
                    <a:pt x="480" y="890"/>
                  </a:lnTo>
                  <a:lnTo>
                    <a:pt x="480" y="888"/>
                  </a:lnTo>
                  <a:lnTo>
                    <a:pt x="476" y="884"/>
                  </a:lnTo>
                  <a:lnTo>
                    <a:pt x="472" y="880"/>
                  </a:lnTo>
                  <a:lnTo>
                    <a:pt x="470" y="880"/>
                  </a:lnTo>
                  <a:lnTo>
                    <a:pt x="470" y="878"/>
                  </a:lnTo>
                  <a:lnTo>
                    <a:pt x="466" y="880"/>
                  </a:lnTo>
                  <a:lnTo>
                    <a:pt x="464" y="882"/>
                  </a:lnTo>
                  <a:lnTo>
                    <a:pt x="462" y="882"/>
                  </a:lnTo>
                  <a:lnTo>
                    <a:pt x="460" y="882"/>
                  </a:lnTo>
                  <a:lnTo>
                    <a:pt x="456" y="882"/>
                  </a:lnTo>
                  <a:lnTo>
                    <a:pt x="450" y="878"/>
                  </a:lnTo>
                  <a:lnTo>
                    <a:pt x="452" y="874"/>
                  </a:lnTo>
                  <a:lnTo>
                    <a:pt x="456" y="870"/>
                  </a:lnTo>
                  <a:lnTo>
                    <a:pt x="458" y="866"/>
                  </a:lnTo>
                  <a:lnTo>
                    <a:pt x="464" y="856"/>
                  </a:lnTo>
                  <a:lnTo>
                    <a:pt x="466" y="852"/>
                  </a:lnTo>
                  <a:lnTo>
                    <a:pt x="486" y="822"/>
                  </a:lnTo>
                  <a:lnTo>
                    <a:pt x="484" y="820"/>
                  </a:lnTo>
                  <a:lnTo>
                    <a:pt x="482" y="820"/>
                  </a:lnTo>
                  <a:lnTo>
                    <a:pt x="480" y="818"/>
                  </a:lnTo>
                  <a:lnTo>
                    <a:pt x="478" y="816"/>
                  </a:lnTo>
                  <a:lnTo>
                    <a:pt x="478" y="814"/>
                  </a:lnTo>
                  <a:lnTo>
                    <a:pt x="474" y="810"/>
                  </a:lnTo>
                  <a:lnTo>
                    <a:pt x="472" y="808"/>
                  </a:lnTo>
                  <a:lnTo>
                    <a:pt x="470" y="810"/>
                  </a:lnTo>
                  <a:lnTo>
                    <a:pt x="468" y="810"/>
                  </a:lnTo>
                  <a:lnTo>
                    <a:pt x="458" y="808"/>
                  </a:lnTo>
                  <a:lnTo>
                    <a:pt x="454" y="804"/>
                  </a:lnTo>
                  <a:lnTo>
                    <a:pt x="454" y="802"/>
                  </a:lnTo>
                  <a:lnTo>
                    <a:pt x="444" y="794"/>
                  </a:lnTo>
                  <a:lnTo>
                    <a:pt x="436" y="798"/>
                  </a:lnTo>
                  <a:lnTo>
                    <a:pt x="430" y="800"/>
                  </a:lnTo>
                  <a:lnTo>
                    <a:pt x="426" y="802"/>
                  </a:lnTo>
                  <a:lnTo>
                    <a:pt x="416" y="800"/>
                  </a:lnTo>
                  <a:lnTo>
                    <a:pt x="412" y="798"/>
                  </a:lnTo>
                  <a:lnTo>
                    <a:pt x="408" y="796"/>
                  </a:lnTo>
                  <a:lnTo>
                    <a:pt x="404" y="796"/>
                  </a:lnTo>
                  <a:lnTo>
                    <a:pt x="398" y="794"/>
                  </a:lnTo>
                  <a:lnTo>
                    <a:pt x="398" y="792"/>
                  </a:lnTo>
                  <a:lnTo>
                    <a:pt x="398" y="790"/>
                  </a:lnTo>
                  <a:lnTo>
                    <a:pt x="396" y="790"/>
                  </a:lnTo>
                  <a:lnTo>
                    <a:pt x="392" y="794"/>
                  </a:lnTo>
                  <a:lnTo>
                    <a:pt x="388" y="800"/>
                  </a:lnTo>
                  <a:lnTo>
                    <a:pt x="388" y="802"/>
                  </a:lnTo>
                  <a:lnTo>
                    <a:pt x="384" y="802"/>
                  </a:lnTo>
                  <a:lnTo>
                    <a:pt x="382" y="802"/>
                  </a:lnTo>
                  <a:lnTo>
                    <a:pt x="378" y="804"/>
                  </a:lnTo>
                  <a:lnTo>
                    <a:pt x="370" y="810"/>
                  </a:lnTo>
                  <a:lnTo>
                    <a:pt x="364" y="808"/>
                  </a:lnTo>
                  <a:lnTo>
                    <a:pt x="356" y="806"/>
                  </a:lnTo>
                  <a:lnTo>
                    <a:pt x="350" y="804"/>
                  </a:lnTo>
                  <a:lnTo>
                    <a:pt x="344" y="806"/>
                  </a:lnTo>
                  <a:lnTo>
                    <a:pt x="336" y="808"/>
                  </a:lnTo>
                  <a:lnTo>
                    <a:pt x="334" y="810"/>
                  </a:lnTo>
                  <a:lnTo>
                    <a:pt x="332" y="806"/>
                  </a:lnTo>
                  <a:lnTo>
                    <a:pt x="330" y="804"/>
                  </a:lnTo>
                  <a:lnTo>
                    <a:pt x="328" y="804"/>
                  </a:lnTo>
                  <a:lnTo>
                    <a:pt x="326" y="804"/>
                  </a:lnTo>
                  <a:lnTo>
                    <a:pt x="322" y="802"/>
                  </a:lnTo>
                  <a:lnTo>
                    <a:pt x="322" y="800"/>
                  </a:lnTo>
                  <a:lnTo>
                    <a:pt x="320" y="800"/>
                  </a:lnTo>
                  <a:lnTo>
                    <a:pt x="320" y="796"/>
                  </a:lnTo>
                  <a:lnTo>
                    <a:pt x="322" y="796"/>
                  </a:lnTo>
                  <a:lnTo>
                    <a:pt x="322" y="794"/>
                  </a:lnTo>
                  <a:lnTo>
                    <a:pt x="324" y="790"/>
                  </a:lnTo>
                  <a:lnTo>
                    <a:pt x="322" y="778"/>
                  </a:lnTo>
                  <a:lnTo>
                    <a:pt x="320" y="774"/>
                  </a:lnTo>
                  <a:lnTo>
                    <a:pt x="316" y="772"/>
                  </a:lnTo>
                  <a:lnTo>
                    <a:pt x="314" y="774"/>
                  </a:lnTo>
                  <a:lnTo>
                    <a:pt x="312" y="776"/>
                  </a:lnTo>
                  <a:lnTo>
                    <a:pt x="304" y="772"/>
                  </a:lnTo>
                  <a:lnTo>
                    <a:pt x="300" y="770"/>
                  </a:lnTo>
                  <a:lnTo>
                    <a:pt x="300" y="768"/>
                  </a:lnTo>
                  <a:lnTo>
                    <a:pt x="300" y="764"/>
                  </a:lnTo>
                  <a:lnTo>
                    <a:pt x="302" y="762"/>
                  </a:lnTo>
                  <a:lnTo>
                    <a:pt x="300" y="758"/>
                  </a:lnTo>
                  <a:lnTo>
                    <a:pt x="298" y="754"/>
                  </a:lnTo>
                  <a:lnTo>
                    <a:pt x="298" y="752"/>
                  </a:lnTo>
                  <a:lnTo>
                    <a:pt x="298" y="748"/>
                  </a:lnTo>
                  <a:lnTo>
                    <a:pt x="292" y="744"/>
                  </a:lnTo>
                  <a:lnTo>
                    <a:pt x="288" y="744"/>
                  </a:lnTo>
                  <a:lnTo>
                    <a:pt x="286" y="744"/>
                  </a:lnTo>
                  <a:lnTo>
                    <a:pt x="282" y="742"/>
                  </a:lnTo>
                  <a:lnTo>
                    <a:pt x="280" y="740"/>
                  </a:lnTo>
                  <a:lnTo>
                    <a:pt x="268" y="732"/>
                  </a:lnTo>
                  <a:lnTo>
                    <a:pt x="262" y="730"/>
                  </a:lnTo>
                  <a:lnTo>
                    <a:pt x="260" y="728"/>
                  </a:lnTo>
                  <a:lnTo>
                    <a:pt x="260" y="726"/>
                  </a:lnTo>
                  <a:lnTo>
                    <a:pt x="258" y="724"/>
                  </a:lnTo>
                  <a:lnTo>
                    <a:pt x="258" y="722"/>
                  </a:lnTo>
                  <a:lnTo>
                    <a:pt x="260" y="720"/>
                  </a:lnTo>
                  <a:lnTo>
                    <a:pt x="258" y="718"/>
                  </a:lnTo>
                  <a:lnTo>
                    <a:pt x="256" y="716"/>
                  </a:lnTo>
                  <a:lnTo>
                    <a:pt x="254" y="712"/>
                  </a:lnTo>
                  <a:lnTo>
                    <a:pt x="254" y="708"/>
                  </a:lnTo>
                  <a:lnTo>
                    <a:pt x="252" y="706"/>
                  </a:lnTo>
                  <a:lnTo>
                    <a:pt x="252" y="704"/>
                  </a:lnTo>
                  <a:lnTo>
                    <a:pt x="242" y="696"/>
                  </a:lnTo>
                  <a:lnTo>
                    <a:pt x="240" y="694"/>
                  </a:lnTo>
                  <a:lnTo>
                    <a:pt x="238" y="696"/>
                  </a:lnTo>
                  <a:lnTo>
                    <a:pt x="234" y="694"/>
                  </a:lnTo>
                  <a:lnTo>
                    <a:pt x="234" y="692"/>
                  </a:lnTo>
                  <a:lnTo>
                    <a:pt x="234" y="690"/>
                  </a:lnTo>
                  <a:lnTo>
                    <a:pt x="234" y="688"/>
                  </a:lnTo>
                  <a:lnTo>
                    <a:pt x="232" y="688"/>
                  </a:lnTo>
                  <a:lnTo>
                    <a:pt x="230" y="686"/>
                  </a:lnTo>
                  <a:lnTo>
                    <a:pt x="228" y="686"/>
                  </a:lnTo>
                  <a:lnTo>
                    <a:pt x="226" y="686"/>
                  </a:lnTo>
                  <a:lnTo>
                    <a:pt x="222" y="684"/>
                  </a:lnTo>
                  <a:lnTo>
                    <a:pt x="218" y="680"/>
                  </a:lnTo>
                  <a:lnTo>
                    <a:pt x="212" y="676"/>
                  </a:lnTo>
                  <a:lnTo>
                    <a:pt x="208" y="676"/>
                  </a:lnTo>
                  <a:lnTo>
                    <a:pt x="206" y="678"/>
                  </a:lnTo>
                  <a:lnTo>
                    <a:pt x="206" y="680"/>
                  </a:lnTo>
                  <a:lnTo>
                    <a:pt x="204" y="680"/>
                  </a:lnTo>
                  <a:lnTo>
                    <a:pt x="202" y="680"/>
                  </a:lnTo>
                  <a:lnTo>
                    <a:pt x="202" y="678"/>
                  </a:lnTo>
                  <a:lnTo>
                    <a:pt x="200" y="678"/>
                  </a:lnTo>
                  <a:lnTo>
                    <a:pt x="198" y="678"/>
                  </a:lnTo>
                  <a:lnTo>
                    <a:pt x="196" y="678"/>
                  </a:lnTo>
                  <a:lnTo>
                    <a:pt x="190" y="674"/>
                  </a:lnTo>
                  <a:lnTo>
                    <a:pt x="188" y="672"/>
                  </a:lnTo>
                  <a:lnTo>
                    <a:pt x="182" y="672"/>
                  </a:lnTo>
                  <a:lnTo>
                    <a:pt x="180" y="672"/>
                  </a:lnTo>
                  <a:lnTo>
                    <a:pt x="178" y="672"/>
                  </a:lnTo>
                  <a:lnTo>
                    <a:pt x="170" y="666"/>
                  </a:lnTo>
                  <a:lnTo>
                    <a:pt x="166" y="660"/>
                  </a:lnTo>
                  <a:lnTo>
                    <a:pt x="164" y="656"/>
                  </a:lnTo>
                  <a:lnTo>
                    <a:pt x="162" y="656"/>
                  </a:lnTo>
                  <a:lnTo>
                    <a:pt x="156" y="654"/>
                  </a:lnTo>
                  <a:lnTo>
                    <a:pt x="150" y="652"/>
                  </a:lnTo>
                  <a:lnTo>
                    <a:pt x="142" y="652"/>
                  </a:lnTo>
                  <a:lnTo>
                    <a:pt x="142" y="660"/>
                  </a:lnTo>
                  <a:lnTo>
                    <a:pt x="140" y="660"/>
                  </a:lnTo>
                  <a:lnTo>
                    <a:pt x="134" y="662"/>
                  </a:lnTo>
                  <a:lnTo>
                    <a:pt x="132" y="662"/>
                  </a:lnTo>
                  <a:lnTo>
                    <a:pt x="132" y="660"/>
                  </a:lnTo>
                  <a:lnTo>
                    <a:pt x="126" y="658"/>
                  </a:lnTo>
                  <a:lnTo>
                    <a:pt x="126" y="660"/>
                  </a:lnTo>
                  <a:lnTo>
                    <a:pt x="122" y="660"/>
                  </a:lnTo>
                  <a:lnTo>
                    <a:pt x="120" y="660"/>
                  </a:lnTo>
                  <a:lnTo>
                    <a:pt x="118" y="660"/>
                  </a:lnTo>
                  <a:lnTo>
                    <a:pt x="108" y="658"/>
                  </a:lnTo>
                  <a:lnTo>
                    <a:pt x="106" y="654"/>
                  </a:lnTo>
                  <a:lnTo>
                    <a:pt x="100" y="656"/>
                  </a:lnTo>
                  <a:lnTo>
                    <a:pt x="98" y="656"/>
                  </a:lnTo>
                  <a:lnTo>
                    <a:pt x="94" y="654"/>
                  </a:lnTo>
                  <a:lnTo>
                    <a:pt x="90" y="652"/>
                  </a:lnTo>
                  <a:lnTo>
                    <a:pt x="88" y="652"/>
                  </a:lnTo>
                  <a:lnTo>
                    <a:pt x="86" y="644"/>
                  </a:lnTo>
                  <a:lnTo>
                    <a:pt x="86" y="642"/>
                  </a:lnTo>
                  <a:lnTo>
                    <a:pt x="86" y="640"/>
                  </a:lnTo>
                  <a:lnTo>
                    <a:pt x="86" y="638"/>
                  </a:lnTo>
                  <a:lnTo>
                    <a:pt x="84" y="638"/>
                  </a:lnTo>
                  <a:lnTo>
                    <a:pt x="82" y="638"/>
                  </a:lnTo>
                  <a:lnTo>
                    <a:pt x="80" y="638"/>
                  </a:lnTo>
                  <a:lnTo>
                    <a:pt x="78" y="636"/>
                  </a:lnTo>
                  <a:lnTo>
                    <a:pt x="78" y="634"/>
                  </a:lnTo>
                  <a:lnTo>
                    <a:pt x="76" y="634"/>
                  </a:lnTo>
                  <a:lnTo>
                    <a:pt x="74" y="632"/>
                  </a:lnTo>
                  <a:lnTo>
                    <a:pt x="76" y="630"/>
                  </a:lnTo>
                  <a:lnTo>
                    <a:pt x="74" y="628"/>
                  </a:lnTo>
                  <a:lnTo>
                    <a:pt x="72" y="628"/>
                  </a:lnTo>
                  <a:lnTo>
                    <a:pt x="68" y="630"/>
                  </a:lnTo>
                  <a:lnTo>
                    <a:pt x="66" y="630"/>
                  </a:lnTo>
                  <a:lnTo>
                    <a:pt x="64" y="630"/>
                  </a:lnTo>
                  <a:lnTo>
                    <a:pt x="62" y="630"/>
                  </a:lnTo>
                  <a:lnTo>
                    <a:pt x="60" y="626"/>
                  </a:lnTo>
                  <a:lnTo>
                    <a:pt x="56" y="624"/>
                  </a:lnTo>
                  <a:lnTo>
                    <a:pt x="54" y="626"/>
                  </a:lnTo>
                  <a:lnTo>
                    <a:pt x="52" y="624"/>
                  </a:lnTo>
                  <a:lnTo>
                    <a:pt x="50" y="624"/>
                  </a:lnTo>
                  <a:lnTo>
                    <a:pt x="46" y="622"/>
                  </a:lnTo>
                  <a:lnTo>
                    <a:pt x="44" y="618"/>
                  </a:lnTo>
                  <a:lnTo>
                    <a:pt x="42" y="618"/>
                  </a:lnTo>
                  <a:lnTo>
                    <a:pt x="40" y="618"/>
                  </a:lnTo>
                  <a:lnTo>
                    <a:pt x="40" y="616"/>
                  </a:lnTo>
                  <a:lnTo>
                    <a:pt x="38" y="616"/>
                  </a:lnTo>
                  <a:lnTo>
                    <a:pt x="32" y="612"/>
                  </a:lnTo>
                  <a:lnTo>
                    <a:pt x="32" y="610"/>
                  </a:lnTo>
                  <a:lnTo>
                    <a:pt x="26" y="608"/>
                  </a:lnTo>
                  <a:lnTo>
                    <a:pt x="26" y="610"/>
                  </a:lnTo>
                  <a:lnTo>
                    <a:pt x="24" y="606"/>
                  </a:lnTo>
                  <a:lnTo>
                    <a:pt x="22" y="606"/>
                  </a:lnTo>
                  <a:lnTo>
                    <a:pt x="22" y="604"/>
                  </a:lnTo>
                  <a:lnTo>
                    <a:pt x="20" y="604"/>
                  </a:lnTo>
                  <a:lnTo>
                    <a:pt x="12" y="596"/>
                  </a:lnTo>
                  <a:lnTo>
                    <a:pt x="10" y="590"/>
                  </a:lnTo>
                  <a:lnTo>
                    <a:pt x="6" y="588"/>
                  </a:lnTo>
                  <a:lnTo>
                    <a:pt x="4" y="588"/>
                  </a:lnTo>
                  <a:lnTo>
                    <a:pt x="0" y="588"/>
                  </a:lnTo>
                  <a:lnTo>
                    <a:pt x="0" y="586"/>
                  </a:lnTo>
                  <a:lnTo>
                    <a:pt x="4" y="580"/>
                  </a:lnTo>
                  <a:lnTo>
                    <a:pt x="8" y="576"/>
                  </a:lnTo>
                  <a:lnTo>
                    <a:pt x="10" y="574"/>
                  </a:lnTo>
                  <a:lnTo>
                    <a:pt x="16" y="576"/>
                  </a:lnTo>
                  <a:lnTo>
                    <a:pt x="22" y="578"/>
                  </a:lnTo>
                  <a:lnTo>
                    <a:pt x="24" y="578"/>
                  </a:lnTo>
                  <a:lnTo>
                    <a:pt x="26" y="572"/>
                  </a:lnTo>
                  <a:lnTo>
                    <a:pt x="26" y="570"/>
                  </a:lnTo>
                  <a:lnTo>
                    <a:pt x="24" y="564"/>
                  </a:lnTo>
                  <a:lnTo>
                    <a:pt x="22" y="564"/>
                  </a:lnTo>
                  <a:lnTo>
                    <a:pt x="22" y="562"/>
                  </a:lnTo>
                  <a:lnTo>
                    <a:pt x="20" y="558"/>
                  </a:lnTo>
                  <a:lnTo>
                    <a:pt x="20" y="556"/>
                  </a:lnTo>
                  <a:lnTo>
                    <a:pt x="22" y="550"/>
                  </a:lnTo>
                  <a:lnTo>
                    <a:pt x="24" y="544"/>
                  </a:lnTo>
                  <a:lnTo>
                    <a:pt x="26" y="542"/>
                  </a:lnTo>
                  <a:lnTo>
                    <a:pt x="26" y="544"/>
                  </a:lnTo>
                  <a:lnTo>
                    <a:pt x="26" y="542"/>
                  </a:lnTo>
                  <a:lnTo>
                    <a:pt x="28" y="542"/>
                  </a:lnTo>
                  <a:lnTo>
                    <a:pt x="32" y="542"/>
                  </a:lnTo>
                  <a:lnTo>
                    <a:pt x="32" y="538"/>
                  </a:lnTo>
                  <a:lnTo>
                    <a:pt x="34" y="538"/>
                  </a:lnTo>
                  <a:lnTo>
                    <a:pt x="36" y="540"/>
                  </a:lnTo>
                  <a:lnTo>
                    <a:pt x="36" y="542"/>
                  </a:lnTo>
                  <a:lnTo>
                    <a:pt x="38" y="542"/>
                  </a:lnTo>
                  <a:lnTo>
                    <a:pt x="42" y="538"/>
                  </a:lnTo>
                  <a:lnTo>
                    <a:pt x="48" y="540"/>
                  </a:lnTo>
                  <a:lnTo>
                    <a:pt x="50" y="540"/>
                  </a:lnTo>
                  <a:lnTo>
                    <a:pt x="58" y="538"/>
                  </a:lnTo>
                  <a:lnTo>
                    <a:pt x="58" y="536"/>
                  </a:lnTo>
                  <a:lnTo>
                    <a:pt x="60" y="5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4" name="Freeform 2128"/>
            <p:cNvSpPr>
              <a:spLocks/>
            </p:cNvSpPr>
            <p:nvPr/>
          </p:nvSpPr>
          <p:spPr bwMode="auto">
            <a:xfrm>
              <a:off x="2440638" y="1382334"/>
              <a:ext cx="170059" cy="69087"/>
            </a:xfrm>
            <a:custGeom>
              <a:avLst/>
              <a:gdLst/>
              <a:ahLst/>
              <a:cxnLst>
                <a:cxn ang="0">
                  <a:pos x="126" y="32"/>
                </a:cxn>
                <a:cxn ang="0">
                  <a:pos x="122" y="32"/>
                </a:cxn>
                <a:cxn ang="0">
                  <a:pos x="126" y="20"/>
                </a:cxn>
                <a:cxn ang="0">
                  <a:pos x="126" y="14"/>
                </a:cxn>
                <a:cxn ang="0">
                  <a:pos x="122" y="12"/>
                </a:cxn>
                <a:cxn ang="0">
                  <a:pos x="116" y="10"/>
                </a:cxn>
                <a:cxn ang="0">
                  <a:pos x="114" y="10"/>
                </a:cxn>
                <a:cxn ang="0">
                  <a:pos x="110" y="8"/>
                </a:cxn>
                <a:cxn ang="0">
                  <a:pos x="104" y="6"/>
                </a:cxn>
                <a:cxn ang="0">
                  <a:pos x="100" y="8"/>
                </a:cxn>
                <a:cxn ang="0">
                  <a:pos x="94" y="10"/>
                </a:cxn>
                <a:cxn ang="0">
                  <a:pos x="90" y="12"/>
                </a:cxn>
                <a:cxn ang="0">
                  <a:pos x="86" y="12"/>
                </a:cxn>
                <a:cxn ang="0">
                  <a:pos x="86" y="6"/>
                </a:cxn>
                <a:cxn ang="0">
                  <a:pos x="76" y="4"/>
                </a:cxn>
                <a:cxn ang="0">
                  <a:pos x="74" y="0"/>
                </a:cxn>
                <a:cxn ang="0">
                  <a:pos x="4" y="6"/>
                </a:cxn>
                <a:cxn ang="0">
                  <a:pos x="0" y="12"/>
                </a:cxn>
                <a:cxn ang="0">
                  <a:pos x="0" y="16"/>
                </a:cxn>
                <a:cxn ang="0">
                  <a:pos x="8" y="20"/>
                </a:cxn>
                <a:cxn ang="0">
                  <a:pos x="12" y="22"/>
                </a:cxn>
                <a:cxn ang="0">
                  <a:pos x="14" y="26"/>
                </a:cxn>
                <a:cxn ang="0">
                  <a:pos x="16" y="28"/>
                </a:cxn>
                <a:cxn ang="0">
                  <a:pos x="24" y="30"/>
                </a:cxn>
                <a:cxn ang="0">
                  <a:pos x="32" y="30"/>
                </a:cxn>
                <a:cxn ang="0">
                  <a:pos x="42" y="32"/>
                </a:cxn>
                <a:cxn ang="0">
                  <a:pos x="48" y="34"/>
                </a:cxn>
                <a:cxn ang="0">
                  <a:pos x="50" y="36"/>
                </a:cxn>
                <a:cxn ang="0">
                  <a:pos x="64" y="42"/>
                </a:cxn>
                <a:cxn ang="0">
                  <a:pos x="66" y="44"/>
                </a:cxn>
                <a:cxn ang="0">
                  <a:pos x="70" y="46"/>
                </a:cxn>
                <a:cxn ang="0">
                  <a:pos x="74" y="48"/>
                </a:cxn>
                <a:cxn ang="0">
                  <a:pos x="82" y="48"/>
                </a:cxn>
                <a:cxn ang="0">
                  <a:pos x="80" y="44"/>
                </a:cxn>
                <a:cxn ang="0">
                  <a:pos x="76" y="46"/>
                </a:cxn>
                <a:cxn ang="0">
                  <a:pos x="78" y="44"/>
                </a:cxn>
                <a:cxn ang="0">
                  <a:pos x="86" y="46"/>
                </a:cxn>
                <a:cxn ang="0">
                  <a:pos x="98" y="52"/>
                </a:cxn>
                <a:cxn ang="0">
                  <a:pos x="104" y="52"/>
                </a:cxn>
                <a:cxn ang="0">
                  <a:pos x="108" y="52"/>
                </a:cxn>
                <a:cxn ang="0">
                  <a:pos x="114" y="52"/>
                </a:cxn>
                <a:cxn ang="0">
                  <a:pos x="122" y="46"/>
                </a:cxn>
                <a:cxn ang="0">
                  <a:pos x="120" y="42"/>
                </a:cxn>
                <a:cxn ang="0">
                  <a:pos x="118" y="40"/>
                </a:cxn>
                <a:cxn ang="0">
                  <a:pos x="120" y="36"/>
                </a:cxn>
                <a:cxn ang="0">
                  <a:pos x="126" y="34"/>
                </a:cxn>
              </a:cxnLst>
              <a:rect l="0" t="0" r="r" b="b"/>
              <a:pathLst>
                <a:path w="128" h="52">
                  <a:moveTo>
                    <a:pt x="126" y="34"/>
                  </a:moveTo>
                  <a:lnTo>
                    <a:pt x="126" y="32"/>
                  </a:lnTo>
                  <a:lnTo>
                    <a:pt x="124" y="32"/>
                  </a:lnTo>
                  <a:lnTo>
                    <a:pt x="122" y="32"/>
                  </a:lnTo>
                  <a:lnTo>
                    <a:pt x="124" y="28"/>
                  </a:lnTo>
                  <a:lnTo>
                    <a:pt x="126" y="20"/>
                  </a:lnTo>
                  <a:lnTo>
                    <a:pt x="128" y="14"/>
                  </a:lnTo>
                  <a:lnTo>
                    <a:pt x="126" y="14"/>
                  </a:lnTo>
                  <a:lnTo>
                    <a:pt x="124" y="14"/>
                  </a:lnTo>
                  <a:lnTo>
                    <a:pt x="122" y="12"/>
                  </a:lnTo>
                  <a:lnTo>
                    <a:pt x="118" y="10"/>
                  </a:lnTo>
                  <a:lnTo>
                    <a:pt x="116" y="10"/>
                  </a:lnTo>
                  <a:lnTo>
                    <a:pt x="114" y="12"/>
                  </a:lnTo>
                  <a:lnTo>
                    <a:pt x="114" y="10"/>
                  </a:lnTo>
                  <a:lnTo>
                    <a:pt x="110" y="12"/>
                  </a:lnTo>
                  <a:lnTo>
                    <a:pt x="110" y="8"/>
                  </a:lnTo>
                  <a:lnTo>
                    <a:pt x="108" y="6"/>
                  </a:lnTo>
                  <a:lnTo>
                    <a:pt x="104" y="6"/>
                  </a:lnTo>
                  <a:lnTo>
                    <a:pt x="102" y="6"/>
                  </a:lnTo>
                  <a:lnTo>
                    <a:pt x="100" y="8"/>
                  </a:lnTo>
                  <a:lnTo>
                    <a:pt x="98" y="10"/>
                  </a:lnTo>
                  <a:lnTo>
                    <a:pt x="94" y="10"/>
                  </a:lnTo>
                  <a:lnTo>
                    <a:pt x="92" y="12"/>
                  </a:lnTo>
                  <a:lnTo>
                    <a:pt x="90" y="12"/>
                  </a:lnTo>
                  <a:lnTo>
                    <a:pt x="88" y="12"/>
                  </a:lnTo>
                  <a:lnTo>
                    <a:pt x="86" y="12"/>
                  </a:lnTo>
                  <a:lnTo>
                    <a:pt x="86" y="10"/>
                  </a:lnTo>
                  <a:lnTo>
                    <a:pt x="86" y="6"/>
                  </a:lnTo>
                  <a:lnTo>
                    <a:pt x="78" y="4"/>
                  </a:lnTo>
                  <a:lnTo>
                    <a:pt x="76" y="4"/>
                  </a:lnTo>
                  <a:lnTo>
                    <a:pt x="74" y="2"/>
                  </a:lnTo>
                  <a:lnTo>
                    <a:pt x="74" y="0"/>
                  </a:lnTo>
                  <a:lnTo>
                    <a:pt x="10" y="0"/>
                  </a:lnTo>
                  <a:lnTo>
                    <a:pt x="4" y="6"/>
                  </a:lnTo>
                  <a:lnTo>
                    <a:pt x="0" y="10"/>
                  </a:lnTo>
                  <a:lnTo>
                    <a:pt x="0" y="12"/>
                  </a:lnTo>
                  <a:lnTo>
                    <a:pt x="0" y="14"/>
                  </a:lnTo>
                  <a:lnTo>
                    <a:pt x="0" y="16"/>
                  </a:lnTo>
                  <a:lnTo>
                    <a:pt x="4" y="18"/>
                  </a:lnTo>
                  <a:lnTo>
                    <a:pt x="8" y="20"/>
                  </a:lnTo>
                  <a:lnTo>
                    <a:pt x="10" y="22"/>
                  </a:lnTo>
                  <a:lnTo>
                    <a:pt x="12" y="22"/>
                  </a:lnTo>
                  <a:lnTo>
                    <a:pt x="12" y="24"/>
                  </a:lnTo>
                  <a:lnTo>
                    <a:pt x="14" y="26"/>
                  </a:lnTo>
                  <a:lnTo>
                    <a:pt x="14" y="28"/>
                  </a:lnTo>
                  <a:lnTo>
                    <a:pt x="16" y="28"/>
                  </a:lnTo>
                  <a:lnTo>
                    <a:pt x="22" y="28"/>
                  </a:lnTo>
                  <a:lnTo>
                    <a:pt x="24" y="30"/>
                  </a:lnTo>
                  <a:lnTo>
                    <a:pt x="26" y="30"/>
                  </a:lnTo>
                  <a:lnTo>
                    <a:pt x="32" y="30"/>
                  </a:lnTo>
                  <a:lnTo>
                    <a:pt x="38" y="32"/>
                  </a:lnTo>
                  <a:lnTo>
                    <a:pt x="42" y="32"/>
                  </a:lnTo>
                  <a:lnTo>
                    <a:pt x="46" y="32"/>
                  </a:lnTo>
                  <a:lnTo>
                    <a:pt x="48" y="34"/>
                  </a:lnTo>
                  <a:lnTo>
                    <a:pt x="50" y="34"/>
                  </a:lnTo>
                  <a:lnTo>
                    <a:pt x="50" y="36"/>
                  </a:lnTo>
                  <a:lnTo>
                    <a:pt x="58" y="40"/>
                  </a:lnTo>
                  <a:lnTo>
                    <a:pt x="64" y="42"/>
                  </a:lnTo>
                  <a:lnTo>
                    <a:pt x="64" y="44"/>
                  </a:lnTo>
                  <a:lnTo>
                    <a:pt x="66" y="44"/>
                  </a:lnTo>
                  <a:lnTo>
                    <a:pt x="68" y="46"/>
                  </a:lnTo>
                  <a:lnTo>
                    <a:pt x="70" y="46"/>
                  </a:lnTo>
                  <a:lnTo>
                    <a:pt x="72" y="46"/>
                  </a:lnTo>
                  <a:lnTo>
                    <a:pt x="74" y="48"/>
                  </a:lnTo>
                  <a:lnTo>
                    <a:pt x="78" y="48"/>
                  </a:lnTo>
                  <a:lnTo>
                    <a:pt x="82" y="48"/>
                  </a:lnTo>
                  <a:lnTo>
                    <a:pt x="84" y="48"/>
                  </a:lnTo>
                  <a:lnTo>
                    <a:pt x="80" y="44"/>
                  </a:lnTo>
                  <a:lnTo>
                    <a:pt x="76" y="44"/>
                  </a:lnTo>
                  <a:lnTo>
                    <a:pt x="76" y="46"/>
                  </a:lnTo>
                  <a:lnTo>
                    <a:pt x="72" y="44"/>
                  </a:lnTo>
                  <a:lnTo>
                    <a:pt x="78" y="44"/>
                  </a:lnTo>
                  <a:lnTo>
                    <a:pt x="80" y="44"/>
                  </a:lnTo>
                  <a:lnTo>
                    <a:pt x="86" y="46"/>
                  </a:lnTo>
                  <a:lnTo>
                    <a:pt x="88" y="50"/>
                  </a:lnTo>
                  <a:lnTo>
                    <a:pt x="98" y="52"/>
                  </a:lnTo>
                  <a:lnTo>
                    <a:pt x="100" y="52"/>
                  </a:lnTo>
                  <a:lnTo>
                    <a:pt x="104" y="52"/>
                  </a:lnTo>
                  <a:lnTo>
                    <a:pt x="104" y="50"/>
                  </a:lnTo>
                  <a:lnTo>
                    <a:pt x="108" y="52"/>
                  </a:lnTo>
                  <a:lnTo>
                    <a:pt x="110" y="52"/>
                  </a:lnTo>
                  <a:lnTo>
                    <a:pt x="114" y="52"/>
                  </a:lnTo>
                  <a:lnTo>
                    <a:pt x="120" y="48"/>
                  </a:lnTo>
                  <a:lnTo>
                    <a:pt x="122" y="46"/>
                  </a:lnTo>
                  <a:lnTo>
                    <a:pt x="122" y="44"/>
                  </a:lnTo>
                  <a:lnTo>
                    <a:pt x="120" y="42"/>
                  </a:lnTo>
                  <a:lnTo>
                    <a:pt x="118" y="42"/>
                  </a:lnTo>
                  <a:lnTo>
                    <a:pt x="118" y="40"/>
                  </a:lnTo>
                  <a:lnTo>
                    <a:pt x="118" y="38"/>
                  </a:lnTo>
                  <a:lnTo>
                    <a:pt x="120" y="36"/>
                  </a:lnTo>
                  <a:lnTo>
                    <a:pt x="120" y="38"/>
                  </a:lnTo>
                  <a:lnTo>
                    <a:pt x="126" y="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5" name="Freeform 2129"/>
            <p:cNvSpPr>
              <a:spLocks/>
            </p:cNvSpPr>
            <p:nvPr/>
          </p:nvSpPr>
          <p:spPr bwMode="auto">
            <a:xfrm>
              <a:off x="2347637" y="1382334"/>
              <a:ext cx="106287" cy="21257"/>
            </a:xfrm>
            <a:custGeom>
              <a:avLst/>
              <a:gdLst/>
              <a:ahLst/>
              <a:cxnLst>
                <a:cxn ang="0">
                  <a:pos x="70" y="12"/>
                </a:cxn>
                <a:cxn ang="0">
                  <a:pos x="70" y="10"/>
                </a:cxn>
                <a:cxn ang="0">
                  <a:pos x="74" y="6"/>
                </a:cxn>
                <a:cxn ang="0">
                  <a:pos x="80" y="0"/>
                </a:cxn>
                <a:cxn ang="0">
                  <a:pos x="0" y="0"/>
                </a:cxn>
                <a:cxn ang="0">
                  <a:pos x="2" y="2"/>
                </a:cxn>
                <a:cxn ang="0">
                  <a:pos x="8" y="2"/>
                </a:cxn>
                <a:cxn ang="0">
                  <a:pos x="12" y="4"/>
                </a:cxn>
                <a:cxn ang="0">
                  <a:pos x="16" y="6"/>
                </a:cxn>
                <a:cxn ang="0">
                  <a:pos x="18" y="6"/>
                </a:cxn>
                <a:cxn ang="0">
                  <a:pos x="22" y="6"/>
                </a:cxn>
                <a:cxn ang="0">
                  <a:pos x="26" y="6"/>
                </a:cxn>
                <a:cxn ang="0">
                  <a:pos x="28" y="6"/>
                </a:cxn>
                <a:cxn ang="0">
                  <a:pos x="34" y="6"/>
                </a:cxn>
                <a:cxn ang="0">
                  <a:pos x="40" y="6"/>
                </a:cxn>
                <a:cxn ang="0">
                  <a:pos x="42" y="6"/>
                </a:cxn>
                <a:cxn ang="0">
                  <a:pos x="44" y="6"/>
                </a:cxn>
                <a:cxn ang="0">
                  <a:pos x="50" y="8"/>
                </a:cxn>
                <a:cxn ang="0">
                  <a:pos x="54" y="8"/>
                </a:cxn>
                <a:cxn ang="0">
                  <a:pos x="56" y="10"/>
                </a:cxn>
                <a:cxn ang="0">
                  <a:pos x="62" y="14"/>
                </a:cxn>
                <a:cxn ang="0">
                  <a:pos x="64" y="14"/>
                </a:cxn>
                <a:cxn ang="0">
                  <a:pos x="66" y="14"/>
                </a:cxn>
                <a:cxn ang="0">
                  <a:pos x="70" y="16"/>
                </a:cxn>
                <a:cxn ang="0">
                  <a:pos x="70" y="12"/>
                </a:cxn>
              </a:cxnLst>
              <a:rect l="0" t="0" r="r" b="b"/>
              <a:pathLst>
                <a:path w="80" h="16">
                  <a:moveTo>
                    <a:pt x="70" y="12"/>
                  </a:moveTo>
                  <a:lnTo>
                    <a:pt x="70" y="10"/>
                  </a:lnTo>
                  <a:lnTo>
                    <a:pt x="74" y="6"/>
                  </a:lnTo>
                  <a:lnTo>
                    <a:pt x="80" y="0"/>
                  </a:lnTo>
                  <a:lnTo>
                    <a:pt x="0" y="0"/>
                  </a:lnTo>
                  <a:lnTo>
                    <a:pt x="2" y="2"/>
                  </a:lnTo>
                  <a:lnTo>
                    <a:pt x="8" y="2"/>
                  </a:lnTo>
                  <a:lnTo>
                    <a:pt x="12" y="4"/>
                  </a:lnTo>
                  <a:lnTo>
                    <a:pt x="16" y="6"/>
                  </a:lnTo>
                  <a:lnTo>
                    <a:pt x="18" y="6"/>
                  </a:lnTo>
                  <a:lnTo>
                    <a:pt x="22" y="6"/>
                  </a:lnTo>
                  <a:lnTo>
                    <a:pt x="26" y="6"/>
                  </a:lnTo>
                  <a:lnTo>
                    <a:pt x="28" y="6"/>
                  </a:lnTo>
                  <a:lnTo>
                    <a:pt x="34" y="6"/>
                  </a:lnTo>
                  <a:lnTo>
                    <a:pt x="40" y="6"/>
                  </a:lnTo>
                  <a:lnTo>
                    <a:pt x="42" y="6"/>
                  </a:lnTo>
                  <a:lnTo>
                    <a:pt x="44" y="6"/>
                  </a:lnTo>
                  <a:lnTo>
                    <a:pt x="50" y="8"/>
                  </a:lnTo>
                  <a:lnTo>
                    <a:pt x="54" y="8"/>
                  </a:lnTo>
                  <a:lnTo>
                    <a:pt x="56" y="10"/>
                  </a:lnTo>
                  <a:lnTo>
                    <a:pt x="62" y="14"/>
                  </a:lnTo>
                  <a:lnTo>
                    <a:pt x="64" y="14"/>
                  </a:lnTo>
                  <a:lnTo>
                    <a:pt x="66" y="14"/>
                  </a:lnTo>
                  <a:lnTo>
                    <a:pt x="70" y="16"/>
                  </a:lnTo>
                  <a:lnTo>
                    <a:pt x="70" y="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6" name="Freeform 2130"/>
            <p:cNvSpPr>
              <a:spLocks/>
            </p:cNvSpPr>
            <p:nvPr/>
          </p:nvSpPr>
          <p:spPr bwMode="auto">
            <a:xfrm>
              <a:off x="2608040" y="1382334"/>
              <a:ext cx="316204" cy="249775"/>
            </a:xfrm>
            <a:custGeom>
              <a:avLst/>
              <a:gdLst/>
              <a:ahLst/>
              <a:cxnLst>
                <a:cxn ang="0">
                  <a:pos x="106" y="10"/>
                </a:cxn>
                <a:cxn ang="0">
                  <a:pos x="102" y="16"/>
                </a:cxn>
                <a:cxn ang="0">
                  <a:pos x="92" y="8"/>
                </a:cxn>
                <a:cxn ang="0">
                  <a:pos x="88" y="4"/>
                </a:cxn>
                <a:cxn ang="0">
                  <a:pos x="74" y="20"/>
                </a:cxn>
                <a:cxn ang="0">
                  <a:pos x="62" y="18"/>
                </a:cxn>
                <a:cxn ang="0">
                  <a:pos x="52" y="22"/>
                </a:cxn>
                <a:cxn ang="0">
                  <a:pos x="52" y="38"/>
                </a:cxn>
                <a:cxn ang="0">
                  <a:pos x="52" y="46"/>
                </a:cxn>
                <a:cxn ang="0">
                  <a:pos x="44" y="46"/>
                </a:cxn>
                <a:cxn ang="0">
                  <a:pos x="42" y="52"/>
                </a:cxn>
                <a:cxn ang="0">
                  <a:pos x="34" y="62"/>
                </a:cxn>
                <a:cxn ang="0">
                  <a:pos x="18" y="64"/>
                </a:cxn>
                <a:cxn ang="0">
                  <a:pos x="14" y="66"/>
                </a:cxn>
                <a:cxn ang="0">
                  <a:pos x="10" y="58"/>
                </a:cxn>
                <a:cxn ang="0">
                  <a:pos x="2" y="60"/>
                </a:cxn>
                <a:cxn ang="0">
                  <a:pos x="4" y="70"/>
                </a:cxn>
                <a:cxn ang="0">
                  <a:pos x="26" y="88"/>
                </a:cxn>
                <a:cxn ang="0">
                  <a:pos x="28" y="90"/>
                </a:cxn>
                <a:cxn ang="0">
                  <a:pos x="36" y="98"/>
                </a:cxn>
                <a:cxn ang="0">
                  <a:pos x="48" y="106"/>
                </a:cxn>
                <a:cxn ang="0">
                  <a:pos x="50" y="112"/>
                </a:cxn>
                <a:cxn ang="0">
                  <a:pos x="58" y="124"/>
                </a:cxn>
                <a:cxn ang="0">
                  <a:pos x="66" y="134"/>
                </a:cxn>
                <a:cxn ang="0">
                  <a:pos x="78" y="142"/>
                </a:cxn>
                <a:cxn ang="0">
                  <a:pos x="90" y="154"/>
                </a:cxn>
                <a:cxn ang="0">
                  <a:pos x="98" y="164"/>
                </a:cxn>
                <a:cxn ang="0">
                  <a:pos x="108" y="160"/>
                </a:cxn>
                <a:cxn ang="0">
                  <a:pos x="118" y="164"/>
                </a:cxn>
                <a:cxn ang="0">
                  <a:pos x="128" y="168"/>
                </a:cxn>
                <a:cxn ang="0">
                  <a:pos x="134" y="172"/>
                </a:cxn>
                <a:cxn ang="0">
                  <a:pos x="174" y="174"/>
                </a:cxn>
                <a:cxn ang="0">
                  <a:pos x="182" y="184"/>
                </a:cxn>
                <a:cxn ang="0">
                  <a:pos x="188" y="184"/>
                </a:cxn>
                <a:cxn ang="0">
                  <a:pos x="196" y="186"/>
                </a:cxn>
                <a:cxn ang="0">
                  <a:pos x="202" y="186"/>
                </a:cxn>
                <a:cxn ang="0">
                  <a:pos x="210" y="184"/>
                </a:cxn>
                <a:cxn ang="0">
                  <a:pos x="212" y="180"/>
                </a:cxn>
                <a:cxn ang="0">
                  <a:pos x="208" y="176"/>
                </a:cxn>
                <a:cxn ang="0">
                  <a:pos x="204" y="170"/>
                </a:cxn>
                <a:cxn ang="0">
                  <a:pos x="200" y="162"/>
                </a:cxn>
                <a:cxn ang="0">
                  <a:pos x="200" y="152"/>
                </a:cxn>
                <a:cxn ang="0">
                  <a:pos x="212" y="140"/>
                </a:cxn>
                <a:cxn ang="0">
                  <a:pos x="212" y="130"/>
                </a:cxn>
                <a:cxn ang="0">
                  <a:pos x="208" y="128"/>
                </a:cxn>
                <a:cxn ang="0">
                  <a:pos x="204" y="124"/>
                </a:cxn>
                <a:cxn ang="0">
                  <a:pos x="208" y="116"/>
                </a:cxn>
                <a:cxn ang="0">
                  <a:pos x="212" y="106"/>
                </a:cxn>
                <a:cxn ang="0">
                  <a:pos x="210" y="92"/>
                </a:cxn>
                <a:cxn ang="0">
                  <a:pos x="218" y="82"/>
                </a:cxn>
                <a:cxn ang="0">
                  <a:pos x="216" y="74"/>
                </a:cxn>
                <a:cxn ang="0">
                  <a:pos x="218" y="86"/>
                </a:cxn>
                <a:cxn ang="0">
                  <a:pos x="216" y="90"/>
                </a:cxn>
                <a:cxn ang="0">
                  <a:pos x="218" y="98"/>
                </a:cxn>
                <a:cxn ang="0">
                  <a:pos x="222" y="92"/>
                </a:cxn>
                <a:cxn ang="0">
                  <a:pos x="220" y="88"/>
                </a:cxn>
                <a:cxn ang="0">
                  <a:pos x="222" y="74"/>
                </a:cxn>
                <a:cxn ang="0">
                  <a:pos x="220" y="62"/>
                </a:cxn>
                <a:cxn ang="0">
                  <a:pos x="220" y="50"/>
                </a:cxn>
                <a:cxn ang="0">
                  <a:pos x="220" y="40"/>
                </a:cxn>
                <a:cxn ang="0">
                  <a:pos x="226" y="20"/>
                </a:cxn>
                <a:cxn ang="0">
                  <a:pos x="230" y="10"/>
                </a:cxn>
                <a:cxn ang="0">
                  <a:pos x="238" y="0"/>
                </a:cxn>
              </a:cxnLst>
              <a:rect l="0" t="0" r="r" b="b"/>
              <a:pathLst>
                <a:path w="238" h="188">
                  <a:moveTo>
                    <a:pt x="122" y="0"/>
                  </a:moveTo>
                  <a:lnTo>
                    <a:pt x="116" y="6"/>
                  </a:lnTo>
                  <a:lnTo>
                    <a:pt x="106" y="10"/>
                  </a:lnTo>
                  <a:lnTo>
                    <a:pt x="106" y="14"/>
                  </a:lnTo>
                  <a:lnTo>
                    <a:pt x="106" y="16"/>
                  </a:lnTo>
                  <a:lnTo>
                    <a:pt x="102" y="16"/>
                  </a:lnTo>
                  <a:lnTo>
                    <a:pt x="100" y="14"/>
                  </a:lnTo>
                  <a:lnTo>
                    <a:pt x="94" y="10"/>
                  </a:lnTo>
                  <a:lnTo>
                    <a:pt x="92" y="8"/>
                  </a:lnTo>
                  <a:lnTo>
                    <a:pt x="90" y="6"/>
                  </a:lnTo>
                  <a:lnTo>
                    <a:pt x="92" y="4"/>
                  </a:lnTo>
                  <a:lnTo>
                    <a:pt x="88" y="4"/>
                  </a:lnTo>
                  <a:lnTo>
                    <a:pt x="86" y="6"/>
                  </a:lnTo>
                  <a:lnTo>
                    <a:pt x="86" y="8"/>
                  </a:lnTo>
                  <a:lnTo>
                    <a:pt x="74" y="20"/>
                  </a:lnTo>
                  <a:lnTo>
                    <a:pt x="70" y="20"/>
                  </a:lnTo>
                  <a:lnTo>
                    <a:pt x="66" y="20"/>
                  </a:lnTo>
                  <a:lnTo>
                    <a:pt x="62" y="18"/>
                  </a:lnTo>
                  <a:lnTo>
                    <a:pt x="54" y="18"/>
                  </a:lnTo>
                  <a:lnTo>
                    <a:pt x="52" y="20"/>
                  </a:lnTo>
                  <a:lnTo>
                    <a:pt x="52" y="22"/>
                  </a:lnTo>
                  <a:lnTo>
                    <a:pt x="52" y="30"/>
                  </a:lnTo>
                  <a:lnTo>
                    <a:pt x="52" y="36"/>
                  </a:lnTo>
                  <a:lnTo>
                    <a:pt x="52" y="38"/>
                  </a:lnTo>
                  <a:lnTo>
                    <a:pt x="54" y="42"/>
                  </a:lnTo>
                  <a:lnTo>
                    <a:pt x="52" y="44"/>
                  </a:lnTo>
                  <a:lnTo>
                    <a:pt x="52" y="46"/>
                  </a:lnTo>
                  <a:lnTo>
                    <a:pt x="50" y="46"/>
                  </a:lnTo>
                  <a:lnTo>
                    <a:pt x="48" y="44"/>
                  </a:lnTo>
                  <a:lnTo>
                    <a:pt x="44" y="46"/>
                  </a:lnTo>
                  <a:lnTo>
                    <a:pt x="42" y="48"/>
                  </a:lnTo>
                  <a:lnTo>
                    <a:pt x="42" y="50"/>
                  </a:lnTo>
                  <a:lnTo>
                    <a:pt x="42" y="52"/>
                  </a:lnTo>
                  <a:lnTo>
                    <a:pt x="40" y="56"/>
                  </a:lnTo>
                  <a:lnTo>
                    <a:pt x="38" y="58"/>
                  </a:lnTo>
                  <a:lnTo>
                    <a:pt x="34" y="62"/>
                  </a:lnTo>
                  <a:lnTo>
                    <a:pt x="32" y="60"/>
                  </a:lnTo>
                  <a:lnTo>
                    <a:pt x="20" y="62"/>
                  </a:lnTo>
                  <a:lnTo>
                    <a:pt x="18" y="64"/>
                  </a:lnTo>
                  <a:lnTo>
                    <a:pt x="20" y="64"/>
                  </a:lnTo>
                  <a:lnTo>
                    <a:pt x="16" y="66"/>
                  </a:lnTo>
                  <a:lnTo>
                    <a:pt x="14" y="66"/>
                  </a:lnTo>
                  <a:lnTo>
                    <a:pt x="12" y="64"/>
                  </a:lnTo>
                  <a:lnTo>
                    <a:pt x="12" y="62"/>
                  </a:lnTo>
                  <a:lnTo>
                    <a:pt x="10" y="58"/>
                  </a:lnTo>
                  <a:lnTo>
                    <a:pt x="8" y="58"/>
                  </a:lnTo>
                  <a:lnTo>
                    <a:pt x="6" y="58"/>
                  </a:lnTo>
                  <a:lnTo>
                    <a:pt x="2" y="60"/>
                  </a:lnTo>
                  <a:lnTo>
                    <a:pt x="0" y="64"/>
                  </a:lnTo>
                  <a:lnTo>
                    <a:pt x="2" y="68"/>
                  </a:lnTo>
                  <a:lnTo>
                    <a:pt x="4" y="70"/>
                  </a:lnTo>
                  <a:lnTo>
                    <a:pt x="12" y="74"/>
                  </a:lnTo>
                  <a:lnTo>
                    <a:pt x="16" y="80"/>
                  </a:lnTo>
                  <a:lnTo>
                    <a:pt x="26" y="88"/>
                  </a:lnTo>
                  <a:lnTo>
                    <a:pt x="28" y="90"/>
                  </a:lnTo>
                  <a:lnTo>
                    <a:pt x="30" y="90"/>
                  </a:lnTo>
                  <a:lnTo>
                    <a:pt x="28" y="90"/>
                  </a:lnTo>
                  <a:lnTo>
                    <a:pt x="32" y="94"/>
                  </a:lnTo>
                  <a:lnTo>
                    <a:pt x="34" y="96"/>
                  </a:lnTo>
                  <a:lnTo>
                    <a:pt x="36" y="98"/>
                  </a:lnTo>
                  <a:lnTo>
                    <a:pt x="40" y="100"/>
                  </a:lnTo>
                  <a:lnTo>
                    <a:pt x="46" y="104"/>
                  </a:lnTo>
                  <a:lnTo>
                    <a:pt x="48" y="106"/>
                  </a:lnTo>
                  <a:lnTo>
                    <a:pt x="48" y="108"/>
                  </a:lnTo>
                  <a:lnTo>
                    <a:pt x="50" y="110"/>
                  </a:lnTo>
                  <a:lnTo>
                    <a:pt x="50" y="112"/>
                  </a:lnTo>
                  <a:lnTo>
                    <a:pt x="52" y="116"/>
                  </a:lnTo>
                  <a:lnTo>
                    <a:pt x="54" y="118"/>
                  </a:lnTo>
                  <a:lnTo>
                    <a:pt x="58" y="124"/>
                  </a:lnTo>
                  <a:lnTo>
                    <a:pt x="60" y="126"/>
                  </a:lnTo>
                  <a:lnTo>
                    <a:pt x="60" y="128"/>
                  </a:lnTo>
                  <a:lnTo>
                    <a:pt x="66" y="134"/>
                  </a:lnTo>
                  <a:lnTo>
                    <a:pt x="68" y="134"/>
                  </a:lnTo>
                  <a:lnTo>
                    <a:pt x="72" y="140"/>
                  </a:lnTo>
                  <a:lnTo>
                    <a:pt x="78" y="142"/>
                  </a:lnTo>
                  <a:lnTo>
                    <a:pt x="80" y="146"/>
                  </a:lnTo>
                  <a:lnTo>
                    <a:pt x="84" y="148"/>
                  </a:lnTo>
                  <a:lnTo>
                    <a:pt x="90" y="154"/>
                  </a:lnTo>
                  <a:lnTo>
                    <a:pt x="96" y="162"/>
                  </a:lnTo>
                  <a:lnTo>
                    <a:pt x="98" y="162"/>
                  </a:lnTo>
                  <a:lnTo>
                    <a:pt x="98" y="164"/>
                  </a:lnTo>
                  <a:lnTo>
                    <a:pt x="100" y="166"/>
                  </a:lnTo>
                  <a:lnTo>
                    <a:pt x="102" y="166"/>
                  </a:lnTo>
                  <a:lnTo>
                    <a:pt x="108" y="160"/>
                  </a:lnTo>
                  <a:lnTo>
                    <a:pt x="110" y="160"/>
                  </a:lnTo>
                  <a:lnTo>
                    <a:pt x="112" y="162"/>
                  </a:lnTo>
                  <a:lnTo>
                    <a:pt x="118" y="164"/>
                  </a:lnTo>
                  <a:lnTo>
                    <a:pt x="120" y="164"/>
                  </a:lnTo>
                  <a:lnTo>
                    <a:pt x="126" y="166"/>
                  </a:lnTo>
                  <a:lnTo>
                    <a:pt x="128" y="168"/>
                  </a:lnTo>
                  <a:lnTo>
                    <a:pt x="130" y="170"/>
                  </a:lnTo>
                  <a:lnTo>
                    <a:pt x="132" y="170"/>
                  </a:lnTo>
                  <a:lnTo>
                    <a:pt x="134" y="172"/>
                  </a:lnTo>
                  <a:lnTo>
                    <a:pt x="144" y="176"/>
                  </a:lnTo>
                  <a:lnTo>
                    <a:pt x="158" y="168"/>
                  </a:lnTo>
                  <a:lnTo>
                    <a:pt x="174" y="174"/>
                  </a:lnTo>
                  <a:lnTo>
                    <a:pt x="178" y="178"/>
                  </a:lnTo>
                  <a:lnTo>
                    <a:pt x="182" y="182"/>
                  </a:lnTo>
                  <a:lnTo>
                    <a:pt x="182" y="184"/>
                  </a:lnTo>
                  <a:lnTo>
                    <a:pt x="184" y="184"/>
                  </a:lnTo>
                  <a:lnTo>
                    <a:pt x="186" y="186"/>
                  </a:lnTo>
                  <a:lnTo>
                    <a:pt x="188" y="184"/>
                  </a:lnTo>
                  <a:lnTo>
                    <a:pt x="190" y="184"/>
                  </a:lnTo>
                  <a:lnTo>
                    <a:pt x="194" y="184"/>
                  </a:lnTo>
                  <a:lnTo>
                    <a:pt x="196" y="186"/>
                  </a:lnTo>
                  <a:lnTo>
                    <a:pt x="198" y="188"/>
                  </a:lnTo>
                  <a:lnTo>
                    <a:pt x="200" y="188"/>
                  </a:lnTo>
                  <a:lnTo>
                    <a:pt x="202" y="186"/>
                  </a:lnTo>
                  <a:lnTo>
                    <a:pt x="204" y="184"/>
                  </a:lnTo>
                  <a:lnTo>
                    <a:pt x="206" y="184"/>
                  </a:lnTo>
                  <a:lnTo>
                    <a:pt x="210" y="184"/>
                  </a:lnTo>
                  <a:lnTo>
                    <a:pt x="212" y="184"/>
                  </a:lnTo>
                  <a:lnTo>
                    <a:pt x="212" y="182"/>
                  </a:lnTo>
                  <a:lnTo>
                    <a:pt x="212" y="180"/>
                  </a:lnTo>
                  <a:lnTo>
                    <a:pt x="212" y="178"/>
                  </a:lnTo>
                  <a:lnTo>
                    <a:pt x="212" y="176"/>
                  </a:lnTo>
                  <a:lnTo>
                    <a:pt x="208" y="176"/>
                  </a:lnTo>
                  <a:lnTo>
                    <a:pt x="206" y="174"/>
                  </a:lnTo>
                  <a:lnTo>
                    <a:pt x="206" y="172"/>
                  </a:lnTo>
                  <a:lnTo>
                    <a:pt x="204" y="170"/>
                  </a:lnTo>
                  <a:lnTo>
                    <a:pt x="202" y="168"/>
                  </a:lnTo>
                  <a:lnTo>
                    <a:pt x="202" y="162"/>
                  </a:lnTo>
                  <a:lnTo>
                    <a:pt x="200" y="162"/>
                  </a:lnTo>
                  <a:lnTo>
                    <a:pt x="200" y="156"/>
                  </a:lnTo>
                  <a:lnTo>
                    <a:pt x="200" y="154"/>
                  </a:lnTo>
                  <a:lnTo>
                    <a:pt x="200" y="152"/>
                  </a:lnTo>
                  <a:lnTo>
                    <a:pt x="202" y="150"/>
                  </a:lnTo>
                  <a:lnTo>
                    <a:pt x="206" y="142"/>
                  </a:lnTo>
                  <a:lnTo>
                    <a:pt x="212" y="140"/>
                  </a:lnTo>
                  <a:lnTo>
                    <a:pt x="212" y="136"/>
                  </a:lnTo>
                  <a:lnTo>
                    <a:pt x="212" y="132"/>
                  </a:lnTo>
                  <a:lnTo>
                    <a:pt x="212" y="130"/>
                  </a:lnTo>
                  <a:lnTo>
                    <a:pt x="210" y="126"/>
                  </a:lnTo>
                  <a:lnTo>
                    <a:pt x="208" y="126"/>
                  </a:lnTo>
                  <a:lnTo>
                    <a:pt x="208" y="128"/>
                  </a:lnTo>
                  <a:lnTo>
                    <a:pt x="206" y="128"/>
                  </a:lnTo>
                  <a:lnTo>
                    <a:pt x="204" y="126"/>
                  </a:lnTo>
                  <a:lnTo>
                    <a:pt x="204" y="124"/>
                  </a:lnTo>
                  <a:lnTo>
                    <a:pt x="206" y="122"/>
                  </a:lnTo>
                  <a:lnTo>
                    <a:pt x="208" y="118"/>
                  </a:lnTo>
                  <a:lnTo>
                    <a:pt x="208" y="116"/>
                  </a:lnTo>
                  <a:lnTo>
                    <a:pt x="210" y="114"/>
                  </a:lnTo>
                  <a:lnTo>
                    <a:pt x="212" y="116"/>
                  </a:lnTo>
                  <a:lnTo>
                    <a:pt x="212" y="106"/>
                  </a:lnTo>
                  <a:lnTo>
                    <a:pt x="212" y="104"/>
                  </a:lnTo>
                  <a:lnTo>
                    <a:pt x="210" y="100"/>
                  </a:lnTo>
                  <a:lnTo>
                    <a:pt x="210" y="92"/>
                  </a:lnTo>
                  <a:lnTo>
                    <a:pt x="212" y="88"/>
                  </a:lnTo>
                  <a:lnTo>
                    <a:pt x="218" y="84"/>
                  </a:lnTo>
                  <a:lnTo>
                    <a:pt x="218" y="82"/>
                  </a:lnTo>
                  <a:lnTo>
                    <a:pt x="216" y="78"/>
                  </a:lnTo>
                  <a:lnTo>
                    <a:pt x="214" y="78"/>
                  </a:lnTo>
                  <a:lnTo>
                    <a:pt x="216" y="74"/>
                  </a:lnTo>
                  <a:lnTo>
                    <a:pt x="218" y="74"/>
                  </a:lnTo>
                  <a:lnTo>
                    <a:pt x="220" y="76"/>
                  </a:lnTo>
                  <a:lnTo>
                    <a:pt x="218" y="86"/>
                  </a:lnTo>
                  <a:lnTo>
                    <a:pt x="218" y="88"/>
                  </a:lnTo>
                  <a:lnTo>
                    <a:pt x="216" y="88"/>
                  </a:lnTo>
                  <a:lnTo>
                    <a:pt x="216" y="90"/>
                  </a:lnTo>
                  <a:lnTo>
                    <a:pt x="216" y="92"/>
                  </a:lnTo>
                  <a:lnTo>
                    <a:pt x="216" y="96"/>
                  </a:lnTo>
                  <a:lnTo>
                    <a:pt x="218" y="98"/>
                  </a:lnTo>
                  <a:lnTo>
                    <a:pt x="222" y="98"/>
                  </a:lnTo>
                  <a:lnTo>
                    <a:pt x="222" y="96"/>
                  </a:lnTo>
                  <a:lnTo>
                    <a:pt x="222" y="92"/>
                  </a:lnTo>
                  <a:lnTo>
                    <a:pt x="222" y="90"/>
                  </a:lnTo>
                  <a:lnTo>
                    <a:pt x="220" y="90"/>
                  </a:lnTo>
                  <a:lnTo>
                    <a:pt x="220" y="88"/>
                  </a:lnTo>
                  <a:lnTo>
                    <a:pt x="220" y="86"/>
                  </a:lnTo>
                  <a:lnTo>
                    <a:pt x="220" y="82"/>
                  </a:lnTo>
                  <a:lnTo>
                    <a:pt x="222" y="74"/>
                  </a:lnTo>
                  <a:lnTo>
                    <a:pt x="222" y="72"/>
                  </a:lnTo>
                  <a:lnTo>
                    <a:pt x="222" y="70"/>
                  </a:lnTo>
                  <a:lnTo>
                    <a:pt x="220" y="62"/>
                  </a:lnTo>
                  <a:lnTo>
                    <a:pt x="220" y="54"/>
                  </a:lnTo>
                  <a:lnTo>
                    <a:pt x="220" y="52"/>
                  </a:lnTo>
                  <a:lnTo>
                    <a:pt x="220" y="50"/>
                  </a:lnTo>
                  <a:lnTo>
                    <a:pt x="220" y="44"/>
                  </a:lnTo>
                  <a:lnTo>
                    <a:pt x="220" y="42"/>
                  </a:lnTo>
                  <a:lnTo>
                    <a:pt x="220" y="40"/>
                  </a:lnTo>
                  <a:lnTo>
                    <a:pt x="222" y="30"/>
                  </a:lnTo>
                  <a:lnTo>
                    <a:pt x="224" y="24"/>
                  </a:lnTo>
                  <a:lnTo>
                    <a:pt x="226" y="20"/>
                  </a:lnTo>
                  <a:lnTo>
                    <a:pt x="228" y="14"/>
                  </a:lnTo>
                  <a:lnTo>
                    <a:pt x="228" y="12"/>
                  </a:lnTo>
                  <a:lnTo>
                    <a:pt x="230" y="10"/>
                  </a:lnTo>
                  <a:lnTo>
                    <a:pt x="232" y="8"/>
                  </a:lnTo>
                  <a:lnTo>
                    <a:pt x="234" y="6"/>
                  </a:lnTo>
                  <a:lnTo>
                    <a:pt x="238" y="0"/>
                  </a:lnTo>
                  <a:lnTo>
                    <a:pt x="122" y="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7" name="Freeform 2132"/>
            <p:cNvSpPr>
              <a:spLocks/>
            </p:cNvSpPr>
            <p:nvPr/>
          </p:nvSpPr>
          <p:spPr bwMode="auto">
            <a:xfrm>
              <a:off x="2538954" y="1382334"/>
              <a:ext cx="231174" cy="82372"/>
            </a:xfrm>
            <a:custGeom>
              <a:avLst/>
              <a:gdLst/>
              <a:ahLst/>
              <a:cxnLst>
                <a:cxn ang="0">
                  <a:pos x="90" y="58"/>
                </a:cxn>
                <a:cxn ang="0">
                  <a:pos x="94" y="52"/>
                </a:cxn>
                <a:cxn ang="0">
                  <a:pos x="94" y="48"/>
                </a:cxn>
                <a:cxn ang="0">
                  <a:pos x="100" y="44"/>
                </a:cxn>
                <a:cxn ang="0">
                  <a:pos x="104" y="46"/>
                </a:cxn>
                <a:cxn ang="0">
                  <a:pos x="106" y="42"/>
                </a:cxn>
                <a:cxn ang="0">
                  <a:pos x="104" y="36"/>
                </a:cxn>
                <a:cxn ang="0">
                  <a:pos x="104" y="22"/>
                </a:cxn>
                <a:cxn ang="0">
                  <a:pos x="106" y="18"/>
                </a:cxn>
                <a:cxn ang="0">
                  <a:pos x="118" y="20"/>
                </a:cxn>
                <a:cxn ang="0">
                  <a:pos x="126" y="20"/>
                </a:cxn>
                <a:cxn ang="0">
                  <a:pos x="138" y="6"/>
                </a:cxn>
                <a:cxn ang="0">
                  <a:pos x="144" y="4"/>
                </a:cxn>
                <a:cxn ang="0">
                  <a:pos x="144" y="8"/>
                </a:cxn>
                <a:cxn ang="0">
                  <a:pos x="152" y="14"/>
                </a:cxn>
                <a:cxn ang="0">
                  <a:pos x="158" y="16"/>
                </a:cxn>
                <a:cxn ang="0">
                  <a:pos x="158" y="10"/>
                </a:cxn>
                <a:cxn ang="0">
                  <a:pos x="174" y="0"/>
                </a:cxn>
                <a:cxn ang="0">
                  <a:pos x="0" y="2"/>
                </a:cxn>
                <a:cxn ang="0">
                  <a:pos x="4" y="4"/>
                </a:cxn>
                <a:cxn ang="0">
                  <a:pos x="12" y="10"/>
                </a:cxn>
                <a:cxn ang="0">
                  <a:pos x="14" y="12"/>
                </a:cxn>
                <a:cxn ang="0">
                  <a:pos x="18" y="12"/>
                </a:cxn>
                <a:cxn ang="0">
                  <a:pos x="24" y="10"/>
                </a:cxn>
                <a:cxn ang="0">
                  <a:pos x="28" y="6"/>
                </a:cxn>
                <a:cxn ang="0">
                  <a:pos x="34" y="6"/>
                </a:cxn>
                <a:cxn ang="0">
                  <a:pos x="36" y="12"/>
                </a:cxn>
                <a:cxn ang="0">
                  <a:pos x="40" y="12"/>
                </a:cxn>
                <a:cxn ang="0">
                  <a:pos x="44" y="10"/>
                </a:cxn>
                <a:cxn ang="0">
                  <a:pos x="50" y="14"/>
                </a:cxn>
                <a:cxn ang="0">
                  <a:pos x="54" y="14"/>
                </a:cxn>
                <a:cxn ang="0">
                  <a:pos x="50" y="28"/>
                </a:cxn>
                <a:cxn ang="0">
                  <a:pos x="50" y="32"/>
                </a:cxn>
                <a:cxn ang="0">
                  <a:pos x="52" y="34"/>
                </a:cxn>
                <a:cxn ang="0">
                  <a:pos x="46" y="38"/>
                </a:cxn>
                <a:cxn ang="0">
                  <a:pos x="52" y="40"/>
                </a:cxn>
                <a:cxn ang="0">
                  <a:pos x="54" y="36"/>
                </a:cxn>
                <a:cxn ang="0">
                  <a:pos x="56" y="36"/>
                </a:cxn>
                <a:cxn ang="0">
                  <a:pos x="58" y="40"/>
                </a:cxn>
                <a:cxn ang="0">
                  <a:pos x="62" y="42"/>
                </a:cxn>
                <a:cxn ang="0">
                  <a:pos x="64" y="38"/>
                </a:cxn>
                <a:cxn ang="0">
                  <a:pos x="68" y="38"/>
                </a:cxn>
                <a:cxn ang="0">
                  <a:pos x="66" y="42"/>
                </a:cxn>
                <a:cxn ang="0">
                  <a:pos x="62" y="46"/>
                </a:cxn>
                <a:cxn ang="0">
                  <a:pos x="70" y="54"/>
                </a:cxn>
                <a:cxn ang="0">
                  <a:pos x="72" y="58"/>
                </a:cxn>
                <a:cxn ang="0">
                  <a:pos x="86" y="62"/>
                </a:cxn>
              </a:cxnLst>
              <a:rect l="0" t="0" r="r" b="b"/>
              <a:pathLst>
                <a:path w="174" h="62">
                  <a:moveTo>
                    <a:pt x="86" y="62"/>
                  </a:moveTo>
                  <a:lnTo>
                    <a:pt x="90" y="58"/>
                  </a:lnTo>
                  <a:lnTo>
                    <a:pt x="92" y="56"/>
                  </a:lnTo>
                  <a:lnTo>
                    <a:pt x="94" y="52"/>
                  </a:lnTo>
                  <a:lnTo>
                    <a:pt x="94" y="50"/>
                  </a:lnTo>
                  <a:lnTo>
                    <a:pt x="94" y="48"/>
                  </a:lnTo>
                  <a:lnTo>
                    <a:pt x="96" y="46"/>
                  </a:lnTo>
                  <a:lnTo>
                    <a:pt x="100" y="44"/>
                  </a:lnTo>
                  <a:lnTo>
                    <a:pt x="102" y="46"/>
                  </a:lnTo>
                  <a:lnTo>
                    <a:pt x="104" y="46"/>
                  </a:lnTo>
                  <a:lnTo>
                    <a:pt x="104" y="44"/>
                  </a:lnTo>
                  <a:lnTo>
                    <a:pt x="106" y="42"/>
                  </a:lnTo>
                  <a:lnTo>
                    <a:pt x="104" y="38"/>
                  </a:lnTo>
                  <a:lnTo>
                    <a:pt x="104" y="36"/>
                  </a:lnTo>
                  <a:lnTo>
                    <a:pt x="104" y="30"/>
                  </a:lnTo>
                  <a:lnTo>
                    <a:pt x="104" y="22"/>
                  </a:lnTo>
                  <a:lnTo>
                    <a:pt x="104" y="20"/>
                  </a:lnTo>
                  <a:lnTo>
                    <a:pt x="106" y="18"/>
                  </a:lnTo>
                  <a:lnTo>
                    <a:pt x="114" y="18"/>
                  </a:lnTo>
                  <a:lnTo>
                    <a:pt x="118" y="20"/>
                  </a:lnTo>
                  <a:lnTo>
                    <a:pt x="122" y="20"/>
                  </a:lnTo>
                  <a:lnTo>
                    <a:pt x="126" y="20"/>
                  </a:lnTo>
                  <a:lnTo>
                    <a:pt x="138" y="8"/>
                  </a:lnTo>
                  <a:lnTo>
                    <a:pt x="138" y="6"/>
                  </a:lnTo>
                  <a:lnTo>
                    <a:pt x="140" y="4"/>
                  </a:lnTo>
                  <a:lnTo>
                    <a:pt x="144" y="4"/>
                  </a:lnTo>
                  <a:lnTo>
                    <a:pt x="142" y="6"/>
                  </a:lnTo>
                  <a:lnTo>
                    <a:pt x="144" y="8"/>
                  </a:lnTo>
                  <a:lnTo>
                    <a:pt x="146" y="10"/>
                  </a:lnTo>
                  <a:lnTo>
                    <a:pt x="152" y="14"/>
                  </a:lnTo>
                  <a:lnTo>
                    <a:pt x="154" y="16"/>
                  </a:lnTo>
                  <a:lnTo>
                    <a:pt x="158" y="16"/>
                  </a:lnTo>
                  <a:lnTo>
                    <a:pt x="158" y="14"/>
                  </a:lnTo>
                  <a:lnTo>
                    <a:pt x="158" y="10"/>
                  </a:lnTo>
                  <a:lnTo>
                    <a:pt x="168" y="6"/>
                  </a:lnTo>
                  <a:lnTo>
                    <a:pt x="174" y="0"/>
                  </a:lnTo>
                  <a:lnTo>
                    <a:pt x="0" y="0"/>
                  </a:lnTo>
                  <a:lnTo>
                    <a:pt x="0" y="2"/>
                  </a:lnTo>
                  <a:lnTo>
                    <a:pt x="2" y="4"/>
                  </a:lnTo>
                  <a:lnTo>
                    <a:pt x="4" y="4"/>
                  </a:lnTo>
                  <a:lnTo>
                    <a:pt x="12" y="6"/>
                  </a:lnTo>
                  <a:lnTo>
                    <a:pt x="12" y="10"/>
                  </a:lnTo>
                  <a:lnTo>
                    <a:pt x="12" y="12"/>
                  </a:lnTo>
                  <a:lnTo>
                    <a:pt x="14" y="12"/>
                  </a:lnTo>
                  <a:lnTo>
                    <a:pt x="16" y="12"/>
                  </a:lnTo>
                  <a:lnTo>
                    <a:pt x="18" y="12"/>
                  </a:lnTo>
                  <a:lnTo>
                    <a:pt x="20" y="10"/>
                  </a:lnTo>
                  <a:lnTo>
                    <a:pt x="24" y="10"/>
                  </a:lnTo>
                  <a:lnTo>
                    <a:pt x="26" y="8"/>
                  </a:lnTo>
                  <a:lnTo>
                    <a:pt x="28" y="6"/>
                  </a:lnTo>
                  <a:lnTo>
                    <a:pt x="30" y="6"/>
                  </a:lnTo>
                  <a:lnTo>
                    <a:pt x="34" y="6"/>
                  </a:lnTo>
                  <a:lnTo>
                    <a:pt x="36" y="8"/>
                  </a:lnTo>
                  <a:lnTo>
                    <a:pt x="36" y="12"/>
                  </a:lnTo>
                  <a:lnTo>
                    <a:pt x="40" y="10"/>
                  </a:lnTo>
                  <a:lnTo>
                    <a:pt x="40" y="12"/>
                  </a:lnTo>
                  <a:lnTo>
                    <a:pt x="42" y="10"/>
                  </a:lnTo>
                  <a:lnTo>
                    <a:pt x="44" y="10"/>
                  </a:lnTo>
                  <a:lnTo>
                    <a:pt x="48" y="12"/>
                  </a:lnTo>
                  <a:lnTo>
                    <a:pt x="50" y="14"/>
                  </a:lnTo>
                  <a:lnTo>
                    <a:pt x="52" y="14"/>
                  </a:lnTo>
                  <a:lnTo>
                    <a:pt x="54" y="14"/>
                  </a:lnTo>
                  <a:lnTo>
                    <a:pt x="52" y="20"/>
                  </a:lnTo>
                  <a:lnTo>
                    <a:pt x="50" y="28"/>
                  </a:lnTo>
                  <a:lnTo>
                    <a:pt x="48" y="32"/>
                  </a:lnTo>
                  <a:lnTo>
                    <a:pt x="50" y="32"/>
                  </a:lnTo>
                  <a:lnTo>
                    <a:pt x="52" y="32"/>
                  </a:lnTo>
                  <a:lnTo>
                    <a:pt x="52" y="34"/>
                  </a:lnTo>
                  <a:lnTo>
                    <a:pt x="50" y="36"/>
                  </a:lnTo>
                  <a:lnTo>
                    <a:pt x="46" y="38"/>
                  </a:lnTo>
                  <a:lnTo>
                    <a:pt x="50" y="40"/>
                  </a:lnTo>
                  <a:lnTo>
                    <a:pt x="52" y="40"/>
                  </a:lnTo>
                  <a:lnTo>
                    <a:pt x="54" y="38"/>
                  </a:lnTo>
                  <a:lnTo>
                    <a:pt x="54" y="36"/>
                  </a:lnTo>
                  <a:lnTo>
                    <a:pt x="56" y="34"/>
                  </a:lnTo>
                  <a:lnTo>
                    <a:pt x="56" y="36"/>
                  </a:lnTo>
                  <a:lnTo>
                    <a:pt x="56" y="38"/>
                  </a:lnTo>
                  <a:lnTo>
                    <a:pt x="58" y="40"/>
                  </a:lnTo>
                  <a:lnTo>
                    <a:pt x="60" y="40"/>
                  </a:lnTo>
                  <a:lnTo>
                    <a:pt x="62" y="42"/>
                  </a:lnTo>
                  <a:lnTo>
                    <a:pt x="64" y="40"/>
                  </a:lnTo>
                  <a:lnTo>
                    <a:pt x="64" y="38"/>
                  </a:lnTo>
                  <a:lnTo>
                    <a:pt x="66" y="38"/>
                  </a:lnTo>
                  <a:lnTo>
                    <a:pt x="68" y="38"/>
                  </a:lnTo>
                  <a:lnTo>
                    <a:pt x="68" y="40"/>
                  </a:lnTo>
                  <a:lnTo>
                    <a:pt x="66" y="42"/>
                  </a:lnTo>
                  <a:lnTo>
                    <a:pt x="62" y="44"/>
                  </a:lnTo>
                  <a:lnTo>
                    <a:pt x="62" y="46"/>
                  </a:lnTo>
                  <a:lnTo>
                    <a:pt x="66" y="50"/>
                  </a:lnTo>
                  <a:lnTo>
                    <a:pt x="70" y="54"/>
                  </a:lnTo>
                  <a:lnTo>
                    <a:pt x="70" y="56"/>
                  </a:lnTo>
                  <a:lnTo>
                    <a:pt x="72" y="58"/>
                  </a:lnTo>
                  <a:lnTo>
                    <a:pt x="72" y="62"/>
                  </a:lnTo>
                  <a:lnTo>
                    <a:pt x="86" y="6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38" name="Freeform 2133"/>
            <p:cNvSpPr>
              <a:spLocks/>
            </p:cNvSpPr>
            <p:nvPr/>
          </p:nvSpPr>
          <p:spPr bwMode="auto">
            <a:xfrm>
              <a:off x="3854256" y="3505418"/>
              <a:ext cx="100973" cy="98316"/>
            </a:xfrm>
            <a:custGeom>
              <a:avLst/>
              <a:gdLst/>
              <a:ahLst/>
              <a:cxnLst>
                <a:cxn ang="0">
                  <a:pos x="58" y="52"/>
                </a:cxn>
                <a:cxn ang="0">
                  <a:pos x="60" y="54"/>
                </a:cxn>
                <a:cxn ang="0">
                  <a:pos x="62" y="56"/>
                </a:cxn>
                <a:cxn ang="0">
                  <a:pos x="54" y="46"/>
                </a:cxn>
                <a:cxn ang="0">
                  <a:pos x="48" y="46"/>
                </a:cxn>
                <a:cxn ang="0">
                  <a:pos x="50" y="54"/>
                </a:cxn>
                <a:cxn ang="0">
                  <a:pos x="46" y="56"/>
                </a:cxn>
                <a:cxn ang="0">
                  <a:pos x="30" y="52"/>
                </a:cxn>
                <a:cxn ang="0">
                  <a:pos x="30" y="50"/>
                </a:cxn>
                <a:cxn ang="0">
                  <a:pos x="32" y="46"/>
                </a:cxn>
                <a:cxn ang="0">
                  <a:pos x="32" y="42"/>
                </a:cxn>
                <a:cxn ang="0">
                  <a:pos x="26" y="40"/>
                </a:cxn>
                <a:cxn ang="0">
                  <a:pos x="18" y="38"/>
                </a:cxn>
                <a:cxn ang="0">
                  <a:pos x="14" y="32"/>
                </a:cxn>
                <a:cxn ang="0">
                  <a:pos x="10" y="30"/>
                </a:cxn>
                <a:cxn ang="0">
                  <a:pos x="8" y="34"/>
                </a:cxn>
                <a:cxn ang="0">
                  <a:pos x="12" y="36"/>
                </a:cxn>
                <a:cxn ang="0">
                  <a:pos x="8" y="36"/>
                </a:cxn>
                <a:cxn ang="0">
                  <a:pos x="0" y="32"/>
                </a:cxn>
                <a:cxn ang="0">
                  <a:pos x="0" y="26"/>
                </a:cxn>
                <a:cxn ang="0">
                  <a:pos x="6" y="20"/>
                </a:cxn>
                <a:cxn ang="0">
                  <a:pos x="12" y="26"/>
                </a:cxn>
                <a:cxn ang="0">
                  <a:pos x="16" y="26"/>
                </a:cxn>
                <a:cxn ang="0">
                  <a:pos x="14" y="24"/>
                </a:cxn>
                <a:cxn ang="0">
                  <a:pos x="8" y="14"/>
                </a:cxn>
                <a:cxn ang="0">
                  <a:pos x="4" y="6"/>
                </a:cxn>
                <a:cxn ang="0">
                  <a:pos x="16" y="0"/>
                </a:cxn>
                <a:cxn ang="0">
                  <a:pos x="24" y="6"/>
                </a:cxn>
                <a:cxn ang="0">
                  <a:pos x="36" y="12"/>
                </a:cxn>
                <a:cxn ang="0">
                  <a:pos x="36" y="16"/>
                </a:cxn>
                <a:cxn ang="0">
                  <a:pos x="38" y="20"/>
                </a:cxn>
                <a:cxn ang="0">
                  <a:pos x="42" y="24"/>
                </a:cxn>
                <a:cxn ang="0">
                  <a:pos x="46" y="22"/>
                </a:cxn>
                <a:cxn ang="0">
                  <a:pos x="54" y="30"/>
                </a:cxn>
                <a:cxn ang="0">
                  <a:pos x="54" y="34"/>
                </a:cxn>
                <a:cxn ang="0">
                  <a:pos x="58" y="38"/>
                </a:cxn>
                <a:cxn ang="0">
                  <a:pos x="66" y="38"/>
                </a:cxn>
                <a:cxn ang="0">
                  <a:pos x="66" y="40"/>
                </a:cxn>
                <a:cxn ang="0">
                  <a:pos x="60" y="44"/>
                </a:cxn>
                <a:cxn ang="0">
                  <a:pos x="62" y="50"/>
                </a:cxn>
                <a:cxn ang="0">
                  <a:pos x="72" y="54"/>
                </a:cxn>
                <a:cxn ang="0">
                  <a:pos x="74" y="52"/>
                </a:cxn>
                <a:cxn ang="0">
                  <a:pos x="76" y="54"/>
                </a:cxn>
                <a:cxn ang="0">
                  <a:pos x="76" y="58"/>
                </a:cxn>
                <a:cxn ang="0">
                  <a:pos x="62" y="64"/>
                </a:cxn>
                <a:cxn ang="0">
                  <a:pos x="58" y="64"/>
                </a:cxn>
                <a:cxn ang="0">
                  <a:pos x="56" y="66"/>
                </a:cxn>
                <a:cxn ang="0">
                  <a:pos x="60" y="66"/>
                </a:cxn>
                <a:cxn ang="0">
                  <a:pos x="62" y="68"/>
                </a:cxn>
                <a:cxn ang="0">
                  <a:pos x="62" y="74"/>
                </a:cxn>
                <a:cxn ang="0">
                  <a:pos x="56" y="74"/>
                </a:cxn>
                <a:cxn ang="0">
                  <a:pos x="50" y="68"/>
                </a:cxn>
                <a:cxn ang="0">
                  <a:pos x="52" y="64"/>
                </a:cxn>
                <a:cxn ang="0">
                  <a:pos x="56" y="52"/>
                </a:cxn>
              </a:cxnLst>
              <a:rect l="0" t="0" r="r" b="b"/>
              <a:pathLst>
                <a:path w="76" h="74">
                  <a:moveTo>
                    <a:pt x="56" y="52"/>
                  </a:moveTo>
                  <a:lnTo>
                    <a:pt x="58" y="52"/>
                  </a:lnTo>
                  <a:lnTo>
                    <a:pt x="58" y="54"/>
                  </a:lnTo>
                  <a:lnTo>
                    <a:pt x="60" y="54"/>
                  </a:lnTo>
                  <a:lnTo>
                    <a:pt x="60" y="56"/>
                  </a:lnTo>
                  <a:lnTo>
                    <a:pt x="62" y="56"/>
                  </a:lnTo>
                  <a:lnTo>
                    <a:pt x="62" y="54"/>
                  </a:lnTo>
                  <a:lnTo>
                    <a:pt x="54" y="46"/>
                  </a:lnTo>
                  <a:lnTo>
                    <a:pt x="48" y="44"/>
                  </a:lnTo>
                  <a:lnTo>
                    <a:pt x="48" y="46"/>
                  </a:lnTo>
                  <a:lnTo>
                    <a:pt x="50" y="50"/>
                  </a:lnTo>
                  <a:lnTo>
                    <a:pt x="50" y="54"/>
                  </a:lnTo>
                  <a:lnTo>
                    <a:pt x="48" y="54"/>
                  </a:lnTo>
                  <a:lnTo>
                    <a:pt x="46" y="56"/>
                  </a:lnTo>
                  <a:lnTo>
                    <a:pt x="40" y="56"/>
                  </a:lnTo>
                  <a:lnTo>
                    <a:pt x="30" y="52"/>
                  </a:lnTo>
                  <a:lnTo>
                    <a:pt x="28" y="52"/>
                  </a:lnTo>
                  <a:lnTo>
                    <a:pt x="30" y="50"/>
                  </a:lnTo>
                  <a:lnTo>
                    <a:pt x="30" y="48"/>
                  </a:lnTo>
                  <a:lnTo>
                    <a:pt x="32" y="46"/>
                  </a:lnTo>
                  <a:lnTo>
                    <a:pt x="34" y="44"/>
                  </a:lnTo>
                  <a:lnTo>
                    <a:pt x="32" y="42"/>
                  </a:lnTo>
                  <a:lnTo>
                    <a:pt x="32" y="40"/>
                  </a:lnTo>
                  <a:lnTo>
                    <a:pt x="26" y="40"/>
                  </a:lnTo>
                  <a:lnTo>
                    <a:pt x="20" y="40"/>
                  </a:lnTo>
                  <a:lnTo>
                    <a:pt x="18" y="38"/>
                  </a:lnTo>
                  <a:lnTo>
                    <a:pt x="16" y="36"/>
                  </a:lnTo>
                  <a:lnTo>
                    <a:pt x="14" y="32"/>
                  </a:lnTo>
                  <a:lnTo>
                    <a:pt x="12" y="30"/>
                  </a:lnTo>
                  <a:lnTo>
                    <a:pt x="10" y="30"/>
                  </a:lnTo>
                  <a:lnTo>
                    <a:pt x="8" y="32"/>
                  </a:lnTo>
                  <a:lnTo>
                    <a:pt x="8" y="34"/>
                  </a:lnTo>
                  <a:lnTo>
                    <a:pt x="10" y="34"/>
                  </a:lnTo>
                  <a:lnTo>
                    <a:pt x="12" y="36"/>
                  </a:lnTo>
                  <a:lnTo>
                    <a:pt x="10" y="36"/>
                  </a:lnTo>
                  <a:lnTo>
                    <a:pt x="8" y="36"/>
                  </a:lnTo>
                  <a:lnTo>
                    <a:pt x="2" y="34"/>
                  </a:lnTo>
                  <a:lnTo>
                    <a:pt x="0" y="32"/>
                  </a:lnTo>
                  <a:lnTo>
                    <a:pt x="0" y="28"/>
                  </a:lnTo>
                  <a:lnTo>
                    <a:pt x="0" y="26"/>
                  </a:lnTo>
                  <a:lnTo>
                    <a:pt x="0" y="24"/>
                  </a:lnTo>
                  <a:lnTo>
                    <a:pt x="6" y="20"/>
                  </a:lnTo>
                  <a:lnTo>
                    <a:pt x="10" y="24"/>
                  </a:lnTo>
                  <a:lnTo>
                    <a:pt x="12" y="26"/>
                  </a:lnTo>
                  <a:lnTo>
                    <a:pt x="14" y="26"/>
                  </a:lnTo>
                  <a:lnTo>
                    <a:pt x="16" y="26"/>
                  </a:lnTo>
                  <a:lnTo>
                    <a:pt x="16" y="24"/>
                  </a:lnTo>
                  <a:lnTo>
                    <a:pt x="14" y="24"/>
                  </a:lnTo>
                  <a:lnTo>
                    <a:pt x="12" y="22"/>
                  </a:lnTo>
                  <a:lnTo>
                    <a:pt x="8" y="14"/>
                  </a:lnTo>
                  <a:lnTo>
                    <a:pt x="4" y="8"/>
                  </a:lnTo>
                  <a:lnTo>
                    <a:pt x="4" y="6"/>
                  </a:lnTo>
                  <a:lnTo>
                    <a:pt x="8" y="4"/>
                  </a:lnTo>
                  <a:lnTo>
                    <a:pt x="16" y="0"/>
                  </a:lnTo>
                  <a:lnTo>
                    <a:pt x="18" y="0"/>
                  </a:lnTo>
                  <a:lnTo>
                    <a:pt x="24" y="6"/>
                  </a:lnTo>
                  <a:lnTo>
                    <a:pt x="34" y="12"/>
                  </a:lnTo>
                  <a:lnTo>
                    <a:pt x="36" y="12"/>
                  </a:lnTo>
                  <a:lnTo>
                    <a:pt x="36" y="14"/>
                  </a:lnTo>
                  <a:lnTo>
                    <a:pt x="36" y="16"/>
                  </a:lnTo>
                  <a:lnTo>
                    <a:pt x="38" y="18"/>
                  </a:lnTo>
                  <a:lnTo>
                    <a:pt x="38" y="20"/>
                  </a:lnTo>
                  <a:lnTo>
                    <a:pt x="40" y="22"/>
                  </a:lnTo>
                  <a:lnTo>
                    <a:pt x="42" y="24"/>
                  </a:lnTo>
                  <a:lnTo>
                    <a:pt x="44" y="22"/>
                  </a:lnTo>
                  <a:lnTo>
                    <a:pt x="46" y="22"/>
                  </a:lnTo>
                  <a:lnTo>
                    <a:pt x="46" y="24"/>
                  </a:lnTo>
                  <a:lnTo>
                    <a:pt x="54" y="30"/>
                  </a:lnTo>
                  <a:lnTo>
                    <a:pt x="54" y="32"/>
                  </a:lnTo>
                  <a:lnTo>
                    <a:pt x="54" y="34"/>
                  </a:lnTo>
                  <a:lnTo>
                    <a:pt x="54" y="36"/>
                  </a:lnTo>
                  <a:lnTo>
                    <a:pt x="58" y="38"/>
                  </a:lnTo>
                  <a:lnTo>
                    <a:pt x="60" y="36"/>
                  </a:lnTo>
                  <a:lnTo>
                    <a:pt x="66" y="38"/>
                  </a:lnTo>
                  <a:lnTo>
                    <a:pt x="68" y="40"/>
                  </a:lnTo>
                  <a:lnTo>
                    <a:pt x="66" y="40"/>
                  </a:lnTo>
                  <a:lnTo>
                    <a:pt x="64" y="42"/>
                  </a:lnTo>
                  <a:lnTo>
                    <a:pt x="60" y="44"/>
                  </a:lnTo>
                  <a:lnTo>
                    <a:pt x="58" y="44"/>
                  </a:lnTo>
                  <a:lnTo>
                    <a:pt x="62" y="50"/>
                  </a:lnTo>
                  <a:lnTo>
                    <a:pt x="64" y="52"/>
                  </a:lnTo>
                  <a:lnTo>
                    <a:pt x="72" y="54"/>
                  </a:lnTo>
                  <a:lnTo>
                    <a:pt x="72" y="52"/>
                  </a:lnTo>
                  <a:lnTo>
                    <a:pt x="74" y="52"/>
                  </a:lnTo>
                  <a:lnTo>
                    <a:pt x="74" y="54"/>
                  </a:lnTo>
                  <a:lnTo>
                    <a:pt x="76" y="54"/>
                  </a:lnTo>
                  <a:lnTo>
                    <a:pt x="76" y="56"/>
                  </a:lnTo>
                  <a:lnTo>
                    <a:pt x="76" y="58"/>
                  </a:lnTo>
                  <a:lnTo>
                    <a:pt x="70" y="60"/>
                  </a:lnTo>
                  <a:lnTo>
                    <a:pt x="62" y="64"/>
                  </a:lnTo>
                  <a:lnTo>
                    <a:pt x="60" y="64"/>
                  </a:lnTo>
                  <a:lnTo>
                    <a:pt x="58" y="64"/>
                  </a:lnTo>
                  <a:lnTo>
                    <a:pt x="56" y="64"/>
                  </a:lnTo>
                  <a:lnTo>
                    <a:pt x="56" y="66"/>
                  </a:lnTo>
                  <a:lnTo>
                    <a:pt x="58" y="66"/>
                  </a:lnTo>
                  <a:lnTo>
                    <a:pt x="60" y="66"/>
                  </a:lnTo>
                  <a:lnTo>
                    <a:pt x="62" y="66"/>
                  </a:lnTo>
                  <a:lnTo>
                    <a:pt x="62" y="68"/>
                  </a:lnTo>
                  <a:lnTo>
                    <a:pt x="62" y="70"/>
                  </a:lnTo>
                  <a:lnTo>
                    <a:pt x="62" y="74"/>
                  </a:lnTo>
                  <a:lnTo>
                    <a:pt x="58" y="74"/>
                  </a:lnTo>
                  <a:lnTo>
                    <a:pt x="56" y="74"/>
                  </a:lnTo>
                  <a:lnTo>
                    <a:pt x="52" y="72"/>
                  </a:lnTo>
                  <a:lnTo>
                    <a:pt x="50" y="68"/>
                  </a:lnTo>
                  <a:lnTo>
                    <a:pt x="50" y="66"/>
                  </a:lnTo>
                  <a:lnTo>
                    <a:pt x="52" y="64"/>
                  </a:lnTo>
                  <a:lnTo>
                    <a:pt x="54" y="56"/>
                  </a:lnTo>
                  <a:lnTo>
                    <a:pt x="56" y="52"/>
                  </a:lnTo>
                  <a:close/>
                </a:path>
              </a:pathLst>
            </a:custGeom>
            <a:solidFill>
              <a:srgbClr val="FFFFFF"/>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207" name="Group 206"/>
          <p:cNvGrpSpPr/>
          <p:nvPr userDrawn="1"/>
        </p:nvGrpSpPr>
        <p:grpSpPr>
          <a:xfrm>
            <a:off x="3524689" y="3387881"/>
            <a:ext cx="4972855" cy="2322652"/>
            <a:chOff x="2192591" y="3179528"/>
            <a:chExt cx="4972855" cy="2322652"/>
          </a:xfrm>
        </p:grpSpPr>
        <p:sp>
          <p:nvSpPr>
            <p:cNvPr id="208" name="Rectangle 207"/>
            <p:cNvSpPr>
              <a:spLocks noChangeArrowheads="1"/>
            </p:cNvSpPr>
            <p:nvPr/>
          </p:nvSpPr>
          <p:spPr bwMode="auto">
            <a:xfrm>
              <a:off x="4382825" y="5286736"/>
              <a:ext cx="1727582"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r>
                <a:rPr lang="en-GB" sz="1400" b="1" dirty="0">
                  <a:solidFill>
                    <a:srgbClr val="000000"/>
                  </a:solidFill>
                </a:rPr>
                <a:t>Argentina</a:t>
              </a:r>
            </a:p>
          </p:txBody>
        </p:sp>
        <p:sp>
          <p:nvSpPr>
            <p:cNvPr id="209" name="Rectangle 208"/>
            <p:cNvSpPr>
              <a:spLocks noChangeArrowheads="1"/>
            </p:cNvSpPr>
            <p:nvPr/>
          </p:nvSpPr>
          <p:spPr bwMode="auto">
            <a:xfrm>
              <a:off x="2192591" y="3179528"/>
              <a:ext cx="1053664"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pPr algn="r"/>
              <a:r>
                <a:rPr lang="en-GB" sz="1400" b="1" dirty="0">
                  <a:solidFill>
                    <a:srgbClr val="000000"/>
                  </a:solidFill>
                </a:rPr>
                <a:t>Peru</a:t>
              </a:r>
            </a:p>
          </p:txBody>
        </p:sp>
        <p:sp>
          <p:nvSpPr>
            <p:cNvPr id="210" name="Rectangle 209"/>
            <p:cNvSpPr>
              <a:spLocks noChangeArrowheads="1"/>
            </p:cNvSpPr>
            <p:nvPr/>
          </p:nvSpPr>
          <p:spPr bwMode="auto">
            <a:xfrm>
              <a:off x="6140356" y="3478494"/>
              <a:ext cx="1025090"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r>
                <a:rPr lang="en-GB" sz="1400" b="1" dirty="0">
                  <a:solidFill>
                    <a:srgbClr val="000000"/>
                  </a:solidFill>
                </a:rPr>
                <a:t>Brazil</a:t>
              </a:r>
            </a:p>
          </p:txBody>
        </p:sp>
        <p:sp>
          <p:nvSpPr>
            <p:cNvPr id="211" name="Rectangle 210"/>
            <p:cNvSpPr>
              <a:spLocks noChangeArrowheads="1"/>
            </p:cNvSpPr>
            <p:nvPr/>
          </p:nvSpPr>
          <p:spPr bwMode="auto">
            <a:xfrm>
              <a:off x="2336423" y="4201386"/>
              <a:ext cx="1333996"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pPr algn="r"/>
              <a:r>
                <a:rPr lang="en-GB" sz="1400" b="1">
                  <a:solidFill>
                    <a:srgbClr val="000000"/>
                  </a:solidFill>
                </a:rPr>
                <a:t>Chile</a:t>
              </a:r>
            </a:p>
          </p:txBody>
        </p:sp>
      </p:grpSp>
    </p:spTree>
    <p:extLst>
      <p:ext uri="{BB962C8B-B14F-4D97-AF65-F5344CB8AC3E}">
        <p14:creationId xmlns:p14="http://schemas.microsoft.com/office/powerpoint/2010/main" val="106279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Map Africa,Middle East">
    <p:spTree>
      <p:nvGrpSpPr>
        <p:cNvPr id="1" name=""/>
        <p:cNvGrpSpPr/>
        <p:nvPr/>
      </p:nvGrpSpPr>
      <p:grpSpPr>
        <a:xfrm>
          <a:off x="0" y="0"/>
          <a:ext cx="0" cy="0"/>
          <a:chOff x="0" y="0"/>
          <a:chExt cx="0" cy="0"/>
        </a:xfrm>
      </p:grpSpPr>
      <p:sp>
        <p:nvSpPr>
          <p:cNvPr id="1348" name="Title 1347"/>
          <p:cNvSpPr>
            <a:spLocks noGrp="1"/>
          </p:cNvSpPr>
          <p:nvPr userDrawn="1">
            <p:ph type="title"/>
          </p:nvPr>
        </p:nvSpPr>
        <p:spPr/>
        <p:txBody>
          <a:bodyPr/>
          <a:lstStyle/>
          <a:p>
            <a:r>
              <a:rPr lang="en-US"/>
              <a:t>Click to edit Master title style</a:t>
            </a:r>
            <a:endParaRPr lang="en-GB"/>
          </a:p>
        </p:txBody>
      </p:sp>
      <p:sp>
        <p:nvSpPr>
          <p:cNvPr id="1350" name="Slide Number Placeholder 1349"/>
          <p:cNvSpPr>
            <a:spLocks noGrp="1"/>
          </p:cNvSpPr>
          <p:nvPr userDrawn="1">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grpSp>
        <p:nvGrpSpPr>
          <p:cNvPr id="239" name="Group 238"/>
          <p:cNvGrpSpPr/>
          <p:nvPr userDrawn="1"/>
        </p:nvGrpSpPr>
        <p:grpSpPr>
          <a:xfrm>
            <a:off x="3418605" y="1517714"/>
            <a:ext cx="4735721" cy="4694549"/>
            <a:chOff x="3418605" y="1517714"/>
            <a:chExt cx="4735721" cy="4694549"/>
          </a:xfrm>
        </p:grpSpPr>
        <p:sp>
          <p:nvSpPr>
            <p:cNvPr id="247" name="Freeform 1935"/>
            <p:cNvSpPr>
              <a:spLocks/>
            </p:cNvSpPr>
            <p:nvPr/>
          </p:nvSpPr>
          <p:spPr bwMode="auto">
            <a:xfrm rot="21000000">
              <a:off x="6803088" y="1517714"/>
              <a:ext cx="540461" cy="546987"/>
            </a:xfrm>
            <a:custGeom>
              <a:avLst/>
              <a:gdLst/>
              <a:ahLst/>
              <a:cxnLst>
                <a:cxn ang="0">
                  <a:pos x="892" y="822"/>
                </a:cxn>
                <a:cxn ang="0">
                  <a:pos x="880" y="794"/>
                </a:cxn>
                <a:cxn ang="0">
                  <a:pos x="848" y="742"/>
                </a:cxn>
                <a:cxn ang="0">
                  <a:pos x="854" y="694"/>
                </a:cxn>
                <a:cxn ang="0">
                  <a:pos x="854" y="646"/>
                </a:cxn>
                <a:cxn ang="0">
                  <a:pos x="818" y="584"/>
                </a:cxn>
                <a:cxn ang="0">
                  <a:pos x="790" y="580"/>
                </a:cxn>
                <a:cxn ang="0">
                  <a:pos x="770" y="560"/>
                </a:cxn>
                <a:cxn ang="0">
                  <a:pos x="742" y="538"/>
                </a:cxn>
                <a:cxn ang="0">
                  <a:pos x="716" y="524"/>
                </a:cxn>
                <a:cxn ang="0">
                  <a:pos x="698" y="520"/>
                </a:cxn>
                <a:cxn ang="0">
                  <a:pos x="702" y="486"/>
                </a:cxn>
                <a:cxn ang="0">
                  <a:pos x="686" y="464"/>
                </a:cxn>
                <a:cxn ang="0">
                  <a:pos x="674" y="448"/>
                </a:cxn>
                <a:cxn ang="0">
                  <a:pos x="658" y="430"/>
                </a:cxn>
                <a:cxn ang="0">
                  <a:pos x="636" y="406"/>
                </a:cxn>
                <a:cxn ang="0">
                  <a:pos x="652" y="364"/>
                </a:cxn>
                <a:cxn ang="0">
                  <a:pos x="662" y="338"/>
                </a:cxn>
                <a:cxn ang="0">
                  <a:pos x="664" y="318"/>
                </a:cxn>
                <a:cxn ang="0">
                  <a:pos x="682" y="302"/>
                </a:cxn>
                <a:cxn ang="0">
                  <a:pos x="696" y="282"/>
                </a:cxn>
                <a:cxn ang="0">
                  <a:pos x="712" y="256"/>
                </a:cxn>
                <a:cxn ang="0">
                  <a:pos x="708" y="210"/>
                </a:cxn>
                <a:cxn ang="0">
                  <a:pos x="732" y="198"/>
                </a:cxn>
                <a:cxn ang="0">
                  <a:pos x="714" y="196"/>
                </a:cxn>
                <a:cxn ang="0">
                  <a:pos x="676" y="194"/>
                </a:cxn>
                <a:cxn ang="0">
                  <a:pos x="658" y="172"/>
                </a:cxn>
                <a:cxn ang="0">
                  <a:pos x="640" y="146"/>
                </a:cxn>
                <a:cxn ang="0">
                  <a:pos x="624" y="124"/>
                </a:cxn>
                <a:cxn ang="0">
                  <a:pos x="614" y="106"/>
                </a:cxn>
                <a:cxn ang="0">
                  <a:pos x="604" y="80"/>
                </a:cxn>
                <a:cxn ang="0">
                  <a:pos x="606" y="64"/>
                </a:cxn>
                <a:cxn ang="0">
                  <a:pos x="596" y="38"/>
                </a:cxn>
                <a:cxn ang="0">
                  <a:pos x="568" y="44"/>
                </a:cxn>
                <a:cxn ang="0">
                  <a:pos x="546" y="54"/>
                </a:cxn>
                <a:cxn ang="0">
                  <a:pos x="546" y="20"/>
                </a:cxn>
                <a:cxn ang="0">
                  <a:pos x="520" y="18"/>
                </a:cxn>
                <a:cxn ang="0">
                  <a:pos x="448" y="4"/>
                </a:cxn>
                <a:cxn ang="0">
                  <a:pos x="414" y="0"/>
                </a:cxn>
                <a:cxn ang="0">
                  <a:pos x="374" y="28"/>
                </a:cxn>
                <a:cxn ang="0">
                  <a:pos x="276" y="96"/>
                </a:cxn>
                <a:cxn ang="0">
                  <a:pos x="270" y="192"/>
                </a:cxn>
                <a:cxn ang="0">
                  <a:pos x="254" y="222"/>
                </a:cxn>
                <a:cxn ang="0">
                  <a:pos x="248" y="242"/>
                </a:cxn>
                <a:cxn ang="0">
                  <a:pos x="224" y="322"/>
                </a:cxn>
                <a:cxn ang="0">
                  <a:pos x="102" y="384"/>
                </a:cxn>
                <a:cxn ang="0">
                  <a:pos x="18" y="532"/>
                </a:cxn>
                <a:cxn ang="0">
                  <a:pos x="52" y="582"/>
                </a:cxn>
                <a:cxn ang="0">
                  <a:pos x="388" y="802"/>
                </a:cxn>
                <a:cxn ang="0">
                  <a:pos x="728" y="968"/>
                </a:cxn>
                <a:cxn ang="0">
                  <a:pos x="746" y="952"/>
                </a:cxn>
                <a:cxn ang="0">
                  <a:pos x="772" y="908"/>
                </a:cxn>
                <a:cxn ang="0">
                  <a:pos x="792" y="866"/>
                </a:cxn>
                <a:cxn ang="0">
                  <a:pos x="870" y="868"/>
                </a:cxn>
                <a:cxn ang="0">
                  <a:pos x="898" y="868"/>
                </a:cxn>
                <a:cxn ang="0">
                  <a:pos x="920" y="878"/>
                </a:cxn>
              </a:cxnLst>
              <a:rect l="0" t="0" r="r" b="b"/>
              <a:pathLst>
                <a:path w="932" h="974">
                  <a:moveTo>
                    <a:pt x="920" y="870"/>
                  </a:moveTo>
                  <a:lnTo>
                    <a:pt x="916" y="858"/>
                  </a:lnTo>
                  <a:lnTo>
                    <a:pt x="916" y="852"/>
                  </a:lnTo>
                  <a:lnTo>
                    <a:pt x="916" y="848"/>
                  </a:lnTo>
                  <a:lnTo>
                    <a:pt x="904" y="832"/>
                  </a:lnTo>
                  <a:lnTo>
                    <a:pt x="892" y="822"/>
                  </a:lnTo>
                  <a:lnTo>
                    <a:pt x="890" y="820"/>
                  </a:lnTo>
                  <a:lnTo>
                    <a:pt x="886" y="818"/>
                  </a:lnTo>
                  <a:lnTo>
                    <a:pt x="882" y="816"/>
                  </a:lnTo>
                  <a:lnTo>
                    <a:pt x="880" y="814"/>
                  </a:lnTo>
                  <a:lnTo>
                    <a:pt x="880" y="802"/>
                  </a:lnTo>
                  <a:lnTo>
                    <a:pt x="880" y="794"/>
                  </a:lnTo>
                  <a:lnTo>
                    <a:pt x="880" y="762"/>
                  </a:lnTo>
                  <a:lnTo>
                    <a:pt x="882" y="756"/>
                  </a:lnTo>
                  <a:lnTo>
                    <a:pt x="870" y="754"/>
                  </a:lnTo>
                  <a:lnTo>
                    <a:pt x="862" y="754"/>
                  </a:lnTo>
                  <a:lnTo>
                    <a:pt x="846" y="754"/>
                  </a:lnTo>
                  <a:lnTo>
                    <a:pt x="848" y="742"/>
                  </a:lnTo>
                  <a:lnTo>
                    <a:pt x="848" y="732"/>
                  </a:lnTo>
                  <a:lnTo>
                    <a:pt x="848" y="728"/>
                  </a:lnTo>
                  <a:lnTo>
                    <a:pt x="848" y="720"/>
                  </a:lnTo>
                  <a:lnTo>
                    <a:pt x="848" y="708"/>
                  </a:lnTo>
                  <a:lnTo>
                    <a:pt x="850" y="702"/>
                  </a:lnTo>
                  <a:lnTo>
                    <a:pt x="854" y="694"/>
                  </a:lnTo>
                  <a:lnTo>
                    <a:pt x="860" y="680"/>
                  </a:lnTo>
                  <a:lnTo>
                    <a:pt x="862" y="670"/>
                  </a:lnTo>
                  <a:lnTo>
                    <a:pt x="866" y="664"/>
                  </a:lnTo>
                  <a:lnTo>
                    <a:pt x="864" y="660"/>
                  </a:lnTo>
                  <a:lnTo>
                    <a:pt x="858" y="652"/>
                  </a:lnTo>
                  <a:lnTo>
                    <a:pt x="854" y="646"/>
                  </a:lnTo>
                  <a:lnTo>
                    <a:pt x="844" y="634"/>
                  </a:lnTo>
                  <a:lnTo>
                    <a:pt x="840" y="628"/>
                  </a:lnTo>
                  <a:lnTo>
                    <a:pt x="834" y="616"/>
                  </a:lnTo>
                  <a:lnTo>
                    <a:pt x="824" y="598"/>
                  </a:lnTo>
                  <a:lnTo>
                    <a:pt x="826" y="594"/>
                  </a:lnTo>
                  <a:lnTo>
                    <a:pt x="818" y="584"/>
                  </a:lnTo>
                  <a:lnTo>
                    <a:pt x="810" y="582"/>
                  </a:lnTo>
                  <a:lnTo>
                    <a:pt x="808" y="584"/>
                  </a:lnTo>
                  <a:lnTo>
                    <a:pt x="802" y="586"/>
                  </a:lnTo>
                  <a:lnTo>
                    <a:pt x="798" y="586"/>
                  </a:lnTo>
                  <a:lnTo>
                    <a:pt x="796" y="584"/>
                  </a:lnTo>
                  <a:lnTo>
                    <a:pt x="790" y="580"/>
                  </a:lnTo>
                  <a:lnTo>
                    <a:pt x="788" y="578"/>
                  </a:lnTo>
                  <a:lnTo>
                    <a:pt x="780" y="570"/>
                  </a:lnTo>
                  <a:lnTo>
                    <a:pt x="778" y="568"/>
                  </a:lnTo>
                  <a:lnTo>
                    <a:pt x="774" y="566"/>
                  </a:lnTo>
                  <a:lnTo>
                    <a:pt x="772" y="564"/>
                  </a:lnTo>
                  <a:lnTo>
                    <a:pt x="770" y="560"/>
                  </a:lnTo>
                  <a:lnTo>
                    <a:pt x="768" y="560"/>
                  </a:lnTo>
                  <a:lnTo>
                    <a:pt x="760" y="550"/>
                  </a:lnTo>
                  <a:lnTo>
                    <a:pt x="758" y="548"/>
                  </a:lnTo>
                  <a:lnTo>
                    <a:pt x="756" y="548"/>
                  </a:lnTo>
                  <a:lnTo>
                    <a:pt x="750" y="544"/>
                  </a:lnTo>
                  <a:lnTo>
                    <a:pt x="742" y="538"/>
                  </a:lnTo>
                  <a:lnTo>
                    <a:pt x="736" y="532"/>
                  </a:lnTo>
                  <a:lnTo>
                    <a:pt x="732" y="530"/>
                  </a:lnTo>
                  <a:lnTo>
                    <a:pt x="728" y="528"/>
                  </a:lnTo>
                  <a:lnTo>
                    <a:pt x="724" y="526"/>
                  </a:lnTo>
                  <a:lnTo>
                    <a:pt x="718" y="524"/>
                  </a:lnTo>
                  <a:lnTo>
                    <a:pt x="716" y="524"/>
                  </a:lnTo>
                  <a:lnTo>
                    <a:pt x="712" y="524"/>
                  </a:lnTo>
                  <a:lnTo>
                    <a:pt x="708" y="524"/>
                  </a:lnTo>
                  <a:lnTo>
                    <a:pt x="706" y="526"/>
                  </a:lnTo>
                  <a:lnTo>
                    <a:pt x="704" y="526"/>
                  </a:lnTo>
                  <a:lnTo>
                    <a:pt x="698" y="524"/>
                  </a:lnTo>
                  <a:lnTo>
                    <a:pt x="698" y="520"/>
                  </a:lnTo>
                  <a:lnTo>
                    <a:pt x="700" y="510"/>
                  </a:lnTo>
                  <a:lnTo>
                    <a:pt x="704" y="504"/>
                  </a:lnTo>
                  <a:lnTo>
                    <a:pt x="708" y="500"/>
                  </a:lnTo>
                  <a:lnTo>
                    <a:pt x="708" y="498"/>
                  </a:lnTo>
                  <a:lnTo>
                    <a:pt x="706" y="490"/>
                  </a:lnTo>
                  <a:lnTo>
                    <a:pt x="702" y="486"/>
                  </a:lnTo>
                  <a:lnTo>
                    <a:pt x="696" y="476"/>
                  </a:lnTo>
                  <a:lnTo>
                    <a:pt x="696" y="474"/>
                  </a:lnTo>
                  <a:lnTo>
                    <a:pt x="694" y="470"/>
                  </a:lnTo>
                  <a:lnTo>
                    <a:pt x="694" y="468"/>
                  </a:lnTo>
                  <a:lnTo>
                    <a:pt x="692" y="464"/>
                  </a:lnTo>
                  <a:lnTo>
                    <a:pt x="686" y="464"/>
                  </a:lnTo>
                  <a:lnTo>
                    <a:pt x="684" y="464"/>
                  </a:lnTo>
                  <a:lnTo>
                    <a:pt x="678" y="462"/>
                  </a:lnTo>
                  <a:lnTo>
                    <a:pt x="680" y="460"/>
                  </a:lnTo>
                  <a:lnTo>
                    <a:pt x="686" y="456"/>
                  </a:lnTo>
                  <a:lnTo>
                    <a:pt x="682" y="446"/>
                  </a:lnTo>
                  <a:lnTo>
                    <a:pt x="674" y="448"/>
                  </a:lnTo>
                  <a:lnTo>
                    <a:pt x="670" y="450"/>
                  </a:lnTo>
                  <a:lnTo>
                    <a:pt x="668" y="450"/>
                  </a:lnTo>
                  <a:lnTo>
                    <a:pt x="668" y="446"/>
                  </a:lnTo>
                  <a:lnTo>
                    <a:pt x="662" y="442"/>
                  </a:lnTo>
                  <a:lnTo>
                    <a:pt x="658" y="434"/>
                  </a:lnTo>
                  <a:lnTo>
                    <a:pt x="658" y="430"/>
                  </a:lnTo>
                  <a:lnTo>
                    <a:pt x="650" y="416"/>
                  </a:lnTo>
                  <a:lnTo>
                    <a:pt x="646" y="410"/>
                  </a:lnTo>
                  <a:lnTo>
                    <a:pt x="642" y="410"/>
                  </a:lnTo>
                  <a:lnTo>
                    <a:pt x="640" y="410"/>
                  </a:lnTo>
                  <a:lnTo>
                    <a:pt x="638" y="408"/>
                  </a:lnTo>
                  <a:lnTo>
                    <a:pt x="636" y="406"/>
                  </a:lnTo>
                  <a:lnTo>
                    <a:pt x="642" y="394"/>
                  </a:lnTo>
                  <a:lnTo>
                    <a:pt x="650" y="388"/>
                  </a:lnTo>
                  <a:lnTo>
                    <a:pt x="652" y="386"/>
                  </a:lnTo>
                  <a:lnTo>
                    <a:pt x="654" y="368"/>
                  </a:lnTo>
                  <a:lnTo>
                    <a:pt x="654" y="366"/>
                  </a:lnTo>
                  <a:lnTo>
                    <a:pt x="652" y="364"/>
                  </a:lnTo>
                  <a:lnTo>
                    <a:pt x="648" y="364"/>
                  </a:lnTo>
                  <a:lnTo>
                    <a:pt x="646" y="364"/>
                  </a:lnTo>
                  <a:lnTo>
                    <a:pt x="644" y="360"/>
                  </a:lnTo>
                  <a:lnTo>
                    <a:pt x="642" y="350"/>
                  </a:lnTo>
                  <a:lnTo>
                    <a:pt x="654" y="336"/>
                  </a:lnTo>
                  <a:lnTo>
                    <a:pt x="662" y="338"/>
                  </a:lnTo>
                  <a:lnTo>
                    <a:pt x="668" y="340"/>
                  </a:lnTo>
                  <a:lnTo>
                    <a:pt x="670" y="336"/>
                  </a:lnTo>
                  <a:lnTo>
                    <a:pt x="668" y="328"/>
                  </a:lnTo>
                  <a:lnTo>
                    <a:pt x="666" y="324"/>
                  </a:lnTo>
                  <a:lnTo>
                    <a:pt x="664" y="322"/>
                  </a:lnTo>
                  <a:lnTo>
                    <a:pt x="664" y="318"/>
                  </a:lnTo>
                  <a:lnTo>
                    <a:pt x="668" y="310"/>
                  </a:lnTo>
                  <a:lnTo>
                    <a:pt x="670" y="308"/>
                  </a:lnTo>
                  <a:lnTo>
                    <a:pt x="672" y="308"/>
                  </a:lnTo>
                  <a:lnTo>
                    <a:pt x="674" y="306"/>
                  </a:lnTo>
                  <a:lnTo>
                    <a:pt x="678" y="298"/>
                  </a:lnTo>
                  <a:lnTo>
                    <a:pt x="682" y="302"/>
                  </a:lnTo>
                  <a:lnTo>
                    <a:pt x="684" y="300"/>
                  </a:lnTo>
                  <a:lnTo>
                    <a:pt x="688" y="292"/>
                  </a:lnTo>
                  <a:lnTo>
                    <a:pt x="686" y="290"/>
                  </a:lnTo>
                  <a:lnTo>
                    <a:pt x="686" y="286"/>
                  </a:lnTo>
                  <a:lnTo>
                    <a:pt x="694" y="280"/>
                  </a:lnTo>
                  <a:lnTo>
                    <a:pt x="696" y="282"/>
                  </a:lnTo>
                  <a:lnTo>
                    <a:pt x="700" y="284"/>
                  </a:lnTo>
                  <a:lnTo>
                    <a:pt x="714" y="278"/>
                  </a:lnTo>
                  <a:lnTo>
                    <a:pt x="716" y="264"/>
                  </a:lnTo>
                  <a:lnTo>
                    <a:pt x="714" y="264"/>
                  </a:lnTo>
                  <a:lnTo>
                    <a:pt x="710" y="260"/>
                  </a:lnTo>
                  <a:lnTo>
                    <a:pt x="712" y="256"/>
                  </a:lnTo>
                  <a:lnTo>
                    <a:pt x="706" y="246"/>
                  </a:lnTo>
                  <a:lnTo>
                    <a:pt x="704" y="244"/>
                  </a:lnTo>
                  <a:lnTo>
                    <a:pt x="698" y="234"/>
                  </a:lnTo>
                  <a:lnTo>
                    <a:pt x="698" y="222"/>
                  </a:lnTo>
                  <a:lnTo>
                    <a:pt x="704" y="210"/>
                  </a:lnTo>
                  <a:lnTo>
                    <a:pt x="708" y="210"/>
                  </a:lnTo>
                  <a:lnTo>
                    <a:pt x="710" y="210"/>
                  </a:lnTo>
                  <a:lnTo>
                    <a:pt x="714" y="210"/>
                  </a:lnTo>
                  <a:lnTo>
                    <a:pt x="722" y="208"/>
                  </a:lnTo>
                  <a:lnTo>
                    <a:pt x="726" y="208"/>
                  </a:lnTo>
                  <a:lnTo>
                    <a:pt x="732" y="202"/>
                  </a:lnTo>
                  <a:lnTo>
                    <a:pt x="732" y="198"/>
                  </a:lnTo>
                  <a:lnTo>
                    <a:pt x="732" y="194"/>
                  </a:lnTo>
                  <a:lnTo>
                    <a:pt x="728" y="194"/>
                  </a:lnTo>
                  <a:lnTo>
                    <a:pt x="726" y="198"/>
                  </a:lnTo>
                  <a:lnTo>
                    <a:pt x="720" y="198"/>
                  </a:lnTo>
                  <a:lnTo>
                    <a:pt x="718" y="198"/>
                  </a:lnTo>
                  <a:lnTo>
                    <a:pt x="714" y="196"/>
                  </a:lnTo>
                  <a:lnTo>
                    <a:pt x="714" y="192"/>
                  </a:lnTo>
                  <a:lnTo>
                    <a:pt x="710" y="190"/>
                  </a:lnTo>
                  <a:lnTo>
                    <a:pt x="690" y="194"/>
                  </a:lnTo>
                  <a:lnTo>
                    <a:pt x="688" y="196"/>
                  </a:lnTo>
                  <a:lnTo>
                    <a:pt x="678" y="194"/>
                  </a:lnTo>
                  <a:lnTo>
                    <a:pt x="676" y="194"/>
                  </a:lnTo>
                  <a:lnTo>
                    <a:pt x="676" y="190"/>
                  </a:lnTo>
                  <a:lnTo>
                    <a:pt x="676" y="188"/>
                  </a:lnTo>
                  <a:lnTo>
                    <a:pt x="672" y="182"/>
                  </a:lnTo>
                  <a:lnTo>
                    <a:pt x="670" y="180"/>
                  </a:lnTo>
                  <a:lnTo>
                    <a:pt x="666" y="178"/>
                  </a:lnTo>
                  <a:lnTo>
                    <a:pt x="658" y="172"/>
                  </a:lnTo>
                  <a:lnTo>
                    <a:pt x="656" y="170"/>
                  </a:lnTo>
                  <a:lnTo>
                    <a:pt x="652" y="170"/>
                  </a:lnTo>
                  <a:lnTo>
                    <a:pt x="648" y="174"/>
                  </a:lnTo>
                  <a:lnTo>
                    <a:pt x="642" y="166"/>
                  </a:lnTo>
                  <a:lnTo>
                    <a:pt x="642" y="158"/>
                  </a:lnTo>
                  <a:lnTo>
                    <a:pt x="640" y="146"/>
                  </a:lnTo>
                  <a:lnTo>
                    <a:pt x="636" y="128"/>
                  </a:lnTo>
                  <a:lnTo>
                    <a:pt x="634" y="122"/>
                  </a:lnTo>
                  <a:lnTo>
                    <a:pt x="632" y="122"/>
                  </a:lnTo>
                  <a:lnTo>
                    <a:pt x="628" y="124"/>
                  </a:lnTo>
                  <a:lnTo>
                    <a:pt x="626" y="124"/>
                  </a:lnTo>
                  <a:lnTo>
                    <a:pt x="624" y="124"/>
                  </a:lnTo>
                  <a:lnTo>
                    <a:pt x="622" y="124"/>
                  </a:lnTo>
                  <a:lnTo>
                    <a:pt x="618" y="122"/>
                  </a:lnTo>
                  <a:lnTo>
                    <a:pt x="618" y="118"/>
                  </a:lnTo>
                  <a:lnTo>
                    <a:pt x="616" y="114"/>
                  </a:lnTo>
                  <a:lnTo>
                    <a:pt x="614" y="108"/>
                  </a:lnTo>
                  <a:lnTo>
                    <a:pt x="614" y="106"/>
                  </a:lnTo>
                  <a:lnTo>
                    <a:pt x="616" y="100"/>
                  </a:lnTo>
                  <a:lnTo>
                    <a:pt x="618" y="98"/>
                  </a:lnTo>
                  <a:lnTo>
                    <a:pt x="618" y="92"/>
                  </a:lnTo>
                  <a:lnTo>
                    <a:pt x="616" y="86"/>
                  </a:lnTo>
                  <a:lnTo>
                    <a:pt x="608" y="80"/>
                  </a:lnTo>
                  <a:lnTo>
                    <a:pt x="604" y="80"/>
                  </a:lnTo>
                  <a:lnTo>
                    <a:pt x="602" y="80"/>
                  </a:lnTo>
                  <a:lnTo>
                    <a:pt x="600" y="78"/>
                  </a:lnTo>
                  <a:lnTo>
                    <a:pt x="600" y="76"/>
                  </a:lnTo>
                  <a:lnTo>
                    <a:pt x="602" y="70"/>
                  </a:lnTo>
                  <a:lnTo>
                    <a:pt x="604" y="68"/>
                  </a:lnTo>
                  <a:lnTo>
                    <a:pt x="606" y="64"/>
                  </a:lnTo>
                  <a:lnTo>
                    <a:pt x="606" y="52"/>
                  </a:lnTo>
                  <a:lnTo>
                    <a:pt x="602" y="50"/>
                  </a:lnTo>
                  <a:lnTo>
                    <a:pt x="598" y="48"/>
                  </a:lnTo>
                  <a:lnTo>
                    <a:pt x="596" y="46"/>
                  </a:lnTo>
                  <a:lnTo>
                    <a:pt x="594" y="42"/>
                  </a:lnTo>
                  <a:lnTo>
                    <a:pt x="596" y="38"/>
                  </a:lnTo>
                  <a:lnTo>
                    <a:pt x="594" y="36"/>
                  </a:lnTo>
                  <a:lnTo>
                    <a:pt x="592" y="34"/>
                  </a:lnTo>
                  <a:lnTo>
                    <a:pt x="582" y="32"/>
                  </a:lnTo>
                  <a:lnTo>
                    <a:pt x="576" y="36"/>
                  </a:lnTo>
                  <a:lnTo>
                    <a:pt x="574" y="38"/>
                  </a:lnTo>
                  <a:lnTo>
                    <a:pt x="568" y="44"/>
                  </a:lnTo>
                  <a:lnTo>
                    <a:pt x="566" y="44"/>
                  </a:lnTo>
                  <a:lnTo>
                    <a:pt x="562" y="46"/>
                  </a:lnTo>
                  <a:lnTo>
                    <a:pt x="554" y="48"/>
                  </a:lnTo>
                  <a:lnTo>
                    <a:pt x="554" y="52"/>
                  </a:lnTo>
                  <a:lnTo>
                    <a:pt x="552" y="56"/>
                  </a:lnTo>
                  <a:lnTo>
                    <a:pt x="546" y="54"/>
                  </a:lnTo>
                  <a:lnTo>
                    <a:pt x="542" y="42"/>
                  </a:lnTo>
                  <a:lnTo>
                    <a:pt x="544" y="34"/>
                  </a:lnTo>
                  <a:lnTo>
                    <a:pt x="548" y="34"/>
                  </a:lnTo>
                  <a:lnTo>
                    <a:pt x="548" y="30"/>
                  </a:lnTo>
                  <a:lnTo>
                    <a:pt x="548" y="26"/>
                  </a:lnTo>
                  <a:lnTo>
                    <a:pt x="546" y="20"/>
                  </a:lnTo>
                  <a:lnTo>
                    <a:pt x="536" y="16"/>
                  </a:lnTo>
                  <a:lnTo>
                    <a:pt x="534" y="16"/>
                  </a:lnTo>
                  <a:lnTo>
                    <a:pt x="532" y="16"/>
                  </a:lnTo>
                  <a:lnTo>
                    <a:pt x="530" y="14"/>
                  </a:lnTo>
                  <a:lnTo>
                    <a:pt x="526" y="14"/>
                  </a:lnTo>
                  <a:lnTo>
                    <a:pt x="520" y="18"/>
                  </a:lnTo>
                  <a:lnTo>
                    <a:pt x="518" y="22"/>
                  </a:lnTo>
                  <a:lnTo>
                    <a:pt x="516" y="24"/>
                  </a:lnTo>
                  <a:lnTo>
                    <a:pt x="508" y="24"/>
                  </a:lnTo>
                  <a:lnTo>
                    <a:pt x="490" y="22"/>
                  </a:lnTo>
                  <a:lnTo>
                    <a:pt x="478" y="20"/>
                  </a:lnTo>
                  <a:lnTo>
                    <a:pt x="448" y="4"/>
                  </a:lnTo>
                  <a:lnTo>
                    <a:pt x="434" y="6"/>
                  </a:lnTo>
                  <a:lnTo>
                    <a:pt x="430" y="8"/>
                  </a:lnTo>
                  <a:lnTo>
                    <a:pt x="426" y="8"/>
                  </a:lnTo>
                  <a:lnTo>
                    <a:pt x="424" y="6"/>
                  </a:lnTo>
                  <a:lnTo>
                    <a:pt x="418" y="2"/>
                  </a:lnTo>
                  <a:lnTo>
                    <a:pt x="414" y="0"/>
                  </a:lnTo>
                  <a:lnTo>
                    <a:pt x="412" y="2"/>
                  </a:lnTo>
                  <a:lnTo>
                    <a:pt x="408" y="4"/>
                  </a:lnTo>
                  <a:lnTo>
                    <a:pt x="394" y="24"/>
                  </a:lnTo>
                  <a:lnTo>
                    <a:pt x="394" y="26"/>
                  </a:lnTo>
                  <a:lnTo>
                    <a:pt x="388" y="26"/>
                  </a:lnTo>
                  <a:lnTo>
                    <a:pt x="374" y="28"/>
                  </a:lnTo>
                  <a:lnTo>
                    <a:pt x="372" y="30"/>
                  </a:lnTo>
                  <a:lnTo>
                    <a:pt x="374" y="34"/>
                  </a:lnTo>
                  <a:lnTo>
                    <a:pt x="374" y="36"/>
                  </a:lnTo>
                  <a:lnTo>
                    <a:pt x="320" y="84"/>
                  </a:lnTo>
                  <a:lnTo>
                    <a:pt x="280" y="90"/>
                  </a:lnTo>
                  <a:lnTo>
                    <a:pt x="276" y="96"/>
                  </a:lnTo>
                  <a:lnTo>
                    <a:pt x="268" y="108"/>
                  </a:lnTo>
                  <a:lnTo>
                    <a:pt x="262" y="142"/>
                  </a:lnTo>
                  <a:lnTo>
                    <a:pt x="262" y="146"/>
                  </a:lnTo>
                  <a:lnTo>
                    <a:pt x="268" y="164"/>
                  </a:lnTo>
                  <a:lnTo>
                    <a:pt x="270" y="168"/>
                  </a:lnTo>
                  <a:lnTo>
                    <a:pt x="270" y="192"/>
                  </a:lnTo>
                  <a:lnTo>
                    <a:pt x="262" y="200"/>
                  </a:lnTo>
                  <a:lnTo>
                    <a:pt x="258" y="208"/>
                  </a:lnTo>
                  <a:lnTo>
                    <a:pt x="258" y="210"/>
                  </a:lnTo>
                  <a:lnTo>
                    <a:pt x="256" y="212"/>
                  </a:lnTo>
                  <a:lnTo>
                    <a:pt x="256" y="218"/>
                  </a:lnTo>
                  <a:lnTo>
                    <a:pt x="254" y="222"/>
                  </a:lnTo>
                  <a:lnTo>
                    <a:pt x="254" y="224"/>
                  </a:lnTo>
                  <a:lnTo>
                    <a:pt x="252" y="228"/>
                  </a:lnTo>
                  <a:lnTo>
                    <a:pt x="250" y="234"/>
                  </a:lnTo>
                  <a:lnTo>
                    <a:pt x="250" y="238"/>
                  </a:lnTo>
                  <a:lnTo>
                    <a:pt x="248" y="240"/>
                  </a:lnTo>
                  <a:lnTo>
                    <a:pt x="248" y="242"/>
                  </a:lnTo>
                  <a:lnTo>
                    <a:pt x="248" y="250"/>
                  </a:lnTo>
                  <a:lnTo>
                    <a:pt x="248" y="256"/>
                  </a:lnTo>
                  <a:lnTo>
                    <a:pt x="248" y="272"/>
                  </a:lnTo>
                  <a:lnTo>
                    <a:pt x="246" y="288"/>
                  </a:lnTo>
                  <a:lnTo>
                    <a:pt x="232" y="308"/>
                  </a:lnTo>
                  <a:lnTo>
                    <a:pt x="224" y="322"/>
                  </a:lnTo>
                  <a:lnTo>
                    <a:pt x="222" y="328"/>
                  </a:lnTo>
                  <a:lnTo>
                    <a:pt x="188" y="344"/>
                  </a:lnTo>
                  <a:lnTo>
                    <a:pt x="142" y="366"/>
                  </a:lnTo>
                  <a:lnTo>
                    <a:pt x="138" y="366"/>
                  </a:lnTo>
                  <a:lnTo>
                    <a:pt x="122" y="374"/>
                  </a:lnTo>
                  <a:lnTo>
                    <a:pt x="102" y="384"/>
                  </a:lnTo>
                  <a:lnTo>
                    <a:pt x="78" y="394"/>
                  </a:lnTo>
                  <a:lnTo>
                    <a:pt x="60" y="402"/>
                  </a:lnTo>
                  <a:lnTo>
                    <a:pt x="16" y="422"/>
                  </a:lnTo>
                  <a:lnTo>
                    <a:pt x="2" y="428"/>
                  </a:lnTo>
                  <a:lnTo>
                    <a:pt x="0" y="428"/>
                  </a:lnTo>
                  <a:lnTo>
                    <a:pt x="18" y="532"/>
                  </a:lnTo>
                  <a:lnTo>
                    <a:pt x="8" y="534"/>
                  </a:lnTo>
                  <a:lnTo>
                    <a:pt x="12" y="554"/>
                  </a:lnTo>
                  <a:lnTo>
                    <a:pt x="32" y="550"/>
                  </a:lnTo>
                  <a:lnTo>
                    <a:pt x="36" y="564"/>
                  </a:lnTo>
                  <a:lnTo>
                    <a:pt x="24" y="574"/>
                  </a:lnTo>
                  <a:lnTo>
                    <a:pt x="52" y="582"/>
                  </a:lnTo>
                  <a:lnTo>
                    <a:pt x="108" y="598"/>
                  </a:lnTo>
                  <a:lnTo>
                    <a:pt x="140" y="608"/>
                  </a:lnTo>
                  <a:lnTo>
                    <a:pt x="234" y="682"/>
                  </a:lnTo>
                  <a:lnTo>
                    <a:pt x="296" y="716"/>
                  </a:lnTo>
                  <a:lnTo>
                    <a:pt x="374" y="790"/>
                  </a:lnTo>
                  <a:lnTo>
                    <a:pt x="388" y="802"/>
                  </a:lnTo>
                  <a:lnTo>
                    <a:pt x="458" y="870"/>
                  </a:lnTo>
                  <a:lnTo>
                    <a:pt x="544" y="952"/>
                  </a:lnTo>
                  <a:lnTo>
                    <a:pt x="684" y="970"/>
                  </a:lnTo>
                  <a:lnTo>
                    <a:pt x="716" y="974"/>
                  </a:lnTo>
                  <a:lnTo>
                    <a:pt x="728" y="970"/>
                  </a:lnTo>
                  <a:lnTo>
                    <a:pt x="728" y="968"/>
                  </a:lnTo>
                  <a:lnTo>
                    <a:pt x="732" y="966"/>
                  </a:lnTo>
                  <a:lnTo>
                    <a:pt x="732" y="964"/>
                  </a:lnTo>
                  <a:lnTo>
                    <a:pt x="736" y="960"/>
                  </a:lnTo>
                  <a:lnTo>
                    <a:pt x="738" y="960"/>
                  </a:lnTo>
                  <a:lnTo>
                    <a:pt x="742" y="956"/>
                  </a:lnTo>
                  <a:lnTo>
                    <a:pt x="746" y="952"/>
                  </a:lnTo>
                  <a:lnTo>
                    <a:pt x="752" y="940"/>
                  </a:lnTo>
                  <a:lnTo>
                    <a:pt x="756" y="932"/>
                  </a:lnTo>
                  <a:lnTo>
                    <a:pt x="760" y="928"/>
                  </a:lnTo>
                  <a:lnTo>
                    <a:pt x="766" y="918"/>
                  </a:lnTo>
                  <a:lnTo>
                    <a:pt x="768" y="916"/>
                  </a:lnTo>
                  <a:lnTo>
                    <a:pt x="772" y="908"/>
                  </a:lnTo>
                  <a:lnTo>
                    <a:pt x="780" y="892"/>
                  </a:lnTo>
                  <a:lnTo>
                    <a:pt x="784" y="878"/>
                  </a:lnTo>
                  <a:lnTo>
                    <a:pt x="788" y="874"/>
                  </a:lnTo>
                  <a:lnTo>
                    <a:pt x="788" y="872"/>
                  </a:lnTo>
                  <a:lnTo>
                    <a:pt x="790" y="868"/>
                  </a:lnTo>
                  <a:lnTo>
                    <a:pt x="792" y="866"/>
                  </a:lnTo>
                  <a:lnTo>
                    <a:pt x="796" y="864"/>
                  </a:lnTo>
                  <a:lnTo>
                    <a:pt x="810" y="858"/>
                  </a:lnTo>
                  <a:lnTo>
                    <a:pt x="816" y="858"/>
                  </a:lnTo>
                  <a:lnTo>
                    <a:pt x="820" y="858"/>
                  </a:lnTo>
                  <a:lnTo>
                    <a:pt x="848" y="860"/>
                  </a:lnTo>
                  <a:lnTo>
                    <a:pt x="870" y="868"/>
                  </a:lnTo>
                  <a:lnTo>
                    <a:pt x="872" y="866"/>
                  </a:lnTo>
                  <a:lnTo>
                    <a:pt x="882" y="864"/>
                  </a:lnTo>
                  <a:lnTo>
                    <a:pt x="884" y="864"/>
                  </a:lnTo>
                  <a:lnTo>
                    <a:pt x="892" y="866"/>
                  </a:lnTo>
                  <a:lnTo>
                    <a:pt x="894" y="866"/>
                  </a:lnTo>
                  <a:lnTo>
                    <a:pt x="898" y="868"/>
                  </a:lnTo>
                  <a:lnTo>
                    <a:pt x="900" y="870"/>
                  </a:lnTo>
                  <a:lnTo>
                    <a:pt x="904" y="872"/>
                  </a:lnTo>
                  <a:lnTo>
                    <a:pt x="906" y="874"/>
                  </a:lnTo>
                  <a:lnTo>
                    <a:pt x="910" y="876"/>
                  </a:lnTo>
                  <a:lnTo>
                    <a:pt x="914" y="878"/>
                  </a:lnTo>
                  <a:lnTo>
                    <a:pt x="920" y="878"/>
                  </a:lnTo>
                  <a:lnTo>
                    <a:pt x="928" y="880"/>
                  </a:lnTo>
                  <a:lnTo>
                    <a:pt x="932" y="878"/>
                  </a:lnTo>
                  <a:lnTo>
                    <a:pt x="930" y="874"/>
                  </a:lnTo>
                  <a:lnTo>
                    <a:pt x="920" y="87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48" name="Group 1992"/>
            <p:cNvGrpSpPr>
              <a:grpSpLocks/>
            </p:cNvGrpSpPr>
            <p:nvPr/>
          </p:nvGrpSpPr>
          <p:grpSpPr bwMode="auto">
            <a:xfrm rot="21000000">
              <a:off x="7673018" y="2095581"/>
              <a:ext cx="481308" cy="634600"/>
              <a:chOff x="2857" y="2158"/>
              <a:chExt cx="830" cy="1130"/>
            </a:xfrm>
            <a:solidFill>
              <a:srgbClr val="B9B9B9"/>
            </a:solidFill>
          </p:grpSpPr>
          <p:sp>
            <p:nvSpPr>
              <p:cNvPr id="397" name="Freeform 1941"/>
              <p:cNvSpPr>
                <a:spLocks/>
              </p:cNvSpPr>
              <p:nvPr/>
            </p:nvSpPr>
            <p:spPr bwMode="auto">
              <a:xfrm>
                <a:off x="3267" y="2158"/>
                <a:ext cx="42" cy="86"/>
              </a:xfrm>
              <a:custGeom>
                <a:avLst/>
                <a:gdLst/>
                <a:ahLst/>
                <a:cxnLst>
                  <a:cxn ang="0">
                    <a:pos x="12" y="42"/>
                  </a:cxn>
                  <a:cxn ang="0">
                    <a:pos x="10" y="54"/>
                  </a:cxn>
                  <a:cxn ang="0">
                    <a:pos x="8" y="62"/>
                  </a:cxn>
                  <a:cxn ang="0">
                    <a:pos x="8" y="74"/>
                  </a:cxn>
                  <a:cxn ang="0">
                    <a:pos x="10" y="82"/>
                  </a:cxn>
                  <a:cxn ang="0">
                    <a:pos x="12" y="82"/>
                  </a:cxn>
                  <a:cxn ang="0">
                    <a:pos x="14" y="82"/>
                  </a:cxn>
                  <a:cxn ang="0">
                    <a:pos x="20" y="86"/>
                  </a:cxn>
                  <a:cxn ang="0">
                    <a:pos x="22" y="84"/>
                  </a:cxn>
                  <a:cxn ang="0">
                    <a:pos x="22" y="82"/>
                  </a:cxn>
                  <a:cxn ang="0">
                    <a:pos x="22" y="74"/>
                  </a:cxn>
                  <a:cxn ang="0">
                    <a:pos x="26" y="72"/>
                  </a:cxn>
                  <a:cxn ang="0">
                    <a:pos x="28" y="70"/>
                  </a:cxn>
                  <a:cxn ang="0">
                    <a:pos x="32" y="62"/>
                  </a:cxn>
                  <a:cxn ang="0">
                    <a:pos x="34" y="56"/>
                  </a:cxn>
                  <a:cxn ang="0">
                    <a:pos x="34" y="54"/>
                  </a:cxn>
                  <a:cxn ang="0">
                    <a:pos x="36" y="48"/>
                  </a:cxn>
                  <a:cxn ang="0">
                    <a:pos x="36" y="36"/>
                  </a:cxn>
                  <a:cxn ang="0">
                    <a:pos x="30" y="30"/>
                  </a:cxn>
                  <a:cxn ang="0">
                    <a:pos x="26" y="30"/>
                  </a:cxn>
                  <a:cxn ang="0">
                    <a:pos x="24" y="22"/>
                  </a:cxn>
                  <a:cxn ang="0">
                    <a:pos x="30" y="20"/>
                  </a:cxn>
                  <a:cxn ang="0">
                    <a:pos x="30" y="22"/>
                  </a:cxn>
                  <a:cxn ang="0">
                    <a:pos x="40" y="26"/>
                  </a:cxn>
                  <a:cxn ang="0">
                    <a:pos x="42" y="14"/>
                  </a:cxn>
                  <a:cxn ang="0">
                    <a:pos x="38" y="12"/>
                  </a:cxn>
                  <a:cxn ang="0">
                    <a:pos x="32" y="8"/>
                  </a:cxn>
                  <a:cxn ang="0">
                    <a:pos x="32" y="0"/>
                  </a:cxn>
                  <a:cxn ang="0">
                    <a:pos x="28" y="6"/>
                  </a:cxn>
                  <a:cxn ang="0">
                    <a:pos x="24" y="12"/>
                  </a:cxn>
                  <a:cxn ang="0">
                    <a:pos x="24" y="16"/>
                  </a:cxn>
                  <a:cxn ang="0">
                    <a:pos x="26" y="16"/>
                  </a:cxn>
                  <a:cxn ang="0">
                    <a:pos x="28" y="14"/>
                  </a:cxn>
                  <a:cxn ang="0">
                    <a:pos x="32" y="14"/>
                  </a:cxn>
                  <a:cxn ang="0">
                    <a:pos x="32" y="16"/>
                  </a:cxn>
                  <a:cxn ang="0">
                    <a:pos x="28" y="18"/>
                  </a:cxn>
                  <a:cxn ang="0">
                    <a:pos x="26" y="20"/>
                  </a:cxn>
                  <a:cxn ang="0">
                    <a:pos x="22" y="20"/>
                  </a:cxn>
                  <a:cxn ang="0">
                    <a:pos x="16" y="18"/>
                  </a:cxn>
                  <a:cxn ang="0">
                    <a:pos x="12" y="12"/>
                  </a:cxn>
                  <a:cxn ang="0">
                    <a:pos x="10" y="16"/>
                  </a:cxn>
                  <a:cxn ang="0">
                    <a:pos x="4" y="28"/>
                  </a:cxn>
                  <a:cxn ang="0">
                    <a:pos x="2" y="34"/>
                  </a:cxn>
                  <a:cxn ang="0">
                    <a:pos x="0" y="36"/>
                  </a:cxn>
                  <a:cxn ang="0">
                    <a:pos x="8" y="34"/>
                  </a:cxn>
                  <a:cxn ang="0">
                    <a:pos x="12" y="42"/>
                  </a:cxn>
                </a:cxnLst>
                <a:rect l="0" t="0" r="r" b="b"/>
                <a:pathLst>
                  <a:path w="42" h="86">
                    <a:moveTo>
                      <a:pt x="12" y="42"/>
                    </a:moveTo>
                    <a:lnTo>
                      <a:pt x="10" y="54"/>
                    </a:lnTo>
                    <a:lnTo>
                      <a:pt x="8" y="62"/>
                    </a:lnTo>
                    <a:lnTo>
                      <a:pt x="8" y="74"/>
                    </a:lnTo>
                    <a:lnTo>
                      <a:pt x="10" y="82"/>
                    </a:lnTo>
                    <a:lnTo>
                      <a:pt x="12" y="82"/>
                    </a:lnTo>
                    <a:lnTo>
                      <a:pt x="14" y="82"/>
                    </a:lnTo>
                    <a:lnTo>
                      <a:pt x="20" y="86"/>
                    </a:lnTo>
                    <a:lnTo>
                      <a:pt x="22" y="84"/>
                    </a:lnTo>
                    <a:lnTo>
                      <a:pt x="22" y="82"/>
                    </a:lnTo>
                    <a:lnTo>
                      <a:pt x="22" y="74"/>
                    </a:lnTo>
                    <a:lnTo>
                      <a:pt x="26" y="72"/>
                    </a:lnTo>
                    <a:lnTo>
                      <a:pt x="28" y="70"/>
                    </a:lnTo>
                    <a:lnTo>
                      <a:pt x="32" y="62"/>
                    </a:lnTo>
                    <a:lnTo>
                      <a:pt x="34" y="56"/>
                    </a:lnTo>
                    <a:lnTo>
                      <a:pt x="34" y="54"/>
                    </a:lnTo>
                    <a:lnTo>
                      <a:pt x="36" y="48"/>
                    </a:lnTo>
                    <a:lnTo>
                      <a:pt x="36" y="36"/>
                    </a:lnTo>
                    <a:lnTo>
                      <a:pt x="30" y="30"/>
                    </a:lnTo>
                    <a:lnTo>
                      <a:pt x="26" y="30"/>
                    </a:lnTo>
                    <a:lnTo>
                      <a:pt x="24" y="22"/>
                    </a:lnTo>
                    <a:lnTo>
                      <a:pt x="30" y="20"/>
                    </a:lnTo>
                    <a:lnTo>
                      <a:pt x="30" y="22"/>
                    </a:lnTo>
                    <a:lnTo>
                      <a:pt x="40" y="26"/>
                    </a:lnTo>
                    <a:lnTo>
                      <a:pt x="42" y="14"/>
                    </a:lnTo>
                    <a:lnTo>
                      <a:pt x="38" y="12"/>
                    </a:lnTo>
                    <a:lnTo>
                      <a:pt x="32" y="8"/>
                    </a:lnTo>
                    <a:lnTo>
                      <a:pt x="32" y="0"/>
                    </a:lnTo>
                    <a:lnTo>
                      <a:pt x="28" y="6"/>
                    </a:lnTo>
                    <a:lnTo>
                      <a:pt x="24" y="12"/>
                    </a:lnTo>
                    <a:lnTo>
                      <a:pt x="24" y="16"/>
                    </a:lnTo>
                    <a:lnTo>
                      <a:pt x="26" y="16"/>
                    </a:lnTo>
                    <a:lnTo>
                      <a:pt x="28" y="14"/>
                    </a:lnTo>
                    <a:lnTo>
                      <a:pt x="32" y="14"/>
                    </a:lnTo>
                    <a:lnTo>
                      <a:pt x="32" y="16"/>
                    </a:lnTo>
                    <a:lnTo>
                      <a:pt x="28" y="18"/>
                    </a:lnTo>
                    <a:lnTo>
                      <a:pt x="26" y="20"/>
                    </a:lnTo>
                    <a:lnTo>
                      <a:pt x="22" y="20"/>
                    </a:lnTo>
                    <a:lnTo>
                      <a:pt x="16" y="18"/>
                    </a:lnTo>
                    <a:lnTo>
                      <a:pt x="12" y="12"/>
                    </a:lnTo>
                    <a:lnTo>
                      <a:pt x="10" y="16"/>
                    </a:lnTo>
                    <a:lnTo>
                      <a:pt x="4" y="28"/>
                    </a:lnTo>
                    <a:lnTo>
                      <a:pt x="2" y="34"/>
                    </a:lnTo>
                    <a:lnTo>
                      <a:pt x="0" y="36"/>
                    </a:lnTo>
                    <a:lnTo>
                      <a:pt x="8" y="34"/>
                    </a:lnTo>
                    <a:lnTo>
                      <a:pt x="12" y="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8" name="Freeform 1942"/>
              <p:cNvSpPr>
                <a:spLocks/>
              </p:cNvSpPr>
              <p:nvPr/>
            </p:nvSpPr>
            <p:spPr bwMode="auto">
              <a:xfrm>
                <a:off x="2857" y="2318"/>
                <a:ext cx="830" cy="970"/>
              </a:xfrm>
              <a:custGeom>
                <a:avLst/>
                <a:gdLst/>
                <a:ahLst/>
                <a:cxnLst>
                  <a:cxn ang="0">
                    <a:pos x="440" y="10"/>
                  </a:cxn>
                  <a:cxn ang="0">
                    <a:pos x="428" y="18"/>
                  </a:cxn>
                  <a:cxn ang="0">
                    <a:pos x="416" y="28"/>
                  </a:cxn>
                  <a:cxn ang="0">
                    <a:pos x="412" y="4"/>
                  </a:cxn>
                  <a:cxn ang="0">
                    <a:pos x="400" y="2"/>
                  </a:cxn>
                  <a:cxn ang="0">
                    <a:pos x="388" y="16"/>
                  </a:cxn>
                  <a:cxn ang="0">
                    <a:pos x="388" y="50"/>
                  </a:cxn>
                  <a:cxn ang="0">
                    <a:pos x="398" y="90"/>
                  </a:cxn>
                  <a:cxn ang="0">
                    <a:pos x="414" y="106"/>
                  </a:cxn>
                  <a:cxn ang="0">
                    <a:pos x="362" y="120"/>
                  </a:cxn>
                  <a:cxn ang="0">
                    <a:pos x="356" y="174"/>
                  </a:cxn>
                  <a:cxn ang="0">
                    <a:pos x="340" y="214"/>
                  </a:cxn>
                  <a:cxn ang="0">
                    <a:pos x="336" y="250"/>
                  </a:cxn>
                  <a:cxn ang="0">
                    <a:pos x="366" y="430"/>
                  </a:cxn>
                  <a:cxn ang="0">
                    <a:pos x="90" y="890"/>
                  </a:cxn>
                  <a:cxn ang="0">
                    <a:pos x="154" y="960"/>
                  </a:cxn>
                  <a:cxn ang="0">
                    <a:pos x="190" y="952"/>
                  </a:cxn>
                  <a:cxn ang="0">
                    <a:pos x="228" y="930"/>
                  </a:cxn>
                  <a:cxn ang="0">
                    <a:pos x="290" y="922"/>
                  </a:cxn>
                  <a:cxn ang="0">
                    <a:pos x="308" y="930"/>
                  </a:cxn>
                  <a:cxn ang="0">
                    <a:pos x="346" y="918"/>
                  </a:cxn>
                  <a:cxn ang="0">
                    <a:pos x="370" y="876"/>
                  </a:cxn>
                  <a:cxn ang="0">
                    <a:pos x="360" y="860"/>
                  </a:cxn>
                  <a:cxn ang="0">
                    <a:pos x="376" y="840"/>
                  </a:cxn>
                  <a:cxn ang="0">
                    <a:pos x="392" y="822"/>
                  </a:cxn>
                  <a:cxn ang="0">
                    <a:pos x="446" y="812"/>
                  </a:cxn>
                  <a:cxn ang="0">
                    <a:pos x="482" y="810"/>
                  </a:cxn>
                  <a:cxn ang="0">
                    <a:pos x="500" y="790"/>
                  </a:cxn>
                  <a:cxn ang="0">
                    <a:pos x="508" y="762"/>
                  </a:cxn>
                  <a:cxn ang="0">
                    <a:pos x="518" y="726"/>
                  </a:cxn>
                  <a:cxn ang="0">
                    <a:pos x="540" y="706"/>
                  </a:cxn>
                  <a:cxn ang="0">
                    <a:pos x="586" y="690"/>
                  </a:cxn>
                  <a:cxn ang="0">
                    <a:pos x="626" y="686"/>
                  </a:cxn>
                  <a:cxn ang="0">
                    <a:pos x="628" y="644"/>
                  </a:cxn>
                  <a:cxn ang="0">
                    <a:pos x="626" y="624"/>
                  </a:cxn>
                  <a:cxn ang="0">
                    <a:pos x="626" y="580"/>
                  </a:cxn>
                  <a:cxn ang="0">
                    <a:pos x="630" y="540"/>
                  </a:cxn>
                  <a:cxn ang="0">
                    <a:pos x="654" y="504"/>
                  </a:cxn>
                  <a:cxn ang="0">
                    <a:pos x="674" y="492"/>
                  </a:cxn>
                  <a:cxn ang="0">
                    <a:pos x="670" y="514"/>
                  </a:cxn>
                  <a:cxn ang="0">
                    <a:pos x="698" y="518"/>
                  </a:cxn>
                  <a:cxn ang="0">
                    <a:pos x="716" y="476"/>
                  </a:cxn>
                  <a:cxn ang="0">
                    <a:pos x="730" y="442"/>
                  </a:cxn>
                  <a:cxn ang="0">
                    <a:pos x="768" y="396"/>
                  </a:cxn>
                  <a:cxn ang="0">
                    <a:pos x="796" y="364"/>
                  </a:cxn>
                  <a:cxn ang="0">
                    <a:pos x="804" y="342"/>
                  </a:cxn>
                  <a:cxn ang="0">
                    <a:pos x="828" y="292"/>
                  </a:cxn>
                  <a:cxn ang="0">
                    <a:pos x="826" y="256"/>
                  </a:cxn>
                  <a:cxn ang="0">
                    <a:pos x="786" y="248"/>
                  </a:cxn>
                  <a:cxn ang="0">
                    <a:pos x="760" y="214"/>
                  </a:cxn>
                  <a:cxn ang="0">
                    <a:pos x="740" y="196"/>
                  </a:cxn>
                  <a:cxn ang="0">
                    <a:pos x="720" y="168"/>
                  </a:cxn>
                  <a:cxn ang="0">
                    <a:pos x="678" y="140"/>
                  </a:cxn>
                  <a:cxn ang="0">
                    <a:pos x="654" y="142"/>
                  </a:cxn>
                  <a:cxn ang="0">
                    <a:pos x="636" y="134"/>
                  </a:cxn>
                  <a:cxn ang="0">
                    <a:pos x="618" y="136"/>
                  </a:cxn>
                  <a:cxn ang="0">
                    <a:pos x="536" y="114"/>
                  </a:cxn>
                  <a:cxn ang="0">
                    <a:pos x="504" y="88"/>
                  </a:cxn>
                  <a:cxn ang="0">
                    <a:pos x="482" y="60"/>
                  </a:cxn>
                  <a:cxn ang="0">
                    <a:pos x="466" y="38"/>
                  </a:cxn>
                  <a:cxn ang="0">
                    <a:pos x="444" y="0"/>
                  </a:cxn>
                </a:cxnLst>
                <a:rect l="0" t="0" r="r" b="b"/>
                <a:pathLst>
                  <a:path w="830" h="970">
                    <a:moveTo>
                      <a:pt x="444" y="0"/>
                    </a:moveTo>
                    <a:lnTo>
                      <a:pt x="444" y="2"/>
                    </a:lnTo>
                    <a:lnTo>
                      <a:pt x="444" y="6"/>
                    </a:lnTo>
                    <a:lnTo>
                      <a:pt x="444" y="10"/>
                    </a:lnTo>
                    <a:lnTo>
                      <a:pt x="440" y="10"/>
                    </a:lnTo>
                    <a:lnTo>
                      <a:pt x="438" y="12"/>
                    </a:lnTo>
                    <a:lnTo>
                      <a:pt x="438" y="14"/>
                    </a:lnTo>
                    <a:lnTo>
                      <a:pt x="436" y="14"/>
                    </a:lnTo>
                    <a:lnTo>
                      <a:pt x="432" y="16"/>
                    </a:lnTo>
                    <a:lnTo>
                      <a:pt x="428" y="18"/>
                    </a:lnTo>
                    <a:lnTo>
                      <a:pt x="428" y="24"/>
                    </a:lnTo>
                    <a:lnTo>
                      <a:pt x="424" y="28"/>
                    </a:lnTo>
                    <a:lnTo>
                      <a:pt x="420" y="28"/>
                    </a:lnTo>
                    <a:lnTo>
                      <a:pt x="418" y="28"/>
                    </a:lnTo>
                    <a:lnTo>
                      <a:pt x="416" y="28"/>
                    </a:lnTo>
                    <a:lnTo>
                      <a:pt x="408" y="14"/>
                    </a:lnTo>
                    <a:lnTo>
                      <a:pt x="408" y="12"/>
                    </a:lnTo>
                    <a:lnTo>
                      <a:pt x="412" y="12"/>
                    </a:lnTo>
                    <a:lnTo>
                      <a:pt x="414" y="14"/>
                    </a:lnTo>
                    <a:lnTo>
                      <a:pt x="412" y="4"/>
                    </a:lnTo>
                    <a:lnTo>
                      <a:pt x="410" y="2"/>
                    </a:lnTo>
                    <a:lnTo>
                      <a:pt x="408" y="2"/>
                    </a:lnTo>
                    <a:lnTo>
                      <a:pt x="406" y="2"/>
                    </a:lnTo>
                    <a:lnTo>
                      <a:pt x="402" y="2"/>
                    </a:lnTo>
                    <a:lnTo>
                      <a:pt x="400" y="2"/>
                    </a:lnTo>
                    <a:lnTo>
                      <a:pt x="396" y="4"/>
                    </a:lnTo>
                    <a:lnTo>
                      <a:pt x="394" y="6"/>
                    </a:lnTo>
                    <a:lnTo>
                      <a:pt x="392" y="10"/>
                    </a:lnTo>
                    <a:lnTo>
                      <a:pt x="390" y="12"/>
                    </a:lnTo>
                    <a:lnTo>
                      <a:pt x="388" y="16"/>
                    </a:lnTo>
                    <a:lnTo>
                      <a:pt x="390" y="32"/>
                    </a:lnTo>
                    <a:lnTo>
                      <a:pt x="390" y="34"/>
                    </a:lnTo>
                    <a:lnTo>
                      <a:pt x="394" y="40"/>
                    </a:lnTo>
                    <a:lnTo>
                      <a:pt x="390" y="46"/>
                    </a:lnTo>
                    <a:lnTo>
                      <a:pt x="388" y="50"/>
                    </a:lnTo>
                    <a:lnTo>
                      <a:pt x="390" y="60"/>
                    </a:lnTo>
                    <a:lnTo>
                      <a:pt x="392" y="66"/>
                    </a:lnTo>
                    <a:lnTo>
                      <a:pt x="392" y="78"/>
                    </a:lnTo>
                    <a:lnTo>
                      <a:pt x="390" y="86"/>
                    </a:lnTo>
                    <a:lnTo>
                      <a:pt x="398" y="90"/>
                    </a:lnTo>
                    <a:lnTo>
                      <a:pt x="400" y="88"/>
                    </a:lnTo>
                    <a:lnTo>
                      <a:pt x="404" y="86"/>
                    </a:lnTo>
                    <a:lnTo>
                      <a:pt x="408" y="88"/>
                    </a:lnTo>
                    <a:lnTo>
                      <a:pt x="416" y="104"/>
                    </a:lnTo>
                    <a:lnTo>
                      <a:pt x="414" y="106"/>
                    </a:lnTo>
                    <a:lnTo>
                      <a:pt x="400" y="110"/>
                    </a:lnTo>
                    <a:lnTo>
                      <a:pt x="392" y="112"/>
                    </a:lnTo>
                    <a:lnTo>
                      <a:pt x="380" y="112"/>
                    </a:lnTo>
                    <a:lnTo>
                      <a:pt x="376" y="112"/>
                    </a:lnTo>
                    <a:lnTo>
                      <a:pt x="362" y="120"/>
                    </a:lnTo>
                    <a:lnTo>
                      <a:pt x="366" y="128"/>
                    </a:lnTo>
                    <a:lnTo>
                      <a:pt x="368" y="130"/>
                    </a:lnTo>
                    <a:lnTo>
                      <a:pt x="368" y="142"/>
                    </a:lnTo>
                    <a:lnTo>
                      <a:pt x="362" y="158"/>
                    </a:lnTo>
                    <a:lnTo>
                      <a:pt x="356" y="174"/>
                    </a:lnTo>
                    <a:lnTo>
                      <a:pt x="350" y="194"/>
                    </a:lnTo>
                    <a:lnTo>
                      <a:pt x="348" y="200"/>
                    </a:lnTo>
                    <a:lnTo>
                      <a:pt x="346" y="204"/>
                    </a:lnTo>
                    <a:lnTo>
                      <a:pt x="344" y="210"/>
                    </a:lnTo>
                    <a:lnTo>
                      <a:pt x="340" y="214"/>
                    </a:lnTo>
                    <a:lnTo>
                      <a:pt x="338" y="220"/>
                    </a:lnTo>
                    <a:lnTo>
                      <a:pt x="336" y="232"/>
                    </a:lnTo>
                    <a:lnTo>
                      <a:pt x="336" y="242"/>
                    </a:lnTo>
                    <a:lnTo>
                      <a:pt x="336" y="244"/>
                    </a:lnTo>
                    <a:lnTo>
                      <a:pt x="336" y="250"/>
                    </a:lnTo>
                    <a:lnTo>
                      <a:pt x="336" y="254"/>
                    </a:lnTo>
                    <a:lnTo>
                      <a:pt x="336" y="256"/>
                    </a:lnTo>
                    <a:lnTo>
                      <a:pt x="336" y="266"/>
                    </a:lnTo>
                    <a:lnTo>
                      <a:pt x="388" y="346"/>
                    </a:lnTo>
                    <a:lnTo>
                      <a:pt x="366" y="430"/>
                    </a:lnTo>
                    <a:lnTo>
                      <a:pt x="326" y="578"/>
                    </a:lnTo>
                    <a:lnTo>
                      <a:pt x="218" y="620"/>
                    </a:lnTo>
                    <a:lnTo>
                      <a:pt x="110" y="662"/>
                    </a:lnTo>
                    <a:lnTo>
                      <a:pt x="0" y="702"/>
                    </a:lnTo>
                    <a:lnTo>
                      <a:pt x="90" y="890"/>
                    </a:lnTo>
                    <a:lnTo>
                      <a:pt x="94" y="898"/>
                    </a:lnTo>
                    <a:lnTo>
                      <a:pt x="128" y="970"/>
                    </a:lnTo>
                    <a:lnTo>
                      <a:pt x="130" y="968"/>
                    </a:lnTo>
                    <a:lnTo>
                      <a:pt x="136" y="966"/>
                    </a:lnTo>
                    <a:lnTo>
                      <a:pt x="154" y="960"/>
                    </a:lnTo>
                    <a:lnTo>
                      <a:pt x="166" y="958"/>
                    </a:lnTo>
                    <a:lnTo>
                      <a:pt x="176" y="958"/>
                    </a:lnTo>
                    <a:lnTo>
                      <a:pt x="180" y="958"/>
                    </a:lnTo>
                    <a:lnTo>
                      <a:pt x="182" y="958"/>
                    </a:lnTo>
                    <a:lnTo>
                      <a:pt x="190" y="952"/>
                    </a:lnTo>
                    <a:lnTo>
                      <a:pt x="192" y="950"/>
                    </a:lnTo>
                    <a:lnTo>
                      <a:pt x="198" y="944"/>
                    </a:lnTo>
                    <a:lnTo>
                      <a:pt x="206" y="940"/>
                    </a:lnTo>
                    <a:lnTo>
                      <a:pt x="218" y="938"/>
                    </a:lnTo>
                    <a:lnTo>
                      <a:pt x="228" y="930"/>
                    </a:lnTo>
                    <a:lnTo>
                      <a:pt x="236" y="926"/>
                    </a:lnTo>
                    <a:lnTo>
                      <a:pt x="268" y="922"/>
                    </a:lnTo>
                    <a:lnTo>
                      <a:pt x="272" y="922"/>
                    </a:lnTo>
                    <a:lnTo>
                      <a:pt x="282" y="920"/>
                    </a:lnTo>
                    <a:lnTo>
                      <a:pt x="290" y="922"/>
                    </a:lnTo>
                    <a:lnTo>
                      <a:pt x="294" y="922"/>
                    </a:lnTo>
                    <a:lnTo>
                      <a:pt x="298" y="922"/>
                    </a:lnTo>
                    <a:lnTo>
                      <a:pt x="302" y="924"/>
                    </a:lnTo>
                    <a:lnTo>
                      <a:pt x="304" y="928"/>
                    </a:lnTo>
                    <a:lnTo>
                      <a:pt x="308" y="930"/>
                    </a:lnTo>
                    <a:lnTo>
                      <a:pt x="316" y="930"/>
                    </a:lnTo>
                    <a:lnTo>
                      <a:pt x="326" y="928"/>
                    </a:lnTo>
                    <a:lnTo>
                      <a:pt x="332" y="926"/>
                    </a:lnTo>
                    <a:lnTo>
                      <a:pt x="340" y="922"/>
                    </a:lnTo>
                    <a:lnTo>
                      <a:pt x="346" y="918"/>
                    </a:lnTo>
                    <a:lnTo>
                      <a:pt x="346" y="916"/>
                    </a:lnTo>
                    <a:lnTo>
                      <a:pt x="360" y="900"/>
                    </a:lnTo>
                    <a:lnTo>
                      <a:pt x="364" y="892"/>
                    </a:lnTo>
                    <a:lnTo>
                      <a:pt x="368" y="880"/>
                    </a:lnTo>
                    <a:lnTo>
                      <a:pt x="370" y="876"/>
                    </a:lnTo>
                    <a:lnTo>
                      <a:pt x="368" y="874"/>
                    </a:lnTo>
                    <a:lnTo>
                      <a:pt x="366" y="870"/>
                    </a:lnTo>
                    <a:lnTo>
                      <a:pt x="362" y="868"/>
                    </a:lnTo>
                    <a:lnTo>
                      <a:pt x="360" y="866"/>
                    </a:lnTo>
                    <a:lnTo>
                      <a:pt x="360" y="860"/>
                    </a:lnTo>
                    <a:lnTo>
                      <a:pt x="364" y="852"/>
                    </a:lnTo>
                    <a:lnTo>
                      <a:pt x="370" y="846"/>
                    </a:lnTo>
                    <a:lnTo>
                      <a:pt x="372" y="846"/>
                    </a:lnTo>
                    <a:lnTo>
                      <a:pt x="374" y="844"/>
                    </a:lnTo>
                    <a:lnTo>
                      <a:pt x="376" y="840"/>
                    </a:lnTo>
                    <a:lnTo>
                      <a:pt x="378" y="834"/>
                    </a:lnTo>
                    <a:lnTo>
                      <a:pt x="380" y="830"/>
                    </a:lnTo>
                    <a:lnTo>
                      <a:pt x="382" y="826"/>
                    </a:lnTo>
                    <a:lnTo>
                      <a:pt x="386" y="824"/>
                    </a:lnTo>
                    <a:lnTo>
                      <a:pt x="392" y="822"/>
                    </a:lnTo>
                    <a:lnTo>
                      <a:pt x="404" y="818"/>
                    </a:lnTo>
                    <a:lnTo>
                      <a:pt x="422" y="816"/>
                    </a:lnTo>
                    <a:lnTo>
                      <a:pt x="428" y="816"/>
                    </a:lnTo>
                    <a:lnTo>
                      <a:pt x="442" y="812"/>
                    </a:lnTo>
                    <a:lnTo>
                      <a:pt x="446" y="812"/>
                    </a:lnTo>
                    <a:lnTo>
                      <a:pt x="464" y="808"/>
                    </a:lnTo>
                    <a:lnTo>
                      <a:pt x="470" y="808"/>
                    </a:lnTo>
                    <a:lnTo>
                      <a:pt x="472" y="808"/>
                    </a:lnTo>
                    <a:lnTo>
                      <a:pt x="476" y="810"/>
                    </a:lnTo>
                    <a:lnTo>
                      <a:pt x="482" y="810"/>
                    </a:lnTo>
                    <a:lnTo>
                      <a:pt x="482" y="806"/>
                    </a:lnTo>
                    <a:lnTo>
                      <a:pt x="488" y="800"/>
                    </a:lnTo>
                    <a:lnTo>
                      <a:pt x="494" y="792"/>
                    </a:lnTo>
                    <a:lnTo>
                      <a:pt x="496" y="790"/>
                    </a:lnTo>
                    <a:lnTo>
                      <a:pt x="500" y="790"/>
                    </a:lnTo>
                    <a:lnTo>
                      <a:pt x="504" y="786"/>
                    </a:lnTo>
                    <a:lnTo>
                      <a:pt x="502" y="778"/>
                    </a:lnTo>
                    <a:lnTo>
                      <a:pt x="504" y="774"/>
                    </a:lnTo>
                    <a:lnTo>
                      <a:pt x="506" y="770"/>
                    </a:lnTo>
                    <a:lnTo>
                      <a:pt x="508" y="762"/>
                    </a:lnTo>
                    <a:lnTo>
                      <a:pt x="510" y="750"/>
                    </a:lnTo>
                    <a:lnTo>
                      <a:pt x="510" y="738"/>
                    </a:lnTo>
                    <a:lnTo>
                      <a:pt x="512" y="734"/>
                    </a:lnTo>
                    <a:lnTo>
                      <a:pt x="512" y="732"/>
                    </a:lnTo>
                    <a:lnTo>
                      <a:pt x="518" y="726"/>
                    </a:lnTo>
                    <a:lnTo>
                      <a:pt x="520" y="722"/>
                    </a:lnTo>
                    <a:lnTo>
                      <a:pt x="526" y="716"/>
                    </a:lnTo>
                    <a:lnTo>
                      <a:pt x="528" y="714"/>
                    </a:lnTo>
                    <a:lnTo>
                      <a:pt x="538" y="708"/>
                    </a:lnTo>
                    <a:lnTo>
                      <a:pt x="540" y="706"/>
                    </a:lnTo>
                    <a:lnTo>
                      <a:pt x="554" y="700"/>
                    </a:lnTo>
                    <a:lnTo>
                      <a:pt x="564" y="696"/>
                    </a:lnTo>
                    <a:lnTo>
                      <a:pt x="566" y="694"/>
                    </a:lnTo>
                    <a:lnTo>
                      <a:pt x="580" y="690"/>
                    </a:lnTo>
                    <a:lnTo>
                      <a:pt x="586" y="690"/>
                    </a:lnTo>
                    <a:lnTo>
                      <a:pt x="602" y="686"/>
                    </a:lnTo>
                    <a:lnTo>
                      <a:pt x="606" y="686"/>
                    </a:lnTo>
                    <a:lnTo>
                      <a:pt x="614" y="686"/>
                    </a:lnTo>
                    <a:lnTo>
                      <a:pt x="620" y="686"/>
                    </a:lnTo>
                    <a:lnTo>
                      <a:pt x="626" y="686"/>
                    </a:lnTo>
                    <a:lnTo>
                      <a:pt x="636" y="682"/>
                    </a:lnTo>
                    <a:lnTo>
                      <a:pt x="640" y="674"/>
                    </a:lnTo>
                    <a:lnTo>
                      <a:pt x="634" y="664"/>
                    </a:lnTo>
                    <a:lnTo>
                      <a:pt x="628" y="650"/>
                    </a:lnTo>
                    <a:lnTo>
                      <a:pt x="628" y="644"/>
                    </a:lnTo>
                    <a:lnTo>
                      <a:pt x="628" y="640"/>
                    </a:lnTo>
                    <a:lnTo>
                      <a:pt x="630" y="636"/>
                    </a:lnTo>
                    <a:lnTo>
                      <a:pt x="630" y="634"/>
                    </a:lnTo>
                    <a:lnTo>
                      <a:pt x="630" y="630"/>
                    </a:lnTo>
                    <a:lnTo>
                      <a:pt x="626" y="624"/>
                    </a:lnTo>
                    <a:lnTo>
                      <a:pt x="620" y="600"/>
                    </a:lnTo>
                    <a:lnTo>
                      <a:pt x="618" y="598"/>
                    </a:lnTo>
                    <a:lnTo>
                      <a:pt x="618" y="594"/>
                    </a:lnTo>
                    <a:lnTo>
                      <a:pt x="622" y="586"/>
                    </a:lnTo>
                    <a:lnTo>
                      <a:pt x="626" y="580"/>
                    </a:lnTo>
                    <a:lnTo>
                      <a:pt x="630" y="566"/>
                    </a:lnTo>
                    <a:lnTo>
                      <a:pt x="632" y="552"/>
                    </a:lnTo>
                    <a:lnTo>
                      <a:pt x="632" y="546"/>
                    </a:lnTo>
                    <a:lnTo>
                      <a:pt x="630" y="544"/>
                    </a:lnTo>
                    <a:lnTo>
                      <a:pt x="630" y="540"/>
                    </a:lnTo>
                    <a:lnTo>
                      <a:pt x="630" y="538"/>
                    </a:lnTo>
                    <a:lnTo>
                      <a:pt x="632" y="534"/>
                    </a:lnTo>
                    <a:lnTo>
                      <a:pt x="642" y="518"/>
                    </a:lnTo>
                    <a:lnTo>
                      <a:pt x="652" y="508"/>
                    </a:lnTo>
                    <a:lnTo>
                      <a:pt x="654" y="504"/>
                    </a:lnTo>
                    <a:lnTo>
                      <a:pt x="656" y="498"/>
                    </a:lnTo>
                    <a:lnTo>
                      <a:pt x="660" y="494"/>
                    </a:lnTo>
                    <a:lnTo>
                      <a:pt x="670" y="490"/>
                    </a:lnTo>
                    <a:lnTo>
                      <a:pt x="672" y="490"/>
                    </a:lnTo>
                    <a:lnTo>
                      <a:pt x="674" y="492"/>
                    </a:lnTo>
                    <a:lnTo>
                      <a:pt x="676" y="494"/>
                    </a:lnTo>
                    <a:lnTo>
                      <a:pt x="672" y="504"/>
                    </a:lnTo>
                    <a:lnTo>
                      <a:pt x="670" y="508"/>
                    </a:lnTo>
                    <a:lnTo>
                      <a:pt x="670" y="512"/>
                    </a:lnTo>
                    <a:lnTo>
                      <a:pt x="670" y="514"/>
                    </a:lnTo>
                    <a:lnTo>
                      <a:pt x="678" y="516"/>
                    </a:lnTo>
                    <a:lnTo>
                      <a:pt x="680" y="516"/>
                    </a:lnTo>
                    <a:lnTo>
                      <a:pt x="678" y="518"/>
                    </a:lnTo>
                    <a:lnTo>
                      <a:pt x="694" y="518"/>
                    </a:lnTo>
                    <a:lnTo>
                      <a:pt x="698" y="518"/>
                    </a:lnTo>
                    <a:lnTo>
                      <a:pt x="704" y="510"/>
                    </a:lnTo>
                    <a:lnTo>
                      <a:pt x="708" y="494"/>
                    </a:lnTo>
                    <a:lnTo>
                      <a:pt x="710" y="486"/>
                    </a:lnTo>
                    <a:lnTo>
                      <a:pt x="710" y="482"/>
                    </a:lnTo>
                    <a:lnTo>
                      <a:pt x="716" y="476"/>
                    </a:lnTo>
                    <a:lnTo>
                      <a:pt x="722" y="472"/>
                    </a:lnTo>
                    <a:lnTo>
                      <a:pt x="724" y="470"/>
                    </a:lnTo>
                    <a:lnTo>
                      <a:pt x="724" y="466"/>
                    </a:lnTo>
                    <a:lnTo>
                      <a:pt x="722" y="460"/>
                    </a:lnTo>
                    <a:lnTo>
                      <a:pt x="730" y="442"/>
                    </a:lnTo>
                    <a:lnTo>
                      <a:pt x="734" y="436"/>
                    </a:lnTo>
                    <a:lnTo>
                      <a:pt x="736" y="434"/>
                    </a:lnTo>
                    <a:lnTo>
                      <a:pt x="742" y="424"/>
                    </a:lnTo>
                    <a:lnTo>
                      <a:pt x="758" y="404"/>
                    </a:lnTo>
                    <a:lnTo>
                      <a:pt x="768" y="396"/>
                    </a:lnTo>
                    <a:lnTo>
                      <a:pt x="770" y="394"/>
                    </a:lnTo>
                    <a:lnTo>
                      <a:pt x="778" y="390"/>
                    </a:lnTo>
                    <a:lnTo>
                      <a:pt x="782" y="388"/>
                    </a:lnTo>
                    <a:lnTo>
                      <a:pt x="786" y="386"/>
                    </a:lnTo>
                    <a:lnTo>
                      <a:pt x="796" y="364"/>
                    </a:lnTo>
                    <a:lnTo>
                      <a:pt x="798" y="358"/>
                    </a:lnTo>
                    <a:lnTo>
                      <a:pt x="798" y="350"/>
                    </a:lnTo>
                    <a:lnTo>
                      <a:pt x="800" y="348"/>
                    </a:lnTo>
                    <a:lnTo>
                      <a:pt x="802" y="346"/>
                    </a:lnTo>
                    <a:lnTo>
                      <a:pt x="804" y="342"/>
                    </a:lnTo>
                    <a:lnTo>
                      <a:pt x="808" y="334"/>
                    </a:lnTo>
                    <a:lnTo>
                      <a:pt x="814" y="326"/>
                    </a:lnTo>
                    <a:lnTo>
                      <a:pt x="820" y="306"/>
                    </a:lnTo>
                    <a:lnTo>
                      <a:pt x="826" y="298"/>
                    </a:lnTo>
                    <a:lnTo>
                      <a:pt x="828" y="292"/>
                    </a:lnTo>
                    <a:lnTo>
                      <a:pt x="830" y="284"/>
                    </a:lnTo>
                    <a:lnTo>
                      <a:pt x="830" y="282"/>
                    </a:lnTo>
                    <a:lnTo>
                      <a:pt x="830" y="268"/>
                    </a:lnTo>
                    <a:lnTo>
                      <a:pt x="828" y="262"/>
                    </a:lnTo>
                    <a:lnTo>
                      <a:pt x="826" y="256"/>
                    </a:lnTo>
                    <a:lnTo>
                      <a:pt x="808" y="254"/>
                    </a:lnTo>
                    <a:lnTo>
                      <a:pt x="802" y="254"/>
                    </a:lnTo>
                    <a:lnTo>
                      <a:pt x="796" y="254"/>
                    </a:lnTo>
                    <a:lnTo>
                      <a:pt x="792" y="250"/>
                    </a:lnTo>
                    <a:lnTo>
                      <a:pt x="786" y="248"/>
                    </a:lnTo>
                    <a:lnTo>
                      <a:pt x="782" y="242"/>
                    </a:lnTo>
                    <a:lnTo>
                      <a:pt x="772" y="232"/>
                    </a:lnTo>
                    <a:lnTo>
                      <a:pt x="768" y="230"/>
                    </a:lnTo>
                    <a:lnTo>
                      <a:pt x="768" y="228"/>
                    </a:lnTo>
                    <a:lnTo>
                      <a:pt x="760" y="214"/>
                    </a:lnTo>
                    <a:lnTo>
                      <a:pt x="756" y="210"/>
                    </a:lnTo>
                    <a:lnTo>
                      <a:pt x="754" y="210"/>
                    </a:lnTo>
                    <a:lnTo>
                      <a:pt x="750" y="206"/>
                    </a:lnTo>
                    <a:lnTo>
                      <a:pt x="746" y="204"/>
                    </a:lnTo>
                    <a:lnTo>
                      <a:pt x="740" y="196"/>
                    </a:lnTo>
                    <a:lnTo>
                      <a:pt x="738" y="192"/>
                    </a:lnTo>
                    <a:lnTo>
                      <a:pt x="736" y="190"/>
                    </a:lnTo>
                    <a:lnTo>
                      <a:pt x="734" y="186"/>
                    </a:lnTo>
                    <a:lnTo>
                      <a:pt x="726" y="174"/>
                    </a:lnTo>
                    <a:lnTo>
                      <a:pt x="720" y="168"/>
                    </a:lnTo>
                    <a:lnTo>
                      <a:pt x="710" y="156"/>
                    </a:lnTo>
                    <a:lnTo>
                      <a:pt x="690" y="140"/>
                    </a:lnTo>
                    <a:lnTo>
                      <a:pt x="688" y="138"/>
                    </a:lnTo>
                    <a:lnTo>
                      <a:pt x="678" y="138"/>
                    </a:lnTo>
                    <a:lnTo>
                      <a:pt x="678" y="140"/>
                    </a:lnTo>
                    <a:lnTo>
                      <a:pt x="672" y="142"/>
                    </a:lnTo>
                    <a:lnTo>
                      <a:pt x="670" y="142"/>
                    </a:lnTo>
                    <a:lnTo>
                      <a:pt x="662" y="144"/>
                    </a:lnTo>
                    <a:lnTo>
                      <a:pt x="658" y="142"/>
                    </a:lnTo>
                    <a:lnTo>
                      <a:pt x="654" y="142"/>
                    </a:lnTo>
                    <a:lnTo>
                      <a:pt x="652" y="140"/>
                    </a:lnTo>
                    <a:lnTo>
                      <a:pt x="648" y="136"/>
                    </a:lnTo>
                    <a:lnTo>
                      <a:pt x="644" y="136"/>
                    </a:lnTo>
                    <a:lnTo>
                      <a:pt x="642" y="134"/>
                    </a:lnTo>
                    <a:lnTo>
                      <a:pt x="636" y="134"/>
                    </a:lnTo>
                    <a:lnTo>
                      <a:pt x="634" y="134"/>
                    </a:lnTo>
                    <a:lnTo>
                      <a:pt x="628" y="132"/>
                    </a:lnTo>
                    <a:lnTo>
                      <a:pt x="624" y="134"/>
                    </a:lnTo>
                    <a:lnTo>
                      <a:pt x="620" y="136"/>
                    </a:lnTo>
                    <a:lnTo>
                      <a:pt x="618" y="136"/>
                    </a:lnTo>
                    <a:lnTo>
                      <a:pt x="614" y="136"/>
                    </a:lnTo>
                    <a:lnTo>
                      <a:pt x="612" y="134"/>
                    </a:lnTo>
                    <a:lnTo>
                      <a:pt x="608" y="132"/>
                    </a:lnTo>
                    <a:lnTo>
                      <a:pt x="576" y="126"/>
                    </a:lnTo>
                    <a:lnTo>
                      <a:pt x="536" y="114"/>
                    </a:lnTo>
                    <a:lnTo>
                      <a:pt x="530" y="110"/>
                    </a:lnTo>
                    <a:lnTo>
                      <a:pt x="524" y="106"/>
                    </a:lnTo>
                    <a:lnTo>
                      <a:pt x="516" y="100"/>
                    </a:lnTo>
                    <a:lnTo>
                      <a:pt x="508" y="92"/>
                    </a:lnTo>
                    <a:lnTo>
                      <a:pt x="504" y="88"/>
                    </a:lnTo>
                    <a:lnTo>
                      <a:pt x="500" y="82"/>
                    </a:lnTo>
                    <a:lnTo>
                      <a:pt x="498" y="76"/>
                    </a:lnTo>
                    <a:lnTo>
                      <a:pt x="496" y="74"/>
                    </a:lnTo>
                    <a:lnTo>
                      <a:pt x="486" y="64"/>
                    </a:lnTo>
                    <a:lnTo>
                      <a:pt x="482" y="60"/>
                    </a:lnTo>
                    <a:lnTo>
                      <a:pt x="480" y="58"/>
                    </a:lnTo>
                    <a:lnTo>
                      <a:pt x="476" y="56"/>
                    </a:lnTo>
                    <a:lnTo>
                      <a:pt x="474" y="52"/>
                    </a:lnTo>
                    <a:lnTo>
                      <a:pt x="468" y="42"/>
                    </a:lnTo>
                    <a:lnTo>
                      <a:pt x="466" y="38"/>
                    </a:lnTo>
                    <a:lnTo>
                      <a:pt x="462" y="32"/>
                    </a:lnTo>
                    <a:lnTo>
                      <a:pt x="452" y="12"/>
                    </a:lnTo>
                    <a:lnTo>
                      <a:pt x="448" y="2"/>
                    </a:lnTo>
                    <a:lnTo>
                      <a:pt x="446" y="0"/>
                    </a:lnTo>
                    <a:lnTo>
                      <a:pt x="444" y="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9" name="Freeform 1943"/>
              <p:cNvSpPr>
                <a:spLocks/>
              </p:cNvSpPr>
              <p:nvPr/>
            </p:nvSpPr>
            <p:spPr bwMode="auto">
              <a:xfrm>
                <a:off x="3575" y="2794"/>
                <a:ext cx="32" cy="62"/>
              </a:xfrm>
              <a:custGeom>
                <a:avLst/>
                <a:gdLst/>
                <a:ahLst/>
                <a:cxnLst>
                  <a:cxn ang="0">
                    <a:pos x="24" y="0"/>
                  </a:cxn>
                  <a:cxn ang="0">
                    <a:pos x="24" y="2"/>
                  </a:cxn>
                  <a:cxn ang="0">
                    <a:pos x="18" y="14"/>
                  </a:cxn>
                  <a:cxn ang="0">
                    <a:pos x="14" y="26"/>
                  </a:cxn>
                  <a:cxn ang="0">
                    <a:pos x="12" y="30"/>
                  </a:cxn>
                  <a:cxn ang="0">
                    <a:pos x="10" y="32"/>
                  </a:cxn>
                  <a:cxn ang="0">
                    <a:pos x="8" y="32"/>
                  </a:cxn>
                  <a:cxn ang="0">
                    <a:pos x="6" y="30"/>
                  </a:cxn>
                  <a:cxn ang="0">
                    <a:pos x="6" y="32"/>
                  </a:cxn>
                  <a:cxn ang="0">
                    <a:pos x="0" y="38"/>
                  </a:cxn>
                  <a:cxn ang="0">
                    <a:pos x="0" y="40"/>
                  </a:cxn>
                  <a:cxn ang="0">
                    <a:pos x="0" y="42"/>
                  </a:cxn>
                  <a:cxn ang="0">
                    <a:pos x="0" y="50"/>
                  </a:cxn>
                  <a:cxn ang="0">
                    <a:pos x="0" y="54"/>
                  </a:cxn>
                  <a:cxn ang="0">
                    <a:pos x="2" y="62"/>
                  </a:cxn>
                  <a:cxn ang="0">
                    <a:pos x="4" y="60"/>
                  </a:cxn>
                  <a:cxn ang="0">
                    <a:pos x="10" y="56"/>
                  </a:cxn>
                  <a:cxn ang="0">
                    <a:pos x="16" y="48"/>
                  </a:cxn>
                  <a:cxn ang="0">
                    <a:pos x="16" y="46"/>
                  </a:cxn>
                  <a:cxn ang="0">
                    <a:pos x="16" y="42"/>
                  </a:cxn>
                  <a:cxn ang="0">
                    <a:pos x="16" y="38"/>
                  </a:cxn>
                  <a:cxn ang="0">
                    <a:pos x="18" y="38"/>
                  </a:cxn>
                  <a:cxn ang="0">
                    <a:pos x="18" y="32"/>
                  </a:cxn>
                  <a:cxn ang="0">
                    <a:pos x="22" y="28"/>
                  </a:cxn>
                  <a:cxn ang="0">
                    <a:pos x="24" y="26"/>
                  </a:cxn>
                  <a:cxn ang="0">
                    <a:pos x="26" y="26"/>
                  </a:cxn>
                  <a:cxn ang="0">
                    <a:pos x="28" y="24"/>
                  </a:cxn>
                  <a:cxn ang="0">
                    <a:pos x="32" y="22"/>
                  </a:cxn>
                  <a:cxn ang="0">
                    <a:pos x="32" y="20"/>
                  </a:cxn>
                  <a:cxn ang="0">
                    <a:pos x="28" y="0"/>
                  </a:cxn>
                  <a:cxn ang="0">
                    <a:pos x="24" y="0"/>
                  </a:cxn>
                </a:cxnLst>
                <a:rect l="0" t="0" r="r" b="b"/>
                <a:pathLst>
                  <a:path w="32" h="62">
                    <a:moveTo>
                      <a:pt x="24" y="0"/>
                    </a:moveTo>
                    <a:lnTo>
                      <a:pt x="24" y="2"/>
                    </a:lnTo>
                    <a:lnTo>
                      <a:pt x="18" y="14"/>
                    </a:lnTo>
                    <a:lnTo>
                      <a:pt x="14" y="26"/>
                    </a:lnTo>
                    <a:lnTo>
                      <a:pt x="12" y="30"/>
                    </a:lnTo>
                    <a:lnTo>
                      <a:pt x="10" y="32"/>
                    </a:lnTo>
                    <a:lnTo>
                      <a:pt x="8" y="32"/>
                    </a:lnTo>
                    <a:lnTo>
                      <a:pt x="6" y="30"/>
                    </a:lnTo>
                    <a:lnTo>
                      <a:pt x="6" y="32"/>
                    </a:lnTo>
                    <a:lnTo>
                      <a:pt x="0" y="38"/>
                    </a:lnTo>
                    <a:lnTo>
                      <a:pt x="0" y="40"/>
                    </a:lnTo>
                    <a:lnTo>
                      <a:pt x="0" y="42"/>
                    </a:lnTo>
                    <a:lnTo>
                      <a:pt x="0" y="50"/>
                    </a:lnTo>
                    <a:lnTo>
                      <a:pt x="0" y="54"/>
                    </a:lnTo>
                    <a:lnTo>
                      <a:pt x="2" y="62"/>
                    </a:lnTo>
                    <a:lnTo>
                      <a:pt x="4" y="60"/>
                    </a:lnTo>
                    <a:lnTo>
                      <a:pt x="10" y="56"/>
                    </a:lnTo>
                    <a:lnTo>
                      <a:pt x="16" y="48"/>
                    </a:lnTo>
                    <a:lnTo>
                      <a:pt x="16" y="46"/>
                    </a:lnTo>
                    <a:lnTo>
                      <a:pt x="16" y="42"/>
                    </a:lnTo>
                    <a:lnTo>
                      <a:pt x="16" y="38"/>
                    </a:lnTo>
                    <a:lnTo>
                      <a:pt x="18" y="38"/>
                    </a:lnTo>
                    <a:lnTo>
                      <a:pt x="18" y="32"/>
                    </a:lnTo>
                    <a:lnTo>
                      <a:pt x="22" y="28"/>
                    </a:lnTo>
                    <a:lnTo>
                      <a:pt x="24" y="26"/>
                    </a:lnTo>
                    <a:lnTo>
                      <a:pt x="26" y="26"/>
                    </a:lnTo>
                    <a:lnTo>
                      <a:pt x="28" y="24"/>
                    </a:lnTo>
                    <a:lnTo>
                      <a:pt x="32" y="22"/>
                    </a:lnTo>
                    <a:lnTo>
                      <a:pt x="32" y="20"/>
                    </a:lnTo>
                    <a:lnTo>
                      <a:pt x="28" y="0"/>
                    </a:lnTo>
                    <a:lnTo>
                      <a:pt x="2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49" name="Freeform 1370"/>
            <p:cNvSpPr>
              <a:spLocks/>
            </p:cNvSpPr>
            <p:nvPr/>
          </p:nvSpPr>
          <p:spPr bwMode="auto">
            <a:xfrm>
              <a:off x="4081687" y="1585707"/>
              <a:ext cx="1186040" cy="1158515"/>
            </a:xfrm>
            <a:custGeom>
              <a:avLst/>
              <a:gdLst/>
              <a:ahLst/>
              <a:cxnLst>
                <a:cxn ang="0">
                  <a:pos x="220" y="292"/>
                </a:cxn>
                <a:cxn ang="0">
                  <a:pos x="244" y="280"/>
                </a:cxn>
                <a:cxn ang="0">
                  <a:pos x="260" y="268"/>
                </a:cxn>
                <a:cxn ang="0">
                  <a:pos x="266" y="240"/>
                </a:cxn>
                <a:cxn ang="0">
                  <a:pos x="300" y="236"/>
                </a:cxn>
                <a:cxn ang="0">
                  <a:pos x="332" y="224"/>
                </a:cxn>
                <a:cxn ang="0">
                  <a:pos x="380" y="230"/>
                </a:cxn>
                <a:cxn ang="0">
                  <a:pos x="390" y="214"/>
                </a:cxn>
                <a:cxn ang="0">
                  <a:pos x="372" y="174"/>
                </a:cxn>
                <a:cxn ang="0">
                  <a:pos x="374" y="132"/>
                </a:cxn>
                <a:cxn ang="0">
                  <a:pos x="378" y="90"/>
                </a:cxn>
                <a:cxn ang="0">
                  <a:pos x="370" y="72"/>
                </a:cxn>
                <a:cxn ang="0">
                  <a:pos x="404" y="60"/>
                </a:cxn>
                <a:cxn ang="0">
                  <a:pos x="432" y="46"/>
                </a:cxn>
                <a:cxn ang="0">
                  <a:pos x="464" y="42"/>
                </a:cxn>
                <a:cxn ang="0">
                  <a:pos x="500" y="18"/>
                </a:cxn>
                <a:cxn ang="0">
                  <a:pos x="542" y="12"/>
                </a:cxn>
                <a:cxn ang="0">
                  <a:pos x="572" y="10"/>
                </a:cxn>
                <a:cxn ang="0">
                  <a:pos x="598" y="4"/>
                </a:cxn>
                <a:cxn ang="0">
                  <a:pos x="626" y="6"/>
                </a:cxn>
                <a:cxn ang="0">
                  <a:pos x="660" y="4"/>
                </a:cxn>
                <a:cxn ang="0">
                  <a:pos x="694" y="18"/>
                </a:cxn>
                <a:cxn ang="0">
                  <a:pos x="720" y="12"/>
                </a:cxn>
                <a:cxn ang="0">
                  <a:pos x="752" y="2"/>
                </a:cxn>
                <a:cxn ang="0">
                  <a:pos x="782" y="2"/>
                </a:cxn>
                <a:cxn ang="0">
                  <a:pos x="806" y="14"/>
                </a:cxn>
                <a:cxn ang="0">
                  <a:pos x="842" y="18"/>
                </a:cxn>
                <a:cxn ang="0">
                  <a:pos x="828" y="38"/>
                </a:cxn>
                <a:cxn ang="0">
                  <a:pos x="820" y="72"/>
                </a:cxn>
                <a:cxn ang="0">
                  <a:pos x="822" y="98"/>
                </a:cxn>
                <a:cxn ang="0">
                  <a:pos x="796" y="140"/>
                </a:cxn>
                <a:cxn ang="0">
                  <a:pos x="778" y="164"/>
                </a:cxn>
                <a:cxn ang="0">
                  <a:pos x="798" y="208"/>
                </a:cxn>
                <a:cxn ang="0">
                  <a:pos x="818" y="246"/>
                </a:cxn>
                <a:cxn ang="0">
                  <a:pos x="848" y="328"/>
                </a:cxn>
                <a:cxn ang="0">
                  <a:pos x="848" y="372"/>
                </a:cxn>
                <a:cxn ang="0">
                  <a:pos x="864" y="416"/>
                </a:cxn>
                <a:cxn ang="0">
                  <a:pos x="860" y="454"/>
                </a:cxn>
                <a:cxn ang="0">
                  <a:pos x="858" y="498"/>
                </a:cxn>
                <a:cxn ang="0">
                  <a:pos x="860" y="538"/>
                </a:cxn>
                <a:cxn ang="0">
                  <a:pos x="836" y="572"/>
                </a:cxn>
                <a:cxn ang="0">
                  <a:pos x="860" y="638"/>
                </a:cxn>
                <a:cxn ang="0">
                  <a:pos x="890" y="654"/>
                </a:cxn>
                <a:cxn ang="0">
                  <a:pos x="938" y="682"/>
                </a:cxn>
                <a:cxn ang="0">
                  <a:pos x="858" y="760"/>
                </a:cxn>
                <a:cxn ang="0">
                  <a:pos x="698" y="860"/>
                </a:cxn>
                <a:cxn ang="0">
                  <a:pos x="576" y="918"/>
                </a:cxn>
                <a:cxn ang="0">
                  <a:pos x="508" y="914"/>
                </a:cxn>
                <a:cxn ang="0">
                  <a:pos x="506" y="876"/>
                </a:cxn>
                <a:cxn ang="0">
                  <a:pos x="474" y="860"/>
                </a:cxn>
                <a:cxn ang="0">
                  <a:pos x="444" y="844"/>
                </a:cxn>
                <a:cxn ang="0">
                  <a:pos x="422" y="822"/>
                </a:cxn>
                <a:cxn ang="0">
                  <a:pos x="364" y="764"/>
                </a:cxn>
                <a:cxn ang="0">
                  <a:pos x="204" y="622"/>
                </a:cxn>
                <a:cxn ang="0">
                  <a:pos x="78" y="514"/>
                </a:cxn>
                <a:cxn ang="0">
                  <a:pos x="2" y="426"/>
                </a:cxn>
                <a:cxn ang="0">
                  <a:pos x="30" y="362"/>
                </a:cxn>
                <a:cxn ang="0">
                  <a:pos x="76" y="342"/>
                </a:cxn>
                <a:cxn ang="0">
                  <a:pos x="116" y="338"/>
                </a:cxn>
                <a:cxn ang="0">
                  <a:pos x="142" y="326"/>
                </a:cxn>
                <a:cxn ang="0">
                  <a:pos x="176" y="322"/>
                </a:cxn>
              </a:cxnLst>
              <a:rect l="0" t="0" r="r" b="b"/>
              <a:pathLst>
                <a:path w="948" h="926">
                  <a:moveTo>
                    <a:pt x="186" y="312"/>
                  </a:moveTo>
                  <a:lnTo>
                    <a:pt x="190" y="308"/>
                  </a:lnTo>
                  <a:lnTo>
                    <a:pt x="192" y="306"/>
                  </a:lnTo>
                  <a:lnTo>
                    <a:pt x="194" y="304"/>
                  </a:lnTo>
                  <a:lnTo>
                    <a:pt x="194" y="302"/>
                  </a:lnTo>
                  <a:lnTo>
                    <a:pt x="196" y="300"/>
                  </a:lnTo>
                  <a:lnTo>
                    <a:pt x="196" y="298"/>
                  </a:lnTo>
                  <a:lnTo>
                    <a:pt x="198" y="298"/>
                  </a:lnTo>
                  <a:lnTo>
                    <a:pt x="200" y="296"/>
                  </a:lnTo>
                  <a:lnTo>
                    <a:pt x="214" y="292"/>
                  </a:lnTo>
                  <a:lnTo>
                    <a:pt x="220" y="292"/>
                  </a:lnTo>
                  <a:lnTo>
                    <a:pt x="222" y="292"/>
                  </a:lnTo>
                  <a:lnTo>
                    <a:pt x="224" y="292"/>
                  </a:lnTo>
                  <a:lnTo>
                    <a:pt x="226" y="290"/>
                  </a:lnTo>
                  <a:lnTo>
                    <a:pt x="228" y="290"/>
                  </a:lnTo>
                  <a:lnTo>
                    <a:pt x="232" y="288"/>
                  </a:lnTo>
                  <a:lnTo>
                    <a:pt x="234" y="288"/>
                  </a:lnTo>
                  <a:lnTo>
                    <a:pt x="236" y="286"/>
                  </a:lnTo>
                  <a:lnTo>
                    <a:pt x="238" y="286"/>
                  </a:lnTo>
                  <a:lnTo>
                    <a:pt x="238" y="284"/>
                  </a:lnTo>
                  <a:lnTo>
                    <a:pt x="242" y="280"/>
                  </a:lnTo>
                  <a:lnTo>
                    <a:pt x="244" y="280"/>
                  </a:lnTo>
                  <a:lnTo>
                    <a:pt x="246" y="280"/>
                  </a:lnTo>
                  <a:lnTo>
                    <a:pt x="248" y="278"/>
                  </a:lnTo>
                  <a:lnTo>
                    <a:pt x="250" y="278"/>
                  </a:lnTo>
                  <a:lnTo>
                    <a:pt x="252" y="278"/>
                  </a:lnTo>
                  <a:lnTo>
                    <a:pt x="254" y="278"/>
                  </a:lnTo>
                  <a:lnTo>
                    <a:pt x="256" y="278"/>
                  </a:lnTo>
                  <a:lnTo>
                    <a:pt x="258" y="280"/>
                  </a:lnTo>
                  <a:lnTo>
                    <a:pt x="262" y="278"/>
                  </a:lnTo>
                  <a:lnTo>
                    <a:pt x="264" y="276"/>
                  </a:lnTo>
                  <a:lnTo>
                    <a:pt x="264" y="272"/>
                  </a:lnTo>
                  <a:lnTo>
                    <a:pt x="260" y="268"/>
                  </a:lnTo>
                  <a:lnTo>
                    <a:pt x="256" y="268"/>
                  </a:lnTo>
                  <a:lnTo>
                    <a:pt x="254" y="268"/>
                  </a:lnTo>
                  <a:lnTo>
                    <a:pt x="254" y="266"/>
                  </a:lnTo>
                  <a:lnTo>
                    <a:pt x="258" y="258"/>
                  </a:lnTo>
                  <a:lnTo>
                    <a:pt x="258" y="252"/>
                  </a:lnTo>
                  <a:lnTo>
                    <a:pt x="256" y="250"/>
                  </a:lnTo>
                  <a:lnTo>
                    <a:pt x="258" y="242"/>
                  </a:lnTo>
                  <a:lnTo>
                    <a:pt x="260" y="240"/>
                  </a:lnTo>
                  <a:lnTo>
                    <a:pt x="262" y="240"/>
                  </a:lnTo>
                  <a:lnTo>
                    <a:pt x="264" y="240"/>
                  </a:lnTo>
                  <a:lnTo>
                    <a:pt x="266" y="240"/>
                  </a:lnTo>
                  <a:lnTo>
                    <a:pt x="268" y="240"/>
                  </a:lnTo>
                  <a:lnTo>
                    <a:pt x="272" y="242"/>
                  </a:lnTo>
                  <a:lnTo>
                    <a:pt x="274" y="242"/>
                  </a:lnTo>
                  <a:lnTo>
                    <a:pt x="278" y="242"/>
                  </a:lnTo>
                  <a:lnTo>
                    <a:pt x="280" y="240"/>
                  </a:lnTo>
                  <a:lnTo>
                    <a:pt x="284" y="240"/>
                  </a:lnTo>
                  <a:lnTo>
                    <a:pt x="286" y="240"/>
                  </a:lnTo>
                  <a:lnTo>
                    <a:pt x="290" y="238"/>
                  </a:lnTo>
                  <a:lnTo>
                    <a:pt x="294" y="238"/>
                  </a:lnTo>
                  <a:lnTo>
                    <a:pt x="298" y="236"/>
                  </a:lnTo>
                  <a:lnTo>
                    <a:pt x="300" y="236"/>
                  </a:lnTo>
                  <a:lnTo>
                    <a:pt x="300" y="234"/>
                  </a:lnTo>
                  <a:lnTo>
                    <a:pt x="300" y="232"/>
                  </a:lnTo>
                  <a:lnTo>
                    <a:pt x="302" y="230"/>
                  </a:lnTo>
                  <a:lnTo>
                    <a:pt x="302" y="228"/>
                  </a:lnTo>
                  <a:lnTo>
                    <a:pt x="302" y="226"/>
                  </a:lnTo>
                  <a:lnTo>
                    <a:pt x="304" y="224"/>
                  </a:lnTo>
                  <a:lnTo>
                    <a:pt x="306" y="224"/>
                  </a:lnTo>
                  <a:lnTo>
                    <a:pt x="324" y="224"/>
                  </a:lnTo>
                  <a:lnTo>
                    <a:pt x="326" y="222"/>
                  </a:lnTo>
                  <a:lnTo>
                    <a:pt x="330" y="222"/>
                  </a:lnTo>
                  <a:lnTo>
                    <a:pt x="332" y="224"/>
                  </a:lnTo>
                  <a:lnTo>
                    <a:pt x="334" y="224"/>
                  </a:lnTo>
                  <a:lnTo>
                    <a:pt x="338" y="224"/>
                  </a:lnTo>
                  <a:lnTo>
                    <a:pt x="340" y="224"/>
                  </a:lnTo>
                  <a:lnTo>
                    <a:pt x="346" y="226"/>
                  </a:lnTo>
                  <a:lnTo>
                    <a:pt x="348" y="226"/>
                  </a:lnTo>
                  <a:lnTo>
                    <a:pt x="360" y="228"/>
                  </a:lnTo>
                  <a:lnTo>
                    <a:pt x="368" y="228"/>
                  </a:lnTo>
                  <a:lnTo>
                    <a:pt x="374" y="230"/>
                  </a:lnTo>
                  <a:lnTo>
                    <a:pt x="376" y="230"/>
                  </a:lnTo>
                  <a:lnTo>
                    <a:pt x="378" y="232"/>
                  </a:lnTo>
                  <a:lnTo>
                    <a:pt x="380" y="230"/>
                  </a:lnTo>
                  <a:lnTo>
                    <a:pt x="380" y="228"/>
                  </a:lnTo>
                  <a:lnTo>
                    <a:pt x="380" y="226"/>
                  </a:lnTo>
                  <a:lnTo>
                    <a:pt x="378" y="226"/>
                  </a:lnTo>
                  <a:lnTo>
                    <a:pt x="376" y="226"/>
                  </a:lnTo>
                  <a:lnTo>
                    <a:pt x="378" y="224"/>
                  </a:lnTo>
                  <a:lnTo>
                    <a:pt x="380" y="218"/>
                  </a:lnTo>
                  <a:lnTo>
                    <a:pt x="382" y="216"/>
                  </a:lnTo>
                  <a:lnTo>
                    <a:pt x="382" y="214"/>
                  </a:lnTo>
                  <a:lnTo>
                    <a:pt x="384" y="214"/>
                  </a:lnTo>
                  <a:lnTo>
                    <a:pt x="386" y="214"/>
                  </a:lnTo>
                  <a:lnTo>
                    <a:pt x="390" y="214"/>
                  </a:lnTo>
                  <a:lnTo>
                    <a:pt x="390" y="212"/>
                  </a:lnTo>
                  <a:lnTo>
                    <a:pt x="392" y="210"/>
                  </a:lnTo>
                  <a:lnTo>
                    <a:pt x="382" y="202"/>
                  </a:lnTo>
                  <a:lnTo>
                    <a:pt x="378" y="198"/>
                  </a:lnTo>
                  <a:lnTo>
                    <a:pt x="372" y="186"/>
                  </a:lnTo>
                  <a:lnTo>
                    <a:pt x="374" y="184"/>
                  </a:lnTo>
                  <a:lnTo>
                    <a:pt x="376" y="182"/>
                  </a:lnTo>
                  <a:lnTo>
                    <a:pt x="376" y="180"/>
                  </a:lnTo>
                  <a:lnTo>
                    <a:pt x="374" y="178"/>
                  </a:lnTo>
                  <a:lnTo>
                    <a:pt x="372" y="176"/>
                  </a:lnTo>
                  <a:lnTo>
                    <a:pt x="372" y="174"/>
                  </a:lnTo>
                  <a:lnTo>
                    <a:pt x="370" y="170"/>
                  </a:lnTo>
                  <a:lnTo>
                    <a:pt x="370" y="168"/>
                  </a:lnTo>
                  <a:lnTo>
                    <a:pt x="370" y="162"/>
                  </a:lnTo>
                  <a:lnTo>
                    <a:pt x="370" y="160"/>
                  </a:lnTo>
                  <a:lnTo>
                    <a:pt x="372" y="160"/>
                  </a:lnTo>
                  <a:lnTo>
                    <a:pt x="374" y="156"/>
                  </a:lnTo>
                  <a:lnTo>
                    <a:pt x="374" y="152"/>
                  </a:lnTo>
                  <a:lnTo>
                    <a:pt x="372" y="148"/>
                  </a:lnTo>
                  <a:lnTo>
                    <a:pt x="370" y="146"/>
                  </a:lnTo>
                  <a:lnTo>
                    <a:pt x="372" y="136"/>
                  </a:lnTo>
                  <a:lnTo>
                    <a:pt x="374" y="132"/>
                  </a:lnTo>
                  <a:lnTo>
                    <a:pt x="376" y="126"/>
                  </a:lnTo>
                  <a:lnTo>
                    <a:pt x="374" y="116"/>
                  </a:lnTo>
                  <a:lnTo>
                    <a:pt x="374" y="112"/>
                  </a:lnTo>
                  <a:lnTo>
                    <a:pt x="372" y="110"/>
                  </a:lnTo>
                  <a:lnTo>
                    <a:pt x="376" y="106"/>
                  </a:lnTo>
                  <a:lnTo>
                    <a:pt x="378" y="104"/>
                  </a:lnTo>
                  <a:lnTo>
                    <a:pt x="376" y="104"/>
                  </a:lnTo>
                  <a:lnTo>
                    <a:pt x="372" y="96"/>
                  </a:lnTo>
                  <a:lnTo>
                    <a:pt x="374" y="96"/>
                  </a:lnTo>
                  <a:lnTo>
                    <a:pt x="374" y="94"/>
                  </a:lnTo>
                  <a:lnTo>
                    <a:pt x="378" y="90"/>
                  </a:lnTo>
                  <a:lnTo>
                    <a:pt x="376" y="90"/>
                  </a:lnTo>
                  <a:lnTo>
                    <a:pt x="374" y="88"/>
                  </a:lnTo>
                  <a:lnTo>
                    <a:pt x="366" y="80"/>
                  </a:lnTo>
                  <a:lnTo>
                    <a:pt x="362" y="74"/>
                  </a:lnTo>
                  <a:lnTo>
                    <a:pt x="360" y="74"/>
                  </a:lnTo>
                  <a:lnTo>
                    <a:pt x="360" y="72"/>
                  </a:lnTo>
                  <a:lnTo>
                    <a:pt x="362" y="72"/>
                  </a:lnTo>
                  <a:lnTo>
                    <a:pt x="364" y="72"/>
                  </a:lnTo>
                  <a:lnTo>
                    <a:pt x="366" y="72"/>
                  </a:lnTo>
                  <a:lnTo>
                    <a:pt x="368" y="72"/>
                  </a:lnTo>
                  <a:lnTo>
                    <a:pt x="370" y="72"/>
                  </a:lnTo>
                  <a:lnTo>
                    <a:pt x="372" y="72"/>
                  </a:lnTo>
                  <a:lnTo>
                    <a:pt x="374" y="72"/>
                  </a:lnTo>
                  <a:lnTo>
                    <a:pt x="380" y="72"/>
                  </a:lnTo>
                  <a:lnTo>
                    <a:pt x="384" y="70"/>
                  </a:lnTo>
                  <a:lnTo>
                    <a:pt x="392" y="64"/>
                  </a:lnTo>
                  <a:lnTo>
                    <a:pt x="394" y="62"/>
                  </a:lnTo>
                  <a:lnTo>
                    <a:pt x="396" y="62"/>
                  </a:lnTo>
                  <a:lnTo>
                    <a:pt x="398" y="64"/>
                  </a:lnTo>
                  <a:lnTo>
                    <a:pt x="400" y="62"/>
                  </a:lnTo>
                  <a:lnTo>
                    <a:pt x="402" y="62"/>
                  </a:lnTo>
                  <a:lnTo>
                    <a:pt x="404" y="60"/>
                  </a:lnTo>
                  <a:lnTo>
                    <a:pt x="406" y="58"/>
                  </a:lnTo>
                  <a:lnTo>
                    <a:pt x="406" y="56"/>
                  </a:lnTo>
                  <a:lnTo>
                    <a:pt x="408" y="54"/>
                  </a:lnTo>
                  <a:lnTo>
                    <a:pt x="408" y="52"/>
                  </a:lnTo>
                  <a:lnTo>
                    <a:pt x="410" y="50"/>
                  </a:lnTo>
                  <a:lnTo>
                    <a:pt x="412" y="50"/>
                  </a:lnTo>
                  <a:lnTo>
                    <a:pt x="416" y="46"/>
                  </a:lnTo>
                  <a:lnTo>
                    <a:pt x="418" y="46"/>
                  </a:lnTo>
                  <a:lnTo>
                    <a:pt x="424" y="44"/>
                  </a:lnTo>
                  <a:lnTo>
                    <a:pt x="428" y="42"/>
                  </a:lnTo>
                  <a:lnTo>
                    <a:pt x="432" y="46"/>
                  </a:lnTo>
                  <a:lnTo>
                    <a:pt x="434" y="46"/>
                  </a:lnTo>
                  <a:lnTo>
                    <a:pt x="436" y="46"/>
                  </a:lnTo>
                  <a:lnTo>
                    <a:pt x="440" y="42"/>
                  </a:lnTo>
                  <a:lnTo>
                    <a:pt x="442" y="40"/>
                  </a:lnTo>
                  <a:lnTo>
                    <a:pt x="448" y="38"/>
                  </a:lnTo>
                  <a:lnTo>
                    <a:pt x="450" y="40"/>
                  </a:lnTo>
                  <a:lnTo>
                    <a:pt x="452" y="42"/>
                  </a:lnTo>
                  <a:lnTo>
                    <a:pt x="456" y="44"/>
                  </a:lnTo>
                  <a:lnTo>
                    <a:pt x="458" y="44"/>
                  </a:lnTo>
                  <a:lnTo>
                    <a:pt x="460" y="44"/>
                  </a:lnTo>
                  <a:lnTo>
                    <a:pt x="464" y="42"/>
                  </a:lnTo>
                  <a:lnTo>
                    <a:pt x="466" y="40"/>
                  </a:lnTo>
                  <a:lnTo>
                    <a:pt x="468" y="38"/>
                  </a:lnTo>
                  <a:lnTo>
                    <a:pt x="470" y="34"/>
                  </a:lnTo>
                  <a:lnTo>
                    <a:pt x="470" y="32"/>
                  </a:lnTo>
                  <a:lnTo>
                    <a:pt x="474" y="28"/>
                  </a:lnTo>
                  <a:lnTo>
                    <a:pt x="480" y="26"/>
                  </a:lnTo>
                  <a:lnTo>
                    <a:pt x="490" y="22"/>
                  </a:lnTo>
                  <a:lnTo>
                    <a:pt x="494" y="20"/>
                  </a:lnTo>
                  <a:lnTo>
                    <a:pt x="496" y="18"/>
                  </a:lnTo>
                  <a:lnTo>
                    <a:pt x="498" y="18"/>
                  </a:lnTo>
                  <a:lnTo>
                    <a:pt x="500" y="18"/>
                  </a:lnTo>
                  <a:lnTo>
                    <a:pt x="504" y="18"/>
                  </a:lnTo>
                  <a:lnTo>
                    <a:pt x="508" y="16"/>
                  </a:lnTo>
                  <a:lnTo>
                    <a:pt x="510" y="14"/>
                  </a:lnTo>
                  <a:lnTo>
                    <a:pt x="512" y="14"/>
                  </a:lnTo>
                  <a:lnTo>
                    <a:pt x="520" y="12"/>
                  </a:lnTo>
                  <a:lnTo>
                    <a:pt x="530" y="12"/>
                  </a:lnTo>
                  <a:lnTo>
                    <a:pt x="534" y="12"/>
                  </a:lnTo>
                  <a:lnTo>
                    <a:pt x="536" y="12"/>
                  </a:lnTo>
                  <a:lnTo>
                    <a:pt x="538" y="12"/>
                  </a:lnTo>
                  <a:lnTo>
                    <a:pt x="540" y="12"/>
                  </a:lnTo>
                  <a:lnTo>
                    <a:pt x="542" y="12"/>
                  </a:lnTo>
                  <a:lnTo>
                    <a:pt x="544" y="12"/>
                  </a:lnTo>
                  <a:lnTo>
                    <a:pt x="548" y="12"/>
                  </a:lnTo>
                  <a:lnTo>
                    <a:pt x="552" y="12"/>
                  </a:lnTo>
                  <a:lnTo>
                    <a:pt x="554" y="12"/>
                  </a:lnTo>
                  <a:lnTo>
                    <a:pt x="556" y="12"/>
                  </a:lnTo>
                  <a:lnTo>
                    <a:pt x="562" y="12"/>
                  </a:lnTo>
                  <a:lnTo>
                    <a:pt x="564" y="12"/>
                  </a:lnTo>
                  <a:lnTo>
                    <a:pt x="566" y="10"/>
                  </a:lnTo>
                  <a:lnTo>
                    <a:pt x="568" y="10"/>
                  </a:lnTo>
                  <a:lnTo>
                    <a:pt x="570" y="10"/>
                  </a:lnTo>
                  <a:lnTo>
                    <a:pt x="572" y="10"/>
                  </a:lnTo>
                  <a:lnTo>
                    <a:pt x="572" y="12"/>
                  </a:lnTo>
                  <a:lnTo>
                    <a:pt x="574" y="12"/>
                  </a:lnTo>
                  <a:lnTo>
                    <a:pt x="576" y="12"/>
                  </a:lnTo>
                  <a:lnTo>
                    <a:pt x="576" y="14"/>
                  </a:lnTo>
                  <a:lnTo>
                    <a:pt x="580" y="14"/>
                  </a:lnTo>
                  <a:lnTo>
                    <a:pt x="582" y="12"/>
                  </a:lnTo>
                  <a:lnTo>
                    <a:pt x="588" y="10"/>
                  </a:lnTo>
                  <a:lnTo>
                    <a:pt x="590" y="8"/>
                  </a:lnTo>
                  <a:lnTo>
                    <a:pt x="592" y="6"/>
                  </a:lnTo>
                  <a:lnTo>
                    <a:pt x="596" y="4"/>
                  </a:lnTo>
                  <a:lnTo>
                    <a:pt x="598" y="4"/>
                  </a:lnTo>
                  <a:lnTo>
                    <a:pt x="600" y="4"/>
                  </a:lnTo>
                  <a:lnTo>
                    <a:pt x="602" y="6"/>
                  </a:lnTo>
                  <a:lnTo>
                    <a:pt x="604" y="6"/>
                  </a:lnTo>
                  <a:lnTo>
                    <a:pt x="606" y="8"/>
                  </a:lnTo>
                  <a:lnTo>
                    <a:pt x="608" y="6"/>
                  </a:lnTo>
                  <a:lnTo>
                    <a:pt x="610" y="6"/>
                  </a:lnTo>
                  <a:lnTo>
                    <a:pt x="612" y="6"/>
                  </a:lnTo>
                  <a:lnTo>
                    <a:pt x="616" y="6"/>
                  </a:lnTo>
                  <a:lnTo>
                    <a:pt x="620" y="6"/>
                  </a:lnTo>
                  <a:lnTo>
                    <a:pt x="622" y="6"/>
                  </a:lnTo>
                  <a:lnTo>
                    <a:pt x="626" y="6"/>
                  </a:lnTo>
                  <a:lnTo>
                    <a:pt x="628" y="6"/>
                  </a:lnTo>
                  <a:lnTo>
                    <a:pt x="630" y="4"/>
                  </a:lnTo>
                  <a:lnTo>
                    <a:pt x="632" y="2"/>
                  </a:lnTo>
                  <a:lnTo>
                    <a:pt x="636" y="2"/>
                  </a:lnTo>
                  <a:lnTo>
                    <a:pt x="640" y="2"/>
                  </a:lnTo>
                  <a:lnTo>
                    <a:pt x="642" y="2"/>
                  </a:lnTo>
                  <a:lnTo>
                    <a:pt x="646" y="4"/>
                  </a:lnTo>
                  <a:lnTo>
                    <a:pt x="648" y="4"/>
                  </a:lnTo>
                  <a:lnTo>
                    <a:pt x="654" y="2"/>
                  </a:lnTo>
                  <a:lnTo>
                    <a:pt x="656" y="4"/>
                  </a:lnTo>
                  <a:lnTo>
                    <a:pt x="660" y="4"/>
                  </a:lnTo>
                  <a:lnTo>
                    <a:pt x="666" y="6"/>
                  </a:lnTo>
                  <a:lnTo>
                    <a:pt x="668" y="6"/>
                  </a:lnTo>
                  <a:lnTo>
                    <a:pt x="670" y="6"/>
                  </a:lnTo>
                  <a:lnTo>
                    <a:pt x="674" y="6"/>
                  </a:lnTo>
                  <a:lnTo>
                    <a:pt x="676" y="6"/>
                  </a:lnTo>
                  <a:lnTo>
                    <a:pt x="682" y="8"/>
                  </a:lnTo>
                  <a:lnTo>
                    <a:pt x="690" y="12"/>
                  </a:lnTo>
                  <a:lnTo>
                    <a:pt x="688" y="14"/>
                  </a:lnTo>
                  <a:lnTo>
                    <a:pt x="688" y="16"/>
                  </a:lnTo>
                  <a:lnTo>
                    <a:pt x="692" y="18"/>
                  </a:lnTo>
                  <a:lnTo>
                    <a:pt x="694" y="18"/>
                  </a:lnTo>
                  <a:lnTo>
                    <a:pt x="696" y="18"/>
                  </a:lnTo>
                  <a:lnTo>
                    <a:pt x="696" y="20"/>
                  </a:lnTo>
                  <a:lnTo>
                    <a:pt x="698" y="20"/>
                  </a:lnTo>
                  <a:lnTo>
                    <a:pt x="702" y="20"/>
                  </a:lnTo>
                  <a:lnTo>
                    <a:pt x="704" y="18"/>
                  </a:lnTo>
                  <a:lnTo>
                    <a:pt x="708" y="18"/>
                  </a:lnTo>
                  <a:lnTo>
                    <a:pt x="708" y="16"/>
                  </a:lnTo>
                  <a:lnTo>
                    <a:pt x="710" y="14"/>
                  </a:lnTo>
                  <a:lnTo>
                    <a:pt x="716" y="12"/>
                  </a:lnTo>
                  <a:lnTo>
                    <a:pt x="718" y="12"/>
                  </a:lnTo>
                  <a:lnTo>
                    <a:pt x="720" y="12"/>
                  </a:lnTo>
                  <a:lnTo>
                    <a:pt x="722" y="12"/>
                  </a:lnTo>
                  <a:lnTo>
                    <a:pt x="730" y="12"/>
                  </a:lnTo>
                  <a:lnTo>
                    <a:pt x="736" y="10"/>
                  </a:lnTo>
                  <a:lnTo>
                    <a:pt x="740" y="8"/>
                  </a:lnTo>
                  <a:lnTo>
                    <a:pt x="740" y="6"/>
                  </a:lnTo>
                  <a:lnTo>
                    <a:pt x="740" y="4"/>
                  </a:lnTo>
                  <a:lnTo>
                    <a:pt x="746" y="0"/>
                  </a:lnTo>
                  <a:lnTo>
                    <a:pt x="748" y="0"/>
                  </a:lnTo>
                  <a:lnTo>
                    <a:pt x="750" y="0"/>
                  </a:lnTo>
                  <a:lnTo>
                    <a:pt x="752" y="0"/>
                  </a:lnTo>
                  <a:lnTo>
                    <a:pt x="752" y="2"/>
                  </a:lnTo>
                  <a:lnTo>
                    <a:pt x="754" y="4"/>
                  </a:lnTo>
                  <a:lnTo>
                    <a:pt x="754" y="6"/>
                  </a:lnTo>
                  <a:lnTo>
                    <a:pt x="768" y="12"/>
                  </a:lnTo>
                  <a:lnTo>
                    <a:pt x="770" y="12"/>
                  </a:lnTo>
                  <a:lnTo>
                    <a:pt x="778" y="10"/>
                  </a:lnTo>
                  <a:lnTo>
                    <a:pt x="780" y="10"/>
                  </a:lnTo>
                  <a:lnTo>
                    <a:pt x="782" y="8"/>
                  </a:lnTo>
                  <a:lnTo>
                    <a:pt x="784" y="8"/>
                  </a:lnTo>
                  <a:lnTo>
                    <a:pt x="784" y="6"/>
                  </a:lnTo>
                  <a:lnTo>
                    <a:pt x="782" y="4"/>
                  </a:lnTo>
                  <a:lnTo>
                    <a:pt x="782" y="2"/>
                  </a:lnTo>
                  <a:lnTo>
                    <a:pt x="784" y="2"/>
                  </a:lnTo>
                  <a:lnTo>
                    <a:pt x="784" y="4"/>
                  </a:lnTo>
                  <a:lnTo>
                    <a:pt x="786" y="4"/>
                  </a:lnTo>
                  <a:lnTo>
                    <a:pt x="792" y="6"/>
                  </a:lnTo>
                  <a:lnTo>
                    <a:pt x="796" y="6"/>
                  </a:lnTo>
                  <a:lnTo>
                    <a:pt x="796" y="8"/>
                  </a:lnTo>
                  <a:lnTo>
                    <a:pt x="798" y="8"/>
                  </a:lnTo>
                  <a:lnTo>
                    <a:pt x="804" y="10"/>
                  </a:lnTo>
                  <a:lnTo>
                    <a:pt x="806" y="10"/>
                  </a:lnTo>
                  <a:lnTo>
                    <a:pt x="806" y="12"/>
                  </a:lnTo>
                  <a:lnTo>
                    <a:pt x="806" y="14"/>
                  </a:lnTo>
                  <a:lnTo>
                    <a:pt x="806" y="16"/>
                  </a:lnTo>
                  <a:lnTo>
                    <a:pt x="810" y="16"/>
                  </a:lnTo>
                  <a:lnTo>
                    <a:pt x="812" y="16"/>
                  </a:lnTo>
                  <a:lnTo>
                    <a:pt x="816" y="16"/>
                  </a:lnTo>
                  <a:lnTo>
                    <a:pt x="822" y="14"/>
                  </a:lnTo>
                  <a:lnTo>
                    <a:pt x="826" y="12"/>
                  </a:lnTo>
                  <a:lnTo>
                    <a:pt x="832" y="14"/>
                  </a:lnTo>
                  <a:lnTo>
                    <a:pt x="838" y="14"/>
                  </a:lnTo>
                  <a:lnTo>
                    <a:pt x="842" y="14"/>
                  </a:lnTo>
                  <a:lnTo>
                    <a:pt x="842" y="16"/>
                  </a:lnTo>
                  <a:lnTo>
                    <a:pt x="842" y="18"/>
                  </a:lnTo>
                  <a:lnTo>
                    <a:pt x="834" y="24"/>
                  </a:lnTo>
                  <a:lnTo>
                    <a:pt x="834" y="28"/>
                  </a:lnTo>
                  <a:lnTo>
                    <a:pt x="828" y="30"/>
                  </a:lnTo>
                  <a:lnTo>
                    <a:pt x="824" y="32"/>
                  </a:lnTo>
                  <a:lnTo>
                    <a:pt x="822" y="32"/>
                  </a:lnTo>
                  <a:lnTo>
                    <a:pt x="820" y="34"/>
                  </a:lnTo>
                  <a:lnTo>
                    <a:pt x="820" y="36"/>
                  </a:lnTo>
                  <a:lnTo>
                    <a:pt x="822" y="36"/>
                  </a:lnTo>
                  <a:lnTo>
                    <a:pt x="824" y="36"/>
                  </a:lnTo>
                  <a:lnTo>
                    <a:pt x="826" y="36"/>
                  </a:lnTo>
                  <a:lnTo>
                    <a:pt x="828" y="38"/>
                  </a:lnTo>
                  <a:lnTo>
                    <a:pt x="828" y="40"/>
                  </a:lnTo>
                  <a:lnTo>
                    <a:pt x="828" y="42"/>
                  </a:lnTo>
                  <a:lnTo>
                    <a:pt x="826" y="46"/>
                  </a:lnTo>
                  <a:lnTo>
                    <a:pt x="826" y="50"/>
                  </a:lnTo>
                  <a:lnTo>
                    <a:pt x="824" y="56"/>
                  </a:lnTo>
                  <a:lnTo>
                    <a:pt x="824" y="62"/>
                  </a:lnTo>
                  <a:lnTo>
                    <a:pt x="822" y="62"/>
                  </a:lnTo>
                  <a:lnTo>
                    <a:pt x="822" y="64"/>
                  </a:lnTo>
                  <a:lnTo>
                    <a:pt x="820" y="68"/>
                  </a:lnTo>
                  <a:lnTo>
                    <a:pt x="820" y="70"/>
                  </a:lnTo>
                  <a:lnTo>
                    <a:pt x="820" y="72"/>
                  </a:lnTo>
                  <a:lnTo>
                    <a:pt x="822" y="74"/>
                  </a:lnTo>
                  <a:lnTo>
                    <a:pt x="824" y="76"/>
                  </a:lnTo>
                  <a:lnTo>
                    <a:pt x="824" y="78"/>
                  </a:lnTo>
                  <a:lnTo>
                    <a:pt x="824" y="80"/>
                  </a:lnTo>
                  <a:lnTo>
                    <a:pt x="824" y="82"/>
                  </a:lnTo>
                  <a:lnTo>
                    <a:pt x="822" y="88"/>
                  </a:lnTo>
                  <a:lnTo>
                    <a:pt x="822" y="90"/>
                  </a:lnTo>
                  <a:lnTo>
                    <a:pt x="820" y="92"/>
                  </a:lnTo>
                  <a:lnTo>
                    <a:pt x="820" y="94"/>
                  </a:lnTo>
                  <a:lnTo>
                    <a:pt x="820" y="96"/>
                  </a:lnTo>
                  <a:lnTo>
                    <a:pt x="822" y="98"/>
                  </a:lnTo>
                  <a:lnTo>
                    <a:pt x="824" y="102"/>
                  </a:lnTo>
                  <a:lnTo>
                    <a:pt x="820" y="106"/>
                  </a:lnTo>
                  <a:lnTo>
                    <a:pt x="818" y="114"/>
                  </a:lnTo>
                  <a:lnTo>
                    <a:pt x="816" y="120"/>
                  </a:lnTo>
                  <a:lnTo>
                    <a:pt x="816" y="126"/>
                  </a:lnTo>
                  <a:lnTo>
                    <a:pt x="814" y="128"/>
                  </a:lnTo>
                  <a:lnTo>
                    <a:pt x="816" y="130"/>
                  </a:lnTo>
                  <a:lnTo>
                    <a:pt x="808" y="136"/>
                  </a:lnTo>
                  <a:lnTo>
                    <a:pt x="806" y="136"/>
                  </a:lnTo>
                  <a:lnTo>
                    <a:pt x="806" y="138"/>
                  </a:lnTo>
                  <a:lnTo>
                    <a:pt x="796" y="140"/>
                  </a:lnTo>
                  <a:lnTo>
                    <a:pt x="794" y="142"/>
                  </a:lnTo>
                  <a:lnTo>
                    <a:pt x="794" y="146"/>
                  </a:lnTo>
                  <a:lnTo>
                    <a:pt x="792" y="150"/>
                  </a:lnTo>
                  <a:lnTo>
                    <a:pt x="790" y="150"/>
                  </a:lnTo>
                  <a:lnTo>
                    <a:pt x="788" y="150"/>
                  </a:lnTo>
                  <a:lnTo>
                    <a:pt x="786" y="152"/>
                  </a:lnTo>
                  <a:lnTo>
                    <a:pt x="784" y="152"/>
                  </a:lnTo>
                  <a:lnTo>
                    <a:pt x="780" y="156"/>
                  </a:lnTo>
                  <a:lnTo>
                    <a:pt x="780" y="158"/>
                  </a:lnTo>
                  <a:lnTo>
                    <a:pt x="780" y="162"/>
                  </a:lnTo>
                  <a:lnTo>
                    <a:pt x="778" y="164"/>
                  </a:lnTo>
                  <a:lnTo>
                    <a:pt x="778" y="166"/>
                  </a:lnTo>
                  <a:lnTo>
                    <a:pt x="778" y="168"/>
                  </a:lnTo>
                  <a:lnTo>
                    <a:pt x="778" y="172"/>
                  </a:lnTo>
                  <a:lnTo>
                    <a:pt x="780" y="178"/>
                  </a:lnTo>
                  <a:lnTo>
                    <a:pt x="784" y="188"/>
                  </a:lnTo>
                  <a:lnTo>
                    <a:pt x="786" y="192"/>
                  </a:lnTo>
                  <a:lnTo>
                    <a:pt x="786" y="194"/>
                  </a:lnTo>
                  <a:lnTo>
                    <a:pt x="784" y="198"/>
                  </a:lnTo>
                  <a:lnTo>
                    <a:pt x="784" y="202"/>
                  </a:lnTo>
                  <a:lnTo>
                    <a:pt x="786" y="202"/>
                  </a:lnTo>
                  <a:lnTo>
                    <a:pt x="798" y="208"/>
                  </a:lnTo>
                  <a:lnTo>
                    <a:pt x="800" y="208"/>
                  </a:lnTo>
                  <a:lnTo>
                    <a:pt x="804" y="214"/>
                  </a:lnTo>
                  <a:lnTo>
                    <a:pt x="808" y="222"/>
                  </a:lnTo>
                  <a:lnTo>
                    <a:pt x="808" y="224"/>
                  </a:lnTo>
                  <a:lnTo>
                    <a:pt x="808" y="226"/>
                  </a:lnTo>
                  <a:lnTo>
                    <a:pt x="810" y="228"/>
                  </a:lnTo>
                  <a:lnTo>
                    <a:pt x="810" y="230"/>
                  </a:lnTo>
                  <a:lnTo>
                    <a:pt x="810" y="236"/>
                  </a:lnTo>
                  <a:lnTo>
                    <a:pt x="810" y="238"/>
                  </a:lnTo>
                  <a:lnTo>
                    <a:pt x="812" y="242"/>
                  </a:lnTo>
                  <a:lnTo>
                    <a:pt x="818" y="246"/>
                  </a:lnTo>
                  <a:lnTo>
                    <a:pt x="824" y="250"/>
                  </a:lnTo>
                  <a:lnTo>
                    <a:pt x="832" y="256"/>
                  </a:lnTo>
                  <a:lnTo>
                    <a:pt x="838" y="262"/>
                  </a:lnTo>
                  <a:lnTo>
                    <a:pt x="840" y="264"/>
                  </a:lnTo>
                  <a:lnTo>
                    <a:pt x="840" y="268"/>
                  </a:lnTo>
                  <a:lnTo>
                    <a:pt x="840" y="272"/>
                  </a:lnTo>
                  <a:lnTo>
                    <a:pt x="844" y="288"/>
                  </a:lnTo>
                  <a:lnTo>
                    <a:pt x="844" y="294"/>
                  </a:lnTo>
                  <a:lnTo>
                    <a:pt x="848" y="312"/>
                  </a:lnTo>
                  <a:lnTo>
                    <a:pt x="848" y="318"/>
                  </a:lnTo>
                  <a:lnTo>
                    <a:pt x="848" y="328"/>
                  </a:lnTo>
                  <a:lnTo>
                    <a:pt x="850" y="338"/>
                  </a:lnTo>
                  <a:lnTo>
                    <a:pt x="852" y="344"/>
                  </a:lnTo>
                  <a:lnTo>
                    <a:pt x="854" y="356"/>
                  </a:lnTo>
                  <a:lnTo>
                    <a:pt x="854" y="358"/>
                  </a:lnTo>
                  <a:lnTo>
                    <a:pt x="854" y="360"/>
                  </a:lnTo>
                  <a:lnTo>
                    <a:pt x="852" y="360"/>
                  </a:lnTo>
                  <a:lnTo>
                    <a:pt x="848" y="364"/>
                  </a:lnTo>
                  <a:lnTo>
                    <a:pt x="844" y="366"/>
                  </a:lnTo>
                  <a:lnTo>
                    <a:pt x="846" y="368"/>
                  </a:lnTo>
                  <a:lnTo>
                    <a:pt x="848" y="370"/>
                  </a:lnTo>
                  <a:lnTo>
                    <a:pt x="848" y="372"/>
                  </a:lnTo>
                  <a:lnTo>
                    <a:pt x="848" y="374"/>
                  </a:lnTo>
                  <a:lnTo>
                    <a:pt x="854" y="380"/>
                  </a:lnTo>
                  <a:lnTo>
                    <a:pt x="854" y="382"/>
                  </a:lnTo>
                  <a:lnTo>
                    <a:pt x="856" y="388"/>
                  </a:lnTo>
                  <a:lnTo>
                    <a:pt x="858" y="390"/>
                  </a:lnTo>
                  <a:lnTo>
                    <a:pt x="858" y="392"/>
                  </a:lnTo>
                  <a:lnTo>
                    <a:pt x="860" y="396"/>
                  </a:lnTo>
                  <a:lnTo>
                    <a:pt x="862" y="400"/>
                  </a:lnTo>
                  <a:lnTo>
                    <a:pt x="862" y="402"/>
                  </a:lnTo>
                  <a:lnTo>
                    <a:pt x="864" y="414"/>
                  </a:lnTo>
                  <a:lnTo>
                    <a:pt x="864" y="416"/>
                  </a:lnTo>
                  <a:lnTo>
                    <a:pt x="864" y="418"/>
                  </a:lnTo>
                  <a:lnTo>
                    <a:pt x="864" y="420"/>
                  </a:lnTo>
                  <a:lnTo>
                    <a:pt x="864" y="424"/>
                  </a:lnTo>
                  <a:lnTo>
                    <a:pt x="864" y="426"/>
                  </a:lnTo>
                  <a:lnTo>
                    <a:pt x="864" y="432"/>
                  </a:lnTo>
                  <a:lnTo>
                    <a:pt x="864" y="434"/>
                  </a:lnTo>
                  <a:lnTo>
                    <a:pt x="864" y="436"/>
                  </a:lnTo>
                  <a:lnTo>
                    <a:pt x="864" y="438"/>
                  </a:lnTo>
                  <a:lnTo>
                    <a:pt x="862" y="442"/>
                  </a:lnTo>
                  <a:lnTo>
                    <a:pt x="862" y="446"/>
                  </a:lnTo>
                  <a:lnTo>
                    <a:pt x="860" y="454"/>
                  </a:lnTo>
                  <a:lnTo>
                    <a:pt x="860" y="458"/>
                  </a:lnTo>
                  <a:lnTo>
                    <a:pt x="860" y="462"/>
                  </a:lnTo>
                  <a:lnTo>
                    <a:pt x="860" y="466"/>
                  </a:lnTo>
                  <a:lnTo>
                    <a:pt x="860" y="468"/>
                  </a:lnTo>
                  <a:lnTo>
                    <a:pt x="862" y="474"/>
                  </a:lnTo>
                  <a:lnTo>
                    <a:pt x="866" y="482"/>
                  </a:lnTo>
                  <a:lnTo>
                    <a:pt x="866" y="484"/>
                  </a:lnTo>
                  <a:lnTo>
                    <a:pt x="864" y="484"/>
                  </a:lnTo>
                  <a:lnTo>
                    <a:pt x="862" y="494"/>
                  </a:lnTo>
                  <a:lnTo>
                    <a:pt x="860" y="496"/>
                  </a:lnTo>
                  <a:lnTo>
                    <a:pt x="858" y="498"/>
                  </a:lnTo>
                  <a:lnTo>
                    <a:pt x="856" y="504"/>
                  </a:lnTo>
                  <a:lnTo>
                    <a:pt x="854" y="510"/>
                  </a:lnTo>
                  <a:lnTo>
                    <a:pt x="854" y="514"/>
                  </a:lnTo>
                  <a:lnTo>
                    <a:pt x="856" y="520"/>
                  </a:lnTo>
                  <a:lnTo>
                    <a:pt x="856" y="524"/>
                  </a:lnTo>
                  <a:lnTo>
                    <a:pt x="856" y="526"/>
                  </a:lnTo>
                  <a:lnTo>
                    <a:pt x="858" y="530"/>
                  </a:lnTo>
                  <a:lnTo>
                    <a:pt x="860" y="532"/>
                  </a:lnTo>
                  <a:lnTo>
                    <a:pt x="860" y="534"/>
                  </a:lnTo>
                  <a:lnTo>
                    <a:pt x="860" y="536"/>
                  </a:lnTo>
                  <a:lnTo>
                    <a:pt x="860" y="538"/>
                  </a:lnTo>
                  <a:lnTo>
                    <a:pt x="860" y="542"/>
                  </a:lnTo>
                  <a:lnTo>
                    <a:pt x="860" y="546"/>
                  </a:lnTo>
                  <a:lnTo>
                    <a:pt x="858" y="550"/>
                  </a:lnTo>
                  <a:lnTo>
                    <a:pt x="852" y="554"/>
                  </a:lnTo>
                  <a:lnTo>
                    <a:pt x="848" y="556"/>
                  </a:lnTo>
                  <a:lnTo>
                    <a:pt x="838" y="558"/>
                  </a:lnTo>
                  <a:lnTo>
                    <a:pt x="836" y="562"/>
                  </a:lnTo>
                  <a:lnTo>
                    <a:pt x="834" y="566"/>
                  </a:lnTo>
                  <a:lnTo>
                    <a:pt x="834" y="568"/>
                  </a:lnTo>
                  <a:lnTo>
                    <a:pt x="834" y="570"/>
                  </a:lnTo>
                  <a:lnTo>
                    <a:pt x="836" y="572"/>
                  </a:lnTo>
                  <a:lnTo>
                    <a:pt x="838" y="574"/>
                  </a:lnTo>
                  <a:lnTo>
                    <a:pt x="850" y="596"/>
                  </a:lnTo>
                  <a:lnTo>
                    <a:pt x="854" y="600"/>
                  </a:lnTo>
                  <a:lnTo>
                    <a:pt x="860" y="610"/>
                  </a:lnTo>
                  <a:lnTo>
                    <a:pt x="860" y="612"/>
                  </a:lnTo>
                  <a:lnTo>
                    <a:pt x="860" y="616"/>
                  </a:lnTo>
                  <a:lnTo>
                    <a:pt x="860" y="626"/>
                  </a:lnTo>
                  <a:lnTo>
                    <a:pt x="860" y="628"/>
                  </a:lnTo>
                  <a:lnTo>
                    <a:pt x="860" y="632"/>
                  </a:lnTo>
                  <a:lnTo>
                    <a:pt x="860" y="636"/>
                  </a:lnTo>
                  <a:lnTo>
                    <a:pt x="860" y="638"/>
                  </a:lnTo>
                  <a:lnTo>
                    <a:pt x="864" y="640"/>
                  </a:lnTo>
                  <a:lnTo>
                    <a:pt x="866" y="640"/>
                  </a:lnTo>
                  <a:lnTo>
                    <a:pt x="868" y="642"/>
                  </a:lnTo>
                  <a:lnTo>
                    <a:pt x="868" y="644"/>
                  </a:lnTo>
                  <a:lnTo>
                    <a:pt x="870" y="648"/>
                  </a:lnTo>
                  <a:lnTo>
                    <a:pt x="870" y="650"/>
                  </a:lnTo>
                  <a:lnTo>
                    <a:pt x="872" y="652"/>
                  </a:lnTo>
                  <a:lnTo>
                    <a:pt x="876" y="656"/>
                  </a:lnTo>
                  <a:lnTo>
                    <a:pt x="880" y="658"/>
                  </a:lnTo>
                  <a:lnTo>
                    <a:pt x="884" y="656"/>
                  </a:lnTo>
                  <a:lnTo>
                    <a:pt x="890" y="654"/>
                  </a:lnTo>
                  <a:lnTo>
                    <a:pt x="892" y="652"/>
                  </a:lnTo>
                  <a:lnTo>
                    <a:pt x="892" y="654"/>
                  </a:lnTo>
                  <a:lnTo>
                    <a:pt x="896" y="656"/>
                  </a:lnTo>
                  <a:lnTo>
                    <a:pt x="904" y="658"/>
                  </a:lnTo>
                  <a:lnTo>
                    <a:pt x="904" y="660"/>
                  </a:lnTo>
                  <a:lnTo>
                    <a:pt x="910" y="660"/>
                  </a:lnTo>
                  <a:lnTo>
                    <a:pt x="918" y="662"/>
                  </a:lnTo>
                  <a:lnTo>
                    <a:pt x="920" y="664"/>
                  </a:lnTo>
                  <a:lnTo>
                    <a:pt x="926" y="666"/>
                  </a:lnTo>
                  <a:lnTo>
                    <a:pt x="930" y="668"/>
                  </a:lnTo>
                  <a:lnTo>
                    <a:pt x="938" y="682"/>
                  </a:lnTo>
                  <a:lnTo>
                    <a:pt x="938" y="686"/>
                  </a:lnTo>
                  <a:lnTo>
                    <a:pt x="946" y="702"/>
                  </a:lnTo>
                  <a:lnTo>
                    <a:pt x="948" y="708"/>
                  </a:lnTo>
                  <a:lnTo>
                    <a:pt x="938" y="714"/>
                  </a:lnTo>
                  <a:lnTo>
                    <a:pt x="936" y="716"/>
                  </a:lnTo>
                  <a:lnTo>
                    <a:pt x="906" y="734"/>
                  </a:lnTo>
                  <a:lnTo>
                    <a:pt x="892" y="740"/>
                  </a:lnTo>
                  <a:lnTo>
                    <a:pt x="888" y="742"/>
                  </a:lnTo>
                  <a:lnTo>
                    <a:pt x="882" y="746"/>
                  </a:lnTo>
                  <a:lnTo>
                    <a:pt x="868" y="754"/>
                  </a:lnTo>
                  <a:lnTo>
                    <a:pt x="858" y="760"/>
                  </a:lnTo>
                  <a:lnTo>
                    <a:pt x="838" y="772"/>
                  </a:lnTo>
                  <a:lnTo>
                    <a:pt x="826" y="780"/>
                  </a:lnTo>
                  <a:lnTo>
                    <a:pt x="802" y="792"/>
                  </a:lnTo>
                  <a:lnTo>
                    <a:pt x="788" y="802"/>
                  </a:lnTo>
                  <a:lnTo>
                    <a:pt x="782" y="804"/>
                  </a:lnTo>
                  <a:lnTo>
                    <a:pt x="754" y="820"/>
                  </a:lnTo>
                  <a:lnTo>
                    <a:pt x="748" y="824"/>
                  </a:lnTo>
                  <a:lnTo>
                    <a:pt x="738" y="830"/>
                  </a:lnTo>
                  <a:lnTo>
                    <a:pt x="734" y="832"/>
                  </a:lnTo>
                  <a:lnTo>
                    <a:pt x="724" y="838"/>
                  </a:lnTo>
                  <a:lnTo>
                    <a:pt x="698" y="860"/>
                  </a:lnTo>
                  <a:lnTo>
                    <a:pt x="684" y="872"/>
                  </a:lnTo>
                  <a:lnTo>
                    <a:pt x="674" y="878"/>
                  </a:lnTo>
                  <a:lnTo>
                    <a:pt x="666" y="886"/>
                  </a:lnTo>
                  <a:lnTo>
                    <a:pt x="650" y="900"/>
                  </a:lnTo>
                  <a:lnTo>
                    <a:pt x="648" y="900"/>
                  </a:lnTo>
                  <a:lnTo>
                    <a:pt x="640" y="908"/>
                  </a:lnTo>
                  <a:lnTo>
                    <a:pt x="632" y="908"/>
                  </a:lnTo>
                  <a:lnTo>
                    <a:pt x="628" y="910"/>
                  </a:lnTo>
                  <a:lnTo>
                    <a:pt x="616" y="910"/>
                  </a:lnTo>
                  <a:lnTo>
                    <a:pt x="594" y="914"/>
                  </a:lnTo>
                  <a:lnTo>
                    <a:pt x="576" y="918"/>
                  </a:lnTo>
                  <a:lnTo>
                    <a:pt x="568" y="918"/>
                  </a:lnTo>
                  <a:lnTo>
                    <a:pt x="564" y="920"/>
                  </a:lnTo>
                  <a:lnTo>
                    <a:pt x="556" y="920"/>
                  </a:lnTo>
                  <a:lnTo>
                    <a:pt x="548" y="920"/>
                  </a:lnTo>
                  <a:lnTo>
                    <a:pt x="546" y="922"/>
                  </a:lnTo>
                  <a:lnTo>
                    <a:pt x="538" y="922"/>
                  </a:lnTo>
                  <a:lnTo>
                    <a:pt x="518" y="926"/>
                  </a:lnTo>
                  <a:lnTo>
                    <a:pt x="512" y="920"/>
                  </a:lnTo>
                  <a:lnTo>
                    <a:pt x="508" y="918"/>
                  </a:lnTo>
                  <a:lnTo>
                    <a:pt x="508" y="916"/>
                  </a:lnTo>
                  <a:lnTo>
                    <a:pt x="508" y="914"/>
                  </a:lnTo>
                  <a:lnTo>
                    <a:pt x="510" y="914"/>
                  </a:lnTo>
                  <a:lnTo>
                    <a:pt x="512" y="910"/>
                  </a:lnTo>
                  <a:lnTo>
                    <a:pt x="516" y="904"/>
                  </a:lnTo>
                  <a:lnTo>
                    <a:pt x="516" y="902"/>
                  </a:lnTo>
                  <a:lnTo>
                    <a:pt x="516" y="900"/>
                  </a:lnTo>
                  <a:lnTo>
                    <a:pt x="514" y="896"/>
                  </a:lnTo>
                  <a:lnTo>
                    <a:pt x="514" y="894"/>
                  </a:lnTo>
                  <a:lnTo>
                    <a:pt x="514" y="892"/>
                  </a:lnTo>
                  <a:lnTo>
                    <a:pt x="516" y="886"/>
                  </a:lnTo>
                  <a:lnTo>
                    <a:pt x="516" y="882"/>
                  </a:lnTo>
                  <a:lnTo>
                    <a:pt x="506" y="876"/>
                  </a:lnTo>
                  <a:lnTo>
                    <a:pt x="500" y="874"/>
                  </a:lnTo>
                  <a:lnTo>
                    <a:pt x="490" y="872"/>
                  </a:lnTo>
                  <a:lnTo>
                    <a:pt x="486" y="870"/>
                  </a:lnTo>
                  <a:lnTo>
                    <a:pt x="482" y="870"/>
                  </a:lnTo>
                  <a:lnTo>
                    <a:pt x="478" y="868"/>
                  </a:lnTo>
                  <a:lnTo>
                    <a:pt x="478" y="866"/>
                  </a:lnTo>
                  <a:lnTo>
                    <a:pt x="476" y="866"/>
                  </a:lnTo>
                  <a:lnTo>
                    <a:pt x="476" y="864"/>
                  </a:lnTo>
                  <a:lnTo>
                    <a:pt x="476" y="862"/>
                  </a:lnTo>
                  <a:lnTo>
                    <a:pt x="474" y="862"/>
                  </a:lnTo>
                  <a:lnTo>
                    <a:pt x="474" y="860"/>
                  </a:lnTo>
                  <a:lnTo>
                    <a:pt x="472" y="858"/>
                  </a:lnTo>
                  <a:lnTo>
                    <a:pt x="468" y="856"/>
                  </a:lnTo>
                  <a:lnTo>
                    <a:pt x="466" y="856"/>
                  </a:lnTo>
                  <a:lnTo>
                    <a:pt x="464" y="858"/>
                  </a:lnTo>
                  <a:lnTo>
                    <a:pt x="462" y="858"/>
                  </a:lnTo>
                  <a:lnTo>
                    <a:pt x="454" y="856"/>
                  </a:lnTo>
                  <a:lnTo>
                    <a:pt x="448" y="854"/>
                  </a:lnTo>
                  <a:lnTo>
                    <a:pt x="448" y="852"/>
                  </a:lnTo>
                  <a:lnTo>
                    <a:pt x="446" y="850"/>
                  </a:lnTo>
                  <a:lnTo>
                    <a:pt x="442" y="846"/>
                  </a:lnTo>
                  <a:lnTo>
                    <a:pt x="444" y="844"/>
                  </a:lnTo>
                  <a:lnTo>
                    <a:pt x="444" y="840"/>
                  </a:lnTo>
                  <a:lnTo>
                    <a:pt x="442" y="838"/>
                  </a:lnTo>
                  <a:lnTo>
                    <a:pt x="440" y="836"/>
                  </a:lnTo>
                  <a:lnTo>
                    <a:pt x="436" y="836"/>
                  </a:lnTo>
                  <a:lnTo>
                    <a:pt x="434" y="834"/>
                  </a:lnTo>
                  <a:lnTo>
                    <a:pt x="428" y="832"/>
                  </a:lnTo>
                  <a:lnTo>
                    <a:pt x="420" y="830"/>
                  </a:lnTo>
                  <a:lnTo>
                    <a:pt x="420" y="828"/>
                  </a:lnTo>
                  <a:lnTo>
                    <a:pt x="420" y="826"/>
                  </a:lnTo>
                  <a:lnTo>
                    <a:pt x="420" y="822"/>
                  </a:lnTo>
                  <a:lnTo>
                    <a:pt x="422" y="822"/>
                  </a:lnTo>
                  <a:lnTo>
                    <a:pt x="422" y="820"/>
                  </a:lnTo>
                  <a:lnTo>
                    <a:pt x="422" y="818"/>
                  </a:lnTo>
                  <a:lnTo>
                    <a:pt x="422" y="814"/>
                  </a:lnTo>
                  <a:lnTo>
                    <a:pt x="422" y="812"/>
                  </a:lnTo>
                  <a:lnTo>
                    <a:pt x="422" y="810"/>
                  </a:lnTo>
                  <a:lnTo>
                    <a:pt x="404" y="796"/>
                  </a:lnTo>
                  <a:lnTo>
                    <a:pt x="388" y="782"/>
                  </a:lnTo>
                  <a:lnTo>
                    <a:pt x="380" y="778"/>
                  </a:lnTo>
                  <a:lnTo>
                    <a:pt x="376" y="774"/>
                  </a:lnTo>
                  <a:lnTo>
                    <a:pt x="370" y="768"/>
                  </a:lnTo>
                  <a:lnTo>
                    <a:pt x="364" y="764"/>
                  </a:lnTo>
                  <a:lnTo>
                    <a:pt x="350" y="752"/>
                  </a:lnTo>
                  <a:lnTo>
                    <a:pt x="336" y="738"/>
                  </a:lnTo>
                  <a:lnTo>
                    <a:pt x="318" y="724"/>
                  </a:lnTo>
                  <a:lnTo>
                    <a:pt x="306" y="714"/>
                  </a:lnTo>
                  <a:lnTo>
                    <a:pt x="292" y="700"/>
                  </a:lnTo>
                  <a:lnTo>
                    <a:pt x="278" y="688"/>
                  </a:lnTo>
                  <a:lnTo>
                    <a:pt x="262" y="674"/>
                  </a:lnTo>
                  <a:lnTo>
                    <a:pt x="246" y="660"/>
                  </a:lnTo>
                  <a:lnTo>
                    <a:pt x="228" y="644"/>
                  </a:lnTo>
                  <a:lnTo>
                    <a:pt x="218" y="636"/>
                  </a:lnTo>
                  <a:lnTo>
                    <a:pt x="204" y="622"/>
                  </a:lnTo>
                  <a:lnTo>
                    <a:pt x="190" y="610"/>
                  </a:lnTo>
                  <a:lnTo>
                    <a:pt x="172" y="594"/>
                  </a:lnTo>
                  <a:lnTo>
                    <a:pt x="160" y="584"/>
                  </a:lnTo>
                  <a:lnTo>
                    <a:pt x="156" y="582"/>
                  </a:lnTo>
                  <a:lnTo>
                    <a:pt x="140" y="568"/>
                  </a:lnTo>
                  <a:lnTo>
                    <a:pt x="124" y="554"/>
                  </a:lnTo>
                  <a:lnTo>
                    <a:pt x="118" y="548"/>
                  </a:lnTo>
                  <a:lnTo>
                    <a:pt x="116" y="546"/>
                  </a:lnTo>
                  <a:lnTo>
                    <a:pt x="98" y="530"/>
                  </a:lnTo>
                  <a:lnTo>
                    <a:pt x="82" y="518"/>
                  </a:lnTo>
                  <a:lnTo>
                    <a:pt x="78" y="514"/>
                  </a:lnTo>
                  <a:lnTo>
                    <a:pt x="68" y="506"/>
                  </a:lnTo>
                  <a:lnTo>
                    <a:pt x="60" y="498"/>
                  </a:lnTo>
                  <a:lnTo>
                    <a:pt x="58" y="496"/>
                  </a:lnTo>
                  <a:lnTo>
                    <a:pt x="40" y="480"/>
                  </a:lnTo>
                  <a:lnTo>
                    <a:pt x="38" y="480"/>
                  </a:lnTo>
                  <a:lnTo>
                    <a:pt x="22" y="464"/>
                  </a:lnTo>
                  <a:lnTo>
                    <a:pt x="18" y="462"/>
                  </a:lnTo>
                  <a:lnTo>
                    <a:pt x="0" y="446"/>
                  </a:lnTo>
                  <a:lnTo>
                    <a:pt x="2" y="434"/>
                  </a:lnTo>
                  <a:lnTo>
                    <a:pt x="2" y="430"/>
                  </a:lnTo>
                  <a:lnTo>
                    <a:pt x="2" y="426"/>
                  </a:lnTo>
                  <a:lnTo>
                    <a:pt x="6" y="412"/>
                  </a:lnTo>
                  <a:lnTo>
                    <a:pt x="12" y="372"/>
                  </a:lnTo>
                  <a:lnTo>
                    <a:pt x="14" y="370"/>
                  </a:lnTo>
                  <a:lnTo>
                    <a:pt x="18" y="370"/>
                  </a:lnTo>
                  <a:lnTo>
                    <a:pt x="18" y="368"/>
                  </a:lnTo>
                  <a:lnTo>
                    <a:pt x="20" y="368"/>
                  </a:lnTo>
                  <a:lnTo>
                    <a:pt x="22" y="368"/>
                  </a:lnTo>
                  <a:lnTo>
                    <a:pt x="26" y="366"/>
                  </a:lnTo>
                  <a:lnTo>
                    <a:pt x="26" y="364"/>
                  </a:lnTo>
                  <a:lnTo>
                    <a:pt x="28" y="362"/>
                  </a:lnTo>
                  <a:lnTo>
                    <a:pt x="30" y="362"/>
                  </a:lnTo>
                  <a:lnTo>
                    <a:pt x="38" y="356"/>
                  </a:lnTo>
                  <a:lnTo>
                    <a:pt x="40" y="356"/>
                  </a:lnTo>
                  <a:lnTo>
                    <a:pt x="48" y="354"/>
                  </a:lnTo>
                  <a:lnTo>
                    <a:pt x="58" y="348"/>
                  </a:lnTo>
                  <a:lnTo>
                    <a:pt x="64" y="344"/>
                  </a:lnTo>
                  <a:lnTo>
                    <a:pt x="66" y="342"/>
                  </a:lnTo>
                  <a:lnTo>
                    <a:pt x="68" y="342"/>
                  </a:lnTo>
                  <a:lnTo>
                    <a:pt x="70" y="342"/>
                  </a:lnTo>
                  <a:lnTo>
                    <a:pt x="72" y="342"/>
                  </a:lnTo>
                  <a:lnTo>
                    <a:pt x="74" y="342"/>
                  </a:lnTo>
                  <a:lnTo>
                    <a:pt x="76" y="342"/>
                  </a:lnTo>
                  <a:lnTo>
                    <a:pt x="80" y="338"/>
                  </a:lnTo>
                  <a:lnTo>
                    <a:pt x="82" y="336"/>
                  </a:lnTo>
                  <a:lnTo>
                    <a:pt x="84" y="334"/>
                  </a:lnTo>
                  <a:lnTo>
                    <a:pt x="88" y="334"/>
                  </a:lnTo>
                  <a:lnTo>
                    <a:pt x="92" y="332"/>
                  </a:lnTo>
                  <a:lnTo>
                    <a:pt x="104" y="334"/>
                  </a:lnTo>
                  <a:lnTo>
                    <a:pt x="108" y="334"/>
                  </a:lnTo>
                  <a:lnTo>
                    <a:pt x="108" y="336"/>
                  </a:lnTo>
                  <a:lnTo>
                    <a:pt x="110" y="336"/>
                  </a:lnTo>
                  <a:lnTo>
                    <a:pt x="114" y="336"/>
                  </a:lnTo>
                  <a:lnTo>
                    <a:pt x="116" y="338"/>
                  </a:lnTo>
                  <a:lnTo>
                    <a:pt x="118" y="336"/>
                  </a:lnTo>
                  <a:lnTo>
                    <a:pt x="120" y="334"/>
                  </a:lnTo>
                  <a:lnTo>
                    <a:pt x="120" y="332"/>
                  </a:lnTo>
                  <a:lnTo>
                    <a:pt x="122" y="328"/>
                  </a:lnTo>
                  <a:lnTo>
                    <a:pt x="126" y="326"/>
                  </a:lnTo>
                  <a:lnTo>
                    <a:pt x="134" y="326"/>
                  </a:lnTo>
                  <a:lnTo>
                    <a:pt x="136" y="326"/>
                  </a:lnTo>
                  <a:lnTo>
                    <a:pt x="138" y="324"/>
                  </a:lnTo>
                  <a:lnTo>
                    <a:pt x="140" y="324"/>
                  </a:lnTo>
                  <a:lnTo>
                    <a:pt x="142" y="324"/>
                  </a:lnTo>
                  <a:lnTo>
                    <a:pt x="142" y="326"/>
                  </a:lnTo>
                  <a:lnTo>
                    <a:pt x="144" y="326"/>
                  </a:lnTo>
                  <a:lnTo>
                    <a:pt x="148" y="326"/>
                  </a:lnTo>
                  <a:lnTo>
                    <a:pt x="150" y="326"/>
                  </a:lnTo>
                  <a:lnTo>
                    <a:pt x="154" y="324"/>
                  </a:lnTo>
                  <a:lnTo>
                    <a:pt x="158" y="324"/>
                  </a:lnTo>
                  <a:lnTo>
                    <a:pt x="160" y="324"/>
                  </a:lnTo>
                  <a:lnTo>
                    <a:pt x="162" y="324"/>
                  </a:lnTo>
                  <a:lnTo>
                    <a:pt x="164" y="326"/>
                  </a:lnTo>
                  <a:lnTo>
                    <a:pt x="166" y="324"/>
                  </a:lnTo>
                  <a:lnTo>
                    <a:pt x="174" y="322"/>
                  </a:lnTo>
                  <a:lnTo>
                    <a:pt x="176" y="322"/>
                  </a:lnTo>
                  <a:lnTo>
                    <a:pt x="178" y="320"/>
                  </a:lnTo>
                  <a:lnTo>
                    <a:pt x="180" y="318"/>
                  </a:lnTo>
                  <a:lnTo>
                    <a:pt x="182" y="316"/>
                  </a:lnTo>
                  <a:lnTo>
                    <a:pt x="186" y="314"/>
                  </a:lnTo>
                  <a:lnTo>
                    <a:pt x="186" y="3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0" name="Freeform 1375"/>
            <p:cNvSpPr>
              <a:spLocks/>
            </p:cNvSpPr>
            <p:nvPr/>
          </p:nvSpPr>
          <p:spPr bwMode="auto">
            <a:xfrm>
              <a:off x="5125102" y="1850939"/>
              <a:ext cx="928314" cy="883275"/>
            </a:xfrm>
            <a:custGeom>
              <a:avLst/>
              <a:gdLst/>
              <a:ahLst/>
              <a:cxnLst>
                <a:cxn ang="0">
                  <a:pos x="732" y="344"/>
                </a:cxn>
                <a:cxn ang="0">
                  <a:pos x="736" y="496"/>
                </a:cxn>
                <a:cxn ang="0">
                  <a:pos x="722" y="680"/>
                </a:cxn>
                <a:cxn ang="0">
                  <a:pos x="666" y="692"/>
                </a:cxn>
                <a:cxn ang="0">
                  <a:pos x="464" y="584"/>
                </a:cxn>
                <a:cxn ang="0">
                  <a:pos x="322" y="512"/>
                </a:cxn>
                <a:cxn ang="0">
                  <a:pos x="234" y="538"/>
                </a:cxn>
                <a:cxn ang="0">
                  <a:pos x="186" y="514"/>
                </a:cxn>
                <a:cxn ang="0">
                  <a:pos x="132" y="500"/>
                </a:cxn>
                <a:cxn ang="0">
                  <a:pos x="92" y="454"/>
                </a:cxn>
                <a:cxn ang="0">
                  <a:pos x="58" y="440"/>
                </a:cxn>
                <a:cxn ang="0">
                  <a:pos x="34" y="432"/>
                </a:cxn>
                <a:cxn ang="0">
                  <a:pos x="26" y="414"/>
                </a:cxn>
                <a:cxn ang="0">
                  <a:pos x="0" y="358"/>
                </a:cxn>
                <a:cxn ang="0">
                  <a:pos x="26" y="334"/>
                </a:cxn>
                <a:cxn ang="0">
                  <a:pos x="22" y="312"/>
                </a:cxn>
                <a:cxn ang="0">
                  <a:pos x="30" y="272"/>
                </a:cxn>
                <a:cxn ang="0">
                  <a:pos x="26" y="242"/>
                </a:cxn>
                <a:cxn ang="0">
                  <a:pos x="30" y="212"/>
                </a:cxn>
                <a:cxn ang="0">
                  <a:pos x="24" y="180"/>
                </a:cxn>
                <a:cxn ang="0">
                  <a:pos x="12" y="156"/>
                </a:cxn>
                <a:cxn ang="0">
                  <a:pos x="36" y="144"/>
                </a:cxn>
                <a:cxn ang="0">
                  <a:pos x="56" y="106"/>
                </a:cxn>
                <a:cxn ang="0">
                  <a:pos x="64" y="72"/>
                </a:cxn>
                <a:cxn ang="0">
                  <a:pos x="84" y="56"/>
                </a:cxn>
                <a:cxn ang="0">
                  <a:pos x="116" y="40"/>
                </a:cxn>
                <a:cxn ang="0">
                  <a:pos x="116" y="28"/>
                </a:cxn>
                <a:cxn ang="0">
                  <a:pos x="120" y="0"/>
                </a:cxn>
                <a:cxn ang="0">
                  <a:pos x="144" y="12"/>
                </a:cxn>
                <a:cxn ang="0">
                  <a:pos x="174" y="22"/>
                </a:cxn>
                <a:cxn ang="0">
                  <a:pos x="192" y="16"/>
                </a:cxn>
                <a:cxn ang="0">
                  <a:pos x="210" y="24"/>
                </a:cxn>
                <a:cxn ang="0">
                  <a:pos x="228" y="26"/>
                </a:cxn>
                <a:cxn ang="0">
                  <a:pos x="250" y="38"/>
                </a:cxn>
                <a:cxn ang="0">
                  <a:pos x="280" y="46"/>
                </a:cxn>
                <a:cxn ang="0">
                  <a:pos x="290" y="72"/>
                </a:cxn>
                <a:cxn ang="0">
                  <a:pos x="320" y="104"/>
                </a:cxn>
                <a:cxn ang="0">
                  <a:pos x="346" y="106"/>
                </a:cxn>
                <a:cxn ang="0">
                  <a:pos x="368" y="112"/>
                </a:cxn>
                <a:cxn ang="0">
                  <a:pos x="398" y="122"/>
                </a:cxn>
                <a:cxn ang="0">
                  <a:pos x="424" y="138"/>
                </a:cxn>
                <a:cxn ang="0">
                  <a:pos x="462" y="156"/>
                </a:cxn>
                <a:cxn ang="0">
                  <a:pos x="502" y="122"/>
                </a:cxn>
                <a:cxn ang="0">
                  <a:pos x="502" y="102"/>
                </a:cxn>
                <a:cxn ang="0">
                  <a:pos x="494" y="80"/>
                </a:cxn>
                <a:cxn ang="0">
                  <a:pos x="522" y="40"/>
                </a:cxn>
                <a:cxn ang="0">
                  <a:pos x="552" y="28"/>
                </a:cxn>
                <a:cxn ang="0">
                  <a:pos x="570" y="20"/>
                </a:cxn>
                <a:cxn ang="0">
                  <a:pos x="588" y="20"/>
                </a:cxn>
                <a:cxn ang="0">
                  <a:pos x="614" y="26"/>
                </a:cxn>
                <a:cxn ang="0">
                  <a:pos x="636" y="50"/>
                </a:cxn>
                <a:cxn ang="0">
                  <a:pos x="658" y="56"/>
                </a:cxn>
                <a:cxn ang="0">
                  <a:pos x="680" y="66"/>
                </a:cxn>
                <a:cxn ang="0">
                  <a:pos x="716" y="66"/>
                </a:cxn>
                <a:cxn ang="0">
                  <a:pos x="728" y="78"/>
                </a:cxn>
                <a:cxn ang="0">
                  <a:pos x="722" y="94"/>
                </a:cxn>
                <a:cxn ang="0">
                  <a:pos x="726" y="128"/>
                </a:cxn>
                <a:cxn ang="0">
                  <a:pos x="712" y="158"/>
                </a:cxn>
                <a:cxn ang="0">
                  <a:pos x="718" y="176"/>
                </a:cxn>
                <a:cxn ang="0">
                  <a:pos x="730" y="264"/>
                </a:cxn>
              </a:cxnLst>
              <a:rect l="0" t="0" r="r" b="b"/>
              <a:pathLst>
                <a:path w="742" h="706">
                  <a:moveTo>
                    <a:pt x="730" y="286"/>
                  </a:moveTo>
                  <a:lnTo>
                    <a:pt x="730" y="290"/>
                  </a:lnTo>
                  <a:lnTo>
                    <a:pt x="730" y="300"/>
                  </a:lnTo>
                  <a:lnTo>
                    <a:pt x="732" y="318"/>
                  </a:lnTo>
                  <a:lnTo>
                    <a:pt x="732" y="322"/>
                  </a:lnTo>
                  <a:lnTo>
                    <a:pt x="732" y="324"/>
                  </a:lnTo>
                  <a:lnTo>
                    <a:pt x="732" y="336"/>
                  </a:lnTo>
                  <a:lnTo>
                    <a:pt x="732" y="344"/>
                  </a:lnTo>
                  <a:lnTo>
                    <a:pt x="732" y="348"/>
                  </a:lnTo>
                  <a:lnTo>
                    <a:pt x="734" y="374"/>
                  </a:lnTo>
                  <a:lnTo>
                    <a:pt x="734" y="402"/>
                  </a:lnTo>
                  <a:lnTo>
                    <a:pt x="734" y="424"/>
                  </a:lnTo>
                  <a:lnTo>
                    <a:pt x="734" y="434"/>
                  </a:lnTo>
                  <a:lnTo>
                    <a:pt x="734" y="458"/>
                  </a:lnTo>
                  <a:lnTo>
                    <a:pt x="736" y="474"/>
                  </a:lnTo>
                  <a:lnTo>
                    <a:pt x="736" y="496"/>
                  </a:lnTo>
                  <a:lnTo>
                    <a:pt x="738" y="562"/>
                  </a:lnTo>
                  <a:lnTo>
                    <a:pt x="738" y="576"/>
                  </a:lnTo>
                  <a:lnTo>
                    <a:pt x="738" y="578"/>
                  </a:lnTo>
                  <a:lnTo>
                    <a:pt x="740" y="628"/>
                  </a:lnTo>
                  <a:lnTo>
                    <a:pt x="742" y="680"/>
                  </a:lnTo>
                  <a:lnTo>
                    <a:pt x="740" y="680"/>
                  </a:lnTo>
                  <a:lnTo>
                    <a:pt x="730" y="680"/>
                  </a:lnTo>
                  <a:lnTo>
                    <a:pt x="722" y="680"/>
                  </a:lnTo>
                  <a:lnTo>
                    <a:pt x="720" y="680"/>
                  </a:lnTo>
                  <a:lnTo>
                    <a:pt x="714" y="680"/>
                  </a:lnTo>
                  <a:lnTo>
                    <a:pt x="700" y="680"/>
                  </a:lnTo>
                  <a:lnTo>
                    <a:pt x="694" y="680"/>
                  </a:lnTo>
                  <a:lnTo>
                    <a:pt x="692" y="680"/>
                  </a:lnTo>
                  <a:lnTo>
                    <a:pt x="692" y="686"/>
                  </a:lnTo>
                  <a:lnTo>
                    <a:pt x="692" y="706"/>
                  </a:lnTo>
                  <a:lnTo>
                    <a:pt x="666" y="692"/>
                  </a:lnTo>
                  <a:lnTo>
                    <a:pt x="644" y="680"/>
                  </a:lnTo>
                  <a:lnTo>
                    <a:pt x="610" y="662"/>
                  </a:lnTo>
                  <a:lnTo>
                    <a:pt x="584" y="648"/>
                  </a:lnTo>
                  <a:lnTo>
                    <a:pt x="564" y="638"/>
                  </a:lnTo>
                  <a:lnTo>
                    <a:pt x="544" y="626"/>
                  </a:lnTo>
                  <a:lnTo>
                    <a:pt x="518" y="612"/>
                  </a:lnTo>
                  <a:lnTo>
                    <a:pt x="492" y="600"/>
                  </a:lnTo>
                  <a:lnTo>
                    <a:pt x="464" y="584"/>
                  </a:lnTo>
                  <a:lnTo>
                    <a:pt x="450" y="578"/>
                  </a:lnTo>
                  <a:lnTo>
                    <a:pt x="438" y="572"/>
                  </a:lnTo>
                  <a:lnTo>
                    <a:pt x="418" y="562"/>
                  </a:lnTo>
                  <a:lnTo>
                    <a:pt x="404" y="554"/>
                  </a:lnTo>
                  <a:lnTo>
                    <a:pt x="386" y="546"/>
                  </a:lnTo>
                  <a:lnTo>
                    <a:pt x="384" y="544"/>
                  </a:lnTo>
                  <a:lnTo>
                    <a:pt x="352" y="528"/>
                  </a:lnTo>
                  <a:lnTo>
                    <a:pt x="322" y="512"/>
                  </a:lnTo>
                  <a:lnTo>
                    <a:pt x="306" y="504"/>
                  </a:lnTo>
                  <a:lnTo>
                    <a:pt x="274" y="518"/>
                  </a:lnTo>
                  <a:lnTo>
                    <a:pt x="266" y="524"/>
                  </a:lnTo>
                  <a:lnTo>
                    <a:pt x="258" y="526"/>
                  </a:lnTo>
                  <a:lnTo>
                    <a:pt x="256" y="526"/>
                  </a:lnTo>
                  <a:lnTo>
                    <a:pt x="252" y="530"/>
                  </a:lnTo>
                  <a:lnTo>
                    <a:pt x="250" y="530"/>
                  </a:lnTo>
                  <a:lnTo>
                    <a:pt x="234" y="538"/>
                  </a:lnTo>
                  <a:lnTo>
                    <a:pt x="230" y="540"/>
                  </a:lnTo>
                  <a:lnTo>
                    <a:pt x="226" y="542"/>
                  </a:lnTo>
                  <a:lnTo>
                    <a:pt x="222" y="546"/>
                  </a:lnTo>
                  <a:lnTo>
                    <a:pt x="206" y="532"/>
                  </a:lnTo>
                  <a:lnTo>
                    <a:pt x="192" y="518"/>
                  </a:lnTo>
                  <a:lnTo>
                    <a:pt x="190" y="518"/>
                  </a:lnTo>
                  <a:lnTo>
                    <a:pt x="190" y="516"/>
                  </a:lnTo>
                  <a:lnTo>
                    <a:pt x="186" y="514"/>
                  </a:lnTo>
                  <a:lnTo>
                    <a:pt x="182" y="514"/>
                  </a:lnTo>
                  <a:lnTo>
                    <a:pt x="180" y="514"/>
                  </a:lnTo>
                  <a:lnTo>
                    <a:pt x="168" y="510"/>
                  </a:lnTo>
                  <a:lnTo>
                    <a:pt x="158" y="508"/>
                  </a:lnTo>
                  <a:lnTo>
                    <a:pt x="144" y="504"/>
                  </a:lnTo>
                  <a:lnTo>
                    <a:pt x="138" y="502"/>
                  </a:lnTo>
                  <a:lnTo>
                    <a:pt x="134" y="502"/>
                  </a:lnTo>
                  <a:lnTo>
                    <a:pt x="132" y="500"/>
                  </a:lnTo>
                  <a:lnTo>
                    <a:pt x="130" y="500"/>
                  </a:lnTo>
                  <a:lnTo>
                    <a:pt x="116" y="496"/>
                  </a:lnTo>
                  <a:lnTo>
                    <a:pt x="114" y="496"/>
                  </a:lnTo>
                  <a:lnTo>
                    <a:pt x="112" y="490"/>
                  </a:lnTo>
                  <a:lnTo>
                    <a:pt x="104" y="474"/>
                  </a:lnTo>
                  <a:lnTo>
                    <a:pt x="104" y="470"/>
                  </a:lnTo>
                  <a:lnTo>
                    <a:pt x="96" y="456"/>
                  </a:lnTo>
                  <a:lnTo>
                    <a:pt x="92" y="454"/>
                  </a:lnTo>
                  <a:lnTo>
                    <a:pt x="86" y="452"/>
                  </a:lnTo>
                  <a:lnTo>
                    <a:pt x="84" y="450"/>
                  </a:lnTo>
                  <a:lnTo>
                    <a:pt x="76" y="448"/>
                  </a:lnTo>
                  <a:lnTo>
                    <a:pt x="70" y="448"/>
                  </a:lnTo>
                  <a:lnTo>
                    <a:pt x="70" y="446"/>
                  </a:lnTo>
                  <a:lnTo>
                    <a:pt x="62" y="444"/>
                  </a:lnTo>
                  <a:lnTo>
                    <a:pt x="58" y="442"/>
                  </a:lnTo>
                  <a:lnTo>
                    <a:pt x="58" y="440"/>
                  </a:lnTo>
                  <a:lnTo>
                    <a:pt x="56" y="442"/>
                  </a:lnTo>
                  <a:lnTo>
                    <a:pt x="50" y="444"/>
                  </a:lnTo>
                  <a:lnTo>
                    <a:pt x="46" y="446"/>
                  </a:lnTo>
                  <a:lnTo>
                    <a:pt x="42" y="444"/>
                  </a:lnTo>
                  <a:lnTo>
                    <a:pt x="38" y="440"/>
                  </a:lnTo>
                  <a:lnTo>
                    <a:pt x="36" y="438"/>
                  </a:lnTo>
                  <a:lnTo>
                    <a:pt x="36" y="436"/>
                  </a:lnTo>
                  <a:lnTo>
                    <a:pt x="34" y="432"/>
                  </a:lnTo>
                  <a:lnTo>
                    <a:pt x="34" y="430"/>
                  </a:lnTo>
                  <a:lnTo>
                    <a:pt x="32" y="428"/>
                  </a:lnTo>
                  <a:lnTo>
                    <a:pt x="30" y="428"/>
                  </a:lnTo>
                  <a:lnTo>
                    <a:pt x="26" y="426"/>
                  </a:lnTo>
                  <a:lnTo>
                    <a:pt x="26" y="424"/>
                  </a:lnTo>
                  <a:lnTo>
                    <a:pt x="26" y="420"/>
                  </a:lnTo>
                  <a:lnTo>
                    <a:pt x="26" y="416"/>
                  </a:lnTo>
                  <a:lnTo>
                    <a:pt x="26" y="414"/>
                  </a:lnTo>
                  <a:lnTo>
                    <a:pt x="26" y="404"/>
                  </a:lnTo>
                  <a:lnTo>
                    <a:pt x="26" y="400"/>
                  </a:lnTo>
                  <a:lnTo>
                    <a:pt x="26" y="398"/>
                  </a:lnTo>
                  <a:lnTo>
                    <a:pt x="20" y="388"/>
                  </a:lnTo>
                  <a:lnTo>
                    <a:pt x="16" y="384"/>
                  </a:lnTo>
                  <a:lnTo>
                    <a:pt x="4" y="362"/>
                  </a:lnTo>
                  <a:lnTo>
                    <a:pt x="2" y="360"/>
                  </a:lnTo>
                  <a:lnTo>
                    <a:pt x="0" y="358"/>
                  </a:lnTo>
                  <a:lnTo>
                    <a:pt x="0" y="356"/>
                  </a:lnTo>
                  <a:lnTo>
                    <a:pt x="0" y="354"/>
                  </a:lnTo>
                  <a:lnTo>
                    <a:pt x="2" y="350"/>
                  </a:lnTo>
                  <a:lnTo>
                    <a:pt x="4" y="346"/>
                  </a:lnTo>
                  <a:lnTo>
                    <a:pt x="14" y="344"/>
                  </a:lnTo>
                  <a:lnTo>
                    <a:pt x="18" y="342"/>
                  </a:lnTo>
                  <a:lnTo>
                    <a:pt x="24" y="338"/>
                  </a:lnTo>
                  <a:lnTo>
                    <a:pt x="26" y="334"/>
                  </a:lnTo>
                  <a:lnTo>
                    <a:pt x="26" y="330"/>
                  </a:lnTo>
                  <a:lnTo>
                    <a:pt x="26" y="326"/>
                  </a:lnTo>
                  <a:lnTo>
                    <a:pt x="26" y="324"/>
                  </a:lnTo>
                  <a:lnTo>
                    <a:pt x="26" y="322"/>
                  </a:lnTo>
                  <a:lnTo>
                    <a:pt x="26" y="320"/>
                  </a:lnTo>
                  <a:lnTo>
                    <a:pt x="24" y="318"/>
                  </a:lnTo>
                  <a:lnTo>
                    <a:pt x="22" y="314"/>
                  </a:lnTo>
                  <a:lnTo>
                    <a:pt x="22" y="312"/>
                  </a:lnTo>
                  <a:lnTo>
                    <a:pt x="22" y="308"/>
                  </a:lnTo>
                  <a:lnTo>
                    <a:pt x="20" y="302"/>
                  </a:lnTo>
                  <a:lnTo>
                    <a:pt x="20" y="298"/>
                  </a:lnTo>
                  <a:lnTo>
                    <a:pt x="22" y="292"/>
                  </a:lnTo>
                  <a:lnTo>
                    <a:pt x="24" y="286"/>
                  </a:lnTo>
                  <a:lnTo>
                    <a:pt x="26" y="284"/>
                  </a:lnTo>
                  <a:lnTo>
                    <a:pt x="28" y="282"/>
                  </a:lnTo>
                  <a:lnTo>
                    <a:pt x="30" y="272"/>
                  </a:lnTo>
                  <a:lnTo>
                    <a:pt x="32" y="272"/>
                  </a:lnTo>
                  <a:lnTo>
                    <a:pt x="32" y="270"/>
                  </a:lnTo>
                  <a:lnTo>
                    <a:pt x="28" y="262"/>
                  </a:lnTo>
                  <a:lnTo>
                    <a:pt x="26" y="256"/>
                  </a:lnTo>
                  <a:lnTo>
                    <a:pt x="26" y="254"/>
                  </a:lnTo>
                  <a:lnTo>
                    <a:pt x="26" y="250"/>
                  </a:lnTo>
                  <a:lnTo>
                    <a:pt x="26" y="246"/>
                  </a:lnTo>
                  <a:lnTo>
                    <a:pt x="26" y="242"/>
                  </a:lnTo>
                  <a:lnTo>
                    <a:pt x="28" y="234"/>
                  </a:lnTo>
                  <a:lnTo>
                    <a:pt x="28" y="230"/>
                  </a:lnTo>
                  <a:lnTo>
                    <a:pt x="30" y="226"/>
                  </a:lnTo>
                  <a:lnTo>
                    <a:pt x="30" y="224"/>
                  </a:lnTo>
                  <a:lnTo>
                    <a:pt x="30" y="222"/>
                  </a:lnTo>
                  <a:lnTo>
                    <a:pt x="30" y="220"/>
                  </a:lnTo>
                  <a:lnTo>
                    <a:pt x="30" y="214"/>
                  </a:lnTo>
                  <a:lnTo>
                    <a:pt x="30" y="212"/>
                  </a:lnTo>
                  <a:lnTo>
                    <a:pt x="30" y="208"/>
                  </a:lnTo>
                  <a:lnTo>
                    <a:pt x="30" y="206"/>
                  </a:lnTo>
                  <a:lnTo>
                    <a:pt x="30" y="204"/>
                  </a:lnTo>
                  <a:lnTo>
                    <a:pt x="30" y="202"/>
                  </a:lnTo>
                  <a:lnTo>
                    <a:pt x="28" y="190"/>
                  </a:lnTo>
                  <a:lnTo>
                    <a:pt x="28" y="188"/>
                  </a:lnTo>
                  <a:lnTo>
                    <a:pt x="26" y="184"/>
                  </a:lnTo>
                  <a:lnTo>
                    <a:pt x="24" y="180"/>
                  </a:lnTo>
                  <a:lnTo>
                    <a:pt x="24" y="178"/>
                  </a:lnTo>
                  <a:lnTo>
                    <a:pt x="22" y="176"/>
                  </a:lnTo>
                  <a:lnTo>
                    <a:pt x="20" y="170"/>
                  </a:lnTo>
                  <a:lnTo>
                    <a:pt x="20" y="168"/>
                  </a:lnTo>
                  <a:lnTo>
                    <a:pt x="14" y="162"/>
                  </a:lnTo>
                  <a:lnTo>
                    <a:pt x="14" y="160"/>
                  </a:lnTo>
                  <a:lnTo>
                    <a:pt x="14" y="158"/>
                  </a:lnTo>
                  <a:lnTo>
                    <a:pt x="12" y="156"/>
                  </a:lnTo>
                  <a:lnTo>
                    <a:pt x="10" y="154"/>
                  </a:lnTo>
                  <a:lnTo>
                    <a:pt x="14" y="152"/>
                  </a:lnTo>
                  <a:lnTo>
                    <a:pt x="18" y="148"/>
                  </a:lnTo>
                  <a:lnTo>
                    <a:pt x="20" y="148"/>
                  </a:lnTo>
                  <a:lnTo>
                    <a:pt x="26" y="146"/>
                  </a:lnTo>
                  <a:lnTo>
                    <a:pt x="30" y="144"/>
                  </a:lnTo>
                  <a:lnTo>
                    <a:pt x="34" y="144"/>
                  </a:lnTo>
                  <a:lnTo>
                    <a:pt x="36" y="144"/>
                  </a:lnTo>
                  <a:lnTo>
                    <a:pt x="36" y="142"/>
                  </a:lnTo>
                  <a:lnTo>
                    <a:pt x="42" y="136"/>
                  </a:lnTo>
                  <a:lnTo>
                    <a:pt x="46" y="130"/>
                  </a:lnTo>
                  <a:lnTo>
                    <a:pt x="52" y="124"/>
                  </a:lnTo>
                  <a:lnTo>
                    <a:pt x="54" y="122"/>
                  </a:lnTo>
                  <a:lnTo>
                    <a:pt x="56" y="116"/>
                  </a:lnTo>
                  <a:lnTo>
                    <a:pt x="58" y="114"/>
                  </a:lnTo>
                  <a:lnTo>
                    <a:pt x="56" y="106"/>
                  </a:lnTo>
                  <a:lnTo>
                    <a:pt x="54" y="100"/>
                  </a:lnTo>
                  <a:lnTo>
                    <a:pt x="52" y="94"/>
                  </a:lnTo>
                  <a:lnTo>
                    <a:pt x="50" y="88"/>
                  </a:lnTo>
                  <a:lnTo>
                    <a:pt x="52" y="84"/>
                  </a:lnTo>
                  <a:lnTo>
                    <a:pt x="58" y="74"/>
                  </a:lnTo>
                  <a:lnTo>
                    <a:pt x="60" y="72"/>
                  </a:lnTo>
                  <a:lnTo>
                    <a:pt x="62" y="72"/>
                  </a:lnTo>
                  <a:lnTo>
                    <a:pt x="64" y="72"/>
                  </a:lnTo>
                  <a:lnTo>
                    <a:pt x="66" y="72"/>
                  </a:lnTo>
                  <a:lnTo>
                    <a:pt x="66" y="74"/>
                  </a:lnTo>
                  <a:lnTo>
                    <a:pt x="68" y="74"/>
                  </a:lnTo>
                  <a:lnTo>
                    <a:pt x="70" y="72"/>
                  </a:lnTo>
                  <a:lnTo>
                    <a:pt x="74" y="66"/>
                  </a:lnTo>
                  <a:lnTo>
                    <a:pt x="80" y="62"/>
                  </a:lnTo>
                  <a:lnTo>
                    <a:pt x="84" y="58"/>
                  </a:lnTo>
                  <a:lnTo>
                    <a:pt x="84" y="56"/>
                  </a:lnTo>
                  <a:lnTo>
                    <a:pt x="86" y="56"/>
                  </a:lnTo>
                  <a:lnTo>
                    <a:pt x="88" y="52"/>
                  </a:lnTo>
                  <a:lnTo>
                    <a:pt x="94" y="50"/>
                  </a:lnTo>
                  <a:lnTo>
                    <a:pt x="100" y="48"/>
                  </a:lnTo>
                  <a:lnTo>
                    <a:pt x="102" y="46"/>
                  </a:lnTo>
                  <a:lnTo>
                    <a:pt x="108" y="44"/>
                  </a:lnTo>
                  <a:lnTo>
                    <a:pt x="112" y="42"/>
                  </a:lnTo>
                  <a:lnTo>
                    <a:pt x="116" y="40"/>
                  </a:lnTo>
                  <a:lnTo>
                    <a:pt x="118" y="38"/>
                  </a:lnTo>
                  <a:lnTo>
                    <a:pt x="120" y="38"/>
                  </a:lnTo>
                  <a:lnTo>
                    <a:pt x="120" y="36"/>
                  </a:lnTo>
                  <a:lnTo>
                    <a:pt x="120" y="34"/>
                  </a:lnTo>
                  <a:lnTo>
                    <a:pt x="118" y="32"/>
                  </a:lnTo>
                  <a:lnTo>
                    <a:pt x="118" y="30"/>
                  </a:lnTo>
                  <a:lnTo>
                    <a:pt x="116" y="30"/>
                  </a:lnTo>
                  <a:lnTo>
                    <a:pt x="116" y="28"/>
                  </a:lnTo>
                  <a:lnTo>
                    <a:pt x="116" y="26"/>
                  </a:lnTo>
                  <a:lnTo>
                    <a:pt x="116" y="16"/>
                  </a:lnTo>
                  <a:lnTo>
                    <a:pt x="118" y="12"/>
                  </a:lnTo>
                  <a:lnTo>
                    <a:pt x="118" y="8"/>
                  </a:lnTo>
                  <a:lnTo>
                    <a:pt x="118" y="6"/>
                  </a:lnTo>
                  <a:lnTo>
                    <a:pt x="120" y="4"/>
                  </a:lnTo>
                  <a:lnTo>
                    <a:pt x="120" y="2"/>
                  </a:lnTo>
                  <a:lnTo>
                    <a:pt x="120" y="0"/>
                  </a:lnTo>
                  <a:lnTo>
                    <a:pt x="124" y="4"/>
                  </a:lnTo>
                  <a:lnTo>
                    <a:pt x="130" y="6"/>
                  </a:lnTo>
                  <a:lnTo>
                    <a:pt x="132" y="6"/>
                  </a:lnTo>
                  <a:lnTo>
                    <a:pt x="134" y="6"/>
                  </a:lnTo>
                  <a:lnTo>
                    <a:pt x="136" y="8"/>
                  </a:lnTo>
                  <a:lnTo>
                    <a:pt x="140" y="10"/>
                  </a:lnTo>
                  <a:lnTo>
                    <a:pt x="142" y="12"/>
                  </a:lnTo>
                  <a:lnTo>
                    <a:pt x="144" y="12"/>
                  </a:lnTo>
                  <a:lnTo>
                    <a:pt x="148" y="16"/>
                  </a:lnTo>
                  <a:lnTo>
                    <a:pt x="152" y="18"/>
                  </a:lnTo>
                  <a:lnTo>
                    <a:pt x="154" y="18"/>
                  </a:lnTo>
                  <a:lnTo>
                    <a:pt x="156" y="20"/>
                  </a:lnTo>
                  <a:lnTo>
                    <a:pt x="164" y="22"/>
                  </a:lnTo>
                  <a:lnTo>
                    <a:pt x="166" y="22"/>
                  </a:lnTo>
                  <a:lnTo>
                    <a:pt x="172" y="22"/>
                  </a:lnTo>
                  <a:lnTo>
                    <a:pt x="174" y="22"/>
                  </a:lnTo>
                  <a:lnTo>
                    <a:pt x="176" y="22"/>
                  </a:lnTo>
                  <a:lnTo>
                    <a:pt x="178" y="22"/>
                  </a:lnTo>
                  <a:lnTo>
                    <a:pt x="180" y="22"/>
                  </a:lnTo>
                  <a:lnTo>
                    <a:pt x="184" y="20"/>
                  </a:lnTo>
                  <a:lnTo>
                    <a:pt x="186" y="20"/>
                  </a:lnTo>
                  <a:lnTo>
                    <a:pt x="190" y="18"/>
                  </a:lnTo>
                  <a:lnTo>
                    <a:pt x="190" y="16"/>
                  </a:lnTo>
                  <a:lnTo>
                    <a:pt x="192" y="16"/>
                  </a:lnTo>
                  <a:lnTo>
                    <a:pt x="194" y="16"/>
                  </a:lnTo>
                  <a:lnTo>
                    <a:pt x="196" y="16"/>
                  </a:lnTo>
                  <a:lnTo>
                    <a:pt x="200" y="16"/>
                  </a:lnTo>
                  <a:lnTo>
                    <a:pt x="200" y="18"/>
                  </a:lnTo>
                  <a:lnTo>
                    <a:pt x="206" y="20"/>
                  </a:lnTo>
                  <a:lnTo>
                    <a:pt x="208" y="22"/>
                  </a:lnTo>
                  <a:lnTo>
                    <a:pt x="210" y="22"/>
                  </a:lnTo>
                  <a:lnTo>
                    <a:pt x="210" y="24"/>
                  </a:lnTo>
                  <a:lnTo>
                    <a:pt x="212" y="24"/>
                  </a:lnTo>
                  <a:lnTo>
                    <a:pt x="216" y="24"/>
                  </a:lnTo>
                  <a:lnTo>
                    <a:pt x="218" y="24"/>
                  </a:lnTo>
                  <a:lnTo>
                    <a:pt x="220" y="24"/>
                  </a:lnTo>
                  <a:lnTo>
                    <a:pt x="224" y="24"/>
                  </a:lnTo>
                  <a:lnTo>
                    <a:pt x="226" y="24"/>
                  </a:lnTo>
                  <a:lnTo>
                    <a:pt x="226" y="26"/>
                  </a:lnTo>
                  <a:lnTo>
                    <a:pt x="228" y="26"/>
                  </a:lnTo>
                  <a:lnTo>
                    <a:pt x="230" y="26"/>
                  </a:lnTo>
                  <a:lnTo>
                    <a:pt x="232" y="26"/>
                  </a:lnTo>
                  <a:lnTo>
                    <a:pt x="236" y="28"/>
                  </a:lnTo>
                  <a:lnTo>
                    <a:pt x="238" y="28"/>
                  </a:lnTo>
                  <a:lnTo>
                    <a:pt x="244" y="32"/>
                  </a:lnTo>
                  <a:lnTo>
                    <a:pt x="248" y="36"/>
                  </a:lnTo>
                  <a:lnTo>
                    <a:pt x="248" y="38"/>
                  </a:lnTo>
                  <a:lnTo>
                    <a:pt x="250" y="38"/>
                  </a:lnTo>
                  <a:lnTo>
                    <a:pt x="254" y="38"/>
                  </a:lnTo>
                  <a:lnTo>
                    <a:pt x="256" y="40"/>
                  </a:lnTo>
                  <a:lnTo>
                    <a:pt x="258" y="40"/>
                  </a:lnTo>
                  <a:lnTo>
                    <a:pt x="262" y="42"/>
                  </a:lnTo>
                  <a:lnTo>
                    <a:pt x="264" y="42"/>
                  </a:lnTo>
                  <a:lnTo>
                    <a:pt x="270" y="42"/>
                  </a:lnTo>
                  <a:lnTo>
                    <a:pt x="278" y="44"/>
                  </a:lnTo>
                  <a:lnTo>
                    <a:pt x="280" y="46"/>
                  </a:lnTo>
                  <a:lnTo>
                    <a:pt x="282" y="46"/>
                  </a:lnTo>
                  <a:lnTo>
                    <a:pt x="286" y="48"/>
                  </a:lnTo>
                  <a:lnTo>
                    <a:pt x="290" y="58"/>
                  </a:lnTo>
                  <a:lnTo>
                    <a:pt x="288" y="64"/>
                  </a:lnTo>
                  <a:lnTo>
                    <a:pt x="288" y="66"/>
                  </a:lnTo>
                  <a:lnTo>
                    <a:pt x="288" y="68"/>
                  </a:lnTo>
                  <a:lnTo>
                    <a:pt x="290" y="70"/>
                  </a:lnTo>
                  <a:lnTo>
                    <a:pt x="290" y="72"/>
                  </a:lnTo>
                  <a:lnTo>
                    <a:pt x="294" y="84"/>
                  </a:lnTo>
                  <a:lnTo>
                    <a:pt x="300" y="92"/>
                  </a:lnTo>
                  <a:lnTo>
                    <a:pt x="302" y="96"/>
                  </a:lnTo>
                  <a:lnTo>
                    <a:pt x="306" y="98"/>
                  </a:lnTo>
                  <a:lnTo>
                    <a:pt x="310" y="100"/>
                  </a:lnTo>
                  <a:lnTo>
                    <a:pt x="312" y="100"/>
                  </a:lnTo>
                  <a:lnTo>
                    <a:pt x="316" y="102"/>
                  </a:lnTo>
                  <a:lnTo>
                    <a:pt x="320" y="104"/>
                  </a:lnTo>
                  <a:lnTo>
                    <a:pt x="322" y="104"/>
                  </a:lnTo>
                  <a:lnTo>
                    <a:pt x="324" y="106"/>
                  </a:lnTo>
                  <a:lnTo>
                    <a:pt x="326" y="106"/>
                  </a:lnTo>
                  <a:lnTo>
                    <a:pt x="328" y="106"/>
                  </a:lnTo>
                  <a:lnTo>
                    <a:pt x="340" y="106"/>
                  </a:lnTo>
                  <a:lnTo>
                    <a:pt x="342" y="106"/>
                  </a:lnTo>
                  <a:lnTo>
                    <a:pt x="344" y="106"/>
                  </a:lnTo>
                  <a:lnTo>
                    <a:pt x="346" y="106"/>
                  </a:lnTo>
                  <a:lnTo>
                    <a:pt x="348" y="106"/>
                  </a:lnTo>
                  <a:lnTo>
                    <a:pt x="350" y="106"/>
                  </a:lnTo>
                  <a:lnTo>
                    <a:pt x="352" y="106"/>
                  </a:lnTo>
                  <a:lnTo>
                    <a:pt x="358" y="108"/>
                  </a:lnTo>
                  <a:lnTo>
                    <a:pt x="362" y="110"/>
                  </a:lnTo>
                  <a:lnTo>
                    <a:pt x="364" y="110"/>
                  </a:lnTo>
                  <a:lnTo>
                    <a:pt x="366" y="112"/>
                  </a:lnTo>
                  <a:lnTo>
                    <a:pt x="368" y="112"/>
                  </a:lnTo>
                  <a:lnTo>
                    <a:pt x="374" y="112"/>
                  </a:lnTo>
                  <a:lnTo>
                    <a:pt x="378" y="114"/>
                  </a:lnTo>
                  <a:lnTo>
                    <a:pt x="380" y="114"/>
                  </a:lnTo>
                  <a:lnTo>
                    <a:pt x="380" y="116"/>
                  </a:lnTo>
                  <a:lnTo>
                    <a:pt x="382" y="116"/>
                  </a:lnTo>
                  <a:lnTo>
                    <a:pt x="384" y="118"/>
                  </a:lnTo>
                  <a:lnTo>
                    <a:pt x="388" y="118"/>
                  </a:lnTo>
                  <a:lnTo>
                    <a:pt x="398" y="122"/>
                  </a:lnTo>
                  <a:lnTo>
                    <a:pt x="402" y="124"/>
                  </a:lnTo>
                  <a:lnTo>
                    <a:pt x="404" y="126"/>
                  </a:lnTo>
                  <a:lnTo>
                    <a:pt x="410" y="128"/>
                  </a:lnTo>
                  <a:lnTo>
                    <a:pt x="416" y="130"/>
                  </a:lnTo>
                  <a:lnTo>
                    <a:pt x="418" y="132"/>
                  </a:lnTo>
                  <a:lnTo>
                    <a:pt x="420" y="134"/>
                  </a:lnTo>
                  <a:lnTo>
                    <a:pt x="422" y="138"/>
                  </a:lnTo>
                  <a:lnTo>
                    <a:pt x="424" y="138"/>
                  </a:lnTo>
                  <a:lnTo>
                    <a:pt x="434" y="146"/>
                  </a:lnTo>
                  <a:lnTo>
                    <a:pt x="440" y="150"/>
                  </a:lnTo>
                  <a:lnTo>
                    <a:pt x="442" y="152"/>
                  </a:lnTo>
                  <a:lnTo>
                    <a:pt x="448" y="154"/>
                  </a:lnTo>
                  <a:lnTo>
                    <a:pt x="450" y="156"/>
                  </a:lnTo>
                  <a:lnTo>
                    <a:pt x="452" y="156"/>
                  </a:lnTo>
                  <a:lnTo>
                    <a:pt x="460" y="156"/>
                  </a:lnTo>
                  <a:lnTo>
                    <a:pt x="462" y="156"/>
                  </a:lnTo>
                  <a:lnTo>
                    <a:pt x="466" y="154"/>
                  </a:lnTo>
                  <a:lnTo>
                    <a:pt x="468" y="154"/>
                  </a:lnTo>
                  <a:lnTo>
                    <a:pt x="480" y="148"/>
                  </a:lnTo>
                  <a:lnTo>
                    <a:pt x="486" y="144"/>
                  </a:lnTo>
                  <a:lnTo>
                    <a:pt x="492" y="138"/>
                  </a:lnTo>
                  <a:lnTo>
                    <a:pt x="498" y="128"/>
                  </a:lnTo>
                  <a:lnTo>
                    <a:pt x="500" y="126"/>
                  </a:lnTo>
                  <a:lnTo>
                    <a:pt x="502" y="122"/>
                  </a:lnTo>
                  <a:lnTo>
                    <a:pt x="504" y="120"/>
                  </a:lnTo>
                  <a:lnTo>
                    <a:pt x="504" y="118"/>
                  </a:lnTo>
                  <a:lnTo>
                    <a:pt x="504" y="116"/>
                  </a:lnTo>
                  <a:lnTo>
                    <a:pt x="504" y="114"/>
                  </a:lnTo>
                  <a:lnTo>
                    <a:pt x="504" y="110"/>
                  </a:lnTo>
                  <a:lnTo>
                    <a:pt x="504" y="108"/>
                  </a:lnTo>
                  <a:lnTo>
                    <a:pt x="502" y="104"/>
                  </a:lnTo>
                  <a:lnTo>
                    <a:pt x="502" y="102"/>
                  </a:lnTo>
                  <a:lnTo>
                    <a:pt x="502" y="100"/>
                  </a:lnTo>
                  <a:lnTo>
                    <a:pt x="500" y="100"/>
                  </a:lnTo>
                  <a:lnTo>
                    <a:pt x="498" y="98"/>
                  </a:lnTo>
                  <a:lnTo>
                    <a:pt x="496" y="94"/>
                  </a:lnTo>
                  <a:lnTo>
                    <a:pt x="496" y="92"/>
                  </a:lnTo>
                  <a:lnTo>
                    <a:pt x="496" y="90"/>
                  </a:lnTo>
                  <a:lnTo>
                    <a:pt x="494" y="82"/>
                  </a:lnTo>
                  <a:lnTo>
                    <a:pt x="494" y="80"/>
                  </a:lnTo>
                  <a:lnTo>
                    <a:pt x="494" y="78"/>
                  </a:lnTo>
                  <a:lnTo>
                    <a:pt x="494" y="70"/>
                  </a:lnTo>
                  <a:lnTo>
                    <a:pt x="494" y="68"/>
                  </a:lnTo>
                  <a:lnTo>
                    <a:pt x="498" y="64"/>
                  </a:lnTo>
                  <a:lnTo>
                    <a:pt x="500" y="60"/>
                  </a:lnTo>
                  <a:lnTo>
                    <a:pt x="502" y="58"/>
                  </a:lnTo>
                  <a:lnTo>
                    <a:pt x="514" y="46"/>
                  </a:lnTo>
                  <a:lnTo>
                    <a:pt x="522" y="40"/>
                  </a:lnTo>
                  <a:lnTo>
                    <a:pt x="524" y="38"/>
                  </a:lnTo>
                  <a:lnTo>
                    <a:pt x="528" y="36"/>
                  </a:lnTo>
                  <a:lnTo>
                    <a:pt x="538" y="32"/>
                  </a:lnTo>
                  <a:lnTo>
                    <a:pt x="540" y="30"/>
                  </a:lnTo>
                  <a:lnTo>
                    <a:pt x="546" y="28"/>
                  </a:lnTo>
                  <a:lnTo>
                    <a:pt x="548" y="28"/>
                  </a:lnTo>
                  <a:lnTo>
                    <a:pt x="550" y="28"/>
                  </a:lnTo>
                  <a:lnTo>
                    <a:pt x="552" y="28"/>
                  </a:lnTo>
                  <a:lnTo>
                    <a:pt x="556" y="28"/>
                  </a:lnTo>
                  <a:lnTo>
                    <a:pt x="558" y="28"/>
                  </a:lnTo>
                  <a:lnTo>
                    <a:pt x="560" y="28"/>
                  </a:lnTo>
                  <a:lnTo>
                    <a:pt x="562" y="26"/>
                  </a:lnTo>
                  <a:lnTo>
                    <a:pt x="564" y="26"/>
                  </a:lnTo>
                  <a:lnTo>
                    <a:pt x="564" y="24"/>
                  </a:lnTo>
                  <a:lnTo>
                    <a:pt x="566" y="24"/>
                  </a:lnTo>
                  <a:lnTo>
                    <a:pt x="570" y="20"/>
                  </a:lnTo>
                  <a:lnTo>
                    <a:pt x="574" y="20"/>
                  </a:lnTo>
                  <a:lnTo>
                    <a:pt x="576" y="20"/>
                  </a:lnTo>
                  <a:lnTo>
                    <a:pt x="578" y="20"/>
                  </a:lnTo>
                  <a:lnTo>
                    <a:pt x="580" y="22"/>
                  </a:lnTo>
                  <a:lnTo>
                    <a:pt x="582" y="22"/>
                  </a:lnTo>
                  <a:lnTo>
                    <a:pt x="584" y="22"/>
                  </a:lnTo>
                  <a:lnTo>
                    <a:pt x="586" y="20"/>
                  </a:lnTo>
                  <a:lnTo>
                    <a:pt x="588" y="20"/>
                  </a:lnTo>
                  <a:lnTo>
                    <a:pt x="590" y="20"/>
                  </a:lnTo>
                  <a:lnTo>
                    <a:pt x="596" y="22"/>
                  </a:lnTo>
                  <a:lnTo>
                    <a:pt x="602" y="22"/>
                  </a:lnTo>
                  <a:lnTo>
                    <a:pt x="604" y="24"/>
                  </a:lnTo>
                  <a:lnTo>
                    <a:pt x="606" y="24"/>
                  </a:lnTo>
                  <a:lnTo>
                    <a:pt x="610" y="26"/>
                  </a:lnTo>
                  <a:lnTo>
                    <a:pt x="612" y="26"/>
                  </a:lnTo>
                  <a:lnTo>
                    <a:pt x="614" y="26"/>
                  </a:lnTo>
                  <a:lnTo>
                    <a:pt x="624" y="30"/>
                  </a:lnTo>
                  <a:lnTo>
                    <a:pt x="626" y="32"/>
                  </a:lnTo>
                  <a:lnTo>
                    <a:pt x="628" y="32"/>
                  </a:lnTo>
                  <a:lnTo>
                    <a:pt x="630" y="32"/>
                  </a:lnTo>
                  <a:lnTo>
                    <a:pt x="632" y="32"/>
                  </a:lnTo>
                  <a:lnTo>
                    <a:pt x="638" y="34"/>
                  </a:lnTo>
                  <a:lnTo>
                    <a:pt x="636" y="36"/>
                  </a:lnTo>
                  <a:lnTo>
                    <a:pt x="636" y="50"/>
                  </a:lnTo>
                  <a:lnTo>
                    <a:pt x="638" y="50"/>
                  </a:lnTo>
                  <a:lnTo>
                    <a:pt x="640" y="52"/>
                  </a:lnTo>
                  <a:lnTo>
                    <a:pt x="642" y="52"/>
                  </a:lnTo>
                  <a:lnTo>
                    <a:pt x="644" y="56"/>
                  </a:lnTo>
                  <a:lnTo>
                    <a:pt x="646" y="56"/>
                  </a:lnTo>
                  <a:lnTo>
                    <a:pt x="652" y="56"/>
                  </a:lnTo>
                  <a:lnTo>
                    <a:pt x="654" y="56"/>
                  </a:lnTo>
                  <a:lnTo>
                    <a:pt x="658" y="56"/>
                  </a:lnTo>
                  <a:lnTo>
                    <a:pt x="662" y="56"/>
                  </a:lnTo>
                  <a:lnTo>
                    <a:pt x="666" y="56"/>
                  </a:lnTo>
                  <a:lnTo>
                    <a:pt x="668" y="58"/>
                  </a:lnTo>
                  <a:lnTo>
                    <a:pt x="676" y="60"/>
                  </a:lnTo>
                  <a:lnTo>
                    <a:pt x="678" y="62"/>
                  </a:lnTo>
                  <a:lnTo>
                    <a:pt x="676" y="62"/>
                  </a:lnTo>
                  <a:lnTo>
                    <a:pt x="678" y="64"/>
                  </a:lnTo>
                  <a:lnTo>
                    <a:pt x="680" y="66"/>
                  </a:lnTo>
                  <a:lnTo>
                    <a:pt x="682" y="66"/>
                  </a:lnTo>
                  <a:lnTo>
                    <a:pt x="702" y="66"/>
                  </a:lnTo>
                  <a:lnTo>
                    <a:pt x="704" y="66"/>
                  </a:lnTo>
                  <a:lnTo>
                    <a:pt x="706" y="66"/>
                  </a:lnTo>
                  <a:lnTo>
                    <a:pt x="708" y="64"/>
                  </a:lnTo>
                  <a:lnTo>
                    <a:pt x="712" y="64"/>
                  </a:lnTo>
                  <a:lnTo>
                    <a:pt x="712" y="66"/>
                  </a:lnTo>
                  <a:lnTo>
                    <a:pt x="716" y="66"/>
                  </a:lnTo>
                  <a:lnTo>
                    <a:pt x="720" y="66"/>
                  </a:lnTo>
                  <a:lnTo>
                    <a:pt x="722" y="66"/>
                  </a:lnTo>
                  <a:lnTo>
                    <a:pt x="722" y="68"/>
                  </a:lnTo>
                  <a:lnTo>
                    <a:pt x="724" y="68"/>
                  </a:lnTo>
                  <a:lnTo>
                    <a:pt x="724" y="70"/>
                  </a:lnTo>
                  <a:lnTo>
                    <a:pt x="724" y="72"/>
                  </a:lnTo>
                  <a:lnTo>
                    <a:pt x="726" y="76"/>
                  </a:lnTo>
                  <a:lnTo>
                    <a:pt x="728" y="78"/>
                  </a:lnTo>
                  <a:lnTo>
                    <a:pt x="730" y="82"/>
                  </a:lnTo>
                  <a:lnTo>
                    <a:pt x="730" y="84"/>
                  </a:lnTo>
                  <a:lnTo>
                    <a:pt x="728" y="86"/>
                  </a:lnTo>
                  <a:lnTo>
                    <a:pt x="726" y="86"/>
                  </a:lnTo>
                  <a:lnTo>
                    <a:pt x="726" y="88"/>
                  </a:lnTo>
                  <a:lnTo>
                    <a:pt x="726" y="90"/>
                  </a:lnTo>
                  <a:lnTo>
                    <a:pt x="724" y="92"/>
                  </a:lnTo>
                  <a:lnTo>
                    <a:pt x="722" y="94"/>
                  </a:lnTo>
                  <a:lnTo>
                    <a:pt x="720" y="96"/>
                  </a:lnTo>
                  <a:lnTo>
                    <a:pt x="718" y="98"/>
                  </a:lnTo>
                  <a:lnTo>
                    <a:pt x="718" y="108"/>
                  </a:lnTo>
                  <a:lnTo>
                    <a:pt x="720" y="114"/>
                  </a:lnTo>
                  <a:lnTo>
                    <a:pt x="720" y="116"/>
                  </a:lnTo>
                  <a:lnTo>
                    <a:pt x="724" y="122"/>
                  </a:lnTo>
                  <a:lnTo>
                    <a:pt x="724" y="124"/>
                  </a:lnTo>
                  <a:lnTo>
                    <a:pt x="726" y="128"/>
                  </a:lnTo>
                  <a:lnTo>
                    <a:pt x="724" y="134"/>
                  </a:lnTo>
                  <a:lnTo>
                    <a:pt x="722" y="142"/>
                  </a:lnTo>
                  <a:lnTo>
                    <a:pt x="720" y="146"/>
                  </a:lnTo>
                  <a:lnTo>
                    <a:pt x="720" y="148"/>
                  </a:lnTo>
                  <a:lnTo>
                    <a:pt x="718" y="150"/>
                  </a:lnTo>
                  <a:lnTo>
                    <a:pt x="716" y="152"/>
                  </a:lnTo>
                  <a:lnTo>
                    <a:pt x="714" y="156"/>
                  </a:lnTo>
                  <a:lnTo>
                    <a:pt x="712" y="158"/>
                  </a:lnTo>
                  <a:lnTo>
                    <a:pt x="712" y="160"/>
                  </a:lnTo>
                  <a:lnTo>
                    <a:pt x="714" y="162"/>
                  </a:lnTo>
                  <a:lnTo>
                    <a:pt x="716" y="166"/>
                  </a:lnTo>
                  <a:lnTo>
                    <a:pt x="718" y="170"/>
                  </a:lnTo>
                  <a:lnTo>
                    <a:pt x="718" y="172"/>
                  </a:lnTo>
                  <a:lnTo>
                    <a:pt x="720" y="174"/>
                  </a:lnTo>
                  <a:lnTo>
                    <a:pt x="720" y="176"/>
                  </a:lnTo>
                  <a:lnTo>
                    <a:pt x="718" y="176"/>
                  </a:lnTo>
                  <a:lnTo>
                    <a:pt x="722" y="188"/>
                  </a:lnTo>
                  <a:lnTo>
                    <a:pt x="722" y="192"/>
                  </a:lnTo>
                  <a:lnTo>
                    <a:pt x="722" y="196"/>
                  </a:lnTo>
                  <a:lnTo>
                    <a:pt x="722" y="198"/>
                  </a:lnTo>
                  <a:lnTo>
                    <a:pt x="728" y="206"/>
                  </a:lnTo>
                  <a:lnTo>
                    <a:pt x="728" y="220"/>
                  </a:lnTo>
                  <a:lnTo>
                    <a:pt x="730" y="256"/>
                  </a:lnTo>
                  <a:lnTo>
                    <a:pt x="730" y="264"/>
                  </a:lnTo>
                  <a:lnTo>
                    <a:pt x="730" y="270"/>
                  </a:lnTo>
                  <a:lnTo>
                    <a:pt x="730" y="274"/>
                  </a:lnTo>
                  <a:lnTo>
                    <a:pt x="730" y="282"/>
                  </a:lnTo>
                  <a:lnTo>
                    <a:pt x="730" y="28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1" name="Freeform 1377"/>
            <p:cNvSpPr>
              <a:spLocks/>
            </p:cNvSpPr>
            <p:nvPr/>
          </p:nvSpPr>
          <p:spPr bwMode="auto">
            <a:xfrm>
              <a:off x="6551352" y="1936014"/>
              <a:ext cx="20018" cy="25021"/>
            </a:xfrm>
            <a:custGeom>
              <a:avLst/>
              <a:gdLst/>
              <a:ahLst/>
              <a:cxnLst>
                <a:cxn ang="0">
                  <a:pos x="0" y="14"/>
                </a:cxn>
                <a:cxn ang="0">
                  <a:pos x="2" y="14"/>
                </a:cxn>
                <a:cxn ang="0">
                  <a:pos x="4" y="12"/>
                </a:cxn>
                <a:cxn ang="0">
                  <a:pos x="8" y="6"/>
                </a:cxn>
                <a:cxn ang="0">
                  <a:pos x="10" y="2"/>
                </a:cxn>
                <a:cxn ang="0">
                  <a:pos x="12" y="0"/>
                </a:cxn>
                <a:cxn ang="0">
                  <a:pos x="16" y="2"/>
                </a:cxn>
                <a:cxn ang="0">
                  <a:pos x="14" y="4"/>
                </a:cxn>
                <a:cxn ang="0">
                  <a:pos x="12" y="6"/>
                </a:cxn>
                <a:cxn ang="0">
                  <a:pos x="8" y="10"/>
                </a:cxn>
                <a:cxn ang="0">
                  <a:pos x="6" y="12"/>
                </a:cxn>
                <a:cxn ang="0">
                  <a:pos x="8" y="16"/>
                </a:cxn>
                <a:cxn ang="0">
                  <a:pos x="6" y="18"/>
                </a:cxn>
                <a:cxn ang="0">
                  <a:pos x="4" y="20"/>
                </a:cxn>
                <a:cxn ang="0">
                  <a:pos x="2" y="16"/>
                </a:cxn>
                <a:cxn ang="0">
                  <a:pos x="0" y="14"/>
                </a:cxn>
              </a:cxnLst>
              <a:rect l="0" t="0" r="r" b="b"/>
              <a:pathLst>
                <a:path w="16" h="20">
                  <a:moveTo>
                    <a:pt x="0" y="14"/>
                  </a:moveTo>
                  <a:lnTo>
                    <a:pt x="2" y="14"/>
                  </a:lnTo>
                  <a:lnTo>
                    <a:pt x="4" y="12"/>
                  </a:lnTo>
                  <a:lnTo>
                    <a:pt x="8" y="6"/>
                  </a:lnTo>
                  <a:lnTo>
                    <a:pt x="10" y="2"/>
                  </a:lnTo>
                  <a:lnTo>
                    <a:pt x="12" y="0"/>
                  </a:lnTo>
                  <a:lnTo>
                    <a:pt x="16" y="2"/>
                  </a:lnTo>
                  <a:lnTo>
                    <a:pt x="14" y="4"/>
                  </a:lnTo>
                  <a:lnTo>
                    <a:pt x="12" y="6"/>
                  </a:lnTo>
                  <a:lnTo>
                    <a:pt x="8" y="10"/>
                  </a:lnTo>
                  <a:lnTo>
                    <a:pt x="6" y="12"/>
                  </a:lnTo>
                  <a:lnTo>
                    <a:pt x="8" y="16"/>
                  </a:lnTo>
                  <a:lnTo>
                    <a:pt x="6" y="18"/>
                  </a:lnTo>
                  <a:lnTo>
                    <a:pt x="4" y="20"/>
                  </a:lnTo>
                  <a:lnTo>
                    <a:pt x="2" y="16"/>
                  </a:lnTo>
                  <a:lnTo>
                    <a:pt x="0" y="1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2" name="Freeform 1378"/>
            <p:cNvSpPr>
              <a:spLocks/>
            </p:cNvSpPr>
            <p:nvPr/>
          </p:nvSpPr>
          <p:spPr bwMode="auto">
            <a:xfrm>
              <a:off x="3508685" y="2086145"/>
              <a:ext cx="575505" cy="432880"/>
            </a:xfrm>
            <a:custGeom>
              <a:avLst/>
              <a:gdLst/>
              <a:ahLst/>
              <a:cxnLst>
                <a:cxn ang="0">
                  <a:pos x="104" y="328"/>
                </a:cxn>
                <a:cxn ang="0">
                  <a:pos x="56" y="322"/>
                </a:cxn>
                <a:cxn ang="0">
                  <a:pos x="12" y="318"/>
                </a:cxn>
                <a:cxn ang="0">
                  <a:pos x="2" y="338"/>
                </a:cxn>
                <a:cxn ang="0">
                  <a:pos x="4" y="328"/>
                </a:cxn>
                <a:cxn ang="0">
                  <a:pos x="10" y="308"/>
                </a:cxn>
                <a:cxn ang="0">
                  <a:pos x="16" y="292"/>
                </a:cxn>
                <a:cxn ang="0">
                  <a:pos x="32" y="268"/>
                </a:cxn>
                <a:cxn ang="0">
                  <a:pos x="42" y="266"/>
                </a:cxn>
                <a:cxn ang="0">
                  <a:pos x="48" y="256"/>
                </a:cxn>
                <a:cxn ang="0">
                  <a:pos x="54" y="248"/>
                </a:cxn>
                <a:cxn ang="0">
                  <a:pos x="60" y="236"/>
                </a:cxn>
                <a:cxn ang="0">
                  <a:pos x="66" y="230"/>
                </a:cxn>
                <a:cxn ang="0">
                  <a:pos x="74" y="214"/>
                </a:cxn>
                <a:cxn ang="0">
                  <a:pos x="80" y="206"/>
                </a:cxn>
                <a:cxn ang="0">
                  <a:pos x="88" y="196"/>
                </a:cxn>
                <a:cxn ang="0">
                  <a:pos x="88" y="188"/>
                </a:cxn>
                <a:cxn ang="0">
                  <a:pos x="82" y="196"/>
                </a:cxn>
                <a:cxn ang="0">
                  <a:pos x="88" y="186"/>
                </a:cxn>
                <a:cxn ang="0">
                  <a:pos x="108" y="174"/>
                </a:cxn>
                <a:cxn ang="0">
                  <a:pos x="122" y="162"/>
                </a:cxn>
                <a:cxn ang="0">
                  <a:pos x="130" y="156"/>
                </a:cxn>
                <a:cxn ang="0">
                  <a:pos x="148" y="136"/>
                </a:cxn>
                <a:cxn ang="0">
                  <a:pos x="150" y="120"/>
                </a:cxn>
                <a:cxn ang="0">
                  <a:pos x="158" y="108"/>
                </a:cxn>
                <a:cxn ang="0">
                  <a:pos x="168" y="90"/>
                </a:cxn>
                <a:cxn ang="0">
                  <a:pos x="174" y="84"/>
                </a:cxn>
                <a:cxn ang="0">
                  <a:pos x="176" y="76"/>
                </a:cxn>
                <a:cxn ang="0">
                  <a:pos x="184" y="66"/>
                </a:cxn>
                <a:cxn ang="0">
                  <a:pos x="192" y="64"/>
                </a:cxn>
                <a:cxn ang="0">
                  <a:pos x="202" y="60"/>
                </a:cxn>
                <a:cxn ang="0">
                  <a:pos x="224" y="48"/>
                </a:cxn>
                <a:cxn ang="0">
                  <a:pos x="232" y="40"/>
                </a:cxn>
                <a:cxn ang="0">
                  <a:pos x="238" y="24"/>
                </a:cxn>
                <a:cxn ang="0">
                  <a:pos x="244" y="18"/>
                </a:cxn>
                <a:cxn ang="0">
                  <a:pos x="260" y="0"/>
                </a:cxn>
                <a:cxn ang="0">
                  <a:pos x="394" y="18"/>
                </a:cxn>
                <a:cxn ang="0">
                  <a:pos x="404" y="20"/>
                </a:cxn>
                <a:cxn ang="0">
                  <a:pos x="432" y="22"/>
                </a:cxn>
                <a:cxn ang="0">
                  <a:pos x="458" y="46"/>
                </a:cxn>
                <a:cxn ang="0">
                  <a:pos x="448" y="108"/>
                </a:cxn>
                <a:cxn ang="0">
                  <a:pos x="404" y="110"/>
                </a:cxn>
                <a:cxn ang="0">
                  <a:pos x="386" y="108"/>
                </a:cxn>
                <a:cxn ang="0">
                  <a:pos x="350" y="104"/>
                </a:cxn>
                <a:cxn ang="0">
                  <a:pos x="288" y="110"/>
                </a:cxn>
                <a:cxn ang="0">
                  <a:pos x="284" y="136"/>
                </a:cxn>
                <a:cxn ang="0">
                  <a:pos x="278" y="162"/>
                </a:cxn>
                <a:cxn ang="0">
                  <a:pos x="270" y="214"/>
                </a:cxn>
                <a:cxn ang="0">
                  <a:pos x="248" y="236"/>
                </a:cxn>
                <a:cxn ang="0">
                  <a:pos x="230" y="242"/>
                </a:cxn>
                <a:cxn ang="0">
                  <a:pos x="208" y="260"/>
                </a:cxn>
                <a:cxn ang="0">
                  <a:pos x="206" y="286"/>
                </a:cxn>
                <a:cxn ang="0">
                  <a:pos x="202" y="314"/>
                </a:cxn>
                <a:cxn ang="0">
                  <a:pos x="156" y="334"/>
                </a:cxn>
              </a:cxnLst>
              <a:rect l="0" t="0" r="r" b="b"/>
              <a:pathLst>
                <a:path w="460" h="346">
                  <a:moveTo>
                    <a:pt x="138" y="332"/>
                  </a:moveTo>
                  <a:lnTo>
                    <a:pt x="130" y="330"/>
                  </a:lnTo>
                  <a:lnTo>
                    <a:pt x="120" y="330"/>
                  </a:lnTo>
                  <a:lnTo>
                    <a:pt x="104" y="328"/>
                  </a:lnTo>
                  <a:lnTo>
                    <a:pt x="94" y="326"/>
                  </a:lnTo>
                  <a:lnTo>
                    <a:pt x="70" y="324"/>
                  </a:lnTo>
                  <a:lnTo>
                    <a:pt x="62" y="322"/>
                  </a:lnTo>
                  <a:lnTo>
                    <a:pt x="56" y="322"/>
                  </a:lnTo>
                  <a:lnTo>
                    <a:pt x="50" y="320"/>
                  </a:lnTo>
                  <a:lnTo>
                    <a:pt x="28" y="318"/>
                  </a:lnTo>
                  <a:lnTo>
                    <a:pt x="12" y="316"/>
                  </a:lnTo>
                  <a:lnTo>
                    <a:pt x="12" y="318"/>
                  </a:lnTo>
                  <a:lnTo>
                    <a:pt x="8" y="326"/>
                  </a:lnTo>
                  <a:lnTo>
                    <a:pt x="4" y="334"/>
                  </a:lnTo>
                  <a:lnTo>
                    <a:pt x="4" y="336"/>
                  </a:lnTo>
                  <a:lnTo>
                    <a:pt x="2" y="338"/>
                  </a:lnTo>
                  <a:lnTo>
                    <a:pt x="2" y="346"/>
                  </a:lnTo>
                  <a:lnTo>
                    <a:pt x="0" y="342"/>
                  </a:lnTo>
                  <a:lnTo>
                    <a:pt x="2" y="336"/>
                  </a:lnTo>
                  <a:lnTo>
                    <a:pt x="4" y="328"/>
                  </a:lnTo>
                  <a:lnTo>
                    <a:pt x="8" y="318"/>
                  </a:lnTo>
                  <a:lnTo>
                    <a:pt x="8" y="314"/>
                  </a:lnTo>
                  <a:lnTo>
                    <a:pt x="10" y="310"/>
                  </a:lnTo>
                  <a:lnTo>
                    <a:pt x="10" y="308"/>
                  </a:lnTo>
                  <a:lnTo>
                    <a:pt x="12" y="304"/>
                  </a:lnTo>
                  <a:lnTo>
                    <a:pt x="14" y="300"/>
                  </a:lnTo>
                  <a:lnTo>
                    <a:pt x="14" y="296"/>
                  </a:lnTo>
                  <a:lnTo>
                    <a:pt x="16" y="292"/>
                  </a:lnTo>
                  <a:lnTo>
                    <a:pt x="16" y="290"/>
                  </a:lnTo>
                  <a:lnTo>
                    <a:pt x="20" y="284"/>
                  </a:lnTo>
                  <a:lnTo>
                    <a:pt x="24" y="276"/>
                  </a:lnTo>
                  <a:lnTo>
                    <a:pt x="32" y="268"/>
                  </a:lnTo>
                  <a:lnTo>
                    <a:pt x="34" y="266"/>
                  </a:lnTo>
                  <a:lnTo>
                    <a:pt x="36" y="268"/>
                  </a:lnTo>
                  <a:lnTo>
                    <a:pt x="38" y="268"/>
                  </a:lnTo>
                  <a:lnTo>
                    <a:pt x="42" y="266"/>
                  </a:lnTo>
                  <a:lnTo>
                    <a:pt x="44" y="266"/>
                  </a:lnTo>
                  <a:lnTo>
                    <a:pt x="44" y="262"/>
                  </a:lnTo>
                  <a:lnTo>
                    <a:pt x="46" y="260"/>
                  </a:lnTo>
                  <a:lnTo>
                    <a:pt x="48" y="256"/>
                  </a:lnTo>
                  <a:lnTo>
                    <a:pt x="50" y="254"/>
                  </a:lnTo>
                  <a:lnTo>
                    <a:pt x="52" y="254"/>
                  </a:lnTo>
                  <a:lnTo>
                    <a:pt x="54" y="250"/>
                  </a:lnTo>
                  <a:lnTo>
                    <a:pt x="54" y="248"/>
                  </a:lnTo>
                  <a:lnTo>
                    <a:pt x="54" y="246"/>
                  </a:lnTo>
                  <a:lnTo>
                    <a:pt x="56" y="244"/>
                  </a:lnTo>
                  <a:lnTo>
                    <a:pt x="56" y="242"/>
                  </a:lnTo>
                  <a:lnTo>
                    <a:pt x="60" y="236"/>
                  </a:lnTo>
                  <a:lnTo>
                    <a:pt x="62" y="236"/>
                  </a:lnTo>
                  <a:lnTo>
                    <a:pt x="64" y="234"/>
                  </a:lnTo>
                  <a:lnTo>
                    <a:pt x="66" y="232"/>
                  </a:lnTo>
                  <a:lnTo>
                    <a:pt x="66" y="230"/>
                  </a:lnTo>
                  <a:lnTo>
                    <a:pt x="66" y="228"/>
                  </a:lnTo>
                  <a:lnTo>
                    <a:pt x="66" y="226"/>
                  </a:lnTo>
                  <a:lnTo>
                    <a:pt x="70" y="218"/>
                  </a:lnTo>
                  <a:lnTo>
                    <a:pt x="74" y="214"/>
                  </a:lnTo>
                  <a:lnTo>
                    <a:pt x="76" y="212"/>
                  </a:lnTo>
                  <a:lnTo>
                    <a:pt x="78" y="210"/>
                  </a:lnTo>
                  <a:lnTo>
                    <a:pt x="78" y="208"/>
                  </a:lnTo>
                  <a:lnTo>
                    <a:pt x="80" y="206"/>
                  </a:lnTo>
                  <a:lnTo>
                    <a:pt x="80" y="204"/>
                  </a:lnTo>
                  <a:lnTo>
                    <a:pt x="82" y="202"/>
                  </a:lnTo>
                  <a:lnTo>
                    <a:pt x="86" y="198"/>
                  </a:lnTo>
                  <a:lnTo>
                    <a:pt x="88" y="196"/>
                  </a:lnTo>
                  <a:lnTo>
                    <a:pt x="92" y="192"/>
                  </a:lnTo>
                  <a:lnTo>
                    <a:pt x="94" y="188"/>
                  </a:lnTo>
                  <a:lnTo>
                    <a:pt x="92" y="184"/>
                  </a:lnTo>
                  <a:lnTo>
                    <a:pt x="88" y="188"/>
                  </a:lnTo>
                  <a:lnTo>
                    <a:pt x="88" y="190"/>
                  </a:lnTo>
                  <a:lnTo>
                    <a:pt x="86" y="190"/>
                  </a:lnTo>
                  <a:lnTo>
                    <a:pt x="84" y="194"/>
                  </a:lnTo>
                  <a:lnTo>
                    <a:pt x="82" y="196"/>
                  </a:lnTo>
                  <a:lnTo>
                    <a:pt x="80" y="198"/>
                  </a:lnTo>
                  <a:lnTo>
                    <a:pt x="84" y="190"/>
                  </a:lnTo>
                  <a:lnTo>
                    <a:pt x="86" y="188"/>
                  </a:lnTo>
                  <a:lnTo>
                    <a:pt x="88" y="186"/>
                  </a:lnTo>
                  <a:lnTo>
                    <a:pt x="90" y="184"/>
                  </a:lnTo>
                  <a:lnTo>
                    <a:pt x="98" y="182"/>
                  </a:lnTo>
                  <a:lnTo>
                    <a:pt x="104" y="178"/>
                  </a:lnTo>
                  <a:lnTo>
                    <a:pt x="108" y="174"/>
                  </a:lnTo>
                  <a:lnTo>
                    <a:pt x="110" y="172"/>
                  </a:lnTo>
                  <a:lnTo>
                    <a:pt x="116" y="168"/>
                  </a:lnTo>
                  <a:lnTo>
                    <a:pt x="120" y="164"/>
                  </a:lnTo>
                  <a:lnTo>
                    <a:pt x="122" y="162"/>
                  </a:lnTo>
                  <a:lnTo>
                    <a:pt x="124" y="162"/>
                  </a:lnTo>
                  <a:lnTo>
                    <a:pt x="124" y="160"/>
                  </a:lnTo>
                  <a:lnTo>
                    <a:pt x="128" y="158"/>
                  </a:lnTo>
                  <a:lnTo>
                    <a:pt x="130" y="156"/>
                  </a:lnTo>
                  <a:lnTo>
                    <a:pt x="132" y="156"/>
                  </a:lnTo>
                  <a:lnTo>
                    <a:pt x="134" y="156"/>
                  </a:lnTo>
                  <a:lnTo>
                    <a:pt x="142" y="148"/>
                  </a:lnTo>
                  <a:lnTo>
                    <a:pt x="148" y="136"/>
                  </a:lnTo>
                  <a:lnTo>
                    <a:pt x="150" y="130"/>
                  </a:lnTo>
                  <a:lnTo>
                    <a:pt x="150" y="128"/>
                  </a:lnTo>
                  <a:lnTo>
                    <a:pt x="150" y="126"/>
                  </a:lnTo>
                  <a:lnTo>
                    <a:pt x="150" y="120"/>
                  </a:lnTo>
                  <a:lnTo>
                    <a:pt x="152" y="116"/>
                  </a:lnTo>
                  <a:lnTo>
                    <a:pt x="154" y="114"/>
                  </a:lnTo>
                  <a:lnTo>
                    <a:pt x="154" y="108"/>
                  </a:lnTo>
                  <a:lnTo>
                    <a:pt x="158" y="108"/>
                  </a:lnTo>
                  <a:lnTo>
                    <a:pt x="162" y="100"/>
                  </a:lnTo>
                  <a:lnTo>
                    <a:pt x="164" y="94"/>
                  </a:lnTo>
                  <a:lnTo>
                    <a:pt x="166" y="92"/>
                  </a:lnTo>
                  <a:lnTo>
                    <a:pt x="168" y="90"/>
                  </a:lnTo>
                  <a:lnTo>
                    <a:pt x="168" y="88"/>
                  </a:lnTo>
                  <a:lnTo>
                    <a:pt x="170" y="88"/>
                  </a:lnTo>
                  <a:lnTo>
                    <a:pt x="172" y="86"/>
                  </a:lnTo>
                  <a:lnTo>
                    <a:pt x="174" y="84"/>
                  </a:lnTo>
                  <a:lnTo>
                    <a:pt x="176" y="82"/>
                  </a:lnTo>
                  <a:lnTo>
                    <a:pt x="176" y="80"/>
                  </a:lnTo>
                  <a:lnTo>
                    <a:pt x="176" y="78"/>
                  </a:lnTo>
                  <a:lnTo>
                    <a:pt x="176" y="76"/>
                  </a:lnTo>
                  <a:lnTo>
                    <a:pt x="176" y="74"/>
                  </a:lnTo>
                  <a:lnTo>
                    <a:pt x="178" y="72"/>
                  </a:lnTo>
                  <a:lnTo>
                    <a:pt x="182" y="68"/>
                  </a:lnTo>
                  <a:lnTo>
                    <a:pt x="184" y="66"/>
                  </a:lnTo>
                  <a:lnTo>
                    <a:pt x="186" y="66"/>
                  </a:lnTo>
                  <a:lnTo>
                    <a:pt x="188" y="66"/>
                  </a:lnTo>
                  <a:lnTo>
                    <a:pt x="190" y="64"/>
                  </a:lnTo>
                  <a:lnTo>
                    <a:pt x="192" y="64"/>
                  </a:lnTo>
                  <a:lnTo>
                    <a:pt x="194" y="62"/>
                  </a:lnTo>
                  <a:lnTo>
                    <a:pt x="198" y="60"/>
                  </a:lnTo>
                  <a:lnTo>
                    <a:pt x="200" y="60"/>
                  </a:lnTo>
                  <a:lnTo>
                    <a:pt x="202" y="60"/>
                  </a:lnTo>
                  <a:lnTo>
                    <a:pt x="208" y="56"/>
                  </a:lnTo>
                  <a:lnTo>
                    <a:pt x="218" y="52"/>
                  </a:lnTo>
                  <a:lnTo>
                    <a:pt x="222" y="50"/>
                  </a:lnTo>
                  <a:lnTo>
                    <a:pt x="224" y="48"/>
                  </a:lnTo>
                  <a:lnTo>
                    <a:pt x="226" y="48"/>
                  </a:lnTo>
                  <a:lnTo>
                    <a:pt x="228" y="46"/>
                  </a:lnTo>
                  <a:lnTo>
                    <a:pt x="230" y="42"/>
                  </a:lnTo>
                  <a:lnTo>
                    <a:pt x="232" y="40"/>
                  </a:lnTo>
                  <a:lnTo>
                    <a:pt x="236" y="30"/>
                  </a:lnTo>
                  <a:lnTo>
                    <a:pt x="238" y="28"/>
                  </a:lnTo>
                  <a:lnTo>
                    <a:pt x="238" y="26"/>
                  </a:lnTo>
                  <a:lnTo>
                    <a:pt x="238" y="24"/>
                  </a:lnTo>
                  <a:lnTo>
                    <a:pt x="240" y="24"/>
                  </a:lnTo>
                  <a:lnTo>
                    <a:pt x="240" y="22"/>
                  </a:lnTo>
                  <a:lnTo>
                    <a:pt x="242" y="20"/>
                  </a:lnTo>
                  <a:lnTo>
                    <a:pt x="244" y="18"/>
                  </a:lnTo>
                  <a:lnTo>
                    <a:pt x="248" y="12"/>
                  </a:lnTo>
                  <a:lnTo>
                    <a:pt x="250" y="8"/>
                  </a:lnTo>
                  <a:lnTo>
                    <a:pt x="254" y="0"/>
                  </a:lnTo>
                  <a:lnTo>
                    <a:pt x="260" y="0"/>
                  </a:lnTo>
                  <a:lnTo>
                    <a:pt x="270" y="2"/>
                  </a:lnTo>
                  <a:lnTo>
                    <a:pt x="328" y="10"/>
                  </a:lnTo>
                  <a:lnTo>
                    <a:pt x="386" y="18"/>
                  </a:lnTo>
                  <a:lnTo>
                    <a:pt x="394" y="18"/>
                  </a:lnTo>
                  <a:lnTo>
                    <a:pt x="396" y="20"/>
                  </a:lnTo>
                  <a:lnTo>
                    <a:pt x="398" y="20"/>
                  </a:lnTo>
                  <a:lnTo>
                    <a:pt x="400" y="20"/>
                  </a:lnTo>
                  <a:lnTo>
                    <a:pt x="404" y="20"/>
                  </a:lnTo>
                  <a:lnTo>
                    <a:pt x="408" y="20"/>
                  </a:lnTo>
                  <a:lnTo>
                    <a:pt x="414" y="20"/>
                  </a:lnTo>
                  <a:lnTo>
                    <a:pt x="430" y="22"/>
                  </a:lnTo>
                  <a:lnTo>
                    <a:pt x="432" y="22"/>
                  </a:lnTo>
                  <a:lnTo>
                    <a:pt x="460" y="26"/>
                  </a:lnTo>
                  <a:lnTo>
                    <a:pt x="460" y="30"/>
                  </a:lnTo>
                  <a:lnTo>
                    <a:pt x="460" y="34"/>
                  </a:lnTo>
                  <a:lnTo>
                    <a:pt x="458" y="46"/>
                  </a:lnTo>
                  <a:lnTo>
                    <a:pt x="454" y="64"/>
                  </a:lnTo>
                  <a:lnTo>
                    <a:pt x="454" y="70"/>
                  </a:lnTo>
                  <a:lnTo>
                    <a:pt x="450" y="94"/>
                  </a:lnTo>
                  <a:lnTo>
                    <a:pt x="448" y="108"/>
                  </a:lnTo>
                  <a:lnTo>
                    <a:pt x="446" y="110"/>
                  </a:lnTo>
                  <a:lnTo>
                    <a:pt x="446" y="114"/>
                  </a:lnTo>
                  <a:lnTo>
                    <a:pt x="412" y="110"/>
                  </a:lnTo>
                  <a:lnTo>
                    <a:pt x="404" y="110"/>
                  </a:lnTo>
                  <a:lnTo>
                    <a:pt x="402" y="108"/>
                  </a:lnTo>
                  <a:lnTo>
                    <a:pt x="398" y="108"/>
                  </a:lnTo>
                  <a:lnTo>
                    <a:pt x="388" y="108"/>
                  </a:lnTo>
                  <a:lnTo>
                    <a:pt x="386" y="108"/>
                  </a:lnTo>
                  <a:lnTo>
                    <a:pt x="384" y="108"/>
                  </a:lnTo>
                  <a:lnTo>
                    <a:pt x="378" y="106"/>
                  </a:lnTo>
                  <a:lnTo>
                    <a:pt x="360" y="104"/>
                  </a:lnTo>
                  <a:lnTo>
                    <a:pt x="350" y="104"/>
                  </a:lnTo>
                  <a:lnTo>
                    <a:pt x="326" y="100"/>
                  </a:lnTo>
                  <a:lnTo>
                    <a:pt x="306" y="98"/>
                  </a:lnTo>
                  <a:lnTo>
                    <a:pt x="290" y="96"/>
                  </a:lnTo>
                  <a:lnTo>
                    <a:pt x="288" y="110"/>
                  </a:lnTo>
                  <a:lnTo>
                    <a:pt x="288" y="114"/>
                  </a:lnTo>
                  <a:lnTo>
                    <a:pt x="286" y="116"/>
                  </a:lnTo>
                  <a:lnTo>
                    <a:pt x="284" y="132"/>
                  </a:lnTo>
                  <a:lnTo>
                    <a:pt x="284" y="136"/>
                  </a:lnTo>
                  <a:lnTo>
                    <a:pt x="284" y="138"/>
                  </a:lnTo>
                  <a:lnTo>
                    <a:pt x="280" y="156"/>
                  </a:lnTo>
                  <a:lnTo>
                    <a:pt x="280" y="160"/>
                  </a:lnTo>
                  <a:lnTo>
                    <a:pt x="278" y="162"/>
                  </a:lnTo>
                  <a:lnTo>
                    <a:pt x="276" y="182"/>
                  </a:lnTo>
                  <a:lnTo>
                    <a:pt x="274" y="184"/>
                  </a:lnTo>
                  <a:lnTo>
                    <a:pt x="272" y="202"/>
                  </a:lnTo>
                  <a:lnTo>
                    <a:pt x="270" y="214"/>
                  </a:lnTo>
                  <a:lnTo>
                    <a:pt x="266" y="232"/>
                  </a:lnTo>
                  <a:lnTo>
                    <a:pt x="262" y="232"/>
                  </a:lnTo>
                  <a:lnTo>
                    <a:pt x="254" y="234"/>
                  </a:lnTo>
                  <a:lnTo>
                    <a:pt x="248" y="236"/>
                  </a:lnTo>
                  <a:lnTo>
                    <a:pt x="238" y="238"/>
                  </a:lnTo>
                  <a:lnTo>
                    <a:pt x="236" y="238"/>
                  </a:lnTo>
                  <a:lnTo>
                    <a:pt x="234" y="238"/>
                  </a:lnTo>
                  <a:lnTo>
                    <a:pt x="230" y="242"/>
                  </a:lnTo>
                  <a:lnTo>
                    <a:pt x="216" y="248"/>
                  </a:lnTo>
                  <a:lnTo>
                    <a:pt x="212" y="252"/>
                  </a:lnTo>
                  <a:lnTo>
                    <a:pt x="208" y="256"/>
                  </a:lnTo>
                  <a:lnTo>
                    <a:pt x="208" y="260"/>
                  </a:lnTo>
                  <a:lnTo>
                    <a:pt x="206" y="262"/>
                  </a:lnTo>
                  <a:lnTo>
                    <a:pt x="208" y="272"/>
                  </a:lnTo>
                  <a:lnTo>
                    <a:pt x="208" y="276"/>
                  </a:lnTo>
                  <a:lnTo>
                    <a:pt x="206" y="286"/>
                  </a:lnTo>
                  <a:lnTo>
                    <a:pt x="206" y="292"/>
                  </a:lnTo>
                  <a:lnTo>
                    <a:pt x="204" y="298"/>
                  </a:lnTo>
                  <a:lnTo>
                    <a:pt x="204" y="302"/>
                  </a:lnTo>
                  <a:lnTo>
                    <a:pt x="202" y="314"/>
                  </a:lnTo>
                  <a:lnTo>
                    <a:pt x="200" y="334"/>
                  </a:lnTo>
                  <a:lnTo>
                    <a:pt x="200" y="338"/>
                  </a:lnTo>
                  <a:lnTo>
                    <a:pt x="182" y="336"/>
                  </a:lnTo>
                  <a:lnTo>
                    <a:pt x="156" y="334"/>
                  </a:lnTo>
                  <a:lnTo>
                    <a:pt x="140" y="332"/>
                  </a:lnTo>
                  <a:lnTo>
                    <a:pt x="138" y="3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3" name="Freeform 1379"/>
            <p:cNvSpPr>
              <a:spLocks/>
            </p:cNvSpPr>
            <p:nvPr/>
          </p:nvSpPr>
          <p:spPr bwMode="auto">
            <a:xfrm>
              <a:off x="3493672" y="2143695"/>
              <a:ext cx="788192" cy="815715"/>
            </a:xfrm>
            <a:custGeom>
              <a:avLst/>
              <a:gdLst/>
              <a:ahLst/>
              <a:cxnLst>
                <a:cxn ang="0">
                  <a:pos x="542" y="296"/>
                </a:cxn>
                <a:cxn ang="0">
                  <a:pos x="540" y="366"/>
                </a:cxn>
                <a:cxn ang="0">
                  <a:pos x="540" y="446"/>
                </a:cxn>
                <a:cxn ang="0">
                  <a:pos x="538" y="538"/>
                </a:cxn>
                <a:cxn ang="0">
                  <a:pos x="544" y="616"/>
                </a:cxn>
                <a:cxn ang="0">
                  <a:pos x="498" y="632"/>
                </a:cxn>
                <a:cxn ang="0">
                  <a:pos x="432" y="628"/>
                </a:cxn>
                <a:cxn ang="0">
                  <a:pos x="364" y="622"/>
                </a:cxn>
                <a:cxn ang="0">
                  <a:pos x="352" y="612"/>
                </a:cxn>
                <a:cxn ang="0">
                  <a:pos x="330" y="624"/>
                </a:cxn>
                <a:cxn ang="0">
                  <a:pos x="310" y="626"/>
                </a:cxn>
                <a:cxn ang="0">
                  <a:pos x="286" y="620"/>
                </a:cxn>
                <a:cxn ang="0">
                  <a:pos x="274" y="630"/>
                </a:cxn>
                <a:cxn ang="0">
                  <a:pos x="254" y="618"/>
                </a:cxn>
                <a:cxn ang="0">
                  <a:pos x="248" y="606"/>
                </a:cxn>
                <a:cxn ang="0">
                  <a:pos x="232" y="608"/>
                </a:cxn>
                <a:cxn ang="0">
                  <a:pos x="224" y="628"/>
                </a:cxn>
                <a:cxn ang="0">
                  <a:pos x="222" y="646"/>
                </a:cxn>
                <a:cxn ang="0">
                  <a:pos x="202" y="648"/>
                </a:cxn>
                <a:cxn ang="0">
                  <a:pos x="184" y="628"/>
                </a:cxn>
                <a:cxn ang="0">
                  <a:pos x="172" y="618"/>
                </a:cxn>
                <a:cxn ang="0">
                  <a:pos x="170" y="606"/>
                </a:cxn>
                <a:cxn ang="0">
                  <a:pos x="154" y="582"/>
                </a:cxn>
                <a:cxn ang="0">
                  <a:pos x="138" y="568"/>
                </a:cxn>
                <a:cxn ang="0">
                  <a:pos x="116" y="544"/>
                </a:cxn>
                <a:cxn ang="0">
                  <a:pos x="90" y="536"/>
                </a:cxn>
                <a:cxn ang="0">
                  <a:pos x="78" y="534"/>
                </a:cxn>
                <a:cxn ang="0">
                  <a:pos x="48" y="540"/>
                </a:cxn>
                <a:cxn ang="0">
                  <a:pos x="28" y="538"/>
                </a:cxn>
                <a:cxn ang="0">
                  <a:pos x="12" y="538"/>
                </a:cxn>
                <a:cxn ang="0">
                  <a:pos x="0" y="558"/>
                </a:cxn>
                <a:cxn ang="0">
                  <a:pos x="4" y="536"/>
                </a:cxn>
                <a:cxn ang="0">
                  <a:pos x="10" y="520"/>
                </a:cxn>
                <a:cxn ang="0">
                  <a:pos x="28" y="490"/>
                </a:cxn>
                <a:cxn ang="0">
                  <a:pos x="38" y="460"/>
                </a:cxn>
                <a:cxn ang="0">
                  <a:pos x="40" y="434"/>
                </a:cxn>
                <a:cxn ang="0">
                  <a:pos x="38" y="414"/>
                </a:cxn>
                <a:cxn ang="0">
                  <a:pos x="36" y="396"/>
                </a:cxn>
                <a:cxn ang="0">
                  <a:pos x="30" y="380"/>
                </a:cxn>
                <a:cxn ang="0">
                  <a:pos x="32" y="374"/>
                </a:cxn>
                <a:cxn ang="0">
                  <a:pos x="38" y="366"/>
                </a:cxn>
                <a:cxn ang="0">
                  <a:pos x="46" y="326"/>
                </a:cxn>
                <a:cxn ang="0">
                  <a:pos x="38" y="306"/>
                </a:cxn>
                <a:cxn ang="0">
                  <a:pos x="24" y="280"/>
                </a:cxn>
                <a:cxn ang="0">
                  <a:pos x="14" y="292"/>
                </a:cxn>
                <a:cxn ang="0">
                  <a:pos x="40" y="272"/>
                </a:cxn>
                <a:cxn ang="0">
                  <a:pos x="116" y="282"/>
                </a:cxn>
                <a:cxn ang="0">
                  <a:pos x="194" y="290"/>
                </a:cxn>
                <a:cxn ang="0">
                  <a:pos x="218" y="246"/>
                </a:cxn>
                <a:cxn ang="0">
                  <a:pos x="220" y="210"/>
                </a:cxn>
                <a:cxn ang="0">
                  <a:pos x="250" y="192"/>
                </a:cxn>
                <a:cxn ang="0">
                  <a:pos x="284" y="156"/>
                </a:cxn>
                <a:cxn ang="0">
                  <a:pos x="296" y="92"/>
                </a:cxn>
                <a:cxn ang="0">
                  <a:pos x="302" y="50"/>
                </a:cxn>
                <a:cxn ang="0">
                  <a:pos x="396" y="62"/>
                </a:cxn>
                <a:cxn ang="0">
                  <a:pos x="424" y="64"/>
                </a:cxn>
                <a:cxn ang="0">
                  <a:pos x="466" y="18"/>
                </a:cxn>
                <a:cxn ang="0">
                  <a:pos x="528" y="50"/>
                </a:cxn>
                <a:cxn ang="0">
                  <a:pos x="586" y="100"/>
                </a:cxn>
                <a:cxn ang="0">
                  <a:pos x="628" y="138"/>
                </a:cxn>
                <a:cxn ang="0">
                  <a:pos x="550" y="132"/>
                </a:cxn>
                <a:cxn ang="0">
                  <a:pos x="546" y="190"/>
                </a:cxn>
              </a:cxnLst>
              <a:rect l="0" t="0" r="r" b="b"/>
              <a:pathLst>
                <a:path w="630" h="652">
                  <a:moveTo>
                    <a:pt x="544" y="238"/>
                  </a:moveTo>
                  <a:lnTo>
                    <a:pt x="544" y="242"/>
                  </a:lnTo>
                  <a:lnTo>
                    <a:pt x="544" y="246"/>
                  </a:lnTo>
                  <a:lnTo>
                    <a:pt x="544" y="256"/>
                  </a:lnTo>
                  <a:lnTo>
                    <a:pt x="542" y="288"/>
                  </a:lnTo>
                  <a:lnTo>
                    <a:pt x="542" y="296"/>
                  </a:lnTo>
                  <a:lnTo>
                    <a:pt x="542" y="312"/>
                  </a:lnTo>
                  <a:lnTo>
                    <a:pt x="542" y="322"/>
                  </a:lnTo>
                  <a:lnTo>
                    <a:pt x="540" y="332"/>
                  </a:lnTo>
                  <a:lnTo>
                    <a:pt x="540" y="344"/>
                  </a:lnTo>
                  <a:lnTo>
                    <a:pt x="540" y="356"/>
                  </a:lnTo>
                  <a:lnTo>
                    <a:pt x="540" y="366"/>
                  </a:lnTo>
                  <a:lnTo>
                    <a:pt x="540" y="388"/>
                  </a:lnTo>
                  <a:lnTo>
                    <a:pt x="540" y="404"/>
                  </a:lnTo>
                  <a:lnTo>
                    <a:pt x="540" y="412"/>
                  </a:lnTo>
                  <a:lnTo>
                    <a:pt x="540" y="430"/>
                  </a:lnTo>
                  <a:lnTo>
                    <a:pt x="540" y="438"/>
                  </a:lnTo>
                  <a:lnTo>
                    <a:pt x="540" y="446"/>
                  </a:lnTo>
                  <a:lnTo>
                    <a:pt x="538" y="462"/>
                  </a:lnTo>
                  <a:lnTo>
                    <a:pt x="538" y="468"/>
                  </a:lnTo>
                  <a:lnTo>
                    <a:pt x="538" y="486"/>
                  </a:lnTo>
                  <a:lnTo>
                    <a:pt x="538" y="494"/>
                  </a:lnTo>
                  <a:lnTo>
                    <a:pt x="538" y="512"/>
                  </a:lnTo>
                  <a:lnTo>
                    <a:pt x="538" y="538"/>
                  </a:lnTo>
                  <a:lnTo>
                    <a:pt x="538" y="570"/>
                  </a:lnTo>
                  <a:lnTo>
                    <a:pt x="538" y="582"/>
                  </a:lnTo>
                  <a:lnTo>
                    <a:pt x="550" y="592"/>
                  </a:lnTo>
                  <a:lnTo>
                    <a:pt x="548" y="602"/>
                  </a:lnTo>
                  <a:lnTo>
                    <a:pt x="546" y="606"/>
                  </a:lnTo>
                  <a:lnTo>
                    <a:pt x="544" y="616"/>
                  </a:lnTo>
                  <a:lnTo>
                    <a:pt x="540" y="632"/>
                  </a:lnTo>
                  <a:lnTo>
                    <a:pt x="538" y="634"/>
                  </a:lnTo>
                  <a:lnTo>
                    <a:pt x="538" y="636"/>
                  </a:lnTo>
                  <a:lnTo>
                    <a:pt x="536" y="636"/>
                  </a:lnTo>
                  <a:lnTo>
                    <a:pt x="516" y="634"/>
                  </a:lnTo>
                  <a:lnTo>
                    <a:pt x="498" y="632"/>
                  </a:lnTo>
                  <a:lnTo>
                    <a:pt x="492" y="632"/>
                  </a:lnTo>
                  <a:lnTo>
                    <a:pt x="482" y="630"/>
                  </a:lnTo>
                  <a:lnTo>
                    <a:pt x="464" y="630"/>
                  </a:lnTo>
                  <a:lnTo>
                    <a:pt x="448" y="628"/>
                  </a:lnTo>
                  <a:lnTo>
                    <a:pt x="440" y="628"/>
                  </a:lnTo>
                  <a:lnTo>
                    <a:pt x="432" y="628"/>
                  </a:lnTo>
                  <a:lnTo>
                    <a:pt x="416" y="626"/>
                  </a:lnTo>
                  <a:lnTo>
                    <a:pt x="412" y="626"/>
                  </a:lnTo>
                  <a:lnTo>
                    <a:pt x="390" y="624"/>
                  </a:lnTo>
                  <a:lnTo>
                    <a:pt x="386" y="624"/>
                  </a:lnTo>
                  <a:lnTo>
                    <a:pt x="366" y="622"/>
                  </a:lnTo>
                  <a:lnTo>
                    <a:pt x="364" y="622"/>
                  </a:lnTo>
                  <a:lnTo>
                    <a:pt x="362" y="622"/>
                  </a:lnTo>
                  <a:lnTo>
                    <a:pt x="356" y="622"/>
                  </a:lnTo>
                  <a:lnTo>
                    <a:pt x="354" y="622"/>
                  </a:lnTo>
                  <a:lnTo>
                    <a:pt x="350" y="622"/>
                  </a:lnTo>
                  <a:lnTo>
                    <a:pt x="350" y="618"/>
                  </a:lnTo>
                  <a:lnTo>
                    <a:pt x="352" y="612"/>
                  </a:lnTo>
                  <a:lnTo>
                    <a:pt x="350" y="610"/>
                  </a:lnTo>
                  <a:lnTo>
                    <a:pt x="344" y="616"/>
                  </a:lnTo>
                  <a:lnTo>
                    <a:pt x="346" y="622"/>
                  </a:lnTo>
                  <a:lnTo>
                    <a:pt x="346" y="624"/>
                  </a:lnTo>
                  <a:lnTo>
                    <a:pt x="332" y="624"/>
                  </a:lnTo>
                  <a:lnTo>
                    <a:pt x="330" y="624"/>
                  </a:lnTo>
                  <a:lnTo>
                    <a:pt x="328" y="624"/>
                  </a:lnTo>
                  <a:lnTo>
                    <a:pt x="328" y="626"/>
                  </a:lnTo>
                  <a:lnTo>
                    <a:pt x="326" y="626"/>
                  </a:lnTo>
                  <a:lnTo>
                    <a:pt x="314" y="626"/>
                  </a:lnTo>
                  <a:lnTo>
                    <a:pt x="312" y="626"/>
                  </a:lnTo>
                  <a:lnTo>
                    <a:pt x="310" y="626"/>
                  </a:lnTo>
                  <a:lnTo>
                    <a:pt x="306" y="622"/>
                  </a:lnTo>
                  <a:lnTo>
                    <a:pt x="302" y="620"/>
                  </a:lnTo>
                  <a:lnTo>
                    <a:pt x="300" y="620"/>
                  </a:lnTo>
                  <a:lnTo>
                    <a:pt x="294" y="620"/>
                  </a:lnTo>
                  <a:lnTo>
                    <a:pt x="288" y="620"/>
                  </a:lnTo>
                  <a:lnTo>
                    <a:pt x="286" y="620"/>
                  </a:lnTo>
                  <a:lnTo>
                    <a:pt x="284" y="620"/>
                  </a:lnTo>
                  <a:lnTo>
                    <a:pt x="280" y="618"/>
                  </a:lnTo>
                  <a:lnTo>
                    <a:pt x="280" y="622"/>
                  </a:lnTo>
                  <a:lnTo>
                    <a:pt x="280" y="624"/>
                  </a:lnTo>
                  <a:lnTo>
                    <a:pt x="278" y="626"/>
                  </a:lnTo>
                  <a:lnTo>
                    <a:pt x="274" y="630"/>
                  </a:lnTo>
                  <a:lnTo>
                    <a:pt x="270" y="636"/>
                  </a:lnTo>
                  <a:lnTo>
                    <a:pt x="266" y="630"/>
                  </a:lnTo>
                  <a:lnTo>
                    <a:pt x="266" y="628"/>
                  </a:lnTo>
                  <a:lnTo>
                    <a:pt x="258" y="620"/>
                  </a:lnTo>
                  <a:lnTo>
                    <a:pt x="256" y="620"/>
                  </a:lnTo>
                  <a:lnTo>
                    <a:pt x="254" y="618"/>
                  </a:lnTo>
                  <a:lnTo>
                    <a:pt x="254" y="616"/>
                  </a:lnTo>
                  <a:lnTo>
                    <a:pt x="252" y="616"/>
                  </a:lnTo>
                  <a:lnTo>
                    <a:pt x="252" y="614"/>
                  </a:lnTo>
                  <a:lnTo>
                    <a:pt x="252" y="612"/>
                  </a:lnTo>
                  <a:lnTo>
                    <a:pt x="250" y="608"/>
                  </a:lnTo>
                  <a:lnTo>
                    <a:pt x="248" y="606"/>
                  </a:lnTo>
                  <a:lnTo>
                    <a:pt x="246" y="606"/>
                  </a:lnTo>
                  <a:lnTo>
                    <a:pt x="244" y="606"/>
                  </a:lnTo>
                  <a:lnTo>
                    <a:pt x="242" y="606"/>
                  </a:lnTo>
                  <a:lnTo>
                    <a:pt x="238" y="610"/>
                  </a:lnTo>
                  <a:lnTo>
                    <a:pt x="236" y="610"/>
                  </a:lnTo>
                  <a:lnTo>
                    <a:pt x="232" y="608"/>
                  </a:lnTo>
                  <a:lnTo>
                    <a:pt x="232" y="610"/>
                  </a:lnTo>
                  <a:lnTo>
                    <a:pt x="232" y="612"/>
                  </a:lnTo>
                  <a:lnTo>
                    <a:pt x="230" y="612"/>
                  </a:lnTo>
                  <a:lnTo>
                    <a:pt x="230" y="614"/>
                  </a:lnTo>
                  <a:lnTo>
                    <a:pt x="228" y="620"/>
                  </a:lnTo>
                  <a:lnTo>
                    <a:pt x="224" y="628"/>
                  </a:lnTo>
                  <a:lnTo>
                    <a:pt x="222" y="632"/>
                  </a:lnTo>
                  <a:lnTo>
                    <a:pt x="222" y="636"/>
                  </a:lnTo>
                  <a:lnTo>
                    <a:pt x="224" y="636"/>
                  </a:lnTo>
                  <a:lnTo>
                    <a:pt x="224" y="638"/>
                  </a:lnTo>
                  <a:lnTo>
                    <a:pt x="224" y="642"/>
                  </a:lnTo>
                  <a:lnTo>
                    <a:pt x="222" y="646"/>
                  </a:lnTo>
                  <a:lnTo>
                    <a:pt x="220" y="646"/>
                  </a:lnTo>
                  <a:lnTo>
                    <a:pt x="214" y="648"/>
                  </a:lnTo>
                  <a:lnTo>
                    <a:pt x="210" y="652"/>
                  </a:lnTo>
                  <a:lnTo>
                    <a:pt x="208" y="650"/>
                  </a:lnTo>
                  <a:lnTo>
                    <a:pt x="204" y="648"/>
                  </a:lnTo>
                  <a:lnTo>
                    <a:pt x="202" y="648"/>
                  </a:lnTo>
                  <a:lnTo>
                    <a:pt x="200" y="648"/>
                  </a:lnTo>
                  <a:lnTo>
                    <a:pt x="194" y="644"/>
                  </a:lnTo>
                  <a:lnTo>
                    <a:pt x="192" y="640"/>
                  </a:lnTo>
                  <a:lnTo>
                    <a:pt x="192" y="638"/>
                  </a:lnTo>
                  <a:lnTo>
                    <a:pt x="192" y="634"/>
                  </a:lnTo>
                  <a:lnTo>
                    <a:pt x="184" y="628"/>
                  </a:lnTo>
                  <a:lnTo>
                    <a:pt x="182" y="628"/>
                  </a:lnTo>
                  <a:lnTo>
                    <a:pt x="182" y="630"/>
                  </a:lnTo>
                  <a:lnTo>
                    <a:pt x="180" y="628"/>
                  </a:lnTo>
                  <a:lnTo>
                    <a:pt x="176" y="626"/>
                  </a:lnTo>
                  <a:lnTo>
                    <a:pt x="174" y="622"/>
                  </a:lnTo>
                  <a:lnTo>
                    <a:pt x="172" y="618"/>
                  </a:lnTo>
                  <a:lnTo>
                    <a:pt x="174" y="618"/>
                  </a:lnTo>
                  <a:lnTo>
                    <a:pt x="176" y="618"/>
                  </a:lnTo>
                  <a:lnTo>
                    <a:pt x="174" y="616"/>
                  </a:lnTo>
                  <a:lnTo>
                    <a:pt x="172" y="614"/>
                  </a:lnTo>
                  <a:lnTo>
                    <a:pt x="170" y="612"/>
                  </a:lnTo>
                  <a:lnTo>
                    <a:pt x="170" y="606"/>
                  </a:lnTo>
                  <a:lnTo>
                    <a:pt x="166" y="606"/>
                  </a:lnTo>
                  <a:lnTo>
                    <a:pt x="164" y="606"/>
                  </a:lnTo>
                  <a:lnTo>
                    <a:pt x="164" y="604"/>
                  </a:lnTo>
                  <a:lnTo>
                    <a:pt x="160" y="598"/>
                  </a:lnTo>
                  <a:lnTo>
                    <a:pt x="158" y="594"/>
                  </a:lnTo>
                  <a:lnTo>
                    <a:pt x="154" y="582"/>
                  </a:lnTo>
                  <a:lnTo>
                    <a:pt x="154" y="574"/>
                  </a:lnTo>
                  <a:lnTo>
                    <a:pt x="146" y="570"/>
                  </a:lnTo>
                  <a:lnTo>
                    <a:pt x="144" y="570"/>
                  </a:lnTo>
                  <a:lnTo>
                    <a:pt x="142" y="570"/>
                  </a:lnTo>
                  <a:lnTo>
                    <a:pt x="140" y="570"/>
                  </a:lnTo>
                  <a:lnTo>
                    <a:pt x="138" y="568"/>
                  </a:lnTo>
                  <a:lnTo>
                    <a:pt x="138" y="566"/>
                  </a:lnTo>
                  <a:lnTo>
                    <a:pt x="132" y="568"/>
                  </a:lnTo>
                  <a:lnTo>
                    <a:pt x="126" y="562"/>
                  </a:lnTo>
                  <a:lnTo>
                    <a:pt x="126" y="558"/>
                  </a:lnTo>
                  <a:lnTo>
                    <a:pt x="124" y="554"/>
                  </a:lnTo>
                  <a:lnTo>
                    <a:pt x="116" y="544"/>
                  </a:lnTo>
                  <a:lnTo>
                    <a:pt x="110" y="538"/>
                  </a:lnTo>
                  <a:lnTo>
                    <a:pt x="106" y="538"/>
                  </a:lnTo>
                  <a:lnTo>
                    <a:pt x="104" y="538"/>
                  </a:lnTo>
                  <a:lnTo>
                    <a:pt x="102" y="538"/>
                  </a:lnTo>
                  <a:lnTo>
                    <a:pt x="96" y="538"/>
                  </a:lnTo>
                  <a:lnTo>
                    <a:pt x="90" y="536"/>
                  </a:lnTo>
                  <a:lnTo>
                    <a:pt x="86" y="536"/>
                  </a:lnTo>
                  <a:lnTo>
                    <a:pt x="82" y="536"/>
                  </a:lnTo>
                  <a:lnTo>
                    <a:pt x="80" y="534"/>
                  </a:lnTo>
                  <a:lnTo>
                    <a:pt x="80" y="532"/>
                  </a:lnTo>
                  <a:lnTo>
                    <a:pt x="78" y="532"/>
                  </a:lnTo>
                  <a:lnTo>
                    <a:pt x="78" y="534"/>
                  </a:lnTo>
                  <a:lnTo>
                    <a:pt x="74" y="536"/>
                  </a:lnTo>
                  <a:lnTo>
                    <a:pt x="66" y="538"/>
                  </a:lnTo>
                  <a:lnTo>
                    <a:pt x="60" y="538"/>
                  </a:lnTo>
                  <a:lnTo>
                    <a:pt x="56" y="536"/>
                  </a:lnTo>
                  <a:lnTo>
                    <a:pt x="52" y="538"/>
                  </a:lnTo>
                  <a:lnTo>
                    <a:pt x="48" y="540"/>
                  </a:lnTo>
                  <a:lnTo>
                    <a:pt x="44" y="540"/>
                  </a:lnTo>
                  <a:lnTo>
                    <a:pt x="40" y="540"/>
                  </a:lnTo>
                  <a:lnTo>
                    <a:pt x="36" y="538"/>
                  </a:lnTo>
                  <a:lnTo>
                    <a:pt x="34" y="538"/>
                  </a:lnTo>
                  <a:lnTo>
                    <a:pt x="32" y="538"/>
                  </a:lnTo>
                  <a:lnTo>
                    <a:pt x="28" y="538"/>
                  </a:lnTo>
                  <a:lnTo>
                    <a:pt x="24" y="538"/>
                  </a:lnTo>
                  <a:lnTo>
                    <a:pt x="24" y="536"/>
                  </a:lnTo>
                  <a:lnTo>
                    <a:pt x="24" y="534"/>
                  </a:lnTo>
                  <a:lnTo>
                    <a:pt x="22" y="534"/>
                  </a:lnTo>
                  <a:lnTo>
                    <a:pt x="14" y="536"/>
                  </a:lnTo>
                  <a:lnTo>
                    <a:pt x="12" y="538"/>
                  </a:lnTo>
                  <a:lnTo>
                    <a:pt x="10" y="542"/>
                  </a:lnTo>
                  <a:lnTo>
                    <a:pt x="10" y="546"/>
                  </a:lnTo>
                  <a:lnTo>
                    <a:pt x="8" y="548"/>
                  </a:lnTo>
                  <a:lnTo>
                    <a:pt x="6" y="550"/>
                  </a:lnTo>
                  <a:lnTo>
                    <a:pt x="0" y="556"/>
                  </a:lnTo>
                  <a:lnTo>
                    <a:pt x="0" y="558"/>
                  </a:lnTo>
                  <a:lnTo>
                    <a:pt x="0" y="556"/>
                  </a:lnTo>
                  <a:lnTo>
                    <a:pt x="0" y="546"/>
                  </a:lnTo>
                  <a:lnTo>
                    <a:pt x="2" y="544"/>
                  </a:lnTo>
                  <a:lnTo>
                    <a:pt x="2" y="542"/>
                  </a:lnTo>
                  <a:lnTo>
                    <a:pt x="2" y="540"/>
                  </a:lnTo>
                  <a:lnTo>
                    <a:pt x="4" y="536"/>
                  </a:lnTo>
                  <a:lnTo>
                    <a:pt x="4" y="534"/>
                  </a:lnTo>
                  <a:lnTo>
                    <a:pt x="6" y="534"/>
                  </a:lnTo>
                  <a:lnTo>
                    <a:pt x="6" y="532"/>
                  </a:lnTo>
                  <a:lnTo>
                    <a:pt x="6" y="530"/>
                  </a:lnTo>
                  <a:lnTo>
                    <a:pt x="8" y="526"/>
                  </a:lnTo>
                  <a:lnTo>
                    <a:pt x="10" y="520"/>
                  </a:lnTo>
                  <a:lnTo>
                    <a:pt x="14" y="512"/>
                  </a:lnTo>
                  <a:lnTo>
                    <a:pt x="18" y="508"/>
                  </a:lnTo>
                  <a:lnTo>
                    <a:pt x="20" y="506"/>
                  </a:lnTo>
                  <a:lnTo>
                    <a:pt x="24" y="498"/>
                  </a:lnTo>
                  <a:lnTo>
                    <a:pt x="24" y="496"/>
                  </a:lnTo>
                  <a:lnTo>
                    <a:pt x="28" y="490"/>
                  </a:lnTo>
                  <a:lnTo>
                    <a:pt x="32" y="484"/>
                  </a:lnTo>
                  <a:lnTo>
                    <a:pt x="32" y="482"/>
                  </a:lnTo>
                  <a:lnTo>
                    <a:pt x="34" y="478"/>
                  </a:lnTo>
                  <a:lnTo>
                    <a:pt x="34" y="476"/>
                  </a:lnTo>
                  <a:lnTo>
                    <a:pt x="36" y="470"/>
                  </a:lnTo>
                  <a:lnTo>
                    <a:pt x="38" y="460"/>
                  </a:lnTo>
                  <a:lnTo>
                    <a:pt x="38" y="452"/>
                  </a:lnTo>
                  <a:lnTo>
                    <a:pt x="40" y="448"/>
                  </a:lnTo>
                  <a:lnTo>
                    <a:pt x="40" y="446"/>
                  </a:lnTo>
                  <a:lnTo>
                    <a:pt x="40" y="442"/>
                  </a:lnTo>
                  <a:lnTo>
                    <a:pt x="40" y="436"/>
                  </a:lnTo>
                  <a:lnTo>
                    <a:pt x="40" y="434"/>
                  </a:lnTo>
                  <a:lnTo>
                    <a:pt x="40" y="432"/>
                  </a:lnTo>
                  <a:lnTo>
                    <a:pt x="40" y="430"/>
                  </a:lnTo>
                  <a:lnTo>
                    <a:pt x="40" y="428"/>
                  </a:lnTo>
                  <a:lnTo>
                    <a:pt x="40" y="424"/>
                  </a:lnTo>
                  <a:lnTo>
                    <a:pt x="38" y="418"/>
                  </a:lnTo>
                  <a:lnTo>
                    <a:pt x="38" y="414"/>
                  </a:lnTo>
                  <a:lnTo>
                    <a:pt x="38" y="408"/>
                  </a:lnTo>
                  <a:lnTo>
                    <a:pt x="38" y="406"/>
                  </a:lnTo>
                  <a:lnTo>
                    <a:pt x="38" y="404"/>
                  </a:lnTo>
                  <a:lnTo>
                    <a:pt x="38" y="400"/>
                  </a:lnTo>
                  <a:lnTo>
                    <a:pt x="36" y="398"/>
                  </a:lnTo>
                  <a:lnTo>
                    <a:pt x="36" y="396"/>
                  </a:lnTo>
                  <a:lnTo>
                    <a:pt x="36" y="394"/>
                  </a:lnTo>
                  <a:lnTo>
                    <a:pt x="34" y="388"/>
                  </a:lnTo>
                  <a:lnTo>
                    <a:pt x="32" y="388"/>
                  </a:lnTo>
                  <a:lnTo>
                    <a:pt x="28" y="386"/>
                  </a:lnTo>
                  <a:lnTo>
                    <a:pt x="26" y="380"/>
                  </a:lnTo>
                  <a:lnTo>
                    <a:pt x="30" y="380"/>
                  </a:lnTo>
                  <a:lnTo>
                    <a:pt x="34" y="378"/>
                  </a:lnTo>
                  <a:lnTo>
                    <a:pt x="34" y="376"/>
                  </a:lnTo>
                  <a:lnTo>
                    <a:pt x="36" y="376"/>
                  </a:lnTo>
                  <a:lnTo>
                    <a:pt x="38" y="372"/>
                  </a:lnTo>
                  <a:lnTo>
                    <a:pt x="36" y="372"/>
                  </a:lnTo>
                  <a:lnTo>
                    <a:pt x="32" y="374"/>
                  </a:lnTo>
                  <a:lnTo>
                    <a:pt x="32" y="376"/>
                  </a:lnTo>
                  <a:lnTo>
                    <a:pt x="30" y="376"/>
                  </a:lnTo>
                  <a:lnTo>
                    <a:pt x="32" y="370"/>
                  </a:lnTo>
                  <a:lnTo>
                    <a:pt x="34" y="370"/>
                  </a:lnTo>
                  <a:lnTo>
                    <a:pt x="34" y="368"/>
                  </a:lnTo>
                  <a:lnTo>
                    <a:pt x="38" y="366"/>
                  </a:lnTo>
                  <a:lnTo>
                    <a:pt x="44" y="358"/>
                  </a:lnTo>
                  <a:lnTo>
                    <a:pt x="44" y="352"/>
                  </a:lnTo>
                  <a:lnTo>
                    <a:pt x="46" y="346"/>
                  </a:lnTo>
                  <a:lnTo>
                    <a:pt x="50" y="334"/>
                  </a:lnTo>
                  <a:lnTo>
                    <a:pt x="48" y="332"/>
                  </a:lnTo>
                  <a:lnTo>
                    <a:pt x="46" y="326"/>
                  </a:lnTo>
                  <a:lnTo>
                    <a:pt x="44" y="322"/>
                  </a:lnTo>
                  <a:lnTo>
                    <a:pt x="44" y="318"/>
                  </a:lnTo>
                  <a:lnTo>
                    <a:pt x="42" y="312"/>
                  </a:lnTo>
                  <a:lnTo>
                    <a:pt x="42" y="310"/>
                  </a:lnTo>
                  <a:lnTo>
                    <a:pt x="40" y="306"/>
                  </a:lnTo>
                  <a:lnTo>
                    <a:pt x="38" y="306"/>
                  </a:lnTo>
                  <a:lnTo>
                    <a:pt x="36" y="312"/>
                  </a:lnTo>
                  <a:lnTo>
                    <a:pt x="36" y="314"/>
                  </a:lnTo>
                  <a:lnTo>
                    <a:pt x="34" y="312"/>
                  </a:lnTo>
                  <a:lnTo>
                    <a:pt x="32" y="308"/>
                  </a:lnTo>
                  <a:lnTo>
                    <a:pt x="24" y="282"/>
                  </a:lnTo>
                  <a:lnTo>
                    <a:pt x="24" y="280"/>
                  </a:lnTo>
                  <a:lnTo>
                    <a:pt x="20" y="284"/>
                  </a:lnTo>
                  <a:lnTo>
                    <a:pt x="18" y="288"/>
                  </a:lnTo>
                  <a:lnTo>
                    <a:pt x="18" y="290"/>
                  </a:lnTo>
                  <a:lnTo>
                    <a:pt x="16" y="296"/>
                  </a:lnTo>
                  <a:lnTo>
                    <a:pt x="14" y="300"/>
                  </a:lnTo>
                  <a:lnTo>
                    <a:pt x="14" y="292"/>
                  </a:lnTo>
                  <a:lnTo>
                    <a:pt x="16" y="290"/>
                  </a:lnTo>
                  <a:lnTo>
                    <a:pt x="16" y="288"/>
                  </a:lnTo>
                  <a:lnTo>
                    <a:pt x="20" y="280"/>
                  </a:lnTo>
                  <a:lnTo>
                    <a:pt x="24" y="272"/>
                  </a:lnTo>
                  <a:lnTo>
                    <a:pt x="24" y="270"/>
                  </a:lnTo>
                  <a:lnTo>
                    <a:pt x="40" y="272"/>
                  </a:lnTo>
                  <a:lnTo>
                    <a:pt x="62" y="274"/>
                  </a:lnTo>
                  <a:lnTo>
                    <a:pt x="68" y="276"/>
                  </a:lnTo>
                  <a:lnTo>
                    <a:pt x="74" y="276"/>
                  </a:lnTo>
                  <a:lnTo>
                    <a:pt x="82" y="278"/>
                  </a:lnTo>
                  <a:lnTo>
                    <a:pt x="106" y="280"/>
                  </a:lnTo>
                  <a:lnTo>
                    <a:pt x="116" y="282"/>
                  </a:lnTo>
                  <a:lnTo>
                    <a:pt x="132" y="284"/>
                  </a:lnTo>
                  <a:lnTo>
                    <a:pt x="142" y="284"/>
                  </a:lnTo>
                  <a:lnTo>
                    <a:pt x="150" y="286"/>
                  </a:lnTo>
                  <a:lnTo>
                    <a:pt x="152" y="286"/>
                  </a:lnTo>
                  <a:lnTo>
                    <a:pt x="168" y="288"/>
                  </a:lnTo>
                  <a:lnTo>
                    <a:pt x="194" y="290"/>
                  </a:lnTo>
                  <a:lnTo>
                    <a:pt x="212" y="292"/>
                  </a:lnTo>
                  <a:lnTo>
                    <a:pt x="212" y="288"/>
                  </a:lnTo>
                  <a:lnTo>
                    <a:pt x="214" y="268"/>
                  </a:lnTo>
                  <a:lnTo>
                    <a:pt x="216" y="256"/>
                  </a:lnTo>
                  <a:lnTo>
                    <a:pt x="216" y="252"/>
                  </a:lnTo>
                  <a:lnTo>
                    <a:pt x="218" y="246"/>
                  </a:lnTo>
                  <a:lnTo>
                    <a:pt x="218" y="240"/>
                  </a:lnTo>
                  <a:lnTo>
                    <a:pt x="220" y="230"/>
                  </a:lnTo>
                  <a:lnTo>
                    <a:pt x="220" y="226"/>
                  </a:lnTo>
                  <a:lnTo>
                    <a:pt x="218" y="216"/>
                  </a:lnTo>
                  <a:lnTo>
                    <a:pt x="220" y="214"/>
                  </a:lnTo>
                  <a:lnTo>
                    <a:pt x="220" y="210"/>
                  </a:lnTo>
                  <a:lnTo>
                    <a:pt x="224" y="206"/>
                  </a:lnTo>
                  <a:lnTo>
                    <a:pt x="228" y="202"/>
                  </a:lnTo>
                  <a:lnTo>
                    <a:pt x="242" y="196"/>
                  </a:lnTo>
                  <a:lnTo>
                    <a:pt x="246" y="192"/>
                  </a:lnTo>
                  <a:lnTo>
                    <a:pt x="248" y="192"/>
                  </a:lnTo>
                  <a:lnTo>
                    <a:pt x="250" y="192"/>
                  </a:lnTo>
                  <a:lnTo>
                    <a:pt x="260" y="190"/>
                  </a:lnTo>
                  <a:lnTo>
                    <a:pt x="266" y="188"/>
                  </a:lnTo>
                  <a:lnTo>
                    <a:pt x="274" y="186"/>
                  </a:lnTo>
                  <a:lnTo>
                    <a:pt x="278" y="186"/>
                  </a:lnTo>
                  <a:lnTo>
                    <a:pt x="282" y="168"/>
                  </a:lnTo>
                  <a:lnTo>
                    <a:pt x="284" y="156"/>
                  </a:lnTo>
                  <a:lnTo>
                    <a:pt x="286" y="138"/>
                  </a:lnTo>
                  <a:lnTo>
                    <a:pt x="288" y="136"/>
                  </a:lnTo>
                  <a:lnTo>
                    <a:pt x="290" y="116"/>
                  </a:lnTo>
                  <a:lnTo>
                    <a:pt x="292" y="114"/>
                  </a:lnTo>
                  <a:lnTo>
                    <a:pt x="292" y="110"/>
                  </a:lnTo>
                  <a:lnTo>
                    <a:pt x="296" y="92"/>
                  </a:lnTo>
                  <a:lnTo>
                    <a:pt x="296" y="90"/>
                  </a:lnTo>
                  <a:lnTo>
                    <a:pt x="296" y="86"/>
                  </a:lnTo>
                  <a:lnTo>
                    <a:pt x="298" y="70"/>
                  </a:lnTo>
                  <a:lnTo>
                    <a:pt x="300" y="68"/>
                  </a:lnTo>
                  <a:lnTo>
                    <a:pt x="300" y="64"/>
                  </a:lnTo>
                  <a:lnTo>
                    <a:pt x="302" y="50"/>
                  </a:lnTo>
                  <a:lnTo>
                    <a:pt x="318" y="52"/>
                  </a:lnTo>
                  <a:lnTo>
                    <a:pt x="338" y="54"/>
                  </a:lnTo>
                  <a:lnTo>
                    <a:pt x="362" y="58"/>
                  </a:lnTo>
                  <a:lnTo>
                    <a:pt x="372" y="58"/>
                  </a:lnTo>
                  <a:lnTo>
                    <a:pt x="390" y="60"/>
                  </a:lnTo>
                  <a:lnTo>
                    <a:pt x="396" y="62"/>
                  </a:lnTo>
                  <a:lnTo>
                    <a:pt x="398" y="62"/>
                  </a:lnTo>
                  <a:lnTo>
                    <a:pt x="400" y="62"/>
                  </a:lnTo>
                  <a:lnTo>
                    <a:pt x="410" y="62"/>
                  </a:lnTo>
                  <a:lnTo>
                    <a:pt x="414" y="62"/>
                  </a:lnTo>
                  <a:lnTo>
                    <a:pt x="416" y="64"/>
                  </a:lnTo>
                  <a:lnTo>
                    <a:pt x="424" y="64"/>
                  </a:lnTo>
                  <a:lnTo>
                    <a:pt x="458" y="68"/>
                  </a:lnTo>
                  <a:lnTo>
                    <a:pt x="458" y="64"/>
                  </a:lnTo>
                  <a:lnTo>
                    <a:pt x="460" y="62"/>
                  </a:lnTo>
                  <a:lnTo>
                    <a:pt x="462" y="48"/>
                  </a:lnTo>
                  <a:lnTo>
                    <a:pt x="466" y="24"/>
                  </a:lnTo>
                  <a:lnTo>
                    <a:pt x="466" y="18"/>
                  </a:lnTo>
                  <a:lnTo>
                    <a:pt x="470" y="0"/>
                  </a:lnTo>
                  <a:lnTo>
                    <a:pt x="488" y="16"/>
                  </a:lnTo>
                  <a:lnTo>
                    <a:pt x="492" y="18"/>
                  </a:lnTo>
                  <a:lnTo>
                    <a:pt x="508" y="34"/>
                  </a:lnTo>
                  <a:lnTo>
                    <a:pt x="510" y="34"/>
                  </a:lnTo>
                  <a:lnTo>
                    <a:pt x="528" y="50"/>
                  </a:lnTo>
                  <a:lnTo>
                    <a:pt x="530" y="52"/>
                  </a:lnTo>
                  <a:lnTo>
                    <a:pt x="538" y="60"/>
                  </a:lnTo>
                  <a:lnTo>
                    <a:pt x="548" y="68"/>
                  </a:lnTo>
                  <a:lnTo>
                    <a:pt x="552" y="72"/>
                  </a:lnTo>
                  <a:lnTo>
                    <a:pt x="568" y="84"/>
                  </a:lnTo>
                  <a:lnTo>
                    <a:pt x="586" y="100"/>
                  </a:lnTo>
                  <a:lnTo>
                    <a:pt x="588" y="102"/>
                  </a:lnTo>
                  <a:lnTo>
                    <a:pt x="594" y="108"/>
                  </a:lnTo>
                  <a:lnTo>
                    <a:pt x="610" y="122"/>
                  </a:lnTo>
                  <a:lnTo>
                    <a:pt x="626" y="136"/>
                  </a:lnTo>
                  <a:lnTo>
                    <a:pt x="630" y="138"/>
                  </a:lnTo>
                  <a:lnTo>
                    <a:pt x="628" y="138"/>
                  </a:lnTo>
                  <a:lnTo>
                    <a:pt x="622" y="138"/>
                  </a:lnTo>
                  <a:lnTo>
                    <a:pt x="586" y="136"/>
                  </a:lnTo>
                  <a:lnTo>
                    <a:pt x="568" y="134"/>
                  </a:lnTo>
                  <a:lnTo>
                    <a:pt x="560" y="132"/>
                  </a:lnTo>
                  <a:lnTo>
                    <a:pt x="558" y="132"/>
                  </a:lnTo>
                  <a:lnTo>
                    <a:pt x="550" y="132"/>
                  </a:lnTo>
                  <a:lnTo>
                    <a:pt x="546" y="130"/>
                  </a:lnTo>
                  <a:lnTo>
                    <a:pt x="546" y="150"/>
                  </a:lnTo>
                  <a:lnTo>
                    <a:pt x="546" y="154"/>
                  </a:lnTo>
                  <a:lnTo>
                    <a:pt x="546" y="160"/>
                  </a:lnTo>
                  <a:lnTo>
                    <a:pt x="546" y="176"/>
                  </a:lnTo>
                  <a:lnTo>
                    <a:pt x="546" y="190"/>
                  </a:lnTo>
                  <a:lnTo>
                    <a:pt x="544" y="224"/>
                  </a:lnTo>
                  <a:lnTo>
                    <a:pt x="544" y="23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4" name="Freeform 1380"/>
            <p:cNvSpPr>
              <a:spLocks/>
            </p:cNvSpPr>
            <p:nvPr/>
          </p:nvSpPr>
          <p:spPr bwMode="auto">
            <a:xfrm>
              <a:off x="4514567" y="2471483"/>
              <a:ext cx="990868" cy="745654"/>
            </a:xfrm>
            <a:custGeom>
              <a:avLst/>
              <a:gdLst/>
              <a:ahLst/>
              <a:cxnLst>
                <a:cxn ang="0">
                  <a:pos x="316" y="510"/>
                </a:cxn>
                <a:cxn ang="0">
                  <a:pos x="286" y="496"/>
                </a:cxn>
                <a:cxn ang="0">
                  <a:pos x="256" y="488"/>
                </a:cxn>
                <a:cxn ang="0">
                  <a:pos x="232" y="490"/>
                </a:cxn>
                <a:cxn ang="0">
                  <a:pos x="194" y="516"/>
                </a:cxn>
                <a:cxn ang="0">
                  <a:pos x="166" y="552"/>
                </a:cxn>
                <a:cxn ang="0">
                  <a:pos x="166" y="582"/>
                </a:cxn>
                <a:cxn ang="0">
                  <a:pos x="160" y="594"/>
                </a:cxn>
                <a:cxn ang="0">
                  <a:pos x="148" y="584"/>
                </a:cxn>
                <a:cxn ang="0">
                  <a:pos x="128" y="558"/>
                </a:cxn>
                <a:cxn ang="0">
                  <a:pos x="110" y="562"/>
                </a:cxn>
                <a:cxn ang="0">
                  <a:pos x="102" y="582"/>
                </a:cxn>
                <a:cxn ang="0">
                  <a:pos x="98" y="552"/>
                </a:cxn>
                <a:cxn ang="0">
                  <a:pos x="82" y="540"/>
                </a:cxn>
                <a:cxn ang="0">
                  <a:pos x="34" y="520"/>
                </a:cxn>
                <a:cxn ang="0">
                  <a:pos x="42" y="506"/>
                </a:cxn>
                <a:cxn ang="0">
                  <a:pos x="38" y="498"/>
                </a:cxn>
                <a:cxn ang="0">
                  <a:pos x="14" y="476"/>
                </a:cxn>
                <a:cxn ang="0">
                  <a:pos x="6" y="450"/>
                </a:cxn>
                <a:cxn ang="0">
                  <a:pos x="2" y="424"/>
                </a:cxn>
                <a:cxn ang="0">
                  <a:pos x="12" y="420"/>
                </a:cxn>
                <a:cxn ang="0">
                  <a:pos x="32" y="420"/>
                </a:cxn>
                <a:cxn ang="0">
                  <a:pos x="92" y="404"/>
                </a:cxn>
                <a:cxn ang="0">
                  <a:pos x="144" y="400"/>
                </a:cxn>
                <a:cxn ang="0">
                  <a:pos x="180" y="390"/>
                </a:cxn>
                <a:cxn ang="0">
                  <a:pos x="192" y="376"/>
                </a:cxn>
                <a:cxn ang="0">
                  <a:pos x="206" y="354"/>
                </a:cxn>
                <a:cxn ang="0">
                  <a:pos x="210" y="298"/>
                </a:cxn>
                <a:cxn ang="0">
                  <a:pos x="218" y="212"/>
                </a:cxn>
                <a:cxn ang="0">
                  <a:pos x="286" y="200"/>
                </a:cxn>
                <a:cxn ang="0">
                  <a:pos x="338" y="164"/>
                </a:cxn>
                <a:cxn ang="0">
                  <a:pos x="408" y="112"/>
                </a:cxn>
                <a:cxn ang="0">
                  <a:pos x="512" y="52"/>
                </a:cxn>
                <a:cxn ang="0">
                  <a:pos x="590" y="8"/>
                </a:cxn>
                <a:cxn ang="0">
                  <a:pos x="622" y="6"/>
                </a:cxn>
                <a:cxn ang="0">
                  <a:pos x="670" y="18"/>
                </a:cxn>
                <a:cxn ang="0">
                  <a:pos x="710" y="50"/>
                </a:cxn>
                <a:cxn ang="0">
                  <a:pos x="744" y="30"/>
                </a:cxn>
                <a:cxn ang="0">
                  <a:pos x="754" y="90"/>
                </a:cxn>
                <a:cxn ang="0">
                  <a:pos x="770" y="128"/>
                </a:cxn>
                <a:cxn ang="0">
                  <a:pos x="770" y="142"/>
                </a:cxn>
                <a:cxn ang="0">
                  <a:pos x="786" y="178"/>
                </a:cxn>
                <a:cxn ang="0">
                  <a:pos x="772" y="244"/>
                </a:cxn>
                <a:cxn ang="0">
                  <a:pos x="764" y="342"/>
                </a:cxn>
                <a:cxn ang="0">
                  <a:pos x="734" y="374"/>
                </a:cxn>
                <a:cxn ang="0">
                  <a:pos x="688" y="428"/>
                </a:cxn>
                <a:cxn ang="0">
                  <a:pos x="676" y="454"/>
                </a:cxn>
                <a:cxn ang="0">
                  <a:pos x="662" y="464"/>
                </a:cxn>
                <a:cxn ang="0">
                  <a:pos x="654" y="504"/>
                </a:cxn>
                <a:cxn ang="0">
                  <a:pos x="632" y="516"/>
                </a:cxn>
                <a:cxn ang="0">
                  <a:pos x="614" y="528"/>
                </a:cxn>
                <a:cxn ang="0">
                  <a:pos x="604" y="536"/>
                </a:cxn>
                <a:cxn ang="0">
                  <a:pos x="560" y="520"/>
                </a:cxn>
                <a:cxn ang="0">
                  <a:pos x="546" y="520"/>
                </a:cxn>
                <a:cxn ang="0">
                  <a:pos x="534" y="520"/>
                </a:cxn>
                <a:cxn ang="0">
                  <a:pos x="522" y="518"/>
                </a:cxn>
                <a:cxn ang="0">
                  <a:pos x="506" y="522"/>
                </a:cxn>
                <a:cxn ang="0">
                  <a:pos x="486" y="528"/>
                </a:cxn>
                <a:cxn ang="0">
                  <a:pos x="466" y="548"/>
                </a:cxn>
                <a:cxn ang="0">
                  <a:pos x="426" y="542"/>
                </a:cxn>
                <a:cxn ang="0">
                  <a:pos x="412" y="532"/>
                </a:cxn>
                <a:cxn ang="0">
                  <a:pos x="398" y="524"/>
                </a:cxn>
                <a:cxn ang="0">
                  <a:pos x="352" y="528"/>
                </a:cxn>
              </a:cxnLst>
              <a:rect l="0" t="0" r="r" b="b"/>
              <a:pathLst>
                <a:path w="792" h="596">
                  <a:moveTo>
                    <a:pt x="338" y="534"/>
                  </a:moveTo>
                  <a:lnTo>
                    <a:pt x="332" y="534"/>
                  </a:lnTo>
                  <a:lnTo>
                    <a:pt x="326" y="528"/>
                  </a:lnTo>
                  <a:lnTo>
                    <a:pt x="326" y="526"/>
                  </a:lnTo>
                  <a:lnTo>
                    <a:pt x="320" y="516"/>
                  </a:lnTo>
                  <a:lnTo>
                    <a:pt x="316" y="510"/>
                  </a:lnTo>
                  <a:lnTo>
                    <a:pt x="308" y="502"/>
                  </a:lnTo>
                  <a:lnTo>
                    <a:pt x="306" y="500"/>
                  </a:lnTo>
                  <a:lnTo>
                    <a:pt x="302" y="498"/>
                  </a:lnTo>
                  <a:lnTo>
                    <a:pt x="298" y="496"/>
                  </a:lnTo>
                  <a:lnTo>
                    <a:pt x="294" y="498"/>
                  </a:lnTo>
                  <a:lnTo>
                    <a:pt x="286" y="496"/>
                  </a:lnTo>
                  <a:lnTo>
                    <a:pt x="282" y="494"/>
                  </a:lnTo>
                  <a:lnTo>
                    <a:pt x="272" y="490"/>
                  </a:lnTo>
                  <a:lnTo>
                    <a:pt x="270" y="488"/>
                  </a:lnTo>
                  <a:lnTo>
                    <a:pt x="264" y="484"/>
                  </a:lnTo>
                  <a:lnTo>
                    <a:pt x="264" y="486"/>
                  </a:lnTo>
                  <a:lnTo>
                    <a:pt x="256" y="488"/>
                  </a:lnTo>
                  <a:lnTo>
                    <a:pt x="254" y="490"/>
                  </a:lnTo>
                  <a:lnTo>
                    <a:pt x="252" y="492"/>
                  </a:lnTo>
                  <a:lnTo>
                    <a:pt x="248" y="492"/>
                  </a:lnTo>
                  <a:lnTo>
                    <a:pt x="238" y="492"/>
                  </a:lnTo>
                  <a:lnTo>
                    <a:pt x="234" y="492"/>
                  </a:lnTo>
                  <a:lnTo>
                    <a:pt x="232" y="490"/>
                  </a:lnTo>
                  <a:lnTo>
                    <a:pt x="220" y="492"/>
                  </a:lnTo>
                  <a:lnTo>
                    <a:pt x="212" y="494"/>
                  </a:lnTo>
                  <a:lnTo>
                    <a:pt x="198" y="504"/>
                  </a:lnTo>
                  <a:lnTo>
                    <a:pt x="194" y="504"/>
                  </a:lnTo>
                  <a:lnTo>
                    <a:pt x="194" y="508"/>
                  </a:lnTo>
                  <a:lnTo>
                    <a:pt x="194" y="516"/>
                  </a:lnTo>
                  <a:lnTo>
                    <a:pt x="194" y="520"/>
                  </a:lnTo>
                  <a:lnTo>
                    <a:pt x="190" y="528"/>
                  </a:lnTo>
                  <a:lnTo>
                    <a:pt x="190" y="532"/>
                  </a:lnTo>
                  <a:lnTo>
                    <a:pt x="182" y="542"/>
                  </a:lnTo>
                  <a:lnTo>
                    <a:pt x="180" y="542"/>
                  </a:lnTo>
                  <a:lnTo>
                    <a:pt x="166" y="552"/>
                  </a:lnTo>
                  <a:lnTo>
                    <a:pt x="166" y="556"/>
                  </a:lnTo>
                  <a:lnTo>
                    <a:pt x="166" y="566"/>
                  </a:lnTo>
                  <a:lnTo>
                    <a:pt x="166" y="568"/>
                  </a:lnTo>
                  <a:lnTo>
                    <a:pt x="166" y="574"/>
                  </a:lnTo>
                  <a:lnTo>
                    <a:pt x="166" y="580"/>
                  </a:lnTo>
                  <a:lnTo>
                    <a:pt x="166" y="582"/>
                  </a:lnTo>
                  <a:lnTo>
                    <a:pt x="164" y="584"/>
                  </a:lnTo>
                  <a:lnTo>
                    <a:pt x="164" y="588"/>
                  </a:lnTo>
                  <a:lnTo>
                    <a:pt x="166" y="590"/>
                  </a:lnTo>
                  <a:lnTo>
                    <a:pt x="166" y="594"/>
                  </a:lnTo>
                  <a:lnTo>
                    <a:pt x="162" y="596"/>
                  </a:lnTo>
                  <a:lnTo>
                    <a:pt x="160" y="594"/>
                  </a:lnTo>
                  <a:lnTo>
                    <a:pt x="160" y="592"/>
                  </a:lnTo>
                  <a:lnTo>
                    <a:pt x="158" y="588"/>
                  </a:lnTo>
                  <a:lnTo>
                    <a:pt x="156" y="586"/>
                  </a:lnTo>
                  <a:lnTo>
                    <a:pt x="152" y="584"/>
                  </a:lnTo>
                  <a:lnTo>
                    <a:pt x="150" y="584"/>
                  </a:lnTo>
                  <a:lnTo>
                    <a:pt x="148" y="584"/>
                  </a:lnTo>
                  <a:lnTo>
                    <a:pt x="146" y="582"/>
                  </a:lnTo>
                  <a:lnTo>
                    <a:pt x="146" y="580"/>
                  </a:lnTo>
                  <a:lnTo>
                    <a:pt x="146" y="578"/>
                  </a:lnTo>
                  <a:lnTo>
                    <a:pt x="142" y="572"/>
                  </a:lnTo>
                  <a:lnTo>
                    <a:pt x="134" y="564"/>
                  </a:lnTo>
                  <a:lnTo>
                    <a:pt x="128" y="558"/>
                  </a:lnTo>
                  <a:lnTo>
                    <a:pt x="126" y="558"/>
                  </a:lnTo>
                  <a:lnTo>
                    <a:pt x="122" y="558"/>
                  </a:lnTo>
                  <a:lnTo>
                    <a:pt x="120" y="560"/>
                  </a:lnTo>
                  <a:lnTo>
                    <a:pt x="118" y="562"/>
                  </a:lnTo>
                  <a:lnTo>
                    <a:pt x="114" y="562"/>
                  </a:lnTo>
                  <a:lnTo>
                    <a:pt x="110" y="562"/>
                  </a:lnTo>
                  <a:lnTo>
                    <a:pt x="102" y="564"/>
                  </a:lnTo>
                  <a:lnTo>
                    <a:pt x="102" y="566"/>
                  </a:lnTo>
                  <a:lnTo>
                    <a:pt x="102" y="572"/>
                  </a:lnTo>
                  <a:lnTo>
                    <a:pt x="104" y="572"/>
                  </a:lnTo>
                  <a:lnTo>
                    <a:pt x="102" y="580"/>
                  </a:lnTo>
                  <a:lnTo>
                    <a:pt x="102" y="582"/>
                  </a:lnTo>
                  <a:lnTo>
                    <a:pt x="100" y="578"/>
                  </a:lnTo>
                  <a:lnTo>
                    <a:pt x="88" y="558"/>
                  </a:lnTo>
                  <a:lnTo>
                    <a:pt x="88" y="556"/>
                  </a:lnTo>
                  <a:lnTo>
                    <a:pt x="92" y="556"/>
                  </a:lnTo>
                  <a:lnTo>
                    <a:pt x="96" y="556"/>
                  </a:lnTo>
                  <a:lnTo>
                    <a:pt x="98" y="552"/>
                  </a:lnTo>
                  <a:lnTo>
                    <a:pt x="96" y="546"/>
                  </a:lnTo>
                  <a:lnTo>
                    <a:pt x="94" y="544"/>
                  </a:lnTo>
                  <a:lnTo>
                    <a:pt x="92" y="540"/>
                  </a:lnTo>
                  <a:lnTo>
                    <a:pt x="90" y="540"/>
                  </a:lnTo>
                  <a:lnTo>
                    <a:pt x="84" y="540"/>
                  </a:lnTo>
                  <a:lnTo>
                    <a:pt x="82" y="540"/>
                  </a:lnTo>
                  <a:lnTo>
                    <a:pt x="78" y="544"/>
                  </a:lnTo>
                  <a:lnTo>
                    <a:pt x="64" y="542"/>
                  </a:lnTo>
                  <a:lnTo>
                    <a:pt x="52" y="532"/>
                  </a:lnTo>
                  <a:lnTo>
                    <a:pt x="42" y="522"/>
                  </a:lnTo>
                  <a:lnTo>
                    <a:pt x="36" y="522"/>
                  </a:lnTo>
                  <a:lnTo>
                    <a:pt x="34" y="520"/>
                  </a:lnTo>
                  <a:lnTo>
                    <a:pt x="36" y="518"/>
                  </a:lnTo>
                  <a:lnTo>
                    <a:pt x="36" y="506"/>
                  </a:lnTo>
                  <a:lnTo>
                    <a:pt x="36" y="504"/>
                  </a:lnTo>
                  <a:lnTo>
                    <a:pt x="38" y="504"/>
                  </a:lnTo>
                  <a:lnTo>
                    <a:pt x="40" y="504"/>
                  </a:lnTo>
                  <a:lnTo>
                    <a:pt x="42" y="506"/>
                  </a:lnTo>
                  <a:lnTo>
                    <a:pt x="46" y="506"/>
                  </a:lnTo>
                  <a:lnTo>
                    <a:pt x="50" y="506"/>
                  </a:lnTo>
                  <a:lnTo>
                    <a:pt x="48" y="502"/>
                  </a:lnTo>
                  <a:lnTo>
                    <a:pt x="46" y="502"/>
                  </a:lnTo>
                  <a:lnTo>
                    <a:pt x="44" y="502"/>
                  </a:lnTo>
                  <a:lnTo>
                    <a:pt x="38" y="498"/>
                  </a:lnTo>
                  <a:lnTo>
                    <a:pt x="38" y="496"/>
                  </a:lnTo>
                  <a:lnTo>
                    <a:pt x="38" y="494"/>
                  </a:lnTo>
                  <a:lnTo>
                    <a:pt x="28" y="486"/>
                  </a:lnTo>
                  <a:lnTo>
                    <a:pt x="20" y="486"/>
                  </a:lnTo>
                  <a:lnTo>
                    <a:pt x="18" y="484"/>
                  </a:lnTo>
                  <a:lnTo>
                    <a:pt x="14" y="476"/>
                  </a:lnTo>
                  <a:lnTo>
                    <a:pt x="12" y="474"/>
                  </a:lnTo>
                  <a:lnTo>
                    <a:pt x="8" y="462"/>
                  </a:lnTo>
                  <a:lnTo>
                    <a:pt x="10" y="460"/>
                  </a:lnTo>
                  <a:lnTo>
                    <a:pt x="10" y="456"/>
                  </a:lnTo>
                  <a:lnTo>
                    <a:pt x="10" y="454"/>
                  </a:lnTo>
                  <a:lnTo>
                    <a:pt x="6" y="450"/>
                  </a:lnTo>
                  <a:lnTo>
                    <a:pt x="2" y="446"/>
                  </a:lnTo>
                  <a:lnTo>
                    <a:pt x="0" y="444"/>
                  </a:lnTo>
                  <a:lnTo>
                    <a:pt x="0" y="442"/>
                  </a:lnTo>
                  <a:lnTo>
                    <a:pt x="2" y="432"/>
                  </a:lnTo>
                  <a:lnTo>
                    <a:pt x="4" y="430"/>
                  </a:lnTo>
                  <a:lnTo>
                    <a:pt x="2" y="424"/>
                  </a:lnTo>
                  <a:lnTo>
                    <a:pt x="4" y="422"/>
                  </a:lnTo>
                  <a:lnTo>
                    <a:pt x="4" y="420"/>
                  </a:lnTo>
                  <a:lnTo>
                    <a:pt x="4" y="416"/>
                  </a:lnTo>
                  <a:lnTo>
                    <a:pt x="6" y="418"/>
                  </a:lnTo>
                  <a:lnTo>
                    <a:pt x="10" y="418"/>
                  </a:lnTo>
                  <a:lnTo>
                    <a:pt x="12" y="420"/>
                  </a:lnTo>
                  <a:lnTo>
                    <a:pt x="14" y="418"/>
                  </a:lnTo>
                  <a:lnTo>
                    <a:pt x="18" y="418"/>
                  </a:lnTo>
                  <a:lnTo>
                    <a:pt x="24" y="420"/>
                  </a:lnTo>
                  <a:lnTo>
                    <a:pt x="26" y="420"/>
                  </a:lnTo>
                  <a:lnTo>
                    <a:pt x="28" y="420"/>
                  </a:lnTo>
                  <a:lnTo>
                    <a:pt x="32" y="420"/>
                  </a:lnTo>
                  <a:lnTo>
                    <a:pt x="40" y="420"/>
                  </a:lnTo>
                  <a:lnTo>
                    <a:pt x="42" y="420"/>
                  </a:lnTo>
                  <a:lnTo>
                    <a:pt x="46" y="414"/>
                  </a:lnTo>
                  <a:lnTo>
                    <a:pt x="58" y="404"/>
                  </a:lnTo>
                  <a:lnTo>
                    <a:pt x="88" y="404"/>
                  </a:lnTo>
                  <a:lnTo>
                    <a:pt x="92" y="404"/>
                  </a:lnTo>
                  <a:lnTo>
                    <a:pt x="118" y="404"/>
                  </a:lnTo>
                  <a:lnTo>
                    <a:pt x="124" y="404"/>
                  </a:lnTo>
                  <a:lnTo>
                    <a:pt x="136" y="404"/>
                  </a:lnTo>
                  <a:lnTo>
                    <a:pt x="144" y="406"/>
                  </a:lnTo>
                  <a:lnTo>
                    <a:pt x="144" y="402"/>
                  </a:lnTo>
                  <a:lnTo>
                    <a:pt x="144" y="400"/>
                  </a:lnTo>
                  <a:lnTo>
                    <a:pt x="158" y="404"/>
                  </a:lnTo>
                  <a:lnTo>
                    <a:pt x="168" y="406"/>
                  </a:lnTo>
                  <a:lnTo>
                    <a:pt x="168" y="404"/>
                  </a:lnTo>
                  <a:lnTo>
                    <a:pt x="170" y="402"/>
                  </a:lnTo>
                  <a:lnTo>
                    <a:pt x="172" y="398"/>
                  </a:lnTo>
                  <a:lnTo>
                    <a:pt x="180" y="390"/>
                  </a:lnTo>
                  <a:lnTo>
                    <a:pt x="182" y="390"/>
                  </a:lnTo>
                  <a:lnTo>
                    <a:pt x="184" y="390"/>
                  </a:lnTo>
                  <a:lnTo>
                    <a:pt x="186" y="390"/>
                  </a:lnTo>
                  <a:lnTo>
                    <a:pt x="188" y="388"/>
                  </a:lnTo>
                  <a:lnTo>
                    <a:pt x="188" y="386"/>
                  </a:lnTo>
                  <a:lnTo>
                    <a:pt x="192" y="376"/>
                  </a:lnTo>
                  <a:lnTo>
                    <a:pt x="194" y="370"/>
                  </a:lnTo>
                  <a:lnTo>
                    <a:pt x="198" y="358"/>
                  </a:lnTo>
                  <a:lnTo>
                    <a:pt x="200" y="356"/>
                  </a:lnTo>
                  <a:lnTo>
                    <a:pt x="202" y="354"/>
                  </a:lnTo>
                  <a:lnTo>
                    <a:pt x="204" y="354"/>
                  </a:lnTo>
                  <a:lnTo>
                    <a:pt x="206" y="354"/>
                  </a:lnTo>
                  <a:lnTo>
                    <a:pt x="206" y="334"/>
                  </a:lnTo>
                  <a:lnTo>
                    <a:pt x="206" y="332"/>
                  </a:lnTo>
                  <a:lnTo>
                    <a:pt x="208" y="326"/>
                  </a:lnTo>
                  <a:lnTo>
                    <a:pt x="210" y="322"/>
                  </a:lnTo>
                  <a:lnTo>
                    <a:pt x="210" y="308"/>
                  </a:lnTo>
                  <a:lnTo>
                    <a:pt x="210" y="298"/>
                  </a:lnTo>
                  <a:lnTo>
                    <a:pt x="212" y="290"/>
                  </a:lnTo>
                  <a:lnTo>
                    <a:pt x="212" y="270"/>
                  </a:lnTo>
                  <a:lnTo>
                    <a:pt x="216" y="236"/>
                  </a:lnTo>
                  <a:lnTo>
                    <a:pt x="216" y="226"/>
                  </a:lnTo>
                  <a:lnTo>
                    <a:pt x="216" y="214"/>
                  </a:lnTo>
                  <a:lnTo>
                    <a:pt x="218" y="212"/>
                  </a:lnTo>
                  <a:lnTo>
                    <a:pt x="222" y="210"/>
                  </a:lnTo>
                  <a:lnTo>
                    <a:pt x="230" y="210"/>
                  </a:lnTo>
                  <a:lnTo>
                    <a:pt x="248" y="206"/>
                  </a:lnTo>
                  <a:lnTo>
                    <a:pt x="270" y="202"/>
                  </a:lnTo>
                  <a:lnTo>
                    <a:pt x="282" y="202"/>
                  </a:lnTo>
                  <a:lnTo>
                    <a:pt x="286" y="200"/>
                  </a:lnTo>
                  <a:lnTo>
                    <a:pt x="294" y="200"/>
                  </a:lnTo>
                  <a:lnTo>
                    <a:pt x="302" y="192"/>
                  </a:lnTo>
                  <a:lnTo>
                    <a:pt x="304" y="192"/>
                  </a:lnTo>
                  <a:lnTo>
                    <a:pt x="320" y="178"/>
                  </a:lnTo>
                  <a:lnTo>
                    <a:pt x="328" y="170"/>
                  </a:lnTo>
                  <a:lnTo>
                    <a:pt x="338" y="164"/>
                  </a:lnTo>
                  <a:lnTo>
                    <a:pt x="352" y="152"/>
                  </a:lnTo>
                  <a:lnTo>
                    <a:pt x="378" y="130"/>
                  </a:lnTo>
                  <a:lnTo>
                    <a:pt x="388" y="124"/>
                  </a:lnTo>
                  <a:lnTo>
                    <a:pt x="392" y="122"/>
                  </a:lnTo>
                  <a:lnTo>
                    <a:pt x="402" y="116"/>
                  </a:lnTo>
                  <a:lnTo>
                    <a:pt x="408" y="112"/>
                  </a:lnTo>
                  <a:lnTo>
                    <a:pt x="436" y="96"/>
                  </a:lnTo>
                  <a:lnTo>
                    <a:pt x="442" y="94"/>
                  </a:lnTo>
                  <a:lnTo>
                    <a:pt x="456" y="84"/>
                  </a:lnTo>
                  <a:lnTo>
                    <a:pt x="480" y="72"/>
                  </a:lnTo>
                  <a:lnTo>
                    <a:pt x="492" y="64"/>
                  </a:lnTo>
                  <a:lnTo>
                    <a:pt x="512" y="52"/>
                  </a:lnTo>
                  <a:lnTo>
                    <a:pt x="522" y="46"/>
                  </a:lnTo>
                  <a:lnTo>
                    <a:pt x="536" y="38"/>
                  </a:lnTo>
                  <a:lnTo>
                    <a:pt x="542" y="34"/>
                  </a:lnTo>
                  <a:lnTo>
                    <a:pt x="546" y="32"/>
                  </a:lnTo>
                  <a:lnTo>
                    <a:pt x="560" y="26"/>
                  </a:lnTo>
                  <a:lnTo>
                    <a:pt x="590" y="8"/>
                  </a:lnTo>
                  <a:lnTo>
                    <a:pt x="592" y="6"/>
                  </a:lnTo>
                  <a:lnTo>
                    <a:pt x="602" y="0"/>
                  </a:lnTo>
                  <a:lnTo>
                    <a:pt x="604" y="0"/>
                  </a:lnTo>
                  <a:lnTo>
                    <a:pt x="618" y="4"/>
                  </a:lnTo>
                  <a:lnTo>
                    <a:pt x="620" y="4"/>
                  </a:lnTo>
                  <a:lnTo>
                    <a:pt x="622" y="6"/>
                  </a:lnTo>
                  <a:lnTo>
                    <a:pt x="626" y="6"/>
                  </a:lnTo>
                  <a:lnTo>
                    <a:pt x="632" y="8"/>
                  </a:lnTo>
                  <a:lnTo>
                    <a:pt x="646" y="12"/>
                  </a:lnTo>
                  <a:lnTo>
                    <a:pt x="656" y="14"/>
                  </a:lnTo>
                  <a:lnTo>
                    <a:pt x="668" y="18"/>
                  </a:lnTo>
                  <a:lnTo>
                    <a:pt x="670" y="18"/>
                  </a:lnTo>
                  <a:lnTo>
                    <a:pt x="674" y="18"/>
                  </a:lnTo>
                  <a:lnTo>
                    <a:pt x="678" y="20"/>
                  </a:lnTo>
                  <a:lnTo>
                    <a:pt x="678" y="22"/>
                  </a:lnTo>
                  <a:lnTo>
                    <a:pt x="680" y="22"/>
                  </a:lnTo>
                  <a:lnTo>
                    <a:pt x="694" y="36"/>
                  </a:lnTo>
                  <a:lnTo>
                    <a:pt x="710" y="50"/>
                  </a:lnTo>
                  <a:lnTo>
                    <a:pt x="714" y="46"/>
                  </a:lnTo>
                  <a:lnTo>
                    <a:pt x="718" y="44"/>
                  </a:lnTo>
                  <a:lnTo>
                    <a:pt x="722" y="42"/>
                  </a:lnTo>
                  <a:lnTo>
                    <a:pt x="738" y="34"/>
                  </a:lnTo>
                  <a:lnTo>
                    <a:pt x="740" y="34"/>
                  </a:lnTo>
                  <a:lnTo>
                    <a:pt x="744" y="30"/>
                  </a:lnTo>
                  <a:lnTo>
                    <a:pt x="746" y="30"/>
                  </a:lnTo>
                  <a:lnTo>
                    <a:pt x="746" y="32"/>
                  </a:lnTo>
                  <a:lnTo>
                    <a:pt x="748" y="42"/>
                  </a:lnTo>
                  <a:lnTo>
                    <a:pt x="754" y="72"/>
                  </a:lnTo>
                  <a:lnTo>
                    <a:pt x="754" y="82"/>
                  </a:lnTo>
                  <a:lnTo>
                    <a:pt x="754" y="90"/>
                  </a:lnTo>
                  <a:lnTo>
                    <a:pt x="754" y="100"/>
                  </a:lnTo>
                  <a:lnTo>
                    <a:pt x="754" y="102"/>
                  </a:lnTo>
                  <a:lnTo>
                    <a:pt x="754" y="106"/>
                  </a:lnTo>
                  <a:lnTo>
                    <a:pt x="754" y="108"/>
                  </a:lnTo>
                  <a:lnTo>
                    <a:pt x="758" y="110"/>
                  </a:lnTo>
                  <a:lnTo>
                    <a:pt x="770" y="128"/>
                  </a:lnTo>
                  <a:lnTo>
                    <a:pt x="772" y="132"/>
                  </a:lnTo>
                  <a:lnTo>
                    <a:pt x="774" y="136"/>
                  </a:lnTo>
                  <a:lnTo>
                    <a:pt x="772" y="136"/>
                  </a:lnTo>
                  <a:lnTo>
                    <a:pt x="772" y="138"/>
                  </a:lnTo>
                  <a:lnTo>
                    <a:pt x="770" y="140"/>
                  </a:lnTo>
                  <a:lnTo>
                    <a:pt x="770" y="142"/>
                  </a:lnTo>
                  <a:lnTo>
                    <a:pt x="772" y="146"/>
                  </a:lnTo>
                  <a:lnTo>
                    <a:pt x="774" y="148"/>
                  </a:lnTo>
                  <a:lnTo>
                    <a:pt x="776" y="148"/>
                  </a:lnTo>
                  <a:lnTo>
                    <a:pt x="792" y="166"/>
                  </a:lnTo>
                  <a:lnTo>
                    <a:pt x="790" y="168"/>
                  </a:lnTo>
                  <a:lnTo>
                    <a:pt x="786" y="178"/>
                  </a:lnTo>
                  <a:lnTo>
                    <a:pt x="782" y="182"/>
                  </a:lnTo>
                  <a:lnTo>
                    <a:pt x="778" y="188"/>
                  </a:lnTo>
                  <a:lnTo>
                    <a:pt x="778" y="196"/>
                  </a:lnTo>
                  <a:lnTo>
                    <a:pt x="776" y="204"/>
                  </a:lnTo>
                  <a:lnTo>
                    <a:pt x="772" y="234"/>
                  </a:lnTo>
                  <a:lnTo>
                    <a:pt x="772" y="244"/>
                  </a:lnTo>
                  <a:lnTo>
                    <a:pt x="770" y="246"/>
                  </a:lnTo>
                  <a:lnTo>
                    <a:pt x="768" y="272"/>
                  </a:lnTo>
                  <a:lnTo>
                    <a:pt x="768" y="274"/>
                  </a:lnTo>
                  <a:lnTo>
                    <a:pt x="768" y="286"/>
                  </a:lnTo>
                  <a:lnTo>
                    <a:pt x="764" y="320"/>
                  </a:lnTo>
                  <a:lnTo>
                    <a:pt x="764" y="342"/>
                  </a:lnTo>
                  <a:lnTo>
                    <a:pt x="764" y="344"/>
                  </a:lnTo>
                  <a:lnTo>
                    <a:pt x="762" y="344"/>
                  </a:lnTo>
                  <a:lnTo>
                    <a:pt x="756" y="350"/>
                  </a:lnTo>
                  <a:lnTo>
                    <a:pt x="750" y="356"/>
                  </a:lnTo>
                  <a:lnTo>
                    <a:pt x="744" y="362"/>
                  </a:lnTo>
                  <a:lnTo>
                    <a:pt x="734" y="374"/>
                  </a:lnTo>
                  <a:lnTo>
                    <a:pt x="718" y="390"/>
                  </a:lnTo>
                  <a:lnTo>
                    <a:pt x="706" y="402"/>
                  </a:lnTo>
                  <a:lnTo>
                    <a:pt x="702" y="408"/>
                  </a:lnTo>
                  <a:lnTo>
                    <a:pt x="698" y="414"/>
                  </a:lnTo>
                  <a:lnTo>
                    <a:pt x="692" y="422"/>
                  </a:lnTo>
                  <a:lnTo>
                    <a:pt x="688" y="428"/>
                  </a:lnTo>
                  <a:lnTo>
                    <a:pt x="680" y="438"/>
                  </a:lnTo>
                  <a:lnTo>
                    <a:pt x="678" y="444"/>
                  </a:lnTo>
                  <a:lnTo>
                    <a:pt x="676" y="446"/>
                  </a:lnTo>
                  <a:lnTo>
                    <a:pt x="676" y="450"/>
                  </a:lnTo>
                  <a:lnTo>
                    <a:pt x="678" y="452"/>
                  </a:lnTo>
                  <a:lnTo>
                    <a:pt x="676" y="454"/>
                  </a:lnTo>
                  <a:lnTo>
                    <a:pt x="672" y="460"/>
                  </a:lnTo>
                  <a:lnTo>
                    <a:pt x="670" y="462"/>
                  </a:lnTo>
                  <a:lnTo>
                    <a:pt x="670" y="464"/>
                  </a:lnTo>
                  <a:lnTo>
                    <a:pt x="668" y="464"/>
                  </a:lnTo>
                  <a:lnTo>
                    <a:pt x="664" y="464"/>
                  </a:lnTo>
                  <a:lnTo>
                    <a:pt x="662" y="464"/>
                  </a:lnTo>
                  <a:lnTo>
                    <a:pt x="660" y="466"/>
                  </a:lnTo>
                  <a:lnTo>
                    <a:pt x="660" y="468"/>
                  </a:lnTo>
                  <a:lnTo>
                    <a:pt x="666" y="490"/>
                  </a:lnTo>
                  <a:lnTo>
                    <a:pt x="666" y="498"/>
                  </a:lnTo>
                  <a:lnTo>
                    <a:pt x="668" y="504"/>
                  </a:lnTo>
                  <a:lnTo>
                    <a:pt x="654" y="504"/>
                  </a:lnTo>
                  <a:lnTo>
                    <a:pt x="648" y="510"/>
                  </a:lnTo>
                  <a:lnTo>
                    <a:pt x="646" y="514"/>
                  </a:lnTo>
                  <a:lnTo>
                    <a:pt x="642" y="514"/>
                  </a:lnTo>
                  <a:lnTo>
                    <a:pt x="640" y="514"/>
                  </a:lnTo>
                  <a:lnTo>
                    <a:pt x="636" y="514"/>
                  </a:lnTo>
                  <a:lnTo>
                    <a:pt x="632" y="516"/>
                  </a:lnTo>
                  <a:lnTo>
                    <a:pt x="630" y="516"/>
                  </a:lnTo>
                  <a:lnTo>
                    <a:pt x="624" y="522"/>
                  </a:lnTo>
                  <a:lnTo>
                    <a:pt x="618" y="526"/>
                  </a:lnTo>
                  <a:lnTo>
                    <a:pt x="616" y="526"/>
                  </a:lnTo>
                  <a:lnTo>
                    <a:pt x="616" y="528"/>
                  </a:lnTo>
                  <a:lnTo>
                    <a:pt x="614" y="528"/>
                  </a:lnTo>
                  <a:lnTo>
                    <a:pt x="612" y="530"/>
                  </a:lnTo>
                  <a:lnTo>
                    <a:pt x="612" y="532"/>
                  </a:lnTo>
                  <a:lnTo>
                    <a:pt x="610" y="536"/>
                  </a:lnTo>
                  <a:lnTo>
                    <a:pt x="608" y="538"/>
                  </a:lnTo>
                  <a:lnTo>
                    <a:pt x="608" y="536"/>
                  </a:lnTo>
                  <a:lnTo>
                    <a:pt x="604" y="536"/>
                  </a:lnTo>
                  <a:lnTo>
                    <a:pt x="594" y="534"/>
                  </a:lnTo>
                  <a:lnTo>
                    <a:pt x="586" y="530"/>
                  </a:lnTo>
                  <a:lnTo>
                    <a:pt x="580" y="528"/>
                  </a:lnTo>
                  <a:lnTo>
                    <a:pt x="578" y="526"/>
                  </a:lnTo>
                  <a:lnTo>
                    <a:pt x="562" y="522"/>
                  </a:lnTo>
                  <a:lnTo>
                    <a:pt x="560" y="520"/>
                  </a:lnTo>
                  <a:lnTo>
                    <a:pt x="558" y="520"/>
                  </a:lnTo>
                  <a:lnTo>
                    <a:pt x="556" y="520"/>
                  </a:lnTo>
                  <a:lnTo>
                    <a:pt x="554" y="520"/>
                  </a:lnTo>
                  <a:lnTo>
                    <a:pt x="550" y="520"/>
                  </a:lnTo>
                  <a:lnTo>
                    <a:pt x="548" y="520"/>
                  </a:lnTo>
                  <a:lnTo>
                    <a:pt x="546" y="520"/>
                  </a:lnTo>
                  <a:lnTo>
                    <a:pt x="544" y="520"/>
                  </a:lnTo>
                  <a:lnTo>
                    <a:pt x="542" y="520"/>
                  </a:lnTo>
                  <a:lnTo>
                    <a:pt x="540" y="520"/>
                  </a:lnTo>
                  <a:lnTo>
                    <a:pt x="538" y="520"/>
                  </a:lnTo>
                  <a:lnTo>
                    <a:pt x="536" y="520"/>
                  </a:lnTo>
                  <a:lnTo>
                    <a:pt x="534" y="520"/>
                  </a:lnTo>
                  <a:lnTo>
                    <a:pt x="532" y="520"/>
                  </a:lnTo>
                  <a:lnTo>
                    <a:pt x="530" y="520"/>
                  </a:lnTo>
                  <a:lnTo>
                    <a:pt x="528" y="518"/>
                  </a:lnTo>
                  <a:lnTo>
                    <a:pt x="526" y="518"/>
                  </a:lnTo>
                  <a:lnTo>
                    <a:pt x="524" y="518"/>
                  </a:lnTo>
                  <a:lnTo>
                    <a:pt x="522" y="518"/>
                  </a:lnTo>
                  <a:lnTo>
                    <a:pt x="518" y="520"/>
                  </a:lnTo>
                  <a:lnTo>
                    <a:pt x="516" y="520"/>
                  </a:lnTo>
                  <a:lnTo>
                    <a:pt x="514" y="520"/>
                  </a:lnTo>
                  <a:lnTo>
                    <a:pt x="510" y="522"/>
                  </a:lnTo>
                  <a:lnTo>
                    <a:pt x="508" y="522"/>
                  </a:lnTo>
                  <a:lnTo>
                    <a:pt x="506" y="522"/>
                  </a:lnTo>
                  <a:lnTo>
                    <a:pt x="504" y="522"/>
                  </a:lnTo>
                  <a:lnTo>
                    <a:pt x="502" y="522"/>
                  </a:lnTo>
                  <a:lnTo>
                    <a:pt x="498" y="524"/>
                  </a:lnTo>
                  <a:lnTo>
                    <a:pt x="494" y="524"/>
                  </a:lnTo>
                  <a:lnTo>
                    <a:pt x="492" y="526"/>
                  </a:lnTo>
                  <a:lnTo>
                    <a:pt x="486" y="528"/>
                  </a:lnTo>
                  <a:lnTo>
                    <a:pt x="484" y="530"/>
                  </a:lnTo>
                  <a:lnTo>
                    <a:pt x="482" y="530"/>
                  </a:lnTo>
                  <a:lnTo>
                    <a:pt x="480" y="534"/>
                  </a:lnTo>
                  <a:lnTo>
                    <a:pt x="470" y="544"/>
                  </a:lnTo>
                  <a:lnTo>
                    <a:pt x="468" y="548"/>
                  </a:lnTo>
                  <a:lnTo>
                    <a:pt x="466" y="548"/>
                  </a:lnTo>
                  <a:lnTo>
                    <a:pt x="456" y="546"/>
                  </a:lnTo>
                  <a:lnTo>
                    <a:pt x="448" y="546"/>
                  </a:lnTo>
                  <a:lnTo>
                    <a:pt x="440" y="544"/>
                  </a:lnTo>
                  <a:lnTo>
                    <a:pt x="438" y="544"/>
                  </a:lnTo>
                  <a:lnTo>
                    <a:pt x="436" y="544"/>
                  </a:lnTo>
                  <a:lnTo>
                    <a:pt x="426" y="542"/>
                  </a:lnTo>
                  <a:lnTo>
                    <a:pt x="418" y="540"/>
                  </a:lnTo>
                  <a:lnTo>
                    <a:pt x="418" y="538"/>
                  </a:lnTo>
                  <a:lnTo>
                    <a:pt x="416" y="536"/>
                  </a:lnTo>
                  <a:lnTo>
                    <a:pt x="416" y="534"/>
                  </a:lnTo>
                  <a:lnTo>
                    <a:pt x="414" y="532"/>
                  </a:lnTo>
                  <a:lnTo>
                    <a:pt x="412" y="532"/>
                  </a:lnTo>
                  <a:lnTo>
                    <a:pt x="410" y="532"/>
                  </a:lnTo>
                  <a:lnTo>
                    <a:pt x="408" y="532"/>
                  </a:lnTo>
                  <a:lnTo>
                    <a:pt x="406" y="532"/>
                  </a:lnTo>
                  <a:lnTo>
                    <a:pt x="404" y="528"/>
                  </a:lnTo>
                  <a:lnTo>
                    <a:pt x="400" y="526"/>
                  </a:lnTo>
                  <a:lnTo>
                    <a:pt x="398" y="524"/>
                  </a:lnTo>
                  <a:lnTo>
                    <a:pt x="394" y="520"/>
                  </a:lnTo>
                  <a:lnTo>
                    <a:pt x="392" y="520"/>
                  </a:lnTo>
                  <a:lnTo>
                    <a:pt x="388" y="518"/>
                  </a:lnTo>
                  <a:lnTo>
                    <a:pt x="376" y="518"/>
                  </a:lnTo>
                  <a:lnTo>
                    <a:pt x="354" y="528"/>
                  </a:lnTo>
                  <a:lnTo>
                    <a:pt x="352" y="528"/>
                  </a:lnTo>
                  <a:lnTo>
                    <a:pt x="346" y="528"/>
                  </a:lnTo>
                  <a:lnTo>
                    <a:pt x="342" y="532"/>
                  </a:lnTo>
                  <a:lnTo>
                    <a:pt x="340" y="534"/>
                  </a:lnTo>
                  <a:lnTo>
                    <a:pt x="338" y="5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55" name="Group 1558"/>
            <p:cNvGrpSpPr>
              <a:grpSpLocks/>
            </p:cNvGrpSpPr>
            <p:nvPr/>
          </p:nvGrpSpPr>
          <p:grpSpPr bwMode="auto">
            <a:xfrm>
              <a:off x="6769043" y="2801773"/>
              <a:ext cx="425372" cy="352810"/>
              <a:chOff x="3985" y="1391"/>
              <a:chExt cx="340" cy="282"/>
            </a:xfrm>
            <a:solidFill>
              <a:srgbClr val="B9B9B9"/>
            </a:solidFill>
          </p:grpSpPr>
          <p:sp>
            <p:nvSpPr>
              <p:cNvPr id="395" name="Freeform 1381"/>
              <p:cNvSpPr>
                <a:spLocks/>
              </p:cNvSpPr>
              <p:nvPr/>
            </p:nvSpPr>
            <p:spPr bwMode="auto">
              <a:xfrm>
                <a:off x="3985" y="1391"/>
                <a:ext cx="340" cy="282"/>
              </a:xfrm>
              <a:custGeom>
                <a:avLst/>
                <a:gdLst/>
                <a:ahLst/>
                <a:cxnLst>
                  <a:cxn ang="0">
                    <a:pos x="292" y="218"/>
                  </a:cxn>
                  <a:cxn ang="0">
                    <a:pos x="300" y="230"/>
                  </a:cxn>
                  <a:cxn ang="0">
                    <a:pos x="312" y="242"/>
                  </a:cxn>
                  <a:cxn ang="0">
                    <a:pos x="324" y="256"/>
                  </a:cxn>
                  <a:cxn ang="0">
                    <a:pos x="338" y="256"/>
                  </a:cxn>
                  <a:cxn ang="0">
                    <a:pos x="326" y="274"/>
                  </a:cxn>
                  <a:cxn ang="0">
                    <a:pos x="318" y="280"/>
                  </a:cxn>
                  <a:cxn ang="0">
                    <a:pos x="308" y="274"/>
                  </a:cxn>
                  <a:cxn ang="0">
                    <a:pos x="298" y="268"/>
                  </a:cxn>
                  <a:cxn ang="0">
                    <a:pos x="288" y="260"/>
                  </a:cxn>
                  <a:cxn ang="0">
                    <a:pos x="280" y="254"/>
                  </a:cxn>
                  <a:cxn ang="0">
                    <a:pos x="272" y="240"/>
                  </a:cxn>
                  <a:cxn ang="0">
                    <a:pos x="258" y="232"/>
                  </a:cxn>
                  <a:cxn ang="0">
                    <a:pos x="236" y="214"/>
                  </a:cxn>
                  <a:cxn ang="0">
                    <a:pos x="230" y="204"/>
                  </a:cxn>
                  <a:cxn ang="0">
                    <a:pos x="216" y="194"/>
                  </a:cxn>
                  <a:cxn ang="0">
                    <a:pos x="206" y="190"/>
                  </a:cxn>
                  <a:cxn ang="0">
                    <a:pos x="194" y="182"/>
                  </a:cxn>
                  <a:cxn ang="0">
                    <a:pos x="184" y="178"/>
                  </a:cxn>
                  <a:cxn ang="0">
                    <a:pos x="170" y="180"/>
                  </a:cxn>
                  <a:cxn ang="0">
                    <a:pos x="154" y="176"/>
                  </a:cxn>
                  <a:cxn ang="0">
                    <a:pos x="138" y="178"/>
                  </a:cxn>
                  <a:cxn ang="0">
                    <a:pos x="130" y="172"/>
                  </a:cxn>
                  <a:cxn ang="0">
                    <a:pos x="106" y="186"/>
                  </a:cxn>
                  <a:cxn ang="0">
                    <a:pos x="90" y="172"/>
                  </a:cxn>
                  <a:cxn ang="0">
                    <a:pos x="78" y="168"/>
                  </a:cxn>
                  <a:cxn ang="0">
                    <a:pos x="64" y="190"/>
                  </a:cxn>
                  <a:cxn ang="0">
                    <a:pos x="46" y="188"/>
                  </a:cxn>
                  <a:cxn ang="0">
                    <a:pos x="34" y="192"/>
                  </a:cxn>
                  <a:cxn ang="0">
                    <a:pos x="24" y="194"/>
                  </a:cxn>
                  <a:cxn ang="0">
                    <a:pos x="6" y="198"/>
                  </a:cxn>
                  <a:cxn ang="0">
                    <a:pos x="4" y="148"/>
                  </a:cxn>
                  <a:cxn ang="0">
                    <a:pos x="10" y="122"/>
                  </a:cxn>
                  <a:cxn ang="0">
                    <a:pos x="22" y="94"/>
                  </a:cxn>
                  <a:cxn ang="0">
                    <a:pos x="18" y="74"/>
                  </a:cxn>
                  <a:cxn ang="0">
                    <a:pos x="22" y="54"/>
                  </a:cxn>
                  <a:cxn ang="0">
                    <a:pos x="34" y="54"/>
                  </a:cxn>
                  <a:cxn ang="0">
                    <a:pos x="46" y="42"/>
                  </a:cxn>
                  <a:cxn ang="0">
                    <a:pos x="64" y="30"/>
                  </a:cxn>
                  <a:cxn ang="0">
                    <a:pos x="72" y="26"/>
                  </a:cxn>
                  <a:cxn ang="0">
                    <a:pos x="90" y="6"/>
                  </a:cxn>
                  <a:cxn ang="0">
                    <a:pos x="102" y="10"/>
                  </a:cxn>
                  <a:cxn ang="0">
                    <a:pos x="118" y="40"/>
                  </a:cxn>
                  <a:cxn ang="0">
                    <a:pos x="128" y="72"/>
                  </a:cxn>
                  <a:cxn ang="0">
                    <a:pos x="132" y="84"/>
                  </a:cxn>
                  <a:cxn ang="0">
                    <a:pos x="138" y="102"/>
                  </a:cxn>
                  <a:cxn ang="0">
                    <a:pos x="146" y="122"/>
                  </a:cxn>
                  <a:cxn ang="0">
                    <a:pos x="156" y="128"/>
                  </a:cxn>
                  <a:cxn ang="0">
                    <a:pos x="160" y="146"/>
                  </a:cxn>
                  <a:cxn ang="0">
                    <a:pos x="168" y="144"/>
                  </a:cxn>
                  <a:cxn ang="0">
                    <a:pos x="168" y="128"/>
                  </a:cxn>
                  <a:cxn ang="0">
                    <a:pos x="178" y="142"/>
                  </a:cxn>
                  <a:cxn ang="0">
                    <a:pos x="192" y="156"/>
                  </a:cxn>
                  <a:cxn ang="0">
                    <a:pos x="210" y="156"/>
                  </a:cxn>
                  <a:cxn ang="0">
                    <a:pos x="222" y="164"/>
                  </a:cxn>
                  <a:cxn ang="0">
                    <a:pos x="254" y="190"/>
                  </a:cxn>
                  <a:cxn ang="0">
                    <a:pos x="272" y="206"/>
                  </a:cxn>
                  <a:cxn ang="0">
                    <a:pos x="284" y="214"/>
                  </a:cxn>
                </a:cxnLst>
                <a:rect l="0" t="0" r="r" b="b"/>
                <a:pathLst>
                  <a:path w="340" h="282">
                    <a:moveTo>
                      <a:pt x="284" y="214"/>
                    </a:moveTo>
                    <a:lnTo>
                      <a:pt x="286" y="216"/>
                    </a:lnTo>
                    <a:lnTo>
                      <a:pt x="290" y="220"/>
                    </a:lnTo>
                    <a:lnTo>
                      <a:pt x="292" y="222"/>
                    </a:lnTo>
                    <a:lnTo>
                      <a:pt x="292" y="218"/>
                    </a:lnTo>
                    <a:lnTo>
                      <a:pt x="290" y="216"/>
                    </a:lnTo>
                    <a:lnTo>
                      <a:pt x="292" y="218"/>
                    </a:lnTo>
                    <a:lnTo>
                      <a:pt x="296" y="220"/>
                    </a:lnTo>
                    <a:lnTo>
                      <a:pt x="298" y="228"/>
                    </a:lnTo>
                    <a:lnTo>
                      <a:pt x="300" y="230"/>
                    </a:lnTo>
                    <a:lnTo>
                      <a:pt x="300" y="232"/>
                    </a:lnTo>
                    <a:lnTo>
                      <a:pt x="300" y="238"/>
                    </a:lnTo>
                    <a:lnTo>
                      <a:pt x="304" y="240"/>
                    </a:lnTo>
                    <a:lnTo>
                      <a:pt x="308" y="240"/>
                    </a:lnTo>
                    <a:lnTo>
                      <a:pt x="312" y="242"/>
                    </a:lnTo>
                    <a:lnTo>
                      <a:pt x="320" y="246"/>
                    </a:lnTo>
                    <a:lnTo>
                      <a:pt x="320" y="248"/>
                    </a:lnTo>
                    <a:lnTo>
                      <a:pt x="322" y="252"/>
                    </a:lnTo>
                    <a:lnTo>
                      <a:pt x="322" y="254"/>
                    </a:lnTo>
                    <a:lnTo>
                      <a:pt x="324" y="256"/>
                    </a:lnTo>
                    <a:lnTo>
                      <a:pt x="328" y="258"/>
                    </a:lnTo>
                    <a:lnTo>
                      <a:pt x="332" y="260"/>
                    </a:lnTo>
                    <a:lnTo>
                      <a:pt x="334" y="258"/>
                    </a:lnTo>
                    <a:lnTo>
                      <a:pt x="334" y="254"/>
                    </a:lnTo>
                    <a:lnTo>
                      <a:pt x="338" y="256"/>
                    </a:lnTo>
                    <a:lnTo>
                      <a:pt x="338" y="258"/>
                    </a:lnTo>
                    <a:lnTo>
                      <a:pt x="340" y="262"/>
                    </a:lnTo>
                    <a:lnTo>
                      <a:pt x="340" y="264"/>
                    </a:lnTo>
                    <a:lnTo>
                      <a:pt x="332" y="268"/>
                    </a:lnTo>
                    <a:lnTo>
                      <a:pt x="326" y="274"/>
                    </a:lnTo>
                    <a:lnTo>
                      <a:pt x="326" y="276"/>
                    </a:lnTo>
                    <a:lnTo>
                      <a:pt x="326" y="278"/>
                    </a:lnTo>
                    <a:lnTo>
                      <a:pt x="322" y="282"/>
                    </a:lnTo>
                    <a:lnTo>
                      <a:pt x="320" y="282"/>
                    </a:lnTo>
                    <a:lnTo>
                      <a:pt x="318" y="280"/>
                    </a:lnTo>
                    <a:lnTo>
                      <a:pt x="316" y="280"/>
                    </a:lnTo>
                    <a:lnTo>
                      <a:pt x="314" y="278"/>
                    </a:lnTo>
                    <a:lnTo>
                      <a:pt x="312" y="276"/>
                    </a:lnTo>
                    <a:lnTo>
                      <a:pt x="310" y="276"/>
                    </a:lnTo>
                    <a:lnTo>
                      <a:pt x="308" y="274"/>
                    </a:lnTo>
                    <a:lnTo>
                      <a:pt x="306" y="278"/>
                    </a:lnTo>
                    <a:lnTo>
                      <a:pt x="302" y="276"/>
                    </a:lnTo>
                    <a:lnTo>
                      <a:pt x="300" y="274"/>
                    </a:lnTo>
                    <a:lnTo>
                      <a:pt x="300" y="272"/>
                    </a:lnTo>
                    <a:lnTo>
                      <a:pt x="298" y="268"/>
                    </a:lnTo>
                    <a:lnTo>
                      <a:pt x="294" y="264"/>
                    </a:lnTo>
                    <a:lnTo>
                      <a:pt x="292" y="262"/>
                    </a:lnTo>
                    <a:lnTo>
                      <a:pt x="290" y="262"/>
                    </a:lnTo>
                    <a:lnTo>
                      <a:pt x="290" y="260"/>
                    </a:lnTo>
                    <a:lnTo>
                      <a:pt x="288" y="260"/>
                    </a:lnTo>
                    <a:lnTo>
                      <a:pt x="286" y="260"/>
                    </a:lnTo>
                    <a:lnTo>
                      <a:pt x="284" y="260"/>
                    </a:lnTo>
                    <a:lnTo>
                      <a:pt x="284" y="258"/>
                    </a:lnTo>
                    <a:lnTo>
                      <a:pt x="282" y="258"/>
                    </a:lnTo>
                    <a:lnTo>
                      <a:pt x="280" y="254"/>
                    </a:lnTo>
                    <a:lnTo>
                      <a:pt x="278" y="254"/>
                    </a:lnTo>
                    <a:lnTo>
                      <a:pt x="276" y="246"/>
                    </a:lnTo>
                    <a:lnTo>
                      <a:pt x="274" y="242"/>
                    </a:lnTo>
                    <a:lnTo>
                      <a:pt x="272" y="242"/>
                    </a:lnTo>
                    <a:lnTo>
                      <a:pt x="272" y="240"/>
                    </a:lnTo>
                    <a:lnTo>
                      <a:pt x="270" y="240"/>
                    </a:lnTo>
                    <a:lnTo>
                      <a:pt x="262" y="234"/>
                    </a:lnTo>
                    <a:lnTo>
                      <a:pt x="262" y="232"/>
                    </a:lnTo>
                    <a:lnTo>
                      <a:pt x="260" y="232"/>
                    </a:lnTo>
                    <a:lnTo>
                      <a:pt x="258" y="232"/>
                    </a:lnTo>
                    <a:lnTo>
                      <a:pt x="254" y="228"/>
                    </a:lnTo>
                    <a:lnTo>
                      <a:pt x="244" y="222"/>
                    </a:lnTo>
                    <a:lnTo>
                      <a:pt x="242" y="220"/>
                    </a:lnTo>
                    <a:lnTo>
                      <a:pt x="240" y="218"/>
                    </a:lnTo>
                    <a:lnTo>
                      <a:pt x="236" y="214"/>
                    </a:lnTo>
                    <a:lnTo>
                      <a:pt x="236" y="212"/>
                    </a:lnTo>
                    <a:lnTo>
                      <a:pt x="236" y="210"/>
                    </a:lnTo>
                    <a:lnTo>
                      <a:pt x="234" y="208"/>
                    </a:lnTo>
                    <a:lnTo>
                      <a:pt x="232" y="206"/>
                    </a:lnTo>
                    <a:lnTo>
                      <a:pt x="230" y="204"/>
                    </a:lnTo>
                    <a:lnTo>
                      <a:pt x="226" y="200"/>
                    </a:lnTo>
                    <a:lnTo>
                      <a:pt x="224" y="200"/>
                    </a:lnTo>
                    <a:lnTo>
                      <a:pt x="220" y="194"/>
                    </a:lnTo>
                    <a:lnTo>
                      <a:pt x="218" y="194"/>
                    </a:lnTo>
                    <a:lnTo>
                      <a:pt x="216" y="194"/>
                    </a:lnTo>
                    <a:lnTo>
                      <a:pt x="214" y="192"/>
                    </a:lnTo>
                    <a:lnTo>
                      <a:pt x="212" y="192"/>
                    </a:lnTo>
                    <a:lnTo>
                      <a:pt x="210" y="192"/>
                    </a:lnTo>
                    <a:lnTo>
                      <a:pt x="208" y="192"/>
                    </a:lnTo>
                    <a:lnTo>
                      <a:pt x="206" y="190"/>
                    </a:lnTo>
                    <a:lnTo>
                      <a:pt x="202" y="188"/>
                    </a:lnTo>
                    <a:lnTo>
                      <a:pt x="200" y="188"/>
                    </a:lnTo>
                    <a:lnTo>
                      <a:pt x="198" y="186"/>
                    </a:lnTo>
                    <a:lnTo>
                      <a:pt x="196" y="184"/>
                    </a:lnTo>
                    <a:lnTo>
                      <a:pt x="194" y="182"/>
                    </a:lnTo>
                    <a:lnTo>
                      <a:pt x="192" y="182"/>
                    </a:lnTo>
                    <a:lnTo>
                      <a:pt x="190" y="180"/>
                    </a:lnTo>
                    <a:lnTo>
                      <a:pt x="188" y="180"/>
                    </a:lnTo>
                    <a:lnTo>
                      <a:pt x="186" y="180"/>
                    </a:lnTo>
                    <a:lnTo>
                      <a:pt x="184" y="178"/>
                    </a:lnTo>
                    <a:lnTo>
                      <a:pt x="180" y="180"/>
                    </a:lnTo>
                    <a:lnTo>
                      <a:pt x="176" y="182"/>
                    </a:lnTo>
                    <a:lnTo>
                      <a:pt x="174" y="182"/>
                    </a:lnTo>
                    <a:lnTo>
                      <a:pt x="172" y="182"/>
                    </a:lnTo>
                    <a:lnTo>
                      <a:pt x="170" y="180"/>
                    </a:lnTo>
                    <a:lnTo>
                      <a:pt x="168" y="178"/>
                    </a:lnTo>
                    <a:lnTo>
                      <a:pt x="166" y="178"/>
                    </a:lnTo>
                    <a:lnTo>
                      <a:pt x="164" y="178"/>
                    </a:lnTo>
                    <a:lnTo>
                      <a:pt x="160" y="178"/>
                    </a:lnTo>
                    <a:lnTo>
                      <a:pt x="154" y="176"/>
                    </a:lnTo>
                    <a:lnTo>
                      <a:pt x="152" y="178"/>
                    </a:lnTo>
                    <a:lnTo>
                      <a:pt x="148" y="180"/>
                    </a:lnTo>
                    <a:lnTo>
                      <a:pt x="142" y="182"/>
                    </a:lnTo>
                    <a:lnTo>
                      <a:pt x="138" y="180"/>
                    </a:lnTo>
                    <a:lnTo>
                      <a:pt x="138" y="178"/>
                    </a:lnTo>
                    <a:lnTo>
                      <a:pt x="136" y="176"/>
                    </a:lnTo>
                    <a:lnTo>
                      <a:pt x="136" y="174"/>
                    </a:lnTo>
                    <a:lnTo>
                      <a:pt x="134" y="174"/>
                    </a:lnTo>
                    <a:lnTo>
                      <a:pt x="132" y="172"/>
                    </a:lnTo>
                    <a:lnTo>
                      <a:pt x="130" y="172"/>
                    </a:lnTo>
                    <a:lnTo>
                      <a:pt x="128" y="176"/>
                    </a:lnTo>
                    <a:lnTo>
                      <a:pt x="126" y="178"/>
                    </a:lnTo>
                    <a:lnTo>
                      <a:pt x="124" y="180"/>
                    </a:lnTo>
                    <a:lnTo>
                      <a:pt x="118" y="182"/>
                    </a:lnTo>
                    <a:lnTo>
                      <a:pt x="106" y="186"/>
                    </a:lnTo>
                    <a:lnTo>
                      <a:pt x="102" y="186"/>
                    </a:lnTo>
                    <a:lnTo>
                      <a:pt x="96" y="180"/>
                    </a:lnTo>
                    <a:lnTo>
                      <a:pt x="94" y="178"/>
                    </a:lnTo>
                    <a:lnTo>
                      <a:pt x="92" y="174"/>
                    </a:lnTo>
                    <a:lnTo>
                      <a:pt x="90" y="172"/>
                    </a:lnTo>
                    <a:lnTo>
                      <a:pt x="88" y="172"/>
                    </a:lnTo>
                    <a:lnTo>
                      <a:pt x="86" y="172"/>
                    </a:lnTo>
                    <a:lnTo>
                      <a:pt x="80" y="172"/>
                    </a:lnTo>
                    <a:lnTo>
                      <a:pt x="80" y="170"/>
                    </a:lnTo>
                    <a:lnTo>
                      <a:pt x="78" y="168"/>
                    </a:lnTo>
                    <a:lnTo>
                      <a:pt x="76" y="166"/>
                    </a:lnTo>
                    <a:lnTo>
                      <a:pt x="74" y="164"/>
                    </a:lnTo>
                    <a:lnTo>
                      <a:pt x="72" y="164"/>
                    </a:lnTo>
                    <a:lnTo>
                      <a:pt x="70" y="172"/>
                    </a:lnTo>
                    <a:lnTo>
                      <a:pt x="64" y="190"/>
                    </a:lnTo>
                    <a:lnTo>
                      <a:pt x="60" y="204"/>
                    </a:lnTo>
                    <a:lnTo>
                      <a:pt x="56" y="204"/>
                    </a:lnTo>
                    <a:lnTo>
                      <a:pt x="52" y="196"/>
                    </a:lnTo>
                    <a:lnTo>
                      <a:pt x="50" y="192"/>
                    </a:lnTo>
                    <a:lnTo>
                      <a:pt x="46" y="188"/>
                    </a:lnTo>
                    <a:lnTo>
                      <a:pt x="44" y="188"/>
                    </a:lnTo>
                    <a:lnTo>
                      <a:pt x="40" y="188"/>
                    </a:lnTo>
                    <a:lnTo>
                      <a:pt x="36" y="188"/>
                    </a:lnTo>
                    <a:lnTo>
                      <a:pt x="34" y="190"/>
                    </a:lnTo>
                    <a:lnTo>
                      <a:pt x="34" y="192"/>
                    </a:lnTo>
                    <a:lnTo>
                      <a:pt x="34" y="194"/>
                    </a:lnTo>
                    <a:lnTo>
                      <a:pt x="34" y="196"/>
                    </a:lnTo>
                    <a:lnTo>
                      <a:pt x="30" y="198"/>
                    </a:lnTo>
                    <a:lnTo>
                      <a:pt x="28" y="196"/>
                    </a:lnTo>
                    <a:lnTo>
                      <a:pt x="24" y="194"/>
                    </a:lnTo>
                    <a:lnTo>
                      <a:pt x="20" y="194"/>
                    </a:lnTo>
                    <a:lnTo>
                      <a:pt x="18" y="194"/>
                    </a:lnTo>
                    <a:lnTo>
                      <a:pt x="12" y="196"/>
                    </a:lnTo>
                    <a:lnTo>
                      <a:pt x="8" y="198"/>
                    </a:lnTo>
                    <a:lnTo>
                      <a:pt x="6" y="198"/>
                    </a:lnTo>
                    <a:lnTo>
                      <a:pt x="6" y="188"/>
                    </a:lnTo>
                    <a:lnTo>
                      <a:pt x="0" y="156"/>
                    </a:lnTo>
                    <a:lnTo>
                      <a:pt x="0" y="152"/>
                    </a:lnTo>
                    <a:lnTo>
                      <a:pt x="2" y="150"/>
                    </a:lnTo>
                    <a:lnTo>
                      <a:pt x="4" y="148"/>
                    </a:lnTo>
                    <a:lnTo>
                      <a:pt x="6" y="144"/>
                    </a:lnTo>
                    <a:lnTo>
                      <a:pt x="6" y="138"/>
                    </a:lnTo>
                    <a:lnTo>
                      <a:pt x="8" y="134"/>
                    </a:lnTo>
                    <a:lnTo>
                      <a:pt x="10" y="126"/>
                    </a:lnTo>
                    <a:lnTo>
                      <a:pt x="10" y="122"/>
                    </a:lnTo>
                    <a:lnTo>
                      <a:pt x="14" y="118"/>
                    </a:lnTo>
                    <a:lnTo>
                      <a:pt x="16" y="108"/>
                    </a:lnTo>
                    <a:lnTo>
                      <a:pt x="18" y="100"/>
                    </a:lnTo>
                    <a:lnTo>
                      <a:pt x="20" y="96"/>
                    </a:lnTo>
                    <a:lnTo>
                      <a:pt x="22" y="94"/>
                    </a:lnTo>
                    <a:lnTo>
                      <a:pt x="22" y="92"/>
                    </a:lnTo>
                    <a:lnTo>
                      <a:pt x="20" y="84"/>
                    </a:lnTo>
                    <a:lnTo>
                      <a:pt x="18" y="82"/>
                    </a:lnTo>
                    <a:lnTo>
                      <a:pt x="18" y="80"/>
                    </a:lnTo>
                    <a:lnTo>
                      <a:pt x="18" y="74"/>
                    </a:lnTo>
                    <a:lnTo>
                      <a:pt x="18" y="72"/>
                    </a:lnTo>
                    <a:lnTo>
                      <a:pt x="20" y="70"/>
                    </a:lnTo>
                    <a:lnTo>
                      <a:pt x="22" y="70"/>
                    </a:lnTo>
                    <a:lnTo>
                      <a:pt x="22" y="66"/>
                    </a:lnTo>
                    <a:lnTo>
                      <a:pt x="22" y="54"/>
                    </a:lnTo>
                    <a:lnTo>
                      <a:pt x="20" y="52"/>
                    </a:lnTo>
                    <a:lnTo>
                      <a:pt x="22" y="52"/>
                    </a:lnTo>
                    <a:lnTo>
                      <a:pt x="26" y="52"/>
                    </a:lnTo>
                    <a:lnTo>
                      <a:pt x="28" y="54"/>
                    </a:lnTo>
                    <a:lnTo>
                      <a:pt x="34" y="54"/>
                    </a:lnTo>
                    <a:lnTo>
                      <a:pt x="40" y="52"/>
                    </a:lnTo>
                    <a:lnTo>
                      <a:pt x="42" y="52"/>
                    </a:lnTo>
                    <a:lnTo>
                      <a:pt x="44" y="48"/>
                    </a:lnTo>
                    <a:lnTo>
                      <a:pt x="46" y="44"/>
                    </a:lnTo>
                    <a:lnTo>
                      <a:pt x="46" y="42"/>
                    </a:lnTo>
                    <a:lnTo>
                      <a:pt x="46" y="40"/>
                    </a:lnTo>
                    <a:lnTo>
                      <a:pt x="46" y="38"/>
                    </a:lnTo>
                    <a:lnTo>
                      <a:pt x="50" y="36"/>
                    </a:lnTo>
                    <a:lnTo>
                      <a:pt x="56" y="34"/>
                    </a:lnTo>
                    <a:lnTo>
                      <a:pt x="64" y="30"/>
                    </a:lnTo>
                    <a:lnTo>
                      <a:pt x="66" y="30"/>
                    </a:lnTo>
                    <a:lnTo>
                      <a:pt x="66" y="26"/>
                    </a:lnTo>
                    <a:lnTo>
                      <a:pt x="70" y="26"/>
                    </a:lnTo>
                    <a:lnTo>
                      <a:pt x="72" y="24"/>
                    </a:lnTo>
                    <a:lnTo>
                      <a:pt x="72" y="26"/>
                    </a:lnTo>
                    <a:lnTo>
                      <a:pt x="74" y="26"/>
                    </a:lnTo>
                    <a:lnTo>
                      <a:pt x="82" y="26"/>
                    </a:lnTo>
                    <a:lnTo>
                      <a:pt x="86" y="18"/>
                    </a:lnTo>
                    <a:lnTo>
                      <a:pt x="90" y="8"/>
                    </a:lnTo>
                    <a:lnTo>
                      <a:pt x="90" y="6"/>
                    </a:lnTo>
                    <a:lnTo>
                      <a:pt x="92" y="4"/>
                    </a:lnTo>
                    <a:lnTo>
                      <a:pt x="96" y="0"/>
                    </a:lnTo>
                    <a:lnTo>
                      <a:pt x="96" y="2"/>
                    </a:lnTo>
                    <a:lnTo>
                      <a:pt x="100" y="8"/>
                    </a:lnTo>
                    <a:lnTo>
                      <a:pt x="102" y="10"/>
                    </a:lnTo>
                    <a:lnTo>
                      <a:pt x="104" y="14"/>
                    </a:lnTo>
                    <a:lnTo>
                      <a:pt x="106" y="16"/>
                    </a:lnTo>
                    <a:lnTo>
                      <a:pt x="112" y="26"/>
                    </a:lnTo>
                    <a:lnTo>
                      <a:pt x="116" y="32"/>
                    </a:lnTo>
                    <a:lnTo>
                      <a:pt x="118" y="40"/>
                    </a:lnTo>
                    <a:lnTo>
                      <a:pt x="122" y="48"/>
                    </a:lnTo>
                    <a:lnTo>
                      <a:pt x="126" y="58"/>
                    </a:lnTo>
                    <a:lnTo>
                      <a:pt x="126" y="62"/>
                    </a:lnTo>
                    <a:lnTo>
                      <a:pt x="128" y="68"/>
                    </a:lnTo>
                    <a:lnTo>
                      <a:pt x="128" y="72"/>
                    </a:lnTo>
                    <a:lnTo>
                      <a:pt x="130" y="74"/>
                    </a:lnTo>
                    <a:lnTo>
                      <a:pt x="130" y="78"/>
                    </a:lnTo>
                    <a:lnTo>
                      <a:pt x="132" y="80"/>
                    </a:lnTo>
                    <a:lnTo>
                      <a:pt x="132" y="82"/>
                    </a:lnTo>
                    <a:lnTo>
                      <a:pt x="132" y="84"/>
                    </a:lnTo>
                    <a:lnTo>
                      <a:pt x="132" y="88"/>
                    </a:lnTo>
                    <a:lnTo>
                      <a:pt x="132" y="90"/>
                    </a:lnTo>
                    <a:lnTo>
                      <a:pt x="134" y="90"/>
                    </a:lnTo>
                    <a:lnTo>
                      <a:pt x="134" y="96"/>
                    </a:lnTo>
                    <a:lnTo>
                      <a:pt x="138" y="102"/>
                    </a:lnTo>
                    <a:lnTo>
                      <a:pt x="138" y="106"/>
                    </a:lnTo>
                    <a:lnTo>
                      <a:pt x="142" y="110"/>
                    </a:lnTo>
                    <a:lnTo>
                      <a:pt x="146" y="112"/>
                    </a:lnTo>
                    <a:lnTo>
                      <a:pt x="148" y="120"/>
                    </a:lnTo>
                    <a:lnTo>
                      <a:pt x="146" y="122"/>
                    </a:lnTo>
                    <a:lnTo>
                      <a:pt x="148" y="126"/>
                    </a:lnTo>
                    <a:lnTo>
                      <a:pt x="150" y="126"/>
                    </a:lnTo>
                    <a:lnTo>
                      <a:pt x="152" y="124"/>
                    </a:lnTo>
                    <a:lnTo>
                      <a:pt x="154" y="126"/>
                    </a:lnTo>
                    <a:lnTo>
                      <a:pt x="156" y="128"/>
                    </a:lnTo>
                    <a:lnTo>
                      <a:pt x="160" y="136"/>
                    </a:lnTo>
                    <a:lnTo>
                      <a:pt x="160" y="140"/>
                    </a:lnTo>
                    <a:lnTo>
                      <a:pt x="160" y="142"/>
                    </a:lnTo>
                    <a:lnTo>
                      <a:pt x="160" y="144"/>
                    </a:lnTo>
                    <a:lnTo>
                      <a:pt x="160" y="146"/>
                    </a:lnTo>
                    <a:lnTo>
                      <a:pt x="162" y="148"/>
                    </a:lnTo>
                    <a:lnTo>
                      <a:pt x="164" y="150"/>
                    </a:lnTo>
                    <a:lnTo>
                      <a:pt x="166" y="150"/>
                    </a:lnTo>
                    <a:lnTo>
                      <a:pt x="166" y="148"/>
                    </a:lnTo>
                    <a:lnTo>
                      <a:pt x="168" y="144"/>
                    </a:lnTo>
                    <a:lnTo>
                      <a:pt x="168" y="140"/>
                    </a:lnTo>
                    <a:lnTo>
                      <a:pt x="166" y="138"/>
                    </a:lnTo>
                    <a:lnTo>
                      <a:pt x="164" y="132"/>
                    </a:lnTo>
                    <a:lnTo>
                      <a:pt x="164" y="130"/>
                    </a:lnTo>
                    <a:lnTo>
                      <a:pt x="168" y="128"/>
                    </a:lnTo>
                    <a:lnTo>
                      <a:pt x="170" y="126"/>
                    </a:lnTo>
                    <a:lnTo>
                      <a:pt x="174" y="132"/>
                    </a:lnTo>
                    <a:lnTo>
                      <a:pt x="178" y="136"/>
                    </a:lnTo>
                    <a:lnTo>
                      <a:pt x="176" y="140"/>
                    </a:lnTo>
                    <a:lnTo>
                      <a:pt x="178" y="142"/>
                    </a:lnTo>
                    <a:lnTo>
                      <a:pt x="180" y="144"/>
                    </a:lnTo>
                    <a:lnTo>
                      <a:pt x="184" y="150"/>
                    </a:lnTo>
                    <a:lnTo>
                      <a:pt x="184" y="152"/>
                    </a:lnTo>
                    <a:lnTo>
                      <a:pt x="186" y="154"/>
                    </a:lnTo>
                    <a:lnTo>
                      <a:pt x="192" y="156"/>
                    </a:lnTo>
                    <a:lnTo>
                      <a:pt x="194" y="154"/>
                    </a:lnTo>
                    <a:lnTo>
                      <a:pt x="198" y="152"/>
                    </a:lnTo>
                    <a:lnTo>
                      <a:pt x="200" y="150"/>
                    </a:lnTo>
                    <a:lnTo>
                      <a:pt x="206" y="154"/>
                    </a:lnTo>
                    <a:lnTo>
                      <a:pt x="210" y="156"/>
                    </a:lnTo>
                    <a:lnTo>
                      <a:pt x="214" y="158"/>
                    </a:lnTo>
                    <a:lnTo>
                      <a:pt x="214" y="160"/>
                    </a:lnTo>
                    <a:lnTo>
                      <a:pt x="218" y="166"/>
                    </a:lnTo>
                    <a:lnTo>
                      <a:pt x="220" y="164"/>
                    </a:lnTo>
                    <a:lnTo>
                      <a:pt x="222" y="164"/>
                    </a:lnTo>
                    <a:lnTo>
                      <a:pt x="236" y="168"/>
                    </a:lnTo>
                    <a:lnTo>
                      <a:pt x="244" y="176"/>
                    </a:lnTo>
                    <a:lnTo>
                      <a:pt x="246" y="180"/>
                    </a:lnTo>
                    <a:lnTo>
                      <a:pt x="252" y="186"/>
                    </a:lnTo>
                    <a:lnTo>
                      <a:pt x="254" y="190"/>
                    </a:lnTo>
                    <a:lnTo>
                      <a:pt x="260" y="196"/>
                    </a:lnTo>
                    <a:lnTo>
                      <a:pt x="262" y="200"/>
                    </a:lnTo>
                    <a:lnTo>
                      <a:pt x="264" y="202"/>
                    </a:lnTo>
                    <a:lnTo>
                      <a:pt x="266" y="204"/>
                    </a:lnTo>
                    <a:lnTo>
                      <a:pt x="272" y="206"/>
                    </a:lnTo>
                    <a:lnTo>
                      <a:pt x="276" y="206"/>
                    </a:lnTo>
                    <a:lnTo>
                      <a:pt x="278" y="206"/>
                    </a:lnTo>
                    <a:lnTo>
                      <a:pt x="280" y="208"/>
                    </a:lnTo>
                    <a:lnTo>
                      <a:pt x="284" y="212"/>
                    </a:lnTo>
                    <a:lnTo>
                      <a:pt x="284" y="2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6" name="Freeform 1382"/>
              <p:cNvSpPr>
                <a:spLocks/>
              </p:cNvSpPr>
              <p:nvPr/>
            </p:nvSpPr>
            <p:spPr bwMode="auto">
              <a:xfrm>
                <a:off x="4155" y="1497"/>
                <a:ext cx="24" cy="16"/>
              </a:xfrm>
              <a:custGeom>
                <a:avLst/>
                <a:gdLst/>
                <a:ahLst/>
                <a:cxnLst>
                  <a:cxn ang="0">
                    <a:pos x="2" y="0"/>
                  </a:cxn>
                  <a:cxn ang="0">
                    <a:pos x="4" y="0"/>
                  </a:cxn>
                  <a:cxn ang="0">
                    <a:pos x="8" y="2"/>
                  </a:cxn>
                  <a:cxn ang="0">
                    <a:pos x="10" y="4"/>
                  </a:cxn>
                  <a:cxn ang="0">
                    <a:pos x="10" y="6"/>
                  </a:cxn>
                  <a:cxn ang="0">
                    <a:pos x="10" y="8"/>
                  </a:cxn>
                  <a:cxn ang="0">
                    <a:pos x="10" y="10"/>
                  </a:cxn>
                  <a:cxn ang="0">
                    <a:pos x="10" y="12"/>
                  </a:cxn>
                  <a:cxn ang="0">
                    <a:pos x="12" y="12"/>
                  </a:cxn>
                  <a:cxn ang="0">
                    <a:pos x="16" y="12"/>
                  </a:cxn>
                  <a:cxn ang="0">
                    <a:pos x="16" y="10"/>
                  </a:cxn>
                  <a:cxn ang="0">
                    <a:pos x="14" y="10"/>
                  </a:cxn>
                  <a:cxn ang="0">
                    <a:pos x="16" y="8"/>
                  </a:cxn>
                  <a:cxn ang="0">
                    <a:pos x="18" y="8"/>
                  </a:cxn>
                  <a:cxn ang="0">
                    <a:pos x="20" y="8"/>
                  </a:cxn>
                  <a:cxn ang="0">
                    <a:pos x="24" y="12"/>
                  </a:cxn>
                  <a:cxn ang="0">
                    <a:pos x="24" y="16"/>
                  </a:cxn>
                  <a:cxn ang="0">
                    <a:pos x="20" y="16"/>
                  </a:cxn>
                  <a:cxn ang="0">
                    <a:pos x="16" y="14"/>
                  </a:cxn>
                  <a:cxn ang="0">
                    <a:pos x="10" y="14"/>
                  </a:cxn>
                  <a:cxn ang="0">
                    <a:pos x="10" y="16"/>
                  </a:cxn>
                  <a:cxn ang="0">
                    <a:pos x="8" y="16"/>
                  </a:cxn>
                  <a:cxn ang="0">
                    <a:pos x="6" y="16"/>
                  </a:cxn>
                  <a:cxn ang="0">
                    <a:pos x="4" y="14"/>
                  </a:cxn>
                  <a:cxn ang="0">
                    <a:pos x="2" y="14"/>
                  </a:cxn>
                  <a:cxn ang="0">
                    <a:pos x="2" y="10"/>
                  </a:cxn>
                  <a:cxn ang="0">
                    <a:pos x="2" y="12"/>
                  </a:cxn>
                  <a:cxn ang="0">
                    <a:pos x="6" y="12"/>
                  </a:cxn>
                  <a:cxn ang="0">
                    <a:pos x="8" y="12"/>
                  </a:cxn>
                  <a:cxn ang="0">
                    <a:pos x="6" y="10"/>
                  </a:cxn>
                  <a:cxn ang="0">
                    <a:pos x="4" y="8"/>
                  </a:cxn>
                  <a:cxn ang="0">
                    <a:pos x="2" y="6"/>
                  </a:cxn>
                  <a:cxn ang="0">
                    <a:pos x="0" y="8"/>
                  </a:cxn>
                  <a:cxn ang="0">
                    <a:pos x="0" y="6"/>
                  </a:cxn>
                  <a:cxn ang="0">
                    <a:pos x="2" y="4"/>
                  </a:cxn>
                  <a:cxn ang="0">
                    <a:pos x="4" y="4"/>
                  </a:cxn>
                  <a:cxn ang="0">
                    <a:pos x="6" y="2"/>
                  </a:cxn>
                  <a:cxn ang="0">
                    <a:pos x="2" y="0"/>
                  </a:cxn>
                </a:cxnLst>
                <a:rect l="0" t="0" r="r" b="b"/>
                <a:pathLst>
                  <a:path w="24" h="16">
                    <a:moveTo>
                      <a:pt x="2" y="0"/>
                    </a:moveTo>
                    <a:lnTo>
                      <a:pt x="4" y="0"/>
                    </a:lnTo>
                    <a:lnTo>
                      <a:pt x="8" y="2"/>
                    </a:lnTo>
                    <a:lnTo>
                      <a:pt x="10" y="4"/>
                    </a:lnTo>
                    <a:lnTo>
                      <a:pt x="10" y="6"/>
                    </a:lnTo>
                    <a:lnTo>
                      <a:pt x="10" y="8"/>
                    </a:lnTo>
                    <a:lnTo>
                      <a:pt x="10" y="10"/>
                    </a:lnTo>
                    <a:lnTo>
                      <a:pt x="10" y="12"/>
                    </a:lnTo>
                    <a:lnTo>
                      <a:pt x="12" y="12"/>
                    </a:lnTo>
                    <a:lnTo>
                      <a:pt x="16" y="12"/>
                    </a:lnTo>
                    <a:lnTo>
                      <a:pt x="16" y="10"/>
                    </a:lnTo>
                    <a:lnTo>
                      <a:pt x="14" y="10"/>
                    </a:lnTo>
                    <a:lnTo>
                      <a:pt x="16" y="8"/>
                    </a:lnTo>
                    <a:lnTo>
                      <a:pt x="18" y="8"/>
                    </a:lnTo>
                    <a:lnTo>
                      <a:pt x="20" y="8"/>
                    </a:lnTo>
                    <a:lnTo>
                      <a:pt x="24" y="12"/>
                    </a:lnTo>
                    <a:lnTo>
                      <a:pt x="24" y="16"/>
                    </a:lnTo>
                    <a:lnTo>
                      <a:pt x="20" y="16"/>
                    </a:lnTo>
                    <a:lnTo>
                      <a:pt x="16" y="14"/>
                    </a:lnTo>
                    <a:lnTo>
                      <a:pt x="10" y="14"/>
                    </a:lnTo>
                    <a:lnTo>
                      <a:pt x="10" y="16"/>
                    </a:lnTo>
                    <a:lnTo>
                      <a:pt x="8" y="16"/>
                    </a:lnTo>
                    <a:lnTo>
                      <a:pt x="6" y="16"/>
                    </a:lnTo>
                    <a:lnTo>
                      <a:pt x="4" y="14"/>
                    </a:lnTo>
                    <a:lnTo>
                      <a:pt x="2" y="14"/>
                    </a:lnTo>
                    <a:lnTo>
                      <a:pt x="2" y="10"/>
                    </a:lnTo>
                    <a:lnTo>
                      <a:pt x="2" y="12"/>
                    </a:lnTo>
                    <a:lnTo>
                      <a:pt x="6" y="12"/>
                    </a:lnTo>
                    <a:lnTo>
                      <a:pt x="8" y="12"/>
                    </a:lnTo>
                    <a:lnTo>
                      <a:pt x="6" y="10"/>
                    </a:lnTo>
                    <a:lnTo>
                      <a:pt x="4" y="8"/>
                    </a:lnTo>
                    <a:lnTo>
                      <a:pt x="2" y="6"/>
                    </a:lnTo>
                    <a:lnTo>
                      <a:pt x="0" y="8"/>
                    </a:lnTo>
                    <a:lnTo>
                      <a:pt x="0" y="6"/>
                    </a:lnTo>
                    <a:lnTo>
                      <a:pt x="2" y="4"/>
                    </a:lnTo>
                    <a:lnTo>
                      <a:pt x="4" y="4"/>
                    </a:lnTo>
                    <a:lnTo>
                      <a:pt x="6" y="2"/>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56" name="Freeform 1383"/>
            <p:cNvSpPr>
              <a:spLocks/>
            </p:cNvSpPr>
            <p:nvPr/>
          </p:nvSpPr>
          <p:spPr bwMode="auto">
            <a:xfrm>
              <a:off x="3743891" y="2306338"/>
              <a:ext cx="1043415" cy="980860"/>
            </a:xfrm>
            <a:custGeom>
              <a:avLst/>
              <a:gdLst/>
              <a:ahLst/>
              <a:cxnLst>
                <a:cxn ang="0">
                  <a:pos x="64" y="678"/>
                </a:cxn>
                <a:cxn ang="0">
                  <a:pos x="42" y="670"/>
                </a:cxn>
                <a:cxn ang="0">
                  <a:pos x="26" y="658"/>
                </a:cxn>
                <a:cxn ang="0">
                  <a:pos x="34" y="618"/>
                </a:cxn>
                <a:cxn ang="0">
                  <a:pos x="18" y="594"/>
                </a:cxn>
                <a:cxn ang="0">
                  <a:pos x="4" y="576"/>
                </a:cxn>
                <a:cxn ang="0">
                  <a:pos x="8" y="564"/>
                </a:cxn>
                <a:cxn ang="0">
                  <a:pos x="2" y="530"/>
                </a:cxn>
                <a:cxn ang="0">
                  <a:pos x="22" y="516"/>
                </a:cxn>
                <a:cxn ang="0">
                  <a:pos x="30" y="482"/>
                </a:cxn>
                <a:cxn ang="0">
                  <a:pos x="48" y="476"/>
                </a:cxn>
                <a:cxn ang="0">
                  <a:pos x="66" y="498"/>
                </a:cxn>
                <a:cxn ang="0">
                  <a:pos x="86" y="490"/>
                </a:cxn>
                <a:cxn ang="0">
                  <a:pos x="126" y="496"/>
                </a:cxn>
                <a:cxn ang="0">
                  <a:pos x="152" y="482"/>
                </a:cxn>
                <a:cxn ang="0">
                  <a:pos x="190" y="494"/>
                </a:cxn>
                <a:cxn ang="0">
                  <a:pos x="298" y="502"/>
                </a:cxn>
                <a:cxn ang="0">
                  <a:pos x="350" y="462"/>
                </a:cxn>
                <a:cxn ang="0">
                  <a:pos x="340" y="316"/>
                </a:cxn>
                <a:cxn ang="0">
                  <a:pos x="340" y="202"/>
                </a:cxn>
                <a:cxn ang="0">
                  <a:pos x="344" y="94"/>
                </a:cxn>
                <a:cxn ang="0">
                  <a:pos x="360" y="2"/>
                </a:cxn>
                <a:cxn ang="0">
                  <a:pos x="488" y="60"/>
                </a:cxn>
                <a:cxn ang="0">
                  <a:pos x="620" y="176"/>
                </a:cxn>
                <a:cxn ang="0">
                  <a:pos x="692" y="238"/>
                </a:cxn>
                <a:cxn ang="0">
                  <a:pos x="704" y="258"/>
                </a:cxn>
                <a:cxn ang="0">
                  <a:pos x="718" y="278"/>
                </a:cxn>
                <a:cxn ang="0">
                  <a:pos x="746" y="286"/>
                </a:cxn>
                <a:cxn ang="0">
                  <a:pos x="776" y="300"/>
                </a:cxn>
                <a:cxn ang="0">
                  <a:pos x="782" y="334"/>
                </a:cxn>
                <a:cxn ang="0">
                  <a:pos x="818" y="344"/>
                </a:cxn>
                <a:cxn ang="0">
                  <a:pos x="826" y="440"/>
                </a:cxn>
                <a:cxn ang="0">
                  <a:pos x="814" y="490"/>
                </a:cxn>
                <a:cxn ang="0">
                  <a:pos x="788" y="530"/>
                </a:cxn>
                <a:cxn ang="0">
                  <a:pos x="740" y="536"/>
                </a:cxn>
                <a:cxn ang="0">
                  <a:pos x="644" y="552"/>
                </a:cxn>
                <a:cxn ang="0">
                  <a:pos x="620" y="552"/>
                </a:cxn>
                <a:cxn ang="0">
                  <a:pos x="540" y="560"/>
                </a:cxn>
                <a:cxn ang="0">
                  <a:pos x="500" y="586"/>
                </a:cxn>
                <a:cxn ang="0">
                  <a:pos x="460" y="602"/>
                </a:cxn>
                <a:cxn ang="0">
                  <a:pos x="442" y="618"/>
                </a:cxn>
                <a:cxn ang="0">
                  <a:pos x="428" y="634"/>
                </a:cxn>
                <a:cxn ang="0">
                  <a:pos x="390" y="628"/>
                </a:cxn>
                <a:cxn ang="0">
                  <a:pos x="390" y="654"/>
                </a:cxn>
                <a:cxn ang="0">
                  <a:pos x="378" y="668"/>
                </a:cxn>
                <a:cxn ang="0">
                  <a:pos x="344" y="692"/>
                </a:cxn>
                <a:cxn ang="0">
                  <a:pos x="334" y="730"/>
                </a:cxn>
                <a:cxn ang="0">
                  <a:pos x="322" y="748"/>
                </a:cxn>
                <a:cxn ang="0">
                  <a:pos x="308" y="772"/>
                </a:cxn>
                <a:cxn ang="0">
                  <a:pos x="284" y="782"/>
                </a:cxn>
                <a:cxn ang="0">
                  <a:pos x="272" y="756"/>
                </a:cxn>
                <a:cxn ang="0">
                  <a:pos x="258" y="766"/>
                </a:cxn>
                <a:cxn ang="0">
                  <a:pos x="244" y="780"/>
                </a:cxn>
                <a:cxn ang="0">
                  <a:pos x="228" y="778"/>
                </a:cxn>
                <a:cxn ang="0">
                  <a:pos x="200" y="778"/>
                </a:cxn>
                <a:cxn ang="0">
                  <a:pos x="178" y="760"/>
                </a:cxn>
                <a:cxn ang="0">
                  <a:pos x="160" y="736"/>
                </a:cxn>
                <a:cxn ang="0">
                  <a:pos x="172" y="712"/>
                </a:cxn>
                <a:cxn ang="0">
                  <a:pos x="162" y="698"/>
                </a:cxn>
                <a:cxn ang="0">
                  <a:pos x="150" y="666"/>
                </a:cxn>
                <a:cxn ang="0">
                  <a:pos x="134" y="650"/>
                </a:cxn>
                <a:cxn ang="0">
                  <a:pos x="128" y="664"/>
                </a:cxn>
              </a:cxnLst>
              <a:rect l="0" t="0" r="r" b="b"/>
              <a:pathLst>
                <a:path w="834" h="784">
                  <a:moveTo>
                    <a:pt x="106" y="672"/>
                  </a:moveTo>
                  <a:lnTo>
                    <a:pt x="104" y="672"/>
                  </a:lnTo>
                  <a:lnTo>
                    <a:pt x="94" y="666"/>
                  </a:lnTo>
                  <a:lnTo>
                    <a:pt x="84" y="662"/>
                  </a:lnTo>
                  <a:lnTo>
                    <a:pt x="82" y="664"/>
                  </a:lnTo>
                  <a:lnTo>
                    <a:pt x="82" y="666"/>
                  </a:lnTo>
                  <a:lnTo>
                    <a:pt x="76" y="668"/>
                  </a:lnTo>
                  <a:lnTo>
                    <a:pt x="70" y="674"/>
                  </a:lnTo>
                  <a:lnTo>
                    <a:pt x="64" y="678"/>
                  </a:lnTo>
                  <a:lnTo>
                    <a:pt x="62" y="676"/>
                  </a:lnTo>
                  <a:lnTo>
                    <a:pt x="62" y="674"/>
                  </a:lnTo>
                  <a:lnTo>
                    <a:pt x="58" y="666"/>
                  </a:lnTo>
                  <a:lnTo>
                    <a:pt x="54" y="662"/>
                  </a:lnTo>
                  <a:lnTo>
                    <a:pt x="54" y="660"/>
                  </a:lnTo>
                  <a:lnTo>
                    <a:pt x="52" y="660"/>
                  </a:lnTo>
                  <a:lnTo>
                    <a:pt x="46" y="660"/>
                  </a:lnTo>
                  <a:lnTo>
                    <a:pt x="44" y="664"/>
                  </a:lnTo>
                  <a:lnTo>
                    <a:pt x="42" y="670"/>
                  </a:lnTo>
                  <a:lnTo>
                    <a:pt x="40" y="670"/>
                  </a:lnTo>
                  <a:lnTo>
                    <a:pt x="36" y="672"/>
                  </a:lnTo>
                  <a:lnTo>
                    <a:pt x="32" y="670"/>
                  </a:lnTo>
                  <a:lnTo>
                    <a:pt x="30" y="668"/>
                  </a:lnTo>
                  <a:lnTo>
                    <a:pt x="30" y="664"/>
                  </a:lnTo>
                  <a:lnTo>
                    <a:pt x="28" y="664"/>
                  </a:lnTo>
                  <a:lnTo>
                    <a:pt x="26" y="662"/>
                  </a:lnTo>
                  <a:lnTo>
                    <a:pt x="24" y="660"/>
                  </a:lnTo>
                  <a:lnTo>
                    <a:pt x="26" y="658"/>
                  </a:lnTo>
                  <a:lnTo>
                    <a:pt x="30" y="650"/>
                  </a:lnTo>
                  <a:lnTo>
                    <a:pt x="32" y="648"/>
                  </a:lnTo>
                  <a:lnTo>
                    <a:pt x="32" y="646"/>
                  </a:lnTo>
                  <a:lnTo>
                    <a:pt x="30" y="642"/>
                  </a:lnTo>
                  <a:lnTo>
                    <a:pt x="30" y="640"/>
                  </a:lnTo>
                  <a:lnTo>
                    <a:pt x="30" y="636"/>
                  </a:lnTo>
                  <a:lnTo>
                    <a:pt x="32" y="626"/>
                  </a:lnTo>
                  <a:lnTo>
                    <a:pt x="34" y="620"/>
                  </a:lnTo>
                  <a:lnTo>
                    <a:pt x="34" y="618"/>
                  </a:lnTo>
                  <a:lnTo>
                    <a:pt x="30" y="612"/>
                  </a:lnTo>
                  <a:lnTo>
                    <a:pt x="28" y="610"/>
                  </a:lnTo>
                  <a:lnTo>
                    <a:pt x="28" y="608"/>
                  </a:lnTo>
                  <a:lnTo>
                    <a:pt x="26" y="604"/>
                  </a:lnTo>
                  <a:lnTo>
                    <a:pt x="28" y="602"/>
                  </a:lnTo>
                  <a:lnTo>
                    <a:pt x="28" y="600"/>
                  </a:lnTo>
                  <a:lnTo>
                    <a:pt x="24" y="596"/>
                  </a:lnTo>
                  <a:lnTo>
                    <a:pt x="20" y="594"/>
                  </a:lnTo>
                  <a:lnTo>
                    <a:pt x="18" y="594"/>
                  </a:lnTo>
                  <a:lnTo>
                    <a:pt x="18" y="596"/>
                  </a:lnTo>
                  <a:lnTo>
                    <a:pt x="14" y="598"/>
                  </a:lnTo>
                  <a:lnTo>
                    <a:pt x="10" y="594"/>
                  </a:lnTo>
                  <a:lnTo>
                    <a:pt x="12" y="592"/>
                  </a:lnTo>
                  <a:lnTo>
                    <a:pt x="8" y="586"/>
                  </a:lnTo>
                  <a:lnTo>
                    <a:pt x="8" y="584"/>
                  </a:lnTo>
                  <a:lnTo>
                    <a:pt x="6" y="582"/>
                  </a:lnTo>
                  <a:lnTo>
                    <a:pt x="4" y="578"/>
                  </a:lnTo>
                  <a:lnTo>
                    <a:pt x="4" y="576"/>
                  </a:lnTo>
                  <a:lnTo>
                    <a:pt x="6" y="574"/>
                  </a:lnTo>
                  <a:lnTo>
                    <a:pt x="8" y="574"/>
                  </a:lnTo>
                  <a:lnTo>
                    <a:pt x="8" y="572"/>
                  </a:lnTo>
                  <a:lnTo>
                    <a:pt x="10" y="572"/>
                  </a:lnTo>
                  <a:lnTo>
                    <a:pt x="10" y="570"/>
                  </a:lnTo>
                  <a:lnTo>
                    <a:pt x="10" y="568"/>
                  </a:lnTo>
                  <a:lnTo>
                    <a:pt x="10" y="566"/>
                  </a:lnTo>
                  <a:lnTo>
                    <a:pt x="10" y="564"/>
                  </a:lnTo>
                  <a:lnTo>
                    <a:pt x="8" y="564"/>
                  </a:lnTo>
                  <a:lnTo>
                    <a:pt x="8" y="562"/>
                  </a:lnTo>
                  <a:lnTo>
                    <a:pt x="8" y="560"/>
                  </a:lnTo>
                  <a:lnTo>
                    <a:pt x="8" y="558"/>
                  </a:lnTo>
                  <a:lnTo>
                    <a:pt x="10" y="552"/>
                  </a:lnTo>
                  <a:lnTo>
                    <a:pt x="8" y="546"/>
                  </a:lnTo>
                  <a:lnTo>
                    <a:pt x="4" y="540"/>
                  </a:lnTo>
                  <a:lnTo>
                    <a:pt x="0" y="538"/>
                  </a:lnTo>
                  <a:lnTo>
                    <a:pt x="0" y="532"/>
                  </a:lnTo>
                  <a:lnTo>
                    <a:pt x="2" y="530"/>
                  </a:lnTo>
                  <a:lnTo>
                    <a:pt x="4" y="528"/>
                  </a:lnTo>
                  <a:lnTo>
                    <a:pt x="0" y="518"/>
                  </a:lnTo>
                  <a:lnTo>
                    <a:pt x="2" y="518"/>
                  </a:lnTo>
                  <a:lnTo>
                    <a:pt x="4" y="518"/>
                  </a:lnTo>
                  <a:lnTo>
                    <a:pt x="8" y="520"/>
                  </a:lnTo>
                  <a:lnTo>
                    <a:pt x="10" y="522"/>
                  </a:lnTo>
                  <a:lnTo>
                    <a:pt x="14" y="518"/>
                  </a:lnTo>
                  <a:lnTo>
                    <a:pt x="20" y="516"/>
                  </a:lnTo>
                  <a:lnTo>
                    <a:pt x="22" y="516"/>
                  </a:lnTo>
                  <a:lnTo>
                    <a:pt x="24" y="512"/>
                  </a:lnTo>
                  <a:lnTo>
                    <a:pt x="24" y="508"/>
                  </a:lnTo>
                  <a:lnTo>
                    <a:pt x="24" y="506"/>
                  </a:lnTo>
                  <a:lnTo>
                    <a:pt x="22" y="506"/>
                  </a:lnTo>
                  <a:lnTo>
                    <a:pt x="22" y="502"/>
                  </a:lnTo>
                  <a:lnTo>
                    <a:pt x="24" y="498"/>
                  </a:lnTo>
                  <a:lnTo>
                    <a:pt x="28" y="490"/>
                  </a:lnTo>
                  <a:lnTo>
                    <a:pt x="30" y="484"/>
                  </a:lnTo>
                  <a:lnTo>
                    <a:pt x="30" y="482"/>
                  </a:lnTo>
                  <a:lnTo>
                    <a:pt x="32" y="482"/>
                  </a:lnTo>
                  <a:lnTo>
                    <a:pt x="32" y="480"/>
                  </a:lnTo>
                  <a:lnTo>
                    <a:pt x="32" y="478"/>
                  </a:lnTo>
                  <a:lnTo>
                    <a:pt x="36" y="480"/>
                  </a:lnTo>
                  <a:lnTo>
                    <a:pt x="38" y="480"/>
                  </a:lnTo>
                  <a:lnTo>
                    <a:pt x="42" y="476"/>
                  </a:lnTo>
                  <a:lnTo>
                    <a:pt x="44" y="476"/>
                  </a:lnTo>
                  <a:lnTo>
                    <a:pt x="46" y="476"/>
                  </a:lnTo>
                  <a:lnTo>
                    <a:pt x="48" y="476"/>
                  </a:lnTo>
                  <a:lnTo>
                    <a:pt x="50" y="478"/>
                  </a:lnTo>
                  <a:lnTo>
                    <a:pt x="52" y="482"/>
                  </a:lnTo>
                  <a:lnTo>
                    <a:pt x="52" y="484"/>
                  </a:lnTo>
                  <a:lnTo>
                    <a:pt x="52" y="486"/>
                  </a:lnTo>
                  <a:lnTo>
                    <a:pt x="54" y="486"/>
                  </a:lnTo>
                  <a:lnTo>
                    <a:pt x="54" y="488"/>
                  </a:lnTo>
                  <a:lnTo>
                    <a:pt x="56" y="490"/>
                  </a:lnTo>
                  <a:lnTo>
                    <a:pt x="58" y="490"/>
                  </a:lnTo>
                  <a:lnTo>
                    <a:pt x="66" y="498"/>
                  </a:lnTo>
                  <a:lnTo>
                    <a:pt x="66" y="500"/>
                  </a:lnTo>
                  <a:lnTo>
                    <a:pt x="70" y="506"/>
                  </a:lnTo>
                  <a:lnTo>
                    <a:pt x="74" y="500"/>
                  </a:lnTo>
                  <a:lnTo>
                    <a:pt x="78" y="496"/>
                  </a:lnTo>
                  <a:lnTo>
                    <a:pt x="80" y="494"/>
                  </a:lnTo>
                  <a:lnTo>
                    <a:pt x="80" y="492"/>
                  </a:lnTo>
                  <a:lnTo>
                    <a:pt x="80" y="488"/>
                  </a:lnTo>
                  <a:lnTo>
                    <a:pt x="84" y="490"/>
                  </a:lnTo>
                  <a:lnTo>
                    <a:pt x="86" y="490"/>
                  </a:lnTo>
                  <a:lnTo>
                    <a:pt x="88" y="490"/>
                  </a:lnTo>
                  <a:lnTo>
                    <a:pt x="94" y="490"/>
                  </a:lnTo>
                  <a:lnTo>
                    <a:pt x="100" y="490"/>
                  </a:lnTo>
                  <a:lnTo>
                    <a:pt x="102" y="490"/>
                  </a:lnTo>
                  <a:lnTo>
                    <a:pt x="106" y="492"/>
                  </a:lnTo>
                  <a:lnTo>
                    <a:pt x="110" y="496"/>
                  </a:lnTo>
                  <a:lnTo>
                    <a:pt x="112" y="496"/>
                  </a:lnTo>
                  <a:lnTo>
                    <a:pt x="114" y="496"/>
                  </a:lnTo>
                  <a:lnTo>
                    <a:pt x="126" y="496"/>
                  </a:lnTo>
                  <a:lnTo>
                    <a:pt x="128" y="496"/>
                  </a:lnTo>
                  <a:lnTo>
                    <a:pt x="128" y="494"/>
                  </a:lnTo>
                  <a:lnTo>
                    <a:pt x="130" y="494"/>
                  </a:lnTo>
                  <a:lnTo>
                    <a:pt x="132" y="494"/>
                  </a:lnTo>
                  <a:lnTo>
                    <a:pt x="146" y="494"/>
                  </a:lnTo>
                  <a:lnTo>
                    <a:pt x="146" y="492"/>
                  </a:lnTo>
                  <a:lnTo>
                    <a:pt x="144" y="486"/>
                  </a:lnTo>
                  <a:lnTo>
                    <a:pt x="150" y="480"/>
                  </a:lnTo>
                  <a:lnTo>
                    <a:pt x="152" y="482"/>
                  </a:lnTo>
                  <a:lnTo>
                    <a:pt x="150" y="488"/>
                  </a:lnTo>
                  <a:lnTo>
                    <a:pt x="150" y="492"/>
                  </a:lnTo>
                  <a:lnTo>
                    <a:pt x="154" y="492"/>
                  </a:lnTo>
                  <a:lnTo>
                    <a:pt x="156" y="492"/>
                  </a:lnTo>
                  <a:lnTo>
                    <a:pt x="162" y="492"/>
                  </a:lnTo>
                  <a:lnTo>
                    <a:pt x="164" y="492"/>
                  </a:lnTo>
                  <a:lnTo>
                    <a:pt x="166" y="492"/>
                  </a:lnTo>
                  <a:lnTo>
                    <a:pt x="186" y="494"/>
                  </a:lnTo>
                  <a:lnTo>
                    <a:pt x="190" y="494"/>
                  </a:lnTo>
                  <a:lnTo>
                    <a:pt x="212" y="496"/>
                  </a:lnTo>
                  <a:lnTo>
                    <a:pt x="216" y="496"/>
                  </a:lnTo>
                  <a:lnTo>
                    <a:pt x="232" y="498"/>
                  </a:lnTo>
                  <a:lnTo>
                    <a:pt x="240" y="498"/>
                  </a:lnTo>
                  <a:lnTo>
                    <a:pt x="248" y="498"/>
                  </a:lnTo>
                  <a:lnTo>
                    <a:pt x="264" y="500"/>
                  </a:lnTo>
                  <a:lnTo>
                    <a:pt x="282" y="500"/>
                  </a:lnTo>
                  <a:lnTo>
                    <a:pt x="292" y="502"/>
                  </a:lnTo>
                  <a:lnTo>
                    <a:pt x="298" y="502"/>
                  </a:lnTo>
                  <a:lnTo>
                    <a:pt x="316" y="504"/>
                  </a:lnTo>
                  <a:lnTo>
                    <a:pt x="336" y="506"/>
                  </a:lnTo>
                  <a:lnTo>
                    <a:pt x="338" y="506"/>
                  </a:lnTo>
                  <a:lnTo>
                    <a:pt x="338" y="504"/>
                  </a:lnTo>
                  <a:lnTo>
                    <a:pt x="340" y="502"/>
                  </a:lnTo>
                  <a:lnTo>
                    <a:pt x="344" y="486"/>
                  </a:lnTo>
                  <a:lnTo>
                    <a:pt x="346" y="476"/>
                  </a:lnTo>
                  <a:lnTo>
                    <a:pt x="348" y="472"/>
                  </a:lnTo>
                  <a:lnTo>
                    <a:pt x="350" y="462"/>
                  </a:lnTo>
                  <a:lnTo>
                    <a:pt x="338" y="452"/>
                  </a:lnTo>
                  <a:lnTo>
                    <a:pt x="338" y="440"/>
                  </a:lnTo>
                  <a:lnTo>
                    <a:pt x="338" y="408"/>
                  </a:lnTo>
                  <a:lnTo>
                    <a:pt x="338" y="382"/>
                  </a:lnTo>
                  <a:lnTo>
                    <a:pt x="338" y="364"/>
                  </a:lnTo>
                  <a:lnTo>
                    <a:pt x="338" y="356"/>
                  </a:lnTo>
                  <a:lnTo>
                    <a:pt x="338" y="338"/>
                  </a:lnTo>
                  <a:lnTo>
                    <a:pt x="338" y="332"/>
                  </a:lnTo>
                  <a:lnTo>
                    <a:pt x="340" y="316"/>
                  </a:lnTo>
                  <a:lnTo>
                    <a:pt x="340" y="308"/>
                  </a:lnTo>
                  <a:lnTo>
                    <a:pt x="340" y="300"/>
                  </a:lnTo>
                  <a:lnTo>
                    <a:pt x="340" y="282"/>
                  </a:lnTo>
                  <a:lnTo>
                    <a:pt x="340" y="274"/>
                  </a:lnTo>
                  <a:lnTo>
                    <a:pt x="340" y="258"/>
                  </a:lnTo>
                  <a:lnTo>
                    <a:pt x="340" y="236"/>
                  </a:lnTo>
                  <a:lnTo>
                    <a:pt x="340" y="226"/>
                  </a:lnTo>
                  <a:lnTo>
                    <a:pt x="340" y="214"/>
                  </a:lnTo>
                  <a:lnTo>
                    <a:pt x="340" y="202"/>
                  </a:lnTo>
                  <a:lnTo>
                    <a:pt x="342" y="192"/>
                  </a:lnTo>
                  <a:lnTo>
                    <a:pt x="342" y="182"/>
                  </a:lnTo>
                  <a:lnTo>
                    <a:pt x="342" y="166"/>
                  </a:lnTo>
                  <a:lnTo>
                    <a:pt x="342" y="158"/>
                  </a:lnTo>
                  <a:lnTo>
                    <a:pt x="344" y="126"/>
                  </a:lnTo>
                  <a:lnTo>
                    <a:pt x="344" y="116"/>
                  </a:lnTo>
                  <a:lnTo>
                    <a:pt x="344" y="112"/>
                  </a:lnTo>
                  <a:lnTo>
                    <a:pt x="344" y="108"/>
                  </a:lnTo>
                  <a:lnTo>
                    <a:pt x="344" y="94"/>
                  </a:lnTo>
                  <a:lnTo>
                    <a:pt x="346" y="60"/>
                  </a:lnTo>
                  <a:lnTo>
                    <a:pt x="346" y="46"/>
                  </a:lnTo>
                  <a:lnTo>
                    <a:pt x="346" y="30"/>
                  </a:lnTo>
                  <a:lnTo>
                    <a:pt x="346" y="24"/>
                  </a:lnTo>
                  <a:lnTo>
                    <a:pt x="346" y="20"/>
                  </a:lnTo>
                  <a:lnTo>
                    <a:pt x="346" y="0"/>
                  </a:lnTo>
                  <a:lnTo>
                    <a:pt x="350" y="2"/>
                  </a:lnTo>
                  <a:lnTo>
                    <a:pt x="358" y="2"/>
                  </a:lnTo>
                  <a:lnTo>
                    <a:pt x="360" y="2"/>
                  </a:lnTo>
                  <a:lnTo>
                    <a:pt x="368" y="4"/>
                  </a:lnTo>
                  <a:lnTo>
                    <a:pt x="386" y="6"/>
                  </a:lnTo>
                  <a:lnTo>
                    <a:pt x="422" y="8"/>
                  </a:lnTo>
                  <a:lnTo>
                    <a:pt x="428" y="8"/>
                  </a:lnTo>
                  <a:lnTo>
                    <a:pt x="430" y="8"/>
                  </a:lnTo>
                  <a:lnTo>
                    <a:pt x="442" y="18"/>
                  </a:lnTo>
                  <a:lnTo>
                    <a:pt x="460" y="34"/>
                  </a:lnTo>
                  <a:lnTo>
                    <a:pt x="474" y="46"/>
                  </a:lnTo>
                  <a:lnTo>
                    <a:pt x="488" y="60"/>
                  </a:lnTo>
                  <a:lnTo>
                    <a:pt x="498" y="68"/>
                  </a:lnTo>
                  <a:lnTo>
                    <a:pt x="516" y="84"/>
                  </a:lnTo>
                  <a:lnTo>
                    <a:pt x="532" y="98"/>
                  </a:lnTo>
                  <a:lnTo>
                    <a:pt x="548" y="112"/>
                  </a:lnTo>
                  <a:lnTo>
                    <a:pt x="562" y="124"/>
                  </a:lnTo>
                  <a:lnTo>
                    <a:pt x="576" y="138"/>
                  </a:lnTo>
                  <a:lnTo>
                    <a:pt x="588" y="148"/>
                  </a:lnTo>
                  <a:lnTo>
                    <a:pt x="606" y="162"/>
                  </a:lnTo>
                  <a:lnTo>
                    <a:pt x="620" y="176"/>
                  </a:lnTo>
                  <a:lnTo>
                    <a:pt x="634" y="188"/>
                  </a:lnTo>
                  <a:lnTo>
                    <a:pt x="640" y="192"/>
                  </a:lnTo>
                  <a:lnTo>
                    <a:pt x="646" y="198"/>
                  </a:lnTo>
                  <a:lnTo>
                    <a:pt x="650" y="202"/>
                  </a:lnTo>
                  <a:lnTo>
                    <a:pt x="658" y="206"/>
                  </a:lnTo>
                  <a:lnTo>
                    <a:pt x="674" y="220"/>
                  </a:lnTo>
                  <a:lnTo>
                    <a:pt x="692" y="234"/>
                  </a:lnTo>
                  <a:lnTo>
                    <a:pt x="692" y="236"/>
                  </a:lnTo>
                  <a:lnTo>
                    <a:pt x="692" y="238"/>
                  </a:lnTo>
                  <a:lnTo>
                    <a:pt x="692" y="242"/>
                  </a:lnTo>
                  <a:lnTo>
                    <a:pt x="692" y="244"/>
                  </a:lnTo>
                  <a:lnTo>
                    <a:pt x="692" y="246"/>
                  </a:lnTo>
                  <a:lnTo>
                    <a:pt x="690" y="246"/>
                  </a:lnTo>
                  <a:lnTo>
                    <a:pt x="690" y="250"/>
                  </a:lnTo>
                  <a:lnTo>
                    <a:pt x="690" y="252"/>
                  </a:lnTo>
                  <a:lnTo>
                    <a:pt x="690" y="254"/>
                  </a:lnTo>
                  <a:lnTo>
                    <a:pt x="698" y="256"/>
                  </a:lnTo>
                  <a:lnTo>
                    <a:pt x="704" y="258"/>
                  </a:lnTo>
                  <a:lnTo>
                    <a:pt x="706" y="260"/>
                  </a:lnTo>
                  <a:lnTo>
                    <a:pt x="710" y="260"/>
                  </a:lnTo>
                  <a:lnTo>
                    <a:pt x="712" y="262"/>
                  </a:lnTo>
                  <a:lnTo>
                    <a:pt x="714" y="264"/>
                  </a:lnTo>
                  <a:lnTo>
                    <a:pt x="714" y="268"/>
                  </a:lnTo>
                  <a:lnTo>
                    <a:pt x="712" y="270"/>
                  </a:lnTo>
                  <a:lnTo>
                    <a:pt x="716" y="274"/>
                  </a:lnTo>
                  <a:lnTo>
                    <a:pt x="718" y="276"/>
                  </a:lnTo>
                  <a:lnTo>
                    <a:pt x="718" y="278"/>
                  </a:lnTo>
                  <a:lnTo>
                    <a:pt x="724" y="280"/>
                  </a:lnTo>
                  <a:lnTo>
                    <a:pt x="732" y="282"/>
                  </a:lnTo>
                  <a:lnTo>
                    <a:pt x="734" y="282"/>
                  </a:lnTo>
                  <a:lnTo>
                    <a:pt x="736" y="280"/>
                  </a:lnTo>
                  <a:lnTo>
                    <a:pt x="738" y="280"/>
                  </a:lnTo>
                  <a:lnTo>
                    <a:pt x="742" y="282"/>
                  </a:lnTo>
                  <a:lnTo>
                    <a:pt x="744" y="284"/>
                  </a:lnTo>
                  <a:lnTo>
                    <a:pt x="744" y="286"/>
                  </a:lnTo>
                  <a:lnTo>
                    <a:pt x="746" y="286"/>
                  </a:lnTo>
                  <a:lnTo>
                    <a:pt x="746" y="288"/>
                  </a:lnTo>
                  <a:lnTo>
                    <a:pt x="746" y="290"/>
                  </a:lnTo>
                  <a:lnTo>
                    <a:pt x="748" y="290"/>
                  </a:lnTo>
                  <a:lnTo>
                    <a:pt x="748" y="292"/>
                  </a:lnTo>
                  <a:lnTo>
                    <a:pt x="752" y="294"/>
                  </a:lnTo>
                  <a:lnTo>
                    <a:pt x="756" y="294"/>
                  </a:lnTo>
                  <a:lnTo>
                    <a:pt x="760" y="296"/>
                  </a:lnTo>
                  <a:lnTo>
                    <a:pt x="770" y="298"/>
                  </a:lnTo>
                  <a:lnTo>
                    <a:pt x="776" y="300"/>
                  </a:lnTo>
                  <a:lnTo>
                    <a:pt x="786" y="306"/>
                  </a:lnTo>
                  <a:lnTo>
                    <a:pt x="786" y="310"/>
                  </a:lnTo>
                  <a:lnTo>
                    <a:pt x="784" y="316"/>
                  </a:lnTo>
                  <a:lnTo>
                    <a:pt x="784" y="318"/>
                  </a:lnTo>
                  <a:lnTo>
                    <a:pt x="784" y="320"/>
                  </a:lnTo>
                  <a:lnTo>
                    <a:pt x="786" y="324"/>
                  </a:lnTo>
                  <a:lnTo>
                    <a:pt x="786" y="326"/>
                  </a:lnTo>
                  <a:lnTo>
                    <a:pt x="786" y="328"/>
                  </a:lnTo>
                  <a:lnTo>
                    <a:pt x="782" y="334"/>
                  </a:lnTo>
                  <a:lnTo>
                    <a:pt x="780" y="338"/>
                  </a:lnTo>
                  <a:lnTo>
                    <a:pt x="778" y="338"/>
                  </a:lnTo>
                  <a:lnTo>
                    <a:pt x="778" y="340"/>
                  </a:lnTo>
                  <a:lnTo>
                    <a:pt x="778" y="342"/>
                  </a:lnTo>
                  <a:lnTo>
                    <a:pt x="782" y="344"/>
                  </a:lnTo>
                  <a:lnTo>
                    <a:pt x="788" y="350"/>
                  </a:lnTo>
                  <a:lnTo>
                    <a:pt x="808" y="346"/>
                  </a:lnTo>
                  <a:lnTo>
                    <a:pt x="816" y="346"/>
                  </a:lnTo>
                  <a:lnTo>
                    <a:pt x="818" y="344"/>
                  </a:lnTo>
                  <a:lnTo>
                    <a:pt x="826" y="344"/>
                  </a:lnTo>
                  <a:lnTo>
                    <a:pt x="834" y="344"/>
                  </a:lnTo>
                  <a:lnTo>
                    <a:pt x="832" y="346"/>
                  </a:lnTo>
                  <a:lnTo>
                    <a:pt x="832" y="358"/>
                  </a:lnTo>
                  <a:lnTo>
                    <a:pt x="832" y="368"/>
                  </a:lnTo>
                  <a:lnTo>
                    <a:pt x="828" y="402"/>
                  </a:lnTo>
                  <a:lnTo>
                    <a:pt x="828" y="422"/>
                  </a:lnTo>
                  <a:lnTo>
                    <a:pt x="826" y="430"/>
                  </a:lnTo>
                  <a:lnTo>
                    <a:pt x="826" y="440"/>
                  </a:lnTo>
                  <a:lnTo>
                    <a:pt x="826" y="454"/>
                  </a:lnTo>
                  <a:lnTo>
                    <a:pt x="824" y="458"/>
                  </a:lnTo>
                  <a:lnTo>
                    <a:pt x="822" y="464"/>
                  </a:lnTo>
                  <a:lnTo>
                    <a:pt x="822" y="466"/>
                  </a:lnTo>
                  <a:lnTo>
                    <a:pt x="822" y="486"/>
                  </a:lnTo>
                  <a:lnTo>
                    <a:pt x="820" y="486"/>
                  </a:lnTo>
                  <a:lnTo>
                    <a:pt x="818" y="486"/>
                  </a:lnTo>
                  <a:lnTo>
                    <a:pt x="816" y="488"/>
                  </a:lnTo>
                  <a:lnTo>
                    <a:pt x="814" y="490"/>
                  </a:lnTo>
                  <a:lnTo>
                    <a:pt x="810" y="502"/>
                  </a:lnTo>
                  <a:lnTo>
                    <a:pt x="808" y="508"/>
                  </a:lnTo>
                  <a:lnTo>
                    <a:pt x="804" y="518"/>
                  </a:lnTo>
                  <a:lnTo>
                    <a:pt x="804" y="520"/>
                  </a:lnTo>
                  <a:lnTo>
                    <a:pt x="802" y="522"/>
                  </a:lnTo>
                  <a:lnTo>
                    <a:pt x="800" y="522"/>
                  </a:lnTo>
                  <a:lnTo>
                    <a:pt x="798" y="522"/>
                  </a:lnTo>
                  <a:lnTo>
                    <a:pt x="796" y="522"/>
                  </a:lnTo>
                  <a:lnTo>
                    <a:pt x="788" y="530"/>
                  </a:lnTo>
                  <a:lnTo>
                    <a:pt x="786" y="534"/>
                  </a:lnTo>
                  <a:lnTo>
                    <a:pt x="784" y="536"/>
                  </a:lnTo>
                  <a:lnTo>
                    <a:pt x="784" y="538"/>
                  </a:lnTo>
                  <a:lnTo>
                    <a:pt x="774" y="536"/>
                  </a:lnTo>
                  <a:lnTo>
                    <a:pt x="760" y="532"/>
                  </a:lnTo>
                  <a:lnTo>
                    <a:pt x="760" y="534"/>
                  </a:lnTo>
                  <a:lnTo>
                    <a:pt x="760" y="538"/>
                  </a:lnTo>
                  <a:lnTo>
                    <a:pt x="752" y="536"/>
                  </a:lnTo>
                  <a:lnTo>
                    <a:pt x="740" y="536"/>
                  </a:lnTo>
                  <a:lnTo>
                    <a:pt x="734" y="536"/>
                  </a:lnTo>
                  <a:lnTo>
                    <a:pt x="708" y="536"/>
                  </a:lnTo>
                  <a:lnTo>
                    <a:pt x="704" y="536"/>
                  </a:lnTo>
                  <a:lnTo>
                    <a:pt x="674" y="536"/>
                  </a:lnTo>
                  <a:lnTo>
                    <a:pt x="662" y="546"/>
                  </a:lnTo>
                  <a:lnTo>
                    <a:pt x="658" y="552"/>
                  </a:lnTo>
                  <a:lnTo>
                    <a:pt x="656" y="552"/>
                  </a:lnTo>
                  <a:lnTo>
                    <a:pt x="648" y="552"/>
                  </a:lnTo>
                  <a:lnTo>
                    <a:pt x="644" y="552"/>
                  </a:lnTo>
                  <a:lnTo>
                    <a:pt x="642" y="552"/>
                  </a:lnTo>
                  <a:lnTo>
                    <a:pt x="640" y="552"/>
                  </a:lnTo>
                  <a:lnTo>
                    <a:pt x="634" y="550"/>
                  </a:lnTo>
                  <a:lnTo>
                    <a:pt x="630" y="550"/>
                  </a:lnTo>
                  <a:lnTo>
                    <a:pt x="628" y="552"/>
                  </a:lnTo>
                  <a:lnTo>
                    <a:pt x="626" y="550"/>
                  </a:lnTo>
                  <a:lnTo>
                    <a:pt x="622" y="550"/>
                  </a:lnTo>
                  <a:lnTo>
                    <a:pt x="620" y="548"/>
                  </a:lnTo>
                  <a:lnTo>
                    <a:pt x="620" y="552"/>
                  </a:lnTo>
                  <a:lnTo>
                    <a:pt x="608" y="548"/>
                  </a:lnTo>
                  <a:lnTo>
                    <a:pt x="596" y="542"/>
                  </a:lnTo>
                  <a:lnTo>
                    <a:pt x="590" y="546"/>
                  </a:lnTo>
                  <a:lnTo>
                    <a:pt x="586" y="542"/>
                  </a:lnTo>
                  <a:lnTo>
                    <a:pt x="574" y="542"/>
                  </a:lnTo>
                  <a:lnTo>
                    <a:pt x="558" y="554"/>
                  </a:lnTo>
                  <a:lnTo>
                    <a:pt x="554" y="556"/>
                  </a:lnTo>
                  <a:lnTo>
                    <a:pt x="542" y="558"/>
                  </a:lnTo>
                  <a:lnTo>
                    <a:pt x="540" y="560"/>
                  </a:lnTo>
                  <a:lnTo>
                    <a:pt x="524" y="570"/>
                  </a:lnTo>
                  <a:lnTo>
                    <a:pt x="518" y="570"/>
                  </a:lnTo>
                  <a:lnTo>
                    <a:pt x="512" y="570"/>
                  </a:lnTo>
                  <a:lnTo>
                    <a:pt x="508" y="570"/>
                  </a:lnTo>
                  <a:lnTo>
                    <a:pt x="508" y="574"/>
                  </a:lnTo>
                  <a:lnTo>
                    <a:pt x="508" y="576"/>
                  </a:lnTo>
                  <a:lnTo>
                    <a:pt x="508" y="578"/>
                  </a:lnTo>
                  <a:lnTo>
                    <a:pt x="506" y="584"/>
                  </a:lnTo>
                  <a:lnTo>
                    <a:pt x="500" y="586"/>
                  </a:lnTo>
                  <a:lnTo>
                    <a:pt x="494" y="584"/>
                  </a:lnTo>
                  <a:lnTo>
                    <a:pt x="492" y="582"/>
                  </a:lnTo>
                  <a:lnTo>
                    <a:pt x="488" y="580"/>
                  </a:lnTo>
                  <a:lnTo>
                    <a:pt x="484" y="578"/>
                  </a:lnTo>
                  <a:lnTo>
                    <a:pt x="476" y="582"/>
                  </a:lnTo>
                  <a:lnTo>
                    <a:pt x="474" y="584"/>
                  </a:lnTo>
                  <a:lnTo>
                    <a:pt x="466" y="590"/>
                  </a:lnTo>
                  <a:lnTo>
                    <a:pt x="464" y="592"/>
                  </a:lnTo>
                  <a:lnTo>
                    <a:pt x="460" y="602"/>
                  </a:lnTo>
                  <a:lnTo>
                    <a:pt x="460" y="606"/>
                  </a:lnTo>
                  <a:lnTo>
                    <a:pt x="460" y="610"/>
                  </a:lnTo>
                  <a:lnTo>
                    <a:pt x="458" y="612"/>
                  </a:lnTo>
                  <a:lnTo>
                    <a:pt x="456" y="612"/>
                  </a:lnTo>
                  <a:lnTo>
                    <a:pt x="450" y="608"/>
                  </a:lnTo>
                  <a:lnTo>
                    <a:pt x="444" y="606"/>
                  </a:lnTo>
                  <a:lnTo>
                    <a:pt x="442" y="606"/>
                  </a:lnTo>
                  <a:lnTo>
                    <a:pt x="440" y="616"/>
                  </a:lnTo>
                  <a:lnTo>
                    <a:pt x="442" y="618"/>
                  </a:lnTo>
                  <a:lnTo>
                    <a:pt x="442" y="626"/>
                  </a:lnTo>
                  <a:lnTo>
                    <a:pt x="442" y="628"/>
                  </a:lnTo>
                  <a:lnTo>
                    <a:pt x="434" y="628"/>
                  </a:lnTo>
                  <a:lnTo>
                    <a:pt x="432" y="628"/>
                  </a:lnTo>
                  <a:lnTo>
                    <a:pt x="432" y="630"/>
                  </a:lnTo>
                  <a:lnTo>
                    <a:pt x="432" y="632"/>
                  </a:lnTo>
                  <a:lnTo>
                    <a:pt x="432" y="634"/>
                  </a:lnTo>
                  <a:lnTo>
                    <a:pt x="430" y="634"/>
                  </a:lnTo>
                  <a:lnTo>
                    <a:pt x="428" y="634"/>
                  </a:lnTo>
                  <a:lnTo>
                    <a:pt x="426" y="634"/>
                  </a:lnTo>
                  <a:lnTo>
                    <a:pt x="424" y="632"/>
                  </a:lnTo>
                  <a:lnTo>
                    <a:pt x="422" y="630"/>
                  </a:lnTo>
                  <a:lnTo>
                    <a:pt x="414" y="624"/>
                  </a:lnTo>
                  <a:lnTo>
                    <a:pt x="410" y="618"/>
                  </a:lnTo>
                  <a:lnTo>
                    <a:pt x="406" y="616"/>
                  </a:lnTo>
                  <a:lnTo>
                    <a:pt x="396" y="626"/>
                  </a:lnTo>
                  <a:lnTo>
                    <a:pt x="394" y="626"/>
                  </a:lnTo>
                  <a:lnTo>
                    <a:pt x="390" y="628"/>
                  </a:lnTo>
                  <a:lnTo>
                    <a:pt x="388" y="632"/>
                  </a:lnTo>
                  <a:lnTo>
                    <a:pt x="386" y="634"/>
                  </a:lnTo>
                  <a:lnTo>
                    <a:pt x="388" y="640"/>
                  </a:lnTo>
                  <a:lnTo>
                    <a:pt x="390" y="640"/>
                  </a:lnTo>
                  <a:lnTo>
                    <a:pt x="390" y="642"/>
                  </a:lnTo>
                  <a:lnTo>
                    <a:pt x="392" y="644"/>
                  </a:lnTo>
                  <a:lnTo>
                    <a:pt x="392" y="650"/>
                  </a:lnTo>
                  <a:lnTo>
                    <a:pt x="390" y="652"/>
                  </a:lnTo>
                  <a:lnTo>
                    <a:pt x="390" y="654"/>
                  </a:lnTo>
                  <a:lnTo>
                    <a:pt x="388" y="656"/>
                  </a:lnTo>
                  <a:lnTo>
                    <a:pt x="386" y="656"/>
                  </a:lnTo>
                  <a:lnTo>
                    <a:pt x="378" y="654"/>
                  </a:lnTo>
                  <a:lnTo>
                    <a:pt x="378" y="656"/>
                  </a:lnTo>
                  <a:lnTo>
                    <a:pt x="378" y="658"/>
                  </a:lnTo>
                  <a:lnTo>
                    <a:pt x="378" y="660"/>
                  </a:lnTo>
                  <a:lnTo>
                    <a:pt x="382" y="666"/>
                  </a:lnTo>
                  <a:lnTo>
                    <a:pt x="380" y="666"/>
                  </a:lnTo>
                  <a:lnTo>
                    <a:pt x="378" y="668"/>
                  </a:lnTo>
                  <a:lnTo>
                    <a:pt x="378" y="670"/>
                  </a:lnTo>
                  <a:lnTo>
                    <a:pt x="378" y="678"/>
                  </a:lnTo>
                  <a:lnTo>
                    <a:pt x="376" y="678"/>
                  </a:lnTo>
                  <a:lnTo>
                    <a:pt x="370" y="682"/>
                  </a:lnTo>
                  <a:lnTo>
                    <a:pt x="368" y="686"/>
                  </a:lnTo>
                  <a:lnTo>
                    <a:pt x="368" y="688"/>
                  </a:lnTo>
                  <a:lnTo>
                    <a:pt x="364" y="688"/>
                  </a:lnTo>
                  <a:lnTo>
                    <a:pt x="352" y="692"/>
                  </a:lnTo>
                  <a:lnTo>
                    <a:pt x="344" y="692"/>
                  </a:lnTo>
                  <a:lnTo>
                    <a:pt x="342" y="694"/>
                  </a:lnTo>
                  <a:lnTo>
                    <a:pt x="340" y="694"/>
                  </a:lnTo>
                  <a:lnTo>
                    <a:pt x="334" y="698"/>
                  </a:lnTo>
                  <a:lnTo>
                    <a:pt x="334" y="702"/>
                  </a:lnTo>
                  <a:lnTo>
                    <a:pt x="334" y="706"/>
                  </a:lnTo>
                  <a:lnTo>
                    <a:pt x="336" y="712"/>
                  </a:lnTo>
                  <a:lnTo>
                    <a:pt x="336" y="714"/>
                  </a:lnTo>
                  <a:lnTo>
                    <a:pt x="336" y="718"/>
                  </a:lnTo>
                  <a:lnTo>
                    <a:pt x="334" y="730"/>
                  </a:lnTo>
                  <a:lnTo>
                    <a:pt x="330" y="736"/>
                  </a:lnTo>
                  <a:lnTo>
                    <a:pt x="328" y="736"/>
                  </a:lnTo>
                  <a:lnTo>
                    <a:pt x="326" y="738"/>
                  </a:lnTo>
                  <a:lnTo>
                    <a:pt x="324" y="738"/>
                  </a:lnTo>
                  <a:lnTo>
                    <a:pt x="322" y="738"/>
                  </a:lnTo>
                  <a:lnTo>
                    <a:pt x="320" y="738"/>
                  </a:lnTo>
                  <a:lnTo>
                    <a:pt x="320" y="740"/>
                  </a:lnTo>
                  <a:lnTo>
                    <a:pt x="320" y="742"/>
                  </a:lnTo>
                  <a:lnTo>
                    <a:pt x="322" y="748"/>
                  </a:lnTo>
                  <a:lnTo>
                    <a:pt x="324" y="750"/>
                  </a:lnTo>
                  <a:lnTo>
                    <a:pt x="324" y="752"/>
                  </a:lnTo>
                  <a:lnTo>
                    <a:pt x="322" y="756"/>
                  </a:lnTo>
                  <a:lnTo>
                    <a:pt x="320" y="758"/>
                  </a:lnTo>
                  <a:lnTo>
                    <a:pt x="320" y="762"/>
                  </a:lnTo>
                  <a:lnTo>
                    <a:pt x="318" y="768"/>
                  </a:lnTo>
                  <a:lnTo>
                    <a:pt x="316" y="772"/>
                  </a:lnTo>
                  <a:lnTo>
                    <a:pt x="314" y="770"/>
                  </a:lnTo>
                  <a:lnTo>
                    <a:pt x="308" y="772"/>
                  </a:lnTo>
                  <a:lnTo>
                    <a:pt x="306" y="772"/>
                  </a:lnTo>
                  <a:lnTo>
                    <a:pt x="304" y="772"/>
                  </a:lnTo>
                  <a:lnTo>
                    <a:pt x="302" y="772"/>
                  </a:lnTo>
                  <a:lnTo>
                    <a:pt x="298" y="774"/>
                  </a:lnTo>
                  <a:lnTo>
                    <a:pt x="294" y="780"/>
                  </a:lnTo>
                  <a:lnTo>
                    <a:pt x="292" y="782"/>
                  </a:lnTo>
                  <a:lnTo>
                    <a:pt x="292" y="784"/>
                  </a:lnTo>
                  <a:lnTo>
                    <a:pt x="286" y="784"/>
                  </a:lnTo>
                  <a:lnTo>
                    <a:pt x="284" y="782"/>
                  </a:lnTo>
                  <a:lnTo>
                    <a:pt x="282" y="780"/>
                  </a:lnTo>
                  <a:lnTo>
                    <a:pt x="282" y="774"/>
                  </a:lnTo>
                  <a:lnTo>
                    <a:pt x="282" y="772"/>
                  </a:lnTo>
                  <a:lnTo>
                    <a:pt x="282" y="770"/>
                  </a:lnTo>
                  <a:lnTo>
                    <a:pt x="282" y="764"/>
                  </a:lnTo>
                  <a:lnTo>
                    <a:pt x="284" y="760"/>
                  </a:lnTo>
                  <a:lnTo>
                    <a:pt x="282" y="756"/>
                  </a:lnTo>
                  <a:lnTo>
                    <a:pt x="280" y="754"/>
                  </a:lnTo>
                  <a:lnTo>
                    <a:pt x="272" y="756"/>
                  </a:lnTo>
                  <a:lnTo>
                    <a:pt x="272" y="760"/>
                  </a:lnTo>
                  <a:lnTo>
                    <a:pt x="274" y="762"/>
                  </a:lnTo>
                  <a:lnTo>
                    <a:pt x="272" y="764"/>
                  </a:lnTo>
                  <a:lnTo>
                    <a:pt x="266" y="762"/>
                  </a:lnTo>
                  <a:lnTo>
                    <a:pt x="264" y="760"/>
                  </a:lnTo>
                  <a:lnTo>
                    <a:pt x="262" y="758"/>
                  </a:lnTo>
                  <a:lnTo>
                    <a:pt x="260" y="758"/>
                  </a:lnTo>
                  <a:lnTo>
                    <a:pt x="260" y="760"/>
                  </a:lnTo>
                  <a:lnTo>
                    <a:pt x="258" y="766"/>
                  </a:lnTo>
                  <a:lnTo>
                    <a:pt x="260" y="768"/>
                  </a:lnTo>
                  <a:lnTo>
                    <a:pt x="260" y="770"/>
                  </a:lnTo>
                  <a:lnTo>
                    <a:pt x="260" y="772"/>
                  </a:lnTo>
                  <a:lnTo>
                    <a:pt x="260" y="774"/>
                  </a:lnTo>
                  <a:lnTo>
                    <a:pt x="256" y="774"/>
                  </a:lnTo>
                  <a:lnTo>
                    <a:pt x="244" y="772"/>
                  </a:lnTo>
                  <a:lnTo>
                    <a:pt x="244" y="774"/>
                  </a:lnTo>
                  <a:lnTo>
                    <a:pt x="242" y="778"/>
                  </a:lnTo>
                  <a:lnTo>
                    <a:pt x="244" y="780"/>
                  </a:lnTo>
                  <a:lnTo>
                    <a:pt x="244" y="782"/>
                  </a:lnTo>
                  <a:lnTo>
                    <a:pt x="242" y="782"/>
                  </a:lnTo>
                  <a:lnTo>
                    <a:pt x="242" y="784"/>
                  </a:lnTo>
                  <a:lnTo>
                    <a:pt x="240" y="784"/>
                  </a:lnTo>
                  <a:lnTo>
                    <a:pt x="238" y="782"/>
                  </a:lnTo>
                  <a:lnTo>
                    <a:pt x="238" y="780"/>
                  </a:lnTo>
                  <a:lnTo>
                    <a:pt x="234" y="780"/>
                  </a:lnTo>
                  <a:lnTo>
                    <a:pt x="232" y="778"/>
                  </a:lnTo>
                  <a:lnTo>
                    <a:pt x="228" y="778"/>
                  </a:lnTo>
                  <a:lnTo>
                    <a:pt x="224" y="772"/>
                  </a:lnTo>
                  <a:lnTo>
                    <a:pt x="218" y="770"/>
                  </a:lnTo>
                  <a:lnTo>
                    <a:pt x="210" y="766"/>
                  </a:lnTo>
                  <a:lnTo>
                    <a:pt x="206" y="768"/>
                  </a:lnTo>
                  <a:lnTo>
                    <a:pt x="204" y="770"/>
                  </a:lnTo>
                  <a:lnTo>
                    <a:pt x="204" y="772"/>
                  </a:lnTo>
                  <a:lnTo>
                    <a:pt x="204" y="774"/>
                  </a:lnTo>
                  <a:lnTo>
                    <a:pt x="202" y="776"/>
                  </a:lnTo>
                  <a:lnTo>
                    <a:pt x="200" y="778"/>
                  </a:lnTo>
                  <a:lnTo>
                    <a:pt x="196" y="780"/>
                  </a:lnTo>
                  <a:lnTo>
                    <a:pt x="194" y="780"/>
                  </a:lnTo>
                  <a:lnTo>
                    <a:pt x="192" y="780"/>
                  </a:lnTo>
                  <a:lnTo>
                    <a:pt x="194" y="776"/>
                  </a:lnTo>
                  <a:lnTo>
                    <a:pt x="192" y="770"/>
                  </a:lnTo>
                  <a:lnTo>
                    <a:pt x="184" y="766"/>
                  </a:lnTo>
                  <a:lnTo>
                    <a:pt x="182" y="766"/>
                  </a:lnTo>
                  <a:lnTo>
                    <a:pt x="180" y="766"/>
                  </a:lnTo>
                  <a:lnTo>
                    <a:pt x="178" y="760"/>
                  </a:lnTo>
                  <a:lnTo>
                    <a:pt x="178" y="758"/>
                  </a:lnTo>
                  <a:lnTo>
                    <a:pt x="176" y="748"/>
                  </a:lnTo>
                  <a:lnTo>
                    <a:pt x="178" y="742"/>
                  </a:lnTo>
                  <a:lnTo>
                    <a:pt x="180" y="734"/>
                  </a:lnTo>
                  <a:lnTo>
                    <a:pt x="176" y="732"/>
                  </a:lnTo>
                  <a:lnTo>
                    <a:pt x="172" y="730"/>
                  </a:lnTo>
                  <a:lnTo>
                    <a:pt x="168" y="734"/>
                  </a:lnTo>
                  <a:lnTo>
                    <a:pt x="164" y="736"/>
                  </a:lnTo>
                  <a:lnTo>
                    <a:pt x="160" y="736"/>
                  </a:lnTo>
                  <a:lnTo>
                    <a:pt x="160" y="732"/>
                  </a:lnTo>
                  <a:lnTo>
                    <a:pt x="164" y="726"/>
                  </a:lnTo>
                  <a:lnTo>
                    <a:pt x="172" y="718"/>
                  </a:lnTo>
                  <a:lnTo>
                    <a:pt x="174" y="718"/>
                  </a:lnTo>
                  <a:lnTo>
                    <a:pt x="176" y="718"/>
                  </a:lnTo>
                  <a:lnTo>
                    <a:pt x="178" y="718"/>
                  </a:lnTo>
                  <a:lnTo>
                    <a:pt x="178" y="714"/>
                  </a:lnTo>
                  <a:lnTo>
                    <a:pt x="176" y="714"/>
                  </a:lnTo>
                  <a:lnTo>
                    <a:pt x="172" y="712"/>
                  </a:lnTo>
                  <a:lnTo>
                    <a:pt x="170" y="710"/>
                  </a:lnTo>
                  <a:lnTo>
                    <a:pt x="170" y="706"/>
                  </a:lnTo>
                  <a:lnTo>
                    <a:pt x="168" y="708"/>
                  </a:lnTo>
                  <a:lnTo>
                    <a:pt x="166" y="708"/>
                  </a:lnTo>
                  <a:lnTo>
                    <a:pt x="164" y="706"/>
                  </a:lnTo>
                  <a:lnTo>
                    <a:pt x="162" y="704"/>
                  </a:lnTo>
                  <a:lnTo>
                    <a:pt x="162" y="702"/>
                  </a:lnTo>
                  <a:lnTo>
                    <a:pt x="162" y="700"/>
                  </a:lnTo>
                  <a:lnTo>
                    <a:pt x="162" y="698"/>
                  </a:lnTo>
                  <a:lnTo>
                    <a:pt x="160" y="698"/>
                  </a:lnTo>
                  <a:lnTo>
                    <a:pt x="158" y="698"/>
                  </a:lnTo>
                  <a:lnTo>
                    <a:pt x="154" y="698"/>
                  </a:lnTo>
                  <a:lnTo>
                    <a:pt x="158" y="686"/>
                  </a:lnTo>
                  <a:lnTo>
                    <a:pt x="160" y="684"/>
                  </a:lnTo>
                  <a:lnTo>
                    <a:pt x="158" y="680"/>
                  </a:lnTo>
                  <a:lnTo>
                    <a:pt x="152" y="670"/>
                  </a:lnTo>
                  <a:lnTo>
                    <a:pt x="150" y="668"/>
                  </a:lnTo>
                  <a:lnTo>
                    <a:pt x="150" y="666"/>
                  </a:lnTo>
                  <a:lnTo>
                    <a:pt x="150" y="664"/>
                  </a:lnTo>
                  <a:lnTo>
                    <a:pt x="152" y="662"/>
                  </a:lnTo>
                  <a:lnTo>
                    <a:pt x="152" y="660"/>
                  </a:lnTo>
                  <a:lnTo>
                    <a:pt x="150" y="658"/>
                  </a:lnTo>
                  <a:lnTo>
                    <a:pt x="148" y="656"/>
                  </a:lnTo>
                  <a:lnTo>
                    <a:pt x="146" y="656"/>
                  </a:lnTo>
                  <a:lnTo>
                    <a:pt x="142" y="652"/>
                  </a:lnTo>
                  <a:lnTo>
                    <a:pt x="138" y="650"/>
                  </a:lnTo>
                  <a:lnTo>
                    <a:pt x="134" y="650"/>
                  </a:lnTo>
                  <a:lnTo>
                    <a:pt x="132" y="652"/>
                  </a:lnTo>
                  <a:lnTo>
                    <a:pt x="130" y="654"/>
                  </a:lnTo>
                  <a:lnTo>
                    <a:pt x="132" y="656"/>
                  </a:lnTo>
                  <a:lnTo>
                    <a:pt x="136" y="658"/>
                  </a:lnTo>
                  <a:lnTo>
                    <a:pt x="134" y="660"/>
                  </a:lnTo>
                  <a:lnTo>
                    <a:pt x="134" y="664"/>
                  </a:lnTo>
                  <a:lnTo>
                    <a:pt x="132" y="664"/>
                  </a:lnTo>
                  <a:lnTo>
                    <a:pt x="130" y="664"/>
                  </a:lnTo>
                  <a:lnTo>
                    <a:pt x="128" y="664"/>
                  </a:lnTo>
                  <a:lnTo>
                    <a:pt x="120" y="666"/>
                  </a:lnTo>
                  <a:lnTo>
                    <a:pt x="118" y="668"/>
                  </a:lnTo>
                  <a:lnTo>
                    <a:pt x="116" y="668"/>
                  </a:lnTo>
                  <a:lnTo>
                    <a:pt x="116" y="670"/>
                  </a:lnTo>
                  <a:lnTo>
                    <a:pt x="116" y="672"/>
                  </a:lnTo>
                  <a:lnTo>
                    <a:pt x="114" y="674"/>
                  </a:lnTo>
                  <a:lnTo>
                    <a:pt x="110" y="674"/>
                  </a:lnTo>
                  <a:lnTo>
                    <a:pt x="106" y="67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7" name="Freeform 1384"/>
            <p:cNvSpPr>
              <a:spLocks/>
            </p:cNvSpPr>
            <p:nvPr/>
          </p:nvSpPr>
          <p:spPr bwMode="auto">
            <a:xfrm>
              <a:off x="3418605" y="2809280"/>
              <a:ext cx="367823" cy="310272"/>
            </a:xfrm>
            <a:custGeom>
              <a:avLst/>
              <a:gdLst/>
              <a:ahLst/>
              <a:cxnLst>
                <a:cxn ang="0">
                  <a:pos x="102" y="216"/>
                </a:cxn>
                <a:cxn ang="0">
                  <a:pos x="62" y="226"/>
                </a:cxn>
                <a:cxn ang="0">
                  <a:pos x="32" y="228"/>
                </a:cxn>
                <a:cxn ang="0">
                  <a:pos x="22" y="218"/>
                </a:cxn>
                <a:cxn ang="0">
                  <a:pos x="48" y="216"/>
                </a:cxn>
                <a:cxn ang="0">
                  <a:pos x="70" y="220"/>
                </a:cxn>
                <a:cxn ang="0">
                  <a:pos x="86" y="216"/>
                </a:cxn>
                <a:cxn ang="0">
                  <a:pos x="90" y="206"/>
                </a:cxn>
                <a:cxn ang="0">
                  <a:pos x="80" y="222"/>
                </a:cxn>
                <a:cxn ang="0">
                  <a:pos x="64" y="216"/>
                </a:cxn>
                <a:cxn ang="0">
                  <a:pos x="52" y="216"/>
                </a:cxn>
                <a:cxn ang="0">
                  <a:pos x="32" y="206"/>
                </a:cxn>
                <a:cxn ang="0">
                  <a:pos x="22" y="214"/>
                </a:cxn>
                <a:cxn ang="0">
                  <a:pos x="28" y="188"/>
                </a:cxn>
                <a:cxn ang="0">
                  <a:pos x="74" y="182"/>
                </a:cxn>
                <a:cxn ang="0">
                  <a:pos x="106" y="176"/>
                </a:cxn>
                <a:cxn ang="0">
                  <a:pos x="114" y="170"/>
                </a:cxn>
                <a:cxn ang="0">
                  <a:pos x="128" y="180"/>
                </a:cxn>
                <a:cxn ang="0">
                  <a:pos x="146" y="190"/>
                </a:cxn>
                <a:cxn ang="0">
                  <a:pos x="162" y="188"/>
                </a:cxn>
                <a:cxn ang="0">
                  <a:pos x="174" y="180"/>
                </a:cxn>
                <a:cxn ang="0">
                  <a:pos x="158" y="174"/>
                </a:cxn>
                <a:cxn ang="0">
                  <a:pos x="146" y="174"/>
                </a:cxn>
                <a:cxn ang="0">
                  <a:pos x="136" y="166"/>
                </a:cxn>
                <a:cxn ang="0">
                  <a:pos x="128" y="160"/>
                </a:cxn>
                <a:cxn ang="0">
                  <a:pos x="106" y="158"/>
                </a:cxn>
                <a:cxn ang="0">
                  <a:pos x="96" y="160"/>
                </a:cxn>
                <a:cxn ang="0">
                  <a:pos x="64" y="162"/>
                </a:cxn>
                <a:cxn ang="0">
                  <a:pos x="40" y="150"/>
                </a:cxn>
                <a:cxn ang="0">
                  <a:pos x="34" y="150"/>
                </a:cxn>
                <a:cxn ang="0">
                  <a:pos x="38" y="140"/>
                </a:cxn>
                <a:cxn ang="0">
                  <a:pos x="50" y="130"/>
                </a:cxn>
                <a:cxn ang="0">
                  <a:pos x="32" y="132"/>
                </a:cxn>
                <a:cxn ang="0">
                  <a:pos x="24" y="114"/>
                </a:cxn>
                <a:cxn ang="0">
                  <a:pos x="16" y="98"/>
                </a:cxn>
                <a:cxn ang="0">
                  <a:pos x="0" y="92"/>
                </a:cxn>
                <a:cxn ang="0">
                  <a:pos x="20" y="86"/>
                </a:cxn>
                <a:cxn ang="0">
                  <a:pos x="44" y="58"/>
                </a:cxn>
                <a:cxn ang="0">
                  <a:pos x="60" y="26"/>
                </a:cxn>
                <a:cxn ang="0">
                  <a:pos x="74" y="4"/>
                </a:cxn>
                <a:cxn ang="0">
                  <a:pos x="94" y="6"/>
                </a:cxn>
                <a:cxn ang="0">
                  <a:pos x="120" y="6"/>
                </a:cxn>
                <a:cxn ang="0">
                  <a:pos x="142" y="4"/>
                </a:cxn>
                <a:cxn ang="0">
                  <a:pos x="170" y="6"/>
                </a:cxn>
                <a:cxn ang="0">
                  <a:pos x="198" y="36"/>
                </a:cxn>
                <a:cxn ang="0">
                  <a:pos x="218" y="62"/>
                </a:cxn>
                <a:cxn ang="0">
                  <a:pos x="232" y="82"/>
                </a:cxn>
                <a:cxn ang="0">
                  <a:pos x="240" y="96"/>
                </a:cxn>
                <a:cxn ang="0">
                  <a:pos x="254" y="112"/>
                </a:cxn>
                <a:cxn ang="0">
                  <a:pos x="260" y="136"/>
                </a:cxn>
                <a:cxn ang="0">
                  <a:pos x="268" y="162"/>
                </a:cxn>
                <a:cxn ang="0">
                  <a:pos x="268" y="172"/>
                </a:cxn>
                <a:cxn ang="0">
                  <a:pos x="272" y="190"/>
                </a:cxn>
                <a:cxn ang="0">
                  <a:pos x="288" y="198"/>
                </a:cxn>
                <a:cxn ang="0">
                  <a:pos x="294" y="218"/>
                </a:cxn>
                <a:cxn ang="0">
                  <a:pos x="290" y="246"/>
                </a:cxn>
                <a:cxn ang="0">
                  <a:pos x="268" y="246"/>
                </a:cxn>
                <a:cxn ang="0">
                  <a:pos x="242" y="246"/>
                </a:cxn>
                <a:cxn ang="0">
                  <a:pos x="218" y="236"/>
                </a:cxn>
                <a:cxn ang="0">
                  <a:pos x="210" y="230"/>
                </a:cxn>
                <a:cxn ang="0">
                  <a:pos x="170" y="222"/>
                </a:cxn>
              </a:cxnLst>
              <a:rect l="0" t="0" r="r" b="b"/>
              <a:pathLst>
                <a:path w="294" h="248">
                  <a:moveTo>
                    <a:pt x="144" y="220"/>
                  </a:moveTo>
                  <a:lnTo>
                    <a:pt x="142" y="220"/>
                  </a:lnTo>
                  <a:lnTo>
                    <a:pt x="136" y="220"/>
                  </a:lnTo>
                  <a:lnTo>
                    <a:pt x="130" y="218"/>
                  </a:lnTo>
                  <a:lnTo>
                    <a:pt x="118" y="218"/>
                  </a:lnTo>
                  <a:lnTo>
                    <a:pt x="116" y="218"/>
                  </a:lnTo>
                  <a:lnTo>
                    <a:pt x="102" y="216"/>
                  </a:lnTo>
                  <a:lnTo>
                    <a:pt x="94" y="220"/>
                  </a:lnTo>
                  <a:lnTo>
                    <a:pt x="90" y="222"/>
                  </a:lnTo>
                  <a:lnTo>
                    <a:pt x="80" y="226"/>
                  </a:lnTo>
                  <a:lnTo>
                    <a:pt x="76" y="228"/>
                  </a:lnTo>
                  <a:lnTo>
                    <a:pt x="70" y="226"/>
                  </a:lnTo>
                  <a:lnTo>
                    <a:pt x="66" y="226"/>
                  </a:lnTo>
                  <a:lnTo>
                    <a:pt x="62" y="226"/>
                  </a:lnTo>
                  <a:lnTo>
                    <a:pt x="60" y="224"/>
                  </a:lnTo>
                  <a:lnTo>
                    <a:pt x="58" y="224"/>
                  </a:lnTo>
                  <a:lnTo>
                    <a:pt x="56" y="224"/>
                  </a:lnTo>
                  <a:lnTo>
                    <a:pt x="50" y="224"/>
                  </a:lnTo>
                  <a:lnTo>
                    <a:pt x="42" y="228"/>
                  </a:lnTo>
                  <a:lnTo>
                    <a:pt x="34" y="228"/>
                  </a:lnTo>
                  <a:lnTo>
                    <a:pt x="32" y="228"/>
                  </a:lnTo>
                  <a:lnTo>
                    <a:pt x="28" y="226"/>
                  </a:lnTo>
                  <a:lnTo>
                    <a:pt x="26" y="226"/>
                  </a:lnTo>
                  <a:lnTo>
                    <a:pt x="24" y="228"/>
                  </a:lnTo>
                  <a:lnTo>
                    <a:pt x="20" y="224"/>
                  </a:lnTo>
                  <a:lnTo>
                    <a:pt x="20" y="222"/>
                  </a:lnTo>
                  <a:lnTo>
                    <a:pt x="20" y="220"/>
                  </a:lnTo>
                  <a:lnTo>
                    <a:pt x="22" y="218"/>
                  </a:lnTo>
                  <a:lnTo>
                    <a:pt x="24" y="216"/>
                  </a:lnTo>
                  <a:lnTo>
                    <a:pt x="32" y="212"/>
                  </a:lnTo>
                  <a:lnTo>
                    <a:pt x="36" y="214"/>
                  </a:lnTo>
                  <a:lnTo>
                    <a:pt x="40" y="218"/>
                  </a:lnTo>
                  <a:lnTo>
                    <a:pt x="42" y="218"/>
                  </a:lnTo>
                  <a:lnTo>
                    <a:pt x="44" y="218"/>
                  </a:lnTo>
                  <a:lnTo>
                    <a:pt x="48" y="216"/>
                  </a:lnTo>
                  <a:lnTo>
                    <a:pt x="50" y="216"/>
                  </a:lnTo>
                  <a:lnTo>
                    <a:pt x="52" y="216"/>
                  </a:lnTo>
                  <a:lnTo>
                    <a:pt x="56" y="216"/>
                  </a:lnTo>
                  <a:lnTo>
                    <a:pt x="60" y="214"/>
                  </a:lnTo>
                  <a:lnTo>
                    <a:pt x="62" y="216"/>
                  </a:lnTo>
                  <a:lnTo>
                    <a:pt x="64" y="218"/>
                  </a:lnTo>
                  <a:lnTo>
                    <a:pt x="70" y="220"/>
                  </a:lnTo>
                  <a:lnTo>
                    <a:pt x="72" y="220"/>
                  </a:lnTo>
                  <a:lnTo>
                    <a:pt x="74" y="218"/>
                  </a:lnTo>
                  <a:lnTo>
                    <a:pt x="76" y="220"/>
                  </a:lnTo>
                  <a:lnTo>
                    <a:pt x="78" y="222"/>
                  </a:lnTo>
                  <a:lnTo>
                    <a:pt x="80" y="222"/>
                  </a:lnTo>
                  <a:lnTo>
                    <a:pt x="84" y="222"/>
                  </a:lnTo>
                  <a:lnTo>
                    <a:pt x="86" y="216"/>
                  </a:lnTo>
                  <a:lnTo>
                    <a:pt x="86" y="214"/>
                  </a:lnTo>
                  <a:lnTo>
                    <a:pt x="84" y="214"/>
                  </a:lnTo>
                  <a:lnTo>
                    <a:pt x="86" y="210"/>
                  </a:lnTo>
                  <a:lnTo>
                    <a:pt x="92" y="208"/>
                  </a:lnTo>
                  <a:lnTo>
                    <a:pt x="94" y="208"/>
                  </a:lnTo>
                  <a:lnTo>
                    <a:pt x="94" y="206"/>
                  </a:lnTo>
                  <a:lnTo>
                    <a:pt x="90" y="206"/>
                  </a:lnTo>
                  <a:lnTo>
                    <a:pt x="86" y="208"/>
                  </a:lnTo>
                  <a:lnTo>
                    <a:pt x="84" y="210"/>
                  </a:lnTo>
                  <a:lnTo>
                    <a:pt x="84" y="212"/>
                  </a:lnTo>
                  <a:lnTo>
                    <a:pt x="84" y="214"/>
                  </a:lnTo>
                  <a:lnTo>
                    <a:pt x="84" y="216"/>
                  </a:lnTo>
                  <a:lnTo>
                    <a:pt x="80" y="220"/>
                  </a:lnTo>
                  <a:lnTo>
                    <a:pt x="80" y="222"/>
                  </a:lnTo>
                  <a:lnTo>
                    <a:pt x="78" y="220"/>
                  </a:lnTo>
                  <a:lnTo>
                    <a:pt x="78" y="218"/>
                  </a:lnTo>
                  <a:lnTo>
                    <a:pt x="76" y="218"/>
                  </a:lnTo>
                  <a:lnTo>
                    <a:pt x="74" y="216"/>
                  </a:lnTo>
                  <a:lnTo>
                    <a:pt x="70" y="218"/>
                  </a:lnTo>
                  <a:lnTo>
                    <a:pt x="66" y="218"/>
                  </a:lnTo>
                  <a:lnTo>
                    <a:pt x="64" y="216"/>
                  </a:lnTo>
                  <a:lnTo>
                    <a:pt x="62" y="214"/>
                  </a:lnTo>
                  <a:lnTo>
                    <a:pt x="62" y="212"/>
                  </a:lnTo>
                  <a:lnTo>
                    <a:pt x="62" y="210"/>
                  </a:lnTo>
                  <a:lnTo>
                    <a:pt x="60" y="214"/>
                  </a:lnTo>
                  <a:lnTo>
                    <a:pt x="58" y="214"/>
                  </a:lnTo>
                  <a:lnTo>
                    <a:pt x="54" y="216"/>
                  </a:lnTo>
                  <a:lnTo>
                    <a:pt x="52" y="216"/>
                  </a:lnTo>
                  <a:lnTo>
                    <a:pt x="48" y="216"/>
                  </a:lnTo>
                  <a:lnTo>
                    <a:pt x="44" y="216"/>
                  </a:lnTo>
                  <a:lnTo>
                    <a:pt x="44" y="218"/>
                  </a:lnTo>
                  <a:lnTo>
                    <a:pt x="40" y="216"/>
                  </a:lnTo>
                  <a:lnTo>
                    <a:pt x="40" y="214"/>
                  </a:lnTo>
                  <a:lnTo>
                    <a:pt x="34" y="210"/>
                  </a:lnTo>
                  <a:lnTo>
                    <a:pt x="32" y="206"/>
                  </a:lnTo>
                  <a:lnTo>
                    <a:pt x="34" y="204"/>
                  </a:lnTo>
                  <a:lnTo>
                    <a:pt x="30" y="208"/>
                  </a:lnTo>
                  <a:lnTo>
                    <a:pt x="30" y="210"/>
                  </a:lnTo>
                  <a:lnTo>
                    <a:pt x="30" y="212"/>
                  </a:lnTo>
                  <a:lnTo>
                    <a:pt x="26" y="214"/>
                  </a:lnTo>
                  <a:lnTo>
                    <a:pt x="24" y="216"/>
                  </a:lnTo>
                  <a:lnTo>
                    <a:pt x="22" y="214"/>
                  </a:lnTo>
                  <a:lnTo>
                    <a:pt x="22" y="208"/>
                  </a:lnTo>
                  <a:lnTo>
                    <a:pt x="24" y="202"/>
                  </a:lnTo>
                  <a:lnTo>
                    <a:pt x="24" y="200"/>
                  </a:lnTo>
                  <a:lnTo>
                    <a:pt x="26" y="198"/>
                  </a:lnTo>
                  <a:lnTo>
                    <a:pt x="28" y="192"/>
                  </a:lnTo>
                  <a:lnTo>
                    <a:pt x="28" y="190"/>
                  </a:lnTo>
                  <a:lnTo>
                    <a:pt x="28" y="188"/>
                  </a:lnTo>
                  <a:lnTo>
                    <a:pt x="30" y="184"/>
                  </a:lnTo>
                  <a:lnTo>
                    <a:pt x="34" y="184"/>
                  </a:lnTo>
                  <a:lnTo>
                    <a:pt x="66" y="186"/>
                  </a:lnTo>
                  <a:lnTo>
                    <a:pt x="70" y="188"/>
                  </a:lnTo>
                  <a:lnTo>
                    <a:pt x="72" y="188"/>
                  </a:lnTo>
                  <a:lnTo>
                    <a:pt x="74" y="188"/>
                  </a:lnTo>
                  <a:lnTo>
                    <a:pt x="74" y="182"/>
                  </a:lnTo>
                  <a:lnTo>
                    <a:pt x="76" y="178"/>
                  </a:lnTo>
                  <a:lnTo>
                    <a:pt x="96" y="178"/>
                  </a:lnTo>
                  <a:lnTo>
                    <a:pt x="98" y="178"/>
                  </a:lnTo>
                  <a:lnTo>
                    <a:pt x="100" y="178"/>
                  </a:lnTo>
                  <a:lnTo>
                    <a:pt x="102" y="178"/>
                  </a:lnTo>
                  <a:lnTo>
                    <a:pt x="104" y="178"/>
                  </a:lnTo>
                  <a:lnTo>
                    <a:pt x="106" y="176"/>
                  </a:lnTo>
                  <a:lnTo>
                    <a:pt x="106" y="174"/>
                  </a:lnTo>
                  <a:lnTo>
                    <a:pt x="106" y="172"/>
                  </a:lnTo>
                  <a:lnTo>
                    <a:pt x="106" y="170"/>
                  </a:lnTo>
                  <a:lnTo>
                    <a:pt x="108" y="170"/>
                  </a:lnTo>
                  <a:lnTo>
                    <a:pt x="110" y="168"/>
                  </a:lnTo>
                  <a:lnTo>
                    <a:pt x="112" y="168"/>
                  </a:lnTo>
                  <a:lnTo>
                    <a:pt x="114" y="170"/>
                  </a:lnTo>
                  <a:lnTo>
                    <a:pt x="116" y="172"/>
                  </a:lnTo>
                  <a:lnTo>
                    <a:pt x="118" y="172"/>
                  </a:lnTo>
                  <a:lnTo>
                    <a:pt x="118" y="174"/>
                  </a:lnTo>
                  <a:lnTo>
                    <a:pt x="120" y="176"/>
                  </a:lnTo>
                  <a:lnTo>
                    <a:pt x="126" y="176"/>
                  </a:lnTo>
                  <a:lnTo>
                    <a:pt x="128" y="178"/>
                  </a:lnTo>
                  <a:lnTo>
                    <a:pt x="128" y="180"/>
                  </a:lnTo>
                  <a:lnTo>
                    <a:pt x="130" y="180"/>
                  </a:lnTo>
                  <a:lnTo>
                    <a:pt x="130" y="182"/>
                  </a:lnTo>
                  <a:lnTo>
                    <a:pt x="132" y="182"/>
                  </a:lnTo>
                  <a:lnTo>
                    <a:pt x="134" y="182"/>
                  </a:lnTo>
                  <a:lnTo>
                    <a:pt x="138" y="184"/>
                  </a:lnTo>
                  <a:lnTo>
                    <a:pt x="140" y="184"/>
                  </a:lnTo>
                  <a:lnTo>
                    <a:pt x="146" y="190"/>
                  </a:lnTo>
                  <a:lnTo>
                    <a:pt x="148" y="190"/>
                  </a:lnTo>
                  <a:lnTo>
                    <a:pt x="154" y="190"/>
                  </a:lnTo>
                  <a:lnTo>
                    <a:pt x="156" y="190"/>
                  </a:lnTo>
                  <a:lnTo>
                    <a:pt x="158" y="190"/>
                  </a:lnTo>
                  <a:lnTo>
                    <a:pt x="160" y="190"/>
                  </a:lnTo>
                  <a:lnTo>
                    <a:pt x="160" y="188"/>
                  </a:lnTo>
                  <a:lnTo>
                    <a:pt x="162" y="188"/>
                  </a:lnTo>
                  <a:lnTo>
                    <a:pt x="166" y="188"/>
                  </a:lnTo>
                  <a:lnTo>
                    <a:pt x="172" y="188"/>
                  </a:lnTo>
                  <a:lnTo>
                    <a:pt x="172" y="186"/>
                  </a:lnTo>
                  <a:lnTo>
                    <a:pt x="174" y="186"/>
                  </a:lnTo>
                  <a:lnTo>
                    <a:pt x="176" y="184"/>
                  </a:lnTo>
                  <a:lnTo>
                    <a:pt x="176" y="182"/>
                  </a:lnTo>
                  <a:lnTo>
                    <a:pt x="174" y="180"/>
                  </a:lnTo>
                  <a:lnTo>
                    <a:pt x="174" y="178"/>
                  </a:lnTo>
                  <a:lnTo>
                    <a:pt x="172" y="178"/>
                  </a:lnTo>
                  <a:lnTo>
                    <a:pt x="172" y="176"/>
                  </a:lnTo>
                  <a:lnTo>
                    <a:pt x="170" y="174"/>
                  </a:lnTo>
                  <a:lnTo>
                    <a:pt x="168" y="172"/>
                  </a:lnTo>
                  <a:lnTo>
                    <a:pt x="162" y="174"/>
                  </a:lnTo>
                  <a:lnTo>
                    <a:pt x="158" y="174"/>
                  </a:lnTo>
                  <a:lnTo>
                    <a:pt x="158" y="176"/>
                  </a:lnTo>
                  <a:lnTo>
                    <a:pt x="156" y="176"/>
                  </a:lnTo>
                  <a:lnTo>
                    <a:pt x="154" y="178"/>
                  </a:lnTo>
                  <a:lnTo>
                    <a:pt x="150" y="178"/>
                  </a:lnTo>
                  <a:lnTo>
                    <a:pt x="148" y="178"/>
                  </a:lnTo>
                  <a:lnTo>
                    <a:pt x="148" y="176"/>
                  </a:lnTo>
                  <a:lnTo>
                    <a:pt x="146" y="174"/>
                  </a:lnTo>
                  <a:lnTo>
                    <a:pt x="144" y="174"/>
                  </a:lnTo>
                  <a:lnTo>
                    <a:pt x="144" y="172"/>
                  </a:lnTo>
                  <a:lnTo>
                    <a:pt x="144" y="170"/>
                  </a:lnTo>
                  <a:lnTo>
                    <a:pt x="142" y="168"/>
                  </a:lnTo>
                  <a:lnTo>
                    <a:pt x="140" y="166"/>
                  </a:lnTo>
                  <a:lnTo>
                    <a:pt x="138" y="166"/>
                  </a:lnTo>
                  <a:lnTo>
                    <a:pt x="136" y="166"/>
                  </a:lnTo>
                  <a:lnTo>
                    <a:pt x="134" y="166"/>
                  </a:lnTo>
                  <a:lnTo>
                    <a:pt x="132" y="166"/>
                  </a:lnTo>
                  <a:lnTo>
                    <a:pt x="132" y="168"/>
                  </a:lnTo>
                  <a:lnTo>
                    <a:pt x="128" y="166"/>
                  </a:lnTo>
                  <a:lnTo>
                    <a:pt x="128" y="164"/>
                  </a:lnTo>
                  <a:lnTo>
                    <a:pt x="128" y="162"/>
                  </a:lnTo>
                  <a:lnTo>
                    <a:pt x="128" y="160"/>
                  </a:lnTo>
                  <a:lnTo>
                    <a:pt x="126" y="158"/>
                  </a:lnTo>
                  <a:lnTo>
                    <a:pt x="124" y="158"/>
                  </a:lnTo>
                  <a:lnTo>
                    <a:pt x="124" y="156"/>
                  </a:lnTo>
                  <a:lnTo>
                    <a:pt x="116" y="154"/>
                  </a:lnTo>
                  <a:lnTo>
                    <a:pt x="110" y="156"/>
                  </a:lnTo>
                  <a:lnTo>
                    <a:pt x="108" y="158"/>
                  </a:lnTo>
                  <a:lnTo>
                    <a:pt x="106" y="158"/>
                  </a:lnTo>
                  <a:lnTo>
                    <a:pt x="106" y="156"/>
                  </a:lnTo>
                  <a:lnTo>
                    <a:pt x="104" y="156"/>
                  </a:lnTo>
                  <a:lnTo>
                    <a:pt x="102" y="156"/>
                  </a:lnTo>
                  <a:lnTo>
                    <a:pt x="100" y="156"/>
                  </a:lnTo>
                  <a:lnTo>
                    <a:pt x="98" y="158"/>
                  </a:lnTo>
                  <a:lnTo>
                    <a:pt x="96" y="158"/>
                  </a:lnTo>
                  <a:lnTo>
                    <a:pt x="96" y="160"/>
                  </a:lnTo>
                  <a:lnTo>
                    <a:pt x="94" y="160"/>
                  </a:lnTo>
                  <a:lnTo>
                    <a:pt x="94" y="162"/>
                  </a:lnTo>
                  <a:lnTo>
                    <a:pt x="94" y="166"/>
                  </a:lnTo>
                  <a:lnTo>
                    <a:pt x="88" y="166"/>
                  </a:lnTo>
                  <a:lnTo>
                    <a:pt x="86" y="164"/>
                  </a:lnTo>
                  <a:lnTo>
                    <a:pt x="72" y="164"/>
                  </a:lnTo>
                  <a:lnTo>
                    <a:pt x="64" y="162"/>
                  </a:lnTo>
                  <a:lnTo>
                    <a:pt x="60" y="162"/>
                  </a:lnTo>
                  <a:lnTo>
                    <a:pt x="40" y="160"/>
                  </a:lnTo>
                  <a:lnTo>
                    <a:pt x="38" y="156"/>
                  </a:lnTo>
                  <a:lnTo>
                    <a:pt x="36" y="154"/>
                  </a:lnTo>
                  <a:lnTo>
                    <a:pt x="38" y="152"/>
                  </a:lnTo>
                  <a:lnTo>
                    <a:pt x="38" y="150"/>
                  </a:lnTo>
                  <a:lnTo>
                    <a:pt x="40" y="150"/>
                  </a:lnTo>
                  <a:lnTo>
                    <a:pt x="40" y="148"/>
                  </a:lnTo>
                  <a:lnTo>
                    <a:pt x="42" y="148"/>
                  </a:lnTo>
                  <a:lnTo>
                    <a:pt x="44" y="148"/>
                  </a:lnTo>
                  <a:lnTo>
                    <a:pt x="44" y="146"/>
                  </a:lnTo>
                  <a:lnTo>
                    <a:pt x="46" y="140"/>
                  </a:lnTo>
                  <a:lnTo>
                    <a:pt x="42" y="146"/>
                  </a:lnTo>
                  <a:lnTo>
                    <a:pt x="34" y="150"/>
                  </a:lnTo>
                  <a:lnTo>
                    <a:pt x="32" y="148"/>
                  </a:lnTo>
                  <a:lnTo>
                    <a:pt x="32" y="146"/>
                  </a:lnTo>
                  <a:lnTo>
                    <a:pt x="34" y="140"/>
                  </a:lnTo>
                  <a:lnTo>
                    <a:pt x="34" y="138"/>
                  </a:lnTo>
                  <a:lnTo>
                    <a:pt x="36" y="138"/>
                  </a:lnTo>
                  <a:lnTo>
                    <a:pt x="38" y="138"/>
                  </a:lnTo>
                  <a:lnTo>
                    <a:pt x="38" y="140"/>
                  </a:lnTo>
                  <a:lnTo>
                    <a:pt x="42" y="138"/>
                  </a:lnTo>
                  <a:lnTo>
                    <a:pt x="42" y="136"/>
                  </a:lnTo>
                  <a:lnTo>
                    <a:pt x="46" y="132"/>
                  </a:lnTo>
                  <a:lnTo>
                    <a:pt x="52" y="130"/>
                  </a:lnTo>
                  <a:lnTo>
                    <a:pt x="54" y="130"/>
                  </a:lnTo>
                  <a:lnTo>
                    <a:pt x="52" y="130"/>
                  </a:lnTo>
                  <a:lnTo>
                    <a:pt x="50" y="130"/>
                  </a:lnTo>
                  <a:lnTo>
                    <a:pt x="46" y="130"/>
                  </a:lnTo>
                  <a:lnTo>
                    <a:pt x="44" y="134"/>
                  </a:lnTo>
                  <a:lnTo>
                    <a:pt x="42" y="134"/>
                  </a:lnTo>
                  <a:lnTo>
                    <a:pt x="40" y="138"/>
                  </a:lnTo>
                  <a:lnTo>
                    <a:pt x="38" y="138"/>
                  </a:lnTo>
                  <a:lnTo>
                    <a:pt x="32" y="136"/>
                  </a:lnTo>
                  <a:lnTo>
                    <a:pt x="32" y="132"/>
                  </a:lnTo>
                  <a:lnTo>
                    <a:pt x="30" y="130"/>
                  </a:lnTo>
                  <a:lnTo>
                    <a:pt x="30" y="128"/>
                  </a:lnTo>
                  <a:lnTo>
                    <a:pt x="28" y="128"/>
                  </a:lnTo>
                  <a:lnTo>
                    <a:pt x="28" y="122"/>
                  </a:lnTo>
                  <a:lnTo>
                    <a:pt x="26" y="116"/>
                  </a:lnTo>
                  <a:lnTo>
                    <a:pt x="26" y="114"/>
                  </a:lnTo>
                  <a:lnTo>
                    <a:pt x="24" y="114"/>
                  </a:lnTo>
                  <a:lnTo>
                    <a:pt x="22" y="112"/>
                  </a:lnTo>
                  <a:lnTo>
                    <a:pt x="20" y="112"/>
                  </a:lnTo>
                  <a:lnTo>
                    <a:pt x="20" y="110"/>
                  </a:lnTo>
                  <a:lnTo>
                    <a:pt x="18" y="106"/>
                  </a:lnTo>
                  <a:lnTo>
                    <a:pt x="18" y="102"/>
                  </a:lnTo>
                  <a:lnTo>
                    <a:pt x="18" y="100"/>
                  </a:lnTo>
                  <a:lnTo>
                    <a:pt x="16" y="98"/>
                  </a:lnTo>
                  <a:lnTo>
                    <a:pt x="14" y="98"/>
                  </a:lnTo>
                  <a:lnTo>
                    <a:pt x="10" y="96"/>
                  </a:lnTo>
                  <a:lnTo>
                    <a:pt x="8" y="94"/>
                  </a:lnTo>
                  <a:lnTo>
                    <a:pt x="6" y="94"/>
                  </a:lnTo>
                  <a:lnTo>
                    <a:pt x="4" y="96"/>
                  </a:lnTo>
                  <a:lnTo>
                    <a:pt x="4" y="98"/>
                  </a:lnTo>
                  <a:lnTo>
                    <a:pt x="0" y="92"/>
                  </a:lnTo>
                  <a:lnTo>
                    <a:pt x="2" y="92"/>
                  </a:lnTo>
                  <a:lnTo>
                    <a:pt x="4" y="92"/>
                  </a:lnTo>
                  <a:lnTo>
                    <a:pt x="6" y="92"/>
                  </a:lnTo>
                  <a:lnTo>
                    <a:pt x="8" y="92"/>
                  </a:lnTo>
                  <a:lnTo>
                    <a:pt x="16" y="88"/>
                  </a:lnTo>
                  <a:lnTo>
                    <a:pt x="18" y="86"/>
                  </a:lnTo>
                  <a:lnTo>
                    <a:pt x="20" y="86"/>
                  </a:lnTo>
                  <a:lnTo>
                    <a:pt x="20" y="84"/>
                  </a:lnTo>
                  <a:lnTo>
                    <a:pt x="30" y="76"/>
                  </a:lnTo>
                  <a:lnTo>
                    <a:pt x="36" y="70"/>
                  </a:lnTo>
                  <a:lnTo>
                    <a:pt x="38" y="66"/>
                  </a:lnTo>
                  <a:lnTo>
                    <a:pt x="40" y="62"/>
                  </a:lnTo>
                  <a:lnTo>
                    <a:pt x="42" y="60"/>
                  </a:lnTo>
                  <a:lnTo>
                    <a:pt x="44" y="58"/>
                  </a:lnTo>
                  <a:lnTo>
                    <a:pt x="44" y="56"/>
                  </a:lnTo>
                  <a:lnTo>
                    <a:pt x="46" y="56"/>
                  </a:lnTo>
                  <a:lnTo>
                    <a:pt x="48" y="52"/>
                  </a:lnTo>
                  <a:lnTo>
                    <a:pt x="56" y="42"/>
                  </a:lnTo>
                  <a:lnTo>
                    <a:pt x="56" y="40"/>
                  </a:lnTo>
                  <a:lnTo>
                    <a:pt x="58" y="30"/>
                  </a:lnTo>
                  <a:lnTo>
                    <a:pt x="60" y="26"/>
                  </a:lnTo>
                  <a:lnTo>
                    <a:pt x="60" y="24"/>
                  </a:lnTo>
                  <a:lnTo>
                    <a:pt x="66" y="18"/>
                  </a:lnTo>
                  <a:lnTo>
                    <a:pt x="68" y="16"/>
                  </a:lnTo>
                  <a:lnTo>
                    <a:pt x="70" y="14"/>
                  </a:lnTo>
                  <a:lnTo>
                    <a:pt x="70" y="10"/>
                  </a:lnTo>
                  <a:lnTo>
                    <a:pt x="72" y="6"/>
                  </a:lnTo>
                  <a:lnTo>
                    <a:pt x="74" y="4"/>
                  </a:lnTo>
                  <a:lnTo>
                    <a:pt x="82" y="2"/>
                  </a:lnTo>
                  <a:lnTo>
                    <a:pt x="84" y="2"/>
                  </a:lnTo>
                  <a:lnTo>
                    <a:pt x="84" y="4"/>
                  </a:lnTo>
                  <a:lnTo>
                    <a:pt x="84" y="6"/>
                  </a:lnTo>
                  <a:lnTo>
                    <a:pt x="88" y="6"/>
                  </a:lnTo>
                  <a:lnTo>
                    <a:pt x="92" y="6"/>
                  </a:lnTo>
                  <a:lnTo>
                    <a:pt x="94" y="6"/>
                  </a:lnTo>
                  <a:lnTo>
                    <a:pt x="96" y="6"/>
                  </a:lnTo>
                  <a:lnTo>
                    <a:pt x="100" y="8"/>
                  </a:lnTo>
                  <a:lnTo>
                    <a:pt x="104" y="8"/>
                  </a:lnTo>
                  <a:lnTo>
                    <a:pt x="108" y="8"/>
                  </a:lnTo>
                  <a:lnTo>
                    <a:pt x="112" y="6"/>
                  </a:lnTo>
                  <a:lnTo>
                    <a:pt x="116" y="4"/>
                  </a:lnTo>
                  <a:lnTo>
                    <a:pt x="120" y="6"/>
                  </a:lnTo>
                  <a:lnTo>
                    <a:pt x="126" y="6"/>
                  </a:lnTo>
                  <a:lnTo>
                    <a:pt x="134" y="4"/>
                  </a:lnTo>
                  <a:lnTo>
                    <a:pt x="138" y="2"/>
                  </a:lnTo>
                  <a:lnTo>
                    <a:pt x="138" y="0"/>
                  </a:lnTo>
                  <a:lnTo>
                    <a:pt x="140" y="0"/>
                  </a:lnTo>
                  <a:lnTo>
                    <a:pt x="140" y="2"/>
                  </a:lnTo>
                  <a:lnTo>
                    <a:pt x="142" y="4"/>
                  </a:lnTo>
                  <a:lnTo>
                    <a:pt x="146" y="4"/>
                  </a:lnTo>
                  <a:lnTo>
                    <a:pt x="150" y="4"/>
                  </a:lnTo>
                  <a:lnTo>
                    <a:pt x="156" y="6"/>
                  </a:lnTo>
                  <a:lnTo>
                    <a:pt x="162" y="6"/>
                  </a:lnTo>
                  <a:lnTo>
                    <a:pt x="164" y="6"/>
                  </a:lnTo>
                  <a:lnTo>
                    <a:pt x="166" y="6"/>
                  </a:lnTo>
                  <a:lnTo>
                    <a:pt x="170" y="6"/>
                  </a:lnTo>
                  <a:lnTo>
                    <a:pt x="176" y="12"/>
                  </a:lnTo>
                  <a:lnTo>
                    <a:pt x="184" y="22"/>
                  </a:lnTo>
                  <a:lnTo>
                    <a:pt x="186" y="26"/>
                  </a:lnTo>
                  <a:lnTo>
                    <a:pt x="186" y="30"/>
                  </a:lnTo>
                  <a:lnTo>
                    <a:pt x="192" y="36"/>
                  </a:lnTo>
                  <a:lnTo>
                    <a:pt x="198" y="34"/>
                  </a:lnTo>
                  <a:lnTo>
                    <a:pt x="198" y="36"/>
                  </a:lnTo>
                  <a:lnTo>
                    <a:pt x="200" y="38"/>
                  </a:lnTo>
                  <a:lnTo>
                    <a:pt x="202" y="38"/>
                  </a:lnTo>
                  <a:lnTo>
                    <a:pt x="204" y="38"/>
                  </a:lnTo>
                  <a:lnTo>
                    <a:pt x="206" y="38"/>
                  </a:lnTo>
                  <a:lnTo>
                    <a:pt x="214" y="42"/>
                  </a:lnTo>
                  <a:lnTo>
                    <a:pt x="214" y="50"/>
                  </a:lnTo>
                  <a:lnTo>
                    <a:pt x="218" y="62"/>
                  </a:lnTo>
                  <a:lnTo>
                    <a:pt x="220" y="66"/>
                  </a:lnTo>
                  <a:lnTo>
                    <a:pt x="224" y="72"/>
                  </a:lnTo>
                  <a:lnTo>
                    <a:pt x="224" y="74"/>
                  </a:lnTo>
                  <a:lnTo>
                    <a:pt x="226" y="74"/>
                  </a:lnTo>
                  <a:lnTo>
                    <a:pt x="230" y="74"/>
                  </a:lnTo>
                  <a:lnTo>
                    <a:pt x="230" y="80"/>
                  </a:lnTo>
                  <a:lnTo>
                    <a:pt x="232" y="82"/>
                  </a:lnTo>
                  <a:lnTo>
                    <a:pt x="234" y="84"/>
                  </a:lnTo>
                  <a:lnTo>
                    <a:pt x="236" y="86"/>
                  </a:lnTo>
                  <a:lnTo>
                    <a:pt x="234" y="86"/>
                  </a:lnTo>
                  <a:lnTo>
                    <a:pt x="232" y="86"/>
                  </a:lnTo>
                  <a:lnTo>
                    <a:pt x="234" y="90"/>
                  </a:lnTo>
                  <a:lnTo>
                    <a:pt x="236" y="94"/>
                  </a:lnTo>
                  <a:lnTo>
                    <a:pt x="240" y="96"/>
                  </a:lnTo>
                  <a:lnTo>
                    <a:pt x="242" y="98"/>
                  </a:lnTo>
                  <a:lnTo>
                    <a:pt x="242" y="96"/>
                  </a:lnTo>
                  <a:lnTo>
                    <a:pt x="244" y="96"/>
                  </a:lnTo>
                  <a:lnTo>
                    <a:pt x="252" y="102"/>
                  </a:lnTo>
                  <a:lnTo>
                    <a:pt x="252" y="106"/>
                  </a:lnTo>
                  <a:lnTo>
                    <a:pt x="252" y="108"/>
                  </a:lnTo>
                  <a:lnTo>
                    <a:pt x="254" y="112"/>
                  </a:lnTo>
                  <a:lnTo>
                    <a:pt x="260" y="116"/>
                  </a:lnTo>
                  <a:lnTo>
                    <a:pt x="262" y="116"/>
                  </a:lnTo>
                  <a:lnTo>
                    <a:pt x="260" y="116"/>
                  </a:lnTo>
                  <a:lnTo>
                    <a:pt x="264" y="126"/>
                  </a:lnTo>
                  <a:lnTo>
                    <a:pt x="262" y="128"/>
                  </a:lnTo>
                  <a:lnTo>
                    <a:pt x="260" y="130"/>
                  </a:lnTo>
                  <a:lnTo>
                    <a:pt x="260" y="136"/>
                  </a:lnTo>
                  <a:lnTo>
                    <a:pt x="264" y="138"/>
                  </a:lnTo>
                  <a:lnTo>
                    <a:pt x="268" y="144"/>
                  </a:lnTo>
                  <a:lnTo>
                    <a:pt x="270" y="150"/>
                  </a:lnTo>
                  <a:lnTo>
                    <a:pt x="268" y="156"/>
                  </a:lnTo>
                  <a:lnTo>
                    <a:pt x="268" y="158"/>
                  </a:lnTo>
                  <a:lnTo>
                    <a:pt x="268" y="160"/>
                  </a:lnTo>
                  <a:lnTo>
                    <a:pt x="268" y="162"/>
                  </a:lnTo>
                  <a:lnTo>
                    <a:pt x="270" y="162"/>
                  </a:lnTo>
                  <a:lnTo>
                    <a:pt x="270" y="164"/>
                  </a:lnTo>
                  <a:lnTo>
                    <a:pt x="270" y="166"/>
                  </a:lnTo>
                  <a:lnTo>
                    <a:pt x="270" y="168"/>
                  </a:lnTo>
                  <a:lnTo>
                    <a:pt x="270" y="170"/>
                  </a:lnTo>
                  <a:lnTo>
                    <a:pt x="268" y="170"/>
                  </a:lnTo>
                  <a:lnTo>
                    <a:pt x="268" y="172"/>
                  </a:lnTo>
                  <a:lnTo>
                    <a:pt x="266" y="172"/>
                  </a:lnTo>
                  <a:lnTo>
                    <a:pt x="264" y="174"/>
                  </a:lnTo>
                  <a:lnTo>
                    <a:pt x="264" y="176"/>
                  </a:lnTo>
                  <a:lnTo>
                    <a:pt x="266" y="180"/>
                  </a:lnTo>
                  <a:lnTo>
                    <a:pt x="268" y="182"/>
                  </a:lnTo>
                  <a:lnTo>
                    <a:pt x="268" y="184"/>
                  </a:lnTo>
                  <a:lnTo>
                    <a:pt x="272" y="190"/>
                  </a:lnTo>
                  <a:lnTo>
                    <a:pt x="270" y="192"/>
                  </a:lnTo>
                  <a:lnTo>
                    <a:pt x="274" y="196"/>
                  </a:lnTo>
                  <a:lnTo>
                    <a:pt x="278" y="194"/>
                  </a:lnTo>
                  <a:lnTo>
                    <a:pt x="278" y="192"/>
                  </a:lnTo>
                  <a:lnTo>
                    <a:pt x="280" y="192"/>
                  </a:lnTo>
                  <a:lnTo>
                    <a:pt x="284" y="194"/>
                  </a:lnTo>
                  <a:lnTo>
                    <a:pt x="288" y="198"/>
                  </a:lnTo>
                  <a:lnTo>
                    <a:pt x="288" y="200"/>
                  </a:lnTo>
                  <a:lnTo>
                    <a:pt x="286" y="202"/>
                  </a:lnTo>
                  <a:lnTo>
                    <a:pt x="288" y="206"/>
                  </a:lnTo>
                  <a:lnTo>
                    <a:pt x="288" y="208"/>
                  </a:lnTo>
                  <a:lnTo>
                    <a:pt x="290" y="210"/>
                  </a:lnTo>
                  <a:lnTo>
                    <a:pt x="294" y="216"/>
                  </a:lnTo>
                  <a:lnTo>
                    <a:pt x="294" y="218"/>
                  </a:lnTo>
                  <a:lnTo>
                    <a:pt x="292" y="224"/>
                  </a:lnTo>
                  <a:lnTo>
                    <a:pt x="290" y="234"/>
                  </a:lnTo>
                  <a:lnTo>
                    <a:pt x="290" y="238"/>
                  </a:lnTo>
                  <a:lnTo>
                    <a:pt x="290" y="240"/>
                  </a:lnTo>
                  <a:lnTo>
                    <a:pt x="292" y="244"/>
                  </a:lnTo>
                  <a:lnTo>
                    <a:pt x="292" y="246"/>
                  </a:lnTo>
                  <a:lnTo>
                    <a:pt x="290" y="246"/>
                  </a:lnTo>
                  <a:lnTo>
                    <a:pt x="286" y="244"/>
                  </a:lnTo>
                  <a:lnTo>
                    <a:pt x="284" y="244"/>
                  </a:lnTo>
                  <a:lnTo>
                    <a:pt x="278" y="244"/>
                  </a:lnTo>
                  <a:lnTo>
                    <a:pt x="276" y="246"/>
                  </a:lnTo>
                  <a:lnTo>
                    <a:pt x="274" y="246"/>
                  </a:lnTo>
                  <a:lnTo>
                    <a:pt x="272" y="246"/>
                  </a:lnTo>
                  <a:lnTo>
                    <a:pt x="268" y="246"/>
                  </a:lnTo>
                  <a:lnTo>
                    <a:pt x="266" y="244"/>
                  </a:lnTo>
                  <a:lnTo>
                    <a:pt x="258" y="244"/>
                  </a:lnTo>
                  <a:lnTo>
                    <a:pt x="254" y="246"/>
                  </a:lnTo>
                  <a:lnTo>
                    <a:pt x="252" y="246"/>
                  </a:lnTo>
                  <a:lnTo>
                    <a:pt x="250" y="248"/>
                  </a:lnTo>
                  <a:lnTo>
                    <a:pt x="242" y="248"/>
                  </a:lnTo>
                  <a:lnTo>
                    <a:pt x="242" y="246"/>
                  </a:lnTo>
                  <a:lnTo>
                    <a:pt x="240" y="244"/>
                  </a:lnTo>
                  <a:lnTo>
                    <a:pt x="238" y="244"/>
                  </a:lnTo>
                  <a:lnTo>
                    <a:pt x="236" y="242"/>
                  </a:lnTo>
                  <a:lnTo>
                    <a:pt x="230" y="244"/>
                  </a:lnTo>
                  <a:lnTo>
                    <a:pt x="228" y="240"/>
                  </a:lnTo>
                  <a:lnTo>
                    <a:pt x="222" y="238"/>
                  </a:lnTo>
                  <a:lnTo>
                    <a:pt x="218" y="236"/>
                  </a:lnTo>
                  <a:lnTo>
                    <a:pt x="216" y="234"/>
                  </a:lnTo>
                  <a:lnTo>
                    <a:pt x="214" y="234"/>
                  </a:lnTo>
                  <a:lnTo>
                    <a:pt x="212" y="236"/>
                  </a:lnTo>
                  <a:lnTo>
                    <a:pt x="208" y="236"/>
                  </a:lnTo>
                  <a:lnTo>
                    <a:pt x="208" y="234"/>
                  </a:lnTo>
                  <a:lnTo>
                    <a:pt x="208" y="232"/>
                  </a:lnTo>
                  <a:lnTo>
                    <a:pt x="210" y="230"/>
                  </a:lnTo>
                  <a:lnTo>
                    <a:pt x="208" y="228"/>
                  </a:lnTo>
                  <a:lnTo>
                    <a:pt x="202" y="226"/>
                  </a:lnTo>
                  <a:lnTo>
                    <a:pt x="196" y="226"/>
                  </a:lnTo>
                  <a:lnTo>
                    <a:pt x="194" y="226"/>
                  </a:lnTo>
                  <a:lnTo>
                    <a:pt x="180" y="224"/>
                  </a:lnTo>
                  <a:lnTo>
                    <a:pt x="176" y="222"/>
                  </a:lnTo>
                  <a:lnTo>
                    <a:pt x="170" y="222"/>
                  </a:lnTo>
                  <a:lnTo>
                    <a:pt x="162" y="222"/>
                  </a:lnTo>
                  <a:lnTo>
                    <a:pt x="156" y="220"/>
                  </a:lnTo>
                  <a:lnTo>
                    <a:pt x="144" y="22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8" name="Freeform 1393"/>
            <p:cNvSpPr>
              <a:spLocks/>
            </p:cNvSpPr>
            <p:nvPr/>
          </p:nvSpPr>
          <p:spPr bwMode="auto">
            <a:xfrm>
              <a:off x="4139238" y="2984432"/>
              <a:ext cx="502941" cy="365320"/>
            </a:xfrm>
            <a:custGeom>
              <a:avLst/>
              <a:gdLst/>
              <a:ahLst/>
              <a:cxnLst>
                <a:cxn ang="0">
                  <a:pos x="312" y="216"/>
                </a:cxn>
                <a:cxn ang="0">
                  <a:pos x="292" y="212"/>
                </a:cxn>
                <a:cxn ang="0">
                  <a:pos x="270" y="206"/>
                </a:cxn>
                <a:cxn ang="0">
                  <a:pos x="246" y="214"/>
                </a:cxn>
                <a:cxn ang="0">
                  <a:pos x="210" y="212"/>
                </a:cxn>
                <a:cxn ang="0">
                  <a:pos x="180" y="210"/>
                </a:cxn>
                <a:cxn ang="0">
                  <a:pos x="138" y="214"/>
                </a:cxn>
                <a:cxn ang="0">
                  <a:pos x="136" y="240"/>
                </a:cxn>
                <a:cxn ang="0">
                  <a:pos x="138" y="260"/>
                </a:cxn>
                <a:cxn ang="0">
                  <a:pos x="138" y="280"/>
                </a:cxn>
                <a:cxn ang="0">
                  <a:pos x="138" y="292"/>
                </a:cxn>
                <a:cxn ang="0">
                  <a:pos x="128" y="280"/>
                </a:cxn>
                <a:cxn ang="0">
                  <a:pos x="106" y="262"/>
                </a:cxn>
                <a:cxn ang="0">
                  <a:pos x="80" y="262"/>
                </a:cxn>
                <a:cxn ang="0">
                  <a:pos x="62" y="270"/>
                </a:cxn>
                <a:cxn ang="0">
                  <a:pos x="48" y="272"/>
                </a:cxn>
                <a:cxn ang="0">
                  <a:pos x="34" y="268"/>
                </a:cxn>
                <a:cxn ang="0">
                  <a:pos x="26" y="252"/>
                </a:cxn>
                <a:cxn ang="0">
                  <a:pos x="8" y="238"/>
                </a:cxn>
                <a:cxn ang="0">
                  <a:pos x="4" y="220"/>
                </a:cxn>
                <a:cxn ang="0">
                  <a:pos x="6" y="206"/>
                </a:cxn>
                <a:cxn ang="0">
                  <a:pos x="8" y="196"/>
                </a:cxn>
                <a:cxn ang="0">
                  <a:pos x="20" y="176"/>
                </a:cxn>
                <a:cxn ang="0">
                  <a:pos x="18" y="156"/>
                </a:cxn>
                <a:cxn ang="0">
                  <a:pos x="48" y="146"/>
                </a:cxn>
                <a:cxn ang="0">
                  <a:pos x="62" y="136"/>
                </a:cxn>
                <a:cxn ang="0">
                  <a:pos x="62" y="118"/>
                </a:cxn>
                <a:cxn ang="0">
                  <a:pos x="72" y="114"/>
                </a:cxn>
                <a:cxn ang="0">
                  <a:pos x="74" y="100"/>
                </a:cxn>
                <a:cxn ang="0">
                  <a:pos x="74" y="86"/>
                </a:cxn>
                <a:cxn ang="0">
                  <a:pos x="98" y="82"/>
                </a:cxn>
                <a:cxn ang="0">
                  <a:pos x="114" y="92"/>
                </a:cxn>
                <a:cxn ang="0">
                  <a:pos x="118" y="86"/>
                </a:cxn>
                <a:cxn ang="0">
                  <a:pos x="126" y="64"/>
                </a:cxn>
                <a:cxn ang="0">
                  <a:pos x="144" y="68"/>
                </a:cxn>
                <a:cxn ang="0">
                  <a:pos x="158" y="42"/>
                </a:cxn>
                <a:cxn ang="0">
                  <a:pos x="178" y="42"/>
                </a:cxn>
                <a:cxn ang="0">
                  <a:pos x="192" y="32"/>
                </a:cxn>
                <a:cxn ang="0">
                  <a:pos x="224" y="18"/>
                </a:cxn>
                <a:cxn ang="0">
                  <a:pos x="270" y="0"/>
                </a:cxn>
                <a:cxn ang="0">
                  <a:pos x="304" y="12"/>
                </a:cxn>
                <a:cxn ang="0">
                  <a:pos x="300" y="34"/>
                </a:cxn>
                <a:cxn ang="0">
                  <a:pos x="310" y="50"/>
                </a:cxn>
                <a:cxn ang="0">
                  <a:pos x="320" y="76"/>
                </a:cxn>
                <a:cxn ang="0">
                  <a:pos x="344" y="92"/>
                </a:cxn>
                <a:cxn ang="0">
                  <a:pos x="342" y="96"/>
                </a:cxn>
                <a:cxn ang="0">
                  <a:pos x="336" y="108"/>
                </a:cxn>
                <a:cxn ang="0">
                  <a:pos x="364" y="132"/>
                </a:cxn>
                <a:cxn ang="0">
                  <a:pos x="392" y="130"/>
                </a:cxn>
                <a:cxn ang="0">
                  <a:pos x="392" y="146"/>
                </a:cxn>
                <a:cxn ang="0">
                  <a:pos x="400" y="180"/>
                </a:cxn>
                <a:cxn ang="0">
                  <a:pos x="382" y="196"/>
                </a:cxn>
                <a:cxn ang="0">
                  <a:pos x="368" y="196"/>
                </a:cxn>
                <a:cxn ang="0">
                  <a:pos x="356" y="194"/>
                </a:cxn>
                <a:cxn ang="0">
                  <a:pos x="344" y="204"/>
                </a:cxn>
                <a:cxn ang="0">
                  <a:pos x="328" y="216"/>
                </a:cxn>
              </a:cxnLst>
              <a:rect l="0" t="0" r="r" b="b"/>
              <a:pathLst>
                <a:path w="402" h="292">
                  <a:moveTo>
                    <a:pt x="326" y="216"/>
                  </a:moveTo>
                  <a:lnTo>
                    <a:pt x="320" y="216"/>
                  </a:lnTo>
                  <a:lnTo>
                    <a:pt x="316" y="216"/>
                  </a:lnTo>
                  <a:lnTo>
                    <a:pt x="314" y="216"/>
                  </a:lnTo>
                  <a:lnTo>
                    <a:pt x="312" y="216"/>
                  </a:lnTo>
                  <a:lnTo>
                    <a:pt x="304" y="218"/>
                  </a:lnTo>
                  <a:lnTo>
                    <a:pt x="306" y="216"/>
                  </a:lnTo>
                  <a:lnTo>
                    <a:pt x="304" y="216"/>
                  </a:lnTo>
                  <a:lnTo>
                    <a:pt x="302" y="214"/>
                  </a:lnTo>
                  <a:lnTo>
                    <a:pt x="292" y="212"/>
                  </a:lnTo>
                  <a:lnTo>
                    <a:pt x="290" y="212"/>
                  </a:lnTo>
                  <a:lnTo>
                    <a:pt x="282" y="210"/>
                  </a:lnTo>
                  <a:lnTo>
                    <a:pt x="276" y="208"/>
                  </a:lnTo>
                  <a:lnTo>
                    <a:pt x="272" y="206"/>
                  </a:lnTo>
                  <a:lnTo>
                    <a:pt x="270" y="206"/>
                  </a:lnTo>
                  <a:lnTo>
                    <a:pt x="266" y="206"/>
                  </a:lnTo>
                  <a:lnTo>
                    <a:pt x="262" y="208"/>
                  </a:lnTo>
                  <a:lnTo>
                    <a:pt x="248" y="218"/>
                  </a:lnTo>
                  <a:lnTo>
                    <a:pt x="246" y="216"/>
                  </a:lnTo>
                  <a:lnTo>
                    <a:pt x="246" y="214"/>
                  </a:lnTo>
                  <a:lnTo>
                    <a:pt x="240" y="212"/>
                  </a:lnTo>
                  <a:lnTo>
                    <a:pt x="234" y="212"/>
                  </a:lnTo>
                  <a:lnTo>
                    <a:pt x="230" y="212"/>
                  </a:lnTo>
                  <a:lnTo>
                    <a:pt x="226" y="212"/>
                  </a:lnTo>
                  <a:lnTo>
                    <a:pt x="210" y="212"/>
                  </a:lnTo>
                  <a:lnTo>
                    <a:pt x="208" y="210"/>
                  </a:lnTo>
                  <a:lnTo>
                    <a:pt x="202" y="210"/>
                  </a:lnTo>
                  <a:lnTo>
                    <a:pt x="200" y="210"/>
                  </a:lnTo>
                  <a:lnTo>
                    <a:pt x="194" y="210"/>
                  </a:lnTo>
                  <a:lnTo>
                    <a:pt x="180" y="210"/>
                  </a:lnTo>
                  <a:lnTo>
                    <a:pt x="164" y="208"/>
                  </a:lnTo>
                  <a:lnTo>
                    <a:pt x="142" y="208"/>
                  </a:lnTo>
                  <a:lnTo>
                    <a:pt x="138" y="208"/>
                  </a:lnTo>
                  <a:lnTo>
                    <a:pt x="138" y="210"/>
                  </a:lnTo>
                  <a:lnTo>
                    <a:pt x="138" y="214"/>
                  </a:lnTo>
                  <a:lnTo>
                    <a:pt x="132" y="222"/>
                  </a:lnTo>
                  <a:lnTo>
                    <a:pt x="132" y="226"/>
                  </a:lnTo>
                  <a:lnTo>
                    <a:pt x="132" y="228"/>
                  </a:lnTo>
                  <a:lnTo>
                    <a:pt x="132" y="232"/>
                  </a:lnTo>
                  <a:lnTo>
                    <a:pt x="136" y="240"/>
                  </a:lnTo>
                  <a:lnTo>
                    <a:pt x="138" y="246"/>
                  </a:lnTo>
                  <a:lnTo>
                    <a:pt x="138" y="250"/>
                  </a:lnTo>
                  <a:lnTo>
                    <a:pt x="136" y="252"/>
                  </a:lnTo>
                  <a:lnTo>
                    <a:pt x="136" y="258"/>
                  </a:lnTo>
                  <a:lnTo>
                    <a:pt x="138" y="260"/>
                  </a:lnTo>
                  <a:lnTo>
                    <a:pt x="138" y="270"/>
                  </a:lnTo>
                  <a:lnTo>
                    <a:pt x="136" y="274"/>
                  </a:lnTo>
                  <a:lnTo>
                    <a:pt x="136" y="276"/>
                  </a:lnTo>
                  <a:lnTo>
                    <a:pt x="138" y="278"/>
                  </a:lnTo>
                  <a:lnTo>
                    <a:pt x="138" y="280"/>
                  </a:lnTo>
                  <a:lnTo>
                    <a:pt x="136" y="282"/>
                  </a:lnTo>
                  <a:lnTo>
                    <a:pt x="138" y="284"/>
                  </a:lnTo>
                  <a:lnTo>
                    <a:pt x="140" y="286"/>
                  </a:lnTo>
                  <a:lnTo>
                    <a:pt x="140" y="288"/>
                  </a:lnTo>
                  <a:lnTo>
                    <a:pt x="138" y="292"/>
                  </a:lnTo>
                  <a:lnTo>
                    <a:pt x="136" y="292"/>
                  </a:lnTo>
                  <a:lnTo>
                    <a:pt x="134" y="290"/>
                  </a:lnTo>
                  <a:lnTo>
                    <a:pt x="132" y="288"/>
                  </a:lnTo>
                  <a:lnTo>
                    <a:pt x="128" y="282"/>
                  </a:lnTo>
                  <a:lnTo>
                    <a:pt x="128" y="280"/>
                  </a:lnTo>
                  <a:lnTo>
                    <a:pt x="126" y="276"/>
                  </a:lnTo>
                  <a:lnTo>
                    <a:pt x="126" y="274"/>
                  </a:lnTo>
                  <a:lnTo>
                    <a:pt x="118" y="268"/>
                  </a:lnTo>
                  <a:lnTo>
                    <a:pt x="116" y="264"/>
                  </a:lnTo>
                  <a:lnTo>
                    <a:pt x="106" y="262"/>
                  </a:lnTo>
                  <a:lnTo>
                    <a:pt x="94" y="260"/>
                  </a:lnTo>
                  <a:lnTo>
                    <a:pt x="90" y="260"/>
                  </a:lnTo>
                  <a:lnTo>
                    <a:pt x="88" y="260"/>
                  </a:lnTo>
                  <a:lnTo>
                    <a:pt x="82" y="262"/>
                  </a:lnTo>
                  <a:lnTo>
                    <a:pt x="80" y="262"/>
                  </a:lnTo>
                  <a:lnTo>
                    <a:pt x="80" y="264"/>
                  </a:lnTo>
                  <a:lnTo>
                    <a:pt x="78" y="264"/>
                  </a:lnTo>
                  <a:lnTo>
                    <a:pt x="74" y="268"/>
                  </a:lnTo>
                  <a:lnTo>
                    <a:pt x="68" y="266"/>
                  </a:lnTo>
                  <a:lnTo>
                    <a:pt x="62" y="270"/>
                  </a:lnTo>
                  <a:lnTo>
                    <a:pt x="60" y="274"/>
                  </a:lnTo>
                  <a:lnTo>
                    <a:pt x="58" y="278"/>
                  </a:lnTo>
                  <a:lnTo>
                    <a:pt x="58" y="276"/>
                  </a:lnTo>
                  <a:lnTo>
                    <a:pt x="52" y="274"/>
                  </a:lnTo>
                  <a:lnTo>
                    <a:pt x="48" y="272"/>
                  </a:lnTo>
                  <a:lnTo>
                    <a:pt x="44" y="270"/>
                  </a:lnTo>
                  <a:lnTo>
                    <a:pt x="42" y="270"/>
                  </a:lnTo>
                  <a:lnTo>
                    <a:pt x="40" y="270"/>
                  </a:lnTo>
                  <a:lnTo>
                    <a:pt x="36" y="270"/>
                  </a:lnTo>
                  <a:lnTo>
                    <a:pt x="34" y="268"/>
                  </a:lnTo>
                  <a:lnTo>
                    <a:pt x="36" y="266"/>
                  </a:lnTo>
                  <a:lnTo>
                    <a:pt x="36" y="264"/>
                  </a:lnTo>
                  <a:lnTo>
                    <a:pt x="32" y="262"/>
                  </a:lnTo>
                  <a:lnTo>
                    <a:pt x="28" y="258"/>
                  </a:lnTo>
                  <a:lnTo>
                    <a:pt x="26" y="252"/>
                  </a:lnTo>
                  <a:lnTo>
                    <a:pt x="20" y="238"/>
                  </a:lnTo>
                  <a:lnTo>
                    <a:pt x="14" y="238"/>
                  </a:lnTo>
                  <a:lnTo>
                    <a:pt x="12" y="238"/>
                  </a:lnTo>
                  <a:lnTo>
                    <a:pt x="10" y="238"/>
                  </a:lnTo>
                  <a:lnTo>
                    <a:pt x="8" y="238"/>
                  </a:lnTo>
                  <a:lnTo>
                    <a:pt x="6" y="238"/>
                  </a:lnTo>
                  <a:lnTo>
                    <a:pt x="2" y="236"/>
                  </a:lnTo>
                  <a:lnTo>
                    <a:pt x="0" y="230"/>
                  </a:lnTo>
                  <a:lnTo>
                    <a:pt x="2" y="226"/>
                  </a:lnTo>
                  <a:lnTo>
                    <a:pt x="4" y="220"/>
                  </a:lnTo>
                  <a:lnTo>
                    <a:pt x="4" y="216"/>
                  </a:lnTo>
                  <a:lnTo>
                    <a:pt x="6" y="214"/>
                  </a:lnTo>
                  <a:lnTo>
                    <a:pt x="8" y="210"/>
                  </a:lnTo>
                  <a:lnTo>
                    <a:pt x="8" y="208"/>
                  </a:lnTo>
                  <a:lnTo>
                    <a:pt x="6" y="206"/>
                  </a:lnTo>
                  <a:lnTo>
                    <a:pt x="4" y="200"/>
                  </a:lnTo>
                  <a:lnTo>
                    <a:pt x="4" y="198"/>
                  </a:lnTo>
                  <a:lnTo>
                    <a:pt x="4" y="196"/>
                  </a:lnTo>
                  <a:lnTo>
                    <a:pt x="6" y="196"/>
                  </a:lnTo>
                  <a:lnTo>
                    <a:pt x="8" y="196"/>
                  </a:lnTo>
                  <a:lnTo>
                    <a:pt x="10" y="196"/>
                  </a:lnTo>
                  <a:lnTo>
                    <a:pt x="12" y="194"/>
                  </a:lnTo>
                  <a:lnTo>
                    <a:pt x="14" y="194"/>
                  </a:lnTo>
                  <a:lnTo>
                    <a:pt x="18" y="188"/>
                  </a:lnTo>
                  <a:lnTo>
                    <a:pt x="20" y="176"/>
                  </a:lnTo>
                  <a:lnTo>
                    <a:pt x="20" y="172"/>
                  </a:lnTo>
                  <a:lnTo>
                    <a:pt x="20" y="170"/>
                  </a:lnTo>
                  <a:lnTo>
                    <a:pt x="18" y="164"/>
                  </a:lnTo>
                  <a:lnTo>
                    <a:pt x="18" y="160"/>
                  </a:lnTo>
                  <a:lnTo>
                    <a:pt x="18" y="156"/>
                  </a:lnTo>
                  <a:lnTo>
                    <a:pt x="24" y="152"/>
                  </a:lnTo>
                  <a:lnTo>
                    <a:pt x="26" y="152"/>
                  </a:lnTo>
                  <a:lnTo>
                    <a:pt x="28" y="150"/>
                  </a:lnTo>
                  <a:lnTo>
                    <a:pt x="36" y="150"/>
                  </a:lnTo>
                  <a:lnTo>
                    <a:pt x="48" y="146"/>
                  </a:lnTo>
                  <a:lnTo>
                    <a:pt x="52" y="146"/>
                  </a:lnTo>
                  <a:lnTo>
                    <a:pt x="52" y="144"/>
                  </a:lnTo>
                  <a:lnTo>
                    <a:pt x="54" y="140"/>
                  </a:lnTo>
                  <a:lnTo>
                    <a:pt x="60" y="136"/>
                  </a:lnTo>
                  <a:lnTo>
                    <a:pt x="62" y="136"/>
                  </a:lnTo>
                  <a:lnTo>
                    <a:pt x="62" y="128"/>
                  </a:lnTo>
                  <a:lnTo>
                    <a:pt x="62" y="126"/>
                  </a:lnTo>
                  <a:lnTo>
                    <a:pt x="64" y="124"/>
                  </a:lnTo>
                  <a:lnTo>
                    <a:pt x="66" y="124"/>
                  </a:lnTo>
                  <a:lnTo>
                    <a:pt x="62" y="118"/>
                  </a:lnTo>
                  <a:lnTo>
                    <a:pt x="62" y="116"/>
                  </a:lnTo>
                  <a:lnTo>
                    <a:pt x="62" y="114"/>
                  </a:lnTo>
                  <a:lnTo>
                    <a:pt x="62" y="112"/>
                  </a:lnTo>
                  <a:lnTo>
                    <a:pt x="70" y="114"/>
                  </a:lnTo>
                  <a:lnTo>
                    <a:pt x="72" y="114"/>
                  </a:lnTo>
                  <a:lnTo>
                    <a:pt x="74" y="112"/>
                  </a:lnTo>
                  <a:lnTo>
                    <a:pt x="74" y="110"/>
                  </a:lnTo>
                  <a:lnTo>
                    <a:pt x="76" y="108"/>
                  </a:lnTo>
                  <a:lnTo>
                    <a:pt x="76" y="102"/>
                  </a:lnTo>
                  <a:lnTo>
                    <a:pt x="74" y="100"/>
                  </a:lnTo>
                  <a:lnTo>
                    <a:pt x="74" y="98"/>
                  </a:lnTo>
                  <a:lnTo>
                    <a:pt x="72" y="98"/>
                  </a:lnTo>
                  <a:lnTo>
                    <a:pt x="70" y="92"/>
                  </a:lnTo>
                  <a:lnTo>
                    <a:pt x="72" y="90"/>
                  </a:lnTo>
                  <a:lnTo>
                    <a:pt x="74" y="86"/>
                  </a:lnTo>
                  <a:lnTo>
                    <a:pt x="78" y="84"/>
                  </a:lnTo>
                  <a:lnTo>
                    <a:pt x="80" y="84"/>
                  </a:lnTo>
                  <a:lnTo>
                    <a:pt x="90" y="74"/>
                  </a:lnTo>
                  <a:lnTo>
                    <a:pt x="94" y="76"/>
                  </a:lnTo>
                  <a:lnTo>
                    <a:pt x="98" y="82"/>
                  </a:lnTo>
                  <a:lnTo>
                    <a:pt x="106" y="88"/>
                  </a:lnTo>
                  <a:lnTo>
                    <a:pt x="108" y="90"/>
                  </a:lnTo>
                  <a:lnTo>
                    <a:pt x="110" y="92"/>
                  </a:lnTo>
                  <a:lnTo>
                    <a:pt x="112" y="92"/>
                  </a:lnTo>
                  <a:lnTo>
                    <a:pt x="114" y="92"/>
                  </a:lnTo>
                  <a:lnTo>
                    <a:pt x="116" y="92"/>
                  </a:lnTo>
                  <a:lnTo>
                    <a:pt x="116" y="90"/>
                  </a:lnTo>
                  <a:lnTo>
                    <a:pt x="116" y="88"/>
                  </a:lnTo>
                  <a:lnTo>
                    <a:pt x="116" y="86"/>
                  </a:lnTo>
                  <a:lnTo>
                    <a:pt x="118" y="86"/>
                  </a:lnTo>
                  <a:lnTo>
                    <a:pt x="126" y="86"/>
                  </a:lnTo>
                  <a:lnTo>
                    <a:pt x="126" y="84"/>
                  </a:lnTo>
                  <a:lnTo>
                    <a:pt x="126" y="76"/>
                  </a:lnTo>
                  <a:lnTo>
                    <a:pt x="124" y="74"/>
                  </a:lnTo>
                  <a:lnTo>
                    <a:pt x="126" y="64"/>
                  </a:lnTo>
                  <a:lnTo>
                    <a:pt x="128" y="64"/>
                  </a:lnTo>
                  <a:lnTo>
                    <a:pt x="134" y="66"/>
                  </a:lnTo>
                  <a:lnTo>
                    <a:pt x="140" y="70"/>
                  </a:lnTo>
                  <a:lnTo>
                    <a:pt x="142" y="70"/>
                  </a:lnTo>
                  <a:lnTo>
                    <a:pt x="144" y="68"/>
                  </a:lnTo>
                  <a:lnTo>
                    <a:pt x="144" y="64"/>
                  </a:lnTo>
                  <a:lnTo>
                    <a:pt x="144" y="60"/>
                  </a:lnTo>
                  <a:lnTo>
                    <a:pt x="148" y="50"/>
                  </a:lnTo>
                  <a:lnTo>
                    <a:pt x="150" y="48"/>
                  </a:lnTo>
                  <a:lnTo>
                    <a:pt x="158" y="42"/>
                  </a:lnTo>
                  <a:lnTo>
                    <a:pt x="160" y="40"/>
                  </a:lnTo>
                  <a:lnTo>
                    <a:pt x="168" y="36"/>
                  </a:lnTo>
                  <a:lnTo>
                    <a:pt x="172" y="38"/>
                  </a:lnTo>
                  <a:lnTo>
                    <a:pt x="176" y="40"/>
                  </a:lnTo>
                  <a:lnTo>
                    <a:pt x="178" y="42"/>
                  </a:lnTo>
                  <a:lnTo>
                    <a:pt x="184" y="44"/>
                  </a:lnTo>
                  <a:lnTo>
                    <a:pt x="190" y="42"/>
                  </a:lnTo>
                  <a:lnTo>
                    <a:pt x="192" y="36"/>
                  </a:lnTo>
                  <a:lnTo>
                    <a:pt x="192" y="34"/>
                  </a:lnTo>
                  <a:lnTo>
                    <a:pt x="192" y="32"/>
                  </a:lnTo>
                  <a:lnTo>
                    <a:pt x="192" y="28"/>
                  </a:lnTo>
                  <a:lnTo>
                    <a:pt x="196" y="28"/>
                  </a:lnTo>
                  <a:lnTo>
                    <a:pt x="202" y="28"/>
                  </a:lnTo>
                  <a:lnTo>
                    <a:pt x="208" y="28"/>
                  </a:lnTo>
                  <a:lnTo>
                    <a:pt x="224" y="18"/>
                  </a:lnTo>
                  <a:lnTo>
                    <a:pt x="226" y="16"/>
                  </a:lnTo>
                  <a:lnTo>
                    <a:pt x="238" y="14"/>
                  </a:lnTo>
                  <a:lnTo>
                    <a:pt x="242" y="12"/>
                  </a:lnTo>
                  <a:lnTo>
                    <a:pt x="258" y="0"/>
                  </a:lnTo>
                  <a:lnTo>
                    <a:pt x="270" y="0"/>
                  </a:lnTo>
                  <a:lnTo>
                    <a:pt x="274" y="4"/>
                  </a:lnTo>
                  <a:lnTo>
                    <a:pt x="280" y="0"/>
                  </a:lnTo>
                  <a:lnTo>
                    <a:pt x="292" y="6"/>
                  </a:lnTo>
                  <a:lnTo>
                    <a:pt x="304" y="10"/>
                  </a:lnTo>
                  <a:lnTo>
                    <a:pt x="304" y="12"/>
                  </a:lnTo>
                  <a:lnTo>
                    <a:pt x="302" y="14"/>
                  </a:lnTo>
                  <a:lnTo>
                    <a:pt x="304" y="20"/>
                  </a:lnTo>
                  <a:lnTo>
                    <a:pt x="302" y="22"/>
                  </a:lnTo>
                  <a:lnTo>
                    <a:pt x="300" y="32"/>
                  </a:lnTo>
                  <a:lnTo>
                    <a:pt x="300" y="34"/>
                  </a:lnTo>
                  <a:lnTo>
                    <a:pt x="302" y="36"/>
                  </a:lnTo>
                  <a:lnTo>
                    <a:pt x="306" y="40"/>
                  </a:lnTo>
                  <a:lnTo>
                    <a:pt x="310" y="44"/>
                  </a:lnTo>
                  <a:lnTo>
                    <a:pt x="310" y="46"/>
                  </a:lnTo>
                  <a:lnTo>
                    <a:pt x="310" y="50"/>
                  </a:lnTo>
                  <a:lnTo>
                    <a:pt x="308" y="52"/>
                  </a:lnTo>
                  <a:lnTo>
                    <a:pt x="312" y="64"/>
                  </a:lnTo>
                  <a:lnTo>
                    <a:pt x="314" y="66"/>
                  </a:lnTo>
                  <a:lnTo>
                    <a:pt x="318" y="74"/>
                  </a:lnTo>
                  <a:lnTo>
                    <a:pt x="320" y="76"/>
                  </a:lnTo>
                  <a:lnTo>
                    <a:pt x="328" y="76"/>
                  </a:lnTo>
                  <a:lnTo>
                    <a:pt x="338" y="84"/>
                  </a:lnTo>
                  <a:lnTo>
                    <a:pt x="338" y="86"/>
                  </a:lnTo>
                  <a:lnTo>
                    <a:pt x="338" y="88"/>
                  </a:lnTo>
                  <a:lnTo>
                    <a:pt x="344" y="92"/>
                  </a:lnTo>
                  <a:lnTo>
                    <a:pt x="346" y="92"/>
                  </a:lnTo>
                  <a:lnTo>
                    <a:pt x="348" y="92"/>
                  </a:lnTo>
                  <a:lnTo>
                    <a:pt x="350" y="96"/>
                  </a:lnTo>
                  <a:lnTo>
                    <a:pt x="346" y="96"/>
                  </a:lnTo>
                  <a:lnTo>
                    <a:pt x="342" y="96"/>
                  </a:lnTo>
                  <a:lnTo>
                    <a:pt x="340" y="94"/>
                  </a:lnTo>
                  <a:lnTo>
                    <a:pt x="338" y="94"/>
                  </a:lnTo>
                  <a:lnTo>
                    <a:pt x="336" y="94"/>
                  </a:lnTo>
                  <a:lnTo>
                    <a:pt x="336" y="96"/>
                  </a:lnTo>
                  <a:lnTo>
                    <a:pt x="336" y="108"/>
                  </a:lnTo>
                  <a:lnTo>
                    <a:pt x="334" y="110"/>
                  </a:lnTo>
                  <a:lnTo>
                    <a:pt x="336" y="112"/>
                  </a:lnTo>
                  <a:lnTo>
                    <a:pt x="342" y="112"/>
                  </a:lnTo>
                  <a:lnTo>
                    <a:pt x="352" y="122"/>
                  </a:lnTo>
                  <a:lnTo>
                    <a:pt x="364" y="132"/>
                  </a:lnTo>
                  <a:lnTo>
                    <a:pt x="378" y="134"/>
                  </a:lnTo>
                  <a:lnTo>
                    <a:pt x="382" y="130"/>
                  </a:lnTo>
                  <a:lnTo>
                    <a:pt x="384" y="130"/>
                  </a:lnTo>
                  <a:lnTo>
                    <a:pt x="390" y="130"/>
                  </a:lnTo>
                  <a:lnTo>
                    <a:pt x="392" y="130"/>
                  </a:lnTo>
                  <a:lnTo>
                    <a:pt x="394" y="134"/>
                  </a:lnTo>
                  <a:lnTo>
                    <a:pt x="396" y="136"/>
                  </a:lnTo>
                  <a:lnTo>
                    <a:pt x="398" y="142"/>
                  </a:lnTo>
                  <a:lnTo>
                    <a:pt x="396" y="146"/>
                  </a:lnTo>
                  <a:lnTo>
                    <a:pt x="392" y="146"/>
                  </a:lnTo>
                  <a:lnTo>
                    <a:pt x="388" y="146"/>
                  </a:lnTo>
                  <a:lnTo>
                    <a:pt x="388" y="148"/>
                  </a:lnTo>
                  <a:lnTo>
                    <a:pt x="400" y="168"/>
                  </a:lnTo>
                  <a:lnTo>
                    <a:pt x="402" y="172"/>
                  </a:lnTo>
                  <a:lnTo>
                    <a:pt x="400" y="180"/>
                  </a:lnTo>
                  <a:lnTo>
                    <a:pt x="398" y="184"/>
                  </a:lnTo>
                  <a:lnTo>
                    <a:pt x="396" y="186"/>
                  </a:lnTo>
                  <a:lnTo>
                    <a:pt x="392" y="188"/>
                  </a:lnTo>
                  <a:lnTo>
                    <a:pt x="384" y="194"/>
                  </a:lnTo>
                  <a:lnTo>
                    <a:pt x="382" y="196"/>
                  </a:lnTo>
                  <a:lnTo>
                    <a:pt x="380" y="196"/>
                  </a:lnTo>
                  <a:lnTo>
                    <a:pt x="376" y="196"/>
                  </a:lnTo>
                  <a:lnTo>
                    <a:pt x="376" y="194"/>
                  </a:lnTo>
                  <a:lnTo>
                    <a:pt x="372" y="194"/>
                  </a:lnTo>
                  <a:lnTo>
                    <a:pt x="368" y="196"/>
                  </a:lnTo>
                  <a:lnTo>
                    <a:pt x="362" y="198"/>
                  </a:lnTo>
                  <a:lnTo>
                    <a:pt x="360" y="196"/>
                  </a:lnTo>
                  <a:lnTo>
                    <a:pt x="360" y="194"/>
                  </a:lnTo>
                  <a:lnTo>
                    <a:pt x="358" y="194"/>
                  </a:lnTo>
                  <a:lnTo>
                    <a:pt x="356" y="194"/>
                  </a:lnTo>
                  <a:lnTo>
                    <a:pt x="354" y="194"/>
                  </a:lnTo>
                  <a:lnTo>
                    <a:pt x="352" y="194"/>
                  </a:lnTo>
                  <a:lnTo>
                    <a:pt x="350" y="194"/>
                  </a:lnTo>
                  <a:lnTo>
                    <a:pt x="348" y="200"/>
                  </a:lnTo>
                  <a:lnTo>
                    <a:pt x="344" y="204"/>
                  </a:lnTo>
                  <a:lnTo>
                    <a:pt x="340" y="204"/>
                  </a:lnTo>
                  <a:lnTo>
                    <a:pt x="338" y="206"/>
                  </a:lnTo>
                  <a:lnTo>
                    <a:pt x="334" y="210"/>
                  </a:lnTo>
                  <a:lnTo>
                    <a:pt x="330" y="212"/>
                  </a:lnTo>
                  <a:lnTo>
                    <a:pt x="328" y="216"/>
                  </a:lnTo>
                  <a:lnTo>
                    <a:pt x="326" y="21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59" name="Freeform 1394"/>
            <p:cNvSpPr>
              <a:spLocks/>
            </p:cNvSpPr>
            <p:nvPr/>
          </p:nvSpPr>
          <p:spPr bwMode="auto">
            <a:xfrm>
              <a:off x="6571370" y="3006952"/>
              <a:ext cx="950833" cy="740649"/>
            </a:xfrm>
            <a:custGeom>
              <a:avLst/>
              <a:gdLst/>
              <a:ahLst/>
              <a:cxnLst>
                <a:cxn ang="0">
                  <a:pos x="588" y="504"/>
                </a:cxn>
                <a:cxn ang="0">
                  <a:pos x="558" y="508"/>
                </a:cxn>
                <a:cxn ang="0">
                  <a:pos x="532" y="516"/>
                </a:cxn>
                <a:cxn ang="0">
                  <a:pos x="512" y="534"/>
                </a:cxn>
                <a:cxn ang="0">
                  <a:pos x="496" y="544"/>
                </a:cxn>
                <a:cxn ang="0">
                  <a:pos x="470" y="548"/>
                </a:cxn>
                <a:cxn ang="0">
                  <a:pos x="456" y="562"/>
                </a:cxn>
                <a:cxn ang="0">
                  <a:pos x="422" y="562"/>
                </a:cxn>
                <a:cxn ang="0">
                  <a:pos x="396" y="548"/>
                </a:cxn>
                <a:cxn ang="0">
                  <a:pos x="340" y="592"/>
                </a:cxn>
                <a:cxn ang="0">
                  <a:pos x="324" y="590"/>
                </a:cxn>
                <a:cxn ang="0">
                  <a:pos x="298" y="586"/>
                </a:cxn>
                <a:cxn ang="0">
                  <a:pos x="260" y="578"/>
                </a:cxn>
                <a:cxn ang="0">
                  <a:pos x="190" y="544"/>
                </a:cxn>
                <a:cxn ang="0">
                  <a:pos x="146" y="526"/>
                </a:cxn>
                <a:cxn ang="0">
                  <a:pos x="146" y="498"/>
                </a:cxn>
                <a:cxn ang="0">
                  <a:pos x="122" y="496"/>
                </a:cxn>
                <a:cxn ang="0">
                  <a:pos x="104" y="464"/>
                </a:cxn>
                <a:cxn ang="0">
                  <a:pos x="92" y="434"/>
                </a:cxn>
                <a:cxn ang="0">
                  <a:pos x="78" y="418"/>
                </a:cxn>
                <a:cxn ang="0">
                  <a:pos x="58" y="404"/>
                </a:cxn>
                <a:cxn ang="0">
                  <a:pos x="24" y="376"/>
                </a:cxn>
                <a:cxn ang="0">
                  <a:pos x="6" y="358"/>
                </a:cxn>
                <a:cxn ang="0">
                  <a:pos x="16" y="340"/>
                </a:cxn>
                <a:cxn ang="0">
                  <a:pos x="40" y="342"/>
                </a:cxn>
                <a:cxn ang="0">
                  <a:pos x="56" y="332"/>
                </a:cxn>
                <a:cxn ang="0">
                  <a:pos x="56" y="272"/>
                </a:cxn>
                <a:cxn ang="0">
                  <a:pos x="62" y="230"/>
                </a:cxn>
                <a:cxn ang="0">
                  <a:pos x="88" y="220"/>
                </a:cxn>
                <a:cxn ang="0">
                  <a:pos x="94" y="194"/>
                </a:cxn>
                <a:cxn ang="0">
                  <a:pos x="98" y="168"/>
                </a:cxn>
                <a:cxn ang="0">
                  <a:pos x="108" y="156"/>
                </a:cxn>
                <a:cxn ang="0">
                  <a:pos x="142" y="114"/>
                </a:cxn>
                <a:cxn ang="0">
                  <a:pos x="148" y="102"/>
                </a:cxn>
                <a:cxn ang="0">
                  <a:pos x="160" y="66"/>
                </a:cxn>
                <a:cxn ang="0">
                  <a:pos x="170" y="32"/>
                </a:cxn>
                <a:cxn ang="0">
                  <a:pos x="192" y="28"/>
                </a:cxn>
                <a:cxn ang="0">
                  <a:pos x="214" y="40"/>
                </a:cxn>
                <a:cxn ang="0">
                  <a:pos x="238" y="6"/>
                </a:cxn>
                <a:cxn ang="0">
                  <a:pos x="260" y="22"/>
                </a:cxn>
                <a:cxn ang="0">
                  <a:pos x="292" y="10"/>
                </a:cxn>
                <a:cxn ang="0">
                  <a:pos x="312" y="12"/>
                </a:cxn>
                <a:cxn ang="0">
                  <a:pos x="334" y="18"/>
                </a:cxn>
                <a:cxn ang="0">
                  <a:pos x="354" y="20"/>
                </a:cxn>
                <a:cxn ang="0">
                  <a:pos x="372" y="28"/>
                </a:cxn>
                <a:cxn ang="0">
                  <a:pos x="392" y="44"/>
                </a:cxn>
                <a:cxn ang="0">
                  <a:pos x="416" y="68"/>
                </a:cxn>
                <a:cxn ang="0">
                  <a:pos x="434" y="82"/>
                </a:cxn>
                <a:cxn ang="0">
                  <a:pos x="448" y="96"/>
                </a:cxn>
                <a:cxn ang="0">
                  <a:pos x="464" y="114"/>
                </a:cxn>
                <a:cxn ang="0">
                  <a:pos x="448" y="140"/>
                </a:cxn>
                <a:cxn ang="0">
                  <a:pos x="438" y="178"/>
                </a:cxn>
                <a:cxn ang="0">
                  <a:pos x="446" y="194"/>
                </a:cxn>
                <a:cxn ang="0">
                  <a:pos x="478" y="186"/>
                </a:cxn>
                <a:cxn ang="0">
                  <a:pos x="494" y="192"/>
                </a:cxn>
                <a:cxn ang="0">
                  <a:pos x="490" y="218"/>
                </a:cxn>
                <a:cxn ang="0">
                  <a:pos x="498" y="234"/>
                </a:cxn>
                <a:cxn ang="0">
                  <a:pos x="510" y="246"/>
                </a:cxn>
                <a:cxn ang="0">
                  <a:pos x="520" y="262"/>
                </a:cxn>
                <a:cxn ang="0">
                  <a:pos x="556" y="292"/>
                </a:cxn>
                <a:cxn ang="0">
                  <a:pos x="686" y="330"/>
                </a:cxn>
                <a:cxn ang="0">
                  <a:pos x="756" y="334"/>
                </a:cxn>
                <a:cxn ang="0">
                  <a:pos x="670" y="438"/>
                </a:cxn>
              </a:cxnLst>
              <a:rect l="0" t="0" r="r" b="b"/>
              <a:pathLst>
                <a:path w="760" h="592">
                  <a:moveTo>
                    <a:pt x="640" y="474"/>
                  </a:moveTo>
                  <a:lnTo>
                    <a:pt x="634" y="480"/>
                  </a:lnTo>
                  <a:lnTo>
                    <a:pt x="620" y="496"/>
                  </a:lnTo>
                  <a:lnTo>
                    <a:pt x="616" y="502"/>
                  </a:lnTo>
                  <a:lnTo>
                    <a:pt x="616" y="504"/>
                  </a:lnTo>
                  <a:lnTo>
                    <a:pt x="612" y="506"/>
                  </a:lnTo>
                  <a:lnTo>
                    <a:pt x="590" y="504"/>
                  </a:lnTo>
                  <a:lnTo>
                    <a:pt x="588" y="504"/>
                  </a:lnTo>
                  <a:lnTo>
                    <a:pt x="580" y="504"/>
                  </a:lnTo>
                  <a:lnTo>
                    <a:pt x="576" y="504"/>
                  </a:lnTo>
                  <a:lnTo>
                    <a:pt x="568" y="504"/>
                  </a:lnTo>
                  <a:lnTo>
                    <a:pt x="564" y="504"/>
                  </a:lnTo>
                  <a:lnTo>
                    <a:pt x="562" y="504"/>
                  </a:lnTo>
                  <a:lnTo>
                    <a:pt x="560" y="506"/>
                  </a:lnTo>
                  <a:lnTo>
                    <a:pt x="558" y="506"/>
                  </a:lnTo>
                  <a:lnTo>
                    <a:pt x="558" y="508"/>
                  </a:lnTo>
                  <a:lnTo>
                    <a:pt x="556" y="508"/>
                  </a:lnTo>
                  <a:lnTo>
                    <a:pt x="554" y="508"/>
                  </a:lnTo>
                  <a:lnTo>
                    <a:pt x="552" y="508"/>
                  </a:lnTo>
                  <a:lnTo>
                    <a:pt x="548" y="508"/>
                  </a:lnTo>
                  <a:lnTo>
                    <a:pt x="544" y="510"/>
                  </a:lnTo>
                  <a:lnTo>
                    <a:pt x="544" y="512"/>
                  </a:lnTo>
                  <a:lnTo>
                    <a:pt x="538" y="514"/>
                  </a:lnTo>
                  <a:lnTo>
                    <a:pt x="532" y="516"/>
                  </a:lnTo>
                  <a:lnTo>
                    <a:pt x="530" y="516"/>
                  </a:lnTo>
                  <a:lnTo>
                    <a:pt x="524" y="520"/>
                  </a:lnTo>
                  <a:lnTo>
                    <a:pt x="522" y="522"/>
                  </a:lnTo>
                  <a:lnTo>
                    <a:pt x="518" y="524"/>
                  </a:lnTo>
                  <a:lnTo>
                    <a:pt x="514" y="530"/>
                  </a:lnTo>
                  <a:lnTo>
                    <a:pt x="512" y="530"/>
                  </a:lnTo>
                  <a:lnTo>
                    <a:pt x="512" y="532"/>
                  </a:lnTo>
                  <a:lnTo>
                    <a:pt x="512" y="534"/>
                  </a:lnTo>
                  <a:lnTo>
                    <a:pt x="512" y="536"/>
                  </a:lnTo>
                  <a:lnTo>
                    <a:pt x="512" y="538"/>
                  </a:lnTo>
                  <a:lnTo>
                    <a:pt x="508" y="540"/>
                  </a:lnTo>
                  <a:lnTo>
                    <a:pt x="506" y="542"/>
                  </a:lnTo>
                  <a:lnTo>
                    <a:pt x="502" y="542"/>
                  </a:lnTo>
                  <a:lnTo>
                    <a:pt x="502" y="544"/>
                  </a:lnTo>
                  <a:lnTo>
                    <a:pt x="498" y="544"/>
                  </a:lnTo>
                  <a:lnTo>
                    <a:pt x="496" y="544"/>
                  </a:lnTo>
                  <a:lnTo>
                    <a:pt x="490" y="546"/>
                  </a:lnTo>
                  <a:lnTo>
                    <a:pt x="484" y="546"/>
                  </a:lnTo>
                  <a:lnTo>
                    <a:pt x="482" y="546"/>
                  </a:lnTo>
                  <a:lnTo>
                    <a:pt x="478" y="546"/>
                  </a:lnTo>
                  <a:lnTo>
                    <a:pt x="476" y="546"/>
                  </a:lnTo>
                  <a:lnTo>
                    <a:pt x="474" y="546"/>
                  </a:lnTo>
                  <a:lnTo>
                    <a:pt x="472" y="548"/>
                  </a:lnTo>
                  <a:lnTo>
                    <a:pt x="470" y="548"/>
                  </a:lnTo>
                  <a:lnTo>
                    <a:pt x="468" y="548"/>
                  </a:lnTo>
                  <a:lnTo>
                    <a:pt x="466" y="550"/>
                  </a:lnTo>
                  <a:lnTo>
                    <a:pt x="462" y="554"/>
                  </a:lnTo>
                  <a:lnTo>
                    <a:pt x="460" y="556"/>
                  </a:lnTo>
                  <a:lnTo>
                    <a:pt x="460" y="558"/>
                  </a:lnTo>
                  <a:lnTo>
                    <a:pt x="460" y="560"/>
                  </a:lnTo>
                  <a:lnTo>
                    <a:pt x="458" y="560"/>
                  </a:lnTo>
                  <a:lnTo>
                    <a:pt x="456" y="562"/>
                  </a:lnTo>
                  <a:lnTo>
                    <a:pt x="454" y="560"/>
                  </a:lnTo>
                  <a:lnTo>
                    <a:pt x="450" y="558"/>
                  </a:lnTo>
                  <a:lnTo>
                    <a:pt x="444" y="560"/>
                  </a:lnTo>
                  <a:lnTo>
                    <a:pt x="440" y="560"/>
                  </a:lnTo>
                  <a:lnTo>
                    <a:pt x="438" y="562"/>
                  </a:lnTo>
                  <a:lnTo>
                    <a:pt x="436" y="562"/>
                  </a:lnTo>
                  <a:lnTo>
                    <a:pt x="428" y="562"/>
                  </a:lnTo>
                  <a:lnTo>
                    <a:pt x="422" y="562"/>
                  </a:lnTo>
                  <a:lnTo>
                    <a:pt x="420" y="562"/>
                  </a:lnTo>
                  <a:lnTo>
                    <a:pt x="420" y="560"/>
                  </a:lnTo>
                  <a:lnTo>
                    <a:pt x="418" y="560"/>
                  </a:lnTo>
                  <a:lnTo>
                    <a:pt x="416" y="558"/>
                  </a:lnTo>
                  <a:lnTo>
                    <a:pt x="414" y="554"/>
                  </a:lnTo>
                  <a:lnTo>
                    <a:pt x="406" y="548"/>
                  </a:lnTo>
                  <a:lnTo>
                    <a:pt x="402" y="546"/>
                  </a:lnTo>
                  <a:lnTo>
                    <a:pt x="396" y="548"/>
                  </a:lnTo>
                  <a:lnTo>
                    <a:pt x="382" y="554"/>
                  </a:lnTo>
                  <a:lnTo>
                    <a:pt x="382" y="556"/>
                  </a:lnTo>
                  <a:lnTo>
                    <a:pt x="372" y="560"/>
                  </a:lnTo>
                  <a:lnTo>
                    <a:pt x="362" y="566"/>
                  </a:lnTo>
                  <a:lnTo>
                    <a:pt x="356" y="568"/>
                  </a:lnTo>
                  <a:lnTo>
                    <a:pt x="352" y="580"/>
                  </a:lnTo>
                  <a:lnTo>
                    <a:pt x="342" y="588"/>
                  </a:lnTo>
                  <a:lnTo>
                    <a:pt x="340" y="592"/>
                  </a:lnTo>
                  <a:lnTo>
                    <a:pt x="338" y="592"/>
                  </a:lnTo>
                  <a:lnTo>
                    <a:pt x="338" y="590"/>
                  </a:lnTo>
                  <a:lnTo>
                    <a:pt x="336" y="590"/>
                  </a:lnTo>
                  <a:lnTo>
                    <a:pt x="334" y="590"/>
                  </a:lnTo>
                  <a:lnTo>
                    <a:pt x="328" y="590"/>
                  </a:lnTo>
                  <a:lnTo>
                    <a:pt x="328" y="588"/>
                  </a:lnTo>
                  <a:lnTo>
                    <a:pt x="328" y="590"/>
                  </a:lnTo>
                  <a:lnTo>
                    <a:pt x="324" y="590"/>
                  </a:lnTo>
                  <a:lnTo>
                    <a:pt x="322" y="590"/>
                  </a:lnTo>
                  <a:lnTo>
                    <a:pt x="318" y="588"/>
                  </a:lnTo>
                  <a:lnTo>
                    <a:pt x="316" y="588"/>
                  </a:lnTo>
                  <a:lnTo>
                    <a:pt x="314" y="588"/>
                  </a:lnTo>
                  <a:lnTo>
                    <a:pt x="310" y="588"/>
                  </a:lnTo>
                  <a:lnTo>
                    <a:pt x="308" y="588"/>
                  </a:lnTo>
                  <a:lnTo>
                    <a:pt x="302" y="588"/>
                  </a:lnTo>
                  <a:lnTo>
                    <a:pt x="298" y="586"/>
                  </a:lnTo>
                  <a:lnTo>
                    <a:pt x="292" y="584"/>
                  </a:lnTo>
                  <a:lnTo>
                    <a:pt x="286" y="582"/>
                  </a:lnTo>
                  <a:lnTo>
                    <a:pt x="284" y="584"/>
                  </a:lnTo>
                  <a:lnTo>
                    <a:pt x="278" y="584"/>
                  </a:lnTo>
                  <a:lnTo>
                    <a:pt x="266" y="584"/>
                  </a:lnTo>
                  <a:lnTo>
                    <a:pt x="264" y="582"/>
                  </a:lnTo>
                  <a:lnTo>
                    <a:pt x="262" y="580"/>
                  </a:lnTo>
                  <a:lnTo>
                    <a:pt x="260" y="578"/>
                  </a:lnTo>
                  <a:lnTo>
                    <a:pt x="224" y="556"/>
                  </a:lnTo>
                  <a:lnTo>
                    <a:pt x="216" y="550"/>
                  </a:lnTo>
                  <a:lnTo>
                    <a:pt x="214" y="548"/>
                  </a:lnTo>
                  <a:lnTo>
                    <a:pt x="210" y="546"/>
                  </a:lnTo>
                  <a:lnTo>
                    <a:pt x="204" y="544"/>
                  </a:lnTo>
                  <a:lnTo>
                    <a:pt x="194" y="544"/>
                  </a:lnTo>
                  <a:lnTo>
                    <a:pt x="192" y="544"/>
                  </a:lnTo>
                  <a:lnTo>
                    <a:pt x="190" y="544"/>
                  </a:lnTo>
                  <a:lnTo>
                    <a:pt x="180" y="544"/>
                  </a:lnTo>
                  <a:lnTo>
                    <a:pt x="172" y="544"/>
                  </a:lnTo>
                  <a:lnTo>
                    <a:pt x="168" y="544"/>
                  </a:lnTo>
                  <a:lnTo>
                    <a:pt x="160" y="544"/>
                  </a:lnTo>
                  <a:lnTo>
                    <a:pt x="154" y="540"/>
                  </a:lnTo>
                  <a:lnTo>
                    <a:pt x="154" y="536"/>
                  </a:lnTo>
                  <a:lnTo>
                    <a:pt x="154" y="534"/>
                  </a:lnTo>
                  <a:lnTo>
                    <a:pt x="146" y="526"/>
                  </a:lnTo>
                  <a:lnTo>
                    <a:pt x="146" y="512"/>
                  </a:lnTo>
                  <a:lnTo>
                    <a:pt x="146" y="510"/>
                  </a:lnTo>
                  <a:lnTo>
                    <a:pt x="148" y="508"/>
                  </a:lnTo>
                  <a:lnTo>
                    <a:pt x="148" y="506"/>
                  </a:lnTo>
                  <a:lnTo>
                    <a:pt x="146" y="504"/>
                  </a:lnTo>
                  <a:lnTo>
                    <a:pt x="146" y="502"/>
                  </a:lnTo>
                  <a:lnTo>
                    <a:pt x="148" y="498"/>
                  </a:lnTo>
                  <a:lnTo>
                    <a:pt x="146" y="498"/>
                  </a:lnTo>
                  <a:lnTo>
                    <a:pt x="144" y="498"/>
                  </a:lnTo>
                  <a:lnTo>
                    <a:pt x="142" y="496"/>
                  </a:lnTo>
                  <a:lnTo>
                    <a:pt x="132" y="494"/>
                  </a:lnTo>
                  <a:lnTo>
                    <a:pt x="132" y="492"/>
                  </a:lnTo>
                  <a:lnTo>
                    <a:pt x="128" y="494"/>
                  </a:lnTo>
                  <a:lnTo>
                    <a:pt x="124" y="498"/>
                  </a:lnTo>
                  <a:lnTo>
                    <a:pt x="122" y="498"/>
                  </a:lnTo>
                  <a:lnTo>
                    <a:pt x="122" y="496"/>
                  </a:lnTo>
                  <a:lnTo>
                    <a:pt x="120" y="492"/>
                  </a:lnTo>
                  <a:lnTo>
                    <a:pt x="120" y="490"/>
                  </a:lnTo>
                  <a:lnTo>
                    <a:pt x="110" y="484"/>
                  </a:lnTo>
                  <a:lnTo>
                    <a:pt x="110" y="480"/>
                  </a:lnTo>
                  <a:lnTo>
                    <a:pt x="106" y="474"/>
                  </a:lnTo>
                  <a:lnTo>
                    <a:pt x="104" y="470"/>
                  </a:lnTo>
                  <a:lnTo>
                    <a:pt x="104" y="466"/>
                  </a:lnTo>
                  <a:lnTo>
                    <a:pt x="104" y="464"/>
                  </a:lnTo>
                  <a:lnTo>
                    <a:pt x="104" y="462"/>
                  </a:lnTo>
                  <a:lnTo>
                    <a:pt x="104" y="460"/>
                  </a:lnTo>
                  <a:lnTo>
                    <a:pt x="102" y="460"/>
                  </a:lnTo>
                  <a:lnTo>
                    <a:pt x="100" y="458"/>
                  </a:lnTo>
                  <a:lnTo>
                    <a:pt x="98" y="452"/>
                  </a:lnTo>
                  <a:lnTo>
                    <a:pt x="98" y="450"/>
                  </a:lnTo>
                  <a:lnTo>
                    <a:pt x="96" y="446"/>
                  </a:lnTo>
                  <a:lnTo>
                    <a:pt x="92" y="434"/>
                  </a:lnTo>
                  <a:lnTo>
                    <a:pt x="88" y="430"/>
                  </a:lnTo>
                  <a:lnTo>
                    <a:pt x="88" y="428"/>
                  </a:lnTo>
                  <a:lnTo>
                    <a:pt x="86" y="428"/>
                  </a:lnTo>
                  <a:lnTo>
                    <a:pt x="86" y="426"/>
                  </a:lnTo>
                  <a:lnTo>
                    <a:pt x="84" y="426"/>
                  </a:lnTo>
                  <a:lnTo>
                    <a:pt x="80" y="426"/>
                  </a:lnTo>
                  <a:lnTo>
                    <a:pt x="78" y="420"/>
                  </a:lnTo>
                  <a:lnTo>
                    <a:pt x="78" y="418"/>
                  </a:lnTo>
                  <a:lnTo>
                    <a:pt x="74" y="416"/>
                  </a:lnTo>
                  <a:lnTo>
                    <a:pt x="70" y="416"/>
                  </a:lnTo>
                  <a:lnTo>
                    <a:pt x="68" y="416"/>
                  </a:lnTo>
                  <a:lnTo>
                    <a:pt x="66" y="416"/>
                  </a:lnTo>
                  <a:lnTo>
                    <a:pt x="64" y="412"/>
                  </a:lnTo>
                  <a:lnTo>
                    <a:pt x="62" y="410"/>
                  </a:lnTo>
                  <a:lnTo>
                    <a:pt x="60" y="406"/>
                  </a:lnTo>
                  <a:lnTo>
                    <a:pt x="58" y="404"/>
                  </a:lnTo>
                  <a:lnTo>
                    <a:pt x="54" y="402"/>
                  </a:lnTo>
                  <a:lnTo>
                    <a:pt x="54" y="400"/>
                  </a:lnTo>
                  <a:lnTo>
                    <a:pt x="54" y="398"/>
                  </a:lnTo>
                  <a:lnTo>
                    <a:pt x="54" y="394"/>
                  </a:lnTo>
                  <a:lnTo>
                    <a:pt x="46" y="386"/>
                  </a:lnTo>
                  <a:lnTo>
                    <a:pt x="36" y="380"/>
                  </a:lnTo>
                  <a:lnTo>
                    <a:pt x="34" y="380"/>
                  </a:lnTo>
                  <a:lnTo>
                    <a:pt x="24" y="376"/>
                  </a:lnTo>
                  <a:lnTo>
                    <a:pt x="14" y="376"/>
                  </a:lnTo>
                  <a:lnTo>
                    <a:pt x="6" y="374"/>
                  </a:lnTo>
                  <a:lnTo>
                    <a:pt x="4" y="374"/>
                  </a:lnTo>
                  <a:lnTo>
                    <a:pt x="2" y="372"/>
                  </a:lnTo>
                  <a:lnTo>
                    <a:pt x="0" y="370"/>
                  </a:lnTo>
                  <a:lnTo>
                    <a:pt x="0" y="368"/>
                  </a:lnTo>
                  <a:lnTo>
                    <a:pt x="2" y="364"/>
                  </a:lnTo>
                  <a:lnTo>
                    <a:pt x="6" y="358"/>
                  </a:lnTo>
                  <a:lnTo>
                    <a:pt x="8" y="358"/>
                  </a:lnTo>
                  <a:lnTo>
                    <a:pt x="10" y="356"/>
                  </a:lnTo>
                  <a:lnTo>
                    <a:pt x="10" y="352"/>
                  </a:lnTo>
                  <a:lnTo>
                    <a:pt x="8" y="350"/>
                  </a:lnTo>
                  <a:lnTo>
                    <a:pt x="8" y="346"/>
                  </a:lnTo>
                  <a:lnTo>
                    <a:pt x="8" y="342"/>
                  </a:lnTo>
                  <a:lnTo>
                    <a:pt x="12" y="340"/>
                  </a:lnTo>
                  <a:lnTo>
                    <a:pt x="16" y="340"/>
                  </a:lnTo>
                  <a:lnTo>
                    <a:pt x="20" y="340"/>
                  </a:lnTo>
                  <a:lnTo>
                    <a:pt x="26" y="340"/>
                  </a:lnTo>
                  <a:lnTo>
                    <a:pt x="32" y="340"/>
                  </a:lnTo>
                  <a:lnTo>
                    <a:pt x="34" y="340"/>
                  </a:lnTo>
                  <a:lnTo>
                    <a:pt x="34" y="342"/>
                  </a:lnTo>
                  <a:lnTo>
                    <a:pt x="36" y="344"/>
                  </a:lnTo>
                  <a:lnTo>
                    <a:pt x="38" y="344"/>
                  </a:lnTo>
                  <a:lnTo>
                    <a:pt x="40" y="342"/>
                  </a:lnTo>
                  <a:lnTo>
                    <a:pt x="42" y="342"/>
                  </a:lnTo>
                  <a:lnTo>
                    <a:pt x="44" y="340"/>
                  </a:lnTo>
                  <a:lnTo>
                    <a:pt x="46" y="340"/>
                  </a:lnTo>
                  <a:lnTo>
                    <a:pt x="48" y="340"/>
                  </a:lnTo>
                  <a:lnTo>
                    <a:pt x="50" y="340"/>
                  </a:lnTo>
                  <a:lnTo>
                    <a:pt x="54" y="336"/>
                  </a:lnTo>
                  <a:lnTo>
                    <a:pt x="56" y="334"/>
                  </a:lnTo>
                  <a:lnTo>
                    <a:pt x="56" y="332"/>
                  </a:lnTo>
                  <a:lnTo>
                    <a:pt x="56" y="330"/>
                  </a:lnTo>
                  <a:lnTo>
                    <a:pt x="56" y="320"/>
                  </a:lnTo>
                  <a:lnTo>
                    <a:pt x="56" y="312"/>
                  </a:lnTo>
                  <a:lnTo>
                    <a:pt x="54" y="290"/>
                  </a:lnTo>
                  <a:lnTo>
                    <a:pt x="54" y="288"/>
                  </a:lnTo>
                  <a:lnTo>
                    <a:pt x="54" y="286"/>
                  </a:lnTo>
                  <a:lnTo>
                    <a:pt x="54" y="282"/>
                  </a:lnTo>
                  <a:lnTo>
                    <a:pt x="56" y="272"/>
                  </a:lnTo>
                  <a:lnTo>
                    <a:pt x="58" y="264"/>
                  </a:lnTo>
                  <a:lnTo>
                    <a:pt x="58" y="260"/>
                  </a:lnTo>
                  <a:lnTo>
                    <a:pt x="60" y="258"/>
                  </a:lnTo>
                  <a:lnTo>
                    <a:pt x="64" y="252"/>
                  </a:lnTo>
                  <a:lnTo>
                    <a:pt x="66" y="246"/>
                  </a:lnTo>
                  <a:lnTo>
                    <a:pt x="64" y="244"/>
                  </a:lnTo>
                  <a:lnTo>
                    <a:pt x="64" y="240"/>
                  </a:lnTo>
                  <a:lnTo>
                    <a:pt x="62" y="230"/>
                  </a:lnTo>
                  <a:lnTo>
                    <a:pt x="62" y="228"/>
                  </a:lnTo>
                  <a:lnTo>
                    <a:pt x="64" y="226"/>
                  </a:lnTo>
                  <a:lnTo>
                    <a:pt x="68" y="218"/>
                  </a:lnTo>
                  <a:lnTo>
                    <a:pt x="76" y="212"/>
                  </a:lnTo>
                  <a:lnTo>
                    <a:pt x="80" y="214"/>
                  </a:lnTo>
                  <a:lnTo>
                    <a:pt x="82" y="216"/>
                  </a:lnTo>
                  <a:lnTo>
                    <a:pt x="86" y="220"/>
                  </a:lnTo>
                  <a:lnTo>
                    <a:pt x="88" y="220"/>
                  </a:lnTo>
                  <a:lnTo>
                    <a:pt x="90" y="220"/>
                  </a:lnTo>
                  <a:lnTo>
                    <a:pt x="96" y="212"/>
                  </a:lnTo>
                  <a:lnTo>
                    <a:pt x="96" y="210"/>
                  </a:lnTo>
                  <a:lnTo>
                    <a:pt x="92" y="208"/>
                  </a:lnTo>
                  <a:lnTo>
                    <a:pt x="96" y="200"/>
                  </a:lnTo>
                  <a:lnTo>
                    <a:pt x="96" y="198"/>
                  </a:lnTo>
                  <a:lnTo>
                    <a:pt x="96" y="196"/>
                  </a:lnTo>
                  <a:lnTo>
                    <a:pt x="94" y="194"/>
                  </a:lnTo>
                  <a:lnTo>
                    <a:pt x="94" y="192"/>
                  </a:lnTo>
                  <a:lnTo>
                    <a:pt x="94" y="190"/>
                  </a:lnTo>
                  <a:lnTo>
                    <a:pt x="96" y="188"/>
                  </a:lnTo>
                  <a:lnTo>
                    <a:pt x="100" y="178"/>
                  </a:lnTo>
                  <a:lnTo>
                    <a:pt x="100" y="176"/>
                  </a:lnTo>
                  <a:lnTo>
                    <a:pt x="100" y="174"/>
                  </a:lnTo>
                  <a:lnTo>
                    <a:pt x="98" y="172"/>
                  </a:lnTo>
                  <a:lnTo>
                    <a:pt x="98" y="168"/>
                  </a:lnTo>
                  <a:lnTo>
                    <a:pt x="98" y="166"/>
                  </a:lnTo>
                  <a:lnTo>
                    <a:pt x="100" y="164"/>
                  </a:lnTo>
                  <a:lnTo>
                    <a:pt x="100" y="162"/>
                  </a:lnTo>
                  <a:lnTo>
                    <a:pt x="102" y="160"/>
                  </a:lnTo>
                  <a:lnTo>
                    <a:pt x="104" y="160"/>
                  </a:lnTo>
                  <a:lnTo>
                    <a:pt x="106" y="158"/>
                  </a:lnTo>
                  <a:lnTo>
                    <a:pt x="108" y="158"/>
                  </a:lnTo>
                  <a:lnTo>
                    <a:pt x="108" y="156"/>
                  </a:lnTo>
                  <a:lnTo>
                    <a:pt x="108" y="154"/>
                  </a:lnTo>
                  <a:lnTo>
                    <a:pt x="112" y="144"/>
                  </a:lnTo>
                  <a:lnTo>
                    <a:pt x="124" y="122"/>
                  </a:lnTo>
                  <a:lnTo>
                    <a:pt x="126" y="122"/>
                  </a:lnTo>
                  <a:lnTo>
                    <a:pt x="128" y="120"/>
                  </a:lnTo>
                  <a:lnTo>
                    <a:pt x="128" y="118"/>
                  </a:lnTo>
                  <a:lnTo>
                    <a:pt x="140" y="116"/>
                  </a:lnTo>
                  <a:lnTo>
                    <a:pt x="142" y="114"/>
                  </a:lnTo>
                  <a:lnTo>
                    <a:pt x="144" y="116"/>
                  </a:lnTo>
                  <a:lnTo>
                    <a:pt x="146" y="114"/>
                  </a:lnTo>
                  <a:lnTo>
                    <a:pt x="146" y="116"/>
                  </a:lnTo>
                  <a:lnTo>
                    <a:pt x="148" y="116"/>
                  </a:lnTo>
                  <a:lnTo>
                    <a:pt x="150" y="116"/>
                  </a:lnTo>
                  <a:lnTo>
                    <a:pt x="150" y="106"/>
                  </a:lnTo>
                  <a:lnTo>
                    <a:pt x="148" y="104"/>
                  </a:lnTo>
                  <a:lnTo>
                    <a:pt x="148" y="102"/>
                  </a:lnTo>
                  <a:lnTo>
                    <a:pt x="150" y="102"/>
                  </a:lnTo>
                  <a:lnTo>
                    <a:pt x="150" y="100"/>
                  </a:lnTo>
                  <a:lnTo>
                    <a:pt x="150" y="98"/>
                  </a:lnTo>
                  <a:lnTo>
                    <a:pt x="154" y="80"/>
                  </a:lnTo>
                  <a:lnTo>
                    <a:pt x="158" y="74"/>
                  </a:lnTo>
                  <a:lnTo>
                    <a:pt x="160" y="70"/>
                  </a:lnTo>
                  <a:lnTo>
                    <a:pt x="160" y="68"/>
                  </a:lnTo>
                  <a:lnTo>
                    <a:pt x="160" y="66"/>
                  </a:lnTo>
                  <a:lnTo>
                    <a:pt x="160" y="64"/>
                  </a:lnTo>
                  <a:lnTo>
                    <a:pt x="164" y="58"/>
                  </a:lnTo>
                  <a:lnTo>
                    <a:pt x="164" y="56"/>
                  </a:lnTo>
                  <a:lnTo>
                    <a:pt x="162" y="50"/>
                  </a:lnTo>
                  <a:lnTo>
                    <a:pt x="164" y="36"/>
                  </a:lnTo>
                  <a:lnTo>
                    <a:pt x="164" y="34"/>
                  </a:lnTo>
                  <a:lnTo>
                    <a:pt x="166" y="34"/>
                  </a:lnTo>
                  <a:lnTo>
                    <a:pt x="170" y="32"/>
                  </a:lnTo>
                  <a:lnTo>
                    <a:pt x="176" y="30"/>
                  </a:lnTo>
                  <a:lnTo>
                    <a:pt x="178" y="30"/>
                  </a:lnTo>
                  <a:lnTo>
                    <a:pt x="182" y="30"/>
                  </a:lnTo>
                  <a:lnTo>
                    <a:pt x="186" y="32"/>
                  </a:lnTo>
                  <a:lnTo>
                    <a:pt x="188" y="34"/>
                  </a:lnTo>
                  <a:lnTo>
                    <a:pt x="192" y="32"/>
                  </a:lnTo>
                  <a:lnTo>
                    <a:pt x="192" y="30"/>
                  </a:lnTo>
                  <a:lnTo>
                    <a:pt x="192" y="28"/>
                  </a:lnTo>
                  <a:lnTo>
                    <a:pt x="192" y="26"/>
                  </a:lnTo>
                  <a:lnTo>
                    <a:pt x="194" y="24"/>
                  </a:lnTo>
                  <a:lnTo>
                    <a:pt x="198" y="24"/>
                  </a:lnTo>
                  <a:lnTo>
                    <a:pt x="202" y="24"/>
                  </a:lnTo>
                  <a:lnTo>
                    <a:pt x="204" y="24"/>
                  </a:lnTo>
                  <a:lnTo>
                    <a:pt x="208" y="28"/>
                  </a:lnTo>
                  <a:lnTo>
                    <a:pt x="210" y="32"/>
                  </a:lnTo>
                  <a:lnTo>
                    <a:pt x="214" y="40"/>
                  </a:lnTo>
                  <a:lnTo>
                    <a:pt x="218" y="40"/>
                  </a:lnTo>
                  <a:lnTo>
                    <a:pt x="222" y="26"/>
                  </a:lnTo>
                  <a:lnTo>
                    <a:pt x="228" y="8"/>
                  </a:lnTo>
                  <a:lnTo>
                    <a:pt x="230" y="0"/>
                  </a:lnTo>
                  <a:lnTo>
                    <a:pt x="232" y="0"/>
                  </a:lnTo>
                  <a:lnTo>
                    <a:pt x="234" y="2"/>
                  </a:lnTo>
                  <a:lnTo>
                    <a:pt x="236" y="4"/>
                  </a:lnTo>
                  <a:lnTo>
                    <a:pt x="238" y="6"/>
                  </a:lnTo>
                  <a:lnTo>
                    <a:pt x="238" y="8"/>
                  </a:lnTo>
                  <a:lnTo>
                    <a:pt x="244" y="8"/>
                  </a:lnTo>
                  <a:lnTo>
                    <a:pt x="246" y="8"/>
                  </a:lnTo>
                  <a:lnTo>
                    <a:pt x="248" y="8"/>
                  </a:lnTo>
                  <a:lnTo>
                    <a:pt x="250" y="10"/>
                  </a:lnTo>
                  <a:lnTo>
                    <a:pt x="252" y="14"/>
                  </a:lnTo>
                  <a:lnTo>
                    <a:pt x="254" y="16"/>
                  </a:lnTo>
                  <a:lnTo>
                    <a:pt x="260" y="22"/>
                  </a:lnTo>
                  <a:lnTo>
                    <a:pt x="264" y="22"/>
                  </a:lnTo>
                  <a:lnTo>
                    <a:pt x="276" y="18"/>
                  </a:lnTo>
                  <a:lnTo>
                    <a:pt x="282" y="16"/>
                  </a:lnTo>
                  <a:lnTo>
                    <a:pt x="284" y="14"/>
                  </a:lnTo>
                  <a:lnTo>
                    <a:pt x="286" y="12"/>
                  </a:lnTo>
                  <a:lnTo>
                    <a:pt x="288" y="8"/>
                  </a:lnTo>
                  <a:lnTo>
                    <a:pt x="290" y="8"/>
                  </a:lnTo>
                  <a:lnTo>
                    <a:pt x="292" y="10"/>
                  </a:lnTo>
                  <a:lnTo>
                    <a:pt x="294" y="10"/>
                  </a:lnTo>
                  <a:lnTo>
                    <a:pt x="294" y="12"/>
                  </a:lnTo>
                  <a:lnTo>
                    <a:pt x="296" y="14"/>
                  </a:lnTo>
                  <a:lnTo>
                    <a:pt x="296" y="16"/>
                  </a:lnTo>
                  <a:lnTo>
                    <a:pt x="300" y="18"/>
                  </a:lnTo>
                  <a:lnTo>
                    <a:pt x="306" y="16"/>
                  </a:lnTo>
                  <a:lnTo>
                    <a:pt x="310" y="14"/>
                  </a:lnTo>
                  <a:lnTo>
                    <a:pt x="312" y="12"/>
                  </a:lnTo>
                  <a:lnTo>
                    <a:pt x="318" y="14"/>
                  </a:lnTo>
                  <a:lnTo>
                    <a:pt x="322" y="14"/>
                  </a:lnTo>
                  <a:lnTo>
                    <a:pt x="324" y="14"/>
                  </a:lnTo>
                  <a:lnTo>
                    <a:pt x="326" y="14"/>
                  </a:lnTo>
                  <a:lnTo>
                    <a:pt x="328" y="16"/>
                  </a:lnTo>
                  <a:lnTo>
                    <a:pt x="330" y="18"/>
                  </a:lnTo>
                  <a:lnTo>
                    <a:pt x="332" y="18"/>
                  </a:lnTo>
                  <a:lnTo>
                    <a:pt x="334" y="18"/>
                  </a:lnTo>
                  <a:lnTo>
                    <a:pt x="338" y="16"/>
                  </a:lnTo>
                  <a:lnTo>
                    <a:pt x="342" y="14"/>
                  </a:lnTo>
                  <a:lnTo>
                    <a:pt x="344" y="16"/>
                  </a:lnTo>
                  <a:lnTo>
                    <a:pt x="346" y="16"/>
                  </a:lnTo>
                  <a:lnTo>
                    <a:pt x="348" y="16"/>
                  </a:lnTo>
                  <a:lnTo>
                    <a:pt x="350" y="18"/>
                  </a:lnTo>
                  <a:lnTo>
                    <a:pt x="352" y="18"/>
                  </a:lnTo>
                  <a:lnTo>
                    <a:pt x="354" y="20"/>
                  </a:lnTo>
                  <a:lnTo>
                    <a:pt x="356" y="22"/>
                  </a:lnTo>
                  <a:lnTo>
                    <a:pt x="358" y="24"/>
                  </a:lnTo>
                  <a:lnTo>
                    <a:pt x="360" y="24"/>
                  </a:lnTo>
                  <a:lnTo>
                    <a:pt x="364" y="26"/>
                  </a:lnTo>
                  <a:lnTo>
                    <a:pt x="366" y="28"/>
                  </a:lnTo>
                  <a:lnTo>
                    <a:pt x="368" y="28"/>
                  </a:lnTo>
                  <a:lnTo>
                    <a:pt x="370" y="28"/>
                  </a:lnTo>
                  <a:lnTo>
                    <a:pt x="372" y="28"/>
                  </a:lnTo>
                  <a:lnTo>
                    <a:pt x="374" y="30"/>
                  </a:lnTo>
                  <a:lnTo>
                    <a:pt x="376" y="30"/>
                  </a:lnTo>
                  <a:lnTo>
                    <a:pt x="378" y="30"/>
                  </a:lnTo>
                  <a:lnTo>
                    <a:pt x="382" y="36"/>
                  </a:lnTo>
                  <a:lnTo>
                    <a:pt x="384" y="36"/>
                  </a:lnTo>
                  <a:lnTo>
                    <a:pt x="388" y="40"/>
                  </a:lnTo>
                  <a:lnTo>
                    <a:pt x="390" y="42"/>
                  </a:lnTo>
                  <a:lnTo>
                    <a:pt x="392" y="44"/>
                  </a:lnTo>
                  <a:lnTo>
                    <a:pt x="394" y="46"/>
                  </a:lnTo>
                  <a:lnTo>
                    <a:pt x="394" y="48"/>
                  </a:lnTo>
                  <a:lnTo>
                    <a:pt x="394" y="50"/>
                  </a:lnTo>
                  <a:lnTo>
                    <a:pt x="398" y="54"/>
                  </a:lnTo>
                  <a:lnTo>
                    <a:pt x="400" y="56"/>
                  </a:lnTo>
                  <a:lnTo>
                    <a:pt x="402" y="58"/>
                  </a:lnTo>
                  <a:lnTo>
                    <a:pt x="412" y="64"/>
                  </a:lnTo>
                  <a:lnTo>
                    <a:pt x="416" y="68"/>
                  </a:lnTo>
                  <a:lnTo>
                    <a:pt x="418" y="68"/>
                  </a:lnTo>
                  <a:lnTo>
                    <a:pt x="420" y="68"/>
                  </a:lnTo>
                  <a:lnTo>
                    <a:pt x="420" y="70"/>
                  </a:lnTo>
                  <a:lnTo>
                    <a:pt x="428" y="76"/>
                  </a:lnTo>
                  <a:lnTo>
                    <a:pt x="430" y="76"/>
                  </a:lnTo>
                  <a:lnTo>
                    <a:pt x="430" y="78"/>
                  </a:lnTo>
                  <a:lnTo>
                    <a:pt x="432" y="78"/>
                  </a:lnTo>
                  <a:lnTo>
                    <a:pt x="434" y="82"/>
                  </a:lnTo>
                  <a:lnTo>
                    <a:pt x="436" y="90"/>
                  </a:lnTo>
                  <a:lnTo>
                    <a:pt x="438" y="90"/>
                  </a:lnTo>
                  <a:lnTo>
                    <a:pt x="440" y="94"/>
                  </a:lnTo>
                  <a:lnTo>
                    <a:pt x="442" y="94"/>
                  </a:lnTo>
                  <a:lnTo>
                    <a:pt x="442" y="96"/>
                  </a:lnTo>
                  <a:lnTo>
                    <a:pt x="444" y="96"/>
                  </a:lnTo>
                  <a:lnTo>
                    <a:pt x="446" y="96"/>
                  </a:lnTo>
                  <a:lnTo>
                    <a:pt x="448" y="96"/>
                  </a:lnTo>
                  <a:lnTo>
                    <a:pt x="448" y="98"/>
                  </a:lnTo>
                  <a:lnTo>
                    <a:pt x="450" y="98"/>
                  </a:lnTo>
                  <a:lnTo>
                    <a:pt x="452" y="100"/>
                  </a:lnTo>
                  <a:lnTo>
                    <a:pt x="456" y="104"/>
                  </a:lnTo>
                  <a:lnTo>
                    <a:pt x="458" y="108"/>
                  </a:lnTo>
                  <a:lnTo>
                    <a:pt x="458" y="110"/>
                  </a:lnTo>
                  <a:lnTo>
                    <a:pt x="460" y="112"/>
                  </a:lnTo>
                  <a:lnTo>
                    <a:pt x="464" y="114"/>
                  </a:lnTo>
                  <a:lnTo>
                    <a:pt x="462" y="116"/>
                  </a:lnTo>
                  <a:lnTo>
                    <a:pt x="460" y="118"/>
                  </a:lnTo>
                  <a:lnTo>
                    <a:pt x="460" y="120"/>
                  </a:lnTo>
                  <a:lnTo>
                    <a:pt x="458" y="122"/>
                  </a:lnTo>
                  <a:lnTo>
                    <a:pt x="458" y="124"/>
                  </a:lnTo>
                  <a:lnTo>
                    <a:pt x="452" y="132"/>
                  </a:lnTo>
                  <a:lnTo>
                    <a:pt x="450" y="134"/>
                  </a:lnTo>
                  <a:lnTo>
                    <a:pt x="448" y="140"/>
                  </a:lnTo>
                  <a:lnTo>
                    <a:pt x="446" y="144"/>
                  </a:lnTo>
                  <a:lnTo>
                    <a:pt x="442" y="150"/>
                  </a:lnTo>
                  <a:lnTo>
                    <a:pt x="440" y="152"/>
                  </a:lnTo>
                  <a:lnTo>
                    <a:pt x="436" y="154"/>
                  </a:lnTo>
                  <a:lnTo>
                    <a:pt x="436" y="158"/>
                  </a:lnTo>
                  <a:lnTo>
                    <a:pt x="434" y="166"/>
                  </a:lnTo>
                  <a:lnTo>
                    <a:pt x="436" y="172"/>
                  </a:lnTo>
                  <a:lnTo>
                    <a:pt x="438" y="178"/>
                  </a:lnTo>
                  <a:lnTo>
                    <a:pt x="438" y="184"/>
                  </a:lnTo>
                  <a:lnTo>
                    <a:pt x="438" y="188"/>
                  </a:lnTo>
                  <a:lnTo>
                    <a:pt x="438" y="190"/>
                  </a:lnTo>
                  <a:lnTo>
                    <a:pt x="438" y="192"/>
                  </a:lnTo>
                  <a:lnTo>
                    <a:pt x="440" y="194"/>
                  </a:lnTo>
                  <a:lnTo>
                    <a:pt x="442" y="194"/>
                  </a:lnTo>
                  <a:lnTo>
                    <a:pt x="444" y="194"/>
                  </a:lnTo>
                  <a:lnTo>
                    <a:pt x="446" y="194"/>
                  </a:lnTo>
                  <a:lnTo>
                    <a:pt x="448" y="194"/>
                  </a:lnTo>
                  <a:lnTo>
                    <a:pt x="452" y="192"/>
                  </a:lnTo>
                  <a:lnTo>
                    <a:pt x="454" y="192"/>
                  </a:lnTo>
                  <a:lnTo>
                    <a:pt x="456" y="192"/>
                  </a:lnTo>
                  <a:lnTo>
                    <a:pt x="464" y="190"/>
                  </a:lnTo>
                  <a:lnTo>
                    <a:pt x="466" y="190"/>
                  </a:lnTo>
                  <a:lnTo>
                    <a:pt x="472" y="188"/>
                  </a:lnTo>
                  <a:lnTo>
                    <a:pt x="478" y="186"/>
                  </a:lnTo>
                  <a:lnTo>
                    <a:pt x="480" y="186"/>
                  </a:lnTo>
                  <a:lnTo>
                    <a:pt x="486" y="186"/>
                  </a:lnTo>
                  <a:lnTo>
                    <a:pt x="486" y="188"/>
                  </a:lnTo>
                  <a:lnTo>
                    <a:pt x="488" y="190"/>
                  </a:lnTo>
                  <a:lnTo>
                    <a:pt x="490" y="190"/>
                  </a:lnTo>
                  <a:lnTo>
                    <a:pt x="492" y="190"/>
                  </a:lnTo>
                  <a:lnTo>
                    <a:pt x="496" y="188"/>
                  </a:lnTo>
                  <a:lnTo>
                    <a:pt x="494" y="192"/>
                  </a:lnTo>
                  <a:lnTo>
                    <a:pt x="492" y="196"/>
                  </a:lnTo>
                  <a:lnTo>
                    <a:pt x="488" y="202"/>
                  </a:lnTo>
                  <a:lnTo>
                    <a:pt x="482" y="210"/>
                  </a:lnTo>
                  <a:lnTo>
                    <a:pt x="484" y="212"/>
                  </a:lnTo>
                  <a:lnTo>
                    <a:pt x="486" y="214"/>
                  </a:lnTo>
                  <a:lnTo>
                    <a:pt x="486" y="216"/>
                  </a:lnTo>
                  <a:lnTo>
                    <a:pt x="488" y="216"/>
                  </a:lnTo>
                  <a:lnTo>
                    <a:pt x="490" y="218"/>
                  </a:lnTo>
                  <a:lnTo>
                    <a:pt x="490" y="220"/>
                  </a:lnTo>
                  <a:lnTo>
                    <a:pt x="490" y="222"/>
                  </a:lnTo>
                  <a:lnTo>
                    <a:pt x="492" y="224"/>
                  </a:lnTo>
                  <a:lnTo>
                    <a:pt x="492" y="226"/>
                  </a:lnTo>
                  <a:lnTo>
                    <a:pt x="492" y="232"/>
                  </a:lnTo>
                  <a:lnTo>
                    <a:pt x="494" y="232"/>
                  </a:lnTo>
                  <a:lnTo>
                    <a:pt x="496" y="232"/>
                  </a:lnTo>
                  <a:lnTo>
                    <a:pt x="498" y="234"/>
                  </a:lnTo>
                  <a:lnTo>
                    <a:pt x="500" y="236"/>
                  </a:lnTo>
                  <a:lnTo>
                    <a:pt x="502" y="238"/>
                  </a:lnTo>
                  <a:lnTo>
                    <a:pt x="502" y="240"/>
                  </a:lnTo>
                  <a:lnTo>
                    <a:pt x="504" y="242"/>
                  </a:lnTo>
                  <a:lnTo>
                    <a:pt x="504" y="244"/>
                  </a:lnTo>
                  <a:lnTo>
                    <a:pt x="506" y="246"/>
                  </a:lnTo>
                  <a:lnTo>
                    <a:pt x="508" y="246"/>
                  </a:lnTo>
                  <a:lnTo>
                    <a:pt x="510" y="246"/>
                  </a:lnTo>
                  <a:lnTo>
                    <a:pt x="512" y="246"/>
                  </a:lnTo>
                  <a:lnTo>
                    <a:pt x="512" y="248"/>
                  </a:lnTo>
                  <a:lnTo>
                    <a:pt x="514" y="252"/>
                  </a:lnTo>
                  <a:lnTo>
                    <a:pt x="514" y="254"/>
                  </a:lnTo>
                  <a:lnTo>
                    <a:pt x="516" y="258"/>
                  </a:lnTo>
                  <a:lnTo>
                    <a:pt x="516" y="260"/>
                  </a:lnTo>
                  <a:lnTo>
                    <a:pt x="518" y="260"/>
                  </a:lnTo>
                  <a:lnTo>
                    <a:pt x="520" y="262"/>
                  </a:lnTo>
                  <a:lnTo>
                    <a:pt x="522" y="264"/>
                  </a:lnTo>
                  <a:lnTo>
                    <a:pt x="524" y="268"/>
                  </a:lnTo>
                  <a:lnTo>
                    <a:pt x="524" y="270"/>
                  </a:lnTo>
                  <a:lnTo>
                    <a:pt x="526" y="272"/>
                  </a:lnTo>
                  <a:lnTo>
                    <a:pt x="532" y="274"/>
                  </a:lnTo>
                  <a:lnTo>
                    <a:pt x="534" y="274"/>
                  </a:lnTo>
                  <a:lnTo>
                    <a:pt x="540" y="278"/>
                  </a:lnTo>
                  <a:lnTo>
                    <a:pt x="556" y="292"/>
                  </a:lnTo>
                  <a:lnTo>
                    <a:pt x="588" y="300"/>
                  </a:lnTo>
                  <a:lnTo>
                    <a:pt x="606" y="306"/>
                  </a:lnTo>
                  <a:lnTo>
                    <a:pt x="616" y="308"/>
                  </a:lnTo>
                  <a:lnTo>
                    <a:pt x="628" y="312"/>
                  </a:lnTo>
                  <a:lnTo>
                    <a:pt x="638" y="316"/>
                  </a:lnTo>
                  <a:lnTo>
                    <a:pt x="662" y="322"/>
                  </a:lnTo>
                  <a:lnTo>
                    <a:pt x="676" y="326"/>
                  </a:lnTo>
                  <a:lnTo>
                    <a:pt x="686" y="330"/>
                  </a:lnTo>
                  <a:lnTo>
                    <a:pt x="698" y="334"/>
                  </a:lnTo>
                  <a:lnTo>
                    <a:pt x="708" y="338"/>
                  </a:lnTo>
                  <a:lnTo>
                    <a:pt x="710" y="338"/>
                  </a:lnTo>
                  <a:lnTo>
                    <a:pt x="714" y="338"/>
                  </a:lnTo>
                  <a:lnTo>
                    <a:pt x="740" y="336"/>
                  </a:lnTo>
                  <a:lnTo>
                    <a:pt x="748" y="336"/>
                  </a:lnTo>
                  <a:lnTo>
                    <a:pt x="752" y="334"/>
                  </a:lnTo>
                  <a:lnTo>
                    <a:pt x="756" y="334"/>
                  </a:lnTo>
                  <a:lnTo>
                    <a:pt x="760" y="334"/>
                  </a:lnTo>
                  <a:lnTo>
                    <a:pt x="756" y="340"/>
                  </a:lnTo>
                  <a:lnTo>
                    <a:pt x="748" y="346"/>
                  </a:lnTo>
                  <a:lnTo>
                    <a:pt x="744" y="352"/>
                  </a:lnTo>
                  <a:lnTo>
                    <a:pt x="740" y="358"/>
                  </a:lnTo>
                  <a:lnTo>
                    <a:pt x="712" y="388"/>
                  </a:lnTo>
                  <a:lnTo>
                    <a:pt x="692" y="412"/>
                  </a:lnTo>
                  <a:lnTo>
                    <a:pt x="670" y="438"/>
                  </a:lnTo>
                  <a:lnTo>
                    <a:pt x="664" y="444"/>
                  </a:lnTo>
                  <a:lnTo>
                    <a:pt x="662" y="446"/>
                  </a:lnTo>
                  <a:lnTo>
                    <a:pt x="650" y="460"/>
                  </a:lnTo>
                  <a:lnTo>
                    <a:pt x="640" y="47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1" name="Freeform 1395"/>
            <p:cNvSpPr>
              <a:spLocks/>
            </p:cNvSpPr>
            <p:nvPr/>
          </p:nvSpPr>
          <p:spPr bwMode="auto">
            <a:xfrm>
              <a:off x="5015006" y="3144573"/>
              <a:ext cx="490430" cy="733143"/>
            </a:xfrm>
            <a:custGeom>
              <a:avLst/>
              <a:gdLst/>
              <a:ahLst/>
              <a:cxnLst>
                <a:cxn ang="0">
                  <a:pos x="20" y="446"/>
                </a:cxn>
                <a:cxn ang="0">
                  <a:pos x="18" y="434"/>
                </a:cxn>
                <a:cxn ang="0">
                  <a:pos x="2" y="436"/>
                </a:cxn>
                <a:cxn ang="0">
                  <a:pos x="10" y="410"/>
                </a:cxn>
                <a:cxn ang="0">
                  <a:pos x="20" y="376"/>
                </a:cxn>
                <a:cxn ang="0">
                  <a:pos x="48" y="342"/>
                </a:cxn>
                <a:cxn ang="0">
                  <a:pos x="68" y="318"/>
                </a:cxn>
                <a:cxn ang="0">
                  <a:pos x="104" y="316"/>
                </a:cxn>
                <a:cxn ang="0">
                  <a:pos x="124" y="318"/>
                </a:cxn>
                <a:cxn ang="0">
                  <a:pos x="132" y="334"/>
                </a:cxn>
                <a:cxn ang="0">
                  <a:pos x="152" y="330"/>
                </a:cxn>
                <a:cxn ang="0">
                  <a:pos x="164" y="310"/>
                </a:cxn>
                <a:cxn ang="0">
                  <a:pos x="176" y="286"/>
                </a:cxn>
                <a:cxn ang="0">
                  <a:pos x="186" y="266"/>
                </a:cxn>
                <a:cxn ang="0">
                  <a:pos x="194" y="248"/>
                </a:cxn>
                <a:cxn ang="0">
                  <a:pos x="200" y="236"/>
                </a:cxn>
                <a:cxn ang="0">
                  <a:pos x="216" y="226"/>
                </a:cxn>
                <a:cxn ang="0">
                  <a:pos x="234" y="182"/>
                </a:cxn>
                <a:cxn ang="0">
                  <a:pos x="244" y="154"/>
                </a:cxn>
                <a:cxn ang="0">
                  <a:pos x="260" y="126"/>
                </a:cxn>
                <a:cxn ang="0">
                  <a:pos x="272" y="110"/>
                </a:cxn>
                <a:cxn ang="0">
                  <a:pos x="296" y="92"/>
                </a:cxn>
                <a:cxn ang="0">
                  <a:pos x="314" y="72"/>
                </a:cxn>
                <a:cxn ang="0">
                  <a:pos x="310" y="38"/>
                </a:cxn>
                <a:cxn ang="0">
                  <a:pos x="290" y="6"/>
                </a:cxn>
                <a:cxn ang="0">
                  <a:pos x="314" y="18"/>
                </a:cxn>
                <a:cxn ang="0">
                  <a:pos x="334" y="50"/>
                </a:cxn>
                <a:cxn ang="0">
                  <a:pos x="334" y="100"/>
                </a:cxn>
                <a:cxn ang="0">
                  <a:pos x="342" y="132"/>
                </a:cxn>
                <a:cxn ang="0">
                  <a:pos x="360" y="160"/>
                </a:cxn>
                <a:cxn ang="0">
                  <a:pos x="330" y="160"/>
                </a:cxn>
                <a:cxn ang="0">
                  <a:pos x="288" y="168"/>
                </a:cxn>
                <a:cxn ang="0">
                  <a:pos x="314" y="210"/>
                </a:cxn>
                <a:cxn ang="0">
                  <a:pos x="352" y="254"/>
                </a:cxn>
                <a:cxn ang="0">
                  <a:pos x="362" y="280"/>
                </a:cxn>
                <a:cxn ang="0">
                  <a:pos x="340" y="310"/>
                </a:cxn>
                <a:cxn ang="0">
                  <a:pos x="322" y="346"/>
                </a:cxn>
                <a:cxn ang="0">
                  <a:pos x="310" y="366"/>
                </a:cxn>
                <a:cxn ang="0">
                  <a:pos x="308" y="400"/>
                </a:cxn>
                <a:cxn ang="0">
                  <a:pos x="316" y="420"/>
                </a:cxn>
                <a:cxn ang="0">
                  <a:pos x="334" y="450"/>
                </a:cxn>
                <a:cxn ang="0">
                  <a:pos x="338" y="474"/>
                </a:cxn>
                <a:cxn ang="0">
                  <a:pos x="378" y="512"/>
                </a:cxn>
                <a:cxn ang="0">
                  <a:pos x="388" y="550"/>
                </a:cxn>
                <a:cxn ang="0">
                  <a:pos x="388" y="578"/>
                </a:cxn>
                <a:cxn ang="0">
                  <a:pos x="356" y="570"/>
                </a:cxn>
                <a:cxn ang="0">
                  <a:pos x="324" y="568"/>
                </a:cxn>
                <a:cxn ang="0">
                  <a:pos x="262" y="558"/>
                </a:cxn>
                <a:cxn ang="0">
                  <a:pos x="222" y="554"/>
                </a:cxn>
                <a:cxn ang="0">
                  <a:pos x="164" y="552"/>
                </a:cxn>
                <a:cxn ang="0">
                  <a:pos x="102" y="556"/>
                </a:cxn>
                <a:cxn ang="0">
                  <a:pos x="74" y="556"/>
                </a:cxn>
                <a:cxn ang="0">
                  <a:pos x="64" y="540"/>
                </a:cxn>
                <a:cxn ang="0">
                  <a:pos x="72" y="506"/>
                </a:cxn>
                <a:cxn ang="0">
                  <a:pos x="62" y="484"/>
                </a:cxn>
                <a:cxn ang="0">
                  <a:pos x="60" y="468"/>
                </a:cxn>
                <a:cxn ang="0">
                  <a:pos x="46" y="468"/>
                </a:cxn>
              </a:cxnLst>
              <a:rect l="0" t="0" r="r" b="b"/>
              <a:pathLst>
                <a:path w="392" h="586">
                  <a:moveTo>
                    <a:pt x="40" y="466"/>
                  </a:moveTo>
                  <a:lnTo>
                    <a:pt x="36" y="462"/>
                  </a:lnTo>
                  <a:lnTo>
                    <a:pt x="30" y="460"/>
                  </a:lnTo>
                  <a:lnTo>
                    <a:pt x="26" y="458"/>
                  </a:lnTo>
                  <a:lnTo>
                    <a:pt x="24" y="456"/>
                  </a:lnTo>
                  <a:lnTo>
                    <a:pt x="24" y="454"/>
                  </a:lnTo>
                  <a:lnTo>
                    <a:pt x="24" y="450"/>
                  </a:lnTo>
                  <a:lnTo>
                    <a:pt x="22" y="448"/>
                  </a:lnTo>
                  <a:lnTo>
                    <a:pt x="20" y="446"/>
                  </a:lnTo>
                  <a:lnTo>
                    <a:pt x="20" y="442"/>
                  </a:lnTo>
                  <a:lnTo>
                    <a:pt x="20" y="438"/>
                  </a:lnTo>
                  <a:lnTo>
                    <a:pt x="20" y="436"/>
                  </a:lnTo>
                  <a:lnTo>
                    <a:pt x="22" y="434"/>
                  </a:lnTo>
                  <a:lnTo>
                    <a:pt x="20" y="432"/>
                  </a:lnTo>
                  <a:lnTo>
                    <a:pt x="16" y="428"/>
                  </a:lnTo>
                  <a:lnTo>
                    <a:pt x="16" y="430"/>
                  </a:lnTo>
                  <a:lnTo>
                    <a:pt x="18" y="432"/>
                  </a:lnTo>
                  <a:lnTo>
                    <a:pt x="18" y="434"/>
                  </a:lnTo>
                  <a:lnTo>
                    <a:pt x="14" y="434"/>
                  </a:lnTo>
                  <a:lnTo>
                    <a:pt x="10" y="432"/>
                  </a:lnTo>
                  <a:lnTo>
                    <a:pt x="8" y="426"/>
                  </a:lnTo>
                  <a:lnTo>
                    <a:pt x="8" y="428"/>
                  </a:lnTo>
                  <a:lnTo>
                    <a:pt x="8" y="432"/>
                  </a:lnTo>
                  <a:lnTo>
                    <a:pt x="8" y="434"/>
                  </a:lnTo>
                  <a:lnTo>
                    <a:pt x="10" y="434"/>
                  </a:lnTo>
                  <a:lnTo>
                    <a:pt x="10" y="436"/>
                  </a:lnTo>
                  <a:lnTo>
                    <a:pt x="2" y="436"/>
                  </a:lnTo>
                  <a:lnTo>
                    <a:pt x="0" y="434"/>
                  </a:lnTo>
                  <a:lnTo>
                    <a:pt x="0" y="432"/>
                  </a:lnTo>
                  <a:lnTo>
                    <a:pt x="0" y="428"/>
                  </a:lnTo>
                  <a:lnTo>
                    <a:pt x="0" y="426"/>
                  </a:lnTo>
                  <a:lnTo>
                    <a:pt x="4" y="420"/>
                  </a:lnTo>
                  <a:lnTo>
                    <a:pt x="6" y="418"/>
                  </a:lnTo>
                  <a:lnTo>
                    <a:pt x="6" y="416"/>
                  </a:lnTo>
                  <a:lnTo>
                    <a:pt x="8" y="412"/>
                  </a:lnTo>
                  <a:lnTo>
                    <a:pt x="10" y="410"/>
                  </a:lnTo>
                  <a:lnTo>
                    <a:pt x="16" y="402"/>
                  </a:lnTo>
                  <a:lnTo>
                    <a:pt x="16" y="400"/>
                  </a:lnTo>
                  <a:lnTo>
                    <a:pt x="16" y="394"/>
                  </a:lnTo>
                  <a:lnTo>
                    <a:pt x="16" y="390"/>
                  </a:lnTo>
                  <a:lnTo>
                    <a:pt x="18" y="384"/>
                  </a:lnTo>
                  <a:lnTo>
                    <a:pt x="20" y="382"/>
                  </a:lnTo>
                  <a:lnTo>
                    <a:pt x="22" y="380"/>
                  </a:lnTo>
                  <a:lnTo>
                    <a:pt x="20" y="378"/>
                  </a:lnTo>
                  <a:lnTo>
                    <a:pt x="20" y="376"/>
                  </a:lnTo>
                  <a:lnTo>
                    <a:pt x="18" y="372"/>
                  </a:lnTo>
                  <a:lnTo>
                    <a:pt x="18" y="368"/>
                  </a:lnTo>
                  <a:lnTo>
                    <a:pt x="22" y="364"/>
                  </a:lnTo>
                  <a:lnTo>
                    <a:pt x="24" y="364"/>
                  </a:lnTo>
                  <a:lnTo>
                    <a:pt x="30" y="358"/>
                  </a:lnTo>
                  <a:lnTo>
                    <a:pt x="38" y="350"/>
                  </a:lnTo>
                  <a:lnTo>
                    <a:pt x="44" y="344"/>
                  </a:lnTo>
                  <a:lnTo>
                    <a:pt x="46" y="342"/>
                  </a:lnTo>
                  <a:lnTo>
                    <a:pt x="48" y="342"/>
                  </a:lnTo>
                  <a:lnTo>
                    <a:pt x="50" y="340"/>
                  </a:lnTo>
                  <a:lnTo>
                    <a:pt x="50" y="338"/>
                  </a:lnTo>
                  <a:lnTo>
                    <a:pt x="52" y="338"/>
                  </a:lnTo>
                  <a:lnTo>
                    <a:pt x="56" y="334"/>
                  </a:lnTo>
                  <a:lnTo>
                    <a:pt x="60" y="332"/>
                  </a:lnTo>
                  <a:lnTo>
                    <a:pt x="62" y="332"/>
                  </a:lnTo>
                  <a:lnTo>
                    <a:pt x="64" y="328"/>
                  </a:lnTo>
                  <a:lnTo>
                    <a:pt x="66" y="320"/>
                  </a:lnTo>
                  <a:lnTo>
                    <a:pt x="68" y="318"/>
                  </a:lnTo>
                  <a:lnTo>
                    <a:pt x="72" y="320"/>
                  </a:lnTo>
                  <a:lnTo>
                    <a:pt x="82" y="310"/>
                  </a:lnTo>
                  <a:lnTo>
                    <a:pt x="86" y="308"/>
                  </a:lnTo>
                  <a:lnTo>
                    <a:pt x="88" y="310"/>
                  </a:lnTo>
                  <a:lnTo>
                    <a:pt x="88" y="312"/>
                  </a:lnTo>
                  <a:lnTo>
                    <a:pt x="88" y="314"/>
                  </a:lnTo>
                  <a:lnTo>
                    <a:pt x="90" y="314"/>
                  </a:lnTo>
                  <a:lnTo>
                    <a:pt x="92" y="316"/>
                  </a:lnTo>
                  <a:lnTo>
                    <a:pt x="104" y="316"/>
                  </a:lnTo>
                  <a:lnTo>
                    <a:pt x="106" y="308"/>
                  </a:lnTo>
                  <a:lnTo>
                    <a:pt x="110" y="306"/>
                  </a:lnTo>
                  <a:lnTo>
                    <a:pt x="114" y="308"/>
                  </a:lnTo>
                  <a:lnTo>
                    <a:pt x="120" y="310"/>
                  </a:lnTo>
                  <a:lnTo>
                    <a:pt x="120" y="312"/>
                  </a:lnTo>
                  <a:lnTo>
                    <a:pt x="122" y="312"/>
                  </a:lnTo>
                  <a:lnTo>
                    <a:pt x="122" y="316"/>
                  </a:lnTo>
                  <a:lnTo>
                    <a:pt x="122" y="318"/>
                  </a:lnTo>
                  <a:lnTo>
                    <a:pt x="124" y="318"/>
                  </a:lnTo>
                  <a:lnTo>
                    <a:pt x="124" y="320"/>
                  </a:lnTo>
                  <a:lnTo>
                    <a:pt x="126" y="320"/>
                  </a:lnTo>
                  <a:lnTo>
                    <a:pt x="128" y="320"/>
                  </a:lnTo>
                  <a:lnTo>
                    <a:pt x="130" y="322"/>
                  </a:lnTo>
                  <a:lnTo>
                    <a:pt x="132" y="324"/>
                  </a:lnTo>
                  <a:lnTo>
                    <a:pt x="132" y="326"/>
                  </a:lnTo>
                  <a:lnTo>
                    <a:pt x="132" y="328"/>
                  </a:lnTo>
                  <a:lnTo>
                    <a:pt x="132" y="330"/>
                  </a:lnTo>
                  <a:lnTo>
                    <a:pt x="132" y="334"/>
                  </a:lnTo>
                  <a:lnTo>
                    <a:pt x="134" y="334"/>
                  </a:lnTo>
                  <a:lnTo>
                    <a:pt x="134" y="338"/>
                  </a:lnTo>
                  <a:lnTo>
                    <a:pt x="138" y="338"/>
                  </a:lnTo>
                  <a:lnTo>
                    <a:pt x="142" y="338"/>
                  </a:lnTo>
                  <a:lnTo>
                    <a:pt x="146" y="338"/>
                  </a:lnTo>
                  <a:lnTo>
                    <a:pt x="148" y="336"/>
                  </a:lnTo>
                  <a:lnTo>
                    <a:pt x="148" y="334"/>
                  </a:lnTo>
                  <a:lnTo>
                    <a:pt x="150" y="330"/>
                  </a:lnTo>
                  <a:lnTo>
                    <a:pt x="152" y="330"/>
                  </a:lnTo>
                  <a:lnTo>
                    <a:pt x="154" y="330"/>
                  </a:lnTo>
                  <a:lnTo>
                    <a:pt x="158" y="328"/>
                  </a:lnTo>
                  <a:lnTo>
                    <a:pt x="158" y="324"/>
                  </a:lnTo>
                  <a:lnTo>
                    <a:pt x="158" y="322"/>
                  </a:lnTo>
                  <a:lnTo>
                    <a:pt x="158" y="320"/>
                  </a:lnTo>
                  <a:lnTo>
                    <a:pt x="158" y="318"/>
                  </a:lnTo>
                  <a:lnTo>
                    <a:pt x="158" y="316"/>
                  </a:lnTo>
                  <a:lnTo>
                    <a:pt x="160" y="312"/>
                  </a:lnTo>
                  <a:lnTo>
                    <a:pt x="164" y="310"/>
                  </a:lnTo>
                  <a:lnTo>
                    <a:pt x="168" y="310"/>
                  </a:lnTo>
                  <a:lnTo>
                    <a:pt x="172" y="306"/>
                  </a:lnTo>
                  <a:lnTo>
                    <a:pt x="174" y="304"/>
                  </a:lnTo>
                  <a:lnTo>
                    <a:pt x="168" y="296"/>
                  </a:lnTo>
                  <a:lnTo>
                    <a:pt x="168" y="294"/>
                  </a:lnTo>
                  <a:lnTo>
                    <a:pt x="172" y="290"/>
                  </a:lnTo>
                  <a:lnTo>
                    <a:pt x="172" y="288"/>
                  </a:lnTo>
                  <a:lnTo>
                    <a:pt x="174" y="288"/>
                  </a:lnTo>
                  <a:lnTo>
                    <a:pt x="176" y="286"/>
                  </a:lnTo>
                  <a:lnTo>
                    <a:pt x="182" y="280"/>
                  </a:lnTo>
                  <a:lnTo>
                    <a:pt x="182" y="278"/>
                  </a:lnTo>
                  <a:lnTo>
                    <a:pt x="180" y="276"/>
                  </a:lnTo>
                  <a:lnTo>
                    <a:pt x="180" y="274"/>
                  </a:lnTo>
                  <a:lnTo>
                    <a:pt x="182" y="274"/>
                  </a:lnTo>
                  <a:lnTo>
                    <a:pt x="182" y="272"/>
                  </a:lnTo>
                  <a:lnTo>
                    <a:pt x="184" y="270"/>
                  </a:lnTo>
                  <a:lnTo>
                    <a:pt x="184" y="268"/>
                  </a:lnTo>
                  <a:lnTo>
                    <a:pt x="186" y="266"/>
                  </a:lnTo>
                  <a:lnTo>
                    <a:pt x="188" y="264"/>
                  </a:lnTo>
                  <a:lnTo>
                    <a:pt x="190" y="262"/>
                  </a:lnTo>
                  <a:lnTo>
                    <a:pt x="190" y="258"/>
                  </a:lnTo>
                  <a:lnTo>
                    <a:pt x="190" y="256"/>
                  </a:lnTo>
                  <a:lnTo>
                    <a:pt x="190" y="254"/>
                  </a:lnTo>
                  <a:lnTo>
                    <a:pt x="190" y="252"/>
                  </a:lnTo>
                  <a:lnTo>
                    <a:pt x="192" y="252"/>
                  </a:lnTo>
                  <a:lnTo>
                    <a:pt x="192" y="250"/>
                  </a:lnTo>
                  <a:lnTo>
                    <a:pt x="194" y="248"/>
                  </a:lnTo>
                  <a:lnTo>
                    <a:pt x="194" y="246"/>
                  </a:lnTo>
                  <a:lnTo>
                    <a:pt x="192" y="244"/>
                  </a:lnTo>
                  <a:lnTo>
                    <a:pt x="192" y="242"/>
                  </a:lnTo>
                  <a:lnTo>
                    <a:pt x="192" y="240"/>
                  </a:lnTo>
                  <a:lnTo>
                    <a:pt x="192" y="238"/>
                  </a:lnTo>
                  <a:lnTo>
                    <a:pt x="194" y="238"/>
                  </a:lnTo>
                  <a:lnTo>
                    <a:pt x="196" y="236"/>
                  </a:lnTo>
                  <a:lnTo>
                    <a:pt x="198" y="238"/>
                  </a:lnTo>
                  <a:lnTo>
                    <a:pt x="200" y="236"/>
                  </a:lnTo>
                  <a:lnTo>
                    <a:pt x="202" y="232"/>
                  </a:lnTo>
                  <a:lnTo>
                    <a:pt x="202" y="230"/>
                  </a:lnTo>
                  <a:lnTo>
                    <a:pt x="200" y="230"/>
                  </a:lnTo>
                  <a:lnTo>
                    <a:pt x="200" y="228"/>
                  </a:lnTo>
                  <a:lnTo>
                    <a:pt x="204" y="226"/>
                  </a:lnTo>
                  <a:lnTo>
                    <a:pt x="206" y="226"/>
                  </a:lnTo>
                  <a:lnTo>
                    <a:pt x="208" y="228"/>
                  </a:lnTo>
                  <a:lnTo>
                    <a:pt x="212" y="226"/>
                  </a:lnTo>
                  <a:lnTo>
                    <a:pt x="216" y="226"/>
                  </a:lnTo>
                  <a:lnTo>
                    <a:pt x="222" y="220"/>
                  </a:lnTo>
                  <a:lnTo>
                    <a:pt x="222" y="218"/>
                  </a:lnTo>
                  <a:lnTo>
                    <a:pt x="222" y="216"/>
                  </a:lnTo>
                  <a:lnTo>
                    <a:pt x="224" y="208"/>
                  </a:lnTo>
                  <a:lnTo>
                    <a:pt x="224" y="206"/>
                  </a:lnTo>
                  <a:lnTo>
                    <a:pt x="224" y="204"/>
                  </a:lnTo>
                  <a:lnTo>
                    <a:pt x="226" y="190"/>
                  </a:lnTo>
                  <a:lnTo>
                    <a:pt x="230" y="184"/>
                  </a:lnTo>
                  <a:lnTo>
                    <a:pt x="234" y="182"/>
                  </a:lnTo>
                  <a:lnTo>
                    <a:pt x="236" y="182"/>
                  </a:lnTo>
                  <a:lnTo>
                    <a:pt x="240" y="182"/>
                  </a:lnTo>
                  <a:lnTo>
                    <a:pt x="242" y="180"/>
                  </a:lnTo>
                  <a:lnTo>
                    <a:pt x="244" y="180"/>
                  </a:lnTo>
                  <a:lnTo>
                    <a:pt x="244" y="178"/>
                  </a:lnTo>
                  <a:lnTo>
                    <a:pt x="244" y="170"/>
                  </a:lnTo>
                  <a:lnTo>
                    <a:pt x="244" y="164"/>
                  </a:lnTo>
                  <a:lnTo>
                    <a:pt x="244" y="162"/>
                  </a:lnTo>
                  <a:lnTo>
                    <a:pt x="244" y="154"/>
                  </a:lnTo>
                  <a:lnTo>
                    <a:pt x="246" y="152"/>
                  </a:lnTo>
                  <a:lnTo>
                    <a:pt x="248" y="152"/>
                  </a:lnTo>
                  <a:lnTo>
                    <a:pt x="252" y="152"/>
                  </a:lnTo>
                  <a:lnTo>
                    <a:pt x="254" y="152"/>
                  </a:lnTo>
                  <a:lnTo>
                    <a:pt x="256" y="148"/>
                  </a:lnTo>
                  <a:lnTo>
                    <a:pt x="256" y="146"/>
                  </a:lnTo>
                  <a:lnTo>
                    <a:pt x="256" y="144"/>
                  </a:lnTo>
                  <a:lnTo>
                    <a:pt x="258" y="132"/>
                  </a:lnTo>
                  <a:lnTo>
                    <a:pt x="260" y="126"/>
                  </a:lnTo>
                  <a:lnTo>
                    <a:pt x="262" y="124"/>
                  </a:lnTo>
                  <a:lnTo>
                    <a:pt x="262" y="122"/>
                  </a:lnTo>
                  <a:lnTo>
                    <a:pt x="264" y="122"/>
                  </a:lnTo>
                  <a:lnTo>
                    <a:pt x="264" y="120"/>
                  </a:lnTo>
                  <a:lnTo>
                    <a:pt x="266" y="118"/>
                  </a:lnTo>
                  <a:lnTo>
                    <a:pt x="266" y="116"/>
                  </a:lnTo>
                  <a:lnTo>
                    <a:pt x="268" y="114"/>
                  </a:lnTo>
                  <a:lnTo>
                    <a:pt x="270" y="112"/>
                  </a:lnTo>
                  <a:lnTo>
                    <a:pt x="272" y="110"/>
                  </a:lnTo>
                  <a:lnTo>
                    <a:pt x="272" y="108"/>
                  </a:lnTo>
                  <a:lnTo>
                    <a:pt x="274" y="102"/>
                  </a:lnTo>
                  <a:lnTo>
                    <a:pt x="278" y="98"/>
                  </a:lnTo>
                  <a:lnTo>
                    <a:pt x="284" y="92"/>
                  </a:lnTo>
                  <a:lnTo>
                    <a:pt x="288" y="92"/>
                  </a:lnTo>
                  <a:lnTo>
                    <a:pt x="290" y="94"/>
                  </a:lnTo>
                  <a:lnTo>
                    <a:pt x="292" y="94"/>
                  </a:lnTo>
                  <a:lnTo>
                    <a:pt x="294" y="94"/>
                  </a:lnTo>
                  <a:lnTo>
                    <a:pt x="296" y="92"/>
                  </a:lnTo>
                  <a:lnTo>
                    <a:pt x="300" y="88"/>
                  </a:lnTo>
                  <a:lnTo>
                    <a:pt x="302" y="88"/>
                  </a:lnTo>
                  <a:lnTo>
                    <a:pt x="304" y="86"/>
                  </a:lnTo>
                  <a:lnTo>
                    <a:pt x="306" y="86"/>
                  </a:lnTo>
                  <a:lnTo>
                    <a:pt x="308" y="86"/>
                  </a:lnTo>
                  <a:lnTo>
                    <a:pt x="316" y="80"/>
                  </a:lnTo>
                  <a:lnTo>
                    <a:pt x="316" y="78"/>
                  </a:lnTo>
                  <a:lnTo>
                    <a:pt x="316" y="74"/>
                  </a:lnTo>
                  <a:lnTo>
                    <a:pt x="314" y="72"/>
                  </a:lnTo>
                  <a:lnTo>
                    <a:pt x="314" y="68"/>
                  </a:lnTo>
                  <a:lnTo>
                    <a:pt x="316" y="64"/>
                  </a:lnTo>
                  <a:lnTo>
                    <a:pt x="316" y="60"/>
                  </a:lnTo>
                  <a:lnTo>
                    <a:pt x="316" y="56"/>
                  </a:lnTo>
                  <a:lnTo>
                    <a:pt x="316" y="54"/>
                  </a:lnTo>
                  <a:lnTo>
                    <a:pt x="318" y="48"/>
                  </a:lnTo>
                  <a:lnTo>
                    <a:pt x="318" y="46"/>
                  </a:lnTo>
                  <a:lnTo>
                    <a:pt x="312" y="42"/>
                  </a:lnTo>
                  <a:lnTo>
                    <a:pt x="310" y="38"/>
                  </a:lnTo>
                  <a:lnTo>
                    <a:pt x="308" y="38"/>
                  </a:lnTo>
                  <a:lnTo>
                    <a:pt x="306" y="38"/>
                  </a:lnTo>
                  <a:lnTo>
                    <a:pt x="304" y="36"/>
                  </a:lnTo>
                  <a:lnTo>
                    <a:pt x="300" y="36"/>
                  </a:lnTo>
                  <a:lnTo>
                    <a:pt x="298" y="36"/>
                  </a:lnTo>
                  <a:lnTo>
                    <a:pt x="294" y="34"/>
                  </a:lnTo>
                  <a:lnTo>
                    <a:pt x="296" y="30"/>
                  </a:lnTo>
                  <a:lnTo>
                    <a:pt x="294" y="24"/>
                  </a:lnTo>
                  <a:lnTo>
                    <a:pt x="290" y="6"/>
                  </a:lnTo>
                  <a:lnTo>
                    <a:pt x="290" y="0"/>
                  </a:lnTo>
                  <a:lnTo>
                    <a:pt x="294" y="0"/>
                  </a:lnTo>
                  <a:lnTo>
                    <a:pt x="308" y="0"/>
                  </a:lnTo>
                  <a:lnTo>
                    <a:pt x="310" y="2"/>
                  </a:lnTo>
                  <a:lnTo>
                    <a:pt x="310" y="4"/>
                  </a:lnTo>
                  <a:lnTo>
                    <a:pt x="312" y="6"/>
                  </a:lnTo>
                  <a:lnTo>
                    <a:pt x="312" y="12"/>
                  </a:lnTo>
                  <a:lnTo>
                    <a:pt x="312" y="16"/>
                  </a:lnTo>
                  <a:lnTo>
                    <a:pt x="314" y="18"/>
                  </a:lnTo>
                  <a:lnTo>
                    <a:pt x="316" y="18"/>
                  </a:lnTo>
                  <a:lnTo>
                    <a:pt x="320" y="18"/>
                  </a:lnTo>
                  <a:lnTo>
                    <a:pt x="326" y="24"/>
                  </a:lnTo>
                  <a:lnTo>
                    <a:pt x="330" y="36"/>
                  </a:lnTo>
                  <a:lnTo>
                    <a:pt x="330" y="38"/>
                  </a:lnTo>
                  <a:lnTo>
                    <a:pt x="330" y="44"/>
                  </a:lnTo>
                  <a:lnTo>
                    <a:pt x="330" y="48"/>
                  </a:lnTo>
                  <a:lnTo>
                    <a:pt x="332" y="50"/>
                  </a:lnTo>
                  <a:lnTo>
                    <a:pt x="334" y="50"/>
                  </a:lnTo>
                  <a:lnTo>
                    <a:pt x="336" y="52"/>
                  </a:lnTo>
                  <a:lnTo>
                    <a:pt x="338" y="68"/>
                  </a:lnTo>
                  <a:lnTo>
                    <a:pt x="338" y="72"/>
                  </a:lnTo>
                  <a:lnTo>
                    <a:pt x="340" y="78"/>
                  </a:lnTo>
                  <a:lnTo>
                    <a:pt x="340" y="82"/>
                  </a:lnTo>
                  <a:lnTo>
                    <a:pt x="338" y="84"/>
                  </a:lnTo>
                  <a:lnTo>
                    <a:pt x="336" y="86"/>
                  </a:lnTo>
                  <a:lnTo>
                    <a:pt x="334" y="96"/>
                  </a:lnTo>
                  <a:lnTo>
                    <a:pt x="334" y="100"/>
                  </a:lnTo>
                  <a:lnTo>
                    <a:pt x="336" y="102"/>
                  </a:lnTo>
                  <a:lnTo>
                    <a:pt x="338" y="112"/>
                  </a:lnTo>
                  <a:lnTo>
                    <a:pt x="338" y="114"/>
                  </a:lnTo>
                  <a:lnTo>
                    <a:pt x="336" y="116"/>
                  </a:lnTo>
                  <a:lnTo>
                    <a:pt x="338" y="120"/>
                  </a:lnTo>
                  <a:lnTo>
                    <a:pt x="340" y="122"/>
                  </a:lnTo>
                  <a:lnTo>
                    <a:pt x="342" y="124"/>
                  </a:lnTo>
                  <a:lnTo>
                    <a:pt x="342" y="126"/>
                  </a:lnTo>
                  <a:lnTo>
                    <a:pt x="342" y="132"/>
                  </a:lnTo>
                  <a:lnTo>
                    <a:pt x="348" y="138"/>
                  </a:lnTo>
                  <a:lnTo>
                    <a:pt x="352" y="146"/>
                  </a:lnTo>
                  <a:lnTo>
                    <a:pt x="358" y="154"/>
                  </a:lnTo>
                  <a:lnTo>
                    <a:pt x="360" y="154"/>
                  </a:lnTo>
                  <a:lnTo>
                    <a:pt x="364" y="156"/>
                  </a:lnTo>
                  <a:lnTo>
                    <a:pt x="366" y="158"/>
                  </a:lnTo>
                  <a:lnTo>
                    <a:pt x="368" y="158"/>
                  </a:lnTo>
                  <a:lnTo>
                    <a:pt x="364" y="160"/>
                  </a:lnTo>
                  <a:lnTo>
                    <a:pt x="360" y="160"/>
                  </a:lnTo>
                  <a:lnTo>
                    <a:pt x="354" y="162"/>
                  </a:lnTo>
                  <a:lnTo>
                    <a:pt x="348" y="160"/>
                  </a:lnTo>
                  <a:lnTo>
                    <a:pt x="346" y="158"/>
                  </a:lnTo>
                  <a:lnTo>
                    <a:pt x="342" y="158"/>
                  </a:lnTo>
                  <a:lnTo>
                    <a:pt x="340" y="158"/>
                  </a:lnTo>
                  <a:lnTo>
                    <a:pt x="338" y="160"/>
                  </a:lnTo>
                  <a:lnTo>
                    <a:pt x="336" y="160"/>
                  </a:lnTo>
                  <a:lnTo>
                    <a:pt x="334" y="160"/>
                  </a:lnTo>
                  <a:lnTo>
                    <a:pt x="330" y="160"/>
                  </a:lnTo>
                  <a:lnTo>
                    <a:pt x="322" y="162"/>
                  </a:lnTo>
                  <a:lnTo>
                    <a:pt x="316" y="160"/>
                  </a:lnTo>
                  <a:lnTo>
                    <a:pt x="308" y="158"/>
                  </a:lnTo>
                  <a:lnTo>
                    <a:pt x="306" y="158"/>
                  </a:lnTo>
                  <a:lnTo>
                    <a:pt x="292" y="158"/>
                  </a:lnTo>
                  <a:lnTo>
                    <a:pt x="292" y="160"/>
                  </a:lnTo>
                  <a:lnTo>
                    <a:pt x="290" y="164"/>
                  </a:lnTo>
                  <a:lnTo>
                    <a:pt x="288" y="166"/>
                  </a:lnTo>
                  <a:lnTo>
                    <a:pt x="288" y="168"/>
                  </a:lnTo>
                  <a:lnTo>
                    <a:pt x="286" y="168"/>
                  </a:lnTo>
                  <a:lnTo>
                    <a:pt x="284" y="170"/>
                  </a:lnTo>
                  <a:lnTo>
                    <a:pt x="284" y="172"/>
                  </a:lnTo>
                  <a:lnTo>
                    <a:pt x="280" y="176"/>
                  </a:lnTo>
                  <a:lnTo>
                    <a:pt x="284" y="176"/>
                  </a:lnTo>
                  <a:lnTo>
                    <a:pt x="298" y="196"/>
                  </a:lnTo>
                  <a:lnTo>
                    <a:pt x="300" y="198"/>
                  </a:lnTo>
                  <a:lnTo>
                    <a:pt x="310" y="208"/>
                  </a:lnTo>
                  <a:lnTo>
                    <a:pt x="314" y="210"/>
                  </a:lnTo>
                  <a:lnTo>
                    <a:pt x="324" y="218"/>
                  </a:lnTo>
                  <a:lnTo>
                    <a:pt x="326" y="218"/>
                  </a:lnTo>
                  <a:lnTo>
                    <a:pt x="328" y="220"/>
                  </a:lnTo>
                  <a:lnTo>
                    <a:pt x="336" y="228"/>
                  </a:lnTo>
                  <a:lnTo>
                    <a:pt x="342" y="236"/>
                  </a:lnTo>
                  <a:lnTo>
                    <a:pt x="344" y="238"/>
                  </a:lnTo>
                  <a:lnTo>
                    <a:pt x="346" y="242"/>
                  </a:lnTo>
                  <a:lnTo>
                    <a:pt x="350" y="252"/>
                  </a:lnTo>
                  <a:lnTo>
                    <a:pt x="352" y="254"/>
                  </a:lnTo>
                  <a:lnTo>
                    <a:pt x="352" y="256"/>
                  </a:lnTo>
                  <a:lnTo>
                    <a:pt x="352" y="258"/>
                  </a:lnTo>
                  <a:lnTo>
                    <a:pt x="354" y="264"/>
                  </a:lnTo>
                  <a:lnTo>
                    <a:pt x="354" y="266"/>
                  </a:lnTo>
                  <a:lnTo>
                    <a:pt x="356" y="270"/>
                  </a:lnTo>
                  <a:lnTo>
                    <a:pt x="358" y="272"/>
                  </a:lnTo>
                  <a:lnTo>
                    <a:pt x="362" y="274"/>
                  </a:lnTo>
                  <a:lnTo>
                    <a:pt x="362" y="276"/>
                  </a:lnTo>
                  <a:lnTo>
                    <a:pt x="362" y="280"/>
                  </a:lnTo>
                  <a:lnTo>
                    <a:pt x="360" y="282"/>
                  </a:lnTo>
                  <a:lnTo>
                    <a:pt x="358" y="284"/>
                  </a:lnTo>
                  <a:lnTo>
                    <a:pt x="354" y="292"/>
                  </a:lnTo>
                  <a:lnTo>
                    <a:pt x="352" y="294"/>
                  </a:lnTo>
                  <a:lnTo>
                    <a:pt x="346" y="296"/>
                  </a:lnTo>
                  <a:lnTo>
                    <a:pt x="344" y="298"/>
                  </a:lnTo>
                  <a:lnTo>
                    <a:pt x="344" y="300"/>
                  </a:lnTo>
                  <a:lnTo>
                    <a:pt x="342" y="302"/>
                  </a:lnTo>
                  <a:lnTo>
                    <a:pt x="340" y="310"/>
                  </a:lnTo>
                  <a:lnTo>
                    <a:pt x="338" y="312"/>
                  </a:lnTo>
                  <a:lnTo>
                    <a:pt x="338" y="314"/>
                  </a:lnTo>
                  <a:lnTo>
                    <a:pt x="334" y="324"/>
                  </a:lnTo>
                  <a:lnTo>
                    <a:pt x="332" y="326"/>
                  </a:lnTo>
                  <a:lnTo>
                    <a:pt x="330" y="326"/>
                  </a:lnTo>
                  <a:lnTo>
                    <a:pt x="328" y="328"/>
                  </a:lnTo>
                  <a:lnTo>
                    <a:pt x="322" y="340"/>
                  </a:lnTo>
                  <a:lnTo>
                    <a:pt x="320" y="342"/>
                  </a:lnTo>
                  <a:lnTo>
                    <a:pt x="322" y="346"/>
                  </a:lnTo>
                  <a:lnTo>
                    <a:pt x="318" y="350"/>
                  </a:lnTo>
                  <a:lnTo>
                    <a:pt x="310" y="352"/>
                  </a:lnTo>
                  <a:lnTo>
                    <a:pt x="304" y="358"/>
                  </a:lnTo>
                  <a:lnTo>
                    <a:pt x="302" y="358"/>
                  </a:lnTo>
                  <a:lnTo>
                    <a:pt x="302" y="360"/>
                  </a:lnTo>
                  <a:lnTo>
                    <a:pt x="302" y="362"/>
                  </a:lnTo>
                  <a:lnTo>
                    <a:pt x="306" y="366"/>
                  </a:lnTo>
                  <a:lnTo>
                    <a:pt x="308" y="368"/>
                  </a:lnTo>
                  <a:lnTo>
                    <a:pt x="310" y="366"/>
                  </a:lnTo>
                  <a:lnTo>
                    <a:pt x="312" y="368"/>
                  </a:lnTo>
                  <a:lnTo>
                    <a:pt x="312" y="372"/>
                  </a:lnTo>
                  <a:lnTo>
                    <a:pt x="312" y="376"/>
                  </a:lnTo>
                  <a:lnTo>
                    <a:pt x="312" y="388"/>
                  </a:lnTo>
                  <a:lnTo>
                    <a:pt x="310" y="394"/>
                  </a:lnTo>
                  <a:lnTo>
                    <a:pt x="310" y="396"/>
                  </a:lnTo>
                  <a:lnTo>
                    <a:pt x="308" y="396"/>
                  </a:lnTo>
                  <a:lnTo>
                    <a:pt x="308" y="398"/>
                  </a:lnTo>
                  <a:lnTo>
                    <a:pt x="308" y="400"/>
                  </a:lnTo>
                  <a:lnTo>
                    <a:pt x="310" y="402"/>
                  </a:lnTo>
                  <a:lnTo>
                    <a:pt x="312" y="402"/>
                  </a:lnTo>
                  <a:lnTo>
                    <a:pt x="312" y="404"/>
                  </a:lnTo>
                  <a:lnTo>
                    <a:pt x="314" y="404"/>
                  </a:lnTo>
                  <a:lnTo>
                    <a:pt x="314" y="408"/>
                  </a:lnTo>
                  <a:lnTo>
                    <a:pt x="314" y="412"/>
                  </a:lnTo>
                  <a:lnTo>
                    <a:pt x="314" y="414"/>
                  </a:lnTo>
                  <a:lnTo>
                    <a:pt x="316" y="414"/>
                  </a:lnTo>
                  <a:lnTo>
                    <a:pt x="316" y="420"/>
                  </a:lnTo>
                  <a:lnTo>
                    <a:pt x="316" y="424"/>
                  </a:lnTo>
                  <a:lnTo>
                    <a:pt x="316" y="428"/>
                  </a:lnTo>
                  <a:lnTo>
                    <a:pt x="316" y="432"/>
                  </a:lnTo>
                  <a:lnTo>
                    <a:pt x="318" y="434"/>
                  </a:lnTo>
                  <a:lnTo>
                    <a:pt x="320" y="438"/>
                  </a:lnTo>
                  <a:lnTo>
                    <a:pt x="326" y="440"/>
                  </a:lnTo>
                  <a:lnTo>
                    <a:pt x="328" y="442"/>
                  </a:lnTo>
                  <a:lnTo>
                    <a:pt x="332" y="444"/>
                  </a:lnTo>
                  <a:lnTo>
                    <a:pt x="334" y="450"/>
                  </a:lnTo>
                  <a:lnTo>
                    <a:pt x="336" y="452"/>
                  </a:lnTo>
                  <a:lnTo>
                    <a:pt x="336" y="454"/>
                  </a:lnTo>
                  <a:lnTo>
                    <a:pt x="336" y="458"/>
                  </a:lnTo>
                  <a:lnTo>
                    <a:pt x="338" y="462"/>
                  </a:lnTo>
                  <a:lnTo>
                    <a:pt x="332" y="464"/>
                  </a:lnTo>
                  <a:lnTo>
                    <a:pt x="334" y="468"/>
                  </a:lnTo>
                  <a:lnTo>
                    <a:pt x="334" y="470"/>
                  </a:lnTo>
                  <a:lnTo>
                    <a:pt x="336" y="472"/>
                  </a:lnTo>
                  <a:lnTo>
                    <a:pt x="338" y="474"/>
                  </a:lnTo>
                  <a:lnTo>
                    <a:pt x="342" y="480"/>
                  </a:lnTo>
                  <a:lnTo>
                    <a:pt x="344" y="482"/>
                  </a:lnTo>
                  <a:lnTo>
                    <a:pt x="346" y="484"/>
                  </a:lnTo>
                  <a:lnTo>
                    <a:pt x="360" y="500"/>
                  </a:lnTo>
                  <a:lnTo>
                    <a:pt x="370" y="510"/>
                  </a:lnTo>
                  <a:lnTo>
                    <a:pt x="372" y="512"/>
                  </a:lnTo>
                  <a:lnTo>
                    <a:pt x="374" y="512"/>
                  </a:lnTo>
                  <a:lnTo>
                    <a:pt x="376" y="512"/>
                  </a:lnTo>
                  <a:lnTo>
                    <a:pt x="378" y="512"/>
                  </a:lnTo>
                  <a:lnTo>
                    <a:pt x="386" y="520"/>
                  </a:lnTo>
                  <a:lnTo>
                    <a:pt x="386" y="522"/>
                  </a:lnTo>
                  <a:lnTo>
                    <a:pt x="386" y="524"/>
                  </a:lnTo>
                  <a:lnTo>
                    <a:pt x="386" y="526"/>
                  </a:lnTo>
                  <a:lnTo>
                    <a:pt x="386" y="528"/>
                  </a:lnTo>
                  <a:lnTo>
                    <a:pt x="386" y="540"/>
                  </a:lnTo>
                  <a:lnTo>
                    <a:pt x="386" y="542"/>
                  </a:lnTo>
                  <a:lnTo>
                    <a:pt x="386" y="546"/>
                  </a:lnTo>
                  <a:lnTo>
                    <a:pt x="388" y="550"/>
                  </a:lnTo>
                  <a:lnTo>
                    <a:pt x="390" y="556"/>
                  </a:lnTo>
                  <a:lnTo>
                    <a:pt x="392" y="556"/>
                  </a:lnTo>
                  <a:lnTo>
                    <a:pt x="388" y="558"/>
                  </a:lnTo>
                  <a:lnTo>
                    <a:pt x="386" y="558"/>
                  </a:lnTo>
                  <a:lnTo>
                    <a:pt x="386" y="560"/>
                  </a:lnTo>
                  <a:lnTo>
                    <a:pt x="386" y="566"/>
                  </a:lnTo>
                  <a:lnTo>
                    <a:pt x="386" y="570"/>
                  </a:lnTo>
                  <a:lnTo>
                    <a:pt x="388" y="576"/>
                  </a:lnTo>
                  <a:lnTo>
                    <a:pt x="388" y="578"/>
                  </a:lnTo>
                  <a:lnTo>
                    <a:pt x="390" y="582"/>
                  </a:lnTo>
                  <a:lnTo>
                    <a:pt x="386" y="586"/>
                  </a:lnTo>
                  <a:lnTo>
                    <a:pt x="384" y="584"/>
                  </a:lnTo>
                  <a:lnTo>
                    <a:pt x="382" y="582"/>
                  </a:lnTo>
                  <a:lnTo>
                    <a:pt x="380" y="580"/>
                  </a:lnTo>
                  <a:lnTo>
                    <a:pt x="374" y="578"/>
                  </a:lnTo>
                  <a:lnTo>
                    <a:pt x="368" y="572"/>
                  </a:lnTo>
                  <a:lnTo>
                    <a:pt x="364" y="572"/>
                  </a:lnTo>
                  <a:lnTo>
                    <a:pt x="356" y="570"/>
                  </a:lnTo>
                  <a:lnTo>
                    <a:pt x="354" y="568"/>
                  </a:lnTo>
                  <a:lnTo>
                    <a:pt x="354" y="570"/>
                  </a:lnTo>
                  <a:lnTo>
                    <a:pt x="344" y="568"/>
                  </a:lnTo>
                  <a:lnTo>
                    <a:pt x="342" y="566"/>
                  </a:lnTo>
                  <a:lnTo>
                    <a:pt x="338" y="566"/>
                  </a:lnTo>
                  <a:lnTo>
                    <a:pt x="336" y="568"/>
                  </a:lnTo>
                  <a:lnTo>
                    <a:pt x="334" y="568"/>
                  </a:lnTo>
                  <a:lnTo>
                    <a:pt x="332" y="568"/>
                  </a:lnTo>
                  <a:lnTo>
                    <a:pt x="324" y="568"/>
                  </a:lnTo>
                  <a:lnTo>
                    <a:pt x="322" y="564"/>
                  </a:lnTo>
                  <a:lnTo>
                    <a:pt x="318" y="564"/>
                  </a:lnTo>
                  <a:lnTo>
                    <a:pt x="316" y="562"/>
                  </a:lnTo>
                  <a:lnTo>
                    <a:pt x="308" y="558"/>
                  </a:lnTo>
                  <a:lnTo>
                    <a:pt x="302" y="560"/>
                  </a:lnTo>
                  <a:lnTo>
                    <a:pt x="294" y="560"/>
                  </a:lnTo>
                  <a:lnTo>
                    <a:pt x="286" y="560"/>
                  </a:lnTo>
                  <a:lnTo>
                    <a:pt x="266" y="558"/>
                  </a:lnTo>
                  <a:lnTo>
                    <a:pt x="262" y="558"/>
                  </a:lnTo>
                  <a:lnTo>
                    <a:pt x="244" y="558"/>
                  </a:lnTo>
                  <a:lnTo>
                    <a:pt x="242" y="558"/>
                  </a:lnTo>
                  <a:lnTo>
                    <a:pt x="244" y="558"/>
                  </a:lnTo>
                  <a:lnTo>
                    <a:pt x="244" y="556"/>
                  </a:lnTo>
                  <a:lnTo>
                    <a:pt x="240" y="554"/>
                  </a:lnTo>
                  <a:lnTo>
                    <a:pt x="236" y="552"/>
                  </a:lnTo>
                  <a:lnTo>
                    <a:pt x="234" y="554"/>
                  </a:lnTo>
                  <a:lnTo>
                    <a:pt x="228" y="554"/>
                  </a:lnTo>
                  <a:lnTo>
                    <a:pt x="222" y="554"/>
                  </a:lnTo>
                  <a:lnTo>
                    <a:pt x="214" y="556"/>
                  </a:lnTo>
                  <a:lnTo>
                    <a:pt x="208" y="554"/>
                  </a:lnTo>
                  <a:lnTo>
                    <a:pt x="204" y="552"/>
                  </a:lnTo>
                  <a:lnTo>
                    <a:pt x="202" y="552"/>
                  </a:lnTo>
                  <a:lnTo>
                    <a:pt x="200" y="552"/>
                  </a:lnTo>
                  <a:lnTo>
                    <a:pt x="194" y="550"/>
                  </a:lnTo>
                  <a:lnTo>
                    <a:pt x="190" y="552"/>
                  </a:lnTo>
                  <a:lnTo>
                    <a:pt x="188" y="552"/>
                  </a:lnTo>
                  <a:lnTo>
                    <a:pt x="164" y="552"/>
                  </a:lnTo>
                  <a:lnTo>
                    <a:pt x="162" y="550"/>
                  </a:lnTo>
                  <a:lnTo>
                    <a:pt x="156" y="550"/>
                  </a:lnTo>
                  <a:lnTo>
                    <a:pt x="144" y="550"/>
                  </a:lnTo>
                  <a:lnTo>
                    <a:pt x="144" y="554"/>
                  </a:lnTo>
                  <a:lnTo>
                    <a:pt x="142" y="558"/>
                  </a:lnTo>
                  <a:lnTo>
                    <a:pt x="136" y="558"/>
                  </a:lnTo>
                  <a:lnTo>
                    <a:pt x="130" y="556"/>
                  </a:lnTo>
                  <a:lnTo>
                    <a:pt x="108" y="556"/>
                  </a:lnTo>
                  <a:lnTo>
                    <a:pt x="102" y="556"/>
                  </a:lnTo>
                  <a:lnTo>
                    <a:pt x="98" y="556"/>
                  </a:lnTo>
                  <a:lnTo>
                    <a:pt x="96" y="556"/>
                  </a:lnTo>
                  <a:lnTo>
                    <a:pt x="94" y="556"/>
                  </a:lnTo>
                  <a:lnTo>
                    <a:pt x="92" y="556"/>
                  </a:lnTo>
                  <a:lnTo>
                    <a:pt x="90" y="556"/>
                  </a:lnTo>
                  <a:lnTo>
                    <a:pt x="84" y="556"/>
                  </a:lnTo>
                  <a:lnTo>
                    <a:pt x="78" y="556"/>
                  </a:lnTo>
                  <a:lnTo>
                    <a:pt x="76" y="556"/>
                  </a:lnTo>
                  <a:lnTo>
                    <a:pt x="74" y="556"/>
                  </a:lnTo>
                  <a:lnTo>
                    <a:pt x="70" y="556"/>
                  </a:lnTo>
                  <a:lnTo>
                    <a:pt x="70" y="554"/>
                  </a:lnTo>
                  <a:lnTo>
                    <a:pt x="66" y="552"/>
                  </a:lnTo>
                  <a:lnTo>
                    <a:pt x="66" y="550"/>
                  </a:lnTo>
                  <a:lnTo>
                    <a:pt x="64" y="548"/>
                  </a:lnTo>
                  <a:lnTo>
                    <a:pt x="64" y="546"/>
                  </a:lnTo>
                  <a:lnTo>
                    <a:pt x="66" y="544"/>
                  </a:lnTo>
                  <a:lnTo>
                    <a:pt x="64" y="542"/>
                  </a:lnTo>
                  <a:lnTo>
                    <a:pt x="64" y="540"/>
                  </a:lnTo>
                  <a:lnTo>
                    <a:pt x="66" y="538"/>
                  </a:lnTo>
                  <a:lnTo>
                    <a:pt x="66" y="536"/>
                  </a:lnTo>
                  <a:lnTo>
                    <a:pt x="68" y="522"/>
                  </a:lnTo>
                  <a:lnTo>
                    <a:pt x="70" y="516"/>
                  </a:lnTo>
                  <a:lnTo>
                    <a:pt x="70" y="514"/>
                  </a:lnTo>
                  <a:lnTo>
                    <a:pt x="72" y="512"/>
                  </a:lnTo>
                  <a:lnTo>
                    <a:pt x="72" y="510"/>
                  </a:lnTo>
                  <a:lnTo>
                    <a:pt x="72" y="508"/>
                  </a:lnTo>
                  <a:lnTo>
                    <a:pt x="72" y="506"/>
                  </a:lnTo>
                  <a:lnTo>
                    <a:pt x="70" y="504"/>
                  </a:lnTo>
                  <a:lnTo>
                    <a:pt x="70" y="502"/>
                  </a:lnTo>
                  <a:lnTo>
                    <a:pt x="70" y="500"/>
                  </a:lnTo>
                  <a:lnTo>
                    <a:pt x="68" y="498"/>
                  </a:lnTo>
                  <a:lnTo>
                    <a:pt x="68" y="496"/>
                  </a:lnTo>
                  <a:lnTo>
                    <a:pt x="66" y="494"/>
                  </a:lnTo>
                  <a:lnTo>
                    <a:pt x="60" y="488"/>
                  </a:lnTo>
                  <a:lnTo>
                    <a:pt x="58" y="486"/>
                  </a:lnTo>
                  <a:lnTo>
                    <a:pt x="62" y="484"/>
                  </a:lnTo>
                  <a:lnTo>
                    <a:pt x="62" y="482"/>
                  </a:lnTo>
                  <a:lnTo>
                    <a:pt x="60" y="482"/>
                  </a:lnTo>
                  <a:lnTo>
                    <a:pt x="58" y="482"/>
                  </a:lnTo>
                  <a:lnTo>
                    <a:pt x="56" y="482"/>
                  </a:lnTo>
                  <a:lnTo>
                    <a:pt x="56" y="480"/>
                  </a:lnTo>
                  <a:lnTo>
                    <a:pt x="52" y="472"/>
                  </a:lnTo>
                  <a:lnTo>
                    <a:pt x="58" y="470"/>
                  </a:lnTo>
                  <a:lnTo>
                    <a:pt x="60" y="470"/>
                  </a:lnTo>
                  <a:lnTo>
                    <a:pt x="60" y="468"/>
                  </a:lnTo>
                  <a:lnTo>
                    <a:pt x="56" y="464"/>
                  </a:lnTo>
                  <a:lnTo>
                    <a:pt x="50" y="460"/>
                  </a:lnTo>
                  <a:lnTo>
                    <a:pt x="50" y="458"/>
                  </a:lnTo>
                  <a:lnTo>
                    <a:pt x="48" y="456"/>
                  </a:lnTo>
                  <a:lnTo>
                    <a:pt x="48" y="458"/>
                  </a:lnTo>
                  <a:lnTo>
                    <a:pt x="50" y="460"/>
                  </a:lnTo>
                  <a:lnTo>
                    <a:pt x="50" y="464"/>
                  </a:lnTo>
                  <a:lnTo>
                    <a:pt x="48" y="468"/>
                  </a:lnTo>
                  <a:lnTo>
                    <a:pt x="46" y="468"/>
                  </a:lnTo>
                  <a:lnTo>
                    <a:pt x="44" y="468"/>
                  </a:lnTo>
                  <a:lnTo>
                    <a:pt x="42" y="466"/>
                  </a:lnTo>
                  <a:lnTo>
                    <a:pt x="40" y="466"/>
                  </a:lnTo>
                  <a:close/>
                </a:path>
              </a:pathLst>
            </a:custGeom>
            <a:solidFill>
              <a:schemeClr val="bg2"/>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2" name="Freeform 1396"/>
            <p:cNvSpPr>
              <a:spLocks/>
            </p:cNvSpPr>
            <p:nvPr/>
          </p:nvSpPr>
          <p:spPr bwMode="auto">
            <a:xfrm>
              <a:off x="7114346" y="3132062"/>
              <a:ext cx="102590" cy="117603"/>
            </a:xfrm>
            <a:custGeom>
              <a:avLst/>
              <a:gdLst/>
              <a:ahLst/>
              <a:cxnLst>
                <a:cxn ang="0">
                  <a:pos x="72" y="70"/>
                </a:cxn>
                <a:cxn ang="0">
                  <a:pos x="68" y="80"/>
                </a:cxn>
                <a:cxn ang="0">
                  <a:pos x="62" y="88"/>
                </a:cxn>
                <a:cxn ang="0">
                  <a:pos x="56" y="90"/>
                </a:cxn>
                <a:cxn ang="0">
                  <a:pos x="52" y="88"/>
                </a:cxn>
                <a:cxn ang="0">
                  <a:pos x="46" y="86"/>
                </a:cxn>
                <a:cxn ang="0">
                  <a:pos x="38" y="88"/>
                </a:cxn>
                <a:cxn ang="0">
                  <a:pos x="30" y="90"/>
                </a:cxn>
                <a:cxn ang="0">
                  <a:pos x="20" y="92"/>
                </a:cxn>
                <a:cxn ang="0">
                  <a:pos x="14" y="94"/>
                </a:cxn>
                <a:cxn ang="0">
                  <a:pos x="10" y="94"/>
                </a:cxn>
                <a:cxn ang="0">
                  <a:pos x="6" y="94"/>
                </a:cxn>
                <a:cxn ang="0">
                  <a:pos x="4" y="90"/>
                </a:cxn>
                <a:cxn ang="0">
                  <a:pos x="4" y="84"/>
                </a:cxn>
                <a:cxn ang="0">
                  <a:pos x="2" y="72"/>
                </a:cxn>
                <a:cxn ang="0">
                  <a:pos x="2" y="58"/>
                </a:cxn>
                <a:cxn ang="0">
                  <a:pos x="6" y="52"/>
                </a:cxn>
                <a:cxn ang="0">
                  <a:pos x="12" y="44"/>
                </a:cxn>
                <a:cxn ang="0">
                  <a:pos x="16" y="34"/>
                </a:cxn>
                <a:cxn ang="0">
                  <a:pos x="24" y="24"/>
                </a:cxn>
                <a:cxn ang="0">
                  <a:pos x="26" y="20"/>
                </a:cxn>
                <a:cxn ang="0">
                  <a:pos x="28" y="16"/>
                </a:cxn>
                <a:cxn ang="0">
                  <a:pos x="32" y="10"/>
                </a:cxn>
                <a:cxn ang="0">
                  <a:pos x="36" y="12"/>
                </a:cxn>
                <a:cxn ang="0">
                  <a:pos x="40" y="16"/>
                </a:cxn>
                <a:cxn ang="0">
                  <a:pos x="44" y="18"/>
                </a:cxn>
                <a:cxn ang="0">
                  <a:pos x="50" y="14"/>
                </a:cxn>
                <a:cxn ang="0">
                  <a:pos x="50" y="10"/>
                </a:cxn>
                <a:cxn ang="0">
                  <a:pos x="64" y="0"/>
                </a:cxn>
                <a:cxn ang="0">
                  <a:pos x="68" y="4"/>
                </a:cxn>
                <a:cxn ang="0">
                  <a:pos x="74" y="10"/>
                </a:cxn>
                <a:cxn ang="0">
                  <a:pos x="78" y="22"/>
                </a:cxn>
                <a:cxn ang="0">
                  <a:pos x="82" y="28"/>
                </a:cxn>
                <a:cxn ang="0">
                  <a:pos x="80" y="34"/>
                </a:cxn>
                <a:cxn ang="0">
                  <a:pos x="76" y="38"/>
                </a:cxn>
                <a:cxn ang="0">
                  <a:pos x="72" y="38"/>
                </a:cxn>
                <a:cxn ang="0">
                  <a:pos x="68" y="42"/>
                </a:cxn>
                <a:cxn ang="0">
                  <a:pos x="64" y="46"/>
                </a:cxn>
                <a:cxn ang="0">
                  <a:pos x="60" y="48"/>
                </a:cxn>
                <a:cxn ang="0">
                  <a:pos x="52" y="50"/>
                </a:cxn>
                <a:cxn ang="0">
                  <a:pos x="48" y="56"/>
                </a:cxn>
                <a:cxn ang="0">
                  <a:pos x="46" y="60"/>
                </a:cxn>
                <a:cxn ang="0">
                  <a:pos x="40" y="60"/>
                </a:cxn>
                <a:cxn ang="0">
                  <a:pos x="38" y="62"/>
                </a:cxn>
                <a:cxn ang="0">
                  <a:pos x="42" y="66"/>
                </a:cxn>
                <a:cxn ang="0">
                  <a:pos x="46" y="64"/>
                </a:cxn>
                <a:cxn ang="0">
                  <a:pos x="48" y="62"/>
                </a:cxn>
                <a:cxn ang="0">
                  <a:pos x="56" y="58"/>
                </a:cxn>
                <a:cxn ang="0">
                  <a:pos x="60" y="58"/>
                </a:cxn>
                <a:cxn ang="0">
                  <a:pos x="68" y="58"/>
                </a:cxn>
                <a:cxn ang="0">
                  <a:pos x="74" y="64"/>
                </a:cxn>
                <a:cxn ang="0">
                  <a:pos x="74" y="66"/>
                </a:cxn>
              </a:cxnLst>
              <a:rect l="0" t="0" r="r" b="b"/>
              <a:pathLst>
                <a:path w="82" h="94">
                  <a:moveTo>
                    <a:pt x="74" y="68"/>
                  </a:moveTo>
                  <a:lnTo>
                    <a:pt x="72" y="70"/>
                  </a:lnTo>
                  <a:lnTo>
                    <a:pt x="68" y="76"/>
                  </a:lnTo>
                  <a:lnTo>
                    <a:pt x="68" y="80"/>
                  </a:lnTo>
                  <a:lnTo>
                    <a:pt x="62" y="86"/>
                  </a:lnTo>
                  <a:lnTo>
                    <a:pt x="62" y="88"/>
                  </a:lnTo>
                  <a:lnTo>
                    <a:pt x="58" y="90"/>
                  </a:lnTo>
                  <a:lnTo>
                    <a:pt x="56" y="90"/>
                  </a:lnTo>
                  <a:lnTo>
                    <a:pt x="54" y="90"/>
                  </a:lnTo>
                  <a:lnTo>
                    <a:pt x="52" y="88"/>
                  </a:lnTo>
                  <a:lnTo>
                    <a:pt x="52" y="86"/>
                  </a:lnTo>
                  <a:lnTo>
                    <a:pt x="46" y="86"/>
                  </a:lnTo>
                  <a:lnTo>
                    <a:pt x="44" y="86"/>
                  </a:lnTo>
                  <a:lnTo>
                    <a:pt x="38" y="88"/>
                  </a:lnTo>
                  <a:lnTo>
                    <a:pt x="32" y="90"/>
                  </a:lnTo>
                  <a:lnTo>
                    <a:pt x="30" y="90"/>
                  </a:lnTo>
                  <a:lnTo>
                    <a:pt x="22" y="92"/>
                  </a:lnTo>
                  <a:lnTo>
                    <a:pt x="20" y="92"/>
                  </a:lnTo>
                  <a:lnTo>
                    <a:pt x="18" y="92"/>
                  </a:lnTo>
                  <a:lnTo>
                    <a:pt x="14" y="94"/>
                  </a:lnTo>
                  <a:lnTo>
                    <a:pt x="12" y="94"/>
                  </a:lnTo>
                  <a:lnTo>
                    <a:pt x="10" y="94"/>
                  </a:lnTo>
                  <a:lnTo>
                    <a:pt x="8" y="94"/>
                  </a:lnTo>
                  <a:lnTo>
                    <a:pt x="6" y="94"/>
                  </a:lnTo>
                  <a:lnTo>
                    <a:pt x="4" y="92"/>
                  </a:lnTo>
                  <a:lnTo>
                    <a:pt x="4" y="90"/>
                  </a:lnTo>
                  <a:lnTo>
                    <a:pt x="4" y="88"/>
                  </a:lnTo>
                  <a:lnTo>
                    <a:pt x="4" y="84"/>
                  </a:lnTo>
                  <a:lnTo>
                    <a:pt x="4" y="78"/>
                  </a:lnTo>
                  <a:lnTo>
                    <a:pt x="2" y="72"/>
                  </a:lnTo>
                  <a:lnTo>
                    <a:pt x="0" y="66"/>
                  </a:lnTo>
                  <a:lnTo>
                    <a:pt x="2" y="58"/>
                  </a:lnTo>
                  <a:lnTo>
                    <a:pt x="2" y="54"/>
                  </a:lnTo>
                  <a:lnTo>
                    <a:pt x="6" y="52"/>
                  </a:lnTo>
                  <a:lnTo>
                    <a:pt x="8" y="50"/>
                  </a:lnTo>
                  <a:lnTo>
                    <a:pt x="12" y="44"/>
                  </a:lnTo>
                  <a:lnTo>
                    <a:pt x="14" y="40"/>
                  </a:lnTo>
                  <a:lnTo>
                    <a:pt x="16" y="34"/>
                  </a:lnTo>
                  <a:lnTo>
                    <a:pt x="18" y="32"/>
                  </a:lnTo>
                  <a:lnTo>
                    <a:pt x="24" y="24"/>
                  </a:lnTo>
                  <a:lnTo>
                    <a:pt x="24" y="22"/>
                  </a:lnTo>
                  <a:lnTo>
                    <a:pt x="26" y="20"/>
                  </a:lnTo>
                  <a:lnTo>
                    <a:pt x="26" y="18"/>
                  </a:lnTo>
                  <a:lnTo>
                    <a:pt x="28" y="16"/>
                  </a:lnTo>
                  <a:lnTo>
                    <a:pt x="30" y="14"/>
                  </a:lnTo>
                  <a:lnTo>
                    <a:pt x="32" y="10"/>
                  </a:lnTo>
                  <a:lnTo>
                    <a:pt x="34" y="12"/>
                  </a:lnTo>
                  <a:lnTo>
                    <a:pt x="36" y="12"/>
                  </a:lnTo>
                  <a:lnTo>
                    <a:pt x="38" y="14"/>
                  </a:lnTo>
                  <a:lnTo>
                    <a:pt x="40" y="16"/>
                  </a:lnTo>
                  <a:lnTo>
                    <a:pt x="42" y="16"/>
                  </a:lnTo>
                  <a:lnTo>
                    <a:pt x="44" y="18"/>
                  </a:lnTo>
                  <a:lnTo>
                    <a:pt x="46" y="18"/>
                  </a:lnTo>
                  <a:lnTo>
                    <a:pt x="50" y="14"/>
                  </a:lnTo>
                  <a:lnTo>
                    <a:pt x="50" y="12"/>
                  </a:lnTo>
                  <a:lnTo>
                    <a:pt x="50" y="10"/>
                  </a:lnTo>
                  <a:lnTo>
                    <a:pt x="56" y="4"/>
                  </a:lnTo>
                  <a:lnTo>
                    <a:pt x="64" y="0"/>
                  </a:lnTo>
                  <a:lnTo>
                    <a:pt x="66" y="2"/>
                  </a:lnTo>
                  <a:lnTo>
                    <a:pt x="68" y="4"/>
                  </a:lnTo>
                  <a:lnTo>
                    <a:pt x="68" y="6"/>
                  </a:lnTo>
                  <a:lnTo>
                    <a:pt x="74" y="10"/>
                  </a:lnTo>
                  <a:lnTo>
                    <a:pt x="76" y="12"/>
                  </a:lnTo>
                  <a:lnTo>
                    <a:pt x="78" y="22"/>
                  </a:lnTo>
                  <a:lnTo>
                    <a:pt x="80" y="24"/>
                  </a:lnTo>
                  <a:lnTo>
                    <a:pt x="82" y="28"/>
                  </a:lnTo>
                  <a:lnTo>
                    <a:pt x="82" y="32"/>
                  </a:lnTo>
                  <a:lnTo>
                    <a:pt x="80" y="34"/>
                  </a:lnTo>
                  <a:lnTo>
                    <a:pt x="80" y="36"/>
                  </a:lnTo>
                  <a:lnTo>
                    <a:pt x="76" y="38"/>
                  </a:lnTo>
                  <a:lnTo>
                    <a:pt x="74" y="38"/>
                  </a:lnTo>
                  <a:lnTo>
                    <a:pt x="72" y="38"/>
                  </a:lnTo>
                  <a:lnTo>
                    <a:pt x="70" y="40"/>
                  </a:lnTo>
                  <a:lnTo>
                    <a:pt x="68" y="42"/>
                  </a:lnTo>
                  <a:lnTo>
                    <a:pt x="66" y="44"/>
                  </a:lnTo>
                  <a:lnTo>
                    <a:pt x="64" y="46"/>
                  </a:lnTo>
                  <a:lnTo>
                    <a:pt x="62" y="48"/>
                  </a:lnTo>
                  <a:lnTo>
                    <a:pt x="60" y="48"/>
                  </a:lnTo>
                  <a:lnTo>
                    <a:pt x="56" y="48"/>
                  </a:lnTo>
                  <a:lnTo>
                    <a:pt x="52" y="50"/>
                  </a:lnTo>
                  <a:lnTo>
                    <a:pt x="50" y="52"/>
                  </a:lnTo>
                  <a:lnTo>
                    <a:pt x="48" y="56"/>
                  </a:lnTo>
                  <a:lnTo>
                    <a:pt x="46" y="58"/>
                  </a:lnTo>
                  <a:lnTo>
                    <a:pt x="46" y="60"/>
                  </a:lnTo>
                  <a:lnTo>
                    <a:pt x="44" y="62"/>
                  </a:lnTo>
                  <a:lnTo>
                    <a:pt x="40" y="60"/>
                  </a:lnTo>
                  <a:lnTo>
                    <a:pt x="38" y="60"/>
                  </a:lnTo>
                  <a:lnTo>
                    <a:pt x="38" y="62"/>
                  </a:lnTo>
                  <a:lnTo>
                    <a:pt x="38" y="64"/>
                  </a:lnTo>
                  <a:lnTo>
                    <a:pt x="42" y="66"/>
                  </a:lnTo>
                  <a:lnTo>
                    <a:pt x="44" y="66"/>
                  </a:lnTo>
                  <a:lnTo>
                    <a:pt x="46" y="64"/>
                  </a:lnTo>
                  <a:lnTo>
                    <a:pt x="46" y="62"/>
                  </a:lnTo>
                  <a:lnTo>
                    <a:pt x="48" y="62"/>
                  </a:lnTo>
                  <a:lnTo>
                    <a:pt x="54" y="60"/>
                  </a:lnTo>
                  <a:lnTo>
                    <a:pt x="56" y="58"/>
                  </a:lnTo>
                  <a:lnTo>
                    <a:pt x="58" y="58"/>
                  </a:lnTo>
                  <a:lnTo>
                    <a:pt x="60" y="58"/>
                  </a:lnTo>
                  <a:lnTo>
                    <a:pt x="64" y="58"/>
                  </a:lnTo>
                  <a:lnTo>
                    <a:pt x="68" y="58"/>
                  </a:lnTo>
                  <a:lnTo>
                    <a:pt x="70" y="58"/>
                  </a:lnTo>
                  <a:lnTo>
                    <a:pt x="74" y="64"/>
                  </a:lnTo>
                  <a:lnTo>
                    <a:pt x="76" y="64"/>
                  </a:lnTo>
                  <a:lnTo>
                    <a:pt x="74" y="66"/>
                  </a:lnTo>
                  <a:lnTo>
                    <a:pt x="74" y="6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3" name="Freeform 1397"/>
            <p:cNvSpPr>
              <a:spLocks/>
            </p:cNvSpPr>
            <p:nvPr/>
          </p:nvSpPr>
          <p:spPr bwMode="auto">
            <a:xfrm>
              <a:off x="5340290" y="2481491"/>
              <a:ext cx="655575" cy="1023397"/>
            </a:xfrm>
            <a:custGeom>
              <a:avLst/>
              <a:gdLst/>
              <a:ahLst/>
              <a:cxnLst>
                <a:cxn ang="0">
                  <a:pos x="74" y="690"/>
                </a:cxn>
                <a:cxn ang="0">
                  <a:pos x="94" y="692"/>
                </a:cxn>
                <a:cxn ang="0">
                  <a:pos x="98" y="684"/>
                </a:cxn>
                <a:cxn ang="0">
                  <a:pos x="78" y="650"/>
                </a:cxn>
                <a:cxn ang="0">
                  <a:pos x="76" y="616"/>
                </a:cxn>
                <a:cxn ang="0">
                  <a:pos x="74" y="580"/>
                </a:cxn>
                <a:cxn ang="0">
                  <a:pos x="60" y="548"/>
                </a:cxn>
                <a:cxn ang="0">
                  <a:pos x="50" y="532"/>
                </a:cxn>
                <a:cxn ang="0">
                  <a:pos x="8" y="496"/>
                </a:cxn>
                <a:cxn ang="0">
                  <a:pos x="8" y="456"/>
                </a:cxn>
                <a:cxn ang="0">
                  <a:pos x="16" y="438"/>
                </a:cxn>
                <a:cxn ang="0">
                  <a:pos x="46" y="394"/>
                </a:cxn>
                <a:cxn ang="0">
                  <a:pos x="104" y="336"/>
                </a:cxn>
                <a:cxn ang="0">
                  <a:pos x="112" y="236"/>
                </a:cxn>
                <a:cxn ang="0">
                  <a:pos x="130" y="160"/>
                </a:cxn>
                <a:cxn ang="0">
                  <a:pos x="112" y="130"/>
                </a:cxn>
                <a:cxn ang="0">
                  <a:pos x="94" y="98"/>
                </a:cxn>
                <a:cxn ang="0">
                  <a:pos x="86" y="24"/>
                </a:cxn>
                <a:cxn ang="0">
                  <a:pos x="212" y="40"/>
                </a:cxn>
                <a:cxn ang="0">
                  <a:pos x="320" y="96"/>
                </a:cxn>
                <a:cxn ang="0">
                  <a:pos x="494" y="188"/>
                </a:cxn>
                <a:cxn ang="0">
                  <a:pos x="522" y="316"/>
                </a:cxn>
                <a:cxn ang="0">
                  <a:pos x="514" y="394"/>
                </a:cxn>
                <a:cxn ang="0">
                  <a:pos x="494" y="398"/>
                </a:cxn>
                <a:cxn ang="0">
                  <a:pos x="470" y="406"/>
                </a:cxn>
                <a:cxn ang="0">
                  <a:pos x="474" y="422"/>
                </a:cxn>
                <a:cxn ang="0">
                  <a:pos x="458" y="440"/>
                </a:cxn>
                <a:cxn ang="0">
                  <a:pos x="444" y="454"/>
                </a:cxn>
                <a:cxn ang="0">
                  <a:pos x="454" y="476"/>
                </a:cxn>
                <a:cxn ang="0">
                  <a:pos x="430" y="496"/>
                </a:cxn>
                <a:cxn ang="0">
                  <a:pos x="430" y="528"/>
                </a:cxn>
                <a:cxn ang="0">
                  <a:pos x="424" y="554"/>
                </a:cxn>
                <a:cxn ang="0">
                  <a:pos x="438" y="548"/>
                </a:cxn>
                <a:cxn ang="0">
                  <a:pos x="456" y="586"/>
                </a:cxn>
                <a:cxn ang="0">
                  <a:pos x="458" y="610"/>
                </a:cxn>
                <a:cxn ang="0">
                  <a:pos x="470" y="642"/>
                </a:cxn>
                <a:cxn ang="0">
                  <a:pos x="442" y="640"/>
                </a:cxn>
                <a:cxn ang="0">
                  <a:pos x="412" y="656"/>
                </a:cxn>
                <a:cxn ang="0">
                  <a:pos x="410" y="676"/>
                </a:cxn>
                <a:cxn ang="0">
                  <a:pos x="398" y="686"/>
                </a:cxn>
                <a:cxn ang="0">
                  <a:pos x="376" y="710"/>
                </a:cxn>
                <a:cxn ang="0">
                  <a:pos x="348" y="732"/>
                </a:cxn>
                <a:cxn ang="0">
                  <a:pos x="324" y="736"/>
                </a:cxn>
                <a:cxn ang="0">
                  <a:pos x="276" y="740"/>
                </a:cxn>
                <a:cxn ang="0">
                  <a:pos x="276" y="752"/>
                </a:cxn>
                <a:cxn ang="0">
                  <a:pos x="270" y="770"/>
                </a:cxn>
                <a:cxn ang="0">
                  <a:pos x="258" y="782"/>
                </a:cxn>
                <a:cxn ang="0">
                  <a:pos x="246" y="790"/>
                </a:cxn>
                <a:cxn ang="0">
                  <a:pos x="200" y="796"/>
                </a:cxn>
                <a:cxn ang="0">
                  <a:pos x="172" y="808"/>
                </a:cxn>
                <a:cxn ang="0">
                  <a:pos x="152" y="802"/>
                </a:cxn>
                <a:cxn ang="0">
                  <a:pos x="144" y="806"/>
                </a:cxn>
                <a:cxn ang="0">
                  <a:pos x="118" y="818"/>
                </a:cxn>
                <a:cxn ang="0">
                  <a:pos x="98" y="814"/>
                </a:cxn>
                <a:cxn ang="0">
                  <a:pos x="94" y="796"/>
                </a:cxn>
                <a:cxn ang="0">
                  <a:pos x="84" y="768"/>
                </a:cxn>
                <a:cxn ang="0">
                  <a:pos x="50" y="738"/>
                </a:cxn>
                <a:cxn ang="0">
                  <a:pos x="26" y="698"/>
                </a:cxn>
              </a:cxnLst>
              <a:rect l="0" t="0" r="r" b="b"/>
              <a:pathLst>
                <a:path w="524" h="818">
                  <a:moveTo>
                    <a:pt x="32" y="688"/>
                  </a:moveTo>
                  <a:lnTo>
                    <a:pt x="46" y="688"/>
                  </a:lnTo>
                  <a:lnTo>
                    <a:pt x="48" y="688"/>
                  </a:lnTo>
                  <a:lnTo>
                    <a:pt x="56" y="690"/>
                  </a:lnTo>
                  <a:lnTo>
                    <a:pt x="62" y="692"/>
                  </a:lnTo>
                  <a:lnTo>
                    <a:pt x="70" y="690"/>
                  </a:lnTo>
                  <a:lnTo>
                    <a:pt x="74" y="690"/>
                  </a:lnTo>
                  <a:lnTo>
                    <a:pt x="76" y="690"/>
                  </a:lnTo>
                  <a:lnTo>
                    <a:pt x="78" y="690"/>
                  </a:lnTo>
                  <a:lnTo>
                    <a:pt x="80" y="688"/>
                  </a:lnTo>
                  <a:lnTo>
                    <a:pt x="82" y="688"/>
                  </a:lnTo>
                  <a:lnTo>
                    <a:pt x="86" y="688"/>
                  </a:lnTo>
                  <a:lnTo>
                    <a:pt x="88" y="690"/>
                  </a:lnTo>
                  <a:lnTo>
                    <a:pt x="94" y="692"/>
                  </a:lnTo>
                  <a:lnTo>
                    <a:pt x="100" y="690"/>
                  </a:lnTo>
                  <a:lnTo>
                    <a:pt x="104" y="690"/>
                  </a:lnTo>
                  <a:lnTo>
                    <a:pt x="108" y="688"/>
                  </a:lnTo>
                  <a:lnTo>
                    <a:pt x="106" y="688"/>
                  </a:lnTo>
                  <a:lnTo>
                    <a:pt x="104" y="686"/>
                  </a:lnTo>
                  <a:lnTo>
                    <a:pt x="100" y="684"/>
                  </a:lnTo>
                  <a:lnTo>
                    <a:pt x="98" y="684"/>
                  </a:lnTo>
                  <a:lnTo>
                    <a:pt x="92" y="676"/>
                  </a:lnTo>
                  <a:lnTo>
                    <a:pt x="88" y="668"/>
                  </a:lnTo>
                  <a:lnTo>
                    <a:pt x="82" y="662"/>
                  </a:lnTo>
                  <a:lnTo>
                    <a:pt x="82" y="656"/>
                  </a:lnTo>
                  <a:lnTo>
                    <a:pt x="82" y="654"/>
                  </a:lnTo>
                  <a:lnTo>
                    <a:pt x="80" y="652"/>
                  </a:lnTo>
                  <a:lnTo>
                    <a:pt x="78" y="650"/>
                  </a:lnTo>
                  <a:lnTo>
                    <a:pt x="76" y="646"/>
                  </a:lnTo>
                  <a:lnTo>
                    <a:pt x="78" y="644"/>
                  </a:lnTo>
                  <a:lnTo>
                    <a:pt x="78" y="642"/>
                  </a:lnTo>
                  <a:lnTo>
                    <a:pt x="76" y="632"/>
                  </a:lnTo>
                  <a:lnTo>
                    <a:pt x="74" y="630"/>
                  </a:lnTo>
                  <a:lnTo>
                    <a:pt x="74" y="626"/>
                  </a:lnTo>
                  <a:lnTo>
                    <a:pt x="76" y="616"/>
                  </a:lnTo>
                  <a:lnTo>
                    <a:pt x="78" y="614"/>
                  </a:lnTo>
                  <a:lnTo>
                    <a:pt x="80" y="612"/>
                  </a:lnTo>
                  <a:lnTo>
                    <a:pt x="80" y="608"/>
                  </a:lnTo>
                  <a:lnTo>
                    <a:pt x="78" y="602"/>
                  </a:lnTo>
                  <a:lnTo>
                    <a:pt x="78" y="598"/>
                  </a:lnTo>
                  <a:lnTo>
                    <a:pt x="76" y="582"/>
                  </a:lnTo>
                  <a:lnTo>
                    <a:pt x="74" y="580"/>
                  </a:lnTo>
                  <a:lnTo>
                    <a:pt x="72" y="580"/>
                  </a:lnTo>
                  <a:lnTo>
                    <a:pt x="70" y="578"/>
                  </a:lnTo>
                  <a:lnTo>
                    <a:pt x="70" y="574"/>
                  </a:lnTo>
                  <a:lnTo>
                    <a:pt x="70" y="568"/>
                  </a:lnTo>
                  <a:lnTo>
                    <a:pt x="70" y="566"/>
                  </a:lnTo>
                  <a:lnTo>
                    <a:pt x="66" y="554"/>
                  </a:lnTo>
                  <a:lnTo>
                    <a:pt x="60" y="548"/>
                  </a:lnTo>
                  <a:lnTo>
                    <a:pt x="56" y="548"/>
                  </a:lnTo>
                  <a:lnTo>
                    <a:pt x="54" y="548"/>
                  </a:lnTo>
                  <a:lnTo>
                    <a:pt x="52" y="546"/>
                  </a:lnTo>
                  <a:lnTo>
                    <a:pt x="52" y="542"/>
                  </a:lnTo>
                  <a:lnTo>
                    <a:pt x="52" y="536"/>
                  </a:lnTo>
                  <a:lnTo>
                    <a:pt x="50" y="534"/>
                  </a:lnTo>
                  <a:lnTo>
                    <a:pt x="50" y="532"/>
                  </a:lnTo>
                  <a:lnTo>
                    <a:pt x="48" y="530"/>
                  </a:lnTo>
                  <a:lnTo>
                    <a:pt x="34" y="530"/>
                  </a:lnTo>
                  <a:lnTo>
                    <a:pt x="30" y="530"/>
                  </a:lnTo>
                  <a:lnTo>
                    <a:pt x="20" y="516"/>
                  </a:lnTo>
                  <a:lnTo>
                    <a:pt x="14" y="506"/>
                  </a:lnTo>
                  <a:lnTo>
                    <a:pt x="8" y="498"/>
                  </a:lnTo>
                  <a:lnTo>
                    <a:pt x="8" y="496"/>
                  </a:lnTo>
                  <a:lnTo>
                    <a:pt x="6" y="490"/>
                  </a:lnTo>
                  <a:lnTo>
                    <a:pt x="6" y="482"/>
                  </a:lnTo>
                  <a:lnTo>
                    <a:pt x="0" y="460"/>
                  </a:lnTo>
                  <a:lnTo>
                    <a:pt x="0" y="458"/>
                  </a:lnTo>
                  <a:lnTo>
                    <a:pt x="2" y="456"/>
                  </a:lnTo>
                  <a:lnTo>
                    <a:pt x="4" y="456"/>
                  </a:lnTo>
                  <a:lnTo>
                    <a:pt x="8" y="456"/>
                  </a:lnTo>
                  <a:lnTo>
                    <a:pt x="10" y="456"/>
                  </a:lnTo>
                  <a:lnTo>
                    <a:pt x="10" y="454"/>
                  </a:lnTo>
                  <a:lnTo>
                    <a:pt x="12" y="452"/>
                  </a:lnTo>
                  <a:lnTo>
                    <a:pt x="16" y="446"/>
                  </a:lnTo>
                  <a:lnTo>
                    <a:pt x="18" y="444"/>
                  </a:lnTo>
                  <a:lnTo>
                    <a:pt x="16" y="442"/>
                  </a:lnTo>
                  <a:lnTo>
                    <a:pt x="16" y="438"/>
                  </a:lnTo>
                  <a:lnTo>
                    <a:pt x="18" y="436"/>
                  </a:lnTo>
                  <a:lnTo>
                    <a:pt x="20" y="430"/>
                  </a:lnTo>
                  <a:lnTo>
                    <a:pt x="28" y="420"/>
                  </a:lnTo>
                  <a:lnTo>
                    <a:pt x="32" y="414"/>
                  </a:lnTo>
                  <a:lnTo>
                    <a:pt x="38" y="406"/>
                  </a:lnTo>
                  <a:lnTo>
                    <a:pt x="42" y="400"/>
                  </a:lnTo>
                  <a:lnTo>
                    <a:pt x="46" y="394"/>
                  </a:lnTo>
                  <a:lnTo>
                    <a:pt x="58" y="382"/>
                  </a:lnTo>
                  <a:lnTo>
                    <a:pt x="74" y="366"/>
                  </a:lnTo>
                  <a:lnTo>
                    <a:pt x="84" y="354"/>
                  </a:lnTo>
                  <a:lnTo>
                    <a:pt x="90" y="348"/>
                  </a:lnTo>
                  <a:lnTo>
                    <a:pt x="96" y="342"/>
                  </a:lnTo>
                  <a:lnTo>
                    <a:pt x="102" y="336"/>
                  </a:lnTo>
                  <a:lnTo>
                    <a:pt x="104" y="336"/>
                  </a:lnTo>
                  <a:lnTo>
                    <a:pt x="104" y="334"/>
                  </a:lnTo>
                  <a:lnTo>
                    <a:pt x="104" y="312"/>
                  </a:lnTo>
                  <a:lnTo>
                    <a:pt x="108" y="278"/>
                  </a:lnTo>
                  <a:lnTo>
                    <a:pt x="108" y="266"/>
                  </a:lnTo>
                  <a:lnTo>
                    <a:pt x="108" y="264"/>
                  </a:lnTo>
                  <a:lnTo>
                    <a:pt x="110" y="238"/>
                  </a:lnTo>
                  <a:lnTo>
                    <a:pt x="112" y="236"/>
                  </a:lnTo>
                  <a:lnTo>
                    <a:pt x="112" y="226"/>
                  </a:lnTo>
                  <a:lnTo>
                    <a:pt x="116" y="196"/>
                  </a:lnTo>
                  <a:lnTo>
                    <a:pt x="118" y="188"/>
                  </a:lnTo>
                  <a:lnTo>
                    <a:pt x="118" y="180"/>
                  </a:lnTo>
                  <a:lnTo>
                    <a:pt x="122" y="174"/>
                  </a:lnTo>
                  <a:lnTo>
                    <a:pt x="126" y="170"/>
                  </a:lnTo>
                  <a:lnTo>
                    <a:pt x="130" y="160"/>
                  </a:lnTo>
                  <a:lnTo>
                    <a:pt x="132" y="158"/>
                  </a:lnTo>
                  <a:lnTo>
                    <a:pt x="116" y="140"/>
                  </a:lnTo>
                  <a:lnTo>
                    <a:pt x="114" y="140"/>
                  </a:lnTo>
                  <a:lnTo>
                    <a:pt x="112" y="138"/>
                  </a:lnTo>
                  <a:lnTo>
                    <a:pt x="110" y="134"/>
                  </a:lnTo>
                  <a:lnTo>
                    <a:pt x="110" y="132"/>
                  </a:lnTo>
                  <a:lnTo>
                    <a:pt x="112" y="130"/>
                  </a:lnTo>
                  <a:lnTo>
                    <a:pt x="112" y="128"/>
                  </a:lnTo>
                  <a:lnTo>
                    <a:pt x="114" y="128"/>
                  </a:lnTo>
                  <a:lnTo>
                    <a:pt x="112" y="124"/>
                  </a:lnTo>
                  <a:lnTo>
                    <a:pt x="110" y="120"/>
                  </a:lnTo>
                  <a:lnTo>
                    <a:pt x="98" y="102"/>
                  </a:lnTo>
                  <a:lnTo>
                    <a:pt x="94" y="100"/>
                  </a:lnTo>
                  <a:lnTo>
                    <a:pt x="94" y="98"/>
                  </a:lnTo>
                  <a:lnTo>
                    <a:pt x="94" y="94"/>
                  </a:lnTo>
                  <a:lnTo>
                    <a:pt x="94" y="92"/>
                  </a:lnTo>
                  <a:lnTo>
                    <a:pt x="94" y="82"/>
                  </a:lnTo>
                  <a:lnTo>
                    <a:pt x="94" y="74"/>
                  </a:lnTo>
                  <a:lnTo>
                    <a:pt x="94" y="64"/>
                  </a:lnTo>
                  <a:lnTo>
                    <a:pt x="88" y="34"/>
                  </a:lnTo>
                  <a:lnTo>
                    <a:pt x="86" y="24"/>
                  </a:lnTo>
                  <a:lnTo>
                    <a:pt x="86" y="22"/>
                  </a:lnTo>
                  <a:lnTo>
                    <a:pt x="94" y="20"/>
                  </a:lnTo>
                  <a:lnTo>
                    <a:pt x="102" y="14"/>
                  </a:lnTo>
                  <a:lnTo>
                    <a:pt x="134" y="0"/>
                  </a:lnTo>
                  <a:lnTo>
                    <a:pt x="150" y="8"/>
                  </a:lnTo>
                  <a:lnTo>
                    <a:pt x="180" y="24"/>
                  </a:lnTo>
                  <a:lnTo>
                    <a:pt x="212" y="40"/>
                  </a:lnTo>
                  <a:lnTo>
                    <a:pt x="214" y="42"/>
                  </a:lnTo>
                  <a:lnTo>
                    <a:pt x="232" y="50"/>
                  </a:lnTo>
                  <a:lnTo>
                    <a:pt x="246" y="58"/>
                  </a:lnTo>
                  <a:lnTo>
                    <a:pt x="266" y="68"/>
                  </a:lnTo>
                  <a:lnTo>
                    <a:pt x="278" y="74"/>
                  </a:lnTo>
                  <a:lnTo>
                    <a:pt x="292" y="80"/>
                  </a:lnTo>
                  <a:lnTo>
                    <a:pt x="320" y="96"/>
                  </a:lnTo>
                  <a:lnTo>
                    <a:pt x="346" y="108"/>
                  </a:lnTo>
                  <a:lnTo>
                    <a:pt x="372" y="122"/>
                  </a:lnTo>
                  <a:lnTo>
                    <a:pt x="392" y="134"/>
                  </a:lnTo>
                  <a:lnTo>
                    <a:pt x="412" y="144"/>
                  </a:lnTo>
                  <a:lnTo>
                    <a:pt x="438" y="158"/>
                  </a:lnTo>
                  <a:lnTo>
                    <a:pt x="472" y="176"/>
                  </a:lnTo>
                  <a:lnTo>
                    <a:pt x="494" y="188"/>
                  </a:lnTo>
                  <a:lnTo>
                    <a:pt x="520" y="202"/>
                  </a:lnTo>
                  <a:lnTo>
                    <a:pt x="520" y="204"/>
                  </a:lnTo>
                  <a:lnTo>
                    <a:pt x="522" y="236"/>
                  </a:lnTo>
                  <a:lnTo>
                    <a:pt x="522" y="240"/>
                  </a:lnTo>
                  <a:lnTo>
                    <a:pt x="522" y="252"/>
                  </a:lnTo>
                  <a:lnTo>
                    <a:pt x="522" y="264"/>
                  </a:lnTo>
                  <a:lnTo>
                    <a:pt x="522" y="316"/>
                  </a:lnTo>
                  <a:lnTo>
                    <a:pt x="524" y="368"/>
                  </a:lnTo>
                  <a:lnTo>
                    <a:pt x="524" y="374"/>
                  </a:lnTo>
                  <a:lnTo>
                    <a:pt x="524" y="390"/>
                  </a:lnTo>
                  <a:lnTo>
                    <a:pt x="524" y="396"/>
                  </a:lnTo>
                  <a:lnTo>
                    <a:pt x="522" y="396"/>
                  </a:lnTo>
                  <a:lnTo>
                    <a:pt x="518" y="396"/>
                  </a:lnTo>
                  <a:lnTo>
                    <a:pt x="514" y="394"/>
                  </a:lnTo>
                  <a:lnTo>
                    <a:pt x="506" y="394"/>
                  </a:lnTo>
                  <a:lnTo>
                    <a:pt x="504" y="394"/>
                  </a:lnTo>
                  <a:lnTo>
                    <a:pt x="502" y="394"/>
                  </a:lnTo>
                  <a:lnTo>
                    <a:pt x="500" y="394"/>
                  </a:lnTo>
                  <a:lnTo>
                    <a:pt x="498" y="396"/>
                  </a:lnTo>
                  <a:lnTo>
                    <a:pt x="496" y="396"/>
                  </a:lnTo>
                  <a:lnTo>
                    <a:pt x="494" y="398"/>
                  </a:lnTo>
                  <a:lnTo>
                    <a:pt x="492" y="398"/>
                  </a:lnTo>
                  <a:lnTo>
                    <a:pt x="490" y="398"/>
                  </a:lnTo>
                  <a:lnTo>
                    <a:pt x="486" y="396"/>
                  </a:lnTo>
                  <a:lnTo>
                    <a:pt x="482" y="396"/>
                  </a:lnTo>
                  <a:lnTo>
                    <a:pt x="480" y="396"/>
                  </a:lnTo>
                  <a:lnTo>
                    <a:pt x="472" y="404"/>
                  </a:lnTo>
                  <a:lnTo>
                    <a:pt x="470" y="406"/>
                  </a:lnTo>
                  <a:lnTo>
                    <a:pt x="470" y="408"/>
                  </a:lnTo>
                  <a:lnTo>
                    <a:pt x="472" y="410"/>
                  </a:lnTo>
                  <a:lnTo>
                    <a:pt x="474" y="412"/>
                  </a:lnTo>
                  <a:lnTo>
                    <a:pt x="474" y="414"/>
                  </a:lnTo>
                  <a:lnTo>
                    <a:pt x="474" y="416"/>
                  </a:lnTo>
                  <a:lnTo>
                    <a:pt x="474" y="418"/>
                  </a:lnTo>
                  <a:lnTo>
                    <a:pt x="474" y="422"/>
                  </a:lnTo>
                  <a:lnTo>
                    <a:pt x="472" y="426"/>
                  </a:lnTo>
                  <a:lnTo>
                    <a:pt x="470" y="428"/>
                  </a:lnTo>
                  <a:lnTo>
                    <a:pt x="468" y="428"/>
                  </a:lnTo>
                  <a:lnTo>
                    <a:pt x="466" y="430"/>
                  </a:lnTo>
                  <a:lnTo>
                    <a:pt x="464" y="432"/>
                  </a:lnTo>
                  <a:lnTo>
                    <a:pt x="462" y="434"/>
                  </a:lnTo>
                  <a:lnTo>
                    <a:pt x="458" y="440"/>
                  </a:lnTo>
                  <a:lnTo>
                    <a:pt x="458" y="442"/>
                  </a:lnTo>
                  <a:lnTo>
                    <a:pt x="458" y="444"/>
                  </a:lnTo>
                  <a:lnTo>
                    <a:pt x="460" y="448"/>
                  </a:lnTo>
                  <a:lnTo>
                    <a:pt x="450" y="452"/>
                  </a:lnTo>
                  <a:lnTo>
                    <a:pt x="448" y="452"/>
                  </a:lnTo>
                  <a:lnTo>
                    <a:pt x="446" y="454"/>
                  </a:lnTo>
                  <a:lnTo>
                    <a:pt x="444" y="454"/>
                  </a:lnTo>
                  <a:lnTo>
                    <a:pt x="444" y="456"/>
                  </a:lnTo>
                  <a:lnTo>
                    <a:pt x="444" y="458"/>
                  </a:lnTo>
                  <a:lnTo>
                    <a:pt x="446" y="458"/>
                  </a:lnTo>
                  <a:lnTo>
                    <a:pt x="448" y="460"/>
                  </a:lnTo>
                  <a:lnTo>
                    <a:pt x="448" y="466"/>
                  </a:lnTo>
                  <a:lnTo>
                    <a:pt x="452" y="472"/>
                  </a:lnTo>
                  <a:lnTo>
                    <a:pt x="454" y="476"/>
                  </a:lnTo>
                  <a:lnTo>
                    <a:pt x="452" y="478"/>
                  </a:lnTo>
                  <a:lnTo>
                    <a:pt x="446" y="482"/>
                  </a:lnTo>
                  <a:lnTo>
                    <a:pt x="444" y="482"/>
                  </a:lnTo>
                  <a:lnTo>
                    <a:pt x="442" y="484"/>
                  </a:lnTo>
                  <a:lnTo>
                    <a:pt x="438" y="486"/>
                  </a:lnTo>
                  <a:lnTo>
                    <a:pt x="436" y="488"/>
                  </a:lnTo>
                  <a:lnTo>
                    <a:pt x="430" y="496"/>
                  </a:lnTo>
                  <a:lnTo>
                    <a:pt x="432" y="502"/>
                  </a:lnTo>
                  <a:lnTo>
                    <a:pt x="436" y="510"/>
                  </a:lnTo>
                  <a:lnTo>
                    <a:pt x="440" y="516"/>
                  </a:lnTo>
                  <a:lnTo>
                    <a:pt x="440" y="518"/>
                  </a:lnTo>
                  <a:lnTo>
                    <a:pt x="440" y="520"/>
                  </a:lnTo>
                  <a:lnTo>
                    <a:pt x="434" y="526"/>
                  </a:lnTo>
                  <a:lnTo>
                    <a:pt x="430" y="528"/>
                  </a:lnTo>
                  <a:lnTo>
                    <a:pt x="428" y="528"/>
                  </a:lnTo>
                  <a:lnTo>
                    <a:pt x="422" y="532"/>
                  </a:lnTo>
                  <a:lnTo>
                    <a:pt x="420" y="538"/>
                  </a:lnTo>
                  <a:lnTo>
                    <a:pt x="418" y="546"/>
                  </a:lnTo>
                  <a:lnTo>
                    <a:pt x="420" y="552"/>
                  </a:lnTo>
                  <a:lnTo>
                    <a:pt x="422" y="554"/>
                  </a:lnTo>
                  <a:lnTo>
                    <a:pt x="424" y="554"/>
                  </a:lnTo>
                  <a:lnTo>
                    <a:pt x="426" y="554"/>
                  </a:lnTo>
                  <a:lnTo>
                    <a:pt x="428" y="554"/>
                  </a:lnTo>
                  <a:lnTo>
                    <a:pt x="430" y="554"/>
                  </a:lnTo>
                  <a:lnTo>
                    <a:pt x="432" y="554"/>
                  </a:lnTo>
                  <a:lnTo>
                    <a:pt x="434" y="552"/>
                  </a:lnTo>
                  <a:lnTo>
                    <a:pt x="436" y="550"/>
                  </a:lnTo>
                  <a:lnTo>
                    <a:pt x="438" y="548"/>
                  </a:lnTo>
                  <a:lnTo>
                    <a:pt x="442" y="552"/>
                  </a:lnTo>
                  <a:lnTo>
                    <a:pt x="450" y="554"/>
                  </a:lnTo>
                  <a:lnTo>
                    <a:pt x="446" y="562"/>
                  </a:lnTo>
                  <a:lnTo>
                    <a:pt x="448" y="568"/>
                  </a:lnTo>
                  <a:lnTo>
                    <a:pt x="452" y="578"/>
                  </a:lnTo>
                  <a:lnTo>
                    <a:pt x="454" y="582"/>
                  </a:lnTo>
                  <a:lnTo>
                    <a:pt x="456" y="586"/>
                  </a:lnTo>
                  <a:lnTo>
                    <a:pt x="456" y="590"/>
                  </a:lnTo>
                  <a:lnTo>
                    <a:pt x="454" y="596"/>
                  </a:lnTo>
                  <a:lnTo>
                    <a:pt x="454" y="604"/>
                  </a:lnTo>
                  <a:lnTo>
                    <a:pt x="454" y="606"/>
                  </a:lnTo>
                  <a:lnTo>
                    <a:pt x="454" y="608"/>
                  </a:lnTo>
                  <a:lnTo>
                    <a:pt x="456" y="610"/>
                  </a:lnTo>
                  <a:lnTo>
                    <a:pt x="458" y="610"/>
                  </a:lnTo>
                  <a:lnTo>
                    <a:pt x="458" y="612"/>
                  </a:lnTo>
                  <a:lnTo>
                    <a:pt x="466" y="616"/>
                  </a:lnTo>
                  <a:lnTo>
                    <a:pt x="474" y="616"/>
                  </a:lnTo>
                  <a:lnTo>
                    <a:pt x="474" y="624"/>
                  </a:lnTo>
                  <a:lnTo>
                    <a:pt x="474" y="628"/>
                  </a:lnTo>
                  <a:lnTo>
                    <a:pt x="472" y="640"/>
                  </a:lnTo>
                  <a:lnTo>
                    <a:pt x="470" y="642"/>
                  </a:lnTo>
                  <a:lnTo>
                    <a:pt x="468" y="640"/>
                  </a:lnTo>
                  <a:lnTo>
                    <a:pt x="460" y="640"/>
                  </a:lnTo>
                  <a:lnTo>
                    <a:pt x="450" y="638"/>
                  </a:lnTo>
                  <a:lnTo>
                    <a:pt x="448" y="638"/>
                  </a:lnTo>
                  <a:lnTo>
                    <a:pt x="448" y="640"/>
                  </a:lnTo>
                  <a:lnTo>
                    <a:pt x="444" y="640"/>
                  </a:lnTo>
                  <a:lnTo>
                    <a:pt x="442" y="640"/>
                  </a:lnTo>
                  <a:lnTo>
                    <a:pt x="438" y="642"/>
                  </a:lnTo>
                  <a:lnTo>
                    <a:pt x="426" y="650"/>
                  </a:lnTo>
                  <a:lnTo>
                    <a:pt x="424" y="652"/>
                  </a:lnTo>
                  <a:lnTo>
                    <a:pt x="420" y="652"/>
                  </a:lnTo>
                  <a:lnTo>
                    <a:pt x="418" y="654"/>
                  </a:lnTo>
                  <a:lnTo>
                    <a:pt x="416" y="654"/>
                  </a:lnTo>
                  <a:lnTo>
                    <a:pt x="412" y="656"/>
                  </a:lnTo>
                  <a:lnTo>
                    <a:pt x="412" y="660"/>
                  </a:lnTo>
                  <a:lnTo>
                    <a:pt x="412" y="662"/>
                  </a:lnTo>
                  <a:lnTo>
                    <a:pt x="412" y="664"/>
                  </a:lnTo>
                  <a:lnTo>
                    <a:pt x="414" y="666"/>
                  </a:lnTo>
                  <a:lnTo>
                    <a:pt x="414" y="668"/>
                  </a:lnTo>
                  <a:lnTo>
                    <a:pt x="412" y="674"/>
                  </a:lnTo>
                  <a:lnTo>
                    <a:pt x="410" y="676"/>
                  </a:lnTo>
                  <a:lnTo>
                    <a:pt x="408" y="678"/>
                  </a:lnTo>
                  <a:lnTo>
                    <a:pt x="404" y="678"/>
                  </a:lnTo>
                  <a:lnTo>
                    <a:pt x="402" y="678"/>
                  </a:lnTo>
                  <a:lnTo>
                    <a:pt x="402" y="680"/>
                  </a:lnTo>
                  <a:lnTo>
                    <a:pt x="400" y="682"/>
                  </a:lnTo>
                  <a:lnTo>
                    <a:pt x="398" y="684"/>
                  </a:lnTo>
                  <a:lnTo>
                    <a:pt x="398" y="686"/>
                  </a:lnTo>
                  <a:lnTo>
                    <a:pt x="398" y="688"/>
                  </a:lnTo>
                  <a:lnTo>
                    <a:pt x="394" y="690"/>
                  </a:lnTo>
                  <a:lnTo>
                    <a:pt x="394" y="692"/>
                  </a:lnTo>
                  <a:lnTo>
                    <a:pt x="390" y="690"/>
                  </a:lnTo>
                  <a:lnTo>
                    <a:pt x="388" y="692"/>
                  </a:lnTo>
                  <a:lnTo>
                    <a:pt x="378" y="702"/>
                  </a:lnTo>
                  <a:lnTo>
                    <a:pt x="376" y="710"/>
                  </a:lnTo>
                  <a:lnTo>
                    <a:pt x="370" y="714"/>
                  </a:lnTo>
                  <a:lnTo>
                    <a:pt x="368" y="716"/>
                  </a:lnTo>
                  <a:lnTo>
                    <a:pt x="366" y="718"/>
                  </a:lnTo>
                  <a:lnTo>
                    <a:pt x="352" y="726"/>
                  </a:lnTo>
                  <a:lnTo>
                    <a:pt x="352" y="728"/>
                  </a:lnTo>
                  <a:lnTo>
                    <a:pt x="350" y="730"/>
                  </a:lnTo>
                  <a:lnTo>
                    <a:pt x="348" y="732"/>
                  </a:lnTo>
                  <a:lnTo>
                    <a:pt x="346" y="734"/>
                  </a:lnTo>
                  <a:lnTo>
                    <a:pt x="344" y="736"/>
                  </a:lnTo>
                  <a:lnTo>
                    <a:pt x="342" y="736"/>
                  </a:lnTo>
                  <a:lnTo>
                    <a:pt x="340" y="734"/>
                  </a:lnTo>
                  <a:lnTo>
                    <a:pt x="334" y="734"/>
                  </a:lnTo>
                  <a:lnTo>
                    <a:pt x="330" y="734"/>
                  </a:lnTo>
                  <a:lnTo>
                    <a:pt x="324" y="736"/>
                  </a:lnTo>
                  <a:lnTo>
                    <a:pt x="322" y="738"/>
                  </a:lnTo>
                  <a:lnTo>
                    <a:pt x="318" y="738"/>
                  </a:lnTo>
                  <a:lnTo>
                    <a:pt x="306" y="738"/>
                  </a:lnTo>
                  <a:lnTo>
                    <a:pt x="296" y="740"/>
                  </a:lnTo>
                  <a:lnTo>
                    <a:pt x="284" y="738"/>
                  </a:lnTo>
                  <a:lnTo>
                    <a:pt x="280" y="740"/>
                  </a:lnTo>
                  <a:lnTo>
                    <a:pt x="276" y="740"/>
                  </a:lnTo>
                  <a:lnTo>
                    <a:pt x="274" y="742"/>
                  </a:lnTo>
                  <a:lnTo>
                    <a:pt x="272" y="744"/>
                  </a:lnTo>
                  <a:lnTo>
                    <a:pt x="270" y="746"/>
                  </a:lnTo>
                  <a:lnTo>
                    <a:pt x="268" y="748"/>
                  </a:lnTo>
                  <a:lnTo>
                    <a:pt x="272" y="750"/>
                  </a:lnTo>
                  <a:lnTo>
                    <a:pt x="274" y="752"/>
                  </a:lnTo>
                  <a:lnTo>
                    <a:pt x="276" y="752"/>
                  </a:lnTo>
                  <a:lnTo>
                    <a:pt x="280" y="756"/>
                  </a:lnTo>
                  <a:lnTo>
                    <a:pt x="282" y="758"/>
                  </a:lnTo>
                  <a:lnTo>
                    <a:pt x="280" y="760"/>
                  </a:lnTo>
                  <a:lnTo>
                    <a:pt x="278" y="762"/>
                  </a:lnTo>
                  <a:lnTo>
                    <a:pt x="274" y="766"/>
                  </a:lnTo>
                  <a:lnTo>
                    <a:pt x="272" y="770"/>
                  </a:lnTo>
                  <a:lnTo>
                    <a:pt x="270" y="770"/>
                  </a:lnTo>
                  <a:lnTo>
                    <a:pt x="270" y="772"/>
                  </a:lnTo>
                  <a:lnTo>
                    <a:pt x="268" y="776"/>
                  </a:lnTo>
                  <a:lnTo>
                    <a:pt x="266" y="778"/>
                  </a:lnTo>
                  <a:lnTo>
                    <a:pt x="262" y="780"/>
                  </a:lnTo>
                  <a:lnTo>
                    <a:pt x="260" y="780"/>
                  </a:lnTo>
                  <a:lnTo>
                    <a:pt x="258" y="780"/>
                  </a:lnTo>
                  <a:lnTo>
                    <a:pt x="258" y="782"/>
                  </a:lnTo>
                  <a:lnTo>
                    <a:pt x="256" y="782"/>
                  </a:lnTo>
                  <a:lnTo>
                    <a:pt x="256" y="784"/>
                  </a:lnTo>
                  <a:lnTo>
                    <a:pt x="256" y="786"/>
                  </a:lnTo>
                  <a:lnTo>
                    <a:pt x="256" y="788"/>
                  </a:lnTo>
                  <a:lnTo>
                    <a:pt x="254" y="790"/>
                  </a:lnTo>
                  <a:lnTo>
                    <a:pt x="252" y="790"/>
                  </a:lnTo>
                  <a:lnTo>
                    <a:pt x="246" y="790"/>
                  </a:lnTo>
                  <a:lnTo>
                    <a:pt x="236" y="790"/>
                  </a:lnTo>
                  <a:lnTo>
                    <a:pt x="226" y="790"/>
                  </a:lnTo>
                  <a:lnTo>
                    <a:pt x="218" y="794"/>
                  </a:lnTo>
                  <a:lnTo>
                    <a:pt x="210" y="792"/>
                  </a:lnTo>
                  <a:lnTo>
                    <a:pt x="206" y="792"/>
                  </a:lnTo>
                  <a:lnTo>
                    <a:pt x="202" y="794"/>
                  </a:lnTo>
                  <a:lnTo>
                    <a:pt x="200" y="796"/>
                  </a:lnTo>
                  <a:lnTo>
                    <a:pt x="196" y="796"/>
                  </a:lnTo>
                  <a:lnTo>
                    <a:pt x="192" y="798"/>
                  </a:lnTo>
                  <a:lnTo>
                    <a:pt x="186" y="802"/>
                  </a:lnTo>
                  <a:lnTo>
                    <a:pt x="184" y="804"/>
                  </a:lnTo>
                  <a:lnTo>
                    <a:pt x="180" y="806"/>
                  </a:lnTo>
                  <a:lnTo>
                    <a:pt x="176" y="808"/>
                  </a:lnTo>
                  <a:lnTo>
                    <a:pt x="172" y="808"/>
                  </a:lnTo>
                  <a:lnTo>
                    <a:pt x="170" y="810"/>
                  </a:lnTo>
                  <a:lnTo>
                    <a:pt x="168" y="810"/>
                  </a:lnTo>
                  <a:lnTo>
                    <a:pt x="166" y="812"/>
                  </a:lnTo>
                  <a:lnTo>
                    <a:pt x="166" y="814"/>
                  </a:lnTo>
                  <a:lnTo>
                    <a:pt x="164" y="814"/>
                  </a:lnTo>
                  <a:lnTo>
                    <a:pt x="162" y="814"/>
                  </a:lnTo>
                  <a:lnTo>
                    <a:pt x="152" y="802"/>
                  </a:lnTo>
                  <a:lnTo>
                    <a:pt x="152" y="800"/>
                  </a:lnTo>
                  <a:lnTo>
                    <a:pt x="152" y="798"/>
                  </a:lnTo>
                  <a:lnTo>
                    <a:pt x="150" y="798"/>
                  </a:lnTo>
                  <a:lnTo>
                    <a:pt x="148" y="798"/>
                  </a:lnTo>
                  <a:lnTo>
                    <a:pt x="144" y="802"/>
                  </a:lnTo>
                  <a:lnTo>
                    <a:pt x="144" y="804"/>
                  </a:lnTo>
                  <a:lnTo>
                    <a:pt x="144" y="806"/>
                  </a:lnTo>
                  <a:lnTo>
                    <a:pt x="134" y="810"/>
                  </a:lnTo>
                  <a:lnTo>
                    <a:pt x="130" y="812"/>
                  </a:lnTo>
                  <a:lnTo>
                    <a:pt x="128" y="812"/>
                  </a:lnTo>
                  <a:lnTo>
                    <a:pt x="126" y="812"/>
                  </a:lnTo>
                  <a:lnTo>
                    <a:pt x="124" y="814"/>
                  </a:lnTo>
                  <a:lnTo>
                    <a:pt x="122" y="816"/>
                  </a:lnTo>
                  <a:lnTo>
                    <a:pt x="118" y="818"/>
                  </a:lnTo>
                  <a:lnTo>
                    <a:pt x="112" y="818"/>
                  </a:lnTo>
                  <a:lnTo>
                    <a:pt x="108" y="818"/>
                  </a:lnTo>
                  <a:lnTo>
                    <a:pt x="108" y="816"/>
                  </a:lnTo>
                  <a:lnTo>
                    <a:pt x="106" y="814"/>
                  </a:lnTo>
                  <a:lnTo>
                    <a:pt x="104" y="814"/>
                  </a:lnTo>
                  <a:lnTo>
                    <a:pt x="100" y="816"/>
                  </a:lnTo>
                  <a:lnTo>
                    <a:pt x="98" y="814"/>
                  </a:lnTo>
                  <a:lnTo>
                    <a:pt x="100" y="812"/>
                  </a:lnTo>
                  <a:lnTo>
                    <a:pt x="102" y="810"/>
                  </a:lnTo>
                  <a:lnTo>
                    <a:pt x="102" y="806"/>
                  </a:lnTo>
                  <a:lnTo>
                    <a:pt x="102" y="804"/>
                  </a:lnTo>
                  <a:lnTo>
                    <a:pt x="98" y="802"/>
                  </a:lnTo>
                  <a:lnTo>
                    <a:pt x="96" y="800"/>
                  </a:lnTo>
                  <a:lnTo>
                    <a:pt x="94" y="796"/>
                  </a:lnTo>
                  <a:lnTo>
                    <a:pt x="94" y="794"/>
                  </a:lnTo>
                  <a:lnTo>
                    <a:pt x="92" y="788"/>
                  </a:lnTo>
                  <a:lnTo>
                    <a:pt x="92" y="786"/>
                  </a:lnTo>
                  <a:lnTo>
                    <a:pt x="92" y="784"/>
                  </a:lnTo>
                  <a:lnTo>
                    <a:pt x="90" y="782"/>
                  </a:lnTo>
                  <a:lnTo>
                    <a:pt x="86" y="772"/>
                  </a:lnTo>
                  <a:lnTo>
                    <a:pt x="84" y="768"/>
                  </a:lnTo>
                  <a:lnTo>
                    <a:pt x="82" y="766"/>
                  </a:lnTo>
                  <a:lnTo>
                    <a:pt x="76" y="758"/>
                  </a:lnTo>
                  <a:lnTo>
                    <a:pt x="68" y="750"/>
                  </a:lnTo>
                  <a:lnTo>
                    <a:pt x="66" y="748"/>
                  </a:lnTo>
                  <a:lnTo>
                    <a:pt x="64" y="748"/>
                  </a:lnTo>
                  <a:lnTo>
                    <a:pt x="54" y="740"/>
                  </a:lnTo>
                  <a:lnTo>
                    <a:pt x="50" y="738"/>
                  </a:lnTo>
                  <a:lnTo>
                    <a:pt x="40" y="728"/>
                  </a:lnTo>
                  <a:lnTo>
                    <a:pt x="38" y="726"/>
                  </a:lnTo>
                  <a:lnTo>
                    <a:pt x="24" y="706"/>
                  </a:lnTo>
                  <a:lnTo>
                    <a:pt x="20" y="706"/>
                  </a:lnTo>
                  <a:lnTo>
                    <a:pt x="24" y="702"/>
                  </a:lnTo>
                  <a:lnTo>
                    <a:pt x="24" y="700"/>
                  </a:lnTo>
                  <a:lnTo>
                    <a:pt x="26" y="698"/>
                  </a:lnTo>
                  <a:lnTo>
                    <a:pt x="28" y="698"/>
                  </a:lnTo>
                  <a:lnTo>
                    <a:pt x="28" y="696"/>
                  </a:lnTo>
                  <a:lnTo>
                    <a:pt x="30" y="694"/>
                  </a:lnTo>
                  <a:lnTo>
                    <a:pt x="32" y="690"/>
                  </a:lnTo>
                  <a:lnTo>
                    <a:pt x="32" y="6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4" name="Freeform 1398"/>
            <p:cNvSpPr>
              <a:spLocks/>
            </p:cNvSpPr>
            <p:nvPr/>
          </p:nvSpPr>
          <p:spPr bwMode="auto">
            <a:xfrm>
              <a:off x="4479536" y="3242160"/>
              <a:ext cx="110096" cy="332792"/>
            </a:xfrm>
            <a:custGeom>
              <a:avLst/>
              <a:gdLst/>
              <a:ahLst/>
              <a:cxnLst>
                <a:cxn ang="0">
                  <a:pos x="82" y="196"/>
                </a:cxn>
                <a:cxn ang="0">
                  <a:pos x="82" y="220"/>
                </a:cxn>
                <a:cxn ang="0">
                  <a:pos x="78" y="224"/>
                </a:cxn>
                <a:cxn ang="0">
                  <a:pos x="78" y="234"/>
                </a:cxn>
                <a:cxn ang="0">
                  <a:pos x="82" y="242"/>
                </a:cxn>
                <a:cxn ang="0">
                  <a:pos x="86" y="250"/>
                </a:cxn>
                <a:cxn ang="0">
                  <a:pos x="84" y="258"/>
                </a:cxn>
                <a:cxn ang="0">
                  <a:pos x="76" y="260"/>
                </a:cxn>
                <a:cxn ang="0">
                  <a:pos x="62" y="264"/>
                </a:cxn>
                <a:cxn ang="0">
                  <a:pos x="58" y="262"/>
                </a:cxn>
                <a:cxn ang="0">
                  <a:pos x="48" y="254"/>
                </a:cxn>
                <a:cxn ang="0">
                  <a:pos x="36" y="248"/>
                </a:cxn>
                <a:cxn ang="0">
                  <a:pos x="34" y="240"/>
                </a:cxn>
                <a:cxn ang="0">
                  <a:pos x="30" y="236"/>
                </a:cxn>
                <a:cxn ang="0">
                  <a:pos x="26" y="228"/>
                </a:cxn>
                <a:cxn ang="0">
                  <a:pos x="30" y="218"/>
                </a:cxn>
                <a:cxn ang="0">
                  <a:pos x="32" y="198"/>
                </a:cxn>
                <a:cxn ang="0">
                  <a:pos x="26" y="196"/>
                </a:cxn>
                <a:cxn ang="0">
                  <a:pos x="26" y="188"/>
                </a:cxn>
                <a:cxn ang="0">
                  <a:pos x="30" y="162"/>
                </a:cxn>
                <a:cxn ang="0">
                  <a:pos x="36" y="152"/>
                </a:cxn>
                <a:cxn ang="0">
                  <a:pos x="36" y="146"/>
                </a:cxn>
                <a:cxn ang="0">
                  <a:pos x="28" y="138"/>
                </a:cxn>
                <a:cxn ang="0">
                  <a:pos x="22" y="128"/>
                </a:cxn>
                <a:cxn ang="0">
                  <a:pos x="28" y="122"/>
                </a:cxn>
                <a:cxn ang="0">
                  <a:pos x="26" y="112"/>
                </a:cxn>
                <a:cxn ang="0">
                  <a:pos x="30" y="104"/>
                </a:cxn>
                <a:cxn ang="0">
                  <a:pos x="30" y="92"/>
                </a:cxn>
                <a:cxn ang="0">
                  <a:pos x="26" y="88"/>
                </a:cxn>
                <a:cxn ang="0">
                  <a:pos x="18" y="92"/>
                </a:cxn>
                <a:cxn ang="0">
                  <a:pos x="14" y="88"/>
                </a:cxn>
                <a:cxn ang="0">
                  <a:pos x="20" y="74"/>
                </a:cxn>
                <a:cxn ang="0">
                  <a:pos x="26" y="58"/>
                </a:cxn>
                <a:cxn ang="0">
                  <a:pos x="22" y="54"/>
                </a:cxn>
                <a:cxn ang="0">
                  <a:pos x="20" y="42"/>
                </a:cxn>
                <a:cxn ang="0">
                  <a:pos x="12" y="34"/>
                </a:cxn>
                <a:cxn ang="0">
                  <a:pos x="4" y="28"/>
                </a:cxn>
                <a:cxn ang="0">
                  <a:pos x="4" y="20"/>
                </a:cxn>
                <a:cxn ang="0">
                  <a:pos x="10" y="8"/>
                </a:cxn>
                <a:cxn ang="0">
                  <a:pos x="6" y="2"/>
                </a:cxn>
                <a:cxn ang="0">
                  <a:pos x="0" y="2"/>
                </a:cxn>
                <a:cxn ang="0">
                  <a:pos x="10" y="4"/>
                </a:cxn>
                <a:cxn ang="0">
                  <a:pos x="30" y="8"/>
                </a:cxn>
                <a:cxn ang="0">
                  <a:pos x="32" y="12"/>
                </a:cxn>
                <a:cxn ang="0">
                  <a:pos x="44" y="10"/>
                </a:cxn>
                <a:cxn ang="0">
                  <a:pos x="52" y="14"/>
                </a:cxn>
                <a:cxn ang="0">
                  <a:pos x="48" y="24"/>
                </a:cxn>
                <a:cxn ang="0">
                  <a:pos x="48" y="30"/>
                </a:cxn>
                <a:cxn ang="0">
                  <a:pos x="44" y="42"/>
                </a:cxn>
                <a:cxn ang="0">
                  <a:pos x="64" y="58"/>
                </a:cxn>
                <a:cxn ang="0">
                  <a:pos x="74" y="68"/>
                </a:cxn>
                <a:cxn ang="0">
                  <a:pos x="72" y="86"/>
                </a:cxn>
                <a:cxn ang="0">
                  <a:pos x="74" y="94"/>
                </a:cxn>
                <a:cxn ang="0">
                  <a:pos x="76" y="100"/>
                </a:cxn>
                <a:cxn ang="0">
                  <a:pos x="80" y="106"/>
                </a:cxn>
                <a:cxn ang="0">
                  <a:pos x="84" y="114"/>
                </a:cxn>
                <a:cxn ang="0">
                  <a:pos x="84" y="138"/>
                </a:cxn>
                <a:cxn ang="0">
                  <a:pos x="84" y="150"/>
                </a:cxn>
                <a:cxn ang="0">
                  <a:pos x="82" y="186"/>
                </a:cxn>
              </a:cxnLst>
              <a:rect l="0" t="0" r="r" b="b"/>
              <a:pathLst>
                <a:path w="88" h="266">
                  <a:moveTo>
                    <a:pt x="84" y="192"/>
                  </a:moveTo>
                  <a:lnTo>
                    <a:pt x="84" y="194"/>
                  </a:lnTo>
                  <a:lnTo>
                    <a:pt x="82" y="196"/>
                  </a:lnTo>
                  <a:lnTo>
                    <a:pt x="82" y="198"/>
                  </a:lnTo>
                  <a:lnTo>
                    <a:pt x="82" y="202"/>
                  </a:lnTo>
                  <a:lnTo>
                    <a:pt x="82" y="220"/>
                  </a:lnTo>
                  <a:lnTo>
                    <a:pt x="76" y="220"/>
                  </a:lnTo>
                  <a:lnTo>
                    <a:pt x="78" y="222"/>
                  </a:lnTo>
                  <a:lnTo>
                    <a:pt x="78" y="224"/>
                  </a:lnTo>
                  <a:lnTo>
                    <a:pt x="80" y="226"/>
                  </a:lnTo>
                  <a:lnTo>
                    <a:pt x="80" y="230"/>
                  </a:lnTo>
                  <a:lnTo>
                    <a:pt x="78" y="234"/>
                  </a:lnTo>
                  <a:lnTo>
                    <a:pt x="78" y="236"/>
                  </a:lnTo>
                  <a:lnTo>
                    <a:pt x="80" y="240"/>
                  </a:lnTo>
                  <a:lnTo>
                    <a:pt x="82" y="242"/>
                  </a:lnTo>
                  <a:lnTo>
                    <a:pt x="84" y="244"/>
                  </a:lnTo>
                  <a:lnTo>
                    <a:pt x="86" y="248"/>
                  </a:lnTo>
                  <a:lnTo>
                    <a:pt x="86" y="250"/>
                  </a:lnTo>
                  <a:lnTo>
                    <a:pt x="88" y="256"/>
                  </a:lnTo>
                  <a:lnTo>
                    <a:pt x="88" y="258"/>
                  </a:lnTo>
                  <a:lnTo>
                    <a:pt x="84" y="258"/>
                  </a:lnTo>
                  <a:lnTo>
                    <a:pt x="82" y="258"/>
                  </a:lnTo>
                  <a:lnTo>
                    <a:pt x="80" y="260"/>
                  </a:lnTo>
                  <a:lnTo>
                    <a:pt x="76" y="260"/>
                  </a:lnTo>
                  <a:lnTo>
                    <a:pt x="72" y="262"/>
                  </a:lnTo>
                  <a:lnTo>
                    <a:pt x="68" y="262"/>
                  </a:lnTo>
                  <a:lnTo>
                    <a:pt x="62" y="264"/>
                  </a:lnTo>
                  <a:lnTo>
                    <a:pt x="58" y="266"/>
                  </a:lnTo>
                  <a:lnTo>
                    <a:pt x="58" y="264"/>
                  </a:lnTo>
                  <a:lnTo>
                    <a:pt x="58" y="262"/>
                  </a:lnTo>
                  <a:lnTo>
                    <a:pt x="52" y="262"/>
                  </a:lnTo>
                  <a:lnTo>
                    <a:pt x="50" y="260"/>
                  </a:lnTo>
                  <a:lnTo>
                    <a:pt x="48" y="254"/>
                  </a:lnTo>
                  <a:lnTo>
                    <a:pt x="42" y="254"/>
                  </a:lnTo>
                  <a:lnTo>
                    <a:pt x="38" y="250"/>
                  </a:lnTo>
                  <a:lnTo>
                    <a:pt x="36" y="248"/>
                  </a:lnTo>
                  <a:lnTo>
                    <a:pt x="34" y="244"/>
                  </a:lnTo>
                  <a:lnTo>
                    <a:pt x="34" y="242"/>
                  </a:lnTo>
                  <a:lnTo>
                    <a:pt x="34" y="240"/>
                  </a:lnTo>
                  <a:lnTo>
                    <a:pt x="32" y="240"/>
                  </a:lnTo>
                  <a:lnTo>
                    <a:pt x="30" y="238"/>
                  </a:lnTo>
                  <a:lnTo>
                    <a:pt x="30" y="236"/>
                  </a:lnTo>
                  <a:lnTo>
                    <a:pt x="30" y="234"/>
                  </a:lnTo>
                  <a:lnTo>
                    <a:pt x="30" y="232"/>
                  </a:lnTo>
                  <a:lnTo>
                    <a:pt x="26" y="228"/>
                  </a:lnTo>
                  <a:lnTo>
                    <a:pt x="24" y="220"/>
                  </a:lnTo>
                  <a:lnTo>
                    <a:pt x="28" y="218"/>
                  </a:lnTo>
                  <a:lnTo>
                    <a:pt x="30" y="218"/>
                  </a:lnTo>
                  <a:lnTo>
                    <a:pt x="30" y="208"/>
                  </a:lnTo>
                  <a:lnTo>
                    <a:pt x="32" y="204"/>
                  </a:lnTo>
                  <a:lnTo>
                    <a:pt x="32" y="198"/>
                  </a:lnTo>
                  <a:lnTo>
                    <a:pt x="30" y="198"/>
                  </a:lnTo>
                  <a:lnTo>
                    <a:pt x="28" y="198"/>
                  </a:lnTo>
                  <a:lnTo>
                    <a:pt x="26" y="196"/>
                  </a:lnTo>
                  <a:lnTo>
                    <a:pt x="24" y="194"/>
                  </a:lnTo>
                  <a:lnTo>
                    <a:pt x="26" y="190"/>
                  </a:lnTo>
                  <a:lnTo>
                    <a:pt x="26" y="188"/>
                  </a:lnTo>
                  <a:lnTo>
                    <a:pt x="30" y="182"/>
                  </a:lnTo>
                  <a:lnTo>
                    <a:pt x="32" y="172"/>
                  </a:lnTo>
                  <a:lnTo>
                    <a:pt x="30" y="162"/>
                  </a:lnTo>
                  <a:lnTo>
                    <a:pt x="32" y="154"/>
                  </a:lnTo>
                  <a:lnTo>
                    <a:pt x="34" y="152"/>
                  </a:lnTo>
                  <a:lnTo>
                    <a:pt x="36" y="152"/>
                  </a:lnTo>
                  <a:lnTo>
                    <a:pt x="38" y="152"/>
                  </a:lnTo>
                  <a:lnTo>
                    <a:pt x="38" y="150"/>
                  </a:lnTo>
                  <a:lnTo>
                    <a:pt x="36" y="146"/>
                  </a:lnTo>
                  <a:lnTo>
                    <a:pt x="34" y="140"/>
                  </a:lnTo>
                  <a:lnTo>
                    <a:pt x="32" y="140"/>
                  </a:lnTo>
                  <a:lnTo>
                    <a:pt x="28" y="138"/>
                  </a:lnTo>
                  <a:lnTo>
                    <a:pt x="26" y="134"/>
                  </a:lnTo>
                  <a:lnTo>
                    <a:pt x="22" y="130"/>
                  </a:lnTo>
                  <a:lnTo>
                    <a:pt x="22" y="128"/>
                  </a:lnTo>
                  <a:lnTo>
                    <a:pt x="20" y="126"/>
                  </a:lnTo>
                  <a:lnTo>
                    <a:pt x="26" y="124"/>
                  </a:lnTo>
                  <a:lnTo>
                    <a:pt x="28" y="122"/>
                  </a:lnTo>
                  <a:lnTo>
                    <a:pt x="28" y="120"/>
                  </a:lnTo>
                  <a:lnTo>
                    <a:pt x="28" y="118"/>
                  </a:lnTo>
                  <a:lnTo>
                    <a:pt x="26" y="112"/>
                  </a:lnTo>
                  <a:lnTo>
                    <a:pt x="26" y="110"/>
                  </a:lnTo>
                  <a:lnTo>
                    <a:pt x="28" y="106"/>
                  </a:lnTo>
                  <a:lnTo>
                    <a:pt x="30" y="104"/>
                  </a:lnTo>
                  <a:lnTo>
                    <a:pt x="30" y="102"/>
                  </a:lnTo>
                  <a:lnTo>
                    <a:pt x="30" y="94"/>
                  </a:lnTo>
                  <a:lnTo>
                    <a:pt x="30" y="92"/>
                  </a:lnTo>
                  <a:lnTo>
                    <a:pt x="30" y="88"/>
                  </a:lnTo>
                  <a:lnTo>
                    <a:pt x="28" y="88"/>
                  </a:lnTo>
                  <a:lnTo>
                    <a:pt x="26" y="88"/>
                  </a:lnTo>
                  <a:lnTo>
                    <a:pt x="22" y="88"/>
                  </a:lnTo>
                  <a:lnTo>
                    <a:pt x="20" y="90"/>
                  </a:lnTo>
                  <a:lnTo>
                    <a:pt x="18" y="92"/>
                  </a:lnTo>
                  <a:lnTo>
                    <a:pt x="16" y="92"/>
                  </a:lnTo>
                  <a:lnTo>
                    <a:pt x="16" y="90"/>
                  </a:lnTo>
                  <a:lnTo>
                    <a:pt x="14" y="88"/>
                  </a:lnTo>
                  <a:lnTo>
                    <a:pt x="16" y="84"/>
                  </a:lnTo>
                  <a:lnTo>
                    <a:pt x="18" y="78"/>
                  </a:lnTo>
                  <a:lnTo>
                    <a:pt x="20" y="74"/>
                  </a:lnTo>
                  <a:lnTo>
                    <a:pt x="22" y="60"/>
                  </a:lnTo>
                  <a:lnTo>
                    <a:pt x="26" y="60"/>
                  </a:lnTo>
                  <a:lnTo>
                    <a:pt x="26" y="58"/>
                  </a:lnTo>
                  <a:lnTo>
                    <a:pt x="24" y="56"/>
                  </a:lnTo>
                  <a:lnTo>
                    <a:pt x="22" y="56"/>
                  </a:lnTo>
                  <a:lnTo>
                    <a:pt x="22" y="54"/>
                  </a:lnTo>
                  <a:lnTo>
                    <a:pt x="24" y="52"/>
                  </a:lnTo>
                  <a:lnTo>
                    <a:pt x="24" y="48"/>
                  </a:lnTo>
                  <a:lnTo>
                    <a:pt x="20" y="42"/>
                  </a:lnTo>
                  <a:lnTo>
                    <a:pt x="20" y="40"/>
                  </a:lnTo>
                  <a:lnTo>
                    <a:pt x="18" y="40"/>
                  </a:lnTo>
                  <a:lnTo>
                    <a:pt x="12" y="34"/>
                  </a:lnTo>
                  <a:lnTo>
                    <a:pt x="8" y="30"/>
                  </a:lnTo>
                  <a:lnTo>
                    <a:pt x="6" y="28"/>
                  </a:lnTo>
                  <a:lnTo>
                    <a:pt x="4" y="28"/>
                  </a:lnTo>
                  <a:lnTo>
                    <a:pt x="2" y="26"/>
                  </a:lnTo>
                  <a:lnTo>
                    <a:pt x="2" y="24"/>
                  </a:lnTo>
                  <a:lnTo>
                    <a:pt x="4" y="20"/>
                  </a:lnTo>
                  <a:lnTo>
                    <a:pt x="6" y="16"/>
                  </a:lnTo>
                  <a:lnTo>
                    <a:pt x="8" y="10"/>
                  </a:lnTo>
                  <a:lnTo>
                    <a:pt x="10" y="8"/>
                  </a:lnTo>
                  <a:lnTo>
                    <a:pt x="10" y="4"/>
                  </a:lnTo>
                  <a:lnTo>
                    <a:pt x="8" y="4"/>
                  </a:lnTo>
                  <a:lnTo>
                    <a:pt x="6" y="2"/>
                  </a:lnTo>
                  <a:lnTo>
                    <a:pt x="4" y="4"/>
                  </a:lnTo>
                  <a:lnTo>
                    <a:pt x="2" y="4"/>
                  </a:lnTo>
                  <a:lnTo>
                    <a:pt x="0" y="2"/>
                  </a:lnTo>
                  <a:lnTo>
                    <a:pt x="0" y="0"/>
                  </a:lnTo>
                  <a:lnTo>
                    <a:pt x="4" y="2"/>
                  </a:lnTo>
                  <a:lnTo>
                    <a:pt x="10" y="4"/>
                  </a:lnTo>
                  <a:lnTo>
                    <a:pt x="18" y="6"/>
                  </a:lnTo>
                  <a:lnTo>
                    <a:pt x="20" y="6"/>
                  </a:lnTo>
                  <a:lnTo>
                    <a:pt x="30" y="8"/>
                  </a:lnTo>
                  <a:lnTo>
                    <a:pt x="32" y="10"/>
                  </a:lnTo>
                  <a:lnTo>
                    <a:pt x="34" y="10"/>
                  </a:lnTo>
                  <a:lnTo>
                    <a:pt x="32" y="12"/>
                  </a:lnTo>
                  <a:lnTo>
                    <a:pt x="40" y="10"/>
                  </a:lnTo>
                  <a:lnTo>
                    <a:pt x="42" y="10"/>
                  </a:lnTo>
                  <a:lnTo>
                    <a:pt x="44" y="10"/>
                  </a:lnTo>
                  <a:lnTo>
                    <a:pt x="48" y="10"/>
                  </a:lnTo>
                  <a:lnTo>
                    <a:pt x="54" y="10"/>
                  </a:lnTo>
                  <a:lnTo>
                    <a:pt x="52" y="14"/>
                  </a:lnTo>
                  <a:lnTo>
                    <a:pt x="52" y="18"/>
                  </a:lnTo>
                  <a:lnTo>
                    <a:pt x="52" y="22"/>
                  </a:lnTo>
                  <a:lnTo>
                    <a:pt x="48" y="24"/>
                  </a:lnTo>
                  <a:lnTo>
                    <a:pt x="48" y="26"/>
                  </a:lnTo>
                  <a:lnTo>
                    <a:pt x="48" y="28"/>
                  </a:lnTo>
                  <a:lnTo>
                    <a:pt x="48" y="30"/>
                  </a:lnTo>
                  <a:lnTo>
                    <a:pt x="48" y="32"/>
                  </a:lnTo>
                  <a:lnTo>
                    <a:pt x="46" y="34"/>
                  </a:lnTo>
                  <a:lnTo>
                    <a:pt x="44" y="42"/>
                  </a:lnTo>
                  <a:lnTo>
                    <a:pt x="56" y="52"/>
                  </a:lnTo>
                  <a:lnTo>
                    <a:pt x="60" y="54"/>
                  </a:lnTo>
                  <a:lnTo>
                    <a:pt x="64" y="58"/>
                  </a:lnTo>
                  <a:lnTo>
                    <a:pt x="72" y="62"/>
                  </a:lnTo>
                  <a:lnTo>
                    <a:pt x="74" y="64"/>
                  </a:lnTo>
                  <a:lnTo>
                    <a:pt x="74" y="68"/>
                  </a:lnTo>
                  <a:lnTo>
                    <a:pt x="74" y="82"/>
                  </a:lnTo>
                  <a:lnTo>
                    <a:pt x="74" y="84"/>
                  </a:lnTo>
                  <a:lnTo>
                    <a:pt x="72" y="86"/>
                  </a:lnTo>
                  <a:lnTo>
                    <a:pt x="72" y="90"/>
                  </a:lnTo>
                  <a:lnTo>
                    <a:pt x="74" y="90"/>
                  </a:lnTo>
                  <a:lnTo>
                    <a:pt x="74" y="94"/>
                  </a:lnTo>
                  <a:lnTo>
                    <a:pt x="74" y="96"/>
                  </a:lnTo>
                  <a:lnTo>
                    <a:pt x="74" y="98"/>
                  </a:lnTo>
                  <a:lnTo>
                    <a:pt x="76" y="100"/>
                  </a:lnTo>
                  <a:lnTo>
                    <a:pt x="78" y="104"/>
                  </a:lnTo>
                  <a:lnTo>
                    <a:pt x="80" y="104"/>
                  </a:lnTo>
                  <a:lnTo>
                    <a:pt x="80" y="106"/>
                  </a:lnTo>
                  <a:lnTo>
                    <a:pt x="82" y="108"/>
                  </a:lnTo>
                  <a:lnTo>
                    <a:pt x="84" y="110"/>
                  </a:lnTo>
                  <a:lnTo>
                    <a:pt x="84" y="114"/>
                  </a:lnTo>
                  <a:lnTo>
                    <a:pt x="84" y="124"/>
                  </a:lnTo>
                  <a:lnTo>
                    <a:pt x="84" y="130"/>
                  </a:lnTo>
                  <a:lnTo>
                    <a:pt x="84" y="138"/>
                  </a:lnTo>
                  <a:lnTo>
                    <a:pt x="84" y="146"/>
                  </a:lnTo>
                  <a:lnTo>
                    <a:pt x="84" y="148"/>
                  </a:lnTo>
                  <a:lnTo>
                    <a:pt x="84" y="150"/>
                  </a:lnTo>
                  <a:lnTo>
                    <a:pt x="84" y="168"/>
                  </a:lnTo>
                  <a:lnTo>
                    <a:pt x="82" y="180"/>
                  </a:lnTo>
                  <a:lnTo>
                    <a:pt x="82" y="186"/>
                  </a:lnTo>
                  <a:lnTo>
                    <a:pt x="84" y="19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65" name="Group 1564"/>
            <p:cNvGrpSpPr>
              <a:grpSpLocks/>
            </p:cNvGrpSpPr>
            <p:nvPr/>
          </p:nvGrpSpPr>
          <p:grpSpPr bwMode="auto">
            <a:xfrm>
              <a:off x="3641301" y="3277189"/>
              <a:ext cx="190167" cy="207682"/>
              <a:chOff x="1485" y="1771"/>
              <a:chExt cx="152" cy="166"/>
            </a:xfrm>
            <a:solidFill>
              <a:srgbClr val="B9B9B9"/>
            </a:solidFill>
          </p:grpSpPr>
          <p:sp>
            <p:nvSpPr>
              <p:cNvPr id="393" name="Freeform 1399"/>
              <p:cNvSpPr>
                <a:spLocks/>
              </p:cNvSpPr>
              <p:nvPr/>
            </p:nvSpPr>
            <p:spPr bwMode="auto">
              <a:xfrm>
                <a:off x="1485" y="1771"/>
                <a:ext cx="152" cy="166"/>
              </a:xfrm>
              <a:custGeom>
                <a:avLst/>
                <a:gdLst/>
                <a:ahLst/>
                <a:cxnLst>
                  <a:cxn ang="0">
                    <a:pos x="116" y="136"/>
                  </a:cxn>
                  <a:cxn ang="0">
                    <a:pos x="104" y="146"/>
                  </a:cxn>
                  <a:cxn ang="0">
                    <a:pos x="94" y="152"/>
                  </a:cxn>
                  <a:cxn ang="0">
                    <a:pos x="92" y="158"/>
                  </a:cxn>
                  <a:cxn ang="0">
                    <a:pos x="86" y="166"/>
                  </a:cxn>
                  <a:cxn ang="0">
                    <a:pos x="80" y="164"/>
                  </a:cxn>
                  <a:cxn ang="0">
                    <a:pos x="72" y="156"/>
                  </a:cxn>
                  <a:cxn ang="0">
                    <a:pos x="66" y="152"/>
                  </a:cxn>
                  <a:cxn ang="0">
                    <a:pos x="38" y="140"/>
                  </a:cxn>
                  <a:cxn ang="0">
                    <a:pos x="36" y="134"/>
                  </a:cxn>
                  <a:cxn ang="0">
                    <a:pos x="42" y="132"/>
                  </a:cxn>
                  <a:cxn ang="0">
                    <a:pos x="52" y="130"/>
                  </a:cxn>
                  <a:cxn ang="0">
                    <a:pos x="48" y="128"/>
                  </a:cxn>
                  <a:cxn ang="0">
                    <a:pos x="38" y="130"/>
                  </a:cxn>
                  <a:cxn ang="0">
                    <a:pos x="26" y="120"/>
                  </a:cxn>
                  <a:cxn ang="0">
                    <a:pos x="14" y="110"/>
                  </a:cxn>
                  <a:cxn ang="0">
                    <a:pos x="16" y="98"/>
                  </a:cxn>
                  <a:cxn ang="0">
                    <a:pos x="14" y="92"/>
                  </a:cxn>
                  <a:cxn ang="0">
                    <a:pos x="6" y="92"/>
                  </a:cxn>
                  <a:cxn ang="0">
                    <a:pos x="0" y="80"/>
                  </a:cxn>
                  <a:cxn ang="0">
                    <a:pos x="4" y="78"/>
                  </a:cxn>
                  <a:cxn ang="0">
                    <a:pos x="12" y="84"/>
                  </a:cxn>
                  <a:cxn ang="0">
                    <a:pos x="8" y="80"/>
                  </a:cxn>
                  <a:cxn ang="0">
                    <a:pos x="18" y="74"/>
                  </a:cxn>
                  <a:cxn ang="0">
                    <a:pos x="12" y="72"/>
                  </a:cxn>
                  <a:cxn ang="0">
                    <a:pos x="4" y="74"/>
                  </a:cxn>
                  <a:cxn ang="0">
                    <a:pos x="4" y="60"/>
                  </a:cxn>
                  <a:cxn ang="0">
                    <a:pos x="6" y="54"/>
                  </a:cxn>
                  <a:cxn ang="0">
                    <a:pos x="2" y="48"/>
                  </a:cxn>
                  <a:cxn ang="0">
                    <a:pos x="8" y="44"/>
                  </a:cxn>
                  <a:cxn ang="0">
                    <a:pos x="12" y="48"/>
                  </a:cxn>
                  <a:cxn ang="0">
                    <a:pos x="18" y="40"/>
                  </a:cxn>
                  <a:cxn ang="0">
                    <a:pos x="22" y="34"/>
                  </a:cxn>
                  <a:cxn ang="0">
                    <a:pos x="28" y="34"/>
                  </a:cxn>
                  <a:cxn ang="0">
                    <a:pos x="36" y="20"/>
                  </a:cxn>
                  <a:cxn ang="0">
                    <a:pos x="46" y="4"/>
                  </a:cxn>
                  <a:cxn ang="0">
                    <a:pos x="58" y="4"/>
                  </a:cxn>
                  <a:cxn ang="0">
                    <a:pos x="64" y="4"/>
                  </a:cxn>
                  <a:cxn ang="0">
                    <a:pos x="76" y="2"/>
                  </a:cxn>
                  <a:cxn ang="0">
                    <a:pos x="96" y="2"/>
                  </a:cxn>
                  <a:cxn ang="0">
                    <a:pos x="112" y="4"/>
                  </a:cxn>
                  <a:cxn ang="0">
                    <a:pos x="120" y="16"/>
                  </a:cxn>
                  <a:cxn ang="0">
                    <a:pos x="126" y="32"/>
                  </a:cxn>
                  <a:cxn ang="0">
                    <a:pos x="136" y="42"/>
                  </a:cxn>
                  <a:cxn ang="0">
                    <a:pos x="130" y="52"/>
                  </a:cxn>
                  <a:cxn ang="0">
                    <a:pos x="136" y="54"/>
                  </a:cxn>
                  <a:cxn ang="0">
                    <a:pos x="138" y="58"/>
                  </a:cxn>
                  <a:cxn ang="0">
                    <a:pos x="138" y="68"/>
                  </a:cxn>
                  <a:cxn ang="0">
                    <a:pos x="136" y="80"/>
                  </a:cxn>
                  <a:cxn ang="0">
                    <a:pos x="130" y="94"/>
                  </a:cxn>
                  <a:cxn ang="0">
                    <a:pos x="140" y="92"/>
                  </a:cxn>
                  <a:cxn ang="0">
                    <a:pos x="146" y="86"/>
                  </a:cxn>
                  <a:cxn ang="0">
                    <a:pos x="152" y="88"/>
                  </a:cxn>
                  <a:cxn ang="0">
                    <a:pos x="146" y="104"/>
                  </a:cxn>
                  <a:cxn ang="0">
                    <a:pos x="138" y="104"/>
                  </a:cxn>
                  <a:cxn ang="0">
                    <a:pos x="132" y="124"/>
                  </a:cxn>
                  <a:cxn ang="0">
                    <a:pos x="128" y="126"/>
                  </a:cxn>
                  <a:cxn ang="0">
                    <a:pos x="120" y="134"/>
                  </a:cxn>
                </a:cxnLst>
                <a:rect l="0" t="0" r="r" b="b"/>
                <a:pathLst>
                  <a:path w="152" h="166">
                    <a:moveTo>
                      <a:pt x="120" y="134"/>
                    </a:moveTo>
                    <a:lnTo>
                      <a:pt x="118" y="136"/>
                    </a:lnTo>
                    <a:lnTo>
                      <a:pt x="116" y="136"/>
                    </a:lnTo>
                    <a:lnTo>
                      <a:pt x="106" y="142"/>
                    </a:lnTo>
                    <a:lnTo>
                      <a:pt x="104" y="144"/>
                    </a:lnTo>
                    <a:lnTo>
                      <a:pt x="104" y="146"/>
                    </a:lnTo>
                    <a:lnTo>
                      <a:pt x="102" y="150"/>
                    </a:lnTo>
                    <a:lnTo>
                      <a:pt x="98" y="150"/>
                    </a:lnTo>
                    <a:lnTo>
                      <a:pt x="94" y="152"/>
                    </a:lnTo>
                    <a:lnTo>
                      <a:pt x="92" y="154"/>
                    </a:lnTo>
                    <a:lnTo>
                      <a:pt x="92" y="156"/>
                    </a:lnTo>
                    <a:lnTo>
                      <a:pt x="92" y="158"/>
                    </a:lnTo>
                    <a:lnTo>
                      <a:pt x="90" y="162"/>
                    </a:lnTo>
                    <a:lnTo>
                      <a:pt x="88" y="166"/>
                    </a:lnTo>
                    <a:lnTo>
                      <a:pt x="86" y="166"/>
                    </a:lnTo>
                    <a:lnTo>
                      <a:pt x="84" y="166"/>
                    </a:lnTo>
                    <a:lnTo>
                      <a:pt x="82" y="166"/>
                    </a:lnTo>
                    <a:lnTo>
                      <a:pt x="80" y="164"/>
                    </a:lnTo>
                    <a:lnTo>
                      <a:pt x="78" y="160"/>
                    </a:lnTo>
                    <a:lnTo>
                      <a:pt x="76" y="160"/>
                    </a:lnTo>
                    <a:lnTo>
                      <a:pt x="72" y="156"/>
                    </a:lnTo>
                    <a:lnTo>
                      <a:pt x="70" y="154"/>
                    </a:lnTo>
                    <a:lnTo>
                      <a:pt x="68" y="154"/>
                    </a:lnTo>
                    <a:lnTo>
                      <a:pt x="66" y="152"/>
                    </a:lnTo>
                    <a:lnTo>
                      <a:pt x="44" y="142"/>
                    </a:lnTo>
                    <a:lnTo>
                      <a:pt x="42" y="140"/>
                    </a:lnTo>
                    <a:lnTo>
                      <a:pt x="38" y="140"/>
                    </a:lnTo>
                    <a:lnTo>
                      <a:pt x="36" y="140"/>
                    </a:lnTo>
                    <a:lnTo>
                      <a:pt x="36" y="138"/>
                    </a:lnTo>
                    <a:lnTo>
                      <a:pt x="36" y="134"/>
                    </a:lnTo>
                    <a:lnTo>
                      <a:pt x="38" y="132"/>
                    </a:lnTo>
                    <a:lnTo>
                      <a:pt x="40" y="130"/>
                    </a:lnTo>
                    <a:lnTo>
                      <a:pt x="42" y="132"/>
                    </a:lnTo>
                    <a:lnTo>
                      <a:pt x="46" y="132"/>
                    </a:lnTo>
                    <a:lnTo>
                      <a:pt x="50" y="130"/>
                    </a:lnTo>
                    <a:lnTo>
                      <a:pt x="52" y="130"/>
                    </a:lnTo>
                    <a:lnTo>
                      <a:pt x="52" y="128"/>
                    </a:lnTo>
                    <a:lnTo>
                      <a:pt x="48" y="126"/>
                    </a:lnTo>
                    <a:lnTo>
                      <a:pt x="48" y="128"/>
                    </a:lnTo>
                    <a:lnTo>
                      <a:pt x="46" y="128"/>
                    </a:lnTo>
                    <a:lnTo>
                      <a:pt x="42" y="130"/>
                    </a:lnTo>
                    <a:lnTo>
                      <a:pt x="38" y="130"/>
                    </a:lnTo>
                    <a:lnTo>
                      <a:pt x="34" y="124"/>
                    </a:lnTo>
                    <a:lnTo>
                      <a:pt x="32" y="122"/>
                    </a:lnTo>
                    <a:lnTo>
                      <a:pt x="26" y="120"/>
                    </a:lnTo>
                    <a:lnTo>
                      <a:pt x="24" y="118"/>
                    </a:lnTo>
                    <a:lnTo>
                      <a:pt x="18" y="114"/>
                    </a:lnTo>
                    <a:lnTo>
                      <a:pt x="14" y="110"/>
                    </a:lnTo>
                    <a:lnTo>
                      <a:pt x="18" y="108"/>
                    </a:lnTo>
                    <a:lnTo>
                      <a:pt x="18" y="106"/>
                    </a:lnTo>
                    <a:lnTo>
                      <a:pt x="16" y="98"/>
                    </a:lnTo>
                    <a:lnTo>
                      <a:pt x="14" y="96"/>
                    </a:lnTo>
                    <a:lnTo>
                      <a:pt x="14" y="94"/>
                    </a:lnTo>
                    <a:lnTo>
                      <a:pt x="14" y="92"/>
                    </a:lnTo>
                    <a:lnTo>
                      <a:pt x="14" y="90"/>
                    </a:lnTo>
                    <a:lnTo>
                      <a:pt x="14" y="92"/>
                    </a:lnTo>
                    <a:lnTo>
                      <a:pt x="6" y="92"/>
                    </a:lnTo>
                    <a:lnTo>
                      <a:pt x="4" y="92"/>
                    </a:lnTo>
                    <a:lnTo>
                      <a:pt x="2" y="84"/>
                    </a:lnTo>
                    <a:lnTo>
                      <a:pt x="0" y="80"/>
                    </a:lnTo>
                    <a:lnTo>
                      <a:pt x="0" y="76"/>
                    </a:lnTo>
                    <a:lnTo>
                      <a:pt x="4" y="76"/>
                    </a:lnTo>
                    <a:lnTo>
                      <a:pt x="4" y="78"/>
                    </a:lnTo>
                    <a:lnTo>
                      <a:pt x="6" y="80"/>
                    </a:lnTo>
                    <a:lnTo>
                      <a:pt x="10" y="84"/>
                    </a:lnTo>
                    <a:lnTo>
                      <a:pt x="12" y="84"/>
                    </a:lnTo>
                    <a:lnTo>
                      <a:pt x="12" y="82"/>
                    </a:lnTo>
                    <a:lnTo>
                      <a:pt x="10" y="82"/>
                    </a:lnTo>
                    <a:lnTo>
                      <a:pt x="8" y="80"/>
                    </a:lnTo>
                    <a:lnTo>
                      <a:pt x="10" y="78"/>
                    </a:lnTo>
                    <a:lnTo>
                      <a:pt x="14" y="74"/>
                    </a:lnTo>
                    <a:lnTo>
                      <a:pt x="18" y="74"/>
                    </a:lnTo>
                    <a:lnTo>
                      <a:pt x="20" y="74"/>
                    </a:lnTo>
                    <a:lnTo>
                      <a:pt x="18" y="72"/>
                    </a:lnTo>
                    <a:lnTo>
                      <a:pt x="12" y="72"/>
                    </a:lnTo>
                    <a:lnTo>
                      <a:pt x="10" y="72"/>
                    </a:lnTo>
                    <a:lnTo>
                      <a:pt x="6" y="76"/>
                    </a:lnTo>
                    <a:lnTo>
                      <a:pt x="4" y="74"/>
                    </a:lnTo>
                    <a:lnTo>
                      <a:pt x="4" y="72"/>
                    </a:lnTo>
                    <a:lnTo>
                      <a:pt x="2" y="68"/>
                    </a:lnTo>
                    <a:lnTo>
                      <a:pt x="4" y="60"/>
                    </a:lnTo>
                    <a:lnTo>
                      <a:pt x="4" y="58"/>
                    </a:lnTo>
                    <a:lnTo>
                      <a:pt x="8" y="58"/>
                    </a:lnTo>
                    <a:lnTo>
                      <a:pt x="6" y="54"/>
                    </a:lnTo>
                    <a:lnTo>
                      <a:pt x="4" y="52"/>
                    </a:lnTo>
                    <a:lnTo>
                      <a:pt x="2" y="52"/>
                    </a:lnTo>
                    <a:lnTo>
                      <a:pt x="2" y="48"/>
                    </a:lnTo>
                    <a:lnTo>
                      <a:pt x="2" y="46"/>
                    </a:lnTo>
                    <a:lnTo>
                      <a:pt x="4" y="46"/>
                    </a:lnTo>
                    <a:lnTo>
                      <a:pt x="8" y="44"/>
                    </a:lnTo>
                    <a:lnTo>
                      <a:pt x="10" y="46"/>
                    </a:lnTo>
                    <a:lnTo>
                      <a:pt x="10" y="48"/>
                    </a:lnTo>
                    <a:lnTo>
                      <a:pt x="12" y="48"/>
                    </a:lnTo>
                    <a:lnTo>
                      <a:pt x="14" y="46"/>
                    </a:lnTo>
                    <a:lnTo>
                      <a:pt x="16" y="44"/>
                    </a:lnTo>
                    <a:lnTo>
                      <a:pt x="18" y="40"/>
                    </a:lnTo>
                    <a:lnTo>
                      <a:pt x="18" y="36"/>
                    </a:lnTo>
                    <a:lnTo>
                      <a:pt x="20" y="36"/>
                    </a:lnTo>
                    <a:lnTo>
                      <a:pt x="22" y="34"/>
                    </a:lnTo>
                    <a:lnTo>
                      <a:pt x="24" y="36"/>
                    </a:lnTo>
                    <a:lnTo>
                      <a:pt x="26" y="36"/>
                    </a:lnTo>
                    <a:lnTo>
                      <a:pt x="28" y="34"/>
                    </a:lnTo>
                    <a:lnTo>
                      <a:pt x="34" y="28"/>
                    </a:lnTo>
                    <a:lnTo>
                      <a:pt x="36" y="26"/>
                    </a:lnTo>
                    <a:lnTo>
                      <a:pt x="36" y="20"/>
                    </a:lnTo>
                    <a:lnTo>
                      <a:pt x="38" y="18"/>
                    </a:lnTo>
                    <a:lnTo>
                      <a:pt x="40" y="16"/>
                    </a:lnTo>
                    <a:lnTo>
                      <a:pt x="46" y="4"/>
                    </a:lnTo>
                    <a:lnTo>
                      <a:pt x="48" y="4"/>
                    </a:lnTo>
                    <a:lnTo>
                      <a:pt x="58" y="2"/>
                    </a:lnTo>
                    <a:lnTo>
                      <a:pt x="58" y="4"/>
                    </a:lnTo>
                    <a:lnTo>
                      <a:pt x="62" y="4"/>
                    </a:lnTo>
                    <a:lnTo>
                      <a:pt x="64" y="6"/>
                    </a:lnTo>
                    <a:lnTo>
                      <a:pt x="64" y="4"/>
                    </a:lnTo>
                    <a:lnTo>
                      <a:pt x="64" y="6"/>
                    </a:lnTo>
                    <a:lnTo>
                      <a:pt x="76" y="4"/>
                    </a:lnTo>
                    <a:lnTo>
                      <a:pt x="76" y="2"/>
                    </a:lnTo>
                    <a:lnTo>
                      <a:pt x="76" y="0"/>
                    </a:lnTo>
                    <a:lnTo>
                      <a:pt x="92" y="2"/>
                    </a:lnTo>
                    <a:lnTo>
                      <a:pt x="96" y="2"/>
                    </a:lnTo>
                    <a:lnTo>
                      <a:pt x="98" y="2"/>
                    </a:lnTo>
                    <a:lnTo>
                      <a:pt x="110" y="2"/>
                    </a:lnTo>
                    <a:lnTo>
                      <a:pt x="112" y="4"/>
                    </a:lnTo>
                    <a:lnTo>
                      <a:pt x="114" y="10"/>
                    </a:lnTo>
                    <a:lnTo>
                      <a:pt x="118" y="14"/>
                    </a:lnTo>
                    <a:lnTo>
                      <a:pt x="120" y="16"/>
                    </a:lnTo>
                    <a:lnTo>
                      <a:pt x="122" y="18"/>
                    </a:lnTo>
                    <a:lnTo>
                      <a:pt x="124" y="24"/>
                    </a:lnTo>
                    <a:lnTo>
                      <a:pt x="126" y="32"/>
                    </a:lnTo>
                    <a:lnTo>
                      <a:pt x="132" y="36"/>
                    </a:lnTo>
                    <a:lnTo>
                      <a:pt x="134" y="38"/>
                    </a:lnTo>
                    <a:lnTo>
                      <a:pt x="136" y="42"/>
                    </a:lnTo>
                    <a:lnTo>
                      <a:pt x="134" y="46"/>
                    </a:lnTo>
                    <a:lnTo>
                      <a:pt x="132" y="48"/>
                    </a:lnTo>
                    <a:lnTo>
                      <a:pt x="130" y="52"/>
                    </a:lnTo>
                    <a:lnTo>
                      <a:pt x="132" y="54"/>
                    </a:lnTo>
                    <a:lnTo>
                      <a:pt x="134" y="54"/>
                    </a:lnTo>
                    <a:lnTo>
                      <a:pt x="136" y="54"/>
                    </a:lnTo>
                    <a:lnTo>
                      <a:pt x="138" y="54"/>
                    </a:lnTo>
                    <a:lnTo>
                      <a:pt x="138" y="56"/>
                    </a:lnTo>
                    <a:lnTo>
                      <a:pt x="138" y="58"/>
                    </a:lnTo>
                    <a:lnTo>
                      <a:pt x="136" y="60"/>
                    </a:lnTo>
                    <a:lnTo>
                      <a:pt x="136" y="64"/>
                    </a:lnTo>
                    <a:lnTo>
                      <a:pt x="138" y="68"/>
                    </a:lnTo>
                    <a:lnTo>
                      <a:pt x="140" y="72"/>
                    </a:lnTo>
                    <a:lnTo>
                      <a:pt x="138" y="78"/>
                    </a:lnTo>
                    <a:lnTo>
                      <a:pt x="136" y="80"/>
                    </a:lnTo>
                    <a:lnTo>
                      <a:pt x="134" y="82"/>
                    </a:lnTo>
                    <a:lnTo>
                      <a:pt x="130" y="92"/>
                    </a:lnTo>
                    <a:lnTo>
                      <a:pt x="130" y="94"/>
                    </a:lnTo>
                    <a:lnTo>
                      <a:pt x="136" y="94"/>
                    </a:lnTo>
                    <a:lnTo>
                      <a:pt x="138" y="94"/>
                    </a:lnTo>
                    <a:lnTo>
                      <a:pt x="140" y="92"/>
                    </a:lnTo>
                    <a:lnTo>
                      <a:pt x="144" y="90"/>
                    </a:lnTo>
                    <a:lnTo>
                      <a:pt x="144" y="88"/>
                    </a:lnTo>
                    <a:lnTo>
                      <a:pt x="146" y="86"/>
                    </a:lnTo>
                    <a:lnTo>
                      <a:pt x="150" y="84"/>
                    </a:lnTo>
                    <a:lnTo>
                      <a:pt x="152" y="86"/>
                    </a:lnTo>
                    <a:lnTo>
                      <a:pt x="152" y="88"/>
                    </a:lnTo>
                    <a:lnTo>
                      <a:pt x="150" y="102"/>
                    </a:lnTo>
                    <a:lnTo>
                      <a:pt x="148" y="102"/>
                    </a:lnTo>
                    <a:lnTo>
                      <a:pt x="146" y="104"/>
                    </a:lnTo>
                    <a:lnTo>
                      <a:pt x="142" y="104"/>
                    </a:lnTo>
                    <a:lnTo>
                      <a:pt x="140" y="104"/>
                    </a:lnTo>
                    <a:lnTo>
                      <a:pt x="138" y="104"/>
                    </a:lnTo>
                    <a:lnTo>
                      <a:pt x="134" y="110"/>
                    </a:lnTo>
                    <a:lnTo>
                      <a:pt x="134" y="118"/>
                    </a:lnTo>
                    <a:lnTo>
                      <a:pt x="132" y="124"/>
                    </a:lnTo>
                    <a:lnTo>
                      <a:pt x="130" y="124"/>
                    </a:lnTo>
                    <a:lnTo>
                      <a:pt x="128" y="124"/>
                    </a:lnTo>
                    <a:lnTo>
                      <a:pt x="128" y="126"/>
                    </a:lnTo>
                    <a:lnTo>
                      <a:pt x="126" y="126"/>
                    </a:lnTo>
                    <a:lnTo>
                      <a:pt x="124" y="128"/>
                    </a:lnTo>
                    <a:lnTo>
                      <a:pt x="120" y="1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4" name="Freeform 1400"/>
              <p:cNvSpPr>
                <a:spLocks/>
              </p:cNvSpPr>
              <p:nvPr/>
            </p:nvSpPr>
            <p:spPr bwMode="auto">
              <a:xfrm>
                <a:off x="1499" y="1895"/>
                <a:ext cx="22" cy="12"/>
              </a:xfrm>
              <a:custGeom>
                <a:avLst/>
                <a:gdLst/>
                <a:ahLst/>
                <a:cxnLst>
                  <a:cxn ang="0">
                    <a:pos x="2" y="0"/>
                  </a:cxn>
                  <a:cxn ang="0">
                    <a:pos x="12" y="0"/>
                  </a:cxn>
                  <a:cxn ang="0">
                    <a:pos x="14" y="0"/>
                  </a:cxn>
                  <a:cxn ang="0">
                    <a:pos x="16" y="0"/>
                  </a:cxn>
                  <a:cxn ang="0">
                    <a:pos x="18" y="0"/>
                  </a:cxn>
                  <a:cxn ang="0">
                    <a:pos x="22" y="2"/>
                  </a:cxn>
                  <a:cxn ang="0">
                    <a:pos x="22" y="4"/>
                  </a:cxn>
                  <a:cxn ang="0">
                    <a:pos x="22" y="8"/>
                  </a:cxn>
                  <a:cxn ang="0">
                    <a:pos x="20" y="12"/>
                  </a:cxn>
                  <a:cxn ang="0">
                    <a:pos x="18" y="12"/>
                  </a:cxn>
                  <a:cxn ang="0">
                    <a:pos x="18" y="10"/>
                  </a:cxn>
                  <a:cxn ang="0">
                    <a:pos x="16" y="10"/>
                  </a:cxn>
                  <a:cxn ang="0">
                    <a:pos x="14" y="8"/>
                  </a:cxn>
                  <a:cxn ang="0">
                    <a:pos x="12" y="8"/>
                  </a:cxn>
                  <a:cxn ang="0">
                    <a:pos x="10" y="6"/>
                  </a:cxn>
                  <a:cxn ang="0">
                    <a:pos x="6" y="6"/>
                  </a:cxn>
                  <a:cxn ang="0">
                    <a:pos x="0" y="4"/>
                  </a:cxn>
                  <a:cxn ang="0">
                    <a:pos x="2" y="0"/>
                  </a:cxn>
                </a:cxnLst>
                <a:rect l="0" t="0" r="r" b="b"/>
                <a:pathLst>
                  <a:path w="22" h="12">
                    <a:moveTo>
                      <a:pt x="2" y="0"/>
                    </a:moveTo>
                    <a:lnTo>
                      <a:pt x="12" y="0"/>
                    </a:lnTo>
                    <a:lnTo>
                      <a:pt x="14" y="0"/>
                    </a:lnTo>
                    <a:lnTo>
                      <a:pt x="16" y="0"/>
                    </a:lnTo>
                    <a:lnTo>
                      <a:pt x="18" y="0"/>
                    </a:lnTo>
                    <a:lnTo>
                      <a:pt x="22" y="2"/>
                    </a:lnTo>
                    <a:lnTo>
                      <a:pt x="22" y="4"/>
                    </a:lnTo>
                    <a:lnTo>
                      <a:pt x="22" y="8"/>
                    </a:lnTo>
                    <a:lnTo>
                      <a:pt x="20" y="12"/>
                    </a:lnTo>
                    <a:lnTo>
                      <a:pt x="18" y="12"/>
                    </a:lnTo>
                    <a:lnTo>
                      <a:pt x="18" y="10"/>
                    </a:lnTo>
                    <a:lnTo>
                      <a:pt x="16" y="10"/>
                    </a:lnTo>
                    <a:lnTo>
                      <a:pt x="14" y="8"/>
                    </a:lnTo>
                    <a:lnTo>
                      <a:pt x="12" y="8"/>
                    </a:lnTo>
                    <a:lnTo>
                      <a:pt x="10" y="6"/>
                    </a:lnTo>
                    <a:lnTo>
                      <a:pt x="6" y="6"/>
                    </a:lnTo>
                    <a:lnTo>
                      <a:pt x="0" y="4"/>
                    </a:lnTo>
                    <a:lnTo>
                      <a:pt x="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66" name="Freeform 1401"/>
            <p:cNvSpPr>
              <a:spLocks/>
            </p:cNvSpPr>
            <p:nvPr/>
          </p:nvSpPr>
          <p:spPr bwMode="auto">
            <a:xfrm>
              <a:off x="3746393" y="3382281"/>
              <a:ext cx="257726" cy="287752"/>
            </a:xfrm>
            <a:custGeom>
              <a:avLst/>
              <a:gdLst/>
              <a:ahLst/>
              <a:cxnLst>
                <a:cxn ang="0">
                  <a:pos x="34" y="116"/>
                </a:cxn>
                <a:cxn ang="0">
                  <a:pos x="32" y="108"/>
                </a:cxn>
                <a:cxn ang="0">
                  <a:pos x="20" y="102"/>
                </a:cxn>
                <a:cxn ang="0">
                  <a:pos x="6" y="88"/>
                </a:cxn>
                <a:cxn ang="0">
                  <a:pos x="4" y="82"/>
                </a:cxn>
                <a:cxn ang="0">
                  <a:pos x="8" y="70"/>
                </a:cxn>
                <a:cxn ang="0">
                  <a:pos x="20" y="62"/>
                </a:cxn>
                <a:cxn ang="0">
                  <a:pos x="34" y="52"/>
                </a:cxn>
                <a:cxn ang="0">
                  <a:pos x="44" y="42"/>
                </a:cxn>
                <a:cxn ang="0">
                  <a:pos x="50" y="34"/>
                </a:cxn>
                <a:cxn ang="0">
                  <a:pos x="58" y="20"/>
                </a:cxn>
                <a:cxn ang="0">
                  <a:pos x="68" y="4"/>
                </a:cxn>
                <a:cxn ang="0">
                  <a:pos x="84" y="4"/>
                </a:cxn>
                <a:cxn ang="0">
                  <a:pos x="92" y="2"/>
                </a:cxn>
                <a:cxn ang="0">
                  <a:pos x="108" y="22"/>
                </a:cxn>
                <a:cxn ang="0">
                  <a:pos x="108" y="36"/>
                </a:cxn>
                <a:cxn ang="0">
                  <a:pos x="110" y="50"/>
                </a:cxn>
                <a:cxn ang="0">
                  <a:pos x="106" y="60"/>
                </a:cxn>
                <a:cxn ang="0">
                  <a:pos x="112" y="62"/>
                </a:cxn>
                <a:cxn ang="0">
                  <a:pos x="122" y="74"/>
                </a:cxn>
                <a:cxn ang="0">
                  <a:pos x="132" y="72"/>
                </a:cxn>
                <a:cxn ang="0">
                  <a:pos x="144" y="58"/>
                </a:cxn>
                <a:cxn ang="0">
                  <a:pos x="148" y="50"/>
                </a:cxn>
                <a:cxn ang="0">
                  <a:pos x="152" y="54"/>
                </a:cxn>
                <a:cxn ang="0">
                  <a:pos x="160" y="62"/>
                </a:cxn>
                <a:cxn ang="0">
                  <a:pos x="160" y="74"/>
                </a:cxn>
                <a:cxn ang="0">
                  <a:pos x="162" y="94"/>
                </a:cxn>
                <a:cxn ang="0">
                  <a:pos x="158" y="102"/>
                </a:cxn>
                <a:cxn ang="0">
                  <a:pos x="152" y="106"/>
                </a:cxn>
                <a:cxn ang="0">
                  <a:pos x="148" y="110"/>
                </a:cxn>
                <a:cxn ang="0">
                  <a:pos x="152" y="116"/>
                </a:cxn>
                <a:cxn ang="0">
                  <a:pos x="172" y="126"/>
                </a:cxn>
                <a:cxn ang="0">
                  <a:pos x="184" y="130"/>
                </a:cxn>
                <a:cxn ang="0">
                  <a:pos x="188" y="144"/>
                </a:cxn>
                <a:cxn ang="0">
                  <a:pos x="202" y="150"/>
                </a:cxn>
                <a:cxn ang="0">
                  <a:pos x="202" y="156"/>
                </a:cxn>
                <a:cxn ang="0">
                  <a:pos x="206" y="166"/>
                </a:cxn>
                <a:cxn ang="0">
                  <a:pos x="202" y="174"/>
                </a:cxn>
                <a:cxn ang="0">
                  <a:pos x="196" y="192"/>
                </a:cxn>
                <a:cxn ang="0">
                  <a:pos x="194" y="208"/>
                </a:cxn>
                <a:cxn ang="0">
                  <a:pos x="194" y="228"/>
                </a:cxn>
                <a:cxn ang="0">
                  <a:pos x="186" y="228"/>
                </a:cxn>
                <a:cxn ang="0">
                  <a:pos x="174" y="220"/>
                </a:cxn>
                <a:cxn ang="0">
                  <a:pos x="156" y="212"/>
                </a:cxn>
                <a:cxn ang="0">
                  <a:pos x="136" y="202"/>
                </a:cxn>
                <a:cxn ang="0">
                  <a:pos x="118" y="192"/>
                </a:cxn>
                <a:cxn ang="0">
                  <a:pos x="102" y="178"/>
                </a:cxn>
                <a:cxn ang="0">
                  <a:pos x="98" y="172"/>
                </a:cxn>
                <a:cxn ang="0">
                  <a:pos x="84" y="158"/>
                </a:cxn>
                <a:cxn ang="0">
                  <a:pos x="60" y="132"/>
                </a:cxn>
                <a:cxn ang="0">
                  <a:pos x="56" y="126"/>
                </a:cxn>
                <a:cxn ang="0">
                  <a:pos x="42" y="122"/>
                </a:cxn>
              </a:cxnLst>
              <a:rect l="0" t="0" r="r" b="b"/>
              <a:pathLst>
                <a:path w="206" h="230">
                  <a:moveTo>
                    <a:pt x="42" y="122"/>
                  </a:moveTo>
                  <a:lnTo>
                    <a:pt x="40" y="122"/>
                  </a:lnTo>
                  <a:lnTo>
                    <a:pt x="36" y="120"/>
                  </a:lnTo>
                  <a:lnTo>
                    <a:pt x="34" y="116"/>
                  </a:lnTo>
                  <a:lnTo>
                    <a:pt x="34" y="114"/>
                  </a:lnTo>
                  <a:lnTo>
                    <a:pt x="34" y="112"/>
                  </a:lnTo>
                  <a:lnTo>
                    <a:pt x="32" y="110"/>
                  </a:lnTo>
                  <a:lnTo>
                    <a:pt x="32" y="108"/>
                  </a:lnTo>
                  <a:lnTo>
                    <a:pt x="30" y="108"/>
                  </a:lnTo>
                  <a:lnTo>
                    <a:pt x="30" y="106"/>
                  </a:lnTo>
                  <a:lnTo>
                    <a:pt x="26" y="104"/>
                  </a:lnTo>
                  <a:lnTo>
                    <a:pt x="20" y="102"/>
                  </a:lnTo>
                  <a:lnTo>
                    <a:pt x="6" y="94"/>
                  </a:lnTo>
                  <a:lnTo>
                    <a:pt x="6" y="92"/>
                  </a:lnTo>
                  <a:lnTo>
                    <a:pt x="6" y="90"/>
                  </a:lnTo>
                  <a:lnTo>
                    <a:pt x="6" y="88"/>
                  </a:lnTo>
                  <a:lnTo>
                    <a:pt x="2" y="84"/>
                  </a:lnTo>
                  <a:lnTo>
                    <a:pt x="0" y="82"/>
                  </a:lnTo>
                  <a:lnTo>
                    <a:pt x="2" y="82"/>
                  </a:lnTo>
                  <a:lnTo>
                    <a:pt x="4" y="82"/>
                  </a:lnTo>
                  <a:lnTo>
                    <a:pt x="6" y="78"/>
                  </a:lnTo>
                  <a:lnTo>
                    <a:pt x="8" y="74"/>
                  </a:lnTo>
                  <a:lnTo>
                    <a:pt x="8" y="72"/>
                  </a:lnTo>
                  <a:lnTo>
                    <a:pt x="8" y="70"/>
                  </a:lnTo>
                  <a:lnTo>
                    <a:pt x="10" y="68"/>
                  </a:lnTo>
                  <a:lnTo>
                    <a:pt x="14" y="66"/>
                  </a:lnTo>
                  <a:lnTo>
                    <a:pt x="18" y="66"/>
                  </a:lnTo>
                  <a:lnTo>
                    <a:pt x="20" y="62"/>
                  </a:lnTo>
                  <a:lnTo>
                    <a:pt x="20" y="60"/>
                  </a:lnTo>
                  <a:lnTo>
                    <a:pt x="22" y="58"/>
                  </a:lnTo>
                  <a:lnTo>
                    <a:pt x="32" y="52"/>
                  </a:lnTo>
                  <a:lnTo>
                    <a:pt x="34" y="52"/>
                  </a:lnTo>
                  <a:lnTo>
                    <a:pt x="36" y="50"/>
                  </a:lnTo>
                  <a:lnTo>
                    <a:pt x="40" y="44"/>
                  </a:lnTo>
                  <a:lnTo>
                    <a:pt x="42" y="42"/>
                  </a:lnTo>
                  <a:lnTo>
                    <a:pt x="44" y="42"/>
                  </a:lnTo>
                  <a:lnTo>
                    <a:pt x="44" y="40"/>
                  </a:lnTo>
                  <a:lnTo>
                    <a:pt x="46" y="40"/>
                  </a:lnTo>
                  <a:lnTo>
                    <a:pt x="48" y="40"/>
                  </a:lnTo>
                  <a:lnTo>
                    <a:pt x="50" y="34"/>
                  </a:lnTo>
                  <a:lnTo>
                    <a:pt x="50" y="26"/>
                  </a:lnTo>
                  <a:lnTo>
                    <a:pt x="54" y="20"/>
                  </a:lnTo>
                  <a:lnTo>
                    <a:pt x="56" y="20"/>
                  </a:lnTo>
                  <a:lnTo>
                    <a:pt x="58" y="20"/>
                  </a:lnTo>
                  <a:lnTo>
                    <a:pt x="62" y="20"/>
                  </a:lnTo>
                  <a:lnTo>
                    <a:pt x="64" y="18"/>
                  </a:lnTo>
                  <a:lnTo>
                    <a:pt x="66" y="18"/>
                  </a:lnTo>
                  <a:lnTo>
                    <a:pt x="68" y="4"/>
                  </a:lnTo>
                  <a:lnTo>
                    <a:pt x="68" y="2"/>
                  </a:lnTo>
                  <a:lnTo>
                    <a:pt x="72" y="2"/>
                  </a:lnTo>
                  <a:lnTo>
                    <a:pt x="72" y="0"/>
                  </a:lnTo>
                  <a:lnTo>
                    <a:pt x="84" y="4"/>
                  </a:lnTo>
                  <a:lnTo>
                    <a:pt x="86" y="2"/>
                  </a:lnTo>
                  <a:lnTo>
                    <a:pt x="88" y="2"/>
                  </a:lnTo>
                  <a:lnTo>
                    <a:pt x="90" y="4"/>
                  </a:lnTo>
                  <a:lnTo>
                    <a:pt x="92" y="2"/>
                  </a:lnTo>
                  <a:lnTo>
                    <a:pt x="98" y="4"/>
                  </a:lnTo>
                  <a:lnTo>
                    <a:pt x="100" y="6"/>
                  </a:lnTo>
                  <a:lnTo>
                    <a:pt x="106" y="12"/>
                  </a:lnTo>
                  <a:lnTo>
                    <a:pt x="108" y="22"/>
                  </a:lnTo>
                  <a:lnTo>
                    <a:pt x="110" y="30"/>
                  </a:lnTo>
                  <a:lnTo>
                    <a:pt x="110" y="32"/>
                  </a:lnTo>
                  <a:lnTo>
                    <a:pt x="108" y="32"/>
                  </a:lnTo>
                  <a:lnTo>
                    <a:pt x="108" y="36"/>
                  </a:lnTo>
                  <a:lnTo>
                    <a:pt x="110" y="40"/>
                  </a:lnTo>
                  <a:lnTo>
                    <a:pt x="112" y="44"/>
                  </a:lnTo>
                  <a:lnTo>
                    <a:pt x="110" y="48"/>
                  </a:lnTo>
                  <a:lnTo>
                    <a:pt x="110" y="50"/>
                  </a:lnTo>
                  <a:lnTo>
                    <a:pt x="110" y="52"/>
                  </a:lnTo>
                  <a:lnTo>
                    <a:pt x="110" y="54"/>
                  </a:lnTo>
                  <a:lnTo>
                    <a:pt x="108" y="58"/>
                  </a:lnTo>
                  <a:lnTo>
                    <a:pt x="106" y="60"/>
                  </a:lnTo>
                  <a:lnTo>
                    <a:pt x="104" y="64"/>
                  </a:lnTo>
                  <a:lnTo>
                    <a:pt x="104" y="62"/>
                  </a:lnTo>
                  <a:lnTo>
                    <a:pt x="106" y="62"/>
                  </a:lnTo>
                  <a:lnTo>
                    <a:pt x="112" y="62"/>
                  </a:lnTo>
                  <a:lnTo>
                    <a:pt x="116" y="64"/>
                  </a:lnTo>
                  <a:lnTo>
                    <a:pt x="118" y="66"/>
                  </a:lnTo>
                  <a:lnTo>
                    <a:pt x="124" y="72"/>
                  </a:lnTo>
                  <a:lnTo>
                    <a:pt x="122" y="74"/>
                  </a:lnTo>
                  <a:lnTo>
                    <a:pt x="124" y="74"/>
                  </a:lnTo>
                  <a:lnTo>
                    <a:pt x="126" y="72"/>
                  </a:lnTo>
                  <a:lnTo>
                    <a:pt x="130" y="72"/>
                  </a:lnTo>
                  <a:lnTo>
                    <a:pt x="132" y="72"/>
                  </a:lnTo>
                  <a:lnTo>
                    <a:pt x="136" y="72"/>
                  </a:lnTo>
                  <a:lnTo>
                    <a:pt x="138" y="70"/>
                  </a:lnTo>
                  <a:lnTo>
                    <a:pt x="138" y="64"/>
                  </a:lnTo>
                  <a:lnTo>
                    <a:pt x="144" y="58"/>
                  </a:lnTo>
                  <a:lnTo>
                    <a:pt x="144" y="56"/>
                  </a:lnTo>
                  <a:lnTo>
                    <a:pt x="144" y="50"/>
                  </a:lnTo>
                  <a:lnTo>
                    <a:pt x="146" y="50"/>
                  </a:lnTo>
                  <a:lnTo>
                    <a:pt x="148" y="50"/>
                  </a:lnTo>
                  <a:lnTo>
                    <a:pt x="150" y="50"/>
                  </a:lnTo>
                  <a:lnTo>
                    <a:pt x="152" y="50"/>
                  </a:lnTo>
                  <a:lnTo>
                    <a:pt x="152" y="52"/>
                  </a:lnTo>
                  <a:lnTo>
                    <a:pt x="152" y="54"/>
                  </a:lnTo>
                  <a:lnTo>
                    <a:pt x="156" y="56"/>
                  </a:lnTo>
                  <a:lnTo>
                    <a:pt x="158" y="58"/>
                  </a:lnTo>
                  <a:lnTo>
                    <a:pt x="158" y="60"/>
                  </a:lnTo>
                  <a:lnTo>
                    <a:pt x="160" y="62"/>
                  </a:lnTo>
                  <a:lnTo>
                    <a:pt x="158" y="64"/>
                  </a:lnTo>
                  <a:lnTo>
                    <a:pt x="160" y="66"/>
                  </a:lnTo>
                  <a:lnTo>
                    <a:pt x="160" y="70"/>
                  </a:lnTo>
                  <a:lnTo>
                    <a:pt x="160" y="74"/>
                  </a:lnTo>
                  <a:lnTo>
                    <a:pt x="162" y="76"/>
                  </a:lnTo>
                  <a:lnTo>
                    <a:pt x="164" y="78"/>
                  </a:lnTo>
                  <a:lnTo>
                    <a:pt x="164" y="86"/>
                  </a:lnTo>
                  <a:lnTo>
                    <a:pt x="162" y="94"/>
                  </a:lnTo>
                  <a:lnTo>
                    <a:pt x="160" y="96"/>
                  </a:lnTo>
                  <a:lnTo>
                    <a:pt x="160" y="98"/>
                  </a:lnTo>
                  <a:lnTo>
                    <a:pt x="160" y="100"/>
                  </a:lnTo>
                  <a:lnTo>
                    <a:pt x="158" y="102"/>
                  </a:lnTo>
                  <a:lnTo>
                    <a:pt x="156" y="104"/>
                  </a:lnTo>
                  <a:lnTo>
                    <a:pt x="156" y="106"/>
                  </a:lnTo>
                  <a:lnTo>
                    <a:pt x="154" y="106"/>
                  </a:lnTo>
                  <a:lnTo>
                    <a:pt x="152" y="106"/>
                  </a:lnTo>
                  <a:lnTo>
                    <a:pt x="152" y="108"/>
                  </a:lnTo>
                  <a:lnTo>
                    <a:pt x="150" y="108"/>
                  </a:lnTo>
                  <a:lnTo>
                    <a:pt x="150" y="110"/>
                  </a:lnTo>
                  <a:lnTo>
                    <a:pt x="148" y="110"/>
                  </a:lnTo>
                  <a:lnTo>
                    <a:pt x="148" y="112"/>
                  </a:lnTo>
                  <a:lnTo>
                    <a:pt x="146" y="112"/>
                  </a:lnTo>
                  <a:lnTo>
                    <a:pt x="148" y="114"/>
                  </a:lnTo>
                  <a:lnTo>
                    <a:pt x="152" y="116"/>
                  </a:lnTo>
                  <a:lnTo>
                    <a:pt x="158" y="120"/>
                  </a:lnTo>
                  <a:lnTo>
                    <a:pt x="168" y="126"/>
                  </a:lnTo>
                  <a:lnTo>
                    <a:pt x="170" y="126"/>
                  </a:lnTo>
                  <a:lnTo>
                    <a:pt x="172" y="126"/>
                  </a:lnTo>
                  <a:lnTo>
                    <a:pt x="176" y="126"/>
                  </a:lnTo>
                  <a:lnTo>
                    <a:pt x="180" y="126"/>
                  </a:lnTo>
                  <a:lnTo>
                    <a:pt x="182" y="128"/>
                  </a:lnTo>
                  <a:lnTo>
                    <a:pt x="184" y="130"/>
                  </a:lnTo>
                  <a:lnTo>
                    <a:pt x="186" y="138"/>
                  </a:lnTo>
                  <a:lnTo>
                    <a:pt x="186" y="140"/>
                  </a:lnTo>
                  <a:lnTo>
                    <a:pt x="186" y="142"/>
                  </a:lnTo>
                  <a:lnTo>
                    <a:pt x="188" y="144"/>
                  </a:lnTo>
                  <a:lnTo>
                    <a:pt x="192" y="146"/>
                  </a:lnTo>
                  <a:lnTo>
                    <a:pt x="198" y="148"/>
                  </a:lnTo>
                  <a:lnTo>
                    <a:pt x="200" y="150"/>
                  </a:lnTo>
                  <a:lnTo>
                    <a:pt x="202" y="150"/>
                  </a:lnTo>
                  <a:lnTo>
                    <a:pt x="204" y="150"/>
                  </a:lnTo>
                  <a:lnTo>
                    <a:pt x="204" y="152"/>
                  </a:lnTo>
                  <a:lnTo>
                    <a:pt x="204" y="154"/>
                  </a:lnTo>
                  <a:lnTo>
                    <a:pt x="202" y="156"/>
                  </a:lnTo>
                  <a:lnTo>
                    <a:pt x="204" y="158"/>
                  </a:lnTo>
                  <a:lnTo>
                    <a:pt x="204" y="160"/>
                  </a:lnTo>
                  <a:lnTo>
                    <a:pt x="204" y="162"/>
                  </a:lnTo>
                  <a:lnTo>
                    <a:pt x="206" y="166"/>
                  </a:lnTo>
                  <a:lnTo>
                    <a:pt x="204" y="166"/>
                  </a:lnTo>
                  <a:lnTo>
                    <a:pt x="204" y="170"/>
                  </a:lnTo>
                  <a:lnTo>
                    <a:pt x="202" y="172"/>
                  </a:lnTo>
                  <a:lnTo>
                    <a:pt x="202" y="174"/>
                  </a:lnTo>
                  <a:lnTo>
                    <a:pt x="204" y="176"/>
                  </a:lnTo>
                  <a:lnTo>
                    <a:pt x="206" y="178"/>
                  </a:lnTo>
                  <a:lnTo>
                    <a:pt x="198" y="190"/>
                  </a:lnTo>
                  <a:lnTo>
                    <a:pt x="196" y="192"/>
                  </a:lnTo>
                  <a:lnTo>
                    <a:pt x="194" y="200"/>
                  </a:lnTo>
                  <a:lnTo>
                    <a:pt x="194" y="204"/>
                  </a:lnTo>
                  <a:lnTo>
                    <a:pt x="194" y="206"/>
                  </a:lnTo>
                  <a:lnTo>
                    <a:pt x="194" y="208"/>
                  </a:lnTo>
                  <a:lnTo>
                    <a:pt x="194" y="216"/>
                  </a:lnTo>
                  <a:lnTo>
                    <a:pt x="194" y="220"/>
                  </a:lnTo>
                  <a:lnTo>
                    <a:pt x="194" y="224"/>
                  </a:lnTo>
                  <a:lnTo>
                    <a:pt x="194" y="228"/>
                  </a:lnTo>
                  <a:lnTo>
                    <a:pt x="196" y="230"/>
                  </a:lnTo>
                  <a:lnTo>
                    <a:pt x="194" y="230"/>
                  </a:lnTo>
                  <a:lnTo>
                    <a:pt x="192" y="230"/>
                  </a:lnTo>
                  <a:lnTo>
                    <a:pt x="186" y="228"/>
                  </a:lnTo>
                  <a:lnTo>
                    <a:pt x="182" y="226"/>
                  </a:lnTo>
                  <a:lnTo>
                    <a:pt x="180" y="224"/>
                  </a:lnTo>
                  <a:lnTo>
                    <a:pt x="178" y="222"/>
                  </a:lnTo>
                  <a:lnTo>
                    <a:pt x="174" y="220"/>
                  </a:lnTo>
                  <a:lnTo>
                    <a:pt x="168" y="218"/>
                  </a:lnTo>
                  <a:lnTo>
                    <a:pt x="162" y="216"/>
                  </a:lnTo>
                  <a:lnTo>
                    <a:pt x="160" y="216"/>
                  </a:lnTo>
                  <a:lnTo>
                    <a:pt x="156" y="212"/>
                  </a:lnTo>
                  <a:lnTo>
                    <a:pt x="146" y="206"/>
                  </a:lnTo>
                  <a:lnTo>
                    <a:pt x="140" y="204"/>
                  </a:lnTo>
                  <a:lnTo>
                    <a:pt x="138" y="202"/>
                  </a:lnTo>
                  <a:lnTo>
                    <a:pt x="136" y="202"/>
                  </a:lnTo>
                  <a:lnTo>
                    <a:pt x="130" y="196"/>
                  </a:lnTo>
                  <a:lnTo>
                    <a:pt x="128" y="196"/>
                  </a:lnTo>
                  <a:lnTo>
                    <a:pt x="120" y="192"/>
                  </a:lnTo>
                  <a:lnTo>
                    <a:pt x="118" y="192"/>
                  </a:lnTo>
                  <a:lnTo>
                    <a:pt x="116" y="188"/>
                  </a:lnTo>
                  <a:lnTo>
                    <a:pt x="110" y="184"/>
                  </a:lnTo>
                  <a:lnTo>
                    <a:pt x="104" y="180"/>
                  </a:lnTo>
                  <a:lnTo>
                    <a:pt x="102" y="178"/>
                  </a:lnTo>
                  <a:lnTo>
                    <a:pt x="102" y="176"/>
                  </a:lnTo>
                  <a:lnTo>
                    <a:pt x="100" y="176"/>
                  </a:lnTo>
                  <a:lnTo>
                    <a:pt x="100" y="174"/>
                  </a:lnTo>
                  <a:lnTo>
                    <a:pt x="98" y="172"/>
                  </a:lnTo>
                  <a:lnTo>
                    <a:pt x="94" y="168"/>
                  </a:lnTo>
                  <a:lnTo>
                    <a:pt x="94" y="164"/>
                  </a:lnTo>
                  <a:lnTo>
                    <a:pt x="86" y="160"/>
                  </a:lnTo>
                  <a:lnTo>
                    <a:pt x="84" y="158"/>
                  </a:lnTo>
                  <a:lnTo>
                    <a:pt x="72" y="144"/>
                  </a:lnTo>
                  <a:lnTo>
                    <a:pt x="68" y="140"/>
                  </a:lnTo>
                  <a:lnTo>
                    <a:pt x="62" y="132"/>
                  </a:lnTo>
                  <a:lnTo>
                    <a:pt x="60" y="132"/>
                  </a:lnTo>
                  <a:lnTo>
                    <a:pt x="58" y="130"/>
                  </a:lnTo>
                  <a:lnTo>
                    <a:pt x="56" y="130"/>
                  </a:lnTo>
                  <a:lnTo>
                    <a:pt x="56" y="128"/>
                  </a:lnTo>
                  <a:lnTo>
                    <a:pt x="56" y="126"/>
                  </a:lnTo>
                  <a:lnTo>
                    <a:pt x="50" y="124"/>
                  </a:lnTo>
                  <a:lnTo>
                    <a:pt x="50" y="126"/>
                  </a:lnTo>
                  <a:lnTo>
                    <a:pt x="44" y="124"/>
                  </a:lnTo>
                  <a:lnTo>
                    <a:pt x="42" y="12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7" name="Freeform 1402"/>
            <p:cNvSpPr>
              <a:spLocks/>
            </p:cNvSpPr>
            <p:nvPr/>
          </p:nvSpPr>
          <p:spPr bwMode="auto">
            <a:xfrm>
              <a:off x="4534585" y="3169595"/>
              <a:ext cx="195170" cy="397849"/>
            </a:xfrm>
            <a:custGeom>
              <a:avLst/>
              <a:gdLst/>
              <a:ahLst/>
              <a:cxnLst>
                <a:cxn ang="0">
                  <a:pos x="96" y="272"/>
                </a:cxn>
                <a:cxn ang="0">
                  <a:pos x="94" y="292"/>
                </a:cxn>
                <a:cxn ang="0">
                  <a:pos x="92" y="312"/>
                </a:cxn>
                <a:cxn ang="0">
                  <a:pos x="78" y="314"/>
                </a:cxn>
                <a:cxn ang="0">
                  <a:pos x="58" y="316"/>
                </a:cxn>
                <a:cxn ang="0">
                  <a:pos x="40" y="318"/>
                </a:cxn>
                <a:cxn ang="0">
                  <a:pos x="44" y="316"/>
                </a:cxn>
                <a:cxn ang="0">
                  <a:pos x="40" y="302"/>
                </a:cxn>
                <a:cxn ang="0">
                  <a:pos x="34" y="292"/>
                </a:cxn>
                <a:cxn ang="0">
                  <a:pos x="34" y="280"/>
                </a:cxn>
                <a:cxn ang="0">
                  <a:pos x="38" y="256"/>
                </a:cxn>
                <a:cxn ang="0">
                  <a:pos x="38" y="244"/>
                </a:cxn>
                <a:cxn ang="0">
                  <a:pos x="40" y="206"/>
                </a:cxn>
                <a:cxn ang="0">
                  <a:pos x="40" y="182"/>
                </a:cxn>
                <a:cxn ang="0">
                  <a:pos x="36" y="164"/>
                </a:cxn>
                <a:cxn ang="0">
                  <a:pos x="30" y="156"/>
                </a:cxn>
                <a:cxn ang="0">
                  <a:pos x="28" y="148"/>
                </a:cxn>
                <a:cxn ang="0">
                  <a:pos x="30" y="126"/>
                </a:cxn>
                <a:cxn ang="0">
                  <a:pos x="16" y="112"/>
                </a:cxn>
                <a:cxn ang="0">
                  <a:pos x="4" y="90"/>
                </a:cxn>
                <a:cxn ang="0">
                  <a:pos x="4" y="82"/>
                </a:cxn>
                <a:cxn ang="0">
                  <a:pos x="10" y="68"/>
                </a:cxn>
                <a:cxn ang="0">
                  <a:pos x="22" y="58"/>
                </a:cxn>
                <a:cxn ang="0">
                  <a:pos x="34" y="46"/>
                </a:cxn>
                <a:cxn ang="0">
                  <a:pos x="42" y="46"/>
                </a:cxn>
                <a:cxn ang="0">
                  <a:pos x="52" y="48"/>
                </a:cxn>
                <a:cxn ang="0">
                  <a:pos x="64" y="48"/>
                </a:cxn>
                <a:cxn ang="0">
                  <a:pos x="80" y="38"/>
                </a:cxn>
                <a:cxn ang="0">
                  <a:pos x="86" y="22"/>
                </a:cxn>
                <a:cxn ang="0">
                  <a:pos x="86" y="6"/>
                </a:cxn>
                <a:cxn ang="0">
                  <a:pos x="104" y="2"/>
                </a:cxn>
                <a:cxn ang="0">
                  <a:pos x="118" y="6"/>
                </a:cxn>
                <a:cxn ang="0">
                  <a:pos x="130" y="24"/>
                </a:cxn>
                <a:cxn ang="0">
                  <a:pos x="140" y="28"/>
                </a:cxn>
                <a:cxn ang="0">
                  <a:pos x="146" y="38"/>
                </a:cxn>
                <a:cxn ang="0">
                  <a:pos x="146" y="60"/>
                </a:cxn>
                <a:cxn ang="0">
                  <a:pos x="150" y="72"/>
                </a:cxn>
                <a:cxn ang="0">
                  <a:pos x="152" y="84"/>
                </a:cxn>
                <a:cxn ang="0">
                  <a:pos x="154" y="102"/>
                </a:cxn>
                <a:cxn ang="0">
                  <a:pos x="146" y="104"/>
                </a:cxn>
                <a:cxn ang="0">
                  <a:pos x="148" y="118"/>
                </a:cxn>
                <a:cxn ang="0">
                  <a:pos x="138" y="134"/>
                </a:cxn>
                <a:cxn ang="0">
                  <a:pos x="128" y="138"/>
                </a:cxn>
                <a:cxn ang="0">
                  <a:pos x="120" y="150"/>
                </a:cxn>
                <a:cxn ang="0">
                  <a:pos x="116" y="166"/>
                </a:cxn>
                <a:cxn ang="0">
                  <a:pos x="106" y="172"/>
                </a:cxn>
                <a:cxn ang="0">
                  <a:pos x="96" y="186"/>
                </a:cxn>
                <a:cxn ang="0">
                  <a:pos x="96" y="200"/>
                </a:cxn>
                <a:cxn ang="0">
                  <a:pos x="94" y="210"/>
                </a:cxn>
                <a:cxn ang="0">
                  <a:pos x="94" y="222"/>
                </a:cxn>
                <a:cxn ang="0">
                  <a:pos x="94" y="234"/>
                </a:cxn>
                <a:cxn ang="0">
                  <a:pos x="94" y="246"/>
                </a:cxn>
              </a:cxnLst>
              <a:rect l="0" t="0" r="r" b="b"/>
              <a:pathLst>
                <a:path w="156" h="318">
                  <a:moveTo>
                    <a:pt x="94" y="246"/>
                  </a:moveTo>
                  <a:lnTo>
                    <a:pt x="94" y="248"/>
                  </a:lnTo>
                  <a:lnTo>
                    <a:pt x="96" y="266"/>
                  </a:lnTo>
                  <a:lnTo>
                    <a:pt x="96" y="272"/>
                  </a:lnTo>
                  <a:lnTo>
                    <a:pt x="94" y="276"/>
                  </a:lnTo>
                  <a:lnTo>
                    <a:pt x="92" y="282"/>
                  </a:lnTo>
                  <a:lnTo>
                    <a:pt x="94" y="284"/>
                  </a:lnTo>
                  <a:lnTo>
                    <a:pt x="94" y="292"/>
                  </a:lnTo>
                  <a:lnTo>
                    <a:pt x="94" y="296"/>
                  </a:lnTo>
                  <a:lnTo>
                    <a:pt x="94" y="302"/>
                  </a:lnTo>
                  <a:lnTo>
                    <a:pt x="92" y="308"/>
                  </a:lnTo>
                  <a:lnTo>
                    <a:pt x="92" y="312"/>
                  </a:lnTo>
                  <a:lnTo>
                    <a:pt x="86" y="312"/>
                  </a:lnTo>
                  <a:lnTo>
                    <a:pt x="82" y="314"/>
                  </a:lnTo>
                  <a:lnTo>
                    <a:pt x="80" y="314"/>
                  </a:lnTo>
                  <a:lnTo>
                    <a:pt x="78" y="314"/>
                  </a:lnTo>
                  <a:lnTo>
                    <a:pt x="74" y="314"/>
                  </a:lnTo>
                  <a:lnTo>
                    <a:pt x="72" y="314"/>
                  </a:lnTo>
                  <a:lnTo>
                    <a:pt x="68" y="314"/>
                  </a:lnTo>
                  <a:lnTo>
                    <a:pt x="58" y="316"/>
                  </a:lnTo>
                  <a:lnTo>
                    <a:pt x="54" y="316"/>
                  </a:lnTo>
                  <a:lnTo>
                    <a:pt x="50" y="316"/>
                  </a:lnTo>
                  <a:lnTo>
                    <a:pt x="44" y="316"/>
                  </a:lnTo>
                  <a:lnTo>
                    <a:pt x="40" y="318"/>
                  </a:lnTo>
                  <a:lnTo>
                    <a:pt x="36" y="318"/>
                  </a:lnTo>
                  <a:lnTo>
                    <a:pt x="38" y="316"/>
                  </a:lnTo>
                  <a:lnTo>
                    <a:pt x="40" y="316"/>
                  </a:lnTo>
                  <a:lnTo>
                    <a:pt x="44" y="316"/>
                  </a:lnTo>
                  <a:lnTo>
                    <a:pt x="44" y="314"/>
                  </a:lnTo>
                  <a:lnTo>
                    <a:pt x="42" y="308"/>
                  </a:lnTo>
                  <a:lnTo>
                    <a:pt x="42" y="306"/>
                  </a:lnTo>
                  <a:lnTo>
                    <a:pt x="40" y="302"/>
                  </a:lnTo>
                  <a:lnTo>
                    <a:pt x="38" y="300"/>
                  </a:lnTo>
                  <a:lnTo>
                    <a:pt x="36" y="298"/>
                  </a:lnTo>
                  <a:lnTo>
                    <a:pt x="34" y="294"/>
                  </a:lnTo>
                  <a:lnTo>
                    <a:pt x="34" y="292"/>
                  </a:lnTo>
                  <a:lnTo>
                    <a:pt x="36" y="288"/>
                  </a:lnTo>
                  <a:lnTo>
                    <a:pt x="36" y="284"/>
                  </a:lnTo>
                  <a:lnTo>
                    <a:pt x="34" y="282"/>
                  </a:lnTo>
                  <a:lnTo>
                    <a:pt x="34" y="280"/>
                  </a:lnTo>
                  <a:lnTo>
                    <a:pt x="32" y="278"/>
                  </a:lnTo>
                  <a:lnTo>
                    <a:pt x="38" y="278"/>
                  </a:lnTo>
                  <a:lnTo>
                    <a:pt x="38" y="260"/>
                  </a:lnTo>
                  <a:lnTo>
                    <a:pt x="38" y="256"/>
                  </a:lnTo>
                  <a:lnTo>
                    <a:pt x="38" y="254"/>
                  </a:lnTo>
                  <a:lnTo>
                    <a:pt x="40" y="252"/>
                  </a:lnTo>
                  <a:lnTo>
                    <a:pt x="40" y="250"/>
                  </a:lnTo>
                  <a:lnTo>
                    <a:pt x="38" y="244"/>
                  </a:lnTo>
                  <a:lnTo>
                    <a:pt x="38" y="238"/>
                  </a:lnTo>
                  <a:lnTo>
                    <a:pt x="40" y="226"/>
                  </a:lnTo>
                  <a:lnTo>
                    <a:pt x="40" y="208"/>
                  </a:lnTo>
                  <a:lnTo>
                    <a:pt x="40" y="206"/>
                  </a:lnTo>
                  <a:lnTo>
                    <a:pt x="40" y="204"/>
                  </a:lnTo>
                  <a:lnTo>
                    <a:pt x="40" y="196"/>
                  </a:lnTo>
                  <a:lnTo>
                    <a:pt x="40" y="188"/>
                  </a:lnTo>
                  <a:lnTo>
                    <a:pt x="40" y="182"/>
                  </a:lnTo>
                  <a:lnTo>
                    <a:pt x="40" y="172"/>
                  </a:lnTo>
                  <a:lnTo>
                    <a:pt x="40" y="168"/>
                  </a:lnTo>
                  <a:lnTo>
                    <a:pt x="38" y="166"/>
                  </a:lnTo>
                  <a:lnTo>
                    <a:pt x="36" y="164"/>
                  </a:lnTo>
                  <a:lnTo>
                    <a:pt x="36" y="162"/>
                  </a:lnTo>
                  <a:lnTo>
                    <a:pt x="34" y="162"/>
                  </a:lnTo>
                  <a:lnTo>
                    <a:pt x="32" y="158"/>
                  </a:lnTo>
                  <a:lnTo>
                    <a:pt x="30" y="156"/>
                  </a:lnTo>
                  <a:lnTo>
                    <a:pt x="30" y="154"/>
                  </a:lnTo>
                  <a:lnTo>
                    <a:pt x="30" y="152"/>
                  </a:lnTo>
                  <a:lnTo>
                    <a:pt x="30" y="148"/>
                  </a:lnTo>
                  <a:lnTo>
                    <a:pt x="28" y="148"/>
                  </a:lnTo>
                  <a:lnTo>
                    <a:pt x="28" y="144"/>
                  </a:lnTo>
                  <a:lnTo>
                    <a:pt x="30" y="142"/>
                  </a:lnTo>
                  <a:lnTo>
                    <a:pt x="30" y="140"/>
                  </a:lnTo>
                  <a:lnTo>
                    <a:pt x="30" y="126"/>
                  </a:lnTo>
                  <a:lnTo>
                    <a:pt x="30" y="122"/>
                  </a:lnTo>
                  <a:lnTo>
                    <a:pt x="28" y="120"/>
                  </a:lnTo>
                  <a:lnTo>
                    <a:pt x="20" y="116"/>
                  </a:lnTo>
                  <a:lnTo>
                    <a:pt x="16" y="112"/>
                  </a:lnTo>
                  <a:lnTo>
                    <a:pt x="12" y="110"/>
                  </a:lnTo>
                  <a:lnTo>
                    <a:pt x="0" y="100"/>
                  </a:lnTo>
                  <a:lnTo>
                    <a:pt x="2" y="92"/>
                  </a:lnTo>
                  <a:lnTo>
                    <a:pt x="4" y="90"/>
                  </a:lnTo>
                  <a:lnTo>
                    <a:pt x="4" y="88"/>
                  </a:lnTo>
                  <a:lnTo>
                    <a:pt x="4" y="86"/>
                  </a:lnTo>
                  <a:lnTo>
                    <a:pt x="4" y="84"/>
                  </a:lnTo>
                  <a:lnTo>
                    <a:pt x="4" y="82"/>
                  </a:lnTo>
                  <a:lnTo>
                    <a:pt x="8" y="80"/>
                  </a:lnTo>
                  <a:lnTo>
                    <a:pt x="8" y="76"/>
                  </a:lnTo>
                  <a:lnTo>
                    <a:pt x="8" y="72"/>
                  </a:lnTo>
                  <a:lnTo>
                    <a:pt x="10" y="68"/>
                  </a:lnTo>
                  <a:lnTo>
                    <a:pt x="12" y="68"/>
                  </a:lnTo>
                  <a:lnTo>
                    <a:pt x="14" y="64"/>
                  </a:lnTo>
                  <a:lnTo>
                    <a:pt x="18" y="62"/>
                  </a:lnTo>
                  <a:lnTo>
                    <a:pt x="22" y="58"/>
                  </a:lnTo>
                  <a:lnTo>
                    <a:pt x="24" y="56"/>
                  </a:lnTo>
                  <a:lnTo>
                    <a:pt x="28" y="56"/>
                  </a:lnTo>
                  <a:lnTo>
                    <a:pt x="32" y="52"/>
                  </a:lnTo>
                  <a:lnTo>
                    <a:pt x="34" y="46"/>
                  </a:lnTo>
                  <a:lnTo>
                    <a:pt x="36" y="46"/>
                  </a:lnTo>
                  <a:lnTo>
                    <a:pt x="38" y="46"/>
                  </a:lnTo>
                  <a:lnTo>
                    <a:pt x="40" y="46"/>
                  </a:lnTo>
                  <a:lnTo>
                    <a:pt x="42" y="46"/>
                  </a:lnTo>
                  <a:lnTo>
                    <a:pt x="44" y="46"/>
                  </a:lnTo>
                  <a:lnTo>
                    <a:pt x="44" y="48"/>
                  </a:lnTo>
                  <a:lnTo>
                    <a:pt x="46" y="50"/>
                  </a:lnTo>
                  <a:lnTo>
                    <a:pt x="52" y="48"/>
                  </a:lnTo>
                  <a:lnTo>
                    <a:pt x="56" y="46"/>
                  </a:lnTo>
                  <a:lnTo>
                    <a:pt x="60" y="46"/>
                  </a:lnTo>
                  <a:lnTo>
                    <a:pt x="60" y="48"/>
                  </a:lnTo>
                  <a:lnTo>
                    <a:pt x="64" y="48"/>
                  </a:lnTo>
                  <a:lnTo>
                    <a:pt x="66" y="48"/>
                  </a:lnTo>
                  <a:lnTo>
                    <a:pt x="68" y="46"/>
                  </a:lnTo>
                  <a:lnTo>
                    <a:pt x="76" y="40"/>
                  </a:lnTo>
                  <a:lnTo>
                    <a:pt x="80" y="38"/>
                  </a:lnTo>
                  <a:lnTo>
                    <a:pt x="82" y="36"/>
                  </a:lnTo>
                  <a:lnTo>
                    <a:pt x="84" y="32"/>
                  </a:lnTo>
                  <a:lnTo>
                    <a:pt x="86" y="24"/>
                  </a:lnTo>
                  <a:lnTo>
                    <a:pt x="86" y="22"/>
                  </a:lnTo>
                  <a:lnTo>
                    <a:pt x="88" y="14"/>
                  </a:lnTo>
                  <a:lnTo>
                    <a:pt x="86" y="14"/>
                  </a:lnTo>
                  <a:lnTo>
                    <a:pt x="86" y="8"/>
                  </a:lnTo>
                  <a:lnTo>
                    <a:pt x="86" y="6"/>
                  </a:lnTo>
                  <a:lnTo>
                    <a:pt x="94" y="4"/>
                  </a:lnTo>
                  <a:lnTo>
                    <a:pt x="98" y="4"/>
                  </a:lnTo>
                  <a:lnTo>
                    <a:pt x="102" y="4"/>
                  </a:lnTo>
                  <a:lnTo>
                    <a:pt x="104" y="2"/>
                  </a:lnTo>
                  <a:lnTo>
                    <a:pt x="106" y="0"/>
                  </a:lnTo>
                  <a:lnTo>
                    <a:pt x="110" y="0"/>
                  </a:lnTo>
                  <a:lnTo>
                    <a:pt x="112" y="0"/>
                  </a:lnTo>
                  <a:lnTo>
                    <a:pt x="118" y="6"/>
                  </a:lnTo>
                  <a:lnTo>
                    <a:pt x="126" y="14"/>
                  </a:lnTo>
                  <a:lnTo>
                    <a:pt x="130" y="20"/>
                  </a:lnTo>
                  <a:lnTo>
                    <a:pt x="130" y="22"/>
                  </a:lnTo>
                  <a:lnTo>
                    <a:pt x="130" y="24"/>
                  </a:lnTo>
                  <a:lnTo>
                    <a:pt x="132" y="26"/>
                  </a:lnTo>
                  <a:lnTo>
                    <a:pt x="134" y="26"/>
                  </a:lnTo>
                  <a:lnTo>
                    <a:pt x="136" y="26"/>
                  </a:lnTo>
                  <a:lnTo>
                    <a:pt x="140" y="28"/>
                  </a:lnTo>
                  <a:lnTo>
                    <a:pt x="142" y="30"/>
                  </a:lnTo>
                  <a:lnTo>
                    <a:pt x="144" y="34"/>
                  </a:lnTo>
                  <a:lnTo>
                    <a:pt x="144" y="36"/>
                  </a:lnTo>
                  <a:lnTo>
                    <a:pt x="146" y="38"/>
                  </a:lnTo>
                  <a:lnTo>
                    <a:pt x="144" y="40"/>
                  </a:lnTo>
                  <a:lnTo>
                    <a:pt x="142" y="44"/>
                  </a:lnTo>
                  <a:lnTo>
                    <a:pt x="138" y="50"/>
                  </a:lnTo>
                  <a:lnTo>
                    <a:pt x="146" y="60"/>
                  </a:lnTo>
                  <a:lnTo>
                    <a:pt x="150" y="68"/>
                  </a:lnTo>
                  <a:lnTo>
                    <a:pt x="152" y="68"/>
                  </a:lnTo>
                  <a:lnTo>
                    <a:pt x="150" y="70"/>
                  </a:lnTo>
                  <a:lnTo>
                    <a:pt x="150" y="72"/>
                  </a:lnTo>
                  <a:lnTo>
                    <a:pt x="152" y="72"/>
                  </a:lnTo>
                  <a:lnTo>
                    <a:pt x="154" y="80"/>
                  </a:lnTo>
                  <a:lnTo>
                    <a:pt x="152" y="82"/>
                  </a:lnTo>
                  <a:lnTo>
                    <a:pt x="152" y="84"/>
                  </a:lnTo>
                  <a:lnTo>
                    <a:pt x="154" y="86"/>
                  </a:lnTo>
                  <a:lnTo>
                    <a:pt x="156" y="90"/>
                  </a:lnTo>
                  <a:lnTo>
                    <a:pt x="156" y="96"/>
                  </a:lnTo>
                  <a:lnTo>
                    <a:pt x="154" y="102"/>
                  </a:lnTo>
                  <a:lnTo>
                    <a:pt x="152" y="104"/>
                  </a:lnTo>
                  <a:lnTo>
                    <a:pt x="150" y="104"/>
                  </a:lnTo>
                  <a:lnTo>
                    <a:pt x="148" y="102"/>
                  </a:lnTo>
                  <a:lnTo>
                    <a:pt x="146" y="104"/>
                  </a:lnTo>
                  <a:lnTo>
                    <a:pt x="142" y="112"/>
                  </a:lnTo>
                  <a:lnTo>
                    <a:pt x="146" y="114"/>
                  </a:lnTo>
                  <a:lnTo>
                    <a:pt x="146" y="116"/>
                  </a:lnTo>
                  <a:lnTo>
                    <a:pt x="148" y="118"/>
                  </a:lnTo>
                  <a:lnTo>
                    <a:pt x="146" y="120"/>
                  </a:lnTo>
                  <a:lnTo>
                    <a:pt x="142" y="128"/>
                  </a:lnTo>
                  <a:lnTo>
                    <a:pt x="140" y="132"/>
                  </a:lnTo>
                  <a:lnTo>
                    <a:pt x="138" y="134"/>
                  </a:lnTo>
                  <a:lnTo>
                    <a:pt x="136" y="134"/>
                  </a:lnTo>
                  <a:lnTo>
                    <a:pt x="130" y="134"/>
                  </a:lnTo>
                  <a:lnTo>
                    <a:pt x="128" y="136"/>
                  </a:lnTo>
                  <a:lnTo>
                    <a:pt x="128" y="138"/>
                  </a:lnTo>
                  <a:lnTo>
                    <a:pt x="128" y="140"/>
                  </a:lnTo>
                  <a:lnTo>
                    <a:pt x="130" y="142"/>
                  </a:lnTo>
                  <a:lnTo>
                    <a:pt x="128" y="144"/>
                  </a:lnTo>
                  <a:lnTo>
                    <a:pt x="120" y="150"/>
                  </a:lnTo>
                  <a:lnTo>
                    <a:pt x="118" y="154"/>
                  </a:lnTo>
                  <a:lnTo>
                    <a:pt x="118" y="156"/>
                  </a:lnTo>
                  <a:lnTo>
                    <a:pt x="118" y="160"/>
                  </a:lnTo>
                  <a:lnTo>
                    <a:pt x="116" y="166"/>
                  </a:lnTo>
                  <a:lnTo>
                    <a:pt x="116" y="172"/>
                  </a:lnTo>
                  <a:lnTo>
                    <a:pt x="110" y="172"/>
                  </a:lnTo>
                  <a:lnTo>
                    <a:pt x="108" y="172"/>
                  </a:lnTo>
                  <a:lnTo>
                    <a:pt x="106" y="172"/>
                  </a:lnTo>
                  <a:lnTo>
                    <a:pt x="100" y="172"/>
                  </a:lnTo>
                  <a:lnTo>
                    <a:pt x="100" y="174"/>
                  </a:lnTo>
                  <a:lnTo>
                    <a:pt x="98" y="176"/>
                  </a:lnTo>
                  <a:lnTo>
                    <a:pt x="96" y="186"/>
                  </a:lnTo>
                  <a:lnTo>
                    <a:pt x="96" y="188"/>
                  </a:lnTo>
                  <a:lnTo>
                    <a:pt x="96" y="190"/>
                  </a:lnTo>
                  <a:lnTo>
                    <a:pt x="96" y="198"/>
                  </a:lnTo>
                  <a:lnTo>
                    <a:pt x="96" y="200"/>
                  </a:lnTo>
                  <a:lnTo>
                    <a:pt x="96" y="202"/>
                  </a:lnTo>
                  <a:lnTo>
                    <a:pt x="96" y="204"/>
                  </a:lnTo>
                  <a:lnTo>
                    <a:pt x="96" y="206"/>
                  </a:lnTo>
                  <a:lnTo>
                    <a:pt x="94" y="210"/>
                  </a:lnTo>
                  <a:lnTo>
                    <a:pt x="96" y="214"/>
                  </a:lnTo>
                  <a:lnTo>
                    <a:pt x="96" y="216"/>
                  </a:lnTo>
                  <a:lnTo>
                    <a:pt x="96" y="220"/>
                  </a:lnTo>
                  <a:lnTo>
                    <a:pt x="94" y="222"/>
                  </a:lnTo>
                  <a:lnTo>
                    <a:pt x="94" y="228"/>
                  </a:lnTo>
                  <a:lnTo>
                    <a:pt x="92" y="232"/>
                  </a:lnTo>
                  <a:lnTo>
                    <a:pt x="92" y="234"/>
                  </a:lnTo>
                  <a:lnTo>
                    <a:pt x="94" y="234"/>
                  </a:lnTo>
                  <a:lnTo>
                    <a:pt x="94" y="238"/>
                  </a:lnTo>
                  <a:lnTo>
                    <a:pt x="96" y="238"/>
                  </a:lnTo>
                  <a:lnTo>
                    <a:pt x="94" y="242"/>
                  </a:lnTo>
                  <a:lnTo>
                    <a:pt x="94" y="24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8" name="Freeform 1403"/>
            <p:cNvSpPr>
              <a:spLocks/>
            </p:cNvSpPr>
            <p:nvPr/>
          </p:nvSpPr>
          <p:spPr bwMode="auto">
            <a:xfrm>
              <a:off x="4649685" y="3077014"/>
              <a:ext cx="763168" cy="625549"/>
            </a:xfrm>
            <a:custGeom>
              <a:avLst/>
              <a:gdLst/>
              <a:ahLst/>
              <a:cxnLst>
                <a:cxn ang="0">
                  <a:pos x="450" y="374"/>
                </a:cxn>
                <a:cxn ang="0">
                  <a:pos x="434" y="392"/>
                </a:cxn>
                <a:cxn ang="0">
                  <a:pos x="420" y="374"/>
                </a:cxn>
                <a:cxn ang="0">
                  <a:pos x="402" y="360"/>
                </a:cxn>
                <a:cxn ang="0">
                  <a:pos x="364" y="374"/>
                </a:cxn>
                <a:cxn ang="0">
                  <a:pos x="340" y="396"/>
                </a:cxn>
                <a:cxn ang="0">
                  <a:pos x="312" y="432"/>
                </a:cxn>
                <a:cxn ang="0">
                  <a:pos x="298" y="470"/>
                </a:cxn>
                <a:cxn ang="0">
                  <a:pos x="280" y="470"/>
                </a:cxn>
                <a:cxn ang="0">
                  <a:pos x="252" y="490"/>
                </a:cxn>
                <a:cxn ang="0">
                  <a:pos x="240" y="486"/>
                </a:cxn>
                <a:cxn ang="0">
                  <a:pos x="224" y="484"/>
                </a:cxn>
                <a:cxn ang="0">
                  <a:pos x="212" y="476"/>
                </a:cxn>
                <a:cxn ang="0">
                  <a:pos x="202" y="474"/>
                </a:cxn>
                <a:cxn ang="0">
                  <a:pos x="200" y="486"/>
                </a:cxn>
                <a:cxn ang="0">
                  <a:pos x="184" y="498"/>
                </a:cxn>
                <a:cxn ang="0">
                  <a:pos x="168" y="500"/>
                </a:cxn>
                <a:cxn ang="0">
                  <a:pos x="138" y="470"/>
                </a:cxn>
                <a:cxn ang="0">
                  <a:pos x="132" y="452"/>
                </a:cxn>
                <a:cxn ang="0">
                  <a:pos x="136" y="440"/>
                </a:cxn>
                <a:cxn ang="0">
                  <a:pos x="140" y="428"/>
                </a:cxn>
                <a:cxn ang="0">
                  <a:pos x="100" y="400"/>
                </a:cxn>
                <a:cxn ang="0">
                  <a:pos x="62" y="386"/>
                </a:cxn>
                <a:cxn ang="0">
                  <a:pos x="38" y="382"/>
                </a:cxn>
                <a:cxn ang="0">
                  <a:pos x="38" y="376"/>
                </a:cxn>
                <a:cxn ang="0">
                  <a:pos x="10" y="386"/>
                </a:cxn>
                <a:cxn ang="0">
                  <a:pos x="2" y="350"/>
                </a:cxn>
                <a:cxn ang="0">
                  <a:pos x="0" y="306"/>
                </a:cxn>
                <a:cxn ang="0">
                  <a:pos x="4" y="274"/>
                </a:cxn>
                <a:cxn ang="0">
                  <a:pos x="18" y="246"/>
                </a:cxn>
                <a:cxn ang="0">
                  <a:pos x="36" y="212"/>
                </a:cxn>
                <a:cxn ang="0">
                  <a:pos x="54" y="188"/>
                </a:cxn>
                <a:cxn ang="0">
                  <a:pos x="60" y="158"/>
                </a:cxn>
                <a:cxn ang="0">
                  <a:pos x="50" y="118"/>
                </a:cxn>
                <a:cxn ang="0">
                  <a:pos x="58" y="84"/>
                </a:cxn>
                <a:cxn ang="0">
                  <a:pos x="86" y="24"/>
                </a:cxn>
                <a:cxn ang="0">
                  <a:pos x="146" y="6"/>
                </a:cxn>
                <a:cxn ang="0">
                  <a:pos x="194" y="14"/>
                </a:cxn>
                <a:cxn ang="0">
                  <a:pos x="234" y="48"/>
                </a:cxn>
                <a:cxn ang="0">
                  <a:pos x="296" y="44"/>
                </a:cxn>
                <a:cxn ang="0">
                  <a:pos x="318" y="58"/>
                </a:cxn>
                <a:cxn ang="0">
                  <a:pos x="374" y="46"/>
                </a:cxn>
                <a:cxn ang="0">
                  <a:pos x="402" y="38"/>
                </a:cxn>
                <a:cxn ang="0">
                  <a:pos x="426" y="36"/>
                </a:cxn>
                <a:cxn ang="0">
                  <a:pos x="448" y="36"/>
                </a:cxn>
                <a:cxn ang="0">
                  <a:pos x="500" y="54"/>
                </a:cxn>
                <a:cxn ang="0">
                  <a:pos x="524" y="32"/>
                </a:cxn>
                <a:cxn ang="0">
                  <a:pos x="572" y="40"/>
                </a:cxn>
                <a:cxn ang="0">
                  <a:pos x="600" y="92"/>
                </a:cxn>
                <a:cxn ang="0">
                  <a:pos x="606" y="126"/>
                </a:cxn>
                <a:cxn ang="0">
                  <a:pos x="586" y="148"/>
                </a:cxn>
                <a:cxn ang="0">
                  <a:pos x="560" y="168"/>
                </a:cxn>
                <a:cxn ang="0">
                  <a:pos x="548" y="200"/>
                </a:cxn>
                <a:cxn ang="0">
                  <a:pos x="536" y="232"/>
                </a:cxn>
                <a:cxn ang="0">
                  <a:pos x="516" y="262"/>
                </a:cxn>
                <a:cxn ang="0">
                  <a:pos x="492" y="284"/>
                </a:cxn>
                <a:cxn ang="0">
                  <a:pos x="484" y="298"/>
                </a:cxn>
                <a:cxn ang="0">
                  <a:pos x="480" y="318"/>
                </a:cxn>
                <a:cxn ang="0">
                  <a:pos x="468" y="340"/>
                </a:cxn>
              </a:cxnLst>
              <a:rect l="0" t="0" r="r" b="b"/>
              <a:pathLst>
                <a:path w="610" h="500">
                  <a:moveTo>
                    <a:pt x="460" y="348"/>
                  </a:moveTo>
                  <a:lnTo>
                    <a:pt x="460" y="350"/>
                  </a:lnTo>
                  <a:lnTo>
                    <a:pt x="466" y="358"/>
                  </a:lnTo>
                  <a:lnTo>
                    <a:pt x="464" y="360"/>
                  </a:lnTo>
                  <a:lnTo>
                    <a:pt x="460" y="364"/>
                  </a:lnTo>
                  <a:lnTo>
                    <a:pt x="456" y="364"/>
                  </a:lnTo>
                  <a:lnTo>
                    <a:pt x="452" y="366"/>
                  </a:lnTo>
                  <a:lnTo>
                    <a:pt x="450" y="370"/>
                  </a:lnTo>
                  <a:lnTo>
                    <a:pt x="450" y="372"/>
                  </a:lnTo>
                  <a:lnTo>
                    <a:pt x="450" y="374"/>
                  </a:lnTo>
                  <a:lnTo>
                    <a:pt x="450" y="376"/>
                  </a:lnTo>
                  <a:lnTo>
                    <a:pt x="450" y="378"/>
                  </a:lnTo>
                  <a:lnTo>
                    <a:pt x="450" y="382"/>
                  </a:lnTo>
                  <a:lnTo>
                    <a:pt x="446" y="384"/>
                  </a:lnTo>
                  <a:lnTo>
                    <a:pt x="444" y="384"/>
                  </a:lnTo>
                  <a:lnTo>
                    <a:pt x="442" y="384"/>
                  </a:lnTo>
                  <a:lnTo>
                    <a:pt x="440" y="388"/>
                  </a:lnTo>
                  <a:lnTo>
                    <a:pt x="440" y="390"/>
                  </a:lnTo>
                  <a:lnTo>
                    <a:pt x="438" y="392"/>
                  </a:lnTo>
                  <a:lnTo>
                    <a:pt x="434" y="392"/>
                  </a:lnTo>
                  <a:lnTo>
                    <a:pt x="430" y="392"/>
                  </a:lnTo>
                  <a:lnTo>
                    <a:pt x="426" y="392"/>
                  </a:lnTo>
                  <a:lnTo>
                    <a:pt x="426" y="388"/>
                  </a:lnTo>
                  <a:lnTo>
                    <a:pt x="424" y="388"/>
                  </a:lnTo>
                  <a:lnTo>
                    <a:pt x="424" y="384"/>
                  </a:lnTo>
                  <a:lnTo>
                    <a:pt x="424" y="382"/>
                  </a:lnTo>
                  <a:lnTo>
                    <a:pt x="424" y="380"/>
                  </a:lnTo>
                  <a:lnTo>
                    <a:pt x="424" y="378"/>
                  </a:lnTo>
                  <a:lnTo>
                    <a:pt x="422" y="376"/>
                  </a:lnTo>
                  <a:lnTo>
                    <a:pt x="420" y="374"/>
                  </a:lnTo>
                  <a:lnTo>
                    <a:pt x="418" y="374"/>
                  </a:lnTo>
                  <a:lnTo>
                    <a:pt x="416" y="374"/>
                  </a:lnTo>
                  <a:lnTo>
                    <a:pt x="416" y="372"/>
                  </a:lnTo>
                  <a:lnTo>
                    <a:pt x="414" y="372"/>
                  </a:lnTo>
                  <a:lnTo>
                    <a:pt x="414" y="370"/>
                  </a:lnTo>
                  <a:lnTo>
                    <a:pt x="414" y="366"/>
                  </a:lnTo>
                  <a:lnTo>
                    <a:pt x="412" y="366"/>
                  </a:lnTo>
                  <a:lnTo>
                    <a:pt x="412" y="364"/>
                  </a:lnTo>
                  <a:lnTo>
                    <a:pt x="406" y="362"/>
                  </a:lnTo>
                  <a:lnTo>
                    <a:pt x="402" y="360"/>
                  </a:lnTo>
                  <a:lnTo>
                    <a:pt x="398" y="362"/>
                  </a:lnTo>
                  <a:lnTo>
                    <a:pt x="396" y="370"/>
                  </a:lnTo>
                  <a:lnTo>
                    <a:pt x="384" y="370"/>
                  </a:lnTo>
                  <a:lnTo>
                    <a:pt x="382" y="368"/>
                  </a:lnTo>
                  <a:lnTo>
                    <a:pt x="380" y="368"/>
                  </a:lnTo>
                  <a:lnTo>
                    <a:pt x="380" y="366"/>
                  </a:lnTo>
                  <a:lnTo>
                    <a:pt x="380" y="364"/>
                  </a:lnTo>
                  <a:lnTo>
                    <a:pt x="378" y="362"/>
                  </a:lnTo>
                  <a:lnTo>
                    <a:pt x="374" y="364"/>
                  </a:lnTo>
                  <a:lnTo>
                    <a:pt x="364" y="374"/>
                  </a:lnTo>
                  <a:lnTo>
                    <a:pt x="360" y="372"/>
                  </a:lnTo>
                  <a:lnTo>
                    <a:pt x="358" y="374"/>
                  </a:lnTo>
                  <a:lnTo>
                    <a:pt x="356" y="382"/>
                  </a:lnTo>
                  <a:lnTo>
                    <a:pt x="354" y="386"/>
                  </a:lnTo>
                  <a:lnTo>
                    <a:pt x="352" y="386"/>
                  </a:lnTo>
                  <a:lnTo>
                    <a:pt x="348" y="388"/>
                  </a:lnTo>
                  <a:lnTo>
                    <a:pt x="344" y="392"/>
                  </a:lnTo>
                  <a:lnTo>
                    <a:pt x="342" y="392"/>
                  </a:lnTo>
                  <a:lnTo>
                    <a:pt x="342" y="394"/>
                  </a:lnTo>
                  <a:lnTo>
                    <a:pt x="340" y="396"/>
                  </a:lnTo>
                  <a:lnTo>
                    <a:pt x="338" y="396"/>
                  </a:lnTo>
                  <a:lnTo>
                    <a:pt x="336" y="398"/>
                  </a:lnTo>
                  <a:lnTo>
                    <a:pt x="330" y="404"/>
                  </a:lnTo>
                  <a:lnTo>
                    <a:pt x="322" y="412"/>
                  </a:lnTo>
                  <a:lnTo>
                    <a:pt x="316" y="418"/>
                  </a:lnTo>
                  <a:lnTo>
                    <a:pt x="314" y="418"/>
                  </a:lnTo>
                  <a:lnTo>
                    <a:pt x="310" y="422"/>
                  </a:lnTo>
                  <a:lnTo>
                    <a:pt x="310" y="426"/>
                  </a:lnTo>
                  <a:lnTo>
                    <a:pt x="312" y="430"/>
                  </a:lnTo>
                  <a:lnTo>
                    <a:pt x="312" y="432"/>
                  </a:lnTo>
                  <a:lnTo>
                    <a:pt x="314" y="434"/>
                  </a:lnTo>
                  <a:lnTo>
                    <a:pt x="312" y="436"/>
                  </a:lnTo>
                  <a:lnTo>
                    <a:pt x="310" y="438"/>
                  </a:lnTo>
                  <a:lnTo>
                    <a:pt x="308" y="444"/>
                  </a:lnTo>
                  <a:lnTo>
                    <a:pt x="308" y="448"/>
                  </a:lnTo>
                  <a:lnTo>
                    <a:pt x="308" y="454"/>
                  </a:lnTo>
                  <a:lnTo>
                    <a:pt x="308" y="456"/>
                  </a:lnTo>
                  <a:lnTo>
                    <a:pt x="302" y="464"/>
                  </a:lnTo>
                  <a:lnTo>
                    <a:pt x="300" y="466"/>
                  </a:lnTo>
                  <a:lnTo>
                    <a:pt x="298" y="470"/>
                  </a:lnTo>
                  <a:lnTo>
                    <a:pt x="298" y="472"/>
                  </a:lnTo>
                  <a:lnTo>
                    <a:pt x="296" y="474"/>
                  </a:lnTo>
                  <a:lnTo>
                    <a:pt x="294" y="474"/>
                  </a:lnTo>
                  <a:lnTo>
                    <a:pt x="294" y="476"/>
                  </a:lnTo>
                  <a:lnTo>
                    <a:pt x="294" y="478"/>
                  </a:lnTo>
                  <a:lnTo>
                    <a:pt x="292" y="480"/>
                  </a:lnTo>
                  <a:lnTo>
                    <a:pt x="290" y="480"/>
                  </a:lnTo>
                  <a:lnTo>
                    <a:pt x="286" y="476"/>
                  </a:lnTo>
                  <a:lnTo>
                    <a:pt x="284" y="474"/>
                  </a:lnTo>
                  <a:lnTo>
                    <a:pt x="280" y="470"/>
                  </a:lnTo>
                  <a:lnTo>
                    <a:pt x="280" y="472"/>
                  </a:lnTo>
                  <a:lnTo>
                    <a:pt x="278" y="472"/>
                  </a:lnTo>
                  <a:lnTo>
                    <a:pt x="280" y="474"/>
                  </a:lnTo>
                  <a:lnTo>
                    <a:pt x="282" y="476"/>
                  </a:lnTo>
                  <a:lnTo>
                    <a:pt x="284" y="482"/>
                  </a:lnTo>
                  <a:lnTo>
                    <a:pt x="280" y="488"/>
                  </a:lnTo>
                  <a:lnTo>
                    <a:pt x="272" y="486"/>
                  </a:lnTo>
                  <a:lnTo>
                    <a:pt x="266" y="486"/>
                  </a:lnTo>
                  <a:lnTo>
                    <a:pt x="254" y="488"/>
                  </a:lnTo>
                  <a:lnTo>
                    <a:pt x="252" y="490"/>
                  </a:lnTo>
                  <a:lnTo>
                    <a:pt x="250" y="490"/>
                  </a:lnTo>
                  <a:lnTo>
                    <a:pt x="242" y="488"/>
                  </a:lnTo>
                  <a:lnTo>
                    <a:pt x="242" y="486"/>
                  </a:lnTo>
                  <a:lnTo>
                    <a:pt x="242" y="482"/>
                  </a:lnTo>
                  <a:lnTo>
                    <a:pt x="242" y="480"/>
                  </a:lnTo>
                  <a:lnTo>
                    <a:pt x="242" y="478"/>
                  </a:lnTo>
                  <a:lnTo>
                    <a:pt x="242" y="480"/>
                  </a:lnTo>
                  <a:lnTo>
                    <a:pt x="242" y="482"/>
                  </a:lnTo>
                  <a:lnTo>
                    <a:pt x="242" y="484"/>
                  </a:lnTo>
                  <a:lnTo>
                    <a:pt x="240" y="486"/>
                  </a:lnTo>
                  <a:lnTo>
                    <a:pt x="238" y="486"/>
                  </a:lnTo>
                  <a:lnTo>
                    <a:pt x="228" y="486"/>
                  </a:lnTo>
                  <a:lnTo>
                    <a:pt x="226" y="486"/>
                  </a:lnTo>
                  <a:lnTo>
                    <a:pt x="224" y="482"/>
                  </a:lnTo>
                  <a:lnTo>
                    <a:pt x="218" y="476"/>
                  </a:lnTo>
                  <a:lnTo>
                    <a:pt x="218" y="478"/>
                  </a:lnTo>
                  <a:lnTo>
                    <a:pt x="220" y="480"/>
                  </a:lnTo>
                  <a:lnTo>
                    <a:pt x="222" y="482"/>
                  </a:lnTo>
                  <a:lnTo>
                    <a:pt x="224" y="482"/>
                  </a:lnTo>
                  <a:lnTo>
                    <a:pt x="224" y="484"/>
                  </a:lnTo>
                  <a:lnTo>
                    <a:pt x="224" y="488"/>
                  </a:lnTo>
                  <a:lnTo>
                    <a:pt x="222" y="490"/>
                  </a:lnTo>
                  <a:lnTo>
                    <a:pt x="218" y="492"/>
                  </a:lnTo>
                  <a:lnTo>
                    <a:pt x="216" y="492"/>
                  </a:lnTo>
                  <a:lnTo>
                    <a:pt x="216" y="488"/>
                  </a:lnTo>
                  <a:lnTo>
                    <a:pt x="214" y="484"/>
                  </a:lnTo>
                  <a:lnTo>
                    <a:pt x="216" y="482"/>
                  </a:lnTo>
                  <a:lnTo>
                    <a:pt x="216" y="480"/>
                  </a:lnTo>
                  <a:lnTo>
                    <a:pt x="216" y="478"/>
                  </a:lnTo>
                  <a:lnTo>
                    <a:pt x="212" y="476"/>
                  </a:lnTo>
                  <a:lnTo>
                    <a:pt x="210" y="480"/>
                  </a:lnTo>
                  <a:lnTo>
                    <a:pt x="214" y="490"/>
                  </a:lnTo>
                  <a:lnTo>
                    <a:pt x="214" y="492"/>
                  </a:lnTo>
                  <a:lnTo>
                    <a:pt x="216" y="492"/>
                  </a:lnTo>
                  <a:lnTo>
                    <a:pt x="216" y="494"/>
                  </a:lnTo>
                  <a:lnTo>
                    <a:pt x="214" y="494"/>
                  </a:lnTo>
                  <a:lnTo>
                    <a:pt x="212" y="494"/>
                  </a:lnTo>
                  <a:lnTo>
                    <a:pt x="208" y="494"/>
                  </a:lnTo>
                  <a:lnTo>
                    <a:pt x="206" y="486"/>
                  </a:lnTo>
                  <a:lnTo>
                    <a:pt x="202" y="474"/>
                  </a:lnTo>
                  <a:lnTo>
                    <a:pt x="204" y="488"/>
                  </a:lnTo>
                  <a:lnTo>
                    <a:pt x="206" y="490"/>
                  </a:lnTo>
                  <a:lnTo>
                    <a:pt x="206" y="492"/>
                  </a:lnTo>
                  <a:lnTo>
                    <a:pt x="208" y="494"/>
                  </a:lnTo>
                  <a:lnTo>
                    <a:pt x="206" y="496"/>
                  </a:lnTo>
                  <a:lnTo>
                    <a:pt x="204" y="496"/>
                  </a:lnTo>
                  <a:lnTo>
                    <a:pt x="200" y="496"/>
                  </a:lnTo>
                  <a:lnTo>
                    <a:pt x="200" y="490"/>
                  </a:lnTo>
                  <a:lnTo>
                    <a:pt x="200" y="488"/>
                  </a:lnTo>
                  <a:lnTo>
                    <a:pt x="200" y="486"/>
                  </a:lnTo>
                  <a:lnTo>
                    <a:pt x="202" y="484"/>
                  </a:lnTo>
                  <a:lnTo>
                    <a:pt x="200" y="482"/>
                  </a:lnTo>
                  <a:lnTo>
                    <a:pt x="198" y="488"/>
                  </a:lnTo>
                  <a:lnTo>
                    <a:pt x="198" y="492"/>
                  </a:lnTo>
                  <a:lnTo>
                    <a:pt x="200" y="494"/>
                  </a:lnTo>
                  <a:lnTo>
                    <a:pt x="200" y="496"/>
                  </a:lnTo>
                  <a:lnTo>
                    <a:pt x="196" y="496"/>
                  </a:lnTo>
                  <a:lnTo>
                    <a:pt x="192" y="496"/>
                  </a:lnTo>
                  <a:lnTo>
                    <a:pt x="188" y="496"/>
                  </a:lnTo>
                  <a:lnTo>
                    <a:pt x="184" y="498"/>
                  </a:lnTo>
                  <a:lnTo>
                    <a:pt x="178" y="498"/>
                  </a:lnTo>
                  <a:lnTo>
                    <a:pt x="176" y="498"/>
                  </a:lnTo>
                  <a:lnTo>
                    <a:pt x="176" y="496"/>
                  </a:lnTo>
                  <a:lnTo>
                    <a:pt x="178" y="494"/>
                  </a:lnTo>
                  <a:lnTo>
                    <a:pt x="180" y="492"/>
                  </a:lnTo>
                  <a:lnTo>
                    <a:pt x="176" y="490"/>
                  </a:lnTo>
                  <a:lnTo>
                    <a:pt x="176" y="494"/>
                  </a:lnTo>
                  <a:lnTo>
                    <a:pt x="174" y="498"/>
                  </a:lnTo>
                  <a:lnTo>
                    <a:pt x="172" y="498"/>
                  </a:lnTo>
                  <a:lnTo>
                    <a:pt x="168" y="500"/>
                  </a:lnTo>
                  <a:lnTo>
                    <a:pt x="166" y="498"/>
                  </a:lnTo>
                  <a:lnTo>
                    <a:pt x="160" y="496"/>
                  </a:lnTo>
                  <a:lnTo>
                    <a:pt x="156" y="492"/>
                  </a:lnTo>
                  <a:lnTo>
                    <a:pt x="150" y="488"/>
                  </a:lnTo>
                  <a:lnTo>
                    <a:pt x="146" y="484"/>
                  </a:lnTo>
                  <a:lnTo>
                    <a:pt x="144" y="480"/>
                  </a:lnTo>
                  <a:lnTo>
                    <a:pt x="142" y="480"/>
                  </a:lnTo>
                  <a:lnTo>
                    <a:pt x="142" y="478"/>
                  </a:lnTo>
                  <a:lnTo>
                    <a:pt x="140" y="474"/>
                  </a:lnTo>
                  <a:lnTo>
                    <a:pt x="138" y="470"/>
                  </a:lnTo>
                  <a:lnTo>
                    <a:pt x="138" y="468"/>
                  </a:lnTo>
                  <a:lnTo>
                    <a:pt x="136" y="464"/>
                  </a:lnTo>
                  <a:lnTo>
                    <a:pt x="134" y="454"/>
                  </a:lnTo>
                  <a:lnTo>
                    <a:pt x="136" y="454"/>
                  </a:lnTo>
                  <a:lnTo>
                    <a:pt x="138" y="456"/>
                  </a:lnTo>
                  <a:lnTo>
                    <a:pt x="138" y="454"/>
                  </a:lnTo>
                  <a:lnTo>
                    <a:pt x="136" y="450"/>
                  </a:lnTo>
                  <a:lnTo>
                    <a:pt x="136" y="452"/>
                  </a:lnTo>
                  <a:lnTo>
                    <a:pt x="134" y="452"/>
                  </a:lnTo>
                  <a:lnTo>
                    <a:pt x="132" y="452"/>
                  </a:lnTo>
                  <a:lnTo>
                    <a:pt x="132" y="444"/>
                  </a:lnTo>
                  <a:lnTo>
                    <a:pt x="136" y="442"/>
                  </a:lnTo>
                  <a:lnTo>
                    <a:pt x="142" y="440"/>
                  </a:lnTo>
                  <a:lnTo>
                    <a:pt x="144" y="434"/>
                  </a:lnTo>
                  <a:lnTo>
                    <a:pt x="146" y="434"/>
                  </a:lnTo>
                  <a:lnTo>
                    <a:pt x="142" y="434"/>
                  </a:lnTo>
                  <a:lnTo>
                    <a:pt x="140" y="436"/>
                  </a:lnTo>
                  <a:lnTo>
                    <a:pt x="140" y="438"/>
                  </a:lnTo>
                  <a:lnTo>
                    <a:pt x="138" y="440"/>
                  </a:lnTo>
                  <a:lnTo>
                    <a:pt x="136" y="440"/>
                  </a:lnTo>
                  <a:lnTo>
                    <a:pt x="134" y="440"/>
                  </a:lnTo>
                  <a:lnTo>
                    <a:pt x="126" y="438"/>
                  </a:lnTo>
                  <a:lnTo>
                    <a:pt x="124" y="434"/>
                  </a:lnTo>
                  <a:lnTo>
                    <a:pt x="122" y="432"/>
                  </a:lnTo>
                  <a:lnTo>
                    <a:pt x="124" y="430"/>
                  </a:lnTo>
                  <a:lnTo>
                    <a:pt x="128" y="430"/>
                  </a:lnTo>
                  <a:lnTo>
                    <a:pt x="130" y="430"/>
                  </a:lnTo>
                  <a:lnTo>
                    <a:pt x="134" y="432"/>
                  </a:lnTo>
                  <a:lnTo>
                    <a:pt x="140" y="430"/>
                  </a:lnTo>
                  <a:lnTo>
                    <a:pt x="140" y="428"/>
                  </a:lnTo>
                  <a:lnTo>
                    <a:pt x="136" y="426"/>
                  </a:lnTo>
                  <a:lnTo>
                    <a:pt x="134" y="428"/>
                  </a:lnTo>
                  <a:lnTo>
                    <a:pt x="122" y="430"/>
                  </a:lnTo>
                  <a:lnTo>
                    <a:pt x="118" y="424"/>
                  </a:lnTo>
                  <a:lnTo>
                    <a:pt x="118" y="422"/>
                  </a:lnTo>
                  <a:lnTo>
                    <a:pt x="114" y="416"/>
                  </a:lnTo>
                  <a:lnTo>
                    <a:pt x="112" y="412"/>
                  </a:lnTo>
                  <a:lnTo>
                    <a:pt x="108" y="408"/>
                  </a:lnTo>
                  <a:lnTo>
                    <a:pt x="102" y="402"/>
                  </a:lnTo>
                  <a:lnTo>
                    <a:pt x="100" y="400"/>
                  </a:lnTo>
                  <a:lnTo>
                    <a:pt x="90" y="392"/>
                  </a:lnTo>
                  <a:lnTo>
                    <a:pt x="88" y="392"/>
                  </a:lnTo>
                  <a:lnTo>
                    <a:pt x="88" y="390"/>
                  </a:lnTo>
                  <a:lnTo>
                    <a:pt x="86" y="390"/>
                  </a:lnTo>
                  <a:lnTo>
                    <a:pt x="84" y="390"/>
                  </a:lnTo>
                  <a:lnTo>
                    <a:pt x="82" y="388"/>
                  </a:lnTo>
                  <a:lnTo>
                    <a:pt x="80" y="388"/>
                  </a:lnTo>
                  <a:lnTo>
                    <a:pt x="68" y="386"/>
                  </a:lnTo>
                  <a:lnTo>
                    <a:pt x="64" y="386"/>
                  </a:lnTo>
                  <a:lnTo>
                    <a:pt x="62" y="386"/>
                  </a:lnTo>
                  <a:lnTo>
                    <a:pt x="56" y="384"/>
                  </a:lnTo>
                  <a:lnTo>
                    <a:pt x="52" y="384"/>
                  </a:lnTo>
                  <a:lnTo>
                    <a:pt x="48" y="384"/>
                  </a:lnTo>
                  <a:lnTo>
                    <a:pt x="42" y="384"/>
                  </a:lnTo>
                  <a:lnTo>
                    <a:pt x="40" y="386"/>
                  </a:lnTo>
                  <a:lnTo>
                    <a:pt x="36" y="386"/>
                  </a:lnTo>
                  <a:lnTo>
                    <a:pt x="34" y="384"/>
                  </a:lnTo>
                  <a:lnTo>
                    <a:pt x="34" y="382"/>
                  </a:lnTo>
                  <a:lnTo>
                    <a:pt x="36" y="382"/>
                  </a:lnTo>
                  <a:lnTo>
                    <a:pt x="38" y="382"/>
                  </a:lnTo>
                  <a:lnTo>
                    <a:pt x="40" y="382"/>
                  </a:lnTo>
                  <a:lnTo>
                    <a:pt x="50" y="380"/>
                  </a:lnTo>
                  <a:lnTo>
                    <a:pt x="58" y="376"/>
                  </a:lnTo>
                  <a:lnTo>
                    <a:pt x="54" y="376"/>
                  </a:lnTo>
                  <a:lnTo>
                    <a:pt x="52" y="376"/>
                  </a:lnTo>
                  <a:lnTo>
                    <a:pt x="50" y="376"/>
                  </a:lnTo>
                  <a:lnTo>
                    <a:pt x="46" y="378"/>
                  </a:lnTo>
                  <a:lnTo>
                    <a:pt x="40" y="380"/>
                  </a:lnTo>
                  <a:lnTo>
                    <a:pt x="38" y="378"/>
                  </a:lnTo>
                  <a:lnTo>
                    <a:pt x="38" y="376"/>
                  </a:lnTo>
                  <a:lnTo>
                    <a:pt x="36" y="376"/>
                  </a:lnTo>
                  <a:lnTo>
                    <a:pt x="34" y="378"/>
                  </a:lnTo>
                  <a:lnTo>
                    <a:pt x="32" y="382"/>
                  </a:lnTo>
                  <a:lnTo>
                    <a:pt x="34" y="384"/>
                  </a:lnTo>
                  <a:lnTo>
                    <a:pt x="30" y="386"/>
                  </a:lnTo>
                  <a:lnTo>
                    <a:pt x="18" y="386"/>
                  </a:lnTo>
                  <a:lnTo>
                    <a:pt x="16" y="386"/>
                  </a:lnTo>
                  <a:lnTo>
                    <a:pt x="14" y="386"/>
                  </a:lnTo>
                  <a:lnTo>
                    <a:pt x="12" y="386"/>
                  </a:lnTo>
                  <a:lnTo>
                    <a:pt x="10" y="386"/>
                  </a:lnTo>
                  <a:lnTo>
                    <a:pt x="8" y="386"/>
                  </a:lnTo>
                  <a:lnTo>
                    <a:pt x="6" y="386"/>
                  </a:lnTo>
                  <a:lnTo>
                    <a:pt x="0" y="386"/>
                  </a:lnTo>
                  <a:lnTo>
                    <a:pt x="0" y="382"/>
                  </a:lnTo>
                  <a:lnTo>
                    <a:pt x="2" y="376"/>
                  </a:lnTo>
                  <a:lnTo>
                    <a:pt x="2" y="370"/>
                  </a:lnTo>
                  <a:lnTo>
                    <a:pt x="2" y="366"/>
                  </a:lnTo>
                  <a:lnTo>
                    <a:pt x="2" y="358"/>
                  </a:lnTo>
                  <a:lnTo>
                    <a:pt x="0" y="356"/>
                  </a:lnTo>
                  <a:lnTo>
                    <a:pt x="2" y="350"/>
                  </a:lnTo>
                  <a:lnTo>
                    <a:pt x="4" y="346"/>
                  </a:lnTo>
                  <a:lnTo>
                    <a:pt x="4" y="340"/>
                  </a:lnTo>
                  <a:lnTo>
                    <a:pt x="2" y="322"/>
                  </a:lnTo>
                  <a:lnTo>
                    <a:pt x="2" y="320"/>
                  </a:lnTo>
                  <a:lnTo>
                    <a:pt x="2" y="316"/>
                  </a:lnTo>
                  <a:lnTo>
                    <a:pt x="4" y="312"/>
                  </a:lnTo>
                  <a:lnTo>
                    <a:pt x="2" y="312"/>
                  </a:lnTo>
                  <a:lnTo>
                    <a:pt x="2" y="308"/>
                  </a:lnTo>
                  <a:lnTo>
                    <a:pt x="0" y="308"/>
                  </a:lnTo>
                  <a:lnTo>
                    <a:pt x="0" y="306"/>
                  </a:lnTo>
                  <a:lnTo>
                    <a:pt x="2" y="302"/>
                  </a:lnTo>
                  <a:lnTo>
                    <a:pt x="2" y="296"/>
                  </a:lnTo>
                  <a:lnTo>
                    <a:pt x="4" y="294"/>
                  </a:lnTo>
                  <a:lnTo>
                    <a:pt x="4" y="290"/>
                  </a:lnTo>
                  <a:lnTo>
                    <a:pt x="4" y="288"/>
                  </a:lnTo>
                  <a:lnTo>
                    <a:pt x="2" y="284"/>
                  </a:lnTo>
                  <a:lnTo>
                    <a:pt x="4" y="280"/>
                  </a:lnTo>
                  <a:lnTo>
                    <a:pt x="4" y="278"/>
                  </a:lnTo>
                  <a:lnTo>
                    <a:pt x="4" y="276"/>
                  </a:lnTo>
                  <a:lnTo>
                    <a:pt x="4" y="274"/>
                  </a:lnTo>
                  <a:lnTo>
                    <a:pt x="4" y="272"/>
                  </a:lnTo>
                  <a:lnTo>
                    <a:pt x="4" y="264"/>
                  </a:lnTo>
                  <a:lnTo>
                    <a:pt x="4" y="262"/>
                  </a:lnTo>
                  <a:lnTo>
                    <a:pt x="4" y="260"/>
                  </a:lnTo>
                  <a:lnTo>
                    <a:pt x="6" y="250"/>
                  </a:lnTo>
                  <a:lnTo>
                    <a:pt x="8" y="248"/>
                  </a:lnTo>
                  <a:lnTo>
                    <a:pt x="8" y="246"/>
                  </a:lnTo>
                  <a:lnTo>
                    <a:pt x="14" y="246"/>
                  </a:lnTo>
                  <a:lnTo>
                    <a:pt x="16" y="246"/>
                  </a:lnTo>
                  <a:lnTo>
                    <a:pt x="18" y="246"/>
                  </a:lnTo>
                  <a:lnTo>
                    <a:pt x="24" y="246"/>
                  </a:lnTo>
                  <a:lnTo>
                    <a:pt x="24" y="240"/>
                  </a:lnTo>
                  <a:lnTo>
                    <a:pt x="26" y="234"/>
                  </a:lnTo>
                  <a:lnTo>
                    <a:pt x="26" y="230"/>
                  </a:lnTo>
                  <a:lnTo>
                    <a:pt x="26" y="228"/>
                  </a:lnTo>
                  <a:lnTo>
                    <a:pt x="28" y="224"/>
                  </a:lnTo>
                  <a:lnTo>
                    <a:pt x="36" y="218"/>
                  </a:lnTo>
                  <a:lnTo>
                    <a:pt x="38" y="216"/>
                  </a:lnTo>
                  <a:lnTo>
                    <a:pt x="36" y="214"/>
                  </a:lnTo>
                  <a:lnTo>
                    <a:pt x="36" y="212"/>
                  </a:lnTo>
                  <a:lnTo>
                    <a:pt x="36" y="210"/>
                  </a:lnTo>
                  <a:lnTo>
                    <a:pt x="38" y="208"/>
                  </a:lnTo>
                  <a:lnTo>
                    <a:pt x="44" y="208"/>
                  </a:lnTo>
                  <a:lnTo>
                    <a:pt x="46" y="208"/>
                  </a:lnTo>
                  <a:lnTo>
                    <a:pt x="48" y="206"/>
                  </a:lnTo>
                  <a:lnTo>
                    <a:pt x="50" y="202"/>
                  </a:lnTo>
                  <a:lnTo>
                    <a:pt x="54" y="194"/>
                  </a:lnTo>
                  <a:lnTo>
                    <a:pt x="56" y="192"/>
                  </a:lnTo>
                  <a:lnTo>
                    <a:pt x="54" y="190"/>
                  </a:lnTo>
                  <a:lnTo>
                    <a:pt x="54" y="188"/>
                  </a:lnTo>
                  <a:lnTo>
                    <a:pt x="50" y="186"/>
                  </a:lnTo>
                  <a:lnTo>
                    <a:pt x="54" y="178"/>
                  </a:lnTo>
                  <a:lnTo>
                    <a:pt x="56" y="176"/>
                  </a:lnTo>
                  <a:lnTo>
                    <a:pt x="58" y="178"/>
                  </a:lnTo>
                  <a:lnTo>
                    <a:pt x="60" y="178"/>
                  </a:lnTo>
                  <a:lnTo>
                    <a:pt x="62" y="176"/>
                  </a:lnTo>
                  <a:lnTo>
                    <a:pt x="64" y="170"/>
                  </a:lnTo>
                  <a:lnTo>
                    <a:pt x="64" y="164"/>
                  </a:lnTo>
                  <a:lnTo>
                    <a:pt x="62" y="160"/>
                  </a:lnTo>
                  <a:lnTo>
                    <a:pt x="60" y="158"/>
                  </a:lnTo>
                  <a:lnTo>
                    <a:pt x="60" y="156"/>
                  </a:lnTo>
                  <a:lnTo>
                    <a:pt x="62" y="154"/>
                  </a:lnTo>
                  <a:lnTo>
                    <a:pt x="60" y="146"/>
                  </a:lnTo>
                  <a:lnTo>
                    <a:pt x="58" y="146"/>
                  </a:lnTo>
                  <a:lnTo>
                    <a:pt x="58" y="144"/>
                  </a:lnTo>
                  <a:lnTo>
                    <a:pt x="60" y="142"/>
                  </a:lnTo>
                  <a:lnTo>
                    <a:pt x="58" y="142"/>
                  </a:lnTo>
                  <a:lnTo>
                    <a:pt x="54" y="134"/>
                  </a:lnTo>
                  <a:lnTo>
                    <a:pt x="46" y="124"/>
                  </a:lnTo>
                  <a:lnTo>
                    <a:pt x="50" y="118"/>
                  </a:lnTo>
                  <a:lnTo>
                    <a:pt x="52" y="114"/>
                  </a:lnTo>
                  <a:lnTo>
                    <a:pt x="54" y="112"/>
                  </a:lnTo>
                  <a:lnTo>
                    <a:pt x="58" y="110"/>
                  </a:lnTo>
                  <a:lnTo>
                    <a:pt x="58" y="106"/>
                  </a:lnTo>
                  <a:lnTo>
                    <a:pt x="56" y="104"/>
                  </a:lnTo>
                  <a:lnTo>
                    <a:pt x="56" y="100"/>
                  </a:lnTo>
                  <a:lnTo>
                    <a:pt x="58" y="98"/>
                  </a:lnTo>
                  <a:lnTo>
                    <a:pt x="58" y="96"/>
                  </a:lnTo>
                  <a:lnTo>
                    <a:pt x="58" y="90"/>
                  </a:lnTo>
                  <a:lnTo>
                    <a:pt x="58" y="84"/>
                  </a:lnTo>
                  <a:lnTo>
                    <a:pt x="58" y="82"/>
                  </a:lnTo>
                  <a:lnTo>
                    <a:pt x="58" y="72"/>
                  </a:lnTo>
                  <a:lnTo>
                    <a:pt x="58" y="68"/>
                  </a:lnTo>
                  <a:lnTo>
                    <a:pt x="72" y="58"/>
                  </a:lnTo>
                  <a:lnTo>
                    <a:pt x="74" y="58"/>
                  </a:lnTo>
                  <a:lnTo>
                    <a:pt x="82" y="48"/>
                  </a:lnTo>
                  <a:lnTo>
                    <a:pt x="82" y="44"/>
                  </a:lnTo>
                  <a:lnTo>
                    <a:pt x="86" y="36"/>
                  </a:lnTo>
                  <a:lnTo>
                    <a:pt x="86" y="32"/>
                  </a:lnTo>
                  <a:lnTo>
                    <a:pt x="86" y="24"/>
                  </a:lnTo>
                  <a:lnTo>
                    <a:pt x="86" y="20"/>
                  </a:lnTo>
                  <a:lnTo>
                    <a:pt x="90" y="20"/>
                  </a:lnTo>
                  <a:lnTo>
                    <a:pt x="104" y="10"/>
                  </a:lnTo>
                  <a:lnTo>
                    <a:pt x="112" y="8"/>
                  </a:lnTo>
                  <a:lnTo>
                    <a:pt x="124" y="6"/>
                  </a:lnTo>
                  <a:lnTo>
                    <a:pt x="126" y="8"/>
                  </a:lnTo>
                  <a:lnTo>
                    <a:pt x="130" y="8"/>
                  </a:lnTo>
                  <a:lnTo>
                    <a:pt x="140" y="8"/>
                  </a:lnTo>
                  <a:lnTo>
                    <a:pt x="144" y="8"/>
                  </a:lnTo>
                  <a:lnTo>
                    <a:pt x="146" y="6"/>
                  </a:lnTo>
                  <a:lnTo>
                    <a:pt x="148" y="4"/>
                  </a:lnTo>
                  <a:lnTo>
                    <a:pt x="156" y="2"/>
                  </a:lnTo>
                  <a:lnTo>
                    <a:pt x="156" y="0"/>
                  </a:lnTo>
                  <a:lnTo>
                    <a:pt x="162" y="4"/>
                  </a:lnTo>
                  <a:lnTo>
                    <a:pt x="164" y="6"/>
                  </a:lnTo>
                  <a:lnTo>
                    <a:pt x="174" y="10"/>
                  </a:lnTo>
                  <a:lnTo>
                    <a:pt x="178" y="12"/>
                  </a:lnTo>
                  <a:lnTo>
                    <a:pt x="186" y="14"/>
                  </a:lnTo>
                  <a:lnTo>
                    <a:pt x="190" y="12"/>
                  </a:lnTo>
                  <a:lnTo>
                    <a:pt x="194" y="14"/>
                  </a:lnTo>
                  <a:lnTo>
                    <a:pt x="198" y="16"/>
                  </a:lnTo>
                  <a:lnTo>
                    <a:pt x="200" y="18"/>
                  </a:lnTo>
                  <a:lnTo>
                    <a:pt x="208" y="26"/>
                  </a:lnTo>
                  <a:lnTo>
                    <a:pt x="212" y="32"/>
                  </a:lnTo>
                  <a:lnTo>
                    <a:pt x="218" y="42"/>
                  </a:lnTo>
                  <a:lnTo>
                    <a:pt x="218" y="44"/>
                  </a:lnTo>
                  <a:lnTo>
                    <a:pt x="224" y="50"/>
                  </a:lnTo>
                  <a:lnTo>
                    <a:pt x="230" y="50"/>
                  </a:lnTo>
                  <a:lnTo>
                    <a:pt x="232" y="50"/>
                  </a:lnTo>
                  <a:lnTo>
                    <a:pt x="234" y="48"/>
                  </a:lnTo>
                  <a:lnTo>
                    <a:pt x="238" y="44"/>
                  </a:lnTo>
                  <a:lnTo>
                    <a:pt x="244" y="44"/>
                  </a:lnTo>
                  <a:lnTo>
                    <a:pt x="246" y="44"/>
                  </a:lnTo>
                  <a:lnTo>
                    <a:pt x="268" y="34"/>
                  </a:lnTo>
                  <a:lnTo>
                    <a:pt x="280" y="34"/>
                  </a:lnTo>
                  <a:lnTo>
                    <a:pt x="284" y="36"/>
                  </a:lnTo>
                  <a:lnTo>
                    <a:pt x="286" y="36"/>
                  </a:lnTo>
                  <a:lnTo>
                    <a:pt x="290" y="40"/>
                  </a:lnTo>
                  <a:lnTo>
                    <a:pt x="292" y="42"/>
                  </a:lnTo>
                  <a:lnTo>
                    <a:pt x="296" y="44"/>
                  </a:lnTo>
                  <a:lnTo>
                    <a:pt x="298" y="48"/>
                  </a:lnTo>
                  <a:lnTo>
                    <a:pt x="300" y="48"/>
                  </a:lnTo>
                  <a:lnTo>
                    <a:pt x="302" y="48"/>
                  </a:lnTo>
                  <a:lnTo>
                    <a:pt x="304" y="48"/>
                  </a:lnTo>
                  <a:lnTo>
                    <a:pt x="306" y="48"/>
                  </a:lnTo>
                  <a:lnTo>
                    <a:pt x="308" y="50"/>
                  </a:lnTo>
                  <a:lnTo>
                    <a:pt x="308" y="52"/>
                  </a:lnTo>
                  <a:lnTo>
                    <a:pt x="310" y="54"/>
                  </a:lnTo>
                  <a:lnTo>
                    <a:pt x="310" y="56"/>
                  </a:lnTo>
                  <a:lnTo>
                    <a:pt x="318" y="58"/>
                  </a:lnTo>
                  <a:lnTo>
                    <a:pt x="328" y="60"/>
                  </a:lnTo>
                  <a:lnTo>
                    <a:pt x="330" y="60"/>
                  </a:lnTo>
                  <a:lnTo>
                    <a:pt x="332" y="60"/>
                  </a:lnTo>
                  <a:lnTo>
                    <a:pt x="340" y="62"/>
                  </a:lnTo>
                  <a:lnTo>
                    <a:pt x="348" y="62"/>
                  </a:lnTo>
                  <a:lnTo>
                    <a:pt x="358" y="64"/>
                  </a:lnTo>
                  <a:lnTo>
                    <a:pt x="360" y="64"/>
                  </a:lnTo>
                  <a:lnTo>
                    <a:pt x="362" y="60"/>
                  </a:lnTo>
                  <a:lnTo>
                    <a:pt x="372" y="50"/>
                  </a:lnTo>
                  <a:lnTo>
                    <a:pt x="374" y="46"/>
                  </a:lnTo>
                  <a:lnTo>
                    <a:pt x="376" y="46"/>
                  </a:lnTo>
                  <a:lnTo>
                    <a:pt x="378" y="44"/>
                  </a:lnTo>
                  <a:lnTo>
                    <a:pt x="384" y="42"/>
                  </a:lnTo>
                  <a:lnTo>
                    <a:pt x="386" y="40"/>
                  </a:lnTo>
                  <a:lnTo>
                    <a:pt x="390" y="40"/>
                  </a:lnTo>
                  <a:lnTo>
                    <a:pt x="394" y="38"/>
                  </a:lnTo>
                  <a:lnTo>
                    <a:pt x="396" y="38"/>
                  </a:lnTo>
                  <a:lnTo>
                    <a:pt x="398" y="38"/>
                  </a:lnTo>
                  <a:lnTo>
                    <a:pt x="400" y="38"/>
                  </a:lnTo>
                  <a:lnTo>
                    <a:pt x="402" y="38"/>
                  </a:lnTo>
                  <a:lnTo>
                    <a:pt x="406" y="36"/>
                  </a:lnTo>
                  <a:lnTo>
                    <a:pt x="408" y="36"/>
                  </a:lnTo>
                  <a:lnTo>
                    <a:pt x="410" y="36"/>
                  </a:lnTo>
                  <a:lnTo>
                    <a:pt x="414" y="34"/>
                  </a:lnTo>
                  <a:lnTo>
                    <a:pt x="416" y="34"/>
                  </a:lnTo>
                  <a:lnTo>
                    <a:pt x="418" y="34"/>
                  </a:lnTo>
                  <a:lnTo>
                    <a:pt x="420" y="34"/>
                  </a:lnTo>
                  <a:lnTo>
                    <a:pt x="422" y="36"/>
                  </a:lnTo>
                  <a:lnTo>
                    <a:pt x="424" y="36"/>
                  </a:lnTo>
                  <a:lnTo>
                    <a:pt x="426" y="36"/>
                  </a:lnTo>
                  <a:lnTo>
                    <a:pt x="428" y="36"/>
                  </a:lnTo>
                  <a:lnTo>
                    <a:pt x="430" y="36"/>
                  </a:lnTo>
                  <a:lnTo>
                    <a:pt x="432" y="36"/>
                  </a:lnTo>
                  <a:lnTo>
                    <a:pt x="434" y="36"/>
                  </a:lnTo>
                  <a:lnTo>
                    <a:pt x="436" y="36"/>
                  </a:lnTo>
                  <a:lnTo>
                    <a:pt x="438" y="36"/>
                  </a:lnTo>
                  <a:lnTo>
                    <a:pt x="440" y="36"/>
                  </a:lnTo>
                  <a:lnTo>
                    <a:pt x="442" y="36"/>
                  </a:lnTo>
                  <a:lnTo>
                    <a:pt x="446" y="36"/>
                  </a:lnTo>
                  <a:lnTo>
                    <a:pt x="448" y="36"/>
                  </a:lnTo>
                  <a:lnTo>
                    <a:pt x="450" y="36"/>
                  </a:lnTo>
                  <a:lnTo>
                    <a:pt x="452" y="36"/>
                  </a:lnTo>
                  <a:lnTo>
                    <a:pt x="454" y="38"/>
                  </a:lnTo>
                  <a:lnTo>
                    <a:pt x="470" y="42"/>
                  </a:lnTo>
                  <a:lnTo>
                    <a:pt x="472" y="44"/>
                  </a:lnTo>
                  <a:lnTo>
                    <a:pt x="478" y="46"/>
                  </a:lnTo>
                  <a:lnTo>
                    <a:pt x="486" y="50"/>
                  </a:lnTo>
                  <a:lnTo>
                    <a:pt x="496" y="52"/>
                  </a:lnTo>
                  <a:lnTo>
                    <a:pt x="500" y="52"/>
                  </a:lnTo>
                  <a:lnTo>
                    <a:pt x="500" y="54"/>
                  </a:lnTo>
                  <a:lnTo>
                    <a:pt x="502" y="52"/>
                  </a:lnTo>
                  <a:lnTo>
                    <a:pt x="504" y="48"/>
                  </a:lnTo>
                  <a:lnTo>
                    <a:pt x="504" y="46"/>
                  </a:lnTo>
                  <a:lnTo>
                    <a:pt x="506" y="44"/>
                  </a:lnTo>
                  <a:lnTo>
                    <a:pt x="508" y="44"/>
                  </a:lnTo>
                  <a:lnTo>
                    <a:pt x="508" y="42"/>
                  </a:lnTo>
                  <a:lnTo>
                    <a:pt x="510" y="42"/>
                  </a:lnTo>
                  <a:lnTo>
                    <a:pt x="516" y="38"/>
                  </a:lnTo>
                  <a:lnTo>
                    <a:pt x="522" y="32"/>
                  </a:lnTo>
                  <a:lnTo>
                    <a:pt x="524" y="32"/>
                  </a:lnTo>
                  <a:lnTo>
                    <a:pt x="528" y="30"/>
                  </a:lnTo>
                  <a:lnTo>
                    <a:pt x="532" y="30"/>
                  </a:lnTo>
                  <a:lnTo>
                    <a:pt x="534" y="30"/>
                  </a:lnTo>
                  <a:lnTo>
                    <a:pt x="538" y="30"/>
                  </a:lnTo>
                  <a:lnTo>
                    <a:pt x="540" y="26"/>
                  </a:lnTo>
                  <a:lnTo>
                    <a:pt x="546" y="20"/>
                  </a:lnTo>
                  <a:lnTo>
                    <a:pt x="560" y="20"/>
                  </a:lnTo>
                  <a:lnTo>
                    <a:pt x="560" y="22"/>
                  </a:lnTo>
                  <a:lnTo>
                    <a:pt x="566" y="30"/>
                  </a:lnTo>
                  <a:lnTo>
                    <a:pt x="572" y="40"/>
                  </a:lnTo>
                  <a:lnTo>
                    <a:pt x="582" y="54"/>
                  </a:lnTo>
                  <a:lnTo>
                    <a:pt x="582" y="60"/>
                  </a:lnTo>
                  <a:lnTo>
                    <a:pt x="586" y="78"/>
                  </a:lnTo>
                  <a:lnTo>
                    <a:pt x="588" y="84"/>
                  </a:lnTo>
                  <a:lnTo>
                    <a:pt x="586" y="88"/>
                  </a:lnTo>
                  <a:lnTo>
                    <a:pt x="590" y="90"/>
                  </a:lnTo>
                  <a:lnTo>
                    <a:pt x="592" y="90"/>
                  </a:lnTo>
                  <a:lnTo>
                    <a:pt x="596" y="90"/>
                  </a:lnTo>
                  <a:lnTo>
                    <a:pt x="598" y="92"/>
                  </a:lnTo>
                  <a:lnTo>
                    <a:pt x="600" y="92"/>
                  </a:lnTo>
                  <a:lnTo>
                    <a:pt x="602" y="92"/>
                  </a:lnTo>
                  <a:lnTo>
                    <a:pt x="604" y="96"/>
                  </a:lnTo>
                  <a:lnTo>
                    <a:pt x="610" y="100"/>
                  </a:lnTo>
                  <a:lnTo>
                    <a:pt x="610" y="102"/>
                  </a:lnTo>
                  <a:lnTo>
                    <a:pt x="608" y="108"/>
                  </a:lnTo>
                  <a:lnTo>
                    <a:pt x="608" y="110"/>
                  </a:lnTo>
                  <a:lnTo>
                    <a:pt x="608" y="114"/>
                  </a:lnTo>
                  <a:lnTo>
                    <a:pt x="608" y="118"/>
                  </a:lnTo>
                  <a:lnTo>
                    <a:pt x="606" y="122"/>
                  </a:lnTo>
                  <a:lnTo>
                    <a:pt x="606" y="126"/>
                  </a:lnTo>
                  <a:lnTo>
                    <a:pt x="608" y="128"/>
                  </a:lnTo>
                  <a:lnTo>
                    <a:pt x="608" y="132"/>
                  </a:lnTo>
                  <a:lnTo>
                    <a:pt x="608" y="134"/>
                  </a:lnTo>
                  <a:lnTo>
                    <a:pt x="600" y="140"/>
                  </a:lnTo>
                  <a:lnTo>
                    <a:pt x="598" y="140"/>
                  </a:lnTo>
                  <a:lnTo>
                    <a:pt x="596" y="140"/>
                  </a:lnTo>
                  <a:lnTo>
                    <a:pt x="594" y="142"/>
                  </a:lnTo>
                  <a:lnTo>
                    <a:pt x="592" y="142"/>
                  </a:lnTo>
                  <a:lnTo>
                    <a:pt x="588" y="146"/>
                  </a:lnTo>
                  <a:lnTo>
                    <a:pt x="586" y="148"/>
                  </a:lnTo>
                  <a:lnTo>
                    <a:pt x="584" y="148"/>
                  </a:lnTo>
                  <a:lnTo>
                    <a:pt x="582" y="148"/>
                  </a:lnTo>
                  <a:lnTo>
                    <a:pt x="580" y="146"/>
                  </a:lnTo>
                  <a:lnTo>
                    <a:pt x="576" y="146"/>
                  </a:lnTo>
                  <a:lnTo>
                    <a:pt x="570" y="152"/>
                  </a:lnTo>
                  <a:lnTo>
                    <a:pt x="566" y="156"/>
                  </a:lnTo>
                  <a:lnTo>
                    <a:pt x="564" y="162"/>
                  </a:lnTo>
                  <a:lnTo>
                    <a:pt x="564" y="164"/>
                  </a:lnTo>
                  <a:lnTo>
                    <a:pt x="562" y="166"/>
                  </a:lnTo>
                  <a:lnTo>
                    <a:pt x="560" y="168"/>
                  </a:lnTo>
                  <a:lnTo>
                    <a:pt x="558" y="170"/>
                  </a:lnTo>
                  <a:lnTo>
                    <a:pt x="558" y="172"/>
                  </a:lnTo>
                  <a:lnTo>
                    <a:pt x="556" y="174"/>
                  </a:lnTo>
                  <a:lnTo>
                    <a:pt x="556" y="176"/>
                  </a:lnTo>
                  <a:lnTo>
                    <a:pt x="554" y="176"/>
                  </a:lnTo>
                  <a:lnTo>
                    <a:pt x="554" y="178"/>
                  </a:lnTo>
                  <a:lnTo>
                    <a:pt x="552" y="180"/>
                  </a:lnTo>
                  <a:lnTo>
                    <a:pt x="550" y="186"/>
                  </a:lnTo>
                  <a:lnTo>
                    <a:pt x="548" y="198"/>
                  </a:lnTo>
                  <a:lnTo>
                    <a:pt x="548" y="200"/>
                  </a:lnTo>
                  <a:lnTo>
                    <a:pt x="548" y="202"/>
                  </a:lnTo>
                  <a:lnTo>
                    <a:pt x="546" y="206"/>
                  </a:lnTo>
                  <a:lnTo>
                    <a:pt x="544" y="206"/>
                  </a:lnTo>
                  <a:lnTo>
                    <a:pt x="540" y="206"/>
                  </a:lnTo>
                  <a:lnTo>
                    <a:pt x="538" y="206"/>
                  </a:lnTo>
                  <a:lnTo>
                    <a:pt x="536" y="208"/>
                  </a:lnTo>
                  <a:lnTo>
                    <a:pt x="536" y="216"/>
                  </a:lnTo>
                  <a:lnTo>
                    <a:pt x="536" y="218"/>
                  </a:lnTo>
                  <a:lnTo>
                    <a:pt x="536" y="224"/>
                  </a:lnTo>
                  <a:lnTo>
                    <a:pt x="536" y="232"/>
                  </a:lnTo>
                  <a:lnTo>
                    <a:pt x="536" y="234"/>
                  </a:lnTo>
                  <a:lnTo>
                    <a:pt x="534" y="234"/>
                  </a:lnTo>
                  <a:lnTo>
                    <a:pt x="532" y="236"/>
                  </a:lnTo>
                  <a:lnTo>
                    <a:pt x="528" y="236"/>
                  </a:lnTo>
                  <a:lnTo>
                    <a:pt x="526" y="236"/>
                  </a:lnTo>
                  <a:lnTo>
                    <a:pt x="522" y="238"/>
                  </a:lnTo>
                  <a:lnTo>
                    <a:pt x="518" y="244"/>
                  </a:lnTo>
                  <a:lnTo>
                    <a:pt x="516" y="258"/>
                  </a:lnTo>
                  <a:lnTo>
                    <a:pt x="516" y="260"/>
                  </a:lnTo>
                  <a:lnTo>
                    <a:pt x="516" y="262"/>
                  </a:lnTo>
                  <a:lnTo>
                    <a:pt x="514" y="270"/>
                  </a:lnTo>
                  <a:lnTo>
                    <a:pt x="514" y="272"/>
                  </a:lnTo>
                  <a:lnTo>
                    <a:pt x="514" y="274"/>
                  </a:lnTo>
                  <a:lnTo>
                    <a:pt x="508" y="280"/>
                  </a:lnTo>
                  <a:lnTo>
                    <a:pt x="504" y="280"/>
                  </a:lnTo>
                  <a:lnTo>
                    <a:pt x="500" y="282"/>
                  </a:lnTo>
                  <a:lnTo>
                    <a:pt x="498" y="280"/>
                  </a:lnTo>
                  <a:lnTo>
                    <a:pt x="496" y="280"/>
                  </a:lnTo>
                  <a:lnTo>
                    <a:pt x="492" y="282"/>
                  </a:lnTo>
                  <a:lnTo>
                    <a:pt x="492" y="284"/>
                  </a:lnTo>
                  <a:lnTo>
                    <a:pt x="494" y="284"/>
                  </a:lnTo>
                  <a:lnTo>
                    <a:pt x="494" y="286"/>
                  </a:lnTo>
                  <a:lnTo>
                    <a:pt x="492" y="290"/>
                  </a:lnTo>
                  <a:lnTo>
                    <a:pt x="490" y="292"/>
                  </a:lnTo>
                  <a:lnTo>
                    <a:pt x="488" y="290"/>
                  </a:lnTo>
                  <a:lnTo>
                    <a:pt x="486" y="292"/>
                  </a:lnTo>
                  <a:lnTo>
                    <a:pt x="484" y="292"/>
                  </a:lnTo>
                  <a:lnTo>
                    <a:pt x="484" y="294"/>
                  </a:lnTo>
                  <a:lnTo>
                    <a:pt x="484" y="296"/>
                  </a:lnTo>
                  <a:lnTo>
                    <a:pt x="484" y="298"/>
                  </a:lnTo>
                  <a:lnTo>
                    <a:pt x="486" y="300"/>
                  </a:lnTo>
                  <a:lnTo>
                    <a:pt x="486" y="302"/>
                  </a:lnTo>
                  <a:lnTo>
                    <a:pt x="484" y="304"/>
                  </a:lnTo>
                  <a:lnTo>
                    <a:pt x="484" y="306"/>
                  </a:lnTo>
                  <a:lnTo>
                    <a:pt x="482" y="306"/>
                  </a:lnTo>
                  <a:lnTo>
                    <a:pt x="482" y="308"/>
                  </a:lnTo>
                  <a:lnTo>
                    <a:pt x="482" y="310"/>
                  </a:lnTo>
                  <a:lnTo>
                    <a:pt x="482" y="312"/>
                  </a:lnTo>
                  <a:lnTo>
                    <a:pt x="482" y="316"/>
                  </a:lnTo>
                  <a:lnTo>
                    <a:pt x="480" y="318"/>
                  </a:lnTo>
                  <a:lnTo>
                    <a:pt x="478" y="320"/>
                  </a:lnTo>
                  <a:lnTo>
                    <a:pt x="476" y="322"/>
                  </a:lnTo>
                  <a:lnTo>
                    <a:pt x="476" y="324"/>
                  </a:lnTo>
                  <a:lnTo>
                    <a:pt x="474" y="326"/>
                  </a:lnTo>
                  <a:lnTo>
                    <a:pt x="474" y="328"/>
                  </a:lnTo>
                  <a:lnTo>
                    <a:pt x="472" y="328"/>
                  </a:lnTo>
                  <a:lnTo>
                    <a:pt x="472" y="330"/>
                  </a:lnTo>
                  <a:lnTo>
                    <a:pt x="474" y="332"/>
                  </a:lnTo>
                  <a:lnTo>
                    <a:pt x="474" y="334"/>
                  </a:lnTo>
                  <a:lnTo>
                    <a:pt x="468" y="340"/>
                  </a:lnTo>
                  <a:lnTo>
                    <a:pt x="466" y="342"/>
                  </a:lnTo>
                  <a:lnTo>
                    <a:pt x="464" y="342"/>
                  </a:lnTo>
                  <a:lnTo>
                    <a:pt x="464" y="344"/>
                  </a:lnTo>
                  <a:lnTo>
                    <a:pt x="460" y="3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69" name="Freeform 1404"/>
            <p:cNvSpPr>
              <a:spLocks/>
            </p:cNvSpPr>
            <p:nvPr/>
          </p:nvSpPr>
          <p:spPr bwMode="auto">
            <a:xfrm>
              <a:off x="5863249" y="2546550"/>
              <a:ext cx="1025899" cy="1208560"/>
            </a:xfrm>
            <a:custGeom>
              <a:avLst/>
              <a:gdLst/>
              <a:ahLst/>
              <a:cxnLst>
                <a:cxn ang="0">
                  <a:pos x="708" y="904"/>
                </a:cxn>
                <a:cxn ang="0">
                  <a:pos x="642" y="904"/>
                </a:cxn>
                <a:cxn ang="0">
                  <a:pos x="566" y="948"/>
                </a:cxn>
                <a:cxn ang="0">
                  <a:pos x="524" y="962"/>
                </a:cxn>
                <a:cxn ang="0">
                  <a:pos x="492" y="956"/>
                </a:cxn>
                <a:cxn ang="0">
                  <a:pos x="456" y="958"/>
                </a:cxn>
                <a:cxn ang="0">
                  <a:pos x="426" y="938"/>
                </a:cxn>
                <a:cxn ang="0">
                  <a:pos x="402" y="910"/>
                </a:cxn>
                <a:cxn ang="0">
                  <a:pos x="374" y="920"/>
                </a:cxn>
                <a:cxn ang="0">
                  <a:pos x="348" y="920"/>
                </a:cxn>
                <a:cxn ang="0">
                  <a:pos x="304" y="906"/>
                </a:cxn>
                <a:cxn ang="0">
                  <a:pos x="278" y="864"/>
                </a:cxn>
                <a:cxn ang="0">
                  <a:pos x="254" y="840"/>
                </a:cxn>
                <a:cxn ang="0">
                  <a:pos x="236" y="826"/>
                </a:cxn>
                <a:cxn ang="0">
                  <a:pos x="216" y="794"/>
                </a:cxn>
                <a:cxn ang="0">
                  <a:pos x="172" y="764"/>
                </a:cxn>
                <a:cxn ang="0">
                  <a:pos x="168" y="744"/>
                </a:cxn>
                <a:cxn ang="0">
                  <a:pos x="142" y="728"/>
                </a:cxn>
                <a:cxn ang="0">
                  <a:pos x="118" y="704"/>
                </a:cxn>
                <a:cxn ang="0">
                  <a:pos x="88" y="694"/>
                </a:cxn>
                <a:cxn ang="0">
                  <a:pos x="92" y="674"/>
                </a:cxn>
                <a:cxn ang="0">
                  <a:pos x="58" y="600"/>
                </a:cxn>
                <a:cxn ang="0">
                  <a:pos x="36" y="556"/>
                </a:cxn>
                <a:cxn ang="0">
                  <a:pos x="20" y="496"/>
                </a:cxn>
                <a:cxn ang="0">
                  <a:pos x="4" y="480"/>
                </a:cxn>
                <a:cxn ang="0">
                  <a:pos x="24" y="432"/>
                </a:cxn>
                <a:cxn ang="0">
                  <a:pos x="28" y="402"/>
                </a:cxn>
                <a:cxn ang="0">
                  <a:pos x="54" y="374"/>
                </a:cxn>
                <a:cxn ang="0">
                  <a:pos x="68" y="344"/>
                </a:cxn>
                <a:cxn ang="0">
                  <a:pos x="104" y="344"/>
                </a:cxn>
                <a:cxn ang="0">
                  <a:pos x="102" y="130"/>
                </a:cxn>
                <a:cxn ang="0">
                  <a:pos x="154" y="22"/>
                </a:cxn>
                <a:cxn ang="0">
                  <a:pos x="258" y="20"/>
                </a:cxn>
                <a:cxn ang="0">
                  <a:pos x="348" y="16"/>
                </a:cxn>
                <a:cxn ang="0">
                  <a:pos x="426" y="14"/>
                </a:cxn>
                <a:cxn ang="0">
                  <a:pos x="458" y="12"/>
                </a:cxn>
                <a:cxn ang="0">
                  <a:pos x="556" y="10"/>
                </a:cxn>
                <a:cxn ang="0">
                  <a:pos x="626" y="6"/>
                </a:cxn>
                <a:cxn ang="0">
                  <a:pos x="710" y="0"/>
                </a:cxn>
                <a:cxn ang="0">
                  <a:pos x="736" y="40"/>
                </a:cxn>
                <a:cxn ang="0">
                  <a:pos x="736" y="42"/>
                </a:cxn>
                <a:cxn ang="0">
                  <a:pos x="742" y="86"/>
                </a:cxn>
                <a:cxn ang="0">
                  <a:pos x="750" y="130"/>
                </a:cxn>
                <a:cxn ang="0">
                  <a:pos x="772" y="168"/>
                </a:cxn>
                <a:cxn ang="0">
                  <a:pos x="796" y="192"/>
                </a:cxn>
                <a:cxn ang="0">
                  <a:pos x="806" y="230"/>
                </a:cxn>
                <a:cxn ang="0">
                  <a:pos x="770" y="246"/>
                </a:cxn>
                <a:cxn ang="0">
                  <a:pos x="746" y="274"/>
                </a:cxn>
                <a:cxn ang="0">
                  <a:pos x="738" y="322"/>
                </a:cxn>
                <a:cxn ang="0">
                  <a:pos x="730" y="404"/>
                </a:cxn>
                <a:cxn ang="0">
                  <a:pos x="716" y="470"/>
                </a:cxn>
                <a:cxn ang="0">
                  <a:pos x="694" y="488"/>
                </a:cxn>
                <a:cxn ang="0">
                  <a:pos x="664" y="534"/>
                </a:cxn>
                <a:cxn ang="0">
                  <a:pos x="662" y="568"/>
                </a:cxn>
                <a:cxn ang="0">
                  <a:pos x="628" y="596"/>
                </a:cxn>
                <a:cxn ang="0">
                  <a:pos x="620" y="656"/>
                </a:cxn>
                <a:cxn ang="0">
                  <a:pos x="608" y="710"/>
                </a:cxn>
                <a:cxn ang="0">
                  <a:pos x="574" y="714"/>
                </a:cxn>
                <a:cxn ang="0">
                  <a:pos x="580" y="744"/>
                </a:cxn>
                <a:cxn ang="0">
                  <a:pos x="630" y="780"/>
                </a:cxn>
                <a:cxn ang="0">
                  <a:pos x="654" y="798"/>
                </a:cxn>
                <a:cxn ang="0">
                  <a:pos x="672" y="842"/>
                </a:cxn>
                <a:cxn ang="0">
                  <a:pos x="710" y="866"/>
                </a:cxn>
              </a:cxnLst>
              <a:rect l="0" t="0" r="r" b="b"/>
              <a:pathLst>
                <a:path w="820" h="966">
                  <a:moveTo>
                    <a:pt x="714" y="866"/>
                  </a:moveTo>
                  <a:lnTo>
                    <a:pt x="712" y="870"/>
                  </a:lnTo>
                  <a:lnTo>
                    <a:pt x="712" y="872"/>
                  </a:lnTo>
                  <a:lnTo>
                    <a:pt x="714" y="874"/>
                  </a:lnTo>
                  <a:lnTo>
                    <a:pt x="714" y="876"/>
                  </a:lnTo>
                  <a:lnTo>
                    <a:pt x="712" y="878"/>
                  </a:lnTo>
                  <a:lnTo>
                    <a:pt x="712" y="880"/>
                  </a:lnTo>
                  <a:lnTo>
                    <a:pt x="712" y="894"/>
                  </a:lnTo>
                  <a:lnTo>
                    <a:pt x="720" y="902"/>
                  </a:lnTo>
                  <a:lnTo>
                    <a:pt x="720" y="904"/>
                  </a:lnTo>
                  <a:lnTo>
                    <a:pt x="718" y="904"/>
                  </a:lnTo>
                  <a:lnTo>
                    <a:pt x="708" y="904"/>
                  </a:lnTo>
                  <a:lnTo>
                    <a:pt x="706" y="904"/>
                  </a:lnTo>
                  <a:lnTo>
                    <a:pt x="704" y="904"/>
                  </a:lnTo>
                  <a:lnTo>
                    <a:pt x="702" y="904"/>
                  </a:lnTo>
                  <a:lnTo>
                    <a:pt x="700" y="904"/>
                  </a:lnTo>
                  <a:lnTo>
                    <a:pt x="698" y="904"/>
                  </a:lnTo>
                  <a:lnTo>
                    <a:pt x="680" y="904"/>
                  </a:lnTo>
                  <a:lnTo>
                    <a:pt x="670" y="904"/>
                  </a:lnTo>
                  <a:lnTo>
                    <a:pt x="664" y="904"/>
                  </a:lnTo>
                  <a:lnTo>
                    <a:pt x="662" y="904"/>
                  </a:lnTo>
                  <a:lnTo>
                    <a:pt x="658" y="904"/>
                  </a:lnTo>
                  <a:lnTo>
                    <a:pt x="646" y="904"/>
                  </a:lnTo>
                  <a:lnTo>
                    <a:pt x="642" y="904"/>
                  </a:lnTo>
                  <a:lnTo>
                    <a:pt x="640" y="906"/>
                  </a:lnTo>
                  <a:lnTo>
                    <a:pt x="626" y="920"/>
                  </a:lnTo>
                  <a:lnTo>
                    <a:pt x="622" y="926"/>
                  </a:lnTo>
                  <a:lnTo>
                    <a:pt x="598" y="950"/>
                  </a:lnTo>
                  <a:lnTo>
                    <a:pt x="590" y="950"/>
                  </a:lnTo>
                  <a:lnTo>
                    <a:pt x="584" y="950"/>
                  </a:lnTo>
                  <a:lnTo>
                    <a:pt x="580" y="950"/>
                  </a:lnTo>
                  <a:lnTo>
                    <a:pt x="578" y="948"/>
                  </a:lnTo>
                  <a:lnTo>
                    <a:pt x="572" y="944"/>
                  </a:lnTo>
                  <a:lnTo>
                    <a:pt x="570" y="946"/>
                  </a:lnTo>
                  <a:lnTo>
                    <a:pt x="568" y="946"/>
                  </a:lnTo>
                  <a:lnTo>
                    <a:pt x="566" y="948"/>
                  </a:lnTo>
                  <a:lnTo>
                    <a:pt x="562" y="950"/>
                  </a:lnTo>
                  <a:lnTo>
                    <a:pt x="556" y="950"/>
                  </a:lnTo>
                  <a:lnTo>
                    <a:pt x="554" y="950"/>
                  </a:lnTo>
                  <a:lnTo>
                    <a:pt x="552" y="952"/>
                  </a:lnTo>
                  <a:lnTo>
                    <a:pt x="546" y="952"/>
                  </a:lnTo>
                  <a:lnTo>
                    <a:pt x="542" y="952"/>
                  </a:lnTo>
                  <a:lnTo>
                    <a:pt x="530" y="958"/>
                  </a:lnTo>
                  <a:lnTo>
                    <a:pt x="530" y="960"/>
                  </a:lnTo>
                  <a:lnTo>
                    <a:pt x="530" y="964"/>
                  </a:lnTo>
                  <a:lnTo>
                    <a:pt x="528" y="964"/>
                  </a:lnTo>
                  <a:lnTo>
                    <a:pt x="526" y="964"/>
                  </a:lnTo>
                  <a:lnTo>
                    <a:pt x="524" y="962"/>
                  </a:lnTo>
                  <a:lnTo>
                    <a:pt x="524" y="960"/>
                  </a:lnTo>
                  <a:lnTo>
                    <a:pt x="522" y="960"/>
                  </a:lnTo>
                  <a:lnTo>
                    <a:pt x="518" y="960"/>
                  </a:lnTo>
                  <a:lnTo>
                    <a:pt x="518" y="958"/>
                  </a:lnTo>
                  <a:lnTo>
                    <a:pt x="516" y="956"/>
                  </a:lnTo>
                  <a:lnTo>
                    <a:pt x="514" y="950"/>
                  </a:lnTo>
                  <a:lnTo>
                    <a:pt x="512" y="948"/>
                  </a:lnTo>
                  <a:lnTo>
                    <a:pt x="510" y="948"/>
                  </a:lnTo>
                  <a:lnTo>
                    <a:pt x="508" y="952"/>
                  </a:lnTo>
                  <a:lnTo>
                    <a:pt x="506" y="954"/>
                  </a:lnTo>
                  <a:lnTo>
                    <a:pt x="496" y="958"/>
                  </a:lnTo>
                  <a:lnTo>
                    <a:pt x="492" y="956"/>
                  </a:lnTo>
                  <a:lnTo>
                    <a:pt x="488" y="952"/>
                  </a:lnTo>
                  <a:lnTo>
                    <a:pt x="484" y="950"/>
                  </a:lnTo>
                  <a:lnTo>
                    <a:pt x="480" y="950"/>
                  </a:lnTo>
                  <a:lnTo>
                    <a:pt x="478" y="950"/>
                  </a:lnTo>
                  <a:lnTo>
                    <a:pt x="468" y="956"/>
                  </a:lnTo>
                  <a:lnTo>
                    <a:pt x="468" y="958"/>
                  </a:lnTo>
                  <a:lnTo>
                    <a:pt x="464" y="962"/>
                  </a:lnTo>
                  <a:lnTo>
                    <a:pt x="462" y="964"/>
                  </a:lnTo>
                  <a:lnTo>
                    <a:pt x="462" y="966"/>
                  </a:lnTo>
                  <a:lnTo>
                    <a:pt x="462" y="964"/>
                  </a:lnTo>
                  <a:lnTo>
                    <a:pt x="458" y="958"/>
                  </a:lnTo>
                  <a:lnTo>
                    <a:pt x="456" y="958"/>
                  </a:lnTo>
                  <a:lnTo>
                    <a:pt x="450" y="960"/>
                  </a:lnTo>
                  <a:lnTo>
                    <a:pt x="448" y="960"/>
                  </a:lnTo>
                  <a:lnTo>
                    <a:pt x="448" y="958"/>
                  </a:lnTo>
                  <a:lnTo>
                    <a:pt x="448" y="956"/>
                  </a:lnTo>
                  <a:lnTo>
                    <a:pt x="446" y="948"/>
                  </a:lnTo>
                  <a:lnTo>
                    <a:pt x="444" y="948"/>
                  </a:lnTo>
                  <a:lnTo>
                    <a:pt x="440" y="946"/>
                  </a:lnTo>
                  <a:lnTo>
                    <a:pt x="436" y="944"/>
                  </a:lnTo>
                  <a:lnTo>
                    <a:pt x="432" y="942"/>
                  </a:lnTo>
                  <a:lnTo>
                    <a:pt x="430" y="942"/>
                  </a:lnTo>
                  <a:lnTo>
                    <a:pt x="428" y="942"/>
                  </a:lnTo>
                  <a:lnTo>
                    <a:pt x="426" y="938"/>
                  </a:lnTo>
                  <a:lnTo>
                    <a:pt x="426" y="936"/>
                  </a:lnTo>
                  <a:lnTo>
                    <a:pt x="424" y="934"/>
                  </a:lnTo>
                  <a:lnTo>
                    <a:pt x="422" y="934"/>
                  </a:lnTo>
                  <a:lnTo>
                    <a:pt x="416" y="928"/>
                  </a:lnTo>
                  <a:lnTo>
                    <a:pt x="416" y="926"/>
                  </a:lnTo>
                  <a:lnTo>
                    <a:pt x="410" y="924"/>
                  </a:lnTo>
                  <a:lnTo>
                    <a:pt x="408" y="922"/>
                  </a:lnTo>
                  <a:lnTo>
                    <a:pt x="406" y="918"/>
                  </a:lnTo>
                  <a:lnTo>
                    <a:pt x="408" y="916"/>
                  </a:lnTo>
                  <a:lnTo>
                    <a:pt x="408" y="914"/>
                  </a:lnTo>
                  <a:lnTo>
                    <a:pt x="408" y="912"/>
                  </a:lnTo>
                  <a:lnTo>
                    <a:pt x="402" y="910"/>
                  </a:lnTo>
                  <a:lnTo>
                    <a:pt x="400" y="908"/>
                  </a:lnTo>
                  <a:lnTo>
                    <a:pt x="398" y="906"/>
                  </a:lnTo>
                  <a:lnTo>
                    <a:pt x="392" y="906"/>
                  </a:lnTo>
                  <a:lnTo>
                    <a:pt x="390" y="906"/>
                  </a:lnTo>
                  <a:lnTo>
                    <a:pt x="390" y="908"/>
                  </a:lnTo>
                  <a:lnTo>
                    <a:pt x="390" y="910"/>
                  </a:lnTo>
                  <a:lnTo>
                    <a:pt x="388" y="914"/>
                  </a:lnTo>
                  <a:lnTo>
                    <a:pt x="382" y="922"/>
                  </a:lnTo>
                  <a:lnTo>
                    <a:pt x="380" y="924"/>
                  </a:lnTo>
                  <a:lnTo>
                    <a:pt x="378" y="924"/>
                  </a:lnTo>
                  <a:lnTo>
                    <a:pt x="374" y="922"/>
                  </a:lnTo>
                  <a:lnTo>
                    <a:pt x="374" y="920"/>
                  </a:lnTo>
                  <a:lnTo>
                    <a:pt x="368" y="916"/>
                  </a:lnTo>
                  <a:lnTo>
                    <a:pt x="366" y="916"/>
                  </a:lnTo>
                  <a:lnTo>
                    <a:pt x="360" y="916"/>
                  </a:lnTo>
                  <a:lnTo>
                    <a:pt x="358" y="916"/>
                  </a:lnTo>
                  <a:lnTo>
                    <a:pt x="356" y="916"/>
                  </a:lnTo>
                  <a:lnTo>
                    <a:pt x="356" y="914"/>
                  </a:lnTo>
                  <a:lnTo>
                    <a:pt x="352" y="914"/>
                  </a:lnTo>
                  <a:lnTo>
                    <a:pt x="350" y="914"/>
                  </a:lnTo>
                  <a:lnTo>
                    <a:pt x="350" y="916"/>
                  </a:lnTo>
                  <a:lnTo>
                    <a:pt x="350" y="918"/>
                  </a:lnTo>
                  <a:lnTo>
                    <a:pt x="350" y="920"/>
                  </a:lnTo>
                  <a:lnTo>
                    <a:pt x="348" y="920"/>
                  </a:lnTo>
                  <a:lnTo>
                    <a:pt x="346" y="920"/>
                  </a:lnTo>
                  <a:lnTo>
                    <a:pt x="342" y="922"/>
                  </a:lnTo>
                  <a:lnTo>
                    <a:pt x="340" y="924"/>
                  </a:lnTo>
                  <a:lnTo>
                    <a:pt x="334" y="926"/>
                  </a:lnTo>
                  <a:lnTo>
                    <a:pt x="326" y="924"/>
                  </a:lnTo>
                  <a:lnTo>
                    <a:pt x="320" y="920"/>
                  </a:lnTo>
                  <a:lnTo>
                    <a:pt x="318" y="916"/>
                  </a:lnTo>
                  <a:lnTo>
                    <a:pt x="312" y="914"/>
                  </a:lnTo>
                  <a:lnTo>
                    <a:pt x="308" y="914"/>
                  </a:lnTo>
                  <a:lnTo>
                    <a:pt x="306" y="912"/>
                  </a:lnTo>
                  <a:lnTo>
                    <a:pt x="304" y="908"/>
                  </a:lnTo>
                  <a:lnTo>
                    <a:pt x="304" y="906"/>
                  </a:lnTo>
                  <a:lnTo>
                    <a:pt x="304" y="904"/>
                  </a:lnTo>
                  <a:lnTo>
                    <a:pt x="304" y="902"/>
                  </a:lnTo>
                  <a:lnTo>
                    <a:pt x="298" y="896"/>
                  </a:lnTo>
                  <a:lnTo>
                    <a:pt x="292" y="894"/>
                  </a:lnTo>
                  <a:lnTo>
                    <a:pt x="288" y="890"/>
                  </a:lnTo>
                  <a:lnTo>
                    <a:pt x="288" y="888"/>
                  </a:lnTo>
                  <a:lnTo>
                    <a:pt x="284" y="882"/>
                  </a:lnTo>
                  <a:lnTo>
                    <a:pt x="280" y="880"/>
                  </a:lnTo>
                  <a:lnTo>
                    <a:pt x="278" y="876"/>
                  </a:lnTo>
                  <a:lnTo>
                    <a:pt x="278" y="874"/>
                  </a:lnTo>
                  <a:lnTo>
                    <a:pt x="276" y="870"/>
                  </a:lnTo>
                  <a:lnTo>
                    <a:pt x="278" y="864"/>
                  </a:lnTo>
                  <a:lnTo>
                    <a:pt x="278" y="862"/>
                  </a:lnTo>
                  <a:lnTo>
                    <a:pt x="278" y="860"/>
                  </a:lnTo>
                  <a:lnTo>
                    <a:pt x="276" y="858"/>
                  </a:lnTo>
                  <a:lnTo>
                    <a:pt x="274" y="854"/>
                  </a:lnTo>
                  <a:lnTo>
                    <a:pt x="272" y="852"/>
                  </a:lnTo>
                  <a:lnTo>
                    <a:pt x="270" y="850"/>
                  </a:lnTo>
                  <a:lnTo>
                    <a:pt x="262" y="848"/>
                  </a:lnTo>
                  <a:lnTo>
                    <a:pt x="260" y="848"/>
                  </a:lnTo>
                  <a:lnTo>
                    <a:pt x="256" y="846"/>
                  </a:lnTo>
                  <a:lnTo>
                    <a:pt x="254" y="844"/>
                  </a:lnTo>
                  <a:lnTo>
                    <a:pt x="254" y="842"/>
                  </a:lnTo>
                  <a:lnTo>
                    <a:pt x="254" y="840"/>
                  </a:lnTo>
                  <a:lnTo>
                    <a:pt x="250" y="840"/>
                  </a:lnTo>
                  <a:lnTo>
                    <a:pt x="248" y="838"/>
                  </a:lnTo>
                  <a:lnTo>
                    <a:pt x="248" y="840"/>
                  </a:lnTo>
                  <a:lnTo>
                    <a:pt x="244" y="838"/>
                  </a:lnTo>
                  <a:lnTo>
                    <a:pt x="242" y="838"/>
                  </a:lnTo>
                  <a:lnTo>
                    <a:pt x="236" y="836"/>
                  </a:lnTo>
                  <a:lnTo>
                    <a:pt x="236" y="834"/>
                  </a:lnTo>
                  <a:lnTo>
                    <a:pt x="238" y="832"/>
                  </a:lnTo>
                  <a:lnTo>
                    <a:pt x="240" y="832"/>
                  </a:lnTo>
                  <a:lnTo>
                    <a:pt x="240" y="830"/>
                  </a:lnTo>
                  <a:lnTo>
                    <a:pt x="240" y="828"/>
                  </a:lnTo>
                  <a:lnTo>
                    <a:pt x="236" y="826"/>
                  </a:lnTo>
                  <a:lnTo>
                    <a:pt x="232" y="822"/>
                  </a:lnTo>
                  <a:lnTo>
                    <a:pt x="228" y="820"/>
                  </a:lnTo>
                  <a:lnTo>
                    <a:pt x="228" y="816"/>
                  </a:lnTo>
                  <a:lnTo>
                    <a:pt x="230" y="810"/>
                  </a:lnTo>
                  <a:lnTo>
                    <a:pt x="234" y="808"/>
                  </a:lnTo>
                  <a:lnTo>
                    <a:pt x="232" y="806"/>
                  </a:lnTo>
                  <a:lnTo>
                    <a:pt x="230" y="806"/>
                  </a:lnTo>
                  <a:lnTo>
                    <a:pt x="228" y="804"/>
                  </a:lnTo>
                  <a:lnTo>
                    <a:pt x="226" y="804"/>
                  </a:lnTo>
                  <a:lnTo>
                    <a:pt x="218" y="798"/>
                  </a:lnTo>
                  <a:lnTo>
                    <a:pt x="218" y="796"/>
                  </a:lnTo>
                  <a:lnTo>
                    <a:pt x="216" y="794"/>
                  </a:lnTo>
                  <a:lnTo>
                    <a:pt x="216" y="792"/>
                  </a:lnTo>
                  <a:lnTo>
                    <a:pt x="214" y="792"/>
                  </a:lnTo>
                  <a:lnTo>
                    <a:pt x="212" y="788"/>
                  </a:lnTo>
                  <a:lnTo>
                    <a:pt x="204" y="784"/>
                  </a:lnTo>
                  <a:lnTo>
                    <a:pt x="198" y="780"/>
                  </a:lnTo>
                  <a:lnTo>
                    <a:pt x="194" y="778"/>
                  </a:lnTo>
                  <a:lnTo>
                    <a:pt x="184" y="774"/>
                  </a:lnTo>
                  <a:lnTo>
                    <a:pt x="180" y="772"/>
                  </a:lnTo>
                  <a:lnTo>
                    <a:pt x="180" y="770"/>
                  </a:lnTo>
                  <a:lnTo>
                    <a:pt x="178" y="768"/>
                  </a:lnTo>
                  <a:lnTo>
                    <a:pt x="176" y="764"/>
                  </a:lnTo>
                  <a:lnTo>
                    <a:pt x="172" y="764"/>
                  </a:lnTo>
                  <a:lnTo>
                    <a:pt x="172" y="762"/>
                  </a:lnTo>
                  <a:lnTo>
                    <a:pt x="170" y="760"/>
                  </a:lnTo>
                  <a:lnTo>
                    <a:pt x="172" y="760"/>
                  </a:lnTo>
                  <a:lnTo>
                    <a:pt x="174" y="758"/>
                  </a:lnTo>
                  <a:lnTo>
                    <a:pt x="176" y="758"/>
                  </a:lnTo>
                  <a:lnTo>
                    <a:pt x="176" y="756"/>
                  </a:lnTo>
                  <a:lnTo>
                    <a:pt x="176" y="754"/>
                  </a:lnTo>
                  <a:lnTo>
                    <a:pt x="176" y="750"/>
                  </a:lnTo>
                  <a:lnTo>
                    <a:pt x="174" y="746"/>
                  </a:lnTo>
                  <a:lnTo>
                    <a:pt x="172" y="744"/>
                  </a:lnTo>
                  <a:lnTo>
                    <a:pt x="170" y="744"/>
                  </a:lnTo>
                  <a:lnTo>
                    <a:pt x="168" y="744"/>
                  </a:lnTo>
                  <a:lnTo>
                    <a:pt x="166" y="744"/>
                  </a:lnTo>
                  <a:lnTo>
                    <a:pt x="164" y="744"/>
                  </a:lnTo>
                  <a:lnTo>
                    <a:pt x="164" y="742"/>
                  </a:lnTo>
                  <a:lnTo>
                    <a:pt x="162" y="740"/>
                  </a:lnTo>
                  <a:lnTo>
                    <a:pt x="160" y="738"/>
                  </a:lnTo>
                  <a:lnTo>
                    <a:pt x="158" y="736"/>
                  </a:lnTo>
                  <a:lnTo>
                    <a:pt x="158" y="734"/>
                  </a:lnTo>
                  <a:lnTo>
                    <a:pt x="154" y="730"/>
                  </a:lnTo>
                  <a:lnTo>
                    <a:pt x="152" y="728"/>
                  </a:lnTo>
                  <a:lnTo>
                    <a:pt x="146" y="728"/>
                  </a:lnTo>
                  <a:lnTo>
                    <a:pt x="144" y="728"/>
                  </a:lnTo>
                  <a:lnTo>
                    <a:pt x="142" y="728"/>
                  </a:lnTo>
                  <a:lnTo>
                    <a:pt x="134" y="726"/>
                  </a:lnTo>
                  <a:lnTo>
                    <a:pt x="128" y="726"/>
                  </a:lnTo>
                  <a:lnTo>
                    <a:pt x="122" y="724"/>
                  </a:lnTo>
                  <a:lnTo>
                    <a:pt x="120" y="722"/>
                  </a:lnTo>
                  <a:lnTo>
                    <a:pt x="118" y="722"/>
                  </a:lnTo>
                  <a:lnTo>
                    <a:pt x="118" y="720"/>
                  </a:lnTo>
                  <a:lnTo>
                    <a:pt x="118" y="714"/>
                  </a:lnTo>
                  <a:lnTo>
                    <a:pt x="120" y="712"/>
                  </a:lnTo>
                  <a:lnTo>
                    <a:pt x="122" y="710"/>
                  </a:lnTo>
                  <a:lnTo>
                    <a:pt x="124" y="708"/>
                  </a:lnTo>
                  <a:lnTo>
                    <a:pt x="120" y="704"/>
                  </a:lnTo>
                  <a:lnTo>
                    <a:pt x="118" y="704"/>
                  </a:lnTo>
                  <a:lnTo>
                    <a:pt x="114" y="704"/>
                  </a:lnTo>
                  <a:lnTo>
                    <a:pt x="112" y="704"/>
                  </a:lnTo>
                  <a:lnTo>
                    <a:pt x="110" y="702"/>
                  </a:lnTo>
                  <a:lnTo>
                    <a:pt x="106" y="702"/>
                  </a:lnTo>
                  <a:lnTo>
                    <a:pt x="100" y="702"/>
                  </a:lnTo>
                  <a:lnTo>
                    <a:pt x="98" y="702"/>
                  </a:lnTo>
                  <a:lnTo>
                    <a:pt x="88" y="702"/>
                  </a:lnTo>
                  <a:lnTo>
                    <a:pt x="86" y="702"/>
                  </a:lnTo>
                  <a:lnTo>
                    <a:pt x="84" y="700"/>
                  </a:lnTo>
                  <a:lnTo>
                    <a:pt x="86" y="698"/>
                  </a:lnTo>
                  <a:lnTo>
                    <a:pt x="86" y="696"/>
                  </a:lnTo>
                  <a:lnTo>
                    <a:pt x="88" y="694"/>
                  </a:lnTo>
                  <a:lnTo>
                    <a:pt x="88" y="692"/>
                  </a:lnTo>
                  <a:lnTo>
                    <a:pt x="88" y="688"/>
                  </a:lnTo>
                  <a:lnTo>
                    <a:pt x="86" y="690"/>
                  </a:lnTo>
                  <a:lnTo>
                    <a:pt x="84" y="690"/>
                  </a:lnTo>
                  <a:lnTo>
                    <a:pt x="82" y="688"/>
                  </a:lnTo>
                  <a:lnTo>
                    <a:pt x="82" y="686"/>
                  </a:lnTo>
                  <a:lnTo>
                    <a:pt x="84" y="682"/>
                  </a:lnTo>
                  <a:lnTo>
                    <a:pt x="84" y="680"/>
                  </a:lnTo>
                  <a:lnTo>
                    <a:pt x="84" y="678"/>
                  </a:lnTo>
                  <a:lnTo>
                    <a:pt x="86" y="678"/>
                  </a:lnTo>
                  <a:lnTo>
                    <a:pt x="88" y="678"/>
                  </a:lnTo>
                  <a:lnTo>
                    <a:pt x="92" y="674"/>
                  </a:lnTo>
                  <a:lnTo>
                    <a:pt x="92" y="666"/>
                  </a:lnTo>
                  <a:lnTo>
                    <a:pt x="92" y="664"/>
                  </a:lnTo>
                  <a:lnTo>
                    <a:pt x="90" y="660"/>
                  </a:lnTo>
                  <a:lnTo>
                    <a:pt x="92" y="658"/>
                  </a:lnTo>
                  <a:lnTo>
                    <a:pt x="92" y="656"/>
                  </a:lnTo>
                  <a:lnTo>
                    <a:pt x="94" y="654"/>
                  </a:lnTo>
                  <a:lnTo>
                    <a:pt x="92" y="642"/>
                  </a:lnTo>
                  <a:lnTo>
                    <a:pt x="86" y="632"/>
                  </a:lnTo>
                  <a:lnTo>
                    <a:pt x="76" y="614"/>
                  </a:lnTo>
                  <a:lnTo>
                    <a:pt x="74" y="614"/>
                  </a:lnTo>
                  <a:lnTo>
                    <a:pt x="62" y="602"/>
                  </a:lnTo>
                  <a:lnTo>
                    <a:pt x="58" y="600"/>
                  </a:lnTo>
                  <a:lnTo>
                    <a:pt x="56" y="596"/>
                  </a:lnTo>
                  <a:lnTo>
                    <a:pt x="54" y="592"/>
                  </a:lnTo>
                  <a:lnTo>
                    <a:pt x="52" y="590"/>
                  </a:lnTo>
                  <a:lnTo>
                    <a:pt x="54" y="588"/>
                  </a:lnTo>
                  <a:lnTo>
                    <a:pt x="56" y="576"/>
                  </a:lnTo>
                  <a:lnTo>
                    <a:pt x="56" y="572"/>
                  </a:lnTo>
                  <a:lnTo>
                    <a:pt x="56" y="564"/>
                  </a:lnTo>
                  <a:lnTo>
                    <a:pt x="48" y="564"/>
                  </a:lnTo>
                  <a:lnTo>
                    <a:pt x="40" y="560"/>
                  </a:lnTo>
                  <a:lnTo>
                    <a:pt x="40" y="558"/>
                  </a:lnTo>
                  <a:lnTo>
                    <a:pt x="38" y="558"/>
                  </a:lnTo>
                  <a:lnTo>
                    <a:pt x="36" y="556"/>
                  </a:lnTo>
                  <a:lnTo>
                    <a:pt x="36" y="554"/>
                  </a:lnTo>
                  <a:lnTo>
                    <a:pt x="36" y="552"/>
                  </a:lnTo>
                  <a:lnTo>
                    <a:pt x="36" y="544"/>
                  </a:lnTo>
                  <a:lnTo>
                    <a:pt x="38" y="538"/>
                  </a:lnTo>
                  <a:lnTo>
                    <a:pt x="38" y="534"/>
                  </a:lnTo>
                  <a:lnTo>
                    <a:pt x="36" y="530"/>
                  </a:lnTo>
                  <a:lnTo>
                    <a:pt x="34" y="526"/>
                  </a:lnTo>
                  <a:lnTo>
                    <a:pt x="30" y="516"/>
                  </a:lnTo>
                  <a:lnTo>
                    <a:pt x="28" y="510"/>
                  </a:lnTo>
                  <a:lnTo>
                    <a:pt x="32" y="502"/>
                  </a:lnTo>
                  <a:lnTo>
                    <a:pt x="24" y="500"/>
                  </a:lnTo>
                  <a:lnTo>
                    <a:pt x="20" y="496"/>
                  </a:lnTo>
                  <a:lnTo>
                    <a:pt x="18" y="498"/>
                  </a:lnTo>
                  <a:lnTo>
                    <a:pt x="16" y="500"/>
                  </a:lnTo>
                  <a:lnTo>
                    <a:pt x="14" y="502"/>
                  </a:lnTo>
                  <a:lnTo>
                    <a:pt x="12" y="502"/>
                  </a:lnTo>
                  <a:lnTo>
                    <a:pt x="10" y="502"/>
                  </a:lnTo>
                  <a:lnTo>
                    <a:pt x="8" y="502"/>
                  </a:lnTo>
                  <a:lnTo>
                    <a:pt x="6" y="502"/>
                  </a:lnTo>
                  <a:lnTo>
                    <a:pt x="4" y="502"/>
                  </a:lnTo>
                  <a:lnTo>
                    <a:pt x="2" y="500"/>
                  </a:lnTo>
                  <a:lnTo>
                    <a:pt x="0" y="494"/>
                  </a:lnTo>
                  <a:lnTo>
                    <a:pt x="2" y="486"/>
                  </a:lnTo>
                  <a:lnTo>
                    <a:pt x="4" y="480"/>
                  </a:lnTo>
                  <a:lnTo>
                    <a:pt x="10" y="476"/>
                  </a:lnTo>
                  <a:lnTo>
                    <a:pt x="12" y="476"/>
                  </a:lnTo>
                  <a:lnTo>
                    <a:pt x="16" y="474"/>
                  </a:lnTo>
                  <a:lnTo>
                    <a:pt x="22" y="468"/>
                  </a:lnTo>
                  <a:lnTo>
                    <a:pt x="22" y="466"/>
                  </a:lnTo>
                  <a:lnTo>
                    <a:pt x="22" y="464"/>
                  </a:lnTo>
                  <a:lnTo>
                    <a:pt x="18" y="458"/>
                  </a:lnTo>
                  <a:lnTo>
                    <a:pt x="14" y="450"/>
                  </a:lnTo>
                  <a:lnTo>
                    <a:pt x="12" y="444"/>
                  </a:lnTo>
                  <a:lnTo>
                    <a:pt x="18" y="436"/>
                  </a:lnTo>
                  <a:lnTo>
                    <a:pt x="20" y="434"/>
                  </a:lnTo>
                  <a:lnTo>
                    <a:pt x="24" y="432"/>
                  </a:lnTo>
                  <a:lnTo>
                    <a:pt x="26" y="430"/>
                  </a:lnTo>
                  <a:lnTo>
                    <a:pt x="28" y="430"/>
                  </a:lnTo>
                  <a:lnTo>
                    <a:pt x="34" y="426"/>
                  </a:lnTo>
                  <a:lnTo>
                    <a:pt x="36" y="424"/>
                  </a:lnTo>
                  <a:lnTo>
                    <a:pt x="34" y="420"/>
                  </a:lnTo>
                  <a:lnTo>
                    <a:pt x="30" y="414"/>
                  </a:lnTo>
                  <a:lnTo>
                    <a:pt x="30" y="408"/>
                  </a:lnTo>
                  <a:lnTo>
                    <a:pt x="28" y="406"/>
                  </a:lnTo>
                  <a:lnTo>
                    <a:pt x="26" y="406"/>
                  </a:lnTo>
                  <a:lnTo>
                    <a:pt x="26" y="404"/>
                  </a:lnTo>
                  <a:lnTo>
                    <a:pt x="26" y="402"/>
                  </a:lnTo>
                  <a:lnTo>
                    <a:pt x="28" y="402"/>
                  </a:lnTo>
                  <a:lnTo>
                    <a:pt x="30" y="400"/>
                  </a:lnTo>
                  <a:lnTo>
                    <a:pt x="32" y="400"/>
                  </a:lnTo>
                  <a:lnTo>
                    <a:pt x="42" y="396"/>
                  </a:lnTo>
                  <a:lnTo>
                    <a:pt x="40" y="392"/>
                  </a:lnTo>
                  <a:lnTo>
                    <a:pt x="40" y="390"/>
                  </a:lnTo>
                  <a:lnTo>
                    <a:pt x="40" y="388"/>
                  </a:lnTo>
                  <a:lnTo>
                    <a:pt x="44" y="382"/>
                  </a:lnTo>
                  <a:lnTo>
                    <a:pt x="46" y="380"/>
                  </a:lnTo>
                  <a:lnTo>
                    <a:pt x="48" y="378"/>
                  </a:lnTo>
                  <a:lnTo>
                    <a:pt x="50" y="376"/>
                  </a:lnTo>
                  <a:lnTo>
                    <a:pt x="52" y="376"/>
                  </a:lnTo>
                  <a:lnTo>
                    <a:pt x="54" y="374"/>
                  </a:lnTo>
                  <a:lnTo>
                    <a:pt x="56" y="370"/>
                  </a:lnTo>
                  <a:lnTo>
                    <a:pt x="56" y="366"/>
                  </a:lnTo>
                  <a:lnTo>
                    <a:pt x="56" y="364"/>
                  </a:lnTo>
                  <a:lnTo>
                    <a:pt x="56" y="362"/>
                  </a:lnTo>
                  <a:lnTo>
                    <a:pt x="56" y="360"/>
                  </a:lnTo>
                  <a:lnTo>
                    <a:pt x="54" y="358"/>
                  </a:lnTo>
                  <a:lnTo>
                    <a:pt x="52" y="356"/>
                  </a:lnTo>
                  <a:lnTo>
                    <a:pt x="52" y="354"/>
                  </a:lnTo>
                  <a:lnTo>
                    <a:pt x="54" y="352"/>
                  </a:lnTo>
                  <a:lnTo>
                    <a:pt x="62" y="344"/>
                  </a:lnTo>
                  <a:lnTo>
                    <a:pt x="64" y="344"/>
                  </a:lnTo>
                  <a:lnTo>
                    <a:pt x="68" y="344"/>
                  </a:lnTo>
                  <a:lnTo>
                    <a:pt x="72" y="346"/>
                  </a:lnTo>
                  <a:lnTo>
                    <a:pt x="74" y="346"/>
                  </a:lnTo>
                  <a:lnTo>
                    <a:pt x="76" y="346"/>
                  </a:lnTo>
                  <a:lnTo>
                    <a:pt x="78" y="344"/>
                  </a:lnTo>
                  <a:lnTo>
                    <a:pt x="80" y="344"/>
                  </a:lnTo>
                  <a:lnTo>
                    <a:pt x="82" y="342"/>
                  </a:lnTo>
                  <a:lnTo>
                    <a:pt x="84" y="342"/>
                  </a:lnTo>
                  <a:lnTo>
                    <a:pt x="86" y="342"/>
                  </a:lnTo>
                  <a:lnTo>
                    <a:pt x="88" y="342"/>
                  </a:lnTo>
                  <a:lnTo>
                    <a:pt x="96" y="342"/>
                  </a:lnTo>
                  <a:lnTo>
                    <a:pt x="100" y="344"/>
                  </a:lnTo>
                  <a:lnTo>
                    <a:pt x="104" y="344"/>
                  </a:lnTo>
                  <a:lnTo>
                    <a:pt x="106" y="344"/>
                  </a:lnTo>
                  <a:lnTo>
                    <a:pt x="106" y="338"/>
                  </a:lnTo>
                  <a:lnTo>
                    <a:pt x="106" y="322"/>
                  </a:lnTo>
                  <a:lnTo>
                    <a:pt x="106" y="316"/>
                  </a:lnTo>
                  <a:lnTo>
                    <a:pt x="104" y="264"/>
                  </a:lnTo>
                  <a:lnTo>
                    <a:pt x="104" y="212"/>
                  </a:lnTo>
                  <a:lnTo>
                    <a:pt x="104" y="200"/>
                  </a:lnTo>
                  <a:lnTo>
                    <a:pt x="104" y="188"/>
                  </a:lnTo>
                  <a:lnTo>
                    <a:pt x="104" y="184"/>
                  </a:lnTo>
                  <a:lnTo>
                    <a:pt x="102" y="152"/>
                  </a:lnTo>
                  <a:lnTo>
                    <a:pt x="102" y="150"/>
                  </a:lnTo>
                  <a:lnTo>
                    <a:pt x="102" y="130"/>
                  </a:lnTo>
                  <a:lnTo>
                    <a:pt x="102" y="124"/>
                  </a:lnTo>
                  <a:lnTo>
                    <a:pt x="104" y="124"/>
                  </a:lnTo>
                  <a:lnTo>
                    <a:pt x="110" y="124"/>
                  </a:lnTo>
                  <a:lnTo>
                    <a:pt x="124" y="124"/>
                  </a:lnTo>
                  <a:lnTo>
                    <a:pt x="130" y="124"/>
                  </a:lnTo>
                  <a:lnTo>
                    <a:pt x="132" y="124"/>
                  </a:lnTo>
                  <a:lnTo>
                    <a:pt x="140" y="124"/>
                  </a:lnTo>
                  <a:lnTo>
                    <a:pt x="150" y="124"/>
                  </a:lnTo>
                  <a:lnTo>
                    <a:pt x="152" y="124"/>
                  </a:lnTo>
                  <a:lnTo>
                    <a:pt x="150" y="72"/>
                  </a:lnTo>
                  <a:lnTo>
                    <a:pt x="148" y="22"/>
                  </a:lnTo>
                  <a:lnTo>
                    <a:pt x="154" y="22"/>
                  </a:lnTo>
                  <a:lnTo>
                    <a:pt x="158" y="22"/>
                  </a:lnTo>
                  <a:lnTo>
                    <a:pt x="168" y="22"/>
                  </a:lnTo>
                  <a:lnTo>
                    <a:pt x="186" y="20"/>
                  </a:lnTo>
                  <a:lnTo>
                    <a:pt x="212" y="20"/>
                  </a:lnTo>
                  <a:lnTo>
                    <a:pt x="228" y="20"/>
                  </a:lnTo>
                  <a:lnTo>
                    <a:pt x="230" y="20"/>
                  </a:lnTo>
                  <a:lnTo>
                    <a:pt x="236" y="20"/>
                  </a:lnTo>
                  <a:lnTo>
                    <a:pt x="240" y="20"/>
                  </a:lnTo>
                  <a:lnTo>
                    <a:pt x="242" y="20"/>
                  </a:lnTo>
                  <a:lnTo>
                    <a:pt x="250" y="20"/>
                  </a:lnTo>
                  <a:lnTo>
                    <a:pt x="252" y="20"/>
                  </a:lnTo>
                  <a:lnTo>
                    <a:pt x="258" y="20"/>
                  </a:lnTo>
                  <a:lnTo>
                    <a:pt x="260" y="20"/>
                  </a:lnTo>
                  <a:lnTo>
                    <a:pt x="262" y="20"/>
                  </a:lnTo>
                  <a:lnTo>
                    <a:pt x="264" y="20"/>
                  </a:lnTo>
                  <a:lnTo>
                    <a:pt x="280" y="18"/>
                  </a:lnTo>
                  <a:lnTo>
                    <a:pt x="304" y="18"/>
                  </a:lnTo>
                  <a:lnTo>
                    <a:pt x="306" y="18"/>
                  </a:lnTo>
                  <a:lnTo>
                    <a:pt x="308" y="18"/>
                  </a:lnTo>
                  <a:lnTo>
                    <a:pt x="322" y="18"/>
                  </a:lnTo>
                  <a:lnTo>
                    <a:pt x="342" y="18"/>
                  </a:lnTo>
                  <a:lnTo>
                    <a:pt x="344" y="18"/>
                  </a:lnTo>
                  <a:lnTo>
                    <a:pt x="346" y="16"/>
                  </a:lnTo>
                  <a:lnTo>
                    <a:pt x="348" y="16"/>
                  </a:lnTo>
                  <a:lnTo>
                    <a:pt x="350" y="16"/>
                  </a:lnTo>
                  <a:lnTo>
                    <a:pt x="352" y="16"/>
                  </a:lnTo>
                  <a:lnTo>
                    <a:pt x="366" y="16"/>
                  </a:lnTo>
                  <a:lnTo>
                    <a:pt x="370" y="16"/>
                  </a:lnTo>
                  <a:lnTo>
                    <a:pt x="394" y="16"/>
                  </a:lnTo>
                  <a:lnTo>
                    <a:pt x="402" y="14"/>
                  </a:lnTo>
                  <a:lnTo>
                    <a:pt x="406" y="14"/>
                  </a:lnTo>
                  <a:lnTo>
                    <a:pt x="412" y="14"/>
                  </a:lnTo>
                  <a:lnTo>
                    <a:pt x="414" y="14"/>
                  </a:lnTo>
                  <a:lnTo>
                    <a:pt x="418" y="14"/>
                  </a:lnTo>
                  <a:lnTo>
                    <a:pt x="422" y="14"/>
                  </a:lnTo>
                  <a:lnTo>
                    <a:pt x="426" y="14"/>
                  </a:lnTo>
                  <a:lnTo>
                    <a:pt x="446" y="14"/>
                  </a:lnTo>
                  <a:lnTo>
                    <a:pt x="448" y="14"/>
                  </a:lnTo>
                  <a:lnTo>
                    <a:pt x="450" y="12"/>
                  </a:lnTo>
                  <a:lnTo>
                    <a:pt x="452" y="10"/>
                  </a:lnTo>
                  <a:lnTo>
                    <a:pt x="452" y="8"/>
                  </a:lnTo>
                  <a:lnTo>
                    <a:pt x="456" y="2"/>
                  </a:lnTo>
                  <a:lnTo>
                    <a:pt x="456" y="0"/>
                  </a:lnTo>
                  <a:lnTo>
                    <a:pt x="458" y="0"/>
                  </a:lnTo>
                  <a:lnTo>
                    <a:pt x="458" y="2"/>
                  </a:lnTo>
                  <a:lnTo>
                    <a:pt x="460" y="2"/>
                  </a:lnTo>
                  <a:lnTo>
                    <a:pt x="460" y="4"/>
                  </a:lnTo>
                  <a:lnTo>
                    <a:pt x="458" y="12"/>
                  </a:lnTo>
                  <a:lnTo>
                    <a:pt x="460" y="12"/>
                  </a:lnTo>
                  <a:lnTo>
                    <a:pt x="464" y="12"/>
                  </a:lnTo>
                  <a:lnTo>
                    <a:pt x="484" y="12"/>
                  </a:lnTo>
                  <a:lnTo>
                    <a:pt x="502" y="12"/>
                  </a:lnTo>
                  <a:lnTo>
                    <a:pt x="504" y="12"/>
                  </a:lnTo>
                  <a:lnTo>
                    <a:pt x="506" y="12"/>
                  </a:lnTo>
                  <a:lnTo>
                    <a:pt x="508" y="12"/>
                  </a:lnTo>
                  <a:lnTo>
                    <a:pt x="510" y="12"/>
                  </a:lnTo>
                  <a:lnTo>
                    <a:pt x="516" y="10"/>
                  </a:lnTo>
                  <a:lnTo>
                    <a:pt x="542" y="10"/>
                  </a:lnTo>
                  <a:lnTo>
                    <a:pt x="550" y="10"/>
                  </a:lnTo>
                  <a:lnTo>
                    <a:pt x="556" y="10"/>
                  </a:lnTo>
                  <a:lnTo>
                    <a:pt x="568" y="8"/>
                  </a:lnTo>
                  <a:lnTo>
                    <a:pt x="570" y="8"/>
                  </a:lnTo>
                  <a:lnTo>
                    <a:pt x="574" y="8"/>
                  </a:lnTo>
                  <a:lnTo>
                    <a:pt x="578" y="8"/>
                  </a:lnTo>
                  <a:lnTo>
                    <a:pt x="584" y="8"/>
                  </a:lnTo>
                  <a:lnTo>
                    <a:pt x="586" y="8"/>
                  </a:lnTo>
                  <a:lnTo>
                    <a:pt x="588" y="8"/>
                  </a:lnTo>
                  <a:lnTo>
                    <a:pt x="598" y="8"/>
                  </a:lnTo>
                  <a:lnTo>
                    <a:pt x="612" y="6"/>
                  </a:lnTo>
                  <a:lnTo>
                    <a:pt x="614" y="6"/>
                  </a:lnTo>
                  <a:lnTo>
                    <a:pt x="624" y="6"/>
                  </a:lnTo>
                  <a:lnTo>
                    <a:pt x="626" y="6"/>
                  </a:lnTo>
                  <a:lnTo>
                    <a:pt x="628" y="6"/>
                  </a:lnTo>
                  <a:lnTo>
                    <a:pt x="636" y="6"/>
                  </a:lnTo>
                  <a:lnTo>
                    <a:pt x="646" y="4"/>
                  </a:lnTo>
                  <a:lnTo>
                    <a:pt x="650" y="4"/>
                  </a:lnTo>
                  <a:lnTo>
                    <a:pt x="666" y="4"/>
                  </a:lnTo>
                  <a:lnTo>
                    <a:pt x="674" y="4"/>
                  </a:lnTo>
                  <a:lnTo>
                    <a:pt x="678" y="2"/>
                  </a:lnTo>
                  <a:lnTo>
                    <a:pt x="690" y="2"/>
                  </a:lnTo>
                  <a:lnTo>
                    <a:pt x="692" y="2"/>
                  </a:lnTo>
                  <a:lnTo>
                    <a:pt x="698" y="2"/>
                  </a:lnTo>
                  <a:lnTo>
                    <a:pt x="704" y="2"/>
                  </a:lnTo>
                  <a:lnTo>
                    <a:pt x="710" y="0"/>
                  </a:lnTo>
                  <a:lnTo>
                    <a:pt x="712" y="0"/>
                  </a:lnTo>
                  <a:lnTo>
                    <a:pt x="718" y="0"/>
                  </a:lnTo>
                  <a:lnTo>
                    <a:pt x="720" y="0"/>
                  </a:lnTo>
                  <a:lnTo>
                    <a:pt x="718" y="2"/>
                  </a:lnTo>
                  <a:lnTo>
                    <a:pt x="720" y="12"/>
                  </a:lnTo>
                  <a:lnTo>
                    <a:pt x="722" y="20"/>
                  </a:lnTo>
                  <a:lnTo>
                    <a:pt x="722" y="22"/>
                  </a:lnTo>
                  <a:lnTo>
                    <a:pt x="728" y="30"/>
                  </a:lnTo>
                  <a:lnTo>
                    <a:pt x="732" y="34"/>
                  </a:lnTo>
                  <a:lnTo>
                    <a:pt x="732" y="36"/>
                  </a:lnTo>
                  <a:lnTo>
                    <a:pt x="736" y="38"/>
                  </a:lnTo>
                  <a:lnTo>
                    <a:pt x="736" y="40"/>
                  </a:lnTo>
                  <a:lnTo>
                    <a:pt x="738" y="42"/>
                  </a:lnTo>
                  <a:lnTo>
                    <a:pt x="740" y="44"/>
                  </a:lnTo>
                  <a:lnTo>
                    <a:pt x="742" y="44"/>
                  </a:lnTo>
                  <a:lnTo>
                    <a:pt x="744" y="48"/>
                  </a:lnTo>
                  <a:lnTo>
                    <a:pt x="744" y="50"/>
                  </a:lnTo>
                  <a:lnTo>
                    <a:pt x="742" y="52"/>
                  </a:lnTo>
                  <a:lnTo>
                    <a:pt x="740" y="50"/>
                  </a:lnTo>
                  <a:lnTo>
                    <a:pt x="740" y="46"/>
                  </a:lnTo>
                  <a:lnTo>
                    <a:pt x="740" y="48"/>
                  </a:lnTo>
                  <a:lnTo>
                    <a:pt x="742" y="48"/>
                  </a:lnTo>
                  <a:lnTo>
                    <a:pt x="740" y="44"/>
                  </a:lnTo>
                  <a:lnTo>
                    <a:pt x="736" y="42"/>
                  </a:lnTo>
                  <a:lnTo>
                    <a:pt x="734" y="42"/>
                  </a:lnTo>
                  <a:lnTo>
                    <a:pt x="734" y="44"/>
                  </a:lnTo>
                  <a:lnTo>
                    <a:pt x="736" y="54"/>
                  </a:lnTo>
                  <a:lnTo>
                    <a:pt x="738" y="62"/>
                  </a:lnTo>
                  <a:lnTo>
                    <a:pt x="740" y="66"/>
                  </a:lnTo>
                  <a:lnTo>
                    <a:pt x="740" y="68"/>
                  </a:lnTo>
                  <a:lnTo>
                    <a:pt x="742" y="70"/>
                  </a:lnTo>
                  <a:lnTo>
                    <a:pt x="742" y="74"/>
                  </a:lnTo>
                  <a:lnTo>
                    <a:pt x="742" y="78"/>
                  </a:lnTo>
                  <a:lnTo>
                    <a:pt x="742" y="80"/>
                  </a:lnTo>
                  <a:lnTo>
                    <a:pt x="742" y="82"/>
                  </a:lnTo>
                  <a:lnTo>
                    <a:pt x="742" y="86"/>
                  </a:lnTo>
                  <a:lnTo>
                    <a:pt x="742" y="92"/>
                  </a:lnTo>
                  <a:lnTo>
                    <a:pt x="742" y="102"/>
                  </a:lnTo>
                  <a:lnTo>
                    <a:pt x="744" y="108"/>
                  </a:lnTo>
                  <a:lnTo>
                    <a:pt x="746" y="110"/>
                  </a:lnTo>
                  <a:lnTo>
                    <a:pt x="746" y="112"/>
                  </a:lnTo>
                  <a:lnTo>
                    <a:pt x="748" y="116"/>
                  </a:lnTo>
                  <a:lnTo>
                    <a:pt x="748" y="118"/>
                  </a:lnTo>
                  <a:lnTo>
                    <a:pt x="748" y="120"/>
                  </a:lnTo>
                  <a:lnTo>
                    <a:pt x="746" y="120"/>
                  </a:lnTo>
                  <a:lnTo>
                    <a:pt x="748" y="126"/>
                  </a:lnTo>
                  <a:lnTo>
                    <a:pt x="748" y="128"/>
                  </a:lnTo>
                  <a:lnTo>
                    <a:pt x="750" y="130"/>
                  </a:lnTo>
                  <a:lnTo>
                    <a:pt x="752" y="134"/>
                  </a:lnTo>
                  <a:lnTo>
                    <a:pt x="752" y="136"/>
                  </a:lnTo>
                  <a:lnTo>
                    <a:pt x="752" y="140"/>
                  </a:lnTo>
                  <a:lnTo>
                    <a:pt x="752" y="142"/>
                  </a:lnTo>
                  <a:lnTo>
                    <a:pt x="754" y="148"/>
                  </a:lnTo>
                  <a:lnTo>
                    <a:pt x="754" y="150"/>
                  </a:lnTo>
                  <a:lnTo>
                    <a:pt x="760" y="162"/>
                  </a:lnTo>
                  <a:lnTo>
                    <a:pt x="764" y="168"/>
                  </a:lnTo>
                  <a:lnTo>
                    <a:pt x="766" y="170"/>
                  </a:lnTo>
                  <a:lnTo>
                    <a:pt x="768" y="170"/>
                  </a:lnTo>
                  <a:lnTo>
                    <a:pt x="770" y="170"/>
                  </a:lnTo>
                  <a:lnTo>
                    <a:pt x="772" y="168"/>
                  </a:lnTo>
                  <a:lnTo>
                    <a:pt x="776" y="170"/>
                  </a:lnTo>
                  <a:lnTo>
                    <a:pt x="776" y="172"/>
                  </a:lnTo>
                  <a:lnTo>
                    <a:pt x="780" y="174"/>
                  </a:lnTo>
                  <a:lnTo>
                    <a:pt x="784" y="176"/>
                  </a:lnTo>
                  <a:lnTo>
                    <a:pt x="786" y="176"/>
                  </a:lnTo>
                  <a:lnTo>
                    <a:pt x="788" y="178"/>
                  </a:lnTo>
                  <a:lnTo>
                    <a:pt x="788" y="180"/>
                  </a:lnTo>
                  <a:lnTo>
                    <a:pt x="792" y="184"/>
                  </a:lnTo>
                  <a:lnTo>
                    <a:pt x="794" y="186"/>
                  </a:lnTo>
                  <a:lnTo>
                    <a:pt x="794" y="188"/>
                  </a:lnTo>
                  <a:lnTo>
                    <a:pt x="796" y="190"/>
                  </a:lnTo>
                  <a:lnTo>
                    <a:pt x="796" y="192"/>
                  </a:lnTo>
                  <a:lnTo>
                    <a:pt x="798" y="192"/>
                  </a:lnTo>
                  <a:lnTo>
                    <a:pt x="804" y="192"/>
                  </a:lnTo>
                  <a:lnTo>
                    <a:pt x="808" y="194"/>
                  </a:lnTo>
                  <a:lnTo>
                    <a:pt x="812" y="196"/>
                  </a:lnTo>
                  <a:lnTo>
                    <a:pt x="818" y="198"/>
                  </a:lnTo>
                  <a:lnTo>
                    <a:pt x="818" y="200"/>
                  </a:lnTo>
                  <a:lnTo>
                    <a:pt x="820" y="204"/>
                  </a:lnTo>
                  <a:lnTo>
                    <a:pt x="816" y="208"/>
                  </a:lnTo>
                  <a:lnTo>
                    <a:pt x="814" y="210"/>
                  </a:lnTo>
                  <a:lnTo>
                    <a:pt x="814" y="212"/>
                  </a:lnTo>
                  <a:lnTo>
                    <a:pt x="810" y="222"/>
                  </a:lnTo>
                  <a:lnTo>
                    <a:pt x="806" y="230"/>
                  </a:lnTo>
                  <a:lnTo>
                    <a:pt x="798" y="230"/>
                  </a:lnTo>
                  <a:lnTo>
                    <a:pt x="796" y="230"/>
                  </a:lnTo>
                  <a:lnTo>
                    <a:pt x="796" y="228"/>
                  </a:lnTo>
                  <a:lnTo>
                    <a:pt x="794" y="230"/>
                  </a:lnTo>
                  <a:lnTo>
                    <a:pt x="790" y="230"/>
                  </a:lnTo>
                  <a:lnTo>
                    <a:pt x="790" y="234"/>
                  </a:lnTo>
                  <a:lnTo>
                    <a:pt x="788" y="234"/>
                  </a:lnTo>
                  <a:lnTo>
                    <a:pt x="780" y="238"/>
                  </a:lnTo>
                  <a:lnTo>
                    <a:pt x="774" y="240"/>
                  </a:lnTo>
                  <a:lnTo>
                    <a:pt x="770" y="242"/>
                  </a:lnTo>
                  <a:lnTo>
                    <a:pt x="770" y="244"/>
                  </a:lnTo>
                  <a:lnTo>
                    <a:pt x="770" y="246"/>
                  </a:lnTo>
                  <a:lnTo>
                    <a:pt x="770" y="248"/>
                  </a:lnTo>
                  <a:lnTo>
                    <a:pt x="768" y="252"/>
                  </a:lnTo>
                  <a:lnTo>
                    <a:pt x="766" y="256"/>
                  </a:lnTo>
                  <a:lnTo>
                    <a:pt x="764" y="256"/>
                  </a:lnTo>
                  <a:lnTo>
                    <a:pt x="758" y="258"/>
                  </a:lnTo>
                  <a:lnTo>
                    <a:pt x="752" y="258"/>
                  </a:lnTo>
                  <a:lnTo>
                    <a:pt x="750" y="256"/>
                  </a:lnTo>
                  <a:lnTo>
                    <a:pt x="746" y="256"/>
                  </a:lnTo>
                  <a:lnTo>
                    <a:pt x="744" y="256"/>
                  </a:lnTo>
                  <a:lnTo>
                    <a:pt x="746" y="258"/>
                  </a:lnTo>
                  <a:lnTo>
                    <a:pt x="746" y="270"/>
                  </a:lnTo>
                  <a:lnTo>
                    <a:pt x="746" y="274"/>
                  </a:lnTo>
                  <a:lnTo>
                    <a:pt x="744" y="274"/>
                  </a:lnTo>
                  <a:lnTo>
                    <a:pt x="742" y="276"/>
                  </a:lnTo>
                  <a:lnTo>
                    <a:pt x="742" y="278"/>
                  </a:lnTo>
                  <a:lnTo>
                    <a:pt x="742" y="284"/>
                  </a:lnTo>
                  <a:lnTo>
                    <a:pt x="742" y="286"/>
                  </a:lnTo>
                  <a:lnTo>
                    <a:pt x="744" y="288"/>
                  </a:lnTo>
                  <a:lnTo>
                    <a:pt x="746" y="296"/>
                  </a:lnTo>
                  <a:lnTo>
                    <a:pt x="746" y="298"/>
                  </a:lnTo>
                  <a:lnTo>
                    <a:pt x="744" y="300"/>
                  </a:lnTo>
                  <a:lnTo>
                    <a:pt x="742" y="304"/>
                  </a:lnTo>
                  <a:lnTo>
                    <a:pt x="740" y="312"/>
                  </a:lnTo>
                  <a:lnTo>
                    <a:pt x="738" y="322"/>
                  </a:lnTo>
                  <a:lnTo>
                    <a:pt x="734" y="326"/>
                  </a:lnTo>
                  <a:lnTo>
                    <a:pt x="734" y="330"/>
                  </a:lnTo>
                  <a:lnTo>
                    <a:pt x="732" y="338"/>
                  </a:lnTo>
                  <a:lnTo>
                    <a:pt x="730" y="342"/>
                  </a:lnTo>
                  <a:lnTo>
                    <a:pt x="730" y="348"/>
                  </a:lnTo>
                  <a:lnTo>
                    <a:pt x="728" y="352"/>
                  </a:lnTo>
                  <a:lnTo>
                    <a:pt x="726" y="354"/>
                  </a:lnTo>
                  <a:lnTo>
                    <a:pt x="724" y="356"/>
                  </a:lnTo>
                  <a:lnTo>
                    <a:pt x="724" y="360"/>
                  </a:lnTo>
                  <a:lnTo>
                    <a:pt x="730" y="392"/>
                  </a:lnTo>
                  <a:lnTo>
                    <a:pt x="730" y="402"/>
                  </a:lnTo>
                  <a:lnTo>
                    <a:pt x="730" y="404"/>
                  </a:lnTo>
                  <a:lnTo>
                    <a:pt x="728" y="418"/>
                  </a:lnTo>
                  <a:lnTo>
                    <a:pt x="730" y="424"/>
                  </a:lnTo>
                  <a:lnTo>
                    <a:pt x="730" y="426"/>
                  </a:lnTo>
                  <a:lnTo>
                    <a:pt x="726" y="432"/>
                  </a:lnTo>
                  <a:lnTo>
                    <a:pt x="726" y="434"/>
                  </a:lnTo>
                  <a:lnTo>
                    <a:pt x="726" y="436"/>
                  </a:lnTo>
                  <a:lnTo>
                    <a:pt x="726" y="438"/>
                  </a:lnTo>
                  <a:lnTo>
                    <a:pt x="724" y="442"/>
                  </a:lnTo>
                  <a:lnTo>
                    <a:pt x="720" y="448"/>
                  </a:lnTo>
                  <a:lnTo>
                    <a:pt x="716" y="466"/>
                  </a:lnTo>
                  <a:lnTo>
                    <a:pt x="716" y="468"/>
                  </a:lnTo>
                  <a:lnTo>
                    <a:pt x="716" y="470"/>
                  </a:lnTo>
                  <a:lnTo>
                    <a:pt x="714" y="470"/>
                  </a:lnTo>
                  <a:lnTo>
                    <a:pt x="714" y="472"/>
                  </a:lnTo>
                  <a:lnTo>
                    <a:pt x="716" y="474"/>
                  </a:lnTo>
                  <a:lnTo>
                    <a:pt x="716" y="484"/>
                  </a:lnTo>
                  <a:lnTo>
                    <a:pt x="714" y="484"/>
                  </a:lnTo>
                  <a:lnTo>
                    <a:pt x="712" y="484"/>
                  </a:lnTo>
                  <a:lnTo>
                    <a:pt x="712" y="482"/>
                  </a:lnTo>
                  <a:lnTo>
                    <a:pt x="710" y="484"/>
                  </a:lnTo>
                  <a:lnTo>
                    <a:pt x="708" y="482"/>
                  </a:lnTo>
                  <a:lnTo>
                    <a:pt x="706" y="484"/>
                  </a:lnTo>
                  <a:lnTo>
                    <a:pt x="694" y="486"/>
                  </a:lnTo>
                  <a:lnTo>
                    <a:pt x="694" y="488"/>
                  </a:lnTo>
                  <a:lnTo>
                    <a:pt x="692" y="490"/>
                  </a:lnTo>
                  <a:lnTo>
                    <a:pt x="690" y="490"/>
                  </a:lnTo>
                  <a:lnTo>
                    <a:pt x="678" y="512"/>
                  </a:lnTo>
                  <a:lnTo>
                    <a:pt x="674" y="522"/>
                  </a:lnTo>
                  <a:lnTo>
                    <a:pt x="674" y="524"/>
                  </a:lnTo>
                  <a:lnTo>
                    <a:pt x="674" y="526"/>
                  </a:lnTo>
                  <a:lnTo>
                    <a:pt x="672" y="526"/>
                  </a:lnTo>
                  <a:lnTo>
                    <a:pt x="670" y="528"/>
                  </a:lnTo>
                  <a:lnTo>
                    <a:pt x="668" y="528"/>
                  </a:lnTo>
                  <a:lnTo>
                    <a:pt x="666" y="530"/>
                  </a:lnTo>
                  <a:lnTo>
                    <a:pt x="666" y="532"/>
                  </a:lnTo>
                  <a:lnTo>
                    <a:pt x="664" y="534"/>
                  </a:lnTo>
                  <a:lnTo>
                    <a:pt x="664" y="536"/>
                  </a:lnTo>
                  <a:lnTo>
                    <a:pt x="664" y="540"/>
                  </a:lnTo>
                  <a:lnTo>
                    <a:pt x="666" y="542"/>
                  </a:lnTo>
                  <a:lnTo>
                    <a:pt x="666" y="544"/>
                  </a:lnTo>
                  <a:lnTo>
                    <a:pt x="666" y="546"/>
                  </a:lnTo>
                  <a:lnTo>
                    <a:pt x="662" y="556"/>
                  </a:lnTo>
                  <a:lnTo>
                    <a:pt x="660" y="558"/>
                  </a:lnTo>
                  <a:lnTo>
                    <a:pt x="660" y="560"/>
                  </a:lnTo>
                  <a:lnTo>
                    <a:pt x="660" y="562"/>
                  </a:lnTo>
                  <a:lnTo>
                    <a:pt x="662" y="564"/>
                  </a:lnTo>
                  <a:lnTo>
                    <a:pt x="662" y="566"/>
                  </a:lnTo>
                  <a:lnTo>
                    <a:pt x="662" y="568"/>
                  </a:lnTo>
                  <a:lnTo>
                    <a:pt x="658" y="576"/>
                  </a:lnTo>
                  <a:lnTo>
                    <a:pt x="662" y="578"/>
                  </a:lnTo>
                  <a:lnTo>
                    <a:pt x="662" y="580"/>
                  </a:lnTo>
                  <a:lnTo>
                    <a:pt x="656" y="588"/>
                  </a:lnTo>
                  <a:lnTo>
                    <a:pt x="654" y="588"/>
                  </a:lnTo>
                  <a:lnTo>
                    <a:pt x="652" y="588"/>
                  </a:lnTo>
                  <a:lnTo>
                    <a:pt x="648" y="584"/>
                  </a:lnTo>
                  <a:lnTo>
                    <a:pt x="646" y="582"/>
                  </a:lnTo>
                  <a:lnTo>
                    <a:pt x="642" y="580"/>
                  </a:lnTo>
                  <a:lnTo>
                    <a:pt x="634" y="586"/>
                  </a:lnTo>
                  <a:lnTo>
                    <a:pt x="630" y="594"/>
                  </a:lnTo>
                  <a:lnTo>
                    <a:pt x="628" y="596"/>
                  </a:lnTo>
                  <a:lnTo>
                    <a:pt x="628" y="598"/>
                  </a:lnTo>
                  <a:lnTo>
                    <a:pt x="630" y="608"/>
                  </a:lnTo>
                  <a:lnTo>
                    <a:pt x="630" y="612"/>
                  </a:lnTo>
                  <a:lnTo>
                    <a:pt x="632" y="614"/>
                  </a:lnTo>
                  <a:lnTo>
                    <a:pt x="630" y="620"/>
                  </a:lnTo>
                  <a:lnTo>
                    <a:pt x="626" y="626"/>
                  </a:lnTo>
                  <a:lnTo>
                    <a:pt x="624" y="628"/>
                  </a:lnTo>
                  <a:lnTo>
                    <a:pt x="624" y="632"/>
                  </a:lnTo>
                  <a:lnTo>
                    <a:pt x="622" y="640"/>
                  </a:lnTo>
                  <a:lnTo>
                    <a:pt x="620" y="650"/>
                  </a:lnTo>
                  <a:lnTo>
                    <a:pt x="620" y="654"/>
                  </a:lnTo>
                  <a:lnTo>
                    <a:pt x="620" y="656"/>
                  </a:lnTo>
                  <a:lnTo>
                    <a:pt x="620" y="658"/>
                  </a:lnTo>
                  <a:lnTo>
                    <a:pt x="622" y="680"/>
                  </a:lnTo>
                  <a:lnTo>
                    <a:pt x="622" y="688"/>
                  </a:lnTo>
                  <a:lnTo>
                    <a:pt x="622" y="698"/>
                  </a:lnTo>
                  <a:lnTo>
                    <a:pt x="622" y="700"/>
                  </a:lnTo>
                  <a:lnTo>
                    <a:pt x="622" y="702"/>
                  </a:lnTo>
                  <a:lnTo>
                    <a:pt x="620" y="704"/>
                  </a:lnTo>
                  <a:lnTo>
                    <a:pt x="616" y="708"/>
                  </a:lnTo>
                  <a:lnTo>
                    <a:pt x="614" y="708"/>
                  </a:lnTo>
                  <a:lnTo>
                    <a:pt x="612" y="708"/>
                  </a:lnTo>
                  <a:lnTo>
                    <a:pt x="610" y="708"/>
                  </a:lnTo>
                  <a:lnTo>
                    <a:pt x="608" y="710"/>
                  </a:lnTo>
                  <a:lnTo>
                    <a:pt x="606" y="710"/>
                  </a:lnTo>
                  <a:lnTo>
                    <a:pt x="604" y="712"/>
                  </a:lnTo>
                  <a:lnTo>
                    <a:pt x="602" y="712"/>
                  </a:lnTo>
                  <a:lnTo>
                    <a:pt x="600" y="710"/>
                  </a:lnTo>
                  <a:lnTo>
                    <a:pt x="600" y="708"/>
                  </a:lnTo>
                  <a:lnTo>
                    <a:pt x="598" y="708"/>
                  </a:lnTo>
                  <a:lnTo>
                    <a:pt x="592" y="708"/>
                  </a:lnTo>
                  <a:lnTo>
                    <a:pt x="586" y="708"/>
                  </a:lnTo>
                  <a:lnTo>
                    <a:pt x="582" y="708"/>
                  </a:lnTo>
                  <a:lnTo>
                    <a:pt x="578" y="708"/>
                  </a:lnTo>
                  <a:lnTo>
                    <a:pt x="574" y="710"/>
                  </a:lnTo>
                  <a:lnTo>
                    <a:pt x="574" y="714"/>
                  </a:lnTo>
                  <a:lnTo>
                    <a:pt x="574" y="718"/>
                  </a:lnTo>
                  <a:lnTo>
                    <a:pt x="576" y="720"/>
                  </a:lnTo>
                  <a:lnTo>
                    <a:pt x="576" y="724"/>
                  </a:lnTo>
                  <a:lnTo>
                    <a:pt x="574" y="726"/>
                  </a:lnTo>
                  <a:lnTo>
                    <a:pt x="572" y="726"/>
                  </a:lnTo>
                  <a:lnTo>
                    <a:pt x="568" y="732"/>
                  </a:lnTo>
                  <a:lnTo>
                    <a:pt x="566" y="736"/>
                  </a:lnTo>
                  <a:lnTo>
                    <a:pt x="566" y="738"/>
                  </a:lnTo>
                  <a:lnTo>
                    <a:pt x="568" y="740"/>
                  </a:lnTo>
                  <a:lnTo>
                    <a:pt x="570" y="742"/>
                  </a:lnTo>
                  <a:lnTo>
                    <a:pt x="572" y="742"/>
                  </a:lnTo>
                  <a:lnTo>
                    <a:pt x="580" y="744"/>
                  </a:lnTo>
                  <a:lnTo>
                    <a:pt x="590" y="744"/>
                  </a:lnTo>
                  <a:lnTo>
                    <a:pt x="600" y="748"/>
                  </a:lnTo>
                  <a:lnTo>
                    <a:pt x="602" y="748"/>
                  </a:lnTo>
                  <a:lnTo>
                    <a:pt x="612" y="754"/>
                  </a:lnTo>
                  <a:lnTo>
                    <a:pt x="620" y="762"/>
                  </a:lnTo>
                  <a:lnTo>
                    <a:pt x="620" y="766"/>
                  </a:lnTo>
                  <a:lnTo>
                    <a:pt x="620" y="768"/>
                  </a:lnTo>
                  <a:lnTo>
                    <a:pt x="620" y="770"/>
                  </a:lnTo>
                  <a:lnTo>
                    <a:pt x="624" y="772"/>
                  </a:lnTo>
                  <a:lnTo>
                    <a:pt x="626" y="774"/>
                  </a:lnTo>
                  <a:lnTo>
                    <a:pt x="628" y="778"/>
                  </a:lnTo>
                  <a:lnTo>
                    <a:pt x="630" y="780"/>
                  </a:lnTo>
                  <a:lnTo>
                    <a:pt x="632" y="784"/>
                  </a:lnTo>
                  <a:lnTo>
                    <a:pt x="634" y="784"/>
                  </a:lnTo>
                  <a:lnTo>
                    <a:pt x="636" y="784"/>
                  </a:lnTo>
                  <a:lnTo>
                    <a:pt x="640" y="784"/>
                  </a:lnTo>
                  <a:lnTo>
                    <a:pt x="644" y="786"/>
                  </a:lnTo>
                  <a:lnTo>
                    <a:pt x="644" y="788"/>
                  </a:lnTo>
                  <a:lnTo>
                    <a:pt x="646" y="794"/>
                  </a:lnTo>
                  <a:lnTo>
                    <a:pt x="650" y="794"/>
                  </a:lnTo>
                  <a:lnTo>
                    <a:pt x="652" y="794"/>
                  </a:lnTo>
                  <a:lnTo>
                    <a:pt x="652" y="796"/>
                  </a:lnTo>
                  <a:lnTo>
                    <a:pt x="654" y="796"/>
                  </a:lnTo>
                  <a:lnTo>
                    <a:pt x="654" y="798"/>
                  </a:lnTo>
                  <a:lnTo>
                    <a:pt x="658" y="802"/>
                  </a:lnTo>
                  <a:lnTo>
                    <a:pt x="662" y="814"/>
                  </a:lnTo>
                  <a:lnTo>
                    <a:pt x="664" y="818"/>
                  </a:lnTo>
                  <a:lnTo>
                    <a:pt x="664" y="820"/>
                  </a:lnTo>
                  <a:lnTo>
                    <a:pt x="666" y="826"/>
                  </a:lnTo>
                  <a:lnTo>
                    <a:pt x="668" y="828"/>
                  </a:lnTo>
                  <a:lnTo>
                    <a:pt x="670" y="828"/>
                  </a:lnTo>
                  <a:lnTo>
                    <a:pt x="670" y="830"/>
                  </a:lnTo>
                  <a:lnTo>
                    <a:pt x="670" y="832"/>
                  </a:lnTo>
                  <a:lnTo>
                    <a:pt x="670" y="834"/>
                  </a:lnTo>
                  <a:lnTo>
                    <a:pt x="670" y="838"/>
                  </a:lnTo>
                  <a:lnTo>
                    <a:pt x="672" y="842"/>
                  </a:lnTo>
                  <a:lnTo>
                    <a:pt x="676" y="848"/>
                  </a:lnTo>
                  <a:lnTo>
                    <a:pt x="676" y="852"/>
                  </a:lnTo>
                  <a:lnTo>
                    <a:pt x="686" y="858"/>
                  </a:lnTo>
                  <a:lnTo>
                    <a:pt x="686" y="860"/>
                  </a:lnTo>
                  <a:lnTo>
                    <a:pt x="688" y="864"/>
                  </a:lnTo>
                  <a:lnTo>
                    <a:pt x="688" y="866"/>
                  </a:lnTo>
                  <a:lnTo>
                    <a:pt x="690" y="866"/>
                  </a:lnTo>
                  <a:lnTo>
                    <a:pt x="694" y="862"/>
                  </a:lnTo>
                  <a:lnTo>
                    <a:pt x="698" y="860"/>
                  </a:lnTo>
                  <a:lnTo>
                    <a:pt x="698" y="862"/>
                  </a:lnTo>
                  <a:lnTo>
                    <a:pt x="708" y="864"/>
                  </a:lnTo>
                  <a:lnTo>
                    <a:pt x="710" y="866"/>
                  </a:lnTo>
                  <a:lnTo>
                    <a:pt x="712" y="866"/>
                  </a:lnTo>
                  <a:lnTo>
                    <a:pt x="714" y="86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0" name="Freeform 1405"/>
            <p:cNvSpPr>
              <a:spLocks/>
            </p:cNvSpPr>
            <p:nvPr/>
          </p:nvSpPr>
          <p:spPr bwMode="auto">
            <a:xfrm>
              <a:off x="7089324" y="3149578"/>
              <a:ext cx="638059" cy="928314"/>
            </a:xfrm>
            <a:custGeom>
              <a:avLst/>
              <a:gdLst/>
              <a:ahLst/>
              <a:cxnLst>
                <a:cxn ang="0">
                  <a:pos x="70" y="432"/>
                </a:cxn>
                <a:cxn ang="0">
                  <a:pos x="98" y="424"/>
                </a:cxn>
                <a:cxn ang="0">
                  <a:pos x="110" y="406"/>
                </a:cxn>
                <a:cxn ang="0">
                  <a:pos x="140" y="394"/>
                </a:cxn>
                <a:cxn ang="0">
                  <a:pos x="162" y="390"/>
                </a:cxn>
                <a:cxn ang="0">
                  <a:pos x="220" y="366"/>
                </a:cxn>
                <a:cxn ang="0">
                  <a:pos x="326" y="244"/>
                </a:cxn>
                <a:cxn ang="0">
                  <a:pos x="326" y="222"/>
                </a:cxn>
                <a:cxn ang="0">
                  <a:pos x="224" y="202"/>
                </a:cxn>
                <a:cxn ang="0">
                  <a:pos x="118" y="160"/>
                </a:cxn>
                <a:cxn ang="0">
                  <a:pos x="102" y="144"/>
                </a:cxn>
                <a:cxn ang="0">
                  <a:pos x="90" y="130"/>
                </a:cxn>
                <a:cxn ang="0">
                  <a:pos x="78" y="118"/>
                </a:cxn>
                <a:cxn ang="0">
                  <a:pos x="72" y="100"/>
                </a:cxn>
                <a:cxn ang="0">
                  <a:pos x="88" y="66"/>
                </a:cxn>
                <a:cxn ang="0">
                  <a:pos x="106" y="56"/>
                </a:cxn>
                <a:cxn ang="0">
                  <a:pos x="132" y="88"/>
                </a:cxn>
                <a:cxn ang="0">
                  <a:pos x="166" y="102"/>
                </a:cxn>
                <a:cxn ang="0">
                  <a:pos x="180" y="100"/>
                </a:cxn>
                <a:cxn ang="0">
                  <a:pos x="204" y="86"/>
                </a:cxn>
                <a:cxn ang="0">
                  <a:pos x="228" y="76"/>
                </a:cxn>
                <a:cxn ang="0">
                  <a:pos x="250" y="78"/>
                </a:cxn>
                <a:cxn ang="0">
                  <a:pos x="288" y="66"/>
                </a:cxn>
                <a:cxn ang="0">
                  <a:pos x="312" y="54"/>
                </a:cxn>
                <a:cxn ang="0">
                  <a:pos x="332" y="54"/>
                </a:cxn>
                <a:cxn ang="0">
                  <a:pos x="376" y="44"/>
                </a:cxn>
                <a:cxn ang="0">
                  <a:pos x="412" y="32"/>
                </a:cxn>
                <a:cxn ang="0">
                  <a:pos x="454" y="16"/>
                </a:cxn>
                <a:cxn ang="0">
                  <a:pos x="470" y="0"/>
                </a:cxn>
                <a:cxn ang="0">
                  <a:pos x="488" y="34"/>
                </a:cxn>
                <a:cxn ang="0">
                  <a:pos x="492" y="50"/>
                </a:cxn>
                <a:cxn ang="0">
                  <a:pos x="496" y="80"/>
                </a:cxn>
                <a:cxn ang="0">
                  <a:pos x="502" y="82"/>
                </a:cxn>
                <a:cxn ang="0">
                  <a:pos x="484" y="88"/>
                </a:cxn>
                <a:cxn ang="0">
                  <a:pos x="484" y="136"/>
                </a:cxn>
                <a:cxn ang="0">
                  <a:pos x="476" y="154"/>
                </a:cxn>
                <a:cxn ang="0">
                  <a:pos x="462" y="184"/>
                </a:cxn>
                <a:cxn ang="0">
                  <a:pos x="454" y="204"/>
                </a:cxn>
                <a:cxn ang="0">
                  <a:pos x="438" y="218"/>
                </a:cxn>
                <a:cxn ang="0">
                  <a:pos x="432" y="248"/>
                </a:cxn>
                <a:cxn ang="0">
                  <a:pos x="414" y="280"/>
                </a:cxn>
                <a:cxn ang="0">
                  <a:pos x="406" y="312"/>
                </a:cxn>
                <a:cxn ang="0">
                  <a:pos x="372" y="372"/>
                </a:cxn>
                <a:cxn ang="0">
                  <a:pos x="360" y="394"/>
                </a:cxn>
                <a:cxn ang="0">
                  <a:pos x="334" y="432"/>
                </a:cxn>
                <a:cxn ang="0">
                  <a:pos x="312" y="460"/>
                </a:cxn>
                <a:cxn ang="0">
                  <a:pos x="274" y="500"/>
                </a:cxn>
                <a:cxn ang="0">
                  <a:pos x="240" y="532"/>
                </a:cxn>
                <a:cxn ang="0">
                  <a:pos x="210" y="550"/>
                </a:cxn>
                <a:cxn ang="0">
                  <a:pos x="162" y="590"/>
                </a:cxn>
                <a:cxn ang="0">
                  <a:pos x="130" y="620"/>
                </a:cxn>
                <a:cxn ang="0">
                  <a:pos x="96" y="658"/>
                </a:cxn>
                <a:cxn ang="0">
                  <a:pos x="76" y="680"/>
                </a:cxn>
                <a:cxn ang="0">
                  <a:pos x="40" y="734"/>
                </a:cxn>
                <a:cxn ang="0">
                  <a:pos x="2" y="656"/>
                </a:cxn>
                <a:cxn ang="0">
                  <a:pos x="44" y="446"/>
                </a:cxn>
              </a:cxnLst>
              <a:rect l="0" t="0" r="r" b="b"/>
              <a:pathLst>
                <a:path w="510" h="742">
                  <a:moveTo>
                    <a:pt x="54" y="434"/>
                  </a:moveTo>
                  <a:lnTo>
                    <a:pt x="56" y="434"/>
                  </a:lnTo>
                  <a:lnTo>
                    <a:pt x="58" y="434"/>
                  </a:lnTo>
                  <a:lnTo>
                    <a:pt x="60" y="432"/>
                  </a:lnTo>
                  <a:lnTo>
                    <a:pt x="62" y="432"/>
                  </a:lnTo>
                  <a:lnTo>
                    <a:pt x="64" y="432"/>
                  </a:lnTo>
                  <a:lnTo>
                    <a:pt x="68" y="432"/>
                  </a:lnTo>
                  <a:lnTo>
                    <a:pt x="70" y="432"/>
                  </a:lnTo>
                  <a:lnTo>
                    <a:pt x="76" y="432"/>
                  </a:lnTo>
                  <a:lnTo>
                    <a:pt x="82" y="430"/>
                  </a:lnTo>
                  <a:lnTo>
                    <a:pt x="84" y="430"/>
                  </a:lnTo>
                  <a:lnTo>
                    <a:pt x="88" y="430"/>
                  </a:lnTo>
                  <a:lnTo>
                    <a:pt x="88" y="428"/>
                  </a:lnTo>
                  <a:lnTo>
                    <a:pt x="92" y="428"/>
                  </a:lnTo>
                  <a:lnTo>
                    <a:pt x="94" y="426"/>
                  </a:lnTo>
                  <a:lnTo>
                    <a:pt x="98" y="424"/>
                  </a:lnTo>
                  <a:lnTo>
                    <a:pt x="98" y="422"/>
                  </a:lnTo>
                  <a:lnTo>
                    <a:pt x="98" y="420"/>
                  </a:lnTo>
                  <a:lnTo>
                    <a:pt x="98" y="418"/>
                  </a:lnTo>
                  <a:lnTo>
                    <a:pt x="98" y="416"/>
                  </a:lnTo>
                  <a:lnTo>
                    <a:pt x="100" y="416"/>
                  </a:lnTo>
                  <a:lnTo>
                    <a:pt x="104" y="410"/>
                  </a:lnTo>
                  <a:lnTo>
                    <a:pt x="108" y="408"/>
                  </a:lnTo>
                  <a:lnTo>
                    <a:pt x="110" y="406"/>
                  </a:lnTo>
                  <a:lnTo>
                    <a:pt x="116" y="402"/>
                  </a:lnTo>
                  <a:lnTo>
                    <a:pt x="118" y="402"/>
                  </a:lnTo>
                  <a:lnTo>
                    <a:pt x="124" y="400"/>
                  </a:lnTo>
                  <a:lnTo>
                    <a:pt x="130" y="398"/>
                  </a:lnTo>
                  <a:lnTo>
                    <a:pt x="130" y="396"/>
                  </a:lnTo>
                  <a:lnTo>
                    <a:pt x="134" y="394"/>
                  </a:lnTo>
                  <a:lnTo>
                    <a:pt x="138" y="394"/>
                  </a:lnTo>
                  <a:lnTo>
                    <a:pt x="140" y="394"/>
                  </a:lnTo>
                  <a:lnTo>
                    <a:pt x="142" y="394"/>
                  </a:lnTo>
                  <a:lnTo>
                    <a:pt x="144" y="394"/>
                  </a:lnTo>
                  <a:lnTo>
                    <a:pt x="144" y="392"/>
                  </a:lnTo>
                  <a:lnTo>
                    <a:pt x="146" y="392"/>
                  </a:lnTo>
                  <a:lnTo>
                    <a:pt x="148" y="390"/>
                  </a:lnTo>
                  <a:lnTo>
                    <a:pt x="150" y="390"/>
                  </a:lnTo>
                  <a:lnTo>
                    <a:pt x="154" y="390"/>
                  </a:lnTo>
                  <a:lnTo>
                    <a:pt x="162" y="390"/>
                  </a:lnTo>
                  <a:lnTo>
                    <a:pt x="166" y="390"/>
                  </a:lnTo>
                  <a:lnTo>
                    <a:pt x="174" y="390"/>
                  </a:lnTo>
                  <a:lnTo>
                    <a:pt x="176" y="390"/>
                  </a:lnTo>
                  <a:lnTo>
                    <a:pt x="198" y="392"/>
                  </a:lnTo>
                  <a:lnTo>
                    <a:pt x="202" y="390"/>
                  </a:lnTo>
                  <a:lnTo>
                    <a:pt x="202" y="388"/>
                  </a:lnTo>
                  <a:lnTo>
                    <a:pt x="206" y="382"/>
                  </a:lnTo>
                  <a:lnTo>
                    <a:pt x="220" y="366"/>
                  </a:lnTo>
                  <a:lnTo>
                    <a:pt x="226" y="360"/>
                  </a:lnTo>
                  <a:lnTo>
                    <a:pt x="236" y="346"/>
                  </a:lnTo>
                  <a:lnTo>
                    <a:pt x="248" y="332"/>
                  </a:lnTo>
                  <a:lnTo>
                    <a:pt x="250" y="330"/>
                  </a:lnTo>
                  <a:lnTo>
                    <a:pt x="256" y="324"/>
                  </a:lnTo>
                  <a:lnTo>
                    <a:pt x="278" y="298"/>
                  </a:lnTo>
                  <a:lnTo>
                    <a:pt x="298" y="274"/>
                  </a:lnTo>
                  <a:lnTo>
                    <a:pt x="326" y="244"/>
                  </a:lnTo>
                  <a:lnTo>
                    <a:pt x="330" y="238"/>
                  </a:lnTo>
                  <a:lnTo>
                    <a:pt x="334" y="232"/>
                  </a:lnTo>
                  <a:lnTo>
                    <a:pt x="342" y="226"/>
                  </a:lnTo>
                  <a:lnTo>
                    <a:pt x="346" y="220"/>
                  </a:lnTo>
                  <a:lnTo>
                    <a:pt x="342" y="220"/>
                  </a:lnTo>
                  <a:lnTo>
                    <a:pt x="338" y="220"/>
                  </a:lnTo>
                  <a:lnTo>
                    <a:pt x="334" y="222"/>
                  </a:lnTo>
                  <a:lnTo>
                    <a:pt x="326" y="222"/>
                  </a:lnTo>
                  <a:lnTo>
                    <a:pt x="300" y="224"/>
                  </a:lnTo>
                  <a:lnTo>
                    <a:pt x="296" y="224"/>
                  </a:lnTo>
                  <a:lnTo>
                    <a:pt x="294" y="224"/>
                  </a:lnTo>
                  <a:lnTo>
                    <a:pt x="284" y="220"/>
                  </a:lnTo>
                  <a:lnTo>
                    <a:pt x="272" y="216"/>
                  </a:lnTo>
                  <a:lnTo>
                    <a:pt x="262" y="212"/>
                  </a:lnTo>
                  <a:lnTo>
                    <a:pt x="248" y="208"/>
                  </a:lnTo>
                  <a:lnTo>
                    <a:pt x="224" y="202"/>
                  </a:lnTo>
                  <a:lnTo>
                    <a:pt x="214" y="198"/>
                  </a:lnTo>
                  <a:lnTo>
                    <a:pt x="202" y="194"/>
                  </a:lnTo>
                  <a:lnTo>
                    <a:pt x="192" y="192"/>
                  </a:lnTo>
                  <a:lnTo>
                    <a:pt x="174" y="186"/>
                  </a:lnTo>
                  <a:lnTo>
                    <a:pt x="142" y="178"/>
                  </a:lnTo>
                  <a:lnTo>
                    <a:pt x="126" y="164"/>
                  </a:lnTo>
                  <a:lnTo>
                    <a:pt x="120" y="160"/>
                  </a:lnTo>
                  <a:lnTo>
                    <a:pt x="118" y="160"/>
                  </a:lnTo>
                  <a:lnTo>
                    <a:pt x="112" y="158"/>
                  </a:lnTo>
                  <a:lnTo>
                    <a:pt x="110" y="156"/>
                  </a:lnTo>
                  <a:lnTo>
                    <a:pt x="110" y="154"/>
                  </a:lnTo>
                  <a:lnTo>
                    <a:pt x="108" y="150"/>
                  </a:lnTo>
                  <a:lnTo>
                    <a:pt x="106" y="148"/>
                  </a:lnTo>
                  <a:lnTo>
                    <a:pt x="104" y="146"/>
                  </a:lnTo>
                  <a:lnTo>
                    <a:pt x="102" y="146"/>
                  </a:lnTo>
                  <a:lnTo>
                    <a:pt x="102" y="144"/>
                  </a:lnTo>
                  <a:lnTo>
                    <a:pt x="100" y="140"/>
                  </a:lnTo>
                  <a:lnTo>
                    <a:pt x="100" y="138"/>
                  </a:lnTo>
                  <a:lnTo>
                    <a:pt x="98" y="134"/>
                  </a:lnTo>
                  <a:lnTo>
                    <a:pt x="98" y="132"/>
                  </a:lnTo>
                  <a:lnTo>
                    <a:pt x="96" y="132"/>
                  </a:lnTo>
                  <a:lnTo>
                    <a:pt x="94" y="132"/>
                  </a:lnTo>
                  <a:lnTo>
                    <a:pt x="92" y="132"/>
                  </a:lnTo>
                  <a:lnTo>
                    <a:pt x="90" y="130"/>
                  </a:lnTo>
                  <a:lnTo>
                    <a:pt x="90" y="128"/>
                  </a:lnTo>
                  <a:lnTo>
                    <a:pt x="88" y="126"/>
                  </a:lnTo>
                  <a:lnTo>
                    <a:pt x="88" y="124"/>
                  </a:lnTo>
                  <a:lnTo>
                    <a:pt x="86" y="122"/>
                  </a:lnTo>
                  <a:lnTo>
                    <a:pt x="84" y="120"/>
                  </a:lnTo>
                  <a:lnTo>
                    <a:pt x="82" y="118"/>
                  </a:lnTo>
                  <a:lnTo>
                    <a:pt x="80" y="118"/>
                  </a:lnTo>
                  <a:lnTo>
                    <a:pt x="78" y="118"/>
                  </a:lnTo>
                  <a:lnTo>
                    <a:pt x="78" y="112"/>
                  </a:lnTo>
                  <a:lnTo>
                    <a:pt x="78" y="110"/>
                  </a:lnTo>
                  <a:lnTo>
                    <a:pt x="76" y="108"/>
                  </a:lnTo>
                  <a:lnTo>
                    <a:pt x="76" y="106"/>
                  </a:lnTo>
                  <a:lnTo>
                    <a:pt x="76" y="104"/>
                  </a:lnTo>
                  <a:lnTo>
                    <a:pt x="74" y="102"/>
                  </a:lnTo>
                  <a:lnTo>
                    <a:pt x="72" y="102"/>
                  </a:lnTo>
                  <a:lnTo>
                    <a:pt x="72" y="100"/>
                  </a:lnTo>
                  <a:lnTo>
                    <a:pt x="70" y="98"/>
                  </a:lnTo>
                  <a:lnTo>
                    <a:pt x="68" y="96"/>
                  </a:lnTo>
                  <a:lnTo>
                    <a:pt x="74" y="88"/>
                  </a:lnTo>
                  <a:lnTo>
                    <a:pt x="78" y="82"/>
                  </a:lnTo>
                  <a:lnTo>
                    <a:pt x="80" y="78"/>
                  </a:lnTo>
                  <a:lnTo>
                    <a:pt x="82" y="74"/>
                  </a:lnTo>
                  <a:lnTo>
                    <a:pt x="82" y="72"/>
                  </a:lnTo>
                  <a:lnTo>
                    <a:pt x="88" y="66"/>
                  </a:lnTo>
                  <a:lnTo>
                    <a:pt x="88" y="62"/>
                  </a:lnTo>
                  <a:lnTo>
                    <a:pt x="92" y="56"/>
                  </a:lnTo>
                  <a:lnTo>
                    <a:pt x="94" y="54"/>
                  </a:lnTo>
                  <a:lnTo>
                    <a:pt x="94" y="52"/>
                  </a:lnTo>
                  <a:lnTo>
                    <a:pt x="96" y="50"/>
                  </a:lnTo>
                  <a:lnTo>
                    <a:pt x="98" y="52"/>
                  </a:lnTo>
                  <a:lnTo>
                    <a:pt x="102" y="54"/>
                  </a:lnTo>
                  <a:lnTo>
                    <a:pt x="106" y="56"/>
                  </a:lnTo>
                  <a:lnTo>
                    <a:pt x="108" y="60"/>
                  </a:lnTo>
                  <a:lnTo>
                    <a:pt x="108" y="62"/>
                  </a:lnTo>
                  <a:lnTo>
                    <a:pt x="110" y="62"/>
                  </a:lnTo>
                  <a:lnTo>
                    <a:pt x="116" y="72"/>
                  </a:lnTo>
                  <a:lnTo>
                    <a:pt x="120" y="76"/>
                  </a:lnTo>
                  <a:lnTo>
                    <a:pt x="126" y="84"/>
                  </a:lnTo>
                  <a:lnTo>
                    <a:pt x="128" y="84"/>
                  </a:lnTo>
                  <a:lnTo>
                    <a:pt x="132" y="88"/>
                  </a:lnTo>
                  <a:lnTo>
                    <a:pt x="146" y="96"/>
                  </a:lnTo>
                  <a:lnTo>
                    <a:pt x="146" y="98"/>
                  </a:lnTo>
                  <a:lnTo>
                    <a:pt x="150" y="100"/>
                  </a:lnTo>
                  <a:lnTo>
                    <a:pt x="150" y="102"/>
                  </a:lnTo>
                  <a:lnTo>
                    <a:pt x="152" y="102"/>
                  </a:lnTo>
                  <a:lnTo>
                    <a:pt x="156" y="102"/>
                  </a:lnTo>
                  <a:lnTo>
                    <a:pt x="164" y="102"/>
                  </a:lnTo>
                  <a:lnTo>
                    <a:pt x="166" y="102"/>
                  </a:lnTo>
                  <a:lnTo>
                    <a:pt x="168" y="102"/>
                  </a:lnTo>
                  <a:lnTo>
                    <a:pt x="168" y="100"/>
                  </a:lnTo>
                  <a:lnTo>
                    <a:pt x="170" y="100"/>
                  </a:lnTo>
                  <a:lnTo>
                    <a:pt x="172" y="100"/>
                  </a:lnTo>
                  <a:lnTo>
                    <a:pt x="174" y="100"/>
                  </a:lnTo>
                  <a:lnTo>
                    <a:pt x="176" y="100"/>
                  </a:lnTo>
                  <a:lnTo>
                    <a:pt x="178" y="100"/>
                  </a:lnTo>
                  <a:lnTo>
                    <a:pt x="180" y="100"/>
                  </a:lnTo>
                  <a:lnTo>
                    <a:pt x="182" y="100"/>
                  </a:lnTo>
                  <a:lnTo>
                    <a:pt x="184" y="100"/>
                  </a:lnTo>
                  <a:lnTo>
                    <a:pt x="186" y="100"/>
                  </a:lnTo>
                  <a:lnTo>
                    <a:pt x="194" y="94"/>
                  </a:lnTo>
                  <a:lnTo>
                    <a:pt x="198" y="90"/>
                  </a:lnTo>
                  <a:lnTo>
                    <a:pt x="200" y="90"/>
                  </a:lnTo>
                  <a:lnTo>
                    <a:pt x="202" y="86"/>
                  </a:lnTo>
                  <a:lnTo>
                    <a:pt x="204" y="86"/>
                  </a:lnTo>
                  <a:lnTo>
                    <a:pt x="206" y="86"/>
                  </a:lnTo>
                  <a:lnTo>
                    <a:pt x="208" y="86"/>
                  </a:lnTo>
                  <a:lnTo>
                    <a:pt x="212" y="84"/>
                  </a:lnTo>
                  <a:lnTo>
                    <a:pt x="218" y="80"/>
                  </a:lnTo>
                  <a:lnTo>
                    <a:pt x="220" y="78"/>
                  </a:lnTo>
                  <a:lnTo>
                    <a:pt x="224" y="74"/>
                  </a:lnTo>
                  <a:lnTo>
                    <a:pt x="226" y="74"/>
                  </a:lnTo>
                  <a:lnTo>
                    <a:pt x="228" y="76"/>
                  </a:lnTo>
                  <a:lnTo>
                    <a:pt x="230" y="76"/>
                  </a:lnTo>
                  <a:lnTo>
                    <a:pt x="234" y="78"/>
                  </a:lnTo>
                  <a:lnTo>
                    <a:pt x="240" y="80"/>
                  </a:lnTo>
                  <a:lnTo>
                    <a:pt x="242" y="80"/>
                  </a:lnTo>
                  <a:lnTo>
                    <a:pt x="244" y="78"/>
                  </a:lnTo>
                  <a:lnTo>
                    <a:pt x="246" y="78"/>
                  </a:lnTo>
                  <a:lnTo>
                    <a:pt x="248" y="78"/>
                  </a:lnTo>
                  <a:lnTo>
                    <a:pt x="250" y="78"/>
                  </a:lnTo>
                  <a:lnTo>
                    <a:pt x="252" y="80"/>
                  </a:lnTo>
                  <a:lnTo>
                    <a:pt x="252" y="82"/>
                  </a:lnTo>
                  <a:lnTo>
                    <a:pt x="258" y="82"/>
                  </a:lnTo>
                  <a:lnTo>
                    <a:pt x="260" y="82"/>
                  </a:lnTo>
                  <a:lnTo>
                    <a:pt x="268" y="78"/>
                  </a:lnTo>
                  <a:lnTo>
                    <a:pt x="274" y="74"/>
                  </a:lnTo>
                  <a:lnTo>
                    <a:pt x="284" y="68"/>
                  </a:lnTo>
                  <a:lnTo>
                    <a:pt x="288" y="66"/>
                  </a:lnTo>
                  <a:lnTo>
                    <a:pt x="290" y="64"/>
                  </a:lnTo>
                  <a:lnTo>
                    <a:pt x="292" y="62"/>
                  </a:lnTo>
                  <a:lnTo>
                    <a:pt x="294" y="60"/>
                  </a:lnTo>
                  <a:lnTo>
                    <a:pt x="302" y="54"/>
                  </a:lnTo>
                  <a:lnTo>
                    <a:pt x="304" y="54"/>
                  </a:lnTo>
                  <a:lnTo>
                    <a:pt x="308" y="52"/>
                  </a:lnTo>
                  <a:lnTo>
                    <a:pt x="310" y="52"/>
                  </a:lnTo>
                  <a:lnTo>
                    <a:pt x="312" y="54"/>
                  </a:lnTo>
                  <a:lnTo>
                    <a:pt x="316" y="54"/>
                  </a:lnTo>
                  <a:lnTo>
                    <a:pt x="316" y="56"/>
                  </a:lnTo>
                  <a:lnTo>
                    <a:pt x="318" y="56"/>
                  </a:lnTo>
                  <a:lnTo>
                    <a:pt x="320" y="56"/>
                  </a:lnTo>
                  <a:lnTo>
                    <a:pt x="322" y="56"/>
                  </a:lnTo>
                  <a:lnTo>
                    <a:pt x="324" y="54"/>
                  </a:lnTo>
                  <a:lnTo>
                    <a:pt x="330" y="54"/>
                  </a:lnTo>
                  <a:lnTo>
                    <a:pt x="332" y="54"/>
                  </a:lnTo>
                  <a:lnTo>
                    <a:pt x="340" y="54"/>
                  </a:lnTo>
                  <a:lnTo>
                    <a:pt x="342" y="52"/>
                  </a:lnTo>
                  <a:lnTo>
                    <a:pt x="344" y="52"/>
                  </a:lnTo>
                  <a:lnTo>
                    <a:pt x="346" y="50"/>
                  </a:lnTo>
                  <a:lnTo>
                    <a:pt x="352" y="46"/>
                  </a:lnTo>
                  <a:lnTo>
                    <a:pt x="360" y="42"/>
                  </a:lnTo>
                  <a:lnTo>
                    <a:pt x="368" y="42"/>
                  </a:lnTo>
                  <a:lnTo>
                    <a:pt x="376" y="44"/>
                  </a:lnTo>
                  <a:lnTo>
                    <a:pt x="378" y="44"/>
                  </a:lnTo>
                  <a:lnTo>
                    <a:pt x="378" y="46"/>
                  </a:lnTo>
                  <a:lnTo>
                    <a:pt x="382" y="46"/>
                  </a:lnTo>
                  <a:lnTo>
                    <a:pt x="384" y="44"/>
                  </a:lnTo>
                  <a:lnTo>
                    <a:pt x="394" y="42"/>
                  </a:lnTo>
                  <a:lnTo>
                    <a:pt x="404" y="38"/>
                  </a:lnTo>
                  <a:lnTo>
                    <a:pt x="410" y="36"/>
                  </a:lnTo>
                  <a:lnTo>
                    <a:pt x="412" y="32"/>
                  </a:lnTo>
                  <a:lnTo>
                    <a:pt x="418" y="30"/>
                  </a:lnTo>
                  <a:lnTo>
                    <a:pt x="420" y="30"/>
                  </a:lnTo>
                  <a:lnTo>
                    <a:pt x="422" y="30"/>
                  </a:lnTo>
                  <a:lnTo>
                    <a:pt x="424" y="30"/>
                  </a:lnTo>
                  <a:lnTo>
                    <a:pt x="436" y="28"/>
                  </a:lnTo>
                  <a:lnTo>
                    <a:pt x="438" y="28"/>
                  </a:lnTo>
                  <a:lnTo>
                    <a:pt x="448" y="22"/>
                  </a:lnTo>
                  <a:lnTo>
                    <a:pt x="454" y="16"/>
                  </a:lnTo>
                  <a:lnTo>
                    <a:pt x="458" y="14"/>
                  </a:lnTo>
                  <a:lnTo>
                    <a:pt x="458" y="12"/>
                  </a:lnTo>
                  <a:lnTo>
                    <a:pt x="458" y="10"/>
                  </a:lnTo>
                  <a:lnTo>
                    <a:pt x="458" y="8"/>
                  </a:lnTo>
                  <a:lnTo>
                    <a:pt x="458" y="6"/>
                  </a:lnTo>
                  <a:lnTo>
                    <a:pt x="460" y="4"/>
                  </a:lnTo>
                  <a:lnTo>
                    <a:pt x="464" y="2"/>
                  </a:lnTo>
                  <a:lnTo>
                    <a:pt x="470" y="0"/>
                  </a:lnTo>
                  <a:lnTo>
                    <a:pt x="478" y="0"/>
                  </a:lnTo>
                  <a:lnTo>
                    <a:pt x="490" y="4"/>
                  </a:lnTo>
                  <a:lnTo>
                    <a:pt x="496" y="6"/>
                  </a:lnTo>
                  <a:lnTo>
                    <a:pt x="494" y="14"/>
                  </a:lnTo>
                  <a:lnTo>
                    <a:pt x="492" y="18"/>
                  </a:lnTo>
                  <a:lnTo>
                    <a:pt x="492" y="20"/>
                  </a:lnTo>
                  <a:lnTo>
                    <a:pt x="490" y="24"/>
                  </a:lnTo>
                  <a:lnTo>
                    <a:pt x="488" y="34"/>
                  </a:lnTo>
                  <a:lnTo>
                    <a:pt x="488" y="40"/>
                  </a:lnTo>
                  <a:lnTo>
                    <a:pt x="490" y="40"/>
                  </a:lnTo>
                  <a:lnTo>
                    <a:pt x="490" y="42"/>
                  </a:lnTo>
                  <a:lnTo>
                    <a:pt x="494" y="42"/>
                  </a:lnTo>
                  <a:lnTo>
                    <a:pt x="494" y="44"/>
                  </a:lnTo>
                  <a:lnTo>
                    <a:pt x="492" y="46"/>
                  </a:lnTo>
                  <a:lnTo>
                    <a:pt x="492" y="48"/>
                  </a:lnTo>
                  <a:lnTo>
                    <a:pt x="492" y="50"/>
                  </a:lnTo>
                  <a:lnTo>
                    <a:pt x="492" y="52"/>
                  </a:lnTo>
                  <a:lnTo>
                    <a:pt x="494" y="64"/>
                  </a:lnTo>
                  <a:lnTo>
                    <a:pt x="494" y="70"/>
                  </a:lnTo>
                  <a:lnTo>
                    <a:pt x="494" y="78"/>
                  </a:lnTo>
                  <a:lnTo>
                    <a:pt x="492" y="78"/>
                  </a:lnTo>
                  <a:lnTo>
                    <a:pt x="490" y="80"/>
                  </a:lnTo>
                  <a:lnTo>
                    <a:pt x="490" y="82"/>
                  </a:lnTo>
                  <a:lnTo>
                    <a:pt x="496" y="80"/>
                  </a:lnTo>
                  <a:lnTo>
                    <a:pt x="498" y="78"/>
                  </a:lnTo>
                  <a:lnTo>
                    <a:pt x="498" y="74"/>
                  </a:lnTo>
                  <a:lnTo>
                    <a:pt x="508" y="78"/>
                  </a:lnTo>
                  <a:lnTo>
                    <a:pt x="510" y="80"/>
                  </a:lnTo>
                  <a:lnTo>
                    <a:pt x="508" y="82"/>
                  </a:lnTo>
                  <a:lnTo>
                    <a:pt x="508" y="84"/>
                  </a:lnTo>
                  <a:lnTo>
                    <a:pt x="502" y="84"/>
                  </a:lnTo>
                  <a:lnTo>
                    <a:pt x="502" y="82"/>
                  </a:lnTo>
                  <a:lnTo>
                    <a:pt x="500" y="82"/>
                  </a:lnTo>
                  <a:lnTo>
                    <a:pt x="496" y="82"/>
                  </a:lnTo>
                  <a:lnTo>
                    <a:pt x="494" y="82"/>
                  </a:lnTo>
                  <a:lnTo>
                    <a:pt x="492" y="84"/>
                  </a:lnTo>
                  <a:lnTo>
                    <a:pt x="490" y="84"/>
                  </a:lnTo>
                  <a:lnTo>
                    <a:pt x="486" y="86"/>
                  </a:lnTo>
                  <a:lnTo>
                    <a:pt x="484" y="86"/>
                  </a:lnTo>
                  <a:lnTo>
                    <a:pt x="484" y="88"/>
                  </a:lnTo>
                  <a:lnTo>
                    <a:pt x="484" y="96"/>
                  </a:lnTo>
                  <a:lnTo>
                    <a:pt x="486" y="104"/>
                  </a:lnTo>
                  <a:lnTo>
                    <a:pt x="482" y="126"/>
                  </a:lnTo>
                  <a:lnTo>
                    <a:pt x="482" y="128"/>
                  </a:lnTo>
                  <a:lnTo>
                    <a:pt x="482" y="130"/>
                  </a:lnTo>
                  <a:lnTo>
                    <a:pt x="482" y="132"/>
                  </a:lnTo>
                  <a:lnTo>
                    <a:pt x="484" y="134"/>
                  </a:lnTo>
                  <a:lnTo>
                    <a:pt x="484" y="136"/>
                  </a:lnTo>
                  <a:lnTo>
                    <a:pt x="484" y="138"/>
                  </a:lnTo>
                  <a:lnTo>
                    <a:pt x="480" y="142"/>
                  </a:lnTo>
                  <a:lnTo>
                    <a:pt x="480" y="144"/>
                  </a:lnTo>
                  <a:lnTo>
                    <a:pt x="478" y="144"/>
                  </a:lnTo>
                  <a:lnTo>
                    <a:pt x="476" y="148"/>
                  </a:lnTo>
                  <a:lnTo>
                    <a:pt x="476" y="150"/>
                  </a:lnTo>
                  <a:lnTo>
                    <a:pt x="476" y="152"/>
                  </a:lnTo>
                  <a:lnTo>
                    <a:pt x="476" y="154"/>
                  </a:lnTo>
                  <a:lnTo>
                    <a:pt x="476" y="156"/>
                  </a:lnTo>
                  <a:lnTo>
                    <a:pt x="472" y="160"/>
                  </a:lnTo>
                  <a:lnTo>
                    <a:pt x="470" y="160"/>
                  </a:lnTo>
                  <a:lnTo>
                    <a:pt x="470" y="162"/>
                  </a:lnTo>
                  <a:lnTo>
                    <a:pt x="468" y="162"/>
                  </a:lnTo>
                  <a:lnTo>
                    <a:pt x="466" y="168"/>
                  </a:lnTo>
                  <a:lnTo>
                    <a:pt x="462" y="182"/>
                  </a:lnTo>
                  <a:lnTo>
                    <a:pt x="462" y="184"/>
                  </a:lnTo>
                  <a:lnTo>
                    <a:pt x="462" y="186"/>
                  </a:lnTo>
                  <a:lnTo>
                    <a:pt x="460" y="188"/>
                  </a:lnTo>
                  <a:lnTo>
                    <a:pt x="458" y="190"/>
                  </a:lnTo>
                  <a:lnTo>
                    <a:pt x="456" y="194"/>
                  </a:lnTo>
                  <a:lnTo>
                    <a:pt x="456" y="196"/>
                  </a:lnTo>
                  <a:lnTo>
                    <a:pt x="454" y="198"/>
                  </a:lnTo>
                  <a:lnTo>
                    <a:pt x="454" y="200"/>
                  </a:lnTo>
                  <a:lnTo>
                    <a:pt x="454" y="204"/>
                  </a:lnTo>
                  <a:lnTo>
                    <a:pt x="452" y="204"/>
                  </a:lnTo>
                  <a:lnTo>
                    <a:pt x="450" y="208"/>
                  </a:lnTo>
                  <a:lnTo>
                    <a:pt x="448" y="208"/>
                  </a:lnTo>
                  <a:lnTo>
                    <a:pt x="448" y="210"/>
                  </a:lnTo>
                  <a:lnTo>
                    <a:pt x="446" y="210"/>
                  </a:lnTo>
                  <a:lnTo>
                    <a:pt x="444" y="212"/>
                  </a:lnTo>
                  <a:lnTo>
                    <a:pt x="440" y="216"/>
                  </a:lnTo>
                  <a:lnTo>
                    <a:pt x="438" y="218"/>
                  </a:lnTo>
                  <a:lnTo>
                    <a:pt x="438" y="220"/>
                  </a:lnTo>
                  <a:lnTo>
                    <a:pt x="438" y="222"/>
                  </a:lnTo>
                  <a:lnTo>
                    <a:pt x="438" y="224"/>
                  </a:lnTo>
                  <a:lnTo>
                    <a:pt x="438" y="226"/>
                  </a:lnTo>
                  <a:lnTo>
                    <a:pt x="438" y="230"/>
                  </a:lnTo>
                  <a:lnTo>
                    <a:pt x="436" y="238"/>
                  </a:lnTo>
                  <a:lnTo>
                    <a:pt x="432" y="246"/>
                  </a:lnTo>
                  <a:lnTo>
                    <a:pt x="432" y="248"/>
                  </a:lnTo>
                  <a:lnTo>
                    <a:pt x="430" y="248"/>
                  </a:lnTo>
                  <a:lnTo>
                    <a:pt x="430" y="252"/>
                  </a:lnTo>
                  <a:lnTo>
                    <a:pt x="428" y="252"/>
                  </a:lnTo>
                  <a:lnTo>
                    <a:pt x="424" y="260"/>
                  </a:lnTo>
                  <a:lnTo>
                    <a:pt x="420" y="266"/>
                  </a:lnTo>
                  <a:lnTo>
                    <a:pt x="418" y="268"/>
                  </a:lnTo>
                  <a:lnTo>
                    <a:pt x="418" y="270"/>
                  </a:lnTo>
                  <a:lnTo>
                    <a:pt x="414" y="280"/>
                  </a:lnTo>
                  <a:lnTo>
                    <a:pt x="412" y="284"/>
                  </a:lnTo>
                  <a:lnTo>
                    <a:pt x="406" y="298"/>
                  </a:lnTo>
                  <a:lnTo>
                    <a:pt x="406" y="302"/>
                  </a:lnTo>
                  <a:lnTo>
                    <a:pt x="404" y="304"/>
                  </a:lnTo>
                  <a:lnTo>
                    <a:pt x="406" y="306"/>
                  </a:lnTo>
                  <a:lnTo>
                    <a:pt x="406" y="308"/>
                  </a:lnTo>
                  <a:lnTo>
                    <a:pt x="406" y="310"/>
                  </a:lnTo>
                  <a:lnTo>
                    <a:pt x="406" y="312"/>
                  </a:lnTo>
                  <a:lnTo>
                    <a:pt x="404" y="314"/>
                  </a:lnTo>
                  <a:lnTo>
                    <a:pt x="404" y="316"/>
                  </a:lnTo>
                  <a:lnTo>
                    <a:pt x="396" y="334"/>
                  </a:lnTo>
                  <a:lnTo>
                    <a:pt x="394" y="336"/>
                  </a:lnTo>
                  <a:lnTo>
                    <a:pt x="388" y="350"/>
                  </a:lnTo>
                  <a:lnTo>
                    <a:pt x="384" y="356"/>
                  </a:lnTo>
                  <a:lnTo>
                    <a:pt x="380" y="362"/>
                  </a:lnTo>
                  <a:lnTo>
                    <a:pt x="372" y="372"/>
                  </a:lnTo>
                  <a:lnTo>
                    <a:pt x="372" y="374"/>
                  </a:lnTo>
                  <a:lnTo>
                    <a:pt x="370" y="376"/>
                  </a:lnTo>
                  <a:lnTo>
                    <a:pt x="364" y="384"/>
                  </a:lnTo>
                  <a:lnTo>
                    <a:pt x="364" y="386"/>
                  </a:lnTo>
                  <a:lnTo>
                    <a:pt x="362" y="388"/>
                  </a:lnTo>
                  <a:lnTo>
                    <a:pt x="362" y="390"/>
                  </a:lnTo>
                  <a:lnTo>
                    <a:pt x="360" y="392"/>
                  </a:lnTo>
                  <a:lnTo>
                    <a:pt x="360" y="394"/>
                  </a:lnTo>
                  <a:lnTo>
                    <a:pt x="358" y="400"/>
                  </a:lnTo>
                  <a:lnTo>
                    <a:pt x="356" y="406"/>
                  </a:lnTo>
                  <a:lnTo>
                    <a:pt x="352" y="410"/>
                  </a:lnTo>
                  <a:lnTo>
                    <a:pt x="350" y="414"/>
                  </a:lnTo>
                  <a:lnTo>
                    <a:pt x="340" y="424"/>
                  </a:lnTo>
                  <a:lnTo>
                    <a:pt x="338" y="426"/>
                  </a:lnTo>
                  <a:lnTo>
                    <a:pt x="336" y="430"/>
                  </a:lnTo>
                  <a:lnTo>
                    <a:pt x="334" y="432"/>
                  </a:lnTo>
                  <a:lnTo>
                    <a:pt x="334" y="434"/>
                  </a:lnTo>
                  <a:lnTo>
                    <a:pt x="332" y="436"/>
                  </a:lnTo>
                  <a:lnTo>
                    <a:pt x="328" y="442"/>
                  </a:lnTo>
                  <a:lnTo>
                    <a:pt x="326" y="444"/>
                  </a:lnTo>
                  <a:lnTo>
                    <a:pt x="318" y="452"/>
                  </a:lnTo>
                  <a:lnTo>
                    <a:pt x="316" y="452"/>
                  </a:lnTo>
                  <a:lnTo>
                    <a:pt x="316" y="454"/>
                  </a:lnTo>
                  <a:lnTo>
                    <a:pt x="312" y="460"/>
                  </a:lnTo>
                  <a:lnTo>
                    <a:pt x="310" y="460"/>
                  </a:lnTo>
                  <a:lnTo>
                    <a:pt x="308" y="464"/>
                  </a:lnTo>
                  <a:lnTo>
                    <a:pt x="306" y="466"/>
                  </a:lnTo>
                  <a:lnTo>
                    <a:pt x="300" y="474"/>
                  </a:lnTo>
                  <a:lnTo>
                    <a:pt x="294" y="480"/>
                  </a:lnTo>
                  <a:lnTo>
                    <a:pt x="284" y="492"/>
                  </a:lnTo>
                  <a:lnTo>
                    <a:pt x="282" y="496"/>
                  </a:lnTo>
                  <a:lnTo>
                    <a:pt x="274" y="500"/>
                  </a:lnTo>
                  <a:lnTo>
                    <a:pt x="268" y="508"/>
                  </a:lnTo>
                  <a:lnTo>
                    <a:pt x="266" y="512"/>
                  </a:lnTo>
                  <a:lnTo>
                    <a:pt x="262" y="516"/>
                  </a:lnTo>
                  <a:lnTo>
                    <a:pt x="260" y="520"/>
                  </a:lnTo>
                  <a:lnTo>
                    <a:pt x="258" y="520"/>
                  </a:lnTo>
                  <a:lnTo>
                    <a:pt x="252" y="524"/>
                  </a:lnTo>
                  <a:lnTo>
                    <a:pt x="246" y="528"/>
                  </a:lnTo>
                  <a:lnTo>
                    <a:pt x="240" y="532"/>
                  </a:lnTo>
                  <a:lnTo>
                    <a:pt x="236" y="534"/>
                  </a:lnTo>
                  <a:lnTo>
                    <a:pt x="234" y="536"/>
                  </a:lnTo>
                  <a:lnTo>
                    <a:pt x="226" y="542"/>
                  </a:lnTo>
                  <a:lnTo>
                    <a:pt x="218" y="546"/>
                  </a:lnTo>
                  <a:lnTo>
                    <a:pt x="216" y="546"/>
                  </a:lnTo>
                  <a:lnTo>
                    <a:pt x="214" y="548"/>
                  </a:lnTo>
                  <a:lnTo>
                    <a:pt x="212" y="550"/>
                  </a:lnTo>
                  <a:lnTo>
                    <a:pt x="210" y="550"/>
                  </a:lnTo>
                  <a:lnTo>
                    <a:pt x="208" y="552"/>
                  </a:lnTo>
                  <a:lnTo>
                    <a:pt x="204" y="554"/>
                  </a:lnTo>
                  <a:lnTo>
                    <a:pt x="198" y="558"/>
                  </a:lnTo>
                  <a:lnTo>
                    <a:pt x="186" y="566"/>
                  </a:lnTo>
                  <a:lnTo>
                    <a:pt x="184" y="570"/>
                  </a:lnTo>
                  <a:lnTo>
                    <a:pt x="174" y="578"/>
                  </a:lnTo>
                  <a:lnTo>
                    <a:pt x="164" y="586"/>
                  </a:lnTo>
                  <a:lnTo>
                    <a:pt x="162" y="590"/>
                  </a:lnTo>
                  <a:lnTo>
                    <a:pt x="160" y="592"/>
                  </a:lnTo>
                  <a:lnTo>
                    <a:pt x="154" y="598"/>
                  </a:lnTo>
                  <a:lnTo>
                    <a:pt x="150" y="600"/>
                  </a:lnTo>
                  <a:lnTo>
                    <a:pt x="148" y="602"/>
                  </a:lnTo>
                  <a:lnTo>
                    <a:pt x="146" y="604"/>
                  </a:lnTo>
                  <a:lnTo>
                    <a:pt x="138" y="610"/>
                  </a:lnTo>
                  <a:lnTo>
                    <a:pt x="130" y="618"/>
                  </a:lnTo>
                  <a:lnTo>
                    <a:pt x="130" y="620"/>
                  </a:lnTo>
                  <a:lnTo>
                    <a:pt x="122" y="628"/>
                  </a:lnTo>
                  <a:lnTo>
                    <a:pt x="120" y="630"/>
                  </a:lnTo>
                  <a:lnTo>
                    <a:pt x="118" y="632"/>
                  </a:lnTo>
                  <a:lnTo>
                    <a:pt x="118" y="634"/>
                  </a:lnTo>
                  <a:lnTo>
                    <a:pt x="112" y="640"/>
                  </a:lnTo>
                  <a:lnTo>
                    <a:pt x="106" y="646"/>
                  </a:lnTo>
                  <a:lnTo>
                    <a:pt x="100" y="652"/>
                  </a:lnTo>
                  <a:lnTo>
                    <a:pt x="96" y="658"/>
                  </a:lnTo>
                  <a:lnTo>
                    <a:pt x="94" y="660"/>
                  </a:lnTo>
                  <a:lnTo>
                    <a:pt x="92" y="662"/>
                  </a:lnTo>
                  <a:lnTo>
                    <a:pt x="88" y="666"/>
                  </a:lnTo>
                  <a:lnTo>
                    <a:pt x="84" y="670"/>
                  </a:lnTo>
                  <a:lnTo>
                    <a:pt x="82" y="672"/>
                  </a:lnTo>
                  <a:lnTo>
                    <a:pt x="78" y="676"/>
                  </a:lnTo>
                  <a:lnTo>
                    <a:pt x="78" y="678"/>
                  </a:lnTo>
                  <a:lnTo>
                    <a:pt x="76" y="680"/>
                  </a:lnTo>
                  <a:lnTo>
                    <a:pt x="70" y="686"/>
                  </a:lnTo>
                  <a:lnTo>
                    <a:pt x="66" y="694"/>
                  </a:lnTo>
                  <a:lnTo>
                    <a:pt x="64" y="696"/>
                  </a:lnTo>
                  <a:lnTo>
                    <a:pt x="58" y="702"/>
                  </a:lnTo>
                  <a:lnTo>
                    <a:pt x="54" y="708"/>
                  </a:lnTo>
                  <a:lnTo>
                    <a:pt x="50" y="714"/>
                  </a:lnTo>
                  <a:lnTo>
                    <a:pt x="44" y="724"/>
                  </a:lnTo>
                  <a:lnTo>
                    <a:pt x="40" y="734"/>
                  </a:lnTo>
                  <a:lnTo>
                    <a:pt x="36" y="738"/>
                  </a:lnTo>
                  <a:lnTo>
                    <a:pt x="34" y="740"/>
                  </a:lnTo>
                  <a:lnTo>
                    <a:pt x="34" y="742"/>
                  </a:lnTo>
                  <a:lnTo>
                    <a:pt x="32" y="738"/>
                  </a:lnTo>
                  <a:lnTo>
                    <a:pt x="24" y="726"/>
                  </a:lnTo>
                  <a:lnTo>
                    <a:pt x="12" y="712"/>
                  </a:lnTo>
                  <a:lnTo>
                    <a:pt x="4" y="700"/>
                  </a:lnTo>
                  <a:lnTo>
                    <a:pt x="2" y="656"/>
                  </a:lnTo>
                  <a:lnTo>
                    <a:pt x="2" y="586"/>
                  </a:lnTo>
                  <a:lnTo>
                    <a:pt x="2" y="534"/>
                  </a:lnTo>
                  <a:lnTo>
                    <a:pt x="0" y="514"/>
                  </a:lnTo>
                  <a:lnTo>
                    <a:pt x="0" y="508"/>
                  </a:lnTo>
                  <a:lnTo>
                    <a:pt x="14" y="492"/>
                  </a:lnTo>
                  <a:lnTo>
                    <a:pt x="18" y="488"/>
                  </a:lnTo>
                  <a:lnTo>
                    <a:pt x="40" y="454"/>
                  </a:lnTo>
                  <a:lnTo>
                    <a:pt x="44" y="446"/>
                  </a:lnTo>
                  <a:lnTo>
                    <a:pt x="46" y="446"/>
                  </a:lnTo>
                  <a:lnTo>
                    <a:pt x="46" y="444"/>
                  </a:lnTo>
                  <a:lnTo>
                    <a:pt x="46" y="442"/>
                  </a:lnTo>
                  <a:lnTo>
                    <a:pt x="48" y="440"/>
                  </a:lnTo>
                  <a:lnTo>
                    <a:pt x="52" y="436"/>
                  </a:lnTo>
                  <a:lnTo>
                    <a:pt x="54" y="4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71" name="Group 1548"/>
            <p:cNvGrpSpPr>
              <a:grpSpLocks/>
            </p:cNvGrpSpPr>
            <p:nvPr/>
          </p:nvGrpSpPr>
          <p:grpSpPr bwMode="auto">
            <a:xfrm>
              <a:off x="5007481" y="3737577"/>
              <a:ext cx="187664" cy="182660"/>
              <a:chOff x="2577" y="2139"/>
              <a:chExt cx="150" cy="146"/>
            </a:xfrm>
            <a:solidFill>
              <a:srgbClr val="B9B9B9"/>
            </a:solidFill>
          </p:grpSpPr>
          <p:sp>
            <p:nvSpPr>
              <p:cNvPr id="391" name="Freeform 1406"/>
              <p:cNvSpPr>
                <a:spLocks/>
              </p:cNvSpPr>
              <p:nvPr/>
            </p:nvSpPr>
            <p:spPr bwMode="auto">
              <a:xfrm>
                <a:off x="2577" y="2139"/>
                <a:ext cx="28" cy="28"/>
              </a:xfrm>
              <a:custGeom>
                <a:avLst/>
                <a:gdLst/>
                <a:ahLst/>
                <a:cxnLst>
                  <a:cxn ang="0">
                    <a:pos x="22" y="12"/>
                  </a:cxn>
                  <a:cxn ang="0">
                    <a:pos x="22" y="14"/>
                  </a:cxn>
                  <a:cxn ang="0">
                    <a:pos x="20" y="18"/>
                  </a:cxn>
                  <a:cxn ang="0">
                    <a:pos x="18" y="22"/>
                  </a:cxn>
                  <a:cxn ang="0">
                    <a:pos x="18" y="24"/>
                  </a:cxn>
                  <a:cxn ang="0">
                    <a:pos x="14" y="28"/>
                  </a:cxn>
                  <a:cxn ang="0">
                    <a:pos x="4" y="26"/>
                  </a:cxn>
                  <a:cxn ang="0">
                    <a:pos x="2" y="26"/>
                  </a:cxn>
                  <a:cxn ang="0">
                    <a:pos x="2" y="24"/>
                  </a:cxn>
                  <a:cxn ang="0">
                    <a:pos x="0" y="22"/>
                  </a:cxn>
                  <a:cxn ang="0">
                    <a:pos x="0" y="20"/>
                  </a:cxn>
                  <a:cxn ang="0">
                    <a:pos x="0" y="18"/>
                  </a:cxn>
                  <a:cxn ang="0">
                    <a:pos x="2" y="16"/>
                  </a:cxn>
                  <a:cxn ang="0">
                    <a:pos x="6" y="16"/>
                  </a:cxn>
                  <a:cxn ang="0">
                    <a:pos x="8" y="16"/>
                  </a:cxn>
                  <a:cxn ang="0">
                    <a:pos x="10" y="14"/>
                  </a:cxn>
                  <a:cxn ang="0">
                    <a:pos x="10" y="10"/>
                  </a:cxn>
                  <a:cxn ang="0">
                    <a:pos x="10" y="8"/>
                  </a:cxn>
                  <a:cxn ang="0">
                    <a:pos x="10" y="6"/>
                  </a:cxn>
                  <a:cxn ang="0">
                    <a:pos x="12" y="4"/>
                  </a:cxn>
                  <a:cxn ang="0">
                    <a:pos x="14" y="0"/>
                  </a:cxn>
                  <a:cxn ang="0">
                    <a:pos x="16" y="0"/>
                  </a:cxn>
                  <a:cxn ang="0">
                    <a:pos x="26" y="0"/>
                  </a:cxn>
                  <a:cxn ang="0">
                    <a:pos x="26" y="2"/>
                  </a:cxn>
                  <a:cxn ang="0">
                    <a:pos x="28" y="4"/>
                  </a:cxn>
                  <a:cxn ang="0">
                    <a:pos x="28" y="6"/>
                  </a:cxn>
                  <a:cxn ang="0">
                    <a:pos x="26" y="8"/>
                  </a:cxn>
                  <a:cxn ang="0">
                    <a:pos x="24" y="12"/>
                  </a:cxn>
                  <a:cxn ang="0">
                    <a:pos x="22" y="12"/>
                  </a:cxn>
                </a:cxnLst>
                <a:rect l="0" t="0" r="r" b="b"/>
                <a:pathLst>
                  <a:path w="28" h="28">
                    <a:moveTo>
                      <a:pt x="22" y="12"/>
                    </a:moveTo>
                    <a:lnTo>
                      <a:pt x="22" y="14"/>
                    </a:lnTo>
                    <a:lnTo>
                      <a:pt x="20" y="18"/>
                    </a:lnTo>
                    <a:lnTo>
                      <a:pt x="18" y="22"/>
                    </a:lnTo>
                    <a:lnTo>
                      <a:pt x="18" y="24"/>
                    </a:lnTo>
                    <a:lnTo>
                      <a:pt x="14" y="28"/>
                    </a:lnTo>
                    <a:lnTo>
                      <a:pt x="4" y="26"/>
                    </a:lnTo>
                    <a:lnTo>
                      <a:pt x="2" y="26"/>
                    </a:lnTo>
                    <a:lnTo>
                      <a:pt x="2" y="24"/>
                    </a:lnTo>
                    <a:lnTo>
                      <a:pt x="0" y="22"/>
                    </a:lnTo>
                    <a:lnTo>
                      <a:pt x="0" y="20"/>
                    </a:lnTo>
                    <a:lnTo>
                      <a:pt x="0" y="18"/>
                    </a:lnTo>
                    <a:lnTo>
                      <a:pt x="2" y="16"/>
                    </a:lnTo>
                    <a:lnTo>
                      <a:pt x="6" y="16"/>
                    </a:lnTo>
                    <a:lnTo>
                      <a:pt x="8" y="16"/>
                    </a:lnTo>
                    <a:lnTo>
                      <a:pt x="10" y="14"/>
                    </a:lnTo>
                    <a:lnTo>
                      <a:pt x="10" y="10"/>
                    </a:lnTo>
                    <a:lnTo>
                      <a:pt x="10" y="8"/>
                    </a:lnTo>
                    <a:lnTo>
                      <a:pt x="10" y="6"/>
                    </a:lnTo>
                    <a:lnTo>
                      <a:pt x="12" y="4"/>
                    </a:lnTo>
                    <a:lnTo>
                      <a:pt x="14" y="0"/>
                    </a:lnTo>
                    <a:lnTo>
                      <a:pt x="16" y="0"/>
                    </a:lnTo>
                    <a:lnTo>
                      <a:pt x="26" y="0"/>
                    </a:lnTo>
                    <a:lnTo>
                      <a:pt x="26" y="2"/>
                    </a:lnTo>
                    <a:lnTo>
                      <a:pt x="28" y="4"/>
                    </a:lnTo>
                    <a:lnTo>
                      <a:pt x="28" y="6"/>
                    </a:lnTo>
                    <a:lnTo>
                      <a:pt x="26" y="8"/>
                    </a:lnTo>
                    <a:lnTo>
                      <a:pt x="24" y="12"/>
                    </a:lnTo>
                    <a:lnTo>
                      <a:pt x="22"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2" name="Freeform 1407"/>
              <p:cNvSpPr>
                <a:spLocks/>
              </p:cNvSpPr>
              <p:nvPr/>
            </p:nvSpPr>
            <p:spPr bwMode="auto">
              <a:xfrm>
                <a:off x="2623" y="2213"/>
                <a:ext cx="104" cy="72"/>
              </a:xfrm>
              <a:custGeom>
                <a:avLst/>
                <a:gdLst/>
                <a:ahLst/>
                <a:cxnLst>
                  <a:cxn ang="0">
                    <a:pos x="104" y="34"/>
                  </a:cxn>
                  <a:cxn ang="0">
                    <a:pos x="104" y="46"/>
                  </a:cxn>
                  <a:cxn ang="0">
                    <a:pos x="98" y="70"/>
                  </a:cxn>
                  <a:cxn ang="0">
                    <a:pos x="80" y="70"/>
                  </a:cxn>
                  <a:cxn ang="0">
                    <a:pos x="60" y="70"/>
                  </a:cxn>
                  <a:cxn ang="0">
                    <a:pos x="50" y="68"/>
                  </a:cxn>
                  <a:cxn ang="0">
                    <a:pos x="46" y="68"/>
                  </a:cxn>
                  <a:cxn ang="0">
                    <a:pos x="34" y="68"/>
                  </a:cxn>
                  <a:cxn ang="0">
                    <a:pos x="30" y="72"/>
                  </a:cxn>
                  <a:cxn ang="0">
                    <a:pos x="28" y="70"/>
                  </a:cxn>
                  <a:cxn ang="0">
                    <a:pos x="24" y="68"/>
                  </a:cxn>
                  <a:cxn ang="0">
                    <a:pos x="22" y="64"/>
                  </a:cxn>
                  <a:cxn ang="0">
                    <a:pos x="18" y="64"/>
                  </a:cxn>
                  <a:cxn ang="0">
                    <a:pos x="10" y="62"/>
                  </a:cxn>
                  <a:cxn ang="0">
                    <a:pos x="4" y="62"/>
                  </a:cxn>
                  <a:cxn ang="0">
                    <a:pos x="0" y="60"/>
                  </a:cxn>
                  <a:cxn ang="0">
                    <a:pos x="6" y="48"/>
                  </a:cxn>
                  <a:cxn ang="0">
                    <a:pos x="12" y="42"/>
                  </a:cxn>
                  <a:cxn ang="0">
                    <a:pos x="14" y="36"/>
                  </a:cxn>
                  <a:cxn ang="0">
                    <a:pos x="16" y="32"/>
                  </a:cxn>
                  <a:cxn ang="0">
                    <a:pos x="20" y="30"/>
                  </a:cxn>
                  <a:cxn ang="0">
                    <a:pos x="24" y="20"/>
                  </a:cxn>
                  <a:cxn ang="0">
                    <a:pos x="22" y="10"/>
                  </a:cxn>
                  <a:cxn ang="0">
                    <a:pos x="24" y="0"/>
                  </a:cxn>
                  <a:cxn ang="0">
                    <a:pos x="26" y="4"/>
                  </a:cxn>
                  <a:cxn ang="0">
                    <a:pos x="30" y="8"/>
                  </a:cxn>
                  <a:cxn ang="0">
                    <a:pos x="36" y="8"/>
                  </a:cxn>
                  <a:cxn ang="0">
                    <a:pos x="44" y="8"/>
                  </a:cxn>
                  <a:cxn ang="0">
                    <a:pos x="52" y="8"/>
                  </a:cxn>
                  <a:cxn ang="0">
                    <a:pos x="56" y="8"/>
                  </a:cxn>
                  <a:cxn ang="0">
                    <a:pos x="62" y="8"/>
                  </a:cxn>
                  <a:cxn ang="0">
                    <a:pos x="90" y="8"/>
                  </a:cxn>
                  <a:cxn ang="0">
                    <a:pos x="102" y="10"/>
                  </a:cxn>
                  <a:cxn ang="0">
                    <a:pos x="104" y="18"/>
                  </a:cxn>
                  <a:cxn ang="0">
                    <a:pos x="104" y="22"/>
                  </a:cxn>
                  <a:cxn ang="0">
                    <a:pos x="104" y="32"/>
                  </a:cxn>
                </a:cxnLst>
                <a:rect l="0" t="0" r="r" b="b"/>
                <a:pathLst>
                  <a:path w="104" h="72">
                    <a:moveTo>
                      <a:pt x="104" y="32"/>
                    </a:moveTo>
                    <a:lnTo>
                      <a:pt x="104" y="34"/>
                    </a:lnTo>
                    <a:lnTo>
                      <a:pt x="104" y="38"/>
                    </a:lnTo>
                    <a:lnTo>
                      <a:pt x="104" y="46"/>
                    </a:lnTo>
                    <a:lnTo>
                      <a:pt x="104" y="70"/>
                    </a:lnTo>
                    <a:lnTo>
                      <a:pt x="98" y="70"/>
                    </a:lnTo>
                    <a:lnTo>
                      <a:pt x="84" y="70"/>
                    </a:lnTo>
                    <a:lnTo>
                      <a:pt x="80" y="70"/>
                    </a:lnTo>
                    <a:lnTo>
                      <a:pt x="74" y="70"/>
                    </a:lnTo>
                    <a:lnTo>
                      <a:pt x="60" y="70"/>
                    </a:lnTo>
                    <a:lnTo>
                      <a:pt x="54" y="68"/>
                    </a:lnTo>
                    <a:lnTo>
                      <a:pt x="50" y="68"/>
                    </a:lnTo>
                    <a:lnTo>
                      <a:pt x="48" y="68"/>
                    </a:lnTo>
                    <a:lnTo>
                      <a:pt x="46" y="68"/>
                    </a:lnTo>
                    <a:lnTo>
                      <a:pt x="36" y="68"/>
                    </a:lnTo>
                    <a:lnTo>
                      <a:pt x="34" y="68"/>
                    </a:lnTo>
                    <a:lnTo>
                      <a:pt x="32" y="72"/>
                    </a:lnTo>
                    <a:lnTo>
                      <a:pt x="30" y="72"/>
                    </a:lnTo>
                    <a:lnTo>
                      <a:pt x="28" y="72"/>
                    </a:lnTo>
                    <a:lnTo>
                      <a:pt x="28" y="70"/>
                    </a:lnTo>
                    <a:lnTo>
                      <a:pt x="26" y="68"/>
                    </a:lnTo>
                    <a:lnTo>
                      <a:pt x="24" y="68"/>
                    </a:lnTo>
                    <a:lnTo>
                      <a:pt x="26" y="64"/>
                    </a:lnTo>
                    <a:lnTo>
                      <a:pt x="22" y="64"/>
                    </a:lnTo>
                    <a:lnTo>
                      <a:pt x="20" y="64"/>
                    </a:lnTo>
                    <a:lnTo>
                      <a:pt x="18" y="64"/>
                    </a:lnTo>
                    <a:lnTo>
                      <a:pt x="12" y="64"/>
                    </a:lnTo>
                    <a:lnTo>
                      <a:pt x="10" y="62"/>
                    </a:lnTo>
                    <a:lnTo>
                      <a:pt x="8" y="62"/>
                    </a:lnTo>
                    <a:lnTo>
                      <a:pt x="4" y="62"/>
                    </a:lnTo>
                    <a:lnTo>
                      <a:pt x="2" y="62"/>
                    </a:lnTo>
                    <a:lnTo>
                      <a:pt x="0" y="60"/>
                    </a:lnTo>
                    <a:lnTo>
                      <a:pt x="4" y="54"/>
                    </a:lnTo>
                    <a:lnTo>
                      <a:pt x="6" y="48"/>
                    </a:lnTo>
                    <a:lnTo>
                      <a:pt x="8" y="46"/>
                    </a:lnTo>
                    <a:lnTo>
                      <a:pt x="12" y="42"/>
                    </a:lnTo>
                    <a:lnTo>
                      <a:pt x="16" y="38"/>
                    </a:lnTo>
                    <a:lnTo>
                      <a:pt x="14" y="36"/>
                    </a:lnTo>
                    <a:lnTo>
                      <a:pt x="14" y="34"/>
                    </a:lnTo>
                    <a:lnTo>
                      <a:pt x="16" y="32"/>
                    </a:lnTo>
                    <a:lnTo>
                      <a:pt x="18" y="30"/>
                    </a:lnTo>
                    <a:lnTo>
                      <a:pt x="20" y="30"/>
                    </a:lnTo>
                    <a:lnTo>
                      <a:pt x="24" y="22"/>
                    </a:lnTo>
                    <a:lnTo>
                      <a:pt x="24" y="20"/>
                    </a:lnTo>
                    <a:lnTo>
                      <a:pt x="24" y="18"/>
                    </a:lnTo>
                    <a:lnTo>
                      <a:pt x="22" y="10"/>
                    </a:lnTo>
                    <a:lnTo>
                      <a:pt x="22" y="0"/>
                    </a:lnTo>
                    <a:lnTo>
                      <a:pt x="24" y="0"/>
                    </a:lnTo>
                    <a:lnTo>
                      <a:pt x="26" y="2"/>
                    </a:lnTo>
                    <a:lnTo>
                      <a:pt x="26" y="4"/>
                    </a:lnTo>
                    <a:lnTo>
                      <a:pt x="30" y="6"/>
                    </a:lnTo>
                    <a:lnTo>
                      <a:pt x="30" y="8"/>
                    </a:lnTo>
                    <a:lnTo>
                      <a:pt x="34" y="8"/>
                    </a:lnTo>
                    <a:lnTo>
                      <a:pt x="36" y="8"/>
                    </a:lnTo>
                    <a:lnTo>
                      <a:pt x="38" y="8"/>
                    </a:lnTo>
                    <a:lnTo>
                      <a:pt x="44" y="8"/>
                    </a:lnTo>
                    <a:lnTo>
                      <a:pt x="50" y="8"/>
                    </a:lnTo>
                    <a:lnTo>
                      <a:pt x="52" y="8"/>
                    </a:lnTo>
                    <a:lnTo>
                      <a:pt x="54" y="8"/>
                    </a:lnTo>
                    <a:lnTo>
                      <a:pt x="56" y="8"/>
                    </a:lnTo>
                    <a:lnTo>
                      <a:pt x="58" y="8"/>
                    </a:lnTo>
                    <a:lnTo>
                      <a:pt x="62" y="8"/>
                    </a:lnTo>
                    <a:lnTo>
                      <a:pt x="68" y="8"/>
                    </a:lnTo>
                    <a:lnTo>
                      <a:pt x="90" y="8"/>
                    </a:lnTo>
                    <a:lnTo>
                      <a:pt x="96" y="10"/>
                    </a:lnTo>
                    <a:lnTo>
                      <a:pt x="102" y="10"/>
                    </a:lnTo>
                    <a:lnTo>
                      <a:pt x="104" y="10"/>
                    </a:lnTo>
                    <a:lnTo>
                      <a:pt x="104" y="18"/>
                    </a:lnTo>
                    <a:lnTo>
                      <a:pt x="104" y="20"/>
                    </a:lnTo>
                    <a:lnTo>
                      <a:pt x="104" y="22"/>
                    </a:lnTo>
                    <a:lnTo>
                      <a:pt x="104" y="28"/>
                    </a:lnTo>
                    <a:lnTo>
                      <a:pt x="104" y="3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72" name="Freeform 1408"/>
            <p:cNvSpPr>
              <a:spLocks/>
            </p:cNvSpPr>
            <p:nvPr/>
          </p:nvSpPr>
          <p:spPr bwMode="auto">
            <a:xfrm>
              <a:off x="6361185" y="3705065"/>
              <a:ext cx="347805" cy="370325"/>
            </a:xfrm>
            <a:custGeom>
              <a:avLst/>
              <a:gdLst/>
              <a:ahLst/>
              <a:cxnLst>
                <a:cxn ang="0">
                  <a:pos x="156" y="270"/>
                </a:cxn>
                <a:cxn ang="0">
                  <a:pos x="88" y="272"/>
                </a:cxn>
                <a:cxn ang="0">
                  <a:pos x="58" y="272"/>
                </a:cxn>
                <a:cxn ang="0">
                  <a:pos x="40" y="274"/>
                </a:cxn>
                <a:cxn ang="0">
                  <a:pos x="34" y="286"/>
                </a:cxn>
                <a:cxn ang="0">
                  <a:pos x="18" y="296"/>
                </a:cxn>
                <a:cxn ang="0">
                  <a:pos x="14" y="288"/>
                </a:cxn>
                <a:cxn ang="0">
                  <a:pos x="4" y="292"/>
                </a:cxn>
                <a:cxn ang="0">
                  <a:pos x="0" y="282"/>
                </a:cxn>
                <a:cxn ang="0">
                  <a:pos x="4" y="260"/>
                </a:cxn>
                <a:cxn ang="0">
                  <a:pos x="4" y="244"/>
                </a:cxn>
                <a:cxn ang="0">
                  <a:pos x="6" y="224"/>
                </a:cxn>
                <a:cxn ang="0">
                  <a:pos x="10" y="212"/>
                </a:cxn>
                <a:cxn ang="0">
                  <a:pos x="18" y="198"/>
                </a:cxn>
                <a:cxn ang="0">
                  <a:pos x="18" y="180"/>
                </a:cxn>
                <a:cxn ang="0">
                  <a:pos x="24" y="174"/>
                </a:cxn>
                <a:cxn ang="0">
                  <a:pos x="32" y="170"/>
                </a:cxn>
                <a:cxn ang="0">
                  <a:pos x="40" y="158"/>
                </a:cxn>
                <a:cxn ang="0">
                  <a:pos x="56" y="144"/>
                </a:cxn>
                <a:cxn ang="0">
                  <a:pos x="82" y="118"/>
                </a:cxn>
                <a:cxn ang="0">
                  <a:pos x="76" y="100"/>
                </a:cxn>
                <a:cxn ang="0">
                  <a:pos x="66" y="100"/>
                </a:cxn>
                <a:cxn ang="0">
                  <a:pos x="60" y="82"/>
                </a:cxn>
                <a:cxn ang="0">
                  <a:pos x="66" y="72"/>
                </a:cxn>
                <a:cxn ang="0">
                  <a:pos x="60" y="58"/>
                </a:cxn>
                <a:cxn ang="0">
                  <a:pos x="68" y="44"/>
                </a:cxn>
                <a:cxn ang="0">
                  <a:pos x="64" y="38"/>
                </a:cxn>
                <a:cxn ang="0">
                  <a:pos x="80" y="24"/>
                </a:cxn>
                <a:cxn ang="0">
                  <a:pos x="94" y="30"/>
                </a:cxn>
                <a:cxn ang="0">
                  <a:pos x="112" y="22"/>
                </a:cxn>
                <a:cxn ang="0">
                  <a:pos x="120" y="32"/>
                </a:cxn>
                <a:cxn ang="0">
                  <a:pos x="126" y="36"/>
                </a:cxn>
                <a:cxn ang="0">
                  <a:pos x="132" y="34"/>
                </a:cxn>
                <a:cxn ang="0">
                  <a:pos x="154" y="26"/>
                </a:cxn>
                <a:cxn ang="0">
                  <a:pos x="168" y="22"/>
                </a:cxn>
                <a:cxn ang="0">
                  <a:pos x="180" y="22"/>
                </a:cxn>
                <a:cxn ang="0">
                  <a:pos x="200" y="24"/>
                </a:cxn>
                <a:cxn ang="0">
                  <a:pos x="228" y="6"/>
                </a:cxn>
                <a:cxn ang="0">
                  <a:pos x="244" y="24"/>
                </a:cxn>
                <a:cxn ang="0">
                  <a:pos x="246" y="36"/>
                </a:cxn>
                <a:cxn ang="0">
                  <a:pos x="250" y="54"/>
                </a:cxn>
                <a:cxn ang="0">
                  <a:pos x="256" y="62"/>
                </a:cxn>
                <a:cxn ang="0">
                  <a:pos x="262" y="68"/>
                </a:cxn>
                <a:cxn ang="0">
                  <a:pos x="268" y="82"/>
                </a:cxn>
                <a:cxn ang="0">
                  <a:pos x="270" y="96"/>
                </a:cxn>
                <a:cxn ang="0">
                  <a:pos x="278" y="120"/>
                </a:cxn>
                <a:cxn ang="0">
                  <a:pos x="272" y="136"/>
                </a:cxn>
                <a:cxn ang="0">
                  <a:pos x="268" y="144"/>
                </a:cxn>
                <a:cxn ang="0">
                  <a:pos x="268" y="154"/>
                </a:cxn>
                <a:cxn ang="0">
                  <a:pos x="256" y="158"/>
                </a:cxn>
                <a:cxn ang="0">
                  <a:pos x="252" y="164"/>
                </a:cxn>
                <a:cxn ang="0">
                  <a:pos x="248" y="174"/>
                </a:cxn>
                <a:cxn ang="0">
                  <a:pos x="232" y="198"/>
                </a:cxn>
                <a:cxn ang="0">
                  <a:pos x="222" y="214"/>
                </a:cxn>
                <a:cxn ang="0">
                  <a:pos x="224" y="222"/>
                </a:cxn>
                <a:cxn ang="0">
                  <a:pos x="224" y="268"/>
                </a:cxn>
                <a:cxn ang="0">
                  <a:pos x="196" y="270"/>
                </a:cxn>
                <a:cxn ang="0">
                  <a:pos x="176" y="270"/>
                </a:cxn>
              </a:cxnLst>
              <a:rect l="0" t="0" r="r" b="b"/>
              <a:pathLst>
                <a:path w="278" h="296">
                  <a:moveTo>
                    <a:pt x="170" y="270"/>
                  </a:moveTo>
                  <a:lnTo>
                    <a:pt x="162" y="270"/>
                  </a:lnTo>
                  <a:lnTo>
                    <a:pt x="160" y="270"/>
                  </a:lnTo>
                  <a:lnTo>
                    <a:pt x="156" y="270"/>
                  </a:lnTo>
                  <a:lnTo>
                    <a:pt x="150" y="270"/>
                  </a:lnTo>
                  <a:lnTo>
                    <a:pt x="108" y="272"/>
                  </a:lnTo>
                  <a:lnTo>
                    <a:pt x="102" y="272"/>
                  </a:lnTo>
                  <a:lnTo>
                    <a:pt x="88" y="272"/>
                  </a:lnTo>
                  <a:lnTo>
                    <a:pt x="76" y="272"/>
                  </a:lnTo>
                  <a:lnTo>
                    <a:pt x="68" y="272"/>
                  </a:lnTo>
                  <a:lnTo>
                    <a:pt x="60" y="272"/>
                  </a:lnTo>
                  <a:lnTo>
                    <a:pt x="58" y="272"/>
                  </a:lnTo>
                  <a:lnTo>
                    <a:pt x="52" y="274"/>
                  </a:lnTo>
                  <a:lnTo>
                    <a:pt x="48" y="274"/>
                  </a:lnTo>
                  <a:lnTo>
                    <a:pt x="46" y="274"/>
                  </a:lnTo>
                  <a:lnTo>
                    <a:pt x="40" y="274"/>
                  </a:lnTo>
                  <a:lnTo>
                    <a:pt x="38" y="280"/>
                  </a:lnTo>
                  <a:lnTo>
                    <a:pt x="38" y="282"/>
                  </a:lnTo>
                  <a:lnTo>
                    <a:pt x="36" y="282"/>
                  </a:lnTo>
                  <a:lnTo>
                    <a:pt x="34" y="286"/>
                  </a:lnTo>
                  <a:lnTo>
                    <a:pt x="30" y="288"/>
                  </a:lnTo>
                  <a:lnTo>
                    <a:pt x="28" y="290"/>
                  </a:lnTo>
                  <a:lnTo>
                    <a:pt x="22" y="296"/>
                  </a:lnTo>
                  <a:lnTo>
                    <a:pt x="18" y="296"/>
                  </a:lnTo>
                  <a:lnTo>
                    <a:pt x="18" y="294"/>
                  </a:lnTo>
                  <a:lnTo>
                    <a:pt x="16" y="292"/>
                  </a:lnTo>
                  <a:lnTo>
                    <a:pt x="16" y="288"/>
                  </a:lnTo>
                  <a:lnTo>
                    <a:pt x="14" y="288"/>
                  </a:lnTo>
                  <a:lnTo>
                    <a:pt x="8" y="290"/>
                  </a:lnTo>
                  <a:lnTo>
                    <a:pt x="6" y="290"/>
                  </a:lnTo>
                  <a:lnTo>
                    <a:pt x="6" y="292"/>
                  </a:lnTo>
                  <a:lnTo>
                    <a:pt x="4" y="292"/>
                  </a:lnTo>
                  <a:lnTo>
                    <a:pt x="2" y="292"/>
                  </a:lnTo>
                  <a:lnTo>
                    <a:pt x="2" y="288"/>
                  </a:lnTo>
                  <a:lnTo>
                    <a:pt x="2" y="282"/>
                  </a:lnTo>
                  <a:lnTo>
                    <a:pt x="0" y="282"/>
                  </a:lnTo>
                  <a:lnTo>
                    <a:pt x="0" y="268"/>
                  </a:lnTo>
                  <a:lnTo>
                    <a:pt x="0" y="266"/>
                  </a:lnTo>
                  <a:lnTo>
                    <a:pt x="2" y="266"/>
                  </a:lnTo>
                  <a:lnTo>
                    <a:pt x="4" y="260"/>
                  </a:lnTo>
                  <a:lnTo>
                    <a:pt x="2" y="258"/>
                  </a:lnTo>
                  <a:lnTo>
                    <a:pt x="4" y="254"/>
                  </a:lnTo>
                  <a:lnTo>
                    <a:pt x="6" y="250"/>
                  </a:lnTo>
                  <a:lnTo>
                    <a:pt x="4" y="244"/>
                  </a:lnTo>
                  <a:lnTo>
                    <a:pt x="4" y="242"/>
                  </a:lnTo>
                  <a:lnTo>
                    <a:pt x="6" y="236"/>
                  </a:lnTo>
                  <a:lnTo>
                    <a:pt x="6" y="230"/>
                  </a:lnTo>
                  <a:lnTo>
                    <a:pt x="6" y="224"/>
                  </a:lnTo>
                  <a:lnTo>
                    <a:pt x="8" y="220"/>
                  </a:lnTo>
                  <a:lnTo>
                    <a:pt x="8" y="218"/>
                  </a:lnTo>
                  <a:lnTo>
                    <a:pt x="8" y="216"/>
                  </a:lnTo>
                  <a:lnTo>
                    <a:pt x="10" y="212"/>
                  </a:lnTo>
                  <a:lnTo>
                    <a:pt x="12" y="212"/>
                  </a:lnTo>
                  <a:lnTo>
                    <a:pt x="14" y="206"/>
                  </a:lnTo>
                  <a:lnTo>
                    <a:pt x="14" y="202"/>
                  </a:lnTo>
                  <a:lnTo>
                    <a:pt x="18" y="198"/>
                  </a:lnTo>
                  <a:lnTo>
                    <a:pt x="20" y="196"/>
                  </a:lnTo>
                  <a:lnTo>
                    <a:pt x="20" y="192"/>
                  </a:lnTo>
                  <a:lnTo>
                    <a:pt x="18" y="188"/>
                  </a:lnTo>
                  <a:lnTo>
                    <a:pt x="18" y="180"/>
                  </a:lnTo>
                  <a:lnTo>
                    <a:pt x="20" y="178"/>
                  </a:lnTo>
                  <a:lnTo>
                    <a:pt x="20" y="176"/>
                  </a:lnTo>
                  <a:lnTo>
                    <a:pt x="22" y="176"/>
                  </a:lnTo>
                  <a:lnTo>
                    <a:pt x="24" y="174"/>
                  </a:lnTo>
                  <a:lnTo>
                    <a:pt x="26" y="174"/>
                  </a:lnTo>
                  <a:lnTo>
                    <a:pt x="28" y="174"/>
                  </a:lnTo>
                  <a:lnTo>
                    <a:pt x="30" y="174"/>
                  </a:lnTo>
                  <a:lnTo>
                    <a:pt x="32" y="170"/>
                  </a:lnTo>
                  <a:lnTo>
                    <a:pt x="32" y="166"/>
                  </a:lnTo>
                  <a:lnTo>
                    <a:pt x="34" y="162"/>
                  </a:lnTo>
                  <a:lnTo>
                    <a:pt x="36" y="160"/>
                  </a:lnTo>
                  <a:lnTo>
                    <a:pt x="40" y="158"/>
                  </a:lnTo>
                  <a:lnTo>
                    <a:pt x="44" y="158"/>
                  </a:lnTo>
                  <a:lnTo>
                    <a:pt x="46" y="156"/>
                  </a:lnTo>
                  <a:lnTo>
                    <a:pt x="50" y="152"/>
                  </a:lnTo>
                  <a:lnTo>
                    <a:pt x="56" y="144"/>
                  </a:lnTo>
                  <a:lnTo>
                    <a:pt x="58" y="142"/>
                  </a:lnTo>
                  <a:lnTo>
                    <a:pt x="64" y="136"/>
                  </a:lnTo>
                  <a:lnTo>
                    <a:pt x="74" y="130"/>
                  </a:lnTo>
                  <a:lnTo>
                    <a:pt x="82" y="118"/>
                  </a:lnTo>
                  <a:lnTo>
                    <a:pt x="88" y="110"/>
                  </a:lnTo>
                  <a:lnTo>
                    <a:pt x="88" y="108"/>
                  </a:lnTo>
                  <a:lnTo>
                    <a:pt x="82" y="104"/>
                  </a:lnTo>
                  <a:lnTo>
                    <a:pt x="76" y="100"/>
                  </a:lnTo>
                  <a:lnTo>
                    <a:pt x="72" y="96"/>
                  </a:lnTo>
                  <a:lnTo>
                    <a:pt x="70" y="96"/>
                  </a:lnTo>
                  <a:lnTo>
                    <a:pt x="68" y="98"/>
                  </a:lnTo>
                  <a:lnTo>
                    <a:pt x="66" y="100"/>
                  </a:lnTo>
                  <a:lnTo>
                    <a:pt x="58" y="94"/>
                  </a:lnTo>
                  <a:lnTo>
                    <a:pt x="58" y="92"/>
                  </a:lnTo>
                  <a:lnTo>
                    <a:pt x="60" y="86"/>
                  </a:lnTo>
                  <a:lnTo>
                    <a:pt x="60" y="82"/>
                  </a:lnTo>
                  <a:lnTo>
                    <a:pt x="62" y="78"/>
                  </a:lnTo>
                  <a:lnTo>
                    <a:pt x="64" y="76"/>
                  </a:lnTo>
                  <a:lnTo>
                    <a:pt x="66" y="74"/>
                  </a:lnTo>
                  <a:lnTo>
                    <a:pt x="66" y="72"/>
                  </a:lnTo>
                  <a:lnTo>
                    <a:pt x="64" y="68"/>
                  </a:lnTo>
                  <a:lnTo>
                    <a:pt x="62" y="64"/>
                  </a:lnTo>
                  <a:lnTo>
                    <a:pt x="60" y="64"/>
                  </a:lnTo>
                  <a:lnTo>
                    <a:pt x="60" y="58"/>
                  </a:lnTo>
                  <a:lnTo>
                    <a:pt x="62" y="54"/>
                  </a:lnTo>
                  <a:lnTo>
                    <a:pt x="64" y="50"/>
                  </a:lnTo>
                  <a:lnTo>
                    <a:pt x="66" y="48"/>
                  </a:lnTo>
                  <a:lnTo>
                    <a:pt x="68" y="44"/>
                  </a:lnTo>
                  <a:lnTo>
                    <a:pt x="68" y="40"/>
                  </a:lnTo>
                  <a:lnTo>
                    <a:pt x="66" y="38"/>
                  </a:lnTo>
                  <a:lnTo>
                    <a:pt x="64" y="40"/>
                  </a:lnTo>
                  <a:lnTo>
                    <a:pt x="64" y="38"/>
                  </a:lnTo>
                  <a:lnTo>
                    <a:pt x="66" y="36"/>
                  </a:lnTo>
                  <a:lnTo>
                    <a:pt x="70" y="32"/>
                  </a:lnTo>
                  <a:lnTo>
                    <a:pt x="70" y="30"/>
                  </a:lnTo>
                  <a:lnTo>
                    <a:pt x="80" y="24"/>
                  </a:lnTo>
                  <a:lnTo>
                    <a:pt x="82" y="24"/>
                  </a:lnTo>
                  <a:lnTo>
                    <a:pt x="86" y="24"/>
                  </a:lnTo>
                  <a:lnTo>
                    <a:pt x="90" y="26"/>
                  </a:lnTo>
                  <a:lnTo>
                    <a:pt x="94" y="30"/>
                  </a:lnTo>
                  <a:lnTo>
                    <a:pt x="98" y="32"/>
                  </a:lnTo>
                  <a:lnTo>
                    <a:pt x="108" y="28"/>
                  </a:lnTo>
                  <a:lnTo>
                    <a:pt x="110" y="26"/>
                  </a:lnTo>
                  <a:lnTo>
                    <a:pt x="112" y="22"/>
                  </a:lnTo>
                  <a:lnTo>
                    <a:pt x="114" y="22"/>
                  </a:lnTo>
                  <a:lnTo>
                    <a:pt x="116" y="24"/>
                  </a:lnTo>
                  <a:lnTo>
                    <a:pt x="118" y="30"/>
                  </a:lnTo>
                  <a:lnTo>
                    <a:pt x="120" y="32"/>
                  </a:lnTo>
                  <a:lnTo>
                    <a:pt x="120" y="34"/>
                  </a:lnTo>
                  <a:lnTo>
                    <a:pt x="124" y="34"/>
                  </a:lnTo>
                  <a:lnTo>
                    <a:pt x="126" y="34"/>
                  </a:lnTo>
                  <a:lnTo>
                    <a:pt x="126" y="36"/>
                  </a:lnTo>
                  <a:lnTo>
                    <a:pt x="128" y="38"/>
                  </a:lnTo>
                  <a:lnTo>
                    <a:pt x="130" y="38"/>
                  </a:lnTo>
                  <a:lnTo>
                    <a:pt x="132" y="38"/>
                  </a:lnTo>
                  <a:lnTo>
                    <a:pt x="132" y="34"/>
                  </a:lnTo>
                  <a:lnTo>
                    <a:pt x="132" y="32"/>
                  </a:lnTo>
                  <a:lnTo>
                    <a:pt x="144" y="26"/>
                  </a:lnTo>
                  <a:lnTo>
                    <a:pt x="148" y="26"/>
                  </a:lnTo>
                  <a:lnTo>
                    <a:pt x="154" y="26"/>
                  </a:lnTo>
                  <a:lnTo>
                    <a:pt x="156" y="24"/>
                  </a:lnTo>
                  <a:lnTo>
                    <a:pt x="158" y="24"/>
                  </a:lnTo>
                  <a:lnTo>
                    <a:pt x="164" y="24"/>
                  </a:lnTo>
                  <a:lnTo>
                    <a:pt x="168" y="22"/>
                  </a:lnTo>
                  <a:lnTo>
                    <a:pt x="170" y="20"/>
                  </a:lnTo>
                  <a:lnTo>
                    <a:pt x="172" y="20"/>
                  </a:lnTo>
                  <a:lnTo>
                    <a:pt x="174" y="18"/>
                  </a:lnTo>
                  <a:lnTo>
                    <a:pt x="180" y="22"/>
                  </a:lnTo>
                  <a:lnTo>
                    <a:pt x="182" y="24"/>
                  </a:lnTo>
                  <a:lnTo>
                    <a:pt x="186" y="24"/>
                  </a:lnTo>
                  <a:lnTo>
                    <a:pt x="192" y="24"/>
                  </a:lnTo>
                  <a:lnTo>
                    <a:pt x="200" y="24"/>
                  </a:lnTo>
                  <a:lnTo>
                    <a:pt x="224" y="0"/>
                  </a:lnTo>
                  <a:lnTo>
                    <a:pt x="226" y="0"/>
                  </a:lnTo>
                  <a:lnTo>
                    <a:pt x="228" y="2"/>
                  </a:lnTo>
                  <a:lnTo>
                    <a:pt x="228" y="6"/>
                  </a:lnTo>
                  <a:lnTo>
                    <a:pt x="230" y="14"/>
                  </a:lnTo>
                  <a:lnTo>
                    <a:pt x="234" y="20"/>
                  </a:lnTo>
                  <a:lnTo>
                    <a:pt x="236" y="22"/>
                  </a:lnTo>
                  <a:lnTo>
                    <a:pt x="244" y="24"/>
                  </a:lnTo>
                  <a:lnTo>
                    <a:pt x="248" y="28"/>
                  </a:lnTo>
                  <a:lnTo>
                    <a:pt x="248" y="30"/>
                  </a:lnTo>
                  <a:lnTo>
                    <a:pt x="248" y="36"/>
                  </a:lnTo>
                  <a:lnTo>
                    <a:pt x="246" y="36"/>
                  </a:lnTo>
                  <a:lnTo>
                    <a:pt x="246" y="38"/>
                  </a:lnTo>
                  <a:lnTo>
                    <a:pt x="246" y="42"/>
                  </a:lnTo>
                  <a:lnTo>
                    <a:pt x="248" y="50"/>
                  </a:lnTo>
                  <a:lnTo>
                    <a:pt x="250" y="54"/>
                  </a:lnTo>
                  <a:lnTo>
                    <a:pt x="252" y="56"/>
                  </a:lnTo>
                  <a:lnTo>
                    <a:pt x="254" y="56"/>
                  </a:lnTo>
                  <a:lnTo>
                    <a:pt x="254" y="58"/>
                  </a:lnTo>
                  <a:lnTo>
                    <a:pt x="256" y="62"/>
                  </a:lnTo>
                  <a:lnTo>
                    <a:pt x="256" y="64"/>
                  </a:lnTo>
                  <a:lnTo>
                    <a:pt x="258" y="70"/>
                  </a:lnTo>
                  <a:lnTo>
                    <a:pt x="260" y="68"/>
                  </a:lnTo>
                  <a:lnTo>
                    <a:pt x="262" y="68"/>
                  </a:lnTo>
                  <a:lnTo>
                    <a:pt x="264" y="70"/>
                  </a:lnTo>
                  <a:lnTo>
                    <a:pt x="266" y="74"/>
                  </a:lnTo>
                  <a:lnTo>
                    <a:pt x="266" y="78"/>
                  </a:lnTo>
                  <a:lnTo>
                    <a:pt x="268" y="82"/>
                  </a:lnTo>
                  <a:lnTo>
                    <a:pt x="272" y="86"/>
                  </a:lnTo>
                  <a:lnTo>
                    <a:pt x="270" y="92"/>
                  </a:lnTo>
                  <a:lnTo>
                    <a:pt x="270" y="94"/>
                  </a:lnTo>
                  <a:lnTo>
                    <a:pt x="270" y="96"/>
                  </a:lnTo>
                  <a:lnTo>
                    <a:pt x="272" y="98"/>
                  </a:lnTo>
                  <a:lnTo>
                    <a:pt x="274" y="102"/>
                  </a:lnTo>
                  <a:lnTo>
                    <a:pt x="276" y="108"/>
                  </a:lnTo>
                  <a:lnTo>
                    <a:pt x="278" y="120"/>
                  </a:lnTo>
                  <a:lnTo>
                    <a:pt x="278" y="130"/>
                  </a:lnTo>
                  <a:lnTo>
                    <a:pt x="276" y="134"/>
                  </a:lnTo>
                  <a:lnTo>
                    <a:pt x="274" y="136"/>
                  </a:lnTo>
                  <a:lnTo>
                    <a:pt x="272" y="136"/>
                  </a:lnTo>
                  <a:lnTo>
                    <a:pt x="272" y="138"/>
                  </a:lnTo>
                  <a:lnTo>
                    <a:pt x="270" y="140"/>
                  </a:lnTo>
                  <a:lnTo>
                    <a:pt x="270" y="142"/>
                  </a:lnTo>
                  <a:lnTo>
                    <a:pt x="268" y="144"/>
                  </a:lnTo>
                  <a:lnTo>
                    <a:pt x="268" y="148"/>
                  </a:lnTo>
                  <a:lnTo>
                    <a:pt x="268" y="150"/>
                  </a:lnTo>
                  <a:lnTo>
                    <a:pt x="268" y="152"/>
                  </a:lnTo>
                  <a:lnTo>
                    <a:pt x="268" y="154"/>
                  </a:lnTo>
                  <a:lnTo>
                    <a:pt x="266" y="154"/>
                  </a:lnTo>
                  <a:lnTo>
                    <a:pt x="264" y="154"/>
                  </a:lnTo>
                  <a:lnTo>
                    <a:pt x="262" y="154"/>
                  </a:lnTo>
                  <a:lnTo>
                    <a:pt x="256" y="158"/>
                  </a:lnTo>
                  <a:lnTo>
                    <a:pt x="256" y="162"/>
                  </a:lnTo>
                  <a:lnTo>
                    <a:pt x="254" y="160"/>
                  </a:lnTo>
                  <a:lnTo>
                    <a:pt x="252" y="162"/>
                  </a:lnTo>
                  <a:lnTo>
                    <a:pt x="252" y="164"/>
                  </a:lnTo>
                  <a:lnTo>
                    <a:pt x="252" y="166"/>
                  </a:lnTo>
                  <a:lnTo>
                    <a:pt x="250" y="168"/>
                  </a:lnTo>
                  <a:lnTo>
                    <a:pt x="248" y="172"/>
                  </a:lnTo>
                  <a:lnTo>
                    <a:pt x="248" y="174"/>
                  </a:lnTo>
                  <a:lnTo>
                    <a:pt x="240" y="184"/>
                  </a:lnTo>
                  <a:lnTo>
                    <a:pt x="238" y="184"/>
                  </a:lnTo>
                  <a:lnTo>
                    <a:pt x="234" y="186"/>
                  </a:lnTo>
                  <a:lnTo>
                    <a:pt x="232" y="198"/>
                  </a:lnTo>
                  <a:lnTo>
                    <a:pt x="230" y="202"/>
                  </a:lnTo>
                  <a:lnTo>
                    <a:pt x="226" y="206"/>
                  </a:lnTo>
                  <a:lnTo>
                    <a:pt x="222" y="212"/>
                  </a:lnTo>
                  <a:lnTo>
                    <a:pt x="222" y="214"/>
                  </a:lnTo>
                  <a:lnTo>
                    <a:pt x="224" y="216"/>
                  </a:lnTo>
                  <a:lnTo>
                    <a:pt x="224" y="218"/>
                  </a:lnTo>
                  <a:lnTo>
                    <a:pt x="224" y="220"/>
                  </a:lnTo>
                  <a:lnTo>
                    <a:pt x="224" y="222"/>
                  </a:lnTo>
                  <a:lnTo>
                    <a:pt x="226" y="224"/>
                  </a:lnTo>
                  <a:lnTo>
                    <a:pt x="224" y="232"/>
                  </a:lnTo>
                  <a:lnTo>
                    <a:pt x="224" y="240"/>
                  </a:lnTo>
                  <a:lnTo>
                    <a:pt x="224" y="268"/>
                  </a:lnTo>
                  <a:lnTo>
                    <a:pt x="224" y="270"/>
                  </a:lnTo>
                  <a:lnTo>
                    <a:pt x="200" y="270"/>
                  </a:lnTo>
                  <a:lnTo>
                    <a:pt x="198" y="270"/>
                  </a:lnTo>
                  <a:lnTo>
                    <a:pt x="196" y="270"/>
                  </a:lnTo>
                  <a:lnTo>
                    <a:pt x="192" y="270"/>
                  </a:lnTo>
                  <a:lnTo>
                    <a:pt x="186" y="270"/>
                  </a:lnTo>
                  <a:lnTo>
                    <a:pt x="182" y="270"/>
                  </a:lnTo>
                  <a:lnTo>
                    <a:pt x="176" y="270"/>
                  </a:lnTo>
                  <a:lnTo>
                    <a:pt x="170" y="27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73" name="Group 1563"/>
            <p:cNvGrpSpPr>
              <a:grpSpLocks/>
            </p:cNvGrpSpPr>
            <p:nvPr/>
          </p:nvGrpSpPr>
          <p:grpSpPr bwMode="auto">
            <a:xfrm>
              <a:off x="4879988" y="3867788"/>
              <a:ext cx="65058" cy="110100"/>
              <a:chOff x="2475" y="2243"/>
              <a:chExt cx="52" cy="88"/>
            </a:xfrm>
            <a:solidFill>
              <a:srgbClr val="B9B9B9"/>
            </a:solidFill>
          </p:grpSpPr>
          <p:sp>
            <p:nvSpPr>
              <p:cNvPr id="389" name="Freeform 1409"/>
              <p:cNvSpPr>
                <a:spLocks/>
              </p:cNvSpPr>
              <p:nvPr/>
            </p:nvSpPr>
            <p:spPr bwMode="auto">
              <a:xfrm>
                <a:off x="2521" y="2243"/>
                <a:ext cx="6" cy="10"/>
              </a:xfrm>
              <a:custGeom>
                <a:avLst/>
                <a:gdLst/>
                <a:ahLst/>
                <a:cxnLst>
                  <a:cxn ang="0">
                    <a:pos x="2" y="10"/>
                  </a:cxn>
                  <a:cxn ang="0">
                    <a:pos x="0" y="8"/>
                  </a:cxn>
                  <a:cxn ang="0">
                    <a:pos x="0" y="6"/>
                  </a:cxn>
                  <a:cxn ang="0">
                    <a:pos x="2" y="2"/>
                  </a:cxn>
                  <a:cxn ang="0">
                    <a:pos x="2" y="0"/>
                  </a:cxn>
                  <a:cxn ang="0">
                    <a:pos x="6" y="2"/>
                  </a:cxn>
                  <a:cxn ang="0">
                    <a:pos x="6" y="4"/>
                  </a:cxn>
                  <a:cxn ang="0">
                    <a:pos x="4" y="8"/>
                  </a:cxn>
                  <a:cxn ang="0">
                    <a:pos x="2" y="10"/>
                  </a:cxn>
                </a:cxnLst>
                <a:rect l="0" t="0" r="r" b="b"/>
                <a:pathLst>
                  <a:path w="6" h="10">
                    <a:moveTo>
                      <a:pt x="2" y="10"/>
                    </a:moveTo>
                    <a:lnTo>
                      <a:pt x="0" y="8"/>
                    </a:lnTo>
                    <a:lnTo>
                      <a:pt x="0" y="6"/>
                    </a:lnTo>
                    <a:lnTo>
                      <a:pt x="2" y="2"/>
                    </a:lnTo>
                    <a:lnTo>
                      <a:pt x="2" y="0"/>
                    </a:lnTo>
                    <a:lnTo>
                      <a:pt x="6" y="2"/>
                    </a:lnTo>
                    <a:lnTo>
                      <a:pt x="6" y="4"/>
                    </a:lnTo>
                    <a:lnTo>
                      <a:pt x="4"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90" name="Freeform 1410"/>
              <p:cNvSpPr>
                <a:spLocks/>
              </p:cNvSpPr>
              <p:nvPr/>
            </p:nvSpPr>
            <p:spPr bwMode="auto">
              <a:xfrm>
                <a:off x="2475" y="2309"/>
                <a:ext cx="16" cy="22"/>
              </a:xfrm>
              <a:custGeom>
                <a:avLst/>
                <a:gdLst/>
                <a:ahLst/>
                <a:cxnLst>
                  <a:cxn ang="0">
                    <a:pos x="4" y="22"/>
                  </a:cxn>
                  <a:cxn ang="0">
                    <a:pos x="2" y="20"/>
                  </a:cxn>
                  <a:cxn ang="0">
                    <a:pos x="0" y="12"/>
                  </a:cxn>
                  <a:cxn ang="0">
                    <a:pos x="0" y="8"/>
                  </a:cxn>
                  <a:cxn ang="0">
                    <a:pos x="2" y="6"/>
                  </a:cxn>
                  <a:cxn ang="0">
                    <a:pos x="4" y="4"/>
                  </a:cxn>
                  <a:cxn ang="0">
                    <a:pos x="8" y="2"/>
                  </a:cxn>
                  <a:cxn ang="0">
                    <a:pos x="10" y="0"/>
                  </a:cxn>
                  <a:cxn ang="0">
                    <a:pos x="12" y="2"/>
                  </a:cxn>
                  <a:cxn ang="0">
                    <a:pos x="14" y="2"/>
                  </a:cxn>
                  <a:cxn ang="0">
                    <a:pos x="16" y="6"/>
                  </a:cxn>
                  <a:cxn ang="0">
                    <a:pos x="16" y="8"/>
                  </a:cxn>
                  <a:cxn ang="0">
                    <a:pos x="16" y="10"/>
                  </a:cxn>
                  <a:cxn ang="0">
                    <a:pos x="14" y="12"/>
                  </a:cxn>
                  <a:cxn ang="0">
                    <a:pos x="10" y="18"/>
                  </a:cxn>
                  <a:cxn ang="0">
                    <a:pos x="4" y="22"/>
                  </a:cxn>
                </a:cxnLst>
                <a:rect l="0" t="0" r="r" b="b"/>
                <a:pathLst>
                  <a:path w="16" h="22">
                    <a:moveTo>
                      <a:pt x="4" y="22"/>
                    </a:moveTo>
                    <a:lnTo>
                      <a:pt x="2" y="20"/>
                    </a:lnTo>
                    <a:lnTo>
                      <a:pt x="0" y="12"/>
                    </a:lnTo>
                    <a:lnTo>
                      <a:pt x="0" y="8"/>
                    </a:lnTo>
                    <a:lnTo>
                      <a:pt x="2" y="6"/>
                    </a:lnTo>
                    <a:lnTo>
                      <a:pt x="4" y="4"/>
                    </a:lnTo>
                    <a:lnTo>
                      <a:pt x="8" y="2"/>
                    </a:lnTo>
                    <a:lnTo>
                      <a:pt x="10" y="0"/>
                    </a:lnTo>
                    <a:lnTo>
                      <a:pt x="12" y="2"/>
                    </a:lnTo>
                    <a:lnTo>
                      <a:pt x="14" y="2"/>
                    </a:lnTo>
                    <a:lnTo>
                      <a:pt x="16" y="6"/>
                    </a:lnTo>
                    <a:lnTo>
                      <a:pt x="16" y="8"/>
                    </a:lnTo>
                    <a:lnTo>
                      <a:pt x="16" y="10"/>
                    </a:lnTo>
                    <a:lnTo>
                      <a:pt x="14" y="12"/>
                    </a:lnTo>
                    <a:lnTo>
                      <a:pt x="10" y="18"/>
                    </a:lnTo>
                    <a:lnTo>
                      <a:pt x="4"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74" name="Freeform 1411"/>
            <p:cNvSpPr>
              <a:spLocks/>
            </p:cNvSpPr>
            <p:nvPr/>
          </p:nvSpPr>
          <p:spPr bwMode="auto">
            <a:xfrm>
              <a:off x="6638929" y="3677540"/>
              <a:ext cx="507945" cy="598024"/>
            </a:xfrm>
            <a:custGeom>
              <a:avLst/>
              <a:gdLst/>
              <a:ahLst/>
              <a:cxnLst>
                <a:cxn ang="0">
                  <a:pos x="4" y="246"/>
                </a:cxn>
                <a:cxn ang="0">
                  <a:pos x="0" y="236"/>
                </a:cxn>
                <a:cxn ang="0">
                  <a:pos x="12" y="208"/>
                </a:cxn>
                <a:cxn ang="0">
                  <a:pos x="28" y="190"/>
                </a:cxn>
                <a:cxn ang="0">
                  <a:pos x="34" y="184"/>
                </a:cxn>
                <a:cxn ang="0">
                  <a:pos x="46" y="176"/>
                </a:cxn>
                <a:cxn ang="0">
                  <a:pos x="48" y="164"/>
                </a:cxn>
                <a:cxn ang="0">
                  <a:pos x="54" y="156"/>
                </a:cxn>
                <a:cxn ang="0">
                  <a:pos x="50" y="120"/>
                </a:cxn>
                <a:cxn ang="0">
                  <a:pos x="46" y="104"/>
                </a:cxn>
                <a:cxn ang="0">
                  <a:pos x="38" y="90"/>
                </a:cxn>
                <a:cxn ang="0">
                  <a:pos x="32" y="78"/>
                </a:cxn>
                <a:cxn ang="0">
                  <a:pos x="24" y="60"/>
                </a:cxn>
                <a:cxn ang="0">
                  <a:pos x="22" y="46"/>
                </a:cxn>
                <a:cxn ang="0">
                  <a:pos x="6" y="24"/>
                </a:cxn>
                <a:cxn ang="0">
                  <a:pos x="22" y="0"/>
                </a:cxn>
                <a:cxn ang="0">
                  <a:pos x="50" y="0"/>
                </a:cxn>
                <a:cxn ang="0">
                  <a:pos x="84" y="0"/>
                </a:cxn>
                <a:cxn ang="0">
                  <a:pos x="100" y="4"/>
                </a:cxn>
                <a:cxn ang="0">
                  <a:pos x="136" y="8"/>
                </a:cxn>
                <a:cxn ang="0">
                  <a:pos x="160" y="12"/>
                </a:cxn>
                <a:cxn ang="0">
                  <a:pos x="210" y="46"/>
                </a:cxn>
                <a:cxn ang="0">
                  <a:pos x="238" y="48"/>
                </a:cxn>
                <a:cxn ang="0">
                  <a:pos x="260" y="52"/>
                </a:cxn>
                <a:cxn ang="0">
                  <a:pos x="274" y="54"/>
                </a:cxn>
                <a:cxn ang="0">
                  <a:pos x="284" y="54"/>
                </a:cxn>
                <a:cxn ang="0">
                  <a:pos x="302" y="32"/>
                </a:cxn>
                <a:cxn ang="0">
                  <a:pos x="342" y="12"/>
                </a:cxn>
                <a:cxn ang="0">
                  <a:pos x="364" y="24"/>
                </a:cxn>
                <a:cxn ang="0">
                  <a:pos x="382" y="26"/>
                </a:cxn>
                <a:cxn ang="0">
                  <a:pos x="400" y="24"/>
                </a:cxn>
                <a:cxn ang="0">
                  <a:pos x="400" y="32"/>
                </a:cxn>
                <a:cxn ang="0">
                  <a:pos x="362" y="112"/>
                </a:cxn>
                <a:cxn ang="0">
                  <a:pos x="384" y="304"/>
                </a:cxn>
                <a:cxn ang="0">
                  <a:pos x="388" y="326"/>
                </a:cxn>
                <a:cxn ang="0">
                  <a:pos x="374" y="336"/>
                </a:cxn>
                <a:cxn ang="0">
                  <a:pos x="362" y="348"/>
                </a:cxn>
                <a:cxn ang="0">
                  <a:pos x="358" y="350"/>
                </a:cxn>
                <a:cxn ang="0">
                  <a:pos x="356" y="358"/>
                </a:cxn>
                <a:cxn ang="0">
                  <a:pos x="340" y="366"/>
                </a:cxn>
                <a:cxn ang="0">
                  <a:pos x="328" y="370"/>
                </a:cxn>
                <a:cxn ang="0">
                  <a:pos x="322" y="386"/>
                </a:cxn>
                <a:cxn ang="0">
                  <a:pos x="320" y="402"/>
                </a:cxn>
                <a:cxn ang="0">
                  <a:pos x="312" y="410"/>
                </a:cxn>
                <a:cxn ang="0">
                  <a:pos x="304" y="434"/>
                </a:cxn>
                <a:cxn ang="0">
                  <a:pos x="296" y="448"/>
                </a:cxn>
                <a:cxn ang="0">
                  <a:pos x="274" y="476"/>
                </a:cxn>
                <a:cxn ang="0">
                  <a:pos x="242" y="456"/>
                </a:cxn>
                <a:cxn ang="0">
                  <a:pos x="198" y="424"/>
                </a:cxn>
                <a:cxn ang="0">
                  <a:pos x="190" y="416"/>
                </a:cxn>
                <a:cxn ang="0">
                  <a:pos x="196" y="402"/>
                </a:cxn>
                <a:cxn ang="0">
                  <a:pos x="174" y="384"/>
                </a:cxn>
                <a:cxn ang="0">
                  <a:pos x="116" y="352"/>
                </a:cxn>
                <a:cxn ang="0">
                  <a:pos x="42" y="312"/>
                </a:cxn>
                <a:cxn ang="0">
                  <a:pos x="2" y="292"/>
                </a:cxn>
              </a:cxnLst>
              <a:rect l="0" t="0" r="r" b="b"/>
              <a:pathLst>
                <a:path w="406" h="478">
                  <a:moveTo>
                    <a:pt x="2" y="292"/>
                  </a:moveTo>
                  <a:lnTo>
                    <a:pt x="2" y="290"/>
                  </a:lnTo>
                  <a:lnTo>
                    <a:pt x="2" y="262"/>
                  </a:lnTo>
                  <a:lnTo>
                    <a:pt x="2" y="254"/>
                  </a:lnTo>
                  <a:lnTo>
                    <a:pt x="4" y="246"/>
                  </a:lnTo>
                  <a:lnTo>
                    <a:pt x="2" y="244"/>
                  </a:lnTo>
                  <a:lnTo>
                    <a:pt x="2" y="242"/>
                  </a:lnTo>
                  <a:lnTo>
                    <a:pt x="2" y="240"/>
                  </a:lnTo>
                  <a:lnTo>
                    <a:pt x="2" y="238"/>
                  </a:lnTo>
                  <a:lnTo>
                    <a:pt x="0" y="236"/>
                  </a:lnTo>
                  <a:lnTo>
                    <a:pt x="0" y="234"/>
                  </a:lnTo>
                  <a:lnTo>
                    <a:pt x="4" y="228"/>
                  </a:lnTo>
                  <a:lnTo>
                    <a:pt x="8" y="224"/>
                  </a:lnTo>
                  <a:lnTo>
                    <a:pt x="10" y="220"/>
                  </a:lnTo>
                  <a:lnTo>
                    <a:pt x="12" y="208"/>
                  </a:lnTo>
                  <a:lnTo>
                    <a:pt x="16" y="206"/>
                  </a:lnTo>
                  <a:lnTo>
                    <a:pt x="18" y="206"/>
                  </a:lnTo>
                  <a:lnTo>
                    <a:pt x="26" y="196"/>
                  </a:lnTo>
                  <a:lnTo>
                    <a:pt x="26" y="194"/>
                  </a:lnTo>
                  <a:lnTo>
                    <a:pt x="28" y="190"/>
                  </a:lnTo>
                  <a:lnTo>
                    <a:pt x="30" y="188"/>
                  </a:lnTo>
                  <a:lnTo>
                    <a:pt x="30" y="186"/>
                  </a:lnTo>
                  <a:lnTo>
                    <a:pt x="30" y="184"/>
                  </a:lnTo>
                  <a:lnTo>
                    <a:pt x="32" y="182"/>
                  </a:lnTo>
                  <a:lnTo>
                    <a:pt x="34" y="184"/>
                  </a:lnTo>
                  <a:lnTo>
                    <a:pt x="34" y="180"/>
                  </a:lnTo>
                  <a:lnTo>
                    <a:pt x="40" y="176"/>
                  </a:lnTo>
                  <a:lnTo>
                    <a:pt x="42" y="176"/>
                  </a:lnTo>
                  <a:lnTo>
                    <a:pt x="44" y="176"/>
                  </a:lnTo>
                  <a:lnTo>
                    <a:pt x="46" y="176"/>
                  </a:lnTo>
                  <a:lnTo>
                    <a:pt x="46" y="174"/>
                  </a:lnTo>
                  <a:lnTo>
                    <a:pt x="46" y="172"/>
                  </a:lnTo>
                  <a:lnTo>
                    <a:pt x="46" y="170"/>
                  </a:lnTo>
                  <a:lnTo>
                    <a:pt x="46" y="166"/>
                  </a:lnTo>
                  <a:lnTo>
                    <a:pt x="48" y="164"/>
                  </a:lnTo>
                  <a:lnTo>
                    <a:pt x="48" y="162"/>
                  </a:lnTo>
                  <a:lnTo>
                    <a:pt x="50" y="160"/>
                  </a:lnTo>
                  <a:lnTo>
                    <a:pt x="50" y="158"/>
                  </a:lnTo>
                  <a:lnTo>
                    <a:pt x="52" y="158"/>
                  </a:lnTo>
                  <a:lnTo>
                    <a:pt x="54" y="156"/>
                  </a:lnTo>
                  <a:lnTo>
                    <a:pt x="56" y="152"/>
                  </a:lnTo>
                  <a:lnTo>
                    <a:pt x="56" y="142"/>
                  </a:lnTo>
                  <a:lnTo>
                    <a:pt x="54" y="130"/>
                  </a:lnTo>
                  <a:lnTo>
                    <a:pt x="52" y="124"/>
                  </a:lnTo>
                  <a:lnTo>
                    <a:pt x="50" y="120"/>
                  </a:lnTo>
                  <a:lnTo>
                    <a:pt x="48" y="118"/>
                  </a:lnTo>
                  <a:lnTo>
                    <a:pt x="48" y="116"/>
                  </a:lnTo>
                  <a:lnTo>
                    <a:pt x="48" y="114"/>
                  </a:lnTo>
                  <a:lnTo>
                    <a:pt x="50" y="108"/>
                  </a:lnTo>
                  <a:lnTo>
                    <a:pt x="46" y="104"/>
                  </a:lnTo>
                  <a:lnTo>
                    <a:pt x="44" y="100"/>
                  </a:lnTo>
                  <a:lnTo>
                    <a:pt x="44" y="96"/>
                  </a:lnTo>
                  <a:lnTo>
                    <a:pt x="42" y="92"/>
                  </a:lnTo>
                  <a:lnTo>
                    <a:pt x="40" y="90"/>
                  </a:lnTo>
                  <a:lnTo>
                    <a:pt x="38" y="90"/>
                  </a:lnTo>
                  <a:lnTo>
                    <a:pt x="36" y="92"/>
                  </a:lnTo>
                  <a:lnTo>
                    <a:pt x="34" y="86"/>
                  </a:lnTo>
                  <a:lnTo>
                    <a:pt x="34" y="84"/>
                  </a:lnTo>
                  <a:lnTo>
                    <a:pt x="32" y="80"/>
                  </a:lnTo>
                  <a:lnTo>
                    <a:pt x="32" y="78"/>
                  </a:lnTo>
                  <a:lnTo>
                    <a:pt x="30" y="78"/>
                  </a:lnTo>
                  <a:lnTo>
                    <a:pt x="28" y="76"/>
                  </a:lnTo>
                  <a:lnTo>
                    <a:pt x="26" y="72"/>
                  </a:lnTo>
                  <a:lnTo>
                    <a:pt x="24" y="64"/>
                  </a:lnTo>
                  <a:lnTo>
                    <a:pt x="24" y="60"/>
                  </a:lnTo>
                  <a:lnTo>
                    <a:pt x="24" y="58"/>
                  </a:lnTo>
                  <a:lnTo>
                    <a:pt x="26" y="58"/>
                  </a:lnTo>
                  <a:lnTo>
                    <a:pt x="26" y="52"/>
                  </a:lnTo>
                  <a:lnTo>
                    <a:pt x="26" y="50"/>
                  </a:lnTo>
                  <a:lnTo>
                    <a:pt x="22" y="46"/>
                  </a:lnTo>
                  <a:lnTo>
                    <a:pt x="14" y="44"/>
                  </a:lnTo>
                  <a:lnTo>
                    <a:pt x="12" y="42"/>
                  </a:lnTo>
                  <a:lnTo>
                    <a:pt x="8" y="36"/>
                  </a:lnTo>
                  <a:lnTo>
                    <a:pt x="6" y="28"/>
                  </a:lnTo>
                  <a:lnTo>
                    <a:pt x="6" y="24"/>
                  </a:lnTo>
                  <a:lnTo>
                    <a:pt x="4" y="22"/>
                  </a:lnTo>
                  <a:lnTo>
                    <a:pt x="2" y="22"/>
                  </a:lnTo>
                  <a:lnTo>
                    <a:pt x="6" y="16"/>
                  </a:lnTo>
                  <a:lnTo>
                    <a:pt x="20" y="2"/>
                  </a:lnTo>
                  <a:lnTo>
                    <a:pt x="22" y="0"/>
                  </a:lnTo>
                  <a:lnTo>
                    <a:pt x="26" y="0"/>
                  </a:lnTo>
                  <a:lnTo>
                    <a:pt x="38" y="0"/>
                  </a:lnTo>
                  <a:lnTo>
                    <a:pt x="42" y="0"/>
                  </a:lnTo>
                  <a:lnTo>
                    <a:pt x="44" y="0"/>
                  </a:lnTo>
                  <a:lnTo>
                    <a:pt x="50" y="0"/>
                  </a:lnTo>
                  <a:lnTo>
                    <a:pt x="60" y="0"/>
                  </a:lnTo>
                  <a:lnTo>
                    <a:pt x="78" y="0"/>
                  </a:lnTo>
                  <a:lnTo>
                    <a:pt x="80" y="0"/>
                  </a:lnTo>
                  <a:lnTo>
                    <a:pt x="82" y="0"/>
                  </a:lnTo>
                  <a:lnTo>
                    <a:pt x="84" y="0"/>
                  </a:lnTo>
                  <a:lnTo>
                    <a:pt x="86" y="0"/>
                  </a:lnTo>
                  <a:lnTo>
                    <a:pt x="88" y="0"/>
                  </a:lnTo>
                  <a:lnTo>
                    <a:pt x="98" y="0"/>
                  </a:lnTo>
                  <a:lnTo>
                    <a:pt x="100" y="0"/>
                  </a:lnTo>
                  <a:lnTo>
                    <a:pt x="100" y="4"/>
                  </a:lnTo>
                  <a:lnTo>
                    <a:pt x="106" y="8"/>
                  </a:lnTo>
                  <a:lnTo>
                    <a:pt x="114" y="8"/>
                  </a:lnTo>
                  <a:lnTo>
                    <a:pt x="118" y="8"/>
                  </a:lnTo>
                  <a:lnTo>
                    <a:pt x="126" y="8"/>
                  </a:lnTo>
                  <a:lnTo>
                    <a:pt x="136" y="8"/>
                  </a:lnTo>
                  <a:lnTo>
                    <a:pt x="138" y="8"/>
                  </a:lnTo>
                  <a:lnTo>
                    <a:pt x="140" y="8"/>
                  </a:lnTo>
                  <a:lnTo>
                    <a:pt x="150" y="8"/>
                  </a:lnTo>
                  <a:lnTo>
                    <a:pt x="156" y="10"/>
                  </a:lnTo>
                  <a:lnTo>
                    <a:pt x="160" y="12"/>
                  </a:lnTo>
                  <a:lnTo>
                    <a:pt x="162" y="14"/>
                  </a:lnTo>
                  <a:lnTo>
                    <a:pt x="170" y="20"/>
                  </a:lnTo>
                  <a:lnTo>
                    <a:pt x="206" y="42"/>
                  </a:lnTo>
                  <a:lnTo>
                    <a:pt x="208" y="44"/>
                  </a:lnTo>
                  <a:lnTo>
                    <a:pt x="210" y="46"/>
                  </a:lnTo>
                  <a:lnTo>
                    <a:pt x="212" y="48"/>
                  </a:lnTo>
                  <a:lnTo>
                    <a:pt x="224" y="48"/>
                  </a:lnTo>
                  <a:lnTo>
                    <a:pt x="230" y="48"/>
                  </a:lnTo>
                  <a:lnTo>
                    <a:pt x="232" y="46"/>
                  </a:lnTo>
                  <a:lnTo>
                    <a:pt x="238" y="48"/>
                  </a:lnTo>
                  <a:lnTo>
                    <a:pt x="244" y="50"/>
                  </a:lnTo>
                  <a:lnTo>
                    <a:pt x="248" y="52"/>
                  </a:lnTo>
                  <a:lnTo>
                    <a:pt x="254" y="52"/>
                  </a:lnTo>
                  <a:lnTo>
                    <a:pt x="256" y="52"/>
                  </a:lnTo>
                  <a:lnTo>
                    <a:pt x="260" y="52"/>
                  </a:lnTo>
                  <a:lnTo>
                    <a:pt x="262" y="52"/>
                  </a:lnTo>
                  <a:lnTo>
                    <a:pt x="264" y="52"/>
                  </a:lnTo>
                  <a:lnTo>
                    <a:pt x="268" y="54"/>
                  </a:lnTo>
                  <a:lnTo>
                    <a:pt x="270" y="54"/>
                  </a:lnTo>
                  <a:lnTo>
                    <a:pt x="274" y="54"/>
                  </a:lnTo>
                  <a:lnTo>
                    <a:pt x="274" y="52"/>
                  </a:lnTo>
                  <a:lnTo>
                    <a:pt x="274" y="54"/>
                  </a:lnTo>
                  <a:lnTo>
                    <a:pt x="280" y="54"/>
                  </a:lnTo>
                  <a:lnTo>
                    <a:pt x="282" y="54"/>
                  </a:lnTo>
                  <a:lnTo>
                    <a:pt x="284" y="54"/>
                  </a:lnTo>
                  <a:lnTo>
                    <a:pt x="284" y="56"/>
                  </a:lnTo>
                  <a:lnTo>
                    <a:pt x="286" y="56"/>
                  </a:lnTo>
                  <a:lnTo>
                    <a:pt x="288" y="52"/>
                  </a:lnTo>
                  <a:lnTo>
                    <a:pt x="298" y="44"/>
                  </a:lnTo>
                  <a:lnTo>
                    <a:pt x="302" y="32"/>
                  </a:lnTo>
                  <a:lnTo>
                    <a:pt x="308" y="30"/>
                  </a:lnTo>
                  <a:lnTo>
                    <a:pt x="318" y="24"/>
                  </a:lnTo>
                  <a:lnTo>
                    <a:pt x="328" y="20"/>
                  </a:lnTo>
                  <a:lnTo>
                    <a:pt x="328" y="18"/>
                  </a:lnTo>
                  <a:lnTo>
                    <a:pt x="342" y="12"/>
                  </a:lnTo>
                  <a:lnTo>
                    <a:pt x="348" y="10"/>
                  </a:lnTo>
                  <a:lnTo>
                    <a:pt x="352" y="12"/>
                  </a:lnTo>
                  <a:lnTo>
                    <a:pt x="360" y="18"/>
                  </a:lnTo>
                  <a:lnTo>
                    <a:pt x="362" y="22"/>
                  </a:lnTo>
                  <a:lnTo>
                    <a:pt x="364" y="24"/>
                  </a:lnTo>
                  <a:lnTo>
                    <a:pt x="366" y="24"/>
                  </a:lnTo>
                  <a:lnTo>
                    <a:pt x="366" y="26"/>
                  </a:lnTo>
                  <a:lnTo>
                    <a:pt x="368" y="26"/>
                  </a:lnTo>
                  <a:lnTo>
                    <a:pt x="374" y="26"/>
                  </a:lnTo>
                  <a:lnTo>
                    <a:pt x="382" y="26"/>
                  </a:lnTo>
                  <a:lnTo>
                    <a:pt x="384" y="26"/>
                  </a:lnTo>
                  <a:lnTo>
                    <a:pt x="386" y="24"/>
                  </a:lnTo>
                  <a:lnTo>
                    <a:pt x="390" y="24"/>
                  </a:lnTo>
                  <a:lnTo>
                    <a:pt x="396" y="22"/>
                  </a:lnTo>
                  <a:lnTo>
                    <a:pt x="400" y="24"/>
                  </a:lnTo>
                  <a:lnTo>
                    <a:pt x="402" y="26"/>
                  </a:lnTo>
                  <a:lnTo>
                    <a:pt x="404" y="24"/>
                  </a:lnTo>
                  <a:lnTo>
                    <a:pt x="406" y="24"/>
                  </a:lnTo>
                  <a:lnTo>
                    <a:pt x="404" y="24"/>
                  </a:lnTo>
                  <a:lnTo>
                    <a:pt x="400" y="32"/>
                  </a:lnTo>
                  <a:lnTo>
                    <a:pt x="378" y="66"/>
                  </a:lnTo>
                  <a:lnTo>
                    <a:pt x="374" y="70"/>
                  </a:lnTo>
                  <a:lnTo>
                    <a:pt x="360" y="86"/>
                  </a:lnTo>
                  <a:lnTo>
                    <a:pt x="360" y="92"/>
                  </a:lnTo>
                  <a:lnTo>
                    <a:pt x="362" y="112"/>
                  </a:lnTo>
                  <a:lnTo>
                    <a:pt x="362" y="164"/>
                  </a:lnTo>
                  <a:lnTo>
                    <a:pt x="362" y="234"/>
                  </a:lnTo>
                  <a:lnTo>
                    <a:pt x="364" y="278"/>
                  </a:lnTo>
                  <a:lnTo>
                    <a:pt x="372" y="290"/>
                  </a:lnTo>
                  <a:lnTo>
                    <a:pt x="384" y="304"/>
                  </a:lnTo>
                  <a:lnTo>
                    <a:pt x="392" y="316"/>
                  </a:lnTo>
                  <a:lnTo>
                    <a:pt x="394" y="320"/>
                  </a:lnTo>
                  <a:lnTo>
                    <a:pt x="392" y="322"/>
                  </a:lnTo>
                  <a:lnTo>
                    <a:pt x="388" y="324"/>
                  </a:lnTo>
                  <a:lnTo>
                    <a:pt x="388" y="326"/>
                  </a:lnTo>
                  <a:lnTo>
                    <a:pt x="386" y="328"/>
                  </a:lnTo>
                  <a:lnTo>
                    <a:pt x="386" y="330"/>
                  </a:lnTo>
                  <a:lnTo>
                    <a:pt x="380" y="336"/>
                  </a:lnTo>
                  <a:lnTo>
                    <a:pt x="378" y="336"/>
                  </a:lnTo>
                  <a:lnTo>
                    <a:pt x="374" y="336"/>
                  </a:lnTo>
                  <a:lnTo>
                    <a:pt x="370" y="338"/>
                  </a:lnTo>
                  <a:lnTo>
                    <a:pt x="364" y="340"/>
                  </a:lnTo>
                  <a:lnTo>
                    <a:pt x="358" y="338"/>
                  </a:lnTo>
                  <a:lnTo>
                    <a:pt x="360" y="344"/>
                  </a:lnTo>
                  <a:lnTo>
                    <a:pt x="362" y="348"/>
                  </a:lnTo>
                  <a:lnTo>
                    <a:pt x="362" y="350"/>
                  </a:lnTo>
                  <a:lnTo>
                    <a:pt x="362" y="352"/>
                  </a:lnTo>
                  <a:lnTo>
                    <a:pt x="362" y="354"/>
                  </a:lnTo>
                  <a:lnTo>
                    <a:pt x="360" y="354"/>
                  </a:lnTo>
                  <a:lnTo>
                    <a:pt x="358" y="350"/>
                  </a:lnTo>
                  <a:lnTo>
                    <a:pt x="356" y="350"/>
                  </a:lnTo>
                  <a:lnTo>
                    <a:pt x="352" y="354"/>
                  </a:lnTo>
                  <a:lnTo>
                    <a:pt x="352" y="356"/>
                  </a:lnTo>
                  <a:lnTo>
                    <a:pt x="354" y="358"/>
                  </a:lnTo>
                  <a:lnTo>
                    <a:pt x="356" y="358"/>
                  </a:lnTo>
                  <a:lnTo>
                    <a:pt x="354" y="358"/>
                  </a:lnTo>
                  <a:lnTo>
                    <a:pt x="346" y="368"/>
                  </a:lnTo>
                  <a:lnTo>
                    <a:pt x="344" y="368"/>
                  </a:lnTo>
                  <a:lnTo>
                    <a:pt x="342" y="366"/>
                  </a:lnTo>
                  <a:lnTo>
                    <a:pt x="340" y="366"/>
                  </a:lnTo>
                  <a:lnTo>
                    <a:pt x="338" y="366"/>
                  </a:lnTo>
                  <a:lnTo>
                    <a:pt x="334" y="368"/>
                  </a:lnTo>
                  <a:lnTo>
                    <a:pt x="332" y="368"/>
                  </a:lnTo>
                  <a:lnTo>
                    <a:pt x="330" y="370"/>
                  </a:lnTo>
                  <a:lnTo>
                    <a:pt x="328" y="370"/>
                  </a:lnTo>
                  <a:lnTo>
                    <a:pt x="328" y="372"/>
                  </a:lnTo>
                  <a:lnTo>
                    <a:pt x="324" y="374"/>
                  </a:lnTo>
                  <a:lnTo>
                    <a:pt x="322" y="378"/>
                  </a:lnTo>
                  <a:lnTo>
                    <a:pt x="322" y="380"/>
                  </a:lnTo>
                  <a:lnTo>
                    <a:pt x="322" y="386"/>
                  </a:lnTo>
                  <a:lnTo>
                    <a:pt x="322" y="388"/>
                  </a:lnTo>
                  <a:lnTo>
                    <a:pt x="322" y="390"/>
                  </a:lnTo>
                  <a:lnTo>
                    <a:pt x="320" y="394"/>
                  </a:lnTo>
                  <a:lnTo>
                    <a:pt x="318" y="402"/>
                  </a:lnTo>
                  <a:lnTo>
                    <a:pt x="320" y="402"/>
                  </a:lnTo>
                  <a:lnTo>
                    <a:pt x="318" y="404"/>
                  </a:lnTo>
                  <a:lnTo>
                    <a:pt x="318" y="406"/>
                  </a:lnTo>
                  <a:lnTo>
                    <a:pt x="316" y="408"/>
                  </a:lnTo>
                  <a:lnTo>
                    <a:pt x="314" y="408"/>
                  </a:lnTo>
                  <a:lnTo>
                    <a:pt x="312" y="410"/>
                  </a:lnTo>
                  <a:lnTo>
                    <a:pt x="310" y="416"/>
                  </a:lnTo>
                  <a:lnTo>
                    <a:pt x="306" y="424"/>
                  </a:lnTo>
                  <a:lnTo>
                    <a:pt x="306" y="426"/>
                  </a:lnTo>
                  <a:lnTo>
                    <a:pt x="306" y="428"/>
                  </a:lnTo>
                  <a:lnTo>
                    <a:pt x="304" y="434"/>
                  </a:lnTo>
                  <a:lnTo>
                    <a:pt x="302" y="436"/>
                  </a:lnTo>
                  <a:lnTo>
                    <a:pt x="302" y="440"/>
                  </a:lnTo>
                  <a:lnTo>
                    <a:pt x="298" y="444"/>
                  </a:lnTo>
                  <a:lnTo>
                    <a:pt x="296" y="446"/>
                  </a:lnTo>
                  <a:lnTo>
                    <a:pt x="296" y="448"/>
                  </a:lnTo>
                  <a:lnTo>
                    <a:pt x="288" y="466"/>
                  </a:lnTo>
                  <a:lnTo>
                    <a:pt x="282" y="476"/>
                  </a:lnTo>
                  <a:lnTo>
                    <a:pt x="278" y="478"/>
                  </a:lnTo>
                  <a:lnTo>
                    <a:pt x="276" y="476"/>
                  </a:lnTo>
                  <a:lnTo>
                    <a:pt x="274" y="476"/>
                  </a:lnTo>
                  <a:lnTo>
                    <a:pt x="272" y="478"/>
                  </a:lnTo>
                  <a:lnTo>
                    <a:pt x="270" y="478"/>
                  </a:lnTo>
                  <a:lnTo>
                    <a:pt x="264" y="472"/>
                  </a:lnTo>
                  <a:lnTo>
                    <a:pt x="248" y="460"/>
                  </a:lnTo>
                  <a:lnTo>
                    <a:pt x="242" y="456"/>
                  </a:lnTo>
                  <a:lnTo>
                    <a:pt x="234" y="452"/>
                  </a:lnTo>
                  <a:lnTo>
                    <a:pt x="232" y="450"/>
                  </a:lnTo>
                  <a:lnTo>
                    <a:pt x="202" y="428"/>
                  </a:lnTo>
                  <a:lnTo>
                    <a:pt x="198" y="426"/>
                  </a:lnTo>
                  <a:lnTo>
                    <a:pt x="198" y="424"/>
                  </a:lnTo>
                  <a:lnTo>
                    <a:pt x="198" y="422"/>
                  </a:lnTo>
                  <a:lnTo>
                    <a:pt x="198" y="420"/>
                  </a:lnTo>
                  <a:lnTo>
                    <a:pt x="194" y="420"/>
                  </a:lnTo>
                  <a:lnTo>
                    <a:pt x="190" y="420"/>
                  </a:lnTo>
                  <a:lnTo>
                    <a:pt x="190" y="416"/>
                  </a:lnTo>
                  <a:lnTo>
                    <a:pt x="190" y="414"/>
                  </a:lnTo>
                  <a:lnTo>
                    <a:pt x="194" y="410"/>
                  </a:lnTo>
                  <a:lnTo>
                    <a:pt x="196" y="408"/>
                  </a:lnTo>
                  <a:lnTo>
                    <a:pt x="196" y="406"/>
                  </a:lnTo>
                  <a:lnTo>
                    <a:pt x="196" y="402"/>
                  </a:lnTo>
                  <a:lnTo>
                    <a:pt x="194" y="396"/>
                  </a:lnTo>
                  <a:lnTo>
                    <a:pt x="190" y="392"/>
                  </a:lnTo>
                  <a:lnTo>
                    <a:pt x="186" y="390"/>
                  </a:lnTo>
                  <a:lnTo>
                    <a:pt x="180" y="388"/>
                  </a:lnTo>
                  <a:lnTo>
                    <a:pt x="174" y="384"/>
                  </a:lnTo>
                  <a:lnTo>
                    <a:pt x="170" y="382"/>
                  </a:lnTo>
                  <a:lnTo>
                    <a:pt x="168" y="382"/>
                  </a:lnTo>
                  <a:lnTo>
                    <a:pt x="144" y="368"/>
                  </a:lnTo>
                  <a:lnTo>
                    <a:pt x="124" y="358"/>
                  </a:lnTo>
                  <a:lnTo>
                    <a:pt x="116" y="352"/>
                  </a:lnTo>
                  <a:lnTo>
                    <a:pt x="110" y="348"/>
                  </a:lnTo>
                  <a:lnTo>
                    <a:pt x="102" y="344"/>
                  </a:lnTo>
                  <a:lnTo>
                    <a:pt x="92" y="338"/>
                  </a:lnTo>
                  <a:lnTo>
                    <a:pt x="70" y="326"/>
                  </a:lnTo>
                  <a:lnTo>
                    <a:pt x="42" y="312"/>
                  </a:lnTo>
                  <a:lnTo>
                    <a:pt x="30" y="306"/>
                  </a:lnTo>
                  <a:lnTo>
                    <a:pt x="26" y="304"/>
                  </a:lnTo>
                  <a:lnTo>
                    <a:pt x="10" y="294"/>
                  </a:lnTo>
                  <a:lnTo>
                    <a:pt x="6" y="292"/>
                  </a:lnTo>
                  <a:lnTo>
                    <a:pt x="2" y="29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5" name="Freeform 1412"/>
            <p:cNvSpPr>
              <a:spLocks/>
            </p:cNvSpPr>
            <p:nvPr/>
          </p:nvSpPr>
          <p:spPr bwMode="auto">
            <a:xfrm>
              <a:off x="5022512" y="3832677"/>
              <a:ext cx="372827" cy="400351"/>
            </a:xfrm>
            <a:custGeom>
              <a:avLst/>
              <a:gdLst/>
              <a:ahLst/>
              <a:cxnLst>
                <a:cxn ang="0">
                  <a:pos x="216" y="230"/>
                </a:cxn>
                <a:cxn ang="0">
                  <a:pos x="204" y="214"/>
                </a:cxn>
                <a:cxn ang="0">
                  <a:pos x="194" y="226"/>
                </a:cxn>
                <a:cxn ang="0">
                  <a:pos x="170" y="240"/>
                </a:cxn>
                <a:cxn ang="0">
                  <a:pos x="152" y="240"/>
                </a:cxn>
                <a:cxn ang="0">
                  <a:pos x="150" y="258"/>
                </a:cxn>
                <a:cxn ang="0">
                  <a:pos x="160" y="274"/>
                </a:cxn>
                <a:cxn ang="0">
                  <a:pos x="160" y="284"/>
                </a:cxn>
                <a:cxn ang="0">
                  <a:pos x="166" y="306"/>
                </a:cxn>
                <a:cxn ang="0">
                  <a:pos x="146" y="300"/>
                </a:cxn>
                <a:cxn ang="0">
                  <a:pos x="118" y="314"/>
                </a:cxn>
                <a:cxn ang="0">
                  <a:pos x="108" y="300"/>
                </a:cxn>
                <a:cxn ang="0">
                  <a:pos x="82" y="272"/>
                </a:cxn>
                <a:cxn ang="0">
                  <a:pos x="54" y="246"/>
                </a:cxn>
                <a:cxn ang="0">
                  <a:pos x="76" y="250"/>
                </a:cxn>
                <a:cxn ang="0">
                  <a:pos x="60" y="242"/>
                </a:cxn>
                <a:cxn ang="0">
                  <a:pos x="48" y="240"/>
                </a:cxn>
                <a:cxn ang="0">
                  <a:pos x="40" y="226"/>
                </a:cxn>
                <a:cxn ang="0">
                  <a:pos x="42" y="222"/>
                </a:cxn>
                <a:cxn ang="0">
                  <a:pos x="32" y="214"/>
                </a:cxn>
                <a:cxn ang="0">
                  <a:pos x="26" y="198"/>
                </a:cxn>
                <a:cxn ang="0">
                  <a:pos x="16" y="182"/>
                </a:cxn>
                <a:cxn ang="0">
                  <a:pos x="34" y="202"/>
                </a:cxn>
                <a:cxn ang="0">
                  <a:pos x="40" y="198"/>
                </a:cxn>
                <a:cxn ang="0">
                  <a:pos x="30" y="194"/>
                </a:cxn>
                <a:cxn ang="0">
                  <a:pos x="28" y="190"/>
                </a:cxn>
                <a:cxn ang="0">
                  <a:pos x="10" y="170"/>
                </a:cxn>
                <a:cxn ang="0">
                  <a:pos x="6" y="152"/>
                </a:cxn>
                <a:cxn ang="0">
                  <a:pos x="22" y="148"/>
                </a:cxn>
                <a:cxn ang="0">
                  <a:pos x="32" y="130"/>
                </a:cxn>
                <a:cxn ang="0">
                  <a:pos x="34" y="114"/>
                </a:cxn>
                <a:cxn ang="0">
                  <a:pos x="40" y="110"/>
                </a:cxn>
                <a:cxn ang="0">
                  <a:pos x="60" y="108"/>
                </a:cxn>
                <a:cxn ang="0">
                  <a:pos x="40" y="100"/>
                </a:cxn>
                <a:cxn ang="0">
                  <a:pos x="42" y="82"/>
                </a:cxn>
                <a:cxn ang="0">
                  <a:pos x="48" y="88"/>
                </a:cxn>
                <a:cxn ang="0">
                  <a:pos x="52" y="64"/>
                </a:cxn>
                <a:cxn ang="0">
                  <a:pos x="64" y="70"/>
                </a:cxn>
                <a:cxn ang="0">
                  <a:pos x="88" y="66"/>
                </a:cxn>
                <a:cxn ang="0">
                  <a:pos x="138" y="44"/>
                </a:cxn>
                <a:cxn ang="0">
                  <a:pos x="138" y="16"/>
                </a:cxn>
                <a:cxn ang="0">
                  <a:pos x="158" y="2"/>
                </a:cxn>
                <a:cxn ang="0">
                  <a:pos x="202" y="4"/>
                </a:cxn>
                <a:cxn ang="0">
                  <a:pos x="238" y="6"/>
                </a:cxn>
                <a:cxn ang="0">
                  <a:pos x="230" y="24"/>
                </a:cxn>
                <a:cxn ang="0">
                  <a:pos x="230" y="42"/>
                </a:cxn>
                <a:cxn ang="0">
                  <a:pos x="230" y="56"/>
                </a:cxn>
                <a:cxn ang="0">
                  <a:pos x="250" y="52"/>
                </a:cxn>
                <a:cxn ang="0">
                  <a:pos x="280" y="48"/>
                </a:cxn>
                <a:cxn ang="0">
                  <a:pos x="294" y="72"/>
                </a:cxn>
                <a:cxn ang="0">
                  <a:pos x="280" y="92"/>
                </a:cxn>
                <a:cxn ang="0">
                  <a:pos x="270" y="118"/>
                </a:cxn>
                <a:cxn ang="0">
                  <a:pos x="270" y="132"/>
                </a:cxn>
                <a:cxn ang="0">
                  <a:pos x="284" y="142"/>
                </a:cxn>
                <a:cxn ang="0">
                  <a:pos x="296" y="158"/>
                </a:cxn>
                <a:cxn ang="0">
                  <a:pos x="296" y="194"/>
                </a:cxn>
                <a:cxn ang="0">
                  <a:pos x="290" y="218"/>
                </a:cxn>
                <a:cxn ang="0">
                  <a:pos x="282" y="240"/>
                </a:cxn>
                <a:cxn ang="0">
                  <a:pos x="266" y="246"/>
                </a:cxn>
                <a:cxn ang="0">
                  <a:pos x="256" y="234"/>
                </a:cxn>
                <a:cxn ang="0">
                  <a:pos x="234" y="242"/>
                </a:cxn>
              </a:cxnLst>
              <a:rect l="0" t="0" r="r" b="b"/>
              <a:pathLst>
                <a:path w="298" h="320">
                  <a:moveTo>
                    <a:pt x="220" y="242"/>
                  </a:moveTo>
                  <a:lnTo>
                    <a:pt x="222" y="238"/>
                  </a:lnTo>
                  <a:lnTo>
                    <a:pt x="222" y="236"/>
                  </a:lnTo>
                  <a:lnTo>
                    <a:pt x="220" y="234"/>
                  </a:lnTo>
                  <a:lnTo>
                    <a:pt x="218" y="232"/>
                  </a:lnTo>
                  <a:lnTo>
                    <a:pt x="216" y="232"/>
                  </a:lnTo>
                  <a:lnTo>
                    <a:pt x="216" y="230"/>
                  </a:lnTo>
                  <a:lnTo>
                    <a:pt x="214" y="222"/>
                  </a:lnTo>
                  <a:lnTo>
                    <a:pt x="214" y="220"/>
                  </a:lnTo>
                  <a:lnTo>
                    <a:pt x="212" y="218"/>
                  </a:lnTo>
                  <a:lnTo>
                    <a:pt x="210" y="216"/>
                  </a:lnTo>
                  <a:lnTo>
                    <a:pt x="208" y="216"/>
                  </a:lnTo>
                  <a:lnTo>
                    <a:pt x="206" y="214"/>
                  </a:lnTo>
                  <a:lnTo>
                    <a:pt x="204" y="214"/>
                  </a:lnTo>
                  <a:lnTo>
                    <a:pt x="200" y="214"/>
                  </a:lnTo>
                  <a:lnTo>
                    <a:pt x="196" y="216"/>
                  </a:lnTo>
                  <a:lnTo>
                    <a:pt x="194" y="218"/>
                  </a:lnTo>
                  <a:lnTo>
                    <a:pt x="194" y="216"/>
                  </a:lnTo>
                  <a:lnTo>
                    <a:pt x="192" y="216"/>
                  </a:lnTo>
                  <a:lnTo>
                    <a:pt x="192" y="224"/>
                  </a:lnTo>
                  <a:lnTo>
                    <a:pt x="194" y="226"/>
                  </a:lnTo>
                  <a:lnTo>
                    <a:pt x="194" y="228"/>
                  </a:lnTo>
                  <a:lnTo>
                    <a:pt x="194" y="234"/>
                  </a:lnTo>
                  <a:lnTo>
                    <a:pt x="194" y="238"/>
                  </a:lnTo>
                  <a:lnTo>
                    <a:pt x="172" y="244"/>
                  </a:lnTo>
                  <a:lnTo>
                    <a:pt x="172" y="242"/>
                  </a:lnTo>
                  <a:lnTo>
                    <a:pt x="170" y="242"/>
                  </a:lnTo>
                  <a:lnTo>
                    <a:pt x="170" y="240"/>
                  </a:lnTo>
                  <a:lnTo>
                    <a:pt x="168" y="240"/>
                  </a:lnTo>
                  <a:lnTo>
                    <a:pt x="168" y="238"/>
                  </a:lnTo>
                  <a:lnTo>
                    <a:pt x="160" y="240"/>
                  </a:lnTo>
                  <a:lnTo>
                    <a:pt x="158" y="242"/>
                  </a:lnTo>
                  <a:lnTo>
                    <a:pt x="156" y="244"/>
                  </a:lnTo>
                  <a:lnTo>
                    <a:pt x="152" y="242"/>
                  </a:lnTo>
                  <a:lnTo>
                    <a:pt x="152" y="240"/>
                  </a:lnTo>
                  <a:lnTo>
                    <a:pt x="150" y="238"/>
                  </a:lnTo>
                  <a:lnTo>
                    <a:pt x="148" y="238"/>
                  </a:lnTo>
                  <a:lnTo>
                    <a:pt x="150" y="246"/>
                  </a:lnTo>
                  <a:lnTo>
                    <a:pt x="150" y="250"/>
                  </a:lnTo>
                  <a:lnTo>
                    <a:pt x="152" y="254"/>
                  </a:lnTo>
                  <a:lnTo>
                    <a:pt x="152" y="256"/>
                  </a:lnTo>
                  <a:lnTo>
                    <a:pt x="150" y="258"/>
                  </a:lnTo>
                  <a:lnTo>
                    <a:pt x="148" y="260"/>
                  </a:lnTo>
                  <a:lnTo>
                    <a:pt x="146" y="262"/>
                  </a:lnTo>
                  <a:lnTo>
                    <a:pt x="146" y="264"/>
                  </a:lnTo>
                  <a:lnTo>
                    <a:pt x="148" y="266"/>
                  </a:lnTo>
                  <a:lnTo>
                    <a:pt x="152" y="264"/>
                  </a:lnTo>
                  <a:lnTo>
                    <a:pt x="160" y="272"/>
                  </a:lnTo>
                  <a:lnTo>
                    <a:pt x="160" y="274"/>
                  </a:lnTo>
                  <a:lnTo>
                    <a:pt x="158" y="276"/>
                  </a:lnTo>
                  <a:lnTo>
                    <a:pt x="156" y="276"/>
                  </a:lnTo>
                  <a:lnTo>
                    <a:pt x="154" y="276"/>
                  </a:lnTo>
                  <a:lnTo>
                    <a:pt x="154" y="278"/>
                  </a:lnTo>
                  <a:lnTo>
                    <a:pt x="154" y="282"/>
                  </a:lnTo>
                  <a:lnTo>
                    <a:pt x="158" y="284"/>
                  </a:lnTo>
                  <a:lnTo>
                    <a:pt x="160" y="284"/>
                  </a:lnTo>
                  <a:lnTo>
                    <a:pt x="168" y="288"/>
                  </a:lnTo>
                  <a:lnTo>
                    <a:pt x="168" y="290"/>
                  </a:lnTo>
                  <a:lnTo>
                    <a:pt x="166" y="292"/>
                  </a:lnTo>
                  <a:lnTo>
                    <a:pt x="164" y="294"/>
                  </a:lnTo>
                  <a:lnTo>
                    <a:pt x="162" y="302"/>
                  </a:lnTo>
                  <a:lnTo>
                    <a:pt x="162" y="304"/>
                  </a:lnTo>
                  <a:lnTo>
                    <a:pt x="166" y="306"/>
                  </a:lnTo>
                  <a:lnTo>
                    <a:pt x="164" y="308"/>
                  </a:lnTo>
                  <a:lnTo>
                    <a:pt x="162" y="310"/>
                  </a:lnTo>
                  <a:lnTo>
                    <a:pt x="156" y="308"/>
                  </a:lnTo>
                  <a:lnTo>
                    <a:pt x="152" y="306"/>
                  </a:lnTo>
                  <a:lnTo>
                    <a:pt x="150" y="304"/>
                  </a:lnTo>
                  <a:lnTo>
                    <a:pt x="148" y="300"/>
                  </a:lnTo>
                  <a:lnTo>
                    <a:pt x="146" y="300"/>
                  </a:lnTo>
                  <a:lnTo>
                    <a:pt x="144" y="300"/>
                  </a:lnTo>
                  <a:lnTo>
                    <a:pt x="134" y="306"/>
                  </a:lnTo>
                  <a:lnTo>
                    <a:pt x="130" y="308"/>
                  </a:lnTo>
                  <a:lnTo>
                    <a:pt x="128" y="316"/>
                  </a:lnTo>
                  <a:lnTo>
                    <a:pt x="126" y="320"/>
                  </a:lnTo>
                  <a:lnTo>
                    <a:pt x="120" y="316"/>
                  </a:lnTo>
                  <a:lnTo>
                    <a:pt x="118" y="314"/>
                  </a:lnTo>
                  <a:lnTo>
                    <a:pt x="118" y="312"/>
                  </a:lnTo>
                  <a:lnTo>
                    <a:pt x="118" y="310"/>
                  </a:lnTo>
                  <a:lnTo>
                    <a:pt x="118" y="308"/>
                  </a:lnTo>
                  <a:lnTo>
                    <a:pt x="116" y="308"/>
                  </a:lnTo>
                  <a:lnTo>
                    <a:pt x="114" y="306"/>
                  </a:lnTo>
                  <a:lnTo>
                    <a:pt x="110" y="300"/>
                  </a:lnTo>
                  <a:lnTo>
                    <a:pt x="108" y="300"/>
                  </a:lnTo>
                  <a:lnTo>
                    <a:pt x="106" y="298"/>
                  </a:lnTo>
                  <a:lnTo>
                    <a:pt x="104" y="298"/>
                  </a:lnTo>
                  <a:lnTo>
                    <a:pt x="100" y="290"/>
                  </a:lnTo>
                  <a:lnTo>
                    <a:pt x="98" y="288"/>
                  </a:lnTo>
                  <a:lnTo>
                    <a:pt x="92" y="282"/>
                  </a:lnTo>
                  <a:lnTo>
                    <a:pt x="90" y="278"/>
                  </a:lnTo>
                  <a:lnTo>
                    <a:pt x="82" y="272"/>
                  </a:lnTo>
                  <a:lnTo>
                    <a:pt x="76" y="268"/>
                  </a:lnTo>
                  <a:lnTo>
                    <a:pt x="70" y="262"/>
                  </a:lnTo>
                  <a:lnTo>
                    <a:pt x="66" y="258"/>
                  </a:lnTo>
                  <a:lnTo>
                    <a:pt x="64" y="258"/>
                  </a:lnTo>
                  <a:lnTo>
                    <a:pt x="64" y="256"/>
                  </a:lnTo>
                  <a:lnTo>
                    <a:pt x="62" y="254"/>
                  </a:lnTo>
                  <a:lnTo>
                    <a:pt x="54" y="246"/>
                  </a:lnTo>
                  <a:lnTo>
                    <a:pt x="52" y="244"/>
                  </a:lnTo>
                  <a:lnTo>
                    <a:pt x="54" y="246"/>
                  </a:lnTo>
                  <a:lnTo>
                    <a:pt x="56" y="246"/>
                  </a:lnTo>
                  <a:lnTo>
                    <a:pt x="58" y="246"/>
                  </a:lnTo>
                  <a:lnTo>
                    <a:pt x="66" y="252"/>
                  </a:lnTo>
                  <a:lnTo>
                    <a:pt x="68" y="254"/>
                  </a:lnTo>
                  <a:lnTo>
                    <a:pt x="76" y="250"/>
                  </a:lnTo>
                  <a:lnTo>
                    <a:pt x="74" y="248"/>
                  </a:lnTo>
                  <a:lnTo>
                    <a:pt x="72" y="246"/>
                  </a:lnTo>
                  <a:lnTo>
                    <a:pt x="66" y="248"/>
                  </a:lnTo>
                  <a:lnTo>
                    <a:pt x="66" y="250"/>
                  </a:lnTo>
                  <a:lnTo>
                    <a:pt x="64" y="248"/>
                  </a:lnTo>
                  <a:lnTo>
                    <a:pt x="62" y="246"/>
                  </a:lnTo>
                  <a:lnTo>
                    <a:pt x="60" y="242"/>
                  </a:lnTo>
                  <a:lnTo>
                    <a:pt x="58" y="244"/>
                  </a:lnTo>
                  <a:lnTo>
                    <a:pt x="56" y="244"/>
                  </a:lnTo>
                  <a:lnTo>
                    <a:pt x="54" y="246"/>
                  </a:lnTo>
                  <a:lnTo>
                    <a:pt x="54" y="244"/>
                  </a:lnTo>
                  <a:lnTo>
                    <a:pt x="50" y="244"/>
                  </a:lnTo>
                  <a:lnTo>
                    <a:pt x="48" y="242"/>
                  </a:lnTo>
                  <a:lnTo>
                    <a:pt x="48" y="240"/>
                  </a:lnTo>
                  <a:lnTo>
                    <a:pt x="46" y="238"/>
                  </a:lnTo>
                  <a:lnTo>
                    <a:pt x="46" y="236"/>
                  </a:lnTo>
                  <a:lnTo>
                    <a:pt x="46" y="234"/>
                  </a:lnTo>
                  <a:lnTo>
                    <a:pt x="46" y="232"/>
                  </a:lnTo>
                  <a:lnTo>
                    <a:pt x="44" y="230"/>
                  </a:lnTo>
                  <a:lnTo>
                    <a:pt x="42" y="228"/>
                  </a:lnTo>
                  <a:lnTo>
                    <a:pt x="40" y="226"/>
                  </a:lnTo>
                  <a:lnTo>
                    <a:pt x="38" y="224"/>
                  </a:lnTo>
                  <a:lnTo>
                    <a:pt x="34" y="222"/>
                  </a:lnTo>
                  <a:lnTo>
                    <a:pt x="32" y="218"/>
                  </a:lnTo>
                  <a:lnTo>
                    <a:pt x="32" y="216"/>
                  </a:lnTo>
                  <a:lnTo>
                    <a:pt x="38" y="216"/>
                  </a:lnTo>
                  <a:lnTo>
                    <a:pt x="40" y="220"/>
                  </a:lnTo>
                  <a:lnTo>
                    <a:pt x="42" y="222"/>
                  </a:lnTo>
                  <a:lnTo>
                    <a:pt x="42" y="224"/>
                  </a:lnTo>
                  <a:lnTo>
                    <a:pt x="44" y="224"/>
                  </a:lnTo>
                  <a:lnTo>
                    <a:pt x="42" y="216"/>
                  </a:lnTo>
                  <a:lnTo>
                    <a:pt x="40" y="214"/>
                  </a:lnTo>
                  <a:lnTo>
                    <a:pt x="34" y="212"/>
                  </a:lnTo>
                  <a:lnTo>
                    <a:pt x="34" y="214"/>
                  </a:lnTo>
                  <a:lnTo>
                    <a:pt x="32" y="214"/>
                  </a:lnTo>
                  <a:lnTo>
                    <a:pt x="30" y="214"/>
                  </a:lnTo>
                  <a:lnTo>
                    <a:pt x="28" y="210"/>
                  </a:lnTo>
                  <a:lnTo>
                    <a:pt x="28" y="208"/>
                  </a:lnTo>
                  <a:lnTo>
                    <a:pt x="30" y="206"/>
                  </a:lnTo>
                  <a:lnTo>
                    <a:pt x="28" y="202"/>
                  </a:lnTo>
                  <a:lnTo>
                    <a:pt x="28" y="200"/>
                  </a:lnTo>
                  <a:lnTo>
                    <a:pt x="26" y="198"/>
                  </a:lnTo>
                  <a:lnTo>
                    <a:pt x="26" y="196"/>
                  </a:lnTo>
                  <a:lnTo>
                    <a:pt x="22" y="194"/>
                  </a:lnTo>
                  <a:lnTo>
                    <a:pt x="20" y="190"/>
                  </a:lnTo>
                  <a:lnTo>
                    <a:pt x="18" y="188"/>
                  </a:lnTo>
                  <a:lnTo>
                    <a:pt x="18" y="186"/>
                  </a:lnTo>
                  <a:lnTo>
                    <a:pt x="16" y="184"/>
                  </a:lnTo>
                  <a:lnTo>
                    <a:pt x="16" y="182"/>
                  </a:lnTo>
                  <a:lnTo>
                    <a:pt x="16" y="184"/>
                  </a:lnTo>
                  <a:lnTo>
                    <a:pt x="18" y="186"/>
                  </a:lnTo>
                  <a:lnTo>
                    <a:pt x="20" y="186"/>
                  </a:lnTo>
                  <a:lnTo>
                    <a:pt x="22" y="190"/>
                  </a:lnTo>
                  <a:lnTo>
                    <a:pt x="28" y="196"/>
                  </a:lnTo>
                  <a:lnTo>
                    <a:pt x="32" y="202"/>
                  </a:lnTo>
                  <a:lnTo>
                    <a:pt x="34" y="202"/>
                  </a:lnTo>
                  <a:lnTo>
                    <a:pt x="36" y="202"/>
                  </a:lnTo>
                  <a:lnTo>
                    <a:pt x="36" y="204"/>
                  </a:lnTo>
                  <a:lnTo>
                    <a:pt x="38" y="202"/>
                  </a:lnTo>
                  <a:lnTo>
                    <a:pt x="40" y="202"/>
                  </a:lnTo>
                  <a:lnTo>
                    <a:pt x="42" y="202"/>
                  </a:lnTo>
                  <a:lnTo>
                    <a:pt x="42" y="200"/>
                  </a:lnTo>
                  <a:lnTo>
                    <a:pt x="40" y="198"/>
                  </a:lnTo>
                  <a:lnTo>
                    <a:pt x="38" y="196"/>
                  </a:lnTo>
                  <a:lnTo>
                    <a:pt x="36" y="198"/>
                  </a:lnTo>
                  <a:lnTo>
                    <a:pt x="34" y="200"/>
                  </a:lnTo>
                  <a:lnTo>
                    <a:pt x="32" y="200"/>
                  </a:lnTo>
                  <a:lnTo>
                    <a:pt x="30" y="198"/>
                  </a:lnTo>
                  <a:lnTo>
                    <a:pt x="28" y="194"/>
                  </a:lnTo>
                  <a:lnTo>
                    <a:pt x="30" y="194"/>
                  </a:lnTo>
                  <a:lnTo>
                    <a:pt x="32" y="190"/>
                  </a:lnTo>
                  <a:lnTo>
                    <a:pt x="34" y="188"/>
                  </a:lnTo>
                  <a:lnTo>
                    <a:pt x="32" y="184"/>
                  </a:lnTo>
                  <a:lnTo>
                    <a:pt x="32" y="186"/>
                  </a:lnTo>
                  <a:lnTo>
                    <a:pt x="32" y="188"/>
                  </a:lnTo>
                  <a:lnTo>
                    <a:pt x="32" y="190"/>
                  </a:lnTo>
                  <a:lnTo>
                    <a:pt x="28" y="190"/>
                  </a:lnTo>
                  <a:lnTo>
                    <a:pt x="24" y="190"/>
                  </a:lnTo>
                  <a:lnTo>
                    <a:pt x="18" y="186"/>
                  </a:lnTo>
                  <a:lnTo>
                    <a:pt x="18" y="184"/>
                  </a:lnTo>
                  <a:lnTo>
                    <a:pt x="16" y="182"/>
                  </a:lnTo>
                  <a:lnTo>
                    <a:pt x="18" y="180"/>
                  </a:lnTo>
                  <a:lnTo>
                    <a:pt x="16" y="178"/>
                  </a:lnTo>
                  <a:lnTo>
                    <a:pt x="10" y="170"/>
                  </a:lnTo>
                  <a:lnTo>
                    <a:pt x="6" y="162"/>
                  </a:lnTo>
                  <a:lnTo>
                    <a:pt x="6" y="160"/>
                  </a:lnTo>
                  <a:lnTo>
                    <a:pt x="0" y="150"/>
                  </a:lnTo>
                  <a:lnTo>
                    <a:pt x="0" y="148"/>
                  </a:lnTo>
                  <a:lnTo>
                    <a:pt x="4" y="148"/>
                  </a:lnTo>
                  <a:lnTo>
                    <a:pt x="4" y="150"/>
                  </a:lnTo>
                  <a:lnTo>
                    <a:pt x="6" y="152"/>
                  </a:lnTo>
                  <a:lnTo>
                    <a:pt x="10" y="154"/>
                  </a:lnTo>
                  <a:lnTo>
                    <a:pt x="14" y="156"/>
                  </a:lnTo>
                  <a:lnTo>
                    <a:pt x="16" y="160"/>
                  </a:lnTo>
                  <a:lnTo>
                    <a:pt x="20" y="152"/>
                  </a:lnTo>
                  <a:lnTo>
                    <a:pt x="20" y="150"/>
                  </a:lnTo>
                  <a:lnTo>
                    <a:pt x="20" y="148"/>
                  </a:lnTo>
                  <a:lnTo>
                    <a:pt x="22" y="148"/>
                  </a:lnTo>
                  <a:lnTo>
                    <a:pt x="24" y="146"/>
                  </a:lnTo>
                  <a:lnTo>
                    <a:pt x="26" y="144"/>
                  </a:lnTo>
                  <a:lnTo>
                    <a:pt x="30" y="138"/>
                  </a:lnTo>
                  <a:lnTo>
                    <a:pt x="32" y="136"/>
                  </a:lnTo>
                  <a:lnTo>
                    <a:pt x="32" y="134"/>
                  </a:lnTo>
                  <a:lnTo>
                    <a:pt x="32" y="132"/>
                  </a:lnTo>
                  <a:lnTo>
                    <a:pt x="32" y="130"/>
                  </a:lnTo>
                  <a:lnTo>
                    <a:pt x="32" y="128"/>
                  </a:lnTo>
                  <a:lnTo>
                    <a:pt x="32" y="126"/>
                  </a:lnTo>
                  <a:lnTo>
                    <a:pt x="34" y="124"/>
                  </a:lnTo>
                  <a:lnTo>
                    <a:pt x="34" y="122"/>
                  </a:lnTo>
                  <a:lnTo>
                    <a:pt x="34" y="120"/>
                  </a:lnTo>
                  <a:lnTo>
                    <a:pt x="34" y="118"/>
                  </a:lnTo>
                  <a:lnTo>
                    <a:pt x="34" y="114"/>
                  </a:lnTo>
                  <a:lnTo>
                    <a:pt x="32" y="108"/>
                  </a:lnTo>
                  <a:lnTo>
                    <a:pt x="32" y="104"/>
                  </a:lnTo>
                  <a:lnTo>
                    <a:pt x="32" y="102"/>
                  </a:lnTo>
                  <a:lnTo>
                    <a:pt x="34" y="100"/>
                  </a:lnTo>
                  <a:lnTo>
                    <a:pt x="36" y="102"/>
                  </a:lnTo>
                  <a:lnTo>
                    <a:pt x="36" y="108"/>
                  </a:lnTo>
                  <a:lnTo>
                    <a:pt x="40" y="110"/>
                  </a:lnTo>
                  <a:lnTo>
                    <a:pt x="42" y="110"/>
                  </a:lnTo>
                  <a:lnTo>
                    <a:pt x="44" y="110"/>
                  </a:lnTo>
                  <a:lnTo>
                    <a:pt x="52" y="112"/>
                  </a:lnTo>
                  <a:lnTo>
                    <a:pt x="54" y="112"/>
                  </a:lnTo>
                  <a:lnTo>
                    <a:pt x="56" y="112"/>
                  </a:lnTo>
                  <a:lnTo>
                    <a:pt x="64" y="108"/>
                  </a:lnTo>
                  <a:lnTo>
                    <a:pt x="60" y="108"/>
                  </a:lnTo>
                  <a:lnTo>
                    <a:pt x="58" y="108"/>
                  </a:lnTo>
                  <a:lnTo>
                    <a:pt x="56" y="108"/>
                  </a:lnTo>
                  <a:lnTo>
                    <a:pt x="52" y="106"/>
                  </a:lnTo>
                  <a:lnTo>
                    <a:pt x="46" y="104"/>
                  </a:lnTo>
                  <a:lnTo>
                    <a:pt x="44" y="102"/>
                  </a:lnTo>
                  <a:lnTo>
                    <a:pt x="42" y="104"/>
                  </a:lnTo>
                  <a:lnTo>
                    <a:pt x="40" y="100"/>
                  </a:lnTo>
                  <a:lnTo>
                    <a:pt x="40" y="98"/>
                  </a:lnTo>
                  <a:lnTo>
                    <a:pt x="38" y="94"/>
                  </a:lnTo>
                  <a:lnTo>
                    <a:pt x="34" y="90"/>
                  </a:lnTo>
                  <a:lnTo>
                    <a:pt x="32" y="92"/>
                  </a:lnTo>
                  <a:lnTo>
                    <a:pt x="32" y="88"/>
                  </a:lnTo>
                  <a:lnTo>
                    <a:pt x="32" y="86"/>
                  </a:lnTo>
                  <a:lnTo>
                    <a:pt x="42" y="82"/>
                  </a:lnTo>
                  <a:lnTo>
                    <a:pt x="44" y="82"/>
                  </a:lnTo>
                  <a:lnTo>
                    <a:pt x="44" y="84"/>
                  </a:lnTo>
                  <a:lnTo>
                    <a:pt x="46" y="88"/>
                  </a:lnTo>
                  <a:lnTo>
                    <a:pt x="46" y="92"/>
                  </a:lnTo>
                  <a:lnTo>
                    <a:pt x="46" y="94"/>
                  </a:lnTo>
                  <a:lnTo>
                    <a:pt x="48" y="90"/>
                  </a:lnTo>
                  <a:lnTo>
                    <a:pt x="48" y="88"/>
                  </a:lnTo>
                  <a:lnTo>
                    <a:pt x="48" y="78"/>
                  </a:lnTo>
                  <a:lnTo>
                    <a:pt x="48" y="76"/>
                  </a:lnTo>
                  <a:lnTo>
                    <a:pt x="48" y="74"/>
                  </a:lnTo>
                  <a:lnTo>
                    <a:pt x="44" y="70"/>
                  </a:lnTo>
                  <a:lnTo>
                    <a:pt x="46" y="66"/>
                  </a:lnTo>
                  <a:lnTo>
                    <a:pt x="48" y="66"/>
                  </a:lnTo>
                  <a:lnTo>
                    <a:pt x="52" y="64"/>
                  </a:lnTo>
                  <a:lnTo>
                    <a:pt x="54" y="64"/>
                  </a:lnTo>
                  <a:lnTo>
                    <a:pt x="56" y="64"/>
                  </a:lnTo>
                  <a:lnTo>
                    <a:pt x="58" y="66"/>
                  </a:lnTo>
                  <a:lnTo>
                    <a:pt x="60" y="66"/>
                  </a:lnTo>
                  <a:lnTo>
                    <a:pt x="62" y="68"/>
                  </a:lnTo>
                  <a:lnTo>
                    <a:pt x="62" y="70"/>
                  </a:lnTo>
                  <a:lnTo>
                    <a:pt x="64" y="70"/>
                  </a:lnTo>
                  <a:lnTo>
                    <a:pt x="66" y="70"/>
                  </a:lnTo>
                  <a:lnTo>
                    <a:pt x="68" y="66"/>
                  </a:lnTo>
                  <a:lnTo>
                    <a:pt x="70" y="66"/>
                  </a:lnTo>
                  <a:lnTo>
                    <a:pt x="80" y="66"/>
                  </a:lnTo>
                  <a:lnTo>
                    <a:pt x="82" y="66"/>
                  </a:lnTo>
                  <a:lnTo>
                    <a:pt x="84" y="66"/>
                  </a:lnTo>
                  <a:lnTo>
                    <a:pt x="88" y="66"/>
                  </a:lnTo>
                  <a:lnTo>
                    <a:pt x="94" y="68"/>
                  </a:lnTo>
                  <a:lnTo>
                    <a:pt x="108" y="68"/>
                  </a:lnTo>
                  <a:lnTo>
                    <a:pt x="114" y="68"/>
                  </a:lnTo>
                  <a:lnTo>
                    <a:pt x="118" y="68"/>
                  </a:lnTo>
                  <a:lnTo>
                    <a:pt x="132" y="68"/>
                  </a:lnTo>
                  <a:lnTo>
                    <a:pt x="138" y="68"/>
                  </a:lnTo>
                  <a:lnTo>
                    <a:pt x="138" y="44"/>
                  </a:lnTo>
                  <a:lnTo>
                    <a:pt x="138" y="36"/>
                  </a:lnTo>
                  <a:lnTo>
                    <a:pt x="138" y="32"/>
                  </a:lnTo>
                  <a:lnTo>
                    <a:pt x="138" y="30"/>
                  </a:lnTo>
                  <a:lnTo>
                    <a:pt x="138" y="26"/>
                  </a:lnTo>
                  <a:lnTo>
                    <a:pt x="138" y="20"/>
                  </a:lnTo>
                  <a:lnTo>
                    <a:pt x="138" y="18"/>
                  </a:lnTo>
                  <a:lnTo>
                    <a:pt x="138" y="16"/>
                  </a:lnTo>
                  <a:lnTo>
                    <a:pt x="138" y="8"/>
                  </a:lnTo>
                  <a:lnTo>
                    <a:pt x="136" y="8"/>
                  </a:lnTo>
                  <a:lnTo>
                    <a:pt x="138" y="4"/>
                  </a:lnTo>
                  <a:lnTo>
                    <a:pt x="138" y="0"/>
                  </a:lnTo>
                  <a:lnTo>
                    <a:pt x="150" y="0"/>
                  </a:lnTo>
                  <a:lnTo>
                    <a:pt x="156" y="0"/>
                  </a:lnTo>
                  <a:lnTo>
                    <a:pt x="158" y="2"/>
                  </a:lnTo>
                  <a:lnTo>
                    <a:pt x="182" y="2"/>
                  </a:lnTo>
                  <a:lnTo>
                    <a:pt x="184" y="2"/>
                  </a:lnTo>
                  <a:lnTo>
                    <a:pt x="188" y="0"/>
                  </a:lnTo>
                  <a:lnTo>
                    <a:pt x="194" y="2"/>
                  </a:lnTo>
                  <a:lnTo>
                    <a:pt x="196" y="2"/>
                  </a:lnTo>
                  <a:lnTo>
                    <a:pt x="198" y="2"/>
                  </a:lnTo>
                  <a:lnTo>
                    <a:pt x="202" y="4"/>
                  </a:lnTo>
                  <a:lnTo>
                    <a:pt x="208" y="6"/>
                  </a:lnTo>
                  <a:lnTo>
                    <a:pt x="216" y="4"/>
                  </a:lnTo>
                  <a:lnTo>
                    <a:pt x="222" y="4"/>
                  </a:lnTo>
                  <a:lnTo>
                    <a:pt x="228" y="4"/>
                  </a:lnTo>
                  <a:lnTo>
                    <a:pt x="230" y="2"/>
                  </a:lnTo>
                  <a:lnTo>
                    <a:pt x="234" y="4"/>
                  </a:lnTo>
                  <a:lnTo>
                    <a:pt x="238" y="6"/>
                  </a:lnTo>
                  <a:lnTo>
                    <a:pt x="238" y="8"/>
                  </a:lnTo>
                  <a:lnTo>
                    <a:pt x="236" y="8"/>
                  </a:lnTo>
                  <a:lnTo>
                    <a:pt x="236" y="14"/>
                  </a:lnTo>
                  <a:lnTo>
                    <a:pt x="236" y="16"/>
                  </a:lnTo>
                  <a:lnTo>
                    <a:pt x="232" y="18"/>
                  </a:lnTo>
                  <a:lnTo>
                    <a:pt x="230" y="20"/>
                  </a:lnTo>
                  <a:lnTo>
                    <a:pt x="230" y="24"/>
                  </a:lnTo>
                  <a:lnTo>
                    <a:pt x="232" y="26"/>
                  </a:lnTo>
                  <a:lnTo>
                    <a:pt x="232" y="28"/>
                  </a:lnTo>
                  <a:lnTo>
                    <a:pt x="230" y="28"/>
                  </a:lnTo>
                  <a:lnTo>
                    <a:pt x="228" y="32"/>
                  </a:lnTo>
                  <a:lnTo>
                    <a:pt x="228" y="38"/>
                  </a:lnTo>
                  <a:lnTo>
                    <a:pt x="230" y="40"/>
                  </a:lnTo>
                  <a:lnTo>
                    <a:pt x="230" y="42"/>
                  </a:lnTo>
                  <a:lnTo>
                    <a:pt x="232" y="46"/>
                  </a:lnTo>
                  <a:lnTo>
                    <a:pt x="234" y="46"/>
                  </a:lnTo>
                  <a:lnTo>
                    <a:pt x="234" y="48"/>
                  </a:lnTo>
                  <a:lnTo>
                    <a:pt x="234" y="52"/>
                  </a:lnTo>
                  <a:lnTo>
                    <a:pt x="232" y="54"/>
                  </a:lnTo>
                  <a:lnTo>
                    <a:pt x="230" y="54"/>
                  </a:lnTo>
                  <a:lnTo>
                    <a:pt x="230" y="56"/>
                  </a:lnTo>
                  <a:lnTo>
                    <a:pt x="230" y="58"/>
                  </a:lnTo>
                  <a:lnTo>
                    <a:pt x="232" y="58"/>
                  </a:lnTo>
                  <a:lnTo>
                    <a:pt x="236" y="58"/>
                  </a:lnTo>
                  <a:lnTo>
                    <a:pt x="238" y="56"/>
                  </a:lnTo>
                  <a:lnTo>
                    <a:pt x="240" y="54"/>
                  </a:lnTo>
                  <a:lnTo>
                    <a:pt x="246" y="54"/>
                  </a:lnTo>
                  <a:lnTo>
                    <a:pt x="250" y="52"/>
                  </a:lnTo>
                  <a:lnTo>
                    <a:pt x="262" y="48"/>
                  </a:lnTo>
                  <a:lnTo>
                    <a:pt x="262" y="46"/>
                  </a:lnTo>
                  <a:lnTo>
                    <a:pt x="268" y="46"/>
                  </a:lnTo>
                  <a:lnTo>
                    <a:pt x="272" y="48"/>
                  </a:lnTo>
                  <a:lnTo>
                    <a:pt x="276" y="50"/>
                  </a:lnTo>
                  <a:lnTo>
                    <a:pt x="278" y="50"/>
                  </a:lnTo>
                  <a:lnTo>
                    <a:pt x="280" y="48"/>
                  </a:lnTo>
                  <a:lnTo>
                    <a:pt x="282" y="50"/>
                  </a:lnTo>
                  <a:lnTo>
                    <a:pt x="284" y="50"/>
                  </a:lnTo>
                  <a:lnTo>
                    <a:pt x="286" y="52"/>
                  </a:lnTo>
                  <a:lnTo>
                    <a:pt x="288" y="56"/>
                  </a:lnTo>
                  <a:lnTo>
                    <a:pt x="288" y="60"/>
                  </a:lnTo>
                  <a:lnTo>
                    <a:pt x="290" y="64"/>
                  </a:lnTo>
                  <a:lnTo>
                    <a:pt x="294" y="72"/>
                  </a:lnTo>
                  <a:lnTo>
                    <a:pt x="296" y="72"/>
                  </a:lnTo>
                  <a:lnTo>
                    <a:pt x="298" y="72"/>
                  </a:lnTo>
                  <a:lnTo>
                    <a:pt x="296" y="78"/>
                  </a:lnTo>
                  <a:lnTo>
                    <a:pt x="290" y="88"/>
                  </a:lnTo>
                  <a:lnTo>
                    <a:pt x="286" y="92"/>
                  </a:lnTo>
                  <a:lnTo>
                    <a:pt x="282" y="92"/>
                  </a:lnTo>
                  <a:lnTo>
                    <a:pt x="280" y="92"/>
                  </a:lnTo>
                  <a:lnTo>
                    <a:pt x="278" y="92"/>
                  </a:lnTo>
                  <a:lnTo>
                    <a:pt x="276" y="94"/>
                  </a:lnTo>
                  <a:lnTo>
                    <a:pt x="270" y="102"/>
                  </a:lnTo>
                  <a:lnTo>
                    <a:pt x="266" y="108"/>
                  </a:lnTo>
                  <a:lnTo>
                    <a:pt x="266" y="110"/>
                  </a:lnTo>
                  <a:lnTo>
                    <a:pt x="268" y="114"/>
                  </a:lnTo>
                  <a:lnTo>
                    <a:pt x="270" y="118"/>
                  </a:lnTo>
                  <a:lnTo>
                    <a:pt x="270" y="122"/>
                  </a:lnTo>
                  <a:lnTo>
                    <a:pt x="268" y="126"/>
                  </a:lnTo>
                  <a:lnTo>
                    <a:pt x="266" y="126"/>
                  </a:lnTo>
                  <a:lnTo>
                    <a:pt x="264" y="128"/>
                  </a:lnTo>
                  <a:lnTo>
                    <a:pt x="264" y="130"/>
                  </a:lnTo>
                  <a:lnTo>
                    <a:pt x="268" y="134"/>
                  </a:lnTo>
                  <a:lnTo>
                    <a:pt x="270" y="132"/>
                  </a:lnTo>
                  <a:lnTo>
                    <a:pt x="272" y="132"/>
                  </a:lnTo>
                  <a:lnTo>
                    <a:pt x="276" y="132"/>
                  </a:lnTo>
                  <a:lnTo>
                    <a:pt x="280" y="134"/>
                  </a:lnTo>
                  <a:lnTo>
                    <a:pt x="280" y="136"/>
                  </a:lnTo>
                  <a:lnTo>
                    <a:pt x="282" y="138"/>
                  </a:lnTo>
                  <a:lnTo>
                    <a:pt x="282" y="142"/>
                  </a:lnTo>
                  <a:lnTo>
                    <a:pt x="284" y="142"/>
                  </a:lnTo>
                  <a:lnTo>
                    <a:pt x="288" y="142"/>
                  </a:lnTo>
                  <a:lnTo>
                    <a:pt x="292" y="144"/>
                  </a:lnTo>
                  <a:lnTo>
                    <a:pt x="296" y="148"/>
                  </a:lnTo>
                  <a:lnTo>
                    <a:pt x="298" y="152"/>
                  </a:lnTo>
                  <a:lnTo>
                    <a:pt x="298" y="154"/>
                  </a:lnTo>
                  <a:lnTo>
                    <a:pt x="298" y="156"/>
                  </a:lnTo>
                  <a:lnTo>
                    <a:pt x="296" y="158"/>
                  </a:lnTo>
                  <a:lnTo>
                    <a:pt x="294" y="168"/>
                  </a:lnTo>
                  <a:lnTo>
                    <a:pt x="294" y="170"/>
                  </a:lnTo>
                  <a:lnTo>
                    <a:pt x="294" y="174"/>
                  </a:lnTo>
                  <a:lnTo>
                    <a:pt x="296" y="178"/>
                  </a:lnTo>
                  <a:lnTo>
                    <a:pt x="296" y="182"/>
                  </a:lnTo>
                  <a:lnTo>
                    <a:pt x="296" y="184"/>
                  </a:lnTo>
                  <a:lnTo>
                    <a:pt x="296" y="194"/>
                  </a:lnTo>
                  <a:lnTo>
                    <a:pt x="296" y="200"/>
                  </a:lnTo>
                  <a:lnTo>
                    <a:pt x="294" y="200"/>
                  </a:lnTo>
                  <a:lnTo>
                    <a:pt x="292" y="202"/>
                  </a:lnTo>
                  <a:lnTo>
                    <a:pt x="292" y="214"/>
                  </a:lnTo>
                  <a:lnTo>
                    <a:pt x="294" y="216"/>
                  </a:lnTo>
                  <a:lnTo>
                    <a:pt x="292" y="218"/>
                  </a:lnTo>
                  <a:lnTo>
                    <a:pt x="290" y="218"/>
                  </a:lnTo>
                  <a:lnTo>
                    <a:pt x="288" y="220"/>
                  </a:lnTo>
                  <a:lnTo>
                    <a:pt x="286" y="222"/>
                  </a:lnTo>
                  <a:lnTo>
                    <a:pt x="284" y="224"/>
                  </a:lnTo>
                  <a:lnTo>
                    <a:pt x="286" y="224"/>
                  </a:lnTo>
                  <a:lnTo>
                    <a:pt x="284" y="228"/>
                  </a:lnTo>
                  <a:lnTo>
                    <a:pt x="284" y="238"/>
                  </a:lnTo>
                  <a:lnTo>
                    <a:pt x="282" y="240"/>
                  </a:lnTo>
                  <a:lnTo>
                    <a:pt x="282" y="242"/>
                  </a:lnTo>
                  <a:lnTo>
                    <a:pt x="280" y="242"/>
                  </a:lnTo>
                  <a:lnTo>
                    <a:pt x="278" y="246"/>
                  </a:lnTo>
                  <a:lnTo>
                    <a:pt x="278" y="248"/>
                  </a:lnTo>
                  <a:lnTo>
                    <a:pt x="276" y="248"/>
                  </a:lnTo>
                  <a:lnTo>
                    <a:pt x="268" y="248"/>
                  </a:lnTo>
                  <a:lnTo>
                    <a:pt x="266" y="246"/>
                  </a:lnTo>
                  <a:lnTo>
                    <a:pt x="266" y="244"/>
                  </a:lnTo>
                  <a:lnTo>
                    <a:pt x="266" y="238"/>
                  </a:lnTo>
                  <a:lnTo>
                    <a:pt x="262" y="230"/>
                  </a:lnTo>
                  <a:lnTo>
                    <a:pt x="260" y="226"/>
                  </a:lnTo>
                  <a:lnTo>
                    <a:pt x="258" y="230"/>
                  </a:lnTo>
                  <a:lnTo>
                    <a:pt x="258" y="232"/>
                  </a:lnTo>
                  <a:lnTo>
                    <a:pt x="256" y="234"/>
                  </a:lnTo>
                  <a:lnTo>
                    <a:pt x="250" y="238"/>
                  </a:lnTo>
                  <a:lnTo>
                    <a:pt x="250" y="240"/>
                  </a:lnTo>
                  <a:lnTo>
                    <a:pt x="246" y="242"/>
                  </a:lnTo>
                  <a:lnTo>
                    <a:pt x="246" y="244"/>
                  </a:lnTo>
                  <a:lnTo>
                    <a:pt x="240" y="244"/>
                  </a:lnTo>
                  <a:lnTo>
                    <a:pt x="238" y="244"/>
                  </a:lnTo>
                  <a:lnTo>
                    <a:pt x="234" y="242"/>
                  </a:lnTo>
                  <a:lnTo>
                    <a:pt x="232" y="240"/>
                  </a:lnTo>
                  <a:lnTo>
                    <a:pt x="222" y="240"/>
                  </a:lnTo>
                  <a:lnTo>
                    <a:pt x="220" y="24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6" name="Freeform 1413"/>
            <p:cNvSpPr>
              <a:spLocks/>
            </p:cNvSpPr>
            <p:nvPr/>
          </p:nvSpPr>
          <p:spPr bwMode="auto">
            <a:xfrm>
              <a:off x="6316147" y="4047865"/>
              <a:ext cx="130114" cy="115100"/>
            </a:xfrm>
            <a:custGeom>
              <a:avLst/>
              <a:gdLst/>
              <a:ahLst/>
              <a:cxnLst>
                <a:cxn ang="0">
                  <a:pos x="8" y="86"/>
                </a:cxn>
                <a:cxn ang="0">
                  <a:pos x="4" y="84"/>
                </a:cxn>
                <a:cxn ang="0">
                  <a:pos x="0" y="76"/>
                </a:cxn>
                <a:cxn ang="0">
                  <a:pos x="2" y="68"/>
                </a:cxn>
                <a:cxn ang="0">
                  <a:pos x="12" y="62"/>
                </a:cxn>
                <a:cxn ang="0">
                  <a:pos x="14" y="58"/>
                </a:cxn>
                <a:cxn ang="0">
                  <a:pos x="16" y="54"/>
                </a:cxn>
                <a:cxn ang="0">
                  <a:pos x="14" y="50"/>
                </a:cxn>
                <a:cxn ang="0">
                  <a:pos x="14" y="46"/>
                </a:cxn>
                <a:cxn ang="0">
                  <a:pos x="14" y="42"/>
                </a:cxn>
                <a:cxn ang="0">
                  <a:pos x="20" y="32"/>
                </a:cxn>
                <a:cxn ang="0">
                  <a:pos x="26" y="24"/>
                </a:cxn>
                <a:cxn ang="0">
                  <a:pos x="32" y="22"/>
                </a:cxn>
                <a:cxn ang="0">
                  <a:pos x="34" y="20"/>
                </a:cxn>
                <a:cxn ang="0">
                  <a:pos x="38" y="18"/>
                </a:cxn>
                <a:cxn ang="0">
                  <a:pos x="42" y="18"/>
                </a:cxn>
                <a:cxn ang="0">
                  <a:pos x="44" y="16"/>
                </a:cxn>
                <a:cxn ang="0">
                  <a:pos x="52" y="14"/>
                </a:cxn>
                <a:cxn ang="0">
                  <a:pos x="54" y="20"/>
                </a:cxn>
                <a:cxn ang="0">
                  <a:pos x="58" y="22"/>
                </a:cxn>
                <a:cxn ang="0">
                  <a:pos x="66" y="14"/>
                </a:cxn>
                <a:cxn ang="0">
                  <a:pos x="72" y="8"/>
                </a:cxn>
                <a:cxn ang="0">
                  <a:pos x="74" y="6"/>
                </a:cxn>
                <a:cxn ang="0">
                  <a:pos x="82" y="0"/>
                </a:cxn>
                <a:cxn ang="0">
                  <a:pos x="82" y="2"/>
                </a:cxn>
                <a:cxn ang="0">
                  <a:pos x="86" y="14"/>
                </a:cxn>
                <a:cxn ang="0">
                  <a:pos x="94" y="18"/>
                </a:cxn>
                <a:cxn ang="0">
                  <a:pos x="96" y="24"/>
                </a:cxn>
                <a:cxn ang="0">
                  <a:pos x="100" y="34"/>
                </a:cxn>
                <a:cxn ang="0">
                  <a:pos x="100" y="42"/>
                </a:cxn>
                <a:cxn ang="0">
                  <a:pos x="102" y="52"/>
                </a:cxn>
                <a:cxn ang="0">
                  <a:pos x="104" y="54"/>
                </a:cxn>
                <a:cxn ang="0">
                  <a:pos x="102" y="60"/>
                </a:cxn>
                <a:cxn ang="0">
                  <a:pos x="102" y="64"/>
                </a:cxn>
                <a:cxn ang="0">
                  <a:pos x="100" y="66"/>
                </a:cxn>
                <a:cxn ang="0">
                  <a:pos x="96" y="66"/>
                </a:cxn>
                <a:cxn ang="0">
                  <a:pos x="88" y="68"/>
                </a:cxn>
                <a:cxn ang="0">
                  <a:pos x="86" y="70"/>
                </a:cxn>
                <a:cxn ang="0">
                  <a:pos x="82" y="66"/>
                </a:cxn>
                <a:cxn ang="0">
                  <a:pos x="78" y="64"/>
                </a:cxn>
                <a:cxn ang="0">
                  <a:pos x="74" y="68"/>
                </a:cxn>
                <a:cxn ang="0">
                  <a:pos x="64" y="70"/>
                </a:cxn>
                <a:cxn ang="0">
                  <a:pos x="56" y="64"/>
                </a:cxn>
                <a:cxn ang="0">
                  <a:pos x="54" y="68"/>
                </a:cxn>
                <a:cxn ang="0">
                  <a:pos x="54" y="82"/>
                </a:cxn>
                <a:cxn ang="0">
                  <a:pos x="52" y="86"/>
                </a:cxn>
                <a:cxn ang="0">
                  <a:pos x="50" y="88"/>
                </a:cxn>
                <a:cxn ang="0">
                  <a:pos x="42" y="90"/>
                </a:cxn>
                <a:cxn ang="0">
                  <a:pos x="38" y="90"/>
                </a:cxn>
                <a:cxn ang="0">
                  <a:pos x="34" y="92"/>
                </a:cxn>
                <a:cxn ang="0">
                  <a:pos x="30" y="90"/>
                </a:cxn>
                <a:cxn ang="0">
                  <a:pos x="24" y="88"/>
                </a:cxn>
                <a:cxn ang="0">
                  <a:pos x="26" y="86"/>
                </a:cxn>
                <a:cxn ang="0">
                  <a:pos x="20" y="82"/>
                </a:cxn>
                <a:cxn ang="0">
                  <a:pos x="12" y="80"/>
                </a:cxn>
                <a:cxn ang="0">
                  <a:pos x="10" y="84"/>
                </a:cxn>
                <a:cxn ang="0">
                  <a:pos x="8" y="88"/>
                </a:cxn>
              </a:cxnLst>
              <a:rect l="0" t="0" r="r" b="b"/>
              <a:pathLst>
                <a:path w="104" h="92">
                  <a:moveTo>
                    <a:pt x="8" y="88"/>
                  </a:moveTo>
                  <a:lnTo>
                    <a:pt x="8" y="86"/>
                  </a:lnTo>
                  <a:lnTo>
                    <a:pt x="6" y="84"/>
                  </a:lnTo>
                  <a:lnTo>
                    <a:pt x="4" y="84"/>
                  </a:lnTo>
                  <a:lnTo>
                    <a:pt x="2" y="84"/>
                  </a:lnTo>
                  <a:lnTo>
                    <a:pt x="0" y="76"/>
                  </a:lnTo>
                  <a:lnTo>
                    <a:pt x="0" y="70"/>
                  </a:lnTo>
                  <a:lnTo>
                    <a:pt x="2" y="68"/>
                  </a:lnTo>
                  <a:lnTo>
                    <a:pt x="6" y="66"/>
                  </a:lnTo>
                  <a:lnTo>
                    <a:pt x="12" y="62"/>
                  </a:lnTo>
                  <a:lnTo>
                    <a:pt x="14" y="60"/>
                  </a:lnTo>
                  <a:lnTo>
                    <a:pt x="14" y="58"/>
                  </a:lnTo>
                  <a:lnTo>
                    <a:pt x="16" y="56"/>
                  </a:lnTo>
                  <a:lnTo>
                    <a:pt x="16" y="54"/>
                  </a:lnTo>
                  <a:lnTo>
                    <a:pt x="16" y="52"/>
                  </a:lnTo>
                  <a:lnTo>
                    <a:pt x="14" y="50"/>
                  </a:lnTo>
                  <a:lnTo>
                    <a:pt x="14" y="48"/>
                  </a:lnTo>
                  <a:lnTo>
                    <a:pt x="14" y="46"/>
                  </a:lnTo>
                  <a:lnTo>
                    <a:pt x="14" y="44"/>
                  </a:lnTo>
                  <a:lnTo>
                    <a:pt x="14" y="42"/>
                  </a:lnTo>
                  <a:lnTo>
                    <a:pt x="14" y="40"/>
                  </a:lnTo>
                  <a:lnTo>
                    <a:pt x="20" y="32"/>
                  </a:lnTo>
                  <a:lnTo>
                    <a:pt x="20" y="30"/>
                  </a:lnTo>
                  <a:lnTo>
                    <a:pt x="26" y="24"/>
                  </a:lnTo>
                  <a:lnTo>
                    <a:pt x="30" y="24"/>
                  </a:lnTo>
                  <a:lnTo>
                    <a:pt x="32" y="22"/>
                  </a:lnTo>
                  <a:lnTo>
                    <a:pt x="32" y="20"/>
                  </a:lnTo>
                  <a:lnTo>
                    <a:pt x="34" y="20"/>
                  </a:lnTo>
                  <a:lnTo>
                    <a:pt x="36" y="18"/>
                  </a:lnTo>
                  <a:lnTo>
                    <a:pt x="38" y="18"/>
                  </a:lnTo>
                  <a:lnTo>
                    <a:pt x="40" y="18"/>
                  </a:lnTo>
                  <a:lnTo>
                    <a:pt x="42" y="18"/>
                  </a:lnTo>
                  <a:lnTo>
                    <a:pt x="42" y="16"/>
                  </a:lnTo>
                  <a:lnTo>
                    <a:pt x="44" y="16"/>
                  </a:lnTo>
                  <a:lnTo>
                    <a:pt x="50" y="14"/>
                  </a:lnTo>
                  <a:lnTo>
                    <a:pt x="52" y="14"/>
                  </a:lnTo>
                  <a:lnTo>
                    <a:pt x="52" y="18"/>
                  </a:lnTo>
                  <a:lnTo>
                    <a:pt x="54" y="20"/>
                  </a:lnTo>
                  <a:lnTo>
                    <a:pt x="54" y="22"/>
                  </a:lnTo>
                  <a:lnTo>
                    <a:pt x="58" y="22"/>
                  </a:lnTo>
                  <a:lnTo>
                    <a:pt x="64" y="16"/>
                  </a:lnTo>
                  <a:lnTo>
                    <a:pt x="66" y="14"/>
                  </a:lnTo>
                  <a:lnTo>
                    <a:pt x="70" y="12"/>
                  </a:lnTo>
                  <a:lnTo>
                    <a:pt x="72" y="8"/>
                  </a:lnTo>
                  <a:lnTo>
                    <a:pt x="74" y="8"/>
                  </a:lnTo>
                  <a:lnTo>
                    <a:pt x="74" y="6"/>
                  </a:lnTo>
                  <a:lnTo>
                    <a:pt x="76" y="0"/>
                  </a:lnTo>
                  <a:lnTo>
                    <a:pt x="82" y="0"/>
                  </a:lnTo>
                  <a:lnTo>
                    <a:pt x="84" y="0"/>
                  </a:lnTo>
                  <a:lnTo>
                    <a:pt x="82" y="2"/>
                  </a:lnTo>
                  <a:lnTo>
                    <a:pt x="82" y="6"/>
                  </a:lnTo>
                  <a:lnTo>
                    <a:pt x="86" y="14"/>
                  </a:lnTo>
                  <a:lnTo>
                    <a:pt x="90" y="18"/>
                  </a:lnTo>
                  <a:lnTo>
                    <a:pt x="94" y="18"/>
                  </a:lnTo>
                  <a:lnTo>
                    <a:pt x="96" y="20"/>
                  </a:lnTo>
                  <a:lnTo>
                    <a:pt x="96" y="24"/>
                  </a:lnTo>
                  <a:lnTo>
                    <a:pt x="100" y="30"/>
                  </a:lnTo>
                  <a:lnTo>
                    <a:pt x="100" y="34"/>
                  </a:lnTo>
                  <a:lnTo>
                    <a:pt x="100" y="38"/>
                  </a:lnTo>
                  <a:lnTo>
                    <a:pt x="100" y="42"/>
                  </a:lnTo>
                  <a:lnTo>
                    <a:pt x="100" y="44"/>
                  </a:lnTo>
                  <a:lnTo>
                    <a:pt x="102" y="52"/>
                  </a:lnTo>
                  <a:lnTo>
                    <a:pt x="104" y="52"/>
                  </a:lnTo>
                  <a:lnTo>
                    <a:pt x="104" y="54"/>
                  </a:lnTo>
                  <a:lnTo>
                    <a:pt x="102" y="58"/>
                  </a:lnTo>
                  <a:lnTo>
                    <a:pt x="102" y="60"/>
                  </a:lnTo>
                  <a:lnTo>
                    <a:pt x="102" y="62"/>
                  </a:lnTo>
                  <a:lnTo>
                    <a:pt x="102" y="64"/>
                  </a:lnTo>
                  <a:lnTo>
                    <a:pt x="102" y="66"/>
                  </a:lnTo>
                  <a:lnTo>
                    <a:pt x="100" y="66"/>
                  </a:lnTo>
                  <a:lnTo>
                    <a:pt x="98" y="68"/>
                  </a:lnTo>
                  <a:lnTo>
                    <a:pt x="96" y="66"/>
                  </a:lnTo>
                  <a:lnTo>
                    <a:pt x="94" y="66"/>
                  </a:lnTo>
                  <a:lnTo>
                    <a:pt x="88" y="68"/>
                  </a:lnTo>
                  <a:lnTo>
                    <a:pt x="88" y="70"/>
                  </a:lnTo>
                  <a:lnTo>
                    <a:pt x="86" y="70"/>
                  </a:lnTo>
                  <a:lnTo>
                    <a:pt x="84" y="68"/>
                  </a:lnTo>
                  <a:lnTo>
                    <a:pt x="82" y="66"/>
                  </a:lnTo>
                  <a:lnTo>
                    <a:pt x="80" y="66"/>
                  </a:lnTo>
                  <a:lnTo>
                    <a:pt x="78" y="64"/>
                  </a:lnTo>
                  <a:lnTo>
                    <a:pt x="76" y="66"/>
                  </a:lnTo>
                  <a:lnTo>
                    <a:pt x="74" y="68"/>
                  </a:lnTo>
                  <a:lnTo>
                    <a:pt x="66" y="72"/>
                  </a:lnTo>
                  <a:lnTo>
                    <a:pt x="64" y="70"/>
                  </a:lnTo>
                  <a:lnTo>
                    <a:pt x="58" y="66"/>
                  </a:lnTo>
                  <a:lnTo>
                    <a:pt x="56" y="64"/>
                  </a:lnTo>
                  <a:lnTo>
                    <a:pt x="56" y="66"/>
                  </a:lnTo>
                  <a:lnTo>
                    <a:pt x="54" y="68"/>
                  </a:lnTo>
                  <a:lnTo>
                    <a:pt x="54" y="78"/>
                  </a:lnTo>
                  <a:lnTo>
                    <a:pt x="54" y="82"/>
                  </a:lnTo>
                  <a:lnTo>
                    <a:pt x="54" y="84"/>
                  </a:lnTo>
                  <a:lnTo>
                    <a:pt x="52" y="86"/>
                  </a:lnTo>
                  <a:lnTo>
                    <a:pt x="52" y="88"/>
                  </a:lnTo>
                  <a:lnTo>
                    <a:pt x="50" y="88"/>
                  </a:lnTo>
                  <a:lnTo>
                    <a:pt x="44" y="90"/>
                  </a:lnTo>
                  <a:lnTo>
                    <a:pt x="42" y="90"/>
                  </a:lnTo>
                  <a:lnTo>
                    <a:pt x="40" y="90"/>
                  </a:lnTo>
                  <a:lnTo>
                    <a:pt x="38" y="90"/>
                  </a:lnTo>
                  <a:lnTo>
                    <a:pt x="36" y="90"/>
                  </a:lnTo>
                  <a:lnTo>
                    <a:pt x="34" y="92"/>
                  </a:lnTo>
                  <a:lnTo>
                    <a:pt x="32" y="90"/>
                  </a:lnTo>
                  <a:lnTo>
                    <a:pt x="30" y="90"/>
                  </a:lnTo>
                  <a:lnTo>
                    <a:pt x="26" y="92"/>
                  </a:lnTo>
                  <a:lnTo>
                    <a:pt x="24" y="88"/>
                  </a:lnTo>
                  <a:lnTo>
                    <a:pt x="24" y="86"/>
                  </a:lnTo>
                  <a:lnTo>
                    <a:pt x="26" y="86"/>
                  </a:lnTo>
                  <a:lnTo>
                    <a:pt x="24" y="84"/>
                  </a:lnTo>
                  <a:lnTo>
                    <a:pt x="20" y="82"/>
                  </a:lnTo>
                  <a:lnTo>
                    <a:pt x="14" y="80"/>
                  </a:lnTo>
                  <a:lnTo>
                    <a:pt x="12" y="80"/>
                  </a:lnTo>
                  <a:lnTo>
                    <a:pt x="10" y="80"/>
                  </a:lnTo>
                  <a:lnTo>
                    <a:pt x="10" y="84"/>
                  </a:lnTo>
                  <a:lnTo>
                    <a:pt x="10" y="86"/>
                  </a:lnTo>
                  <a:lnTo>
                    <a:pt x="8" y="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7" name="Freeform 1414"/>
            <p:cNvSpPr>
              <a:spLocks/>
            </p:cNvSpPr>
            <p:nvPr/>
          </p:nvSpPr>
          <p:spPr bwMode="auto">
            <a:xfrm>
              <a:off x="6323652" y="4127936"/>
              <a:ext cx="120105" cy="137621"/>
            </a:xfrm>
            <a:custGeom>
              <a:avLst/>
              <a:gdLst/>
              <a:ahLst/>
              <a:cxnLst>
                <a:cxn ang="0">
                  <a:pos x="96" y="36"/>
                </a:cxn>
                <a:cxn ang="0">
                  <a:pos x="96" y="44"/>
                </a:cxn>
                <a:cxn ang="0">
                  <a:pos x="94" y="52"/>
                </a:cxn>
                <a:cxn ang="0">
                  <a:pos x="90" y="52"/>
                </a:cxn>
                <a:cxn ang="0">
                  <a:pos x="84" y="54"/>
                </a:cxn>
                <a:cxn ang="0">
                  <a:pos x="86" y="56"/>
                </a:cxn>
                <a:cxn ang="0">
                  <a:pos x="84" y="60"/>
                </a:cxn>
                <a:cxn ang="0">
                  <a:pos x="80" y="62"/>
                </a:cxn>
                <a:cxn ang="0">
                  <a:pos x="76" y="64"/>
                </a:cxn>
                <a:cxn ang="0">
                  <a:pos x="72" y="74"/>
                </a:cxn>
                <a:cxn ang="0">
                  <a:pos x="70" y="76"/>
                </a:cxn>
                <a:cxn ang="0">
                  <a:pos x="64" y="84"/>
                </a:cxn>
                <a:cxn ang="0">
                  <a:pos x="60" y="92"/>
                </a:cxn>
                <a:cxn ang="0">
                  <a:pos x="48" y="106"/>
                </a:cxn>
                <a:cxn ang="0">
                  <a:pos x="36" y="110"/>
                </a:cxn>
                <a:cxn ang="0">
                  <a:pos x="22" y="110"/>
                </a:cxn>
                <a:cxn ang="0">
                  <a:pos x="22" y="104"/>
                </a:cxn>
                <a:cxn ang="0">
                  <a:pos x="22" y="98"/>
                </a:cxn>
                <a:cxn ang="0">
                  <a:pos x="18" y="90"/>
                </a:cxn>
                <a:cxn ang="0">
                  <a:pos x="16" y="86"/>
                </a:cxn>
                <a:cxn ang="0">
                  <a:pos x="14" y="84"/>
                </a:cxn>
                <a:cxn ang="0">
                  <a:pos x="12" y="78"/>
                </a:cxn>
                <a:cxn ang="0">
                  <a:pos x="14" y="74"/>
                </a:cxn>
                <a:cxn ang="0">
                  <a:pos x="14" y="68"/>
                </a:cxn>
                <a:cxn ang="0">
                  <a:pos x="14" y="60"/>
                </a:cxn>
                <a:cxn ang="0">
                  <a:pos x="12" y="56"/>
                </a:cxn>
                <a:cxn ang="0">
                  <a:pos x="12" y="52"/>
                </a:cxn>
                <a:cxn ang="0">
                  <a:pos x="12" y="50"/>
                </a:cxn>
                <a:cxn ang="0">
                  <a:pos x="14" y="42"/>
                </a:cxn>
                <a:cxn ang="0">
                  <a:pos x="12" y="38"/>
                </a:cxn>
                <a:cxn ang="0">
                  <a:pos x="8" y="36"/>
                </a:cxn>
                <a:cxn ang="0">
                  <a:pos x="0" y="26"/>
                </a:cxn>
                <a:cxn ang="0">
                  <a:pos x="4" y="22"/>
                </a:cxn>
                <a:cxn ang="0">
                  <a:pos x="4" y="16"/>
                </a:cxn>
                <a:cxn ang="0">
                  <a:pos x="8" y="16"/>
                </a:cxn>
                <a:cxn ang="0">
                  <a:pos x="18" y="20"/>
                </a:cxn>
                <a:cxn ang="0">
                  <a:pos x="18" y="22"/>
                </a:cxn>
                <a:cxn ang="0">
                  <a:pos x="20" y="28"/>
                </a:cxn>
                <a:cxn ang="0">
                  <a:pos x="26" y="26"/>
                </a:cxn>
                <a:cxn ang="0">
                  <a:pos x="30" y="26"/>
                </a:cxn>
                <a:cxn ang="0">
                  <a:pos x="34" y="26"/>
                </a:cxn>
                <a:cxn ang="0">
                  <a:pos x="38" y="26"/>
                </a:cxn>
                <a:cxn ang="0">
                  <a:pos x="46" y="24"/>
                </a:cxn>
                <a:cxn ang="0">
                  <a:pos x="48" y="20"/>
                </a:cxn>
                <a:cxn ang="0">
                  <a:pos x="48" y="14"/>
                </a:cxn>
                <a:cxn ang="0">
                  <a:pos x="50" y="2"/>
                </a:cxn>
                <a:cxn ang="0">
                  <a:pos x="52" y="2"/>
                </a:cxn>
                <a:cxn ang="0">
                  <a:pos x="60" y="8"/>
                </a:cxn>
                <a:cxn ang="0">
                  <a:pos x="70" y="2"/>
                </a:cxn>
                <a:cxn ang="0">
                  <a:pos x="74" y="2"/>
                </a:cxn>
                <a:cxn ang="0">
                  <a:pos x="78" y="4"/>
                </a:cxn>
                <a:cxn ang="0">
                  <a:pos x="82" y="6"/>
                </a:cxn>
                <a:cxn ang="0">
                  <a:pos x="78" y="16"/>
                </a:cxn>
                <a:cxn ang="0">
                  <a:pos x="78" y="34"/>
                </a:cxn>
                <a:cxn ang="0">
                  <a:pos x="84" y="32"/>
                </a:cxn>
                <a:cxn ang="0">
                  <a:pos x="90" y="36"/>
                </a:cxn>
              </a:cxnLst>
              <a:rect l="0" t="0" r="r" b="b"/>
              <a:pathLst>
                <a:path w="96" h="110">
                  <a:moveTo>
                    <a:pt x="96" y="34"/>
                  </a:moveTo>
                  <a:lnTo>
                    <a:pt x="96" y="36"/>
                  </a:lnTo>
                  <a:lnTo>
                    <a:pt x="94" y="40"/>
                  </a:lnTo>
                  <a:lnTo>
                    <a:pt x="96" y="44"/>
                  </a:lnTo>
                  <a:lnTo>
                    <a:pt x="94" y="50"/>
                  </a:lnTo>
                  <a:lnTo>
                    <a:pt x="94" y="52"/>
                  </a:lnTo>
                  <a:lnTo>
                    <a:pt x="92" y="52"/>
                  </a:lnTo>
                  <a:lnTo>
                    <a:pt x="90" y="52"/>
                  </a:lnTo>
                  <a:lnTo>
                    <a:pt x="86" y="54"/>
                  </a:lnTo>
                  <a:lnTo>
                    <a:pt x="84" y="54"/>
                  </a:lnTo>
                  <a:lnTo>
                    <a:pt x="84" y="56"/>
                  </a:lnTo>
                  <a:lnTo>
                    <a:pt x="86" y="56"/>
                  </a:lnTo>
                  <a:lnTo>
                    <a:pt x="86" y="58"/>
                  </a:lnTo>
                  <a:lnTo>
                    <a:pt x="84" y="60"/>
                  </a:lnTo>
                  <a:lnTo>
                    <a:pt x="82" y="60"/>
                  </a:lnTo>
                  <a:lnTo>
                    <a:pt x="80" y="62"/>
                  </a:lnTo>
                  <a:lnTo>
                    <a:pt x="78" y="62"/>
                  </a:lnTo>
                  <a:lnTo>
                    <a:pt x="76" y="64"/>
                  </a:lnTo>
                  <a:lnTo>
                    <a:pt x="72" y="72"/>
                  </a:lnTo>
                  <a:lnTo>
                    <a:pt x="72" y="74"/>
                  </a:lnTo>
                  <a:lnTo>
                    <a:pt x="72" y="76"/>
                  </a:lnTo>
                  <a:lnTo>
                    <a:pt x="70" y="76"/>
                  </a:lnTo>
                  <a:lnTo>
                    <a:pt x="68" y="76"/>
                  </a:lnTo>
                  <a:lnTo>
                    <a:pt x="64" y="84"/>
                  </a:lnTo>
                  <a:lnTo>
                    <a:pt x="64" y="86"/>
                  </a:lnTo>
                  <a:lnTo>
                    <a:pt x="60" y="92"/>
                  </a:lnTo>
                  <a:lnTo>
                    <a:pt x="54" y="102"/>
                  </a:lnTo>
                  <a:lnTo>
                    <a:pt x="48" y="106"/>
                  </a:lnTo>
                  <a:lnTo>
                    <a:pt x="40" y="110"/>
                  </a:lnTo>
                  <a:lnTo>
                    <a:pt x="36" y="110"/>
                  </a:lnTo>
                  <a:lnTo>
                    <a:pt x="24" y="110"/>
                  </a:lnTo>
                  <a:lnTo>
                    <a:pt x="22" y="110"/>
                  </a:lnTo>
                  <a:lnTo>
                    <a:pt x="22" y="108"/>
                  </a:lnTo>
                  <a:lnTo>
                    <a:pt x="22" y="104"/>
                  </a:lnTo>
                  <a:lnTo>
                    <a:pt x="22" y="100"/>
                  </a:lnTo>
                  <a:lnTo>
                    <a:pt x="22" y="98"/>
                  </a:lnTo>
                  <a:lnTo>
                    <a:pt x="20" y="96"/>
                  </a:lnTo>
                  <a:lnTo>
                    <a:pt x="18" y="90"/>
                  </a:lnTo>
                  <a:lnTo>
                    <a:pt x="16" y="88"/>
                  </a:lnTo>
                  <a:lnTo>
                    <a:pt x="16" y="86"/>
                  </a:lnTo>
                  <a:lnTo>
                    <a:pt x="14" y="86"/>
                  </a:lnTo>
                  <a:lnTo>
                    <a:pt x="14" y="84"/>
                  </a:lnTo>
                  <a:lnTo>
                    <a:pt x="14" y="82"/>
                  </a:lnTo>
                  <a:lnTo>
                    <a:pt x="12" y="78"/>
                  </a:lnTo>
                  <a:lnTo>
                    <a:pt x="14" y="76"/>
                  </a:lnTo>
                  <a:lnTo>
                    <a:pt x="14" y="74"/>
                  </a:lnTo>
                  <a:lnTo>
                    <a:pt x="14" y="72"/>
                  </a:lnTo>
                  <a:lnTo>
                    <a:pt x="14" y="68"/>
                  </a:lnTo>
                  <a:lnTo>
                    <a:pt x="14" y="62"/>
                  </a:lnTo>
                  <a:lnTo>
                    <a:pt x="14" y="60"/>
                  </a:lnTo>
                  <a:lnTo>
                    <a:pt x="14" y="58"/>
                  </a:lnTo>
                  <a:lnTo>
                    <a:pt x="12" y="56"/>
                  </a:lnTo>
                  <a:lnTo>
                    <a:pt x="12" y="54"/>
                  </a:lnTo>
                  <a:lnTo>
                    <a:pt x="12" y="52"/>
                  </a:lnTo>
                  <a:lnTo>
                    <a:pt x="14" y="52"/>
                  </a:lnTo>
                  <a:lnTo>
                    <a:pt x="12" y="50"/>
                  </a:lnTo>
                  <a:lnTo>
                    <a:pt x="12" y="44"/>
                  </a:lnTo>
                  <a:lnTo>
                    <a:pt x="14" y="42"/>
                  </a:lnTo>
                  <a:lnTo>
                    <a:pt x="14" y="40"/>
                  </a:lnTo>
                  <a:lnTo>
                    <a:pt x="12" y="38"/>
                  </a:lnTo>
                  <a:lnTo>
                    <a:pt x="10" y="38"/>
                  </a:lnTo>
                  <a:lnTo>
                    <a:pt x="8" y="36"/>
                  </a:lnTo>
                  <a:lnTo>
                    <a:pt x="0" y="28"/>
                  </a:lnTo>
                  <a:lnTo>
                    <a:pt x="0" y="26"/>
                  </a:lnTo>
                  <a:lnTo>
                    <a:pt x="2" y="24"/>
                  </a:lnTo>
                  <a:lnTo>
                    <a:pt x="4" y="22"/>
                  </a:lnTo>
                  <a:lnTo>
                    <a:pt x="4" y="20"/>
                  </a:lnTo>
                  <a:lnTo>
                    <a:pt x="4" y="16"/>
                  </a:lnTo>
                  <a:lnTo>
                    <a:pt x="6" y="16"/>
                  </a:lnTo>
                  <a:lnTo>
                    <a:pt x="8" y="16"/>
                  </a:lnTo>
                  <a:lnTo>
                    <a:pt x="14" y="18"/>
                  </a:lnTo>
                  <a:lnTo>
                    <a:pt x="18" y="20"/>
                  </a:lnTo>
                  <a:lnTo>
                    <a:pt x="20" y="22"/>
                  </a:lnTo>
                  <a:lnTo>
                    <a:pt x="18" y="22"/>
                  </a:lnTo>
                  <a:lnTo>
                    <a:pt x="18" y="24"/>
                  </a:lnTo>
                  <a:lnTo>
                    <a:pt x="20" y="28"/>
                  </a:lnTo>
                  <a:lnTo>
                    <a:pt x="24" y="26"/>
                  </a:lnTo>
                  <a:lnTo>
                    <a:pt x="26" y="26"/>
                  </a:lnTo>
                  <a:lnTo>
                    <a:pt x="28" y="28"/>
                  </a:lnTo>
                  <a:lnTo>
                    <a:pt x="30" y="26"/>
                  </a:lnTo>
                  <a:lnTo>
                    <a:pt x="32" y="26"/>
                  </a:lnTo>
                  <a:lnTo>
                    <a:pt x="34" y="26"/>
                  </a:lnTo>
                  <a:lnTo>
                    <a:pt x="36" y="26"/>
                  </a:lnTo>
                  <a:lnTo>
                    <a:pt x="38" y="26"/>
                  </a:lnTo>
                  <a:lnTo>
                    <a:pt x="44" y="24"/>
                  </a:lnTo>
                  <a:lnTo>
                    <a:pt x="46" y="24"/>
                  </a:lnTo>
                  <a:lnTo>
                    <a:pt x="46" y="22"/>
                  </a:lnTo>
                  <a:lnTo>
                    <a:pt x="48" y="20"/>
                  </a:lnTo>
                  <a:lnTo>
                    <a:pt x="48" y="18"/>
                  </a:lnTo>
                  <a:lnTo>
                    <a:pt x="48" y="14"/>
                  </a:lnTo>
                  <a:lnTo>
                    <a:pt x="48" y="4"/>
                  </a:lnTo>
                  <a:lnTo>
                    <a:pt x="50" y="2"/>
                  </a:lnTo>
                  <a:lnTo>
                    <a:pt x="50" y="0"/>
                  </a:lnTo>
                  <a:lnTo>
                    <a:pt x="52" y="2"/>
                  </a:lnTo>
                  <a:lnTo>
                    <a:pt x="58" y="6"/>
                  </a:lnTo>
                  <a:lnTo>
                    <a:pt x="60" y="8"/>
                  </a:lnTo>
                  <a:lnTo>
                    <a:pt x="68" y="4"/>
                  </a:lnTo>
                  <a:lnTo>
                    <a:pt x="70" y="2"/>
                  </a:lnTo>
                  <a:lnTo>
                    <a:pt x="72" y="0"/>
                  </a:lnTo>
                  <a:lnTo>
                    <a:pt x="74" y="2"/>
                  </a:lnTo>
                  <a:lnTo>
                    <a:pt x="76" y="2"/>
                  </a:lnTo>
                  <a:lnTo>
                    <a:pt x="78" y="4"/>
                  </a:lnTo>
                  <a:lnTo>
                    <a:pt x="80" y="6"/>
                  </a:lnTo>
                  <a:lnTo>
                    <a:pt x="82" y="6"/>
                  </a:lnTo>
                  <a:lnTo>
                    <a:pt x="80" y="10"/>
                  </a:lnTo>
                  <a:lnTo>
                    <a:pt x="78" y="16"/>
                  </a:lnTo>
                  <a:lnTo>
                    <a:pt x="74" y="30"/>
                  </a:lnTo>
                  <a:lnTo>
                    <a:pt x="78" y="34"/>
                  </a:lnTo>
                  <a:lnTo>
                    <a:pt x="80" y="32"/>
                  </a:lnTo>
                  <a:lnTo>
                    <a:pt x="84" y="32"/>
                  </a:lnTo>
                  <a:lnTo>
                    <a:pt x="86" y="34"/>
                  </a:lnTo>
                  <a:lnTo>
                    <a:pt x="90" y="36"/>
                  </a:lnTo>
                  <a:lnTo>
                    <a:pt x="96" y="3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8" name="Freeform 1415"/>
            <p:cNvSpPr>
              <a:spLocks/>
            </p:cNvSpPr>
            <p:nvPr/>
          </p:nvSpPr>
          <p:spPr bwMode="auto">
            <a:xfrm>
              <a:off x="5180150" y="3745100"/>
              <a:ext cx="480421" cy="557990"/>
            </a:xfrm>
            <a:custGeom>
              <a:avLst/>
              <a:gdLst/>
              <a:ahLst/>
              <a:cxnLst>
                <a:cxn ang="0">
                  <a:pos x="222" y="402"/>
                </a:cxn>
                <a:cxn ang="0">
                  <a:pos x="212" y="412"/>
                </a:cxn>
                <a:cxn ang="0">
                  <a:pos x="192" y="430"/>
                </a:cxn>
                <a:cxn ang="0">
                  <a:pos x="168" y="440"/>
                </a:cxn>
                <a:cxn ang="0">
                  <a:pos x="172" y="416"/>
                </a:cxn>
                <a:cxn ang="0">
                  <a:pos x="132" y="418"/>
                </a:cxn>
                <a:cxn ang="0">
                  <a:pos x="116" y="440"/>
                </a:cxn>
                <a:cxn ang="0">
                  <a:pos x="96" y="424"/>
                </a:cxn>
                <a:cxn ang="0">
                  <a:pos x="78" y="422"/>
                </a:cxn>
                <a:cxn ang="0">
                  <a:pos x="54" y="436"/>
                </a:cxn>
                <a:cxn ang="0">
                  <a:pos x="32" y="426"/>
                </a:cxn>
                <a:cxn ang="0">
                  <a:pos x="12" y="402"/>
                </a:cxn>
                <a:cxn ang="0">
                  <a:pos x="18" y="370"/>
                </a:cxn>
                <a:cxn ang="0">
                  <a:pos x="36" y="374"/>
                </a:cxn>
                <a:cxn ang="0">
                  <a:pos x="28" y="348"/>
                </a:cxn>
                <a:cxn ang="0">
                  <a:pos x="20" y="332"/>
                </a:cxn>
                <a:cxn ang="0">
                  <a:pos x="26" y="310"/>
                </a:cxn>
                <a:cxn ang="0">
                  <a:pos x="46" y="312"/>
                </a:cxn>
                <a:cxn ang="0">
                  <a:pos x="68" y="288"/>
                </a:cxn>
                <a:cxn ang="0">
                  <a:pos x="88" y="292"/>
                </a:cxn>
                <a:cxn ang="0">
                  <a:pos x="106" y="310"/>
                </a:cxn>
                <a:cxn ang="0">
                  <a:pos x="132" y="302"/>
                </a:cxn>
                <a:cxn ang="0">
                  <a:pos x="152" y="318"/>
                </a:cxn>
                <a:cxn ang="0">
                  <a:pos x="160" y="292"/>
                </a:cxn>
                <a:cxn ang="0">
                  <a:pos x="170" y="264"/>
                </a:cxn>
                <a:cxn ang="0">
                  <a:pos x="172" y="224"/>
                </a:cxn>
                <a:cxn ang="0">
                  <a:pos x="154" y="204"/>
                </a:cxn>
                <a:cxn ang="0">
                  <a:pos x="144" y="192"/>
                </a:cxn>
                <a:cxn ang="0">
                  <a:pos x="156" y="162"/>
                </a:cxn>
                <a:cxn ang="0">
                  <a:pos x="162" y="126"/>
                </a:cxn>
                <a:cxn ang="0">
                  <a:pos x="136" y="116"/>
                </a:cxn>
                <a:cxn ang="0">
                  <a:pos x="104" y="126"/>
                </a:cxn>
                <a:cxn ang="0">
                  <a:pos x="102" y="108"/>
                </a:cxn>
                <a:cxn ang="0">
                  <a:pos x="110" y="84"/>
                </a:cxn>
                <a:cxn ang="0">
                  <a:pos x="184" y="82"/>
                </a:cxn>
                <a:cxn ang="0">
                  <a:pos x="212" y="88"/>
                </a:cxn>
                <a:cxn ang="0">
                  <a:pos x="252" y="104"/>
                </a:cxn>
                <a:cxn ang="0">
                  <a:pos x="256" y="78"/>
                </a:cxn>
                <a:cxn ang="0">
                  <a:pos x="274" y="42"/>
                </a:cxn>
                <a:cxn ang="0">
                  <a:pos x="280" y="12"/>
                </a:cxn>
                <a:cxn ang="0">
                  <a:pos x="324" y="0"/>
                </a:cxn>
                <a:cxn ang="0">
                  <a:pos x="344" y="8"/>
                </a:cxn>
                <a:cxn ang="0">
                  <a:pos x="364" y="10"/>
                </a:cxn>
                <a:cxn ang="0">
                  <a:pos x="384" y="22"/>
                </a:cxn>
                <a:cxn ang="0">
                  <a:pos x="368" y="58"/>
                </a:cxn>
                <a:cxn ang="0">
                  <a:pos x="356" y="76"/>
                </a:cxn>
                <a:cxn ang="0">
                  <a:pos x="350" y="130"/>
                </a:cxn>
                <a:cxn ang="0">
                  <a:pos x="346" y="146"/>
                </a:cxn>
                <a:cxn ang="0">
                  <a:pos x="350" y="170"/>
                </a:cxn>
                <a:cxn ang="0">
                  <a:pos x="338" y="194"/>
                </a:cxn>
                <a:cxn ang="0">
                  <a:pos x="338" y="212"/>
                </a:cxn>
                <a:cxn ang="0">
                  <a:pos x="316" y="242"/>
                </a:cxn>
                <a:cxn ang="0">
                  <a:pos x="290" y="258"/>
                </a:cxn>
                <a:cxn ang="0">
                  <a:pos x="276" y="286"/>
                </a:cxn>
                <a:cxn ang="0">
                  <a:pos x="258" y="306"/>
                </a:cxn>
                <a:cxn ang="0">
                  <a:pos x="258" y="340"/>
                </a:cxn>
                <a:cxn ang="0">
                  <a:pos x="254" y="372"/>
                </a:cxn>
              </a:cxnLst>
              <a:rect l="0" t="0" r="r" b="b"/>
              <a:pathLst>
                <a:path w="384" h="446">
                  <a:moveTo>
                    <a:pt x="242" y="392"/>
                  </a:moveTo>
                  <a:lnTo>
                    <a:pt x="240" y="394"/>
                  </a:lnTo>
                  <a:lnTo>
                    <a:pt x="236" y="394"/>
                  </a:lnTo>
                  <a:lnTo>
                    <a:pt x="232" y="394"/>
                  </a:lnTo>
                  <a:lnTo>
                    <a:pt x="228" y="396"/>
                  </a:lnTo>
                  <a:lnTo>
                    <a:pt x="226" y="398"/>
                  </a:lnTo>
                  <a:lnTo>
                    <a:pt x="224" y="398"/>
                  </a:lnTo>
                  <a:lnTo>
                    <a:pt x="224" y="400"/>
                  </a:lnTo>
                  <a:lnTo>
                    <a:pt x="222" y="402"/>
                  </a:lnTo>
                  <a:lnTo>
                    <a:pt x="222" y="404"/>
                  </a:lnTo>
                  <a:lnTo>
                    <a:pt x="222" y="406"/>
                  </a:lnTo>
                  <a:lnTo>
                    <a:pt x="222" y="408"/>
                  </a:lnTo>
                  <a:lnTo>
                    <a:pt x="220" y="410"/>
                  </a:lnTo>
                  <a:lnTo>
                    <a:pt x="218" y="410"/>
                  </a:lnTo>
                  <a:lnTo>
                    <a:pt x="216" y="410"/>
                  </a:lnTo>
                  <a:lnTo>
                    <a:pt x="214" y="410"/>
                  </a:lnTo>
                  <a:lnTo>
                    <a:pt x="212" y="410"/>
                  </a:lnTo>
                  <a:lnTo>
                    <a:pt x="212" y="412"/>
                  </a:lnTo>
                  <a:lnTo>
                    <a:pt x="208" y="412"/>
                  </a:lnTo>
                  <a:lnTo>
                    <a:pt x="208" y="414"/>
                  </a:lnTo>
                  <a:lnTo>
                    <a:pt x="206" y="416"/>
                  </a:lnTo>
                  <a:lnTo>
                    <a:pt x="204" y="418"/>
                  </a:lnTo>
                  <a:lnTo>
                    <a:pt x="202" y="420"/>
                  </a:lnTo>
                  <a:lnTo>
                    <a:pt x="200" y="422"/>
                  </a:lnTo>
                  <a:lnTo>
                    <a:pt x="198" y="424"/>
                  </a:lnTo>
                  <a:lnTo>
                    <a:pt x="194" y="428"/>
                  </a:lnTo>
                  <a:lnTo>
                    <a:pt x="192" y="430"/>
                  </a:lnTo>
                  <a:lnTo>
                    <a:pt x="192" y="432"/>
                  </a:lnTo>
                  <a:lnTo>
                    <a:pt x="190" y="434"/>
                  </a:lnTo>
                  <a:lnTo>
                    <a:pt x="188" y="436"/>
                  </a:lnTo>
                  <a:lnTo>
                    <a:pt x="182" y="440"/>
                  </a:lnTo>
                  <a:lnTo>
                    <a:pt x="180" y="442"/>
                  </a:lnTo>
                  <a:lnTo>
                    <a:pt x="178" y="442"/>
                  </a:lnTo>
                  <a:lnTo>
                    <a:pt x="176" y="440"/>
                  </a:lnTo>
                  <a:lnTo>
                    <a:pt x="172" y="438"/>
                  </a:lnTo>
                  <a:lnTo>
                    <a:pt x="168" y="440"/>
                  </a:lnTo>
                  <a:lnTo>
                    <a:pt x="166" y="438"/>
                  </a:lnTo>
                  <a:lnTo>
                    <a:pt x="168" y="434"/>
                  </a:lnTo>
                  <a:lnTo>
                    <a:pt x="166" y="426"/>
                  </a:lnTo>
                  <a:lnTo>
                    <a:pt x="166" y="424"/>
                  </a:lnTo>
                  <a:lnTo>
                    <a:pt x="166" y="422"/>
                  </a:lnTo>
                  <a:lnTo>
                    <a:pt x="168" y="422"/>
                  </a:lnTo>
                  <a:lnTo>
                    <a:pt x="168" y="420"/>
                  </a:lnTo>
                  <a:lnTo>
                    <a:pt x="170" y="418"/>
                  </a:lnTo>
                  <a:lnTo>
                    <a:pt x="172" y="416"/>
                  </a:lnTo>
                  <a:lnTo>
                    <a:pt x="166" y="410"/>
                  </a:lnTo>
                  <a:lnTo>
                    <a:pt x="162" y="412"/>
                  </a:lnTo>
                  <a:lnTo>
                    <a:pt x="146" y="418"/>
                  </a:lnTo>
                  <a:lnTo>
                    <a:pt x="144" y="420"/>
                  </a:lnTo>
                  <a:lnTo>
                    <a:pt x="142" y="420"/>
                  </a:lnTo>
                  <a:lnTo>
                    <a:pt x="138" y="418"/>
                  </a:lnTo>
                  <a:lnTo>
                    <a:pt x="136" y="416"/>
                  </a:lnTo>
                  <a:lnTo>
                    <a:pt x="134" y="416"/>
                  </a:lnTo>
                  <a:lnTo>
                    <a:pt x="132" y="418"/>
                  </a:lnTo>
                  <a:lnTo>
                    <a:pt x="132" y="420"/>
                  </a:lnTo>
                  <a:lnTo>
                    <a:pt x="134" y="422"/>
                  </a:lnTo>
                  <a:lnTo>
                    <a:pt x="134" y="424"/>
                  </a:lnTo>
                  <a:lnTo>
                    <a:pt x="132" y="432"/>
                  </a:lnTo>
                  <a:lnTo>
                    <a:pt x="126" y="436"/>
                  </a:lnTo>
                  <a:lnTo>
                    <a:pt x="124" y="436"/>
                  </a:lnTo>
                  <a:lnTo>
                    <a:pt x="124" y="434"/>
                  </a:lnTo>
                  <a:lnTo>
                    <a:pt x="122" y="436"/>
                  </a:lnTo>
                  <a:lnTo>
                    <a:pt x="116" y="440"/>
                  </a:lnTo>
                  <a:lnTo>
                    <a:pt x="104" y="430"/>
                  </a:lnTo>
                  <a:lnTo>
                    <a:pt x="104" y="428"/>
                  </a:lnTo>
                  <a:lnTo>
                    <a:pt x="104" y="426"/>
                  </a:lnTo>
                  <a:lnTo>
                    <a:pt x="102" y="424"/>
                  </a:lnTo>
                  <a:lnTo>
                    <a:pt x="100" y="424"/>
                  </a:lnTo>
                  <a:lnTo>
                    <a:pt x="100" y="426"/>
                  </a:lnTo>
                  <a:lnTo>
                    <a:pt x="98" y="426"/>
                  </a:lnTo>
                  <a:lnTo>
                    <a:pt x="96" y="426"/>
                  </a:lnTo>
                  <a:lnTo>
                    <a:pt x="96" y="424"/>
                  </a:lnTo>
                  <a:lnTo>
                    <a:pt x="90" y="420"/>
                  </a:lnTo>
                  <a:lnTo>
                    <a:pt x="90" y="418"/>
                  </a:lnTo>
                  <a:lnTo>
                    <a:pt x="90" y="416"/>
                  </a:lnTo>
                  <a:lnTo>
                    <a:pt x="88" y="414"/>
                  </a:lnTo>
                  <a:lnTo>
                    <a:pt x="84" y="414"/>
                  </a:lnTo>
                  <a:lnTo>
                    <a:pt x="82" y="414"/>
                  </a:lnTo>
                  <a:lnTo>
                    <a:pt x="82" y="416"/>
                  </a:lnTo>
                  <a:lnTo>
                    <a:pt x="80" y="420"/>
                  </a:lnTo>
                  <a:lnTo>
                    <a:pt x="78" y="422"/>
                  </a:lnTo>
                  <a:lnTo>
                    <a:pt x="76" y="424"/>
                  </a:lnTo>
                  <a:lnTo>
                    <a:pt x="68" y="424"/>
                  </a:lnTo>
                  <a:lnTo>
                    <a:pt x="64" y="426"/>
                  </a:lnTo>
                  <a:lnTo>
                    <a:pt x="64" y="428"/>
                  </a:lnTo>
                  <a:lnTo>
                    <a:pt x="64" y="432"/>
                  </a:lnTo>
                  <a:lnTo>
                    <a:pt x="60" y="436"/>
                  </a:lnTo>
                  <a:lnTo>
                    <a:pt x="58" y="436"/>
                  </a:lnTo>
                  <a:lnTo>
                    <a:pt x="54" y="434"/>
                  </a:lnTo>
                  <a:lnTo>
                    <a:pt x="54" y="436"/>
                  </a:lnTo>
                  <a:lnTo>
                    <a:pt x="52" y="438"/>
                  </a:lnTo>
                  <a:lnTo>
                    <a:pt x="52" y="440"/>
                  </a:lnTo>
                  <a:lnTo>
                    <a:pt x="46" y="446"/>
                  </a:lnTo>
                  <a:lnTo>
                    <a:pt x="44" y="446"/>
                  </a:lnTo>
                  <a:lnTo>
                    <a:pt x="40" y="442"/>
                  </a:lnTo>
                  <a:lnTo>
                    <a:pt x="36" y="436"/>
                  </a:lnTo>
                  <a:lnTo>
                    <a:pt x="34" y="434"/>
                  </a:lnTo>
                  <a:lnTo>
                    <a:pt x="32" y="430"/>
                  </a:lnTo>
                  <a:lnTo>
                    <a:pt x="32" y="426"/>
                  </a:lnTo>
                  <a:lnTo>
                    <a:pt x="34" y="426"/>
                  </a:lnTo>
                  <a:lnTo>
                    <a:pt x="34" y="424"/>
                  </a:lnTo>
                  <a:lnTo>
                    <a:pt x="32" y="422"/>
                  </a:lnTo>
                  <a:lnTo>
                    <a:pt x="30" y="420"/>
                  </a:lnTo>
                  <a:lnTo>
                    <a:pt x="28" y="418"/>
                  </a:lnTo>
                  <a:lnTo>
                    <a:pt x="26" y="416"/>
                  </a:lnTo>
                  <a:lnTo>
                    <a:pt x="22" y="412"/>
                  </a:lnTo>
                  <a:lnTo>
                    <a:pt x="12" y="404"/>
                  </a:lnTo>
                  <a:lnTo>
                    <a:pt x="12" y="402"/>
                  </a:lnTo>
                  <a:lnTo>
                    <a:pt x="10" y="400"/>
                  </a:lnTo>
                  <a:lnTo>
                    <a:pt x="8" y="398"/>
                  </a:lnTo>
                  <a:lnTo>
                    <a:pt x="4" y="394"/>
                  </a:lnTo>
                  <a:lnTo>
                    <a:pt x="0" y="392"/>
                  </a:lnTo>
                  <a:lnTo>
                    <a:pt x="0" y="390"/>
                  </a:lnTo>
                  <a:lnTo>
                    <a:pt x="2" y="386"/>
                  </a:lnTo>
                  <a:lnTo>
                    <a:pt x="4" y="378"/>
                  </a:lnTo>
                  <a:lnTo>
                    <a:pt x="8" y="376"/>
                  </a:lnTo>
                  <a:lnTo>
                    <a:pt x="18" y="370"/>
                  </a:lnTo>
                  <a:lnTo>
                    <a:pt x="20" y="370"/>
                  </a:lnTo>
                  <a:lnTo>
                    <a:pt x="22" y="370"/>
                  </a:lnTo>
                  <a:lnTo>
                    <a:pt x="24" y="374"/>
                  </a:lnTo>
                  <a:lnTo>
                    <a:pt x="26" y="376"/>
                  </a:lnTo>
                  <a:lnTo>
                    <a:pt x="30" y="378"/>
                  </a:lnTo>
                  <a:lnTo>
                    <a:pt x="36" y="380"/>
                  </a:lnTo>
                  <a:lnTo>
                    <a:pt x="38" y="378"/>
                  </a:lnTo>
                  <a:lnTo>
                    <a:pt x="40" y="376"/>
                  </a:lnTo>
                  <a:lnTo>
                    <a:pt x="36" y="374"/>
                  </a:lnTo>
                  <a:lnTo>
                    <a:pt x="36" y="372"/>
                  </a:lnTo>
                  <a:lnTo>
                    <a:pt x="38" y="364"/>
                  </a:lnTo>
                  <a:lnTo>
                    <a:pt x="40" y="362"/>
                  </a:lnTo>
                  <a:lnTo>
                    <a:pt x="42" y="360"/>
                  </a:lnTo>
                  <a:lnTo>
                    <a:pt x="42" y="358"/>
                  </a:lnTo>
                  <a:lnTo>
                    <a:pt x="34" y="354"/>
                  </a:lnTo>
                  <a:lnTo>
                    <a:pt x="32" y="354"/>
                  </a:lnTo>
                  <a:lnTo>
                    <a:pt x="28" y="352"/>
                  </a:lnTo>
                  <a:lnTo>
                    <a:pt x="28" y="348"/>
                  </a:lnTo>
                  <a:lnTo>
                    <a:pt x="28" y="346"/>
                  </a:lnTo>
                  <a:lnTo>
                    <a:pt x="30" y="346"/>
                  </a:lnTo>
                  <a:lnTo>
                    <a:pt x="32" y="346"/>
                  </a:lnTo>
                  <a:lnTo>
                    <a:pt x="34" y="344"/>
                  </a:lnTo>
                  <a:lnTo>
                    <a:pt x="34" y="342"/>
                  </a:lnTo>
                  <a:lnTo>
                    <a:pt x="26" y="334"/>
                  </a:lnTo>
                  <a:lnTo>
                    <a:pt x="22" y="336"/>
                  </a:lnTo>
                  <a:lnTo>
                    <a:pt x="20" y="334"/>
                  </a:lnTo>
                  <a:lnTo>
                    <a:pt x="20" y="332"/>
                  </a:lnTo>
                  <a:lnTo>
                    <a:pt x="22" y="330"/>
                  </a:lnTo>
                  <a:lnTo>
                    <a:pt x="24" y="328"/>
                  </a:lnTo>
                  <a:lnTo>
                    <a:pt x="26" y="326"/>
                  </a:lnTo>
                  <a:lnTo>
                    <a:pt x="26" y="324"/>
                  </a:lnTo>
                  <a:lnTo>
                    <a:pt x="24" y="320"/>
                  </a:lnTo>
                  <a:lnTo>
                    <a:pt x="24" y="316"/>
                  </a:lnTo>
                  <a:lnTo>
                    <a:pt x="22" y="308"/>
                  </a:lnTo>
                  <a:lnTo>
                    <a:pt x="24" y="308"/>
                  </a:lnTo>
                  <a:lnTo>
                    <a:pt x="26" y="310"/>
                  </a:lnTo>
                  <a:lnTo>
                    <a:pt x="26" y="312"/>
                  </a:lnTo>
                  <a:lnTo>
                    <a:pt x="30" y="314"/>
                  </a:lnTo>
                  <a:lnTo>
                    <a:pt x="32" y="312"/>
                  </a:lnTo>
                  <a:lnTo>
                    <a:pt x="34" y="310"/>
                  </a:lnTo>
                  <a:lnTo>
                    <a:pt x="42" y="308"/>
                  </a:lnTo>
                  <a:lnTo>
                    <a:pt x="42" y="310"/>
                  </a:lnTo>
                  <a:lnTo>
                    <a:pt x="44" y="310"/>
                  </a:lnTo>
                  <a:lnTo>
                    <a:pt x="44" y="312"/>
                  </a:lnTo>
                  <a:lnTo>
                    <a:pt x="46" y="312"/>
                  </a:lnTo>
                  <a:lnTo>
                    <a:pt x="46" y="314"/>
                  </a:lnTo>
                  <a:lnTo>
                    <a:pt x="68" y="308"/>
                  </a:lnTo>
                  <a:lnTo>
                    <a:pt x="68" y="304"/>
                  </a:lnTo>
                  <a:lnTo>
                    <a:pt x="68" y="298"/>
                  </a:lnTo>
                  <a:lnTo>
                    <a:pt x="68" y="296"/>
                  </a:lnTo>
                  <a:lnTo>
                    <a:pt x="66" y="294"/>
                  </a:lnTo>
                  <a:lnTo>
                    <a:pt x="66" y="286"/>
                  </a:lnTo>
                  <a:lnTo>
                    <a:pt x="68" y="286"/>
                  </a:lnTo>
                  <a:lnTo>
                    <a:pt x="68" y="288"/>
                  </a:lnTo>
                  <a:lnTo>
                    <a:pt x="70" y="286"/>
                  </a:lnTo>
                  <a:lnTo>
                    <a:pt x="74" y="284"/>
                  </a:lnTo>
                  <a:lnTo>
                    <a:pt x="78" y="284"/>
                  </a:lnTo>
                  <a:lnTo>
                    <a:pt x="80" y="284"/>
                  </a:lnTo>
                  <a:lnTo>
                    <a:pt x="82" y="286"/>
                  </a:lnTo>
                  <a:lnTo>
                    <a:pt x="84" y="286"/>
                  </a:lnTo>
                  <a:lnTo>
                    <a:pt x="86" y="288"/>
                  </a:lnTo>
                  <a:lnTo>
                    <a:pt x="88" y="290"/>
                  </a:lnTo>
                  <a:lnTo>
                    <a:pt x="88" y="292"/>
                  </a:lnTo>
                  <a:lnTo>
                    <a:pt x="90" y="300"/>
                  </a:lnTo>
                  <a:lnTo>
                    <a:pt x="90" y="302"/>
                  </a:lnTo>
                  <a:lnTo>
                    <a:pt x="92" y="302"/>
                  </a:lnTo>
                  <a:lnTo>
                    <a:pt x="94" y="304"/>
                  </a:lnTo>
                  <a:lnTo>
                    <a:pt x="96" y="306"/>
                  </a:lnTo>
                  <a:lnTo>
                    <a:pt x="96" y="308"/>
                  </a:lnTo>
                  <a:lnTo>
                    <a:pt x="94" y="312"/>
                  </a:lnTo>
                  <a:lnTo>
                    <a:pt x="96" y="310"/>
                  </a:lnTo>
                  <a:lnTo>
                    <a:pt x="106" y="310"/>
                  </a:lnTo>
                  <a:lnTo>
                    <a:pt x="108" y="312"/>
                  </a:lnTo>
                  <a:lnTo>
                    <a:pt x="112" y="314"/>
                  </a:lnTo>
                  <a:lnTo>
                    <a:pt x="114" y="314"/>
                  </a:lnTo>
                  <a:lnTo>
                    <a:pt x="120" y="314"/>
                  </a:lnTo>
                  <a:lnTo>
                    <a:pt x="120" y="312"/>
                  </a:lnTo>
                  <a:lnTo>
                    <a:pt x="124" y="310"/>
                  </a:lnTo>
                  <a:lnTo>
                    <a:pt x="124" y="308"/>
                  </a:lnTo>
                  <a:lnTo>
                    <a:pt x="130" y="304"/>
                  </a:lnTo>
                  <a:lnTo>
                    <a:pt x="132" y="302"/>
                  </a:lnTo>
                  <a:lnTo>
                    <a:pt x="132" y="300"/>
                  </a:lnTo>
                  <a:lnTo>
                    <a:pt x="134" y="296"/>
                  </a:lnTo>
                  <a:lnTo>
                    <a:pt x="136" y="300"/>
                  </a:lnTo>
                  <a:lnTo>
                    <a:pt x="140" y="308"/>
                  </a:lnTo>
                  <a:lnTo>
                    <a:pt x="140" y="314"/>
                  </a:lnTo>
                  <a:lnTo>
                    <a:pt x="140" y="316"/>
                  </a:lnTo>
                  <a:lnTo>
                    <a:pt x="142" y="318"/>
                  </a:lnTo>
                  <a:lnTo>
                    <a:pt x="150" y="318"/>
                  </a:lnTo>
                  <a:lnTo>
                    <a:pt x="152" y="318"/>
                  </a:lnTo>
                  <a:lnTo>
                    <a:pt x="152" y="316"/>
                  </a:lnTo>
                  <a:lnTo>
                    <a:pt x="154" y="312"/>
                  </a:lnTo>
                  <a:lnTo>
                    <a:pt x="156" y="312"/>
                  </a:lnTo>
                  <a:lnTo>
                    <a:pt x="156" y="310"/>
                  </a:lnTo>
                  <a:lnTo>
                    <a:pt x="158" y="308"/>
                  </a:lnTo>
                  <a:lnTo>
                    <a:pt x="158" y="298"/>
                  </a:lnTo>
                  <a:lnTo>
                    <a:pt x="160" y="294"/>
                  </a:lnTo>
                  <a:lnTo>
                    <a:pt x="158" y="294"/>
                  </a:lnTo>
                  <a:lnTo>
                    <a:pt x="160" y="292"/>
                  </a:lnTo>
                  <a:lnTo>
                    <a:pt x="162" y="290"/>
                  </a:lnTo>
                  <a:lnTo>
                    <a:pt x="164" y="288"/>
                  </a:lnTo>
                  <a:lnTo>
                    <a:pt x="166" y="288"/>
                  </a:lnTo>
                  <a:lnTo>
                    <a:pt x="168" y="286"/>
                  </a:lnTo>
                  <a:lnTo>
                    <a:pt x="166" y="284"/>
                  </a:lnTo>
                  <a:lnTo>
                    <a:pt x="166" y="272"/>
                  </a:lnTo>
                  <a:lnTo>
                    <a:pt x="168" y="270"/>
                  </a:lnTo>
                  <a:lnTo>
                    <a:pt x="170" y="270"/>
                  </a:lnTo>
                  <a:lnTo>
                    <a:pt x="170" y="264"/>
                  </a:lnTo>
                  <a:lnTo>
                    <a:pt x="170" y="254"/>
                  </a:lnTo>
                  <a:lnTo>
                    <a:pt x="170" y="252"/>
                  </a:lnTo>
                  <a:lnTo>
                    <a:pt x="170" y="248"/>
                  </a:lnTo>
                  <a:lnTo>
                    <a:pt x="168" y="244"/>
                  </a:lnTo>
                  <a:lnTo>
                    <a:pt x="168" y="240"/>
                  </a:lnTo>
                  <a:lnTo>
                    <a:pt x="168" y="238"/>
                  </a:lnTo>
                  <a:lnTo>
                    <a:pt x="170" y="228"/>
                  </a:lnTo>
                  <a:lnTo>
                    <a:pt x="172" y="226"/>
                  </a:lnTo>
                  <a:lnTo>
                    <a:pt x="172" y="224"/>
                  </a:lnTo>
                  <a:lnTo>
                    <a:pt x="172" y="222"/>
                  </a:lnTo>
                  <a:lnTo>
                    <a:pt x="170" y="218"/>
                  </a:lnTo>
                  <a:lnTo>
                    <a:pt x="166" y="214"/>
                  </a:lnTo>
                  <a:lnTo>
                    <a:pt x="162" y="212"/>
                  </a:lnTo>
                  <a:lnTo>
                    <a:pt x="158" y="212"/>
                  </a:lnTo>
                  <a:lnTo>
                    <a:pt x="156" y="212"/>
                  </a:lnTo>
                  <a:lnTo>
                    <a:pt x="156" y="208"/>
                  </a:lnTo>
                  <a:lnTo>
                    <a:pt x="154" y="206"/>
                  </a:lnTo>
                  <a:lnTo>
                    <a:pt x="154" y="204"/>
                  </a:lnTo>
                  <a:lnTo>
                    <a:pt x="150" y="202"/>
                  </a:lnTo>
                  <a:lnTo>
                    <a:pt x="146" y="202"/>
                  </a:lnTo>
                  <a:lnTo>
                    <a:pt x="144" y="202"/>
                  </a:lnTo>
                  <a:lnTo>
                    <a:pt x="142" y="204"/>
                  </a:lnTo>
                  <a:lnTo>
                    <a:pt x="138" y="200"/>
                  </a:lnTo>
                  <a:lnTo>
                    <a:pt x="138" y="198"/>
                  </a:lnTo>
                  <a:lnTo>
                    <a:pt x="140" y="196"/>
                  </a:lnTo>
                  <a:lnTo>
                    <a:pt x="142" y="196"/>
                  </a:lnTo>
                  <a:lnTo>
                    <a:pt x="144" y="192"/>
                  </a:lnTo>
                  <a:lnTo>
                    <a:pt x="144" y="188"/>
                  </a:lnTo>
                  <a:lnTo>
                    <a:pt x="142" y="184"/>
                  </a:lnTo>
                  <a:lnTo>
                    <a:pt x="140" y="180"/>
                  </a:lnTo>
                  <a:lnTo>
                    <a:pt x="140" y="178"/>
                  </a:lnTo>
                  <a:lnTo>
                    <a:pt x="144" y="172"/>
                  </a:lnTo>
                  <a:lnTo>
                    <a:pt x="150" y="164"/>
                  </a:lnTo>
                  <a:lnTo>
                    <a:pt x="152" y="162"/>
                  </a:lnTo>
                  <a:lnTo>
                    <a:pt x="154" y="162"/>
                  </a:lnTo>
                  <a:lnTo>
                    <a:pt x="156" y="162"/>
                  </a:lnTo>
                  <a:lnTo>
                    <a:pt x="160" y="162"/>
                  </a:lnTo>
                  <a:lnTo>
                    <a:pt x="164" y="158"/>
                  </a:lnTo>
                  <a:lnTo>
                    <a:pt x="170" y="148"/>
                  </a:lnTo>
                  <a:lnTo>
                    <a:pt x="172" y="142"/>
                  </a:lnTo>
                  <a:lnTo>
                    <a:pt x="170" y="142"/>
                  </a:lnTo>
                  <a:lnTo>
                    <a:pt x="168" y="142"/>
                  </a:lnTo>
                  <a:lnTo>
                    <a:pt x="164" y="134"/>
                  </a:lnTo>
                  <a:lnTo>
                    <a:pt x="162" y="130"/>
                  </a:lnTo>
                  <a:lnTo>
                    <a:pt x="162" y="126"/>
                  </a:lnTo>
                  <a:lnTo>
                    <a:pt x="160" y="122"/>
                  </a:lnTo>
                  <a:lnTo>
                    <a:pt x="158" y="120"/>
                  </a:lnTo>
                  <a:lnTo>
                    <a:pt x="156" y="120"/>
                  </a:lnTo>
                  <a:lnTo>
                    <a:pt x="154" y="118"/>
                  </a:lnTo>
                  <a:lnTo>
                    <a:pt x="152" y="120"/>
                  </a:lnTo>
                  <a:lnTo>
                    <a:pt x="150" y="120"/>
                  </a:lnTo>
                  <a:lnTo>
                    <a:pt x="146" y="118"/>
                  </a:lnTo>
                  <a:lnTo>
                    <a:pt x="142" y="116"/>
                  </a:lnTo>
                  <a:lnTo>
                    <a:pt x="136" y="116"/>
                  </a:lnTo>
                  <a:lnTo>
                    <a:pt x="136" y="118"/>
                  </a:lnTo>
                  <a:lnTo>
                    <a:pt x="124" y="122"/>
                  </a:lnTo>
                  <a:lnTo>
                    <a:pt x="120" y="124"/>
                  </a:lnTo>
                  <a:lnTo>
                    <a:pt x="114" y="124"/>
                  </a:lnTo>
                  <a:lnTo>
                    <a:pt x="112" y="126"/>
                  </a:lnTo>
                  <a:lnTo>
                    <a:pt x="110" y="128"/>
                  </a:lnTo>
                  <a:lnTo>
                    <a:pt x="106" y="128"/>
                  </a:lnTo>
                  <a:lnTo>
                    <a:pt x="104" y="128"/>
                  </a:lnTo>
                  <a:lnTo>
                    <a:pt x="104" y="126"/>
                  </a:lnTo>
                  <a:lnTo>
                    <a:pt x="104" y="124"/>
                  </a:lnTo>
                  <a:lnTo>
                    <a:pt x="106" y="124"/>
                  </a:lnTo>
                  <a:lnTo>
                    <a:pt x="108" y="122"/>
                  </a:lnTo>
                  <a:lnTo>
                    <a:pt x="108" y="118"/>
                  </a:lnTo>
                  <a:lnTo>
                    <a:pt x="108" y="116"/>
                  </a:lnTo>
                  <a:lnTo>
                    <a:pt x="106" y="116"/>
                  </a:lnTo>
                  <a:lnTo>
                    <a:pt x="104" y="112"/>
                  </a:lnTo>
                  <a:lnTo>
                    <a:pt x="104" y="110"/>
                  </a:lnTo>
                  <a:lnTo>
                    <a:pt x="102" y="108"/>
                  </a:lnTo>
                  <a:lnTo>
                    <a:pt x="102" y="102"/>
                  </a:lnTo>
                  <a:lnTo>
                    <a:pt x="104" y="98"/>
                  </a:lnTo>
                  <a:lnTo>
                    <a:pt x="106" y="98"/>
                  </a:lnTo>
                  <a:lnTo>
                    <a:pt x="106" y="96"/>
                  </a:lnTo>
                  <a:lnTo>
                    <a:pt x="104" y="94"/>
                  </a:lnTo>
                  <a:lnTo>
                    <a:pt x="104" y="90"/>
                  </a:lnTo>
                  <a:lnTo>
                    <a:pt x="106" y="88"/>
                  </a:lnTo>
                  <a:lnTo>
                    <a:pt x="110" y="86"/>
                  </a:lnTo>
                  <a:lnTo>
                    <a:pt x="110" y="84"/>
                  </a:lnTo>
                  <a:lnTo>
                    <a:pt x="110" y="78"/>
                  </a:lnTo>
                  <a:lnTo>
                    <a:pt x="112" y="78"/>
                  </a:lnTo>
                  <a:lnTo>
                    <a:pt x="130" y="78"/>
                  </a:lnTo>
                  <a:lnTo>
                    <a:pt x="134" y="78"/>
                  </a:lnTo>
                  <a:lnTo>
                    <a:pt x="154" y="80"/>
                  </a:lnTo>
                  <a:lnTo>
                    <a:pt x="162" y="80"/>
                  </a:lnTo>
                  <a:lnTo>
                    <a:pt x="170" y="80"/>
                  </a:lnTo>
                  <a:lnTo>
                    <a:pt x="176" y="78"/>
                  </a:lnTo>
                  <a:lnTo>
                    <a:pt x="184" y="82"/>
                  </a:lnTo>
                  <a:lnTo>
                    <a:pt x="186" y="84"/>
                  </a:lnTo>
                  <a:lnTo>
                    <a:pt x="190" y="84"/>
                  </a:lnTo>
                  <a:lnTo>
                    <a:pt x="192" y="88"/>
                  </a:lnTo>
                  <a:lnTo>
                    <a:pt x="200" y="88"/>
                  </a:lnTo>
                  <a:lnTo>
                    <a:pt x="202" y="88"/>
                  </a:lnTo>
                  <a:lnTo>
                    <a:pt x="204" y="88"/>
                  </a:lnTo>
                  <a:lnTo>
                    <a:pt x="206" y="86"/>
                  </a:lnTo>
                  <a:lnTo>
                    <a:pt x="210" y="86"/>
                  </a:lnTo>
                  <a:lnTo>
                    <a:pt x="212" y="88"/>
                  </a:lnTo>
                  <a:lnTo>
                    <a:pt x="222" y="90"/>
                  </a:lnTo>
                  <a:lnTo>
                    <a:pt x="222" y="88"/>
                  </a:lnTo>
                  <a:lnTo>
                    <a:pt x="224" y="90"/>
                  </a:lnTo>
                  <a:lnTo>
                    <a:pt x="232" y="92"/>
                  </a:lnTo>
                  <a:lnTo>
                    <a:pt x="236" y="92"/>
                  </a:lnTo>
                  <a:lnTo>
                    <a:pt x="242" y="98"/>
                  </a:lnTo>
                  <a:lnTo>
                    <a:pt x="248" y="100"/>
                  </a:lnTo>
                  <a:lnTo>
                    <a:pt x="250" y="102"/>
                  </a:lnTo>
                  <a:lnTo>
                    <a:pt x="252" y="104"/>
                  </a:lnTo>
                  <a:lnTo>
                    <a:pt x="254" y="106"/>
                  </a:lnTo>
                  <a:lnTo>
                    <a:pt x="258" y="102"/>
                  </a:lnTo>
                  <a:lnTo>
                    <a:pt x="256" y="98"/>
                  </a:lnTo>
                  <a:lnTo>
                    <a:pt x="256" y="96"/>
                  </a:lnTo>
                  <a:lnTo>
                    <a:pt x="254" y="90"/>
                  </a:lnTo>
                  <a:lnTo>
                    <a:pt x="254" y="86"/>
                  </a:lnTo>
                  <a:lnTo>
                    <a:pt x="254" y="80"/>
                  </a:lnTo>
                  <a:lnTo>
                    <a:pt x="254" y="78"/>
                  </a:lnTo>
                  <a:lnTo>
                    <a:pt x="256" y="78"/>
                  </a:lnTo>
                  <a:lnTo>
                    <a:pt x="260" y="76"/>
                  </a:lnTo>
                  <a:lnTo>
                    <a:pt x="264" y="70"/>
                  </a:lnTo>
                  <a:lnTo>
                    <a:pt x="264" y="66"/>
                  </a:lnTo>
                  <a:lnTo>
                    <a:pt x="270" y="54"/>
                  </a:lnTo>
                  <a:lnTo>
                    <a:pt x="272" y="52"/>
                  </a:lnTo>
                  <a:lnTo>
                    <a:pt x="274" y="46"/>
                  </a:lnTo>
                  <a:lnTo>
                    <a:pt x="276" y="44"/>
                  </a:lnTo>
                  <a:lnTo>
                    <a:pt x="274" y="44"/>
                  </a:lnTo>
                  <a:lnTo>
                    <a:pt x="274" y="42"/>
                  </a:lnTo>
                  <a:lnTo>
                    <a:pt x="274" y="40"/>
                  </a:lnTo>
                  <a:lnTo>
                    <a:pt x="274" y="30"/>
                  </a:lnTo>
                  <a:lnTo>
                    <a:pt x="274" y="28"/>
                  </a:lnTo>
                  <a:lnTo>
                    <a:pt x="276" y="26"/>
                  </a:lnTo>
                  <a:lnTo>
                    <a:pt x="276" y="24"/>
                  </a:lnTo>
                  <a:lnTo>
                    <a:pt x="278" y="20"/>
                  </a:lnTo>
                  <a:lnTo>
                    <a:pt x="278" y="16"/>
                  </a:lnTo>
                  <a:lnTo>
                    <a:pt x="278" y="14"/>
                  </a:lnTo>
                  <a:lnTo>
                    <a:pt x="280" y="12"/>
                  </a:lnTo>
                  <a:lnTo>
                    <a:pt x="282" y="10"/>
                  </a:lnTo>
                  <a:lnTo>
                    <a:pt x="284" y="10"/>
                  </a:lnTo>
                  <a:lnTo>
                    <a:pt x="286" y="10"/>
                  </a:lnTo>
                  <a:lnTo>
                    <a:pt x="294" y="8"/>
                  </a:lnTo>
                  <a:lnTo>
                    <a:pt x="298" y="8"/>
                  </a:lnTo>
                  <a:lnTo>
                    <a:pt x="306" y="8"/>
                  </a:lnTo>
                  <a:lnTo>
                    <a:pt x="318" y="6"/>
                  </a:lnTo>
                  <a:lnTo>
                    <a:pt x="322" y="2"/>
                  </a:lnTo>
                  <a:lnTo>
                    <a:pt x="324" y="0"/>
                  </a:lnTo>
                  <a:lnTo>
                    <a:pt x="326" y="0"/>
                  </a:lnTo>
                  <a:lnTo>
                    <a:pt x="328" y="2"/>
                  </a:lnTo>
                  <a:lnTo>
                    <a:pt x="330" y="4"/>
                  </a:lnTo>
                  <a:lnTo>
                    <a:pt x="332" y="4"/>
                  </a:lnTo>
                  <a:lnTo>
                    <a:pt x="334" y="4"/>
                  </a:lnTo>
                  <a:lnTo>
                    <a:pt x="336" y="4"/>
                  </a:lnTo>
                  <a:lnTo>
                    <a:pt x="340" y="6"/>
                  </a:lnTo>
                  <a:lnTo>
                    <a:pt x="342" y="6"/>
                  </a:lnTo>
                  <a:lnTo>
                    <a:pt x="344" y="8"/>
                  </a:lnTo>
                  <a:lnTo>
                    <a:pt x="344" y="10"/>
                  </a:lnTo>
                  <a:lnTo>
                    <a:pt x="346" y="10"/>
                  </a:lnTo>
                  <a:lnTo>
                    <a:pt x="354" y="8"/>
                  </a:lnTo>
                  <a:lnTo>
                    <a:pt x="358" y="8"/>
                  </a:lnTo>
                  <a:lnTo>
                    <a:pt x="360" y="10"/>
                  </a:lnTo>
                  <a:lnTo>
                    <a:pt x="360" y="12"/>
                  </a:lnTo>
                  <a:lnTo>
                    <a:pt x="362" y="12"/>
                  </a:lnTo>
                  <a:lnTo>
                    <a:pt x="364" y="12"/>
                  </a:lnTo>
                  <a:lnTo>
                    <a:pt x="364" y="10"/>
                  </a:lnTo>
                  <a:lnTo>
                    <a:pt x="364" y="8"/>
                  </a:lnTo>
                  <a:lnTo>
                    <a:pt x="374" y="6"/>
                  </a:lnTo>
                  <a:lnTo>
                    <a:pt x="376" y="4"/>
                  </a:lnTo>
                  <a:lnTo>
                    <a:pt x="378" y="6"/>
                  </a:lnTo>
                  <a:lnTo>
                    <a:pt x="380" y="10"/>
                  </a:lnTo>
                  <a:lnTo>
                    <a:pt x="382" y="12"/>
                  </a:lnTo>
                  <a:lnTo>
                    <a:pt x="384" y="12"/>
                  </a:lnTo>
                  <a:lnTo>
                    <a:pt x="384" y="14"/>
                  </a:lnTo>
                  <a:lnTo>
                    <a:pt x="384" y="22"/>
                  </a:lnTo>
                  <a:lnTo>
                    <a:pt x="384" y="26"/>
                  </a:lnTo>
                  <a:lnTo>
                    <a:pt x="384" y="30"/>
                  </a:lnTo>
                  <a:lnTo>
                    <a:pt x="382" y="32"/>
                  </a:lnTo>
                  <a:lnTo>
                    <a:pt x="380" y="32"/>
                  </a:lnTo>
                  <a:lnTo>
                    <a:pt x="376" y="42"/>
                  </a:lnTo>
                  <a:lnTo>
                    <a:pt x="372" y="48"/>
                  </a:lnTo>
                  <a:lnTo>
                    <a:pt x="372" y="52"/>
                  </a:lnTo>
                  <a:lnTo>
                    <a:pt x="368" y="56"/>
                  </a:lnTo>
                  <a:lnTo>
                    <a:pt x="368" y="58"/>
                  </a:lnTo>
                  <a:lnTo>
                    <a:pt x="366" y="60"/>
                  </a:lnTo>
                  <a:lnTo>
                    <a:pt x="364" y="62"/>
                  </a:lnTo>
                  <a:lnTo>
                    <a:pt x="362" y="64"/>
                  </a:lnTo>
                  <a:lnTo>
                    <a:pt x="362" y="66"/>
                  </a:lnTo>
                  <a:lnTo>
                    <a:pt x="362" y="68"/>
                  </a:lnTo>
                  <a:lnTo>
                    <a:pt x="360" y="72"/>
                  </a:lnTo>
                  <a:lnTo>
                    <a:pt x="358" y="74"/>
                  </a:lnTo>
                  <a:lnTo>
                    <a:pt x="356" y="74"/>
                  </a:lnTo>
                  <a:lnTo>
                    <a:pt x="356" y="76"/>
                  </a:lnTo>
                  <a:lnTo>
                    <a:pt x="354" y="86"/>
                  </a:lnTo>
                  <a:lnTo>
                    <a:pt x="354" y="94"/>
                  </a:lnTo>
                  <a:lnTo>
                    <a:pt x="354" y="100"/>
                  </a:lnTo>
                  <a:lnTo>
                    <a:pt x="356" y="102"/>
                  </a:lnTo>
                  <a:lnTo>
                    <a:pt x="356" y="106"/>
                  </a:lnTo>
                  <a:lnTo>
                    <a:pt x="354" y="110"/>
                  </a:lnTo>
                  <a:lnTo>
                    <a:pt x="354" y="112"/>
                  </a:lnTo>
                  <a:lnTo>
                    <a:pt x="350" y="128"/>
                  </a:lnTo>
                  <a:lnTo>
                    <a:pt x="350" y="130"/>
                  </a:lnTo>
                  <a:lnTo>
                    <a:pt x="348" y="132"/>
                  </a:lnTo>
                  <a:lnTo>
                    <a:pt x="348" y="134"/>
                  </a:lnTo>
                  <a:lnTo>
                    <a:pt x="346" y="136"/>
                  </a:lnTo>
                  <a:lnTo>
                    <a:pt x="344" y="138"/>
                  </a:lnTo>
                  <a:lnTo>
                    <a:pt x="344" y="140"/>
                  </a:lnTo>
                  <a:lnTo>
                    <a:pt x="344" y="142"/>
                  </a:lnTo>
                  <a:lnTo>
                    <a:pt x="346" y="142"/>
                  </a:lnTo>
                  <a:lnTo>
                    <a:pt x="346" y="144"/>
                  </a:lnTo>
                  <a:lnTo>
                    <a:pt x="346" y="146"/>
                  </a:lnTo>
                  <a:lnTo>
                    <a:pt x="346" y="148"/>
                  </a:lnTo>
                  <a:lnTo>
                    <a:pt x="346" y="150"/>
                  </a:lnTo>
                  <a:lnTo>
                    <a:pt x="346" y="152"/>
                  </a:lnTo>
                  <a:lnTo>
                    <a:pt x="346" y="156"/>
                  </a:lnTo>
                  <a:lnTo>
                    <a:pt x="346" y="160"/>
                  </a:lnTo>
                  <a:lnTo>
                    <a:pt x="348" y="162"/>
                  </a:lnTo>
                  <a:lnTo>
                    <a:pt x="350" y="166"/>
                  </a:lnTo>
                  <a:lnTo>
                    <a:pt x="350" y="168"/>
                  </a:lnTo>
                  <a:lnTo>
                    <a:pt x="350" y="170"/>
                  </a:lnTo>
                  <a:lnTo>
                    <a:pt x="350" y="172"/>
                  </a:lnTo>
                  <a:lnTo>
                    <a:pt x="348" y="174"/>
                  </a:lnTo>
                  <a:lnTo>
                    <a:pt x="346" y="174"/>
                  </a:lnTo>
                  <a:lnTo>
                    <a:pt x="344" y="178"/>
                  </a:lnTo>
                  <a:lnTo>
                    <a:pt x="342" y="180"/>
                  </a:lnTo>
                  <a:lnTo>
                    <a:pt x="340" y="184"/>
                  </a:lnTo>
                  <a:lnTo>
                    <a:pt x="340" y="186"/>
                  </a:lnTo>
                  <a:lnTo>
                    <a:pt x="340" y="190"/>
                  </a:lnTo>
                  <a:lnTo>
                    <a:pt x="338" y="194"/>
                  </a:lnTo>
                  <a:lnTo>
                    <a:pt x="338" y="196"/>
                  </a:lnTo>
                  <a:lnTo>
                    <a:pt x="336" y="198"/>
                  </a:lnTo>
                  <a:lnTo>
                    <a:pt x="336" y="200"/>
                  </a:lnTo>
                  <a:lnTo>
                    <a:pt x="336" y="202"/>
                  </a:lnTo>
                  <a:lnTo>
                    <a:pt x="336" y="204"/>
                  </a:lnTo>
                  <a:lnTo>
                    <a:pt x="338" y="206"/>
                  </a:lnTo>
                  <a:lnTo>
                    <a:pt x="338" y="208"/>
                  </a:lnTo>
                  <a:lnTo>
                    <a:pt x="338" y="210"/>
                  </a:lnTo>
                  <a:lnTo>
                    <a:pt x="338" y="212"/>
                  </a:lnTo>
                  <a:lnTo>
                    <a:pt x="338" y="214"/>
                  </a:lnTo>
                  <a:lnTo>
                    <a:pt x="338" y="218"/>
                  </a:lnTo>
                  <a:lnTo>
                    <a:pt x="336" y="218"/>
                  </a:lnTo>
                  <a:lnTo>
                    <a:pt x="336" y="220"/>
                  </a:lnTo>
                  <a:lnTo>
                    <a:pt x="334" y="222"/>
                  </a:lnTo>
                  <a:lnTo>
                    <a:pt x="332" y="226"/>
                  </a:lnTo>
                  <a:lnTo>
                    <a:pt x="328" y="230"/>
                  </a:lnTo>
                  <a:lnTo>
                    <a:pt x="320" y="240"/>
                  </a:lnTo>
                  <a:lnTo>
                    <a:pt x="316" y="242"/>
                  </a:lnTo>
                  <a:lnTo>
                    <a:pt x="314" y="244"/>
                  </a:lnTo>
                  <a:lnTo>
                    <a:pt x="312" y="244"/>
                  </a:lnTo>
                  <a:lnTo>
                    <a:pt x="310" y="244"/>
                  </a:lnTo>
                  <a:lnTo>
                    <a:pt x="308" y="244"/>
                  </a:lnTo>
                  <a:lnTo>
                    <a:pt x="306" y="246"/>
                  </a:lnTo>
                  <a:lnTo>
                    <a:pt x="298" y="250"/>
                  </a:lnTo>
                  <a:lnTo>
                    <a:pt x="294" y="254"/>
                  </a:lnTo>
                  <a:lnTo>
                    <a:pt x="292" y="254"/>
                  </a:lnTo>
                  <a:lnTo>
                    <a:pt x="290" y="258"/>
                  </a:lnTo>
                  <a:lnTo>
                    <a:pt x="286" y="262"/>
                  </a:lnTo>
                  <a:lnTo>
                    <a:pt x="286" y="264"/>
                  </a:lnTo>
                  <a:lnTo>
                    <a:pt x="286" y="266"/>
                  </a:lnTo>
                  <a:lnTo>
                    <a:pt x="284" y="272"/>
                  </a:lnTo>
                  <a:lnTo>
                    <a:pt x="282" y="274"/>
                  </a:lnTo>
                  <a:lnTo>
                    <a:pt x="280" y="276"/>
                  </a:lnTo>
                  <a:lnTo>
                    <a:pt x="280" y="278"/>
                  </a:lnTo>
                  <a:lnTo>
                    <a:pt x="276" y="284"/>
                  </a:lnTo>
                  <a:lnTo>
                    <a:pt x="276" y="286"/>
                  </a:lnTo>
                  <a:lnTo>
                    <a:pt x="272" y="290"/>
                  </a:lnTo>
                  <a:lnTo>
                    <a:pt x="270" y="292"/>
                  </a:lnTo>
                  <a:lnTo>
                    <a:pt x="268" y="294"/>
                  </a:lnTo>
                  <a:lnTo>
                    <a:pt x="266" y="296"/>
                  </a:lnTo>
                  <a:lnTo>
                    <a:pt x="262" y="298"/>
                  </a:lnTo>
                  <a:lnTo>
                    <a:pt x="260" y="302"/>
                  </a:lnTo>
                  <a:lnTo>
                    <a:pt x="258" y="302"/>
                  </a:lnTo>
                  <a:lnTo>
                    <a:pt x="258" y="304"/>
                  </a:lnTo>
                  <a:lnTo>
                    <a:pt x="258" y="306"/>
                  </a:lnTo>
                  <a:lnTo>
                    <a:pt x="258" y="308"/>
                  </a:lnTo>
                  <a:lnTo>
                    <a:pt x="258" y="312"/>
                  </a:lnTo>
                  <a:lnTo>
                    <a:pt x="258" y="314"/>
                  </a:lnTo>
                  <a:lnTo>
                    <a:pt x="260" y="320"/>
                  </a:lnTo>
                  <a:lnTo>
                    <a:pt x="260" y="328"/>
                  </a:lnTo>
                  <a:lnTo>
                    <a:pt x="260" y="330"/>
                  </a:lnTo>
                  <a:lnTo>
                    <a:pt x="258" y="332"/>
                  </a:lnTo>
                  <a:lnTo>
                    <a:pt x="258" y="338"/>
                  </a:lnTo>
                  <a:lnTo>
                    <a:pt x="258" y="340"/>
                  </a:lnTo>
                  <a:lnTo>
                    <a:pt x="258" y="344"/>
                  </a:lnTo>
                  <a:lnTo>
                    <a:pt x="258" y="348"/>
                  </a:lnTo>
                  <a:lnTo>
                    <a:pt x="258" y="350"/>
                  </a:lnTo>
                  <a:lnTo>
                    <a:pt x="258" y="358"/>
                  </a:lnTo>
                  <a:lnTo>
                    <a:pt x="260" y="360"/>
                  </a:lnTo>
                  <a:lnTo>
                    <a:pt x="260" y="362"/>
                  </a:lnTo>
                  <a:lnTo>
                    <a:pt x="258" y="366"/>
                  </a:lnTo>
                  <a:lnTo>
                    <a:pt x="254" y="370"/>
                  </a:lnTo>
                  <a:lnTo>
                    <a:pt x="254" y="372"/>
                  </a:lnTo>
                  <a:lnTo>
                    <a:pt x="254" y="374"/>
                  </a:lnTo>
                  <a:lnTo>
                    <a:pt x="252" y="376"/>
                  </a:lnTo>
                  <a:lnTo>
                    <a:pt x="248" y="382"/>
                  </a:lnTo>
                  <a:lnTo>
                    <a:pt x="244" y="390"/>
                  </a:lnTo>
                  <a:lnTo>
                    <a:pt x="242" y="39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79" name="Group 1562"/>
            <p:cNvGrpSpPr>
              <a:grpSpLocks/>
            </p:cNvGrpSpPr>
            <p:nvPr/>
          </p:nvGrpSpPr>
          <p:grpSpPr bwMode="auto">
            <a:xfrm>
              <a:off x="6346172" y="4042861"/>
              <a:ext cx="703117" cy="695610"/>
              <a:chOff x="3647" y="2383"/>
              <a:chExt cx="562" cy="556"/>
            </a:xfrm>
            <a:solidFill>
              <a:srgbClr val="B9B9B9"/>
            </a:solidFill>
          </p:grpSpPr>
          <p:sp>
            <p:nvSpPr>
              <p:cNvPr id="362" name="Freeform 1416"/>
              <p:cNvSpPr>
                <a:spLocks/>
              </p:cNvSpPr>
              <p:nvPr/>
            </p:nvSpPr>
            <p:spPr bwMode="auto">
              <a:xfrm>
                <a:off x="3647" y="2383"/>
                <a:ext cx="562" cy="556"/>
              </a:xfrm>
              <a:custGeom>
                <a:avLst/>
                <a:gdLst/>
                <a:ahLst/>
                <a:cxnLst>
                  <a:cxn ang="0">
                    <a:pos x="438" y="530"/>
                  </a:cxn>
                  <a:cxn ang="0">
                    <a:pos x="420" y="548"/>
                  </a:cxn>
                  <a:cxn ang="0">
                    <a:pos x="378" y="546"/>
                  </a:cxn>
                  <a:cxn ang="0">
                    <a:pos x="354" y="552"/>
                  </a:cxn>
                  <a:cxn ang="0">
                    <a:pos x="332" y="538"/>
                  </a:cxn>
                  <a:cxn ang="0">
                    <a:pos x="284" y="546"/>
                  </a:cxn>
                  <a:cxn ang="0">
                    <a:pos x="266" y="522"/>
                  </a:cxn>
                  <a:cxn ang="0">
                    <a:pos x="268" y="500"/>
                  </a:cxn>
                  <a:cxn ang="0">
                    <a:pos x="262" y="468"/>
                  </a:cxn>
                  <a:cxn ang="0">
                    <a:pos x="242" y="442"/>
                  </a:cxn>
                  <a:cxn ang="0">
                    <a:pos x="232" y="448"/>
                  </a:cxn>
                  <a:cxn ang="0">
                    <a:pos x="206" y="444"/>
                  </a:cxn>
                  <a:cxn ang="0">
                    <a:pos x="184" y="432"/>
                  </a:cxn>
                  <a:cxn ang="0">
                    <a:pos x="166" y="426"/>
                  </a:cxn>
                  <a:cxn ang="0">
                    <a:pos x="144" y="418"/>
                  </a:cxn>
                  <a:cxn ang="0">
                    <a:pos x="130" y="410"/>
                  </a:cxn>
                  <a:cxn ang="0">
                    <a:pos x="112" y="404"/>
                  </a:cxn>
                  <a:cxn ang="0">
                    <a:pos x="88" y="394"/>
                  </a:cxn>
                  <a:cxn ang="0">
                    <a:pos x="72" y="372"/>
                  </a:cxn>
                  <a:cxn ang="0">
                    <a:pos x="58" y="342"/>
                  </a:cxn>
                  <a:cxn ang="0">
                    <a:pos x="52" y="324"/>
                  </a:cxn>
                  <a:cxn ang="0">
                    <a:pos x="40" y="306"/>
                  </a:cxn>
                  <a:cxn ang="0">
                    <a:pos x="18" y="290"/>
                  </a:cxn>
                  <a:cxn ang="0">
                    <a:pos x="8" y="258"/>
                  </a:cxn>
                  <a:cxn ang="0">
                    <a:pos x="16" y="244"/>
                  </a:cxn>
                  <a:cxn ang="0">
                    <a:pos x="8" y="222"/>
                  </a:cxn>
                  <a:cxn ang="0">
                    <a:pos x="0" y="206"/>
                  </a:cxn>
                  <a:cxn ang="0">
                    <a:pos x="4" y="188"/>
                  </a:cxn>
                  <a:cxn ang="0">
                    <a:pos x="22" y="178"/>
                  </a:cxn>
                  <a:cxn ang="0">
                    <a:pos x="54" y="144"/>
                  </a:cxn>
                  <a:cxn ang="0">
                    <a:pos x="68" y="126"/>
                  </a:cxn>
                  <a:cxn ang="0">
                    <a:pos x="76" y="118"/>
                  </a:cxn>
                  <a:cxn ang="0">
                    <a:pos x="62" y="100"/>
                  </a:cxn>
                  <a:cxn ang="0">
                    <a:pos x="72" y="70"/>
                  </a:cxn>
                  <a:cxn ang="0">
                    <a:pos x="80" y="58"/>
                  </a:cxn>
                  <a:cxn ang="0">
                    <a:pos x="72" y="28"/>
                  </a:cxn>
                  <a:cxn ang="0">
                    <a:pos x="64" y="4"/>
                  </a:cxn>
                  <a:cxn ang="0">
                    <a:pos x="162" y="0"/>
                  </a:cxn>
                  <a:cxn ang="0">
                    <a:pos x="204" y="0"/>
                  </a:cxn>
                  <a:cxn ang="0">
                    <a:pos x="264" y="14"/>
                  </a:cxn>
                  <a:cxn ang="0">
                    <a:pos x="378" y="76"/>
                  </a:cxn>
                  <a:cxn ang="0">
                    <a:pos x="430" y="110"/>
                  </a:cxn>
                  <a:cxn ang="0">
                    <a:pos x="432" y="128"/>
                  </a:cxn>
                  <a:cxn ang="0">
                    <a:pos x="482" y="168"/>
                  </a:cxn>
                  <a:cxn ang="0">
                    <a:pos x="504" y="198"/>
                  </a:cxn>
                  <a:cxn ang="0">
                    <a:pos x="494" y="232"/>
                  </a:cxn>
                  <a:cxn ang="0">
                    <a:pos x="486" y="270"/>
                  </a:cxn>
                  <a:cxn ang="0">
                    <a:pos x="506" y="294"/>
                  </a:cxn>
                  <a:cxn ang="0">
                    <a:pos x="522" y="308"/>
                  </a:cxn>
                  <a:cxn ang="0">
                    <a:pos x="508" y="338"/>
                  </a:cxn>
                  <a:cxn ang="0">
                    <a:pos x="508" y="376"/>
                  </a:cxn>
                  <a:cxn ang="0">
                    <a:pos x="518" y="408"/>
                  </a:cxn>
                  <a:cxn ang="0">
                    <a:pos x="528" y="448"/>
                  </a:cxn>
                  <a:cxn ang="0">
                    <a:pos x="536" y="466"/>
                  </a:cxn>
                  <a:cxn ang="0">
                    <a:pos x="544" y="472"/>
                  </a:cxn>
                  <a:cxn ang="0">
                    <a:pos x="560" y="484"/>
                  </a:cxn>
                  <a:cxn ang="0">
                    <a:pos x="538" y="506"/>
                  </a:cxn>
                  <a:cxn ang="0">
                    <a:pos x="522" y="514"/>
                  </a:cxn>
                  <a:cxn ang="0">
                    <a:pos x="498" y="526"/>
                  </a:cxn>
                  <a:cxn ang="0">
                    <a:pos x="464" y="536"/>
                  </a:cxn>
                </a:cxnLst>
                <a:rect l="0" t="0" r="r" b="b"/>
                <a:pathLst>
                  <a:path w="562" h="556">
                    <a:moveTo>
                      <a:pt x="462" y="538"/>
                    </a:moveTo>
                    <a:lnTo>
                      <a:pt x="458" y="538"/>
                    </a:lnTo>
                    <a:lnTo>
                      <a:pt x="456" y="536"/>
                    </a:lnTo>
                    <a:lnTo>
                      <a:pt x="454" y="536"/>
                    </a:lnTo>
                    <a:lnTo>
                      <a:pt x="454" y="534"/>
                    </a:lnTo>
                    <a:lnTo>
                      <a:pt x="446" y="532"/>
                    </a:lnTo>
                    <a:lnTo>
                      <a:pt x="442" y="530"/>
                    </a:lnTo>
                    <a:lnTo>
                      <a:pt x="438" y="530"/>
                    </a:lnTo>
                    <a:lnTo>
                      <a:pt x="434" y="532"/>
                    </a:lnTo>
                    <a:lnTo>
                      <a:pt x="432" y="532"/>
                    </a:lnTo>
                    <a:lnTo>
                      <a:pt x="430" y="534"/>
                    </a:lnTo>
                    <a:lnTo>
                      <a:pt x="428" y="540"/>
                    </a:lnTo>
                    <a:lnTo>
                      <a:pt x="428" y="542"/>
                    </a:lnTo>
                    <a:lnTo>
                      <a:pt x="428" y="544"/>
                    </a:lnTo>
                    <a:lnTo>
                      <a:pt x="426" y="546"/>
                    </a:lnTo>
                    <a:lnTo>
                      <a:pt x="420" y="548"/>
                    </a:lnTo>
                    <a:lnTo>
                      <a:pt x="416" y="550"/>
                    </a:lnTo>
                    <a:lnTo>
                      <a:pt x="410" y="554"/>
                    </a:lnTo>
                    <a:lnTo>
                      <a:pt x="406" y="554"/>
                    </a:lnTo>
                    <a:lnTo>
                      <a:pt x="400" y="554"/>
                    </a:lnTo>
                    <a:lnTo>
                      <a:pt x="396" y="552"/>
                    </a:lnTo>
                    <a:lnTo>
                      <a:pt x="392" y="552"/>
                    </a:lnTo>
                    <a:lnTo>
                      <a:pt x="386" y="546"/>
                    </a:lnTo>
                    <a:lnTo>
                      <a:pt x="378" y="546"/>
                    </a:lnTo>
                    <a:lnTo>
                      <a:pt x="374" y="548"/>
                    </a:lnTo>
                    <a:lnTo>
                      <a:pt x="374" y="550"/>
                    </a:lnTo>
                    <a:lnTo>
                      <a:pt x="372" y="550"/>
                    </a:lnTo>
                    <a:lnTo>
                      <a:pt x="372" y="552"/>
                    </a:lnTo>
                    <a:lnTo>
                      <a:pt x="368" y="554"/>
                    </a:lnTo>
                    <a:lnTo>
                      <a:pt x="364" y="556"/>
                    </a:lnTo>
                    <a:lnTo>
                      <a:pt x="360" y="554"/>
                    </a:lnTo>
                    <a:lnTo>
                      <a:pt x="354" y="552"/>
                    </a:lnTo>
                    <a:lnTo>
                      <a:pt x="352" y="552"/>
                    </a:lnTo>
                    <a:lnTo>
                      <a:pt x="350" y="554"/>
                    </a:lnTo>
                    <a:lnTo>
                      <a:pt x="348" y="554"/>
                    </a:lnTo>
                    <a:lnTo>
                      <a:pt x="344" y="554"/>
                    </a:lnTo>
                    <a:lnTo>
                      <a:pt x="344" y="552"/>
                    </a:lnTo>
                    <a:lnTo>
                      <a:pt x="344" y="550"/>
                    </a:lnTo>
                    <a:lnTo>
                      <a:pt x="344" y="546"/>
                    </a:lnTo>
                    <a:lnTo>
                      <a:pt x="332" y="538"/>
                    </a:lnTo>
                    <a:lnTo>
                      <a:pt x="326" y="538"/>
                    </a:lnTo>
                    <a:lnTo>
                      <a:pt x="322" y="542"/>
                    </a:lnTo>
                    <a:lnTo>
                      <a:pt x="318" y="546"/>
                    </a:lnTo>
                    <a:lnTo>
                      <a:pt x="316" y="546"/>
                    </a:lnTo>
                    <a:lnTo>
                      <a:pt x="312" y="548"/>
                    </a:lnTo>
                    <a:lnTo>
                      <a:pt x="306" y="546"/>
                    </a:lnTo>
                    <a:lnTo>
                      <a:pt x="296" y="546"/>
                    </a:lnTo>
                    <a:lnTo>
                      <a:pt x="284" y="546"/>
                    </a:lnTo>
                    <a:lnTo>
                      <a:pt x="282" y="546"/>
                    </a:lnTo>
                    <a:lnTo>
                      <a:pt x="282" y="542"/>
                    </a:lnTo>
                    <a:lnTo>
                      <a:pt x="280" y="536"/>
                    </a:lnTo>
                    <a:lnTo>
                      <a:pt x="278" y="534"/>
                    </a:lnTo>
                    <a:lnTo>
                      <a:pt x="274" y="534"/>
                    </a:lnTo>
                    <a:lnTo>
                      <a:pt x="270" y="526"/>
                    </a:lnTo>
                    <a:lnTo>
                      <a:pt x="266" y="524"/>
                    </a:lnTo>
                    <a:lnTo>
                      <a:pt x="266" y="522"/>
                    </a:lnTo>
                    <a:lnTo>
                      <a:pt x="264" y="518"/>
                    </a:lnTo>
                    <a:lnTo>
                      <a:pt x="264" y="514"/>
                    </a:lnTo>
                    <a:lnTo>
                      <a:pt x="266" y="514"/>
                    </a:lnTo>
                    <a:lnTo>
                      <a:pt x="268" y="512"/>
                    </a:lnTo>
                    <a:lnTo>
                      <a:pt x="268" y="510"/>
                    </a:lnTo>
                    <a:lnTo>
                      <a:pt x="268" y="504"/>
                    </a:lnTo>
                    <a:lnTo>
                      <a:pt x="268" y="502"/>
                    </a:lnTo>
                    <a:lnTo>
                      <a:pt x="268" y="500"/>
                    </a:lnTo>
                    <a:lnTo>
                      <a:pt x="268" y="498"/>
                    </a:lnTo>
                    <a:lnTo>
                      <a:pt x="266" y="496"/>
                    </a:lnTo>
                    <a:lnTo>
                      <a:pt x="264" y="494"/>
                    </a:lnTo>
                    <a:lnTo>
                      <a:pt x="264" y="492"/>
                    </a:lnTo>
                    <a:lnTo>
                      <a:pt x="264" y="486"/>
                    </a:lnTo>
                    <a:lnTo>
                      <a:pt x="264" y="484"/>
                    </a:lnTo>
                    <a:lnTo>
                      <a:pt x="264" y="482"/>
                    </a:lnTo>
                    <a:lnTo>
                      <a:pt x="262" y="468"/>
                    </a:lnTo>
                    <a:lnTo>
                      <a:pt x="262" y="466"/>
                    </a:lnTo>
                    <a:lnTo>
                      <a:pt x="260" y="462"/>
                    </a:lnTo>
                    <a:lnTo>
                      <a:pt x="258" y="458"/>
                    </a:lnTo>
                    <a:lnTo>
                      <a:pt x="254" y="454"/>
                    </a:lnTo>
                    <a:lnTo>
                      <a:pt x="252" y="450"/>
                    </a:lnTo>
                    <a:lnTo>
                      <a:pt x="246" y="446"/>
                    </a:lnTo>
                    <a:lnTo>
                      <a:pt x="244" y="444"/>
                    </a:lnTo>
                    <a:lnTo>
                      <a:pt x="242" y="442"/>
                    </a:lnTo>
                    <a:lnTo>
                      <a:pt x="240" y="438"/>
                    </a:lnTo>
                    <a:lnTo>
                      <a:pt x="238" y="438"/>
                    </a:lnTo>
                    <a:lnTo>
                      <a:pt x="236" y="438"/>
                    </a:lnTo>
                    <a:lnTo>
                      <a:pt x="234" y="440"/>
                    </a:lnTo>
                    <a:lnTo>
                      <a:pt x="234" y="442"/>
                    </a:lnTo>
                    <a:lnTo>
                      <a:pt x="234" y="444"/>
                    </a:lnTo>
                    <a:lnTo>
                      <a:pt x="234" y="446"/>
                    </a:lnTo>
                    <a:lnTo>
                      <a:pt x="232" y="448"/>
                    </a:lnTo>
                    <a:lnTo>
                      <a:pt x="232" y="450"/>
                    </a:lnTo>
                    <a:lnTo>
                      <a:pt x="230" y="448"/>
                    </a:lnTo>
                    <a:lnTo>
                      <a:pt x="228" y="448"/>
                    </a:lnTo>
                    <a:lnTo>
                      <a:pt x="224" y="444"/>
                    </a:lnTo>
                    <a:lnTo>
                      <a:pt x="214" y="444"/>
                    </a:lnTo>
                    <a:lnTo>
                      <a:pt x="212" y="444"/>
                    </a:lnTo>
                    <a:lnTo>
                      <a:pt x="210" y="446"/>
                    </a:lnTo>
                    <a:lnTo>
                      <a:pt x="206" y="444"/>
                    </a:lnTo>
                    <a:lnTo>
                      <a:pt x="206" y="442"/>
                    </a:lnTo>
                    <a:lnTo>
                      <a:pt x="204" y="440"/>
                    </a:lnTo>
                    <a:lnTo>
                      <a:pt x="200" y="438"/>
                    </a:lnTo>
                    <a:lnTo>
                      <a:pt x="198" y="438"/>
                    </a:lnTo>
                    <a:lnTo>
                      <a:pt x="194" y="438"/>
                    </a:lnTo>
                    <a:lnTo>
                      <a:pt x="192" y="438"/>
                    </a:lnTo>
                    <a:lnTo>
                      <a:pt x="186" y="434"/>
                    </a:lnTo>
                    <a:lnTo>
                      <a:pt x="184" y="432"/>
                    </a:lnTo>
                    <a:lnTo>
                      <a:pt x="182" y="432"/>
                    </a:lnTo>
                    <a:lnTo>
                      <a:pt x="182" y="434"/>
                    </a:lnTo>
                    <a:lnTo>
                      <a:pt x="180" y="434"/>
                    </a:lnTo>
                    <a:lnTo>
                      <a:pt x="178" y="432"/>
                    </a:lnTo>
                    <a:lnTo>
                      <a:pt x="176" y="432"/>
                    </a:lnTo>
                    <a:lnTo>
                      <a:pt x="172" y="430"/>
                    </a:lnTo>
                    <a:lnTo>
                      <a:pt x="170" y="428"/>
                    </a:lnTo>
                    <a:lnTo>
                      <a:pt x="166" y="426"/>
                    </a:lnTo>
                    <a:lnTo>
                      <a:pt x="162" y="426"/>
                    </a:lnTo>
                    <a:lnTo>
                      <a:pt x="160" y="424"/>
                    </a:lnTo>
                    <a:lnTo>
                      <a:pt x="160" y="422"/>
                    </a:lnTo>
                    <a:lnTo>
                      <a:pt x="156" y="420"/>
                    </a:lnTo>
                    <a:lnTo>
                      <a:pt x="152" y="420"/>
                    </a:lnTo>
                    <a:lnTo>
                      <a:pt x="148" y="420"/>
                    </a:lnTo>
                    <a:lnTo>
                      <a:pt x="146" y="420"/>
                    </a:lnTo>
                    <a:lnTo>
                      <a:pt x="144" y="418"/>
                    </a:lnTo>
                    <a:lnTo>
                      <a:pt x="142" y="416"/>
                    </a:lnTo>
                    <a:lnTo>
                      <a:pt x="138" y="416"/>
                    </a:lnTo>
                    <a:lnTo>
                      <a:pt x="136" y="416"/>
                    </a:lnTo>
                    <a:lnTo>
                      <a:pt x="134" y="416"/>
                    </a:lnTo>
                    <a:lnTo>
                      <a:pt x="130" y="416"/>
                    </a:lnTo>
                    <a:lnTo>
                      <a:pt x="130" y="414"/>
                    </a:lnTo>
                    <a:lnTo>
                      <a:pt x="130" y="412"/>
                    </a:lnTo>
                    <a:lnTo>
                      <a:pt x="130" y="410"/>
                    </a:lnTo>
                    <a:lnTo>
                      <a:pt x="132" y="410"/>
                    </a:lnTo>
                    <a:lnTo>
                      <a:pt x="128" y="408"/>
                    </a:lnTo>
                    <a:lnTo>
                      <a:pt x="126" y="408"/>
                    </a:lnTo>
                    <a:lnTo>
                      <a:pt x="124" y="406"/>
                    </a:lnTo>
                    <a:lnTo>
                      <a:pt x="120" y="408"/>
                    </a:lnTo>
                    <a:lnTo>
                      <a:pt x="118" y="408"/>
                    </a:lnTo>
                    <a:lnTo>
                      <a:pt x="114" y="404"/>
                    </a:lnTo>
                    <a:lnTo>
                      <a:pt x="112" y="404"/>
                    </a:lnTo>
                    <a:lnTo>
                      <a:pt x="112" y="400"/>
                    </a:lnTo>
                    <a:lnTo>
                      <a:pt x="108" y="396"/>
                    </a:lnTo>
                    <a:lnTo>
                      <a:pt x="104" y="394"/>
                    </a:lnTo>
                    <a:lnTo>
                      <a:pt x="98" y="394"/>
                    </a:lnTo>
                    <a:lnTo>
                      <a:pt x="94" y="392"/>
                    </a:lnTo>
                    <a:lnTo>
                      <a:pt x="92" y="392"/>
                    </a:lnTo>
                    <a:lnTo>
                      <a:pt x="90" y="394"/>
                    </a:lnTo>
                    <a:lnTo>
                      <a:pt x="88" y="394"/>
                    </a:lnTo>
                    <a:lnTo>
                      <a:pt x="86" y="392"/>
                    </a:lnTo>
                    <a:lnTo>
                      <a:pt x="84" y="392"/>
                    </a:lnTo>
                    <a:lnTo>
                      <a:pt x="82" y="390"/>
                    </a:lnTo>
                    <a:lnTo>
                      <a:pt x="78" y="386"/>
                    </a:lnTo>
                    <a:lnTo>
                      <a:pt x="76" y="382"/>
                    </a:lnTo>
                    <a:lnTo>
                      <a:pt x="74" y="380"/>
                    </a:lnTo>
                    <a:lnTo>
                      <a:pt x="72" y="376"/>
                    </a:lnTo>
                    <a:lnTo>
                      <a:pt x="72" y="372"/>
                    </a:lnTo>
                    <a:lnTo>
                      <a:pt x="72" y="370"/>
                    </a:lnTo>
                    <a:lnTo>
                      <a:pt x="68" y="360"/>
                    </a:lnTo>
                    <a:lnTo>
                      <a:pt x="66" y="358"/>
                    </a:lnTo>
                    <a:lnTo>
                      <a:pt x="66" y="356"/>
                    </a:lnTo>
                    <a:lnTo>
                      <a:pt x="64" y="352"/>
                    </a:lnTo>
                    <a:lnTo>
                      <a:pt x="62" y="350"/>
                    </a:lnTo>
                    <a:lnTo>
                      <a:pt x="60" y="346"/>
                    </a:lnTo>
                    <a:lnTo>
                      <a:pt x="58" y="342"/>
                    </a:lnTo>
                    <a:lnTo>
                      <a:pt x="56" y="340"/>
                    </a:lnTo>
                    <a:lnTo>
                      <a:pt x="56" y="338"/>
                    </a:lnTo>
                    <a:lnTo>
                      <a:pt x="54" y="336"/>
                    </a:lnTo>
                    <a:lnTo>
                      <a:pt x="54" y="334"/>
                    </a:lnTo>
                    <a:lnTo>
                      <a:pt x="54" y="332"/>
                    </a:lnTo>
                    <a:lnTo>
                      <a:pt x="54" y="330"/>
                    </a:lnTo>
                    <a:lnTo>
                      <a:pt x="54" y="328"/>
                    </a:lnTo>
                    <a:lnTo>
                      <a:pt x="52" y="324"/>
                    </a:lnTo>
                    <a:lnTo>
                      <a:pt x="50" y="322"/>
                    </a:lnTo>
                    <a:lnTo>
                      <a:pt x="50" y="320"/>
                    </a:lnTo>
                    <a:lnTo>
                      <a:pt x="50" y="318"/>
                    </a:lnTo>
                    <a:lnTo>
                      <a:pt x="46" y="312"/>
                    </a:lnTo>
                    <a:lnTo>
                      <a:pt x="44" y="310"/>
                    </a:lnTo>
                    <a:lnTo>
                      <a:pt x="42" y="308"/>
                    </a:lnTo>
                    <a:lnTo>
                      <a:pt x="42" y="306"/>
                    </a:lnTo>
                    <a:lnTo>
                      <a:pt x="40" y="306"/>
                    </a:lnTo>
                    <a:lnTo>
                      <a:pt x="38" y="302"/>
                    </a:lnTo>
                    <a:lnTo>
                      <a:pt x="36" y="302"/>
                    </a:lnTo>
                    <a:lnTo>
                      <a:pt x="34" y="300"/>
                    </a:lnTo>
                    <a:lnTo>
                      <a:pt x="32" y="300"/>
                    </a:lnTo>
                    <a:lnTo>
                      <a:pt x="30" y="298"/>
                    </a:lnTo>
                    <a:lnTo>
                      <a:pt x="28" y="298"/>
                    </a:lnTo>
                    <a:lnTo>
                      <a:pt x="20" y="292"/>
                    </a:lnTo>
                    <a:lnTo>
                      <a:pt x="18" y="290"/>
                    </a:lnTo>
                    <a:lnTo>
                      <a:pt x="18" y="288"/>
                    </a:lnTo>
                    <a:lnTo>
                      <a:pt x="14" y="280"/>
                    </a:lnTo>
                    <a:lnTo>
                      <a:pt x="12" y="276"/>
                    </a:lnTo>
                    <a:lnTo>
                      <a:pt x="10" y="274"/>
                    </a:lnTo>
                    <a:lnTo>
                      <a:pt x="10" y="272"/>
                    </a:lnTo>
                    <a:lnTo>
                      <a:pt x="8" y="262"/>
                    </a:lnTo>
                    <a:lnTo>
                      <a:pt x="8" y="260"/>
                    </a:lnTo>
                    <a:lnTo>
                      <a:pt x="8" y="258"/>
                    </a:lnTo>
                    <a:lnTo>
                      <a:pt x="8" y="256"/>
                    </a:lnTo>
                    <a:lnTo>
                      <a:pt x="8" y="254"/>
                    </a:lnTo>
                    <a:lnTo>
                      <a:pt x="10" y="252"/>
                    </a:lnTo>
                    <a:lnTo>
                      <a:pt x="12" y="252"/>
                    </a:lnTo>
                    <a:lnTo>
                      <a:pt x="12" y="250"/>
                    </a:lnTo>
                    <a:lnTo>
                      <a:pt x="14" y="250"/>
                    </a:lnTo>
                    <a:lnTo>
                      <a:pt x="14" y="246"/>
                    </a:lnTo>
                    <a:lnTo>
                      <a:pt x="16" y="244"/>
                    </a:lnTo>
                    <a:lnTo>
                      <a:pt x="14" y="242"/>
                    </a:lnTo>
                    <a:lnTo>
                      <a:pt x="14" y="238"/>
                    </a:lnTo>
                    <a:lnTo>
                      <a:pt x="12" y="234"/>
                    </a:lnTo>
                    <a:lnTo>
                      <a:pt x="12" y="232"/>
                    </a:lnTo>
                    <a:lnTo>
                      <a:pt x="10" y="232"/>
                    </a:lnTo>
                    <a:lnTo>
                      <a:pt x="10" y="230"/>
                    </a:lnTo>
                    <a:lnTo>
                      <a:pt x="8" y="228"/>
                    </a:lnTo>
                    <a:lnTo>
                      <a:pt x="8" y="222"/>
                    </a:lnTo>
                    <a:lnTo>
                      <a:pt x="8" y="220"/>
                    </a:lnTo>
                    <a:lnTo>
                      <a:pt x="6" y="216"/>
                    </a:lnTo>
                    <a:lnTo>
                      <a:pt x="4" y="216"/>
                    </a:lnTo>
                    <a:lnTo>
                      <a:pt x="4" y="214"/>
                    </a:lnTo>
                    <a:lnTo>
                      <a:pt x="4" y="212"/>
                    </a:lnTo>
                    <a:lnTo>
                      <a:pt x="2" y="210"/>
                    </a:lnTo>
                    <a:lnTo>
                      <a:pt x="2" y="208"/>
                    </a:lnTo>
                    <a:lnTo>
                      <a:pt x="0" y="206"/>
                    </a:lnTo>
                    <a:lnTo>
                      <a:pt x="0" y="204"/>
                    </a:lnTo>
                    <a:lnTo>
                      <a:pt x="0" y="202"/>
                    </a:lnTo>
                    <a:lnTo>
                      <a:pt x="0" y="200"/>
                    </a:lnTo>
                    <a:lnTo>
                      <a:pt x="0" y="198"/>
                    </a:lnTo>
                    <a:lnTo>
                      <a:pt x="0" y="196"/>
                    </a:lnTo>
                    <a:lnTo>
                      <a:pt x="2" y="194"/>
                    </a:lnTo>
                    <a:lnTo>
                      <a:pt x="2" y="192"/>
                    </a:lnTo>
                    <a:lnTo>
                      <a:pt x="4" y="188"/>
                    </a:lnTo>
                    <a:lnTo>
                      <a:pt x="4" y="186"/>
                    </a:lnTo>
                    <a:lnTo>
                      <a:pt x="6" y="184"/>
                    </a:lnTo>
                    <a:lnTo>
                      <a:pt x="6" y="182"/>
                    </a:lnTo>
                    <a:lnTo>
                      <a:pt x="4" y="180"/>
                    </a:lnTo>
                    <a:lnTo>
                      <a:pt x="4" y="178"/>
                    </a:lnTo>
                    <a:lnTo>
                      <a:pt x="6" y="178"/>
                    </a:lnTo>
                    <a:lnTo>
                      <a:pt x="18" y="178"/>
                    </a:lnTo>
                    <a:lnTo>
                      <a:pt x="22" y="178"/>
                    </a:lnTo>
                    <a:lnTo>
                      <a:pt x="30" y="174"/>
                    </a:lnTo>
                    <a:lnTo>
                      <a:pt x="36" y="170"/>
                    </a:lnTo>
                    <a:lnTo>
                      <a:pt x="42" y="160"/>
                    </a:lnTo>
                    <a:lnTo>
                      <a:pt x="46" y="154"/>
                    </a:lnTo>
                    <a:lnTo>
                      <a:pt x="46" y="152"/>
                    </a:lnTo>
                    <a:lnTo>
                      <a:pt x="50" y="144"/>
                    </a:lnTo>
                    <a:lnTo>
                      <a:pt x="52" y="144"/>
                    </a:lnTo>
                    <a:lnTo>
                      <a:pt x="54" y="144"/>
                    </a:lnTo>
                    <a:lnTo>
                      <a:pt x="54" y="142"/>
                    </a:lnTo>
                    <a:lnTo>
                      <a:pt x="54" y="140"/>
                    </a:lnTo>
                    <a:lnTo>
                      <a:pt x="58" y="132"/>
                    </a:lnTo>
                    <a:lnTo>
                      <a:pt x="60" y="130"/>
                    </a:lnTo>
                    <a:lnTo>
                      <a:pt x="62" y="130"/>
                    </a:lnTo>
                    <a:lnTo>
                      <a:pt x="64" y="128"/>
                    </a:lnTo>
                    <a:lnTo>
                      <a:pt x="66" y="128"/>
                    </a:lnTo>
                    <a:lnTo>
                      <a:pt x="68" y="126"/>
                    </a:lnTo>
                    <a:lnTo>
                      <a:pt x="68" y="124"/>
                    </a:lnTo>
                    <a:lnTo>
                      <a:pt x="66" y="124"/>
                    </a:lnTo>
                    <a:lnTo>
                      <a:pt x="66" y="122"/>
                    </a:lnTo>
                    <a:lnTo>
                      <a:pt x="68" y="122"/>
                    </a:lnTo>
                    <a:lnTo>
                      <a:pt x="72" y="120"/>
                    </a:lnTo>
                    <a:lnTo>
                      <a:pt x="74" y="120"/>
                    </a:lnTo>
                    <a:lnTo>
                      <a:pt x="76" y="120"/>
                    </a:lnTo>
                    <a:lnTo>
                      <a:pt x="76" y="118"/>
                    </a:lnTo>
                    <a:lnTo>
                      <a:pt x="78" y="112"/>
                    </a:lnTo>
                    <a:lnTo>
                      <a:pt x="76" y="108"/>
                    </a:lnTo>
                    <a:lnTo>
                      <a:pt x="78" y="104"/>
                    </a:lnTo>
                    <a:lnTo>
                      <a:pt x="78" y="102"/>
                    </a:lnTo>
                    <a:lnTo>
                      <a:pt x="72" y="104"/>
                    </a:lnTo>
                    <a:lnTo>
                      <a:pt x="68" y="102"/>
                    </a:lnTo>
                    <a:lnTo>
                      <a:pt x="66" y="100"/>
                    </a:lnTo>
                    <a:lnTo>
                      <a:pt x="62" y="100"/>
                    </a:lnTo>
                    <a:lnTo>
                      <a:pt x="60" y="102"/>
                    </a:lnTo>
                    <a:lnTo>
                      <a:pt x="56" y="98"/>
                    </a:lnTo>
                    <a:lnTo>
                      <a:pt x="60" y="84"/>
                    </a:lnTo>
                    <a:lnTo>
                      <a:pt x="62" y="78"/>
                    </a:lnTo>
                    <a:lnTo>
                      <a:pt x="64" y="74"/>
                    </a:lnTo>
                    <a:lnTo>
                      <a:pt x="64" y="72"/>
                    </a:lnTo>
                    <a:lnTo>
                      <a:pt x="70" y="70"/>
                    </a:lnTo>
                    <a:lnTo>
                      <a:pt x="72" y="70"/>
                    </a:lnTo>
                    <a:lnTo>
                      <a:pt x="74" y="72"/>
                    </a:lnTo>
                    <a:lnTo>
                      <a:pt x="76" y="70"/>
                    </a:lnTo>
                    <a:lnTo>
                      <a:pt x="78" y="70"/>
                    </a:lnTo>
                    <a:lnTo>
                      <a:pt x="78" y="68"/>
                    </a:lnTo>
                    <a:lnTo>
                      <a:pt x="78" y="66"/>
                    </a:lnTo>
                    <a:lnTo>
                      <a:pt x="78" y="64"/>
                    </a:lnTo>
                    <a:lnTo>
                      <a:pt x="78" y="62"/>
                    </a:lnTo>
                    <a:lnTo>
                      <a:pt x="80" y="58"/>
                    </a:lnTo>
                    <a:lnTo>
                      <a:pt x="80" y="56"/>
                    </a:lnTo>
                    <a:lnTo>
                      <a:pt x="78" y="56"/>
                    </a:lnTo>
                    <a:lnTo>
                      <a:pt x="76" y="48"/>
                    </a:lnTo>
                    <a:lnTo>
                      <a:pt x="76" y="46"/>
                    </a:lnTo>
                    <a:lnTo>
                      <a:pt x="76" y="42"/>
                    </a:lnTo>
                    <a:lnTo>
                      <a:pt x="76" y="38"/>
                    </a:lnTo>
                    <a:lnTo>
                      <a:pt x="76" y="34"/>
                    </a:lnTo>
                    <a:lnTo>
                      <a:pt x="72" y="28"/>
                    </a:lnTo>
                    <a:lnTo>
                      <a:pt x="72" y="24"/>
                    </a:lnTo>
                    <a:lnTo>
                      <a:pt x="70" y="22"/>
                    </a:lnTo>
                    <a:lnTo>
                      <a:pt x="66" y="22"/>
                    </a:lnTo>
                    <a:lnTo>
                      <a:pt x="62" y="18"/>
                    </a:lnTo>
                    <a:lnTo>
                      <a:pt x="58" y="10"/>
                    </a:lnTo>
                    <a:lnTo>
                      <a:pt x="58" y="6"/>
                    </a:lnTo>
                    <a:lnTo>
                      <a:pt x="60" y="4"/>
                    </a:lnTo>
                    <a:lnTo>
                      <a:pt x="64" y="4"/>
                    </a:lnTo>
                    <a:lnTo>
                      <a:pt x="70" y="2"/>
                    </a:lnTo>
                    <a:lnTo>
                      <a:pt x="72" y="2"/>
                    </a:lnTo>
                    <a:lnTo>
                      <a:pt x="80" y="2"/>
                    </a:lnTo>
                    <a:lnTo>
                      <a:pt x="88" y="2"/>
                    </a:lnTo>
                    <a:lnTo>
                      <a:pt x="100" y="2"/>
                    </a:lnTo>
                    <a:lnTo>
                      <a:pt x="114" y="2"/>
                    </a:lnTo>
                    <a:lnTo>
                      <a:pt x="120" y="2"/>
                    </a:lnTo>
                    <a:lnTo>
                      <a:pt x="162" y="0"/>
                    </a:lnTo>
                    <a:lnTo>
                      <a:pt x="168" y="0"/>
                    </a:lnTo>
                    <a:lnTo>
                      <a:pt x="172" y="0"/>
                    </a:lnTo>
                    <a:lnTo>
                      <a:pt x="174" y="0"/>
                    </a:lnTo>
                    <a:lnTo>
                      <a:pt x="182" y="0"/>
                    </a:lnTo>
                    <a:lnTo>
                      <a:pt x="188" y="0"/>
                    </a:lnTo>
                    <a:lnTo>
                      <a:pt x="194" y="0"/>
                    </a:lnTo>
                    <a:lnTo>
                      <a:pt x="198" y="0"/>
                    </a:lnTo>
                    <a:lnTo>
                      <a:pt x="204" y="0"/>
                    </a:lnTo>
                    <a:lnTo>
                      <a:pt x="208" y="0"/>
                    </a:lnTo>
                    <a:lnTo>
                      <a:pt x="210" y="0"/>
                    </a:lnTo>
                    <a:lnTo>
                      <a:pt x="212" y="0"/>
                    </a:lnTo>
                    <a:lnTo>
                      <a:pt x="236" y="0"/>
                    </a:lnTo>
                    <a:lnTo>
                      <a:pt x="240" y="0"/>
                    </a:lnTo>
                    <a:lnTo>
                      <a:pt x="244" y="2"/>
                    </a:lnTo>
                    <a:lnTo>
                      <a:pt x="260" y="12"/>
                    </a:lnTo>
                    <a:lnTo>
                      <a:pt x="264" y="14"/>
                    </a:lnTo>
                    <a:lnTo>
                      <a:pt x="276" y="20"/>
                    </a:lnTo>
                    <a:lnTo>
                      <a:pt x="304" y="34"/>
                    </a:lnTo>
                    <a:lnTo>
                      <a:pt x="326" y="46"/>
                    </a:lnTo>
                    <a:lnTo>
                      <a:pt x="336" y="52"/>
                    </a:lnTo>
                    <a:lnTo>
                      <a:pt x="344" y="56"/>
                    </a:lnTo>
                    <a:lnTo>
                      <a:pt x="350" y="60"/>
                    </a:lnTo>
                    <a:lnTo>
                      <a:pt x="358" y="66"/>
                    </a:lnTo>
                    <a:lnTo>
                      <a:pt x="378" y="76"/>
                    </a:lnTo>
                    <a:lnTo>
                      <a:pt x="402" y="90"/>
                    </a:lnTo>
                    <a:lnTo>
                      <a:pt x="404" y="90"/>
                    </a:lnTo>
                    <a:lnTo>
                      <a:pt x="408" y="92"/>
                    </a:lnTo>
                    <a:lnTo>
                      <a:pt x="414" y="96"/>
                    </a:lnTo>
                    <a:lnTo>
                      <a:pt x="420" y="98"/>
                    </a:lnTo>
                    <a:lnTo>
                      <a:pt x="424" y="100"/>
                    </a:lnTo>
                    <a:lnTo>
                      <a:pt x="428" y="104"/>
                    </a:lnTo>
                    <a:lnTo>
                      <a:pt x="430" y="110"/>
                    </a:lnTo>
                    <a:lnTo>
                      <a:pt x="430" y="114"/>
                    </a:lnTo>
                    <a:lnTo>
                      <a:pt x="430" y="116"/>
                    </a:lnTo>
                    <a:lnTo>
                      <a:pt x="428" y="118"/>
                    </a:lnTo>
                    <a:lnTo>
                      <a:pt x="424" y="122"/>
                    </a:lnTo>
                    <a:lnTo>
                      <a:pt x="424" y="124"/>
                    </a:lnTo>
                    <a:lnTo>
                      <a:pt x="424" y="128"/>
                    </a:lnTo>
                    <a:lnTo>
                      <a:pt x="428" y="128"/>
                    </a:lnTo>
                    <a:lnTo>
                      <a:pt x="432" y="128"/>
                    </a:lnTo>
                    <a:lnTo>
                      <a:pt x="432" y="130"/>
                    </a:lnTo>
                    <a:lnTo>
                      <a:pt x="432" y="132"/>
                    </a:lnTo>
                    <a:lnTo>
                      <a:pt x="432" y="134"/>
                    </a:lnTo>
                    <a:lnTo>
                      <a:pt x="436" y="136"/>
                    </a:lnTo>
                    <a:lnTo>
                      <a:pt x="466" y="158"/>
                    </a:lnTo>
                    <a:lnTo>
                      <a:pt x="468" y="160"/>
                    </a:lnTo>
                    <a:lnTo>
                      <a:pt x="476" y="164"/>
                    </a:lnTo>
                    <a:lnTo>
                      <a:pt x="482" y="168"/>
                    </a:lnTo>
                    <a:lnTo>
                      <a:pt x="498" y="180"/>
                    </a:lnTo>
                    <a:lnTo>
                      <a:pt x="504" y="186"/>
                    </a:lnTo>
                    <a:lnTo>
                      <a:pt x="506" y="186"/>
                    </a:lnTo>
                    <a:lnTo>
                      <a:pt x="506" y="188"/>
                    </a:lnTo>
                    <a:lnTo>
                      <a:pt x="506" y="190"/>
                    </a:lnTo>
                    <a:lnTo>
                      <a:pt x="506" y="196"/>
                    </a:lnTo>
                    <a:lnTo>
                      <a:pt x="504" y="200"/>
                    </a:lnTo>
                    <a:lnTo>
                      <a:pt x="504" y="198"/>
                    </a:lnTo>
                    <a:lnTo>
                      <a:pt x="502" y="198"/>
                    </a:lnTo>
                    <a:lnTo>
                      <a:pt x="502" y="200"/>
                    </a:lnTo>
                    <a:lnTo>
                      <a:pt x="502" y="202"/>
                    </a:lnTo>
                    <a:lnTo>
                      <a:pt x="502" y="206"/>
                    </a:lnTo>
                    <a:lnTo>
                      <a:pt x="498" y="216"/>
                    </a:lnTo>
                    <a:lnTo>
                      <a:pt x="498" y="220"/>
                    </a:lnTo>
                    <a:lnTo>
                      <a:pt x="496" y="228"/>
                    </a:lnTo>
                    <a:lnTo>
                      <a:pt x="494" y="232"/>
                    </a:lnTo>
                    <a:lnTo>
                      <a:pt x="490" y="236"/>
                    </a:lnTo>
                    <a:lnTo>
                      <a:pt x="486" y="244"/>
                    </a:lnTo>
                    <a:lnTo>
                      <a:pt x="484" y="254"/>
                    </a:lnTo>
                    <a:lnTo>
                      <a:pt x="484" y="256"/>
                    </a:lnTo>
                    <a:lnTo>
                      <a:pt x="484" y="258"/>
                    </a:lnTo>
                    <a:lnTo>
                      <a:pt x="484" y="260"/>
                    </a:lnTo>
                    <a:lnTo>
                      <a:pt x="486" y="264"/>
                    </a:lnTo>
                    <a:lnTo>
                      <a:pt x="486" y="270"/>
                    </a:lnTo>
                    <a:lnTo>
                      <a:pt x="486" y="274"/>
                    </a:lnTo>
                    <a:lnTo>
                      <a:pt x="488" y="276"/>
                    </a:lnTo>
                    <a:lnTo>
                      <a:pt x="490" y="280"/>
                    </a:lnTo>
                    <a:lnTo>
                      <a:pt x="492" y="280"/>
                    </a:lnTo>
                    <a:lnTo>
                      <a:pt x="496" y="282"/>
                    </a:lnTo>
                    <a:lnTo>
                      <a:pt x="502" y="286"/>
                    </a:lnTo>
                    <a:lnTo>
                      <a:pt x="502" y="288"/>
                    </a:lnTo>
                    <a:lnTo>
                      <a:pt x="506" y="294"/>
                    </a:lnTo>
                    <a:lnTo>
                      <a:pt x="508" y="298"/>
                    </a:lnTo>
                    <a:lnTo>
                      <a:pt x="512" y="300"/>
                    </a:lnTo>
                    <a:lnTo>
                      <a:pt x="514" y="300"/>
                    </a:lnTo>
                    <a:lnTo>
                      <a:pt x="518" y="300"/>
                    </a:lnTo>
                    <a:lnTo>
                      <a:pt x="518" y="302"/>
                    </a:lnTo>
                    <a:lnTo>
                      <a:pt x="518" y="304"/>
                    </a:lnTo>
                    <a:lnTo>
                      <a:pt x="520" y="306"/>
                    </a:lnTo>
                    <a:lnTo>
                      <a:pt x="522" y="308"/>
                    </a:lnTo>
                    <a:lnTo>
                      <a:pt x="520" y="312"/>
                    </a:lnTo>
                    <a:lnTo>
                      <a:pt x="518" y="318"/>
                    </a:lnTo>
                    <a:lnTo>
                      <a:pt x="516" y="320"/>
                    </a:lnTo>
                    <a:lnTo>
                      <a:pt x="514" y="322"/>
                    </a:lnTo>
                    <a:lnTo>
                      <a:pt x="512" y="324"/>
                    </a:lnTo>
                    <a:lnTo>
                      <a:pt x="508" y="332"/>
                    </a:lnTo>
                    <a:lnTo>
                      <a:pt x="508" y="334"/>
                    </a:lnTo>
                    <a:lnTo>
                      <a:pt x="508" y="338"/>
                    </a:lnTo>
                    <a:lnTo>
                      <a:pt x="508" y="340"/>
                    </a:lnTo>
                    <a:lnTo>
                      <a:pt x="508" y="348"/>
                    </a:lnTo>
                    <a:lnTo>
                      <a:pt x="508" y="346"/>
                    </a:lnTo>
                    <a:lnTo>
                      <a:pt x="510" y="346"/>
                    </a:lnTo>
                    <a:lnTo>
                      <a:pt x="516" y="350"/>
                    </a:lnTo>
                    <a:lnTo>
                      <a:pt x="516" y="360"/>
                    </a:lnTo>
                    <a:lnTo>
                      <a:pt x="510" y="374"/>
                    </a:lnTo>
                    <a:lnTo>
                      <a:pt x="508" y="376"/>
                    </a:lnTo>
                    <a:lnTo>
                      <a:pt x="508" y="374"/>
                    </a:lnTo>
                    <a:lnTo>
                      <a:pt x="508" y="376"/>
                    </a:lnTo>
                    <a:lnTo>
                      <a:pt x="508" y="382"/>
                    </a:lnTo>
                    <a:lnTo>
                      <a:pt x="508" y="388"/>
                    </a:lnTo>
                    <a:lnTo>
                      <a:pt x="510" y="394"/>
                    </a:lnTo>
                    <a:lnTo>
                      <a:pt x="510" y="398"/>
                    </a:lnTo>
                    <a:lnTo>
                      <a:pt x="516" y="404"/>
                    </a:lnTo>
                    <a:lnTo>
                      <a:pt x="518" y="408"/>
                    </a:lnTo>
                    <a:lnTo>
                      <a:pt x="514" y="404"/>
                    </a:lnTo>
                    <a:lnTo>
                      <a:pt x="512" y="406"/>
                    </a:lnTo>
                    <a:lnTo>
                      <a:pt x="512" y="408"/>
                    </a:lnTo>
                    <a:lnTo>
                      <a:pt x="514" y="410"/>
                    </a:lnTo>
                    <a:lnTo>
                      <a:pt x="524" y="422"/>
                    </a:lnTo>
                    <a:lnTo>
                      <a:pt x="524" y="430"/>
                    </a:lnTo>
                    <a:lnTo>
                      <a:pt x="526" y="442"/>
                    </a:lnTo>
                    <a:lnTo>
                      <a:pt x="528" y="448"/>
                    </a:lnTo>
                    <a:lnTo>
                      <a:pt x="528" y="450"/>
                    </a:lnTo>
                    <a:lnTo>
                      <a:pt x="528" y="452"/>
                    </a:lnTo>
                    <a:lnTo>
                      <a:pt x="530" y="454"/>
                    </a:lnTo>
                    <a:lnTo>
                      <a:pt x="530" y="456"/>
                    </a:lnTo>
                    <a:lnTo>
                      <a:pt x="530" y="458"/>
                    </a:lnTo>
                    <a:lnTo>
                      <a:pt x="530" y="460"/>
                    </a:lnTo>
                    <a:lnTo>
                      <a:pt x="532" y="464"/>
                    </a:lnTo>
                    <a:lnTo>
                      <a:pt x="536" y="466"/>
                    </a:lnTo>
                    <a:lnTo>
                      <a:pt x="538" y="468"/>
                    </a:lnTo>
                    <a:lnTo>
                      <a:pt x="540" y="470"/>
                    </a:lnTo>
                    <a:lnTo>
                      <a:pt x="540" y="474"/>
                    </a:lnTo>
                    <a:lnTo>
                      <a:pt x="540" y="476"/>
                    </a:lnTo>
                    <a:lnTo>
                      <a:pt x="540" y="474"/>
                    </a:lnTo>
                    <a:lnTo>
                      <a:pt x="540" y="472"/>
                    </a:lnTo>
                    <a:lnTo>
                      <a:pt x="542" y="472"/>
                    </a:lnTo>
                    <a:lnTo>
                      <a:pt x="544" y="472"/>
                    </a:lnTo>
                    <a:lnTo>
                      <a:pt x="546" y="474"/>
                    </a:lnTo>
                    <a:lnTo>
                      <a:pt x="548" y="474"/>
                    </a:lnTo>
                    <a:lnTo>
                      <a:pt x="548" y="478"/>
                    </a:lnTo>
                    <a:lnTo>
                      <a:pt x="552" y="480"/>
                    </a:lnTo>
                    <a:lnTo>
                      <a:pt x="554" y="480"/>
                    </a:lnTo>
                    <a:lnTo>
                      <a:pt x="552" y="478"/>
                    </a:lnTo>
                    <a:lnTo>
                      <a:pt x="552" y="476"/>
                    </a:lnTo>
                    <a:lnTo>
                      <a:pt x="560" y="484"/>
                    </a:lnTo>
                    <a:lnTo>
                      <a:pt x="562" y="488"/>
                    </a:lnTo>
                    <a:lnTo>
                      <a:pt x="562" y="490"/>
                    </a:lnTo>
                    <a:lnTo>
                      <a:pt x="562" y="492"/>
                    </a:lnTo>
                    <a:lnTo>
                      <a:pt x="560" y="492"/>
                    </a:lnTo>
                    <a:lnTo>
                      <a:pt x="558" y="494"/>
                    </a:lnTo>
                    <a:lnTo>
                      <a:pt x="548" y="500"/>
                    </a:lnTo>
                    <a:lnTo>
                      <a:pt x="540" y="506"/>
                    </a:lnTo>
                    <a:lnTo>
                      <a:pt x="538" y="506"/>
                    </a:lnTo>
                    <a:lnTo>
                      <a:pt x="536" y="508"/>
                    </a:lnTo>
                    <a:lnTo>
                      <a:pt x="534" y="508"/>
                    </a:lnTo>
                    <a:lnTo>
                      <a:pt x="532" y="508"/>
                    </a:lnTo>
                    <a:lnTo>
                      <a:pt x="530" y="510"/>
                    </a:lnTo>
                    <a:lnTo>
                      <a:pt x="530" y="512"/>
                    </a:lnTo>
                    <a:lnTo>
                      <a:pt x="528" y="514"/>
                    </a:lnTo>
                    <a:lnTo>
                      <a:pt x="524" y="514"/>
                    </a:lnTo>
                    <a:lnTo>
                      <a:pt x="522" y="514"/>
                    </a:lnTo>
                    <a:lnTo>
                      <a:pt x="516" y="516"/>
                    </a:lnTo>
                    <a:lnTo>
                      <a:pt x="514" y="516"/>
                    </a:lnTo>
                    <a:lnTo>
                      <a:pt x="508" y="522"/>
                    </a:lnTo>
                    <a:lnTo>
                      <a:pt x="504" y="524"/>
                    </a:lnTo>
                    <a:lnTo>
                      <a:pt x="502" y="524"/>
                    </a:lnTo>
                    <a:lnTo>
                      <a:pt x="502" y="526"/>
                    </a:lnTo>
                    <a:lnTo>
                      <a:pt x="500" y="526"/>
                    </a:lnTo>
                    <a:lnTo>
                      <a:pt x="498" y="526"/>
                    </a:lnTo>
                    <a:lnTo>
                      <a:pt x="498" y="524"/>
                    </a:lnTo>
                    <a:lnTo>
                      <a:pt x="496" y="524"/>
                    </a:lnTo>
                    <a:lnTo>
                      <a:pt x="484" y="524"/>
                    </a:lnTo>
                    <a:lnTo>
                      <a:pt x="484" y="526"/>
                    </a:lnTo>
                    <a:lnTo>
                      <a:pt x="472" y="530"/>
                    </a:lnTo>
                    <a:lnTo>
                      <a:pt x="470" y="532"/>
                    </a:lnTo>
                    <a:lnTo>
                      <a:pt x="466" y="534"/>
                    </a:lnTo>
                    <a:lnTo>
                      <a:pt x="464" y="536"/>
                    </a:lnTo>
                    <a:lnTo>
                      <a:pt x="462" y="5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3" name="Freeform 1417"/>
              <p:cNvSpPr>
                <a:spLocks/>
              </p:cNvSpPr>
              <p:nvPr/>
            </p:nvSpPr>
            <p:spPr bwMode="auto">
              <a:xfrm>
                <a:off x="4175" y="2581"/>
                <a:ext cx="12" cy="30"/>
              </a:xfrm>
              <a:custGeom>
                <a:avLst/>
                <a:gdLst/>
                <a:ahLst/>
                <a:cxnLst>
                  <a:cxn ang="0">
                    <a:pos x="4" y="14"/>
                  </a:cxn>
                  <a:cxn ang="0">
                    <a:pos x="2" y="12"/>
                  </a:cxn>
                  <a:cxn ang="0">
                    <a:pos x="2" y="8"/>
                  </a:cxn>
                  <a:cxn ang="0">
                    <a:pos x="2" y="6"/>
                  </a:cxn>
                  <a:cxn ang="0">
                    <a:pos x="2" y="2"/>
                  </a:cxn>
                  <a:cxn ang="0">
                    <a:pos x="2" y="0"/>
                  </a:cxn>
                  <a:cxn ang="0">
                    <a:pos x="12" y="0"/>
                  </a:cxn>
                  <a:cxn ang="0">
                    <a:pos x="12" y="4"/>
                  </a:cxn>
                  <a:cxn ang="0">
                    <a:pos x="12" y="6"/>
                  </a:cxn>
                  <a:cxn ang="0">
                    <a:pos x="10" y="8"/>
                  </a:cxn>
                  <a:cxn ang="0">
                    <a:pos x="10" y="10"/>
                  </a:cxn>
                  <a:cxn ang="0">
                    <a:pos x="10" y="12"/>
                  </a:cxn>
                  <a:cxn ang="0">
                    <a:pos x="12" y="14"/>
                  </a:cxn>
                  <a:cxn ang="0">
                    <a:pos x="12" y="18"/>
                  </a:cxn>
                  <a:cxn ang="0">
                    <a:pos x="10" y="18"/>
                  </a:cxn>
                  <a:cxn ang="0">
                    <a:pos x="8" y="26"/>
                  </a:cxn>
                  <a:cxn ang="0">
                    <a:pos x="4" y="30"/>
                  </a:cxn>
                  <a:cxn ang="0">
                    <a:pos x="0" y="28"/>
                  </a:cxn>
                  <a:cxn ang="0">
                    <a:pos x="0" y="26"/>
                  </a:cxn>
                  <a:cxn ang="0">
                    <a:pos x="0" y="24"/>
                  </a:cxn>
                  <a:cxn ang="0">
                    <a:pos x="2" y="22"/>
                  </a:cxn>
                  <a:cxn ang="0">
                    <a:pos x="4" y="20"/>
                  </a:cxn>
                  <a:cxn ang="0">
                    <a:pos x="4" y="16"/>
                  </a:cxn>
                  <a:cxn ang="0">
                    <a:pos x="4" y="14"/>
                  </a:cxn>
                </a:cxnLst>
                <a:rect l="0" t="0" r="r" b="b"/>
                <a:pathLst>
                  <a:path w="12" h="30">
                    <a:moveTo>
                      <a:pt x="4" y="14"/>
                    </a:moveTo>
                    <a:lnTo>
                      <a:pt x="2" y="12"/>
                    </a:lnTo>
                    <a:lnTo>
                      <a:pt x="2" y="8"/>
                    </a:lnTo>
                    <a:lnTo>
                      <a:pt x="2" y="6"/>
                    </a:lnTo>
                    <a:lnTo>
                      <a:pt x="2" y="2"/>
                    </a:lnTo>
                    <a:lnTo>
                      <a:pt x="2" y="0"/>
                    </a:lnTo>
                    <a:lnTo>
                      <a:pt x="12" y="0"/>
                    </a:lnTo>
                    <a:lnTo>
                      <a:pt x="12" y="4"/>
                    </a:lnTo>
                    <a:lnTo>
                      <a:pt x="12" y="6"/>
                    </a:lnTo>
                    <a:lnTo>
                      <a:pt x="10" y="8"/>
                    </a:lnTo>
                    <a:lnTo>
                      <a:pt x="10" y="10"/>
                    </a:lnTo>
                    <a:lnTo>
                      <a:pt x="10" y="12"/>
                    </a:lnTo>
                    <a:lnTo>
                      <a:pt x="12" y="14"/>
                    </a:lnTo>
                    <a:lnTo>
                      <a:pt x="12" y="18"/>
                    </a:lnTo>
                    <a:lnTo>
                      <a:pt x="10" y="18"/>
                    </a:lnTo>
                    <a:lnTo>
                      <a:pt x="8" y="26"/>
                    </a:lnTo>
                    <a:lnTo>
                      <a:pt x="4" y="30"/>
                    </a:lnTo>
                    <a:lnTo>
                      <a:pt x="0" y="28"/>
                    </a:lnTo>
                    <a:lnTo>
                      <a:pt x="0" y="26"/>
                    </a:lnTo>
                    <a:lnTo>
                      <a:pt x="0" y="24"/>
                    </a:lnTo>
                    <a:lnTo>
                      <a:pt x="2" y="22"/>
                    </a:lnTo>
                    <a:lnTo>
                      <a:pt x="4" y="20"/>
                    </a:lnTo>
                    <a:lnTo>
                      <a:pt x="4" y="16"/>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4" name="Freeform 1418"/>
              <p:cNvSpPr>
                <a:spLocks/>
              </p:cNvSpPr>
              <p:nvPr/>
            </p:nvSpPr>
            <p:spPr bwMode="auto">
              <a:xfrm>
                <a:off x="4151" y="2625"/>
                <a:ext cx="20" cy="38"/>
              </a:xfrm>
              <a:custGeom>
                <a:avLst/>
                <a:gdLst/>
                <a:ahLst/>
                <a:cxnLst>
                  <a:cxn ang="0">
                    <a:pos x="10" y="14"/>
                  </a:cxn>
                  <a:cxn ang="0">
                    <a:pos x="12" y="16"/>
                  </a:cxn>
                  <a:cxn ang="0">
                    <a:pos x="12" y="20"/>
                  </a:cxn>
                  <a:cxn ang="0">
                    <a:pos x="12" y="24"/>
                  </a:cxn>
                  <a:cxn ang="0">
                    <a:pos x="14" y="24"/>
                  </a:cxn>
                  <a:cxn ang="0">
                    <a:pos x="16" y="24"/>
                  </a:cxn>
                  <a:cxn ang="0">
                    <a:pos x="16" y="22"/>
                  </a:cxn>
                  <a:cxn ang="0">
                    <a:pos x="14" y="20"/>
                  </a:cxn>
                  <a:cxn ang="0">
                    <a:pos x="16" y="20"/>
                  </a:cxn>
                  <a:cxn ang="0">
                    <a:pos x="18" y="24"/>
                  </a:cxn>
                  <a:cxn ang="0">
                    <a:pos x="20" y="34"/>
                  </a:cxn>
                  <a:cxn ang="0">
                    <a:pos x="20" y="36"/>
                  </a:cxn>
                  <a:cxn ang="0">
                    <a:pos x="18" y="36"/>
                  </a:cxn>
                  <a:cxn ang="0">
                    <a:pos x="18" y="38"/>
                  </a:cxn>
                  <a:cxn ang="0">
                    <a:pos x="16" y="38"/>
                  </a:cxn>
                  <a:cxn ang="0">
                    <a:pos x="14" y="38"/>
                  </a:cxn>
                  <a:cxn ang="0">
                    <a:pos x="14" y="36"/>
                  </a:cxn>
                  <a:cxn ang="0">
                    <a:pos x="12" y="34"/>
                  </a:cxn>
                  <a:cxn ang="0">
                    <a:pos x="10" y="30"/>
                  </a:cxn>
                  <a:cxn ang="0">
                    <a:pos x="6" y="26"/>
                  </a:cxn>
                  <a:cxn ang="0">
                    <a:pos x="4" y="28"/>
                  </a:cxn>
                  <a:cxn ang="0">
                    <a:pos x="4" y="30"/>
                  </a:cxn>
                  <a:cxn ang="0">
                    <a:pos x="4" y="32"/>
                  </a:cxn>
                  <a:cxn ang="0">
                    <a:pos x="4" y="30"/>
                  </a:cxn>
                  <a:cxn ang="0">
                    <a:pos x="2" y="26"/>
                  </a:cxn>
                  <a:cxn ang="0">
                    <a:pos x="0" y="26"/>
                  </a:cxn>
                  <a:cxn ang="0">
                    <a:pos x="0" y="24"/>
                  </a:cxn>
                  <a:cxn ang="0">
                    <a:pos x="0" y="22"/>
                  </a:cxn>
                  <a:cxn ang="0">
                    <a:pos x="2" y="20"/>
                  </a:cxn>
                  <a:cxn ang="0">
                    <a:pos x="2" y="18"/>
                  </a:cxn>
                  <a:cxn ang="0">
                    <a:pos x="0" y="16"/>
                  </a:cxn>
                  <a:cxn ang="0">
                    <a:pos x="0" y="14"/>
                  </a:cxn>
                  <a:cxn ang="0">
                    <a:pos x="0" y="12"/>
                  </a:cxn>
                  <a:cxn ang="0">
                    <a:pos x="0" y="10"/>
                  </a:cxn>
                  <a:cxn ang="0">
                    <a:pos x="4" y="8"/>
                  </a:cxn>
                  <a:cxn ang="0">
                    <a:pos x="6" y="0"/>
                  </a:cxn>
                  <a:cxn ang="0">
                    <a:pos x="8" y="2"/>
                  </a:cxn>
                  <a:cxn ang="0">
                    <a:pos x="8" y="4"/>
                  </a:cxn>
                  <a:cxn ang="0">
                    <a:pos x="10" y="6"/>
                  </a:cxn>
                  <a:cxn ang="0">
                    <a:pos x="8" y="6"/>
                  </a:cxn>
                  <a:cxn ang="0">
                    <a:pos x="8" y="10"/>
                  </a:cxn>
                  <a:cxn ang="0">
                    <a:pos x="10" y="12"/>
                  </a:cxn>
                  <a:cxn ang="0">
                    <a:pos x="10" y="14"/>
                  </a:cxn>
                </a:cxnLst>
                <a:rect l="0" t="0" r="r" b="b"/>
                <a:pathLst>
                  <a:path w="20" h="38">
                    <a:moveTo>
                      <a:pt x="10" y="14"/>
                    </a:moveTo>
                    <a:lnTo>
                      <a:pt x="12" y="16"/>
                    </a:lnTo>
                    <a:lnTo>
                      <a:pt x="12" y="20"/>
                    </a:lnTo>
                    <a:lnTo>
                      <a:pt x="12" y="24"/>
                    </a:lnTo>
                    <a:lnTo>
                      <a:pt x="14" y="24"/>
                    </a:lnTo>
                    <a:lnTo>
                      <a:pt x="16" y="24"/>
                    </a:lnTo>
                    <a:lnTo>
                      <a:pt x="16" y="22"/>
                    </a:lnTo>
                    <a:lnTo>
                      <a:pt x="14" y="20"/>
                    </a:lnTo>
                    <a:lnTo>
                      <a:pt x="16" y="20"/>
                    </a:lnTo>
                    <a:lnTo>
                      <a:pt x="18" y="24"/>
                    </a:lnTo>
                    <a:lnTo>
                      <a:pt x="20" y="34"/>
                    </a:lnTo>
                    <a:lnTo>
                      <a:pt x="20" y="36"/>
                    </a:lnTo>
                    <a:lnTo>
                      <a:pt x="18" y="36"/>
                    </a:lnTo>
                    <a:lnTo>
                      <a:pt x="18" y="38"/>
                    </a:lnTo>
                    <a:lnTo>
                      <a:pt x="16" y="38"/>
                    </a:lnTo>
                    <a:lnTo>
                      <a:pt x="14" y="38"/>
                    </a:lnTo>
                    <a:lnTo>
                      <a:pt x="14" y="36"/>
                    </a:lnTo>
                    <a:lnTo>
                      <a:pt x="12" y="34"/>
                    </a:lnTo>
                    <a:lnTo>
                      <a:pt x="10" y="30"/>
                    </a:lnTo>
                    <a:lnTo>
                      <a:pt x="6" y="26"/>
                    </a:lnTo>
                    <a:lnTo>
                      <a:pt x="4" y="28"/>
                    </a:lnTo>
                    <a:lnTo>
                      <a:pt x="4" y="30"/>
                    </a:lnTo>
                    <a:lnTo>
                      <a:pt x="4" y="32"/>
                    </a:lnTo>
                    <a:lnTo>
                      <a:pt x="4" y="30"/>
                    </a:lnTo>
                    <a:lnTo>
                      <a:pt x="2" y="26"/>
                    </a:lnTo>
                    <a:lnTo>
                      <a:pt x="0" y="26"/>
                    </a:lnTo>
                    <a:lnTo>
                      <a:pt x="0" y="24"/>
                    </a:lnTo>
                    <a:lnTo>
                      <a:pt x="0" y="22"/>
                    </a:lnTo>
                    <a:lnTo>
                      <a:pt x="2" y="20"/>
                    </a:lnTo>
                    <a:lnTo>
                      <a:pt x="2" y="18"/>
                    </a:lnTo>
                    <a:lnTo>
                      <a:pt x="0" y="16"/>
                    </a:lnTo>
                    <a:lnTo>
                      <a:pt x="0" y="14"/>
                    </a:lnTo>
                    <a:lnTo>
                      <a:pt x="0" y="12"/>
                    </a:lnTo>
                    <a:lnTo>
                      <a:pt x="0" y="10"/>
                    </a:lnTo>
                    <a:lnTo>
                      <a:pt x="4" y="8"/>
                    </a:lnTo>
                    <a:lnTo>
                      <a:pt x="6" y="0"/>
                    </a:lnTo>
                    <a:lnTo>
                      <a:pt x="8" y="2"/>
                    </a:lnTo>
                    <a:lnTo>
                      <a:pt x="8" y="4"/>
                    </a:lnTo>
                    <a:lnTo>
                      <a:pt x="10" y="6"/>
                    </a:lnTo>
                    <a:lnTo>
                      <a:pt x="8" y="6"/>
                    </a:lnTo>
                    <a:lnTo>
                      <a:pt x="8" y="10"/>
                    </a:lnTo>
                    <a:lnTo>
                      <a:pt x="10" y="12"/>
                    </a:lnTo>
                    <a:lnTo>
                      <a:pt x="1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88" name="Freeform 1419"/>
              <p:cNvSpPr>
                <a:spLocks/>
              </p:cNvSpPr>
              <p:nvPr/>
            </p:nvSpPr>
            <p:spPr bwMode="auto">
              <a:xfrm>
                <a:off x="4169" y="2725"/>
                <a:ext cx="18" cy="18"/>
              </a:xfrm>
              <a:custGeom>
                <a:avLst/>
                <a:gdLst/>
                <a:ahLst/>
                <a:cxnLst>
                  <a:cxn ang="0">
                    <a:pos x="4" y="18"/>
                  </a:cxn>
                  <a:cxn ang="0">
                    <a:pos x="2" y="18"/>
                  </a:cxn>
                  <a:cxn ang="0">
                    <a:pos x="0" y="16"/>
                  </a:cxn>
                  <a:cxn ang="0">
                    <a:pos x="2" y="16"/>
                  </a:cxn>
                  <a:cxn ang="0">
                    <a:pos x="4" y="14"/>
                  </a:cxn>
                  <a:cxn ang="0">
                    <a:pos x="12" y="8"/>
                  </a:cxn>
                  <a:cxn ang="0">
                    <a:pos x="14" y="4"/>
                  </a:cxn>
                  <a:cxn ang="0">
                    <a:pos x="16" y="2"/>
                  </a:cxn>
                  <a:cxn ang="0">
                    <a:pos x="16" y="0"/>
                  </a:cxn>
                  <a:cxn ang="0">
                    <a:pos x="18" y="0"/>
                  </a:cxn>
                  <a:cxn ang="0">
                    <a:pos x="18" y="2"/>
                  </a:cxn>
                  <a:cxn ang="0">
                    <a:pos x="18" y="4"/>
                  </a:cxn>
                  <a:cxn ang="0">
                    <a:pos x="16" y="6"/>
                  </a:cxn>
                  <a:cxn ang="0">
                    <a:pos x="14" y="12"/>
                  </a:cxn>
                  <a:cxn ang="0">
                    <a:pos x="12" y="14"/>
                  </a:cxn>
                  <a:cxn ang="0">
                    <a:pos x="8" y="18"/>
                  </a:cxn>
                  <a:cxn ang="0">
                    <a:pos x="6" y="18"/>
                  </a:cxn>
                  <a:cxn ang="0">
                    <a:pos x="4" y="18"/>
                  </a:cxn>
                </a:cxnLst>
                <a:rect l="0" t="0" r="r" b="b"/>
                <a:pathLst>
                  <a:path w="18" h="18">
                    <a:moveTo>
                      <a:pt x="4" y="18"/>
                    </a:moveTo>
                    <a:lnTo>
                      <a:pt x="2" y="18"/>
                    </a:lnTo>
                    <a:lnTo>
                      <a:pt x="0" y="16"/>
                    </a:lnTo>
                    <a:lnTo>
                      <a:pt x="2" y="16"/>
                    </a:lnTo>
                    <a:lnTo>
                      <a:pt x="4" y="14"/>
                    </a:lnTo>
                    <a:lnTo>
                      <a:pt x="12" y="8"/>
                    </a:lnTo>
                    <a:lnTo>
                      <a:pt x="14" y="4"/>
                    </a:lnTo>
                    <a:lnTo>
                      <a:pt x="16" y="2"/>
                    </a:lnTo>
                    <a:lnTo>
                      <a:pt x="16" y="0"/>
                    </a:lnTo>
                    <a:lnTo>
                      <a:pt x="18" y="0"/>
                    </a:lnTo>
                    <a:lnTo>
                      <a:pt x="18" y="2"/>
                    </a:lnTo>
                    <a:lnTo>
                      <a:pt x="18" y="4"/>
                    </a:lnTo>
                    <a:lnTo>
                      <a:pt x="16" y="6"/>
                    </a:lnTo>
                    <a:lnTo>
                      <a:pt x="14" y="12"/>
                    </a:lnTo>
                    <a:lnTo>
                      <a:pt x="12" y="14"/>
                    </a:lnTo>
                    <a:lnTo>
                      <a:pt x="8" y="18"/>
                    </a:lnTo>
                    <a:lnTo>
                      <a:pt x="6" y="18"/>
                    </a:lnTo>
                    <a:lnTo>
                      <a:pt x="4"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80" name="Freeform 1420"/>
            <p:cNvSpPr>
              <a:spLocks/>
            </p:cNvSpPr>
            <p:nvPr/>
          </p:nvSpPr>
          <p:spPr bwMode="auto">
            <a:xfrm>
              <a:off x="7419613" y="4580833"/>
              <a:ext cx="20018" cy="7506"/>
            </a:xfrm>
            <a:custGeom>
              <a:avLst/>
              <a:gdLst/>
              <a:ahLst/>
              <a:cxnLst>
                <a:cxn ang="0">
                  <a:pos x="4" y="6"/>
                </a:cxn>
                <a:cxn ang="0">
                  <a:pos x="2" y="6"/>
                </a:cxn>
                <a:cxn ang="0">
                  <a:pos x="0" y="6"/>
                </a:cxn>
                <a:cxn ang="0">
                  <a:pos x="0" y="4"/>
                </a:cxn>
                <a:cxn ang="0">
                  <a:pos x="0" y="2"/>
                </a:cxn>
                <a:cxn ang="0">
                  <a:pos x="0" y="4"/>
                </a:cxn>
                <a:cxn ang="0">
                  <a:pos x="2" y="4"/>
                </a:cxn>
                <a:cxn ang="0">
                  <a:pos x="4" y="4"/>
                </a:cxn>
                <a:cxn ang="0">
                  <a:pos x="6" y="4"/>
                </a:cxn>
                <a:cxn ang="0">
                  <a:pos x="8" y="4"/>
                </a:cxn>
                <a:cxn ang="0">
                  <a:pos x="12" y="2"/>
                </a:cxn>
                <a:cxn ang="0">
                  <a:pos x="12" y="0"/>
                </a:cxn>
                <a:cxn ang="0">
                  <a:pos x="14" y="0"/>
                </a:cxn>
                <a:cxn ang="0">
                  <a:pos x="16" y="2"/>
                </a:cxn>
                <a:cxn ang="0">
                  <a:pos x="14" y="4"/>
                </a:cxn>
                <a:cxn ang="0">
                  <a:pos x="12" y="4"/>
                </a:cxn>
                <a:cxn ang="0">
                  <a:pos x="10" y="4"/>
                </a:cxn>
                <a:cxn ang="0">
                  <a:pos x="8" y="6"/>
                </a:cxn>
                <a:cxn ang="0">
                  <a:pos x="6" y="6"/>
                </a:cxn>
                <a:cxn ang="0">
                  <a:pos x="4" y="6"/>
                </a:cxn>
              </a:cxnLst>
              <a:rect l="0" t="0" r="r" b="b"/>
              <a:pathLst>
                <a:path w="16" h="6">
                  <a:moveTo>
                    <a:pt x="4" y="6"/>
                  </a:moveTo>
                  <a:lnTo>
                    <a:pt x="2" y="6"/>
                  </a:lnTo>
                  <a:lnTo>
                    <a:pt x="0" y="6"/>
                  </a:lnTo>
                  <a:lnTo>
                    <a:pt x="0" y="4"/>
                  </a:lnTo>
                  <a:lnTo>
                    <a:pt x="0" y="2"/>
                  </a:lnTo>
                  <a:lnTo>
                    <a:pt x="0" y="4"/>
                  </a:lnTo>
                  <a:lnTo>
                    <a:pt x="2" y="4"/>
                  </a:lnTo>
                  <a:lnTo>
                    <a:pt x="4" y="4"/>
                  </a:lnTo>
                  <a:lnTo>
                    <a:pt x="6" y="4"/>
                  </a:lnTo>
                  <a:lnTo>
                    <a:pt x="8" y="4"/>
                  </a:lnTo>
                  <a:lnTo>
                    <a:pt x="12" y="2"/>
                  </a:lnTo>
                  <a:lnTo>
                    <a:pt x="12" y="0"/>
                  </a:lnTo>
                  <a:lnTo>
                    <a:pt x="14" y="0"/>
                  </a:lnTo>
                  <a:lnTo>
                    <a:pt x="16" y="2"/>
                  </a:lnTo>
                  <a:lnTo>
                    <a:pt x="14" y="4"/>
                  </a:lnTo>
                  <a:lnTo>
                    <a:pt x="12" y="4"/>
                  </a:lnTo>
                  <a:lnTo>
                    <a:pt x="10" y="4"/>
                  </a:lnTo>
                  <a:lnTo>
                    <a:pt x="8" y="6"/>
                  </a:lnTo>
                  <a:lnTo>
                    <a:pt x="6" y="6"/>
                  </a:lnTo>
                  <a:lnTo>
                    <a:pt x="4"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1" name="Freeform 1424"/>
            <p:cNvSpPr>
              <a:spLocks/>
            </p:cNvSpPr>
            <p:nvPr/>
          </p:nvSpPr>
          <p:spPr bwMode="auto">
            <a:xfrm>
              <a:off x="6551352" y="4583336"/>
              <a:ext cx="200176" cy="502941"/>
            </a:xfrm>
            <a:custGeom>
              <a:avLst/>
              <a:gdLst/>
              <a:ahLst/>
              <a:cxnLst>
                <a:cxn ang="0">
                  <a:pos x="18" y="238"/>
                </a:cxn>
                <a:cxn ang="0">
                  <a:pos x="0" y="220"/>
                </a:cxn>
                <a:cxn ang="0">
                  <a:pos x="10" y="210"/>
                </a:cxn>
                <a:cxn ang="0">
                  <a:pos x="16" y="190"/>
                </a:cxn>
                <a:cxn ang="0">
                  <a:pos x="16" y="180"/>
                </a:cxn>
                <a:cxn ang="0">
                  <a:pos x="26" y="166"/>
                </a:cxn>
                <a:cxn ang="0">
                  <a:pos x="44" y="156"/>
                </a:cxn>
                <a:cxn ang="0">
                  <a:pos x="38" y="154"/>
                </a:cxn>
                <a:cxn ang="0">
                  <a:pos x="34" y="130"/>
                </a:cxn>
                <a:cxn ang="0">
                  <a:pos x="32" y="112"/>
                </a:cxn>
                <a:cxn ang="0">
                  <a:pos x="40" y="94"/>
                </a:cxn>
                <a:cxn ang="0">
                  <a:pos x="38" y="74"/>
                </a:cxn>
                <a:cxn ang="0">
                  <a:pos x="50" y="66"/>
                </a:cxn>
                <a:cxn ang="0">
                  <a:pos x="54" y="60"/>
                </a:cxn>
                <a:cxn ang="0">
                  <a:pos x="48" y="46"/>
                </a:cxn>
                <a:cxn ang="0">
                  <a:pos x="40" y="28"/>
                </a:cxn>
                <a:cxn ang="0">
                  <a:pos x="32" y="14"/>
                </a:cxn>
                <a:cxn ang="0">
                  <a:pos x="22" y="14"/>
                </a:cxn>
                <a:cxn ang="0">
                  <a:pos x="18" y="0"/>
                </a:cxn>
                <a:cxn ang="0">
                  <a:pos x="34" y="6"/>
                </a:cxn>
                <a:cxn ang="0">
                  <a:pos x="46" y="14"/>
                </a:cxn>
                <a:cxn ang="0">
                  <a:pos x="66" y="16"/>
                </a:cxn>
                <a:cxn ang="0">
                  <a:pos x="70" y="10"/>
                </a:cxn>
                <a:cxn ang="0">
                  <a:pos x="78" y="10"/>
                </a:cxn>
                <a:cxn ang="0">
                  <a:pos x="94" y="26"/>
                </a:cxn>
                <a:cxn ang="0">
                  <a:pos x="100" y="52"/>
                </a:cxn>
                <a:cxn ang="0">
                  <a:pos x="104" y="66"/>
                </a:cxn>
                <a:cxn ang="0">
                  <a:pos x="104" y="80"/>
                </a:cxn>
                <a:cxn ang="0">
                  <a:pos x="102" y="92"/>
                </a:cxn>
                <a:cxn ang="0">
                  <a:pos x="118" y="110"/>
                </a:cxn>
                <a:cxn ang="0">
                  <a:pos x="102" y="116"/>
                </a:cxn>
                <a:cxn ang="0">
                  <a:pos x="96" y="130"/>
                </a:cxn>
                <a:cxn ang="0">
                  <a:pos x="88" y="144"/>
                </a:cxn>
                <a:cxn ang="0">
                  <a:pos x="90" y="158"/>
                </a:cxn>
                <a:cxn ang="0">
                  <a:pos x="94" y="170"/>
                </a:cxn>
                <a:cxn ang="0">
                  <a:pos x="94" y="186"/>
                </a:cxn>
                <a:cxn ang="0">
                  <a:pos x="94" y="206"/>
                </a:cxn>
                <a:cxn ang="0">
                  <a:pos x="112" y="214"/>
                </a:cxn>
                <a:cxn ang="0">
                  <a:pos x="142" y="250"/>
                </a:cxn>
                <a:cxn ang="0">
                  <a:pos x="158" y="276"/>
                </a:cxn>
                <a:cxn ang="0">
                  <a:pos x="154" y="302"/>
                </a:cxn>
                <a:cxn ang="0">
                  <a:pos x="156" y="316"/>
                </a:cxn>
                <a:cxn ang="0">
                  <a:pos x="148" y="350"/>
                </a:cxn>
                <a:cxn ang="0">
                  <a:pos x="126" y="354"/>
                </a:cxn>
                <a:cxn ang="0">
                  <a:pos x="118" y="372"/>
                </a:cxn>
                <a:cxn ang="0">
                  <a:pos x="124" y="378"/>
                </a:cxn>
                <a:cxn ang="0">
                  <a:pos x="124" y="396"/>
                </a:cxn>
                <a:cxn ang="0">
                  <a:pos x="114" y="402"/>
                </a:cxn>
                <a:cxn ang="0">
                  <a:pos x="118" y="386"/>
                </a:cxn>
                <a:cxn ang="0">
                  <a:pos x="104" y="374"/>
                </a:cxn>
                <a:cxn ang="0">
                  <a:pos x="90" y="360"/>
                </a:cxn>
                <a:cxn ang="0">
                  <a:pos x="82" y="354"/>
                </a:cxn>
                <a:cxn ang="0">
                  <a:pos x="76" y="340"/>
                </a:cxn>
                <a:cxn ang="0">
                  <a:pos x="78" y="330"/>
                </a:cxn>
                <a:cxn ang="0">
                  <a:pos x="84" y="320"/>
                </a:cxn>
                <a:cxn ang="0">
                  <a:pos x="94" y="306"/>
                </a:cxn>
                <a:cxn ang="0">
                  <a:pos x="92" y="294"/>
                </a:cxn>
                <a:cxn ang="0">
                  <a:pos x="92" y="268"/>
                </a:cxn>
                <a:cxn ang="0">
                  <a:pos x="84" y="260"/>
                </a:cxn>
                <a:cxn ang="0">
                  <a:pos x="50" y="266"/>
                </a:cxn>
                <a:cxn ang="0">
                  <a:pos x="30" y="246"/>
                </a:cxn>
              </a:cxnLst>
              <a:rect l="0" t="0" r="r" b="b"/>
              <a:pathLst>
                <a:path w="160" h="402">
                  <a:moveTo>
                    <a:pt x="26" y="240"/>
                  </a:moveTo>
                  <a:lnTo>
                    <a:pt x="26" y="238"/>
                  </a:lnTo>
                  <a:lnTo>
                    <a:pt x="24" y="238"/>
                  </a:lnTo>
                  <a:lnTo>
                    <a:pt x="24" y="234"/>
                  </a:lnTo>
                  <a:lnTo>
                    <a:pt x="18" y="238"/>
                  </a:lnTo>
                  <a:lnTo>
                    <a:pt x="14" y="236"/>
                  </a:lnTo>
                  <a:lnTo>
                    <a:pt x="10" y="230"/>
                  </a:lnTo>
                  <a:lnTo>
                    <a:pt x="6" y="224"/>
                  </a:lnTo>
                  <a:lnTo>
                    <a:pt x="4" y="220"/>
                  </a:lnTo>
                  <a:lnTo>
                    <a:pt x="0" y="220"/>
                  </a:lnTo>
                  <a:lnTo>
                    <a:pt x="0" y="216"/>
                  </a:lnTo>
                  <a:lnTo>
                    <a:pt x="4" y="216"/>
                  </a:lnTo>
                  <a:lnTo>
                    <a:pt x="6" y="216"/>
                  </a:lnTo>
                  <a:lnTo>
                    <a:pt x="6" y="214"/>
                  </a:lnTo>
                  <a:lnTo>
                    <a:pt x="10" y="210"/>
                  </a:lnTo>
                  <a:lnTo>
                    <a:pt x="12" y="208"/>
                  </a:lnTo>
                  <a:lnTo>
                    <a:pt x="16" y="200"/>
                  </a:lnTo>
                  <a:lnTo>
                    <a:pt x="16" y="194"/>
                  </a:lnTo>
                  <a:lnTo>
                    <a:pt x="16" y="192"/>
                  </a:lnTo>
                  <a:lnTo>
                    <a:pt x="16" y="190"/>
                  </a:lnTo>
                  <a:lnTo>
                    <a:pt x="18" y="188"/>
                  </a:lnTo>
                  <a:lnTo>
                    <a:pt x="18" y="186"/>
                  </a:lnTo>
                  <a:lnTo>
                    <a:pt x="18" y="184"/>
                  </a:lnTo>
                  <a:lnTo>
                    <a:pt x="18" y="182"/>
                  </a:lnTo>
                  <a:lnTo>
                    <a:pt x="16" y="180"/>
                  </a:lnTo>
                  <a:lnTo>
                    <a:pt x="16" y="174"/>
                  </a:lnTo>
                  <a:lnTo>
                    <a:pt x="20" y="168"/>
                  </a:lnTo>
                  <a:lnTo>
                    <a:pt x="20" y="166"/>
                  </a:lnTo>
                  <a:lnTo>
                    <a:pt x="24" y="166"/>
                  </a:lnTo>
                  <a:lnTo>
                    <a:pt x="26" y="166"/>
                  </a:lnTo>
                  <a:lnTo>
                    <a:pt x="28" y="166"/>
                  </a:lnTo>
                  <a:lnTo>
                    <a:pt x="36" y="164"/>
                  </a:lnTo>
                  <a:lnTo>
                    <a:pt x="42" y="158"/>
                  </a:lnTo>
                  <a:lnTo>
                    <a:pt x="42" y="156"/>
                  </a:lnTo>
                  <a:lnTo>
                    <a:pt x="44" y="156"/>
                  </a:lnTo>
                  <a:lnTo>
                    <a:pt x="44" y="154"/>
                  </a:lnTo>
                  <a:lnTo>
                    <a:pt x="46" y="154"/>
                  </a:lnTo>
                  <a:lnTo>
                    <a:pt x="42" y="152"/>
                  </a:lnTo>
                  <a:lnTo>
                    <a:pt x="40" y="154"/>
                  </a:lnTo>
                  <a:lnTo>
                    <a:pt x="38" y="154"/>
                  </a:lnTo>
                  <a:lnTo>
                    <a:pt x="36" y="152"/>
                  </a:lnTo>
                  <a:lnTo>
                    <a:pt x="32" y="142"/>
                  </a:lnTo>
                  <a:lnTo>
                    <a:pt x="32" y="138"/>
                  </a:lnTo>
                  <a:lnTo>
                    <a:pt x="34" y="136"/>
                  </a:lnTo>
                  <a:lnTo>
                    <a:pt x="34" y="130"/>
                  </a:lnTo>
                  <a:lnTo>
                    <a:pt x="36" y="122"/>
                  </a:lnTo>
                  <a:lnTo>
                    <a:pt x="34" y="116"/>
                  </a:lnTo>
                  <a:lnTo>
                    <a:pt x="34" y="114"/>
                  </a:lnTo>
                  <a:lnTo>
                    <a:pt x="32" y="114"/>
                  </a:lnTo>
                  <a:lnTo>
                    <a:pt x="32" y="112"/>
                  </a:lnTo>
                  <a:lnTo>
                    <a:pt x="32" y="106"/>
                  </a:lnTo>
                  <a:lnTo>
                    <a:pt x="34" y="102"/>
                  </a:lnTo>
                  <a:lnTo>
                    <a:pt x="36" y="100"/>
                  </a:lnTo>
                  <a:lnTo>
                    <a:pt x="40" y="96"/>
                  </a:lnTo>
                  <a:lnTo>
                    <a:pt x="40" y="94"/>
                  </a:lnTo>
                  <a:lnTo>
                    <a:pt x="40" y="92"/>
                  </a:lnTo>
                  <a:lnTo>
                    <a:pt x="38" y="90"/>
                  </a:lnTo>
                  <a:lnTo>
                    <a:pt x="38" y="88"/>
                  </a:lnTo>
                  <a:lnTo>
                    <a:pt x="32" y="78"/>
                  </a:lnTo>
                  <a:lnTo>
                    <a:pt x="38" y="74"/>
                  </a:lnTo>
                  <a:lnTo>
                    <a:pt x="40" y="74"/>
                  </a:lnTo>
                  <a:lnTo>
                    <a:pt x="42" y="74"/>
                  </a:lnTo>
                  <a:lnTo>
                    <a:pt x="46" y="72"/>
                  </a:lnTo>
                  <a:lnTo>
                    <a:pt x="48" y="70"/>
                  </a:lnTo>
                  <a:lnTo>
                    <a:pt x="50" y="66"/>
                  </a:lnTo>
                  <a:lnTo>
                    <a:pt x="52" y="64"/>
                  </a:lnTo>
                  <a:lnTo>
                    <a:pt x="54" y="64"/>
                  </a:lnTo>
                  <a:lnTo>
                    <a:pt x="54" y="62"/>
                  </a:lnTo>
                  <a:lnTo>
                    <a:pt x="56" y="62"/>
                  </a:lnTo>
                  <a:lnTo>
                    <a:pt x="54" y="60"/>
                  </a:lnTo>
                  <a:lnTo>
                    <a:pt x="52" y="58"/>
                  </a:lnTo>
                  <a:lnTo>
                    <a:pt x="50" y="52"/>
                  </a:lnTo>
                  <a:lnTo>
                    <a:pt x="48" y="50"/>
                  </a:lnTo>
                  <a:lnTo>
                    <a:pt x="48" y="48"/>
                  </a:lnTo>
                  <a:lnTo>
                    <a:pt x="48" y="46"/>
                  </a:lnTo>
                  <a:lnTo>
                    <a:pt x="48" y="44"/>
                  </a:lnTo>
                  <a:lnTo>
                    <a:pt x="44" y="40"/>
                  </a:lnTo>
                  <a:lnTo>
                    <a:pt x="38" y="36"/>
                  </a:lnTo>
                  <a:lnTo>
                    <a:pt x="38" y="32"/>
                  </a:lnTo>
                  <a:lnTo>
                    <a:pt x="40" y="28"/>
                  </a:lnTo>
                  <a:lnTo>
                    <a:pt x="38" y="22"/>
                  </a:lnTo>
                  <a:lnTo>
                    <a:pt x="36" y="22"/>
                  </a:lnTo>
                  <a:lnTo>
                    <a:pt x="32" y="18"/>
                  </a:lnTo>
                  <a:lnTo>
                    <a:pt x="32" y="16"/>
                  </a:lnTo>
                  <a:lnTo>
                    <a:pt x="32" y="14"/>
                  </a:lnTo>
                  <a:lnTo>
                    <a:pt x="30" y="12"/>
                  </a:lnTo>
                  <a:lnTo>
                    <a:pt x="28" y="12"/>
                  </a:lnTo>
                  <a:lnTo>
                    <a:pt x="26" y="14"/>
                  </a:lnTo>
                  <a:lnTo>
                    <a:pt x="24" y="14"/>
                  </a:lnTo>
                  <a:lnTo>
                    <a:pt x="22" y="14"/>
                  </a:lnTo>
                  <a:lnTo>
                    <a:pt x="20" y="14"/>
                  </a:lnTo>
                  <a:lnTo>
                    <a:pt x="18" y="6"/>
                  </a:lnTo>
                  <a:lnTo>
                    <a:pt x="18" y="4"/>
                  </a:lnTo>
                  <a:lnTo>
                    <a:pt x="18" y="2"/>
                  </a:lnTo>
                  <a:lnTo>
                    <a:pt x="18" y="0"/>
                  </a:lnTo>
                  <a:lnTo>
                    <a:pt x="20" y="0"/>
                  </a:lnTo>
                  <a:lnTo>
                    <a:pt x="22" y="2"/>
                  </a:lnTo>
                  <a:lnTo>
                    <a:pt x="28" y="6"/>
                  </a:lnTo>
                  <a:lnTo>
                    <a:pt x="30" y="6"/>
                  </a:lnTo>
                  <a:lnTo>
                    <a:pt x="34" y="6"/>
                  </a:lnTo>
                  <a:lnTo>
                    <a:pt x="36" y="6"/>
                  </a:lnTo>
                  <a:lnTo>
                    <a:pt x="40" y="8"/>
                  </a:lnTo>
                  <a:lnTo>
                    <a:pt x="42" y="10"/>
                  </a:lnTo>
                  <a:lnTo>
                    <a:pt x="42" y="12"/>
                  </a:lnTo>
                  <a:lnTo>
                    <a:pt x="46" y="14"/>
                  </a:lnTo>
                  <a:lnTo>
                    <a:pt x="48" y="12"/>
                  </a:lnTo>
                  <a:lnTo>
                    <a:pt x="50" y="12"/>
                  </a:lnTo>
                  <a:lnTo>
                    <a:pt x="60" y="12"/>
                  </a:lnTo>
                  <a:lnTo>
                    <a:pt x="64" y="16"/>
                  </a:lnTo>
                  <a:lnTo>
                    <a:pt x="66" y="16"/>
                  </a:lnTo>
                  <a:lnTo>
                    <a:pt x="68" y="18"/>
                  </a:lnTo>
                  <a:lnTo>
                    <a:pt x="68" y="16"/>
                  </a:lnTo>
                  <a:lnTo>
                    <a:pt x="70" y="14"/>
                  </a:lnTo>
                  <a:lnTo>
                    <a:pt x="70" y="12"/>
                  </a:lnTo>
                  <a:lnTo>
                    <a:pt x="70" y="10"/>
                  </a:lnTo>
                  <a:lnTo>
                    <a:pt x="70" y="8"/>
                  </a:lnTo>
                  <a:lnTo>
                    <a:pt x="72" y="6"/>
                  </a:lnTo>
                  <a:lnTo>
                    <a:pt x="74" y="6"/>
                  </a:lnTo>
                  <a:lnTo>
                    <a:pt x="76" y="6"/>
                  </a:lnTo>
                  <a:lnTo>
                    <a:pt x="78" y="10"/>
                  </a:lnTo>
                  <a:lnTo>
                    <a:pt x="80" y="12"/>
                  </a:lnTo>
                  <a:lnTo>
                    <a:pt x="82" y="14"/>
                  </a:lnTo>
                  <a:lnTo>
                    <a:pt x="88" y="18"/>
                  </a:lnTo>
                  <a:lnTo>
                    <a:pt x="90" y="22"/>
                  </a:lnTo>
                  <a:lnTo>
                    <a:pt x="94" y="26"/>
                  </a:lnTo>
                  <a:lnTo>
                    <a:pt x="96" y="30"/>
                  </a:lnTo>
                  <a:lnTo>
                    <a:pt x="98" y="34"/>
                  </a:lnTo>
                  <a:lnTo>
                    <a:pt x="98" y="36"/>
                  </a:lnTo>
                  <a:lnTo>
                    <a:pt x="100" y="50"/>
                  </a:lnTo>
                  <a:lnTo>
                    <a:pt x="100" y="52"/>
                  </a:lnTo>
                  <a:lnTo>
                    <a:pt x="100" y="54"/>
                  </a:lnTo>
                  <a:lnTo>
                    <a:pt x="100" y="60"/>
                  </a:lnTo>
                  <a:lnTo>
                    <a:pt x="100" y="62"/>
                  </a:lnTo>
                  <a:lnTo>
                    <a:pt x="102" y="64"/>
                  </a:lnTo>
                  <a:lnTo>
                    <a:pt x="104" y="66"/>
                  </a:lnTo>
                  <a:lnTo>
                    <a:pt x="104" y="68"/>
                  </a:lnTo>
                  <a:lnTo>
                    <a:pt x="104" y="70"/>
                  </a:lnTo>
                  <a:lnTo>
                    <a:pt x="104" y="72"/>
                  </a:lnTo>
                  <a:lnTo>
                    <a:pt x="104" y="78"/>
                  </a:lnTo>
                  <a:lnTo>
                    <a:pt x="104" y="80"/>
                  </a:lnTo>
                  <a:lnTo>
                    <a:pt x="102" y="82"/>
                  </a:lnTo>
                  <a:lnTo>
                    <a:pt x="100" y="82"/>
                  </a:lnTo>
                  <a:lnTo>
                    <a:pt x="100" y="86"/>
                  </a:lnTo>
                  <a:lnTo>
                    <a:pt x="102" y="90"/>
                  </a:lnTo>
                  <a:lnTo>
                    <a:pt x="102" y="92"/>
                  </a:lnTo>
                  <a:lnTo>
                    <a:pt x="106" y="94"/>
                  </a:lnTo>
                  <a:lnTo>
                    <a:pt x="110" y="102"/>
                  </a:lnTo>
                  <a:lnTo>
                    <a:pt x="114" y="102"/>
                  </a:lnTo>
                  <a:lnTo>
                    <a:pt x="116" y="104"/>
                  </a:lnTo>
                  <a:lnTo>
                    <a:pt x="118" y="110"/>
                  </a:lnTo>
                  <a:lnTo>
                    <a:pt x="118" y="114"/>
                  </a:lnTo>
                  <a:lnTo>
                    <a:pt x="114" y="114"/>
                  </a:lnTo>
                  <a:lnTo>
                    <a:pt x="104" y="114"/>
                  </a:lnTo>
                  <a:lnTo>
                    <a:pt x="102" y="114"/>
                  </a:lnTo>
                  <a:lnTo>
                    <a:pt x="102" y="116"/>
                  </a:lnTo>
                  <a:lnTo>
                    <a:pt x="102" y="118"/>
                  </a:lnTo>
                  <a:lnTo>
                    <a:pt x="102" y="120"/>
                  </a:lnTo>
                  <a:lnTo>
                    <a:pt x="102" y="122"/>
                  </a:lnTo>
                  <a:lnTo>
                    <a:pt x="100" y="124"/>
                  </a:lnTo>
                  <a:lnTo>
                    <a:pt x="96" y="130"/>
                  </a:lnTo>
                  <a:lnTo>
                    <a:pt x="94" y="132"/>
                  </a:lnTo>
                  <a:lnTo>
                    <a:pt x="92" y="136"/>
                  </a:lnTo>
                  <a:lnTo>
                    <a:pt x="90" y="140"/>
                  </a:lnTo>
                  <a:lnTo>
                    <a:pt x="88" y="142"/>
                  </a:lnTo>
                  <a:lnTo>
                    <a:pt x="88" y="144"/>
                  </a:lnTo>
                  <a:lnTo>
                    <a:pt x="88" y="146"/>
                  </a:lnTo>
                  <a:lnTo>
                    <a:pt x="86" y="148"/>
                  </a:lnTo>
                  <a:lnTo>
                    <a:pt x="88" y="148"/>
                  </a:lnTo>
                  <a:lnTo>
                    <a:pt x="88" y="152"/>
                  </a:lnTo>
                  <a:lnTo>
                    <a:pt x="90" y="158"/>
                  </a:lnTo>
                  <a:lnTo>
                    <a:pt x="90" y="162"/>
                  </a:lnTo>
                  <a:lnTo>
                    <a:pt x="92" y="166"/>
                  </a:lnTo>
                  <a:lnTo>
                    <a:pt x="92" y="168"/>
                  </a:lnTo>
                  <a:lnTo>
                    <a:pt x="94" y="168"/>
                  </a:lnTo>
                  <a:lnTo>
                    <a:pt x="94" y="170"/>
                  </a:lnTo>
                  <a:lnTo>
                    <a:pt x="94" y="172"/>
                  </a:lnTo>
                  <a:lnTo>
                    <a:pt x="94" y="176"/>
                  </a:lnTo>
                  <a:lnTo>
                    <a:pt x="94" y="180"/>
                  </a:lnTo>
                  <a:lnTo>
                    <a:pt x="94" y="184"/>
                  </a:lnTo>
                  <a:lnTo>
                    <a:pt x="94" y="186"/>
                  </a:lnTo>
                  <a:lnTo>
                    <a:pt x="94" y="188"/>
                  </a:lnTo>
                  <a:lnTo>
                    <a:pt x="94" y="190"/>
                  </a:lnTo>
                  <a:lnTo>
                    <a:pt x="94" y="202"/>
                  </a:lnTo>
                  <a:lnTo>
                    <a:pt x="94" y="204"/>
                  </a:lnTo>
                  <a:lnTo>
                    <a:pt x="94" y="206"/>
                  </a:lnTo>
                  <a:lnTo>
                    <a:pt x="96" y="208"/>
                  </a:lnTo>
                  <a:lnTo>
                    <a:pt x="100" y="214"/>
                  </a:lnTo>
                  <a:lnTo>
                    <a:pt x="108" y="214"/>
                  </a:lnTo>
                  <a:lnTo>
                    <a:pt x="110" y="214"/>
                  </a:lnTo>
                  <a:lnTo>
                    <a:pt x="112" y="214"/>
                  </a:lnTo>
                  <a:lnTo>
                    <a:pt x="122" y="222"/>
                  </a:lnTo>
                  <a:lnTo>
                    <a:pt x="126" y="230"/>
                  </a:lnTo>
                  <a:lnTo>
                    <a:pt x="126" y="232"/>
                  </a:lnTo>
                  <a:lnTo>
                    <a:pt x="140" y="248"/>
                  </a:lnTo>
                  <a:lnTo>
                    <a:pt x="142" y="250"/>
                  </a:lnTo>
                  <a:lnTo>
                    <a:pt x="142" y="252"/>
                  </a:lnTo>
                  <a:lnTo>
                    <a:pt x="144" y="254"/>
                  </a:lnTo>
                  <a:lnTo>
                    <a:pt x="156" y="272"/>
                  </a:lnTo>
                  <a:lnTo>
                    <a:pt x="158" y="274"/>
                  </a:lnTo>
                  <a:lnTo>
                    <a:pt x="158" y="276"/>
                  </a:lnTo>
                  <a:lnTo>
                    <a:pt x="158" y="280"/>
                  </a:lnTo>
                  <a:lnTo>
                    <a:pt x="158" y="286"/>
                  </a:lnTo>
                  <a:lnTo>
                    <a:pt x="160" y="286"/>
                  </a:lnTo>
                  <a:lnTo>
                    <a:pt x="158" y="292"/>
                  </a:lnTo>
                  <a:lnTo>
                    <a:pt x="154" y="302"/>
                  </a:lnTo>
                  <a:lnTo>
                    <a:pt x="156" y="308"/>
                  </a:lnTo>
                  <a:lnTo>
                    <a:pt x="156" y="310"/>
                  </a:lnTo>
                  <a:lnTo>
                    <a:pt x="158" y="314"/>
                  </a:lnTo>
                  <a:lnTo>
                    <a:pt x="158" y="316"/>
                  </a:lnTo>
                  <a:lnTo>
                    <a:pt x="156" y="316"/>
                  </a:lnTo>
                  <a:lnTo>
                    <a:pt x="154" y="336"/>
                  </a:lnTo>
                  <a:lnTo>
                    <a:pt x="152" y="344"/>
                  </a:lnTo>
                  <a:lnTo>
                    <a:pt x="152" y="346"/>
                  </a:lnTo>
                  <a:lnTo>
                    <a:pt x="150" y="348"/>
                  </a:lnTo>
                  <a:lnTo>
                    <a:pt x="148" y="350"/>
                  </a:lnTo>
                  <a:lnTo>
                    <a:pt x="138" y="352"/>
                  </a:lnTo>
                  <a:lnTo>
                    <a:pt x="136" y="350"/>
                  </a:lnTo>
                  <a:lnTo>
                    <a:pt x="134" y="350"/>
                  </a:lnTo>
                  <a:lnTo>
                    <a:pt x="132" y="350"/>
                  </a:lnTo>
                  <a:lnTo>
                    <a:pt x="126" y="354"/>
                  </a:lnTo>
                  <a:lnTo>
                    <a:pt x="126" y="358"/>
                  </a:lnTo>
                  <a:lnTo>
                    <a:pt x="124" y="364"/>
                  </a:lnTo>
                  <a:lnTo>
                    <a:pt x="124" y="368"/>
                  </a:lnTo>
                  <a:lnTo>
                    <a:pt x="120" y="370"/>
                  </a:lnTo>
                  <a:lnTo>
                    <a:pt x="118" y="372"/>
                  </a:lnTo>
                  <a:lnTo>
                    <a:pt x="118" y="374"/>
                  </a:lnTo>
                  <a:lnTo>
                    <a:pt x="120" y="374"/>
                  </a:lnTo>
                  <a:lnTo>
                    <a:pt x="120" y="376"/>
                  </a:lnTo>
                  <a:lnTo>
                    <a:pt x="122" y="376"/>
                  </a:lnTo>
                  <a:lnTo>
                    <a:pt x="124" y="378"/>
                  </a:lnTo>
                  <a:lnTo>
                    <a:pt x="124" y="380"/>
                  </a:lnTo>
                  <a:lnTo>
                    <a:pt x="126" y="386"/>
                  </a:lnTo>
                  <a:lnTo>
                    <a:pt x="124" y="388"/>
                  </a:lnTo>
                  <a:lnTo>
                    <a:pt x="124" y="394"/>
                  </a:lnTo>
                  <a:lnTo>
                    <a:pt x="124" y="396"/>
                  </a:lnTo>
                  <a:lnTo>
                    <a:pt x="126" y="398"/>
                  </a:lnTo>
                  <a:lnTo>
                    <a:pt x="126" y="400"/>
                  </a:lnTo>
                  <a:lnTo>
                    <a:pt x="124" y="402"/>
                  </a:lnTo>
                  <a:lnTo>
                    <a:pt x="116" y="402"/>
                  </a:lnTo>
                  <a:lnTo>
                    <a:pt x="114" y="402"/>
                  </a:lnTo>
                  <a:lnTo>
                    <a:pt x="112" y="396"/>
                  </a:lnTo>
                  <a:lnTo>
                    <a:pt x="114" y="396"/>
                  </a:lnTo>
                  <a:lnTo>
                    <a:pt x="116" y="394"/>
                  </a:lnTo>
                  <a:lnTo>
                    <a:pt x="116" y="392"/>
                  </a:lnTo>
                  <a:lnTo>
                    <a:pt x="118" y="386"/>
                  </a:lnTo>
                  <a:lnTo>
                    <a:pt x="116" y="386"/>
                  </a:lnTo>
                  <a:lnTo>
                    <a:pt x="114" y="386"/>
                  </a:lnTo>
                  <a:lnTo>
                    <a:pt x="112" y="386"/>
                  </a:lnTo>
                  <a:lnTo>
                    <a:pt x="110" y="384"/>
                  </a:lnTo>
                  <a:lnTo>
                    <a:pt x="104" y="374"/>
                  </a:lnTo>
                  <a:lnTo>
                    <a:pt x="100" y="372"/>
                  </a:lnTo>
                  <a:lnTo>
                    <a:pt x="96" y="370"/>
                  </a:lnTo>
                  <a:lnTo>
                    <a:pt x="94" y="366"/>
                  </a:lnTo>
                  <a:lnTo>
                    <a:pt x="92" y="362"/>
                  </a:lnTo>
                  <a:lnTo>
                    <a:pt x="90" y="360"/>
                  </a:lnTo>
                  <a:lnTo>
                    <a:pt x="88" y="358"/>
                  </a:lnTo>
                  <a:lnTo>
                    <a:pt x="86" y="358"/>
                  </a:lnTo>
                  <a:lnTo>
                    <a:pt x="84" y="358"/>
                  </a:lnTo>
                  <a:lnTo>
                    <a:pt x="82" y="356"/>
                  </a:lnTo>
                  <a:lnTo>
                    <a:pt x="82" y="354"/>
                  </a:lnTo>
                  <a:lnTo>
                    <a:pt x="82" y="350"/>
                  </a:lnTo>
                  <a:lnTo>
                    <a:pt x="82" y="348"/>
                  </a:lnTo>
                  <a:lnTo>
                    <a:pt x="82" y="346"/>
                  </a:lnTo>
                  <a:lnTo>
                    <a:pt x="78" y="340"/>
                  </a:lnTo>
                  <a:lnTo>
                    <a:pt x="76" y="340"/>
                  </a:lnTo>
                  <a:lnTo>
                    <a:pt x="74" y="338"/>
                  </a:lnTo>
                  <a:lnTo>
                    <a:pt x="74" y="336"/>
                  </a:lnTo>
                  <a:lnTo>
                    <a:pt x="74" y="334"/>
                  </a:lnTo>
                  <a:lnTo>
                    <a:pt x="76" y="332"/>
                  </a:lnTo>
                  <a:lnTo>
                    <a:pt x="78" y="330"/>
                  </a:lnTo>
                  <a:lnTo>
                    <a:pt x="80" y="330"/>
                  </a:lnTo>
                  <a:lnTo>
                    <a:pt x="82" y="328"/>
                  </a:lnTo>
                  <a:lnTo>
                    <a:pt x="84" y="324"/>
                  </a:lnTo>
                  <a:lnTo>
                    <a:pt x="84" y="322"/>
                  </a:lnTo>
                  <a:lnTo>
                    <a:pt x="84" y="320"/>
                  </a:lnTo>
                  <a:lnTo>
                    <a:pt x="84" y="318"/>
                  </a:lnTo>
                  <a:lnTo>
                    <a:pt x="84" y="316"/>
                  </a:lnTo>
                  <a:lnTo>
                    <a:pt x="90" y="310"/>
                  </a:lnTo>
                  <a:lnTo>
                    <a:pt x="92" y="308"/>
                  </a:lnTo>
                  <a:lnTo>
                    <a:pt x="94" y="306"/>
                  </a:lnTo>
                  <a:lnTo>
                    <a:pt x="94" y="304"/>
                  </a:lnTo>
                  <a:lnTo>
                    <a:pt x="94" y="302"/>
                  </a:lnTo>
                  <a:lnTo>
                    <a:pt x="92" y="302"/>
                  </a:lnTo>
                  <a:lnTo>
                    <a:pt x="92" y="298"/>
                  </a:lnTo>
                  <a:lnTo>
                    <a:pt x="92" y="294"/>
                  </a:lnTo>
                  <a:lnTo>
                    <a:pt x="94" y="288"/>
                  </a:lnTo>
                  <a:lnTo>
                    <a:pt x="92" y="278"/>
                  </a:lnTo>
                  <a:lnTo>
                    <a:pt x="92" y="272"/>
                  </a:lnTo>
                  <a:lnTo>
                    <a:pt x="92" y="270"/>
                  </a:lnTo>
                  <a:lnTo>
                    <a:pt x="92" y="268"/>
                  </a:lnTo>
                  <a:lnTo>
                    <a:pt x="90" y="268"/>
                  </a:lnTo>
                  <a:lnTo>
                    <a:pt x="88" y="266"/>
                  </a:lnTo>
                  <a:lnTo>
                    <a:pt x="86" y="264"/>
                  </a:lnTo>
                  <a:lnTo>
                    <a:pt x="86" y="262"/>
                  </a:lnTo>
                  <a:lnTo>
                    <a:pt x="84" y="260"/>
                  </a:lnTo>
                  <a:lnTo>
                    <a:pt x="82" y="260"/>
                  </a:lnTo>
                  <a:lnTo>
                    <a:pt x="72" y="262"/>
                  </a:lnTo>
                  <a:lnTo>
                    <a:pt x="60" y="264"/>
                  </a:lnTo>
                  <a:lnTo>
                    <a:pt x="54" y="266"/>
                  </a:lnTo>
                  <a:lnTo>
                    <a:pt x="50" y="266"/>
                  </a:lnTo>
                  <a:lnTo>
                    <a:pt x="46" y="266"/>
                  </a:lnTo>
                  <a:lnTo>
                    <a:pt x="40" y="262"/>
                  </a:lnTo>
                  <a:lnTo>
                    <a:pt x="36" y="256"/>
                  </a:lnTo>
                  <a:lnTo>
                    <a:pt x="32" y="250"/>
                  </a:lnTo>
                  <a:lnTo>
                    <a:pt x="30" y="246"/>
                  </a:lnTo>
                  <a:lnTo>
                    <a:pt x="28" y="242"/>
                  </a:lnTo>
                  <a:lnTo>
                    <a:pt x="26" y="24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2" name="Freeform 1425"/>
            <p:cNvSpPr>
              <a:spLocks/>
            </p:cNvSpPr>
            <p:nvPr/>
          </p:nvSpPr>
          <p:spPr bwMode="auto">
            <a:xfrm>
              <a:off x="5873258" y="4508269"/>
              <a:ext cx="748156" cy="633055"/>
            </a:xfrm>
            <a:custGeom>
              <a:avLst/>
              <a:gdLst/>
              <a:ahLst/>
              <a:cxnLst>
                <a:cxn ang="0">
                  <a:pos x="422" y="374"/>
                </a:cxn>
                <a:cxn ang="0">
                  <a:pos x="394" y="382"/>
                </a:cxn>
                <a:cxn ang="0">
                  <a:pos x="350" y="400"/>
                </a:cxn>
                <a:cxn ang="0">
                  <a:pos x="342" y="424"/>
                </a:cxn>
                <a:cxn ang="0">
                  <a:pos x="280" y="468"/>
                </a:cxn>
                <a:cxn ang="0">
                  <a:pos x="242" y="502"/>
                </a:cxn>
                <a:cxn ang="0">
                  <a:pos x="210" y="498"/>
                </a:cxn>
                <a:cxn ang="0">
                  <a:pos x="182" y="492"/>
                </a:cxn>
                <a:cxn ang="0">
                  <a:pos x="154" y="484"/>
                </a:cxn>
                <a:cxn ang="0">
                  <a:pos x="130" y="478"/>
                </a:cxn>
                <a:cxn ang="0">
                  <a:pos x="74" y="482"/>
                </a:cxn>
                <a:cxn ang="0">
                  <a:pos x="6" y="424"/>
                </a:cxn>
                <a:cxn ang="0">
                  <a:pos x="0" y="380"/>
                </a:cxn>
                <a:cxn ang="0">
                  <a:pos x="0" y="294"/>
                </a:cxn>
                <a:cxn ang="0">
                  <a:pos x="80" y="246"/>
                </a:cxn>
                <a:cxn ang="0">
                  <a:pos x="102" y="220"/>
                </a:cxn>
                <a:cxn ang="0">
                  <a:pos x="104" y="166"/>
                </a:cxn>
                <a:cxn ang="0">
                  <a:pos x="110" y="140"/>
                </a:cxn>
                <a:cxn ang="0">
                  <a:pos x="122" y="164"/>
                </a:cxn>
                <a:cxn ang="0">
                  <a:pos x="160" y="158"/>
                </a:cxn>
                <a:cxn ang="0">
                  <a:pos x="170" y="170"/>
                </a:cxn>
                <a:cxn ang="0">
                  <a:pos x="214" y="190"/>
                </a:cxn>
                <a:cxn ang="0">
                  <a:pos x="254" y="190"/>
                </a:cxn>
                <a:cxn ang="0">
                  <a:pos x="266" y="184"/>
                </a:cxn>
                <a:cxn ang="0">
                  <a:pos x="280" y="198"/>
                </a:cxn>
                <a:cxn ang="0">
                  <a:pos x="300" y="208"/>
                </a:cxn>
                <a:cxn ang="0">
                  <a:pos x="332" y="230"/>
                </a:cxn>
                <a:cxn ang="0">
                  <a:pos x="346" y="248"/>
                </a:cxn>
                <a:cxn ang="0">
                  <a:pos x="364" y="270"/>
                </a:cxn>
                <a:cxn ang="0">
                  <a:pos x="390" y="262"/>
                </a:cxn>
                <a:cxn ang="0">
                  <a:pos x="396" y="236"/>
                </a:cxn>
                <a:cxn ang="0">
                  <a:pos x="382" y="216"/>
                </a:cxn>
                <a:cxn ang="0">
                  <a:pos x="362" y="216"/>
                </a:cxn>
                <a:cxn ang="0">
                  <a:pos x="338" y="194"/>
                </a:cxn>
                <a:cxn ang="0">
                  <a:pos x="324" y="168"/>
                </a:cxn>
                <a:cxn ang="0">
                  <a:pos x="340" y="130"/>
                </a:cxn>
                <a:cxn ang="0">
                  <a:pos x="342" y="86"/>
                </a:cxn>
                <a:cxn ang="0">
                  <a:pos x="328" y="54"/>
                </a:cxn>
                <a:cxn ang="0">
                  <a:pos x="352" y="34"/>
                </a:cxn>
                <a:cxn ang="0">
                  <a:pos x="356" y="14"/>
                </a:cxn>
                <a:cxn ang="0">
                  <a:pos x="424" y="4"/>
                </a:cxn>
                <a:cxn ang="0">
                  <a:pos x="460" y="18"/>
                </a:cxn>
                <a:cxn ang="0">
                  <a:pos x="486" y="24"/>
                </a:cxn>
                <a:cxn ang="0">
                  <a:pos x="510" y="38"/>
                </a:cxn>
                <a:cxn ang="0">
                  <a:pos x="522" y="46"/>
                </a:cxn>
                <a:cxn ang="0">
                  <a:pos x="548" y="56"/>
                </a:cxn>
                <a:cxn ang="0">
                  <a:pos x="564" y="74"/>
                </a:cxn>
                <a:cxn ang="0">
                  <a:pos x="580" y="82"/>
                </a:cxn>
                <a:cxn ang="0">
                  <a:pos x="592" y="112"/>
                </a:cxn>
                <a:cxn ang="0">
                  <a:pos x="588" y="132"/>
                </a:cxn>
                <a:cxn ang="0">
                  <a:pos x="582" y="156"/>
                </a:cxn>
                <a:cxn ang="0">
                  <a:pos x="576" y="190"/>
                </a:cxn>
                <a:cxn ang="0">
                  <a:pos x="586" y="214"/>
                </a:cxn>
                <a:cxn ang="0">
                  <a:pos x="562" y="228"/>
                </a:cxn>
                <a:cxn ang="0">
                  <a:pos x="558" y="254"/>
                </a:cxn>
                <a:cxn ang="0">
                  <a:pos x="546" y="280"/>
                </a:cxn>
                <a:cxn ang="0">
                  <a:pos x="556" y="304"/>
                </a:cxn>
                <a:cxn ang="0">
                  <a:pos x="496" y="324"/>
                </a:cxn>
                <a:cxn ang="0">
                  <a:pos x="460" y="336"/>
                </a:cxn>
              </a:cxnLst>
              <a:rect l="0" t="0" r="r" b="b"/>
              <a:pathLst>
                <a:path w="598" h="506">
                  <a:moveTo>
                    <a:pt x="414" y="348"/>
                  </a:moveTo>
                  <a:lnTo>
                    <a:pt x="416" y="354"/>
                  </a:lnTo>
                  <a:lnTo>
                    <a:pt x="416" y="358"/>
                  </a:lnTo>
                  <a:lnTo>
                    <a:pt x="416" y="360"/>
                  </a:lnTo>
                  <a:lnTo>
                    <a:pt x="418" y="362"/>
                  </a:lnTo>
                  <a:lnTo>
                    <a:pt x="418" y="364"/>
                  </a:lnTo>
                  <a:lnTo>
                    <a:pt x="420" y="366"/>
                  </a:lnTo>
                  <a:lnTo>
                    <a:pt x="422" y="368"/>
                  </a:lnTo>
                  <a:lnTo>
                    <a:pt x="422" y="374"/>
                  </a:lnTo>
                  <a:lnTo>
                    <a:pt x="424" y="380"/>
                  </a:lnTo>
                  <a:lnTo>
                    <a:pt x="424" y="382"/>
                  </a:lnTo>
                  <a:lnTo>
                    <a:pt x="422" y="382"/>
                  </a:lnTo>
                  <a:lnTo>
                    <a:pt x="420" y="384"/>
                  </a:lnTo>
                  <a:lnTo>
                    <a:pt x="418" y="382"/>
                  </a:lnTo>
                  <a:lnTo>
                    <a:pt x="416" y="382"/>
                  </a:lnTo>
                  <a:lnTo>
                    <a:pt x="412" y="382"/>
                  </a:lnTo>
                  <a:lnTo>
                    <a:pt x="396" y="380"/>
                  </a:lnTo>
                  <a:lnTo>
                    <a:pt x="394" y="382"/>
                  </a:lnTo>
                  <a:lnTo>
                    <a:pt x="390" y="382"/>
                  </a:lnTo>
                  <a:lnTo>
                    <a:pt x="386" y="384"/>
                  </a:lnTo>
                  <a:lnTo>
                    <a:pt x="384" y="384"/>
                  </a:lnTo>
                  <a:lnTo>
                    <a:pt x="382" y="384"/>
                  </a:lnTo>
                  <a:lnTo>
                    <a:pt x="370" y="388"/>
                  </a:lnTo>
                  <a:lnTo>
                    <a:pt x="364" y="390"/>
                  </a:lnTo>
                  <a:lnTo>
                    <a:pt x="356" y="394"/>
                  </a:lnTo>
                  <a:lnTo>
                    <a:pt x="352" y="398"/>
                  </a:lnTo>
                  <a:lnTo>
                    <a:pt x="350" y="400"/>
                  </a:lnTo>
                  <a:lnTo>
                    <a:pt x="348" y="400"/>
                  </a:lnTo>
                  <a:lnTo>
                    <a:pt x="346" y="402"/>
                  </a:lnTo>
                  <a:lnTo>
                    <a:pt x="344" y="404"/>
                  </a:lnTo>
                  <a:lnTo>
                    <a:pt x="344" y="410"/>
                  </a:lnTo>
                  <a:lnTo>
                    <a:pt x="344" y="416"/>
                  </a:lnTo>
                  <a:lnTo>
                    <a:pt x="344" y="418"/>
                  </a:lnTo>
                  <a:lnTo>
                    <a:pt x="344" y="420"/>
                  </a:lnTo>
                  <a:lnTo>
                    <a:pt x="344" y="422"/>
                  </a:lnTo>
                  <a:lnTo>
                    <a:pt x="342" y="424"/>
                  </a:lnTo>
                  <a:lnTo>
                    <a:pt x="340" y="430"/>
                  </a:lnTo>
                  <a:lnTo>
                    <a:pt x="332" y="432"/>
                  </a:lnTo>
                  <a:lnTo>
                    <a:pt x="314" y="438"/>
                  </a:lnTo>
                  <a:lnTo>
                    <a:pt x="308" y="444"/>
                  </a:lnTo>
                  <a:lnTo>
                    <a:pt x="302" y="446"/>
                  </a:lnTo>
                  <a:lnTo>
                    <a:pt x="292" y="450"/>
                  </a:lnTo>
                  <a:lnTo>
                    <a:pt x="286" y="458"/>
                  </a:lnTo>
                  <a:lnTo>
                    <a:pt x="282" y="464"/>
                  </a:lnTo>
                  <a:lnTo>
                    <a:pt x="280" y="468"/>
                  </a:lnTo>
                  <a:lnTo>
                    <a:pt x="276" y="474"/>
                  </a:lnTo>
                  <a:lnTo>
                    <a:pt x="268" y="480"/>
                  </a:lnTo>
                  <a:lnTo>
                    <a:pt x="256" y="492"/>
                  </a:lnTo>
                  <a:lnTo>
                    <a:pt x="256" y="496"/>
                  </a:lnTo>
                  <a:lnTo>
                    <a:pt x="252" y="500"/>
                  </a:lnTo>
                  <a:lnTo>
                    <a:pt x="250" y="500"/>
                  </a:lnTo>
                  <a:lnTo>
                    <a:pt x="246" y="502"/>
                  </a:lnTo>
                  <a:lnTo>
                    <a:pt x="244" y="502"/>
                  </a:lnTo>
                  <a:lnTo>
                    <a:pt x="242" y="502"/>
                  </a:lnTo>
                  <a:lnTo>
                    <a:pt x="236" y="504"/>
                  </a:lnTo>
                  <a:lnTo>
                    <a:pt x="236" y="506"/>
                  </a:lnTo>
                  <a:lnTo>
                    <a:pt x="234" y="506"/>
                  </a:lnTo>
                  <a:lnTo>
                    <a:pt x="230" y="504"/>
                  </a:lnTo>
                  <a:lnTo>
                    <a:pt x="228" y="502"/>
                  </a:lnTo>
                  <a:lnTo>
                    <a:pt x="222" y="500"/>
                  </a:lnTo>
                  <a:lnTo>
                    <a:pt x="218" y="500"/>
                  </a:lnTo>
                  <a:lnTo>
                    <a:pt x="212" y="498"/>
                  </a:lnTo>
                  <a:lnTo>
                    <a:pt x="210" y="498"/>
                  </a:lnTo>
                  <a:lnTo>
                    <a:pt x="206" y="500"/>
                  </a:lnTo>
                  <a:lnTo>
                    <a:pt x="204" y="500"/>
                  </a:lnTo>
                  <a:lnTo>
                    <a:pt x="198" y="502"/>
                  </a:lnTo>
                  <a:lnTo>
                    <a:pt x="194" y="502"/>
                  </a:lnTo>
                  <a:lnTo>
                    <a:pt x="192" y="500"/>
                  </a:lnTo>
                  <a:lnTo>
                    <a:pt x="192" y="498"/>
                  </a:lnTo>
                  <a:lnTo>
                    <a:pt x="190" y="496"/>
                  </a:lnTo>
                  <a:lnTo>
                    <a:pt x="184" y="492"/>
                  </a:lnTo>
                  <a:lnTo>
                    <a:pt x="182" y="492"/>
                  </a:lnTo>
                  <a:lnTo>
                    <a:pt x="180" y="494"/>
                  </a:lnTo>
                  <a:lnTo>
                    <a:pt x="176" y="496"/>
                  </a:lnTo>
                  <a:lnTo>
                    <a:pt x="172" y="496"/>
                  </a:lnTo>
                  <a:lnTo>
                    <a:pt x="170" y="494"/>
                  </a:lnTo>
                  <a:lnTo>
                    <a:pt x="168" y="494"/>
                  </a:lnTo>
                  <a:lnTo>
                    <a:pt x="166" y="494"/>
                  </a:lnTo>
                  <a:lnTo>
                    <a:pt x="164" y="492"/>
                  </a:lnTo>
                  <a:lnTo>
                    <a:pt x="162" y="490"/>
                  </a:lnTo>
                  <a:lnTo>
                    <a:pt x="154" y="484"/>
                  </a:lnTo>
                  <a:lnTo>
                    <a:pt x="152" y="482"/>
                  </a:lnTo>
                  <a:lnTo>
                    <a:pt x="148" y="480"/>
                  </a:lnTo>
                  <a:lnTo>
                    <a:pt x="146" y="478"/>
                  </a:lnTo>
                  <a:lnTo>
                    <a:pt x="140" y="478"/>
                  </a:lnTo>
                  <a:lnTo>
                    <a:pt x="136" y="476"/>
                  </a:lnTo>
                  <a:lnTo>
                    <a:pt x="134" y="476"/>
                  </a:lnTo>
                  <a:lnTo>
                    <a:pt x="132" y="476"/>
                  </a:lnTo>
                  <a:lnTo>
                    <a:pt x="132" y="478"/>
                  </a:lnTo>
                  <a:lnTo>
                    <a:pt x="130" y="478"/>
                  </a:lnTo>
                  <a:lnTo>
                    <a:pt x="128" y="478"/>
                  </a:lnTo>
                  <a:lnTo>
                    <a:pt x="126" y="478"/>
                  </a:lnTo>
                  <a:lnTo>
                    <a:pt x="124" y="478"/>
                  </a:lnTo>
                  <a:lnTo>
                    <a:pt x="122" y="476"/>
                  </a:lnTo>
                  <a:lnTo>
                    <a:pt x="120" y="476"/>
                  </a:lnTo>
                  <a:lnTo>
                    <a:pt x="112" y="476"/>
                  </a:lnTo>
                  <a:lnTo>
                    <a:pt x="102" y="478"/>
                  </a:lnTo>
                  <a:lnTo>
                    <a:pt x="92" y="480"/>
                  </a:lnTo>
                  <a:lnTo>
                    <a:pt x="74" y="482"/>
                  </a:lnTo>
                  <a:lnTo>
                    <a:pt x="72" y="482"/>
                  </a:lnTo>
                  <a:lnTo>
                    <a:pt x="60" y="476"/>
                  </a:lnTo>
                  <a:lnTo>
                    <a:pt x="54" y="468"/>
                  </a:lnTo>
                  <a:lnTo>
                    <a:pt x="38" y="454"/>
                  </a:lnTo>
                  <a:lnTo>
                    <a:pt x="26" y="440"/>
                  </a:lnTo>
                  <a:lnTo>
                    <a:pt x="16" y="432"/>
                  </a:lnTo>
                  <a:lnTo>
                    <a:pt x="12" y="428"/>
                  </a:lnTo>
                  <a:lnTo>
                    <a:pt x="10" y="428"/>
                  </a:lnTo>
                  <a:lnTo>
                    <a:pt x="6" y="424"/>
                  </a:lnTo>
                  <a:lnTo>
                    <a:pt x="6" y="420"/>
                  </a:lnTo>
                  <a:lnTo>
                    <a:pt x="6" y="418"/>
                  </a:lnTo>
                  <a:lnTo>
                    <a:pt x="6" y="416"/>
                  </a:lnTo>
                  <a:lnTo>
                    <a:pt x="4" y="412"/>
                  </a:lnTo>
                  <a:lnTo>
                    <a:pt x="2" y="410"/>
                  </a:lnTo>
                  <a:lnTo>
                    <a:pt x="0" y="408"/>
                  </a:lnTo>
                  <a:lnTo>
                    <a:pt x="0" y="406"/>
                  </a:lnTo>
                  <a:lnTo>
                    <a:pt x="0" y="400"/>
                  </a:lnTo>
                  <a:lnTo>
                    <a:pt x="0" y="380"/>
                  </a:lnTo>
                  <a:lnTo>
                    <a:pt x="0" y="372"/>
                  </a:lnTo>
                  <a:lnTo>
                    <a:pt x="0" y="346"/>
                  </a:lnTo>
                  <a:lnTo>
                    <a:pt x="0" y="344"/>
                  </a:lnTo>
                  <a:lnTo>
                    <a:pt x="0" y="340"/>
                  </a:lnTo>
                  <a:lnTo>
                    <a:pt x="0" y="336"/>
                  </a:lnTo>
                  <a:lnTo>
                    <a:pt x="0" y="320"/>
                  </a:lnTo>
                  <a:lnTo>
                    <a:pt x="0" y="298"/>
                  </a:lnTo>
                  <a:lnTo>
                    <a:pt x="0" y="296"/>
                  </a:lnTo>
                  <a:lnTo>
                    <a:pt x="0" y="294"/>
                  </a:lnTo>
                  <a:lnTo>
                    <a:pt x="0" y="282"/>
                  </a:lnTo>
                  <a:lnTo>
                    <a:pt x="0" y="270"/>
                  </a:lnTo>
                  <a:lnTo>
                    <a:pt x="0" y="262"/>
                  </a:lnTo>
                  <a:lnTo>
                    <a:pt x="2" y="246"/>
                  </a:lnTo>
                  <a:lnTo>
                    <a:pt x="26" y="246"/>
                  </a:lnTo>
                  <a:lnTo>
                    <a:pt x="52" y="246"/>
                  </a:lnTo>
                  <a:lnTo>
                    <a:pt x="66" y="246"/>
                  </a:lnTo>
                  <a:lnTo>
                    <a:pt x="72" y="246"/>
                  </a:lnTo>
                  <a:lnTo>
                    <a:pt x="80" y="246"/>
                  </a:lnTo>
                  <a:lnTo>
                    <a:pt x="96" y="246"/>
                  </a:lnTo>
                  <a:lnTo>
                    <a:pt x="102" y="246"/>
                  </a:lnTo>
                  <a:lnTo>
                    <a:pt x="102" y="244"/>
                  </a:lnTo>
                  <a:lnTo>
                    <a:pt x="102" y="242"/>
                  </a:lnTo>
                  <a:lnTo>
                    <a:pt x="100" y="240"/>
                  </a:lnTo>
                  <a:lnTo>
                    <a:pt x="98" y="238"/>
                  </a:lnTo>
                  <a:lnTo>
                    <a:pt x="96" y="238"/>
                  </a:lnTo>
                  <a:lnTo>
                    <a:pt x="96" y="234"/>
                  </a:lnTo>
                  <a:lnTo>
                    <a:pt x="102" y="220"/>
                  </a:lnTo>
                  <a:lnTo>
                    <a:pt x="104" y="216"/>
                  </a:lnTo>
                  <a:lnTo>
                    <a:pt x="104" y="210"/>
                  </a:lnTo>
                  <a:lnTo>
                    <a:pt x="104" y="208"/>
                  </a:lnTo>
                  <a:lnTo>
                    <a:pt x="102" y="206"/>
                  </a:lnTo>
                  <a:lnTo>
                    <a:pt x="102" y="188"/>
                  </a:lnTo>
                  <a:lnTo>
                    <a:pt x="104" y="186"/>
                  </a:lnTo>
                  <a:lnTo>
                    <a:pt x="102" y="180"/>
                  </a:lnTo>
                  <a:lnTo>
                    <a:pt x="102" y="178"/>
                  </a:lnTo>
                  <a:lnTo>
                    <a:pt x="104" y="166"/>
                  </a:lnTo>
                  <a:lnTo>
                    <a:pt x="106" y="166"/>
                  </a:lnTo>
                  <a:lnTo>
                    <a:pt x="108" y="164"/>
                  </a:lnTo>
                  <a:lnTo>
                    <a:pt x="104" y="156"/>
                  </a:lnTo>
                  <a:lnTo>
                    <a:pt x="104" y="150"/>
                  </a:lnTo>
                  <a:lnTo>
                    <a:pt x="102" y="140"/>
                  </a:lnTo>
                  <a:lnTo>
                    <a:pt x="102" y="138"/>
                  </a:lnTo>
                  <a:lnTo>
                    <a:pt x="106" y="138"/>
                  </a:lnTo>
                  <a:lnTo>
                    <a:pt x="108" y="138"/>
                  </a:lnTo>
                  <a:lnTo>
                    <a:pt x="110" y="140"/>
                  </a:lnTo>
                  <a:lnTo>
                    <a:pt x="110" y="142"/>
                  </a:lnTo>
                  <a:lnTo>
                    <a:pt x="114" y="146"/>
                  </a:lnTo>
                  <a:lnTo>
                    <a:pt x="120" y="146"/>
                  </a:lnTo>
                  <a:lnTo>
                    <a:pt x="122" y="148"/>
                  </a:lnTo>
                  <a:lnTo>
                    <a:pt x="124" y="150"/>
                  </a:lnTo>
                  <a:lnTo>
                    <a:pt x="124" y="154"/>
                  </a:lnTo>
                  <a:lnTo>
                    <a:pt x="124" y="158"/>
                  </a:lnTo>
                  <a:lnTo>
                    <a:pt x="122" y="162"/>
                  </a:lnTo>
                  <a:lnTo>
                    <a:pt x="122" y="164"/>
                  </a:lnTo>
                  <a:lnTo>
                    <a:pt x="126" y="168"/>
                  </a:lnTo>
                  <a:lnTo>
                    <a:pt x="130" y="168"/>
                  </a:lnTo>
                  <a:lnTo>
                    <a:pt x="132" y="166"/>
                  </a:lnTo>
                  <a:lnTo>
                    <a:pt x="134" y="164"/>
                  </a:lnTo>
                  <a:lnTo>
                    <a:pt x="138" y="162"/>
                  </a:lnTo>
                  <a:lnTo>
                    <a:pt x="140" y="160"/>
                  </a:lnTo>
                  <a:lnTo>
                    <a:pt x="154" y="158"/>
                  </a:lnTo>
                  <a:lnTo>
                    <a:pt x="156" y="158"/>
                  </a:lnTo>
                  <a:lnTo>
                    <a:pt x="160" y="158"/>
                  </a:lnTo>
                  <a:lnTo>
                    <a:pt x="164" y="156"/>
                  </a:lnTo>
                  <a:lnTo>
                    <a:pt x="168" y="156"/>
                  </a:lnTo>
                  <a:lnTo>
                    <a:pt x="168" y="154"/>
                  </a:lnTo>
                  <a:lnTo>
                    <a:pt x="170" y="154"/>
                  </a:lnTo>
                  <a:lnTo>
                    <a:pt x="172" y="154"/>
                  </a:lnTo>
                  <a:lnTo>
                    <a:pt x="172" y="158"/>
                  </a:lnTo>
                  <a:lnTo>
                    <a:pt x="170" y="160"/>
                  </a:lnTo>
                  <a:lnTo>
                    <a:pt x="168" y="162"/>
                  </a:lnTo>
                  <a:lnTo>
                    <a:pt x="170" y="170"/>
                  </a:lnTo>
                  <a:lnTo>
                    <a:pt x="170" y="172"/>
                  </a:lnTo>
                  <a:lnTo>
                    <a:pt x="172" y="176"/>
                  </a:lnTo>
                  <a:lnTo>
                    <a:pt x="178" y="180"/>
                  </a:lnTo>
                  <a:lnTo>
                    <a:pt x="190" y="184"/>
                  </a:lnTo>
                  <a:lnTo>
                    <a:pt x="196" y="184"/>
                  </a:lnTo>
                  <a:lnTo>
                    <a:pt x="204" y="190"/>
                  </a:lnTo>
                  <a:lnTo>
                    <a:pt x="206" y="190"/>
                  </a:lnTo>
                  <a:lnTo>
                    <a:pt x="208" y="190"/>
                  </a:lnTo>
                  <a:lnTo>
                    <a:pt x="214" y="190"/>
                  </a:lnTo>
                  <a:lnTo>
                    <a:pt x="226" y="190"/>
                  </a:lnTo>
                  <a:lnTo>
                    <a:pt x="228" y="190"/>
                  </a:lnTo>
                  <a:lnTo>
                    <a:pt x="228" y="192"/>
                  </a:lnTo>
                  <a:lnTo>
                    <a:pt x="234" y="194"/>
                  </a:lnTo>
                  <a:lnTo>
                    <a:pt x="238" y="194"/>
                  </a:lnTo>
                  <a:lnTo>
                    <a:pt x="242" y="194"/>
                  </a:lnTo>
                  <a:lnTo>
                    <a:pt x="248" y="194"/>
                  </a:lnTo>
                  <a:lnTo>
                    <a:pt x="250" y="194"/>
                  </a:lnTo>
                  <a:lnTo>
                    <a:pt x="254" y="190"/>
                  </a:lnTo>
                  <a:lnTo>
                    <a:pt x="254" y="188"/>
                  </a:lnTo>
                  <a:lnTo>
                    <a:pt x="254" y="186"/>
                  </a:lnTo>
                  <a:lnTo>
                    <a:pt x="254" y="184"/>
                  </a:lnTo>
                  <a:lnTo>
                    <a:pt x="256" y="174"/>
                  </a:lnTo>
                  <a:lnTo>
                    <a:pt x="266" y="174"/>
                  </a:lnTo>
                  <a:lnTo>
                    <a:pt x="266" y="178"/>
                  </a:lnTo>
                  <a:lnTo>
                    <a:pt x="266" y="180"/>
                  </a:lnTo>
                  <a:lnTo>
                    <a:pt x="266" y="182"/>
                  </a:lnTo>
                  <a:lnTo>
                    <a:pt x="266" y="184"/>
                  </a:lnTo>
                  <a:lnTo>
                    <a:pt x="268" y="184"/>
                  </a:lnTo>
                  <a:lnTo>
                    <a:pt x="268" y="186"/>
                  </a:lnTo>
                  <a:lnTo>
                    <a:pt x="274" y="188"/>
                  </a:lnTo>
                  <a:lnTo>
                    <a:pt x="274" y="190"/>
                  </a:lnTo>
                  <a:lnTo>
                    <a:pt x="276" y="190"/>
                  </a:lnTo>
                  <a:lnTo>
                    <a:pt x="278" y="192"/>
                  </a:lnTo>
                  <a:lnTo>
                    <a:pt x="280" y="194"/>
                  </a:lnTo>
                  <a:lnTo>
                    <a:pt x="280" y="196"/>
                  </a:lnTo>
                  <a:lnTo>
                    <a:pt x="280" y="198"/>
                  </a:lnTo>
                  <a:lnTo>
                    <a:pt x="282" y="204"/>
                  </a:lnTo>
                  <a:lnTo>
                    <a:pt x="284" y="206"/>
                  </a:lnTo>
                  <a:lnTo>
                    <a:pt x="286" y="206"/>
                  </a:lnTo>
                  <a:lnTo>
                    <a:pt x="288" y="208"/>
                  </a:lnTo>
                  <a:lnTo>
                    <a:pt x="288" y="210"/>
                  </a:lnTo>
                  <a:lnTo>
                    <a:pt x="296" y="210"/>
                  </a:lnTo>
                  <a:lnTo>
                    <a:pt x="298" y="210"/>
                  </a:lnTo>
                  <a:lnTo>
                    <a:pt x="298" y="208"/>
                  </a:lnTo>
                  <a:lnTo>
                    <a:pt x="300" y="208"/>
                  </a:lnTo>
                  <a:lnTo>
                    <a:pt x="302" y="210"/>
                  </a:lnTo>
                  <a:lnTo>
                    <a:pt x="304" y="212"/>
                  </a:lnTo>
                  <a:lnTo>
                    <a:pt x="308" y="214"/>
                  </a:lnTo>
                  <a:lnTo>
                    <a:pt x="314" y="218"/>
                  </a:lnTo>
                  <a:lnTo>
                    <a:pt x="318" y="218"/>
                  </a:lnTo>
                  <a:lnTo>
                    <a:pt x="322" y="218"/>
                  </a:lnTo>
                  <a:lnTo>
                    <a:pt x="328" y="222"/>
                  </a:lnTo>
                  <a:lnTo>
                    <a:pt x="332" y="228"/>
                  </a:lnTo>
                  <a:lnTo>
                    <a:pt x="332" y="230"/>
                  </a:lnTo>
                  <a:lnTo>
                    <a:pt x="332" y="232"/>
                  </a:lnTo>
                  <a:lnTo>
                    <a:pt x="330" y="232"/>
                  </a:lnTo>
                  <a:lnTo>
                    <a:pt x="332" y="234"/>
                  </a:lnTo>
                  <a:lnTo>
                    <a:pt x="334" y="240"/>
                  </a:lnTo>
                  <a:lnTo>
                    <a:pt x="336" y="240"/>
                  </a:lnTo>
                  <a:lnTo>
                    <a:pt x="338" y="238"/>
                  </a:lnTo>
                  <a:lnTo>
                    <a:pt x="340" y="238"/>
                  </a:lnTo>
                  <a:lnTo>
                    <a:pt x="342" y="242"/>
                  </a:lnTo>
                  <a:lnTo>
                    <a:pt x="346" y="248"/>
                  </a:lnTo>
                  <a:lnTo>
                    <a:pt x="352" y="254"/>
                  </a:lnTo>
                  <a:lnTo>
                    <a:pt x="352" y="260"/>
                  </a:lnTo>
                  <a:lnTo>
                    <a:pt x="352" y="264"/>
                  </a:lnTo>
                  <a:lnTo>
                    <a:pt x="354" y="266"/>
                  </a:lnTo>
                  <a:lnTo>
                    <a:pt x="356" y="268"/>
                  </a:lnTo>
                  <a:lnTo>
                    <a:pt x="358" y="268"/>
                  </a:lnTo>
                  <a:lnTo>
                    <a:pt x="358" y="266"/>
                  </a:lnTo>
                  <a:lnTo>
                    <a:pt x="360" y="266"/>
                  </a:lnTo>
                  <a:lnTo>
                    <a:pt x="364" y="270"/>
                  </a:lnTo>
                  <a:lnTo>
                    <a:pt x="372" y="266"/>
                  </a:lnTo>
                  <a:lnTo>
                    <a:pt x="378" y="262"/>
                  </a:lnTo>
                  <a:lnTo>
                    <a:pt x="380" y="262"/>
                  </a:lnTo>
                  <a:lnTo>
                    <a:pt x="382" y="260"/>
                  </a:lnTo>
                  <a:lnTo>
                    <a:pt x="384" y="260"/>
                  </a:lnTo>
                  <a:lnTo>
                    <a:pt x="384" y="258"/>
                  </a:lnTo>
                  <a:lnTo>
                    <a:pt x="386" y="258"/>
                  </a:lnTo>
                  <a:lnTo>
                    <a:pt x="390" y="260"/>
                  </a:lnTo>
                  <a:lnTo>
                    <a:pt x="390" y="262"/>
                  </a:lnTo>
                  <a:lnTo>
                    <a:pt x="388" y="262"/>
                  </a:lnTo>
                  <a:lnTo>
                    <a:pt x="386" y="266"/>
                  </a:lnTo>
                  <a:lnTo>
                    <a:pt x="388" y="268"/>
                  </a:lnTo>
                  <a:lnTo>
                    <a:pt x="388" y="270"/>
                  </a:lnTo>
                  <a:lnTo>
                    <a:pt x="392" y="270"/>
                  </a:lnTo>
                  <a:lnTo>
                    <a:pt x="396" y="270"/>
                  </a:lnTo>
                  <a:lnTo>
                    <a:pt x="396" y="268"/>
                  </a:lnTo>
                  <a:lnTo>
                    <a:pt x="396" y="256"/>
                  </a:lnTo>
                  <a:lnTo>
                    <a:pt x="396" y="236"/>
                  </a:lnTo>
                  <a:lnTo>
                    <a:pt x="396" y="224"/>
                  </a:lnTo>
                  <a:lnTo>
                    <a:pt x="396" y="220"/>
                  </a:lnTo>
                  <a:lnTo>
                    <a:pt x="398" y="206"/>
                  </a:lnTo>
                  <a:lnTo>
                    <a:pt x="398" y="204"/>
                  </a:lnTo>
                  <a:lnTo>
                    <a:pt x="396" y="204"/>
                  </a:lnTo>
                  <a:lnTo>
                    <a:pt x="386" y="206"/>
                  </a:lnTo>
                  <a:lnTo>
                    <a:pt x="380" y="208"/>
                  </a:lnTo>
                  <a:lnTo>
                    <a:pt x="380" y="212"/>
                  </a:lnTo>
                  <a:lnTo>
                    <a:pt x="382" y="216"/>
                  </a:lnTo>
                  <a:lnTo>
                    <a:pt x="384" y="216"/>
                  </a:lnTo>
                  <a:lnTo>
                    <a:pt x="384" y="218"/>
                  </a:lnTo>
                  <a:lnTo>
                    <a:pt x="382" y="218"/>
                  </a:lnTo>
                  <a:lnTo>
                    <a:pt x="380" y="218"/>
                  </a:lnTo>
                  <a:lnTo>
                    <a:pt x="376" y="218"/>
                  </a:lnTo>
                  <a:lnTo>
                    <a:pt x="370" y="214"/>
                  </a:lnTo>
                  <a:lnTo>
                    <a:pt x="366" y="214"/>
                  </a:lnTo>
                  <a:lnTo>
                    <a:pt x="364" y="214"/>
                  </a:lnTo>
                  <a:lnTo>
                    <a:pt x="362" y="216"/>
                  </a:lnTo>
                  <a:lnTo>
                    <a:pt x="360" y="216"/>
                  </a:lnTo>
                  <a:lnTo>
                    <a:pt x="358" y="214"/>
                  </a:lnTo>
                  <a:lnTo>
                    <a:pt x="356" y="210"/>
                  </a:lnTo>
                  <a:lnTo>
                    <a:pt x="352" y="206"/>
                  </a:lnTo>
                  <a:lnTo>
                    <a:pt x="352" y="204"/>
                  </a:lnTo>
                  <a:lnTo>
                    <a:pt x="348" y="200"/>
                  </a:lnTo>
                  <a:lnTo>
                    <a:pt x="342" y="196"/>
                  </a:lnTo>
                  <a:lnTo>
                    <a:pt x="340" y="194"/>
                  </a:lnTo>
                  <a:lnTo>
                    <a:pt x="338" y="194"/>
                  </a:lnTo>
                  <a:lnTo>
                    <a:pt x="332" y="188"/>
                  </a:lnTo>
                  <a:lnTo>
                    <a:pt x="330" y="184"/>
                  </a:lnTo>
                  <a:lnTo>
                    <a:pt x="330" y="182"/>
                  </a:lnTo>
                  <a:lnTo>
                    <a:pt x="328" y="178"/>
                  </a:lnTo>
                  <a:lnTo>
                    <a:pt x="328" y="176"/>
                  </a:lnTo>
                  <a:lnTo>
                    <a:pt x="326" y="174"/>
                  </a:lnTo>
                  <a:lnTo>
                    <a:pt x="324" y="172"/>
                  </a:lnTo>
                  <a:lnTo>
                    <a:pt x="324" y="170"/>
                  </a:lnTo>
                  <a:lnTo>
                    <a:pt x="324" y="168"/>
                  </a:lnTo>
                  <a:lnTo>
                    <a:pt x="324" y="166"/>
                  </a:lnTo>
                  <a:lnTo>
                    <a:pt x="328" y="162"/>
                  </a:lnTo>
                  <a:lnTo>
                    <a:pt x="330" y="156"/>
                  </a:lnTo>
                  <a:lnTo>
                    <a:pt x="332" y="152"/>
                  </a:lnTo>
                  <a:lnTo>
                    <a:pt x="334" y="142"/>
                  </a:lnTo>
                  <a:lnTo>
                    <a:pt x="334" y="136"/>
                  </a:lnTo>
                  <a:lnTo>
                    <a:pt x="336" y="132"/>
                  </a:lnTo>
                  <a:lnTo>
                    <a:pt x="338" y="130"/>
                  </a:lnTo>
                  <a:lnTo>
                    <a:pt x="340" y="130"/>
                  </a:lnTo>
                  <a:lnTo>
                    <a:pt x="342" y="126"/>
                  </a:lnTo>
                  <a:lnTo>
                    <a:pt x="342" y="120"/>
                  </a:lnTo>
                  <a:lnTo>
                    <a:pt x="340" y="120"/>
                  </a:lnTo>
                  <a:lnTo>
                    <a:pt x="338" y="106"/>
                  </a:lnTo>
                  <a:lnTo>
                    <a:pt x="340" y="100"/>
                  </a:lnTo>
                  <a:lnTo>
                    <a:pt x="340" y="92"/>
                  </a:lnTo>
                  <a:lnTo>
                    <a:pt x="340" y="90"/>
                  </a:lnTo>
                  <a:lnTo>
                    <a:pt x="340" y="88"/>
                  </a:lnTo>
                  <a:lnTo>
                    <a:pt x="342" y="86"/>
                  </a:lnTo>
                  <a:lnTo>
                    <a:pt x="342" y="82"/>
                  </a:lnTo>
                  <a:lnTo>
                    <a:pt x="342" y="80"/>
                  </a:lnTo>
                  <a:lnTo>
                    <a:pt x="336" y="64"/>
                  </a:lnTo>
                  <a:lnTo>
                    <a:pt x="334" y="60"/>
                  </a:lnTo>
                  <a:lnTo>
                    <a:pt x="332" y="58"/>
                  </a:lnTo>
                  <a:lnTo>
                    <a:pt x="330" y="58"/>
                  </a:lnTo>
                  <a:lnTo>
                    <a:pt x="328" y="56"/>
                  </a:lnTo>
                  <a:lnTo>
                    <a:pt x="326" y="56"/>
                  </a:lnTo>
                  <a:lnTo>
                    <a:pt x="328" y="54"/>
                  </a:lnTo>
                  <a:lnTo>
                    <a:pt x="330" y="52"/>
                  </a:lnTo>
                  <a:lnTo>
                    <a:pt x="332" y="52"/>
                  </a:lnTo>
                  <a:lnTo>
                    <a:pt x="334" y="50"/>
                  </a:lnTo>
                  <a:lnTo>
                    <a:pt x="338" y="46"/>
                  </a:lnTo>
                  <a:lnTo>
                    <a:pt x="340" y="46"/>
                  </a:lnTo>
                  <a:lnTo>
                    <a:pt x="344" y="42"/>
                  </a:lnTo>
                  <a:lnTo>
                    <a:pt x="344" y="40"/>
                  </a:lnTo>
                  <a:lnTo>
                    <a:pt x="350" y="36"/>
                  </a:lnTo>
                  <a:lnTo>
                    <a:pt x="352" y="34"/>
                  </a:lnTo>
                  <a:lnTo>
                    <a:pt x="352" y="32"/>
                  </a:lnTo>
                  <a:lnTo>
                    <a:pt x="356" y="28"/>
                  </a:lnTo>
                  <a:lnTo>
                    <a:pt x="356" y="24"/>
                  </a:lnTo>
                  <a:lnTo>
                    <a:pt x="358" y="24"/>
                  </a:lnTo>
                  <a:lnTo>
                    <a:pt x="358" y="22"/>
                  </a:lnTo>
                  <a:lnTo>
                    <a:pt x="356" y="20"/>
                  </a:lnTo>
                  <a:lnTo>
                    <a:pt x="356" y="18"/>
                  </a:lnTo>
                  <a:lnTo>
                    <a:pt x="354" y="14"/>
                  </a:lnTo>
                  <a:lnTo>
                    <a:pt x="356" y="14"/>
                  </a:lnTo>
                  <a:lnTo>
                    <a:pt x="358" y="14"/>
                  </a:lnTo>
                  <a:lnTo>
                    <a:pt x="370" y="12"/>
                  </a:lnTo>
                  <a:lnTo>
                    <a:pt x="372" y="12"/>
                  </a:lnTo>
                  <a:lnTo>
                    <a:pt x="380" y="10"/>
                  </a:lnTo>
                  <a:lnTo>
                    <a:pt x="388" y="10"/>
                  </a:lnTo>
                  <a:lnTo>
                    <a:pt x="390" y="10"/>
                  </a:lnTo>
                  <a:lnTo>
                    <a:pt x="406" y="6"/>
                  </a:lnTo>
                  <a:lnTo>
                    <a:pt x="414" y="4"/>
                  </a:lnTo>
                  <a:lnTo>
                    <a:pt x="424" y="4"/>
                  </a:lnTo>
                  <a:lnTo>
                    <a:pt x="432" y="2"/>
                  </a:lnTo>
                  <a:lnTo>
                    <a:pt x="436" y="2"/>
                  </a:lnTo>
                  <a:lnTo>
                    <a:pt x="448" y="0"/>
                  </a:lnTo>
                  <a:lnTo>
                    <a:pt x="450" y="0"/>
                  </a:lnTo>
                  <a:lnTo>
                    <a:pt x="450" y="4"/>
                  </a:lnTo>
                  <a:lnTo>
                    <a:pt x="452" y="8"/>
                  </a:lnTo>
                  <a:lnTo>
                    <a:pt x="454" y="10"/>
                  </a:lnTo>
                  <a:lnTo>
                    <a:pt x="456" y="14"/>
                  </a:lnTo>
                  <a:lnTo>
                    <a:pt x="460" y="18"/>
                  </a:lnTo>
                  <a:lnTo>
                    <a:pt x="462" y="20"/>
                  </a:lnTo>
                  <a:lnTo>
                    <a:pt x="464" y="20"/>
                  </a:lnTo>
                  <a:lnTo>
                    <a:pt x="466" y="22"/>
                  </a:lnTo>
                  <a:lnTo>
                    <a:pt x="468" y="22"/>
                  </a:lnTo>
                  <a:lnTo>
                    <a:pt x="470" y="20"/>
                  </a:lnTo>
                  <a:lnTo>
                    <a:pt x="472" y="20"/>
                  </a:lnTo>
                  <a:lnTo>
                    <a:pt x="476" y="22"/>
                  </a:lnTo>
                  <a:lnTo>
                    <a:pt x="482" y="22"/>
                  </a:lnTo>
                  <a:lnTo>
                    <a:pt x="486" y="24"/>
                  </a:lnTo>
                  <a:lnTo>
                    <a:pt x="490" y="28"/>
                  </a:lnTo>
                  <a:lnTo>
                    <a:pt x="490" y="32"/>
                  </a:lnTo>
                  <a:lnTo>
                    <a:pt x="492" y="32"/>
                  </a:lnTo>
                  <a:lnTo>
                    <a:pt x="496" y="36"/>
                  </a:lnTo>
                  <a:lnTo>
                    <a:pt x="498" y="36"/>
                  </a:lnTo>
                  <a:lnTo>
                    <a:pt x="502" y="34"/>
                  </a:lnTo>
                  <a:lnTo>
                    <a:pt x="504" y="36"/>
                  </a:lnTo>
                  <a:lnTo>
                    <a:pt x="506" y="36"/>
                  </a:lnTo>
                  <a:lnTo>
                    <a:pt x="510" y="38"/>
                  </a:lnTo>
                  <a:lnTo>
                    <a:pt x="508" y="38"/>
                  </a:lnTo>
                  <a:lnTo>
                    <a:pt x="508" y="40"/>
                  </a:lnTo>
                  <a:lnTo>
                    <a:pt x="508" y="42"/>
                  </a:lnTo>
                  <a:lnTo>
                    <a:pt x="508" y="44"/>
                  </a:lnTo>
                  <a:lnTo>
                    <a:pt x="512" y="44"/>
                  </a:lnTo>
                  <a:lnTo>
                    <a:pt x="514" y="44"/>
                  </a:lnTo>
                  <a:lnTo>
                    <a:pt x="516" y="44"/>
                  </a:lnTo>
                  <a:lnTo>
                    <a:pt x="520" y="44"/>
                  </a:lnTo>
                  <a:lnTo>
                    <a:pt x="522" y="46"/>
                  </a:lnTo>
                  <a:lnTo>
                    <a:pt x="524" y="48"/>
                  </a:lnTo>
                  <a:lnTo>
                    <a:pt x="526" y="48"/>
                  </a:lnTo>
                  <a:lnTo>
                    <a:pt x="530" y="48"/>
                  </a:lnTo>
                  <a:lnTo>
                    <a:pt x="534" y="48"/>
                  </a:lnTo>
                  <a:lnTo>
                    <a:pt x="538" y="50"/>
                  </a:lnTo>
                  <a:lnTo>
                    <a:pt x="538" y="52"/>
                  </a:lnTo>
                  <a:lnTo>
                    <a:pt x="540" y="54"/>
                  </a:lnTo>
                  <a:lnTo>
                    <a:pt x="544" y="54"/>
                  </a:lnTo>
                  <a:lnTo>
                    <a:pt x="548" y="56"/>
                  </a:lnTo>
                  <a:lnTo>
                    <a:pt x="550" y="58"/>
                  </a:lnTo>
                  <a:lnTo>
                    <a:pt x="554" y="60"/>
                  </a:lnTo>
                  <a:lnTo>
                    <a:pt x="556" y="60"/>
                  </a:lnTo>
                  <a:lnTo>
                    <a:pt x="558" y="62"/>
                  </a:lnTo>
                  <a:lnTo>
                    <a:pt x="560" y="62"/>
                  </a:lnTo>
                  <a:lnTo>
                    <a:pt x="560" y="64"/>
                  </a:lnTo>
                  <a:lnTo>
                    <a:pt x="560" y="66"/>
                  </a:lnTo>
                  <a:lnTo>
                    <a:pt x="562" y="74"/>
                  </a:lnTo>
                  <a:lnTo>
                    <a:pt x="564" y="74"/>
                  </a:lnTo>
                  <a:lnTo>
                    <a:pt x="566" y="74"/>
                  </a:lnTo>
                  <a:lnTo>
                    <a:pt x="568" y="74"/>
                  </a:lnTo>
                  <a:lnTo>
                    <a:pt x="570" y="72"/>
                  </a:lnTo>
                  <a:lnTo>
                    <a:pt x="572" y="72"/>
                  </a:lnTo>
                  <a:lnTo>
                    <a:pt x="574" y="74"/>
                  </a:lnTo>
                  <a:lnTo>
                    <a:pt x="574" y="76"/>
                  </a:lnTo>
                  <a:lnTo>
                    <a:pt x="574" y="78"/>
                  </a:lnTo>
                  <a:lnTo>
                    <a:pt x="578" y="82"/>
                  </a:lnTo>
                  <a:lnTo>
                    <a:pt x="580" y="82"/>
                  </a:lnTo>
                  <a:lnTo>
                    <a:pt x="582" y="88"/>
                  </a:lnTo>
                  <a:lnTo>
                    <a:pt x="580" y="92"/>
                  </a:lnTo>
                  <a:lnTo>
                    <a:pt x="580" y="96"/>
                  </a:lnTo>
                  <a:lnTo>
                    <a:pt x="586" y="100"/>
                  </a:lnTo>
                  <a:lnTo>
                    <a:pt x="590" y="104"/>
                  </a:lnTo>
                  <a:lnTo>
                    <a:pt x="590" y="106"/>
                  </a:lnTo>
                  <a:lnTo>
                    <a:pt x="590" y="108"/>
                  </a:lnTo>
                  <a:lnTo>
                    <a:pt x="590" y="110"/>
                  </a:lnTo>
                  <a:lnTo>
                    <a:pt x="592" y="112"/>
                  </a:lnTo>
                  <a:lnTo>
                    <a:pt x="594" y="118"/>
                  </a:lnTo>
                  <a:lnTo>
                    <a:pt x="596" y="120"/>
                  </a:lnTo>
                  <a:lnTo>
                    <a:pt x="598" y="122"/>
                  </a:lnTo>
                  <a:lnTo>
                    <a:pt x="596" y="122"/>
                  </a:lnTo>
                  <a:lnTo>
                    <a:pt x="596" y="124"/>
                  </a:lnTo>
                  <a:lnTo>
                    <a:pt x="594" y="124"/>
                  </a:lnTo>
                  <a:lnTo>
                    <a:pt x="592" y="126"/>
                  </a:lnTo>
                  <a:lnTo>
                    <a:pt x="590" y="130"/>
                  </a:lnTo>
                  <a:lnTo>
                    <a:pt x="588" y="132"/>
                  </a:lnTo>
                  <a:lnTo>
                    <a:pt x="584" y="134"/>
                  </a:lnTo>
                  <a:lnTo>
                    <a:pt x="582" y="134"/>
                  </a:lnTo>
                  <a:lnTo>
                    <a:pt x="580" y="134"/>
                  </a:lnTo>
                  <a:lnTo>
                    <a:pt x="574" y="138"/>
                  </a:lnTo>
                  <a:lnTo>
                    <a:pt x="580" y="148"/>
                  </a:lnTo>
                  <a:lnTo>
                    <a:pt x="580" y="150"/>
                  </a:lnTo>
                  <a:lnTo>
                    <a:pt x="582" y="152"/>
                  </a:lnTo>
                  <a:lnTo>
                    <a:pt x="582" y="154"/>
                  </a:lnTo>
                  <a:lnTo>
                    <a:pt x="582" y="156"/>
                  </a:lnTo>
                  <a:lnTo>
                    <a:pt x="578" y="160"/>
                  </a:lnTo>
                  <a:lnTo>
                    <a:pt x="576" y="162"/>
                  </a:lnTo>
                  <a:lnTo>
                    <a:pt x="574" y="166"/>
                  </a:lnTo>
                  <a:lnTo>
                    <a:pt x="574" y="172"/>
                  </a:lnTo>
                  <a:lnTo>
                    <a:pt x="574" y="174"/>
                  </a:lnTo>
                  <a:lnTo>
                    <a:pt x="576" y="174"/>
                  </a:lnTo>
                  <a:lnTo>
                    <a:pt x="576" y="176"/>
                  </a:lnTo>
                  <a:lnTo>
                    <a:pt x="578" y="182"/>
                  </a:lnTo>
                  <a:lnTo>
                    <a:pt x="576" y="190"/>
                  </a:lnTo>
                  <a:lnTo>
                    <a:pt x="576" y="196"/>
                  </a:lnTo>
                  <a:lnTo>
                    <a:pt x="574" y="198"/>
                  </a:lnTo>
                  <a:lnTo>
                    <a:pt x="574" y="202"/>
                  </a:lnTo>
                  <a:lnTo>
                    <a:pt x="578" y="212"/>
                  </a:lnTo>
                  <a:lnTo>
                    <a:pt x="580" y="214"/>
                  </a:lnTo>
                  <a:lnTo>
                    <a:pt x="582" y="214"/>
                  </a:lnTo>
                  <a:lnTo>
                    <a:pt x="584" y="212"/>
                  </a:lnTo>
                  <a:lnTo>
                    <a:pt x="588" y="214"/>
                  </a:lnTo>
                  <a:lnTo>
                    <a:pt x="586" y="214"/>
                  </a:lnTo>
                  <a:lnTo>
                    <a:pt x="586" y="216"/>
                  </a:lnTo>
                  <a:lnTo>
                    <a:pt x="584" y="216"/>
                  </a:lnTo>
                  <a:lnTo>
                    <a:pt x="584" y="218"/>
                  </a:lnTo>
                  <a:lnTo>
                    <a:pt x="578" y="224"/>
                  </a:lnTo>
                  <a:lnTo>
                    <a:pt x="570" y="226"/>
                  </a:lnTo>
                  <a:lnTo>
                    <a:pt x="568" y="226"/>
                  </a:lnTo>
                  <a:lnTo>
                    <a:pt x="566" y="226"/>
                  </a:lnTo>
                  <a:lnTo>
                    <a:pt x="562" y="226"/>
                  </a:lnTo>
                  <a:lnTo>
                    <a:pt x="562" y="228"/>
                  </a:lnTo>
                  <a:lnTo>
                    <a:pt x="558" y="234"/>
                  </a:lnTo>
                  <a:lnTo>
                    <a:pt x="558" y="240"/>
                  </a:lnTo>
                  <a:lnTo>
                    <a:pt x="560" y="242"/>
                  </a:lnTo>
                  <a:lnTo>
                    <a:pt x="560" y="244"/>
                  </a:lnTo>
                  <a:lnTo>
                    <a:pt x="560" y="246"/>
                  </a:lnTo>
                  <a:lnTo>
                    <a:pt x="560" y="248"/>
                  </a:lnTo>
                  <a:lnTo>
                    <a:pt x="558" y="250"/>
                  </a:lnTo>
                  <a:lnTo>
                    <a:pt x="558" y="252"/>
                  </a:lnTo>
                  <a:lnTo>
                    <a:pt x="558" y="254"/>
                  </a:lnTo>
                  <a:lnTo>
                    <a:pt x="558" y="260"/>
                  </a:lnTo>
                  <a:lnTo>
                    <a:pt x="554" y="268"/>
                  </a:lnTo>
                  <a:lnTo>
                    <a:pt x="552" y="270"/>
                  </a:lnTo>
                  <a:lnTo>
                    <a:pt x="548" y="274"/>
                  </a:lnTo>
                  <a:lnTo>
                    <a:pt x="548" y="276"/>
                  </a:lnTo>
                  <a:lnTo>
                    <a:pt x="546" y="276"/>
                  </a:lnTo>
                  <a:lnTo>
                    <a:pt x="542" y="276"/>
                  </a:lnTo>
                  <a:lnTo>
                    <a:pt x="542" y="280"/>
                  </a:lnTo>
                  <a:lnTo>
                    <a:pt x="546" y="280"/>
                  </a:lnTo>
                  <a:lnTo>
                    <a:pt x="548" y="284"/>
                  </a:lnTo>
                  <a:lnTo>
                    <a:pt x="552" y="290"/>
                  </a:lnTo>
                  <a:lnTo>
                    <a:pt x="556" y="296"/>
                  </a:lnTo>
                  <a:lnTo>
                    <a:pt x="560" y="298"/>
                  </a:lnTo>
                  <a:lnTo>
                    <a:pt x="566" y="294"/>
                  </a:lnTo>
                  <a:lnTo>
                    <a:pt x="566" y="298"/>
                  </a:lnTo>
                  <a:lnTo>
                    <a:pt x="568" y="298"/>
                  </a:lnTo>
                  <a:lnTo>
                    <a:pt x="568" y="300"/>
                  </a:lnTo>
                  <a:lnTo>
                    <a:pt x="556" y="304"/>
                  </a:lnTo>
                  <a:lnTo>
                    <a:pt x="526" y="316"/>
                  </a:lnTo>
                  <a:lnTo>
                    <a:pt x="524" y="316"/>
                  </a:lnTo>
                  <a:lnTo>
                    <a:pt x="518" y="316"/>
                  </a:lnTo>
                  <a:lnTo>
                    <a:pt x="510" y="318"/>
                  </a:lnTo>
                  <a:lnTo>
                    <a:pt x="504" y="320"/>
                  </a:lnTo>
                  <a:lnTo>
                    <a:pt x="500" y="322"/>
                  </a:lnTo>
                  <a:lnTo>
                    <a:pt x="498" y="322"/>
                  </a:lnTo>
                  <a:lnTo>
                    <a:pt x="498" y="324"/>
                  </a:lnTo>
                  <a:lnTo>
                    <a:pt x="496" y="324"/>
                  </a:lnTo>
                  <a:lnTo>
                    <a:pt x="494" y="324"/>
                  </a:lnTo>
                  <a:lnTo>
                    <a:pt x="492" y="324"/>
                  </a:lnTo>
                  <a:lnTo>
                    <a:pt x="490" y="324"/>
                  </a:lnTo>
                  <a:lnTo>
                    <a:pt x="482" y="328"/>
                  </a:lnTo>
                  <a:lnTo>
                    <a:pt x="480" y="330"/>
                  </a:lnTo>
                  <a:lnTo>
                    <a:pt x="478" y="330"/>
                  </a:lnTo>
                  <a:lnTo>
                    <a:pt x="470" y="332"/>
                  </a:lnTo>
                  <a:lnTo>
                    <a:pt x="462" y="336"/>
                  </a:lnTo>
                  <a:lnTo>
                    <a:pt x="460" y="336"/>
                  </a:lnTo>
                  <a:lnTo>
                    <a:pt x="458" y="336"/>
                  </a:lnTo>
                  <a:lnTo>
                    <a:pt x="450" y="336"/>
                  </a:lnTo>
                  <a:lnTo>
                    <a:pt x="446" y="338"/>
                  </a:lnTo>
                  <a:lnTo>
                    <a:pt x="434" y="342"/>
                  </a:lnTo>
                  <a:lnTo>
                    <a:pt x="430" y="344"/>
                  </a:lnTo>
                  <a:lnTo>
                    <a:pt x="422" y="348"/>
                  </a:lnTo>
                  <a:lnTo>
                    <a:pt x="414" y="3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3" name="Freeform 1426"/>
            <p:cNvSpPr>
              <a:spLocks/>
            </p:cNvSpPr>
            <p:nvPr/>
          </p:nvSpPr>
          <p:spPr bwMode="auto">
            <a:xfrm>
              <a:off x="6075935" y="4983685"/>
              <a:ext cx="487928" cy="440386"/>
            </a:xfrm>
            <a:custGeom>
              <a:avLst/>
              <a:gdLst/>
              <a:ahLst/>
              <a:cxnLst>
                <a:cxn ang="0">
                  <a:pos x="312" y="334"/>
                </a:cxn>
                <a:cxn ang="0">
                  <a:pos x="292" y="350"/>
                </a:cxn>
                <a:cxn ang="0">
                  <a:pos x="276" y="346"/>
                </a:cxn>
                <a:cxn ang="0">
                  <a:pos x="260" y="348"/>
                </a:cxn>
                <a:cxn ang="0">
                  <a:pos x="248" y="348"/>
                </a:cxn>
                <a:cxn ang="0">
                  <a:pos x="222" y="338"/>
                </a:cxn>
                <a:cxn ang="0">
                  <a:pos x="200" y="338"/>
                </a:cxn>
                <a:cxn ang="0">
                  <a:pos x="190" y="334"/>
                </a:cxn>
                <a:cxn ang="0">
                  <a:pos x="182" y="326"/>
                </a:cxn>
                <a:cxn ang="0">
                  <a:pos x="180" y="316"/>
                </a:cxn>
                <a:cxn ang="0">
                  <a:pos x="158" y="310"/>
                </a:cxn>
                <a:cxn ang="0">
                  <a:pos x="146" y="308"/>
                </a:cxn>
                <a:cxn ang="0">
                  <a:pos x="132" y="306"/>
                </a:cxn>
                <a:cxn ang="0">
                  <a:pos x="122" y="286"/>
                </a:cxn>
                <a:cxn ang="0">
                  <a:pos x="120" y="266"/>
                </a:cxn>
                <a:cxn ang="0">
                  <a:pos x="114" y="250"/>
                </a:cxn>
                <a:cxn ang="0">
                  <a:pos x="98" y="250"/>
                </a:cxn>
                <a:cxn ang="0">
                  <a:pos x="96" y="230"/>
                </a:cxn>
                <a:cxn ang="0">
                  <a:pos x="68" y="218"/>
                </a:cxn>
                <a:cxn ang="0">
                  <a:pos x="62" y="214"/>
                </a:cxn>
                <a:cxn ang="0">
                  <a:pos x="46" y="202"/>
                </a:cxn>
                <a:cxn ang="0">
                  <a:pos x="36" y="182"/>
                </a:cxn>
                <a:cxn ang="0">
                  <a:pos x="34" y="170"/>
                </a:cxn>
                <a:cxn ang="0">
                  <a:pos x="20" y="150"/>
                </a:cxn>
                <a:cxn ang="0">
                  <a:pos x="10" y="134"/>
                </a:cxn>
                <a:cxn ang="0">
                  <a:pos x="0" y="118"/>
                </a:cxn>
                <a:cxn ang="0">
                  <a:pos x="8" y="114"/>
                </a:cxn>
                <a:cxn ang="0">
                  <a:pos x="22" y="112"/>
                </a:cxn>
                <a:cxn ang="0">
                  <a:pos x="36" y="122"/>
                </a:cxn>
                <a:cxn ang="0">
                  <a:pos x="56" y="120"/>
                </a:cxn>
                <a:cxn ang="0">
                  <a:pos x="74" y="126"/>
                </a:cxn>
                <a:cxn ang="0">
                  <a:pos x="88" y="120"/>
                </a:cxn>
                <a:cxn ang="0">
                  <a:pos x="114" y="94"/>
                </a:cxn>
                <a:cxn ang="0">
                  <a:pos x="140" y="66"/>
                </a:cxn>
                <a:cxn ang="0">
                  <a:pos x="180" y="44"/>
                </a:cxn>
                <a:cxn ang="0">
                  <a:pos x="182" y="30"/>
                </a:cxn>
                <a:cxn ang="0">
                  <a:pos x="190" y="18"/>
                </a:cxn>
                <a:cxn ang="0">
                  <a:pos x="222" y="4"/>
                </a:cxn>
                <a:cxn ang="0">
                  <a:pos x="250" y="2"/>
                </a:cxn>
                <a:cxn ang="0">
                  <a:pos x="262" y="2"/>
                </a:cxn>
                <a:cxn ang="0">
                  <a:pos x="304" y="22"/>
                </a:cxn>
                <a:cxn ang="0">
                  <a:pos x="316" y="32"/>
                </a:cxn>
                <a:cxn ang="0">
                  <a:pos x="330" y="34"/>
                </a:cxn>
                <a:cxn ang="0">
                  <a:pos x="348" y="44"/>
                </a:cxn>
                <a:cxn ang="0">
                  <a:pos x="370" y="50"/>
                </a:cxn>
                <a:cxn ang="0">
                  <a:pos x="386" y="58"/>
                </a:cxn>
                <a:cxn ang="0">
                  <a:pos x="386" y="64"/>
                </a:cxn>
                <a:cxn ang="0">
                  <a:pos x="386" y="78"/>
                </a:cxn>
                <a:cxn ang="0">
                  <a:pos x="388" y="90"/>
                </a:cxn>
                <a:cxn ang="0">
                  <a:pos x="390" y="104"/>
                </a:cxn>
                <a:cxn ang="0">
                  <a:pos x="386" y="124"/>
                </a:cxn>
                <a:cxn ang="0">
                  <a:pos x="386" y="138"/>
                </a:cxn>
                <a:cxn ang="0">
                  <a:pos x="384" y="152"/>
                </a:cxn>
                <a:cxn ang="0">
                  <a:pos x="384" y="162"/>
                </a:cxn>
                <a:cxn ang="0">
                  <a:pos x="370" y="168"/>
                </a:cxn>
                <a:cxn ang="0">
                  <a:pos x="380" y="182"/>
                </a:cxn>
                <a:cxn ang="0">
                  <a:pos x="376" y="202"/>
                </a:cxn>
                <a:cxn ang="0">
                  <a:pos x="382" y="230"/>
                </a:cxn>
                <a:cxn ang="0">
                  <a:pos x="372" y="248"/>
                </a:cxn>
                <a:cxn ang="0">
                  <a:pos x="356" y="270"/>
                </a:cxn>
                <a:cxn ang="0">
                  <a:pos x="348" y="286"/>
                </a:cxn>
              </a:cxnLst>
              <a:rect l="0" t="0" r="r" b="b"/>
              <a:pathLst>
                <a:path w="390" h="352">
                  <a:moveTo>
                    <a:pt x="354" y="298"/>
                  </a:moveTo>
                  <a:lnTo>
                    <a:pt x="354" y="296"/>
                  </a:lnTo>
                  <a:lnTo>
                    <a:pt x="350" y="296"/>
                  </a:lnTo>
                  <a:lnTo>
                    <a:pt x="326" y="322"/>
                  </a:lnTo>
                  <a:lnTo>
                    <a:pt x="312" y="334"/>
                  </a:lnTo>
                  <a:lnTo>
                    <a:pt x="298" y="348"/>
                  </a:lnTo>
                  <a:lnTo>
                    <a:pt x="296" y="350"/>
                  </a:lnTo>
                  <a:lnTo>
                    <a:pt x="294" y="352"/>
                  </a:lnTo>
                  <a:lnTo>
                    <a:pt x="292" y="352"/>
                  </a:lnTo>
                  <a:lnTo>
                    <a:pt x="292" y="350"/>
                  </a:lnTo>
                  <a:lnTo>
                    <a:pt x="286" y="348"/>
                  </a:lnTo>
                  <a:lnTo>
                    <a:pt x="284" y="348"/>
                  </a:lnTo>
                  <a:lnTo>
                    <a:pt x="282" y="348"/>
                  </a:lnTo>
                  <a:lnTo>
                    <a:pt x="278" y="346"/>
                  </a:lnTo>
                  <a:lnTo>
                    <a:pt x="276" y="346"/>
                  </a:lnTo>
                  <a:lnTo>
                    <a:pt x="274" y="346"/>
                  </a:lnTo>
                  <a:lnTo>
                    <a:pt x="270" y="346"/>
                  </a:lnTo>
                  <a:lnTo>
                    <a:pt x="268" y="346"/>
                  </a:lnTo>
                  <a:lnTo>
                    <a:pt x="264" y="346"/>
                  </a:lnTo>
                  <a:lnTo>
                    <a:pt x="260" y="348"/>
                  </a:lnTo>
                  <a:lnTo>
                    <a:pt x="256" y="346"/>
                  </a:lnTo>
                  <a:lnTo>
                    <a:pt x="254" y="346"/>
                  </a:lnTo>
                  <a:lnTo>
                    <a:pt x="252" y="346"/>
                  </a:lnTo>
                  <a:lnTo>
                    <a:pt x="250" y="348"/>
                  </a:lnTo>
                  <a:lnTo>
                    <a:pt x="248" y="348"/>
                  </a:lnTo>
                  <a:lnTo>
                    <a:pt x="244" y="348"/>
                  </a:lnTo>
                  <a:lnTo>
                    <a:pt x="232" y="342"/>
                  </a:lnTo>
                  <a:lnTo>
                    <a:pt x="226" y="338"/>
                  </a:lnTo>
                  <a:lnTo>
                    <a:pt x="224" y="340"/>
                  </a:lnTo>
                  <a:lnTo>
                    <a:pt x="222" y="338"/>
                  </a:lnTo>
                  <a:lnTo>
                    <a:pt x="220" y="338"/>
                  </a:lnTo>
                  <a:lnTo>
                    <a:pt x="216" y="336"/>
                  </a:lnTo>
                  <a:lnTo>
                    <a:pt x="214" y="336"/>
                  </a:lnTo>
                  <a:lnTo>
                    <a:pt x="202" y="338"/>
                  </a:lnTo>
                  <a:lnTo>
                    <a:pt x="200" y="338"/>
                  </a:lnTo>
                  <a:lnTo>
                    <a:pt x="198" y="338"/>
                  </a:lnTo>
                  <a:lnTo>
                    <a:pt x="194" y="334"/>
                  </a:lnTo>
                  <a:lnTo>
                    <a:pt x="192" y="332"/>
                  </a:lnTo>
                  <a:lnTo>
                    <a:pt x="192" y="334"/>
                  </a:lnTo>
                  <a:lnTo>
                    <a:pt x="190" y="334"/>
                  </a:lnTo>
                  <a:lnTo>
                    <a:pt x="188" y="332"/>
                  </a:lnTo>
                  <a:lnTo>
                    <a:pt x="186" y="332"/>
                  </a:lnTo>
                  <a:lnTo>
                    <a:pt x="184" y="330"/>
                  </a:lnTo>
                  <a:lnTo>
                    <a:pt x="182" y="328"/>
                  </a:lnTo>
                  <a:lnTo>
                    <a:pt x="182" y="326"/>
                  </a:lnTo>
                  <a:lnTo>
                    <a:pt x="182" y="324"/>
                  </a:lnTo>
                  <a:lnTo>
                    <a:pt x="184" y="322"/>
                  </a:lnTo>
                  <a:lnTo>
                    <a:pt x="184" y="320"/>
                  </a:lnTo>
                  <a:lnTo>
                    <a:pt x="184" y="318"/>
                  </a:lnTo>
                  <a:lnTo>
                    <a:pt x="180" y="316"/>
                  </a:lnTo>
                  <a:lnTo>
                    <a:pt x="178" y="316"/>
                  </a:lnTo>
                  <a:lnTo>
                    <a:pt x="174" y="316"/>
                  </a:lnTo>
                  <a:lnTo>
                    <a:pt x="164" y="310"/>
                  </a:lnTo>
                  <a:lnTo>
                    <a:pt x="160" y="310"/>
                  </a:lnTo>
                  <a:lnTo>
                    <a:pt x="158" y="310"/>
                  </a:lnTo>
                  <a:lnTo>
                    <a:pt x="158" y="312"/>
                  </a:lnTo>
                  <a:lnTo>
                    <a:pt x="156" y="310"/>
                  </a:lnTo>
                  <a:lnTo>
                    <a:pt x="152" y="310"/>
                  </a:lnTo>
                  <a:lnTo>
                    <a:pt x="150" y="308"/>
                  </a:lnTo>
                  <a:lnTo>
                    <a:pt x="146" y="308"/>
                  </a:lnTo>
                  <a:lnTo>
                    <a:pt x="144" y="308"/>
                  </a:lnTo>
                  <a:lnTo>
                    <a:pt x="142" y="308"/>
                  </a:lnTo>
                  <a:lnTo>
                    <a:pt x="140" y="308"/>
                  </a:lnTo>
                  <a:lnTo>
                    <a:pt x="134" y="306"/>
                  </a:lnTo>
                  <a:lnTo>
                    <a:pt x="132" y="306"/>
                  </a:lnTo>
                  <a:lnTo>
                    <a:pt x="132" y="300"/>
                  </a:lnTo>
                  <a:lnTo>
                    <a:pt x="130" y="296"/>
                  </a:lnTo>
                  <a:lnTo>
                    <a:pt x="128" y="294"/>
                  </a:lnTo>
                  <a:lnTo>
                    <a:pt x="126" y="288"/>
                  </a:lnTo>
                  <a:lnTo>
                    <a:pt x="122" y="286"/>
                  </a:lnTo>
                  <a:lnTo>
                    <a:pt x="120" y="284"/>
                  </a:lnTo>
                  <a:lnTo>
                    <a:pt x="118" y="280"/>
                  </a:lnTo>
                  <a:lnTo>
                    <a:pt x="118" y="274"/>
                  </a:lnTo>
                  <a:lnTo>
                    <a:pt x="118" y="270"/>
                  </a:lnTo>
                  <a:lnTo>
                    <a:pt x="120" y="266"/>
                  </a:lnTo>
                  <a:lnTo>
                    <a:pt x="120" y="264"/>
                  </a:lnTo>
                  <a:lnTo>
                    <a:pt x="120" y="254"/>
                  </a:lnTo>
                  <a:lnTo>
                    <a:pt x="120" y="252"/>
                  </a:lnTo>
                  <a:lnTo>
                    <a:pt x="118" y="250"/>
                  </a:lnTo>
                  <a:lnTo>
                    <a:pt x="114" y="250"/>
                  </a:lnTo>
                  <a:lnTo>
                    <a:pt x="110" y="250"/>
                  </a:lnTo>
                  <a:lnTo>
                    <a:pt x="106" y="250"/>
                  </a:lnTo>
                  <a:lnTo>
                    <a:pt x="102" y="250"/>
                  </a:lnTo>
                  <a:lnTo>
                    <a:pt x="100" y="250"/>
                  </a:lnTo>
                  <a:lnTo>
                    <a:pt x="98" y="250"/>
                  </a:lnTo>
                  <a:lnTo>
                    <a:pt x="100" y="246"/>
                  </a:lnTo>
                  <a:lnTo>
                    <a:pt x="100" y="242"/>
                  </a:lnTo>
                  <a:lnTo>
                    <a:pt x="100" y="238"/>
                  </a:lnTo>
                  <a:lnTo>
                    <a:pt x="98" y="238"/>
                  </a:lnTo>
                  <a:lnTo>
                    <a:pt x="96" y="230"/>
                  </a:lnTo>
                  <a:lnTo>
                    <a:pt x="90" y="228"/>
                  </a:lnTo>
                  <a:lnTo>
                    <a:pt x="84" y="226"/>
                  </a:lnTo>
                  <a:lnTo>
                    <a:pt x="72" y="222"/>
                  </a:lnTo>
                  <a:lnTo>
                    <a:pt x="70" y="218"/>
                  </a:lnTo>
                  <a:lnTo>
                    <a:pt x="68" y="218"/>
                  </a:lnTo>
                  <a:lnTo>
                    <a:pt x="66" y="218"/>
                  </a:lnTo>
                  <a:lnTo>
                    <a:pt x="66" y="216"/>
                  </a:lnTo>
                  <a:lnTo>
                    <a:pt x="64" y="216"/>
                  </a:lnTo>
                  <a:lnTo>
                    <a:pt x="64" y="214"/>
                  </a:lnTo>
                  <a:lnTo>
                    <a:pt x="62" y="214"/>
                  </a:lnTo>
                  <a:lnTo>
                    <a:pt x="56" y="208"/>
                  </a:lnTo>
                  <a:lnTo>
                    <a:pt x="54" y="206"/>
                  </a:lnTo>
                  <a:lnTo>
                    <a:pt x="50" y="204"/>
                  </a:lnTo>
                  <a:lnTo>
                    <a:pt x="48" y="204"/>
                  </a:lnTo>
                  <a:lnTo>
                    <a:pt x="46" y="202"/>
                  </a:lnTo>
                  <a:lnTo>
                    <a:pt x="44" y="200"/>
                  </a:lnTo>
                  <a:lnTo>
                    <a:pt x="40" y="194"/>
                  </a:lnTo>
                  <a:lnTo>
                    <a:pt x="38" y="188"/>
                  </a:lnTo>
                  <a:lnTo>
                    <a:pt x="38" y="184"/>
                  </a:lnTo>
                  <a:lnTo>
                    <a:pt x="36" y="182"/>
                  </a:lnTo>
                  <a:lnTo>
                    <a:pt x="34" y="180"/>
                  </a:lnTo>
                  <a:lnTo>
                    <a:pt x="34" y="176"/>
                  </a:lnTo>
                  <a:lnTo>
                    <a:pt x="36" y="174"/>
                  </a:lnTo>
                  <a:lnTo>
                    <a:pt x="36" y="172"/>
                  </a:lnTo>
                  <a:lnTo>
                    <a:pt x="34" y="170"/>
                  </a:lnTo>
                  <a:lnTo>
                    <a:pt x="34" y="168"/>
                  </a:lnTo>
                  <a:lnTo>
                    <a:pt x="30" y="166"/>
                  </a:lnTo>
                  <a:lnTo>
                    <a:pt x="28" y="160"/>
                  </a:lnTo>
                  <a:lnTo>
                    <a:pt x="24" y="152"/>
                  </a:lnTo>
                  <a:lnTo>
                    <a:pt x="20" y="150"/>
                  </a:lnTo>
                  <a:lnTo>
                    <a:pt x="16" y="146"/>
                  </a:lnTo>
                  <a:lnTo>
                    <a:pt x="14" y="142"/>
                  </a:lnTo>
                  <a:lnTo>
                    <a:pt x="12" y="140"/>
                  </a:lnTo>
                  <a:lnTo>
                    <a:pt x="12" y="136"/>
                  </a:lnTo>
                  <a:lnTo>
                    <a:pt x="10" y="134"/>
                  </a:lnTo>
                  <a:lnTo>
                    <a:pt x="6" y="130"/>
                  </a:lnTo>
                  <a:lnTo>
                    <a:pt x="6" y="128"/>
                  </a:lnTo>
                  <a:lnTo>
                    <a:pt x="4" y="126"/>
                  </a:lnTo>
                  <a:lnTo>
                    <a:pt x="2" y="122"/>
                  </a:lnTo>
                  <a:lnTo>
                    <a:pt x="0" y="118"/>
                  </a:lnTo>
                  <a:lnTo>
                    <a:pt x="0" y="114"/>
                  </a:lnTo>
                  <a:lnTo>
                    <a:pt x="2" y="112"/>
                  </a:lnTo>
                  <a:lnTo>
                    <a:pt x="4" y="114"/>
                  </a:lnTo>
                  <a:lnTo>
                    <a:pt x="6" y="114"/>
                  </a:lnTo>
                  <a:lnTo>
                    <a:pt x="8" y="114"/>
                  </a:lnTo>
                  <a:lnTo>
                    <a:pt x="10" y="116"/>
                  </a:lnTo>
                  <a:lnTo>
                    <a:pt x="14" y="116"/>
                  </a:lnTo>
                  <a:lnTo>
                    <a:pt x="18" y="114"/>
                  </a:lnTo>
                  <a:lnTo>
                    <a:pt x="20" y="112"/>
                  </a:lnTo>
                  <a:lnTo>
                    <a:pt x="22" y="112"/>
                  </a:lnTo>
                  <a:lnTo>
                    <a:pt x="28" y="116"/>
                  </a:lnTo>
                  <a:lnTo>
                    <a:pt x="30" y="118"/>
                  </a:lnTo>
                  <a:lnTo>
                    <a:pt x="30" y="120"/>
                  </a:lnTo>
                  <a:lnTo>
                    <a:pt x="32" y="122"/>
                  </a:lnTo>
                  <a:lnTo>
                    <a:pt x="36" y="122"/>
                  </a:lnTo>
                  <a:lnTo>
                    <a:pt x="42" y="120"/>
                  </a:lnTo>
                  <a:lnTo>
                    <a:pt x="44" y="120"/>
                  </a:lnTo>
                  <a:lnTo>
                    <a:pt x="48" y="118"/>
                  </a:lnTo>
                  <a:lnTo>
                    <a:pt x="50" y="118"/>
                  </a:lnTo>
                  <a:lnTo>
                    <a:pt x="56" y="120"/>
                  </a:lnTo>
                  <a:lnTo>
                    <a:pt x="60" y="120"/>
                  </a:lnTo>
                  <a:lnTo>
                    <a:pt x="66" y="122"/>
                  </a:lnTo>
                  <a:lnTo>
                    <a:pt x="68" y="124"/>
                  </a:lnTo>
                  <a:lnTo>
                    <a:pt x="72" y="126"/>
                  </a:lnTo>
                  <a:lnTo>
                    <a:pt x="74" y="126"/>
                  </a:lnTo>
                  <a:lnTo>
                    <a:pt x="74" y="124"/>
                  </a:lnTo>
                  <a:lnTo>
                    <a:pt x="80" y="122"/>
                  </a:lnTo>
                  <a:lnTo>
                    <a:pt x="82" y="122"/>
                  </a:lnTo>
                  <a:lnTo>
                    <a:pt x="84" y="122"/>
                  </a:lnTo>
                  <a:lnTo>
                    <a:pt x="88" y="120"/>
                  </a:lnTo>
                  <a:lnTo>
                    <a:pt x="90" y="120"/>
                  </a:lnTo>
                  <a:lnTo>
                    <a:pt x="94" y="116"/>
                  </a:lnTo>
                  <a:lnTo>
                    <a:pt x="94" y="112"/>
                  </a:lnTo>
                  <a:lnTo>
                    <a:pt x="106" y="100"/>
                  </a:lnTo>
                  <a:lnTo>
                    <a:pt x="114" y="94"/>
                  </a:lnTo>
                  <a:lnTo>
                    <a:pt x="118" y="88"/>
                  </a:lnTo>
                  <a:lnTo>
                    <a:pt x="120" y="84"/>
                  </a:lnTo>
                  <a:lnTo>
                    <a:pt x="124" y="78"/>
                  </a:lnTo>
                  <a:lnTo>
                    <a:pt x="130" y="70"/>
                  </a:lnTo>
                  <a:lnTo>
                    <a:pt x="140" y="66"/>
                  </a:lnTo>
                  <a:lnTo>
                    <a:pt x="146" y="64"/>
                  </a:lnTo>
                  <a:lnTo>
                    <a:pt x="152" y="58"/>
                  </a:lnTo>
                  <a:lnTo>
                    <a:pt x="170" y="52"/>
                  </a:lnTo>
                  <a:lnTo>
                    <a:pt x="178" y="50"/>
                  </a:lnTo>
                  <a:lnTo>
                    <a:pt x="180" y="44"/>
                  </a:lnTo>
                  <a:lnTo>
                    <a:pt x="182" y="42"/>
                  </a:lnTo>
                  <a:lnTo>
                    <a:pt x="182" y="40"/>
                  </a:lnTo>
                  <a:lnTo>
                    <a:pt x="182" y="38"/>
                  </a:lnTo>
                  <a:lnTo>
                    <a:pt x="182" y="36"/>
                  </a:lnTo>
                  <a:lnTo>
                    <a:pt x="182" y="30"/>
                  </a:lnTo>
                  <a:lnTo>
                    <a:pt x="182" y="24"/>
                  </a:lnTo>
                  <a:lnTo>
                    <a:pt x="184" y="22"/>
                  </a:lnTo>
                  <a:lnTo>
                    <a:pt x="186" y="20"/>
                  </a:lnTo>
                  <a:lnTo>
                    <a:pt x="188" y="20"/>
                  </a:lnTo>
                  <a:lnTo>
                    <a:pt x="190" y="18"/>
                  </a:lnTo>
                  <a:lnTo>
                    <a:pt x="194" y="14"/>
                  </a:lnTo>
                  <a:lnTo>
                    <a:pt x="202" y="10"/>
                  </a:lnTo>
                  <a:lnTo>
                    <a:pt x="208" y="8"/>
                  </a:lnTo>
                  <a:lnTo>
                    <a:pt x="220" y="4"/>
                  </a:lnTo>
                  <a:lnTo>
                    <a:pt x="222" y="4"/>
                  </a:lnTo>
                  <a:lnTo>
                    <a:pt x="224" y="4"/>
                  </a:lnTo>
                  <a:lnTo>
                    <a:pt x="228" y="2"/>
                  </a:lnTo>
                  <a:lnTo>
                    <a:pt x="232" y="2"/>
                  </a:lnTo>
                  <a:lnTo>
                    <a:pt x="234" y="0"/>
                  </a:lnTo>
                  <a:lnTo>
                    <a:pt x="250" y="2"/>
                  </a:lnTo>
                  <a:lnTo>
                    <a:pt x="254" y="2"/>
                  </a:lnTo>
                  <a:lnTo>
                    <a:pt x="256" y="2"/>
                  </a:lnTo>
                  <a:lnTo>
                    <a:pt x="258" y="4"/>
                  </a:lnTo>
                  <a:lnTo>
                    <a:pt x="260" y="2"/>
                  </a:lnTo>
                  <a:lnTo>
                    <a:pt x="262" y="2"/>
                  </a:lnTo>
                  <a:lnTo>
                    <a:pt x="262" y="22"/>
                  </a:lnTo>
                  <a:lnTo>
                    <a:pt x="282" y="22"/>
                  </a:lnTo>
                  <a:lnTo>
                    <a:pt x="294" y="22"/>
                  </a:lnTo>
                  <a:lnTo>
                    <a:pt x="298" y="22"/>
                  </a:lnTo>
                  <a:lnTo>
                    <a:pt x="304" y="22"/>
                  </a:lnTo>
                  <a:lnTo>
                    <a:pt x="306" y="22"/>
                  </a:lnTo>
                  <a:lnTo>
                    <a:pt x="308" y="26"/>
                  </a:lnTo>
                  <a:lnTo>
                    <a:pt x="310" y="30"/>
                  </a:lnTo>
                  <a:lnTo>
                    <a:pt x="312" y="30"/>
                  </a:lnTo>
                  <a:lnTo>
                    <a:pt x="316" y="32"/>
                  </a:lnTo>
                  <a:lnTo>
                    <a:pt x="318" y="32"/>
                  </a:lnTo>
                  <a:lnTo>
                    <a:pt x="320" y="32"/>
                  </a:lnTo>
                  <a:lnTo>
                    <a:pt x="324" y="32"/>
                  </a:lnTo>
                  <a:lnTo>
                    <a:pt x="326" y="32"/>
                  </a:lnTo>
                  <a:lnTo>
                    <a:pt x="330" y="34"/>
                  </a:lnTo>
                  <a:lnTo>
                    <a:pt x="336" y="40"/>
                  </a:lnTo>
                  <a:lnTo>
                    <a:pt x="336" y="44"/>
                  </a:lnTo>
                  <a:lnTo>
                    <a:pt x="340" y="44"/>
                  </a:lnTo>
                  <a:lnTo>
                    <a:pt x="344" y="44"/>
                  </a:lnTo>
                  <a:lnTo>
                    <a:pt x="348" y="44"/>
                  </a:lnTo>
                  <a:lnTo>
                    <a:pt x="352" y="44"/>
                  </a:lnTo>
                  <a:lnTo>
                    <a:pt x="354" y="44"/>
                  </a:lnTo>
                  <a:lnTo>
                    <a:pt x="358" y="46"/>
                  </a:lnTo>
                  <a:lnTo>
                    <a:pt x="360" y="46"/>
                  </a:lnTo>
                  <a:lnTo>
                    <a:pt x="370" y="50"/>
                  </a:lnTo>
                  <a:lnTo>
                    <a:pt x="376" y="54"/>
                  </a:lnTo>
                  <a:lnTo>
                    <a:pt x="376" y="58"/>
                  </a:lnTo>
                  <a:lnTo>
                    <a:pt x="378" y="58"/>
                  </a:lnTo>
                  <a:lnTo>
                    <a:pt x="380" y="60"/>
                  </a:lnTo>
                  <a:lnTo>
                    <a:pt x="386" y="58"/>
                  </a:lnTo>
                  <a:lnTo>
                    <a:pt x="388" y="58"/>
                  </a:lnTo>
                  <a:lnTo>
                    <a:pt x="388" y="60"/>
                  </a:lnTo>
                  <a:lnTo>
                    <a:pt x="388" y="62"/>
                  </a:lnTo>
                  <a:lnTo>
                    <a:pt x="388" y="64"/>
                  </a:lnTo>
                  <a:lnTo>
                    <a:pt x="386" y="64"/>
                  </a:lnTo>
                  <a:lnTo>
                    <a:pt x="386" y="66"/>
                  </a:lnTo>
                  <a:lnTo>
                    <a:pt x="384" y="68"/>
                  </a:lnTo>
                  <a:lnTo>
                    <a:pt x="384" y="70"/>
                  </a:lnTo>
                  <a:lnTo>
                    <a:pt x="386" y="76"/>
                  </a:lnTo>
                  <a:lnTo>
                    <a:pt x="386" y="78"/>
                  </a:lnTo>
                  <a:lnTo>
                    <a:pt x="388" y="82"/>
                  </a:lnTo>
                  <a:lnTo>
                    <a:pt x="388" y="84"/>
                  </a:lnTo>
                  <a:lnTo>
                    <a:pt x="388" y="86"/>
                  </a:lnTo>
                  <a:lnTo>
                    <a:pt x="388" y="88"/>
                  </a:lnTo>
                  <a:lnTo>
                    <a:pt x="388" y="90"/>
                  </a:lnTo>
                  <a:lnTo>
                    <a:pt x="390" y="90"/>
                  </a:lnTo>
                  <a:lnTo>
                    <a:pt x="390" y="92"/>
                  </a:lnTo>
                  <a:lnTo>
                    <a:pt x="386" y="100"/>
                  </a:lnTo>
                  <a:lnTo>
                    <a:pt x="386" y="102"/>
                  </a:lnTo>
                  <a:lnTo>
                    <a:pt x="390" y="104"/>
                  </a:lnTo>
                  <a:lnTo>
                    <a:pt x="390" y="106"/>
                  </a:lnTo>
                  <a:lnTo>
                    <a:pt x="388" y="112"/>
                  </a:lnTo>
                  <a:lnTo>
                    <a:pt x="386" y="116"/>
                  </a:lnTo>
                  <a:lnTo>
                    <a:pt x="386" y="120"/>
                  </a:lnTo>
                  <a:lnTo>
                    <a:pt x="386" y="124"/>
                  </a:lnTo>
                  <a:lnTo>
                    <a:pt x="386" y="128"/>
                  </a:lnTo>
                  <a:lnTo>
                    <a:pt x="386" y="130"/>
                  </a:lnTo>
                  <a:lnTo>
                    <a:pt x="386" y="132"/>
                  </a:lnTo>
                  <a:lnTo>
                    <a:pt x="386" y="134"/>
                  </a:lnTo>
                  <a:lnTo>
                    <a:pt x="386" y="138"/>
                  </a:lnTo>
                  <a:lnTo>
                    <a:pt x="388" y="142"/>
                  </a:lnTo>
                  <a:lnTo>
                    <a:pt x="390" y="144"/>
                  </a:lnTo>
                  <a:lnTo>
                    <a:pt x="388" y="150"/>
                  </a:lnTo>
                  <a:lnTo>
                    <a:pt x="386" y="150"/>
                  </a:lnTo>
                  <a:lnTo>
                    <a:pt x="384" y="152"/>
                  </a:lnTo>
                  <a:lnTo>
                    <a:pt x="382" y="152"/>
                  </a:lnTo>
                  <a:lnTo>
                    <a:pt x="380" y="152"/>
                  </a:lnTo>
                  <a:lnTo>
                    <a:pt x="380" y="154"/>
                  </a:lnTo>
                  <a:lnTo>
                    <a:pt x="382" y="156"/>
                  </a:lnTo>
                  <a:lnTo>
                    <a:pt x="384" y="162"/>
                  </a:lnTo>
                  <a:lnTo>
                    <a:pt x="382" y="166"/>
                  </a:lnTo>
                  <a:lnTo>
                    <a:pt x="380" y="166"/>
                  </a:lnTo>
                  <a:lnTo>
                    <a:pt x="378" y="166"/>
                  </a:lnTo>
                  <a:lnTo>
                    <a:pt x="376" y="166"/>
                  </a:lnTo>
                  <a:lnTo>
                    <a:pt x="370" y="168"/>
                  </a:lnTo>
                  <a:lnTo>
                    <a:pt x="370" y="174"/>
                  </a:lnTo>
                  <a:lnTo>
                    <a:pt x="372" y="178"/>
                  </a:lnTo>
                  <a:lnTo>
                    <a:pt x="374" y="178"/>
                  </a:lnTo>
                  <a:lnTo>
                    <a:pt x="376" y="178"/>
                  </a:lnTo>
                  <a:lnTo>
                    <a:pt x="380" y="182"/>
                  </a:lnTo>
                  <a:lnTo>
                    <a:pt x="378" y="190"/>
                  </a:lnTo>
                  <a:lnTo>
                    <a:pt x="376" y="192"/>
                  </a:lnTo>
                  <a:lnTo>
                    <a:pt x="374" y="196"/>
                  </a:lnTo>
                  <a:lnTo>
                    <a:pt x="374" y="200"/>
                  </a:lnTo>
                  <a:lnTo>
                    <a:pt x="376" y="202"/>
                  </a:lnTo>
                  <a:lnTo>
                    <a:pt x="376" y="208"/>
                  </a:lnTo>
                  <a:lnTo>
                    <a:pt x="382" y="212"/>
                  </a:lnTo>
                  <a:lnTo>
                    <a:pt x="386" y="218"/>
                  </a:lnTo>
                  <a:lnTo>
                    <a:pt x="384" y="226"/>
                  </a:lnTo>
                  <a:lnTo>
                    <a:pt x="382" y="230"/>
                  </a:lnTo>
                  <a:lnTo>
                    <a:pt x="378" y="234"/>
                  </a:lnTo>
                  <a:lnTo>
                    <a:pt x="376" y="238"/>
                  </a:lnTo>
                  <a:lnTo>
                    <a:pt x="376" y="240"/>
                  </a:lnTo>
                  <a:lnTo>
                    <a:pt x="376" y="242"/>
                  </a:lnTo>
                  <a:lnTo>
                    <a:pt x="372" y="248"/>
                  </a:lnTo>
                  <a:lnTo>
                    <a:pt x="364" y="258"/>
                  </a:lnTo>
                  <a:lnTo>
                    <a:pt x="360" y="256"/>
                  </a:lnTo>
                  <a:lnTo>
                    <a:pt x="356" y="260"/>
                  </a:lnTo>
                  <a:lnTo>
                    <a:pt x="356" y="262"/>
                  </a:lnTo>
                  <a:lnTo>
                    <a:pt x="356" y="270"/>
                  </a:lnTo>
                  <a:lnTo>
                    <a:pt x="356" y="272"/>
                  </a:lnTo>
                  <a:lnTo>
                    <a:pt x="356" y="276"/>
                  </a:lnTo>
                  <a:lnTo>
                    <a:pt x="354" y="280"/>
                  </a:lnTo>
                  <a:lnTo>
                    <a:pt x="350" y="284"/>
                  </a:lnTo>
                  <a:lnTo>
                    <a:pt x="348" y="286"/>
                  </a:lnTo>
                  <a:lnTo>
                    <a:pt x="350" y="292"/>
                  </a:lnTo>
                  <a:lnTo>
                    <a:pt x="354" y="296"/>
                  </a:lnTo>
                  <a:lnTo>
                    <a:pt x="354" y="29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4" name="Freeform 1427"/>
            <p:cNvSpPr>
              <a:spLocks/>
            </p:cNvSpPr>
            <p:nvPr/>
          </p:nvSpPr>
          <p:spPr bwMode="auto">
            <a:xfrm>
              <a:off x="5227692" y="5068760"/>
              <a:ext cx="850746" cy="768174"/>
            </a:xfrm>
            <a:custGeom>
              <a:avLst/>
              <a:gdLst/>
              <a:ahLst/>
              <a:cxnLst>
                <a:cxn ang="0">
                  <a:pos x="416" y="358"/>
                </a:cxn>
                <a:cxn ang="0">
                  <a:pos x="416" y="422"/>
                </a:cxn>
                <a:cxn ang="0">
                  <a:pos x="416" y="540"/>
                </a:cxn>
                <a:cxn ang="0">
                  <a:pos x="396" y="592"/>
                </a:cxn>
                <a:cxn ang="0">
                  <a:pos x="382" y="602"/>
                </a:cxn>
                <a:cxn ang="0">
                  <a:pos x="374" y="614"/>
                </a:cxn>
                <a:cxn ang="0">
                  <a:pos x="322" y="608"/>
                </a:cxn>
                <a:cxn ang="0">
                  <a:pos x="302" y="602"/>
                </a:cxn>
                <a:cxn ang="0">
                  <a:pos x="292" y="584"/>
                </a:cxn>
                <a:cxn ang="0">
                  <a:pos x="280" y="570"/>
                </a:cxn>
                <a:cxn ang="0">
                  <a:pos x="260" y="592"/>
                </a:cxn>
                <a:cxn ang="0">
                  <a:pos x="234" y="586"/>
                </a:cxn>
                <a:cxn ang="0">
                  <a:pos x="212" y="566"/>
                </a:cxn>
                <a:cxn ang="0">
                  <a:pos x="202" y="552"/>
                </a:cxn>
                <a:cxn ang="0">
                  <a:pos x="188" y="524"/>
                </a:cxn>
                <a:cxn ang="0">
                  <a:pos x="178" y="498"/>
                </a:cxn>
                <a:cxn ang="0">
                  <a:pos x="176" y="484"/>
                </a:cxn>
                <a:cxn ang="0">
                  <a:pos x="172" y="466"/>
                </a:cxn>
                <a:cxn ang="0">
                  <a:pos x="166" y="434"/>
                </a:cxn>
                <a:cxn ang="0">
                  <a:pos x="164" y="414"/>
                </a:cxn>
                <a:cxn ang="0">
                  <a:pos x="156" y="394"/>
                </a:cxn>
                <a:cxn ang="0">
                  <a:pos x="148" y="374"/>
                </a:cxn>
                <a:cxn ang="0">
                  <a:pos x="146" y="340"/>
                </a:cxn>
                <a:cxn ang="0">
                  <a:pos x="146" y="324"/>
                </a:cxn>
                <a:cxn ang="0">
                  <a:pos x="144" y="306"/>
                </a:cxn>
                <a:cxn ang="0">
                  <a:pos x="146" y="292"/>
                </a:cxn>
                <a:cxn ang="0">
                  <a:pos x="118" y="246"/>
                </a:cxn>
                <a:cxn ang="0">
                  <a:pos x="104" y="224"/>
                </a:cxn>
                <a:cxn ang="0">
                  <a:pos x="82" y="184"/>
                </a:cxn>
                <a:cxn ang="0">
                  <a:pos x="74" y="164"/>
                </a:cxn>
                <a:cxn ang="0">
                  <a:pos x="66" y="150"/>
                </a:cxn>
                <a:cxn ang="0">
                  <a:pos x="50" y="120"/>
                </a:cxn>
                <a:cxn ang="0">
                  <a:pos x="26" y="86"/>
                </a:cxn>
                <a:cxn ang="0">
                  <a:pos x="10" y="64"/>
                </a:cxn>
                <a:cxn ang="0">
                  <a:pos x="0" y="30"/>
                </a:cxn>
                <a:cxn ang="0">
                  <a:pos x="12" y="14"/>
                </a:cxn>
                <a:cxn ang="0">
                  <a:pos x="38" y="16"/>
                </a:cxn>
                <a:cxn ang="0">
                  <a:pos x="66" y="2"/>
                </a:cxn>
                <a:cxn ang="0">
                  <a:pos x="90" y="4"/>
                </a:cxn>
                <a:cxn ang="0">
                  <a:pos x="118" y="24"/>
                </a:cxn>
                <a:cxn ang="0">
                  <a:pos x="164" y="22"/>
                </a:cxn>
                <a:cxn ang="0">
                  <a:pos x="294" y="22"/>
                </a:cxn>
                <a:cxn ang="0">
                  <a:pos x="344" y="32"/>
                </a:cxn>
                <a:cxn ang="0">
                  <a:pos x="374" y="44"/>
                </a:cxn>
                <a:cxn ang="0">
                  <a:pos x="406" y="46"/>
                </a:cxn>
                <a:cxn ang="0">
                  <a:pos x="432" y="46"/>
                </a:cxn>
                <a:cxn ang="0">
                  <a:pos x="458" y="54"/>
                </a:cxn>
                <a:cxn ang="0">
                  <a:pos x="504" y="52"/>
                </a:cxn>
                <a:cxn ang="0">
                  <a:pos x="608" y="32"/>
                </a:cxn>
                <a:cxn ang="0">
                  <a:pos x="646" y="30"/>
                </a:cxn>
                <a:cxn ang="0">
                  <a:pos x="668" y="34"/>
                </a:cxn>
                <a:cxn ang="0">
                  <a:pos x="666" y="46"/>
                </a:cxn>
                <a:cxn ang="0">
                  <a:pos x="640" y="56"/>
                </a:cxn>
                <a:cxn ang="0">
                  <a:pos x="610" y="66"/>
                </a:cxn>
                <a:cxn ang="0">
                  <a:pos x="594" y="78"/>
                </a:cxn>
                <a:cxn ang="0">
                  <a:pos x="586" y="62"/>
                </a:cxn>
                <a:cxn ang="0">
                  <a:pos x="540" y="60"/>
                </a:cxn>
                <a:cxn ang="0">
                  <a:pos x="466" y="90"/>
                </a:cxn>
                <a:cxn ang="0">
                  <a:pos x="464" y="238"/>
                </a:cxn>
                <a:cxn ang="0">
                  <a:pos x="416" y="272"/>
                </a:cxn>
              </a:cxnLst>
              <a:rect l="0" t="0" r="r" b="b"/>
              <a:pathLst>
                <a:path w="680" h="614">
                  <a:moveTo>
                    <a:pt x="416" y="308"/>
                  </a:moveTo>
                  <a:lnTo>
                    <a:pt x="416" y="316"/>
                  </a:lnTo>
                  <a:lnTo>
                    <a:pt x="416" y="326"/>
                  </a:lnTo>
                  <a:lnTo>
                    <a:pt x="416" y="334"/>
                  </a:lnTo>
                  <a:lnTo>
                    <a:pt x="416" y="342"/>
                  </a:lnTo>
                  <a:lnTo>
                    <a:pt x="416" y="348"/>
                  </a:lnTo>
                  <a:lnTo>
                    <a:pt x="416" y="354"/>
                  </a:lnTo>
                  <a:lnTo>
                    <a:pt x="416" y="358"/>
                  </a:lnTo>
                  <a:lnTo>
                    <a:pt x="416" y="376"/>
                  </a:lnTo>
                  <a:lnTo>
                    <a:pt x="416" y="382"/>
                  </a:lnTo>
                  <a:lnTo>
                    <a:pt x="416" y="390"/>
                  </a:lnTo>
                  <a:lnTo>
                    <a:pt x="416" y="398"/>
                  </a:lnTo>
                  <a:lnTo>
                    <a:pt x="416" y="400"/>
                  </a:lnTo>
                  <a:lnTo>
                    <a:pt x="416" y="404"/>
                  </a:lnTo>
                  <a:lnTo>
                    <a:pt x="416" y="416"/>
                  </a:lnTo>
                  <a:lnTo>
                    <a:pt x="416" y="422"/>
                  </a:lnTo>
                  <a:lnTo>
                    <a:pt x="416" y="432"/>
                  </a:lnTo>
                  <a:lnTo>
                    <a:pt x="416" y="444"/>
                  </a:lnTo>
                  <a:lnTo>
                    <a:pt x="416" y="456"/>
                  </a:lnTo>
                  <a:lnTo>
                    <a:pt x="416" y="484"/>
                  </a:lnTo>
                  <a:lnTo>
                    <a:pt x="416" y="516"/>
                  </a:lnTo>
                  <a:lnTo>
                    <a:pt x="416" y="530"/>
                  </a:lnTo>
                  <a:lnTo>
                    <a:pt x="416" y="532"/>
                  </a:lnTo>
                  <a:lnTo>
                    <a:pt x="416" y="540"/>
                  </a:lnTo>
                  <a:lnTo>
                    <a:pt x="416" y="544"/>
                  </a:lnTo>
                  <a:lnTo>
                    <a:pt x="416" y="558"/>
                  </a:lnTo>
                  <a:lnTo>
                    <a:pt x="416" y="568"/>
                  </a:lnTo>
                  <a:lnTo>
                    <a:pt x="416" y="584"/>
                  </a:lnTo>
                  <a:lnTo>
                    <a:pt x="416" y="586"/>
                  </a:lnTo>
                  <a:lnTo>
                    <a:pt x="406" y="590"/>
                  </a:lnTo>
                  <a:lnTo>
                    <a:pt x="404" y="590"/>
                  </a:lnTo>
                  <a:lnTo>
                    <a:pt x="396" y="592"/>
                  </a:lnTo>
                  <a:lnTo>
                    <a:pt x="392" y="596"/>
                  </a:lnTo>
                  <a:lnTo>
                    <a:pt x="392" y="598"/>
                  </a:lnTo>
                  <a:lnTo>
                    <a:pt x="392" y="600"/>
                  </a:lnTo>
                  <a:lnTo>
                    <a:pt x="390" y="602"/>
                  </a:lnTo>
                  <a:lnTo>
                    <a:pt x="388" y="602"/>
                  </a:lnTo>
                  <a:lnTo>
                    <a:pt x="384" y="604"/>
                  </a:lnTo>
                  <a:lnTo>
                    <a:pt x="384" y="602"/>
                  </a:lnTo>
                  <a:lnTo>
                    <a:pt x="382" y="602"/>
                  </a:lnTo>
                  <a:lnTo>
                    <a:pt x="380" y="602"/>
                  </a:lnTo>
                  <a:lnTo>
                    <a:pt x="380" y="604"/>
                  </a:lnTo>
                  <a:lnTo>
                    <a:pt x="380" y="606"/>
                  </a:lnTo>
                  <a:lnTo>
                    <a:pt x="380" y="608"/>
                  </a:lnTo>
                  <a:lnTo>
                    <a:pt x="380" y="612"/>
                  </a:lnTo>
                  <a:lnTo>
                    <a:pt x="378" y="614"/>
                  </a:lnTo>
                  <a:lnTo>
                    <a:pt x="376" y="614"/>
                  </a:lnTo>
                  <a:lnTo>
                    <a:pt x="374" y="614"/>
                  </a:lnTo>
                  <a:lnTo>
                    <a:pt x="368" y="612"/>
                  </a:lnTo>
                  <a:lnTo>
                    <a:pt x="368" y="610"/>
                  </a:lnTo>
                  <a:lnTo>
                    <a:pt x="366" y="610"/>
                  </a:lnTo>
                  <a:lnTo>
                    <a:pt x="356" y="608"/>
                  </a:lnTo>
                  <a:lnTo>
                    <a:pt x="336" y="610"/>
                  </a:lnTo>
                  <a:lnTo>
                    <a:pt x="330" y="612"/>
                  </a:lnTo>
                  <a:lnTo>
                    <a:pt x="324" y="610"/>
                  </a:lnTo>
                  <a:lnTo>
                    <a:pt x="322" y="608"/>
                  </a:lnTo>
                  <a:lnTo>
                    <a:pt x="320" y="608"/>
                  </a:lnTo>
                  <a:lnTo>
                    <a:pt x="316" y="606"/>
                  </a:lnTo>
                  <a:lnTo>
                    <a:pt x="308" y="604"/>
                  </a:lnTo>
                  <a:lnTo>
                    <a:pt x="306" y="604"/>
                  </a:lnTo>
                  <a:lnTo>
                    <a:pt x="306" y="606"/>
                  </a:lnTo>
                  <a:lnTo>
                    <a:pt x="304" y="606"/>
                  </a:lnTo>
                  <a:lnTo>
                    <a:pt x="302" y="604"/>
                  </a:lnTo>
                  <a:lnTo>
                    <a:pt x="302" y="602"/>
                  </a:lnTo>
                  <a:lnTo>
                    <a:pt x="302" y="600"/>
                  </a:lnTo>
                  <a:lnTo>
                    <a:pt x="296" y="602"/>
                  </a:lnTo>
                  <a:lnTo>
                    <a:pt x="294" y="602"/>
                  </a:lnTo>
                  <a:lnTo>
                    <a:pt x="292" y="602"/>
                  </a:lnTo>
                  <a:lnTo>
                    <a:pt x="290" y="594"/>
                  </a:lnTo>
                  <a:lnTo>
                    <a:pt x="292" y="588"/>
                  </a:lnTo>
                  <a:lnTo>
                    <a:pt x="292" y="586"/>
                  </a:lnTo>
                  <a:lnTo>
                    <a:pt x="292" y="584"/>
                  </a:lnTo>
                  <a:lnTo>
                    <a:pt x="290" y="578"/>
                  </a:lnTo>
                  <a:lnTo>
                    <a:pt x="288" y="576"/>
                  </a:lnTo>
                  <a:lnTo>
                    <a:pt x="286" y="578"/>
                  </a:lnTo>
                  <a:lnTo>
                    <a:pt x="282" y="578"/>
                  </a:lnTo>
                  <a:lnTo>
                    <a:pt x="282" y="576"/>
                  </a:lnTo>
                  <a:lnTo>
                    <a:pt x="282" y="574"/>
                  </a:lnTo>
                  <a:lnTo>
                    <a:pt x="282" y="572"/>
                  </a:lnTo>
                  <a:lnTo>
                    <a:pt x="280" y="570"/>
                  </a:lnTo>
                  <a:lnTo>
                    <a:pt x="278" y="570"/>
                  </a:lnTo>
                  <a:lnTo>
                    <a:pt x="278" y="568"/>
                  </a:lnTo>
                  <a:lnTo>
                    <a:pt x="276" y="568"/>
                  </a:lnTo>
                  <a:lnTo>
                    <a:pt x="268" y="570"/>
                  </a:lnTo>
                  <a:lnTo>
                    <a:pt x="264" y="578"/>
                  </a:lnTo>
                  <a:lnTo>
                    <a:pt x="264" y="584"/>
                  </a:lnTo>
                  <a:lnTo>
                    <a:pt x="262" y="588"/>
                  </a:lnTo>
                  <a:lnTo>
                    <a:pt x="260" y="592"/>
                  </a:lnTo>
                  <a:lnTo>
                    <a:pt x="258" y="592"/>
                  </a:lnTo>
                  <a:lnTo>
                    <a:pt x="258" y="590"/>
                  </a:lnTo>
                  <a:lnTo>
                    <a:pt x="254" y="592"/>
                  </a:lnTo>
                  <a:lnTo>
                    <a:pt x="248" y="596"/>
                  </a:lnTo>
                  <a:lnTo>
                    <a:pt x="248" y="598"/>
                  </a:lnTo>
                  <a:lnTo>
                    <a:pt x="244" y="596"/>
                  </a:lnTo>
                  <a:lnTo>
                    <a:pt x="242" y="596"/>
                  </a:lnTo>
                  <a:lnTo>
                    <a:pt x="234" y="586"/>
                  </a:lnTo>
                  <a:lnTo>
                    <a:pt x="232" y="586"/>
                  </a:lnTo>
                  <a:lnTo>
                    <a:pt x="230" y="584"/>
                  </a:lnTo>
                  <a:lnTo>
                    <a:pt x="226" y="580"/>
                  </a:lnTo>
                  <a:lnTo>
                    <a:pt x="226" y="578"/>
                  </a:lnTo>
                  <a:lnTo>
                    <a:pt x="224" y="576"/>
                  </a:lnTo>
                  <a:lnTo>
                    <a:pt x="220" y="574"/>
                  </a:lnTo>
                  <a:lnTo>
                    <a:pt x="214" y="568"/>
                  </a:lnTo>
                  <a:lnTo>
                    <a:pt x="212" y="566"/>
                  </a:lnTo>
                  <a:lnTo>
                    <a:pt x="210" y="564"/>
                  </a:lnTo>
                  <a:lnTo>
                    <a:pt x="208" y="564"/>
                  </a:lnTo>
                  <a:lnTo>
                    <a:pt x="210" y="562"/>
                  </a:lnTo>
                  <a:lnTo>
                    <a:pt x="208" y="560"/>
                  </a:lnTo>
                  <a:lnTo>
                    <a:pt x="208" y="558"/>
                  </a:lnTo>
                  <a:lnTo>
                    <a:pt x="206" y="556"/>
                  </a:lnTo>
                  <a:lnTo>
                    <a:pt x="204" y="554"/>
                  </a:lnTo>
                  <a:lnTo>
                    <a:pt x="202" y="552"/>
                  </a:lnTo>
                  <a:lnTo>
                    <a:pt x="202" y="550"/>
                  </a:lnTo>
                  <a:lnTo>
                    <a:pt x="202" y="548"/>
                  </a:lnTo>
                  <a:lnTo>
                    <a:pt x="194" y="538"/>
                  </a:lnTo>
                  <a:lnTo>
                    <a:pt x="194" y="536"/>
                  </a:lnTo>
                  <a:lnTo>
                    <a:pt x="190" y="532"/>
                  </a:lnTo>
                  <a:lnTo>
                    <a:pt x="190" y="530"/>
                  </a:lnTo>
                  <a:lnTo>
                    <a:pt x="188" y="526"/>
                  </a:lnTo>
                  <a:lnTo>
                    <a:pt x="188" y="524"/>
                  </a:lnTo>
                  <a:lnTo>
                    <a:pt x="186" y="514"/>
                  </a:lnTo>
                  <a:lnTo>
                    <a:pt x="186" y="512"/>
                  </a:lnTo>
                  <a:lnTo>
                    <a:pt x="184" y="512"/>
                  </a:lnTo>
                  <a:lnTo>
                    <a:pt x="184" y="510"/>
                  </a:lnTo>
                  <a:lnTo>
                    <a:pt x="180" y="504"/>
                  </a:lnTo>
                  <a:lnTo>
                    <a:pt x="180" y="502"/>
                  </a:lnTo>
                  <a:lnTo>
                    <a:pt x="180" y="500"/>
                  </a:lnTo>
                  <a:lnTo>
                    <a:pt x="178" y="498"/>
                  </a:lnTo>
                  <a:lnTo>
                    <a:pt x="180" y="496"/>
                  </a:lnTo>
                  <a:lnTo>
                    <a:pt x="182" y="496"/>
                  </a:lnTo>
                  <a:lnTo>
                    <a:pt x="182" y="498"/>
                  </a:lnTo>
                  <a:lnTo>
                    <a:pt x="184" y="496"/>
                  </a:lnTo>
                  <a:lnTo>
                    <a:pt x="182" y="488"/>
                  </a:lnTo>
                  <a:lnTo>
                    <a:pt x="180" y="488"/>
                  </a:lnTo>
                  <a:lnTo>
                    <a:pt x="178" y="484"/>
                  </a:lnTo>
                  <a:lnTo>
                    <a:pt x="176" y="484"/>
                  </a:lnTo>
                  <a:lnTo>
                    <a:pt x="176" y="482"/>
                  </a:lnTo>
                  <a:lnTo>
                    <a:pt x="174" y="482"/>
                  </a:lnTo>
                  <a:lnTo>
                    <a:pt x="172" y="482"/>
                  </a:lnTo>
                  <a:lnTo>
                    <a:pt x="172" y="480"/>
                  </a:lnTo>
                  <a:lnTo>
                    <a:pt x="172" y="472"/>
                  </a:lnTo>
                  <a:lnTo>
                    <a:pt x="172" y="470"/>
                  </a:lnTo>
                  <a:lnTo>
                    <a:pt x="172" y="468"/>
                  </a:lnTo>
                  <a:lnTo>
                    <a:pt x="172" y="466"/>
                  </a:lnTo>
                  <a:lnTo>
                    <a:pt x="172" y="464"/>
                  </a:lnTo>
                  <a:lnTo>
                    <a:pt x="172" y="462"/>
                  </a:lnTo>
                  <a:lnTo>
                    <a:pt x="170" y="460"/>
                  </a:lnTo>
                  <a:lnTo>
                    <a:pt x="166" y="452"/>
                  </a:lnTo>
                  <a:lnTo>
                    <a:pt x="166" y="446"/>
                  </a:lnTo>
                  <a:lnTo>
                    <a:pt x="168" y="444"/>
                  </a:lnTo>
                  <a:lnTo>
                    <a:pt x="168" y="442"/>
                  </a:lnTo>
                  <a:lnTo>
                    <a:pt x="166" y="434"/>
                  </a:lnTo>
                  <a:lnTo>
                    <a:pt x="164" y="434"/>
                  </a:lnTo>
                  <a:lnTo>
                    <a:pt x="164" y="432"/>
                  </a:lnTo>
                  <a:lnTo>
                    <a:pt x="164" y="428"/>
                  </a:lnTo>
                  <a:lnTo>
                    <a:pt x="164" y="426"/>
                  </a:lnTo>
                  <a:lnTo>
                    <a:pt x="164" y="422"/>
                  </a:lnTo>
                  <a:lnTo>
                    <a:pt x="166" y="418"/>
                  </a:lnTo>
                  <a:lnTo>
                    <a:pt x="166" y="416"/>
                  </a:lnTo>
                  <a:lnTo>
                    <a:pt x="164" y="414"/>
                  </a:lnTo>
                  <a:lnTo>
                    <a:pt x="164" y="412"/>
                  </a:lnTo>
                  <a:lnTo>
                    <a:pt x="162" y="412"/>
                  </a:lnTo>
                  <a:lnTo>
                    <a:pt x="162" y="410"/>
                  </a:lnTo>
                  <a:lnTo>
                    <a:pt x="162" y="408"/>
                  </a:lnTo>
                  <a:lnTo>
                    <a:pt x="162" y="406"/>
                  </a:lnTo>
                  <a:lnTo>
                    <a:pt x="162" y="402"/>
                  </a:lnTo>
                  <a:lnTo>
                    <a:pt x="160" y="398"/>
                  </a:lnTo>
                  <a:lnTo>
                    <a:pt x="156" y="394"/>
                  </a:lnTo>
                  <a:lnTo>
                    <a:pt x="152" y="392"/>
                  </a:lnTo>
                  <a:lnTo>
                    <a:pt x="152" y="390"/>
                  </a:lnTo>
                  <a:lnTo>
                    <a:pt x="152" y="388"/>
                  </a:lnTo>
                  <a:lnTo>
                    <a:pt x="154" y="388"/>
                  </a:lnTo>
                  <a:lnTo>
                    <a:pt x="154" y="386"/>
                  </a:lnTo>
                  <a:lnTo>
                    <a:pt x="150" y="380"/>
                  </a:lnTo>
                  <a:lnTo>
                    <a:pt x="150" y="378"/>
                  </a:lnTo>
                  <a:lnTo>
                    <a:pt x="148" y="374"/>
                  </a:lnTo>
                  <a:lnTo>
                    <a:pt x="148" y="372"/>
                  </a:lnTo>
                  <a:lnTo>
                    <a:pt x="146" y="370"/>
                  </a:lnTo>
                  <a:lnTo>
                    <a:pt x="146" y="368"/>
                  </a:lnTo>
                  <a:lnTo>
                    <a:pt x="146" y="362"/>
                  </a:lnTo>
                  <a:lnTo>
                    <a:pt x="146" y="360"/>
                  </a:lnTo>
                  <a:lnTo>
                    <a:pt x="148" y="354"/>
                  </a:lnTo>
                  <a:lnTo>
                    <a:pt x="146" y="342"/>
                  </a:lnTo>
                  <a:lnTo>
                    <a:pt x="146" y="340"/>
                  </a:lnTo>
                  <a:lnTo>
                    <a:pt x="146" y="338"/>
                  </a:lnTo>
                  <a:lnTo>
                    <a:pt x="144" y="334"/>
                  </a:lnTo>
                  <a:lnTo>
                    <a:pt x="144" y="332"/>
                  </a:lnTo>
                  <a:lnTo>
                    <a:pt x="144" y="330"/>
                  </a:lnTo>
                  <a:lnTo>
                    <a:pt x="146" y="328"/>
                  </a:lnTo>
                  <a:lnTo>
                    <a:pt x="146" y="330"/>
                  </a:lnTo>
                  <a:lnTo>
                    <a:pt x="146" y="328"/>
                  </a:lnTo>
                  <a:lnTo>
                    <a:pt x="146" y="324"/>
                  </a:lnTo>
                  <a:lnTo>
                    <a:pt x="144" y="320"/>
                  </a:lnTo>
                  <a:lnTo>
                    <a:pt x="144" y="318"/>
                  </a:lnTo>
                  <a:lnTo>
                    <a:pt x="144" y="316"/>
                  </a:lnTo>
                  <a:lnTo>
                    <a:pt x="142" y="316"/>
                  </a:lnTo>
                  <a:lnTo>
                    <a:pt x="142" y="312"/>
                  </a:lnTo>
                  <a:lnTo>
                    <a:pt x="142" y="310"/>
                  </a:lnTo>
                  <a:lnTo>
                    <a:pt x="142" y="304"/>
                  </a:lnTo>
                  <a:lnTo>
                    <a:pt x="144" y="306"/>
                  </a:lnTo>
                  <a:lnTo>
                    <a:pt x="144" y="308"/>
                  </a:lnTo>
                  <a:lnTo>
                    <a:pt x="144" y="310"/>
                  </a:lnTo>
                  <a:lnTo>
                    <a:pt x="146" y="306"/>
                  </a:lnTo>
                  <a:lnTo>
                    <a:pt x="148" y="304"/>
                  </a:lnTo>
                  <a:lnTo>
                    <a:pt x="148" y="300"/>
                  </a:lnTo>
                  <a:lnTo>
                    <a:pt x="148" y="296"/>
                  </a:lnTo>
                  <a:lnTo>
                    <a:pt x="148" y="294"/>
                  </a:lnTo>
                  <a:lnTo>
                    <a:pt x="146" y="292"/>
                  </a:lnTo>
                  <a:lnTo>
                    <a:pt x="146" y="288"/>
                  </a:lnTo>
                  <a:lnTo>
                    <a:pt x="140" y="276"/>
                  </a:lnTo>
                  <a:lnTo>
                    <a:pt x="140" y="274"/>
                  </a:lnTo>
                  <a:lnTo>
                    <a:pt x="134" y="266"/>
                  </a:lnTo>
                  <a:lnTo>
                    <a:pt x="126" y="256"/>
                  </a:lnTo>
                  <a:lnTo>
                    <a:pt x="122" y="252"/>
                  </a:lnTo>
                  <a:lnTo>
                    <a:pt x="118" y="248"/>
                  </a:lnTo>
                  <a:lnTo>
                    <a:pt x="118" y="246"/>
                  </a:lnTo>
                  <a:lnTo>
                    <a:pt x="118" y="244"/>
                  </a:lnTo>
                  <a:lnTo>
                    <a:pt x="118" y="242"/>
                  </a:lnTo>
                  <a:lnTo>
                    <a:pt x="114" y="238"/>
                  </a:lnTo>
                  <a:lnTo>
                    <a:pt x="114" y="236"/>
                  </a:lnTo>
                  <a:lnTo>
                    <a:pt x="112" y="234"/>
                  </a:lnTo>
                  <a:lnTo>
                    <a:pt x="110" y="230"/>
                  </a:lnTo>
                  <a:lnTo>
                    <a:pt x="108" y="228"/>
                  </a:lnTo>
                  <a:lnTo>
                    <a:pt x="104" y="224"/>
                  </a:lnTo>
                  <a:lnTo>
                    <a:pt x="98" y="216"/>
                  </a:lnTo>
                  <a:lnTo>
                    <a:pt x="90" y="202"/>
                  </a:lnTo>
                  <a:lnTo>
                    <a:pt x="88" y="200"/>
                  </a:lnTo>
                  <a:lnTo>
                    <a:pt x="88" y="198"/>
                  </a:lnTo>
                  <a:lnTo>
                    <a:pt x="88" y="194"/>
                  </a:lnTo>
                  <a:lnTo>
                    <a:pt x="86" y="190"/>
                  </a:lnTo>
                  <a:lnTo>
                    <a:pt x="84" y="186"/>
                  </a:lnTo>
                  <a:lnTo>
                    <a:pt x="82" y="184"/>
                  </a:lnTo>
                  <a:lnTo>
                    <a:pt x="82" y="182"/>
                  </a:lnTo>
                  <a:lnTo>
                    <a:pt x="80" y="180"/>
                  </a:lnTo>
                  <a:lnTo>
                    <a:pt x="80" y="178"/>
                  </a:lnTo>
                  <a:lnTo>
                    <a:pt x="80" y="176"/>
                  </a:lnTo>
                  <a:lnTo>
                    <a:pt x="80" y="172"/>
                  </a:lnTo>
                  <a:lnTo>
                    <a:pt x="78" y="170"/>
                  </a:lnTo>
                  <a:lnTo>
                    <a:pt x="76" y="166"/>
                  </a:lnTo>
                  <a:lnTo>
                    <a:pt x="74" y="164"/>
                  </a:lnTo>
                  <a:lnTo>
                    <a:pt x="74" y="162"/>
                  </a:lnTo>
                  <a:lnTo>
                    <a:pt x="72" y="162"/>
                  </a:lnTo>
                  <a:lnTo>
                    <a:pt x="72" y="160"/>
                  </a:lnTo>
                  <a:lnTo>
                    <a:pt x="70" y="160"/>
                  </a:lnTo>
                  <a:lnTo>
                    <a:pt x="70" y="158"/>
                  </a:lnTo>
                  <a:lnTo>
                    <a:pt x="68" y="152"/>
                  </a:lnTo>
                  <a:lnTo>
                    <a:pt x="66" y="152"/>
                  </a:lnTo>
                  <a:lnTo>
                    <a:pt x="66" y="150"/>
                  </a:lnTo>
                  <a:lnTo>
                    <a:pt x="64" y="148"/>
                  </a:lnTo>
                  <a:lnTo>
                    <a:pt x="64" y="146"/>
                  </a:lnTo>
                  <a:lnTo>
                    <a:pt x="58" y="138"/>
                  </a:lnTo>
                  <a:lnTo>
                    <a:pt x="58" y="136"/>
                  </a:lnTo>
                  <a:lnTo>
                    <a:pt x="56" y="134"/>
                  </a:lnTo>
                  <a:lnTo>
                    <a:pt x="52" y="128"/>
                  </a:lnTo>
                  <a:lnTo>
                    <a:pt x="52" y="126"/>
                  </a:lnTo>
                  <a:lnTo>
                    <a:pt x="50" y="120"/>
                  </a:lnTo>
                  <a:lnTo>
                    <a:pt x="46" y="114"/>
                  </a:lnTo>
                  <a:lnTo>
                    <a:pt x="44" y="110"/>
                  </a:lnTo>
                  <a:lnTo>
                    <a:pt x="40" y="102"/>
                  </a:lnTo>
                  <a:lnTo>
                    <a:pt x="38" y="100"/>
                  </a:lnTo>
                  <a:lnTo>
                    <a:pt x="32" y="92"/>
                  </a:lnTo>
                  <a:lnTo>
                    <a:pt x="30" y="92"/>
                  </a:lnTo>
                  <a:lnTo>
                    <a:pt x="28" y="88"/>
                  </a:lnTo>
                  <a:lnTo>
                    <a:pt x="26" y="86"/>
                  </a:lnTo>
                  <a:lnTo>
                    <a:pt x="24" y="86"/>
                  </a:lnTo>
                  <a:lnTo>
                    <a:pt x="22" y="84"/>
                  </a:lnTo>
                  <a:lnTo>
                    <a:pt x="20" y="82"/>
                  </a:lnTo>
                  <a:lnTo>
                    <a:pt x="18" y="80"/>
                  </a:lnTo>
                  <a:lnTo>
                    <a:pt x="16" y="76"/>
                  </a:lnTo>
                  <a:lnTo>
                    <a:pt x="16" y="74"/>
                  </a:lnTo>
                  <a:lnTo>
                    <a:pt x="14" y="68"/>
                  </a:lnTo>
                  <a:lnTo>
                    <a:pt x="10" y="64"/>
                  </a:lnTo>
                  <a:lnTo>
                    <a:pt x="8" y="62"/>
                  </a:lnTo>
                  <a:lnTo>
                    <a:pt x="6" y="60"/>
                  </a:lnTo>
                  <a:lnTo>
                    <a:pt x="4" y="54"/>
                  </a:lnTo>
                  <a:lnTo>
                    <a:pt x="4" y="52"/>
                  </a:lnTo>
                  <a:lnTo>
                    <a:pt x="2" y="46"/>
                  </a:lnTo>
                  <a:lnTo>
                    <a:pt x="2" y="42"/>
                  </a:lnTo>
                  <a:lnTo>
                    <a:pt x="0" y="32"/>
                  </a:lnTo>
                  <a:lnTo>
                    <a:pt x="0" y="30"/>
                  </a:lnTo>
                  <a:lnTo>
                    <a:pt x="0" y="28"/>
                  </a:lnTo>
                  <a:lnTo>
                    <a:pt x="2" y="22"/>
                  </a:lnTo>
                  <a:lnTo>
                    <a:pt x="2" y="20"/>
                  </a:lnTo>
                  <a:lnTo>
                    <a:pt x="2" y="18"/>
                  </a:lnTo>
                  <a:lnTo>
                    <a:pt x="6" y="18"/>
                  </a:lnTo>
                  <a:lnTo>
                    <a:pt x="10" y="16"/>
                  </a:lnTo>
                  <a:lnTo>
                    <a:pt x="10" y="14"/>
                  </a:lnTo>
                  <a:lnTo>
                    <a:pt x="12" y="14"/>
                  </a:lnTo>
                  <a:lnTo>
                    <a:pt x="14" y="12"/>
                  </a:lnTo>
                  <a:lnTo>
                    <a:pt x="18" y="10"/>
                  </a:lnTo>
                  <a:lnTo>
                    <a:pt x="20" y="10"/>
                  </a:lnTo>
                  <a:lnTo>
                    <a:pt x="24" y="14"/>
                  </a:lnTo>
                  <a:lnTo>
                    <a:pt x="26" y="14"/>
                  </a:lnTo>
                  <a:lnTo>
                    <a:pt x="30" y="16"/>
                  </a:lnTo>
                  <a:lnTo>
                    <a:pt x="36" y="14"/>
                  </a:lnTo>
                  <a:lnTo>
                    <a:pt x="38" y="16"/>
                  </a:lnTo>
                  <a:lnTo>
                    <a:pt x="42" y="16"/>
                  </a:lnTo>
                  <a:lnTo>
                    <a:pt x="44" y="16"/>
                  </a:lnTo>
                  <a:lnTo>
                    <a:pt x="56" y="8"/>
                  </a:lnTo>
                  <a:lnTo>
                    <a:pt x="58" y="8"/>
                  </a:lnTo>
                  <a:lnTo>
                    <a:pt x="58" y="6"/>
                  </a:lnTo>
                  <a:lnTo>
                    <a:pt x="62" y="4"/>
                  </a:lnTo>
                  <a:lnTo>
                    <a:pt x="64" y="4"/>
                  </a:lnTo>
                  <a:lnTo>
                    <a:pt x="66" y="2"/>
                  </a:lnTo>
                  <a:lnTo>
                    <a:pt x="72" y="0"/>
                  </a:lnTo>
                  <a:lnTo>
                    <a:pt x="74" y="2"/>
                  </a:lnTo>
                  <a:lnTo>
                    <a:pt x="78" y="2"/>
                  </a:lnTo>
                  <a:lnTo>
                    <a:pt x="80" y="2"/>
                  </a:lnTo>
                  <a:lnTo>
                    <a:pt x="82" y="2"/>
                  </a:lnTo>
                  <a:lnTo>
                    <a:pt x="84" y="2"/>
                  </a:lnTo>
                  <a:lnTo>
                    <a:pt x="88" y="4"/>
                  </a:lnTo>
                  <a:lnTo>
                    <a:pt x="90" y="4"/>
                  </a:lnTo>
                  <a:lnTo>
                    <a:pt x="92" y="8"/>
                  </a:lnTo>
                  <a:lnTo>
                    <a:pt x="98" y="14"/>
                  </a:lnTo>
                  <a:lnTo>
                    <a:pt x="100" y="16"/>
                  </a:lnTo>
                  <a:lnTo>
                    <a:pt x="108" y="20"/>
                  </a:lnTo>
                  <a:lnTo>
                    <a:pt x="112" y="24"/>
                  </a:lnTo>
                  <a:lnTo>
                    <a:pt x="116" y="26"/>
                  </a:lnTo>
                  <a:lnTo>
                    <a:pt x="116" y="24"/>
                  </a:lnTo>
                  <a:lnTo>
                    <a:pt x="118" y="24"/>
                  </a:lnTo>
                  <a:lnTo>
                    <a:pt x="118" y="26"/>
                  </a:lnTo>
                  <a:lnTo>
                    <a:pt x="124" y="24"/>
                  </a:lnTo>
                  <a:lnTo>
                    <a:pt x="126" y="24"/>
                  </a:lnTo>
                  <a:lnTo>
                    <a:pt x="126" y="22"/>
                  </a:lnTo>
                  <a:lnTo>
                    <a:pt x="134" y="22"/>
                  </a:lnTo>
                  <a:lnTo>
                    <a:pt x="138" y="22"/>
                  </a:lnTo>
                  <a:lnTo>
                    <a:pt x="148" y="22"/>
                  </a:lnTo>
                  <a:lnTo>
                    <a:pt x="164" y="22"/>
                  </a:lnTo>
                  <a:lnTo>
                    <a:pt x="190" y="22"/>
                  </a:lnTo>
                  <a:lnTo>
                    <a:pt x="194" y="22"/>
                  </a:lnTo>
                  <a:lnTo>
                    <a:pt x="214" y="22"/>
                  </a:lnTo>
                  <a:lnTo>
                    <a:pt x="216" y="22"/>
                  </a:lnTo>
                  <a:lnTo>
                    <a:pt x="246" y="22"/>
                  </a:lnTo>
                  <a:lnTo>
                    <a:pt x="280" y="22"/>
                  </a:lnTo>
                  <a:lnTo>
                    <a:pt x="292" y="22"/>
                  </a:lnTo>
                  <a:lnTo>
                    <a:pt x="294" y="22"/>
                  </a:lnTo>
                  <a:lnTo>
                    <a:pt x="302" y="22"/>
                  </a:lnTo>
                  <a:lnTo>
                    <a:pt x="316" y="22"/>
                  </a:lnTo>
                  <a:lnTo>
                    <a:pt x="322" y="22"/>
                  </a:lnTo>
                  <a:lnTo>
                    <a:pt x="324" y="22"/>
                  </a:lnTo>
                  <a:lnTo>
                    <a:pt x="336" y="22"/>
                  </a:lnTo>
                  <a:lnTo>
                    <a:pt x="338" y="22"/>
                  </a:lnTo>
                  <a:lnTo>
                    <a:pt x="342" y="28"/>
                  </a:lnTo>
                  <a:lnTo>
                    <a:pt x="344" y="32"/>
                  </a:lnTo>
                  <a:lnTo>
                    <a:pt x="348" y="36"/>
                  </a:lnTo>
                  <a:lnTo>
                    <a:pt x="354" y="42"/>
                  </a:lnTo>
                  <a:lnTo>
                    <a:pt x="356" y="42"/>
                  </a:lnTo>
                  <a:lnTo>
                    <a:pt x="362" y="44"/>
                  </a:lnTo>
                  <a:lnTo>
                    <a:pt x="366" y="44"/>
                  </a:lnTo>
                  <a:lnTo>
                    <a:pt x="368" y="44"/>
                  </a:lnTo>
                  <a:lnTo>
                    <a:pt x="372" y="44"/>
                  </a:lnTo>
                  <a:lnTo>
                    <a:pt x="374" y="44"/>
                  </a:lnTo>
                  <a:lnTo>
                    <a:pt x="378" y="44"/>
                  </a:lnTo>
                  <a:lnTo>
                    <a:pt x="380" y="44"/>
                  </a:lnTo>
                  <a:lnTo>
                    <a:pt x="382" y="46"/>
                  </a:lnTo>
                  <a:lnTo>
                    <a:pt x="386" y="46"/>
                  </a:lnTo>
                  <a:lnTo>
                    <a:pt x="388" y="46"/>
                  </a:lnTo>
                  <a:lnTo>
                    <a:pt x="394" y="48"/>
                  </a:lnTo>
                  <a:lnTo>
                    <a:pt x="400" y="48"/>
                  </a:lnTo>
                  <a:lnTo>
                    <a:pt x="406" y="46"/>
                  </a:lnTo>
                  <a:lnTo>
                    <a:pt x="412" y="46"/>
                  </a:lnTo>
                  <a:lnTo>
                    <a:pt x="414" y="48"/>
                  </a:lnTo>
                  <a:lnTo>
                    <a:pt x="416" y="48"/>
                  </a:lnTo>
                  <a:lnTo>
                    <a:pt x="420" y="48"/>
                  </a:lnTo>
                  <a:lnTo>
                    <a:pt x="422" y="48"/>
                  </a:lnTo>
                  <a:lnTo>
                    <a:pt x="428" y="48"/>
                  </a:lnTo>
                  <a:lnTo>
                    <a:pt x="430" y="46"/>
                  </a:lnTo>
                  <a:lnTo>
                    <a:pt x="432" y="46"/>
                  </a:lnTo>
                  <a:lnTo>
                    <a:pt x="438" y="48"/>
                  </a:lnTo>
                  <a:lnTo>
                    <a:pt x="440" y="52"/>
                  </a:lnTo>
                  <a:lnTo>
                    <a:pt x="444" y="52"/>
                  </a:lnTo>
                  <a:lnTo>
                    <a:pt x="446" y="52"/>
                  </a:lnTo>
                  <a:lnTo>
                    <a:pt x="448" y="52"/>
                  </a:lnTo>
                  <a:lnTo>
                    <a:pt x="454" y="54"/>
                  </a:lnTo>
                  <a:lnTo>
                    <a:pt x="456" y="54"/>
                  </a:lnTo>
                  <a:lnTo>
                    <a:pt x="458" y="54"/>
                  </a:lnTo>
                  <a:lnTo>
                    <a:pt x="460" y="54"/>
                  </a:lnTo>
                  <a:lnTo>
                    <a:pt x="464" y="52"/>
                  </a:lnTo>
                  <a:lnTo>
                    <a:pt x="466" y="52"/>
                  </a:lnTo>
                  <a:lnTo>
                    <a:pt x="472" y="50"/>
                  </a:lnTo>
                  <a:lnTo>
                    <a:pt x="474" y="50"/>
                  </a:lnTo>
                  <a:lnTo>
                    <a:pt x="478" y="52"/>
                  </a:lnTo>
                  <a:lnTo>
                    <a:pt x="484" y="54"/>
                  </a:lnTo>
                  <a:lnTo>
                    <a:pt x="504" y="52"/>
                  </a:lnTo>
                  <a:lnTo>
                    <a:pt x="530" y="46"/>
                  </a:lnTo>
                  <a:lnTo>
                    <a:pt x="544" y="44"/>
                  </a:lnTo>
                  <a:lnTo>
                    <a:pt x="560" y="42"/>
                  </a:lnTo>
                  <a:lnTo>
                    <a:pt x="562" y="40"/>
                  </a:lnTo>
                  <a:lnTo>
                    <a:pt x="566" y="40"/>
                  </a:lnTo>
                  <a:lnTo>
                    <a:pt x="580" y="36"/>
                  </a:lnTo>
                  <a:lnTo>
                    <a:pt x="590" y="34"/>
                  </a:lnTo>
                  <a:lnTo>
                    <a:pt x="608" y="32"/>
                  </a:lnTo>
                  <a:lnTo>
                    <a:pt x="618" y="30"/>
                  </a:lnTo>
                  <a:lnTo>
                    <a:pt x="628" y="28"/>
                  </a:lnTo>
                  <a:lnTo>
                    <a:pt x="636" y="28"/>
                  </a:lnTo>
                  <a:lnTo>
                    <a:pt x="638" y="28"/>
                  </a:lnTo>
                  <a:lnTo>
                    <a:pt x="640" y="30"/>
                  </a:lnTo>
                  <a:lnTo>
                    <a:pt x="642" y="30"/>
                  </a:lnTo>
                  <a:lnTo>
                    <a:pt x="644" y="30"/>
                  </a:lnTo>
                  <a:lnTo>
                    <a:pt x="646" y="30"/>
                  </a:lnTo>
                  <a:lnTo>
                    <a:pt x="648" y="30"/>
                  </a:lnTo>
                  <a:lnTo>
                    <a:pt x="648" y="28"/>
                  </a:lnTo>
                  <a:lnTo>
                    <a:pt x="650" y="28"/>
                  </a:lnTo>
                  <a:lnTo>
                    <a:pt x="652" y="28"/>
                  </a:lnTo>
                  <a:lnTo>
                    <a:pt x="656" y="30"/>
                  </a:lnTo>
                  <a:lnTo>
                    <a:pt x="662" y="30"/>
                  </a:lnTo>
                  <a:lnTo>
                    <a:pt x="664" y="32"/>
                  </a:lnTo>
                  <a:lnTo>
                    <a:pt x="668" y="34"/>
                  </a:lnTo>
                  <a:lnTo>
                    <a:pt x="670" y="36"/>
                  </a:lnTo>
                  <a:lnTo>
                    <a:pt x="678" y="42"/>
                  </a:lnTo>
                  <a:lnTo>
                    <a:pt x="680" y="44"/>
                  </a:lnTo>
                  <a:lnTo>
                    <a:pt x="678" y="44"/>
                  </a:lnTo>
                  <a:lnTo>
                    <a:pt x="674" y="42"/>
                  </a:lnTo>
                  <a:lnTo>
                    <a:pt x="672" y="44"/>
                  </a:lnTo>
                  <a:lnTo>
                    <a:pt x="670" y="46"/>
                  </a:lnTo>
                  <a:lnTo>
                    <a:pt x="666" y="46"/>
                  </a:lnTo>
                  <a:lnTo>
                    <a:pt x="664" y="46"/>
                  </a:lnTo>
                  <a:lnTo>
                    <a:pt x="662" y="44"/>
                  </a:lnTo>
                  <a:lnTo>
                    <a:pt x="658" y="46"/>
                  </a:lnTo>
                  <a:lnTo>
                    <a:pt x="650" y="52"/>
                  </a:lnTo>
                  <a:lnTo>
                    <a:pt x="644" y="56"/>
                  </a:lnTo>
                  <a:lnTo>
                    <a:pt x="642" y="58"/>
                  </a:lnTo>
                  <a:lnTo>
                    <a:pt x="640" y="58"/>
                  </a:lnTo>
                  <a:lnTo>
                    <a:pt x="640" y="56"/>
                  </a:lnTo>
                  <a:lnTo>
                    <a:pt x="638" y="54"/>
                  </a:lnTo>
                  <a:lnTo>
                    <a:pt x="638" y="52"/>
                  </a:lnTo>
                  <a:lnTo>
                    <a:pt x="636" y="52"/>
                  </a:lnTo>
                  <a:lnTo>
                    <a:pt x="634" y="52"/>
                  </a:lnTo>
                  <a:lnTo>
                    <a:pt x="630" y="54"/>
                  </a:lnTo>
                  <a:lnTo>
                    <a:pt x="616" y="62"/>
                  </a:lnTo>
                  <a:lnTo>
                    <a:pt x="614" y="64"/>
                  </a:lnTo>
                  <a:lnTo>
                    <a:pt x="610" y="66"/>
                  </a:lnTo>
                  <a:lnTo>
                    <a:pt x="610" y="68"/>
                  </a:lnTo>
                  <a:lnTo>
                    <a:pt x="608" y="68"/>
                  </a:lnTo>
                  <a:lnTo>
                    <a:pt x="608" y="70"/>
                  </a:lnTo>
                  <a:lnTo>
                    <a:pt x="606" y="72"/>
                  </a:lnTo>
                  <a:lnTo>
                    <a:pt x="602" y="76"/>
                  </a:lnTo>
                  <a:lnTo>
                    <a:pt x="598" y="78"/>
                  </a:lnTo>
                  <a:lnTo>
                    <a:pt x="596" y="78"/>
                  </a:lnTo>
                  <a:lnTo>
                    <a:pt x="594" y="78"/>
                  </a:lnTo>
                  <a:lnTo>
                    <a:pt x="594" y="76"/>
                  </a:lnTo>
                  <a:lnTo>
                    <a:pt x="594" y="72"/>
                  </a:lnTo>
                  <a:lnTo>
                    <a:pt x="594" y="70"/>
                  </a:lnTo>
                  <a:lnTo>
                    <a:pt x="592" y="68"/>
                  </a:lnTo>
                  <a:lnTo>
                    <a:pt x="590" y="66"/>
                  </a:lnTo>
                  <a:lnTo>
                    <a:pt x="588" y="64"/>
                  </a:lnTo>
                  <a:lnTo>
                    <a:pt x="586" y="64"/>
                  </a:lnTo>
                  <a:lnTo>
                    <a:pt x="586" y="62"/>
                  </a:lnTo>
                  <a:lnTo>
                    <a:pt x="584" y="60"/>
                  </a:lnTo>
                  <a:lnTo>
                    <a:pt x="582" y="58"/>
                  </a:lnTo>
                  <a:lnTo>
                    <a:pt x="582" y="56"/>
                  </a:lnTo>
                  <a:lnTo>
                    <a:pt x="582" y="54"/>
                  </a:lnTo>
                  <a:lnTo>
                    <a:pt x="580" y="54"/>
                  </a:lnTo>
                  <a:lnTo>
                    <a:pt x="570" y="54"/>
                  </a:lnTo>
                  <a:lnTo>
                    <a:pt x="548" y="58"/>
                  </a:lnTo>
                  <a:lnTo>
                    <a:pt x="540" y="60"/>
                  </a:lnTo>
                  <a:lnTo>
                    <a:pt x="528" y="62"/>
                  </a:lnTo>
                  <a:lnTo>
                    <a:pt x="506" y="66"/>
                  </a:lnTo>
                  <a:lnTo>
                    <a:pt x="488" y="70"/>
                  </a:lnTo>
                  <a:lnTo>
                    <a:pt x="478" y="70"/>
                  </a:lnTo>
                  <a:lnTo>
                    <a:pt x="466" y="70"/>
                  </a:lnTo>
                  <a:lnTo>
                    <a:pt x="466" y="72"/>
                  </a:lnTo>
                  <a:lnTo>
                    <a:pt x="466" y="78"/>
                  </a:lnTo>
                  <a:lnTo>
                    <a:pt x="466" y="90"/>
                  </a:lnTo>
                  <a:lnTo>
                    <a:pt x="466" y="114"/>
                  </a:lnTo>
                  <a:lnTo>
                    <a:pt x="466" y="156"/>
                  </a:lnTo>
                  <a:lnTo>
                    <a:pt x="466" y="166"/>
                  </a:lnTo>
                  <a:lnTo>
                    <a:pt x="466" y="198"/>
                  </a:lnTo>
                  <a:lnTo>
                    <a:pt x="466" y="206"/>
                  </a:lnTo>
                  <a:lnTo>
                    <a:pt x="466" y="208"/>
                  </a:lnTo>
                  <a:lnTo>
                    <a:pt x="466" y="224"/>
                  </a:lnTo>
                  <a:lnTo>
                    <a:pt x="464" y="238"/>
                  </a:lnTo>
                  <a:lnTo>
                    <a:pt x="464" y="256"/>
                  </a:lnTo>
                  <a:lnTo>
                    <a:pt x="464" y="258"/>
                  </a:lnTo>
                  <a:lnTo>
                    <a:pt x="460" y="258"/>
                  </a:lnTo>
                  <a:lnTo>
                    <a:pt x="448" y="258"/>
                  </a:lnTo>
                  <a:lnTo>
                    <a:pt x="432" y="258"/>
                  </a:lnTo>
                  <a:lnTo>
                    <a:pt x="416" y="258"/>
                  </a:lnTo>
                  <a:lnTo>
                    <a:pt x="416" y="262"/>
                  </a:lnTo>
                  <a:lnTo>
                    <a:pt x="416" y="272"/>
                  </a:lnTo>
                  <a:lnTo>
                    <a:pt x="416" y="284"/>
                  </a:lnTo>
                  <a:lnTo>
                    <a:pt x="416" y="296"/>
                  </a:lnTo>
                  <a:lnTo>
                    <a:pt x="416" y="306"/>
                  </a:lnTo>
                  <a:lnTo>
                    <a:pt x="416" y="30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5" name="Freeform 1428"/>
            <p:cNvSpPr>
              <a:spLocks/>
            </p:cNvSpPr>
            <p:nvPr/>
          </p:nvSpPr>
          <p:spPr bwMode="auto">
            <a:xfrm>
              <a:off x="5748149" y="5121306"/>
              <a:ext cx="578007" cy="583012"/>
            </a:xfrm>
            <a:custGeom>
              <a:avLst/>
              <a:gdLst/>
              <a:ahLst/>
              <a:cxnLst>
                <a:cxn ang="0">
                  <a:pos x="288" y="358"/>
                </a:cxn>
                <a:cxn ang="0">
                  <a:pos x="276" y="394"/>
                </a:cxn>
                <a:cxn ang="0">
                  <a:pos x="258" y="410"/>
                </a:cxn>
                <a:cxn ang="0">
                  <a:pos x="240" y="410"/>
                </a:cxn>
                <a:cxn ang="0">
                  <a:pos x="216" y="410"/>
                </a:cxn>
                <a:cxn ang="0">
                  <a:pos x="204" y="404"/>
                </a:cxn>
                <a:cxn ang="0">
                  <a:pos x="188" y="400"/>
                </a:cxn>
                <a:cxn ang="0">
                  <a:pos x="168" y="384"/>
                </a:cxn>
                <a:cxn ang="0">
                  <a:pos x="138" y="398"/>
                </a:cxn>
                <a:cxn ang="0">
                  <a:pos x="132" y="412"/>
                </a:cxn>
                <a:cxn ang="0">
                  <a:pos x="120" y="432"/>
                </a:cxn>
                <a:cxn ang="0">
                  <a:pos x="102" y="448"/>
                </a:cxn>
                <a:cxn ang="0">
                  <a:pos x="84" y="456"/>
                </a:cxn>
                <a:cxn ang="0">
                  <a:pos x="80" y="466"/>
                </a:cxn>
                <a:cxn ang="0">
                  <a:pos x="66" y="464"/>
                </a:cxn>
                <a:cxn ang="0">
                  <a:pos x="48" y="464"/>
                </a:cxn>
                <a:cxn ang="0">
                  <a:pos x="38" y="464"/>
                </a:cxn>
                <a:cxn ang="0">
                  <a:pos x="28" y="444"/>
                </a:cxn>
                <a:cxn ang="0">
                  <a:pos x="40" y="428"/>
                </a:cxn>
                <a:cxn ang="0">
                  <a:pos x="32" y="400"/>
                </a:cxn>
                <a:cxn ang="0">
                  <a:pos x="18" y="372"/>
                </a:cxn>
                <a:cxn ang="0">
                  <a:pos x="0" y="356"/>
                </a:cxn>
                <a:cxn ang="0">
                  <a:pos x="0" y="306"/>
                </a:cxn>
                <a:cxn ang="0">
                  <a:pos x="0" y="264"/>
                </a:cxn>
                <a:cxn ang="0">
                  <a:pos x="16" y="216"/>
                </a:cxn>
                <a:cxn ang="0">
                  <a:pos x="50" y="182"/>
                </a:cxn>
                <a:cxn ang="0">
                  <a:pos x="50" y="72"/>
                </a:cxn>
                <a:cxn ang="0">
                  <a:pos x="72" y="28"/>
                </a:cxn>
                <a:cxn ang="0">
                  <a:pos x="164" y="12"/>
                </a:cxn>
                <a:cxn ang="0">
                  <a:pos x="170" y="22"/>
                </a:cxn>
                <a:cxn ang="0">
                  <a:pos x="178" y="34"/>
                </a:cxn>
                <a:cxn ang="0">
                  <a:pos x="192" y="28"/>
                </a:cxn>
                <a:cxn ang="0">
                  <a:pos x="214" y="12"/>
                </a:cxn>
                <a:cxn ang="0">
                  <a:pos x="224" y="16"/>
                </a:cxn>
                <a:cxn ang="0">
                  <a:pos x="248" y="4"/>
                </a:cxn>
                <a:cxn ang="0">
                  <a:pos x="264" y="2"/>
                </a:cxn>
                <a:cxn ang="0">
                  <a:pos x="268" y="20"/>
                </a:cxn>
                <a:cxn ang="0">
                  <a:pos x="282" y="40"/>
                </a:cxn>
                <a:cxn ang="0">
                  <a:pos x="298" y="62"/>
                </a:cxn>
                <a:cxn ang="0">
                  <a:pos x="300" y="78"/>
                </a:cxn>
                <a:cxn ang="0">
                  <a:pos x="316" y="96"/>
                </a:cxn>
                <a:cxn ang="0">
                  <a:pos x="328" y="108"/>
                </a:cxn>
                <a:cxn ang="0">
                  <a:pos x="358" y="120"/>
                </a:cxn>
                <a:cxn ang="0">
                  <a:pos x="362" y="140"/>
                </a:cxn>
                <a:cxn ang="0">
                  <a:pos x="382" y="142"/>
                </a:cxn>
                <a:cxn ang="0">
                  <a:pos x="380" y="170"/>
                </a:cxn>
                <a:cxn ang="0">
                  <a:pos x="394" y="190"/>
                </a:cxn>
                <a:cxn ang="0">
                  <a:pos x="408" y="198"/>
                </a:cxn>
                <a:cxn ang="0">
                  <a:pos x="422" y="200"/>
                </a:cxn>
                <a:cxn ang="0">
                  <a:pos x="446" y="210"/>
                </a:cxn>
                <a:cxn ang="0">
                  <a:pos x="448" y="222"/>
                </a:cxn>
                <a:cxn ang="0">
                  <a:pos x="460" y="228"/>
                </a:cxn>
                <a:cxn ang="0">
                  <a:pos x="440" y="238"/>
                </a:cxn>
                <a:cxn ang="0">
                  <a:pos x="410" y="248"/>
                </a:cxn>
                <a:cxn ang="0">
                  <a:pos x="398" y="260"/>
                </a:cxn>
                <a:cxn ang="0">
                  <a:pos x="372" y="282"/>
                </a:cxn>
                <a:cxn ang="0">
                  <a:pos x="364" y="290"/>
                </a:cxn>
                <a:cxn ang="0">
                  <a:pos x="344" y="304"/>
                </a:cxn>
                <a:cxn ang="0">
                  <a:pos x="334" y="334"/>
                </a:cxn>
                <a:cxn ang="0">
                  <a:pos x="316" y="348"/>
                </a:cxn>
              </a:cxnLst>
              <a:rect l="0" t="0" r="r" b="b"/>
              <a:pathLst>
                <a:path w="462" h="466">
                  <a:moveTo>
                    <a:pt x="312" y="352"/>
                  </a:moveTo>
                  <a:lnTo>
                    <a:pt x="310" y="352"/>
                  </a:lnTo>
                  <a:lnTo>
                    <a:pt x="304" y="352"/>
                  </a:lnTo>
                  <a:lnTo>
                    <a:pt x="300" y="354"/>
                  </a:lnTo>
                  <a:lnTo>
                    <a:pt x="292" y="356"/>
                  </a:lnTo>
                  <a:lnTo>
                    <a:pt x="288" y="358"/>
                  </a:lnTo>
                  <a:lnTo>
                    <a:pt x="286" y="358"/>
                  </a:lnTo>
                  <a:lnTo>
                    <a:pt x="286" y="362"/>
                  </a:lnTo>
                  <a:lnTo>
                    <a:pt x="284" y="366"/>
                  </a:lnTo>
                  <a:lnTo>
                    <a:pt x="282" y="374"/>
                  </a:lnTo>
                  <a:lnTo>
                    <a:pt x="280" y="382"/>
                  </a:lnTo>
                  <a:lnTo>
                    <a:pt x="276" y="394"/>
                  </a:lnTo>
                  <a:lnTo>
                    <a:pt x="274" y="396"/>
                  </a:lnTo>
                  <a:lnTo>
                    <a:pt x="272" y="400"/>
                  </a:lnTo>
                  <a:lnTo>
                    <a:pt x="270" y="402"/>
                  </a:lnTo>
                  <a:lnTo>
                    <a:pt x="266" y="406"/>
                  </a:lnTo>
                  <a:lnTo>
                    <a:pt x="262" y="408"/>
                  </a:lnTo>
                  <a:lnTo>
                    <a:pt x="258" y="410"/>
                  </a:lnTo>
                  <a:lnTo>
                    <a:pt x="250" y="410"/>
                  </a:lnTo>
                  <a:lnTo>
                    <a:pt x="248" y="410"/>
                  </a:lnTo>
                  <a:lnTo>
                    <a:pt x="246" y="408"/>
                  </a:lnTo>
                  <a:lnTo>
                    <a:pt x="244" y="408"/>
                  </a:lnTo>
                  <a:lnTo>
                    <a:pt x="242" y="408"/>
                  </a:lnTo>
                  <a:lnTo>
                    <a:pt x="240" y="410"/>
                  </a:lnTo>
                  <a:lnTo>
                    <a:pt x="236" y="412"/>
                  </a:lnTo>
                  <a:lnTo>
                    <a:pt x="232" y="414"/>
                  </a:lnTo>
                  <a:lnTo>
                    <a:pt x="226" y="412"/>
                  </a:lnTo>
                  <a:lnTo>
                    <a:pt x="224" y="412"/>
                  </a:lnTo>
                  <a:lnTo>
                    <a:pt x="218" y="410"/>
                  </a:lnTo>
                  <a:lnTo>
                    <a:pt x="216" y="410"/>
                  </a:lnTo>
                  <a:lnTo>
                    <a:pt x="214" y="408"/>
                  </a:lnTo>
                  <a:lnTo>
                    <a:pt x="212" y="410"/>
                  </a:lnTo>
                  <a:lnTo>
                    <a:pt x="210" y="410"/>
                  </a:lnTo>
                  <a:lnTo>
                    <a:pt x="206" y="408"/>
                  </a:lnTo>
                  <a:lnTo>
                    <a:pt x="204" y="406"/>
                  </a:lnTo>
                  <a:lnTo>
                    <a:pt x="204" y="404"/>
                  </a:lnTo>
                  <a:lnTo>
                    <a:pt x="202" y="402"/>
                  </a:lnTo>
                  <a:lnTo>
                    <a:pt x="198" y="402"/>
                  </a:lnTo>
                  <a:lnTo>
                    <a:pt x="196" y="404"/>
                  </a:lnTo>
                  <a:lnTo>
                    <a:pt x="194" y="404"/>
                  </a:lnTo>
                  <a:lnTo>
                    <a:pt x="188" y="402"/>
                  </a:lnTo>
                  <a:lnTo>
                    <a:pt x="188" y="400"/>
                  </a:lnTo>
                  <a:lnTo>
                    <a:pt x="180" y="394"/>
                  </a:lnTo>
                  <a:lnTo>
                    <a:pt x="178" y="392"/>
                  </a:lnTo>
                  <a:lnTo>
                    <a:pt x="176" y="392"/>
                  </a:lnTo>
                  <a:lnTo>
                    <a:pt x="174" y="390"/>
                  </a:lnTo>
                  <a:lnTo>
                    <a:pt x="170" y="388"/>
                  </a:lnTo>
                  <a:lnTo>
                    <a:pt x="168" y="384"/>
                  </a:lnTo>
                  <a:lnTo>
                    <a:pt x="158" y="384"/>
                  </a:lnTo>
                  <a:lnTo>
                    <a:pt x="154" y="384"/>
                  </a:lnTo>
                  <a:lnTo>
                    <a:pt x="146" y="386"/>
                  </a:lnTo>
                  <a:lnTo>
                    <a:pt x="144" y="388"/>
                  </a:lnTo>
                  <a:lnTo>
                    <a:pt x="140" y="390"/>
                  </a:lnTo>
                  <a:lnTo>
                    <a:pt x="138" y="398"/>
                  </a:lnTo>
                  <a:lnTo>
                    <a:pt x="136" y="400"/>
                  </a:lnTo>
                  <a:lnTo>
                    <a:pt x="138" y="402"/>
                  </a:lnTo>
                  <a:lnTo>
                    <a:pt x="136" y="404"/>
                  </a:lnTo>
                  <a:lnTo>
                    <a:pt x="134" y="406"/>
                  </a:lnTo>
                  <a:lnTo>
                    <a:pt x="134" y="408"/>
                  </a:lnTo>
                  <a:lnTo>
                    <a:pt x="132" y="412"/>
                  </a:lnTo>
                  <a:lnTo>
                    <a:pt x="132" y="414"/>
                  </a:lnTo>
                  <a:lnTo>
                    <a:pt x="132" y="420"/>
                  </a:lnTo>
                  <a:lnTo>
                    <a:pt x="130" y="422"/>
                  </a:lnTo>
                  <a:lnTo>
                    <a:pt x="128" y="422"/>
                  </a:lnTo>
                  <a:lnTo>
                    <a:pt x="126" y="426"/>
                  </a:lnTo>
                  <a:lnTo>
                    <a:pt x="120" y="432"/>
                  </a:lnTo>
                  <a:lnTo>
                    <a:pt x="114" y="436"/>
                  </a:lnTo>
                  <a:lnTo>
                    <a:pt x="108" y="438"/>
                  </a:lnTo>
                  <a:lnTo>
                    <a:pt x="106" y="442"/>
                  </a:lnTo>
                  <a:lnTo>
                    <a:pt x="104" y="444"/>
                  </a:lnTo>
                  <a:lnTo>
                    <a:pt x="104" y="446"/>
                  </a:lnTo>
                  <a:lnTo>
                    <a:pt x="102" y="448"/>
                  </a:lnTo>
                  <a:lnTo>
                    <a:pt x="98" y="454"/>
                  </a:lnTo>
                  <a:lnTo>
                    <a:pt x="96" y="454"/>
                  </a:lnTo>
                  <a:lnTo>
                    <a:pt x="94" y="456"/>
                  </a:lnTo>
                  <a:lnTo>
                    <a:pt x="90" y="456"/>
                  </a:lnTo>
                  <a:lnTo>
                    <a:pt x="86" y="456"/>
                  </a:lnTo>
                  <a:lnTo>
                    <a:pt x="84" y="456"/>
                  </a:lnTo>
                  <a:lnTo>
                    <a:pt x="84" y="458"/>
                  </a:lnTo>
                  <a:lnTo>
                    <a:pt x="84" y="460"/>
                  </a:lnTo>
                  <a:lnTo>
                    <a:pt x="84" y="462"/>
                  </a:lnTo>
                  <a:lnTo>
                    <a:pt x="84" y="464"/>
                  </a:lnTo>
                  <a:lnTo>
                    <a:pt x="82" y="466"/>
                  </a:lnTo>
                  <a:lnTo>
                    <a:pt x="80" y="466"/>
                  </a:lnTo>
                  <a:lnTo>
                    <a:pt x="78" y="466"/>
                  </a:lnTo>
                  <a:lnTo>
                    <a:pt x="72" y="466"/>
                  </a:lnTo>
                  <a:lnTo>
                    <a:pt x="72" y="464"/>
                  </a:lnTo>
                  <a:lnTo>
                    <a:pt x="70" y="464"/>
                  </a:lnTo>
                  <a:lnTo>
                    <a:pt x="68" y="464"/>
                  </a:lnTo>
                  <a:lnTo>
                    <a:pt x="66" y="464"/>
                  </a:lnTo>
                  <a:lnTo>
                    <a:pt x="64" y="464"/>
                  </a:lnTo>
                  <a:lnTo>
                    <a:pt x="62" y="464"/>
                  </a:lnTo>
                  <a:lnTo>
                    <a:pt x="56" y="466"/>
                  </a:lnTo>
                  <a:lnTo>
                    <a:pt x="54" y="466"/>
                  </a:lnTo>
                  <a:lnTo>
                    <a:pt x="52" y="466"/>
                  </a:lnTo>
                  <a:lnTo>
                    <a:pt x="48" y="464"/>
                  </a:lnTo>
                  <a:lnTo>
                    <a:pt x="46" y="464"/>
                  </a:lnTo>
                  <a:lnTo>
                    <a:pt x="44" y="462"/>
                  </a:lnTo>
                  <a:lnTo>
                    <a:pt x="42" y="462"/>
                  </a:lnTo>
                  <a:lnTo>
                    <a:pt x="40" y="462"/>
                  </a:lnTo>
                  <a:lnTo>
                    <a:pt x="40" y="464"/>
                  </a:lnTo>
                  <a:lnTo>
                    <a:pt x="38" y="464"/>
                  </a:lnTo>
                  <a:lnTo>
                    <a:pt x="36" y="466"/>
                  </a:lnTo>
                  <a:lnTo>
                    <a:pt x="34" y="466"/>
                  </a:lnTo>
                  <a:lnTo>
                    <a:pt x="30" y="464"/>
                  </a:lnTo>
                  <a:lnTo>
                    <a:pt x="30" y="460"/>
                  </a:lnTo>
                  <a:lnTo>
                    <a:pt x="28" y="448"/>
                  </a:lnTo>
                  <a:lnTo>
                    <a:pt x="28" y="444"/>
                  </a:lnTo>
                  <a:lnTo>
                    <a:pt x="30" y="444"/>
                  </a:lnTo>
                  <a:lnTo>
                    <a:pt x="32" y="442"/>
                  </a:lnTo>
                  <a:lnTo>
                    <a:pt x="36" y="438"/>
                  </a:lnTo>
                  <a:lnTo>
                    <a:pt x="36" y="436"/>
                  </a:lnTo>
                  <a:lnTo>
                    <a:pt x="38" y="434"/>
                  </a:lnTo>
                  <a:lnTo>
                    <a:pt x="40" y="428"/>
                  </a:lnTo>
                  <a:lnTo>
                    <a:pt x="40" y="414"/>
                  </a:lnTo>
                  <a:lnTo>
                    <a:pt x="38" y="412"/>
                  </a:lnTo>
                  <a:lnTo>
                    <a:pt x="36" y="410"/>
                  </a:lnTo>
                  <a:lnTo>
                    <a:pt x="32" y="404"/>
                  </a:lnTo>
                  <a:lnTo>
                    <a:pt x="32" y="402"/>
                  </a:lnTo>
                  <a:lnTo>
                    <a:pt x="32" y="400"/>
                  </a:lnTo>
                  <a:lnTo>
                    <a:pt x="30" y="394"/>
                  </a:lnTo>
                  <a:lnTo>
                    <a:pt x="30" y="392"/>
                  </a:lnTo>
                  <a:lnTo>
                    <a:pt x="28" y="390"/>
                  </a:lnTo>
                  <a:lnTo>
                    <a:pt x="26" y="386"/>
                  </a:lnTo>
                  <a:lnTo>
                    <a:pt x="22" y="378"/>
                  </a:lnTo>
                  <a:lnTo>
                    <a:pt x="18" y="372"/>
                  </a:lnTo>
                  <a:lnTo>
                    <a:pt x="12" y="366"/>
                  </a:lnTo>
                  <a:lnTo>
                    <a:pt x="8" y="364"/>
                  </a:lnTo>
                  <a:lnTo>
                    <a:pt x="6" y="364"/>
                  </a:lnTo>
                  <a:lnTo>
                    <a:pt x="2" y="360"/>
                  </a:lnTo>
                  <a:lnTo>
                    <a:pt x="0" y="358"/>
                  </a:lnTo>
                  <a:lnTo>
                    <a:pt x="0" y="356"/>
                  </a:lnTo>
                  <a:lnTo>
                    <a:pt x="0" y="348"/>
                  </a:lnTo>
                  <a:lnTo>
                    <a:pt x="0" y="340"/>
                  </a:lnTo>
                  <a:lnTo>
                    <a:pt x="0" y="334"/>
                  </a:lnTo>
                  <a:lnTo>
                    <a:pt x="0" y="316"/>
                  </a:lnTo>
                  <a:lnTo>
                    <a:pt x="0" y="312"/>
                  </a:lnTo>
                  <a:lnTo>
                    <a:pt x="0" y="306"/>
                  </a:lnTo>
                  <a:lnTo>
                    <a:pt x="0" y="300"/>
                  </a:lnTo>
                  <a:lnTo>
                    <a:pt x="0" y="292"/>
                  </a:lnTo>
                  <a:lnTo>
                    <a:pt x="0" y="284"/>
                  </a:lnTo>
                  <a:lnTo>
                    <a:pt x="0" y="274"/>
                  </a:lnTo>
                  <a:lnTo>
                    <a:pt x="0" y="266"/>
                  </a:lnTo>
                  <a:lnTo>
                    <a:pt x="0" y="264"/>
                  </a:lnTo>
                  <a:lnTo>
                    <a:pt x="0" y="254"/>
                  </a:lnTo>
                  <a:lnTo>
                    <a:pt x="0" y="242"/>
                  </a:lnTo>
                  <a:lnTo>
                    <a:pt x="0" y="230"/>
                  </a:lnTo>
                  <a:lnTo>
                    <a:pt x="0" y="220"/>
                  </a:lnTo>
                  <a:lnTo>
                    <a:pt x="0" y="216"/>
                  </a:lnTo>
                  <a:lnTo>
                    <a:pt x="16" y="216"/>
                  </a:lnTo>
                  <a:lnTo>
                    <a:pt x="32" y="216"/>
                  </a:lnTo>
                  <a:lnTo>
                    <a:pt x="44" y="216"/>
                  </a:lnTo>
                  <a:lnTo>
                    <a:pt x="48" y="216"/>
                  </a:lnTo>
                  <a:lnTo>
                    <a:pt x="48" y="214"/>
                  </a:lnTo>
                  <a:lnTo>
                    <a:pt x="48" y="196"/>
                  </a:lnTo>
                  <a:lnTo>
                    <a:pt x="50" y="182"/>
                  </a:lnTo>
                  <a:lnTo>
                    <a:pt x="50" y="166"/>
                  </a:lnTo>
                  <a:lnTo>
                    <a:pt x="50" y="164"/>
                  </a:lnTo>
                  <a:lnTo>
                    <a:pt x="50" y="156"/>
                  </a:lnTo>
                  <a:lnTo>
                    <a:pt x="50" y="124"/>
                  </a:lnTo>
                  <a:lnTo>
                    <a:pt x="50" y="114"/>
                  </a:lnTo>
                  <a:lnTo>
                    <a:pt x="50" y="72"/>
                  </a:lnTo>
                  <a:lnTo>
                    <a:pt x="50" y="48"/>
                  </a:lnTo>
                  <a:lnTo>
                    <a:pt x="50" y="36"/>
                  </a:lnTo>
                  <a:lnTo>
                    <a:pt x="50" y="30"/>
                  </a:lnTo>
                  <a:lnTo>
                    <a:pt x="50" y="28"/>
                  </a:lnTo>
                  <a:lnTo>
                    <a:pt x="62" y="28"/>
                  </a:lnTo>
                  <a:lnTo>
                    <a:pt x="72" y="28"/>
                  </a:lnTo>
                  <a:lnTo>
                    <a:pt x="90" y="24"/>
                  </a:lnTo>
                  <a:lnTo>
                    <a:pt x="112" y="20"/>
                  </a:lnTo>
                  <a:lnTo>
                    <a:pt x="124" y="18"/>
                  </a:lnTo>
                  <a:lnTo>
                    <a:pt x="132" y="16"/>
                  </a:lnTo>
                  <a:lnTo>
                    <a:pt x="154" y="12"/>
                  </a:lnTo>
                  <a:lnTo>
                    <a:pt x="164" y="12"/>
                  </a:lnTo>
                  <a:lnTo>
                    <a:pt x="166" y="12"/>
                  </a:lnTo>
                  <a:lnTo>
                    <a:pt x="166" y="14"/>
                  </a:lnTo>
                  <a:lnTo>
                    <a:pt x="166" y="16"/>
                  </a:lnTo>
                  <a:lnTo>
                    <a:pt x="168" y="18"/>
                  </a:lnTo>
                  <a:lnTo>
                    <a:pt x="170" y="20"/>
                  </a:lnTo>
                  <a:lnTo>
                    <a:pt x="170" y="22"/>
                  </a:lnTo>
                  <a:lnTo>
                    <a:pt x="172" y="22"/>
                  </a:lnTo>
                  <a:lnTo>
                    <a:pt x="174" y="24"/>
                  </a:lnTo>
                  <a:lnTo>
                    <a:pt x="176" y="26"/>
                  </a:lnTo>
                  <a:lnTo>
                    <a:pt x="178" y="28"/>
                  </a:lnTo>
                  <a:lnTo>
                    <a:pt x="178" y="30"/>
                  </a:lnTo>
                  <a:lnTo>
                    <a:pt x="178" y="34"/>
                  </a:lnTo>
                  <a:lnTo>
                    <a:pt x="178" y="36"/>
                  </a:lnTo>
                  <a:lnTo>
                    <a:pt x="180" y="36"/>
                  </a:lnTo>
                  <a:lnTo>
                    <a:pt x="182" y="36"/>
                  </a:lnTo>
                  <a:lnTo>
                    <a:pt x="186" y="34"/>
                  </a:lnTo>
                  <a:lnTo>
                    <a:pt x="190" y="30"/>
                  </a:lnTo>
                  <a:lnTo>
                    <a:pt x="192" y="28"/>
                  </a:lnTo>
                  <a:lnTo>
                    <a:pt x="192" y="26"/>
                  </a:lnTo>
                  <a:lnTo>
                    <a:pt x="194" y="26"/>
                  </a:lnTo>
                  <a:lnTo>
                    <a:pt x="194" y="24"/>
                  </a:lnTo>
                  <a:lnTo>
                    <a:pt x="198" y="22"/>
                  </a:lnTo>
                  <a:lnTo>
                    <a:pt x="200" y="20"/>
                  </a:lnTo>
                  <a:lnTo>
                    <a:pt x="214" y="12"/>
                  </a:lnTo>
                  <a:lnTo>
                    <a:pt x="218" y="10"/>
                  </a:lnTo>
                  <a:lnTo>
                    <a:pt x="220" y="10"/>
                  </a:lnTo>
                  <a:lnTo>
                    <a:pt x="222" y="10"/>
                  </a:lnTo>
                  <a:lnTo>
                    <a:pt x="222" y="12"/>
                  </a:lnTo>
                  <a:lnTo>
                    <a:pt x="224" y="14"/>
                  </a:lnTo>
                  <a:lnTo>
                    <a:pt x="224" y="16"/>
                  </a:lnTo>
                  <a:lnTo>
                    <a:pt x="226" y="16"/>
                  </a:lnTo>
                  <a:lnTo>
                    <a:pt x="228" y="14"/>
                  </a:lnTo>
                  <a:lnTo>
                    <a:pt x="234" y="10"/>
                  </a:lnTo>
                  <a:lnTo>
                    <a:pt x="242" y="4"/>
                  </a:lnTo>
                  <a:lnTo>
                    <a:pt x="246" y="2"/>
                  </a:lnTo>
                  <a:lnTo>
                    <a:pt x="248" y="4"/>
                  </a:lnTo>
                  <a:lnTo>
                    <a:pt x="250" y="4"/>
                  </a:lnTo>
                  <a:lnTo>
                    <a:pt x="254" y="4"/>
                  </a:lnTo>
                  <a:lnTo>
                    <a:pt x="256" y="2"/>
                  </a:lnTo>
                  <a:lnTo>
                    <a:pt x="258" y="0"/>
                  </a:lnTo>
                  <a:lnTo>
                    <a:pt x="262" y="2"/>
                  </a:lnTo>
                  <a:lnTo>
                    <a:pt x="264" y="2"/>
                  </a:lnTo>
                  <a:lnTo>
                    <a:pt x="262" y="4"/>
                  </a:lnTo>
                  <a:lnTo>
                    <a:pt x="262" y="8"/>
                  </a:lnTo>
                  <a:lnTo>
                    <a:pt x="264" y="12"/>
                  </a:lnTo>
                  <a:lnTo>
                    <a:pt x="266" y="16"/>
                  </a:lnTo>
                  <a:lnTo>
                    <a:pt x="268" y="18"/>
                  </a:lnTo>
                  <a:lnTo>
                    <a:pt x="268" y="20"/>
                  </a:lnTo>
                  <a:lnTo>
                    <a:pt x="272" y="24"/>
                  </a:lnTo>
                  <a:lnTo>
                    <a:pt x="274" y="26"/>
                  </a:lnTo>
                  <a:lnTo>
                    <a:pt x="274" y="30"/>
                  </a:lnTo>
                  <a:lnTo>
                    <a:pt x="276" y="32"/>
                  </a:lnTo>
                  <a:lnTo>
                    <a:pt x="278" y="36"/>
                  </a:lnTo>
                  <a:lnTo>
                    <a:pt x="282" y="40"/>
                  </a:lnTo>
                  <a:lnTo>
                    <a:pt x="286" y="42"/>
                  </a:lnTo>
                  <a:lnTo>
                    <a:pt x="290" y="50"/>
                  </a:lnTo>
                  <a:lnTo>
                    <a:pt x="292" y="56"/>
                  </a:lnTo>
                  <a:lnTo>
                    <a:pt x="296" y="58"/>
                  </a:lnTo>
                  <a:lnTo>
                    <a:pt x="296" y="60"/>
                  </a:lnTo>
                  <a:lnTo>
                    <a:pt x="298" y="62"/>
                  </a:lnTo>
                  <a:lnTo>
                    <a:pt x="298" y="64"/>
                  </a:lnTo>
                  <a:lnTo>
                    <a:pt x="296" y="66"/>
                  </a:lnTo>
                  <a:lnTo>
                    <a:pt x="296" y="70"/>
                  </a:lnTo>
                  <a:lnTo>
                    <a:pt x="298" y="72"/>
                  </a:lnTo>
                  <a:lnTo>
                    <a:pt x="300" y="74"/>
                  </a:lnTo>
                  <a:lnTo>
                    <a:pt x="300" y="78"/>
                  </a:lnTo>
                  <a:lnTo>
                    <a:pt x="302" y="84"/>
                  </a:lnTo>
                  <a:lnTo>
                    <a:pt x="306" y="90"/>
                  </a:lnTo>
                  <a:lnTo>
                    <a:pt x="308" y="92"/>
                  </a:lnTo>
                  <a:lnTo>
                    <a:pt x="310" y="94"/>
                  </a:lnTo>
                  <a:lnTo>
                    <a:pt x="312" y="94"/>
                  </a:lnTo>
                  <a:lnTo>
                    <a:pt x="316" y="96"/>
                  </a:lnTo>
                  <a:lnTo>
                    <a:pt x="318" y="98"/>
                  </a:lnTo>
                  <a:lnTo>
                    <a:pt x="324" y="104"/>
                  </a:lnTo>
                  <a:lnTo>
                    <a:pt x="326" y="104"/>
                  </a:lnTo>
                  <a:lnTo>
                    <a:pt x="326" y="106"/>
                  </a:lnTo>
                  <a:lnTo>
                    <a:pt x="328" y="106"/>
                  </a:lnTo>
                  <a:lnTo>
                    <a:pt x="328" y="108"/>
                  </a:lnTo>
                  <a:lnTo>
                    <a:pt x="330" y="108"/>
                  </a:lnTo>
                  <a:lnTo>
                    <a:pt x="332" y="108"/>
                  </a:lnTo>
                  <a:lnTo>
                    <a:pt x="334" y="112"/>
                  </a:lnTo>
                  <a:lnTo>
                    <a:pt x="346" y="116"/>
                  </a:lnTo>
                  <a:lnTo>
                    <a:pt x="352" y="118"/>
                  </a:lnTo>
                  <a:lnTo>
                    <a:pt x="358" y="120"/>
                  </a:lnTo>
                  <a:lnTo>
                    <a:pt x="360" y="128"/>
                  </a:lnTo>
                  <a:lnTo>
                    <a:pt x="362" y="128"/>
                  </a:lnTo>
                  <a:lnTo>
                    <a:pt x="362" y="132"/>
                  </a:lnTo>
                  <a:lnTo>
                    <a:pt x="362" y="136"/>
                  </a:lnTo>
                  <a:lnTo>
                    <a:pt x="360" y="140"/>
                  </a:lnTo>
                  <a:lnTo>
                    <a:pt x="362" y="140"/>
                  </a:lnTo>
                  <a:lnTo>
                    <a:pt x="364" y="140"/>
                  </a:lnTo>
                  <a:lnTo>
                    <a:pt x="368" y="140"/>
                  </a:lnTo>
                  <a:lnTo>
                    <a:pt x="372" y="140"/>
                  </a:lnTo>
                  <a:lnTo>
                    <a:pt x="376" y="140"/>
                  </a:lnTo>
                  <a:lnTo>
                    <a:pt x="380" y="140"/>
                  </a:lnTo>
                  <a:lnTo>
                    <a:pt x="382" y="142"/>
                  </a:lnTo>
                  <a:lnTo>
                    <a:pt x="382" y="144"/>
                  </a:lnTo>
                  <a:lnTo>
                    <a:pt x="382" y="154"/>
                  </a:lnTo>
                  <a:lnTo>
                    <a:pt x="382" y="156"/>
                  </a:lnTo>
                  <a:lnTo>
                    <a:pt x="380" y="160"/>
                  </a:lnTo>
                  <a:lnTo>
                    <a:pt x="380" y="164"/>
                  </a:lnTo>
                  <a:lnTo>
                    <a:pt x="380" y="170"/>
                  </a:lnTo>
                  <a:lnTo>
                    <a:pt x="382" y="174"/>
                  </a:lnTo>
                  <a:lnTo>
                    <a:pt x="384" y="176"/>
                  </a:lnTo>
                  <a:lnTo>
                    <a:pt x="388" y="178"/>
                  </a:lnTo>
                  <a:lnTo>
                    <a:pt x="390" y="184"/>
                  </a:lnTo>
                  <a:lnTo>
                    <a:pt x="392" y="186"/>
                  </a:lnTo>
                  <a:lnTo>
                    <a:pt x="394" y="190"/>
                  </a:lnTo>
                  <a:lnTo>
                    <a:pt x="394" y="196"/>
                  </a:lnTo>
                  <a:lnTo>
                    <a:pt x="396" y="196"/>
                  </a:lnTo>
                  <a:lnTo>
                    <a:pt x="402" y="198"/>
                  </a:lnTo>
                  <a:lnTo>
                    <a:pt x="404" y="198"/>
                  </a:lnTo>
                  <a:lnTo>
                    <a:pt x="406" y="198"/>
                  </a:lnTo>
                  <a:lnTo>
                    <a:pt x="408" y="198"/>
                  </a:lnTo>
                  <a:lnTo>
                    <a:pt x="412" y="198"/>
                  </a:lnTo>
                  <a:lnTo>
                    <a:pt x="414" y="200"/>
                  </a:lnTo>
                  <a:lnTo>
                    <a:pt x="418" y="200"/>
                  </a:lnTo>
                  <a:lnTo>
                    <a:pt x="420" y="202"/>
                  </a:lnTo>
                  <a:lnTo>
                    <a:pt x="420" y="200"/>
                  </a:lnTo>
                  <a:lnTo>
                    <a:pt x="422" y="200"/>
                  </a:lnTo>
                  <a:lnTo>
                    <a:pt x="426" y="200"/>
                  </a:lnTo>
                  <a:lnTo>
                    <a:pt x="436" y="206"/>
                  </a:lnTo>
                  <a:lnTo>
                    <a:pt x="440" y="206"/>
                  </a:lnTo>
                  <a:lnTo>
                    <a:pt x="442" y="206"/>
                  </a:lnTo>
                  <a:lnTo>
                    <a:pt x="446" y="208"/>
                  </a:lnTo>
                  <a:lnTo>
                    <a:pt x="446" y="210"/>
                  </a:lnTo>
                  <a:lnTo>
                    <a:pt x="446" y="212"/>
                  </a:lnTo>
                  <a:lnTo>
                    <a:pt x="444" y="214"/>
                  </a:lnTo>
                  <a:lnTo>
                    <a:pt x="444" y="216"/>
                  </a:lnTo>
                  <a:lnTo>
                    <a:pt x="444" y="218"/>
                  </a:lnTo>
                  <a:lnTo>
                    <a:pt x="446" y="220"/>
                  </a:lnTo>
                  <a:lnTo>
                    <a:pt x="448" y="222"/>
                  </a:lnTo>
                  <a:lnTo>
                    <a:pt x="450" y="222"/>
                  </a:lnTo>
                  <a:lnTo>
                    <a:pt x="452" y="224"/>
                  </a:lnTo>
                  <a:lnTo>
                    <a:pt x="454" y="224"/>
                  </a:lnTo>
                  <a:lnTo>
                    <a:pt x="454" y="222"/>
                  </a:lnTo>
                  <a:lnTo>
                    <a:pt x="456" y="224"/>
                  </a:lnTo>
                  <a:lnTo>
                    <a:pt x="460" y="228"/>
                  </a:lnTo>
                  <a:lnTo>
                    <a:pt x="462" y="228"/>
                  </a:lnTo>
                  <a:lnTo>
                    <a:pt x="456" y="228"/>
                  </a:lnTo>
                  <a:lnTo>
                    <a:pt x="446" y="230"/>
                  </a:lnTo>
                  <a:lnTo>
                    <a:pt x="444" y="230"/>
                  </a:lnTo>
                  <a:lnTo>
                    <a:pt x="440" y="236"/>
                  </a:lnTo>
                  <a:lnTo>
                    <a:pt x="440" y="238"/>
                  </a:lnTo>
                  <a:lnTo>
                    <a:pt x="440" y="240"/>
                  </a:lnTo>
                  <a:lnTo>
                    <a:pt x="438" y="242"/>
                  </a:lnTo>
                  <a:lnTo>
                    <a:pt x="434" y="244"/>
                  </a:lnTo>
                  <a:lnTo>
                    <a:pt x="424" y="248"/>
                  </a:lnTo>
                  <a:lnTo>
                    <a:pt x="414" y="248"/>
                  </a:lnTo>
                  <a:lnTo>
                    <a:pt x="410" y="248"/>
                  </a:lnTo>
                  <a:lnTo>
                    <a:pt x="408" y="250"/>
                  </a:lnTo>
                  <a:lnTo>
                    <a:pt x="402" y="254"/>
                  </a:lnTo>
                  <a:lnTo>
                    <a:pt x="400" y="254"/>
                  </a:lnTo>
                  <a:lnTo>
                    <a:pt x="400" y="256"/>
                  </a:lnTo>
                  <a:lnTo>
                    <a:pt x="400" y="258"/>
                  </a:lnTo>
                  <a:lnTo>
                    <a:pt x="398" y="260"/>
                  </a:lnTo>
                  <a:lnTo>
                    <a:pt x="394" y="262"/>
                  </a:lnTo>
                  <a:lnTo>
                    <a:pt x="390" y="268"/>
                  </a:lnTo>
                  <a:lnTo>
                    <a:pt x="388" y="272"/>
                  </a:lnTo>
                  <a:lnTo>
                    <a:pt x="380" y="278"/>
                  </a:lnTo>
                  <a:lnTo>
                    <a:pt x="376" y="280"/>
                  </a:lnTo>
                  <a:lnTo>
                    <a:pt x="372" y="282"/>
                  </a:lnTo>
                  <a:lnTo>
                    <a:pt x="370" y="282"/>
                  </a:lnTo>
                  <a:lnTo>
                    <a:pt x="370" y="286"/>
                  </a:lnTo>
                  <a:lnTo>
                    <a:pt x="370" y="288"/>
                  </a:lnTo>
                  <a:lnTo>
                    <a:pt x="368" y="290"/>
                  </a:lnTo>
                  <a:lnTo>
                    <a:pt x="366" y="290"/>
                  </a:lnTo>
                  <a:lnTo>
                    <a:pt x="364" y="290"/>
                  </a:lnTo>
                  <a:lnTo>
                    <a:pt x="362" y="290"/>
                  </a:lnTo>
                  <a:lnTo>
                    <a:pt x="358" y="290"/>
                  </a:lnTo>
                  <a:lnTo>
                    <a:pt x="350" y="296"/>
                  </a:lnTo>
                  <a:lnTo>
                    <a:pt x="346" y="300"/>
                  </a:lnTo>
                  <a:lnTo>
                    <a:pt x="344" y="302"/>
                  </a:lnTo>
                  <a:lnTo>
                    <a:pt x="344" y="304"/>
                  </a:lnTo>
                  <a:lnTo>
                    <a:pt x="342" y="302"/>
                  </a:lnTo>
                  <a:lnTo>
                    <a:pt x="340" y="304"/>
                  </a:lnTo>
                  <a:lnTo>
                    <a:pt x="340" y="308"/>
                  </a:lnTo>
                  <a:lnTo>
                    <a:pt x="338" y="316"/>
                  </a:lnTo>
                  <a:lnTo>
                    <a:pt x="334" y="326"/>
                  </a:lnTo>
                  <a:lnTo>
                    <a:pt x="334" y="334"/>
                  </a:lnTo>
                  <a:lnTo>
                    <a:pt x="332" y="334"/>
                  </a:lnTo>
                  <a:lnTo>
                    <a:pt x="330" y="336"/>
                  </a:lnTo>
                  <a:lnTo>
                    <a:pt x="328" y="336"/>
                  </a:lnTo>
                  <a:lnTo>
                    <a:pt x="320" y="342"/>
                  </a:lnTo>
                  <a:lnTo>
                    <a:pt x="316" y="346"/>
                  </a:lnTo>
                  <a:lnTo>
                    <a:pt x="316" y="348"/>
                  </a:lnTo>
                  <a:lnTo>
                    <a:pt x="314" y="348"/>
                  </a:lnTo>
                  <a:lnTo>
                    <a:pt x="314" y="350"/>
                  </a:lnTo>
                  <a:lnTo>
                    <a:pt x="312" y="35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6" name="Freeform 1429"/>
            <p:cNvSpPr>
              <a:spLocks/>
            </p:cNvSpPr>
            <p:nvPr/>
          </p:nvSpPr>
          <p:spPr bwMode="auto">
            <a:xfrm>
              <a:off x="6398719" y="5636758"/>
              <a:ext cx="80070" cy="102590"/>
            </a:xfrm>
            <a:custGeom>
              <a:avLst/>
              <a:gdLst/>
              <a:ahLst/>
              <a:cxnLst>
                <a:cxn ang="0">
                  <a:pos x="4" y="54"/>
                </a:cxn>
                <a:cxn ang="0">
                  <a:pos x="2" y="56"/>
                </a:cxn>
                <a:cxn ang="0">
                  <a:pos x="0" y="56"/>
                </a:cxn>
                <a:cxn ang="0">
                  <a:pos x="0" y="52"/>
                </a:cxn>
                <a:cxn ang="0">
                  <a:pos x="0" y="50"/>
                </a:cxn>
                <a:cxn ang="0">
                  <a:pos x="0" y="48"/>
                </a:cxn>
                <a:cxn ang="0">
                  <a:pos x="0" y="44"/>
                </a:cxn>
                <a:cxn ang="0">
                  <a:pos x="0" y="42"/>
                </a:cxn>
                <a:cxn ang="0">
                  <a:pos x="0" y="38"/>
                </a:cxn>
                <a:cxn ang="0">
                  <a:pos x="0" y="36"/>
                </a:cxn>
                <a:cxn ang="0">
                  <a:pos x="2" y="34"/>
                </a:cxn>
                <a:cxn ang="0">
                  <a:pos x="6" y="30"/>
                </a:cxn>
                <a:cxn ang="0">
                  <a:pos x="8" y="26"/>
                </a:cxn>
                <a:cxn ang="0">
                  <a:pos x="10" y="24"/>
                </a:cxn>
                <a:cxn ang="0">
                  <a:pos x="12" y="20"/>
                </a:cxn>
                <a:cxn ang="0">
                  <a:pos x="14" y="18"/>
                </a:cxn>
                <a:cxn ang="0">
                  <a:pos x="16" y="16"/>
                </a:cxn>
                <a:cxn ang="0">
                  <a:pos x="16" y="14"/>
                </a:cxn>
                <a:cxn ang="0">
                  <a:pos x="18" y="10"/>
                </a:cxn>
                <a:cxn ang="0">
                  <a:pos x="28" y="2"/>
                </a:cxn>
                <a:cxn ang="0">
                  <a:pos x="32" y="0"/>
                </a:cxn>
                <a:cxn ang="0">
                  <a:pos x="40" y="6"/>
                </a:cxn>
                <a:cxn ang="0">
                  <a:pos x="46" y="10"/>
                </a:cxn>
                <a:cxn ang="0">
                  <a:pos x="48" y="12"/>
                </a:cxn>
                <a:cxn ang="0">
                  <a:pos x="50" y="12"/>
                </a:cxn>
                <a:cxn ang="0">
                  <a:pos x="52" y="14"/>
                </a:cxn>
                <a:cxn ang="0">
                  <a:pos x="58" y="12"/>
                </a:cxn>
                <a:cxn ang="0">
                  <a:pos x="60" y="14"/>
                </a:cxn>
                <a:cxn ang="0">
                  <a:pos x="64" y="16"/>
                </a:cxn>
                <a:cxn ang="0">
                  <a:pos x="64" y="22"/>
                </a:cxn>
                <a:cxn ang="0">
                  <a:pos x="62" y="28"/>
                </a:cxn>
                <a:cxn ang="0">
                  <a:pos x="62" y="34"/>
                </a:cxn>
                <a:cxn ang="0">
                  <a:pos x="62" y="36"/>
                </a:cxn>
                <a:cxn ang="0">
                  <a:pos x="64" y="40"/>
                </a:cxn>
                <a:cxn ang="0">
                  <a:pos x="64" y="56"/>
                </a:cxn>
                <a:cxn ang="0">
                  <a:pos x="64" y="58"/>
                </a:cxn>
                <a:cxn ang="0">
                  <a:pos x="62" y="56"/>
                </a:cxn>
                <a:cxn ang="0">
                  <a:pos x="58" y="56"/>
                </a:cxn>
                <a:cxn ang="0">
                  <a:pos x="54" y="68"/>
                </a:cxn>
                <a:cxn ang="0">
                  <a:pos x="54" y="72"/>
                </a:cxn>
                <a:cxn ang="0">
                  <a:pos x="54" y="74"/>
                </a:cxn>
                <a:cxn ang="0">
                  <a:pos x="54" y="76"/>
                </a:cxn>
                <a:cxn ang="0">
                  <a:pos x="54" y="80"/>
                </a:cxn>
                <a:cxn ang="0">
                  <a:pos x="54" y="82"/>
                </a:cxn>
                <a:cxn ang="0">
                  <a:pos x="52" y="82"/>
                </a:cxn>
                <a:cxn ang="0">
                  <a:pos x="44" y="82"/>
                </a:cxn>
                <a:cxn ang="0">
                  <a:pos x="40" y="82"/>
                </a:cxn>
                <a:cxn ang="0">
                  <a:pos x="32" y="82"/>
                </a:cxn>
                <a:cxn ang="0">
                  <a:pos x="28" y="80"/>
                </a:cxn>
                <a:cxn ang="0">
                  <a:pos x="20" y="78"/>
                </a:cxn>
                <a:cxn ang="0">
                  <a:pos x="18" y="76"/>
                </a:cxn>
                <a:cxn ang="0">
                  <a:pos x="16" y="76"/>
                </a:cxn>
                <a:cxn ang="0">
                  <a:pos x="10" y="70"/>
                </a:cxn>
                <a:cxn ang="0">
                  <a:pos x="6" y="64"/>
                </a:cxn>
                <a:cxn ang="0">
                  <a:pos x="4" y="56"/>
                </a:cxn>
                <a:cxn ang="0">
                  <a:pos x="4" y="54"/>
                </a:cxn>
              </a:cxnLst>
              <a:rect l="0" t="0" r="r" b="b"/>
              <a:pathLst>
                <a:path w="64" h="82">
                  <a:moveTo>
                    <a:pt x="4" y="54"/>
                  </a:moveTo>
                  <a:lnTo>
                    <a:pt x="2" y="56"/>
                  </a:lnTo>
                  <a:lnTo>
                    <a:pt x="0" y="56"/>
                  </a:lnTo>
                  <a:lnTo>
                    <a:pt x="0" y="52"/>
                  </a:lnTo>
                  <a:lnTo>
                    <a:pt x="0" y="50"/>
                  </a:lnTo>
                  <a:lnTo>
                    <a:pt x="0" y="48"/>
                  </a:lnTo>
                  <a:lnTo>
                    <a:pt x="0" y="44"/>
                  </a:lnTo>
                  <a:lnTo>
                    <a:pt x="0" y="42"/>
                  </a:lnTo>
                  <a:lnTo>
                    <a:pt x="0" y="38"/>
                  </a:lnTo>
                  <a:lnTo>
                    <a:pt x="0" y="36"/>
                  </a:lnTo>
                  <a:lnTo>
                    <a:pt x="2" y="34"/>
                  </a:lnTo>
                  <a:lnTo>
                    <a:pt x="6" y="30"/>
                  </a:lnTo>
                  <a:lnTo>
                    <a:pt x="8" y="26"/>
                  </a:lnTo>
                  <a:lnTo>
                    <a:pt x="10" y="24"/>
                  </a:lnTo>
                  <a:lnTo>
                    <a:pt x="12" y="20"/>
                  </a:lnTo>
                  <a:lnTo>
                    <a:pt x="14" y="18"/>
                  </a:lnTo>
                  <a:lnTo>
                    <a:pt x="16" y="16"/>
                  </a:lnTo>
                  <a:lnTo>
                    <a:pt x="16" y="14"/>
                  </a:lnTo>
                  <a:lnTo>
                    <a:pt x="18" y="10"/>
                  </a:lnTo>
                  <a:lnTo>
                    <a:pt x="28" y="2"/>
                  </a:lnTo>
                  <a:lnTo>
                    <a:pt x="32" y="0"/>
                  </a:lnTo>
                  <a:lnTo>
                    <a:pt x="40" y="6"/>
                  </a:lnTo>
                  <a:lnTo>
                    <a:pt x="46" y="10"/>
                  </a:lnTo>
                  <a:lnTo>
                    <a:pt x="48" y="12"/>
                  </a:lnTo>
                  <a:lnTo>
                    <a:pt x="50" y="12"/>
                  </a:lnTo>
                  <a:lnTo>
                    <a:pt x="52" y="14"/>
                  </a:lnTo>
                  <a:lnTo>
                    <a:pt x="58" y="12"/>
                  </a:lnTo>
                  <a:lnTo>
                    <a:pt x="60" y="14"/>
                  </a:lnTo>
                  <a:lnTo>
                    <a:pt x="64" y="16"/>
                  </a:lnTo>
                  <a:lnTo>
                    <a:pt x="64" y="22"/>
                  </a:lnTo>
                  <a:lnTo>
                    <a:pt x="62" y="28"/>
                  </a:lnTo>
                  <a:lnTo>
                    <a:pt x="62" y="34"/>
                  </a:lnTo>
                  <a:lnTo>
                    <a:pt x="62" y="36"/>
                  </a:lnTo>
                  <a:lnTo>
                    <a:pt x="64" y="40"/>
                  </a:lnTo>
                  <a:lnTo>
                    <a:pt x="64" y="56"/>
                  </a:lnTo>
                  <a:lnTo>
                    <a:pt x="64" y="58"/>
                  </a:lnTo>
                  <a:lnTo>
                    <a:pt x="62" y="56"/>
                  </a:lnTo>
                  <a:lnTo>
                    <a:pt x="58" y="56"/>
                  </a:lnTo>
                  <a:lnTo>
                    <a:pt x="54" y="68"/>
                  </a:lnTo>
                  <a:lnTo>
                    <a:pt x="54" y="72"/>
                  </a:lnTo>
                  <a:lnTo>
                    <a:pt x="54" y="74"/>
                  </a:lnTo>
                  <a:lnTo>
                    <a:pt x="54" y="76"/>
                  </a:lnTo>
                  <a:lnTo>
                    <a:pt x="54" y="80"/>
                  </a:lnTo>
                  <a:lnTo>
                    <a:pt x="54" y="82"/>
                  </a:lnTo>
                  <a:lnTo>
                    <a:pt x="52" y="82"/>
                  </a:lnTo>
                  <a:lnTo>
                    <a:pt x="44" y="82"/>
                  </a:lnTo>
                  <a:lnTo>
                    <a:pt x="40" y="82"/>
                  </a:lnTo>
                  <a:lnTo>
                    <a:pt x="32" y="82"/>
                  </a:lnTo>
                  <a:lnTo>
                    <a:pt x="28" y="80"/>
                  </a:lnTo>
                  <a:lnTo>
                    <a:pt x="20" y="78"/>
                  </a:lnTo>
                  <a:lnTo>
                    <a:pt x="18" y="76"/>
                  </a:lnTo>
                  <a:lnTo>
                    <a:pt x="16" y="76"/>
                  </a:lnTo>
                  <a:lnTo>
                    <a:pt x="10" y="70"/>
                  </a:lnTo>
                  <a:lnTo>
                    <a:pt x="6" y="64"/>
                  </a:lnTo>
                  <a:lnTo>
                    <a:pt x="4" y="56"/>
                  </a:lnTo>
                  <a:lnTo>
                    <a:pt x="4" y="5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7" name="Freeform 1430"/>
            <p:cNvSpPr>
              <a:spLocks/>
            </p:cNvSpPr>
            <p:nvPr/>
          </p:nvSpPr>
          <p:spPr bwMode="auto">
            <a:xfrm>
              <a:off x="5537965" y="5404055"/>
              <a:ext cx="985864" cy="808208"/>
            </a:xfrm>
            <a:custGeom>
              <a:avLst/>
              <a:gdLst/>
              <a:ahLst/>
              <a:cxnLst>
                <a:cxn ang="0">
                  <a:pos x="42" y="326"/>
                </a:cxn>
                <a:cxn ang="0">
                  <a:pos x="68" y="338"/>
                </a:cxn>
                <a:cxn ang="0">
                  <a:pos x="128" y="346"/>
                </a:cxn>
                <a:cxn ang="0">
                  <a:pos x="142" y="334"/>
                </a:cxn>
                <a:cxn ang="0">
                  <a:pos x="168" y="276"/>
                </a:cxn>
                <a:cxn ang="0">
                  <a:pos x="168" y="136"/>
                </a:cxn>
                <a:cxn ang="0">
                  <a:pos x="198" y="168"/>
                </a:cxn>
                <a:cxn ang="0">
                  <a:pos x="200" y="216"/>
                </a:cxn>
                <a:cxn ang="0">
                  <a:pos x="210" y="236"/>
                </a:cxn>
                <a:cxn ang="0">
                  <a:pos x="238" y="238"/>
                </a:cxn>
                <a:cxn ang="0">
                  <a:pos x="254" y="230"/>
                </a:cxn>
                <a:cxn ang="0">
                  <a:pos x="288" y="206"/>
                </a:cxn>
                <a:cxn ang="0">
                  <a:pos x="304" y="174"/>
                </a:cxn>
                <a:cxn ang="0">
                  <a:pos x="346" y="166"/>
                </a:cxn>
                <a:cxn ang="0">
                  <a:pos x="378" y="184"/>
                </a:cxn>
                <a:cxn ang="0">
                  <a:pos x="412" y="182"/>
                </a:cxn>
                <a:cxn ang="0">
                  <a:pos x="448" y="156"/>
                </a:cxn>
                <a:cxn ang="0">
                  <a:pos x="482" y="124"/>
                </a:cxn>
                <a:cxn ang="0">
                  <a:pos x="508" y="82"/>
                </a:cxn>
                <a:cxn ang="0">
                  <a:pos x="536" y="64"/>
                </a:cxn>
                <a:cxn ang="0">
                  <a:pos x="568" y="32"/>
                </a:cxn>
                <a:cxn ang="0">
                  <a:pos x="608" y="12"/>
                </a:cxn>
                <a:cxn ang="0">
                  <a:pos x="654" y="4"/>
                </a:cxn>
                <a:cxn ang="0">
                  <a:pos x="698" y="10"/>
                </a:cxn>
                <a:cxn ang="0">
                  <a:pos x="734" y="56"/>
                </a:cxn>
                <a:cxn ang="0">
                  <a:pos x="746" y="92"/>
                </a:cxn>
                <a:cxn ang="0">
                  <a:pos x="752" y="154"/>
                </a:cxn>
                <a:cxn ang="0">
                  <a:pos x="736" y="198"/>
                </a:cxn>
                <a:cxn ang="0">
                  <a:pos x="696" y="212"/>
                </a:cxn>
                <a:cxn ang="0">
                  <a:pos x="690" y="242"/>
                </a:cxn>
                <a:cxn ang="0">
                  <a:pos x="732" y="268"/>
                </a:cxn>
                <a:cxn ang="0">
                  <a:pos x="762" y="246"/>
                </a:cxn>
                <a:cxn ang="0">
                  <a:pos x="778" y="274"/>
                </a:cxn>
                <a:cxn ang="0">
                  <a:pos x="766" y="314"/>
                </a:cxn>
                <a:cxn ang="0">
                  <a:pos x="748" y="342"/>
                </a:cxn>
                <a:cxn ang="0">
                  <a:pos x="708" y="370"/>
                </a:cxn>
                <a:cxn ang="0">
                  <a:pos x="686" y="404"/>
                </a:cxn>
                <a:cxn ang="0">
                  <a:pos x="668" y="430"/>
                </a:cxn>
                <a:cxn ang="0">
                  <a:pos x="626" y="478"/>
                </a:cxn>
                <a:cxn ang="0">
                  <a:pos x="600" y="500"/>
                </a:cxn>
                <a:cxn ang="0">
                  <a:pos x="550" y="544"/>
                </a:cxn>
                <a:cxn ang="0">
                  <a:pos x="500" y="580"/>
                </a:cxn>
                <a:cxn ang="0">
                  <a:pos x="454" y="594"/>
                </a:cxn>
                <a:cxn ang="0">
                  <a:pos x="424" y="602"/>
                </a:cxn>
                <a:cxn ang="0">
                  <a:pos x="406" y="604"/>
                </a:cxn>
                <a:cxn ang="0">
                  <a:pos x="382" y="614"/>
                </a:cxn>
                <a:cxn ang="0">
                  <a:pos x="332" y="604"/>
                </a:cxn>
                <a:cxn ang="0">
                  <a:pos x="284" y="606"/>
                </a:cxn>
                <a:cxn ang="0">
                  <a:pos x="256" y="620"/>
                </a:cxn>
                <a:cxn ang="0">
                  <a:pos x="228" y="626"/>
                </a:cxn>
                <a:cxn ang="0">
                  <a:pos x="200" y="628"/>
                </a:cxn>
                <a:cxn ang="0">
                  <a:pos x="170" y="644"/>
                </a:cxn>
                <a:cxn ang="0">
                  <a:pos x="138" y="632"/>
                </a:cxn>
                <a:cxn ang="0">
                  <a:pos x="118" y="622"/>
                </a:cxn>
                <a:cxn ang="0">
                  <a:pos x="104" y="608"/>
                </a:cxn>
                <a:cxn ang="0">
                  <a:pos x="90" y="606"/>
                </a:cxn>
                <a:cxn ang="0">
                  <a:pos x="80" y="564"/>
                </a:cxn>
                <a:cxn ang="0">
                  <a:pos x="76" y="542"/>
                </a:cxn>
                <a:cxn ang="0">
                  <a:pos x="88" y="510"/>
                </a:cxn>
                <a:cxn ang="0">
                  <a:pos x="64" y="460"/>
                </a:cxn>
                <a:cxn ang="0">
                  <a:pos x="36" y="410"/>
                </a:cxn>
                <a:cxn ang="0">
                  <a:pos x="16" y="354"/>
                </a:cxn>
                <a:cxn ang="0">
                  <a:pos x="14" y="320"/>
                </a:cxn>
              </a:cxnLst>
              <a:rect l="0" t="0" r="r" b="b"/>
              <a:pathLst>
                <a:path w="788" h="646">
                  <a:moveTo>
                    <a:pt x="34" y="304"/>
                  </a:moveTo>
                  <a:lnTo>
                    <a:pt x="34" y="306"/>
                  </a:lnTo>
                  <a:lnTo>
                    <a:pt x="34" y="308"/>
                  </a:lnTo>
                  <a:lnTo>
                    <a:pt x="34" y="310"/>
                  </a:lnTo>
                  <a:lnTo>
                    <a:pt x="38" y="310"/>
                  </a:lnTo>
                  <a:lnTo>
                    <a:pt x="40" y="308"/>
                  </a:lnTo>
                  <a:lnTo>
                    <a:pt x="42" y="310"/>
                  </a:lnTo>
                  <a:lnTo>
                    <a:pt x="44" y="316"/>
                  </a:lnTo>
                  <a:lnTo>
                    <a:pt x="44" y="318"/>
                  </a:lnTo>
                  <a:lnTo>
                    <a:pt x="44" y="320"/>
                  </a:lnTo>
                  <a:lnTo>
                    <a:pt x="42" y="326"/>
                  </a:lnTo>
                  <a:lnTo>
                    <a:pt x="44" y="334"/>
                  </a:lnTo>
                  <a:lnTo>
                    <a:pt x="46" y="334"/>
                  </a:lnTo>
                  <a:lnTo>
                    <a:pt x="48" y="334"/>
                  </a:lnTo>
                  <a:lnTo>
                    <a:pt x="54" y="332"/>
                  </a:lnTo>
                  <a:lnTo>
                    <a:pt x="54" y="334"/>
                  </a:lnTo>
                  <a:lnTo>
                    <a:pt x="54" y="336"/>
                  </a:lnTo>
                  <a:lnTo>
                    <a:pt x="56" y="338"/>
                  </a:lnTo>
                  <a:lnTo>
                    <a:pt x="58" y="338"/>
                  </a:lnTo>
                  <a:lnTo>
                    <a:pt x="58" y="336"/>
                  </a:lnTo>
                  <a:lnTo>
                    <a:pt x="60" y="336"/>
                  </a:lnTo>
                  <a:lnTo>
                    <a:pt x="68" y="338"/>
                  </a:lnTo>
                  <a:lnTo>
                    <a:pt x="72" y="340"/>
                  </a:lnTo>
                  <a:lnTo>
                    <a:pt x="74" y="340"/>
                  </a:lnTo>
                  <a:lnTo>
                    <a:pt x="76" y="342"/>
                  </a:lnTo>
                  <a:lnTo>
                    <a:pt x="82" y="344"/>
                  </a:lnTo>
                  <a:lnTo>
                    <a:pt x="88" y="342"/>
                  </a:lnTo>
                  <a:lnTo>
                    <a:pt x="108" y="340"/>
                  </a:lnTo>
                  <a:lnTo>
                    <a:pt x="118" y="342"/>
                  </a:lnTo>
                  <a:lnTo>
                    <a:pt x="120" y="342"/>
                  </a:lnTo>
                  <a:lnTo>
                    <a:pt x="120" y="344"/>
                  </a:lnTo>
                  <a:lnTo>
                    <a:pt x="126" y="346"/>
                  </a:lnTo>
                  <a:lnTo>
                    <a:pt x="128" y="346"/>
                  </a:lnTo>
                  <a:lnTo>
                    <a:pt x="130" y="346"/>
                  </a:lnTo>
                  <a:lnTo>
                    <a:pt x="132" y="344"/>
                  </a:lnTo>
                  <a:lnTo>
                    <a:pt x="132" y="340"/>
                  </a:lnTo>
                  <a:lnTo>
                    <a:pt x="132" y="338"/>
                  </a:lnTo>
                  <a:lnTo>
                    <a:pt x="132" y="336"/>
                  </a:lnTo>
                  <a:lnTo>
                    <a:pt x="132" y="334"/>
                  </a:lnTo>
                  <a:lnTo>
                    <a:pt x="134" y="334"/>
                  </a:lnTo>
                  <a:lnTo>
                    <a:pt x="136" y="334"/>
                  </a:lnTo>
                  <a:lnTo>
                    <a:pt x="136" y="336"/>
                  </a:lnTo>
                  <a:lnTo>
                    <a:pt x="140" y="334"/>
                  </a:lnTo>
                  <a:lnTo>
                    <a:pt x="142" y="334"/>
                  </a:lnTo>
                  <a:lnTo>
                    <a:pt x="144" y="332"/>
                  </a:lnTo>
                  <a:lnTo>
                    <a:pt x="144" y="330"/>
                  </a:lnTo>
                  <a:lnTo>
                    <a:pt x="144" y="328"/>
                  </a:lnTo>
                  <a:lnTo>
                    <a:pt x="148" y="324"/>
                  </a:lnTo>
                  <a:lnTo>
                    <a:pt x="156" y="322"/>
                  </a:lnTo>
                  <a:lnTo>
                    <a:pt x="158" y="322"/>
                  </a:lnTo>
                  <a:lnTo>
                    <a:pt x="168" y="318"/>
                  </a:lnTo>
                  <a:lnTo>
                    <a:pt x="168" y="316"/>
                  </a:lnTo>
                  <a:lnTo>
                    <a:pt x="168" y="300"/>
                  </a:lnTo>
                  <a:lnTo>
                    <a:pt x="168" y="290"/>
                  </a:lnTo>
                  <a:lnTo>
                    <a:pt x="168" y="276"/>
                  </a:lnTo>
                  <a:lnTo>
                    <a:pt x="168" y="272"/>
                  </a:lnTo>
                  <a:lnTo>
                    <a:pt x="168" y="264"/>
                  </a:lnTo>
                  <a:lnTo>
                    <a:pt x="168" y="262"/>
                  </a:lnTo>
                  <a:lnTo>
                    <a:pt x="168" y="248"/>
                  </a:lnTo>
                  <a:lnTo>
                    <a:pt x="168" y="216"/>
                  </a:lnTo>
                  <a:lnTo>
                    <a:pt x="168" y="188"/>
                  </a:lnTo>
                  <a:lnTo>
                    <a:pt x="168" y="176"/>
                  </a:lnTo>
                  <a:lnTo>
                    <a:pt x="168" y="164"/>
                  </a:lnTo>
                  <a:lnTo>
                    <a:pt x="168" y="154"/>
                  </a:lnTo>
                  <a:lnTo>
                    <a:pt x="168" y="148"/>
                  </a:lnTo>
                  <a:lnTo>
                    <a:pt x="168" y="136"/>
                  </a:lnTo>
                  <a:lnTo>
                    <a:pt x="168" y="132"/>
                  </a:lnTo>
                  <a:lnTo>
                    <a:pt x="170" y="134"/>
                  </a:lnTo>
                  <a:lnTo>
                    <a:pt x="174" y="138"/>
                  </a:lnTo>
                  <a:lnTo>
                    <a:pt x="176" y="138"/>
                  </a:lnTo>
                  <a:lnTo>
                    <a:pt x="180" y="140"/>
                  </a:lnTo>
                  <a:lnTo>
                    <a:pt x="186" y="146"/>
                  </a:lnTo>
                  <a:lnTo>
                    <a:pt x="190" y="152"/>
                  </a:lnTo>
                  <a:lnTo>
                    <a:pt x="194" y="160"/>
                  </a:lnTo>
                  <a:lnTo>
                    <a:pt x="196" y="164"/>
                  </a:lnTo>
                  <a:lnTo>
                    <a:pt x="198" y="166"/>
                  </a:lnTo>
                  <a:lnTo>
                    <a:pt x="198" y="168"/>
                  </a:lnTo>
                  <a:lnTo>
                    <a:pt x="200" y="174"/>
                  </a:lnTo>
                  <a:lnTo>
                    <a:pt x="200" y="176"/>
                  </a:lnTo>
                  <a:lnTo>
                    <a:pt x="200" y="178"/>
                  </a:lnTo>
                  <a:lnTo>
                    <a:pt x="204" y="184"/>
                  </a:lnTo>
                  <a:lnTo>
                    <a:pt x="206" y="186"/>
                  </a:lnTo>
                  <a:lnTo>
                    <a:pt x="208" y="188"/>
                  </a:lnTo>
                  <a:lnTo>
                    <a:pt x="208" y="202"/>
                  </a:lnTo>
                  <a:lnTo>
                    <a:pt x="206" y="208"/>
                  </a:lnTo>
                  <a:lnTo>
                    <a:pt x="204" y="210"/>
                  </a:lnTo>
                  <a:lnTo>
                    <a:pt x="204" y="212"/>
                  </a:lnTo>
                  <a:lnTo>
                    <a:pt x="200" y="216"/>
                  </a:lnTo>
                  <a:lnTo>
                    <a:pt x="198" y="218"/>
                  </a:lnTo>
                  <a:lnTo>
                    <a:pt x="196" y="218"/>
                  </a:lnTo>
                  <a:lnTo>
                    <a:pt x="196" y="222"/>
                  </a:lnTo>
                  <a:lnTo>
                    <a:pt x="198" y="234"/>
                  </a:lnTo>
                  <a:lnTo>
                    <a:pt x="198" y="238"/>
                  </a:lnTo>
                  <a:lnTo>
                    <a:pt x="202" y="240"/>
                  </a:lnTo>
                  <a:lnTo>
                    <a:pt x="204" y="240"/>
                  </a:lnTo>
                  <a:lnTo>
                    <a:pt x="206" y="238"/>
                  </a:lnTo>
                  <a:lnTo>
                    <a:pt x="208" y="238"/>
                  </a:lnTo>
                  <a:lnTo>
                    <a:pt x="208" y="236"/>
                  </a:lnTo>
                  <a:lnTo>
                    <a:pt x="210" y="236"/>
                  </a:lnTo>
                  <a:lnTo>
                    <a:pt x="212" y="236"/>
                  </a:lnTo>
                  <a:lnTo>
                    <a:pt x="214" y="238"/>
                  </a:lnTo>
                  <a:lnTo>
                    <a:pt x="216" y="238"/>
                  </a:lnTo>
                  <a:lnTo>
                    <a:pt x="220" y="240"/>
                  </a:lnTo>
                  <a:lnTo>
                    <a:pt x="222" y="240"/>
                  </a:lnTo>
                  <a:lnTo>
                    <a:pt x="224" y="240"/>
                  </a:lnTo>
                  <a:lnTo>
                    <a:pt x="230" y="238"/>
                  </a:lnTo>
                  <a:lnTo>
                    <a:pt x="232" y="238"/>
                  </a:lnTo>
                  <a:lnTo>
                    <a:pt x="234" y="238"/>
                  </a:lnTo>
                  <a:lnTo>
                    <a:pt x="236" y="238"/>
                  </a:lnTo>
                  <a:lnTo>
                    <a:pt x="238" y="238"/>
                  </a:lnTo>
                  <a:lnTo>
                    <a:pt x="240" y="238"/>
                  </a:lnTo>
                  <a:lnTo>
                    <a:pt x="240" y="240"/>
                  </a:lnTo>
                  <a:lnTo>
                    <a:pt x="246" y="240"/>
                  </a:lnTo>
                  <a:lnTo>
                    <a:pt x="248" y="240"/>
                  </a:lnTo>
                  <a:lnTo>
                    <a:pt x="250" y="240"/>
                  </a:lnTo>
                  <a:lnTo>
                    <a:pt x="252" y="238"/>
                  </a:lnTo>
                  <a:lnTo>
                    <a:pt x="252" y="236"/>
                  </a:lnTo>
                  <a:lnTo>
                    <a:pt x="252" y="234"/>
                  </a:lnTo>
                  <a:lnTo>
                    <a:pt x="252" y="232"/>
                  </a:lnTo>
                  <a:lnTo>
                    <a:pt x="252" y="230"/>
                  </a:lnTo>
                  <a:lnTo>
                    <a:pt x="254" y="230"/>
                  </a:lnTo>
                  <a:lnTo>
                    <a:pt x="258" y="230"/>
                  </a:lnTo>
                  <a:lnTo>
                    <a:pt x="262" y="230"/>
                  </a:lnTo>
                  <a:lnTo>
                    <a:pt x="264" y="228"/>
                  </a:lnTo>
                  <a:lnTo>
                    <a:pt x="266" y="228"/>
                  </a:lnTo>
                  <a:lnTo>
                    <a:pt x="270" y="222"/>
                  </a:lnTo>
                  <a:lnTo>
                    <a:pt x="272" y="220"/>
                  </a:lnTo>
                  <a:lnTo>
                    <a:pt x="272" y="218"/>
                  </a:lnTo>
                  <a:lnTo>
                    <a:pt x="274" y="216"/>
                  </a:lnTo>
                  <a:lnTo>
                    <a:pt x="276" y="212"/>
                  </a:lnTo>
                  <a:lnTo>
                    <a:pt x="282" y="210"/>
                  </a:lnTo>
                  <a:lnTo>
                    <a:pt x="288" y="206"/>
                  </a:lnTo>
                  <a:lnTo>
                    <a:pt x="294" y="200"/>
                  </a:lnTo>
                  <a:lnTo>
                    <a:pt x="296" y="196"/>
                  </a:lnTo>
                  <a:lnTo>
                    <a:pt x="298" y="196"/>
                  </a:lnTo>
                  <a:lnTo>
                    <a:pt x="300" y="194"/>
                  </a:lnTo>
                  <a:lnTo>
                    <a:pt x="300" y="188"/>
                  </a:lnTo>
                  <a:lnTo>
                    <a:pt x="300" y="186"/>
                  </a:lnTo>
                  <a:lnTo>
                    <a:pt x="302" y="182"/>
                  </a:lnTo>
                  <a:lnTo>
                    <a:pt x="302" y="180"/>
                  </a:lnTo>
                  <a:lnTo>
                    <a:pt x="304" y="178"/>
                  </a:lnTo>
                  <a:lnTo>
                    <a:pt x="306" y="176"/>
                  </a:lnTo>
                  <a:lnTo>
                    <a:pt x="304" y="174"/>
                  </a:lnTo>
                  <a:lnTo>
                    <a:pt x="306" y="172"/>
                  </a:lnTo>
                  <a:lnTo>
                    <a:pt x="308" y="164"/>
                  </a:lnTo>
                  <a:lnTo>
                    <a:pt x="312" y="162"/>
                  </a:lnTo>
                  <a:lnTo>
                    <a:pt x="314" y="160"/>
                  </a:lnTo>
                  <a:lnTo>
                    <a:pt x="322" y="158"/>
                  </a:lnTo>
                  <a:lnTo>
                    <a:pt x="326" y="158"/>
                  </a:lnTo>
                  <a:lnTo>
                    <a:pt x="336" y="158"/>
                  </a:lnTo>
                  <a:lnTo>
                    <a:pt x="338" y="162"/>
                  </a:lnTo>
                  <a:lnTo>
                    <a:pt x="342" y="164"/>
                  </a:lnTo>
                  <a:lnTo>
                    <a:pt x="344" y="166"/>
                  </a:lnTo>
                  <a:lnTo>
                    <a:pt x="346" y="166"/>
                  </a:lnTo>
                  <a:lnTo>
                    <a:pt x="348" y="168"/>
                  </a:lnTo>
                  <a:lnTo>
                    <a:pt x="356" y="174"/>
                  </a:lnTo>
                  <a:lnTo>
                    <a:pt x="356" y="176"/>
                  </a:lnTo>
                  <a:lnTo>
                    <a:pt x="362" y="178"/>
                  </a:lnTo>
                  <a:lnTo>
                    <a:pt x="364" y="178"/>
                  </a:lnTo>
                  <a:lnTo>
                    <a:pt x="366" y="176"/>
                  </a:lnTo>
                  <a:lnTo>
                    <a:pt x="370" y="176"/>
                  </a:lnTo>
                  <a:lnTo>
                    <a:pt x="372" y="178"/>
                  </a:lnTo>
                  <a:lnTo>
                    <a:pt x="372" y="180"/>
                  </a:lnTo>
                  <a:lnTo>
                    <a:pt x="374" y="182"/>
                  </a:lnTo>
                  <a:lnTo>
                    <a:pt x="378" y="184"/>
                  </a:lnTo>
                  <a:lnTo>
                    <a:pt x="380" y="184"/>
                  </a:lnTo>
                  <a:lnTo>
                    <a:pt x="382" y="182"/>
                  </a:lnTo>
                  <a:lnTo>
                    <a:pt x="384" y="184"/>
                  </a:lnTo>
                  <a:lnTo>
                    <a:pt x="386" y="184"/>
                  </a:lnTo>
                  <a:lnTo>
                    <a:pt x="392" y="186"/>
                  </a:lnTo>
                  <a:lnTo>
                    <a:pt x="394" y="186"/>
                  </a:lnTo>
                  <a:lnTo>
                    <a:pt x="400" y="188"/>
                  </a:lnTo>
                  <a:lnTo>
                    <a:pt x="404" y="186"/>
                  </a:lnTo>
                  <a:lnTo>
                    <a:pt x="408" y="184"/>
                  </a:lnTo>
                  <a:lnTo>
                    <a:pt x="410" y="182"/>
                  </a:lnTo>
                  <a:lnTo>
                    <a:pt x="412" y="182"/>
                  </a:lnTo>
                  <a:lnTo>
                    <a:pt x="414" y="182"/>
                  </a:lnTo>
                  <a:lnTo>
                    <a:pt x="416" y="184"/>
                  </a:lnTo>
                  <a:lnTo>
                    <a:pt x="418" y="184"/>
                  </a:lnTo>
                  <a:lnTo>
                    <a:pt x="426" y="184"/>
                  </a:lnTo>
                  <a:lnTo>
                    <a:pt x="430" y="182"/>
                  </a:lnTo>
                  <a:lnTo>
                    <a:pt x="434" y="180"/>
                  </a:lnTo>
                  <a:lnTo>
                    <a:pt x="438" y="176"/>
                  </a:lnTo>
                  <a:lnTo>
                    <a:pt x="440" y="174"/>
                  </a:lnTo>
                  <a:lnTo>
                    <a:pt x="442" y="170"/>
                  </a:lnTo>
                  <a:lnTo>
                    <a:pt x="444" y="168"/>
                  </a:lnTo>
                  <a:lnTo>
                    <a:pt x="448" y="156"/>
                  </a:lnTo>
                  <a:lnTo>
                    <a:pt x="450" y="148"/>
                  </a:lnTo>
                  <a:lnTo>
                    <a:pt x="452" y="140"/>
                  </a:lnTo>
                  <a:lnTo>
                    <a:pt x="454" y="136"/>
                  </a:lnTo>
                  <a:lnTo>
                    <a:pt x="454" y="132"/>
                  </a:lnTo>
                  <a:lnTo>
                    <a:pt x="456" y="132"/>
                  </a:lnTo>
                  <a:lnTo>
                    <a:pt x="460" y="130"/>
                  </a:lnTo>
                  <a:lnTo>
                    <a:pt x="468" y="128"/>
                  </a:lnTo>
                  <a:lnTo>
                    <a:pt x="472" y="126"/>
                  </a:lnTo>
                  <a:lnTo>
                    <a:pt x="478" y="126"/>
                  </a:lnTo>
                  <a:lnTo>
                    <a:pt x="480" y="126"/>
                  </a:lnTo>
                  <a:lnTo>
                    <a:pt x="482" y="124"/>
                  </a:lnTo>
                  <a:lnTo>
                    <a:pt x="482" y="122"/>
                  </a:lnTo>
                  <a:lnTo>
                    <a:pt x="484" y="122"/>
                  </a:lnTo>
                  <a:lnTo>
                    <a:pt x="484" y="120"/>
                  </a:lnTo>
                  <a:lnTo>
                    <a:pt x="488" y="116"/>
                  </a:lnTo>
                  <a:lnTo>
                    <a:pt x="496" y="110"/>
                  </a:lnTo>
                  <a:lnTo>
                    <a:pt x="498" y="110"/>
                  </a:lnTo>
                  <a:lnTo>
                    <a:pt x="500" y="108"/>
                  </a:lnTo>
                  <a:lnTo>
                    <a:pt x="502" y="108"/>
                  </a:lnTo>
                  <a:lnTo>
                    <a:pt x="502" y="100"/>
                  </a:lnTo>
                  <a:lnTo>
                    <a:pt x="506" y="90"/>
                  </a:lnTo>
                  <a:lnTo>
                    <a:pt x="508" y="82"/>
                  </a:lnTo>
                  <a:lnTo>
                    <a:pt x="508" y="78"/>
                  </a:lnTo>
                  <a:lnTo>
                    <a:pt x="510" y="76"/>
                  </a:lnTo>
                  <a:lnTo>
                    <a:pt x="512" y="78"/>
                  </a:lnTo>
                  <a:lnTo>
                    <a:pt x="512" y="76"/>
                  </a:lnTo>
                  <a:lnTo>
                    <a:pt x="514" y="74"/>
                  </a:lnTo>
                  <a:lnTo>
                    <a:pt x="518" y="70"/>
                  </a:lnTo>
                  <a:lnTo>
                    <a:pt x="526" y="64"/>
                  </a:lnTo>
                  <a:lnTo>
                    <a:pt x="530" y="64"/>
                  </a:lnTo>
                  <a:lnTo>
                    <a:pt x="532" y="64"/>
                  </a:lnTo>
                  <a:lnTo>
                    <a:pt x="534" y="64"/>
                  </a:lnTo>
                  <a:lnTo>
                    <a:pt x="536" y="64"/>
                  </a:lnTo>
                  <a:lnTo>
                    <a:pt x="538" y="62"/>
                  </a:lnTo>
                  <a:lnTo>
                    <a:pt x="538" y="60"/>
                  </a:lnTo>
                  <a:lnTo>
                    <a:pt x="538" y="56"/>
                  </a:lnTo>
                  <a:lnTo>
                    <a:pt x="540" y="56"/>
                  </a:lnTo>
                  <a:lnTo>
                    <a:pt x="544" y="54"/>
                  </a:lnTo>
                  <a:lnTo>
                    <a:pt x="548" y="52"/>
                  </a:lnTo>
                  <a:lnTo>
                    <a:pt x="556" y="46"/>
                  </a:lnTo>
                  <a:lnTo>
                    <a:pt x="558" y="42"/>
                  </a:lnTo>
                  <a:lnTo>
                    <a:pt x="562" y="36"/>
                  </a:lnTo>
                  <a:lnTo>
                    <a:pt x="566" y="34"/>
                  </a:lnTo>
                  <a:lnTo>
                    <a:pt x="568" y="32"/>
                  </a:lnTo>
                  <a:lnTo>
                    <a:pt x="568" y="30"/>
                  </a:lnTo>
                  <a:lnTo>
                    <a:pt x="568" y="28"/>
                  </a:lnTo>
                  <a:lnTo>
                    <a:pt x="570" y="28"/>
                  </a:lnTo>
                  <a:lnTo>
                    <a:pt x="576" y="24"/>
                  </a:lnTo>
                  <a:lnTo>
                    <a:pt x="578" y="22"/>
                  </a:lnTo>
                  <a:lnTo>
                    <a:pt x="582" y="22"/>
                  </a:lnTo>
                  <a:lnTo>
                    <a:pt x="592" y="22"/>
                  </a:lnTo>
                  <a:lnTo>
                    <a:pt x="602" y="18"/>
                  </a:lnTo>
                  <a:lnTo>
                    <a:pt x="606" y="16"/>
                  </a:lnTo>
                  <a:lnTo>
                    <a:pt x="608" y="14"/>
                  </a:lnTo>
                  <a:lnTo>
                    <a:pt x="608" y="12"/>
                  </a:lnTo>
                  <a:lnTo>
                    <a:pt x="608" y="10"/>
                  </a:lnTo>
                  <a:lnTo>
                    <a:pt x="612" y="4"/>
                  </a:lnTo>
                  <a:lnTo>
                    <a:pt x="614" y="4"/>
                  </a:lnTo>
                  <a:lnTo>
                    <a:pt x="624" y="2"/>
                  </a:lnTo>
                  <a:lnTo>
                    <a:pt x="630" y="2"/>
                  </a:lnTo>
                  <a:lnTo>
                    <a:pt x="632" y="2"/>
                  </a:lnTo>
                  <a:lnTo>
                    <a:pt x="644" y="0"/>
                  </a:lnTo>
                  <a:lnTo>
                    <a:pt x="646" y="0"/>
                  </a:lnTo>
                  <a:lnTo>
                    <a:pt x="650" y="2"/>
                  </a:lnTo>
                  <a:lnTo>
                    <a:pt x="652" y="2"/>
                  </a:lnTo>
                  <a:lnTo>
                    <a:pt x="654" y="4"/>
                  </a:lnTo>
                  <a:lnTo>
                    <a:pt x="656" y="2"/>
                  </a:lnTo>
                  <a:lnTo>
                    <a:pt x="662" y="6"/>
                  </a:lnTo>
                  <a:lnTo>
                    <a:pt x="674" y="12"/>
                  </a:lnTo>
                  <a:lnTo>
                    <a:pt x="678" y="12"/>
                  </a:lnTo>
                  <a:lnTo>
                    <a:pt x="680" y="12"/>
                  </a:lnTo>
                  <a:lnTo>
                    <a:pt x="682" y="10"/>
                  </a:lnTo>
                  <a:lnTo>
                    <a:pt x="684" y="10"/>
                  </a:lnTo>
                  <a:lnTo>
                    <a:pt x="686" y="10"/>
                  </a:lnTo>
                  <a:lnTo>
                    <a:pt x="690" y="12"/>
                  </a:lnTo>
                  <a:lnTo>
                    <a:pt x="694" y="10"/>
                  </a:lnTo>
                  <a:lnTo>
                    <a:pt x="698" y="10"/>
                  </a:lnTo>
                  <a:lnTo>
                    <a:pt x="700" y="10"/>
                  </a:lnTo>
                  <a:lnTo>
                    <a:pt x="704" y="10"/>
                  </a:lnTo>
                  <a:lnTo>
                    <a:pt x="706" y="10"/>
                  </a:lnTo>
                  <a:lnTo>
                    <a:pt x="708" y="10"/>
                  </a:lnTo>
                  <a:lnTo>
                    <a:pt x="712" y="12"/>
                  </a:lnTo>
                  <a:lnTo>
                    <a:pt x="714" y="12"/>
                  </a:lnTo>
                  <a:lnTo>
                    <a:pt x="716" y="12"/>
                  </a:lnTo>
                  <a:lnTo>
                    <a:pt x="722" y="14"/>
                  </a:lnTo>
                  <a:lnTo>
                    <a:pt x="722" y="16"/>
                  </a:lnTo>
                  <a:lnTo>
                    <a:pt x="732" y="48"/>
                  </a:lnTo>
                  <a:lnTo>
                    <a:pt x="734" y="56"/>
                  </a:lnTo>
                  <a:lnTo>
                    <a:pt x="734" y="58"/>
                  </a:lnTo>
                  <a:lnTo>
                    <a:pt x="732" y="62"/>
                  </a:lnTo>
                  <a:lnTo>
                    <a:pt x="732" y="68"/>
                  </a:lnTo>
                  <a:lnTo>
                    <a:pt x="732" y="70"/>
                  </a:lnTo>
                  <a:lnTo>
                    <a:pt x="736" y="74"/>
                  </a:lnTo>
                  <a:lnTo>
                    <a:pt x="738" y="76"/>
                  </a:lnTo>
                  <a:lnTo>
                    <a:pt x="740" y="78"/>
                  </a:lnTo>
                  <a:lnTo>
                    <a:pt x="740" y="82"/>
                  </a:lnTo>
                  <a:lnTo>
                    <a:pt x="740" y="84"/>
                  </a:lnTo>
                  <a:lnTo>
                    <a:pt x="742" y="90"/>
                  </a:lnTo>
                  <a:lnTo>
                    <a:pt x="746" y="92"/>
                  </a:lnTo>
                  <a:lnTo>
                    <a:pt x="748" y="96"/>
                  </a:lnTo>
                  <a:lnTo>
                    <a:pt x="748" y="106"/>
                  </a:lnTo>
                  <a:lnTo>
                    <a:pt x="750" y="112"/>
                  </a:lnTo>
                  <a:lnTo>
                    <a:pt x="750" y="114"/>
                  </a:lnTo>
                  <a:lnTo>
                    <a:pt x="752" y="120"/>
                  </a:lnTo>
                  <a:lnTo>
                    <a:pt x="752" y="122"/>
                  </a:lnTo>
                  <a:lnTo>
                    <a:pt x="752" y="134"/>
                  </a:lnTo>
                  <a:lnTo>
                    <a:pt x="752" y="140"/>
                  </a:lnTo>
                  <a:lnTo>
                    <a:pt x="752" y="146"/>
                  </a:lnTo>
                  <a:lnTo>
                    <a:pt x="752" y="152"/>
                  </a:lnTo>
                  <a:lnTo>
                    <a:pt x="752" y="154"/>
                  </a:lnTo>
                  <a:lnTo>
                    <a:pt x="750" y="168"/>
                  </a:lnTo>
                  <a:lnTo>
                    <a:pt x="748" y="172"/>
                  </a:lnTo>
                  <a:lnTo>
                    <a:pt x="748" y="176"/>
                  </a:lnTo>
                  <a:lnTo>
                    <a:pt x="750" y="176"/>
                  </a:lnTo>
                  <a:lnTo>
                    <a:pt x="748" y="182"/>
                  </a:lnTo>
                  <a:lnTo>
                    <a:pt x="748" y="184"/>
                  </a:lnTo>
                  <a:lnTo>
                    <a:pt x="744" y="192"/>
                  </a:lnTo>
                  <a:lnTo>
                    <a:pt x="746" y="198"/>
                  </a:lnTo>
                  <a:lnTo>
                    <a:pt x="740" y="200"/>
                  </a:lnTo>
                  <a:lnTo>
                    <a:pt x="738" y="198"/>
                  </a:lnTo>
                  <a:lnTo>
                    <a:pt x="736" y="198"/>
                  </a:lnTo>
                  <a:lnTo>
                    <a:pt x="734" y="196"/>
                  </a:lnTo>
                  <a:lnTo>
                    <a:pt x="728" y="192"/>
                  </a:lnTo>
                  <a:lnTo>
                    <a:pt x="720" y="186"/>
                  </a:lnTo>
                  <a:lnTo>
                    <a:pt x="716" y="188"/>
                  </a:lnTo>
                  <a:lnTo>
                    <a:pt x="706" y="196"/>
                  </a:lnTo>
                  <a:lnTo>
                    <a:pt x="704" y="200"/>
                  </a:lnTo>
                  <a:lnTo>
                    <a:pt x="704" y="202"/>
                  </a:lnTo>
                  <a:lnTo>
                    <a:pt x="702" y="204"/>
                  </a:lnTo>
                  <a:lnTo>
                    <a:pt x="700" y="206"/>
                  </a:lnTo>
                  <a:lnTo>
                    <a:pt x="698" y="210"/>
                  </a:lnTo>
                  <a:lnTo>
                    <a:pt x="696" y="212"/>
                  </a:lnTo>
                  <a:lnTo>
                    <a:pt x="694" y="216"/>
                  </a:lnTo>
                  <a:lnTo>
                    <a:pt x="690" y="220"/>
                  </a:lnTo>
                  <a:lnTo>
                    <a:pt x="688" y="222"/>
                  </a:lnTo>
                  <a:lnTo>
                    <a:pt x="688" y="224"/>
                  </a:lnTo>
                  <a:lnTo>
                    <a:pt x="688" y="228"/>
                  </a:lnTo>
                  <a:lnTo>
                    <a:pt x="688" y="230"/>
                  </a:lnTo>
                  <a:lnTo>
                    <a:pt x="688" y="234"/>
                  </a:lnTo>
                  <a:lnTo>
                    <a:pt x="688" y="236"/>
                  </a:lnTo>
                  <a:lnTo>
                    <a:pt x="688" y="238"/>
                  </a:lnTo>
                  <a:lnTo>
                    <a:pt x="688" y="242"/>
                  </a:lnTo>
                  <a:lnTo>
                    <a:pt x="690" y="242"/>
                  </a:lnTo>
                  <a:lnTo>
                    <a:pt x="692" y="240"/>
                  </a:lnTo>
                  <a:lnTo>
                    <a:pt x="692" y="242"/>
                  </a:lnTo>
                  <a:lnTo>
                    <a:pt x="694" y="250"/>
                  </a:lnTo>
                  <a:lnTo>
                    <a:pt x="698" y="256"/>
                  </a:lnTo>
                  <a:lnTo>
                    <a:pt x="704" y="262"/>
                  </a:lnTo>
                  <a:lnTo>
                    <a:pt x="706" y="262"/>
                  </a:lnTo>
                  <a:lnTo>
                    <a:pt x="708" y="264"/>
                  </a:lnTo>
                  <a:lnTo>
                    <a:pt x="716" y="266"/>
                  </a:lnTo>
                  <a:lnTo>
                    <a:pt x="720" y="268"/>
                  </a:lnTo>
                  <a:lnTo>
                    <a:pt x="728" y="268"/>
                  </a:lnTo>
                  <a:lnTo>
                    <a:pt x="732" y="268"/>
                  </a:lnTo>
                  <a:lnTo>
                    <a:pt x="740" y="268"/>
                  </a:lnTo>
                  <a:lnTo>
                    <a:pt x="742" y="268"/>
                  </a:lnTo>
                  <a:lnTo>
                    <a:pt x="742" y="266"/>
                  </a:lnTo>
                  <a:lnTo>
                    <a:pt x="742" y="262"/>
                  </a:lnTo>
                  <a:lnTo>
                    <a:pt x="742" y="260"/>
                  </a:lnTo>
                  <a:lnTo>
                    <a:pt x="742" y="258"/>
                  </a:lnTo>
                  <a:lnTo>
                    <a:pt x="742" y="254"/>
                  </a:lnTo>
                  <a:lnTo>
                    <a:pt x="746" y="242"/>
                  </a:lnTo>
                  <a:lnTo>
                    <a:pt x="750" y="242"/>
                  </a:lnTo>
                  <a:lnTo>
                    <a:pt x="752" y="244"/>
                  </a:lnTo>
                  <a:lnTo>
                    <a:pt x="762" y="246"/>
                  </a:lnTo>
                  <a:lnTo>
                    <a:pt x="764" y="246"/>
                  </a:lnTo>
                  <a:lnTo>
                    <a:pt x="778" y="246"/>
                  </a:lnTo>
                  <a:lnTo>
                    <a:pt x="782" y="246"/>
                  </a:lnTo>
                  <a:lnTo>
                    <a:pt x="788" y="246"/>
                  </a:lnTo>
                  <a:lnTo>
                    <a:pt x="786" y="250"/>
                  </a:lnTo>
                  <a:lnTo>
                    <a:pt x="786" y="252"/>
                  </a:lnTo>
                  <a:lnTo>
                    <a:pt x="786" y="254"/>
                  </a:lnTo>
                  <a:lnTo>
                    <a:pt x="784" y="254"/>
                  </a:lnTo>
                  <a:lnTo>
                    <a:pt x="784" y="260"/>
                  </a:lnTo>
                  <a:lnTo>
                    <a:pt x="778" y="272"/>
                  </a:lnTo>
                  <a:lnTo>
                    <a:pt x="778" y="274"/>
                  </a:lnTo>
                  <a:lnTo>
                    <a:pt x="776" y="276"/>
                  </a:lnTo>
                  <a:lnTo>
                    <a:pt x="774" y="278"/>
                  </a:lnTo>
                  <a:lnTo>
                    <a:pt x="774" y="280"/>
                  </a:lnTo>
                  <a:lnTo>
                    <a:pt x="774" y="284"/>
                  </a:lnTo>
                  <a:lnTo>
                    <a:pt x="772" y="288"/>
                  </a:lnTo>
                  <a:lnTo>
                    <a:pt x="772" y="290"/>
                  </a:lnTo>
                  <a:lnTo>
                    <a:pt x="770" y="298"/>
                  </a:lnTo>
                  <a:lnTo>
                    <a:pt x="770" y="302"/>
                  </a:lnTo>
                  <a:lnTo>
                    <a:pt x="768" y="310"/>
                  </a:lnTo>
                  <a:lnTo>
                    <a:pt x="766" y="312"/>
                  </a:lnTo>
                  <a:lnTo>
                    <a:pt x="766" y="314"/>
                  </a:lnTo>
                  <a:lnTo>
                    <a:pt x="766" y="316"/>
                  </a:lnTo>
                  <a:lnTo>
                    <a:pt x="764" y="318"/>
                  </a:lnTo>
                  <a:lnTo>
                    <a:pt x="762" y="318"/>
                  </a:lnTo>
                  <a:lnTo>
                    <a:pt x="762" y="320"/>
                  </a:lnTo>
                  <a:lnTo>
                    <a:pt x="760" y="324"/>
                  </a:lnTo>
                  <a:lnTo>
                    <a:pt x="760" y="326"/>
                  </a:lnTo>
                  <a:lnTo>
                    <a:pt x="758" y="330"/>
                  </a:lnTo>
                  <a:lnTo>
                    <a:pt x="758" y="332"/>
                  </a:lnTo>
                  <a:lnTo>
                    <a:pt x="756" y="332"/>
                  </a:lnTo>
                  <a:lnTo>
                    <a:pt x="752" y="338"/>
                  </a:lnTo>
                  <a:lnTo>
                    <a:pt x="748" y="342"/>
                  </a:lnTo>
                  <a:lnTo>
                    <a:pt x="738" y="348"/>
                  </a:lnTo>
                  <a:lnTo>
                    <a:pt x="738" y="350"/>
                  </a:lnTo>
                  <a:lnTo>
                    <a:pt x="734" y="350"/>
                  </a:lnTo>
                  <a:lnTo>
                    <a:pt x="732" y="352"/>
                  </a:lnTo>
                  <a:lnTo>
                    <a:pt x="730" y="352"/>
                  </a:lnTo>
                  <a:lnTo>
                    <a:pt x="726" y="352"/>
                  </a:lnTo>
                  <a:lnTo>
                    <a:pt x="724" y="356"/>
                  </a:lnTo>
                  <a:lnTo>
                    <a:pt x="722" y="358"/>
                  </a:lnTo>
                  <a:lnTo>
                    <a:pt x="716" y="364"/>
                  </a:lnTo>
                  <a:lnTo>
                    <a:pt x="710" y="368"/>
                  </a:lnTo>
                  <a:lnTo>
                    <a:pt x="708" y="370"/>
                  </a:lnTo>
                  <a:lnTo>
                    <a:pt x="708" y="372"/>
                  </a:lnTo>
                  <a:lnTo>
                    <a:pt x="706" y="372"/>
                  </a:lnTo>
                  <a:lnTo>
                    <a:pt x="704" y="374"/>
                  </a:lnTo>
                  <a:lnTo>
                    <a:pt x="698" y="382"/>
                  </a:lnTo>
                  <a:lnTo>
                    <a:pt x="694" y="388"/>
                  </a:lnTo>
                  <a:lnTo>
                    <a:pt x="694" y="390"/>
                  </a:lnTo>
                  <a:lnTo>
                    <a:pt x="688" y="400"/>
                  </a:lnTo>
                  <a:lnTo>
                    <a:pt x="686" y="400"/>
                  </a:lnTo>
                  <a:lnTo>
                    <a:pt x="690" y="400"/>
                  </a:lnTo>
                  <a:lnTo>
                    <a:pt x="688" y="402"/>
                  </a:lnTo>
                  <a:lnTo>
                    <a:pt x="686" y="404"/>
                  </a:lnTo>
                  <a:lnTo>
                    <a:pt x="684" y="406"/>
                  </a:lnTo>
                  <a:lnTo>
                    <a:pt x="682" y="406"/>
                  </a:lnTo>
                  <a:lnTo>
                    <a:pt x="680" y="410"/>
                  </a:lnTo>
                  <a:lnTo>
                    <a:pt x="680" y="412"/>
                  </a:lnTo>
                  <a:lnTo>
                    <a:pt x="678" y="412"/>
                  </a:lnTo>
                  <a:lnTo>
                    <a:pt x="678" y="414"/>
                  </a:lnTo>
                  <a:lnTo>
                    <a:pt x="678" y="416"/>
                  </a:lnTo>
                  <a:lnTo>
                    <a:pt x="674" y="420"/>
                  </a:lnTo>
                  <a:lnTo>
                    <a:pt x="674" y="422"/>
                  </a:lnTo>
                  <a:lnTo>
                    <a:pt x="672" y="424"/>
                  </a:lnTo>
                  <a:lnTo>
                    <a:pt x="668" y="430"/>
                  </a:lnTo>
                  <a:lnTo>
                    <a:pt x="660" y="442"/>
                  </a:lnTo>
                  <a:lnTo>
                    <a:pt x="656" y="448"/>
                  </a:lnTo>
                  <a:lnTo>
                    <a:pt x="654" y="448"/>
                  </a:lnTo>
                  <a:lnTo>
                    <a:pt x="646" y="458"/>
                  </a:lnTo>
                  <a:lnTo>
                    <a:pt x="644" y="460"/>
                  </a:lnTo>
                  <a:lnTo>
                    <a:pt x="644" y="462"/>
                  </a:lnTo>
                  <a:lnTo>
                    <a:pt x="636" y="470"/>
                  </a:lnTo>
                  <a:lnTo>
                    <a:pt x="636" y="472"/>
                  </a:lnTo>
                  <a:lnTo>
                    <a:pt x="630" y="476"/>
                  </a:lnTo>
                  <a:lnTo>
                    <a:pt x="628" y="478"/>
                  </a:lnTo>
                  <a:lnTo>
                    <a:pt x="626" y="478"/>
                  </a:lnTo>
                  <a:lnTo>
                    <a:pt x="624" y="478"/>
                  </a:lnTo>
                  <a:lnTo>
                    <a:pt x="622" y="480"/>
                  </a:lnTo>
                  <a:lnTo>
                    <a:pt x="620" y="480"/>
                  </a:lnTo>
                  <a:lnTo>
                    <a:pt x="620" y="482"/>
                  </a:lnTo>
                  <a:lnTo>
                    <a:pt x="618" y="486"/>
                  </a:lnTo>
                  <a:lnTo>
                    <a:pt x="612" y="488"/>
                  </a:lnTo>
                  <a:lnTo>
                    <a:pt x="612" y="490"/>
                  </a:lnTo>
                  <a:lnTo>
                    <a:pt x="606" y="492"/>
                  </a:lnTo>
                  <a:lnTo>
                    <a:pt x="602" y="496"/>
                  </a:lnTo>
                  <a:lnTo>
                    <a:pt x="600" y="498"/>
                  </a:lnTo>
                  <a:lnTo>
                    <a:pt x="600" y="500"/>
                  </a:lnTo>
                  <a:lnTo>
                    <a:pt x="598" y="502"/>
                  </a:lnTo>
                  <a:lnTo>
                    <a:pt x="596" y="504"/>
                  </a:lnTo>
                  <a:lnTo>
                    <a:pt x="590" y="510"/>
                  </a:lnTo>
                  <a:lnTo>
                    <a:pt x="582" y="518"/>
                  </a:lnTo>
                  <a:lnTo>
                    <a:pt x="578" y="522"/>
                  </a:lnTo>
                  <a:lnTo>
                    <a:pt x="576" y="524"/>
                  </a:lnTo>
                  <a:lnTo>
                    <a:pt x="568" y="530"/>
                  </a:lnTo>
                  <a:lnTo>
                    <a:pt x="566" y="534"/>
                  </a:lnTo>
                  <a:lnTo>
                    <a:pt x="564" y="534"/>
                  </a:lnTo>
                  <a:lnTo>
                    <a:pt x="556" y="542"/>
                  </a:lnTo>
                  <a:lnTo>
                    <a:pt x="550" y="544"/>
                  </a:lnTo>
                  <a:lnTo>
                    <a:pt x="548" y="546"/>
                  </a:lnTo>
                  <a:lnTo>
                    <a:pt x="542" y="550"/>
                  </a:lnTo>
                  <a:lnTo>
                    <a:pt x="542" y="552"/>
                  </a:lnTo>
                  <a:lnTo>
                    <a:pt x="534" y="558"/>
                  </a:lnTo>
                  <a:lnTo>
                    <a:pt x="530" y="560"/>
                  </a:lnTo>
                  <a:lnTo>
                    <a:pt x="528" y="562"/>
                  </a:lnTo>
                  <a:lnTo>
                    <a:pt x="524" y="562"/>
                  </a:lnTo>
                  <a:lnTo>
                    <a:pt x="518" y="568"/>
                  </a:lnTo>
                  <a:lnTo>
                    <a:pt x="512" y="572"/>
                  </a:lnTo>
                  <a:lnTo>
                    <a:pt x="506" y="576"/>
                  </a:lnTo>
                  <a:lnTo>
                    <a:pt x="500" y="580"/>
                  </a:lnTo>
                  <a:lnTo>
                    <a:pt x="494" y="582"/>
                  </a:lnTo>
                  <a:lnTo>
                    <a:pt x="490" y="584"/>
                  </a:lnTo>
                  <a:lnTo>
                    <a:pt x="490" y="586"/>
                  </a:lnTo>
                  <a:lnTo>
                    <a:pt x="484" y="588"/>
                  </a:lnTo>
                  <a:lnTo>
                    <a:pt x="478" y="590"/>
                  </a:lnTo>
                  <a:lnTo>
                    <a:pt x="474" y="592"/>
                  </a:lnTo>
                  <a:lnTo>
                    <a:pt x="472" y="592"/>
                  </a:lnTo>
                  <a:lnTo>
                    <a:pt x="468" y="594"/>
                  </a:lnTo>
                  <a:lnTo>
                    <a:pt x="464" y="596"/>
                  </a:lnTo>
                  <a:lnTo>
                    <a:pt x="456" y="594"/>
                  </a:lnTo>
                  <a:lnTo>
                    <a:pt x="454" y="594"/>
                  </a:lnTo>
                  <a:lnTo>
                    <a:pt x="448" y="592"/>
                  </a:lnTo>
                  <a:lnTo>
                    <a:pt x="446" y="592"/>
                  </a:lnTo>
                  <a:lnTo>
                    <a:pt x="444" y="592"/>
                  </a:lnTo>
                  <a:lnTo>
                    <a:pt x="442" y="592"/>
                  </a:lnTo>
                  <a:lnTo>
                    <a:pt x="438" y="592"/>
                  </a:lnTo>
                  <a:lnTo>
                    <a:pt x="436" y="592"/>
                  </a:lnTo>
                  <a:lnTo>
                    <a:pt x="432" y="594"/>
                  </a:lnTo>
                  <a:lnTo>
                    <a:pt x="430" y="594"/>
                  </a:lnTo>
                  <a:lnTo>
                    <a:pt x="428" y="596"/>
                  </a:lnTo>
                  <a:lnTo>
                    <a:pt x="426" y="600"/>
                  </a:lnTo>
                  <a:lnTo>
                    <a:pt x="424" y="602"/>
                  </a:lnTo>
                  <a:lnTo>
                    <a:pt x="426" y="604"/>
                  </a:lnTo>
                  <a:lnTo>
                    <a:pt x="428" y="606"/>
                  </a:lnTo>
                  <a:lnTo>
                    <a:pt x="430" y="608"/>
                  </a:lnTo>
                  <a:lnTo>
                    <a:pt x="426" y="610"/>
                  </a:lnTo>
                  <a:lnTo>
                    <a:pt x="424" y="610"/>
                  </a:lnTo>
                  <a:lnTo>
                    <a:pt x="416" y="608"/>
                  </a:lnTo>
                  <a:lnTo>
                    <a:pt x="414" y="608"/>
                  </a:lnTo>
                  <a:lnTo>
                    <a:pt x="412" y="606"/>
                  </a:lnTo>
                  <a:lnTo>
                    <a:pt x="410" y="606"/>
                  </a:lnTo>
                  <a:lnTo>
                    <a:pt x="408" y="604"/>
                  </a:lnTo>
                  <a:lnTo>
                    <a:pt x="406" y="604"/>
                  </a:lnTo>
                  <a:lnTo>
                    <a:pt x="404" y="604"/>
                  </a:lnTo>
                  <a:lnTo>
                    <a:pt x="400" y="604"/>
                  </a:lnTo>
                  <a:lnTo>
                    <a:pt x="398" y="604"/>
                  </a:lnTo>
                  <a:lnTo>
                    <a:pt x="396" y="604"/>
                  </a:lnTo>
                  <a:lnTo>
                    <a:pt x="394" y="606"/>
                  </a:lnTo>
                  <a:lnTo>
                    <a:pt x="392" y="606"/>
                  </a:lnTo>
                  <a:lnTo>
                    <a:pt x="392" y="608"/>
                  </a:lnTo>
                  <a:lnTo>
                    <a:pt x="392" y="610"/>
                  </a:lnTo>
                  <a:lnTo>
                    <a:pt x="388" y="616"/>
                  </a:lnTo>
                  <a:lnTo>
                    <a:pt x="386" y="616"/>
                  </a:lnTo>
                  <a:lnTo>
                    <a:pt x="382" y="614"/>
                  </a:lnTo>
                  <a:lnTo>
                    <a:pt x="380" y="614"/>
                  </a:lnTo>
                  <a:lnTo>
                    <a:pt x="378" y="614"/>
                  </a:lnTo>
                  <a:lnTo>
                    <a:pt x="374" y="614"/>
                  </a:lnTo>
                  <a:lnTo>
                    <a:pt x="372" y="614"/>
                  </a:lnTo>
                  <a:lnTo>
                    <a:pt x="370" y="612"/>
                  </a:lnTo>
                  <a:lnTo>
                    <a:pt x="368" y="612"/>
                  </a:lnTo>
                  <a:lnTo>
                    <a:pt x="352" y="608"/>
                  </a:lnTo>
                  <a:lnTo>
                    <a:pt x="338" y="604"/>
                  </a:lnTo>
                  <a:lnTo>
                    <a:pt x="336" y="604"/>
                  </a:lnTo>
                  <a:lnTo>
                    <a:pt x="334" y="604"/>
                  </a:lnTo>
                  <a:lnTo>
                    <a:pt x="332" y="604"/>
                  </a:lnTo>
                  <a:lnTo>
                    <a:pt x="330" y="604"/>
                  </a:lnTo>
                  <a:lnTo>
                    <a:pt x="326" y="606"/>
                  </a:lnTo>
                  <a:lnTo>
                    <a:pt x="324" y="606"/>
                  </a:lnTo>
                  <a:lnTo>
                    <a:pt x="322" y="608"/>
                  </a:lnTo>
                  <a:lnTo>
                    <a:pt x="322" y="610"/>
                  </a:lnTo>
                  <a:lnTo>
                    <a:pt x="316" y="610"/>
                  </a:lnTo>
                  <a:lnTo>
                    <a:pt x="308" y="610"/>
                  </a:lnTo>
                  <a:lnTo>
                    <a:pt x="304" y="610"/>
                  </a:lnTo>
                  <a:lnTo>
                    <a:pt x="296" y="608"/>
                  </a:lnTo>
                  <a:lnTo>
                    <a:pt x="294" y="606"/>
                  </a:lnTo>
                  <a:lnTo>
                    <a:pt x="284" y="606"/>
                  </a:lnTo>
                  <a:lnTo>
                    <a:pt x="282" y="608"/>
                  </a:lnTo>
                  <a:lnTo>
                    <a:pt x="280" y="608"/>
                  </a:lnTo>
                  <a:lnTo>
                    <a:pt x="278" y="608"/>
                  </a:lnTo>
                  <a:lnTo>
                    <a:pt x="276" y="608"/>
                  </a:lnTo>
                  <a:lnTo>
                    <a:pt x="272" y="608"/>
                  </a:lnTo>
                  <a:lnTo>
                    <a:pt x="268" y="608"/>
                  </a:lnTo>
                  <a:lnTo>
                    <a:pt x="266" y="610"/>
                  </a:lnTo>
                  <a:lnTo>
                    <a:pt x="264" y="612"/>
                  </a:lnTo>
                  <a:lnTo>
                    <a:pt x="256" y="616"/>
                  </a:lnTo>
                  <a:lnTo>
                    <a:pt x="256" y="618"/>
                  </a:lnTo>
                  <a:lnTo>
                    <a:pt x="256" y="620"/>
                  </a:lnTo>
                  <a:lnTo>
                    <a:pt x="254" y="622"/>
                  </a:lnTo>
                  <a:lnTo>
                    <a:pt x="250" y="624"/>
                  </a:lnTo>
                  <a:lnTo>
                    <a:pt x="246" y="624"/>
                  </a:lnTo>
                  <a:lnTo>
                    <a:pt x="242" y="624"/>
                  </a:lnTo>
                  <a:lnTo>
                    <a:pt x="240" y="624"/>
                  </a:lnTo>
                  <a:lnTo>
                    <a:pt x="240" y="622"/>
                  </a:lnTo>
                  <a:lnTo>
                    <a:pt x="238" y="622"/>
                  </a:lnTo>
                  <a:lnTo>
                    <a:pt x="236" y="622"/>
                  </a:lnTo>
                  <a:lnTo>
                    <a:pt x="232" y="624"/>
                  </a:lnTo>
                  <a:lnTo>
                    <a:pt x="230" y="626"/>
                  </a:lnTo>
                  <a:lnTo>
                    <a:pt x="228" y="626"/>
                  </a:lnTo>
                  <a:lnTo>
                    <a:pt x="226" y="626"/>
                  </a:lnTo>
                  <a:lnTo>
                    <a:pt x="222" y="626"/>
                  </a:lnTo>
                  <a:lnTo>
                    <a:pt x="220" y="624"/>
                  </a:lnTo>
                  <a:lnTo>
                    <a:pt x="218" y="622"/>
                  </a:lnTo>
                  <a:lnTo>
                    <a:pt x="216" y="622"/>
                  </a:lnTo>
                  <a:lnTo>
                    <a:pt x="212" y="622"/>
                  </a:lnTo>
                  <a:lnTo>
                    <a:pt x="210" y="622"/>
                  </a:lnTo>
                  <a:lnTo>
                    <a:pt x="208" y="624"/>
                  </a:lnTo>
                  <a:lnTo>
                    <a:pt x="206" y="624"/>
                  </a:lnTo>
                  <a:lnTo>
                    <a:pt x="204" y="628"/>
                  </a:lnTo>
                  <a:lnTo>
                    <a:pt x="200" y="628"/>
                  </a:lnTo>
                  <a:lnTo>
                    <a:pt x="198" y="626"/>
                  </a:lnTo>
                  <a:lnTo>
                    <a:pt x="196" y="628"/>
                  </a:lnTo>
                  <a:lnTo>
                    <a:pt x="192" y="628"/>
                  </a:lnTo>
                  <a:lnTo>
                    <a:pt x="190" y="628"/>
                  </a:lnTo>
                  <a:lnTo>
                    <a:pt x="188" y="630"/>
                  </a:lnTo>
                  <a:lnTo>
                    <a:pt x="186" y="632"/>
                  </a:lnTo>
                  <a:lnTo>
                    <a:pt x="178" y="638"/>
                  </a:lnTo>
                  <a:lnTo>
                    <a:pt x="176" y="640"/>
                  </a:lnTo>
                  <a:lnTo>
                    <a:pt x="174" y="640"/>
                  </a:lnTo>
                  <a:lnTo>
                    <a:pt x="172" y="642"/>
                  </a:lnTo>
                  <a:lnTo>
                    <a:pt x="170" y="644"/>
                  </a:lnTo>
                  <a:lnTo>
                    <a:pt x="168" y="646"/>
                  </a:lnTo>
                  <a:lnTo>
                    <a:pt x="166" y="646"/>
                  </a:lnTo>
                  <a:lnTo>
                    <a:pt x="164" y="644"/>
                  </a:lnTo>
                  <a:lnTo>
                    <a:pt x="162" y="644"/>
                  </a:lnTo>
                  <a:lnTo>
                    <a:pt x="154" y="644"/>
                  </a:lnTo>
                  <a:lnTo>
                    <a:pt x="152" y="644"/>
                  </a:lnTo>
                  <a:lnTo>
                    <a:pt x="150" y="644"/>
                  </a:lnTo>
                  <a:lnTo>
                    <a:pt x="146" y="640"/>
                  </a:lnTo>
                  <a:lnTo>
                    <a:pt x="142" y="636"/>
                  </a:lnTo>
                  <a:lnTo>
                    <a:pt x="136" y="634"/>
                  </a:lnTo>
                  <a:lnTo>
                    <a:pt x="138" y="632"/>
                  </a:lnTo>
                  <a:lnTo>
                    <a:pt x="138" y="630"/>
                  </a:lnTo>
                  <a:lnTo>
                    <a:pt x="138" y="628"/>
                  </a:lnTo>
                  <a:lnTo>
                    <a:pt x="136" y="628"/>
                  </a:lnTo>
                  <a:lnTo>
                    <a:pt x="136" y="626"/>
                  </a:lnTo>
                  <a:lnTo>
                    <a:pt x="134" y="626"/>
                  </a:lnTo>
                  <a:lnTo>
                    <a:pt x="132" y="626"/>
                  </a:lnTo>
                  <a:lnTo>
                    <a:pt x="128" y="626"/>
                  </a:lnTo>
                  <a:lnTo>
                    <a:pt x="126" y="624"/>
                  </a:lnTo>
                  <a:lnTo>
                    <a:pt x="126" y="622"/>
                  </a:lnTo>
                  <a:lnTo>
                    <a:pt x="122" y="622"/>
                  </a:lnTo>
                  <a:lnTo>
                    <a:pt x="118" y="622"/>
                  </a:lnTo>
                  <a:lnTo>
                    <a:pt x="116" y="624"/>
                  </a:lnTo>
                  <a:lnTo>
                    <a:pt x="114" y="624"/>
                  </a:lnTo>
                  <a:lnTo>
                    <a:pt x="112" y="622"/>
                  </a:lnTo>
                  <a:lnTo>
                    <a:pt x="112" y="620"/>
                  </a:lnTo>
                  <a:lnTo>
                    <a:pt x="114" y="618"/>
                  </a:lnTo>
                  <a:lnTo>
                    <a:pt x="116" y="612"/>
                  </a:lnTo>
                  <a:lnTo>
                    <a:pt x="114" y="610"/>
                  </a:lnTo>
                  <a:lnTo>
                    <a:pt x="112" y="610"/>
                  </a:lnTo>
                  <a:lnTo>
                    <a:pt x="110" y="608"/>
                  </a:lnTo>
                  <a:lnTo>
                    <a:pt x="108" y="608"/>
                  </a:lnTo>
                  <a:lnTo>
                    <a:pt x="104" y="608"/>
                  </a:lnTo>
                  <a:lnTo>
                    <a:pt x="100" y="608"/>
                  </a:lnTo>
                  <a:lnTo>
                    <a:pt x="100" y="610"/>
                  </a:lnTo>
                  <a:lnTo>
                    <a:pt x="98" y="610"/>
                  </a:lnTo>
                  <a:lnTo>
                    <a:pt x="96" y="612"/>
                  </a:lnTo>
                  <a:lnTo>
                    <a:pt x="96" y="614"/>
                  </a:lnTo>
                  <a:lnTo>
                    <a:pt x="98" y="616"/>
                  </a:lnTo>
                  <a:lnTo>
                    <a:pt x="98" y="622"/>
                  </a:lnTo>
                  <a:lnTo>
                    <a:pt x="96" y="622"/>
                  </a:lnTo>
                  <a:lnTo>
                    <a:pt x="94" y="620"/>
                  </a:lnTo>
                  <a:lnTo>
                    <a:pt x="94" y="618"/>
                  </a:lnTo>
                  <a:lnTo>
                    <a:pt x="90" y="606"/>
                  </a:lnTo>
                  <a:lnTo>
                    <a:pt x="94" y="600"/>
                  </a:lnTo>
                  <a:lnTo>
                    <a:pt x="96" y="600"/>
                  </a:lnTo>
                  <a:lnTo>
                    <a:pt x="98" y="596"/>
                  </a:lnTo>
                  <a:lnTo>
                    <a:pt x="96" y="590"/>
                  </a:lnTo>
                  <a:lnTo>
                    <a:pt x="90" y="578"/>
                  </a:lnTo>
                  <a:lnTo>
                    <a:pt x="88" y="578"/>
                  </a:lnTo>
                  <a:lnTo>
                    <a:pt x="88" y="576"/>
                  </a:lnTo>
                  <a:lnTo>
                    <a:pt x="88" y="574"/>
                  </a:lnTo>
                  <a:lnTo>
                    <a:pt x="82" y="570"/>
                  </a:lnTo>
                  <a:lnTo>
                    <a:pt x="80" y="566"/>
                  </a:lnTo>
                  <a:lnTo>
                    <a:pt x="80" y="564"/>
                  </a:lnTo>
                  <a:lnTo>
                    <a:pt x="82" y="562"/>
                  </a:lnTo>
                  <a:lnTo>
                    <a:pt x="76" y="556"/>
                  </a:lnTo>
                  <a:lnTo>
                    <a:pt x="76" y="554"/>
                  </a:lnTo>
                  <a:lnTo>
                    <a:pt x="74" y="554"/>
                  </a:lnTo>
                  <a:lnTo>
                    <a:pt x="72" y="556"/>
                  </a:lnTo>
                  <a:lnTo>
                    <a:pt x="70" y="554"/>
                  </a:lnTo>
                  <a:lnTo>
                    <a:pt x="68" y="546"/>
                  </a:lnTo>
                  <a:lnTo>
                    <a:pt x="68" y="544"/>
                  </a:lnTo>
                  <a:lnTo>
                    <a:pt x="70" y="542"/>
                  </a:lnTo>
                  <a:lnTo>
                    <a:pt x="74" y="540"/>
                  </a:lnTo>
                  <a:lnTo>
                    <a:pt x="76" y="542"/>
                  </a:lnTo>
                  <a:lnTo>
                    <a:pt x="78" y="542"/>
                  </a:lnTo>
                  <a:lnTo>
                    <a:pt x="80" y="542"/>
                  </a:lnTo>
                  <a:lnTo>
                    <a:pt x="88" y="536"/>
                  </a:lnTo>
                  <a:lnTo>
                    <a:pt x="88" y="534"/>
                  </a:lnTo>
                  <a:lnTo>
                    <a:pt x="88" y="532"/>
                  </a:lnTo>
                  <a:lnTo>
                    <a:pt x="90" y="530"/>
                  </a:lnTo>
                  <a:lnTo>
                    <a:pt x="90" y="526"/>
                  </a:lnTo>
                  <a:lnTo>
                    <a:pt x="90" y="516"/>
                  </a:lnTo>
                  <a:lnTo>
                    <a:pt x="90" y="514"/>
                  </a:lnTo>
                  <a:lnTo>
                    <a:pt x="90" y="512"/>
                  </a:lnTo>
                  <a:lnTo>
                    <a:pt x="88" y="510"/>
                  </a:lnTo>
                  <a:lnTo>
                    <a:pt x="88" y="500"/>
                  </a:lnTo>
                  <a:lnTo>
                    <a:pt x="88" y="498"/>
                  </a:lnTo>
                  <a:lnTo>
                    <a:pt x="84" y="488"/>
                  </a:lnTo>
                  <a:lnTo>
                    <a:pt x="82" y="486"/>
                  </a:lnTo>
                  <a:lnTo>
                    <a:pt x="80" y="482"/>
                  </a:lnTo>
                  <a:lnTo>
                    <a:pt x="78" y="480"/>
                  </a:lnTo>
                  <a:lnTo>
                    <a:pt x="76" y="478"/>
                  </a:lnTo>
                  <a:lnTo>
                    <a:pt x="70" y="470"/>
                  </a:lnTo>
                  <a:lnTo>
                    <a:pt x="68" y="468"/>
                  </a:lnTo>
                  <a:lnTo>
                    <a:pt x="66" y="462"/>
                  </a:lnTo>
                  <a:lnTo>
                    <a:pt x="64" y="460"/>
                  </a:lnTo>
                  <a:lnTo>
                    <a:pt x="64" y="458"/>
                  </a:lnTo>
                  <a:lnTo>
                    <a:pt x="62" y="456"/>
                  </a:lnTo>
                  <a:lnTo>
                    <a:pt x="56" y="448"/>
                  </a:lnTo>
                  <a:lnTo>
                    <a:pt x="50" y="436"/>
                  </a:lnTo>
                  <a:lnTo>
                    <a:pt x="48" y="432"/>
                  </a:lnTo>
                  <a:lnTo>
                    <a:pt x="48" y="430"/>
                  </a:lnTo>
                  <a:lnTo>
                    <a:pt x="46" y="428"/>
                  </a:lnTo>
                  <a:lnTo>
                    <a:pt x="44" y="424"/>
                  </a:lnTo>
                  <a:lnTo>
                    <a:pt x="42" y="422"/>
                  </a:lnTo>
                  <a:lnTo>
                    <a:pt x="40" y="418"/>
                  </a:lnTo>
                  <a:lnTo>
                    <a:pt x="36" y="410"/>
                  </a:lnTo>
                  <a:lnTo>
                    <a:pt x="34" y="404"/>
                  </a:lnTo>
                  <a:lnTo>
                    <a:pt x="32" y="396"/>
                  </a:lnTo>
                  <a:lnTo>
                    <a:pt x="32" y="394"/>
                  </a:lnTo>
                  <a:lnTo>
                    <a:pt x="30" y="392"/>
                  </a:lnTo>
                  <a:lnTo>
                    <a:pt x="28" y="386"/>
                  </a:lnTo>
                  <a:lnTo>
                    <a:pt x="28" y="384"/>
                  </a:lnTo>
                  <a:lnTo>
                    <a:pt x="26" y="376"/>
                  </a:lnTo>
                  <a:lnTo>
                    <a:pt x="22" y="368"/>
                  </a:lnTo>
                  <a:lnTo>
                    <a:pt x="22" y="366"/>
                  </a:lnTo>
                  <a:lnTo>
                    <a:pt x="18" y="358"/>
                  </a:lnTo>
                  <a:lnTo>
                    <a:pt x="16" y="354"/>
                  </a:lnTo>
                  <a:lnTo>
                    <a:pt x="10" y="344"/>
                  </a:lnTo>
                  <a:lnTo>
                    <a:pt x="8" y="344"/>
                  </a:lnTo>
                  <a:lnTo>
                    <a:pt x="6" y="342"/>
                  </a:lnTo>
                  <a:lnTo>
                    <a:pt x="2" y="334"/>
                  </a:lnTo>
                  <a:lnTo>
                    <a:pt x="0" y="330"/>
                  </a:lnTo>
                  <a:lnTo>
                    <a:pt x="0" y="328"/>
                  </a:lnTo>
                  <a:lnTo>
                    <a:pt x="6" y="324"/>
                  </a:lnTo>
                  <a:lnTo>
                    <a:pt x="10" y="322"/>
                  </a:lnTo>
                  <a:lnTo>
                    <a:pt x="10" y="324"/>
                  </a:lnTo>
                  <a:lnTo>
                    <a:pt x="12" y="324"/>
                  </a:lnTo>
                  <a:lnTo>
                    <a:pt x="14" y="320"/>
                  </a:lnTo>
                  <a:lnTo>
                    <a:pt x="16" y="316"/>
                  </a:lnTo>
                  <a:lnTo>
                    <a:pt x="16" y="310"/>
                  </a:lnTo>
                  <a:lnTo>
                    <a:pt x="20" y="302"/>
                  </a:lnTo>
                  <a:lnTo>
                    <a:pt x="28" y="300"/>
                  </a:lnTo>
                  <a:lnTo>
                    <a:pt x="30" y="300"/>
                  </a:lnTo>
                  <a:lnTo>
                    <a:pt x="30" y="302"/>
                  </a:lnTo>
                  <a:lnTo>
                    <a:pt x="32" y="302"/>
                  </a:lnTo>
                  <a:lnTo>
                    <a:pt x="34" y="30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8" name="Freeform 1431"/>
            <p:cNvSpPr>
              <a:spLocks/>
            </p:cNvSpPr>
            <p:nvPr/>
          </p:nvSpPr>
          <p:spPr bwMode="auto">
            <a:xfrm>
              <a:off x="6163512" y="5816916"/>
              <a:ext cx="145128" cy="132616"/>
            </a:xfrm>
            <a:custGeom>
              <a:avLst/>
              <a:gdLst/>
              <a:ahLst/>
              <a:cxnLst>
                <a:cxn ang="0">
                  <a:pos x="108" y="48"/>
                </a:cxn>
                <a:cxn ang="0">
                  <a:pos x="112" y="46"/>
                </a:cxn>
                <a:cxn ang="0">
                  <a:pos x="116" y="42"/>
                </a:cxn>
                <a:cxn ang="0">
                  <a:pos x="110" y="28"/>
                </a:cxn>
                <a:cxn ang="0">
                  <a:pos x="104" y="24"/>
                </a:cxn>
                <a:cxn ang="0">
                  <a:pos x="92" y="16"/>
                </a:cxn>
                <a:cxn ang="0">
                  <a:pos x="90" y="12"/>
                </a:cxn>
                <a:cxn ang="0">
                  <a:pos x="88" y="10"/>
                </a:cxn>
                <a:cxn ang="0">
                  <a:pos x="86" y="8"/>
                </a:cxn>
                <a:cxn ang="0">
                  <a:pos x="78" y="0"/>
                </a:cxn>
                <a:cxn ang="0">
                  <a:pos x="72" y="2"/>
                </a:cxn>
                <a:cxn ang="0">
                  <a:pos x="66" y="2"/>
                </a:cxn>
                <a:cxn ang="0">
                  <a:pos x="66" y="6"/>
                </a:cxn>
                <a:cxn ang="0">
                  <a:pos x="58" y="8"/>
                </a:cxn>
                <a:cxn ang="0">
                  <a:pos x="54" y="8"/>
                </a:cxn>
                <a:cxn ang="0">
                  <a:pos x="48" y="14"/>
                </a:cxn>
                <a:cxn ang="0">
                  <a:pos x="38" y="18"/>
                </a:cxn>
                <a:cxn ang="0">
                  <a:pos x="30" y="26"/>
                </a:cxn>
                <a:cxn ang="0">
                  <a:pos x="22" y="36"/>
                </a:cxn>
                <a:cxn ang="0">
                  <a:pos x="14" y="46"/>
                </a:cxn>
                <a:cxn ang="0">
                  <a:pos x="12" y="50"/>
                </a:cxn>
                <a:cxn ang="0">
                  <a:pos x="6" y="50"/>
                </a:cxn>
                <a:cxn ang="0">
                  <a:pos x="0" y="56"/>
                </a:cxn>
                <a:cxn ang="0">
                  <a:pos x="2" y="58"/>
                </a:cxn>
                <a:cxn ang="0">
                  <a:pos x="8" y="68"/>
                </a:cxn>
                <a:cxn ang="0">
                  <a:pos x="8" y="72"/>
                </a:cxn>
                <a:cxn ang="0">
                  <a:pos x="14" y="84"/>
                </a:cxn>
                <a:cxn ang="0">
                  <a:pos x="16" y="88"/>
                </a:cxn>
                <a:cxn ang="0">
                  <a:pos x="24" y="94"/>
                </a:cxn>
                <a:cxn ang="0">
                  <a:pos x="32" y="104"/>
                </a:cxn>
                <a:cxn ang="0">
                  <a:pos x="42" y="106"/>
                </a:cxn>
                <a:cxn ang="0">
                  <a:pos x="46" y="106"/>
                </a:cxn>
                <a:cxn ang="0">
                  <a:pos x="52" y="98"/>
                </a:cxn>
                <a:cxn ang="0">
                  <a:pos x="58" y="86"/>
                </a:cxn>
                <a:cxn ang="0">
                  <a:pos x="62" y="82"/>
                </a:cxn>
                <a:cxn ang="0">
                  <a:pos x="70" y="80"/>
                </a:cxn>
                <a:cxn ang="0">
                  <a:pos x="76" y="80"/>
                </a:cxn>
                <a:cxn ang="0">
                  <a:pos x="88" y="76"/>
                </a:cxn>
                <a:cxn ang="0">
                  <a:pos x="98" y="72"/>
                </a:cxn>
                <a:cxn ang="0">
                  <a:pos x="100" y="66"/>
                </a:cxn>
                <a:cxn ang="0">
                  <a:pos x="100" y="62"/>
                </a:cxn>
                <a:cxn ang="0">
                  <a:pos x="102" y="56"/>
                </a:cxn>
                <a:cxn ang="0">
                  <a:pos x="104" y="54"/>
                </a:cxn>
                <a:cxn ang="0">
                  <a:pos x="108" y="54"/>
                </a:cxn>
              </a:cxnLst>
              <a:rect l="0" t="0" r="r" b="b"/>
              <a:pathLst>
                <a:path w="116" h="106">
                  <a:moveTo>
                    <a:pt x="108" y="52"/>
                  </a:moveTo>
                  <a:lnTo>
                    <a:pt x="108" y="48"/>
                  </a:lnTo>
                  <a:lnTo>
                    <a:pt x="110" y="46"/>
                  </a:lnTo>
                  <a:lnTo>
                    <a:pt x="112" y="46"/>
                  </a:lnTo>
                  <a:lnTo>
                    <a:pt x="114" y="44"/>
                  </a:lnTo>
                  <a:lnTo>
                    <a:pt x="116" y="42"/>
                  </a:lnTo>
                  <a:lnTo>
                    <a:pt x="114" y="38"/>
                  </a:lnTo>
                  <a:lnTo>
                    <a:pt x="110" y="28"/>
                  </a:lnTo>
                  <a:lnTo>
                    <a:pt x="108" y="26"/>
                  </a:lnTo>
                  <a:lnTo>
                    <a:pt x="104" y="24"/>
                  </a:lnTo>
                  <a:lnTo>
                    <a:pt x="96" y="18"/>
                  </a:lnTo>
                  <a:lnTo>
                    <a:pt x="92" y="16"/>
                  </a:lnTo>
                  <a:lnTo>
                    <a:pt x="92" y="14"/>
                  </a:lnTo>
                  <a:lnTo>
                    <a:pt x="90" y="12"/>
                  </a:lnTo>
                  <a:lnTo>
                    <a:pt x="90" y="10"/>
                  </a:lnTo>
                  <a:lnTo>
                    <a:pt x="88" y="10"/>
                  </a:lnTo>
                  <a:lnTo>
                    <a:pt x="86" y="10"/>
                  </a:lnTo>
                  <a:lnTo>
                    <a:pt x="86" y="8"/>
                  </a:lnTo>
                  <a:lnTo>
                    <a:pt x="80" y="2"/>
                  </a:lnTo>
                  <a:lnTo>
                    <a:pt x="78" y="0"/>
                  </a:lnTo>
                  <a:lnTo>
                    <a:pt x="76" y="2"/>
                  </a:lnTo>
                  <a:lnTo>
                    <a:pt x="72" y="2"/>
                  </a:lnTo>
                  <a:lnTo>
                    <a:pt x="70" y="2"/>
                  </a:lnTo>
                  <a:lnTo>
                    <a:pt x="66" y="2"/>
                  </a:lnTo>
                  <a:lnTo>
                    <a:pt x="66" y="4"/>
                  </a:lnTo>
                  <a:lnTo>
                    <a:pt x="66" y="6"/>
                  </a:lnTo>
                  <a:lnTo>
                    <a:pt x="62" y="8"/>
                  </a:lnTo>
                  <a:lnTo>
                    <a:pt x="58" y="8"/>
                  </a:lnTo>
                  <a:lnTo>
                    <a:pt x="56" y="6"/>
                  </a:lnTo>
                  <a:lnTo>
                    <a:pt x="54" y="8"/>
                  </a:lnTo>
                  <a:lnTo>
                    <a:pt x="52" y="12"/>
                  </a:lnTo>
                  <a:lnTo>
                    <a:pt x="48" y="14"/>
                  </a:lnTo>
                  <a:lnTo>
                    <a:pt x="42" y="16"/>
                  </a:lnTo>
                  <a:lnTo>
                    <a:pt x="38" y="18"/>
                  </a:lnTo>
                  <a:lnTo>
                    <a:pt x="30" y="24"/>
                  </a:lnTo>
                  <a:lnTo>
                    <a:pt x="30" y="26"/>
                  </a:lnTo>
                  <a:lnTo>
                    <a:pt x="24" y="32"/>
                  </a:lnTo>
                  <a:lnTo>
                    <a:pt x="22" y="36"/>
                  </a:lnTo>
                  <a:lnTo>
                    <a:pt x="16" y="44"/>
                  </a:lnTo>
                  <a:lnTo>
                    <a:pt x="14" y="46"/>
                  </a:lnTo>
                  <a:lnTo>
                    <a:pt x="12" y="48"/>
                  </a:lnTo>
                  <a:lnTo>
                    <a:pt x="12" y="50"/>
                  </a:lnTo>
                  <a:lnTo>
                    <a:pt x="10" y="50"/>
                  </a:lnTo>
                  <a:lnTo>
                    <a:pt x="6" y="50"/>
                  </a:lnTo>
                  <a:lnTo>
                    <a:pt x="0" y="52"/>
                  </a:lnTo>
                  <a:lnTo>
                    <a:pt x="0" y="56"/>
                  </a:lnTo>
                  <a:lnTo>
                    <a:pt x="2" y="56"/>
                  </a:lnTo>
                  <a:lnTo>
                    <a:pt x="2" y="58"/>
                  </a:lnTo>
                  <a:lnTo>
                    <a:pt x="6" y="64"/>
                  </a:lnTo>
                  <a:lnTo>
                    <a:pt x="8" y="68"/>
                  </a:lnTo>
                  <a:lnTo>
                    <a:pt x="8" y="70"/>
                  </a:lnTo>
                  <a:lnTo>
                    <a:pt x="8" y="72"/>
                  </a:lnTo>
                  <a:lnTo>
                    <a:pt x="12" y="74"/>
                  </a:lnTo>
                  <a:lnTo>
                    <a:pt x="14" y="84"/>
                  </a:lnTo>
                  <a:lnTo>
                    <a:pt x="14" y="88"/>
                  </a:lnTo>
                  <a:lnTo>
                    <a:pt x="16" y="88"/>
                  </a:lnTo>
                  <a:lnTo>
                    <a:pt x="20" y="88"/>
                  </a:lnTo>
                  <a:lnTo>
                    <a:pt x="24" y="94"/>
                  </a:lnTo>
                  <a:lnTo>
                    <a:pt x="26" y="98"/>
                  </a:lnTo>
                  <a:lnTo>
                    <a:pt x="32" y="104"/>
                  </a:lnTo>
                  <a:lnTo>
                    <a:pt x="40" y="106"/>
                  </a:lnTo>
                  <a:lnTo>
                    <a:pt x="42" y="106"/>
                  </a:lnTo>
                  <a:lnTo>
                    <a:pt x="44" y="106"/>
                  </a:lnTo>
                  <a:lnTo>
                    <a:pt x="46" y="106"/>
                  </a:lnTo>
                  <a:lnTo>
                    <a:pt x="50" y="102"/>
                  </a:lnTo>
                  <a:lnTo>
                    <a:pt x="52" y="98"/>
                  </a:lnTo>
                  <a:lnTo>
                    <a:pt x="56" y="90"/>
                  </a:lnTo>
                  <a:lnTo>
                    <a:pt x="58" y="86"/>
                  </a:lnTo>
                  <a:lnTo>
                    <a:pt x="62" y="84"/>
                  </a:lnTo>
                  <a:lnTo>
                    <a:pt x="62" y="82"/>
                  </a:lnTo>
                  <a:lnTo>
                    <a:pt x="64" y="80"/>
                  </a:lnTo>
                  <a:lnTo>
                    <a:pt x="70" y="80"/>
                  </a:lnTo>
                  <a:lnTo>
                    <a:pt x="74" y="80"/>
                  </a:lnTo>
                  <a:lnTo>
                    <a:pt x="76" y="80"/>
                  </a:lnTo>
                  <a:lnTo>
                    <a:pt x="82" y="78"/>
                  </a:lnTo>
                  <a:lnTo>
                    <a:pt x="88" y="76"/>
                  </a:lnTo>
                  <a:lnTo>
                    <a:pt x="94" y="74"/>
                  </a:lnTo>
                  <a:lnTo>
                    <a:pt x="98" y="72"/>
                  </a:lnTo>
                  <a:lnTo>
                    <a:pt x="100" y="70"/>
                  </a:lnTo>
                  <a:lnTo>
                    <a:pt x="100" y="66"/>
                  </a:lnTo>
                  <a:lnTo>
                    <a:pt x="100" y="64"/>
                  </a:lnTo>
                  <a:lnTo>
                    <a:pt x="100" y="62"/>
                  </a:lnTo>
                  <a:lnTo>
                    <a:pt x="100" y="60"/>
                  </a:lnTo>
                  <a:lnTo>
                    <a:pt x="102" y="56"/>
                  </a:lnTo>
                  <a:lnTo>
                    <a:pt x="104" y="56"/>
                  </a:lnTo>
                  <a:lnTo>
                    <a:pt x="104" y="54"/>
                  </a:lnTo>
                  <a:lnTo>
                    <a:pt x="106" y="54"/>
                  </a:lnTo>
                  <a:lnTo>
                    <a:pt x="108" y="54"/>
                  </a:lnTo>
                  <a:lnTo>
                    <a:pt x="108" y="5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9" name="Freeform 1436"/>
            <p:cNvSpPr>
              <a:spLocks/>
            </p:cNvSpPr>
            <p:nvPr/>
          </p:nvSpPr>
          <p:spPr bwMode="auto">
            <a:xfrm>
              <a:off x="3929054" y="3249665"/>
              <a:ext cx="392845" cy="420368"/>
            </a:xfrm>
            <a:custGeom>
              <a:avLst/>
              <a:gdLst/>
              <a:ahLst/>
              <a:cxnLst>
                <a:cxn ang="0">
                  <a:pos x="216" y="296"/>
                </a:cxn>
                <a:cxn ang="0">
                  <a:pos x="218" y="298"/>
                </a:cxn>
                <a:cxn ang="0">
                  <a:pos x="186" y="300"/>
                </a:cxn>
                <a:cxn ang="0">
                  <a:pos x="174" y="296"/>
                </a:cxn>
                <a:cxn ang="0">
                  <a:pos x="166" y="296"/>
                </a:cxn>
                <a:cxn ang="0">
                  <a:pos x="172" y="296"/>
                </a:cxn>
                <a:cxn ang="0">
                  <a:pos x="164" y="300"/>
                </a:cxn>
                <a:cxn ang="0">
                  <a:pos x="132" y="304"/>
                </a:cxn>
                <a:cxn ang="0">
                  <a:pos x="108" y="312"/>
                </a:cxn>
                <a:cxn ang="0">
                  <a:pos x="86" y="320"/>
                </a:cxn>
                <a:cxn ang="0">
                  <a:pos x="68" y="328"/>
                </a:cxn>
                <a:cxn ang="0">
                  <a:pos x="50" y="336"/>
                </a:cxn>
                <a:cxn ang="0">
                  <a:pos x="48" y="310"/>
                </a:cxn>
                <a:cxn ang="0">
                  <a:pos x="56" y="278"/>
                </a:cxn>
                <a:cxn ang="0">
                  <a:pos x="56" y="262"/>
                </a:cxn>
                <a:cxn ang="0">
                  <a:pos x="46" y="252"/>
                </a:cxn>
                <a:cxn ang="0">
                  <a:pos x="34" y="232"/>
                </a:cxn>
                <a:cxn ang="0">
                  <a:pos x="2" y="220"/>
                </a:cxn>
                <a:cxn ang="0">
                  <a:pos x="6" y="212"/>
                </a:cxn>
                <a:cxn ang="0">
                  <a:pos x="14" y="202"/>
                </a:cxn>
                <a:cxn ang="0">
                  <a:pos x="14" y="172"/>
                </a:cxn>
                <a:cxn ang="0">
                  <a:pos x="20" y="162"/>
                </a:cxn>
                <a:cxn ang="0">
                  <a:pos x="32" y="144"/>
                </a:cxn>
                <a:cxn ang="0">
                  <a:pos x="36" y="132"/>
                </a:cxn>
                <a:cxn ang="0">
                  <a:pos x="24" y="116"/>
                </a:cxn>
                <a:cxn ang="0">
                  <a:pos x="52" y="122"/>
                </a:cxn>
                <a:cxn ang="0">
                  <a:pos x="48" y="102"/>
                </a:cxn>
                <a:cxn ang="0">
                  <a:pos x="42" y="90"/>
                </a:cxn>
                <a:cxn ang="0">
                  <a:pos x="44" y="78"/>
                </a:cxn>
                <a:cxn ang="0">
                  <a:pos x="34" y="62"/>
                </a:cxn>
                <a:cxn ang="0">
                  <a:pos x="34" y="38"/>
                </a:cxn>
                <a:cxn ang="0">
                  <a:pos x="44" y="26"/>
                </a:cxn>
                <a:cxn ang="0">
                  <a:pos x="56" y="16"/>
                </a:cxn>
                <a:cxn ang="0">
                  <a:pos x="86" y="26"/>
                </a:cxn>
                <a:cxn ang="0">
                  <a:pos x="96" y="26"/>
                </a:cxn>
                <a:cxn ang="0">
                  <a:pos x="112" y="16"/>
                </a:cxn>
                <a:cxn ang="0">
                  <a:pos x="118" y="8"/>
                </a:cxn>
                <a:cxn ang="0">
                  <a:pos x="136" y="6"/>
                </a:cxn>
                <a:cxn ang="0">
                  <a:pos x="138" y="30"/>
                </a:cxn>
                <a:cxn ang="0">
                  <a:pos x="158" y="18"/>
                </a:cxn>
                <a:cxn ang="0">
                  <a:pos x="178" y="26"/>
                </a:cxn>
                <a:cxn ang="0">
                  <a:pos x="204" y="52"/>
                </a:cxn>
                <a:cxn ang="0">
                  <a:pos x="216" y="60"/>
                </a:cxn>
                <a:cxn ang="0">
                  <a:pos x="242" y="56"/>
                </a:cxn>
                <a:cxn ang="0">
                  <a:pos x="262" y="48"/>
                </a:cxn>
                <a:cxn ang="0">
                  <a:pos x="296" y="70"/>
                </a:cxn>
                <a:cxn ang="0">
                  <a:pos x="308" y="90"/>
                </a:cxn>
                <a:cxn ang="0">
                  <a:pos x="310" y="112"/>
                </a:cxn>
                <a:cxn ang="0">
                  <a:pos x="310" y="146"/>
                </a:cxn>
                <a:cxn ang="0">
                  <a:pos x="290" y="182"/>
                </a:cxn>
                <a:cxn ang="0">
                  <a:pos x="274" y="222"/>
                </a:cxn>
                <a:cxn ang="0">
                  <a:pos x="280" y="252"/>
                </a:cxn>
                <a:cxn ang="0">
                  <a:pos x="290" y="278"/>
                </a:cxn>
                <a:cxn ang="0">
                  <a:pos x="296" y="302"/>
                </a:cxn>
                <a:cxn ang="0">
                  <a:pos x="288" y="300"/>
                </a:cxn>
                <a:cxn ang="0">
                  <a:pos x="276" y="292"/>
                </a:cxn>
                <a:cxn ang="0">
                  <a:pos x="266" y="304"/>
                </a:cxn>
                <a:cxn ang="0">
                  <a:pos x="248" y="300"/>
                </a:cxn>
                <a:cxn ang="0">
                  <a:pos x="236" y="294"/>
                </a:cxn>
                <a:cxn ang="0">
                  <a:pos x="242" y="290"/>
                </a:cxn>
                <a:cxn ang="0">
                  <a:pos x="214" y="292"/>
                </a:cxn>
                <a:cxn ang="0">
                  <a:pos x="190" y="298"/>
                </a:cxn>
              </a:cxnLst>
              <a:rect l="0" t="0" r="r" b="b"/>
              <a:pathLst>
                <a:path w="314" h="336">
                  <a:moveTo>
                    <a:pt x="190" y="298"/>
                  </a:moveTo>
                  <a:lnTo>
                    <a:pt x="194" y="296"/>
                  </a:lnTo>
                  <a:lnTo>
                    <a:pt x="202" y="296"/>
                  </a:lnTo>
                  <a:lnTo>
                    <a:pt x="206" y="296"/>
                  </a:lnTo>
                  <a:lnTo>
                    <a:pt x="208" y="296"/>
                  </a:lnTo>
                  <a:lnTo>
                    <a:pt x="210" y="296"/>
                  </a:lnTo>
                  <a:lnTo>
                    <a:pt x="216" y="296"/>
                  </a:lnTo>
                  <a:lnTo>
                    <a:pt x="220" y="294"/>
                  </a:lnTo>
                  <a:lnTo>
                    <a:pt x="224" y="294"/>
                  </a:lnTo>
                  <a:lnTo>
                    <a:pt x="226" y="294"/>
                  </a:lnTo>
                  <a:lnTo>
                    <a:pt x="230" y="294"/>
                  </a:lnTo>
                  <a:lnTo>
                    <a:pt x="230" y="296"/>
                  </a:lnTo>
                  <a:lnTo>
                    <a:pt x="220" y="298"/>
                  </a:lnTo>
                  <a:lnTo>
                    <a:pt x="218" y="298"/>
                  </a:lnTo>
                  <a:lnTo>
                    <a:pt x="214" y="298"/>
                  </a:lnTo>
                  <a:lnTo>
                    <a:pt x="198" y="298"/>
                  </a:lnTo>
                  <a:lnTo>
                    <a:pt x="194" y="298"/>
                  </a:lnTo>
                  <a:lnTo>
                    <a:pt x="192" y="298"/>
                  </a:lnTo>
                  <a:lnTo>
                    <a:pt x="190" y="298"/>
                  </a:lnTo>
                  <a:lnTo>
                    <a:pt x="188" y="300"/>
                  </a:lnTo>
                  <a:lnTo>
                    <a:pt x="186" y="300"/>
                  </a:lnTo>
                  <a:lnTo>
                    <a:pt x="182" y="300"/>
                  </a:lnTo>
                  <a:lnTo>
                    <a:pt x="180" y="300"/>
                  </a:lnTo>
                  <a:lnTo>
                    <a:pt x="180" y="298"/>
                  </a:lnTo>
                  <a:lnTo>
                    <a:pt x="180" y="296"/>
                  </a:lnTo>
                  <a:lnTo>
                    <a:pt x="178" y="296"/>
                  </a:lnTo>
                  <a:lnTo>
                    <a:pt x="176" y="296"/>
                  </a:lnTo>
                  <a:lnTo>
                    <a:pt x="174" y="296"/>
                  </a:lnTo>
                  <a:lnTo>
                    <a:pt x="172" y="296"/>
                  </a:lnTo>
                  <a:lnTo>
                    <a:pt x="170" y="294"/>
                  </a:lnTo>
                  <a:lnTo>
                    <a:pt x="168" y="294"/>
                  </a:lnTo>
                  <a:lnTo>
                    <a:pt x="166" y="294"/>
                  </a:lnTo>
                  <a:lnTo>
                    <a:pt x="164" y="294"/>
                  </a:lnTo>
                  <a:lnTo>
                    <a:pt x="164" y="296"/>
                  </a:lnTo>
                  <a:lnTo>
                    <a:pt x="166" y="296"/>
                  </a:lnTo>
                  <a:lnTo>
                    <a:pt x="162" y="298"/>
                  </a:lnTo>
                  <a:lnTo>
                    <a:pt x="160" y="298"/>
                  </a:lnTo>
                  <a:lnTo>
                    <a:pt x="162" y="300"/>
                  </a:lnTo>
                  <a:lnTo>
                    <a:pt x="166" y="298"/>
                  </a:lnTo>
                  <a:lnTo>
                    <a:pt x="168" y="298"/>
                  </a:lnTo>
                  <a:lnTo>
                    <a:pt x="168" y="296"/>
                  </a:lnTo>
                  <a:lnTo>
                    <a:pt x="172" y="296"/>
                  </a:lnTo>
                  <a:lnTo>
                    <a:pt x="174" y="298"/>
                  </a:lnTo>
                  <a:lnTo>
                    <a:pt x="176" y="298"/>
                  </a:lnTo>
                  <a:lnTo>
                    <a:pt x="176" y="296"/>
                  </a:lnTo>
                  <a:lnTo>
                    <a:pt x="178" y="296"/>
                  </a:lnTo>
                  <a:lnTo>
                    <a:pt x="178" y="298"/>
                  </a:lnTo>
                  <a:lnTo>
                    <a:pt x="178" y="300"/>
                  </a:lnTo>
                  <a:lnTo>
                    <a:pt x="164" y="300"/>
                  </a:lnTo>
                  <a:lnTo>
                    <a:pt x="160" y="300"/>
                  </a:lnTo>
                  <a:lnTo>
                    <a:pt x="158" y="300"/>
                  </a:lnTo>
                  <a:lnTo>
                    <a:pt x="154" y="300"/>
                  </a:lnTo>
                  <a:lnTo>
                    <a:pt x="138" y="302"/>
                  </a:lnTo>
                  <a:lnTo>
                    <a:pt x="136" y="302"/>
                  </a:lnTo>
                  <a:lnTo>
                    <a:pt x="134" y="304"/>
                  </a:lnTo>
                  <a:lnTo>
                    <a:pt x="132" y="304"/>
                  </a:lnTo>
                  <a:lnTo>
                    <a:pt x="126" y="306"/>
                  </a:lnTo>
                  <a:lnTo>
                    <a:pt x="124" y="308"/>
                  </a:lnTo>
                  <a:lnTo>
                    <a:pt x="118" y="310"/>
                  </a:lnTo>
                  <a:lnTo>
                    <a:pt x="116" y="310"/>
                  </a:lnTo>
                  <a:lnTo>
                    <a:pt x="114" y="310"/>
                  </a:lnTo>
                  <a:lnTo>
                    <a:pt x="112" y="312"/>
                  </a:lnTo>
                  <a:lnTo>
                    <a:pt x="108" y="312"/>
                  </a:lnTo>
                  <a:lnTo>
                    <a:pt x="100" y="316"/>
                  </a:lnTo>
                  <a:lnTo>
                    <a:pt x="98" y="318"/>
                  </a:lnTo>
                  <a:lnTo>
                    <a:pt x="96" y="318"/>
                  </a:lnTo>
                  <a:lnTo>
                    <a:pt x="92" y="320"/>
                  </a:lnTo>
                  <a:lnTo>
                    <a:pt x="90" y="320"/>
                  </a:lnTo>
                  <a:lnTo>
                    <a:pt x="88" y="320"/>
                  </a:lnTo>
                  <a:lnTo>
                    <a:pt x="86" y="320"/>
                  </a:lnTo>
                  <a:lnTo>
                    <a:pt x="84" y="320"/>
                  </a:lnTo>
                  <a:lnTo>
                    <a:pt x="82" y="320"/>
                  </a:lnTo>
                  <a:lnTo>
                    <a:pt x="80" y="322"/>
                  </a:lnTo>
                  <a:lnTo>
                    <a:pt x="76" y="326"/>
                  </a:lnTo>
                  <a:lnTo>
                    <a:pt x="74" y="328"/>
                  </a:lnTo>
                  <a:lnTo>
                    <a:pt x="70" y="328"/>
                  </a:lnTo>
                  <a:lnTo>
                    <a:pt x="68" y="328"/>
                  </a:lnTo>
                  <a:lnTo>
                    <a:pt x="66" y="328"/>
                  </a:lnTo>
                  <a:lnTo>
                    <a:pt x="62" y="330"/>
                  </a:lnTo>
                  <a:lnTo>
                    <a:pt x="56" y="334"/>
                  </a:lnTo>
                  <a:lnTo>
                    <a:pt x="56" y="336"/>
                  </a:lnTo>
                  <a:lnTo>
                    <a:pt x="54" y="336"/>
                  </a:lnTo>
                  <a:lnTo>
                    <a:pt x="52" y="336"/>
                  </a:lnTo>
                  <a:lnTo>
                    <a:pt x="50" y="336"/>
                  </a:lnTo>
                  <a:lnTo>
                    <a:pt x="48" y="334"/>
                  </a:lnTo>
                  <a:lnTo>
                    <a:pt x="48" y="330"/>
                  </a:lnTo>
                  <a:lnTo>
                    <a:pt x="48" y="326"/>
                  </a:lnTo>
                  <a:lnTo>
                    <a:pt x="48" y="322"/>
                  </a:lnTo>
                  <a:lnTo>
                    <a:pt x="48" y="314"/>
                  </a:lnTo>
                  <a:lnTo>
                    <a:pt x="48" y="312"/>
                  </a:lnTo>
                  <a:lnTo>
                    <a:pt x="48" y="310"/>
                  </a:lnTo>
                  <a:lnTo>
                    <a:pt x="48" y="306"/>
                  </a:lnTo>
                  <a:lnTo>
                    <a:pt x="50" y="298"/>
                  </a:lnTo>
                  <a:lnTo>
                    <a:pt x="52" y="296"/>
                  </a:lnTo>
                  <a:lnTo>
                    <a:pt x="60" y="284"/>
                  </a:lnTo>
                  <a:lnTo>
                    <a:pt x="58" y="282"/>
                  </a:lnTo>
                  <a:lnTo>
                    <a:pt x="56" y="280"/>
                  </a:lnTo>
                  <a:lnTo>
                    <a:pt x="56" y="278"/>
                  </a:lnTo>
                  <a:lnTo>
                    <a:pt x="58" y="276"/>
                  </a:lnTo>
                  <a:lnTo>
                    <a:pt x="58" y="272"/>
                  </a:lnTo>
                  <a:lnTo>
                    <a:pt x="60" y="272"/>
                  </a:lnTo>
                  <a:lnTo>
                    <a:pt x="58" y="268"/>
                  </a:lnTo>
                  <a:lnTo>
                    <a:pt x="58" y="266"/>
                  </a:lnTo>
                  <a:lnTo>
                    <a:pt x="58" y="264"/>
                  </a:lnTo>
                  <a:lnTo>
                    <a:pt x="56" y="262"/>
                  </a:lnTo>
                  <a:lnTo>
                    <a:pt x="58" y="260"/>
                  </a:lnTo>
                  <a:lnTo>
                    <a:pt x="58" y="258"/>
                  </a:lnTo>
                  <a:lnTo>
                    <a:pt x="58" y="256"/>
                  </a:lnTo>
                  <a:lnTo>
                    <a:pt x="56" y="256"/>
                  </a:lnTo>
                  <a:lnTo>
                    <a:pt x="54" y="256"/>
                  </a:lnTo>
                  <a:lnTo>
                    <a:pt x="52" y="254"/>
                  </a:lnTo>
                  <a:lnTo>
                    <a:pt x="46" y="252"/>
                  </a:lnTo>
                  <a:lnTo>
                    <a:pt x="42" y="250"/>
                  </a:lnTo>
                  <a:lnTo>
                    <a:pt x="40" y="248"/>
                  </a:lnTo>
                  <a:lnTo>
                    <a:pt x="40" y="246"/>
                  </a:lnTo>
                  <a:lnTo>
                    <a:pt x="40" y="244"/>
                  </a:lnTo>
                  <a:lnTo>
                    <a:pt x="38" y="236"/>
                  </a:lnTo>
                  <a:lnTo>
                    <a:pt x="36" y="234"/>
                  </a:lnTo>
                  <a:lnTo>
                    <a:pt x="34" y="232"/>
                  </a:lnTo>
                  <a:lnTo>
                    <a:pt x="30" y="232"/>
                  </a:lnTo>
                  <a:lnTo>
                    <a:pt x="26" y="232"/>
                  </a:lnTo>
                  <a:lnTo>
                    <a:pt x="24" y="232"/>
                  </a:lnTo>
                  <a:lnTo>
                    <a:pt x="22" y="232"/>
                  </a:lnTo>
                  <a:lnTo>
                    <a:pt x="12" y="226"/>
                  </a:lnTo>
                  <a:lnTo>
                    <a:pt x="6" y="222"/>
                  </a:lnTo>
                  <a:lnTo>
                    <a:pt x="2" y="220"/>
                  </a:lnTo>
                  <a:lnTo>
                    <a:pt x="0" y="218"/>
                  </a:lnTo>
                  <a:lnTo>
                    <a:pt x="2" y="218"/>
                  </a:lnTo>
                  <a:lnTo>
                    <a:pt x="2" y="216"/>
                  </a:lnTo>
                  <a:lnTo>
                    <a:pt x="4" y="216"/>
                  </a:lnTo>
                  <a:lnTo>
                    <a:pt x="4" y="214"/>
                  </a:lnTo>
                  <a:lnTo>
                    <a:pt x="6" y="214"/>
                  </a:lnTo>
                  <a:lnTo>
                    <a:pt x="6" y="212"/>
                  </a:lnTo>
                  <a:lnTo>
                    <a:pt x="8" y="212"/>
                  </a:lnTo>
                  <a:lnTo>
                    <a:pt x="10" y="212"/>
                  </a:lnTo>
                  <a:lnTo>
                    <a:pt x="10" y="210"/>
                  </a:lnTo>
                  <a:lnTo>
                    <a:pt x="12" y="208"/>
                  </a:lnTo>
                  <a:lnTo>
                    <a:pt x="14" y="206"/>
                  </a:lnTo>
                  <a:lnTo>
                    <a:pt x="14" y="204"/>
                  </a:lnTo>
                  <a:lnTo>
                    <a:pt x="14" y="202"/>
                  </a:lnTo>
                  <a:lnTo>
                    <a:pt x="16" y="200"/>
                  </a:lnTo>
                  <a:lnTo>
                    <a:pt x="18" y="192"/>
                  </a:lnTo>
                  <a:lnTo>
                    <a:pt x="18" y="184"/>
                  </a:lnTo>
                  <a:lnTo>
                    <a:pt x="16" y="182"/>
                  </a:lnTo>
                  <a:lnTo>
                    <a:pt x="14" y="180"/>
                  </a:lnTo>
                  <a:lnTo>
                    <a:pt x="14" y="176"/>
                  </a:lnTo>
                  <a:lnTo>
                    <a:pt x="14" y="172"/>
                  </a:lnTo>
                  <a:lnTo>
                    <a:pt x="12" y="170"/>
                  </a:lnTo>
                  <a:lnTo>
                    <a:pt x="14" y="168"/>
                  </a:lnTo>
                  <a:lnTo>
                    <a:pt x="12" y="166"/>
                  </a:lnTo>
                  <a:lnTo>
                    <a:pt x="12" y="164"/>
                  </a:lnTo>
                  <a:lnTo>
                    <a:pt x="10" y="162"/>
                  </a:lnTo>
                  <a:lnTo>
                    <a:pt x="14" y="160"/>
                  </a:lnTo>
                  <a:lnTo>
                    <a:pt x="20" y="162"/>
                  </a:lnTo>
                  <a:lnTo>
                    <a:pt x="22" y="164"/>
                  </a:lnTo>
                  <a:lnTo>
                    <a:pt x="24" y="162"/>
                  </a:lnTo>
                  <a:lnTo>
                    <a:pt x="24" y="160"/>
                  </a:lnTo>
                  <a:lnTo>
                    <a:pt x="30" y="152"/>
                  </a:lnTo>
                  <a:lnTo>
                    <a:pt x="30" y="150"/>
                  </a:lnTo>
                  <a:lnTo>
                    <a:pt x="28" y="148"/>
                  </a:lnTo>
                  <a:lnTo>
                    <a:pt x="32" y="144"/>
                  </a:lnTo>
                  <a:lnTo>
                    <a:pt x="32" y="142"/>
                  </a:lnTo>
                  <a:lnTo>
                    <a:pt x="32" y="140"/>
                  </a:lnTo>
                  <a:lnTo>
                    <a:pt x="32" y="138"/>
                  </a:lnTo>
                  <a:lnTo>
                    <a:pt x="34" y="138"/>
                  </a:lnTo>
                  <a:lnTo>
                    <a:pt x="38" y="140"/>
                  </a:lnTo>
                  <a:lnTo>
                    <a:pt x="38" y="138"/>
                  </a:lnTo>
                  <a:lnTo>
                    <a:pt x="36" y="132"/>
                  </a:lnTo>
                  <a:lnTo>
                    <a:pt x="34" y="132"/>
                  </a:lnTo>
                  <a:lnTo>
                    <a:pt x="32" y="132"/>
                  </a:lnTo>
                  <a:lnTo>
                    <a:pt x="30" y="132"/>
                  </a:lnTo>
                  <a:lnTo>
                    <a:pt x="26" y="130"/>
                  </a:lnTo>
                  <a:lnTo>
                    <a:pt x="24" y="126"/>
                  </a:lnTo>
                  <a:lnTo>
                    <a:pt x="24" y="124"/>
                  </a:lnTo>
                  <a:lnTo>
                    <a:pt x="24" y="116"/>
                  </a:lnTo>
                  <a:lnTo>
                    <a:pt x="26" y="114"/>
                  </a:lnTo>
                  <a:lnTo>
                    <a:pt x="40" y="114"/>
                  </a:lnTo>
                  <a:lnTo>
                    <a:pt x="46" y="114"/>
                  </a:lnTo>
                  <a:lnTo>
                    <a:pt x="48" y="116"/>
                  </a:lnTo>
                  <a:lnTo>
                    <a:pt x="48" y="120"/>
                  </a:lnTo>
                  <a:lnTo>
                    <a:pt x="48" y="122"/>
                  </a:lnTo>
                  <a:lnTo>
                    <a:pt x="52" y="122"/>
                  </a:lnTo>
                  <a:lnTo>
                    <a:pt x="54" y="122"/>
                  </a:lnTo>
                  <a:lnTo>
                    <a:pt x="54" y="120"/>
                  </a:lnTo>
                  <a:lnTo>
                    <a:pt x="54" y="118"/>
                  </a:lnTo>
                  <a:lnTo>
                    <a:pt x="54" y="112"/>
                  </a:lnTo>
                  <a:lnTo>
                    <a:pt x="54" y="108"/>
                  </a:lnTo>
                  <a:lnTo>
                    <a:pt x="50" y="102"/>
                  </a:lnTo>
                  <a:lnTo>
                    <a:pt x="48" y="102"/>
                  </a:lnTo>
                  <a:lnTo>
                    <a:pt x="44" y="100"/>
                  </a:lnTo>
                  <a:lnTo>
                    <a:pt x="42" y="100"/>
                  </a:lnTo>
                  <a:lnTo>
                    <a:pt x="40" y="100"/>
                  </a:lnTo>
                  <a:lnTo>
                    <a:pt x="40" y="98"/>
                  </a:lnTo>
                  <a:lnTo>
                    <a:pt x="40" y="96"/>
                  </a:lnTo>
                  <a:lnTo>
                    <a:pt x="42" y="92"/>
                  </a:lnTo>
                  <a:lnTo>
                    <a:pt x="42" y="90"/>
                  </a:lnTo>
                  <a:lnTo>
                    <a:pt x="42" y="88"/>
                  </a:lnTo>
                  <a:lnTo>
                    <a:pt x="44" y="86"/>
                  </a:lnTo>
                  <a:lnTo>
                    <a:pt x="48" y="84"/>
                  </a:lnTo>
                  <a:lnTo>
                    <a:pt x="52" y="84"/>
                  </a:lnTo>
                  <a:lnTo>
                    <a:pt x="52" y="82"/>
                  </a:lnTo>
                  <a:lnTo>
                    <a:pt x="48" y="80"/>
                  </a:lnTo>
                  <a:lnTo>
                    <a:pt x="44" y="78"/>
                  </a:lnTo>
                  <a:lnTo>
                    <a:pt x="44" y="76"/>
                  </a:lnTo>
                  <a:lnTo>
                    <a:pt x="46" y="70"/>
                  </a:lnTo>
                  <a:lnTo>
                    <a:pt x="42" y="66"/>
                  </a:lnTo>
                  <a:lnTo>
                    <a:pt x="38" y="66"/>
                  </a:lnTo>
                  <a:lnTo>
                    <a:pt x="36" y="66"/>
                  </a:lnTo>
                  <a:lnTo>
                    <a:pt x="36" y="64"/>
                  </a:lnTo>
                  <a:lnTo>
                    <a:pt x="34" y="62"/>
                  </a:lnTo>
                  <a:lnTo>
                    <a:pt x="34" y="60"/>
                  </a:lnTo>
                  <a:lnTo>
                    <a:pt x="34" y="58"/>
                  </a:lnTo>
                  <a:lnTo>
                    <a:pt x="34" y="54"/>
                  </a:lnTo>
                  <a:lnTo>
                    <a:pt x="36" y="44"/>
                  </a:lnTo>
                  <a:lnTo>
                    <a:pt x="36" y="42"/>
                  </a:lnTo>
                  <a:lnTo>
                    <a:pt x="34" y="40"/>
                  </a:lnTo>
                  <a:lnTo>
                    <a:pt x="34" y="38"/>
                  </a:lnTo>
                  <a:lnTo>
                    <a:pt x="34" y="34"/>
                  </a:lnTo>
                  <a:lnTo>
                    <a:pt x="36" y="32"/>
                  </a:lnTo>
                  <a:lnTo>
                    <a:pt x="38" y="30"/>
                  </a:lnTo>
                  <a:lnTo>
                    <a:pt x="40" y="30"/>
                  </a:lnTo>
                  <a:lnTo>
                    <a:pt x="42" y="30"/>
                  </a:lnTo>
                  <a:lnTo>
                    <a:pt x="42" y="28"/>
                  </a:lnTo>
                  <a:lnTo>
                    <a:pt x="44" y="26"/>
                  </a:lnTo>
                  <a:lnTo>
                    <a:pt x="46" y="26"/>
                  </a:lnTo>
                  <a:lnTo>
                    <a:pt x="48" y="26"/>
                  </a:lnTo>
                  <a:lnTo>
                    <a:pt x="52" y="24"/>
                  </a:lnTo>
                  <a:lnTo>
                    <a:pt x="54" y="22"/>
                  </a:lnTo>
                  <a:lnTo>
                    <a:pt x="56" y="20"/>
                  </a:lnTo>
                  <a:lnTo>
                    <a:pt x="56" y="18"/>
                  </a:lnTo>
                  <a:lnTo>
                    <a:pt x="56" y="16"/>
                  </a:lnTo>
                  <a:lnTo>
                    <a:pt x="58" y="14"/>
                  </a:lnTo>
                  <a:lnTo>
                    <a:pt x="62" y="12"/>
                  </a:lnTo>
                  <a:lnTo>
                    <a:pt x="70" y="16"/>
                  </a:lnTo>
                  <a:lnTo>
                    <a:pt x="76" y="18"/>
                  </a:lnTo>
                  <a:lnTo>
                    <a:pt x="80" y="24"/>
                  </a:lnTo>
                  <a:lnTo>
                    <a:pt x="84" y="24"/>
                  </a:lnTo>
                  <a:lnTo>
                    <a:pt x="86" y="26"/>
                  </a:lnTo>
                  <a:lnTo>
                    <a:pt x="90" y="26"/>
                  </a:lnTo>
                  <a:lnTo>
                    <a:pt x="90" y="28"/>
                  </a:lnTo>
                  <a:lnTo>
                    <a:pt x="92" y="30"/>
                  </a:lnTo>
                  <a:lnTo>
                    <a:pt x="94" y="30"/>
                  </a:lnTo>
                  <a:lnTo>
                    <a:pt x="94" y="28"/>
                  </a:lnTo>
                  <a:lnTo>
                    <a:pt x="96" y="28"/>
                  </a:lnTo>
                  <a:lnTo>
                    <a:pt x="96" y="26"/>
                  </a:lnTo>
                  <a:lnTo>
                    <a:pt x="94" y="24"/>
                  </a:lnTo>
                  <a:lnTo>
                    <a:pt x="96" y="20"/>
                  </a:lnTo>
                  <a:lnTo>
                    <a:pt x="96" y="18"/>
                  </a:lnTo>
                  <a:lnTo>
                    <a:pt x="108" y="20"/>
                  </a:lnTo>
                  <a:lnTo>
                    <a:pt x="112" y="20"/>
                  </a:lnTo>
                  <a:lnTo>
                    <a:pt x="112" y="18"/>
                  </a:lnTo>
                  <a:lnTo>
                    <a:pt x="112" y="16"/>
                  </a:lnTo>
                  <a:lnTo>
                    <a:pt x="112" y="14"/>
                  </a:lnTo>
                  <a:lnTo>
                    <a:pt x="110" y="12"/>
                  </a:lnTo>
                  <a:lnTo>
                    <a:pt x="112" y="6"/>
                  </a:lnTo>
                  <a:lnTo>
                    <a:pt x="112" y="4"/>
                  </a:lnTo>
                  <a:lnTo>
                    <a:pt x="114" y="4"/>
                  </a:lnTo>
                  <a:lnTo>
                    <a:pt x="116" y="6"/>
                  </a:lnTo>
                  <a:lnTo>
                    <a:pt x="118" y="8"/>
                  </a:lnTo>
                  <a:lnTo>
                    <a:pt x="124" y="10"/>
                  </a:lnTo>
                  <a:lnTo>
                    <a:pt x="126" y="8"/>
                  </a:lnTo>
                  <a:lnTo>
                    <a:pt x="124" y="6"/>
                  </a:lnTo>
                  <a:lnTo>
                    <a:pt x="124" y="2"/>
                  </a:lnTo>
                  <a:lnTo>
                    <a:pt x="132" y="0"/>
                  </a:lnTo>
                  <a:lnTo>
                    <a:pt x="134" y="2"/>
                  </a:lnTo>
                  <a:lnTo>
                    <a:pt x="136" y="6"/>
                  </a:lnTo>
                  <a:lnTo>
                    <a:pt x="134" y="10"/>
                  </a:lnTo>
                  <a:lnTo>
                    <a:pt x="134" y="16"/>
                  </a:lnTo>
                  <a:lnTo>
                    <a:pt x="134" y="18"/>
                  </a:lnTo>
                  <a:lnTo>
                    <a:pt x="134" y="20"/>
                  </a:lnTo>
                  <a:lnTo>
                    <a:pt x="134" y="26"/>
                  </a:lnTo>
                  <a:lnTo>
                    <a:pt x="136" y="28"/>
                  </a:lnTo>
                  <a:lnTo>
                    <a:pt x="138" y="30"/>
                  </a:lnTo>
                  <a:lnTo>
                    <a:pt x="144" y="30"/>
                  </a:lnTo>
                  <a:lnTo>
                    <a:pt x="144" y="28"/>
                  </a:lnTo>
                  <a:lnTo>
                    <a:pt x="146" y="26"/>
                  </a:lnTo>
                  <a:lnTo>
                    <a:pt x="150" y="20"/>
                  </a:lnTo>
                  <a:lnTo>
                    <a:pt x="154" y="18"/>
                  </a:lnTo>
                  <a:lnTo>
                    <a:pt x="156" y="18"/>
                  </a:lnTo>
                  <a:lnTo>
                    <a:pt x="158" y="18"/>
                  </a:lnTo>
                  <a:lnTo>
                    <a:pt x="160" y="18"/>
                  </a:lnTo>
                  <a:lnTo>
                    <a:pt x="166" y="16"/>
                  </a:lnTo>
                  <a:lnTo>
                    <a:pt x="168" y="18"/>
                  </a:lnTo>
                  <a:lnTo>
                    <a:pt x="170" y="24"/>
                  </a:lnTo>
                  <a:lnTo>
                    <a:pt x="174" y="26"/>
                  </a:lnTo>
                  <a:lnTo>
                    <a:pt x="176" y="26"/>
                  </a:lnTo>
                  <a:lnTo>
                    <a:pt x="178" y="26"/>
                  </a:lnTo>
                  <a:lnTo>
                    <a:pt x="180" y="26"/>
                  </a:lnTo>
                  <a:lnTo>
                    <a:pt x="182" y="26"/>
                  </a:lnTo>
                  <a:lnTo>
                    <a:pt x="188" y="26"/>
                  </a:lnTo>
                  <a:lnTo>
                    <a:pt x="194" y="40"/>
                  </a:lnTo>
                  <a:lnTo>
                    <a:pt x="196" y="46"/>
                  </a:lnTo>
                  <a:lnTo>
                    <a:pt x="200" y="50"/>
                  </a:lnTo>
                  <a:lnTo>
                    <a:pt x="204" y="52"/>
                  </a:lnTo>
                  <a:lnTo>
                    <a:pt x="204" y="54"/>
                  </a:lnTo>
                  <a:lnTo>
                    <a:pt x="202" y="56"/>
                  </a:lnTo>
                  <a:lnTo>
                    <a:pt x="204" y="58"/>
                  </a:lnTo>
                  <a:lnTo>
                    <a:pt x="208" y="58"/>
                  </a:lnTo>
                  <a:lnTo>
                    <a:pt x="210" y="58"/>
                  </a:lnTo>
                  <a:lnTo>
                    <a:pt x="212" y="58"/>
                  </a:lnTo>
                  <a:lnTo>
                    <a:pt x="216" y="60"/>
                  </a:lnTo>
                  <a:lnTo>
                    <a:pt x="220" y="62"/>
                  </a:lnTo>
                  <a:lnTo>
                    <a:pt x="226" y="64"/>
                  </a:lnTo>
                  <a:lnTo>
                    <a:pt x="226" y="66"/>
                  </a:lnTo>
                  <a:lnTo>
                    <a:pt x="228" y="62"/>
                  </a:lnTo>
                  <a:lnTo>
                    <a:pt x="230" y="58"/>
                  </a:lnTo>
                  <a:lnTo>
                    <a:pt x="236" y="54"/>
                  </a:lnTo>
                  <a:lnTo>
                    <a:pt x="242" y="56"/>
                  </a:lnTo>
                  <a:lnTo>
                    <a:pt x="246" y="52"/>
                  </a:lnTo>
                  <a:lnTo>
                    <a:pt x="248" y="52"/>
                  </a:lnTo>
                  <a:lnTo>
                    <a:pt x="248" y="50"/>
                  </a:lnTo>
                  <a:lnTo>
                    <a:pt x="250" y="50"/>
                  </a:lnTo>
                  <a:lnTo>
                    <a:pt x="256" y="48"/>
                  </a:lnTo>
                  <a:lnTo>
                    <a:pt x="258" y="48"/>
                  </a:lnTo>
                  <a:lnTo>
                    <a:pt x="262" y="48"/>
                  </a:lnTo>
                  <a:lnTo>
                    <a:pt x="274" y="50"/>
                  </a:lnTo>
                  <a:lnTo>
                    <a:pt x="284" y="52"/>
                  </a:lnTo>
                  <a:lnTo>
                    <a:pt x="286" y="56"/>
                  </a:lnTo>
                  <a:lnTo>
                    <a:pt x="294" y="62"/>
                  </a:lnTo>
                  <a:lnTo>
                    <a:pt x="294" y="64"/>
                  </a:lnTo>
                  <a:lnTo>
                    <a:pt x="296" y="68"/>
                  </a:lnTo>
                  <a:lnTo>
                    <a:pt x="296" y="70"/>
                  </a:lnTo>
                  <a:lnTo>
                    <a:pt x="300" y="76"/>
                  </a:lnTo>
                  <a:lnTo>
                    <a:pt x="302" y="78"/>
                  </a:lnTo>
                  <a:lnTo>
                    <a:pt x="304" y="80"/>
                  </a:lnTo>
                  <a:lnTo>
                    <a:pt x="306" y="80"/>
                  </a:lnTo>
                  <a:lnTo>
                    <a:pt x="308" y="76"/>
                  </a:lnTo>
                  <a:lnTo>
                    <a:pt x="308" y="80"/>
                  </a:lnTo>
                  <a:lnTo>
                    <a:pt x="308" y="90"/>
                  </a:lnTo>
                  <a:lnTo>
                    <a:pt x="306" y="90"/>
                  </a:lnTo>
                  <a:lnTo>
                    <a:pt x="304" y="94"/>
                  </a:lnTo>
                  <a:lnTo>
                    <a:pt x="302" y="98"/>
                  </a:lnTo>
                  <a:lnTo>
                    <a:pt x="304" y="100"/>
                  </a:lnTo>
                  <a:lnTo>
                    <a:pt x="308" y="100"/>
                  </a:lnTo>
                  <a:lnTo>
                    <a:pt x="310" y="106"/>
                  </a:lnTo>
                  <a:lnTo>
                    <a:pt x="310" y="112"/>
                  </a:lnTo>
                  <a:lnTo>
                    <a:pt x="310" y="114"/>
                  </a:lnTo>
                  <a:lnTo>
                    <a:pt x="312" y="114"/>
                  </a:lnTo>
                  <a:lnTo>
                    <a:pt x="312" y="116"/>
                  </a:lnTo>
                  <a:lnTo>
                    <a:pt x="312" y="120"/>
                  </a:lnTo>
                  <a:lnTo>
                    <a:pt x="314" y="140"/>
                  </a:lnTo>
                  <a:lnTo>
                    <a:pt x="314" y="144"/>
                  </a:lnTo>
                  <a:lnTo>
                    <a:pt x="310" y="146"/>
                  </a:lnTo>
                  <a:lnTo>
                    <a:pt x="308" y="146"/>
                  </a:lnTo>
                  <a:lnTo>
                    <a:pt x="306" y="152"/>
                  </a:lnTo>
                  <a:lnTo>
                    <a:pt x="300" y="156"/>
                  </a:lnTo>
                  <a:lnTo>
                    <a:pt x="298" y="160"/>
                  </a:lnTo>
                  <a:lnTo>
                    <a:pt x="296" y="166"/>
                  </a:lnTo>
                  <a:lnTo>
                    <a:pt x="292" y="174"/>
                  </a:lnTo>
                  <a:lnTo>
                    <a:pt x="290" y="182"/>
                  </a:lnTo>
                  <a:lnTo>
                    <a:pt x="288" y="192"/>
                  </a:lnTo>
                  <a:lnTo>
                    <a:pt x="286" y="200"/>
                  </a:lnTo>
                  <a:lnTo>
                    <a:pt x="282" y="202"/>
                  </a:lnTo>
                  <a:lnTo>
                    <a:pt x="280" y="204"/>
                  </a:lnTo>
                  <a:lnTo>
                    <a:pt x="274" y="214"/>
                  </a:lnTo>
                  <a:lnTo>
                    <a:pt x="274" y="218"/>
                  </a:lnTo>
                  <a:lnTo>
                    <a:pt x="274" y="222"/>
                  </a:lnTo>
                  <a:lnTo>
                    <a:pt x="272" y="224"/>
                  </a:lnTo>
                  <a:lnTo>
                    <a:pt x="274" y="228"/>
                  </a:lnTo>
                  <a:lnTo>
                    <a:pt x="274" y="234"/>
                  </a:lnTo>
                  <a:lnTo>
                    <a:pt x="276" y="242"/>
                  </a:lnTo>
                  <a:lnTo>
                    <a:pt x="276" y="244"/>
                  </a:lnTo>
                  <a:lnTo>
                    <a:pt x="278" y="250"/>
                  </a:lnTo>
                  <a:lnTo>
                    <a:pt x="280" y="252"/>
                  </a:lnTo>
                  <a:lnTo>
                    <a:pt x="280" y="258"/>
                  </a:lnTo>
                  <a:lnTo>
                    <a:pt x="284" y="266"/>
                  </a:lnTo>
                  <a:lnTo>
                    <a:pt x="282" y="274"/>
                  </a:lnTo>
                  <a:lnTo>
                    <a:pt x="286" y="276"/>
                  </a:lnTo>
                  <a:lnTo>
                    <a:pt x="286" y="278"/>
                  </a:lnTo>
                  <a:lnTo>
                    <a:pt x="288" y="278"/>
                  </a:lnTo>
                  <a:lnTo>
                    <a:pt x="290" y="278"/>
                  </a:lnTo>
                  <a:lnTo>
                    <a:pt x="294" y="278"/>
                  </a:lnTo>
                  <a:lnTo>
                    <a:pt x="296" y="280"/>
                  </a:lnTo>
                  <a:lnTo>
                    <a:pt x="296" y="288"/>
                  </a:lnTo>
                  <a:lnTo>
                    <a:pt x="294" y="292"/>
                  </a:lnTo>
                  <a:lnTo>
                    <a:pt x="294" y="296"/>
                  </a:lnTo>
                  <a:lnTo>
                    <a:pt x="294" y="300"/>
                  </a:lnTo>
                  <a:lnTo>
                    <a:pt x="296" y="302"/>
                  </a:lnTo>
                  <a:lnTo>
                    <a:pt x="296" y="304"/>
                  </a:lnTo>
                  <a:lnTo>
                    <a:pt x="294" y="306"/>
                  </a:lnTo>
                  <a:lnTo>
                    <a:pt x="286" y="306"/>
                  </a:lnTo>
                  <a:lnTo>
                    <a:pt x="286" y="304"/>
                  </a:lnTo>
                  <a:lnTo>
                    <a:pt x="288" y="304"/>
                  </a:lnTo>
                  <a:lnTo>
                    <a:pt x="290" y="302"/>
                  </a:lnTo>
                  <a:lnTo>
                    <a:pt x="288" y="300"/>
                  </a:lnTo>
                  <a:lnTo>
                    <a:pt x="286" y="302"/>
                  </a:lnTo>
                  <a:lnTo>
                    <a:pt x="282" y="304"/>
                  </a:lnTo>
                  <a:lnTo>
                    <a:pt x="274" y="302"/>
                  </a:lnTo>
                  <a:lnTo>
                    <a:pt x="272" y="298"/>
                  </a:lnTo>
                  <a:lnTo>
                    <a:pt x="274" y="296"/>
                  </a:lnTo>
                  <a:lnTo>
                    <a:pt x="276" y="294"/>
                  </a:lnTo>
                  <a:lnTo>
                    <a:pt x="276" y="292"/>
                  </a:lnTo>
                  <a:lnTo>
                    <a:pt x="274" y="290"/>
                  </a:lnTo>
                  <a:lnTo>
                    <a:pt x="270" y="290"/>
                  </a:lnTo>
                  <a:lnTo>
                    <a:pt x="270" y="292"/>
                  </a:lnTo>
                  <a:lnTo>
                    <a:pt x="268" y="296"/>
                  </a:lnTo>
                  <a:lnTo>
                    <a:pt x="268" y="298"/>
                  </a:lnTo>
                  <a:lnTo>
                    <a:pt x="268" y="302"/>
                  </a:lnTo>
                  <a:lnTo>
                    <a:pt x="266" y="304"/>
                  </a:lnTo>
                  <a:lnTo>
                    <a:pt x="264" y="304"/>
                  </a:lnTo>
                  <a:lnTo>
                    <a:pt x="262" y="302"/>
                  </a:lnTo>
                  <a:lnTo>
                    <a:pt x="260" y="302"/>
                  </a:lnTo>
                  <a:lnTo>
                    <a:pt x="258" y="302"/>
                  </a:lnTo>
                  <a:lnTo>
                    <a:pt x="256" y="302"/>
                  </a:lnTo>
                  <a:lnTo>
                    <a:pt x="254" y="302"/>
                  </a:lnTo>
                  <a:lnTo>
                    <a:pt x="248" y="300"/>
                  </a:lnTo>
                  <a:lnTo>
                    <a:pt x="244" y="298"/>
                  </a:lnTo>
                  <a:lnTo>
                    <a:pt x="242" y="298"/>
                  </a:lnTo>
                  <a:lnTo>
                    <a:pt x="234" y="296"/>
                  </a:lnTo>
                  <a:lnTo>
                    <a:pt x="232" y="296"/>
                  </a:lnTo>
                  <a:lnTo>
                    <a:pt x="230" y="296"/>
                  </a:lnTo>
                  <a:lnTo>
                    <a:pt x="234" y="294"/>
                  </a:lnTo>
                  <a:lnTo>
                    <a:pt x="236" y="294"/>
                  </a:lnTo>
                  <a:lnTo>
                    <a:pt x="240" y="294"/>
                  </a:lnTo>
                  <a:lnTo>
                    <a:pt x="242" y="296"/>
                  </a:lnTo>
                  <a:lnTo>
                    <a:pt x="244" y="296"/>
                  </a:lnTo>
                  <a:lnTo>
                    <a:pt x="246" y="294"/>
                  </a:lnTo>
                  <a:lnTo>
                    <a:pt x="244" y="290"/>
                  </a:lnTo>
                  <a:lnTo>
                    <a:pt x="242" y="288"/>
                  </a:lnTo>
                  <a:lnTo>
                    <a:pt x="242" y="290"/>
                  </a:lnTo>
                  <a:lnTo>
                    <a:pt x="242" y="292"/>
                  </a:lnTo>
                  <a:lnTo>
                    <a:pt x="244" y="294"/>
                  </a:lnTo>
                  <a:lnTo>
                    <a:pt x="242" y="294"/>
                  </a:lnTo>
                  <a:lnTo>
                    <a:pt x="240" y="294"/>
                  </a:lnTo>
                  <a:lnTo>
                    <a:pt x="236" y="292"/>
                  </a:lnTo>
                  <a:lnTo>
                    <a:pt x="228" y="292"/>
                  </a:lnTo>
                  <a:lnTo>
                    <a:pt x="214" y="292"/>
                  </a:lnTo>
                  <a:lnTo>
                    <a:pt x="208" y="292"/>
                  </a:lnTo>
                  <a:lnTo>
                    <a:pt x="206" y="292"/>
                  </a:lnTo>
                  <a:lnTo>
                    <a:pt x="206" y="294"/>
                  </a:lnTo>
                  <a:lnTo>
                    <a:pt x="200" y="294"/>
                  </a:lnTo>
                  <a:lnTo>
                    <a:pt x="194" y="296"/>
                  </a:lnTo>
                  <a:lnTo>
                    <a:pt x="190" y="296"/>
                  </a:lnTo>
                  <a:lnTo>
                    <a:pt x="190" y="29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0" name="Freeform 1437"/>
            <p:cNvSpPr>
              <a:spLocks/>
            </p:cNvSpPr>
            <p:nvPr/>
          </p:nvSpPr>
          <p:spPr bwMode="auto">
            <a:xfrm>
              <a:off x="7176901" y="4753485"/>
              <a:ext cx="492933" cy="900790"/>
            </a:xfrm>
            <a:custGeom>
              <a:avLst/>
              <a:gdLst/>
              <a:ahLst/>
              <a:cxnLst>
                <a:cxn ang="0">
                  <a:pos x="216" y="174"/>
                </a:cxn>
                <a:cxn ang="0">
                  <a:pos x="226" y="186"/>
                </a:cxn>
                <a:cxn ang="0">
                  <a:pos x="236" y="158"/>
                </a:cxn>
                <a:cxn ang="0">
                  <a:pos x="240" y="162"/>
                </a:cxn>
                <a:cxn ang="0">
                  <a:pos x="268" y="142"/>
                </a:cxn>
                <a:cxn ang="0">
                  <a:pos x="268" y="140"/>
                </a:cxn>
                <a:cxn ang="0">
                  <a:pos x="266" y="124"/>
                </a:cxn>
                <a:cxn ang="0">
                  <a:pos x="272" y="120"/>
                </a:cxn>
                <a:cxn ang="0">
                  <a:pos x="272" y="110"/>
                </a:cxn>
                <a:cxn ang="0">
                  <a:pos x="276" y="88"/>
                </a:cxn>
                <a:cxn ang="0">
                  <a:pos x="288" y="100"/>
                </a:cxn>
                <a:cxn ang="0">
                  <a:pos x="316" y="76"/>
                </a:cxn>
                <a:cxn ang="0">
                  <a:pos x="326" y="46"/>
                </a:cxn>
                <a:cxn ang="0">
                  <a:pos x="322" y="30"/>
                </a:cxn>
                <a:cxn ang="0">
                  <a:pos x="338" y="10"/>
                </a:cxn>
                <a:cxn ang="0">
                  <a:pos x="346" y="12"/>
                </a:cxn>
                <a:cxn ang="0">
                  <a:pos x="356" y="24"/>
                </a:cxn>
                <a:cxn ang="0">
                  <a:pos x="374" y="60"/>
                </a:cxn>
                <a:cxn ang="0">
                  <a:pos x="382" y="98"/>
                </a:cxn>
                <a:cxn ang="0">
                  <a:pos x="384" y="126"/>
                </a:cxn>
                <a:cxn ang="0">
                  <a:pos x="390" y="170"/>
                </a:cxn>
                <a:cxn ang="0">
                  <a:pos x="374" y="218"/>
                </a:cxn>
                <a:cxn ang="0">
                  <a:pos x="360" y="188"/>
                </a:cxn>
                <a:cxn ang="0">
                  <a:pos x="354" y="214"/>
                </a:cxn>
                <a:cxn ang="0">
                  <a:pos x="356" y="232"/>
                </a:cxn>
                <a:cxn ang="0">
                  <a:pos x="350" y="254"/>
                </a:cxn>
                <a:cxn ang="0">
                  <a:pos x="338" y="274"/>
                </a:cxn>
                <a:cxn ang="0">
                  <a:pos x="332" y="314"/>
                </a:cxn>
                <a:cxn ang="0">
                  <a:pos x="310" y="370"/>
                </a:cxn>
                <a:cxn ang="0">
                  <a:pos x="298" y="398"/>
                </a:cxn>
                <a:cxn ang="0">
                  <a:pos x="288" y="426"/>
                </a:cxn>
                <a:cxn ang="0">
                  <a:pos x="272" y="456"/>
                </a:cxn>
                <a:cxn ang="0">
                  <a:pos x="236" y="542"/>
                </a:cxn>
                <a:cxn ang="0">
                  <a:pos x="220" y="588"/>
                </a:cxn>
                <a:cxn ang="0">
                  <a:pos x="194" y="648"/>
                </a:cxn>
                <a:cxn ang="0">
                  <a:pos x="174" y="688"/>
                </a:cxn>
                <a:cxn ang="0">
                  <a:pos x="132" y="700"/>
                </a:cxn>
                <a:cxn ang="0">
                  <a:pos x="92" y="720"/>
                </a:cxn>
                <a:cxn ang="0">
                  <a:pos x="54" y="704"/>
                </a:cxn>
                <a:cxn ang="0">
                  <a:pos x="30" y="690"/>
                </a:cxn>
                <a:cxn ang="0">
                  <a:pos x="20" y="676"/>
                </a:cxn>
                <a:cxn ang="0">
                  <a:pos x="12" y="656"/>
                </a:cxn>
                <a:cxn ang="0">
                  <a:pos x="14" y="612"/>
                </a:cxn>
                <a:cxn ang="0">
                  <a:pos x="12" y="594"/>
                </a:cxn>
                <a:cxn ang="0">
                  <a:pos x="2" y="570"/>
                </a:cxn>
                <a:cxn ang="0">
                  <a:pos x="8" y="514"/>
                </a:cxn>
                <a:cxn ang="0">
                  <a:pos x="26" y="490"/>
                </a:cxn>
                <a:cxn ang="0">
                  <a:pos x="42" y="466"/>
                </a:cxn>
                <a:cxn ang="0">
                  <a:pos x="66" y="430"/>
                </a:cxn>
                <a:cxn ang="0">
                  <a:pos x="72" y="400"/>
                </a:cxn>
                <a:cxn ang="0">
                  <a:pos x="64" y="374"/>
                </a:cxn>
                <a:cxn ang="0">
                  <a:pos x="58" y="342"/>
                </a:cxn>
                <a:cxn ang="0">
                  <a:pos x="60" y="310"/>
                </a:cxn>
                <a:cxn ang="0">
                  <a:pos x="56" y="288"/>
                </a:cxn>
                <a:cxn ang="0">
                  <a:pos x="84" y="250"/>
                </a:cxn>
                <a:cxn ang="0">
                  <a:pos x="92" y="224"/>
                </a:cxn>
                <a:cxn ang="0">
                  <a:pos x="128" y="210"/>
                </a:cxn>
                <a:cxn ang="0">
                  <a:pos x="144" y="214"/>
                </a:cxn>
                <a:cxn ang="0">
                  <a:pos x="162" y="202"/>
                </a:cxn>
                <a:cxn ang="0">
                  <a:pos x="170" y="200"/>
                </a:cxn>
                <a:cxn ang="0">
                  <a:pos x="182" y="214"/>
                </a:cxn>
              </a:cxnLst>
              <a:rect l="0" t="0" r="r" b="b"/>
              <a:pathLst>
                <a:path w="394" h="720">
                  <a:moveTo>
                    <a:pt x="182" y="196"/>
                  </a:moveTo>
                  <a:lnTo>
                    <a:pt x="184" y="196"/>
                  </a:lnTo>
                  <a:lnTo>
                    <a:pt x="184" y="194"/>
                  </a:lnTo>
                  <a:lnTo>
                    <a:pt x="190" y="188"/>
                  </a:lnTo>
                  <a:lnTo>
                    <a:pt x="192" y="188"/>
                  </a:lnTo>
                  <a:lnTo>
                    <a:pt x="196" y="186"/>
                  </a:lnTo>
                  <a:lnTo>
                    <a:pt x="204" y="182"/>
                  </a:lnTo>
                  <a:lnTo>
                    <a:pt x="210" y="176"/>
                  </a:lnTo>
                  <a:lnTo>
                    <a:pt x="210" y="174"/>
                  </a:lnTo>
                  <a:lnTo>
                    <a:pt x="212" y="174"/>
                  </a:lnTo>
                  <a:lnTo>
                    <a:pt x="216" y="174"/>
                  </a:lnTo>
                  <a:lnTo>
                    <a:pt x="222" y="180"/>
                  </a:lnTo>
                  <a:lnTo>
                    <a:pt x="220" y="182"/>
                  </a:lnTo>
                  <a:lnTo>
                    <a:pt x="218" y="184"/>
                  </a:lnTo>
                  <a:lnTo>
                    <a:pt x="214" y="188"/>
                  </a:lnTo>
                  <a:lnTo>
                    <a:pt x="214" y="190"/>
                  </a:lnTo>
                  <a:lnTo>
                    <a:pt x="214" y="192"/>
                  </a:lnTo>
                  <a:lnTo>
                    <a:pt x="216" y="192"/>
                  </a:lnTo>
                  <a:lnTo>
                    <a:pt x="220" y="188"/>
                  </a:lnTo>
                  <a:lnTo>
                    <a:pt x="222" y="188"/>
                  </a:lnTo>
                  <a:lnTo>
                    <a:pt x="224" y="186"/>
                  </a:lnTo>
                  <a:lnTo>
                    <a:pt x="226" y="186"/>
                  </a:lnTo>
                  <a:lnTo>
                    <a:pt x="228" y="186"/>
                  </a:lnTo>
                  <a:lnTo>
                    <a:pt x="230" y="184"/>
                  </a:lnTo>
                  <a:lnTo>
                    <a:pt x="228" y="184"/>
                  </a:lnTo>
                  <a:lnTo>
                    <a:pt x="224" y="178"/>
                  </a:lnTo>
                  <a:lnTo>
                    <a:pt x="222" y="176"/>
                  </a:lnTo>
                  <a:lnTo>
                    <a:pt x="222" y="174"/>
                  </a:lnTo>
                  <a:lnTo>
                    <a:pt x="222" y="172"/>
                  </a:lnTo>
                  <a:lnTo>
                    <a:pt x="222" y="170"/>
                  </a:lnTo>
                  <a:lnTo>
                    <a:pt x="224" y="168"/>
                  </a:lnTo>
                  <a:lnTo>
                    <a:pt x="230" y="162"/>
                  </a:lnTo>
                  <a:lnTo>
                    <a:pt x="236" y="158"/>
                  </a:lnTo>
                  <a:lnTo>
                    <a:pt x="234" y="156"/>
                  </a:lnTo>
                  <a:lnTo>
                    <a:pt x="234" y="154"/>
                  </a:lnTo>
                  <a:lnTo>
                    <a:pt x="236" y="152"/>
                  </a:lnTo>
                  <a:lnTo>
                    <a:pt x="240" y="148"/>
                  </a:lnTo>
                  <a:lnTo>
                    <a:pt x="244" y="144"/>
                  </a:lnTo>
                  <a:lnTo>
                    <a:pt x="246" y="148"/>
                  </a:lnTo>
                  <a:lnTo>
                    <a:pt x="246" y="154"/>
                  </a:lnTo>
                  <a:lnTo>
                    <a:pt x="244" y="154"/>
                  </a:lnTo>
                  <a:lnTo>
                    <a:pt x="244" y="156"/>
                  </a:lnTo>
                  <a:lnTo>
                    <a:pt x="242" y="158"/>
                  </a:lnTo>
                  <a:lnTo>
                    <a:pt x="240" y="162"/>
                  </a:lnTo>
                  <a:lnTo>
                    <a:pt x="240" y="168"/>
                  </a:lnTo>
                  <a:lnTo>
                    <a:pt x="242" y="168"/>
                  </a:lnTo>
                  <a:lnTo>
                    <a:pt x="244" y="166"/>
                  </a:lnTo>
                  <a:lnTo>
                    <a:pt x="248" y="160"/>
                  </a:lnTo>
                  <a:lnTo>
                    <a:pt x="250" y="154"/>
                  </a:lnTo>
                  <a:lnTo>
                    <a:pt x="252" y="154"/>
                  </a:lnTo>
                  <a:lnTo>
                    <a:pt x="252" y="152"/>
                  </a:lnTo>
                  <a:lnTo>
                    <a:pt x="254" y="148"/>
                  </a:lnTo>
                  <a:lnTo>
                    <a:pt x="256" y="146"/>
                  </a:lnTo>
                  <a:lnTo>
                    <a:pt x="262" y="142"/>
                  </a:lnTo>
                  <a:lnTo>
                    <a:pt x="268" y="142"/>
                  </a:lnTo>
                  <a:lnTo>
                    <a:pt x="270" y="142"/>
                  </a:lnTo>
                  <a:lnTo>
                    <a:pt x="270" y="144"/>
                  </a:lnTo>
                  <a:lnTo>
                    <a:pt x="270" y="146"/>
                  </a:lnTo>
                  <a:lnTo>
                    <a:pt x="270" y="148"/>
                  </a:lnTo>
                  <a:lnTo>
                    <a:pt x="270" y="150"/>
                  </a:lnTo>
                  <a:lnTo>
                    <a:pt x="270" y="152"/>
                  </a:lnTo>
                  <a:lnTo>
                    <a:pt x="270" y="150"/>
                  </a:lnTo>
                  <a:lnTo>
                    <a:pt x="272" y="148"/>
                  </a:lnTo>
                  <a:lnTo>
                    <a:pt x="272" y="144"/>
                  </a:lnTo>
                  <a:lnTo>
                    <a:pt x="270" y="142"/>
                  </a:lnTo>
                  <a:lnTo>
                    <a:pt x="268" y="140"/>
                  </a:lnTo>
                  <a:lnTo>
                    <a:pt x="266" y="140"/>
                  </a:lnTo>
                  <a:lnTo>
                    <a:pt x="262" y="140"/>
                  </a:lnTo>
                  <a:lnTo>
                    <a:pt x="258" y="142"/>
                  </a:lnTo>
                  <a:lnTo>
                    <a:pt x="258" y="140"/>
                  </a:lnTo>
                  <a:lnTo>
                    <a:pt x="256" y="132"/>
                  </a:lnTo>
                  <a:lnTo>
                    <a:pt x="256" y="130"/>
                  </a:lnTo>
                  <a:lnTo>
                    <a:pt x="258" y="130"/>
                  </a:lnTo>
                  <a:lnTo>
                    <a:pt x="258" y="128"/>
                  </a:lnTo>
                  <a:lnTo>
                    <a:pt x="260" y="124"/>
                  </a:lnTo>
                  <a:lnTo>
                    <a:pt x="264" y="122"/>
                  </a:lnTo>
                  <a:lnTo>
                    <a:pt x="266" y="124"/>
                  </a:lnTo>
                  <a:lnTo>
                    <a:pt x="268" y="124"/>
                  </a:lnTo>
                  <a:lnTo>
                    <a:pt x="268" y="122"/>
                  </a:lnTo>
                  <a:lnTo>
                    <a:pt x="268" y="120"/>
                  </a:lnTo>
                  <a:lnTo>
                    <a:pt x="270" y="120"/>
                  </a:lnTo>
                  <a:lnTo>
                    <a:pt x="270" y="118"/>
                  </a:lnTo>
                  <a:lnTo>
                    <a:pt x="268" y="116"/>
                  </a:lnTo>
                  <a:lnTo>
                    <a:pt x="268" y="114"/>
                  </a:lnTo>
                  <a:lnTo>
                    <a:pt x="270" y="116"/>
                  </a:lnTo>
                  <a:lnTo>
                    <a:pt x="272" y="116"/>
                  </a:lnTo>
                  <a:lnTo>
                    <a:pt x="274" y="118"/>
                  </a:lnTo>
                  <a:lnTo>
                    <a:pt x="272" y="120"/>
                  </a:lnTo>
                  <a:lnTo>
                    <a:pt x="272" y="122"/>
                  </a:lnTo>
                  <a:lnTo>
                    <a:pt x="270" y="126"/>
                  </a:lnTo>
                  <a:lnTo>
                    <a:pt x="270" y="128"/>
                  </a:lnTo>
                  <a:lnTo>
                    <a:pt x="272" y="128"/>
                  </a:lnTo>
                  <a:lnTo>
                    <a:pt x="276" y="118"/>
                  </a:lnTo>
                  <a:lnTo>
                    <a:pt x="276" y="116"/>
                  </a:lnTo>
                  <a:lnTo>
                    <a:pt x="276" y="114"/>
                  </a:lnTo>
                  <a:lnTo>
                    <a:pt x="274" y="114"/>
                  </a:lnTo>
                  <a:lnTo>
                    <a:pt x="272" y="112"/>
                  </a:lnTo>
                  <a:lnTo>
                    <a:pt x="270" y="110"/>
                  </a:lnTo>
                  <a:lnTo>
                    <a:pt x="272" y="110"/>
                  </a:lnTo>
                  <a:lnTo>
                    <a:pt x="274" y="108"/>
                  </a:lnTo>
                  <a:lnTo>
                    <a:pt x="272" y="106"/>
                  </a:lnTo>
                  <a:lnTo>
                    <a:pt x="270" y="106"/>
                  </a:lnTo>
                  <a:lnTo>
                    <a:pt x="268" y="104"/>
                  </a:lnTo>
                  <a:lnTo>
                    <a:pt x="268" y="100"/>
                  </a:lnTo>
                  <a:lnTo>
                    <a:pt x="268" y="98"/>
                  </a:lnTo>
                  <a:lnTo>
                    <a:pt x="268" y="92"/>
                  </a:lnTo>
                  <a:lnTo>
                    <a:pt x="268" y="90"/>
                  </a:lnTo>
                  <a:lnTo>
                    <a:pt x="270" y="88"/>
                  </a:lnTo>
                  <a:lnTo>
                    <a:pt x="272" y="88"/>
                  </a:lnTo>
                  <a:lnTo>
                    <a:pt x="276" y="88"/>
                  </a:lnTo>
                  <a:lnTo>
                    <a:pt x="276" y="86"/>
                  </a:lnTo>
                  <a:lnTo>
                    <a:pt x="278" y="86"/>
                  </a:lnTo>
                  <a:lnTo>
                    <a:pt x="276" y="86"/>
                  </a:lnTo>
                  <a:lnTo>
                    <a:pt x="276" y="84"/>
                  </a:lnTo>
                  <a:lnTo>
                    <a:pt x="278" y="84"/>
                  </a:lnTo>
                  <a:lnTo>
                    <a:pt x="282" y="88"/>
                  </a:lnTo>
                  <a:lnTo>
                    <a:pt x="282" y="92"/>
                  </a:lnTo>
                  <a:lnTo>
                    <a:pt x="282" y="96"/>
                  </a:lnTo>
                  <a:lnTo>
                    <a:pt x="282" y="98"/>
                  </a:lnTo>
                  <a:lnTo>
                    <a:pt x="286" y="100"/>
                  </a:lnTo>
                  <a:lnTo>
                    <a:pt x="288" y="100"/>
                  </a:lnTo>
                  <a:lnTo>
                    <a:pt x="290" y="98"/>
                  </a:lnTo>
                  <a:lnTo>
                    <a:pt x="292" y="88"/>
                  </a:lnTo>
                  <a:lnTo>
                    <a:pt x="292" y="86"/>
                  </a:lnTo>
                  <a:lnTo>
                    <a:pt x="296" y="86"/>
                  </a:lnTo>
                  <a:lnTo>
                    <a:pt x="300" y="84"/>
                  </a:lnTo>
                  <a:lnTo>
                    <a:pt x="300" y="80"/>
                  </a:lnTo>
                  <a:lnTo>
                    <a:pt x="302" y="80"/>
                  </a:lnTo>
                  <a:lnTo>
                    <a:pt x="308" y="80"/>
                  </a:lnTo>
                  <a:lnTo>
                    <a:pt x="310" y="80"/>
                  </a:lnTo>
                  <a:lnTo>
                    <a:pt x="312" y="80"/>
                  </a:lnTo>
                  <a:lnTo>
                    <a:pt x="316" y="76"/>
                  </a:lnTo>
                  <a:lnTo>
                    <a:pt x="316" y="72"/>
                  </a:lnTo>
                  <a:lnTo>
                    <a:pt x="316" y="68"/>
                  </a:lnTo>
                  <a:lnTo>
                    <a:pt x="318" y="64"/>
                  </a:lnTo>
                  <a:lnTo>
                    <a:pt x="320" y="62"/>
                  </a:lnTo>
                  <a:lnTo>
                    <a:pt x="320" y="60"/>
                  </a:lnTo>
                  <a:lnTo>
                    <a:pt x="322" y="56"/>
                  </a:lnTo>
                  <a:lnTo>
                    <a:pt x="322" y="54"/>
                  </a:lnTo>
                  <a:lnTo>
                    <a:pt x="324" y="52"/>
                  </a:lnTo>
                  <a:lnTo>
                    <a:pt x="324" y="50"/>
                  </a:lnTo>
                  <a:lnTo>
                    <a:pt x="326" y="48"/>
                  </a:lnTo>
                  <a:lnTo>
                    <a:pt x="326" y="46"/>
                  </a:lnTo>
                  <a:lnTo>
                    <a:pt x="322" y="40"/>
                  </a:lnTo>
                  <a:lnTo>
                    <a:pt x="322" y="34"/>
                  </a:lnTo>
                  <a:lnTo>
                    <a:pt x="320" y="32"/>
                  </a:lnTo>
                  <a:lnTo>
                    <a:pt x="318" y="28"/>
                  </a:lnTo>
                  <a:lnTo>
                    <a:pt x="316" y="28"/>
                  </a:lnTo>
                  <a:lnTo>
                    <a:pt x="316" y="26"/>
                  </a:lnTo>
                  <a:lnTo>
                    <a:pt x="316" y="24"/>
                  </a:lnTo>
                  <a:lnTo>
                    <a:pt x="318" y="24"/>
                  </a:lnTo>
                  <a:lnTo>
                    <a:pt x="322" y="26"/>
                  </a:lnTo>
                  <a:lnTo>
                    <a:pt x="322" y="28"/>
                  </a:lnTo>
                  <a:lnTo>
                    <a:pt x="322" y="30"/>
                  </a:lnTo>
                  <a:lnTo>
                    <a:pt x="324" y="30"/>
                  </a:lnTo>
                  <a:lnTo>
                    <a:pt x="326" y="30"/>
                  </a:lnTo>
                  <a:lnTo>
                    <a:pt x="326" y="26"/>
                  </a:lnTo>
                  <a:lnTo>
                    <a:pt x="328" y="22"/>
                  </a:lnTo>
                  <a:lnTo>
                    <a:pt x="332" y="18"/>
                  </a:lnTo>
                  <a:lnTo>
                    <a:pt x="334" y="18"/>
                  </a:lnTo>
                  <a:lnTo>
                    <a:pt x="336" y="18"/>
                  </a:lnTo>
                  <a:lnTo>
                    <a:pt x="338" y="16"/>
                  </a:lnTo>
                  <a:lnTo>
                    <a:pt x="340" y="12"/>
                  </a:lnTo>
                  <a:lnTo>
                    <a:pt x="340" y="10"/>
                  </a:lnTo>
                  <a:lnTo>
                    <a:pt x="338" y="10"/>
                  </a:lnTo>
                  <a:lnTo>
                    <a:pt x="336" y="10"/>
                  </a:lnTo>
                  <a:lnTo>
                    <a:pt x="338" y="6"/>
                  </a:lnTo>
                  <a:lnTo>
                    <a:pt x="342" y="2"/>
                  </a:lnTo>
                  <a:lnTo>
                    <a:pt x="344" y="0"/>
                  </a:lnTo>
                  <a:lnTo>
                    <a:pt x="344" y="2"/>
                  </a:lnTo>
                  <a:lnTo>
                    <a:pt x="346" y="2"/>
                  </a:lnTo>
                  <a:lnTo>
                    <a:pt x="346" y="4"/>
                  </a:lnTo>
                  <a:lnTo>
                    <a:pt x="348" y="8"/>
                  </a:lnTo>
                  <a:lnTo>
                    <a:pt x="348" y="10"/>
                  </a:lnTo>
                  <a:lnTo>
                    <a:pt x="348" y="14"/>
                  </a:lnTo>
                  <a:lnTo>
                    <a:pt x="346" y="12"/>
                  </a:lnTo>
                  <a:lnTo>
                    <a:pt x="344" y="12"/>
                  </a:lnTo>
                  <a:lnTo>
                    <a:pt x="342" y="12"/>
                  </a:lnTo>
                  <a:lnTo>
                    <a:pt x="342" y="16"/>
                  </a:lnTo>
                  <a:lnTo>
                    <a:pt x="344" y="20"/>
                  </a:lnTo>
                  <a:lnTo>
                    <a:pt x="344" y="18"/>
                  </a:lnTo>
                  <a:lnTo>
                    <a:pt x="346" y="20"/>
                  </a:lnTo>
                  <a:lnTo>
                    <a:pt x="348" y="20"/>
                  </a:lnTo>
                  <a:lnTo>
                    <a:pt x="348" y="18"/>
                  </a:lnTo>
                  <a:lnTo>
                    <a:pt x="352" y="20"/>
                  </a:lnTo>
                  <a:lnTo>
                    <a:pt x="356" y="22"/>
                  </a:lnTo>
                  <a:lnTo>
                    <a:pt x="356" y="24"/>
                  </a:lnTo>
                  <a:lnTo>
                    <a:pt x="358" y="30"/>
                  </a:lnTo>
                  <a:lnTo>
                    <a:pt x="358" y="32"/>
                  </a:lnTo>
                  <a:lnTo>
                    <a:pt x="358" y="34"/>
                  </a:lnTo>
                  <a:lnTo>
                    <a:pt x="358" y="36"/>
                  </a:lnTo>
                  <a:lnTo>
                    <a:pt x="356" y="36"/>
                  </a:lnTo>
                  <a:lnTo>
                    <a:pt x="356" y="38"/>
                  </a:lnTo>
                  <a:lnTo>
                    <a:pt x="358" y="38"/>
                  </a:lnTo>
                  <a:lnTo>
                    <a:pt x="362" y="42"/>
                  </a:lnTo>
                  <a:lnTo>
                    <a:pt x="368" y="48"/>
                  </a:lnTo>
                  <a:lnTo>
                    <a:pt x="372" y="54"/>
                  </a:lnTo>
                  <a:lnTo>
                    <a:pt x="374" y="60"/>
                  </a:lnTo>
                  <a:lnTo>
                    <a:pt x="374" y="62"/>
                  </a:lnTo>
                  <a:lnTo>
                    <a:pt x="374" y="64"/>
                  </a:lnTo>
                  <a:lnTo>
                    <a:pt x="374" y="68"/>
                  </a:lnTo>
                  <a:lnTo>
                    <a:pt x="374" y="70"/>
                  </a:lnTo>
                  <a:lnTo>
                    <a:pt x="376" y="76"/>
                  </a:lnTo>
                  <a:lnTo>
                    <a:pt x="378" y="82"/>
                  </a:lnTo>
                  <a:lnTo>
                    <a:pt x="378" y="84"/>
                  </a:lnTo>
                  <a:lnTo>
                    <a:pt x="378" y="86"/>
                  </a:lnTo>
                  <a:lnTo>
                    <a:pt x="380" y="86"/>
                  </a:lnTo>
                  <a:lnTo>
                    <a:pt x="380" y="92"/>
                  </a:lnTo>
                  <a:lnTo>
                    <a:pt x="382" y="98"/>
                  </a:lnTo>
                  <a:lnTo>
                    <a:pt x="382" y="102"/>
                  </a:lnTo>
                  <a:lnTo>
                    <a:pt x="382" y="104"/>
                  </a:lnTo>
                  <a:lnTo>
                    <a:pt x="382" y="106"/>
                  </a:lnTo>
                  <a:lnTo>
                    <a:pt x="382" y="110"/>
                  </a:lnTo>
                  <a:lnTo>
                    <a:pt x="382" y="112"/>
                  </a:lnTo>
                  <a:lnTo>
                    <a:pt x="382" y="114"/>
                  </a:lnTo>
                  <a:lnTo>
                    <a:pt x="382" y="118"/>
                  </a:lnTo>
                  <a:lnTo>
                    <a:pt x="382" y="122"/>
                  </a:lnTo>
                  <a:lnTo>
                    <a:pt x="382" y="124"/>
                  </a:lnTo>
                  <a:lnTo>
                    <a:pt x="382" y="126"/>
                  </a:lnTo>
                  <a:lnTo>
                    <a:pt x="384" y="126"/>
                  </a:lnTo>
                  <a:lnTo>
                    <a:pt x="384" y="128"/>
                  </a:lnTo>
                  <a:lnTo>
                    <a:pt x="384" y="130"/>
                  </a:lnTo>
                  <a:lnTo>
                    <a:pt x="382" y="132"/>
                  </a:lnTo>
                  <a:lnTo>
                    <a:pt x="382" y="134"/>
                  </a:lnTo>
                  <a:lnTo>
                    <a:pt x="382" y="136"/>
                  </a:lnTo>
                  <a:lnTo>
                    <a:pt x="382" y="142"/>
                  </a:lnTo>
                  <a:lnTo>
                    <a:pt x="384" y="150"/>
                  </a:lnTo>
                  <a:lnTo>
                    <a:pt x="384" y="156"/>
                  </a:lnTo>
                  <a:lnTo>
                    <a:pt x="386" y="160"/>
                  </a:lnTo>
                  <a:lnTo>
                    <a:pt x="388" y="164"/>
                  </a:lnTo>
                  <a:lnTo>
                    <a:pt x="390" y="170"/>
                  </a:lnTo>
                  <a:lnTo>
                    <a:pt x="392" y="174"/>
                  </a:lnTo>
                  <a:lnTo>
                    <a:pt x="394" y="176"/>
                  </a:lnTo>
                  <a:lnTo>
                    <a:pt x="394" y="178"/>
                  </a:lnTo>
                  <a:lnTo>
                    <a:pt x="394" y="180"/>
                  </a:lnTo>
                  <a:lnTo>
                    <a:pt x="394" y="182"/>
                  </a:lnTo>
                  <a:lnTo>
                    <a:pt x="392" y="186"/>
                  </a:lnTo>
                  <a:lnTo>
                    <a:pt x="390" y="196"/>
                  </a:lnTo>
                  <a:lnTo>
                    <a:pt x="384" y="208"/>
                  </a:lnTo>
                  <a:lnTo>
                    <a:pt x="382" y="212"/>
                  </a:lnTo>
                  <a:lnTo>
                    <a:pt x="378" y="218"/>
                  </a:lnTo>
                  <a:lnTo>
                    <a:pt x="374" y="218"/>
                  </a:lnTo>
                  <a:lnTo>
                    <a:pt x="374" y="214"/>
                  </a:lnTo>
                  <a:lnTo>
                    <a:pt x="372" y="214"/>
                  </a:lnTo>
                  <a:lnTo>
                    <a:pt x="368" y="212"/>
                  </a:lnTo>
                  <a:lnTo>
                    <a:pt x="368" y="210"/>
                  </a:lnTo>
                  <a:lnTo>
                    <a:pt x="368" y="208"/>
                  </a:lnTo>
                  <a:lnTo>
                    <a:pt x="366" y="202"/>
                  </a:lnTo>
                  <a:lnTo>
                    <a:pt x="364" y="196"/>
                  </a:lnTo>
                  <a:lnTo>
                    <a:pt x="364" y="194"/>
                  </a:lnTo>
                  <a:lnTo>
                    <a:pt x="364" y="190"/>
                  </a:lnTo>
                  <a:lnTo>
                    <a:pt x="362" y="188"/>
                  </a:lnTo>
                  <a:lnTo>
                    <a:pt x="360" y="188"/>
                  </a:lnTo>
                  <a:lnTo>
                    <a:pt x="356" y="188"/>
                  </a:lnTo>
                  <a:lnTo>
                    <a:pt x="354" y="188"/>
                  </a:lnTo>
                  <a:lnTo>
                    <a:pt x="354" y="190"/>
                  </a:lnTo>
                  <a:lnTo>
                    <a:pt x="352" y="190"/>
                  </a:lnTo>
                  <a:lnTo>
                    <a:pt x="352" y="192"/>
                  </a:lnTo>
                  <a:lnTo>
                    <a:pt x="350" y="194"/>
                  </a:lnTo>
                  <a:lnTo>
                    <a:pt x="350" y="196"/>
                  </a:lnTo>
                  <a:lnTo>
                    <a:pt x="350" y="200"/>
                  </a:lnTo>
                  <a:lnTo>
                    <a:pt x="350" y="202"/>
                  </a:lnTo>
                  <a:lnTo>
                    <a:pt x="350" y="204"/>
                  </a:lnTo>
                  <a:lnTo>
                    <a:pt x="354" y="214"/>
                  </a:lnTo>
                  <a:lnTo>
                    <a:pt x="352" y="214"/>
                  </a:lnTo>
                  <a:lnTo>
                    <a:pt x="352" y="216"/>
                  </a:lnTo>
                  <a:lnTo>
                    <a:pt x="350" y="218"/>
                  </a:lnTo>
                  <a:lnTo>
                    <a:pt x="350" y="220"/>
                  </a:lnTo>
                  <a:lnTo>
                    <a:pt x="350" y="224"/>
                  </a:lnTo>
                  <a:lnTo>
                    <a:pt x="350" y="226"/>
                  </a:lnTo>
                  <a:lnTo>
                    <a:pt x="352" y="226"/>
                  </a:lnTo>
                  <a:lnTo>
                    <a:pt x="354" y="226"/>
                  </a:lnTo>
                  <a:lnTo>
                    <a:pt x="356" y="228"/>
                  </a:lnTo>
                  <a:lnTo>
                    <a:pt x="358" y="230"/>
                  </a:lnTo>
                  <a:lnTo>
                    <a:pt x="356" y="232"/>
                  </a:lnTo>
                  <a:lnTo>
                    <a:pt x="356" y="234"/>
                  </a:lnTo>
                  <a:lnTo>
                    <a:pt x="356" y="236"/>
                  </a:lnTo>
                  <a:lnTo>
                    <a:pt x="356" y="238"/>
                  </a:lnTo>
                  <a:lnTo>
                    <a:pt x="356" y="240"/>
                  </a:lnTo>
                  <a:lnTo>
                    <a:pt x="356" y="242"/>
                  </a:lnTo>
                  <a:lnTo>
                    <a:pt x="356" y="244"/>
                  </a:lnTo>
                  <a:lnTo>
                    <a:pt x="356" y="248"/>
                  </a:lnTo>
                  <a:lnTo>
                    <a:pt x="354" y="252"/>
                  </a:lnTo>
                  <a:lnTo>
                    <a:pt x="352" y="252"/>
                  </a:lnTo>
                  <a:lnTo>
                    <a:pt x="352" y="254"/>
                  </a:lnTo>
                  <a:lnTo>
                    <a:pt x="350" y="254"/>
                  </a:lnTo>
                  <a:lnTo>
                    <a:pt x="350" y="256"/>
                  </a:lnTo>
                  <a:lnTo>
                    <a:pt x="348" y="256"/>
                  </a:lnTo>
                  <a:lnTo>
                    <a:pt x="348" y="258"/>
                  </a:lnTo>
                  <a:lnTo>
                    <a:pt x="348" y="260"/>
                  </a:lnTo>
                  <a:lnTo>
                    <a:pt x="350" y="260"/>
                  </a:lnTo>
                  <a:lnTo>
                    <a:pt x="350" y="262"/>
                  </a:lnTo>
                  <a:lnTo>
                    <a:pt x="352" y="262"/>
                  </a:lnTo>
                  <a:lnTo>
                    <a:pt x="344" y="266"/>
                  </a:lnTo>
                  <a:lnTo>
                    <a:pt x="342" y="266"/>
                  </a:lnTo>
                  <a:lnTo>
                    <a:pt x="342" y="268"/>
                  </a:lnTo>
                  <a:lnTo>
                    <a:pt x="338" y="274"/>
                  </a:lnTo>
                  <a:lnTo>
                    <a:pt x="332" y="288"/>
                  </a:lnTo>
                  <a:lnTo>
                    <a:pt x="330" y="288"/>
                  </a:lnTo>
                  <a:lnTo>
                    <a:pt x="330" y="290"/>
                  </a:lnTo>
                  <a:lnTo>
                    <a:pt x="332" y="292"/>
                  </a:lnTo>
                  <a:lnTo>
                    <a:pt x="332" y="294"/>
                  </a:lnTo>
                  <a:lnTo>
                    <a:pt x="334" y="298"/>
                  </a:lnTo>
                  <a:lnTo>
                    <a:pt x="334" y="302"/>
                  </a:lnTo>
                  <a:lnTo>
                    <a:pt x="334" y="308"/>
                  </a:lnTo>
                  <a:lnTo>
                    <a:pt x="334" y="310"/>
                  </a:lnTo>
                  <a:lnTo>
                    <a:pt x="332" y="312"/>
                  </a:lnTo>
                  <a:lnTo>
                    <a:pt x="332" y="314"/>
                  </a:lnTo>
                  <a:lnTo>
                    <a:pt x="332" y="316"/>
                  </a:lnTo>
                  <a:lnTo>
                    <a:pt x="330" y="320"/>
                  </a:lnTo>
                  <a:lnTo>
                    <a:pt x="328" y="322"/>
                  </a:lnTo>
                  <a:lnTo>
                    <a:pt x="328" y="324"/>
                  </a:lnTo>
                  <a:lnTo>
                    <a:pt x="326" y="328"/>
                  </a:lnTo>
                  <a:lnTo>
                    <a:pt x="324" y="336"/>
                  </a:lnTo>
                  <a:lnTo>
                    <a:pt x="322" y="342"/>
                  </a:lnTo>
                  <a:lnTo>
                    <a:pt x="322" y="344"/>
                  </a:lnTo>
                  <a:lnTo>
                    <a:pt x="318" y="354"/>
                  </a:lnTo>
                  <a:lnTo>
                    <a:pt x="314" y="362"/>
                  </a:lnTo>
                  <a:lnTo>
                    <a:pt x="310" y="370"/>
                  </a:lnTo>
                  <a:lnTo>
                    <a:pt x="308" y="374"/>
                  </a:lnTo>
                  <a:lnTo>
                    <a:pt x="308" y="376"/>
                  </a:lnTo>
                  <a:lnTo>
                    <a:pt x="306" y="380"/>
                  </a:lnTo>
                  <a:lnTo>
                    <a:pt x="304" y="380"/>
                  </a:lnTo>
                  <a:lnTo>
                    <a:pt x="304" y="382"/>
                  </a:lnTo>
                  <a:lnTo>
                    <a:pt x="302" y="388"/>
                  </a:lnTo>
                  <a:lnTo>
                    <a:pt x="302" y="390"/>
                  </a:lnTo>
                  <a:lnTo>
                    <a:pt x="302" y="392"/>
                  </a:lnTo>
                  <a:lnTo>
                    <a:pt x="300" y="392"/>
                  </a:lnTo>
                  <a:lnTo>
                    <a:pt x="300" y="396"/>
                  </a:lnTo>
                  <a:lnTo>
                    <a:pt x="298" y="398"/>
                  </a:lnTo>
                  <a:lnTo>
                    <a:pt x="296" y="402"/>
                  </a:lnTo>
                  <a:lnTo>
                    <a:pt x="294" y="406"/>
                  </a:lnTo>
                  <a:lnTo>
                    <a:pt x="292" y="408"/>
                  </a:lnTo>
                  <a:lnTo>
                    <a:pt x="292" y="410"/>
                  </a:lnTo>
                  <a:lnTo>
                    <a:pt x="292" y="412"/>
                  </a:lnTo>
                  <a:lnTo>
                    <a:pt x="290" y="412"/>
                  </a:lnTo>
                  <a:lnTo>
                    <a:pt x="290" y="414"/>
                  </a:lnTo>
                  <a:lnTo>
                    <a:pt x="290" y="416"/>
                  </a:lnTo>
                  <a:lnTo>
                    <a:pt x="290" y="418"/>
                  </a:lnTo>
                  <a:lnTo>
                    <a:pt x="288" y="422"/>
                  </a:lnTo>
                  <a:lnTo>
                    <a:pt x="288" y="426"/>
                  </a:lnTo>
                  <a:lnTo>
                    <a:pt x="284" y="432"/>
                  </a:lnTo>
                  <a:lnTo>
                    <a:pt x="284" y="434"/>
                  </a:lnTo>
                  <a:lnTo>
                    <a:pt x="282" y="436"/>
                  </a:lnTo>
                  <a:lnTo>
                    <a:pt x="280" y="440"/>
                  </a:lnTo>
                  <a:lnTo>
                    <a:pt x="280" y="442"/>
                  </a:lnTo>
                  <a:lnTo>
                    <a:pt x="278" y="446"/>
                  </a:lnTo>
                  <a:lnTo>
                    <a:pt x="276" y="448"/>
                  </a:lnTo>
                  <a:lnTo>
                    <a:pt x="274" y="450"/>
                  </a:lnTo>
                  <a:lnTo>
                    <a:pt x="274" y="452"/>
                  </a:lnTo>
                  <a:lnTo>
                    <a:pt x="274" y="454"/>
                  </a:lnTo>
                  <a:lnTo>
                    <a:pt x="272" y="456"/>
                  </a:lnTo>
                  <a:lnTo>
                    <a:pt x="268" y="464"/>
                  </a:lnTo>
                  <a:lnTo>
                    <a:pt x="268" y="468"/>
                  </a:lnTo>
                  <a:lnTo>
                    <a:pt x="264" y="478"/>
                  </a:lnTo>
                  <a:lnTo>
                    <a:pt x="264" y="482"/>
                  </a:lnTo>
                  <a:lnTo>
                    <a:pt x="258" y="498"/>
                  </a:lnTo>
                  <a:lnTo>
                    <a:pt x="254" y="508"/>
                  </a:lnTo>
                  <a:lnTo>
                    <a:pt x="246" y="522"/>
                  </a:lnTo>
                  <a:lnTo>
                    <a:pt x="242" y="532"/>
                  </a:lnTo>
                  <a:lnTo>
                    <a:pt x="242" y="534"/>
                  </a:lnTo>
                  <a:lnTo>
                    <a:pt x="240" y="534"/>
                  </a:lnTo>
                  <a:lnTo>
                    <a:pt x="236" y="542"/>
                  </a:lnTo>
                  <a:lnTo>
                    <a:pt x="234" y="546"/>
                  </a:lnTo>
                  <a:lnTo>
                    <a:pt x="234" y="548"/>
                  </a:lnTo>
                  <a:lnTo>
                    <a:pt x="228" y="558"/>
                  </a:lnTo>
                  <a:lnTo>
                    <a:pt x="228" y="560"/>
                  </a:lnTo>
                  <a:lnTo>
                    <a:pt x="226" y="562"/>
                  </a:lnTo>
                  <a:lnTo>
                    <a:pt x="224" y="570"/>
                  </a:lnTo>
                  <a:lnTo>
                    <a:pt x="222" y="576"/>
                  </a:lnTo>
                  <a:lnTo>
                    <a:pt x="222" y="578"/>
                  </a:lnTo>
                  <a:lnTo>
                    <a:pt x="222" y="580"/>
                  </a:lnTo>
                  <a:lnTo>
                    <a:pt x="222" y="582"/>
                  </a:lnTo>
                  <a:lnTo>
                    <a:pt x="220" y="588"/>
                  </a:lnTo>
                  <a:lnTo>
                    <a:pt x="216" y="596"/>
                  </a:lnTo>
                  <a:lnTo>
                    <a:pt x="212" y="606"/>
                  </a:lnTo>
                  <a:lnTo>
                    <a:pt x="206" y="618"/>
                  </a:lnTo>
                  <a:lnTo>
                    <a:pt x="206" y="620"/>
                  </a:lnTo>
                  <a:lnTo>
                    <a:pt x="206" y="622"/>
                  </a:lnTo>
                  <a:lnTo>
                    <a:pt x="204" y="630"/>
                  </a:lnTo>
                  <a:lnTo>
                    <a:pt x="204" y="632"/>
                  </a:lnTo>
                  <a:lnTo>
                    <a:pt x="202" y="634"/>
                  </a:lnTo>
                  <a:lnTo>
                    <a:pt x="198" y="642"/>
                  </a:lnTo>
                  <a:lnTo>
                    <a:pt x="196" y="642"/>
                  </a:lnTo>
                  <a:lnTo>
                    <a:pt x="194" y="648"/>
                  </a:lnTo>
                  <a:lnTo>
                    <a:pt x="192" y="650"/>
                  </a:lnTo>
                  <a:lnTo>
                    <a:pt x="188" y="656"/>
                  </a:lnTo>
                  <a:lnTo>
                    <a:pt x="186" y="662"/>
                  </a:lnTo>
                  <a:lnTo>
                    <a:pt x="186" y="664"/>
                  </a:lnTo>
                  <a:lnTo>
                    <a:pt x="184" y="666"/>
                  </a:lnTo>
                  <a:lnTo>
                    <a:pt x="184" y="670"/>
                  </a:lnTo>
                  <a:lnTo>
                    <a:pt x="178" y="680"/>
                  </a:lnTo>
                  <a:lnTo>
                    <a:pt x="176" y="684"/>
                  </a:lnTo>
                  <a:lnTo>
                    <a:pt x="174" y="684"/>
                  </a:lnTo>
                  <a:lnTo>
                    <a:pt x="174" y="686"/>
                  </a:lnTo>
                  <a:lnTo>
                    <a:pt x="174" y="688"/>
                  </a:lnTo>
                  <a:lnTo>
                    <a:pt x="172" y="692"/>
                  </a:lnTo>
                  <a:lnTo>
                    <a:pt x="162" y="696"/>
                  </a:lnTo>
                  <a:lnTo>
                    <a:pt x="152" y="700"/>
                  </a:lnTo>
                  <a:lnTo>
                    <a:pt x="152" y="702"/>
                  </a:lnTo>
                  <a:lnTo>
                    <a:pt x="148" y="702"/>
                  </a:lnTo>
                  <a:lnTo>
                    <a:pt x="146" y="702"/>
                  </a:lnTo>
                  <a:lnTo>
                    <a:pt x="144" y="700"/>
                  </a:lnTo>
                  <a:lnTo>
                    <a:pt x="142" y="700"/>
                  </a:lnTo>
                  <a:lnTo>
                    <a:pt x="138" y="700"/>
                  </a:lnTo>
                  <a:lnTo>
                    <a:pt x="134" y="700"/>
                  </a:lnTo>
                  <a:lnTo>
                    <a:pt x="132" y="700"/>
                  </a:lnTo>
                  <a:lnTo>
                    <a:pt x="130" y="702"/>
                  </a:lnTo>
                  <a:lnTo>
                    <a:pt x="126" y="702"/>
                  </a:lnTo>
                  <a:lnTo>
                    <a:pt x="116" y="706"/>
                  </a:lnTo>
                  <a:lnTo>
                    <a:pt x="112" y="708"/>
                  </a:lnTo>
                  <a:lnTo>
                    <a:pt x="106" y="712"/>
                  </a:lnTo>
                  <a:lnTo>
                    <a:pt x="104" y="714"/>
                  </a:lnTo>
                  <a:lnTo>
                    <a:pt x="102" y="714"/>
                  </a:lnTo>
                  <a:lnTo>
                    <a:pt x="100" y="716"/>
                  </a:lnTo>
                  <a:lnTo>
                    <a:pt x="98" y="718"/>
                  </a:lnTo>
                  <a:lnTo>
                    <a:pt x="94" y="718"/>
                  </a:lnTo>
                  <a:lnTo>
                    <a:pt x="92" y="720"/>
                  </a:lnTo>
                  <a:lnTo>
                    <a:pt x="90" y="720"/>
                  </a:lnTo>
                  <a:lnTo>
                    <a:pt x="88" y="720"/>
                  </a:lnTo>
                  <a:lnTo>
                    <a:pt x="76" y="720"/>
                  </a:lnTo>
                  <a:lnTo>
                    <a:pt x="72" y="718"/>
                  </a:lnTo>
                  <a:lnTo>
                    <a:pt x="72" y="716"/>
                  </a:lnTo>
                  <a:lnTo>
                    <a:pt x="64" y="710"/>
                  </a:lnTo>
                  <a:lnTo>
                    <a:pt x="60" y="706"/>
                  </a:lnTo>
                  <a:lnTo>
                    <a:pt x="58" y="706"/>
                  </a:lnTo>
                  <a:lnTo>
                    <a:pt x="58" y="704"/>
                  </a:lnTo>
                  <a:lnTo>
                    <a:pt x="56" y="704"/>
                  </a:lnTo>
                  <a:lnTo>
                    <a:pt x="54" y="704"/>
                  </a:lnTo>
                  <a:lnTo>
                    <a:pt x="48" y="704"/>
                  </a:lnTo>
                  <a:lnTo>
                    <a:pt x="46" y="702"/>
                  </a:lnTo>
                  <a:lnTo>
                    <a:pt x="42" y="702"/>
                  </a:lnTo>
                  <a:lnTo>
                    <a:pt x="38" y="700"/>
                  </a:lnTo>
                  <a:lnTo>
                    <a:pt x="36" y="696"/>
                  </a:lnTo>
                  <a:lnTo>
                    <a:pt x="38" y="696"/>
                  </a:lnTo>
                  <a:lnTo>
                    <a:pt x="38" y="698"/>
                  </a:lnTo>
                  <a:lnTo>
                    <a:pt x="40" y="700"/>
                  </a:lnTo>
                  <a:lnTo>
                    <a:pt x="40" y="698"/>
                  </a:lnTo>
                  <a:lnTo>
                    <a:pt x="38" y="696"/>
                  </a:lnTo>
                  <a:lnTo>
                    <a:pt x="30" y="690"/>
                  </a:lnTo>
                  <a:lnTo>
                    <a:pt x="28" y="690"/>
                  </a:lnTo>
                  <a:lnTo>
                    <a:pt x="26" y="690"/>
                  </a:lnTo>
                  <a:lnTo>
                    <a:pt x="24" y="686"/>
                  </a:lnTo>
                  <a:lnTo>
                    <a:pt x="22" y="686"/>
                  </a:lnTo>
                  <a:lnTo>
                    <a:pt x="24" y="684"/>
                  </a:lnTo>
                  <a:lnTo>
                    <a:pt x="24" y="682"/>
                  </a:lnTo>
                  <a:lnTo>
                    <a:pt x="22" y="682"/>
                  </a:lnTo>
                  <a:lnTo>
                    <a:pt x="22" y="680"/>
                  </a:lnTo>
                  <a:lnTo>
                    <a:pt x="22" y="678"/>
                  </a:lnTo>
                  <a:lnTo>
                    <a:pt x="20" y="678"/>
                  </a:lnTo>
                  <a:lnTo>
                    <a:pt x="20" y="676"/>
                  </a:lnTo>
                  <a:lnTo>
                    <a:pt x="20" y="674"/>
                  </a:lnTo>
                  <a:lnTo>
                    <a:pt x="18" y="674"/>
                  </a:lnTo>
                  <a:lnTo>
                    <a:pt x="18" y="672"/>
                  </a:lnTo>
                  <a:lnTo>
                    <a:pt x="20" y="670"/>
                  </a:lnTo>
                  <a:lnTo>
                    <a:pt x="20" y="666"/>
                  </a:lnTo>
                  <a:lnTo>
                    <a:pt x="20" y="664"/>
                  </a:lnTo>
                  <a:lnTo>
                    <a:pt x="18" y="660"/>
                  </a:lnTo>
                  <a:lnTo>
                    <a:pt x="16" y="660"/>
                  </a:lnTo>
                  <a:lnTo>
                    <a:pt x="16" y="658"/>
                  </a:lnTo>
                  <a:lnTo>
                    <a:pt x="14" y="658"/>
                  </a:lnTo>
                  <a:lnTo>
                    <a:pt x="12" y="656"/>
                  </a:lnTo>
                  <a:lnTo>
                    <a:pt x="10" y="654"/>
                  </a:lnTo>
                  <a:lnTo>
                    <a:pt x="10" y="652"/>
                  </a:lnTo>
                  <a:lnTo>
                    <a:pt x="10" y="650"/>
                  </a:lnTo>
                  <a:lnTo>
                    <a:pt x="10" y="642"/>
                  </a:lnTo>
                  <a:lnTo>
                    <a:pt x="10" y="636"/>
                  </a:lnTo>
                  <a:lnTo>
                    <a:pt x="12" y="626"/>
                  </a:lnTo>
                  <a:lnTo>
                    <a:pt x="12" y="624"/>
                  </a:lnTo>
                  <a:lnTo>
                    <a:pt x="10" y="620"/>
                  </a:lnTo>
                  <a:lnTo>
                    <a:pt x="12" y="616"/>
                  </a:lnTo>
                  <a:lnTo>
                    <a:pt x="12" y="614"/>
                  </a:lnTo>
                  <a:lnTo>
                    <a:pt x="14" y="612"/>
                  </a:lnTo>
                  <a:lnTo>
                    <a:pt x="16" y="612"/>
                  </a:lnTo>
                  <a:lnTo>
                    <a:pt x="18" y="612"/>
                  </a:lnTo>
                  <a:lnTo>
                    <a:pt x="18" y="610"/>
                  </a:lnTo>
                  <a:lnTo>
                    <a:pt x="18" y="606"/>
                  </a:lnTo>
                  <a:lnTo>
                    <a:pt x="18" y="604"/>
                  </a:lnTo>
                  <a:lnTo>
                    <a:pt x="16" y="602"/>
                  </a:lnTo>
                  <a:lnTo>
                    <a:pt x="14" y="600"/>
                  </a:lnTo>
                  <a:lnTo>
                    <a:pt x="14" y="598"/>
                  </a:lnTo>
                  <a:lnTo>
                    <a:pt x="12" y="598"/>
                  </a:lnTo>
                  <a:lnTo>
                    <a:pt x="12" y="596"/>
                  </a:lnTo>
                  <a:lnTo>
                    <a:pt x="12" y="594"/>
                  </a:lnTo>
                  <a:lnTo>
                    <a:pt x="12" y="590"/>
                  </a:lnTo>
                  <a:lnTo>
                    <a:pt x="12" y="588"/>
                  </a:lnTo>
                  <a:lnTo>
                    <a:pt x="12" y="586"/>
                  </a:lnTo>
                  <a:lnTo>
                    <a:pt x="12" y="584"/>
                  </a:lnTo>
                  <a:lnTo>
                    <a:pt x="10" y="582"/>
                  </a:lnTo>
                  <a:lnTo>
                    <a:pt x="8" y="582"/>
                  </a:lnTo>
                  <a:lnTo>
                    <a:pt x="8" y="580"/>
                  </a:lnTo>
                  <a:lnTo>
                    <a:pt x="4" y="576"/>
                  </a:lnTo>
                  <a:lnTo>
                    <a:pt x="4" y="574"/>
                  </a:lnTo>
                  <a:lnTo>
                    <a:pt x="2" y="572"/>
                  </a:lnTo>
                  <a:lnTo>
                    <a:pt x="2" y="570"/>
                  </a:lnTo>
                  <a:lnTo>
                    <a:pt x="2" y="562"/>
                  </a:lnTo>
                  <a:lnTo>
                    <a:pt x="0" y="554"/>
                  </a:lnTo>
                  <a:lnTo>
                    <a:pt x="0" y="542"/>
                  </a:lnTo>
                  <a:lnTo>
                    <a:pt x="2" y="538"/>
                  </a:lnTo>
                  <a:lnTo>
                    <a:pt x="0" y="536"/>
                  </a:lnTo>
                  <a:lnTo>
                    <a:pt x="0" y="532"/>
                  </a:lnTo>
                  <a:lnTo>
                    <a:pt x="4" y="522"/>
                  </a:lnTo>
                  <a:lnTo>
                    <a:pt x="6" y="522"/>
                  </a:lnTo>
                  <a:lnTo>
                    <a:pt x="6" y="520"/>
                  </a:lnTo>
                  <a:lnTo>
                    <a:pt x="8" y="516"/>
                  </a:lnTo>
                  <a:lnTo>
                    <a:pt x="8" y="514"/>
                  </a:lnTo>
                  <a:lnTo>
                    <a:pt x="12" y="510"/>
                  </a:lnTo>
                  <a:lnTo>
                    <a:pt x="14" y="510"/>
                  </a:lnTo>
                  <a:lnTo>
                    <a:pt x="14" y="506"/>
                  </a:lnTo>
                  <a:lnTo>
                    <a:pt x="16" y="500"/>
                  </a:lnTo>
                  <a:lnTo>
                    <a:pt x="16" y="496"/>
                  </a:lnTo>
                  <a:lnTo>
                    <a:pt x="16" y="494"/>
                  </a:lnTo>
                  <a:lnTo>
                    <a:pt x="18" y="492"/>
                  </a:lnTo>
                  <a:lnTo>
                    <a:pt x="20" y="490"/>
                  </a:lnTo>
                  <a:lnTo>
                    <a:pt x="22" y="490"/>
                  </a:lnTo>
                  <a:lnTo>
                    <a:pt x="24" y="490"/>
                  </a:lnTo>
                  <a:lnTo>
                    <a:pt x="26" y="490"/>
                  </a:lnTo>
                  <a:lnTo>
                    <a:pt x="28" y="490"/>
                  </a:lnTo>
                  <a:lnTo>
                    <a:pt x="30" y="490"/>
                  </a:lnTo>
                  <a:lnTo>
                    <a:pt x="32" y="488"/>
                  </a:lnTo>
                  <a:lnTo>
                    <a:pt x="34" y="486"/>
                  </a:lnTo>
                  <a:lnTo>
                    <a:pt x="34" y="484"/>
                  </a:lnTo>
                  <a:lnTo>
                    <a:pt x="36" y="480"/>
                  </a:lnTo>
                  <a:lnTo>
                    <a:pt x="38" y="476"/>
                  </a:lnTo>
                  <a:lnTo>
                    <a:pt x="38" y="474"/>
                  </a:lnTo>
                  <a:lnTo>
                    <a:pt x="40" y="470"/>
                  </a:lnTo>
                  <a:lnTo>
                    <a:pt x="40" y="468"/>
                  </a:lnTo>
                  <a:lnTo>
                    <a:pt x="42" y="466"/>
                  </a:lnTo>
                  <a:lnTo>
                    <a:pt x="42" y="464"/>
                  </a:lnTo>
                  <a:lnTo>
                    <a:pt x="44" y="462"/>
                  </a:lnTo>
                  <a:lnTo>
                    <a:pt x="46" y="462"/>
                  </a:lnTo>
                  <a:lnTo>
                    <a:pt x="48" y="462"/>
                  </a:lnTo>
                  <a:lnTo>
                    <a:pt x="50" y="458"/>
                  </a:lnTo>
                  <a:lnTo>
                    <a:pt x="50" y="456"/>
                  </a:lnTo>
                  <a:lnTo>
                    <a:pt x="50" y="454"/>
                  </a:lnTo>
                  <a:lnTo>
                    <a:pt x="54" y="446"/>
                  </a:lnTo>
                  <a:lnTo>
                    <a:pt x="60" y="440"/>
                  </a:lnTo>
                  <a:lnTo>
                    <a:pt x="64" y="432"/>
                  </a:lnTo>
                  <a:lnTo>
                    <a:pt x="66" y="430"/>
                  </a:lnTo>
                  <a:lnTo>
                    <a:pt x="68" y="430"/>
                  </a:lnTo>
                  <a:lnTo>
                    <a:pt x="68" y="428"/>
                  </a:lnTo>
                  <a:lnTo>
                    <a:pt x="70" y="428"/>
                  </a:lnTo>
                  <a:lnTo>
                    <a:pt x="72" y="424"/>
                  </a:lnTo>
                  <a:lnTo>
                    <a:pt x="72" y="422"/>
                  </a:lnTo>
                  <a:lnTo>
                    <a:pt x="72" y="418"/>
                  </a:lnTo>
                  <a:lnTo>
                    <a:pt x="72" y="416"/>
                  </a:lnTo>
                  <a:lnTo>
                    <a:pt x="70" y="416"/>
                  </a:lnTo>
                  <a:lnTo>
                    <a:pt x="68" y="414"/>
                  </a:lnTo>
                  <a:lnTo>
                    <a:pt x="68" y="412"/>
                  </a:lnTo>
                  <a:lnTo>
                    <a:pt x="72" y="400"/>
                  </a:lnTo>
                  <a:lnTo>
                    <a:pt x="74" y="400"/>
                  </a:lnTo>
                  <a:lnTo>
                    <a:pt x="74" y="398"/>
                  </a:lnTo>
                  <a:lnTo>
                    <a:pt x="74" y="394"/>
                  </a:lnTo>
                  <a:lnTo>
                    <a:pt x="72" y="392"/>
                  </a:lnTo>
                  <a:lnTo>
                    <a:pt x="72" y="390"/>
                  </a:lnTo>
                  <a:lnTo>
                    <a:pt x="70" y="384"/>
                  </a:lnTo>
                  <a:lnTo>
                    <a:pt x="68" y="384"/>
                  </a:lnTo>
                  <a:lnTo>
                    <a:pt x="66" y="380"/>
                  </a:lnTo>
                  <a:lnTo>
                    <a:pt x="64" y="378"/>
                  </a:lnTo>
                  <a:lnTo>
                    <a:pt x="64" y="376"/>
                  </a:lnTo>
                  <a:lnTo>
                    <a:pt x="64" y="374"/>
                  </a:lnTo>
                  <a:lnTo>
                    <a:pt x="64" y="370"/>
                  </a:lnTo>
                  <a:lnTo>
                    <a:pt x="66" y="370"/>
                  </a:lnTo>
                  <a:lnTo>
                    <a:pt x="66" y="364"/>
                  </a:lnTo>
                  <a:lnTo>
                    <a:pt x="66" y="362"/>
                  </a:lnTo>
                  <a:lnTo>
                    <a:pt x="66" y="358"/>
                  </a:lnTo>
                  <a:lnTo>
                    <a:pt x="64" y="354"/>
                  </a:lnTo>
                  <a:lnTo>
                    <a:pt x="62" y="350"/>
                  </a:lnTo>
                  <a:lnTo>
                    <a:pt x="62" y="348"/>
                  </a:lnTo>
                  <a:lnTo>
                    <a:pt x="60" y="346"/>
                  </a:lnTo>
                  <a:lnTo>
                    <a:pt x="60" y="344"/>
                  </a:lnTo>
                  <a:lnTo>
                    <a:pt x="58" y="342"/>
                  </a:lnTo>
                  <a:lnTo>
                    <a:pt x="58" y="340"/>
                  </a:lnTo>
                  <a:lnTo>
                    <a:pt x="58" y="336"/>
                  </a:lnTo>
                  <a:lnTo>
                    <a:pt x="58" y="330"/>
                  </a:lnTo>
                  <a:lnTo>
                    <a:pt x="58" y="328"/>
                  </a:lnTo>
                  <a:lnTo>
                    <a:pt x="58" y="326"/>
                  </a:lnTo>
                  <a:lnTo>
                    <a:pt x="58" y="324"/>
                  </a:lnTo>
                  <a:lnTo>
                    <a:pt x="58" y="322"/>
                  </a:lnTo>
                  <a:lnTo>
                    <a:pt x="58" y="316"/>
                  </a:lnTo>
                  <a:lnTo>
                    <a:pt x="58" y="314"/>
                  </a:lnTo>
                  <a:lnTo>
                    <a:pt x="58" y="312"/>
                  </a:lnTo>
                  <a:lnTo>
                    <a:pt x="60" y="310"/>
                  </a:lnTo>
                  <a:lnTo>
                    <a:pt x="60" y="308"/>
                  </a:lnTo>
                  <a:lnTo>
                    <a:pt x="60" y="306"/>
                  </a:lnTo>
                  <a:lnTo>
                    <a:pt x="60" y="304"/>
                  </a:lnTo>
                  <a:lnTo>
                    <a:pt x="58" y="302"/>
                  </a:lnTo>
                  <a:lnTo>
                    <a:pt x="56" y="300"/>
                  </a:lnTo>
                  <a:lnTo>
                    <a:pt x="56" y="298"/>
                  </a:lnTo>
                  <a:lnTo>
                    <a:pt x="54" y="298"/>
                  </a:lnTo>
                  <a:lnTo>
                    <a:pt x="54" y="296"/>
                  </a:lnTo>
                  <a:lnTo>
                    <a:pt x="56" y="292"/>
                  </a:lnTo>
                  <a:lnTo>
                    <a:pt x="56" y="290"/>
                  </a:lnTo>
                  <a:lnTo>
                    <a:pt x="56" y="288"/>
                  </a:lnTo>
                  <a:lnTo>
                    <a:pt x="58" y="288"/>
                  </a:lnTo>
                  <a:lnTo>
                    <a:pt x="62" y="282"/>
                  </a:lnTo>
                  <a:lnTo>
                    <a:pt x="68" y="274"/>
                  </a:lnTo>
                  <a:lnTo>
                    <a:pt x="70" y="272"/>
                  </a:lnTo>
                  <a:lnTo>
                    <a:pt x="72" y="268"/>
                  </a:lnTo>
                  <a:lnTo>
                    <a:pt x="74" y="262"/>
                  </a:lnTo>
                  <a:lnTo>
                    <a:pt x="78" y="256"/>
                  </a:lnTo>
                  <a:lnTo>
                    <a:pt x="80" y="254"/>
                  </a:lnTo>
                  <a:lnTo>
                    <a:pt x="82" y="254"/>
                  </a:lnTo>
                  <a:lnTo>
                    <a:pt x="82" y="252"/>
                  </a:lnTo>
                  <a:lnTo>
                    <a:pt x="84" y="250"/>
                  </a:lnTo>
                  <a:lnTo>
                    <a:pt x="86" y="240"/>
                  </a:lnTo>
                  <a:lnTo>
                    <a:pt x="86" y="238"/>
                  </a:lnTo>
                  <a:lnTo>
                    <a:pt x="84" y="236"/>
                  </a:lnTo>
                  <a:lnTo>
                    <a:pt x="84" y="234"/>
                  </a:lnTo>
                  <a:lnTo>
                    <a:pt x="84" y="232"/>
                  </a:lnTo>
                  <a:lnTo>
                    <a:pt x="84" y="230"/>
                  </a:lnTo>
                  <a:lnTo>
                    <a:pt x="86" y="224"/>
                  </a:lnTo>
                  <a:lnTo>
                    <a:pt x="86" y="222"/>
                  </a:lnTo>
                  <a:lnTo>
                    <a:pt x="88" y="222"/>
                  </a:lnTo>
                  <a:lnTo>
                    <a:pt x="90" y="222"/>
                  </a:lnTo>
                  <a:lnTo>
                    <a:pt x="92" y="224"/>
                  </a:lnTo>
                  <a:lnTo>
                    <a:pt x="94" y="224"/>
                  </a:lnTo>
                  <a:lnTo>
                    <a:pt x="104" y="224"/>
                  </a:lnTo>
                  <a:lnTo>
                    <a:pt x="108" y="224"/>
                  </a:lnTo>
                  <a:lnTo>
                    <a:pt x="114" y="222"/>
                  </a:lnTo>
                  <a:lnTo>
                    <a:pt x="116" y="220"/>
                  </a:lnTo>
                  <a:lnTo>
                    <a:pt x="116" y="218"/>
                  </a:lnTo>
                  <a:lnTo>
                    <a:pt x="118" y="218"/>
                  </a:lnTo>
                  <a:lnTo>
                    <a:pt x="118" y="216"/>
                  </a:lnTo>
                  <a:lnTo>
                    <a:pt x="122" y="214"/>
                  </a:lnTo>
                  <a:lnTo>
                    <a:pt x="126" y="212"/>
                  </a:lnTo>
                  <a:lnTo>
                    <a:pt x="128" y="210"/>
                  </a:lnTo>
                  <a:lnTo>
                    <a:pt x="128" y="218"/>
                  </a:lnTo>
                  <a:lnTo>
                    <a:pt x="128" y="220"/>
                  </a:lnTo>
                  <a:lnTo>
                    <a:pt x="130" y="220"/>
                  </a:lnTo>
                  <a:lnTo>
                    <a:pt x="132" y="220"/>
                  </a:lnTo>
                  <a:lnTo>
                    <a:pt x="134" y="218"/>
                  </a:lnTo>
                  <a:lnTo>
                    <a:pt x="136" y="216"/>
                  </a:lnTo>
                  <a:lnTo>
                    <a:pt x="134" y="216"/>
                  </a:lnTo>
                  <a:lnTo>
                    <a:pt x="134" y="214"/>
                  </a:lnTo>
                  <a:lnTo>
                    <a:pt x="134" y="212"/>
                  </a:lnTo>
                  <a:lnTo>
                    <a:pt x="144" y="212"/>
                  </a:lnTo>
                  <a:lnTo>
                    <a:pt x="144" y="214"/>
                  </a:lnTo>
                  <a:lnTo>
                    <a:pt x="144" y="216"/>
                  </a:lnTo>
                  <a:lnTo>
                    <a:pt x="146" y="218"/>
                  </a:lnTo>
                  <a:lnTo>
                    <a:pt x="146" y="216"/>
                  </a:lnTo>
                  <a:lnTo>
                    <a:pt x="148" y="210"/>
                  </a:lnTo>
                  <a:lnTo>
                    <a:pt x="148" y="208"/>
                  </a:lnTo>
                  <a:lnTo>
                    <a:pt x="152" y="204"/>
                  </a:lnTo>
                  <a:lnTo>
                    <a:pt x="156" y="204"/>
                  </a:lnTo>
                  <a:lnTo>
                    <a:pt x="158" y="204"/>
                  </a:lnTo>
                  <a:lnTo>
                    <a:pt x="160" y="204"/>
                  </a:lnTo>
                  <a:lnTo>
                    <a:pt x="160" y="202"/>
                  </a:lnTo>
                  <a:lnTo>
                    <a:pt x="162" y="202"/>
                  </a:lnTo>
                  <a:lnTo>
                    <a:pt x="164" y="204"/>
                  </a:lnTo>
                  <a:lnTo>
                    <a:pt x="162" y="206"/>
                  </a:lnTo>
                  <a:lnTo>
                    <a:pt x="164" y="206"/>
                  </a:lnTo>
                  <a:lnTo>
                    <a:pt x="168" y="208"/>
                  </a:lnTo>
                  <a:lnTo>
                    <a:pt x="170" y="206"/>
                  </a:lnTo>
                  <a:lnTo>
                    <a:pt x="170" y="204"/>
                  </a:lnTo>
                  <a:lnTo>
                    <a:pt x="168" y="204"/>
                  </a:lnTo>
                  <a:lnTo>
                    <a:pt x="166" y="206"/>
                  </a:lnTo>
                  <a:lnTo>
                    <a:pt x="166" y="204"/>
                  </a:lnTo>
                  <a:lnTo>
                    <a:pt x="168" y="202"/>
                  </a:lnTo>
                  <a:lnTo>
                    <a:pt x="170" y="200"/>
                  </a:lnTo>
                  <a:lnTo>
                    <a:pt x="172" y="200"/>
                  </a:lnTo>
                  <a:lnTo>
                    <a:pt x="174" y="198"/>
                  </a:lnTo>
                  <a:lnTo>
                    <a:pt x="176" y="198"/>
                  </a:lnTo>
                  <a:lnTo>
                    <a:pt x="178" y="200"/>
                  </a:lnTo>
                  <a:lnTo>
                    <a:pt x="178" y="202"/>
                  </a:lnTo>
                  <a:lnTo>
                    <a:pt x="178" y="204"/>
                  </a:lnTo>
                  <a:lnTo>
                    <a:pt x="178" y="206"/>
                  </a:lnTo>
                  <a:lnTo>
                    <a:pt x="178" y="208"/>
                  </a:lnTo>
                  <a:lnTo>
                    <a:pt x="178" y="210"/>
                  </a:lnTo>
                  <a:lnTo>
                    <a:pt x="180" y="212"/>
                  </a:lnTo>
                  <a:lnTo>
                    <a:pt x="182" y="214"/>
                  </a:lnTo>
                  <a:lnTo>
                    <a:pt x="190" y="212"/>
                  </a:lnTo>
                  <a:lnTo>
                    <a:pt x="188" y="208"/>
                  </a:lnTo>
                  <a:lnTo>
                    <a:pt x="186" y="206"/>
                  </a:lnTo>
                  <a:lnTo>
                    <a:pt x="184" y="206"/>
                  </a:lnTo>
                  <a:lnTo>
                    <a:pt x="182" y="204"/>
                  </a:lnTo>
                  <a:lnTo>
                    <a:pt x="182" y="200"/>
                  </a:lnTo>
                  <a:lnTo>
                    <a:pt x="182" y="198"/>
                  </a:lnTo>
                  <a:lnTo>
                    <a:pt x="182" y="196"/>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91" name="Group 1561"/>
            <p:cNvGrpSpPr>
              <a:grpSpLocks/>
            </p:cNvGrpSpPr>
            <p:nvPr/>
          </p:nvGrpSpPr>
          <p:grpSpPr bwMode="auto">
            <a:xfrm>
              <a:off x="7224579" y="4713413"/>
              <a:ext cx="127615" cy="107594"/>
              <a:chOff x="4349" y="2919"/>
              <a:chExt cx="102" cy="86"/>
            </a:xfrm>
            <a:solidFill>
              <a:srgbClr val="B9B9B9"/>
            </a:solidFill>
          </p:grpSpPr>
          <p:sp>
            <p:nvSpPr>
              <p:cNvPr id="357" name="Freeform 1421"/>
              <p:cNvSpPr>
                <a:spLocks/>
              </p:cNvSpPr>
              <p:nvPr/>
            </p:nvSpPr>
            <p:spPr bwMode="auto">
              <a:xfrm>
                <a:off x="4349" y="2919"/>
                <a:ext cx="12" cy="30"/>
              </a:xfrm>
              <a:custGeom>
                <a:avLst/>
                <a:gdLst/>
                <a:ahLst/>
                <a:cxnLst>
                  <a:cxn ang="0">
                    <a:pos x="12" y="30"/>
                  </a:cxn>
                  <a:cxn ang="0">
                    <a:pos x="10" y="30"/>
                  </a:cxn>
                  <a:cxn ang="0">
                    <a:pos x="2" y="26"/>
                  </a:cxn>
                  <a:cxn ang="0">
                    <a:pos x="2" y="24"/>
                  </a:cxn>
                  <a:cxn ang="0">
                    <a:pos x="0" y="20"/>
                  </a:cxn>
                  <a:cxn ang="0">
                    <a:pos x="0" y="18"/>
                  </a:cxn>
                  <a:cxn ang="0">
                    <a:pos x="2" y="16"/>
                  </a:cxn>
                  <a:cxn ang="0">
                    <a:pos x="2" y="10"/>
                  </a:cxn>
                  <a:cxn ang="0">
                    <a:pos x="2" y="6"/>
                  </a:cxn>
                  <a:cxn ang="0">
                    <a:pos x="2" y="4"/>
                  </a:cxn>
                  <a:cxn ang="0">
                    <a:pos x="2" y="2"/>
                  </a:cxn>
                  <a:cxn ang="0">
                    <a:pos x="4" y="0"/>
                  </a:cxn>
                  <a:cxn ang="0">
                    <a:pos x="6" y="0"/>
                  </a:cxn>
                  <a:cxn ang="0">
                    <a:pos x="8" y="0"/>
                  </a:cxn>
                  <a:cxn ang="0">
                    <a:pos x="8" y="2"/>
                  </a:cxn>
                  <a:cxn ang="0">
                    <a:pos x="10" y="2"/>
                  </a:cxn>
                  <a:cxn ang="0">
                    <a:pos x="10" y="4"/>
                  </a:cxn>
                  <a:cxn ang="0">
                    <a:pos x="8" y="12"/>
                  </a:cxn>
                  <a:cxn ang="0">
                    <a:pos x="8" y="14"/>
                  </a:cxn>
                  <a:cxn ang="0">
                    <a:pos x="8" y="16"/>
                  </a:cxn>
                  <a:cxn ang="0">
                    <a:pos x="10" y="20"/>
                  </a:cxn>
                  <a:cxn ang="0">
                    <a:pos x="12" y="28"/>
                  </a:cxn>
                  <a:cxn ang="0">
                    <a:pos x="12" y="30"/>
                  </a:cxn>
                </a:cxnLst>
                <a:rect l="0" t="0" r="r" b="b"/>
                <a:pathLst>
                  <a:path w="12" h="30">
                    <a:moveTo>
                      <a:pt x="12" y="30"/>
                    </a:moveTo>
                    <a:lnTo>
                      <a:pt x="10" y="30"/>
                    </a:lnTo>
                    <a:lnTo>
                      <a:pt x="2" y="26"/>
                    </a:lnTo>
                    <a:lnTo>
                      <a:pt x="2" y="24"/>
                    </a:lnTo>
                    <a:lnTo>
                      <a:pt x="0" y="20"/>
                    </a:lnTo>
                    <a:lnTo>
                      <a:pt x="0" y="18"/>
                    </a:lnTo>
                    <a:lnTo>
                      <a:pt x="2" y="16"/>
                    </a:lnTo>
                    <a:lnTo>
                      <a:pt x="2" y="10"/>
                    </a:lnTo>
                    <a:lnTo>
                      <a:pt x="2" y="6"/>
                    </a:lnTo>
                    <a:lnTo>
                      <a:pt x="2" y="4"/>
                    </a:lnTo>
                    <a:lnTo>
                      <a:pt x="2" y="2"/>
                    </a:lnTo>
                    <a:lnTo>
                      <a:pt x="4" y="0"/>
                    </a:lnTo>
                    <a:lnTo>
                      <a:pt x="6" y="0"/>
                    </a:lnTo>
                    <a:lnTo>
                      <a:pt x="8" y="0"/>
                    </a:lnTo>
                    <a:lnTo>
                      <a:pt x="8" y="2"/>
                    </a:lnTo>
                    <a:lnTo>
                      <a:pt x="10" y="2"/>
                    </a:lnTo>
                    <a:lnTo>
                      <a:pt x="10" y="4"/>
                    </a:lnTo>
                    <a:lnTo>
                      <a:pt x="8" y="12"/>
                    </a:lnTo>
                    <a:lnTo>
                      <a:pt x="8" y="14"/>
                    </a:lnTo>
                    <a:lnTo>
                      <a:pt x="8" y="16"/>
                    </a:lnTo>
                    <a:lnTo>
                      <a:pt x="10" y="20"/>
                    </a:lnTo>
                    <a:lnTo>
                      <a:pt x="12" y="28"/>
                    </a:lnTo>
                    <a:lnTo>
                      <a:pt x="12" y="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8" name="Freeform 1422"/>
              <p:cNvSpPr>
                <a:spLocks/>
              </p:cNvSpPr>
              <p:nvPr/>
            </p:nvSpPr>
            <p:spPr bwMode="auto">
              <a:xfrm>
                <a:off x="4397" y="2957"/>
                <a:ext cx="16" cy="16"/>
              </a:xfrm>
              <a:custGeom>
                <a:avLst/>
                <a:gdLst/>
                <a:ahLst/>
                <a:cxnLst>
                  <a:cxn ang="0">
                    <a:pos x="16" y="16"/>
                  </a:cxn>
                  <a:cxn ang="0">
                    <a:pos x="14" y="16"/>
                  </a:cxn>
                  <a:cxn ang="0">
                    <a:pos x="12" y="12"/>
                  </a:cxn>
                  <a:cxn ang="0">
                    <a:pos x="10" y="10"/>
                  </a:cxn>
                  <a:cxn ang="0">
                    <a:pos x="6" y="8"/>
                  </a:cxn>
                  <a:cxn ang="0">
                    <a:pos x="2" y="6"/>
                  </a:cxn>
                  <a:cxn ang="0">
                    <a:pos x="0" y="6"/>
                  </a:cxn>
                  <a:cxn ang="0">
                    <a:pos x="0" y="4"/>
                  </a:cxn>
                  <a:cxn ang="0">
                    <a:pos x="2" y="4"/>
                  </a:cxn>
                  <a:cxn ang="0">
                    <a:pos x="6" y="6"/>
                  </a:cxn>
                  <a:cxn ang="0">
                    <a:pos x="8" y="6"/>
                  </a:cxn>
                  <a:cxn ang="0">
                    <a:pos x="8" y="4"/>
                  </a:cxn>
                  <a:cxn ang="0">
                    <a:pos x="10" y="4"/>
                  </a:cxn>
                  <a:cxn ang="0">
                    <a:pos x="12" y="2"/>
                  </a:cxn>
                  <a:cxn ang="0">
                    <a:pos x="10" y="2"/>
                  </a:cxn>
                  <a:cxn ang="0">
                    <a:pos x="12" y="0"/>
                  </a:cxn>
                  <a:cxn ang="0">
                    <a:pos x="14" y="0"/>
                  </a:cxn>
                  <a:cxn ang="0">
                    <a:pos x="14" y="2"/>
                  </a:cxn>
                  <a:cxn ang="0">
                    <a:pos x="16" y="8"/>
                  </a:cxn>
                  <a:cxn ang="0">
                    <a:pos x="16" y="14"/>
                  </a:cxn>
                  <a:cxn ang="0">
                    <a:pos x="16" y="16"/>
                  </a:cxn>
                </a:cxnLst>
                <a:rect l="0" t="0" r="r" b="b"/>
                <a:pathLst>
                  <a:path w="16" h="16">
                    <a:moveTo>
                      <a:pt x="16" y="16"/>
                    </a:moveTo>
                    <a:lnTo>
                      <a:pt x="14" y="16"/>
                    </a:lnTo>
                    <a:lnTo>
                      <a:pt x="12" y="12"/>
                    </a:lnTo>
                    <a:lnTo>
                      <a:pt x="10" y="10"/>
                    </a:lnTo>
                    <a:lnTo>
                      <a:pt x="6" y="8"/>
                    </a:lnTo>
                    <a:lnTo>
                      <a:pt x="2" y="6"/>
                    </a:lnTo>
                    <a:lnTo>
                      <a:pt x="0" y="6"/>
                    </a:lnTo>
                    <a:lnTo>
                      <a:pt x="0" y="4"/>
                    </a:lnTo>
                    <a:lnTo>
                      <a:pt x="2" y="4"/>
                    </a:lnTo>
                    <a:lnTo>
                      <a:pt x="6" y="6"/>
                    </a:lnTo>
                    <a:lnTo>
                      <a:pt x="8" y="6"/>
                    </a:lnTo>
                    <a:lnTo>
                      <a:pt x="8" y="4"/>
                    </a:lnTo>
                    <a:lnTo>
                      <a:pt x="10" y="4"/>
                    </a:lnTo>
                    <a:lnTo>
                      <a:pt x="12" y="2"/>
                    </a:lnTo>
                    <a:lnTo>
                      <a:pt x="10" y="2"/>
                    </a:lnTo>
                    <a:lnTo>
                      <a:pt x="12" y="0"/>
                    </a:lnTo>
                    <a:lnTo>
                      <a:pt x="14" y="0"/>
                    </a:lnTo>
                    <a:lnTo>
                      <a:pt x="14" y="2"/>
                    </a:lnTo>
                    <a:lnTo>
                      <a:pt x="16" y="8"/>
                    </a:lnTo>
                    <a:lnTo>
                      <a:pt x="16" y="14"/>
                    </a:lnTo>
                    <a:lnTo>
                      <a:pt x="1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9" name="Freeform 1423"/>
              <p:cNvSpPr>
                <a:spLocks/>
              </p:cNvSpPr>
              <p:nvPr/>
            </p:nvSpPr>
            <p:spPr bwMode="auto">
              <a:xfrm>
                <a:off x="4367" y="2965"/>
                <a:ext cx="12" cy="8"/>
              </a:xfrm>
              <a:custGeom>
                <a:avLst/>
                <a:gdLst/>
                <a:ahLst/>
                <a:cxnLst>
                  <a:cxn ang="0">
                    <a:pos x="12" y="8"/>
                  </a:cxn>
                  <a:cxn ang="0">
                    <a:pos x="8" y="8"/>
                  </a:cxn>
                  <a:cxn ang="0">
                    <a:pos x="6" y="8"/>
                  </a:cxn>
                  <a:cxn ang="0">
                    <a:pos x="2" y="8"/>
                  </a:cxn>
                  <a:cxn ang="0">
                    <a:pos x="2" y="6"/>
                  </a:cxn>
                  <a:cxn ang="0">
                    <a:pos x="0" y="4"/>
                  </a:cxn>
                  <a:cxn ang="0">
                    <a:pos x="0" y="2"/>
                  </a:cxn>
                  <a:cxn ang="0">
                    <a:pos x="2" y="0"/>
                  </a:cxn>
                  <a:cxn ang="0">
                    <a:pos x="6" y="2"/>
                  </a:cxn>
                  <a:cxn ang="0">
                    <a:pos x="10" y="6"/>
                  </a:cxn>
                  <a:cxn ang="0">
                    <a:pos x="12" y="6"/>
                  </a:cxn>
                  <a:cxn ang="0">
                    <a:pos x="12" y="8"/>
                  </a:cxn>
                </a:cxnLst>
                <a:rect l="0" t="0" r="r" b="b"/>
                <a:pathLst>
                  <a:path w="12" h="8">
                    <a:moveTo>
                      <a:pt x="12" y="8"/>
                    </a:moveTo>
                    <a:lnTo>
                      <a:pt x="8" y="8"/>
                    </a:lnTo>
                    <a:lnTo>
                      <a:pt x="6" y="8"/>
                    </a:lnTo>
                    <a:lnTo>
                      <a:pt x="2" y="8"/>
                    </a:lnTo>
                    <a:lnTo>
                      <a:pt x="2" y="6"/>
                    </a:lnTo>
                    <a:lnTo>
                      <a:pt x="0" y="4"/>
                    </a:lnTo>
                    <a:lnTo>
                      <a:pt x="0" y="2"/>
                    </a:lnTo>
                    <a:lnTo>
                      <a:pt x="2" y="0"/>
                    </a:lnTo>
                    <a:lnTo>
                      <a:pt x="6" y="2"/>
                    </a:lnTo>
                    <a:lnTo>
                      <a:pt x="10" y="6"/>
                    </a:lnTo>
                    <a:lnTo>
                      <a:pt x="12" y="6"/>
                    </a:lnTo>
                    <a:lnTo>
                      <a:pt x="1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0" name="Freeform 1438"/>
              <p:cNvSpPr>
                <a:spLocks/>
              </p:cNvSpPr>
              <p:nvPr/>
            </p:nvSpPr>
            <p:spPr bwMode="auto">
              <a:xfrm>
                <a:off x="4437" y="2989"/>
                <a:ext cx="12" cy="16"/>
              </a:xfrm>
              <a:custGeom>
                <a:avLst/>
                <a:gdLst/>
                <a:ahLst/>
                <a:cxnLst>
                  <a:cxn ang="0">
                    <a:pos x="6" y="16"/>
                  </a:cxn>
                  <a:cxn ang="0">
                    <a:pos x="4" y="16"/>
                  </a:cxn>
                  <a:cxn ang="0">
                    <a:pos x="2" y="16"/>
                  </a:cxn>
                  <a:cxn ang="0">
                    <a:pos x="2" y="12"/>
                  </a:cxn>
                  <a:cxn ang="0">
                    <a:pos x="4" y="12"/>
                  </a:cxn>
                  <a:cxn ang="0">
                    <a:pos x="4" y="8"/>
                  </a:cxn>
                  <a:cxn ang="0">
                    <a:pos x="2" y="4"/>
                  </a:cxn>
                  <a:cxn ang="0">
                    <a:pos x="0" y="4"/>
                  </a:cxn>
                  <a:cxn ang="0">
                    <a:pos x="0" y="2"/>
                  </a:cxn>
                  <a:cxn ang="0">
                    <a:pos x="2" y="2"/>
                  </a:cxn>
                  <a:cxn ang="0">
                    <a:pos x="4" y="0"/>
                  </a:cxn>
                  <a:cxn ang="0">
                    <a:pos x="10" y="4"/>
                  </a:cxn>
                  <a:cxn ang="0">
                    <a:pos x="12" y="4"/>
                  </a:cxn>
                  <a:cxn ang="0">
                    <a:pos x="10" y="10"/>
                  </a:cxn>
                  <a:cxn ang="0">
                    <a:pos x="8" y="14"/>
                  </a:cxn>
                  <a:cxn ang="0">
                    <a:pos x="8" y="16"/>
                  </a:cxn>
                  <a:cxn ang="0">
                    <a:pos x="6" y="16"/>
                  </a:cxn>
                </a:cxnLst>
                <a:rect l="0" t="0" r="r" b="b"/>
                <a:pathLst>
                  <a:path w="12" h="16">
                    <a:moveTo>
                      <a:pt x="6" y="16"/>
                    </a:moveTo>
                    <a:lnTo>
                      <a:pt x="4" y="16"/>
                    </a:lnTo>
                    <a:lnTo>
                      <a:pt x="2" y="16"/>
                    </a:lnTo>
                    <a:lnTo>
                      <a:pt x="2" y="12"/>
                    </a:lnTo>
                    <a:lnTo>
                      <a:pt x="4" y="12"/>
                    </a:lnTo>
                    <a:lnTo>
                      <a:pt x="4" y="8"/>
                    </a:lnTo>
                    <a:lnTo>
                      <a:pt x="2" y="4"/>
                    </a:lnTo>
                    <a:lnTo>
                      <a:pt x="0" y="4"/>
                    </a:lnTo>
                    <a:lnTo>
                      <a:pt x="0" y="2"/>
                    </a:lnTo>
                    <a:lnTo>
                      <a:pt x="2" y="2"/>
                    </a:lnTo>
                    <a:lnTo>
                      <a:pt x="4" y="0"/>
                    </a:lnTo>
                    <a:lnTo>
                      <a:pt x="10" y="4"/>
                    </a:lnTo>
                    <a:lnTo>
                      <a:pt x="12" y="4"/>
                    </a:lnTo>
                    <a:lnTo>
                      <a:pt x="10" y="10"/>
                    </a:lnTo>
                    <a:lnTo>
                      <a:pt x="8" y="14"/>
                    </a:lnTo>
                    <a:lnTo>
                      <a:pt x="8" y="16"/>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1" name="Rectangle 1439"/>
              <p:cNvSpPr>
                <a:spLocks noChangeArrowheads="1"/>
              </p:cNvSpPr>
              <p:nvPr/>
            </p:nvSpPr>
            <p:spPr bwMode="auto">
              <a:xfrm>
                <a:off x="4449" y="2993"/>
                <a:ext cx="2" cy="2"/>
              </a:xfrm>
              <a:prstGeom prst="rect">
                <a:avLst/>
              </a:prstGeom>
              <a:grpFill/>
              <a:ln w="3175">
                <a:solidFill>
                  <a:schemeClr val="bg1"/>
                </a:solidFill>
                <a:miter lim="800000"/>
                <a:headEnd/>
                <a:tailEnd/>
              </a:ln>
            </p:spPr>
            <p:txBody>
              <a:bodyPr>
                <a:prstTxWarp prst="textNoShape">
                  <a:avLst/>
                </a:prstTxWarp>
              </a:bodyPr>
              <a:lstStyle/>
              <a:p>
                <a:endParaRPr lang="en-GB">
                  <a:solidFill>
                    <a:srgbClr val="000000"/>
                  </a:solidFill>
                </a:endParaRPr>
              </a:p>
            </p:txBody>
          </p:sp>
        </p:grpSp>
        <p:sp>
          <p:nvSpPr>
            <p:cNvPr id="292" name="Freeform 1440"/>
            <p:cNvSpPr>
              <a:spLocks/>
            </p:cNvSpPr>
            <p:nvPr/>
          </p:nvSpPr>
          <p:spPr bwMode="auto">
            <a:xfrm>
              <a:off x="5237700" y="4263054"/>
              <a:ext cx="67559" cy="90079"/>
            </a:xfrm>
            <a:custGeom>
              <a:avLst/>
              <a:gdLst/>
              <a:ahLst/>
              <a:cxnLst>
                <a:cxn ang="0">
                  <a:pos x="54" y="12"/>
                </a:cxn>
                <a:cxn ang="0">
                  <a:pos x="54" y="14"/>
                </a:cxn>
                <a:cxn ang="0">
                  <a:pos x="54" y="16"/>
                </a:cxn>
                <a:cxn ang="0">
                  <a:pos x="52" y="14"/>
                </a:cxn>
                <a:cxn ang="0">
                  <a:pos x="42" y="18"/>
                </a:cxn>
                <a:cxn ang="0">
                  <a:pos x="40" y="18"/>
                </a:cxn>
                <a:cxn ang="0">
                  <a:pos x="34" y="26"/>
                </a:cxn>
                <a:cxn ang="0">
                  <a:pos x="34" y="28"/>
                </a:cxn>
                <a:cxn ang="0">
                  <a:pos x="28" y="32"/>
                </a:cxn>
                <a:cxn ang="0">
                  <a:pos x="24" y="38"/>
                </a:cxn>
                <a:cxn ang="0">
                  <a:pos x="26" y="46"/>
                </a:cxn>
                <a:cxn ang="0">
                  <a:pos x="24" y="68"/>
                </a:cxn>
                <a:cxn ang="0">
                  <a:pos x="22" y="70"/>
                </a:cxn>
                <a:cxn ang="0">
                  <a:pos x="16" y="70"/>
                </a:cxn>
                <a:cxn ang="0">
                  <a:pos x="12" y="70"/>
                </a:cxn>
                <a:cxn ang="0">
                  <a:pos x="10" y="70"/>
                </a:cxn>
                <a:cxn ang="0">
                  <a:pos x="10" y="72"/>
                </a:cxn>
                <a:cxn ang="0">
                  <a:pos x="8" y="68"/>
                </a:cxn>
                <a:cxn ang="0">
                  <a:pos x="6" y="66"/>
                </a:cxn>
                <a:cxn ang="0">
                  <a:pos x="6" y="64"/>
                </a:cxn>
                <a:cxn ang="0">
                  <a:pos x="6" y="62"/>
                </a:cxn>
                <a:cxn ang="0">
                  <a:pos x="8" y="60"/>
                </a:cxn>
                <a:cxn ang="0">
                  <a:pos x="10" y="58"/>
                </a:cxn>
                <a:cxn ang="0">
                  <a:pos x="10" y="56"/>
                </a:cxn>
                <a:cxn ang="0">
                  <a:pos x="6" y="48"/>
                </a:cxn>
                <a:cxn ang="0">
                  <a:pos x="6" y="46"/>
                </a:cxn>
                <a:cxn ang="0">
                  <a:pos x="4" y="44"/>
                </a:cxn>
                <a:cxn ang="0">
                  <a:pos x="2" y="40"/>
                </a:cxn>
                <a:cxn ang="0">
                  <a:pos x="2" y="38"/>
                </a:cxn>
                <a:cxn ang="0">
                  <a:pos x="0" y="36"/>
                </a:cxn>
                <a:cxn ang="0">
                  <a:pos x="0" y="34"/>
                </a:cxn>
                <a:cxn ang="0">
                  <a:pos x="0" y="32"/>
                </a:cxn>
                <a:cxn ang="0">
                  <a:pos x="6" y="26"/>
                </a:cxn>
                <a:cxn ang="0">
                  <a:pos x="6" y="24"/>
                </a:cxn>
                <a:cxn ang="0">
                  <a:pos x="8" y="22"/>
                </a:cxn>
                <a:cxn ang="0">
                  <a:pos x="8" y="20"/>
                </a:cxn>
                <a:cxn ang="0">
                  <a:pos x="12" y="22"/>
                </a:cxn>
                <a:cxn ang="0">
                  <a:pos x="14" y="22"/>
                </a:cxn>
                <a:cxn ang="0">
                  <a:pos x="18" y="18"/>
                </a:cxn>
                <a:cxn ang="0">
                  <a:pos x="18" y="14"/>
                </a:cxn>
                <a:cxn ang="0">
                  <a:pos x="18" y="12"/>
                </a:cxn>
                <a:cxn ang="0">
                  <a:pos x="22" y="10"/>
                </a:cxn>
                <a:cxn ang="0">
                  <a:pos x="30" y="10"/>
                </a:cxn>
                <a:cxn ang="0">
                  <a:pos x="32" y="8"/>
                </a:cxn>
                <a:cxn ang="0">
                  <a:pos x="34" y="6"/>
                </a:cxn>
                <a:cxn ang="0">
                  <a:pos x="36" y="2"/>
                </a:cxn>
                <a:cxn ang="0">
                  <a:pos x="36" y="0"/>
                </a:cxn>
                <a:cxn ang="0">
                  <a:pos x="38" y="0"/>
                </a:cxn>
                <a:cxn ang="0">
                  <a:pos x="42" y="0"/>
                </a:cxn>
                <a:cxn ang="0">
                  <a:pos x="44" y="2"/>
                </a:cxn>
                <a:cxn ang="0">
                  <a:pos x="44" y="4"/>
                </a:cxn>
                <a:cxn ang="0">
                  <a:pos x="44" y="6"/>
                </a:cxn>
                <a:cxn ang="0">
                  <a:pos x="50" y="10"/>
                </a:cxn>
                <a:cxn ang="0">
                  <a:pos x="50" y="12"/>
                </a:cxn>
                <a:cxn ang="0">
                  <a:pos x="52" y="12"/>
                </a:cxn>
                <a:cxn ang="0">
                  <a:pos x="54" y="12"/>
                </a:cxn>
              </a:cxnLst>
              <a:rect l="0" t="0" r="r" b="b"/>
              <a:pathLst>
                <a:path w="54" h="72">
                  <a:moveTo>
                    <a:pt x="54" y="12"/>
                  </a:moveTo>
                  <a:lnTo>
                    <a:pt x="54" y="14"/>
                  </a:lnTo>
                  <a:lnTo>
                    <a:pt x="54" y="16"/>
                  </a:lnTo>
                  <a:lnTo>
                    <a:pt x="52" y="14"/>
                  </a:lnTo>
                  <a:lnTo>
                    <a:pt x="42" y="18"/>
                  </a:lnTo>
                  <a:lnTo>
                    <a:pt x="40" y="18"/>
                  </a:lnTo>
                  <a:lnTo>
                    <a:pt x="34" y="26"/>
                  </a:lnTo>
                  <a:lnTo>
                    <a:pt x="34" y="28"/>
                  </a:lnTo>
                  <a:lnTo>
                    <a:pt x="28" y="32"/>
                  </a:lnTo>
                  <a:lnTo>
                    <a:pt x="24" y="38"/>
                  </a:lnTo>
                  <a:lnTo>
                    <a:pt x="26" y="46"/>
                  </a:lnTo>
                  <a:lnTo>
                    <a:pt x="24" y="68"/>
                  </a:lnTo>
                  <a:lnTo>
                    <a:pt x="22" y="70"/>
                  </a:lnTo>
                  <a:lnTo>
                    <a:pt x="16" y="70"/>
                  </a:lnTo>
                  <a:lnTo>
                    <a:pt x="12" y="70"/>
                  </a:lnTo>
                  <a:lnTo>
                    <a:pt x="10" y="70"/>
                  </a:lnTo>
                  <a:lnTo>
                    <a:pt x="10" y="72"/>
                  </a:lnTo>
                  <a:lnTo>
                    <a:pt x="8" y="68"/>
                  </a:lnTo>
                  <a:lnTo>
                    <a:pt x="6" y="66"/>
                  </a:lnTo>
                  <a:lnTo>
                    <a:pt x="6" y="64"/>
                  </a:lnTo>
                  <a:lnTo>
                    <a:pt x="6" y="62"/>
                  </a:lnTo>
                  <a:lnTo>
                    <a:pt x="8" y="60"/>
                  </a:lnTo>
                  <a:lnTo>
                    <a:pt x="10" y="58"/>
                  </a:lnTo>
                  <a:lnTo>
                    <a:pt x="10" y="56"/>
                  </a:lnTo>
                  <a:lnTo>
                    <a:pt x="6" y="48"/>
                  </a:lnTo>
                  <a:lnTo>
                    <a:pt x="6" y="46"/>
                  </a:lnTo>
                  <a:lnTo>
                    <a:pt x="4" y="44"/>
                  </a:lnTo>
                  <a:lnTo>
                    <a:pt x="2" y="40"/>
                  </a:lnTo>
                  <a:lnTo>
                    <a:pt x="2" y="38"/>
                  </a:lnTo>
                  <a:lnTo>
                    <a:pt x="0" y="36"/>
                  </a:lnTo>
                  <a:lnTo>
                    <a:pt x="0" y="34"/>
                  </a:lnTo>
                  <a:lnTo>
                    <a:pt x="0" y="32"/>
                  </a:lnTo>
                  <a:lnTo>
                    <a:pt x="6" y="26"/>
                  </a:lnTo>
                  <a:lnTo>
                    <a:pt x="6" y="24"/>
                  </a:lnTo>
                  <a:lnTo>
                    <a:pt x="8" y="22"/>
                  </a:lnTo>
                  <a:lnTo>
                    <a:pt x="8" y="20"/>
                  </a:lnTo>
                  <a:lnTo>
                    <a:pt x="12" y="22"/>
                  </a:lnTo>
                  <a:lnTo>
                    <a:pt x="14" y="22"/>
                  </a:lnTo>
                  <a:lnTo>
                    <a:pt x="18" y="18"/>
                  </a:lnTo>
                  <a:lnTo>
                    <a:pt x="18" y="14"/>
                  </a:lnTo>
                  <a:lnTo>
                    <a:pt x="18" y="12"/>
                  </a:lnTo>
                  <a:lnTo>
                    <a:pt x="22" y="10"/>
                  </a:lnTo>
                  <a:lnTo>
                    <a:pt x="30" y="10"/>
                  </a:lnTo>
                  <a:lnTo>
                    <a:pt x="32" y="8"/>
                  </a:lnTo>
                  <a:lnTo>
                    <a:pt x="34" y="6"/>
                  </a:lnTo>
                  <a:lnTo>
                    <a:pt x="36" y="2"/>
                  </a:lnTo>
                  <a:lnTo>
                    <a:pt x="36" y="0"/>
                  </a:lnTo>
                  <a:lnTo>
                    <a:pt x="38" y="0"/>
                  </a:lnTo>
                  <a:lnTo>
                    <a:pt x="42" y="0"/>
                  </a:lnTo>
                  <a:lnTo>
                    <a:pt x="44" y="2"/>
                  </a:lnTo>
                  <a:lnTo>
                    <a:pt x="44" y="4"/>
                  </a:lnTo>
                  <a:lnTo>
                    <a:pt x="44" y="6"/>
                  </a:lnTo>
                  <a:lnTo>
                    <a:pt x="50" y="10"/>
                  </a:lnTo>
                  <a:lnTo>
                    <a:pt x="50" y="12"/>
                  </a:lnTo>
                  <a:lnTo>
                    <a:pt x="52" y="12"/>
                  </a:lnTo>
                  <a:lnTo>
                    <a:pt x="54" y="1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3" name="Freeform 1441"/>
            <p:cNvSpPr>
              <a:spLocks/>
            </p:cNvSpPr>
            <p:nvPr/>
          </p:nvSpPr>
          <p:spPr bwMode="auto">
            <a:xfrm>
              <a:off x="5227692" y="4358138"/>
              <a:ext cx="780684" cy="778182"/>
            </a:xfrm>
            <a:custGeom>
              <a:avLst/>
              <a:gdLst/>
              <a:ahLst/>
              <a:cxnLst>
                <a:cxn ang="0">
                  <a:pos x="516" y="466"/>
                </a:cxn>
                <a:cxn ang="0">
                  <a:pos x="522" y="538"/>
                </a:cxn>
                <a:cxn ang="0">
                  <a:pos x="576" y="596"/>
                </a:cxn>
                <a:cxn ang="0">
                  <a:pos x="504" y="620"/>
                </a:cxn>
                <a:cxn ang="0">
                  <a:pos x="456" y="622"/>
                </a:cxn>
                <a:cxn ang="0">
                  <a:pos x="428" y="616"/>
                </a:cxn>
                <a:cxn ang="0">
                  <a:pos x="388" y="614"/>
                </a:cxn>
                <a:cxn ang="0">
                  <a:pos x="362" y="612"/>
                </a:cxn>
                <a:cxn ang="0">
                  <a:pos x="322" y="590"/>
                </a:cxn>
                <a:cxn ang="0">
                  <a:pos x="194" y="590"/>
                </a:cxn>
                <a:cxn ang="0">
                  <a:pos x="118" y="594"/>
                </a:cxn>
                <a:cxn ang="0">
                  <a:pos x="90" y="572"/>
                </a:cxn>
                <a:cxn ang="0">
                  <a:pos x="64" y="572"/>
                </a:cxn>
                <a:cxn ang="0">
                  <a:pos x="30" y="584"/>
                </a:cxn>
                <a:cxn ang="0">
                  <a:pos x="6" y="586"/>
                </a:cxn>
                <a:cxn ang="0">
                  <a:pos x="4" y="544"/>
                </a:cxn>
                <a:cxn ang="0">
                  <a:pos x="4" y="520"/>
                </a:cxn>
                <a:cxn ang="0">
                  <a:pos x="14" y="498"/>
                </a:cxn>
                <a:cxn ang="0">
                  <a:pos x="26" y="456"/>
                </a:cxn>
                <a:cxn ang="0">
                  <a:pos x="28" y="430"/>
                </a:cxn>
                <a:cxn ang="0">
                  <a:pos x="36" y="388"/>
                </a:cxn>
                <a:cxn ang="0">
                  <a:pos x="60" y="356"/>
                </a:cxn>
                <a:cxn ang="0">
                  <a:pos x="86" y="334"/>
                </a:cxn>
                <a:cxn ang="0">
                  <a:pos x="100" y="290"/>
                </a:cxn>
                <a:cxn ang="0">
                  <a:pos x="96" y="250"/>
                </a:cxn>
                <a:cxn ang="0">
                  <a:pos x="82" y="222"/>
                </a:cxn>
                <a:cxn ang="0">
                  <a:pos x="68" y="182"/>
                </a:cxn>
                <a:cxn ang="0">
                  <a:pos x="64" y="158"/>
                </a:cxn>
                <a:cxn ang="0">
                  <a:pos x="70" y="152"/>
                </a:cxn>
                <a:cxn ang="0">
                  <a:pos x="78" y="134"/>
                </a:cxn>
                <a:cxn ang="0">
                  <a:pos x="64" y="100"/>
                </a:cxn>
                <a:cxn ang="0">
                  <a:pos x="48" y="58"/>
                </a:cxn>
                <a:cxn ang="0">
                  <a:pos x="24" y="18"/>
                </a:cxn>
                <a:cxn ang="0">
                  <a:pos x="36" y="10"/>
                </a:cxn>
                <a:cxn ang="0">
                  <a:pos x="62" y="2"/>
                </a:cxn>
                <a:cxn ang="0">
                  <a:pos x="106" y="0"/>
                </a:cxn>
                <a:cxn ang="0">
                  <a:pos x="164" y="0"/>
                </a:cxn>
                <a:cxn ang="0">
                  <a:pos x="238" y="0"/>
                </a:cxn>
                <a:cxn ang="0">
                  <a:pos x="246" y="28"/>
                </a:cxn>
                <a:cxn ang="0">
                  <a:pos x="260" y="66"/>
                </a:cxn>
                <a:cxn ang="0">
                  <a:pos x="278" y="98"/>
                </a:cxn>
                <a:cxn ang="0">
                  <a:pos x="296" y="114"/>
                </a:cxn>
                <a:cxn ang="0">
                  <a:pos x="320" y="112"/>
                </a:cxn>
                <a:cxn ang="0">
                  <a:pos x="364" y="110"/>
                </a:cxn>
                <a:cxn ang="0">
                  <a:pos x="384" y="90"/>
                </a:cxn>
                <a:cxn ang="0">
                  <a:pos x="390" y="66"/>
                </a:cxn>
                <a:cxn ang="0">
                  <a:pos x="444" y="66"/>
                </a:cxn>
                <a:cxn ang="0">
                  <a:pos x="510" y="84"/>
                </a:cxn>
                <a:cxn ang="0">
                  <a:pos x="508" y="112"/>
                </a:cxn>
                <a:cxn ang="0">
                  <a:pos x="514" y="140"/>
                </a:cxn>
                <a:cxn ang="0">
                  <a:pos x="510" y="194"/>
                </a:cxn>
                <a:cxn ang="0">
                  <a:pos x="532" y="228"/>
                </a:cxn>
                <a:cxn ang="0">
                  <a:pos x="528" y="254"/>
                </a:cxn>
                <a:cxn ang="0">
                  <a:pos x="542" y="268"/>
                </a:cxn>
                <a:cxn ang="0">
                  <a:pos x="558" y="268"/>
                </a:cxn>
                <a:cxn ang="0">
                  <a:pos x="586" y="262"/>
                </a:cxn>
                <a:cxn ang="0">
                  <a:pos x="612" y="264"/>
                </a:cxn>
                <a:cxn ang="0">
                  <a:pos x="620" y="286"/>
                </a:cxn>
                <a:cxn ang="0">
                  <a:pos x="618" y="340"/>
                </a:cxn>
                <a:cxn ang="0">
                  <a:pos x="596" y="366"/>
                </a:cxn>
              </a:cxnLst>
              <a:rect l="0" t="0" r="r" b="b"/>
              <a:pathLst>
                <a:path w="624" h="622">
                  <a:moveTo>
                    <a:pt x="516" y="402"/>
                  </a:moveTo>
                  <a:lnTo>
                    <a:pt x="516" y="414"/>
                  </a:lnTo>
                  <a:lnTo>
                    <a:pt x="516" y="416"/>
                  </a:lnTo>
                  <a:lnTo>
                    <a:pt x="516" y="418"/>
                  </a:lnTo>
                  <a:lnTo>
                    <a:pt x="516" y="440"/>
                  </a:lnTo>
                  <a:lnTo>
                    <a:pt x="516" y="456"/>
                  </a:lnTo>
                  <a:lnTo>
                    <a:pt x="516" y="460"/>
                  </a:lnTo>
                  <a:lnTo>
                    <a:pt x="516" y="464"/>
                  </a:lnTo>
                  <a:lnTo>
                    <a:pt x="516" y="466"/>
                  </a:lnTo>
                  <a:lnTo>
                    <a:pt x="516" y="492"/>
                  </a:lnTo>
                  <a:lnTo>
                    <a:pt x="516" y="500"/>
                  </a:lnTo>
                  <a:lnTo>
                    <a:pt x="516" y="520"/>
                  </a:lnTo>
                  <a:lnTo>
                    <a:pt x="516" y="526"/>
                  </a:lnTo>
                  <a:lnTo>
                    <a:pt x="516" y="528"/>
                  </a:lnTo>
                  <a:lnTo>
                    <a:pt x="518" y="530"/>
                  </a:lnTo>
                  <a:lnTo>
                    <a:pt x="520" y="532"/>
                  </a:lnTo>
                  <a:lnTo>
                    <a:pt x="522" y="536"/>
                  </a:lnTo>
                  <a:lnTo>
                    <a:pt x="522" y="538"/>
                  </a:lnTo>
                  <a:lnTo>
                    <a:pt x="522" y="540"/>
                  </a:lnTo>
                  <a:lnTo>
                    <a:pt x="522" y="544"/>
                  </a:lnTo>
                  <a:lnTo>
                    <a:pt x="526" y="548"/>
                  </a:lnTo>
                  <a:lnTo>
                    <a:pt x="528" y="548"/>
                  </a:lnTo>
                  <a:lnTo>
                    <a:pt x="532" y="552"/>
                  </a:lnTo>
                  <a:lnTo>
                    <a:pt x="542" y="560"/>
                  </a:lnTo>
                  <a:lnTo>
                    <a:pt x="554" y="574"/>
                  </a:lnTo>
                  <a:lnTo>
                    <a:pt x="570" y="588"/>
                  </a:lnTo>
                  <a:lnTo>
                    <a:pt x="576" y="596"/>
                  </a:lnTo>
                  <a:lnTo>
                    <a:pt x="588" y="602"/>
                  </a:lnTo>
                  <a:lnTo>
                    <a:pt x="590" y="602"/>
                  </a:lnTo>
                  <a:lnTo>
                    <a:pt x="580" y="604"/>
                  </a:lnTo>
                  <a:lnTo>
                    <a:pt x="566" y="608"/>
                  </a:lnTo>
                  <a:lnTo>
                    <a:pt x="562" y="608"/>
                  </a:lnTo>
                  <a:lnTo>
                    <a:pt x="560" y="610"/>
                  </a:lnTo>
                  <a:lnTo>
                    <a:pt x="544" y="612"/>
                  </a:lnTo>
                  <a:lnTo>
                    <a:pt x="530" y="614"/>
                  </a:lnTo>
                  <a:lnTo>
                    <a:pt x="504" y="620"/>
                  </a:lnTo>
                  <a:lnTo>
                    <a:pt x="484" y="622"/>
                  </a:lnTo>
                  <a:lnTo>
                    <a:pt x="478" y="620"/>
                  </a:lnTo>
                  <a:lnTo>
                    <a:pt x="474" y="618"/>
                  </a:lnTo>
                  <a:lnTo>
                    <a:pt x="472" y="618"/>
                  </a:lnTo>
                  <a:lnTo>
                    <a:pt x="466" y="620"/>
                  </a:lnTo>
                  <a:lnTo>
                    <a:pt x="464" y="620"/>
                  </a:lnTo>
                  <a:lnTo>
                    <a:pt x="460" y="622"/>
                  </a:lnTo>
                  <a:lnTo>
                    <a:pt x="458" y="622"/>
                  </a:lnTo>
                  <a:lnTo>
                    <a:pt x="456" y="622"/>
                  </a:lnTo>
                  <a:lnTo>
                    <a:pt x="454" y="622"/>
                  </a:lnTo>
                  <a:lnTo>
                    <a:pt x="448" y="620"/>
                  </a:lnTo>
                  <a:lnTo>
                    <a:pt x="446" y="620"/>
                  </a:lnTo>
                  <a:lnTo>
                    <a:pt x="444" y="620"/>
                  </a:lnTo>
                  <a:lnTo>
                    <a:pt x="440" y="620"/>
                  </a:lnTo>
                  <a:lnTo>
                    <a:pt x="438" y="616"/>
                  </a:lnTo>
                  <a:lnTo>
                    <a:pt x="432" y="614"/>
                  </a:lnTo>
                  <a:lnTo>
                    <a:pt x="430" y="614"/>
                  </a:lnTo>
                  <a:lnTo>
                    <a:pt x="428" y="616"/>
                  </a:lnTo>
                  <a:lnTo>
                    <a:pt x="422" y="616"/>
                  </a:lnTo>
                  <a:lnTo>
                    <a:pt x="420" y="616"/>
                  </a:lnTo>
                  <a:lnTo>
                    <a:pt x="416" y="616"/>
                  </a:lnTo>
                  <a:lnTo>
                    <a:pt x="414" y="616"/>
                  </a:lnTo>
                  <a:lnTo>
                    <a:pt x="412" y="614"/>
                  </a:lnTo>
                  <a:lnTo>
                    <a:pt x="406" y="614"/>
                  </a:lnTo>
                  <a:lnTo>
                    <a:pt x="400" y="616"/>
                  </a:lnTo>
                  <a:lnTo>
                    <a:pt x="394" y="616"/>
                  </a:lnTo>
                  <a:lnTo>
                    <a:pt x="388" y="614"/>
                  </a:lnTo>
                  <a:lnTo>
                    <a:pt x="386" y="614"/>
                  </a:lnTo>
                  <a:lnTo>
                    <a:pt x="382" y="614"/>
                  </a:lnTo>
                  <a:lnTo>
                    <a:pt x="380" y="612"/>
                  </a:lnTo>
                  <a:lnTo>
                    <a:pt x="378" y="612"/>
                  </a:lnTo>
                  <a:lnTo>
                    <a:pt x="374" y="612"/>
                  </a:lnTo>
                  <a:lnTo>
                    <a:pt x="372" y="612"/>
                  </a:lnTo>
                  <a:lnTo>
                    <a:pt x="368" y="612"/>
                  </a:lnTo>
                  <a:lnTo>
                    <a:pt x="366" y="612"/>
                  </a:lnTo>
                  <a:lnTo>
                    <a:pt x="362" y="612"/>
                  </a:lnTo>
                  <a:lnTo>
                    <a:pt x="356" y="610"/>
                  </a:lnTo>
                  <a:lnTo>
                    <a:pt x="354" y="610"/>
                  </a:lnTo>
                  <a:lnTo>
                    <a:pt x="348" y="604"/>
                  </a:lnTo>
                  <a:lnTo>
                    <a:pt x="344" y="600"/>
                  </a:lnTo>
                  <a:lnTo>
                    <a:pt x="342" y="596"/>
                  </a:lnTo>
                  <a:lnTo>
                    <a:pt x="338" y="590"/>
                  </a:lnTo>
                  <a:lnTo>
                    <a:pt x="336" y="590"/>
                  </a:lnTo>
                  <a:lnTo>
                    <a:pt x="324" y="590"/>
                  </a:lnTo>
                  <a:lnTo>
                    <a:pt x="322" y="590"/>
                  </a:lnTo>
                  <a:lnTo>
                    <a:pt x="316" y="590"/>
                  </a:lnTo>
                  <a:lnTo>
                    <a:pt x="302" y="590"/>
                  </a:lnTo>
                  <a:lnTo>
                    <a:pt x="294" y="590"/>
                  </a:lnTo>
                  <a:lnTo>
                    <a:pt x="292" y="590"/>
                  </a:lnTo>
                  <a:lnTo>
                    <a:pt x="280" y="590"/>
                  </a:lnTo>
                  <a:lnTo>
                    <a:pt x="246" y="590"/>
                  </a:lnTo>
                  <a:lnTo>
                    <a:pt x="216" y="590"/>
                  </a:lnTo>
                  <a:lnTo>
                    <a:pt x="214" y="590"/>
                  </a:lnTo>
                  <a:lnTo>
                    <a:pt x="194" y="590"/>
                  </a:lnTo>
                  <a:lnTo>
                    <a:pt x="190" y="590"/>
                  </a:lnTo>
                  <a:lnTo>
                    <a:pt x="164" y="590"/>
                  </a:lnTo>
                  <a:lnTo>
                    <a:pt x="148" y="590"/>
                  </a:lnTo>
                  <a:lnTo>
                    <a:pt x="138" y="590"/>
                  </a:lnTo>
                  <a:lnTo>
                    <a:pt x="134" y="590"/>
                  </a:lnTo>
                  <a:lnTo>
                    <a:pt x="126" y="590"/>
                  </a:lnTo>
                  <a:lnTo>
                    <a:pt x="126" y="592"/>
                  </a:lnTo>
                  <a:lnTo>
                    <a:pt x="124" y="592"/>
                  </a:lnTo>
                  <a:lnTo>
                    <a:pt x="118" y="594"/>
                  </a:lnTo>
                  <a:lnTo>
                    <a:pt x="118" y="592"/>
                  </a:lnTo>
                  <a:lnTo>
                    <a:pt x="116" y="592"/>
                  </a:lnTo>
                  <a:lnTo>
                    <a:pt x="116" y="594"/>
                  </a:lnTo>
                  <a:lnTo>
                    <a:pt x="112" y="592"/>
                  </a:lnTo>
                  <a:lnTo>
                    <a:pt x="108" y="588"/>
                  </a:lnTo>
                  <a:lnTo>
                    <a:pt x="100" y="584"/>
                  </a:lnTo>
                  <a:lnTo>
                    <a:pt x="98" y="582"/>
                  </a:lnTo>
                  <a:lnTo>
                    <a:pt x="92" y="576"/>
                  </a:lnTo>
                  <a:lnTo>
                    <a:pt x="90" y="572"/>
                  </a:lnTo>
                  <a:lnTo>
                    <a:pt x="88" y="572"/>
                  </a:lnTo>
                  <a:lnTo>
                    <a:pt x="84" y="570"/>
                  </a:lnTo>
                  <a:lnTo>
                    <a:pt x="82" y="570"/>
                  </a:lnTo>
                  <a:lnTo>
                    <a:pt x="80" y="570"/>
                  </a:lnTo>
                  <a:lnTo>
                    <a:pt x="78" y="570"/>
                  </a:lnTo>
                  <a:lnTo>
                    <a:pt x="74" y="570"/>
                  </a:lnTo>
                  <a:lnTo>
                    <a:pt x="72" y="568"/>
                  </a:lnTo>
                  <a:lnTo>
                    <a:pt x="66" y="570"/>
                  </a:lnTo>
                  <a:lnTo>
                    <a:pt x="64" y="572"/>
                  </a:lnTo>
                  <a:lnTo>
                    <a:pt x="62" y="572"/>
                  </a:lnTo>
                  <a:lnTo>
                    <a:pt x="58" y="574"/>
                  </a:lnTo>
                  <a:lnTo>
                    <a:pt x="58" y="576"/>
                  </a:lnTo>
                  <a:lnTo>
                    <a:pt x="56" y="576"/>
                  </a:lnTo>
                  <a:lnTo>
                    <a:pt x="44" y="584"/>
                  </a:lnTo>
                  <a:lnTo>
                    <a:pt x="42" y="584"/>
                  </a:lnTo>
                  <a:lnTo>
                    <a:pt x="38" y="584"/>
                  </a:lnTo>
                  <a:lnTo>
                    <a:pt x="36" y="582"/>
                  </a:lnTo>
                  <a:lnTo>
                    <a:pt x="30" y="584"/>
                  </a:lnTo>
                  <a:lnTo>
                    <a:pt x="26" y="582"/>
                  </a:lnTo>
                  <a:lnTo>
                    <a:pt x="24" y="582"/>
                  </a:lnTo>
                  <a:lnTo>
                    <a:pt x="20" y="578"/>
                  </a:lnTo>
                  <a:lnTo>
                    <a:pt x="18" y="578"/>
                  </a:lnTo>
                  <a:lnTo>
                    <a:pt x="14" y="580"/>
                  </a:lnTo>
                  <a:lnTo>
                    <a:pt x="12" y="582"/>
                  </a:lnTo>
                  <a:lnTo>
                    <a:pt x="10" y="582"/>
                  </a:lnTo>
                  <a:lnTo>
                    <a:pt x="10" y="584"/>
                  </a:lnTo>
                  <a:lnTo>
                    <a:pt x="6" y="586"/>
                  </a:lnTo>
                  <a:lnTo>
                    <a:pt x="2" y="586"/>
                  </a:lnTo>
                  <a:lnTo>
                    <a:pt x="2" y="578"/>
                  </a:lnTo>
                  <a:lnTo>
                    <a:pt x="2" y="570"/>
                  </a:lnTo>
                  <a:lnTo>
                    <a:pt x="2" y="564"/>
                  </a:lnTo>
                  <a:lnTo>
                    <a:pt x="4" y="562"/>
                  </a:lnTo>
                  <a:lnTo>
                    <a:pt x="6" y="556"/>
                  </a:lnTo>
                  <a:lnTo>
                    <a:pt x="6" y="554"/>
                  </a:lnTo>
                  <a:lnTo>
                    <a:pt x="4" y="546"/>
                  </a:lnTo>
                  <a:lnTo>
                    <a:pt x="4" y="544"/>
                  </a:lnTo>
                  <a:lnTo>
                    <a:pt x="4" y="542"/>
                  </a:lnTo>
                  <a:lnTo>
                    <a:pt x="4" y="540"/>
                  </a:lnTo>
                  <a:lnTo>
                    <a:pt x="4" y="538"/>
                  </a:lnTo>
                  <a:lnTo>
                    <a:pt x="4" y="534"/>
                  </a:lnTo>
                  <a:lnTo>
                    <a:pt x="2" y="530"/>
                  </a:lnTo>
                  <a:lnTo>
                    <a:pt x="2" y="524"/>
                  </a:lnTo>
                  <a:lnTo>
                    <a:pt x="2" y="522"/>
                  </a:lnTo>
                  <a:lnTo>
                    <a:pt x="4" y="522"/>
                  </a:lnTo>
                  <a:lnTo>
                    <a:pt x="4" y="520"/>
                  </a:lnTo>
                  <a:lnTo>
                    <a:pt x="2" y="516"/>
                  </a:lnTo>
                  <a:lnTo>
                    <a:pt x="0" y="514"/>
                  </a:lnTo>
                  <a:lnTo>
                    <a:pt x="0" y="512"/>
                  </a:lnTo>
                  <a:lnTo>
                    <a:pt x="2" y="510"/>
                  </a:lnTo>
                  <a:lnTo>
                    <a:pt x="4" y="510"/>
                  </a:lnTo>
                  <a:lnTo>
                    <a:pt x="6" y="510"/>
                  </a:lnTo>
                  <a:lnTo>
                    <a:pt x="8" y="508"/>
                  </a:lnTo>
                  <a:lnTo>
                    <a:pt x="12" y="500"/>
                  </a:lnTo>
                  <a:lnTo>
                    <a:pt x="14" y="498"/>
                  </a:lnTo>
                  <a:lnTo>
                    <a:pt x="14" y="494"/>
                  </a:lnTo>
                  <a:lnTo>
                    <a:pt x="14" y="492"/>
                  </a:lnTo>
                  <a:lnTo>
                    <a:pt x="14" y="490"/>
                  </a:lnTo>
                  <a:lnTo>
                    <a:pt x="16" y="480"/>
                  </a:lnTo>
                  <a:lnTo>
                    <a:pt x="18" y="476"/>
                  </a:lnTo>
                  <a:lnTo>
                    <a:pt x="20" y="468"/>
                  </a:lnTo>
                  <a:lnTo>
                    <a:pt x="22" y="462"/>
                  </a:lnTo>
                  <a:lnTo>
                    <a:pt x="24" y="458"/>
                  </a:lnTo>
                  <a:lnTo>
                    <a:pt x="26" y="456"/>
                  </a:lnTo>
                  <a:lnTo>
                    <a:pt x="26" y="452"/>
                  </a:lnTo>
                  <a:lnTo>
                    <a:pt x="26" y="450"/>
                  </a:lnTo>
                  <a:lnTo>
                    <a:pt x="26" y="446"/>
                  </a:lnTo>
                  <a:lnTo>
                    <a:pt x="28" y="442"/>
                  </a:lnTo>
                  <a:lnTo>
                    <a:pt x="28" y="440"/>
                  </a:lnTo>
                  <a:lnTo>
                    <a:pt x="30" y="438"/>
                  </a:lnTo>
                  <a:lnTo>
                    <a:pt x="30" y="434"/>
                  </a:lnTo>
                  <a:lnTo>
                    <a:pt x="28" y="432"/>
                  </a:lnTo>
                  <a:lnTo>
                    <a:pt x="28" y="430"/>
                  </a:lnTo>
                  <a:lnTo>
                    <a:pt x="28" y="428"/>
                  </a:lnTo>
                  <a:lnTo>
                    <a:pt x="28" y="424"/>
                  </a:lnTo>
                  <a:lnTo>
                    <a:pt x="30" y="420"/>
                  </a:lnTo>
                  <a:lnTo>
                    <a:pt x="32" y="414"/>
                  </a:lnTo>
                  <a:lnTo>
                    <a:pt x="36" y="412"/>
                  </a:lnTo>
                  <a:lnTo>
                    <a:pt x="36" y="410"/>
                  </a:lnTo>
                  <a:lnTo>
                    <a:pt x="38" y="396"/>
                  </a:lnTo>
                  <a:lnTo>
                    <a:pt x="38" y="394"/>
                  </a:lnTo>
                  <a:lnTo>
                    <a:pt x="36" y="388"/>
                  </a:lnTo>
                  <a:lnTo>
                    <a:pt x="38" y="388"/>
                  </a:lnTo>
                  <a:lnTo>
                    <a:pt x="50" y="376"/>
                  </a:lnTo>
                  <a:lnTo>
                    <a:pt x="54" y="370"/>
                  </a:lnTo>
                  <a:lnTo>
                    <a:pt x="58" y="366"/>
                  </a:lnTo>
                  <a:lnTo>
                    <a:pt x="58" y="364"/>
                  </a:lnTo>
                  <a:lnTo>
                    <a:pt x="58" y="362"/>
                  </a:lnTo>
                  <a:lnTo>
                    <a:pt x="56" y="358"/>
                  </a:lnTo>
                  <a:lnTo>
                    <a:pt x="58" y="358"/>
                  </a:lnTo>
                  <a:lnTo>
                    <a:pt x="60" y="356"/>
                  </a:lnTo>
                  <a:lnTo>
                    <a:pt x="66" y="348"/>
                  </a:lnTo>
                  <a:lnTo>
                    <a:pt x="70" y="346"/>
                  </a:lnTo>
                  <a:lnTo>
                    <a:pt x="72" y="346"/>
                  </a:lnTo>
                  <a:lnTo>
                    <a:pt x="78" y="346"/>
                  </a:lnTo>
                  <a:lnTo>
                    <a:pt x="80" y="346"/>
                  </a:lnTo>
                  <a:lnTo>
                    <a:pt x="84" y="340"/>
                  </a:lnTo>
                  <a:lnTo>
                    <a:pt x="84" y="338"/>
                  </a:lnTo>
                  <a:lnTo>
                    <a:pt x="86" y="336"/>
                  </a:lnTo>
                  <a:lnTo>
                    <a:pt x="86" y="334"/>
                  </a:lnTo>
                  <a:lnTo>
                    <a:pt x="88" y="332"/>
                  </a:lnTo>
                  <a:lnTo>
                    <a:pt x="90" y="330"/>
                  </a:lnTo>
                  <a:lnTo>
                    <a:pt x="94" y="324"/>
                  </a:lnTo>
                  <a:lnTo>
                    <a:pt x="98" y="312"/>
                  </a:lnTo>
                  <a:lnTo>
                    <a:pt x="100" y="304"/>
                  </a:lnTo>
                  <a:lnTo>
                    <a:pt x="100" y="302"/>
                  </a:lnTo>
                  <a:lnTo>
                    <a:pt x="100" y="300"/>
                  </a:lnTo>
                  <a:lnTo>
                    <a:pt x="100" y="294"/>
                  </a:lnTo>
                  <a:lnTo>
                    <a:pt x="100" y="290"/>
                  </a:lnTo>
                  <a:lnTo>
                    <a:pt x="100" y="282"/>
                  </a:lnTo>
                  <a:lnTo>
                    <a:pt x="102" y="280"/>
                  </a:lnTo>
                  <a:lnTo>
                    <a:pt x="102" y="268"/>
                  </a:lnTo>
                  <a:lnTo>
                    <a:pt x="104" y="264"/>
                  </a:lnTo>
                  <a:lnTo>
                    <a:pt x="102" y="262"/>
                  </a:lnTo>
                  <a:lnTo>
                    <a:pt x="102" y="260"/>
                  </a:lnTo>
                  <a:lnTo>
                    <a:pt x="98" y="256"/>
                  </a:lnTo>
                  <a:lnTo>
                    <a:pt x="96" y="252"/>
                  </a:lnTo>
                  <a:lnTo>
                    <a:pt x="96" y="250"/>
                  </a:lnTo>
                  <a:lnTo>
                    <a:pt x="98" y="248"/>
                  </a:lnTo>
                  <a:lnTo>
                    <a:pt x="96" y="246"/>
                  </a:lnTo>
                  <a:lnTo>
                    <a:pt x="92" y="240"/>
                  </a:lnTo>
                  <a:lnTo>
                    <a:pt x="86" y="234"/>
                  </a:lnTo>
                  <a:lnTo>
                    <a:pt x="86" y="232"/>
                  </a:lnTo>
                  <a:lnTo>
                    <a:pt x="86" y="230"/>
                  </a:lnTo>
                  <a:lnTo>
                    <a:pt x="86" y="228"/>
                  </a:lnTo>
                  <a:lnTo>
                    <a:pt x="84" y="226"/>
                  </a:lnTo>
                  <a:lnTo>
                    <a:pt x="82" y="222"/>
                  </a:lnTo>
                  <a:lnTo>
                    <a:pt x="74" y="210"/>
                  </a:lnTo>
                  <a:lnTo>
                    <a:pt x="76" y="210"/>
                  </a:lnTo>
                  <a:lnTo>
                    <a:pt x="76" y="208"/>
                  </a:lnTo>
                  <a:lnTo>
                    <a:pt x="74" y="206"/>
                  </a:lnTo>
                  <a:lnTo>
                    <a:pt x="74" y="204"/>
                  </a:lnTo>
                  <a:lnTo>
                    <a:pt x="72" y="200"/>
                  </a:lnTo>
                  <a:lnTo>
                    <a:pt x="70" y="194"/>
                  </a:lnTo>
                  <a:lnTo>
                    <a:pt x="70" y="192"/>
                  </a:lnTo>
                  <a:lnTo>
                    <a:pt x="68" y="182"/>
                  </a:lnTo>
                  <a:lnTo>
                    <a:pt x="66" y="178"/>
                  </a:lnTo>
                  <a:lnTo>
                    <a:pt x="64" y="176"/>
                  </a:lnTo>
                  <a:lnTo>
                    <a:pt x="58" y="166"/>
                  </a:lnTo>
                  <a:lnTo>
                    <a:pt x="58" y="162"/>
                  </a:lnTo>
                  <a:lnTo>
                    <a:pt x="60" y="160"/>
                  </a:lnTo>
                  <a:lnTo>
                    <a:pt x="62" y="156"/>
                  </a:lnTo>
                  <a:lnTo>
                    <a:pt x="64" y="154"/>
                  </a:lnTo>
                  <a:lnTo>
                    <a:pt x="64" y="156"/>
                  </a:lnTo>
                  <a:lnTo>
                    <a:pt x="64" y="158"/>
                  </a:lnTo>
                  <a:lnTo>
                    <a:pt x="62" y="158"/>
                  </a:lnTo>
                  <a:lnTo>
                    <a:pt x="62" y="160"/>
                  </a:lnTo>
                  <a:lnTo>
                    <a:pt x="60" y="160"/>
                  </a:lnTo>
                  <a:lnTo>
                    <a:pt x="58" y="164"/>
                  </a:lnTo>
                  <a:lnTo>
                    <a:pt x="60" y="166"/>
                  </a:lnTo>
                  <a:lnTo>
                    <a:pt x="62" y="162"/>
                  </a:lnTo>
                  <a:lnTo>
                    <a:pt x="64" y="160"/>
                  </a:lnTo>
                  <a:lnTo>
                    <a:pt x="68" y="154"/>
                  </a:lnTo>
                  <a:lnTo>
                    <a:pt x="70" y="152"/>
                  </a:lnTo>
                  <a:lnTo>
                    <a:pt x="72" y="150"/>
                  </a:lnTo>
                  <a:lnTo>
                    <a:pt x="76" y="150"/>
                  </a:lnTo>
                  <a:lnTo>
                    <a:pt x="78" y="148"/>
                  </a:lnTo>
                  <a:lnTo>
                    <a:pt x="78" y="144"/>
                  </a:lnTo>
                  <a:lnTo>
                    <a:pt x="78" y="142"/>
                  </a:lnTo>
                  <a:lnTo>
                    <a:pt x="76" y="140"/>
                  </a:lnTo>
                  <a:lnTo>
                    <a:pt x="76" y="136"/>
                  </a:lnTo>
                  <a:lnTo>
                    <a:pt x="76" y="134"/>
                  </a:lnTo>
                  <a:lnTo>
                    <a:pt x="78" y="134"/>
                  </a:lnTo>
                  <a:lnTo>
                    <a:pt x="78" y="130"/>
                  </a:lnTo>
                  <a:lnTo>
                    <a:pt x="76" y="126"/>
                  </a:lnTo>
                  <a:lnTo>
                    <a:pt x="74" y="122"/>
                  </a:lnTo>
                  <a:lnTo>
                    <a:pt x="72" y="118"/>
                  </a:lnTo>
                  <a:lnTo>
                    <a:pt x="68" y="114"/>
                  </a:lnTo>
                  <a:lnTo>
                    <a:pt x="68" y="112"/>
                  </a:lnTo>
                  <a:lnTo>
                    <a:pt x="68" y="110"/>
                  </a:lnTo>
                  <a:lnTo>
                    <a:pt x="66" y="106"/>
                  </a:lnTo>
                  <a:lnTo>
                    <a:pt x="64" y="100"/>
                  </a:lnTo>
                  <a:lnTo>
                    <a:pt x="64" y="98"/>
                  </a:lnTo>
                  <a:lnTo>
                    <a:pt x="62" y="98"/>
                  </a:lnTo>
                  <a:lnTo>
                    <a:pt x="58" y="88"/>
                  </a:lnTo>
                  <a:lnTo>
                    <a:pt x="56" y="86"/>
                  </a:lnTo>
                  <a:lnTo>
                    <a:pt x="54" y="82"/>
                  </a:lnTo>
                  <a:lnTo>
                    <a:pt x="52" y="72"/>
                  </a:lnTo>
                  <a:lnTo>
                    <a:pt x="50" y="64"/>
                  </a:lnTo>
                  <a:lnTo>
                    <a:pt x="50" y="60"/>
                  </a:lnTo>
                  <a:lnTo>
                    <a:pt x="48" y="58"/>
                  </a:lnTo>
                  <a:lnTo>
                    <a:pt x="48" y="56"/>
                  </a:lnTo>
                  <a:lnTo>
                    <a:pt x="40" y="46"/>
                  </a:lnTo>
                  <a:lnTo>
                    <a:pt x="36" y="44"/>
                  </a:lnTo>
                  <a:lnTo>
                    <a:pt x="36" y="42"/>
                  </a:lnTo>
                  <a:lnTo>
                    <a:pt x="34" y="42"/>
                  </a:lnTo>
                  <a:lnTo>
                    <a:pt x="34" y="40"/>
                  </a:lnTo>
                  <a:lnTo>
                    <a:pt x="30" y="32"/>
                  </a:lnTo>
                  <a:lnTo>
                    <a:pt x="24" y="20"/>
                  </a:lnTo>
                  <a:lnTo>
                    <a:pt x="24" y="18"/>
                  </a:lnTo>
                  <a:lnTo>
                    <a:pt x="22" y="18"/>
                  </a:lnTo>
                  <a:lnTo>
                    <a:pt x="20" y="14"/>
                  </a:lnTo>
                  <a:lnTo>
                    <a:pt x="20" y="12"/>
                  </a:lnTo>
                  <a:lnTo>
                    <a:pt x="20" y="10"/>
                  </a:lnTo>
                  <a:lnTo>
                    <a:pt x="22" y="10"/>
                  </a:lnTo>
                  <a:lnTo>
                    <a:pt x="22" y="12"/>
                  </a:lnTo>
                  <a:lnTo>
                    <a:pt x="28" y="10"/>
                  </a:lnTo>
                  <a:lnTo>
                    <a:pt x="32" y="10"/>
                  </a:lnTo>
                  <a:lnTo>
                    <a:pt x="36" y="10"/>
                  </a:lnTo>
                  <a:lnTo>
                    <a:pt x="42" y="8"/>
                  </a:lnTo>
                  <a:lnTo>
                    <a:pt x="46" y="8"/>
                  </a:lnTo>
                  <a:lnTo>
                    <a:pt x="48" y="8"/>
                  </a:lnTo>
                  <a:lnTo>
                    <a:pt x="52" y="6"/>
                  </a:lnTo>
                  <a:lnTo>
                    <a:pt x="54" y="4"/>
                  </a:lnTo>
                  <a:lnTo>
                    <a:pt x="54" y="2"/>
                  </a:lnTo>
                  <a:lnTo>
                    <a:pt x="56" y="2"/>
                  </a:lnTo>
                  <a:lnTo>
                    <a:pt x="60" y="0"/>
                  </a:lnTo>
                  <a:lnTo>
                    <a:pt x="62" y="2"/>
                  </a:lnTo>
                  <a:lnTo>
                    <a:pt x="64" y="2"/>
                  </a:lnTo>
                  <a:lnTo>
                    <a:pt x="66" y="0"/>
                  </a:lnTo>
                  <a:lnTo>
                    <a:pt x="70" y="0"/>
                  </a:lnTo>
                  <a:lnTo>
                    <a:pt x="78" y="0"/>
                  </a:lnTo>
                  <a:lnTo>
                    <a:pt x="80" y="0"/>
                  </a:lnTo>
                  <a:lnTo>
                    <a:pt x="84" y="0"/>
                  </a:lnTo>
                  <a:lnTo>
                    <a:pt x="86" y="0"/>
                  </a:lnTo>
                  <a:lnTo>
                    <a:pt x="96" y="0"/>
                  </a:lnTo>
                  <a:lnTo>
                    <a:pt x="106" y="0"/>
                  </a:lnTo>
                  <a:lnTo>
                    <a:pt x="108" y="0"/>
                  </a:lnTo>
                  <a:lnTo>
                    <a:pt x="112" y="0"/>
                  </a:lnTo>
                  <a:lnTo>
                    <a:pt x="120" y="2"/>
                  </a:lnTo>
                  <a:lnTo>
                    <a:pt x="126" y="2"/>
                  </a:lnTo>
                  <a:lnTo>
                    <a:pt x="140" y="2"/>
                  </a:lnTo>
                  <a:lnTo>
                    <a:pt x="144" y="2"/>
                  </a:lnTo>
                  <a:lnTo>
                    <a:pt x="148" y="0"/>
                  </a:lnTo>
                  <a:lnTo>
                    <a:pt x="152" y="0"/>
                  </a:lnTo>
                  <a:lnTo>
                    <a:pt x="164" y="0"/>
                  </a:lnTo>
                  <a:lnTo>
                    <a:pt x="194" y="0"/>
                  </a:lnTo>
                  <a:lnTo>
                    <a:pt x="202" y="0"/>
                  </a:lnTo>
                  <a:lnTo>
                    <a:pt x="206" y="0"/>
                  </a:lnTo>
                  <a:lnTo>
                    <a:pt x="216" y="0"/>
                  </a:lnTo>
                  <a:lnTo>
                    <a:pt x="218" y="0"/>
                  </a:lnTo>
                  <a:lnTo>
                    <a:pt x="222" y="0"/>
                  </a:lnTo>
                  <a:lnTo>
                    <a:pt x="226" y="0"/>
                  </a:lnTo>
                  <a:lnTo>
                    <a:pt x="230" y="0"/>
                  </a:lnTo>
                  <a:lnTo>
                    <a:pt x="238" y="0"/>
                  </a:lnTo>
                  <a:lnTo>
                    <a:pt x="240" y="2"/>
                  </a:lnTo>
                  <a:lnTo>
                    <a:pt x="242" y="4"/>
                  </a:lnTo>
                  <a:lnTo>
                    <a:pt x="242" y="6"/>
                  </a:lnTo>
                  <a:lnTo>
                    <a:pt x="242" y="10"/>
                  </a:lnTo>
                  <a:lnTo>
                    <a:pt x="246" y="14"/>
                  </a:lnTo>
                  <a:lnTo>
                    <a:pt x="248" y="16"/>
                  </a:lnTo>
                  <a:lnTo>
                    <a:pt x="248" y="18"/>
                  </a:lnTo>
                  <a:lnTo>
                    <a:pt x="246" y="26"/>
                  </a:lnTo>
                  <a:lnTo>
                    <a:pt x="246" y="28"/>
                  </a:lnTo>
                  <a:lnTo>
                    <a:pt x="248" y="32"/>
                  </a:lnTo>
                  <a:lnTo>
                    <a:pt x="250" y="44"/>
                  </a:lnTo>
                  <a:lnTo>
                    <a:pt x="254" y="48"/>
                  </a:lnTo>
                  <a:lnTo>
                    <a:pt x="256" y="52"/>
                  </a:lnTo>
                  <a:lnTo>
                    <a:pt x="258" y="52"/>
                  </a:lnTo>
                  <a:lnTo>
                    <a:pt x="260" y="54"/>
                  </a:lnTo>
                  <a:lnTo>
                    <a:pt x="260" y="60"/>
                  </a:lnTo>
                  <a:lnTo>
                    <a:pt x="260" y="62"/>
                  </a:lnTo>
                  <a:lnTo>
                    <a:pt x="260" y="66"/>
                  </a:lnTo>
                  <a:lnTo>
                    <a:pt x="260" y="68"/>
                  </a:lnTo>
                  <a:lnTo>
                    <a:pt x="262" y="74"/>
                  </a:lnTo>
                  <a:lnTo>
                    <a:pt x="266" y="76"/>
                  </a:lnTo>
                  <a:lnTo>
                    <a:pt x="268" y="78"/>
                  </a:lnTo>
                  <a:lnTo>
                    <a:pt x="268" y="80"/>
                  </a:lnTo>
                  <a:lnTo>
                    <a:pt x="270" y="82"/>
                  </a:lnTo>
                  <a:lnTo>
                    <a:pt x="272" y="86"/>
                  </a:lnTo>
                  <a:lnTo>
                    <a:pt x="276" y="94"/>
                  </a:lnTo>
                  <a:lnTo>
                    <a:pt x="278" y="98"/>
                  </a:lnTo>
                  <a:lnTo>
                    <a:pt x="282" y="102"/>
                  </a:lnTo>
                  <a:lnTo>
                    <a:pt x="284" y="102"/>
                  </a:lnTo>
                  <a:lnTo>
                    <a:pt x="284" y="104"/>
                  </a:lnTo>
                  <a:lnTo>
                    <a:pt x="288" y="110"/>
                  </a:lnTo>
                  <a:lnTo>
                    <a:pt x="290" y="112"/>
                  </a:lnTo>
                  <a:lnTo>
                    <a:pt x="290" y="114"/>
                  </a:lnTo>
                  <a:lnTo>
                    <a:pt x="292" y="114"/>
                  </a:lnTo>
                  <a:lnTo>
                    <a:pt x="294" y="116"/>
                  </a:lnTo>
                  <a:lnTo>
                    <a:pt x="296" y="114"/>
                  </a:lnTo>
                  <a:lnTo>
                    <a:pt x="302" y="114"/>
                  </a:lnTo>
                  <a:lnTo>
                    <a:pt x="308" y="112"/>
                  </a:lnTo>
                  <a:lnTo>
                    <a:pt x="310" y="112"/>
                  </a:lnTo>
                  <a:lnTo>
                    <a:pt x="312" y="114"/>
                  </a:lnTo>
                  <a:lnTo>
                    <a:pt x="314" y="116"/>
                  </a:lnTo>
                  <a:lnTo>
                    <a:pt x="316" y="116"/>
                  </a:lnTo>
                  <a:lnTo>
                    <a:pt x="320" y="116"/>
                  </a:lnTo>
                  <a:lnTo>
                    <a:pt x="320" y="114"/>
                  </a:lnTo>
                  <a:lnTo>
                    <a:pt x="320" y="112"/>
                  </a:lnTo>
                  <a:lnTo>
                    <a:pt x="324" y="110"/>
                  </a:lnTo>
                  <a:lnTo>
                    <a:pt x="330" y="110"/>
                  </a:lnTo>
                  <a:lnTo>
                    <a:pt x="334" y="110"/>
                  </a:lnTo>
                  <a:lnTo>
                    <a:pt x="340" y="110"/>
                  </a:lnTo>
                  <a:lnTo>
                    <a:pt x="340" y="108"/>
                  </a:lnTo>
                  <a:lnTo>
                    <a:pt x="352" y="108"/>
                  </a:lnTo>
                  <a:lnTo>
                    <a:pt x="354" y="108"/>
                  </a:lnTo>
                  <a:lnTo>
                    <a:pt x="354" y="110"/>
                  </a:lnTo>
                  <a:lnTo>
                    <a:pt x="364" y="110"/>
                  </a:lnTo>
                  <a:lnTo>
                    <a:pt x="384" y="110"/>
                  </a:lnTo>
                  <a:lnTo>
                    <a:pt x="382" y="108"/>
                  </a:lnTo>
                  <a:lnTo>
                    <a:pt x="382" y="106"/>
                  </a:lnTo>
                  <a:lnTo>
                    <a:pt x="382" y="104"/>
                  </a:lnTo>
                  <a:lnTo>
                    <a:pt x="382" y="100"/>
                  </a:lnTo>
                  <a:lnTo>
                    <a:pt x="384" y="100"/>
                  </a:lnTo>
                  <a:lnTo>
                    <a:pt x="384" y="98"/>
                  </a:lnTo>
                  <a:lnTo>
                    <a:pt x="386" y="94"/>
                  </a:lnTo>
                  <a:lnTo>
                    <a:pt x="384" y="90"/>
                  </a:lnTo>
                  <a:lnTo>
                    <a:pt x="384" y="88"/>
                  </a:lnTo>
                  <a:lnTo>
                    <a:pt x="388" y="88"/>
                  </a:lnTo>
                  <a:lnTo>
                    <a:pt x="392" y="84"/>
                  </a:lnTo>
                  <a:lnTo>
                    <a:pt x="392" y="82"/>
                  </a:lnTo>
                  <a:lnTo>
                    <a:pt x="390" y="78"/>
                  </a:lnTo>
                  <a:lnTo>
                    <a:pt x="390" y="76"/>
                  </a:lnTo>
                  <a:lnTo>
                    <a:pt x="390" y="74"/>
                  </a:lnTo>
                  <a:lnTo>
                    <a:pt x="390" y="68"/>
                  </a:lnTo>
                  <a:lnTo>
                    <a:pt x="390" y="66"/>
                  </a:lnTo>
                  <a:lnTo>
                    <a:pt x="392" y="58"/>
                  </a:lnTo>
                  <a:lnTo>
                    <a:pt x="414" y="58"/>
                  </a:lnTo>
                  <a:lnTo>
                    <a:pt x="432" y="58"/>
                  </a:lnTo>
                  <a:lnTo>
                    <a:pt x="432" y="56"/>
                  </a:lnTo>
                  <a:lnTo>
                    <a:pt x="434" y="54"/>
                  </a:lnTo>
                  <a:lnTo>
                    <a:pt x="448" y="54"/>
                  </a:lnTo>
                  <a:lnTo>
                    <a:pt x="446" y="58"/>
                  </a:lnTo>
                  <a:lnTo>
                    <a:pt x="446" y="60"/>
                  </a:lnTo>
                  <a:lnTo>
                    <a:pt x="444" y="66"/>
                  </a:lnTo>
                  <a:lnTo>
                    <a:pt x="444" y="68"/>
                  </a:lnTo>
                  <a:lnTo>
                    <a:pt x="444" y="72"/>
                  </a:lnTo>
                  <a:lnTo>
                    <a:pt x="444" y="74"/>
                  </a:lnTo>
                  <a:lnTo>
                    <a:pt x="478" y="74"/>
                  </a:lnTo>
                  <a:lnTo>
                    <a:pt x="498" y="74"/>
                  </a:lnTo>
                  <a:lnTo>
                    <a:pt x="506" y="74"/>
                  </a:lnTo>
                  <a:lnTo>
                    <a:pt x="508" y="76"/>
                  </a:lnTo>
                  <a:lnTo>
                    <a:pt x="510" y="78"/>
                  </a:lnTo>
                  <a:lnTo>
                    <a:pt x="510" y="84"/>
                  </a:lnTo>
                  <a:lnTo>
                    <a:pt x="510" y="88"/>
                  </a:lnTo>
                  <a:lnTo>
                    <a:pt x="510" y="92"/>
                  </a:lnTo>
                  <a:lnTo>
                    <a:pt x="508" y="92"/>
                  </a:lnTo>
                  <a:lnTo>
                    <a:pt x="506" y="98"/>
                  </a:lnTo>
                  <a:lnTo>
                    <a:pt x="506" y="102"/>
                  </a:lnTo>
                  <a:lnTo>
                    <a:pt x="506" y="108"/>
                  </a:lnTo>
                  <a:lnTo>
                    <a:pt x="506" y="110"/>
                  </a:lnTo>
                  <a:lnTo>
                    <a:pt x="506" y="112"/>
                  </a:lnTo>
                  <a:lnTo>
                    <a:pt x="508" y="112"/>
                  </a:lnTo>
                  <a:lnTo>
                    <a:pt x="510" y="118"/>
                  </a:lnTo>
                  <a:lnTo>
                    <a:pt x="510" y="120"/>
                  </a:lnTo>
                  <a:lnTo>
                    <a:pt x="512" y="124"/>
                  </a:lnTo>
                  <a:lnTo>
                    <a:pt x="512" y="128"/>
                  </a:lnTo>
                  <a:lnTo>
                    <a:pt x="514" y="130"/>
                  </a:lnTo>
                  <a:lnTo>
                    <a:pt x="514" y="132"/>
                  </a:lnTo>
                  <a:lnTo>
                    <a:pt x="514" y="136"/>
                  </a:lnTo>
                  <a:lnTo>
                    <a:pt x="514" y="138"/>
                  </a:lnTo>
                  <a:lnTo>
                    <a:pt x="514" y="140"/>
                  </a:lnTo>
                  <a:lnTo>
                    <a:pt x="512" y="148"/>
                  </a:lnTo>
                  <a:lnTo>
                    <a:pt x="512" y="152"/>
                  </a:lnTo>
                  <a:lnTo>
                    <a:pt x="510" y="158"/>
                  </a:lnTo>
                  <a:lnTo>
                    <a:pt x="510" y="164"/>
                  </a:lnTo>
                  <a:lnTo>
                    <a:pt x="510" y="170"/>
                  </a:lnTo>
                  <a:lnTo>
                    <a:pt x="510" y="176"/>
                  </a:lnTo>
                  <a:lnTo>
                    <a:pt x="508" y="178"/>
                  </a:lnTo>
                  <a:lnTo>
                    <a:pt x="508" y="182"/>
                  </a:lnTo>
                  <a:lnTo>
                    <a:pt x="510" y="194"/>
                  </a:lnTo>
                  <a:lnTo>
                    <a:pt x="510" y="196"/>
                  </a:lnTo>
                  <a:lnTo>
                    <a:pt x="520" y="206"/>
                  </a:lnTo>
                  <a:lnTo>
                    <a:pt x="524" y="208"/>
                  </a:lnTo>
                  <a:lnTo>
                    <a:pt x="526" y="208"/>
                  </a:lnTo>
                  <a:lnTo>
                    <a:pt x="526" y="210"/>
                  </a:lnTo>
                  <a:lnTo>
                    <a:pt x="528" y="218"/>
                  </a:lnTo>
                  <a:lnTo>
                    <a:pt x="528" y="220"/>
                  </a:lnTo>
                  <a:lnTo>
                    <a:pt x="530" y="222"/>
                  </a:lnTo>
                  <a:lnTo>
                    <a:pt x="532" y="228"/>
                  </a:lnTo>
                  <a:lnTo>
                    <a:pt x="534" y="232"/>
                  </a:lnTo>
                  <a:lnTo>
                    <a:pt x="532" y="234"/>
                  </a:lnTo>
                  <a:lnTo>
                    <a:pt x="532" y="240"/>
                  </a:lnTo>
                  <a:lnTo>
                    <a:pt x="532" y="242"/>
                  </a:lnTo>
                  <a:lnTo>
                    <a:pt x="532" y="244"/>
                  </a:lnTo>
                  <a:lnTo>
                    <a:pt x="532" y="248"/>
                  </a:lnTo>
                  <a:lnTo>
                    <a:pt x="534" y="250"/>
                  </a:lnTo>
                  <a:lnTo>
                    <a:pt x="530" y="252"/>
                  </a:lnTo>
                  <a:lnTo>
                    <a:pt x="528" y="254"/>
                  </a:lnTo>
                  <a:lnTo>
                    <a:pt x="526" y="256"/>
                  </a:lnTo>
                  <a:lnTo>
                    <a:pt x="528" y="262"/>
                  </a:lnTo>
                  <a:lnTo>
                    <a:pt x="528" y="264"/>
                  </a:lnTo>
                  <a:lnTo>
                    <a:pt x="530" y="268"/>
                  </a:lnTo>
                  <a:lnTo>
                    <a:pt x="530" y="272"/>
                  </a:lnTo>
                  <a:lnTo>
                    <a:pt x="530" y="274"/>
                  </a:lnTo>
                  <a:lnTo>
                    <a:pt x="532" y="276"/>
                  </a:lnTo>
                  <a:lnTo>
                    <a:pt x="542" y="270"/>
                  </a:lnTo>
                  <a:lnTo>
                    <a:pt x="542" y="268"/>
                  </a:lnTo>
                  <a:lnTo>
                    <a:pt x="544" y="266"/>
                  </a:lnTo>
                  <a:lnTo>
                    <a:pt x="546" y="266"/>
                  </a:lnTo>
                  <a:lnTo>
                    <a:pt x="548" y="266"/>
                  </a:lnTo>
                  <a:lnTo>
                    <a:pt x="550" y="266"/>
                  </a:lnTo>
                  <a:lnTo>
                    <a:pt x="550" y="268"/>
                  </a:lnTo>
                  <a:lnTo>
                    <a:pt x="552" y="268"/>
                  </a:lnTo>
                  <a:lnTo>
                    <a:pt x="554" y="268"/>
                  </a:lnTo>
                  <a:lnTo>
                    <a:pt x="556" y="268"/>
                  </a:lnTo>
                  <a:lnTo>
                    <a:pt x="558" y="268"/>
                  </a:lnTo>
                  <a:lnTo>
                    <a:pt x="560" y="266"/>
                  </a:lnTo>
                  <a:lnTo>
                    <a:pt x="562" y="266"/>
                  </a:lnTo>
                  <a:lnTo>
                    <a:pt x="564" y="268"/>
                  </a:lnTo>
                  <a:lnTo>
                    <a:pt x="570" y="268"/>
                  </a:lnTo>
                  <a:lnTo>
                    <a:pt x="574" y="268"/>
                  </a:lnTo>
                  <a:lnTo>
                    <a:pt x="580" y="268"/>
                  </a:lnTo>
                  <a:lnTo>
                    <a:pt x="580" y="266"/>
                  </a:lnTo>
                  <a:lnTo>
                    <a:pt x="584" y="264"/>
                  </a:lnTo>
                  <a:lnTo>
                    <a:pt x="586" y="262"/>
                  </a:lnTo>
                  <a:lnTo>
                    <a:pt x="588" y="262"/>
                  </a:lnTo>
                  <a:lnTo>
                    <a:pt x="590" y="262"/>
                  </a:lnTo>
                  <a:lnTo>
                    <a:pt x="592" y="262"/>
                  </a:lnTo>
                  <a:lnTo>
                    <a:pt x="594" y="262"/>
                  </a:lnTo>
                  <a:lnTo>
                    <a:pt x="596" y="262"/>
                  </a:lnTo>
                  <a:lnTo>
                    <a:pt x="598" y="262"/>
                  </a:lnTo>
                  <a:lnTo>
                    <a:pt x="600" y="262"/>
                  </a:lnTo>
                  <a:lnTo>
                    <a:pt x="602" y="264"/>
                  </a:lnTo>
                  <a:lnTo>
                    <a:pt x="612" y="264"/>
                  </a:lnTo>
                  <a:lnTo>
                    <a:pt x="614" y="264"/>
                  </a:lnTo>
                  <a:lnTo>
                    <a:pt x="618" y="260"/>
                  </a:lnTo>
                  <a:lnTo>
                    <a:pt x="618" y="258"/>
                  </a:lnTo>
                  <a:lnTo>
                    <a:pt x="618" y="260"/>
                  </a:lnTo>
                  <a:lnTo>
                    <a:pt x="620" y="270"/>
                  </a:lnTo>
                  <a:lnTo>
                    <a:pt x="620" y="276"/>
                  </a:lnTo>
                  <a:lnTo>
                    <a:pt x="624" y="284"/>
                  </a:lnTo>
                  <a:lnTo>
                    <a:pt x="622" y="286"/>
                  </a:lnTo>
                  <a:lnTo>
                    <a:pt x="620" y="286"/>
                  </a:lnTo>
                  <a:lnTo>
                    <a:pt x="618" y="298"/>
                  </a:lnTo>
                  <a:lnTo>
                    <a:pt x="618" y="300"/>
                  </a:lnTo>
                  <a:lnTo>
                    <a:pt x="620" y="306"/>
                  </a:lnTo>
                  <a:lnTo>
                    <a:pt x="618" y="308"/>
                  </a:lnTo>
                  <a:lnTo>
                    <a:pt x="618" y="326"/>
                  </a:lnTo>
                  <a:lnTo>
                    <a:pt x="620" y="328"/>
                  </a:lnTo>
                  <a:lnTo>
                    <a:pt x="620" y="330"/>
                  </a:lnTo>
                  <a:lnTo>
                    <a:pt x="620" y="336"/>
                  </a:lnTo>
                  <a:lnTo>
                    <a:pt x="618" y="340"/>
                  </a:lnTo>
                  <a:lnTo>
                    <a:pt x="612" y="354"/>
                  </a:lnTo>
                  <a:lnTo>
                    <a:pt x="612" y="358"/>
                  </a:lnTo>
                  <a:lnTo>
                    <a:pt x="614" y="358"/>
                  </a:lnTo>
                  <a:lnTo>
                    <a:pt x="616" y="360"/>
                  </a:lnTo>
                  <a:lnTo>
                    <a:pt x="618" y="362"/>
                  </a:lnTo>
                  <a:lnTo>
                    <a:pt x="618" y="364"/>
                  </a:lnTo>
                  <a:lnTo>
                    <a:pt x="618" y="366"/>
                  </a:lnTo>
                  <a:lnTo>
                    <a:pt x="612" y="366"/>
                  </a:lnTo>
                  <a:lnTo>
                    <a:pt x="596" y="366"/>
                  </a:lnTo>
                  <a:lnTo>
                    <a:pt x="588" y="366"/>
                  </a:lnTo>
                  <a:lnTo>
                    <a:pt x="582" y="366"/>
                  </a:lnTo>
                  <a:lnTo>
                    <a:pt x="568" y="366"/>
                  </a:lnTo>
                  <a:lnTo>
                    <a:pt x="542" y="366"/>
                  </a:lnTo>
                  <a:lnTo>
                    <a:pt x="518" y="366"/>
                  </a:lnTo>
                  <a:lnTo>
                    <a:pt x="516" y="382"/>
                  </a:lnTo>
                  <a:lnTo>
                    <a:pt x="516" y="390"/>
                  </a:lnTo>
                  <a:lnTo>
                    <a:pt x="516" y="40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4" name="Freeform 1446"/>
            <p:cNvSpPr>
              <a:spLocks/>
            </p:cNvSpPr>
            <p:nvPr/>
          </p:nvSpPr>
          <p:spPr bwMode="auto">
            <a:xfrm>
              <a:off x="6391212" y="4655899"/>
              <a:ext cx="673090" cy="1055926"/>
            </a:xfrm>
            <a:custGeom>
              <a:avLst/>
              <a:gdLst/>
              <a:ahLst/>
              <a:cxnLst>
                <a:cxn ang="0">
                  <a:pos x="134" y="326"/>
                </a:cxn>
                <a:cxn ang="0">
                  <a:pos x="102" y="306"/>
                </a:cxn>
                <a:cxn ang="0">
                  <a:pos x="60" y="292"/>
                </a:cxn>
                <a:cxn ang="0">
                  <a:pos x="6" y="248"/>
                </a:cxn>
                <a:cxn ang="0">
                  <a:pos x="46" y="218"/>
                </a:cxn>
                <a:cxn ang="0">
                  <a:pos x="90" y="202"/>
                </a:cxn>
                <a:cxn ang="0">
                  <a:pos x="178" y="208"/>
                </a:cxn>
                <a:cxn ang="0">
                  <a:pos x="220" y="220"/>
                </a:cxn>
                <a:cxn ang="0">
                  <a:pos x="212" y="264"/>
                </a:cxn>
                <a:cxn ang="0">
                  <a:pos x="210" y="292"/>
                </a:cxn>
                <a:cxn ang="0">
                  <a:pos x="240" y="328"/>
                </a:cxn>
                <a:cxn ang="0">
                  <a:pos x="252" y="338"/>
                </a:cxn>
                <a:cxn ang="0">
                  <a:pos x="252" y="306"/>
                </a:cxn>
                <a:cxn ang="0">
                  <a:pos x="286" y="258"/>
                </a:cxn>
                <a:cxn ang="0">
                  <a:pos x="270" y="194"/>
                </a:cxn>
                <a:cxn ang="0">
                  <a:pos x="222" y="144"/>
                </a:cxn>
                <a:cxn ang="0">
                  <a:pos x="218" y="100"/>
                </a:cxn>
                <a:cxn ang="0">
                  <a:pos x="230" y="62"/>
                </a:cxn>
                <a:cxn ang="0">
                  <a:pos x="286" y="52"/>
                </a:cxn>
                <a:cxn ang="0">
                  <a:pos x="332" y="64"/>
                </a:cxn>
                <a:cxn ang="0">
                  <a:pos x="384" y="58"/>
                </a:cxn>
                <a:cxn ang="0">
                  <a:pos x="420" y="46"/>
                </a:cxn>
                <a:cxn ang="0">
                  <a:pos x="466" y="36"/>
                </a:cxn>
                <a:cxn ang="0">
                  <a:pos x="500" y="18"/>
                </a:cxn>
                <a:cxn ang="0">
                  <a:pos x="532" y="16"/>
                </a:cxn>
                <a:cxn ang="0">
                  <a:pos x="526" y="38"/>
                </a:cxn>
                <a:cxn ang="0">
                  <a:pos x="526" y="106"/>
                </a:cxn>
                <a:cxn ang="0">
                  <a:pos x="524" y="130"/>
                </a:cxn>
                <a:cxn ang="0">
                  <a:pos x="528" y="180"/>
                </a:cxn>
                <a:cxn ang="0">
                  <a:pos x="532" y="202"/>
                </a:cxn>
                <a:cxn ang="0">
                  <a:pos x="536" y="226"/>
                </a:cxn>
                <a:cxn ang="0">
                  <a:pos x="528" y="250"/>
                </a:cxn>
                <a:cxn ang="0">
                  <a:pos x="498" y="288"/>
                </a:cxn>
                <a:cxn ang="0">
                  <a:pos x="462" y="324"/>
                </a:cxn>
                <a:cxn ang="0">
                  <a:pos x="404" y="350"/>
                </a:cxn>
                <a:cxn ang="0">
                  <a:pos x="348" y="378"/>
                </a:cxn>
                <a:cxn ang="0">
                  <a:pos x="332" y="392"/>
                </a:cxn>
                <a:cxn ang="0">
                  <a:pos x="288" y="434"/>
                </a:cxn>
                <a:cxn ang="0">
                  <a:pos x="250" y="466"/>
                </a:cxn>
                <a:cxn ang="0">
                  <a:pos x="218" y="486"/>
                </a:cxn>
                <a:cxn ang="0">
                  <a:pos x="228" y="534"/>
                </a:cxn>
                <a:cxn ang="0">
                  <a:pos x="238" y="586"/>
                </a:cxn>
                <a:cxn ang="0">
                  <a:pos x="244" y="604"/>
                </a:cxn>
                <a:cxn ang="0">
                  <a:pos x="248" y="648"/>
                </a:cxn>
                <a:cxn ang="0">
                  <a:pos x="236" y="684"/>
                </a:cxn>
                <a:cxn ang="0">
                  <a:pos x="242" y="704"/>
                </a:cxn>
                <a:cxn ang="0">
                  <a:pos x="216" y="732"/>
                </a:cxn>
                <a:cxn ang="0">
                  <a:pos x="166" y="750"/>
                </a:cxn>
                <a:cxn ang="0">
                  <a:pos x="102" y="790"/>
                </a:cxn>
                <a:cxn ang="0">
                  <a:pos x="106" y="810"/>
                </a:cxn>
                <a:cxn ang="0">
                  <a:pos x="80" y="844"/>
                </a:cxn>
                <a:cxn ang="0">
                  <a:pos x="66" y="780"/>
                </a:cxn>
                <a:cxn ang="0">
                  <a:pos x="68" y="710"/>
                </a:cxn>
                <a:cxn ang="0">
                  <a:pos x="52" y="656"/>
                </a:cxn>
                <a:cxn ang="0">
                  <a:pos x="98" y="554"/>
                </a:cxn>
                <a:cxn ang="0">
                  <a:pos x="124" y="502"/>
                </a:cxn>
                <a:cxn ang="0">
                  <a:pos x="128" y="444"/>
                </a:cxn>
                <a:cxn ang="0">
                  <a:pos x="128" y="414"/>
                </a:cxn>
                <a:cxn ang="0">
                  <a:pos x="134" y="382"/>
                </a:cxn>
              </a:cxnLst>
              <a:rect l="0" t="0" r="r" b="b"/>
              <a:pathLst>
                <a:path w="538" h="844">
                  <a:moveTo>
                    <a:pt x="138" y="354"/>
                  </a:moveTo>
                  <a:lnTo>
                    <a:pt x="138" y="352"/>
                  </a:lnTo>
                  <a:lnTo>
                    <a:pt x="136" y="352"/>
                  </a:lnTo>
                  <a:lnTo>
                    <a:pt x="136" y="350"/>
                  </a:lnTo>
                  <a:lnTo>
                    <a:pt x="136" y="348"/>
                  </a:lnTo>
                  <a:lnTo>
                    <a:pt x="136" y="346"/>
                  </a:lnTo>
                  <a:lnTo>
                    <a:pt x="136" y="344"/>
                  </a:lnTo>
                  <a:lnTo>
                    <a:pt x="134" y="340"/>
                  </a:lnTo>
                  <a:lnTo>
                    <a:pt x="134" y="338"/>
                  </a:lnTo>
                  <a:lnTo>
                    <a:pt x="132" y="332"/>
                  </a:lnTo>
                  <a:lnTo>
                    <a:pt x="132" y="330"/>
                  </a:lnTo>
                  <a:lnTo>
                    <a:pt x="134" y="328"/>
                  </a:lnTo>
                  <a:lnTo>
                    <a:pt x="134" y="326"/>
                  </a:lnTo>
                  <a:lnTo>
                    <a:pt x="136" y="326"/>
                  </a:lnTo>
                  <a:lnTo>
                    <a:pt x="136" y="324"/>
                  </a:lnTo>
                  <a:lnTo>
                    <a:pt x="136" y="322"/>
                  </a:lnTo>
                  <a:lnTo>
                    <a:pt x="136" y="320"/>
                  </a:lnTo>
                  <a:lnTo>
                    <a:pt x="134" y="320"/>
                  </a:lnTo>
                  <a:lnTo>
                    <a:pt x="128" y="322"/>
                  </a:lnTo>
                  <a:lnTo>
                    <a:pt x="126" y="320"/>
                  </a:lnTo>
                  <a:lnTo>
                    <a:pt x="124" y="320"/>
                  </a:lnTo>
                  <a:lnTo>
                    <a:pt x="124" y="316"/>
                  </a:lnTo>
                  <a:lnTo>
                    <a:pt x="118" y="312"/>
                  </a:lnTo>
                  <a:lnTo>
                    <a:pt x="108" y="308"/>
                  </a:lnTo>
                  <a:lnTo>
                    <a:pt x="106" y="308"/>
                  </a:lnTo>
                  <a:lnTo>
                    <a:pt x="102" y="306"/>
                  </a:lnTo>
                  <a:lnTo>
                    <a:pt x="100" y="306"/>
                  </a:lnTo>
                  <a:lnTo>
                    <a:pt x="96" y="306"/>
                  </a:lnTo>
                  <a:lnTo>
                    <a:pt x="92" y="306"/>
                  </a:lnTo>
                  <a:lnTo>
                    <a:pt x="88" y="306"/>
                  </a:lnTo>
                  <a:lnTo>
                    <a:pt x="84" y="306"/>
                  </a:lnTo>
                  <a:lnTo>
                    <a:pt x="84" y="302"/>
                  </a:lnTo>
                  <a:lnTo>
                    <a:pt x="78" y="296"/>
                  </a:lnTo>
                  <a:lnTo>
                    <a:pt x="74" y="294"/>
                  </a:lnTo>
                  <a:lnTo>
                    <a:pt x="72" y="294"/>
                  </a:lnTo>
                  <a:lnTo>
                    <a:pt x="68" y="294"/>
                  </a:lnTo>
                  <a:lnTo>
                    <a:pt x="66" y="294"/>
                  </a:lnTo>
                  <a:lnTo>
                    <a:pt x="64" y="294"/>
                  </a:lnTo>
                  <a:lnTo>
                    <a:pt x="60" y="292"/>
                  </a:lnTo>
                  <a:lnTo>
                    <a:pt x="58" y="292"/>
                  </a:lnTo>
                  <a:lnTo>
                    <a:pt x="56" y="288"/>
                  </a:lnTo>
                  <a:lnTo>
                    <a:pt x="54" y="284"/>
                  </a:lnTo>
                  <a:lnTo>
                    <a:pt x="52" y="284"/>
                  </a:lnTo>
                  <a:lnTo>
                    <a:pt x="46" y="284"/>
                  </a:lnTo>
                  <a:lnTo>
                    <a:pt x="42" y="284"/>
                  </a:lnTo>
                  <a:lnTo>
                    <a:pt x="30" y="284"/>
                  </a:lnTo>
                  <a:lnTo>
                    <a:pt x="10" y="284"/>
                  </a:lnTo>
                  <a:lnTo>
                    <a:pt x="10" y="264"/>
                  </a:lnTo>
                  <a:lnTo>
                    <a:pt x="10" y="262"/>
                  </a:lnTo>
                  <a:lnTo>
                    <a:pt x="8" y="256"/>
                  </a:lnTo>
                  <a:lnTo>
                    <a:pt x="8" y="250"/>
                  </a:lnTo>
                  <a:lnTo>
                    <a:pt x="6" y="248"/>
                  </a:lnTo>
                  <a:lnTo>
                    <a:pt x="4" y="246"/>
                  </a:lnTo>
                  <a:lnTo>
                    <a:pt x="4" y="244"/>
                  </a:lnTo>
                  <a:lnTo>
                    <a:pt x="2" y="242"/>
                  </a:lnTo>
                  <a:lnTo>
                    <a:pt x="2" y="240"/>
                  </a:lnTo>
                  <a:lnTo>
                    <a:pt x="2" y="236"/>
                  </a:lnTo>
                  <a:lnTo>
                    <a:pt x="0" y="230"/>
                  </a:lnTo>
                  <a:lnTo>
                    <a:pt x="8" y="230"/>
                  </a:lnTo>
                  <a:lnTo>
                    <a:pt x="16" y="226"/>
                  </a:lnTo>
                  <a:lnTo>
                    <a:pt x="20" y="224"/>
                  </a:lnTo>
                  <a:lnTo>
                    <a:pt x="32" y="220"/>
                  </a:lnTo>
                  <a:lnTo>
                    <a:pt x="36" y="218"/>
                  </a:lnTo>
                  <a:lnTo>
                    <a:pt x="44" y="218"/>
                  </a:lnTo>
                  <a:lnTo>
                    <a:pt x="46" y="218"/>
                  </a:lnTo>
                  <a:lnTo>
                    <a:pt x="48" y="218"/>
                  </a:lnTo>
                  <a:lnTo>
                    <a:pt x="56" y="214"/>
                  </a:lnTo>
                  <a:lnTo>
                    <a:pt x="64" y="212"/>
                  </a:lnTo>
                  <a:lnTo>
                    <a:pt x="66" y="212"/>
                  </a:lnTo>
                  <a:lnTo>
                    <a:pt x="68" y="210"/>
                  </a:lnTo>
                  <a:lnTo>
                    <a:pt x="76" y="206"/>
                  </a:lnTo>
                  <a:lnTo>
                    <a:pt x="78" y="206"/>
                  </a:lnTo>
                  <a:lnTo>
                    <a:pt x="80" y="206"/>
                  </a:lnTo>
                  <a:lnTo>
                    <a:pt x="82" y="206"/>
                  </a:lnTo>
                  <a:lnTo>
                    <a:pt x="84" y="206"/>
                  </a:lnTo>
                  <a:lnTo>
                    <a:pt x="84" y="204"/>
                  </a:lnTo>
                  <a:lnTo>
                    <a:pt x="86" y="204"/>
                  </a:lnTo>
                  <a:lnTo>
                    <a:pt x="90" y="202"/>
                  </a:lnTo>
                  <a:lnTo>
                    <a:pt x="96" y="200"/>
                  </a:lnTo>
                  <a:lnTo>
                    <a:pt x="104" y="198"/>
                  </a:lnTo>
                  <a:lnTo>
                    <a:pt x="110" y="198"/>
                  </a:lnTo>
                  <a:lnTo>
                    <a:pt x="112" y="198"/>
                  </a:lnTo>
                  <a:lnTo>
                    <a:pt x="142" y="186"/>
                  </a:lnTo>
                  <a:lnTo>
                    <a:pt x="154" y="182"/>
                  </a:lnTo>
                  <a:lnTo>
                    <a:pt x="156" y="184"/>
                  </a:lnTo>
                  <a:lnTo>
                    <a:pt x="158" y="188"/>
                  </a:lnTo>
                  <a:lnTo>
                    <a:pt x="160" y="192"/>
                  </a:lnTo>
                  <a:lnTo>
                    <a:pt x="164" y="198"/>
                  </a:lnTo>
                  <a:lnTo>
                    <a:pt x="168" y="204"/>
                  </a:lnTo>
                  <a:lnTo>
                    <a:pt x="174" y="208"/>
                  </a:lnTo>
                  <a:lnTo>
                    <a:pt x="178" y="208"/>
                  </a:lnTo>
                  <a:lnTo>
                    <a:pt x="182" y="208"/>
                  </a:lnTo>
                  <a:lnTo>
                    <a:pt x="188" y="206"/>
                  </a:lnTo>
                  <a:lnTo>
                    <a:pt x="200" y="204"/>
                  </a:lnTo>
                  <a:lnTo>
                    <a:pt x="210" y="202"/>
                  </a:lnTo>
                  <a:lnTo>
                    <a:pt x="212" y="202"/>
                  </a:lnTo>
                  <a:lnTo>
                    <a:pt x="214" y="204"/>
                  </a:lnTo>
                  <a:lnTo>
                    <a:pt x="214" y="206"/>
                  </a:lnTo>
                  <a:lnTo>
                    <a:pt x="216" y="208"/>
                  </a:lnTo>
                  <a:lnTo>
                    <a:pt x="218" y="210"/>
                  </a:lnTo>
                  <a:lnTo>
                    <a:pt x="220" y="210"/>
                  </a:lnTo>
                  <a:lnTo>
                    <a:pt x="220" y="212"/>
                  </a:lnTo>
                  <a:lnTo>
                    <a:pt x="220" y="214"/>
                  </a:lnTo>
                  <a:lnTo>
                    <a:pt x="220" y="220"/>
                  </a:lnTo>
                  <a:lnTo>
                    <a:pt x="222" y="230"/>
                  </a:lnTo>
                  <a:lnTo>
                    <a:pt x="220" y="236"/>
                  </a:lnTo>
                  <a:lnTo>
                    <a:pt x="220" y="240"/>
                  </a:lnTo>
                  <a:lnTo>
                    <a:pt x="220" y="244"/>
                  </a:lnTo>
                  <a:lnTo>
                    <a:pt x="222" y="244"/>
                  </a:lnTo>
                  <a:lnTo>
                    <a:pt x="222" y="246"/>
                  </a:lnTo>
                  <a:lnTo>
                    <a:pt x="222" y="248"/>
                  </a:lnTo>
                  <a:lnTo>
                    <a:pt x="220" y="250"/>
                  </a:lnTo>
                  <a:lnTo>
                    <a:pt x="218" y="252"/>
                  </a:lnTo>
                  <a:lnTo>
                    <a:pt x="212" y="258"/>
                  </a:lnTo>
                  <a:lnTo>
                    <a:pt x="212" y="260"/>
                  </a:lnTo>
                  <a:lnTo>
                    <a:pt x="212" y="262"/>
                  </a:lnTo>
                  <a:lnTo>
                    <a:pt x="212" y="264"/>
                  </a:lnTo>
                  <a:lnTo>
                    <a:pt x="212" y="266"/>
                  </a:lnTo>
                  <a:lnTo>
                    <a:pt x="210" y="270"/>
                  </a:lnTo>
                  <a:lnTo>
                    <a:pt x="208" y="272"/>
                  </a:lnTo>
                  <a:lnTo>
                    <a:pt x="206" y="272"/>
                  </a:lnTo>
                  <a:lnTo>
                    <a:pt x="204" y="274"/>
                  </a:lnTo>
                  <a:lnTo>
                    <a:pt x="202" y="276"/>
                  </a:lnTo>
                  <a:lnTo>
                    <a:pt x="202" y="278"/>
                  </a:lnTo>
                  <a:lnTo>
                    <a:pt x="202" y="280"/>
                  </a:lnTo>
                  <a:lnTo>
                    <a:pt x="204" y="282"/>
                  </a:lnTo>
                  <a:lnTo>
                    <a:pt x="206" y="282"/>
                  </a:lnTo>
                  <a:lnTo>
                    <a:pt x="210" y="288"/>
                  </a:lnTo>
                  <a:lnTo>
                    <a:pt x="210" y="290"/>
                  </a:lnTo>
                  <a:lnTo>
                    <a:pt x="210" y="292"/>
                  </a:lnTo>
                  <a:lnTo>
                    <a:pt x="210" y="296"/>
                  </a:lnTo>
                  <a:lnTo>
                    <a:pt x="210" y="298"/>
                  </a:lnTo>
                  <a:lnTo>
                    <a:pt x="212" y="300"/>
                  </a:lnTo>
                  <a:lnTo>
                    <a:pt x="214" y="300"/>
                  </a:lnTo>
                  <a:lnTo>
                    <a:pt x="216" y="300"/>
                  </a:lnTo>
                  <a:lnTo>
                    <a:pt x="218" y="302"/>
                  </a:lnTo>
                  <a:lnTo>
                    <a:pt x="220" y="304"/>
                  </a:lnTo>
                  <a:lnTo>
                    <a:pt x="222" y="308"/>
                  </a:lnTo>
                  <a:lnTo>
                    <a:pt x="224" y="312"/>
                  </a:lnTo>
                  <a:lnTo>
                    <a:pt x="228" y="314"/>
                  </a:lnTo>
                  <a:lnTo>
                    <a:pt x="232" y="316"/>
                  </a:lnTo>
                  <a:lnTo>
                    <a:pt x="238" y="326"/>
                  </a:lnTo>
                  <a:lnTo>
                    <a:pt x="240" y="328"/>
                  </a:lnTo>
                  <a:lnTo>
                    <a:pt x="242" y="328"/>
                  </a:lnTo>
                  <a:lnTo>
                    <a:pt x="244" y="328"/>
                  </a:lnTo>
                  <a:lnTo>
                    <a:pt x="246" y="328"/>
                  </a:lnTo>
                  <a:lnTo>
                    <a:pt x="244" y="334"/>
                  </a:lnTo>
                  <a:lnTo>
                    <a:pt x="244" y="336"/>
                  </a:lnTo>
                  <a:lnTo>
                    <a:pt x="242" y="338"/>
                  </a:lnTo>
                  <a:lnTo>
                    <a:pt x="240" y="338"/>
                  </a:lnTo>
                  <a:lnTo>
                    <a:pt x="242" y="344"/>
                  </a:lnTo>
                  <a:lnTo>
                    <a:pt x="244" y="344"/>
                  </a:lnTo>
                  <a:lnTo>
                    <a:pt x="252" y="344"/>
                  </a:lnTo>
                  <a:lnTo>
                    <a:pt x="254" y="342"/>
                  </a:lnTo>
                  <a:lnTo>
                    <a:pt x="254" y="340"/>
                  </a:lnTo>
                  <a:lnTo>
                    <a:pt x="252" y="338"/>
                  </a:lnTo>
                  <a:lnTo>
                    <a:pt x="252" y="336"/>
                  </a:lnTo>
                  <a:lnTo>
                    <a:pt x="252" y="330"/>
                  </a:lnTo>
                  <a:lnTo>
                    <a:pt x="254" y="328"/>
                  </a:lnTo>
                  <a:lnTo>
                    <a:pt x="252" y="322"/>
                  </a:lnTo>
                  <a:lnTo>
                    <a:pt x="252" y="320"/>
                  </a:lnTo>
                  <a:lnTo>
                    <a:pt x="250" y="318"/>
                  </a:lnTo>
                  <a:lnTo>
                    <a:pt x="248" y="318"/>
                  </a:lnTo>
                  <a:lnTo>
                    <a:pt x="248" y="316"/>
                  </a:lnTo>
                  <a:lnTo>
                    <a:pt x="246" y="316"/>
                  </a:lnTo>
                  <a:lnTo>
                    <a:pt x="246" y="314"/>
                  </a:lnTo>
                  <a:lnTo>
                    <a:pt x="248" y="312"/>
                  </a:lnTo>
                  <a:lnTo>
                    <a:pt x="252" y="310"/>
                  </a:lnTo>
                  <a:lnTo>
                    <a:pt x="252" y="306"/>
                  </a:lnTo>
                  <a:lnTo>
                    <a:pt x="254" y="300"/>
                  </a:lnTo>
                  <a:lnTo>
                    <a:pt x="254" y="296"/>
                  </a:lnTo>
                  <a:lnTo>
                    <a:pt x="260" y="292"/>
                  </a:lnTo>
                  <a:lnTo>
                    <a:pt x="262" y="292"/>
                  </a:lnTo>
                  <a:lnTo>
                    <a:pt x="264" y="292"/>
                  </a:lnTo>
                  <a:lnTo>
                    <a:pt x="266" y="294"/>
                  </a:lnTo>
                  <a:lnTo>
                    <a:pt x="276" y="292"/>
                  </a:lnTo>
                  <a:lnTo>
                    <a:pt x="278" y="290"/>
                  </a:lnTo>
                  <a:lnTo>
                    <a:pt x="280" y="288"/>
                  </a:lnTo>
                  <a:lnTo>
                    <a:pt x="280" y="286"/>
                  </a:lnTo>
                  <a:lnTo>
                    <a:pt x="282" y="278"/>
                  </a:lnTo>
                  <a:lnTo>
                    <a:pt x="284" y="258"/>
                  </a:lnTo>
                  <a:lnTo>
                    <a:pt x="286" y="258"/>
                  </a:lnTo>
                  <a:lnTo>
                    <a:pt x="286" y="256"/>
                  </a:lnTo>
                  <a:lnTo>
                    <a:pt x="284" y="252"/>
                  </a:lnTo>
                  <a:lnTo>
                    <a:pt x="284" y="250"/>
                  </a:lnTo>
                  <a:lnTo>
                    <a:pt x="282" y="244"/>
                  </a:lnTo>
                  <a:lnTo>
                    <a:pt x="286" y="234"/>
                  </a:lnTo>
                  <a:lnTo>
                    <a:pt x="288" y="228"/>
                  </a:lnTo>
                  <a:lnTo>
                    <a:pt x="286" y="228"/>
                  </a:lnTo>
                  <a:lnTo>
                    <a:pt x="286" y="222"/>
                  </a:lnTo>
                  <a:lnTo>
                    <a:pt x="286" y="218"/>
                  </a:lnTo>
                  <a:lnTo>
                    <a:pt x="286" y="216"/>
                  </a:lnTo>
                  <a:lnTo>
                    <a:pt x="284" y="214"/>
                  </a:lnTo>
                  <a:lnTo>
                    <a:pt x="272" y="196"/>
                  </a:lnTo>
                  <a:lnTo>
                    <a:pt x="270" y="194"/>
                  </a:lnTo>
                  <a:lnTo>
                    <a:pt x="270" y="192"/>
                  </a:lnTo>
                  <a:lnTo>
                    <a:pt x="268" y="190"/>
                  </a:lnTo>
                  <a:lnTo>
                    <a:pt x="254" y="174"/>
                  </a:lnTo>
                  <a:lnTo>
                    <a:pt x="254" y="172"/>
                  </a:lnTo>
                  <a:lnTo>
                    <a:pt x="250" y="164"/>
                  </a:lnTo>
                  <a:lnTo>
                    <a:pt x="240" y="156"/>
                  </a:lnTo>
                  <a:lnTo>
                    <a:pt x="238" y="156"/>
                  </a:lnTo>
                  <a:lnTo>
                    <a:pt x="236" y="156"/>
                  </a:lnTo>
                  <a:lnTo>
                    <a:pt x="228" y="156"/>
                  </a:lnTo>
                  <a:lnTo>
                    <a:pt x="224" y="150"/>
                  </a:lnTo>
                  <a:lnTo>
                    <a:pt x="222" y="148"/>
                  </a:lnTo>
                  <a:lnTo>
                    <a:pt x="222" y="146"/>
                  </a:lnTo>
                  <a:lnTo>
                    <a:pt x="222" y="144"/>
                  </a:lnTo>
                  <a:lnTo>
                    <a:pt x="222" y="132"/>
                  </a:lnTo>
                  <a:lnTo>
                    <a:pt x="222" y="130"/>
                  </a:lnTo>
                  <a:lnTo>
                    <a:pt x="222" y="128"/>
                  </a:lnTo>
                  <a:lnTo>
                    <a:pt x="222" y="126"/>
                  </a:lnTo>
                  <a:lnTo>
                    <a:pt x="222" y="122"/>
                  </a:lnTo>
                  <a:lnTo>
                    <a:pt x="222" y="118"/>
                  </a:lnTo>
                  <a:lnTo>
                    <a:pt x="222" y="114"/>
                  </a:lnTo>
                  <a:lnTo>
                    <a:pt x="222" y="112"/>
                  </a:lnTo>
                  <a:lnTo>
                    <a:pt x="222" y="110"/>
                  </a:lnTo>
                  <a:lnTo>
                    <a:pt x="220" y="110"/>
                  </a:lnTo>
                  <a:lnTo>
                    <a:pt x="220" y="108"/>
                  </a:lnTo>
                  <a:lnTo>
                    <a:pt x="218" y="104"/>
                  </a:lnTo>
                  <a:lnTo>
                    <a:pt x="218" y="100"/>
                  </a:lnTo>
                  <a:lnTo>
                    <a:pt x="216" y="94"/>
                  </a:lnTo>
                  <a:lnTo>
                    <a:pt x="216" y="90"/>
                  </a:lnTo>
                  <a:lnTo>
                    <a:pt x="214" y="90"/>
                  </a:lnTo>
                  <a:lnTo>
                    <a:pt x="216" y="88"/>
                  </a:lnTo>
                  <a:lnTo>
                    <a:pt x="216" y="86"/>
                  </a:lnTo>
                  <a:lnTo>
                    <a:pt x="216" y="84"/>
                  </a:lnTo>
                  <a:lnTo>
                    <a:pt x="218" y="82"/>
                  </a:lnTo>
                  <a:lnTo>
                    <a:pt x="220" y="78"/>
                  </a:lnTo>
                  <a:lnTo>
                    <a:pt x="222" y="74"/>
                  </a:lnTo>
                  <a:lnTo>
                    <a:pt x="224" y="72"/>
                  </a:lnTo>
                  <a:lnTo>
                    <a:pt x="228" y="66"/>
                  </a:lnTo>
                  <a:lnTo>
                    <a:pt x="230" y="64"/>
                  </a:lnTo>
                  <a:lnTo>
                    <a:pt x="230" y="62"/>
                  </a:lnTo>
                  <a:lnTo>
                    <a:pt x="230" y="60"/>
                  </a:lnTo>
                  <a:lnTo>
                    <a:pt x="230" y="58"/>
                  </a:lnTo>
                  <a:lnTo>
                    <a:pt x="230" y="56"/>
                  </a:lnTo>
                  <a:lnTo>
                    <a:pt x="232" y="56"/>
                  </a:lnTo>
                  <a:lnTo>
                    <a:pt x="242" y="56"/>
                  </a:lnTo>
                  <a:lnTo>
                    <a:pt x="246" y="56"/>
                  </a:lnTo>
                  <a:lnTo>
                    <a:pt x="248" y="56"/>
                  </a:lnTo>
                  <a:lnTo>
                    <a:pt x="260" y="56"/>
                  </a:lnTo>
                  <a:lnTo>
                    <a:pt x="270" y="56"/>
                  </a:lnTo>
                  <a:lnTo>
                    <a:pt x="276" y="58"/>
                  </a:lnTo>
                  <a:lnTo>
                    <a:pt x="280" y="56"/>
                  </a:lnTo>
                  <a:lnTo>
                    <a:pt x="282" y="56"/>
                  </a:lnTo>
                  <a:lnTo>
                    <a:pt x="286" y="52"/>
                  </a:lnTo>
                  <a:lnTo>
                    <a:pt x="290" y="48"/>
                  </a:lnTo>
                  <a:lnTo>
                    <a:pt x="296" y="48"/>
                  </a:lnTo>
                  <a:lnTo>
                    <a:pt x="308" y="56"/>
                  </a:lnTo>
                  <a:lnTo>
                    <a:pt x="308" y="60"/>
                  </a:lnTo>
                  <a:lnTo>
                    <a:pt x="308" y="62"/>
                  </a:lnTo>
                  <a:lnTo>
                    <a:pt x="308" y="64"/>
                  </a:lnTo>
                  <a:lnTo>
                    <a:pt x="312" y="64"/>
                  </a:lnTo>
                  <a:lnTo>
                    <a:pt x="314" y="64"/>
                  </a:lnTo>
                  <a:lnTo>
                    <a:pt x="316" y="62"/>
                  </a:lnTo>
                  <a:lnTo>
                    <a:pt x="318" y="62"/>
                  </a:lnTo>
                  <a:lnTo>
                    <a:pt x="324" y="64"/>
                  </a:lnTo>
                  <a:lnTo>
                    <a:pt x="328" y="66"/>
                  </a:lnTo>
                  <a:lnTo>
                    <a:pt x="332" y="64"/>
                  </a:lnTo>
                  <a:lnTo>
                    <a:pt x="336" y="62"/>
                  </a:lnTo>
                  <a:lnTo>
                    <a:pt x="336" y="60"/>
                  </a:lnTo>
                  <a:lnTo>
                    <a:pt x="338" y="60"/>
                  </a:lnTo>
                  <a:lnTo>
                    <a:pt x="338" y="58"/>
                  </a:lnTo>
                  <a:lnTo>
                    <a:pt x="342" y="56"/>
                  </a:lnTo>
                  <a:lnTo>
                    <a:pt x="350" y="56"/>
                  </a:lnTo>
                  <a:lnTo>
                    <a:pt x="356" y="62"/>
                  </a:lnTo>
                  <a:lnTo>
                    <a:pt x="360" y="62"/>
                  </a:lnTo>
                  <a:lnTo>
                    <a:pt x="364" y="64"/>
                  </a:lnTo>
                  <a:lnTo>
                    <a:pt x="370" y="64"/>
                  </a:lnTo>
                  <a:lnTo>
                    <a:pt x="374" y="64"/>
                  </a:lnTo>
                  <a:lnTo>
                    <a:pt x="380" y="60"/>
                  </a:lnTo>
                  <a:lnTo>
                    <a:pt x="384" y="58"/>
                  </a:lnTo>
                  <a:lnTo>
                    <a:pt x="390" y="56"/>
                  </a:lnTo>
                  <a:lnTo>
                    <a:pt x="392" y="54"/>
                  </a:lnTo>
                  <a:lnTo>
                    <a:pt x="392" y="52"/>
                  </a:lnTo>
                  <a:lnTo>
                    <a:pt x="392" y="50"/>
                  </a:lnTo>
                  <a:lnTo>
                    <a:pt x="394" y="44"/>
                  </a:lnTo>
                  <a:lnTo>
                    <a:pt x="396" y="42"/>
                  </a:lnTo>
                  <a:lnTo>
                    <a:pt x="398" y="42"/>
                  </a:lnTo>
                  <a:lnTo>
                    <a:pt x="402" y="40"/>
                  </a:lnTo>
                  <a:lnTo>
                    <a:pt x="406" y="40"/>
                  </a:lnTo>
                  <a:lnTo>
                    <a:pt x="410" y="42"/>
                  </a:lnTo>
                  <a:lnTo>
                    <a:pt x="418" y="44"/>
                  </a:lnTo>
                  <a:lnTo>
                    <a:pt x="418" y="46"/>
                  </a:lnTo>
                  <a:lnTo>
                    <a:pt x="420" y="46"/>
                  </a:lnTo>
                  <a:lnTo>
                    <a:pt x="422" y="48"/>
                  </a:lnTo>
                  <a:lnTo>
                    <a:pt x="426" y="48"/>
                  </a:lnTo>
                  <a:lnTo>
                    <a:pt x="428" y="46"/>
                  </a:lnTo>
                  <a:lnTo>
                    <a:pt x="430" y="44"/>
                  </a:lnTo>
                  <a:lnTo>
                    <a:pt x="434" y="42"/>
                  </a:lnTo>
                  <a:lnTo>
                    <a:pt x="436" y="40"/>
                  </a:lnTo>
                  <a:lnTo>
                    <a:pt x="448" y="36"/>
                  </a:lnTo>
                  <a:lnTo>
                    <a:pt x="448" y="34"/>
                  </a:lnTo>
                  <a:lnTo>
                    <a:pt x="460" y="34"/>
                  </a:lnTo>
                  <a:lnTo>
                    <a:pt x="462" y="34"/>
                  </a:lnTo>
                  <a:lnTo>
                    <a:pt x="462" y="36"/>
                  </a:lnTo>
                  <a:lnTo>
                    <a:pt x="464" y="36"/>
                  </a:lnTo>
                  <a:lnTo>
                    <a:pt x="466" y="36"/>
                  </a:lnTo>
                  <a:lnTo>
                    <a:pt x="466" y="34"/>
                  </a:lnTo>
                  <a:lnTo>
                    <a:pt x="468" y="34"/>
                  </a:lnTo>
                  <a:lnTo>
                    <a:pt x="472" y="32"/>
                  </a:lnTo>
                  <a:lnTo>
                    <a:pt x="478" y="26"/>
                  </a:lnTo>
                  <a:lnTo>
                    <a:pt x="480" y="26"/>
                  </a:lnTo>
                  <a:lnTo>
                    <a:pt x="486" y="24"/>
                  </a:lnTo>
                  <a:lnTo>
                    <a:pt x="488" y="24"/>
                  </a:lnTo>
                  <a:lnTo>
                    <a:pt x="492" y="24"/>
                  </a:lnTo>
                  <a:lnTo>
                    <a:pt x="494" y="22"/>
                  </a:lnTo>
                  <a:lnTo>
                    <a:pt x="494" y="20"/>
                  </a:lnTo>
                  <a:lnTo>
                    <a:pt x="496" y="18"/>
                  </a:lnTo>
                  <a:lnTo>
                    <a:pt x="498" y="18"/>
                  </a:lnTo>
                  <a:lnTo>
                    <a:pt x="500" y="18"/>
                  </a:lnTo>
                  <a:lnTo>
                    <a:pt x="502" y="16"/>
                  </a:lnTo>
                  <a:lnTo>
                    <a:pt x="504" y="16"/>
                  </a:lnTo>
                  <a:lnTo>
                    <a:pt x="512" y="10"/>
                  </a:lnTo>
                  <a:lnTo>
                    <a:pt x="522" y="4"/>
                  </a:lnTo>
                  <a:lnTo>
                    <a:pt x="524" y="2"/>
                  </a:lnTo>
                  <a:lnTo>
                    <a:pt x="526" y="2"/>
                  </a:lnTo>
                  <a:lnTo>
                    <a:pt x="526" y="0"/>
                  </a:lnTo>
                  <a:lnTo>
                    <a:pt x="530" y="0"/>
                  </a:lnTo>
                  <a:lnTo>
                    <a:pt x="534" y="6"/>
                  </a:lnTo>
                  <a:lnTo>
                    <a:pt x="534" y="8"/>
                  </a:lnTo>
                  <a:lnTo>
                    <a:pt x="534" y="10"/>
                  </a:lnTo>
                  <a:lnTo>
                    <a:pt x="528" y="16"/>
                  </a:lnTo>
                  <a:lnTo>
                    <a:pt x="532" y="16"/>
                  </a:lnTo>
                  <a:lnTo>
                    <a:pt x="534" y="18"/>
                  </a:lnTo>
                  <a:lnTo>
                    <a:pt x="536" y="18"/>
                  </a:lnTo>
                  <a:lnTo>
                    <a:pt x="534" y="20"/>
                  </a:lnTo>
                  <a:lnTo>
                    <a:pt x="532" y="20"/>
                  </a:lnTo>
                  <a:lnTo>
                    <a:pt x="530" y="22"/>
                  </a:lnTo>
                  <a:lnTo>
                    <a:pt x="530" y="24"/>
                  </a:lnTo>
                  <a:lnTo>
                    <a:pt x="528" y="24"/>
                  </a:lnTo>
                  <a:lnTo>
                    <a:pt x="528" y="28"/>
                  </a:lnTo>
                  <a:lnTo>
                    <a:pt x="530" y="28"/>
                  </a:lnTo>
                  <a:lnTo>
                    <a:pt x="532" y="28"/>
                  </a:lnTo>
                  <a:lnTo>
                    <a:pt x="532" y="30"/>
                  </a:lnTo>
                  <a:lnTo>
                    <a:pt x="528" y="36"/>
                  </a:lnTo>
                  <a:lnTo>
                    <a:pt x="526" y="38"/>
                  </a:lnTo>
                  <a:lnTo>
                    <a:pt x="524" y="42"/>
                  </a:lnTo>
                  <a:lnTo>
                    <a:pt x="522" y="44"/>
                  </a:lnTo>
                  <a:lnTo>
                    <a:pt x="526" y="48"/>
                  </a:lnTo>
                  <a:lnTo>
                    <a:pt x="526" y="54"/>
                  </a:lnTo>
                  <a:lnTo>
                    <a:pt x="524" y="56"/>
                  </a:lnTo>
                  <a:lnTo>
                    <a:pt x="524" y="60"/>
                  </a:lnTo>
                  <a:lnTo>
                    <a:pt x="524" y="66"/>
                  </a:lnTo>
                  <a:lnTo>
                    <a:pt x="526" y="70"/>
                  </a:lnTo>
                  <a:lnTo>
                    <a:pt x="526" y="78"/>
                  </a:lnTo>
                  <a:lnTo>
                    <a:pt x="526" y="96"/>
                  </a:lnTo>
                  <a:lnTo>
                    <a:pt x="526" y="102"/>
                  </a:lnTo>
                  <a:lnTo>
                    <a:pt x="524" y="106"/>
                  </a:lnTo>
                  <a:lnTo>
                    <a:pt x="526" y="106"/>
                  </a:lnTo>
                  <a:lnTo>
                    <a:pt x="528" y="108"/>
                  </a:lnTo>
                  <a:lnTo>
                    <a:pt x="530" y="116"/>
                  </a:lnTo>
                  <a:lnTo>
                    <a:pt x="532" y="118"/>
                  </a:lnTo>
                  <a:lnTo>
                    <a:pt x="532" y="120"/>
                  </a:lnTo>
                  <a:lnTo>
                    <a:pt x="526" y="126"/>
                  </a:lnTo>
                  <a:lnTo>
                    <a:pt x="524" y="126"/>
                  </a:lnTo>
                  <a:lnTo>
                    <a:pt x="522" y="126"/>
                  </a:lnTo>
                  <a:lnTo>
                    <a:pt x="520" y="128"/>
                  </a:lnTo>
                  <a:lnTo>
                    <a:pt x="520" y="130"/>
                  </a:lnTo>
                  <a:lnTo>
                    <a:pt x="522" y="132"/>
                  </a:lnTo>
                  <a:lnTo>
                    <a:pt x="524" y="132"/>
                  </a:lnTo>
                  <a:lnTo>
                    <a:pt x="526" y="132"/>
                  </a:lnTo>
                  <a:lnTo>
                    <a:pt x="524" y="130"/>
                  </a:lnTo>
                  <a:lnTo>
                    <a:pt x="526" y="130"/>
                  </a:lnTo>
                  <a:lnTo>
                    <a:pt x="530" y="130"/>
                  </a:lnTo>
                  <a:lnTo>
                    <a:pt x="528" y="142"/>
                  </a:lnTo>
                  <a:lnTo>
                    <a:pt x="526" y="148"/>
                  </a:lnTo>
                  <a:lnTo>
                    <a:pt x="528" y="152"/>
                  </a:lnTo>
                  <a:lnTo>
                    <a:pt x="526" y="156"/>
                  </a:lnTo>
                  <a:lnTo>
                    <a:pt x="524" y="158"/>
                  </a:lnTo>
                  <a:lnTo>
                    <a:pt x="526" y="160"/>
                  </a:lnTo>
                  <a:lnTo>
                    <a:pt x="526" y="162"/>
                  </a:lnTo>
                  <a:lnTo>
                    <a:pt x="526" y="164"/>
                  </a:lnTo>
                  <a:lnTo>
                    <a:pt x="526" y="168"/>
                  </a:lnTo>
                  <a:lnTo>
                    <a:pt x="528" y="178"/>
                  </a:lnTo>
                  <a:lnTo>
                    <a:pt x="528" y="180"/>
                  </a:lnTo>
                  <a:lnTo>
                    <a:pt x="530" y="186"/>
                  </a:lnTo>
                  <a:lnTo>
                    <a:pt x="528" y="188"/>
                  </a:lnTo>
                  <a:lnTo>
                    <a:pt x="528" y="190"/>
                  </a:lnTo>
                  <a:lnTo>
                    <a:pt x="526" y="192"/>
                  </a:lnTo>
                  <a:lnTo>
                    <a:pt x="524" y="192"/>
                  </a:lnTo>
                  <a:lnTo>
                    <a:pt x="524" y="194"/>
                  </a:lnTo>
                  <a:lnTo>
                    <a:pt x="526" y="198"/>
                  </a:lnTo>
                  <a:lnTo>
                    <a:pt x="528" y="196"/>
                  </a:lnTo>
                  <a:lnTo>
                    <a:pt x="528" y="194"/>
                  </a:lnTo>
                  <a:lnTo>
                    <a:pt x="530" y="194"/>
                  </a:lnTo>
                  <a:lnTo>
                    <a:pt x="532" y="194"/>
                  </a:lnTo>
                  <a:lnTo>
                    <a:pt x="534" y="198"/>
                  </a:lnTo>
                  <a:lnTo>
                    <a:pt x="532" y="202"/>
                  </a:lnTo>
                  <a:lnTo>
                    <a:pt x="530" y="202"/>
                  </a:lnTo>
                  <a:lnTo>
                    <a:pt x="528" y="204"/>
                  </a:lnTo>
                  <a:lnTo>
                    <a:pt x="528" y="208"/>
                  </a:lnTo>
                  <a:lnTo>
                    <a:pt x="530" y="208"/>
                  </a:lnTo>
                  <a:lnTo>
                    <a:pt x="530" y="206"/>
                  </a:lnTo>
                  <a:lnTo>
                    <a:pt x="532" y="206"/>
                  </a:lnTo>
                  <a:lnTo>
                    <a:pt x="536" y="206"/>
                  </a:lnTo>
                  <a:lnTo>
                    <a:pt x="538" y="206"/>
                  </a:lnTo>
                  <a:lnTo>
                    <a:pt x="538" y="208"/>
                  </a:lnTo>
                  <a:lnTo>
                    <a:pt x="538" y="220"/>
                  </a:lnTo>
                  <a:lnTo>
                    <a:pt x="538" y="222"/>
                  </a:lnTo>
                  <a:lnTo>
                    <a:pt x="538" y="224"/>
                  </a:lnTo>
                  <a:lnTo>
                    <a:pt x="536" y="226"/>
                  </a:lnTo>
                  <a:lnTo>
                    <a:pt x="532" y="230"/>
                  </a:lnTo>
                  <a:lnTo>
                    <a:pt x="532" y="232"/>
                  </a:lnTo>
                  <a:lnTo>
                    <a:pt x="534" y="234"/>
                  </a:lnTo>
                  <a:lnTo>
                    <a:pt x="530" y="240"/>
                  </a:lnTo>
                  <a:lnTo>
                    <a:pt x="524" y="242"/>
                  </a:lnTo>
                  <a:lnTo>
                    <a:pt x="522" y="242"/>
                  </a:lnTo>
                  <a:lnTo>
                    <a:pt x="520" y="242"/>
                  </a:lnTo>
                  <a:lnTo>
                    <a:pt x="520" y="246"/>
                  </a:lnTo>
                  <a:lnTo>
                    <a:pt x="524" y="246"/>
                  </a:lnTo>
                  <a:lnTo>
                    <a:pt x="524" y="244"/>
                  </a:lnTo>
                  <a:lnTo>
                    <a:pt x="526" y="244"/>
                  </a:lnTo>
                  <a:lnTo>
                    <a:pt x="526" y="246"/>
                  </a:lnTo>
                  <a:lnTo>
                    <a:pt x="528" y="250"/>
                  </a:lnTo>
                  <a:lnTo>
                    <a:pt x="526" y="252"/>
                  </a:lnTo>
                  <a:lnTo>
                    <a:pt x="522" y="262"/>
                  </a:lnTo>
                  <a:lnTo>
                    <a:pt x="520" y="262"/>
                  </a:lnTo>
                  <a:lnTo>
                    <a:pt x="520" y="264"/>
                  </a:lnTo>
                  <a:lnTo>
                    <a:pt x="516" y="266"/>
                  </a:lnTo>
                  <a:lnTo>
                    <a:pt x="516" y="268"/>
                  </a:lnTo>
                  <a:lnTo>
                    <a:pt x="514" y="270"/>
                  </a:lnTo>
                  <a:lnTo>
                    <a:pt x="512" y="272"/>
                  </a:lnTo>
                  <a:lnTo>
                    <a:pt x="510" y="274"/>
                  </a:lnTo>
                  <a:lnTo>
                    <a:pt x="504" y="280"/>
                  </a:lnTo>
                  <a:lnTo>
                    <a:pt x="498" y="284"/>
                  </a:lnTo>
                  <a:lnTo>
                    <a:pt x="498" y="286"/>
                  </a:lnTo>
                  <a:lnTo>
                    <a:pt x="498" y="288"/>
                  </a:lnTo>
                  <a:lnTo>
                    <a:pt x="496" y="292"/>
                  </a:lnTo>
                  <a:lnTo>
                    <a:pt x="492" y="296"/>
                  </a:lnTo>
                  <a:lnTo>
                    <a:pt x="490" y="300"/>
                  </a:lnTo>
                  <a:lnTo>
                    <a:pt x="488" y="300"/>
                  </a:lnTo>
                  <a:lnTo>
                    <a:pt x="486" y="300"/>
                  </a:lnTo>
                  <a:lnTo>
                    <a:pt x="484" y="300"/>
                  </a:lnTo>
                  <a:lnTo>
                    <a:pt x="482" y="302"/>
                  </a:lnTo>
                  <a:lnTo>
                    <a:pt x="480" y="304"/>
                  </a:lnTo>
                  <a:lnTo>
                    <a:pt x="480" y="306"/>
                  </a:lnTo>
                  <a:lnTo>
                    <a:pt x="482" y="310"/>
                  </a:lnTo>
                  <a:lnTo>
                    <a:pt x="474" y="316"/>
                  </a:lnTo>
                  <a:lnTo>
                    <a:pt x="464" y="322"/>
                  </a:lnTo>
                  <a:lnTo>
                    <a:pt x="462" y="324"/>
                  </a:lnTo>
                  <a:lnTo>
                    <a:pt x="454" y="328"/>
                  </a:lnTo>
                  <a:lnTo>
                    <a:pt x="452" y="328"/>
                  </a:lnTo>
                  <a:lnTo>
                    <a:pt x="448" y="330"/>
                  </a:lnTo>
                  <a:lnTo>
                    <a:pt x="446" y="332"/>
                  </a:lnTo>
                  <a:lnTo>
                    <a:pt x="446" y="334"/>
                  </a:lnTo>
                  <a:lnTo>
                    <a:pt x="444" y="336"/>
                  </a:lnTo>
                  <a:lnTo>
                    <a:pt x="442" y="338"/>
                  </a:lnTo>
                  <a:lnTo>
                    <a:pt x="432" y="342"/>
                  </a:lnTo>
                  <a:lnTo>
                    <a:pt x="428" y="342"/>
                  </a:lnTo>
                  <a:lnTo>
                    <a:pt x="422" y="342"/>
                  </a:lnTo>
                  <a:lnTo>
                    <a:pt x="418" y="344"/>
                  </a:lnTo>
                  <a:lnTo>
                    <a:pt x="406" y="348"/>
                  </a:lnTo>
                  <a:lnTo>
                    <a:pt x="404" y="350"/>
                  </a:lnTo>
                  <a:lnTo>
                    <a:pt x="400" y="350"/>
                  </a:lnTo>
                  <a:lnTo>
                    <a:pt x="398" y="352"/>
                  </a:lnTo>
                  <a:lnTo>
                    <a:pt x="396" y="352"/>
                  </a:lnTo>
                  <a:lnTo>
                    <a:pt x="392" y="356"/>
                  </a:lnTo>
                  <a:lnTo>
                    <a:pt x="390" y="356"/>
                  </a:lnTo>
                  <a:lnTo>
                    <a:pt x="386" y="356"/>
                  </a:lnTo>
                  <a:lnTo>
                    <a:pt x="384" y="356"/>
                  </a:lnTo>
                  <a:lnTo>
                    <a:pt x="384" y="358"/>
                  </a:lnTo>
                  <a:lnTo>
                    <a:pt x="380" y="358"/>
                  </a:lnTo>
                  <a:lnTo>
                    <a:pt x="376" y="360"/>
                  </a:lnTo>
                  <a:lnTo>
                    <a:pt x="366" y="366"/>
                  </a:lnTo>
                  <a:lnTo>
                    <a:pt x="358" y="372"/>
                  </a:lnTo>
                  <a:lnTo>
                    <a:pt x="348" y="378"/>
                  </a:lnTo>
                  <a:lnTo>
                    <a:pt x="340" y="382"/>
                  </a:lnTo>
                  <a:lnTo>
                    <a:pt x="340" y="384"/>
                  </a:lnTo>
                  <a:lnTo>
                    <a:pt x="338" y="386"/>
                  </a:lnTo>
                  <a:lnTo>
                    <a:pt x="338" y="388"/>
                  </a:lnTo>
                  <a:lnTo>
                    <a:pt x="336" y="390"/>
                  </a:lnTo>
                  <a:lnTo>
                    <a:pt x="334" y="390"/>
                  </a:lnTo>
                  <a:lnTo>
                    <a:pt x="330" y="388"/>
                  </a:lnTo>
                  <a:lnTo>
                    <a:pt x="330" y="384"/>
                  </a:lnTo>
                  <a:lnTo>
                    <a:pt x="330" y="382"/>
                  </a:lnTo>
                  <a:lnTo>
                    <a:pt x="328" y="382"/>
                  </a:lnTo>
                  <a:lnTo>
                    <a:pt x="326" y="384"/>
                  </a:lnTo>
                  <a:lnTo>
                    <a:pt x="330" y="388"/>
                  </a:lnTo>
                  <a:lnTo>
                    <a:pt x="332" y="392"/>
                  </a:lnTo>
                  <a:lnTo>
                    <a:pt x="334" y="392"/>
                  </a:lnTo>
                  <a:lnTo>
                    <a:pt x="332" y="396"/>
                  </a:lnTo>
                  <a:lnTo>
                    <a:pt x="330" y="398"/>
                  </a:lnTo>
                  <a:lnTo>
                    <a:pt x="322" y="406"/>
                  </a:lnTo>
                  <a:lnTo>
                    <a:pt x="314" y="414"/>
                  </a:lnTo>
                  <a:lnTo>
                    <a:pt x="308" y="418"/>
                  </a:lnTo>
                  <a:lnTo>
                    <a:pt x="308" y="420"/>
                  </a:lnTo>
                  <a:lnTo>
                    <a:pt x="304" y="424"/>
                  </a:lnTo>
                  <a:lnTo>
                    <a:pt x="304" y="428"/>
                  </a:lnTo>
                  <a:lnTo>
                    <a:pt x="298" y="430"/>
                  </a:lnTo>
                  <a:lnTo>
                    <a:pt x="296" y="436"/>
                  </a:lnTo>
                  <a:lnTo>
                    <a:pt x="290" y="436"/>
                  </a:lnTo>
                  <a:lnTo>
                    <a:pt x="288" y="434"/>
                  </a:lnTo>
                  <a:lnTo>
                    <a:pt x="290" y="432"/>
                  </a:lnTo>
                  <a:lnTo>
                    <a:pt x="288" y="430"/>
                  </a:lnTo>
                  <a:lnTo>
                    <a:pt x="288" y="432"/>
                  </a:lnTo>
                  <a:lnTo>
                    <a:pt x="286" y="434"/>
                  </a:lnTo>
                  <a:lnTo>
                    <a:pt x="282" y="436"/>
                  </a:lnTo>
                  <a:lnTo>
                    <a:pt x="276" y="440"/>
                  </a:lnTo>
                  <a:lnTo>
                    <a:pt x="274" y="442"/>
                  </a:lnTo>
                  <a:lnTo>
                    <a:pt x="270" y="444"/>
                  </a:lnTo>
                  <a:lnTo>
                    <a:pt x="266" y="448"/>
                  </a:lnTo>
                  <a:lnTo>
                    <a:pt x="264" y="450"/>
                  </a:lnTo>
                  <a:lnTo>
                    <a:pt x="260" y="454"/>
                  </a:lnTo>
                  <a:lnTo>
                    <a:pt x="254" y="462"/>
                  </a:lnTo>
                  <a:lnTo>
                    <a:pt x="250" y="466"/>
                  </a:lnTo>
                  <a:lnTo>
                    <a:pt x="246" y="470"/>
                  </a:lnTo>
                  <a:lnTo>
                    <a:pt x="236" y="478"/>
                  </a:lnTo>
                  <a:lnTo>
                    <a:pt x="224" y="484"/>
                  </a:lnTo>
                  <a:lnTo>
                    <a:pt x="222" y="484"/>
                  </a:lnTo>
                  <a:lnTo>
                    <a:pt x="222" y="482"/>
                  </a:lnTo>
                  <a:lnTo>
                    <a:pt x="222" y="480"/>
                  </a:lnTo>
                  <a:lnTo>
                    <a:pt x="212" y="472"/>
                  </a:lnTo>
                  <a:lnTo>
                    <a:pt x="212" y="474"/>
                  </a:lnTo>
                  <a:lnTo>
                    <a:pt x="214" y="478"/>
                  </a:lnTo>
                  <a:lnTo>
                    <a:pt x="218" y="480"/>
                  </a:lnTo>
                  <a:lnTo>
                    <a:pt x="220" y="480"/>
                  </a:lnTo>
                  <a:lnTo>
                    <a:pt x="220" y="482"/>
                  </a:lnTo>
                  <a:lnTo>
                    <a:pt x="218" y="486"/>
                  </a:lnTo>
                  <a:lnTo>
                    <a:pt x="218" y="488"/>
                  </a:lnTo>
                  <a:lnTo>
                    <a:pt x="218" y="490"/>
                  </a:lnTo>
                  <a:lnTo>
                    <a:pt x="218" y="494"/>
                  </a:lnTo>
                  <a:lnTo>
                    <a:pt x="218" y="496"/>
                  </a:lnTo>
                  <a:lnTo>
                    <a:pt x="218" y="502"/>
                  </a:lnTo>
                  <a:lnTo>
                    <a:pt x="214" y="512"/>
                  </a:lnTo>
                  <a:lnTo>
                    <a:pt x="212" y="512"/>
                  </a:lnTo>
                  <a:lnTo>
                    <a:pt x="216" y="520"/>
                  </a:lnTo>
                  <a:lnTo>
                    <a:pt x="222" y="526"/>
                  </a:lnTo>
                  <a:lnTo>
                    <a:pt x="226" y="528"/>
                  </a:lnTo>
                  <a:lnTo>
                    <a:pt x="228" y="530"/>
                  </a:lnTo>
                  <a:lnTo>
                    <a:pt x="228" y="532"/>
                  </a:lnTo>
                  <a:lnTo>
                    <a:pt x="228" y="534"/>
                  </a:lnTo>
                  <a:lnTo>
                    <a:pt x="232" y="540"/>
                  </a:lnTo>
                  <a:lnTo>
                    <a:pt x="232" y="542"/>
                  </a:lnTo>
                  <a:lnTo>
                    <a:pt x="232" y="548"/>
                  </a:lnTo>
                  <a:lnTo>
                    <a:pt x="230" y="548"/>
                  </a:lnTo>
                  <a:lnTo>
                    <a:pt x="230" y="560"/>
                  </a:lnTo>
                  <a:lnTo>
                    <a:pt x="232" y="566"/>
                  </a:lnTo>
                  <a:lnTo>
                    <a:pt x="234" y="570"/>
                  </a:lnTo>
                  <a:lnTo>
                    <a:pt x="236" y="572"/>
                  </a:lnTo>
                  <a:lnTo>
                    <a:pt x="236" y="574"/>
                  </a:lnTo>
                  <a:lnTo>
                    <a:pt x="238" y="574"/>
                  </a:lnTo>
                  <a:lnTo>
                    <a:pt x="238" y="578"/>
                  </a:lnTo>
                  <a:lnTo>
                    <a:pt x="238" y="580"/>
                  </a:lnTo>
                  <a:lnTo>
                    <a:pt x="238" y="586"/>
                  </a:lnTo>
                  <a:lnTo>
                    <a:pt x="240" y="590"/>
                  </a:lnTo>
                  <a:lnTo>
                    <a:pt x="240" y="596"/>
                  </a:lnTo>
                  <a:lnTo>
                    <a:pt x="240" y="600"/>
                  </a:lnTo>
                  <a:lnTo>
                    <a:pt x="240" y="608"/>
                  </a:lnTo>
                  <a:lnTo>
                    <a:pt x="238" y="612"/>
                  </a:lnTo>
                  <a:lnTo>
                    <a:pt x="238" y="614"/>
                  </a:lnTo>
                  <a:lnTo>
                    <a:pt x="238" y="616"/>
                  </a:lnTo>
                  <a:lnTo>
                    <a:pt x="242" y="620"/>
                  </a:lnTo>
                  <a:lnTo>
                    <a:pt x="244" y="618"/>
                  </a:lnTo>
                  <a:lnTo>
                    <a:pt x="242" y="614"/>
                  </a:lnTo>
                  <a:lnTo>
                    <a:pt x="242" y="610"/>
                  </a:lnTo>
                  <a:lnTo>
                    <a:pt x="244" y="608"/>
                  </a:lnTo>
                  <a:lnTo>
                    <a:pt x="244" y="604"/>
                  </a:lnTo>
                  <a:lnTo>
                    <a:pt x="246" y="602"/>
                  </a:lnTo>
                  <a:lnTo>
                    <a:pt x="248" y="600"/>
                  </a:lnTo>
                  <a:lnTo>
                    <a:pt x="250" y="608"/>
                  </a:lnTo>
                  <a:lnTo>
                    <a:pt x="250" y="616"/>
                  </a:lnTo>
                  <a:lnTo>
                    <a:pt x="250" y="618"/>
                  </a:lnTo>
                  <a:lnTo>
                    <a:pt x="248" y="620"/>
                  </a:lnTo>
                  <a:lnTo>
                    <a:pt x="248" y="622"/>
                  </a:lnTo>
                  <a:lnTo>
                    <a:pt x="246" y="626"/>
                  </a:lnTo>
                  <a:lnTo>
                    <a:pt x="246" y="628"/>
                  </a:lnTo>
                  <a:lnTo>
                    <a:pt x="246" y="640"/>
                  </a:lnTo>
                  <a:lnTo>
                    <a:pt x="246" y="644"/>
                  </a:lnTo>
                  <a:lnTo>
                    <a:pt x="250" y="644"/>
                  </a:lnTo>
                  <a:lnTo>
                    <a:pt x="248" y="648"/>
                  </a:lnTo>
                  <a:lnTo>
                    <a:pt x="248" y="650"/>
                  </a:lnTo>
                  <a:lnTo>
                    <a:pt x="246" y="652"/>
                  </a:lnTo>
                  <a:lnTo>
                    <a:pt x="244" y="656"/>
                  </a:lnTo>
                  <a:lnTo>
                    <a:pt x="244" y="658"/>
                  </a:lnTo>
                  <a:lnTo>
                    <a:pt x="244" y="660"/>
                  </a:lnTo>
                  <a:lnTo>
                    <a:pt x="244" y="662"/>
                  </a:lnTo>
                  <a:lnTo>
                    <a:pt x="244" y="664"/>
                  </a:lnTo>
                  <a:lnTo>
                    <a:pt x="242" y="666"/>
                  </a:lnTo>
                  <a:lnTo>
                    <a:pt x="242" y="668"/>
                  </a:lnTo>
                  <a:lnTo>
                    <a:pt x="240" y="674"/>
                  </a:lnTo>
                  <a:lnTo>
                    <a:pt x="238" y="680"/>
                  </a:lnTo>
                  <a:lnTo>
                    <a:pt x="238" y="682"/>
                  </a:lnTo>
                  <a:lnTo>
                    <a:pt x="236" y="684"/>
                  </a:lnTo>
                  <a:lnTo>
                    <a:pt x="234" y="694"/>
                  </a:lnTo>
                  <a:lnTo>
                    <a:pt x="234" y="698"/>
                  </a:lnTo>
                  <a:lnTo>
                    <a:pt x="236" y="692"/>
                  </a:lnTo>
                  <a:lnTo>
                    <a:pt x="240" y="694"/>
                  </a:lnTo>
                  <a:lnTo>
                    <a:pt x="242" y="690"/>
                  </a:lnTo>
                  <a:lnTo>
                    <a:pt x="242" y="688"/>
                  </a:lnTo>
                  <a:lnTo>
                    <a:pt x="244" y="688"/>
                  </a:lnTo>
                  <a:lnTo>
                    <a:pt x="244" y="692"/>
                  </a:lnTo>
                  <a:lnTo>
                    <a:pt x="244" y="696"/>
                  </a:lnTo>
                  <a:lnTo>
                    <a:pt x="242" y="698"/>
                  </a:lnTo>
                  <a:lnTo>
                    <a:pt x="240" y="702"/>
                  </a:lnTo>
                  <a:lnTo>
                    <a:pt x="240" y="704"/>
                  </a:lnTo>
                  <a:lnTo>
                    <a:pt x="242" y="704"/>
                  </a:lnTo>
                  <a:lnTo>
                    <a:pt x="240" y="708"/>
                  </a:lnTo>
                  <a:lnTo>
                    <a:pt x="236" y="712"/>
                  </a:lnTo>
                  <a:lnTo>
                    <a:pt x="236" y="714"/>
                  </a:lnTo>
                  <a:lnTo>
                    <a:pt x="232" y="718"/>
                  </a:lnTo>
                  <a:lnTo>
                    <a:pt x="230" y="720"/>
                  </a:lnTo>
                  <a:lnTo>
                    <a:pt x="228" y="720"/>
                  </a:lnTo>
                  <a:lnTo>
                    <a:pt x="224" y="724"/>
                  </a:lnTo>
                  <a:lnTo>
                    <a:pt x="224" y="726"/>
                  </a:lnTo>
                  <a:lnTo>
                    <a:pt x="222" y="728"/>
                  </a:lnTo>
                  <a:lnTo>
                    <a:pt x="222" y="730"/>
                  </a:lnTo>
                  <a:lnTo>
                    <a:pt x="220" y="730"/>
                  </a:lnTo>
                  <a:lnTo>
                    <a:pt x="218" y="732"/>
                  </a:lnTo>
                  <a:lnTo>
                    <a:pt x="216" y="732"/>
                  </a:lnTo>
                  <a:lnTo>
                    <a:pt x="214" y="734"/>
                  </a:lnTo>
                  <a:lnTo>
                    <a:pt x="206" y="738"/>
                  </a:lnTo>
                  <a:lnTo>
                    <a:pt x="200" y="740"/>
                  </a:lnTo>
                  <a:lnTo>
                    <a:pt x="198" y="740"/>
                  </a:lnTo>
                  <a:lnTo>
                    <a:pt x="196" y="740"/>
                  </a:lnTo>
                  <a:lnTo>
                    <a:pt x="190" y="742"/>
                  </a:lnTo>
                  <a:lnTo>
                    <a:pt x="188" y="742"/>
                  </a:lnTo>
                  <a:lnTo>
                    <a:pt x="184" y="744"/>
                  </a:lnTo>
                  <a:lnTo>
                    <a:pt x="182" y="746"/>
                  </a:lnTo>
                  <a:lnTo>
                    <a:pt x="180" y="746"/>
                  </a:lnTo>
                  <a:lnTo>
                    <a:pt x="178" y="748"/>
                  </a:lnTo>
                  <a:lnTo>
                    <a:pt x="170" y="750"/>
                  </a:lnTo>
                  <a:lnTo>
                    <a:pt x="166" y="750"/>
                  </a:lnTo>
                  <a:lnTo>
                    <a:pt x="152" y="754"/>
                  </a:lnTo>
                  <a:lnTo>
                    <a:pt x="134" y="762"/>
                  </a:lnTo>
                  <a:lnTo>
                    <a:pt x="126" y="766"/>
                  </a:lnTo>
                  <a:lnTo>
                    <a:pt x="122" y="768"/>
                  </a:lnTo>
                  <a:lnTo>
                    <a:pt x="120" y="768"/>
                  </a:lnTo>
                  <a:lnTo>
                    <a:pt x="118" y="770"/>
                  </a:lnTo>
                  <a:lnTo>
                    <a:pt x="110" y="774"/>
                  </a:lnTo>
                  <a:lnTo>
                    <a:pt x="110" y="776"/>
                  </a:lnTo>
                  <a:lnTo>
                    <a:pt x="106" y="780"/>
                  </a:lnTo>
                  <a:lnTo>
                    <a:pt x="104" y="784"/>
                  </a:lnTo>
                  <a:lnTo>
                    <a:pt x="102" y="784"/>
                  </a:lnTo>
                  <a:lnTo>
                    <a:pt x="102" y="788"/>
                  </a:lnTo>
                  <a:lnTo>
                    <a:pt x="102" y="790"/>
                  </a:lnTo>
                  <a:lnTo>
                    <a:pt x="100" y="790"/>
                  </a:lnTo>
                  <a:lnTo>
                    <a:pt x="100" y="792"/>
                  </a:lnTo>
                  <a:lnTo>
                    <a:pt x="100" y="794"/>
                  </a:lnTo>
                  <a:lnTo>
                    <a:pt x="98" y="794"/>
                  </a:lnTo>
                  <a:lnTo>
                    <a:pt x="96" y="796"/>
                  </a:lnTo>
                  <a:lnTo>
                    <a:pt x="94" y="798"/>
                  </a:lnTo>
                  <a:lnTo>
                    <a:pt x="94" y="802"/>
                  </a:lnTo>
                  <a:lnTo>
                    <a:pt x="100" y="808"/>
                  </a:lnTo>
                  <a:lnTo>
                    <a:pt x="102" y="814"/>
                  </a:lnTo>
                  <a:lnTo>
                    <a:pt x="104" y="816"/>
                  </a:lnTo>
                  <a:lnTo>
                    <a:pt x="106" y="814"/>
                  </a:lnTo>
                  <a:lnTo>
                    <a:pt x="106" y="812"/>
                  </a:lnTo>
                  <a:lnTo>
                    <a:pt x="106" y="810"/>
                  </a:lnTo>
                  <a:lnTo>
                    <a:pt x="108" y="806"/>
                  </a:lnTo>
                  <a:lnTo>
                    <a:pt x="110" y="804"/>
                  </a:lnTo>
                  <a:lnTo>
                    <a:pt x="110" y="808"/>
                  </a:lnTo>
                  <a:lnTo>
                    <a:pt x="110" y="810"/>
                  </a:lnTo>
                  <a:lnTo>
                    <a:pt x="110" y="814"/>
                  </a:lnTo>
                  <a:lnTo>
                    <a:pt x="108" y="818"/>
                  </a:lnTo>
                  <a:lnTo>
                    <a:pt x="106" y="838"/>
                  </a:lnTo>
                  <a:lnTo>
                    <a:pt x="104" y="842"/>
                  </a:lnTo>
                  <a:lnTo>
                    <a:pt x="106" y="844"/>
                  </a:lnTo>
                  <a:lnTo>
                    <a:pt x="100" y="844"/>
                  </a:lnTo>
                  <a:lnTo>
                    <a:pt x="96" y="844"/>
                  </a:lnTo>
                  <a:lnTo>
                    <a:pt x="82" y="844"/>
                  </a:lnTo>
                  <a:lnTo>
                    <a:pt x="80" y="844"/>
                  </a:lnTo>
                  <a:lnTo>
                    <a:pt x="70" y="842"/>
                  </a:lnTo>
                  <a:lnTo>
                    <a:pt x="70" y="840"/>
                  </a:lnTo>
                  <a:lnTo>
                    <a:pt x="70" y="824"/>
                  </a:lnTo>
                  <a:lnTo>
                    <a:pt x="68" y="820"/>
                  </a:lnTo>
                  <a:lnTo>
                    <a:pt x="68" y="818"/>
                  </a:lnTo>
                  <a:lnTo>
                    <a:pt x="68" y="812"/>
                  </a:lnTo>
                  <a:lnTo>
                    <a:pt x="70" y="806"/>
                  </a:lnTo>
                  <a:lnTo>
                    <a:pt x="70" y="800"/>
                  </a:lnTo>
                  <a:lnTo>
                    <a:pt x="66" y="798"/>
                  </a:lnTo>
                  <a:lnTo>
                    <a:pt x="64" y="796"/>
                  </a:lnTo>
                  <a:lnTo>
                    <a:pt x="62" y="790"/>
                  </a:lnTo>
                  <a:lnTo>
                    <a:pt x="66" y="782"/>
                  </a:lnTo>
                  <a:lnTo>
                    <a:pt x="66" y="780"/>
                  </a:lnTo>
                  <a:lnTo>
                    <a:pt x="68" y="774"/>
                  </a:lnTo>
                  <a:lnTo>
                    <a:pt x="66" y="774"/>
                  </a:lnTo>
                  <a:lnTo>
                    <a:pt x="66" y="770"/>
                  </a:lnTo>
                  <a:lnTo>
                    <a:pt x="68" y="766"/>
                  </a:lnTo>
                  <a:lnTo>
                    <a:pt x="70" y="752"/>
                  </a:lnTo>
                  <a:lnTo>
                    <a:pt x="70" y="750"/>
                  </a:lnTo>
                  <a:lnTo>
                    <a:pt x="70" y="744"/>
                  </a:lnTo>
                  <a:lnTo>
                    <a:pt x="70" y="738"/>
                  </a:lnTo>
                  <a:lnTo>
                    <a:pt x="70" y="732"/>
                  </a:lnTo>
                  <a:lnTo>
                    <a:pt x="70" y="720"/>
                  </a:lnTo>
                  <a:lnTo>
                    <a:pt x="70" y="718"/>
                  </a:lnTo>
                  <a:lnTo>
                    <a:pt x="68" y="712"/>
                  </a:lnTo>
                  <a:lnTo>
                    <a:pt x="68" y="710"/>
                  </a:lnTo>
                  <a:lnTo>
                    <a:pt x="66" y="704"/>
                  </a:lnTo>
                  <a:lnTo>
                    <a:pt x="66" y="694"/>
                  </a:lnTo>
                  <a:lnTo>
                    <a:pt x="64" y="690"/>
                  </a:lnTo>
                  <a:lnTo>
                    <a:pt x="60" y="688"/>
                  </a:lnTo>
                  <a:lnTo>
                    <a:pt x="58" y="682"/>
                  </a:lnTo>
                  <a:lnTo>
                    <a:pt x="58" y="680"/>
                  </a:lnTo>
                  <a:lnTo>
                    <a:pt x="58" y="676"/>
                  </a:lnTo>
                  <a:lnTo>
                    <a:pt x="56" y="674"/>
                  </a:lnTo>
                  <a:lnTo>
                    <a:pt x="54" y="672"/>
                  </a:lnTo>
                  <a:lnTo>
                    <a:pt x="50" y="668"/>
                  </a:lnTo>
                  <a:lnTo>
                    <a:pt x="50" y="666"/>
                  </a:lnTo>
                  <a:lnTo>
                    <a:pt x="50" y="660"/>
                  </a:lnTo>
                  <a:lnTo>
                    <a:pt x="52" y="656"/>
                  </a:lnTo>
                  <a:lnTo>
                    <a:pt x="52" y="654"/>
                  </a:lnTo>
                  <a:lnTo>
                    <a:pt x="50" y="646"/>
                  </a:lnTo>
                  <a:lnTo>
                    <a:pt x="40" y="614"/>
                  </a:lnTo>
                  <a:lnTo>
                    <a:pt x="42" y="614"/>
                  </a:lnTo>
                  <a:lnTo>
                    <a:pt x="44" y="612"/>
                  </a:lnTo>
                  <a:lnTo>
                    <a:pt x="46" y="610"/>
                  </a:lnTo>
                  <a:lnTo>
                    <a:pt x="60" y="596"/>
                  </a:lnTo>
                  <a:lnTo>
                    <a:pt x="74" y="584"/>
                  </a:lnTo>
                  <a:lnTo>
                    <a:pt x="98" y="558"/>
                  </a:lnTo>
                  <a:lnTo>
                    <a:pt x="102" y="558"/>
                  </a:lnTo>
                  <a:lnTo>
                    <a:pt x="102" y="560"/>
                  </a:lnTo>
                  <a:lnTo>
                    <a:pt x="102" y="558"/>
                  </a:lnTo>
                  <a:lnTo>
                    <a:pt x="98" y="554"/>
                  </a:lnTo>
                  <a:lnTo>
                    <a:pt x="96" y="548"/>
                  </a:lnTo>
                  <a:lnTo>
                    <a:pt x="98" y="546"/>
                  </a:lnTo>
                  <a:lnTo>
                    <a:pt x="102" y="542"/>
                  </a:lnTo>
                  <a:lnTo>
                    <a:pt x="104" y="538"/>
                  </a:lnTo>
                  <a:lnTo>
                    <a:pt x="104" y="534"/>
                  </a:lnTo>
                  <a:lnTo>
                    <a:pt x="104" y="532"/>
                  </a:lnTo>
                  <a:lnTo>
                    <a:pt x="104" y="524"/>
                  </a:lnTo>
                  <a:lnTo>
                    <a:pt x="104" y="522"/>
                  </a:lnTo>
                  <a:lnTo>
                    <a:pt x="108" y="518"/>
                  </a:lnTo>
                  <a:lnTo>
                    <a:pt x="112" y="520"/>
                  </a:lnTo>
                  <a:lnTo>
                    <a:pt x="120" y="510"/>
                  </a:lnTo>
                  <a:lnTo>
                    <a:pt x="124" y="504"/>
                  </a:lnTo>
                  <a:lnTo>
                    <a:pt x="124" y="502"/>
                  </a:lnTo>
                  <a:lnTo>
                    <a:pt x="124" y="500"/>
                  </a:lnTo>
                  <a:lnTo>
                    <a:pt x="126" y="496"/>
                  </a:lnTo>
                  <a:lnTo>
                    <a:pt x="130" y="492"/>
                  </a:lnTo>
                  <a:lnTo>
                    <a:pt x="132" y="488"/>
                  </a:lnTo>
                  <a:lnTo>
                    <a:pt x="134" y="480"/>
                  </a:lnTo>
                  <a:lnTo>
                    <a:pt x="130" y="474"/>
                  </a:lnTo>
                  <a:lnTo>
                    <a:pt x="124" y="470"/>
                  </a:lnTo>
                  <a:lnTo>
                    <a:pt x="124" y="464"/>
                  </a:lnTo>
                  <a:lnTo>
                    <a:pt x="122" y="462"/>
                  </a:lnTo>
                  <a:lnTo>
                    <a:pt x="122" y="458"/>
                  </a:lnTo>
                  <a:lnTo>
                    <a:pt x="124" y="454"/>
                  </a:lnTo>
                  <a:lnTo>
                    <a:pt x="126" y="452"/>
                  </a:lnTo>
                  <a:lnTo>
                    <a:pt x="128" y="444"/>
                  </a:lnTo>
                  <a:lnTo>
                    <a:pt x="124" y="440"/>
                  </a:lnTo>
                  <a:lnTo>
                    <a:pt x="122" y="440"/>
                  </a:lnTo>
                  <a:lnTo>
                    <a:pt x="120" y="440"/>
                  </a:lnTo>
                  <a:lnTo>
                    <a:pt x="118" y="436"/>
                  </a:lnTo>
                  <a:lnTo>
                    <a:pt x="118" y="430"/>
                  </a:lnTo>
                  <a:lnTo>
                    <a:pt x="124" y="428"/>
                  </a:lnTo>
                  <a:lnTo>
                    <a:pt x="126" y="428"/>
                  </a:lnTo>
                  <a:lnTo>
                    <a:pt x="128" y="428"/>
                  </a:lnTo>
                  <a:lnTo>
                    <a:pt x="130" y="428"/>
                  </a:lnTo>
                  <a:lnTo>
                    <a:pt x="132" y="424"/>
                  </a:lnTo>
                  <a:lnTo>
                    <a:pt x="130" y="418"/>
                  </a:lnTo>
                  <a:lnTo>
                    <a:pt x="128" y="416"/>
                  </a:lnTo>
                  <a:lnTo>
                    <a:pt x="128" y="414"/>
                  </a:lnTo>
                  <a:lnTo>
                    <a:pt x="130" y="414"/>
                  </a:lnTo>
                  <a:lnTo>
                    <a:pt x="132" y="414"/>
                  </a:lnTo>
                  <a:lnTo>
                    <a:pt x="134" y="412"/>
                  </a:lnTo>
                  <a:lnTo>
                    <a:pt x="136" y="412"/>
                  </a:lnTo>
                  <a:lnTo>
                    <a:pt x="138" y="406"/>
                  </a:lnTo>
                  <a:lnTo>
                    <a:pt x="136" y="404"/>
                  </a:lnTo>
                  <a:lnTo>
                    <a:pt x="134" y="400"/>
                  </a:lnTo>
                  <a:lnTo>
                    <a:pt x="134" y="396"/>
                  </a:lnTo>
                  <a:lnTo>
                    <a:pt x="134" y="394"/>
                  </a:lnTo>
                  <a:lnTo>
                    <a:pt x="134" y="392"/>
                  </a:lnTo>
                  <a:lnTo>
                    <a:pt x="134" y="390"/>
                  </a:lnTo>
                  <a:lnTo>
                    <a:pt x="134" y="386"/>
                  </a:lnTo>
                  <a:lnTo>
                    <a:pt x="134" y="382"/>
                  </a:lnTo>
                  <a:lnTo>
                    <a:pt x="134" y="378"/>
                  </a:lnTo>
                  <a:lnTo>
                    <a:pt x="136" y="374"/>
                  </a:lnTo>
                  <a:lnTo>
                    <a:pt x="138" y="368"/>
                  </a:lnTo>
                  <a:lnTo>
                    <a:pt x="138" y="366"/>
                  </a:lnTo>
                  <a:lnTo>
                    <a:pt x="134" y="364"/>
                  </a:lnTo>
                  <a:lnTo>
                    <a:pt x="134" y="362"/>
                  </a:lnTo>
                  <a:lnTo>
                    <a:pt x="138" y="35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5" name="Freeform 1449"/>
            <p:cNvSpPr>
              <a:spLocks/>
            </p:cNvSpPr>
            <p:nvPr/>
          </p:nvSpPr>
          <p:spPr bwMode="auto">
            <a:xfrm>
              <a:off x="3541213" y="3087022"/>
              <a:ext cx="455399" cy="387840"/>
            </a:xfrm>
            <a:custGeom>
              <a:avLst/>
              <a:gdLst/>
              <a:ahLst/>
              <a:cxnLst>
                <a:cxn ang="0">
                  <a:pos x="106" y="188"/>
                </a:cxn>
                <a:cxn ang="0">
                  <a:pos x="94" y="198"/>
                </a:cxn>
                <a:cxn ang="0">
                  <a:pos x="82" y="200"/>
                </a:cxn>
                <a:cxn ang="0">
                  <a:pos x="72" y="174"/>
                </a:cxn>
                <a:cxn ang="0">
                  <a:pos x="68" y="156"/>
                </a:cxn>
                <a:cxn ang="0">
                  <a:pos x="62" y="154"/>
                </a:cxn>
                <a:cxn ang="0">
                  <a:pos x="58" y="154"/>
                </a:cxn>
                <a:cxn ang="0">
                  <a:pos x="28" y="126"/>
                </a:cxn>
                <a:cxn ang="0">
                  <a:pos x="18" y="112"/>
                </a:cxn>
                <a:cxn ang="0">
                  <a:pos x="22" y="104"/>
                </a:cxn>
                <a:cxn ang="0">
                  <a:pos x="16" y="90"/>
                </a:cxn>
                <a:cxn ang="0">
                  <a:pos x="6" y="98"/>
                </a:cxn>
                <a:cxn ang="0">
                  <a:pos x="8" y="82"/>
                </a:cxn>
                <a:cxn ang="0">
                  <a:pos x="22" y="60"/>
                </a:cxn>
                <a:cxn ang="0">
                  <a:pos x="38" y="58"/>
                </a:cxn>
                <a:cxn ang="0">
                  <a:pos x="70" y="54"/>
                </a:cxn>
                <a:cxn ang="0">
                  <a:pos x="62" y="28"/>
                </a:cxn>
                <a:cxn ang="0">
                  <a:pos x="78" y="20"/>
                </a:cxn>
                <a:cxn ang="0">
                  <a:pos x="78" y="2"/>
                </a:cxn>
                <a:cxn ang="0">
                  <a:pos x="112" y="8"/>
                </a:cxn>
                <a:cxn ang="0">
                  <a:pos x="120" y="14"/>
                </a:cxn>
                <a:cxn ang="0">
                  <a:pos x="144" y="24"/>
                </a:cxn>
                <a:cxn ang="0">
                  <a:pos x="170" y="24"/>
                </a:cxn>
                <a:cxn ang="0">
                  <a:pos x="192" y="24"/>
                </a:cxn>
                <a:cxn ang="0">
                  <a:pos x="192" y="40"/>
                </a:cxn>
                <a:cxn ang="0">
                  <a:pos x="208" y="36"/>
                </a:cxn>
                <a:cxn ang="0">
                  <a:pos x="226" y="54"/>
                </a:cxn>
                <a:cxn ang="0">
                  <a:pos x="266" y="48"/>
                </a:cxn>
                <a:cxn ang="0">
                  <a:pos x="280" y="44"/>
                </a:cxn>
                <a:cxn ang="0">
                  <a:pos x="298" y="34"/>
                </a:cxn>
                <a:cxn ang="0">
                  <a:pos x="308" y="32"/>
                </a:cxn>
                <a:cxn ang="0">
                  <a:pos x="312" y="44"/>
                </a:cxn>
                <a:cxn ang="0">
                  <a:pos x="322" y="74"/>
                </a:cxn>
                <a:cxn ang="0">
                  <a:pos x="330" y="84"/>
                </a:cxn>
                <a:cxn ang="0">
                  <a:pos x="338" y="94"/>
                </a:cxn>
                <a:cxn ang="0">
                  <a:pos x="330" y="110"/>
                </a:cxn>
                <a:cxn ang="0">
                  <a:pos x="340" y="136"/>
                </a:cxn>
                <a:cxn ang="0">
                  <a:pos x="352" y="158"/>
                </a:cxn>
                <a:cxn ang="0">
                  <a:pos x="344" y="170"/>
                </a:cxn>
                <a:cxn ang="0">
                  <a:pos x="346" y="194"/>
                </a:cxn>
                <a:cxn ang="0">
                  <a:pos x="358" y="210"/>
                </a:cxn>
                <a:cxn ang="0">
                  <a:pos x="352" y="222"/>
                </a:cxn>
                <a:cxn ang="0">
                  <a:pos x="360" y="232"/>
                </a:cxn>
                <a:cxn ang="0">
                  <a:pos x="358" y="252"/>
                </a:cxn>
                <a:cxn ang="0">
                  <a:pos x="334" y="254"/>
                </a:cxn>
                <a:cxn ang="0">
                  <a:pos x="348" y="268"/>
                </a:cxn>
                <a:cxn ang="0">
                  <a:pos x="338" y="278"/>
                </a:cxn>
                <a:cxn ang="0">
                  <a:pos x="324" y="290"/>
                </a:cxn>
                <a:cxn ang="0">
                  <a:pos x="310" y="286"/>
                </a:cxn>
                <a:cxn ang="0">
                  <a:pos x="296" y="308"/>
                </a:cxn>
                <a:cxn ang="0">
                  <a:pos x="280" y="300"/>
                </a:cxn>
                <a:cxn ang="0">
                  <a:pos x="274" y="290"/>
                </a:cxn>
                <a:cxn ang="0">
                  <a:pos x="272" y="268"/>
                </a:cxn>
                <a:cxn ang="0">
                  <a:pos x="256" y="238"/>
                </a:cxn>
                <a:cxn ang="0">
                  <a:pos x="232" y="238"/>
                </a:cxn>
                <a:cxn ang="0">
                  <a:pos x="216" y="246"/>
                </a:cxn>
                <a:cxn ang="0">
                  <a:pos x="218" y="220"/>
                </a:cxn>
                <a:cxn ang="0">
                  <a:pos x="214" y="206"/>
                </a:cxn>
                <a:cxn ang="0">
                  <a:pos x="212" y="188"/>
                </a:cxn>
                <a:cxn ang="0">
                  <a:pos x="192" y="156"/>
                </a:cxn>
                <a:cxn ang="0">
                  <a:pos x="156" y="156"/>
                </a:cxn>
                <a:cxn ang="0">
                  <a:pos x="128" y="156"/>
                </a:cxn>
              </a:cxnLst>
              <a:rect l="0" t="0" r="r" b="b"/>
              <a:pathLst>
                <a:path w="364" h="310">
                  <a:moveTo>
                    <a:pt x="120" y="168"/>
                  </a:moveTo>
                  <a:lnTo>
                    <a:pt x="118" y="170"/>
                  </a:lnTo>
                  <a:lnTo>
                    <a:pt x="116" y="172"/>
                  </a:lnTo>
                  <a:lnTo>
                    <a:pt x="116" y="178"/>
                  </a:lnTo>
                  <a:lnTo>
                    <a:pt x="114" y="180"/>
                  </a:lnTo>
                  <a:lnTo>
                    <a:pt x="108" y="186"/>
                  </a:lnTo>
                  <a:lnTo>
                    <a:pt x="106" y="188"/>
                  </a:lnTo>
                  <a:lnTo>
                    <a:pt x="104" y="188"/>
                  </a:lnTo>
                  <a:lnTo>
                    <a:pt x="102" y="186"/>
                  </a:lnTo>
                  <a:lnTo>
                    <a:pt x="100" y="188"/>
                  </a:lnTo>
                  <a:lnTo>
                    <a:pt x="98" y="188"/>
                  </a:lnTo>
                  <a:lnTo>
                    <a:pt x="98" y="192"/>
                  </a:lnTo>
                  <a:lnTo>
                    <a:pt x="96" y="196"/>
                  </a:lnTo>
                  <a:lnTo>
                    <a:pt x="94" y="198"/>
                  </a:lnTo>
                  <a:lnTo>
                    <a:pt x="92" y="200"/>
                  </a:lnTo>
                  <a:lnTo>
                    <a:pt x="90" y="200"/>
                  </a:lnTo>
                  <a:lnTo>
                    <a:pt x="90" y="198"/>
                  </a:lnTo>
                  <a:lnTo>
                    <a:pt x="88" y="196"/>
                  </a:lnTo>
                  <a:lnTo>
                    <a:pt x="84" y="198"/>
                  </a:lnTo>
                  <a:lnTo>
                    <a:pt x="82" y="198"/>
                  </a:lnTo>
                  <a:lnTo>
                    <a:pt x="82" y="200"/>
                  </a:lnTo>
                  <a:lnTo>
                    <a:pt x="80" y="198"/>
                  </a:lnTo>
                  <a:lnTo>
                    <a:pt x="84" y="194"/>
                  </a:lnTo>
                  <a:lnTo>
                    <a:pt x="84" y="190"/>
                  </a:lnTo>
                  <a:lnTo>
                    <a:pt x="82" y="190"/>
                  </a:lnTo>
                  <a:lnTo>
                    <a:pt x="76" y="186"/>
                  </a:lnTo>
                  <a:lnTo>
                    <a:pt x="72" y="176"/>
                  </a:lnTo>
                  <a:lnTo>
                    <a:pt x="72" y="174"/>
                  </a:lnTo>
                  <a:lnTo>
                    <a:pt x="74" y="170"/>
                  </a:lnTo>
                  <a:lnTo>
                    <a:pt x="72" y="172"/>
                  </a:lnTo>
                  <a:lnTo>
                    <a:pt x="64" y="170"/>
                  </a:lnTo>
                  <a:lnTo>
                    <a:pt x="64" y="168"/>
                  </a:lnTo>
                  <a:lnTo>
                    <a:pt x="70" y="160"/>
                  </a:lnTo>
                  <a:lnTo>
                    <a:pt x="70" y="158"/>
                  </a:lnTo>
                  <a:lnTo>
                    <a:pt x="68" y="156"/>
                  </a:lnTo>
                  <a:lnTo>
                    <a:pt x="66" y="154"/>
                  </a:lnTo>
                  <a:lnTo>
                    <a:pt x="66" y="156"/>
                  </a:lnTo>
                  <a:lnTo>
                    <a:pt x="66" y="158"/>
                  </a:lnTo>
                  <a:lnTo>
                    <a:pt x="64" y="160"/>
                  </a:lnTo>
                  <a:lnTo>
                    <a:pt x="62" y="158"/>
                  </a:lnTo>
                  <a:lnTo>
                    <a:pt x="62" y="156"/>
                  </a:lnTo>
                  <a:lnTo>
                    <a:pt x="62" y="154"/>
                  </a:lnTo>
                  <a:lnTo>
                    <a:pt x="64" y="154"/>
                  </a:lnTo>
                  <a:lnTo>
                    <a:pt x="66" y="150"/>
                  </a:lnTo>
                  <a:lnTo>
                    <a:pt x="66" y="148"/>
                  </a:lnTo>
                  <a:lnTo>
                    <a:pt x="64" y="150"/>
                  </a:lnTo>
                  <a:lnTo>
                    <a:pt x="62" y="152"/>
                  </a:lnTo>
                  <a:lnTo>
                    <a:pt x="60" y="154"/>
                  </a:lnTo>
                  <a:lnTo>
                    <a:pt x="58" y="154"/>
                  </a:lnTo>
                  <a:lnTo>
                    <a:pt x="58" y="152"/>
                  </a:lnTo>
                  <a:lnTo>
                    <a:pt x="54" y="148"/>
                  </a:lnTo>
                  <a:lnTo>
                    <a:pt x="52" y="148"/>
                  </a:lnTo>
                  <a:lnTo>
                    <a:pt x="48" y="142"/>
                  </a:lnTo>
                  <a:lnTo>
                    <a:pt x="44" y="142"/>
                  </a:lnTo>
                  <a:lnTo>
                    <a:pt x="40" y="138"/>
                  </a:lnTo>
                  <a:lnTo>
                    <a:pt x="28" y="126"/>
                  </a:lnTo>
                  <a:lnTo>
                    <a:pt x="24" y="120"/>
                  </a:lnTo>
                  <a:lnTo>
                    <a:pt x="26" y="116"/>
                  </a:lnTo>
                  <a:lnTo>
                    <a:pt x="26" y="114"/>
                  </a:lnTo>
                  <a:lnTo>
                    <a:pt x="24" y="116"/>
                  </a:lnTo>
                  <a:lnTo>
                    <a:pt x="22" y="116"/>
                  </a:lnTo>
                  <a:lnTo>
                    <a:pt x="18" y="116"/>
                  </a:lnTo>
                  <a:lnTo>
                    <a:pt x="18" y="112"/>
                  </a:lnTo>
                  <a:lnTo>
                    <a:pt x="22" y="106"/>
                  </a:lnTo>
                  <a:lnTo>
                    <a:pt x="22" y="104"/>
                  </a:lnTo>
                  <a:lnTo>
                    <a:pt x="26" y="100"/>
                  </a:lnTo>
                  <a:lnTo>
                    <a:pt x="28" y="96"/>
                  </a:lnTo>
                  <a:lnTo>
                    <a:pt x="26" y="98"/>
                  </a:lnTo>
                  <a:lnTo>
                    <a:pt x="22" y="102"/>
                  </a:lnTo>
                  <a:lnTo>
                    <a:pt x="22" y="104"/>
                  </a:lnTo>
                  <a:lnTo>
                    <a:pt x="18" y="106"/>
                  </a:lnTo>
                  <a:lnTo>
                    <a:pt x="18" y="104"/>
                  </a:lnTo>
                  <a:lnTo>
                    <a:pt x="18" y="100"/>
                  </a:lnTo>
                  <a:lnTo>
                    <a:pt x="16" y="96"/>
                  </a:lnTo>
                  <a:lnTo>
                    <a:pt x="14" y="96"/>
                  </a:lnTo>
                  <a:lnTo>
                    <a:pt x="14" y="90"/>
                  </a:lnTo>
                  <a:lnTo>
                    <a:pt x="16" y="90"/>
                  </a:lnTo>
                  <a:lnTo>
                    <a:pt x="18" y="90"/>
                  </a:lnTo>
                  <a:lnTo>
                    <a:pt x="20" y="86"/>
                  </a:lnTo>
                  <a:lnTo>
                    <a:pt x="18" y="88"/>
                  </a:lnTo>
                  <a:lnTo>
                    <a:pt x="12" y="88"/>
                  </a:lnTo>
                  <a:lnTo>
                    <a:pt x="8" y="90"/>
                  </a:lnTo>
                  <a:lnTo>
                    <a:pt x="8" y="92"/>
                  </a:lnTo>
                  <a:lnTo>
                    <a:pt x="6" y="98"/>
                  </a:lnTo>
                  <a:lnTo>
                    <a:pt x="4" y="98"/>
                  </a:lnTo>
                  <a:lnTo>
                    <a:pt x="2" y="98"/>
                  </a:lnTo>
                  <a:lnTo>
                    <a:pt x="0" y="94"/>
                  </a:lnTo>
                  <a:lnTo>
                    <a:pt x="0" y="92"/>
                  </a:lnTo>
                  <a:lnTo>
                    <a:pt x="4" y="88"/>
                  </a:lnTo>
                  <a:lnTo>
                    <a:pt x="8" y="86"/>
                  </a:lnTo>
                  <a:lnTo>
                    <a:pt x="8" y="82"/>
                  </a:lnTo>
                  <a:lnTo>
                    <a:pt x="12" y="78"/>
                  </a:lnTo>
                  <a:lnTo>
                    <a:pt x="14" y="74"/>
                  </a:lnTo>
                  <a:lnTo>
                    <a:pt x="14" y="72"/>
                  </a:lnTo>
                  <a:lnTo>
                    <a:pt x="16" y="70"/>
                  </a:lnTo>
                  <a:lnTo>
                    <a:pt x="16" y="68"/>
                  </a:lnTo>
                  <a:lnTo>
                    <a:pt x="18" y="66"/>
                  </a:lnTo>
                  <a:lnTo>
                    <a:pt x="22" y="60"/>
                  </a:lnTo>
                  <a:lnTo>
                    <a:pt x="24" y="60"/>
                  </a:lnTo>
                  <a:lnTo>
                    <a:pt x="26" y="60"/>
                  </a:lnTo>
                  <a:lnTo>
                    <a:pt x="28" y="60"/>
                  </a:lnTo>
                  <a:lnTo>
                    <a:pt x="30" y="60"/>
                  </a:lnTo>
                  <a:lnTo>
                    <a:pt x="32" y="60"/>
                  </a:lnTo>
                  <a:lnTo>
                    <a:pt x="36" y="58"/>
                  </a:lnTo>
                  <a:lnTo>
                    <a:pt x="38" y="58"/>
                  </a:lnTo>
                  <a:lnTo>
                    <a:pt x="42" y="56"/>
                  </a:lnTo>
                  <a:lnTo>
                    <a:pt x="44" y="52"/>
                  </a:lnTo>
                  <a:lnTo>
                    <a:pt x="52" y="54"/>
                  </a:lnTo>
                  <a:lnTo>
                    <a:pt x="52" y="56"/>
                  </a:lnTo>
                  <a:lnTo>
                    <a:pt x="54" y="56"/>
                  </a:lnTo>
                  <a:lnTo>
                    <a:pt x="58" y="56"/>
                  </a:lnTo>
                  <a:lnTo>
                    <a:pt x="70" y="54"/>
                  </a:lnTo>
                  <a:lnTo>
                    <a:pt x="72" y="52"/>
                  </a:lnTo>
                  <a:lnTo>
                    <a:pt x="74" y="48"/>
                  </a:lnTo>
                  <a:lnTo>
                    <a:pt x="74" y="36"/>
                  </a:lnTo>
                  <a:lnTo>
                    <a:pt x="72" y="36"/>
                  </a:lnTo>
                  <a:lnTo>
                    <a:pt x="66" y="30"/>
                  </a:lnTo>
                  <a:lnTo>
                    <a:pt x="64" y="28"/>
                  </a:lnTo>
                  <a:lnTo>
                    <a:pt x="62" y="28"/>
                  </a:lnTo>
                  <a:lnTo>
                    <a:pt x="62" y="26"/>
                  </a:lnTo>
                  <a:lnTo>
                    <a:pt x="68" y="22"/>
                  </a:lnTo>
                  <a:lnTo>
                    <a:pt x="72" y="22"/>
                  </a:lnTo>
                  <a:lnTo>
                    <a:pt x="72" y="24"/>
                  </a:lnTo>
                  <a:lnTo>
                    <a:pt x="74" y="24"/>
                  </a:lnTo>
                  <a:lnTo>
                    <a:pt x="76" y="22"/>
                  </a:lnTo>
                  <a:lnTo>
                    <a:pt x="78" y="20"/>
                  </a:lnTo>
                  <a:lnTo>
                    <a:pt x="80" y="14"/>
                  </a:lnTo>
                  <a:lnTo>
                    <a:pt x="80" y="12"/>
                  </a:lnTo>
                  <a:lnTo>
                    <a:pt x="80" y="10"/>
                  </a:lnTo>
                  <a:lnTo>
                    <a:pt x="78" y="8"/>
                  </a:lnTo>
                  <a:lnTo>
                    <a:pt x="78" y="6"/>
                  </a:lnTo>
                  <a:lnTo>
                    <a:pt x="78" y="4"/>
                  </a:lnTo>
                  <a:lnTo>
                    <a:pt x="78" y="2"/>
                  </a:lnTo>
                  <a:lnTo>
                    <a:pt x="78" y="0"/>
                  </a:lnTo>
                  <a:lnTo>
                    <a:pt x="82" y="2"/>
                  </a:lnTo>
                  <a:lnTo>
                    <a:pt x="96" y="4"/>
                  </a:lnTo>
                  <a:lnTo>
                    <a:pt x="98" y="4"/>
                  </a:lnTo>
                  <a:lnTo>
                    <a:pt x="104" y="4"/>
                  </a:lnTo>
                  <a:lnTo>
                    <a:pt x="110" y="6"/>
                  </a:lnTo>
                  <a:lnTo>
                    <a:pt x="112" y="8"/>
                  </a:lnTo>
                  <a:lnTo>
                    <a:pt x="110" y="10"/>
                  </a:lnTo>
                  <a:lnTo>
                    <a:pt x="110" y="12"/>
                  </a:lnTo>
                  <a:lnTo>
                    <a:pt x="110" y="14"/>
                  </a:lnTo>
                  <a:lnTo>
                    <a:pt x="114" y="14"/>
                  </a:lnTo>
                  <a:lnTo>
                    <a:pt x="116" y="12"/>
                  </a:lnTo>
                  <a:lnTo>
                    <a:pt x="118" y="12"/>
                  </a:lnTo>
                  <a:lnTo>
                    <a:pt x="120" y="14"/>
                  </a:lnTo>
                  <a:lnTo>
                    <a:pt x="124" y="16"/>
                  </a:lnTo>
                  <a:lnTo>
                    <a:pt x="130" y="18"/>
                  </a:lnTo>
                  <a:lnTo>
                    <a:pt x="132" y="22"/>
                  </a:lnTo>
                  <a:lnTo>
                    <a:pt x="138" y="20"/>
                  </a:lnTo>
                  <a:lnTo>
                    <a:pt x="140" y="22"/>
                  </a:lnTo>
                  <a:lnTo>
                    <a:pt x="142" y="22"/>
                  </a:lnTo>
                  <a:lnTo>
                    <a:pt x="144" y="24"/>
                  </a:lnTo>
                  <a:lnTo>
                    <a:pt x="144" y="26"/>
                  </a:lnTo>
                  <a:lnTo>
                    <a:pt x="152" y="26"/>
                  </a:lnTo>
                  <a:lnTo>
                    <a:pt x="154" y="24"/>
                  </a:lnTo>
                  <a:lnTo>
                    <a:pt x="156" y="24"/>
                  </a:lnTo>
                  <a:lnTo>
                    <a:pt x="160" y="22"/>
                  </a:lnTo>
                  <a:lnTo>
                    <a:pt x="168" y="22"/>
                  </a:lnTo>
                  <a:lnTo>
                    <a:pt x="170" y="24"/>
                  </a:lnTo>
                  <a:lnTo>
                    <a:pt x="174" y="24"/>
                  </a:lnTo>
                  <a:lnTo>
                    <a:pt x="176" y="24"/>
                  </a:lnTo>
                  <a:lnTo>
                    <a:pt x="178" y="24"/>
                  </a:lnTo>
                  <a:lnTo>
                    <a:pt x="180" y="22"/>
                  </a:lnTo>
                  <a:lnTo>
                    <a:pt x="186" y="22"/>
                  </a:lnTo>
                  <a:lnTo>
                    <a:pt x="188" y="22"/>
                  </a:lnTo>
                  <a:lnTo>
                    <a:pt x="192" y="24"/>
                  </a:lnTo>
                  <a:lnTo>
                    <a:pt x="194" y="24"/>
                  </a:lnTo>
                  <a:lnTo>
                    <a:pt x="192" y="26"/>
                  </a:lnTo>
                  <a:lnTo>
                    <a:pt x="188" y="34"/>
                  </a:lnTo>
                  <a:lnTo>
                    <a:pt x="186" y="36"/>
                  </a:lnTo>
                  <a:lnTo>
                    <a:pt x="188" y="38"/>
                  </a:lnTo>
                  <a:lnTo>
                    <a:pt x="190" y="40"/>
                  </a:lnTo>
                  <a:lnTo>
                    <a:pt x="192" y="40"/>
                  </a:lnTo>
                  <a:lnTo>
                    <a:pt x="192" y="44"/>
                  </a:lnTo>
                  <a:lnTo>
                    <a:pt x="194" y="46"/>
                  </a:lnTo>
                  <a:lnTo>
                    <a:pt x="198" y="48"/>
                  </a:lnTo>
                  <a:lnTo>
                    <a:pt x="202" y="46"/>
                  </a:lnTo>
                  <a:lnTo>
                    <a:pt x="204" y="46"/>
                  </a:lnTo>
                  <a:lnTo>
                    <a:pt x="206" y="40"/>
                  </a:lnTo>
                  <a:lnTo>
                    <a:pt x="208" y="36"/>
                  </a:lnTo>
                  <a:lnTo>
                    <a:pt x="214" y="36"/>
                  </a:lnTo>
                  <a:lnTo>
                    <a:pt x="216" y="36"/>
                  </a:lnTo>
                  <a:lnTo>
                    <a:pt x="216" y="38"/>
                  </a:lnTo>
                  <a:lnTo>
                    <a:pt x="220" y="42"/>
                  </a:lnTo>
                  <a:lnTo>
                    <a:pt x="224" y="50"/>
                  </a:lnTo>
                  <a:lnTo>
                    <a:pt x="224" y="52"/>
                  </a:lnTo>
                  <a:lnTo>
                    <a:pt x="226" y="54"/>
                  </a:lnTo>
                  <a:lnTo>
                    <a:pt x="232" y="50"/>
                  </a:lnTo>
                  <a:lnTo>
                    <a:pt x="238" y="44"/>
                  </a:lnTo>
                  <a:lnTo>
                    <a:pt x="244" y="42"/>
                  </a:lnTo>
                  <a:lnTo>
                    <a:pt x="244" y="40"/>
                  </a:lnTo>
                  <a:lnTo>
                    <a:pt x="246" y="38"/>
                  </a:lnTo>
                  <a:lnTo>
                    <a:pt x="256" y="42"/>
                  </a:lnTo>
                  <a:lnTo>
                    <a:pt x="266" y="48"/>
                  </a:lnTo>
                  <a:lnTo>
                    <a:pt x="268" y="48"/>
                  </a:lnTo>
                  <a:lnTo>
                    <a:pt x="272" y="50"/>
                  </a:lnTo>
                  <a:lnTo>
                    <a:pt x="276" y="50"/>
                  </a:lnTo>
                  <a:lnTo>
                    <a:pt x="278" y="48"/>
                  </a:lnTo>
                  <a:lnTo>
                    <a:pt x="278" y="46"/>
                  </a:lnTo>
                  <a:lnTo>
                    <a:pt x="278" y="44"/>
                  </a:lnTo>
                  <a:lnTo>
                    <a:pt x="280" y="44"/>
                  </a:lnTo>
                  <a:lnTo>
                    <a:pt x="282" y="42"/>
                  </a:lnTo>
                  <a:lnTo>
                    <a:pt x="290" y="40"/>
                  </a:lnTo>
                  <a:lnTo>
                    <a:pt x="292" y="40"/>
                  </a:lnTo>
                  <a:lnTo>
                    <a:pt x="294" y="40"/>
                  </a:lnTo>
                  <a:lnTo>
                    <a:pt x="296" y="40"/>
                  </a:lnTo>
                  <a:lnTo>
                    <a:pt x="296" y="36"/>
                  </a:lnTo>
                  <a:lnTo>
                    <a:pt x="298" y="34"/>
                  </a:lnTo>
                  <a:lnTo>
                    <a:pt x="294" y="32"/>
                  </a:lnTo>
                  <a:lnTo>
                    <a:pt x="292" y="30"/>
                  </a:lnTo>
                  <a:lnTo>
                    <a:pt x="294" y="28"/>
                  </a:lnTo>
                  <a:lnTo>
                    <a:pt x="296" y="26"/>
                  </a:lnTo>
                  <a:lnTo>
                    <a:pt x="300" y="26"/>
                  </a:lnTo>
                  <a:lnTo>
                    <a:pt x="304" y="28"/>
                  </a:lnTo>
                  <a:lnTo>
                    <a:pt x="308" y="32"/>
                  </a:lnTo>
                  <a:lnTo>
                    <a:pt x="310" y="32"/>
                  </a:lnTo>
                  <a:lnTo>
                    <a:pt x="312" y="34"/>
                  </a:lnTo>
                  <a:lnTo>
                    <a:pt x="314" y="36"/>
                  </a:lnTo>
                  <a:lnTo>
                    <a:pt x="314" y="38"/>
                  </a:lnTo>
                  <a:lnTo>
                    <a:pt x="312" y="40"/>
                  </a:lnTo>
                  <a:lnTo>
                    <a:pt x="312" y="42"/>
                  </a:lnTo>
                  <a:lnTo>
                    <a:pt x="312" y="44"/>
                  </a:lnTo>
                  <a:lnTo>
                    <a:pt x="314" y="46"/>
                  </a:lnTo>
                  <a:lnTo>
                    <a:pt x="320" y="56"/>
                  </a:lnTo>
                  <a:lnTo>
                    <a:pt x="322" y="60"/>
                  </a:lnTo>
                  <a:lnTo>
                    <a:pt x="320" y="62"/>
                  </a:lnTo>
                  <a:lnTo>
                    <a:pt x="316" y="74"/>
                  </a:lnTo>
                  <a:lnTo>
                    <a:pt x="320" y="74"/>
                  </a:lnTo>
                  <a:lnTo>
                    <a:pt x="322" y="74"/>
                  </a:lnTo>
                  <a:lnTo>
                    <a:pt x="324" y="74"/>
                  </a:lnTo>
                  <a:lnTo>
                    <a:pt x="324" y="76"/>
                  </a:lnTo>
                  <a:lnTo>
                    <a:pt x="324" y="78"/>
                  </a:lnTo>
                  <a:lnTo>
                    <a:pt x="324" y="80"/>
                  </a:lnTo>
                  <a:lnTo>
                    <a:pt x="326" y="82"/>
                  </a:lnTo>
                  <a:lnTo>
                    <a:pt x="328" y="84"/>
                  </a:lnTo>
                  <a:lnTo>
                    <a:pt x="330" y="84"/>
                  </a:lnTo>
                  <a:lnTo>
                    <a:pt x="332" y="82"/>
                  </a:lnTo>
                  <a:lnTo>
                    <a:pt x="332" y="86"/>
                  </a:lnTo>
                  <a:lnTo>
                    <a:pt x="334" y="88"/>
                  </a:lnTo>
                  <a:lnTo>
                    <a:pt x="338" y="90"/>
                  </a:lnTo>
                  <a:lnTo>
                    <a:pt x="340" y="90"/>
                  </a:lnTo>
                  <a:lnTo>
                    <a:pt x="340" y="94"/>
                  </a:lnTo>
                  <a:lnTo>
                    <a:pt x="338" y="94"/>
                  </a:lnTo>
                  <a:lnTo>
                    <a:pt x="336" y="94"/>
                  </a:lnTo>
                  <a:lnTo>
                    <a:pt x="334" y="94"/>
                  </a:lnTo>
                  <a:lnTo>
                    <a:pt x="326" y="102"/>
                  </a:lnTo>
                  <a:lnTo>
                    <a:pt x="322" y="108"/>
                  </a:lnTo>
                  <a:lnTo>
                    <a:pt x="322" y="112"/>
                  </a:lnTo>
                  <a:lnTo>
                    <a:pt x="326" y="112"/>
                  </a:lnTo>
                  <a:lnTo>
                    <a:pt x="330" y="110"/>
                  </a:lnTo>
                  <a:lnTo>
                    <a:pt x="334" y="106"/>
                  </a:lnTo>
                  <a:lnTo>
                    <a:pt x="338" y="108"/>
                  </a:lnTo>
                  <a:lnTo>
                    <a:pt x="342" y="110"/>
                  </a:lnTo>
                  <a:lnTo>
                    <a:pt x="340" y="118"/>
                  </a:lnTo>
                  <a:lnTo>
                    <a:pt x="338" y="124"/>
                  </a:lnTo>
                  <a:lnTo>
                    <a:pt x="340" y="134"/>
                  </a:lnTo>
                  <a:lnTo>
                    <a:pt x="340" y="136"/>
                  </a:lnTo>
                  <a:lnTo>
                    <a:pt x="342" y="142"/>
                  </a:lnTo>
                  <a:lnTo>
                    <a:pt x="344" y="142"/>
                  </a:lnTo>
                  <a:lnTo>
                    <a:pt x="346" y="142"/>
                  </a:lnTo>
                  <a:lnTo>
                    <a:pt x="354" y="146"/>
                  </a:lnTo>
                  <a:lnTo>
                    <a:pt x="356" y="152"/>
                  </a:lnTo>
                  <a:lnTo>
                    <a:pt x="354" y="156"/>
                  </a:lnTo>
                  <a:lnTo>
                    <a:pt x="352" y="158"/>
                  </a:lnTo>
                  <a:lnTo>
                    <a:pt x="352" y="160"/>
                  </a:lnTo>
                  <a:lnTo>
                    <a:pt x="350" y="160"/>
                  </a:lnTo>
                  <a:lnTo>
                    <a:pt x="348" y="160"/>
                  </a:lnTo>
                  <a:lnTo>
                    <a:pt x="346" y="162"/>
                  </a:lnTo>
                  <a:lnTo>
                    <a:pt x="344" y="164"/>
                  </a:lnTo>
                  <a:lnTo>
                    <a:pt x="344" y="168"/>
                  </a:lnTo>
                  <a:lnTo>
                    <a:pt x="344" y="170"/>
                  </a:lnTo>
                  <a:lnTo>
                    <a:pt x="346" y="172"/>
                  </a:lnTo>
                  <a:lnTo>
                    <a:pt x="346" y="174"/>
                  </a:lnTo>
                  <a:lnTo>
                    <a:pt x="344" y="184"/>
                  </a:lnTo>
                  <a:lnTo>
                    <a:pt x="344" y="188"/>
                  </a:lnTo>
                  <a:lnTo>
                    <a:pt x="344" y="190"/>
                  </a:lnTo>
                  <a:lnTo>
                    <a:pt x="344" y="192"/>
                  </a:lnTo>
                  <a:lnTo>
                    <a:pt x="346" y="194"/>
                  </a:lnTo>
                  <a:lnTo>
                    <a:pt x="346" y="196"/>
                  </a:lnTo>
                  <a:lnTo>
                    <a:pt x="348" y="196"/>
                  </a:lnTo>
                  <a:lnTo>
                    <a:pt x="352" y="196"/>
                  </a:lnTo>
                  <a:lnTo>
                    <a:pt x="356" y="200"/>
                  </a:lnTo>
                  <a:lnTo>
                    <a:pt x="354" y="206"/>
                  </a:lnTo>
                  <a:lnTo>
                    <a:pt x="354" y="208"/>
                  </a:lnTo>
                  <a:lnTo>
                    <a:pt x="358" y="210"/>
                  </a:lnTo>
                  <a:lnTo>
                    <a:pt x="362" y="212"/>
                  </a:lnTo>
                  <a:lnTo>
                    <a:pt x="362" y="214"/>
                  </a:lnTo>
                  <a:lnTo>
                    <a:pt x="358" y="214"/>
                  </a:lnTo>
                  <a:lnTo>
                    <a:pt x="354" y="216"/>
                  </a:lnTo>
                  <a:lnTo>
                    <a:pt x="352" y="218"/>
                  </a:lnTo>
                  <a:lnTo>
                    <a:pt x="352" y="220"/>
                  </a:lnTo>
                  <a:lnTo>
                    <a:pt x="352" y="222"/>
                  </a:lnTo>
                  <a:lnTo>
                    <a:pt x="350" y="226"/>
                  </a:lnTo>
                  <a:lnTo>
                    <a:pt x="350" y="228"/>
                  </a:lnTo>
                  <a:lnTo>
                    <a:pt x="350" y="230"/>
                  </a:lnTo>
                  <a:lnTo>
                    <a:pt x="352" y="230"/>
                  </a:lnTo>
                  <a:lnTo>
                    <a:pt x="354" y="230"/>
                  </a:lnTo>
                  <a:lnTo>
                    <a:pt x="358" y="232"/>
                  </a:lnTo>
                  <a:lnTo>
                    <a:pt x="360" y="232"/>
                  </a:lnTo>
                  <a:lnTo>
                    <a:pt x="364" y="238"/>
                  </a:lnTo>
                  <a:lnTo>
                    <a:pt x="364" y="242"/>
                  </a:lnTo>
                  <a:lnTo>
                    <a:pt x="364" y="248"/>
                  </a:lnTo>
                  <a:lnTo>
                    <a:pt x="364" y="250"/>
                  </a:lnTo>
                  <a:lnTo>
                    <a:pt x="364" y="252"/>
                  </a:lnTo>
                  <a:lnTo>
                    <a:pt x="362" y="252"/>
                  </a:lnTo>
                  <a:lnTo>
                    <a:pt x="358" y="252"/>
                  </a:lnTo>
                  <a:lnTo>
                    <a:pt x="358" y="250"/>
                  </a:lnTo>
                  <a:lnTo>
                    <a:pt x="358" y="246"/>
                  </a:lnTo>
                  <a:lnTo>
                    <a:pt x="356" y="244"/>
                  </a:lnTo>
                  <a:lnTo>
                    <a:pt x="350" y="244"/>
                  </a:lnTo>
                  <a:lnTo>
                    <a:pt x="336" y="244"/>
                  </a:lnTo>
                  <a:lnTo>
                    <a:pt x="334" y="246"/>
                  </a:lnTo>
                  <a:lnTo>
                    <a:pt x="334" y="254"/>
                  </a:lnTo>
                  <a:lnTo>
                    <a:pt x="334" y="256"/>
                  </a:lnTo>
                  <a:lnTo>
                    <a:pt x="336" y="260"/>
                  </a:lnTo>
                  <a:lnTo>
                    <a:pt x="340" y="262"/>
                  </a:lnTo>
                  <a:lnTo>
                    <a:pt x="342" y="262"/>
                  </a:lnTo>
                  <a:lnTo>
                    <a:pt x="344" y="262"/>
                  </a:lnTo>
                  <a:lnTo>
                    <a:pt x="346" y="262"/>
                  </a:lnTo>
                  <a:lnTo>
                    <a:pt x="348" y="268"/>
                  </a:lnTo>
                  <a:lnTo>
                    <a:pt x="348" y="270"/>
                  </a:lnTo>
                  <a:lnTo>
                    <a:pt x="344" y="268"/>
                  </a:lnTo>
                  <a:lnTo>
                    <a:pt x="342" y="268"/>
                  </a:lnTo>
                  <a:lnTo>
                    <a:pt x="342" y="270"/>
                  </a:lnTo>
                  <a:lnTo>
                    <a:pt x="342" y="272"/>
                  </a:lnTo>
                  <a:lnTo>
                    <a:pt x="342" y="274"/>
                  </a:lnTo>
                  <a:lnTo>
                    <a:pt x="338" y="278"/>
                  </a:lnTo>
                  <a:lnTo>
                    <a:pt x="340" y="280"/>
                  </a:lnTo>
                  <a:lnTo>
                    <a:pt x="340" y="282"/>
                  </a:lnTo>
                  <a:lnTo>
                    <a:pt x="334" y="290"/>
                  </a:lnTo>
                  <a:lnTo>
                    <a:pt x="334" y="292"/>
                  </a:lnTo>
                  <a:lnTo>
                    <a:pt x="332" y="294"/>
                  </a:lnTo>
                  <a:lnTo>
                    <a:pt x="330" y="292"/>
                  </a:lnTo>
                  <a:lnTo>
                    <a:pt x="324" y="290"/>
                  </a:lnTo>
                  <a:lnTo>
                    <a:pt x="320" y="292"/>
                  </a:lnTo>
                  <a:lnTo>
                    <a:pt x="316" y="290"/>
                  </a:lnTo>
                  <a:lnTo>
                    <a:pt x="316" y="288"/>
                  </a:lnTo>
                  <a:lnTo>
                    <a:pt x="316" y="286"/>
                  </a:lnTo>
                  <a:lnTo>
                    <a:pt x="314" y="286"/>
                  </a:lnTo>
                  <a:lnTo>
                    <a:pt x="312" y="286"/>
                  </a:lnTo>
                  <a:lnTo>
                    <a:pt x="310" y="286"/>
                  </a:lnTo>
                  <a:lnTo>
                    <a:pt x="308" y="286"/>
                  </a:lnTo>
                  <a:lnTo>
                    <a:pt x="308" y="292"/>
                  </a:lnTo>
                  <a:lnTo>
                    <a:pt x="308" y="294"/>
                  </a:lnTo>
                  <a:lnTo>
                    <a:pt x="302" y="300"/>
                  </a:lnTo>
                  <a:lnTo>
                    <a:pt x="302" y="306"/>
                  </a:lnTo>
                  <a:lnTo>
                    <a:pt x="300" y="308"/>
                  </a:lnTo>
                  <a:lnTo>
                    <a:pt x="296" y="308"/>
                  </a:lnTo>
                  <a:lnTo>
                    <a:pt x="294" y="308"/>
                  </a:lnTo>
                  <a:lnTo>
                    <a:pt x="290" y="308"/>
                  </a:lnTo>
                  <a:lnTo>
                    <a:pt x="288" y="310"/>
                  </a:lnTo>
                  <a:lnTo>
                    <a:pt x="286" y="310"/>
                  </a:lnTo>
                  <a:lnTo>
                    <a:pt x="288" y="308"/>
                  </a:lnTo>
                  <a:lnTo>
                    <a:pt x="282" y="302"/>
                  </a:lnTo>
                  <a:lnTo>
                    <a:pt x="280" y="300"/>
                  </a:lnTo>
                  <a:lnTo>
                    <a:pt x="276" y="298"/>
                  </a:lnTo>
                  <a:lnTo>
                    <a:pt x="270" y="298"/>
                  </a:lnTo>
                  <a:lnTo>
                    <a:pt x="268" y="298"/>
                  </a:lnTo>
                  <a:lnTo>
                    <a:pt x="268" y="300"/>
                  </a:lnTo>
                  <a:lnTo>
                    <a:pt x="270" y="296"/>
                  </a:lnTo>
                  <a:lnTo>
                    <a:pt x="272" y="294"/>
                  </a:lnTo>
                  <a:lnTo>
                    <a:pt x="274" y="290"/>
                  </a:lnTo>
                  <a:lnTo>
                    <a:pt x="274" y="288"/>
                  </a:lnTo>
                  <a:lnTo>
                    <a:pt x="274" y="286"/>
                  </a:lnTo>
                  <a:lnTo>
                    <a:pt x="274" y="284"/>
                  </a:lnTo>
                  <a:lnTo>
                    <a:pt x="276" y="280"/>
                  </a:lnTo>
                  <a:lnTo>
                    <a:pt x="274" y="276"/>
                  </a:lnTo>
                  <a:lnTo>
                    <a:pt x="272" y="272"/>
                  </a:lnTo>
                  <a:lnTo>
                    <a:pt x="272" y="268"/>
                  </a:lnTo>
                  <a:lnTo>
                    <a:pt x="274" y="268"/>
                  </a:lnTo>
                  <a:lnTo>
                    <a:pt x="274" y="266"/>
                  </a:lnTo>
                  <a:lnTo>
                    <a:pt x="272" y="258"/>
                  </a:lnTo>
                  <a:lnTo>
                    <a:pt x="270" y="248"/>
                  </a:lnTo>
                  <a:lnTo>
                    <a:pt x="264" y="242"/>
                  </a:lnTo>
                  <a:lnTo>
                    <a:pt x="262" y="240"/>
                  </a:lnTo>
                  <a:lnTo>
                    <a:pt x="256" y="238"/>
                  </a:lnTo>
                  <a:lnTo>
                    <a:pt x="254" y="240"/>
                  </a:lnTo>
                  <a:lnTo>
                    <a:pt x="252" y="238"/>
                  </a:lnTo>
                  <a:lnTo>
                    <a:pt x="250" y="238"/>
                  </a:lnTo>
                  <a:lnTo>
                    <a:pt x="248" y="240"/>
                  </a:lnTo>
                  <a:lnTo>
                    <a:pt x="236" y="236"/>
                  </a:lnTo>
                  <a:lnTo>
                    <a:pt x="236" y="238"/>
                  </a:lnTo>
                  <a:lnTo>
                    <a:pt x="232" y="238"/>
                  </a:lnTo>
                  <a:lnTo>
                    <a:pt x="230" y="236"/>
                  </a:lnTo>
                  <a:lnTo>
                    <a:pt x="226" y="238"/>
                  </a:lnTo>
                  <a:lnTo>
                    <a:pt x="224" y="240"/>
                  </a:lnTo>
                  <a:lnTo>
                    <a:pt x="224" y="242"/>
                  </a:lnTo>
                  <a:lnTo>
                    <a:pt x="220" y="244"/>
                  </a:lnTo>
                  <a:lnTo>
                    <a:pt x="218" y="246"/>
                  </a:lnTo>
                  <a:lnTo>
                    <a:pt x="216" y="246"/>
                  </a:lnTo>
                  <a:lnTo>
                    <a:pt x="210" y="246"/>
                  </a:lnTo>
                  <a:lnTo>
                    <a:pt x="210" y="244"/>
                  </a:lnTo>
                  <a:lnTo>
                    <a:pt x="214" y="234"/>
                  </a:lnTo>
                  <a:lnTo>
                    <a:pt x="216" y="232"/>
                  </a:lnTo>
                  <a:lnTo>
                    <a:pt x="218" y="230"/>
                  </a:lnTo>
                  <a:lnTo>
                    <a:pt x="220" y="224"/>
                  </a:lnTo>
                  <a:lnTo>
                    <a:pt x="218" y="220"/>
                  </a:lnTo>
                  <a:lnTo>
                    <a:pt x="216" y="216"/>
                  </a:lnTo>
                  <a:lnTo>
                    <a:pt x="216" y="212"/>
                  </a:lnTo>
                  <a:lnTo>
                    <a:pt x="218" y="210"/>
                  </a:lnTo>
                  <a:lnTo>
                    <a:pt x="218" y="208"/>
                  </a:lnTo>
                  <a:lnTo>
                    <a:pt x="218" y="206"/>
                  </a:lnTo>
                  <a:lnTo>
                    <a:pt x="216" y="206"/>
                  </a:lnTo>
                  <a:lnTo>
                    <a:pt x="214" y="206"/>
                  </a:lnTo>
                  <a:lnTo>
                    <a:pt x="212" y="206"/>
                  </a:lnTo>
                  <a:lnTo>
                    <a:pt x="210" y="204"/>
                  </a:lnTo>
                  <a:lnTo>
                    <a:pt x="212" y="200"/>
                  </a:lnTo>
                  <a:lnTo>
                    <a:pt x="214" y="198"/>
                  </a:lnTo>
                  <a:lnTo>
                    <a:pt x="216" y="194"/>
                  </a:lnTo>
                  <a:lnTo>
                    <a:pt x="214" y="190"/>
                  </a:lnTo>
                  <a:lnTo>
                    <a:pt x="212" y="188"/>
                  </a:lnTo>
                  <a:lnTo>
                    <a:pt x="206" y="184"/>
                  </a:lnTo>
                  <a:lnTo>
                    <a:pt x="204" y="176"/>
                  </a:lnTo>
                  <a:lnTo>
                    <a:pt x="202" y="170"/>
                  </a:lnTo>
                  <a:lnTo>
                    <a:pt x="200" y="168"/>
                  </a:lnTo>
                  <a:lnTo>
                    <a:pt x="198" y="166"/>
                  </a:lnTo>
                  <a:lnTo>
                    <a:pt x="194" y="162"/>
                  </a:lnTo>
                  <a:lnTo>
                    <a:pt x="192" y="156"/>
                  </a:lnTo>
                  <a:lnTo>
                    <a:pt x="190" y="154"/>
                  </a:lnTo>
                  <a:lnTo>
                    <a:pt x="178" y="154"/>
                  </a:lnTo>
                  <a:lnTo>
                    <a:pt x="176" y="154"/>
                  </a:lnTo>
                  <a:lnTo>
                    <a:pt x="172" y="154"/>
                  </a:lnTo>
                  <a:lnTo>
                    <a:pt x="156" y="152"/>
                  </a:lnTo>
                  <a:lnTo>
                    <a:pt x="156" y="154"/>
                  </a:lnTo>
                  <a:lnTo>
                    <a:pt x="156" y="156"/>
                  </a:lnTo>
                  <a:lnTo>
                    <a:pt x="144" y="158"/>
                  </a:lnTo>
                  <a:lnTo>
                    <a:pt x="144" y="156"/>
                  </a:lnTo>
                  <a:lnTo>
                    <a:pt x="144" y="158"/>
                  </a:lnTo>
                  <a:lnTo>
                    <a:pt x="142" y="156"/>
                  </a:lnTo>
                  <a:lnTo>
                    <a:pt x="138" y="156"/>
                  </a:lnTo>
                  <a:lnTo>
                    <a:pt x="138" y="154"/>
                  </a:lnTo>
                  <a:lnTo>
                    <a:pt x="128" y="156"/>
                  </a:lnTo>
                  <a:lnTo>
                    <a:pt x="126" y="156"/>
                  </a:lnTo>
                  <a:lnTo>
                    <a:pt x="120" y="16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6" name="Freeform 1450"/>
            <p:cNvSpPr>
              <a:spLocks/>
            </p:cNvSpPr>
            <p:nvPr/>
          </p:nvSpPr>
          <p:spPr bwMode="auto">
            <a:xfrm>
              <a:off x="5392837" y="3279692"/>
              <a:ext cx="830729" cy="560492"/>
            </a:xfrm>
            <a:custGeom>
              <a:avLst/>
              <a:gdLst/>
              <a:ahLst/>
              <a:cxnLst>
                <a:cxn ang="0">
                  <a:pos x="278" y="306"/>
                </a:cxn>
                <a:cxn ang="0">
                  <a:pos x="244" y="306"/>
                </a:cxn>
                <a:cxn ang="0">
                  <a:pos x="224" y="330"/>
                </a:cxn>
                <a:cxn ang="0">
                  <a:pos x="210" y="344"/>
                </a:cxn>
                <a:cxn ang="0">
                  <a:pos x="212" y="374"/>
                </a:cxn>
                <a:cxn ang="0">
                  <a:pos x="194" y="382"/>
                </a:cxn>
                <a:cxn ang="0">
                  <a:pos x="174" y="380"/>
                </a:cxn>
                <a:cxn ang="0">
                  <a:pos x="154" y="372"/>
                </a:cxn>
                <a:cxn ang="0">
                  <a:pos x="110" y="384"/>
                </a:cxn>
                <a:cxn ang="0">
                  <a:pos x="104" y="414"/>
                </a:cxn>
                <a:cxn ang="0">
                  <a:pos x="88" y="448"/>
                </a:cxn>
                <a:cxn ang="0">
                  <a:pos x="84" y="412"/>
                </a:cxn>
                <a:cxn ang="0">
                  <a:pos x="40" y="372"/>
                </a:cxn>
                <a:cxn ang="0">
                  <a:pos x="34" y="344"/>
                </a:cxn>
                <a:cxn ang="0">
                  <a:pos x="14" y="316"/>
                </a:cxn>
                <a:cxn ang="0">
                  <a:pos x="8" y="294"/>
                </a:cxn>
                <a:cxn ang="0">
                  <a:pos x="10" y="260"/>
                </a:cxn>
                <a:cxn ang="0">
                  <a:pos x="16" y="242"/>
                </a:cxn>
                <a:cxn ang="0">
                  <a:pos x="36" y="204"/>
                </a:cxn>
                <a:cxn ang="0">
                  <a:pos x="58" y="178"/>
                </a:cxn>
                <a:cxn ang="0">
                  <a:pos x="84" y="174"/>
                </a:cxn>
                <a:cxn ang="0">
                  <a:pos x="110" y="160"/>
                </a:cxn>
                <a:cxn ang="0">
                  <a:pos x="130" y="170"/>
                </a:cxn>
                <a:cxn ang="0">
                  <a:pos x="164" y="154"/>
                </a:cxn>
                <a:cxn ang="0">
                  <a:pos x="214" y="148"/>
                </a:cxn>
                <a:cxn ang="0">
                  <a:pos x="228" y="134"/>
                </a:cxn>
                <a:cxn ang="0">
                  <a:pos x="232" y="114"/>
                </a:cxn>
                <a:cxn ang="0">
                  <a:pos x="254" y="102"/>
                </a:cxn>
                <a:cxn ang="0">
                  <a:pos x="302" y="98"/>
                </a:cxn>
                <a:cxn ang="0">
                  <a:pos x="334" y="72"/>
                </a:cxn>
                <a:cxn ang="0">
                  <a:pos x="358" y="44"/>
                </a:cxn>
                <a:cxn ang="0">
                  <a:pos x="370" y="26"/>
                </a:cxn>
                <a:cxn ang="0">
                  <a:pos x="396" y="4"/>
                </a:cxn>
                <a:cxn ang="0">
                  <a:pos x="430" y="6"/>
                </a:cxn>
                <a:cxn ang="0">
                  <a:pos x="468" y="70"/>
                </a:cxn>
                <a:cxn ang="0">
                  <a:pos x="460" y="94"/>
                </a:cxn>
                <a:cxn ang="0">
                  <a:pos x="462" y="110"/>
                </a:cxn>
                <a:cxn ang="0">
                  <a:pos x="488" y="118"/>
                </a:cxn>
                <a:cxn ang="0">
                  <a:pos x="494" y="136"/>
                </a:cxn>
                <a:cxn ang="0">
                  <a:pos x="530" y="144"/>
                </a:cxn>
                <a:cxn ang="0">
                  <a:pos x="546" y="158"/>
                </a:cxn>
                <a:cxn ang="0">
                  <a:pos x="546" y="174"/>
                </a:cxn>
                <a:cxn ang="0">
                  <a:pos x="574" y="194"/>
                </a:cxn>
                <a:cxn ang="0">
                  <a:pos x="604" y="218"/>
                </a:cxn>
                <a:cxn ang="0">
                  <a:pos x="616" y="242"/>
                </a:cxn>
                <a:cxn ang="0">
                  <a:pos x="624" y="252"/>
                </a:cxn>
                <a:cxn ang="0">
                  <a:pos x="648" y="266"/>
                </a:cxn>
                <a:cxn ang="0">
                  <a:pos x="656" y="294"/>
                </a:cxn>
                <a:cxn ang="0">
                  <a:pos x="642" y="296"/>
                </a:cxn>
                <a:cxn ang="0">
                  <a:pos x="624" y="300"/>
                </a:cxn>
                <a:cxn ang="0">
                  <a:pos x="596" y="294"/>
                </a:cxn>
                <a:cxn ang="0">
                  <a:pos x="566" y="286"/>
                </a:cxn>
                <a:cxn ang="0">
                  <a:pos x="550" y="306"/>
                </a:cxn>
                <a:cxn ang="0">
                  <a:pos x="518" y="306"/>
                </a:cxn>
                <a:cxn ang="0">
                  <a:pos x="498" y="310"/>
                </a:cxn>
                <a:cxn ang="0">
                  <a:pos x="454" y="328"/>
                </a:cxn>
                <a:cxn ang="0">
                  <a:pos x="424" y="324"/>
                </a:cxn>
                <a:cxn ang="0">
                  <a:pos x="408" y="350"/>
                </a:cxn>
                <a:cxn ang="0">
                  <a:pos x="388" y="346"/>
                </a:cxn>
                <a:cxn ang="0">
                  <a:pos x="360" y="346"/>
                </a:cxn>
                <a:cxn ang="0">
                  <a:pos x="320" y="336"/>
                </a:cxn>
              </a:cxnLst>
              <a:rect l="0" t="0" r="r" b="b"/>
              <a:pathLst>
                <a:path w="664" h="448">
                  <a:moveTo>
                    <a:pt x="306" y="332"/>
                  </a:moveTo>
                  <a:lnTo>
                    <a:pt x="308" y="326"/>
                  </a:lnTo>
                  <a:lnTo>
                    <a:pt x="302" y="318"/>
                  </a:lnTo>
                  <a:lnTo>
                    <a:pt x="292" y="314"/>
                  </a:lnTo>
                  <a:lnTo>
                    <a:pt x="284" y="308"/>
                  </a:lnTo>
                  <a:lnTo>
                    <a:pt x="282" y="308"/>
                  </a:lnTo>
                  <a:lnTo>
                    <a:pt x="280" y="308"/>
                  </a:lnTo>
                  <a:lnTo>
                    <a:pt x="280" y="306"/>
                  </a:lnTo>
                  <a:lnTo>
                    <a:pt x="278" y="306"/>
                  </a:lnTo>
                  <a:lnTo>
                    <a:pt x="276" y="304"/>
                  </a:lnTo>
                  <a:lnTo>
                    <a:pt x="276" y="302"/>
                  </a:lnTo>
                  <a:lnTo>
                    <a:pt x="274" y="302"/>
                  </a:lnTo>
                  <a:lnTo>
                    <a:pt x="272" y="300"/>
                  </a:lnTo>
                  <a:lnTo>
                    <a:pt x="268" y="300"/>
                  </a:lnTo>
                  <a:lnTo>
                    <a:pt x="266" y="300"/>
                  </a:lnTo>
                  <a:lnTo>
                    <a:pt x="260" y="300"/>
                  </a:lnTo>
                  <a:lnTo>
                    <a:pt x="254" y="300"/>
                  </a:lnTo>
                  <a:lnTo>
                    <a:pt x="244" y="306"/>
                  </a:lnTo>
                  <a:lnTo>
                    <a:pt x="244" y="308"/>
                  </a:lnTo>
                  <a:lnTo>
                    <a:pt x="242" y="310"/>
                  </a:lnTo>
                  <a:lnTo>
                    <a:pt x="238" y="310"/>
                  </a:lnTo>
                  <a:lnTo>
                    <a:pt x="236" y="312"/>
                  </a:lnTo>
                  <a:lnTo>
                    <a:pt x="234" y="316"/>
                  </a:lnTo>
                  <a:lnTo>
                    <a:pt x="232" y="320"/>
                  </a:lnTo>
                  <a:lnTo>
                    <a:pt x="230" y="322"/>
                  </a:lnTo>
                  <a:lnTo>
                    <a:pt x="224" y="328"/>
                  </a:lnTo>
                  <a:lnTo>
                    <a:pt x="224" y="330"/>
                  </a:lnTo>
                  <a:lnTo>
                    <a:pt x="222" y="334"/>
                  </a:lnTo>
                  <a:lnTo>
                    <a:pt x="222" y="338"/>
                  </a:lnTo>
                  <a:lnTo>
                    <a:pt x="220" y="338"/>
                  </a:lnTo>
                  <a:lnTo>
                    <a:pt x="218" y="340"/>
                  </a:lnTo>
                  <a:lnTo>
                    <a:pt x="214" y="340"/>
                  </a:lnTo>
                  <a:lnTo>
                    <a:pt x="212" y="340"/>
                  </a:lnTo>
                  <a:lnTo>
                    <a:pt x="210" y="340"/>
                  </a:lnTo>
                  <a:lnTo>
                    <a:pt x="208" y="342"/>
                  </a:lnTo>
                  <a:lnTo>
                    <a:pt x="210" y="344"/>
                  </a:lnTo>
                  <a:lnTo>
                    <a:pt x="212" y="346"/>
                  </a:lnTo>
                  <a:lnTo>
                    <a:pt x="214" y="350"/>
                  </a:lnTo>
                  <a:lnTo>
                    <a:pt x="214" y="356"/>
                  </a:lnTo>
                  <a:lnTo>
                    <a:pt x="214" y="358"/>
                  </a:lnTo>
                  <a:lnTo>
                    <a:pt x="214" y="360"/>
                  </a:lnTo>
                  <a:lnTo>
                    <a:pt x="214" y="364"/>
                  </a:lnTo>
                  <a:lnTo>
                    <a:pt x="212" y="370"/>
                  </a:lnTo>
                  <a:lnTo>
                    <a:pt x="212" y="372"/>
                  </a:lnTo>
                  <a:lnTo>
                    <a:pt x="212" y="374"/>
                  </a:lnTo>
                  <a:lnTo>
                    <a:pt x="214" y="382"/>
                  </a:lnTo>
                  <a:lnTo>
                    <a:pt x="214" y="384"/>
                  </a:lnTo>
                  <a:lnTo>
                    <a:pt x="212" y="384"/>
                  </a:lnTo>
                  <a:lnTo>
                    <a:pt x="210" y="382"/>
                  </a:lnTo>
                  <a:lnTo>
                    <a:pt x="208" y="378"/>
                  </a:lnTo>
                  <a:lnTo>
                    <a:pt x="206" y="376"/>
                  </a:lnTo>
                  <a:lnTo>
                    <a:pt x="204" y="378"/>
                  </a:lnTo>
                  <a:lnTo>
                    <a:pt x="194" y="380"/>
                  </a:lnTo>
                  <a:lnTo>
                    <a:pt x="194" y="382"/>
                  </a:lnTo>
                  <a:lnTo>
                    <a:pt x="194" y="384"/>
                  </a:lnTo>
                  <a:lnTo>
                    <a:pt x="192" y="384"/>
                  </a:lnTo>
                  <a:lnTo>
                    <a:pt x="190" y="384"/>
                  </a:lnTo>
                  <a:lnTo>
                    <a:pt x="190" y="382"/>
                  </a:lnTo>
                  <a:lnTo>
                    <a:pt x="188" y="380"/>
                  </a:lnTo>
                  <a:lnTo>
                    <a:pt x="184" y="380"/>
                  </a:lnTo>
                  <a:lnTo>
                    <a:pt x="176" y="382"/>
                  </a:lnTo>
                  <a:lnTo>
                    <a:pt x="174" y="382"/>
                  </a:lnTo>
                  <a:lnTo>
                    <a:pt x="174" y="380"/>
                  </a:lnTo>
                  <a:lnTo>
                    <a:pt x="172" y="378"/>
                  </a:lnTo>
                  <a:lnTo>
                    <a:pt x="170" y="378"/>
                  </a:lnTo>
                  <a:lnTo>
                    <a:pt x="166" y="376"/>
                  </a:lnTo>
                  <a:lnTo>
                    <a:pt x="164" y="376"/>
                  </a:lnTo>
                  <a:lnTo>
                    <a:pt x="162" y="376"/>
                  </a:lnTo>
                  <a:lnTo>
                    <a:pt x="160" y="376"/>
                  </a:lnTo>
                  <a:lnTo>
                    <a:pt x="158" y="374"/>
                  </a:lnTo>
                  <a:lnTo>
                    <a:pt x="156" y="372"/>
                  </a:lnTo>
                  <a:lnTo>
                    <a:pt x="154" y="372"/>
                  </a:lnTo>
                  <a:lnTo>
                    <a:pt x="152" y="374"/>
                  </a:lnTo>
                  <a:lnTo>
                    <a:pt x="148" y="378"/>
                  </a:lnTo>
                  <a:lnTo>
                    <a:pt x="136" y="380"/>
                  </a:lnTo>
                  <a:lnTo>
                    <a:pt x="128" y="380"/>
                  </a:lnTo>
                  <a:lnTo>
                    <a:pt x="124" y="380"/>
                  </a:lnTo>
                  <a:lnTo>
                    <a:pt x="116" y="382"/>
                  </a:lnTo>
                  <a:lnTo>
                    <a:pt x="114" y="382"/>
                  </a:lnTo>
                  <a:lnTo>
                    <a:pt x="112" y="382"/>
                  </a:lnTo>
                  <a:lnTo>
                    <a:pt x="110" y="384"/>
                  </a:lnTo>
                  <a:lnTo>
                    <a:pt x="108" y="386"/>
                  </a:lnTo>
                  <a:lnTo>
                    <a:pt x="108" y="388"/>
                  </a:lnTo>
                  <a:lnTo>
                    <a:pt x="108" y="392"/>
                  </a:lnTo>
                  <a:lnTo>
                    <a:pt x="106" y="396"/>
                  </a:lnTo>
                  <a:lnTo>
                    <a:pt x="106" y="398"/>
                  </a:lnTo>
                  <a:lnTo>
                    <a:pt x="104" y="400"/>
                  </a:lnTo>
                  <a:lnTo>
                    <a:pt x="104" y="402"/>
                  </a:lnTo>
                  <a:lnTo>
                    <a:pt x="104" y="412"/>
                  </a:lnTo>
                  <a:lnTo>
                    <a:pt x="104" y="414"/>
                  </a:lnTo>
                  <a:lnTo>
                    <a:pt x="104" y="416"/>
                  </a:lnTo>
                  <a:lnTo>
                    <a:pt x="106" y="416"/>
                  </a:lnTo>
                  <a:lnTo>
                    <a:pt x="104" y="418"/>
                  </a:lnTo>
                  <a:lnTo>
                    <a:pt x="102" y="424"/>
                  </a:lnTo>
                  <a:lnTo>
                    <a:pt x="100" y="426"/>
                  </a:lnTo>
                  <a:lnTo>
                    <a:pt x="94" y="438"/>
                  </a:lnTo>
                  <a:lnTo>
                    <a:pt x="94" y="442"/>
                  </a:lnTo>
                  <a:lnTo>
                    <a:pt x="90" y="448"/>
                  </a:lnTo>
                  <a:lnTo>
                    <a:pt x="88" y="448"/>
                  </a:lnTo>
                  <a:lnTo>
                    <a:pt x="86" y="442"/>
                  </a:lnTo>
                  <a:lnTo>
                    <a:pt x="84" y="438"/>
                  </a:lnTo>
                  <a:lnTo>
                    <a:pt x="84" y="434"/>
                  </a:lnTo>
                  <a:lnTo>
                    <a:pt x="84" y="432"/>
                  </a:lnTo>
                  <a:lnTo>
                    <a:pt x="84" y="420"/>
                  </a:lnTo>
                  <a:lnTo>
                    <a:pt x="84" y="418"/>
                  </a:lnTo>
                  <a:lnTo>
                    <a:pt x="84" y="416"/>
                  </a:lnTo>
                  <a:lnTo>
                    <a:pt x="84" y="414"/>
                  </a:lnTo>
                  <a:lnTo>
                    <a:pt x="84" y="412"/>
                  </a:lnTo>
                  <a:lnTo>
                    <a:pt x="76" y="404"/>
                  </a:lnTo>
                  <a:lnTo>
                    <a:pt x="74" y="404"/>
                  </a:lnTo>
                  <a:lnTo>
                    <a:pt x="72" y="404"/>
                  </a:lnTo>
                  <a:lnTo>
                    <a:pt x="70" y="404"/>
                  </a:lnTo>
                  <a:lnTo>
                    <a:pt x="68" y="402"/>
                  </a:lnTo>
                  <a:lnTo>
                    <a:pt x="58" y="392"/>
                  </a:lnTo>
                  <a:lnTo>
                    <a:pt x="44" y="376"/>
                  </a:lnTo>
                  <a:lnTo>
                    <a:pt x="42" y="374"/>
                  </a:lnTo>
                  <a:lnTo>
                    <a:pt x="40" y="372"/>
                  </a:lnTo>
                  <a:lnTo>
                    <a:pt x="36" y="366"/>
                  </a:lnTo>
                  <a:lnTo>
                    <a:pt x="34" y="364"/>
                  </a:lnTo>
                  <a:lnTo>
                    <a:pt x="32" y="362"/>
                  </a:lnTo>
                  <a:lnTo>
                    <a:pt x="32" y="360"/>
                  </a:lnTo>
                  <a:lnTo>
                    <a:pt x="30" y="356"/>
                  </a:lnTo>
                  <a:lnTo>
                    <a:pt x="36" y="354"/>
                  </a:lnTo>
                  <a:lnTo>
                    <a:pt x="34" y="350"/>
                  </a:lnTo>
                  <a:lnTo>
                    <a:pt x="34" y="346"/>
                  </a:lnTo>
                  <a:lnTo>
                    <a:pt x="34" y="344"/>
                  </a:lnTo>
                  <a:lnTo>
                    <a:pt x="32" y="342"/>
                  </a:lnTo>
                  <a:lnTo>
                    <a:pt x="30" y="336"/>
                  </a:lnTo>
                  <a:lnTo>
                    <a:pt x="26" y="334"/>
                  </a:lnTo>
                  <a:lnTo>
                    <a:pt x="24" y="332"/>
                  </a:lnTo>
                  <a:lnTo>
                    <a:pt x="18" y="330"/>
                  </a:lnTo>
                  <a:lnTo>
                    <a:pt x="16" y="326"/>
                  </a:lnTo>
                  <a:lnTo>
                    <a:pt x="14" y="324"/>
                  </a:lnTo>
                  <a:lnTo>
                    <a:pt x="14" y="320"/>
                  </a:lnTo>
                  <a:lnTo>
                    <a:pt x="14" y="316"/>
                  </a:lnTo>
                  <a:lnTo>
                    <a:pt x="14" y="312"/>
                  </a:lnTo>
                  <a:lnTo>
                    <a:pt x="14" y="306"/>
                  </a:lnTo>
                  <a:lnTo>
                    <a:pt x="12" y="306"/>
                  </a:lnTo>
                  <a:lnTo>
                    <a:pt x="12" y="304"/>
                  </a:lnTo>
                  <a:lnTo>
                    <a:pt x="12" y="300"/>
                  </a:lnTo>
                  <a:lnTo>
                    <a:pt x="12" y="296"/>
                  </a:lnTo>
                  <a:lnTo>
                    <a:pt x="10" y="296"/>
                  </a:lnTo>
                  <a:lnTo>
                    <a:pt x="10" y="294"/>
                  </a:lnTo>
                  <a:lnTo>
                    <a:pt x="8" y="294"/>
                  </a:lnTo>
                  <a:lnTo>
                    <a:pt x="6" y="292"/>
                  </a:lnTo>
                  <a:lnTo>
                    <a:pt x="6" y="290"/>
                  </a:lnTo>
                  <a:lnTo>
                    <a:pt x="6" y="288"/>
                  </a:lnTo>
                  <a:lnTo>
                    <a:pt x="8" y="288"/>
                  </a:lnTo>
                  <a:lnTo>
                    <a:pt x="8" y="286"/>
                  </a:lnTo>
                  <a:lnTo>
                    <a:pt x="10" y="280"/>
                  </a:lnTo>
                  <a:lnTo>
                    <a:pt x="10" y="268"/>
                  </a:lnTo>
                  <a:lnTo>
                    <a:pt x="10" y="264"/>
                  </a:lnTo>
                  <a:lnTo>
                    <a:pt x="10" y="260"/>
                  </a:lnTo>
                  <a:lnTo>
                    <a:pt x="8" y="258"/>
                  </a:lnTo>
                  <a:lnTo>
                    <a:pt x="6" y="260"/>
                  </a:lnTo>
                  <a:lnTo>
                    <a:pt x="4" y="258"/>
                  </a:lnTo>
                  <a:lnTo>
                    <a:pt x="0" y="254"/>
                  </a:lnTo>
                  <a:lnTo>
                    <a:pt x="0" y="252"/>
                  </a:lnTo>
                  <a:lnTo>
                    <a:pt x="0" y="250"/>
                  </a:lnTo>
                  <a:lnTo>
                    <a:pt x="2" y="250"/>
                  </a:lnTo>
                  <a:lnTo>
                    <a:pt x="8" y="244"/>
                  </a:lnTo>
                  <a:lnTo>
                    <a:pt x="16" y="242"/>
                  </a:lnTo>
                  <a:lnTo>
                    <a:pt x="20" y="238"/>
                  </a:lnTo>
                  <a:lnTo>
                    <a:pt x="18" y="234"/>
                  </a:lnTo>
                  <a:lnTo>
                    <a:pt x="20" y="232"/>
                  </a:lnTo>
                  <a:lnTo>
                    <a:pt x="26" y="220"/>
                  </a:lnTo>
                  <a:lnTo>
                    <a:pt x="28" y="218"/>
                  </a:lnTo>
                  <a:lnTo>
                    <a:pt x="30" y="218"/>
                  </a:lnTo>
                  <a:lnTo>
                    <a:pt x="32" y="216"/>
                  </a:lnTo>
                  <a:lnTo>
                    <a:pt x="36" y="206"/>
                  </a:lnTo>
                  <a:lnTo>
                    <a:pt x="36" y="204"/>
                  </a:lnTo>
                  <a:lnTo>
                    <a:pt x="38" y="202"/>
                  </a:lnTo>
                  <a:lnTo>
                    <a:pt x="40" y="194"/>
                  </a:lnTo>
                  <a:lnTo>
                    <a:pt x="42" y="192"/>
                  </a:lnTo>
                  <a:lnTo>
                    <a:pt x="42" y="190"/>
                  </a:lnTo>
                  <a:lnTo>
                    <a:pt x="44" y="188"/>
                  </a:lnTo>
                  <a:lnTo>
                    <a:pt x="50" y="186"/>
                  </a:lnTo>
                  <a:lnTo>
                    <a:pt x="52" y="184"/>
                  </a:lnTo>
                  <a:lnTo>
                    <a:pt x="56" y="176"/>
                  </a:lnTo>
                  <a:lnTo>
                    <a:pt x="58" y="178"/>
                  </a:lnTo>
                  <a:lnTo>
                    <a:pt x="62" y="176"/>
                  </a:lnTo>
                  <a:lnTo>
                    <a:pt x="64" y="176"/>
                  </a:lnTo>
                  <a:lnTo>
                    <a:pt x="66" y="178"/>
                  </a:lnTo>
                  <a:lnTo>
                    <a:pt x="66" y="180"/>
                  </a:lnTo>
                  <a:lnTo>
                    <a:pt x="70" y="180"/>
                  </a:lnTo>
                  <a:lnTo>
                    <a:pt x="76" y="180"/>
                  </a:lnTo>
                  <a:lnTo>
                    <a:pt x="80" y="178"/>
                  </a:lnTo>
                  <a:lnTo>
                    <a:pt x="82" y="176"/>
                  </a:lnTo>
                  <a:lnTo>
                    <a:pt x="84" y="174"/>
                  </a:lnTo>
                  <a:lnTo>
                    <a:pt x="86" y="174"/>
                  </a:lnTo>
                  <a:lnTo>
                    <a:pt x="88" y="174"/>
                  </a:lnTo>
                  <a:lnTo>
                    <a:pt x="92" y="172"/>
                  </a:lnTo>
                  <a:lnTo>
                    <a:pt x="102" y="168"/>
                  </a:lnTo>
                  <a:lnTo>
                    <a:pt x="102" y="166"/>
                  </a:lnTo>
                  <a:lnTo>
                    <a:pt x="102" y="164"/>
                  </a:lnTo>
                  <a:lnTo>
                    <a:pt x="106" y="160"/>
                  </a:lnTo>
                  <a:lnTo>
                    <a:pt x="108" y="160"/>
                  </a:lnTo>
                  <a:lnTo>
                    <a:pt x="110" y="160"/>
                  </a:lnTo>
                  <a:lnTo>
                    <a:pt x="110" y="162"/>
                  </a:lnTo>
                  <a:lnTo>
                    <a:pt x="110" y="164"/>
                  </a:lnTo>
                  <a:lnTo>
                    <a:pt x="120" y="176"/>
                  </a:lnTo>
                  <a:lnTo>
                    <a:pt x="122" y="176"/>
                  </a:lnTo>
                  <a:lnTo>
                    <a:pt x="124" y="176"/>
                  </a:lnTo>
                  <a:lnTo>
                    <a:pt x="124" y="174"/>
                  </a:lnTo>
                  <a:lnTo>
                    <a:pt x="126" y="172"/>
                  </a:lnTo>
                  <a:lnTo>
                    <a:pt x="128" y="172"/>
                  </a:lnTo>
                  <a:lnTo>
                    <a:pt x="130" y="170"/>
                  </a:lnTo>
                  <a:lnTo>
                    <a:pt x="134" y="170"/>
                  </a:lnTo>
                  <a:lnTo>
                    <a:pt x="138" y="168"/>
                  </a:lnTo>
                  <a:lnTo>
                    <a:pt x="142" y="166"/>
                  </a:lnTo>
                  <a:lnTo>
                    <a:pt x="144" y="164"/>
                  </a:lnTo>
                  <a:lnTo>
                    <a:pt x="150" y="160"/>
                  </a:lnTo>
                  <a:lnTo>
                    <a:pt x="154" y="158"/>
                  </a:lnTo>
                  <a:lnTo>
                    <a:pt x="158" y="158"/>
                  </a:lnTo>
                  <a:lnTo>
                    <a:pt x="160" y="156"/>
                  </a:lnTo>
                  <a:lnTo>
                    <a:pt x="164" y="154"/>
                  </a:lnTo>
                  <a:lnTo>
                    <a:pt x="168" y="154"/>
                  </a:lnTo>
                  <a:lnTo>
                    <a:pt x="176" y="156"/>
                  </a:lnTo>
                  <a:lnTo>
                    <a:pt x="184" y="152"/>
                  </a:lnTo>
                  <a:lnTo>
                    <a:pt x="194" y="152"/>
                  </a:lnTo>
                  <a:lnTo>
                    <a:pt x="204" y="152"/>
                  </a:lnTo>
                  <a:lnTo>
                    <a:pt x="210" y="152"/>
                  </a:lnTo>
                  <a:lnTo>
                    <a:pt x="212" y="152"/>
                  </a:lnTo>
                  <a:lnTo>
                    <a:pt x="214" y="150"/>
                  </a:lnTo>
                  <a:lnTo>
                    <a:pt x="214" y="148"/>
                  </a:lnTo>
                  <a:lnTo>
                    <a:pt x="214" y="146"/>
                  </a:lnTo>
                  <a:lnTo>
                    <a:pt x="214" y="144"/>
                  </a:lnTo>
                  <a:lnTo>
                    <a:pt x="216" y="144"/>
                  </a:lnTo>
                  <a:lnTo>
                    <a:pt x="216" y="142"/>
                  </a:lnTo>
                  <a:lnTo>
                    <a:pt x="218" y="142"/>
                  </a:lnTo>
                  <a:lnTo>
                    <a:pt x="220" y="142"/>
                  </a:lnTo>
                  <a:lnTo>
                    <a:pt x="224" y="140"/>
                  </a:lnTo>
                  <a:lnTo>
                    <a:pt x="226" y="138"/>
                  </a:lnTo>
                  <a:lnTo>
                    <a:pt x="228" y="134"/>
                  </a:lnTo>
                  <a:lnTo>
                    <a:pt x="228" y="132"/>
                  </a:lnTo>
                  <a:lnTo>
                    <a:pt x="230" y="132"/>
                  </a:lnTo>
                  <a:lnTo>
                    <a:pt x="232" y="128"/>
                  </a:lnTo>
                  <a:lnTo>
                    <a:pt x="236" y="124"/>
                  </a:lnTo>
                  <a:lnTo>
                    <a:pt x="238" y="122"/>
                  </a:lnTo>
                  <a:lnTo>
                    <a:pt x="240" y="120"/>
                  </a:lnTo>
                  <a:lnTo>
                    <a:pt x="238" y="118"/>
                  </a:lnTo>
                  <a:lnTo>
                    <a:pt x="234" y="114"/>
                  </a:lnTo>
                  <a:lnTo>
                    <a:pt x="232" y="114"/>
                  </a:lnTo>
                  <a:lnTo>
                    <a:pt x="230" y="112"/>
                  </a:lnTo>
                  <a:lnTo>
                    <a:pt x="226" y="110"/>
                  </a:lnTo>
                  <a:lnTo>
                    <a:pt x="228" y="108"/>
                  </a:lnTo>
                  <a:lnTo>
                    <a:pt x="230" y="106"/>
                  </a:lnTo>
                  <a:lnTo>
                    <a:pt x="232" y="104"/>
                  </a:lnTo>
                  <a:lnTo>
                    <a:pt x="234" y="102"/>
                  </a:lnTo>
                  <a:lnTo>
                    <a:pt x="238" y="102"/>
                  </a:lnTo>
                  <a:lnTo>
                    <a:pt x="242" y="100"/>
                  </a:lnTo>
                  <a:lnTo>
                    <a:pt x="254" y="102"/>
                  </a:lnTo>
                  <a:lnTo>
                    <a:pt x="264" y="100"/>
                  </a:lnTo>
                  <a:lnTo>
                    <a:pt x="276" y="100"/>
                  </a:lnTo>
                  <a:lnTo>
                    <a:pt x="280" y="100"/>
                  </a:lnTo>
                  <a:lnTo>
                    <a:pt x="282" y="98"/>
                  </a:lnTo>
                  <a:lnTo>
                    <a:pt x="288" y="96"/>
                  </a:lnTo>
                  <a:lnTo>
                    <a:pt x="292" y="96"/>
                  </a:lnTo>
                  <a:lnTo>
                    <a:pt x="298" y="96"/>
                  </a:lnTo>
                  <a:lnTo>
                    <a:pt x="300" y="98"/>
                  </a:lnTo>
                  <a:lnTo>
                    <a:pt x="302" y="98"/>
                  </a:lnTo>
                  <a:lnTo>
                    <a:pt x="304" y="96"/>
                  </a:lnTo>
                  <a:lnTo>
                    <a:pt x="306" y="94"/>
                  </a:lnTo>
                  <a:lnTo>
                    <a:pt x="308" y="92"/>
                  </a:lnTo>
                  <a:lnTo>
                    <a:pt x="310" y="90"/>
                  </a:lnTo>
                  <a:lnTo>
                    <a:pt x="310" y="88"/>
                  </a:lnTo>
                  <a:lnTo>
                    <a:pt x="324" y="80"/>
                  </a:lnTo>
                  <a:lnTo>
                    <a:pt x="326" y="78"/>
                  </a:lnTo>
                  <a:lnTo>
                    <a:pt x="328" y="76"/>
                  </a:lnTo>
                  <a:lnTo>
                    <a:pt x="334" y="72"/>
                  </a:lnTo>
                  <a:lnTo>
                    <a:pt x="336" y="64"/>
                  </a:lnTo>
                  <a:lnTo>
                    <a:pt x="346" y="54"/>
                  </a:lnTo>
                  <a:lnTo>
                    <a:pt x="348" y="52"/>
                  </a:lnTo>
                  <a:lnTo>
                    <a:pt x="352" y="54"/>
                  </a:lnTo>
                  <a:lnTo>
                    <a:pt x="352" y="52"/>
                  </a:lnTo>
                  <a:lnTo>
                    <a:pt x="356" y="50"/>
                  </a:lnTo>
                  <a:lnTo>
                    <a:pt x="356" y="48"/>
                  </a:lnTo>
                  <a:lnTo>
                    <a:pt x="356" y="46"/>
                  </a:lnTo>
                  <a:lnTo>
                    <a:pt x="358" y="44"/>
                  </a:lnTo>
                  <a:lnTo>
                    <a:pt x="360" y="42"/>
                  </a:lnTo>
                  <a:lnTo>
                    <a:pt x="360" y="40"/>
                  </a:lnTo>
                  <a:lnTo>
                    <a:pt x="362" y="40"/>
                  </a:lnTo>
                  <a:lnTo>
                    <a:pt x="366" y="40"/>
                  </a:lnTo>
                  <a:lnTo>
                    <a:pt x="368" y="38"/>
                  </a:lnTo>
                  <a:lnTo>
                    <a:pt x="370" y="36"/>
                  </a:lnTo>
                  <a:lnTo>
                    <a:pt x="372" y="30"/>
                  </a:lnTo>
                  <a:lnTo>
                    <a:pt x="372" y="28"/>
                  </a:lnTo>
                  <a:lnTo>
                    <a:pt x="370" y="26"/>
                  </a:lnTo>
                  <a:lnTo>
                    <a:pt x="370" y="24"/>
                  </a:lnTo>
                  <a:lnTo>
                    <a:pt x="370" y="22"/>
                  </a:lnTo>
                  <a:lnTo>
                    <a:pt x="370" y="18"/>
                  </a:lnTo>
                  <a:lnTo>
                    <a:pt x="374" y="16"/>
                  </a:lnTo>
                  <a:lnTo>
                    <a:pt x="376" y="16"/>
                  </a:lnTo>
                  <a:lnTo>
                    <a:pt x="378" y="14"/>
                  </a:lnTo>
                  <a:lnTo>
                    <a:pt x="382" y="14"/>
                  </a:lnTo>
                  <a:lnTo>
                    <a:pt x="384" y="12"/>
                  </a:lnTo>
                  <a:lnTo>
                    <a:pt x="396" y="4"/>
                  </a:lnTo>
                  <a:lnTo>
                    <a:pt x="400" y="2"/>
                  </a:lnTo>
                  <a:lnTo>
                    <a:pt x="402" y="2"/>
                  </a:lnTo>
                  <a:lnTo>
                    <a:pt x="406" y="2"/>
                  </a:lnTo>
                  <a:lnTo>
                    <a:pt x="406" y="0"/>
                  </a:lnTo>
                  <a:lnTo>
                    <a:pt x="408" y="0"/>
                  </a:lnTo>
                  <a:lnTo>
                    <a:pt x="418" y="2"/>
                  </a:lnTo>
                  <a:lnTo>
                    <a:pt x="426" y="2"/>
                  </a:lnTo>
                  <a:lnTo>
                    <a:pt x="428" y="4"/>
                  </a:lnTo>
                  <a:lnTo>
                    <a:pt x="430" y="6"/>
                  </a:lnTo>
                  <a:lnTo>
                    <a:pt x="432" y="10"/>
                  </a:lnTo>
                  <a:lnTo>
                    <a:pt x="434" y="14"/>
                  </a:lnTo>
                  <a:lnTo>
                    <a:pt x="438" y="16"/>
                  </a:lnTo>
                  <a:lnTo>
                    <a:pt x="450" y="28"/>
                  </a:lnTo>
                  <a:lnTo>
                    <a:pt x="452" y="28"/>
                  </a:lnTo>
                  <a:lnTo>
                    <a:pt x="462" y="46"/>
                  </a:lnTo>
                  <a:lnTo>
                    <a:pt x="468" y="56"/>
                  </a:lnTo>
                  <a:lnTo>
                    <a:pt x="470" y="68"/>
                  </a:lnTo>
                  <a:lnTo>
                    <a:pt x="468" y="70"/>
                  </a:lnTo>
                  <a:lnTo>
                    <a:pt x="468" y="72"/>
                  </a:lnTo>
                  <a:lnTo>
                    <a:pt x="466" y="74"/>
                  </a:lnTo>
                  <a:lnTo>
                    <a:pt x="468" y="78"/>
                  </a:lnTo>
                  <a:lnTo>
                    <a:pt x="468" y="80"/>
                  </a:lnTo>
                  <a:lnTo>
                    <a:pt x="468" y="88"/>
                  </a:lnTo>
                  <a:lnTo>
                    <a:pt x="464" y="92"/>
                  </a:lnTo>
                  <a:lnTo>
                    <a:pt x="462" y="92"/>
                  </a:lnTo>
                  <a:lnTo>
                    <a:pt x="460" y="92"/>
                  </a:lnTo>
                  <a:lnTo>
                    <a:pt x="460" y="94"/>
                  </a:lnTo>
                  <a:lnTo>
                    <a:pt x="460" y="96"/>
                  </a:lnTo>
                  <a:lnTo>
                    <a:pt x="458" y="100"/>
                  </a:lnTo>
                  <a:lnTo>
                    <a:pt x="458" y="102"/>
                  </a:lnTo>
                  <a:lnTo>
                    <a:pt x="460" y="104"/>
                  </a:lnTo>
                  <a:lnTo>
                    <a:pt x="462" y="104"/>
                  </a:lnTo>
                  <a:lnTo>
                    <a:pt x="464" y="102"/>
                  </a:lnTo>
                  <a:lnTo>
                    <a:pt x="464" y="106"/>
                  </a:lnTo>
                  <a:lnTo>
                    <a:pt x="464" y="108"/>
                  </a:lnTo>
                  <a:lnTo>
                    <a:pt x="462" y="110"/>
                  </a:lnTo>
                  <a:lnTo>
                    <a:pt x="462" y="112"/>
                  </a:lnTo>
                  <a:lnTo>
                    <a:pt x="460" y="114"/>
                  </a:lnTo>
                  <a:lnTo>
                    <a:pt x="462" y="116"/>
                  </a:lnTo>
                  <a:lnTo>
                    <a:pt x="464" y="116"/>
                  </a:lnTo>
                  <a:lnTo>
                    <a:pt x="474" y="116"/>
                  </a:lnTo>
                  <a:lnTo>
                    <a:pt x="476" y="116"/>
                  </a:lnTo>
                  <a:lnTo>
                    <a:pt x="482" y="116"/>
                  </a:lnTo>
                  <a:lnTo>
                    <a:pt x="486" y="116"/>
                  </a:lnTo>
                  <a:lnTo>
                    <a:pt x="488" y="118"/>
                  </a:lnTo>
                  <a:lnTo>
                    <a:pt x="490" y="118"/>
                  </a:lnTo>
                  <a:lnTo>
                    <a:pt x="494" y="118"/>
                  </a:lnTo>
                  <a:lnTo>
                    <a:pt x="496" y="118"/>
                  </a:lnTo>
                  <a:lnTo>
                    <a:pt x="500" y="122"/>
                  </a:lnTo>
                  <a:lnTo>
                    <a:pt x="498" y="124"/>
                  </a:lnTo>
                  <a:lnTo>
                    <a:pt x="496" y="126"/>
                  </a:lnTo>
                  <a:lnTo>
                    <a:pt x="494" y="128"/>
                  </a:lnTo>
                  <a:lnTo>
                    <a:pt x="494" y="134"/>
                  </a:lnTo>
                  <a:lnTo>
                    <a:pt x="494" y="136"/>
                  </a:lnTo>
                  <a:lnTo>
                    <a:pt x="496" y="136"/>
                  </a:lnTo>
                  <a:lnTo>
                    <a:pt x="498" y="138"/>
                  </a:lnTo>
                  <a:lnTo>
                    <a:pt x="504" y="140"/>
                  </a:lnTo>
                  <a:lnTo>
                    <a:pt x="510" y="140"/>
                  </a:lnTo>
                  <a:lnTo>
                    <a:pt x="518" y="142"/>
                  </a:lnTo>
                  <a:lnTo>
                    <a:pt x="520" y="142"/>
                  </a:lnTo>
                  <a:lnTo>
                    <a:pt x="522" y="142"/>
                  </a:lnTo>
                  <a:lnTo>
                    <a:pt x="528" y="142"/>
                  </a:lnTo>
                  <a:lnTo>
                    <a:pt x="530" y="144"/>
                  </a:lnTo>
                  <a:lnTo>
                    <a:pt x="534" y="148"/>
                  </a:lnTo>
                  <a:lnTo>
                    <a:pt x="534" y="150"/>
                  </a:lnTo>
                  <a:lnTo>
                    <a:pt x="536" y="152"/>
                  </a:lnTo>
                  <a:lnTo>
                    <a:pt x="538" y="154"/>
                  </a:lnTo>
                  <a:lnTo>
                    <a:pt x="540" y="156"/>
                  </a:lnTo>
                  <a:lnTo>
                    <a:pt x="540" y="158"/>
                  </a:lnTo>
                  <a:lnTo>
                    <a:pt x="542" y="158"/>
                  </a:lnTo>
                  <a:lnTo>
                    <a:pt x="544" y="158"/>
                  </a:lnTo>
                  <a:lnTo>
                    <a:pt x="546" y="158"/>
                  </a:lnTo>
                  <a:lnTo>
                    <a:pt x="548" y="158"/>
                  </a:lnTo>
                  <a:lnTo>
                    <a:pt x="550" y="160"/>
                  </a:lnTo>
                  <a:lnTo>
                    <a:pt x="552" y="164"/>
                  </a:lnTo>
                  <a:lnTo>
                    <a:pt x="552" y="168"/>
                  </a:lnTo>
                  <a:lnTo>
                    <a:pt x="552" y="170"/>
                  </a:lnTo>
                  <a:lnTo>
                    <a:pt x="552" y="172"/>
                  </a:lnTo>
                  <a:lnTo>
                    <a:pt x="550" y="172"/>
                  </a:lnTo>
                  <a:lnTo>
                    <a:pt x="548" y="174"/>
                  </a:lnTo>
                  <a:lnTo>
                    <a:pt x="546" y="174"/>
                  </a:lnTo>
                  <a:lnTo>
                    <a:pt x="548" y="176"/>
                  </a:lnTo>
                  <a:lnTo>
                    <a:pt x="548" y="178"/>
                  </a:lnTo>
                  <a:lnTo>
                    <a:pt x="552" y="178"/>
                  </a:lnTo>
                  <a:lnTo>
                    <a:pt x="554" y="182"/>
                  </a:lnTo>
                  <a:lnTo>
                    <a:pt x="556" y="184"/>
                  </a:lnTo>
                  <a:lnTo>
                    <a:pt x="556" y="186"/>
                  </a:lnTo>
                  <a:lnTo>
                    <a:pt x="560" y="188"/>
                  </a:lnTo>
                  <a:lnTo>
                    <a:pt x="570" y="192"/>
                  </a:lnTo>
                  <a:lnTo>
                    <a:pt x="574" y="194"/>
                  </a:lnTo>
                  <a:lnTo>
                    <a:pt x="580" y="198"/>
                  </a:lnTo>
                  <a:lnTo>
                    <a:pt x="588" y="202"/>
                  </a:lnTo>
                  <a:lnTo>
                    <a:pt x="590" y="206"/>
                  </a:lnTo>
                  <a:lnTo>
                    <a:pt x="592" y="206"/>
                  </a:lnTo>
                  <a:lnTo>
                    <a:pt x="592" y="208"/>
                  </a:lnTo>
                  <a:lnTo>
                    <a:pt x="594" y="210"/>
                  </a:lnTo>
                  <a:lnTo>
                    <a:pt x="594" y="212"/>
                  </a:lnTo>
                  <a:lnTo>
                    <a:pt x="602" y="218"/>
                  </a:lnTo>
                  <a:lnTo>
                    <a:pt x="604" y="218"/>
                  </a:lnTo>
                  <a:lnTo>
                    <a:pt x="606" y="220"/>
                  </a:lnTo>
                  <a:lnTo>
                    <a:pt x="608" y="220"/>
                  </a:lnTo>
                  <a:lnTo>
                    <a:pt x="610" y="222"/>
                  </a:lnTo>
                  <a:lnTo>
                    <a:pt x="606" y="224"/>
                  </a:lnTo>
                  <a:lnTo>
                    <a:pt x="604" y="230"/>
                  </a:lnTo>
                  <a:lnTo>
                    <a:pt x="604" y="234"/>
                  </a:lnTo>
                  <a:lnTo>
                    <a:pt x="608" y="236"/>
                  </a:lnTo>
                  <a:lnTo>
                    <a:pt x="612" y="240"/>
                  </a:lnTo>
                  <a:lnTo>
                    <a:pt x="616" y="242"/>
                  </a:lnTo>
                  <a:lnTo>
                    <a:pt x="616" y="244"/>
                  </a:lnTo>
                  <a:lnTo>
                    <a:pt x="616" y="246"/>
                  </a:lnTo>
                  <a:lnTo>
                    <a:pt x="614" y="246"/>
                  </a:lnTo>
                  <a:lnTo>
                    <a:pt x="612" y="248"/>
                  </a:lnTo>
                  <a:lnTo>
                    <a:pt x="612" y="250"/>
                  </a:lnTo>
                  <a:lnTo>
                    <a:pt x="618" y="252"/>
                  </a:lnTo>
                  <a:lnTo>
                    <a:pt x="620" y="252"/>
                  </a:lnTo>
                  <a:lnTo>
                    <a:pt x="624" y="254"/>
                  </a:lnTo>
                  <a:lnTo>
                    <a:pt x="624" y="252"/>
                  </a:lnTo>
                  <a:lnTo>
                    <a:pt x="626" y="254"/>
                  </a:lnTo>
                  <a:lnTo>
                    <a:pt x="630" y="254"/>
                  </a:lnTo>
                  <a:lnTo>
                    <a:pt x="630" y="256"/>
                  </a:lnTo>
                  <a:lnTo>
                    <a:pt x="630" y="258"/>
                  </a:lnTo>
                  <a:lnTo>
                    <a:pt x="632" y="260"/>
                  </a:lnTo>
                  <a:lnTo>
                    <a:pt x="636" y="262"/>
                  </a:lnTo>
                  <a:lnTo>
                    <a:pt x="638" y="262"/>
                  </a:lnTo>
                  <a:lnTo>
                    <a:pt x="646" y="264"/>
                  </a:lnTo>
                  <a:lnTo>
                    <a:pt x="648" y="266"/>
                  </a:lnTo>
                  <a:lnTo>
                    <a:pt x="650" y="268"/>
                  </a:lnTo>
                  <a:lnTo>
                    <a:pt x="652" y="272"/>
                  </a:lnTo>
                  <a:lnTo>
                    <a:pt x="654" y="274"/>
                  </a:lnTo>
                  <a:lnTo>
                    <a:pt x="654" y="276"/>
                  </a:lnTo>
                  <a:lnTo>
                    <a:pt x="654" y="278"/>
                  </a:lnTo>
                  <a:lnTo>
                    <a:pt x="652" y="284"/>
                  </a:lnTo>
                  <a:lnTo>
                    <a:pt x="654" y="288"/>
                  </a:lnTo>
                  <a:lnTo>
                    <a:pt x="654" y="290"/>
                  </a:lnTo>
                  <a:lnTo>
                    <a:pt x="656" y="294"/>
                  </a:lnTo>
                  <a:lnTo>
                    <a:pt x="660" y="296"/>
                  </a:lnTo>
                  <a:lnTo>
                    <a:pt x="664" y="302"/>
                  </a:lnTo>
                  <a:lnTo>
                    <a:pt x="664" y="304"/>
                  </a:lnTo>
                  <a:lnTo>
                    <a:pt x="662" y="302"/>
                  </a:lnTo>
                  <a:lnTo>
                    <a:pt x="660" y="300"/>
                  </a:lnTo>
                  <a:lnTo>
                    <a:pt x="656" y="298"/>
                  </a:lnTo>
                  <a:lnTo>
                    <a:pt x="648" y="296"/>
                  </a:lnTo>
                  <a:lnTo>
                    <a:pt x="644" y="296"/>
                  </a:lnTo>
                  <a:lnTo>
                    <a:pt x="642" y="296"/>
                  </a:lnTo>
                  <a:lnTo>
                    <a:pt x="640" y="296"/>
                  </a:lnTo>
                  <a:lnTo>
                    <a:pt x="638" y="298"/>
                  </a:lnTo>
                  <a:lnTo>
                    <a:pt x="636" y="300"/>
                  </a:lnTo>
                  <a:lnTo>
                    <a:pt x="634" y="302"/>
                  </a:lnTo>
                  <a:lnTo>
                    <a:pt x="634" y="304"/>
                  </a:lnTo>
                  <a:lnTo>
                    <a:pt x="630" y="302"/>
                  </a:lnTo>
                  <a:lnTo>
                    <a:pt x="628" y="300"/>
                  </a:lnTo>
                  <a:lnTo>
                    <a:pt x="626" y="300"/>
                  </a:lnTo>
                  <a:lnTo>
                    <a:pt x="624" y="300"/>
                  </a:lnTo>
                  <a:lnTo>
                    <a:pt x="620" y="302"/>
                  </a:lnTo>
                  <a:lnTo>
                    <a:pt x="616" y="304"/>
                  </a:lnTo>
                  <a:lnTo>
                    <a:pt x="614" y="304"/>
                  </a:lnTo>
                  <a:lnTo>
                    <a:pt x="614" y="302"/>
                  </a:lnTo>
                  <a:lnTo>
                    <a:pt x="612" y="300"/>
                  </a:lnTo>
                  <a:lnTo>
                    <a:pt x="610" y="298"/>
                  </a:lnTo>
                  <a:lnTo>
                    <a:pt x="600" y="294"/>
                  </a:lnTo>
                  <a:lnTo>
                    <a:pt x="596" y="292"/>
                  </a:lnTo>
                  <a:lnTo>
                    <a:pt x="596" y="294"/>
                  </a:lnTo>
                  <a:lnTo>
                    <a:pt x="594" y="296"/>
                  </a:lnTo>
                  <a:lnTo>
                    <a:pt x="592" y="296"/>
                  </a:lnTo>
                  <a:lnTo>
                    <a:pt x="590" y="296"/>
                  </a:lnTo>
                  <a:lnTo>
                    <a:pt x="584" y="296"/>
                  </a:lnTo>
                  <a:lnTo>
                    <a:pt x="580" y="294"/>
                  </a:lnTo>
                  <a:lnTo>
                    <a:pt x="574" y="292"/>
                  </a:lnTo>
                  <a:lnTo>
                    <a:pt x="570" y="290"/>
                  </a:lnTo>
                  <a:lnTo>
                    <a:pt x="568" y="286"/>
                  </a:lnTo>
                  <a:lnTo>
                    <a:pt x="566" y="286"/>
                  </a:lnTo>
                  <a:lnTo>
                    <a:pt x="556" y="290"/>
                  </a:lnTo>
                  <a:lnTo>
                    <a:pt x="556" y="292"/>
                  </a:lnTo>
                  <a:lnTo>
                    <a:pt x="554" y="296"/>
                  </a:lnTo>
                  <a:lnTo>
                    <a:pt x="554" y="298"/>
                  </a:lnTo>
                  <a:lnTo>
                    <a:pt x="556" y="298"/>
                  </a:lnTo>
                  <a:lnTo>
                    <a:pt x="556" y="300"/>
                  </a:lnTo>
                  <a:lnTo>
                    <a:pt x="554" y="304"/>
                  </a:lnTo>
                  <a:lnTo>
                    <a:pt x="552" y="304"/>
                  </a:lnTo>
                  <a:lnTo>
                    <a:pt x="550" y="306"/>
                  </a:lnTo>
                  <a:lnTo>
                    <a:pt x="548" y="306"/>
                  </a:lnTo>
                  <a:lnTo>
                    <a:pt x="542" y="306"/>
                  </a:lnTo>
                  <a:lnTo>
                    <a:pt x="538" y="306"/>
                  </a:lnTo>
                  <a:lnTo>
                    <a:pt x="536" y="306"/>
                  </a:lnTo>
                  <a:lnTo>
                    <a:pt x="530" y="308"/>
                  </a:lnTo>
                  <a:lnTo>
                    <a:pt x="528" y="310"/>
                  </a:lnTo>
                  <a:lnTo>
                    <a:pt x="526" y="310"/>
                  </a:lnTo>
                  <a:lnTo>
                    <a:pt x="520" y="308"/>
                  </a:lnTo>
                  <a:lnTo>
                    <a:pt x="518" y="306"/>
                  </a:lnTo>
                  <a:lnTo>
                    <a:pt x="514" y="302"/>
                  </a:lnTo>
                  <a:lnTo>
                    <a:pt x="512" y="302"/>
                  </a:lnTo>
                  <a:lnTo>
                    <a:pt x="510" y="300"/>
                  </a:lnTo>
                  <a:lnTo>
                    <a:pt x="508" y="300"/>
                  </a:lnTo>
                  <a:lnTo>
                    <a:pt x="506" y="304"/>
                  </a:lnTo>
                  <a:lnTo>
                    <a:pt x="508" y="304"/>
                  </a:lnTo>
                  <a:lnTo>
                    <a:pt x="506" y="306"/>
                  </a:lnTo>
                  <a:lnTo>
                    <a:pt x="500" y="308"/>
                  </a:lnTo>
                  <a:lnTo>
                    <a:pt x="498" y="310"/>
                  </a:lnTo>
                  <a:lnTo>
                    <a:pt x="490" y="312"/>
                  </a:lnTo>
                  <a:lnTo>
                    <a:pt x="482" y="316"/>
                  </a:lnTo>
                  <a:lnTo>
                    <a:pt x="478" y="316"/>
                  </a:lnTo>
                  <a:lnTo>
                    <a:pt x="466" y="320"/>
                  </a:lnTo>
                  <a:lnTo>
                    <a:pt x="460" y="324"/>
                  </a:lnTo>
                  <a:lnTo>
                    <a:pt x="458" y="326"/>
                  </a:lnTo>
                  <a:lnTo>
                    <a:pt x="458" y="328"/>
                  </a:lnTo>
                  <a:lnTo>
                    <a:pt x="456" y="328"/>
                  </a:lnTo>
                  <a:lnTo>
                    <a:pt x="454" y="328"/>
                  </a:lnTo>
                  <a:lnTo>
                    <a:pt x="448" y="322"/>
                  </a:lnTo>
                  <a:lnTo>
                    <a:pt x="442" y="322"/>
                  </a:lnTo>
                  <a:lnTo>
                    <a:pt x="438" y="320"/>
                  </a:lnTo>
                  <a:lnTo>
                    <a:pt x="436" y="318"/>
                  </a:lnTo>
                  <a:lnTo>
                    <a:pt x="434" y="316"/>
                  </a:lnTo>
                  <a:lnTo>
                    <a:pt x="432" y="316"/>
                  </a:lnTo>
                  <a:lnTo>
                    <a:pt x="430" y="320"/>
                  </a:lnTo>
                  <a:lnTo>
                    <a:pt x="426" y="322"/>
                  </a:lnTo>
                  <a:lnTo>
                    <a:pt x="424" y="324"/>
                  </a:lnTo>
                  <a:lnTo>
                    <a:pt x="422" y="328"/>
                  </a:lnTo>
                  <a:lnTo>
                    <a:pt x="420" y="334"/>
                  </a:lnTo>
                  <a:lnTo>
                    <a:pt x="418" y="332"/>
                  </a:lnTo>
                  <a:lnTo>
                    <a:pt x="416" y="334"/>
                  </a:lnTo>
                  <a:lnTo>
                    <a:pt x="416" y="338"/>
                  </a:lnTo>
                  <a:lnTo>
                    <a:pt x="414" y="340"/>
                  </a:lnTo>
                  <a:lnTo>
                    <a:pt x="412" y="346"/>
                  </a:lnTo>
                  <a:lnTo>
                    <a:pt x="410" y="350"/>
                  </a:lnTo>
                  <a:lnTo>
                    <a:pt x="408" y="350"/>
                  </a:lnTo>
                  <a:lnTo>
                    <a:pt x="406" y="352"/>
                  </a:lnTo>
                  <a:lnTo>
                    <a:pt x="404" y="352"/>
                  </a:lnTo>
                  <a:lnTo>
                    <a:pt x="400" y="350"/>
                  </a:lnTo>
                  <a:lnTo>
                    <a:pt x="398" y="350"/>
                  </a:lnTo>
                  <a:lnTo>
                    <a:pt x="396" y="350"/>
                  </a:lnTo>
                  <a:lnTo>
                    <a:pt x="394" y="350"/>
                  </a:lnTo>
                  <a:lnTo>
                    <a:pt x="392" y="348"/>
                  </a:lnTo>
                  <a:lnTo>
                    <a:pt x="390" y="348"/>
                  </a:lnTo>
                  <a:lnTo>
                    <a:pt x="388" y="346"/>
                  </a:lnTo>
                  <a:lnTo>
                    <a:pt x="386" y="346"/>
                  </a:lnTo>
                  <a:lnTo>
                    <a:pt x="378" y="344"/>
                  </a:lnTo>
                  <a:lnTo>
                    <a:pt x="372" y="342"/>
                  </a:lnTo>
                  <a:lnTo>
                    <a:pt x="368" y="342"/>
                  </a:lnTo>
                  <a:lnTo>
                    <a:pt x="366" y="342"/>
                  </a:lnTo>
                  <a:lnTo>
                    <a:pt x="366" y="344"/>
                  </a:lnTo>
                  <a:lnTo>
                    <a:pt x="364" y="346"/>
                  </a:lnTo>
                  <a:lnTo>
                    <a:pt x="362" y="346"/>
                  </a:lnTo>
                  <a:lnTo>
                    <a:pt x="360" y="346"/>
                  </a:lnTo>
                  <a:lnTo>
                    <a:pt x="346" y="344"/>
                  </a:lnTo>
                  <a:lnTo>
                    <a:pt x="344" y="342"/>
                  </a:lnTo>
                  <a:lnTo>
                    <a:pt x="340" y="340"/>
                  </a:lnTo>
                  <a:lnTo>
                    <a:pt x="338" y="338"/>
                  </a:lnTo>
                  <a:lnTo>
                    <a:pt x="336" y="338"/>
                  </a:lnTo>
                  <a:lnTo>
                    <a:pt x="334" y="336"/>
                  </a:lnTo>
                  <a:lnTo>
                    <a:pt x="328" y="336"/>
                  </a:lnTo>
                  <a:lnTo>
                    <a:pt x="326" y="336"/>
                  </a:lnTo>
                  <a:lnTo>
                    <a:pt x="320" y="336"/>
                  </a:lnTo>
                  <a:lnTo>
                    <a:pt x="314" y="338"/>
                  </a:lnTo>
                  <a:lnTo>
                    <a:pt x="312" y="338"/>
                  </a:lnTo>
                  <a:lnTo>
                    <a:pt x="308" y="332"/>
                  </a:lnTo>
                  <a:lnTo>
                    <a:pt x="306" y="3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7" name="Freeform 1451"/>
            <p:cNvSpPr>
              <a:spLocks/>
            </p:cNvSpPr>
            <p:nvPr/>
          </p:nvSpPr>
          <p:spPr bwMode="auto">
            <a:xfrm>
              <a:off x="4269352" y="3242160"/>
              <a:ext cx="282747" cy="415364"/>
            </a:xfrm>
            <a:custGeom>
              <a:avLst/>
              <a:gdLst/>
              <a:ahLst/>
              <a:cxnLst>
                <a:cxn ang="0">
                  <a:pos x="188" y="268"/>
                </a:cxn>
                <a:cxn ang="0">
                  <a:pos x="196" y="276"/>
                </a:cxn>
                <a:cxn ang="0">
                  <a:pos x="182" y="282"/>
                </a:cxn>
                <a:cxn ang="0">
                  <a:pos x="166" y="288"/>
                </a:cxn>
                <a:cxn ang="0">
                  <a:pos x="144" y="294"/>
                </a:cxn>
                <a:cxn ang="0">
                  <a:pos x="130" y="304"/>
                </a:cxn>
                <a:cxn ang="0">
                  <a:pos x="116" y="310"/>
                </a:cxn>
                <a:cxn ang="0">
                  <a:pos x="104" y="312"/>
                </a:cxn>
                <a:cxn ang="0">
                  <a:pos x="90" y="316"/>
                </a:cxn>
                <a:cxn ang="0">
                  <a:pos x="74" y="324"/>
                </a:cxn>
                <a:cxn ang="0">
                  <a:pos x="42" y="322"/>
                </a:cxn>
                <a:cxn ang="0">
                  <a:pos x="24" y="316"/>
                </a:cxn>
                <a:cxn ang="0">
                  <a:pos x="6" y="312"/>
                </a:cxn>
                <a:cxn ang="0">
                  <a:pos x="14" y="312"/>
                </a:cxn>
                <a:cxn ang="0">
                  <a:pos x="22" y="302"/>
                </a:cxn>
                <a:cxn ang="0">
                  <a:pos x="18" y="284"/>
                </a:cxn>
                <a:cxn ang="0">
                  <a:pos x="12" y="272"/>
                </a:cxn>
                <a:cxn ang="0">
                  <a:pos x="4" y="248"/>
                </a:cxn>
                <a:cxn ang="0">
                  <a:pos x="2" y="224"/>
                </a:cxn>
                <a:cxn ang="0">
                  <a:pos x="16" y="198"/>
                </a:cxn>
                <a:cxn ang="0">
                  <a:pos x="28" y="162"/>
                </a:cxn>
                <a:cxn ang="0">
                  <a:pos x="42" y="146"/>
                </a:cxn>
                <a:cxn ang="0">
                  <a:pos x="38" y="118"/>
                </a:cxn>
                <a:cxn ang="0">
                  <a:pos x="32" y="100"/>
                </a:cxn>
                <a:cxn ang="0">
                  <a:pos x="36" y="80"/>
                </a:cxn>
                <a:cxn ang="0">
                  <a:pos x="32" y="70"/>
                </a:cxn>
                <a:cxn ang="0">
                  <a:pos x="32" y="46"/>
                </a:cxn>
                <a:cxn ang="0">
                  <a:pos x="28" y="22"/>
                </a:cxn>
                <a:cxn ang="0">
                  <a:pos x="34" y="2"/>
                </a:cxn>
                <a:cxn ang="0">
                  <a:pos x="96" y="4"/>
                </a:cxn>
                <a:cxn ang="0">
                  <a:pos x="126" y="6"/>
                </a:cxn>
                <a:cxn ang="0">
                  <a:pos x="144" y="12"/>
                </a:cxn>
                <a:cxn ang="0">
                  <a:pos x="168" y="2"/>
                </a:cxn>
                <a:cxn ang="0">
                  <a:pos x="178" y="4"/>
                </a:cxn>
                <a:cxn ang="0">
                  <a:pos x="170" y="24"/>
                </a:cxn>
                <a:cxn ang="0">
                  <a:pos x="180" y="34"/>
                </a:cxn>
                <a:cxn ang="0">
                  <a:pos x="192" y="52"/>
                </a:cxn>
                <a:cxn ang="0">
                  <a:pos x="194" y="60"/>
                </a:cxn>
                <a:cxn ang="0">
                  <a:pos x="182" y="88"/>
                </a:cxn>
                <a:cxn ang="0">
                  <a:pos x="190" y="88"/>
                </a:cxn>
                <a:cxn ang="0">
                  <a:pos x="198" y="94"/>
                </a:cxn>
                <a:cxn ang="0">
                  <a:pos x="194" y="112"/>
                </a:cxn>
                <a:cxn ang="0">
                  <a:pos x="188" y="126"/>
                </a:cxn>
                <a:cxn ang="0">
                  <a:pos x="200" y="140"/>
                </a:cxn>
                <a:cxn ang="0">
                  <a:pos x="204" y="152"/>
                </a:cxn>
                <a:cxn ang="0">
                  <a:pos x="198" y="182"/>
                </a:cxn>
                <a:cxn ang="0">
                  <a:pos x="196" y="198"/>
                </a:cxn>
                <a:cxn ang="0">
                  <a:pos x="198" y="218"/>
                </a:cxn>
                <a:cxn ang="0">
                  <a:pos x="198" y="234"/>
                </a:cxn>
                <a:cxn ang="0">
                  <a:pos x="202" y="242"/>
                </a:cxn>
                <a:cxn ang="0">
                  <a:pos x="216" y="254"/>
                </a:cxn>
                <a:cxn ang="0">
                  <a:pos x="226" y="266"/>
                </a:cxn>
                <a:cxn ang="0">
                  <a:pos x="216" y="276"/>
                </a:cxn>
                <a:cxn ang="0">
                  <a:pos x="210" y="282"/>
                </a:cxn>
                <a:cxn ang="0">
                  <a:pos x="198" y="276"/>
                </a:cxn>
                <a:cxn ang="0">
                  <a:pos x="188" y="266"/>
                </a:cxn>
                <a:cxn ang="0">
                  <a:pos x="176" y="264"/>
                </a:cxn>
              </a:cxnLst>
              <a:rect l="0" t="0" r="r" b="b"/>
              <a:pathLst>
                <a:path w="226" h="332">
                  <a:moveTo>
                    <a:pt x="180" y="268"/>
                  </a:moveTo>
                  <a:lnTo>
                    <a:pt x="182" y="268"/>
                  </a:lnTo>
                  <a:lnTo>
                    <a:pt x="184" y="268"/>
                  </a:lnTo>
                  <a:lnTo>
                    <a:pt x="186" y="266"/>
                  </a:lnTo>
                  <a:lnTo>
                    <a:pt x="188" y="268"/>
                  </a:lnTo>
                  <a:lnTo>
                    <a:pt x="190" y="268"/>
                  </a:lnTo>
                  <a:lnTo>
                    <a:pt x="194" y="270"/>
                  </a:lnTo>
                  <a:lnTo>
                    <a:pt x="194" y="272"/>
                  </a:lnTo>
                  <a:lnTo>
                    <a:pt x="196" y="272"/>
                  </a:lnTo>
                  <a:lnTo>
                    <a:pt x="196" y="276"/>
                  </a:lnTo>
                  <a:lnTo>
                    <a:pt x="196" y="278"/>
                  </a:lnTo>
                  <a:lnTo>
                    <a:pt x="198" y="282"/>
                  </a:lnTo>
                  <a:lnTo>
                    <a:pt x="188" y="282"/>
                  </a:lnTo>
                  <a:lnTo>
                    <a:pt x="184" y="282"/>
                  </a:lnTo>
                  <a:lnTo>
                    <a:pt x="182" y="282"/>
                  </a:lnTo>
                  <a:lnTo>
                    <a:pt x="180" y="282"/>
                  </a:lnTo>
                  <a:lnTo>
                    <a:pt x="176" y="282"/>
                  </a:lnTo>
                  <a:lnTo>
                    <a:pt x="170" y="284"/>
                  </a:lnTo>
                  <a:lnTo>
                    <a:pt x="166" y="286"/>
                  </a:lnTo>
                  <a:lnTo>
                    <a:pt x="166" y="288"/>
                  </a:lnTo>
                  <a:lnTo>
                    <a:pt x="160" y="292"/>
                  </a:lnTo>
                  <a:lnTo>
                    <a:pt x="152" y="294"/>
                  </a:lnTo>
                  <a:lnTo>
                    <a:pt x="150" y="294"/>
                  </a:lnTo>
                  <a:lnTo>
                    <a:pt x="148" y="294"/>
                  </a:lnTo>
                  <a:lnTo>
                    <a:pt x="144" y="294"/>
                  </a:lnTo>
                  <a:lnTo>
                    <a:pt x="142" y="298"/>
                  </a:lnTo>
                  <a:lnTo>
                    <a:pt x="138" y="302"/>
                  </a:lnTo>
                  <a:lnTo>
                    <a:pt x="136" y="302"/>
                  </a:lnTo>
                  <a:lnTo>
                    <a:pt x="134" y="302"/>
                  </a:lnTo>
                  <a:lnTo>
                    <a:pt x="130" y="304"/>
                  </a:lnTo>
                  <a:lnTo>
                    <a:pt x="128" y="304"/>
                  </a:lnTo>
                  <a:lnTo>
                    <a:pt x="126" y="304"/>
                  </a:lnTo>
                  <a:lnTo>
                    <a:pt x="126" y="306"/>
                  </a:lnTo>
                  <a:lnTo>
                    <a:pt x="122" y="310"/>
                  </a:lnTo>
                  <a:lnTo>
                    <a:pt x="116" y="310"/>
                  </a:lnTo>
                  <a:lnTo>
                    <a:pt x="112" y="310"/>
                  </a:lnTo>
                  <a:lnTo>
                    <a:pt x="110" y="310"/>
                  </a:lnTo>
                  <a:lnTo>
                    <a:pt x="108" y="310"/>
                  </a:lnTo>
                  <a:lnTo>
                    <a:pt x="106" y="312"/>
                  </a:lnTo>
                  <a:lnTo>
                    <a:pt x="104" y="312"/>
                  </a:lnTo>
                  <a:lnTo>
                    <a:pt x="102" y="314"/>
                  </a:lnTo>
                  <a:lnTo>
                    <a:pt x="100" y="314"/>
                  </a:lnTo>
                  <a:lnTo>
                    <a:pt x="98" y="314"/>
                  </a:lnTo>
                  <a:lnTo>
                    <a:pt x="96" y="314"/>
                  </a:lnTo>
                  <a:lnTo>
                    <a:pt x="90" y="316"/>
                  </a:lnTo>
                  <a:lnTo>
                    <a:pt x="84" y="316"/>
                  </a:lnTo>
                  <a:lnTo>
                    <a:pt x="82" y="318"/>
                  </a:lnTo>
                  <a:lnTo>
                    <a:pt x="80" y="318"/>
                  </a:lnTo>
                  <a:lnTo>
                    <a:pt x="76" y="322"/>
                  </a:lnTo>
                  <a:lnTo>
                    <a:pt x="74" y="324"/>
                  </a:lnTo>
                  <a:lnTo>
                    <a:pt x="62" y="330"/>
                  </a:lnTo>
                  <a:lnTo>
                    <a:pt x="56" y="332"/>
                  </a:lnTo>
                  <a:lnTo>
                    <a:pt x="46" y="324"/>
                  </a:lnTo>
                  <a:lnTo>
                    <a:pt x="44" y="322"/>
                  </a:lnTo>
                  <a:lnTo>
                    <a:pt x="42" y="322"/>
                  </a:lnTo>
                  <a:lnTo>
                    <a:pt x="38" y="320"/>
                  </a:lnTo>
                  <a:lnTo>
                    <a:pt x="36" y="320"/>
                  </a:lnTo>
                  <a:lnTo>
                    <a:pt x="32" y="320"/>
                  </a:lnTo>
                  <a:lnTo>
                    <a:pt x="30" y="318"/>
                  </a:lnTo>
                  <a:lnTo>
                    <a:pt x="24" y="316"/>
                  </a:lnTo>
                  <a:lnTo>
                    <a:pt x="18" y="316"/>
                  </a:lnTo>
                  <a:lnTo>
                    <a:pt x="16" y="316"/>
                  </a:lnTo>
                  <a:lnTo>
                    <a:pt x="12" y="314"/>
                  </a:lnTo>
                  <a:lnTo>
                    <a:pt x="8" y="314"/>
                  </a:lnTo>
                  <a:lnTo>
                    <a:pt x="6" y="312"/>
                  </a:lnTo>
                  <a:lnTo>
                    <a:pt x="4" y="312"/>
                  </a:lnTo>
                  <a:lnTo>
                    <a:pt x="4" y="310"/>
                  </a:lnTo>
                  <a:lnTo>
                    <a:pt x="8" y="310"/>
                  </a:lnTo>
                  <a:lnTo>
                    <a:pt x="12" y="312"/>
                  </a:lnTo>
                  <a:lnTo>
                    <a:pt x="14" y="312"/>
                  </a:lnTo>
                  <a:lnTo>
                    <a:pt x="22" y="312"/>
                  </a:lnTo>
                  <a:lnTo>
                    <a:pt x="24" y="310"/>
                  </a:lnTo>
                  <a:lnTo>
                    <a:pt x="24" y="308"/>
                  </a:lnTo>
                  <a:lnTo>
                    <a:pt x="22" y="306"/>
                  </a:lnTo>
                  <a:lnTo>
                    <a:pt x="22" y="302"/>
                  </a:lnTo>
                  <a:lnTo>
                    <a:pt x="22" y="298"/>
                  </a:lnTo>
                  <a:lnTo>
                    <a:pt x="24" y="294"/>
                  </a:lnTo>
                  <a:lnTo>
                    <a:pt x="24" y="286"/>
                  </a:lnTo>
                  <a:lnTo>
                    <a:pt x="22" y="284"/>
                  </a:lnTo>
                  <a:lnTo>
                    <a:pt x="18" y="284"/>
                  </a:lnTo>
                  <a:lnTo>
                    <a:pt x="16" y="284"/>
                  </a:lnTo>
                  <a:lnTo>
                    <a:pt x="14" y="284"/>
                  </a:lnTo>
                  <a:lnTo>
                    <a:pt x="14" y="282"/>
                  </a:lnTo>
                  <a:lnTo>
                    <a:pt x="10" y="280"/>
                  </a:lnTo>
                  <a:lnTo>
                    <a:pt x="12" y="272"/>
                  </a:lnTo>
                  <a:lnTo>
                    <a:pt x="8" y="264"/>
                  </a:lnTo>
                  <a:lnTo>
                    <a:pt x="8" y="258"/>
                  </a:lnTo>
                  <a:lnTo>
                    <a:pt x="6" y="256"/>
                  </a:lnTo>
                  <a:lnTo>
                    <a:pt x="4" y="250"/>
                  </a:lnTo>
                  <a:lnTo>
                    <a:pt x="4" y="248"/>
                  </a:lnTo>
                  <a:lnTo>
                    <a:pt x="2" y="240"/>
                  </a:lnTo>
                  <a:lnTo>
                    <a:pt x="2" y="234"/>
                  </a:lnTo>
                  <a:lnTo>
                    <a:pt x="0" y="230"/>
                  </a:lnTo>
                  <a:lnTo>
                    <a:pt x="2" y="228"/>
                  </a:lnTo>
                  <a:lnTo>
                    <a:pt x="2" y="224"/>
                  </a:lnTo>
                  <a:lnTo>
                    <a:pt x="2" y="220"/>
                  </a:lnTo>
                  <a:lnTo>
                    <a:pt x="8" y="210"/>
                  </a:lnTo>
                  <a:lnTo>
                    <a:pt x="10" y="208"/>
                  </a:lnTo>
                  <a:lnTo>
                    <a:pt x="14" y="206"/>
                  </a:lnTo>
                  <a:lnTo>
                    <a:pt x="16" y="198"/>
                  </a:lnTo>
                  <a:lnTo>
                    <a:pt x="18" y="188"/>
                  </a:lnTo>
                  <a:lnTo>
                    <a:pt x="20" y="180"/>
                  </a:lnTo>
                  <a:lnTo>
                    <a:pt x="24" y="172"/>
                  </a:lnTo>
                  <a:lnTo>
                    <a:pt x="26" y="166"/>
                  </a:lnTo>
                  <a:lnTo>
                    <a:pt x="28" y="162"/>
                  </a:lnTo>
                  <a:lnTo>
                    <a:pt x="34" y="158"/>
                  </a:lnTo>
                  <a:lnTo>
                    <a:pt x="36" y="152"/>
                  </a:lnTo>
                  <a:lnTo>
                    <a:pt x="38" y="152"/>
                  </a:lnTo>
                  <a:lnTo>
                    <a:pt x="42" y="150"/>
                  </a:lnTo>
                  <a:lnTo>
                    <a:pt x="42" y="146"/>
                  </a:lnTo>
                  <a:lnTo>
                    <a:pt x="40" y="126"/>
                  </a:lnTo>
                  <a:lnTo>
                    <a:pt x="40" y="122"/>
                  </a:lnTo>
                  <a:lnTo>
                    <a:pt x="40" y="120"/>
                  </a:lnTo>
                  <a:lnTo>
                    <a:pt x="38" y="120"/>
                  </a:lnTo>
                  <a:lnTo>
                    <a:pt x="38" y="118"/>
                  </a:lnTo>
                  <a:lnTo>
                    <a:pt x="38" y="112"/>
                  </a:lnTo>
                  <a:lnTo>
                    <a:pt x="36" y="106"/>
                  </a:lnTo>
                  <a:lnTo>
                    <a:pt x="32" y="106"/>
                  </a:lnTo>
                  <a:lnTo>
                    <a:pt x="30" y="104"/>
                  </a:lnTo>
                  <a:lnTo>
                    <a:pt x="32" y="100"/>
                  </a:lnTo>
                  <a:lnTo>
                    <a:pt x="34" y="96"/>
                  </a:lnTo>
                  <a:lnTo>
                    <a:pt x="36" y="96"/>
                  </a:lnTo>
                  <a:lnTo>
                    <a:pt x="36" y="86"/>
                  </a:lnTo>
                  <a:lnTo>
                    <a:pt x="36" y="82"/>
                  </a:lnTo>
                  <a:lnTo>
                    <a:pt x="36" y="80"/>
                  </a:lnTo>
                  <a:lnTo>
                    <a:pt x="34" y="78"/>
                  </a:lnTo>
                  <a:lnTo>
                    <a:pt x="32" y="76"/>
                  </a:lnTo>
                  <a:lnTo>
                    <a:pt x="34" y="74"/>
                  </a:lnTo>
                  <a:lnTo>
                    <a:pt x="34" y="72"/>
                  </a:lnTo>
                  <a:lnTo>
                    <a:pt x="32" y="70"/>
                  </a:lnTo>
                  <a:lnTo>
                    <a:pt x="32" y="68"/>
                  </a:lnTo>
                  <a:lnTo>
                    <a:pt x="34" y="64"/>
                  </a:lnTo>
                  <a:lnTo>
                    <a:pt x="34" y="54"/>
                  </a:lnTo>
                  <a:lnTo>
                    <a:pt x="32" y="52"/>
                  </a:lnTo>
                  <a:lnTo>
                    <a:pt x="32" y="46"/>
                  </a:lnTo>
                  <a:lnTo>
                    <a:pt x="34" y="44"/>
                  </a:lnTo>
                  <a:lnTo>
                    <a:pt x="34" y="40"/>
                  </a:lnTo>
                  <a:lnTo>
                    <a:pt x="32" y="34"/>
                  </a:lnTo>
                  <a:lnTo>
                    <a:pt x="28" y="26"/>
                  </a:lnTo>
                  <a:lnTo>
                    <a:pt x="28" y="22"/>
                  </a:lnTo>
                  <a:lnTo>
                    <a:pt x="28" y="20"/>
                  </a:lnTo>
                  <a:lnTo>
                    <a:pt x="28" y="16"/>
                  </a:lnTo>
                  <a:lnTo>
                    <a:pt x="34" y="8"/>
                  </a:lnTo>
                  <a:lnTo>
                    <a:pt x="34" y="4"/>
                  </a:lnTo>
                  <a:lnTo>
                    <a:pt x="34" y="2"/>
                  </a:lnTo>
                  <a:lnTo>
                    <a:pt x="38" y="2"/>
                  </a:lnTo>
                  <a:lnTo>
                    <a:pt x="60" y="2"/>
                  </a:lnTo>
                  <a:lnTo>
                    <a:pt x="76" y="4"/>
                  </a:lnTo>
                  <a:lnTo>
                    <a:pt x="90" y="4"/>
                  </a:lnTo>
                  <a:lnTo>
                    <a:pt x="96" y="4"/>
                  </a:lnTo>
                  <a:lnTo>
                    <a:pt x="98" y="4"/>
                  </a:lnTo>
                  <a:lnTo>
                    <a:pt x="104" y="4"/>
                  </a:lnTo>
                  <a:lnTo>
                    <a:pt x="106" y="6"/>
                  </a:lnTo>
                  <a:lnTo>
                    <a:pt x="122" y="6"/>
                  </a:lnTo>
                  <a:lnTo>
                    <a:pt x="126" y="6"/>
                  </a:lnTo>
                  <a:lnTo>
                    <a:pt x="130" y="6"/>
                  </a:lnTo>
                  <a:lnTo>
                    <a:pt x="136" y="6"/>
                  </a:lnTo>
                  <a:lnTo>
                    <a:pt x="142" y="8"/>
                  </a:lnTo>
                  <a:lnTo>
                    <a:pt x="142" y="10"/>
                  </a:lnTo>
                  <a:lnTo>
                    <a:pt x="144" y="12"/>
                  </a:lnTo>
                  <a:lnTo>
                    <a:pt x="158" y="2"/>
                  </a:lnTo>
                  <a:lnTo>
                    <a:pt x="162" y="0"/>
                  </a:lnTo>
                  <a:lnTo>
                    <a:pt x="166" y="0"/>
                  </a:lnTo>
                  <a:lnTo>
                    <a:pt x="168" y="0"/>
                  </a:lnTo>
                  <a:lnTo>
                    <a:pt x="168" y="2"/>
                  </a:lnTo>
                  <a:lnTo>
                    <a:pt x="170" y="4"/>
                  </a:lnTo>
                  <a:lnTo>
                    <a:pt x="172" y="4"/>
                  </a:lnTo>
                  <a:lnTo>
                    <a:pt x="174" y="2"/>
                  </a:lnTo>
                  <a:lnTo>
                    <a:pt x="176" y="4"/>
                  </a:lnTo>
                  <a:lnTo>
                    <a:pt x="178" y="4"/>
                  </a:lnTo>
                  <a:lnTo>
                    <a:pt x="178" y="8"/>
                  </a:lnTo>
                  <a:lnTo>
                    <a:pt x="176" y="10"/>
                  </a:lnTo>
                  <a:lnTo>
                    <a:pt x="174" y="16"/>
                  </a:lnTo>
                  <a:lnTo>
                    <a:pt x="172" y="20"/>
                  </a:lnTo>
                  <a:lnTo>
                    <a:pt x="170" y="24"/>
                  </a:lnTo>
                  <a:lnTo>
                    <a:pt x="170" y="26"/>
                  </a:lnTo>
                  <a:lnTo>
                    <a:pt x="172" y="28"/>
                  </a:lnTo>
                  <a:lnTo>
                    <a:pt x="174" y="28"/>
                  </a:lnTo>
                  <a:lnTo>
                    <a:pt x="176" y="30"/>
                  </a:lnTo>
                  <a:lnTo>
                    <a:pt x="180" y="34"/>
                  </a:lnTo>
                  <a:lnTo>
                    <a:pt x="186" y="40"/>
                  </a:lnTo>
                  <a:lnTo>
                    <a:pt x="188" y="40"/>
                  </a:lnTo>
                  <a:lnTo>
                    <a:pt x="188" y="42"/>
                  </a:lnTo>
                  <a:lnTo>
                    <a:pt x="192" y="48"/>
                  </a:lnTo>
                  <a:lnTo>
                    <a:pt x="192" y="52"/>
                  </a:lnTo>
                  <a:lnTo>
                    <a:pt x="190" y="54"/>
                  </a:lnTo>
                  <a:lnTo>
                    <a:pt x="190" y="56"/>
                  </a:lnTo>
                  <a:lnTo>
                    <a:pt x="192" y="56"/>
                  </a:lnTo>
                  <a:lnTo>
                    <a:pt x="194" y="58"/>
                  </a:lnTo>
                  <a:lnTo>
                    <a:pt x="194" y="60"/>
                  </a:lnTo>
                  <a:lnTo>
                    <a:pt x="190" y="60"/>
                  </a:lnTo>
                  <a:lnTo>
                    <a:pt x="188" y="74"/>
                  </a:lnTo>
                  <a:lnTo>
                    <a:pt x="186" y="78"/>
                  </a:lnTo>
                  <a:lnTo>
                    <a:pt x="184" y="84"/>
                  </a:lnTo>
                  <a:lnTo>
                    <a:pt x="182" y="88"/>
                  </a:lnTo>
                  <a:lnTo>
                    <a:pt x="184" y="90"/>
                  </a:lnTo>
                  <a:lnTo>
                    <a:pt x="184" y="92"/>
                  </a:lnTo>
                  <a:lnTo>
                    <a:pt x="186" y="92"/>
                  </a:lnTo>
                  <a:lnTo>
                    <a:pt x="188" y="90"/>
                  </a:lnTo>
                  <a:lnTo>
                    <a:pt x="190" y="88"/>
                  </a:lnTo>
                  <a:lnTo>
                    <a:pt x="194" y="88"/>
                  </a:lnTo>
                  <a:lnTo>
                    <a:pt x="196" y="88"/>
                  </a:lnTo>
                  <a:lnTo>
                    <a:pt x="198" y="88"/>
                  </a:lnTo>
                  <a:lnTo>
                    <a:pt x="198" y="92"/>
                  </a:lnTo>
                  <a:lnTo>
                    <a:pt x="198" y="94"/>
                  </a:lnTo>
                  <a:lnTo>
                    <a:pt x="198" y="102"/>
                  </a:lnTo>
                  <a:lnTo>
                    <a:pt x="198" y="104"/>
                  </a:lnTo>
                  <a:lnTo>
                    <a:pt x="196" y="106"/>
                  </a:lnTo>
                  <a:lnTo>
                    <a:pt x="194" y="110"/>
                  </a:lnTo>
                  <a:lnTo>
                    <a:pt x="194" y="112"/>
                  </a:lnTo>
                  <a:lnTo>
                    <a:pt x="196" y="118"/>
                  </a:lnTo>
                  <a:lnTo>
                    <a:pt x="196" y="120"/>
                  </a:lnTo>
                  <a:lnTo>
                    <a:pt x="196" y="122"/>
                  </a:lnTo>
                  <a:lnTo>
                    <a:pt x="194" y="124"/>
                  </a:lnTo>
                  <a:lnTo>
                    <a:pt x="188" y="126"/>
                  </a:lnTo>
                  <a:lnTo>
                    <a:pt x="190" y="128"/>
                  </a:lnTo>
                  <a:lnTo>
                    <a:pt x="190" y="130"/>
                  </a:lnTo>
                  <a:lnTo>
                    <a:pt x="194" y="134"/>
                  </a:lnTo>
                  <a:lnTo>
                    <a:pt x="196" y="138"/>
                  </a:lnTo>
                  <a:lnTo>
                    <a:pt x="200" y="140"/>
                  </a:lnTo>
                  <a:lnTo>
                    <a:pt x="202" y="140"/>
                  </a:lnTo>
                  <a:lnTo>
                    <a:pt x="204" y="146"/>
                  </a:lnTo>
                  <a:lnTo>
                    <a:pt x="206" y="150"/>
                  </a:lnTo>
                  <a:lnTo>
                    <a:pt x="206" y="152"/>
                  </a:lnTo>
                  <a:lnTo>
                    <a:pt x="204" y="152"/>
                  </a:lnTo>
                  <a:lnTo>
                    <a:pt x="202" y="152"/>
                  </a:lnTo>
                  <a:lnTo>
                    <a:pt x="200" y="154"/>
                  </a:lnTo>
                  <a:lnTo>
                    <a:pt x="198" y="162"/>
                  </a:lnTo>
                  <a:lnTo>
                    <a:pt x="200" y="172"/>
                  </a:lnTo>
                  <a:lnTo>
                    <a:pt x="198" y="182"/>
                  </a:lnTo>
                  <a:lnTo>
                    <a:pt x="194" y="188"/>
                  </a:lnTo>
                  <a:lnTo>
                    <a:pt x="194" y="190"/>
                  </a:lnTo>
                  <a:lnTo>
                    <a:pt x="192" y="194"/>
                  </a:lnTo>
                  <a:lnTo>
                    <a:pt x="194" y="196"/>
                  </a:lnTo>
                  <a:lnTo>
                    <a:pt x="196" y="198"/>
                  </a:lnTo>
                  <a:lnTo>
                    <a:pt x="198" y="198"/>
                  </a:lnTo>
                  <a:lnTo>
                    <a:pt x="200" y="198"/>
                  </a:lnTo>
                  <a:lnTo>
                    <a:pt x="200" y="204"/>
                  </a:lnTo>
                  <a:lnTo>
                    <a:pt x="198" y="208"/>
                  </a:lnTo>
                  <a:lnTo>
                    <a:pt x="198" y="218"/>
                  </a:lnTo>
                  <a:lnTo>
                    <a:pt x="196" y="218"/>
                  </a:lnTo>
                  <a:lnTo>
                    <a:pt x="192" y="220"/>
                  </a:lnTo>
                  <a:lnTo>
                    <a:pt x="194" y="228"/>
                  </a:lnTo>
                  <a:lnTo>
                    <a:pt x="198" y="232"/>
                  </a:lnTo>
                  <a:lnTo>
                    <a:pt x="198" y="234"/>
                  </a:lnTo>
                  <a:lnTo>
                    <a:pt x="198" y="236"/>
                  </a:lnTo>
                  <a:lnTo>
                    <a:pt x="198" y="238"/>
                  </a:lnTo>
                  <a:lnTo>
                    <a:pt x="200" y="240"/>
                  </a:lnTo>
                  <a:lnTo>
                    <a:pt x="202" y="240"/>
                  </a:lnTo>
                  <a:lnTo>
                    <a:pt x="202" y="242"/>
                  </a:lnTo>
                  <a:lnTo>
                    <a:pt x="202" y="244"/>
                  </a:lnTo>
                  <a:lnTo>
                    <a:pt x="204" y="248"/>
                  </a:lnTo>
                  <a:lnTo>
                    <a:pt x="206" y="250"/>
                  </a:lnTo>
                  <a:lnTo>
                    <a:pt x="210" y="254"/>
                  </a:lnTo>
                  <a:lnTo>
                    <a:pt x="216" y="254"/>
                  </a:lnTo>
                  <a:lnTo>
                    <a:pt x="218" y="260"/>
                  </a:lnTo>
                  <a:lnTo>
                    <a:pt x="220" y="262"/>
                  </a:lnTo>
                  <a:lnTo>
                    <a:pt x="226" y="262"/>
                  </a:lnTo>
                  <a:lnTo>
                    <a:pt x="226" y="264"/>
                  </a:lnTo>
                  <a:lnTo>
                    <a:pt x="226" y="266"/>
                  </a:lnTo>
                  <a:lnTo>
                    <a:pt x="224" y="266"/>
                  </a:lnTo>
                  <a:lnTo>
                    <a:pt x="222" y="268"/>
                  </a:lnTo>
                  <a:lnTo>
                    <a:pt x="220" y="270"/>
                  </a:lnTo>
                  <a:lnTo>
                    <a:pt x="216" y="272"/>
                  </a:lnTo>
                  <a:lnTo>
                    <a:pt x="216" y="276"/>
                  </a:lnTo>
                  <a:lnTo>
                    <a:pt x="214" y="276"/>
                  </a:lnTo>
                  <a:lnTo>
                    <a:pt x="214" y="278"/>
                  </a:lnTo>
                  <a:lnTo>
                    <a:pt x="214" y="280"/>
                  </a:lnTo>
                  <a:lnTo>
                    <a:pt x="212" y="282"/>
                  </a:lnTo>
                  <a:lnTo>
                    <a:pt x="210" y="282"/>
                  </a:lnTo>
                  <a:lnTo>
                    <a:pt x="204" y="282"/>
                  </a:lnTo>
                  <a:lnTo>
                    <a:pt x="198" y="282"/>
                  </a:lnTo>
                  <a:lnTo>
                    <a:pt x="198" y="280"/>
                  </a:lnTo>
                  <a:lnTo>
                    <a:pt x="198" y="278"/>
                  </a:lnTo>
                  <a:lnTo>
                    <a:pt x="198" y="276"/>
                  </a:lnTo>
                  <a:lnTo>
                    <a:pt x="198" y="274"/>
                  </a:lnTo>
                  <a:lnTo>
                    <a:pt x="196" y="272"/>
                  </a:lnTo>
                  <a:lnTo>
                    <a:pt x="194" y="270"/>
                  </a:lnTo>
                  <a:lnTo>
                    <a:pt x="190" y="268"/>
                  </a:lnTo>
                  <a:lnTo>
                    <a:pt x="188" y="266"/>
                  </a:lnTo>
                  <a:lnTo>
                    <a:pt x="186" y="266"/>
                  </a:lnTo>
                  <a:lnTo>
                    <a:pt x="184" y="268"/>
                  </a:lnTo>
                  <a:lnTo>
                    <a:pt x="180" y="266"/>
                  </a:lnTo>
                  <a:lnTo>
                    <a:pt x="178" y="264"/>
                  </a:lnTo>
                  <a:lnTo>
                    <a:pt x="176" y="264"/>
                  </a:lnTo>
                  <a:lnTo>
                    <a:pt x="176" y="266"/>
                  </a:lnTo>
                  <a:lnTo>
                    <a:pt x="178" y="266"/>
                  </a:lnTo>
                  <a:lnTo>
                    <a:pt x="180" y="26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8" name="Freeform 1452"/>
            <p:cNvSpPr>
              <a:spLocks/>
            </p:cNvSpPr>
            <p:nvPr/>
          </p:nvSpPr>
          <p:spPr bwMode="auto">
            <a:xfrm>
              <a:off x="5250212" y="3637505"/>
              <a:ext cx="1221070" cy="1208560"/>
            </a:xfrm>
            <a:custGeom>
              <a:avLst/>
              <a:gdLst/>
              <a:ahLst/>
              <a:cxnLst>
                <a:cxn ang="0">
                  <a:pos x="66" y="576"/>
                </a:cxn>
                <a:cxn ang="0">
                  <a:pos x="0" y="572"/>
                </a:cxn>
                <a:cxn ang="0">
                  <a:pos x="44" y="510"/>
                </a:cxn>
                <a:cxn ang="0">
                  <a:pos x="82" y="504"/>
                </a:cxn>
                <a:cxn ang="0">
                  <a:pos x="120" y="526"/>
                </a:cxn>
                <a:cxn ang="0">
                  <a:pos x="156" y="496"/>
                </a:cxn>
                <a:cxn ang="0">
                  <a:pos x="188" y="476"/>
                </a:cxn>
                <a:cxn ang="0">
                  <a:pos x="204" y="414"/>
                </a:cxn>
                <a:cxn ang="0">
                  <a:pos x="224" y="362"/>
                </a:cxn>
                <a:cxn ang="0">
                  <a:pos x="272" y="316"/>
                </a:cxn>
                <a:cxn ang="0">
                  <a:pos x="284" y="276"/>
                </a:cxn>
                <a:cxn ang="0">
                  <a:pos x="290" y="232"/>
                </a:cxn>
                <a:cxn ang="0">
                  <a:pos x="298" y="172"/>
                </a:cxn>
                <a:cxn ang="0">
                  <a:pos x="328" y="116"/>
                </a:cxn>
                <a:cxn ang="0">
                  <a:pos x="324" y="54"/>
                </a:cxn>
                <a:cxn ang="0">
                  <a:pos x="368" y="14"/>
                </a:cxn>
                <a:cxn ang="0">
                  <a:pos x="422" y="46"/>
                </a:cxn>
                <a:cxn ang="0">
                  <a:pos x="482" y="56"/>
                </a:cxn>
                <a:cxn ang="0">
                  <a:pos x="530" y="52"/>
                </a:cxn>
                <a:cxn ang="0">
                  <a:pos x="572" y="40"/>
                </a:cxn>
                <a:cxn ang="0">
                  <a:pos x="640" y="24"/>
                </a:cxn>
                <a:cxn ang="0">
                  <a:pos x="682" y="0"/>
                </a:cxn>
                <a:cxn ang="0">
                  <a:pos x="738" y="14"/>
                </a:cxn>
                <a:cxn ang="0">
                  <a:pos x="788" y="24"/>
                </a:cxn>
                <a:cxn ang="0">
                  <a:pos x="840" y="46"/>
                </a:cxn>
                <a:cxn ang="0">
                  <a:pos x="880" y="36"/>
                </a:cxn>
                <a:cxn ang="0">
                  <a:pos x="916" y="66"/>
                </a:cxn>
                <a:cxn ang="0">
                  <a:pos x="956" y="94"/>
                </a:cxn>
                <a:cxn ang="0">
                  <a:pos x="954" y="154"/>
                </a:cxn>
                <a:cxn ang="0">
                  <a:pos x="924" y="214"/>
                </a:cxn>
                <a:cxn ang="0">
                  <a:pos x="902" y="260"/>
                </a:cxn>
                <a:cxn ang="0">
                  <a:pos x="888" y="322"/>
                </a:cxn>
                <a:cxn ang="0">
                  <a:pos x="866" y="376"/>
                </a:cxn>
                <a:cxn ang="0">
                  <a:pos x="858" y="418"/>
                </a:cxn>
                <a:cxn ang="0">
                  <a:pos x="872" y="464"/>
                </a:cxn>
                <a:cxn ang="0">
                  <a:pos x="882" y="506"/>
                </a:cxn>
                <a:cxn ang="0">
                  <a:pos x="882" y="540"/>
                </a:cxn>
                <a:cxn ang="0">
                  <a:pos x="884" y="580"/>
                </a:cxn>
                <a:cxn ang="0">
                  <a:pos x="916" y="630"/>
                </a:cxn>
                <a:cxn ang="0">
                  <a:pos x="936" y="670"/>
                </a:cxn>
                <a:cxn ang="0">
                  <a:pos x="870" y="708"/>
                </a:cxn>
                <a:cxn ang="0">
                  <a:pos x="836" y="742"/>
                </a:cxn>
                <a:cxn ang="0">
                  <a:pos x="838" y="796"/>
                </a:cxn>
                <a:cxn ang="0">
                  <a:pos x="824" y="870"/>
                </a:cxn>
                <a:cxn ang="0">
                  <a:pos x="864" y="910"/>
                </a:cxn>
                <a:cxn ang="0">
                  <a:pos x="894" y="952"/>
                </a:cxn>
                <a:cxn ang="0">
                  <a:pos x="862" y="966"/>
                </a:cxn>
                <a:cxn ang="0">
                  <a:pos x="830" y="928"/>
                </a:cxn>
                <a:cxn ang="0">
                  <a:pos x="782" y="902"/>
                </a:cxn>
                <a:cxn ang="0">
                  <a:pos x="752" y="880"/>
                </a:cxn>
                <a:cxn ang="0">
                  <a:pos x="688" y="880"/>
                </a:cxn>
                <a:cxn ang="0">
                  <a:pos x="636" y="858"/>
                </a:cxn>
                <a:cxn ang="0">
                  <a:pos x="600" y="834"/>
                </a:cxn>
                <a:cxn ang="0">
                  <a:pos x="552" y="844"/>
                </a:cxn>
                <a:cxn ang="0">
                  <a:pos x="512" y="848"/>
                </a:cxn>
                <a:cxn ang="0">
                  <a:pos x="510" y="794"/>
                </a:cxn>
                <a:cxn ang="0">
                  <a:pos x="496" y="712"/>
                </a:cxn>
                <a:cxn ang="0">
                  <a:pos x="492" y="654"/>
                </a:cxn>
                <a:cxn ang="0">
                  <a:pos x="372" y="642"/>
                </a:cxn>
                <a:cxn ang="0">
                  <a:pos x="366" y="686"/>
                </a:cxn>
                <a:cxn ang="0">
                  <a:pos x="290" y="688"/>
                </a:cxn>
                <a:cxn ang="0">
                  <a:pos x="248" y="652"/>
                </a:cxn>
                <a:cxn ang="0">
                  <a:pos x="224" y="586"/>
                </a:cxn>
              </a:cxnLst>
              <a:rect l="0" t="0" r="r" b="b"/>
              <a:pathLst>
                <a:path w="976" h="966">
                  <a:moveTo>
                    <a:pt x="198" y="576"/>
                  </a:moveTo>
                  <a:lnTo>
                    <a:pt x="188" y="576"/>
                  </a:lnTo>
                  <a:lnTo>
                    <a:pt x="184" y="576"/>
                  </a:lnTo>
                  <a:lnTo>
                    <a:pt x="176" y="576"/>
                  </a:lnTo>
                  <a:lnTo>
                    <a:pt x="146" y="576"/>
                  </a:lnTo>
                  <a:lnTo>
                    <a:pt x="134" y="576"/>
                  </a:lnTo>
                  <a:lnTo>
                    <a:pt x="130" y="576"/>
                  </a:lnTo>
                  <a:lnTo>
                    <a:pt x="126" y="578"/>
                  </a:lnTo>
                  <a:lnTo>
                    <a:pt x="122" y="578"/>
                  </a:lnTo>
                  <a:lnTo>
                    <a:pt x="108" y="578"/>
                  </a:lnTo>
                  <a:lnTo>
                    <a:pt x="102" y="578"/>
                  </a:lnTo>
                  <a:lnTo>
                    <a:pt x="94" y="576"/>
                  </a:lnTo>
                  <a:lnTo>
                    <a:pt x="90" y="576"/>
                  </a:lnTo>
                  <a:lnTo>
                    <a:pt x="88" y="576"/>
                  </a:lnTo>
                  <a:lnTo>
                    <a:pt x="78" y="576"/>
                  </a:lnTo>
                  <a:lnTo>
                    <a:pt x="68" y="576"/>
                  </a:lnTo>
                  <a:lnTo>
                    <a:pt x="66" y="576"/>
                  </a:lnTo>
                  <a:lnTo>
                    <a:pt x="62" y="576"/>
                  </a:lnTo>
                  <a:lnTo>
                    <a:pt x="60" y="576"/>
                  </a:lnTo>
                  <a:lnTo>
                    <a:pt x="52" y="576"/>
                  </a:lnTo>
                  <a:lnTo>
                    <a:pt x="48" y="576"/>
                  </a:lnTo>
                  <a:lnTo>
                    <a:pt x="46" y="576"/>
                  </a:lnTo>
                  <a:lnTo>
                    <a:pt x="40" y="576"/>
                  </a:lnTo>
                  <a:lnTo>
                    <a:pt x="38" y="574"/>
                  </a:lnTo>
                  <a:lnTo>
                    <a:pt x="34" y="574"/>
                  </a:lnTo>
                  <a:lnTo>
                    <a:pt x="26" y="576"/>
                  </a:lnTo>
                  <a:lnTo>
                    <a:pt x="24" y="578"/>
                  </a:lnTo>
                  <a:lnTo>
                    <a:pt x="24" y="580"/>
                  </a:lnTo>
                  <a:lnTo>
                    <a:pt x="22" y="582"/>
                  </a:lnTo>
                  <a:lnTo>
                    <a:pt x="14" y="584"/>
                  </a:lnTo>
                  <a:lnTo>
                    <a:pt x="10" y="584"/>
                  </a:lnTo>
                  <a:lnTo>
                    <a:pt x="2" y="576"/>
                  </a:lnTo>
                  <a:lnTo>
                    <a:pt x="0" y="574"/>
                  </a:lnTo>
                  <a:lnTo>
                    <a:pt x="0" y="572"/>
                  </a:lnTo>
                  <a:lnTo>
                    <a:pt x="0" y="570"/>
                  </a:lnTo>
                  <a:lnTo>
                    <a:pt x="2" y="570"/>
                  </a:lnTo>
                  <a:lnTo>
                    <a:pt x="6" y="570"/>
                  </a:lnTo>
                  <a:lnTo>
                    <a:pt x="12" y="570"/>
                  </a:lnTo>
                  <a:lnTo>
                    <a:pt x="14" y="568"/>
                  </a:lnTo>
                  <a:lnTo>
                    <a:pt x="16" y="546"/>
                  </a:lnTo>
                  <a:lnTo>
                    <a:pt x="14" y="538"/>
                  </a:lnTo>
                  <a:lnTo>
                    <a:pt x="18" y="532"/>
                  </a:lnTo>
                  <a:lnTo>
                    <a:pt x="24" y="528"/>
                  </a:lnTo>
                  <a:lnTo>
                    <a:pt x="24" y="526"/>
                  </a:lnTo>
                  <a:lnTo>
                    <a:pt x="30" y="518"/>
                  </a:lnTo>
                  <a:lnTo>
                    <a:pt x="32" y="518"/>
                  </a:lnTo>
                  <a:lnTo>
                    <a:pt x="42" y="514"/>
                  </a:lnTo>
                  <a:lnTo>
                    <a:pt x="44" y="516"/>
                  </a:lnTo>
                  <a:lnTo>
                    <a:pt x="44" y="514"/>
                  </a:lnTo>
                  <a:lnTo>
                    <a:pt x="44" y="512"/>
                  </a:lnTo>
                  <a:lnTo>
                    <a:pt x="44" y="510"/>
                  </a:lnTo>
                  <a:lnTo>
                    <a:pt x="46" y="510"/>
                  </a:lnTo>
                  <a:lnTo>
                    <a:pt x="48" y="512"/>
                  </a:lnTo>
                  <a:lnTo>
                    <a:pt x="48" y="514"/>
                  </a:lnTo>
                  <a:lnTo>
                    <a:pt x="48" y="516"/>
                  </a:lnTo>
                  <a:lnTo>
                    <a:pt x="60" y="526"/>
                  </a:lnTo>
                  <a:lnTo>
                    <a:pt x="66" y="522"/>
                  </a:lnTo>
                  <a:lnTo>
                    <a:pt x="68" y="520"/>
                  </a:lnTo>
                  <a:lnTo>
                    <a:pt x="68" y="522"/>
                  </a:lnTo>
                  <a:lnTo>
                    <a:pt x="70" y="522"/>
                  </a:lnTo>
                  <a:lnTo>
                    <a:pt x="76" y="518"/>
                  </a:lnTo>
                  <a:lnTo>
                    <a:pt x="78" y="510"/>
                  </a:lnTo>
                  <a:lnTo>
                    <a:pt x="78" y="508"/>
                  </a:lnTo>
                  <a:lnTo>
                    <a:pt x="76" y="506"/>
                  </a:lnTo>
                  <a:lnTo>
                    <a:pt x="76" y="504"/>
                  </a:lnTo>
                  <a:lnTo>
                    <a:pt x="78" y="502"/>
                  </a:lnTo>
                  <a:lnTo>
                    <a:pt x="80" y="502"/>
                  </a:lnTo>
                  <a:lnTo>
                    <a:pt x="82" y="504"/>
                  </a:lnTo>
                  <a:lnTo>
                    <a:pt x="86" y="506"/>
                  </a:lnTo>
                  <a:lnTo>
                    <a:pt x="88" y="506"/>
                  </a:lnTo>
                  <a:lnTo>
                    <a:pt x="90" y="504"/>
                  </a:lnTo>
                  <a:lnTo>
                    <a:pt x="106" y="498"/>
                  </a:lnTo>
                  <a:lnTo>
                    <a:pt x="110" y="496"/>
                  </a:lnTo>
                  <a:lnTo>
                    <a:pt x="116" y="502"/>
                  </a:lnTo>
                  <a:lnTo>
                    <a:pt x="114" y="504"/>
                  </a:lnTo>
                  <a:lnTo>
                    <a:pt x="112" y="506"/>
                  </a:lnTo>
                  <a:lnTo>
                    <a:pt x="112" y="508"/>
                  </a:lnTo>
                  <a:lnTo>
                    <a:pt x="110" y="508"/>
                  </a:lnTo>
                  <a:lnTo>
                    <a:pt x="110" y="510"/>
                  </a:lnTo>
                  <a:lnTo>
                    <a:pt x="110" y="512"/>
                  </a:lnTo>
                  <a:lnTo>
                    <a:pt x="112" y="520"/>
                  </a:lnTo>
                  <a:lnTo>
                    <a:pt x="110" y="524"/>
                  </a:lnTo>
                  <a:lnTo>
                    <a:pt x="112" y="526"/>
                  </a:lnTo>
                  <a:lnTo>
                    <a:pt x="116" y="524"/>
                  </a:lnTo>
                  <a:lnTo>
                    <a:pt x="120" y="526"/>
                  </a:lnTo>
                  <a:lnTo>
                    <a:pt x="122" y="528"/>
                  </a:lnTo>
                  <a:lnTo>
                    <a:pt x="124" y="528"/>
                  </a:lnTo>
                  <a:lnTo>
                    <a:pt x="126" y="526"/>
                  </a:lnTo>
                  <a:lnTo>
                    <a:pt x="132" y="522"/>
                  </a:lnTo>
                  <a:lnTo>
                    <a:pt x="134" y="520"/>
                  </a:lnTo>
                  <a:lnTo>
                    <a:pt x="136" y="518"/>
                  </a:lnTo>
                  <a:lnTo>
                    <a:pt x="136" y="516"/>
                  </a:lnTo>
                  <a:lnTo>
                    <a:pt x="138" y="514"/>
                  </a:lnTo>
                  <a:lnTo>
                    <a:pt x="142" y="510"/>
                  </a:lnTo>
                  <a:lnTo>
                    <a:pt x="144" y="508"/>
                  </a:lnTo>
                  <a:lnTo>
                    <a:pt x="146" y="506"/>
                  </a:lnTo>
                  <a:lnTo>
                    <a:pt x="148" y="504"/>
                  </a:lnTo>
                  <a:lnTo>
                    <a:pt x="150" y="502"/>
                  </a:lnTo>
                  <a:lnTo>
                    <a:pt x="152" y="500"/>
                  </a:lnTo>
                  <a:lnTo>
                    <a:pt x="152" y="498"/>
                  </a:lnTo>
                  <a:lnTo>
                    <a:pt x="156" y="498"/>
                  </a:lnTo>
                  <a:lnTo>
                    <a:pt x="156" y="496"/>
                  </a:lnTo>
                  <a:lnTo>
                    <a:pt x="158" y="496"/>
                  </a:lnTo>
                  <a:lnTo>
                    <a:pt x="160" y="496"/>
                  </a:lnTo>
                  <a:lnTo>
                    <a:pt x="162" y="496"/>
                  </a:lnTo>
                  <a:lnTo>
                    <a:pt x="164" y="496"/>
                  </a:lnTo>
                  <a:lnTo>
                    <a:pt x="166" y="494"/>
                  </a:lnTo>
                  <a:lnTo>
                    <a:pt x="166" y="492"/>
                  </a:lnTo>
                  <a:lnTo>
                    <a:pt x="166" y="490"/>
                  </a:lnTo>
                  <a:lnTo>
                    <a:pt x="166" y="488"/>
                  </a:lnTo>
                  <a:lnTo>
                    <a:pt x="168" y="486"/>
                  </a:lnTo>
                  <a:lnTo>
                    <a:pt x="168" y="484"/>
                  </a:lnTo>
                  <a:lnTo>
                    <a:pt x="170" y="484"/>
                  </a:lnTo>
                  <a:lnTo>
                    <a:pt x="172" y="482"/>
                  </a:lnTo>
                  <a:lnTo>
                    <a:pt x="176" y="480"/>
                  </a:lnTo>
                  <a:lnTo>
                    <a:pt x="180" y="480"/>
                  </a:lnTo>
                  <a:lnTo>
                    <a:pt x="184" y="480"/>
                  </a:lnTo>
                  <a:lnTo>
                    <a:pt x="186" y="478"/>
                  </a:lnTo>
                  <a:lnTo>
                    <a:pt x="188" y="476"/>
                  </a:lnTo>
                  <a:lnTo>
                    <a:pt x="192" y="468"/>
                  </a:lnTo>
                  <a:lnTo>
                    <a:pt x="196" y="462"/>
                  </a:lnTo>
                  <a:lnTo>
                    <a:pt x="198" y="460"/>
                  </a:lnTo>
                  <a:lnTo>
                    <a:pt x="198" y="458"/>
                  </a:lnTo>
                  <a:lnTo>
                    <a:pt x="198" y="456"/>
                  </a:lnTo>
                  <a:lnTo>
                    <a:pt x="202" y="452"/>
                  </a:lnTo>
                  <a:lnTo>
                    <a:pt x="204" y="448"/>
                  </a:lnTo>
                  <a:lnTo>
                    <a:pt x="204" y="446"/>
                  </a:lnTo>
                  <a:lnTo>
                    <a:pt x="202" y="444"/>
                  </a:lnTo>
                  <a:lnTo>
                    <a:pt x="202" y="436"/>
                  </a:lnTo>
                  <a:lnTo>
                    <a:pt x="202" y="434"/>
                  </a:lnTo>
                  <a:lnTo>
                    <a:pt x="202" y="430"/>
                  </a:lnTo>
                  <a:lnTo>
                    <a:pt x="202" y="426"/>
                  </a:lnTo>
                  <a:lnTo>
                    <a:pt x="202" y="424"/>
                  </a:lnTo>
                  <a:lnTo>
                    <a:pt x="202" y="418"/>
                  </a:lnTo>
                  <a:lnTo>
                    <a:pt x="204" y="416"/>
                  </a:lnTo>
                  <a:lnTo>
                    <a:pt x="204" y="414"/>
                  </a:lnTo>
                  <a:lnTo>
                    <a:pt x="204" y="406"/>
                  </a:lnTo>
                  <a:lnTo>
                    <a:pt x="202" y="400"/>
                  </a:lnTo>
                  <a:lnTo>
                    <a:pt x="202" y="398"/>
                  </a:lnTo>
                  <a:lnTo>
                    <a:pt x="202" y="394"/>
                  </a:lnTo>
                  <a:lnTo>
                    <a:pt x="202" y="392"/>
                  </a:lnTo>
                  <a:lnTo>
                    <a:pt x="202" y="390"/>
                  </a:lnTo>
                  <a:lnTo>
                    <a:pt x="202" y="388"/>
                  </a:lnTo>
                  <a:lnTo>
                    <a:pt x="204" y="388"/>
                  </a:lnTo>
                  <a:lnTo>
                    <a:pt x="206" y="384"/>
                  </a:lnTo>
                  <a:lnTo>
                    <a:pt x="210" y="382"/>
                  </a:lnTo>
                  <a:lnTo>
                    <a:pt x="212" y="380"/>
                  </a:lnTo>
                  <a:lnTo>
                    <a:pt x="214" y="378"/>
                  </a:lnTo>
                  <a:lnTo>
                    <a:pt x="216" y="376"/>
                  </a:lnTo>
                  <a:lnTo>
                    <a:pt x="220" y="372"/>
                  </a:lnTo>
                  <a:lnTo>
                    <a:pt x="220" y="370"/>
                  </a:lnTo>
                  <a:lnTo>
                    <a:pt x="224" y="364"/>
                  </a:lnTo>
                  <a:lnTo>
                    <a:pt x="224" y="362"/>
                  </a:lnTo>
                  <a:lnTo>
                    <a:pt x="226" y="360"/>
                  </a:lnTo>
                  <a:lnTo>
                    <a:pt x="228" y="358"/>
                  </a:lnTo>
                  <a:lnTo>
                    <a:pt x="230" y="352"/>
                  </a:lnTo>
                  <a:lnTo>
                    <a:pt x="230" y="350"/>
                  </a:lnTo>
                  <a:lnTo>
                    <a:pt x="230" y="348"/>
                  </a:lnTo>
                  <a:lnTo>
                    <a:pt x="234" y="344"/>
                  </a:lnTo>
                  <a:lnTo>
                    <a:pt x="236" y="340"/>
                  </a:lnTo>
                  <a:lnTo>
                    <a:pt x="238" y="340"/>
                  </a:lnTo>
                  <a:lnTo>
                    <a:pt x="242" y="336"/>
                  </a:lnTo>
                  <a:lnTo>
                    <a:pt x="250" y="332"/>
                  </a:lnTo>
                  <a:lnTo>
                    <a:pt x="252" y="330"/>
                  </a:lnTo>
                  <a:lnTo>
                    <a:pt x="254" y="330"/>
                  </a:lnTo>
                  <a:lnTo>
                    <a:pt x="256" y="330"/>
                  </a:lnTo>
                  <a:lnTo>
                    <a:pt x="258" y="330"/>
                  </a:lnTo>
                  <a:lnTo>
                    <a:pt x="260" y="328"/>
                  </a:lnTo>
                  <a:lnTo>
                    <a:pt x="264" y="326"/>
                  </a:lnTo>
                  <a:lnTo>
                    <a:pt x="272" y="316"/>
                  </a:lnTo>
                  <a:lnTo>
                    <a:pt x="276" y="312"/>
                  </a:lnTo>
                  <a:lnTo>
                    <a:pt x="278" y="308"/>
                  </a:lnTo>
                  <a:lnTo>
                    <a:pt x="280" y="306"/>
                  </a:lnTo>
                  <a:lnTo>
                    <a:pt x="280" y="304"/>
                  </a:lnTo>
                  <a:lnTo>
                    <a:pt x="282" y="304"/>
                  </a:lnTo>
                  <a:lnTo>
                    <a:pt x="282" y="300"/>
                  </a:lnTo>
                  <a:lnTo>
                    <a:pt x="282" y="298"/>
                  </a:lnTo>
                  <a:lnTo>
                    <a:pt x="282" y="296"/>
                  </a:lnTo>
                  <a:lnTo>
                    <a:pt x="282" y="294"/>
                  </a:lnTo>
                  <a:lnTo>
                    <a:pt x="282" y="292"/>
                  </a:lnTo>
                  <a:lnTo>
                    <a:pt x="280" y="290"/>
                  </a:lnTo>
                  <a:lnTo>
                    <a:pt x="280" y="288"/>
                  </a:lnTo>
                  <a:lnTo>
                    <a:pt x="280" y="286"/>
                  </a:lnTo>
                  <a:lnTo>
                    <a:pt x="280" y="284"/>
                  </a:lnTo>
                  <a:lnTo>
                    <a:pt x="282" y="282"/>
                  </a:lnTo>
                  <a:lnTo>
                    <a:pt x="282" y="280"/>
                  </a:lnTo>
                  <a:lnTo>
                    <a:pt x="284" y="276"/>
                  </a:lnTo>
                  <a:lnTo>
                    <a:pt x="284" y="272"/>
                  </a:lnTo>
                  <a:lnTo>
                    <a:pt x="284" y="270"/>
                  </a:lnTo>
                  <a:lnTo>
                    <a:pt x="286" y="266"/>
                  </a:lnTo>
                  <a:lnTo>
                    <a:pt x="288" y="264"/>
                  </a:lnTo>
                  <a:lnTo>
                    <a:pt x="290" y="260"/>
                  </a:lnTo>
                  <a:lnTo>
                    <a:pt x="292" y="260"/>
                  </a:lnTo>
                  <a:lnTo>
                    <a:pt x="294" y="258"/>
                  </a:lnTo>
                  <a:lnTo>
                    <a:pt x="294" y="256"/>
                  </a:lnTo>
                  <a:lnTo>
                    <a:pt x="294" y="254"/>
                  </a:lnTo>
                  <a:lnTo>
                    <a:pt x="294" y="252"/>
                  </a:lnTo>
                  <a:lnTo>
                    <a:pt x="292" y="248"/>
                  </a:lnTo>
                  <a:lnTo>
                    <a:pt x="290" y="246"/>
                  </a:lnTo>
                  <a:lnTo>
                    <a:pt x="290" y="242"/>
                  </a:lnTo>
                  <a:lnTo>
                    <a:pt x="290" y="238"/>
                  </a:lnTo>
                  <a:lnTo>
                    <a:pt x="290" y="236"/>
                  </a:lnTo>
                  <a:lnTo>
                    <a:pt x="290" y="234"/>
                  </a:lnTo>
                  <a:lnTo>
                    <a:pt x="290" y="232"/>
                  </a:lnTo>
                  <a:lnTo>
                    <a:pt x="290" y="230"/>
                  </a:lnTo>
                  <a:lnTo>
                    <a:pt x="290" y="228"/>
                  </a:lnTo>
                  <a:lnTo>
                    <a:pt x="288" y="228"/>
                  </a:lnTo>
                  <a:lnTo>
                    <a:pt x="288" y="226"/>
                  </a:lnTo>
                  <a:lnTo>
                    <a:pt x="288" y="224"/>
                  </a:lnTo>
                  <a:lnTo>
                    <a:pt x="290" y="222"/>
                  </a:lnTo>
                  <a:lnTo>
                    <a:pt x="292" y="220"/>
                  </a:lnTo>
                  <a:lnTo>
                    <a:pt x="292" y="218"/>
                  </a:lnTo>
                  <a:lnTo>
                    <a:pt x="294" y="216"/>
                  </a:lnTo>
                  <a:lnTo>
                    <a:pt x="294" y="214"/>
                  </a:lnTo>
                  <a:lnTo>
                    <a:pt x="298" y="198"/>
                  </a:lnTo>
                  <a:lnTo>
                    <a:pt x="298" y="196"/>
                  </a:lnTo>
                  <a:lnTo>
                    <a:pt x="300" y="192"/>
                  </a:lnTo>
                  <a:lnTo>
                    <a:pt x="300" y="188"/>
                  </a:lnTo>
                  <a:lnTo>
                    <a:pt x="298" y="186"/>
                  </a:lnTo>
                  <a:lnTo>
                    <a:pt x="298" y="180"/>
                  </a:lnTo>
                  <a:lnTo>
                    <a:pt x="298" y="172"/>
                  </a:lnTo>
                  <a:lnTo>
                    <a:pt x="300" y="162"/>
                  </a:lnTo>
                  <a:lnTo>
                    <a:pt x="300" y="160"/>
                  </a:lnTo>
                  <a:lnTo>
                    <a:pt x="302" y="160"/>
                  </a:lnTo>
                  <a:lnTo>
                    <a:pt x="304" y="158"/>
                  </a:lnTo>
                  <a:lnTo>
                    <a:pt x="306" y="154"/>
                  </a:lnTo>
                  <a:lnTo>
                    <a:pt x="306" y="152"/>
                  </a:lnTo>
                  <a:lnTo>
                    <a:pt x="306" y="150"/>
                  </a:lnTo>
                  <a:lnTo>
                    <a:pt x="308" y="148"/>
                  </a:lnTo>
                  <a:lnTo>
                    <a:pt x="310" y="146"/>
                  </a:lnTo>
                  <a:lnTo>
                    <a:pt x="312" y="144"/>
                  </a:lnTo>
                  <a:lnTo>
                    <a:pt x="312" y="142"/>
                  </a:lnTo>
                  <a:lnTo>
                    <a:pt x="316" y="138"/>
                  </a:lnTo>
                  <a:lnTo>
                    <a:pt x="316" y="134"/>
                  </a:lnTo>
                  <a:lnTo>
                    <a:pt x="320" y="128"/>
                  </a:lnTo>
                  <a:lnTo>
                    <a:pt x="324" y="118"/>
                  </a:lnTo>
                  <a:lnTo>
                    <a:pt x="326" y="118"/>
                  </a:lnTo>
                  <a:lnTo>
                    <a:pt x="328" y="116"/>
                  </a:lnTo>
                  <a:lnTo>
                    <a:pt x="328" y="112"/>
                  </a:lnTo>
                  <a:lnTo>
                    <a:pt x="328" y="108"/>
                  </a:lnTo>
                  <a:lnTo>
                    <a:pt x="328" y="100"/>
                  </a:lnTo>
                  <a:lnTo>
                    <a:pt x="328" y="98"/>
                  </a:lnTo>
                  <a:lnTo>
                    <a:pt x="328" y="96"/>
                  </a:lnTo>
                  <a:lnTo>
                    <a:pt x="326" y="88"/>
                  </a:lnTo>
                  <a:lnTo>
                    <a:pt x="326" y="86"/>
                  </a:lnTo>
                  <a:lnTo>
                    <a:pt x="326" y="84"/>
                  </a:lnTo>
                  <a:lnTo>
                    <a:pt x="328" y="78"/>
                  </a:lnTo>
                  <a:lnTo>
                    <a:pt x="328" y="74"/>
                  </a:lnTo>
                  <a:lnTo>
                    <a:pt x="328" y="72"/>
                  </a:lnTo>
                  <a:lnTo>
                    <a:pt x="328" y="70"/>
                  </a:lnTo>
                  <a:lnTo>
                    <a:pt x="328" y="64"/>
                  </a:lnTo>
                  <a:lnTo>
                    <a:pt x="326" y="60"/>
                  </a:lnTo>
                  <a:lnTo>
                    <a:pt x="324" y="58"/>
                  </a:lnTo>
                  <a:lnTo>
                    <a:pt x="322" y="56"/>
                  </a:lnTo>
                  <a:lnTo>
                    <a:pt x="324" y="54"/>
                  </a:lnTo>
                  <a:lnTo>
                    <a:pt x="326" y="54"/>
                  </a:lnTo>
                  <a:lnTo>
                    <a:pt x="328" y="54"/>
                  </a:lnTo>
                  <a:lnTo>
                    <a:pt x="332" y="54"/>
                  </a:lnTo>
                  <a:lnTo>
                    <a:pt x="334" y="52"/>
                  </a:lnTo>
                  <a:lnTo>
                    <a:pt x="336" y="52"/>
                  </a:lnTo>
                  <a:lnTo>
                    <a:pt x="336" y="48"/>
                  </a:lnTo>
                  <a:lnTo>
                    <a:pt x="338" y="44"/>
                  </a:lnTo>
                  <a:lnTo>
                    <a:pt x="338" y="42"/>
                  </a:lnTo>
                  <a:lnTo>
                    <a:pt x="344" y="36"/>
                  </a:lnTo>
                  <a:lnTo>
                    <a:pt x="346" y="34"/>
                  </a:lnTo>
                  <a:lnTo>
                    <a:pt x="348" y="30"/>
                  </a:lnTo>
                  <a:lnTo>
                    <a:pt x="350" y="26"/>
                  </a:lnTo>
                  <a:lnTo>
                    <a:pt x="352" y="24"/>
                  </a:lnTo>
                  <a:lnTo>
                    <a:pt x="356" y="24"/>
                  </a:lnTo>
                  <a:lnTo>
                    <a:pt x="358" y="22"/>
                  </a:lnTo>
                  <a:lnTo>
                    <a:pt x="358" y="20"/>
                  </a:lnTo>
                  <a:lnTo>
                    <a:pt x="368" y="14"/>
                  </a:lnTo>
                  <a:lnTo>
                    <a:pt x="374" y="14"/>
                  </a:lnTo>
                  <a:lnTo>
                    <a:pt x="380" y="14"/>
                  </a:lnTo>
                  <a:lnTo>
                    <a:pt x="382" y="14"/>
                  </a:lnTo>
                  <a:lnTo>
                    <a:pt x="386" y="14"/>
                  </a:lnTo>
                  <a:lnTo>
                    <a:pt x="388" y="16"/>
                  </a:lnTo>
                  <a:lnTo>
                    <a:pt x="390" y="16"/>
                  </a:lnTo>
                  <a:lnTo>
                    <a:pt x="390" y="18"/>
                  </a:lnTo>
                  <a:lnTo>
                    <a:pt x="392" y="20"/>
                  </a:lnTo>
                  <a:lnTo>
                    <a:pt x="394" y="20"/>
                  </a:lnTo>
                  <a:lnTo>
                    <a:pt x="394" y="22"/>
                  </a:lnTo>
                  <a:lnTo>
                    <a:pt x="396" y="22"/>
                  </a:lnTo>
                  <a:lnTo>
                    <a:pt x="398" y="22"/>
                  </a:lnTo>
                  <a:lnTo>
                    <a:pt x="406" y="28"/>
                  </a:lnTo>
                  <a:lnTo>
                    <a:pt x="416" y="32"/>
                  </a:lnTo>
                  <a:lnTo>
                    <a:pt x="422" y="40"/>
                  </a:lnTo>
                  <a:lnTo>
                    <a:pt x="420" y="46"/>
                  </a:lnTo>
                  <a:lnTo>
                    <a:pt x="422" y="46"/>
                  </a:lnTo>
                  <a:lnTo>
                    <a:pt x="426" y="52"/>
                  </a:lnTo>
                  <a:lnTo>
                    <a:pt x="428" y="52"/>
                  </a:lnTo>
                  <a:lnTo>
                    <a:pt x="434" y="50"/>
                  </a:lnTo>
                  <a:lnTo>
                    <a:pt x="440" y="50"/>
                  </a:lnTo>
                  <a:lnTo>
                    <a:pt x="442" y="50"/>
                  </a:lnTo>
                  <a:lnTo>
                    <a:pt x="448" y="50"/>
                  </a:lnTo>
                  <a:lnTo>
                    <a:pt x="450" y="52"/>
                  </a:lnTo>
                  <a:lnTo>
                    <a:pt x="452" y="52"/>
                  </a:lnTo>
                  <a:lnTo>
                    <a:pt x="454" y="54"/>
                  </a:lnTo>
                  <a:lnTo>
                    <a:pt x="458" y="56"/>
                  </a:lnTo>
                  <a:lnTo>
                    <a:pt x="460" y="58"/>
                  </a:lnTo>
                  <a:lnTo>
                    <a:pt x="474" y="60"/>
                  </a:lnTo>
                  <a:lnTo>
                    <a:pt x="476" y="60"/>
                  </a:lnTo>
                  <a:lnTo>
                    <a:pt x="478" y="60"/>
                  </a:lnTo>
                  <a:lnTo>
                    <a:pt x="480" y="58"/>
                  </a:lnTo>
                  <a:lnTo>
                    <a:pt x="480" y="56"/>
                  </a:lnTo>
                  <a:lnTo>
                    <a:pt x="482" y="56"/>
                  </a:lnTo>
                  <a:lnTo>
                    <a:pt x="486" y="56"/>
                  </a:lnTo>
                  <a:lnTo>
                    <a:pt x="492" y="58"/>
                  </a:lnTo>
                  <a:lnTo>
                    <a:pt x="500" y="60"/>
                  </a:lnTo>
                  <a:lnTo>
                    <a:pt x="502" y="60"/>
                  </a:lnTo>
                  <a:lnTo>
                    <a:pt x="504" y="62"/>
                  </a:lnTo>
                  <a:lnTo>
                    <a:pt x="506" y="62"/>
                  </a:lnTo>
                  <a:lnTo>
                    <a:pt x="508" y="64"/>
                  </a:lnTo>
                  <a:lnTo>
                    <a:pt x="510" y="64"/>
                  </a:lnTo>
                  <a:lnTo>
                    <a:pt x="512" y="64"/>
                  </a:lnTo>
                  <a:lnTo>
                    <a:pt x="514" y="64"/>
                  </a:lnTo>
                  <a:lnTo>
                    <a:pt x="518" y="66"/>
                  </a:lnTo>
                  <a:lnTo>
                    <a:pt x="520" y="66"/>
                  </a:lnTo>
                  <a:lnTo>
                    <a:pt x="522" y="64"/>
                  </a:lnTo>
                  <a:lnTo>
                    <a:pt x="524" y="64"/>
                  </a:lnTo>
                  <a:lnTo>
                    <a:pt x="526" y="60"/>
                  </a:lnTo>
                  <a:lnTo>
                    <a:pt x="528" y="54"/>
                  </a:lnTo>
                  <a:lnTo>
                    <a:pt x="530" y="52"/>
                  </a:lnTo>
                  <a:lnTo>
                    <a:pt x="530" y="48"/>
                  </a:lnTo>
                  <a:lnTo>
                    <a:pt x="532" y="46"/>
                  </a:lnTo>
                  <a:lnTo>
                    <a:pt x="534" y="48"/>
                  </a:lnTo>
                  <a:lnTo>
                    <a:pt x="536" y="42"/>
                  </a:lnTo>
                  <a:lnTo>
                    <a:pt x="538" y="38"/>
                  </a:lnTo>
                  <a:lnTo>
                    <a:pt x="540" y="36"/>
                  </a:lnTo>
                  <a:lnTo>
                    <a:pt x="544" y="34"/>
                  </a:lnTo>
                  <a:lnTo>
                    <a:pt x="546" y="30"/>
                  </a:lnTo>
                  <a:lnTo>
                    <a:pt x="548" y="30"/>
                  </a:lnTo>
                  <a:lnTo>
                    <a:pt x="550" y="32"/>
                  </a:lnTo>
                  <a:lnTo>
                    <a:pt x="552" y="34"/>
                  </a:lnTo>
                  <a:lnTo>
                    <a:pt x="556" y="36"/>
                  </a:lnTo>
                  <a:lnTo>
                    <a:pt x="562" y="36"/>
                  </a:lnTo>
                  <a:lnTo>
                    <a:pt x="568" y="42"/>
                  </a:lnTo>
                  <a:lnTo>
                    <a:pt x="570" y="42"/>
                  </a:lnTo>
                  <a:lnTo>
                    <a:pt x="572" y="42"/>
                  </a:lnTo>
                  <a:lnTo>
                    <a:pt x="572" y="40"/>
                  </a:lnTo>
                  <a:lnTo>
                    <a:pt x="574" y="38"/>
                  </a:lnTo>
                  <a:lnTo>
                    <a:pt x="580" y="34"/>
                  </a:lnTo>
                  <a:lnTo>
                    <a:pt x="592" y="30"/>
                  </a:lnTo>
                  <a:lnTo>
                    <a:pt x="596" y="30"/>
                  </a:lnTo>
                  <a:lnTo>
                    <a:pt x="604" y="26"/>
                  </a:lnTo>
                  <a:lnTo>
                    <a:pt x="612" y="24"/>
                  </a:lnTo>
                  <a:lnTo>
                    <a:pt x="614" y="22"/>
                  </a:lnTo>
                  <a:lnTo>
                    <a:pt x="620" y="20"/>
                  </a:lnTo>
                  <a:lnTo>
                    <a:pt x="622" y="18"/>
                  </a:lnTo>
                  <a:lnTo>
                    <a:pt x="620" y="18"/>
                  </a:lnTo>
                  <a:lnTo>
                    <a:pt x="622" y="14"/>
                  </a:lnTo>
                  <a:lnTo>
                    <a:pt x="624" y="14"/>
                  </a:lnTo>
                  <a:lnTo>
                    <a:pt x="626" y="16"/>
                  </a:lnTo>
                  <a:lnTo>
                    <a:pt x="628" y="16"/>
                  </a:lnTo>
                  <a:lnTo>
                    <a:pt x="632" y="20"/>
                  </a:lnTo>
                  <a:lnTo>
                    <a:pt x="634" y="22"/>
                  </a:lnTo>
                  <a:lnTo>
                    <a:pt x="640" y="24"/>
                  </a:lnTo>
                  <a:lnTo>
                    <a:pt x="642" y="24"/>
                  </a:lnTo>
                  <a:lnTo>
                    <a:pt x="644" y="22"/>
                  </a:lnTo>
                  <a:lnTo>
                    <a:pt x="650" y="20"/>
                  </a:lnTo>
                  <a:lnTo>
                    <a:pt x="652" y="20"/>
                  </a:lnTo>
                  <a:lnTo>
                    <a:pt x="656" y="20"/>
                  </a:lnTo>
                  <a:lnTo>
                    <a:pt x="662" y="20"/>
                  </a:lnTo>
                  <a:lnTo>
                    <a:pt x="664" y="20"/>
                  </a:lnTo>
                  <a:lnTo>
                    <a:pt x="666" y="18"/>
                  </a:lnTo>
                  <a:lnTo>
                    <a:pt x="668" y="18"/>
                  </a:lnTo>
                  <a:lnTo>
                    <a:pt x="670" y="14"/>
                  </a:lnTo>
                  <a:lnTo>
                    <a:pt x="670" y="12"/>
                  </a:lnTo>
                  <a:lnTo>
                    <a:pt x="668" y="12"/>
                  </a:lnTo>
                  <a:lnTo>
                    <a:pt x="668" y="10"/>
                  </a:lnTo>
                  <a:lnTo>
                    <a:pt x="670" y="6"/>
                  </a:lnTo>
                  <a:lnTo>
                    <a:pt x="670" y="4"/>
                  </a:lnTo>
                  <a:lnTo>
                    <a:pt x="680" y="0"/>
                  </a:lnTo>
                  <a:lnTo>
                    <a:pt x="682" y="0"/>
                  </a:lnTo>
                  <a:lnTo>
                    <a:pt x="684" y="4"/>
                  </a:lnTo>
                  <a:lnTo>
                    <a:pt x="688" y="6"/>
                  </a:lnTo>
                  <a:lnTo>
                    <a:pt x="694" y="8"/>
                  </a:lnTo>
                  <a:lnTo>
                    <a:pt x="698" y="10"/>
                  </a:lnTo>
                  <a:lnTo>
                    <a:pt x="704" y="10"/>
                  </a:lnTo>
                  <a:lnTo>
                    <a:pt x="706" y="10"/>
                  </a:lnTo>
                  <a:lnTo>
                    <a:pt x="708" y="10"/>
                  </a:lnTo>
                  <a:lnTo>
                    <a:pt x="710" y="8"/>
                  </a:lnTo>
                  <a:lnTo>
                    <a:pt x="710" y="6"/>
                  </a:lnTo>
                  <a:lnTo>
                    <a:pt x="714" y="8"/>
                  </a:lnTo>
                  <a:lnTo>
                    <a:pt x="724" y="12"/>
                  </a:lnTo>
                  <a:lnTo>
                    <a:pt x="726" y="14"/>
                  </a:lnTo>
                  <a:lnTo>
                    <a:pt x="728" y="16"/>
                  </a:lnTo>
                  <a:lnTo>
                    <a:pt x="728" y="18"/>
                  </a:lnTo>
                  <a:lnTo>
                    <a:pt x="730" y="18"/>
                  </a:lnTo>
                  <a:lnTo>
                    <a:pt x="734" y="16"/>
                  </a:lnTo>
                  <a:lnTo>
                    <a:pt x="738" y="14"/>
                  </a:lnTo>
                  <a:lnTo>
                    <a:pt x="740" y="14"/>
                  </a:lnTo>
                  <a:lnTo>
                    <a:pt x="742" y="14"/>
                  </a:lnTo>
                  <a:lnTo>
                    <a:pt x="744" y="16"/>
                  </a:lnTo>
                  <a:lnTo>
                    <a:pt x="748" y="18"/>
                  </a:lnTo>
                  <a:lnTo>
                    <a:pt x="748" y="16"/>
                  </a:lnTo>
                  <a:lnTo>
                    <a:pt x="750" y="14"/>
                  </a:lnTo>
                  <a:lnTo>
                    <a:pt x="752" y="12"/>
                  </a:lnTo>
                  <a:lnTo>
                    <a:pt x="754" y="10"/>
                  </a:lnTo>
                  <a:lnTo>
                    <a:pt x="756" y="10"/>
                  </a:lnTo>
                  <a:lnTo>
                    <a:pt x="758" y="10"/>
                  </a:lnTo>
                  <a:lnTo>
                    <a:pt x="762" y="10"/>
                  </a:lnTo>
                  <a:lnTo>
                    <a:pt x="770" y="12"/>
                  </a:lnTo>
                  <a:lnTo>
                    <a:pt x="774" y="14"/>
                  </a:lnTo>
                  <a:lnTo>
                    <a:pt x="776" y="16"/>
                  </a:lnTo>
                  <a:lnTo>
                    <a:pt x="778" y="18"/>
                  </a:lnTo>
                  <a:lnTo>
                    <a:pt x="782" y="22"/>
                  </a:lnTo>
                  <a:lnTo>
                    <a:pt x="788" y="24"/>
                  </a:lnTo>
                  <a:lnTo>
                    <a:pt x="794" y="30"/>
                  </a:lnTo>
                  <a:lnTo>
                    <a:pt x="794" y="32"/>
                  </a:lnTo>
                  <a:lnTo>
                    <a:pt x="794" y="34"/>
                  </a:lnTo>
                  <a:lnTo>
                    <a:pt x="794" y="36"/>
                  </a:lnTo>
                  <a:lnTo>
                    <a:pt x="796" y="40"/>
                  </a:lnTo>
                  <a:lnTo>
                    <a:pt x="798" y="42"/>
                  </a:lnTo>
                  <a:lnTo>
                    <a:pt x="802" y="42"/>
                  </a:lnTo>
                  <a:lnTo>
                    <a:pt x="808" y="44"/>
                  </a:lnTo>
                  <a:lnTo>
                    <a:pt x="810" y="48"/>
                  </a:lnTo>
                  <a:lnTo>
                    <a:pt x="816" y="52"/>
                  </a:lnTo>
                  <a:lnTo>
                    <a:pt x="824" y="54"/>
                  </a:lnTo>
                  <a:lnTo>
                    <a:pt x="830" y="52"/>
                  </a:lnTo>
                  <a:lnTo>
                    <a:pt x="832" y="50"/>
                  </a:lnTo>
                  <a:lnTo>
                    <a:pt x="836" y="48"/>
                  </a:lnTo>
                  <a:lnTo>
                    <a:pt x="838" y="48"/>
                  </a:lnTo>
                  <a:lnTo>
                    <a:pt x="840" y="48"/>
                  </a:lnTo>
                  <a:lnTo>
                    <a:pt x="840" y="46"/>
                  </a:lnTo>
                  <a:lnTo>
                    <a:pt x="840" y="44"/>
                  </a:lnTo>
                  <a:lnTo>
                    <a:pt x="840" y="42"/>
                  </a:lnTo>
                  <a:lnTo>
                    <a:pt x="842" y="42"/>
                  </a:lnTo>
                  <a:lnTo>
                    <a:pt x="846" y="42"/>
                  </a:lnTo>
                  <a:lnTo>
                    <a:pt x="846" y="44"/>
                  </a:lnTo>
                  <a:lnTo>
                    <a:pt x="848" y="44"/>
                  </a:lnTo>
                  <a:lnTo>
                    <a:pt x="850" y="44"/>
                  </a:lnTo>
                  <a:lnTo>
                    <a:pt x="856" y="44"/>
                  </a:lnTo>
                  <a:lnTo>
                    <a:pt x="858" y="44"/>
                  </a:lnTo>
                  <a:lnTo>
                    <a:pt x="864" y="48"/>
                  </a:lnTo>
                  <a:lnTo>
                    <a:pt x="864" y="50"/>
                  </a:lnTo>
                  <a:lnTo>
                    <a:pt x="868" y="52"/>
                  </a:lnTo>
                  <a:lnTo>
                    <a:pt x="870" y="52"/>
                  </a:lnTo>
                  <a:lnTo>
                    <a:pt x="872" y="50"/>
                  </a:lnTo>
                  <a:lnTo>
                    <a:pt x="878" y="42"/>
                  </a:lnTo>
                  <a:lnTo>
                    <a:pt x="880" y="38"/>
                  </a:lnTo>
                  <a:lnTo>
                    <a:pt x="880" y="36"/>
                  </a:lnTo>
                  <a:lnTo>
                    <a:pt x="880" y="34"/>
                  </a:lnTo>
                  <a:lnTo>
                    <a:pt x="882" y="34"/>
                  </a:lnTo>
                  <a:lnTo>
                    <a:pt x="888" y="34"/>
                  </a:lnTo>
                  <a:lnTo>
                    <a:pt x="890" y="36"/>
                  </a:lnTo>
                  <a:lnTo>
                    <a:pt x="892" y="38"/>
                  </a:lnTo>
                  <a:lnTo>
                    <a:pt x="898" y="40"/>
                  </a:lnTo>
                  <a:lnTo>
                    <a:pt x="898" y="42"/>
                  </a:lnTo>
                  <a:lnTo>
                    <a:pt x="898" y="44"/>
                  </a:lnTo>
                  <a:lnTo>
                    <a:pt x="896" y="46"/>
                  </a:lnTo>
                  <a:lnTo>
                    <a:pt x="898" y="50"/>
                  </a:lnTo>
                  <a:lnTo>
                    <a:pt x="900" y="52"/>
                  </a:lnTo>
                  <a:lnTo>
                    <a:pt x="906" y="54"/>
                  </a:lnTo>
                  <a:lnTo>
                    <a:pt x="906" y="56"/>
                  </a:lnTo>
                  <a:lnTo>
                    <a:pt x="912" y="62"/>
                  </a:lnTo>
                  <a:lnTo>
                    <a:pt x="914" y="62"/>
                  </a:lnTo>
                  <a:lnTo>
                    <a:pt x="916" y="64"/>
                  </a:lnTo>
                  <a:lnTo>
                    <a:pt x="916" y="66"/>
                  </a:lnTo>
                  <a:lnTo>
                    <a:pt x="918" y="70"/>
                  </a:lnTo>
                  <a:lnTo>
                    <a:pt x="920" y="70"/>
                  </a:lnTo>
                  <a:lnTo>
                    <a:pt x="922" y="70"/>
                  </a:lnTo>
                  <a:lnTo>
                    <a:pt x="926" y="72"/>
                  </a:lnTo>
                  <a:lnTo>
                    <a:pt x="930" y="74"/>
                  </a:lnTo>
                  <a:lnTo>
                    <a:pt x="934" y="76"/>
                  </a:lnTo>
                  <a:lnTo>
                    <a:pt x="936" y="76"/>
                  </a:lnTo>
                  <a:lnTo>
                    <a:pt x="938" y="84"/>
                  </a:lnTo>
                  <a:lnTo>
                    <a:pt x="938" y="86"/>
                  </a:lnTo>
                  <a:lnTo>
                    <a:pt x="938" y="88"/>
                  </a:lnTo>
                  <a:lnTo>
                    <a:pt x="940" y="88"/>
                  </a:lnTo>
                  <a:lnTo>
                    <a:pt x="946" y="86"/>
                  </a:lnTo>
                  <a:lnTo>
                    <a:pt x="948" y="86"/>
                  </a:lnTo>
                  <a:lnTo>
                    <a:pt x="952" y="92"/>
                  </a:lnTo>
                  <a:lnTo>
                    <a:pt x="952" y="94"/>
                  </a:lnTo>
                  <a:lnTo>
                    <a:pt x="954" y="92"/>
                  </a:lnTo>
                  <a:lnTo>
                    <a:pt x="956" y="94"/>
                  </a:lnTo>
                  <a:lnTo>
                    <a:pt x="956" y="98"/>
                  </a:lnTo>
                  <a:lnTo>
                    <a:pt x="954" y="102"/>
                  </a:lnTo>
                  <a:lnTo>
                    <a:pt x="952" y="104"/>
                  </a:lnTo>
                  <a:lnTo>
                    <a:pt x="950" y="108"/>
                  </a:lnTo>
                  <a:lnTo>
                    <a:pt x="948" y="112"/>
                  </a:lnTo>
                  <a:lnTo>
                    <a:pt x="948" y="118"/>
                  </a:lnTo>
                  <a:lnTo>
                    <a:pt x="950" y="118"/>
                  </a:lnTo>
                  <a:lnTo>
                    <a:pt x="952" y="122"/>
                  </a:lnTo>
                  <a:lnTo>
                    <a:pt x="954" y="126"/>
                  </a:lnTo>
                  <a:lnTo>
                    <a:pt x="954" y="128"/>
                  </a:lnTo>
                  <a:lnTo>
                    <a:pt x="952" y="130"/>
                  </a:lnTo>
                  <a:lnTo>
                    <a:pt x="950" y="132"/>
                  </a:lnTo>
                  <a:lnTo>
                    <a:pt x="948" y="136"/>
                  </a:lnTo>
                  <a:lnTo>
                    <a:pt x="948" y="140"/>
                  </a:lnTo>
                  <a:lnTo>
                    <a:pt x="946" y="146"/>
                  </a:lnTo>
                  <a:lnTo>
                    <a:pt x="946" y="148"/>
                  </a:lnTo>
                  <a:lnTo>
                    <a:pt x="954" y="154"/>
                  </a:lnTo>
                  <a:lnTo>
                    <a:pt x="956" y="152"/>
                  </a:lnTo>
                  <a:lnTo>
                    <a:pt x="958" y="150"/>
                  </a:lnTo>
                  <a:lnTo>
                    <a:pt x="960" y="150"/>
                  </a:lnTo>
                  <a:lnTo>
                    <a:pt x="964" y="154"/>
                  </a:lnTo>
                  <a:lnTo>
                    <a:pt x="970" y="158"/>
                  </a:lnTo>
                  <a:lnTo>
                    <a:pt x="976" y="162"/>
                  </a:lnTo>
                  <a:lnTo>
                    <a:pt x="976" y="164"/>
                  </a:lnTo>
                  <a:lnTo>
                    <a:pt x="970" y="172"/>
                  </a:lnTo>
                  <a:lnTo>
                    <a:pt x="962" y="184"/>
                  </a:lnTo>
                  <a:lnTo>
                    <a:pt x="952" y="190"/>
                  </a:lnTo>
                  <a:lnTo>
                    <a:pt x="946" y="196"/>
                  </a:lnTo>
                  <a:lnTo>
                    <a:pt x="944" y="198"/>
                  </a:lnTo>
                  <a:lnTo>
                    <a:pt x="938" y="206"/>
                  </a:lnTo>
                  <a:lnTo>
                    <a:pt x="934" y="210"/>
                  </a:lnTo>
                  <a:lnTo>
                    <a:pt x="932" y="212"/>
                  </a:lnTo>
                  <a:lnTo>
                    <a:pt x="928" y="212"/>
                  </a:lnTo>
                  <a:lnTo>
                    <a:pt x="924" y="214"/>
                  </a:lnTo>
                  <a:lnTo>
                    <a:pt x="922" y="216"/>
                  </a:lnTo>
                  <a:lnTo>
                    <a:pt x="920" y="220"/>
                  </a:lnTo>
                  <a:lnTo>
                    <a:pt x="920" y="224"/>
                  </a:lnTo>
                  <a:lnTo>
                    <a:pt x="918" y="228"/>
                  </a:lnTo>
                  <a:lnTo>
                    <a:pt x="916" y="228"/>
                  </a:lnTo>
                  <a:lnTo>
                    <a:pt x="914" y="228"/>
                  </a:lnTo>
                  <a:lnTo>
                    <a:pt x="912" y="228"/>
                  </a:lnTo>
                  <a:lnTo>
                    <a:pt x="910" y="230"/>
                  </a:lnTo>
                  <a:lnTo>
                    <a:pt x="908" y="230"/>
                  </a:lnTo>
                  <a:lnTo>
                    <a:pt x="908" y="232"/>
                  </a:lnTo>
                  <a:lnTo>
                    <a:pt x="906" y="234"/>
                  </a:lnTo>
                  <a:lnTo>
                    <a:pt x="906" y="242"/>
                  </a:lnTo>
                  <a:lnTo>
                    <a:pt x="908" y="246"/>
                  </a:lnTo>
                  <a:lnTo>
                    <a:pt x="908" y="250"/>
                  </a:lnTo>
                  <a:lnTo>
                    <a:pt x="906" y="252"/>
                  </a:lnTo>
                  <a:lnTo>
                    <a:pt x="902" y="256"/>
                  </a:lnTo>
                  <a:lnTo>
                    <a:pt x="902" y="260"/>
                  </a:lnTo>
                  <a:lnTo>
                    <a:pt x="900" y="266"/>
                  </a:lnTo>
                  <a:lnTo>
                    <a:pt x="898" y="266"/>
                  </a:lnTo>
                  <a:lnTo>
                    <a:pt x="896" y="270"/>
                  </a:lnTo>
                  <a:lnTo>
                    <a:pt x="896" y="272"/>
                  </a:lnTo>
                  <a:lnTo>
                    <a:pt x="896" y="274"/>
                  </a:lnTo>
                  <a:lnTo>
                    <a:pt x="894" y="278"/>
                  </a:lnTo>
                  <a:lnTo>
                    <a:pt x="894" y="284"/>
                  </a:lnTo>
                  <a:lnTo>
                    <a:pt x="894" y="290"/>
                  </a:lnTo>
                  <a:lnTo>
                    <a:pt x="892" y="296"/>
                  </a:lnTo>
                  <a:lnTo>
                    <a:pt x="892" y="298"/>
                  </a:lnTo>
                  <a:lnTo>
                    <a:pt x="894" y="304"/>
                  </a:lnTo>
                  <a:lnTo>
                    <a:pt x="892" y="308"/>
                  </a:lnTo>
                  <a:lnTo>
                    <a:pt x="890" y="312"/>
                  </a:lnTo>
                  <a:lnTo>
                    <a:pt x="892" y="314"/>
                  </a:lnTo>
                  <a:lnTo>
                    <a:pt x="890" y="320"/>
                  </a:lnTo>
                  <a:lnTo>
                    <a:pt x="888" y="320"/>
                  </a:lnTo>
                  <a:lnTo>
                    <a:pt x="888" y="322"/>
                  </a:lnTo>
                  <a:lnTo>
                    <a:pt x="888" y="336"/>
                  </a:lnTo>
                  <a:lnTo>
                    <a:pt x="890" y="336"/>
                  </a:lnTo>
                  <a:lnTo>
                    <a:pt x="890" y="342"/>
                  </a:lnTo>
                  <a:lnTo>
                    <a:pt x="890" y="346"/>
                  </a:lnTo>
                  <a:lnTo>
                    <a:pt x="888" y="346"/>
                  </a:lnTo>
                  <a:lnTo>
                    <a:pt x="886" y="348"/>
                  </a:lnTo>
                  <a:lnTo>
                    <a:pt x="884" y="348"/>
                  </a:lnTo>
                  <a:lnTo>
                    <a:pt x="884" y="350"/>
                  </a:lnTo>
                  <a:lnTo>
                    <a:pt x="882" y="352"/>
                  </a:lnTo>
                  <a:lnTo>
                    <a:pt x="878" y="352"/>
                  </a:lnTo>
                  <a:lnTo>
                    <a:pt x="872" y="358"/>
                  </a:lnTo>
                  <a:lnTo>
                    <a:pt x="872" y="360"/>
                  </a:lnTo>
                  <a:lnTo>
                    <a:pt x="866" y="368"/>
                  </a:lnTo>
                  <a:lnTo>
                    <a:pt x="866" y="370"/>
                  </a:lnTo>
                  <a:lnTo>
                    <a:pt x="866" y="372"/>
                  </a:lnTo>
                  <a:lnTo>
                    <a:pt x="866" y="374"/>
                  </a:lnTo>
                  <a:lnTo>
                    <a:pt x="866" y="376"/>
                  </a:lnTo>
                  <a:lnTo>
                    <a:pt x="866" y="378"/>
                  </a:lnTo>
                  <a:lnTo>
                    <a:pt x="868" y="380"/>
                  </a:lnTo>
                  <a:lnTo>
                    <a:pt x="868" y="382"/>
                  </a:lnTo>
                  <a:lnTo>
                    <a:pt x="868" y="384"/>
                  </a:lnTo>
                  <a:lnTo>
                    <a:pt x="866" y="386"/>
                  </a:lnTo>
                  <a:lnTo>
                    <a:pt x="866" y="388"/>
                  </a:lnTo>
                  <a:lnTo>
                    <a:pt x="864" y="390"/>
                  </a:lnTo>
                  <a:lnTo>
                    <a:pt x="858" y="394"/>
                  </a:lnTo>
                  <a:lnTo>
                    <a:pt x="854" y="396"/>
                  </a:lnTo>
                  <a:lnTo>
                    <a:pt x="852" y="398"/>
                  </a:lnTo>
                  <a:lnTo>
                    <a:pt x="852" y="404"/>
                  </a:lnTo>
                  <a:lnTo>
                    <a:pt x="854" y="412"/>
                  </a:lnTo>
                  <a:lnTo>
                    <a:pt x="856" y="412"/>
                  </a:lnTo>
                  <a:lnTo>
                    <a:pt x="858" y="412"/>
                  </a:lnTo>
                  <a:lnTo>
                    <a:pt x="860" y="414"/>
                  </a:lnTo>
                  <a:lnTo>
                    <a:pt x="860" y="416"/>
                  </a:lnTo>
                  <a:lnTo>
                    <a:pt x="858" y="418"/>
                  </a:lnTo>
                  <a:lnTo>
                    <a:pt x="858" y="420"/>
                  </a:lnTo>
                  <a:lnTo>
                    <a:pt x="866" y="428"/>
                  </a:lnTo>
                  <a:lnTo>
                    <a:pt x="868" y="430"/>
                  </a:lnTo>
                  <a:lnTo>
                    <a:pt x="870" y="430"/>
                  </a:lnTo>
                  <a:lnTo>
                    <a:pt x="872" y="432"/>
                  </a:lnTo>
                  <a:lnTo>
                    <a:pt x="872" y="434"/>
                  </a:lnTo>
                  <a:lnTo>
                    <a:pt x="870" y="436"/>
                  </a:lnTo>
                  <a:lnTo>
                    <a:pt x="870" y="442"/>
                  </a:lnTo>
                  <a:lnTo>
                    <a:pt x="872" y="444"/>
                  </a:lnTo>
                  <a:lnTo>
                    <a:pt x="870" y="444"/>
                  </a:lnTo>
                  <a:lnTo>
                    <a:pt x="870" y="446"/>
                  </a:lnTo>
                  <a:lnTo>
                    <a:pt x="870" y="448"/>
                  </a:lnTo>
                  <a:lnTo>
                    <a:pt x="872" y="450"/>
                  </a:lnTo>
                  <a:lnTo>
                    <a:pt x="872" y="452"/>
                  </a:lnTo>
                  <a:lnTo>
                    <a:pt x="872" y="454"/>
                  </a:lnTo>
                  <a:lnTo>
                    <a:pt x="872" y="460"/>
                  </a:lnTo>
                  <a:lnTo>
                    <a:pt x="872" y="464"/>
                  </a:lnTo>
                  <a:lnTo>
                    <a:pt x="872" y="466"/>
                  </a:lnTo>
                  <a:lnTo>
                    <a:pt x="872" y="468"/>
                  </a:lnTo>
                  <a:lnTo>
                    <a:pt x="870" y="470"/>
                  </a:lnTo>
                  <a:lnTo>
                    <a:pt x="872" y="474"/>
                  </a:lnTo>
                  <a:lnTo>
                    <a:pt x="872" y="476"/>
                  </a:lnTo>
                  <a:lnTo>
                    <a:pt x="872" y="478"/>
                  </a:lnTo>
                  <a:lnTo>
                    <a:pt x="874" y="478"/>
                  </a:lnTo>
                  <a:lnTo>
                    <a:pt x="874" y="480"/>
                  </a:lnTo>
                  <a:lnTo>
                    <a:pt x="876" y="482"/>
                  </a:lnTo>
                  <a:lnTo>
                    <a:pt x="878" y="488"/>
                  </a:lnTo>
                  <a:lnTo>
                    <a:pt x="880" y="490"/>
                  </a:lnTo>
                  <a:lnTo>
                    <a:pt x="880" y="492"/>
                  </a:lnTo>
                  <a:lnTo>
                    <a:pt x="880" y="496"/>
                  </a:lnTo>
                  <a:lnTo>
                    <a:pt x="880" y="500"/>
                  </a:lnTo>
                  <a:lnTo>
                    <a:pt x="880" y="502"/>
                  </a:lnTo>
                  <a:lnTo>
                    <a:pt x="880" y="504"/>
                  </a:lnTo>
                  <a:lnTo>
                    <a:pt x="882" y="506"/>
                  </a:lnTo>
                  <a:lnTo>
                    <a:pt x="882" y="508"/>
                  </a:lnTo>
                  <a:lnTo>
                    <a:pt x="880" y="510"/>
                  </a:lnTo>
                  <a:lnTo>
                    <a:pt x="880" y="512"/>
                  </a:lnTo>
                  <a:lnTo>
                    <a:pt x="878" y="516"/>
                  </a:lnTo>
                  <a:lnTo>
                    <a:pt x="878" y="518"/>
                  </a:lnTo>
                  <a:lnTo>
                    <a:pt x="876" y="520"/>
                  </a:lnTo>
                  <a:lnTo>
                    <a:pt x="876" y="522"/>
                  </a:lnTo>
                  <a:lnTo>
                    <a:pt x="876" y="524"/>
                  </a:lnTo>
                  <a:lnTo>
                    <a:pt x="876" y="526"/>
                  </a:lnTo>
                  <a:lnTo>
                    <a:pt x="876" y="528"/>
                  </a:lnTo>
                  <a:lnTo>
                    <a:pt x="876" y="530"/>
                  </a:lnTo>
                  <a:lnTo>
                    <a:pt x="878" y="532"/>
                  </a:lnTo>
                  <a:lnTo>
                    <a:pt x="878" y="534"/>
                  </a:lnTo>
                  <a:lnTo>
                    <a:pt x="880" y="536"/>
                  </a:lnTo>
                  <a:lnTo>
                    <a:pt x="880" y="538"/>
                  </a:lnTo>
                  <a:lnTo>
                    <a:pt x="880" y="540"/>
                  </a:lnTo>
                  <a:lnTo>
                    <a:pt x="882" y="540"/>
                  </a:lnTo>
                  <a:lnTo>
                    <a:pt x="884" y="544"/>
                  </a:lnTo>
                  <a:lnTo>
                    <a:pt x="884" y="546"/>
                  </a:lnTo>
                  <a:lnTo>
                    <a:pt x="884" y="552"/>
                  </a:lnTo>
                  <a:lnTo>
                    <a:pt x="886" y="554"/>
                  </a:lnTo>
                  <a:lnTo>
                    <a:pt x="886" y="556"/>
                  </a:lnTo>
                  <a:lnTo>
                    <a:pt x="888" y="556"/>
                  </a:lnTo>
                  <a:lnTo>
                    <a:pt x="888" y="558"/>
                  </a:lnTo>
                  <a:lnTo>
                    <a:pt x="890" y="562"/>
                  </a:lnTo>
                  <a:lnTo>
                    <a:pt x="890" y="566"/>
                  </a:lnTo>
                  <a:lnTo>
                    <a:pt x="892" y="568"/>
                  </a:lnTo>
                  <a:lnTo>
                    <a:pt x="890" y="570"/>
                  </a:lnTo>
                  <a:lnTo>
                    <a:pt x="890" y="574"/>
                  </a:lnTo>
                  <a:lnTo>
                    <a:pt x="888" y="574"/>
                  </a:lnTo>
                  <a:lnTo>
                    <a:pt x="888" y="576"/>
                  </a:lnTo>
                  <a:lnTo>
                    <a:pt x="886" y="576"/>
                  </a:lnTo>
                  <a:lnTo>
                    <a:pt x="884" y="578"/>
                  </a:lnTo>
                  <a:lnTo>
                    <a:pt x="884" y="580"/>
                  </a:lnTo>
                  <a:lnTo>
                    <a:pt x="884" y="582"/>
                  </a:lnTo>
                  <a:lnTo>
                    <a:pt x="884" y="584"/>
                  </a:lnTo>
                  <a:lnTo>
                    <a:pt x="884" y="586"/>
                  </a:lnTo>
                  <a:lnTo>
                    <a:pt x="886" y="596"/>
                  </a:lnTo>
                  <a:lnTo>
                    <a:pt x="886" y="598"/>
                  </a:lnTo>
                  <a:lnTo>
                    <a:pt x="888" y="600"/>
                  </a:lnTo>
                  <a:lnTo>
                    <a:pt x="890" y="604"/>
                  </a:lnTo>
                  <a:lnTo>
                    <a:pt x="894" y="612"/>
                  </a:lnTo>
                  <a:lnTo>
                    <a:pt x="894" y="614"/>
                  </a:lnTo>
                  <a:lnTo>
                    <a:pt x="896" y="616"/>
                  </a:lnTo>
                  <a:lnTo>
                    <a:pt x="904" y="622"/>
                  </a:lnTo>
                  <a:lnTo>
                    <a:pt x="906" y="622"/>
                  </a:lnTo>
                  <a:lnTo>
                    <a:pt x="908" y="624"/>
                  </a:lnTo>
                  <a:lnTo>
                    <a:pt x="910" y="624"/>
                  </a:lnTo>
                  <a:lnTo>
                    <a:pt x="912" y="626"/>
                  </a:lnTo>
                  <a:lnTo>
                    <a:pt x="914" y="626"/>
                  </a:lnTo>
                  <a:lnTo>
                    <a:pt x="916" y="630"/>
                  </a:lnTo>
                  <a:lnTo>
                    <a:pt x="918" y="630"/>
                  </a:lnTo>
                  <a:lnTo>
                    <a:pt x="918" y="632"/>
                  </a:lnTo>
                  <a:lnTo>
                    <a:pt x="920" y="634"/>
                  </a:lnTo>
                  <a:lnTo>
                    <a:pt x="922" y="636"/>
                  </a:lnTo>
                  <a:lnTo>
                    <a:pt x="926" y="642"/>
                  </a:lnTo>
                  <a:lnTo>
                    <a:pt x="926" y="644"/>
                  </a:lnTo>
                  <a:lnTo>
                    <a:pt x="926" y="646"/>
                  </a:lnTo>
                  <a:lnTo>
                    <a:pt x="928" y="648"/>
                  </a:lnTo>
                  <a:lnTo>
                    <a:pt x="930" y="652"/>
                  </a:lnTo>
                  <a:lnTo>
                    <a:pt x="930" y="654"/>
                  </a:lnTo>
                  <a:lnTo>
                    <a:pt x="930" y="656"/>
                  </a:lnTo>
                  <a:lnTo>
                    <a:pt x="930" y="658"/>
                  </a:lnTo>
                  <a:lnTo>
                    <a:pt x="930" y="660"/>
                  </a:lnTo>
                  <a:lnTo>
                    <a:pt x="932" y="662"/>
                  </a:lnTo>
                  <a:lnTo>
                    <a:pt x="932" y="664"/>
                  </a:lnTo>
                  <a:lnTo>
                    <a:pt x="934" y="666"/>
                  </a:lnTo>
                  <a:lnTo>
                    <a:pt x="936" y="670"/>
                  </a:lnTo>
                  <a:lnTo>
                    <a:pt x="938" y="674"/>
                  </a:lnTo>
                  <a:lnTo>
                    <a:pt x="940" y="676"/>
                  </a:lnTo>
                  <a:lnTo>
                    <a:pt x="942" y="680"/>
                  </a:lnTo>
                  <a:lnTo>
                    <a:pt x="942" y="682"/>
                  </a:lnTo>
                  <a:lnTo>
                    <a:pt x="944" y="684"/>
                  </a:lnTo>
                  <a:lnTo>
                    <a:pt x="948" y="694"/>
                  </a:lnTo>
                  <a:lnTo>
                    <a:pt x="948" y="696"/>
                  </a:lnTo>
                  <a:lnTo>
                    <a:pt x="946" y="696"/>
                  </a:lnTo>
                  <a:lnTo>
                    <a:pt x="934" y="698"/>
                  </a:lnTo>
                  <a:lnTo>
                    <a:pt x="930" y="698"/>
                  </a:lnTo>
                  <a:lnTo>
                    <a:pt x="922" y="700"/>
                  </a:lnTo>
                  <a:lnTo>
                    <a:pt x="912" y="700"/>
                  </a:lnTo>
                  <a:lnTo>
                    <a:pt x="904" y="702"/>
                  </a:lnTo>
                  <a:lnTo>
                    <a:pt x="888" y="706"/>
                  </a:lnTo>
                  <a:lnTo>
                    <a:pt x="886" y="706"/>
                  </a:lnTo>
                  <a:lnTo>
                    <a:pt x="878" y="706"/>
                  </a:lnTo>
                  <a:lnTo>
                    <a:pt x="870" y="708"/>
                  </a:lnTo>
                  <a:lnTo>
                    <a:pt x="868" y="708"/>
                  </a:lnTo>
                  <a:lnTo>
                    <a:pt x="856" y="710"/>
                  </a:lnTo>
                  <a:lnTo>
                    <a:pt x="854" y="710"/>
                  </a:lnTo>
                  <a:lnTo>
                    <a:pt x="852" y="710"/>
                  </a:lnTo>
                  <a:lnTo>
                    <a:pt x="854" y="714"/>
                  </a:lnTo>
                  <a:lnTo>
                    <a:pt x="854" y="716"/>
                  </a:lnTo>
                  <a:lnTo>
                    <a:pt x="856" y="718"/>
                  </a:lnTo>
                  <a:lnTo>
                    <a:pt x="856" y="720"/>
                  </a:lnTo>
                  <a:lnTo>
                    <a:pt x="854" y="720"/>
                  </a:lnTo>
                  <a:lnTo>
                    <a:pt x="854" y="724"/>
                  </a:lnTo>
                  <a:lnTo>
                    <a:pt x="850" y="728"/>
                  </a:lnTo>
                  <a:lnTo>
                    <a:pt x="850" y="730"/>
                  </a:lnTo>
                  <a:lnTo>
                    <a:pt x="848" y="732"/>
                  </a:lnTo>
                  <a:lnTo>
                    <a:pt x="842" y="736"/>
                  </a:lnTo>
                  <a:lnTo>
                    <a:pt x="842" y="738"/>
                  </a:lnTo>
                  <a:lnTo>
                    <a:pt x="838" y="742"/>
                  </a:lnTo>
                  <a:lnTo>
                    <a:pt x="836" y="742"/>
                  </a:lnTo>
                  <a:lnTo>
                    <a:pt x="832" y="746"/>
                  </a:lnTo>
                  <a:lnTo>
                    <a:pt x="830" y="748"/>
                  </a:lnTo>
                  <a:lnTo>
                    <a:pt x="828" y="748"/>
                  </a:lnTo>
                  <a:lnTo>
                    <a:pt x="826" y="750"/>
                  </a:lnTo>
                  <a:lnTo>
                    <a:pt x="824" y="752"/>
                  </a:lnTo>
                  <a:lnTo>
                    <a:pt x="826" y="752"/>
                  </a:lnTo>
                  <a:lnTo>
                    <a:pt x="828" y="754"/>
                  </a:lnTo>
                  <a:lnTo>
                    <a:pt x="830" y="754"/>
                  </a:lnTo>
                  <a:lnTo>
                    <a:pt x="832" y="756"/>
                  </a:lnTo>
                  <a:lnTo>
                    <a:pt x="834" y="760"/>
                  </a:lnTo>
                  <a:lnTo>
                    <a:pt x="840" y="776"/>
                  </a:lnTo>
                  <a:lnTo>
                    <a:pt x="840" y="778"/>
                  </a:lnTo>
                  <a:lnTo>
                    <a:pt x="840" y="782"/>
                  </a:lnTo>
                  <a:lnTo>
                    <a:pt x="838" y="784"/>
                  </a:lnTo>
                  <a:lnTo>
                    <a:pt x="838" y="786"/>
                  </a:lnTo>
                  <a:lnTo>
                    <a:pt x="838" y="788"/>
                  </a:lnTo>
                  <a:lnTo>
                    <a:pt x="838" y="796"/>
                  </a:lnTo>
                  <a:lnTo>
                    <a:pt x="836" y="802"/>
                  </a:lnTo>
                  <a:lnTo>
                    <a:pt x="838" y="816"/>
                  </a:lnTo>
                  <a:lnTo>
                    <a:pt x="840" y="816"/>
                  </a:lnTo>
                  <a:lnTo>
                    <a:pt x="840" y="822"/>
                  </a:lnTo>
                  <a:lnTo>
                    <a:pt x="838" y="826"/>
                  </a:lnTo>
                  <a:lnTo>
                    <a:pt x="836" y="826"/>
                  </a:lnTo>
                  <a:lnTo>
                    <a:pt x="834" y="828"/>
                  </a:lnTo>
                  <a:lnTo>
                    <a:pt x="832" y="832"/>
                  </a:lnTo>
                  <a:lnTo>
                    <a:pt x="832" y="838"/>
                  </a:lnTo>
                  <a:lnTo>
                    <a:pt x="830" y="848"/>
                  </a:lnTo>
                  <a:lnTo>
                    <a:pt x="828" y="852"/>
                  </a:lnTo>
                  <a:lnTo>
                    <a:pt x="826" y="858"/>
                  </a:lnTo>
                  <a:lnTo>
                    <a:pt x="822" y="862"/>
                  </a:lnTo>
                  <a:lnTo>
                    <a:pt x="822" y="864"/>
                  </a:lnTo>
                  <a:lnTo>
                    <a:pt x="822" y="866"/>
                  </a:lnTo>
                  <a:lnTo>
                    <a:pt x="822" y="868"/>
                  </a:lnTo>
                  <a:lnTo>
                    <a:pt x="824" y="870"/>
                  </a:lnTo>
                  <a:lnTo>
                    <a:pt x="826" y="872"/>
                  </a:lnTo>
                  <a:lnTo>
                    <a:pt x="826" y="874"/>
                  </a:lnTo>
                  <a:lnTo>
                    <a:pt x="828" y="878"/>
                  </a:lnTo>
                  <a:lnTo>
                    <a:pt x="828" y="880"/>
                  </a:lnTo>
                  <a:lnTo>
                    <a:pt x="830" y="884"/>
                  </a:lnTo>
                  <a:lnTo>
                    <a:pt x="836" y="890"/>
                  </a:lnTo>
                  <a:lnTo>
                    <a:pt x="838" y="890"/>
                  </a:lnTo>
                  <a:lnTo>
                    <a:pt x="840" y="892"/>
                  </a:lnTo>
                  <a:lnTo>
                    <a:pt x="846" y="896"/>
                  </a:lnTo>
                  <a:lnTo>
                    <a:pt x="850" y="900"/>
                  </a:lnTo>
                  <a:lnTo>
                    <a:pt x="850" y="902"/>
                  </a:lnTo>
                  <a:lnTo>
                    <a:pt x="854" y="906"/>
                  </a:lnTo>
                  <a:lnTo>
                    <a:pt x="856" y="910"/>
                  </a:lnTo>
                  <a:lnTo>
                    <a:pt x="858" y="912"/>
                  </a:lnTo>
                  <a:lnTo>
                    <a:pt x="860" y="912"/>
                  </a:lnTo>
                  <a:lnTo>
                    <a:pt x="862" y="910"/>
                  </a:lnTo>
                  <a:lnTo>
                    <a:pt x="864" y="910"/>
                  </a:lnTo>
                  <a:lnTo>
                    <a:pt x="868" y="910"/>
                  </a:lnTo>
                  <a:lnTo>
                    <a:pt x="874" y="914"/>
                  </a:lnTo>
                  <a:lnTo>
                    <a:pt x="878" y="914"/>
                  </a:lnTo>
                  <a:lnTo>
                    <a:pt x="880" y="914"/>
                  </a:lnTo>
                  <a:lnTo>
                    <a:pt x="882" y="914"/>
                  </a:lnTo>
                  <a:lnTo>
                    <a:pt x="882" y="912"/>
                  </a:lnTo>
                  <a:lnTo>
                    <a:pt x="880" y="912"/>
                  </a:lnTo>
                  <a:lnTo>
                    <a:pt x="878" y="908"/>
                  </a:lnTo>
                  <a:lnTo>
                    <a:pt x="878" y="904"/>
                  </a:lnTo>
                  <a:lnTo>
                    <a:pt x="884" y="902"/>
                  </a:lnTo>
                  <a:lnTo>
                    <a:pt x="894" y="900"/>
                  </a:lnTo>
                  <a:lnTo>
                    <a:pt x="896" y="900"/>
                  </a:lnTo>
                  <a:lnTo>
                    <a:pt x="896" y="902"/>
                  </a:lnTo>
                  <a:lnTo>
                    <a:pt x="894" y="916"/>
                  </a:lnTo>
                  <a:lnTo>
                    <a:pt x="894" y="920"/>
                  </a:lnTo>
                  <a:lnTo>
                    <a:pt x="894" y="932"/>
                  </a:lnTo>
                  <a:lnTo>
                    <a:pt x="894" y="952"/>
                  </a:lnTo>
                  <a:lnTo>
                    <a:pt x="894" y="964"/>
                  </a:lnTo>
                  <a:lnTo>
                    <a:pt x="894" y="966"/>
                  </a:lnTo>
                  <a:lnTo>
                    <a:pt x="890" y="966"/>
                  </a:lnTo>
                  <a:lnTo>
                    <a:pt x="886" y="966"/>
                  </a:lnTo>
                  <a:lnTo>
                    <a:pt x="886" y="964"/>
                  </a:lnTo>
                  <a:lnTo>
                    <a:pt x="884" y="962"/>
                  </a:lnTo>
                  <a:lnTo>
                    <a:pt x="886" y="958"/>
                  </a:lnTo>
                  <a:lnTo>
                    <a:pt x="888" y="958"/>
                  </a:lnTo>
                  <a:lnTo>
                    <a:pt x="888" y="956"/>
                  </a:lnTo>
                  <a:lnTo>
                    <a:pt x="884" y="954"/>
                  </a:lnTo>
                  <a:lnTo>
                    <a:pt x="882" y="954"/>
                  </a:lnTo>
                  <a:lnTo>
                    <a:pt x="882" y="956"/>
                  </a:lnTo>
                  <a:lnTo>
                    <a:pt x="880" y="956"/>
                  </a:lnTo>
                  <a:lnTo>
                    <a:pt x="878" y="958"/>
                  </a:lnTo>
                  <a:lnTo>
                    <a:pt x="876" y="958"/>
                  </a:lnTo>
                  <a:lnTo>
                    <a:pt x="870" y="962"/>
                  </a:lnTo>
                  <a:lnTo>
                    <a:pt x="862" y="966"/>
                  </a:lnTo>
                  <a:lnTo>
                    <a:pt x="858" y="962"/>
                  </a:lnTo>
                  <a:lnTo>
                    <a:pt x="856" y="962"/>
                  </a:lnTo>
                  <a:lnTo>
                    <a:pt x="856" y="964"/>
                  </a:lnTo>
                  <a:lnTo>
                    <a:pt x="854" y="964"/>
                  </a:lnTo>
                  <a:lnTo>
                    <a:pt x="852" y="962"/>
                  </a:lnTo>
                  <a:lnTo>
                    <a:pt x="850" y="960"/>
                  </a:lnTo>
                  <a:lnTo>
                    <a:pt x="850" y="956"/>
                  </a:lnTo>
                  <a:lnTo>
                    <a:pt x="850" y="950"/>
                  </a:lnTo>
                  <a:lnTo>
                    <a:pt x="844" y="944"/>
                  </a:lnTo>
                  <a:lnTo>
                    <a:pt x="840" y="938"/>
                  </a:lnTo>
                  <a:lnTo>
                    <a:pt x="838" y="934"/>
                  </a:lnTo>
                  <a:lnTo>
                    <a:pt x="836" y="934"/>
                  </a:lnTo>
                  <a:lnTo>
                    <a:pt x="834" y="936"/>
                  </a:lnTo>
                  <a:lnTo>
                    <a:pt x="832" y="936"/>
                  </a:lnTo>
                  <a:lnTo>
                    <a:pt x="830" y="930"/>
                  </a:lnTo>
                  <a:lnTo>
                    <a:pt x="828" y="928"/>
                  </a:lnTo>
                  <a:lnTo>
                    <a:pt x="830" y="928"/>
                  </a:lnTo>
                  <a:lnTo>
                    <a:pt x="830" y="926"/>
                  </a:lnTo>
                  <a:lnTo>
                    <a:pt x="830" y="924"/>
                  </a:lnTo>
                  <a:lnTo>
                    <a:pt x="826" y="918"/>
                  </a:lnTo>
                  <a:lnTo>
                    <a:pt x="820" y="914"/>
                  </a:lnTo>
                  <a:lnTo>
                    <a:pt x="816" y="914"/>
                  </a:lnTo>
                  <a:lnTo>
                    <a:pt x="812" y="914"/>
                  </a:lnTo>
                  <a:lnTo>
                    <a:pt x="806" y="910"/>
                  </a:lnTo>
                  <a:lnTo>
                    <a:pt x="802" y="908"/>
                  </a:lnTo>
                  <a:lnTo>
                    <a:pt x="800" y="906"/>
                  </a:lnTo>
                  <a:lnTo>
                    <a:pt x="798" y="904"/>
                  </a:lnTo>
                  <a:lnTo>
                    <a:pt x="796" y="904"/>
                  </a:lnTo>
                  <a:lnTo>
                    <a:pt x="796" y="906"/>
                  </a:lnTo>
                  <a:lnTo>
                    <a:pt x="794" y="906"/>
                  </a:lnTo>
                  <a:lnTo>
                    <a:pt x="786" y="906"/>
                  </a:lnTo>
                  <a:lnTo>
                    <a:pt x="786" y="904"/>
                  </a:lnTo>
                  <a:lnTo>
                    <a:pt x="784" y="902"/>
                  </a:lnTo>
                  <a:lnTo>
                    <a:pt x="782" y="902"/>
                  </a:lnTo>
                  <a:lnTo>
                    <a:pt x="780" y="900"/>
                  </a:lnTo>
                  <a:lnTo>
                    <a:pt x="778" y="894"/>
                  </a:lnTo>
                  <a:lnTo>
                    <a:pt x="778" y="892"/>
                  </a:lnTo>
                  <a:lnTo>
                    <a:pt x="778" y="890"/>
                  </a:lnTo>
                  <a:lnTo>
                    <a:pt x="776" y="888"/>
                  </a:lnTo>
                  <a:lnTo>
                    <a:pt x="774" y="886"/>
                  </a:lnTo>
                  <a:lnTo>
                    <a:pt x="772" y="886"/>
                  </a:lnTo>
                  <a:lnTo>
                    <a:pt x="772" y="884"/>
                  </a:lnTo>
                  <a:lnTo>
                    <a:pt x="766" y="882"/>
                  </a:lnTo>
                  <a:lnTo>
                    <a:pt x="766" y="880"/>
                  </a:lnTo>
                  <a:lnTo>
                    <a:pt x="764" y="880"/>
                  </a:lnTo>
                  <a:lnTo>
                    <a:pt x="764" y="878"/>
                  </a:lnTo>
                  <a:lnTo>
                    <a:pt x="764" y="876"/>
                  </a:lnTo>
                  <a:lnTo>
                    <a:pt x="764" y="874"/>
                  </a:lnTo>
                  <a:lnTo>
                    <a:pt x="764" y="870"/>
                  </a:lnTo>
                  <a:lnTo>
                    <a:pt x="754" y="870"/>
                  </a:lnTo>
                  <a:lnTo>
                    <a:pt x="752" y="880"/>
                  </a:lnTo>
                  <a:lnTo>
                    <a:pt x="752" y="882"/>
                  </a:lnTo>
                  <a:lnTo>
                    <a:pt x="752" y="884"/>
                  </a:lnTo>
                  <a:lnTo>
                    <a:pt x="752" y="886"/>
                  </a:lnTo>
                  <a:lnTo>
                    <a:pt x="748" y="890"/>
                  </a:lnTo>
                  <a:lnTo>
                    <a:pt x="746" y="890"/>
                  </a:lnTo>
                  <a:lnTo>
                    <a:pt x="740" y="890"/>
                  </a:lnTo>
                  <a:lnTo>
                    <a:pt x="736" y="890"/>
                  </a:lnTo>
                  <a:lnTo>
                    <a:pt x="732" y="890"/>
                  </a:lnTo>
                  <a:lnTo>
                    <a:pt x="726" y="888"/>
                  </a:lnTo>
                  <a:lnTo>
                    <a:pt x="726" y="886"/>
                  </a:lnTo>
                  <a:lnTo>
                    <a:pt x="724" y="886"/>
                  </a:lnTo>
                  <a:lnTo>
                    <a:pt x="712" y="886"/>
                  </a:lnTo>
                  <a:lnTo>
                    <a:pt x="706" y="886"/>
                  </a:lnTo>
                  <a:lnTo>
                    <a:pt x="704" y="886"/>
                  </a:lnTo>
                  <a:lnTo>
                    <a:pt x="702" y="886"/>
                  </a:lnTo>
                  <a:lnTo>
                    <a:pt x="694" y="880"/>
                  </a:lnTo>
                  <a:lnTo>
                    <a:pt x="688" y="880"/>
                  </a:lnTo>
                  <a:lnTo>
                    <a:pt x="676" y="876"/>
                  </a:lnTo>
                  <a:lnTo>
                    <a:pt x="670" y="872"/>
                  </a:lnTo>
                  <a:lnTo>
                    <a:pt x="668" y="868"/>
                  </a:lnTo>
                  <a:lnTo>
                    <a:pt x="668" y="866"/>
                  </a:lnTo>
                  <a:lnTo>
                    <a:pt x="666" y="858"/>
                  </a:lnTo>
                  <a:lnTo>
                    <a:pt x="668" y="856"/>
                  </a:lnTo>
                  <a:lnTo>
                    <a:pt x="670" y="854"/>
                  </a:lnTo>
                  <a:lnTo>
                    <a:pt x="670" y="850"/>
                  </a:lnTo>
                  <a:lnTo>
                    <a:pt x="668" y="850"/>
                  </a:lnTo>
                  <a:lnTo>
                    <a:pt x="666" y="850"/>
                  </a:lnTo>
                  <a:lnTo>
                    <a:pt x="666" y="852"/>
                  </a:lnTo>
                  <a:lnTo>
                    <a:pt x="662" y="852"/>
                  </a:lnTo>
                  <a:lnTo>
                    <a:pt x="658" y="854"/>
                  </a:lnTo>
                  <a:lnTo>
                    <a:pt x="654" y="854"/>
                  </a:lnTo>
                  <a:lnTo>
                    <a:pt x="652" y="854"/>
                  </a:lnTo>
                  <a:lnTo>
                    <a:pt x="638" y="856"/>
                  </a:lnTo>
                  <a:lnTo>
                    <a:pt x="636" y="858"/>
                  </a:lnTo>
                  <a:lnTo>
                    <a:pt x="632" y="860"/>
                  </a:lnTo>
                  <a:lnTo>
                    <a:pt x="630" y="862"/>
                  </a:lnTo>
                  <a:lnTo>
                    <a:pt x="628" y="864"/>
                  </a:lnTo>
                  <a:lnTo>
                    <a:pt x="624" y="864"/>
                  </a:lnTo>
                  <a:lnTo>
                    <a:pt x="620" y="860"/>
                  </a:lnTo>
                  <a:lnTo>
                    <a:pt x="620" y="858"/>
                  </a:lnTo>
                  <a:lnTo>
                    <a:pt x="622" y="854"/>
                  </a:lnTo>
                  <a:lnTo>
                    <a:pt x="622" y="850"/>
                  </a:lnTo>
                  <a:lnTo>
                    <a:pt x="622" y="846"/>
                  </a:lnTo>
                  <a:lnTo>
                    <a:pt x="620" y="844"/>
                  </a:lnTo>
                  <a:lnTo>
                    <a:pt x="618" y="842"/>
                  </a:lnTo>
                  <a:lnTo>
                    <a:pt x="612" y="842"/>
                  </a:lnTo>
                  <a:lnTo>
                    <a:pt x="608" y="838"/>
                  </a:lnTo>
                  <a:lnTo>
                    <a:pt x="608" y="836"/>
                  </a:lnTo>
                  <a:lnTo>
                    <a:pt x="606" y="834"/>
                  </a:lnTo>
                  <a:lnTo>
                    <a:pt x="604" y="834"/>
                  </a:lnTo>
                  <a:lnTo>
                    <a:pt x="600" y="834"/>
                  </a:lnTo>
                  <a:lnTo>
                    <a:pt x="600" y="836"/>
                  </a:lnTo>
                  <a:lnTo>
                    <a:pt x="596" y="840"/>
                  </a:lnTo>
                  <a:lnTo>
                    <a:pt x="594" y="840"/>
                  </a:lnTo>
                  <a:lnTo>
                    <a:pt x="584" y="840"/>
                  </a:lnTo>
                  <a:lnTo>
                    <a:pt x="582" y="838"/>
                  </a:lnTo>
                  <a:lnTo>
                    <a:pt x="580" y="838"/>
                  </a:lnTo>
                  <a:lnTo>
                    <a:pt x="578" y="838"/>
                  </a:lnTo>
                  <a:lnTo>
                    <a:pt x="576" y="838"/>
                  </a:lnTo>
                  <a:lnTo>
                    <a:pt x="574" y="838"/>
                  </a:lnTo>
                  <a:lnTo>
                    <a:pt x="572" y="838"/>
                  </a:lnTo>
                  <a:lnTo>
                    <a:pt x="570" y="838"/>
                  </a:lnTo>
                  <a:lnTo>
                    <a:pt x="568" y="838"/>
                  </a:lnTo>
                  <a:lnTo>
                    <a:pt x="566" y="840"/>
                  </a:lnTo>
                  <a:lnTo>
                    <a:pt x="562" y="842"/>
                  </a:lnTo>
                  <a:lnTo>
                    <a:pt x="562" y="844"/>
                  </a:lnTo>
                  <a:lnTo>
                    <a:pt x="556" y="844"/>
                  </a:lnTo>
                  <a:lnTo>
                    <a:pt x="552" y="844"/>
                  </a:lnTo>
                  <a:lnTo>
                    <a:pt x="546" y="844"/>
                  </a:lnTo>
                  <a:lnTo>
                    <a:pt x="544" y="842"/>
                  </a:lnTo>
                  <a:lnTo>
                    <a:pt x="542" y="842"/>
                  </a:lnTo>
                  <a:lnTo>
                    <a:pt x="540" y="844"/>
                  </a:lnTo>
                  <a:lnTo>
                    <a:pt x="538" y="844"/>
                  </a:lnTo>
                  <a:lnTo>
                    <a:pt x="536" y="844"/>
                  </a:lnTo>
                  <a:lnTo>
                    <a:pt x="534" y="844"/>
                  </a:lnTo>
                  <a:lnTo>
                    <a:pt x="532" y="844"/>
                  </a:lnTo>
                  <a:lnTo>
                    <a:pt x="532" y="842"/>
                  </a:lnTo>
                  <a:lnTo>
                    <a:pt x="530" y="842"/>
                  </a:lnTo>
                  <a:lnTo>
                    <a:pt x="528" y="842"/>
                  </a:lnTo>
                  <a:lnTo>
                    <a:pt x="526" y="842"/>
                  </a:lnTo>
                  <a:lnTo>
                    <a:pt x="524" y="844"/>
                  </a:lnTo>
                  <a:lnTo>
                    <a:pt x="524" y="846"/>
                  </a:lnTo>
                  <a:lnTo>
                    <a:pt x="514" y="852"/>
                  </a:lnTo>
                  <a:lnTo>
                    <a:pt x="512" y="850"/>
                  </a:lnTo>
                  <a:lnTo>
                    <a:pt x="512" y="848"/>
                  </a:lnTo>
                  <a:lnTo>
                    <a:pt x="512" y="844"/>
                  </a:lnTo>
                  <a:lnTo>
                    <a:pt x="510" y="840"/>
                  </a:lnTo>
                  <a:lnTo>
                    <a:pt x="510" y="838"/>
                  </a:lnTo>
                  <a:lnTo>
                    <a:pt x="508" y="832"/>
                  </a:lnTo>
                  <a:lnTo>
                    <a:pt x="510" y="830"/>
                  </a:lnTo>
                  <a:lnTo>
                    <a:pt x="512" y="828"/>
                  </a:lnTo>
                  <a:lnTo>
                    <a:pt x="516" y="826"/>
                  </a:lnTo>
                  <a:lnTo>
                    <a:pt x="514" y="824"/>
                  </a:lnTo>
                  <a:lnTo>
                    <a:pt x="514" y="820"/>
                  </a:lnTo>
                  <a:lnTo>
                    <a:pt x="514" y="818"/>
                  </a:lnTo>
                  <a:lnTo>
                    <a:pt x="514" y="816"/>
                  </a:lnTo>
                  <a:lnTo>
                    <a:pt x="514" y="810"/>
                  </a:lnTo>
                  <a:lnTo>
                    <a:pt x="516" y="808"/>
                  </a:lnTo>
                  <a:lnTo>
                    <a:pt x="514" y="804"/>
                  </a:lnTo>
                  <a:lnTo>
                    <a:pt x="512" y="798"/>
                  </a:lnTo>
                  <a:lnTo>
                    <a:pt x="510" y="796"/>
                  </a:lnTo>
                  <a:lnTo>
                    <a:pt x="510" y="794"/>
                  </a:lnTo>
                  <a:lnTo>
                    <a:pt x="508" y="786"/>
                  </a:lnTo>
                  <a:lnTo>
                    <a:pt x="508" y="784"/>
                  </a:lnTo>
                  <a:lnTo>
                    <a:pt x="506" y="784"/>
                  </a:lnTo>
                  <a:lnTo>
                    <a:pt x="502" y="782"/>
                  </a:lnTo>
                  <a:lnTo>
                    <a:pt x="492" y="772"/>
                  </a:lnTo>
                  <a:lnTo>
                    <a:pt x="492" y="770"/>
                  </a:lnTo>
                  <a:lnTo>
                    <a:pt x="490" y="758"/>
                  </a:lnTo>
                  <a:lnTo>
                    <a:pt x="490" y="754"/>
                  </a:lnTo>
                  <a:lnTo>
                    <a:pt x="492" y="752"/>
                  </a:lnTo>
                  <a:lnTo>
                    <a:pt x="492" y="746"/>
                  </a:lnTo>
                  <a:lnTo>
                    <a:pt x="492" y="740"/>
                  </a:lnTo>
                  <a:lnTo>
                    <a:pt x="492" y="734"/>
                  </a:lnTo>
                  <a:lnTo>
                    <a:pt x="494" y="728"/>
                  </a:lnTo>
                  <a:lnTo>
                    <a:pt x="494" y="724"/>
                  </a:lnTo>
                  <a:lnTo>
                    <a:pt x="496" y="716"/>
                  </a:lnTo>
                  <a:lnTo>
                    <a:pt x="496" y="714"/>
                  </a:lnTo>
                  <a:lnTo>
                    <a:pt x="496" y="712"/>
                  </a:lnTo>
                  <a:lnTo>
                    <a:pt x="496" y="708"/>
                  </a:lnTo>
                  <a:lnTo>
                    <a:pt x="496" y="706"/>
                  </a:lnTo>
                  <a:lnTo>
                    <a:pt x="494" y="704"/>
                  </a:lnTo>
                  <a:lnTo>
                    <a:pt x="494" y="700"/>
                  </a:lnTo>
                  <a:lnTo>
                    <a:pt x="492" y="696"/>
                  </a:lnTo>
                  <a:lnTo>
                    <a:pt x="492" y="694"/>
                  </a:lnTo>
                  <a:lnTo>
                    <a:pt x="490" y="688"/>
                  </a:lnTo>
                  <a:lnTo>
                    <a:pt x="488" y="688"/>
                  </a:lnTo>
                  <a:lnTo>
                    <a:pt x="488" y="686"/>
                  </a:lnTo>
                  <a:lnTo>
                    <a:pt x="488" y="684"/>
                  </a:lnTo>
                  <a:lnTo>
                    <a:pt x="488" y="678"/>
                  </a:lnTo>
                  <a:lnTo>
                    <a:pt x="488" y="674"/>
                  </a:lnTo>
                  <a:lnTo>
                    <a:pt x="490" y="668"/>
                  </a:lnTo>
                  <a:lnTo>
                    <a:pt x="492" y="668"/>
                  </a:lnTo>
                  <a:lnTo>
                    <a:pt x="492" y="664"/>
                  </a:lnTo>
                  <a:lnTo>
                    <a:pt x="492" y="660"/>
                  </a:lnTo>
                  <a:lnTo>
                    <a:pt x="492" y="654"/>
                  </a:lnTo>
                  <a:lnTo>
                    <a:pt x="490" y="652"/>
                  </a:lnTo>
                  <a:lnTo>
                    <a:pt x="488" y="650"/>
                  </a:lnTo>
                  <a:lnTo>
                    <a:pt x="480" y="650"/>
                  </a:lnTo>
                  <a:lnTo>
                    <a:pt x="460" y="650"/>
                  </a:lnTo>
                  <a:lnTo>
                    <a:pt x="426" y="650"/>
                  </a:lnTo>
                  <a:lnTo>
                    <a:pt x="426" y="648"/>
                  </a:lnTo>
                  <a:lnTo>
                    <a:pt x="426" y="644"/>
                  </a:lnTo>
                  <a:lnTo>
                    <a:pt x="426" y="642"/>
                  </a:lnTo>
                  <a:lnTo>
                    <a:pt x="428" y="636"/>
                  </a:lnTo>
                  <a:lnTo>
                    <a:pt x="428" y="634"/>
                  </a:lnTo>
                  <a:lnTo>
                    <a:pt x="430" y="630"/>
                  </a:lnTo>
                  <a:lnTo>
                    <a:pt x="416" y="630"/>
                  </a:lnTo>
                  <a:lnTo>
                    <a:pt x="414" y="632"/>
                  </a:lnTo>
                  <a:lnTo>
                    <a:pt x="414" y="634"/>
                  </a:lnTo>
                  <a:lnTo>
                    <a:pt x="396" y="634"/>
                  </a:lnTo>
                  <a:lnTo>
                    <a:pt x="374" y="634"/>
                  </a:lnTo>
                  <a:lnTo>
                    <a:pt x="372" y="642"/>
                  </a:lnTo>
                  <a:lnTo>
                    <a:pt x="372" y="644"/>
                  </a:lnTo>
                  <a:lnTo>
                    <a:pt x="372" y="650"/>
                  </a:lnTo>
                  <a:lnTo>
                    <a:pt x="372" y="652"/>
                  </a:lnTo>
                  <a:lnTo>
                    <a:pt x="372" y="654"/>
                  </a:lnTo>
                  <a:lnTo>
                    <a:pt x="374" y="658"/>
                  </a:lnTo>
                  <a:lnTo>
                    <a:pt x="374" y="660"/>
                  </a:lnTo>
                  <a:lnTo>
                    <a:pt x="370" y="664"/>
                  </a:lnTo>
                  <a:lnTo>
                    <a:pt x="366" y="664"/>
                  </a:lnTo>
                  <a:lnTo>
                    <a:pt x="366" y="666"/>
                  </a:lnTo>
                  <a:lnTo>
                    <a:pt x="368" y="670"/>
                  </a:lnTo>
                  <a:lnTo>
                    <a:pt x="366" y="674"/>
                  </a:lnTo>
                  <a:lnTo>
                    <a:pt x="366" y="676"/>
                  </a:lnTo>
                  <a:lnTo>
                    <a:pt x="364" y="676"/>
                  </a:lnTo>
                  <a:lnTo>
                    <a:pt x="364" y="680"/>
                  </a:lnTo>
                  <a:lnTo>
                    <a:pt x="364" y="682"/>
                  </a:lnTo>
                  <a:lnTo>
                    <a:pt x="364" y="684"/>
                  </a:lnTo>
                  <a:lnTo>
                    <a:pt x="366" y="686"/>
                  </a:lnTo>
                  <a:lnTo>
                    <a:pt x="346" y="686"/>
                  </a:lnTo>
                  <a:lnTo>
                    <a:pt x="336" y="686"/>
                  </a:lnTo>
                  <a:lnTo>
                    <a:pt x="336" y="684"/>
                  </a:lnTo>
                  <a:lnTo>
                    <a:pt x="334" y="684"/>
                  </a:lnTo>
                  <a:lnTo>
                    <a:pt x="322" y="684"/>
                  </a:lnTo>
                  <a:lnTo>
                    <a:pt x="322" y="686"/>
                  </a:lnTo>
                  <a:lnTo>
                    <a:pt x="316" y="686"/>
                  </a:lnTo>
                  <a:lnTo>
                    <a:pt x="312" y="686"/>
                  </a:lnTo>
                  <a:lnTo>
                    <a:pt x="306" y="686"/>
                  </a:lnTo>
                  <a:lnTo>
                    <a:pt x="302" y="688"/>
                  </a:lnTo>
                  <a:lnTo>
                    <a:pt x="302" y="690"/>
                  </a:lnTo>
                  <a:lnTo>
                    <a:pt x="302" y="692"/>
                  </a:lnTo>
                  <a:lnTo>
                    <a:pt x="298" y="692"/>
                  </a:lnTo>
                  <a:lnTo>
                    <a:pt x="296" y="692"/>
                  </a:lnTo>
                  <a:lnTo>
                    <a:pt x="294" y="690"/>
                  </a:lnTo>
                  <a:lnTo>
                    <a:pt x="292" y="688"/>
                  </a:lnTo>
                  <a:lnTo>
                    <a:pt x="290" y="688"/>
                  </a:lnTo>
                  <a:lnTo>
                    <a:pt x="284" y="690"/>
                  </a:lnTo>
                  <a:lnTo>
                    <a:pt x="278" y="690"/>
                  </a:lnTo>
                  <a:lnTo>
                    <a:pt x="276" y="692"/>
                  </a:lnTo>
                  <a:lnTo>
                    <a:pt x="274" y="690"/>
                  </a:lnTo>
                  <a:lnTo>
                    <a:pt x="272" y="690"/>
                  </a:lnTo>
                  <a:lnTo>
                    <a:pt x="272" y="688"/>
                  </a:lnTo>
                  <a:lnTo>
                    <a:pt x="270" y="686"/>
                  </a:lnTo>
                  <a:lnTo>
                    <a:pt x="266" y="680"/>
                  </a:lnTo>
                  <a:lnTo>
                    <a:pt x="266" y="678"/>
                  </a:lnTo>
                  <a:lnTo>
                    <a:pt x="264" y="678"/>
                  </a:lnTo>
                  <a:lnTo>
                    <a:pt x="260" y="674"/>
                  </a:lnTo>
                  <a:lnTo>
                    <a:pt x="258" y="670"/>
                  </a:lnTo>
                  <a:lnTo>
                    <a:pt x="254" y="662"/>
                  </a:lnTo>
                  <a:lnTo>
                    <a:pt x="252" y="658"/>
                  </a:lnTo>
                  <a:lnTo>
                    <a:pt x="250" y="656"/>
                  </a:lnTo>
                  <a:lnTo>
                    <a:pt x="250" y="654"/>
                  </a:lnTo>
                  <a:lnTo>
                    <a:pt x="248" y="652"/>
                  </a:lnTo>
                  <a:lnTo>
                    <a:pt x="244" y="650"/>
                  </a:lnTo>
                  <a:lnTo>
                    <a:pt x="242" y="644"/>
                  </a:lnTo>
                  <a:lnTo>
                    <a:pt x="242" y="642"/>
                  </a:lnTo>
                  <a:lnTo>
                    <a:pt x="242" y="638"/>
                  </a:lnTo>
                  <a:lnTo>
                    <a:pt x="242" y="636"/>
                  </a:lnTo>
                  <a:lnTo>
                    <a:pt x="242" y="630"/>
                  </a:lnTo>
                  <a:lnTo>
                    <a:pt x="240" y="628"/>
                  </a:lnTo>
                  <a:lnTo>
                    <a:pt x="238" y="628"/>
                  </a:lnTo>
                  <a:lnTo>
                    <a:pt x="236" y="624"/>
                  </a:lnTo>
                  <a:lnTo>
                    <a:pt x="232" y="620"/>
                  </a:lnTo>
                  <a:lnTo>
                    <a:pt x="230" y="608"/>
                  </a:lnTo>
                  <a:lnTo>
                    <a:pt x="228" y="604"/>
                  </a:lnTo>
                  <a:lnTo>
                    <a:pt x="228" y="602"/>
                  </a:lnTo>
                  <a:lnTo>
                    <a:pt x="230" y="594"/>
                  </a:lnTo>
                  <a:lnTo>
                    <a:pt x="230" y="592"/>
                  </a:lnTo>
                  <a:lnTo>
                    <a:pt x="228" y="590"/>
                  </a:lnTo>
                  <a:lnTo>
                    <a:pt x="224" y="586"/>
                  </a:lnTo>
                  <a:lnTo>
                    <a:pt x="224" y="582"/>
                  </a:lnTo>
                  <a:lnTo>
                    <a:pt x="224" y="580"/>
                  </a:lnTo>
                  <a:lnTo>
                    <a:pt x="222" y="578"/>
                  </a:lnTo>
                  <a:lnTo>
                    <a:pt x="220" y="576"/>
                  </a:lnTo>
                  <a:lnTo>
                    <a:pt x="212" y="576"/>
                  </a:lnTo>
                  <a:lnTo>
                    <a:pt x="208" y="576"/>
                  </a:lnTo>
                  <a:lnTo>
                    <a:pt x="204" y="576"/>
                  </a:lnTo>
                  <a:lnTo>
                    <a:pt x="198" y="57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99" name="Group 1549"/>
            <p:cNvGrpSpPr>
              <a:grpSpLocks/>
            </p:cNvGrpSpPr>
            <p:nvPr/>
          </p:nvGrpSpPr>
          <p:grpSpPr bwMode="auto">
            <a:xfrm>
              <a:off x="3448632" y="3079516"/>
              <a:ext cx="192669" cy="120105"/>
              <a:chOff x="1331" y="1613"/>
              <a:chExt cx="154" cy="96"/>
            </a:xfrm>
            <a:solidFill>
              <a:srgbClr val="B9B9B9"/>
            </a:solidFill>
          </p:grpSpPr>
          <p:sp>
            <p:nvSpPr>
              <p:cNvPr id="351" name="Freeform 1453"/>
              <p:cNvSpPr>
                <a:spLocks/>
              </p:cNvSpPr>
              <p:nvPr/>
            </p:nvSpPr>
            <p:spPr bwMode="auto">
              <a:xfrm>
                <a:off x="1331" y="1613"/>
                <a:ext cx="154" cy="96"/>
              </a:xfrm>
              <a:custGeom>
                <a:avLst/>
                <a:gdLst/>
                <a:ahLst/>
                <a:cxnLst>
                  <a:cxn ang="0">
                    <a:pos x="82" y="40"/>
                  </a:cxn>
                  <a:cxn ang="0">
                    <a:pos x="76" y="42"/>
                  </a:cxn>
                  <a:cxn ang="0">
                    <a:pos x="66" y="38"/>
                  </a:cxn>
                  <a:cxn ang="0">
                    <a:pos x="56" y="42"/>
                  </a:cxn>
                  <a:cxn ang="0">
                    <a:pos x="40" y="46"/>
                  </a:cxn>
                  <a:cxn ang="0">
                    <a:pos x="40" y="36"/>
                  </a:cxn>
                  <a:cxn ang="0">
                    <a:pos x="48" y="36"/>
                  </a:cxn>
                  <a:cxn ang="0">
                    <a:pos x="42" y="34"/>
                  </a:cxn>
                  <a:cxn ang="0">
                    <a:pos x="28" y="40"/>
                  </a:cxn>
                  <a:cxn ang="0">
                    <a:pos x="18" y="32"/>
                  </a:cxn>
                  <a:cxn ang="0">
                    <a:pos x="22" y="20"/>
                  </a:cxn>
                  <a:cxn ang="0">
                    <a:pos x="30" y="16"/>
                  </a:cxn>
                  <a:cxn ang="0">
                    <a:pos x="12" y="22"/>
                  </a:cxn>
                  <a:cxn ang="0">
                    <a:pos x="8" y="16"/>
                  </a:cxn>
                  <a:cxn ang="0">
                    <a:pos x="4" y="10"/>
                  </a:cxn>
                  <a:cxn ang="0">
                    <a:pos x="26" y="8"/>
                  </a:cxn>
                  <a:cxn ang="0">
                    <a:pos x="38" y="10"/>
                  </a:cxn>
                  <a:cxn ang="0">
                    <a:pos x="56" y="10"/>
                  </a:cxn>
                  <a:cxn ang="0">
                    <a:pos x="92" y="2"/>
                  </a:cxn>
                  <a:cxn ang="0">
                    <a:pos x="118" y="4"/>
                  </a:cxn>
                  <a:cxn ang="0">
                    <a:pos x="146" y="6"/>
                  </a:cxn>
                  <a:cxn ang="0">
                    <a:pos x="152" y="12"/>
                  </a:cxn>
                  <a:cxn ang="0">
                    <a:pos x="154" y="20"/>
                  </a:cxn>
                  <a:cxn ang="0">
                    <a:pos x="146" y="30"/>
                  </a:cxn>
                  <a:cxn ang="0">
                    <a:pos x="136" y="34"/>
                  </a:cxn>
                  <a:cxn ang="0">
                    <a:pos x="148" y="42"/>
                  </a:cxn>
                  <a:cxn ang="0">
                    <a:pos x="132" y="62"/>
                  </a:cxn>
                  <a:cxn ang="0">
                    <a:pos x="118" y="58"/>
                  </a:cxn>
                  <a:cxn ang="0">
                    <a:pos x="106" y="66"/>
                  </a:cxn>
                  <a:cxn ang="0">
                    <a:pos x="98" y="66"/>
                  </a:cxn>
                  <a:cxn ang="0">
                    <a:pos x="90" y="76"/>
                  </a:cxn>
                  <a:cxn ang="0">
                    <a:pos x="82" y="88"/>
                  </a:cxn>
                  <a:cxn ang="0">
                    <a:pos x="74" y="96"/>
                  </a:cxn>
                  <a:cxn ang="0">
                    <a:pos x="78" y="84"/>
                  </a:cxn>
                  <a:cxn ang="0">
                    <a:pos x="70" y="88"/>
                  </a:cxn>
                  <a:cxn ang="0">
                    <a:pos x="68" y="86"/>
                  </a:cxn>
                  <a:cxn ang="0">
                    <a:pos x="68" y="82"/>
                  </a:cxn>
                  <a:cxn ang="0">
                    <a:pos x="62" y="84"/>
                  </a:cxn>
                  <a:cxn ang="0">
                    <a:pos x="62" y="70"/>
                  </a:cxn>
                  <a:cxn ang="0">
                    <a:pos x="68" y="68"/>
                  </a:cxn>
                  <a:cxn ang="0">
                    <a:pos x="60" y="70"/>
                  </a:cxn>
                  <a:cxn ang="0">
                    <a:pos x="66" y="60"/>
                  </a:cxn>
                  <a:cxn ang="0">
                    <a:pos x="78" y="60"/>
                  </a:cxn>
                  <a:cxn ang="0">
                    <a:pos x="74" y="56"/>
                  </a:cxn>
                  <a:cxn ang="0">
                    <a:pos x="62" y="56"/>
                  </a:cxn>
                  <a:cxn ang="0">
                    <a:pos x="60" y="58"/>
                  </a:cxn>
                  <a:cxn ang="0">
                    <a:pos x="56" y="52"/>
                  </a:cxn>
                  <a:cxn ang="0">
                    <a:pos x="62" y="42"/>
                  </a:cxn>
                  <a:cxn ang="0">
                    <a:pos x="70" y="44"/>
                  </a:cxn>
                  <a:cxn ang="0">
                    <a:pos x="80" y="46"/>
                  </a:cxn>
                </a:cxnLst>
                <a:rect l="0" t="0" r="r" b="b"/>
                <a:pathLst>
                  <a:path w="154" h="96">
                    <a:moveTo>
                      <a:pt x="86" y="52"/>
                    </a:moveTo>
                    <a:lnTo>
                      <a:pt x="80" y="48"/>
                    </a:lnTo>
                    <a:lnTo>
                      <a:pt x="80" y="46"/>
                    </a:lnTo>
                    <a:lnTo>
                      <a:pt x="82" y="40"/>
                    </a:lnTo>
                    <a:lnTo>
                      <a:pt x="84" y="40"/>
                    </a:lnTo>
                    <a:lnTo>
                      <a:pt x="80" y="38"/>
                    </a:lnTo>
                    <a:lnTo>
                      <a:pt x="76" y="40"/>
                    </a:lnTo>
                    <a:lnTo>
                      <a:pt x="76" y="42"/>
                    </a:lnTo>
                    <a:lnTo>
                      <a:pt x="74" y="42"/>
                    </a:lnTo>
                    <a:lnTo>
                      <a:pt x="72" y="42"/>
                    </a:lnTo>
                    <a:lnTo>
                      <a:pt x="68" y="40"/>
                    </a:lnTo>
                    <a:lnTo>
                      <a:pt x="66" y="38"/>
                    </a:lnTo>
                    <a:lnTo>
                      <a:pt x="64" y="38"/>
                    </a:lnTo>
                    <a:lnTo>
                      <a:pt x="62" y="38"/>
                    </a:lnTo>
                    <a:lnTo>
                      <a:pt x="60" y="40"/>
                    </a:lnTo>
                    <a:lnTo>
                      <a:pt x="56" y="42"/>
                    </a:lnTo>
                    <a:lnTo>
                      <a:pt x="54" y="44"/>
                    </a:lnTo>
                    <a:lnTo>
                      <a:pt x="50" y="46"/>
                    </a:lnTo>
                    <a:lnTo>
                      <a:pt x="46" y="46"/>
                    </a:lnTo>
                    <a:lnTo>
                      <a:pt x="40" y="46"/>
                    </a:lnTo>
                    <a:lnTo>
                      <a:pt x="34" y="48"/>
                    </a:lnTo>
                    <a:lnTo>
                      <a:pt x="34" y="46"/>
                    </a:lnTo>
                    <a:lnTo>
                      <a:pt x="38" y="42"/>
                    </a:lnTo>
                    <a:lnTo>
                      <a:pt x="40" y="36"/>
                    </a:lnTo>
                    <a:lnTo>
                      <a:pt x="42" y="36"/>
                    </a:lnTo>
                    <a:lnTo>
                      <a:pt x="44" y="34"/>
                    </a:lnTo>
                    <a:lnTo>
                      <a:pt x="46" y="36"/>
                    </a:lnTo>
                    <a:lnTo>
                      <a:pt x="48" y="36"/>
                    </a:lnTo>
                    <a:lnTo>
                      <a:pt x="50" y="34"/>
                    </a:lnTo>
                    <a:lnTo>
                      <a:pt x="48" y="36"/>
                    </a:lnTo>
                    <a:lnTo>
                      <a:pt x="46" y="34"/>
                    </a:lnTo>
                    <a:lnTo>
                      <a:pt x="42" y="34"/>
                    </a:lnTo>
                    <a:lnTo>
                      <a:pt x="38" y="34"/>
                    </a:lnTo>
                    <a:lnTo>
                      <a:pt x="38" y="36"/>
                    </a:lnTo>
                    <a:lnTo>
                      <a:pt x="36" y="38"/>
                    </a:lnTo>
                    <a:lnTo>
                      <a:pt x="28" y="40"/>
                    </a:lnTo>
                    <a:lnTo>
                      <a:pt x="24" y="38"/>
                    </a:lnTo>
                    <a:lnTo>
                      <a:pt x="22" y="36"/>
                    </a:lnTo>
                    <a:lnTo>
                      <a:pt x="20" y="32"/>
                    </a:lnTo>
                    <a:lnTo>
                      <a:pt x="18" y="32"/>
                    </a:lnTo>
                    <a:lnTo>
                      <a:pt x="16" y="30"/>
                    </a:lnTo>
                    <a:lnTo>
                      <a:pt x="18" y="26"/>
                    </a:lnTo>
                    <a:lnTo>
                      <a:pt x="18" y="24"/>
                    </a:lnTo>
                    <a:lnTo>
                      <a:pt x="22" y="20"/>
                    </a:lnTo>
                    <a:lnTo>
                      <a:pt x="24" y="20"/>
                    </a:lnTo>
                    <a:lnTo>
                      <a:pt x="26" y="20"/>
                    </a:lnTo>
                    <a:lnTo>
                      <a:pt x="28" y="18"/>
                    </a:lnTo>
                    <a:lnTo>
                      <a:pt x="30" y="16"/>
                    </a:lnTo>
                    <a:lnTo>
                      <a:pt x="26" y="18"/>
                    </a:lnTo>
                    <a:lnTo>
                      <a:pt x="22" y="20"/>
                    </a:lnTo>
                    <a:lnTo>
                      <a:pt x="18" y="22"/>
                    </a:lnTo>
                    <a:lnTo>
                      <a:pt x="12" y="22"/>
                    </a:lnTo>
                    <a:lnTo>
                      <a:pt x="10" y="22"/>
                    </a:lnTo>
                    <a:lnTo>
                      <a:pt x="10" y="20"/>
                    </a:lnTo>
                    <a:lnTo>
                      <a:pt x="8" y="18"/>
                    </a:lnTo>
                    <a:lnTo>
                      <a:pt x="8" y="16"/>
                    </a:lnTo>
                    <a:lnTo>
                      <a:pt x="2" y="12"/>
                    </a:lnTo>
                    <a:lnTo>
                      <a:pt x="0" y="12"/>
                    </a:lnTo>
                    <a:lnTo>
                      <a:pt x="2" y="10"/>
                    </a:lnTo>
                    <a:lnTo>
                      <a:pt x="4" y="10"/>
                    </a:lnTo>
                    <a:lnTo>
                      <a:pt x="8" y="12"/>
                    </a:lnTo>
                    <a:lnTo>
                      <a:pt x="10" y="12"/>
                    </a:lnTo>
                    <a:lnTo>
                      <a:pt x="18" y="12"/>
                    </a:lnTo>
                    <a:lnTo>
                      <a:pt x="26" y="8"/>
                    </a:lnTo>
                    <a:lnTo>
                      <a:pt x="32" y="8"/>
                    </a:lnTo>
                    <a:lnTo>
                      <a:pt x="34" y="8"/>
                    </a:lnTo>
                    <a:lnTo>
                      <a:pt x="36" y="8"/>
                    </a:lnTo>
                    <a:lnTo>
                      <a:pt x="38" y="10"/>
                    </a:lnTo>
                    <a:lnTo>
                      <a:pt x="42" y="10"/>
                    </a:lnTo>
                    <a:lnTo>
                      <a:pt x="46" y="10"/>
                    </a:lnTo>
                    <a:lnTo>
                      <a:pt x="52" y="12"/>
                    </a:lnTo>
                    <a:lnTo>
                      <a:pt x="56" y="10"/>
                    </a:lnTo>
                    <a:lnTo>
                      <a:pt x="66" y="6"/>
                    </a:lnTo>
                    <a:lnTo>
                      <a:pt x="70" y="4"/>
                    </a:lnTo>
                    <a:lnTo>
                      <a:pt x="78" y="0"/>
                    </a:lnTo>
                    <a:lnTo>
                      <a:pt x="92" y="2"/>
                    </a:lnTo>
                    <a:lnTo>
                      <a:pt x="94" y="2"/>
                    </a:lnTo>
                    <a:lnTo>
                      <a:pt x="106" y="2"/>
                    </a:lnTo>
                    <a:lnTo>
                      <a:pt x="112" y="4"/>
                    </a:lnTo>
                    <a:lnTo>
                      <a:pt x="118" y="4"/>
                    </a:lnTo>
                    <a:lnTo>
                      <a:pt x="120" y="4"/>
                    </a:lnTo>
                    <a:lnTo>
                      <a:pt x="132" y="4"/>
                    </a:lnTo>
                    <a:lnTo>
                      <a:pt x="138" y="6"/>
                    </a:lnTo>
                    <a:lnTo>
                      <a:pt x="146" y="6"/>
                    </a:lnTo>
                    <a:lnTo>
                      <a:pt x="152" y="6"/>
                    </a:lnTo>
                    <a:lnTo>
                      <a:pt x="152" y="8"/>
                    </a:lnTo>
                    <a:lnTo>
                      <a:pt x="152" y="10"/>
                    </a:lnTo>
                    <a:lnTo>
                      <a:pt x="152" y="12"/>
                    </a:lnTo>
                    <a:lnTo>
                      <a:pt x="152" y="14"/>
                    </a:lnTo>
                    <a:lnTo>
                      <a:pt x="154" y="16"/>
                    </a:lnTo>
                    <a:lnTo>
                      <a:pt x="154" y="18"/>
                    </a:lnTo>
                    <a:lnTo>
                      <a:pt x="154" y="20"/>
                    </a:lnTo>
                    <a:lnTo>
                      <a:pt x="152" y="26"/>
                    </a:lnTo>
                    <a:lnTo>
                      <a:pt x="150" y="28"/>
                    </a:lnTo>
                    <a:lnTo>
                      <a:pt x="148" y="30"/>
                    </a:lnTo>
                    <a:lnTo>
                      <a:pt x="146" y="30"/>
                    </a:lnTo>
                    <a:lnTo>
                      <a:pt x="146" y="28"/>
                    </a:lnTo>
                    <a:lnTo>
                      <a:pt x="142" y="28"/>
                    </a:lnTo>
                    <a:lnTo>
                      <a:pt x="136" y="32"/>
                    </a:lnTo>
                    <a:lnTo>
                      <a:pt x="136" y="34"/>
                    </a:lnTo>
                    <a:lnTo>
                      <a:pt x="138" y="34"/>
                    </a:lnTo>
                    <a:lnTo>
                      <a:pt x="140" y="36"/>
                    </a:lnTo>
                    <a:lnTo>
                      <a:pt x="146" y="42"/>
                    </a:lnTo>
                    <a:lnTo>
                      <a:pt x="148" y="42"/>
                    </a:lnTo>
                    <a:lnTo>
                      <a:pt x="148" y="54"/>
                    </a:lnTo>
                    <a:lnTo>
                      <a:pt x="146" y="58"/>
                    </a:lnTo>
                    <a:lnTo>
                      <a:pt x="144" y="60"/>
                    </a:lnTo>
                    <a:lnTo>
                      <a:pt x="132" y="62"/>
                    </a:lnTo>
                    <a:lnTo>
                      <a:pt x="128" y="62"/>
                    </a:lnTo>
                    <a:lnTo>
                      <a:pt x="126" y="62"/>
                    </a:lnTo>
                    <a:lnTo>
                      <a:pt x="126" y="60"/>
                    </a:lnTo>
                    <a:lnTo>
                      <a:pt x="118" y="58"/>
                    </a:lnTo>
                    <a:lnTo>
                      <a:pt x="116" y="62"/>
                    </a:lnTo>
                    <a:lnTo>
                      <a:pt x="112" y="64"/>
                    </a:lnTo>
                    <a:lnTo>
                      <a:pt x="110" y="64"/>
                    </a:lnTo>
                    <a:lnTo>
                      <a:pt x="106" y="66"/>
                    </a:lnTo>
                    <a:lnTo>
                      <a:pt x="104" y="66"/>
                    </a:lnTo>
                    <a:lnTo>
                      <a:pt x="102" y="66"/>
                    </a:lnTo>
                    <a:lnTo>
                      <a:pt x="100" y="66"/>
                    </a:lnTo>
                    <a:lnTo>
                      <a:pt x="98" y="66"/>
                    </a:lnTo>
                    <a:lnTo>
                      <a:pt x="96" y="66"/>
                    </a:lnTo>
                    <a:lnTo>
                      <a:pt x="92" y="72"/>
                    </a:lnTo>
                    <a:lnTo>
                      <a:pt x="90" y="74"/>
                    </a:lnTo>
                    <a:lnTo>
                      <a:pt x="90" y="76"/>
                    </a:lnTo>
                    <a:lnTo>
                      <a:pt x="88" y="78"/>
                    </a:lnTo>
                    <a:lnTo>
                      <a:pt x="88" y="80"/>
                    </a:lnTo>
                    <a:lnTo>
                      <a:pt x="86" y="84"/>
                    </a:lnTo>
                    <a:lnTo>
                      <a:pt x="82" y="88"/>
                    </a:lnTo>
                    <a:lnTo>
                      <a:pt x="82" y="92"/>
                    </a:lnTo>
                    <a:lnTo>
                      <a:pt x="78" y="94"/>
                    </a:lnTo>
                    <a:lnTo>
                      <a:pt x="76" y="96"/>
                    </a:lnTo>
                    <a:lnTo>
                      <a:pt x="74" y="96"/>
                    </a:lnTo>
                    <a:lnTo>
                      <a:pt x="72" y="94"/>
                    </a:lnTo>
                    <a:lnTo>
                      <a:pt x="74" y="88"/>
                    </a:lnTo>
                    <a:lnTo>
                      <a:pt x="76" y="86"/>
                    </a:lnTo>
                    <a:lnTo>
                      <a:pt x="78" y="84"/>
                    </a:lnTo>
                    <a:lnTo>
                      <a:pt x="78" y="82"/>
                    </a:lnTo>
                    <a:lnTo>
                      <a:pt x="74" y="84"/>
                    </a:lnTo>
                    <a:lnTo>
                      <a:pt x="72" y="86"/>
                    </a:lnTo>
                    <a:lnTo>
                      <a:pt x="70" y="88"/>
                    </a:lnTo>
                    <a:lnTo>
                      <a:pt x="68" y="92"/>
                    </a:lnTo>
                    <a:lnTo>
                      <a:pt x="66" y="90"/>
                    </a:lnTo>
                    <a:lnTo>
                      <a:pt x="68" y="88"/>
                    </a:lnTo>
                    <a:lnTo>
                      <a:pt x="68" y="86"/>
                    </a:lnTo>
                    <a:lnTo>
                      <a:pt x="70" y="84"/>
                    </a:lnTo>
                    <a:lnTo>
                      <a:pt x="70" y="78"/>
                    </a:lnTo>
                    <a:lnTo>
                      <a:pt x="68" y="80"/>
                    </a:lnTo>
                    <a:lnTo>
                      <a:pt x="68" y="82"/>
                    </a:lnTo>
                    <a:lnTo>
                      <a:pt x="68" y="84"/>
                    </a:lnTo>
                    <a:lnTo>
                      <a:pt x="66" y="84"/>
                    </a:lnTo>
                    <a:lnTo>
                      <a:pt x="64" y="84"/>
                    </a:lnTo>
                    <a:lnTo>
                      <a:pt x="62" y="84"/>
                    </a:lnTo>
                    <a:lnTo>
                      <a:pt x="60" y="80"/>
                    </a:lnTo>
                    <a:lnTo>
                      <a:pt x="60" y="76"/>
                    </a:lnTo>
                    <a:lnTo>
                      <a:pt x="60" y="74"/>
                    </a:lnTo>
                    <a:lnTo>
                      <a:pt x="62" y="70"/>
                    </a:lnTo>
                    <a:lnTo>
                      <a:pt x="62" y="72"/>
                    </a:lnTo>
                    <a:lnTo>
                      <a:pt x="64" y="72"/>
                    </a:lnTo>
                    <a:lnTo>
                      <a:pt x="66" y="70"/>
                    </a:lnTo>
                    <a:lnTo>
                      <a:pt x="68" y="68"/>
                    </a:lnTo>
                    <a:lnTo>
                      <a:pt x="64" y="70"/>
                    </a:lnTo>
                    <a:lnTo>
                      <a:pt x="62" y="70"/>
                    </a:lnTo>
                    <a:lnTo>
                      <a:pt x="62" y="68"/>
                    </a:lnTo>
                    <a:lnTo>
                      <a:pt x="60" y="70"/>
                    </a:lnTo>
                    <a:lnTo>
                      <a:pt x="58" y="72"/>
                    </a:lnTo>
                    <a:lnTo>
                      <a:pt x="56" y="72"/>
                    </a:lnTo>
                    <a:lnTo>
                      <a:pt x="58" y="64"/>
                    </a:lnTo>
                    <a:lnTo>
                      <a:pt x="66" y="60"/>
                    </a:lnTo>
                    <a:lnTo>
                      <a:pt x="68" y="58"/>
                    </a:lnTo>
                    <a:lnTo>
                      <a:pt x="72" y="56"/>
                    </a:lnTo>
                    <a:lnTo>
                      <a:pt x="76" y="58"/>
                    </a:lnTo>
                    <a:lnTo>
                      <a:pt x="78" y="60"/>
                    </a:lnTo>
                    <a:lnTo>
                      <a:pt x="80" y="60"/>
                    </a:lnTo>
                    <a:lnTo>
                      <a:pt x="82" y="60"/>
                    </a:lnTo>
                    <a:lnTo>
                      <a:pt x="78" y="58"/>
                    </a:lnTo>
                    <a:lnTo>
                      <a:pt x="74" y="56"/>
                    </a:lnTo>
                    <a:lnTo>
                      <a:pt x="68" y="56"/>
                    </a:lnTo>
                    <a:lnTo>
                      <a:pt x="66" y="56"/>
                    </a:lnTo>
                    <a:lnTo>
                      <a:pt x="66" y="54"/>
                    </a:lnTo>
                    <a:lnTo>
                      <a:pt x="62" y="56"/>
                    </a:lnTo>
                    <a:lnTo>
                      <a:pt x="64" y="58"/>
                    </a:lnTo>
                    <a:lnTo>
                      <a:pt x="62" y="60"/>
                    </a:lnTo>
                    <a:lnTo>
                      <a:pt x="60" y="60"/>
                    </a:lnTo>
                    <a:lnTo>
                      <a:pt x="60" y="58"/>
                    </a:lnTo>
                    <a:lnTo>
                      <a:pt x="60" y="56"/>
                    </a:lnTo>
                    <a:lnTo>
                      <a:pt x="60" y="54"/>
                    </a:lnTo>
                    <a:lnTo>
                      <a:pt x="56" y="54"/>
                    </a:lnTo>
                    <a:lnTo>
                      <a:pt x="56" y="52"/>
                    </a:lnTo>
                    <a:lnTo>
                      <a:pt x="54" y="50"/>
                    </a:lnTo>
                    <a:lnTo>
                      <a:pt x="56" y="48"/>
                    </a:lnTo>
                    <a:lnTo>
                      <a:pt x="60" y="42"/>
                    </a:lnTo>
                    <a:lnTo>
                      <a:pt x="62" y="42"/>
                    </a:lnTo>
                    <a:lnTo>
                      <a:pt x="64" y="42"/>
                    </a:lnTo>
                    <a:lnTo>
                      <a:pt x="66" y="42"/>
                    </a:lnTo>
                    <a:lnTo>
                      <a:pt x="68" y="44"/>
                    </a:lnTo>
                    <a:lnTo>
                      <a:pt x="70" y="44"/>
                    </a:lnTo>
                    <a:lnTo>
                      <a:pt x="72" y="44"/>
                    </a:lnTo>
                    <a:lnTo>
                      <a:pt x="74" y="44"/>
                    </a:lnTo>
                    <a:lnTo>
                      <a:pt x="78" y="42"/>
                    </a:lnTo>
                    <a:lnTo>
                      <a:pt x="80" y="46"/>
                    </a:lnTo>
                    <a:lnTo>
                      <a:pt x="80" y="48"/>
                    </a:lnTo>
                    <a:lnTo>
                      <a:pt x="84" y="52"/>
                    </a:lnTo>
                    <a:lnTo>
                      <a:pt x="86" y="5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2" name="Freeform 1454"/>
              <p:cNvSpPr>
                <a:spLocks/>
              </p:cNvSpPr>
              <p:nvPr/>
            </p:nvSpPr>
            <p:spPr bwMode="auto">
              <a:xfrm>
                <a:off x="1357" y="1653"/>
                <a:ext cx="8" cy="6"/>
              </a:xfrm>
              <a:custGeom>
                <a:avLst/>
                <a:gdLst/>
                <a:ahLst/>
                <a:cxnLst>
                  <a:cxn ang="0">
                    <a:pos x="2" y="6"/>
                  </a:cxn>
                  <a:cxn ang="0">
                    <a:pos x="0" y="2"/>
                  </a:cxn>
                  <a:cxn ang="0">
                    <a:pos x="0" y="0"/>
                  </a:cxn>
                  <a:cxn ang="0">
                    <a:pos x="8" y="0"/>
                  </a:cxn>
                  <a:cxn ang="0">
                    <a:pos x="8" y="2"/>
                  </a:cxn>
                  <a:cxn ang="0">
                    <a:pos x="6" y="6"/>
                  </a:cxn>
                  <a:cxn ang="0">
                    <a:pos x="2" y="6"/>
                  </a:cxn>
                </a:cxnLst>
                <a:rect l="0" t="0" r="r" b="b"/>
                <a:pathLst>
                  <a:path w="8" h="6">
                    <a:moveTo>
                      <a:pt x="2" y="6"/>
                    </a:moveTo>
                    <a:lnTo>
                      <a:pt x="0" y="2"/>
                    </a:lnTo>
                    <a:lnTo>
                      <a:pt x="0" y="0"/>
                    </a:lnTo>
                    <a:lnTo>
                      <a:pt x="8" y="0"/>
                    </a:lnTo>
                    <a:lnTo>
                      <a:pt x="8" y="2"/>
                    </a:lnTo>
                    <a:lnTo>
                      <a:pt x="6"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3" name="Freeform 1455"/>
              <p:cNvSpPr>
                <a:spLocks/>
              </p:cNvSpPr>
              <p:nvPr/>
            </p:nvSpPr>
            <p:spPr bwMode="auto">
              <a:xfrm>
                <a:off x="1359" y="1669"/>
                <a:ext cx="8" cy="8"/>
              </a:xfrm>
              <a:custGeom>
                <a:avLst/>
                <a:gdLst/>
                <a:ahLst/>
                <a:cxnLst>
                  <a:cxn ang="0">
                    <a:pos x="0" y="8"/>
                  </a:cxn>
                  <a:cxn ang="0">
                    <a:pos x="2" y="2"/>
                  </a:cxn>
                  <a:cxn ang="0">
                    <a:pos x="4" y="0"/>
                  </a:cxn>
                  <a:cxn ang="0">
                    <a:pos x="6" y="0"/>
                  </a:cxn>
                  <a:cxn ang="0">
                    <a:pos x="8" y="0"/>
                  </a:cxn>
                  <a:cxn ang="0">
                    <a:pos x="8" y="4"/>
                  </a:cxn>
                  <a:cxn ang="0">
                    <a:pos x="8" y="8"/>
                  </a:cxn>
                  <a:cxn ang="0">
                    <a:pos x="6" y="8"/>
                  </a:cxn>
                  <a:cxn ang="0">
                    <a:pos x="0" y="8"/>
                  </a:cxn>
                </a:cxnLst>
                <a:rect l="0" t="0" r="r" b="b"/>
                <a:pathLst>
                  <a:path w="8" h="8">
                    <a:moveTo>
                      <a:pt x="0" y="8"/>
                    </a:moveTo>
                    <a:lnTo>
                      <a:pt x="2" y="2"/>
                    </a:lnTo>
                    <a:lnTo>
                      <a:pt x="4" y="0"/>
                    </a:lnTo>
                    <a:lnTo>
                      <a:pt x="6" y="0"/>
                    </a:lnTo>
                    <a:lnTo>
                      <a:pt x="8" y="0"/>
                    </a:lnTo>
                    <a:lnTo>
                      <a:pt x="8" y="4"/>
                    </a:lnTo>
                    <a:lnTo>
                      <a:pt x="8" y="8"/>
                    </a:lnTo>
                    <a:lnTo>
                      <a:pt x="6" y="8"/>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4" name="Freeform 1456"/>
              <p:cNvSpPr>
                <a:spLocks/>
              </p:cNvSpPr>
              <p:nvPr/>
            </p:nvSpPr>
            <p:spPr bwMode="auto">
              <a:xfrm>
                <a:off x="1341" y="1669"/>
                <a:ext cx="10" cy="4"/>
              </a:xfrm>
              <a:custGeom>
                <a:avLst/>
                <a:gdLst/>
                <a:ahLst/>
                <a:cxnLst>
                  <a:cxn ang="0">
                    <a:pos x="6" y="4"/>
                  </a:cxn>
                  <a:cxn ang="0">
                    <a:pos x="4" y="4"/>
                  </a:cxn>
                  <a:cxn ang="0">
                    <a:pos x="4" y="2"/>
                  </a:cxn>
                  <a:cxn ang="0">
                    <a:pos x="2" y="4"/>
                  </a:cxn>
                  <a:cxn ang="0">
                    <a:pos x="0" y="4"/>
                  </a:cxn>
                  <a:cxn ang="0">
                    <a:pos x="0" y="2"/>
                  </a:cxn>
                  <a:cxn ang="0">
                    <a:pos x="2" y="0"/>
                  </a:cxn>
                  <a:cxn ang="0">
                    <a:pos x="8" y="0"/>
                  </a:cxn>
                  <a:cxn ang="0">
                    <a:pos x="10" y="0"/>
                  </a:cxn>
                  <a:cxn ang="0">
                    <a:pos x="8" y="2"/>
                  </a:cxn>
                  <a:cxn ang="0">
                    <a:pos x="8" y="4"/>
                  </a:cxn>
                  <a:cxn ang="0">
                    <a:pos x="6" y="4"/>
                  </a:cxn>
                </a:cxnLst>
                <a:rect l="0" t="0" r="r" b="b"/>
                <a:pathLst>
                  <a:path w="10" h="4">
                    <a:moveTo>
                      <a:pt x="6" y="4"/>
                    </a:moveTo>
                    <a:lnTo>
                      <a:pt x="4" y="4"/>
                    </a:lnTo>
                    <a:lnTo>
                      <a:pt x="4" y="2"/>
                    </a:lnTo>
                    <a:lnTo>
                      <a:pt x="2" y="4"/>
                    </a:lnTo>
                    <a:lnTo>
                      <a:pt x="0" y="4"/>
                    </a:lnTo>
                    <a:lnTo>
                      <a:pt x="0" y="2"/>
                    </a:lnTo>
                    <a:lnTo>
                      <a:pt x="2" y="0"/>
                    </a:lnTo>
                    <a:lnTo>
                      <a:pt x="8" y="0"/>
                    </a:lnTo>
                    <a:lnTo>
                      <a:pt x="10" y="0"/>
                    </a:lnTo>
                    <a:lnTo>
                      <a:pt x="8" y="2"/>
                    </a:lnTo>
                    <a:lnTo>
                      <a:pt x="8" y="4"/>
                    </a:lnTo>
                    <a:lnTo>
                      <a:pt x="6"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5" name="Freeform 1457"/>
              <p:cNvSpPr>
                <a:spLocks/>
              </p:cNvSpPr>
              <p:nvPr/>
            </p:nvSpPr>
            <p:spPr bwMode="auto">
              <a:xfrm>
                <a:off x="1371" y="1687"/>
                <a:ext cx="8" cy="6"/>
              </a:xfrm>
              <a:custGeom>
                <a:avLst/>
                <a:gdLst/>
                <a:ahLst/>
                <a:cxnLst>
                  <a:cxn ang="0">
                    <a:pos x="2" y="6"/>
                  </a:cxn>
                  <a:cxn ang="0">
                    <a:pos x="0" y="6"/>
                  </a:cxn>
                  <a:cxn ang="0">
                    <a:pos x="0" y="4"/>
                  </a:cxn>
                  <a:cxn ang="0">
                    <a:pos x="0" y="2"/>
                  </a:cxn>
                  <a:cxn ang="0">
                    <a:pos x="2" y="0"/>
                  </a:cxn>
                  <a:cxn ang="0">
                    <a:pos x="4" y="0"/>
                  </a:cxn>
                  <a:cxn ang="0">
                    <a:pos x="6" y="0"/>
                  </a:cxn>
                  <a:cxn ang="0">
                    <a:pos x="8" y="0"/>
                  </a:cxn>
                  <a:cxn ang="0">
                    <a:pos x="8" y="2"/>
                  </a:cxn>
                  <a:cxn ang="0">
                    <a:pos x="2" y="6"/>
                  </a:cxn>
                </a:cxnLst>
                <a:rect l="0" t="0" r="r" b="b"/>
                <a:pathLst>
                  <a:path w="8" h="6">
                    <a:moveTo>
                      <a:pt x="2" y="6"/>
                    </a:moveTo>
                    <a:lnTo>
                      <a:pt x="0" y="6"/>
                    </a:lnTo>
                    <a:lnTo>
                      <a:pt x="0" y="4"/>
                    </a:lnTo>
                    <a:lnTo>
                      <a:pt x="0" y="2"/>
                    </a:lnTo>
                    <a:lnTo>
                      <a:pt x="2" y="0"/>
                    </a:lnTo>
                    <a:lnTo>
                      <a:pt x="4" y="0"/>
                    </a:lnTo>
                    <a:lnTo>
                      <a:pt x="6" y="0"/>
                    </a:lnTo>
                    <a:lnTo>
                      <a:pt x="8" y="0"/>
                    </a:lnTo>
                    <a:lnTo>
                      <a:pt x="8" y="2"/>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6" name="Freeform 1458"/>
              <p:cNvSpPr>
                <a:spLocks/>
              </p:cNvSpPr>
              <p:nvPr/>
            </p:nvSpPr>
            <p:spPr bwMode="auto">
              <a:xfrm>
                <a:off x="1347" y="1689"/>
                <a:ext cx="12" cy="10"/>
              </a:xfrm>
              <a:custGeom>
                <a:avLst/>
                <a:gdLst/>
                <a:ahLst/>
                <a:cxnLst>
                  <a:cxn ang="0">
                    <a:pos x="6" y="10"/>
                  </a:cxn>
                  <a:cxn ang="0">
                    <a:pos x="4" y="10"/>
                  </a:cxn>
                  <a:cxn ang="0">
                    <a:pos x="2" y="8"/>
                  </a:cxn>
                  <a:cxn ang="0">
                    <a:pos x="0" y="8"/>
                  </a:cxn>
                  <a:cxn ang="0">
                    <a:pos x="0" y="6"/>
                  </a:cxn>
                  <a:cxn ang="0">
                    <a:pos x="2" y="4"/>
                  </a:cxn>
                  <a:cxn ang="0">
                    <a:pos x="6" y="2"/>
                  </a:cxn>
                  <a:cxn ang="0">
                    <a:pos x="8" y="0"/>
                  </a:cxn>
                  <a:cxn ang="0">
                    <a:pos x="10" y="0"/>
                  </a:cxn>
                  <a:cxn ang="0">
                    <a:pos x="12" y="2"/>
                  </a:cxn>
                  <a:cxn ang="0">
                    <a:pos x="10" y="2"/>
                  </a:cxn>
                  <a:cxn ang="0">
                    <a:pos x="10" y="4"/>
                  </a:cxn>
                  <a:cxn ang="0">
                    <a:pos x="12" y="4"/>
                  </a:cxn>
                  <a:cxn ang="0">
                    <a:pos x="12" y="6"/>
                  </a:cxn>
                  <a:cxn ang="0">
                    <a:pos x="10" y="6"/>
                  </a:cxn>
                  <a:cxn ang="0">
                    <a:pos x="12" y="8"/>
                  </a:cxn>
                  <a:cxn ang="0">
                    <a:pos x="10" y="10"/>
                  </a:cxn>
                  <a:cxn ang="0">
                    <a:pos x="8" y="10"/>
                  </a:cxn>
                  <a:cxn ang="0">
                    <a:pos x="6" y="10"/>
                  </a:cxn>
                </a:cxnLst>
                <a:rect l="0" t="0" r="r" b="b"/>
                <a:pathLst>
                  <a:path w="12" h="10">
                    <a:moveTo>
                      <a:pt x="6" y="10"/>
                    </a:moveTo>
                    <a:lnTo>
                      <a:pt x="4" y="10"/>
                    </a:lnTo>
                    <a:lnTo>
                      <a:pt x="2" y="8"/>
                    </a:lnTo>
                    <a:lnTo>
                      <a:pt x="0" y="8"/>
                    </a:lnTo>
                    <a:lnTo>
                      <a:pt x="0" y="6"/>
                    </a:lnTo>
                    <a:lnTo>
                      <a:pt x="2" y="4"/>
                    </a:lnTo>
                    <a:lnTo>
                      <a:pt x="6" y="2"/>
                    </a:lnTo>
                    <a:lnTo>
                      <a:pt x="8" y="0"/>
                    </a:lnTo>
                    <a:lnTo>
                      <a:pt x="10" y="0"/>
                    </a:lnTo>
                    <a:lnTo>
                      <a:pt x="12" y="2"/>
                    </a:lnTo>
                    <a:lnTo>
                      <a:pt x="10" y="2"/>
                    </a:lnTo>
                    <a:lnTo>
                      <a:pt x="10" y="4"/>
                    </a:lnTo>
                    <a:lnTo>
                      <a:pt x="12" y="4"/>
                    </a:lnTo>
                    <a:lnTo>
                      <a:pt x="12" y="6"/>
                    </a:lnTo>
                    <a:lnTo>
                      <a:pt x="10" y="6"/>
                    </a:lnTo>
                    <a:lnTo>
                      <a:pt x="12" y="8"/>
                    </a:lnTo>
                    <a:lnTo>
                      <a:pt x="10" y="10"/>
                    </a:lnTo>
                    <a:lnTo>
                      <a:pt x="8" y="10"/>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300" name="Group 1565"/>
            <p:cNvGrpSpPr>
              <a:grpSpLocks/>
            </p:cNvGrpSpPr>
            <p:nvPr/>
          </p:nvGrpSpPr>
          <p:grpSpPr bwMode="auto">
            <a:xfrm>
              <a:off x="5055041" y="1580702"/>
              <a:ext cx="220194" cy="455399"/>
              <a:chOff x="2615" y="415"/>
              <a:chExt cx="176" cy="364"/>
            </a:xfrm>
            <a:solidFill>
              <a:srgbClr val="B9B9B9"/>
            </a:solidFill>
          </p:grpSpPr>
          <p:sp>
            <p:nvSpPr>
              <p:cNvPr id="348" name="Freeform 1491"/>
              <p:cNvSpPr>
                <a:spLocks/>
              </p:cNvSpPr>
              <p:nvPr/>
            </p:nvSpPr>
            <p:spPr bwMode="auto">
              <a:xfrm>
                <a:off x="2615" y="415"/>
                <a:ext cx="176" cy="364"/>
              </a:xfrm>
              <a:custGeom>
                <a:avLst/>
                <a:gdLst/>
                <a:ahLst/>
                <a:cxnLst>
                  <a:cxn ang="0">
                    <a:pos x="10" y="154"/>
                  </a:cxn>
                  <a:cxn ang="0">
                    <a:pos x="18" y="144"/>
                  </a:cxn>
                  <a:cxn ang="0">
                    <a:pos x="36" y="132"/>
                  </a:cxn>
                  <a:cxn ang="0">
                    <a:pos x="46" y="106"/>
                  </a:cxn>
                  <a:cxn ang="0">
                    <a:pos x="44" y="94"/>
                  </a:cxn>
                  <a:cxn ang="0">
                    <a:pos x="46" y="80"/>
                  </a:cxn>
                  <a:cxn ang="0">
                    <a:pos x="44" y="68"/>
                  </a:cxn>
                  <a:cxn ang="0">
                    <a:pos x="48" y="50"/>
                  </a:cxn>
                  <a:cxn ang="0">
                    <a:pos x="46" y="40"/>
                  </a:cxn>
                  <a:cxn ang="0">
                    <a:pos x="46" y="36"/>
                  </a:cxn>
                  <a:cxn ang="0">
                    <a:pos x="64" y="20"/>
                  </a:cxn>
                  <a:cxn ang="0">
                    <a:pos x="74" y="14"/>
                  </a:cxn>
                  <a:cxn ang="0">
                    <a:pos x="82" y="8"/>
                  </a:cxn>
                  <a:cxn ang="0">
                    <a:pos x="110" y="0"/>
                  </a:cxn>
                  <a:cxn ang="0">
                    <a:pos x="116" y="4"/>
                  </a:cxn>
                  <a:cxn ang="0">
                    <a:pos x="120" y="10"/>
                  </a:cxn>
                  <a:cxn ang="0">
                    <a:pos x="132" y="8"/>
                  </a:cxn>
                  <a:cxn ang="0">
                    <a:pos x="134" y="10"/>
                  </a:cxn>
                  <a:cxn ang="0">
                    <a:pos x="138" y="24"/>
                  </a:cxn>
                  <a:cxn ang="0">
                    <a:pos x="134" y="28"/>
                  </a:cxn>
                  <a:cxn ang="0">
                    <a:pos x="144" y="32"/>
                  </a:cxn>
                  <a:cxn ang="0">
                    <a:pos x="150" y="24"/>
                  </a:cxn>
                  <a:cxn ang="0">
                    <a:pos x="162" y="18"/>
                  </a:cxn>
                  <a:cxn ang="0">
                    <a:pos x="164" y="32"/>
                  </a:cxn>
                  <a:cxn ang="0">
                    <a:pos x="156" y="46"/>
                  </a:cxn>
                  <a:cxn ang="0">
                    <a:pos x="144" y="52"/>
                  </a:cxn>
                  <a:cxn ang="0">
                    <a:pos x="140" y="64"/>
                  </a:cxn>
                  <a:cxn ang="0">
                    <a:pos x="148" y="80"/>
                  </a:cxn>
                  <a:cxn ang="0">
                    <a:pos x="158" y="86"/>
                  </a:cxn>
                  <a:cxn ang="0">
                    <a:pos x="164" y="96"/>
                  </a:cxn>
                  <a:cxn ang="0">
                    <a:pos x="166" y="110"/>
                  </a:cxn>
                  <a:cxn ang="0">
                    <a:pos x="154" y="128"/>
                  </a:cxn>
                  <a:cxn ang="0">
                    <a:pos x="142" y="140"/>
                  </a:cxn>
                  <a:cxn ang="0">
                    <a:pos x="130" y="150"/>
                  </a:cxn>
                  <a:cxn ang="0">
                    <a:pos x="114" y="162"/>
                  </a:cxn>
                  <a:cxn ang="0">
                    <a:pos x="112" y="170"/>
                  </a:cxn>
                  <a:cxn ang="0">
                    <a:pos x="122" y="184"/>
                  </a:cxn>
                  <a:cxn ang="0">
                    <a:pos x="134" y="190"/>
                  </a:cxn>
                  <a:cxn ang="0">
                    <a:pos x="142" y="194"/>
                  </a:cxn>
                  <a:cxn ang="0">
                    <a:pos x="150" y="196"/>
                  </a:cxn>
                  <a:cxn ang="0">
                    <a:pos x="156" y="194"/>
                  </a:cxn>
                  <a:cxn ang="0">
                    <a:pos x="158" y="202"/>
                  </a:cxn>
                  <a:cxn ang="0">
                    <a:pos x="174" y="216"/>
                  </a:cxn>
                  <a:cxn ang="0">
                    <a:pos x="174" y="224"/>
                  </a:cxn>
                  <a:cxn ang="0">
                    <a:pos x="172" y="246"/>
                  </a:cxn>
                  <a:cxn ang="0">
                    <a:pos x="176" y="254"/>
                  </a:cxn>
                  <a:cxn ang="0">
                    <a:pos x="158" y="262"/>
                  </a:cxn>
                  <a:cxn ang="0">
                    <a:pos x="140" y="272"/>
                  </a:cxn>
                  <a:cxn ang="0">
                    <a:pos x="124" y="290"/>
                  </a:cxn>
                  <a:cxn ang="0">
                    <a:pos x="116" y="288"/>
                  </a:cxn>
                  <a:cxn ang="0">
                    <a:pos x="110" y="316"/>
                  </a:cxn>
                  <a:cxn ang="0">
                    <a:pos x="108" y="340"/>
                  </a:cxn>
                  <a:cxn ang="0">
                    <a:pos x="90" y="360"/>
                  </a:cxn>
                  <a:cxn ang="0">
                    <a:pos x="76" y="360"/>
                  </a:cxn>
                  <a:cxn ang="0">
                    <a:pos x="70" y="316"/>
                  </a:cxn>
                  <a:cxn ang="0">
                    <a:pos x="62" y="268"/>
                  </a:cxn>
                  <a:cxn ang="0">
                    <a:pos x="34" y="246"/>
                  </a:cxn>
                  <a:cxn ang="0">
                    <a:pos x="30" y="230"/>
                  </a:cxn>
                  <a:cxn ang="0">
                    <a:pos x="20" y="212"/>
                  </a:cxn>
                  <a:cxn ang="0">
                    <a:pos x="8" y="196"/>
                  </a:cxn>
                  <a:cxn ang="0">
                    <a:pos x="0" y="170"/>
                  </a:cxn>
                </a:cxnLst>
                <a:rect l="0" t="0" r="r" b="b"/>
                <a:pathLst>
                  <a:path w="176" h="364">
                    <a:moveTo>
                      <a:pt x="2" y="162"/>
                    </a:moveTo>
                    <a:lnTo>
                      <a:pt x="2" y="160"/>
                    </a:lnTo>
                    <a:lnTo>
                      <a:pt x="6" y="156"/>
                    </a:lnTo>
                    <a:lnTo>
                      <a:pt x="8" y="156"/>
                    </a:lnTo>
                    <a:lnTo>
                      <a:pt x="10" y="154"/>
                    </a:lnTo>
                    <a:lnTo>
                      <a:pt x="12" y="154"/>
                    </a:lnTo>
                    <a:lnTo>
                      <a:pt x="14" y="154"/>
                    </a:lnTo>
                    <a:lnTo>
                      <a:pt x="16" y="150"/>
                    </a:lnTo>
                    <a:lnTo>
                      <a:pt x="16" y="146"/>
                    </a:lnTo>
                    <a:lnTo>
                      <a:pt x="18" y="144"/>
                    </a:lnTo>
                    <a:lnTo>
                      <a:pt x="28" y="142"/>
                    </a:lnTo>
                    <a:lnTo>
                      <a:pt x="28" y="140"/>
                    </a:lnTo>
                    <a:lnTo>
                      <a:pt x="30" y="140"/>
                    </a:lnTo>
                    <a:lnTo>
                      <a:pt x="38" y="134"/>
                    </a:lnTo>
                    <a:lnTo>
                      <a:pt x="36" y="132"/>
                    </a:lnTo>
                    <a:lnTo>
                      <a:pt x="38" y="130"/>
                    </a:lnTo>
                    <a:lnTo>
                      <a:pt x="38" y="124"/>
                    </a:lnTo>
                    <a:lnTo>
                      <a:pt x="40" y="118"/>
                    </a:lnTo>
                    <a:lnTo>
                      <a:pt x="42" y="110"/>
                    </a:lnTo>
                    <a:lnTo>
                      <a:pt x="46" y="106"/>
                    </a:lnTo>
                    <a:lnTo>
                      <a:pt x="44" y="102"/>
                    </a:lnTo>
                    <a:lnTo>
                      <a:pt x="42" y="100"/>
                    </a:lnTo>
                    <a:lnTo>
                      <a:pt x="42" y="98"/>
                    </a:lnTo>
                    <a:lnTo>
                      <a:pt x="42" y="96"/>
                    </a:lnTo>
                    <a:lnTo>
                      <a:pt x="44" y="94"/>
                    </a:lnTo>
                    <a:lnTo>
                      <a:pt x="44" y="92"/>
                    </a:lnTo>
                    <a:lnTo>
                      <a:pt x="46" y="86"/>
                    </a:lnTo>
                    <a:lnTo>
                      <a:pt x="46" y="84"/>
                    </a:lnTo>
                    <a:lnTo>
                      <a:pt x="46" y="82"/>
                    </a:lnTo>
                    <a:lnTo>
                      <a:pt x="46" y="80"/>
                    </a:lnTo>
                    <a:lnTo>
                      <a:pt x="44" y="78"/>
                    </a:lnTo>
                    <a:lnTo>
                      <a:pt x="42" y="76"/>
                    </a:lnTo>
                    <a:lnTo>
                      <a:pt x="42" y="74"/>
                    </a:lnTo>
                    <a:lnTo>
                      <a:pt x="42" y="72"/>
                    </a:lnTo>
                    <a:lnTo>
                      <a:pt x="44" y="68"/>
                    </a:lnTo>
                    <a:lnTo>
                      <a:pt x="44" y="66"/>
                    </a:lnTo>
                    <a:lnTo>
                      <a:pt x="46" y="66"/>
                    </a:lnTo>
                    <a:lnTo>
                      <a:pt x="46" y="60"/>
                    </a:lnTo>
                    <a:lnTo>
                      <a:pt x="48" y="54"/>
                    </a:lnTo>
                    <a:lnTo>
                      <a:pt x="48" y="50"/>
                    </a:lnTo>
                    <a:lnTo>
                      <a:pt x="50" y="46"/>
                    </a:lnTo>
                    <a:lnTo>
                      <a:pt x="50" y="44"/>
                    </a:lnTo>
                    <a:lnTo>
                      <a:pt x="50" y="42"/>
                    </a:lnTo>
                    <a:lnTo>
                      <a:pt x="48" y="40"/>
                    </a:lnTo>
                    <a:lnTo>
                      <a:pt x="46" y="40"/>
                    </a:lnTo>
                    <a:lnTo>
                      <a:pt x="44" y="40"/>
                    </a:lnTo>
                    <a:lnTo>
                      <a:pt x="42" y="40"/>
                    </a:lnTo>
                    <a:lnTo>
                      <a:pt x="42" y="38"/>
                    </a:lnTo>
                    <a:lnTo>
                      <a:pt x="44" y="36"/>
                    </a:lnTo>
                    <a:lnTo>
                      <a:pt x="46" y="36"/>
                    </a:lnTo>
                    <a:lnTo>
                      <a:pt x="50" y="34"/>
                    </a:lnTo>
                    <a:lnTo>
                      <a:pt x="56" y="32"/>
                    </a:lnTo>
                    <a:lnTo>
                      <a:pt x="56" y="28"/>
                    </a:lnTo>
                    <a:lnTo>
                      <a:pt x="64" y="22"/>
                    </a:lnTo>
                    <a:lnTo>
                      <a:pt x="64" y="20"/>
                    </a:lnTo>
                    <a:lnTo>
                      <a:pt x="64" y="18"/>
                    </a:lnTo>
                    <a:lnTo>
                      <a:pt x="66" y="16"/>
                    </a:lnTo>
                    <a:lnTo>
                      <a:pt x="70" y="16"/>
                    </a:lnTo>
                    <a:lnTo>
                      <a:pt x="72" y="16"/>
                    </a:lnTo>
                    <a:lnTo>
                      <a:pt x="74" y="14"/>
                    </a:lnTo>
                    <a:lnTo>
                      <a:pt x="76" y="14"/>
                    </a:lnTo>
                    <a:lnTo>
                      <a:pt x="78" y="12"/>
                    </a:lnTo>
                    <a:lnTo>
                      <a:pt x="80" y="12"/>
                    </a:lnTo>
                    <a:lnTo>
                      <a:pt x="80" y="10"/>
                    </a:lnTo>
                    <a:lnTo>
                      <a:pt x="82" y="8"/>
                    </a:lnTo>
                    <a:lnTo>
                      <a:pt x="84" y="8"/>
                    </a:lnTo>
                    <a:lnTo>
                      <a:pt x="88" y="6"/>
                    </a:lnTo>
                    <a:lnTo>
                      <a:pt x="96" y="4"/>
                    </a:lnTo>
                    <a:lnTo>
                      <a:pt x="106" y="0"/>
                    </a:lnTo>
                    <a:lnTo>
                      <a:pt x="110" y="0"/>
                    </a:lnTo>
                    <a:lnTo>
                      <a:pt x="114" y="0"/>
                    </a:lnTo>
                    <a:lnTo>
                      <a:pt x="118" y="0"/>
                    </a:lnTo>
                    <a:lnTo>
                      <a:pt x="118" y="2"/>
                    </a:lnTo>
                    <a:lnTo>
                      <a:pt x="118" y="4"/>
                    </a:lnTo>
                    <a:lnTo>
                      <a:pt x="116" y="4"/>
                    </a:lnTo>
                    <a:lnTo>
                      <a:pt x="114" y="6"/>
                    </a:lnTo>
                    <a:lnTo>
                      <a:pt x="114" y="8"/>
                    </a:lnTo>
                    <a:lnTo>
                      <a:pt x="116" y="10"/>
                    </a:lnTo>
                    <a:lnTo>
                      <a:pt x="118" y="10"/>
                    </a:lnTo>
                    <a:lnTo>
                      <a:pt x="120" y="10"/>
                    </a:lnTo>
                    <a:lnTo>
                      <a:pt x="122" y="6"/>
                    </a:lnTo>
                    <a:lnTo>
                      <a:pt x="118" y="6"/>
                    </a:lnTo>
                    <a:lnTo>
                      <a:pt x="122" y="4"/>
                    </a:lnTo>
                    <a:lnTo>
                      <a:pt x="126" y="4"/>
                    </a:lnTo>
                    <a:lnTo>
                      <a:pt x="132" y="8"/>
                    </a:lnTo>
                    <a:lnTo>
                      <a:pt x="136" y="8"/>
                    </a:lnTo>
                    <a:lnTo>
                      <a:pt x="134" y="10"/>
                    </a:lnTo>
                    <a:lnTo>
                      <a:pt x="130" y="10"/>
                    </a:lnTo>
                    <a:lnTo>
                      <a:pt x="132" y="10"/>
                    </a:lnTo>
                    <a:lnTo>
                      <a:pt x="134" y="10"/>
                    </a:lnTo>
                    <a:lnTo>
                      <a:pt x="130" y="14"/>
                    </a:lnTo>
                    <a:lnTo>
                      <a:pt x="130" y="16"/>
                    </a:lnTo>
                    <a:lnTo>
                      <a:pt x="132" y="18"/>
                    </a:lnTo>
                    <a:lnTo>
                      <a:pt x="136" y="24"/>
                    </a:lnTo>
                    <a:lnTo>
                      <a:pt x="138" y="24"/>
                    </a:lnTo>
                    <a:lnTo>
                      <a:pt x="136" y="28"/>
                    </a:lnTo>
                    <a:lnTo>
                      <a:pt x="134" y="26"/>
                    </a:lnTo>
                    <a:lnTo>
                      <a:pt x="132" y="26"/>
                    </a:lnTo>
                    <a:lnTo>
                      <a:pt x="130" y="28"/>
                    </a:lnTo>
                    <a:lnTo>
                      <a:pt x="134" y="28"/>
                    </a:lnTo>
                    <a:lnTo>
                      <a:pt x="136" y="32"/>
                    </a:lnTo>
                    <a:lnTo>
                      <a:pt x="138" y="32"/>
                    </a:lnTo>
                    <a:lnTo>
                      <a:pt x="140" y="32"/>
                    </a:lnTo>
                    <a:lnTo>
                      <a:pt x="142" y="32"/>
                    </a:lnTo>
                    <a:lnTo>
                      <a:pt x="144" y="32"/>
                    </a:lnTo>
                    <a:lnTo>
                      <a:pt x="146" y="30"/>
                    </a:lnTo>
                    <a:lnTo>
                      <a:pt x="146" y="28"/>
                    </a:lnTo>
                    <a:lnTo>
                      <a:pt x="148" y="26"/>
                    </a:lnTo>
                    <a:lnTo>
                      <a:pt x="148" y="24"/>
                    </a:lnTo>
                    <a:lnTo>
                      <a:pt x="150" y="24"/>
                    </a:lnTo>
                    <a:lnTo>
                      <a:pt x="152" y="24"/>
                    </a:lnTo>
                    <a:lnTo>
                      <a:pt x="154" y="24"/>
                    </a:lnTo>
                    <a:lnTo>
                      <a:pt x="158" y="22"/>
                    </a:lnTo>
                    <a:lnTo>
                      <a:pt x="160" y="20"/>
                    </a:lnTo>
                    <a:lnTo>
                      <a:pt x="162" y="18"/>
                    </a:lnTo>
                    <a:lnTo>
                      <a:pt x="168" y="14"/>
                    </a:lnTo>
                    <a:lnTo>
                      <a:pt x="168" y="16"/>
                    </a:lnTo>
                    <a:lnTo>
                      <a:pt x="170" y="24"/>
                    </a:lnTo>
                    <a:lnTo>
                      <a:pt x="168" y="30"/>
                    </a:lnTo>
                    <a:lnTo>
                      <a:pt x="164" y="32"/>
                    </a:lnTo>
                    <a:lnTo>
                      <a:pt x="160" y="38"/>
                    </a:lnTo>
                    <a:lnTo>
                      <a:pt x="158" y="40"/>
                    </a:lnTo>
                    <a:lnTo>
                      <a:pt x="158" y="42"/>
                    </a:lnTo>
                    <a:lnTo>
                      <a:pt x="158" y="44"/>
                    </a:lnTo>
                    <a:lnTo>
                      <a:pt x="156" y="46"/>
                    </a:lnTo>
                    <a:lnTo>
                      <a:pt x="154" y="46"/>
                    </a:lnTo>
                    <a:lnTo>
                      <a:pt x="150" y="48"/>
                    </a:lnTo>
                    <a:lnTo>
                      <a:pt x="146" y="50"/>
                    </a:lnTo>
                    <a:lnTo>
                      <a:pt x="144" y="50"/>
                    </a:lnTo>
                    <a:lnTo>
                      <a:pt x="144" y="52"/>
                    </a:lnTo>
                    <a:lnTo>
                      <a:pt x="142" y="52"/>
                    </a:lnTo>
                    <a:lnTo>
                      <a:pt x="142" y="54"/>
                    </a:lnTo>
                    <a:lnTo>
                      <a:pt x="140" y="56"/>
                    </a:lnTo>
                    <a:lnTo>
                      <a:pt x="140" y="60"/>
                    </a:lnTo>
                    <a:lnTo>
                      <a:pt x="140" y="64"/>
                    </a:lnTo>
                    <a:lnTo>
                      <a:pt x="140" y="66"/>
                    </a:lnTo>
                    <a:lnTo>
                      <a:pt x="142" y="72"/>
                    </a:lnTo>
                    <a:lnTo>
                      <a:pt x="146" y="76"/>
                    </a:lnTo>
                    <a:lnTo>
                      <a:pt x="146" y="78"/>
                    </a:lnTo>
                    <a:lnTo>
                      <a:pt x="148" y="80"/>
                    </a:lnTo>
                    <a:lnTo>
                      <a:pt x="150" y="82"/>
                    </a:lnTo>
                    <a:lnTo>
                      <a:pt x="154" y="84"/>
                    </a:lnTo>
                    <a:lnTo>
                      <a:pt x="154" y="86"/>
                    </a:lnTo>
                    <a:lnTo>
                      <a:pt x="156" y="86"/>
                    </a:lnTo>
                    <a:lnTo>
                      <a:pt x="158" y="86"/>
                    </a:lnTo>
                    <a:lnTo>
                      <a:pt x="160" y="88"/>
                    </a:lnTo>
                    <a:lnTo>
                      <a:pt x="162" y="88"/>
                    </a:lnTo>
                    <a:lnTo>
                      <a:pt x="162" y="94"/>
                    </a:lnTo>
                    <a:lnTo>
                      <a:pt x="162" y="96"/>
                    </a:lnTo>
                    <a:lnTo>
                      <a:pt x="164" y="96"/>
                    </a:lnTo>
                    <a:lnTo>
                      <a:pt x="160" y="102"/>
                    </a:lnTo>
                    <a:lnTo>
                      <a:pt x="162" y="104"/>
                    </a:lnTo>
                    <a:lnTo>
                      <a:pt x="162" y="106"/>
                    </a:lnTo>
                    <a:lnTo>
                      <a:pt x="164" y="108"/>
                    </a:lnTo>
                    <a:lnTo>
                      <a:pt x="166" y="110"/>
                    </a:lnTo>
                    <a:lnTo>
                      <a:pt x="162" y="114"/>
                    </a:lnTo>
                    <a:lnTo>
                      <a:pt x="160" y="116"/>
                    </a:lnTo>
                    <a:lnTo>
                      <a:pt x="160" y="118"/>
                    </a:lnTo>
                    <a:lnTo>
                      <a:pt x="160" y="120"/>
                    </a:lnTo>
                    <a:lnTo>
                      <a:pt x="154" y="128"/>
                    </a:lnTo>
                    <a:lnTo>
                      <a:pt x="150" y="132"/>
                    </a:lnTo>
                    <a:lnTo>
                      <a:pt x="146" y="138"/>
                    </a:lnTo>
                    <a:lnTo>
                      <a:pt x="146" y="140"/>
                    </a:lnTo>
                    <a:lnTo>
                      <a:pt x="144" y="140"/>
                    </a:lnTo>
                    <a:lnTo>
                      <a:pt x="142" y="140"/>
                    </a:lnTo>
                    <a:lnTo>
                      <a:pt x="138" y="144"/>
                    </a:lnTo>
                    <a:lnTo>
                      <a:pt x="136" y="146"/>
                    </a:lnTo>
                    <a:lnTo>
                      <a:pt x="132" y="146"/>
                    </a:lnTo>
                    <a:lnTo>
                      <a:pt x="130" y="148"/>
                    </a:lnTo>
                    <a:lnTo>
                      <a:pt x="130" y="150"/>
                    </a:lnTo>
                    <a:lnTo>
                      <a:pt x="128" y="152"/>
                    </a:lnTo>
                    <a:lnTo>
                      <a:pt x="118" y="154"/>
                    </a:lnTo>
                    <a:lnTo>
                      <a:pt x="118" y="156"/>
                    </a:lnTo>
                    <a:lnTo>
                      <a:pt x="114" y="160"/>
                    </a:lnTo>
                    <a:lnTo>
                      <a:pt x="114" y="162"/>
                    </a:lnTo>
                    <a:lnTo>
                      <a:pt x="112" y="162"/>
                    </a:lnTo>
                    <a:lnTo>
                      <a:pt x="112" y="164"/>
                    </a:lnTo>
                    <a:lnTo>
                      <a:pt x="112" y="166"/>
                    </a:lnTo>
                    <a:lnTo>
                      <a:pt x="112" y="168"/>
                    </a:lnTo>
                    <a:lnTo>
                      <a:pt x="112" y="170"/>
                    </a:lnTo>
                    <a:lnTo>
                      <a:pt x="114" y="172"/>
                    </a:lnTo>
                    <a:lnTo>
                      <a:pt x="114" y="174"/>
                    </a:lnTo>
                    <a:lnTo>
                      <a:pt x="114" y="176"/>
                    </a:lnTo>
                    <a:lnTo>
                      <a:pt x="118" y="180"/>
                    </a:lnTo>
                    <a:lnTo>
                      <a:pt x="122" y="184"/>
                    </a:lnTo>
                    <a:lnTo>
                      <a:pt x="124" y="186"/>
                    </a:lnTo>
                    <a:lnTo>
                      <a:pt x="126" y="186"/>
                    </a:lnTo>
                    <a:lnTo>
                      <a:pt x="126" y="188"/>
                    </a:lnTo>
                    <a:lnTo>
                      <a:pt x="130" y="190"/>
                    </a:lnTo>
                    <a:lnTo>
                      <a:pt x="134" y="190"/>
                    </a:lnTo>
                    <a:lnTo>
                      <a:pt x="136" y="190"/>
                    </a:lnTo>
                    <a:lnTo>
                      <a:pt x="138" y="188"/>
                    </a:lnTo>
                    <a:lnTo>
                      <a:pt x="140" y="188"/>
                    </a:lnTo>
                    <a:lnTo>
                      <a:pt x="142" y="188"/>
                    </a:lnTo>
                    <a:lnTo>
                      <a:pt x="142" y="194"/>
                    </a:lnTo>
                    <a:lnTo>
                      <a:pt x="140" y="194"/>
                    </a:lnTo>
                    <a:lnTo>
                      <a:pt x="138" y="196"/>
                    </a:lnTo>
                    <a:lnTo>
                      <a:pt x="140" y="198"/>
                    </a:lnTo>
                    <a:lnTo>
                      <a:pt x="142" y="200"/>
                    </a:lnTo>
                    <a:lnTo>
                      <a:pt x="150" y="196"/>
                    </a:lnTo>
                    <a:lnTo>
                      <a:pt x="150" y="194"/>
                    </a:lnTo>
                    <a:lnTo>
                      <a:pt x="150" y="192"/>
                    </a:lnTo>
                    <a:lnTo>
                      <a:pt x="154" y="192"/>
                    </a:lnTo>
                    <a:lnTo>
                      <a:pt x="156" y="192"/>
                    </a:lnTo>
                    <a:lnTo>
                      <a:pt x="156" y="194"/>
                    </a:lnTo>
                    <a:lnTo>
                      <a:pt x="158" y="194"/>
                    </a:lnTo>
                    <a:lnTo>
                      <a:pt x="158" y="196"/>
                    </a:lnTo>
                    <a:lnTo>
                      <a:pt x="158" y="198"/>
                    </a:lnTo>
                    <a:lnTo>
                      <a:pt x="158" y="200"/>
                    </a:lnTo>
                    <a:lnTo>
                      <a:pt x="158" y="202"/>
                    </a:lnTo>
                    <a:lnTo>
                      <a:pt x="158" y="210"/>
                    </a:lnTo>
                    <a:lnTo>
                      <a:pt x="160" y="214"/>
                    </a:lnTo>
                    <a:lnTo>
                      <a:pt x="168" y="216"/>
                    </a:lnTo>
                    <a:lnTo>
                      <a:pt x="172" y="216"/>
                    </a:lnTo>
                    <a:lnTo>
                      <a:pt x="174" y="216"/>
                    </a:lnTo>
                    <a:lnTo>
                      <a:pt x="176" y="216"/>
                    </a:lnTo>
                    <a:lnTo>
                      <a:pt x="176" y="218"/>
                    </a:lnTo>
                    <a:lnTo>
                      <a:pt x="176" y="220"/>
                    </a:lnTo>
                    <a:lnTo>
                      <a:pt x="174" y="222"/>
                    </a:lnTo>
                    <a:lnTo>
                      <a:pt x="174" y="224"/>
                    </a:lnTo>
                    <a:lnTo>
                      <a:pt x="174" y="228"/>
                    </a:lnTo>
                    <a:lnTo>
                      <a:pt x="172" y="232"/>
                    </a:lnTo>
                    <a:lnTo>
                      <a:pt x="172" y="242"/>
                    </a:lnTo>
                    <a:lnTo>
                      <a:pt x="172" y="244"/>
                    </a:lnTo>
                    <a:lnTo>
                      <a:pt x="172" y="246"/>
                    </a:lnTo>
                    <a:lnTo>
                      <a:pt x="174" y="246"/>
                    </a:lnTo>
                    <a:lnTo>
                      <a:pt x="174" y="248"/>
                    </a:lnTo>
                    <a:lnTo>
                      <a:pt x="176" y="250"/>
                    </a:lnTo>
                    <a:lnTo>
                      <a:pt x="176" y="252"/>
                    </a:lnTo>
                    <a:lnTo>
                      <a:pt x="176" y="254"/>
                    </a:lnTo>
                    <a:lnTo>
                      <a:pt x="174" y="254"/>
                    </a:lnTo>
                    <a:lnTo>
                      <a:pt x="172" y="256"/>
                    </a:lnTo>
                    <a:lnTo>
                      <a:pt x="168" y="258"/>
                    </a:lnTo>
                    <a:lnTo>
                      <a:pt x="164" y="260"/>
                    </a:lnTo>
                    <a:lnTo>
                      <a:pt x="158" y="262"/>
                    </a:lnTo>
                    <a:lnTo>
                      <a:pt x="156" y="264"/>
                    </a:lnTo>
                    <a:lnTo>
                      <a:pt x="150" y="266"/>
                    </a:lnTo>
                    <a:lnTo>
                      <a:pt x="144" y="268"/>
                    </a:lnTo>
                    <a:lnTo>
                      <a:pt x="142" y="272"/>
                    </a:lnTo>
                    <a:lnTo>
                      <a:pt x="140" y="272"/>
                    </a:lnTo>
                    <a:lnTo>
                      <a:pt x="140" y="274"/>
                    </a:lnTo>
                    <a:lnTo>
                      <a:pt x="136" y="278"/>
                    </a:lnTo>
                    <a:lnTo>
                      <a:pt x="130" y="282"/>
                    </a:lnTo>
                    <a:lnTo>
                      <a:pt x="126" y="288"/>
                    </a:lnTo>
                    <a:lnTo>
                      <a:pt x="124" y="290"/>
                    </a:lnTo>
                    <a:lnTo>
                      <a:pt x="122" y="290"/>
                    </a:lnTo>
                    <a:lnTo>
                      <a:pt x="122" y="288"/>
                    </a:lnTo>
                    <a:lnTo>
                      <a:pt x="120" y="288"/>
                    </a:lnTo>
                    <a:lnTo>
                      <a:pt x="118" y="288"/>
                    </a:lnTo>
                    <a:lnTo>
                      <a:pt x="116" y="288"/>
                    </a:lnTo>
                    <a:lnTo>
                      <a:pt x="114" y="290"/>
                    </a:lnTo>
                    <a:lnTo>
                      <a:pt x="108" y="300"/>
                    </a:lnTo>
                    <a:lnTo>
                      <a:pt x="106" y="304"/>
                    </a:lnTo>
                    <a:lnTo>
                      <a:pt x="108" y="310"/>
                    </a:lnTo>
                    <a:lnTo>
                      <a:pt x="110" y="316"/>
                    </a:lnTo>
                    <a:lnTo>
                      <a:pt x="112" y="322"/>
                    </a:lnTo>
                    <a:lnTo>
                      <a:pt x="114" y="330"/>
                    </a:lnTo>
                    <a:lnTo>
                      <a:pt x="112" y="332"/>
                    </a:lnTo>
                    <a:lnTo>
                      <a:pt x="110" y="338"/>
                    </a:lnTo>
                    <a:lnTo>
                      <a:pt x="108" y="340"/>
                    </a:lnTo>
                    <a:lnTo>
                      <a:pt x="102" y="346"/>
                    </a:lnTo>
                    <a:lnTo>
                      <a:pt x="98" y="352"/>
                    </a:lnTo>
                    <a:lnTo>
                      <a:pt x="92" y="358"/>
                    </a:lnTo>
                    <a:lnTo>
                      <a:pt x="92" y="360"/>
                    </a:lnTo>
                    <a:lnTo>
                      <a:pt x="90" y="360"/>
                    </a:lnTo>
                    <a:lnTo>
                      <a:pt x="86" y="360"/>
                    </a:lnTo>
                    <a:lnTo>
                      <a:pt x="82" y="362"/>
                    </a:lnTo>
                    <a:lnTo>
                      <a:pt x="76" y="364"/>
                    </a:lnTo>
                    <a:lnTo>
                      <a:pt x="76" y="362"/>
                    </a:lnTo>
                    <a:lnTo>
                      <a:pt x="76" y="360"/>
                    </a:lnTo>
                    <a:lnTo>
                      <a:pt x="74" y="348"/>
                    </a:lnTo>
                    <a:lnTo>
                      <a:pt x="72" y="342"/>
                    </a:lnTo>
                    <a:lnTo>
                      <a:pt x="70" y="332"/>
                    </a:lnTo>
                    <a:lnTo>
                      <a:pt x="70" y="322"/>
                    </a:lnTo>
                    <a:lnTo>
                      <a:pt x="70" y="316"/>
                    </a:lnTo>
                    <a:lnTo>
                      <a:pt x="66" y="298"/>
                    </a:lnTo>
                    <a:lnTo>
                      <a:pt x="66" y="292"/>
                    </a:lnTo>
                    <a:lnTo>
                      <a:pt x="62" y="276"/>
                    </a:lnTo>
                    <a:lnTo>
                      <a:pt x="62" y="272"/>
                    </a:lnTo>
                    <a:lnTo>
                      <a:pt x="62" y="268"/>
                    </a:lnTo>
                    <a:lnTo>
                      <a:pt x="60" y="266"/>
                    </a:lnTo>
                    <a:lnTo>
                      <a:pt x="54" y="260"/>
                    </a:lnTo>
                    <a:lnTo>
                      <a:pt x="46" y="254"/>
                    </a:lnTo>
                    <a:lnTo>
                      <a:pt x="40" y="250"/>
                    </a:lnTo>
                    <a:lnTo>
                      <a:pt x="34" y="246"/>
                    </a:lnTo>
                    <a:lnTo>
                      <a:pt x="32" y="242"/>
                    </a:lnTo>
                    <a:lnTo>
                      <a:pt x="32" y="240"/>
                    </a:lnTo>
                    <a:lnTo>
                      <a:pt x="32" y="234"/>
                    </a:lnTo>
                    <a:lnTo>
                      <a:pt x="32" y="232"/>
                    </a:lnTo>
                    <a:lnTo>
                      <a:pt x="30" y="230"/>
                    </a:lnTo>
                    <a:lnTo>
                      <a:pt x="30" y="228"/>
                    </a:lnTo>
                    <a:lnTo>
                      <a:pt x="30" y="226"/>
                    </a:lnTo>
                    <a:lnTo>
                      <a:pt x="26" y="218"/>
                    </a:lnTo>
                    <a:lnTo>
                      <a:pt x="22" y="212"/>
                    </a:lnTo>
                    <a:lnTo>
                      <a:pt x="20" y="212"/>
                    </a:lnTo>
                    <a:lnTo>
                      <a:pt x="8" y="206"/>
                    </a:lnTo>
                    <a:lnTo>
                      <a:pt x="6" y="206"/>
                    </a:lnTo>
                    <a:lnTo>
                      <a:pt x="6" y="202"/>
                    </a:lnTo>
                    <a:lnTo>
                      <a:pt x="8" y="198"/>
                    </a:lnTo>
                    <a:lnTo>
                      <a:pt x="8" y="196"/>
                    </a:lnTo>
                    <a:lnTo>
                      <a:pt x="6" y="192"/>
                    </a:lnTo>
                    <a:lnTo>
                      <a:pt x="2" y="182"/>
                    </a:lnTo>
                    <a:lnTo>
                      <a:pt x="0" y="176"/>
                    </a:lnTo>
                    <a:lnTo>
                      <a:pt x="0" y="172"/>
                    </a:lnTo>
                    <a:lnTo>
                      <a:pt x="0" y="170"/>
                    </a:lnTo>
                    <a:lnTo>
                      <a:pt x="0" y="168"/>
                    </a:lnTo>
                    <a:lnTo>
                      <a:pt x="2" y="166"/>
                    </a:lnTo>
                    <a:lnTo>
                      <a:pt x="2" y="16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9" name="Freeform 1492"/>
              <p:cNvSpPr>
                <a:spLocks/>
              </p:cNvSpPr>
              <p:nvPr/>
            </p:nvSpPr>
            <p:spPr bwMode="auto">
              <a:xfrm>
                <a:off x="2777" y="545"/>
                <a:ext cx="10" cy="10"/>
              </a:xfrm>
              <a:custGeom>
                <a:avLst/>
                <a:gdLst/>
                <a:ahLst/>
                <a:cxnLst>
                  <a:cxn ang="0">
                    <a:pos x="2" y="10"/>
                  </a:cxn>
                  <a:cxn ang="0">
                    <a:pos x="0" y="10"/>
                  </a:cxn>
                  <a:cxn ang="0">
                    <a:pos x="2" y="8"/>
                  </a:cxn>
                  <a:cxn ang="0">
                    <a:pos x="6" y="0"/>
                  </a:cxn>
                  <a:cxn ang="0">
                    <a:pos x="8" y="2"/>
                  </a:cxn>
                  <a:cxn ang="0">
                    <a:pos x="10" y="2"/>
                  </a:cxn>
                  <a:cxn ang="0">
                    <a:pos x="8" y="6"/>
                  </a:cxn>
                  <a:cxn ang="0">
                    <a:pos x="6" y="6"/>
                  </a:cxn>
                  <a:cxn ang="0">
                    <a:pos x="4" y="8"/>
                  </a:cxn>
                  <a:cxn ang="0">
                    <a:pos x="2" y="8"/>
                  </a:cxn>
                  <a:cxn ang="0">
                    <a:pos x="2" y="10"/>
                  </a:cxn>
                </a:cxnLst>
                <a:rect l="0" t="0" r="r" b="b"/>
                <a:pathLst>
                  <a:path w="10" h="10">
                    <a:moveTo>
                      <a:pt x="2" y="10"/>
                    </a:moveTo>
                    <a:lnTo>
                      <a:pt x="0" y="10"/>
                    </a:lnTo>
                    <a:lnTo>
                      <a:pt x="2" y="8"/>
                    </a:lnTo>
                    <a:lnTo>
                      <a:pt x="6" y="0"/>
                    </a:lnTo>
                    <a:lnTo>
                      <a:pt x="8" y="2"/>
                    </a:lnTo>
                    <a:lnTo>
                      <a:pt x="10" y="2"/>
                    </a:lnTo>
                    <a:lnTo>
                      <a:pt x="8" y="6"/>
                    </a:lnTo>
                    <a:lnTo>
                      <a:pt x="6" y="6"/>
                    </a:lnTo>
                    <a:lnTo>
                      <a:pt x="4" y="8"/>
                    </a:lnTo>
                    <a:lnTo>
                      <a:pt x="2"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0" name="Freeform 1493"/>
              <p:cNvSpPr>
                <a:spLocks/>
              </p:cNvSpPr>
              <p:nvPr/>
            </p:nvSpPr>
            <p:spPr bwMode="auto">
              <a:xfrm>
                <a:off x="2757" y="593"/>
                <a:ext cx="16" cy="14"/>
              </a:xfrm>
              <a:custGeom>
                <a:avLst/>
                <a:gdLst/>
                <a:ahLst/>
                <a:cxnLst>
                  <a:cxn ang="0">
                    <a:pos x="6" y="14"/>
                  </a:cxn>
                  <a:cxn ang="0">
                    <a:pos x="6" y="10"/>
                  </a:cxn>
                  <a:cxn ang="0">
                    <a:pos x="4" y="8"/>
                  </a:cxn>
                  <a:cxn ang="0">
                    <a:pos x="2" y="8"/>
                  </a:cxn>
                  <a:cxn ang="0">
                    <a:pos x="2" y="10"/>
                  </a:cxn>
                  <a:cxn ang="0">
                    <a:pos x="0" y="10"/>
                  </a:cxn>
                  <a:cxn ang="0">
                    <a:pos x="0" y="8"/>
                  </a:cxn>
                  <a:cxn ang="0">
                    <a:pos x="0" y="6"/>
                  </a:cxn>
                  <a:cxn ang="0">
                    <a:pos x="0" y="0"/>
                  </a:cxn>
                  <a:cxn ang="0">
                    <a:pos x="2" y="0"/>
                  </a:cxn>
                  <a:cxn ang="0">
                    <a:pos x="4" y="0"/>
                  </a:cxn>
                  <a:cxn ang="0">
                    <a:pos x="8" y="2"/>
                  </a:cxn>
                  <a:cxn ang="0">
                    <a:pos x="12" y="2"/>
                  </a:cxn>
                  <a:cxn ang="0">
                    <a:pos x="14" y="4"/>
                  </a:cxn>
                  <a:cxn ang="0">
                    <a:pos x="16" y="6"/>
                  </a:cxn>
                  <a:cxn ang="0">
                    <a:pos x="12" y="8"/>
                  </a:cxn>
                  <a:cxn ang="0">
                    <a:pos x="10" y="8"/>
                  </a:cxn>
                  <a:cxn ang="0">
                    <a:pos x="6" y="12"/>
                  </a:cxn>
                  <a:cxn ang="0">
                    <a:pos x="6" y="14"/>
                  </a:cxn>
                </a:cxnLst>
                <a:rect l="0" t="0" r="r" b="b"/>
                <a:pathLst>
                  <a:path w="16" h="14">
                    <a:moveTo>
                      <a:pt x="6" y="14"/>
                    </a:moveTo>
                    <a:lnTo>
                      <a:pt x="6" y="10"/>
                    </a:lnTo>
                    <a:lnTo>
                      <a:pt x="4" y="8"/>
                    </a:lnTo>
                    <a:lnTo>
                      <a:pt x="2" y="8"/>
                    </a:lnTo>
                    <a:lnTo>
                      <a:pt x="2" y="10"/>
                    </a:lnTo>
                    <a:lnTo>
                      <a:pt x="0" y="10"/>
                    </a:lnTo>
                    <a:lnTo>
                      <a:pt x="0" y="8"/>
                    </a:lnTo>
                    <a:lnTo>
                      <a:pt x="0" y="6"/>
                    </a:lnTo>
                    <a:lnTo>
                      <a:pt x="0" y="0"/>
                    </a:lnTo>
                    <a:lnTo>
                      <a:pt x="2" y="0"/>
                    </a:lnTo>
                    <a:lnTo>
                      <a:pt x="4" y="0"/>
                    </a:lnTo>
                    <a:lnTo>
                      <a:pt x="8" y="2"/>
                    </a:lnTo>
                    <a:lnTo>
                      <a:pt x="12" y="2"/>
                    </a:lnTo>
                    <a:lnTo>
                      <a:pt x="14" y="4"/>
                    </a:lnTo>
                    <a:lnTo>
                      <a:pt x="16" y="6"/>
                    </a:lnTo>
                    <a:lnTo>
                      <a:pt x="12" y="8"/>
                    </a:lnTo>
                    <a:lnTo>
                      <a:pt x="10" y="8"/>
                    </a:lnTo>
                    <a:lnTo>
                      <a:pt x="6" y="12"/>
                    </a:lnTo>
                    <a:lnTo>
                      <a:pt x="6"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01" name="Freeform 1494"/>
            <p:cNvSpPr>
              <a:spLocks/>
            </p:cNvSpPr>
            <p:nvPr/>
          </p:nvSpPr>
          <p:spPr bwMode="auto">
            <a:xfrm>
              <a:off x="3826463" y="1600719"/>
              <a:ext cx="745654" cy="517954"/>
            </a:xfrm>
            <a:custGeom>
              <a:avLst/>
              <a:gdLst/>
              <a:ahLst/>
              <a:cxnLst>
                <a:cxn ang="0">
                  <a:pos x="468" y="228"/>
                </a:cxn>
                <a:cxn ang="0">
                  <a:pos x="458" y="254"/>
                </a:cxn>
                <a:cxn ang="0">
                  <a:pos x="462" y="268"/>
                </a:cxn>
                <a:cxn ang="0">
                  <a:pos x="448" y="268"/>
                </a:cxn>
                <a:cxn ang="0">
                  <a:pos x="432" y="278"/>
                </a:cxn>
                <a:cxn ang="0">
                  <a:pos x="402" y="286"/>
                </a:cxn>
                <a:cxn ang="0">
                  <a:pos x="390" y="300"/>
                </a:cxn>
                <a:cxn ang="0">
                  <a:pos x="370" y="312"/>
                </a:cxn>
                <a:cxn ang="0">
                  <a:pos x="352" y="314"/>
                </a:cxn>
                <a:cxn ang="0">
                  <a:pos x="338" y="314"/>
                </a:cxn>
                <a:cxn ang="0">
                  <a:pos x="318" y="324"/>
                </a:cxn>
                <a:cxn ang="0">
                  <a:pos x="288" y="322"/>
                </a:cxn>
                <a:cxn ang="0">
                  <a:pos x="272" y="330"/>
                </a:cxn>
                <a:cxn ang="0">
                  <a:pos x="234" y="350"/>
                </a:cxn>
                <a:cxn ang="0">
                  <a:pos x="222" y="358"/>
                </a:cxn>
                <a:cxn ang="0">
                  <a:pos x="160" y="408"/>
                </a:cxn>
                <a:cxn ang="0">
                  <a:pos x="132" y="406"/>
                </a:cxn>
                <a:cxn ang="0">
                  <a:pos x="4" y="386"/>
                </a:cxn>
                <a:cxn ang="0">
                  <a:pos x="16" y="374"/>
                </a:cxn>
                <a:cxn ang="0">
                  <a:pos x="62" y="370"/>
                </a:cxn>
                <a:cxn ang="0">
                  <a:pos x="96" y="352"/>
                </a:cxn>
                <a:cxn ang="0">
                  <a:pos x="130" y="336"/>
                </a:cxn>
                <a:cxn ang="0">
                  <a:pos x="142" y="326"/>
                </a:cxn>
                <a:cxn ang="0">
                  <a:pos x="160" y="308"/>
                </a:cxn>
                <a:cxn ang="0">
                  <a:pos x="182" y="288"/>
                </a:cxn>
                <a:cxn ang="0">
                  <a:pos x="184" y="246"/>
                </a:cxn>
                <a:cxn ang="0">
                  <a:pos x="190" y="222"/>
                </a:cxn>
                <a:cxn ang="0">
                  <a:pos x="202" y="200"/>
                </a:cxn>
                <a:cxn ang="0">
                  <a:pos x="220" y="180"/>
                </a:cxn>
                <a:cxn ang="0">
                  <a:pos x="236" y="150"/>
                </a:cxn>
                <a:cxn ang="0">
                  <a:pos x="258" y="134"/>
                </a:cxn>
                <a:cxn ang="0">
                  <a:pos x="276" y="122"/>
                </a:cxn>
                <a:cxn ang="0">
                  <a:pos x="302" y="112"/>
                </a:cxn>
                <a:cxn ang="0">
                  <a:pos x="340" y="98"/>
                </a:cxn>
                <a:cxn ang="0">
                  <a:pos x="364" y="78"/>
                </a:cxn>
                <a:cxn ang="0">
                  <a:pos x="384" y="52"/>
                </a:cxn>
                <a:cxn ang="0">
                  <a:pos x="406" y="14"/>
                </a:cxn>
                <a:cxn ang="0">
                  <a:pos x="428" y="4"/>
                </a:cxn>
                <a:cxn ang="0">
                  <a:pos x="436" y="6"/>
                </a:cxn>
                <a:cxn ang="0">
                  <a:pos x="454" y="38"/>
                </a:cxn>
                <a:cxn ang="0">
                  <a:pos x="474" y="46"/>
                </a:cxn>
                <a:cxn ang="0">
                  <a:pos x="492" y="44"/>
                </a:cxn>
                <a:cxn ang="0">
                  <a:pos x="514" y="48"/>
                </a:cxn>
                <a:cxn ang="0">
                  <a:pos x="536" y="42"/>
                </a:cxn>
                <a:cxn ang="0">
                  <a:pos x="538" y="54"/>
                </a:cxn>
                <a:cxn ang="0">
                  <a:pos x="542" y="54"/>
                </a:cxn>
                <a:cxn ang="0">
                  <a:pos x="564" y="58"/>
                </a:cxn>
                <a:cxn ang="0">
                  <a:pos x="582" y="78"/>
                </a:cxn>
                <a:cxn ang="0">
                  <a:pos x="576" y="98"/>
                </a:cxn>
                <a:cxn ang="0">
                  <a:pos x="576" y="136"/>
                </a:cxn>
                <a:cxn ang="0">
                  <a:pos x="574" y="158"/>
                </a:cxn>
                <a:cxn ang="0">
                  <a:pos x="576" y="174"/>
                </a:cxn>
                <a:cxn ang="0">
                  <a:pos x="588" y="202"/>
                </a:cxn>
                <a:cxn ang="0">
                  <a:pos x="584" y="214"/>
                </a:cxn>
                <a:cxn ang="0">
                  <a:pos x="564" y="216"/>
                </a:cxn>
                <a:cxn ang="0">
                  <a:pos x="534" y="210"/>
                </a:cxn>
                <a:cxn ang="0">
                  <a:pos x="506" y="218"/>
                </a:cxn>
                <a:cxn ang="0">
                  <a:pos x="490" y="228"/>
                </a:cxn>
              </a:cxnLst>
              <a:rect l="0" t="0" r="r" b="b"/>
              <a:pathLst>
                <a:path w="596" h="414">
                  <a:moveTo>
                    <a:pt x="484" y="228"/>
                  </a:moveTo>
                  <a:lnTo>
                    <a:pt x="482" y="230"/>
                  </a:lnTo>
                  <a:lnTo>
                    <a:pt x="478" y="230"/>
                  </a:lnTo>
                  <a:lnTo>
                    <a:pt x="476" y="230"/>
                  </a:lnTo>
                  <a:lnTo>
                    <a:pt x="472" y="228"/>
                  </a:lnTo>
                  <a:lnTo>
                    <a:pt x="470" y="228"/>
                  </a:lnTo>
                  <a:lnTo>
                    <a:pt x="468" y="228"/>
                  </a:lnTo>
                  <a:lnTo>
                    <a:pt x="466" y="228"/>
                  </a:lnTo>
                  <a:lnTo>
                    <a:pt x="464" y="228"/>
                  </a:lnTo>
                  <a:lnTo>
                    <a:pt x="462" y="230"/>
                  </a:lnTo>
                  <a:lnTo>
                    <a:pt x="460" y="238"/>
                  </a:lnTo>
                  <a:lnTo>
                    <a:pt x="462" y="240"/>
                  </a:lnTo>
                  <a:lnTo>
                    <a:pt x="462" y="246"/>
                  </a:lnTo>
                  <a:lnTo>
                    <a:pt x="458" y="254"/>
                  </a:lnTo>
                  <a:lnTo>
                    <a:pt x="458" y="256"/>
                  </a:lnTo>
                  <a:lnTo>
                    <a:pt x="460" y="256"/>
                  </a:lnTo>
                  <a:lnTo>
                    <a:pt x="464" y="256"/>
                  </a:lnTo>
                  <a:lnTo>
                    <a:pt x="468" y="260"/>
                  </a:lnTo>
                  <a:lnTo>
                    <a:pt x="468" y="264"/>
                  </a:lnTo>
                  <a:lnTo>
                    <a:pt x="466" y="266"/>
                  </a:lnTo>
                  <a:lnTo>
                    <a:pt x="462" y="268"/>
                  </a:lnTo>
                  <a:lnTo>
                    <a:pt x="460" y="266"/>
                  </a:lnTo>
                  <a:lnTo>
                    <a:pt x="458" y="266"/>
                  </a:lnTo>
                  <a:lnTo>
                    <a:pt x="456" y="266"/>
                  </a:lnTo>
                  <a:lnTo>
                    <a:pt x="454" y="266"/>
                  </a:lnTo>
                  <a:lnTo>
                    <a:pt x="452" y="266"/>
                  </a:lnTo>
                  <a:lnTo>
                    <a:pt x="450" y="268"/>
                  </a:lnTo>
                  <a:lnTo>
                    <a:pt x="448" y="268"/>
                  </a:lnTo>
                  <a:lnTo>
                    <a:pt x="446" y="268"/>
                  </a:lnTo>
                  <a:lnTo>
                    <a:pt x="442" y="272"/>
                  </a:lnTo>
                  <a:lnTo>
                    <a:pt x="442" y="274"/>
                  </a:lnTo>
                  <a:lnTo>
                    <a:pt x="440" y="274"/>
                  </a:lnTo>
                  <a:lnTo>
                    <a:pt x="438" y="276"/>
                  </a:lnTo>
                  <a:lnTo>
                    <a:pt x="436" y="276"/>
                  </a:lnTo>
                  <a:lnTo>
                    <a:pt x="432" y="278"/>
                  </a:lnTo>
                  <a:lnTo>
                    <a:pt x="430" y="278"/>
                  </a:lnTo>
                  <a:lnTo>
                    <a:pt x="428" y="280"/>
                  </a:lnTo>
                  <a:lnTo>
                    <a:pt x="426" y="280"/>
                  </a:lnTo>
                  <a:lnTo>
                    <a:pt x="424" y="280"/>
                  </a:lnTo>
                  <a:lnTo>
                    <a:pt x="418" y="280"/>
                  </a:lnTo>
                  <a:lnTo>
                    <a:pt x="404" y="284"/>
                  </a:lnTo>
                  <a:lnTo>
                    <a:pt x="402" y="286"/>
                  </a:lnTo>
                  <a:lnTo>
                    <a:pt x="400" y="286"/>
                  </a:lnTo>
                  <a:lnTo>
                    <a:pt x="400" y="288"/>
                  </a:lnTo>
                  <a:lnTo>
                    <a:pt x="398" y="290"/>
                  </a:lnTo>
                  <a:lnTo>
                    <a:pt x="398" y="292"/>
                  </a:lnTo>
                  <a:lnTo>
                    <a:pt x="396" y="294"/>
                  </a:lnTo>
                  <a:lnTo>
                    <a:pt x="394" y="296"/>
                  </a:lnTo>
                  <a:lnTo>
                    <a:pt x="390" y="300"/>
                  </a:lnTo>
                  <a:lnTo>
                    <a:pt x="390" y="302"/>
                  </a:lnTo>
                  <a:lnTo>
                    <a:pt x="386" y="304"/>
                  </a:lnTo>
                  <a:lnTo>
                    <a:pt x="384" y="306"/>
                  </a:lnTo>
                  <a:lnTo>
                    <a:pt x="382" y="308"/>
                  </a:lnTo>
                  <a:lnTo>
                    <a:pt x="380" y="310"/>
                  </a:lnTo>
                  <a:lnTo>
                    <a:pt x="378" y="310"/>
                  </a:lnTo>
                  <a:lnTo>
                    <a:pt x="370" y="312"/>
                  </a:lnTo>
                  <a:lnTo>
                    <a:pt x="368" y="314"/>
                  </a:lnTo>
                  <a:lnTo>
                    <a:pt x="366" y="312"/>
                  </a:lnTo>
                  <a:lnTo>
                    <a:pt x="364" y="312"/>
                  </a:lnTo>
                  <a:lnTo>
                    <a:pt x="362" y="312"/>
                  </a:lnTo>
                  <a:lnTo>
                    <a:pt x="358" y="312"/>
                  </a:lnTo>
                  <a:lnTo>
                    <a:pt x="354" y="314"/>
                  </a:lnTo>
                  <a:lnTo>
                    <a:pt x="352" y="314"/>
                  </a:lnTo>
                  <a:lnTo>
                    <a:pt x="348" y="314"/>
                  </a:lnTo>
                  <a:lnTo>
                    <a:pt x="346" y="314"/>
                  </a:lnTo>
                  <a:lnTo>
                    <a:pt x="346" y="312"/>
                  </a:lnTo>
                  <a:lnTo>
                    <a:pt x="344" y="312"/>
                  </a:lnTo>
                  <a:lnTo>
                    <a:pt x="342" y="312"/>
                  </a:lnTo>
                  <a:lnTo>
                    <a:pt x="340" y="314"/>
                  </a:lnTo>
                  <a:lnTo>
                    <a:pt x="338" y="314"/>
                  </a:lnTo>
                  <a:lnTo>
                    <a:pt x="330" y="314"/>
                  </a:lnTo>
                  <a:lnTo>
                    <a:pt x="326" y="316"/>
                  </a:lnTo>
                  <a:lnTo>
                    <a:pt x="324" y="320"/>
                  </a:lnTo>
                  <a:lnTo>
                    <a:pt x="324" y="322"/>
                  </a:lnTo>
                  <a:lnTo>
                    <a:pt x="322" y="324"/>
                  </a:lnTo>
                  <a:lnTo>
                    <a:pt x="320" y="326"/>
                  </a:lnTo>
                  <a:lnTo>
                    <a:pt x="318" y="324"/>
                  </a:lnTo>
                  <a:lnTo>
                    <a:pt x="314" y="324"/>
                  </a:lnTo>
                  <a:lnTo>
                    <a:pt x="312" y="324"/>
                  </a:lnTo>
                  <a:lnTo>
                    <a:pt x="312" y="322"/>
                  </a:lnTo>
                  <a:lnTo>
                    <a:pt x="308" y="322"/>
                  </a:lnTo>
                  <a:lnTo>
                    <a:pt x="296" y="320"/>
                  </a:lnTo>
                  <a:lnTo>
                    <a:pt x="292" y="322"/>
                  </a:lnTo>
                  <a:lnTo>
                    <a:pt x="288" y="322"/>
                  </a:lnTo>
                  <a:lnTo>
                    <a:pt x="286" y="324"/>
                  </a:lnTo>
                  <a:lnTo>
                    <a:pt x="284" y="326"/>
                  </a:lnTo>
                  <a:lnTo>
                    <a:pt x="280" y="330"/>
                  </a:lnTo>
                  <a:lnTo>
                    <a:pt x="278" y="330"/>
                  </a:lnTo>
                  <a:lnTo>
                    <a:pt x="276" y="330"/>
                  </a:lnTo>
                  <a:lnTo>
                    <a:pt x="274" y="330"/>
                  </a:lnTo>
                  <a:lnTo>
                    <a:pt x="272" y="330"/>
                  </a:lnTo>
                  <a:lnTo>
                    <a:pt x="270" y="330"/>
                  </a:lnTo>
                  <a:lnTo>
                    <a:pt x="268" y="332"/>
                  </a:lnTo>
                  <a:lnTo>
                    <a:pt x="262" y="336"/>
                  </a:lnTo>
                  <a:lnTo>
                    <a:pt x="252" y="342"/>
                  </a:lnTo>
                  <a:lnTo>
                    <a:pt x="244" y="344"/>
                  </a:lnTo>
                  <a:lnTo>
                    <a:pt x="242" y="344"/>
                  </a:lnTo>
                  <a:lnTo>
                    <a:pt x="234" y="350"/>
                  </a:lnTo>
                  <a:lnTo>
                    <a:pt x="232" y="350"/>
                  </a:lnTo>
                  <a:lnTo>
                    <a:pt x="230" y="352"/>
                  </a:lnTo>
                  <a:lnTo>
                    <a:pt x="230" y="354"/>
                  </a:lnTo>
                  <a:lnTo>
                    <a:pt x="226" y="356"/>
                  </a:lnTo>
                  <a:lnTo>
                    <a:pt x="224" y="356"/>
                  </a:lnTo>
                  <a:lnTo>
                    <a:pt x="222" y="356"/>
                  </a:lnTo>
                  <a:lnTo>
                    <a:pt x="222" y="358"/>
                  </a:lnTo>
                  <a:lnTo>
                    <a:pt x="218" y="358"/>
                  </a:lnTo>
                  <a:lnTo>
                    <a:pt x="216" y="360"/>
                  </a:lnTo>
                  <a:lnTo>
                    <a:pt x="210" y="400"/>
                  </a:lnTo>
                  <a:lnTo>
                    <a:pt x="206" y="414"/>
                  </a:lnTo>
                  <a:lnTo>
                    <a:pt x="178" y="410"/>
                  </a:lnTo>
                  <a:lnTo>
                    <a:pt x="176" y="410"/>
                  </a:lnTo>
                  <a:lnTo>
                    <a:pt x="160" y="408"/>
                  </a:lnTo>
                  <a:lnTo>
                    <a:pt x="154" y="408"/>
                  </a:lnTo>
                  <a:lnTo>
                    <a:pt x="150" y="408"/>
                  </a:lnTo>
                  <a:lnTo>
                    <a:pt x="146" y="408"/>
                  </a:lnTo>
                  <a:lnTo>
                    <a:pt x="144" y="408"/>
                  </a:lnTo>
                  <a:lnTo>
                    <a:pt x="142" y="408"/>
                  </a:lnTo>
                  <a:lnTo>
                    <a:pt x="140" y="406"/>
                  </a:lnTo>
                  <a:lnTo>
                    <a:pt x="132" y="406"/>
                  </a:lnTo>
                  <a:lnTo>
                    <a:pt x="74" y="398"/>
                  </a:lnTo>
                  <a:lnTo>
                    <a:pt x="16" y="390"/>
                  </a:lnTo>
                  <a:lnTo>
                    <a:pt x="6" y="388"/>
                  </a:lnTo>
                  <a:lnTo>
                    <a:pt x="0" y="388"/>
                  </a:lnTo>
                  <a:lnTo>
                    <a:pt x="0" y="386"/>
                  </a:lnTo>
                  <a:lnTo>
                    <a:pt x="2" y="386"/>
                  </a:lnTo>
                  <a:lnTo>
                    <a:pt x="4" y="386"/>
                  </a:lnTo>
                  <a:lnTo>
                    <a:pt x="6" y="386"/>
                  </a:lnTo>
                  <a:lnTo>
                    <a:pt x="8" y="384"/>
                  </a:lnTo>
                  <a:lnTo>
                    <a:pt x="10" y="380"/>
                  </a:lnTo>
                  <a:lnTo>
                    <a:pt x="10" y="378"/>
                  </a:lnTo>
                  <a:lnTo>
                    <a:pt x="12" y="378"/>
                  </a:lnTo>
                  <a:lnTo>
                    <a:pt x="12" y="376"/>
                  </a:lnTo>
                  <a:lnTo>
                    <a:pt x="16" y="374"/>
                  </a:lnTo>
                  <a:lnTo>
                    <a:pt x="18" y="374"/>
                  </a:lnTo>
                  <a:lnTo>
                    <a:pt x="22" y="374"/>
                  </a:lnTo>
                  <a:lnTo>
                    <a:pt x="26" y="374"/>
                  </a:lnTo>
                  <a:lnTo>
                    <a:pt x="30" y="374"/>
                  </a:lnTo>
                  <a:lnTo>
                    <a:pt x="40" y="374"/>
                  </a:lnTo>
                  <a:lnTo>
                    <a:pt x="56" y="374"/>
                  </a:lnTo>
                  <a:lnTo>
                    <a:pt x="62" y="370"/>
                  </a:lnTo>
                  <a:lnTo>
                    <a:pt x="72" y="366"/>
                  </a:lnTo>
                  <a:lnTo>
                    <a:pt x="76" y="366"/>
                  </a:lnTo>
                  <a:lnTo>
                    <a:pt x="82" y="364"/>
                  </a:lnTo>
                  <a:lnTo>
                    <a:pt x="84" y="364"/>
                  </a:lnTo>
                  <a:lnTo>
                    <a:pt x="86" y="364"/>
                  </a:lnTo>
                  <a:lnTo>
                    <a:pt x="96" y="354"/>
                  </a:lnTo>
                  <a:lnTo>
                    <a:pt x="96" y="352"/>
                  </a:lnTo>
                  <a:lnTo>
                    <a:pt x="102" y="348"/>
                  </a:lnTo>
                  <a:lnTo>
                    <a:pt x="106" y="346"/>
                  </a:lnTo>
                  <a:lnTo>
                    <a:pt x="106" y="344"/>
                  </a:lnTo>
                  <a:lnTo>
                    <a:pt x="108" y="344"/>
                  </a:lnTo>
                  <a:lnTo>
                    <a:pt x="116" y="342"/>
                  </a:lnTo>
                  <a:lnTo>
                    <a:pt x="126" y="336"/>
                  </a:lnTo>
                  <a:lnTo>
                    <a:pt x="130" y="336"/>
                  </a:lnTo>
                  <a:lnTo>
                    <a:pt x="130" y="334"/>
                  </a:lnTo>
                  <a:lnTo>
                    <a:pt x="134" y="332"/>
                  </a:lnTo>
                  <a:lnTo>
                    <a:pt x="136" y="332"/>
                  </a:lnTo>
                  <a:lnTo>
                    <a:pt x="138" y="332"/>
                  </a:lnTo>
                  <a:lnTo>
                    <a:pt x="140" y="330"/>
                  </a:lnTo>
                  <a:lnTo>
                    <a:pt x="140" y="328"/>
                  </a:lnTo>
                  <a:lnTo>
                    <a:pt x="142" y="326"/>
                  </a:lnTo>
                  <a:lnTo>
                    <a:pt x="146" y="322"/>
                  </a:lnTo>
                  <a:lnTo>
                    <a:pt x="148" y="322"/>
                  </a:lnTo>
                  <a:lnTo>
                    <a:pt x="150" y="320"/>
                  </a:lnTo>
                  <a:lnTo>
                    <a:pt x="152" y="318"/>
                  </a:lnTo>
                  <a:lnTo>
                    <a:pt x="158" y="312"/>
                  </a:lnTo>
                  <a:lnTo>
                    <a:pt x="160" y="310"/>
                  </a:lnTo>
                  <a:lnTo>
                    <a:pt x="160" y="308"/>
                  </a:lnTo>
                  <a:lnTo>
                    <a:pt x="162" y="306"/>
                  </a:lnTo>
                  <a:lnTo>
                    <a:pt x="172" y="296"/>
                  </a:lnTo>
                  <a:lnTo>
                    <a:pt x="176" y="294"/>
                  </a:lnTo>
                  <a:lnTo>
                    <a:pt x="176" y="292"/>
                  </a:lnTo>
                  <a:lnTo>
                    <a:pt x="178" y="292"/>
                  </a:lnTo>
                  <a:lnTo>
                    <a:pt x="180" y="290"/>
                  </a:lnTo>
                  <a:lnTo>
                    <a:pt x="182" y="288"/>
                  </a:lnTo>
                  <a:lnTo>
                    <a:pt x="186" y="280"/>
                  </a:lnTo>
                  <a:lnTo>
                    <a:pt x="188" y="278"/>
                  </a:lnTo>
                  <a:lnTo>
                    <a:pt x="192" y="266"/>
                  </a:lnTo>
                  <a:lnTo>
                    <a:pt x="188" y="256"/>
                  </a:lnTo>
                  <a:lnTo>
                    <a:pt x="186" y="252"/>
                  </a:lnTo>
                  <a:lnTo>
                    <a:pt x="184" y="252"/>
                  </a:lnTo>
                  <a:lnTo>
                    <a:pt x="184" y="246"/>
                  </a:lnTo>
                  <a:lnTo>
                    <a:pt x="186" y="244"/>
                  </a:lnTo>
                  <a:lnTo>
                    <a:pt x="186" y="242"/>
                  </a:lnTo>
                  <a:lnTo>
                    <a:pt x="188" y="238"/>
                  </a:lnTo>
                  <a:lnTo>
                    <a:pt x="188" y="234"/>
                  </a:lnTo>
                  <a:lnTo>
                    <a:pt x="188" y="226"/>
                  </a:lnTo>
                  <a:lnTo>
                    <a:pt x="188" y="224"/>
                  </a:lnTo>
                  <a:lnTo>
                    <a:pt x="190" y="222"/>
                  </a:lnTo>
                  <a:lnTo>
                    <a:pt x="192" y="218"/>
                  </a:lnTo>
                  <a:lnTo>
                    <a:pt x="194" y="214"/>
                  </a:lnTo>
                  <a:lnTo>
                    <a:pt x="194" y="212"/>
                  </a:lnTo>
                  <a:lnTo>
                    <a:pt x="194" y="208"/>
                  </a:lnTo>
                  <a:lnTo>
                    <a:pt x="196" y="206"/>
                  </a:lnTo>
                  <a:lnTo>
                    <a:pt x="198" y="202"/>
                  </a:lnTo>
                  <a:lnTo>
                    <a:pt x="202" y="200"/>
                  </a:lnTo>
                  <a:lnTo>
                    <a:pt x="202" y="198"/>
                  </a:lnTo>
                  <a:lnTo>
                    <a:pt x="202" y="196"/>
                  </a:lnTo>
                  <a:lnTo>
                    <a:pt x="204" y="194"/>
                  </a:lnTo>
                  <a:lnTo>
                    <a:pt x="206" y="192"/>
                  </a:lnTo>
                  <a:lnTo>
                    <a:pt x="214" y="184"/>
                  </a:lnTo>
                  <a:lnTo>
                    <a:pt x="220" y="182"/>
                  </a:lnTo>
                  <a:lnTo>
                    <a:pt x="220" y="180"/>
                  </a:lnTo>
                  <a:lnTo>
                    <a:pt x="226" y="174"/>
                  </a:lnTo>
                  <a:lnTo>
                    <a:pt x="226" y="170"/>
                  </a:lnTo>
                  <a:lnTo>
                    <a:pt x="228" y="166"/>
                  </a:lnTo>
                  <a:lnTo>
                    <a:pt x="230" y="156"/>
                  </a:lnTo>
                  <a:lnTo>
                    <a:pt x="230" y="154"/>
                  </a:lnTo>
                  <a:lnTo>
                    <a:pt x="234" y="152"/>
                  </a:lnTo>
                  <a:lnTo>
                    <a:pt x="236" y="150"/>
                  </a:lnTo>
                  <a:lnTo>
                    <a:pt x="236" y="148"/>
                  </a:lnTo>
                  <a:lnTo>
                    <a:pt x="240" y="148"/>
                  </a:lnTo>
                  <a:lnTo>
                    <a:pt x="242" y="146"/>
                  </a:lnTo>
                  <a:lnTo>
                    <a:pt x="244" y="144"/>
                  </a:lnTo>
                  <a:lnTo>
                    <a:pt x="248" y="142"/>
                  </a:lnTo>
                  <a:lnTo>
                    <a:pt x="252" y="136"/>
                  </a:lnTo>
                  <a:lnTo>
                    <a:pt x="258" y="134"/>
                  </a:lnTo>
                  <a:lnTo>
                    <a:pt x="264" y="128"/>
                  </a:lnTo>
                  <a:lnTo>
                    <a:pt x="266" y="126"/>
                  </a:lnTo>
                  <a:lnTo>
                    <a:pt x="268" y="124"/>
                  </a:lnTo>
                  <a:lnTo>
                    <a:pt x="270" y="122"/>
                  </a:lnTo>
                  <a:lnTo>
                    <a:pt x="272" y="122"/>
                  </a:lnTo>
                  <a:lnTo>
                    <a:pt x="274" y="122"/>
                  </a:lnTo>
                  <a:lnTo>
                    <a:pt x="276" y="122"/>
                  </a:lnTo>
                  <a:lnTo>
                    <a:pt x="280" y="118"/>
                  </a:lnTo>
                  <a:lnTo>
                    <a:pt x="282" y="116"/>
                  </a:lnTo>
                  <a:lnTo>
                    <a:pt x="284" y="116"/>
                  </a:lnTo>
                  <a:lnTo>
                    <a:pt x="288" y="114"/>
                  </a:lnTo>
                  <a:lnTo>
                    <a:pt x="292" y="114"/>
                  </a:lnTo>
                  <a:lnTo>
                    <a:pt x="298" y="112"/>
                  </a:lnTo>
                  <a:lnTo>
                    <a:pt x="302" y="112"/>
                  </a:lnTo>
                  <a:lnTo>
                    <a:pt x="304" y="110"/>
                  </a:lnTo>
                  <a:lnTo>
                    <a:pt x="310" y="110"/>
                  </a:lnTo>
                  <a:lnTo>
                    <a:pt x="314" y="108"/>
                  </a:lnTo>
                  <a:lnTo>
                    <a:pt x="320" y="106"/>
                  </a:lnTo>
                  <a:lnTo>
                    <a:pt x="326" y="104"/>
                  </a:lnTo>
                  <a:lnTo>
                    <a:pt x="334" y="100"/>
                  </a:lnTo>
                  <a:lnTo>
                    <a:pt x="340" y="98"/>
                  </a:lnTo>
                  <a:lnTo>
                    <a:pt x="342" y="98"/>
                  </a:lnTo>
                  <a:lnTo>
                    <a:pt x="346" y="96"/>
                  </a:lnTo>
                  <a:lnTo>
                    <a:pt x="348" y="94"/>
                  </a:lnTo>
                  <a:lnTo>
                    <a:pt x="352" y="92"/>
                  </a:lnTo>
                  <a:lnTo>
                    <a:pt x="356" y="90"/>
                  </a:lnTo>
                  <a:lnTo>
                    <a:pt x="360" y="82"/>
                  </a:lnTo>
                  <a:lnTo>
                    <a:pt x="364" y="78"/>
                  </a:lnTo>
                  <a:lnTo>
                    <a:pt x="364" y="76"/>
                  </a:lnTo>
                  <a:lnTo>
                    <a:pt x="368" y="74"/>
                  </a:lnTo>
                  <a:lnTo>
                    <a:pt x="368" y="72"/>
                  </a:lnTo>
                  <a:lnTo>
                    <a:pt x="374" y="66"/>
                  </a:lnTo>
                  <a:lnTo>
                    <a:pt x="380" y="58"/>
                  </a:lnTo>
                  <a:lnTo>
                    <a:pt x="382" y="56"/>
                  </a:lnTo>
                  <a:lnTo>
                    <a:pt x="384" y="52"/>
                  </a:lnTo>
                  <a:lnTo>
                    <a:pt x="386" y="48"/>
                  </a:lnTo>
                  <a:lnTo>
                    <a:pt x="390" y="42"/>
                  </a:lnTo>
                  <a:lnTo>
                    <a:pt x="392" y="38"/>
                  </a:lnTo>
                  <a:lnTo>
                    <a:pt x="394" y="34"/>
                  </a:lnTo>
                  <a:lnTo>
                    <a:pt x="400" y="26"/>
                  </a:lnTo>
                  <a:lnTo>
                    <a:pt x="402" y="20"/>
                  </a:lnTo>
                  <a:lnTo>
                    <a:pt x="406" y="14"/>
                  </a:lnTo>
                  <a:lnTo>
                    <a:pt x="408" y="10"/>
                  </a:lnTo>
                  <a:lnTo>
                    <a:pt x="410" y="6"/>
                  </a:lnTo>
                  <a:lnTo>
                    <a:pt x="412" y="4"/>
                  </a:lnTo>
                  <a:lnTo>
                    <a:pt x="414" y="4"/>
                  </a:lnTo>
                  <a:lnTo>
                    <a:pt x="420" y="4"/>
                  </a:lnTo>
                  <a:lnTo>
                    <a:pt x="426" y="4"/>
                  </a:lnTo>
                  <a:lnTo>
                    <a:pt x="428" y="4"/>
                  </a:lnTo>
                  <a:lnTo>
                    <a:pt x="430" y="2"/>
                  </a:lnTo>
                  <a:lnTo>
                    <a:pt x="432" y="0"/>
                  </a:lnTo>
                  <a:lnTo>
                    <a:pt x="434" y="0"/>
                  </a:lnTo>
                  <a:lnTo>
                    <a:pt x="436" y="0"/>
                  </a:lnTo>
                  <a:lnTo>
                    <a:pt x="436" y="2"/>
                  </a:lnTo>
                  <a:lnTo>
                    <a:pt x="436" y="4"/>
                  </a:lnTo>
                  <a:lnTo>
                    <a:pt x="436" y="6"/>
                  </a:lnTo>
                  <a:lnTo>
                    <a:pt x="436" y="10"/>
                  </a:lnTo>
                  <a:lnTo>
                    <a:pt x="436" y="12"/>
                  </a:lnTo>
                  <a:lnTo>
                    <a:pt x="438" y="18"/>
                  </a:lnTo>
                  <a:lnTo>
                    <a:pt x="440" y="20"/>
                  </a:lnTo>
                  <a:lnTo>
                    <a:pt x="448" y="30"/>
                  </a:lnTo>
                  <a:lnTo>
                    <a:pt x="450" y="34"/>
                  </a:lnTo>
                  <a:lnTo>
                    <a:pt x="454" y="38"/>
                  </a:lnTo>
                  <a:lnTo>
                    <a:pt x="456" y="40"/>
                  </a:lnTo>
                  <a:lnTo>
                    <a:pt x="458" y="40"/>
                  </a:lnTo>
                  <a:lnTo>
                    <a:pt x="462" y="42"/>
                  </a:lnTo>
                  <a:lnTo>
                    <a:pt x="466" y="42"/>
                  </a:lnTo>
                  <a:lnTo>
                    <a:pt x="470" y="46"/>
                  </a:lnTo>
                  <a:lnTo>
                    <a:pt x="472" y="46"/>
                  </a:lnTo>
                  <a:lnTo>
                    <a:pt x="474" y="46"/>
                  </a:lnTo>
                  <a:lnTo>
                    <a:pt x="476" y="44"/>
                  </a:lnTo>
                  <a:lnTo>
                    <a:pt x="478" y="44"/>
                  </a:lnTo>
                  <a:lnTo>
                    <a:pt x="484" y="44"/>
                  </a:lnTo>
                  <a:lnTo>
                    <a:pt x="486" y="42"/>
                  </a:lnTo>
                  <a:lnTo>
                    <a:pt x="488" y="42"/>
                  </a:lnTo>
                  <a:lnTo>
                    <a:pt x="492" y="42"/>
                  </a:lnTo>
                  <a:lnTo>
                    <a:pt x="492" y="44"/>
                  </a:lnTo>
                  <a:lnTo>
                    <a:pt x="494" y="46"/>
                  </a:lnTo>
                  <a:lnTo>
                    <a:pt x="496" y="46"/>
                  </a:lnTo>
                  <a:lnTo>
                    <a:pt x="498" y="46"/>
                  </a:lnTo>
                  <a:lnTo>
                    <a:pt x="498" y="44"/>
                  </a:lnTo>
                  <a:lnTo>
                    <a:pt x="504" y="42"/>
                  </a:lnTo>
                  <a:lnTo>
                    <a:pt x="506" y="46"/>
                  </a:lnTo>
                  <a:lnTo>
                    <a:pt x="514" y="48"/>
                  </a:lnTo>
                  <a:lnTo>
                    <a:pt x="518" y="48"/>
                  </a:lnTo>
                  <a:lnTo>
                    <a:pt x="524" y="46"/>
                  </a:lnTo>
                  <a:lnTo>
                    <a:pt x="530" y="44"/>
                  </a:lnTo>
                  <a:lnTo>
                    <a:pt x="532" y="42"/>
                  </a:lnTo>
                  <a:lnTo>
                    <a:pt x="534" y="38"/>
                  </a:lnTo>
                  <a:lnTo>
                    <a:pt x="534" y="40"/>
                  </a:lnTo>
                  <a:lnTo>
                    <a:pt x="536" y="42"/>
                  </a:lnTo>
                  <a:lnTo>
                    <a:pt x="534" y="44"/>
                  </a:lnTo>
                  <a:lnTo>
                    <a:pt x="534" y="46"/>
                  </a:lnTo>
                  <a:lnTo>
                    <a:pt x="536" y="46"/>
                  </a:lnTo>
                  <a:lnTo>
                    <a:pt x="536" y="48"/>
                  </a:lnTo>
                  <a:lnTo>
                    <a:pt x="536" y="50"/>
                  </a:lnTo>
                  <a:lnTo>
                    <a:pt x="536" y="52"/>
                  </a:lnTo>
                  <a:lnTo>
                    <a:pt x="538" y="54"/>
                  </a:lnTo>
                  <a:lnTo>
                    <a:pt x="540" y="54"/>
                  </a:lnTo>
                  <a:lnTo>
                    <a:pt x="540" y="52"/>
                  </a:lnTo>
                  <a:lnTo>
                    <a:pt x="538" y="50"/>
                  </a:lnTo>
                  <a:lnTo>
                    <a:pt x="538" y="48"/>
                  </a:lnTo>
                  <a:lnTo>
                    <a:pt x="540" y="50"/>
                  </a:lnTo>
                  <a:lnTo>
                    <a:pt x="542" y="52"/>
                  </a:lnTo>
                  <a:lnTo>
                    <a:pt x="542" y="54"/>
                  </a:lnTo>
                  <a:lnTo>
                    <a:pt x="544" y="56"/>
                  </a:lnTo>
                  <a:lnTo>
                    <a:pt x="546" y="56"/>
                  </a:lnTo>
                  <a:lnTo>
                    <a:pt x="550" y="58"/>
                  </a:lnTo>
                  <a:lnTo>
                    <a:pt x="552" y="58"/>
                  </a:lnTo>
                  <a:lnTo>
                    <a:pt x="552" y="56"/>
                  </a:lnTo>
                  <a:lnTo>
                    <a:pt x="560" y="56"/>
                  </a:lnTo>
                  <a:lnTo>
                    <a:pt x="564" y="58"/>
                  </a:lnTo>
                  <a:lnTo>
                    <a:pt x="564" y="60"/>
                  </a:lnTo>
                  <a:lnTo>
                    <a:pt x="564" y="62"/>
                  </a:lnTo>
                  <a:lnTo>
                    <a:pt x="566" y="62"/>
                  </a:lnTo>
                  <a:lnTo>
                    <a:pt x="570" y="68"/>
                  </a:lnTo>
                  <a:lnTo>
                    <a:pt x="578" y="76"/>
                  </a:lnTo>
                  <a:lnTo>
                    <a:pt x="580" y="78"/>
                  </a:lnTo>
                  <a:lnTo>
                    <a:pt x="582" y="78"/>
                  </a:lnTo>
                  <a:lnTo>
                    <a:pt x="578" y="82"/>
                  </a:lnTo>
                  <a:lnTo>
                    <a:pt x="578" y="84"/>
                  </a:lnTo>
                  <a:lnTo>
                    <a:pt x="576" y="84"/>
                  </a:lnTo>
                  <a:lnTo>
                    <a:pt x="580" y="92"/>
                  </a:lnTo>
                  <a:lnTo>
                    <a:pt x="582" y="92"/>
                  </a:lnTo>
                  <a:lnTo>
                    <a:pt x="580" y="94"/>
                  </a:lnTo>
                  <a:lnTo>
                    <a:pt x="576" y="98"/>
                  </a:lnTo>
                  <a:lnTo>
                    <a:pt x="578" y="100"/>
                  </a:lnTo>
                  <a:lnTo>
                    <a:pt x="578" y="104"/>
                  </a:lnTo>
                  <a:lnTo>
                    <a:pt x="580" y="114"/>
                  </a:lnTo>
                  <a:lnTo>
                    <a:pt x="578" y="120"/>
                  </a:lnTo>
                  <a:lnTo>
                    <a:pt x="576" y="124"/>
                  </a:lnTo>
                  <a:lnTo>
                    <a:pt x="574" y="134"/>
                  </a:lnTo>
                  <a:lnTo>
                    <a:pt x="576" y="136"/>
                  </a:lnTo>
                  <a:lnTo>
                    <a:pt x="578" y="140"/>
                  </a:lnTo>
                  <a:lnTo>
                    <a:pt x="578" y="144"/>
                  </a:lnTo>
                  <a:lnTo>
                    <a:pt x="576" y="148"/>
                  </a:lnTo>
                  <a:lnTo>
                    <a:pt x="574" y="148"/>
                  </a:lnTo>
                  <a:lnTo>
                    <a:pt x="574" y="150"/>
                  </a:lnTo>
                  <a:lnTo>
                    <a:pt x="574" y="156"/>
                  </a:lnTo>
                  <a:lnTo>
                    <a:pt x="574" y="158"/>
                  </a:lnTo>
                  <a:lnTo>
                    <a:pt x="576" y="162"/>
                  </a:lnTo>
                  <a:lnTo>
                    <a:pt x="576" y="164"/>
                  </a:lnTo>
                  <a:lnTo>
                    <a:pt x="578" y="166"/>
                  </a:lnTo>
                  <a:lnTo>
                    <a:pt x="580" y="168"/>
                  </a:lnTo>
                  <a:lnTo>
                    <a:pt x="580" y="170"/>
                  </a:lnTo>
                  <a:lnTo>
                    <a:pt x="578" y="172"/>
                  </a:lnTo>
                  <a:lnTo>
                    <a:pt x="576" y="174"/>
                  </a:lnTo>
                  <a:lnTo>
                    <a:pt x="582" y="186"/>
                  </a:lnTo>
                  <a:lnTo>
                    <a:pt x="586" y="190"/>
                  </a:lnTo>
                  <a:lnTo>
                    <a:pt x="596" y="198"/>
                  </a:lnTo>
                  <a:lnTo>
                    <a:pt x="594" y="200"/>
                  </a:lnTo>
                  <a:lnTo>
                    <a:pt x="594" y="202"/>
                  </a:lnTo>
                  <a:lnTo>
                    <a:pt x="590" y="202"/>
                  </a:lnTo>
                  <a:lnTo>
                    <a:pt x="588" y="202"/>
                  </a:lnTo>
                  <a:lnTo>
                    <a:pt x="586" y="202"/>
                  </a:lnTo>
                  <a:lnTo>
                    <a:pt x="586" y="204"/>
                  </a:lnTo>
                  <a:lnTo>
                    <a:pt x="584" y="206"/>
                  </a:lnTo>
                  <a:lnTo>
                    <a:pt x="582" y="212"/>
                  </a:lnTo>
                  <a:lnTo>
                    <a:pt x="580" y="214"/>
                  </a:lnTo>
                  <a:lnTo>
                    <a:pt x="582" y="214"/>
                  </a:lnTo>
                  <a:lnTo>
                    <a:pt x="584" y="214"/>
                  </a:lnTo>
                  <a:lnTo>
                    <a:pt x="584" y="216"/>
                  </a:lnTo>
                  <a:lnTo>
                    <a:pt x="584" y="218"/>
                  </a:lnTo>
                  <a:lnTo>
                    <a:pt x="582" y="220"/>
                  </a:lnTo>
                  <a:lnTo>
                    <a:pt x="580" y="218"/>
                  </a:lnTo>
                  <a:lnTo>
                    <a:pt x="578" y="218"/>
                  </a:lnTo>
                  <a:lnTo>
                    <a:pt x="572" y="216"/>
                  </a:lnTo>
                  <a:lnTo>
                    <a:pt x="564" y="216"/>
                  </a:lnTo>
                  <a:lnTo>
                    <a:pt x="552" y="214"/>
                  </a:lnTo>
                  <a:lnTo>
                    <a:pt x="550" y="214"/>
                  </a:lnTo>
                  <a:lnTo>
                    <a:pt x="544" y="212"/>
                  </a:lnTo>
                  <a:lnTo>
                    <a:pt x="542" y="212"/>
                  </a:lnTo>
                  <a:lnTo>
                    <a:pt x="538" y="212"/>
                  </a:lnTo>
                  <a:lnTo>
                    <a:pt x="536" y="212"/>
                  </a:lnTo>
                  <a:lnTo>
                    <a:pt x="534" y="210"/>
                  </a:lnTo>
                  <a:lnTo>
                    <a:pt x="530" y="210"/>
                  </a:lnTo>
                  <a:lnTo>
                    <a:pt x="528" y="212"/>
                  </a:lnTo>
                  <a:lnTo>
                    <a:pt x="510" y="212"/>
                  </a:lnTo>
                  <a:lnTo>
                    <a:pt x="508" y="212"/>
                  </a:lnTo>
                  <a:lnTo>
                    <a:pt x="506" y="214"/>
                  </a:lnTo>
                  <a:lnTo>
                    <a:pt x="506" y="216"/>
                  </a:lnTo>
                  <a:lnTo>
                    <a:pt x="506" y="218"/>
                  </a:lnTo>
                  <a:lnTo>
                    <a:pt x="504" y="220"/>
                  </a:lnTo>
                  <a:lnTo>
                    <a:pt x="504" y="222"/>
                  </a:lnTo>
                  <a:lnTo>
                    <a:pt x="504" y="224"/>
                  </a:lnTo>
                  <a:lnTo>
                    <a:pt x="502" y="224"/>
                  </a:lnTo>
                  <a:lnTo>
                    <a:pt x="498" y="226"/>
                  </a:lnTo>
                  <a:lnTo>
                    <a:pt x="494" y="226"/>
                  </a:lnTo>
                  <a:lnTo>
                    <a:pt x="490" y="228"/>
                  </a:lnTo>
                  <a:lnTo>
                    <a:pt x="488" y="228"/>
                  </a:lnTo>
                  <a:lnTo>
                    <a:pt x="484" y="22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2" name="Freeform 1495"/>
            <p:cNvSpPr>
              <a:spLocks/>
            </p:cNvSpPr>
            <p:nvPr/>
          </p:nvSpPr>
          <p:spPr bwMode="auto">
            <a:xfrm>
              <a:off x="3451135" y="3001948"/>
              <a:ext cx="187665" cy="45039"/>
            </a:xfrm>
            <a:custGeom>
              <a:avLst/>
              <a:gdLst/>
              <a:ahLst/>
              <a:cxnLst>
                <a:cxn ang="0">
                  <a:pos x="72" y="20"/>
                </a:cxn>
                <a:cxn ang="0">
                  <a:pos x="64" y="14"/>
                </a:cxn>
                <a:cxn ang="0">
                  <a:pos x="50" y="18"/>
                </a:cxn>
                <a:cxn ang="0">
                  <a:pos x="32" y="18"/>
                </a:cxn>
                <a:cxn ang="0">
                  <a:pos x="24" y="22"/>
                </a:cxn>
                <a:cxn ang="0">
                  <a:pos x="14" y="18"/>
                </a:cxn>
                <a:cxn ang="0">
                  <a:pos x="14" y="6"/>
                </a:cxn>
                <a:cxn ang="0">
                  <a:pos x="46" y="10"/>
                </a:cxn>
                <a:cxn ang="0">
                  <a:pos x="68" y="12"/>
                </a:cxn>
                <a:cxn ang="0">
                  <a:pos x="70" y="6"/>
                </a:cxn>
                <a:cxn ang="0">
                  <a:pos x="74" y="2"/>
                </a:cxn>
                <a:cxn ang="0">
                  <a:pos x="80" y="2"/>
                </a:cxn>
                <a:cxn ang="0">
                  <a:pos x="84" y="2"/>
                </a:cxn>
                <a:cxn ang="0">
                  <a:pos x="98" y="4"/>
                </a:cxn>
                <a:cxn ang="0">
                  <a:pos x="102" y="8"/>
                </a:cxn>
                <a:cxn ang="0">
                  <a:pos x="106" y="14"/>
                </a:cxn>
                <a:cxn ang="0">
                  <a:pos x="110" y="12"/>
                </a:cxn>
                <a:cxn ang="0">
                  <a:pos x="116" y="14"/>
                </a:cxn>
                <a:cxn ang="0">
                  <a:pos x="118" y="20"/>
                </a:cxn>
                <a:cxn ang="0">
                  <a:pos x="122" y="24"/>
                </a:cxn>
                <a:cxn ang="0">
                  <a:pos x="130" y="22"/>
                </a:cxn>
                <a:cxn ang="0">
                  <a:pos x="136" y="20"/>
                </a:cxn>
                <a:cxn ang="0">
                  <a:pos x="146" y="22"/>
                </a:cxn>
                <a:cxn ang="0">
                  <a:pos x="148" y="26"/>
                </a:cxn>
                <a:cxn ang="0">
                  <a:pos x="148" y="32"/>
                </a:cxn>
                <a:cxn ang="0">
                  <a:pos x="140" y="34"/>
                </a:cxn>
                <a:cxn ang="0">
                  <a:pos x="134" y="36"/>
                </a:cxn>
                <a:cxn ang="0">
                  <a:pos x="128" y="36"/>
                </a:cxn>
                <a:cxn ang="0">
                  <a:pos x="114" y="30"/>
                </a:cxn>
                <a:cxn ang="0">
                  <a:pos x="106" y="28"/>
                </a:cxn>
                <a:cxn ang="0">
                  <a:pos x="102" y="26"/>
                </a:cxn>
                <a:cxn ang="0">
                  <a:pos x="94" y="22"/>
                </a:cxn>
                <a:cxn ang="0">
                  <a:pos x="90" y="18"/>
                </a:cxn>
                <a:cxn ang="0">
                  <a:pos x="84" y="14"/>
                </a:cxn>
                <a:cxn ang="0">
                  <a:pos x="80" y="18"/>
                </a:cxn>
                <a:cxn ang="0">
                  <a:pos x="78" y="24"/>
                </a:cxn>
                <a:cxn ang="0">
                  <a:pos x="72" y="24"/>
                </a:cxn>
                <a:cxn ang="0">
                  <a:pos x="48" y="28"/>
                </a:cxn>
                <a:cxn ang="0">
                  <a:pos x="44" y="34"/>
                </a:cxn>
                <a:cxn ang="0">
                  <a:pos x="4" y="30"/>
                </a:cxn>
                <a:cxn ang="0">
                  <a:pos x="0" y="22"/>
                </a:cxn>
                <a:cxn ang="0">
                  <a:pos x="2" y="18"/>
                </a:cxn>
                <a:cxn ang="0">
                  <a:pos x="6" y="12"/>
                </a:cxn>
                <a:cxn ang="0">
                  <a:pos x="12" y="12"/>
                </a:cxn>
                <a:cxn ang="0">
                  <a:pos x="10" y="14"/>
                </a:cxn>
                <a:cxn ang="0">
                  <a:pos x="12" y="20"/>
                </a:cxn>
                <a:cxn ang="0">
                  <a:pos x="22" y="24"/>
                </a:cxn>
                <a:cxn ang="0">
                  <a:pos x="28" y="26"/>
                </a:cxn>
                <a:cxn ang="0">
                  <a:pos x="30" y="26"/>
                </a:cxn>
                <a:cxn ang="0">
                  <a:pos x="30" y="20"/>
                </a:cxn>
                <a:cxn ang="0">
                  <a:pos x="38" y="18"/>
                </a:cxn>
                <a:cxn ang="0">
                  <a:pos x="64" y="16"/>
                </a:cxn>
                <a:cxn ang="0">
                  <a:pos x="72" y="20"/>
                </a:cxn>
                <a:cxn ang="0">
                  <a:pos x="76" y="18"/>
                </a:cxn>
              </a:cxnLst>
              <a:rect l="0" t="0" r="r" b="b"/>
              <a:pathLst>
                <a:path w="150" h="36">
                  <a:moveTo>
                    <a:pt x="76" y="18"/>
                  </a:moveTo>
                  <a:lnTo>
                    <a:pt x="74" y="20"/>
                  </a:lnTo>
                  <a:lnTo>
                    <a:pt x="72" y="20"/>
                  </a:lnTo>
                  <a:lnTo>
                    <a:pt x="70" y="18"/>
                  </a:lnTo>
                  <a:lnTo>
                    <a:pt x="68" y="16"/>
                  </a:lnTo>
                  <a:lnTo>
                    <a:pt x="64" y="14"/>
                  </a:lnTo>
                  <a:lnTo>
                    <a:pt x="58" y="16"/>
                  </a:lnTo>
                  <a:lnTo>
                    <a:pt x="56" y="18"/>
                  </a:lnTo>
                  <a:lnTo>
                    <a:pt x="50" y="18"/>
                  </a:lnTo>
                  <a:lnTo>
                    <a:pt x="36" y="18"/>
                  </a:lnTo>
                  <a:lnTo>
                    <a:pt x="34" y="16"/>
                  </a:lnTo>
                  <a:lnTo>
                    <a:pt x="32" y="18"/>
                  </a:lnTo>
                  <a:lnTo>
                    <a:pt x="30" y="18"/>
                  </a:lnTo>
                  <a:lnTo>
                    <a:pt x="26" y="20"/>
                  </a:lnTo>
                  <a:lnTo>
                    <a:pt x="24" y="22"/>
                  </a:lnTo>
                  <a:lnTo>
                    <a:pt x="20" y="22"/>
                  </a:lnTo>
                  <a:lnTo>
                    <a:pt x="16" y="20"/>
                  </a:lnTo>
                  <a:lnTo>
                    <a:pt x="14" y="18"/>
                  </a:lnTo>
                  <a:lnTo>
                    <a:pt x="16" y="18"/>
                  </a:lnTo>
                  <a:lnTo>
                    <a:pt x="14" y="8"/>
                  </a:lnTo>
                  <a:lnTo>
                    <a:pt x="14" y="6"/>
                  </a:lnTo>
                  <a:lnTo>
                    <a:pt x="34" y="8"/>
                  </a:lnTo>
                  <a:lnTo>
                    <a:pt x="38" y="8"/>
                  </a:lnTo>
                  <a:lnTo>
                    <a:pt x="46" y="10"/>
                  </a:lnTo>
                  <a:lnTo>
                    <a:pt x="60" y="10"/>
                  </a:lnTo>
                  <a:lnTo>
                    <a:pt x="62" y="12"/>
                  </a:lnTo>
                  <a:lnTo>
                    <a:pt x="68" y="12"/>
                  </a:lnTo>
                  <a:lnTo>
                    <a:pt x="68" y="8"/>
                  </a:lnTo>
                  <a:lnTo>
                    <a:pt x="68" y="6"/>
                  </a:lnTo>
                  <a:lnTo>
                    <a:pt x="70" y="6"/>
                  </a:lnTo>
                  <a:lnTo>
                    <a:pt x="70" y="4"/>
                  </a:lnTo>
                  <a:lnTo>
                    <a:pt x="72" y="4"/>
                  </a:lnTo>
                  <a:lnTo>
                    <a:pt x="74" y="2"/>
                  </a:lnTo>
                  <a:lnTo>
                    <a:pt x="76" y="2"/>
                  </a:lnTo>
                  <a:lnTo>
                    <a:pt x="78" y="2"/>
                  </a:lnTo>
                  <a:lnTo>
                    <a:pt x="80" y="2"/>
                  </a:lnTo>
                  <a:lnTo>
                    <a:pt x="80" y="4"/>
                  </a:lnTo>
                  <a:lnTo>
                    <a:pt x="82" y="4"/>
                  </a:lnTo>
                  <a:lnTo>
                    <a:pt x="84" y="2"/>
                  </a:lnTo>
                  <a:lnTo>
                    <a:pt x="90" y="0"/>
                  </a:lnTo>
                  <a:lnTo>
                    <a:pt x="98" y="2"/>
                  </a:lnTo>
                  <a:lnTo>
                    <a:pt x="98" y="4"/>
                  </a:lnTo>
                  <a:lnTo>
                    <a:pt x="100" y="4"/>
                  </a:lnTo>
                  <a:lnTo>
                    <a:pt x="102" y="6"/>
                  </a:lnTo>
                  <a:lnTo>
                    <a:pt x="102" y="8"/>
                  </a:lnTo>
                  <a:lnTo>
                    <a:pt x="102" y="10"/>
                  </a:lnTo>
                  <a:lnTo>
                    <a:pt x="102" y="12"/>
                  </a:lnTo>
                  <a:lnTo>
                    <a:pt x="106" y="14"/>
                  </a:lnTo>
                  <a:lnTo>
                    <a:pt x="106" y="12"/>
                  </a:lnTo>
                  <a:lnTo>
                    <a:pt x="108" y="12"/>
                  </a:lnTo>
                  <a:lnTo>
                    <a:pt x="110" y="12"/>
                  </a:lnTo>
                  <a:lnTo>
                    <a:pt x="112" y="12"/>
                  </a:lnTo>
                  <a:lnTo>
                    <a:pt x="114" y="12"/>
                  </a:lnTo>
                  <a:lnTo>
                    <a:pt x="116" y="14"/>
                  </a:lnTo>
                  <a:lnTo>
                    <a:pt x="118" y="16"/>
                  </a:lnTo>
                  <a:lnTo>
                    <a:pt x="118" y="18"/>
                  </a:lnTo>
                  <a:lnTo>
                    <a:pt x="118" y="20"/>
                  </a:lnTo>
                  <a:lnTo>
                    <a:pt x="120" y="20"/>
                  </a:lnTo>
                  <a:lnTo>
                    <a:pt x="122" y="22"/>
                  </a:lnTo>
                  <a:lnTo>
                    <a:pt x="122" y="24"/>
                  </a:lnTo>
                  <a:lnTo>
                    <a:pt x="124" y="24"/>
                  </a:lnTo>
                  <a:lnTo>
                    <a:pt x="128" y="24"/>
                  </a:lnTo>
                  <a:lnTo>
                    <a:pt x="130" y="22"/>
                  </a:lnTo>
                  <a:lnTo>
                    <a:pt x="132" y="22"/>
                  </a:lnTo>
                  <a:lnTo>
                    <a:pt x="132" y="20"/>
                  </a:lnTo>
                  <a:lnTo>
                    <a:pt x="136" y="20"/>
                  </a:lnTo>
                  <a:lnTo>
                    <a:pt x="142" y="18"/>
                  </a:lnTo>
                  <a:lnTo>
                    <a:pt x="144" y="20"/>
                  </a:lnTo>
                  <a:lnTo>
                    <a:pt x="146" y="22"/>
                  </a:lnTo>
                  <a:lnTo>
                    <a:pt x="146" y="24"/>
                  </a:lnTo>
                  <a:lnTo>
                    <a:pt x="148" y="24"/>
                  </a:lnTo>
                  <a:lnTo>
                    <a:pt x="148" y="26"/>
                  </a:lnTo>
                  <a:lnTo>
                    <a:pt x="150" y="28"/>
                  </a:lnTo>
                  <a:lnTo>
                    <a:pt x="150" y="30"/>
                  </a:lnTo>
                  <a:lnTo>
                    <a:pt x="148" y="32"/>
                  </a:lnTo>
                  <a:lnTo>
                    <a:pt x="146" y="32"/>
                  </a:lnTo>
                  <a:lnTo>
                    <a:pt x="146" y="34"/>
                  </a:lnTo>
                  <a:lnTo>
                    <a:pt x="140" y="34"/>
                  </a:lnTo>
                  <a:lnTo>
                    <a:pt x="136" y="34"/>
                  </a:lnTo>
                  <a:lnTo>
                    <a:pt x="134" y="34"/>
                  </a:lnTo>
                  <a:lnTo>
                    <a:pt x="134" y="36"/>
                  </a:lnTo>
                  <a:lnTo>
                    <a:pt x="132" y="36"/>
                  </a:lnTo>
                  <a:lnTo>
                    <a:pt x="130" y="36"/>
                  </a:lnTo>
                  <a:lnTo>
                    <a:pt x="128" y="36"/>
                  </a:lnTo>
                  <a:lnTo>
                    <a:pt x="122" y="36"/>
                  </a:lnTo>
                  <a:lnTo>
                    <a:pt x="120" y="36"/>
                  </a:lnTo>
                  <a:lnTo>
                    <a:pt x="114" y="30"/>
                  </a:lnTo>
                  <a:lnTo>
                    <a:pt x="112" y="30"/>
                  </a:lnTo>
                  <a:lnTo>
                    <a:pt x="108" y="28"/>
                  </a:lnTo>
                  <a:lnTo>
                    <a:pt x="106" y="28"/>
                  </a:lnTo>
                  <a:lnTo>
                    <a:pt x="104" y="28"/>
                  </a:lnTo>
                  <a:lnTo>
                    <a:pt x="104" y="26"/>
                  </a:lnTo>
                  <a:lnTo>
                    <a:pt x="102" y="26"/>
                  </a:lnTo>
                  <a:lnTo>
                    <a:pt x="102" y="24"/>
                  </a:lnTo>
                  <a:lnTo>
                    <a:pt x="100" y="22"/>
                  </a:lnTo>
                  <a:lnTo>
                    <a:pt x="94" y="22"/>
                  </a:lnTo>
                  <a:lnTo>
                    <a:pt x="92" y="20"/>
                  </a:lnTo>
                  <a:lnTo>
                    <a:pt x="92" y="18"/>
                  </a:lnTo>
                  <a:lnTo>
                    <a:pt x="90" y="18"/>
                  </a:lnTo>
                  <a:lnTo>
                    <a:pt x="88" y="16"/>
                  </a:lnTo>
                  <a:lnTo>
                    <a:pt x="86" y="14"/>
                  </a:lnTo>
                  <a:lnTo>
                    <a:pt x="84" y="14"/>
                  </a:lnTo>
                  <a:lnTo>
                    <a:pt x="82" y="16"/>
                  </a:lnTo>
                  <a:lnTo>
                    <a:pt x="80" y="16"/>
                  </a:lnTo>
                  <a:lnTo>
                    <a:pt x="80" y="18"/>
                  </a:lnTo>
                  <a:lnTo>
                    <a:pt x="80" y="20"/>
                  </a:lnTo>
                  <a:lnTo>
                    <a:pt x="80" y="22"/>
                  </a:lnTo>
                  <a:lnTo>
                    <a:pt x="78" y="24"/>
                  </a:lnTo>
                  <a:lnTo>
                    <a:pt x="76" y="24"/>
                  </a:lnTo>
                  <a:lnTo>
                    <a:pt x="74" y="24"/>
                  </a:lnTo>
                  <a:lnTo>
                    <a:pt x="72" y="24"/>
                  </a:lnTo>
                  <a:lnTo>
                    <a:pt x="70" y="24"/>
                  </a:lnTo>
                  <a:lnTo>
                    <a:pt x="50" y="24"/>
                  </a:lnTo>
                  <a:lnTo>
                    <a:pt x="48" y="28"/>
                  </a:lnTo>
                  <a:lnTo>
                    <a:pt x="48" y="34"/>
                  </a:lnTo>
                  <a:lnTo>
                    <a:pt x="46" y="34"/>
                  </a:lnTo>
                  <a:lnTo>
                    <a:pt x="44" y="34"/>
                  </a:lnTo>
                  <a:lnTo>
                    <a:pt x="40" y="32"/>
                  </a:lnTo>
                  <a:lnTo>
                    <a:pt x="8" y="30"/>
                  </a:lnTo>
                  <a:lnTo>
                    <a:pt x="4" y="30"/>
                  </a:lnTo>
                  <a:lnTo>
                    <a:pt x="2" y="34"/>
                  </a:lnTo>
                  <a:lnTo>
                    <a:pt x="0" y="30"/>
                  </a:lnTo>
                  <a:lnTo>
                    <a:pt x="0" y="22"/>
                  </a:lnTo>
                  <a:lnTo>
                    <a:pt x="0" y="20"/>
                  </a:lnTo>
                  <a:lnTo>
                    <a:pt x="0" y="18"/>
                  </a:lnTo>
                  <a:lnTo>
                    <a:pt x="2" y="18"/>
                  </a:lnTo>
                  <a:lnTo>
                    <a:pt x="4" y="16"/>
                  </a:lnTo>
                  <a:lnTo>
                    <a:pt x="4" y="14"/>
                  </a:lnTo>
                  <a:lnTo>
                    <a:pt x="6" y="12"/>
                  </a:lnTo>
                  <a:lnTo>
                    <a:pt x="8" y="12"/>
                  </a:lnTo>
                  <a:lnTo>
                    <a:pt x="10" y="12"/>
                  </a:lnTo>
                  <a:lnTo>
                    <a:pt x="12" y="12"/>
                  </a:lnTo>
                  <a:lnTo>
                    <a:pt x="12" y="14"/>
                  </a:lnTo>
                  <a:lnTo>
                    <a:pt x="12" y="16"/>
                  </a:lnTo>
                  <a:lnTo>
                    <a:pt x="10" y="14"/>
                  </a:lnTo>
                  <a:lnTo>
                    <a:pt x="10" y="16"/>
                  </a:lnTo>
                  <a:lnTo>
                    <a:pt x="10" y="18"/>
                  </a:lnTo>
                  <a:lnTo>
                    <a:pt x="12" y="20"/>
                  </a:lnTo>
                  <a:lnTo>
                    <a:pt x="12" y="22"/>
                  </a:lnTo>
                  <a:lnTo>
                    <a:pt x="18" y="26"/>
                  </a:lnTo>
                  <a:lnTo>
                    <a:pt x="22" y="24"/>
                  </a:lnTo>
                  <a:lnTo>
                    <a:pt x="28" y="22"/>
                  </a:lnTo>
                  <a:lnTo>
                    <a:pt x="28" y="24"/>
                  </a:lnTo>
                  <a:lnTo>
                    <a:pt x="28" y="26"/>
                  </a:lnTo>
                  <a:lnTo>
                    <a:pt x="30" y="28"/>
                  </a:lnTo>
                  <a:lnTo>
                    <a:pt x="32" y="26"/>
                  </a:lnTo>
                  <a:lnTo>
                    <a:pt x="30" y="26"/>
                  </a:lnTo>
                  <a:lnTo>
                    <a:pt x="28" y="22"/>
                  </a:lnTo>
                  <a:lnTo>
                    <a:pt x="30" y="22"/>
                  </a:lnTo>
                  <a:lnTo>
                    <a:pt x="30" y="20"/>
                  </a:lnTo>
                  <a:lnTo>
                    <a:pt x="34" y="18"/>
                  </a:lnTo>
                  <a:lnTo>
                    <a:pt x="36" y="18"/>
                  </a:lnTo>
                  <a:lnTo>
                    <a:pt x="38" y="18"/>
                  </a:lnTo>
                  <a:lnTo>
                    <a:pt x="52" y="18"/>
                  </a:lnTo>
                  <a:lnTo>
                    <a:pt x="58" y="18"/>
                  </a:lnTo>
                  <a:lnTo>
                    <a:pt x="64" y="16"/>
                  </a:lnTo>
                  <a:lnTo>
                    <a:pt x="66" y="18"/>
                  </a:lnTo>
                  <a:lnTo>
                    <a:pt x="70" y="20"/>
                  </a:lnTo>
                  <a:lnTo>
                    <a:pt x="72" y="20"/>
                  </a:lnTo>
                  <a:lnTo>
                    <a:pt x="74" y="20"/>
                  </a:lnTo>
                  <a:lnTo>
                    <a:pt x="76" y="20"/>
                  </a:lnTo>
                  <a:lnTo>
                    <a:pt x="76" y="1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3" name="Freeform 1499"/>
            <p:cNvSpPr>
              <a:spLocks/>
            </p:cNvSpPr>
            <p:nvPr/>
          </p:nvSpPr>
          <p:spPr bwMode="auto">
            <a:xfrm>
              <a:off x="6556356" y="1823414"/>
              <a:ext cx="67559" cy="247717"/>
            </a:xfrm>
            <a:custGeom>
              <a:avLst/>
              <a:gdLst/>
              <a:ahLst/>
              <a:cxnLst>
                <a:cxn ang="0">
                  <a:pos x="16" y="68"/>
                </a:cxn>
                <a:cxn ang="0">
                  <a:pos x="20" y="54"/>
                </a:cxn>
                <a:cxn ang="0">
                  <a:pos x="22" y="32"/>
                </a:cxn>
                <a:cxn ang="0">
                  <a:pos x="24" y="24"/>
                </a:cxn>
                <a:cxn ang="0">
                  <a:pos x="26" y="24"/>
                </a:cxn>
                <a:cxn ang="0">
                  <a:pos x="26" y="16"/>
                </a:cxn>
                <a:cxn ang="0">
                  <a:pos x="34" y="10"/>
                </a:cxn>
                <a:cxn ang="0">
                  <a:pos x="40" y="12"/>
                </a:cxn>
                <a:cxn ang="0">
                  <a:pos x="44" y="8"/>
                </a:cxn>
                <a:cxn ang="0">
                  <a:pos x="46" y="0"/>
                </a:cxn>
                <a:cxn ang="0">
                  <a:pos x="52" y="2"/>
                </a:cxn>
                <a:cxn ang="0">
                  <a:pos x="52" y="10"/>
                </a:cxn>
                <a:cxn ang="0">
                  <a:pos x="52" y="18"/>
                </a:cxn>
                <a:cxn ang="0">
                  <a:pos x="52" y="22"/>
                </a:cxn>
                <a:cxn ang="0">
                  <a:pos x="54" y="26"/>
                </a:cxn>
                <a:cxn ang="0">
                  <a:pos x="52" y="30"/>
                </a:cxn>
                <a:cxn ang="0">
                  <a:pos x="48" y="46"/>
                </a:cxn>
                <a:cxn ang="0">
                  <a:pos x="42" y="40"/>
                </a:cxn>
                <a:cxn ang="0">
                  <a:pos x="36" y="40"/>
                </a:cxn>
                <a:cxn ang="0">
                  <a:pos x="30" y="44"/>
                </a:cxn>
                <a:cxn ang="0">
                  <a:pos x="28" y="48"/>
                </a:cxn>
                <a:cxn ang="0">
                  <a:pos x="28" y="66"/>
                </a:cxn>
                <a:cxn ang="0">
                  <a:pos x="28" y="76"/>
                </a:cxn>
                <a:cxn ang="0">
                  <a:pos x="32" y="78"/>
                </a:cxn>
                <a:cxn ang="0">
                  <a:pos x="40" y="78"/>
                </a:cxn>
                <a:cxn ang="0">
                  <a:pos x="34" y="82"/>
                </a:cxn>
                <a:cxn ang="0">
                  <a:pos x="28" y="90"/>
                </a:cxn>
                <a:cxn ang="0">
                  <a:pos x="26" y="98"/>
                </a:cxn>
                <a:cxn ang="0">
                  <a:pos x="30" y="100"/>
                </a:cxn>
                <a:cxn ang="0">
                  <a:pos x="44" y="98"/>
                </a:cxn>
                <a:cxn ang="0">
                  <a:pos x="52" y="92"/>
                </a:cxn>
                <a:cxn ang="0">
                  <a:pos x="52" y="98"/>
                </a:cxn>
                <a:cxn ang="0">
                  <a:pos x="52" y="108"/>
                </a:cxn>
                <a:cxn ang="0">
                  <a:pos x="52" y="122"/>
                </a:cxn>
                <a:cxn ang="0">
                  <a:pos x="48" y="130"/>
                </a:cxn>
                <a:cxn ang="0">
                  <a:pos x="46" y="138"/>
                </a:cxn>
                <a:cxn ang="0">
                  <a:pos x="46" y="154"/>
                </a:cxn>
                <a:cxn ang="0">
                  <a:pos x="46" y="166"/>
                </a:cxn>
                <a:cxn ang="0">
                  <a:pos x="42" y="174"/>
                </a:cxn>
                <a:cxn ang="0">
                  <a:pos x="44" y="178"/>
                </a:cxn>
                <a:cxn ang="0">
                  <a:pos x="40" y="194"/>
                </a:cxn>
                <a:cxn ang="0">
                  <a:pos x="36" y="196"/>
                </a:cxn>
                <a:cxn ang="0">
                  <a:pos x="36" y="188"/>
                </a:cxn>
                <a:cxn ang="0">
                  <a:pos x="26" y="166"/>
                </a:cxn>
                <a:cxn ang="0">
                  <a:pos x="16" y="150"/>
                </a:cxn>
                <a:cxn ang="0">
                  <a:pos x="8" y="128"/>
                </a:cxn>
                <a:cxn ang="0">
                  <a:pos x="2" y="108"/>
                </a:cxn>
                <a:cxn ang="0">
                  <a:pos x="4" y="100"/>
                </a:cxn>
                <a:cxn ang="0">
                  <a:pos x="12" y="92"/>
                </a:cxn>
                <a:cxn ang="0">
                  <a:pos x="10" y="86"/>
                </a:cxn>
              </a:cxnLst>
              <a:rect l="0" t="0" r="r" b="b"/>
              <a:pathLst>
                <a:path w="54" h="198">
                  <a:moveTo>
                    <a:pt x="14" y="76"/>
                  </a:moveTo>
                  <a:lnTo>
                    <a:pt x="16" y="72"/>
                  </a:lnTo>
                  <a:lnTo>
                    <a:pt x="16" y="68"/>
                  </a:lnTo>
                  <a:lnTo>
                    <a:pt x="18" y="62"/>
                  </a:lnTo>
                  <a:lnTo>
                    <a:pt x="18" y="58"/>
                  </a:lnTo>
                  <a:lnTo>
                    <a:pt x="20" y="54"/>
                  </a:lnTo>
                  <a:lnTo>
                    <a:pt x="20" y="46"/>
                  </a:lnTo>
                  <a:lnTo>
                    <a:pt x="22" y="42"/>
                  </a:lnTo>
                  <a:lnTo>
                    <a:pt x="22" y="32"/>
                  </a:lnTo>
                  <a:lnTo>
                    <a:pt x="22" y="28"/>
                  </a:lnTo>
                  <a:lnTo>
                    <a:pt x="22" y="26"/>
                  </a:lnTo>
                  <a:lnTo>
                    <a:pt x="24" y="24"/>
                  </a:lnTo>
                  <a:lnTo>
                    <a:pt x="24" y="26"/>
                  </a:lnTo>
                  <a:lnTo>
                    <a:pt x="24" y="24"/>
                  </a:lnTo>
                  <a:lnTo>
                    <a:pt x="26" y="24"/>
                  </a:lnTo>
                  <a:lnTo>
                    <a:pt x="26" y="22"/>
                  </a:lnTo>
                  <a:lnTo>
                    <a:pt x="26" y="18"/>
                  </a:lnTo>
                  <a:lnTo>
                    <a:pt x="26" y="16"/>
                  </a:lnTo>
                  <a:lnTo>
                    <a:pt x="26" y="14"/>
                  </a:lnTo>
                  <a:lnTo>
                    <a:pt x="26" y="12"/>
                  </a:lnTo>
                  <a:lnTo>
                    <a:pt x="34" y="10"/>
                  </a:lnTo>
                  <a:lnTo>
                    <a:pt x="36" y="10"/>
                  </a:lnTo>
                  <a:lnTo>
                    <a:pt x="38" y="12"/>
                  </a:lnTo>
                  <a:lnTo>
                    <a:pt x="40" y="12"/>
                  </a:lnTo>
                  <a:lnTo>
                    <a:pt x="42" y="12"/>
                  </a:lnTo>
                  <a:lnTo>
                    <a:pt x="44" y="10"/>
                  </a:lnTo>
                  <a:lnTo>
                    <a:pt x="44" y="8"/>
                  </a:lnTo>
                  <a:lnTo>
                    <a:pt x="46" y="8"/>
                  </a:lnTo>
                  <a:lnTo>
                    <a:pt x="46" y="4"/>
                  </a:lnTo>
                  <a:lnTo>
                    <a:pt x="46" y="0"/>
                  </a:lnTo>
                  <a:lnTo>
                    <a:pt x="48" y="2"/>
                  </a:lnTo>
                  <a:lnTo>
                    <a:pt x="50" y="2"/>
                  </a:lnTo>
                  <a:lnTo>
                    <a:pt x="52" y="2"/>
                  </a:lnTo>
                  <a:lnTo>
                    <a:pt x="52" y="4"/>
                  </a:lnTo>
                  <a:lnTo>
                    <a:pt x="50" y="8"/>
                  </a:lnTo>
                  <a:lnTo>
                    <a:pt x="52" y="10"/>
                  </a:lnTo>
                  <a:lnTo>
                    <a:pt x="50" y="12"/>
                  </a:lnTo>
                  <a:lnTo>
                    <a:pt x="50" y="14"/>
                  </a:lnTo>
                  <a:lnTo>
                    <a:pt x="52" y="18"/>
                  </a:lnTo>
                  <a:lnTo>
                    <a:pt x="52" y="20"/>
                  </a:lnTo>
                  <a:lnTo>
                    <a:pt x="50" y="20"/>
                  </a:lnTo>
                  <a:lnTo>
                    <a:pt x="52" y="22"/>
                  </a:lnTo>
                  <a:lnTo>
                    <a:pt x="52" y="24"/>
                  </a:lnTo>
                  <a:lnTo>
                    <a:pt x="54" y="24"/>
                  </a:lnTo>
                  <a:lnTo>
                    <a:pt x="54" y="26"/>
                  </a:lnTo>
                  <a:lnTo>
                    <a:pt x="54" y="28"/>
                  </a:lnTo>
                  <a:lnTo>
                    <a:pt x="54" y="30"/>
                  </a:lnTo>
                  <a:lnTo>
                    <a:pt x="52" y="30"/>
                  </a:lnTo>
                  <a:lnTo>
                    <a:pt x="50" y="34"/>
                  </a:lnTo>
                  <a:lnTo>
                    <a:pt x="50" y="46"/>
                  </a:lnTo>
                  <a:lnTo>
                    <a:pt x="48" y="46"/>
                  </a:lnTo>
                  <a:lnTo>
                    <a:pt x="44" y="42"/>
                  </a:lnTo>
                  <a:lnTo>
                    <a:pt x="44" y="40"/>
                  </a:lnTo>
                  <a:lnTo>
                    <a:pt x="42" y="40"/>
                  </a:lnTo>
                  <a:lnTo>
                    <a:pt x="40" y="40"/>
                  </a:lnTo>
                  <a:lnTo>
                    <a:pt x="38" y="40"/>
                  </a:lnTo>
                  <a:lnTo>
                    <a:pt x="36" y="40"/>
                  </a:lnTo>
                  <a:lnTo>
                    <a:pt x="36" y="38"/>
                  </a:lnTo>
                  <a:lnTo>
                    <a:pt x="34" y="40"/>
                  </a:lnTo>
                  <a:lnTo>
                    <a:pt x="30" y="44"/>
                  </a:lnTo>
                  <a:lnTo>
                    <a:pt x="28" y="44"/>
                  </a:lnTo>
                  <a:lnTo>
                    <a:pt x="28" y="46"/>
                  </a:lnTo>
                  <a:lnTo>
                    <a:pt x="28" y="48"/>
                  </a:lnTo>
                  <a:lnTo>
                    <a:pt x="28" y="56"/>
                  </a:lnTo>
                  <a:lnTo>
                    <a:pt x="26" y="60"/>
                  </a:lnTo>
                  <a:lnTo>
                    <a:pt x="28" y="66"/>
                  </a:lnTo>
                  <a:lnTo>
                    <a:pt x="28" y="68"/>
                  </a:lnTo>
                  <a:lnTo>
                    <a:pt x="28" y="70"/>
                  </a:lnTo>
                  <a:lnTo>
                    <a:pt x="28" y="76"/>
                  </a:lnTo>
                  <a:lnTo>
                    <a:pt x="28" y="78"/>
                  </a:lnTo>
                  <a:lnTo>
                    <a:pt x="30" y="78"/>
                  </a:lnTo>
                  <a:lnTo>
                    <a:pt x="32" y="78"/>
                  </a:lnTo>
                  <a:lnTo>
                    <a:pt x="34" y="76"/>
                  </a:lnTo>
                  <a:lnTo>
                    <a:pt x="36" y="78"/>
                  </a:lnTo>
                  <a:lnTo>
                    <a:pt x="40" y="78"/>
                  </a:lnTo>
                  <a:lnTo>
                    <a:pt x="40" y="80"/>
                  </a:lnTo>
                  <a:lnTo>
                    <a:pt x="36" y="80"/>
                  </a:lnTo>
                  <a:lnTo>
                    <a:pt x="34" y="82"/>
                  </a:lnTo>
                  <a:lnTo>
                    <a:pt x="30" y="86"/>
                  </a:lnTo>
                  <a:lnTo>
                    <a:pt x="28" y="88"/>
                  </a:lnTo>
                  <a:lnTo>
                    <a:pt x="28" y="90"/>
                  </a:lnTo>
                  <a:lnTo>
                    <a:pt x="28" y="94"/>
                  </a:lnTo>
                  <a:lnTo>
                    <a:pt x="28" y="96"/>
                  </a:lnTo>
                  <a:lnTo>
                    <a:pt x="26" y="98"/>
                  </a:lnTo>
                  <a:lnTo>
                    <a:pt x="26" y="100"/>
                  </a:lnTo>
                  <a:lnTo>
                    <a:pt x="28" y="100"/>
                  </a:lnTo>
                  <a:lnTo>
                    <a:pt x="30" y="100"/>
                  </a:lnTo>
                  <a:lnTo>
                    <a:pt x="38" y="100"/>
                  </a:lnTo>
                  <a:lnTo>
                    <a:pt x="42" y="100"/>
                  </a:lnTo>
                  <a:lnTo>
                    <a:pt x="44" y="98"/>
                  </a:lnTo>
                  <a:lnTo>
                    <a:pt x="48" y="94"/>
                  </a:lnTo>
                  <a:lnTo>
                    <a:pt x="48" y="92"/>
                  </a:lnTo>
                  <a:lnTo>
                    <a:pt x="52" y="92"/>
                  </a:lnTo>
                  <a:lnTo>
                    <a:pt x="54" y="94"/>
                  </a:lnTo>
                  <a:lnTo>
                    <a:pt x="54" y="96"/>
                  </a:lnTo>
                  <a:lnTo>
                    <a:pt x="52" y="98"/>
                  </a:lnTo>
                  <a:lnTo>
                    <a:pt x="52" y="100"/>
                  </a:lnTo>
                  <a:lnTo>
                    <a:pt x="52" y="106"/>
                  </a:lnTo>
                  <a:lnTo>
                    <a:pt x="52" y="108"/>
                  </a:lnTo>
                  <a:lnTo>
                    <a:pt x="54" y="110"/>
                  </a:lnTo>
                  <a:lnTo>
                    <a:pt x="54" y="112"/>
                  </a:lnTo>
                  <a:lnTo>
                    <a:pt x="52" y="122"/>
                  </a:lnTo>
                  <a:lnTo>
                    <a:pt x="50" y="122"/>
                  </a:lnTo>
                  <a:lnTo>
                    <a:pt x="50" y="124"/>
                  </a:lnTo>
                  <a:lnTo>
                    <a:pt x="48" y="130"/>
                  </a:lnTo>
                  <a:lnTo>
                    <a:pt x="48" y="132"/>
                  </a:lnTo>
                  <a:lnTo>
                    <a:pt x="46" y="134"/>
                  </a:lnTo>
                  <a:lnTo>
                    <a:pt x="46" y="138"/>
                  </a:lnTo>
                  <a:lnTo>
                    <a:pt x="46" y="140"/>
                  </a:lnTo>
                  <a:lnTo>
                    <a:pt x="44" y="148"/>
                  </a:lnTo>
                  <a:lnTo>
                    <a:pt x="46" y="154"/>
                  </a:lnTo>
                  <a:lnTo>
                    <a:pt x="46" y="162"/>
                  </a:lnTo>
                  <a:lnTo>
                    <a:pt x="46" y="164"/>
                  </a:lnTo>
                  <a:lnTo>
                    <a:pt x="46" y="166"/>
                  </a:lnTo>
                  <a:lnTo>
                    <a:pt x="44" y="166"/>
                  </a:lnTo>
                  <a:lnTo>
                    <a:pt x="44" y="168"/>
                  </a:lnTo>
                  <a:lnTo>
                    <a:pt x="42" y="174"/>
                  </a:lnTo>
                  <a:lnTo>
                    <a:pt x="42" y="176"/>
                  </a:lnTo>
                  <a:lnTo>
                    <a:pt x="44" y="176"/>
                  </a:lnTo>
                  <a:lnTo>
                    <a:pt x="44" y="178"/>
                  </a:lnTo>
                  <a:lnTo>
                    <a:pt x="42" y="188"/>
                  </a:lnTo>
                  <a:lnTo>
                    <a:pt x="40" y="192"/>
                  </a:lnTo>
                  <a:lnTo>
                    <a:pt x="40" y="194"/>
                  </a:lnTo>
                  <a:lnTo>
                    <a:pt x="38" y="196"/>
                  </a:lnTo>
                  <a:lnTo>
                    <a:pt x="38" y="198"/>
                  </a:lnTo>
                  <a:lnTo>
                    <a:pt x="36" y="196"/>
                  </a:lnTo>
                  <a:lnTo>
                    <a:pt x="36" y="192"/>
                  </a:lnTo>
                  <a:lnTo>
                    <a:pt x="36" y="190"/>
                  </a:lnTo>
                  <a:lnTo>
                    <a:pt x="36" y="188"/>
                  </a:lnTo>
                  <a:lnTo>
                    <a:pt x="34" y="184"/>
                  </a:lnTo>
                  <a:lnTo>
                    <a:pt x="28" y="172"/>
                  </a:lnTo>
                  <a:lnTo>
                    <a:pt x="26" y="166"/>
                  </a:lnTo>
                  <a:lnTo>
                    <a:pt x="20" y="154"/>
                  </a:lnTo>
                  <a:lnTo>
                    <a:pt x="16" y="152"/>
                  </a:lnTo>
                  <a:lnTo>
                    <a:pt x="16" y="150"/>
                  </a:lnTo>
                  <a:lnTo>
                    <a:pt x="16" y="146"/>
                  </a:lnTo>
                  <a:lnTo>
                    <a:pt x="12" y="136"/>
                  </a:lnTo>
                  <a:lnTo>
                    <a:pt x="8" y="128"/>
                  </a:lnTo>
                  <a:lnTo>
                    <a:pt x="2" y="112"/>
                  </a:lnTo>
                  <a:lnTo>
                    <a:pt x="0" y="110"/>
                  </a:lnTo>
                  <a:lnTo>
                    <a:pt x="2" y="108"/>
                  </a:lnTo>
                  <a:lnTo>
                    <a:pt x="4" y="106"/>
                  </a:lnTo>
                  <a:lnTo>
                    <a:pt x="2" y="102"/>
                  </a:lnTo>
                  <a:lnTo>
                    <a:pt x="4" y="100"/>
                  </a:lnTo>
                  <a:lnTo>
                    <a:pt x="8" y="96"/>
                  </a:lnTo>
                  <a:lnTo>
                    <a:pt x="10" y="94"/>
                  </a:lnTo>
                  <a:lnTo>
                    <a:pt x="12" y="92"/>
                  </a:lnTo>
                  <a:lnTo>
                    <a:pt x="8" y="90"/>
                  </a:lnTo>
                  <a:lnTo>
                    <a:pt x="8" y="88"/>
                  </a:lnTo>
                  <a:lnTo>
                    <a:pt x="10" y="86"/>
                  </a:lnTo>
                  <a:lnTo>
                    <a:pt x="12" y="82"/>
                  </a:lnTo>
                  <a:lnTo>
                    <a:pt x="14" y="7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4" name="Freeform 1501"/>
            <p:cNvSpPr>
              <a:spLocks/>
            </p:cNvSpPr>
            <p:nvPr/>
          </p:nvSpPr>
          <p:spPr bwMode="auto">
            <a:xfrm>
              <a:off x="6015882" y="1946022"/>
              <a:ext cx="748156" cy="628051"/>
            </a:xfrm>
            <a:custGeom>
              <a:avLst/>
              <a:gdLst/>
              <a:ahLst/>
              <a:cxnLst>
                <a:cxn ang="0">
                  <a:pos x="358" y="86"/>
                </a:cxn>
                <a:cxn ang="0">
                  <a:pos x="364" y="112"/>
                </a:cxn>
                <a:cxn ang="0">
                  <a:pos x="374" y="140"/>
                </a:cxn>
                <a:cxn ang="0">
                  <a:pos x="396" y="168"/>
                </a:cxn>
                <a:cxn ang="0">
                  <a:pos x="416" y="188"/>
                </a:cxn>
                <a:cxn ang="0">
                  <a:pos x="424" y="214"/>
                </a:cxn>
                <a:cxn ang="0">
                  <a:pos x="438" y="240"/>
                </a:cxn>
                <a:cxn ang="0">
                  <a:pos x="452" y="270"/>
                </a:cxn>
                <a:cxn ang="0">
                  <a:pos x="482" y="316"/>
                </a:cxn>
                <a:cxn ang="0">
                  <a:pos x="504" y="356"/>
                </a:cxn>
                <a:cxn ang="0">
                  <a:pos x="528" y="376"/>
                </a:cxn>
                <a:cxn ang="0">
                  <a:pos x="522" y="384"/>
                </a:cxn>
                <a:cxn ang="0">
                  <a:pos x="528" y="414"/>
                </a:cxn>
                <a:cxn ang="0">
                  <a:pos x="536" y="434"/>
                </a:cxn>
                <a:cxn ang="0">
                  <a:pos x="572" y="458"/>
                </a:cxn>
                <a:cxn ang="0">
                  <a:pos x="598" y="478"/>
                </a:cxn>
                <a:cxn ang="0">
                  <a:pos x="556" y="482"/>
                </a:cxn>
                <a:cxn ang="0">
                  <a:pos x="492" y="486"/>
                </a:cxn>
                <a:cxn ang="0">
                  <a:pos x="446" y="488"/>
                </a:cxn>
                <a:cxn ang="0">
                  <a:pos x="380" y="492"/>
                </a:cxn>
                <a:cxn ang="0">
                  <a:pos x="334" y="480"/>
                </a:cxn>
                <a:cxn ang="0">
                  <a:pos x="296" y="494"/>
                </a:cxn>
                <a:cxn ang="0">
                  <a:pos x="228" y="496"/>
                </a:cxn>
                <a:cxn ang="0">
                  <a:pos x="158" y="498"/>
                </a:cxn>
                <a:cxn ang="0">
                  <a:pos x="114" y="500"/>
                </a:cxn>
                <a:cxn ang="0">
                  <a:pos x="26" y="500"/>
                </a:cxn>
                <a:cxn ang="0">
                  <a:pos x="20" y="272"/>
                </a:cxn>
                <a:cxn ang="0">
                  <a:pos x="18" y="206"/>
                </a:cxn>
                <a:cxn ang="0">
                  <a:pos x="10" y="116"/>
                </a:cxn>
                <a:cxn ang="0">
                  <a:pos x="0" y="84"/>
                </a:cxn>
                <a:cxn ang="0">
                  <a:pos x="14" y="52"/>
                </a:cxn>
                <a:cxn ang="0">
                  <a:pos x="12" y="16"/>
                </a:cxn>
                <a:cxn ang="0">
                  <a:pos x="34" y="12"/>
                </a:cxn>
                <a:cxn ang="0">
                  <a:pos x="64" y="10"/>
                </a:cxn>
                <a:cxn ang="0">
                  <a:pos x="110" y="18"/>
                </a:cxn>
                <a:cxn ang="0">
                  <a:pos x="130" y="28"/>
                </a:cxn>
                <a:cxn ang="0">
                  <a:pos x="162" y="34"/>
                </a:cxn>
                <a:cxn ang="0">
                  <a:pos x="190" y="42"/>
                </a:cxn>
                <a:cxn ang="0">
                  <a:pos x="218" y="36"/>
                </a:cxn>
                <a:cxn ang="0">
                  <a:pos x="240" y="16"/>
                </a:cxn>
                <a:cxn ang="0">
                  <a:pos x="254" y="10"/>
                </a:cxn>
                <a:cxn ang="0">
                  <a:pos x="276" y="2"/>
                </a:cxn>
                <a:cxn ang="0">
                  <a:pos x="282" y="6"/>
                </a:cxn>
                <a:cxn ang="0">
                  <a:pos x="292" y="2"/>
                </a:cxn>
                <a:cxn ang="0">
                  <a:pos x="320" y="4"/>
                </a:cxn>
                <a:cxn ang="0">
                  <a:pos x="332" y="10"/>
                </a:cxn>
                <a:cxn ang="0">
                  <a:pos x="326" y="6"/>
                </a:cxn>
                <a:cxn ang="0">
                  <a:pos x="330" y="18"/>
                </a:cxn>
                <a:cxn ang="0">
                  <a:pos x="342" y="20"/>
                </a:cxn>
                <a:cxn ang="0">
                  <a:pos x="350" y="20"/>
                </a:cxn>
                <a:cxn ang="0">
                  <a:pos x="382" y="22"/>
                </a:cxn>
                <a:cxn ang="0">
                  <a:pos x="404" y="20"/>
                </a:cxn>
                <a:cxn ang="0">
                  <a:pos x="428" y="8"/>
                </a:cxn>
                <a:cxn ang="0">
                  <a:pos x="448" y="54"/>
                </a:cxn>
                <a:cxn ang="0">
                  <a:pos x="470" y="100"/>
                </a:cxn>
                <a:cxn ang="0">
                  <a:pos x="460" y="142"/>
                </a:cxn>
                <a:cxn ang="0">
                  <a:pos x="456" y="178"/>
                </a:cxn>
                <a:cxn ang="0">
                  <a:pos x="434" y="184"/>
                </a:cxn>
                <a:cxn ang="0">
                  <a:pos x="400" y="154"/>
                </a:cxn>
                <a:cxn ang="0">
                  <a:pos x="370" y="106"/>
                </a:cxn>
              </a:cxnLst>
              <a:rect l="0" t="0" r="r" b="b"/>
              <a:pathLst>
                <a:path w="598" h="502">
                  <a:moveTo>
                    <a:pt x="364" y="90"/>
                  </a:moveTo>
                  <a:lnTo>
                    <a:pt x="362" y="88"/>
                  </a:lnTo>
                  <a:lnTo>
                    <a:pt x="360" y="84"/>
                  </a:lnTo>
                  <a:lnTo>
                    <a:pt x="360" y="82"/>
                  </a:lnTo>
                  <a:lnTo>
                    <a:pt x="360" y="78"/>
                  </a:lnTo>
                  <a:lnTo>
                    <a:pt x="360" y="82"/>
                  </a:lnTo>
                  <a:lnTo>
                    <a:pt x="356" y="82"/>
                  </a:lnTo>
                  <a:lnTo>
                    <a:pt x="356" y="84"/>
                  </a:lnTo>
                  <a:lnTo>
                    <a:pt x="358" y="86"/>
                  </a:lnTo>
                  <a:lnTo>
                    <a:pt x="356" y="90"/>
                  </a:lnTo>
                  <a:lnTo>
                    <a:pt x="354" y="92"/>
                  </a:lnTo>
                  <a:lnTo>
                    <a:pt x="352" y="96"/>
                  </a:lnTo>
                  <a:lnTo>
                    <a:pt x="352" y="100"/>
                  </a:lnTo>
                  <a:lnTo>
                    <a:pt x="352" y="102"/>
                  </a:lnTo>
                  <a:lnTo>
                    <a:pt x="354" y="104"/>
                  </a:lnTo>
                  <a:lnTo>
                    <a:pt x="356" y="106"/>
                  </a:lnTo>
                  <a:lnTo>
                    <a:pt x="362" y="110"/>
                  </a:lnTo>
                  <a:lnTo>
                    <a:pt x="364" y="112"/>
                  </a:lnTo>
                  <a:lnTo>
                    <a:pt x="366" y="118"/>
                  </a:lnTo>
                  <a:lnTo>
                    <a:pt x="368" y="122"/>
                  </a:lnTo>
                  <a:lnTo>
                    <a:pt x="368" y="124"/>
                  </a:lnTo>
                  <a:lnTo>
                    <a:pt x="368" y="126"/>
                  </a:lnTo>
                  <a:lnTo>
                    <a:pt x="368" y="128"/>
                  </a:lnTo>
                  <a:lnTo>
                    <a:pt x="368" y="132"/>
                  </a:lnTo>
                  <a:lnTo>
                    <a:pt x="370" y="136"/>
                  </a:lnTo>
                  <a:lnTo>
                    <a:pt x="372" y="140"/>
                  </a:lnTo>
                  <a:lnTo>
                    <a:pt x="374" y="140"/>
                  </a:lnTo>
                  <a:lnTo>
                    <a:pt x="376" y="142"/>
                  </a:lnTo>
                  <a:lnTo>
                    <a:pt x="378" y="144"/>
                  </a:lnTo>
                  <a:lnTo>
                    <a:pt x="380" y="150"/>
                  </a:lnTo>
                  <a:lnTo>
                    <a:pt x="384" y="154"/>
                  </a:lnTo>
                  <a:lnTo>
                    <a:pt x="386" y="156"/>
                  </a:lnTo>
                  <a:lnTo>
                    <a:pt x="388" y="158"/>
                  </a:lnTo>
                  <a:lnTo>
                    <a:pt x="390" y="162"/>
                  </a:lnTo>
                  <a:lnTo>
                    <a:pt x="392" y="166"/>
                  </a:lnTo>
                  <a:lnTo>
                    <a:pt x="396" y="168"/>
                  </a:lnTo>
                  <a:lnTo>
                    <a:pt x="398" y="172"/>
                  </a:lnTo>
                  <a:lnTo>
                    <a:pt x="404" y="176"/>
                  </a:lnTo>
                  <a:lnTo>
                    <a:pt x="408" y="178"/>
                  </a:lnTo>
                  <a:lnTo>
                    <a:pt x="410" y="180"/>
                  </a:lnTo>
                  <a:lnTo>
                    <a:pt x="412" y="180"/>
                  </a:lnTo>
                  <a:lnTo>
                    <a:pt x="412" y="182"/>
                  </a:lnTo>
                  <a:lnTo>
                    <a:pt x="414" y="186"/>
                  </a:lnTo>
                  <a:lnTo>
                    <a:pt x="416" y="186"/>
                  </a:lnTo>
                  <a:lnTo>
                    <a:pt x="416" y="188"/>
                  </a:lnTo>
                  <a:lnTo>
                    <a:pt x="416" y="190"/>
                  </a:lnTo>
                  <a:lnTo>
                    <a:pt x="414" y="190"/>
                  </a:lnTo>
                  <a:lnTo>
                    <a:pt x="412" y="188"/>
                  </a:lnTo>
                  <a:lnTo>
                    <a:pt x="412" y="198"/>
                  </a:lnTo>
                  <a:lnTo>
                    <a:pt x="416" y="202"/>
                  </a:lnTo>
                  <a:lnTo>
                    <a:pt x="420" y="206"/>
                  </a:lnTo>
                  <a:lnTo>
                    <a:pt x="422" y="208"/>
                  </a:lnTo>
                  <a:lnTo>
                    <a:pt x="424" y="212"/>
                  </a:lnTo>
                  <a:lnTo>
                    <a:pt x="424" y="214"/>
                  </a:lnTo>
                  <a:lnTo>
                    <a:pt x="424" y="216"/>
                  </a:lnTo>
                  <a:lnTo>
                    <a:pt x="426" y="216"/>
                  </a:lnTo>
                  <a:lnTo>
                    <a:pt x="428" y="216"/>
                  </a:lnTo>
                  <a:lnTo>
                    <a:pt x="430" y="218"/>
                  </a:lnTo>
                  <a:lnTo>
                    <a:pt x="432" y="220"/>
                  </a:lnTo>
                  <a:lnTo>
                    <a:pt x="430" y="222"/>
                  </a:lnTo>
                  <a:lnTo>
                    <a:pt x="432" y="224"/>
                  </a:lnTo>
                  <a:lnTo>
                    <a:pt x="436" y="234"/>
                  </a:lnTo>
                  <a:lnTo>
                    <a:pt x="438" y="240"/>
                  </a:lnTo>
                  <a:lnTo>
                    <a:pt x="438" y="246"/>
                  </a:lnTo>
                  <a:lnTo>
                    <a:pt x="438" y="248"/>
                  </a:lnTo>
                  <a:lnTo>
                    <a:pt x="440" y="250"/>
                  </a:lnTo>
                  <a:lnTo>
                    <a:pt x="442" y="250"/>
                  </a:lnTo>
                  <a:lnTo>
                    <a:pt x="446" y="254"/>
                  </a:lnTo>
                  <a:lnTo>
                    <a:pt x="448" y="262"/>
                  </a:lnTo>
                  <a:lnTo>
                    <a:pt x="450" y="266"/>
                  </a:lnTo>
                  <a:lnTo>
                    <a:pt x="452" y="268"/>
                  </a:lnTo>
                  <a:lnTo>
                    <a:pt x="452" y="270"/>
                  </a:lnTo>
                  <a:lnTo>
                    <a:pt x="454" y="270"/>
                  </a:lnTo>
                  <a:lnTo>
                    <a:pt x="458" y="280"/>
                  </a:lnTo>
                  <a:lnTo>
                    <a:pt x="466" y="288"/>
                  </a:lnTo>
                  <a:lnTo>
                    <a:pt x="468" y="292"/>
                  </a:lnTo>
                  <a:lnTo>
                    <a:pt x="470" y="294"/>
                  </a:lnTo>
                  <a:lnTo>
                    <a:pt x="474" y="302"/>
                  </a:lnTo>
                  <a:lnTo>
                    <a:pt x="476" y="302"/>
                  </a:lnTo>
                  <a:lnTo>
                    <a:pt x="478" y="306"/>
                  </a:lnTo>
                  <a:lnTo>
                    <a:pt x="482" y="316"/>
                  </a:lnTo>
                  <a:lnTo>
                    <a:pt x="486" y="320"/>
                  </a:lnTo>
                  <a:lnTo>
                    <a:pt x="488" y="324"/>
                  </a:lnTo>
                  <a:lnTo>
                    <a:pt x="490" y="326"/>
                  </a:lnTo>
                  <a:lnTo>
                    <a:pt x="490" y="328"/>
                  </a:lnTo>
                  <a:lnTo>
                    <a:pt x="492" y="330"/>
                  </a:lnTo>
                  <a:lnTo>
                    <a:pt x="494" y="334"/>
                  </a:lnTo>
                  <a:lnTo>
                    <a:pt x="500" y="346"/>
                  </a:lnTo>
                  <a:lnTo>
                    <a:pt x="504" y="354"/>
                  </a:lnTo>
                  <a:lnTo>
                    <a:pt x="504" y="356"/>
                  </a:lnTo>
                  <a:lnTo>
                    <a:pt x="508" y="360"/>
                  </a:lnTo>
                  <a:lnTo>
                    <a:pt x="510" y="362"/>
                  </a:lnTo>
                  <a:lnTo>
                    <a:pt x="514" y="364"/>
                  </a:lnTo>
                  <a:lnTo>
                    <a:pt x="516" y="366"/>
                  </a:lnTo>
                  <a:lnTo>
                    <a:pt x="518" y="368"/>
                  </a:lnTo>
                  <a:lnTo>
                    <a:pt x="518" y="370"/>
                  </a:lnTo>
                  <a:lnTo>
                    <a:pt x="520" y="372"/>
                  </a:lnTo>
                  <a:lnTo>
                    <a:pt x="522" y="372"/>
                  </a:lnTo>
                  <a:lnTo>
                    <a:pt x="528" y="376"/>
                  </a:lnTo>
                  <a:lnTo>
                    <a:pt x="532" y="380"/>
                  </a:lnTo>
                  <a:lnTo>
                    <a:pt x="534" y="380"/>
                  </a:lnTo>
                  <a:lnTo>
                    <a:pt x="536" y="382"/>
                  </a:lnTo>
                  <a:lnTo>
                    <a:pt x="538" y="384"/>
                  </a:lnTo>
                  <a:lnTo>
                    <a:pt x="528" y="384"/>
                  </a:lnTo>
                  <a:lnTo>
                    <a:pt x="526" y="382"/>
                  </a:lnTo>
                  <a:lnTo>
                    <a:pt x="524" y="382"/>
                  </a:lnTo>
                  <a:lnTo>
                    <a:pt x="522" y="382"/>
                  </a:lnTo>
                  <a:lnTo>
                    <a:pt x="522" y="384"/>
                  </a:lnTo>
                  <a:lnTo>
                    <a:pt x="522" y="392"/>
                  </a:lnTo>
                  <a:lnTo>
                    <a:pt x="524" y="394"/>
                  </a:lnTo>
                  <a:lnTo>
                    <a:pt x="524" y="396"/>
                  </a:lnTo>
                  <a:lnTo>
                    <a:pt x="524" y="398"/>
                  </a:lnTo>
                  <a:lnTo>
                    <a:pt x="524" y="402"/>
                  </a:lnTo>
                  <a:lnTo>
                    <a:pt x="524" y="406"/>
                  </a:lnTo>
                  <a:lnTo>
                    <a:pt x="526" y="408"/>
                  </a:lnTo>
                  <a:lnTo>
                    <a:pt x="528" y="412"/>
                  </a:lnTo>
                  <a:lnTo>
                    <a:pt x="528" y="414"/>
                  </a:lnTo>
                  <a:lnTo>
                    <a:pt x="528" y="416"/>
                  </a:lnTo>
                  <a:lnTo>
                    <a:pt x="530" y="420"/>
                  </a:lnTo>
                  <a:lnTo>
                    <a:pt x="530" y="422"/>
                  </a:lnTo>
                  <a:lnTo>
                    <a:pt x="532" y="424"/>
                  </a:lnTo>
                  <a:lnTo>
                    <a:pt x="532" y="426"/>
                  </a:lnTo>
                  <a:lnTo>
                    <a:pt x="534" y="426"/>
                  </a:lnTo>
                  <a:lnTo>
                    <a:pt x="534" y="430"/>
                  </a:lnTo>
                  <a:lnTo>
                    <a:pt x="534" y="432"/>
                  </a:lnTo>
                  <a:lnTo>
                    <a:pt x="536" y="434"/>
                  </a:lnTo>
                  <a:lnTo>
                    <a:pt x="540" y="438"/>
                  </a:lnTo>
                  <a:lnTo>
                    <a:pt x="544" y="444"/>
                  </a:lnTo>
                  <a:lnTo>
                    <a:pt x="546" y="444"/>
                  </a:lnTo>
                  <a:lnTo>
                    <a:pt x="550" y="446"/>
                  </a:lnTo>
                  <a:lnTo>
                    <a:pt x="554" y="448"/>
                  </a:lnTo>
                  <a:lnTo>
                    <a:pt x="560" y="448"/>
                  </a:lnTo>
                  <a:lnTo>
                    <a:pt x="564" y="450"/>
                  </a:lnTo>
                  <a:lnTo>
                    <a:pt x="566" y="452"/>
                  </a:lnTo>
                  <a:lnTo>
                    <a:pt x="572" y="458"/>
                  </a:lnTo>
                  <a:lnTo>
                    <a:pt x="572" y="460"/>
                  </a:lnTo>
                  <a:lnTo>
                    <a:pt x="576" y="464"/>
                  </a:lnTo>
                  <a:lnTo>
                    <a:pt x="576" y="466"/>
                  </a:lnTo>
                  <a:lnTo>
                    <a:pt x="578" y="466"/>
                  </a:lnTo>
                  <a:lnTo>
                    <a:pt x="580" y="466"/>
                  </a:lnTo>
                  <a:lnTo>
                    <a:pt x="590" y="472"/>
                  </a:lnTo>
                  <a:lnTo>
                    <a:pt x="594" y="474"/>
                  </a:lnTo>
                  <a:lnTo>
                    <a:pt x="596" y="478"/>
                  </a:lnTo>
                  <a:lnTo>
                    <a:pt x="598" y="478"/>
                  </a:lnTo>
                  <a:lnTo>
                    <a:pt x="598" y="480"/>
                  </a:lnTo>
                  <a:lnTo>
                    <a:pt x="596" y="480"/>
                  </a:lnTo>
                  <a:lnTo>
                    <a:pt x="590" y="480"/>
                  </a:lnTo>
                  <a:lnTo>
                    <a:pt x="588" y="480"/>
                  </a:lnTo>
                  <a:lnTo>
                    <a:pt x="582" y="482"/>
                  </a:lnTo>
                  <a:lnTo>
                    <a:pt x="576" y="482"/>
                  </a:lnTo>
                  <a:lnTo>
                    <a:pt x="570" y="482"/>
                  </a:lnTo>
                  <a:lnTo>
                    <a:pt x="568" y="482"/>
                  </a:lnTo>
                  <a:lnTo>
                    <a:pt x="556" y="482"/>
                  </a:lnTo>
                  <a:lnTo>
                    <a:pt x="552" y="484"/>
                  </a:lnTo>
                  <a:lnTo>
                    <a:pt x="544" y="484"/>
                  </a:lnTo>
                  <a:lnTo>
                    <a:pt x="528" y="484"/>
                  </a:lnTo>
                  <a:lnTo>
                    <a:pt x="524" y="484"/>
                  </a:lnTo>
                  <a:lnTo>
                    <a:pt x="514" y="486"/>
                  </a:lnTo>
                  <a:lnTo>
                    <a:pt x="506" y="486"/>
                  </a:lnTo>
                  <a:lnTo>
                    <a:pt x="504" y="486"/>
                  </a:lnTo>
                  <a:lnTo>
                    <a:pt x="502" y="486"/>
                  </a:lnTo>
                  <a:lnTo>
                    <a:pt x="492" y="486"/>
                  </a:lnTo>
                  <a:lnTo>
                    <a:pt x="490" y="486"/>
                  </a:lnTo>
                  <a:lnTo>
                    <a:pt x="476" y="488"/>
                  </a:lnTo>
                  <a:lnTo>
                    <a:pt x="466" y="488"/>
                  </a:lnTo>
                  <a:lnTo>
                    <a:pt x="464" y="488"/>
                  </a:lnTo>
                  <a:lnTo>
                    <a:pt x="462" y="488"/>
                  </a:lnTo>
                  <a:lnTo>
                    <a:pt x="456" y="488"/>
                  </a:lnTo>
                  <a:lnTo>
                    <a:pt x="452" y="488"/>
                  </a:lnTo>
                  <a:lnTo>
                    <a:pt x="448" y="488"/>
                  </a:lnTo>
                  <a:lnTo>
                    <a:pt x="446" y="488"/>
                  </a:lnTo>
                  <a:lnTo>
                    <a:pt x="434" y="490"/>
                  </a:lnTo>
                  <a:lnTo>
                    <a:pt x="428" y="490"/>
                  </a:lnTo>
                  <a:lnTo>
                    <a:pt x="420" y="490"/>
                  </a:lnTo>
                  <a:lnTo>
                    <a:pt x="394" y="490"/>
                  </a:lnTo>
                  <a:lnTo>
                    <a:pt x="388" y="492"/>
                  </a:lnTo>
                  <a:lnTo>
                    <a:pt x="386" y="492"/>
                  </a:lnTo>
                  <a:lnTo>
                    <a:pt x="384" y="492"/>
                  </a:lnTo>
                  <a:lnTo>
                    <a:pt x="382" y="492"/>
                  </a:lnTo>
                  <a:lnTo>
                    <a:pt x="380" y="492"/>
                  </a:lnTo>
                  <a:lnTo>
                    <a:pt x="362" y="492"/>
                  </a:lnTo>
                  <a:lnTo>
                    <a:pt x="342" y="492"/>
                  </a:lnTo>
                  <a:lnTo>
                    <a:pt x="338" y="492"/>
                  </a:lnTo>
                  <a:lnTo>
                    <a:pt x="336" y="492"/>
                  </a:lnTo>
                  <a:lnTo>
                    <a:pt x="338" y="484"/>
                  </a:lnTo>
                  <a:lnTo>
                    <a:pt x="338" y="482"/>
                  </a:lnTo>
                  <a:lnTo>
                    <a:pt x="336" y="482"/>
                  </a:lnTo>
                  <a:lnTo>
                    <a:pt x="336" y="480"/>
                  </a:lnTo>
                  <a:lnTo>
                    <a:pt x="334" y="480"/>
                  </a:lnTo>
                  <a:lnTo>
                    <a:pt x="334" y="482"/>
                  </a:lnTo>
                  <a:lnTo>
                    <a:pt x="330" y="488"/>
                  </a:lnTo>
                  <a:lnTo>
                    <a:pt x="330" y="490"/>
                  </a:lnTo>
                  <a:lnTo>
                    <a:pt x="328" y="492"/>
                  </a:lnTo>
                  <a:lnTo>
                    <a:pt x="326" y="494"/>
                  </a:lnTo>
                  <a:lnTo>
                    <a:pt x="324" y="494"/>
                  </a:lnTo>
                  <a:lnTo>
                    <a:pt x="304" y="494"/>
                  </a:lnTo>
                  <a:lnTo>
                    <a:pt x="300" y="494"/>
                  </a:lnTo>
                  <a:lnTo>
                    <a:pt x="296" y="494"/>
                  </a:lnTo>
                  <a:lnTo>
                    <a:pt x="292" y="494"/>
                  </a:lnTo>
                  <a:lnTo>
                    <a:pt x="290" y="494"/>
                  </a:lnTo>
                  <a:lnTo>
                    <a:pt x="284" y="494"/>
                  </a:lnTo>
                  <a:lnTo>
                    <a:pt x="280" y="494"/>
                  </a:lnTo>
                  <a:lnTo>
                    <a:pt x="272" y="496"/>
                  </a:lnTo>
                  <a:lnTo>
                    <a:pt x="248" y="496"/>
                  </a:lnTo>
                  <a:lnTo>
                    <a:pt x="244" y="496"/>
                  </a:lnTo>
                  <a:lnTo>
                    <a:pt x="230" y="496"/>
                  </a:lnTo>
                  <a:lnTo>
                    <a:pt x="228" y="496"/>
                  </a:lnTo>
                  <a:lnTo>
                    <a:pt x="226" y="496"/>
                  </a:lnTo>
                  <a:lnTo>
                    <a:pt x="224" y="496"/>
                  </a:lnTo>
                  <a:lnTo>
                    <a:pt x="222" y="498"/>
                  </a:lnTo>
                  <a:lnTo>
                    <a:pt x="220" y="498"/>
                  </a:lnTo>
                  <a:lnTo>
                    <a:pt x="200" y="498"/>
                  </a:lnTo>
                  <a:lnTo>
                    <a:pt x="186" y="498"/>
                  </a:lnTo>
                  <a:lnTo>
                    <a:pt x="184" y="498"/>
                  </a:lnTo>
                  <a:lnTo>
                    <a:pt x="182" y="498"/>
                  </a:lnTo>
                  <a:lnTo>
                    <a:pt x="158" y="498"/>
                  </a:lnTo>
                  <a:lnTo>
                    <a:pt x="142" y="500"/>
                  </a:lnTo>
                  <a:lnTo>
                    <a:pt x="140" y="500"/>
                  </a:lnTo>
                  <a:lnTo>
                    <a:pt x="138" y="500"/>
                  </a:lnTo>
                  <a:lnTo>
                    <a:pt x="136" y="500"/>
                  </a:lnTo>
                  <a:lnTo>
                    <a:pt x="130" y="500"/>
                  </a:lnTo>
                  <a:lnTo>
                    <a:pt x="128" y="500"/>
                  </a:lnTo>
                  <a:lnTo>
                    <a:pt x="120" y="500"/>
                  </a:lnTo>
                  <a:lnTo>
                    <a:pt x="118" y="500"/>
                  </a:lnTo>
                  <a:lnTo>
                    <a:pt x="114" y="500"/>
                  </a:lnTo>
                  <a:lnTo>
                    <a:pt x="108" y="500"/>
                  </a:lnTo>
                  <a:lnTo>
                    <a:pt x="106" y="500"/>
                  </a:lnTo>
                  <a:lnTo>
                    <a:pt x="90" y="500"/>
                  </a:lnTo>
                  <a:lnTo>
                    <a:pt x="64" y="500"/>
                  </a:lnTo>
                  <a:lnTo>
                    <a:pt x="46" y="502"/>
                  </a:lnTo>
                  <a:lnTo>
                    <a:pt x="36" y="502"/>
                  </a:lnTo>
                  <a:lnTo>
                    <a:pt x="32" y="502"/>
                  </a:lnTo>
                  <a:lnTo>
                    <a:pt x="26" y="502"/>
                  </a:lnTo>
                  <a:lnTo>
                    <a:pt x="26" y="500"/>
                  </a:lnTo>
                  <a:lnTo>
                    <a:pt x="26" y="486"/>
                  </a:lnTo>
                  <a:lnTo>
                    <a:pt x="24" y="420"/>
                  </a:lnTo>
                  <a:lnTo>
                    <a:pt x="24" y="398"/>
                  </a:lnTo>
                  <a:lnTo>
                    <a:pt x="22" y="382"/>
                  </a:lnTo>
                  <a:lnTo>
                    <a:pt x="22" y="358"/>
                  </a:lnTo>
                  <a:lnTo>
                    <a:pt x="22" y="348"/>
                  </a:lnTo>
                  <a:lnTo>
                    <a:pt x="22" y="326"/>
                  </a:lnTo>
                  <a:lnTo>
                    <a:pt x="22" y="298"/>
                  </a:lnTo>
                  <a:lnTo>
                    <a:pt x="20" y="272"/>
                  </a:lnTo>
                  <a:lnTo>
                    <a:pt x="20" y="268"/>
                  </a:lnTo>
                  <a:lnTo>
                    <a:pt x="20" y="260"/>
                  </a:lnTo>
                  <a:lnTo>
                    <a:pt x="20" y="248"/>
                  </a:lnTo>
                  <a:lnTo>
                    <a:pt x="20" y="246"/>
                  </a:lnTo>
                  <a:lnTo>
                    <a:pt x="20" y="242"/>
                  </a:lnTo>
                  <a:lnTo>
                    <a:pt x="18" y="224"/>
                  </a:lnTo>
                  <a:lnTo>
                    <a:pt x="18" y="214"/>
                  </a:lnTo>
                  <a:lnTo>
                    <a:pt x="18" y="210"/>
                  </a:lnTo>
                  <a:lnTo>
                    <a:pt x="18" y="206"/>
                  </a:lnTo>
                  <a:lnTo>
                    <a:pt x="18" y="198"/>
                  </a:lnTo>
                  <a:lnTo>
                    <a:pt x="18" y="194"/>
                  </a:lnTo>
                  <a:lnTo>
                    <a:pt x="18" y="188"/>
                  </a:lnTo>
                  <a:lnTo>
                    <a:pt x="18" y="180"/>
                  </a:lnTo>
                  <a:lnTo>
                    <a:pt x="16" y="144"/>
                  </a:lnTo>
                  <a:lnTo>
                    <a:pt x="16" y="130"/>
                  </a:lnTo>
                  <a:lnTo>
                    <a:pt x="10" y="122"/>
                  </a:lnTo>
                  <a:lnTo>
                    <a:pt x="10" y="120"/>
                  </a:lnTo>
                  <a:lnTo>
                    <a:pt x="10" y="116"/>
                  </a:lnTo>
                  <a:lnTo>
                    <a:pt x="10" y="112"/>
                  </a:lnTo>
                  <a:lnTo>
                    <a:pt x="6" y="100"/>
                  </a:lnTo>
                  <a:lnTo>
                    <a:pt x="8" y="100"/>
                  </a:lnTo>
                  <a:lnTo>
                    <a:pt x="8" y="98"/>
                  </a:lnTo>
                  <a:lnTo>
                    <a:pt x="6" y="96"/>
                  </a:lnTo>
                  <a:lnTo>
                    <a:pt x="6" y="94"/>
                  </a:lnTo>
                  <a:lnTo>
                    <a:pt x="4" y="90"/>
                  </a:lnTo>
                  <a:lnTo>
                    <a:pt x="2" y="86"/>
                  </a:lnTo>
                  <a:lnTo>
                    <a:pt x="0" y="84"/>
                  </a:lnTo>
                  <a:lnTo>
                    <a:pt x="0" y="82"/>
                  </a:lnTo>
                  <a:lnTo>
                    <a:pt x="2" y="80"/>
                  </a:lnTo>
                  <a:lnTo>
                    <a:pt x="4" y="76"/>
                  </a:lnTo>
                  <a:lnTo>
                    <a:pt x="6" y="74"/>
                  </a:lnTo>
                  <a:lnTo>
                    <a:pt x="8" y="72"/>
                  </a:lnTo>
                  <a:lnTo>
                    <a:pt x="8" y="70"/>
                  </a:lnTo>
                  <a:lnTo>
                    <a:pt x="10" y="66"/>
                  </a:lnTo>
                  <a:lnTo>
                    <a:pt x="12" y="58"/>
                  </a:lnTo>
                  <a:lnTo>
                    <a:pt x="14" y="52"/>
                  </a:lnTo>
                  <a:lnTo>
                    <a:pt x="12" y="48"/>
                  </a:lnTo>
                  <a:lnTo>
                    <a:pt x="12" y="46"/>
                  </a:lnTo>
                  <a:lnTo>
                    <a:pt x="8" y="40"/>
                  </a:lnTo>
                  <a:lnTo>
                    <a:pt x="8" y="38"/>
                  </a:lnTo>
                  <a:lnTo>
                    <a:pt x="6" y="32"/>
                  </a:lnTo>
                  <a:lnTo>
                    <a:pt x="6" y="22"/>
                  </a:lnTo>
                  <a:lnTo>
                    <a:pt x="8" y="20"/>
                  </a:lnTo>
                  <a:lnTo>
                    <a:pt x="10" y="18"/>
                  </a:lnTo>
                  <a:lnTo>
                    <a:pt x="12" y="16"/>
                  </a:lnTo>
                  <a:lnTo>
                    <a:pt x="14" y="14"/>
                  </a:lnTo>
                  <a:lnTo>
                    <a:pt x="14" y="12"/>
                  </a:lnTo>
                  <a:lnTo>
                    <a:pt x="14" y="10"/>
                  </a:lnTo>
                  <a:lnTo>
                    <a:pt x="16" y="10"/>
                  </a:lnTo>
                  <a:lnTo>
                    <a:pt x="18" y="8"/>
                  </a:lnTo>
                  <a:lnTo>
                    <a:pt x="20" y="12"/>
                  </a:lnTo>
                  <a:lnTo>
                    <a:pt x="26" y="14"/>
                  </a:lnTo>
                  <a:lnTo>
                    <a:pt x="30" y="14"/>
                  </a:lnTo>
                  <a:lnTo>
                    <a:pt x="34" y="12"/>
                  </a:lnTo>
                  <a:lnTo>
                    <a:pt x="38" y="12"/>
                  </a:lnTo>
                  <a:lnTo>
                    <a:pt x="42" y="10"/>
                  </a:lnTo>
                  <a:lnTo>
                    <a:pt x="48" y="8"/>
                  </a:lnTo>
                  <a:lnTo>
                    <a:pt x="50" y="8"/>
                  </a:lnTo>
                  <a:lnTo>
                    <a:pt x="52" y="8"/>
                  </a:lnTo>
                  <a:lnTo>
                    <a:pt x="54" y="8"/>
                  </a:lnTo>
                  <a:lnTo>
                    <a:pt x="56" y="8"/>
                  </a:lnTo>
                  <a:lnTo>
                    <a:pt x="62" y="10"/>
                  </a:lnTo>
                  <a:lnTo>
                    <a:pt x="64" y="10"/>
                  </a:lnTo>
                  <a:lnTo>
                    <a:pt x="70" y="12"/>
                  </a:lnTo>
                  <a:lnTo>
                    <a:pt x="72" y="12"/>
                  </a:lnTo>
                  <a:lnTo>
                    <a:pt x="74" y="12"/>
                  </a:lnTo>
                  <a:lnTo>
                    <a:pt x="80" y="12"/>
                  </a:lnTo>
                  <a:lnTo>
                    <a:pt x="86" y="14"/>
                  </a:lnTo>
                  <a:lnTo>
                    <a:pt x="92" y="14"/>
                  </a:lnTo>
                  <a:lnTo>
                    <a:pt x="98" y="16"/>
                  </a:lnTo>
                  <a:lnTo>
                    <a:pt x="106" y="18"/>
                  </a:lnTo>
                  <a:lnTo>
                    <a:pt x="110" y="18"/>
                  </a:lnTo>
                  <a:lnTo>
                    <a:pt x="114" y="18"/>
                  </a:lnTo>
                  <a:lnTo>
                    <a:pt x="116" y="18"/>
                  </a:lnTo>
                  <a:lnTo>
                    <a:pt x="118" y="18"/>
                  </a:lnTo>
                  <a:lnTo>
                    <a:pt x="120" y="20"/>
                  </a:lnTo>
                  <a:lnTo>
                    <a:pt x="120" y="22"/>
                  </a:lnTo>
                  <a:lnTo>
                    <a:pt x="120" y="24"/>
                  </a:lnTo>
                  <a:lnTo>
                    <a:pt x="122" y="26"/>
                  </a:lnTo>
                  <a:lnTo>
                    <a:pt x="124" y="26"/>
                  </a:lnTo>
                  <a:lnTo>
                    <a:pt x="130" y="28"/>
                  </a:lnTo>
                  <a:lnTo>
                    <a:pt x="132" y="28"/>
                  </a:lnTo>
                  <a:lnTo>
                    <a:pt x="140" y="26"/>
                  </a:lnTo>
                  <a:lnTo>
                    <a:pt x="140" y="24"/>
                  </a:lnTo>
                  <a:lnTo>
                    <a:pt x="142" y="24"/>
                  </a:lnTo>
                  <a:lnTo>
                    <a:pt x="142" y="28"/>
                  </a:lnTo>
                  <a:lnTo>
                    <a:pt x="144" y="30"/>
                  </a:lnTo>
                  <a:lnTo>
                    <a:pt x="144" y="32"/>
                  </a:lnTo>
                  <a:lnTo>
                    <a:pt x="156" y="32"/>
                  </a:lnTo>
                  <a:lnTo>
                    <a:pt x="162" y="34"/>
                  </a:lnTo>
                  <a:lnTo>
                    <a:pt x="164" y="32"/>
                  </a:lnTo>
                  <a:lnTo>
                    <a:pt x="166" y="32"/>
                  </a:lnTo>
                  <a:lnTo>
                    <a:pt x="168" y="32"/>
                  </a:lnTo>
                  <a:lnTo>
                    <a:pt x="174" y="34"/>
                  </a:lnTo>
                  <a:lnTo>
                    <a:pt x="182" y="36"/>
                  </a:lnTo>
                  <a:lnTo>
                    <a:pt x="184" y="36"/>
                  </a:lnTo>
                  <a:lnTo>
                    <a:pt x="186" y="38"/>
                  </a:lnTo>
                  <a:lnTo>
                    <a:pt x="186" y="40"/>
                  </a:lnTo>
                  <a:lnTo>
                    <a:pt x="190" y="42"/>
                  </a:lnTo>
                  <a:lnTo>
                    <a:pt x="194" y="44"/>
                  </a:lnTo>
                  <a:lnTo>
                    <a:pt x="196" y="44"/>
                  </a:lnTo>
                  <a:lnTo>
                    <a:pt x="198" y="44"/>
                  </a:lnTo>
                  <a:lnTo>
                    <a:pt x="200" y="44"/>
                  </a:lnTo>
                  <a:lnTo>
                    <a:pt x="202" y="44"/>
                  </a:lnTo>
                  <a:lnTo>
                    <a:pt x="206" y="42"/>
                  </a:lnTo>
                  <a:lnTo>
                    <a:pt x="210" y="40"/>
                  </a:lnTo>
                  <a:lnTo>
                    <a:pt x="216" y="38"/>
                  </a:lnTo>
                  <a:lnTo>
                    <a:pt x="218" y="36"/>
                  </a:lnTo>
                  <a:lnTo>
                    <a:pt x="220" y="34"/>
                  </a:lnTo>
                  <a:lnTo>
                    <a:pt x="222" y="34"/>
                  </a:lnTo>
                  <a:lnTo>
                    <a:pt x="222" y="32"/>
                  </a:lnTo>
                  <a:lnTo>
                    <a:pt x="226" y="30"/>
                  </a:lnTo>
                  <a:lnTo>
                    <a:pt x="228" y="28"/>
                  </a:lnTo>
                  <a:lnTo>
                    <a:pt x="230" y="26"/>
                  </a:lnTo>
                  <a:lnTo>
                    <a:pt x="238" y="20"/>
                  </a:lnTo>
                  <a:lnTo>
                    <a:pt x="240" y="18"/>
                  </a:lnTo>
                  <a:lnTo>
                    <a:pt x="240" y="16"/>
                  </a:lnTo>
                  <a:lnTo>
                    <a:pt x="242" y="18"/>
                  </a:lnTo>
                  <a:lnTo>
                    <a:pt x="246" y="22"/>
                  </a:lnTo>
                  <a:lnTo>
                    <a:pt x="248" y="22"/>
                  </a:lnTo>
                  <a:lnTo>
                    <a:pt x="252" y="20"/>
                  </a:lnTo>
                  <a:lnTo>
                    <a:pt x="252" y="18"/>
                  </a:lnTo>
                  <a:lnTo>
                    <a:pt x="252" y="16"/>
                  </a:lnTo>
                  <a:lnTo>
                    <a:pt x="254" y="10"/>
                  </a:lnTo>
                  <a:lnTo>
                    <a:pt x="256" y="10"/>
                  </a:lnTo>
                  <a:lnTo>
                    <a:pt x="254" y="10"/>
                  </a:lnTo>
                  <a:lnTo>
                    <a:pt x="254" y="6"/>
                  </a:lnTo>
                  <a:lnTo>
                    <a:pt x="256" y="8"/>
                  </a:lnTo>
                  <a:lnTo>
                    <a:pt x="258" y="8"/>
                  </a:lnTo>
                  <a:lnTo>
                    <a:pt x="260" y="10"/>
                  </a:lnTo>
                  <a:lnTo>
                    <a:pt x="264" y="8"/>
                  </a:lnTo>
                  <a:lnTo>
                    <a:pt x="270" y="6"/>
                  </a:lnTo>
                  <a:lnTo>
                    <a:pt x="272" y="4"/>
                  </a:lnTo>
                  <a:lnTo>
                    <a:pt x="274" y="4"/>
                  </a:lnTo>
                  <a:lnTo>
                    <a:pt x="276" y="2"/>
                  </a:lnTo>
                  <a:lnTo>
                    <a:pt x="280" y="2"/>
                  </a:lnTo>
                  <a:lnTo>
                    <a:pt x="270" y="8"/>
                  </a:lnTo>
                  <a:lnTo>
                    <a:pt x="264" y="10"/>
                  </a:lnTo>
                  <a:lnTo>
                    <a:pt x="262" y="12"/>
                  </a:lnTo>
                  <a:lnTo>
                    <a:pt x="264" y="12"/>
                  </a:lnTo>
                  <a:lnTo>
                    <a:pt x="272" y="12"/>
                  </a:lnTo>
                  <a:lnTo>
                    <a:pt x="278" y="10"/>
                  </a:lnTo>
                  <a:lnTo>
                    <a:pt x="282" y="8"/>
                  </a:lnTo>
                  <a:lnTo>
                    <a:pt x="282" y="6"/>
                  </a:lnTo>
                  <a:lnTo>
                    <a:pt x="288" y="6"/>
                  </a:lnTo>
                  <a:lnTo>
                    <a:pt x="288" y="2"/>
                  </a:lnTo>
                  <a:lnTo>
                    <a:pt x="286" y="2"/>
                  </a:lnTo>
                  <a:lnTo>
                    <a:pt x="284" y="2"/>
                  </a:lnTo>
                  <a:lnTo>
                    <a:pt x="282" y="2"/>
                  </a:lnTo>
                  <a:lnTo>
                    <a:pt x="282" y="0"/>
                  </a:lnTo>
                  <a:lnTo>
                    <a:pt x="286" y="0"/>
                  </a:lnTo>
                  <a:lnTo>
                    <a:pt x="288" y="0"/>
                  </a:lnTo>
                  <a:lnTo>
                    <a:pt x="292" y="2"/>
                  </a:lnTo>
                  <a:lnTo>
                    <a:pt x="294" y="2"/>
                  </a:lnTo>
                  <a:lnTo>
                    <a:pt x="298" y="2"/>
                  </a:lnTo>
                  <a:lnTo>
                    <a:pt x="302" y="6"/>
                  </a:lnTo>
                  <a:lnTo>
                    <a:pt x="306" y="8"/>
                  </a:lnTo>
                  <a:lnTo>
                    <a:pt x="308" y="8"/>
                  </a:lnTo>
                  <a:lnTo>
                    <a:pt x="310" y="8"/>
                  </a:lnTo>
                  <a:lnTo>
                    <a:pt x="314" y="6"/>
                  </a:lnTo>
                  <a:lnTo>
                    <a:pt x="316" y="4"/>
                  </a:lnTo>
                  <a:lnTo>
                    <a:pt x="320" y="4"/>
                  </a:lnTo>
                  <a:lnTo>
                    <a:pt x="320" y="2"/>
                  </a:lnTo>
                  <a:lnTo>
                    <a:pt x="322" y="2"/>
                  </a:lnTo>
                  <a:lnTo>
                    <a:pt x="324" y="2"/>
                  </a:lnTo>
                  <a:lnTo>
                    <a:pt x="326" y="2"/>
                  </a:lnTo>
                  <a:lnTo>
                    <a:pt x="326" y="4"/>
                  </a:lnTo>
                  <a:lnTo>
                    <a:pt x="328" y="6"/>
                  </a:lnTo>
                  <a:lnTo>
                    <a:pt x="328" y="8"/>
                  </a:lnTo>
                  <a:lnTo>
                    <a:pt x="330" y="10"/>
                  </a:lnTo>
                  <a:lnTo>
                    <a:pt x="332" y="10"/>
                  </a:lnTo>
                  <a:lnTo>
                    <a:pt x="334" y="10"/>
                  </a:lnTo>
                  <a:lnTo>
                    <a:pt x="338" y="14"/>
                  </a:lnTo>
                  <a:lnTo>
                    <a:pt x="336" y="12"/>
                  </a:lnTo>
                  <a:lnTo>
                    <a:pt x="334" y="12"/>
                  </a:lnTo>
                  <a:lnTo>
                    <a:pt x="332" y="12"/>
                  </a:lnTo>
                  <a:lnTo>
                    <a:pt x="332" y="10"/>
                  </a:lnTo>
                  <a:lnTo>
                    <a:pt x="328" y="10"/>
                  </a:lnTo>
                  <a:lnTo>
                    <a:pt x="328" y="8"/>
                  </a:lnTo>
                  <a:lnTo>
                    <a:pt x="326" y="6"/>
                  </a:lnTo>
                  <a:lnTo>
                    <a:pt x="326" y="2"/>
                  </a:lnTo>
                  <a:lnTo>
                    <a:pt x="324" y="2"/>
                  </a:lnTo>
                  <a:lnTo>
                    <a:pt x="322" y="2"/>
                  </a:lnTo>
                  <a:lnTo>
                    <a:pt x="318" y="14"/>
                  </a:lnTo>
                  <a:lnTo>
                    <a:pt x="320" y="14"/>
                  </a:lnTo>
                  <a:lnTo>
                    <a:pt x="322" y="16"/>
                  </a:lnTo>
                  <a:lnTo>
                    <a:pt x="326" y="20"/>
                  </a:lnTo>
                  <a:lnTo>
                    <a:pt x="326" y="18"/>
                  </a:lnTo>
                  <a:lnTo>
                    <a:pt x="330" y="18"/>
                  </a:lnTo>
                  <a:lnTo>
                    <a:pt x="332" y="20"/>
                  </a:lnTo>
                  <a:lnTo>
                    <a:pt x="330" y="20"/>
                  </a:lnTo>
                  <a:lnTo>
                    <a:pt x="332" y="22"/>
                  </a:lnTo>
                  <a:lnTo>
                    <a:pt x="334" y="24"/>
                  </a:lnTo>
                  <a:lnTo>
                    <a:pt x="336" y="24"/>
                  </a:lnTo>
                  <a:lnTo>
                    <a:pt x="338" y="22"/>
                  </a:lnTo>
                  <a:lnTo>
                    <a:pt x="340" y="24"/>
                  </a:lnTo>
                  <a:lnTo>
                    <a:pt x="342" y="22"/>
                  </a:lnTo>
                  <a:lnTo>
                    <a:pt x="342" y="20"/>
                  </a:lnTo>
                  <a:lnTo>
                    <a:pt x="342" y="18"/>
                  </a:lnTo>
                  <a:lnTo>
                    <a:pt x="342" y="14"/>
                  </a:lnTo>
                  <a:lnTo>
                    <a:pt x="340" y="14"/>
                  </a:lnTo>
                  <a:lnTo>
                    <a:pt x="338" y="14"/>
                  </a:lnTo>
                  <a:lnTo>
                    <a:pt x="340" y="14"/>
                  </a:lnTo>
                  <a:lnTo>
                    <a:pt x="342" y="14"/>
                  </a:lnTo>
                  <a:lnTo>
                    <a:pt x="344" y="14"/>
                  </a:lnTo>
                  <a:lnTo>
                    <a:pt x="348" y="16"/>
                  </a:lnTo>
                  <a:lnTo>
                    <a:pt x="350" y="20"/>
                  </a:lnTo>
                  <a:lnTo>
                    <a:pt x="352" y="22"/>
                  </a:lnTo>
                  <a:lnTo>
                    <a:pt x="354" y="24"/>
                  </a:lnTo>
                  <a:lnTo>
                    <a:pt x="358" y="24"/>
                  </a:lnTo>
                  <a:lnTo>
                    <a:pt x="360" y="24"/>
                  </a:lnTo>
                  <a:lnTo>
                    <a:pt x="362" y="26"/>
                  </a:lnTo>
                  <a:lnTo>
                    <a:pt x="366" y="24"/>
                  </a:lnTo>
                  <a:lnTo>
                    <a:pt x="376" y="18"/>
                  </a:lnTo>
                  <a:lnTo>
                    <a:pt x="380" y="16"/>
                  </a:lnTo>
                  <a:lnTo>
                    <a:pt x="382" y="22"/>
                  </a:lnTo>
                  <a:lnTo>
                    <a:pt x="382" y="24"/>
                  </a:lnTo>
                  <a:lnTo>
                    <a:pt x="384" y="24"/>
                  </a:lnTo>
                  <a:lnTo>
                    <a:pt x="386" y="22"/>
                  </a:lnTo>
                  <a:lnTo>
                    <a:pt x="390" y="20"/>
                  </a:lnTo>
                  <a:lnTo>
                    <a:pt x="392" y="18"/>
                  </a:lnTo>
                  <a:lnTo>
                    <a:pt x="396" y="18"/>
                  </a:lnTo>
                  <a:lnTo>
                    <a:pt x="398" y="20"/>
                  </a:lnTo>
                  <a:lnTo>
                    <a:pt x="402" y="20"/>
                  </a:lnTo>
                  <a:lnTo>
                    <a:pt x="404" y="20"/>
                  </a:lnTo>
                  <a:lnTo>
                    <a:pt x="404" y="18"/>
                  </a:lnTo>
                  <a:lnTo>
                    <a:pt x="408" y="18"/>
                  </a:lnTo>
                  <a:lnTo>
                    <a:pt x="412" y="16"/>
                  </a:lnTo>
                  <a:lnTo>
                    <a:pt x="414" y="16"/>
                  </a:lnTo>
                  <a:lnTo>
                    <a:pt x="416" y="14"/>
                  </a:lnTo>
                  <a:lnTo>
                    <a:pt x="418" y="14"/>
                  </a:lnTo>
                  <a:lnTo>
                    <a:pt x="422" y="12"/>
                  </a:lnTo>
                  <a:lnTo>
                    <a:pt x="424" y="12"/>
                  </a:lnTo>
                  <a:lnTo>
                    <a:pt x="428" y="8"/>
                  </a:lnTo>
                  <a:lnTo>
                    <a:pt x="428" y="6"/>
                  </a:lnTo>
                  <a:lnTo>
                    <a:pt x="430" y="8"/>
                  </a:lnTo>
                  <a:lnTo>
                    <a:pt x="432" y="12"/>
                  </a:lnTo>
                  <a:lnTo>
                    <a:pt x="434" y="14"/>
                  </a:lnTo>
                  <a:lnTo>
                    <a:pt x="440" y="30"/>
                  </a:lnTo>
                  <a:lnTo>
                    <a:pt x="444" y="38"/>
                  </a:lnTo>
                  <a:lnTo>
                    <a:pt x="448" y="48"/>
                  </a:lnTo>
                  <a:lnTo>
                    <a:pt x="448" y="52"/>
                  </a:lnTo>
                  <a:lnTo>
                    <a:pt x="448" y="54"/>
                  </a:lnTo>
                  <a:lnTo>
                    <a:pt x="452" y="56"/>
                  </a:lnTo>
                  <a:lnTo>
                    <a:pt x="458" y="68"/>
                  </a:lnTo>
                  <a:lnTo>
                    <a:pt x="460" y="74"/>
                  </a:lnTo>
                  <a:lnTo>
                    <a:pt x="466" y="86"/>
                  </a:lnTo>
                  <a:lnTo>
                    <a:pt x="468" y="90"/>
                  </a:lnTo>
                  <a:lnTo>
                    <a:pt x="468" y="92"/>
                  </a:lnTo>
                  <a:lnTo>
                    <a:pt x="468" y="94"/>
                  </a:lnTo>
                  <a:lnTo>
                    <a:pt x="468" y="98"/>
                  </a:lnTo>
                  <a:lnTo>
                    <a:pt x="470" y="100"/>
                  </a:lnTo>
                  <a:lnTo>
                    <a:pt x="468" y="100"/>
                  </a:lnTo>
                  <a:lnTo>
                    <a:pt x="464" y="108"/>
                  </a:lnTo>
                  <a:lnTo>
                    <a:pt x="464" y="110"/>
                  </a:lnTo>
                  <a:lnTo>
                    <a:pt x="462" y="118"/>
                  </a:lnTo>
                  <a:lnTo>
                    <a:pt x="460" y="122"/>
                  </a:lnTo>
                  <a:lnTo>
                    <a:pt x="460" y="134"/>
                  </a:lnTo>
                  <a:lnTo>
                    <a:pt x="460" y="138"/>
                  </a:lnTo>
                  <a:lnTo>
                    <a:pt x="460" y="140"/>
                  </a:lnTo>
                  <a:lnTo>
                    <a:pt x="460" y="142"/>
                  </a:lnTo>
                  <a:lnTo>
                    <a:pt x="458" y="144"/>
                  </a:lnTo>
                  <a:lnTo>
                    <a:pt x="456" y="146"/>
                  </a:lnTo>
                  <a:lnTo>
                    <a:pt x="456" y="148"/>
                  </a:lnTo>
                  <a:lnTo>
                    <a:pt x="454" y="154"/>
                  </a:lnTo>
                  <a:lnTo>
                    <a:pt x="452" y="162"/>
                  </a:lnTo>
                  <a:lnTo>
                    <a:pt x="454" y="166"/>
                  </a:lnTo>
                  <a:lnTo>
                    <a:pt x="456" y="168"/>
                  </a:lnTo>
                  <a:lnTo>
                    <a:pt x="456" y="176"/>
                  </a:lnTo>
                  <a:lnTo>
                    <a:pt x="456" y="178"/>
                  </a:lnTo>
                  <a:lnTo>
                    <a:pt x="450" y="184"/>
                  </a:lnTo>
                  <a:lnTo>
                    <a:pt x="448" y="186"/>
                  </a:lnTo>
                  <a:lnTo>
                    <a:pt x="448" y="188"/>
                  </a:lnTo>
                  <a:lnTo>
                    <a:pt x="448" y="190"/>
                  </a:lnTo>
                  <a:lnTo>
                    <a:pt x="448" y="192"/>
                  </a:lnTo>
                  <a:lnTo>
                    <a:pt x="446" y="190"/>
                  </a:lnTo>
                  <a:lnTo>
                    <a:pt x="444" y="188"/>
                  </a:lnTo>
                  <a:lnTo>
                    <a:pt x="442" y="188"/>
                  </a:lnTo>
                  <a:lnTo>
                    <a:pt x="434" y="184"/>
                  </a:lnTo>
                  <a:lnTo>
                    <a:pt x="426" y="180"/>
                  </a:lnTo>
                  <a:lnTo>
                    <a:pt x="424" y="178"/>
                  </a:lnTo>
                  <a:lnTo>
                    <a:pt x="422" y="176"/>
                  </a:lnTo>
                  <a:lnTo>
                    <a:pt x="416" y="170"/>
                  </a:lnTo>
                  <a:lnTo>
                    <a:pt x="414" y="166"/>
                  </a:lnTo>
                  <a:lnTo>
                    <a:pt x="412" y="164"/>
                  </a:lnTo>
                  <a:lnTo>
                    <a:pt x="408" y="162"/>
                  </a:lnTo>
                  <a:lnTo>
                    <a:pt x="406" y="160"/>
                  </a:lnTo>
                  <a:lnTo>
                    <a:pt x="400" y="154"/>
                  </a:lnTo>
                  <a:lnTo>
                    <a:pt x="398" y="152"/>
                  </a:lnTo>
                  <a:lnTo>
                    <a:pt x="396" y="150"/>
                  </a:lnTo>
                  <a:lnTo>
                    <a:pt x="394" y="146"/>
                  </a:lnTo>
                  <a:lnTo>
                    <a:pt x="392" y="136"/>
                  </a:lnTo>
                  <a:lnTo>
                    <a:pt x="392" y="132"/>
                  </a:lnTo>
                  <a:lnTo>
                    <a:pt x="392" y="130"/>
                  </a:lnTo>
                  <a:lnTo>
                    <a:pt x="380" y="120"/>
                  </a:lnTo>
                  <a:lnTo>
                    <a:pt x="378" y="118"/>
                  </a:lnTo>
                  <a:lnTo>
                    <a:pt x="370" y="106"/>
                  </a:lnTo>
                  <a:lnTo>
                    <a:pt x="370" y="104"/>
                  </a:lnTo>
                  <a:lnTo>
                    <a:pt x="368" y="98"/>
                  </a:lnTo>
                  <a:lnTo>
                    <a:pt x="368" y="96"/>
                  </a:lnTo>
                  <a:lnTo>
                    <a:pt x="368" y="92"/>
                  </a:lnTo>
                  <a:lnTo>
                    <a:pt x="366" y="92"/>
                  </a:lnTo>
                  <a:lnTo>
                    <a:pt x="364" y="9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05" name="Group 1551"/>
            <p:cNvGrpSpPr>
              <a:grpSpLocks/>
            </p:cNvGrpSpPr>
            <p:nvPr/>
          </p:nvGrpSpPr>
          <p:grpSpPr bwMode="auto">
            <a:xfrm>
              <a:off x="3541188" y="1703312"/>
              <a:ext cx="292752" cy="357814"/>
              <a:chOff x="1405" y="513"/>
              <a:chExt cx="234" cy="286"/>
            </a:xfrm>
            <a:solidFill>
              <a:srgbClr val="B9B9B9"/>
            </a:solidFill>
          </p:grpSpPr>
          <p:sp>
            <p:nvSpPr>
              <p:cNvPr id="340" name="Freeform 1506"/>
              <p:cNvSpPr>
                <a:spLocks/>
              </p:cNvSpPr>
              <p:nvPr/>
            </p:nvSpPr>
            <p:spPr bwMode="auto">
              <a:xfrm>
                <a:off x="1617" y="733"/>
                <a:ext cx="22" cy="20"/>
              </a:xfrm>
              <a:custGeom>
                <a:avLst/>
                <a:gdLst/>
                <a:ahLst/>
                <a:cxnLst>
                  <a:cxn ang="0">
                    <a:pos x="2" y="20"/>
                  </a:cxn>
                  <a:cxn ang="0">
                    <a:pos x="0" y="20"/>
                  </a:cxn>
                  <a:cxn ang="0">
                    <a:pos x="0" y="16"/>
                  </a:cxn>
                  <a:cxn ang="0">
                    <a:pos x="2" y="10"/>
                  </a:cxn>
                  <a:cxn ang="0">
                    <a:pos x="4" y="8"/>
                  </a:cxn>
                  <a:cxn ang="0">
                    <a:pos x="6" y="8"/>
                  </a:cxn>
                  <a:cxn ang="0">
                    <a:pos x="12" y="6"/>
                  </a:cxn>
                  <a:cxn ang="0">
                    <a:pos x="14" y="6"/>
                  </a:cxn>
                  <a:cxn ang="0">
                    <a:pos x="20" y="0"/>
                  </a:cxn>
                  <a:cxn ang="0">
                    <a:pos x="22" y="0"/>
                  </a:cxn>
                  <a:cxn ang="0">
                    <a:pos x="22" y="2"/>
                  </a:cxn>
                  <a:cxn ang="0">
                    <a:pos x="22" y="4"/>
                  </a:cxn>
                  <a:cxn ang="0">
                    <a:pos x="18" y="12"/>
                  </a:cxn>
                  <a:cxn ang="0">
                    <a:pos x="16" y="14"/>
                  </a:cxn>
                  <a:cxn ang="0">
                    <a:pos x="14" y="14"/>
                  </a:cxn>
                  <a:cxn ang="0">
                    <a:pos x="10" y="16"/>
                  </a:cxn>
                  <a:cxn ang="0">
                    <a:pos x="8" y="16"/>
                  </a:cxn>
                  <a:cxn ang="0">
                    <a:pos x="6" y="16"/>
                  </a:cxn>
                  <a:cxn ang="0">
                    <a:pos x="4" y="16"/>
                  </a:cxn>
                  <a:cxn ang="0">
                    <a:pos x="4" y="18"/>
                  </a:cxn>
                  <a:cxn ang="0">
                    <a:pos x="2" y="20"/>
                  </a:cxn>
                </a:cxnLst>
                <a:rect l="0" t="0" r="r" b="b"/>
                <a:pathLst>
                  <a:path w="22" h="20">
                    <a:moveTo>
                      <a:pt x="2" y="20"/>
                    </a:moveTo>
                    <a:lnTo>
                      <a:pt x="0" y="20"/>
                    </a:lnTo>
                    <a:lnTo>
                      <a:pt x="0" y="16"/>
                    </a:lnTo>
                    <a:lnTo>
                      <a:pt x="2" y="10"/>
                    </a:lnTo>
                    <a:lnTo>
                      <a:pt x="4" y="8"/>
                    </a:lnTo>
                    <a:lnTo>
                      <a:pt x="6" y="8"/>
                    </a:lnTo>
                    <a:lnTo>
                      <a:pt x="12" y="6"/>
                    </a:lnTo>
                    <a:lnTo>
                      <a:pt x="14" y="6"/>
                    </a:lnTo>
                    <a:lnTo>
                      <a:pt x="20" y="0"/>
                    </a:lnTo>
                    <a:lnTo>
                      <a:pt x="22" y="0"/>
                    </a:lnTo>
                    <a:lnTo>
                      <a:pt x="22" y="2"/>
                    </a:lnTo>
                    <a:lnTo>
                      <a:pt x="22" y="4"/>
                    </a:lnTo>
                    <a:lnTo>
                      <a:pt x="18" y="12"/>
                    </a:lnTo>
                    <a:lnTo>
                      <a:pt x="16" y="14"/>
                    </a:lnTo>
                    <a:lnTo>
                      <a:pt x="14" y="14"/>
                    </a:lnTo>
                    <a:lnTo>
                      <a:pt x="10" y="16"/>
                    </a:lnTo>
                    <a:lnTo>
                      <a:pt x="8" y="16"/>
                    </a:lnTo>
                    <a:lnTo>
                      <a:pt x="6" y="16"/>
                    </a:lnTo>
                    <a:lnTo>
                      <a:pt x="4" y="16"/>
                    </a:lnTo>
                    <a:lnTo>
                      <a:pt x="4" y="18"/>
                    </a:lnTo>
                    <a:lnTo>
                      <a:pt x="2"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1" name="Freeform 1507"/>
              <p:cNvSpPr>
                <a:spLocks/>
              </p:cNvSpPr>
              <p:nvPr/>
            </p:nvSpPr>
            <p:spPr bwMode="auto">
              <a:xfrm>
                <a:off x="1427" y="723"/>
                <a:ext cx="12" cy="22"/>
              </a:xfrm>
              <a:custGeom>
                <a:avLst/>
                <a:gdLst/>
                <a:ahLst/>
                <a:cxnLst>
                  <a:cxn ang="0">
                    <a:pos x="6" y="18"/>
                  </a:cxn>
                  <a:cxn ang="0">
                    <a:pos x="6" y="20"/>
                  </a:cxn>
                  <a:cxn ang="0">
                    <a:pos x="4" y="22"/>
                  </a:cxn>
                  <a:cxn ang="0">
                    <a:pos x="2" y="22"/>
                  </a:cxn>
                  <a:cxn ang="0">
                    <a:pos x="2" y="20"/>
                  </a:cxn>
                  <a:cxn ang="0">
                    <a:pos x="2" y="18"/>
                  </a:cxn>
                  <a:cxn ang="0">
                    <a:pos x="2" y="16"/>
                  </a:cxn>
                  <a:cxn ang="0">
                    <a:pos x="0" y="8"/>
                  </a:cxn>
                  <a:cxn ang="0">
                    <a:pos x="0" y="6"/>
                  </a:cxn>
                  <a:cxn ang="0">
                    <a:pos x="0" y="4"/>
                  </a:cxn>
                  <a:cxn ang="0">
                    <a:pos x="2" y="2"/>
                  </a:cxn>
                  <a:cxn ang="0">
                    <a:pos x="4" y="2"/>
                  </a:cxn>
                  <a:cxn ang="0">
                    <a:pos x="6" y="0"/>
                  </a:cxn>
                  <a:cxn ang="0">
                    <a:pos x="10" y="2"/>
                  </a:cxn>
                  <a:cxn ang="0">
                    <a:pos x="12" y="2"/>
                  </a:cxn>
                  <a:cxn ang="0">
                    <a:pos x="12" y="4"/>
                  </a:cxn>
                  <a:cxn ang="0">
                    <a:pos x="12" y="8"/>
                  </a:cxn>
                  <a:cxn ang="0">
                    <a:pos x="10" y="14"/>
                  </a:cxn>
                  <a:cxn ang="0">
                    <a:pos x="8" y="18"/>
                  </a:cxn>
                  <a:cxn ang="0">
                    <a:pos x="6" y="18"/>
                  </a:cxn>
                </a:cxnLst>
                <a:rect l="0" t="0" r="r" b="b"/>
                <a:pathLst>
                  <a:path w="12" h="22">
                    <a:moveTo>
                      <a:pt x="6" y="18"/>
                    </a:moveTo>
                    <a:lnTo>
                      <a:pt x="6" y="20"/>
                    </a:lnTo>
                    <a:lnTo>
                      <a:pt x="4" y="22"/>
                    </a:lnTo>
                    <a:lnTo>
                      <a:pt x="2" y="22"/>
                    </a:lnTo>
                    <a:lnTo>
                      <a:pt x="2" y="20"/>
                    </a:lnTo>
                    <a:lnTo>
                      <a:pt x="2" y="18"/>
                    </a:lnTo>
                    <a:lnTo>
                      <a:pt x="2" y="16"/>
                    </a:lnTo>
                    <a:lnTo>
                      <a:pt x="0" y="8"/>
                    </a:lnTo>
                    <a:lnTo>
                      <a:pt x="0" y="6"/>
                    </a:lnTo>
                    <a:lnTo>
                      <a:pt x="0" y="4"/>
                    </a:lnTo>
                    <a:lnTo>
                      <a:pt x="2" y="2"/>
                    </a:lnTo>
                    <a:lnTo>
                      <a:pt x="4" y="2"/>
                    </a:lnTo>
                    <a:lnTo>
                      <a:pt x="6" y="0"/>
                    </a:lnTo>
                    <a:lnTo>
                      <a:pt x="10" y="2"/>
                    </a:lnTo>
                    <a:lnTo>
                      <a:pt x="12" y="2"/>
                    </a:lnTo>
                    <a:lnTo>
                      <a:pt x="12" y="4"/>
                    </a:lnTo>
                    <a:lnTo>
                      <a:pt x="12" y="8"/>
                    </a:lnTo>
                    <a:lnTo>
                      <a:pt x="10" y="14"/>
                    </a:lnTo>
                    <a:lnTo>
                      <a:pt x="8" y="18"/>
                    </a:lnTo>
                    <a:lnTo>
                      <a:pt x="6"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2" name="Freeform 1508"/>
              <p:cNvSpPr>
                <a:spLocks/>
              </p:cNvSpPr>
              <p:nvPr/>
            </p:nvSpPr>
            <p:spPr bwMode="auto">
              <a:xfrm>
                <a:off x="1579" y="757"/>
                <a:ext cx="36" cy="34"/>
              </a:xfrm>
              <a:custGeom>
                <a:avLst/>
                <a:gdLst/>
                <a:ahLst/>
                <a:cxnLst>
                  <a:cxn ang="0">
                    <a:pos x="6" y="34"/>
                  </a:cxn>
                  <a:cxn ang="0">
                    <a:pos x="4" y="34"/>
                  </a:cxn>
                  <a:cxn ang="0">
                    <a:pos x="0" y="32"/>
                  </a:cxn>
                  <a:cxn ang="0">
                    <a:pos x="2" y="30"/>
                  </a:cxn>
                  <a:cxn ang="0">
                    <a:pos x="6" y="30"/>
                  </a:cxn>
                  <a:cxn ang="0">
                    <a:pos x="8" y="30"/>
                  </a:cxn>
                  <a:cxn ang="0">
                    <a:pos x="10" y="28"/>
                  </a:cxn>
                  <a:cxn ang="0">
                    <a:pos x="12" y="26"/>
                  </a:cxn>
                  <a:cxn ang="0">
                    <a:pos x="14" y="24"/>
                  </a:cxn>
                  <a:cxn ang="0">
                    <a:pos x="14" y="22"/>
                  </a:cxn>
                  <a:cxn ang="0">
                    <a:pos x="16" y="20"/>
                  </a:cxn>
                  <a:cxn ang="0">
                    <a:pos x="18" y="16"/>
                  </a:cxn>
                  <a:cxn ang="0">
                    <a:pos x="22" y="10"/>
                  </a:cxn>
                  <a:cxn ang="0">
                    <a:pos x="24" y="8"/>
                  </a:cxn>
                  <a:cxn ang="0">
                    <a:pos x="26" y="6"/>
                  </a:cxn>
                  <a:cxn ang="0">
                    <a:pos x="28" y="4"/>
                  </a:cxn>
                  <a:cxn ang="0">
                    <a:pos x="28" y="2"/>
                  </a:cxn>
                  <a:cxn ang="0">
                    <a:pos x="30" y="0"/>
                  </a:cxn>
                  <a:cxn ang="0">
                    <a:pos x="32" y="0"/>
                  </a:cxn>
                  <a:cxn ang="0">
                    <a:pos x="34" y="0"/>
                  </a:cxn>
                  <a:cxn ang="0">
                    <a:pos x="36" y="2"/>
                  </a:cxn>
                  <a:cxn ang="0">
                    <a:pos x="36" y="4"/>
                  </a:cxn>
                  <a:cxn ang="0">
                    <a:pos x="36" y="6"/>
                  </a:cxn>
                  <a:cxn ang="0">
                    <a:pos x="36" y="8"/>
                  </a:cxn>
                  <a:cxn ang="0">
                    <a:pos x="34" y="10"/>
                  </a:cxn>
                  <a:cxn ang="0">
                    <a:pos x="34" y="12"/>
                  </a:cxn>
                  <a:cxn ang="0">
                    <a:pos x="30" y="20"/>
                  </a:cxn>
                  <a:cxn ang="0">
                    <a:pos x="30" y="22"/>
                  </a:cxn>
                  <a:cxn ang="0">
                    <a:pos x="28" y="24"/>
                  </a:cxn>
                  <a:cxn ang="0">
                    <a:pos x="26" y="26"/>
                  </a:cxn>
                  <a:cxn ang="0">
                    <a:pos x="26" y="28"/>
                  </a:cxn>
                  <a:cxn ang="0">
                    <a:pos x="24" y="28"/>
                  </a:cxn>
                  <a:cxn ang="0">
                    <a:pos x="22" y="28"/>
                  </a:cxn>
                  <a:cxn ang="0">
                    <a:pos x="20" y="28"/>
                  </a:cxn>
                  <a:cxn ang="0">
                    <a:pos x="18" y="28"/>
                  </a:cxn>
                  <a:cxn ang="0">
                    <a:pos x="12" y="28"/>
                  </a:cxn>
                  <a:cxn ang="0">
                    <a:pos x="12" y="30"/>
                  </a:cxn>
                  <a:cxn ang="0">
                    <a:pos x="10" y="30"/>
                  </a:cxn>
                  <a:cxn ang="0">
                    <a:pos x="10" y="32"/>
                  </a:cxn>
                  <a:cxn ang="0">
                    <a:pos x="8" y="32"/>
                  </a:cxn>
                  <a:cxn ang="0">
                    <a:pos x="6" y="34"/>
                  </a:cxn>
                </a:cxnLst>
                <a:rect l="0" t="0" r="r" b="b"/>
                <a:pathLst>
                  <a:path w="36" h="34">
                    <a:moveTo>
                      <a:pt x="6" y="34"/>
                    </a:moveTo>
                    <a:lnTo>
                      <a:pt x="4" y="34"/>
                    </a:lnTo>
                    <a:lnTo>
                      <a:pt x="0" y="32"/>
                    </a:lnTo>
                    <a:lnTo>
                      <a:pt x="2" y="30"/>
                    </a:lnTo>
                    <a:lnTo>
                      <a:pt x="6" y="30"/>
                    </a:lnTo>
                    <a:lnTo>
                      <a:pt x="8" y="30"/>
                    </a:lnTo>
                    <a:lnTo>
                      <a:pt x="10" y="28"/>
                    </a:lnTo>
                    <a:lnTo>
                      <a:pt x="12" y="26"/>
                    </a:lnTo>
                    <a:lnTo>
                      <a:pt x="14" y="24"/>
                    </a:lnTo>
                    <a:lnTo>
                      <a:pt x="14" y="22"/>
                    </a:lnTo>
                    <a:lnTo>
                      <a:pt x="16" y="20"/>
                    </a:lnTo>
                    <a:lnTo>
                      <a:pt x="18" y="16"/>
                    </a:lnTo>
                    <a:lnTo>
                      <a:pt x="22" y="10"/>
                    </a:lnTo>
                    <a:lnTo>
                      <a:pt x="24" y="8"/>
                    </a:lnTo>
                    <a:lnTo>
                      <a:pt x="26" y="6"/>
                    </a:lnTo>
                    <a:lnTo>
                      <a:pt x="28" y="4"/>
                    </a:lnTo>
                    <a:lnTo>
                      <a:pt x="28" y="2"/>
                    </a:lnTo>
                    <a:lnTo>
                      <a:pt x="30" y="0"/>
                    </a:lnTo>
                    <a:lnTo>
                      <a:pt x="32" y="0"/>
                    </a:lnTo>
                    <a:lnTo>
                      <a:pt x="34" y="0"/>
                    </a:lnTo>
                    <a:lnTo>
                      <a:pt x="36" y="2"/>
                    </a:lnTo>
                    <a:lnTo>
                      <a:pt x="36" y="4"/>
                    </a:lnTo>
                    <a:lnTo>
                      <a:pt x="36" y="6"/>
                    </a:lnTo>
                    <a:lnTo>
                      <a:pt x="36" y="8"/>
                    </a:lnTo>
                    <a:lnTo>
                      <a:pt x="34" y="10"/>
                    </a:lnTo>
                    <a:lnTo>
                      <a:pt x="34" y="12"/>
                    </a:lnTo>
                    <a:lnTo>
                      <a:pt x="30" y="20"/>
                    </a:lnTo>
                    <a:lnTo>
                      <a:pt x="30" y="22"/>
                    </a:lnTo>
                    <a:lnTo>
                      <a:pt x="28" y="24"/>
                    </a:lnTo>
                    <a:lnTo>
                      <a:pt x="26" y="26"/>
                    </a:lnTo>
                    <a:lnTo>
                      <a:pt x="26" y="28"/>
                    </a:lnTo>
                    <a:lnTo>
                      <a:pt x="24" y="28"/>
                    </a:lnTo>
                    <a:lnTo>
                      <a:pt x="22" y="28"/>
                    </a:lnTo>
                    <a:lnTo>
                      <a:pt x="20" y="28"/>
                    </a:lnTo>
                    <a:lnTo>
                      <a:pt x="18" y="28"/>
                    </a:lnTo>
                    <a:lnTo>
                      <a:pt x="12" y="28"/>
                    </a:lnTo>
                    <a:lnTo>
                      <a:pt x="12" y="30"/>
                    </a:lnTo>
                    <a:lnTo>
                      <a:pt x="10" y="30"/>
                    </a:lnTo>
                    <a:lnTo>
                      <a:pt x="10" y="32"/>
                    </a:lnTo>
                    <a:lnTo>
                      <a:pt x="8" y="32"/>
                    </a:lnTo>
                    <a:lnTo>
                      <a:pt x="6"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3" name="Freeform 1509"/>
              <p:cNvSpPr>
                <a:spLocks/>
              </p:cNvSpPr>
              <p:nvPr/>
            </p:nvSpPr>
            <p:spPr bwMode="auto">
              <a:xfrm>
                <a:off x="1471" y="751"/>
                <a:ext cx="36" cy="28"/>
              </a:xfrm>
              <a:custGeom>
                <a:avLst/>
                <a:gdLst/>
                <a:ahLst/>
                <a:cxnLst>
                  <a:cxn ang="0">
                    <a:pos x="6" y="28"/>
                  </a:cxn>
                  <a:cxn ang="0">
                    <a:pos x="6" y="24"/>
                  </a:cxn>
                  <a:cxn ang="0">
                    <a:pos x="4" y="24"/>
                  </a:cxn>
                  <a:cxn ang="0">
                    <a:pos x="4" y="22"/>
                  </a:cxn>
                  <a:cxn ang="0">
                    <a:pos x="4" y="20"/>
                  </a:cxn>
                  <a:cxn ang="0">
                    <a:pos x="2" y="18"/>
                  </a:cxn>
                  <a:cxn ang="0">
                    <a:pos x="2" y="14"/>
                  </a:cxn>
                  <a:cxn ang="0">
                    <a:pos x="0" y="6"/>
                  </a:cxn>
                  <a:cxn ang="0">
                    <a:pos x="4" y="6"/>
                  </a:cxn>
                  <a:cxn ang="0">
                    <a:pos x="6" y="6"/>
                  </a:cxn>
                  <a:cxn ang="0">
                    <a:pos x="10" y="6"/>
                  </a:cxn>
                  <a:cxn ang="0">
                    <a:pos x="16" y="6"/>
                  </a:cxn>
                  <a:cxn ang="0">
                    <a:pos x="20" y="6"/>
                  </a:cxn>
                  <a:cxn ang="0">
                    <a:pos x="24" y="2"/>
                  </a:cxn>
                  <a:cxn ang="0">
                    <a:pos x="26" y="2"/>
                  </a:cxn>
                  <a:cxn ang="0">
                    <a:pos x="26" y="0"/>
                  </a:cxn>
                  <a:cxn ang="0">
                    <a:pos x="32" y="0"/>
                  </a:cxn>
                  <a:cxn ang="0">
                    <a:pos x="36" y="0"/>
                  </a:cxn>
                  <a:cxn ang="0">
                    <a:pos x="36" y="4"/>
                  </a:cxn>
                  <a:cxn ang="0">
                    <a:pos x="34" y="4"/>
                  </a:cxn>
                  <a:cxn ang="0">
                    <a:pos x="32" y="4"/>
                  </a:cxn>
                  <a:cxn ang="0">
                    <a:pos x="32" y="6"/>
                  </a:cxn>
                  <a:cxn ang="0">
                    <a:pos x="26" y="10"/>
                  </a:cxn>
                  <a:cxn ang="0">
                    <a:pos x="22" y="16"/>
                  </a:cxn>
                  <a:cxn ang="0">
                    <a:pos x="20" y="22"/>
                  </a:cxn>
                  <a:cxn ang="0">
                    <a:pos x="16" y="24"/>
                  </a:cxn>
                  <a:cxn ang="0">
                    <a:pos x="14" y="26"/>
                  </a:cxn>
                  <a:cxn ang="0">
                    <a:pos x="12" y="26"/>
                  </a:cxn>
                  <a:cxn ang="0">
                    <a:pos x="10" y="26"/>
                  </a:cxn>
                  <a:cxn ang="0">
                    <a:pos x="6" y="28"/>
                  </a:cxn>
                </a:cxnLst>
                <a:rect l="0" t="0" r="r" b="b"/>
                <a:pathLst>
                  <a:path w="36" h="28">
                    <a:moveTo>
                      <a:pt x="6" y="28"/>
                    </a:moveTo>
                    <a:lnTo>
                      <a:pt x="6" y="24"/>
                    </a:lnTo>
                    <a:lnTo>
                      <a:pt x="4" y="24"/>
                    </a:lnTo>
                    <a:lnTo>
                      <a:pt x="4" y="22"/>
                    </a:lnTo>
                    <a:lnTo>
                      <a:pt x="4" y="20"/>
                    </a:lnTo>
                    <a:lnTo>
                      <a:pt x="2" y="18"/>
                    </a:lnTo>
                    <a:lnTo>
                      <a:pt x="2" y="14"/>
                    </a:lnTo>
                    <a:lnTo>
                      <a:pt x="0" y="6"/>
                    </a:lnTo>
                    <a:lnTo>
                      <a:pt x="4" y="6"/>
                    </a:lnTo>
                    <a:lnTo>
                      <a:pt x="6" y="6"/>
                    </a:lnTo>
                    <a:lnTo>
                      <a:pt x="10" y="6"/>
                    </a:lnTo>
                    <a:lnTo>
                      <a:pt x="16" y="6"/>
                    </a:lnTo>
                    <a:lnTo>
                      <a:pt x="20" y="6"/>
                    </a:lnTo>
                    <a:lnTo>
                      <a:pt x="24" y="2"/>
                    </a:lnTo>
                    <a:lnTo>
                      <a:pt x="26" y="2"/>
                    </a:lnTo>
                    <a:lnTo>
                      <a:pt x="26" y="0"/>
                    </a:lnTo>
                    <a:lnTo>
                      <a:pt x="32" y="0"/>
                    </a:lnTo>
                    <a:lnTo>
                      <a:pt x="36" y="0"/>
                    </a:lnTo>
                    <a:lnTo>
                      <a:pt x="36" y="4"/>
                    </a:lnTo>
                    <a:lnTo>
                      <a:pt x="34" y="4"/>
                    </a:lnTo>
                    <a:lnTo>
                      <a:pt x="32" y="4"/>
                    </a:lnTo>
                    <a:lnTo>
                      <a:pt x="32" y="6"/>
                    </a:lnTo>
                    <a:lnTo>
                      <a:pt x="26" y="10"/>
                    </a:lnTo>
                    <a:lnTo>
                      <a:pt x="22" y="16"/>
                    </a:lnTo>
                    <a:lnTo>
                      <a:pt x="20" y="22"/>
                    </a:lnTo>
                    <a:lnTo>
                      <a:pt x="16" y="24"/>
                    </a:lnTo>
                    <a:lnTo>
                      <a:pt x="14" y="26"/>
                    </a:lnTo>
                    <a:lnTo>
                      <a:pt x="12" y="26"/>
                    </a:lnTo>
                    <a:lnTo>
                      <a:pt x="10" y="26"/>
                    </a:lnTo>
                    <a:lnTo>
                      <a:pt x="6"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4" name="Freeform 1510"/>
              <p:cNvSpPr>
                <a:spLocks/>
              </p:cNvSpPr>
              <p:nvPr/>
            </p:nvSpPr>
            <p:spPr bwMode="auto">
              <a:xfrm>
                <a:off x="1449" y="763"/>
                <a:ext cx="10" cy="10"/>
              </a:xfrm>
              <a:custGeom>
                <a:avLst/>
                <a:gdLst/>
                <a:ahLst/>
                <a:cxnLst>
                  <a:cxn ang="0">
                    <a:pos x="4" y="10"/>
                  </a:cxn>
                  <a:cxn ang="0">
                    <a:pos x="2" y="10"/>
                  </a:cxn>
                  <a:cxn ang="0">
                    <a:pos x="0" y="8"/>
                  </a:cxn>
                  <a:cxn ang="0">
                    <a:pos x="0" y="6"/>
                  </a:cxn>
                  <a:cxn ang="0">
                    <a:pos x="0" y="4"/>
                  </a:cxn>
                  <a:cxn ang="0">
                    <a:pos x="0" y="2"/>
                  </a:cxn>
                  <a:cxn ang="0">
                    <a:pos x="0" y="0"/>
                  </a:cxn>
                  <a:cxn ang="0">
                    <a:pos x="2" y="0"/>
                  </a:cxn>
                  <a:cxn ang="0">
                    <a:pos x="4" y="0"/>
                  </a:cxn>
                  <a:cxn ang="0">
                    <a:pos x="8" y="0"/>
                  </a:cxn>
                  <a:cxn ang="0">
                    <a:pos x="10" y="4"/>
                  </a:cxn>
                  <a:cxn ang="0">
                    <a:pos x="10" y="6"/>
                  </a:cxn>
                  <a:cxn ang="0">
                    <a:pos x="10" y="8"/>
                  </a:cxn>
                  <a:cxn ang="0">
                    <a:pos x="8" y="8"/>
                  </a:cxn>
                  <a:cxn ang="0">
                    <a:pos x="8" y="10"/>
                  </a:cxn>
                  <a:cxn ang="0">
                    <a:pos x="6" y="10"/>
                  </a:cxn>
                  <a:cxn ang="0">
                    <a:pos x="4" y="10"/>
                  </a:cxn>
                </a:cxnLst>
                <a:rect l="0" t="0" r="r" b="b"/>
                <a:pathLst>
                  <a:path w="10" h="10">
                    <a:moveTo>
                      <a:pt x="4" y="10"/>
                    </a:moveTo>
                    <a:lnTo>
                      <a:pt x="2" y="10"/>
                    </a:lnTo>
                    <a:lnTo>
                      <a:pt x="0" y="8"/>
                    </a:lnTo>
                    <a:lnTo>
                      <a:pt x="0" y="6"/>
                    </a:lnTo>
                    <a:lnTo>
                      <a:pt x="0" y="4"/>
                    </a:lnTo>
                    <a:lnTo>
                      <a:pt x="0" y="2"/>
                    </a:lnTo>
                    <a:lnTo>
                      <a:pt x="0" y="0"/>
                    </a:lnTo>
                    <a:lnTo>
                      <a:pt x="2" y="0"/>
                    </a:lnTo>
                    <a:lnTo>
                      <a:pt x="4" y="0"/>
                    </a:lnTo>
                    <a:lnTo>
                      <a:pt x="8" y="0"/>
                    </a:lnTo>
                    <a:lnTo>
                      <a:pt x="10" y="4"/>
                    </a:lnTo>
                    <a:lnTo>
                      <a:pt x="10" y="6"/>
                    </a:lnTo>
                    <a:lnTo>
                      <a:pt x="10" y="8"/>
                    </a:lnTo>
                    <a:lnTo>
                      <a:pt x="8" y="8"/>
                    </a:lnTo>
                    <a:lnTo>
                      <a:pt x="8" y="10"/>
                    </a:lnTo>
                    <a:lnTo>
                      <a:pt x="6"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5" name="Freeform 1511"/>
              <p:cNvSpPr>
                <a:spLocks/>
              </p:cNvSpPr>
              <p:nvPr/>
            </p:nvSpPr>
            <p:spPr bwMode="auto">
              <a:xfrm>
                <a:off x="1515" y="777"/>
                <a:ext cx="22" cy="22"/>
              </a:xfrm>
              <a:custGeom>
                <a:avLst/>
                <a:gdLst/>
                <a:ahLst/>
                <a:cxnLst>
                  <a:cxn ang="0">
                    <a:pos x="8" y="22"/>
                  </a:cxn>
                  <a:cxn ang="0">
                    <a:pos x="6" y="22"/>
                  </a:cxn>
                  <a:cxn ang="0">
                    <a:pos x="6" y="20"/>
                  </a:cxn>
                  <a:cxn ang="0">
                    <a:pos x="0" y="16"/>
                  </a:cxn>
                  <a:cxn ang="0">
                    <a:pos x="0" y="12"/>
                  </a:cxn>
                  <a:cxn ang="0">
                    <a:pos x="0" y="8"/>
                  </a:cxn>
                  <a:cxn ang="0">
                    <a:pos x="2" y="8"/>
                  </a:cxn>
                  <a:cxn ang="0">
                    <a:pos x="2" y="6"/>
                  </a:cxn>
                  <a:cxn ang="0">
                    <a:pos x="6" y="6"/>
                  </a:cxn>
                  <a:cxn ang="0">
                    <a:pos x="6" y="4"/>
                  </a:cxn>
                  <a:cxn ang="0">
                    <a:pos x="8" y="0"/>
                  </a:cxn>
                  <a:cxn ang="0">
                    <a:pos x="12" y="0"/>
                  </a:cxn>
                  <a:cxn ang="0">
                    <a:pos x="22" y="2"/>
                  </a:cxn>
                  <a:cxn ang="0">
                    <a:pos x="22" y="10"/>
                  </a:cxn>
                  <a:cxn ang="0">
                    <a:pos x="18" y="18"/>
                  </a:cxn>
                  <a:cxn ang="0">
                    <a:pos x="16" y="20"/>
                  </a:cxn>
                  <a:cxn ang="0">
                    <a:pos x="14" y="20"/>
                  </a:cxn>
                  <a:cxn ang="0">
                    <a:pos x="12" y="22"/>
                  </a:cxn>
                  <a:cxn ang="0">
                    <a:pos x="10" y="22"/>
                  </a:cxn>
                  <a:cxn ang="0">
                    <a:pos x="8" y="22"/>
                  </a:cxn>
                </a:cxnLst>
                <a:rect l="0" t="0" r="r" b="b"/>
                <a:pathLst>
                  <a:path w="22" h="22">
                    <a:moveTo>
                      <a:pt x="8" y="22"/>
                    </a:moveTo>
                    <a:lnTo>
                      <a:pt x="6" y="22"/>
                    </a:lnTo>
                    <a:lnTo>
                      <a:pt x="6" y="20"/>
                    </a:lnTo>
                    <a:lnTo>
                      <a:pt x="0" y="16"/>
                    </a:lnTo>
                    <a:lnTo>
                      <a:pt x="0" y="12"/>
                    </a:lnTo>
                    <a:lnTo>
                      <a:pt x="0" y="8"/>
                    </a:lnTo>
                    <a:lnTo>
                      <a:pt x="2" y="8"/>
                    </a:lnTo>
                    <a:lnTo>
                      <a:pt x="2" y="6"/>
                    </a:lnTo>
                    <a:lnTo>
                      <a:pt x="6" y="6"/>
                    </a:lnTo>
                    <a:lnTo>
                      <a:pt x="6" y="4"/>
                    </a:lnTo>
                    <a:lnTo>
                      <a:pt x="8" y="0"/>
                    </a:lnTo>
                    <a:lnTo>
                      <a:pt x="12" y="0"/>
                    </a:lnTo>
                    <a:lnTo>
                      <a:pt x="22" y="2"/>
                    </a:lnTo>
                    <a:lnTo>
                      <a:pt x="22" y="10"/>
                    </a:lnTo>
                    <a:lnTo>
                      <a:pt x="18" y="18"/>
                    </a:lnTo>
                    <a:lnTo>
                      <a:pt x="16" y="20"/>
                    </a:lnTo>
                    <a:lnTo>
                      <a:pt x="14" y="20"/>
                    </a:lnTo>
                    <a:lnTo>
                      <a:pt x="12" y="22"/>
                    </a:lnTo>
                    <a:lnTo>
                      <a:pt x="10" y="22"/>
                    </a:lnTo>
                    <a:lnTo>
                      <a:pt x="8"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6" name="Freeform 1512"/>
              <p:cNvSpPr>
                <a:spLocks/>
              </p:cNvSpPr>
              <p:nvPr/>
            </p:nvSpPr>
            <p:spPr bwMode="auto">
              <a:xfrm>
                <a:off x="1405" y="777"/>
                <a:ext cx="14" cy="10"/>
              </a:xfrm>
              <a:custGeom>
                <a:avLst/>
                <a:gdLst/>
                <a:ahLst/>
                <a:cxnLst>
                  <a:cxn ang="0">
                    <a:pos x="8" y="10"/>
                  </a:cxn>
                  <a:cxn ang="0">
                    <a:pos x="0" y="6"/>
                  </a:cxn>
                  <a:cxn ang="0">
                    <a:pos x="0" y="4"/>
                  </a:cxn>
                  <a:cxn ang="0">
                    <a:pos x="2" y="2"/>
                  </a:cxn>
                  <a:cxn ang="0">
                    <a:pos x="4" y="4"/>
                  </a:cxn>
                  <a:cxn ang="0">
                    <a:pos x="6" y="4"/>
                  </a:cxn>
                  <a:cxn ang="0">
                    <a:pos x="8" y="4"/>
                  </a:cxn>
                  <a:cxn ang="0">
                    <a:pos x="8" y="2"/>
                  </a:cxn>
                  <a:cxn ang="0">
                    <a:pos x="10" y="2"/>
                  </a:cxn>
                  <a:cxn ang="0">
                    <a:pos x="14" y="0"/>
                  </a:cxn>
                  <a:cxn ang="0">
                    <a:pos x="14" y="2"/>
                  </a:cxn>
                  <a:cxn ang="0">
                    <a:pos x="14" y="4"/>
                  </a:cxn>
                  <a:cxn ang="0">
                    <a:pos x="12" y="4"/>
                  </a:cxn>
                  <a:cxn ang="0">
                    <a:pos x="10" y="8"/>
                  </a:cxn>
                  <a:cxn ang="0">
                    <a:pos x="8" y="10"/>
                  </a:cxn>
                </a:cxnLst>
                <a:rect l="0" t="0" r="r" b="b"/>
                <a:pathLst>
                  <a:path w="14" h="10">
                    <a:moveTo>
                      <a:pt x="8" y="10"/>
                    </a:moveTo>
                    <a:lnTo>
                      <a:pt x="0" y="6"/>
                    </a:lnTo>
                    <a:lnTo>
                      <a:pt x="0" y="4"/>
                    </a:lnTo>
                    <a:lnTo>
                      <a:pt x="2" y="2"/>
                    </a:lnTo>
                    <a:lnTo>
                      <a:pt x="4" y="4"/>
                    </a:lnTo>
                    <a:lnTo>
                      <a:pt x="6" y="4"/>
                    </a:lnTo>
                    <a:lnTo>
                      <a:pt x="8" y="4"/>
                    </a:lnTo>
                    <a:lnTo>
                      <a:pt x="8" y="2"/>
                    </a:lnTo>
                    <a:lnTo>
                      <a:pt x="10" y="2"/>
                    </a:lnTo>
                    <a:lnTo>
                      <a:pt x="14" y="0"/>
                    </a:lnTo>
                    <a:lnTo>
                      <a:pt x="14" y="2"/>
                    </a:lnTo>
                    <a:lnTo>
                      <a:pt x="14" y="4"/>
                    </a:lnTo>
                    <a:lnTo>
                      <a:pt x="12" y="4"/>
                    </a:lnTo>
                    <a:lnTo>
                      <a:pt x="10" y="8"/>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7" name="Freeform 1524"/>
              <p:cNvSpPr>
                <a:spLocks/>
              </p:cNvSpPr>
              <p:nvPr/>
            </p:nvSpPr>
            <p:spPr bwMode="auto">
              <a:xfrm>
                <a:off x="1517" y="513"/>
                <a:ext cx="22" cy="16"/>
              </a:xfrm>
              <a:custGeom>
                <a:avLst/>
                <a:gdLst/>
                <a:ahLst/>
                <a:cxnLst>
                  <a:cxn ang="0">
                    <a:pos x="14" y="4"/>
                  </a:cxn>
                  <a:cxn ang="0">
                    <a:pos x="12" y="4"/>
                  </a:cxn>
                  <a:cxn ang="0">
                    <a:pos x="10" y="4"/>
                  </a:cxn>
                  <a:cxn ang="0">
                    <a:pos x="8" y="4"/>
                  </a:cxn>
                  <a:cxn ang="0">
                    <a:pos x="6" y="4"/>
                  </a:cxn>
                  <a:cxn ang="0">
                    <a:pos x="4" y="2"/>
                  </a:cxn>
                  <a:cxn ang="0">
                    <a:pos x="4" y="0"/>
                  </a:cxn>
                  <a:cxn ang="0">
                    <a:pos x="0" y="2"/>
                  </a:cxn>
                  <a:cxn ang="0">
                    <a:pos x="0" y="4"/>
                  </a:cxn>
                  <a:cxn ang="0">
                    <a:pos x="0" y="6"/>
                  </a:cxn>
                  <a:cxn ang="0">
                    <a:pos x="0" y="8"/>
                  </a:cxn>
                  <a:cxn ang="0">
                    <a:pos x="2" y="10"/>
                  </a:cxn>
                  <a:cxn ang="0">
                    <a:pos x="4" y="10"/>
                  </a:cxn>
                  <a:cxn ang="0">
                    <a:pos x="4" y="12"/>
                  </a:cxn>
                  <a:cxn ang="0">
                    <a:pos x="8" y="14"/>
                  </a:cxn>
                  <a:cxn ang="0">
                    <a:pos x="10" y="14"/>
                  </a:cxn>
                  <a:cxn ang="0">
                    <a:pos x="16" y="16"/>
                  </a:cxn>
                  <a:cxn ang="0">
                    <a:pos x="22" y="10"/>
                  </a:cxn>
                  <a:cxn ang="0">
                    <a:pos x="14" y="4"/>
                  </a:cxn>
                </a:cxnLst>
                <a:rect l="0" t="0" r="r" b="b"/>
                <a:pathLst>
                  <a:path w="22" h="16">
                    <a:moveTo>
                      <a:pt x="14" y="4"/>
                    </a:moveTo>
                    <a:lnTo>
                      <a:pt x="12" y="4"/>
                    </a:lnTo>
                    <a:lnTo>
                      <a:pt x="10" y="4"/>
                    </a:lnTo>
                    <a:lnTo>
                      <a:pt x="8" y="4"/>
                    </a:lnTo>
                    <a:lnTo>
                      <a:pt x="6" y="4"/>
                    </a:lnTo>
                    <a:lnTo>
                      <a:pt x="4" y="2"/>
                    </a:lnTo>
                    <a:lnTo>
                      <a:pt x="4" y="0"/>
                    </a:lnTo>
                    <a:lnTo>
                      <a:pt x="0" y="2"/>
                    </a:lnTo>
                    <a:lnTo>
                      <a:pt x="0" y="4"/>
                    </a:lnTo>
                    <a:lnTo>
                      <a:pt x="0" y="6"/>
                    </a:lnTo>
                    <a:lnTo>
                      <a:pt x="0" y="8"/>
                    </a:lnTo>
                    <a:lnTo>
                      <a:pt x="2" y="10"/>
                    </a:lnTo>
                    <a:lnTo>
                      <a:pt x="4" y="10"/>
                    </a:lnTo>
                    <a:lnTo>
                      <a:pt x="4" y="12"/>
                    </a:lnTo>
                    <a:lnTo>
                      <a:pt x="8" y="14"/>
                    </a:lnTo>
                    <a:lnTo>
                      <a:pt x="10" y="14"/>
                    </a:lnTo>
                    <a:lnTo>
                      <a:pt x="16" y="16"/>
                    </a:lnTo>
                    <a:lnTo>
                      <a:pt x="22" y="10"/>
                    </a:lnTo>
                    <a:lnTo>
                      <a:pt x="1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06" name="Freeform 1539"/>
            <p:cNvSpPr>
              <a:spLocks/>
            </p:cNvSpPr>
            <p:nvPr/>
          </p:nvSpPr>
          <p:spPr bwMode="auto">
            <a:xfrm>
              <a:off x="5312767" y="3062001"/>
              <a:ext cx="145128" cy="122607"/>
            </a:xfrm>
            <a:custGeom>
              <a:avLst/>
              <a:gdLst/>
              <a:ahLst/>
              <a:cxnLst>
                <a:cxn ang="0">
                  <a:pos x="14" y="30"/>
                </a:cxn>
                <a:cxn ang="0">
                  <a:pos x="8" y="22"/>
                </a:cxn>
                <a:cxn ang="0">
                  <a:pos x="2" y="18"/>
                </a:cxn>
                <a:cxn ang="0">
                  <a:pos x="0" y="14"/>
                </a:cxn>
                <a:cxn ang="0">
                  <a:pos x="2" y="10"/>
                </a:cxn>
                <a:cxn ang="0">
                  <a:pos x="10" y="4"/>
                </a:cxn>
                <a:cxn ang="0">
                  <a:pos x="20" y="2"/>
                </a:cxn>
                <a:cxn ang="0">
                  <a:pos x="24" y="2"/>
                </a:cxn>
                <a:cxn ang="0">
                  <a:pos x="30" y="0"/>
                </a:cxn>
                <a:cxn ang="0">
                  <a:pos x="40" y="2"/>
                </a:cxn>
                <a:cxn ang="0">
                  <a:pos x="48" y="4"/>
                </a:cxn>
                <a:cxn ang="0">
                  <a:pos x="52" y="6"/>
                </a:cxn>
                <a:cxn ang="0">
                  <a:pos x="60" y="16"/>
                </a:cxn>
                <a:cxn ang="0">
                  <a:pos x="58" y="20"/>
                </a:cxn>
                <a:cxn ang="0">
                  <a:pos x="58" y="28"/>
                </a:cxn>
                <a:cxn ang="0">
                  <a:pos x="52" y="36"/>
                </a:cxn>
                <a:cxn ang="0">
                  <a:pos x="54" y="40"/>
                </a:cxn>
                <a:cxn ang="0">
                  <a:pos x="58" y="44"/>
                </a:cxn>
                <a:cxn ang="0">
                  <a:pos x="66" y="44"/>
                </a:cxn>
                <a:cxn ang="0">
                  <a:pos x="70" y="44"/>
                </a:cxn>
                <a:cxn ang="0">
                  <a:pos x="74" y="42"/>
                </a:cxn>
                <a:cxn ang="0">
                  <a:pos x="90" y="42"/>
                </a:cxn>
                <a:cxn ang="0">
                  <a:pos x="94" y="46"/>
                </a:cxn>
                <a:cxn ang="0">
                  <a:pos x="98" y="48"/>
                </a:cxn>
                <a:cxn ang="0">
                  <a:pos x="104" y="50"/>
                </a:cxn>
                <a:cxn ang="0">
                  <a:pos x="110" y="50"/>
                </a:cxn>
                <a:cxn ang="0">
                  <a:pos x="112" y="48"/>
                </a:cxn>
                <a:cxn ang="0">
                  <a:pos x="114" y="50"/>
                </a:cxn>
                <a:cxn ang="0">
                  <a:pos x="114" y="56"/>
                </a:cxn>
                <a:cxn ang="0">
                  <a:pos x="112" y="58"/>
                </a:cxn>
                <a:cxn ang="0">
                  <a:pos x="112" y="62"/>
                </a:cxn>
                <a:cxn ang="0">
                  <a:pos x="114" y="64"/>
                </a:cxn>
                <a:cxn ang="0">
                  <a:pos x="114" y="68"/>
                </a:cxn>
                <a:cxn ang="0">
                  <a:pos x="104" y="74"/>
                </a:cxn>
                <a:cxn ang="0">
                  <a:pos x="96" y="74"/>
                </a:cxn>
                <a:cxn ang="0">
                  <a:pos x="90" y="76"/>
                </a:cxn>
                <a:cxn ang="0">
                  <a:pos x="84" y="76"/>
                </a:cxn>
                <a:cxn ang="0">
                  <a:pos x="80" y="76"/>
                </a:cxn>
                <a:cxn ang="0">
                  <a:pos x="76" y="76"/>
                </a:cxn>
                <a:cxn ang="0">
                  <a:pos x="74" y="78"/>
                </a:cxn>
                <a:cxn ang="0">
                  <a:pos x="74" y="78"/>
                </a:cxn>
                <a:cxn ang="0">
                  <a:pos x="72" y="80"/>
                </a:cxn>
                <a:cxn ang="0">
                  <a:pos x="74" y="82"/>
                </a:cxn>
                <a:cxn ang="0">
                  <a:pos x="72" y="88"/>
                </a:cxn>
                <a:cxn ang="0">
                  <a:pos x="68" y="88"/>
                </a:cxn>
                <a:cxn ang="0">
                  <a:pos x="64" y="86"/>
                </a:cxn>
                <a:cxn ang="0">
                  <a:pos x="60" y="86"/>
                </a:cxn>
                <a:cxn ang="0">
                  <a:pos x="60" y="90"/>
                </a:cxn>
                <a:cxn ang="0">
                  <a:pos x="58" y="96"/>
                </a:cxn>
                <a:cxn ang="0">
                  <a:pos x="56" y="98"/>
                </a:cxn>
                <a:cxn ang="0">
                  <a:pos x="56" y="94"/>
                </a:cxn>
                <a:cxn ang="0">
                  <a:pos x="52" y="94"/>
                </a:cxn>
                <a:cxn ang="0">
                  <a:pos x="48" y="96"/>
                </a:cxn>
                <a:cxn ang="0">
                  <a:pos x="40" y="88"/>
                </a:cxn>
                <a:cxn ang="0">
                  <a:pos x="40" y="80"/>
                </a:cxn>
                <a:cxn ang="0">
                  <a:pos x="38" y="70"/>
                </a:cxn>
                <a:cxn ang="0">
                  <a:pos x="34" y="66"/>
                </a:cxn>
                <a:cxn ang="0">
                  <a:pos x="26" y="58"/>
                </a:cxn>
                <a:cxn ang="0">
                  <a:pos x="24" y="54"/>
                </a:cxn>
                <a:cxn ang="0">
                  <a:pos x="22" y="52"/>
                </a:cxn>
                <a:cxn ang="0">
                  <a:pos x="18" y="48"/>
                </a:cxn>
                <a:cxn ang="0">
                  <a:pos x="16" y="42"/>
                </a:cxn>
                <a:cxn ang="0">
                  <a:pos x="16" y="32"/>
                </a:cxn>
              </a:cxnLst>
              <a:rect l="0" t="0" r="r" b="b"/>
              <a:pathLst>
                <a:path w="116" h="98">
                  <a:moveTo>
                    <a:pt x="16" y="32"/>
                  </a:moveTo>
                  <a:lnTo>
                    <a:pt x="14" y="30"/>
                  </a:lnTo>
                  <a:lnTo>
                    <a:pt x="12" y="30"/>
                  </a:lnTo>
                  <a:lnTo>
                    <a:pt x="8" y="22"/>
                  </a:lnTo>
                  <a:lnTo>
                    <a:pt x="6" y="20"/>
                  </a:lnTo>
                  <a:lnTo>
                    <a:pt x="2" y="18"/>
                  </a:lnTo>
                  <a:lnTo>
                    <a:pt x="2" y="16"/>
                  </a:lnTo>
                  <a:lnTo>
                    <a:pt x="0" y="14"/>
                  </a:lnTo>
                  <a:lnTo>
                    <a:pt x="0" y="12"/>
                  </a:lnTo>
                  <a:lnTo>
                    <a:pt x="2" y="10"/>
                  </a:lnTo>
                  <a:lnTo>
                    <a:pt x="4" y="8"/>
                  </a:lnTo>
                  <a:lnTo>
                    <a:pt x="10" y="4"/>
                  </a:lnTo>
                  <a:lnTo>
                    <a:pt x="14" y="2"/>
                  </a:lnTo>
                  <a:lnTo>
                    <a:pt x="20" y="2"/>
                  </a:lnTo>
                  <a:lnTo>
                    <a:pt x="24" y="0"/>
                  </a:lnTo>
                  <a:lnTo>
                    <a:pt x="24" y="2"/>
                  </a:lnTo>
                  <a:lnTo>
                    <a:pt x="28" y="0"/>
                  </a:lnTo>
                  <a:lnTo>
                    <a:pt x="30" y="0"/>
                  </a:lnTo>
                  <a:lnTo>
                    <a:pt x="34" y="0"/>
                  </a:lnTo>
                  <a:lnTo>
                    <a:pt x="40" y="2"/>
                  </a:lnTo>
                  <a:lnTo>
                    <a:pt x="46" y="6"/>
                  </a:lnTo>
                  <a:lnTo>
                    <a:pt x="48" y="4"/>
                  </a:lnTo>
                  <a:lnTo>
                    <a:pt x="50" y="4"/>
                  </a:lnTo>
                  <a:lnTo>
                    <a:pt x="52" y="6"/>
                  </a:lnTo>
                  <a:lnTo>
                    <a:pt x="60" y="14"/>
                  </a:lnTo>
                  <a:lnTo>
                    <a:pt x="60" y="16"/>
                  </a:lnTo>
                  <a:lnTo>
                    <a:pt x="60" y="18"/>
                  </a:lnTo>
                  <a:lnTo>
                    <a:pt x="58" y="20"/>
                  </a:lnTo>
                  <a:lnTo>
                    <a:pt x="56" y="24"/>
                  </a:lnTo>
                  <a:lnTo>
                    <a:pt x="58" y="28"/>
                  </a:lnTo>
                  <a:lnTo>
                    <a:pt x="56" y="32"/>
                  </a:lnTo>
                  <a:lnTo>
                    <a:pt x="52" y="36"/>
                  </a:lnTo>
                  <a:lnTo>
                    <a:pt x="52" y="38"/>
                  </a:lnTo>
                  <a:lnTo>
                    <a:pt x="54" y="40"/>
                  </a:lnTo>
                  <a:lnTo>
                    <a:pt x="56" y="42"/>
                  </a:lnTo>
                  <a:lnTo>
                    <a:pt x="58" y="44"/>
                  </a:lnTo>
                  <a:lnTo>
                    <a:pt x="62" y="44"/>
                  </a:lnTo>
                  <a:lnTo>
                    <a:pt x="66" y="44"/>
                  </a:lnTo>
                  <a:lnTo>
                    <a:pt x="68" y="44"/>
                  </a:lnTo>
                  <a:lnTo>
                    <a:pt x="70" y="44"/>
                  </a:lnTo>
                  <a:lnTo>
                    <a:pt x="72" y="42"/>
                  </a:lnTo>
                  <a:lnTo>
                    <a:pt x="74" y="42"/>
                  </a:lnTo>
                  <a:lnTo>
                    <a:pt x="86" y="42"/>
                  </a:lnTo>
                  <a:lnTo>
                    <a:pt x="90" y="42"/>
                  </a:lnTo>
                  <a:lnTo>
                    <a:pt x="92" y="44"/>
                  </a:lnTo>
                  <a:lnTo>
                    <a:pt x="94" y="46"/>
                  </a:lnTo>
                  <a:lnTo>
                    <a:pt x="96" y="46"/>
                  </a:lnTo>
                  <a:lnTo>
                    <a:pt x="98" y="48"/>
                  </a:lnTo>
                  <a:lnTo>
                    <a:pt x="104" y="48"/>
                  </a:lnTo>
                  <a:lnTo>
                    <a:pt x="104" y="50"/>
                  </a:lnTo>
                  <a:lnTo>
                    <a:pt x="106" y="50"/>
                  </a:lnTo>
                  <a:lnTo>
                    <a:pt x="110" y="50"/>
                  </a:lnTo>
                  <a:lnTo>
                    <a:pt x="112" y="50"/>
                  </a:lnTo>
                  <a:lnTo>
                    <a:pt x="112" y="48"/>
                  </a:lnTo>
                  <a:lnTo>
                    <a:pt x="114" y="48"/>
                  </a:lnTo>
                  <a:lnTo>
                    <a:pt x="114" y="50"/>
                  </a:lnTo>
                  <a:lnTo>
                    <a:pt x="116" y="56"/>
                  </a:lnTo>
                  <a:lnTo>
                    <a:pt x="114" y="56"/>
                  </a:lnTo>
                  <a:lnTo>
                    <a:pt x="114" y="58"/>
                  </a:lnTo>
                  <a:lnTo>
                    <a:pt x="112" y="58"/>
                  </a:lnTo>
                  <a:lnTo>
                    <a:pt x="112" y="60"/>
                  </a:lnTo>
                  <a:lnTo>
                    <a:pt x="112" y="62"/>
                  </a:lnTo>
                  <a:lnTo>
                    <a:pt x="112" y="64"/>
                  </a:lnTo>
                  <a:lnTo>
                    <a:pt x="114" y="64"/>
                  </a:lnTo>
                  <a:lnTo>
                    <a:pt x="114" y="66"/>
                  </a:lnTo>
                  <a:lnTo>
                    <a:pt x="114" y="68"/>
                  </a:lnTo>
                  <a:lnTo>
                    <a:pt x="108" y="72"/>
                  </a:lnTo>
                  <a:lnTo>
                    <a:pt x="104" y="74"/>
                  </a:lnTo>
                  <a:lnTo>
                    <a:pt x="102" y="72"/>
                  </a:lnTo>
                  <a:lnTo>
                    <a:pt x="96" y="74"/>
                  </a:lnTo>
                  <a:lnTo>
                    <a:pt x="94" y="76"/>
                  </a:lnTo>
                  <a:lnTo>
                    <a:pt x="90" y="76"/>
                  </a:lnTo>
                  <a:lnTo>
                    <a:pt x="86" y="76"/>
                  </a:lnTo>
                  <a:lnTo>
                    <a:pt x="84" y="76"/>
                  </a:lnTo>
                  <a:lnTo>
                    <a:pt x="82" y="76"/>
                  </a:lnTo>
                  <a:lnTo>
                    <a:pt x="80" y="76"/>
                  </a:lnTo>
                  <a:lnTo>
                    <a:pt x="78" y="76"/>
                  </a:lnTo>
                  <a:lnTo>
                    <a:pt x="76" y="76"/>
                  </a:lnTo>
                  <a:lnTo>
                    <a:pt x="74" y="76"/>
                  </a:lnTo>
                  <a:lnTo>
                    <a:pt x="74" y="78"/>
                  </a:lnTo>
                  <a:lnTo>
                    <a:pt x="76" y="78"/>
                  </a:lnTo>
                  <a:lnTo>
                    <a:pt x="74" y="78"/>
                  </a:lnTo>
                  <a:lnTo>
                    <a:pt x="72" y="78"/>
                  </a:lnTo>
                  <a:lnTo>
                    <a:pt x="72" y="80"/>
                  </a:lnTo>
                  <a:lnTo>
                    <a:pt x="74" y="80"/>
                  </a:lnTo>
                  <a:lnTo>
                    <a:pt x="74" y="82"/>
                  </a:lnTo>
                  <a:lnTo>
                    <a:pt x="72" y="86"/>
                  </a:lnTo>
                  <a:lnTo>
                    <a:pt x="72" y="88"/>
                  </a:lnTo>
                  <a:lnTo>
                    <a:pt x="70" y="88"/>
                  </a:lnTo>
                  <a:lnTo>
                    <a:pt x="68" y="88"/>
                  </a:lnTo>
                  <a:lnTo>
                    <a:pt x="66" y="88"/>
                  </a:lnTo>
                  <a:lnTo>
                    <a:pt x="64" y="86"/>
                  </a:lnTo>
                  <a:lnTo>
                    <a:pt x="62" y="86"/>
                  </a:lnTo>
                  <a:lnTo>
                    <a:pt x="60" y="86"/>
                  </a:lnTo>
                  <a:lnTo>
                    <a:pt x="58" y="88"/>
                  </a:lnTo>
                  <a:lnTo>
                    <a:pt x="60" y="90"/>
                  </a:lnTo>
                  <a:lnTo>
                    <a:pt x="60" y="92"/>
                  </a:lnTo>
                  <a:lnTo>
                    <a:pt x="58" y="96"/>
                  </a:lnTo>
                  <a:lnTo>
                    <a:pt x="58" y="98"/>
                  </a:lnTo>
                  <a:lnTo>
                    <a:pt x="56" y="98"/>
                  </a:lnTo>
                  <a:lnTo>
                    <a:pt x="56" y="96"/>
                  </a:lnTo>
                  <a:lnTo>
                    <a:pt x="56" y="94"/>
                  </a:lnTo>
                  <a:lnTo>
                    <a:pt x="54" y="94"/>
                  </a:lnTo>
                  <a:lnTo>
                    <a:pt x="52" y="94"/>
                  </a:lnTo>
                  <a:lnTo>
                    <a:pt x="50" y="96"/>
                  </a:lnTo>
                  <a:lnTo>
                    <a:pt x="48" y="96"/>
                  </a:lnTo>
                  <a:lnTo>
                    <a:pt x="46" y="96"/>
                  </a:lnTo>
                  <a:lnTo>
                    <a:pt x="40" y="88"/>
                  </a:lnTo>
                  <a:lnTo>
                    <a:pt x="40" y="86"/>
                  </a:lnTo>
                  <a:lnTo>
                    <a:pt x="40" y="80"/>
                  </a:lnTo>
                  <a:lnTo>
                    <a:pt x="40" y="72"/>
                  </a:lnTo>
                  <a:lnTo>
                    <a:pt x="38" y="70"/>
                  </a:lnTo>
                  <a:lnTo>
                    <a:pt x="36" y="66"/>
                  </a:lnTo>
                  <a:lnTo>
                    <a:pt x="34" y="66"/>
                  </a:lnTo>
                  <a:lnTo>
                    <a:pt x="28" y="60"/>
                  </a:lnTo>
                  <a:lnTo>
                    <a:pt x="26" y="58"/>
                  </a:lnTo>
                  <a:lnTo>
                    <a:pt x="24" y="56"/>
                  </a:lnTo>
                  <a:lnTo>
                    <a:pt x="24" y="54"/>
                  </a:lnTo>
                  <a:lnTo>
                    <a:pt x="22" y="54"/>
                  </a:lnTo>
                  <a:lnTo>
                    <a:pt x="22" y="52"/>
                  </a:lnTo>
                  <a:lnTo>
                    <a:pt x="20" y="50"/>
                  </a:lnTo>
                  <a:lnTo>
                    <a:pt x="18" y="48"/>
                  </a:lnTo>
                  <a:lnTo>
                    <a:pt x="18" y="46"/>
                  </a:lnTo>
                  <a:lnTo>
                    <a:pt x="16" y="42"/>
                  </a:lnTo>
                  <a:lnTo>
                    <a:pt x="16" y="34"/>
                  </a:lnTo>
                  <a:lnTo>
                    <a:pt x="16" y="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7" name="Freeform 1541"/>
            <p:cNvSpPr>
              <a:spLocks/>
            </p:cNvSpPr>
            <p:nvPr/>
          </p:nvSpPr>
          <p:spPr bwMode="auto">
            <a:xfrm>
              <a:off x="6759034" y="3672536"/>
              <a:ext cx="57551" cy="147630"/>
            </a:xfrm>
            <a:custGeom>
              <a:avLst/>
              <a:gdLst/>
              <a:ahLst/>
              <a:cxnLst>
                <a:cxn ang="0">
                  <a:pos x="6" y="4"/>
                </a:cxn>
                <a:cxn ang="0">
                  <a:pos x="14" y="0"/>
                </a:cxn>
                <a:cxn ang="0">
                  <a:pos x="16" y="2"/>
                </a:cxn>
                <a:cxn ang="0">
                  <a:pos x="18" y="12"/>
                </a:cxn>
                <a:cxn ang="0">
                  <a:pos x="18" y="22"/>
                </a:cxn>
                <a:cxn ang="0">
                  <a:pos x="20" y="28"/>
                </a:cxn>
                <a:cxn ang="0">
                  <a:pos x="18" y="36"/>
                </a:cxn>
                <a:cxn ang="0">
                  <a:pos x="18" y="40"/>
                </a:cxn>
                <a:cxn ang="0">
                  <a:pos x="22" y="48"/>
                </a:cxn>
                <a:cxn ang="0">
                  <a:pos x="20" y="50"/>
                </a:cxn>
                <a:cxn ang="0">
                  <a:pos x="18" y="56"/>
                </a:cxn>
                <a:cxn ang="0">
                  <a:pos x="20" y="64"/>
                </a:cxn>
                <a:cxn ang="0">
                  <a:pos x="22" y="72"/>
                </a:cxn>
                <a:cxn ang="0">
                  <a:pos x="24" y="74"/>
                </a:cxn>
                <a:cxn ang="0">
                  <a:pos x="28" y="82"/>
                </a:cxn>
                <a:cxn ang="0">
                  <a:pos x="30" y="86"/>
                </a:cxn>
                <a:cxn ang="0">
                  <a:pos x="36" y="90"/>
                </a:cxn>
                <a:cxn ang="0">
                  <a:pos x="42" y="90"/>
                </a:cxn>
                <a:cxn ang="0">
                  <a:pos x="44" y="92"/>
                </a:cxn>
                <a:cxn ang="0">
                  <a:pos x="46" y="104"/>
                </a:cxn>
                <a:cxn ang="0">
                  <a:pos x="44" y="116"/>
                </a:cxn>
                <a:cxn ang="0">
                  <a:pos x="38" y="118"/>
                </a:cxn>
                <a:cxn ang="0">
                  <a:pos x="36" y="114"/>
                </a:cxn>
                <a:cxn ang="0">
                  <a:pos x="34" y="108"/>
                </a:cxn>
                <a:cxn ang="0">
                  <a:pos x="32" y="104"/>
                </a:cxn>
                <a:cxn ang="0">
                  <a:pos x="32" y="100"/>
                </a:cxn>
                <a:cxn ang="0">
                  <a:pos x="20" y="88"/>
                </a:cxn>
                <a:cxn ang="0">
                  <a:pos x="16" y="84"/>
                </a:cxn>
                <a:cxn ang="0">
                  <a:pos x="16" y="80"/>
                </a:cxn>
                <a:cxn ang="0">
                  <a:pos x="14" y="76"/>
                </a:cxn>
                <a:cxn ang="0">
                  <a:pos x="6" y="70"/>
                </a:cxn>
                <a:cxn ang="0">
                  <a:pos x="6" y="64"/>
                </a:cxn>
                <a:cxn ang="0">
                  <a:pos x="2" y="58"/>
                </a:cxn>
                <a:cxn ang="0">
                  <a:pos x="0" y="54"/>
                </a:cxn>
                <a:cxn ang="0">
                  <a:pos x="0" y="50"/>
                </a:cxn>
                <a:cxn ang="0">
                  <a:pos x="2" y="48"/>
                </a:cxn>
                <a:cxn ang="0">
                  <a:pos x="2" y="40"/>
                </a:cxn>
                <a:cxn ang="0">
                  <a:pos x="2" y="36"/>
                </a:cxn>
                <a:cxn ang="0">
                  <a:pos x="4" y="28"/>
                </a:cxn>
                <a:cxn ang="0">
                  <a:pos x="4" y="16"/>
                </a:cxn>
                <a:cxn ang="0">
                  <a:pos x="4" y="12"/>
                </a:cxn>
                <a:cxn ang="0">
                  <a:pos x="4" y="4"/>
                </a:cxn>
              </a:cxnLst>
              <a:rect l="0" t="0" r="r" b="b"/>
              <a:pathLst>
                <a:path w="46" h="118">
                  <a:moveTo>
                    <a:pt x="4" y="4"/>
                  </a:moveTo>
                  <a:lnTo>
                    <a:pt x="6" y="4"/>
                  </a:lnTo>
                  <a:lnTo>
                    <a:pt x="6" y="2"/>
                  </a:lnTo>
                  <a:lnTo>
                    <a:pt x="14" y="0"/>
                  </a:lnTo>
                  <a:lnTo>
                    <a:pt x="16" y="0"/>
                  </a:lnTo>
                  <a:lnTo>
                    <a:pt x="16" y="2"/>
                  </a:lnTo>
                  <a:lnTo>
                    <a:pt x="18" y="8"/>
                  </a:lnTo>
                  <a:lnTo>
                    <a:pt x="18" y="12"/>
                  </a:lnTo>
                  <a:lnTo>
                    <a:pt x="18" y="14"/>
                  </a:lnTo>
                  <a:lnTo>
                    <a:pt x="18" y="22"/>
                  </a:lnTo>
                  <a:lnTo>
                    <a:pt x="20" y="26"/>
                  </a:lnTo>
                  <a:lnTo>
                    <a:pt x="20" y="28"/>
                  </a:lnTo>
                  <a:lnTo>
                    <a:pt x="18" y="34"/>
                  </a:lnTo>
                  <a:lnTo>
                    <a:pt x="18" y="36"/>
                  </a:lnTo>
                  <a:lnTo>
                    <a:pt x="18" y="38"/>
                  </a:lnTo>
                  <a:lnTo>
                    <a:pt x="18" y="40"/>
                  </a:lnTo>
                  <a:lnTo>
                    <a:pt x="20" y="40"/>
                  </a:lnTo>
                  <a:lnTo>
                    <a:pt x="22" y="48"/>
                  </a:lnTo>
                  <a:lnTo>
                    <a:pt x="22" y="50"/>
                  </a:lnTo>
                  <a:lnTo>
                    <a:pt x="20" y="50"/>
                  </a:lnTo>
                  <a:lnTo>
                    <a:pt x="20" y="52"/>
                  </a:lnTo>
                  <a:lnTo>
                    <a:pt x="18" y="56"/>
                  </a:lnTo>
                  <a:lnTo>
                    <a:pt x="18" y="58"/>
                  </a:lnTo>
                  <a:lnTo>
                    <a:pt x="20" y="64"/>
                  </a:lnTo>
                  <a:lnTo>
                    <a:pt x="20" y="70"/>
                  </a:lnTo>
                  <a:lnTo>
                    <a:pt x="22" y="72"/>
                  </a:lnTo>
                  <a:lnTo>
                    <a:pt x="24" y="72"/>
                  </a:lnTo>
                  <a:lnTo>
                    <a:pt x="24" y="74"/>
                  </a:lnTo>
                  <a:lnTo>
                    <a:pt x="28" y="80"/>
                  </a:lnTo>
                  <a:lnTo>
                    <a:pt x="28" y="82"/>
                  </a:lnTo>
                  <a:lnTo>
                    <a:pt x="28" y="84"/>
                  </a:lnTo>
                  <a:lnTo>
                    <a:pt x="30" y="86"/>
                  </a:lnTo>
                  <a:lnTo>
                    <a:pt x="32" y="88"/>
                  </a:lnTo>
                  <a:lnTo>
                    <a:pt x="36" y="90"/>
                  </a:lnTo>
                  <a:lnTo>
                    <a:pt x="40" y="90"/>
                  </a:lnTo>
                  <a:lnTo>
                    <a:pt x="42" y="90"/>
                  </a:lnTo>
                  <a:lnTo>
                    <a:pt x="44" y="90"/>
                  </a:lnTo>
                  <a:lnTo>
                    <a:pt x="44" y="92"/>
                  </a:lnTo>
                  <a:lnTo>
                    <a:pt x="46" y="94"/>
                  </a:lnTo>
                  <a:lnTo>
                    <a:pt x="46" y="104"/>
                  </a:lnTo>
                  <a:lnTo>
                    <a:pt x="46" y="112"/>
                  </a:lnTo>
                  <a:lnTo>
                    <a:pt x="44" y="116"/>
                  </a:lnTo>
                  <a:lnTo>
                    <a:pt x="42" y="118"/>
                  </a:lnTo>
                  <a:lnTo>
                    <a:pt x="38" y="118"/>
                  </a:lnTo>
                  <a:lnTo>
                    <a:pt x="36" y="116"/>
                  </a:lnTo>
                  <a:lnTo>
                    <a:pt x="36" y="114"/>
                  </a:lnTo>
                  <a:lnTo>
                    <a:pt x="36" y="108"/>
                  </a:lnTo>
                  <a:lnTo>
                    <a:pt x="34" y="108"/>
                  </a:lnTo>
                  <a:lnTo>
                    <a:pt x="32" y="106"/>
                  </a:lnTo>
                  <a:lnTo>
                    <a:pt x="32" y="104"/>
                  </a:lnTo>
                  <a:lnTo>
                    <a:pt x="32" y="102"/>
                  </a:lnTo>
                  <a:lnTo>
                    <a:pt x="32" y="100"/>
                  </a:lnTo>
                  <a:lnTo>
                    <a:pt x="28" y="94"/>
                  </a:lnTo>
                  <a:lnTo>
                    <a:pt x="20" y="88"/>
                  </a:lnTo>
                  <a:lnTo>
                    <a:pt x="16" y="86"/>
                  </a:lnTo>
                  <a:lnTo>
                    <a:pt x="16" y="84"/>
                  </a:lnTo>
                  <a:lnTo>
                    <a:pt x="16" y="82"/>
                  </a:lnTo>
                  <a:lnTo>
                    <a:pt x="16" y="80"/>
                  </a:lnTo>
                  <a:lnTo>
                    <a:pt x="16" y="76"/>
                  </a:lnTo>
                  <a:lnTo>
                    <a:pt x="14" y="76"/>
                  </a:lnTo>
                  <a:lnTo>
                    <a:pt x="10" y="74"/>
                  </a:lnTo>
                  <a:lnTo>
                    <a:pt x="6" y="70"/>
                  </a:lnTo>
                  <a:lnTo>
                    <a:pt x="6" y="68"/>
                  </a:lnTo>
                  <a:lnTo>
                    <a:pt x="6" y="64"/>
                  </a:lnTo>
                  <a:lnTo>
                    <a:pt x="4" y="58"/>
                  </a:lnTo>
                  <a:lnTo>
                    <a:pt x="2" y="58"/>
                  </a:lnTo>
                  <a:lnTo>
                    <a:pt x="2" y="56"/>
                  </a:lnTo>
                  <a:lnTo>
                    <a:pt x="0" y="54"/>
                  </a:lnTo>
                  <a:lnTo>
                    <a:pt x="0" y="52"/>
                  </a:lnTo>
                  <a:lnTo>
                    <a:pt x="0" y="50"/>
                  </a:lnTo>
                  <a:lnTo>
                    <a:pt x="0" y="48"/>
                  </a:lnTo>
                  <a:lnTo>
                    <a:pt x="2" y="48"/>
                  </a:lnTo>
                  <a:lnTo>
                    <a:pt x="2" y="46"/>
                  </a:lnTo>
                  <a:lnTo>
                    <a:pt x="2" y="40"/>
                  </a:lnTo>
                  <a:lnTo>
                    <a:pt x="0" y="38"/>
                  </a:lnTo>
                  <a:lnTo>
                    <a:pt x="2" y="36"/>
                  </a:lnTo>
                  <a:lnTo>
                    <a:pt x="2" y="34"/>
                  </a:lnTo>
                  <a:lnTo>
                    <a:pt x="4" y="28"/>
                  </a:lnTo>
                  <a:lnTo>
                    <a:pt x="4" y="22"/>
                  </a:lnTo>
                  <a:lnTo>
                    <a:pt x="4" y="16"/>
                  </a:lnTo>
                  <a:lnTo>
                    <a:pt x="4" y="14"/>
                  </a:lnTo>
                  <a:lnTo>
                    <a:pt x="4" y="12"/>
                  </a:lnTo>
                  <a:lnTo>
                    <a:pt x="4" y="8"/>
                  </a:lnTo>
                  <a:lnTo>
                    <a:pt x="4" y="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8" name="Freeform 1542"/>
            <p:cNvSpPr>
              <a:spLocks/>
            </p:cNvSpPr>
            <p:nvPr/>
          </p:nvSpPr>
          <p:spPr bwMode="auto">
            <a:xfrm>
              <a:off x="6413731" y="3825170"/>
              <a:ext cx="67559" cy="90079"/>
            </a:xfrm>
            <a:custGeom>
              <a:avLst/>
              <a:gdLst/>
              <a:ahLst/>
              <a:cxnLst>
                <a:cxn ang="0">
                  <a:pos x="50" y="10"/>
                </a:cxn>
                <a:cxn ang="0">
                  <a:pos x="50" y="12"/>
                </a:cxn>
                <a:cxn ang="0">
                  <a:pos x="52" y="18"/>
                </a:cxn>
                <a:cxn ang="0">
                  <a:pos x="52" y="24"/>
                </a:cxn>
                <a:cxn ang="0">
                  <a:pos x="50" y="30"/>
                </a:cxn>
                <a:cxn ang="0">
                  <a:pos x="46" y="36"/>
                </a:cxn>
                <a:cxn ang="0">
                  <a:pos x="44" y="36"/>
                </a:cxn>
                <a:cxn ang="0">
                  <a:pos x="40" y="40"/>
                </a:cxn>
                <a:cxn ang="0">
                  <a:pos x="38" y="42"/>
                </a:cxn>
                <a:cxn ang="0">
                  <a:pos x="36" y="42"/>
                </a:cxn>
                <a:cxn ang="0">
                  <a:pos x="32" y="44"/>
                </a:cxn>
                <a:cxn ang="0">
                  <a:pos x="28" y="44"/>
                </a:cxn>
                <a:cxn ang="0">
                  <a:pos x="28" y="46"/>
                </a:cxn>
                <a:cxn ang="0">
                  <a:pos x="28" y="48"/>
                </a:cxn>
                <a:cxn ang="0">
                  <a:pos x="26" y="50"/>
                </a:cxn>
                <a:cxn ang="0">
                  <a:pos x="22" y="56"/>
                </a:cxn>
                <a:cxn ang="0">
                  <a:pos x="20" y="56"/>
                </a:cxn>
                <a:cxn ang="0">
                  <a:pos x="18" y="60"/>
                </a:cxn>
                <a:cxn ang="0">
                  <a:pos x="16" y="62"/>
                </a:cxn>
                <a:cxn ang="0">
                  <a:pos x="16" y="64"/>
                </a:cxn>
                <a:cxn ang="0">
                  <a:pos x="14" y="66"/>
                </a:cxn>
                <a:cxn ang="0">
                  <a:pos x="10" y="70"/>
                </a:cxn>
                <a:cxn ang="0">
                  <a:pos x="8" y="72"/>
                </a:cxn>
                <a:cxn ang="0">
                  <a:pos x="6" y="70"/>
                </a:cxn>
                <a:cxn ang="0">
                  <a:pos x="4" y="66"/>
                </a:cxn>
                <a:cxn ang="0">
                  <a:pos x="4" y="64"/>
                </a:cxn>
                <a:cxn ang="0">
                  <a:pos x="4" y="60"/>
                </a:cxn>
                <a:cxn ang="0">
                  <a:pos x="2" y="60"/>
                </a:cxn>
                <a:cxn ang="0">
                  <a:pos x="2" y="62"/>
                </a:cxn>
                <a:cxn ang="0">
                  <a:pos x="0" y="60"/>
                </a:cxn>
                <a:cxn ang="0">
                  <a:pos x="0" y="58"/>
                </a:cxn>
                <a:cxn ang="0">
                  <a:pos x="0" y="56"/>
                </a:cxn>
                <a:cxn ang="0">
                  <a:pos x="2" y="56"/>
                </a:cxn>
                <a:cxn ang="0">
                  <a:pos x="4" y="52"/>
                </a:cxn>
                <a:cxn ang="0">
                  <a:pos x="6" y="46"/>
                </a:cxn>
                <a:cxn ang="0">
                  <a:pos x="8" y="44"/>
                </a:cxn>
                <a:cxn ang="0">
                  <a:pos x="14" y="38"/>
                </a:cxn>
                <a:cxn ang="0">
                  <a:pos x="18" y="36"/>
                </a:cxn>
                <a:cxn ang="0">
                  <a:pos x="20" y="32"/>
                </a:cxn>
                <a:cxn ang="0">
                  <a:pos x="22" y="30"/>
                </a:cxn>
                <a:cxn ang="0">
                  <a:pos x="24" y="26"/>
                </a:cxn>
                <a:cxn ang="0">
                  <a:pos x="26" y="26"/>
                </a:cxn>
                <a:cxn ang="0">
                  <a:pos x="28" y="24"/>
                </a:cxn>
                <a:cxn ang="0">
                  <a:pos x="34" y="22"/>
                </a:cxn>
                <a:cxn ang="0">
                  <a:pos x="34" y="20"/>
                </a:cxn>
                <a:cxn ang="0">
                  <a:pos x="38" y="18"/>
                </a:cxn>
                <a:cxn ang="0">
                  <a:pos x="42" y="14"/>
                </a:cxn>
                <a:cxn ang="0">
                  <a:pos x="44" y="12"/>
                </a:cxn>
                <a:cxn ang="0">
                  <a:pos x="48" y="6"/>
                </a:cxn>
                <a:cxn ang="0">
                  <a:pos x="50" y="4"/>
                </a:cxn>
                <a:cxn ang="0">
                  <a:pos x="52" y="2"/>
                </a:cxn>
                <a:cxn ang="0">
                  <a:pos x="54" y="2"/>
                </a:cxn>
                <a:cxn ang="0">
                  <a:pos x="54" y="0"/>
                </a:cxn>
                <a:cxn ang="0">
                  <a:pos x="54" y="2"/>
                </a:cxn>
                <a:cxn ang="0">
                  <a:pos x="52" y="4"/>
                </a:cxn>
                <a:cxn ang="0">
                  <a:pos x="50" y="6"/>
                </a:cxn>
                <a:cxn ang="0">
                  <a:pos x="48" y="8"/>
                </a:cxn>
                <a:cxn ang="0">
                  <a:pos x="48" y="10"/>
                </a:cxn>
                <a:cxn ang="0">
                  <a:pos x="50" y="10"/>
                </a:cxn>
              </a:cxnLst>
              <a:rect l="0" t="0" r="r" b="b"/>
              <a:pathLst>
                <a:path w="54" h="72">
                  <a:moveTo>
                    <a:pt x="50" y="10"/>
                  </a:moveTo>
                  <a:lnTo>
                    <a:pt x="50" y="12"/>
                  </a:lnTo>
                  <a:lnTo>
                    <a:pt x="52" y="18"/>
                  </a:lnTo>
                  <a:lnTo>
                    <a:pt x="52" y="24"/>
                  </a:lnTo>
                  <a:lnTo>
                    <a:pt x="50" y="30"/>
                  </a:lnTo>
                  <a:lnTo>
                    <a:pt x="46" y="36"/>
                  </a:lnTo>
                  <a:lnTo>
                    <a:pt x="44" y="36"/>
                  </a:lnTo>
                  <a:lnTo>
                    <a:pt x="40" y="40"/>
                  </a:lnTo>
                  <a:lnTo>
                    <a:pt x="38" y="42"/>
                  </a:lnTo>
                  <a:lnTo>
                    <a:pt x="36" y="42"/>
                  </a:lnTo>
                  <a:lnTo>
                    <a:pt x="32" y="44"/>
                  </a:lnTo>
                  <a:lnTo>
                    <a:pt x="28" y="44"/>
                  </a:lnTo>
                  <a:lnTo>
                    <a:pt x="28" y="46"/>
                  </a:lnTo>
                  <a:lnTo>
                    <a:pt x="28" y="48"/>
                  </a:lnTo>
                  <a:lnTo>
                    <a:pt x="26" y="50"/>
                  </a:lnTo>
                  <a:lnTo>
                    <a:pt x="22" y="56"/>
                  </a:lnTo>
                  <a:lnTo>
                    <a:pt x="20" y="56"/>
                  </a:lnTo>
                  <a:lnTo>
                    <a:pt x="18" y="60"/>
                  </a:lnTo>
                  <a:lnTo>
                    <a:pt x="16" y="62"/>
                  </a:lnTo>
                  <a:lnTo>
                    <a:pt x="16" y="64"/>
                  </a:lnTo>
                  <a:lnTo>
                    <a:pt x="14" y="66"/>
                  </a:lnTo>
                  <a:lnTo>
                    <a:pt x="10" y="70"/>
                  </a:lnTo>
                  <a:lnTo>
                    <a:pt x="8" y="72"/>
                  </a:lnTo>
                  <a:lnTo>
                    <a:pt x="6" y="70"/>
                  </a:lnTo>
                  <a:lnTo>
                    <a:pt x="4" y="66"/>
                  </a:lnTo>
                  <a:lnTo>
                    <a:pt x="4" y="64"/>
                  </a:lnTo>
                  <a:lnTo>
                    <a:pt x="4" y="60"/>
                  </a:lnTo>
                  <a:lnTo>
                    <a:pt x="2" y="60"/>
                  </a:lnTo>
                  <a:lnTo>
                    <a:pt x="2" y="62"/>
                  </a:lnTo>
                  <a:lnTo>
                    <a:pt x="0" y="60"/>
                  </a:lnTo>
                  <a:lnTo>
                    <a:pt x="0" y="58"/>
                  </a:lnTo>
                  <a:lnTo>
                    <a:pt x="0" y="56"/>
                  </a:lnTo>
                  <a:lnTo>
                    <a:pt x="2" y="56"/>
                  </a:lnTo>
                  <a:lnTo>
                    <a:pt x="4" y="52"/>
                  </a:lnTo>
                  <a:lnTo>
                    <a:pt x="6" y="46"/>
                  </a:lnTo>
                  <a:lnTo>
                    <a:pt x="8" y="44"/>
                  </a:lnTo>
                  <a:lnTo>
                    <a:pt x="14" y="38"/>
                  </a:lnTo>
                  <a:lnTo>
                    <a:pt x="18" y="36"/>
                  </a:lnTo>
                  <a:lnTo>
                    <a:pt x="20" y="32"/>
                  </a:lnTo>
                  <a:lnTo>
                    <a:pt x="22" y="30"/>
                  </a:lnTo>
                  <a:lnTo>
                    <a:pt x="24" y="26"/>
                  </a:lnTo>
                  <a:lnTo>
                    <a:pt x="26" y="26"/>
                  </a:lnTo>
                  <a:lnTo>
                    <a:pt x="28" y="24"/>
                  </a:lnTo>
                  <a:lnTo>
                    <a:pt x="34" y="22"/>
                  </a:lnTo>
                  <a:lnTo>
                    <a:pt x="34" y="20"/>
                  </a:lnTo>
                  <a:lnTo>
                    <a:pt x="38" y="18"/>
                  </a:lnTo>
                  <a:lnTo>
                    <a:pt x="42" y="14"/>
                  </a:lnTo>
                  <a:lnTo>
                    <a:pt x="44" y="12"/>
                  </a:lnTo>
                  <a:lnTo>
                    <a:pt x="48" y="6"/>
                  </a:lnTo>
                  <a:lnTo>
                    <a:pt x="50" y="4"/>
                  </a:lnTo>
                  <a:lnTo>
                    <a:pt x="52" y="2"/>
                  </a:lnTo>
                  <a:lnTo>
                    <a:pt x="54" y="2"/>
                  </a:lnTo>
                  <a:lnTo>
                    <a:pt x="54" y="0"/>
                  </a:lnTo>
                  <a:lnTo>
                    <a:pt x="54" y="2"/>
                  </a:lnTo>
                  <a:lnTo>
                    <a:pt x="52" y="4"/>
                  </a:lnTo>
                  <a:lnTo>
                    <a:pt x="50" y="6"/>
                  </a:lnTo>
                  <a:lnTo>
                    <a:pt x="48" y="8"/>
                  </a:lnTo>
                  <a:lnTo>
                    <a:pt x="48" y="10"/>
                  </a:lnTo>
                  <a:lnTo>
                    <a:pt x="50" y="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9" name="Freeform 1543"/>
            <p:cNvSpPr>
              <a:spLocks/>
            </p:cNvSpPr>
            <p:nvPr/>
          </p:nvSpPr>
          <p:spPr bwMode="auto">
            <a:xfrm>
              <a:off x="6491299" y="3950279"/>
              <a:ext cx="207682" cy="222696"/>
            </a:xfrm>
            <a:custGeom>
              <a:avLst/>
              <a:gdLst/>
              <a:ahLst/>
              <a:cxnLst>
                <a:cxn ang="0">
                  <a:pos x="96" y="4"/>
                </a:cxn>
                <a:cxn ang="0">
                  <a:pos x="92" y="8"/>
                </a:cxn>
                <a:cxn ang="0">
                  <a:pos x="104" y="8"/>
                </a:cxn>
                <a:cxn ang="0">
                  <a:pos x="108" y="8"/>
                </a:cxn>
                <a:cxn ang="0">
                  <a:pos x="120" y="10"/>
                </a:cxn>
                <a:cxn ang="0">
                  <a:pos x="126" y="28"/>
                </a:cxn>
                <a:cxn ang="0">
                  <a:pos x="128" y="30"/>
                </a:cxn>
                <a:cxn ang="0">
                  <a:pos x="136" y="36"/>
                </a:cxn>
                <a:cxn ang="0">
                  <a:pos x="142" y="36"/>
                </a:cxn>
                <a:cxn ang="0">
                  <a:pos x="142" y="30"/>
                </a:cxn>
                <a:cxn ang="0">
                  <a:pos x="156" y="26"/>
                </a:cxn>
                <a:cxn ang="0">
                  <a:pos x="162" y="38"/>
                </a:cxn>
                <a:cxn ang="0">
                  <a:pos x="152" y="38"/>
                </a:cxn>
                <a:cxn ang="0">
                  <a:pos x="148" y="44"/>
                </a:cxn>
                <a:cxn ang="0">
                  <a:pos x="146" y="48"/>
                </a:cxn>
                <a:cxn ang="0">
                  <a:pos x="132" y="44"/>
                </a:cxn>
                <a:cxn ang="0">
                  <a:pos x="126" y="64"/>
                </a:cxn>
                <a:cxn ang="0">
                  <a:pos x="128" y="72"/>
                </a:cxn>
                <a:cxn ang="0">
                  <a:pos x="126" y="76"/>
                </a:cxn>
                <a:cxn ang="0">
                  <a:pos x="120" y="84"/>
                </a:cxn>
                <a:cxn ang="0">
                  <a:pos x="116" y="98"/>
                </a:cxn>
                <a:cxn ang="0">
                  <a:pos x="108" y="98"/>
                </a:cxn>
                <a:cxn ang="0">
                  <a:pos x="100" y="116"/>
                </a:cxn>
                <a:cxn ang="0">
                  <a:pos x="94" y="116"/>
                </a:cxn>
                <a:cxn ang="0">
                  <a:pos x="90" y="122"/>
                </a:cxn>
                <a:cxn ang="0">
                  <a:pos x="102" y="126"/>
                </a:cxn>
                <a:cxn ang="0">
                  <a:pos x="94" y="124"/>
                </a:cxn>
                <a:cxn ang="0">
                  <a:pos x="84" y="132"/>
                </a:cxn>
                <a:cxn ang="0">
                  <a:pos x="104" y="134"/>
                </a:cxn>
                <a:cxn ang="0">
                  <a:pos x="114" y="134"/>
                </a:cxn>
                <a:cxn ang="0">
                  <a:pos x="100" y="144"/>
                </a:cxn>
                <a:cxn ang="0">
                  <a:pos x="82" y="152"/>
                </a:cxn>
                <a:cxn ang="0">
                  <a:pos x="72" y="146"/>
                </a:cxn>
                <a:cxn ang="0">
                  <a:pos x="66" y="158"/>
                </a:cxn>
                <a:cxn ang="0">
                  <a:pos x="60" y="178"/>
                </a:cxn>
                <a:cxn ang="0">
                  <a:pos x="64" y="168"/>
                </a:cxn>
                <a:cxn ang="0">
                  <a:pos x="64" y="154"/>
                </a:cxn>
                <a:cxn ang="0">
                  <a:pos x="56" y="150"/>
                </a:cxn>
                <a:cxn ang="0">
                  <a:pos x="46" y="154"/>
                </a:cxn>
                <a:cxn ang="0">
                  <a:pos x="38" y="142"/>
                </a:cxn>
                <a:cxn ang="0">
                  <a:pos x="28" y="146"/>
                </a:cxn>
                <a:cxn ang="0">
                  <a:pos x="28" y="152"/>
                </a:cxn>
                <a:cxn ang="0">
                  <a:pos x="22" y="152"/>
                </a:cxn>
                <a:cxn ang="0">
                  <a:pos x="12" y="162"/>
                </a:cxn>
                <a:cxn ang="0">
                  <a:pos x="10" y="168"/>
                </a:cxn>
                <a:cxn ang="0">
                  <a:pos x="6" y="154"/>
                </a:cxn>
                <a:cxn ang="0">
                  <a:pos x="10" y="144"/>
                </a:cxn>
                <a:cxn ang="0">
                  <a:pos x="4" y="134"/>
                </a:cxn>
                <a:cxn ang="0">
                  <a:pos x="0" y="130"/>
                </a:cxn>
                <a:cxn ang="0">
                  <a:pos x="4" y="122"/>
                </a:cxn>
                <a:cxn ang="0">
                  <a:pos x="10" y="98"/>
                </a:cxn>
                <a:cxn ang="0">
                  <a:pos x="14" y="78"/>
                </a:cxn>
                <a:cxn ang="0">
                  <a:pos x="10" y="78"/>
                </a:cxn>
                <a:cxn ang="0">
                  <a:pos x="6" y="64"/>
                </a:cxn>
                <a:cxn ang="0">
                  <a:pos x="14" y="46"/>
                </a:cxn>
                <a:cxn ang="0">
                  <a:pos x="20" y="34"/>
                </a:cxn>
                <a:cxn ang="0">
                  <a:pos x="22" y="26"/>
                </a:cxn>
                <a:cxn ang="0">
                  <a:pos x="30" y="26"/>
                </a:cxn>
                <a:cxn ang="0">
                  <a:pos x="44" y="18"/>
                </a:cxn>
                <a:cxn ang="0">
                  <a:pos x="50" y="18"/>
                </a:cxn>
                <a:cxn ang="0">
                  <a:pos x="54" y="16"/>
                </a:cxn>
                <a:cxn ang="0">
                  <a:pos x="66" y="16"/>
                </a:cxn>
                <a:cxn ang="0">
                  <a:pos x="78" y="10"/>
                </a:cxn>
              </a:cxnLst>
              <a:rect l="0" t="0" r="r" b="b"/>
              <a:pathLst>
                <a:path w="166" h="178">
                  <a:moveTo>
                    <a:pt x="80" y="0"/>
                  </a:moveTo>
                  <a:lnTo>
                    <a:pt x="82" y="0"/>
                  </a:lnTo>
                  <a:lnTo>
                    <a:pt x="88" y="2"/>
                  </a:lnTo>
                  <a:lnTo>
                    <a:pt x="94" y="4"/>
                  </a:lnTo>
                  <a:lnTo>
                    <a:pt x="96" y="4"/>
                  </a:lnTo>
                  <a:lnTo>
                    <a:pt x="98" y="6"/>
                  </a:lnTo>
                  <a:lnTo>
                    <a:pt x="98" y="8"/>
                  </a:lnTo>
                  <a:lnTo>
                    <a:pt x="96" y="8"/>
                  </a:lnTo>
                  <a:lnTo>
                    <a:pt x="94" y="8"/>
                  </a:lnTo>
                  <a:lnTo>
                    <a:pt x="92" y="8"/>
                  </a:lnTo>
                  <a:lnTo>
                    <a:pt x="94" y="10"/>
                  </a:lnTo>
                  <a:lnTo>
                    <a:pt x="98" y="12"/>
                  </a:lnTo>
                  <a:lnTo>
                    <a:pt x="100" y="12"/>
                  </a:lnTo>
                  <a:lnTo>
                    <a:pt x="104" y="10"/>
                  </a:lnTo>
                  <a:lnTo>
                    <a:pt x="104" y="8"/>
                  </a:lnTo>
                  <a:lnTo>
                    <a:pt x="104" y="6"/>
                  </a:lnTo>
                  <a:lnTo>
                    <a:pt x="108" y="4"/>
                  </a:lnTo>
                  <a:lnTo>
                    <a:pt x="110" y="6"/>
                  </a:lnTo>
                  <a:lnTo>
                    <a:pt x="108" y="6"/>
                  </a:lnTo>
                  <a:lnTo>
                    <a:pt x="108" y="8"/>
                  </a:lnTo>
                  <a:lnTo>
                    <a:pt x="108" y="12"/>
                  </a:lnTo>
                  <a:lnTo>
                    <a:pt x="114" y="14"/>
                  </a:lnTo>
                  <a:lnTo>
                    <a:pt x="118" y="12"/>
                  </a:lnTo>
                  <a:lnTo>
                    <a:pt x="118" y="10"/>
                  </a:lnTo>
                  <a:lnTo>
                    <a:pt x="120" y="10"/>
                  </a:lnTo>
                  <a:lnTo>
                    <a:pt x="122" y="8"/>
                  </a:lnTo>
                  <a:lnTo>
                    <a:pt x="122" y="10"/>
                  </a:lnTo>
                  <a:lnTo>
                    <a:pt x="120" y="20"/>
                  </a:lnTo>
                  <a:lnTo>
                    <a:pt x="122" y="24"/>
                  </a:lnTo>
                  <a:lnTo>
                    <a:pt x="126" y="28"/>
                  </a:lnTo>
                  <a:lnTo>
                    <a:pt x="126" y="26"/>
                  </a:lnTo>
                  <a:lnTo>
                    <a:pt x="128" y="24"/>
                  </a:lnTo>
                  <a:lnTo>
                    <a:pt x="130" y="24"/>
                  </a:lnTo>
                  <a:lnTo>
                    <a:pt x="130" y="28"/>
                  </a:lnTo>
                  <a:lnTo>
                    <a:pt x="128" y="30"/>
                  </a:lnTo>
                  <a:lnTo>
                    <a:pt x="130" y="32"/>
                  </a:lnTo>
                  <a:lnTo>
                    <a:pt x="132" y="32"/>
                  </a:lnTo>
                  <a:lnTo>
                    <a:pt x="134" y="34"/>
                  </a:lnTo>
                  <a:lnTo>
                    <a:pt x="136" y="34"/>
                  </a:lnTo>
                  <a:lnTo>
                    <a:pt x="136" y="36"/>
                  </a:lnTo>
                  <a:lnTo>
                    <a:pt x="136" y="38"/>
                  </a:lnTo>
                  <a:lnTo>
                    <a:pt x="136" y="42"/>
                  </a:lnTo>
                  <a:lnTo>
                    <a:pt x="138" y="42"/>
                  </a:lnTo>
                  <a:lnTo>
                    <a:pt x="142" y="38"/>
                  </a:lnTo>
                  <a:lnTo>
                    <a:pt x="142" y="36"/>
                  </a:lnTo>
                  <a:lnTo>
                    <a:pt x="142" y="34"/>
                  </a:lnTo>
                  <a:lnTo>
                    <a:pt x="142" y="32"/>
                  </a:lnTo>
                  <a:lnTo>
                    <a:pt x="142" y="34"/>
                  </a:lnTo>
                  <a:lnTo>
                    <a:pt x="140" y="32"/>
                  </a:lnTo>
                  <a:lnTo>
                    <a:pt x="142" y="30"/>
                  </a:lnTo>
                  <a:lnTo>
                    <a:pt x="146" y="30"/>
                  </a:lnTo>
                  <a:lnTo>
                    <a:pt x="148" y="30"/>
                  </a:lnTo>
                  <a:lnTo>
                    <a:pt x="148" y="32"/>
                  </a:lnTo>
                  <a:lnTo>
                    <a:pt x="154" y="28"/>
                  </a:lnTo>
                  <a:lnTo>
                    <a:pt x="156" y="26"/>
                  </a:lnTo>
                  <a:lnTo>
                    <a:pt x="160" y="28"/>
                  </a:lnTo>
                  <a:lnTo>
                    <a:pt x="164" y="32"/>
                  </a:lnTo>
                  <a:lnTo>
                    <a:pt x="166" y="36"/>
                  </a:lnTo>
                  <a:lnTo>
                    <a:pt x="166" y="38"/>
                  </a:lnTo>
                  <a:lnTo>
                    <a:pt x="162" y="38"/>
                  </a:lnTo>
                  <a:lnTo>
                    <a:pt x="160" y="40"/>
                  </a:lnTo>
                  <a:lnTo>
                    <a:pt x="158" y="40"/>
                  </a:lnTo>
                  <a:lnTo>
                    <a:pt x="156" y="40"/>
                  </a:lnTo>
                  <a:lnTo>
                    <a:pt x="152" y="40"/>
                  </a:lnTo>
                  <a:lnTo>
                    <a:pt x="152" y="38"/>
                  </a:lnTo>
                  <a:lnTo>
                    <a:pt x="150" y="38"/>
                  </a:lnTo>
                  <a:lnTo>
                    <a:pt x="146" y="40"/>
                  </a:lnTo>
                  <a:lnTo>
                    <a:pt x="146" y="42"/>
                  </a:lnTo>
                  <a:lnTo>
                    <a:pt x="146" y="44"/>
                  </a:lnTo>
                  <a:lnTo>
                    <a:pt x="148" y="44"/>
                  </a:lnTo>
                  <a:lnTo>
                    <a:pt x="150" y="44"/>
                  </a:lnTo>
                  <a:lnTo>
                    <a:pt x="150" y="46"/>
                  </a:lnTo>
                  <a:lnTo>
                    <a:pt x="148" y="46"/>
                  </a:lnTo>
                  <a:lnTo>
                    <a:pt x="148" y="48"/>
                  </a:lnTo>
                  <a:lnTo>
                    <a:pt x="146" y="48"/>
                  </a:lnTo>
                  <a:lnTo>
                    <a:pt x="144" y="48"/>
                  </a:lnTo>
                  <a:lnTo>
                    <a:pt x="138" y="46"/>
                  </a:lnTo>
                  <a:lnTo>
                    <a:pt x="136" y="44"/>
                  </a:lnTo>
                  <a:lnTo>
                    <a:pt x="134" y="42"/>
                  </a:lnTo>
                  <a:lnTo>
                    <a:pt x="132" y="44"/>
                  </a:lnTo>
                  <a:lnTo>
                    <a:pt x="126" y="50"/>
                  </a:lnTo>
                  <a:lnTo>
                    <a:pt x="126" y="52"/>
                  </a:lnTo>
                  <a:lnTo>
                    <a:pt x="126" y="56"/>
                  </a:lnTo>
                  <a:lnTo>
                    <a:pt x="126" y="60"/>
                  </a:lnTo>
                  <a:lnTo>
                    <a:pt x="126" y="64"/>
                  </a:lnTo>
                  <a:lnTo>
                    <a:pt x="130" y="64"/>
                  </a:lnTo>
                  <a:lnTo>
                    <a:pt x="130" y="68"/>
                  </a:lnTo>
                  <a:lnTo>
                    <a:pt x="130" y="70"/>
                  </a:lnTo>
                  <a:lnTo>
                    <a:pt x="130" y="74"/>
                  </a:lnTo>
                  <a:lnTo>
                    <a:pt x="128" y="72"/>
                  </a:lnTo>
                  <a:lnTo>
                    <a:pt x="126" y="74"/>
                  </a:lnTo>
                  <a:lnTo>
                    <a:pt x="128" y="74"/>
                  </a:lnTo>
                  <a:lnTo>
                    <a:pt x="126" y="76"/>
                  </a:lnTo>
                  <a:lnTo>
                    <a:pt x="128" y="76"/>
                  </a:lnTo>
                  <a:lnTo>
                    <a:pt x="126" y="76"/>
                  </a:lnTo>
                  <a:lnTo>
                    <a:pt x="124" y="78"/>
                  </a:lnTo>
                  <a:lnTo>
                    <a:pt x="122" y="78"/>
                  </a:lnTo>
                  <a:lnTo>
                    <a:pt x="122" y="80"/>
                  </a:lnTo>
                  <a:lnTo>
                    <a:pt x="122" y="82"/>
                  </a:lnTo>
                  <a:lnTo>
                    <a:pt x="120" y="84"/>
                  </a:lnTo>
                  <a:lnTo>
                    <a:pt x="118" y="86"/>
                  </a:lnTo>
                  <a:lnTo>
                    <a:pt x="112" y="90"/>
                  </a:lnTo>
                  <a:lnTo>
                    <a:pt x="112" y="92"/>
                  </a:lnTo>
                  <a:lnTo>
                    <a:pt x="114" y="96"/>
                  </a:lnTo>
                  <a:lnTo>
                    <a:pt x="116" y="98"/>
                  </a:lnTo>
                  <a:lnTo>
                    <a:pt x="120" y="98"/>
                  </a:lnTo>
                  <a:lnTo>
                    <a:pt x="120" y="100"/>
                  </a:lnTo>
                  <a:lnTo>
                    <a:pt x="114" y="100"/>
                  </a:lnTo>
                  <a:lnTo>
                    <a:pt x="110" y="98"/>
                  </a:lnTo>
                  <a:lnTo>
                    <a:pt x="108" y="98"/>
                  </a:lnTo>
                  <a:lnTo>
                    <a:pt x="106" y="98"/>
                  </a:lnTo>
                  <a:lnTo>
                    <a:pt x="106" y="100"/>
                  </a:lnTo>
                  <a:lnTo>
                    <a:pt x="108" y="108"/>
                  </a:lnTo>
                  <a:lnTo>
                    <a:pt x="102" y="114"/>
                  </a:lnTo>
                  <a:lnTo>
                    <a:pt x="100" y="116"/>
                  </a:lnTo>
                  <a:lnTo>
                    <a:pt x="98" y="118"/>
                  </a:lnTo>
                  <a:lnTo>
                    <a:pt x="96" y="118"/>
                  </a:lnTo>
                  <a:lnTo>
                    <a:pt x="94" y="116"/>
                  </a:lnTo>
                  <a:lnTo>
                    <a:pt x="96" y="116"/>
                  </a:lnTo>
                  <a:lnTo>
                    <a:pt x="94" y="116"/>
                  </a:lnTo>
                  <a:lnTo>
                    <a:pt x="92" y="116"/>
                  </a:lnTo>
                  <a:lnTo>
                    <a:pt x="90" y="116"/>
                  </a:lnTo>
                  <a:lnTo>
                    <a:pt x="88" y="118"/>
                  </a:lnTo>
                  <a:lnTo>
                    <a:pt x="88" y="122"/>
                  </a:lnTo>
                  <a:lnTo>
                    <a:pt x="90" y="122"/>
                  </a:lnTo>
                  <a:lnTo>
                    <a:pt x="92" y="120"/>
                  </a:lnTo>
                  <a:lnTo>
                    <a:pt x="94" y="120"/>
                  </a:lnTo>
                  <a:lnTo>
                    <a:pt x="96" y="120"/>
                  </a:lnTo>
                  <a:lnTo>
                    <a:pt x="102" y="124"/>
                  </a:lnTo>
                  <a:lnTo>
                    <a:pt x="102" y="126"/>
                  </a:lnTo>
                  <a:lnTo>
                    <a:pt x="100" y="126"/>
                  </a:lnTo>
                  <a:lnTo>
                    <a:pt x="100" y="128"/>
                  </a:lnTo>
                  <a:lnTo>
                    <a:pt x="98" y="126"/>
                  </a:lnTo>
                  <a:lnTo>
                    <a:pt x="96" y="126"/>
                  </a:lnTo>
                  <a:lnTo>
                    <a:pt x="94" y="124"/>
                  </a:lnTo>
                  <a:lnTo>
                    <a:pt x="92" y="124"/>
                  </a:lnTo>
                  <a:lnTo>
                    <a:pt x="84" y="128"/>
                  </a:lnTo>
                  <a:lnTo>
                    <a:pt x="82" y="130"/>
                  </a:lnTo>
                  <a:lnTo>
                    <a:pt x="82" y="132"/>
                  </a:lnTo>
                  <a:lnTo>
                    <a:pt x="84" y="132"/>
                  </a:lnTo>
                  <a:lnTo>
                    <a:pt x="86" y="130"/>
                  </a:lnTo>
                  <a:lnTo>
                    <a:pt x="88" y="132"/>
                  </a:lnTo>
                  <a:lnTo>
                    <a:pt x="94" y="134"/>
                  </a:lnTo>
                  <a:lnTo>
                    <a:pt x="102" y="134"/>
                  </a:lnTo>
                  <a:lnTo>
                    <a:pt x="104" y="134"/>
                  </a:lnTo>
                  <a:lnTo>
                    <a:pt x="108" y="132"/>
                  </a:lnTo>
                  <a:lnTo>
                    <a:pt x="110" y="130"/>
                  </a:lnTo>
                  <a:lnTo>
                    <a:pt x="112" y="130"/>
                  </a:lnTo>
                  <a:lnTo>
                    <a:pt x="114" y="132"/>
                  </a:lnTo>
                  <a:lnTo>
                    <a:pt x="114" y="134"/>
                  </a:lnTo>
                  <a:lnTo>
                    <a:pt x="116" y="136"/>
                  </a:lnTo>
                  <a:lnTo>
                    <a:pt x="114" y="138"/>
                  </a:lnTo>
                  <a:lnTo>
                    <a:pt x="112" y="138"/>
                  </a:lnTo>
                  <a:lnTo>
                    <a:pt x="102" y="144"/>
                  </a:lnTo>
                  <a:lnTo>
                    <a:pt x="100" y="144"/>
                  </a:lnTo>
                  <a:lnTo>
                    <a:pt x="98" y="146"/>
                  </a:lnTo>
                  <a:lnTo>
                    <a:pt x="96" y="152"/>
                  </a:lnTo>
                  <a:lnTo>
                    <a:pt x="94" y="154"/>
                  </a:lnTo>
                  <a:lnTo>
                    <a:pt x="92" y="154"/>
                  </a:lnTo>
                  <a:lnTo>
                    <a:pt x="82" y="152"/>
                  </a:lnTo>
                  <a:lnTo>
                    <a:pt x="78" y="150"/>
                  </a:lnTo>
                  <a:lnTo>
                    <a:pt x="78" y="148"/>
                  </a:lnTo>
                  <a:lnTo>
                    <a:pt x="78" y="146"/>
                  </a:lnTo>
                  <a:lnTo>
                    <a:pt x="76" y="146"/>
                  </a:lnTo>
                  <a:lnTo>
                    <a:pt x="72" y="146"/>
                  </a:lnTo>
                  <a:lnTo>
                    <a:pt x="70" y="146"/>
                  </a:lnTo>
                  <a:lnTo>
                    <a:pt x="68" y="148"/>
                  </a:lnTo>
                  <a:lnTo>
                    <a:pt x="66" y="150"/>
                  </a:lnTo>
                  <a:lnTo>
                    <a:pt x="66" y="152"/>
                  </a:lnTo>
                  <a:lnTo>
                    <a:pt x="66" y="158"/>
                  </a:lnTo>
                  <a:lnTo>
                    <a:pt x="66" y="162"/>
                  </a:lnTo>
                  <a:lnTo>
                    <a:pt x="68" y="168"/>
                  </a:lnTo>
                  <a:lnTo>
                    <a:pt x="62" y="174"/>
                  </a:lnTo>
                  <a:lnTo>
                    <a:pt x="62" y="176"/>
                  </a:lnTo>
                  <a:lnTo>
                    <a:pt x="60" y="178"/>
                  </a:lnTo>
                  <a:lnTo>
                    <a:pt x="58" y="176"/>
                  </a:lnTo>
                  <a:lnTo>
                    <a:pt x="58" y="170"/>
                  </a:lnTo>
                  <a:lnTo>
                    <a:pt x="60" y="170"/>
                  </a:lnTo>
                  <a:lnTo>
                    <a:pt x="62" y="170"/>
                  </a:lnTo>
                  <a:lnTo>
                    <a:pt x="64" y="168"/>
                  </a:lnTo>
                  <a:lnTo>
                    <a:pt x="66" y="166"/>
                  </a:lnTo>
                  <a:lnTo>
                    <a:pt x="66" y="164"/>
                  </a:lnTo>
                  <a:lnTo>
                    <a:pt x="62" y="158"/>
                  </a:lnTo>
                  <a:lnTo>
                    <a:pt x="62" y="154"/>
                  </a:lnTo>
                  <a:lnTo>
                    <a:pt x="64" y="154"/>
                  </a:lnTo>
                  <a:lnTo>
                    <a:pt x="64" y="152"/>
                  </a:lnTo>
                  <a:lnTo>
                    <a:pt x="62" y="152"/>
                  </a:lnTo>
                  <a:lnTo>
                    <a:pt x="60" y="152"/>
                  </a:lnTo>
                  <a:lnTo>
                    <a:pt x="56" y="152"/>
                  </a:lnTo>
                  <a:lnTo>
                    <a:pt x="56" y="150"/>
                  </a:lnTo>
                  <a:lnTo>
                    <a:pt x="54" y="146"/>
                  </a:lnTo>
                  <a:lnTo>
                    <a:pt x="54" y="148"/>
                  </a:lnTo>
                  <a:lnTo>
                    <a:pt x="54" y="150"/>
                  </a:lnTo>
                  <a:lnTo>
                    <a:pt x="48" y="154"/>
                  </a:lnTo>
                  <a:lnTo>
                    <a:pt x="46" y="154"/>
                  </a:lnTo>
                  <a:lnTo>
                    <a:pt x="44" y="150"/>
                  </a:lnTo>
                  <a:lnTo>
                    <a:pt x="40" y="148"/>
                  </a:lnTo>
                  <a:lnTo>
                    <a:pt x="38" y="146"/>
                  </a:lnTo>
                  <a:lnTo>
                    <a:pt x="36" y="144"/>
                  </a:lnTo>
                  <a:lnTo>
                    <a:pt x="38" y="142"/>
                  </a:lnTo>
                  <a:lnTo>
                    <a:pt x="36" y="140"/>
                  </a:lnTo>
                  <a:lnTo>
                    <a:pt x="32" y="140"/>
                  </a:lnTo>
                  <a:lnTo>
                    <a:pt x="32" y="142"/>
                  </a:lnTo>
                  <a:lnTo>
                    <a:pt x="30" y="146"/>
                  </a:lnTo>
                  <a:lnTo>
                    <a:pt x="28" y="146"/>
                  </a:lnTo>
                  <a:lnTo>
                    <a:pt x="26" y="146"/>
                  </a:lnTo>
                  <a:lnTo>
                    <a:pt x="24" y="146"/>
                  </a:lnTo>
                  <a:lnTo>
                    <a:pt x="24" y="148"/>
                  </a:lnTo>
                  <a:lnTo>
                    <a:pt x="26" y="150"/>
                  </a:lnTo>
                  <a:lnTo>
                    <a:pt x="28" y="152"/>
                  </a:lnTo>
                  <a:lnTo>
                    <a:pt x="30" y="152"/>
                  </a:lnTo>
                  <a:lnTo>
                    <a:pt x="30" y="154"/>
                  </a:lnTo>
                  <a:lnTo>
                    <a:pt x="28" y="154"/>
                  </a:lnTo>
                  <a:lnTo>
                    <a:pt x="24" y="152"/>
                  </a:lnTo>
                  <a:lnTo>
                    <a:pt x="22" y="152"/>
                  </a:lnTo>
                  <a:lnTo>
                    <a:pt x="20" y="152"/>
                  </a:lnTo>
                  <a:lnTo>
                    <a:pt x="18" y="158"/>
                  </a:lnTo>
                  <a:lnTo>
                    <a:pt x="18" y="160"/>
                  </a:lnTo>
                  <a:lnTo>
                    <a:pt x="16" y="160"/>
                  </a:lnTo>
                  <a:lnTo>
                    <a:pt x="12" y="162"/>
                  </a:lnTo>
                  <a:lnTo>
                    <a:pt x="12" y="164"/>
                  </a:lnTo>
                  <a:lnTo>
                    <a:pt x="12" y="166"/>
                  </a:lnTo>
                  <a:lnTo>
                    <a:pt x="12" y="168"/>
                  </a:lnTo>
                  <a:lnTo>
                    <a:pt x="10" y="170"/>
                  </a:lnTo>
                  <a:lnTo>
                    <a:pt x="10" y="168"/>
                  </a:lnTo>
                  <a:lnTo>
                    <a:pt x="8" y="164"/>
                  </a:lnTo>
                  <a:lnTo>
                    <a:pt x="8" y="162"/>
                  </a:lnTo>
                  <a:lnTo>
                    <a:pt x="10" y="160"/>
                  </a:lnTo>
                  <a:lnTo>
                    <a:pt x="8" y="158"/>
                  </a:lnTo>
                  <a:lnTo>
                    <a:pt x="6" y="154"/>
                  </a:lnTo>
                  <a:lnTo>
                    <a:pt x="6" y="152"/>
                  </a:lnTo>
                  <a:lnTo>
                    <a:pt x="8" y="152"/>
                  </a:lnTo>
                  <a:lnTo>
                    <a:pt x="10" y="152"/>
                  </a:lnTo>
                  <a:lnTo>
                    <a:pt x="10" y="148"/>
                  </a:lnTo>
                  <a:lnTo>
                    <a:pt x="10" y="144"/>
                  </a:lnTo>
                  <a:lnTo>
                    <a:pt x="8" y="144"/>
                  </a:lnTo>
                  <a:lnTo>
                    <a:pt x="8" y="142"/>
                  </a:lnTo>
                  <a:lnTo>
                    <a:pt x="6" y="142"/>
                  </a:lnTo>
                  <a:lnTo>
                    <a:pt x="2" y="142"/>
                  </a:lnTo>
                  <a:lnTo>
                    <a:pt x="4" y="134"/>
                  </a:lnTo>
                  <a:lnTo>
                    <a:pt x="6" y="128"/>
                  </a:lnTo>
                  <a:lnTo>
                    <a:pt x="6" y="126"/>
                  </a:lnTo>
                  <a:lnTo>
                    <a:pt x="4" y="126"/>
                  </a:lnTo>
                  <a:lnTo>
                    <a:pt x="4" y="128"/>
                  </a:lnTo>
                  <a:lnTo>
                    <a:pt x="0" y="130"/>
                  </a:lnTo>
                  <a:lnTo>
                    <a:pt x="0" y="128"/>
                  </a:lnTo>
                  <a:lnTo>
                    <a:pt x="0" y="126"/>
                  </a:lnTo>
                  <a:lnTo>
                    <a:pt x="2" y="124"/>
                  </a:lnTo>
                  <a:lnTo>
                    <a:pt x="2" y="122"/>
                  </a:lnTo>
                  <a:lnTo>
                    <a:pt x="4" y="122"/>
                  </a:lnTo>
                  <a:lnTo>
                    <a:pt x="4" y="120"/>
                  </a:lnTo>
                  <a:lnTo>
                    <a:pt x="6" y="110"/>
                  </a:lnTo>
                  <a:lnTo>
                    <a:pt x="8" y="100"/>
                  </a:lnTo>
                  <a:lnTo>
                    <a:pt x="8" y="98"/>
                  </a:lnTo>
                  <a:lnTo>
                    <a:pt x="10" y="98"/>
                  </a:lnTo>
                  <a:lnTo>
                    <a:pt x="12" y="96"/>
                  </a:lnTo>
                  <a:lnTo>
                    <a:pt x="12" y="90"/>
                  </a:lnTo>
                  <a:lnTo>
                    <a:pt x="14" y="88"/>
                  </a:lnTo>
                  <a:lnTo>
                    <a:pt x="14" y="84"/>
                  </a:lnTo>
                  <a:lnTo>
                    <a:pt x="14" y="78"/>
                  </a:lnTo>
                  <a:lnTo>
                    <a:pt x="12" y="76"/>
                  </a:lnTo>
                  <a:lnTo>
                    <a:pt x="12" y="74"/>
                  </a:lnTo>
                  <a:lnTo>
                    <a:pt x="12" y="76"/>
                  </a:lnTo>
                  <a:lnTo>
                    <a:pt x="12" y="78"/>
                  </a:lnTo>
                  <a:lnTo>
                    <a:pt x="10" y="78"/>
                  </a:lnTo>
                  <a:lnTo>
                    <a:pt x="8" y="76"/>
                  </a:lnTo>
                  <a:lnTo>
                    <a:pt x="10" y="76"/>
                  </a:lnTo>
                  <a:lnTo>
                    <a:pt x="6" y="66"/>
                  </a:lnTo>
                  <a:lnTo>
                    <a:pt x="4" y="64"/>
                  </a:lnTo>
                  <a:lnTo>
                    <a:pt x="6" y="64"/>
                  </a:lnTo>
                  <a:lnTo>
                    <a:pt x="10" y="56"/>
                  </a:lnTo>
                  <a:lnTo>
                    <a:pt x="10" y="54"/>
                  </a:lnTo>
                  <a:lnTo>
                    <a:pt x="10" y="52"/>
                  </a:lnTo>
                  <a:lnTo>
                    <a:pt x="12" y="48"/>
                  </a:lnTo>
                  <a:lnTo>
                    <a:pt x="14" y="46"/>
                  </a:lnTo>
                  <a:lnTo>
                    <a:pt x="16" y="46"/>
                  </a:lnTo>
                  <a:lnTo>
                    <a:pt x="18" y="44"/>
                  </a:lnTo>
                  <a:lnTo>
                    <a:pt x="18" y="42"/>
                  </a:lnTo>
                  <a:lnTo>
                    <a:pt x="22" y="40"/>
                  </a:lnTo>
                  <a:lnTo>
                    <a:pt x="20" y="34"/>
                  </a:lnTo>
                  <a:lnTo>
                    <a:pt x="20" y="32"/>
                  </a:lnTo>
                  <a:lnTo>
                    <a:pt x="18" y="32"/>
                  </a:lnTo>
                  <a:lnTo>
                    <a:pt x="16" y="32"/>
                  </a:lnTo>
                  <a:lnTo>
                    <a:pt x="16" y="30"/>
                  </a:lnTo>
                  <a:lnTo>
                    <a:pt x="22" y="26"/>
                  </a:lnTo>
                  <a:lnTo>
                    <a:pt x="24" y="24"/>
                  </a:lnTo>
                  <a:lnTo>
                    <a:pt x="26" y="24"/>
                  </a:lnTo>
                  <a:lnTo>
                    <a:pt x="26" y="26"/>
                  </a:lnTo>
                  <a:lnTo>
                    <a:pt x="28" y="26"/>
                  </a:lnTo>
                  <a:lnTo>
                    <a:pt x="30" y="26"/>
                  </a:lnTo>
                  <a:lnTo>
                    <a:pt x="34" y="24"/>
                  </a:lnTo>
                  <a:lnTo>
                    <a:pt x="38" y="22"/>
                  </a:lnTo>
                  <a:lnTo>
                    <a:pt x="40" y="20"/>
                  </a:lnTo>
                  <a:lnTo>
                    <a:pt x="44" y="16"/>
                  </a:lnTo>
                  <a:lnTo>
                    <a:pt x="44" y="18"/>
                  </a:lnTo>
                  <a:lnTo>
                    <a:pt x="44" y="20"/>
                  </a:lnTo>
                  <a:lnTo>
                    <a:pt x="42" y="20"/>
                  </a:lnTo>
                  <a:lnTo>
                    <a:pt x="42" y="22"/>
                  </a:lnTo>
                  <a:lnTo>
                    <a:pt x="44" y="22"/>
                  </a:lnTo>
                  <a:lnTo>
                    <a:pt x="50" y="18"/>
                  </a:lnTo>
                  <a:lnTo>
                    <a:pt x="52" y="12"/>
                  </a:lnTo>
                  <a:lnTo>
                    <a:pt x="54" y="8"/>
                  </a:lnTo>
                  <a:lnTo>
                    <a:pt x="54" y="10"/>
                  </a:lnTo>
                  <a:lnTo>
                    <a:pt x="54" y="14"/>
                  </a:lnTo>
                  <a:lnTo>
                    <a:pt x="54" y="16"/>
                  </a:lnTo>
                  <a:lnTo>
                    <a:pt x="54" y="18"/>
                  </a:lnTo>
                  <a:lnTo>
                    <a:pt x="56" y="18"/>
                  </a:lnTo>
                  <a:lnTo>
                    <a:pt x="64" y="14"/>
                  </a:lnTo>
                  <a:lnTo>
                    <a:pt x="66" y="14"/>
                  </a:lnTo>
                  <a:lnTo>
                    <a:pt x="66" y="16"/>
                  </a:lnTo>
                  <a:lnTo>
                    <a:pt x="66" y="20"/>
                  </a:lnTo>
                  <a:lnTo>
                    <a:pt x="70" y="18"/>
                  </a:lnTo>
                  <a:lnTo>
                    <a:pt x="72" y="18"/>
                  </a:lnTo>
                  <a:lnTo>
                    <a:pt x="74" y="16"/>
                  </a:lnTo>
                  <a:lnTo>
                    <a:pt x="78" y="10"/>
                  </a:lnTo>
                  <a:lnTo>
                    <a:pt x="80" y="10"/>
                  </a:lnTo>
                  <a:lnTo>
                    <a:pt x="84" y="2"/>
                  </a:lnTo>
                  <a:lnTo>
                    <a:pt x="80" y="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0" name="Freeform 1544"/>
            <p:cNvSpPr>
              <a:spLocks/>
            </p:cNvSpPr>
            <p:nvPr/>
          </p:nvSpPr>
          <p:spPr bwMode="auto">
            <a:xfrm>
              <a:off x="6328656" y="4195495"/>
              <a:ext cx="135118" cy="352810"/>
            </a:xfrm>
            <a:custGeom>
              <a:avLst/>
              <a:gdLst/>
              <a:ahLst/>
              <a:cxnLst>
                <a:cxn ang="0">
                  <a:pos x="12" y="128"/>
                </a:cxn>
                <a:cxn ang="0">
                  <a:pos x="8" y="106"/>
                </a:cxn>
                <a:cxn ang="0">
                  <a:pos x="2" y="88"/>
                </a:cxn>
                <a:cxn ang="0">
                  <a:pos x="2" y="74"/>
                </a:cxn>
                <a:cxn ang="0">
                  <a:pos x="8" y="56"/>
                </a:cxn>
                <a:cxn ang="0">
                  <a:pos x="10" y="40"/>
                </a:cxn>
                <a:cxn ang="0">
                  <a:pos x="8" y="40"/>
                </a:cxn>
                <a:cxn ang="0">
                  <a:pos x="0" y="52"/>
                </a:cxn>
                <a:cxn ang="0">
                  <a:pos x="2" y="44"/>
                </a:cxn>
                <a:cxn ang="0">
                  <a:pos x="4" y="18"/>
                </a:cxn>
                <a:cxn ang="0">
                  <a:pos x="4" y="2"/>
                </a:cxn>
                <a:cxn ang="0">
                  <a:pos x="10" y="0"/>
                </a:cxn>
                <a:cxn ang="0">
                  <a:pos x="14" y="6"/>
                </a:cxn>
                <a:cxn ang="0">
                  <a:pos x="20" y="34"/>
                </a:cxn>
                <a:cxn ang="0">
                  <a:pos x="28" y="54"/>
                </a:cxn>
                <a:cxn ang="0">
                  <a:pos x="30" y="60"/>
                </a:cxn>
                <a:cxn ang="0">
                  <a:pos x="28" y="74"/>
                </a:cxn>
                <a:cxn ang="0">
                  <a:pos x="30" y="80"/>
                </a:cxn>
                <a:cxn ang="0">
                  <a:pos x="36" y="86"/>
                </a:cxn>
                <a:cxn ang="0">
                  <a:pos x="36" y="102"/>
                </a:cxn>
                <a:cxn ang="0">
                  <a:pos x="36" y="112"/>
                </a:cxn>
                <a:cxn ang="0">
                  <a:pos x="44" y="130"/>
                </a:cxn>
                <a:cxn ang="0">
                  <a:pos x="34" y="140"/>
                </a:cxn>
                <a:cxn ang="0">
                  <a:pos x="38" y="156"/>
                </a:cxn>
                <a:cxn ang="0">
                  <a:pos x="50" y="160"/>
                </a:cxn>
                <a:cxn ang="0">
                  <a:pos x="56" y="164"/>
                </a:cxn>
                <a:cxn ang="0">
                  <a:pos x="68" y="178"/>
                </a:cxn>
                <a:cxn ang="0">
                  <a:pos x="76" y="194"/>
                </a:cxn>
                <a:cxn ang="0">
                  <a:pos x="76" y="204"/>
                </a:cxn>
                <a:cxn ang="0">
                  <a:pos x="76" y="214"/>
                </a:cxn>
                <a:cxn ang="0">
                  <a:pos x="86" y="232"/>
                </a:cxn>
                <a:cxn ang="0">
                  <a:pos x="96" y="248"/>
                </a:cxn>
                <a:cxn ang="0">
                  <a:pos x="100" y="256"/>
                </a:cxn>
                <a:cxn ang="0">
                  <a:pos x="106" y="262"/>
                </a:cxn>
                <a:cxn ang="0">
                  <a:pos x="108" y="278"/>
                </a:cxn>
                <a:cxn ang="0">
                  <a:pos x="98" y="280"/>
                </a:cxn>
                <a:cxn ang="0">
                  <a:pos x="92" y="272"/>
                </a:cxn>
                <a:cxn ang="0">
                  <a:pos x="78" y="268"/>
                </a:cxn>
                <a:cxn ang="0">
                  <a:pos x="70" y="264"/>
                </a:cxn>
                <a:cxn ang="0">
                  <a:pos x="72" y="258"/>
                </a:cxn>
                <a:cxn ang="0">
                  <a:pos x="76" y="250"/>
                </a:cxn>
                <a:cxn ang="0">
                  <a:pos x="72" y="240"/>
                </a:cxn>
                <a:cxn ang="0">
                  <a:pos x="60" y="232"/>
                </a:cxn>
                <a:cxn ang="0">
                  <a:pos x="58" y="216"/>
                </a:cxn>
                <a:cxn ang="0">
                  <a:pos x="54" y="200"/>
                </a:cxn>
                <a:cxn ang="0">
                  <a:pos x="42" y="194"/>
                </a:cxn>
                <a:cxn ang="0">
                  <a:pos x="34" y="190"/>
                </a:cxn>
                <a:cxn ang="0">
                  <a:pos x="22" y="174"/>
                </a:cxn>
                <a:cxn ang="0">
                  <a:pos x="14" y="150"/>
                </a:cxn>
                <a:cxn ang="0">
                  <a:pos x="10" y="144"/>
                </a:cxn>
                <a:cxn ang="0">
                  <a:pos x="6" y="132"/>
                </a:cxn>
              </a:cxnLst>
              <a:rect l="0" t="0" r="r" b="b"/>
              <a:pathLst>
                <a:path w="108" h="282">
                  <a:moveTo>
                    <a:pt x="6" y="132"/>
                  </a:moveTo>
                  <a:lnTo>
                    <a:pt x="8" y="132"/>
                  </a:lnTo>
                  <a:lnTo>
                    <a:pt x="10" y="130"/>
                  </a:lnTo>
                  <a:lnTo>
                    <a:pt x="12" y="128"/>
                  </a:lnTo>
                  <a:lnTo>
                    <a:pt x="16" y="118"/>
                  </a:lnTo>
                  <a:lnTo>
                    <a:pt x="14" y="114"/>
                  </a:lnTo>
                  <a:lnTo>
                    <a:pt x="12" y="110"/>
                  </a:lnTo>
                  <a:lnTo>
                    <a:pt x="8" y="106"/>
                  </a:lnTo>
                  <a:lnTo>
                    <a:pt x="6" y="102"/>
                  </a:lnTo>
                  <a:lnTo>
                    <a:pt x="4" y="98"/>
                  </a:lnTo>
                  <a:lnTo>
                    <a:pt x="2" y="90"/>
                  </a:lnTo>
                  <a:lnTo>
                    <a:pt x="2" y="88"/>
                  </a:lnTo>
                  <a:lnTo>
                    <a:pt x="2" y="86"/>
                  </a:lnTo>
                  <a:lnTo>
                    <a:pt x="2" y="80"/>
                  </a:lnTo>
                  <a:lnTo>
                    <a:pt x="2" y="76"/>
                  </a:lnTo>
                  <a:lnTo>
                    <a:pt x="2" y="74"/>
                  </a:lnTo>
                  <a:lnTo>
                    <a:pt x="2" y="66"/>
                  </a:lnTo>
                  <a:lnTo>
                    <a:pt x="4" y="62"/>
                  </a:lnTo>
                  <a:lnTo>
                    <a:pt x="6" y="60"/>
                  </a:lnTo>
                  <a:lnTo>
                    <a:pt x="8" y="56"/>
                  </a:lnTo>
                  <a:lnTo>
                    <a:pt x="8" y="52"/>
                  </a:lnTo>
                  <a:lnTo>
                    <a:pt x="10" y="44"/>
                  </a:lnTo>
                  <a:lnTo>
                    <a:pt x="10" y="42"/>
                  </a:lnTo>
                  <a:lnTo>
                    <a:pt x="10" y="40"/>
                  </a:lnTo>
                  <a:lnTo>
                    <a:pt x="10" y="38"/>
                  </a:lnTo>
                  <a:lnTo>
                    <a:pt x="10" y="36"/>
                  </a:lnTo>
                  <a:lnTo>
                    <a:pt x="10" y="38"/>
                  </a:lnTo>
                  <a:lnTo>
                    <a:pt x="8" y="40"/>
                  </a:lnTo>
                  <a:lnTo>
                    <a:pt x="6" y="46"/>
                  </a:lnTo>
                  <a:lnTo>
                    <a:pt x="4" y="52"/>
                  </a:lnTo>
                  <a:lnTo>
                    <a:pt x="2" y="52"/>
                  </a:lnTo>
                  <a:lnTo>
                    <a:pt x="0" y="52"/>
                  </a:lnTo>
                  <a:lnTo>
                    <a:pt x="0" y="50"/>
                  </a:lnTo>
                  <a:lnTo>
                    <a:pt x="0" y="48"/>
                  </a:lnTo>
                  <a:lnTo>
                    <a:pt x="2" y="46"/>
                  </a:lnTo>
                  <a:lnTo>
                    <a:pt x="2" y="44"/>
                  </a:lnTo>
                  <a:lnTo>
                    <a:pt x="2" y="40"/>
                  </a:lnTo>
                  <a:lnTo>
                    <a:pt x="2" y="22"/>
                  </a:lnTo>
                  <a:lnTo>
                    <a:pt x="2" y="20"/>
                  </a:lnTo>
                  <a:lnTo>
                    <a:pt x="4" y="18"/>
                  </a:lnTo>
                  <a:lnTo>
                    <a:pt x="4" y="12"/>
                  </a:lnTo>
                  <a:lnTo>
                    <a:pt x="4" y="8"/>
                  </a:lnTo>
                  <a:lnTo>
                    <a:pt x="4" y="6"/>
                  </a:lnTo>
                  <a:lnTo>
                    <a:pt x="4" y="2"/>
                  </a:lnTo>
                  <a:lnTo>
                    <a:pt x="4" y="0"/>
                  </a:lnTo>
                  <a:lnTo>
                    <a:pt x="6" y="0"/>
                  </a:lnTo>
                  <a:lnTo>
                    <a:pt x="8" y="0"/>
                  </a:lnTo>
                  <a:lnTo>
                    <a:pt x="10" y="0"/>
                  </a:lnTo>
                  <a:lnTo>
                    <a:pt x="12" y="0"/>
                  </a:lnTo>
                  <a:lnTo>
                    <a:pt x="14" y="0"/>
                  </a:lnTo>
                  <a:lnTo>
                    <a:pt x="14" y="2"/>
                  </a:lnTo>
                  <a:lnTo>
                    <a:pt x="14" y="6"/>
                  </a:lnTo>
                  <a:lnTo>
                    <a:pt x="14" y="10"/>
                  </a:lnTo>
                  <a:lnTo>
                    <a:pt x="14" y="22"/>
                  </a:lnTo>
                  <a:lnTo>
                    <a:pt x="16" y="28"/>
                  </a:lnTo>
                  <a:lnTo>
                    <a:pt x="20" y="34"/>
                  </a:lnTo>
                  <a:lnTo>
                    <a:pt x="22" y="42"/>
                  </a:lnTo>
                  <a:lnTo>
                    <a:pt x="26" y="48"/>
                  </a:lnTo>
                  <a:lnTo>
                    <a:pt x="28" y="52"/>
                  </a:lnTo>
                  <a:lnTo>
                    <a:pt x="28" y="54"/>
                  </a:lnTo>
                  <a:lnTo>
                    <a:pt x="30" y="54"/>
                  </a:lnTo>
                  <a:lnTo>
                    <a:pt x="32" y="56"/>
                  </a:lnTo>
                  <a:lnTo>
                    <a:pt x="30" y="56"/>
                  </a:lnTo>
                  <a:lnTo>
                    <a:pt x="30" y="60"/>
                  </a:lnTo>
                  <a:lnTo>
                    <a:pt x="30" y="64"/>
                  </a:lnTo>
                  <a:lnTo>
                    <a:pt x="28" y="70"/>
                  </a:lnTo>
                  <a:lnTo>
                    <a:pt x="28" y="72"/>
                  </a:lnTo>
                  <a:lnTo>
                    <a:pt x="28" y="74"/>
                  </a:lnTo>
                  <a:lnTo>
                    <a:pt x="28" y="80"/>
                  </a:lnTo>
                  <a:lnTo>
                    <a:pt x="28" y="82"/>
                  </a:lnTo>
                  <a:lnTo>
                    <a:pt x="28" y="80"/>
                  </a:lnTo>
                  <a:lnTo>
                    <a:pt x="30" y="80"/>
                  </a:lnTo>
                  <a:lnTo>
                    <a:pt x="30" y="82"/>
                  </a:lnTo>
                  <a:lnTo>
                    <a:pt x="32" y="82"/>
                  </a:lnTo>
                  <a:lnTo>
                    <a:pt x="34" y="84"/>
                  </a:lnTo>
                  <a:lnTo>
                    <a:pt x="36" y="86"/>
                  </a:lnTo>
                  <a:lnTo>
                    <a:pt x="38" y="92"/>
                  </a:lnTo>
                  <a:lnTo>
                    <a:pt x="38" y="94"/>
                  </a:lnTo>
                  <a:lnTo>
                    <a:pt x="38" y="96"/>
                  </a:lnTo>
                  <a:lnTo>
                    <a:pt x="36" y="102"/>
                  </a:lnTo>
                  <a:lnTo>
                    <a:pt x="36" y="106"/>
                  </a:lnTo>
                  <a:lnTo>
                    <a:pt x="34" y="106"/>
                  </a:lnTo>
                  <a:lnTo>
                    <a:pt x="34" y="108"/>
                  </a:lnTo>
                  <a:lnTo>
                    <a:pt x="36" y="112"/>
                  </a:lnTo>
                  <a:lnTo>
                    <a:pt x="40" y="114"/>
                  </a:lnTo>
                  <a:lnTo>
                    <a:pt x="44" y="124"/>
                  </a:lnTo>
                  <a:lnTo>
                    <a:pt x="44" y="128"/>
                  </a:lnTo>
                  <a:lnTo>
                    <a:pt x="44" y="130"/>
                  </a:lnTo>
                  <a:lnTo>
                    <a:pt x="44" y="132"/>
                  </a:lnTo>
                  <a:lnTo>
                    <a:pt x="38" y="136"/>
                  </a:lnTo>
                  <a:lnTo>
                    <a:pt x="36" y="136"/>
                  </a:lnTo>
                  <a:lnTo>
                    <a:pt x="34" y="140"/>
                  </a:lnTo>
                  <a:lnTo>
                    <a:pt x="32" y="142"/>
                  </a:lnTo>
                  <a:lnTo>
                    <a:pt x="32" y="144"/>
                  </a:lnTo>
                  <a:lnTo>
                    <a:pt x="32" y="150"/>
                  </a:lnTo>
                  <a:lnTo>
                    <a:pt x="38" y="156"/>
                  </a:lnTo>
                  <a:lnTo>
                    <a:pt x="40" y="158"/>
                  </a:lnTo>
                  <a:lnTo>
                    <a:pt x="42" y="160"/>
                  </a:lnTo>
                  <a:lnTo>
                    <a:pt x="44" y="162"/>
                  </a:lnTo>
                  <a:lnTo>
                    <a:pt x="50" y="160"/>
                  </a:lnTo>
                  <a:lnTo>
                    <a:pt x="52" y="160"/>
                  </a:lnTo>
                  <a:lnTo>
                    <a:pt x="54" y="160"/>
                  </a:lnTo>
                  <a:lnTo>
                    <a:pt x="54" y="162"/>
                  </a:lnTo>
                  <a:lnTo>
                    <a:pt x="56" y="164"/>
                  </a:lnTo>
                  <a:lnTo>
                    <a:pt x="62" y="168"/>
                  </a:lnTo>
                  <a:lnTo>
                    <a:pt x="64" y="170"/>
                  </a:lnTo>
                  <a:lnTo>
                    <a:pt x="68" y="176"/>
                  </a:lnTo>
                  <a:lnTo>
                    <a:pt x="68" y="178"/>
                  </a:lnTo>
                  <a:lnTo>
                    <a:pt x="72" y="182"/>
                  </a:lnTo>
                  <a:lnTo>
                    <a:pt x="76" y="186"/>
                  </a:lnTo>
                  <a:lnTo>
                    <a:pt x="76" y="188"/>
                  </a:lnTo>
                  <a:lnTo>
                    <a:pt x="76" y="194"/>
                  </a:lnTo>
                  <a:lnTo>
                    <a:pt x="74" y="194"/>
                  </a:lnTo>
                  <a:lnTo>
                    <a:pt x="74" y="196"/>
                  </a:lnTo>
                  <a:lnTo>
                    <a:pt x="76" y="202"/>
                  </a:lnTo>
                  <a:lnTo>
                    <a:pt x="76" y="204"/>
                  </a:lnTo>
                  <a:lnTo>
                    <a:pt x="78" y="204"/>
                  </a:lnTo>
                  <a:lnTo>
                    <a:pt x="78" y="206"/>
                  </a:lnTo>
                  <a:lnTo>
                    <a:pt x="78" y="214"/>
                  </a:lnTo>
                  <a:lnTo>
                    <a:pt x="76" y="214"/>
                  </a:lnTo>
                  <a:lnTo>
                    <a:pt x="76" y="216"/>
                  </a:lnTo>
                  <a:lnTo>
                    <a:pt x="78" y="218"/>
                  </a:lnTo>
                  <a:lnTo>
                    <a:pt x="86" y="228"/>
                  </a:lnTo>
                  <a:lnTo>
                    <a:pt x="86" y="232"/>
                  </a:lnTo>
                  <a:lnTo>
                    <a:pt x="90" y="238"/>
                  </a:lnTo>
                  <a:lnTo>
                    <a:pt x="92" y="240"/>
                  </a:lnTo>
                  <a:lnTo>
                    <a:pt x="94" y="246"/>
                  </a:lnTo>
                  <a:lnTo>
                    <a:pt x="96" y="248"/>
                  </a:lnTo>
                  <a:lnTo>
                    <a:pt x="94" y="248"/>
                  </a:lnTo>
                  <a:lnTo>
                    <a:pt x="96" y="250"/>
                  </a:lnTo>
                  <a:lnTo>
                    <a:pt x="96" y="254"/>
                  </a:lnTo>
                  <a:lnTo>
                    <a:pt x="100" y="256"/>
                  </a:lnTo>
                  <a:lnTo>
                    <a:pt x="100" y="258"/>
                  </a:lnTo>
                  <a:lnTo>
                    <a:pt x="102" y="260"/>
                  </a:lnTo>
                  <a:lnTo>
                    <a:pt x="104" y="260"/>
                  </a:lnTo>
                  <a:lnTo>
                    <a:pt x="106" y="262"/>
                  </a:lnTo>
                  <a:lnTo>
                    <a:pt x="106" y="270"/>
                  </a:lnTo>
                  <a:lnTo>
                    <a:pt x="108" y="272"/>
                  </a:lnTo>
                  <a:lnTo>
                    <a:pt x="108" y="276"/>
                  </a:lnTo>
                  <a:lnTo>
                    <a:pt x="108" y="278"/>
                  </a:lnTo>
                  <a:lnTo>
                    <a:pt x="106" y="278"/>
                  </a:lnTo>
                  <a:lnTo>
                    <a:pt x="100" y="282"/>
                  </a:lnTo>
                  <a:lnTo>
                    <a:pt x="98" y="282"/>
                  </a:lnTo>
                  <a:lnTo>
                    <a:pt x="98" y="280"/>
                  </a:lnTo>
                  <a:lnTo>
                    <a:pt x="96" y="278"/>
                  </a:lnTo>
                  <a:lnTo>
                    <a:pt x="94" y="276"/>
                  </a:lnTo>
                  <a:lnTo>
                    <a:pt x="92" y="274"/>
                  </a:lnTo>
                  <a:lnTo>
                    <a:pt x="92" y="272"/>
                  </a:lnTo>
                  <a:lnTo>
                    <a:pt x="86" y="268"/>
                  </a:lnTo>
                  <a:lnTo>
                    <a:pt x="82" y="266"/>
                  </a:lnTo>
                  <a:lnTo>
                    <a:pt x="78" y="266"/>
                  </a:lnTo>
                  <a:lnTo>
                    <a:pt x="78" y="268"/>
                  </a:lnTo>
                  <a:lnTo>
                    <a:pt x="76" y="268"/>
                  </a:lnTo>
                  <a:lnTo>
                    <a:pt x="74" y="270"/>
                  </a:lnTo>
                  <a:lnTo>
                    <a:pt x="70" y="266"/>
                  </a:lnTo>
                  <a:lnTo>
                    <a:pt x="70" y="264"/>
                  </a:lnTo>
                  <a:lnTo>
                    <a:pt x="68" y="262"/>
                  </a:lnTo>
                  <a:lnTo>
                    <a:pt x="70" y="260"/>
                  </a:lnTo>
                  <a:lnTo>
                    <a:pt x="70" y="258"/>
                  </a:lnTo>
                  <a:lnTo>
                    <a:pt x="72" y="258"/>
                  </a:lnTo>
                  <a:lnTo>
                    <a:pt x="74" y="256"/>
                  </a:lnTo>
                  <a:lnTo>
                    <a:pt x="76" y="256"/>
                  </a:lnTo>
                  <a:lnTo>
                    <a:pt x="76" y="252"/>
                  </a:lnTo>
                  <a:lnTo>
                    <a:pt x="76" y="250"/>
                  </a:lnTo>
                  <a:lnTo>
                    <a:pt x="76" y="248"/>
                  </a:lnTo>
                  <a:lnTo>
                    <a:pt x="76" y="246"/>
                  </a:lnTo>
                  <a:lnTo>
                    <a:pt x="74" y="242"/>
                  </a:lnTo>
                  <a:lnTo>
                    <a:pt x="72" y="240"/>
                  </a:lnTo>
                  <a:lnTo>
                    <a:pt x="68" y="238"/>
                  </a:lnTo>
                  <a:lnTo>
                    <a:pt x="66" y="236"/>
                  </a:lnTo>
                  <a:lnTo>
                    <a:pt x="62" y="234"/>
                  </a:lnTo>
                  <a:lnTo>
                    <a:pt x="60" y="232"/>
                  </a:lnTo>
                  <a:lnTo>
                    <a:pt x="58" y="224"/>
                  </a:lnTo>
                  <a:lnTo>
                    <a:pt x="56" y="220"/>
                  </a:lnTo>
                  <a:lnTo>
                    <a:pt x="56" y="218"/>
                  </a:lnTo>
                  <a:lnTo>
                    <a:pt x="58" y="216"/>
                  </a:lnTo>
                  <a:lnTo>
                    <a:pt x="58" y="212"/>
                  </a:lnTo>
                  <a:lnTo>
                    <a:pt x="56" y="206"/>
                  </a:lnTo>
                  <a:lnTo>
                    <a:pt x="54" y="204"/>
                  </a:lnTo>
                  <a:lnTo>
                    <a:pt x="54" y="200"/>
                  </a:lnTo>
                  <a:lnTo>
                    <a:pt x="52" y="198"/>
                  </a:lnTo>
                  <a:lnTo>
                    <a:pt x="46" y="194"/>
                  </a:lnTo>
                  <a:lnTo>
                    <a:pt x="44" y="194"/>
                  </a:lnTo>
                  <a:lnTo>
                    <a:pt x="42" y="194"/>
                  </a:lnTo>
                  <a:lnTo>
                    <a:pt x="40" y="192"/>
                  </a:lnTo>
                  <a:lnTo>
                    <a:pt x="38" y="192"/>
                  </a:lnTo>
                  <a:lnTo>
                    <a:pt x="36" y="192"/>
                  </a:lnTo>
                  <a:lnTo>
                    <a:pt x="34" y="190"/>
                  </a:lnTo>
                  <a:lnTo>
                    <a:pt x="32" y="184"/>
                  </a:lnTo>
                  <a:lnTo>
                    <a:pt x="24" y="178"/>
                  </a:lnTo>
                  <a:lnTo>
                    <a:pt x="24" y="176"/>
                  </a:lnTo>
                  <a:lnTo>
                    <a:pt x="22" y="174"/>
                  </a:lnTo>
                  <a:lnTo>
                    <a:pt x="22" y="172"/>
                  </a:lnTo>
                  <a:lnTo>
                    <a:pt x="18" y="162"/>
                  </a:lnTo>
                  <a:lnTo>
                    <a:pt x="14" y="152"/>
                  </a:lnTo>
                  <a:lnTo>
                    <a:pt x="14" y="150"/>
                  </a:lnTo>
                  <a:lnTo>
                    <a:pt x="12" y="150"/>
                  </a:lnTo>
                  <a:lnTo>
                    <a:pt x="12" y="148"/>
                  </a:lnTo>
                  <a:lnTo>
                    <a:pt x="12" y="146"/>
                  </a:lnTo>
                  <a:lnTo>
                    <a:pt x="10" y="144"/>
                  </a:lnTo>
                  <a:lnTo>
                    <a:pt x="10" y="142"/>
                  </a:lnTo>
                  <a:lnTo>
                    <a:pt x="8" y="142"/>
                  </a:lnTo>
                  <a:lnTo>
                    <a:pt x="6" y="140"/>
                  </a:lnTo>
                  <a:lnTo>
                    <a:pt x="6" y="1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1" name="Freeform 1545"/>
            <p:cNvSpPr>
              <a:spLocks/>
            </p:cNvSpPr>
            <p:nvPr/>
          </p:nvSpPr>
          <p:spPr bwMode="auto">
            <a:xfrm>
              <a:off x="6633925" y="4590841"/>
              <a:ext cx="80070" cy="317779"/>
            </a:xfrm>
            <a:custGeom>
              <a:avLst/>
              <a:gdLst/>
              <a:ahLst/>
              <a:cxnLst>
                <a:cxn ang="0">
                  <a:pos x="54" y="244"/>
                </a:cxn>
                <a:cxn ang="0">
                  <a:pos x="42" y="234"/>
                </a:cxn>
                <a:cxn ang="0">
                  <a:pos x="40" y="244"/>
                </a:cxn>
                <a:cxn ang="0">
                  <a:pos x="38" y="248"/>
                </a:cxn>
                <a:cxn ang="0">
                  <a:pos x="30" y="242"/>
                </a:cxn>
                <a:cxn ang="0">
                  <a:pos x="26" y="232"/>
                </a:cxn>
                <a:cxn ang="0">
                  <a:pos x="32" y="222"/>
                </a:cxn>
                <a:cxn ang="0">
                  <a:pos x="24" y="212"/>
                </a:cxn>
                <a:cxn ang="0">
                  <a:pos x="20" y="208"/>
                </a:cxn>
                <a:cxn ang="0">
                  <a:pos x="16" y="200"/>
                </a:cxn>
                <a:cxn ang="0">
                  <a:pos x="18" y="196"/>
                </a:cxn>
                <a:cxn ang="0">
                  <a:pos x="18" y="186"/>
                </a:cxn>
                <a:cxn ang="0">
                  <a:pos x="16" y="174"/>
                </a:cxn>
                <a:cxn ang="0">
                  <a:pos x="10" y="162"/>
                </a:cxn>
                <a:cxn ang="0">
                  <a:pos x="12" y="158"/>
                </a:cxn>
                <a:cxn ang="0">
                  <a:pos x="10" y="150"/>
                </a:cxn>
                <a:cxn ang="0">
                  <a:pos x="6" y="148"/>
                </a:cxn>
                <a:cxn ang="0">
                  <a:pos x="6" y="132"/>
                </a:cxn>
                <a:cxn ang="0">
                  <a:pos x="10" y="128"/>
                </a:cxn>
                <a:cxn ang="0">
                  <a:pos x="14" y="120"/>
                </a:cxn>
                <a:cxn ang="0">
                  <a:pos x="18" y="114"/>
                </a:cxn>
                <a:cxn ang="0">
                  <a:pos x="16" y="96"/>
                </a:cxn>
                <a:cxn ang="0">
                  <a:pos x="14" y="88"/>
                </a:cxn>
                <a:cxn ang="0">
                  <a:pos x="16" y="72"/>
                </a:cxn>
                <a:cxn ang="0">
                  <a:pos x="14" y="62"/>
                </a:cxn>
                <a:cxn ang="0">
                  <a:pos x="16" y="52"/>
                </a:cxn>
                <a:cxn ang="0">
                  <a:pos x="18" y="46"/>
                </a:cxn>
                <a:cxn ang="0">
                  <a:pos x="12" y="40"/>
                </a:cxn>
                <a:cxn ang="0">
                  <a:pos x="4" y="26"/>
                </a:cxn>
                <a:cxn ang="0">
                  <a:pos x="0" y="12"/>
                </a:cxn>
                <a:cxn ang="0">
                  <a:pos x="4" y="8"/>
                </a:cxn>
                <a:cxn ang="0">
                  <a:pos x="4" y="2"/>
                </a:cxn>
                <a:cxn ang="0">
                  <a:pos x="10" y="0"/>
                </a:cxn>
                <a:cxn ang="0">
                  <a:pos x="16" y="8"/>
                </a:cxn>
                <a:cxn ang="0">
                  <a:pos x="28" y="20"/>
                </a:cxn>
                <a:cxn ang="0">
                  <a:pos x="32" y="30"/>
                </a:cxn>
                <a:cxn ang="0">
                  <a:pos x="34" y="48"/>
                </a:cxn>
                <a:cxn ang="0">
                  <a:pos x="36" y="58"/>
                </a:cxn>
                <a:cxn ang="0">
                  <a:pos x="38" y="64"/>
                </a:cxn>
                <a:cxn ang="0">
                  <a:pos x="38" y="74"/>
                </a:cxn>
                <a:cxn ang="0">
                  <a:pos x="34" y="80"/>
                </a:cxn>
                <a:cxn ang="0">
                  <a:pos x="40" y="88"/>
                </a:cxn>
                <a:cxn ang="0">
                  <a:pos x="50" y="98"/>
                </a:cxn>
                <a:cxn ang="0">
                  <a:pos x="52" y="112"/>
                </a:cxn>
                <a:cxn ang="0">
                  <a:pos x="50" y="122"/>
                </a:cxn>
                <a:cxn ang="0">
                  <a:pos x="44" y="134"/>
                </a:cxn>
                <a:cxn ang="0">
                  <a:pos x="38" y="144"/>
                </a:cxn>
                <a:cxn ang="0">
                  <a:pos x="40" y="160"/>
                </a:cxn>
                <a:cxn ang="0">
                  <a:pos x="42" y="168"/>
                </a:cxn>
                <a:cxn ang="0">
                  <a:pos x="40" y="174"/>
                </a:cxn>
                <a:cxn ang="0">
                  <a:pos x="38" y="180"/>
                </a:cxn>
                <a:cxn ang="0">
                  <a:pos x="42" y="184"/>
                </a:cxn>
                <a:cxn ang="0">
                  <a:pos x="40" y="196"/>
                </a:cxn>
                <a:cxn ang="0">
                  <a:pos x="44" y="204"/>
                </a:cxn>
                <a:cxn ang="0">
                  <a:pos x="42" y="216"/>
                </a:cxn>
                <a:cxn ang="0">
                  <a:pos x="50" y="220"/>
                </a:cxn>
                <a:cxn ang="0">
                  <a:pos x="54" y="220"/>
                </a:cxn>
                <a:cxn ang="0">
                  <a:pos x="56" y="230"/>
                </a:cxn>
                <a:cxn ang="0">
                  <a:pos x="62" y="248"/>
                </a:cxn>
                <a:cxn ang="0">
                  <a:pos x="62" y="254"/>
                </a:cxn>
              </a:cxnLst>
              <a:rect l="0" t="0" r="r" b="b"/>
              <a:pathLst>
                <a:path w="64" h="254">
                  <a:moveTo>
                    <a:pt x="60" y="254"/>
                  </a:moveTo>
                  <a:lnTo>
                    <a:pt x="60" y="252"/>
                  </a:lnTo>
                  <a:lnTo>
                    <a:pt x="54" y="244"/>
                  </a:lnTo>
                  <a:lnTo>
                    <a:pt x="46" y="234"/>
                  </a:lnTo>
                  <a:lnTo>
                    <a:pt x="44" y="234"/>
                  </a:lnTo>
                  <a:lnTo>
                    <a:pt x="42" y="234"/>
                  </a:lnTo>
                  <a:lnTo>
                    <a:pt x="42" y="236"/>
                  </a:lnTo>
                  <a:lnTo>
                    <a:pt x="42" y="238"/>
                  </a:lnTo>
                  <a:lnTo>
                    <a:pt x="40" y="244"/>
                  </a:lnTo>
                  <a:lnTo>
                    <a:pt x="40" y="246"/>
                  </a:lnTo>
                  <a:lnTo>
                    <a:pt x="38" y="246"/>
                  </a:lnTo>
                  <a:lnTo>
                    <a:pt x="38" y="248"/>
                  </a:lnTo>
                  <a:lnTo>
                    <a:pt x="36" y="248"/>
                  </a:lnTo>
                  <a:lnTo>
                    <a:pt x="34" y="248"/>
                  </a:lnTo>
                  <a:lnTo>
                    <a:pt x="30" y="242"/>
                  </a:lnTo>
                  <a:lnTo>
                    <a:pt x="28" y="238"/>
                  </a:lnTo>
                  <a:lnTo>
                    <a:pt x="28" y="236"/>
                  </a:lnTo>
                  <a:lnTo>
                    <a:pt x="26" y="232"/>
                  </a:lnTo>
                  <a:lnTo>
                    <a:pt x="28" y="230"/>
                  </a:lnTo>
                  <a:lnTo>
                    <a:pt x="28" y="228"/>
                  </a:lnTo>
                  <a:lnTo>
                    <a:pt x="32" y="222"/>
                  </a:lnTo>
                  <a:lnTo>
                    <a:pt x="32" y="218"/>
                  </a:lnTo>
                  <a:lnTo>
                    <a:pt x="28" y="214"/>
                  </a:lnTo>
                  <a:lnTo>
                    <a:pt x="24" y="212"/>
                  </a:lnTo>
                  <a:lnTo>
                    <a:pt x="22" y="212"/>
                  </a:lnTo>
                  <a:lnTo>
                    <a:pt x="20" y="210"/>
                  </a:lnTo>
                  <a:lnTo>
                    <a:pt x="20" y="208"/>
                  </a:lnTo>
                  <a:lnTo>
                    <a:pt x="16" y="204"/>
                  </a:lnTo>
                  <a:lnTo>
                    <a:pt x="16" y="202"/>
                  </a:lnTo>
                  <a:lnTo>
                    <a:pt x="16" y="200"/>
                  </a:lnTo>
                  <a:lnTo>
                    <a:pt x="16" y="198"/>
                  </a:lnTo>
                  <a:lnTo>
                    <a:pt x="16" y="196"/>
                  </a:lnTo>
                  <a:lnTo>
                    <a:pt x="18" y="196"/>
                  </a:lnTo>
                  <a:lnTo>
                    <a:pt x="18" y="194"/>
                  </a:lnTo>
                  <a:lnTo>
                    <a:pt x="18" y="192"/>
                  </a:lnTo>
                  <a:lnTo>
                    <a:pt x="18" y="186"/>
                  </a:lnTo>
                  <a:lnTo>
                    <a:pt x="18" y="184"/>
                  </a:lnTo>
                  <a:lnTo>
                    <a:pt x="18" y="182"/>
                  </a:lnTo>
                  <a:lnTo>
                    <a:pt x="16" y="174"/>
                  </a:lnTo>
                  <a:lnTo>
                    <a:pt x="16" y="172"/>
                  </a:lnTo>
                  <a:lnTo>
                    <a:pt x="12" y="164"/>
                  </a:lnTo>
                  <a:lnTo>
                    <a:pt x="10" y="162"/>
                  </a:lnTo>
                  <a:lnTo>
                    <a:pt x="10" y="160"/>
                  </a:lnTo>
                  <a:lnTo>
                    <a:pt x="10" y="158"/>
                  </a:lnTo>
                  <a:lnTo>
                    <a:pt x="12" y="158"/>
                  </a:lnTo>
                  <a:lnTo>
                    <a:pt x="12" y="156"/>
                  </a:lnTo>
                  <a:lnTo>
                    <a:pt x="10" y="152"/>
                  </a:lnTo>
                  <a:lnTo>
                    <a:pt x="10" y="150"/>
                  </a:lnTo>
                  <a:lnTo>
                    <a:pt x="8" y="150"/>
                  </a:lnTo>
                  <a:lnTo>
                    <a:pt x="6" y="150"/>
                  </a:lnTo>
                  <a:lnTo>
                    <a:pt x="6" y="148"/>
                  </a:lnTo>
                  <a:lnTo>
                    <a:pt x="4" y="144"/>
                  </a:lnTo>
                  <a:lnTo>
                    <a:pt x="4" y="140"/>
                  </a:lnTo>
                  <a:lnTo>
                    <a:pt x="6" y="132"/>
                  </a:lnTo>
                  <a:lnTo>
                    <a:pt x="6" y="130"/>
                  </a:lnTo>
                  <a:lnTo>
                    <a:pt x="8" y="128"/>
                  </a:lnTo>
                  <a:lnTo>
                    <a:pt x="10" y="128"/>
                  </a:lnTo>
                  <a:lnTo>
                    <a:pt x="12" y="124"/>
                  </a:lnTo>
                  <a:lnTo>
                    <a:pt x="12" y="120"/>
                  </a:lnTo>
                  <a:lnTo>
                    <a:pt x="14" y="120"/>
                  </a:lnTo>
                  <a:lnTo>
                    <a:pt x="16" y="116"/>
                  </a:lnTo>
                  <a:lnTo>
                    <a:pt x="18" y="116"/>
                  </a:lnTo>
                  <a:lnTo>
                    <a:pt x="18" y="114"/>
                  </a:lnTo>
                  <a:lnTo>
                    <a:pt x="20" y="114"/>
                  </a:lnTo>
                  <a:lnTo>
                    <a:pt x="20" y="112"/>
                  </a:lnTo>
                  <a:lnTo>
                    <a:pt x="16" y="96"/>
                  </a:lnTo>
                  <a:lnTo>
                    <a:pt x="16" y="94"/>
                  </a:lnTo>
                  <a:lnTo>
                    <a:pt x="16" y="92"/>
                  </a:lnTo>
                  <a:lnTo>
                    <a:pt x="14" y="88"/>
                  </a:lnTo>
                  <a:lnTo>
                    <a:pt x="14" y="86"/>
                  </a:lnTo>
                  <a:lnTo>
                    <a:pt x="16" y="84"/>
                  </a:lnTo>
                  <a:lnTo>
                    <a:pt x="16" y="72"/>
                  </a:lnTo>
                  <a:lnTo>
                    <a:pt x="16" y="70"/>
                  </a:lnTo>
                  <a:lnTo>
                    <a:pt x="16" y="64"/>
                  </a:lnTo>
                  <a:lnTo>
                    <a:pt x="14" y="62"/>
                  </a:lnTo>
                  <a:lnTo>
                    <a:pt x="14" y="58"/>
                  </a:lnTo>
                  <a:lnTo>
                    <a:pt x="14" y="56"/>
                  </a:lnTo>
                  <a:lnTo>
                    <a:pt x="16" y="52"/>
                  </a:lnTo>
                  <a:lnTo>
                    <a:pt x="16" y="50"/>
                  </a:lnTo>
                  <a:lnTo>
                    <a:pt x="18" y="50"/>
                  </a:lnTo>
                  <a:lnTo>
                    <a:pt x="18" y="46"/>
                  </a:lnTo>
                  <a:lnTo>
                    <a:pt x="16" y="46"/>
                  </a:lnTo>
                  <a:lnTo>
                    <a:pt x="16" y="42"/>
                  </a:lnTo>
                  <a:lnTo>
                    <a:pt x="12" y="40"/>
                  </a:lnTo>
                  <a:lnTo>
                    <a:pt x="8" y="36"/>
                  </a:lnTo>
                  <a:lnTo>
                    <a:pt x="6" y="32"/>
                  </a:lnTo>
                  <a:lnTo>
                    <a:pt x="4" y="26"/>
                  </a:lnTo>
                  <a:lnTo>
                    <a:pt x="0" y="18"/>
                  </a:lnTo>
                  <a:lnTo>
                    <a:pt x="0" y="14"/>
                  </a:lnTo>
                  <a:lnTo>
                    <a:pt x="0" y="12"/>
                  </a:lnTo>
                  <a:lnTo>
                    <a:pt x="2" y="12"/>
                  </a:lnTo>
                  <a:lnTo>
                    <a:pt x="2" y="10"/>
                  </a:lnTo>
                  <a:lnTo>
                    <a:pt x="4" y="8"/>
                  </a:lnTo>
                  <a:lnTo>
                    <a:pt x="4" y="6"/>
                  </a:lnTo>
                  <a:lnTo>
                    <a:pt x="4" y="4"/>
                  </a:lnTo>
                  <a:lnTo>
                    <a:pt x="4" y="2"/>
                  </a:lnTo>
                  <a:lnTo>
                    <a:pt x="6" y="0"/>
                  </a:lnTo>
                  <a:lnTo>
                    <a:pt x="8" y="0"/>
                  </a:lnTo>
                  <a:lnTo>
                    <a:pt x="10" y="0"/>
                  </a:lnTo>
                  <a:lnTo>
                    <a:pt x="12" y="4"/>
                  </a:lnTo>
                  <a:lnTo>
                    <a:pt x="14" y="6"/>
                  </a:lnTo>
                  <a:lnTo>
                    <a:pt x="16" y="8"/>
                  </a:lnTo>
                  <a:lnTo>
                    <a:pt x="22" y="12"/>
                  </a:lnTo>
                  <a:lnTo>
                    <a:pt x="24" y="16"/>
                  </a:lnTo>
                  <a:lnTo>
                    <a:pt x="28" y="20"/>
                  </a:lnTo>
                  <a:lnTo>
                    <a:pt x="30" y="24"/>
                  </a:lnTo>
                  <a:lnTo>
                    <a:pt x="32" y="28"/>
                  </a:lnTo>
                  <a:lnTo>
                    <a:pt x="32" y="30"/>
                  </a:lnTo>
                  <a:lnTo>
                    <a:pt x="34" y="44"/>
                  </a:lnTo>
                  <a:lnTo>
                    <a:pt x="34" y="46"/>
                  </a:lnTo>
                  <a:lnTo>
                    <a:pt x="34" y="48"/>
                  </a:lnTo>
                  <a:lnTo>
                    <a:pt x="34" y="54"/>
                  </a:lnTo>
                  <a:lnTo>
                    <a:pt x="34" y="56"/>
                  </a:lnTo>
                  <a:lnTo>
                    <a:pt x="36" y="58"/>
                  </a:lnTo>
                  <a:lnTo>
                    <a:pt x="38" y="60"/>
                  </a:lnTo>
                  <a:lnTo>
                    <a:pt x="38" y="62"/>
                  </a:lnTo>
                  <a:lnTo>
                    <a:pt x="38" y="64"/>
                  </a:lnTo>
                  <a:lnTo>
                    <a:pt x="38" y="66"/>
                  </a:lnTo>
                  <a:lnTo>
                    <a:pt x="38" y="72"/>
                  </a:lnTo>
                  <a:lnTo>
                    <a:pt x="38" y="74"/>
                  </a:lnTo>
                  <a:lnTo>
                    <a:pt x="36" y="76"/>
                  </a:lnTo>
                  <a:lnTo>
                    <a:pt x="34" y="76"/>
                  </a:lnTo>
                  <a:lnTo>
                    <a:pt x="34" y="80"/>
                  </a:lnTo>
                  <a:lnTo>
                    <a:pt x="36" y="84"/>
                  </a:lnTo>
                  <a:lnTo>
                    <a:pt x="36" y="86"/>
                  </a:lnTo>
                  <a:lnTo>
                    <a:pt x="40" y="88"/>
                  </a:lnTo>
                  <a:lnTo>
                    <a:pt x="44" y="96"/>
                  </a:lnTo>
                  <a:lnTo>
                    <a:pt x="48" y="96"/>
                  </a:lnTo>
                  <a:lnTo>
                    <a:pt x="50" y="98"/>
                  </a:lnTo>
                  <a:lnTo>
                    <a:pt x="52" y="104"/>
                  </a:lnTo>
                  <a:lnTo>
                    <a:pt x="52" y="108"/>
                  </a:lnTo>
                  <a:lnTo>
                    <a:pt x="52" y="112"/>
                  </a:lnTo>
                  <a:lnTo>
                    <a:pt x="52" y="114"/>
                  </a:lnTo>
                  <a:lnTo>
                    <a:pt x="52" y="118"/>
                  </a:lnTo>
                  <a:lnTo>
                    <a:pt x="50" y="122"/>
                  </a:lnTo>
                  <a:lnTo>
                    <a:pt x="48" y="132"/>
                  </a:lnTo>
                  <a:lnTo>
                    <a:pt x="46" y="132"/>
                  </a:lnTo>
                  <a:lnTo>
                    <a:pt x="44" y="134"/>
                  </a:lnTo>
                  <a:lnTo>
                    <a:pt x="38" y="140"/>
                  </a:lnTo>
                  <a:lnTo>
                    <a:pt x="38" y="142"/>
                  </a:lnTo>
                  <a:lnTo>
                    <a:pt x="38" y="144"/>
                  </a:lnTo>
                  <a:lnTo>
                    <a:pt x="38" y="152"/>
                  </a:lnTo>
                  <a:lnTo>
                    <a:pt x="40" y="158"/>
                  </a:lnTo>
                  <a:lnTo>
                    <a:pt x="40" y="160"/>
                  </a:lnTo>
                  <a:lnTo>
                    <a:pt x="42" y="164"/>
                  </a:lnTo>
                  <a:lnTo>
                    <a:pt x="44" y="166"/>
                  </a:lnTo>
                  <a:lnTo>
                    <a:pt x="42" y="168"/>
                  </a:lnTo>
                  <a:lnTo>
                    <a:pt x="42" y="170"/>
                  </a:lnTo>
                  <a:lnTo>
                    <a:pt x="40" y="172"/>
                  </a:lnTo>
                  <a:lnTo>
                    <a:pt x="40" y="174"/>
                  </a:lnTo>
                  <a:lnTo>
                    <a:pt x="40" y="176"/>
                  </a:lnTo>
                  <a:lnTo>
                    <a:pt x="38" y="178"/>
                  </a:lnTo>
                  <a:lnTo>
                    <a:pt x="38" y="180"/>
                  </a:lnTo>
                  <a:lnTo>
                    <a:pt x="40" y="180"/>
                  </a:lnTo>
                  <a:lnTo>
                    <a:pt x="40" y="182"/>
                  </a:lnTo>
                  <a:lnTo>
                    <a:pt x="42" y="184"/>
                  </a:lnTo>
                  <a:lnTo>
                    <a:pt x="42" y="186"/>
                  </a:lnTo>
                  <a:lnTo>
                    <a:pt x="42" y="192"/>
                  </a:lnTo>
                  <a:lnTo>
                    <a:pt x="40" y="196"/>
                  </a:lnTo>
                  <a:lnTo>
                    <a:pt x="40" y="198"/>
                  </a:lnTo>
                  <a:lnTo>
                    <a:pt x="44" y="200"/>
                  </a:lnTo>
                  <a:lnTo>
                    <a:pt x="44" y="204"/>
                  </a:lnTo>
                  <a:lnTo>
                    <a:pt x="44" y="208"/>
                  </a:lnTo>
                  <a:lnTo>
                    <a:pt x="44" y="210"/>
                  </a:lnTo>
                  <a:lnTo>
                    <a:pt x="42" y="216"/>
                  </a:lnTo>
                  <a:lnTo>
                    <a:pt x="44" y="218"/>
                  </a:lnTo>
                  <a:lnTo>
                    <a:pt x="46" y="220"/>
                  </a:lnTo>
                  <a:lnTo>
                    <a:pt x="50" y="220"/>
                  </a:lnTo>
                  <a:lnTo>
                    <a:pt x="50" y="218"/>
                  </a:lnTo>
                  <a:lnTo>
                    <a:pt x="52" y="220"/>
                  </a:lnTo>
                  <a:lnTo>
                    <a:pt x="54" y="220"/>
                  </a:lnTo>
                  <a:lnTo>
                    <a:pt x="56" y="226"/>
                  </a:lnTo>
                  <a:lnTo>
                    <a:pt x="56" y="228"/>
                  </a:lnTo>
                  <a:lnTo>
                    <a:pt x="56" y="230"/>
                  </a:lnTo>
                  <a:lnTo>
                    <a:pt x="60" y="238"/>
                  </a:lnTo>
                  <a:lnTo>
                    <a:pt x="60" y="246"/>
                  </a:lnTo>
                  <a:lnTo>
                    <a:pt x="62" y="248"/>
                  </a:lnTo>
                  <a:lnTo>
                    <a:pt x="64" y="250"/>
                  </a:lnTo>
                  <a:lnTo>
                    <a:pt x="64" y="252"/>
                  </a:lnTo>
                  <a:lnTo>
                    <a:pt x="62" y="254"/>
                  </a:lnTo>
                  <a:lnTo>
                    <a:pt x="60" y="25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2" name="Freeform 1937"/>
            <p:cNvSpPr>
              <a:spLocks/>
            </p:cNvSpPr>
            <p:nvPr/>
          </p:nvSpPr>
          <p:spPr bwMode="auto">
            <a:xfrm rot="21000000">
              <a:off x="6587599" y="1735315"/>
              <a:ext cx="93942" cy="97716"/>
            </a:xfrm>
            <a:custGeom>
              <a:avLst/>
              <a:gdLst/>
              <a:ahLst/>
              <a:cxnLst>
                <a:cxn ang="0">
                  <a:pos x="22" y="170"/>
                </a:cxn>
                <a:cxn ang="0">
                  <a:pos x="28" y="174"/>
                </a:cxn>
                <a:cxn ang="0">
                  <a:pos x="40" y="172"/>
                </a:cxn>
                <a:cxn ang="0">
                  <a:pos x="42" y="168"/>
                </a:cxn>
                <a:cxn ang="0">
                  <a:pos x="50" y="154"/>
                </a:cxn>
                <a:cxn ang="0">
                  <a:pos x="54" y="154"/>
                </a:cxn>
                <a:cxn ang="0">
                  <a:pos x="70" y="146"/>
                </a:cxn>
                <a:cxn ang="0">
                  <a:pos x="74" y="144"/>
                </a:cxn>
                <a:cxn ang="0">
                  <a:pos x="78" y="140"/>
                </a:cxn>
                <a:cxn ang="0">
                  <a:pos x="86" y="136"/>
                </a:cxn>
                <a:cxn ang="0">
                  <a:pos x="100" y="124"/>
                </a:cxn>
                <a:cxn ang="0">
                  <a:pos x="92" y="116"/>
                </a:cxn>
                <a:cxn ang="0">
                  <a:pos x="94" y="106"/>
                </a:cxn>
                <a:cxn ang="0">
                  <a:pos x="104" y="96"/>
                </a:cxn>
                <a:cxn ang="0">
                  <a:pos x="132" y="98"/>
                </a:cxn>
                <a:cxn ang="0">
                  <a:pos x="136" y="96"/>
                </a:cxn>
                <a:cxn ang="0">
                  <a:pos x="130" y="92"/>
                </a:cxn>
                <a:cxn ang="0">
                  <a:pos x="132" y="82"/>
                </a:cxn>
                <a:cxn ang="0">
                  <a:pos x="138" y="76"/>
                </a:cxn>
                <a:cxn ang="0">
                  <a:pos x="162" y="58"/>
                </a:cxn>
                <a:cxn ang="0">
                  <a:pos x="158" y="42"/>
                </a:cxn>
                <a:cxn ang="0">
                  <a:pos x="152" y="24"/>
                </a:cxn>
                <a:cxn ang="0">
                  <a:pos x="142" y="22"/>
                </a:cxn>
                <a:cxn ang="0">
                  <a:pos x="146" y="16"/>
                </a:cxn>
                <a:cxn ang="0">
                  <a:pos x="154" y="8"/>
                </a:cxn>
                <a:cxn ang="0">
                  <a:pos x="138" y="4"/>
                </a:cxn>
                <a:cxn ang="0">
                  <a:pos x="118" y="2"/>
                </a:cxn>
                <a:cxn ang="0">
                  <a:pos x="108" y="0"/>
                </a:cxn>
                <a:cxn ang="0">
                  <a:pos x="108" y="10"/>
                </a:cxn>
                <a:cxn ang="0">
                  <a:pos x="98" y="20"/>
                </a:cxn>
                <a:cxn ang="0">
                  <a:pos x="74" y="34"/>
                </a:cxn>
                <a:cxn ang="0">
                  <a:pos x="70" y="46"/>
                </a:cxn>
                <a:cxn ang="0">
                  <a:pos x="68" y="54"/>
                </a:cxn>
                <a:cxn ang="0">
                  <a:pos x="66" y="68"/>
                </a:cxn>
                <a:cxn ang="0">
                  <a:pos x="56" y="80"/>
                </a:cxn>
                <a:cxn ang="0">
                  <a:pos x="50" y="80"/>
                </a:cxn>
                <a:cxn ang="0">
                  <a:pos x="50" y="88"/>
                </a:cxn>
                <a:cxn ang="0">
                  <a:pos x="46" y="94"/>
                </a:cxn>
                <a:cxn ang="0">
                  <a:pos x="40" y="104"/>
                </a:cxn>
                <a:cxn ang="0">
                  <a:pos x="36" y="114"/>
                </a:cxn>
                <a:cxn ang="0">
                  <a:pos x="30" y="124"/>
                </a:cxn>
                <a:cxn ang="0">
                  <a:pos x="24" y="128"/>
                </a:cxn>
                <a:cxn ang="0">
                  <a:pos x="16" y="144"/>
                </a:cxn>
                <a:cxn ang="0">
                  <a:pos x="14" y="154"/>
                </a:cxn>
                <a:cxn ang="0">
                  <a:pos x="6" y="164"/>
                </a:cxn>
                <a:cxn ang="0">
                  <a:pos x="2" y="168"/>
                </a:cxn>
              </a:cxnLst>
              <a:rect l="0" t="0" r="r" b="b"/>
              <a:pathLst>
                <a:path w="162" h="174">
                  <a:moveTo>
                    <a:pt x="16" y="168"/>
                  </a:moveTo>
                  <a:lnTo>
                    <a:pt x="22" y="170"/>
                  </a:lnTo>
                  <a:lnTo>
                    <a:pt x="24" y="174"/>
                  </a:lnTo>
                  <a:lnTo>
                    <a:pt x="28" y="174"/>
                  </a:lnTo>
                  <a:lnTo>
                    <a:pt x="32" y="174"/>
                  </a:lnTo>
                  <a:lnTo>
                    <a:pt x="40" y="172"/>
                  </a:lnTo>
                  <a:lnTo>
                    <a:pt x="40" y="170"/>
                  </a:lnTo>
                  <a:lnTo>
                    <a:pt x="42" y="168"/>
                  </a:lnTo>
                  <a:lnTo>
                    <a:pt x="46" y="160"/>
                  </a:lnTo>
                  <a:lnTo>
                    <a:pt x="50" y="154"/>
                  </a:lnTo>
                  <a:lnTo>
                    <a:pt x="54" y="156"/>
                  </a:lnTo>
                  <a:lnTo>
                    <a:pt x="54" y="154"/>
                  </a:lnTo>
                  <a:lnTo>
                    <a:pt x="68" y="148"/>
                  </a:lnTo>
                  <a:lnTo>
                    <a:pt x="70" y="146"/>
                  </a:lnTo>
                  <a:lnTo>
                    <a:pt x="72" y="146"/>
                  </a:lnTo>
                  <a:lnTo>
                    <a:pt x="74" y="144"/>
                  </a:lnTo>
                  <a:lnTo>
                    <a:pt x="76" y="142"/>
                  </a:lnTo>
                  <a:lnTo>
                    <a:pt x="78" y="140"/>
                  </a:lnTo>
                  <a:lnTo>
                    <a:pt x="80" y="138"/>
                  </a:lnTo>
                  <a:lnTo>
                    <a:pt x="86" y="136"/>
                  </a:lnTo>
                  <a:lnTo>
                    <a:pt x="98" y="126"/>
                  </a:lnTo>
                  <a:lnTo>
                    <a:pt x="100" y="124"/>
                  </a:lnTo>
                  <a:lnTo>
                    <a:pt x="98" y="118"/>
                  </a:lnTo>
                  <a:lnTo>
                    <a:pt x="92" y="116"/>
                  </a:lnTo>
                  <a:lnTo>
                    <a:pt x="90" y="114"/>
                  </a:lnTo>
                  <a:lnTo>
                    <a:pt x="94" y="106"/>
                  </a:lnTo>
                  <a:lnTo>
                    <a:pt x="98" y="102"/>
                  </a:lnTo>
                  <a:lnTo>
                    <a:pt x="104" y="96"/>
                  </a:lnTo>
                  <a:lnTo>
                    <a:pt x="122" y="94"/>
                  </a:lnTo>
                  <a:lnTo>
                    <a:pt x="132" y="98"/>
                  </a:lnTo>
                  <a:lnTo>
                    <a:pt x="134" y="98"/>
                  </a:lnTo>
                  <a:lnTo>
                    <a:pt x="136" y="96"/>
                  </a:lnTo>
                  <a:lnTo>
                    <a:pt x="132" y="92"/>
                  </a:lnTo>
                  <a:lnTo>
                    <a:pt x="130" y="92"/>
                  </a:lnTo>
                  <a:lnTo>
                    <a:pt x="126" y="88"/>
                  </a:lnTo>
                  <a:lnTo>
                    <a:pt x="132" y="82"/>
                  </a:lnTo>
                  <a:lnTo>
                    <a:pt x="134" y="80"/>
                  </a:lnTo>
                  <a:lnTo>
                    <a:pt x="138" y="76"/>
                  </a:lnTo>
                  <a:lnTo>
                    <a:pt x="152" y="68"/>
                  </a:lnTo>
                  <a:lnTo>
                    <a:pt x="162" y="58"/>
                  </a:lnTo>
                  <a:lnTo>
                    <a:pt x="160" y="56"/>
                  </a:lnTo>
                  <a:lnTo>
                    <a:pt x="158" y="42"/>
                  </a:lnTo>
                  <a:lnTo>
                    <a:pt x="156" y="32"/>
                  </a:lnTo>
                  <a:lnTo>
                    <a:pt x="152" y="24"/>
                  </a:lnTo>
                  <a:lnTo>
                    <a:pt x="150" y="22"/>
                  </a:lnTo>
                  <a:lnTo>
                    <a:pt x="142" y="22"/>
                  </a:lnTo>
                  <a:lnTo>
                    <a:pt x="144" y="18"/>
                  </a:lnTo>
                  <a:lnTo>
                    <a:pt x="146" y="16"/>
                  </a:lnTo>
                  <a:lnTo>
                    <a:pt x="152" y="12"/>
                  </a:lnTo>
                  <a:lnTo>
                    <a:pt x="154" y="8"/>
                  </a:lnTo>
                  <a:lnTo>
                    <a:pt x="146" y="6"/>
                  </a:lnTo>
                  <a:lnTo>
                    <a:pt x="138" y="4"/>
                  </a:lnTo>
                  <a:lnTo>
                    <a:pt x="122" y="2"/>
                  </a:lnTo>
                  <a:lnTo>
                    <a:pt x="118" y="2"/>
                  </a:lnTo>
                  <a:lnTo>
                    <a:pt x="114" y="2"/>
                  </a:lnTo>
                  <a:lnTo>
                    <a:pt x="108" y="0"/>
                  </a:lnTo>
                  <a:lnTo>
                    <a:pt x="108" y="4"/>
                  </a:lnTo>
                  <a:lnTo>
                    <a:pt x="108" y="10"/>
                  </a:lnTo>
                  <a:lnTo>
                    <a:pt x="108" y="14"/>
                  </a:lnTo>
                  <a:lnTo>
                    <a:pt x="98" y="20"/>
                  </a:lnTo>
                  <a:lnTo>
                    <a:pt x="90" y="22"/>
                  </a:lnTo>
                  <a:lnTo>
                    <a:pt x="74" y="34"/>
                  </a:lnTo>
                  <a:lnTo>
                    <a:pt x="72" y="38"/>
                  </a:lnTo>
                  <a:lnTo>
                    <a:pt x="70" y="46"/>
                  </a:lnTo>
                  <a:lnTo>
                    <a:pt x="68" y="46"/>
                  </a:lnTo>
                  <a:lnTo>
                    <a:pt x="68" y="54"/>
                  </a:lnTo>
                  <a:lnTo>
                    <a:pt x="70" y="58"/>
                  </a:lnTo>
                  <a:lnTo>
                    <a:pt x="66" y="68"/>
                  </a:lnTo>
                  <a:lnTo>
                    <a:pt x="60" y="80"/>
                  </a:lnTo>
                  <a:lnTo>
                    <a:pt x="56" y="80"/>
                  </a:lnTo>
                  <a:lnTo>
                    <a:pt x="54" y="80"/>
                  </a:lnTo>
                  <a:lnTo>
                    <a:pt x="50" y="80"/>
                  </a:lnTo>
                  <a:lnTo>
                    <a:pt x="50" y="84"/>
                  </a:lnTo>
                  <a:lnTo>
                    <a:pt x="50" y="88"/>
                  </a:lnTo>
                  <a:lnTo>
                    <a:pt x="48" y="92"/>
                  </a:lnTo>
                  <a:lnTo>
                    <a:pt x="46" y="94"/>
                  </a:lnTo>
                  <a:lnTo>
                    <a:pt x="44" y="98"/>
                  </a:lnTo>
                  <a:lnTo>
                    <a:pt x="40" y="104"/>
                  </a:lnTo>
                  <a:lnTo>
                    <a:pt x="38" y="108"/>
                  </a:lnTo>
                  <a:lnTo>
                    <a:pt x="36" y="114"/>
                  </a:lnTo>
                  <a:lnTo>
                    <a:pt x="32" y="122"/>
                  </a:lnTo>
                  <a:lnTo>
                    <a:pt x="30" y="124"/>
                  </a:lnTo>
                  <a:lnTo>
                    <a:pt x="26" y="126"/>
                  </a:lnTo>
                  <a:lnTo>
                    <a:pt x="24" y="128"/>
                  </a:lnTo>
                  <a:lnTo>
                    <a:pt x="22" y="132"/>
                  </a:lnTo>
                  <a:lnTo>
                    <a:pt x="16" y="144"/>
                  </a:lnTo>
                  <a:lnTo>
                    <a:pt x="14" y="150"/>
                  </a:lnTo>
                  <a:lnTo>
                    <a:pt x="14" y="154"/>
                  </a:lnTo>
                  <a:lnTo>
                    <a:pt x="10" y="158"/>
                  </a:lnTo>
                  <a:lnTo>
                    <a:pt x="6" y="164"/>
                  </a:lnTo>
                  <a:lnTo>
                    <a:pt x="0" y="168"/>
                  </a:lnTo>
                  <a:lnTo>
                    <a:pt x="2" y="168"/>
                  </a:lnTo>
                  <a:lnTo>
                    <a:pt x="16" y="16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3" name="Freeform 1938"/>
            <p:cNvSpPr>
              <a:spLocks/>
            </p:cNvSpPr>
            <p:nvPr/>
          </p:nvSpPr>
          <p:spPr bwMode="auto">
            <a:xfrm rot="21000000">
              <a:off x="6577012" y="1823311"/>
              <a:ext cx="269070" cy="253839"/>
            </a:xfrm>
            <a:custGeom>
              <a:avLst/>
              <a:gdLst/>
              <a:ahLst/>
              <a:cxnLst>
                <a:cxn ang="0">
                  <a:pos x="108" y="452"/>
                </a:cxn>
                <a:cxn ang="0">
                  <a:pos x="156" y="422"/>
                </a:cxn>
                <a:cxn ang="0">
                  <a:pos x="214" y="380"/>
                </a:cxn>
                <a:cxn ang="0">
                  <a:pos x="260" y="376"/>
                </a:cxn>
                <a:cxn ang="0">
                  <a:pos x="316" y="322"/>
                </a:cxn>
                <a:cxn ang="0">
                  <a:pos x="272" y="258"/>
                </a:cxn>
                <a:cxn ang="0">
                  <a:pos x="232" y="198"/>
                </a:cxn>
                <a:cxn ang="0">
                  <a:pos x="278" y="188"/>
                </a:cxn>
                <a:cxn ang="0">
                  <a:pos x="328" y="180"/>
                </a:cxn>
                <a:cxn ang="0">
                  <a:pos x="380" y="170"/>
                </a:cxn>
                <a:cxn ang="0">
                  <a:pos x="440" y="156"/>
                </a:cxn>
                <a:cxn ang="0">
                  <a:pos x="464" y="136"/>
                </a:cxn>
                <a:cxn ang="0">
                  <a:pos x="440" y="126"/>
                </a:cxn>
                <a:cxn ang="0">
                  <a:pos x="446" y="104"/>
                </a:cxn>
                <a:cxn ang="0">
                  <a:pos x="418" y="6"/>
                </a:cxn>
                <a:cxn ang="0">
                  <a:pos x="380" y="24"/>
                </a:cxn>
                <a:cxn ang="0">
                  <a:pos x="308" y="60"/>
                </a:cxn>
                <a:cxn ang="0">
                  <a:pos x="260" y="84"/>
                </a:cxn>
                <a:cxn ang="0">
                  <a:pos x="226" y="102"/>
                </a:cxn>
                <a:cxn ang="0">
                  <a:pos x="208" y="96"/>
                </a:cxn>
                <a:cxn ang="0">
                  <a:pos x="194" y="92"/>
                </a:cxn>
                <a:cxn ang="0">
                  <a:pos x="180" y="82"/>
                </a:cxn>
                <a:cxn ang="0">
                  <a:pos x="168" y="70"/>
                </a:cxn>
                <a:cxn ang="0">
                  <a:pos x="160" y="70"/>
                </a:cxn>
                <a:cxn ang="0">
                  <a:pos x="152" y="58"/>
                </a:cxn>
                <a:cxn ang="0">
                  <a:pos x="146" y="44"/>
                </a:cxn>
                <a:cxn ang="0">
                  <a:pos x="130" y="40"/>
                </a:cxn>
                <a:cxn ang="0">
                  <a:pos x="118" y="46"/>
                </a:cxn>
                <a:cxn ang="0">
                  <a:pos x="114" y="46"/>
                </a:cxn>
                <a:cxn ang="0">
                  <a:pos x="104" y="76"/>
                </a:cxn>
                <a:cxn ang="0">
                  <a:pos x="104" y="80"/>
                </a:cxn>
                <a:cxn ang="0">
                  <a:pos x="102" y="100"/>
                </a:cxn>
                <a:cxn ang="0">
                  <a:pos x="94" y="122"/>
                </a:cxn>
                <a:cxn ang="0">
                  <a:pos x="94" y="142"/>
                </a:cxn>
                <a:cxn ang="0">
                  <a:pos x="92" y="154"/>
                </a:cxn>
                <a:cxn ang="0">
                  <a:pos x="86" y="164"/>
                </a:cxn>
                <a:cxn ang="0">
                  <a:pos x="84" y="172"/>
                </a:cxn>
                <a:cxn ang="0">
                  <a:pos x="82" y="180"/>
                </a:cxn>
                <a:cxn ang="0">
                  <a:pos x="80" y="190"/>
                </a:cxn>
                <a:cxn ang="0">
                  <a:pos x="72" y="210"/>
                </a:cxn>
                <a:cxn ang="0">
                  <a:pos x="76" y="218"/>
                </a:cxn>
                <a:cxn ang="0">
                  <a:pos x="74" y="226"/>
                </a:cxn>
                <a:cxn ang="0">
                  <a:pos x="64" y="244"/>
                </a:cxn>
                <a:cxn ang="0">
                  <a:pos x="60" y="248"/>
                </a:cxn>
                <a:cxn ang="0">
                  <a:pos x="54" y="262"/>
                </a:cxn>
                <a:cxn ang="0">
                  <a:pos x="44" y="278"/>
                </a:cxn>
                <a:cxn ang="0">
                  <a:pos x="36" y="296"/>
                </a:cxn>
                <a:cxn ang="0">
                  <a:pos x="34" y="310"/>
                </a:cxn>
                <a:cxn ang="0">
                  <a:pos x="32" y="334"/>
                </a:cxn>
                <a:cxn ang="0">
                  <a:pos x="26" y="340"/>
                </a:cxn>
                <a:cxn ang="0">
                  <a:pos x="20" y="352"/>
                </a:cxn>
                <a:cxn ang="0">
                  <a:pos x="18" y="358"/>
                </a:cxn>
                <a:cxn ang="0">
                  <a:pos x="8" y="386"/>
                </a:cxn>
                <a:cxn ang="0">
                  <a:pos x="4" y="398"/>
                </a:cxn>
                <a:cxn ang="0">
                  <a:pos x="4" y="406"/>
                </a:cxn>
                <a:cxn ang="0">
                  <a:pos x="0" y="416"/>
                </a:cxn>
                <a:cxn ang="0">
                  <a:pos x="22" y="426"/>
                </a:cxn>
              </a:cxnLst>
              <a:rect l="0" t="0" r="r" b="b"/>
              <a:pathLst>
                <a:path w="464" h="452">
                  <a:moveTo>
                    <a:pt x="56" y="436"/>
                  </a:moveTo>
                  <a:lnTo>
                    <a:pt x="108" y="452"/>
                  </a:lnTo>
                  <a:lnTo>
                    <a:pt x="130" y="438"/>
                  </a:lnTo>
                  <a:lnTo>
                    <a:pt x="156" y="422"/>
                  </a:lnTo>
                  <a:lnTo>
                    <a:pt x="184" y="382"/>
                  </a:lnTo>
                  <a:lnTo>
                    <a:pt x="214" y="380"/>
                  </a:lnTo>
                  <a:lnTo>
                    <a:pt x="252" y="376"/>
                  </a:lnTo>
                  <a:lnTo>
                    <a:pt x="260" y="376"/>
                  </a:lnTo>
                  <a:lnTo>
                    <a:pt x="282" y="338"/>
                  </a:lnTo>
                  <a:lnTo>
                    <a:pt x="316" y="322"/>
                  </a:lnTo>
                  <a:lnTo>
                    <a:pt x="278" y="268"/>
                  </a:lnTo>
                  <a:lnTo>
                    <a:pt x="272" y="258"/>
                  </a:lnTo>
                  <a:lnTo>
                    <a:pt x="256" y="234"/>
                  </a:lnTo>
                  <a:lnTo>
                    <a:pt x="232" y="198"/>
                  </a:lnTo>
                  <a:lnTo>
                    <a:pt x="252" y="194"/>
                  </a:lnTo>
                  <a:lnTo>
                    <a:pt x="278" y="188"/>
                  </a:lnTo>
                  <a:lnTo>
                    <a:pt x="302" y="184"/>
                  </a:lnTo>
                  <a:lnTo>
                    <a:pt x="328" y="180"/>
                  </a:lnTo>
                  <a:lnTo>
                    <a:pt x="330" y="180"/>
                  </a:lnTo>
                  <a:lnTo>
                    <a:pt x="380" y="170"/>
                  </a:lnTo>
                  <a:lnTo>
                    <a:pt x="432" y="160"/>
                  </a:lnTo>
                  <a:lnTo>
                    <a:pt x="440" y="156"/>
                  </a:lnTo>
                  <a:lnTo>
                    <a:pt x="452" y="146"/>
                  </a:lnTo>
                  <a:lnTo>
                    <a:pt x="464" y="136"/>
                  </a:lnTo>
                  <a:lnTo>
                    <a:pt x="460" y="122"/>
                  </a:lnTo>
                  <a:lnTo>
                    <a:pt x="440" y="126"/>
                  </a:lnTo>
                  <a:lnTo>
                    <a:pt x="436" y="106"/>
                  </a:lnTo>
                  <a:lnTo>
                    <a:pt x="446" y="104"/>
                  </a:lnTo>
                  <a:lnTo>
                    <a:pt x="428" y="0"/>
                  </a:lnTo>
                  <a:lnTo>
                    <a:pt x="418" y="6"/>
                  </a:lnTo>
                  <a:lnTo>
                    <a:pt x="402" y="14"/>
                  </a:lnTo>
                  <a:lnTo>
                    <a:pt x="380" y="24"/>
                  </a:lnTo>
                  <a:lnTo>
                    <a:pt x="342" y="42"/>
                  </a:lnTo>
                  <a:lnTo>
                    <a:pt x="308" y="60"/>
                  </a:lnTo>
                  <a:lnTo>
                    <a:pt x="294" y="66"/>
                  </a:lnTo>
                  <a:lnTo>
                    <a:pt x="260" y="84"/>
                  </a:lnTo>
                  <a:lnTo>
                    <a:pt x="230" y="100"/>
                  </a:lnTo>
                  <a:lnTo>
                    <a:pt x="226" y="102"/>
                  </a:lnTo>
                  <a:lnTo>
                    <a:pt x="216" y="98"/>
                  </a:lnTo>
                  <a:lnTo>
                    <a:pt x="208" y="96"/>
                  </a:lnTo>
                  <a:lnTo>
                    <a:pt x="196" y="92"/>
                  </a:lnTo>
                  <a:lnTo>
                    <a:pt x="194" y="92"/>
                  </a:lnTo>
                  <a:lnTo>
                    <a:pt x="184" y="90"/>
                  </a:lnTo>
                  <a:lnTo>
                    <a:pt x="180" y="82"/>
                  </a:lnTo>
                  <a:lnTo>
                    <a:pt x="178" y="80"/>
                  </a:lnTo>
                  <a:lnTo>
                    <a:pt x="168" y="70"/>
                  </a:lnTo>
                  <a:lnTo>
                    <a:pt x="164" y="70"/>
                  </a:lnTo>
                  <a:lnTo>
                    <a:pt x="160" y="70"/>
                  </a:lnTo>
                  <a:lnTo>
                    <a:pt x="156" y="66"/>
                  </a:lnTo>
                  <a:lnTo>
                    <a:pt x="152" y="58"/>
                  </a:lnTo>
                  <a:lnTo>
                    <a:pt x="150" y="52"/>
                  </a:lnTo>
                  <a:lnTo>
                    <a:pt x="146" y="44"/>
                  </a:lnTo>
                  <a:lnTo>
                    <a:pt x="132" y="40"/>
                  </a:lnTo>
                  <a:lnTo>
                    <a:pt x="130" y="40"/>
                  </a:lnTo>
                  <a:lnTo>
                    <a:pt x="122" y="42"/>
                  </a:lnTo>
                  <a:lnTo>
                    <a:pt x="118" y="46"/>
                  </a:lnTo>
                  <a:lnTo>
                    <a:pt x="116" y="44"/>
                  </a:lnTo>
                  <a:lnTo>
                    <a:pt x="114" y="46"/>
                  </a:lnTo>
                  <a:lnTo>
                    <a:pt x="110" y="50"/>
                  </a:lnTo>
                  <a:lnTo>
                    <a:pt x="104" y="76"/>
                  </a:lnTo>
                  <a:lnTo>
                    <a:pt x="104" y="78"/>
                  </a:lnTo>
                  <a:lnTo>
                    <a:pt x="104" y="80"/>
                  </a:lnTo>
                  <a:lnTo>
                    <a:pt x="102" y="98"/>
                  </a:lnTo>
                  <a:lnTo>
                    <a:pt x="102" y="100"/>
                  </a:lnTo>
                  <a:lnTo>
                    <a:pt x="94" y="118"/>
                  </a:lnTo>
                  <a:lnTo>
                    <a:pt x="94" y="122"/>
                  </a:lnTo>
                  <a:lnTo>
                    <a:pt x="94" y="130"/>
                  </a:lnTo>
                  <a:lnTo>
                    <a:pt x="94" y="142"/>
                  </a:lnTo>
                  <a:lnTo>
                    <a:pt x="94" y="150"/>
                  </a:lnTo>
                  <a:lnTo>
                    <a:pt x="92" y="154"/>
                  </a:lnTo>
                  <a:lnTo>
                    <a:pt x="90" y="156"/>
                  </a:lnTo>
                  <a:lnTo>
                    <a:pt x="86" y="164"/>
                  </a:lnTo>
                  <a:lnTo>
                    <a:pt x="86" y="168"/>
                  </a:lnTo>
                  <a:lnTo>
                    <a:pt x="84" y="172"/>
                  </a:lnTo>
                  <a:lnTo>
                    <a:pt x="84" y="176"/>
                  </a:lnTo>
                  <a:lnTo>
                    <a:pt x="82" y="180"/>
                  </a:lnTo>
                  <a:lnTo>
                    <a:pt x="82" y="186"/>
                  </a:lnTo>
                  <a:lnTo>
                    <a:pt x="80" y="190"/>
                  </a:lnTo>
                  <a:lnTo>
                    <a:pt x="78" y="196"/>
                  </a:lnTo>
                  <a:lnTo>
                    <a:pt x="72" y="210"/>
                  </a:lnTo>
                  <a:lnTo>
                    <a:pt x="74" y="212"/>
                  </a:lnTo>
                  <a:lnTo>
                    <a:pt x="76" y="218"/>
                  </a:lnTo>
                  <a:lnTo>
                    <a:pt x="76" y="222"/>
                  </a:lnTo>
                  <a:lnTo>
                    <a:pt x="74" y="226"/>
                  </a:lnTo>
                  <a:lnTo>
                    <a:pt x="66" y="242"/>
                  </a:lnTo>
                  <a:lnTo>
                    <a:pt x="64" y="244"/>
                  </a:lnTo>
                  <a:lnTo>
                    <a:pt x="62" y="244"/>
                  </a:lnTo>
                  <a:lnTo>
                    <a:pt x="60" y="248"/>
                  </a:lnTo>
                  <a:lnTo>
                    <a:pt x="54" y="258"/>
                  </a:lnTo>
                  <a:lnTo>
                    <a:pt x="54" y="262"/>
                  </a:lnTo>
                  <a:lnTo>
                    <a:pt x="48" y="270"/>
                  </a:lnTo>
                  <a:lnTo>
                    <a:pt x="44" y="278"/>
                  </a:lnTo>
                  <a:lnTo>
                    <a:pt x="42" y="280"/>
                  </a:lnTo>
                  <a:lnTo>
                    <a:pt x="36" y="296"/>
                  </a:lnTo>
                  <a:lnTo>
                    <a:pt x="34" y="300"/>
                  </a:lnTo>
                  <a:lnTo>
                    <a:pt x="34" y="310"/>
                  </a:lnTo>
                  <a:lnTo>
                    <a:pt x="32" y="330"/>
                  </a:lnTo>
                  <a:lnTo>
                    <a:pt x="32" y="334"/>
                  </a:lnTo>
                  <a:lnTo>
                    <a:pt x="28" y="336"/>
                  </a:lnTo>
                  <a:lnTo>
                    <a:pt x="26" y="340"/>
                  </a:lnTo>
                  <a:lnTo>
                    <a:pt x="24" y="342"/>
                  </a:lnTo>
                  <a:lnTo>
                    <a:pt x="20" y="352"/>
                  </a:lnTo>
                  <a:lnTo>
                    <a:pt x="18" y="356"/>
                  </a:lnTo>
                  <a:lnTo>
                    <a:pt x="18" y="358"/>
                  </a:lnTo>
                  <a:lnTo>
                    <a:pt x="18" y="362"/>
                  </a:lnTo>
                  <a:lnTo>
                    <a:pt x="8" y="386"/>
                  </a:lnTo>
                  <a:lnTo>
                    <a:pt x="4" y="394"/>
                  </a:lnTo>
                  <a:lnTo>
                    <a:pt x="4" y="398"/>
                  </a:lnTo>
                  <a:lnTo>
                    <a:pt x="6" y="400"/>
                  </a:lnTo>
                  <a:lnTo>
                    <a:pt x="4" y="406"/>
                  </a:lnTo>
                  <a:lnTo>
                    <a:pt x="2" y="408"/>
                  </a:lnTo>
                  <a:lnTo>
                    <a:pt x="0" y="416"/>
                  </a:lnTo>
                  <a:lnTo>
                    <a:pt x="0" y="418"/>
                  </a:lnTo>
                  <a:lnTo>
                    <a:pt x="22" y="426"/>
                  </a:lnTo>
                  <a:lnTo>
                    <a:pt x="56" y="43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4" name="Freeform 1939"/>
            <p:cNvSpPr>
              <a:spLocks/>
            </p:cNvSpPr>
            <p:nvPr/>
          </p:nvSpPr>
          <p:spPr bwMode="auto">
            <a:xfrm rot="21000000">
              <a:off x="6550036" y="1937123"/>
              <a:ext cx="20876" cy="22464"/>
            </a:xfrm>
            <a:custGeom>
              <a:avLst/>
              <a:gdLst/>
              <a:ahLst/>
              <a:cxnLst>
                <a:cxn ang="0">
                  <a:pos x="14" y="32"/>
                </a:cxn>
                <a:cxn ang="0">
                  <a:pos x="14" y="26"/>
                </a:cxn>
                <a:cxn ang="0">
                  <a:pos x="18" y="22"/>
                </a:cxn>
                <a:cxn ang="0">
                  <a:pos x="28" y="14"/>
                </a:cxn>
                <a:cxn ang="0">
                  <a:pos x="32" y="10"/>
                </a:cxn>
                <a:cxn ang="0">
                  <a:pos x="34" y="10"/>
                </a:cxn>
                <a:cxn ang="0">
                  <a:pos x="36" y="6"/>
                </a:cxn>
                <a:cxn ang="0">
                  <a:pos x="30" y="0"/>
                </a:cxn>
                <a:cxn ang="0">
                  <a:pos x="26" y="4"/>
                </a:cxn>
                <a:cxn ang="0">
                  <a:pos x="20" y="10"/>
                </a:cxn>
                <a:cxn ang="0">
                  <a:pos x="6" y="22"/>
                </a:cxn>
                <a:cxn ang="0">
                  <a:pos x="2" y="24"/>
                </a:cxn>
                <a:cxn ang="0">
                  <a:pos x="0" y="28"/>
                </a:cxn>
                <a:cxn ang="0">
                  <a:pos x="2" y="30"/>
                </a:cxn>
                <a:cxn ang="0">
                  <a:pos x="2" y="40"/>
                </a:cxn>
                <a:cxn ang="0">
                  <a:pos x="10" y="36"/>
                </a:cxn>
                <a:cxn ang="0">
                  <a:pos x="14" y="32"/>
                </a:cxn>
              </a:cxnLst>
              <a:rect l="0" t="0" r="r" b="b"/>
              <a:pathLst>
                <a:path w="36" h="40">
                  <a:moveTo>
                    <a:pt x="14" y="32"/>
                  </a:moveTo>
                  <a:lnTo>
                    <a:pt x="14" y="26"/>
                  </a:lnTo>
                  <a:lnTo>
                    <a:pt x="18" y="22"/>
                  </a:lnTo>
                  <a:lnTo>
                    <a:pt x="28" y="14"/>
                  </a:lnTo>
                  <a:lnTo>
                    <a:pt x="32" y="10"/>
                  </a:lnTo>
                  <a:lnTo>
                    <a:pt x="34" y="10"/>
                  </a:lnTo>
                  <a:lnTo>
                    <a:pt x="36" y="6"/>
                  </a:lnTo>
                  <a:lnTo>
                    <a:pt x="30" y="0"/>
                  </a:lnTo>
                  <a:lnTo>
                    <a:pt x="26" y="4"/>
                  </a:lnTo>
                  <a:lnTo>
                    <a:pt x="20" y="10"/>
                  </a:lnTo>
                  <a:lnTo>
                    <a:pt x="6" y="22"/>
                  </a:lnTo>
                  <a:lnTo>
                    <a:pt x="2" y="24"/>
                  </a:lnTo>
                  <a:lnTo>
                    <a:pt x="0" y="28"/>
                  </a:lnTo>
                  <a:lnTo>
                    <a:pt x="2" y="30"/>
                  </a:lnTo>
                  <a:lnTo>
                    <a:pt x="2" y="40"/>
                  </a:lnTo>
                  <a:lnTo>
                    <a:pt x="10" y="36"/>
                  </a:lnTo>
                  <a:lnTo>
                    <a:pt x="14" y="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5" name="Group 1996"/>
            <p:cNvGrpSpPr>
              <a:grpSpLocks/>
            </p:cNvGrpSpPr>
            <p:nvPr/>
          </p:nvGrpSpPr>
          <p:grpSpPr bwMode="auto">
            <a:xfrm rot="21000000">
              <a:off x="6623476" y="1817830"/>
              <a:ext cx="1256049" cy="1092852"/>
              <a:chOff x="1079" y="1460"/>
              <a:chExt cx="2166" cy="1946"/>
            </a:xfrm>
            <a:solidFill>
              <a:srgbClr val="B9B9B9"/>
            </a:solidFill>
          </p:grpSpPr>
          <p:sp>
            <p:nvSpPr>
              <p:cNvPr id="336" name="Freeform 1944"/>
              <p:cNvSpPr>
                <a:spLocks/>
              </p:cNvSpPr>
              <p:nvPr/>
            </p:nvSpPr>
            <p:spPr bwMode="auto">
              <a:xfrm>
                <a:off x="1079" y="1460"/>
                <a:ext cx="2166" cy="1946"/>
              </a:xfrm>
              <a:custGeom>
                <a:avLst/>
                <a:gdLst/>
                <a:ahLst/>
                <a:cxnLst>
                  <a:cxn ang="0">
                    <a:pos x="1314" y="426"/>
                  </a:cxn>
                  <a:cxn ang="0">
                    <a:pos x="1202" y="400"/>
                  </a:cxn>
                  <a:cxn ang="0">
                    <a:pos x="626" y="34"/>
                  </a:cxn>
                  <a:cxn ang="0">
                    <a:pos x="386" y="34"/>
                  </a:cxn>
                  <a:cxn ang="0">
                    <a:pos x="374" y="176"/>
                  </a:cxn>
                  <a:cxn ang="0">
                    <a:pos x="166" y="306"/>
                  </a:cxn>
                  <a:cxn ang="0">
                    <a:pos x="46" y="300"/>
                  </a:cxn>
                  <a:cxn ang="0">
                    <a:pos x="22" y="378"/>
                  </a:cxn>
                  <a:cxn ang="0">
                    <a:pos x="8" y="418"/>
                  </a:cxn>
                  <a:cxn ang="0">
                    <a:pos x="42" y="416"/>
                  </a:cxn>
                  <a:cxn ang="0">
                    <a:pos x="78" y="460"/>
                  </a:cxn>
                  <a:cxn ang="0">
                    <a:pos x="94" y="508"/>
                  </a:cxn>
                  <a:cxn ang="0">
                    <a:pos x="122" y="560"/>
                  </a:cxn>
                  <a:cxn ang="0">
                    <a:pos x="146" y="600"/>
                  </a:cxn>
                  <a:cxn ang="0">
                    <a:pos x="182" y="674"/>
                  </a:cxn>
                  <a:cxn ang="0">
                    <a:pos x="184" y="700"/>
                  </a:cxn>
                  <a:cxn ang="0">
                    <a:pos x="220" y="756"/>
                  </a:cxn>
                  <a:cxn ang="0">
                    <a:pos x="236" y="786"/>
                  </a:cxn>
                  <a:cxn ang="0">
                    <a:pos x="228" y="834"/>
                  </a:cxn>
                  <a:cxn ang="0">
                    <a:pos x="248" y="872"/>
                  </a:cxn>
                  <a:cxn ang="0">
                    <a:pos x="278" y="892"/>
                  </a:cxn>
                  <a:cxn ang="0">
                    <a:pos x="352" y="986"/>
                  </a:cxn>
                  <a:cxn ang="0">
                    <a:pos x="366" y="1020"/>
                  </a:cxn>
                  <a:cxn ang="0">
                    <a:pos x="384" y="1064"/>
                  </a:cxn>
                  <a:cxn ang="0">
                    <a:pos x="390" y="1140"/>
                  </a:cxn>
                  <a:cxn ang="0">
                    <a:pos x="396" y="1220"/>
                  </a:cxn>
                  <a:cxn ang="0">
                    <a:pos x="396" y="1270"/>
                  </a:cxn>
                  <a:cxn ang="0">
                    <a:pos x="420" y="1308"/>
                  </a:cxn>
                  <a:cxn ang="0">
                    <a:pos x="442" y="1352"/>
                  </a:cxn>
                  <a:cxn ang="0">
                    <a:pos x="494" y="1382"/>
                  </a:cxn>
                  <a:cxn ang="0">
                    <a:pos x="556" y="1438"/>
                  </a:cxn>
                  <a:cxn ang="0">
                    <a:pos x="582" y="1508"/>
                  </a:cxn>
                  <a:cxn ang="0">
                    <a:pos x="594" y="1544"/>
                  </a:cxn>
                  <a:cxn ang="0">
                    <a:pos x="618" y="1588"/>
                  </a:cxn>
                  <a:cxn ang="0">
                    <a:pos x="636" y="1634"/>
                  </a:cxn>
                  <a:cxn ang="0">
                    <a:pos x="688" y="1692"/>
                  </a:cxn>
                  <a:cxn ang="0">
                    <a:pos x="716" y="1764"/>
                  </a:cxn>
                  <a:cxn ang="0">
                    <a:pos x="742" y="1790"/>
                  </a:cxn>
                  <a:cxn ang="0">
                    <a:pos x="758" y="1832"/>
                  </a:cxn>
                  <a:cxn ang="0">
                    <a:pos x="798" y="1808"/>
                  </a:cxn>
                  <a:cxn ang="0">
                    <a:pos x="822" y="1720"/>
                  </a:cxn>
                  <a:cxn ang="0">
                    <a:pos x="860" y="1724"/>
                  </a:cxn>
                  <a:cxn ang="0">
                    <a:pos x="948" y="1732"/>
                  </a:cxn>
                  <a:cxn ang="0">
                    <a:pos x="1342" y="1738"/>
                  </a:cxn>
                  <a:cxn ang="0">
                    <a:pos x="2144" y="1288"/>
                  </a:cxn>
                  <a:cxn ang="0">
                    <a:pos x="1724" y="958"/>
                  </a:cxn>
                  <a:cxn ang="0">
                    <a:pos x="1698" y="954"/>
                  </a:cxn>
                  <a:cxn ang="0">
                    <a:pos x="1712" y="916"/>
                  </a:cxn>
                  <a:cxn ang="0">
                    <a:pos x="1688" y="916"/>
                  </a:cxn>
                  <a:cxn ang="0">
                    <a:pos x="1638" y="900"/>
                  </a:cxn>
                  <a:cxn ang="0">
                    <a:pos x="1616" y="848"/>
                  </a:cxn>
                  <a:cxn ang="0">
                    <a:pos x="1574" y="788"/>
                  </a:cxn>
                  <a:cxn ang="0">
                    <a:pos x="1574" y="778"/>
                  </a:cxn>
                  <a:cxn ang="0">
                    <a:pos x="1576" y="746"/>
                  </a:cxn>
                  <a:cxn ang="0">
                    <a:pos x="1566" y="704"/>
                  </a:cxn>
                  <a:cxn ang="0">
                    <a:pos x="1574" y="678"/>
                  </a:cxn>
                  <a:cxn ang="0">
                    <a:pos x="1522" y="636"/>
                  </a:cxn>
                  <a:cxn ang="0">
                    <a:pos x="1484" y="602"/>
                  </a:cxn>
                  <a:cxn ang="0">
                    <a:pos x="1466" y="580"/>
                  </a:cxn>
                  <a:cxn ang="0">
                    <a:pos x="1438" y="550"/>
                  </a:cxn>
                  <a:cxn ang="0">
                    <a:pos x="1418" y="512"/>
                  </a:cxn>
                </a:cxnLst>
                <a:rect l="0" t="0" r="r" b="b"/>
                <a:pathLst>
                  <a:path w="2166" h="1946">
                    <a:moveTo>
                      <a:pt x="1328" y="464"/>
                    </a:moveTo>
                    <a:lnTo>
                      <a:pt x="1320" y="454"/>
                    </a:lnTo>
                    <a:lnTo>
                      <a:pt x="1318" y="452"/>
                    </a:lnTo>
                    <a:lnTo>
                      <a:pt x="1316" y="444"/>
                    </a:lnTo>
                    <a:lnTo>
                      <a:pt x="1316" y="440"/>
                    </a:lnTo>
                    <a:lnTo>
                      <a:pt x="1316" y="436"/>
                    </a:lnTo>
                    <a:lnTo>
                      <a:pt x="1316" y="434"/>
                    </a:lnTo>
                    <a:lnTo>
                      <a:pt x="1314" y="426"/>
                    </a:lnTo>
                    <a:lnTo>
                      <a:pt x="1310" y="418"/>
                    </a:lnTo>
                    <a:lnTo>
                      <a:pt x="1306" y="412"/>
                    </a:lnTo>
                    <a:lnTo>
                      <a:pt x="1306" y="410"/>
                    </a:lnTo>
                    <a:lnTo>
                      <a:pt x="1258" y="402"/>
                    </a:lnTo>
                    <a:lnTo>
                      <a:pt x="1238" y="400"/>
                    </a:lnTo>
                    <a:lnTo>
                      <a:pt x="1218" y="396"/>
                    </a:lnTo>
                    <a:lnTo>
                      <a:pt x="1214" y="396"/>
                    </a:lnTo>
                    <a:lnTo>
                      <a:pt x="1202" y="400"/>
                    </a:lnTo>
                    <a:lnTo>
                      <a:pt x="1170" y="396"/>
                    </a:lnTo>
                    <a:lnTo>
                      <a:pt x="1030" y="378"/>
                    </a:lnTo>
                    <a:lnTo>
                      <a:pt x="944" y="296"/>
                    </a:lnTo>
                    <a:lnTo>
                      <a:pt x="874" y="228"/>
                    </a:lnTo>
                    <a:lnTo>
                      <a:pt x="860" y="216"/>
                    </a:lnTo>
                    <a:lnTo>
                      <a:pt x="782" y="142"/>
                    </a:lnTo>
                    <a:lnTo>
                      <a:pt x="720" y="108"/>
                    </a:lnTo>
                    <a:lnTo>
                      <a:pt x="626" y="34"/>
                    </a:lnTo>
                    <a:lnTo>
                      <a:pt x="594" y="24"/>
                    </a:lnTo>
                    <a:lnTo>
                      <a:pt x="538" y="8"/>
                    </a:lnTo>
                    <a:lnTo>
                      <a:pt x="510" y="0"/>
                    </a:lnTo>
                    <a:lnTo>
                      <a:pt x="498" y="10"/>
                    </a:lnTo>
                    <a:lnTo>
                      <a:pt x="490" y="14"/>
                    </a:lnTo>
                    <a:lnTo>
                      <a:pt x="438" y="24"/>
                    </a:lnTo>
                    <a:lnTo>
                      <a:pt x="388" y="34"/>
                    </a:lnTo>
                    <a:lnTo>
                      <a:pt x="386" y="34"/>
                    </a:lnTo>
                    <a:lnTo>
                      <a:pt x="360" y="38"/>
                    </a:lnTo>
                    <a:lnTo>
                      <a:pt x="336" y="42"/>
                    </a:lnTo>
                    <a:lnTo>
                      <a:pt x="310" y="48"/>
                    </a:lnTo>
                    <a:lnTo>
                      <a:pt x="290" y="52"/>
                    </a:lnTo>
                    <a:lnTo>
                      <a:pt x="314" y="88"/>
                    </a:lnTo>
                    <a:lnTo>
                      <a:pt x="330" y="112"/>
                    </a:lnTo>
                    <a:lnTo>
                      <a:pt x="336" y="122"/>
                    </a:lnTo>
                    <a:lnTo>
                      <a:pt x="374" y="176"/>
                    </a:lnTo>
                    <a:lnTo>
                      <a:pt x="340" y="192"/>
                    </a:lnTo>
                    <a:lnTo>
                      <a:pt x="318" y="230"/>
                    </a:lnTo>
                    <a:lnTo>
                      <a:pt x="310" y="230"/>
                    </a:lnTo>
                    <a:lnTo>
                      <a:pt x="272" y="234"/>
                    </a:lnTo>
                    <a:lnTo>
                      <a:pt x="242" y="236"/>
                    </a:lnTo>
                    <a:lnTo>
                      <a:pt x="214" y="276"/>
                    </a:lnTo>
                    <a:lnTo>
                      <a:pt x="188" y="292"/>
                    </a:lnTo>
                    <a:lnTo>
                      <a:pt x="166" y="306"/>
                    </a:lnTo>
                    <a:lnTo>
                      <a:pt x="114" y="290"/>
                    </a:lnTo>
                    <a:lnTo>
                      <a:pt x="80" y="280"/>
                    </a:lnTo>
                    <a:lnTo>
                      <a:pt x="58" y="272"/>
                    </a:lnTo>
                    <a:lnTo>
                      <a:pt x="56" y="274"/>
                    </a:lnTo>
                    <a:lnTo>
                      <a:pt x="50" y="288"/>
                    </a:lnTo>
                    <a:lnTo>
                      <a:pt x="50" y="292"/>
                    </a:lnTo>
                    <a:lnTo>
                      <a:pt x="46" y="298"/>
                    </a:lnTo>
                    <a:lnTo>
                      <a:pt x="46" y="300"/>
                    </a:lnTo>
                    <a:lnTo>
                      <a:pt x="38" y="326"/>
                    </a:lnTo>
                    <a:lnTo>
                      <a:pt x="38" y="328"/>
                    </a:lnTo>
                    <a:lnTo>
                      <a:pt x="30" y="352"/>
                    </a:lnTo>
                    <a:lnTo>
                      <a:pt x="30" y="354"/>
                    </a:lnTo>
                    <a:lnTo>
                      <a:pt x="30" y="364"/>
                    </a:lnTo>
                    <a:lnTo>
                      <a:pt x="28" y="370"/>
                    </a:lnTo>
                    <a:lnTo>
                      <a:pt x="26" y="372"/>
                    </a:lnTo>
                    <a:lnTo>
                      <a:pt x="22" y="378"/>
                    </a:lnTo>
                    <a:lnTo>
                      <a:pt x="20" y="382"/>
                    </a:lnTo>
                    <a:lnTo>
                      <a:pt x="14" y="392"/>
                    </a:lnTo>
                    <a:lnTo>
                      <a:pt x="8" y="404"/>
                    </a:lnTo>
                    <a:lnTo>
                      <a:pt x="2" y="408"/>
                    </a:lnTo>
                    <a:lnTo>
                      <a:pt x="0" y="412"/>
                    </a:lnTo>
                    <a:lnTo>
                      <a:pt x="4" y="422"/>
                    </a:lnTo>
                    <a:lnTo>
                      <a:pt x="6" y="420"/>
                    </a:lnTo>
                    <a:lnTo>
                      <a:pt x="8" y="418"/>
                    </a:lnTo>
                    <a:lnTo>
                      <a:pt x="8" y="414"/>
                    </a:lnTo>
                    <a:lnTo>
                      <a:pt x="12" y="410"/>
                    </a:lnTo>
                    <a:lnTo>
                      <a:pt x="14" y="410"/>
                    </a:lnTo>
                    <a:lnTo>
                      <a:pt x="28" y="420"/>
                    </a:lnTo>
                    <a:lnTo>
                      <a:pt x="34" y="420"/>
                    </a:lnTo>
                    <a:lnTo>
                      <a:pt x="36" y="418"/>
                    </a:lnTo>
                    <a:lnTo>
                      <a:pt x="40" y="418"/>
                    </a:lnTo>
                    <a:lnTo>
                      <a:pt x="42" y="416"/>
                    </a:lnTo>
                    <a:lnTo>
                      <a:pt x="50" y="418"/>
                    </a:lnTo>
                    <a:lnTo>
                      <a:pt x="58" y="426"/>
                    </a:lnTo>
                    <a:lnTo>
                      <a:pt x="60" y="432"/>
                    </a:lnTo>
                    <a:lnTo>
                      <a:pt x="64" y="436"/>
                    </a:lnTo>
                    <a:lnTo>
                      <a:pt x="70" y="444"/>
                    </a:lnTo>
                    <a:lnTo>
                      <a:pt x="72" y="448"/>
                    </a:lnTo>
                    <a:lnTo>
                      <a:pt x="74" y="450"/>
                    </a:lnTo>
                    <a:lnTo>
                      <a:pt x="78" y="460"/>
                    </a:lnTo>
                    <a:lnTo>
                      <a:pt x="86" y="478"/>
                    </a:lnTo>
                    <a:lnTo>
                      <a:pt x="86" y="482"/>
                    </a:lnTo>
                    <a:lnTo>
                      <a:pt x="86" y="486"/>
                    </a:lnTo>
                    <a:lnTo>
                      <a:pt x="86" y="488"/>
                    </a:lnTo>
                    <a:lnTo>
                      <a:pt x="88" y="492"/>
                    </a:lnTo>
                    <a:lnTo>
                      <a:pt x="88" y="494"/>
                    </a:lnTo>
                    <a:lnTo>
                      <a:pt x="90" y="500"/>
                    </a:lnTo>
                    <a:lnTo>
                      <a:pt x="94" y="508"/>
                    </a:lnTo>
                    <a:lnTo>
                      <a:pt x="96" y="512"/>
                    </a:lnTo>
                    <a:lnTo>
                      <a:pt x="106" y="518"/>
                    </a:lnTo>
                    <a:lnTo>
                      <a:pt x="112" y="530"/>
                    </a:lnTo>
                    <a:lnTo>
                      <a:pt x="112" y="534"/>
                    </a:lnTo>
                    <a:lnTo>
                      <a:pt x="110" y="536"/>
                    </a:lnTo>
                    <a:lnTo>
                      <a:pt x="112" y="544"/>
                    </a:lnTo>
                    <a:lnTo>
                      <a:pt x="120" y="556"/>
                    </a:lnTo>
                    <a:lnTo>
                      <a:pt x="122" y="560"/>
                    </a:lnTo>
                    <a:lnTo>
                      <a:pt x="128" y="566"/>
                    </a:lnTo>
                    <a:lnTo>
                      <a:pt x="132" y="570"/>
                    </a:lnTo>
                    <a:lnTo>
                      <a:pt x="132" y="572"/>
                    </a:lnTo>
                    <a:lnTo>
                      <a:pt x="132" y="576"/>
                    </a:lnTo>
                    <a:lnTo>
                      <a:pt x="136" y="588"/>
                    </a:lnTo>
                    <a:lnTo>
                      <a:pt x="138" y="590"/>
                    </a:lnTo>
                    <a:lnTo>
                      <a:pt x="140" y="592"/>
                    </a:lnTo>
                    <a:lnTo>
                      <a:pt x="146" y="600"/>
                    </a:lnTo>
                    <a:lnTo>
                      <a:pt x="154" y="620"/>
                    </a:lnTo>
                    <a:lnTo>
                      <a:pt x="168" y="656"/>
                    </a:lnTo>
                    <a:lnTo>
                      <a:pt x="168" y="662"/>
                    </a:lnTo>
                    <a:lnTo>
                      <a:pt x="170" y="666"/>
                    </a:lnTo>
                    <a:lnTo>
                      <a:pt x="172" y="670"/>
                    </a:lnTo>
                    <a:lnTo>
                      <a:pt x="176" y="672"/>
                    </a:lnTo>
                    <a:lnTo>
                      <a:pt x="178" y="672"/>
                    </a:lnTo>
                    <a:lnTo>
                      <a:pt x="182" y="674"/>
                    </a:lnTo>
                    <a:lnTo>
                      <a:pt x="184" y="674"/>
                    </a:lnTo>
                    <a:lnTo>
                      <a:pt x="186" y="676"/>
                    </a:lnTo>
                    <a:lnTo>
                      <a:pt x="188" y="678"/>
                    </a:lnTo>
                    <a:lnTo>
                      <a:pt x="188" y="682"/>
                    </a:lnTo>
                    <a:lnTo>
                      <a:pt x="188" y="686"/>
                    </a:lnTo>
                    <a:lnTo>
                      <a:pt x="184" y="692"/>
                    </a:lnTo>
                    <a:lnTo>
                      <a:pt x="182" y="696"/>
                    </a:lnTo>
                    <a:lnTo>
                      <a:pt x="184" y="700"/>
                    </a:lnTo>
                    <a:lnTo>
                      <a:pt x="184" y="706"/>
                    </a:lnTo>
                    <a:lnTo>
                      <a:pt x="188" y="710"/>
                    </a:lnTo>
                    <a:lnTo>
                      <a:pt x="194" y="714"/>
                    </a:lnTo>
                    <a:lnTo>
                      <a:pt x="196" y="710"/>
                    </a:lnTo>
                    <a:lnTo>
                      <a:pt x="198" y="712"/>
                    </a:lnTo>
                    <a:lnTo>
                      <a:pt x="208" y="724"/>
                    </a:lnTo>
                    <a:lnTo>
                      <a:pt x="220" y="750"/>
                    </a:lnTo>
                    <a:lnTo>
                      <a:pt x="220" y="756"/>
                    </a:lnTo>
                    <a:lnTo>
                      <a:pt x="220" y="758"/>
                    </a:lnTo>
                    <a:lnTo>
                      <a:pt x="220" y="762"/>
                    </a:lnTo>
                    <a:lnTo>
                      <a:pt x="224" y="768"/>
                    </a:lnTo>
                    <a:lnTo>
                      <a:pt x="228" y="776"/>
                    </a:lnTo>
                    <a:lnTo>
                      <a:pt x="230" y="778"/>
                    </a:lnTo>
                    <a:lnTo>
                      <a:pt x="232" y="780"/>
                    </a:lnTo>
                    <a:lnTo>
                      <a:pt x="234" y="784"/>
                    </a:lnTo>
                    <a:lnTo>
                      <a:pt x="236" y="786"/>
                    </a:lnTo>
                    <a:lnTo>
                      <a:pt x="236" y="806"/>
                    </a:lnTo>
                    <a:lnTo>
                      <a:pt x="232" y="818"/>
                    </a:lnTo>
                    <a:lnTo>
                      <a:pt x="230" y="818"/>
                    </a:lnTo>
                    <a:lnTo>
                      <a:pt x="228" y="820"/>
                    </a:lnTo>
                    <a:lnTo>
                      <a:pt x="226" y="820"/>
                    </a:lnTo>
                    <a:lnTo>
                      <a:pt x="222" y="820"/>
                    </a:lnTo>
                    <a:lnTo>
                      <a:pt x="220" y="820"/>
                    </a:lnTo>
                    <a:lnTo>
                      <a:pt x="228" y="834"/>
                    </a:lnTo>
                    <a:lnTo>
                      <a:pt x="230" y="836"/>
                    </a:lnTo>
                    <a:lnTo>
                      <a:pt x="236" y="842"/>
                    </a:lnTo>
                    <a:lnTo>
                      <a:pt x="236" y="844"/>
                    </a:lnTo>
                    <a:lnTo>
                      <a:pt x="240" y="852"/>
                    </a:lnTo>
                    <a:lnTo>
                      <a:pt x="240" y="854"/>
                    </a:lnTo>
                    <a:lnTo>
                      <a:pt x="242" y="856"/>
                    </a:lnTo>
                    <a:lnTo>
                      <a:pt x="248" y="868"/>
                    </a:lnTo>
                    <a:lnTo>
                      <a:pt x="248" y="872"/>
                    </a:lnTo>
                    <a:lnTo>
                      <a:pt x="246" y="876"/>
                    </a:lnTo>
                    <a:lnTo>
                      <a:pt x="250" y="884"/>
                    </a:lnTo>
                    <a:lnTo>
                      <a:pt x="254" y="888"/>
                    </a:lnTo>
                    <a:lnTo>
                      <a:pt x="260" y="892"/>
                    </a:lnTo>
                    <a:lnTo>
                      <a:pt x="262" y="892"/>
                    </a:lnTo>
                    <a:lnTo>
                      <a:pt x="264" y="890"/>
                    </a:lnTo>
                    <a:lnTo>
                      <a:pt x="268" y="888"/>
                    </a:lnTo>
                    <a:lnTo>
                      <a:pt x="278" y="892"/>
                    </a:lnTo>
                    <a:lnTo>
                      <a:pt x="288" y="904"/>
                    </a:lnTo>
                    <a:lnTo>
                      <a:pt x="302" y="914"/>
                    </a:lnTo>
                    <a:lnTo>
                      <a:pt x="310" y="918"/>
                    </a:lnTo>
                    <a:lnTo>
                      <a:pt x="314" y="922"/>
                    </a:lnTo>
                    <a:lnTo>
                      <a:pt x="324" y="932"/>
                    </a:lnTo>
                    <a:lnTo>
                      <a:pt x="344" y="954"/>
                    </a:lnTo>
                    <a:lnTo>
                      <a:pt x="348" y="966"/>
                    </a:lnTo>
                    <a:lnTo>
                      <a:pt x="352" y="986"/>
                    </a:lnTo>
                    <a:lnTo>
                      <a:pt x="356" y="986"/>
                    </a:lnTo>
                    <a:lnTo>
                      <a:pt x="362" y="994"/>
                    </a:lnTo>
                    <a:lnTo>
                      <a:pt x="364" y="998"/>
                    </a:lnTo>
                    <a:lnTo>
                      <a:pt x="364" y="1000"/>
                    </a:lnTo>
                    <a:lnTo>
                      <a:pt x="366" y="1002"/>
                    </a:lnTo>
                    <a:lnTo>
                      <a:pt x="366" y="1008"/>
                    </a:lnTo>
                    <a:lnTo>
                      <a:pt x="366" y="1014"/>
                    </a:lnTo>
                    <a:lnTo>
                      <a:pt x="366" y="1020"/>
                    </a:lnTo>
                    <a:lnTo>
                      <a:pt x="372" y="1028"/>
                    </a:lnTo>
                    <a:lnTo>
                      <a:pt x="380" y="1052"/>
                    </a:lnTo>
                    <a:lnTo>
                      <a:pt x="384" y="1054"/>
                    </a:lnTo>
                    <a:lnTo>
                      <a:pt x="388" y="1060"/>
                    </a:lnTo>
                    <a:lnTo>
                      <a:pt x="390" y="1066"/>
                    </a:lnTo>
                    <a:lnTo>
                      <a:pt x="388" y="1068"/>
                    </a:lnTo>
                    <a:lnTo>
                      <a:pt x="384" y="1066"/>
                    </a:lnTo>
                    <a:lnTo>
                      <a:pt x="384" y="1064"/>
                    </a:lnTo>
                    <a:lnTo>
                      <a:pt x="382" y="1058"/>
                    </a:lnTo>
                    <a:lnTo>
                      <a:pt x="378" y="1058"/>
                    </a:lnTo>
                    <a:lnTo>
                      <a:pt x="382" y="1066"/>
                    </a:lnTo>
                    <a:lnTo>
                      <a:pt x="388" y="1076"/>
                    </a:lnTo>
                    <a:lnTo>
                      <a:pt x="388" y="1078"/>
                    </a:lnTo>
                    <a:lnTo>
                      <a:pt x="398" y="1098"/>
                    </a:lnTo>
                    <a:lnTo>
                      <a:pt x="400" y="1122"/>
                    </a:lnTo>
                    <a:lnTo>
                      <a:pt x="390" y="1140"/>
                    </a:lnTo>
                    <a:lnTo>
                      <a:pt x="388" y="1152"/>
                    </a:lnTo>
                    <a:lnTo>
                      <a:pt x="384" y="1184"/>
                    </a:lnTo>
                    <a:lnTo>
                      <a:pt x="386" y="1186"/>
                    </a:lnTo>
                    <a:lnTo>
                      <a:pt x="386" y="1190"/>
                    </a:lnTo>
                    <a:lnTo>
                      <a:pt x="390" y="1198"/>
                    </a:lnTo>
                    <a:lnTo>
                      <a:pt x="392" y="1206"/>
                    </a:lnTo>
                    <a:lnTo>
                      <a:pt x="392" y="1210"/>
                    </a:lnTo>
                    <a:lnTo>
                      <a:pt x="396" y="1220"/>
                    </a:lnTo>
                    <a:lnTo>
                      <a:pt x="398" y="1224"/>
                    </a:lnTo>
                    <a:lnTo>
                      <a:pt x="398" y="1228"/>
                    </a:lnTo>
                    <a:lnTo>
                      <a:pt x="398" y="1232"/>
                    </a:lnTo>
                    <a:lnTo>
                      <a:pt x="398" y="1234"/>
                    </a:lnTo>
                    <a:lnTo>
                      <a:pt x="396" y="1238"/>
                    </a:lnTo>
                    <a:lnTo>
                      <a:pt x="390" y="1248"/>
                    </a:lnTo>
                    <a:lnTo>
                      <a:pt x="394" y="1264"/>
                    </a:lnTo>
                    <a:lnTo>
                      <a:pt x="396" y="1270"/>
                    </a:lnTo>
                    <a:lnTo>
                      <a:pt x="404" y="1288"/>
                    </a:lnTo>
                    <a:lnTo>
                      <a:pt x="412" y="1298"/>
                    </a:lnTo>
                    <a:lnTo>
                      <a:pt x="416" y="1302"/>
                    </a:lnTo>
                    <a:lnTo>
                      <a:pt x="420" y="1302"/>
                    </a:lnTo>
                    <a:lnTo>
                      <a:pt x="422" y="1304"/>
                    </a:lnTo>
                    <a:lnTo>
                      <a:pt x="424" y="1308"/>
                    </a:lnTo>
                    <a:lnTo>
                      <a:pt x="422" y="1308"/>
                    </a:lnTo>
                    <a:lnTo>
                      <a:pt x="420" y="1308"/>
                    </a:lnTo>
                    <a:lnTo>
                      <a:pt x="420" y="1312"/>
                    </a:lnTo>
                    <a:lnTo>
                      <a:pt x="422" y="1314"/>
                    </a:lnTo>
                    <a:lnTo>
                      <a:pt x="426" y="1318"/>
                    </a:lnTo>
                    <a:lnTo>
                      <a:pt x="432" y="1330"/>
                    </a:lnTo>
                    <a:lnTo>
                      <a:pt x="434" y="1336"/>
                    </a:lnTo>
                    <a:lnTo>
                      <a:pt x="436" y="1342"/>
                    </a:lnTo>
                    <a:lnTo>
                      <a:pt x="440" y="1348"/>
                    </a:lnTo>
                    <a:lnTo>
                      <a:pt x="442" y="1352"/>
                    </a:lnTo>
                    <a:lnTo>
                      <a:pt x="456" y="1364"/>
                    </a:lnTo>
                    <a:lnTo>
                      <a:pt x="466" y="1370"/>
                    </a:lnTo>
                    <a:lnTo>
                      <a:pt x="468" y="1370"/>
                    </a:lnTo>
                    <a:lnTo>
                      <a:pt x="474" y="1372"/>
                    </a:lnTo>
                    <a:lnTo>
                      <a:pt x="484" y="1372"/>
                    </a:lnTo>
                    <a:lnTo>
                      <a:pt x="488" y="1374"/>
                    </a:lnTo>
                    <a:lnTo>
                      <a:pt x="492" y="1378"/>
                    </a:lnTo>
                    <a:lnTo>
                      <a:pt x="494" y="1382"/>
                    </a:lnTo>
                    <a:lnTo>
                      <a:pt x="506" y="1394"/>
                    </a:lnTo>
                    <a:lnTo>
                      <a:pt x="512" y="1398"/>
                    </a:lnTo>
                    <a:lnTo>
                      <a:pt x="524" y="1408"/>
                    </a:lnTo>
                    <a:lnTo>
                      <a:pt x="530" y="1412"/>
                    </a:lnTo>
                    <a:lnTo>
                      <a:pt x="546" y="1434"/>
                    </a:lnTo>
                    <a:lnTo>
                      <a:pt x="548" y="1434"/>
                    </a:lnTo>
                    <a:lnTo>
                      <a:pt x="554" y="1434"/>
                    </a:lnTo>
                    <a:lnTo>
                      <a:pt x="556" y="1438"/>
                    </a:lnTo>
                    <a:lnTo>
                      <a:pt x="558" y="1444"/>
                    </a:lnTo>
                    <a:lnTo>
                      <a:pt x="560" y="1448"/>
                    </a:lnTo>
                    <a:lnTo>
                      <a:pt x="560" y="1450"/>
                    </a:lnTo>
                    <a:lnTo>
                      <a:pt x="558" y="1456"/>
                    </a:lnTo>
                    <a:lnTo>
                      <a:pt x="556" y="1456"/>
                    </a:lnTo>
                    <a:lnTo>
                      <a:pt x="564" y="1466"/>
                    </a:lnTo>
                    <a:lnTo>
                      <a:pt x="574" y="1476"/>
                    </a:lnTo>
                    <a:lnTo>
                      <a:pt x="582" y="1508"/>
                    </a:lnTo>
                    <a:lnTo>
                      <a:pt x="584" y="1512"/>
                    </a:lnTo>
                    <a:lnTo>
                      <a:pt x="588" y="1516"/>
                    </a:lnTo>
                    <a:lnTo>
                      <a:pt x="590" y="1518"/>
                    </a:lnTo>
                    <a:lnTo>
                      <a:pt x="594" y="1518"/>
                    </a:lnTo>
                    <a:lnTo>
                      <a:pt x="596" y="1522"/>
                    </a:lnTo>
                    <a:lnTo>
                      <a:pt x="592" y="1530"/>
                    </a:lnTo>
                    <a:lnTo>
                      <a:pt x="592" y="1536"/>
                    </a:lnTo>
                    <a:lnTo>
                      <a:pt x="594" y="1544"/>
                    </a:lnTo>
                    <a:lnTo>
                      <a:pt x="598" y="1544"/>
                    </a:lnTo>
                    <a:lnTo>
                      <a:pt x="602" y="1550"/>
                    </a:lnTo>
                    <a:lnTo>
                      <a:pt x="598" y="1558"/>
                    </a:lnTo>
                    <a:lnTo>
                      <a:pt x="598" y="1564"/>
                    </a:lnTo>
                    <a:lnTo>
                      <a:pt x="602" y="1574"/>
                    </a:lnTo>
                    <a:lnTo>
                      <a:pt x="610" y="1578"/>
                    </a:lnTo>
                    <a:lnTo>
                      <a:pt x="612" y="1580"/>
                    </a:lnTo>
                    <a:lnTo>
                      <a:pt x="618" y="1588"/>
                    </a:lnTo>
                    <a:lnTo>
                      <a:pt x="622" y="1592"/>
                    </a:lnTo>
                    <a:lnTo>
                      <a:pt x="622" y="1600"/>
                    </a:lnTo>
                    <a:lnTo>
                      <a:pt x="622" y="1604"/>
                    </a:lnTo>
                    <a:lnTo>
                      <a:pt x="622" y="1608"/>
                    </a:lnTo>
                    <a:lnTo>
                      <a:pt x="624" y="1612"/>
                    </a:lnTo>
                    <a:lnTo>
                      <a:pt x="628" y="1620"/>
                    </a:lnTo>
                    <a:lnTo>
                      <a:pt x="630" y="1626"/>
                    </a:lnTo>
                    <a:lnTo>
                      <a:pt x="636" y="1634"/>
                    </a:lnTo>
                    <a:lnTo>
                      <a:pt x="636" y="1638"/>
                    </a:lnTo>
                    <a:lnTo>
                      <a:pt x="644" y="1654"/>
                    </a:lnTo>
                    <a:lnTo>
                      <a:pt x="650" y="1660"/>
                    </a:lnTo>
                    <a:lnTo>
                      <a:pt x="650" y="1662"/>
                    </a:lnTo>
                    <a:lnTo>
                      <a:pt x="656" y="1668"/>
                    </a:lnTo>
                    <a:lnTo>
                      <a:pt x="662" y="1672"/>
                    </a:lnTo>
                    <a:lnTo>
                      <a:pt x="664" y="1670"/>
                    </a:lnTo>
                    <a:lnTo>
                      <a:pt x="688" y="1692"/>
                    </a:lnTo>
                    <a:lnTo>
                      <a:pt x="698" y="1704"/>
                    </a:lnTo>
                    <a:lnTo>
                      <a:pt x="710" y="1716"/>
                    </a:lnTo>
                    <a:lnTo>
                      <a:pt x="712" y="1722"/>
                    </a:lnTo>
                    <a:lnTo>
                      <a:pt x="712" y="1730"/>
                    </a:lnTo>
                    <a:lnTo>
                      <a:pt x="712" y="1738"/>
                    </a:lnTo>
                    <a:lnTo>
                      <a:pt x="712" y="1746"/>
                    </a:lnTo>
                    <a:lnTo>
                      <a:pt x="714" y="1758"/>
                    </a:lnTo>
                    <a:lnTo>
                      <a:pt x="716" y="1764"/>
                    </a:lnTo>
                    <a:lnTo>
                      <a:pt x="714" y="1754"/>
                    </a:lnTo>
                    <a:lnTo>
                      <a:pt x="720" y="1754"/>
                    </a:lnTo>
                    <a:lnTo>
                      <a:pt x="732" y="1766"/>
                    </a:lnTo>
                    <a:lnTo>
                      <a:pt x="734" y="1768"/>
                    </a:lnTo>
                    <a:lnTo>
                      <a:pt x="734" y="1776"/>
                    </a:lnTo>
                    <a:lnTo>
                      <a:pt x="734" y="1784"/>
                    </a:lnTo>
                    <a:lnTo>
                      <a:pt x="738" y="1788"/>
                    </a:lnTo>
                    <a:lnTo>
                      <a:pt x="742" y="1790"/>
                    </a:lnTo>
                    <a:lnTo>
                      <a:pt x="744" y="1792"/>
                    </a:lnTo>
                    <a:lnTo>
                      <a:pt x="748" y="1794"/>
                    </a:lnTo>
                    <a:lnTo>
                      <a:pt x="754" y="1808"/>
                    </a:lnTo>
                    <a:lnTo>
                      <a:pt x="754" y="1814"/>
                    </a:lnTo>
                    <a:lnTo>
                      <a:pt x="752" y="1816"/>
                    </a:lnTo>
                    <a:lnTo>
                      <a:pt x="752" y="1820"/>
                    </a:lnTo>
                    <a:lnTo>
                      <a:pt x="752" y="1824"/>
                    </a:lnTo>
                    <a:lnTo>
                      <a:pt x="758" y="1832"/>
                    </a:lnTo>
                    <a:lnTo>
                      <a:pt x="758" y="1842"/>
                    </a:lnTo>
                    <a:lnTo>
                      <a:pt x="762" y="1842"/>
                    </a:lnTo>
                    <a:lnTo>
                      <a:pt x="772" y="1838"/>
                    </a:lnTo>
                    <a:lnTo>
                      <a:pt x="788" y="1824"/>
                    </a:lnTo>
                    <a:lnTo>
                      <a:pt x="790" y="1822"/>
                    </a:lnTo>
                    <a:lnTo>
                      <a:pt x="792" y="1818"/>
                    </a:lnTo>
                    <a:lnTo>
                      <a:pt x="794" y="1810"/>
                    </a:lnTo>
                    <a:lnTo>
                      <a:pt x="798" y="1808"/>
                    </a:lnTo>
                    <a:lnTo>
                      <a:pt x="806" y="1810"/>
                    </a:lnTo>
                    <a:lnTo>
                      <a:pt x="806" y="1806"/>
                    </a:lnTo>
                    <a:lnTo>
                      <a:pt x="802" y="1792"/>
                    </a:lnTo>
                    <a:lnTo>
                      <a:pt x="798" y="1782"/>
                    </a:lnTo>
                    <a:lnTo>
                      <a:pt x="802" y="1758"/>
                    </a:lnTo>
                    <a:lnTo>
                      <a:pt x="808" y="1734"/>
                    </a:lnTo>
                    <a:lnTo>
                      <a:pt x="816" y="1726"/>
                    </a:lnTo>
                    <a:lnTo>
                      <a:pt x="822" y="1720"/>
                    </a:lnTo>
                    <a:lnTo>
                      <a:pt x="824" y="1718"/>
                    </a:lnTo>
                    <a:lnTo>
                      <a:pt x="828" y="1716"/>
                    </a:lnTo>
                    <a:lnTo>
                      <a:pt x="832" y="1714"/>
                    </a:lnTo>
                    <a:lnTo>
                      <a:pt x="836" y="1714"/>
                    </a:lnTo>
                    <a:lnTo>
                      <a:pt x="844" y="1714"/>
                    </a:lnTo>
                    <a:lnTo>
                      <a:pt x="856" y="1720"/>
                    </a:lnTo>
                    <a:lnTo>
                      <a:pt x="858" y="1722"/>
                    </a:lnTo>
                    <a:lnTo>
                      <a:pt x="860" y="1724"/>
                    </a:lnTo>
                    <a:lnTo>
                      <a:pt x="860" y="1726"/>
                    </a:lnTo>
                    <a:lnTo>
                      <a:pt x="868" y="1734"/>
                    </a:lnTo>
                    <a:lnTo>
                      <a:pt x="870" y="1736"/>
                    </a:lnTo>
                    <a:lnTo>
                      <a:pt x="890" y="1742"/>
                    </a:lnTo>
                    <a:lnTo>
                      <a:pt x="906" y="1738"/>
                    </a:lnTo>
                    <a:lnTo>
                      <a:pt x="918" y="1730"/>
                    </a:lnTo>
                    <a:lnTo>
                      <a:pt x="940" y="1730"/>
                    </a:lnTo>
                    <a:lnTo>
                      <a:pt x="948" y="1732"/>
                    </a:lnTo>
                    <a:lnTo>
                      <a:pt x="952" y="1734"/>
                    </a:lnTo>
                    <a:lnTo>
                      <a:pt x="1006" y="1758"/>
                    </a:lnTo>
                    <a:lnTo>
                      <a:pt x="1058" y="1782"/>
                    </a:lnTo>
                    <a:lnTo>
                      <a:pt x="1152" y="1824"/>
                    </a:lnTo>
                    <a:lnTo>
                      <a:pt x="1150" y="1922"/>
                    </a:lnTo>
                    <a:lnTo>
                      <a:pt x="1150" y="1946"/>
                    </a:lnTo>
                    <a:lnTo>
                      <a:pt x="1268" y="1818"/>
                    </a:lnTo>
                    <a:lnTo>
                      <a:pt x="1342" y="1738"/>
                    </a:lnTo>
                    <a:lnTo>
                      <a:pt x="1424" y="1646"/>
                    </a:lnTo>
                    <a:lnTo>
                      <a:pt x="1560" y="1614"/>
                    </a:lnTo>
                    <a:lnTo>
                      <a:pt x="1694" y="1582"/>
                    </a:lnTo>
                    <a:lnTo>
                      <a:pt x="1778" y="1560"/>
                    </a:lnTo>
                    <a:lnTo>
                      <a:pt x="1888" y="1520"/>
                    </a:lnTo>
                    <a:lnTo>
                      <a:pt x="1996" y="1478"/>
                    </a:lnTo>
                    <a:lnTo>
                      <a:pt x="2104" y="1436"/>
                    </a:lnTo>
                    <a:lnTo>
                      <a:pt x="2144" y="1288"/>
                    </a:lnTo>
                    <a:lnTo>
                      <a:pt x="2166" y="1204"/>
                    </a:lnTo>
                    <a:lnTo>
                      <a:pt x="2114" y="1124"/>
                    </a:lnTo>
                    <a:lnTo>
                      <a:pt x="2108" y="1134"/>
                    </a:lnTo>
                    <a:lnTo>
                      <a:pt x="1970" y="1120"/>
                    </a:lnTo>
                    <a:lnTo>
                      <a:pt x="1834" y="1106"/>
                    </a:lnTo>
                    <a:lnTo>
                      <a:pt x="1726" y="972"/>
                    </a:lnTo>
                    <a:lnTo>
                      <a:pt x="1726" y="956"/>
                    </a:lnTo>
                    <a:lnTo>
                      <a:pt x="1724" y="958"/>
                    </a:lnTo>
                    <a:lnTo>
                      <a:pt x="1722" y="956"/>
                    </a:lnTo>
                    <a:lnTo>
                      <a:pt x="1718" y="952"/>
                    </a:lnTo>
                    <a:lnTo>
                      <a:pt x="1714" y="950"/>
                    </a:lnTo>
                    <a:lnTo>
                      <a:pt x="1712" y="950"/>
                    </a:lnTo>
                    <a:lnTo>
                      <a:pt x="1708" y="950"/>
                    </a:lnTo>
                    <a:lnTo>
                      <a:pt x="1706" y="950"/>
                    </a:lnTo>
                    <a:lnTo>
                      <a:pt x="1702" y="954"/>
                    </a:lnTo>
                    <a:lnTo>
                      <a:pt x="1698" y="954"/>
                    </a:lnTo>
                    <a:lnTo>
                      <a:pt x="1694" y="952"/>
                    </a:lnTo>
                    <a:lnTo>
                      <a:pt x="1694" y="948"/>
                    </a:lnTo>
                    <a:lnTo>
                      <a:pt x="1698" y="940"/>
                    </a:lnTo>
                    <a:lnTo>
                      <a:pt x="1698" y="938"/>
                    </a:lnTo>
                    <a:lnTo>
                      <a:pt x="1700" y="936"/>
                    </a:lnTo>
                    <a:lnTo>
                      <a:pt x="1708" y="928"/>
                    </a:lnTo>
                    <a:lnTo>
                      <a:pt x="1716" y="920"/>
                    </a:lnTo>
                    <a:lnTo>
                      <a:pt x="1712" y="916"/>
                    </a:lnTo>
                    <a:lnTo>
                      <a:pt x="1706" y="916"/>
                    </a:lnTo>
                    <a:lnTo>
                      <a:pt x="1706" y="918"/>
                    </a:lnTo>
                    <a:lnTo>
                      <a:pt x="1702" y="924"/>
                    </a:lnTo>
                    <a:lnTo>
                      <a:pt x="1696" y="926"/>
                    </a:lnTo>
                    <a:lnTo>
                      <a:pt x="1696" y="922"/>
                    </a:lnTo>
                    <a:lnTo>
                      <a:pt x="1698" y="918"/>
                    </a:lnTo>
                    <a:lnTo>
                      <a:pt x="1692" y="916"/>
                    </a:lnTo>
                    <a:lnTo>
                      <a:pt x="1688" y="916"/>
                    </a:lnTo>
                    <a:lnTo>
                      <a:pt x="1686" y="916"/>
                    </a:lnTo>
                    <a:lnTo>
                      <a:pt x="1684" y="920"/>
                    </a:lnTo>
                    <a:lnTo>
                      <a:pt x="1678" y="922"/>
                    </a:lnTo>
                    <a:lnTo>
                      <a:pt x="1662" y="920"/>
                    </a:lnTo>
                    <a:lnTo>
                      <a:pt x="1650" y="908"/>
                    </a:lnTo>
                    <a:lnTo>
                      <a:pt x="1648" y="900"/>
                    </a:lnTo>
                    <a:lnTo>
                      <a:pt x="1642" y="904"/>
                    </a:lnTo>
                    <a:lnTo>
                      <a:pt x="1638" y="900"/>
                    </a:lnTo>
                    <a:lnTo>
                      <a:pt x="1638" y="896"/>
                    </a:lnTo>
                    <a:lnTo>
                      <a:pt x="1636" y="886"/>
                    </a:lnTo>
                    <a:lnTo>
                      <a:pt x="1628" y="872"/>
                    </a:lnTo>
                    <a:lnTo>
                      <a:pt x="1624" y="868"/>
                    </a:lnTo>
                    <a:lnTo>
                      <a:pt x="1620" y="866"/>
                    </a:lnTo>
                    <a:lnTo>
                      <a:pt x="1620" y="868"/>
                    </a:lnTo>
                    <a:lnTo>
                      <a:pt x="1618" y="866"/>
                    </a:lnTo>
                    <a:lnTo>
                      <a:pt x="1616" y="848"/>
                    </a:lnTo>
                    <a:lnTo>
                      <a:pt x="1616" y="840"/>
                    </a:lnTo>
                    <a:lnTo>
                      <a:pt x="1610" y="824"/>
                    </a:lnTo>
                    <a:lnTo>
                      <a:pt x="1608" y="822"/>
                    </a:lnTo>
                    <a:lnTo>
                      <a:pt x="1598" y="820"/>
                    </a:lnTo>
                    <a:lnTo>
                      <a:pt x="1596" y="818"/>
                    </a:lnTo>
                    <a:lnTo>
                      <a:pt x="1592" y="812"/>
                    </a:lnTo>
                    <a:lnTo>
                      <a:pt x="1576" y="792"/>
                    </a:lnTo>
                    <a:lnTo>
                      <a:pt x="1574" y="788"/>
                    </a:lnTo>
                    <a:lnTo>
                      <a:pt x="1578" y="790"/>
                    </a:lnTo>
                    <a:lnTo>
                      <a:pt x="1584" y="794"/>
                    </a:lnTo>
                    <a:lnTo>
                      <a:pt x="1584" y="798"/>
                    </a:lnTo>
                    <a:lnTo>
                      <a:pt x="1586" y="800"/>
                    </a:lnTo>
                    <a:lnTo>
                      <a:pt x="1588" y="796"/>
                    </a:lnTo>
                    <a:lnTo>
                      <a:pt x="1582" y="788"/>
                    </a:lnTo>
                    <a:lnTo>
                      <a:pt x="1578" y="784"/>
                    </a:lnTo>
                    <a:lnTo>
                      <a:pt x="1574" y="778"/>
                    </a:lnTo>
                    <a:lnTo>
                      <a:pt x="1572" y="772"/>
                    </a:lnTo>
                    <a:lnTo>
                      <a:pt x="1572" y="768"/>
                    </a:lnTo>
                    <a:lnTo>
                      <a:pt x="1560" y="756"/>
                    </a:lnTo>
                    <a:lnTo>
                      <a:pt x="1558" y="742"/>
                    </a:lnTo>
                    <a:lnTo>
                      <a:pt x="1564" y="736"/>
                    </a:lnTo>
                    <a:lnTo>
                      <a:pt x="1566" y="736"/>
                    </a:lnTo>
                    <a:lnTo>
                      <a:pt x="1572" y="748"/>
                    </a:lnTo>
                    <a:lnTo>
                      <a:pt x="1576" y="746"/>
                    </a:lnTo>
                    <a:lnTo>
                      <a:pt x="1582" y="736"/>
                    </a:lnTo>
                    <a:lnTo>
                      <a:pt x="1582" y="734"/>
                    </a:lnTo>
                    <a:lnTo>
                      <a:pt x="1584" y="724"/>
                    </a:lnTo>
                    <a:lnTo>
                      <a:pt x="1582" y="714"/>
                    </a:lnTo>
                    <a:lnTo>
                      <a:pt x="1578" y="708"/>
                    </a:lnTo>
                    <a:lnTo>
                      <a:pt x="1572" y="706"/>
                    </a:lnTo>
                    <a:lnTo>
                      <a:pt x="1568" y="706"/>
                    </a:lnTo>
                    <a:lnTo>
                      <a:pt x="1566" y="704"/>
                    </a:lnTo>
                    <a:lnTo>
                      <a:pt x="1560" y="692"/>
                    </a:lnTo>
                    <a:lnTo>
                      <a:pt x="1558" y="680"/>
                    </a:lnTo>
                    <a:lnTo>
                      <a:pt x="1558" y="676"/>
                    </a:lnTo>
                    <a:lnTo>
                      <a:pt x="1560" y="672"/>
                    </a:lnTo>
                    <a:lnTo>
                      <a:pt x="1568" y="678"/>
                    </a:lnTo>
                    <a:lnTo>
                      <a:pt x="1576" y="684"/>
                    </a:lnTo>
                    <a:lnTo>
                      <a:pt x="1576" y="682"/>
                    </a:lnTo>
                    <a:lnTo>
                      <a:pt x="1574" y="678"/>
                    </a:lnTo>
                    <a:lnTo>
                      <a:pt x="1556" y="660"/>
                    </a:lnTo>
                    <a:lnTo>
                      <a:pt x="1550" y="658"/>
                    </a:lnTo>
                    <a:lnTo>
                      <a:pt x="1546" y="658"/>
                    </a:lnTo>
                    <a:lnTo>
                      <a:pt x="1540" y="656"/>
                    </a:lnTo>
                    <a:lnTo>
                      <a:pt x="1538" y="654"/>
                    </a:lnTo>
                    <a:lnTo>
                      <a:pt x="1530" y="648"/>
                    </a:lnTo>
                    <a:lnTo>
                      <a:pt x="1526" y="644"/>
                    </a:lnTo>
                    <a:lnTo>
                      <a:pt x="1522" y="636"/>
                    </a:lnTo>
                    <a:lnTo>
                      <a:pt x="1514" y="622"/>
                    </a:lnTo>
                    <a:lnTo>
                      <a:pt x="1510" y="622"/>
                    </a:lnTo>
                    <a:lnTo>
                      <a:pt x="1508" y="624"/>
                    </a:lnTo>
                    <a:lnTo>
                      <a:pt x="1506" y="626"/>
                    </a:lnTo>
                    <a:lnTo>
                      <a:pt x="1504" y="626"/>
                    </a:lnTo>
                    <a:lnTo>
                      <a:pt x="1500" y="628"/>
                    </a:lnTo>
                    <a:lnTo>
                      <a:pt x="1498" y="624"/>
                    </a:lnTo>
                    <a:lnTo>
                      <a:pt x="1484" y="602"/>
                    </a:lnTo>
                    <a:lnTo>
                      <a:pt x="1472" y="592"/>
                    </a:lnTo>
                    <a:lnTo>
                      <a:pt x="1476" y="590"/>
                    </a:lnTo>
                    <a:lnTo>
                      <a:pt x="1482" y="590"/>
                    </a:lnTo>
                    <a:lnTo>
                      <a:pt x="1490" y="592"/>
                    </a:lnTo>
                    <a:lnTo>
                      <a:pt x="1488" y="586"/>
                    </a:lnTo>
                    <a:lnTo>
                      <a:pt x="1482" y="580"/>
                    </a:lnTo>
                    <a:lnTo>
                      <a:pt x="1476" y="578"/>
                    </a:lnTo>
                    <a:lnTo>
                      <a:pt x="1466" y="580"/>
                    </a:lnTo>
                    <a:lnTo>
                      <a:pt x="1464" y="580"/>
                    </a:lnTo>
                    <a:lnTo>
                      <a:pt x="1460" y="574"/>
                    </a:lnTo>
                    <a:lnTo>
                      <a:pt x="1456" y="572"/>
                    </a:lnTo>
                    <a:lnTo>
                      <a:pt x="1454" y="570"/>
                    </a:lnTo>
                    <a:lnTo>
                      <a:pt x="1450" y="572"/>
                    </a:lnTo>
                    <a:lnTo>
                      <a:pt x="1442" y="570"/>
                    </a:lnTo>
                    <a:lnTo>
                      <a:pt x="1436" y="556"/>
                    </a:lnTo>
                    <a:lnTo>
                      <a:pt x="1438" y="550"/>
                    </a:lnTo>
                    <a:lnTo>
                      <a:pt x="1440" y="548"/>
                    </a:lnTo>
                    <a:lnTo>
                      <a:pt x="1444" y="550"/>
                    </a:lnTo>
                    <a:lnTo>
                      <a:pt x="1444" y="558"/>
                    </a:lnTo>
                    <a:lnTo>
                      <a:pt x="1446" y="554"/>
                    </a:lnTo>
                    <a:lnTo>
                      <a:pt x="1446" y="546"/>
                    </a:lnTo>
                    <a:lnTo>
                      <a:pt x="1444" y="544"/>
                    </a:lnTo>
                    <a:lnTo>
                      <a:pt x="1424" y="522"/>
                    </a:lnTo>
                    <a:lnTo>
                      <a:pt x="1418" y="512"/>
                    </a:lnTo>
                    <a:lnTo>
                      <a:pt x="1410" y="488"/>
                    </a:lnTo>
                    <a:lnTo>
                      <a:pt x="1410" y="478"/>
                    </a:lnTo>
                    <a:lnTo>
                      <a:pt x="1410" y="470"/>
                    </a:lnTo>
                    <a:lnTo>
                      <a:pt x="1402" y="464"/>
                    </a:lnTo>
                    <a:lnTo>
                      <a:pt x="1400" y="464"/>
                    </a:lnTo>
                    <a:lnTo>
                      <a:pt x="1390" y="464"/>
                    </a:lnTo>
                    <a:lnTo>
                      <a:pt x="1328" y="46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7" name="Freeform 1945"/>
              <p:cNvSpPr>
                <a:spLocks/>
              </p:cNvSpPr>
              <p:nvPr/>
            </p:nvSpPr>
            <p:spPr bwMode="auto">
              <a:xfrm>
                <a:off x="1733" y="3222"/>
                <a:ext cx="18" cy="32"/>
              </a:xfrm>
              <a:custGeom>
                <a:avLst/>
                <a:gdLst/>
                <a:ahLst/>
                <a:cxnLst>
                  <a:cxn ang="0">
                    <a:pos x="6" y="26"/>
                  </a:cxn>
                  <a:cxn ang="0">
                    <a:pos x="10" y="30"/>
                  </a:cxn>
                  <a:cxn ang="0">
                    <a:pos x="16" y="32"/>
                  </a:cxn>
                  <a:cxn ang="0">
                    <a:pos x="18" y="32"/>
                  </a:cxn>
                  <a:cxn ang="0">
                    <a:pos x="12" y="6"/>
                  </a:cxn>
                  <a:cxn ang="0">
                    <a:pos x="10" y="4"/>
                  </a:cxn>
                  <a:cxn ang="0">
                    <a:pos x="8" y="2"/>
                  </a:cxn>
                  <a:cxn ang="0">
                    <a:pos x="4" y="2"/>
                  </a:cxn>
                  <a:cxn ang="0">
                    <a:pos x="4" y="0"/>
                  </a:cxn>
                  <a:cxn ang="0">
                    <a:pos x="2" y="2"/>
                  </a:cxn>
                  <a:cxn ang="0">
                    <a:pos x="4" y="4"/>
                  </a:cxn>
                  <a:cxn ang="0">
                    <a:pos x="10" y="4"/>
                  </a:cxn>
                  <a:cxn ang="0">
                    <a:pos x="10" y="6"/>
                  </a:cxn>
                  <a:cxn ang="0">
                    <a:pos x="12" y="6"/>
                  </a:cxn>
                  <a:cxn ang="0">
                    <a:pos x="12" y="8"/>
                  </a:cxn>
                  <a:cxn ang="0">
                    <a:pos x="12" y="10"/>
                  </a:cxn>
                  <a:cxn ang="0">
                    <a:pos x="8" y="14"/>
                  </a:cxn>
                  <a:cxn ang="0">
                    <a:pos x="4" y="14"/>
                  </a:cxn>
                  <a:cxn ang="0">
                    <a:pos x="2" y="14"/>
                  </a:cxn>
                  <a:cxn ang="0">
                    <a:pos x="0" y="16"/>
                  </a:cxn>
                  <a:cxn ang="0">
                    <a:pos x="4" y="22"/>
                  </a:cxn>
                  <a:cxn ang="0">
                    <a:pos x="6" y="26"/>
                  </a:cxn>
                </a:cxnLst>
                <a:rect l="0" t="0" r="r" b="b"/>
                <a:pathLst>
                  <a:path w="18" h="32">
                    <a:moveTo>
                      <a:pt x="6" y="26"/>
                    </a:moveTo>
                    <a:lnTo>
                      <a:pt x="10" y="30"/>
                    </a:lnTo>
                    <a:lnTo>
                      <a:pt x="16" y="32"/>
                    </a:lnTo>
                    <a:lnTo>
                      <a:pt x="18" y="32"/>
                    </a:lnTo>
                    <a:lnTo>
                      <a:pt x="12" y="6"/>
                    </a:lnTo>
                    <a:lnTo>
                      <a:pt x="10" y="4"/>
                    </a:lnTo>
                    <a:lnTo>
                      <a:pt x="8" y="2"/>
                    </a:lnTo>
                    <a:lnTo>
                      <a:pt x="4" y="2"/>
                    </a:lnTo>
                    <a:lnTo>
                      <a:pt x="4" y="0"/>
                    </a:lnTo>
                    <a:lnTo>
                      <a:pt x="2" y="2"/>
                    </a:lnTo>
                    <a:lnTo>
                      <a:pt x="4" y="4"/>
                    </a:lnTo>
                    <a:lnTo>
                      <a:pt x="10" y="4"/>
                    </a:lnTo>
                    <a:lnTo>
                      <a:pt x="10" y="6"/>
                    </a:lnTo>
                    <a:lnTo>
                      <a:pt x="12" y="6"/>
                    </a:lnTo>
                    <a:lnTo>
                      <a:pt x="12" y="8"/>
                    </a:lnTo>
                    <a:lnTo>
                      <a:pt x="12" y="10"/>
                    </a:lnTo>
                    <a:lnTo>
                      <a:pt x="8" y="14"/>
                    </a:lnTo>
                    <a:lnTo>
                      <a:pt x="4" y="14"/>
                    </a:lnTo>
                    <a:lnTo>
                      <a:pt x="2" y="14"/>
                    </a:lnTo>
                    <a:lnTo>
                      <a:pt x="0" y="16"/>
                    </a:lnTo>
                    <a:lnTo>
                      <a:pt x="4" y="22"/>
                    </a:lnTo>
                    <a:lnTo>
                      <a:pt x="6"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8" name="Freeform 1946"/>
              <p:cNvSpPr>
                <a:spLocks/>
              </p:cNvSpPr>
              <p:nvPr/>
            </p:nvSpPr>
            <p:spPr bwMode="auto">
              <a:xfrm>
                <a:off x="1725" y="3238"/>
                <a:ext cx="46" cy="38"/>
              </a:xfrm>
              <a:custGeom>
                <a:avLst/>
                <a:gdLst/>
                <a:ahLst/>
                <a:cxnLst>
                  <a:cxn ang="0">
                    <a:pos x="42" y="20"/>
                  </a:cxn>
                  <a:cxn ang="0">
                    <a:pos x="36" y="10"/>
                  </a:cxn>
                  <a:cxn ang="0">
                    <a:pos x="32" y="10"/>
                  </a:cxn>
                  <a:cxn ang="0">
                    <a:pos x="28" y="16"/>
                  </a:cxn>
                  <a:cxn ang="0">
                    <a:pos x="28" y="18"/>
                  </a:cxn>
                  <a:cxn ang="0">
                    <a:pos x="30" y="18"/>
                  </a:cxn>
                  <a:cxn ang="0">
                    <a:pos x="30" y="20"/>
                  </a:cxn>
                  <a:cxn ang="0">
                    <a:pos x="32" y="18"/>
                  </a:cxn>
                  <a:cxn ang="0">
                    <a:pos x="34" y="20"/>
                  </a:cxn>
                  <a:cxn ang="0">
                    <a:pos x="22" y="20"/>
                  </a:cxn>
                  <a:cxn ang="0">
                    <a:pos x="20" y="20"/>
                  </a:cxn>
                  <a:cxn ang="0">
                    <a:pos x="18" y="18"/>
                  </a:cxn>
                  <a:cxn ang="0">
                    <a:pos x="14" y="16"/>
                  </a:cxn>
                  <a:cxn ang="0">
                    <a:pos x="12" y="14"/>
                  </a:cxn>
                  <a:cxn ang="0">
                    <a:pos x="12" y="12"/>
                  </a:cxn>
                  <a:cxn ang="0">
                    <a:pos x="12" y="10"/>
                  </a:cxn>
                  <a:cxn ang="0">
                    <a:pos x="10" y="6"/>
                  </a:cxn>
                  <a:cxn ang="0">
                    <a:pos x="6" y="4"/>
                  </a:cxn>
                  <a:cxn ang="0">
                    <a:pos x="2" y="0"/>
                  </a:cxn>
                  <a:cxn ang="0">
                    <a:pos x="0" y="0"/>
                  </a:cxn>
                  <a:cxn ang="0">
                    <a:pos x="0" y="2"/>
                  </a:cxn>
                  <a:cxn ang="0">
                    <a:pos x="0" y="10"/>
                  </a:cxn>
                  <a:cxn ang="0">
                    <a:pos x="8" y="18"/>
                  </a:cxn>
                  <a:cxn ang="0">
                    <a:pos x="14" y="24"/>
                  </a:cxn>
                  <a:cxn ang="0">
                    <a:pos x="18" y="26"/>
                  </a:cxn>
                  <a:cxn ang="0">
                    <a:pos x="20" y="28"/>
                  </a:cxn>
                  <a:cxn ang="0">
                    <a:pos x="22" y="28"/>
                  </a:cxn>
                  <a:cxn ang="0">
                    <a:pos x="24" y="28"/>
                  </a:cxn>
                  <a:cxn ang="0">
                    <a:pos x="26" y="26"/>
                  </a:cxn>
                  <a:cxn ang="0">
                    <a:pos x="28" y="26"/>
                  </a:cxn>
                  <a:cxn ang="0">
                    <a:pos x="30" y="26"/>
                  </a:cxn>
                  <a:cxn ang="0">
                    <a:pos x="32" y="26"/>
                  </a:cxn>
                  <a:cxn ang="0">
                    <a:pos x="34" y="26"/>
                  </a:cxn>
                  <a:cxn ang="0">
                    <a:pos x="36" y="26"/>
                  </a:cxn>
                  <a:cxn ang="0">
                    <a:pos x="36" y="28"/>
                  </a:cxn>
                  <a:cxn ang="0">
                    <a:pos x="38" y="30"/>
                  </a:cxn>
                  <a:cxn ang="0">
                    <a:pos x="38" y="32"/>
                  </a:cxn>
                  <a:cxn ang="0">
                    <a:pos x="34" y="32"/>
                  </a:cxn>
                  <a:cxn ang="0">
                    <a:pos x="38" y="36"/>
                  </a:cxn>
                  <a:cxn ang="0">
                    <a:pos x="40" y="38"/>
                  </a:cxn>
                  <a:cxn ang="0">
                    <a:pos x="44" y="38"/>
                  </a:cxn>
                  <a:cxn ang="0">
                    <a:pos x="46" y="38"/>
                  </a:cxn>
                  <a:cxn ang="0">
                    <a:pos x="46" y="36"/>
                  </a:cxn>
                  <a:cxn ang="0">
                    <a:pos x="44" y="28"/>
                  </a:cxn>
                  <a:cxn ang="0">
                    <a:pos x="42" y="20"/>
                  </a:cxn>
                </a:cxnLst>
                <a:rect l="0" t="0" r="r" b="b"/>
                <a:pathLst>
                  <a:path w="46" h="38">
                    <a:moveTo>
                      <a:pt x="42" y="20"/>
                    </a:moveTo>
                    <a:lnTo>
                      <a:pt x="36" y="10"/>
                    </a:lnTo>
                    <a:lnTo>
                      <a:pt x="32" y="10"/>
                    </a:lnTo>
                    <a:lnTo>
                      <a:pt x="28" y="16"/>
                    </a:lnTo>
                    <a:lnTo>
                      <a:pt x="28" y="18"/>
                    </a:lnTo>
                    <a:lnTo>
                      <a:pt x="30" y="18"/>
                    </a:lnTo>
                    <a:lnTo>
                      <a:pt x="30" y="20"/>
                    </a:lnTo>
                    <a:lnTo>
                      <a:pt x="32" y="18"/>
                    </a:lnTo>
                    <a:lnTo>
                      <a:pt x="34" y="20"/>
                    </a:lnTo>
                    <a:lnTo>
                      <a:pt x="22" y="20"/>
                    </a:lnTo>
                    <a:lnTo>
                      <a:pt x="20" y="20"/>
                    </a:lnTo>
                    <a:lnTo>
                      <a:pt x="18" y="18"/>
                    </a:lnTo>
                    <a:lnTo>
                      <a:pt x="14" y="16"/>
                    </a:lnTo>
                    <a:lnTo>
                      <a:pt x="12" y="14"/>
                    </a:lnTo>
                    <a:lnTo>
                      <a:pt x="12" y="12"/>
                    </a:lnTo>
                    <a:lnTo>
                      <a:pt x="12" y="10"/>
                    </a:lnTo>
                    <a:lnTo>
                      <a:pt x="10" y="6"/>
                    </a:lnTo>
                    <a:lnTo>
                      <a:pt x="6" y="4"/>
                    </a:lnTo>
                    <a:lnTo>
                      <a:pt x="2" y="0"/>
                    </a:lnTo>
                    <a:lnTo>
                      <a:pt x="0" y="0"/>
                    </a:lnTo>
                    <a:lnTo>
                      <a:pt x="0" y="2"/>
                    </a:lnTo>
                    <a:lnTo>
                      <a:pt x="0" y="10"/>
                    </a:lnTo>
                    <a:lnTo>
                      <a:pt x="8" y="18"/>
                    </a:lnTo>
                    <a:lnTo>
                      <a:pt x="14" y="24"/>
                    </a:lnTo>
                    <a:lnTo>
                      <a:pt x="18" y="26"/>
                    </a:lnTo>
                    <a:lnTo>
                      <a:pt x="20" y="28"/>
                    </a:lnTo>
                    <a:lnTo>
                      <a:pt x="22" y="28"/>
                    </a:lnTo>
                    <a:lnTo>
                      <a:pt x="24" y="28"/>
                    </a:lnTo>
                    <a:lnTo>
                      <a:pt x="26" y="26"/>
                    </a:lnTo>
                    <a:lnTo>
                      <a:pt x="28" y="26"/>
                    </a:lnTo>
                    <a:lnTo>
                      <a:pt x="30" y="26"/>
                    </a:lnTo>
                    <a:lnTo>
                      <a:pt x="32" y="26"/>
                    </a:lnTo>
                    <a:lnTo>
                      <a:pt x="34" y="26"/>
                    </a:lnTo>
                    <a:lnTo>
                      <a:pt x="36" y="26"/>
                    </a:lnTo>
                    <a:lnTo>
                      <a:pt x="36" y="28"/>
                    </a:lnTo>
                    <a:lnTo>
                      <a:pt x="38" y="30"/>
                    </a:lnTo>
                    <a:lnTo>
                      <a:pt x="38" y="32"/>
                    </a:lnTo>
                    <a:lnTo>
                      <a:pt x="34" y="32"/>
                    </a:lnTo>
                    <a:lnTo>
                      <a:pt x="38" y="36"/>
                    </a:lnTo>
                    <a:lnTo>
                      <a:pt x="40" y="38"/>
                    </a:lnTo>
                    <a:lnTo>
                      <a:pt x="44" y="38"/>
                    </a:lnTo>
                    <a:lnTo>
                      <a:pt x="46" y="38"/>
                    </a:lnTo>
                    <a:lnTo>
                      <a:pt x="46" y="36"/>
                    </a:lnTo>
                    <a:lnTo>
                      <a:pt x="44" y="28"/>
                    </a:lnTo>
                    <a:lnTo>
                      <a:pt x="42"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6" name="Freeform 1960"/>
            <p:cNvSpPr>
              <a:spLocks/>
            </p:cNvSpPr>
            <p:nvPr/>
          </p:nvSpPr>
          <p:spPr bwMode="auto">
            <a:xfrm rot="21000000">
              <a:off x="7529990" y="2175979"/>
              <a:ext cx="9278" cy="28079"/>
            </a:xfrm>
            <a:custGeom>
              <a:avLst/>
              <a:gdLst/>
              <a:ahLst/>
              <a:cxnLst>
                <a:cxn ang="0">
                  <a:pos x="16" y="16"/>
                </a:cxn>
                <a:cxn ang="0">
                  <a:pos x="16" y="14"/>
                </a:cxn>
                <a:cxn ang="0">
                  <a:pos x="16" y="12"/>
                </a:cxn>
                <a:cxn ang="0">
                  <a:pos x="14" y="10"/>
                </a:cxn>
                <a:cxn ang="0">
                  <a:pos x="12" y="8"/>
                </a:cxn>
                <a:cxn ang="0">
                  <a:pos x="10" y="6"/>
                </a:cxn>
                <a:cxn ang="0">
                  <a:pos x="14" y="6"/>
                </a:cxn>
                <a:cxn ang="0">
                  <a:pos x="16" y="4"/>
                </a:cxn>
                <a:cxn ang="0">
                  <a:pos x="14" y="0"/>
                </a:cxn>
                <a:cxn ang="0">
                  <a:pos x="12" y="0"/>
                </a:cxn>
                <a:cxn ang="0">
                  <a:pos x="10" y="0"/>
                </a:cxn>
                <a:cxn ang="0">
                  <a:pos x="8" y="0"/>
                </a:cxn>
                <a:cxn ang="0">
                  <a:pos x="4" y="0"/>
                </a:cxn>
                <a:cxn ang="0">
                  <a:pos x="2" y="0"/>
                </a:cxn>
                <a:cxn ang="0">
                  <a:pos x="0" y="2"/>
                </a:cxn>
                <a:cxn ang="0">
                  <a:pos x="0" y="4"/>
                </a:cxn>
                <a:cxn ang="0">
                  <a:pos x="0" y="14"/>
                </a:cxn>
                <a:cxn ang="0">
                  <a:pos x="2" y="18"/>
                </a:cxn>
                <a:cxn ang="0">
                  <a:pos x="4" y="22"/>
                </a:cxn>
                <a:cxn ang="0">
                  <a:pos x="2" y="24"/>
                </a:cxn>
                <a:cxn ang="0">
                  <a:pos x="2" y="26"/>
                </a:cxn>
                <a:cxn ang="0">
                  <a:pos x="0" y="28"/>
                </a:cxn>
                <a:cxn ang="0">
                  <a:pos x="0" y="30"/>
                </a:cxn>
                <a:cxn ang="0">
                  <a:pos x="0" y="32"/>
                </a:cxn>
                <a:cxn ang="0">
                  <a:pos x="0" y="34"/>
                </a:cxn>
                <a:cxn ang="0">
                  <a:pos x="10" y="48"/>
                </a:cxn>
                <a:cxn ang="0">
                  <a:pos x="12" y="50"/>
                </a:cxn>
                <a:cxn ang="0">
                  <a:pos x="14" y="48"/>
                </a:cxn>
                <a:cxn ang="0">
                  <a:pos x="14" y="46"/>
                </a:cxn>
                <a:cxn ang="0">
                  <a:pos x="16" y="42"/>
                </a:cxn>
                <a:cxn ang="0">
                  <a:pos x="16" y="30"/>
                </a:cxn>
                <a:cxn ang="0">
                  <a:pos x="16" y="20"/>
                </a:cxn>
                <a:cxn ang="0">
                  <a:pos x="16" y="16"/>
                </a:cxn>
              </a:cxnLst>
              <a:rect l="0" t="0" r="r" b="b"/>
              <a:pathLst>
                <a:path w="16" h="50">
                  <a:moveTo>
                    <a:pt x="16" y="16"/>
                  </a:moveTo>
                  <a:lnTo>
                    <a:pt x="16" y="14"/>
                  </a:lnTo>
                  <a:lnTo>
                    <a:pt x="16" y="12"/>
                  </a:lnTo>
                  <a:lnTo>
                    <a:pt x="14" y="10"/>
                  </a:lnTo>
                  <a:lnTo>
                    <a:pt x="12" y="8"/>
                  </a:lnTo>
                  <a:lnTo>
                    <a:pt x="10" y="6"/>
                  </a:lnTo>
                  <a:lnTo>
                    <a:pt x="14" y="6"/>
                  </a:lnTo>
                  <a:lnTo>
                    <a:pt x="16" y="4"/>
                  </a:lnTo>
                  <a:lnTo>
                    <a:pt x="14" y="0"/>
                  </a:lnTo>
                  <a:lnTo>
                    <a:pt x="12" y="0"/>
                  </a:lnTo>
                  <a:lnTo>
                    <a:pt x="10" y="0"/>
                  </a:lnTo>
                  <a:lnTo>
                    <a:pt x="8" y="0"/>
                  </a:lnTo>
                  <a:lnTo>
                    <a:pt x="4" y="0"/>
                  </a:lnTo>
                  <a:lnTo>
                    <a:pt x="2" y="0"/>
                  </a:lnTo>
                  <a:lnTo>
                    <a:pt x="0" y="2"/>
                  </a:lnTo>
                  <a:lnTo>
                    <a:pt x="0" y="4"/>
                  </a:lnTo>
                  <a:lnTo>
                    <a:pt x="0" y="14"/>
                  </a:lnTo>
                  <a:lnTo>
                    <a:pt x="2" y="18"/>
                  </a:lnTo>
                  <a:lnTo>
                    <a:pt x="4" y="22"/>
                  </a:lnTo>
                  <a:lnTo>
                    <a:pt x="2" y="24"/>
                  </a:lnTo>
                  <a:lnTo>
                    <a:pt x="2" y="26"/>
                  </a:lnTo>
                  <a:lnTo>
                    <a:pt x="0" y="28"/>
                  </a:lnTo>
                  <a:lnTo>
                    <a:pt x="0" y="30"/>
                  </a:lnTo>
                  <a:lnTo>
                    <a:pt x="0" y="32"/>
                  </a:lnTo>
                  <a:lnTo>
                    <a:pt x="0" y="34"/>
                  </a:lnTo>
                  <a:lnTo>
                    <a:pt x="10" y="48"/>
                  </a:lnTo>
                  <a:lnTo>
                    <a:pt x="12" y="50"/>
                  </a:lnTo>
                  <a:lnTo>
                    <a:pt x="14" y="48"/>
                  </a:lnTo>
                  <a:lnTo>
                    <a:pt x="14" y="46"/>
                  </a:lnTo>
                  <a:lnTo>
                    <a:pt x="16" y="42"/>
                  </a:lnTo>
                  <a:lnTo>
                    <a:pt x="16" y="30"/>
                  </a:lnTo>
                  <a:lnTo>
                    <a:pt x="16" y="20"/>
                  </a:lnTo>
                  <a:lnTo>
                    <a:pt x="16" y="1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7" name="Freeform 1961"/>
            <p:cNvSpPr>
              <a:spLocks/>
            </p:cNvSpPr>
            <p:nvPr/>
          </p:nvSpPr>
          <p:spPr bwMode="auto">
            <a:xfrm rot="21000000">
              <a:off x="7551271" y="2205775"/>
              <a:ext cx="2320" cy="10108"/>
            </a:xfrm>
            <a:custGeom>
              <a:avLst/>
              <a:gdLst/>
              <a:ahLst/>
              <a:cxnLst>
                <a:cxn ang="0">
                  <a:pos x="2" y="2"/>
                </a:cxn>
                <a:cxn ang="0">
                  <a:pos x="0" y="4"/>
                </a:cxn>
                <a:cxn ang="0">
                  <a:pos x="0" y="6"/>
                </a:cxn>
                <a:cxn ang="0">
                  <a:pos x="0" y="8"/>
                </a:cxn>
                <a:cxn ang="0">
                  <a:pos x="0" y="14"/>
                </a:cxn>
                <a:cxn ang="0">
                  <a:pos x="0" y="16"/>
                </a:cxn>
                <a:cxn ang="0">
                  <a:pos x="0" y="18"/>
                </a:cxn>
                <a:cxn ang="0">
                  <a:pos x="2" y="18"/>
                </a:cxn>
                <a:cxn ang="0">
                  <a:pos x="2" y="16"/>
                </a:cxn>
                <a:cxn ang="0">
                  <a:pos x="2" y="8"/>
                </a:cxn>
                <a:cxn ang="0">
                  <a:pos x="2" y="6"/>
                </a:cxn>
                <a:cxn ang="0">
                  <a:pos x="4" y="4"/>
                </a:cxn>
                <a:cxn ang="0">
                  <a:pos x="4" y="2"/>
                </a:cxn>
                <a:cxn ang="0">
                  <a:pos x="4" y="0"/>
                </a:cxn>
                <a:cxn ang="0">
                  <a:pos x="2" y="2"/>
                </a:cxn>
              </a:cxnLst>
              <a:rect l="0" t="0" r="r" b="b"/>
              <a:pathLst>
                <a:path w="4" h="18">
                  <a:moveTo>
                    <a:pt x="2" y="2"/>
                  </a:moveTo>
                  <a:lnTo>
                    <a:pt x="0" y="4"/>
                  </a:lnTo>
                  <a:lnTo>
                    <a:pt x="0" y="6"/>
                  </a:lnTo>
                  <a:lnTo>
                    <a:pt x="0" y="8"/>
                  </a:lnTo>
                  <a:lnTo>
                    <a:pt x="0" y="14"/>
                  </a:lnTo>
                  <a:lnTo>
                    <a:pt x="0" y="16"/>
                  </a:lnTo>
                  <a:lnTo>
                    <a:pt x="0" y="18"/>
                  </a:lnTo>
                  <a:lnTo>
                    <a:pt x="2" y="18"/>
                  </a:lnTo>
                  <a:lnTo>
                    <a:pt x="2" y="16"/>
                  </a:lnTo>
                  <a:lnTo>
                    <a:pt x="2" y="8"/>
                  </a:lnTo>
                  <a:lnTo>
                    <a:pt x="2" y="6"/>
                  </a:lnTo>
                  <a:lnTo>
                    <a:pt x="4" y="4"/>
                  </a:lnTo>
                  <a:lnTo>
                    <a:pt x="4" y="2"/>
                  </a:lnTo>
                  <a:lnTo>
                    <a:pt x="4" y="0"/>
                  </a:lnTo>
                  <a:lnTo>
                    <a:pt x="2" y="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18" name="Freeform 1962"/>
            <p:cNvSpPr>
              <a:spLocks/>
            </p:cNvSpPr>
            <p:nvPr/>
          </p:nvSpPr>
          <p:spPr bwMode="auto">
            <a:xfrm rot="21000000">
              <a:off x="7554207" y="2174199"/>
              <a:ext cx="52190" cy="102210"/>
            </a:xfrm>
            <a:custGeom>
              <a:avLst/>
              <a:gdLst/>
              <a:ahLst/>
              <a:cxnLst>
                <a:cxn ang="0">
                  <a:pos x="40" y="182"/>
                </a:cxn>
                <a:cxn ang="0">
                  <a:pos x="48" y="176"/>
                </a:cxn>
                <a:cxn ang="0">
                  <a:pos x="50" y="174"/>
                </a:cxn>
                <a:cxn ang="0">
                  <a:pos x="62" y="172"/>
                </a:cxn>
                <a:cxn ang="0">
                  <a:pos x="62" y="178"/>
                </a:cxn>
                <a:cxn ang="0">
                  <a:pos x="66" y="178"/>
                </a:cxn>
                <a:cxn ang="0">
                  <a:pos x="76" y="160"/>
                </a:cxn>
                <a:cxn ang="0">
                  <a:pos x="80" y="148"/>
                </a:cxn>
                <a:cxn ang="0">
                  <a:pos x="86" y="140"/>
                </a:cxn>
                <a:cxn ang="0">
                  <a:pos x="90" y="110"/>
                </a:cxn>
                <a:cxn ang="0">
                  <a:pos x="90" y="104"/>
                </a:cxn>
                <a:cxn ang="0">
                  <a:pos x="86" y="98"/>
                </a:cxn>
                <a:cxn ang="0">
                  <a:pos x="80" y="96"/>
                </a:cxn>
                <a:cxn ang="0">
                  <a:pos x="80" y="88"/>
                </a:cxn>
                <a:cxn ang="0">
                  <a:pos x="78" y="78"/>
                </a:cxn>
                <a:cxn ang="0">
                  <a:pos x="76" y="72"/>
                </a:cxn>
                <a:cxn ang="0">
                  <a:pos x="76" y="64"/>
                </a:cxn>
                <a:cxn ang="0">
                  <a:pos x="80" y="60"/>
                </a:cxn>
                <a:cxn ang="0">
                  <a:pos x="86" y="52"/>
                </a:cxn>
                <a:cxn ang="0">
                  <a:pos x="88" y="42"/>
                </a:cxn>
                <a:cxn ang="0">
                  <a:pos x="78" y="22"/>
                </a:cxn>
                <a:cxn ang="0">
                  <a:pos x="68" y="22"/>
                </a:cxn>
                <a:cxn ang="0">
                  <a:pos x="62" y="12"/>
                </a:cxn>
                <a:cxn ang="0">
                  <a:pos x="62" y="4"/>
                </a:cxn>
                <a:cxn ang="0">
                  <a:pos x="52" y="0"/>
                </a:cxn>
                <a:cxn ang="0">
                  <a:pos x="30" y="12"/>
                </a:cxn>
                <a:cxn ang="0">
                  <a:pos x="20" y="32"/>
                </a:cxn>
                <a:cxn ang="0">
                  <a:pos x="22" y="38"/>
                </a:cxn>
                <a:cxn ang="0">
                  <a:pos x="22" y="42"/>
                </a:cxn>
                <a:cxn ang="0">
                  <a:pos x="16" y="42"/>
                </a:cxn>
                <a:cxn ang="0">
                  <a:pos x="14" y="50"/>
                </a:cxn>
                <a:cxn ang="0">
                  <a:pos x="18" y="60"/>
                </a:cxn>
                <a:cxn ang="0">
                  <a:pos x="24" y="58"/>
                </a:cxn>
                <a:cxn ang="0">
                  <a:pos x="16" y="64"/>
                </a:cxn>
                <a:cxn ang="0">
                  <a:pos x="10" y="68"/>
                </a:cxn>
                <a:cxn ang="0">
                  <a:pos x="10" y="80"/>
                </a:cxn>
                <a:cxn ang="0">
                  <a:pos x="6" y="76"/>
                </a:cxn>
                <a:cxn ang="0">
                  <a:pos x="2" y="74"/>
                </a:cxn>
                <a:cxn ang="0">
                  <a:pos x="2" y="102"/>
                </a:cxn>
                <a:cxn ang="0">
                  <a:pos x="2" y="116"/>
                </a:cxn>
                <a:cxn ang="0">
                  <a:pos x="6" y="124"/>
                </a:cxn>
                <a:cxn ang="0">
                  <a:pos x="12" y="146"/>
                </a:cxn>
                <a:cxn ang="0">
                  <a:pos x="10" y="160"/>
                </a:cxn>
                <a:cxn ang="0">
                  <a:pos x="24" y="180"/>
                </a:cxn>
              </a:cxnLst>
              <a:rect l="0" t="0" r="r" b="b"/>
              <a:pathLst>
                <a:path w="90" h="182">
                  <a:moveTo>
                    <a:pt x="24" y="180"/>
                  </a:moveTo>
                  <a:lnTo>
                    <a:pt x="40" y="182"/>
                  </a:lnTo>
                  <a:lnTo>
                    <a:pt x="46" y="180"/>
                  </a:lnTo>
                  <a:lnTo>
                    <a:pt x="48" y="176"/>
                  </a:lnTo>
                  <a:lnTo>
                    <a:pt x="50" y="176"/>
                  </a:lnTo>
                  <a:lnTo>
                    <a:pt x="50" y="174"/>
                  </a:lnTo>
                  <a:lnTo>
                    <a:pt x="56" y="172"/>
                  </a:lnTo>
                  <a:lnTo>
                    <a:pt x="62" y="172"/>
                  </a:lnTo>
                  <a:lnTo>
                    <a:pt x="64" y="174"/>
                  </a:lnTo>
                  <a:lnTo>
                    <a:pt x="62" y="178"/>
                  </a:lnTo>
                  <a:lnTo>
                    <a:pt x="62" y="180"/>
                  </a:lnTo>
                  <a:lnTo>
                    <a:pt x="66" y="178"/>
                  </a:lnTo>
                  <a:lnTo>
                    <a:pt x="72" y="170"/>
                  </a:lnTo>
                  <a:lnTo>
                    <a:pt x="76" y="160"/>
                  </a:lnTo>
                  <a:lnTo>
                    <a:pt x="76" y="156"/>
                  </a:lnTo>
                  <a:lnTo>
                    <a:pt x="80" y="148"/>
                  </a:lnTo>
                  <a:lnTo>
                    <a:pt x="82" y="146"/>
                  </a:lnTo>
                  <a:lnTo>
                    <a:pt x="86" y="140"/>
                  </a:lnTo>
                  <a:lnTo>
                    <a:pt x="90" y="130"/>
                  </a:lnTo>
                  <a:lnTo>
                    <a:pt x="90" y="110"/>
                  </a:lnTo>
                  <a:lnTo>
                    <a:pt x="90" y="108"/>
                  </a:lnTo>
                  <a:lnTo>
                    <a:pt x="90" y="104"/>
                  </a:lnTo>
                  <a:lnTo>
                    <a:pt x="90" y="100"/>
                  </a:lnTo>
                  <a:lnTo>
                    <a:pt x="86" y="98"/>
                  </a:lnTo>
                  <a:lnTo>
                    <a:pt x="82" y="98"/>
                  </a:lnTo>
                  <a:lnTo>
                    <a:pt x="80" y="96"/>
                  </a:lnTo>
                  <a:lnTo>
                    <a:pt x="80" y="94"/>
                  </a:lnTo>
                  <a:lnTo>
                    <a:pt x="80" y="88"/>
                  </a:lnTo>
                  <a:lnTo>
                    <a:pt x="80" y="82"/>
                  </a:lnTo>
                  <a:lnTo>
                    <a:pt x="78" y="78"/>
                  </a:lnTo>
                  <a:lnTo>
                    <a:pt x="76" y="76"/>
                  </a:lnTo>
                  <a:lnTo>
                    <a:pt x="76" y="72"/>
                  </a:lnTo>
                  <a:lnTo>
                    <a:pt x="78" y="68"/>
                  </a:lnTo>
                  <a:lnTo>
                    <a:pt x="76" y="64"/>
                  </a:lnTo>
                  <a:lnTo>
                    <a:pt x="78" y="62"/>
                  </a:lnTo>
                  <a:lnTo>
                    <a:pt x="80" y="60"/>
                  </a:lnTo>
                  <a:lnTo>
                    <a:pt x="82" y="60"/>
                  </a:lnTo>
                  <a:lnTo>
                    <a:pt x="86" y="52"/>
                  </a:lnTo>
                  <a:lnTo>
                    <a:pt x="88" y="44"/>
                  </a:lnTo>
                  <a:lnTo>
                    <a:pt x="88" y="42"/>
                  </a:lnTo>
                  <a:lnTo>
                    <a:pt x="84" y="28"/>
                  </a:lnTo>
                  <a:lnTo>
                    <a:pt x="78" y="22"/>
                  </a:lnTo>
                  <a:lnTo>
                    <a:pt x="76" y="22"/>
                  </a:lnTo>
                  <a:lnTo>
                    <a:pt x="68" y="22"/>
                  </a:lnTo>
                  <a:lnTo>
                    <a:pt x="66" y="20"/>
                  </a:lnTo>
                  <a:lnTo>
                    <a:pt x="62" y="12"/>
                  </a:lnTo>
                  <a:lnTo>
                    <a:pt x="62" y="8"/>
                  </a:lnTo>
                  <a:lnTo>
                    <a:pt x="62" y="4"/>
                  </a:lnTo>
                  <a:lnTo>
                    <a:pt x="58" y="2"/>
                  </a:lnTo>
                  <a:lnTo>
                    <a:pt x="52" y="0"/>
                  </a:lnTo>
                  <a:lnTo>
                    <a:pt x="44" y="2"/>
                  </a:lnTo>
                  <a:lnTo>
                    <a:pt x="30" y="12"/>
                  </a:lnTo>
                  <a:lnTo>
                    <a:pt x="26" y="20"/>
                  </a:lnTo>
                  <a:lnTo>
                    <a:pt x="20" y="32"/>
                  </a:lnTo>
                  <a:lnTo>
                    <a:pt x="22" y="36"/>
                  </a:lnTo>
                  <a:lnTo>
                    <a:pt x="22" y="38"/>
                  </a:lnTo>
                  <a:lnTo>
                    <a:pt x="24" y="38"/>
                  </a:lnTo>
                  <a:lnTo>
                    <a:pt x="22" y="42"/>
                  </a:lnTo>
                  <a:lnTo>
                    <a:pt x="20" y="40"/>
                  </a:lnTo>
                  <a:lnTo>
                    <a:pt x="16" y="42"/>
                  </a:lnTo>
                  <a:lnTo>
                    <a:pt x="16" y="48"/>
                  </a:lnTo>
                  <a:lnTo>
                    <a:pt x="14" y="50"/>
                  </a:lnTo>
                  <a:lnTo>
                    <a:pt x="14" y="56"/>
                  </a:lnTo>
                  <a:lnTo>
                    <a:pt x="18" y="60"/>
                  </a:lnTo>
                  <a:lnTo>
                    <a:pt x="22" y="60"/>
                  </a:lnTo>
                  <a:lnTo>
                    <a:pt x="24" y="58"/>
                  </a:lnTo>
                  <a:lnTo>
                    <a:pt x="22" y="62"/>
                  </a:lnTo>
                  <a:lnTo>
                    <a:pt x="16" y="64"/>
                  </a:lnTo>
                  <a:lnTo>
                    <a:pt x="8" y="64"/>
                  </a:lnTo>
                  <a:lnTo>
                    <a:pt x="10" y="68"/>
                  </a:lnTo>
                  <a:lnTo>
                    <a:pt x="10" y="76"/>
                  </a:lnTo>
                  <a:lnTo>
                    <a:pt x="10" y="80"/>
                  </a:lnTo>
                  <a:lnTo>
                    <a:pt x="8" y="78"/>
                  </a:lnTo>
                  <a:lnTo>
                    <a:pt x="6" y="76"/>
                  </a:lnTo>
                  <a:lnTo>
                    <a:pt x="4" y="72"/>
                  </a:lnTo>
                  <a:lnTo>
                    <a:pt x="2" y="74"/>
                  </a:lnTo>
                  <a:lnTo>
                    <a:pt x="0" y="82"/>
                  </a:lnTo>
                  <a:lnTo>
                    <a:pt x="2" y="102"/>
                  </a:lnTo>
                  <a:lnTo>
                    <a:pt x="2" y="110"/>
                  </a:lnTo>
                  <a:lnTo>
                    <a:pt x="2" y="116"/>
                  </a:lnTo>
                  <a:lnTo>
                    <a:pt x="2" y="118"/>
                  </a:lnTo>
                  <a:lnTo>
                    <a:pt x="6" y="124"/>
                  </a:lnTo>
                  <a:lnTo>
                    <a:pt x="12" y="142"/>
                  </a:lnTo>
                  <a:lnTo>
                    <a:pt x="12" y="146"/>
                  </a:lnTo>
                  <a:lnTo>
                    <a:pt x="12" y="156"/>
                  </a:lnTo>
                  <a:lnTo>
                    <a:pt x="10" y="160"/>
                  </a:lnTo>
                  <a:lnTo>
                    <a:pt x="12" y="168"/>
                  </a:lnTo>
                  <a:lnTo>
                    <a:pt x="24" y="18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9" name="Group 1995"/>
            <p:cNvGrpSpPr>
              <a:grpSpLocks/>
            </p:cNvGrpSpPr>
            <p:nvPr/>
          </p:nvGrpSpPr>
          <p:grpSpPr bwMode="auto">
            <a:xfrm rot="21000000">
              <a:off x="7137371" y="2653819"/>
              <a:ext cx="779376" cy="442532"/>
              <a:chOff x="1805" y="3020"/>
              <a:chExt cx="1344" cy="788"/>
            </a:xfrm>
            <a:solidFill>
              <a:srgbClr val="B9B9B9"/>
            </a:solidFill>
          </p:grpSpPr>
          <p:sp>
            <p:nvSpPr>
              <p:cNvPr id="331" name="Freeform 1966"/>
              <p:cNvSpPr>
                <a:spLocks/>
              </p:cNvSpPr>
              <p:nvPr/>
            </p:nvSpPr>
            <p:spPr bwMode="auto">
              <a:xfrm>
                <a:off x="1819" y="3020"/>
                <a:ext cx="1166" cy="724"/>
              </a:xfrm>
              <a:custGeom>
                <a:avLst/>
                <a:gdLst/>
                <a:ahLst/>
                <a:cxnLst>
                  <a:cxn ang="0">
                    <a:pos x="684" y="86"/>
                  </a:cxn>
                  <a:cxn ang="0">
                    <a:pos x="412" y="264"/>
                  </a:cxn>
                  <a:cxn ang="0">
                    <a:pos x="200" y="170"/>
                  </a:cxn>
                  <a:cxn ang="0">
                    <a:pos x="128" y="174"/>
                  </a:cxn>
                  <a:cxn ang="0">
                    <a:pos x="104" y="154"/>
                  </a:cxn>
                  <a:cxn ang="0">
                    <a:pos x="82" y="160"/>
                  </a:cxn>
                  <a:cxn ang="0">
                    <a:pos x="62" y="232"/>
                  </a:cxn>
                  <a:cxn ang="0">
                    <a:pos x="52" y="258"/>
                  </a:cxn>
                  <a:cxn ang="0">
                    <a:pos x="18" y="282"/>
                  </a:cxn>
                  <a:cxn ang="0">
                    <a:pos x="22" y="328"/>
                  </a:cxn>
                  <a:cxn ang="0">
                    <a:pos x="8" y="356"/>
                  </a:cxn>
                  <a:cxn ang="0">
                    <a:pos x="10" y="380"/>
                  </a:cxn>
                  <a:cxn ang="0">
                    <a:pos x="10" y="414"/>
                  </a:cxn>
                  <a:cxn ang="0">
                    <a:pos x="4" y="416"/>
                  </a:cxn>
                  <a:cxn ang="0">
                    <a:pos x="28" y="446"/>
                  </a:cxn>
                  <a:cxn ang="0">
                    <a:pos x="28" y="476"/>
                  </a:cxn>
                  <a:cxn ang="0">
                    <a:pos x="42" y="538"/>
                  </a:cxn>
                  <a:cxn ang="0">
                    <a:pos x="48" y="566"/>
                  </a:cxn>
                  <a:cxn ang="0">
                    <a:pos x="60" y="598"/>
                  </a:cxn>
                  <a:cxn ang="0">
                    <a:pos x="52" y="642"/>
                  </a:cxn>
                  <a:cxn ang="0">
                    <a:pos x="80" y="694"/>
                  </a:cxn>
                  <a:cxn ang="0">
                    <a:pos x="80" y="712"/>
                  </a:cxn>
                  <a:cxn ang="0">
                    <a:pos x="102" y="706"/>
                  </a:cxn>
                  <a:cxn ang="0">
                    <a:pos x="158" y="722"/>
                  </a:cxn>
                  <a:cxn ang="0">
                    <a:pos x="198" y="704"/>
                  </a:cxn>
                  <a:cxn ang="0">
                    <a:pos x="220" y="706"/>
                  </a:cxn>
                  <a:cxn ang="0">
                    <a:pos x="238" y="708"/>
                  </a:cxn>
                  <a:cxn ang="0">
                    <a:pos x="260" y="698"/>
                  </a:cxn>
                  <a:cxn ang="0">
                    <a:pos x="280" y="680"/>
                  </a:cxn>
                  <a:cxn ang="0">
                    <a:pos x="298" y="676"/>
                  </a:cxn>
                  <a:cxn ang="0">
                    <a:pos x="318" y="654"/>
                  </a:cxn>
                  <a:cxn ang="0">
                    <a:pos x="372" y="638"/>
                  </a:cxn>
                  <a:cxn ang="0">
                    <a:pos x="446" y="638"/>
                  </a:cxn>
                  <a:cxn ang="0">
                    <a:pos x="472" y="626"/>
                  </a:cxn>
                  <a:cxn ang="0">
                    <a:pos x="516" y="616"/>
                  </a:cxn>
                  <a:cxn ang="0">
                    <a:pos x="550" y="592"/>
                  </a:cxn>
                  <a:cxn ang="0">
                    <a:pos x="574" y="582"/>
                  </a:cxn>
                  <a:cxn ang="0">
                    <a:pos x="590" y="570"/>
                  </a:cxn>
                  <a:cxn ang="0">
                    <a:pos x="610" y="574"/>
                  </a:cxn>
                  <a:cxn ang="0">
                    <a:pos x="642" y="576"/>
                  </a:cxn>
                  <a:cxn ang="0">
                    <a:pos x="676" y="570"/>
                  </a:cxn>
                  <a:cxn ang="0">
                    <a:pos x="716" y="518"/>
                  </a:cxn>
                  <a:cxn ang="0">
                    <a:pos x="768" y="496"/>
                  </a:cxn>
                  <a:cxn ang="0">
                    <a:pos x="840" y="480"/>
                  </a:cxn>
                  <a:cxn ang="0">
                    <a:pos x="900" y="454"/>
                  </a:cxn>
                  <a:cxn ang="0">
                    <a:pos x="940" y="444"/>
                  </a:cxn>
                  <a:cxn ang="0">
                    <a:pos x="998" y="424"/>
                  </a:cxn>
                  <a:cxn ang="0">
                    <a:pos x="1048" y="396"/>
                  </a:cxn>
                  <a:cxn ang="0">
                    <a:pos x="1062" y="348"/>
                  </a:cxn>
                  <a:cxn ang="0">
                    <a:pos x="1098" y="296"/>
                  </a:cxn>
                  <a:cxn ang="0">
                    <a:pos x="1116" y="288"/>
                  </a:cxn>
                  <a:cxn ang="0">
                    <a:pos x="1148" y="274"/>
                  </a:cxn>
                </a:cxnLst>
                <a:rect l="0" t="0" r="r" b="b"/>
                <a:pathLst>
                  <a:path w="1166" h="724">
                    <a:moveTo>
                      <a:pt x="1128" y="188"/>
                    </a:moveTo>
                    <a:lnTo>
                      <a:pt x="1038" y="0"/>
                    </a:lnTo>
                    <a:lnTo>
                      <a:pt x="954" y="22"/>
                    </a:lnTo>
                    <a:lnTo>
                      <a:pt x="820" y="54"/>
                    </a:lnTo>
                    <a:lnTo>
                      <a:pt x="684" y="86"/>
                    </a:lnTo>
                    <a:lnTo>
                      <a:pt x="602" y="178"/>
                    </a:lnTo>
                    <a:lnTo>
                      <a:pt x="528" y="258"/>
                    </a:lnTo>
                    <a:lnTo>
                      <a:pt x="410" y="386"/>
                    </a:lnTo>
                    <a:lnTo>
                      <a:pt x="410" y="362"/>
                    </a:lnTo>
                    <a:lnTo>
                      <a:pt x="412" y="264"/>
                    </a:lnTo>
                    <a:lnTo>
                      <a:pt x="318" y="222"/>
                    </a:lnTo>
                    <a:lnTo>
                      <a:pt x="266" y="198"/>
                    </a:lnTo>
                    <a:lnTo>
                      <a:pt x="212" y="174"/>
                    </a:lnTo>
                    <a:lnTo>
                      <a:pt x="208" y="172"/>
                    </a:lnTo>
                    <a:lnTo>
                      <a:pt x="200" y="170"/>
                    </a:lnTo>
                    <a:lnTo>
                      <a:pt x="178" y="170"/>
                    </a:lnTo>
                    <a:lnTo>
                      <a:pt x="166" y="178"/>
                    </a:lnTo>
                    <a:lnTo>
                      <a:pt x="150" y="182"/>
                    </a:lnTo>
                    <a:lnTo>
                      <a:pt x="130" y="176"/>
                    </a:lnTo>
                    <a:lnTo>
                      <a:pt x="128" y="174"/>
                    </a:lnTo>
                    <a:lnTo>
                      <a:pt x="120" y="166"/>
                    </a:lnTo>
                    <a:lnTo>
                      <a:pt x="120" y="164"/>
                    </a:lnTo>
                    <a:lnTo>
                      <a:pt x="118" y="162"/>
                    </a:lnTo>
                    <a:lnTo>
                      <a:pt x="116" y="160"/>
                    </a:lnTo>
                    <a:lnTo>
                      <a:pt x="104" y="154"/>
                    </a:lnTo>
                    <a:lnTo>
                      <a:pt x="96" y="154"/>
                    </a:lnTo>
                    <a:lnTo>
                      <a:pt x="92" y="154"/>
                    </a:lnTo>
                    <a:lnTo>
                      <a:pt x="88" y="156"/>
                    </a:lnTo>
                    <a:lnTo>
                      <a:pt x="84" y="158"/>
                    </a:lnTo>
                    <a:lnTo>
                      <a:pt x="82" y="160"/>
                    </a:lnTo>
                    <a:lnTo>
                      <a:pt x="76" y="166"/>
                    </a:lnTo>
                    <a:lnTo>
                      <a:pt x="68" y="174"/>
                    </a:lnTo>
                    <a:lnTo>
                      <a:pt x="62" y="198"/>
                    </a:lnTo>
                    <a:lnTo>
                      <a:pt x="58" y="222"/>
                    </a:lnTo>
                    <a:lnTo>
                      <a:pt x="62" y="232"/>
                    </a:lnTo>
                    <a:lnTo>
                      <a:pt x="66" y="246"/>
                    </a:lnTo>
                    <a:lnTo>
                      <a:pt x="66" y="250"/>
                    </a:lnTo>
                    <a:lnTo>
                      <a:pt x="58" y="248"/>
                    </a:lnTo>
                    <a:lnTo>
                      <a:pt x="54" y="250"/>
                    </a:lnTo>
                    <a:lnTo>
                      <a:pt x="52" y="258"/>
                    </a:lnTo>
                    <a:lnTo>
                      <a:pt x="50" y="262"/>
                    </a:lnTo>
                    <a:lnTo>
                      <a:pt x="48" y="264"/>
                    </a:lnTo>
                    <a:lnTo>
                      <a:pt x="32" y="278"/>
                    </a:lnTo>
                    <a:lnTo>
                      <a:pt x="22" y="282"/>
                    </a:lnTo>
                    <a:lnTo>
                      <a:pt x="18" y="282"/>
                    </a:lnTo>
                    <a:lnTo>
                      <a:pt x="20" y="286"/>
                    </a:lnTo>
                    <a:lnTo>
                      <a:pt x="20" y="290"/>
                    </a:lnTo>
                    <a:lnTo>
                      <a:pt x="22" y="316"/>
                    </a:lnTo>
                    <a:lnTo>
                      <a:pt x="22" y="318"/>
                    </a:lnTo>
                    <a:lnTo>
                      <a:pt x="22" y="328"/>
                    </a:lnTo>
                    <a:lnTo>
                      <a:pt x="20" y="340"/>
                    </a:lnTo>
                    <a:lnTo>
                      <a:pt x="16" y="342"/>
                    </a:lnTo>
                    <a:lnTo>
                      <a:pt x="12" y="344"/>
                    </a:lnTo>
                    <a:lnTo>
                      <a:pt x="10" y="354"/>
                    </a:lnTo>
                    <a:lnTo>
                      <a:pt x="8" y="356"/>
                    </a:lnTo>
                    <a:lnTo>
                      <a:pt x="4" y="356"/>
                    </a:lnTo>
                    <a:lnTo>
                      <a:pt x="4" y="360"/>
                    </a:lnTo>
                    <a:lnTo>
                      <a:pt x="4" y="366"/>
                    </a:lnTo>
                    <a:lnTo>
                      <a:pt x="6" y="374"/>
                    </a:lnTo>
                    <a:lnTo>
                      <a:pt x="10" y="380"/>
                    </a:lnTo>
                    <a:lnTo>
                      <a:pt x="14" y="388"/>
                    </a:lnTo>
                    <a:lnTo>
                      <a:pt x="14" y="400"/>
                    </a:lnTo>
                    <a:lnTo>
                      <a:pt x="14" y="410"/>
                    </a:lnTo>
                    <a:lnTo>
                      <a:pt x="14" y="414"/>
                    </a:lnTo>
                    <a:lnTo>
                      <a:pt x="10" y="414"/>
                    </a:lnTo>
                    <a:lnTo>
                      <a:pt x="6" y="406"/>
                    </a:lnTo>
                    <a:lnTo>
                      <a:pt x="2" y="408"/>
                    </a:lnTo>
                    <a:lnTo>
                      <a:pt x="0" y="412"/>
                    </a:lnTo>
                    <a:lnTo>
                      <a:pt x="0" y="416"/>
                    </a:lnTo>
                    <a:lnTo>
                      <a:pt x="4" y="416"/>
                    </a:lnTo>
                    <a:lnTo>
                      <a:pt x="8" y="418"/>
                    </a:lnTo>
                    <a:lnTo>
                      <a:pt x="12" y="420"/>
                    </a:lnTo>
                    <a:lnTo>
                      <a:pt x="18" y="424"/>
                    </a:lnTo>
                    <a:lnTo>
                      <a:pt x="20" y="426"/>
                    </a:lnTo>
                    <a:lnTo>
                      <a:pt x="28" y="446"/>
                    </a:lnTo>
                    <a:lnTo>
                      <a:pt x="28" y="450"/>
                    </a:lnTo>
                    <a:lnTo>
                      <a:pt x="28" y="456"/>
                    </a:lnTo>
                    <a:lnTo>
                      <a:pt x="28" y="462"/>
                    </a:lnTo>
                    <a:lnTo>
                      <a:pt x="28" y="466"/>
                    </a:lnTo>
                    <a:lnTo>
                      <a:pt x="28" y="476"/>
                    </a:lnTo>
                    <a:lnTo>
                      <a:pt x="32" y="484"/>
                    </a:lnTo>
                    <a:lnTo>
                      <a:pt x="36" y="494"/>
                    </a:lnTo>
                    <a:lnTo>
                      <a:pt x="34" y="506"/>
                    </a:lnTo>
                    <a:lnTo>
                      <a:pt x="38" y="524"/>
                    </a:lnTo>
                    <a:lnTo>
                      <a:pt x="42" y="538"/>
                    </a:lnTo>
                    <a:lnTo>
                      <a:pt x="42" y="540"/>
                    </a:lnTo>
                    <a:lnTo>
                      <a:pt x="40" y="548"/>
                    </a:lnTo>
                    <a:lnTo>
                      <a:pt x="40" y="558"/>
                    </a:lnTo>
                    <a:lnTo>
                      <a:pt x="42" y="562"/>
                    </a:lnTo>
                    <a:lnTo>
                      <a:pt x="48" y="566"/>
                    </a:lnTo>
                    <a:lnTo>
                      <a:pt x="52" y="570"/>
                    </a:lnTo>
                    <a:lnTo>
                      <a:pt x="56" y="572"/>
                    </a:lnTo>
                    <a:lnTo>
                      <a:pt x="60" y="590"/>
                    </a:lnTo>
                    <a:lnTo>
                      <a:pt x="60" y="596"/>
                    </a:lnTo>
                    <a:lnTo>
                      <a:pt x="60" y="598"/>
                    </a:lnTo>
                    <a:lnTo>
                      <a:pt x="60" y="604"/>
                    </a:lnTo>
                    <a:lnTo>
                      <a:pt x="58" y="610"/>
                    </a:lnTo>
                    <a:lnTo>
                      <a:pt x="56" y="634"/>
                    </a:lnTo>
                    <a:lnTo>
                      <a:pt x="54" y="638"/>
                    </a:lnTo>
                    <a:lnTo>
                      <a:pt x="52" y="642"/>
                    </a:lnTo>
                    <a:lnTo>
                      <a:pt x="54" y="650"/>
                    </a:lnTo>
                    <a:lnTo>
                      <a:pt x="58" y="654"/>
                    </a:lnTo>
                    <a:lnTo>
                      <a:pt x="66" y="668"/>
                    </a:lnTo>
                    <a:lnTo>
                      <a:pt x="70" y="678"/>
                    </a:lnTo>
                    <a:lnTo>
                      <a:pt x="80" y="694"/>
                    </a:lnTo>
                    <a:lnTo>
                      <a:pt x="80" y="698"/>
                    </a:lnTo>
                    <a:lnTo>
                      <a:pt x="78" y="702"/>
                    </a:lnTo>
                    <a:lnTo>
                      <a:pt x="76" y="710"/>
                    </a:lnTo>
                    <a:lnTo>
                      <a:pt x="78" y="712"/>
                    </a:lnTo>
                    <a:lnTo>
                      <a:pt x="80" y="712"/>
                    </a:lnTo>
                    <a:lnTo>
                      <a:pt x="82" y="712"/>
                    </a:lnTo>
                    <a:lnTo>
                      <a:pt x="84" y="710"/>
                    </a:lnTo>
                    <a:lnTo>
                      <a:pt x="88" y="706"/>
                    </a:lnTo>
                    <a:lnTo>
                      <a:pt x="92" y="704"/>
                    </a:lnTo>
                    <a:lnTo>
                      <a:pt x="102" y="706"/>
                    </a:lnTo>
                    <a:lnTo>
                      <a:pt x="118" y="712"/>
                    </a:lnTo>
                    <a:lnTo>
                      <a:pt x="126" y="718"/>
                    </a:lnTo>
                    <a:lnTo>
                      <a:pt x="128" y="722"/>
                    </a:lnTo>
                    <a:lnTo>
                      <a:pt x="132" y="724"/>
                    </a:lnTo>
                    <a:lnTo>
                      <a:pt x="158" y="722"/>
                    </a:lnTo>
                    <a:lnTo>
                      <a:pt x="170" y="720"/>
                    </a:lnTo>
                    <a:lnTo>
                      <a:pt x="184" y="716"/>
                    </a:lnTo>
                    <a:lnTo>
                      <a:pt x="186" y="714"/>
                    </a:lnTo>
                    <a:lnTo>
                      <a:pt x="192" y="710"/>
                    </a:lnTo>
                    <a:lnTo>
                      <a:pt x="198" y="704"/>
                    </a:lnTo>
                    <a:lnTo>
                      <a:pt x="202" y="702"/>
                    </a:lnTo>
                    <a:lnTo>
                      <a:pt x="204" y="702"/>
                    </a:lnTo>
                    <a:lnTo>
                      <a:pt x="208" y="702"/>
                    </a:lnTo>
                    <a:lnTo>
                      <a:pt x="214" y="702"/>
                    </a:lnTo>
                    <a:lnTo>
                      <a:pt x="220" y="706"/>
                    </a:lnTo>
                    <a:lnTo>
                      <a:pt x="234" y="712"/>
                    </a:lnTo>
                    <a:lnTo>
                      <a:pt x="240" y="712"/>
                    </a:lnTo>
                    <a:lnTo>
                      <a:pt x="242" y="710"/>
                    </a:lnTo>
                    <a:lnTo>
                      <a:pt x="242" y="708"/>
                    </a:lnTo>
                    <a:lnTo>
                      <a:pt x="238" y="708"/>
                    </a:lnTo>
                    <a:lnTo>
                      <a:pt x="238" y="704"/>
                    </a:lnTo>
                    <a:lnTo>
                      <a:pt x="246" y="700"/>
                    </a:lnTo>
                    <a:lnTo>
                      <a:pt x="254" y="700"/>
                    </a:lnTo>
                    <a:lnTo>
                      <a:pt x="256" y="710"/>
                    </a:lnTo>
                    <a:lnTo>
                      <a:pt x="260" y="698"/>
                    </a:lnTo>
                    <a:lnTo>
                      <a:pt x="264" y="688"/>
                    </a:lnTo>
                    <a:lnTo>
                      <a:pt x="266" y="686"/>
                    </a:lnTo>
                    <a:lnTo>
                      <a:pt x="272" y="682"/>
                    </a:lnTo>
                    <a:lnTo>
                      <a:pt x="276" y="680"/>
                    </a:lnTo>
                    <a:lnTo>
                      <a:pt x="280" y="680"/>
                    </a:lnTo>
                    <a:lnTo>
                      <a:pt x="284" y="678"/>
                    </a:lnTo>
                    <a:lnTo>
                      <a:pt x="288" y="678"/>
                    </a:lnTo>
                    <a:lnTo>
                      <a:pt x="290" y="678"/>
                    </a:lnTo>
                    <a:lnTo>
                      <a:pt x="296" y="678"/>
                    </a:lnTo>
                    <a:lnTo>
                      <a:pt x="298" y="676"/>
                    </a:lnTo>
                    <a:lnTo>
                      <a:pt x="306" y="668"/>
                    </a:lnTo>
                    <a:lnTo>
                      <a:pt x="308" y="666"/>
                    </a:lnTo>
                    <a:lnTo>
                      <a:pt x="308" y="662"/>
                    </a:lnTo>
                    <a:lnTo>
                      <a:pt x="314" y="656"/>
                    </a:lnTo>
                    <a:lnTo>
                      <a:pt x="318" y="654"/>
                    </a:lnTo>
                    <a:lnTo>
                      <a:pt x="326" y="646"/>
                    </a:lnTo>
                    <a:lnTo>
                      <a:pt x="328" y="644"/>
                    </a:lnTo>
                    <a:lnTo>
                      <a:pt x="346" y="642"/>
                    </a:lnTo>
                    <a:lnTo>
                      <a:pt x="360" y="640"/>
                    </a:lnTo>
                    <a:lnTo>
                      <a:pt x="372" y="638"/>
                    </a:lnTo>
                    <a:lnTo>
                      <a:pt x="386" y="638"/>
                    </a:lnTo>
                    <a:lnTo>
                      <a:pt x="400" y="638"/>
                    </a:lnTo>
                    <a:lnTo>
                      <a:pt x="406" y="640"/>
                    </a:lnTo>
                    <a:lnTo>
                      <a:pt x="420" y="640"/>
                    </a:lnTo>
                    <a:lnTo>
                      <a:pt x="446" y="638"/>
                    </a:lnTo>
                    <a:lnTo>
                      <a:pt x="454" y="636"/>
                    </a:lnTo>
                    <a:lnTo>
                      <a:pt x="460" y="634"/>
                    </a:lnTo>
                    <a:lnTo>
                      <a:pt x="464" y="632"/>
                    </a:lnTo>
                    <a:lnTo>
                      <a:pt x="466" y="628"/>
                    </a:lnTo>
                    <a:lnTo>
                      <a:pt x="472" y="626"/>
                    </a:lnTo>
                    <a:lnTo>
                      <a:pt x="482" y="624"/>
                    </a:lnTo>
                    <a:lnTo>
                      <a:pt x="500" y="622"/>
                    </a:lnTo>
                    <a:lnTo>
                      <a:pt x="510" y="618"/>
                    </a:lnTo>
                    <a:lnTo>
                      <a:pt x="514" y="618"/>
                    </a:lnTo>
                    <a:lnTo>
                      <a:pt x="516" y="616"/>
                    </a:lnTo>
                    <a:lnTo>
                      <a:pt x="526" y="616"/>
                    </a:lnTo>
                    <a:lnTo>
                      <a:pt x="528" y="614"/>
                    </a:lnTo>
                    <a:lnTo>
                      <a:pt x="532" y="610"/>
                    </a:lnTo>
                    <a:lnTo>
                      <a:pt x="548" y="596"/>
                    </a:lnTo>
                    <a:lnTo>
                      <a:pt x="550" y="592"/>
                    </a:lnTo>
                    <a:lnTo>
                      <a:pt x="552" y="590"/>
                    </a:lnTo>
                    <a:lnTo>
                      <a:pt x="556" y="588"/>
                    </a:lnTo>
                    <a:lnTo>
                      <a:pt x="564" y="586"/>
                    </a:lnTo>
                    <a:lnTo>
                      <a:pt x="568" y="584"/>
                    </a:lnTo>
                    <a:lnTo>
                      <a:pt x="574" y="582"/>
                    </a:lnTo>
                    <a:lnTo>
                      <a:pt x="578" y="580"/>
                    </a:lnTo>
                    <a:lnTo>
                      <a:pt x="582" y="578"/>
                    </a:lnTo>
                    <a:lnTo>
                      <a:pt x="584" y="574"/>
                    </a:lnTo>
                    <a:lnTo>
                      <a:pt x="586" y="572"/>
                    </a:lnTo>
                    <a:lnTo>
                      <a:pt x="590" y="570"/>
                    </a:lnTo>
                    <a:lnTo>
                      <a:pt x="594" y="570"/>
                    </a:lnTo>
                    <a:lnTo>
                      <a:pt x="596" y="570"/>
                    </a:lnTo>
                    <a:lnTo>
                      <a:pt x="600" y="570"/>
                    </a:lnTo>
                    <a:lnTo>
                      <a:pt x="602" y="570"/>
                    </a:lnTo>
                    <a:lnTo>
                      <a:pt x="610" y="574"/>
                    </a:lnTo>
                    <a:lnTo>
                      <a:pt x="616" y="576"/>
                    </a:lnTo>
                    <a:lnTo>
                      <a:pt x="620" y="578"/>
                    </a:lnTo>
                    <a:lnTo>
                      <a:pt x="626" y="578"/>
                    </a:lnTo>
                    <a:lnTo>
                      <a:pt x="630" y="576"/>
                    </a:lnTo>
                    <a:lnTo>
                      <a:pt x="642" y="576"/>
                    </a:lnTo>
                    <a:lnTo>
                      <a:pt x="658" y="572"/>
                    </a:lnTo>
                    <a:lnTo>
                      <a:pt x="664" y="570"/>
                    </a:lnTo>
                    <a:lnTo>
                      <a:pt x="672" y="572"/>
                    </a:lnTo>
                    <a:lnTo>
                      <a:pt x="674" y="572"/>
                    </a:lnTo>
                    <a:lnTo>
                      <a:pt x="676" y="570"/>
                    </a:lnTo>
                    <a:lnTo>
                      <a:pt x="690" y="558"/>
                    </a:lnTo>
                    <a:lnTo>
                      <a:pt x="708" y="540"/>
                    </a:lnTo>
                    <a:lnTo>
                      <a:pt x="708" y="536"/>
                    </a:lnTo>
                    <a:lnTo>
                      <a:pt x="710" y="526"/>
                    </a:lnTo>
                    <a:lnTo>
                      <a:pt x="716" y="518"/>
                    </a:lnTo>
                    <a:lnTo>
                      <a:pt x="718" y="518"/>
                    </a:lnTo>
                    <a:lnTo>
                      <a:pt x="722" y="516"/>
                    </a:lnTo>
                    <a:lnTo>
                      <a:pt x="736" y="510"/>
                    </a:lnTo>
                    <a:lnTo>
                      <a:pt x="754" y="502"/>
                    </a:lnTo>
                    <a:lnTo>
                      <a:pt x="768" y="496"/>
                    </a:lnTo>
                    <a:lnTo>
                      <a:pt x="788" y="488"/>
                    </a:lnTo>
                    <a:lnTo>
                      <a:pt x="816" y="480"/>
                    </a:lnTo>
                    <a:lnTo>
                      <a:pt x="824" y="480"/>
                    </a:lnTo>
                    <a:lnTo>
                      <a:pt x="826" y="484"/>
                    </a:lnTo>
                    <a:lnTo>
                      <a:pt x="840" y="480"/>
                    </a:lnTo>
                    <a:lnTo>
                      <a:pt x="866" y="464"/>
                    </a:lnTo>
                    <a:lnTo>
                      <a:pt x="870" y="462"/>
                    </a:lnTo>
                    <a:lnTo>
                      <a:pt x="874" y="460"/>
                    </a:lnTo>
                    <a:lnTo>
                      <a:pt x="882" y="456"/>
                    </a:lnTo>
                    <a:lnTo>
                      <a:pt x="900" y="454"/>
                    </a:lnTo>
                    <a:lnTo>
                      <a:pt x="902" y="454"/>
                    </a:lnTo>
                    <a:lnTo>
                      <a:pt x="904" y="454"/>
                    </a:lnTo>
                    <a:lnTo>
                      <a:pt x="918" y="450"/>
                    </a:lnTo>
                    <a:lnTo>
                      <a:pt x="932" y="446"/>
                    </a:lnTo>
                    <a:lnTo>
                      <a:pt x="940" y="444"/>
                    </a:lnTo>
                    <a:lnTo>
                      <a:pt x="952" y="442"/>
                    </a:lnTo>
                    <a:lnTo>
                      <a:pt x="960" y="440"/>
                    </a:lnTo>
                    <a:lnTo>
                      <a:pt x="962" y="438"/>
                    </a:lnTo>
                    <a:lnTo>
                      <a:pt x="988" y="428"/>
                    </a:lnTo>
                    <a:lnTo>
                      <a:pt x="998" y="424"/>
                    </a:lnTo>
                    <a:lnTo>
                      <a:pt x="1006" y="420"/>
                    </a:lnTo>
                    <a:lnTo>
                      <a:pt x="1008" y="416"/>
                    </a:lnTo>
                    <a:lnTo>
                      <a:pt x="1014" y="412"/>
                    </a:lnTo>
                    <a:lnTo>
                      <a:pt x="1040" y="400"/>
                    </a:lnTo>
                    <a:lnTo>
                      <a:pt x="1048" y="396"/>
                    </a:lnTo>
                    <a:lnTo>
                      <a:pt x="1066" y="390"/>
                    </a:lnTo>
                    <a:lnTo>
                      <a:pt x="1070" y="382"/>
                    </a:lnTo>
                    <a:lnTo>
                      <a:pt x="1068" y="372"/>
                    </a:lnTo>
                    <a:lnTo>
                      <a:pt x="1064" y="360"/>
                    </a:lnTo>
                    <a:lnTo>
                      <a:pt x="1062" y="348"/>
                    </a:lnTo>
                    <a:lnTo>
                      <a:pt x="1068" y="326"/>
                    </a:lnTo>
                    <a:lnTo>
                      <a:pt x="1076" y="314"/>
                    </a:lnTo>
                    <a:lnTo>
                      <a:pt x="1092" y="300"/>
                    </a:lnTo>
                    <a:lnTo>
                      <a:pt x="1094" y="298"/>
                    </a:lnTo>
                    <a:lnTo>
                      <a:pt x="1098" y="296"/>
                    </a:lnTo>
                    <a:lnTo>
                      <a:pt x="1100" y="296"/>
                    </a:lnTo>
                    <a:lnTo>
                      <a:pt x="1106" y="290"/>
                    </a:lnTo>
                    <a:lnTo>
                      <a:pt x="1110" y="290"/>
                    </a:lnTo>
                    <a:lnTo>
                      <a:pt x="1112" y="288"/>
                    </a:lnTo>
                    <a:lnTo>
                      <a:pt x="1116" y="288"/>
                    </a:lnTo>
                    <a:lnTo>
                      <a:pt x="1124" y="286"/>
                    </a:lnTo>
                    <a:lnTo>
                      <a:pt x="1140" y="280"/>
                    </a:lnTo>
                    <a:lnTo>
                      <a:pt x="1142" y="278"/>
                    </a:lnTo>
                    <a:lnTo>
                      <a:pt x="1144" y="276"/>
                    </a:lnTo>
                    <a:lnTo>
                      <a:pt x="1148" y="274"/>
                    </a:lnTo>
                    <a:lnTo>
                      <a:pt x="1156" y="270"/>
                    </a:lnTo>
                    <a:lnTo>
                      <a:pt x="1166" y="268"/>
                    </a:lnTo>
                    <a:lnTo>
                      <a:pt x="1132" y="196"/>
                    </a:lnTo>
                    <a:lnTo>
                      <a:pt x="1128" y="18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2" name="Freeform 1967"/>
              <p:cNvSpPr>
                <a:spLocks/>
              </p:cNvSpPr>
              <p:nvPr/>
            </p:nvSpPr>
            <p:spPr bwMode="auto">
              <a:xfrm>
                <a:off x="1805" y="3408"/>
                <a:ext cx="12" cy="20"/>
              </a:xfrm>
              <a:custGeom>
                <a:avLst/>
                <a:gdLst/>
                <a:ahLst/>
                <a:cxnLst>
                  <a:cxn ang="0">
                    <a:pos x="12" y="6"/>
                  </a:cxn>
                  <a:cxn ang="0">
                    <a:pos x="12" y="0"/>
                  </a:cxn>
                  <a:cxn ang="0">
                    <a:pos x="10" y="0"/>
                  </a:cxn>
                  <a:cxn ang="0">
                    <a:pos x="8" y="0"/>
                  </a:cxn>
                  <a:cxn ang="0">
                    <a:pos x="4" y="4"/>
                  </a:cxn>
                  <a:cxn ang="0">
                    <a:pos x="2" y="6"/>
                  </a:cxn>
                  <a:cxn ang="0">
                    <a:pos x="0" y="16"/>
                  </a:cxn>
                  <a:cxn ang="0">
                    <a:pos x="2" y="18"/>
                  </a:cxn>
                  <a:cxn ang="0">
                    <a:pos x="2" y="20"/>
                  </a:cxn>
                  <a:cxn ang="0">
                    <a:pos x="4" y="20"/>
                  </a:cxn>
                  <a:cxn ang="0">
                    <a:pos x="6" y="16"/>
                  </a:cxn>
                  <a:cxn ang="0">
                    <a:pos x="10" y="12"/>
                  </a:cxn>
                  <a:cxn ang="0">
                    <a:pos x="12" y="6"/>
                  </a:cxn>
                </a:cxnLst>
                <a:rect l="0" t="0" r="r" b="b"/>
                <a:pathLst>
                  <a:path w="12" h="20">
                    <a:moveTo>
                      <a:pt x="12" y="6"/>
                    </a:moveTo>
                    <a:lnTo>
                      <a:pt x="12" y="0"/>
                    </a:lnTo>
                    <a:lnTo>
                      <a:pt x="10" y="0"/>
                    </a:lnTo>
                    <a:lnTo>
                      <a:pt x="8" y="0"/>
                    </a:lnTo>
                    <a:lnTo>
                      <a:pt x="4" y="4"/>
                    </a:lnTo>
                    <a:lnTo>
                      <a:pt x="2" y="6"/>
                    </a:lnTo>
                    <a:lnTo>
                      <a:pt x="0" y="16"/>
                    </a:lnTo>
                    <a:lnTo>
                      <a:pt x="2" y="18"/>
                    </a:lnTo>
                    <a:lnTo>
                      <a:pt x="2" y="20"/>
                    </a:lnTo>
                    <a:lnTo>
                      <a:pt x="4" y="20"/>
                    </a:lnTo>
                    <a:lnTo>
                      <a:pt x="6" y="16"/>
                    </a:lnTo>
                    <a:lnTo>
                      <a:pt x="10" y="12"/>
                    </a:lnTo>
                    <a:lnTo>
                      <a:pt x="1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3" name="Freeform 1968"/>
              <p:cNvSpPr>
                <a:spLocks/>
              </p:cNvSpPr>
              <p:nvPr/>
            </p:nvSpPr>
            <p:spPr bwMode="auto">
              <a:xfrm>
                <a:off x="1813" y="3568"/>
                <a:ext cx="14" cy="18"/>
              </a:xfrm>
              <a:custGeom>
                <a:avLst/>
                <a:gdLst/>
                <a:ahLst/>
                <a:cxnLst>
                  <a:cxn ang="0">
                    <a:pos x="12" y="2"/>
                  </a:cxn>
                  <a:cxn ang="0">
                    <a:pos x="10" y="0"/>
                  </a:cxn>
                  <a:cxn ang="0">
                    <a:pos x="6" y="0"/>
                  </a:cxn>
                  <a:cxn ang="0">
                    <a:pos x="0" y="6"/>
                  </a:cxn>
                  <a:cxn ang="0">
                    <a:pos x="2" y="8"/>
                  </a:cxn>
                  <a:cxn ang="0">
                    <a:pos x="8" y="18"/>
                  </a:cxn>
                  <a:cxn ang="0">
                    <a:pos x="10" y="18"/>
                  </a:cxn>
                  <a:cxn ang="0">
                    <a:pos x="12" y="18"/>
                  </a:cxn>
                  <a:cxn ang="0">
                    <a:pos x="14" y="8"/>
                  </a:cxn>
                  <a:cxn ang="0">
                    <a:pos x="12" y="2"/>
                  </a:cxn>
                </a:cxnLst>
                <a:rect l="0" t="0" r="r" b="b"/>
                <a:pathLst>
                  <a:path w="14" h="18">
                    <a:moveTo>
                      <a:pt x="12" y="2"/>
                    </a:moveTo>
                    <a:lnTo>
                      <a:pt x="10" y="0"/>
                    </a:lnTo>
                    <a:lnTo>
                      <a:pt x="6" y="0"/>
                    </a:lnTo>
                    <a:lnTo>
                      <a:pt x="0" y="6"/>
                    </a:lnTo>
                    <a:lnTo>
                      <a:pt x="2" y="8"/>
                    </a:lnTo>
                    <a:lnTo>
                      <a:pt x="8" y="18"/>
                    </a:lnTo>
                    <a:lnTo>
                      <a:pt x="10" y="18"/>
                    </a:lnTo>
                    <a:lnTo>
                      <a:pt x="12" y="18"/>
                    </a:lnTo>
                    <a:lnTo>
                      <a:pt x="14" y="8"/>
                    </a:lnTo>
                    <a:lnTo>
                      <a:pt x="1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4" name="Freeform 1969"/>
              <p:cNvSpPr>
                <a:spLocks/>
              </p:cNvSpPr>
              <p:nvPr/>
            </p:nvSpPr>
            <p:spPr bwMode="auto">
              <a:xfrm>
                <a:off x="3019" y="3740"/>
                <a:ext cx="130" cy="46"/>
              </a:xfrm>
              <a:custGeom>
                <a:avLst/>
                <a:gdLst/>
                <a:ahLst/>
                <a:cxnLst>
                  <a:cxn ang="0">
                    <a:pos x="106" y="6"/>
                  </a:cxn>
                  <a:cxn ang="0">
                    <a:pos x="102" y="4"/>
                  </a:cxn>
                  <a:cxn ang="0">
                    <a:pos x="96" y="2"/>
                  </a:cxn>
                  <a:cxn ang="0">
                    <a:pos x="92" y="0"/>
                  </a:cxn>
                  <a:cxn ang="0">
                    <a:pos x="90" y="0"/>
                  </a:cxn>
                  <a:cxn ang="0">
                    <a:pos x="86" y="0"/>
                  </a:cxn>
                  <a:cxn ang="0">
                    <a:pos x="84" y="2"/>
                  </a:cxn>
                  <a:cxn ang="0">
                    <a:pos x="76" y="4"/>
                  </a:cxn>
                  <a:cxn ang="0">
                    <a:pos x="56" y="12"/>
                  </a:cxn>
                  <a:cxn ang="0">
                    <a:pos x="50" y="10"/>
                  </a:cxn>
                  <a:cxn ang="0">
                    <a:pos x="44" y="6"/>
                  </a:cxn>
                  <a:cxn ang="0">
                    <a:pos x="36" y="0"/>
                  </a:cxn>
                  <a:cxn ang="0">
                    <a:pos x="20" y="0"/>
                  </a:cxn>
                  <a:cxn ang="0">
                    <a:pos x="8" y="6"/>
                  </a:cxn>
                  <a:cxn ang="0">
                    <a:pos x="8" y="10"/>
                  </a:cxn>
                  <a:cxn ang="0">
                    <a:pos x="8" y="14"/>
                  </a:cxn>
                  <a:cxn ang="0">
                    <a:pos x="8" y="16"/>
                  </a:cxn>
                  <a:cxn ang="0">
                    <a:pos x="4" y="18"/>
                  </a:cxn>
                  <a:cxn ang="0">
                    <a:pos x="0" y="20"/>
                  </a:cxn>
                  <a:cxn ang="0">
                    <a:pos x="4" y="26"/>
                  </a:cxn>
                  <a:cxn ang="0">
                    <a:pos x="28" y="42"/>
                  </a:cxn>
                  <a:cxn ang="0">
                    <a:pos x="30" y="42"/>
                  </a:cxn>
                  <a:cxn ang="0">
                    <a:pos x="36" y="44"/>
                  </a:cxn>
                  <a:cxn ang="0">
                    <a:pos x="50" y="46"/>
                  </a:cxn>
                  <a:cxn ang="0">
                    <a:pos x="54" y="46"/>
                  </a:cxn>
                  <a:cxn ang="0">
                    <a:pos x="78" y="40"/>
                  </a:cxn>
                  <a:cxn ang="0">
                    <a:pos x="92" y="40"/>
                  </a:cxn>
                  <a:cxn ang="0">
                    <a:pos x="94" y="40"/>
                  </a:cxn>
                  <a:cxn ang="0">
                    <a:pos x="98" y="36"/>
                  </a:cxn>
                  <a:cxn ang="0">
                    <a:pos x="102" y="34"/>
                  </a:cxn>
                  <a:cxn ang="0">
                    <a:pos x="124" y="24"/>
                  </a:cxn>
                  <a:cxn ang="0">
                    <a:pos x="130" y="16"/>
                  </a:cxn>
                  <a:cxn ang="0">
                    <a:pos x="128" y="12"/>
                  </a:cxn>
                  <a:cxn ang="0">
                    <a:pos x="106" y="6"/>
                  </a:cxn>
                </a:cxnLst>
                <a:rect l="0" t="0" r="r" b="b"/>
                <a:pathLst>
                  <a:path w="130" h="46">
                    <a:moveTo>
                      <a:pt x="106" y="6"/>
                    </a:moveTo>
                    <a:lnTo>
                      <a:pt x="102" y="4"/>
                    </a:lnTo>
                    <a:lnTo>
                      <a:pt x="96" y="2"/>
                    </a:lnTo>
                    <a:lnTo>
                      <a:pt x="92" y="0"/>
                    </a:lnTo>
                    <a:lnTo>
                      <a:pt x="90" y="0"/>
                    </a:lnTo>
                    <a:lnTo>
                      <a:pt x="86" y="0"/>
                    </a:lnTo>
                    <a:lnTo>
                      <a:pt x="84" y="2"/>
                    </a:lnTo>
                    <a:lnTo>
                      <a:pt x="76" y="4"/>
                    </a:lnTo>
                    <a:lnTo>
                      <a:pt x="56" y="12"/>
                    </a:lnTo>
                    <a:lnTo>
                      <a:pt x="50" y="10"/>
                    </a:lnTo>
                    <a:lnTo>
                      <a:pt x="44" y="6"/>
                    </a:lnTo>
                    <a:lnTo>
                      <a:pt x="36" y="0"/>
                    </a:lnTo>
                    <a:lnTo>
                      <a:pt x="20" y="0"/>
                    </a:lnTo>
                    <a:lnTo>
                      <a:pt x="8" y="6"/>
                    </a:lnTo>
                    <a:lnTo>
                      <a:pt x="8" y="10"/>
                    </a:lnTo>
                    <a:lnTo>
                      <a:pt x="8" y="14"/>
                    </a:lnTo>
                    <a:lnTo>
                      <a:pt x="8" y="16"/>
                    </a:lnTo>
                    <a:lnTo>
                      <a:pt x="4" y="18"/>
                    </a:lnTo>
                    <a:lnTo>
                      <a:pt x="0" y="20"/>
                    </a:lnTo>
                    <a:lnTo>
                      <a:pt x="4" y="26"/>
                    </a:lnTo>
                    <a:lnTo>
                      <a:pt x="28" y="42"/>
                    </a:lnTo>
                    <a:lnTo>
                      <a:pt x="30" y="42"/>
                    </a:lnTo>
                    <a:lnTo>
                      <a:pt x="36" y="44"/>
                    </a:lnTo>
                    <a:lnTo>
                      <a:pt x="50" y="46"/>
                    </a:lnTo>
                    <a:lnTo>
                      <a:pt x="54" y="46"/>
                    </a:lnTo>
                    <a:lnTo>
                      <a:pt x="78" y="40"/>
                    </a:lnTo>
                    <a:lnTo>
                      <a:pt x="92" y="40"/>
                    </a:lnTo>
                    <a:lnTo>
                      <a:pt x="94" y="40"/>
                    </a:lnTo>
                    <a:lnTo>
                      <a:pt x="98" y="36"/>
                    </a:lnTo>
                    <a:lnTo>
                      <a:pt x="102" y="34"/>
                    </a:lnTo>
                    <a:lnTo>
                      <a:pt x="124" y="24"/>
                    </a:lnTo>
                    <a:lnTo>
                      <a:pt x="130" y="16"/>
                    </a:lnTo>
                    <a:lnTo>
                      <a:pt x="128" y="12"/>
                    </a:lnTo>
                    <a:lnTo>
                      <a:pt x="10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5" name="Freeform 1970"/>
              <p:cNvSpPr>
                <a:spLocks/>
              </p:cNvSpPr>
              <p:nvPr/>
            </p:nvSpPr>
            <p:spPr bwMode="auto">
              <a:xfrm>
                <a:off x="2877" y="3796"/>
                <a:ext cx="36" cy="12"/>
              </a:xfrm>
              <a:custGeom>
                <a:avLst/>
                <a:gdLst/>
                <a:ahLst/>
                <a:cxnLst>
                  <a:cxn ang="0">
                    <a:pos x="24" y="6"/>
                  </a:cxn>
                  <a:cxn ang="0">
                    <a:pos x="22" y="6"/>
                  </a:cxn>
                  <a:cxn ang="0">
                    <a:pos x="18" y="6"/>
                  </a:cxn>
                  <a:cxn ang="0">
                    <a:pos x="16" y="6"/>
                  </a:cxn>
                  <a:cxn ang="0">
                    <a:pos x="14" y="6"/>
                  </a:cxn>
                  <a:cxn ang="0">
                    <a:pos x="14" y="4"/>
                  </a:cxn>
                  <a:cxn ang="0">
                    <a:pos x="12" y="4"/>
                  </a:cxn>
                  <a:cxn ang="0">
                    <a:pos x="10" y="2"/>
                  </a:cxn>
                  <a:cxn ang="0">
                    <a:pos x="6" y="0"/>
                  </a:cxn>
                  <a:cxn ang="0">
                    <a:pos x="2" y="2"/>
                  </a:cxn>
                  <a:cxn ang="0">
                    <a:pos x="0" y="4"/>
                  </a:cxn>
                  <a:cxn ang="0">
                    <a:pos x="2" y="6"/>
                  </a:cxn>
                  <a:cxn ang="0">
                    <a:pos x="4" y="6"/>
                  </a:cxn>
                  <a:cxn ang="0">
                    <a:pos x="6" y="8"/>
                  </a:cxn>
                  <a:cxn ang="0">
                    <a:pos x="12" y="10"/>
                  </a:cxn>
                  <a:cxn ang="0">
                    <a:pos x="22" y="12"/>
                  </a:cxn>
                  <a:cxn ang="0">
                    <a:pos x="30" y="12"/>
                  </a:cxn>
                  <a:cxn ang="0">
                    <a:pos x="34" y="12"/>
                  </a:cxn>
                  <a:cxn ang="0">
                    <a:pos x="36" y="10"/>
                  </a:cxn>
                  <a:cxn ang="0">
                    <a:pos x="36" y="6"/>
                  </a:cxn>
                  <a:cxn ang="0">
                    <a:pos x="32" y="6"/>
                  </a:cxn>
                  <a:cxn ang="0">
                    <a:pos x="24" y="6"/>
                  </a:cxn>
                </a:cxnLst>
                <a:rect l="0" t="0" r="r" b="b"/>
                <a:pathLst>
                  <a:path w="36" h="12">
                    <a:moveTo>
                      <a:pt x="24" y="6"/>
                    </a:moveTo>
                    <a:lnTo>
                      <a:pt x="22" y="6"/>
                    </a:lnTo>
                    <a:lnTo>
                      <a:pt x="18" y="6"/>
                    </a:lnTo>
                    <a:lnTo>
                      <a:pt x="16" y="6"/>
                    </a:lnTo>
                    <a:lnTo>
                      <a:pt x="14" y="6"/>
                    </a:lnTo>
                    <a:lnTo>
                      <a:pt x="14" y="4"/>
                    </a:lnTo>
                    <a:lnTo>
                      <a:pt x="12" y="4"/>
                    </a:lnTo>
                    <a:lnTo>
                      <a:pt x="10" y="2"/>
                    </a:lnTo>
                    <a:lnTo>
                      <a:pt x="6" y="0"/>
                    </a:lnTo>
                    <a:lnTo>
                      <a:pt x="2" y="2"/>
                    </a:lnTo>
                    <a:lnTo>
                      <a:pt x="0" y="4"/>
                    </a:lnTo>
                    <a:lnTo>
                      <a:pt x="2" y="6"/>
                    </a:lnTo>
                    <a:lnTo>
                      <a:pt x="4" y="6"/>
                    </a:lnTo>
                    <a:lnTo>
                      <a:pt x="6" y="8"/>
                    </a:lnTo>
                    <a:lnTo>
                      <a:pt x="12" y="10"/>
                    </a:lnTo>
                    <a:lnTo>
                      <a:pt x="22" y="12"/>
                    </a:lnTo>
                    <a:lnTo>
                      <a:pt x="30" y="12"/>
                    </a:lnTo>
                    <a:lnTo>
                      <a:pt x="34" y="12"/>
                    </a:lnTo>
                    <a:lnTo>
                      <a:pt x="36" y="10"/>
                    </a:lnTo>
                    <a:lnTo>
                      <a:pt x="36" y="6"/>
                    </a:lnTo>
                    <a:lnTo>
                      <a:pt x="32" y="6"/>
                    </a:lnTo>
                    <a:lnTo>
                      <a:pt x="2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320" name="Group 2001"/>
            <p:cNvGrpSpPr>
              <a:grpSpLocks/>
            </p:cNvGrpSpPr>
            <p:nvPr/>
          </p:nvGrpSpPr>
          <p:grpSpPr bwMode="auto">
            <a:xfrm rot="21000000">
              <a:off x="7267080" y="1959876"/>
              <a:ext cx="107860" cy="101086"/>
              <a:chOff x="2293" y="1744"/>
              <a:chExt cx="186" cy="180"/>
            </a:xfrm>
            <a:solidFill>
              <a:srgbClr val="B9B9B9"/>
            </a:solidFill>
          </p:grpSpPr>
          <p:sp>
            <p:nvSpPr>
              <p:cNvPr id="329" name="Freeform 1971"/>
              <p:cNvSpPr>
                <a:spLocks/>
              </p:cNvSpPr>
              <p:nvPr/>
            </p:nvSpPr>
            <p:spPr bwMode="auto">
              <a:xfrm>
                <a:off x="2293" y="1744"/>
                <a:ext cx="186" cy="180"/>
              </a:xfrm>
              <a:custGeom>
                <a:avLst/>
                <a:gdLst/>
                <a:ahLst/>
                <a:cxnLst>
                  <a:cxn ang="0">
                    <a:pos x="92" y="0"/>
                  </a:cxn>
                  <a:cxn ang="0">
                    <a:pos x="82" y="0"/>
                  </a:cxn>
                  <a:cxn ang="0">
                    <a:pos x="64" y="8"/>
                  </a:cxn>
                  <a:cxn ang="0">
                    <a:pos x="60" y="14"/>
                  </a:cxn>
                  <a:cxn ang="0">
                    <a:pos x="56" y="20"/>
                  </a:cxn>
                  <a:cxn ang="0">
                    <a:pos x="44" y="50"/>
                  </a:cxn>
                  <a:cxn ang="0">
                    <a:pos x="38" y="60"/>
                  </a:cxn>
                  <a:cxn ang="0">
                    <a:pos x="28" y="74"/>
                  </a:cxn>
                  <a:cxn ang="0">
                    <a:pos x="18" y="94"/>
                  </a:cxn>
                  <a:cxn ang="0">
                    <a:pos x="10" y="102"/>
                  </a:cxn>
                  <a:cxn ang="0">
                    <a:pos x="4" y="106"/>
                  </a:cxn>
                  <a:cxn ang="0">
                    <a:pos x="0" y="110"/>
                  </a:cxn>
                  <a:cxn ang="0">
                    <a:pos x="4" y="112"/>
                  </a:cxn>
                  <a:cxn ang="0">
                    <a:pos x="44" y="118"/>
                  </a:cxn>
                  <a:cxn ang="0">
                    <a:pos x="92" y="128"/>
                  </a:cxn>
                  <a:cxn ang="0">
                    <a:pos x="100" y="142"/>
                  </a:cxn>
                  <a:cxn ang="0">
                    <a:pos x="102" y="152"/>
                  </a:cxn>
                  <a:cxn ang="0">
                    <a:pos x="102" y="160"/>
                  </a:cxn>
                  <a:cxn ang="0">
                    <a:pos x="106" y="170"/>
                  </a:cxn>
                  <a:cxn ang="0">
                    <a:pos x="176" y="180"/>
                  </a:cxn>
                  <a:cxn ang="0">
                    <a:pos x="182" y="166"/>
                  </a:cxn>
                  <a:cxn ang="0">
                    <a:pos x="184" y="160"/>
                  </a:cxn>
                  <a:cxn ang="0">
                    <a:pos x="174" y="146"/>
                  </a:cxn>
                  <a:cxn ang="0">
                    <a:pos x="162" y="130"/>
                  </a:cxn>
                  <a:cxn ang="0">
                    <a:pos x="158" y="114"/>
                  </a:cxn>
                  <a:cxn ang="0">
                    <a:pos x="154" y="98"/>
                  </a:cxn>
                  <a:cxn ang="0">
                    <a:pos x="146" y="84"/>
                  </a:cxn>
                  <a:cxn ang="0">
                    <a:pos x="142" y="82"/>
                  </a:cxn>
                  <a:cxn ang="0">
                    <a:pos x="134" y="88"/>
                  </a:cxn>
                  <a:cxn ang="0">
                    <a:pos x="128" y="88"/>
                  </a:cxn>
                  <a:cxn ang="0">
                    <a:pos x="116" y="80"/>
                  </a:cxn>
                  <a:cxn ang="0">
                    <a:pos x="144" y="54"/>
                  </a:cxn>
                  <a:cxn ang="0">
                    <a:pos x="156" y="60"/>
                  </a:cxn>
                  <a:cxn ang="0">
                    <a:pos x="162" y="64"/>
                  </a:cxn>
                  <a:cxn ang="0">
                    <a:pos x="162" y="56"/>
                  </a:cxn>
                  <a:cxn ang="0">
                    <a:pos x="152" y="42"/>
                  </a:cxn>
                  <a:cxn ang="0">
                    <a:pos x="148" y="34"/>
                  </a:cxn>
                  <a:cxn ang="0">
                    <a:pos x="146" y="28"/>
                  </a:cxn>
                  <a:cxn ang="0">
                    <a:pos x="142" y="10"/>
                  </a:cxn>
                </a:cxnLst>
                <a:rect l="0" t="0" r="r" b="b"/>
                <a:pathLst>
                  <a:path w="186" h="180">
                    <a:moveTo>
                      <a:pt x="120" y="2"/>
                    </a:moveTo>
                    <a:lnTo>
                      <a:pt x="92" y="0"/>
                    </a:lnTo>
                    <a:lnTo>
                      <a:pt x="88" y="0"/>
                    </a:lnTo>
                    <a:lnTo>
                      <a:pt x="82" y="0"/>
                    </a:lnTo>
                    <a:lnTo>
                      <a:pt x="68" y="6"/>
                    </a:lnTo>
                    <a:lnTo>
                      <a:pt x="64" y="8"/>
                    </a:lnTo>
                    <a:lnTo>
                      <a:pt x="62" y="10"/>
                    </a:lnTo>
                    <a:lnTo>
                      <a:pt x="60" y="14"/>
                    </a:lnTo>
                    <a:lnTo>
                      <a:pt x="60" y="16"/>
                    </a:lnTo>
                    <a:lnTo>
                      <a:pt x="56" y="20"/>
                    </a:lnTo>
                    <a:lnTo>
                      <a:pt x="52" y="34"/>
                    </a:lnTo>
                    <a:lnTo>
                      <a:pt x="44" y="50"/>
                    </a:lnTo>
                    <a:lnTo>
                      <a:pt x="40" y="58"/>
                    </a:lnTo>
                    <a:lnTo>
                      <a:pt x="38" y="60"/>
                    </a:lnTo>
                    <a:lnTo>
                      <a:pt x="32" y="70"/>
                    </a:lnTo>
                    <a:lnTo>
                      <a:pt x="28" y="74"/>
                    </a:lnTo>
                    <a:lnTo>
                      <a:pt x="24" y="82"/>
                    </a:lnTo>
                    <a:lnTo>
                      <a:pt x="18" y="94"/>
                    </a:lnTo>
                    <a:lnTo>
                      <a:pt x="14" y="98"/>
                    </a:lnTo>
                    <a:lnTo>
                      <a:pt x="10" y="102"/>
                    </a:lnTo>
                    <a:lnTo>
                      <a:pt x="8" y="102"/>
                    </a:lnTo>
                    <a:lnTo>
                      <a:pt x="4" y="106"/>
                    </a:lnTo>
                    <a:lnTo>
                      <a:pt x="4" y="108"/>
                    </a:lnTo>
                    <a:lnTo>
                      <a:pt x="0" y="110"/>
                    </a:lnTo>
                    <a:lnTo>
                      <a:pt x="0" y="112"/>
                    </a:lnTo>
                    <a:lnTo>
                      <a:pt x="4" y="112"/>
                    </a:lnTo>
                    <a:lnTo>
                      <a:pt x="24" y="116"/>
                    </a:lnTo>
                    <a:lnTo>
                      <a:pt x="44" y="118"/>
                    </a:lnTo>
                    <a:lnTo>
                      <a:pt x="92" y="126"/>
                    </a:lnTo>
                    <a:lnTo>
                      <a:pt x="92" y="128"/>
                    </a:lnTo>
                    <a:lnTo>
                      <a:pt x="96" y="134"/>
                    </a:lnTo>
                    <a:lnTo>
                      <a:pt x="100" y="142"/>
                    </a:lnTo>
                    <a:lnTo>
                      <a:pt x="102" y="150"/>
                    </a:lnTo>
                    <a:lnTo>
                      <a:pt x="102" y="152"/>
                    </a:lnTo>
                    <a:lnTo>
                      <a:pt x="102" y="156"/>
                    </a:lnTo>
                    <a:lnTo>
                      <a:pt x="102" y="160"/>
                    </a:lnTo>
                    <a:lnTo>
                      <a:pt x="104" y="168"/>
                    </a:lnTo>
                    <a:lnTo>
                      <a:pt x="106" y="170"/>
                    </a:lnTo>
                    <a:lnTo>
                      <a:pt x="114" y="180"/>
                    </a:lnTo>
                    <a:lnTo>
                      <a:pt x="176" y="180"/>
                    </a:lnTo>
                    <a:lnTo>
                      <a:pt x="186" y="180"/>
                    </a:lnTo>
                    <a:lnTo>
                      <a:pt x="182" y="166"/>
                    </a:lnTo>
                    <a:lnTo>
                      <a:pt x="184" y="164"/>
                    </a:lnTo>
                    <a:lnTo>
                      <a:pt x="184" y="160"/>
                    </a:lnTo>
                    <a:lnTo>
                      <a:pt x="180" y="156"/>
                    </a:lnTo>
                    <a:lnTo>
                      <a:pt x="174" y="146"/>
                    </a:lnTo>
                    <a:lnTo>
                      <a:pt x="164" y="132"/>
                    </a:lnTo>
                    <a:lnTo>
                      <a:pt x="162" y="130"/>
                    </a:lnTo>
                    <a:lnTo>
                      <a:pt x="160" y="124"/>
                    </a:lnTo>
                    <a:lnTo>
                      <a:pt x="158" y="114"/>
                    </a:lnTo>
                    <a:lnTo>
                      <a:pt x="156" y="102"/>
                    </a:lnTo>
                    <a:lnTo>
                      <a:pt x="154" y="98"/>
                    </a:lnTo>
                    <a:lnTo>
                      <a:pt x="148" y="88"/>
                    </a:lnTo>
                    <a:lnTo>
                      <a:pt x="146" y="84"/>
                    </a:lnTo>
                    <a:lnTo>
                      <a:pt x="144" y="82"/>
                    </a:lnTo>
                    <a:lnTo>
                      <a:pt x="142" y="82"/>
                    </a:lnTo>
                    <a:lnTo>
                      <a:pt x="138" y="86"/>
                    </a:lnTo>
                    <a:lnTo>
                      <a:pt x="134" y="88"/>
                    </a:lnTo>
                    <a:lnTo>
                      <a:pt x="132" y="88"/>
                    </a:lnTo>
                    <a:lnTo>
                      <a:pt x="128" y="88"/>
                    </a:lnTo>
                    <a:lnTo>
                      <a:pt x="116" y="82"/>
                    </a:lnTo>
                    <a:lnTo>
                      <a:pt x="116" y="80"/>
                    </a:lnTo>
                    <a:lnTo>
                      <a:pt x="142" y="56"/>
                    </a:lnTo>
                    <a:lnTo>
                      <a:pt x="144" y="54"/>
                    </a:lnTo>
                    <a:lnTo>
                      <a:pt x="148" y="54"/>
                    </a:lnTo>
                    <a:lnTo>
                      <a:pt x="156" y="60"/>
                    </a:lnTo>
                    <a:lnTo>
                      <a:pt x="156" y="62"/>
                    </a:lnTo>
                    <a:lnTo>
                      <a:pt x="162" y="64"/>
                    </a:lnTo>
                    <a:lnTo>
                      <a:pt x="164" y="62"/>
                    </a:lnTo>
                    <a:lnTo>
                      <a:pt x="162" y="56"/>
                    </a:lnTo>
                    <a:lnTo>
                      <a:pt x="156" y="44"/>
                    </a:lnTo>
                    <a:lnTo>
                      <a:pt x="152" y="42"/>
                    </a:lnTo>
                    <a:lnTo>
                      <a:pt x="150" y="38"/>
                    </a:lnTo>
                    <a:lnTo>
                      <a:pt x="148" y="34"/>
                    </a:lnTo>
                    <a:lnTo>
                      <a:pt x="146" y="30"/>
                    </a:lnTo>
                    <a:lnTo>
                      <a:pt x="146" y="28"/>
                    </a:lnTo>
                    <a:lnTo>
                      <a:pt x="142" y="14"/>
                    </a:lnTo>
                    <a:lnTo>
                      <a:pt x="142" y="10"/>
                    </a:lnTo>
                    <a:lnTo>
                      <a:pt x="120"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0" name="Freeform 1972"/>
              <p:cNvSpPr>
                <a:spLocks/>
              </p:cNvSpPr>
              <p:nvPr/>
            </p:nvSpPr>
            <p:spPr bwMode="auto">
              <a:xfrm>
                <a:off x="2447" y="1758"/>
                <a:ext cx="28" cy="44"/>
              </a:xfrm>
              <a:custGeom>
                <a:avLst/>
                <a:gdLst/>
                <a:ahLst/>
                <a:cxnLst>
                  <a:cxn ang="0">
                    <a:pos x="28" y="24"/>
                  </a:cxn>
                  <a:cxn ang="0">
                    <a:pos x="26" y="22"/>
                  </a:cxn>
                  <a:cxn ang="0">
                    <a:pos x="20" y="14"/>
                  </a:cxn>
                  <a:cxn ang="0">
                    <a:pos x="14" y="4"/>
                  </a:cxn>
                  <a:cxn ang="0">
                    <a:pos x="14" y="2"/>
                  </a:cxn>
                  <a:cxn ang="0">
                    <a:pos x="12" y="0"/>
                  </a:cxn>
                  <a:cxn ang="0">
                    <a:pos x="10" y="0"/>
                  </a:cxn>
                  <a:cxn ang="0">
                    <a:pos x="8" y="0"/>
                  </a:cxn>
                  <a:cxn ang="0">
                    <a:pos x="6" y="0"/>
                  </a:cxn>
                  <a:cxn ang="0">
                    <a:pos x="4" y="0"/>
                  </a:cxn>
                  <a:cxn ang="0">
                    <a:pos x="8" y="6"/>
                  </a:cxn>
                  <a:cxn ang="0">
                    <a:pos x="0" y="24"/>
                  </a:cxn>
                  <a:cxn ang="0">
                    <a:pos x="8" y="42"/>
                  </a:cxn>
                  <a:cxn ang="0">
                    <a:pos x="10" y="42"/>
                  </a:cxn>
                  <a:cxn ang="0">
                    <a:pos x="10" y="44"/>
                  </a:cxn>
                  <a:cxn ang="0">
                    <a:pos x="12" y="44"/>
                  </a:cxn>
                  <a:cxn ang="0">
                    <a:pos x="16" y="44"/>
                  </a:cxn>
                  <a:cxn ang="0">
                    <a:pos x="18" y="44"/>
                  </a:cxn>
                  <a:cxn ang="0">
                    <a:pos x="20" y="42"/>
                  </a:cxn>
                  <a:cxn ang="0">
                    <a:pos x="24" y="38"/>
                  </a:cxn>
                  <a:cxn ang="0">
                    <a:pos x="26" y="36"/>
                  </a:cxn>
                  <a:cxn ang="0">
                    <a:pos x="26" y="34"/>
                  </a:cxn>
                  <a:cxn ang="0">
                    <a:pos x="28" y="32"/>
                  </a:cxn>
                  <a:cxn ang="0">
                    <a:pos x="28" y="28"/>
                  </a:cxn>
                  <a:cxn ang="0">
                    <a:pos x="28" y="24"/>
                  </a:cxn>
                </a:cxnLst>
                <a:rect l="0" t="0" r="r" b="b"/>
                <a:pathLst>
                  <a:path w="28" h="44">
                    <a:moveTo>
                      <a:pt x="28" y="24"/>
                    </a:moveTo>
                    <a:lnTo>
                      <a:pt x="26" y="22"/>
                    </a:lnTo>
                    <a:lnTo>
                      <a:pt x="20" y="14"/>
                    </a:lnTo>
                    <a:lnTo>
                      <a:pt x="14" y="4"/>
                    </a:lnTo>
                    <a:lnTo>
                      <a:pt x="14" y="2"/>
                    </a:lnTo>
                    <a:lnTo>
                      <a:pt x="12" y="0"/>
                    </a:lnTo>
                    <a:lnTo>
                      <a:pt x="10" y="0"/>
                    </a:lnTo>
                    <a:lnTo>
                      <a:pt x="8" y="0"/>
                    </a:lnTo>
                    <a:lnTo>
                      <a:pt x="6" y="0"/>
                    </a:lnTo>
                    <a:lnTo>
                      <a:pt x="4" y="0"/>
                    </a:lnTo>
                    <a:lnTo>
                      <a:pt x="8" y="6"/>
                    </a:lnTo>
                    <a:lnTo>
                      <a:pt x="0" y="24"/>
                    </a:lnTo>
                    <a:lnTo>
                      <a:pt x="8" y="42"/>
                    </a:lnTo>
                    <a:lnTo>
                      <a:pt x="10" y="42"/>
                    </a:lnTo>
                    <a:lnTo>
                      <a:pt x="10" y="44"/>
                    </a:lnTo>
                    <a:lnTo>
                      <a:pt x="12" y="44"/>
                    </a:lnTo>
                    <a:lnTo>
                      <a:pt x="16" y="44"/>
                    </a:lnTo>
                    <a:lnTo>
                      <a:pt x="18" y="44"/>
                    </a:lnTo>
                    <a:lnTo>
                      <a:pt x="20" y="42"/>
                    </a:lnTo>
                    <a:lnTo>
                      <a:pt x="24" y="38"/>
                    </a:lnTo>
                    <a:lnTo>
                      <a:pt x="26" y="36"/>
                    </a:lnTo>
                    <a:lnTo>
                      <a:pt x="26" y="34"/>
                    </a:lnTo>
                    <a:lnTo>
                      <a:pt x="28" y="32"/>
                    </a:lnTo>
                    <a:lnTo>
                      <a:pt x="28" y="28"/>
                    </a:lnTo>
                    <a:lnTo>
                      <a:pt x="28"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21" name="Freeform 1974"/>
            <p:cNvSpPr>
              <a:spLocks/>
            </p:cNvSpPr>
            <p:nvPr/>
          </p:nvSpPr>
          <p:spPr bwMode="auto">
            <a:xfrm rot="21000000">
              <a:off x="7778428" y="2240347"/>
              <a:ext cx="9278" cy="5616"/>
            </a:xfrm>
            <a:custGeom>
              <a:avLst/>
              <a:gdLst/>
              <a:ahLst/>
              <a:cxnLst>
                <a:cxn ang="0">
                  <a:pos x="0" y="6"/>
                </a:cxn>
                <a:cxn ang="0">
                  <a:pos x="16" y="10"/>
                </a:cxn>
                <a:cxn ang="0">
                  <a:pos x="6" y="0"/>
                </a:cxn>
                <a:cxn ang="0">
                  <a:pos x="0" y="6"/>
                </a:cxn>
              </a:cxnLst>
              <a:rect l="0" t="0" r="r" b="b"/>
              <a:pathLst>
                <a:path w="16" h="10">
                  <a:moveTo>
                    <a:pt x="0" y="6"/>
                  </a:moveTo>
                  <a:lnTo>
                    <a:pt x="16" y="10"/>
                  </a:lnTo>
                  <a:lnTo>
                    <a:pt x="6" y="0"/>
                  </a:lnTo>
                  <a:lnTo>
                    <a:pt x="0" y="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22" name="Group 1993"/>
            <p:cNvGrpSpPr>
              <a:grpSpLocks/>
            </p:cNvGrpSpPr>
            <p:nvPr/>
          </p:nvGrpSpPr>
          <p:grpSpPr bwMode="auto">
            <a:xfrm rot="21000000">
              <a:off x="7612613" y="2139431"/>
              <a:ext cx="288788" cy="225759"/>
              <a:chOff x="2805" y="2192"/>
              <a:chExt cx="498" cy="402"/>
            </a:xfrm>
            <a:solidFill>
              <a:srgbClr val="B9B9B9"/>
            </a:solidFill>
          </p:grpSpPr>
          <p:sp>
            <p:nvSpPr>
              <p:cNvPr id="327" name="Freeform 1973"/>
              <p:cNvSpPr>
                <a:spLocks/>
              </p:cNvSpPr>
              <p:nvPr/>
            </p:nvSpPr>
            <p:spPr bwMode="auto">
              <a:xfrm>
                <a:off x="2805" y="2192"/>
                <a:ext cx="498" cy="402"/>
              </a:xfrm>
              <a:custGeom>
                <a:avLst/>
                <a:gdLst/>
                <a:ahLst/>
                <a:cxnLst>
                  <a:cxn ang="0">
                    <a:pos x="382" y="402"/>
                  </a:cxn>
                  <a:cxn ang="0">
                    <a:pos x="388" y="380"/>
                  </a:cxn>
                  <a:cxn ang="0">
                    <a:pos x="388" y="368"/>
                  </a:cxn>
                  <a:cxn ang="0">
                    <a:pos x="392" y="340"/>
                  </a:cxn>
                  <a:cxn ang="0">
                    <a:pos x="400" y="326"/>
                  </a:cxn>
                  <a:cxn ang="0">
                    <a:pos x="414" y="284"/>
                  </a:cxn>
                  <a:cxn ang="0">
                    <a:pos x="418" y="254"/>
                  </a:cxn>
                  <a:cxn ang="0">
                    <a:pos x="432" y="238"/>
                  </a:cxn>
                  <a:cxn ang="0">
                    <a:pos x="466" y="232"/>
                  </a:cxn>
                  <a:cxn ang="0">
                    <a:pos x="456" y="212"/>
                  </a:cxn>
                  <a:cxn ang="0">
                    <a:pos x="442" y="212"/>
                  </a:cxn>
                  <a:cxn ang="0">
                    <a:pos x="442" y="186"/>
                  </a:cxn>
                  <a:cxn ang="0">
                    <a:pos x="446" y="166"/>
                  </a:cxn>
                  <a:cxn ang="0">
                    <a:pos x="440" y="142"/>
                  </a:cxn>
                  <a:cxn ang="0">
                    <a:pos x="446" y="132"/>
                  </a:cxn>
                  <a:cxn ang="0">
                    <a:pos x="454" y="128"/>
                  </a:cxn>
                  <a:cxn ang="0">
                    <a:pos x="462" y="128"/>
                  </a:cxn>
                  <a:cxn ang="0">
                    <a:pos x="464" y="138"/>
                  </a:cxn>
                  <a:cxn ang="0">
                    <a:pos x="468" y="154"/>
                  </a:cxn>
                  <a:cxn ang="0">
                    <a:pos x="476" y="154"/>
                  </a:cxn>
                  <a:cxn ang="0">
                    <a:pos x="484" y="142"/>
                  </a:cxn>
                  <a:cxn ang="0">
                    <a:pos x="490" y="138"/>
                  </a:cxn>
                  <a:cxn ang="0">
                    <a:pos x="496" y="132"/>
                  </a:cxn>
                  <a:cxn ang="0">
                    <a:pos x="498" y="126"/>
                  </a:cxn>
                  <a:cxn ang="0">
                    <a:pos x="496" y="112"/>
                  </a:cxn>
                  <a:cxn ang="0">
                    <a:pos x="498" y="84"/>
                  </a:cxn>
                  <a:cxn ang="0">
                    <a:pos x="496" y="70"/>
                  </a:cxn>
                  <a:cxn ang="0">
                    <a:pos x="484" y="50"/>
                  </a:cxn>
                  <a:cxn ang="0">
                    <a:pos x="474" y="48"/>
                  </a:cxn>
                  <a:cxn ang="0">
                    <a:pos x="470" y="28"/>
                  </a:cxn>
                  <a:cxn ang="0">
                    <a:pos x="470" y="0"/>
                  </a:cxn>
                  <a:cxn ang="0">
                    <a:pos x="460" y="18"/>
                  </a:cxn>
                  <a:cxn ang="0">
                    <a:pos x="430" y="50"/>
                  </a:cxn>
                  <a:cxn ang="0">
                    <a:pos x="420" y="62"/>
                  </a:cxn>
                  <a:cxn ang="0">
                    <a:pos x="410" y="66"/>
                  </a:cxn>
                  <a:cxn ang="0">
                    <a:pos x="410" y="62"/>
                  </a:cxn>
                  <a:cxn ang="0">
                    <a:pos x="406" y="74"/>
                  </a:cxn>
                  <a:cxn ang="0">
                    <a:pos x="400" y="80"/>
                  </a:cxn>
                  <a:cxn ang="0">
                    <a:pos x="388" y="92"/>
                  </a:cxn>
                  <a:cxn ang="0">
                    <a:pos x="378" y="106"/>
                  </a:cxn>
                  <a:cxn ang="0">
                    <a:pos x="374" y="110"/>
                  </a:cxn>
                  <a:cxn ang="0">
                    <a:pos x="362" y="128"/>
                  </a:cxn>
                  <a:cxn ang="0">
                    <a:pos x="350" y="136"/>
                  </a:cxn>
                  <a:cxn ang="0">
                    <a:pos x="320" y="164"/>
                  </a:cxn>
                  <a:cxn ang="0">
                    <a:pos x="310" y="196"/>
                  </a:cxn>
                  <a:cxn ang="0">
                    <a:pos x="304" y="204"/>
                  </a:cxn>
                  <a:cxn ang="0">
                    <a:pos x="294" y="218"/>
                  </a:cxn>
                  <a:cxn ang="0">
                    <a:pos x="268" y="232"/>
                  </a:cxn>
                  <a:cxn ang="0">
                    <a:pos x="210" y="244"/>
                  </a:cxn>
                  <a:cxn ang="0">
                    <a:pos x="198" y="238"/>
                  </a:cxn>
                  <a:cxn ang="0">
                    <a:pos x="174" y="236"/>
                  </a:cxn>
                  <a:cxn ang="0">
                    <a:pos x="156" y="238"/>
                  </a:cxn>
                  <a:cxn ang="0">
                    <a:pos x="116" y="236"/>
                  </a:cxn>
                  <a:cxn ang="0">
                    <a:pos x="106" y="230"/>
                  </a:cxn>
                  <a:cxn ang="0">
                    <a:pos x="80" y="252"/>
                  </a:cxn>
                  <a:cxn ang="0">
                    <a:pos x="66" y="256"/>
                  </a:cxn>
                  <a:cxn ang="0">
                    <a:pos x="30" y="256"/>
                  </a:cxn>
                  <a:cxn ang="0">
                    <a:pos x="22" y="248"/>
                  </a:cxn>
                  <a:cxn ang="0">
                    <a:pos x="20" y="234"/>
                  </a:cxn>
                  <a:cxn ang="0">
                    <a:pos x="0" y="224"/>
                  </a:cxn>
                </a:cxnLst>
                <a:rect l="0" t="0" r="r" b="b"/>
                <a:pathLst>
                  <a:path w="498" h="402">
                    <a:moveTo>
                      <a:pt x="108" y="374"/>
                    </a:moveTo>
                    <a:lnTo>
                      <a:pt x="244" y="388"/>
                    </a:lnTo>
                    <a:lnTo>
                      <a:pt x="382" y="402"/>
                    </a:lnTo>
                    <a:lnTo>
                      <a:pt x="388" y="392"/>
                    </a:lnTo>
                    <a:lnTo>
                      <a:pt x="388" y="382"/>
                    </a:lnTo>
                    <a:lnTo>
                      <a:pt x="388" y="380"/>
                    </a:lnTo>
                    <a:lnTo>
                      <a:pt x="388" y="376"/>
                    </a:lnTo>
                    <a:lnTo>
                      <a:pt x="388" y="370"/>
                    </a:lnTo>
                    <a:lnTo>
                      <a:pt x="388" y="368"/>
                    </a:lnTo>
                    <a:lnTo>
                      <a:pt x="388" y="358"/>
                    </a:lnTo>
                    <a:lnTo>
                      <a:pt x="390" y="346"/>
                    </a:lnTo>
                    <a:lnTo>
                      <a:pt x="392" y="340"/>
                    </a:lnTo>
                    <a:lnTo>
                      <a:pt x="396" y="336"/>
                    </a:lnTo>
                    <a:lnTo>
                      <a:pt x="398" y="330"/>
                    </a:lnTo>
                    <a:lnTo>
                      <a:pt x="400" y="326"/>
                    </a:lnTo>
                    <a:lnTo>
                      <a:pt x="402" y="320"/>
                    </a:lnTo>
                    <a:lnTo>
                      <a:pt x="408" y="300"/>
                    </a:lnTo>
                    <a:lnTo>
                      <a:pt x="414" y="284"/>
                    </a:lnTo>
                    <a:lnTo>
                      <a:pt x="420" y="268"/>
                    </a:lnTo>
                    <a:lnTo>
                      <a:pt x="420" y="256"/>
                    </a:lnTo>
                    <a:lnTo>
                      <a:pt x="418" y="254"/>
                    </a:lnTo>
                    <a:lnTo>
                      <a:pt x="414" y="246"/>
                    </a:lnTo>
                    <a:lnTo>
                      <a:pt x="428" y="238"/>
                    </a:lnTo>
                    <a:lnTo>
                      <a:pt x="432" y="238"/>
                    </a:lnTo>
                    <a:lnTo>
                      <a:pt x="444" y="238"/>
                    </a:lnTo>
                    <a:lnTo>
                      <a:pt x="452" y="236"/>
                    </a:lnTo>
                    <a:lnTo>
                      <a:pt x="466" y="232"/>
                    </a:lnTo>
                    <a:lnTo>
                      <a:pt x="468" y="230"/>
                    </a:lnTo>
                    <a:lnTo>
                      <a:pt x="460" y="214"/>
                    </a:lnTo>
                    <a:lnTo>
                      <a:pt x="456" y="212"/>
                    </a:lnTo>
                    <a:lnTo>
                      <a:pt x="452" y="214"/>
                    </a:lnTo>
                    <a:lnTo>
                      <a:pt x="450" y="216"/>
                    </a:lnTo>
                    <a:lnTo>
                      <a:pt x="442" y="212"/>
                    </a:lnTo>
                    <a:lnTo>
                      <a:pt x="444" y="204"/>
                    </a:lnTo>
                    <a:lnTo>
                      <a:pt x="444" y="192"/>
                    </a:lnTo>
                    <a:lnTo>
                      <a:pt x="442" y="186"/>
                    </a:lnTo>
                    <a:lnTo>
                      <a:pt x="440" y="176"/>
                    </a:lnTo>
                    <a:lnTo>
                      <a:pt x="442" y="172"/>
                    </a:lnTo>
                    <a:lnTo>
                      <a:pt x="446" y="166"/>
                    </a:lnTo>
                    <a:lnTo>
                      <a:pt x="442" y="160"/>
                    </a:lnTo>
                    <a:lnTo>
                      <a:pt x="442" y="158"/>
                    </a:lnTo>
                    <a:lnTo>
                      <a:pt x="440" y="142"/>
                    </a:lnTo>
                    <a:lnTo>
                      <a:pt x="442" y="138"/>
                    </a:lnTo>
                    <a:lnTo>
                      <a:pt x="444" y="136"/>
                    </a:lnTo>
                    <a:lnTo>
                      <a:pt x="446" y="132"/>
                    </a:lnTo>
                    <a:lnTo>
                      <a:pt x="448" y="130"/>
                    </a:lnTo>
                    <a:lnTo>
                      <a:pt x="452" y="128"/>
                    </a:lnTo>
                    <a:lnTo>
                      <a:pt x="454" y="128"/>
                    </a:lnTo>
                    <a:lnTo>
                      <a:pt x="458" y="128"/>
                    </a:lnTo>
                    <a:lnTo>
                      <a:pt x="460" y="128"/>
                    </a:lnTo>
                    <a:lnTo>
                      <a:pt x="462" y="128"/>
                    </a:lnTo>
                    <a:lnTo>
                      <a:pt x="464" y="130"/>
                    </a:lnTo>
                    <a:lnTo>
                      <a:pt x="466" y="140"/>
                    </a:lnTo>
                    <a:lnTo>
                      <a:pt x="464" y="138"/>
                    </a:lnTo>
                    <a:lnTo>
                      <a:pt x="460" y="138"/>
                    </a:lnTo>
                    <a:lnTo>
                      <a:pt x="460" y="140"/>
                    </a:lnTo>
                    <a:lnTo>
                      <a:pt x="468" y="154"/>
                    </a:lnTo>
                    <a:lnTo>
                      <a:pt x="470" y="154"/>
                    </a:lnTo>
                    <a:lnTo>
                      <a:pt x="472" y="154"/>
                    </a:lnTo>
                    <a:lnTo>
                      <a:pt x="476" y="154"/>
                    </a:lnTo>
                    <a:lnTo>
                      <a:pt x="480" y="150"/>
                    </a:lnTo>
                    <a:lnTo>
                      <a:pt x="480" y="144"/>
                    </a:lnTo>
                    <a:lnTo>
                      <a:pt x="484" y="142"/>
                    </a:lnTo>
                    <a:lnTo>
                      <a:pt x="488" y="140"/>
                    </a:lnTo>
                    <a:lnTo>
                      <a:pt x="490" y="140"/>
                    </a:lnTo>
                    <a:lnTo>
                      <a:pt x="490" y="138"/>
                    </a:lnTo>
                    <a:lnTo>
                      <a:pt x="492" y="136"/>
                    </a:lnTo>
                    <a:lnTo>
                      <a:pt x="496" y="136"/>
                    </a:lnTo>
                    <a:lnTo>
                      <a:pt x="496" y="132"/>
                    </a:lnTo>
                    <a:lnTo>
                      <a:pt x="496" y="128"/>
                    </a:lnTo>
                    <a:lnTo>
                      <a:pt x="496" y="126"/>
                    </a:lnTo>
                    <a:lnTo>
                      <a:pt x="498" y="126"/>
                    </a:lnTo>
                    <a:lnTo>
                      <a:pt x="496" y="116"/>
                    </a:lnTo>
                    <a:lnTo>
                      <a:pt x="496" y="114"/>
                    </a:lnTo>
                    <a:lnTo>
                      <a:pt x="496" y="112"/>
                    </a:lnTo>
                    <a:lnTo>
                      <a:pt x="498" y="92"/>
                    </a:lnTo>
                    <a:lnTo>
                      <a:pt x="498" y="86"/>
                    </a:lnTo>
                    <a:lnTo>
                      <a:pt x="498" y="84"/>
                    </a:lnTo>
                    <a:lnTo>
                      <a:pt x="496" y="78"/>
                    </a:lnTo>
                    <a:lnTo>
                      <a:pt x="496" y="74"/>
                    </a:lnTo>
                    <a:lnTo>
                      <a:pt x="496" y="70"/>
                    </a:lnTo>
                    <a:lnTo>
                      <a:pt x="496" y="64"/>
                    </a:lnTo>
                    <a:lnTo>
                      <a:pt x="492" y="54"/>
                    </a:lnTo>
                    <a:lnTo>
                      <a:pt x="484" y="50"/>
                    </a:lnTo>
                    <a:lnTo>
                      <a:pt x="482" y="52"/>
                    </a:lnTo>
                    <a:lnTo>
                      <a:pt x="476" y="48"/>
                    </a:lnTo>
                    <a:lnTo>
                      <a:pt x="474" y="48"/>
                    </a:lnTo>
                    <a:lnTo>
                      <a:pt x="472" y="48"/>
                    </a:lnTo>
                    <a:lnTo>
                      <a:pt x="470" y="40"/>
                    </a:lnTo>
                    <a:lnTo>
                      <a:pt x="470" y="28"/>
                    </a:lnTo>
                    <a:lnTo>
                      <a:pt x="472" y="20"/>
                    </a:lnTo>
                    <a:lnTo>
                      <a:pt x="474" y="8"/>
                    </a:lnTo>
                    <a:lnTo>
                      <a:pt x="470" y="0"/>
                    </a:lnTo>
                    <a:lnTo>
                      <a:pt x="462" y="2"/>
                    </a:lnTo>
                    <a:lnTo>
                      <a:pt x="462" y="6"/>
                    </a:lnTo>
                    <a:lnTo>
                      <a:pt x="460" y="18"/>
                    </a:lnTo>
                    <a:lnTo>
                      <a:pt x="458" y="24"/>
                    </a:lnTo>
                    <a:lnTo>
                      <a:pt x="442" y="42"/>
                    </a:lnTo>
                    <a:lnTo>
                      <a:pt x="430" y="50"/>
                    </a:lnTo>
                    <a:lnTo>
                      <a:pt x="424" y="54"/>
                    </a:lnTo>
                    <a:lnTo>
                      <a:pt x="420" y="60"/>
                    </a:lnTo>
                    <a:lnTo>
                      <a:pt x="420" y="62"/>
                    </a:lnTo>
                    <a:lnTo>
                      <a:pt x="420" y="66"/>
                    </a:lnTo>
                    <a:lnTo>
                      <a:pt x="414" y="66"/>
                    </a:lnTo>
                    <a:lnTo>
                      <a:pt x="410" y="66"/>
                    </a:lnTo>
                    <a:lnTo>
                      <a:pt x="410" y="64"/>
                    </a:lnTo>
                    <a:lnTo>
                      <a:pt x="412" y="60"/>
                    </a:lnTo>
                    <a:lnTo>
                      <a:pt x="410" y="62"/>
                    </a:lnTo>
                    <a:lnTo>
                      <a:pt x="408" y="66"/>
                    </a:lnTo>
                    <a:lnTo>
                      <a:pt x="408" y="68"/>
                    </a:lnTo>
                    <a:lnTo>
                      <a:pt x="406" y="74"/>
                    </a:lnTo>
                    <a:lnTo>
                      <a:pt x="404" y="74"/>
                    </a:lnTo>
                    <a:lnTo>
                      <a:pt x="402" y="80"/>
                    </a:lnTo>
                    <a:lnTo>
                      <a:pt x="400" y="80"/>
                    </a:lnTo>
                    <a:lnTo>
                      <a:pt x="398" y="82"/>
                    </a:lnTo>
                    <a:lnTo>
                      <a:pt x="392" y="86"/>
                    </a:lnTo>
                    <a:lnTo>
                      <a:pt x="388" y="92"/>
                    </a:lnTo>
                    <a:lnTo>
                      <a:pt x="386" y="96"/>
                    </a:lnTo>
                    <a:lnTo>
                      <a:pt x="382" y="100"/>
                    </a:lnTo>
                    <a:lnTo>
                      <a:pt x="378" y="106"/>
                    </a:lnTo>
                    <a:lnTo>
                      <a:pt x="378" y="108"/>
                    </a:lnTo>
                    <a:lnTo>
                      <a:pt x="376" y="110"/>
                    </a:lnTo>
                    <a:lnTo>
                      <a:pt x="374" y="110"/>
                    </a:lnTo>
                    <a:lnTo>
                      <a:pt x="374" y="112"/>
                    </a:lnTo>
                    <a:lnTo>
                      <a:pt x="370" y="120"/>
                    </a:lnTo>
                    <a:lnTo>
                      <a:pt x="362" y="128"/>
                    </a:lnTo>
                    <a:lnTo>
                      <a:pt x="358" y="132"/>
                    </a:lnTo>
                    <a:lnTo>
                      <a:pt x="356" y="132"/>
                    </a:lnTo>
                    <a:lnTo>
                      <a:pt x="350" y="136"/>
                    </a:lnTo>
                    <a:lnTo>
                      <a:pt x="326" y="154"/>
                    </a:lnTo>
                    <a:lnTo>
                      <a:pt x="320" y="160"/>
                    </a:lnTo>
                    <a:lnTo>
                      <a:pt x="320" y="164"/>
                    </a:lnTo>
                    <a:lnTo>
                      <a:pt x="322" y="170"/>
                    </a:lnTo>
                    <a:lnTo>
                      <a:pt x="314" y="196"/>
                    </a:lnTo>
                    <a:lnTo>
                      <a:pt x="310" y="196"/>
                    </a:lnTo>
                    <a:lnTo>
                      <a:pt x="306" y="196"/>
                    </a:lnTo>
                    <a:lnTo>
                      <a:pt x="304" y="200"/>
                    </a:lnTo>
                    <a:lnTo>
                      <a:pt x="304" y="204"/>
                    </a:lnTo>
                    <a:lnTo>
                      <a:pt x="302" y="208"/>
                    </a:lnTo>
                    <a:lnTo>
                      <a:pt x="298" y="214"/>
                    </a:lnTo>
                    <a:lnTo>
                      <a:pt x="294" y="218"/>
                    </a:lnTo>
                    <a:lnTo>
                      <a:pt x="280" y="222"/>
                    </a:lnTo>
                    <a:lnTo>
                      <a:pt x="274" y="226"/>
                    </a:lnTo>
                    <a:lnTo>
                      <a:pt x="268" y="232"/>
                    </a:lnTo>
                    <a:lnTo>
                      <a:pt x="242" y="242"/>
                    </a:lnTo>
                    <a:lnTo>
                      <a:pt x="212" y="244"/>
                    </a:lnTo>
                    <a:lnTo>
                      <a:pt x="210" y="244"/>
                    </a:lnTo>
                    <a:lnTo>
                      <a:pt x="208" y="242"/>
                    </a:lnTo>
                    <a:lnTo>
                      <a:pt x="206" y="240"/>
                    </a:lnTo>
                    <a:lnTo>
                      <a:pt x="198" y="238"/>
                    </a:lnTo>
                    <a:lnTo>
                      <a:pt x="194" y="238"/>
                    </a:lnTo>
                    <a:lnTo>
                      <a:pt x="184" y="238"/>
                    </a:lnTo>
                    <a:lnTo>
                      <a:pt x="174" y="236"/>
                    </a:lnTo>
                    <a:lnTo>
                      <a:pt x="164" y="236"/>
                    </a:lnTo>
                    <a:lnTo>
                      <a:pt x="158" y="236"/>
                    </a:lnTo>
                    <a:lnTo>
                      <a:pt x="156" y="238"/>
                    </a:lnTo>
                    <a:lnTo>
                      <a:pt x="144" y="236"/>
                    </a:lnTo>
                    <a:lnTo>
                      <a:pt x="126" y="236"/>
                    </a:lnTo>
                    <a:lnTo>
                      <a:pt x="116" y="236"/>
                    </a:lnTo>
                    <a:lnTo>
                      <a:pt x="114" y="234"/>
                    </a:lnTo>
                    <a:lnTo>
                      <a:pt x="110" y="230"/>
                    </a:lnTo>
                    <a:lnTo>
                      <a:pt x="106" y="230"/>
                    </a:lnTo>
                    <a:lnTo>
                      <a:pt x="100" y="238"/>
                    </a:lnTo>
                    <a:lnTo>
                      <a:pt x="90" y="246"/>
                    </a:lnTo>
                    <a:lnTo>
                      <a:pt x="80" y="252"/>
                    </a:lnTo>
                    <a:lnTo>
                      <a:pt x="72" y="256"/>
                    </a:lnTo>
                    <a:lnTo>
                      <a:pt x="70" y="256"/>
                    </a:lnTo>
                    <a:lnTo>
                      <a:pt x="66" y="256"/>
                    </a:lnTo>
                    <a:lnTo>
                      <a:pt x="54" y="258"/>
                    </a:lnTo>
                    <a:lnTo>
                      <a:pt x="38" y="256"/>
                    </a:lnTo>
                    <a:lnTo>
                      <a:pt x="30" y="256"/>
                    </a:lnTo>
                    <a:lnTo>
                      <a:pt x="26" y="254"/>
                    </a:lnTo>
                    <a:lnTo>
                      <a:pt x="24" y="252"/>
                    </a:lnTo>
                    <a:lnTo>
                      <a:pt x="22" y="248"/>
                    </a:lnTo>
                    <a:lnTo>
                      <a:pt x="20" y="240"/>
                    </a:lnTo>
                    <a:lnTo>
                      <a:pt x="20" y="236"/>
                    </a:lnTo>
                    <a:lnTo>
                      <a:pt x="20" y="234"/>
                    </a:lnTo>
                    <a:lnTo>
                      <a:pt x="16" y="224"/>
                    </a:lnTo>
                    <a:lnTo>
                      <a:pt x="4" y="224"/>
                    </a:lnTo>
                    <a:lnTo>
                      <a:pt x="0" y="224"/>
                    </a:lnTo>
                    <a:lnTo>
                      <a:pt x="0" y="240"/>
                    </a:lnTo>
                    <a:lnTo>
                      <a:pt x="108" y="37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8" name="Freeform 1975"/>
              <p:cNvSpPr>
                <a:spLocks/>
              </p:cNvSpPr>
              <p:nvPr/>
            </p:nvSpPr>
            <p:spPr bwMode="auto">
              <a:xfrm>
                <a:off x="3021" y="2410"/>
                <a:ext cx="36" cy="16"/>
              </a:xfrm>
              <a:custGeom>
                <a:avLst/>
                <a:gdLst/>
                <a:ahLst/>
                <a:cxnLst>
                  <a:cxn ang="0">
                    <a:pos x="22" y="0"/>
                  </a:cxn>
                  <a:cxn ang="0">
                    <a:pos x="8" y="6"/>
                  </a:cxn>
                  <a:cxn ang="0">
                    <a:pos x="0" y="10"/>
                  </a:cxn>
                  <a:cxn ang="0">
                    <a:pos x="0" y="12"/>
                  </a:cxn>
                  <a:cxn ang="0">
                    <a:pos x="0" y="14"/>
                  </a:cxn>
                  <a:cxn ang="0">
                    <a:pos x="2" y="14"/>
                  </a:cxn>
                  <a:cxn ang="0">
                    <a:pos x="4" y="14"/>
                  </a:cxn>
                  <a:cxn ang="0">
                    <a:pos x="6" y="14"/>
                  </a:cxn>
                  <a:cxn ang="0">
                    <a:pos x="16" y="16"/>
                  </a:cxn>
                  <a:cxn ang="0">
                    <a:pos x="20" y="16"/>
                  </a:cxn>
                  <a:cxn ang="0">
                    <a:pos x="28" y="16"/>
                  </a:cxn>
                  <a:cxn ang="0">
                    <a:pos x="32" y="14"/>
                  </a:cxn>
                  <a:cxn ang="0">
                    <a:pos x="34" y="14"/>
                  </a:cxn>
                  <a:cxn ang="0">
                    <a:pos x="36" y="10"/>
                  </a:cxn>
                  <a:cxn ang="0">
                    <a:pos x="34" y="8"/>
                  </a:cxn>
                  <a:cxn ang="0">
                    <a:pos x="22" y="0"/>
                  </a:cxn>
                </a:cxnLst>
                <a:rect l="0" t="0" r="r" b="b"/>
                <a:pathLst>
                  <a:path w="36" h="16">
                    <a:moveTo>
                      <a:pt x="22" y="0"/>
                    </a:moveTo>
                    <a:lnTo>
                      <a:pt x="8" y="6"/>
                    </a:lnTo>
                    <a:lnTo>
                      <a:pt x="0" y="10"/>
                    </a:lnTo>
                    <a:lnTo>
                      <a:pt x="0" y="12"/>
                    </a:lnTo>
                    <a:lnTo>
                      <a:pt x="0" y="14"/>
                    </a:lnTo>
                    <a:lnTo>
                      <a:pt x="2" y="14"/>
                    </a:lnTo>
                    <a:lnTo>
                      <a:pt x="4" y="14"/>
                    </a:lnTo>
                    <a:lnTo>
                      <a:pt x="6" y="14"/>
                    </a:lnTo>
                    <a:lnTo>
                      <a:pt x="16" y="16"/>
                    </a:lnTo>
                    <a:lnTo>
                      <a:pt x="20" y="16"/>
                    </a:lnTo>
                    <a:lnTo>
                      <a:pt x="28" y="16"/>
                    </a:lnTo>
                    <a:lnTo>
                      <a:pt x="32" y="14"/>
                    </a:lnTo>
                    <a:lnTo>
                      <a:pt x="34" y="14"/>
                    </a:lnTo>
                    <a:lnTo>
                      <a:pt x="36" y="10"/>
                    </a:lnTo>
                    <a:lnTo>
                      <a:pt x="34" y="8"/>
                    </a:lnTo>
                    <a:lnTo>
                      <a:pt x="2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23" name="Freeform 1979"/>
            <p:cNvSpPr>
              <a:spLocks/>
            </p:cNvSpPr>
            <p:nvPr/>
          </p:nvSpPr>
          <p:spPr bwMode="auto">
            <a:xfrm rot="21000000">
              <a:off x="6605788" y="1566654"/>
              <a:ext cx="396647" cy="294272"/>
            </a:xfrm>
            <a:custGeom>
              <a:avLst/>
              <a:gdLst/>
              <a:ahLst/>
              <a:cxnLst>
                <a:cxn ang="0">
                  <a:pos x="106" y="254"/>
                </a:cxn>
                <a:cxn ang="0">
                  <a:pos x="102" y="268"/>
                </a:cxn>
                <a:cxn ang="0">
                  <a:pos x="114" y="304"/>
                </a:cxn>
                <a:cxn ang="0">
                  <a:pos x="78" y="334"/>
                </a:cxn>
                <a:cxn ang="0">
                  <a:pos x="84" y="344"/>
                </a:cxn>
                <a:cxn ang="0">
                  <a:pos x="42" y="360"/>
                </a:cxn>
                <a:cxn ang="0">
                  <a:pos x="38" y="382"/>
                </a:cxn>
                <a:cxn ang="0">
                  <a:pos x="24" y="392"/>
                </a:cxn>
                <a:cxn ang="0">
                  <a:pos x="10" y="402"/>
                </a:cxn>
                <a:cxn ang="0">
                  <a:pos x="6" y="420"/>
                </a:cxn>
                <a:cxn ang="0">
                  <a:pos x="0" y="444"/>
                </a:cxn>
                <a:cxn ang="0">
                  <a:pos x="0" y="462"/>
                </a:cxn>
                <a:cxn ang="0">
                  <a:pos x="14" y="462"/>
                </a:cxn>
                <a:cxn ang="0">
                  <a:pos x="42" y="492"/>
                </a:cxn>
                <a:cxn ang="0">
                  <a:pos x="66" y="512"/>
                </a:cxn>
                <a:cxn ang="0">
                  <a:pos x="108" y="524"/>
                </a:cxn>
                <a:cxn ang="0">
                  <a:pos x="224" y="464"/>
                </a:cxn>
                <a:cxn ang="0">
                  <a:pos x="312" y="422"/>
                </a:cxn>
                <a:cxn ang="0">
                  <a:pos x="432" y="368"/>
                </a:cxn>
                <a:cxn ang="0">
                  <a:pos x="534" y="316"/>
                </a:cxn>
                <a:cxn ang="0">
                  <a:pos x="558" y="244"/>
                </a:cxn>
                <a:cxn ang="0">
                  <a:pos x="562" y="222"/>
                </a:cxn>
                <a:cxn ang="0">
                  <a:pos x="568" y="204"/>
                </a:cxn>
                <a:cxn ang="0">
                  <a:pos x="578" y="158"/>
                </a:cxn>
                <a:cxn ang="0">
                  <a:pos x="590" y="84"/>
                </a:cxn>
                <a:cxn ang="0">
                  <a:pos x="682" y="20"/>
                </a:cxn>
                <a:cxn ang="0">
                  <a:pos x="664" y="4"/>
                </a:cxn>
                <a:cxn ang="0">
                  <a:pos x="608" y="20"/>
                </a:cxn>
                <a:cxn ang="0">
                  <a:pos x="570" y="16"/>
                </a:cxn>
                <a:cxn ang="0">
                  <a:pos x="530" y="12"/>
                </a:cxn>
                <a:cxn ang="0">
                  <a:pos x="506" y="20"/>
                </a:cxn>
                <a:cxn ang="0">
                  <a:pos x="464" y="40"/>
                </a:cxn>
                <a:cxn ang="0">
                  <a:pos x="410" y="48"/>
                </a:cxn>
                <a:cxn ang="0">
                  <a:pos x="382" y="46"/>
                </a:cxn>
                <a:cxn ang="0">
                  <a:pos x="366" y="42"/>
                </a:cxn>
                <a:cxn ang="0">
                  <a:pos x="336" y="32"/>
                </a:cxn>
                <a:cxn ang="0">
                  <a:pos x="304" y="10"/>
                </a:cxn>
                <a:cxn ang="0">
                  <a:pos x="280" y="18"/>
                </a:cxn>
                <a:cxn ang="0">
                  <a:pos x="254" y="26"/>
                </a:cxn>
                <a:cxn ang="0">
                  <a:pos x="220" y="32"/>
                </a:cxn>
                <a:cxn ang="0">
                  <a:pos x="186" y="16"/>
                </a:cxn>
                <a:cxn ang="0">
                  <a:pos x="148" y="26"/>
                </a:cxn>
                <a:cxn ang="0">
                  <a:pos x="152" y="66"/>
                </a:cxn>
                <a:cxn ang="0">
                  <a:pos x="134" y="70"/>
                </a:cxn>
                <a:cxn ang="0">
                  <a:pos x="118" y="96"/>
                </a:cxn>
                <a:cxn ang="0">
                  <a:pos x="98" y="110"/>
                </a:cxn>
                <a:cxn ang="0">
                  <a:pos x="84" y="102"/>
                </a:cxn>
                <a:cxn ang="0">
                  <a:pos x="58" y="130"/>
                </a:cxn>
                <a:cxn ang="0">
                  <a:pos x="66" y="174"/>
                </a:cxn>
                <a:cxn ang="0">
                  <a:pos x="60" y="192"/>
                </a:cxn>
                <a:cxn ang="0">
                  <a:pos x="58" y="236"/>
                </a:cxn>
              </a:cxnLst>
              <a:rect l="0" t="0" r="r" b="b"/>
              <a:pathLst>
                <a:path w="684" h="524">
                  <a:moveTo>
                    <a:pt x="70" y="248"/>
                  </a:moveTo>
                  <a:lnTo>
                    <a:pt x="74" y="248"/>
                  </a:lnTo>
                  <a:lnTo>
                    <a:pt x="90" y="250"/>
                  </a:lnTo>
                  <a:lnTo>
                    <a:pt x="98" y="252"/>
                  </a:lnTo>
                  <a:lnTo>
                    <a:pt x="106" y="254"/>
                  </a:lnTo>
                  <a:lnTo>
                    <a:pt x="104" y="258"/>
                  </a:lnTo>
                  <a:lnTo>
                    <a:pt x="98" y="262"/>
                  </a:lnTo>
                  <a:lnTo>
                    <a:pt x="96" y="264"/>
                  </a:lnTo>
                  <a:lnTo>
                    <a:pt x="94" y="268"/>
                  </a:lnTo>
                  <a:lnTo>
                    <a:pt x="102" y="268"/>
                  </a:lnTo>
                  <a:lnTo>
                    <a:pt x="104" y="270"/>
                  </a:lnTo>
                  <a:lnTo>
                    <a:pt x="108" y="278"/>
                  </a:lnTo>
                  <a:lnTo>
                    <a:pt x="110" y="288"/>
                  </a:lnTo>
                  <a:lnTo>
                    <a:pt x="112" y="302"/>
                  </a:lnTo>
                  <a:lnTo>
                    <a:pt x="114" y="304"/>
                  </a:lnTo>
                  <a:lnTo>
                    <a:pt x="104" y="314"/>
                  </a:lnTo>
                  <a:lnTo>
                    <a:pt x="90" y="322"/>
                  </a:lnTo>
                  <a:lnTo>
                    <a:pt x="86" y="326"/>
                  </a:lnTo>
                  <a:lnTo>
                    <a:pt x="84" y="328"/>
                  </a:lnTo>
                  <a:lnTo>
                    <a:pt x="78" y="334"/>
                  </a:lnTo>
                  <a:lnTo>
                    <a:pt x="82" y="338"/>
                  </a:lnTo>
                  <a:lnTo>
                    <a:pt x="84" y="338"/>
                  </a:lnTo>
                  <a:lnTo>
                    <a:pt x="88" y="342"/>
                  </a:lnTo>
                  <a:lnTo>
                    <a:pt x="86" y="344"/>
                  </a:lnTo>
                  <a:lnTo>
                    <a:pt x="84" y="344"/>
                  </a:lnTo>
                  <a:lnTo>
                    <a:pt x="74" y="340"/>
                  </a:lnTo>
                  <a:lnTo>
                    <a:pt x="56" y="342"/>
                  </a:lnTo>
                  <a:lnTo>
                    <a:pt x="50" y="348"/>
                  </a:lnTo>
                  <a:lnTo>
                    <a:pt x="46" y="352"/>
                  </a:lnTo>
                  <a:lnTo>
                    <a:pt x="42" y="360"/>
                  </a:lnTo>
                  <a:lnTo>
                    <a:pt x="44" y="362"/>
                  </a:lnTo>
                  <a:lnTo>
                    <a:pt x="50" y="364"/>
                  </a:lnTo>
                  <a:lnTo>
                    <a:pt x="52" y="370"/>
                  </a:lnTo>
                  <a:lnTo>
                    <a:pt x="50" y="372"/>
                  </a:lnTo>
                  <a:lnTo>
                    <a:pt x="38" y="382"/>
                  </a:lnTo>
                  <a:lnTo>
                    <a:pt x="32" y="384"/>
                  </a:lnTo>
                  <a:lnTo>
                    <a:pt x="30" y="386"/>
                  </a:lnTo>
                  <a:lnTo>
                    <a:pt x="28" y="388"/>
                  </a:lnTo>
                  <a:lnTo>
                    <a:pt x="26" y="390"/>
                  </a:lnTo>
                  <a:lnTo>
                    <a:pt x="24" y="392"/>
                  </a:lnTo>
                  <a:lnTo>
                    <a:pt x="22" y="392"/>
                  </a:lnTo>
                  <a:lnTo>
                    <a:pt x="20" y="394"/>
                  </a:lnTo>
                  <a:lnTo>
                    <a:pt x="6" y="400"/>
                  </a:lnTo>
                  <a:lnTo>
                    <a:pt x="6" y="402"/>
                  </a:lnTo>
                  <a:lnTo>
                    <a:pt x="10" y="402"/>
                  </a:lnTo>
                  <a:lnTo>
                    <a:pt x="10" y="404"/>
                  </a:lnTo>
                  <a:lnTo>
                    <a:pt x="10" y="406"/>
                  </a:lnTo>
                  <a:lnTo>
                    <a:pt x="10" y="408"/>
                  </a:lnTo>
                  <a:lnTo>
                    <a:pt x="6" y="416"/>
                  </a:lnTo>
                  <a:lnTo>
                    <a:pt x="6" y="420"/>
                  </a:lnTo>
                  <a:lnTo>
                    <a:pt x="4" y="426"/>
                  </a:lnTo>
                  <a:lnTo>
                    <a:pt x="2" y="432"/>
                  </a:lnTo>
                  <a:lnTo>
                    <a:pt x="2" y="438"/>
                  </a:lnTo>
                  <a:lnTo>
                    <a:pt x="0" y="442"/>
                  </a:lnTo>
                  <a:lnTo>
                    <a:pt x="0" y="444"/>
                  </a:lnTo>
                  <a:lnTo>
                    <a:pt x="2" y="448"/>
                  </a:lnTo>
                  <a:lnTo>
                    <a:pt x="0" y="452"/>
                  </a:lnTo>
                  <a:lnTo>
                    <a:pt x="2" y="454"/>
                  </a:lnTo>
                  <a:lnTo>
                    <a:pt x="2" y="458"/>
                  </a:lnTo>
                  <a:lnTo>
                    <a:pt x="0" y="462"/>
                  </a:lnTo>
                  <a:lnTo>
                    <a:pt x="0" y="466"/>
                  </a:lnTo>
                  <a:lnTo>
                    <a:pt x="0" y="468"/>
                  </a:lnTo>
                  <a:lnTo>
                    <a:pt x="4" y="464"/>
                  </a:lnTo>
                  <a:lnTo>
                    <a:pt x="12" y="462"/>
                  </a:lnTo>
                  <a:lnTo>
                    <a:pt x="14" y="462"/>
                  </a:lnTo>
                  <a:lnTo>
                    <a:pt x="28" y="466"/>
                  </a:lnTo>
                  <a:lnTo>
                    <a:pt x="32" y="474"/>
                  </a:lnTo>
                  <a:lnTo>
                    <a:pt x="34" y="480"/>
                  </a:lnTo>
                  <a:lnTo>
                    <a:pt x="38" y="488"/>
                  </a:lnTo>
                  <a:lnTo>
                    <a:pt x="42" y="492"/>
                  </a:lnTo>
                  <a:lnTo>
                    <a:pt x="46" y="492"/>
                  </a:lnTo>
                  <a:lnTo>
                    <a:pt x="50" y="492"/>
                  </a:lnTo>
                  <a:lnTo>
                    <a:pt x="60" y="502"/>
                  </a:lnTo>
                  <a:lnTo>
                    <a:pt x="62" y="504"/>
                  </a:lnTo>
                  <a:lnTo>
                    <a:pt x="66" y="512"/>
                  </a:lnTo>
                  <a:lnTo>
                    <a:pt x="76" y="514"/>
                  </a:lnTo>
                  <a:lnTo>
                    <a:pt x="78" y="514"/>
                  </a:lnTo>
                  <a:lnTo>
                    <a:pt x="90" y="518"/>
                  </a:lnTo>
                  <a:lnTo>
                    <a:pt x="98" y="520"/>
                  </a:lnTo>
                  <a:lnTo>
                    <a:pt x="108" y="524"/>
                  </a:lnTo>
                  <a:lnTo>
                    <a:pt x="112" y="522"/>
                  </a:lnTo>
                  <a:lnTo>
                    <a:pt x="142" y="506"/>
                  </a:lnTo>
                  <a:lnTo>
                    <a:pt x="176" y="488"/>
                  </a:lnTo>
                  <a:lnTo>
                    <a:pt x="190" y="482"/>
                  </a:lnTo>
                  <a:lnTo>
                    <a:pt x="224" y="464"/>
                  </a:lnTo>
                  <a:lnTo>
                    <a:pt x="262" y="446"/>
                  </a:lnTo>
                  <a:lnTo>
                    <a:pt x="284" y="436"/>
                  </a:lnTo>
                  <a:lnTo>
                    <a:pt x="300" y="428"/>
                  </a:lnTo>
                  <a:lnTo>
                    <a:pt x="310" y="422"/>
                  </a:lnTo>
                  <a:lnTo>
                    <a:pt x="312" y="422"/>
                  </a:lnTo>
                  <a:lnTo>
                    <a:pt x="326" y="416"/>
                  </a:lnTo>
                  <a:lnTo>
                    <a:pt x="370" y="396"/>
                  </a:lnTo>
                  <a:lnTo>
                    <a:pt x="388" y="388"/>
                  </a:lnTo>
                  <a:lnTo>
                    <a:pt x="412" y="378"/>
                  </a:lnTo>
                  <a:lnTo>
                    <a:pt x="432" y="368"/>
                  </a:lnTo>
                  <a:lnTo>
                    <a:pt x="448" y="360"/>
                  </a:lnTo>
                  <a:lnTo>
                    <a:pt x="452" y="360"/>
                  </a:lnTo>
                  <a:lnTo>
                    <a:pt x="498" y="338"/>
                  </a:lnTo>
                  <a:lnTo>
                    <a:pt x="532" y="322"/>
                  </a:lnTo>
                  <a:lnTo>
                    <a:pt x="534" y="316"/>
                  </a:lnTo>
                  <a:lnTo>
                    <a:pt x="542" y="302"/>
                  </a:lnTo>
                  <a:lnTo>
                    <a:pt x="556" y="282"/>
                  </a:lnTo>
                  <a:lnTo>
                    <a:pt x="558" y="266"/>
                  </a:lnTo>
                  <a:lnTo>
                    <a:pt x="558" y="250"/>
                  </a:lnTo>
                  <a:lnTo>
                    <a:pt x="558" y="244"/>
                  </a:lnTo>
                  <a:lnTo>
                    <a:pt x="558" y="236"/>
                  </a:lnTo>
                  <a:lnTo>
                    <a:pt x="558" y="234"/>
                  </a:lnTo>
                  <a:lnTo>
                    <a:pt x="560" y="232"/>
                  </a:lnTo>
                  <a:lnTo>
                    <a:pt x="560" y="228"/>
                  </a:lnTo>
                  <a:lnTo>
                    <a:pt x="562" y="222"/>
                  </a:lnTo>
                  <a:lnTo>
                    <a:pt x="564" y="218"/>
                  </a:lnTo>
                  <a:lnTo>
                    <a:pt x="564" y="216"/>
                  </a:lnTo>
                  <a:lnTo>
                    <a:pt x="566" y="212"/>
                  </a:lnTo>
                  <a:lnTo>
                    <a:pt x="566" y="206"/>
                  </a:lnTo>
                  <a:lnTo>
                    <a:pt x="568" y="204"/>
                  </a:lnTo>
                  <a:lnTo>
                    <a:pt x="568" y="202"/>
                  </a:lnTo>
                  <a:lnTo>
                    <a:pt x="572" y="194"/>
                  </a:lnTo>
                  <a:lnTo>
                    <a:pt x="580" y="186"/>
                  </a:lnTo>
                  <a:lnTo>
                    <a:pt x="580" y="162"/>
                  </a:lnTo>
                  <a:lnTo>
                    <a:pt x="578" y="158"/>
                  </a:lnTo>
                  <a:lnTo>
                    <a:pt x="572" y="140"/>
                  </a:lnTo>
                  <a:lnTo>
                    <a:pt x="572" y="136"/>
                  </a:lnTo>
                  <a:lnTo>
                    <a:pt x="578" y="102"/>
                  </a:lnTo>
                  <a:lnTo>
                    <a:pt x="586" y="90"/>
                  </a:lnTo>
                  <a:lnTo>
                    <a:pt x="590" y="84"/>
                  </a:lnTo>
                  <a:lnTo>
                    <a:pt x="630" y="78"/>
                  </a:lnTo>
                  <a:lnTo>
                    <a:pt x="684" y="30"/>
                  </a:lnTo>
                  <a:lnTo>
                    <a:pt x="684" y="28"/>
                  </a:lnTo>
                  <a:lnTo>
                    <a:pt x="682" y="24"/>
                  </a:lnTo>
                  <a:lnTo>
                    <a:pt x="682" y="20"/>
                  </a:lnTo>
                  <a:lnTo>
                    <a:pt x="684" y="8"/>
                  </a:lnTo>
                  <a:lnTo>
                    <a:pt x="678" y="4"/>
                  </a:lnTo>
                  <a:lnTo>
                    <a:pt x="672" y="2"/>
                  </a:lnTo>
                  <a:lnTo>
                    <a:pt x="668" y="0"/>
                  </a:lnTo>
                  <a:lnTo>
                    <a:pt x="664" y="4"/>
                  </a:lnTo>
                  <a:lnTo>
                    <a:pt x="658" y="10"/>
                  </a:lnTo>
                  <a:lnTo>
                    <a:pt x="656" y="12"/>
                  </a:lnTo>
                  <a:lnTo>
                    <a:pt x="650" y="14"/>
                  </a:lnTo>
                  <a:lnTo>
                    <a:pt x="636" y="18"/>
                  </a:lnTo>
                  <a:lnTo>
                    <a:pt x="608" y="20"/>
                  </a:lnTo>
                  <a:lnTo>
                    <a:pt x="602" y="20"/>
                  </a:lnTo>
                  <a:lnTo>
                    <a:pt x="600" y="20"/>
                  </a:lnTo>
                  <a:lnTo>
                    <a:pt x="592" y="20"/>
                  </a:lnTo>
                  <a:lnTo>
                    <a:pt x="578" y="20"/>
                  </a:lnTo>
                  <a:lnTo>
                    <a:pt x="570" y="16"/>
                  </a:lnTo>
                  <a:lnTo>
                    <a:pt x="552" y="10"/>
                  </a:lnTo>
                  <a:lnTo>
                    <a:pt x="550" y="10"/>
                  </a:lnTo>
                  <a:lnTo>
                    <a:pt x="540" y="10"/>
                  </a:lnTo>
                  <a:lnTo>
                    <a:pt x="538" y="10"/>
                  </a:lnTo>
                  <a:lnTo>
                    <a:pt x="530" y="12"/>
                  </a:lnTo>
                  <a:lnTo>
                    <a:pt x="528" y="14"/>
                  </a:lnTo>
                  <a:lnTo>
                    <a:pt x="524" y="16"/>
                  </a:lnTo>
                  <a:lnTo>
                    <a:pt x="512" y="20"/>
                  </a:lnTo>
                  <a:lnTo>
                    <a:pt x="510" y="20"/>
                  </a:lnTo>
                  <a:lnTo>
                    <a:pt x="506" y="20"/>
                  </a:lnTo>
                  <a:lnTo>
                    <a:pt x="504" y="20"/>
                  </a:lnTo>
                  <a:lnTo>
                    <a:pt x="490" y="28"/>
                  </a:lnTo>
                  <a:lnTo>
                    <a:pt x="488" y="30"/>
                  </a:lnTo>
                  <a:lnTo>
                    <a:pt x="484" y="32"/>
                  </a:lnTo>
                  <a:lnTo>
                    <a:pt x="464" y="40"/>
                  </a:lnTo>
                  <a:lnTo>
                    <a:pt x="458" y="40"/>
                  </a:lnTo>
                  <a:lnTo>
                    <a:pt x="456" y="42"/>
                  </a:lnTo>
                  <a:lnTo>
                    <a:pt x="446" y="44"/>
                  </a:lnTo>
                  <a:lnTo>
                    <a:pt x="424" y="46"/>
                  </a:lnTo>
                  <a:lnTo>
                    <a:pt x="410" y="48"/>
                  </a:lnTo>
                  <a:lnTo>
                    <a:pt x="398" y="48"/>
                  </a:lnTo>
                  <a:lnTo>
                    <a:pt x="394" y="50"/>
                  </a:lnTo>
                  <a:lnTo>
                    <a:pt x="390" y="50"/>
                  </a:lnTo>
                  <a:lnTo>
                    <a:pt x="386" y="48"/>
                  </a:lnTo>
                  <a:lnTo>
                    <a:pt x="382" y="46"/>
                  </a:lnTo>
                  <a:lnTo>
                    <a:pt x="378" y="44"/>
                  </a:lnTo>
                  <a:lnTo>
                    <a:pt x="376" y="44"/>
                  </a:lnTo>
                  <a:lnTo>
                    <a:pt x="374" y="42"/>
                  </a:lnTo>
                  <a:lnTo>
                    <a:pt x="370" y="42"/>
                  </a:lnTo>
                  <a:lnTo>
                    <a:pt x="366" y="42"/>
                  </a:lnTo>
                  <a:lnTo>
                    <a:pt x="362" y="42"/>
                  </a:lnTo>
                  <a:lnTo>
                    <a:pt x="350" y="42"/>
                  </a:lnTo>
                  <a:lnTo>
                    <a:pt x="344" y="40"/>
                  </a:lnTo>
                  <a:lnTo>
                    <a:pt x="342" y="38"/>
                  </a:lnTo>
                  <a:lnTo>
                    <a:pt x="336" y="32"/>
                  </a:lnTo>
                  <a:lnTo>
                    <a:pt x="330" y="22"/>
                  </a:lnTo>
                  <a:lnTo>
                    <a:pt x="328" y="20"/>
                  </a:lnTo>
                  <a:lnTo>
                    <a:pt x="320" y="16"/>
                  </a:lnTo>
                  <a:lnTo>
                    <a:pt x="316" y="14"/>
                  </a:lnTo>
                  <a:lnTo>
                    <a:pt x="304" y="10"/>
                  </a:lnTo>
                  <a:lnTo>
                    <a:pt x="298" y="12"/>
                  </a:lnTo>
                  <a:lnTo>
                    <a:pt x="290" y="14"/>
                  </a:lnTo>
                  <a:lnTo>
                    <a:pt x="286" y="16"/>
                  </a:lnTo>
                  <a:lnTo>
                    <a:pt x="282" y="18"/>
                  </a:lnTo>
                  <a:lnTo>
                    <a:pt x="280" y="18"/>
                  </a:lnTo>
                  <a:lnTo>
                    <a:pt x="276" y="20"/>
                  </a:lnTo>
                  <a:lnTo>
                    <a:pt x="272" y="22"/>
                  </a:lnTo>
                  <a:lnTo>
                    <a:pt x="270" y="22"/>
                  </a:lnTo>
                  <a:lnTo>
                    <a:pt x="258" y="26"/>
                  </a:lnTo>
                  <a:lnTo>
                    <a:pt x="254" y="26"/>
                  </a:lnTo>
                  <a:lnTo>
                    <a:pt x="252" y="24"/>
                  </a:lnTo>
                  <a:lnTo>
                    <a:pt x="248" y="26"/>
                  </a:lnTo>
                  <a:lnTo>
                    <a:pt x="238" y="28"/>
                  </a:lnTo>
                  <a:lnTo>
                    <a:pt x="236" y="30"/>
                  </a:lnTo>
                  <a:lnTo>
                    <a:pt x="220" y="32"/>
                  </a:lnTo>
                  <a:lnTo>
                    <a:pt x="210" y="30"/>
                  </a:lnTo>
                  <a:lnTo>
                    <a:pt x="208" y="30"/>
                  </a:lnTo>
                  <a:lnTo>
                    <a:pt x="198" y="28"/>
                  </a:lnTo>
                  <a:lnTo>
                    <a:pt x="190" y="20"/>
                  </a:lnTo>
                  <a:lnTo>
                    <a:pt x="186" y="16"/>
                  </a:lnTo>
                  <a:lnTo>
                    <a:pt x="182" y="12"/>
                  </a:lnTo>
                  <a:lnTo>
                    <a:pt x="162" y="4"/>
                  </a:lnTo>
                  <a:lnTo>
                    <a:pt x="158" y="2"/>
                  </a:lnTo>
                  <a:lnTo>
                    <a:pt x="158" y="6"/>
                  </a:lnTo>
                  <a:lnTo>
                    <a:pt x="148" y="26"/>
                  </a:lnTo>
                  <a:lnTo>
                    <a:pt x="142" y="42"/>
                  </a:lnTo>
                  <a:lnTo>
                    <a:pt x="142" y="50"/>
                  </a:lnTo>
                  <a:lnTo>
                    <a:pt x="144" y="52"/>
                  </a:lnTo>
                  <a:lnTo>
                    <a:pt x="150" y="64"/>
                  </a:lnTo>
                  <a:lnTo>
                    <a:pt x="152" y="66"/>
                  </a:lnTo>
                  <a:lnTo>
                    <a:pt x="150" y="72"/>
                  </a:lnTo>
                  <a:lnTo>
                    <a:pt x="144" y="74"/>
                  </a:lnTo>
                  <a:lnTo>
                    <a:pt x="140" y="72"/>
                  </a:lnTo>
                  <a:lnTo>
                    <a:pt x="136" y="70"/>
                  </a:lnTo>
                  <a:lnTo>
                    <a:pt x="134" y="70"/>
                  </a:lnTo>
                  <a:lnTo>
                    <a:pt x="124" y="72"/>
                  </a:lnTo>
                  <a:lnTo>
                    <a:pt x="122" y="76"/>
                  </a:lnTo>
                  <a:lnTo>
                    <a:pt x="120" y="84"/>
                  </a:lnTo>
                  <a:lnTo>
                    <a:pt x="120" y="92"/>
                  </a:lnTo>
                  <a:lnTo>
                    <a:pt x="118" y="96"/>
                  </a:lnTo>
                  <a:lnTo>
                    <a:pt x="112" y="98"/>
                  </a:lnTo>
                  <a:lnTo>
                    <a:pt x="104" y="98"/>
                  </a:lnTo>
                  <a:lnTo>
                    <a:pt x="100" y="104"/>
                  </a:lnTo>
                  <a:lnTo>
                    <a:pt x="98" y="108"/>
                  </a:lnTo>
                  <a:lnTo>
                    <a:pt x="98" y="110"/>
                  </a:lnTo>
                  <a:lnTo>
                    <a:pt x="96" y="114"/>
                  </a:lnTo>
                  <a:lnTo>
                    <a:pt x="94" y="112"/>
                  </a:lnTo>
                  <a:lnTo>
                    <a:pt x="94" y="110"/>
                  </a:lnTo>
                  <a:lnTo>
                    <a:pt x="92" y="108"/>
                  </a:lnTo>
                  <a:lnTo>
                    <a:pt x="84" y="102"/>
                  </a:lnTo>
                  <a:lnTo>
                    <a:pt x="76" y="98"/>
                  </a:lnTo>
                  <a:lnTo>
                    <a:pt x="70" y="106"/>
                  </a:lnTo>
                  <a:lnTo>
                    <a:pt x="66" y="120"/>
                  </a:lnTo>
                  <a:lnTo>
                    <a:pt x="64" y="122"/>
                  </a:lnTo>
                  <a:lnTo>
                    <a:pt x="58" y="130"/>
                  </a:lnTo>
                  <a:lnTo>
                    <a:pt x="52" y="136"/>
                  </a:lnTo>
                  <a:lnTo>
                    <a:pt x="54" y="146"/>
                  </a:lnTo>
                  <a:lnTo>
                    <a:pt x="62" y="150"/>
                  </a:lnTo>
                  <a:lnTo>
                    <a:pt x="66" y="156"/>
                  </a:lnTo>
                  <a:lnTo>
                    <a:pt x="66" y="174"/>
                  </a:lnTo>
                  <a:lnTo>
                    <a:pt x="66" y="176"/>
                  </a:lnTo>
                  <a:lnTo>
                    <a:pt x="66" y="180"/>
                  </a:lnTo>
                  <a:lnTo>
                    <a:pt x="66" y="182"/>
                  </a:lnTo>
                  <a:lnTo>
                    <a:pt x="64" y="188"/>
                  </a:lnTo>
                  <a:lnTo>
                    <a:pt x="60" y="192"/>
                  </a:lnTo>
                  <a:lnTo>
                    <a:pt x="58" y="196"/>
                  </a:lnTo>
                  <a:lnTo>
                    <a:pt x="56" y="206"/>
                  </a:lnTo>
                  <a:lnTo>
                    <a:pt x="54" y="214"/>
                  </a:lnTo>
                  <a:lnTo>
                    <a:pt x="56" y="218"/>
                  </a:lnTo>
                  <a:lnTo>
                    <a:pt x="58" y="236"/>
                  </a:lnTo>
                  <a:lnTo>
                    <a:pt x="58" y="240"/>
                  </a:lnTo>
                  <a:lnTo>
                    <a:pt x="60" y="246"/>
                  </a:lnTo>
                  <a:lnTo>
                    <a:pt x="66" y="248"/>
                  </a:lnTo>
                  <a:lnTo>
                    <a:pt x="70" y="24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4" name="Freeform 1980"/>
            <p:cNvSpPr>
              <a:spLocks/>
            </p:cNvSpPr>
            <p:nvPr/>
          </p:nvSpPr>
          <p:spPr bwMode="auto">
            <a:xfrm rot="21000000">
              <a:off x="6552059" y="1830185"/>
              <a:ext cx="97423" cy="239236"/>
            </a:xfrm>
            <a:custGeom>
              <a:avLst/>
              <a:gdLst/>
              <a:ahLst/>
              <a:cxnLst>
                <a:cxn ang="0">
                  <a:pos x="58" y="384"/>
                </a:cxn>
                <a:cxn ang="0">
                  <a:pos x="60" y="374"/>
                </a:cxn>
                <a:cxn ang="0">
                  <a:pos x="68" y="358"/>
                </a:cxn>
                <a:cxn ang="0">
                  <a:pos x="74" y="332"/>
                </a:cxn>
                <a:cxn ang="0">
                  <a:pos x="82" y="302"/>
                </a:cxn>
                <a:cxn ang="0">
                  <a:pos x="94" y="284"/>
                </a:cxn>
                <a:cxn ang="0">
                  <a:pos x="102" y="266"/>
                </a:cxn>
                <a:cxn ang="0">
                  <a:pos x="114" y="248"/>
                </a:cxn>
                <a:cxn ang="0">
                  <a:pos x="114" y="234"/>
                </a:cxn>
                <a:cxn ang="0">
                  <a:pos x="120" y="212"/>
                </a:cxn>
                <a:cxn ang="0">
                  <a:pos x="120" y="200"/>
                </a:cxn>
                <a:cxn ang="0">
                  <a:pos x="100" y="210"/>
                </a:cxn>
                <a:cxn ang="0">
                  <a:pos x="88" y="212"/>
                </a:cxn>
                <a:cxn ang="0">
                  <a:pos x="64" y="208"/>
                </a:cxn>
                <a:cxn ang="0">
                  <a:pos x="70" y="196"/>
                </a:cxn>
                <a:cxn ang="0">
                  <a:pos x="72" y="184"/>
                </a:cxn>
                <a:cxn ang="0">
                  <a:pos x="78" y="178"/>
                </a:cxn>
                <a:cxn ang="0">
                  <a:pos x="100" y="170"/>
                </a:cxn>
                <a:cxn ang="0">
                  <a:pos x="92" y="158"/>
                </a:cxn>
                <a:cxn ang="0">
                  <a:pos x="78" y="158"/>
                </a:cxn>
                <a:cxn ang="0">
                  <a:pos x="82" y="140"/>
                </a:cxn>
                <a:cxn ang="0">
                  <a:pos x="86" y="132"/>
                </a:cxn>
                <a:cxn ang="0">
                  <a:pos x="90" y="110"/>
                </a:cxn>
                <a:cxn ang="0">
                  <a:pos x="96" y="90"/>
                </a:cxn>
                <a:cxn ang="0">
                  <a:pos x="110" y="80"/>
                </a:cxn>
                <a:cxn ang="0">
                  <a:pos x="120" y="82"/>
                </a:cxn>
                <a:cxn ang="0">
                  <a:pos x="132" y="86"/>
                </a:cxn>
                <a:cxn ang="0">
                  <a:pos x="144" y="100"/>
                </a:cxn>
                <a:cxn ang="0">
                  <a:pos x="154" y="68"/>
                </a:cxn>
                <a:cxn ang="0">
                  <a:pos x="158" y="66"/>
                </a:cxn>
                <a:cxn ang="0">
                  <a:pos x="160" y="54"/>
                </a:cxn>
                <a:cxn ang="0">
                  <a:pos x="158" y="44"/>
                </a:cxn>
                <a:cxn ang="0">
                  <a:pos x="160" y="32"/>
                </a:cxn>
                <a:cxn ang="0">
                  <a:pos x="164" y="16"/>
                </a:cxn>
                <a:cxn ang="0">
                  <a:pos x="168" y="4"/>
                </a:cxn>
                <a:cxn ang="0">
                  <a:pos x="160" y="0"/>
                </a:cxn>
                <a:cxn ang="0">
                  <a:pos x="150" y="16"/>
                </a:cxn>
                <a:cxn ang="0">
                  <a:pos x="138" y="20"/>
                </a:cxn>
                <a:cxn ang="0">
                  <a:pos x="126" y="14"/>
                </a:cxn>
                <a:cxn ang="0">
                  <a:pos x="110" y="16"/>
                </a:cxn>
                <a:cxn ang="0">
                  <a:pos x="106" y="30"/>
                </a:cxn>
                <a:cxn ang="0">
                  <a:pos x="104" y="42"/>
                </a:cxn>
                <a:cxn ang="0">
                  <a:pos x="96" y="42"/>
                </a:cxn>
                <a:cxn ang="0">
                  <a:pos x="90" y="54"/>
                </a:cxn>
                <a:cxn ang="0">
                  <a:pos x="72" y="102"/>
                </a:cxn>
                <a:cxn ang="0">
                  <a:pos x="58" y="132"/>
                </a:cxn>
                <a:cxn ang="0">
                  <a:pos x="50" y="148"/>
                </a:cxn>
                <a:cxn ang="0">
                  <a:pos x="32" y="174"/>
                </a:cxn>
                <a:cxn ang="0">
                  <a:pos x="34" y="184"/>
                </a:cxn>
                <a:cxn ang="0">
                  <a:pos x="26" y="192"/>
                </a:cxn>
                <a:cxn ang="0">
                  <a:pos x="12" y="210"/>
                </a:cxn>
                <a:cxn ang="0">
                  <a:pos x="2" y="224"/>
                </a:cxn>
                <a:cxn ang="0">
                  <a:pos x="18" y="306"/>
                </a:cxn>
                <a:cxn ang="0">
                  <a:pos x="22" y="320"/>
                </a:cxn>
                <a:cxn ang="0">
                  <a:pos x="34" y="396"/>
                </a:cxn>
                <a:cxn ang="0">
                  <a:pos x="34" y="410"/>
                </a:cxn>
                <a:cxn ang="0">
                  <a:pos x="40" y="422"/>
                </a:cxn>
                <a:cxn ang="0">
                  <a:pos x="44" y="420"/>
                </a:cxn>
              </a:cxnLst>
              <a:rect l="0" t="0" r="r" b="b"/>
              <a:pathLst>
                <a:path w="168" h="426">
                  <a:moveTo>
                    <a:pt x="44" y="416"/>
                  </a:moveTo>
                  <a:lnTo>
                    <a:pt x="48" y="408"/>
                  </a:lnTo>
                  <a:lnTo>
                    <a:pt x="58" y="384"/>
                  </a:lnTo>
                  <a:lnTo>
                    <a:pt x="58" y="380"/>
                  </a:lnTo>
                  <a:lnTo>
                    <a:pt x="58" y="378"/>
                  </a:lnTo>
                  <a:lnTo>
                    <a:pt x="60" y="374"/>
                  </a:lnTo>
                  <a:lnTo>
                    <a:pt x="64" y="364"/>
                  </a:lnTo>
                  <a:lnTo>
                    <a:pt x="66" y="362"/>
                  </a:lnTo>
                  <a:lnTo>
                    <a:pt x="68" y="358"/>
                  </a:lnTo>
                  <a:lnTo>
                    <a:pt x="72" y="356"/>
                  </a:lnTo>
                  <a:lnTo>
                    <a:pt x="72" y="352"/>
                  </a:lnTo>
                  <a:lnTo>
                    <a:pt x="74" y="332"/>
                  </a:lnTo>
                  <a:lnTo>
                    <a:pt x="74" y="322"/>
                  </a:lnTo>
                  <a:lnTo>
                    <a:pt x="76" y="318"/>
                  </a:lnTo>
                  <a:lnTo>
                    <a:pt x="82" y="302"/>
                  </a:lnTo>
                  <a:lnTo>
                    <a:pt x="84" y="300"/>
                  </a:lnTo>
                  <a:lnTo>
                    <a:pt x="88" y="292"/>
                  </a:lnTo>
                  <a:lnTo>
                    <a:pt x="94" y="284"/>
                  </a:lnTo>
                  <a:lnTo>
                    <a:pt x="94" y="280"/>
                  </a:lnTo>
                  <a:lnTo>
                    <a:pt x="100" y="270"/>
                  </a:lnTo>
                  <a:lnTo>
                    <a:pt x="102" y="266"/>
                  </a:lnTo>
                  <a:lnTo>
                    <a:pt x="104" y="266"/>
                  </a:lnTo>
                  <a:lnTo>
                    <a:pt x="106" y="264"/>
                  </a:lnTo>
                  <a:lnTo>
                    <a:pt x="114" y="248"/>
                  </a:lnTo>
                  <a:lnTo>
                    <a:pt x="116" y="244"/>
                  </a:lnTo>
                  <a:lnTo>
                    <a:pt x="116" y="240"/>
                  </a:lnTo>
                  <a:lnTo>
                    <a:pt x="114" y="234"/>
                  </a:lnTo>
                  <a:lnTo>
                    <a:pt x="112" y="232"/>
                  </a:lnTo>
                  <a:lnTo>
                    <a:pt x="118" y="218"/>
                  </a:lnTo>
                  <a:lnTo>
                    <a:pt x="120" y="212"/>
                  </a:lnTo>
                  <a:lnTo>
                    <a:pt x="122" y="208"/>
                  </a:lnTo>
                  <a:lnTo>
                    <a:pt x="122" y="202"/>
                  </a:lnTo>
                  <a:lnTo>
                    <a:pt x="120" y="200"/>
                  </a:lnTo>
                  <a:lnTo>
                    <a:pt x="116" y="200"/>
                  </a:lnTo>
                  <a:lnTo>
                    <a:pt x="114" y="202"/>
                  </a:lnTo>
                  <a:lnTo>
                    <a:pt x="100" y="210"/>
                  </a:lnTo>
                  <a:lnTo>
                    <a:pt x="98" y="212"/>
                  </a:lnTo>
                  <a:lnTo>
                    <a:pt x="96" y="212"/>
                  </a:lnTo>
                  <a:lnTo>
                    <a:pt x="88" y="212"/>
                  </a:lnTo>
                  <a:lnTo>
                    <a:pt x="68" y="212"/>
                  </a:lnTo>
                  <a:lnTo>
                    <a:pt x="66" y="210"/>
                  </a:lnTo>
                  <a:lnTo>
                    <a:pt x="64" y="208"/>
                  </a:lnTo>
                  <a:lnTo>
                    <a:pt x="64" y="204"/>
                  </a:lnTo>
                  <a:lnTo>
                    <a:pt x="66" y="200"/>
                  </a:lnTo>
                  <a:lnTo>
                    <a:pt x="70" y="196"/>
                  </a:lnTo>
                  <a:lnTo>
                    <a:pt x="72" y="194"/>
                  </a:lnTo>
                  <a:lnTo>
                    <a:pt x="72" y="188"/>
                  </a:lnTo>
                  <a:lnTo>
                    <a:pt x="72" y="184"/>
                  </a:lnTo>
                  <a:lnTo>
                    <a:pt x="74" y="182"/>
                  </a:lnTo>
                  <a:lnTo>
                    <a:pt x="76" y="180"/>
                  </a:lnTo>
                  <a:lnTo>
                    <a:pt x="78" y="178"/>
                  </a:lnTo>
                  <a:lnTo>
                    <a:pt x="88" y="172"/>
                  </a:lnTo>
                  <a:lnTo>
                    <a:pt x="96" y="170"/>
                  </a:lnTo>
                  <a:lnTo>
                    <a:pt x="100" y="170"/>
                  </a:lnTo>
                  <a:lnTo>
                    <a:pt x="102" y="166"/>
                  </a:lnTo>
                  <a:lnTo>
                    <a:pt x="96" y="160"/>
                  </a:lnTo>
                  <a:lnTo>
                    <a:pt x="92" y="158"/>
                  </a:lnTo>
                  <a:lnTo>
                    <a:pt x="84" y="158"/>
                  </a:lnTo>
                  <a:lnTo>
                    <a:pt x="82" y="158"/>
                  </a:lnTo>
                  <a:lnTo>
                    <a:pt x="78" y="158"/>
                  </a:lnTo>
                  <a:lnTo>
                    <a:pt x="78" y="156"/>
                  </a:lnTo>
                  <a:lnTo>
                    <a:pt x="78" y="154"/>
                  </a:lnTo>
                  <a:lnTo>
                    <a:pt x="82" y="140"/>
                  </a:lnTo>
                  <a:lnTo>
                    <a:pt x="84" y="140"/>
                  </a:lnTo>
                  <a:lnTo>
                    <a:pt x="86" y="134"/>
                  </a:lnTo>
                  <a:lnTo>
                    <a:pt x="86" y="132"/>
                  </a:lnTo>
                  <a:lnTo>
                    <a:pt x="84" y="122"/>
                  </a:lnTo>
                  <a:lnTo>
                    <a:pt x="84" y="120"/>
                  </a:lnTo>
                  <a:lnTo>
                    <a:pt x="90" y="110"/>
                  </a:lnTo>
                  <a:lnTo>
                    <a:pt x="94" y="96"/>
                  </a:lnTo>
                  <a:lnTo>
                    <a:pt x="94" y="94"/>
                  </a:lnTo>
                  <a:lnTo>
                    <a:pt x="96" y="90"/>
                  </a:lnTo>
                  <a:lnTo>
                    <a:pt x="98" y="88"/>
                  </a:lnTo>
                  <a:lnTo>
                    <a:pt x="100" y="84"/>
                  </a:lnTo>
                  <a:lnTo>
                    <a:pt x="110" y="80"/>
                  </a:lnTo>
                  <a:lnTo>
                    <a:pt x="112" y="78"/>
                  </a:lnTo>
                  <a:lnTo>
                    <a:pt x="118" y="82"/>
                  </a:lnTo>
                  <a:lnTo>
                    <a:pt x="120" y="82"/>
                  </a:lnTo>
                  <a:lnTo>
                    <a:pt x="124" y="82"/>
                  </a:lnTo>
                  <a:lnTo>
                    <a:pt x="126" y="82"/>
                  </a:lnTo>
                  <a:lnTo>
                    <a:pt x="132" y="86"/>
                  </a:lnTo>
                  <a:lnTo>
                    <a:pt x="132" y="88"/>
                  </a:lnTo>
                  <a:lnTo>
                    <a:pt x="136" y="96"/>
                  </a:lnTo>
                  <a:lnTo>
                    <a:pt x="144" y="100"/>
                  </a:lnTo>
                  <a:lnTo>
                    <a:pt x="144" y="98"/>
                  </a:lnTo>
                  <a:lnTo>
                    <a:pt x="150" y="72"/>
                  </a:lnTo>
                  <a:lnTo>
                    <a:pt x="154" y="68"/>
                  </a:lnTo>
                  <a:lnTo>
                    <a:pt x="156" y="66"/>
                  </a:lnTo>
                  <a:lnTo>
                    <a:pt x="158" y="68"/>
                  </a:lnTo>
                  <a:lnTo>
                    <a:pt x="158" y="66"/>
                  </a:lnTo>
                  <a:lnTo>
                    <a:pt x="158" y="62"/>
                  </a:lnTo>
                  <a:lnTo>
                    <a:pt x="160" y="58"/>
                  </a:lnTo>
                  <a:lnTo>
                    <a:pt x="160" y="54"/>
                  </a:lnTo>
                  <a:lnTo>
                    <a:pt x="158" y="52"/>
                  </a:lnTo>
                  <a:lnTo>
                    <a:pt x="160" y="48"/>
                  </a:lnTo>
                  <a:lnTo>
                    <a:pt x="158" y="44"/>
                  </a:lnTo>
                  <a:lnTo>
                    <a:pt x="158" y="42"/>
                  </a:lnTo>
                  <a:lnTo>
                    <a:pt x="160" y="38"/>
                  </a:lnTo>
                  <a:lnTo>
                    <a:pt x="160" y="32"/>
                  </a:lnTo>
                  <a:lnTo>
                    <a:pt x="162" y="26"/>
                  </a:lnTo>
                  <a:lnTo>
                    <a:pt x="164" y="20"/>
                  </a:lnTo>
                  <a:lnTo>
                    <a:pt x="164" y="16"/>
                  </a:lnTo>
                  <a:lnTo>
                    <a:pt x="168" y="8"/>
                  </a:lnTo>
                  <a:lnTo>
                    <a:pt x="168" y="6"/>
                  </a:lnTo>
                  <a:lnTo>
                    <a:pt x="168" y="4"/>
                  </a:lnTo>
                  <a:lnTo>
                    <a:pt x="168" y="2"/>
                  </a:lnTo>
                  <a:lnTo>
                    <a:pt x="164" y="2"/>
                  </a:lnTo>
                  <a:lnTo>
                    <a:pt x="160" y="0"/>
                  </a:lnTo>
                  <a:lnTo>
                    <a:pt x="156" y="6"/>
                  </a:lnTo>
                  <a:lnTo>
                    <a:pt x="152" y="14"/>
                  </a:lnTo>
                  <a:lnTo>
                    <a:pt x="150" y="16"/>
                  </a:lnTo>
                  <a:lnTo>
                    <a:pt x="150" y="18"/>
                  </a:lnTo>
                  <a:lnTo>
                    <a:pt x="142" y="20"/>
                  </a:lnTo>
                  <a:lnTo>
                    <a:pt x="138" y="20"/>
                  </a:lnTo>
                  <a:lnTo>
                    <a:pt x="134" y="20"/>
                  </a:lnTo>
                  <a:lnTo>
                    <a:pt x="132" y="16"/>
                  </a:lnTo>
                  <a:lnTo>
                    <a:pt x="126" y="14"/>
                  </a:lnTo>
                  <a:lnTo>
                    <a:pt x="112" y="14"/>
                  </a:lnTo>
                  <a:lnTo>
                    <a:pt x="110" y="14"/>
                  </a:lnTo>
                  <a:lnTo>
                    <a:pt x="110" y="16"/>
                  </a:lnTo>
                  <a:lnTo>
                    <a:pt x="108" y="22"/>
                  </a:lnTo>
                  <a:lnTo>
                    <a:pt x="108" y="26"/>
                  </a:lnTo>
                  <a:lnTo>
                    <a:pt x="106" y="30"/>
                  </a:lnTo>
                  <a:lnTo>
                    <a:pt x="106" y="36"/>
                  </a:lnTo>
                  <a:lnTo>
                    <a:pt x="106" y="38"/>
                  </a:lnTo>
                  <a:lnTo>
                    <a:pt x="104" y="42"/>
                  </a:lnTo>
                  <a:lnTo>
                    <a:pt x="100" y="44"/>
                  </a:lnTo>
                  <a:lnTo>
                    <a:pt x="98" y="44"/>
                  </a:lnTo>
                  <a:lnTo>
                    <a:pt x="96" y="42"/>
                  </a:lnTo>
                  <a:lnTo>
                    <a:pt x="92" y="42"/>
                  </a:lnTo>
                  <a:lnTo>
                    <a:pt x="90" y="48"/>
                  </a:lnTo>
                  <a:lnTo>
                    <a:pt x="90" y="54"/>
                  </a:lnTo>
                  <a:lnTo>
                    <a:pt x="82" y="78"/>
                  </a:lnTo>
                  <a:lnTo>
                    <a:pt x="78" y="88"/>
                  </a:lnTo>
                  <a:lnTo>
                    <a:pt x="72" y="102"/>
                  </a:lnTo>
                  <a:lnTo>
                    <a:pt x="68" y="114"/>
                  </a:lnTo>
                  <a:lnTo>
                    <a:pt x="64" y="120"/>
                  </a:lnTo>
                  <a:lnTo>
                    <a:pt x="58" y="132"/>
                  </a:lnTo>
                  <a:lnTo>
                    <a:pt x="58" y="134"/>
                  </a:lnTo>
                  <a:lnTo>
                    <a:pt x="56" y="140"/>
                  </a:lnTo>
                  <a:lnTo>
                    <a:pt x="50" y="148"/>
                  </a:lnTo>
                  <a:lnTo>
                    <a:pt x="40" y="164"/>
                  </a:lnTo>
                  <a:lnTo>
                    <a:pt x="36" y="168"/>
                  </a:lnTo>
                  <a:lnTo>
                    <a:pt x="32" y="174"/>
                  </a:lnTo>
                  <a:lnTo>
                    <a:pt x="30" y="176"/>
                  </a:lnTo>
                  <a:lnTo>
                    <a:pt x="28" y="178"/>
                  </a:lnTo>
                  <a:lnTo>
                    <a:pt x="34" y="184"/>
                  </a:lnTo>
                  <a:lnTo>
                    <a:pt x="32" y="188"/>
                  </a:lnTo>
                  <a:lnTo>
                    <a:pt x="30" y="188"/>
                  </a:lnTo>
                  <a:lnTo>
                    <a:pt x="26" y="192"/>
                  </a:lnTo>
                  <a:lnTo>
                    <a:pt x="16" y="200"/>
                  </a:lnTo>
                  <a:lnTo>
                    <a:pt x="12" y="204"/>
                  </a:lnTo>
                  <a:lnTo>
                    <a:pt x="12" y="210"/>
                  </a:lnTo>
                  <a:lnTo>
                    <a:pt x="8" y="214"/>
                  </a:lnTo>
                  <a:lnTo>
                    <a:pt x="0" y="218"/>
                  </a:lnTo>
                  <a:lnTo>
                    <a:pt x="2" y="224"/>
                  </a:lnTo>
                  <a:lnTo>
                    <a:pt x="8" y="260"/>
                  </a:lnTo>
                  <a:lnTo>
                    <a:pt x="14" y="282"/>
                  </a:lnTo>
                  <a:lnTo>
                    <a:pt x="18" y="306"/>
                  </a:lnTo>
                  <a:lnTo>
                    <a:pt x="14" y="312"/>
                  </a:lnTo>
                  <a:lnTo>
                    <a:pt x="14" y="314"/>
                  </a:lnTo>
                  <a:lnTo>
                    <a:pt x="22" y="320"/>
                  </a:lnTo>
                  <a:lnTo>
                    <a:pt x="28" y="354"/>
                  </a:lnTo>
                  <a:lnTo>
                    <a:pt x="30" y="366"/>
                  </a:lnTo>
                  <a:lnTo>
                    <a:pt x="34" y="396"/>
                  </a:lnTo>
                  <a:lnTo>
                    <a:pt x="36" y="406"/>
                  </a:lnTo>
                  <a:lnTo>
                    <a:pt x="36" y="408"/>
                  </a:lnTo>
                  <a:lnTo>
                    <a:pt x="34" y="410"/>
                  </a:lnTo>
                  <a:lnTo>
                    <a:pt x="34" y="420"/>
                  </a:lnTo>
                  <a:lnTo>
                    <a:pt x="36" y="426"/>
                  </a:lnTo>
                  <a:lnTo>
                    <a:pt x="40" y="422"/>
                  </a:lnTo>
                  <a:lnTo>
                    <a:pt x="42" y="418"/>
                  </a:lnTo>
                  <a:lnTo>
                    <a:pt x="44" y="418"/>
                  </a:lnTo>
                  <a:lnTo>
                    <a:pt x="44" y="420"/>
                  </a:lnTo>
                  <a:lnTo>
                    <a:pt x="44" y="41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5" name="Freeform 1981"/>
            <p:cNvSpPr>
              <a:spLocks/>
            </p:cNvSpPr>
            <p:nvPr/>
          </p:nvSpPr>
          <p:spPr bwMode="auto">
            <a:xfrm rot="21000000">
              <a:off x="6582364" y="1872554"/>
              <a:ext cx="46392" cy="75253"/>
            </a:xfrm>
            <a:custGeom>
              <a:avLst/>
              <a:gdLst/>
              <a:ahLst/>
              <a:cxnLst>
                <a:cxn ang="0">
                  <a:pos x="68" y="8"/>
                </a:cxn>
                <a:cxn ang="0">
                  <a:pos x="60" y="4"/>
                </a:cxn>
                <a:cxn ang="0">
                  <a:pos x="54" y="4"/>
                </a:cxn>
                <a:cxn ang="0">
                  <a:pos x="46" y="2"/>
                </a:cxn>
                <a:cxn ang="0">
                  <a:pos x="34" y="10"/>
                </a:cxn>
                <a:cxn ang="0">
                  <a:pos x="30" y="16"/>
                </a:cxn>
                <a:cxn ang="0">
                  <a:pos x="26" y="32"/>
                </a:cxn>
                <a:cxn ang="0">
                  <a:pos x="20" y="44"/>
                </a:cxn>
                <a:cxn ang="0">
                  <a:pos x="22" y="56"/>
                </a:cxn>
                <a:cxn ang="0">
                  <a:pos x="18" y="62"/>
                </a:cxn>
                <a:cxn ang="0">
                  <a:pos x="14" y="78"/>
                </a:cxn>
                <a:cxn ang="0">
                  <a:pos x="18" y="80"/>
                </a:cxn>
                <a:cxn ang="0">
                  <a:pos x="28" y="80"/>
                </a:cxn>
                <a:cxn ang="0">
                  <a:pos x="38" y="88"/>
                </a:cxn>
                <a:cxn ang="0">
                  <a:pos x="32" y="92"/>
                </a:cxn>
                <a:cxn ang="0">
                  <a:pos x="14" y="100"/>
                </a:cxn>
                <a:cxn ang="0">
                  <a:pos x="10" y="104"/>
                </a:cxn>
                <a:cxn ang="0">
                  <a:pos x="8" y="110"/>
                </a:cxn>
                <a:cxn ang="0">
                  <a:pos x="6" y="118"/>
                </a:cxn>
                <a:cxn ang="0">
                  <a:pos x="0" y="126"/>
                </a:cxn>
                <a:cxn ang="0">
                  <a:pos x="2" y="132"/>
                </a:cxn>
                <a:cxn ang="0">
                  <a:pos x="24" y="134"/>
                </a:cxn>
                <a:cxn ang="0">
                  <a:pos x="34" y="134"/>
                </a:cxn>
                <a:cxn ang="0">
                  <a:pos x="50" y="124"/>
                </a:cxn>
                <a:cxn ang="0">
                  <a:pos x="56" y="122"/>
                </a:cxn>
                <a:cxn ang="0">
                  <a:pos x="60" y="120"/>
                </a:cxn>
                <a:cxn ang="0">
                  <a:pos x="62" y="112"/>
                </a:cxn>
                <a:cxn ang="0">
                  <a:pos x="66" y="100"/>
                </a:cxn>
                <a:cxn ang="0">
                  <a:pos x="70" y="94"/>
                </a:cxn>
                <a:cxn ang="0">
                  <a:pos x="70" y="74"/>
                </a:cxn>
                <a:cxn ang="0">
                  <a:pos x="70" y="62"/>
                </a:cxn>
                <a:cxn ang="0">
                  <a:pos x="78" y="42"/>
                </a:cxn>
                <a:cxn ang="0">
                  <a:pos x="80" y="22"/>
                </a:cxn>
                <a:cxn ang="0">
                  <a:pos x="68" y="10"/>
                </a:cxn>
              </a:cxnLst>
              <a:rect l="0" t="0" r="r" b="b"/>
              <a:pathLst>
                <a:path w="80" h="134">
                  <a:moveTo>
                    <a:pt x="68" y="10"/>
                  </a:moveTo>
                  <a:lnTo>
                    <a:pt x="68" y="8"/>
                  </a:lnTo>
                  <a:lnTo>
                    <a:pt x="62" y="4"/>
                  </a:lnTo>
                  <a:lnTo>
                    <a:pt x="60" y="4"/>
                  </a:lnTo>
                  <a:lnTo>
                    <a:pt x="56" y="4"/>
                  </a:lnTo>
                  <a:lnTo>
                    <a:pt x="54" y="4"/>
                  </a:lnTo>
                  <a:lnTo>
                    <a:pt x="48" y="0"/>
                  </a:lnTo>
                  <a:lnTo>
                    <a:pt x="46" y="2"/>
                  </a:lnTo>
                  <a:lnTo>
                    <a:pt x="36" y="6"/>
                  </a:lnTo>
                  <a:lnTo>
                    <a:pt x="34" y="10"/>
                  </a:lnTo>
                  <a:lnTo>
                    <a:pt x="32" y="12"/>
                  </a:lnTo>
                  <a:lnTo>
                    <a:pt x="30" y="16"/>
                  </a:lnTo>
                  <a:lnTo>
                    <a:pt x="30" y="18"/>
                  </a:lnTo>
                  <a:lnTo>
                    <a:pt x="26" y="32"/>
                  </a:lnTo>
                  <a:lnTo>
                    <a:pt x="20" y="42"/>
                  </a:lnTo>
                  <a:lnTo>
                    <a:pt x="20" y="44"/>
                  </a:lnTo>
                  <a:lnTo>
                    <a:pt x="22" y="54"/>
                  </a:lnTo>
                  <a:lnTo>
                    <a:pt x="22" y="56"/>
                  </a:lnTo>
                  <a:lnTo>
                    <a:pt x="20" y="62"/>
                  </a:lnTo>
                  <a:lnTo>
                    <a:pt x="18" y="62"/>
                  </a:lnTo>
                  <a:lnTo>
                    <a:pt x="14" y="76"/>
                  </a:lnTo>
                  <a:lnTo>
                    <a:pt x="14" y="78"/>
                  </a:lnTo>
                  <a:lnTo>
                    <a:pt x="14" y="80"/>
                  </a:lnTo>
                  <a:lnTo>
                    <a:pt x="18" y="80"/>
                  </a:lnTo>
                  <a:lnTo>
                    <a:pt x="20" y="80"/>
                  </a:lnTo>
                  <a:lnTo>
                    <a:pt x="28" y="80"/>
                  </a:lnTo>
                  <a:lnTo>
                    <a:pt x="32" y="82"/>
                  </a:lnTo>
                  <a:lnTo>
                    <a:pt x="38" y="88"/>
                  </a:lnTo>
                  <a:lnTo>
                    <a:pt x="36" y="92"/>
                  </a:lnTo>
                  <a:lnTo>
                    <a:pt x="32" y="92"/>
                  </a:lnTo>
                  <a:lnTo>
                    <a:pt x="24" y="94"/>
                  </a:lnTo>
                  <a:lnTo>
                    <a:pt x="14" y="100"/>
                  </a:lnTo>
                  <a:lnTo>
                    <a:pt x="12" y="102"/>
                  </a:lnTo>
                  <a:lnTo>
                    <a:pt x="10" y="104"/>
                  </a:lnTo>
                  <a:lnTo>
                    <a:pt x="8" y="106"/>
                  </a:lnTo>
                  <a:lnTo>
                    <a:pt x="8" y="110"/>
                  </a:lnTo>
                  <a:lnTo>
                    <a:pt x="8" y="116"/>
                  </a:lnTo>
                  <a:lnTo>
                    <a:pt x="6" y="118"/>
                  </a:lnTo>
                  <a:lnTo>
                    <a:pt x="2" y="122"/>
                  </a:lnTo>
                  <a:lnTo>
                    <a:pt x="0" y="126"/>
                  </a:lnTo>
                  <a:lnTo>
                    <a:pt x="0" y="130"/>
                  </a:lnTo>
                  <a:lnTo>
                    <a:pt x="2" y="132"/>
                  </a:lnTo>
                  <a:lnTo>
                    <a:pt x="4" y="134"/>
                  </a:lnTo>
                  <a:lnTo>
                    <a:pt x="24" y="134"/>
                  </a:lnTo>
                  <a:lnTo>
                    <a:pt x="32" y="134"/>
                  </a:lnTo>
                  <a:lnTo>
                    <a:pt x="34" y="134"/>
                  </a:lnTo>
                  <a:lnTo>
                    <a:pt x="36" y="132"/>
                  </a:lnTo>
                  <a:lnTo>
                    <a:pt x="50" y="124"/>
                  </a:lnTo>
                  <a:lnTo>
                    <a:pt x="52" y="122"/>
                  </a:lnTo>
                  <a:lnTo>
                    <a:pt x="56" y="122"/>
                  </a:lnTo>
                  <a:lnTo>
                    <a:pt x="58" y="124"/>
                  </a:lnTo>
                  <a:lnTo>
                    <a:pt x="60" y="120"/>
                  </a:lnTo>
                  <a:lnTo>
                    <a:pt x="60" y="116"/>
                  </a:lnTo>
                  <a:lnTo>
                    <a:pt x="62" y="112"/>
                  </a:lnTo>
                  <a:lnTo>
                    <a:pt x="62" y="108"/>
                  </a:lnTo>
                  <a:lnTo>
                    <a:pt x="66" y="100"/>
                  </a:lnTo>
                  <a:lnTo>
                    <a:pt x="68" y="98"/>
                  </a:lnTo>
                  <a:lnTo>
                    <a:pt x="70" y="94"/>
                  </a:lnTo>
                  <a:lnTo>
                    <a:pt x="70" y="86"/>
                  </a:lnTo>
                  <a:lnTo>
                    <a:pt x="70" y="74"/>
                  </a:lnTo>
                  <a:lnTo>
                    <a:pt x="70" y="66"/>
                  </a:lnTo>
                  <a:lnTo>
                    <a:pt x="70" y="62"/>
                  </a:lnTo>
                  <a:lnTo>
                    <a:pt x="78" y="44"/>
                  </a:lnTo>
                  <a:lnTo>
                    <a:pt x="78" y="42"/>
                  </a:lnTo>
                  <a:lnTo>
                    <a:pt x="80" y="24"/>
                  </a:lnTo>
                  <a:lnTo>
                    <a:pt x="80" y="22"/>
                  </a:lnTo>
                  <a:lnTo>
                    <a:pt x="72" y="18"/>
                  </a:lnTo>
                  <a:lnTo>
                    <a:pt x="68" y="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6" name="Freeform 1395"/>
            <p:cNvSpPr>
              <a:spLocks/>
            </p:cNvSpPr>
            <p:nvPr userDrawn="1"/>
          </p:nvSpPr>
          <p:spPr bwMode="auto">
            <a:xfrm>
              <a:off x="5014681" y="3142626"/>
              <a:ext cx="490344" cy="733014"/>
            </a:xfrm>
            <a:custGeom>
              <a:avLst/>
              <a:gdLst/>
              <a:ahLst/>
              <a:cxnLst>
                <a:cxn ang="0">
                  <a:pos x="20" y="446"/>
                </a:cxn>
                <a:cxn ang="0">
                  <a:pos x="18" y="434"/>
                </a:cxn>
                <a:cxn ang="0">
                  <a:pos x="2" y="436"/>
                </a:cxn>
                <a:cxn ang="0">
                  <a:pos x="10" y="410"/>
                </a:cxn>
                <a:cxn ang="0">
                  <a:pos x="20" y="376"/>
                </a:cxn>
                <a:cxn ang="0">
                  <a:pos x="48" y="342"/>
                </a:cxn>
                <a:cxn ang="0">
                  <a:pos x="68" y="318"/>
                </a:cxn>
                <a:cxn ang="0">
                  <a:pos x="104" y="316"/>
                </a:cxn>
                <a:cxn ang="0">
                  <a:pos x="124" y="318"/>
                </a:cxn>
                <a:cxn ang="0">
                  <a:pos x="132" y="334"/>
                </a:cxn>
                <a:cxn ang="0">
                  <a:pos x="152" y="330"/>
                </a:cxn>
                <a:cxn ang="0">
                  <a:pos x="164" y="310"/>
                </a:cxn>
                <a:cxn ang="0">
                  <a:pos x="176" y="286"/>
                </a:cxn>
                <a:cxn ang="0">
                  <a:pos x="186" y="266"/>
                </a:cxn>
                <a:cxn ang="0">
                  <a:pos x="194" y="248"/>
                </a:cxn>
                <a:cxn ang="0">
                  <a:pos x="200" y="236"/>
                </a:cxn>
                <a:cxn ang="0">
                  <a:pos x="216" y="226"/>
                </a:cxn>
                <a:cxn ang="0">
                  <a:pos x="234" y="182"/>
                </a:cxn>
                <a:cxn ang="0">
                  <a:pos x="244" y="154"/>
                </a:cxn>
                <a:cxn ang="0">
                  <a:pos x="260" y="126"/>
                </a:cxn>
                <a:cxn ang="0">
                  <a:pos x="272" y="110"/>
                </a:cxn>
                <a:cxn ang="0">
                  <a:pos x="296" y="92"/>
                </a:cxn>
                <a:cxn ang="0">
                  <a:pos x="314" y="72"/>
                </a:cxn>
                <a:cxn ang="0">
                  <a:pos x="310" y="38"/>
                </a:cxn>
                <a:cxn ang="0">
                  <a:pos x="290" y="6"/>
                </a:cxn>
                <a:cxn ang="0">
                  <a:pos x="314" y="18"/>
                </a:cxn>
                <a:cxn ang="0">
                  <a:pos x="334" y="50"/>
                </a:cxn>
                <a:cxn ang="0">
                  <a:pos x="334" y="100"/>
                </a:cxn>
                <a:cxn ang="0">
                  <a:pos x="342" y="132"/>
                </a:cxn>
                <a:cxn ang="0">
                  <a:pos x="360" y="160"/>
                </a:cxn>
                <a:cxn ang="0">
                  <a:pos x="330" y="160"/>
                </a:cxn>
                <a:cxn ang="0">
                  <a:pos x="288" y="168"/>
                </a:cxn>
                <a:cxn ang="0">
                  <a:pos x="314" y="210"/>
                </a:cxn>
                <a:cxn ang="0">
                  <a:pos x="352" y="254"/>
                </a:cxn>
                <a:cxn ang="0">
                  <a:pos x="362" y="280"/>
                </a:cxn>
                <a:cxn ang="0">
                  <a:pos x="340" y="310"/>
                </a:cxn>
                <a:cxn ang="0">
                  <a:pos x="322" y="346"/>
                </a:cxn>
                <a:cxn ang="0">
                  <a:pos x="310" y="366"/>
                </a:cxn>
                <a:cxn ang="0">
                  <a:pos x="308" y="400"/>
                </a:cxn>
                <a:cxn ang="0">
                  <a:pos x="316" y="420"/>
                </a:cxn>
                <a:cxn ang="0">
                  <a:pos x="334" y="450"/>
                </a:cxn>
                <a:cxn ang="0">
                  <a:pos x="338" y="474"/>
                </a:cxn>
                <a:cxn ang="0">
                  <a:pos x="378" y="512"/>
                </a:cxn>
                <a:cxn ang="0">
                  <a:pos x="388" y="550"/>
                </a:cxn>
                <a:cxn ang="0">
                  <a:pos x="388" y="578"/>
                </a:cxn>
                <a:cxn ang="0">
                  <a:pos x="356" y="570"/>
                </a:cxn>
                <a:cxn ang="0">
                  <a:pos x="324" y="568"/>
                </a:cxn>
                <a:cxn ang="0">
                  <a:pos x="262" y="558"/>
                </a:cxn>
                <a:cxn ang="0">
                  <a:pos x="222" y="554"/>
                </a:cxn>
                <a:cxn ang="0">
                  <a:pos x="164" y="552"/>
                </a:cxn>
                <a:cxn ang="0">
                  <a:pos x="102" y="556"/>
                </a:cxn>
                <a:cxn ang="0">
                  <a:pos x="74" y="556"/>
                </a:cxn>
                <a:cxn ang="0">
                  <a:pos x="64" y="540"/>
                </a:cxn>
                <a:cxn ang="0">
                  <a:pos x="72" y="506"/>
                </a:cxn>
                <a:cxn ang="0">
                  <a:pos x="62" y="484"/>
                </a:cxn>
                <a:cxn ang="0">
                  <a:pos x="60" y="468"/>
                </a:cxn>
                <a:cxn ang="0">
                  <a:pos x="46" y="468"/>
                </a:cxn>
              </a:cxnLst>
              <a:rect l="0" t="0" r="r" b="b"/>
              <a:pathLst>
                <a:path w="392" h="586">
                  <a:moveTo>
                    <a:pt x="40" y="466"/>
                  </a:moveTo>
                  <a:lnTo>
                    <a:pt x="36" y="462"/>
                  </a:lnTo>
                  <a:lnTo>
                    <a:pt x="30" y="460"/>
                  </a:lnTo>
                  <a:lnTo>
                    <a:pt x="26" y="458"/>
                  </a:lnTo>
                  <a:lnTo>
                    <a:pt x="24" y="456"/>
                  </a:lnTo>
                  <a:lnTo>
                    <a:pt x="24" y="454"/>
                  </a:lnTo>
                  <a:lnTo>
                    <a:pt x="24" y="450"/>
                  </a:lnTo>
                  <a:lnTo>
                    <a:pt x="22" y="448"/>
                  </a:lnTo>
                  <a:lnTo>
                    <a:pt x="20" y="446"/>
                  </a:lnTo>
                  <a:lnTo>
                    <a:pt x="20" y="442"/>
                  </a:lnTo>
                  <a:lnTo>
                    <a:pt x="20" y="438"/>
                  </a:lnTo>
                  <a:lnTo>
                    <a:pt x="20" y="436"/>
                  </a:lnTo>
                  <a:lnTo>
                    <a:pt x="22" y="434"/>
                  </a:lnTo>
                  <a:lnTo>
                    <a:pt x="20" y="432"/>
                  </a:lnTo>
                  <a:lnTo>
                    <a:pt x="16" y="428"/>
                  </a:lnTo>
                  <a:lnTo>
                    <a:pt x="16" y="430"/>
                  </a:lnTo>
                  <a:lnTo>
                    <a:pt x="18" y="432"/>
                  </a:lnTo>
                  <a:lnTo>
                    <a:pt x="18" y="434"/>
                  </a:lnTo>
                  <a:lnTo>
                    <a:pt x="14" y="434"/>
                  </a:lnTo>
                  <a:lnTo>
                    <a:pt x="10" y="432"/>
                  </a:lnTo>
                  <a:lnTo>
                    <a:pt x="8" y="426"/>
                  </a:lnTo>
                  <a:lnTo>
                    <a:pt x="8" y="428"/>
                  </a:lnTo>
                  <a:lnTo>
                    <a:pt x="8" y="432"/>
                  </a:lnTo>
                  <a:lnTo>
                    <a:pt x="8" y="434"/>
                  </a:lnTo>
                  <a:lnTo>
                    <a:pt x="10" y="434"/>
                  </a:lnTo>
                  <a:lnTo>
                    <a:pt x="10" y="436"/>
                  </a:lnTo>
                  <a:lnTo>
                    <a:pt x="2" y="436"/>
                  </a:lnTo>
                  <a:lnTo>
                    <a:pt x="0" y="434"/>
                  </a:lnTo>
                  <a:lnTo>
                    <a:pt x="0" y="432"/>
                  </a:lnTo>
                  <a:lnTo>
                    <a:pt x="0" y="428"/>
                  </a:lnTo>
                  <a:lnTo>
                    <a:pt x="0" y="426"/>
                  </a:lnTo>
                  <a:lnTo>
                    <a:pt x="4" y="420"/>
                  </a:lnTo>
                  <a:lnTo>
                    <a:pt x="6" y="418"/>
                  </a:lnTo>
                  <a:lnTo>
                    <a:pt x="6" y="416"/>
                  </a:lnTo>
                  <a:lnTo>
                    <a:pt x="8" y="412"/>
                  </a:lnTo>
                  <a:lnTo>
                    <a:pt x="10" y="410"/>
                  </a:lnTo>
                  <a:lnTo>
                    <a:pt x="16" y="402"/>
                  </a:lnTo>
                  <a:lnTo>
                    <a:pt x="16" y="400"/>
                  </a:lnTo>
                  <a:lnTo>
                    <a:pt x="16" y="394"/>
                  </a:lnTo>
                  <a:lnTo>
                    <a:pt x="16" y="390"/>
                  </a:lnTo>
                  <a:lnTo>
                    <a:pt x="18" y="384"/>
                  </a:lnTo>
                  <a:lnTo>
                    <a:pt x="20" y="382"/>
                  </a:lnTo>
                  <a:lnTo>
                    <a:pt x="22" y="380"/>
                  </a:lnTo>
                  <a:lnTo>
                    <a:pt x="20" y="378"/>
                  </a:lnTo>
                  <a:lnTo>
                    <a:pt x="20" y="376"/>
                  </a:lnTo>
                  <a:lnTo>
                    <a:pt x="18" y="372"/>
                  </a:lnTo>
                  <a:lnTo>
                    <a:pt x="18" y="368"/>
                  </a:lnTo>
                  <a:lnTo>
                    <a:pt x="22" y="364"/>
                  </a:lnTo>
                  <a:lnTo>
                    <a:pt x="24" y="364"/>
                  </a:lnTo>
                  <a:lnTo>
                    <a:pt x="30" y="358"/>
                  </a:lnTo>
                  <a:lnTo>
                    <a:pt x="38" y="350"/>
                  </a:lnTo>
                  <a:lnTo>
                    <a:pt x="44" y="344"/>
                  </a:lnTo>
                  <a:lnTo>
                    <a:pt x="46" y="342"/>
                  </a:lnTo>
                  <a:lnTo>
                    <a:pt x="48" y="342"/>
                  </a:lnTo>
                  <a:lnTo>
                    <a:pt x="50" y="340"/>
                  </a:lnTo>
                  <a:lnTo>
                    <a:pt x="50" y="338"/>
                  </a:lnTo>
                  <a:lnTo>
                    <a:pt x="52" y="338"/>
                  </a:lnTo>
                  <a:lnTo>
                    <a:pt x="56" y="334"/>
                  </a:lnTo>
                  <a:lnTo>
                    <a:pt x="60" y="332"/>
                  </a:lnTo>
                  <a:lnTo>
                    <a:pt x="62" y="332"/>
                  </a:lnTo>
                  <a:lnTo>
                    <a:pt x="64" y="328"/>
                  </a:lnTo>
                  <a:lnTo>
                    <a:pt x="66" y="320"/>
                  </a:lnTo>
                  <a:lnTo>
                    <a:pt x="68" y="318"/>
                  </a:lnTo>
                  <a:lnTo>
                    <a:pt x="72" y="320"/>
                  </a:lnTo>
                  <a:lnTo>
                    <a:pt x="82" y="310"/>
                  </a:lnTo>
                  <a:lnTo>
                    <a:pt x="86" y="308"/>
                  </a:lnTo>
                  <a:lnTo>
                    <a:pt x="88" y="310"/>
                  </a:lnTo>
                  <a:lnTo>
                    <a:pt x="88" y="312"/>
                  </a:lnTo>
                  <a:lnTo>
                    <a:pt x="88" y="314"/>
                  </a:lnTo>
                  <a:lnTo>
                    <a:pt x="90" y="314"/>
                  </a:lnTo>
                  <a:lnTo>
                    <a:pt x="92" y="316"/>
                  </a:lnTo>
                  <a:lnTo>
                    <a:pt x="104" y="316"/>
                  </a:lnTo>
                  <a:lnTo>
                    <a:pt x="106" y="308"/>
                  </a:lnTo>
                  <a:lnTo>
                    <a:pt x="110" y="306"/>
                  </a:lnTo>
                  <a:lnTo>
                    <a:pt x="114" y="308"/>
                  </a:lnTo>
                  <a:lnTo>
                    <a:pt x="120" y="310"/>
                  </a:lnTo>
                  <a:lnTo>
                    <a:pt x="120" y="312"/>
                  </a:lnTo>
                  <a:lnTo>
                    <a:pt x="122" y="312"/>
                  </a:lnTo>
                  <a:lnTo>
                    <a:pt x="122" y="316"/>
                  </a:lnTo>
                  <a:lnTo>
                    <a:pt x="122" y="318"/>
                  </a:lnTo>
                  <a:lnTo>
                    <a:pt x="124" y="318"/>
                  </a:lnTo>
                  <a:lnTo>
                    <a:pt x="124" y="320"/>
                  </a:lnTo>
                  <a:lnTo>
                    <a:pt x="126" y="320"/>
                  </a:lnTo>
                  <a:lnTo>
                    <a:pt x="128" y="320"/>
                  </a:lnTo>
                  <a:lnTo>
                    <a:pt x="130" y="322"/>
                  </a:lnTo>
                  <a:lnTo>
                    <a:pt x="132" y="324"/>
                  </a:lnTo>
                  <a:lnTo>
                    <a:pt x="132" y="326"/>
                  </a:lnTo>
                  <a:lnTo>
                    <a:pt x="132" y="328"/>
                  </a:lnTo>
                  <a:lnTo>
                    <a:pt x="132" y="330"/>
                  </a:lnTo>
                  <a:lnTo>
                    <a:pt x="132" y="334"/>
                  </a:lnTo>
                  <a:lnTo>
                    <a:pt x="134" y="334"/>
                  </a:lnTo>
                  <a:lnTo>
                    <a:pt x="134" y="338"/>
                  </a:lnTo>
                  <a:lnTo>
                    <a:pt x="138" y="338"/>
                  </a:lnTo>
                  <a:lnTo>
                    <a:pt x="142" y="338"/>
                  </a:lnTo>
                  <a:lnTo>
                    <a:pt x="146" y="338"/>
                  </a:lnTo>
                  <a:lnTo>
                    <a:pt x="148" y="336"/>
                  </a:lnTo>
                  <a:lnTo>
                    <a:pt x="148" y="334"/>
                  </a:lnTo>
                  <a:lnTo>
                    <a:pt x="150" y="330"/>
                  </a:lnTo>
                  <a:lnTo>
                    <a:pt x="152" y="330"/>
                  </a:lnTo>
                  <a:lnTo>
                    <a:pt x="154" y="330"/>
                  </a:lnTo>
                  <a:lnTo>
                    <a:pt x="158" y="328"/>
                  </a:lnTo>
                  <a:lnTo>
                    <a:pt x="158" y="324"/>
                  </a:lnTo>
                  <a:lnTo>
                    <a:pt x="158" y="322"/>
                  </a:lnTo>
                  <a:lnTo>
                    <a:pt x="158" y="320"/>
                  </a:lnTo>
                  <a:lnTo>
                    <a:pt x="158" y="318"/>
                  </a:lnTo>
                  <a:lnTo>
                    <a:pt x="158" y="316"/>
                  </a:lnTo>
                  <a:lnTo>
                    <a:pt x="160" y="312"/>
                  </a:lnTo>
                  <a:lnTo>
                    <a:pt x="164" y="310"/>
                  </a:lnTo>
                  <a:lnTo>
                    <a:pt x="168" y="310"/>
                  </a:lnTo>
                  <a:lnTo>
                    <a:pt x="172" y="306"/>
                  </a:lnTo>
                  <a:lnTo>
                    <a:pt x="174" y="304"/>
                  </a:lnTo>
                  <a:lnTo>
                    <a:pt x="168" y="296"/>
                  </a:lnTo>
                  <a:lnTo>
                    <a:pt x="168" y="294"/>
                  </a:lnTo>
                  <a:lnTo>
                    <a:pt x="172" y="290"/>
                  </a:lnTo>
                  <a:lnTo>
                    <a:pt x="172" y="288"/>
                  </a:lnTo>
                  <a:lnTo>
                    <a:pt x="174" y="288"/>
                  </a:lnTo>
                  <a:lnTo>
                    <a:pt x="176" y="286"/>
                  </a:lnTo>
                  <a:lnTo>
                    <a:pt x="182" y="280"/>
                  </a:lnTo>
                  <a:lnTo>
                    <a:pt x="182" y="278"/>
                  </a:lnTo>
                  <a:lnTo>
                    <a:pt x="180" y="276"/>
                  </a:lnTo>
                  <a:lnTo>
                    <a:pt x="180" y="274"/>
                  </a:lnTo>
                  <a:lnTo>
                    <a:pt x="182" y="274"/>
                  </a:lnTo>
                  <a:lnTo>
                    <a:pt x="182" y="272"/>
                  </a:lnTo>
                  <a:lnTo>
                    <a:pt x="184" y="270"/>
                  </a:lnTo>
                  <a:lnTo>
                    <a:pt x="184" y="268"/>
                  </a:lnTo>
                  <a:lnTo>
                    <a:pt x="186" y="266"/>
                  </a:lnTo>
                  <a:lnTo>
                    <a:pt x="188" y="264"/>
                  </a:lnTo>
                  <a:lnTo>
                    <a:pt x="190" y="262"/>
                  </a:lnTo>
                  <a:lnTo>
                    <a:pt x="190" y="258"/>
                  </a:lnTo>
                  <a:lnTo>
                    <a:pt x="190" y="256"/>
                  </a:lnTo>
                  <a:lnTo>
                    <a:pt x="190" y="254"/>
                  </a:lnTo>
                  <a:lnTo>
                    <a:pt x="190" y="252"/>
                  </a:lnTo>
                  <a:lnTo>
                    <a:pt x="192" y="252"/>
                  </a:lnTo>
                  <a:lnTo>
                    <a:pt x="192" y="250"/>
                  </a:lnTo>
                  <a:lnTo>
                    <a:pt x="194" y="248"/>
                  </a:lnTo>
                  <a:lnTo>
                    <a:pt x="194" y="246"/>
                  </a:lnTo>
                  <a:lnTo>
                    <a:pt x="192" y="244"/>
                  </a:lnTo>
                  <a:lnTo>
                    <a:pt x="192" y="242"/>
                  </a:lnTo>
                  <a:lnTo>
                    <a:pt x="192" y="240"/>
                  </a:lnTo>
                  <a:lnTo>
                    <a:pt x="192" y="238"/>
                  </a:lnTo>
                  <a:lnTo>
                    <a:pt x="194" y="238"/>
                  </a:lnTo>
                  <a:lnTo>
                    <a:pt x="196" y="236"/>
                  </a:lnTo>
                  <a:lnTo>
                    <a:pt x="198" y="238"/>
                  </a:lnTo>
                  <a:lnTo>
                    <a:pt x="200" y="236"/>
                  </a:lnTo>
                  <a:lnTo>
                    <a:pt x="202" y="232"/>
                  </a:lnTo>
                  <a:lnTo>
                    <a:pt x="202" y="230"/>
                  </a:lnTo>
                  <a:lnTo>
                    <a:pt x="200" y="230"/>
                  </a:lnTo>
                  <a:lnTo>
                    <a:pt x="200" y="228"/>
                  </a:lnTo>
                  <a:lnTo>
                    <a:pt x="204" y="226"/>
                  </a:lnTo>
                  <a:lnTo>
                    <a:pt x="206" y="226"/>
                  </a:lnTo>
                  <a:lnTo>
                    <a:pt x="208" y="228"/>
                  </a:lnTo>
                  <a:lnTo>
                    <a:pt x="212" y="226"/>
                  </a:lnTo>
                  <a:lnTo>
                    <a:pt x="216" y="226"/>
                  </a:lnTo>
                  <a:lnTo>
                    <a:pt x="222" y="220"/>
                  </a:lnTo>
                  <a:lnTo>
                    <a:pt x="222" y="218"/>
                  </a:lnTo>
                  <a:lnTo>
                    <a:pt x="222" y="216"/>
                  </a:lnTo>
                  <a:lnTo>
                    <a:pt x="224" y="208"/>
                  </a:lnTo>
                  <a:lnTo>
                    <a:pt x="224" y="206"/>
                  </a:lnTo>
                  <a:lnTo>
                    <a:pt x="224" y="204"/>
                  </a:lnTo>
                  <a:lnTo>
                    <a:pt x="226" y="190"/>
                  </a:lnTo>
                  <a:lnTo>
                    <a:pt x="230" y="184"/>
                  </a:lnTo>
                  <a:lnTo>
                    <a:pt x="234" y="182"/>
                  </a:lnTo>
                  <a:lnTo>
                    <a:pt x="236" y="182"/>
                  </a:lnTo>
                  <a:lnTo>
                    <a:pt x="240" y="182"/>
                  </a:lnTo>
                  <a:lnTo>
                    <a:pt x="242" y="180"/>
                  </a:lnTo>
                  <a:lnTo>
                    <a:pt x="244" y="180"/>
                  </a:lnTo>
                  <a:lnTo>
                    <a:pt x="244" y="178"/>
                  </a:lnTo>
                  <a:lnTo>
                    <a:pt x="244" y="170"/>
                  </a:lnTo>
                  <a:lnTo>
                    <a:pt x="244" y="164"/>
                  </a:lnTo>
                  <a:lnTo>
                    <a:pt x="244" y="162"/>
                  </a:lnTo>
                  <a:lnTo>
                    <a:pt x="244" y="154"/>
                  </a:lnTo>
                  <a:lnTo>
                    <a:pt x="246" y="152"/>
                  </a:lnTo>
                  <a:lnTo>
                    <a:pt x="248" y="152"/>
                  </a:lnTo>
                  <a:lnTo>
                    <a:pt x="252" y="152"/>
                  </a:lnTo>
                  <a:lnTo>
                    <a:pt x="254" y="152"/>
                  </a:lnTo>
                  <a:lnTo>
                    <a:pt x="256" y="148"/>
                  </a:lnTo>
                  <a:lnTo>
                    <a:pt x="256" y="146"/>
                  </a:lnTo>
                  <a:lnTo>
                    <a:pt x="256" y="144"/>
                  </a:lnTo>
                  <a:lnTo>
                    <a:pt x="258" y="132"/>
                  </a:lnTo>
                  <a:lnTo>
                    <a:pt x="260" y="126"/>
                  </a:lnTo>
                  <a:lnTo>
                    <a:pt x="262" y="124"/>
                  </a:lnTo>
                  <a:lnTo>
                    <a:pt x="262" y="122"/>
                  </a:lnTo>
                  <a:lnTo>
                    <a:pt x="264" y="122"/>
                  </a:lnTo>
                  <a:lnTo>
                    <a:pt x="264" y="120"/>
                  </a:lnTo>
                  <a:lnTo>
                    <a:pt x="266" y="118"/>
                  </a:lnTo>
                  <a:lnTo>
                    <a:pt x="266" y="116"/>
                  </a:lnTo>
                  <a:lnTo>
                    <a:pt x="268" y="114"/>
                  </a:lnTo>
                  <a:lnTo>
                    <a:pt x="270" y="112"/>
                  </a:lnTo>
                  <a:lnTo>
                    <a:pt x="272" y="110"/>
                  </a:lnTo>
                  <a:lnTo>
                    <a:pt x="272" y="108"/>
                  </a:lnTo>
                  <a:lnTo>
                    <a:pt x="274" y="102"/>
                  </a:lnTo>
                  <a:lnTo>
                    <a:pt x="278" y="98"/>
                  </a:lnTo>
                  <a:lnTo>
                    <a:pt x="284" y="92"/>
                  </a:lnTo>
                  <a:lnTo>
                    <a:pt x="288" y="92"/>
                  </a:lnTo>
                  <a:lnTo>
                    <a:pt x="290" y="94"/>
                  </a:lnTo>
                  <a:lnTo>
                    <a:pt x="292" y="94"/>
                  </a:lnTo>
                  <a:lnTo>
                    <a:pt x="294" y="94"/>
                  </a:lnTo>
                  <a:lnTo>
                    <a:pt x="296" y="92"/>
                  </a:lnTo>
                  <a:lnTo>
                    <a:pt x="300" y="88"/>
                  </a:lnTo>
                  <a:lnTo>
                    <a:pt x="302" y="88"/>
                  </a:lnTo>
                  <a:lnTo>
                    <a:pt x="304" y="86"/>
                  </a:lnTo>
                  <a:lnTo>
                    <a:pt x="306" y="86"/>
                  </a:lnTo>
                  <a:lnTo>
                    <a:pt x="308" y="86"/>
                  </a:lnTo>
                  <a:lnTo>
                    <a:pt x="316" y="80"/>
                  </a:lnTo>
                  <a:lnTo>
                    <a:pt x="316" y="78"/>
                  </a:lnTo>
                  <a:lnTo>
                    <a:pt x="316" y="74"/>
                  </a:lnTo>
                  <a:lnTo>
                    <a:pt x="314" y="72"/>
                  </a:lnTo>
                  <a:lnTo>
                    <a:pt x="314" y="68"/>
                  </a:lnTo>
                  <a:lnTo>
                    <a:pt x="316" y="64"/>
                  </a:lnTo>
                  <a:lnTo>
                    <a:pt x="316" y="60"/>
                  </a:lnTo>
                  <a:lnTo>
                    <a:pt x="316" y="56"/>
                  </a:lnTo>
                  <a:lnTo>
                    <a:pt x="316" y="54"/>
                  </a:lnTo>
                  <a:lnTo>
                    <a:pt x="318" y="48"/>
                  </a:lnTo>
                  <a:lnTo>
                    <a:pt x="318" y="46"/>
                  </a:lnTo>
                  <a:lnTo>
                    <a:pt x="312" y="42"/>
                  </a:lnTo>
                  <a:lnTo>
                    <a:pt x="310" y="38"/>
                  </a:lnTo>
                  <a:lnTo>
                    <a:pt x="308" y="38"/>
                  </a:lnTo>
                  <a:lnTo>
                    <a:pt x="306" y="38"/>
                  </a:lnTo>
                  <a:lnTo>
                    <a:pt x="304" y="36"/>
                  </a:lnTo>
                  <a:lnTo>
                    <a:pt x="300" y="36"/>
                  </a:lnTo>
                  <a:lnTo>
                    <a:pt x="298" y="36"/>
                  </a:lnTo>
                  <a:lnTo>
                    <a:pt x="294" y="34"/>
                  </a:lnTo>
                  <a:lnTo>
                    <a:pt x="296" y="30"/>
                  </a:lnTo>
                  <a:lnTo>
                    <a:pt x="294" y="24"/>
                  </a:lnTo>
                  <a:lnTo>
                    <a:pt x="290" y="6"/>
                  </a:lnTo>
                  <a:lnTo>
                    <a:pt x="290" y="0"/>
                  </a:lnTo>
                  <a:lnTo>
                    <a:pt x="294" y="0"/>
                  </a:lnTo>
                  <a:lnTo>
                    <a:pt x="308" y="0"/>
                  </a:lnTo>
                  <a:lnTo>
                    <a:pt x="310" y="2"/>
                  </a:lnTo>
                  <a:lnTo>
                    <a:pt x="310" y="4"/>
                  </a:lnTo>
                  <a:lnTo>
                    <a:pt x="312" y="6"/>
                  </a:lnTo>
                  <a:lnTo>
                    <a:pt x="312" y="12"/>
                  </a:lnTo>
                  <a:lnTo>
                    <a:pt x="312" y="16"/>
                  </a:lnTo>
                  <a:lnTo>
                    <a:pt x="314" y="18"/>
                  </a:lnTo>
                  <a:lnTo>
                    <a:pt x="316" y="18"/>
                  </a:lnTo>
                  <a:lnTo>
                    <a:pt x="320" y="18"/>
                  </a:lnTo>
                  <a:lnTo>
                    <a:pt x="326" y="24"/>
                  </a:lnTo>
                  <a:lnTo>
                    <a:pt x="330" y="36"/>
                  </a:lnTo>
                  <a:lnTo>
                    <a:pt x="330" y="38"/>
                  </a:lnTo>
                  <a:lnTo>
                    <a:pt x="330" y="44"/>
                  </a:lnTo>
                  <a:lnTo>
                    <a:pt x="330" y="48"/>
                  </a:lnTo>
                  <a:lnTo>
                    <a:pt x="332" y="50"/>
                  </a:lnTo>
                  <a:lnTo>
                    <a:pt x="334" y="50"/>
                  </a:lnTo>
                  <a:lnTo>
                    <a:pt x="336" y="52"/>
                  </a:lnTo>
                  <a:lnTo>
                    <a:pt x="338" y="68"/>
                  </a:lnTo>
                  <a:lnTo>
                    <a:pt x="338" y="72"/>
                  </a:lnTo>
                  <a:lnTo>
                    <a:pt x="340" y="78"/>
                  </a:lnTo>
                  <a:lnTo>
                    <a:pt x="340" y="82"/>
                  </a:lnTo>
                  <a:lnTo>
                    <a:pt x="338" y="84"/>
                  </a:lnTo>
                  <a:lnTo>
                    <a:pt x="336" y="86"/>
                  </a:lnTo>
                  <a:lnTo>
                    <a:pt x="334" y="96"/>
                  </a:lnTo>
                  <a:lnTo>
                    <a:pt x="334" y="100"/>
                  </a:lnTo>
                  <a:lnTo>
                    <a:pt x="336" y="102"/>
                  </a:lnTo>
                  <a:lnTo>
                    <a:pt x="338" y="112"/>
                  </a:lnTo>
                  <a:lnTo>
                    <a:pt x="338" y="114"/>
                  </a:lnTo>
                  <a:lnTo>
                    <a:pt x="336" y="116"/>
                  </a:lnTo>
                  <a:lnTo>
                    <a:pt x="338" y="120"/>
                  </a:lnTo>
                  <a:lnTo>
                    <a:pt x="340" y="122"/>
                  </a:lnTo>
                  <a:lnTo>
                    <a:pt x="342" y="124"/>
                  </a:lnTo>
                  <a:lnTo>
                    <a:pt x="342" y="126"/>
                  </a:lnTo>
                  <a:lnTo>
                    <a:pt x="342" y="132"/>
                  </a:lnTo>
                  <a:lnTo>
                    <a:pt x="348" y="138"/>
                  </a:lnTo>
                  <a:lnTo>
                    <a:pt x="352" y="146"/>
                  </a:lnTo>
                  <a:lnTo>
                    <a:pt x="358" y="154"/>
                  </a:lnTo>
                  <a:lnTo>
                    <a:pt x="360" y="154"/>
                  </a:lnTo>
                  <a:lnTo>
                    <a:pt x="364" y="156"/>
                  </a:lnTo>
                  <a:lnTo>
                    <a:pt x="366" y="158"/>
                  </a:lnTo>
                  <a:lnTo>
                    <a:pt x="368" y="158"/>
                  </a:lnTo>
                  <a:lnTo>
                    <a:pt x="364" y="160"/>
                  </a:lnTo>
                  <a:lnTo>
                    <a:pt x="360" y="160"/>
                  </a:lnTo>
                  <a:lnTo>
                    <a:pt x="354" y="162"/>
                  </a:lnTo>
                  <a:lnTo>
                    <a:pt x="348" y="160"/>
                  </a:lnTo>
                  <a:lnTo>
                    <a:pt x="346" y="158"/>
                  </a:lnTo>
                  <a:lnTo>
                    <a:pt x="342" y="158"/>
                  </a:lnTo>
                  <a:lnTo>
                    <a:pt x="340" y="158"/>
                  </a:lnTo>
                  <a:lnTo>
                    <a:pt x="338" y="160"/>
                  </a:lnTo>
                  <a:lnTo>
                    <a:pt x="336" y="160"/>
                  </a:lnTo>
                  <a:lnTo>
                    <a:pt x="334" y="160"/>
                  </a:lnTo>
                  <a:lnTo>
                    <a:pt x="330" y="160"/>
                  </a:lnTo>
                  <a:lnTo>
                    <a:pt x="322" y="162"/>
                  </a:lnTo>
                  <a:lnTo>
                    <a:pt x="316" y="160"/>
                  </a:lnTo>
                  <a:lnTo>
                    <a:pt x="308" y="158"/>
                  </a:lnTo>
                  <a:lnTo>
                    <a:pt x="306" y="158"/>
                  </a:lnTo>
                  <a:lnTo>
                    <a:pt x="292" y="158"/>
                  </a:lnTo>
                  <a:lnTo>
                    <a:pt x="292" y="160"/>
                  </a:lnTo>
                  <a:lnTo>
                    <a:pt x="290" y="164"/>
                  </a:lnTo>
                  <a:lnTo>
                    <a:pt x="288" y="166"/>
                  </a:lnTo>
                  <a:lnTo>
                    <a:pt x="288" y="168"/>
                  </a:lnTo>
                  <a:lnTo>
                    <a:pt x="286" y="168"/>
                  </a:lnTo>
                  <a:lnTo>
                    <a:pt x="284" y="170"/>
                  </a:lnTo>
                  <a:lnTo>
                    <a:pt x="284" y="172"/>
                  </a:lnTo>
                  <a:lnTo>
                    <a:pt x="280" y="176"/>
                  </a:lnTo>
                  <a:lnTo>
                    <a:pt x="284" y="176"/>
                  </a:lnTo>
                  <a:lnTo>
                    <a:pt x="298" y="196"/>
                  </a:lnTo>
                  <a:lnTo>
                    <a:pt x="300" y="198"/>
                  </a:lnTo>
                  <a:lnTo>
                    <a:pt x="310" y="208"/>
                  </a:lnTo>
                  <a:lnTo>
                    <a:pt x="314" y="210"/>
                  </a:lnTo>
                  <a:lnTo>
                    <a:pt x="324" y="218"/>
                  </a:lnTo>
                  <a:lnTo>
                    <a:pt x="326" y="218"/>
                  </a:lnTo>
                  <a:lnTo>
                    <a:pt x="328" y="220"/>
                  </a:lnTo>
                  <a:lnTo>
                    <a:pt x="336" y="228"/>
                  </a:lnTo>
                  <a:lnTo>
                    <a:pt x="342" y="236"/>
                  </a:lnTo>
                  <a:lnTo>
                    <a:pt x="344" y="238"/>
                  </a:lnTo>
                  <a:lnTo>
                    <a:pt x="346" y="242"/>
                  </a:lnTo>
                  <a:lnTo>
                    <a:pt x="350" y="252"/>
                  </a:lnTo>
                  <a:lnTo>
                    <a:pt x="352" y="254"/>
                  </a:lnTo>
                  <a:lnTo>
                    <a:pt x="352" y="256"/>
                  </a:lnTo>
                  <a:lnTo>
                    <a:pt x="352" y="258"/>
                  </a:lnTo>
                  <a:lnTo>
                    <a:pt x="354" y="264"/>
                  </a:lnTo>
                  <a:lnTo>
                    <a:pt x="354" y="266"/>
                  </a:lnTo>
                  <a:lnTo>
                    <a:pt x="356" y="270"/>
                  </a:lnTo>
                  <a:lnTo>
                    <a:pt x="358" y="272"/>
                  </a:lnTo>
                  <a:lnTo>
                    <a:pt x="362" y="274"/>
                  </a:lnTo>
                  <a:lnTo>
                    <a:pt x="362" y="276"/>
                  </a:lnTo>
                  <a:lnTo>
                    <a:pt x="362" y="280"/>
                  </a:lnTo>
                  <a:lnTo>
                    <a:pt x="360" y="282"/>
                  </a:lnTo>
                  <a:lnTo>
                    <a:pt x="358" y="284"/>
                  </a:lnTo>
                  <a:lnTo>
                    <a:pt x="354" y="292"/>
                  </a:lnTo>
                  <a:lnTo>
                    <a:pt x="352" y="294"/>
                  </a:lnTo>
                  <a:lnTo>
                    <a:pt x="346" y="296"/>
                  </a:lnTo>
                  <a:lnTo>
                    <a:pt x="344" y="298"/>
                  </a:lnTo>
                  <a:lnTo>
                    <a:pt x="344" y="300"/>
                  </a:lnTo>
                  <a:lnTo>
                    <a:pt x="342" y="302"/>
                  </a:lnTo>
                  <a:lnTo>
                    <a:pt x="340" y="310"/>
                  </a:lnTo>
                  <a:lnTo>
                    <a:pt x="338" y="312"/>
                  </a:lnTo>
                  <a:lnTo>
                    <a:pt x="338" y="314"/>
                  </a:lnTo>
                  <a:lnTo>
                    <a:pt x="334" y="324"/>
                  </a:lnTo>
                  <a:lnTo>
                    <a:pt x="332" y="326"/>
                  </a:lnTo>
                  <a:lnTo>
                    <a:pt x="330" y="326"/>
                  </a:lnTo>
                  <a:lnTo>
                    <a:pt x="328" y="328"/>
                  </a:lnTo>
                  <a:lnTo>
                    <a:pt x="322" y="340"/>
                  </a:lnTo>
                  <a:lnTo>
                    <a:pt x="320" y="342"/>
                  </a:lnTo>
                  <a:lnTo>
                    <a:pt x="322" y="346"/>
                  </a:lnTo>
                  <a:lnTo>
                    <a:pt x="318" y="350"/>
                  </a:lnTo>
                  <a:lnTo>
                    <a:pt x="310" y="352"/>
                  </a:lnTo>
                  <a:lnTo>
                    <a:pt x="304" y="358"/>
                  </a:lnTo>
                  <a:lnTo>
                    <a:pt x="302" y="358"/>
                  </a:lnTo>
                  <a:lnTo>
                    <a:pt x="302" y="360"/>
                  </a:lnTo>
                  <a:lnTo>
                    <a:pt x="302" y="362"/>
                  </a:lnTo>
                  <a:lnTo>
                    <a:pt x="306" y="366"/>
                  </a:lnTo>
                  <a:lnTo>
                    <a:pt x="308" y="368"/>
                  </a:lnTo>
                  <a:lnTo>
                    <a:pt x="310" y="366"/>
                  </a:lnTo>
                  <a:lnTo>
                    <a:pt x="312" y="368"/>
                  </a:lnTo>
                  <a:lnTo>
                    <a:pt x="312" y="372"/>
                  </a:lnTo>
                  <a:lnTo>
                    <a:pt x="312" y="376"/>
                  </a:lnTo>
                  <a:lnTo>
                    <a:pt x="312" y="388"/>
                  </a:lnTo>
                  <a:lnTo>
                    <a:pt x="310" y="394"/>
                  </a:lnTo>
                  <a:lnTo>
                    <a:pt x="310" y="396"/>
                  </a:lnTo>
                  <a:lnTo>
                    <a:pt x="308" y="396"/>
                  </a:lnTo>
                  <a:lnTo>
                    <a:pt x="308" y="398"/>
                  </a:lnTo>
                  <a:lnTo>
                    <a:pt x="308" y="400"/>
                  </a:lnTo>
                  <a:lnTo>
                    <a:pt x="310" y="402"/>
                  </a:lnTo>
                  <a:lnTo>
                    <a:pt x="312" y="402"/>
                  </a:lnTo>
                  <a:lnTo>
                    <a:pt x="312" y="404"/>
                  </a:lnTo>
                  <a:lnTo>
                    <a:pt x="314" y="404"/>
                  </a:lnTo>
                  <a:lnTo>
                    <a:pt x="314" y="408"/>
                  </a:lnTo>
                  <a:lnTo>
                    <a:pt x="314" y="412"/>
                  </a:lnTo>
                  <a:lnTo>
                    <a:pt x="314" y="414"/>
                  </a:lnTo>
                  <a:lnTo>
                    <a:pt x="316" y="414"/>
                  </a:lnTo>
                  <a:lnTo>
                    <a:pt x="316" y="420"/>
                  </a:lnTo>
                  <a:lnTo>
                    <a:pt x="316" y="424"/>
                  </a:lnTo>
                  <a:lnTo>
                    <a:pt x="316" y="428"/>
                  </a:lnTo>
                  <a:lnTo>
                    <a:pt x="316" y="432"/>
                  </a:lnTo>
                  <a:lnTo>
                    <a:pt x="318" y="434"/>
                  </a:lnTo>
                  <a:lnTo>
                    <a:pt x="320" y="438"/>
                  </a:lnTo>
                  <a:lnTo>
                    <a:pt x="326" y="440"/>
                  </a:lnTo>
                  <a:lnTo>
                    <a:pt x="328" y="442"/>
                  </a:lnTo>
                  <a:lnTo>
                    <a:pt x="332" y="444"/>
                  </a:lnTo>
                  <a:lnTo>
                    <a:pt x="334" y="450"/>
                  </a:lnTo>
                  <a:lnTo>
                    <a:pt x="336" y="452"/>
                  </a:lnTo>
                  <a:lnTo>
                    <a:pt x="336" y="454"/>
                  </a:lnTo>
                  <a:lnTo>
                    <a:pt x="336" y="458"/>
                  </a:lnTo>
                  <a:lnTo>
                    <a:pt x="338" y="462"/>
                  </a:lnTo>
                  <a:lnTo>
                    <a:pt x="332" y="464"/>
                  </a:lnTo>
                  <a:lnTo>
                    <a:pt x="334" y="468"/>
                  </a:lnTo>
                  <a:lnTo>
                    <a:pt x="334" y="470"/>
                  </a:lnTo>
                  <a:lnTo>
                    <a:pt x="336" y="472"/>
                  </a:lnTo>
                  <a:lnTo>
                    <a:pt x="338" y="474"/>
                  </a:lnTo>
                  <a:lnTo>
                    <a:pt x="342" y="480"/>
                  </a:lnTo>
                  <a:lnTo>
                    <a:pt x="344" y="482"/>
                  </a:lnTo>
                  <a:lnTo>
                    <a:pt x="346" y="484"/>
                  </a:lnTo>
                  <a:lnTo>
                    <a:pt x="360" y="500"/>
                  </a:lnTo>
                  <a:lnTo>
                    <a:pt x="370" y="510"/>
                  </a:lnTo>
                  <a:lnTo>
                    <a:pt x="372" y="512"/>
                  </a:lnTo>
                  <a:lnTo>
                    <a:pt x="374" y="512"/>
                  </a:lnTo>
                  <a:lnTo>
                    <a:pt x="376" y="512"/>
                  </a:lnTo>
                  <a:lnTo>
                    <a:pt x="378" y="512"/>
                  </a:lnTo>
                  <a:lnTo>
                    <a:pt x="386" y="520"/>
                  </a:lnTo>
                  <a:lnTo>
                    <a:pt x="386" y="522"/>
                  </a:lnTo>
                  <a:lnTo>
                    <a:pt x="386" y="524"/>
                  </a:lnTo>
                  <a:lnTo>
                    <a:pt x="386" y="526"/>
                  </a:lnTo>
                  <a:lnTo>
                    <a:pt x="386" y="528"/>
                  </a:lnTo>
                  <a:lnTo>
                    <a:pt x="386" y="540"/>
                  </a:lnTo>
                  <a:lnTo>
                    <a:pt x="386" y="542"/>
                  </a:lnTo>
                  <a:lnTo>
                    <a:pt x="386" y="546"/>
                  </a:lnTo>
                  <a:lnTo>
                    <a:pt x="388" y="550"/>
                  </a:lnTo>
                  <a:lnTo>
                    <a:pt x="390" y="556"/>
                  </a:lnTo>
                  <a:lnTo>
                    <a:pt x="392" y="556"/>
                  </a:lnTo>
                  <a:lnTo>
                    <a:pt x="388" y="558"/>
                  </a:lnTo>
                  <a:lnTo>
                    <a:pt x="386" y="558"/>
                  </a:lnTo>
                  <a:lnTo>
                    <a:pt x="386" y="560"/>
                  </a:lnTo>
                  <a:lnTo>
                    <a:pt x="386" y="566"/>
                  </a:lnTo>
                  <a:lnTo>
                    <a:pt x="386" y="570"/>
                  </a:lnTo>
                  <a:lnTo>
                    <a:pt x="388" y="576"/>
                  </a:lnTo>
                  <a:lnTo>
                    <a:pt x="388" y="578"/>
                  </a:lnTo>
                  <a:lnTo>
                    <a:pt x="390" y="582"/>
                  </a:lnTo>
                  <a:lnTo>
                    <a:pt x="386" y="586"/>
                  </a:lnTo>
                  <a:lnTo>
                    <a:pt x="384" y="584"/>
                  </a:lnTo>
                  <a:lnTo>
                    <a:pt x="382" y="582"/>
                  </a:lnTo>
                  <a:lnTo>
                    <a:pt x="380" y="580"/>
                  </a:lnTo>
                  <a:lnTo>
                    <a:pt x="374" y="578"/>
                  </a:lnTo>
                  <a:lnTo>
                    <a:pt x="368" y="572"/>
                  </a:lnTo>
                  <a:lnTo>
                    <a:pt x="364" y="572"/>
                  </a:lnTo>
                  <a:lnTo>
                    <a:pt x="356" y="570"/>
                  </a:lnTo>
                  <a:lnTo>
                    <a:pt x="354" y="568"/>
                  </a:lnTo>
                  <a:lnTo>
                    <a:pt x="354" y="570"/>
                  </a:lnTo>
                  <a:lnTo>
                    <a:pt x="344" y="568"/>
                  </a:lnTo>
                  <a:lnTo>
                    <a:pt x="342" y="566"/>
                  </a:lnTo>
                  <a:lnTo>
                    <a:pt x="338" y="566"/>
                  </a:lnTo>
                  <a:lnTo>
                    <a:pt x="336" y="568"/>
                  </a:lnTo>
                  <a:lnTo>
                    <a:pt x="334" y="568"/>
                  </a:lnTo>
                  <a:lnTo>
                    <a:pt x="332" y="568"/>
                  </a:lnTo>
                  <a:lnTo>
                    <a:pt x="324" y="568"/>
                  </a:lnTo>
                  <a:lnTo>
                    <a:pt x="322" y="564"/>
                  </a:lnTo>
                  <a:lnTo>
                    <a:pt x="318" y="564"/>
                  </a:lnTo>
                  <a:lnTo>
                    <a:pt x="316" y="562"/>
                  </a:lnTo>
                  <a:lnTo>
                    <a:pt x="308" y="558"/>
                  </a:lnTo>
                  <a:lnTo>
                    <a:pt x="302" y="560"/>
                  </a:lnTo>
                  <a:lnTo>
                    <a:pt x="294" y="560"/>
                  </a:lnTo>
                  <a:lnTo>
                    <a:pt x="286" y="560"/>
                  </a:lnTo>
                  <a:lnTo>
                    <a:pt x="266" y="558"/>
                  </a:lnTo>
                  <a:lnTo>
                    <a:pt x="262" y="558"/>
                  </a:lnTo>
                  <a:lnTo>
                    <a:pt x="244" y="558"/>
                  </a:lnTo>
                  <a:lnTo>
                    <a:pt x="242" y="558"/>
                  </a:lnTo>
                  <a:lnTo>
                    <a:pt x="244" y="558"/>
                  </a:lnTo>
                  <a:lnTo>
                    <a:pt x="244" y="556"/>
                  </a:lnTo>
                  <a:lnTo>
                    <a:pt x="240" y="554"/>
                  </a:lnTo>
                  <a:lnTo>
                    <a:pt x="236" y="552"/>
                  </a:lnTo>
                  <a:lnTo>
                    <a:pt x="234" y="554"/>
                  </a:lnTo>
                  <a:lnTo>
                    <a:pt x="228" y="554"/>
                  </a:lnTo>
                  <a:lnTo>
                    <a:pt x="222" y="554"/>
                  </a:lnTo>
                  <a:lnTo>
                    <a:pt x="214" y="556"/>
                  </a:lnTo>
                  <a:lnTo>
                    <a:pt x="208" y="554"/>
                  </a:lnTo>
                  <a:lnTo>
                    <a:pt x="204" y="552"/>
                  </a:lnTo>
                  <a:lnTo>
                    <a:pt x="202" y="552"/>
                  </a:lnTo>
                  <a:lnTo>
                    <a:pt x="200" y="552"/>
                  </a:lnTo>
                  <a:lnTo>
                    <a:pt x="194" y="550"/>
                  </a:lnTo>
                  <a:lnTo>
                    <a:pt x="190" y="552"/>
                  </a:lnTo>
                  <a:lnTo>
                    <a:pt x="188" y="552"/>
                  </a:lnTo>
                  <a:lnTo>
                    <a:pt x="164" y="552"/>
                  </a:lnTo>
                  <a:lnTo>
                    <a:pt x="162" y="550"/>
                  </a:lnTo>
                  <a:lnTo>
                    <a:pt x="156" y="550"/>
                  </a:lnTo>
                  <a:lnTo>
                    <a:pt x="144" y="550"/>
                  </a:lnTo>
                  <a:lnTo>
                    <a:pt x="144" y="554"/>
                  </a:lnTo>
                  <a:lnTo>
                    <a:pt x="142" y="558"/>
                  </a:lnTo>
                  <a:lnTo>
                    <a:pt x="136" y="558"/>
                  </a:lnTo>
                  <a:lnTo>
                    <a:pt x="130" y="556"/>
                  </a:lnTo>
                  <a:lnTo>
                    <a:pt x="108" y="556"/>
                  </a:lnTo>
                  <a:lnTo>
                    <a:pt x="102" y="556"/>
                  </a:lnTo>
                  <a:lnTo>
                    <a:pt x="98" y="556"/>
                  </a:lnTo>
                  <a:lnTo>
                    <a:pt x="96" y="556"/>
                  </a:lnTo>
                  <a:lnTo>
                    <a:pt x="94" y="556"/>
                  </a:lnTo>
                  <a:lnTo>
                    <a:pt x="92" y="556"/>
                  </a:lnTo>
                  <a:lnTo>
                    <a:pt x="90" y="556"/>
                  </a:lnTo>
                  <a:lnTo>
                    <a:pt x="84" y="556"/>
                  </a:lnTo>
                  <a:lnTo>
                    <a:pt x="78" y="556"/>
                  </a:lnTo>
                  <a:lnTo>
                    <a:pt x="76" y="556"/>
                  </a:lnTo>
                  <a:lnTo>
                    <a:pt x="74" y="556"/>
                  </a:lnTo>
                  <a:lnTo>
                    <a:pt x="70" y="556"/>
                  </a:lnTo>
                  <a:lnTo>
                    <a:pt x="70" y="554"/>
                  </a:lnTo>
                  <a:lnTo>
                    <a:pt x="66" y="552"/>
                  </a:lnTo>
                  <a:lnTo>
                    <a:pt x="66" y="550"/>
                  </a:lnTo>
                  <a:lnTo>
                    <a:pt x="64" y="548"/>
                  </a:lnTo>
                  <a:lnTo>
                    <a:pt x="64" y="546"/>
                  </a:lnTo>
                  <a:lnTo>
                    <a:pt x="66" y="544"/>
                  </a:lnTo>
                  <a:lnTo>
                    <a:pt x="64" y="542"/>
                  </a:lnTo>
                  <a:lnTo>
                    <a:pt x="64" y="540"/>
                  </a:lnTo>
                  <a:lnTo>
                    <a:pt x="66" y="538"/>
                  </a:lnTo>
                  <a:lnTo>
                    <a:pt x="66" y="536"/>
                  </a:lnTo>
                  <a:lnTo>
                    <a:pt x="68" y="522"/>
                  </a:lnTo>
                  <a:lnTo>
                    <a:pt x="70" y="516"/>
                  </a:lnTo>
                  <a:lnTo>
                    <a:pt x="70" y="514"/>
                  </a:lnTo>
                  <a:lnTo>
                    <a:pt x="72" y="512"/>
                  </a:lnTo>
                  <a:lnTo>
                    <a:pt x="72" y="510"/>
                  </a:lnTo>
                  <a:lnTo>
                    <a:pt x="72" y="508"/>
                  </a:lnTo>
                  <a:lnTo>
                    <a:pt x="72" y="506"/>
                  </a:lnTo>
                  <a:lnTo>
                    <a:pt x="70" y="504"/>
                  </a:lnTo>
                  <a:lnTo>
                    <a:pt x="70" y="502"/>
                  </a:lnTo>
                  <a:lnTo>
                    <a:pt x="70" y="500"/>
                  </a:lnTo>
                  <a:lnTo>
                    <a:pt x="68" y="498"/>
                  </a:lnTo>
                  <a:lnTo>
                    <a:pt x="68" y="496"/>
                  </a:lnTo>
                  <a:lnTo>
                    <a:pt x="66" y="494"/>
                  </a:lnTo>
                  <a:lnTo>
                    <a:pt x="60" y="488"/>
                  </a:lnTo>
                  <a:lnTo>
                    <a:pt x="58" y="486"/>
                  </a:lnTo>
                  <a:lnTo>
                    <a:pt x="62" y="484"/>
                  </a:lnTo>
                  <a:lnTo>
                    <a:pt x="62" y="482"/>
                  </a:lnTo>
                  <a:lnTo>
                    <a:pt x="60" y="482"/>
                  </a:lnTo>
                  <a:lnTo>
                    <a:pt x="58" y="482"/>
                  </a:lnTo>
                  <a:lnTo>
                    <a:pt x="56" y="482"/>
                  </a:lnTo>
                  <a:lnTo>
                    <a:pt x="56" y="480"/>
                  </a:lnTo>
                  <a:lnTo>
                    <a:pt x="52" y="472"/>
                  </a:lnTo>
                  <a:lnTo>
                    <a:pt x="58" y="470"/>
                  </a:lnTo>
                  <a:lnTo>
                    <a:pt x="60" y="470"/>
                  </a:lnTo>
                  <a:lnTo>
                    <a:pt x="60" y="468"/>
                  </a:lnTo>
                  <a:lnTo>
                    <a:pt x="56" y="464"/>
                  </a:lnTo>
                  <a:lnTo>
                    <a:pt x="50" y="460"/>
                  </a:lnTo>
                  <a:lnTo>
                    <a:pt x="50" y="458"/>
                  </a:lnTo>
                  <a:lnTo>
                    <a:pt x="48" y="456"/>
                  </a:lnTo>
                  <a:lnTo>
                    <a:pt x="48" y="458"/>
                  </a:lnTo>
                  <a:lnTo>
                    <a:pt x="50" y="460"/>
                  </a:lnTo>
                  <a:lnTo>
                    <a:pt x="50" y="464"/>
                  </a:lnTo>
                  <a:lnTo>
                    <a:pt x="48" y="468"/>
                  </a:lnTo>
                  <a:lnTo>
                    <a:pt x="46" y="468"/>
                  </a:lnTo>
                  <a:lnTo>
                    <a:pt x="44" y="468"/>
                  </a:lnTo>
                  <a:lnTo>
                    <a:pt x="42" y="466"/>
                  </a:lnTo>
                  <a:lnTo>
                    <a:pt x="40" y="466"/>
                  </a:lnTo>
                  <a:close/>
                </a:path>
              </a:pathLst>
            </a:custGeom>
            <a:solidFill>
              <a:srgbClr val="B9B9B9"/>
            </a:solidFill>
            <a:ln w="3175" cmpd="sng">
              <a:solidFill>
                <a:srgbClr val="CECECE"/>
              </a:solidFill>
              <a:round/>
              <a:headEnd/>
              <a:tailEnd/>
            </a:ln>
          </p:spPr>
          <p:txBody>
            <a:bodyPr>
              <a:prstTxWarp prst="textNoShape">
                <a:avLst/>
              </a:prstTxWarp>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endParaRPr lang="en-GB">
                <a:solidFill>
                  <a:srgbClr val="000000"/>
                </a:solidFill>
              </a:endParaRPr>
            </a:p>
          </p:txBody>
        </p:sp>
      </p:grpSp>
      <p:grpSp>
        <p:nvGrpSpPr>
          <p:cNvPr id="400" name="Group 399"/>
          <p:cNvGrpSpPr/>
          <p:nvPr userDrawn="1"/>
        </p:nvGrpSpPr>
        <p:grpSpPr>
          <a:xfrm>
            <a:off x="2912802" y="2540597"/>
            <a:ext cx="6069157" cy="3866420"/>
            <a:chOff x="2912802" y="2540597"/>
            <a:chExt cx="6069157" cy="3866420"/>
          </a:xfrm>
        </p:grpSpPr>
        <p:sp>
          <p:nvSpPr>
            <p:cNvPr id="401" name="Rectangle 963"/>
            <p:cNvSpPr>
              <a:spLocks noChangeArrowheads="1"/>
            </p:cNvSpPr>
            <p:nvPr/>
          </p:nvSpPr>
          <p:spPr bwMode="auto">
            <a:xfrm>
              <a:off x="4649494" y="5380190"/>
              <a:ext cx="700063" cy="215444"/>
            </a:xfrm>
            <a:prstGeom prst="rect">
              <a:avLst/>
            </a:prstGeom>
            <a:noFill/>
            <a:ln w="9525">
              <a:noFill/>
              <a:miter lim="800000"/>
              <a:headEnd/>
              <a:tailEnd/>
            </a:ln>
          </p:spPr>
          <p:txBody>
            <a:bodyPr wrap="square" lIns="0" tIns="0" rIns="0" bIns="0">
              <a:prstTxWarp prst="textNoShape">
                <a:avLst/>
              </a:prstTxWarp>
              <a:spAutoFit/>
            </a:bodyPr>
            <a:lstStyle/>
            <a:p>
              <a:pPr algn="r"/>
              <a:r>
                <a:rPr lang="en-GB" sz="1400" b="1">
                  <a:solidFill>
                    <a:srgbClr val="000000"/>
                  </a:solidFill>
                </a:rPr>
                <a:t>Namibia</a:t>
              </a:r>
            </a:p>
          </p:txBody>
        </p:sp>
        <p:sp>
          <p:nvSpPr>
            <p:cNvPr id="402" name="Rectangle 966"/>
            <p:cNvSpPr>
              <a:spLocks noChangeArrowheads="1"/>
            </p:cNvSpPr>
            <p:nvPr/>
          </p:nvSpPr>
          <p:spPr bwMode="auto">
            <a:xfrm>
              <a:off x="6391352" y="5976130"/>
              <a:ext cx="960843" cy="430887"/>
            </a:xfrm>
            <a:prstGeom prst="rect">
              <a:avLst/>
            </a:prstGeom>
            <a:noFill/>
            <a:ln w="9525">
              <a:noFill/>
              <a:miter lim="800000"/>
              <a:headEnd/>
              <a:tailEnd/>
            </a:ln>
          </p:spPr>
          <p:txBody>
            <a:bodyPr wrap="square" lIns="0" tIns="0" rIns="0" bIns="0">
              <a:prstTxWarp prst="textNoShape">
                <a:avLst/>
              </a:prstTxWarp>
              <a:spAutoFit/>
            </a:bodyPr>
            <a:lstStyle/>
            <a:p>
              <a:r>
                <a:rPr lang="en-GB" sz="1400" b="1">
                  <a:solidFill>
                    <a:srgbClr val="000000"/>
                  </a:solidFill>
                </a:rPr>
                <a:t>South Africa</a:t>
              </a:r>
            </a:p>
          </p:txBody>
        </p:sp>
        <p:sp>
          <p:nvSpPr>
            <p:cNvPr id="403" name="Rectangle 977"/>
            <p:cNvSpPr>
              <a:spLocks noChangeArrowheads="1"/>
            </p:cNvSpPr>
            <p:nvPr/>
          </p:nvSpPr>
          <p:spPr bwMode="auto">
            <a:xfrm>
              <a:off x="3541214" y="4450470"/>
              <a:ext cx="948330" cy="215444"/>
            </a:xfrm>
            <a:prstGeom prst="rect">
              <a:avLst/>
            </a:prstGeom>
            <a:noFill/>
            <a:ln w="9525">
              <a:noFill/>
              <a:miter lim="800000"/>
              <a:headEnd/>
              <a:tailEnd/>
            </a:ln>
          </p:spPr>
          <p:txBody>
            <a:bodyPr wrap="square" lIns="0" tIns="0" rIns="0" bIns="0">
              <a:prstTxWarp prst="textNoShape">
                <a:avLst/>
              </a:prstTxWarp>
              <a:spAutoFit/>
            </a:bodyPr>
            <a:lstStyle/>
            <a:p>
              <a:pPr algn="r"/>
              <a:r>
                <a:rPr lang="en-GB" sz="1400" b="1">
                  <a:solidFill>
                    <a:srgbClr val="000000"/>
                  </a:solidFill>
                </a:rPr>
                <a:t>Africa</a:t>
              </a:r>
            </a:p>
          </p:txBody>
        </p:sp>
        <p:sp>
          <p:nvSpPr>
            <p:cNvPr id="404" name="Rectangle 996"/>
            <p:cNvSpPr>
              <a:spLocks noChangeArrowheads="1"/>
            </p:cNvSpPr>
            <p:nvPr/>
          </p:nvSpPr>
          <p:spPr bwMode="auto">
            <a:xfrm>
              <a:off x="2912802" y="3242567"/>
              <a:ext cx="643613" cy="215444"/>
            </a:xfrm>
            <a:prstGeom prst="rect">
              <a:avLst/>
            </a:prstGeom>
            <a:noFill/>
            <a:ln w="9525">
              <a:noFill/>
              <a:miter lim="800000"/>
              <a:headEnd/>
              <a:tailEnd/>
            </a:ln>
          </p:spPr>
          <p:txBody>
            <a:bodyPr wrap="square" lIns="0" tIns="0" rIns="0" bIns="0">
              <a:prstTxWarp prst="textNoShape">
                <a:avLst/>
              </a:prstTxWarp>
              <a:spAutoFit/>
            </a:bodyPr>
            <a:lstStyle/>
            <a:p>
              <a:pPr algn="r"/>
              <a:r>
                <a:rPr lang="en-GB" sz="1400" b="1">
                  <a:solidFill>
                    <a:srgbClr val="000000"/>
                  </a:solidFill>
                </a:rPr>
                <a:t>Guinea</a:t>
              </a:r>
            </a:p>
          </p:txBody>
        </p:sp>
        <p:sp>
          <p:nvSpPr>
            <p:cNvPr id="405" name="TextBox 404"/>
            <p:cNvSpPr txBox="1"/>
            <p:nvPr/>
          </p:nvSpPr>
          <p:spPr>
            <a:xfrm>
              <a:off x="7940241" y="2540597"/>
              <a:ext cx="692818" cy="307777"/>
            </a:xfrm>
            <a:prstGeom prst="rect">
              <a:avLst/>
            </a:prstGeom>
            <a:noFill/>
          </p:spPr>
          <p:txBody>
            <a:bodyPr wrap="none" rtlCol="0">
              <a:spAutoFit/>
            </a:bodyPr>
            <a:lstStyle/>
            <a:p>
              <a:r>
                <a:rPr lang="en-GB" sz="1400" b="1" dirty="0">
                  <a:solidFill>
                    <a:srgbClr val="000000"/>
                  </a:solidFill>
                </a:rPr>
                <a:t>Oman</a:t>
              </a:r>
            </a:p>
          </p:txBody>
        </p:sp>
        <p:sp>
          <p:nvSpPr>
            <p:cNvPr id="406" name="Rectangle 971"/>
            <p:cNvSpPr>
              <a:spLocks noChangeArrowheads="1"/>
            </p:cNvSpPr>
            <p:nvPr/>
          </p:nvSpPr>
          <p:spPr bwMode="auto">
            <a:xfrm>
              <a:off x="7591009" y="5246416"/>
              <a:ext cx="1390950" cy="215444"/>
            </a:xfrm>
            <a:prstGeom prst="rect">
              <a:avLst/>
            </a:prstGeom>
            <a:noFill/>
            <a:ln w="9525">
              <a:noFill/>
              <a:miter lim="800000"/>
              <a:headEnd/>
              <a:tailEnd/>
            </a:ln>
          </p:spPr>
          <p:txBody>
            <a:bodyPr wrap="square" lIns="0" tIns="0" rIns="0" bIns="0">
              <a:prstTxWarp prst="textNoShape">
                <a:avLst/>
              </a:prstTxWarp>
              <a:spAutoFit/>
            </a:bodyPr>
            <a:lstStyle/>
            <a:p>
              <a:r>
                <a:rPr lang="en-GB" sz="1400" b="1">
                  <a:solidFill>
                    <a:srgbClr val="000000"/>
                  </a:solidFill>
                </a:rPr>
                <a:t>Madagascar</a:t>
              </a:r>
            </a:p>
          </p:txBody>
        </p:sp>
        <p:sp>
          <p:nvSpPr>
            <p:cNvPr id="407" name="Rectangle 1003"/>
            <p:cNvSpPr>
              <a:spLocks noChangeArrowheads="1"/>
            </p:cNvSpPr>
            <p:nvPr userDrawn="1"/>
          </p:nvSpPr>
          <p:spPr bwMode="auto">
            <a:xfrm>
              <a:off x="6345187" y="4448259"/>
              <a:ext cx="1215109" cy="21544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srgbClr val="000000"/>
                  </a:solidFill>
                </a:rPr>
                <a:t>Mozambique</a:t>
              </a:r>
            </a:p>
          </p:txBody>
        </p:sp>
      </p:grpSp>
    </p:spTree>
    <p:extLst>
      <p:ext uri="{BB962C8B-B14F-4D97-AF65-F5344CB8AC3E}">
        <p14:creationId xmlns:p14="http://schemas.microsoft.com/office/powerpoint/2010/main" val="54177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Map Europe">
    <p:spTree>
      <p:nvGrpSpPr>
        <p:cNvPr id="1" name=""/>
        <p:cNvGrpSpPr/>
        <p:nvPr/>
      </p:nvGrpSpPr>
      <p:grpSpPr>
        <a:xfrm>
          <a:off x="0" y="0"/>
          <a:ext cx="0" cy="0"/>
          <a:chOff x="0" y="0"/>
          <a:chExt cx="0" cy="0"/>
        </a:xfrm>
      </p:grpSpPr>
      <p:grpSp>
        <p:nvGrpSpPr>
          <p:cNvPr id="270" name="Group 269"/>
          <p:cNvGrpSpPr/>
          <p:nvPr/>
        </p:nvGrpSpPr>
        <p:grpSpPr>
          <a:xfrm>
            <a:off x="3853366" y="2625284"/>
            <a:ext cx="70888" cy="129962"/>
            <a:chOff x="1822210" y="2491772"/>
            <a:chExt cx="70888" cy="129962"/>
          </a:xfrm>
        </p:grpSpPr>
        <p:sp>
          <p:nvSpPr>
            <p:cNvPr id="705" name="Freeform 2556"/>
            <p:cNvSpPr>
              <a:spLocks/>
            </p:cNvSpPr>
            <p:nvPr/>
          </p:nvSpPr>
          <p:spPr bwMode="auto">
            <a:xfrm>
              <a:off x="1881283" y="2497679"/>
              <a:ext cx="11815" cy="26583"/>
            </a:xfrm>
            <a:custGeom>
              <a:avLst/>
              <a:gdLst/>
              <a:ahLst/>
              <a:cxnLst>
                <a:cxn ang="0">
                  <a:pos x="0" y="18"/>
                </a:cxn>
                <a:cxn ang="0">
                  <a:pos x="0" y="16"/>
                </a:cxn>
                <a:cxn ang="0">
                  <a:pos x="0" y="14"/>
                </a:cxn>
                <a:cxn ang="0">
                  <a:pos x="0" y="12"/>
                </a:cxn>
                <a:cxn ang="0">
                  <a:pos x="0" y="10"/>
                </a:cxn>
                <a:cxn ang="0">
                  <a:pos x="2" y="6"/>
                </a:cxn>
                <a:cxn ang="0">
                  <a:pos x="4" y="0"/>
                </a:cxn>
                <a:cxn ang="0">
                  <a:pos x="6" y="0"/>
                </a:cxn>
                <a:cxn ang="0">
                  <a:pos x="4" y="2"/>
                </a:cxn>
                <a:cxn ang="0">
                  <a:pos x="4" y="4"/>
                </a:cxn>
                <a:cxn ang="0">
                  <a:pos x="6" y="6"/>
                </a:cxn>
                <a:cxn ang="0">
                  <a:pos x="6" y="10"/>
                </a:cxn>
                <a:cxn ang="0">
                  <a:pos x="8" y="10"/>
                </a:cxn>
                <a:cxn ang="0">
                  <a:pos x="8" y="12"/>
                </a:cxn>
                <a:cxn ang="0">
                  <a:pos x="6" y="18"/>
                </a:cxn>
                <a:cxn ang="0">
                  <a:pos x="0" y="18"/>
                </a:cxn>
              </a:cxnLst>
              <a:rect l="0" t="0" r="r" b="b"/>
              <a:pathLst>
                <a:path w="8" h="18">
                  <a:moveTo>
                    <a:pt x="0" y="18"/>
                  </a:moveTo>
                  <a:lnTo>
                    <a:pt x="0" y="16"/>
                  </a:lnTo>
                  <a:lnTo>
                    <a:pt x="0" y="14"/>
                  </a:lnTo>
                  <a:lnTo>
                    <a:pt x="0" y="12"/>
                  </a:lnTo>
                  <a:lnTo>
                    <a:pt x="0" y="10"/>
                  </a:lnTo>
                  <a:lnTo>
                    <a:pt x="2" y="6"/>
                  </a:lnTo>
                  <a:lnTo>
                    <a:pt x="4" y="0"/>
                  </a:lnTo>
                  <a:lnTo>
                    <a:pt x="6" y="0"/>
                  </a:lnTo>
                  <a:lnTo>
                    <a:pt x="4" y="2"/>
                  </a:lnTo>
                  <a:lnTo>
                    <a:pt x="4" y="4"/>
                  </a:lnTo>
                  <a:lnTo>
                    <a:pt x="6" y="6"/>
                  </a:lnTo>
                  <a:lnTo>
                    <a:pt x="6" y="10"/>
                  </a:lnTo>
                  <a:lnTo>
                    <a:pt x="8" y="10"/>
                  </a:lnTo>
                  <a:lnTo>
                    <a:pt x="8" y="12"/>
                  </a:lnTo>
                  <a:lnTo>
                    <a:pt x="6" y="18"/>
                  </a:lnTo>
                  <a:lnTo>
                    <a:pt x="0" y="1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6" name="Freeform 2557"/>
            <p:cNvSpPr>
              <a:spLocks/>
            </p:cNvSpPr>
            <p:nvPr/>
          </p:nvSpPr>
          <p:spPr bwMode="auto">
            <a:xfrm>
              <a:off x="1854700" y="2491772"/>
              <a:ext cx="23629" cy="44305"/>
            </a:xfrm>
            <a:custGeom>
              <a:avLst/>
              <a:gdLst/>
              <a:ahLst/>
              <a:cxnLst>
                <a:cxn ang="0">
                  <a:pos x="10" y="30"/>
                </a:cxn>
                <a:cxn ang="0">
                  <a:pos x="8" y="30"/>
                </a:cxn>
                <a:cxn ang="0">
                  <a:pos x="6" y="26"/>
                </a:cxn>
                <a:cxn ang="0">
                  <a:pos x="2" y="16"/>
                </a:cxn>
                <a:cxn ang="0">
                  <a:pos x="0" y="14"/>
                </a:cxn>
                <a:cxn ang="0">
                  <a:pos x="0" y="10"/>
                </a:cxn>
                <a:cxn ang="0">
                  <a:pos x="0" y="8"/>
                </a:cxn>
                <a:cxn ang="0">
                  <a:pos x="0" y="2"/>
                </a:cxn>
                <a:cxn ang="0">
                  <a:pos x="6" y="0"/>
                </a:cxn>
                <a:cxn ang="0">
                  <a:pos x="10" y="6"/>
                </a:cxn>
                <a:cxn ang="0">
                  <a:pos x="12" y="10"/>
                </a:cxn>
                <a:cxn ang="0">
                  <a:pos x="16" y="18"/>
                </a:cxn>
                <a:cxn ang="0">
                  <a:pos x="14" y="24"/>
                </a:cxn>
                <a:cxn ang="0">
                  <a:pos x="10" y="26"/>
                </a:cxn>
                <a:cxn ang="0">
                  <a:pos x="10" y="30"/>
                </a:cxn>
              </a:cxnLst>
              <a:rect l="0" t="0" r="r" b="b"/>
              <a:pathLst>
                <a:path w="16" h="30">
                  <a:moveTo>
                    <a:pt x="10" y="30"/>
                  </a:moveTo>
                  <a:lnTo>
                    <a:pt x="8" y="30"/>
                  </a:lnTo>
                  <a:lnTo>
                    <a:pt x="6" y="26"/>
                  </a:lnTo>
                  <a:lnTo>
                    <a:pt x="2" y="16"/>
                  </a:lnTo>
                  <a:lnTo>
                    <a:pt x="0" y="14"/>
                  </a:lnTo>
                  <a:lnTo>
                    <a:pt x="0" y="10"/>
                  </a:lnTo>
                  <a:lnTo>
                    <a:pt x="0" y="8"/>
                  </a:lnTo>
                  <a:lnTo>
                    <a:pt x="0" y="2"/>
                  </a:lnTo>
                  <a:lnTo>
                    <a:pt x="6" y="0"/>
                  </a:lnTo>
                  <a:lnTo>
                    <a:pt x="10" y="6"/>
                  </a:lnTo>
                  <a:lnTo>
                    <a:pt x="12" y="10"/>
                  </a:lnTo>
                  <a:lnTo>
                    <a:pt x="16" y="18"/>
                  </a:lnTo>
                  <a:lnTo>
                    <a:pt x="14" y="24"/>
                  </a:lnTo>
                  <a:lnTo>
                    <a:pt x="10" y="26"/>
                  </a:lnTo>
                  <a:lnTo>
                    <a:pt x="10" y="3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7" name="Freeform 2558"/>
            <p:cNvSpPr>
              <a:spLocks/>
            </p:cNvSpPr>
            <p:nvPr/>
          </p:nvSpPr>
          <p:spPr bwMode="auto">
            <a:xfrm>
              <a:off x="1836978" y="2491772"/>
              <a:ext cx="26583" cy="59073"/>
            </a:xfrm>
            <a:custGeom>
              <a:avLst/>
              <a:gdLst/>
              <a:ahLst/>
              <a:cxnLst>
                <a:cxn ang="0">
                  <a:pos x="14" y="40"/>
                </a:cxn>
                <a:cxn ang="0">
                  <a:pos x="14" y="38"/>
                </a:cxn>
                <a:cxn ang="0">
                  <a:pos x="10" y="32"/>
                </a:cxn>
                <a:cxn ang="0">
                  <a:pos x="8" y="26"/>
                </a:cxn>
                <a:cxn ang="0">
                  <a:pos x="6" y="20"/>
                </a:cxn>
                <a:cxn ang="0">
                  <a:pos x="4" y="18"/>
                </a:cxn>
                <a:cxn ang="0">
                  <a:pos x="0" y="12"/>
                </a:cxn>
                <a:cxn ang="0">
                  <a:pos x="2" y="10"/>
                </a:cxn>
                <a:cxn ang="0">
                  <a:pos x="6" y="2"/>
                </a:cxn>
                <a:cxn ang="0">
                  <a:pos x="6" y="0"/>
                </a:cxn>
                <a:cxn ang="0">
                  <a:pos x="8" y="2"/>
                </a:cxn>
                <a:cxn ang="0">
                  <a:pos x="10" y="4"/>
                </a:cxn>
                <a:cxn ang="0">
                  <a:pos x="10" y="6"/>
                </a:cxn>
                <a:cxn ang="0">
                  <a:pos x="10" y="8"/>
                </a:cxn>
                <a:cxn ang="0">
                  <a:pos x="10" y="10"/>
                </a:cxn>
                <a:cxn ang="0">
                  <a:pos x="12" y="14"/>
                </a:cxn>
                <a:cxn ang="0">
                  <a:pos x="12" y="16"/>
                </a:cxn>
                <a:cxn ang="0">
                  <a:pos x="14" y="18"/>
                </a:cxn>
                <a:cxn ang="0">
                  <a:pos x="16" y="22"/>
                </a:cxn>
                <a:cxn ang="0">
                  <a:pos x="18" y="30"/>
                </a:cxn>
                <a:cxn ang="0">
                  <a:pos x="18" y="36"/>
                </a:cxn>
                <a:cxn ang="0">
                  <a:pos x="16" y="38"/>
                </a:cxn>
                <a:cxn ang="0">
                  <a:pos x="14" y="40"/>
                </a:cxn>
              </a:cxnLst>
              <a:rect l="0" t="0" r="r" b="b"/>
              <a:pathLst>
                <a:path w="18" h="40">
                  <a:moveTo>
                    <a:pt x="14" y="40"/>
                  </a:moveTo>
                  <a:lnTo>
                    <a:pt x="14" y="38"/>
                  </a:lnTo>
                  <a:lnTo>
                    <a:pt x="10" y="32"/>
                  </a:lnTo>
                  <a:lnTo>
                    <a:pt x="8" y="26"/>
                  </a:lnTo>
                  <a:lnTo>
                    <a:pt x="6" y="20"/>
                  </a:lnTo>
                  <a:lnTo>
                    <a:pt x="4" y="18"/>
                  </a:lnTo>
                  <a:lnTo>
                    <a:pt x="0" y="12"/>
                  </a:lnTo>
                  <a:lnTo>
                    <a:pt x="2" y="10"/>
                  </a:lnTo>
                  <a:lnTo>
                    <a:pt x="6" y="2"/>
                  </a:lnTo>
                  <a:lnTo>
                    <a:pt x="6" y="0"/>
                  </a:lnTo>
                  <a:lnTo>
                    <a:pt x="8" y="2"/>
                  </a:lnTo>
                  <a:lnTo>
                    <a:pt x="10" y="4"/>
                  </a:lnTo>
                  <a:lnTo>
                    <a:pt x="10" y="6"/>
                  </a:lnTo>
                  <a:lnTo>
                    <a:pt x="10" y="8"/>
                  </a:lnTo>
                  <a:lnTo>
                    <a:pt x="10" y="10"/>
                  </a:lnTo>
                  <a:lnTo>
                    <a:pt x="12" y="14"/>
                  </a:lnTo>
                  <a:lnTo>
                    <a:pt x="12" y="16"/>
                  </a:lnTo>
                  <a:lnTo>
                    <a:pt x="14" y="18"/>
                  </a:lnTo>
                  <a:lnTo>
                    <a:pt x="16" y="22"/>
                  </a:lnTo>
                  <a:lnTo>
                    <a:pt x="18" y="30"/>
                  </a:lnTo>
                  <a:lnTo>
                    <a:pt x="18" y="36"/>
                  </a:lnTo>
                  <a:lnTo>
                    <a:pt x="16" y="38"/>
                  </a:lnTo>
                  <a:lnTo>
                    <a:pt x="14" y="4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8" name="Freeform 2559"/>
            <p:cNvSpPr>
              <a:spLocks/>
            </p:cNvSpPr>
            <p:nvPr/>
          </p:nvSpPr>
          <p:spPr bwMode="auto">
            <a:xfrm>
              <a:off x="1822210" y="2509494"/>
              <a:ext cx="23629" cy="20676"/>
            </a:xfrm>
            <a:custGeom>
              <a:avLst/>
              <a:gdLst/>
              <a:ahLst/>
              <a:cxnLst>
                <a:cxn ang="0">
                  <a:pos x="8" y="14"/>
                </a:cxn>
                <a:cxn ang="0">
                  <a:pos x="8" y="12"/>
                </a:cxn>
                <a:cxn ang="0">
                  <a:pos x="8" y="10"/>
                </a:cxn>
                <a:cxn ang="0">
                  <a:pos x="6" y="10"/>
                </a:cxn>
                <a:cxn ang="0">
                  <a:pos x="2" y="8"/>
                </a:cxn>
                <a:cxn ang="0">
                  <a:pos x="2" y="6"/>
                </a:cxn>
                <a:cxn ang="0">
                  <a:pos x="0" y="2"/>
                </a:cxn>
                <a:cxn ang="0">
                  <a:pos x="2" y="0"/>
                </a:cxn>
                <a:cxn ang="0">
                  <a:pos x="10" y="2"/>
                </a:cxn>
                <a:cxn ang="0">
                  <a:pos x="12" y="4"/>
                </a:cxn>
                <a:cxn ang="0">
                  <a:pos x="16" y="8"/>
                </a:cxn>
                <a:cxn ang="0">
                  <a:pos x="16" y="10"/>
                </a:cxn>
                <a:cxn ang="0">
                  <a:pos x="16" y="12"/>
                </a:cxn>
                <a:cxn ang="0">
                  <a:pos x="14" y="12"/>
                </a:cxn>
                <a:cxn ang="0">
                  <a:pos x="8" y="14"/>
                </a:cxn>
              </a:cxnLst>
              <a:rect l="0" t="0" r="r" b="b"/>
              <a:pathLst>
                <a:path w="16" h="14">
                  <a:moveTo>
                    <a:pt x="8" y="14"/>
                  </a:moveTo>
                  <a:lnTo>
                    <a:pt x="8" y="12"/>
                  </a:lnTo>
                  <a:lnTo>
                    <a:pt x="8" y="10"/>
                  </a:lnTo>
                  <a:lnTo>
                    <a:pt x="6" y="10"/>
                  </a:lnTo>
                  <a:lnTo>
                    <a:pt x="2" y="8"/>
                  </a:lnTo>
                  <a:lnTo>
                    <a:pt x="2" y="6"/>
                  </a:lnTo>
                  <a:lnTo>
                    <a:pt x="0" y="2"/>
                  </a:lnTo>
                  <a:lnTo>
                    <a:pt x="2" y="0"/>
                  </a:lnTo>
                  <a:lnTo>
                    <a:pt x="10" y="2"/>
                  </a:lnTo>
                  <a:lnTo>
                    <a:pt x="12" y="4"/>
                  </a:lnTo>
                  <a:lnTo>
                    <a:pt x="16" y="8"/>
                  </a:lnTo>
                  <a:lnTo>
                    <a:pt x="16" y="10"/>
                  </a:lnTo>
                  <a:lnTo>
                    <a:pt x="16" y="12"/>
                  </a:lnTo>
                  <a:lnTo>
                    <a:pt x="14" y="12"/>
                  </a:lnTo>
                  <a:lnTo>
                    <a:pt x="8" y="1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9" name="Freeform 2560"/>
            <p:cNvSpPr>
              <a:spLocks/>
            </p:cNvSpPr>
            <p:nvPr/>
          </p:nvSpPr>
          <p:spPr bwMode="auto">
            <a:xfrm>
              <a:off x="1845839" y="2550845"/>
              <a:ext cx="14769" cy="26583"/>
            </a:xfrm>
            <a:custGeom>
              <a:avLst/>
              <a:gdLst/>
              <a:ahLst/>
              <a:cxnLst>
                <a:cxn ang="0">
                  <a:pos x="6" y="18"/>
                </a:cxn>
                <a:cxn ang="0">
                  <a:pos x="4" y="14"/>
                </a:cxn>
                <a:cxn ang="0">
                  <a:pos x="0" y="8"/>
                </a:cxn>
                <a:cxn ang="0">
                  <a:pos x="0" y="6"/>
                </a:cxn>
                <a:cxn ang="0">
                  <a:pos x="0" y="0"/>
                </a:cxn>
                <a:cxn ang="0">
                  <a:pos x="2" y="0"/>
                </a:cxn>
                <a:cxn ang="0">
                  <a:pos x="6" y="2"/>
                </a:cxn>
                <a:cxn ang="0">
                  <a:pos x="8" y="6"/>
                </a:cxn>
                <a:cxn ang="0">
                  <a:pos x="10" y="6"/>
                </a:cxn>
                <a:cxn ang="0">
                  <a:pos x="10" y="10"/>
                </a:cxn>
                <a:cxn ang="0">
                  <a:pos x="8" y="16"/>
                </a:cxn>
                <a:cxn ang="0">
                  <a:pos x="6" y="18"/>
                </a:cxn>
              </a:cxnLst>
              <a:rect l="0" t="0" r="r" b="b"/>
              <a:pathLst>
                <a:path w="10" h="18">
                  <a:moveTo>
                    <a:pt x="6" y="18"/>
                  </a:moveTo>
                  <a:lnTo>
                    <a:pt x="4" y="14"/>
                  </a:lnTo>
                  <a:lnTo>
                    <a:pt x="0" y="8"/>
                  </a:lnTo>
                  <a:lnTo>
                    <a:pt x="0" y="6"/>
                  </a:lnTo>
                  <a:lnTo>
                    <a:pt x="0" y="0"/>
                  </a:lnTo>
                  <a:lnTo>
                    <a:pt x="2" y="0"/>
                  </a:lnTo>
                  <a:lnTo>
                    <a:pt x="6" y="2"/>
                  </a:lnTo>
                  <a:lnTo>
                    <a:pt x="8" y="6"/>
                  </a:lnTo>
                  <a:lnTo>
                    <a:pt x="10" y="6"/>
                  </a:lnTo>
                  <a:lnTo>
                    <a:pt x="10" y="10"/>
                  </a:lnTo>
                  <a:lnTo>
                    <a:pt x="8" y="16"/>
                  </a:lnTo>
                  <a:lnTo>
                    <a:pt x="6" y="1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10" name="Freeform 2561"/>
            <p:cNvSpPr>
              <a:spLocks/>
            </p:cNvSpPr>
            <p:nvPr/>
          </p:nvSpPr>
          <p:spPr bwMode="auto">
            <a:xfrm>
              <a:off x="1828117" y="2583336"/>
              <a:ext cx="14769" cy="38398"/>
            </a:xfrm>
            <a:custGeom>
              <a:avLst/>
              <a:gdLst/>
              <a:ahLst/>
              <a:cxnLst>
                <a:cxn ang="0">
                  <a:pos x="8" y="26"/>
                </a:cxn>
                <a:cxn ang="0">
                  <a:pos x="6" y="24"/>
                </a:cxn>
                <a:cxn ang="0">
                  <a:pos x="2" y="18"/>
                </a:cxn>
                <a:cxn ang="0">
                  <a:pos x="0" y="4"/>
                </a:cxn>
                <a:cxn ang="0">
                  <a:pos x="2" y="2"/>
                </a:cxn>
                <a:cxn ang="0">
                  <a:pos x="4" y="0"/>
                </a:cxn>
                <a:cxn ang="0">
                  <a:pos x="6" y="0"/>
                </a:cxn>
                <a:cxn ang="0">
                  <a:pos x="10" y="8"/>
                </a:cxn>
                <a:cxn ang="0">
                  <a:pos x="10" y="10"/>
                </a:cxn>
                <a:cxn ang="0">
                  <a:pos x="8" y="22"/>
                </a:cxn>
                <a:cxn ang="0">
                  <a:pos x="8" y="26"/>
                </a:cxn>
              </a:cxnLst>
              <a:rect l="0" t="0" r="r" b="b"/>
              <a:pathLst>
                <a:path w="10" h="26">
                  <a:moveTo>
                    <a:pt x="8" y="26"/>
                  </a:moveTo>
                  <a:lnTo>
                    <a:pt x="6" y="24"/>
                  </a:lnTo>
                  <a:lnTo>
                    <a:pt x="2" y="18"/>
                  </a:lnTo>
                  <a:lnTo>
                    <a:pt x="0" y="4"/>
                  </a:lnTo>
                  <a:lnTo>
                    <a:pt x="2" y="2"/>
                  </a:lnTo>
                  <a:lnTo>
                    <a:pt x="4" y="0"/>
                  </a:lnTo>
                  <a:lnTo>
                    <a:pt x="6" y="0"/>
                  </a:lnTo>
                  <a:lnTo>
                    <a:pt x="10" y="8"/>
                  </a:lnTo>
                  <a:lnTo>
                    <a:pt x="10" y="10"/>
                  </a:lnTo>
                  <a:lnTo>
                    <a:pt x="8" y="22"/>
                  </a:lnTo>
                  <a:lnTo>
                    <a:pt x="8" y="26"/>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72" name="Freeform 2714"/>
          <p:cNvSpPr>
            <a:spLocks/>
          </p:cNvSpPr>
          <p:nvPr/>
        </p:nvSpPr>
        <p:spPr bwMode="auto">
          <a:xfrm>
            <a:off x="5472868" y="6692863"/>
            <a:ext cx="38398" cy="35444"/>
          </a:xfrm>
          <a:custGeom>
            <a:avLst/>
            <a:gdLst/>
            <a:ahLst/>
            <a:cxnLst>
              <a:cxn ang="0">
                <a:pos x="10" y="24"/>
              </a:cxn>
              <a:cxn ang="0">
                <a:pos x="10" y="20"/>
              </a:cxn>
              <a:cxn ang="0">
                <a:pos x="10" y="18"/>
              </a:cxn>
              <a:cxn ang="0">
                <a:pos x="8" y="18"/>
              </a:cxn>
              <a:cxn ang="0">
                <a:pos x="8" y="16"/>
              </a:cxn>
              <a:cxn ang="0">
                <a:pos x="6" y="16"/>
              </a:cxn>
              <a:cxn ang="0">
                <a:pos x="4" y="16"/>
              </a:cxn>
              <a:cxn ang="0">
                <a:pos x="4" y="18"/>
              </a:cxn>
              <a:cxn ang="0">
                <a:pos x="2" y="18"/>
              </a:cxn>
              <a:cxn ang="0">
                <a:pos x="0" y="18"/>
              </a:cxn>
              <a:cxn ang="0">
                <a:pos x="0" y="16"/>
              </a:cxn>
              <a:cxn ang="0">
                <a:pos x="0" y="14"/>
              </a:cxn>
              <a:cxn ang="0">
                <a:pos x="0" y="12"/>
              </a:cxn>
              <a:cxn ang="0">
                <a:pos x="0" y="2"/>
              </a:cxn>
              <a:cxn ang="0">
                <a:pos x="2" y="0"/>
              </a:cxn>
              <a:cxn ang="0">
                <a:pos x="4" y="0"/>
              </a:cxn>
              <a:cxn ang="0">
                <a:pos x="6" y="0"/>
              </a:cxn>
              <a:cxn ang="0">
                <a:pos x="14" y="2"/>
              </a:cxn>
              <a:cxn ang="0">
                <a:pos x="20" y="4"/>
              </a:cxn>
              <a:cxn ang="0">
                <a:pos x="24" y="8"/>
              </a:cxn>
              <a:cxn ang="0">
                <a:pos x="24" y="10"/>
              </a:cxn>
              <a:cxn ang="0">
                <a:pos x="26" y="10"/>
              </a:cxn>
              <a:cxn ang="0">
                <a:pos x="24" y="12"/>
              </a:cxn>
              <a:cxn ang="0">
                <a:pos x="22" y="14"/>
              </a:cxn>
              <a:cxn ang="0">
                <a:pos x="20" y="14"/>
              </a:cxn>
              <a:cxn ang="0">
                <a:pos x="16" y="18"/>
              </a:cxn>
              <a:cxn ang="0">
                <a:pos x="12" y="22"/>
              </a:cxn>
              <a:cxn ang="0">
                <a:pos x="10" y="22"/>
              </a:cxn>
              <a:cxn ang="0">
                <a:pos x="10" y="24"/>
              </a:cxn>
            </a:cxnLst>
            <a:rect l="0" t="0" r="r" b="b"/>
            <a:pathLst>
              <a:path w="26" h="24">
                <a:moveTo>
                  <a:pt x="10" y="24"/>
                </a:moveTo>
                <a:lnTo>
                  <a:pt x="10" y="20"/>
                </a:lnTo>
                <a:lnTo>
                  <a:pt x="10" y="18"/>
                </a:lnTo>
                <a:lnTo>
                  <a:pt x="8" y="18"/>
                </a:lnTo>
                <a:lnTo>
                  <a:pt x="8" y="16"/>
                </a:lnTo>
                <a:lnTo>
                  <a:pt x="6" y="16"/>
                </a:lnTo>
                <a:lnTo>
                  <a:pt x="4" y="16"/>
                </a:lnTo>
                <a:lnTo>
                  <a:pt x="4" y="18"/>
                </a:lnTo>
                <a:lnTo>
                  <a:pt x="2" y="18"/>
                </a:lnTo>
                <a:lnTo>
                  <a:pt x="0" y="18"/>
                </a:lnTo>
                <a:lnTo>
                  <a:pt x="0" y="16"/>
                </a:lnTo>
                <a:lnTo>
                  <a:pt x="0" y="14"/>
                </a:lnTo>
                <a:lnTo>
                  <a:pt x="0" y="12"/>
                </a:lnTo>
                <a:lnTo>
                  <a:pt x="0" y="2"/>
                </a:lnTo>
                <a:lnTo>
                  <a:pt x="2" y="0"/>
                </a:lnTo>
                <a:lnTo>
                  <a:pt x="4" y="0"/>
                </a:lnTo>
                <a:lnTo>
                  <a:pt x="6" y="0"/>
                </a:lnTo>
                <a:lnTo>
                  <a:pt x="14" y="2"/>
                </a:lnTo>
                <a:lnTo>
                  <a:pt x="20" y="4"/>
                </a:lnTo>
                <a:lnTo>
                  <a:pt x="24" y="8"/>
                </a:lnTo>
                <a:lnTo>
                  <a:pt x="24" y="10"/>
                </a:lnTo>
                <a:lnTo>
                  <a:pt x="26" y="10"/>
                </a:lnTo>
                <a:lnTo>
                  <a:pt x="24" y="12"/>
                </a:lnTo>
                <a:lnTo>
                  <a:pt x="22" y="14"/>
                </a:lnTo>
                <a:lnTo>
                  <a:pt x="20" y="14"/>
                </a:lnTo>
                <a:lnTo>
                  <a:pt x="16" y="18"/>
                </a:lnTo>
                <a:lnTo>
                  <a:pt x="12" y="22"/>
                </a:lnTo>
                <a:lnTo>
                  <a:pt x="10" y="22"/>
                </a:lnTo>
                <a:lnTo>
                  <a:pt x="10" y="24"/>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73" name="Group 2832"/>
          <p:cNvGrpSpPr>
            <a:grpSpLocks/>
          </p:cNvGrpSpPr>
          <p:nvPr/>
        </p:nvGrpSpPr>
        <p:grpSpPr bwMode="auto">
          <a:xfrm>
            <a:off x="4473636" y="4899608"/>
            <a:ext cx="1166699" cy="1420715"/>
            <a:chOff x="2096" y="2528"/>
            <a:chExt cx="790" cy="962"/>
          </a:xfrm>
          <a:solidFill>
            <a:srgbClr val="B9B9B9"/>
          </a:solidFill>
        </p:grpSpPr>
        <p:sp>
          <p:nvSpPr>
            <p:cNvPr id="701" name="Freeform 2799"/>
            <p:cNvSpPr>
              <a:spLocks/>
            </p:cNvSpPr>
            <p:nvPr/>
          </p:nvSpPr>
          <p:spPr bwMode="auto">
            <a:xfrm>
              <a:off x="2096" y="2528"/>
              <a:ext cx="790" cy="844"/>
            </a:xfrm>
            <a:custGeom>
              <a:avLst/>
              <a:gdLst/>
              <a:ahLst/>
              <a:cxnLst>
                <a:cxn ang="0">
                  <a:pos x="440" y="322"/>
                </a:cxn>
                <a:cxn ang="0">
                  <a:pos x="470" y="392"/>
                </a:cxn>
                <a:cxn ang="0">
                  <a:pos x="522" y="454"/>
                </a:cxn>
                <a:cxn ang="0">
                  <a:pos x="552" y="476"/>
                </a:cxn>
                <a:cxn ang="0">
                  <a:pos x="614" y="474"/>
                </a:cxn>
                <a:cxn ang="0">
                  <a:pos x="604" y="508"/>
                </a:cxn>
                <a:cxn ang="0">
                  <a:pos x="694" y="556"/>
                </a:cxn>
                <a:cxn ang="0">
                  <a:pos x="762" y="604"/>
                </a:cxn>
                <a:cxn ang="0">
                  <a:pos x="782" y="666"/>
                </a:cxn>
                <a:cxn ang="0">
                  <a:pos x="754" y="648"/>
                </a:cxn>
                <a:cxn ang="0">
                  <a:pos x="700" y="610"/>
                </a:cxn>
                <a:cxn ang="0">
                  <a:pos x="668" y="624"/>
                </a:cxn>
                <a:cxn ang="0">
                  <a:pos x="648" y="674"/>
                </a:cxn>
                <a:cxn ang="0">
                  <a:pos x="692" y="714"/>
                </a:cxn>
                <a:cxn ang="0">
                  <a:pos x="674" y="752"/>
                </a:cxn>
                <a:cxn ang="0">
                  <a:pos x="656" y="796"/>
                </a:cxn>
                <a:cxn ang="0">
                  <a:pos x="624" y="836"/>
                </a:cxn>
                <a:cxn ang="0">
                  <a:pos x="590" y="840"/>
                </a:cxn>
                <a:cxn ang="0">
                  <a:pos x="608" y="794"/>
                </a:cxn>
                <a:cxn ang="0">
                  <a:pos x="624" y="770"/>
                </a:cxn>
                <a:cxn ang="0">
                  <a:pos x="618" y="724"/>
                </a:cxn>
                <a:cxn ang="0">
                  <a:pos x="594" y="658"/>
                </a:cxn>
                <a:cxn ang="0">
                  <a:pos x="552" y="638"/>
                </a:cxn>
                <a:cxn ang="0">
                  <a:pos x="516" y="594"/>
                </a:cxn>
                <a:cxn ang="0">
                  <a:pos x="476" y="574"/>
                </a:cxn>
                <a:cxn ang="0">
                  <a:pos x="444" y="540"/>
                </a:cxn>
                <a:cxn ang="0">
                  <a:pos x="396" y="524"/>
                </a:cxn>
                <a:cxn ang="0">
                  <a:pos x="346" y="474"/>
                </a:cxn>
                <a:cxn ang="0">
                  <a:pos x="304" y="432"/>
                </a:cxn>
                <a:cxn ang="0">
                  <a:pos x="282" y="424"/>
                </a:cxn>
                <a:cxn ang="0">
                  <a:pos x="252" y="376"/>
                </a:cxn>
                <a:cxn ang="0">
                  <a:pos x="230" y="314"/>
                </a:cxn>
                <a:cxn ang="0">
                  <a:pos x="214" y="272"/>
                </a:cxn>
                <a:cxn ang="0">
                  <a:pos x="108" y="252"/>
                </a:cxn>
                <a:cxn ang="0">
                  <a:pos x="56" y="284"/>
                </a:cxn>
                <a:cxn ang="0">
                  <a:pos x="56" y="248"/>
                </a:cxn>
                <a:cxn ang="0">
                  <a:pos x="24" y="192"/>
                </a:cxn>
                <a:cxn ang="0">
                  <a:pos x="4" y="152"/>
                </a:cxn>
                <a:cxn ang="0">
                  <a:pos x="18" y="96"/>
                </a:cxn>
                <a:cxn ang="0">
                  <a:pos x="54" y="86"/>
                </a:cxn>
                <a:cxn ang="0">
                  <a:pos x="90" y="82"/>
                </a:cxn>
                <a:cxn ang="0">
                  <a:pos x="128" y="56"/>
                </a:cxn>
                <a:cxn ang="0">
                  <a:pos x="148" y="88"/>
                </a:cxn>
                <a:cxn ang="0">
                  <a:pos x="162" y="82"/>
                </a:cxn>
                <a:cxn ang="0">
                  <a:pos x="186" y="44"/>
                </a:cxn>
                <a:cxn ang="0">
                  <a:pos x="220" y="58"/>
                </a:cxn>
                <a:cxn ang="0">
                  <a:pos x="230" y="44"/>
                </a:cxn>
                <a:cxn ang="0">
                  <a:pos x="256" y="36"/>
                </a:cxn>
                <a:cxn ang="0">
                  <a:pos x="284" y="26"/>
                </a:cxn>
                <a:cxn ang="0">
                  <a:pos x="360" y="2"/>
                </a:cxn>
                <a:cxn ang="0">
                  <a:pos x="378" y="34"/>
                </a:cxn>
                <a:cxn ang="0">
                  <a:pos x="454" y="52"/>
                </a:cxn>
                <a:cxn ang="0">
                  <a:pos x="458" y="86"/>
                </a:cxn>
                <a:cxn ang="0">
                  <a:pos x="454" y="110"/>
                </a:cxn>
                <a:cxn ang="0">
                  <a:pos x="464" y="138"/>
                </a:cxn>
                <a:cxn ang="0">
                  <a:pos x="440" y="128"/>
                </a:cxn>
                <a:cxn ang="0">
                  <a:pos x="400" y="140"/>
                </a:cxn>
                <a:cxn ang="0">
                  <a:pos x="358" y="164"/>
                </a:cxn>
                <a:cxn ang="0">
                  <a:pos x="374" y="202"/>
                </a:cxn>
                <a:cxn ang="0">
                  <a:pos x="372" y="266"/>
                </a:cxn>
              </a:cxnLst>
              <a:rect l="0" t="0" r="r" b="b"/>
              <a:pathLst>
                <a:path w="790" h="844">
                  <a:moveTo>
                    <a:pt x="394" y="286"/>
                  </a:moveTo>
                  <a:lnTo>
                    <a:pt x="394" y="288"/>
                  </a:lnTo>
                  <a:lnTo>
                    <a:pt x="398" y="288"/>
                  </a:lnTo>
                  <a:lnTo>
                    <a:pt x="404" y="292"/>
                  </a:lnTo>
                  <a:lnTo>
                    <a:pt x="414" y="300"/>
                  </a:lnTo>
                  <a:lnTo>
                    <a:pt x="418" y="304"/>
                  </a:lnTo>
                  <a:lnTo>
                    <a:pt x="420" y="308"/>
                  </a:lnTo>
                  <a:lnTo>
                    <a:pt x="422" y="310"/>
                  </a:lnTo>
                  <a:lnTo>
                    <a:pt x="428" y="314"/>
                  </a:lnTo>
                  <a:lnTo>
                    <a:pt x="432" y="318"/>
                  </a:lnTo>
                  <a:lnTo>
                    <a:pt x="438" y="320"/>
                  </a:lnTo>
                  <a:lnTo>
                    <a:pt x="440" y="322"/>
                  </a:lnTo>
                  <a:lnTo>
                    <a:pt x="444" y="320"/>
                  </a:lnTo>
                  <a:lnTo>
                    <a:pt x="446" y="322"/>
                  </a:lnTo>
                  <a:lnTo>
                    <a:pt x="448" y="326"/>
                  </a:lnTo>
                  <a:lnTo>
                    <a:pt x="450" y="328"/>
                  </a:lnTo>
                  <a:lnTo>
                    <a:pt x="452" y="332"/>
                  </a:lnTo>
                  <a:lnTo>
                    <a:pt x="456" y="346"/>
                  </a:lnTo>
                  <a:lnTo>
                    <a:pt x="464" y="370"/>
                  </a:lnTo>
                  <a:lnTo>
                    <a:pt x="466" y="376"/>
                  </a:lnTo>
                  <a:lnTo>
                    <a:pt x="466" y="380"/>
                  </a:lnTo>
                  <a:lnTo>
                    <a:pt x="468" y="384"/>
                  </a:lnTo>
                  <a:lnTo>
                    <a:pt x="468" y="386"/>
                  </a:lnTo>
                  <a:lnTo>
                    <a:pt x="470" y="392"/>
                  </a:lnTo>
                  <a:lnTo>
                    <a:pt x="470" y="396"/>
                  </a:lnTo>
                  <a:lnTo>
                    <a:pt x="474" y="404"/>
                  </a:lnTo>
                  <a:lnTo>
                    <a:pt x="476" y="408"/>
                  </a:lnTo>
                  <a:lnTo>
                    <a:pt x="478" y="412"/>
                  </a:lnTo>
                  <a:lnTo>
                    <a:pt x="480" y="414"/>
                  </a:lnTo>
                  <a:lnTo>
                    <a:pt x="484" y="420"/>
                  </a:lnTo>
                  <a:lnTo>
                    <a:pt x="488" y="426"/>
                  </a:lnTo>
                  <a:lnTo>
                    <a:pt x="508" y="446"/>
                  </a:lnTo>
                  <a:lnTo>
                    <a:pt x="512" y="450"/>
                  </a:lnTo>
                  <a:lnTo>
                    <a:pt x="516" y="450"/>
                  </a:lnTo>
                  <a:lnTo>
                    <a:pt x="518" y="452"/>
                  </a:lnTo>
                  <a:lnTo>
                    <a:pt x="522" y="454"/>
                  </a:lnTo>
                  <a:lnTo>
                    <a:pt x="522" y="458"/>
                  </a:lnTo>
                  <a:lnTo>
                    <a:pt x="524" y="460"/>
                  </a:lnTo>
                  <a:lnTo>
                    <a:pt x="524" y="462"/>
                  </a:lnTo>
                  <a:lnTo>
                    <a:pt x="526" y="462"/>
                  </a:lnTo>
                  <a:lnTo>
                    <a:pt x="530" y="466"/>
                  </a:lnTo>
                  <a:lnTo>
                    <a:pt x="534" y="468"/>
                  </a:lnTo>
                  <a:lnTo>
                    <a:pt x="538" y="468"/>
                  </a:lnTo>
                  <a:lnTo>
                    <a:pt x="542" y="470"/>
                  </a:lnTo>
                  <a:lnTo>
                    <a:pt x="544" y="472"/>
                  </a:lnTo>
                  <a:lnTo>
                    <a:pt x="546" y="474"/>
                  </a:lnTo>
                  <a:lnTo>
                    <a:pt x="550" y="476"/>
                  </a:lnTo>
                  <a:lnTo>
                    <a:pt x="552" y="476"/>
                  </a:lnTo>
                  <a:lnTo>
                    <a:pt x="554" y="478"/>
                  </a:lnTo>
                  <a:lnTo>
                    <a:pt x="568" y="478"/>
                  </a:lnTo>
                  <a:lnTo>
                    <a:pt x="570" y="478"/>
                  </a:lnTo>
                  <a:lnTo>
                    <a:pt x="574" y="478"/>
                  </a:lnTo>
                  <a:lnTo>
                    <a:pt x="576" y="478"/>
                  </a:lnTo>
                  <a:lnTo>
                    <a:pt x="584" y="476"/>
                  </a:lnTo>
                  <a:lnTo>
                    <a:pt x="588" y="478"/>
                  </a:lnTo>
                  <a:lnTo>
                    <a:pt x="594" y="478"/>
                  </a:lnTo>
                  <a:lnTo>
                    <a:pt x="600" y="476"/>
                  </a:lnTo>
                  <a:lnTo>
                    <a:pt x="604" y="476"/>
                  </a:lnTo>
                  <a:lnTo>
                    <a:pt x="612" y="474"/>
                  </a:lnTo>
                  <a:lnTo>
                    <a:pt x="614" y="474"/>
                  </a:lnTo>
                  <a:lnTo>
                    <a:pt x="616" y="476"/>
                  </a:lnTo>
                  <a:lnTo>
                    <a:pt x="620" y="478"/>
                  </a:lnTo>
                  <a:lnTo>
                    <a:pt x="624" y="486"/>
                  </a:lnTo>
                  <a:lnTo>
                    <a:pt x="624" y="488"/>
                  </a:lnTo>
                  <a:lnTo>
                    <a:pt x="622" y="492"/>
                  </a:lnTo>
                  <a:lnTo>
                    <a:pt x="620" y="494"/>
                  </a:lnTo>
                  <a:lnTo>
                    <a:pt x="612" y="498"/>
                  </a:lnTo>
                  <a:lnTo>
                    <a:pt x="610" y="502"/>
                  </a:lnTo>
                  <a:lnTo>
                    <a:pt x="606" y="502"/>
                  </a:lnTo>
                  <a:lnTo>
                    <a:pt x="606" y="504"/>
                  </a:lnTo>
                  <a:lnTo>
                    <a:pt x="604" y="506"/>
                  </a:lnTo>
                  <a:lnTo>
                    <a:pt x="604" y="508"/>
                  </a:lnTo>
                  <a:lnTo>
                    <a:pt x="604" y="510"/>
                  </a:lnTo>
                  <a:lnTo>
                    <a:pt x="604" y="512"/>
                  </a:lnTo>
                  <a:lnTo>
                    <a:pt x="606" y="516"/>
                  </a:lnTo>
                  <a:lnTo>
                    <a:pt x="610" y="520"/>
                  </a:lnTo>
                  <a:lnTo>
                    <a:pt x="614" y="524"/>
                  </a:lnTo>
                  <a:lnTo>
                    <a:pt x="618" y="524"/>
                  </a:lnTo>
                  <a:lnTo>
                    <a:pt x="624" y="528"/>
                  </a:lnTo>
                  <a:lnTo>
                    <a:pt x="646" y="538"/>
                  </a:lnTo>
                  <a:lnTo>
                    <a:pt x="658" y="544"/>
                  </a:lnTo>
                  <a:lnTo>
                    <a:pt x="666" y="546"/>
                  </a:lnTo>
                  <a:lnTo>
                    <a:pt x="684" y="552"/>
                  </a:lnTo>
                  <a:lnTo>
                    <a:pt x="694" y="556"/>
                  </a:lnTo>
                  <a:lnTo>
                    <a:pt x="700" y="560"/>
                  </a:lnTo>
                  <a:lnTo>
                    <a:pt x="702" y="562"/>
                  </a:lnTo>
                  <a:lnTo>
                    <a:pt x="704" y="564"/>
                  </a:lnTo>
                  <a:lnTo>
                    <a:pt x="714" y="574"/>
                  </a:lnTo>
                  <a:lnTo>
                    <a:pt x="716" y="576"/>
                  </a:lnTo>
                  <a:lnTo>
                    <a:pt x="734" y="584"/>
                  </a:lnTo>
                  <a:lnTo>
                    <a:pt x="748" y="588"/>
                  </a:lnTo>
                  <a:lnTo>
                    <a:pt x="752" y="590"/>
                  </a:lnTo>
                  <a:lnTo>
                    <a:pt x="754" y="594"/>
                  </a:lnTo>
                  <a:lnTo>
                    <a:pt x="754" y="598"/>
                  </a:lnTo>
                  <a:lnTo>
                    <a:pt x="758" y="602"/>
                  </a:lnTo>
                  <a:lnTo>
                    <a:pt x="762" y="604"/>
                  </a:lnTo>
                  <a:lnTo>
                    <a:pt x="772" y="612"/>
                  </a:lnTo>
                  <a:lnTo>
                    <a:pt x="782" y="622"/>
                  </a:lnTo>
                  <a:lnTo>
                    <a:pt x="784" y="624"/>
                  </a:lnTo>
                  <a:lnTo>
                    <a:pt x="786" y="628"/>
                  </a:lnTo>
                  <a:lnTo>
                    <a:pt x="790" y="636"/>
                  </a:lnTo>
                  <a:lnTo>
                    <a:pt x="790" y="638"/>
                  </a:lnTo>
                  <a:lnTo>
                    <a:pt x="786" y="644"/>
                  </a:lnTo>
                  <a:lnTo>
                    <a:pt x="784" y="646"/>
                  </a:lnTo>
                  <a:lnTo>
                    <a:pt x="782" y="650"/>
                  </a:lnTo>
                  <a:lnTo>
                    <a:pt x="782" y="654"/>
                  </a:lnTo>
                  <a:lnTo>
                    <a:pt x="782" y="658"/>
                  </a:lnTo>
                  <a:lnTo>
                    <a:pt x="782" y="666"/>
                  </a:lnTo>
                  <a:lnTo>
                    <a:pt x="780" y="668"/>
                  </a:lnTo>
                  <a:lnTo>
                    <a:pt x="778" y="668"/>
                  </a:lnTo>
                  <a:lnTo>
                    <a:pt x="776" y="666"/>
                  </a:lnTo>
                  <a:lnTo>
                    <a:pt x="772" y="664"/>
                  </a:lnTo>
                  <a:lnTo>
                    <a:pt x="770" y="664"/>
                  </a:lnTo>
                  <a:lnTo>
                    <a:pt x="768" y="664"/>
                  </a:lnTo>
                  <a:lnTo>
                    <a:pt x="766" y="664"/>
                  </a:lnTo>
                  <a:lnTo>
                    <a:pt x="766" y="662"/>
                  </a:lnTo>
                  <a:lnTo>
                    <a:pt x="760" y="658"/>
                  </a:lnTo>
                  <a:lnTo>
                    <a:pt x="758" y="656"/>
                  </a:lnTo>
                  <a:lnTo>
                    <a:pt x="752" y="650"/>
                  </a:lnTo>
                  <a:lnTo>
                    <a:pt x="754" y="648"/>
                  </a:lnTo>
                  <a:lnTo>
                    <a:pt x="754" y="640"/>
                  </a:lnTo>
                  <a:lnTo>
                    <a:pt x="746" y="626"/>
                  </a:lnTo>
                  <a:lnTo>
                    <a:pt x="742" y="624"/>
                  </a:lnTo>
                  <a:lnTo>
                    <a:pt x="738" y="624"/>
                  </a:lnTo>
                  <a:lnTo>
                    <a:pt x="736" y="622"/>
                  </a:lnTo>
                  <a:lnTo>
                    <a:pt x="730" y="622"/>
                  </a:lnTo>
                  <a:lnTo>
                    <a:pt x="728" y="622"/>
                  </a:lnTo>
                  <a:lnTo>
                    <a:pt x="720" y="624"/>
                  </a:lnTo>
                  <a:lnTo>
                    <a:pt x="718" y="624"/>
                  </a:lnTo>
                  <a:lnTo>
                    <a:pt x="710" y="622"/>
                  </a:lnTo>
                  <a:lnTo>
                    <a:pt x="696" y="614"/>
                  </a:lnTo>
                  <a:lnTo>
                    <a:pt x="700" y="610"/>
                  </a:lnTo>
                  <a:lnTo>
                    <a:pt x="700" y="608"/>
                  </a:lnTo>
                  <a:lnTo>
                    <a:pt x="702" y="608"/>
                  </a:lnTo>
                  <a:lnTo>
                    <a:pt x="704" y="606"/>
                  </a:lnTo>
                  <a:lnTo>
                    <a:pt x="688" y="604"/>
                  </a:lnTo>
                  <a:lnTo>
                    <a:pt x="686" y="604"/>
                  </a:lnTo>
                  <a:lnTo>
                    <a:pt x="684" y="606"/>
                  </a:lnTo>
                  <a:lnTo>
                    <a:pt x="682" y="606"/>
                  </a:lnTo>
                  <a:lnTo>
                    <a:pt x="678" y="610"/>
                  </a:lnTo>
                  <a:lnTo>
                    <a:pt x="676" y="610"/>
                  </a:lnTo>
                  <a:lnTo>
                    <a:pt x="674" y="614"/>
                  </a:lnTo>
                  <a:lnTo>
                    <a:pt x="672" y="616"/>
                  </a:lnTo>
                  <a:lnTo>
                    <a:pt x="668" y="624"/>
                  </a:lnTo>
                  <a:lnTo>
                    <a:pt x="666" y="630"/>
                  </a:lnTo>
                  <a:lnTo>
                    <a:pt x="664" y="632"/>
                  </a:lnTo>
                  <a:lnTo>
                    <a:pt x="662" y="638"/>
                  </a:lnTo>
                  <a:lnTo>
                    <a:pt x="658" y="642"/>
                  </a:lnTo>
                  <a:lnTo>
                    <a:pt x="656" y="644"/>
                  </a:lnTo>
                  <a:lnTo>
                    <a:pt x="654" y="648"/>
                  </a:lnTo>
                  <a:lnTo>
                    <a:pt x="656" y="652"/>
                  </a:lnTo>
                  <a:lnTo>
                    <a:pt x="652" y="662"/>
                  </a:lnTo>
                  <a:lnTo>
                    <a:pt x="650" y="664"/>
                  </a:lnTo>
                  <a:lnTo>
                    <a:pt x="648" y="668"/>
                  </a:lnTo>
                  <a:lnTo>
                    <a:pt x="648" y="672"/>
                  </a:lnTo>
                  <a:lnTo>
                    <a:pt x="648" y="674"/>
                  </a:lnTo>
                  <a:lnTo>
                    <a:pt x="648" y="676"/>
                  </a:lnTo>
                  <a:lnTo>
                    <a:pt x="650" y="684"/>
                  </a:lnTo>
                  <a:lnTo>
                    <a:pt x="652" y="686"/>
                  </a:lnTo>
                  <a:lnTo>
                    <a:pt x="656" y="686"/>
                  </a:lnTo>
                  <a:lnTo>
                    <a:pt x="658" y="688"/>
                  </a:lnTo>
                  <a:lnTo>
                    <a:pt x="666" y="688"/>
                  </a:lnTo>
                  <a:lnTo>
                    <a:pt x="672" y="692"/>
                  </a:lnTo>
                  <a:lnTo>
                    <a:pt x="682" y="698"/>
                  </a:lnTo>
                  <a:lnTo>
                    <a:pt x="688" y="700"/>
                  </a:lnTo>
                  <a:lnTo>
                    <a:pt x="696" y="708"/>
                  </a:lnTo>
                  <a:lnTo>
                    <a:pt x="694" y="710"/>
                  </a:lnTo>
                  <a:lnTo>
                    <a:pt x="692" y="714"/>
                  </a:lnTo>
                  <a:lnTo>
                    <a:pt x="692" y="720"/>
                  </a:lnTo>
                  <a:lnTo>
                    <a:pt x="694" y="734"/>
                  </a:lnTo>
                  <a:lnTo>
                    <a:pt x="696" y="738"/>
                  </a:lnTo>
                  <a:lnTo>
                    <a:pt x="696" y="740"/>
                  </a:lnTo>
                  <a:lnTo>
                    <a:pt x="698" y="744"/>
                  </a:lnTo>
                  <a:lnTo>
                    <a:pt x="698" y="746"/>
                  </a:lnTo>
                  <a:lnTo>
                    <a:pt x="694" y="750"/>
                  </a:lnTo>
                  <a:lnTo>
                    <a:pt x="692" y="752"/>
                  </a:lnTo>
                  <a:lnTo>
                    <a:pt x="684" y="750"/>
                  </a:lnTo>
                  <a:lnTo>
                    <a:pt x="682" y="750"/>
                  </a:lnTo>
                  <a:lnTo>
                    <a:pt x="680" y="750"/>
                  </a:lnTo>
                  <a:lnTo>
                    <a:pt x="674" y="752"/>
                  </a:lnTo>
                  <a:lnTo>
                    <a:pt x="666" y="756"/>
                  </a:lnTo>
                  <a:lnTo>
                    <a:pt x="658" y="762"/>
                  </a:lnTo>
                  <a:lnTo>
                    <a:pt x="656" y="762"/>
                  </a:lnTo>
                  <a:lnTo>
                    <a:pt x="654" y="764"/>
                  </a:lnTo>
                  <a:lnTo>
                    <a:pt x="654" y="768"/>
                  </a:lnTo>
                  <a:lnTo>
                    <a:pt x="652" y="770"/>
                  </a:lnTo>
                  <a:lnTo>
                    <a:pt x="654" y="776"/>
                  </a:lnTo>
                  <a:lnTo>
                    <a:pt x="654" y="780"/>
                  </a:lnTo>
                  <a:lnTo>
                    <a:pt x="656" y="786"/>
                  </a:lnTo>
                  <a:lnTo>
                    <a:pt x="656" y="788"/>
                  </a:lnTo>
                  <a:lnTo>
                    <a:pt x="656" y="794"/>
                  </a:lnTo>
                  <a:lnTo>
                    <a:pt x="656" y="796"/>
                  </a:lnTo>
                  <a:lnTo>
                    <a:pt x="654" y="800"/>
                  </a:lnTo>
                  <a:lnTo>
                    <a:pt x="652" y="802"/>
                  </a:lnTo>
                  <a:lnTo>
                    <a:pt x="650" y="804"/>
                  </a:lnTo>
                  <a:lnTo>
                    <a:pt x="648" y="804"/>
                  </a:lnTo>
                  <a:lnTo>
                    <a:pt x="646" y="806"/>
                  </a:lnTo>
                  <a:lnTo>
                    <a:pt x="644" y="806"/>
                  </a:lnTo>
                  <a:lnTo>
                    <a:pt x="640" y="808"/>
                  </a:lnTo>
                  <a:lnTo>
                    <a:pt x="638" y="810"/>
                  </a:lnTo>
                  <a:lnTo>
                    <a:pt x="626" y="824"/>
                  </a:lnTo>
                  <a:lnTo>
                    <a:pt x="626" y="830"/>
                  </a:lnTo>
                  <a:lnTo>
                    <a:pt x="626" y="832"/>
                  </a:lnTo>
                  <a:lnTo>
                    <a:pt x="624" y="836"/>
                  </a:lnTo>
                  <a:lnTo>
                    <a:pt x="624" y="840"/>
                  </a:lnTo>
                  <a:lnTo>
                    <a:pt x="622" y="842"/>
                  </a:lnTo>
                  <a:lnTo>
                    <a:pt x="620" y="844"/>
                  </a:lnTo>
                  <a:lnTo>
                    <a:pt x="614" y="844"/>
                  </a:lnTo>
                  <a:lnTo>
                    <a:pt x="612" y="844"/>
                  </a:lnTo>
                  <a:lnTo>
                    <a:pt x="608" y="844"/>
                  </a:lnTo>
                  <a:lnTo>
                    <a:pt x="604" y="844"/>
                  </a:lnTo>
                  <a:lnTo>
                    <a:pt x="600" y="844"/>
                  </a:lnTo>
                  <a:lnTo>
                    <a:pt x="598" y="844"/>
                  </a:lnTo>
                  <a:lnTo>
                    <a:pt x="596" y="844"/>
                  </a:lnTo>
                  <a:lnTo>
                    <a:pt x="594" y="844"/>
                  </a:lnTo>
                  <a:lnTo>
                    <a:pt x="590" y="840"/>
                  </a:lnTo>
                  <a:lnTo>
                    <a:pt x="588" y="836"/>
                  </a:lnTo>
                  <a:lnTo>
                    <a:pt x="588" y="832"/>
                  </a:lnTo>
                  <a:lnTo>
                    <a:pt x="588" y="820"/>
                  </a:lnTo>
                  <a:lnTo>
                    <a:pt x="588" y="816"/>
                  </a:lnTo>
                  <a:lnTo>
                    <a:pt x="590" y="816"/>
                  </a:lnTo>
                  <a:lnTo>
                    <a:pt x="594" y="814"/>
                  </a:lnTo>
                  <a:lnTo>
                    <a:pt x="596" y="814"/>
                  </a:lnTo>
                  <a:lnTo>
                    <a:pt x="596" y="812"/>
                  </a:lnTo>
                  <a:lnTo>
                    <a:pt x="600" y="812"/>
                  </a:lnTo>
                  <a:lnTo>
                    <a:pt x="600" y="810"/>
                  </a:lnTo>
                  <a:lnTo>
                    <a:pt x="606" y="796"/>
                  </a:lnTo>
                  <a:lnTo>
                    <a:pt x="608" y="794"/>
                  </a:lnTo>
                  <a:lnTo>
                    <a:pt x="608" y="788"/>
                  </a:lnTo>
                  <a:lnTo>
                    <a:pt x="608" y="786"/>
                  </a:lnTo>
                  <a:lnTo>
                    <a:pt x="606" y="784"/>
                  </a:lnTo>
                  <a:lnTo>
                    <a:pt x="604" y="782"/>
                  </a:lnTo>
                  <a:lnTo>
                    <a:pt x="604" y="780"/>
                  </a:lnTo>
                  <a:lnTo>
                    <a:pt x="602" y="780"/>
                  </a:lnTo>
                  <a:lnTo>
                    <a:pt x="604" y="776"/>
                  </a:lnTo>
                  <a:lnTo>
                    <a:pt x="612" y="770"/>
                  </a:lnTo>
                  <a:lnTo>
                    <a:pt x="616" y="770"/>
                  </a:lnTo>
                  <a:lnTo>
                    <a:pt x="618" y="770"/>
                  </a:lnTo>
                  <a:lnTo>
                    <a:pt x="622" y="772"/>
                  </a:lnTo>
                  <a:lnTo>
                    <a:pt x="624" y="770"/>
                  </a:lnTo>
                  <a:lnTo>
                    <a:pt x="626" y="768"/>
                  </a:lnTo>
                  <a:lnTo>
                    <a:pt x="628" y="766"/>
                  </a:lnTo>
                  <a:lnTo>
                    <a:pt x="630" y="764"/>
                  </a:lnTo>
                  <a:lnTo>
                    <a:pt x="630" y="760"/>
                  </a:lnTo>
                  <a:lnTo>
                    <a:pt x="630" y="758"/>
                  </a:lnTo>
                  <a:lnTo>
                    <a:pt x="630" y="752"/>
                  </a:lnTo>
                  <a:lnTo>
                    <a:pt x="628" y="750"/>
                  </a:lnTo>
                  <a:lnTo>
                    <a:pt x="626" y="750"/>
                  </a:lnTo>
                  <a:lnTo>
                    <a:pt x="622" y="742"/>
                  </a:lnTo>
                  <a:lnTo>
                    <a:pt x="618" y="734"/>
                  </a:lnTo>
                  <a:lnTo>
                    <a:pt x="618" y="728"/>
                  </a:lnTo>
                  <a:lnTo>
                    <a:pt x="618" y="724"/>
                  </a:lnTo>
                  <a:lnTo>
                    <a:pt x="618" y="722"/>
                  </a:lnTo>
                  <a:lnTo>
                    <a:pt x="616" y="714"/>
                  </a:lnTo>
                  <a:lnTo>
                    <a:pt x="612" y="704"/>
                  </a:lnTo>
                  <a:lnTo>
                    <a:pt x="608" y="698"/>
                  </a:lnTo>
                  <a:lnTo>
                    <a:pt x="606" y="696"/>
                  </a:lnTo>
                  <a:lnTo>
                    <a:pt x="602" y="688"/>
                  </a:lnTo>
                  <a:lnTo>
                    <a:pt x="600" y="684"/>
                  </a:lnTo>
                  <a:lnTo>
                    <a:pt x="598" y="680"/>
                  </a:lnTo>
                  <a:lnTo>
                    <a:pt x="598" y="672"/>
                  </a:lnTo>
                  <a:lnTo>
                    <a:pt x="598" y="666"/>
                  </a:lnTo>
                  <a:lnTo>
                    <a:pt x="596" y="660"/>
                  </a:lnTo>
                  <a:lnTo>
                    <a:pt x="594" y="658"/>
                  </a:lnTo>
                  <a:lnTo>
                    <a:pt x="592" y="654"/>
                  </a:lnTo>
                  <a:lnTo>
                    <a:pt x="588" y="650"/>
                  </a:lnTo>
                  <a:lnTo>
                    <a:pt x="586" y="648"/>
                  </a:lnTo>
                  <a:lnTo>
                    <a:pt x="584" y="646"/>
                  </a:lnTo>
                  <a:lnTo>
                    <a:pt x="582" y="646"/>
                  </a:lnTo>
                  <a:lnTo>
                    <a:pt x="578" y="646"/>
                  </a:lnTo>
                  <a:lnTo>
                    <a:pt x="574" y="650"/>
                  </a:lnTo>
                  <a:lnTo>
                    <a:pt x="572" y="654"/>
                  </a:lnTo>
                  <a:lnTo>
                    <a:pt x="568" y="654"/>
                  </a:lnTo>
                  <a:lnTo>
                    <a:pt x="564" y="650"/>
                  </a:lnTo>
                  <a:lnTo>
                    <a:pt x="560" y="646"/>
                  </a:lnTo>
                  <a:lnTo>
                    <a:pt x="552" y="638"/>
                  </a:lnTo>
                  <a:lnTo>
                    <a:pt x="550" y="638"/>
                  </a:lnTo>
                  <a:lnTo>
                    <a:pt x="544" y="636"/>
                  </a:lnTo>
                  <a:lnTo>
                    <a:pt x="538" y="632"/>
                  </a:lnTo>
                  <a:lnTo>
                    <a:pt x="538" y="628"/>
                  </a:lnTo>
                  <a:lnTo>
                    <a:pt x="540" y="622"/>
                  </a:lnTo>
                  <a:lnTo>
                    <a:pt x="542" y="620"/>
                  </a:lnTo>
                  <a:lnTo>
                    <a:pt x="542" y="618"/>
                  </a:lnTo>
                  <a:lnTo>
                    <a:pt x="540" y="612"/>
                  </a:lnTo>
                  <a:lnTo>
                    <a:pt x="534" y="602"/>
                  </a:lnTo>
                  <a:lnTo>
                    <a:pt x="530" y="596"/>
                  </a:lnTo>
                  <a:lnTo>
                    <a:pt x="526" y="592"/>
                  </a:lnTo>
                  <a:lnTo>
                    <a:pt x="516" y="594"/>
                  </a:lnTo>
                  <a:lnTo>
                    <a:pt x="508" y="596"/>
                  </a:lnTo>
                  <a:lnTo>
                    <a:pt x="500" y="598"/>
                  </a:lnTo>
                  <a:lnTo>
                    <a:pt x="498" y="596"/>
                  </a:lnTo>
                  <a:lnTo>
                    <a:pt x="500" y="594"/>
                  </a:lnTo>
                  <a:lnTo>
                    <a:pt x="506" y="588"/>
                  </a:lnTo>
                  <a:lnTo>
                    <a:pt x="504" y="584"/>
                  </a:lnTo>
                  <a:lnTo>
                    <a:pt x="494" y="578"/>
                  </a:lnTo>
                  <a:lnTo>
                    <a:pt x="492" y="576"/>
                  </a:lnTo>
                  <a:lnTo>
                    <a:pt x="488" y="578"/>
                  </a:lnTo>
                  <a:lnTo>
                    <a:pt x="484" y="580"/>
                  </a:lnTo>
                  <a:lnTo>
                    <a:pt x="478" y="578"/>
                  </a:lnTo>
                  <a:lnTo>
                    <a:pt x="476" y="574"/>
                  </a:lnTo>
                  <a:lnTo>
                    <a:pt x="474" y="570"/>
                  </a:lnTo>
                  <a:lnTo>
                    <a:pt x="474" y="568"/>
                  </a:lnTo>
                  <a:lnTo>
                    <a:pt x="472" y="564"/>
                  </a:lnTo>
                  <a:lnTo>
                    <a:pt x="466" y="554"/>
                  </a:lnTo>
                  <a:lnTo>
                    <a:pt x="462" y="548"/>
                  </a:lnTo>
                  <a:lnTo>
                    <a:pt x="460" y="544"/>
                  </a:lnTo>
                  <a:lnTo>
                    <a:pt x="458" y="542"/>
                  </a:lnTo>
                  <a:lnTo>
                    <a:pt x="456" y="540"/>
                  </a:lnTo>
                  <a:lnTo>
                    <a:pt x="452" y="538"/>
                  </a:lnTo>
                  <a:lnTo>
                    <a:pt x="448" y="538"/>
                  </a:lnTo>
                  <a:lnTo>
                    <a:pt x="446" y="538"/>
                  </a:lnTo>
                  <a:lnTo>
                    <a:pt x="444" y="540"/>
                  </a:lnTo>
                  <a:lnTo>
                    <a:pt x="424" y="534"/>
                  </a:lnTo>
                  <a:lnTo>
                    <a:pt x="420" y="534"/>
                  </a:lnTo>
                  <a:lnTo>
                    <a:pt x="416" y="536"/>
                  </a:lnTo>
                  <a:lnTo>
                    <a:pt x="414" y="536"/>
                  </a:lnTo>
                  <a:lnTo>
                    <a:pt x="412" y="538"/>
                  </a:lnTo>
                  <a:lnTo>
                    <a:pt x="406" y="536"/>
                  </a:lnTo>
                  <a:lnTo>
                    <a:pt x="404" y="532"/>
                  </a:lnTo>
                  <a:lnTo>
                    <a:pt x="404" y="530"/>
                  </a:lnTo>
                  <a:lnTo>
                    <a:pt x="400" y="528"/>
                  </a:lnTo>
                  <a:lnTo>
                    <a:pt x="400" y="526"/>
                  </a:lnTo>
                  <a:lnTo>
                    <a:pt x="398" y="524"/>
                  </a:lnTo>
                  <a:lnTo>
                    <a:pt x="396" y="524"/>
                  </a:lnTo>
                  <a:lnTo>
                    <a:pt x="394" y="522"/>
                  </a:lnTo>
                  <a:lnTo>
                    <a:pt x="380" y="518"/>
                  </a:lnTo>
                  <a:lnTo>
                    <a:pt x="376" y="512"/>
                  </a:lnTo>
                  <a:lnTo>
                    <a:pt x="372" y="506"/>
                  </a:lnTo>
                  <a:lnTo>
                    <a:pt x="368" y="502"/>
                  </a:lnTo>
                  <a:lnTo>
                    <a:pt x="366" y="502"/>
                  </a:lnTo>
                  <a:lnTo>
                    <a:pt x="360" y="494"/>
                  </a:lnTo>
                  <a:lnTo>
                    <a:pt x="352" y="486"/>
                  </a:lnTo>
                  <a:lnTo>
                    <a:pt x="350" y="484"/>
                  </a:lnTo>
                  <a:lnTo>
                    <a:pt x="350" y="478"/>
                  </a:lnTo>
                  <a:lnTo>
                    <a:pt x="348" y="476"/>
                  </a:lnTo>
                  <a:lnTo>
                    <a:pt x="346" y="474"/>
                  </a:lnTo>
                  <a:lnTo>
                    <a:pt x="338" y="468"/>
                  </a:lnTo>
                  <a:lnTo>
                    <a:pt x="332" y="462"/>
                  </a:lnTo>
                  <a:lnTo>
                    <a:pt x="330" y="462"/>
                  </a:lnTo>
                  <a:lnTo>
                    <a:pt x="328" y="462"/>
                  </a:lnTo>
                  <a:lnTo>
                    <a:pt x="326" y="462"/>
                  </a:lnTo>
                  <a:lnTo>
                    <a:pt x="324" y="460"/>
                  </a:lnTo>
                  <a:lnTo>
                    <a:pt x="320" y="452"/>
                  </a:lnTo>
                  <a:lnTo>
                    <a:pt x="320" y="450"/>
                  </a:lnTo>
                  <a:lnTo>
                    <a:pt x="318" y="444"/>
                  </a:lnTo>
                  <a:lnTo>
                    <a:pt x="312" y="438"/>
                  </a:lnTo>
                  <a:lnTo>
                    <a:pt x="308" y="434"/>
                  </a:lnTo>
                  <a:lnTo>
                    <a:pt x="304" y="432"/>
                  </a:lnTo>
                  <a:lnTo>
                    <a:pt x="302" y="430"/>
                  </a:lnTo>
                  <a:lnTo>
                    <a:pt x="296" y="428"/>
                  </a:lnTo>
                  <a:lnTo>
                    <a:pt x="288" y="426"/>
                  </a:lnTo>
                  <a:lnTo>
                    <a:pt x="286" y="426"/>
                  </a:lnTo>
                  <a:lnTo>
                    <a:pt x="284" y="426"/>
                  </a:lnTo>
                  <a:lnTo>
                    <a:pt x="284" y="428"/>
                  </a:lnTo>
                  <a:lnTo>
                    <a:pt x="284" y="430"/>
                  </a:lnTo>
                  <a:lnTo>
                    <a:pt x="278" y="428"/>
                  </a:lnTo>
                  <a:lnTo>
                    <a:pt x="276" y="424"/>
                  </a:lnTo>
                  <a:lnTo>
                    <a:pt x="278" y="424"/>
                  </a:lnTo>
                  <a:lnTo>
                    <a:pt x="280" y="424"/>
                  </a:lnTo>
                  <a:lnTo>
                    <a:pt x="282" y="424"/>
                  </a:lnTo>
                  <a:lnTo>
                    <a:pt x="284" y="420"/>
                  </a:lnTo>
                  <a:lnTo>
                    <a:pt x="284" y="416"/>
                  </a:lnTo>
                  <a:lnTo>
                    <a:pt x="282" y="412"/>
                  </a:lnTo>
                  <a:lnTo>
                    <a:pt x="278" y="406"/>
                  </a:lnTo>
                  <a:lnTo>
                    <a:pt x="270" y="396"/>
                  </a:lnTo>
                  <a:lnTo>
                    <a:pt x="268" y="394"/>
                  </a:lnTo>
                  <a:lnTo>
                    <a:pt x="266" y="394"/>
                  </a:lnTo>
                  <a:lnTo>
                    <a:pt x="264" y="392"/>
                  </a:lnTo>
                  <a:lnTo>
                    <a:pt x="258" y="386"/>
                  </a:lnTo>
                  <a:lnTo>
                    <a:pt x="258" y="380"/>
                  </a:lnTo>
                  <a:lnTo>
                    <a:pt x="254" y="378"/>
                  </a:lnTo>
                  <a:lnTo>
                    <a:pt x="252" y="376"/>
                  </a:lnTo>
                  <a:lnTo>
                    <a:pt x="246" y="374"/>
                  </a:lnTo>
                  <a:lnTo>
                    <a:pt x="242" y="366"/>
                  </a:lnTo>
                  <a:lnTo>
                    <a:pt x="244" y="358"/>
                  </a:lnTo>
                  <a:lnTo>
                    <a:pt x="244" y="356"/>
                  </a:lnTo>
                  <a:lnTo>
                    <a:pt x="244" y="354"/>
                  </a:lnTo>
                  <a:lnTo>
                    <a:pt x="242" y="350"/>
                  </a:lnTo>
                  <a:lnTo>
                    <a:pt x="242" y="346"/>
                  </a:lnTo>
                  <a:lnTo>
                    <a:pt x="238" y="334"/>
                  </a:lnTo>
                  <a:lnTo>
                    <a:pt x="234" y="328"/>
                  </a:lnTo>
                  <a:lnTo>
                    <a:pt x="230" y="326"/>
                  </a:lnTo>
                  <a:lnTo>
                    <a:pt x="230" y="320"/>
                  </a:lnTo>
                  <a:lnTo>
                    <a:pt x="230" y="314"/>
                  </a:lnTo>
                  <a:lnTo>
                    <a:pt x="228" y="306"/>
                  </a:lnTo>
                  <a:lnTo>
                    <a:pt x="230" y="304"/>
                  </a:lnTo>
                  <a:lnTo>
                    <a:pt x="230" y="300"/>
                  </a:lnTo>
                  <a:lnTo>
                    <a:pt x="228" y="296"/>
                  </a:lnTo>
                  <a:lnTo>
                    <a:pt x="228" y="292"/>
                  </a:lnTo>
                  <a:lnTo>
                    <a:pt x="226" y="288"/>
                  </a:lnTo>
                  <a:lnTo>
                    <a:pt x="226" y="286"/>
                  </a:lnTo>
                  <a:lnTo>
                    <a:pt x="224" y="282"/>
                  </a:lnTo>
                  <a:lnTo>
                    <a:pt x="220" y="276"/>
                  </a:lnTo>
                  <a:lnTo>
                    <a:pt x="218" y="274"/>
                  </a:lnTo>
                  <a:lnTo>
                    <a:pt x="216" y="274"/>
                  </a:lnTo>
                  <a:lnTo>
                    <a:pt x="214" y="272"/>
                  </a:lnTo>
                  <a:lnTo>
                    <a:pt x="212" y="272"/>
                  </a:lnTo>
                  <a:lnTo>
                    <a:pt x="194" y="264"/>
                  </a:lnTo>
                  <a:lnTo>
                    <a:pt x="190" y="262"/>
                  </a:lnTo>
                  <a:lnTo>
                    <a:pt x="172" y="248"/>
                  </a:lnTo>
                  <a:lnTo>
                    <a:pt x="170" y="244"/>
                  </a:lnTo>
                  <a:lnTo>
                    <a:pt x="164" y="240"/>
                  </a:lnTo>
                  <a:lnTo>
                    <a:pt x="136" y="232"/>
                  </a:lnTo>
                  <a:lnTo>
                    <a:pt x="132" y="230"/>
                  </a:lnTo>
                  <a:lnTo>
                    <a:pt x="126" y="234"/>
                  </a:lnTo>
                  <a:lnTo>
                    <a:pt x="114" y="240"/>
                  </a:lnTo>
                  <a:lnTo>
                    <a:pt x="112" y="244"/>
                  </a:lnTo>
                  <a:lnTo>
                    <a:pt x="108" y="252"/>
                  </a:lnTo>
                  <a:lnTo>
                    <a:pt x="104" y="254"/>
                  </a:lnTo>
                  <a:lnTo>
                    <a:pt x="102" y="254"/>
                  </a:lnTo>
                  <a:lnTo>
                    <a:pt x="100" y="256"/>
                  </a:lnTo>
                  <a:lnTo>
                    <a:pt x="96" y="258"/>
                  </a:lnTo>
                  <a:lnTo>
                    <a:pt x="90" y="268"/>
                  </a:lnTo>
                  <a:lnTo>
                    <a:pt x="90" y="272"/>
                  </a:lnTo>
                  <a:lnTo>
                    <a:pt x="84" y="276"/>
                  </a:lnTo>
                  <a:lnTo>
                    <a:pt x="76" y="280"/>
                  </a:lnTo>
                  <a:lnTo>
                    <a:pt x="74" y="280"/>
                  </a:lnTo>
                  <a:lnTo>
                    <a:pt x="64" y="282"/>
                  </a:lnTo>
                  <a:lnTo>
                    <a:pt x="62" y="284"/>
                  </a:lnTo>
                  <a:lnTo>
                    <a:pt x="56" y="284"/>
                  </a:lnTo>
                  <a:lnTo>
                    <a:pt x="54" y="284"/>
                  </a:lnTo>
                  <a:lnTo>
                    <a:pt x="50" y="284"/>
                  </a:lnTo>
                  <a:lnTo>
                    <a:pt x="48" y="284"/>
                  </a:lnTo>
                  <a:lnTo>
                    <a:pt x="46" y="280"/>
                  </a:lnTo>
                  <a:lnTo>
                    <a:pt x="46" y="276"/>
                  </a:lnTo>
                  <a:lnTo>
                    <a:pt x="54" y="268"/>
                  </a:lnTo>
                  <a:lnTo>
                    <a:pt x="58" y="264"/>
                  </a:lnTo>
                  <a:lnTo>
                    <a:pt x="62" y="258"/>
                  </a:lnTo>
                  <a:lnTo>
                    <a:pt x="62" y="256"/>
                  </a:lnTo>
                  <a:lnTo>
                    <a:pt x="60" y="252"/>
                  </a:lnTo>
                  <a:lnTo>
                    <a:pt x="60" y="248"/>
                  </a:lnTo>
                  <a:lnTo>
                    <a:pt x="56" y="248"/>
                  </a:lnTo>
                  <a:lnTo>
                    <a:pt x="50" y="250"/>
                  </a:lnTo>
                  <a:lnTo>
                    <a:pt x="46" y="250"/>
                  </a:lnTo>
                  <a:lnTo>
                    <a:pt x="44" y="252"/>
                  </a:lnTo>
                  <a:lnTo>
                    <a:pt x="38" y="250"/>
                  </a:lnTo>
                  <a:lnTo>
                    <a:pt x="18" y="238"/>
                  </a:lnTo>
                  <a:lnTo>
                    <a:pt x="16" y="234"/>
                  </a:lnTo>
                  <a:lnTo>
                    <a:pt x="10" y="226"/>
                  </a:lnTo>
                  <a:lnTo>
                    <a:pt x="10" y="212"/>
                  </a:lnTo>
                  <a:lnTo>
                    <a:pt x="10" y="210"/>
                  </a:lnTo>
                  <a:lnTo>
                    <a:pt x="18" y="198"/>
                  </a:lnTo>
                  <a:lnTo>
                    <a:pt x="20" y="198"/>
                  </a:lnTo>
                  <a:lnTo>
                    <a:pt x="24" y="192"/>
                  </a:lnTo>
                  <a:lnTo>
                    <a:pt x="24" y="184"/>
                  </a:lnTo>
                  <a:lnTo>
                    <a:pt x="22" y="182"/>
                  </a:lnTo>
                  <a:lnTo>
                    <a:pt x="20" y="182"/>
                  </a:lnTo>
                  <a:lnTo>
                    <a:pt x="18" y="180"/>
                  </a:lnTo>
                  <a:lnTo>
                    <a:pt x="16" y="182"/>
                  </a:lnTo>
                  <a:lnTo>
                    <a:pt x="12" y="180"/>
                  </a:lnTo>
                  <a:lnTo>
                    <a:pt x="8" y="176"/>
                  </a:lnTo>
                  <a:lnTo>
                    <a:pt x="6" y="174"/>
                  </a:lnTo>
                  <a:lnTo>
                    <a:pt x="2" y="162"/>
                  </a:lnTo>
                  <a:lnTo>
                    <a:pt x="0" y="156"/>
                  </a:lnTo>
                  <a:lnTo>
                    <a:pt x="2" y="154"/>
                  </a:lnTo>
                  <a:lnTo>
                    <a:pt x="4" y="152"/>
                  </a:lnTo>
                  <a:lnTo>
                    <a:pt x="10" y="152"/>
                  </a:lnTo>
                  <a:lnTo>
                    <a:pt x="14" y="154"/>
                  </a:lnTo>
                  <a:lnTo>
                    <a:pt x="22" y="152"/>
                  </a:lnTo>
                  <a:lnTo>
                    <a:pt x="30" y="148"/>
                  </a:lnTo>
                  <a:lnTo>
                    <a:pt x="34" y="146"/>
                  </a:lnTo>
                  <a:lnTo>
                    <a:pt x="36" y="136"/>
                  </a:lnTo>
                  <a:lnTo>
                    <a:pt x="36" y="130"/>
                  </a:lnTo>
                  <a:lnTo>
                    <a:pt x="34" y="126"/>
                  </a:lnTo>
                  <a:lnTo>
                    <a:pt x="28" y="120"/>
                  </a:lnTo>
                  <a:lnTo>
                    <a:pt x="28" y="114"/>
                  </a:lnTo>
                  <a:lnTo>
                    <a:pt x="18" y="100"/>
                  </a:lnTo>
                  <a:lnTo>
                    <a:pt x="18" y="96"/>
                  </a:lnTo>
                  <a:lnTo>
                    <a:pt x="20" y="90"/>
                  </a:lnTo>
                  <a:lnTo>
                    <a:pt x="24" y="90"/>
                  </a:lnTo>
                  <a:lnTo>
                    <a:pt x="26" y="90"/>
                  </a:lnTo>
                  <a:lnTo>
                    <a:pt x="28" y="90"/>
                  </a:lnTo>
                  <a:lnTo>
                    <a:pt x="30" y="88"/>
                  </a:lnTo>
                  <a:lnTo>
                    <a:pt x="34" y="84"/>
                  </a:lnTo>
                  <a:lnTo>
                    <a:pt x="36" y="86"/>
                  </a:lnTo>
                  <a:lnTo>
                    <a:pt x="38" y="88"/>
                  </a:lnTo>
                  <a:lnTo>
                    <a:pt x="44" y="90"/>
                  </a:lnTo>
                  <a:lnTo>
                    <a:pt x="46" y="88"/>
                  </a:lnTo>
                  <a:lnTo>
                    <a:pt x="50" y="86"/>
                  </a:lnTo>
                  <a:lnTo>
                    <a:pt x="54" y="86"/>
                  </a:lnTo>
                  <a:lnTo>
                    <a:pt x="56" y="86"/>
                  </a:lnTo>
                  <a:lnTo>
                    <a:pt x="60" y="86"/>
                  </a:lnTo>
                  <a:lnTo>
                    <a:pt x="62" y="86"/>
                  </a:lnTo>
                  <a:lnTo>
                    <a:pt x="66" y="82"/>
                  </a:lnTo>
                  <a:lnTo>
                    <a:pt x="74" y="82"/>
                  </a:lnTo>
                  <a:lnTo>
                    <a:pt x="78" y="86"/>
                  </a:lnTo>
                  <a:lnTo>
                    <a:pt x="80" y="88"/>
                  </a:lnTo>
                  <a:lnTo>
                    <a:pt x="82" y="88"/>
                  </a:lnTo>
                  <a:lnTo>
                    <a:pt x="86" y="90"/>
                  </a:lnTo>
                  <a:lnTo>
                    <a:pt x="88" y="86"/>
                  </a:lnTo>
                  <a:lnTo>
                    <a:pt x="88" y="84"/>
                  </a:lnTo>
                  <a:lnTo>
                    <a:pt x="90" y="82"/>
                  </a:lnTo>
                  <a:lnTo>
                    <a:pt x="94" y="84"/>
                  </a:lnTo>
                  <a:lnTo>
                    <a:pt x="94" y="82"/>
                  </a:lnTo>
                  <a:lnTo>
                    <a:pt x="96" y="82"/>
                  </a:lnTo>
                  <a:lnTo>
                    <a:pt x="106" y="70"/>
                  </a:lnTo>
                  <a:lnTo>
                    <a:pt x="108" y="66"/>
                  </a:lnTo>
                  <a:lnTo>
                    <a:pt x="106" y="64"/>
                  </a:lnTo>
                  <a:lnTo>
                    <a:pt x="120" y="46"/>
                  </a:lnTo>
                  <a:lnTo>
                    <a:pt x="122" y="44"/>
                  </a:lnTo>
                  <a:lnTo>
                    <a:pt x="124" y="44"/>
                  </a:lnTo>
                  <a:lnTo>
                    <a:pt x="128" y="44"/>
                  </a:lnTo>
                  <a:lnTo>
                    <a:pt x="128" y="52"/>
                  </a:lnTo>
                  <a:lnTo>
                    <a:pt x="128" y="56"/>
                  </a:lnTo>
                  <a:lnTo>
                    <a:pt x="126" y="58"/>
                  </a:lnTo>
                  <a:lnTo>
                    <a:pt x="126" y="62"/>
                  </a:lnTo>
                  <a:lnTo>
                    <a:pt x="128" y="64"/>
                  </a:lnTo>
                  <a:lnTo>
                    <a:pt x="136" y="74"/>
                  </a:lnTo>
                  <a:lnTo>
                    <a:pt x="142" y="78"/>
                  </a:lnTo>
                  <a:lnTo>
                    <a:pt x="144" y="78"/>
                  </a:lnTo>
                  <a:lnTo>
                    <a:pt x="144" y="76"/>
                  </a:lnTo>
                  <a:lnTo>
                    <a:pt x="148" y="78"/>
                  </a:lnTo>
                  <a:lnTo>
                    <a:pt x="150" y="80"/>
                  </a:lnTo>
                  <a:lnTo>
                    <a:pt x="150" y="82"/>
                  </a:lnTo>
                  <a:lnTo>
                    <a:pt x="148" y="84"/>
                  </a:lnTo>
                  <a:lnTo>
                    <a:pt x="148" y="88"/>
                  </a:lnTo>
                  <a:lnTo>
                    <a:pt x="152" y="92"/>
                  </a:lnTo>
                  <a:lnTo>
                    <a:pt x="154" y="96"/>
                  </a:lnTo>
                  <a:lnTo>
                    <a:pt x="156" y="100"/>
                  </a:lnTo>
                  <a:lnTo>
                    <a:pt x="156" y="102"/>
                  </a:lnTo>
                  <a:lnTo>
                    <a:pt x="158" y="104"/>
                  </a:lnTo>
                  <a:lnTo>
                    <a:pt x="160" y="104"/>
                  </a:lnTo>
                  <a:lnTo>
                    <a:pt x="164" y="98"/>
                  </a:lnTo>
                  <a:lnTo>
                    <a:pt x="164" y="96"/>
                  </a:lnTo>
                  <a:lnTo>
                    <a:pt x="160" y="94"/>
                  </a:lnTo>
                  <a:lnTo>
                    <a:pt x="160" y="90"/>
                  </a:lnTo>
                  <a:lnTo>
                    <a:pt x="160" y="86"/>
                  </a:lnTo>
                  <a:lnTo>
                    <a:pt x="162" y="82"/>
                  </a:lnTo>
                  <a:lnTo>
                    <a:pt x="166" y="78"/>
                  </a:lnTo>
                  <a:lnTo>
                    <a:pt x="168" y="74"/>
                  </a:lnTo>
                  <a:lnTo>
                    <a:pt x="170" y="74"/>
                  </a:lnTo>
                  <a:lnTo>
                    <a:pt x="172" y="72"/>
                  </a:lnTo>
                  <a:lnTo>
                    <a:pt x="176" y="68"/>
                  </a:lnTo>
                  <a:lnTo>
                    <a:pt x="180" y="62"/>
                  </a:lnTo>
                  <a:lnTo>
                    <a:pt x="180" y="60"/>
                  </a:lnTo>
                  <a:lnTo>
                    <a:pt x="180" y="58"/>
                  </a:lnTo>
                  <a:lnTo>
                    <a:pt x="180" y="50"/>
                  </a:lnTo>
                  <a:lnTo>
                    <a:pt x="178" y="50"/>
                  </a:lnTo>
                  <a:lnTo>
                    <a:pt x="182" y="44"/>
                  </a:lnTo>
                  <a:lnTo>
                    <a:pt x="186" y="44"/>
                  </a:lnTo>
                  <a:lnTo>
                    <a:pt x="192" y="46"/>
                  </a:lnTo>
                  <a:lnTo>
                    <a:pt x="192" y="52"/>
                  </a:lnTo>
                  <a:lnTo>
                    <a:pt x="192" y="54"/>
                  </a:lnTo>
                  <a:lnTo>
                    <a:pt x="194" y="62"/>
                  </a:lnTo>
                  <a:lnTo>
                    <a:pt x="196" y="62"/>
                  </a:lnTo>
                  <a:lnTo>
                    <a:pt x="198" y="64"/>
                  </a:lnTo>
                  <a:lnTo>
                    <a:pt x="202" y="64"/>
                  </a:lnTo>
                  <a:lnTo>
                    <a:pt x="206" y="64"/>
                  </a:lnTo>
                  <a:lnTo>
                    <a:pt x="210" y="60"/>
                  </a:lnTo>
                  <a:lnTo>
                    <a:pt x="214" y="58"/>
                  </a:lnTo>
                  <a:lnTo>
                    <a:pt x="216" y="58"/>
                  </a:lnTo>
                  <a:lnTo>
                    <a:pt x="220" y="58"/>
                  </a:lnTo>
                  <a:lnTo>
                    <a:pt x="222" y="58"/>
                  </a:lnTo>
                  <a:lnTo>
                    <a:pt x="226" y="60"/>
                  </a:lnTo>
                  <a:lnTo>
                    <a:pt x="224" y="62"/>
                  </a:lnTo>
                  <a:lnTo>
                    <a:pt x="224" y="66"/>
                  </a:lnTo>
                  <a:lnTo>
                    <a:pt x="230" y="72"/>
                  </a:lnTo>
                  <a:lnTo>
                    <a:pt x="234" y="72"/>
                  </a:lnTo>
                  <a:lnTo>
                    <a:pt x="236" y="70"/>
                  </a:lnTo>
                  <a:lnTo>
                    <a:pt x="236" y="58"/>
                  </a:lnTo>
                  <a:lnTo>
                    <a:pt x="232" y="54"/>
                  </a:lnTo>
                  <a:lnTo>
                    <a:pt x="230" y="52"/>
                  </a:lnTo>
                  <a:lnTo>
                    <a:pt x="230" y="46"/>
                  </a:lnTo>
                  <a:lnTo>
                    <a:pt x="230" y="44"/>
                  </a:lnTo>
                  <a:lnTo>
                    <a:pt x="234" y="38"/>
                  </a:lnTo>
                  <a:lnTo>
                    <a:pt x="238" y="36"/>
                  </a:lnTo>
                  <a:lnTo>
                    <a:pt x="242" y="36"/>
                  </a:lnTo>
                  <a:lnTo>
                    <a:pt x="242" y="38"/>
                  </a:lnTo>
                  <a:lnTo>
                    <a:pt x="242" y="40"/>
                  </a:lnTo>
                  <a:lnTo>
                    <a:pt x="246" y="42"/>
                  </a:lnTo>
                  <a:lnTo>
                    <a:pt x="248" y="44"/>
                  </a:lnTo>
                  <a:lnTo>
                    <a:pt x="254" y="46"/>
                  </a:lnTo>
                  <a:lnTo>
                    <a:pt x="256" y="44"/>
                  </a:lnTo>
                  <a:lnTo>
                    <a:pt x="258" y="40"/>
                  </a:lnTo>
                  <a:lnTo>
                    <a:pt x="258" y="38"/>
                  </a:lnTo>
                  <a:lnTo>
                    <a:pt x="256" y="36"/>
                  </a:lnTo>
                  <a:lnTo>
                    <a:pt x="256" y="24"/>
                  </a:lnTo>
                  <a:lnTo>
                    <a:pt x="258" y="14"/>
                  </a:lnTo>
                  <a:lnTo>
                    <a:pt x="258" y="16"/>
                  </a:lnTo>
                  <a:lnTo>
                    <a:pt x="260" y="16"/>
                  </a:lnTo>
                  <a:lnTo>
                    <a:pt x="264" y="16"/>
                  </a:lnTo>
                  <a:lnTo>
                    <a:pt x="266" y="16"/>
                  </a:lnTo>
                  <a:lnTo>
                    <a:pt x="268" y="16"/>
                  </a:lnTo>
                  <a:lnTo>
                    <a:pt x="272" y="14"/>
                  </a:lnTo>
                  <a:lnTo>
                    <a:pt x="276" y="20"/>
                  </a:lnTo>
                  <a:lnTo>
                    <a:pt x="278" y="22"/>
                  </a:lnTo>
                  <a:lnTo>
                    <a:pt x="280" y="24"/>
                  </a:lnTo>
                  <a:lnTo>
                    <a:pt x="284" y="26"/>
                  </a:lnTo>
                  <a:lnTo>
                    <a:pt x="292" y="26"/>
                  </a:lnTo>
                  <a:lnTo>
                    <a:pt x="296" y="22"/>
                  </a:lnTo>
                  <a:lnTo>
                    <a:pt x="298" y="14"/>
                  </a:lnTo>
                  <a:lnTo>
                    <a:pt x="298" y="12"/>
                  </a:lnTo>
                  <a:lnTo>
                    <a:pt x="300" y="12"/>
                  </a:lnTo>
                  <a:lnTo>
                    <a:pt x="302" y="8"/>
                  </a:lnTo>
                  <a:lnTo>
                    <a:pt x="322" y="4"/>
                  </a:lnTo>
                  <a:lnTo>
                    <a:pt x="330" y="4"/>
                  </a:lnTo>
                  <a:lnTo>
                    <a:pt x="336" y="6"/>
                  </a:lnTo>
                  <a:lnTo>
                    <a:pt x="338" y="8"/>
                  </a:lnTo>
                  <a:lnTo>
                    <a:pt x="340" y="8"/>
                  </a:lnTo>
                  <a:lnTo>
                    <a:pt x="360" y="2"/>
                  </a:lnTo>
                  <a:lnTo>
                    <a:pt x="364" y="0"/>
                  </a:lnTo>
                  <a:lnTo>
                    <a:pt x="366" y="0"/>
                  </a:lnTo>
                  <a:lnTo>
                    <a:pt x="370" y="0"/>
                  </a:lnTo>
                  <a:lnTo>
                    <a:pt x="368" y="2"/>
                  </a:lnTo>
                  <a:lnTo>
                    <a:pt x="366" y="4"/>
                  </a:lnTo>
                  <a:lnTo>
                    <a:pt x="362" y="6"/>
                  </a:lnTo>
                  <a:lnTo>
                    <a:pt x="362" y="10"/>
                  </a:lnTo>
                  <a:lnTo>
                    <a:pt x="364" y="14"/>
                  </a:lnTo>
                  <a:lnTo>
                    <a:pt x="366" y="16"/>
                  </a:lnTo>
                  <a:lnTo>
                    <a:pt x="368" y="18"/>
                  </a:lnTo>
                  <a:lnTo>
                    <a:pt x="372" y="22"/>
                  </a:lnTo>
                  <a:lnTo>
                    <a:pt x="378" y="34"/>
                  </a:lnTo>
                  <a:lnTo>
                    <a:pt x="382" y="36"/>
                  </a:lnTo>
                  <a:lnTo>
                    <a:pt x="384" y="38"/>
                  </a:lnTo>
                  <a:lnTo>
                    <a:pt x="388" y="40"/>
                  </a:lnTo>
                  <a:lnTo>
                    <a:pt x="390" y="40"/>
                  </a:lnTo>
                  <a:lnTo>
                    <a:pt x="396" y="40"/>
                  </a:lnTo>
                  <a:lnTo>
                    <a:pt x="400" y="42"/>
                  </a:lnTo>
                  <a:lnTo>
                    <a:pt x="402" y="42"/>
                  </a:lnTo>
                  <a:lnTo>
                    <a:pt x="406" y="42"/>
                  </a:lnTo>
                  <a:lnTo>
                    <a:pt x="432" y="50"/>
                  </a:lnTo>
                  <a:lnTo>
                    <a:pt x="444" y="50"/>
                  </a:lnTo>
                  <a:lnTo>
                    <a:pt x="452" y="50"/>
                  </a:lnTo>
                  <a:lnTo>
                    <a:pt x="454" y="52"/>
                  </a:lnTo>
                  <a:lnTo>
                    <a:pt x="460" y="54"/>
                  </a:lnTo>
                  <a:lnTo>
                    <a:pt x="460" y="56"/>
                  </a:lnTo>
                  <a:lnTo>
                    <a:pt x="460" y="60"/>
                  </a:lnTo>
                  <a:lnTo>
                    <a:pt x="458" y="60"/>
                  </a:lnTo>
                  <a:lnTo>
                    <a:pt x="448" y="66"/>
                  </a:lnTo>
                  <a:lnTo>
                    <a:pt x="444" y="70"/>
                  </a:lnTo>
                  <a:lnTo>
                    <a:pt x="440" y="74"/>
                  </a:lnTo>
                  <a:lnTo>
                    <a:pt x="442" y="82"/>
                  </a:lnTo>
                  <a:lnTo>
                    <a:pt x="444" y="82"/>
                  </a:lnTo>
                  <a:lnTo>
                    <a:pt x="446" y="80"/>
                  </a:lnTo>
                  <a:lnTo>
                    <a:pt x="450" y="82"/>
                  </a:lnTo>
                  <a:lnTo>
                    <a:pt x="458" y="86"/>
                  </a:lnTo>
                  <a:lnTo>
                    <a:pt x="456" y="88"/>
                  </a:lnTo>
                  <a:lnTo>
                    <a:pt x="452" y="92"/>
                  </a:lnTo>
                  <a:lnTo>
                    <a:pt x="450" y="94"/>
                  </a:lnTo>
                  <a:lnTo>
                    <a:pt x="448" y="94"/>
                  </a:lnTo>
                  <a:lnTo>
                    <a:pt x="448" y="96"/>
                  </a:lnTo>
                  <a:lnTo>
                    <a:pt x="446" y="100"/>
                  </a:lnTo>
                  <a:lnTo>
                    <a:pt x="448" y="104"/>
                  </a:lnTo>
                  <a:lnTo>
                    <a:pt x="452" y="104"/>
                  </a:lnTo>
                  <a:lnTo>
                    <a:pt x="452" y="102"/>
                  </a:lnTo>
                  <a:lnTo>
                    <a:pt x="456" y="104"/>
                  </a:lnTo>
                  <a:lnTo>
                    <a:pt x="456" y="106"/>
                  </a:lnTo>
                  <a:lnTo>
                    <a:pt x="454" y="110"/>
                  </a:lnTo>
                  <a:lnTo>
                    <a:pt x="452" y="112"/>
                  </a:lnTo>
                  <a:lnTo>
                    <a:pt x="452" y="116"/>
                  </a:lnTo>
                  <a:lnTo>
                    <a:pt x="452" y="120"/>
                  </a:lnTo>
                  <a:lnTo>
                    <a:pt x="458" y="122"/>
                  </a:lnTo>
                  <a:lnTo>
                    <a:pt x="464" y="124"/>
                  </a:lnTo>
                  <a:lnTo>
                    <a:pt x="468" y="128"/>
                  </a:lnTo>
                  <a:lnTo>
                    <a:pt x="474" y="136"/>
                  </a:lnTo>
                  <a:lnTo>
                    <a:pt x="468" y="140"/>
                  </a:lnTo>
                  <a:lnTo>
                    <a:pt x="466" y="140"/>
                  </a:lnTo>
                  <a:lnTo>
                    <a:pt x="464" y="140"/>
                  </a:lnTo>
                  <a:lnTo>
                    <a:pt x="460" y="140"/>
                  </a:lnTo>
                  <a:lnTo>
                    <a:pt x="464" y="138"/>
                  </a:lnTo>
                  <a:lnTo>
                    <a:pt x="460" y="130"/>
                  </a:lnTo>
                  <a:lnTo>
                    <a:pt x="456" y="124"/>
                  </a:lnTo>
                  <a:lnTo>
                    <a:pt x="454" y="124"/>
                  </a:lnTo>
                  <a:lnTo>
                    <a:pt x="452" y="122"/>
                  </a:lnTo>
                  <a:lnTo>
                    <a:pt x="448" y="122"/>
                  </a:lnTo>
                  <a:lnTo>
                    <a:pt x="448" y="124"/>
                  </a:lnTo>
                  <a:lnTo>
                    <a:pt x="448" y="126"/>
                  </a:lnTo>
                  <a:lnTo>
                    <a:pt x="446" y="128"/>
                  </a:lnTo>
                  <a:lnTo>
                    <a:pt x="442" y="132"/>
                  </a:lnTo>
                  <a:lnTo>
                    <a:pt x="438" y="132"/>
                  </a:lnTo>
                  <a:lnTo>
                    <a:pt x="440" y="130"/>
                  </a:lnTo>
                  <a:lnTo>
                    <a:pt x="440" y="128"/>
                  </a:lnTo>
                  <a:lnTo>
                    <a:pt x="438" y="126"/>
                  </a:lnTo>
                  <a:lnTo>
                    <a:pt x="428" y="122"/>
                  </a:lnTo>
                  <a:lnTo>
                    <a:pt x="426" y="122"/>
                  </a:lnTo>
                  <a:lnTo>
                    <a:pt x="422" y="122"/>
                  </a:lnTo>
                  <a:lnTo>
                    <a:pt x="418" y="128"/>
                  </a:lnTo>
                  <a:lnTo>
                    <a:pt x="420" y="132"/>
                  </a:lnTo>
                  <a:lnTo>
                    <a:pt x="420" y="134"/>
                  </a:lnTo>
                  <a:lnTo>
                    <a:pt x="418" y="134"/>
                  </a:lnTo>
                  <a:lnTo>
                    <a:pt x="414" y="136"/>
                  </a:lnTo>
                  <a:lnTo>
                    <a:pt x="408" y="136"/>
                  </a:lnTo>
                  <a:lnTo>
                    <a:pt x="404" y="138"/>
                  </a:lnTo>
                  <a:lnTo>
                    <a:pt x="400" y="140"/>
                  </a:lnTo>
                  <a:lnTo>
                    <a:pt x="394" y="144"/>
                  </a:lnTo>
                  <a:lnTo>
                    <a:pt x="390" y="146"/>
                  </a:lnTo>
                  <a:lnTo>
                    <a:pt x="388" y="146"/>
                  </a:lnTo>
                  <a:lnTo>
                    <a:pt x="386" y="148"/>
                  </a:lnTo>
                  <a:lnTo>
                    <a:pt x="376" y="152"/>
                  </a:lnTo>
                  <a:lnTo>
                    <a:pt x="378" y="148"/>
                  </a:lnTo>
                  <a:lnTo>
                    <a:pt x="382" y="146"/>
                  </a:lnTo>
                  <a:lnTo>
                    <a:pt x="386" y="142"/>
                  </a:lnTo>
                  <a:lnTo>
                    <a:pt x="380" y="140"/>
                  </a:lnTo>
                  <a:lnTo>
                    <a:pt x="374" y="142"/>
                  </a:lnTo>
                  <a:lnTo>
                    <a:pt x="368" y="148"/>
                  </a:lnTo>
                  <a:lnTo>
                    <a:pt x="358" y="164"/>
                  </a:lnTo>
                  <a:lnTo>
                    <a:pt x="358" y="166"/>
                  </a:lnTo>
                  <a:lnTo>
                    <a:pt x="364" y="174"/>
                  </a:lnTo>
                  <a:lnTo>
                    <a:pt x="370" y="186"/>
                  </a:lnTo>
                  <a:lnTo>
                    <a:pt x="376" y="190"/>
                  </a:lnTo>
                  <a:lnTo>
                    <a:pt x="380" y="194"/>
                  </a:lnTo>
                  <a:lnTo>
                    <a:pt x="382" y="194"/>
                  </a:lnTo>
                  <a:lnTo>
                    <a:pt x="382" y="196"/>
                  </a:lnTo>
                  <a:lnTo>
                    <a:pt x="378" y="206"/>
                  </a:lnTo>
                  <a:lnTo>
                    <a:pt x="376" y="208"/>
                  </a:lnTo>
                  <a:lnTo>
                    <a:pt x="374" y="206"/>
                  </a:lnTo>
                  <a:lnTo>
                    <a:pt x="376" y="202"/>
                  </a:lnTo>
                  <a:lnTo>
                    <a:pt x="374" y="202"/>
                  </a:lnTo>
                  <a:lnTo>
                    <a:pt x="372" y="204"/>
                  </a:lnTo>
                  <a:lnTo>
                    <a:pt x="372" y="210"/>
                  </a:lnTo>
                  <a:lnTo>
                    <a:pt x="370" y="210"/>
                  </a:lnTo>
                  <a:lnTo>
                    <a:pt x="366" y="206"/>
                  </a:lnTo>
                  <a:lnTo>
                    <a:pt x="364" y="212"/>
                  </a:lnTo>
                  <a:lnTo>
                    <a:pt x="362" y="216"/>
                  </a:lnTo>
                  <a:lnTo>
                    <a:pt x="362" y="220"/>
                  </a:lnTo>
                  <a:lnTo>
                    <a:pt x="364" y="240"/>
                  </a:lnTo>
                  <a:lnTo>
                    <a:pt x="364" y="242"/>
                  </a:lnTo>
                  <a:lnTo>
                    <a:pt x="368" y="258"/>
                  </a:lnTo>
                  <a:lnTo>
                    <a:pt x="370" y="260"/>
                  </a:lnTo>
                  <a:lnTo>
                    <a:pt x="372" y="266"/>
                  </a:lnTo>
                  <a:lnTo>
                    <a:pt x="374" y="268"/>
                  </a:lnTo>
                  <a:lnTo>
                    <a:pt x="378" y="274"/>
                  </a:lnTo>
                  <a:lnTo>
                    <a:pt x="380" y="276"/>
                  </a:lnTo>
                  <a:lnTo>
                    <a:pt x="390" y="284"/>
                  </a:lnTo>
                  <a:lnTo>
                    <a:pt x="392" y="286"/>
                  </a:lnTo>
                  <a:lnTo>
                    <a:pt x="394" y="28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2" name="Freeform 2801"/>
            <p:cNvSpPr>
              <a:spLocks/>
            </p:cNvSpPr>
            <p:nvPr/>
          </p:nvSpPr>
          <p:spPr bwMode="auto">
            <a:xfrm>
              <a:off x="2308" y="2910"/>
              <a:ext cx="22" cy="14"/>
            </a:xfrm>
            <a:custGeom>
              <a:avLst/>
              <a:gdLst/>
              <a:ahLst/>
              <a:cxnLst>
                <a:cxn ang="0">
                  <a:pos x="22" y="14"/>
                </a:cxn>
                <a:cxn ang="0">
                  <a:pos x="18" y="10"/>
                </a:cxn>
                <a:cxn ang="0">
                  <a:pos x="16" y="10"/>
                </a:cxn>
                <a:cxn ang="0">
                  <a:pos x="14" y="10"/>
                </a:cxn>
                <a:cxn ang="0">
                  <a:pos x="10" y="10"/>
                </a:cxn>
                <a:cxn ang="0">
                  <a:pos x="6" y="10"/>
                </a:cxn>
                <a:cxn ang="0">
                  <a:pos x="4" y="12"/>
                </a:cxn>
                <a:cxn ang="0">
                  <a:pos x="2" y="12"/>
                </a:cxn>
                <a:cxn ang="0">
                  <a:pos x="2" y="10"/>
                </a:cxn>
                <a:cxn ang="0">
                  <a:pos x="0" y="8"/>
                </a:cxn>
                <a:cxn ang="0">
                  <a:pos x="0" y="6"/>
                </a:cxn>
                <a:cxn ang="0">
                  <a:pos x="2" y="4"/>
                </a:cxn>
                <a:cxn ang="0">
                  <a:pos x="4" y="4"/>
                </a:cxn>
                <a:cxn ang="0">
                  <a:pos x="6" y="4"/>
                </a:cxn>
                <a:cxn ang="0">
                  <a:pos x="8" y="4"/>
                </a:cxn>
                <a:cxn ang="0">
                  <a:pos x="8" y="6"/>
                </a:cxn>
                <a:cxn ang="0">
                  <a:pos x="10" y="6"/>
                </a:cxn>
                <a:cxn ang="0">
                  <a:pos x="18" y="6"/>
                </a:cxn>
                <a:cxn ang="0">
                  <a:pos x="18" y="4"/>
                </a:cxn>
                <a:cxn ang="0">
                  <a:pos x="20" y="0"/>
                </a:cxn>
                <a:cxn ang="0">
                  <a:pos x="22" y="0"/>
                </a:cxn>
                <a:cxn ang="0">
                  <a:pos x="22" y="2"/>
                </a:cxn>
                <a:cxn ang="0">
                  <a:pos x="22" y="14"/>
                </a:cxn>
              </a:cxnLst>
              <a:rect l="0" t="0" r="r" b="b"/>
              <a:pathLst>
                <a:path w="22" h="14">
                  <a:moveTo>
                    <a:pt x="22" y="14"/>
                  </a:moveTo>
                  <a:lnTo>
                    <a:pt x="18" y="10"/>
                  </a:lnTo>
                  <a:lnTo>
                    <a:pt x="16" y="10"/>
                  </a:lnTo>
                  <a:lnTo>
                    <a:pt x="14" y="10"/>
                  </a:lnTo>
                  <a:lnTo>
                    <a:pt x="10" y="10"/>
                  </a:lnTo>
                  <a:lnTo>
                    <a:pt x="6" y="10"/>
                  </a:lnTo>
                  <a:lnTo>
                    <a:pt x="4" y="12"/>
                  </a:lnTo>
                  <a:lnTo>
                    <a:pt x="2" y="12"/>
                  </a:lnTo>
                  <a:lnTo>
                    <a:pt x="2" y="10"/>
                  </a:lnTo>
                  <a:lnTo>
                    <a:pt x="0" y="8"/>
                  </a:lnTo>
                  <a:lnTo>
                    <a:pt x="0" y="6"/>
                  </a:lnTo>
                  <a:lnTo>
                    <a:pt x="2" y="4"/>
                  </a:lnTo>
                  <a:lnTo>
                    <a:pt x="4" y="4"/>
                  </a:lnTo>
                  <a:lnTo>
                    <a:pt x="6" y="4"/>
                  </a:lnTo>
                  <a:lnTo>
                    <a:pt x="8" y="4"/>
                  </a:lnTo>
                  <a:lnTo>
                    <a:pt x="8" y="6"/>
                  </a:lnTo>
                  <a:lnTo>
                    <a:pt x="10" y="6"/>
                  </a:lnTo>
                  <a:lnTo>
                    <a:pt x="18" y="6"/>
                  </a:lnTo>
                  <a:lnTo>
                    <a:pt x="18" y="4"/>
                  </a:lnTo>
                  <a:lnTo>
                    <a:pt x="20" y="0"/>
                  </a:lnTo>
                  <a:lnTo>
                    <a:pt x="22" y="0"/>
                  </a:lnTo>
                  <a:lnTo>
                    <a:pt x="22" y="2"/>
                  </a:lnTo>
                  <a:lnTo>
                    <a:pt x="2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3" name="Freeform 2802"/>
            <p:cNvSpPr>
              <a:spLocks/>
            </p:cNvSpPr>
            <p:nvPr/>
          </p:nvSpPr>
          <p:spPr bwMode="auto">
            <a:xfrm>
              <a:off x="2160" y="3052"/>
              <a:ext cx="116" cy="216"/>
            </a:xfrm>
            <a:custGeom>
              <a:avLst/>
              <a:gdLst/>
              <a:ahLst/>
              <a:cxnLst>
                <a:cxn ang="0">
                  <a:pos x="10" y="176"/>
                </a:cxn>
                <a:cxn ang="0">
                  <a:pos x="10" y="162"/>
                </a:cxn>
                <a:cxn ang="0">
                  <a:pos x="14" y="140"/>
                </a:cxn>
                <a:cxn ang="0">
                  <a:pos x="20" y="136"/>
                </a:cxn>
                <a:cxn ang="0">
                  <a:pos x="24" y="126"/>
                </a:cxn>
                <a:cxn ang="0">
                  <a:pos x="18" y="120"/>
                </a:cxn>
                <a:cxn ang="0">
                  <a:pos x="14" y="116"/>
                </a:cxn>
                <a:cxn ang="0">
                  <a:pos x="20" y="90"/>
                </a:cxn>
                <a:cxn ang="0">
                  <a:pos x="10" y="56"/>
                </a:cxn>
                <a:cxn ang="0">
                  <a:pos x="0" y="52"/>
                </a:cxn>
                <a:cxn ang="0">
                  <a:pos x="2" y="44"/>
                </a:cxn>
                <a:cxn ang="0">
                  <a:pos x="8" y="24"/>
                </a:cxn>
                <a:cxn ang="0">
                  <a:pos x="14" y="32"/>
                </a:cxn>
                <a:cxn ang="0">
                  <a:pos x="26" y="36"/>
                </a:cxn>
                <a:cxn ang="0">
                  <a:pos x="34" y="34"/>
                </a:cxn>
                <a:cxn ang="0">
                  <a:pos x="42" y="28"/>
                </a:cxn>
                <a:cxn ang="0">
                  <a:pos x="48" y="28"/>
                </a:cxn>
                <a:cxn ang="0">
                  <a:pos x="64" y="12"/>
                </a:cxn>
                <a:cxn ang="0">
                  <a:pos x="76" y="2"/>
                </a:cxn>
                <a:cxn ang="0">
                  <a:pos x="102" y="14"/>
                </a:cxn>
                <a:cxn ang="0">
                  <a:pos x="100" y="34"/>
                </a:cxn>
                <a:cxn ang="0">
                  <a:pos x="112" y="56"/>
                </a:cxn>
                <a:cxn ang="0">
                  <a:pos x="116" y="68"/>
                </a:cxn>
                <a:cxn ang="0">
                  <a:pos x="114" y="78"/>
                </a:cxn>
                <a:cxn ang="0">
                  <a:pos x="108" y="86"/>
                </a:cxn>
                <a:cxn ang="0">
                  <a:pos x="100" y="94"/>
                </a:cxn>
                <a:cxn ang="0">
                  <a:pos x="106" y="108"/>
                </a:cxn>
                <a:cxn ang="0">
                  <a:pos x="102" y="136"/>
                </a:cxn>
                <a:cxn ang="0">
                  <a:pos x="102" y="142"/>
                </a:cxn>
                <a:cxn ang="0">
                  <a:pos x="96" y="170"/>
                </a:cxn>
                <a:cxn ang="0">
                  <a:pos x="92" y="192"/>
                </a:cxn>
                <a:cxn ang="0">
                  <a:pos x="82" y="196"/>
                </a:cxn>
                <a:cxn ang="0">
                  <a:pos x="76" y="192"/>
                </a:cxn>
                <a:cxn ang="0">
                  <a:pos x="72" y="188"/>
                </a:cxn>
                <a:cxn ang="0">
                  <a:pos x="50" y="194"/>
                </a:cxn>
                <a:cxn ang="0">
                  <a:pos x="52" y="202"/>
                </a:cxn>
                <a:cxn ang="0">
                  <a:pos x="38" y="216"/>
                </a:cxn>
                <a:cxn ang="0">
                  <a:pos x="22" y="212"/>
                </a:cxn>
                <a:cxn ang="0">
                  <a:pos x="14" y="198"/>
                </a:cxn>
                <a:cxn ang="0">
                  <a:pos x="10" y="206"/>
                </a:cxn>
                <a:cxn ang="0">
                  <a:pos x="4" y="196"/>
                </a:cxn>
                <a:cxn ang="0">
                  <a:pos x="12" y="196"/>
                </a:cxn>
                <a:cxn ang="0">
                  <a:pos x="8" y="184"/>
                </a:cxn>
              </a:cxnLst>
              <a:rect l="0" t="0" r="r" b="b"/>
              <a:pathLst>
                <a:path w="116" h="216">
                  <a:moveTo>
                    <a:pt x="6" y="182"/>
                  </a:moveTo>
                  <a:lnTo>
                    <a:pt x="10" y="178"/>
                  </a:lnTo>
                  <a:lnTo>
                    <a:pt x="10" y="176"/>
                  </a:lnTo>
                  <a:lnTo>
                    <a:pt x="10" y="172"/>
                  </a:lnTo>
                  <a:lnTo>
                    <a:pt x="8" y="168"/>
                  </a:lnTo>
                  <a:lnTo>
                    <a:pt x="10" y="162"/>
                  </a:lnTo>
                  <a:lnTo>
                    <a:pt x="10" y="158"/>
                  </a:lnTo>
                  <a:lnTo>
                    <a:pt x="14" y="146"/>
                  </a:lnTo>
                  <a:lnTo>
                    <a:pt x="14" y="140"/>
                  </a:lnTo>
                  <a:lnTo>
                    <a:pt x="16" y="134"/>
                  </a:lnTo>
                  <a:lnTo>
                    <a:pt x="18" y="138"/>
                  </a:lnTo>
                  <a:lnTo>
                    <a:pt x="20" y="136"/>
                  </a:lnTo>
                  <a:lnTo>
                    <a:pt x="22" y="132"/>
                  </a:lnTo>
                  <a:lnTo>
                    <a:pt x="22" y="128"/>
                  </a:lnTo>
                  <a:lnTo>
                    <a:pt x="24" y="126"/>
                  </a:lnTo>
                  <a:lnTo>
                    <a:pt x="24" y="124"/>
                  </a:lnTo>
                  <a:lnTo>
                    <a:pt x="22" y="120"/>
                  </a:lnTo>
                  <a:lnTo>
                    <a:pt x="18" y="120"/>
                  </a:lnTo>
                  <a:lnTo>
                    <a:pt x="14" y="122"/>
                  </a:lnTo>
                  <a:lnTo>
                    <a:pt x="14" y="120"/>
                  </a:lnTo>
                  <a:lnTo>
                    <a:pt x="14" y="116"/>
                  </a:lnTo>
                  <a:lnTo>
                    <a:pt x="14" y="110"/>
                  </a:lnTo>
                  <a:lnTo>
                    <a:pt x="20" y="98"/>
                  </a:lnTo>
                  <a:lnTo>
                    <a:pt x="20" y="90"/>
                  </a:lnTo>
                  <a:lnTo>
                    <a:pt x="20" y="82"/>
                  </a:lnTo>
                  <a:lnTo>
                    <a:pt x="14" y="66"/>
                  </a:lnTo>
                  <a:lnTo>
                    <a:pt x="10" y="56"/>
                  </a:lnTo>
                  <a:lnTo>
                    <a:pt x="4" y="54"/>
                  </a:lnTo>
                  <a:lnTo>
                    <a:pt x="2" y="56"/>
                  </a:lnTo>
                  <a:lnTo>
                    <a:pt x="0" y="52"/>
                  </a:lnTo>
                  <a:lnTo>
                    <a:pt x="2" y="52"/>
                  </a:lnTo>
                  <a:lnTo>
                    <a:pt x="2" y="46"/>
                  </a:lnTo>
                  <a:lnTo>
                    <a:pt x="2" y="44"/>
                  </a:lnTo>
                  <a:lnTo>
                    <a:pt x="2" y="42"/>
                  </a:lnTo>
                  <a:lnTo>
                    <a:pt x="6" y="26"/>
                  </a:lnTo>
                  <a:lnTo>
                    <a:pt x="8" y="24"/>
                  </a:lnTo>
                  <a:lnTo>
                    <a:pt x="8" y="28"/>
                  </a:lnTo>
                  <a:lnTo>
                    <a:pt x="12" y="32"/>
                  </a:lnTo>
                  <a:lnTo>
                    <a:pt x="14" y="32"/>
                  </a:lnTo>
                  <a:lnTo>
                    <a:pt x="16" y="34"/>
                  </a:lnTo>
                  <a:lnTo>
                    <a:pt x="24" y="36"/>
                  </a:lnTo>
                  <a:lnTo>
                    <a:pt x="26" y="36"/>
                  </a:lnTo>
                  <a:lnTo>
                    <a:pt x="30" y="36"/>
                  </a:lnTo>
                  <a:lnTo>
                    <a:pt x="32" y="36"/>
                  </a:lnTo>
                  <a:lnTo>
                    <a:pt x="34" y="34"/>
                  </a:lnTo>
                  <a:lnTo>
                    <a:pt x="34" y="32"/>
                  </a:lnTo>
                  <a:lnTo>
                    <a:pt x="36" y="32"/>
                  </a:lnTo>
                  <a:lnTo>
                    <a:pt x="42" y="28"/>
                  </a:lnTo>
                  <a:lnTo>
                    <a:pt x="44" y="30"/>
                  </a:lnTo>
                  <a:lnTo>
                    <a:pt x="46" y="28"/>
                  </a:lnTo>
                  <a:lnTo>
                    <a:pt x="48" y="28"/>
                  </a:lnTo>
                  <a:lnTo>
                    <a:pt x="52" y="24"/>
                  </a:lnTo>
                  <a:lnTo>
                    <a:pt x="54" y="22"/>
                  </a:lnTo>
                  <a:lnTo>
                    <a:pt x="64" y="12"/>
                  </a:lnTo>
                  <a:lnTo>
                    <a:pt x="66" y="12"/>
                  </a:lnTo>
                  <a:lnTo>
                    <a:pt x="74" y="6"/>
                  </a:lnTo>
                  <a:lnTo>
                    <a:pt x="76" y="2"/>
                  </a:lnTo>
                  <a:lnTo>
                    <a:pt x="80" y="0"/>
                  </a:lnTo>
                  <a:lnTo>
                    <a:pt x="98" y="12"/>
                  </a:lnTo>
                  <a:lnTo>
                    <a:pt x="102" y="14"/>
                  </a:lnTo>
                  <a:lnTo>
                    <a:pt x="106" y="26"/>
                  </a:lnTo>
                  <a:lnTo>
                    <a:pt x="96" y="32"/>
                  </a:lnTo>
                  <a:lnTo>
                    <a:pt x="100" y="34"/>
                  </a:lnTo>
                  <a:lnTo>
                    <a:pt x="104" y="32"/>
                  </a:lnTo>
                  <a:lnTo>
                    <a:pt x="108" y="40"/>
                  </a:lnTo>
                  <a:lnTo>
                    <a:pt x="112" y="56"/>
                  </a:lnTo>
                  <a:lnTo>
                    <a:pt x="112" y="60"/>
                  </a:lnTo>
                  <a:lnTo>
                    <a:pt x="112" y="64"/>
                  </a:lnTo>
                  <a:lnTo>
                    <a:pt x="116" y="68"/>
                  </a:lnTo>
                  <a:lnTo>
                    <a:pt x="116" y="70"/>
                  </a:lnTo>
                  <a:lnTo>
                    <a:pt x="116" y="76"/>
                  </a:lnTo>
                  <a:lnTo>
                    <a:pt x="114" y="78"/>
                  </a:lnTo>
                  <a:lnTo>
                    <a:pt x="112" y="82"/>
                  </a:lnTo>
                  <a:lnTo>
                    <a:pt x="110" y="84"/>
                  </a:lnTo>
                  <a:lnTo>
                    <a:pt x="108" y="86"/>
                  </a:lnTo>
                  <a:lnTo>
                    <a:pt x="104" y="90"/>
                  </a:lnTo>
                  <a:lnTo>
                    <a:pt x="102" y="92"/>
                  </a:lnTo>
                  <a:lnTo>
                    <a:pt x="100" y="94"/>
                  </a:lnTo>
                  <a:lnTo>
                    <a:pt x="100" y="100"/>
                  </a:lnTo>
                  <a:lnTo>
                    <a:pt x="104" y="104"/>
                  </a:lnTo>
                  <a:lnTo>
                    <a:pt x="106" y="108"/>
                  </a:lnTo>
                  <a:lnTo>
                    <a:pt x="106" y="114"/>
                  </a:lnTo>
                  <a:lnTo>
                    <a:pt x="104" y="124"/>
                  </a:lnTo>
                  <a:lnTo>
                    <a:pt x="102" y="136"/>
                  </a:lnTo>
                  <a:lnTo>
                    <a:pt x="102" y="138"/>
                  </a:lnTo>
                  <a:lnTo>
                    <a:pt x="102" y="140"/>
                  </a:lnTo>
                  <a:lnTo>
                    <a:pt x="102" y="142"/>
                  </a:lnTo>
                  <a:lnTo>
                    <a:pt x="100" y="160"/>
                  </a:lnTo>
                  <a:lnTo>
                    <a:pt x="98" y="164"/>
                  </a:lnTo>
                  <a:lnTo>
                    <a:pt x="96" y="170"/>
                  </a:lnTo>
                  <a:lnTo>
                    <a:pt x="94" y="178"/>
                  </a:lnTo>
                  <a:lnTo>
                    <a:pt x="92" y="188"/>
                  </a:lnTo>
                  <a:lnTo>
                    <a:pt x="92" y="192"/>
                  </a:lnTo>
                  <a:lnTo>
                    <a:pt x="90" y="196"/>
                  </a:lnTo>
                  <a:lnTo>
                    <a:pt x="88" y="198"/>
                  </a:lnTo>
                  <a:lnTo>
                    <a:pt x="82" y="196"/>
                  </a:lnTo>
                  <a:lnTo>
                    <a:pt x="80" y="196"/>
                  </a:lnTo>
                  <a:lnTo>
                    <a:pt x="78" y="194"/>
                  </a:lnTo>
                  <a:lnTo>
                    <a:pt x="76" y="192"/>
                  </a:lnTo>
                  <a:lnTo>
                    <a:pt x="76" y="190"/>
                  </a:lnTo>
                  <a:lnTo>
                    <a:pt x="74" y="188"/>
                  </a:lnTo>
                  <a:lnTo>
                    <a:pt x="72" y="188"/>
                  </a:lnTo>
                  <a:lnTo>
                    <a:pt x="62" y="190"/>
                  </a:lnTo>
                  <a:lnTo>
                    <a:pt x="52" y="182"/>
                  </a:lnTo>
                  <a:lnTo>
                    <a:pt x="50" y="194"/>
                  </a:lnTo>
                  <a:lnTo>
                    <a:pt x="50" y="196"/>
                  </a:lnTo>
                  <a:lnTo>
                    <a:pt x="52" y="198"/>
                  </a:lnTo>
                  <a:lnTo>
                    <a:pt x="52" y="202"/>
                  </a:lnTo>
                  <a:lnTo>
                    <a:pt x="50" y="208"/>
                  </a:lnTo>
                  <a:lnTo>
                    <a:pt x="42" y="214"/>
                  </a:lnTo>
                  <a:lnTo>
                    <a:pt x="38" y="216"/>
                  </a:lnTo>
                  <a:lnTo>
                    <a:pt x="28" y="212"/>
                  </a:lnTo>
                  <a:lnTo>
                    <a:pt x="24" y="214"/>
                  </a:lnTo>
                  <a:lnTo>
                    <a:pt x="22" y="212"/>
                  </a:lnTo>
                  <a:lnTo>
                    <a:pt x="18" y="202"/>
                  </a:lnTo>
                  <a:lnTo>
                    <a:pt x="18" y="200"/>
                  </a:lnTo>
                  <a:lnTo>
                    <a:pt x="14" y="198"/>
                  </a:lnTo>
                  <a:lnTo>
                    <a:pt x="12" y="200"/>
                  </a:lnTo>
                  <a:lnTo>
                    <a:pt x="10" y="204"/>
                  </a:lnTo>
                  <a:lnTo>
                    <a:pt x="10" y="206"/>
                  </a:lnTo>
                  <a:lnTo>
                    <a:pt x="6" y="206"/>
                  </a:lnTo>
                  <a:lnTo>
                    <a:pt x="4" y="200"/>
                  </a:lnTo>
                  <a:lnTo>
                    <a:pt x="4" y="196"/>
                  </a:lnTo>
                  <a:lnTo>
                    <a:pt x="4" y="192"/>
                  </a:lnTo>
                  <a:lnTo>
                    <a:pt x="10" y="192"/>
                  </a:lnTo>
                  <a:lnTo>
                    <a:pt x="12" y="196"/>
                  </a:lnTo>
                  <a:lnTo>
                    <a:pt x="12" y="192"/>
                  </a:lnTo>
                  <a:lnTo>
                    <a:pt x="10" y="188"/>
                  </a:lnTo>
                  <a:lnTo>
                    <a:pt x="8" y="184"/>
                  </a:lnTo>
                  <a:lnTo>
                    <a:pt x="6" y="18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4" name="Freeform 2803"/>
            <p:cNvSpPr>
              <a:spLocks/>
            </p:cNvSpPr>
            <p:nvPr/>
          </p:nvSpPr>
          <p:spPr bwMode="auto">
            <a:xfrm>
              <a:off x="2452" y="3338"/>
              <a:ext cx="232" cy="152"/>
            </a:xfrm>
            <a:custGeom>
              <a:avLst/>
              <a:gdLst/>
              <a:ahLst/>
              <a:cxnLst>
                <a:cxn ang="0">
                  <a:pos x="190" y="148"/>
                </a:cxn>
                <a:cxn ang="0">
                  <a:pos x="178" y="144"/>
                </a:cxn>
                <a:cxn ang="0">
                  <a:pos x="172" y="146"/>
                </a:cxn>
                <a:cxn ang="0">
                  <a:pos x="166" y="146"/>
                </a:cxn>
                <a:cxn ang="0">
                  <a:pos x="146" y="134"/>
                </a:cxn>
                <a:cxn ang="0">
                  <a:pos x="142" y="126"/>
                </a:cxn>
                <a:cxn ang="0">
                  <a:pos x="140" y="122"/>
                </a:cxn>
                <a:cxn ang="0">
                  <a:pos x="134" y="116"/>
                </a:cxn>
                <a:cxn ang="0">
                  <a:pos x="124" y="110"/>
                </a:cxn>
                <a:cxn ang="0">
                  <a:pos x="112" y="108"/>
                </a:cxn>
                <a:cxn ang="0">
                  <a:pos x="108" y="110"/>
                </a:cxn>
                <a:cxn ang="0">
                  <a:pos x="94" y="104"/>
                </a:cxn>
                <a:cxn ang="0">
                  <a:pos x="88" y="98"/>
                </a:cxn>
                <a:cxn ang="0">
                  <a:pos x="80" y="92"/>
                </a:cxn>
                <a:cxn ang="0">
                  <a:pos x="70" y="88"/>
                </a:cxn>
                <a:cxn ang="0">
                  <a:pos x="60" y="82"/>
                </a:cxn>
                <a:cxn ang="0">
                  <a:pos x="56" y="76"/>
                </a:cxn>
                <a:cxn ang="0">
                  <a:pos x="46" y="72"/>
                </a:cxn>
                <a:cxn ang="0">
                  <a:pos x="38" y="66"/>
                </a:cxn>
                <a:cxn ang="0">
                  <a:pos x="26" y="64"/>
                </a:cxn>
                <a:cxn ang="0">
                  <a:pos x="20" y="64"/>
                </a:cxn>
                <a:cxn ang="0">
                  <a:pos x="14" y="66"/>
                </a:cxn>
                <a:cxn ang="0">
                  <a:pos x="2" y="52"/>
                </a:cxn>
                <a:cxn ang="0">
                  <a:pos x="2" y="42"/>
                </a:cxn>
                <a:cxn ang="0">
                  <a:pos x="2" y="32"/>
                </a:cxn>
                <a:cxn ang="0">
                  <a:pos x="10" y="20"/>
                </a:cxn>
                <a:cxn ang="0">
                  <a:pos x="28" y="18"/>
                </a:cxn>
                <a:cxn ang="0">
                  <a:pos x="36" y="22"/>
                </a:cxn>
                <a:cxn ang="0">
                  <a:pos x="42" y="20"/>
                </a:cxn>
                <a:cxn ang="0">
                  <a:pos x="46" y="14"/>
                </a:cxn>
                <a:cxn ang="0">
                  <a:pos x="64" y="6"/>
                </a:cxn>
                <a:cxn ang="0">
                  <a:pos x="68" y="12"/>
                </a:cxn>
                <a:cxn ang="0">
                  <a:pos x="68" y="16"/>
                </a:cxn>
                <a:cxn ang="0">
                  <a:pos x="96" y="30"/>
                </a:cxn>
                <a:cxn ang="0">
                  <a:pos x="100" y="28"/>
                </a:cxn>
                <a:cxn ang="0">
                  <a:pos x="108" y="26"/>
                </a:cxn>
                <a:cxn ang="0">
                  <a:pos x="114" y="24"/>
                </a:cxn>
                <a:cxn ang="0">
                  <a:pos x="132" y="26"/>
                </a:cxn>
                <a:cxn ang="0">
                  <a:pos x="140" y="26"/>
                </a:cxn>
                <a:cxn ang="0">
                  <a:pos x="160" y="20"/>
                </a:cxn>
                <a:cxn ang="0">
                  <a:pos x="178" y="12"/>
                </a:cxn>
                <a:cxn ang="0">
                  <a:pos x="192" y="16"/>
                </a:cxn>
                <a:cxn ang="0">
                  <a:pos x="208" y="8"/>
                </a:cxn>
                <a:cxn ang="0">
                  <a:pos x="226" y="0"/>
                </a:cxn>
                <a:cxn ang="0">
                  <a:pos x="230" y="4"/>
                </a:cxn>
                <a:cxn ang="0">
                  <a:pos x="226" y="8"/>
                </a:cxn>
                <a:cxn ang="0">
                  <a:pos x="222" y="20"/>
                </a:cxn>
                <a:cxn ang="0">
                  <a:pos x="212" y="32"/>
                </a:cxn>
                <a:cxn ang="0">
                  <a:pos x="202" y="48"/>
                </a:cxn>
                <a:cxn ang="0">
                  <a:pos x="200" y="58"/>
                </a:cxn>
                <a:cxn ang="0">
                  <a:pos x="198" y="70"/>
                </a:cxn>
                <a:cxn ang="0">
                  <a:pos x="192" y="74"/>
                </a:cxn>
                <a:cxn ang="0">
                  <a:pos x="194" y="88"/>
                </a:cxn>
                <a:cxn ang="0">
                  <a:pos x="202" y="104"/>
                </a:cxn>
                <a:cxn ang="0">
                  <a:pos x="206" y="108"/>
                </a:cxn>
                <a:cxn ang="0">
                  <a:pos x="210" y="116"/>
                </a:cxn>
                <a:cxn ang="0">
                  <a:pos x="206" y="120"/>
                </a:cxn>
                <a:cxn ang="0">
                  <a:pos x="200" y="124"/>
                </a:cxn>
                <a:cxn ang="0">
                  <a:pos x="194" y="134"/>
                </a:cxn>
                <a:cxn ang="0">
                  <a:pos x="196" y="142"/>
                </a:cxn>
                <a:cxn ang="0">
                  <a:pos x="192" y="152"/>
                </a:cxn>
              </a:cxnLst>
              <a:rect l="0" t="0" r="r" b="b"/>
              <a:pathLst>
                <a:path w="232" h="152">
                  <a:moveTo>
                    <a:pt x="192" y="152"/>
                  </a:moveTo>
                  <a:lnTo>
                    <a:pt x="190" y="148"/>
                  </a:lnTo>
                  <a:lnTo>
                    <a:pt x="188" y="146"/>
                  </a:lnTo>
                  <a:lnTo>
                    <a:pt x="178" y="144"/>
                  </a:lnTo>
                  <a:lnTo>
                    <a:pt x="176" y="144"/>
                  </a:lnTo>
                  <a:lnTo>
                    <a:pt x="172" y="146"/>
                  </a:lnTo>
                  <a:lnTo>
                    <a:pt x="170" y="146"/>
                  </a:lnTo>
                  <a:lnTo>
                    <a:pt x="166" y="146"/>
                  </a:lnTo>
                  <a:lnTo>
                    <a:pt x="154" y="140"/>
                  </a:lnTo>
                  <a:lnTo>
                    <a:pt x="146" y="134"/>
                  </a:lnTo>
                  <a:lnTo>
                    <a:pt x="146" y="130"/>
                  </a:lnTo>
                  <a:lnTo>
                    <a:pt x="142" y="126"/>
                  </a:lnTo>
                  <a:lnTo>
                    <a:pt x="142" y="124"/>
                  </a:lnTo>
                  <a:lnTo>
                    <a:pt x="140" y="122"/>
                  </a:lnTo>
                  <a:lnTo>
                    <a:pt x="138" y="120"/>
                  </a:lnTo>
                  <a:lnTo>
                    <a:pt x="134" y="116"/>
                  </a:lnTo>
                  <a:lnTo>
                    <a:pt x="130" y="112"/>
                  </a:lnTo>
                  <a:lnTo>
                    <a:pt x="124" y="110"/>
                  </a:lnTo>
                  <a:lnTo>
                    <a:pt x="120" y="108"/>
                  </a:lnTo>
                  <a:lnTo>
                    <a:pt x="112" y="108"/>
                  </a:lnTo>
                  <a:lnTo>
                    <a:pt x="110" y="110"/>
                  </a:lnTo>
                  <a:lnTo>
                    <a:pt x="108" y="110"/>
                  </a:lnTo>
                  <a:lnTo>
                    <a:pt x="104" y="110"/>
                  </a:lnTo>
                  <a:lnTo>
                    <a:pt x="94" y="104"/>
                  </a:lnTo>
                  <a:lnTo>
                    <a:pt x="88" y="100"/>
                  </a:lnTo>
                  <a:lnTo>
                    <a:pt x="88" y="98"/>
                  </a:lnTo>
                  <a:lnTo>
                    <a:pt x="82" y="92"/>
                  </a:lnTo>
                  <a:lnTo>
                    <a:pt x="80" y="92"/>
                  </a:lnTo>
                  <a:lnTo>
                    <a:pt x="76" y="92"/>
                  </a:lnTo>
                  <a:lnTo>
                    <a:pt x="70" y="88"/>
                  </a:lnTo>
                  <a:lnTo>
                    <a:pt x="64" y="84"/>
                  </a:lnTo>
                  <a:lnTo>
                    <a:pt x="60" y="82"/>
                  </a:lnTo>
                  <a:lnTo>
                    <a:pt x="60" y="80"/>
                  </a:lnTo>
                  <a:lnTo>
                    <a:pt x="56" y="76"/>
                  </a:lnTo>
                  <a:lnTo>
                    <a:pt x="52" y="72"/>
                  </a:lnTo>
                  <a:lnTo>
                    <a:pt x="46" y="72"/>
                  </a:lnTo>
                  <a:lnTo>
                    <a:pt x="38" y="68"/>
                  </a:lnTo>
                  <a:lnTo>
                    <a:pt x="38" y="66"/>
                  </a:lnTo>
                  <a:lnTo>
                    <a:pt x="34" y="64"/>
                  </a:lnTo>
                  <a:lnTo>
                    <a:pt x="26" y="64"/>
                  </a:lnTo>
                  <a:lnTo>
                    <a:pt x="22" y="64"/>
                  </a:lnTo>
                  <a:lnTo>
                    <a:pt x="20" y="64"/>
                  </a:lnTo>
                  <a:lnTo>
                    <a:pt x="18" y="66"/>
                  </a:lnTo>
                  <a:lnTo>
                    <a:pt x="14" y="66"/>
                  </a:lnTo>
                  <a:lnTo>
                    <a:pt x="6" y="56"/>
                  </a:lnTo>
                  <a:lnTo>
                    <a:pt x="2" y="52"/>
                  </a:lnTo>
                  <a:lnTo>
                    <a:pt x="0" y="42"/>
                  </a:lnTo>
                  <a:lnTo>
                    <a:pt x="2" y="42"/>
                  </a:lnTo>
                  <a:lnTo>
                    <a:pt x="2" y="36"/>
                  </a:lnTo>
                  <a:lnTo>
                    <a:pt x="2" y="32"/>
                  </a:lnTo>
                  <a:lnTo>
                    <a:pt x="6" y="24"/>
                  </a:lnTo>
                  <a:lnTo>
                    <a:pt x="10" y="20"/>
                  </a:lnTo>
                  <a:lnTo>
                    <a:pt x="22" y="12"/>
                  </a:lnTo>
                  <a:lnTo>
                    <a:pt x="28" y="18"/>
                  </a:lnTo>
                  <a:lnTo>
                    <a:pt x="34" y="22"/>
                  </a:lnTo>
                  <a:lnTo>
                    <a:pt x="36" y="22"/>
                  </a:lnTo>
                  <a:lnTo>
                    <a:pt x="38" y="22"/>
                  </a:lnTo>
                  <a:lnTo>
                    <a:pt x="42" y="20"/>
                  </a:lnTo>
                  <a:lnTo>
                    <a:pt x="46" y="18"/>
                  </a:lnTo>
                  <a:lnTo>
                    <a:pt x="46" y="14"/>
                  </a:lnTo>
                  <a:lnTo>
                    <a:pt x="48" y="10"/>
                  </a:lnTo>
                  <a:lnTo>
                    <a:pt x="64" y="6"/>
                  </a:lnTo>
                  <a:lnTo>
                    <a:pt x="68" y="10"/>
                  </a:lnTo>
                  <a:lnTo>
                    <a:pt x="68" y="12"/>
                  </a:lnTo>
                  <a:lnTo>
                    <a:pt x="68" y="14"/>
                  </a:lnTo>
                  <a:lnTo>
                    <a:pt x="68" y="16"/>
                  </a:lnTo>
                  <a:lnTo>
                    <a:pt x="92" y="28"/>
                  </a:lnTo>
                  <a:lnTo>
                    <a:pt x="96" y="30"/>
                  </a:lnTo>
                  <a:lnTo>
                    <a:pt x="98" y="30"/>
                  </a:lnTo>
                  <a:lnTo>
                    <a:pt x="100" y="28"/>
                  </a:lnTo>
                  <a:lnTo>
                    <a:pt x="106" y="26"/>
                  </a:lnTo>
                  <a:lnTo>
                    <a:pt x="108" y="26"/>
                  </a:lnTo>
                  <a:lnTo>
                    <a:pt x="110" y="24"/>
                  </a:lnTo>
                  <a:lnTo>
                    <a:pt x="114" y="24"/>
                  </a:lnTo>
                  <a:lnTo>
                    <a:pt x="124" y="26"/>
                  </a:lnTo>
                  <a:lnTo>
                    <a:pt x="132" y="26"/>
                  </a:lnTo>
                  <a:lnTo>
                    <a:pt x="136" y="26"/>
                  </a:lnTo>
                  <a:lnTo>
                    <a:pt x="140" y="26"/>
                  </a:lnTo>
                  <a:lnTo>
                    <a:pt x="152" y="24"/>
                  </a:lnTo>
                  <a:lnTo>
                    <a:pt x="160" y="20"/>
                  </a:lnTo>
                  <a:lnTo>
                    <a:pt x="170" y="14"/>
                  </a:lnTo>
                  <a:lnTo>
                    <a:pt x="178" y="12"/>
                  </a:lnTo>
                  <a:lnTo>
                    <a:pt x="184" y="14"/>
                  </a:lnTo>
                  <a:lnTo>
                    <a:pt x="192" y="16"/>
                  </a:lnTo>
                  <a:lnTo>
                    <a:pt x="198" y="14"/>
                  </a:lnTo>
                  <a:lnTo>
                    <a:pt x="208" y="8"/>
                  </a:lnTo>
                  <a:lnTo>
                    <a:pt x="224" y="0"/>
                  </a:lnTo>
                  <a:lnTo>
                    <a:pt x="226" y="0"/>
                  </a:lnTo>
                  <a:lnTo>
                    <a:pt x="232" y="2"/>
                  </a:lnTo>
                  <a:lnTo>
                    <a:pt x="230" y="4"/>
                  </a:lnTo>
                  <a:lnTo>
                    <a:pt x="228" y="6"/>
                  </a:lnTo>
                  <a:lnTo>
                    <a:pt x="226" y="8"/>
                  </a:lnTo>
                  <a:lnTo>
                    <a:pt x="224" y="14"/>
                  </a:lnTo>
                  <a:lnTo>
                    <a:pt x="222" y="20"/>
                  </a:lnTo>
                  <a:lnTo>
                    <a:pt x="218" y="26"/>
                  </a:lnTo>
                  <a:lnTo>
                    <a:pt x="212" y="32"/>
                  </a:lnTo>
                  <a:lnTo>
                    <a:pt x="204" y="46"/>
                  </a:lnTo>
                  <a:lnTo>
                    <a:pt x="202" y="48"/>
                  </a:lnTo>
                  <a:lnTo>
                    <a:pt x="202" y="54"/>
                  </a:lnTo>
                  <a:lnTo>
                    <a:pt x="200" y="58"/>
                  </a:lnTo>
                  <a:lnTo>
                    <a:pt x="198" y="68"/>
                  </a:lnTo>
                  <a:lnTo>
                    <a:pt x="198" y="70"/>
                  </a:lnTo>
                  <a:lnTo>
                    <a:pt x="196" y="72"/>
                  </a:lnTo>
                  <a:lnTo>
                    <a:pt x="192" y="74"/>
                  </a:lnTo>
                  <a:lnTo>
                    <a:pt x="192" y="76"/>
                  </a:lnTo>
                  <a:lnTo>
                    <a:pt x="194" y="88"/>
                  </a:lnTo>
                  <a:lnTo>
                    <a:pt x="200" y="102"/>
                  </a:lnTo>
                  <a:lnTo>
                    <a:pt x="202" y="104"/>
                  </a:lnTo>
                  <a:lnTo>
                    <a:pt x="204" y="108"/>
                  </a:lnTo>
                  <a:lnTo>
                    <a:pt x="206" y="108"/>
                  </a:lnTo>
                  <a:lnTo>
                    <a:pt x="208" y="110"/>
                  </a:lnTo>
                  <a:lnTo>
                    <a:pt x="210" y="116"/>
                  </a:lnTo>
                  <a:lnTo>
                    <a:pt x="210" y="118"/>
                  </a:lnTo>
                  <a:lnTo>
                    <a:pt x="206" y="120"/>
                  </a:lnTo>
                  <a:lnTo>
                    <a:pt x="202" y="124"/>
                  </a:lnTo>
                  <a:lnTo>
                    <a:pt x="200" y="124"/>
                  </a:lnTo>
                  <a:lnTo>
                    <a:pt x="198" y="128"/>
                  </a:lnTo>
                  <a:lnTo>
                    <a:pt x="194" y="134"/>
                  </a:lnTo>
                  <a:lnTo>
                    <a:pt x="194" y="138"/>
                  </a:lnTo>
                  <a:lnTo>
                    <a:pt x="196" y="142"/>
                  </a:lnTo>
                  <a:lnTo>
                    <a:pt x="196" y="150"/>
                  </a:lnTo>
                  <a:lnTo>
                    <a:pt x="192" y="15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74" name="Freeform 2553"/>
          <p:cNvSpPr>
            <a:spLocks/>
          </p:cNvSpPr>
          <p:nvPr/>
        </p:nvSpPr>
        <p:spPr bwMode="auto">
          <a:xfrm>
            <a:off x="5655104" y="3771308"/>
            <a:ext cx="236294" cy="129961"/>
          </a:xfrm>
          <a:custGeom>
            <a:avLst/>
            <a:gdLst/>
            <a:ahLst/>
            <a:cxnLst>
              <a:cxn ang="0">
                <a:pos x="72" y="2"/>
              </a:cxn>
              <a:cxn ang="0">
                <a:pos x="76" y="0"/>
              </a:cxn>
              <a:cxn ang="0">
                <a:pos x="88" y="6"/>
              </a:cxn>
              <a:cxn ang="0">
                <a:pos x="96" y="12"/>
              </a:cxn>
              <a:cxn ang="0">
                <a:pos x="118" y="20"/>
              </a:cxn>
              <a:cxn ang="0">
                <a:pos x="122" y="16"/>
              </a:cxn>
              <a:cxn ang="0">
                <a:pos x="138" y="14"/>
              </a:cxn>
              <a:cxn ang="0">
                <a:pos x="146" y="24"/>
              </a:cxn>
              <a:cxn ang="0">
                <a:pos x="150" y="24"/>
              </a:cxn>
              <a:cxn ang="0">
                <a:pos x="158" y="30"/>
              </a:cxn>
              <a:cxn ang="0">
                <a:pos x="160" y="36"/>
              </a:cxn>
              <a:cxn ang="0">
                <a:pos x="154" y="44"/>
              </a:cxn>
              <a:cxn ang="0">
                <a:pos x="154" y="62"/>
              </a:cxn>
              <a:cxn ang="0">
                <a:pos x="154" y="68"/>
              </a:cxn>
              <a:cxn ang="0">
                <a:pos x="156" y="72"/>
              </a:cxn>
              <a:cxn ang="0">
                <a:pos x="158" y="78"/>
              </a:cxn>
              <a:cxn ang="0">
                <a:pos x="152" y="80"/>
              </a:cxn>
              <a:cxn ang="0">
                <a:pos x="142" y="82"/>
              </a:cxn>
              <a:cxn ang="0">
                <a:pos x="132" y="82"/>
              </a:cxn>
              <a:cxn ang="0">
                <a:pos x="118" y="84"/>
              </a:cxn>
              <a:cxn ang="0">
                <a:pos x="104" y="86"/>
              </a:cxn>
              <a:cxn ang="0">
                <a:pos x="96" y="86"/>
              </a:cxn>
              <a:cxn ang="0">
                <a:pos x="88" y="88"/>
              </a:cxn>
              <a:cxn ang="0">
                <a:pos x="84" y="88"/>
              </a:cxn>
              <a:cxn ang="0">
                <a:pos x="76" y="88"/>
              </a:cxn>
              <a:cxn ang="0">
                <a:pos x="72" y="88"/>
              </a:cxn>
              <a:cxn ang="0">
                <a:pos x="50" y="88"/>
              </a:cxn>
              <a:cxn ang="0">
                <a:pos x="30" y="86"/>
              </a:cxn>
              <a:cxn ang="0">
                <a:pos x="18" y="84"/>
              </a:cxn>
              <a:cxn ang="0">
                <a:pos x="10" y="84"/>
              </a:cxn>
              <a:cxn ang="0">
                <a:pos x="0" y="84"/>
              </a:cxn>
              <a:cxn ang="0">
                <a:pos x="12" y="72"/>
              </a:cxn>
              <a:cxn ang="0">
                <a:pos x="20" y="66"/>
              </a:cxn>
              <a:cxn ang="0">
                <a:pos x="30" y="60"/>
              </a:cxn>
              <a:cxn ang="0">
                <a:pos x="10" y="56"/>
              </a:cxn>
              <a:cxn ang="0">
                <a:pos x="6" y="60"/>
              </a:cxn>
              <a:cxn ang="0">
                <a:pos x="6" y="64"/>
              </a:cxn>
              <a:cxn ang="0">
                <a:pos x="4" y="66"/>
              </a:cxn>
              <a:cxn ang="0">
                <a:pos x="4" y="60"/>
              </a:cxn>
              <a:cxn ang="0">
                <a:pos x="6" y="52"/>
              </a:cxn>
              <a:cxn ang="0">
                <a:pos x="4" y="46"/>
              </a:cxn>
              <a:cxn ang="0">
                <a:pos x="4" y="40"/>
              </a:cxn>
              <a:cxn ang="0">
                <a:pos x="6" y="36"/>
              </a:cxn>
              <a:cxn ang="0">
                <a:pos x="26" y="36"/>
              </a:cxn>
              <a:cxn ang="0">
                <a:pos x="36" y="30"/>
              </a:cxn>
              <a:cxn ang="0">
                <a:pos x="40" y="26"/>
              </a:cxn>
              <a:cxn ang="0">
                <a:pos x="44" y="22"/>
              </a:cxn>
              <a:cxn ang="0">
                <a:pos x="52" y="6"/>
              </a:cxn>
              <a:cxn ang="0">
                <a:pos x="56" y="2"/>
              </a:cxn>
              <a:cxn ang="0">
                <a:pos x="52" y="10"/>
              </a:cxn>
              <a:cxn ang="0">
                <a:pos x="44" y="24"/>
              </a:cxn>
              <a:cxn ang="0">
                <a:pos x="40" y="28"/>
              </a:cxn>
              <a:cxn ang="0">
                <a:pos x="36" y="32"/>
              </a:cxn>
              <a:cxn ang="0">
                <a:pos x="38" y="34"/>
              </a:cxn>
              <a:cxn ang="0">
                <a:pos x="48" y="34"/>
              </a:cxn>
              <a:cxn ang="0">
                <a:pos x="54" y="36"/>
              </a:cxn>
              <a:cxn ang="0">
                <a:pos x="66" y="36"/>
              </a:cxn>
              <a:cxn ang="0">
                <a:pos x="72" y="30"/>
              </a:cxn>
              <a:cxn ang="0">
                <a:pos x="72" y="24"/>
              </a:cxn>
              <a:cxn ang="0">
                <a:pos x="70" y="8"/>
              </a:cxn>
              <a:cxn ang="0">
                <a:pos x="72" y="6"/>
              </a:cxn>
            </a:cxnLst>
            <a:rect l="0" t="0" r="r" b="b"/>
            <a:pathLst>
              <a:path w="160" h="88">
                <a:moveTo>
                  <a:pt x="72" y="4"/>
                </a:moveTo>
                <a:lnTo>
                  <a:pt x="72" y="2"/>
                </a:lnTo>
                <a:lnTo>
                  <a:pt x="74" y="2"/>
                </a:lnTo>
                <a:lnTo>
                  <a:pt x="76" y="0"/>
                </a:lnTo>
                <a:lnTo>
                  <a:pt x="80" y="2"/>
                </a:lnTo>
                <a:lnTo>
                  <a:pt x="88" y="6"/>
                </a:lnTo>
                <a:lnTo>
                  <a:pt x="92" y="8"/>
                </a:lnTo>
                <a:lnTo>
                  <a:pt x="96" y="12"/>
                </a:lnTo>
                <a:lnTo>
                  <a:pt x="116" y="20"/>
                </a:lnTo>
                <a:lnTo>
                  <a:pt x="118" y="20"/>
                </a:lnTo>
                <a:lnTo>
                  <a:pt x="120" y="18"/>
                </a:lnTo>
                <a:lnTo>
                  <a:pt x="122" y="16"/>
                </a:lnTo>
                <a:lnTo>
                  <a:pt x="126" y="16"/>
                </a:lnTo>
                <a:lnTo>
                  <a:pt x="138" y="14"/>
                </a:lnTo>
                <a:lnTo>
                  <a:pt x="144" y="16"/>
                </a:lnTo>
                <a:lnTo>
                  <a:pt x="146" y="24"/>
                </a:lnTo>
                <a:lnTo>
                  <a:pt x="148" y="24"/>
                </a:lnTo>
                <a:lnTo>
                  <a:pt x="150" y="24"/>
                </a:lnTo>
                <a:lnTo>
                  <a:pt x="158" y="28"/>
                </a:lnTo>
                <a:lnTo>
                  <a:pt x="158" y="30"/>
                </a:lnTo>
                <a:lnTo>
                  <a:pt x="160" y="34"/>
                </a:lnTo>
                <a:lnTo>
                  <a:pt x="160" y="36"/>
                </a:lnTo>
                <a:lnTo>
                  <a:pt x="158" y="40"/>
                </a:lnTo>
                <a:lnTo>
                  <a:pt x="154" y="44"/>
                </a:lnTo>
                <a:lnTo>
                  <a:pt x="154" y="48"/>
                </a:lnTo>
                <a:lnTo>
                  <a:pt x="154" y="62"/>
                </a:lnTo>
                <a:lnTo>
                  <a:pt x="154" y="66"/>
                </a:lnTo>
                <a:lnTo>
                  <a:pt x="154" y="68"/>
                </a:lnTo>
                <a:lnTo>
                  <a:pt x="154" y="70"/>
                </a:lnTo>
                <a:lnTo>
                  <a:pt x="156" y="72"/>
                </a:lnTo>
                <a:lnTo>
                  <a:pt x="160" y="76"/>
                </a:lnTo>
                <a:lnTo>
                  <a:pt x="158" y="78"/>
                </a:lnTo>
                <a:lnTo>
                  <a:pt x="154" y="78"/>
                </a:lnTo>
                <a:lnTo>
                  <a:pt x="152" y="80"/>
                </a:lnTo>
                <a:lnTo>
                  <a:pt x="142" y="80"/>
                </a:lnTo>
                <a:lnTo>
                  <a:pt x="142" y="82"/>
                </a:lnTo>
                <a:lnTo>
                  <a:pt x="134" y="82"/>
                </a:lnTo>
                <a:lnTo>
                  <a:pt x="132" y="82"/>
                </a:lnTo>
                <a:lnTo>
                  <a:pt x="126" y="82"/>
                </a:lnTo>
                <a:lnTo>
                  <a:pt x="118" y="84"/>
                </a:lnTo>
                <a:lnTo>
                  <a:pt x="110" y="86"/>
                </a:lnTo>
                <a:lnTo>
                  <a:pt x="104" y="86"/>
                </a:lnTo>
                <a:lnTo>
                  <a:pt x="98" y="86"/>
                </a:lnTo>
                <a:lnTo>
                  <a:pt x="96" y="86"/>
                </a:lnTo>
                <a:lnTo>
                  <a:pt x="92" y="86"/>
                </a:lnTo>
                <a:lnTo>
                  <a:pt x="88" y="88"/>
                </a:lnTo>
                <a:lnTo>
                  <a:pt x="86" y="88"/>
                </a:lnTo>
                <a:lnTo>
                  <a:pt x="84" y="88"/>
                </a:lnTo>
                <a:lnTo>
                  <a:pt x="80" y="88"/>
                </a:lnTo>
                <a:lnTo>
                  <a:pt x="76" y="88"/>
                </a:lnTo>
                <a:lnTo>
                  <a:pt x="74" y="88"/>
                </a:lnTo>
                <a:lnTo>
                  <a:pt x="72" y="88"/>
                </a:lnTo>
                <a:lnTo>
                  <a:pt x="60" y="86"/>
                </a:lnTo>
                <a:lnTo>
                  <a:pt x="50" y="88"/>
                </a:lnTo>
                <a:lnTo>
                  <a:pt x="34" y="86"/>
                </a:lnTo>
                <a:lnTo>
                  <a:pt x="30" y="86"/>
                </a:lnTo>
                <a:lnTo>
                  <a:pt x="28" y="86"/>
                </a:lnTo>
                <a:lnTo>
                  <a:pt x="18" y="84"/>
                </a:lnTo>
                <a:lnTo>
                  <a:pt x="14" y="84"/>
                </a:lnTo>
                <a:lnTo>
                  <a:pt x="10" y="84"/>
                </a:lnTo>
                <a:lnTo>
                  <a:pt x="2" y="84"/>
                </a:lnTo>
                <a:lnTo>
                  <a:pt x="0" y="84"/>
                </a:lnTo>
                <a:lnTo>
                  <a:pt x="0" y="82"/>
                </a:lnTo>
                <a:lnTo>
                  <a:pt x="12" y="72"/>
                </a:lnTo>
                <a:lnTo>
                  <a:pt x="14" y="70"/>
                </a:lnTo>
                <a:lnTo>
                  <a:pt x="20" y="66"/>
                </a:lnTo>
                <a:lnTo>
                  <a:pt x="22" y="66"/>
                </a:lnTo>
                <a:lnTo>
                  <a:pt x="30" y="60"/>
                </a:lnTo>
                <a:lnTo>
                  <a:pt x="18" y="58"/>
                </a:lnTo>
                <a:lnTo>
                  <a:pt x="10" y="56"/>
                </a:lnTo>
                <a:lnTo>
                  <a:pt x="8" y="58"/>
                </a:lnTo>
                <a:lnTo>
                  <a:pt x="6" y="60"/>
                </a:lnTo>
                <a:lnTo>
                  <a:pt x="6" y="62"/>
                </a:lnTo>
                <a:lnTo>
                  <a:pt x="6" y="64"/>
                </a:lnTo>
                <a:lnTo>
                  <a:pt x="6" y="66"/>
                </a:lnTo>
                <a:lnTo>
                  <a:pt x="4" y="66"/>
                </a:lnTo>
                <a:lnTo>
                  <a:pt x="2" y="64"/>
                </a:lnTo>
                <a:lnTo>
                  <a:pt x="4" y="60"/>
                </a:lnTo>
                <a:lnTo>
                  <a:pt x="4" y="58"/>
                </a:lnTo>
                <a:lnTo>
                  <a:pt x="6" y="52"/>
                </a:lnTo>
                <a:lnTo>
                  <a:pt x="6" y="50"/>
                </a:lnTo>
                <a:lnTo>
                  <a:pt x="4" y="46"/>
                </a:lnTo>
                <a:lnTo>
                  <a:pt x="4" y="44"/>
                </a:lnTo>
                <a:lnTo>
                  <a:pt x="4" y="40"/>
                </a:lnTo>
                <a:lnTo>
                  <a:pt x="4" y="38"/>
                </a:lnTo>
                <a:lnTo>
                  <a:pt x="6" y="36"/>
                </a:lnTo>
                <a:lnTo>
                  <a:pt x="8" y="36"/>
                </a:lnTo>
                <a:lnTo>
                  <a:pt x="26" y="36"/>
                </a:lnTo>
                <a:lnTo>
                  <a:pt x="30" y="34"/>
                </a:lnTo>
                <a:lnTo>
                  <a:pt x="36" y="30"/>
                </a:lnTo>
                <a:lnTo>
                  <a:pt x="38" y="28"/>
                </a:lnTo>
                <a:lnTo>
                  <a:pt x="40" y="26"/>
                </a:lnTo>
                <a:lnTo>
                  <a:pt x="42" y="24"/>
                </a:lnTo>
                <a:lnTo>
                  <a:pt x="44" y="22"/>
                </a:lnTo>
                <a:lnTo>
                  <a:pt x="50" y="12"/>
                </a:lnTo>
                <a:lnTo>
                  <a:pt x="52" y="6"/>
                </a:lnTo>
                <a:lnTo>
                  <a:pt x="54" y="2"/>
                </a:lnTo>
                <a:lnTo>
                  <a:pt x="56" y="2"/>
                </a:lnTo>
                <a:lnTo>
                  <a:pt x="52" y="6"/>
                </a:lnTo>
                <a:lnTo>
                  <a:pt x="52" y="10"/>
                </a:lnTo>
                <a:lnTo>
                  <a:pt x="50" y="14"/>
                </a:lnTo>
                <a:lnTo>
                  <a:pt x="44" y="24"/>
                </a:lnTo>
                <a:lnTo>
                  <a:pt x="42" y="24"/>
                </a:lnTo>
                <a:lnTo>
                  <a:pt x="40" y="28"/>
                </a:lnTo>
                <a:lnTo>
                  <a:pt x="38" y="28"/>
                </a:lnTo>
                <a:lnTo>
                  <a:pt x="36" y="32"/>
                </a:lnTo>
                <a:lnTo>
                  <a:pt x="36" y="36"/>
                </a:lnTo>
                <a:lnTo>
                  <a:pt x="38" y="34"/>
                </a:lnTo>
                <a:lnTo>
                  <a:pt x="42" y="34"/>
                </a:lnTo>
                <a:lnTo>
                  <a:pt x="48" y="34"/>
                </a:lnTo>
                <a:lnTo>
                  <a:pt x="50" y="34"/>
                </a:lnTo>
                <a:lnTo>
                  <a:pt x="54" y="36"/>
                </a:lnTo>
                <a:lnTo>
                  <a:pt x="60" y="38"/>
                </a:lnTo>
                <a:lnTo>
                  <a:pt x="66" y="36"/>
                </a:lnTo>
                <a:lnTo>
                  <a:pt x="72" y="32"/>
                </a:lnTo>
                <a:lnTo>
                  <a:pt x="72" y="30"/>
                </a:lnTo>
                <a:lnTo>
                  <a:pt x="72" y="28"/>
                </a:lnTo>
                <a:lnTo>
                  <a:pt x="72" y="24"/>
                </a:lnTo>
                <a:lnTo>
                  <a:pt x="68" y="12"/>
                </a:lnTo>
                <a:lnTo>
                  <a:pt x="70" y="8"/>
                </a:lnTo>
                <a:lnTo>
                  <a:pt x="72" y="8"/>
                </a:lnTo>
                <a:lnTo>
                  <a:pt x="72" y="6"/>
                </a:lnTo>
                <a:lnTo>
                  <a:pt x="72" y="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5" name="Freeform 2555"/>
          <p:cNvSpPr>
            <a:spLocks/>
          </p:cNvSpPr>
          <p:nvPr/>
        </p:nvSpPr>
        <p:spPr bwMode="auto">
          <a:xfrm>
            <a:off x="3091319" y="1727368"/>
            <a:ext cx="587780" cy="496216"/>
          </a:xfrm>
          <a:custGeom>
            <a:avLst/>
            <a:gdLst/>
            <a:ahLst/>
            <a:cxnLst>
              <a:cxn ang="0">
                <a:pos x="42" y="210"/>
              </a:cxn>
              <a:cxn ang="0">
                <a:pos x="68" y="198"/>
              </a:cxn>
              <a:cxn ang="0">
                <a:pos x="46" y="194"/>
              </a:cxn>
              <a:cxn ang="0">
                <a:pos x="80" y="172"/>
              </a:cxn>
              <a:cxn ang="0">
                <a:pos x="60" y="150"/>
              </a:cxn>
              <a:cxn ang="0">
                <a:pos x="16" y="122"/>
              </a:cxn>
              <a:cxn ang="0">
                <a:pos x="20" y="108"/>
              </a:cxn>
              <a:cxn ang="0">
                <a:pos x="68" y="122"/>
              </a:cxn>
              <a:cxn ang="0">
                <a:pos x="98" y="124"/>
              </a:cxn>
              <a:cxn ang="0">
                <a:pos x="90" y="106"/>
              </a:cxn>
              <a:cxn ang="0">
                <a:pos x="104" y="96"/>
              </a:cxn>
              <a:cxn ang="0">
                <a:pos x="104" y="88"/>
              </a:cxn>
              <a:cxn ang="0">
                <a:pos x="66" y="74"/>
              </a:cxn>
              <a:cxn ang="0">
                <a:pos x="36" y="54"/>
              </a:cxn>
              <a:cxn ang="0">
                <a:pos x="46" y="58"/>
              </a:cxn>
              <a:cxn ang="0">
                <a:pos x="52" y="44"/>
              </a:cxn>
              <a:cxn ang="0">
                <a:pos x="66" y="52"/>
              </a:cxn>
              <a:cxn ang="0">
                <a:pos x="80" y="50"/>
              </a:cxn>
              <a:cxn ang="0">
                <a:pos x="80" y="38"/>
              </a:cxn>
              <a:cxn ang="0">
                <a:pos x="84" y="20"/>
              </a:cxn>
              <a:cxn ang="0">
                <a:pos x="102" y="18"/>
              </a:cxn>
              <a:cxn ang="0">
                <a:pos x="108" y="52"/>
              </a:cxn>
              <a:cxn ang="0">
                <a:pos x="112" y="60"/>
              </a:cxn>
              <a:cxn ang="0">
                <a:pos x="114" y="24"/>
              </a:cxn>
              <a:cxn ang="0">
                <a:pos x="126" y="20"/>
              </a:cxn>
              <a:cxn ang="0">
                <a:pos x="132" y="8"/>
              </a:cxn>
              <a:cxn ang="0">
                <a:pos x="154" y="66"/>
              </a:cxn>
              <a:cxn ang="0">
                <a:pos x="138" y="92"/>
              </a:cxn>
              <a:cxn ang="0">
                <a:pos x="136" y="102"/>
              </a:cxn>
              <a:cxn ang="0">
                <a:pos x="138" y="118"/>
              </a:cxn>
              <a:cxn ang="0">
                <a:pos x="158" y="126"/>
              </a:cxn>
              <a:cxn ang="0">
                <a:pos x="202" y="92"/>
              </a:cxn>
              <a:cxn ang="0">
                <a:pos x="210" y="122"/>
              </a:cxn>
              <a:cxn ang="0">
                <a:pos x="236" y="98"/>
              </a:cxn>
              <a:cxn ang="0">
                <a:pos x="250" y="124"/>
              </a:cxn>
              <a:cxn ang="0">
                <a:pos x="256" y="122"/>
              </a:cxn>
              <a:cxn ang="0">
                <a:pos x="286" y="140"/>
              </a:cxn>
              <a:cxn ang="0">
                <a:pos x="326" y="136"/>
              </a:cxn>
              <a:cxn ang="0">
                <a:pos x="356" y="116"/>
              </a:cxn>
              <a:cxn ang="0">
                <a:pos x="364" y="158"/>
              </a:cxn>
              <a:cxn ang="0">
                <a:pos x="388" y="152"/>
              </a:cxn>
              <a:cxn ang="0">
                <a:pos x="370" y="172"/>
              </a:cxn>
              <a:cxn ang="0">
                <a:pos x="368" y="196"/>
              </a:cxn>
              <a:cxn ang="0">
                <a:pos x="366" y="224"/>
              </a:cxn>
              <a:cxn ang="0">
                <a:pos x="390" y="250"/>
              </a:cxn>
              <a:cxn ang="0">
                <a:pos x="374" y="262"/>
              </a:cxn>
              <a:cxn ang="0">
                <a:pos x="366" y="272"/>
              </a:cxn>
              <a:cxn ang="0">
                <a:pos x="366" y="290"/>
              </a:cxn>
              <a:cxn ang="0">
                <a:pos x="340" y="292"/>
              </a:cxn>
              <a:cxn ang="0">
                <a:pos x="328" y="308"/>
              </a:cxn>
              <a:cxn ang="0">
                <a:pos x="290" y="314"/>
              </a:cxn>
              <a:cxn ang="0">
                <a:pos x="252" y="320"/>
              </a:cxn>
              <a:cxn ang="0">
                <a:pos x="202" y="328"/>
              </a:cxn>
              <a:cxn ang="0">
                <a:pos x="162" y="328"/>
              </a:cxn>
              <a:cxn ang="0">
                <a:pos x="100" y="312"/>
              </a:cxn>
              <a:cxn ang="0">
                <a:pos x="72" y="268"/>
              </a:cxn>
              <a:cxn ang="0">
                <a:pos x="68" y="262"/>
              </a:cxn>
              <a:cxn ang="0">
                <a:pos x="56" y="244"/>
              </a:cxn>
              <a:cxn ang="0">
                <a:pos x="36" y="238"/>
              </a:cxn>
              <a:cxn ang="0">
                <a:pos x="12" y="196"/>
              </a:cxn>
            </a:cxnLst>
            <a:rect l="0" t="0" r="r" b="b"/>
            <a:pathLst>
              <a:path w="398" h="336">
                <a:moveTo>
                  <a:pt x="14" y="198"/>
                </a:moveTo>
                <a:lnTo>
                  <a:pt x="14" y="202"/>
                </a:lnTo>
                <a:lnTo>
                  <a:pt x="14" y="204"/>
                </a:lnTo>
                <a:lnTo>
                  <a:pt x="14" y="206"/>
                </a:lnTo>
                <a:lnTo>
                  <a:pt x="14" y="208"/>
                </a:lnTo>
                <a:lnTo>
                  <a:pt x="16" y="210"/>
                </a:lnTo>
                <a:lnTo>
                  <a:pt x="18" y="210"/>
                </a:lnTo>
                <a:lnTo>
                  <a:pt x="20" y="208"/>
                </a:lnTo>
                <a:lnTo>
                  <a:pt x="26" y="210"/>
                </a:lnTo>
                <a:lnTo>
                  <a:pt x="26" y="212"/>
                </a:lnTo>
                <a:lnTo>
                  <a:pt x="28" y="212"/>
                </a:lnTo>
                <a:lnTo>
                  <a:pt x="34" y="212"/>
                </a:lnTo>
                <a:lnTo>
                  <a:pt x="38" y="212"/>
                </a:lnTo>
                <a:lnTo>
                  <a:pt x="42" y="210"/>
                </a:lnTo>
                <a:lnTo>
                  <a:pt x="42" y="208"/>
                </a:lnTo>
                <a:lnTo>
                  <a:pt x="42" y="206"/>
                </a:lnTo>
                <a:lnTo>
                  <a:pt x="46" y="206"/>
                </a:lnTo>
                <a:lnTo>
                  <a:pt x="46" y="208"/>
                </a:lnTo>
                <a:lnTo>
                  <a:pt x="50" y="210"/>
                </a:lnTo>
                <a:lnTo>
                  <a:pt x="52" y="208"/>
                </a:lnTo>
                <a:lnTo>
                  <a:pt x="52" y="202"/>
                </a:lnTo>
                <a:lnTo>
                  <a:pt x="50" y="202"/>
                </a:lnTo>
                <a:lnTo>
                  <a:pt x="54" y="198"/>
                </a:lnTo>
                <a:lnTo>
                  <a:pt x="58" y="194"/>
                </a:lnTo>
                <a:lnTo>
                  <a:pt x="64" y="194"/>
                </a:lnTo>
                <a:lnTo>
                  <a:pt x="68" y="194"/>
                </a:lnTo>
                <a:lnTo>
                  <a:pt x="66" y="196"/>
                </a:lnTo>
                <a:lnTo>
                  <a:pt x="68" y="198"/>
                </a:lnTo>
                <a:lnTo>
                  <a:pt x="70" y="198"/>
                </a:lnTo>
                <a:lnTo>
                  <a:pt x="72" y="198"/>
                </a:lnTo>
                <a:lnTo>
                  <a:pt x="74" y="198"/>
                </a:lnTo>
                <a:lnTo>
                  <a:pt x="72" y="196"/>
                </a:lnTo>
                <a:lnTo>
                  <a:pt x="66" y="192"/>
                </a:lnTo>
                <a:lnTo>
                  <a:pt x="64" y="192"/>
                </a:lnTo>
                <a:lnTo>
                  <a:pt x="62" y="192"/>
                </a:lnTo>
                <a:lnTo>
                  <a:pt x="60" y="192"/>
                </a:lnTo>
                <a:lnTo>
                  <a:pt x="58" y="192"/>
                </a:lnTo>
                <a:lnTo>
                  <a:pt x="58" y="194"/>
                </a:lnTo>
                <a:lnTo>
                  <a:pt x="56" y="194"/>
                </a:lnTo>
                <a:lnTo>
                  <a:pt x="50" y="194"/>
                </a:lnTo>
                <a:lnTo>
                  <a:pt x="48" y="194"/>
                </a:lnTo>
                <a:lnTo>
                  <a:pt x="46" y="194"/>
                </a:lnTo>
                <a:lnTo>
                  <a:pt x="46" y="190"/>
                </a:lnTo>
                <a:lnTo>
                  <a:pt x="54" y="182"/>
                </a:lnTo>
                <a:lnTo>
                  <a:pt x="54" y="180"/>
                </a:lnTo>
                <a:lnTo>
                  <a:pt x="58" y="176"/>
                </a:lnTo>
                <a:lnTo>
                  <a:pt x="70" y="174"/>
                </a:lnTo>
                <a:lnTo>
                  <a:pt x="74" y="174"/>
                </a:lnTo>
                <a:lnTo>
                  <a:pt x="76" y="176"/>
                </a:lnTo>
                <a:lnTo>
                  <a:pt x="76" y="178"/>
                </a:lnTo>
                <a:lnTo>
                  <a:pt x="76" y="180"/>
                </a:lnTo>
                <a:lnTo>
                  <a:pt x="80" y="182"/>
                </a:lnTo>
                <a:lnTo>
                  <a:pt x="76" y="180"/>
                </a:lnTo>
                <a:lnTo>
                  <a:pt x="78" y="176"/>
                </a:lnTo>
                <a:lnTo>
                  <a:pt x="76" y="174"/>
                </a:lnTo>
                <a:lnTo>
                  <a:pt x="80" y="172"/>
                </a:lnTo>
                <a:lnTo>
                  <a:pt x="80" y="174"/>
                </a:lnTo>
                <a:lnTo>
                  <a:pt x="82" y="174"/>
                </a:lnTo>
                <a:lnTo>
                  <a:pt x="80" y="172"/>
                </a:lnTo>
                <a:lnTo>
                  <a:pt x="76" y="172"/>
                </a:lnTo>
                <a:lnTo>
                  <a:pt x="62" y="174"/>
                </a:lnTo>
                <a:lnTo>
                  <a:pt x="58" y="174"/>
                </a:lnTo>
                <a:lnTo>
                  <a:pt x="54" y="178"/>
                </a:lnTo>
                <a:lnTo>
                  <a:pt x="50" y="176"/>
                </a:lnTo>
                <a:lnTo>
                  <a:pt x="50" y="164"/>
                </a:lnTo>
                <a:lnTo>
                  <a:pt x="52" y="156"/>
                </a:lnTo>
                <a:lnTo>
                  <a:pt x="56" y="156"/>
                </a:lnTo>
                <a:lnTo>
                  <a:pt x="58" y="156"/>
                </a:lnTo>
                <a:lnTo>
                  <a:pt x="58" y="154"/>
                </a:lnTo>
                <a:lnTo>
                  <a:pt x="60" y="150"/>
                </a:lnTo>
                <a:lnTo>
                  <a:pt x="60" y="144"/>
                </a:lnTo>
                <a:lnTo>
                  <a:pt x="54" y="142"/>
                </a:lnTo>
                <a:lnTo>
                  <a:pt x="50" y="140"/>
                </a:lnTo>
                <a:lnTo>
                  <a:pt x="50" y="138"/>
                </a:lnTo>
                <a:lnTo>
                  <a:pt x="44" y="136"/>
                </a:lnTo>
                <a:lnTo>
                  <a:pt x="40" y="134"/>
                </a:lnTo>
                <a:lnTo>
                  <a:pt x="38" y="132"/>
                </a:lnTo>
                <a:lnTo>
                  <a:pt x="34" y="130"/>
                </a:lnTo>
                <a:lnTo>
                  <a:pt x="34" y="128"/>
                </a:lnTo>
                <a:lnTo>
                  <a:pt x="32" y="126"/>
                </a:lnTo>
                <a:lnTo>
                  <a:pt x="30" y="124"/>
                </a:lnTo>
                <a:lnTo>
                  <a:pt x="28" y="124"/>
                </a:lnTo>
                <a:lnTo>
                  <a:pt x="22" y="120"/>
                </a:lnTo>
                <a:lnTo>
                  <a:pt x="16" y="122"/>
                </a:lnTo>
                <a:lnTo>
                  <a:pt x="16" y="124"/>
                </a:lnTo>
                <a:lnTo>
                  <a:pt x="14" y="124"/>
                </a:lnTo>
                <a:lnTo>
                  <a:pt x="8" y="122"/>
                </a:lnTo>
                <a:lnTo>
                  <a:pt x="6" y="120"/>
                </a:lnTo>
                <a:lnTo>
                  <a:pt x="6" y="118"/>
                </a:lnTo>
                <a:lnTo>
                  <a:pt x="6" y="116"/>
                </a:lnTo>
                <a:lnTo>
                  <a:pt x="6" y="110"/>
                </a:lnTo>
                <a:lnTo>
                  <a:pt x="6" y="106"/>
                </a:lnTo>
                <a:lnTo>
                  <a:pt x="8" y="104"/>
                </a:lnTo>
                <a:lnTo>
                  <a:pt x="14" y="104"/>
                </a:lnTo>
                <a:lnTo>
                  <a:pt x="16" y="104"/>
                </a:lnTo>
                <a:lnTo>
                  <a:pt x="18" y="106"/>
                </a:lnTo>
                <a:lnTo>
                  <a:pt x="18" y="108"/>
                </a:lnTo>
                <a:lnTo>
                  <a:pt x="20" y="108"/>
                </a:lnTo>
                <a:lnTo>
                  <a:pt x="20" y="110"/>
                </a:lnTo>
                <a:lnTo>
                  <a:pt x="22" y="110"/>
                </a:lnTo>
                <a:lnTo>
                  <a:pt x="22" y="112"/>
                </a:lnTo>
                <a:lnTo>
                  <a:pt x="26" y="112"/>
                </a:lnTo>
                <a:lnTo>
                  <a:pt x="28" y="110"/>
                </a:lnTo>
                <a:lnTo>
                  <a:pt x="30" y="110"/>
                </a:lnTo>
                <a:lnTo>
                  <a:pt x="36" y="112"/>
                </a:lnTo>
                <a:lnTo>
                  <a:pt x="42" y="112"/>
                </a:lnTo>
                <a:lnTo>
                  <a:pt x="44" y="112"/>
                </a:lnTo>
                <a:lnTo>
                  <a:pt x="50" y="116"/>
                </a:lnTo>
                <a:lnTo>
                  <a:pt x="50" y="118"/>
                </a:lnTo>
                <a:lnTo>
                  <a:pt x="64" y="122"/>
                </a:lnTo>
                <a:lnTo>
                  <a:pt x="66" y="122"/>
                </a:lnTo>
                <a:lnTo>
                  <a:pt x="68" y="122"/>
                </a:lnTo>
                <a:lnTo>
                  <a:pt x="74" y="124"/>
                </a:lnTo>
                <a:lnTo>
                  <a:pt x="76" y="126"/>
                </a:lnTo>
                <a:lnTo>
                  <a:pt x="76" y="128"/>
                </a:lnTo>
                <a:lnTo>
                  <a:pt x="78" y="128"/>
                </a:lnTo>
                <a:lnTo>
                  <a:pt x="80" y="132"/>
                </a:lnTo>
                <a:lnTo>
                  <a:pt x="86" y="136"/>
                </a:lnTo>
                <a:lnTo>
                  <a:pt x="90" y="138"/>
                </a:lnTo>
                <a:lnTo>
                  <a:pt x="92" y="136"/>
                </a:lnTo>
                <a:lnTo>
                  <a:pt x="100" y="128"/>
                </a:lnTo>
                <a:lnTo>
                  <a:pt x="102" y="128"/>
                </a:lnTo>
                <a:lnTo>
                  <a:pt x="102" y="126"/>
                </a:lnTo>
                <a:lnTo>
                  <a:pt x="102" y="124"/>
                </a:lnTo>
                <a:lnTo>
                  <a:pt x="100" y="124"/>
                </a:lnTo>
                <a:lnTo>
                  <a:pt x="98" y="124"/>
                </a:lnTo>
                <a:lnTo>
                  <a:pt x="98" y="126"/>
                </a:lnTo>
                <a:lnTo>
                  <a:pt x="96" y="126"/>
                </a:lnTo>
                <a:lnTo>
                  <a:pt x="94" y="128"/>
                </a:lnTo>
                <a:lnTo>
                  <a:pt x="90" y="128"/>
                </a:lnTo>
                <a:lnTo>
                  <a:pt x="88" y="128"/>
                </a:lnTo>
                <a:lnTo>
                  <a:pt x="86" y="126"/>
                </a:lnTo>
                <a:lnTo>
                  <a:pt x="80" y="120"/>
                </a:lnTo>
                <a:lnTo>
                  <a:pt x="72" y="114"/>
                </a:lnTo>
                <a:lnTo>
                  <a:pt x="72" y="112"/>
                </a:lnTo>
                <a:lnTo>
                  <a:pt x="78" y="108"/>
                </a:lnTo>
                <a:lnTo>
                  <a:pt x="84" y="106"/>
                </a:lnTo>
                <a:lnTo>
                  <a:pt x="86" y="106"/>
                </a:lnTo>
                <a:lnTo>
                  <a:pt x="88" y="106"/>
                </a:lnTo>
                <a:lnTo>
                  <a:pt x="90" y="106"/>
                </a:lnTo>
                <a:lnTo>
                  <a:pt x="92" y="106"/>
                </a:lnTo>
                <a:lnTo>
                  <a:pt x="94" y="106"/>
                </a:lnTo>
                <a:lnTo>
                  <a:pt x="100" y="106"/>
                </a:lnTo>
                <a:lnTo>
                  <a:pt x="102" y="106"/>
                </a:lnTo>
                <a:lnTo>
                  <a:pt x="104" y="106"/>
                </a:lnTo>
                <a:lnTo>
                  <a:pt x="108" y="104"/>
                </a:lnTo>
                <a:lnTo>
                  <a:pt x="110" y="106"/>
                </a:lnTo>
                <a:lnTo>
                  <a:pt x="112" y="106"/>
                </a:lnTo>
                <a:lnTo>
                  <a:pt x="116" y="106"/>
                </a:lnTo>
                <a:lnTo>
                  <a:pt x="112" y="106"/>
                </a:lnTo>
                <a:lnTo>
                  <a:pt x="110" y="102"/>
                </a:lnTo>
                <a:lnTo>
                  <a:pt x="108" y="100"/>
                </a:lnTo>
                <a:lnTo>
                  <a:pt x="108" y="96"/>
                </a:lnTo>
                <a:lnTo>
                  <a:pt x="104" y="96"/>
                </a:lnTo>
                <a:lnTo>
                  <a:pt x="100" y="98"/>
                </a:lnTo>
                <a:lnTo>
                  <a:pt x="98" y="98"/>
                </a:lnTo>
                <a:lnTo>
                  <a:pt x="96" y="98"/>
                </a:lnTo>
                <a:lnTo>
                  <a:pt x="96" y="96"/>
                </a:lnTo>
                <a:lnTo>
                  <a:pt x="96" y="90"/>
                </a:lnTo>
                <a:lnTo>
                  <a:pt x="98" y="90"/>
                </a:lnTo>
                <a:lnTo>
                  <a:pt x="100" y="90"/>
                </a:lnTo>
                <a:lnTo>
                  <a:pt x="102" y="90"/>
                </a:lnTo>
                <a:lnTo>
                  <a:pt x="104" y="90"/>
                </a:lnTo>
                <a:lnTo>
                  <a:pt x="106" y="90"/>
                </a:lnTo>
                <a:lnTo>
                  <a:pt x="110" y="86"/>
                </a:lnTo>
                <a:lnTo>
                  <a:pt x="108" y="86"/>
                </a:lnTo>
                <a:lnTo>
                  <a:pt x="106" y="88"/>
                </a:lnTo>
                <a:lnTo>
                  <a:pt x="104" y="88"/>
                </a:lnTo>
                <a:lnTo>
                  <a:pt x="102" y="90"/>
                </a:lnTo>
                <a:lnTo>
                  <a:pt x="100" y="88"/>
                </a:lnTo>
                <a:lnTo>
                  <a:pt x="92" y="86"/>
                </a:lnTo>
                <a:lnTo>
                  <a:pt x="92" y="82"/>
                </a:lnTo>
                <a:lnTo>
                  <a:pt x="88" y="82"/>
                </a:lnTo>
                <a:lnTo>
                  <a:pt x="84" y="82"/>
                </a:lnTo>
                <a:lnTo>
                  <a:pt x="84" y="80"/>
                </a:lnTo>
                <a:lnTo>
                  <a:pt x="84" y="76"/>
                </a:lnTo>
                <a:lnTo>
                  <a:pt x="82" y="74"/>
                </a:lnTo>
                <a:lnTo>
                  <a:pt x="76" y="74"/>
                </a:lnTo>
                <a:lnTo>
                  <a:pt x="76" y="72"/>
                </a:lnTo>
                <a:lnTo>
                  <a:pt x="74" y="70"/>
                </a:lnTo>
                <a:lnTo>
                  <a:pt x="68" y="74"/>
                </a:lnTo>
                <a:lnTo>
                  <a:pt x="66" y="74"/>
                </a:lnTo>
                <a:lnTo>
                  <a:pt x="64" y="72"/>
                </a:lnTo>
                <a:lnTo>
                  <a:pt x="62" y="70"/>
                </a:lnTo>
                <a:lnTo>
                  <a:pt x="54" y="66"/>
                </a:lnTo>
                <a:lnTo>
                  <a:pt x="52" y="68"/>
                </a:lnTo>
                <a:lnTo>
                  <a:pt x="48" y="68"/>
                </a:lnTo>
                <a:lnTo>
                  <a:pt x="48" y="70"/>
                </a:lnTo>
                <a:lnTo>
                  <a:pt x="46" y="68"/>
                </a:lnTo>
                <a:lnTo>
                  <a:pt x="42" y="66"/>
                </a:lnTo>
                <a:lnTo>
                  <a:pt x="40" y="66"/>
                </a:lnTo>
                <a:lnTo>
                  <a:pt x="38" y="64"/>
                </a:lnTo>
                <a:lnTo>
                  <a:pt x="40" y="62"/>
                </a:lnTo>
                <a:lnTo>
                  <a:pt x="40" y="60"/>
                </a:lnTo>
                <a:lnTo>
                  <a:pt x="40" y="58"/>
                </a:lnTo>
                <a:lnTo>
                  <a:pt x="36" y="54"/>
                </a:lnTo>
                <a:lnTo>
                  <a:pt x="34" y="52"/>
                </a:lnTo>
                <a:lnTo>
                  <a:pt x="30" y="48"/>
                </a:lnTo>
                <a:lnTo>
                  <a:pt x="26" y="48"/>
                </a:lnTo>
                <a:lnTo>
                  <a:pt x="26" y="46"/>
                </a:lnTo>
                <a:lnTo>
                  <a:pt x="30" y="44"/>
                </a:lnTo>
                <a:lnTo>
                  <a:pt x="32" y="44"/>
                </a:lnTo>
                <a:lnTo>
                  <a:pt x="34" y="44"/>
                </a:lnTo>
                <a:lnTo>
                  <a:pt x="36" y="42"/>
                </a:lnTo>
                <a:lnTo>
                  <a:pt x="36" y="40"/>
                </a:lnTo>
                <a:lnTo>
                  <a:pt x="40" y="40"/>
                </a:lnTo>
                <a:lnTo>
                  <a:pt x="44" y="44"/>
                </a:lnTo>
                <a:lnTo>
                  <a:pt x="44" y="46"/>
                </a:lnTo>
                <a:lnTo>
                  <a:pt x="44" y="50"/>
                </a:lnTo>
                <a:lnTo>
                  <a:pt x="46" y="58"/>
                </a:lnTo>
                <a:lnTo>
                  <a:pt x="48" y="58"/>
                </a:lnTo>
                <a:lnTo>
                  <a:pt x="50" y="58"/>
                </a:lnTo>
                <a:lnTo>
                  <a:pt x="48" y="54"/>
                </a:lnTo>
                <a:lnTo>
                  <a:pt x="48" y="48"/>
                </a:lnTo>
                <a:lnTo>
                  <a:pt x="48" y="46"/>
                </a:lnTo>
                <a:lnTo>
                  <a:pt x="48" y="44"/>
                </a:lnTo>
                <a:lnTo>
                  <a:pt x="52" y="46"/>
                </a:lnTo>
                <a:lnTo>
                  <a:pt x="52" y="48"/>
                </a:lnTo>
                <a:lnTo>
                  <a:pt x="54" y="52"/>
                </a:lnTo>
                <a:lnTo>
                  <a:pt x="54" y="50"/>
                </a:lnTo>
                <a:lnTo>
                  <a:pt x="54" y="48"/>
                </a:lnTo>
                <a:lnTo>
                  <a:pt x="54" y="46"/>
                </a:lnTo>
                <a:lnTo>
                  <a:pt x="54" y="44"/>
                </a:lnTo>
                <a:lnTo>
                  <a:pt x="52" y="44"/>
                </a:lnTo>
                <a:lnTo>
                  <a:pt x="52" y="42"/>
                </a:lnTo>
                <a:lnTo>
                  <a:pt x="50" y="42"/>
                </a:lnTo>
                <a:lnTo>
                  <a:pt x="50" y="40"/>
                </a:lnTo>
                <a:lnTo>
                  <a:pt x="52" y="36"/>
                </a:lnTo>
                <a:lnTo>
                  <a:pt x="52" y="34"/>
                </a:lnTo>
                <a:lnTo>
                  <a:pt x="54" y="32"/>
                </a:lnTo>
                <a:lnTo>
                  <a:pt x="56" y="30"/>
                </a:lnTo>
                <a:lnTo>
                  <a:pt x="58" y="32"/>
                </a:lnTo>
                <a:lnTo>
                  <a:pt x="58" y="36"/>
                </a:lnTo>
                <a:lnTo>
                  <a:pt x="62" y="40"/>
                </a:lnTo>
                <a:lnTo>
                  <a:pt x="62" y="44"/>
                </a:lnTo>
                <a:lnTo>
                  <a:pt x="64" y="46"/>
                </a:lnTo>
                <a:lnTo>
                  <a:pt x="66" y="48"/>
                </a:lnTo>
                <a:lnTo>
                  <a:pt x="66" y="52"/>
                </a:lnTo>
                <a:lnTo>
                  <a:pt x="66" y="54"/>
                </a:lnTo>
                <a:lnTo>
                  <a:pt x="64" y="56"/>
                </a:lnTo>
                <a:lnTo>
                  <a:pt x="70" y="56"/>
                </a:lnTo>
                <a:lnTo>
                  <a:pt x="72" y="56"/>
                </a:lnTo>
                <a:lnTo>
                  <a:pt x="70" y="54"/>
                </a:lnTo>
                <a:lnTo>
                  <a:pt x="68" y="50"/>
                </a:lnTo>
                <a:lnTo>
                  <a:pt x="70" y="48"/>
                </a:lnTo>
                <a:lnTo>
                  <a:pt x="72" y="48"/>
                </a:lnTo>
                <a:lnTo>
                  <a:pt x="72" y="50"/>
                </a:lnTo>
                <a:lnTo>
                  <a:pt x="76" y="50"/>
                </a:lnTo>
                <a:lnTo>
                  <a:pt x="80" y="54"/>
                </a:lnTo>
                <a:lnTo>
                  <a:pt x="84" y="50"/>
                </a:lnTo>
                <a:lnTo>
                  <a:pt x="82" y="50"/>
                </a:lnTo>
                <a:lnTo>
                  <a:pt x="80" y="50"/>
                </a:lnTo>
                <a:lnTo>
                  <a:pt x="76" y="48"/>
                </a:lnTo>
                <a:lnTo>
                  <a:pt x="72" y="46"/>
                </a:lnTo>
                <a:lnTo>
                  <a:pt x="70" y="44"/>
                </a:lnTo>
                <a:lnTo>
                  <a:pt x="66" y="40"/>
                </a:lnTo>
                <a:lnTo>
                  <a:pt x="66" y="38"/>
                </a:lnTo>
                <a:lnTo>
                  <a:pt x="66" y="34"/>
                </a:lnTo>
                <a:lnTo>
                  <a:pt x="66" y="32"/>
                </a:lnTo>
                <a:lnTo>
                  <a:pt x="66" y="30"/>
                </a:lnTo>
                <a:lnTo>
                  <a:pt x="68" y="28"/>
                </a:lnTo>
                <a:lnTo>
                  <a:pt x="70" y="28"/>
                </a:lnTo>
                <a:lnTo>
                  <a:pt x="72" y="28"/>
                </a:lnTo>
                <a:lnTo>
                  <a:pt x="74" y="32"/>
                </a:lnTo>
                <a:lnTo>
                  <a:pt x="76" y="32"/>
                </a:lnTo>
                <a:lnTo>
                  <a:pt x="80" y="38"/>
                </a:lnTo>
                <a:lnTo>
                  <a:pt x="84" y="44"/>
                </a:lnTo>
                <a:lnTo>
                  <a:pt x="86" y="46"/>
                </a:lnTo>
                <a:lnTo>
                  <a:pt x="86" y="44"/>
                </a:lnTo>
                <a:lnTo>
                  <a:pt x="84" y="42"/>
                </a:lnTo>
                <a:lnTo>
                  <a:pt x="82" y="40"/>
                </a:lnTo>
                <a:lnTo>
                  <a:pt x="80" y="38"/>
                </a:lnTo>
                <a:lnTo>
                  <a:pt x="78" y="34"/>
                </a:lnTo>
                <a:lnTo>
                  <a:pt x="78" y="32"/>
                </a:lnTo>
                <a:lnTo>
                  <a:pt x="76" y="24"/>
                </a:lnTo>
                <a:lnTo>
                  <a:pt x="76" y="20"/>
                </a:lnTo>
                <a:lnTo>
                  <a:pt x="76" y="18"/>
                </a:lnTo>
                <a:lnTo>
                  <a:pt x="80" y="16"/>
                </a:lnTo>
                <a:lnTo>
                  <a:pt x="82" y="16"/>
                </a:lnTo>
                <a:lnTo>
                  <a:pt x="84" y="20"/>
                </a:lnTo>
                <a:lnTo>
                  <a:pt x="86" y="24"/>
                </a:lnTo>
                <a:lnTo>
                  <a:pt x="88" y="28"/>
                </a:lnTo>
                <a:lnTo>
                  <a:pt x="88" y="30"/>
                </a:lnTo>
                <a:lnTo>
                  <a:pt x="90" y="26"/>
                </a:lnTo>
                <a:lnTo>
                  <a:pt x="88" y="22"/>
                </a:lnTo>
                <a:lnTo>
                  <a:pt x="86" y="20"/>
                </a:lnTo>
                <a:lnTo>
                  <a:pt x="86" y="18"/>
                </a:lnTo>
                <a:lnTo>
                  <a:pt x="86" y="14"/>
                </a:lnTo>
                <a:lnTo>
                  <a:pt x="92" y="12"/>
                </a:lnTo>
                <a:lnTo>
                  <a:pt x="94" y="12"/>
                </a:lnTo>
                <a:lnTo>
                  <a:pt x="96" y="12"/>
                </a:lnTo>
                <a:lnTo>
                  <a:pt x="98" y="12"/>
                </a:lnTo>
                <a:lnTo>
                  <a:pt x="100" y="14"/>
                </a:lnTo>
                <a:lnTo>
                  <a:pt x="102" y="18"/>
                </a:lnTo>
                <a:lnTo>
                  <a:pt x="104" y="22"/>
                </a:lnTo>
                <a:lnTo>
                  <a:pt x="106" y="28"/>
                </a:lnTo>
                <a:lnTo>
                  <a:pt x="106" y="30"/>
                </a:lnTo>
                <a:lnTo>
                  <a:pt x="106" y="32"/>
                </a:lnTo>
                <a:lnTo>
                  <a:pt x="104" y="34"/>
                </a:lnTo>
                <a:lnTo>
                  <a:pt x="108" y="40"/>
                </a:lnTo>
                <a:lnTo>
                  <a:pt x="112" y="36"/>
                </a:lnTo>
                <a:lnTo>
                  <a:pt x="114" y="40"/>
                </a:lnTo>
                <a:lnTo>
                  <a:pt x="114" y="44"/>
                </a:lnTo>
                <a:lnTo>
                  <a:pt x="114" y="46"/>
                </a:lnTo>
                <a:lnTo>
                  <a:pt x="114" y="48"/>
                </a:lnTo>
                <a:lnTo>
                  <a:pt x="112" y="50"/>
                </a:lnTo>
                <a:lnTo>
                  <a:pt x="110" y="52"/>
                </a:lnTo>
                <a:lnTo>
                  <a:pt x="108" y="52"/>
                </a:lnTo>
                <a:lnTo>
                  <a:pt x="108" y="54"/>
                </a:lnTo>
                <a:lnTo>
                  <a:pt x="106" y="56"/>
                </a:lnTo>
                <a:lnTo>
                  <a:pt x="104" y="58"/>
                </a:lnTo>
                <a:lnTo>
                  <a:pt x="112" y="52"/>
                </a:lnTo>
                <a:lnTo>
                  <a:pt x="114" y="48"/>
                </a:lnTo>
                <a:lnTo>
                  <a:pt x="116" y="48"/>
                </a:lnTo>
                <a:lnTo>
                  <a:pt x="116" y="54"/>
                </a:lnTo>
                <a:lnTo>
                  <a:pt x="116" y="56"/>
                </a:lnTo>
                <a:lnTo>
                  <a:pt x="114" y="58"/>
                </a:lnTo>
                <a:lnTo>
                  <a:pt x="112" y="58"/>
                </a:lnTo>
                <a:lnTo>
                  <a:pt x="112" y="60"/>
                </a:lnTo>
                <a:lnTo>
                  <a:pt x="110" y="60"/>
                </a:lnTo>
                <a:lnTo>
                  <a:pt x="112" y="62"/>
                </a:lnTo>
                <a:lnTo>
                  <a:pt x="112" y="60"/>
                </a:lnTo>
                <a:lnTo>
                  <a:pt x="114" y="58"/>
                </a:lnTo>
                <a:lnTo>
                  <a:pt x="116" y="58"/>
                </a:lnTo>
                <a:lnTo>
                  <a:pt x="116" y="56"/>
                </a:lnTo>
                <a:lnTo>
                  <a:pt x="118" y="54"/>
                </a:lnTo>
                <a:lnTo>
                  <a:pt x="118" y="52"/>
                </a:lnTo>
                <a:lnTo>
                  <a:pt x="120" y="48"/>
                </a:lnTo>
                <a:lnTo>
                  <a:pt x="122" y="40"/>
                </a:lnTo>
                <a:lnTo>
                  <a:pt x="120" y="36"/>
                </a:lnTo>
                <a:lnTo>
                  <a:pt x="118" y="34"/>
                </a:lnTo>
                <a:lnTo>
                  <a:pt x="118" y="32"/>
                </a:lnTo>
                <a:lnTo>
                  <a:pt x="116" y="32"/>
                </a:lnTo>
                <a:lnTo>
                  <a:pt x="116" y="30"/>
                </a:lnTo>
                <a:lnTo>
                  <a:pt x="114" y="28"/>
                </a:lnTo>
                <a:lnTo>
                  <a:pt x="114" y="24"/>
                </a:lnTo>
                <a:lnTo>
                  <a:pt x="114" y="22"/>
                </a:lnTo>
                <a:lnTo>
                  <a:pt x="114" y="20"/>
                </a:lnTo>
                <a:lnTo>
                  <a:pt x="116" y="20"/>
                </a:lnTo>
                <a:lnTo>
                  <a:pt x="120" y="20"/>
                </a:lnTo>
                <a:lnTo>
                  <a:pt x="122" y="20"/>
                </a:lnTo>
                <a:lnTo>
                  <a:pt x="124" y="20"/>
                </a:lnTo>
                <a:lnTo>
                  <a:pt x="124" y="24"/>
                </a:lnTo>
                <a:lnTo>
                  <a:pt x="126" y="26"/>
                </a:lnTo>
                <a:lnTo>
                  <a:pt x="128" y="28"/>
                </a:lnTo>
                <a:lnTo>
                  <a:pt x="132" y="28"/>
                </a:lnTo>
                <a:lnTo>
                  <a:pt x="134" y="26"/>
                </a:lnTo>
                <a:lnTo>
                  <a:pt x="132" y="26"/>
                </a:lnTo>
                <a:lnTo>
                  <a:pt x="130" y="24"/>
                </a:lnTo>
                <a:lnTo>
                  <a:pt x="126" y="20"/>
                </a:lnTo>
                <a:lnTo>
                  <a:pt x="124" y="14"/>
                </a:lnTo>
                <a:lnTo>
                  <a:pt x="120" y="14"/>
                </a:lnTo>
                <a:lnTo>
                  <a:pt x="118" y="14"/>
                </a:lnTo>
                <a:lnTo>
                  <a:pt x="116" y="12"/>
                </a:lnTo>
                <a:lnTo>
                  <a:pt x="116" y="10"/>
                </a:lnTo>
                <a:lnTo>
                  <a:pt x="114" y="8"/>
                </a:lnTo>
                <a:lnTo>
                  <a:pt x="114" y="6"/>
                </a:lnTo>
                <a:lnTo>
                  <a:pt x="114" y="4"/>
                </a:lnTo>
                <a:lnTo>
                  <a:pt x="116" y="6"/>
                </a:lnTo>
                <a:lnTo>
                  <a:pt x="120" y="4"/>
                </a:lnTo>
                <a:lnTo>
                  <a:pt x="122" y="0"/>
                </a:lnTo>
                <a:lnTo>
                  <a:pt x="128" y="0"/>
                </a:lnTo>
                <a:lnTo>
                  <a:pt x="130" y="2"/>
                </a:lnTo>
                <a:lnTo>
                  <a:pt x="132" y="8"/>
                </a:lnTo>
                <a:lnTo>
                  <a:pt x="138" y="8"/>
                </a:lnTo>
                <a:lnTo>
                  <a:pt x="142" y="14"/>
                </a:lnTo>
                <a:lnTo>
                  <a:pt x="142" y="24"/>
                </a:lnTo>
                <a:lnTo>
                  <a:pt x="142" y="30"/>
                </a:lnTo>
                <a:lnTo>
                  <a:pt x="146" y="32"/>
                </a:lnTo>
                <a:lnTo>
                  <a:pt x="148" y="34"/>
                </a:lnTo>
                <a:lnTo>
                  <a:pt x="150" y="46"/>
                </a:lnTo>
                <a:lnTo>
                  <a:pt x="150" y="48"/>
                </a:lnTo>
                <a:lnTo>
                  <a:pt x="150" y="58"/>
                </a:lnTo>
                <a:lnTo>
                  <a:pt x="148" y="58"/>
                </a:lnTo>
                <a:lnTo>
                  <a:pt x="146" y="62"/>
                </a:lnTo>
                <a:lnTo>
                  <a:pt x="150" y="58"/>
                </a:lnTo>
                <a:lnTo>
                  <a:pt x="154" y="60"/>
                </a:lnTo>
                <a:lnTo>
                  <a:pt x="154" y="66"/>
                </a:lnTo>
                <a:lnTo>
                  <a:pt x="154" y="70"/>
                </a:lnTo>
                <a:lnTo>
                  <a:pt x="148" y="68"/>
                </a:lnTo>
                <a:lnTo>
                  <a:pt x="144" y="68"/>
                </a:lnTo>
                <a:lnTo>
                  <a:pt x="146" y="70"/>
                </a:lnTo>
                <a:lnTo>
                  <a:pt x="146" y="68"/>
                </a:lnTo>
                <a:lnTo>
                  <a:pt x="150" y="70"/>
                </a:lnTo>
                <a:lnTo>
                  <a:pt x="152" y="70"/>
                </a:lnTo>
                <a:lnTo>
                  <a:pt x="152" y="72"/>
                </a:lnTo>
                <a:lnTo>
                  <a:pt x="154" y="74"/>
                </a:lnTo>
                <a:lnTo>
                  <a:pt x="154" y="76"/>
                </a:lnTo>
                <a:lnTo>
                  <a:pt x="152" y="78"/>
                </a:lnTo>
                <a:lnTo>
                  <a:pt x="150" y="82"/>
                </a:lnTo>
                <a:lnTo>
                  <a:pt x="142" y="90"/>
                </a:lnTo>
                <a:lnTo>
                  <a:pt x="138" y="92"/>
                </a:lnTo>
                <a:lnTo>
                  <a:pt x="136" y="92"/>
                </a:lnTo>
                <a:lnTo>
                  <a:pt x="132" y="90"/>
                </a:lnTo>
                <a:lnTo>
                  <a:pt x="132" y="86"/>
                </a:lnTo>
                <a:lnTo>
                  <a:pt x="132" y="82"/>
                </a:lnTo>
                <a:lnTo>
                  <a:pt x="132" y="80"/>
                </a:lnTo>
                <a:lnTo>
                  <a:pt x="130" y="80"/>
                </a:lnTo>
                <a:lnTo>
                  <a:pt x="128" y="90"/>
                </a:lnTo>
                <a:lnTo>
                  <a:pt x="128" y="92"/>
                </a:lnTo>
                <a:lnTo>
                  <a:pt x="128" y="94"/>
                </a:lnTo>
                <a:lnTo>
                  <a:pt x="130" y="94"/>
                </a:lnTo>
                <a:lnTo>
                  <a:pt x="132" y="94"/>
                </a:lnTo>
                <a:lnTo>
                  <a:pt x="134" y="96"/>
                </a:lnTo>
                <a:lnTo>
                  <a:pt x="134" y="98"/>
                </a:lnTo>
                <a:lnTo>
                  <a:pt x="136" y="102"/>
                </a:lnTo>
                <a:lnTo>
                  <a:pt x="136" y="104"/>
                </a:lnTo>
                <a:lnTo>
                  <a:pt x="134" y="106"/>
                </a:lnTo>
                <a:lnTo>
                  <a:pt x="132" y="106"/>
                </a:lnTo>
                <a:lnTo>
                  <a:pt x="132" y="112"/>
                </a:lnTo>
                <a:lnTo>
                  <a:pt x="132" y="118"/>
                </a:lnTo>
                <a:lnTo>
                  <a:pt x="130" y="120"/>
                </a:lnTo>
                <a:lnTo>
                  <a:pt x="128" y="124"/>
                </a:lnTo>
                <a:lnTo>
                  <a:pt x="124" y="136"/>
                </a:lnTo>
                <a:lnTo>
                  <a:pt x="122" y="142"/>
                </a:lnTo>
                <a:lnTo>
                  <a:pt x="122" y="140"/>
                </a:lnTo>
                <a:lnTo>
                  <a:pt x="124" y="140"/>
                </a:lnTo>
                <a:lnTo>
                  <a:pt x="126" y="136"/>
                </a:lnTo>
                <a:lnTo>
                  <a:pt x="136" y="118"/>
                </a:lnTo>
                <a:lnTo>
                  <a:pt x="138" y="118"/>
                </a:lnTo>
                <a:lnTo>
                  <a:pt x="140" y="122"/>
                </a:lnTo>
                <a:lnTo>
                  <a:pt x="140" y="120"/>
                </a:lnTo>
                <a:lnTo>
                  <a:pt x="142" y="118"/>
                </a:lnTo>
                <a:lnTo>
                  <a:pt x="144" y="114"/>
                </a:lnTo>
                <a:lnTo>
                  <a:pt x="148" y="110"/>
                </a:lnTo>
                <a:lnTo>
                  <a:pt x="150" y="110"/>
                </a:lnTo>
                <a:lnTo>
                  <a:pt x="154" y="108"/>
                </a:lnTo>
                <a:lnTo>
                  <a:pt x="160" y="106"/>
                </a:lnTo>
                <a:lnTo>
                  <a:pt x="162" y="106"/>
                </a:lnTo>
                <a:lnTo>
                  <a:pt x="162" y="108"/>
                </a:lnTo>
                <a:lnTo>
                  <a:pt x="160" y="112"/>
                </a:lnTo>
                <a:lnTo>
                  <a:pt x="158" y="116"/>
                </a:lnTo>
                <a:lnTo>
                  <a:pt x="156" y="118"/>
                </a:lnTo>
                <a:lnTo>
                  <a:pt x="158" y="126"/>
                </a:lnTo>
                <a:lnTo>
                  <a:pt x="160" y="126"/>
                </a:lnTo>
                <a:lnTo>
                  <a:pt x="170" y="118"/>
                </a:lnTo>
                <a:lnTo>
                  <a:pt x="176" y="112"/>
                </a:lnTo>
                <a:lnTo>
                  <a:pt x="178" y="110"/>
                </a:lnTo>
                <a:lnTo>
                  <a:pt x="180" y="106"/>
                </a:lnTo>
                <a:lnTo>
                  <a:pt x="182" y="98"/>
                </a:lnTo>
                <a:lnTo>
                  <a:pt x="184" y="92"/>
                </a:lnTo>
                <a:lnTo>
                  <a:pt x="184" y="90"/>
                </a:lnTo>
                <a:lnTo>
                  <a:pt x="186" y="86"/>
                </a:lnTo>
                <a:lnTo>
                  <a:pt x="188" y="82"/>
                </a:lnTo>
                <a:lnTo>
                  <a:pt x="190" y="78"/>
                </a:lnTo>
                <a:lnTo>
                  <a:pt x="200" y="80"/>
                </a:lnTo>
                <a:lnTo>
                  <a:pt x="202" y="82"/>
                </a:lnTo>
                <a:lnTo>
                  <a:pt x="202" y="92"/>
                </a:lnTo>
                <a:lnTo>
                  <a:pt x="200" y="98"/>
                </a:lnTo>
                <a:lnTo>
                  <a:pt x="198" y="100"/>
                </a:lnTo>
                <a:lnTo>
                  <a:pt x="200" y="102"/>
                </a:lnTo>
                <a:lnTo>
                  <a:pt x="200" y="104"/>
                </a:lnTo>
                <a:lnTo>
                  <a:pt x="202" y="106"/>
                </a:lnTo>
                <a:lnTo>
                  <a:pt x="202" y="108"/>
                </a:lnTo>
                <a:lnTo>
                  <a:pt x="202" y="110"/>
                </a:lnTo>
                <a:lnTo>
                  <a:pt x="200" y="116"/>
                </a:lnTo>
                <a:lnTo>
                  <a:pt x="200" y="118"/>
                </a:lnTo>
                <a:lnTo>
                  <a:pt x="200" y="120"/>
                </a:lnTo>
                <a:lnTo>
                  <a:pt x="200" y="122"/>
                </a:lnTo>
                <a:lnTo>
                  <a:pt x="204" y="126"/>
                </a:lnTo>
                <a:lnTo>
                  <a:pt x="206" y="126"/>
                </a:lnTo>
                <a:lnTo>
                  <a:pt x="210" y="122"/>
                </a:lnTo>
                <a:lnTo>
                  <a:pt x="212" y="118"/>
                </a:lnTo>
                <a:lnTo>
                  <a:pt x="214" y="114"/>
                </a:lnTo>
                <a:lnTo>
                  <a:pt x="214" y="110"/>
                </a:lnTo>
                <a:lnTo>
                  <a:pt x="214" y="108"/>
                </a:lnTo>
                <a:lnTo>
                  <a:pt x="214" y="106"/>
                </a:lnTo>
                <a:lnTo>
                  <a:pt x="216" y="104"/>
                </a:lnTo>
                <a:lnTo>
                  <a:pt x="220" y="98"/>
                </a:lnTo>
                <a:lnTo>
                  <a:pt x="222" y="98"/>
                </a:lnTo>
                <a:lnTo>
                  <a:pt x="224" y="98"/>
                </a:lnTo>
                <a:lnTo>
                  <a:pt x="228" y="98"/>
                </a:lnTo>
                <a:lnTo>
                  <a:pt x="230" y="100"/>
                </a:lnTo>
                <a:lnTo>
                  <a:pt x="232" y="102"/>
                </a:lnTo>
                <a:lnTo>
                  <a:pt x="234" y="102"/>
                </a:lnTo>
                <a:lnTo>
                  <a:pt x="236" y="98"/>
                </a:lnTo>
                <a:lnTo>
                  <a:pt x="238" y="98"/>
                </a:lnTo>
                <a:lnTo>
                  <a:pt x="238" y="96"/>
                </a:lnTo>
                <a:lnTo>
                  <a:pt x="242" y="96"/>
                </a:lnTo>
                <a:lnTo>
                  <a:pt x="244" y="96"/>
                </a:lnTo>
                <a:lnTo>
                  <a:pt x="248" y="98"/>
                </a:lnTo>
                <a:lnTo>
                  <a:pt x="252" y="102"/>
                </a:lnTo>
                <a:lnTo>
                  <a:pt x="252" y="104"/>
                </a:lnTo>
                <a:lnTo>
                  <a:pt x="252" y="106"/>
                </a:lnTo>
                <a:lnTo>
                  <a:pt x="252" y="112"/>
                </a:lnTo>
                <a:lnTo>
                  <a:pt x="252" y="114"/>
                </a:lnTo>
                <a:lnTo>
                  <a:pt x="250" y="118"/>
                </a:lnTo>
                <a:lnTo>
                  <a:pt x="248" y="118"/>
                </a:lnTo>
                <a:lnTo>
                  <a:pt x="248" y="122"/>
                </a:lnTo>
                <a:lnTo>
                  <a:pt x="250" y="124"/>
                </a:lnTo>
                <a:lnTo>
                  <a:pt x="252" y="126"/>
                </a:lnTo>
                <a:lnTo>
                  <a:pt x="252" y="128"/>
                </a:lnTo>
                <a:lnTo>
                  <a:pt x="252" y="132"/>
                </a:lnTo>
                <a:lnTo>
                  <a:pt x="252" y="140"/>
                </a:lnTo>
                <a:lnTo>
                  <a:pt x="248" y="148"/>
                </a:lnTo>
                <a:lnTo>
                  <a:pt x="248" y="156"/>
                </a:lnTo>
                <a:lnTo>
                  <a:pt x="250" y="156"/>
                </a:lnTo>
                <a:lnTo>
                  <a:pt x="256" y="142"/>
                </a:lnTo>
                <a:lnTo>
                  <a:pt x="256" y="140"/>
                </a:lnTo>
                <a:lnTo>
                  <a:pt x="258" y="136"/>
                </a:lnTo>
                <a:lnTo>
                  <a:pt x="258" y="132"/>
                </a:lnTo>
                <a:lnTo>
                  <a:pt x="256" y="132"/>
                </a:lnTo>
                <a:lnTo>
                  <a:pt x="256" y="130"/>
                </a:lnTo>
                <a:lnTo>
                  <a:pt x="256" y="122"/>
                </a:lnTo>
                <a:lnTo>
                  <a:pt x="258" y="118"/>
                </a:lnTo>
                <a:lnTo>
                  <a:pt x="262" y="110"/>
                </a:lnTo>
                <a:lnTo>
                  <a:pt x="264" y="108"/>
                </a:lnTo>
                <a:lnTo>
                  <a:pt x="266" y="110"/>
                </a:lnTo>
                <a:lnTo>
                  <a:pt x="268" y="110"/>
                </a:lnTo>
                <a:lnTo>
                  <a:pt x="268" y="112"/>
                </a:lnTo>
                <a:lnTo>
                  <a:pt x="272" y="114"/>
                </a:lnTo>
                <a:lnTo>
                  <a:pt x="274" y="116"/>
                </a:lnTo>
                <a:lnTo>
                  <a:pt x="276" y="116"/>
                </a:lnTo>
                <a:lnTo>
                  <a:pt x="276" y="118"/>
                </a:lnTo>
                <a:lnTo>
                  <a:pt x="278" y="126"/>
                </a:lnTo>
                <a:lnTo>
                  <a:pt x="278" y="128"/>
                </a:lnTo>
                <a:lnTo>
                  <a:pt x="280" y="136"/>
                </a:lnTo>
                <a:lnTo>
                  <a:pt x="286" y="140"/>
                </a:lnTo>
                <a:lnTo>
                  <a:pt x="290" y="134"/>
                </a:lnTo>
                <a:lnTo>
                  <a:pt x="294" y="132"/>
                </a:lnTo>
                <a:lnTo>
                  <a:pt x="298" y="128"/>
                </a:lnTo>
                <a:lnTo>
                  <a:pt x="302" y="126"/>
                </a:lnTo>
                <a:lnTo>
                  <a:pt x="306" y="126"/>
                </a:lnTo>
                <a:lnTo>
                  <a:pt x="308" y="128"/>
                </a:lnTo>
                <a:lnTo>
                  <a:pt x="310" y="130"/>
                </a:lnTo>
                <a:lnTo>
                  <a:pt x="310" y="136"/>
                </a:lnTo>
                <a:lnTo>
                  <a:pt x="314" y="140"/>
                </a:lnTo>
                <a:lnTo>
                  <a:pt x="318" y="144"/>
                </a:lnTo>
                <a:lnTo>
                  <a:pt x="318" y="140"/>
                </a:lnTo>
                <a:lnTo>
                  <a:pt x="318" y="136"/>
                </a:lnTo>
                <a:lnTo>
                  <a:pt x="324" y="136"/>
                </a:lnTo>
                <a:lnTo>
                  <a:pt x="326" y="136"/>
                </a:lnTo>
                <a:lnTo>
                  <a:pt x="330" y="136"/>
                </a:lnTo>
                <a:lnTo>
                  <a:pt x="330" y="134"/>
                </a:lnTo>
                <a:lnTo>
                  <a:pt x="332" y="132"/>
                </a:lnTo>
                <a:lnTo>
                  <a:pt x="332" y="130"/>
                </a:lnTo>
                <a:lnTo>
                  <a:pt x="334" y="120"/>
                </a:lnTo>
                <a:lnTo>
                  <a:pt x="336" y="112"/>
                </a:lnTo>
                <a:lnTo>
                  <a:pt x="336" y="110"/>
                </a:lnTo>
                <a:lnTo>
                  <a:pt x="338" y="110"/>
                </a:lnTo>
                <a:lnTo>
                  <a:pt x="342" y="110"/>
                </a:lnTo>
                <a:lnTo>
                  <a:pt x="342" y="112"/>
                </a:lnTo>
                <a:lnTo>
                  <a:pt x="344" y="114"/>
                </a:lnTo>
                <a:lnTo>
                  <a:pt x="348" y="114"/>
                </a:lnTo>
                <a:lnTo>
                  <a:pt x="352" y="114"/>
                </a:lnTo>
                <a:lnTo>
                  <a:pt x="356" y="116"/>
                </a:lnTo>
                <a:lnTo>
                  <a:pt x="358" y="120"/>
                </a:lnTo>
                <a:lnTo>
                  <a:pt x="360" y="122"/>
                </a:lnTo>
                <a:lnTo>
                  <a:pt x="358" y="128"/>
                </a:lnTo>
                <a:lnTo>
                  <a:pt x="358" y="130"/>
                </a:lnTo>
                <a:lnTo>
                  <a:pt x="362" y="132"/>
                </a:lnTo>
                <a:lnTo>
                  <a:pt x="362" y="134"/>
                </a:lnTo>
                <a:lnTo>
                  <a:pt x="360" y="138"/>
                </a:lnTo>
                <a:lnTo>
                  <a:pt x="358" y="140"/>
                </a:lnTo>
                <a:lnTo>
                  <a:pt x="356" y="140"/>
                </a:lnTo>
                <a:lnTo>
                  <a:pt x="356" y="144"/>
                </a:lnTo>
                <a:lnTo>
                  <a:pt x="356" y="148"/>
                </a:lnTo>
                <a:lnTo>
                  <a:pt x="360" y="150"/>
                </a:lnTo>
                <a:lnTo>
                  <a:pt x="362" y="160"/>
                </a:lnTo>
                <a:lnTo>
                  <a:pt x="364" y="158"/>
                </a:lnTo>
                <a:lnTo>
                  <a:pt x="364" y="156"/>
                </a:lnTo>
                <a:lnTo>
                  <a:pt x="366" y="156"/>
                </a:lnTo>
                <a:lnTo>
                  <a:pt x="366" y="154"/>
                </a:lnTo>
                <a:lnTo>
                  <a:pt x="372" y="152"/>
                </a:lnTo>
                <a:lnTo>
                  <a:pt x="376" y="152"/>
                </a:lnTo>
                <a:lnTo>
                  <a:pt x="378" y="152"/>
                </a:lnTo>
                <a:lnTo>
                  <a:pt x="382" y="148"/>
                </a:lnTo>
                <a:lnTo>
                  <a:pt x="384" y="148"/>
                </a:lnTo>
                <a:lnTo>
                  <a:pt x="386" y="148"/>
                </a:lnTo>
                <a:lnTo>
                  <a:pt x="386" y="146"/>
                </a:lnTo>
                <a:lnTo>
                  <a:pt x="388" y="146"/>
                </a:lnTo>
                <a:lnTo>
                  <a:pt x="390" y="148"/>
                </a:lnTo>
                <a:lnTo>
                  <a:pt x="394" y="152"/>
                </a:lnTo>
                <a:lnTo>
                  <a:pt x="388" y="152"/>
                </a:lnTo>
                <a:lnTo>
                  <a:pt x="382" y="154"/>
                </a:lnTo>
                <a:lnTo>
                  <a:pt x="380" y="154"/>
                </a:lnTo>
                <a:lnTo>
                  <a:pt x="380" y="156"/>
                </a:lnTo>
                <a:lnTo>
                  <a:pt x="380" y="158"/>
                </a:lnTo>
                <a:lnTo>
                  <a:pt x="380" y="160"/>
                </a:lnTo>
                <a:lnTo>
                  <a:pt x="380" y="162"/>
                </a:lnTo>
                <a:lnTo>
                  <a:pt x="378" y="164"/>
                </a:lnTo>
                <a:lnTo>
                  <a:pt x="376" y="164"/>
                </a:lnTo>
                <a:lnTo>
                  <a:pt x="374" y="164"/>
                </a:lnTo>
                <a:lnTo>
                  <a:pt x="372" y="164"/>
                </a:lnTo>
                <a:lnTo>
                  <a:pt x="370" y="164"/>
                </a:lnTo>
                <a:lnTo>
                  <a:pt x="368" y="164"/>
                </a:lnTo>
                <a:lnTo>
                  <a:pt x="368" y="168"/>
                </a:lnTo>
                <a:lnTo>
                  <a:pt x="370" y="172"/>
                </a:lnTo>
                <a:lnTo>
                  <a:pt x="372" y="174"/>
                </a:lnTo>
                <a:lnTo>
                  <a:pt x="376" y="176"/>
                </a:lnTo>
                <a:lnTo>
                  <a:pt x="380" y="176"/>
                </a:lnTo>
                <a:lnTo>
                  <a:pt x="382" y="176"/>
                </a:lnTo>
                <a:lnTo>
                  <a:pt x="382" y="178"/>
                </a:lnTo>
                <a:lnTo>
                  <a:pt x="382" y="184"/>
                </a:lnTo>
                <a:lnTo>
                  <a:pt x="382" y="186"/>
                </a:lnTo>
                <a:lnTo>
                  <a:pt x="380" y="188"/>
                </a:lnTo>
                <a:lnTo>
                  <a:pt x="378" y="190"/>
                </a:lnTo>
                <a:lnTo>
                  <a:pt x="376" y="194"/>
                </a:lnTo>
                <a:lnTo>
                  <a:pt x="372" y="194"/>
                </a:lnTo>
                <a:lnTo>
                  <a:pt x="370" y="194"/>
                </a:lnTo>
                <a:lnTo>
                  <a:pt x="368" y="194"/>
                </a:lnTo>
                <a:lnTo>
                  <a:pt x="368" y="196"/>
                </a:lnTo>
                <a:lnTo>
                  <a:pt x="364" y="198"/>
                </a:lnTo>
                <a:lnTo>
                  <a:pt x="364" y="200"/>
                </a:lnTo>
                <a:lnTo>
                  <a:pt x="364" y="202"/>
                </a:lnTo>
                <a:lnTo>
                  <a:pt x="364" y="204"/>
                </a:lnTo>
                <a:lnTo>
                  <a:pt x="368" y="204"/>
                </a:lnTo>
                <a:lnTo>
                  <a:pt x="370" y="204"/>
                </a:lnTo>
                <a:lnTo>
                  <a:pt x="372" y="204"/>
                </a:lnTo>
                <a:lnTo>
                  <a:pt x="380" y="204"/>
                </a:lnTo>
                <a:lnTo>
                  <a:pt x="382" y="204"/>
                </a:lnTo>
                <a:lnTo>
                  <a:pt x="384" y="206"/>
                </a:lnTo>
                <a:lnTo>
                  <a:pt x="380" y="216"/>
                </a:lnTo>
                <a:lnTo>
                  <a:pt x="374" y="220"/>
                </a:lnTo>
                <a:lnTo>
                  <a:pt x="368" y="222"/>
                </a:lnTo>
                <a:lnTo>
                  <a:pt x="366" y="224"/>
                </a:lnTo>
                <a:lnTo>
                  <a:pt x="364" y="226"/>
                </a:lnTo>
                <a:lnTo>
                  <a:pt x="366" y="224"/>
                </a:lnTo>
                <a:lnTo>
                  <a:pt x="378" y="218"/>
                </a:lnTo>
                <a:lnTo>
                  <a:pt x="380" y="218"/>
                </a:lnTo>
                <a:lnTo>
                  <a:pt x="382" y="222"/>
                </a:lnTo>
                <a:lnTo>
                  <a:pt x="388" y="226"/>
                </a:lnTo>
                <a:lnTo>
                  <a:pt x="390" y="226"/>
                </a:lnTo>
                <a:lnTo>
                  <a:pt x="392" y="226"/>
                </a:lnTo>
                <a:lnTo>
                  <a:pt x="392" y="228"/>
                </a:lnTo>
                <a:lnTo>
                  <a:pt x="396" y="236"/>
                </a:lnTo>
                <a:lnTo>
                  <a:pt x="398" y="240"/>
                </a:lnTo>
                <a:lnTo>
                  <a:pt x="396" y="242"/>
                </a:lnTo>
                <a:lnTo>
                  <a:pt x="394" y="246"/>
                </a:lnTo>
                <a:lnTo>
                  <a:pt x="390" y="250"/>
                </a:lnTo>
                <a:lnTo>
                  <a:pt x="386" y="254"/>
                </a:lnTo>
                <a:lnTo>
                  <a:pt x="388" y="258"/>
                </a:lnTo>
                <a:lnTo>
                  <a:pt x="388" y="260"/>
                </a:lnTo>
                <a:lnTo>
                  <a:pt x="390" y="260"/>
                </a:lnTo>
                <a:lnTo>
                  <a:pt x="390" y="262"/>
                </a:lnTo>
                <a:lnTo>
                  <a:pt x="386" y="264"/>
                </a:lnTo>
                <a:lnTo>
                  <a:pt x="384" y="264"/>
                </a:lnTo>
                <a:lnTo>
                  <a:pt x="382" y="264"/>
                </a:lnTo>
                <a:lnTo>
                  <a:pt x="380" y="264"/>
                </a:lnTo>
                <a:lnTo>
                  <a:pt x="376" y="262"/>
                </a:lnTo>
                <a:lnTo>
                  <a:pt x="370" y="260"/>
                </a:lnTo>
                <a:lnTo>
                  <a:pt x="370" y="262"/>
                </a:lnTo>
                <a:lnTo>
                  <a:pt x="372" y="262"/>
                </a:lnTo>
                <a:lnTo>
                  <a:pt x="374" y="262"/>
                </a:lnTo>
                <a:lnTo>
                  <a:pt x="376" y="264"/>
                </a:lnTo>
                <a:lnTo>
                  <a:pt x="384" y="266"/>
                </a:lnTo>
                <a:lnTo>
                  <a:pt x="384" y="268"/>
                </a:lnTo>
                <a:lnTo>
                  <a:pt x="384" y="270"/>
                </a:lnTo>
                <a:lnTo>
                  <a:pt x="384" y="274"/>
                </a:lnTo>
                <a:lnTo>
                  <a:pt x="386" y="276"/>
                </a:lnTo>
                <a:lnTo>
                  <a:pt x="384" y="280"/>
                </a:lnTo>
                <a:lnTo>
                  <a:pt x="378" y="284"/>
                </a:lnTo>
                <a:lnTo>
                  <a:pt x="376" y="284"/>
                </a:lnTo>
                <a:lnTo>
                  <a:pt x="374" y="284"/>
                </a:lnTo>
                <a:lnTo>
                  <a:pt x="372" y="282"/>
                </a:lnTo>
                <a:lnTo>
                  <a:pt x="370" y="280"/>
                </a:lnTo>
                <a:lnTo>
                  <a:pt x="370" y="276"/>
                </a:lnTo>
                <a:lnTo>
                  <a:pt x="366" y="272"/>
                </a:lnTo>
                <a:lnTo>
                  <a:pt x="364" y="276"/>
                </a:lnTo>
                <a:lnTo>
                  <a:pt x="368" y="282"/>
                </a:lnTo>
                <a:lnTo>
                  <a:pt x="370" y="286"/>
                </a:lnTo>
                <a:lnTo>
                  <a:pt x="372" y="288"/>
                </a:lnTo>
                <a:lnTo>
                  <a:pt x="370" y="290"/>
                </a:lnTo>
                <a:lnTo>
                  <a:pt x="368" y="288"/>
                </a:lnTo>
                <a:lnTo>
                  <a:pt x="366" y="288"/>
                </a:lnTo>
                <a:lnTo>
                  <a:pt x="362" y="286"/>
                </a:lnTo>
                <a:lnTo>
                  <a:pt x="360" y="282"/>
                </a:lnTo>
                <a:lnTo>
                  <a:pt x="360" y="284"/>
                </a:lnTo>
                <a:lnTo>
                  <a:pt x="362" y="286"/>
                </a:lnTo>
                <a:lnTo>
                  <a:pt x="362" y="288"/>
                </a:lnTo>
                <a:lnTo>
                  <a:pt x="364" y="288"/>
                </a:lnTo>
                <a:lnTo>
                  <a:pt x="366" y="290"/>
                </a:lnTo>
                <a:lnTo>
                  <a:pt x="366" y="292"/>
                </a:lnTo>
                <a:lnTo>
                  <a:pt x="366" y="294"/>
                </a:lnTo>
                <a:lnTo>
                  <a:pt x="364" y="296"/>
                </a:lnTo>
                <a:lnTo>
                  <a:pt x="360" y="296"/>
                </a:lnTo>
                <a:lnTo>
                  <a:pt x="356" y="294"/>
                </a:lnTo>
                <a:lnTo>
                  <a:pt x="354" y="296"/>
                </a:lnTo>
                <a:lnTo>
                  <a:pt x="354" y="298"/>
                </a:lnTo>
                <a:lnTo>
                  <a:pt x="354" y="300"/>
                </a:lnTo>
                <a:lnTo>
                  <a:pt x="352" y="300"/>
                </a:lnTo>
                <a:lnTo>
                  <a:pt x="350" y="300"/>
                </a:lnTo>
                <a:lnTo>
                  <a:pt x="348" y="300"/>
                </a:lnTo>
                <a:lnTo>
                  <a:pt x="342" y="300"/>
                </a:lnTo>
                <a:lnTo>
                  <a:pt x="340" y="296"/>
                </a:lnTo>
                <a:lnTo>
                  <a:pt x="340" y="292"/>
                </a:lnTo>
                <a:lnTo>
                  <a:pt x="340" y="290"/>
                </a:lnTo>
                <a:lnTo>
                  <a:pt x="338" y="288"/>
                </a:lnTo>
                <a:lnTo>
                  <a:pt x="336" y="286"/>
                </a:lnTo>
                <a:lnTo>
                  <a:pt x="338" y="290"/>
                </a:lnTo>
                <a:lnTo>
                  <a:pt x="338" y="296"/>
                </a:lnTo>
                <a:lnTo>
                  <a:pt x="338" y="300"/>
                </a:lnTo>
                <a:lnTo>
                  <a:pt x="336" y="300"/>
                </a:lnTo>
                <a:lnTo>
                  <a:pt x="332" y="304"/>
                </a:lnTo>
                <a:lnTo>
                  <a:pt x="330" y="304"/>
                </a:lnTo>
                <a:lnTo>
                  <a:pt x="328" y="304"/>
                </a:lnTo>
                <a:lnTo>
                  <a:pt x="326" y="304"/>
                </a:lnTo>
                <a:lnTo>
                  <a:pt x="326" y="306"/>
                </a:lnTo>
                <a:lnTo>
                  <a:pt x="326" y="308"/>
                </a:lnTo>
                <a:lnTo>
                  <a:pt x="328" y="308"/>
                </a:lnTo>
                <a:lnTo>
                  <a:pt x="326" y="312"/>
                </a:lnTo>
                <a:lnTo>
                  <a:pt x="320" y="320"/>
                </a:lnTo>
                <a:lnTo>
                  <a:pt x="318" y="320"/>
                </a:lnTo>
                <a:lnTo>
                  <a:pt x="314" y="316"/>
                </a:lnTo>
                <a:lnTo>
                  <a:pt x="306" y="320"/>
                </a:lnTo>
                <a:lnTo>
                  <a:pt x="302" y="322"/>
                </a:lnTo>
                <a:lnTo>
                  <a:pt x="302" y="324"/>
                </a:lnTo>
                <a:lnTo>
                  <a:pt x="300" y="324"/>
                </a:lnTo>
                <a:lnTo>
                  <a:pt x="298" y="326"/>
                </a:lnTo>
                <a:lnTo>
                  <a:pt x="298" y="324"/>
                </a:lnTo>
                <a:lnTo>
                  <a:pt x="296" y="320"/>
                </a:lnTo>
                <a:lnTo>
                  <a:pt x="294" y="320"/>
                </a:lnTo>
                <a:lnTo>
                  <a:pt x="290" y="316"/>
                </a:lnTo>
                <a:lnTo>
                  <a:pt x="290" y="314"/>
                </a:lnTo>
                <a:lnTo>
                  <a:pt x="288" y="308"/>
                </a:lnTo>
                <a:lnTo>
                  <a:pt x="288" y="310"/>
                </a:lnTo>
                <a:lnTo>
                  <a:pt x="286" y="312"/>
                </a:lnTo>
                <a:lnTo>
                  <a:pt x="286" y="314"/>
                </a:lnTo>
                <a:lnTo>
                  <a:pt x="284" y="316"/>
                </a:lnTo>
                <a:lnTo>
                  <a:pt x="282" y="318"/>
                </a:lnTo>
                <a:lnTo>
                  <a:pt x="280" y="318"/>
                </a:lnTo>
                <a:lnTo>
                  <a:pt x="278" y="318"/>
                </a:lnTo>
                <a:lnTo>
                  <a:pt x="272" y="316"/>
                </a:lnTo>
                <a:lnTo>
                  <a:pt x="270" y="316"/>
                </a:lnTo>
                <a:lnTo>
                  <a:pt x="268" y="316"/>
                </a:lnTo>
                <a:lnTo>
                  <a:pt x="264" y="318"/>
                </a:lnTo>
                <a:lnTo>
                  <a:pt x="254" y="318"/>
                </a:lnTo>
                <a:lnTo>
                  <a:pt x="252" y="320"/>
                </a:lnTo>
                <a:lnTo>
                  <a:pt x="244" y="324"/>
                </a:lnTo>
                <a:lnTo>
                  <a:pt x="242" y="324"/>
                </a:lnTo>
                <a:lnTo>
                  <a:pt x="240" y="324"/>
                </a:lnTo>
                <a:lnTo>
                  <a:pt x="236" y="324"/>
                </a:lnTo>
                <a:lnTo>
                  <a:pt x="230" y="328"/>
                </a:lnTo>
                <a:lnTo>
                  <a:pt x="228" y="328"/>
                </a:lnTo>
                <a:lnTo>
                  <a:pt x="228" y="330"/>
                </a:lnTo>
                <a:lnTo>
                  <a:pt x="220" y="330"/>
                </a:lnTo>
                <a:lnTo>
                  <a:pt x="212" y="330"/>
                </a:lnTo>
                <a:lnTo>
                  <a:pt x="212" y="324"/>
                </a:lnTo>
                <a:lnTo>
                  <a:pt x="210" y="320"/>
                </a:lnTo>
                <a:lnTo>
                  <a:pt x="206" y="324"/>
                </a:lnTo>
                <a:lnTo>
                  <a:pt x="204" y="328"/>
                </a:lnTo>
                <a:lnTo>
                  <a:pt x="202" y="328"/>
                </a:lnTo>
                <a:lnTo>
                  <a:pt x="198" y="328"/>
                </a:lnTo>
                <a:lnTo>
                  <a:pt x="198" y="326"/>
                </a:lnTo>
                <a:lnTo>
                  <a:pt x="196" y="326"/>
                </a:lnTo>
                <a:lnTo>
                  <a:pt x="194" y="324"/>
                </a:lnTo>
                <a:lnTo>
                  <a:pt x="192" y="324"/>
                </a:lnTo>
                <a:lnTo>
                  <a:pt x="190" y="324"/>
                </a:lnTo>
                <a:lnTo>
                  <a:pt x="174" y="322"/>
                </a:lnTo>
                <a:lnTo>
                  <a:pt x="170" y="320"/>
                </a:lnTo>
                <a:lnTo>
                  <a:pt x="170" y="318"/>
                </a:lnTo>
                <a:lnTo>
                  <a:pt x="168" y="318"/>
                </a:lnTo>
                <a:lnTo>
                  <a:pt x="162" y="322"/>
                </a:lnTo>
                <a:lnTo>
                  <a:pt x="160" y="326"/>
                </a:lnTo>
                <a:lnTo>
                  <a:pt x="160" y="328"/>
                </a:lnTo>
                <a:lnTo>
                  <a:pt x="162" y="328"/>
                </a:lnTo>
                <a:lnTo>
                  <a:pt x="164" y="330"/>
                </a:lnTo>
                <a:lnTo>
                  <a:pt x="162" y="330"/>
                </a:lnTo>
                <a:lnTo>
                  <a:pt x="158" y="334"/>
                </a:lnTo>
                <a:lnTo>
                  <a:pt x="156" y="334"/>
                </a:lnTo>
                <a:lnTo>
                  <a:pt x="150" y="336"/>
                </a:lnTo>
                <a:lnTo>
                  <a:pt x="148" y="336"/>
                </a:lnTo>
                <a:lnTo>
                  <a:pt x="146" y="334"/>
                </a:lnTo>
                <a:lnTo>
                  <a:pt x="140" y="334"/>
                </a:lnTo>
                <a:lnTo>
                  <a:pt x="128" y="332"/>
                </a:lnTo>
                <a:lnTo>
                  <a:pt x="122" y="332"/>
                </a:lnTo>
                <a:lnTo>
                  <a:pt x="120" y="330"/>
                </a:lnTo>
                <a:lnTo>
                  <a:pt x="110" y="322"/>
                </a:lnTo>
                <a:lnTo>
                  <a:pt x="104" y="316"/>
                </a:lnTo>
                <a:lnTo>
                  <a:pt x="100" y="312"/>
                </a:lnTo>
                <a:lnTo>
                  <a:pt x="96" y="304"/>
                </a:lnTo>
                <a:lnTo>
                  <a:pt x="94" y="304"/>
                </a:lnTo>
                <a:lnTo>
                  <a:pt x="92" y="300"/>
                </a:lnTo>
                <a:lnTo>
                  <a:pt x="90" y="300"/>
                </a:lnTo>
                <a:lnTo>
                  <a:pt x="88" y="296"/>
                </a:lnTo>
                <a:lnTo>
                  <a:pt x="80" y="294"/>
                </a:lnTo>
                <a:lnTo>
                  <a:pt x="80" y="292"/>
                </a:lnTo>
                <a:lnTo>
                  <a:pt x="78" y="292"/>
                </a:lnTo>
                <a:lnTo>
                  <a:pt x="76" y="292"/>
                </a:lnTo>
                <a:lnTo>
                  <a:pt x="76" y="290"/>
                </a:lnTo>
                <a:lnTo>
                  <a:pt x="70" y="274"/>
                </a:lnTo>
                <a:lnTo>
                  <a:pt x="70" y="272"/>
                </a:lnTo>
                <a:lnTo>
                  <a:pt x="72" y="270"/>
                </a:lnTo>
                <a:lnTo>
                  <a:pt x="72" y="268"/>
                </a:lnTo>
                <a:lnTo>
                  <a:pt x="76" y="266"/>
                </a:lnTo>
                <a:lnTo>
                  <a:pt x="76" y="268"/>
                </a:lnTo>
                <a:lnTo>
                  <a:pt x="78" y="268"/>
                </a:lnTo>
                <a:lnTo>
                  <a:pt x="78" y="270"/>
                </a:lnTo>
                <a:lnTo>
                  <a:pt x="80" y="272"/>
                </a:lnTo>
                <a:lnTo>
                  <a:pt x="80" y="270"/>
                </a:lnTo>
                <a:lnTo>
                  <a:pt x="80" y="268"/>
                </a:lnTo>
                <a:lnTo>
                  <a:pt x="78" y="266"/>
                </a:lnTo>
                <a:lnTo>
                  <a:pt x="74" y="266"/>
                </a:lnTo>
                <a:lnTo>
                  <a:pt x="72" y="266"/>
                </a:lnTo>
                <a:lnTo>
                  <a:pt x="70" y="268"/>
                </a:lnTo>
                <a:lnTo>
                  <a:pt x="68" y="266"/>
                </a:lnTo>
                <a:lnTo>
                  <a:pt x="66" y="262"/>
                </a:lnTo>
                <a:lnTo>
                  <a:pt x="68" y="262"/>
                </a:lnTo>
                <a:lnTo>
                  <a:pt x="68" y="264"/>
                </a:lnTo>
                <a:lnTo>
                  <a:pt x="72" y="264"/>
                </a:lnTo>
                <a:lnTo>
                  <a:pt x="72" y="256"/>
                </a:lnTo>
                <a:lnTo>
                  <a:pt x="68" y="258"/>
                </a:lnTo>
                <a:lnTo>
                  <a:pt x="66" y="258"/>
                </a:lnTo>
                <a:lnTo>
                  <a:pt x="64" y="258"/>
                </a:lnTo>
                <a:lnTo>
                  <a:pt x="62" y="256"/>
                </a:lnTo>
                <a:lnTo>
                  <a:pt x="62" y="254"/>
                </a:lnTo>
                <a:lnTo>
                  <a:pt x="62" y="252"/>
                </a:lnTo>
                <a:lnTo>
                  <a:pt x="60" y="250"/>
                </a:lnTo>
                <a:lnTo>
                  <a:pt x="58" y="250"/>
                </a:lnTo>
                <a:lnTo>
                  <a:pt x="58" y="248"/>
                </a:lnTo>
                <a:lnTo>
                  <a:pt x="58" y="246"/>
                </a:lnTo>
                <a:lnTo>
                  <a:pt x="56" y="244"/>
                </a:lnTo>
                <a:lnTo>
                  <a:pt x="56" y="242"/>
                </a:lnTo>
                <a:lnTo>
                  <a:pt x="58" y="240"/>
                </a:lnTo>
                <a:lnTo>
                  <a:pt x="58" y="238"/>
                </a:lnTo>
                <a:lnTo>
                  <a:pt x="60" y="240"/>
                </a:lnTo>
                <a:lnTo>
                  <a:pt x="64" y="242"/>
                </a:lnTo>
                <a:lnTo>
                  <a:pt x="60" y="238"/>
                </a:lnTo>
                <a:lnTo>
                  <a:pt x="58" y="238"/>
                </a:lnTo>
                <a:lnTo>
                  <a:pt x="56" y="236"/>
                </a:lnTo>
                <a:lnTo>
                  <a:pt x="54" y="238"/>
                </a:lnTo>
                <a:lnTo>
                  <a:pt x="52" y="240"/>
                </a:lnTo>
                <a:lnTo>
                  <a:pt x="48" y="240"/>
                </a:lnTo>
                <a:lnTo>
                  <a:pt x="46" y="240"/>
                </a:lnTo>
                <a:lnTo>
                  <a:pt x="38" y="238"/>
                </a:lnTo>
                <a:lnTo>
                  <a:pt x="36" y="238"/>
                </a:lnTo>
                <a:lnTo>
                  <a:pt x="36" y="236"/>
                </a:lnTo>
                <a:lnTo>
                  <a:pt x="30" y="232"/>
                </a:lnTo>
                <a:lnTo>
                  <a:pt x="28" y="232"/>
                </a:lnTo>
                <a:lnTo>
                  <a:pt x="26" y="230"/>
                </a:lnTo>
                <a:lnTo>
                  <a:pt x="24" y="230"/>
                </a:lnTo>
                <a:lnTo>
                  <a:pt x="20" y="228"/>
                </a:lnTo>
                <a:lnTo>
                  <a:pt x="18" y="224"/>
                </a:lnTo>
                <a:lnTo>
                  <a:pt x="14" y="222"/>
                </a:lnTo>
                <a:lnTo>
                  <a:pt x="10" y="222"/>
                </a:lnTo>
                <a:lnTo>
                  <a:pt x="0" y="218"/>
                </a:lnTo>
                <a:lnTo>
                  <a:pt x="0" y="216"/>
                </a:lnTo>
                <a:lnTo>
                  <a:pt x="6" y="204"/>
                </a:lnTo>
                <a:lnTo>
                  <a:pt x="10" y="198"/>
                </a:lnTo>
                <a:lnTo>
                  <a:pt x="12" y="196"/>
                </a:lnTo>
                <a:lnTo>
                  <a:pt x="14" y="196"/>
                </a:lnTo>
                <a:lnTo>
                  <a:pt x="14" y="19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76" name="Group 2825"/>
          <p:cNvGrpSpPr>
            <a:grpSpLocks/>
          </p:cNvGrpSpPr>
          <p:nvPr/>
        </p:nvGrpSpPr>
        <p:grpSpPr bwMode="auto">
          <a:xfrm>
            <a:off x="5551725" y="1727368"/>
            <a:ext cx="753185" cy="1420715"/>
            <a:chOff x="2826" y="380"/>
            <a:chExt cx="510" cy="962"/>
          </a:xfrm>
          <a:solidFill>
            <a:srgbClr val="CAC0B6"/>
          </a:solidFill>
        </p:grpSpPr>
        <p:sp>
          <p:nvSpPr>
            <p:cNvPr id="690" name="Freeform 2562"/>
            <p:cNvSpPr>
              <a:spLocks/>
            </p:cNvSpPr>
            <p:nvPr/>
          </p:nvSpPr>
          <p:spPr bwMode="auto">
            <a:xfrm>
              <a:off x="2826" y="380"/>
              <a:ext cx="510" cy="962"/>
            </a:xfrm>
            <a:custGeom>
              <a:avLst/>
              <a:gdLst/>
              <a:ahLst/>
              <a:cxnLst>
                <a:cxn ang="0">
                  <a:pos x="490" y="594"/>
                </a:cxn>
                <a:cxn ang="0">
                  <a:pos x="500" y="666"/>
                </a:cxn>
                <a:cxn ang="0">
                  <a:pos x="460" y="760"/>
                </a:cxn>
                <a:cxn ang="0">
                  <a:pos x="426" y="812"/>
                </a:cxn>
                <a:cxn ang="0">
                  <a:pos x="404" y="848"/>
                </a:cxn>
                <a:cxn ang="0">
                  <a:pos x="368" y="864"/>
                </a:cxn>
                <a:cxn ang="0">
                  <a:pos x="344" y="868"/>
                </a:cxn>
                <a:cxn ang="0">
                  <a:pos x="322" y="896"/>
                </a:cxn>
                <a:cxn ang="0">
                  <a:pos x="310" y="904"/>
                </a:cxn>
                <a:cxn ang="0">
                  <a:pos x="278" y="912"/>
                </a:cxn>
                <a:cxn ang="0">
                  <a:pos x="246" y="930"/>
                </a:cxn>
                <a:cxn ang="0">
                  <a:pos x="208" y="936"/>
                </a:cxn>
                <a:cxn ang="0">
                  <a:pos x="198" y="940"/>
                </a:cxn>
                <a:cxn ang="0">
                  <a:pos x="190" y="940"/>
                </a:cxn>
                <a:cxn ang="0">
                  <a:pos x="178" y="924"/>
                </a:cxn>
                <a:cxn ang="0">
                  <a:pos x="156" y="922"/>
                </a:cxn>
                <a:cxn ang="0">
                  <a:pos x="126" y="902"/>
                </a:cxn>
                <a:cxn ang="0">
                  <a:pos x="106" y="898"/>
                </a:cxn>
                <a:cxn ang="0">
                  <a:pos x="102" y="818"/>
                </a:cxn>
                <a:cxn ang="0">
                  <a:pos x="86" y="770"/>
                </a:cxn>
                <a:cxn ang="0">
                  <a:pos x="72" y="716"/>
                </a:cxn>
                <a:cxn ang="0">
                  <a:pos x="88" y="672"/>
                </a:cxn>
                <a:cxn ang="0">
                  <a:pos x="102" y="656"/>
                </a:cxn>
                <a:cxn ang="0">
                  <a:pos x="118" y="626"/>
                </a:cxn>
                <a:cxn ang="0">
                  <a:pos x="136" y="612"/>
                </a:cxn>
                <a:cxn ang="0">
                  <a:pos x="162" y="570"/>
                </a:cxn>
                <a:cxn ang="0">
                  <a:pos x="188" y="522"/>
                </a:cxn>
                <a:cxn ang="0">
                  <a:pos x="222" y="494"/>
                </a:cxn>
                <a:cxn ang="0">
                  <a:pos x="220" y="468"/>
                </a:cxn>
                <a:cxn ang="0">
                  <a:pos x="204" y="426"/>
                </a:cxn>
                <a:cxn ang="0">
                  <a:pos x="180" y="406"/>
                </a:cxn>
                <a:cxn ang="0">
                  <a:pos x="146" y="378"/>
                </a:cxn>
                <a:cxn ang="0">
                  <a:pos x="142" y="324"/>
                </a:cxn>
                <a:cxn ang="0">
                  <a:pos x="128" y="278"/>
                </a:cxn>
                <a:cxn ang="0">
                  <a:pos x="116" y="238"/>
                </a:cxn>
                <a:cxn ang="0">
                  <a:pos x="86" y="182"/>
                </a:cxn>
                <a:cxn ang="0">
                  <a:pos x="48" y="166"/>
                </a:cxn>
                <a:cxn ang="0">
                  <a:pos x="14" y="140"/>
                </a:cxn>
                <a:cxn ang="0">
                  <a:pos x="6" y="122"/>
                </a:cxn>
                <a:cxn ang="0">
                  <a:pos x="22" y="98"/>
                </a:cxn>
                <a:cxn ang="0">
                  <a:pos x="88" y="150"/>
                </a:cxn>
                <a:cxn ang="0">
                  <a:pos x="110" y="144"/>
                </a:cxn>
                <a:cxn ang="0">
                  <a:pos x="136" y="144"/>
                </a:cxn>
                <a:cxn ang="0">
                  <a:pos x="158" y="134"/>
                </a:cxn>
                <a:cxn ang="0">
                  <a:pos x="172" y="100"/>
                </a:cxn>
                <a:cxn ang="0">
                  <a:pos x="172" y="44"/>
                </a:cxn>
                <a:cxn ang="0">
                  <a:pos x="204" y="20"/>
                </a:cxn>
                <a:cxn ang="0">
                  <a:pos x="238" y="14"/>
                </a:cxn>
                <a:cxn ang="0">
                  <a:pos x="276" y="34"/>
                </a:cxn>
                <a:cxn ang="0">
                  <a:pos x="278" y="86"/>
                </a:cxn>
                <a:cxn ang="0">
                  <a:pos x="280" y="106"/>
                </a:cxn>
                <a:cxn ang="0">
                  <a:pos x="316" y="172"/>
                </a:cxn>
                <a:cxn ang="0">
                  <a:pos x="328" y="270"/>
                </a:cxn>
                <a:cxn ang="0">
                  <a:pos x="354" y="316"/>
                </a:cxn>
                <a:cxn ang="0">
                  <a:pos x="388" y="368"/>
                </a:cxn>
                <a:cxn ang="0">
                  <a:pos x="386" y="416"/>
                </a:cxn>
                <a:cxn ang="0">
                  <a:pos x="392" y="438"/>
                </a:cxn>
                <a:cxn ang="0">
                  <a:pos x="402" y="464"/>
                </a:cxn>
                <a:cxn ang="0">
                  <a:pos x="412" y="488"/>
                </a:cxn>
                <a:cxn ang="0">
                  <a:pos x="446" y="520"/>
                </a:cxn>
                <a:cxn ang="0">
                  <a:pos x="428" y="556"/>
                </a:cxn>
              </a:cxnLst>
              <a:rect l="0" t="0" r="r" b="b"/>
              <a:pathLst>
                <a:path w="510" h="962">
                  <a:moveTo>
                    <a:pt x="428" y="556"/>
                  </a:moveTo>
                  <a:lnTo>
                    <a:pt x="428" y="558"/>
                  </a:lnTo>
                  <a:lnTo>
                    <a:pt x="438" y="568"/>
                  </a:lnTo>
                  <a:lnTo>
                    <a:pt x="442" y="568"/>
                  </a:lnTo>
                  <a:lnTo>
                    <a:pt x="444" y="570"/>
                  </a:lnTo>
                  <a:lnTo>
                    <a:pt x="446" y="570"/>
                  </a:lnTo>
                  <a:lnTo>
                    <a:pt x="448" y="572"/>
                  </a:lnTo>
                  <a:lnTo>
                    <a:pt x="452" y="576"/>
                  </a:lnTo>
                  <a:lnTo>
                    <a:pt x="460" y="580"/>
                  </a:lnTo>
                  <a:lnTo>
                    <a:pt x="464" y="580"/>
                  </a:lnTo>
                  <a:lnTo>
                    <a:pt x="474" y="584"/>
                  </a:lnTo>
                  <a:lnTo>
                    <a:pt x="488" y="592"/>
                  </a:lnTo>
                  <a:lnTo>
                    <a:pt x="490" y="594"/>
                  </a:lnTo>
                  <a:lnTo>
                    <a:pt x="498" y="606"/>
                  </a:lnTo>
                  <a:lnTo>
                    <a:pt x="506" y="612"/>
                  </a:lnTo>
                  <a:lnTo>
                    <a:pt x="510" y="618"/>
                  </a:lnTo>
                  <a:lnTo>
                    <a:pt x="510" y="624"/>
                  </a:lnTo>
                  <a:lnTo>
                    <a:pt x="508" y="626"/>
                  </a:lnTo>
                  <a:lnTo>
                    <a:pt x="508" y="628"/>
                  </a:lnTo>
                  <a:lnTo>
                    <a:pt x="508" y="634"/>
                  </a:lnTo>
                  <a:lnTo>
                    <a:pt x="506" y="646"/>
                  </a:lnTo>
                  <a:lnTo>
                    <a:pt x="506" y="648"/>
                  </a:lnTo>
                  <a:lnTo>
                    <a:pt x="506" y="652"/>
                  </a:lnTo>
                  <a:lnTo>
                    <a:pt x="506" y="654"/>
                  </a:lnTo>
                  <a:lnTo>
                    <a:pt x="506" y="658"/>
                  </a:lnTo>
                  <a:lnTo>
                    <a:pt x="500" y="666"/>
                  </a:lnTo>
                  <a:lnTo>
                    <a:pt x="498" y="674"/>
                  </a:lnTo>
                  <a:lnTo>
                    <a:pt x="494" y="682"/>
                  </a:lnTo>
                  <a:lnTo>
                    <a:pt x="492" y="684"/>
                  </a:lnTo>
                  <a:lnTo>
                    <a:pt x="490" y="688"/>
                  </a:lnTo>
                  <a:lnTo>
                    <a:pt x="488" y="694"/>
                  </a:lnTo>
                  <a:lnTo>
                    <a:pt x="480" y="710"/>
                  </a:lnTo>
                  <a:lnTo>
                    <a:pt x="478" y="716"/>
                  </a:lnTo>
                  <a:lnTo>
                    <a:pt x="474" y="722"/>
                  </a:lnTo>
                  <a:lnTo>
                    <a:pt x="474" y="726"/>
                  </a:lnTo>
                  <a:lnTo>
                    <a:pt x="472" y="726"/>
                  </a:lnTo>
                  <a:lnTo>
                    <a:pt x="468" y="738"/>
                  </a:lnTo>
                  <a:lnTo>
                    <a:pt x="464" y="752"/>
                  </a:lnTo>
                  <a:lnTo>
                    <a:pt x="460" y="760"/>
                  </a:lnTo>
                  <a:lnTo>
                    <a:pt x="458" y="762"/>
                  </a:lnTo>
                  <a:lnTo>
                    <a:pt x="454" y="770"/>
                  </a:lnTo>
                  <a:lnTo>
                    <a:pt x="448" y="778"/>
                  </a:lnTo>
                  <a:lnTo>
                    <a:pt x="448" y="780"/>
                  </a:lnTo>
                  <a:lnTo>
                    <a:pt x="448" y="782"/>
                  </a:lnTo>
                  <a:lnTo>
                    <a:pt x="446" y="784"/>
                  </a:lnTo>
                  <a:lnTo>
                    <a:pt x="446" y="786"/>
                  </a:lnTo>
                  <a:lnTo>
                    <a:pt x="444" y="788"/>
                  </a:lnTo>
                  <a:lnTo>
                    <a:pt x="442" y="790"/>
                  </a:lnTo>
                  <a:lnTo>
                    <a:pt x="438" y="794"/>
                  </a:lnTo>
                  <a:lnTo>
                    <a:pt x="436" y="798"/>
                  </a:lnTo>
                  <a:lnTo>
                    <a:pt x="430" y="806"/>
                  </a:lnTo>
                  <a:lnTo>
                    <a:pt x="426" y="812"/>
                  </a:lnTo>
                  <a:lnTo>
                    <a:pt x="426" y="816"/>
                  </a:lnTo>
                  <a:lnTo>
                    <a:pt x="424" y="818"/>
                  </a:lnTo>
                  <a:lnTo>
                    <a:pt x="424" y="820"/>
                  </a:lnTo>
                  <a:lnTo>
                    <a:pt x="422" y="820"/>
                  </a:lnTo>
                  <a:lnTo>
                    <a:pt x="420" y="822"/>
                  </a:lnTo>
                  <a:lnTo>
                    <a:pt x="418" y="824"/>
                  </a:lnTo>
                  <a:lnTo>
                    <a:pt x="414" y="828"/>
                  </a:lnTo>
                  <a:lnTo>
                    <a:pt x="414" y="832"/>
                  </a:lnTo>
                  <a:lnTo>
                    <a:pt x="414" y="834"/>
                  </a:lnTo>
                  <a:lnTo>
                    <a:pt x="412" y="836"/>
                  </a:lnTo>
                  <a:lnTo>
                    <a:pt x="410" y="836"/>
                  </a:lnTo>
                  <a:lnTo>
                    <a:pt x="410" y="838"/>
                  </a:lnTo>
                  <a:lnTo>
                    <a:pt x="404" y="848"/>
                  </a:lnTo>
                  <a:lnTo>
                    <a:pt x="398" y="860"/>
                  </a:lnTo>
                  <a:lnTo>
                    <a:pt x="394" y="864"/>
                  </a:lnTo>
                  <a:lnTo>
                    <a:pt x="394" y="862"/>
                  </a:lnTo>
                  <a:lnTo>
                    <a:pt x="392" y="862"/>
                  </a:lnTo>
                  <a:lnTo>
                    <a:pt x="392" y="866"/>
                  </a:lnTo>
                  <a:lnTo>
                    <a:pt x="392" y="868"/>
                  </a:lnTo>
                  <a:lnTo>
                    <a:pt x="390" y="868"/>
                  </a:lnTo>
                  <a:lnTo>
                    <a:pt x="386" y="868"/>
                  </a:lnTo>
                  <a:lnTo>
                    <a:pt x="380" y="870"/>
                  </a:lnTo>
                  <a:lnTo>
                    <a:pt x="382" y="872"/>
                  </a:lnTo>
                  <a:lnTo>
                    <a:pt x="372" y="872"/>
                  </a:lnTo>
                  <a:lnTo>
                    <a:pt x="370" y="870"/>
                  </a:lnTo>
                  <a:lnTo>
                    <a:pt x="368" y="864"/>
                  </a:lnTo>
                  <a:lnTo>
                    <a:pt x="360" y="872"/>
                  </a:lnTo>
                  <a:lnTo>
                    <a:pt x="358" y="880"/>
                  </a:lnTo>
                  <a:lnTo>
                    <a:pt x="356" y="876"/>
                  </a:lnTo>
                  <a:lnTo>
                    <a:pt x="352" y="878"/>
                  </a:lnTo>
                  <a:lnTo>
                    <a:pt x="348" y="880"/>
                  </a:lnTo>
                  <a:lnTo>
                    <a:pt x="344" y="884"/>
                  </a:lnTo>
                  <a:lnTo>
                    <a:pt x="340" y="884"/>
                  </a:lnTo>
                  <a:lnTo>
                    <a:pt x="338" y="884"/>
                  </a:lnTo>
                  <a:lnTo>
                    <a:pt x="336" y="880"/>
                  </a:lnTo>
                  <a:lnTo>
                    <a:pt x="338" y="870"/>
                  </a:lnTo>
                  <a:lnTo>
                    <a:pt x="340" y="868"/>
                  </a:lnTo>
                  <a:lnTo>
                    <a:pt x="342" y="868"/>
                  </a:lnTo>
                  <a:lnTo>
                    <a:pt x="344" y="868"/>
                  </a:lnTo>
                  <a:lnTo>
                    <a:pt x="346" y="870"/>
                  </a:lnTo>
                  <a:lnTo>
                    <a:pt x="344" y="866"/>
                  </a:lnTo>
                  <a:lnTo>
                    <a:pt x="344" y="864"/>
                  </a:lnTo>
                  <a:lnTo>
                    <a:pt x="340" y="864"/>
                  </a:lnTo>
                  <a:lnTo>
                    <a:pt x="338" y="870"/>
                  </a:lnTo>
                  <a:lnTo>
                    <a:pt x="336" y="872"/>
                  </a:lnTo>
                  <a:lnTo>
                    <a:pt x="334" y="878"/>
                  </a:lnTo>
                  <a:lnTo>
                    <a:pt x="336" y="882"/>
                  </a:lnTo>
                  <a:lnTo>
                    <a:pt x="336" y="884"/>
                  </a:lnTo>
                  <a:lnTo>
                    <a:pt x="334" y="888"/>
                  </a:lnTo>
                  <a:lnTo>
                    <a:pt x="322" y="890"/>
                  </a:lnTo>
                  <a:lnTo>
                    <a:pt x="318" y="888"/>
                  </a:lnTo>
                  <a:lnTo>
                    <a:pt x="322" y="896"/>
                  </a:lnTo>
                  <a:lnTo>
                    <a:pt x="320" y="900"/>
                  </a:lnTo>
                  <a:lnTo>
                    <a:pt x="318" y="898"/>
                  </a:lnTo>
                  <a:lnTo>
                    <a:pt x="316" y="896"/>
                  </a:lnTo>
                  <a:lnTo>
                    <a:pt x="310" y="892"/>
                  </a:lnTo>
                  <a:lnTo>
                    <a:pt x="308" y="892"/>
                  </a:lnTo>
                  <a:lnTo>
                    <a:pt x="310" y="892"/>
                  </a:lnTo>
                  <a:lnTo>
                    <a:pt x="312" y="896"/>
                  </a:lnTo>
                  <a:lnTo>
                    <a:pt x="314" y="906"/>
                  </a:lnTo>
                  <a:lnTo>
                    <a:pt x="312" y="906"/>
                  </a:lnTo>
                  <a:lnTo>
                    <a:pt x="312" y="904"/>
                  </a:lnTo>
                  <a:lnTo>
                    <a:pt x="306" y="902"/>
                  </a:lnTo>
                  <a:lnTo>
                    <a:pt x="308" y="904"/>
                  </a:lnTo>
                  <a:lnTo>
                    <a:pt x="310" y="904"/>
                  </a:lnTo>
                  <a:lnTo>
                    <a:pt x="308" y="908"/>
                  </a:lnTo>
                  <a:lnTo>
                    <a:pt x="304" y="906"/>
                  </a:lnTo>
                  <a:lnTo>
                    <a:pt x="302" y="904"/>
                  </a:lnTo>
                  <a:lnTo>
                    <a:pt x="302" y="902"/>
                  </a:lnTo>
                  <a:lnTo>
                    <a:pt x="300" y="898"/>
                  </a:lnTo>
                  <a:lnTo>
                    <a:pt x="302" y="896"/>
                  </a:lnTo>
                  <a:lnTo>
                    <a:pt x="300" y="896"/>
                  </a:lnTo>
                  <a:lnTo>
                    <a:pt x="298" y="900"/>
                  </a:lnTo>
                  <a:lnTo>
                    <a:pt x="296" y="902"/>
                  </a:lnTo>
                  <a:lnTo>
                    <a:pt x="294" y="908"/>
                  </a:lnTo>
                  <a:lnTo>
                    <a:pt x="288" y="908"/>
                  </a:lnTo>
                  <a:lnTo>
                    <a:pt x="282" y="910"/>
                  </a:lnTo>
                  <a:lnTo>
                    <a:pt x="278" y="912"/>
                  </a:lnTo>
                  <a:lnTo>
                    <a:pt x="282" y="914"/>
                  </a:lnTo>
                  <a:lnTo>
                    <a:pt x="282" y="916"/>
                  </a:lnTo>
                  <a:lnTo>
                    <a:pt x="276" y="918"/>
                  </a:lnTo>
                  <a:lnTo>
                    <a:pt x="272" y="922"/>
                  </a:lnTo>
                  <a:lnTo>
                    <a:pt x="266" y="922"/>
                  </a:lnTo>
                  <a:lnTo>
                    <a:pt x="262" y="922"/>
                  </a:lnTo>
                  <a:lnTo>
                    <a:pt x="256" y="926"/>
                  </a:lnTo>
                  <a:lnTo>
                    <a:pt x="256" y="928"/>
                  </a:lnTo>
                  <a:lnTo>
                    <a:pt x="256" y="930"/>
                  </a:lnTo>
                  <a:lnTo>
                    <a:pt x="252" y="938"/>
                  </a:lnTo>
                  <a:lnTo>
                    <a:pt x="250" y="938"/>
                  </a:lnTo>
                  <a:lnTo>
                    <a:pt x="248" y="934"/>
                  </a:lnTo>
                  <a:lnTo>
                    <a:pt x="246" y="930"/>
                  </a:lnTo>
                  <a:lnTo>
                    <a:pt x="244" y="930"/>
                  </a:lnTo>
                  <a:lnTo>
                    <a:pt x="242" y="932"/>
                  </a:lnTo>
                  <a:lnTo>
                    <a:pt x="238" y="934"/>
                  </a:lnTo>
                  <a:lnTo>
                    <a:pt x="232" y="938"/>
                  </a:lnTo>
                  <a:lnTo>
                    <a:pt x="220" y="944"/>
                  </a:lnTo>
                  <a:lnTo>
                    <a:pt x="216" y="946"/>
                  </a:lnTo>
                  <a:lnTo>
                    <a:pt x="212" y="946"/>
                  </a:lnTo>
                  <a:lnTo>
                    <a:pt x="210" y="944"/>
                  </a:lnTo>
                  <a:lnTo>
                    <a:pt x="208" y="946"/>
                  </a:lnTo>
                  <a:lnTo>
                    <a:pt x="204" y="946"/>
                  </a:lnTo>
                  <a:lnTo>
                    <a:pt x="206" y="942"/>
                  </a:lnTo>
                  <a:lnTo>
                    <a:pt x="208" y="940"/>
                  </a:lnTo>
                  <a:lnTo>
                    <a:pt x="208" y="936"/>
                  </a:lnTo>
                  <a:lnTo>
                    <a:pt x="206" y="936"/>
                  </a:lnTo>
                  <a:lnTo>
                    <a:pt x="200" y="948"/>
                  </a:lnTo>
                  <a:lnTo>
                    <a:pt x="196" y="958"/>
                  </a:lnTo>
                  <a:lnTo>
                    <a:pt x="194" y="960"/>
                  </a:lnTo>
                  <a:lnTo>
                    <a:pt x="180" y="962"/>
                  </a:lnTo>
                  <a:lnTo>
                    <a:pt x="182" y="960"/>
                  </a:lnTo>
                  <a:lnTo>
                    <a:pt x="188" y="954"/>
                  </a:lnTo>
                  <a:lnTo>
                    <a:pt x="190" y="954"/>
                  </a:lnTo>
                  <a:lnTo>
                    <a:pt x="192" y="954"/>
                  </a:lnTo>
                  <a:lnTo>
                    <a:pt x="196" y="950"/>
                  </a:lnTo>
                  <a:lnTo>
                    <a:pt x="198" y="946"/>
                  </a:lnTo>
                  <a:lnTo>
                    <a:pt x="198" y="942"/>
                  </a:lnTo>
                  <a:lnTo>
                    <a:pt x="198" y="940"/>
                  </a:lnTo>
                  <a:lnTo>
                    <a:pt x="198" y="942"/>
                  </a:lnTo>
                  <a:lnTo>
                    <a:pt x="196" y="942"/>
                  </a:lnTo>
                  <a:lnTo>
                    <a:pt x="196" y="946"/>
                  </a:lnTo>
                  <a:lnTo>
                    <a:pt x="196" y="948"/>
                  </a:lnTo>
                  <a:lnTo>
                    <a:pt x="194" y="950"/>
                  </a:lnTo>
                  <a:lnTo>
                    <a:pt x="188" y="950"/>
                  </a:lnTo>
                  <a:lnTo>
                    <a:pt x="188" y="946"/>
                  </a:lnTo>
                  <a:lnTo>
                    <a:pt x="192" y="946"/>
                  </a:lnTo>
                  <a:lnTo>
                    <a:pt x="192" y="944"/>
                  </a:lnTo>
                  <a:lnTo>
                    <a:pt x="194" y="944"/>
                  </a:lnTo>
                  <a:lnTo>
                    <a:pt x="194" y="940"/>
                  </a:lnTo>
                  <a:lnTo>
                    <a:pt x="192" y="940"/>
                  </a:lnTo>
                  <a:lnTo>
                    <a:pt x="190" y="940"/>
                  </a:lnTo>
                  <a:lnTo>
                    <a:pt x="188" y="940"/>
                  </a:lnTo>
                  <a:lnTo>
                    <a:pt x="186" y="942"/>
                  </a:lnTo>
                  <a:lnTo>
                    <a:pt x="184" y="942"/>
                  </a:lnTo>
                  <a:lnTo>
                    <a:pt x="182" y="940"/>
                  </a:lnTo>
                  <a:lnTo>
                    <a:pt x="182" y="936"/>
                  </a:lnTo>
                  <a:lnTo>
                    <a:pt x="184" y="936"/>
                  </a:lnTo>
                  <a:lnTo>
                    <a:pt x="184" y="934"/>
                  </a:lnTo>
                  <a:lnTo>
                    <a:pt x="180" y="934"/>
                  </a:lnTo>
                  <a:lnTo>
                    <a:pt x="178" y="934"/>
                  </a:lnTo>
                  <a:lnTo>
                    <a:pt x="176" y="932"/>
                  </a:lnTo>
                  <a:lnTo>
                    <a:pt x="176" y="930"/>
                  </a:lnTo>
                  <a:lnTo>
                    <a:pt x="176" y="926"/>
                  </a:lnTo>
                  <a:lnTo>
                    <a:pt x="178" y="924"/>
                  </a:lnTo>
                  <a:lnTo>
                    <a:pt x="180" y="922"/>
                  </a:lnTo>
                  <a:lnTo>
                    <a:pt x="180" y="918"/>
                  </a:lnTo>
                  <a:lnTo>
                    <a:pt x="184" y="914"/>
                  </a:lnTo>
                  <a:lnTo>
                    <a:pt x="182" y="912"/>
                  </a:lnTo>
                  <a:lnTo>
                    <a:pt x="176" y="918"/>
                  </a:lnTo>
                  <a:lnTo>
                    <a:pt x="172" y="922"/>
                  </a:lnTo>
                  <a:lnTo>
                    <a:pt x="170" y="924"/>
                  </a:lnTo>
                  <a:lnTo>
                    <a:pt x="168" y="924"/>
                  </a:lnTo>
                  <a:lnTo>
                    <a:pt x="168" y="926"/>
                  </a:lnTo>
                  <a:lnTo>
                    <a:pt x="166" y="926"/>
                  </a:lnTo>
                  <a:lnTo>
                    <a:pt x="160" y="928"/>
                  </a:lnTo>
                  <a:lnTo>
                    <a:pt x="154" y="926"/>
                  </a:lnTo>
                  <a:lnTo>
                    <a:pt x="156" y="922"/>
                  </a:lnTo>
                  <a:lnTo>
                    <a:pt x="158" y="918"/>
                  </a:lnTo>
                  <a:lnTo>
                    <a:pt x="162" y="912"/>
                  </a:lnTo>
                  <a:lnTo>
                    <a:pt x="156" y="912"/>
                  </a:lnTo>
                  <a:lnTo>
                    <a:pt x="146" y="914"/>
                  </a:lnTo>
                  <a:lnTo>
                    <a:pt x="146" y="912"/>
                  </a:lnTo>
                  <a:lnTo>
                    <a:pt x="144" y="910"/>
                  </a:lnTo>
                  <a:lnTo>
                    <a:pt x="142" y="910"/>
                  </a:lnTo>
                  <a:lnTo>
                    <a:pt x="138" y="908"/>
                  </a:lnTo>
                  <a:lnTo>
                    <a:pt x="136" y="908"/>
                  </a:lnTo>
                  <a:lnTo>
                    <a:pt x="134" y="906"/>
                  </a:lnTo>
                  <a:lnTo>
                    <a:pt x="130" y="906"/>
                  </a:lnTo>
                  <a:lnTo>
                    <a:pt x="130" y="902"/>
                  </a:lnTo>
                  <a:lnTo>
                    <a:pt x="126" y="902"/>
                  </a:lnTo>
                  <a:lnTo>
                    <a:pt x="126" y="906"/>
                  </a:lnTo>
                  <a:lnTo>
                    <a:pt x="124" y="906"/>
                  </a:lnTo>
                  <a:lnTo>
                    <a:pt x="122" y="898"/>
                  </a:lnTo>
                  <a:lnTo>
                    <a:pt x="124" y="896"/>
                  </a:lnTo>
                  <a:lnTo>
                    <a:pt x="122" y="894"/>
                  </a:lnTo>
                  <a:lnTo>
                    <a:pt x="122" y="896"/>
                  </a:lnTo>
                  <a:lnTo>
                    <a:pt x="116" y="900"/>
                  </a:lnTo>
                  <a:lnTo>
                    <a:pt x="114" y="904"/>
                  </a:lnTo>
                  <a:lnTo>
                    <a:pt x="112" y="900"/>
                  </a:lnTo>
                  <a:lnTo>
                    <a:pt x="110" y="898"/>
                  </a:lnTo>
                  <a:lnTo>
                    <a:pt x="108" y="900"/>
                  </a:lnTo>
                  <a:lnTo>
                    <a:pt x="106" y="900"/>
                  </a:lnTo>
                  <a:lnTo>
                    <a:pt x="106" y="898"/>
                  </a:lnTo>
                  <a:lnTo>
                    <a:pt x="102" y="892"/>
                  </a:lnTo>
                  <a:lnTo>
                    <a:pt x="102" y="890"/>
                  </a:lnTo>
                  <a:lnTo>
                    <a:pt x="102" y="888"/>
                  </a:lnTo>
                  <a:lnTo>
                    <a:pt x="102" y="882"/>
                  </a:lnTo>
                  <a:lnTo>
                    <a:pt x="100" y="878"/>
                  </a:lnTo>
                  <a:lnTo>
                    <a:pt x="98" y="872"/>
                  </a:lnTo>
                  <a:lnTo>
                    <a:pt x="100" y="866"/>
                  </a:lnTo>
                  <a:lnTo>
                    <a:pt x="100" y="858"/>
                  </a:lnTo>
                  <a:lnTo>
                    <a:pt x="102" y="844"/>
                  </a:lnTo>
                  <a:lnTo>
                    <a:pt x="102" y="838"/>
                  </a:lnTo>
                  <a:lnTo>
                    <a:pt x="104" y="834"/>
                  </a:lnTo>
                  <a:lnTo>
                    <a:pt x="106" y="832"/>
                  </a:lnTo>
                  <a:lnTo>
                    <a:pt x="102" y="818"/>
                  </a:lnTo>
                  <a:lnTo>
                    <a:pt x="102" y="814"/>
                  </a:lnTo>
                  <a:lnTo>
                    <a:pt x="98" y="810"/>
                  </a:lnTo>
                  <a:lnTo>
                    <a:pt x="100" y="808"/>
                  </a:lnTo>
                  <a:lnTo>
                    <a:pt x="106" y="810"/>
                  </a:lnTo>
                  <a:lnTo>
                    <a:pt x="108" y="810"/>
                  </a:lnTo>
                  <a:lnTo>
                    <a:pt x="104" y="804"/>
                  </a:lnTo>
                  <a:lnTo>
                    <a:pt x="102" y="800"/>
                  </a:lnTo>
                  <a:lnTo>
                    <a:pt x="98" y="790"/>
                  </a:lnTo>
                  <a:lnTo>
                    <a:pt x="98" y="786"/>
                  </a:lnTo>
                  <a:lnTo>
                    <a:pt x="92" y="778"/>
                  </a:lnTo>
                  <a:lnTo>
                    <a:pt x="90" y="776"/>
                  </a:lnTo>
                  <a:lnTo>
                    <a:pt x="88" y="774"/>
                  </a:lnTo>
                  <a:lnTo>
                    <a:pt x="86" y="770"/>
                  </a:lnTo>
                  <a:lnTo>
                    <a:pt x="86" y="762"/>
                  </a:lnTo>
                  <a:lnTo>
                    <a:pt x="86" y="760"/>
                  </a:lnTo>
                  <a:lnTo>
                    <a:pt x="88" y="754"/>
                  </a:lnTo>
                  <a:lnTo>
                    <a:pt x="90" y="752"/>
                  </a:lnTo>
                  <a:lnTo>
                    <a:pt x="90" y="750"/>
                  </a:lnTo>
                  <a:lnTo>
                    <a:pt x="88" y="744"/>
                  </a:lnTo>
                  <a:lnTo>
                    <a:pt x="86" y="736"/>
                  </a:lnTo>
                  <a:lnTo>
                    <a:pt x="82" y="736"/>
                  </a:lnTo>
                  <a:lnTo>
                    <a:pt x="78" y="732"/>
                  </a:lnTo>
                  <a:lnTo>
                    <a:pt x="76" y="728"/>
                  </a:lnTo>
                  <a:lnTo>
                    <a:pt x="76" y="724"/>
                  </a:lnTo>
                  <a:lnTo>
                    <a:pt x="76" y="720"/>
                  </a:lnTo>
                  <a:lnTo>
                    <a:pt x="72" y="716"/>
                  </a:lnTo>
                  <a:lnTo>
                    <a:pt x="72" y="700"/>
                  </a:lnTo>
                  <a:lnTo>
                    <a:pt x="74" y="698"/>
                  </a:lnTo>
                  <a:lnTo>
                    <a:pt x="80" y="690"/>
                  </a:lnTo>
                  <a:lnTo>
                    <a:pt x="82" y="692"/>
                  </a:lnTo>
                  <a:lnTo>
                    <a:pt x="84" y="690"/>
                  </a:lnTo>
                  <a:lnTo>
                    <a:pt x="84" y="688"/>
                  </a:lnTo>
                  <a:lnTo>
                    <a:pt x="84" y="682"/>
                  </a:lnTo>
                  <a:lnTo>
                    <a:pt x="86" y="680"/>
                  </a:lnTo>
                  <a:lnTo>
                    <a:pt x="84" y="676"/>
                  </a:lnTo>
                  <a:lnTo>
                    <a:pt x="84" y="674"/>
                  </a:lnTo>
                  <a:lnTo>
                    <a:pt x="86" y="670"/>
                  </a:lnTo>
                  <a:lnTo>
                    <a:pt x="88" y="670"/>
                  </a:lnTo>
                  <a:lnTo>
                    <a:pt x="88" y="672"/>
                  </a:lnTo>
                  <a:lnTo>
                    <a:pt x="92" y="674"/>
                  </a:lnTo>
                  <a:lnTo>
                    <a:pt x="94" y="674"/>
                  </a:lnTo>
                  <a:lnTo>
                    <a:pt x="94" y="672"/>
                  </a:lnTo>
                  <a:lnTo>
                    <a:pt x="92" y="670"/>
                  </a:lnTo>
                  <a:lnTo>
                    <a:pt x="90" y="670"/>
                  </a:lnTo>
                  <a:lnTo>
                    <a:pt x="88" y="666"/>
                  </a:lnTo>
                  <a:lnTo>
                    <a:pt x="86" y="662"/>
                  </a:lnTo>
                  <a:lnTo>
                    <a:pt x="86" y="658"/>
                  </a:lnTo>
                  <a:lnTo>
                    <a:pt x="88" y="656"/>
                  </a:lnTo>
                  <a:lnTo>
                    <a:pt x="92" y="658"/>
                  </a:lnTo>
                  <a:lnTo>
                    <a:pt x="94" y="658"/>
                  </a:lnTo>
                  <a:lnTo>
                    <a:pt x="102" y="652"/>
                  </a:lnTo>
                  <a:lnTo>
                    <a:pt x="102" y="656"/>
                  </a:lnTo>
                  <a:lnTo>
                    <a:pt x="106" y="658"/>
                  </a:lnTo>
                  <a:lnTo>
                    <a:pt x="110" y="654"/>
                  </a:lnTo>
                  <a:lnTo>
                    <a:pt x="114" y="654"/>
                  </a:lnTo>
                  <a:lnTo>
                    <a:pt x="116" y="652"/>
                  </a:lnTo>
                  <a:lnTo>
                    <a:pt x="120" y="648"/>
                  </a:lnTo>
                  <a:lnTo>
                    <a:pt x="122" y="644"/>
                  </a:lnTo>
                  <a:lnTo>
                    <a:pt x="120" y="642"/>
                  </a:lnTo>
                  <a:lnTo>
                    <a:pt x="118" y="640"/>
                  </a:lnTo>
                  <a:lnTo>
                    <a:pt x="116" y="638"/>
                  </a:lnTo>
                  <a:lnTo>
                    <a:pt x="114" y="636"/>
                  </a:lnTo>
                  <a:lnTo>
                    <a:pt x="112" y="634"/>
                  </a:lnTo>
                  <a:lnTo>
                    <a:pt x="116" y="626"/>
                  </a:lnTo>
                  <a:lnTo>
                    <a:pt x="118" y="626"/>
                  </a:lnTo>
                  <a:lnTo>
                    <a:pt x="120" y="628"/>
                  </a:lnTo>
                  <a:lnTo>
                    <a:pt x="120" y="630"/>
                  </a:lnTo>
                  <a:lnTo>
                    <a:pt x="122" y="628"/>
                  </a:lnTo>
                  <a:lnTo>
                    <a:pt x="124" y="622"/>
                  </a:lnTo>
                  <a:lnTo>
                    <a:pt x="124" y="620"/>
                  </a:lnTo>
                  <a:lnTo>
                    <a:pt x="124" y="618"/>
                  </a:lnTo>
                  <a:lnTo>
                    <a:pt x="126" y="608"/>
                  </a:lnTo>
                  <a:lnTo>
                    <a:pt x="130" y="608"/>
                  </a:lnTo>
                  <a:lnTo>
                    <a:pt x="130" y="610"/>
                  </a:lnTo>
                  <a:lnTo>
                    <a:pt x="132" y="612"/>
                  </a:lnTo>
                  <a:lnTo>
                    <a:pt x="134" y="616"/>
                  </a:lnTo>
                  <a:lnTo>
                    <a:pt x="134" y="614"/>
                  </a:lnTo>
                  <a:lnTo>
                    <a:pt x="136" y="612"/>
                  </a:lnTo>
                  <a:lnTo>
                    <a:pt x="138" y="608"/>
                  </a:lnTo>
                  <a:lnTo>
                    <a:pt x="138" y="600"/>
                  </a:lnTo>
                  <a:lnTo>
                    <a:pt x="138" y="598"/>
                  </a:lnTo>
                  <a:lnTo>
                    <a:pt x="144" y="592"/>
                  </a:lnTo>
                  <a:lnTo>
                    <a:pt x="146" y="590"/>
                  </a:lnTo>
                  <a:lnTo>
                    <a:pt x="150" y="588"/>
                  </a:lnTo>
                  <a:lnTo>
                    <a:pt x="154" y="588"/>
                  </a:lnTo>
                  <a:lnTo>
                    <a:pt x="156" y="584"/>
                  </a:lnTo>
                  <a:lnTo>
                    <a:pt x="154" y="578"/>
                  </a:lnTo>
                  <a:lnTo>
                    <a:pt x="154" y="574"/>
                  </a:lnTo>
                  <a:lnTo>
                    <a:pt x="156" y="572"/>
                  </a:lnTo>
                  <a:lnTo>
                    <a:pt x="160" y="574"/>
                  </a:lnTo>
                  <a:lnTo>
                    <a:pt x="162" y="570"/>
                  </a:lnTo>
                  <a:lnTo>
                    <a:pt x="162" y="568"/>
                  </a:lnTo>
                  <a:lnTo>
                    <a:pt x="164" y="564"/>
                  </a:lnTo>
                  <a:lnTo>
                    <a:pt x="166" y="562"/>
                  </a:lnTo>
                  <a:lnTo>
                    <a:pt x="168" y="560"/>
                  </a:lnTo>
                  <a:lnTo>
                    <a:pt x="172" y="552"/>
                  </a:lnTo>
                  <a:lnTo>
                    <a:pt x="174" y="550"/>
                  </a:lnTo>
                  <a:lnTo>
                    <a:pt x="174" y="548"/>
                  </a:lnTo>
                  <a:lnTo>
                    <a:pt x="176" y="540"/>
                  </a:lnTo>
                  <a:lnTo>
                    <a:pt x="180" y="534"/>
                  </a:lnTo>
                  <a:lnTo>
                    <a:pt x="184" y="530"/>
                  </a:lnTo>
                  <a:lnTo>
                    <a:pt x="186" y="528"/>
                  </a:lnTo>
                  <a:lnTo>
                    <a:pt x="188" y="526"/>
                  </a:lnTo>
                  <a:lnTo>
                    <a:pt x="188" y="522"/>
                  </a:lnTo>
                  <a:lnTo>
                    <a:pt x="188" y="518"/>
                  </a:lnTo>
                  <a:lnTo>
                    <a:pt x="188" y="516"/>
                  </a:lnTo>
                  <a:lnTo>
                    <a:pt x="188" y="510"/>
                  </a:lnTo>
                  <a:lnTo>
                    <a:pt x="192" y="504"/>
                  </a:lnTo>
                  <a:lnTo>
                    <a:pt x="192" y="498"/>
                  </a:lnTo>
                  <a:lnTo>
                    <a:pt x="198" y="494"/>
                  </a:lnTo>
                  <a:lnTo>
                    <a:pt x="200" y="490"/>
                  </a:lnTo>
                  <a:lnTo>
                    <a:pt x="208" y="488"/>
                  </a:lnTo>
                  <a:lnTo>
                    <a:pt x="212" y="486"/>
                  </a:lnTo>
                  <a:lnTo>
                    <a:pt x="216" y="490"/>
                  </a:lnTo>
                  <a:lnTo>
                    <a:pt x="218" y="494"/>
                  </a:lnTo>
                  <a:lnTo>
                    <a:pt x="220" y="494"/>
                  </a:lnTo>
                  <a:lnTo>
                    <a:pt x="222" y="494"/>
                  </a:lnTo>
                  <a:lnTo>
                    <a:pt x="224" y="492"/>
                  </a:lnTo>
                  <a:lnTo>
                    <a:pt x="222" y="486"/>
                  </a:lnTo>
                  <a:lnTo>
                    <a:pt x="222" y="484"/>
                  </a:lnTo>
                  <a:lnTo>
                    <a:pt x="220" y="486"/>
                  </a:lnTo>
                  <a:lnTo>
                    <a:pt x="216" y="484"/>
                  </a:lnTo>
                  <a:lnTo>
                    <a:pt x="216" y="480"/>
                  </a:lnTo>
                  <a:lnTo>
                    <a:pt x="216" y="478"/>
                  </a:lnTo>
                  <a:lnTo>
                    <a:pt x="220" y="478"/>
                  </a:lnTo>
                  <a:lnTo>
                    <a:pt x="222" y="480"/>
                  </a:lnTo>
                  <a:lnTo>
                    <a:pt x="224" y="482"/>
                  </a:lnTo>
                  <a:lnTo>
                    <a:pt x="224" y="480"/>
                  </a:lnTo>
                  <a:lnTo>
                    <a:pt x="222" y="472"/>
                  </a:lnTo>
                  <a:lnTo>
                    <a:pt x="220" y="468"/>
                  </a:lnTo>
                  <a:lnTo>
                    <a:pt x="216" y="466"/>
                  </a:lnTo>
                  <a:lnTo>
                    <a:pt x="216" y="460"/>
                  </a:lnTo>
                  <a:lnTo>
                    <a:pt x="214" y="452"/>
                  </a:lnTo>
                  <a:lnTo>
                    <a:pt x="214" y="450"/>
                  </a:lnTo>
                  <a:lnTo>
                    <a:pt x="214" y="444"/>
                  </a:lnTo>
                  <a:lnTo>
                    <a:pt x="216" y="438"/>
                  </a:lnTo>
                  <a:lnTo>
                    <a:pt x="214" y="436"/>
                  </a:lnTo>
                  <a:lnTo>
                    <a:pt x="214" y="432"/>
                  </a:lnTo>
                  <a:lnTo>
                    <a:pt x="212" y="430"/>
                  </a:lnTo>
                  <a:lnTo>
                    <a:pt x="208" y="426"/>
                  </a:lnTo>
                  <a:lnTo>
                    <a:pt x="206" y="426"/>
                  </a:lnTo>
                  <a:lnTo>
                    <a:pt x="204" y="428"/>
                  </a:lnTo>
                  <a:lnTo>
                    <a:pt x="204" y="426"/>
                  </a:lnTo>
                  <a:lnTo>
                    <a:pt x="202" y="424"/>
                  </a:lnTo>
                  <a:lnTo>
                    <a:pt x="202" y="422"/>
                  </a:lnTo>
                  <a:lnTo>
                    <a:pt x="194" y="420"/>
                  </a:lnTo>
                  <a:lnTo>
                    <a:pt x="190" y="420"/>
                  </a:lnTo>
                  <a:lnTo>
                    <a:pt x="188" y="420"/>
                  </a:lnTo>
                  <a:lnTo>
                    <a:pt x="186" y="420"/>
                  </a:lnTo>
                  <a:lnTo>
                    <a:pt x="180" y="414"/>
                  </a:lnTo>
                  <a:lnTo>
                    <a:pt x="180" y="412"/>
                  </a:lnTo>
                  <a:lnTo>
                    <a:pt x="180" y="408"/>
                  </a:lnTo>
                  <a:lnTo>
                    <a:pt x="180" y="402"/>
                  </a:lnTo>
                  <a:lnTo>
                    <a:pt x="182" y="398"/>
                  </a:lnTo>
                  <a:lnTo>
                    <a:pt x="180" y="398"/>
                  </a:lnTo>
                  <a:lnTo>
                    <a:pt x="180" y="406"/>
                  </a:lnTo>
                  <a:lnTo>
                    <a:pt x="178" y="408"/>
                  </a:lnTo>
                  <a:lnTo>
                    <a:pt x="176" y="408"/>
                  </a:lnTo>
                  <a:lnTo>
                    <a:pt x="174" y="412"/>
                  </a:lnTo>
                  <a:lnTo>
                    <a:pt x="166" y="412"/>
                  </a:lnTo>
                  <a:lnTo>
                    <a:pt x="164" y="410"/>
                  </a:lnTo>
                  <a:lnTo>
                    <a:pt x="164" y="408"/>
                  </a:lnTo>
                  <a:lnTo>
                    <a:pt x="164" y="406"/>
                  </a:lnTo>
                  <a:lnTo>
                    <a:pt x="156" y="390"/>
                  </a:lnTo>
                  <a:lnTo>
                    <a:pt x="154" y="386"/>
                  </a:lnTo>
                  <a:lnTo>
                    <a:pt x="152" y="382"/>
                  </a:lnTo>
                  <a:lnTo>
                    <a:pt x="150" y="380"/>
                  </a:lnTo>
                  <a:lnTo>
                    <a:pt x="148" y="378"/>
                  </a:lnTo>
                  <a:lnTo>
                    <a:pt x="146" y="378"/>
                  </a:lnTo>
                  <a:lnTo>
                    <a:pt x="144" y="376"/>
                  </a:lnTo>
                  <a:lnTo>
                    <a:pt x="142" y="376"/>
                  </a:lnTo>
                  <a:lnTo>
                    <a:pt x="140" y="370"/>
                  </a:lnTo>
                  <a:lnTo>
                    <a:pt x="138" y="366"/>
                  </a:lnTo>
                  <a:lnTo>
                    <a:pt x="136" y="354"/>
                  </a:lnTo>
                  <a:lnTo>
                    <a:pt x="136" y="352"/>
                  </a:lnTo>
                  <a:lnTo>
                    <a:pt x="138" y="348"/>
                  </a:lnTo>
                  <a:lnTo>
                    <a:pt x="142" y="344"/>
                  </a:lnTo>
                  <a:lnTo>
                    <a:pt x="144" y="342"/>
                  </a:lnTo>
                  <a:lnTo>
                    <a:pt x="144" y="340"/>
                  </a:lnTo>
                  <a:lnTo>
                    <a:pt x="142" y="330"/>
                  </a:lnTo>
                  <a:lnTo>
                    <a:pt x="142" y="328"/>
                  </a:lnTo>
                  <a:lnTo>
                    <a:pt x="142" y="324"/>
                  </a:lnTo>
                  <a:lnTo>
                    <a:pt x="142" y="320"/>
                  </a:lnTo>
                  <a:lnTo>
                    <a:pt x="146" y="320"/>
                  </a:lnTo>
                  <a:lnTo>
                    <a:pt x="142" y="312"/>
                  </a:lnTo>
                  <a:lnTo>
                    <a:pt x="138" y="308"/>
                  </a:lnTo>
                  <a:lnTo>
                    <a:pt x="134" y="304"/>
                  </a:lnTo>
                  <a:lnTo>
                    <a:pt x="134" y="302"/>
                  </a:lnTo>
                  <a:lnTo>
                    <a:pt x="132" y="302"/>
                  </a:lnTo>
                  <a:lnTo>
                    <a:pt x="130" y="298"/>
                  </a:lnTo>
                  <a:lnTo>
                    <a:pt x="126" y="288"/>
                  </a:lnTo>
                  <a:lnTo>
                    <a:pt x="124" y="280"/>
                  </a:lnTo>
                  <a:lnTo>
                    <a:pt x="126" y="280"/>
                  </a:lnTo>
                  <a:lnTo>
                    <a:pt x="126" y="278"/>
                  </a:lnTo>
                  <a:lnTo>
                    <a:pt x="128" y="278"/>
                  </a:lnTo>
                  <a:lnTo>
                    <a:pt x="128" y="276"/>
                  </a:lnTo>
                  <a:lnTo>
                    <a:pt x="130" y="276"/>
                  </a:lnTo>
                  <a:lnTo>
                    <a:pt x="130" y="272"/>
                  </a:lnTo>
                  <a:lnTo>
                    <a:pt x="128" y="264"/>
                  </a:lnTo>
                  <a:lnTo>
                    <a:pt x="122" y="262"/>
                  </a:lnTo>
                  <a:lnTo>
                    <a:pt x="120" y="262"/>
                  </a:lnTo>
                  <a:lnTo>
                    <a:pt x="120" y="264"/>
                  </a:lnTo>
                  <a:lnTo>
                    <a:pt x="118" y="264"/>
                  </a:lnTo>
                  <a:lnTo>
                    <a:pt x="118" y="262"/>
                  </a:lnTo>
                  <a:lnTo>
                    <a:pt x="116" y="260"/>
                  </a:lnTo>
                  <a:lnTo>
                    <a:pt x="116" y="252"/>
                  </a:lnTo>
                  <a:lnTo>
                    <a:pt x="116" y="242"/>
                  </a:lnTo>
                  <a:lnTo>
                    <a:pt x="116" y="238"/>
                  </a:lnTo>
                  <a:lnTo>
                    <a:pt x="114" y="228"/>
                  </a:lnTo>
                  <a:lnTo>
                    <a:pt x="114" y="224"/>
                  </a:lnTo>
                  <a:lnTo>
                    <a:pt x="114" y="222"/>
                  </a:lnTo>
                  <a:lnTo>
                    <a:pt x="118" y="222"/>
                  </a:lnTo>
                  <a:lnTo>
                    <a:pt x="118" y="218"/>
                  </a:lnTo>
                  <a:lnTo>
                    <a:pt x="118" y="216"/>
                  </a:lnTo>
                  <a:lnTo>
                    <a:pt x="114" y="212"/>
                  </a:lnTo>
                  <a:lnTo>
                    <a:pt x="108" y="208"/>
                  </a:lnTo>
                  <a:lnTo>
                    <a:pt x="106" y="206"/>
                  </a:lnTo>
                  <a:lnTo>
                    <a:pt x="92" y="188"/>
                  </a:lnTo>
                  <a:lnTo>
                    <a:pt x="90" y="184"/>
                  </a:lnTo>
                  <a:lnTo>
                    <a:pt x="88" y="184"/>
                  </a:lnTo>
                  <a:lnTo>
                    <a:pt x="86" y="182"/>
                  </a:lnTo>
                  <a:lnTo>
                    <a:pt x="84" y="180"/>
                  </a:lnTo>
                  <a:lnTo>
                    <a:pt x="78" y="176"/>
                  </a:lnTo>
                  <a:lnTo>
                    <a:pt x="76" y="176"/>
                  </a:lnTo>
                  <a:lnTo>
                    <a:pt x="72" y="176"/>
                  </a:lnTo>
                  <a:lnTo>
                    <a:pt x="70" y="176"/>
                  </a:lnTo>
                  <a:lnTo>
                    <a:pt x="68" y="174"/>
                  </a:lnTo>
                  <a:lnTo>
                    <a:pt x="60" y="174"/>
                  </a:lnTo>
                  <a:lnTo>
                    <a:pt x="56" y="174"/>
                  </a:lnTo>
                  <a:lnTo>
                    <a:pt x="56" y="172"/>
                  </a:lnTo>
                  <a:lnTo>
                    <a:pt x="54" y="170"/>
                  </a:lnTo>
                  <a:lnTo>
                    <a:pt x="52" y="168"/>
                  </a:lnTo>
                  <a:lnTo>
                    <a:pt x="50" y="166"/>
                  </a:lnTo>
                  <a:lnTo>
                    <a:pt x="48" y="166"/>
                  </a:lnTo>
                  <a:lnTo>
                    <a:pt x="46" y="166"/>
                  </a:lnTo>
                  <a:lnTo>
                    <a:pt x="44" y="164"/>
                  </a:lnTo>
                  <a:lnTo>
                    <a:pt x="44" y="162"/>
                  </a:lnTo>
                  <a:lnTo>
                    <a:pt x="40" y="160"/>
                  </a:lnTo>
                  <a:lnTo>
                    <a:pt x="38" y="158"/>
                  </a:lnTo>
                  <a:lnTo>
                    <a:pt x="36" y="158"/>
                  </a:lnTo>
                  <a:lnTo>
                    <a:pt x="34" y="156"/>
                  </a:lnTo>
                  <a:lnTo>
                    <a:pt x="32" y="154"/>
                  </a:lnTo>
                  <a:lnTo>
                    <a:pt x="24" y="146"/>
                  </a:lnTo>
                  <a:lnTo>
                    <a:pt x="18" y="142"/>
                  </a:lnTo>
                  <a:lnTo>
                    <a:pt x="18" y="140"/>
                  </a:lnTo>
                  <a:lnTo>
                    <a:pt x="16" y="140"/>
                  </a:lnTo>
                  <a:lnTo>
                    <a:pt x="14" y="140"/>
                  </a:lnTo>
                  <a:lnTo>
                    <a:pt x="12" y="138"/>
                  </a:lnTo>
                  <a:lnTo>
                    <a:pt x="14" y="134"/>
                  </a:lnTo>
                  <a:lnTo>
                    <a:pt x="14" y="132"/>
                  </a:lnTo>
                  <a:lnTo>
                    <a:pt x="12" y="132"/>
                  </a:lnTo>
                  <a:lnTo>
                    <a:pt x="10" y="130"/>
                  </a:lnTo>
                  <a:lnTo>
                    <a:pt x="10" y="128"/>
                  </a:lnTo>
                  <a:lnTo>
                    <a:pt x="8" y="128"/>
                  </a:lnTo>
                  <a:lnTo>
                    <a:pt x="6" y="128"/>
                  </a:lnTo>
                  <a:lnTo>
                    <a:pt x="2" y="126"/>
                  </a:lnTo>
                  <a:lnTo>
                    <a:pt x="0" y="126"/>
                  </a:lnTo>
                  <a:lnTo>
                    <a:pt x="2" y="124"/>
                  </a:lnTo>
                  <a:lnTo>
                    <a:pt x="4" y="122"/>
                  </a:lnTo>
                  <a:lnTo>
                    <a:pt x="6" y="122"/>
                  </a:lnTo>
                  <a:lnTo>
                    <a:pt x="8" y="122"/>
                  </a:lnTo>
                  <a:lnTo>
                    <a:pt x="12" y="124"/>
                  </a:lnTo>
                  <a:lnTo>
                    <a:pt x="14" y="126"/>
                  </a:lnTo>
                  <a:lnTo>
                    <a:pt x="16" y="126"/>
                  </a:lnTo>
                  <a:lnTo>
                    <a:pt x="18" y="126"/>
                  </a:lnTo>
                  <a:lnTo>
                    <a:pt x="18" y="124"/>
                  </a:lnTo>
                  <a:lnTo>
                    <a:pt x="18" y="120"/>
                  </a:lnTo>
                  <a:lnTo>
                    <a:pt x="16" y="118"/>
                  </a:lnTo>
                  <a:lnTo>
                    <a:pt x="16" y="116"/>
                  </a:lnTo>
                  <a:lnTo>
                    <a:pt x="16" y="114"/>
                  </a:lnTo>
                  <a:lnTo>
                    <a:pt x="14" y="110"/>
                  </a:lnTo>
                  <a:lnTo>
                    <a:pt x="14" y="108"/>
                  </a:lnTo>
                  <a:lnTo>
                    <a:pt x="22" y="98"/>
                  </a:lnTo>
                  <a:lnTo>
                    <a:pt x="36" y="102"/>
                  </a:lnTo>
                  <a:lnTo>
                    <a:pt x="48" y="118"/>
                  </a:lnTo>
                  <a:lnTo>
                    <a:pt x="50" y="122"/>
                  </a:lnTo>
                  <a:lnTo>
                    <a:pt x="56" y="132"/>
                  </a:lnTo>
                  <a:lnTo>
                    <a:pt x="60" y="136"/>
                  </a:lnTo>
                  <a:lnTo>
                    <a:pt x="62" y="140"/>
                  </a:lnTo>
                  <a:lnTo>
                    <a:pt x="64" y="144"/>
                  </a:lnTo>
                  <a:lnTo>
                    <a:pt x="66" y="152"/>
                  </a:lnTo>
                  <a:lnTo>
                    <a:pt x="68" y="150"/>
                  </a:lnTo>
                  <a:lnTo>
                    <a:pt x="70" y="148"/>
                  </a:lnTo>
                  <a:lnTo>
                    <a:pt x="80" y="152"/>
                  </a:lnTo>
                  <a:lnTo>
                    <a:pt x="82" y="152"/>
                  </a:lnTo>
                  <a:lnTo>
                    <a:pt x="88" y="150"/>
                  </a:lnTo>
                  <a:lnTo>
                    <a:pt x="90" y="152"/>
                  </a:lnTo>
                  <a:lnTo>
                    <a:pt x="92" y="154"/>
                  </a:lnTo>
                  <a:lnTo>
                    <a:pt x="92" y="156"/>
                  </a:lnTo>
                  <a:lnTo>
                    <a:pt x="94" y="156"/>
                  </a:lnTo>
                  <a:lnTo>
                    <a:pt x="96" y="156"/>
                  </a:lnTo>
                  <a:lnTo>
                    <a:pt x="98" y="154"/>
                  </a:lnTo>
                  <a:lnTo>
                    <a:pt x="98" y="152"/>
                  </a:lnTo>
                  <a:lnTo>
                    <a:pt x="100" y="150"/>
                  </a:lnTo>
                  <a:lnTo>
                    <a:pt x="102" y="148"/>
                  </a:lnTo>
                  <a:lnTo>
                    <a:pt x="104" y="148"/>
                  </a:lnTo>
                  <a:lnTo>
                    <a:pt x="106" y="148"/>
                  </a:lnTo>
                  <a:lnTo>
                    <a:pt x="110" y="146"/>
                  </a:lnTo>
                  <a:lnTo>
                    <a:pt x="110" y="144"/>
                  </a:lnTo>
                  <a:lnTo>
                    <a:pt x="112" y="142"/>
                  </a:lnTo>
                  <a:lnTo>
                    <a:pt x="112" y="140"/>
                  </a:lnTo>
                  <a:lnTo>
                    <a:pt x="114" y="136"/>
                  </a:lnTo>
                  <a:lnTo>
                    <a:pt x="114" y="134"/>
                  </a:lnTo>
                  <a:lnTo>
                    <a:pt x="116" y="134"/>
                  </a:lnTo>
                  <a:lnTo>
                    <a:pt x="118" y="134"/>
                  </a:lnTo>
                  <a:lnTo>
                    <a:pt x="120" y="134"/>
                  </a:lnTo>
                  <a:lnTo>
                    <a:pt x="122" y="136"/>
                  </a:lnTo>
                  <a:lnTo>
                    <a:pt x="124" y="138"/>
                  </a:lnTo>
                  <a:lnTo>
                    <a:pt x="126" y="140"/>
                  </a:lnTo>
                  <a:lnTo>
                    <a:pt x="132" y="144"/>
                  </a:lnTo>
                  <a:lnTo>
                    <a:pt x="134" y="144"/>
                  </a:lnTo>
                  <a:lnTo>
                    <a:pt x="136" y="144"/>
                  </a:lnTo>
                  <a:lnTo>
                    <a:pt x="138" y="144"/>
                  </a:lnTo>
                  <a:lnTo>
                    <a:pt x="140" y="144"/>
                  </a:lnTo>
                  <a:lnTo>
                    <a:pt x="142" y="144"/>
                  </a:lnTo>
                  <a:lnTo>
                    <a:pt x="144" y="144"/>
                  </a:lnTo>
                  <a:lnTo>
                    <a:pt x="146" y="146"/>
                  </a:lnTo>
                  <a:lnTo>
                    <a:pt x="148" y="148"/>
                  </a:lnTo>
                  <a:lnTo>
                    <a:pt x="150" y="150"/>
                  </a:lnTo>
                  <a:lnTo>
                    <a:pt x="150" y="152"/>
                  </a:lnTo>
                  <a:lnTo>
                    <a:pt x="154" y="152"/>
                  </a:lnTo>
                  <a:lnTo>
                    <a:pt x="158" y="148"/>
                  </a:lnTo>
                  <a:lnTo>
                    <a:pt x="158" y="146"/>
                  </a:lnTo>
                  <a:lnTo>
                    <a:pt x="158" y="144"/>
                  </a:lnTo>
                  <a:lnTo>
                    <a:pt x="158" y="134"/>
                  </a:lnTo>
                  <a:lnTo>
                    <a:pt x="158" y="132"/>
                  </a:lnTo>
                  <a:lnTo>
                    <a:pt x="160" y="130"/>
                  </a:lnTo>
                  <a:lnTo>
                    <a:pt x="160" y="128"/>
                  </a:lnTo>
                  <a:lnTo>
                    <a:pt x="164" y="124"/>
                  </a:lnTo>
                  <a:lnTo>
                    <a:pt x="166" y="122"/>
                  </a:lnTo>
                  <a:lnTo>
                    <a:pt x="168" y="122"/>
                  </a:lnTo>
                  <a:lnTo>
                    <a:pt x="172" y="122"/>
                  </a:lnTo>
                  <a:lnTo>
                    <a:pt x="174" y="120"/>
                  </a:lnTo>
                  <a:lnTo>
                    <a:pt x="174" y="118"/>
                  </a:lnTo>
                  <a:lnTo>
                    <a:pt x="174" y="116"/>
                  </a:lnTo>
                  <a:lnTo>
                    <a:pt x="176" y="112"/>
                  </a:lnTo>
                  <a:lnTo>
                    <a:pt x="176" y="106"/>
                  </a:lnTo>
                  <a:lnTo>
                    <a:pt x="172" y="100"/>
                  </a:lnTo>
                  <a:lnTo>
                    <a:pt x="170" y="92"/>
                  </a:lnTo>
                  <a:lnTo>
                    <a:pt x="170" y="88"/>
                  </a:lnTo>
                  <a:lnTo>
                    <a:pt x="170" y="82"/>
                  </a:lnTo>
                  <a:lnTo>
                    <a:pt x="170" y="80"/>
                  </a:lnTo>
                  <a:lnTo>
                    <a:pt x="170" y="78"/>
                  </a:lnTo>
                  <a:lnTo>
                    <a:pt x="172" y="76"/>
                  </a:lnTo>
                  <a:lnTo>
                    <a:pt x="172" y="74"/>
                  </a:lnTo>
                  <a:lnTo>
                    <a:pt x="172" y="66"/>
                  </a:lnTo>
                  <a:lnTo>
                    <a:pt x="172" y="56"/>
                  </a:lnTo>
                  <a:lnTo>
                    <a:pt x="172" y="54"/>
                  </a:lnTo>
                  <a:lnTo>
                    <a:pt x="172" y="50"/>
                  </a:lnTo>
                  <a:lnTo>
                    <a:pt x="172" y="48"/>
                  </a:lnTo>
                  <a:lnTo>
                    <a:pt x="172" y="44"/>
                  </a:lnTo>
                  <a:lnTo>
                    <a:pt x="176" y="42"/>
                  </a:lnTo>
                  <a:lnTo>
                    <a:pt x="176" y="40"/>
                  </a:lnTo>
                  <a:lnTo>
                    <a:pt x="182" y="30"/>
                  </a:lnTo>
                  <a:lnTo>
                    <a:pt x="182" y="28"/>
                  </a:lnTo>
                  <a:lnTo>
                    <a:pt x="182" y="26"/>
                  </a:lnTo>
                  <a:lnTo>
                    <a:pt x="184" y="24"/>
                  </a:lnTo>
                  <a:lnTo>
                    <a:pt x="184" y="22"/>
                  </a:lnTo>
                  <a:lnTo>
                    <a:pt x="188" y="20"/>
                  </a:lnTo>
                  <a:lnTo>
                    <a:pt x="194" y="18"/>
                  </a:lnTo>
                  <a:lnTo>
                    <a:pt x="196" y="20"/>
                  </a:lnTo>
                  <a:lnTo>
                    <a:pt x="198" y="20"/>
                  </a:lnTo>
                  <a:lnTo>
                    <a:pt x="202" y="20"/>
                  </a:lnTo>
                  <a:lnTo>
                    <a:pt x="204" y="20"/>
                  </a:lnTo>
                  <a:lnTo>
                    <a:pt x="208" y="18"/>
                  </a:lnTo>
                  <a:lnTo>
                    <a:pt x="210" y="16"/>
                  </a:lnTo>
                  <a:lnTo>
                    <a:pt x="210" y="14"/>
                  </a:lnTo>
                  <a:lnTo>
                    <a:pt x="208" y="12"/>
                  </a:lnTo>
                  <a:lnTo>
                    <a:pt x="212" y="10"/>
                  </a:lnTo>
                  <a:lnTo>
                    <a:pt x="216" y="4"/>
                  </a:lnTo>
                  <a:lnTo>
                    <a:pt x="226" y="0"/>
                  </a:lnTo>
                  <a:lnTo>
                    <a:pt x="228" y="0"/>
                  </a:lnTo>
                  <a:lnTo>
                    <a:pt x="230" y="4"/>
                  </a:lnTo>
                  <a:lnTo>
                    <a:pt x="230" y="6"/>
                  </a:lnTo>
                  <a:lnTo>
                    <a:pt x="230" y="8"/>
                  </a:lnTo>
                  <a:lnTo>
                    <a:pt x="236" y="12"/>
                  </a:lnTo>
                  <a:lnTo>
                    <a:pt x="238" y="14"/>
                  </a:lnTo>
                  <a:lnTo>
                    <a:pt x="240" y="14"/>
                  </a:lnTo>
                  <a:lnTo>
                    <a:pt x="240" y="16"/>
                  </a:lnTo>
                  <a:lnTo>
                    <a:pt x="242" y="16"/>
                  </a:lnTo>
                  <a:lnTo>
                    <a:pt x="244" y="16"/>
                  </a:lnTo>
                  <a:lnTo>
                    <a:pt x="246" y="20"/>
                  </a:lnTo>
                  <a:lnTo>
                    <a:pt x="248" y="20"/>
                  </a:lnTo>
                  <a:lnTo>
                    <a:pt x="258" y="24"/>
                  </a:lnTo>
                  <a:lnTo>
                    <a:pt x="260" y="24"/>
                  </a:lnTo>
                  <a:lnTo>
                    <a:pt x="266" y="26"/>
                  </a:lnTo>
                  <a:lnTo>
                    <a:pt x="268" y="26"/>
                  </a:lnTo>
                  <a:lnTo>
                    <a:pt x="272" y="28"/>
                  </a:lnTo>
                  <a:lnTo>
                    <a:pt x="274" y="28"/>
                  </a:lnTo>
                  <a:lnTo>
                    <a:pt x="276" y="34"/>
                  </a:lnTo>
                  <a:lnTo>
                    <a:pt x="282" y="46"/>
                  </a:lnTo>
                  <a:lnTo>
                    <a:pt x="282" y="48"/>
                  </a:lnTo>
                  <a:lnTo>
                    <a:pt x="280" y="58"/>
                  </a:lnTo>
                  <a:lnTo>
                    <a:pt x="278" y="60"/>
                  </a:lnTo>
                  <a:lnTo>
                    <a:pt x="278" y="62"/>
                  </a:lnTo>
                  <a:lnTo>
                    <a:pt x="274" y="66"/>
                  </a:lnTo>
                  <a:lnTo>
                    <a:pt x="274" y="68"/>
                  </a:lnTo>
                  <a:lnTo>
                    <a:pt x="274" y="72"/>
                  </a:lnTo>
                  <a:lnTo>
                    <a:pt x="274" y="76"/>
                  </a:lnTo>
                  <a:lnTo>
                    <a:pt x="274" y="78"/>
                  </a:lnTo>
                  <a:lnTo>
                    <a:pt x="274" y="82"/>
                  </a:lnTo>
                  <a:lnTo>
                    <a:pt x="276" y="84"/>
                  </a:lnTo>
                  <a:lnTo>
                    <a:pt x="278" y="86"/>
                  </a:lnTo>
                  <a:lnTo>
                    <a:pt x="282" y="86"/>
                  </a:lnTo>
                  <a:lnTo>
                    <a:pt x="280" y="88"/>
                  </a:lnTo>
                  <a:lnTo>
                    <a:pt x="278" y="90"/>
                  </a:lnTo>
                  <a:lnTo>
                    <a:pt x="274" y="94"/>
                  </a:lnTo>
                  <a:lnTo>
                    <a:pt x="266" y="102"/>
                  </a:lnTo>
                  <a:lnTo>
                    <a:pt x="266" y="104"/>
                  </a:lnTo>
                  <a:lnTo>
                    <a:pt x="266" y="106"/>
                  </a:lnTo>
                  <a:lnTo>
                    <a:pt x="268" y="106"/>
                  </a:lnTo>
                  <a:lnTo>
                    <a:pt x="270" y="106"/>
                  </a:lnTo>
                  <a:lnTo>
                    <a:pt x="272" y="106"/>
                  </a:lnTo>
                  <a:lnTo>
                    <a:pt x="276" y="104"/>
                  </a:lnTo>
                  <a:lnTo>
                    <a:pt x="278" y="104"/>
                  </a:lnTo>
                  <a:lnTo>
                    <a:pt x="280" y="106"/>
                  </a:lnTo>
                  <a:lnTo>
                    <a:pt x="280" y="110"/>
                  </a:lnTo>
                  <a:lnTo>
                    <a:pt x="280" y="114"/>
                  </a:lnTo>
                  <a:lnTo>
                    <a:pt x="280" y="118"/>
                  </a:lnTo>
                  <a:lnTo>
                    <a:pt x="278" y="122"/>
                  </a:lnTo>
                  <a:lnTo>
                    <a:pt x="276" y="132"/>
                  </a:lnTo>
                  <a:lnTo>
                    <a:pt x="274" y="136"/>
                  </a:lnTo>
                  <a:lnTo>
                    <a:pt x="280" y="150"/>
                  </a:lnTo>
                  <a:lnTo>
                    <a:pt x="286" y="162"/>
                  </a:lnTo>
                  <a:lnTo>
                    <a:pt x="290" y="166"/>
                  </a:lnTo>
                  <a:lnTo>
                    <a:pt x="294" y="168"/>
                  </a:lnTo>
                  <a:lnTo>
                    <a:pt x="306" y="170"/>
                  </a:lnTo>
                  <a:lnTo>
                    <a:pt x="314" y="172"/>
                  </a:lnTo>
                  <a:lnTo>
                    <a:pt x="316" y="172"/>
                  </a:lnTo>
                  <a:lnTo>
                    <a:pt x="324" y="184"/>
                  </a:lnTo>
                  <a:lnTo>
                    <a:pt x="332" y="194"/>
                  </a:lnTo>
                  <a:lnTo>
                    <a:pt x="340" y="198"/>
                  </a:lnTo>
                  <a:lnTo>
                    <a:pt x="346" y="202"/>
                  </a:lnTo>
                  <a:lnTo>
                    <a:pt x="346" y="214"/>
                  </a:lnTo>
                  <a:lnTo>
                    <a:pt x="346" y="216"/>
                  </a:lnTo>
                  <a:lnTo>
                    <a:pt x="346" y="218"/>
                  </a:lnTo>
                  <a:lnTo>
                    <a:pt x="346" y="220"/>
                  </a:lnTo>
                  <a:lnTo>
                    <a:pt x="344" y="222"/>
                  </a:lnTo>
                  <a:lnTo>
                    <a:pt x="342" y="228"/>
                  </a:lnTo>
                  <a:lnTo>
                    <a:pt x="336" y="242"/>
                  </a:lnTo>
                  <a:lnTo>
                    <a:pt x="328" y="268"/>
                  </a:lnTo>
                  <a:lnTo>
                    <a:pt x="328" y="270"/>
                  </a:lnTo>
                  <a:lnTo>
                    <a:pt x="328" y="274"/>
                  </a:lnTo>
                  <a:lnTo>
                    <a:pt x="328" y="276"/>
                  </a:lnTo>
                  <a:lnTo>
                    <a:pt x="328" y="280"/>
                  </a:lnTo>
                  <a:lnTo>
                    <a:pt x="328" y="282"/>
                  </a:lnTo>
                  <a:lnTo>
                    <a:pt x="330" y="284"/>
                  </a:lnTo>
                  <a:lnTo>
                    <a:pt x="332" y="288"/>
                  </a:lnTo>
                  <a:lnTo>
                    <a:pt x="336" y="290"/>
                  </a:lnTo>
                  <a:lnTo>
                    <a:pt x="338" y="292"/>
                  </a:lnTo>
                  <a:lnTo>
                    <a:pt x="342" y="296"/>
                  </a:lnTo>
                  <a:lnTo>
                    <a:pt x="344" y="298"/>
                  </a:lnTo>
                  <a:lnTo>
                    <a:pt x="344" y="302"/>
                  </a:lnTo>
                  <a:lnTo>
                    <a:pt x="346" y="304"/>
                  </a:lnTo>
                  <a:lnTo>
                    <a:pt x="354" y="316"/>
                  </a:lnTo>
                  <a:lnTo>
                    <a:pt x="356" y="318"/>
                  </a:lnTo>
                  <a:lnTo>
                    <a:pt x="356" y="320"/>
                  </a:lnTo>
                  <a:lnTo>
                    <a:pt x="358" y="322"/>
                  </a:lnTo>
                  <a:lnTo>
                    <a:pt x="360" y="328"/>
                  </a:lnTo>
                  <a:lnTo>
                    <a:pt x="368" y="338"/>
                  </a:lnTo>
                  <a:lnTo>
                    <a:pt x="370" y="340"/>
                  </a:lnTo>
                  <a:lnTo>
                    <a:pt x="372" y="340"/>
                  </a:lnTo>
                  <a:lnTo>
                    <a:pt x="372" y="342"/>
                  </a:lnTo>
                  <a:lnTo>
                    <a:pt x="374" y="342"/>
                  </a:lnTo>
                  <a:lnTo>
                    <a:pt x="376" y="344"/>
                  </a:lnTo>
                  <a:lnTo>
                    <a:pt x="378" y="350"/>
                  </a:lnTo>
                  <a:lnTo>
                    <a:pt x="384" y="362"/>
                  </a:lnTo>
                  <a:lnTo>
                    <a:pt x="388" y="368"/>
                  </a:lnTo>
                  <a:lnTo>
                    <a:pt x="388" y="370"/>
                  </a:lnTo>
                  <a:lnTo>
                    <a:pt x="392" y="378"/>
                  </a:lnTo>
                  <a:lnTo>
                    <a:pt x="392" y="382"/>
                  </a:lnTo>
                  <a:lnTo>
                    <a:pt x="390" y="382"/>
                  </a:lnTo>
                  <a:lnTo>
                    <a:pt x="388" y="382"/>
                  </a:lnTo>
                  <a:lnTo>
                    <a:pt x="382" y="386"/>
                  </a:lnTo>
                  <a:lnTo>
                    <a:pt x="384" y="392"/>
                  </a:lnTo>
                  <a:lnTo>
                    <a:pt x="382" y="398"/>
                  </a:lnTo>
                  <a:lnTo>
                    <a:pt x="382" y="400"/>
                  </a:lnTo>
                  <a:lnTo>
                    <a:pt x="382" y="402"/>
                  </a:lnTo>
                  <a:lnTo>
                    <a:pt x="382" y="406"/>
                  </a:lnTo>
                  <a:lnTo>
                    <a:pt x="384" y="408"/>
                  </a:lnTo>
                  <a:lnTo>
                    <a:pt x="386" y="416"/>
                  </a:lnTo>
                  <a:lnTo>
                    <a:pt x="384" y="418"/>
                  </a:lnTo>
                  <a:lnTo>
                    <a:pt x="382" y="420"/>
                  </a:lnTo>
                  <a:lnTo>
                    <a:pt x="382" y="424"/>
                  </a:lnTo>
                  <a:lnTo>
                    <a:pt x="382" y="426"/>
                  </a:lnTo>
                  <a:lnTo>
                    <a:pt x="384" y="426"/>
                  </a:lnTo>
                  <a:lnTo>
                    <a:pt x="386" y="426"/>
                  </a:lnTo>
                  <a:lnTo>
                    <a:pt x="390" y="426"/>
                  </a:lnTo>
                  <a:lnTo>
                    <a:pt x="392" y="426"/>
                  </a:lnTo>
                  <a:lnTo>
                    <a:pt x="392" y="428"/>
                  </a:lnTo>
                  <a:lnTo>
                    <a:pt x="394" y="434"/>
                  </a:lnTo>
                  <a:lnTo>
                    <a:pt x="394" y="436"/>
                  </a:lnTo>
                  <a:lnTo>
                    <a:pt x="392" y="436"/>
                  </a:lnTo>
                  <a:lnTo>
                    <a:pt x="392" y="438"/>
                  </a:lnTo>
                  <a:lnTo>
                    <a:pt x="390" y="438"/>
                  </a:lnTo>
                  <a:lnTo>
                    <a:pt x="388" y="440"/>
                  </a:lnTo>
                  <a:lnTo>
                    <a:pt x="386" y="440"/>
                  </a:lnTo>
                  <a:lnTo>
                    <a:pt x="386" y="442"/>
                  </a:lnTo>
                  <a:lnTo>
                    <a:pt x="386" y="446"/>
                  </a:lnTo>
                  <a:lnTo>
                    <a:pt x="390" y="454"/>
                  </a:lnTo>
                  <a:lnTo>
                    <a:pt x="390" y="456"/>
                  </a:lnTo>
                  <a:lnTo>
                    <a:pt x="392" y="456"/>
                  </a:lnTo>
                  <a:lnTo>
                    <a:pt x="394" y="460"/>
                  </a:lnTo>
                  <a:lnTo>
                    <a:pt x="396" y="462"/>
                  </a:lnTo>
                  <a:lnTo>
                    <a:pt x="398" y="464"/>
                  </a:lnTo>
                  <a:lnTo>
                    <a:pt x="400" y="464"/>
                  </a:lnTo>
                  <a:lnTo>
                    <a:pt x="402" y="464"/>
                  </a:lnTo>
                  <a:lnTo>
                    <a:pt x="404" y="464"/>
                  </a:lnTo>
                  <a:lnTo>
                    <a:pt x="404" y="462"/>
                  </a:lnTo>
                  <a:lnTo>
                    <a:pt x="408" y="462"/>
                  </a:lnTo>
                  <a:lnTo>
                    <a:pt x="410" y="462"/>
                  </a:lnTo>
                  <a:lnTo>
                    <a:pt x="412" y="464"/>
                  </a:lnTo>
                  <a:lnTo>
                    <a:pt x="418" y="472"/>
                  </a:lnTo>
                  <a:lnTo>
                    <a:pt x="416" y="476"/>
                  </a:lnTo>
                  <a:lnTo>
                    <a:pt x="416" y="478"/>
                  </a:lnTo>
                  <a:lnTo>
                    <a:pt x="414" y="480"/>
                  </a:lnTo>
                  <a:lnTo>
                    <a:pt x="412" y="480"/>
                  </a:lnTo>
                  <a:lnTo>
                    <a:pt x="410" y="482"/>
                  </a:lnTo>
                  <a:lnTo>
                    <a:pt x="410" y="484"/>
                  </a:lnTo>
                  <a:lnTo>
                    <a:pt x="412" y="488"/>
                  </a:lnTo>
                  <a:lnTo>
                    <a:pt x="414" y="488"/>
                  </a:lnTo>
                  <a:lnTo>
                    <a:pt x="414" y="490"/>
                  </a:lnTo>
                  <a:lnTo>
                    <a:pt x="416" y="490"/>
                  </a:lnTo>
                  <a:lnTo>
                    <a:pt x="416" y="492"/>
                  </a:lnTo>
                  <a:lnTo>
                    <a:pt x="416" y="498"/>
                  </a:lnTo>
                  <a:lnTo>
                    <a:pt x="420" y="500"/>
                  </a:lnTo>
                  <a:lnTo>
                    <a:pt x="422" y="502"/>
                  </a:lnTo>
                  <a:lnTo>
                    <a:pt x="428" y="502"/>
                  </a:lnTo>
                  <a:lnTo>
                    <a:pt x="430" y="502"/>
                  </a:lnTo>
                  <a:lnTo>
                    <a:pt x="432" y="502"/>
                  </a:lnTo>
                  <a:lnTo>
                    <a:pt x="440" y="508"/>
                  </a:lnTo>
                  <a:lnTo>
                    <a:pt x="440" y="510"/>
                  </a:lnTo>
                  <a:lnTo>
                    <a:pt x="446" y="520"/>
                  </a:lnTo>
                  <a:lnTo>
                    <a:pt x="446" y="522"/>
                  </a:lnTo>
                  <a:lnTo>
                    <a:pt x="446" y="524"/>
                  </a:lnTo>
                  <a:lnTo>
                    <a:pt x="444" y="528"/>
                  </a:lnTo>
                  <a:lnTo>
                    <a:pt x="444" y="530"/>
                  </a:lnTo>
                  <a:lnTo>
                    <a:pt x="442" y="532"/>
                  </a:lnTo>
                  <a:lnTo>
                    <a:pt x="440" y="536"/>
                  </a:lnTo>
                  <a:lnTo>
                    <a:pt x="436" y="548"/>
                  </a:lnTo>
                  <a:lnTo>
                    <a:pt x="434" y="550"/>
                  </a:lnTo>
                  <a:lnTo>
                    <a:pt x="432" y="552"/>
                  </a:lnTo>
                  <a:lnTo>
                    <a:pt x="432" y="554"/>
                  </a:lnTo>
                  <a:lnTo>
                    <a:pt x="430" y="554"/>
                  </a:lnTo>
                  <a:lnTo>
                    <a:pt x="430" y="556"/>
                  </a:lnTo>
                  <a:lnTo>
                    <a:pt x="428" y="55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1" name="Freeform 2563"/>
            <p:cNvSpPr>
              <a:spLocks/>
            </p:cNvSpPr>
            <p:nvPr/>
          </p:nvSpPr>
          <p:spPr bwMode="auto">
            <a:xfrm>
              <a:off x="3014" y="852"/>
              <a:ext cx="20" cy="14"/>
            </a:xfrm>
            <a:custGeom>
              <a:avLst/>
              <a:gdLst/>
              <a:ahLst/>
              <a:cxnLst>
                <a:cxn ang="0">
                  <a:pos x="18" y="4"/>
                </a:cxn>
                <a:cxn ang="0">
                  <a:pos x="16" y="4"/>
                </a:cxn>
                <a:cxn ang="0">
                  <a:pos x="12" y="6"/>
                </a:cxn>
                <a:cxn ang="0">
                  <a:pos x="12" y="10"/>
                </a:cxn>
                <a:cxn ang="0">
                  <a:pos x="10" y="12"/>
                </a:cxn>
                <a:cxn ang="0">
                  <a:pos x="8" y="14"/>
                </a:cxn>
                <a:cxn ang="0">
                  <a:pos x="8" y="12"/>
                </a:cxn>
                <a:cxn ang="0">
                  <a:pos x="4" y="12"/>
                </a:cxn>
                <a:cxn ang="0">
                  <a:pos x="4" y="10"/>
                </a:cxn>
                <a:cxn ang="0">
                  <a:pos x="2" y="10"/>
                </a:cxn>
                <a:cxn ang="0">
                  <a:pos x="0" y="6"/>
                </a:cxn>
                <a:cxn ang="0">
                  <a:pos x="2" y="6"/>
                </a:cxn>
                <a:cxn ang="0">
                  <a:pos x="4" y="2"/>
                </a:cxn>
                <a:cxn ang="0">
                  <a:pos x="6" y="2"/>
                </a:cxn>
                <a:cxn ang="0">
                  <a:pos x="6" y="0"/>
                </a:cxn>
                <a:cxn ang="0">
                  <a:pos x="10" y="0"/>
                </a:cxn>
                <a:cxn ang="0">
                  <a:pos x="12" y="0"/>
                </a:cxn>
                <a:cxn ang="0">
                  <a:pos x="20" y="2"/>
                </a:cxn>
                <a:cxn ang="0">
                  <a:pos x="20" y="4"/>
                </a:cxn>
                <a:cxn ang="0">
                  <a:pos x="18" y="4"/>
                </a:cxn>
              </a:cxnLst>
              <a:rect l="0" t="0" r="r" b="b"/>
              <a:pathLst>
                <a:path w="20" h="14">
                  <a:moveTo>
                    <a:pt x="18" y="4"/>
                  </a:moveTo>
                  <a:lnTo>
                    <a:pt x="16" y="4"/>
                  </a:lnTo>
                  <a:lnTo>
                    <a:pt x="12" y="6"/>
                  </a:lnTo>
                  <a:lnTo>
                    <a:pt x="12" y="10"/>
                  </a:lnTo>
                  <a:lnTo>
                    <a:pt x="10" y="12"/>
                  </a:lnTo>
                  <a:lnTo>
                    <a:pt x="8" y="14"/>
                  </a:lnTo>
                  <a:lnTo>
                    <a:pt x="8" y="12"/>
                  </a:lnTo>
                  <a:lnTo>
                    <a:pt x="4" y="12"/>
                  </a:lnTo>
                  <a:lnTo>
                    <a:pt x="4" y="10"/>
                  </a:lnTo>
                  <a:lnTo>
                    <a:pt x="2" y="10"/>
                  </a:lnTo>
                  <a:lnTo>
                    <a:pt x="0" y="6"/>
                  </a:lnTo>
                  <a:lnTo>
                    <a:pt x="2" y="6"/>
                  </a:lnTo>
                  <a:lnTo>
                    <a:pt x="4" y="2"/>
                  </a:lnTo>
                  <a:lnTo>
                    <a:pt x="6" y="2"/>
                  </a:lnTo>
                  <a:lnTo>
                    <a:pt x="6" y="0"/>
                  </a:lnTo>
                  <a:lnTo>
                    <a:pt x="10" y="0"/>
                  </a:lnTo>
                  <a:lnTo>
                    <a:pt x="12" y="0"/>
                  </a:lnTo>
                  <a:lnTo>
                    <a:pt x="20" y="2"/>
                  </a:lnTo>
                  <a:lnTo>
                    <a:pt x="20" y="4"/>
                  </a:lnTo>
                  <a:lnTo>
                    <a:pt x="18"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2" name="Freeform 2564"/>
            <p:cNvSpPr>
              <a:spLocks/>
            </p:cNvSpPr>
            <p:nvPr/>
          </p:nvSpPr>
          <p:spPr bwMode="auto">
            <a:xfrm>
              <a:off x="2950" y="1288"/>
              <a:ext cx="10" cy="12"/>
            </a:xfrm>
            <a:custGeom>
              <a:avLst/>
              <a:gdLst/>
              <a:ahLst/>
              <a:cxnLst>
                <a:cxn ang="0">
                  <a:pos x="8" y="12"/>
                </a:cxn>
                <a:cxn ang="0">
                  <a:pos x="6" y="10"/>
                </a:cxn>
                <a:cxn ang="0">
                  <a:pos x="2" y="10"/>
                </a:cxn>
                <a:cxn ang="0">
                  <a:pos x="0" y="8"/>
                </a:cxn>
                <a:cxn ang="0">
                  <a:pos x="0" y="6"/>
                </a:cxn>
                <a:cxn ang="0">
                  <a:pos x="0" y="0"/>
                </a:cxn>
                <a:cxn ang="0">
                  <a:pos x="4" y="2"/>
                </a:cxn>
                <a:cxn ang="0">
                  <a:pos x="6" y="4"/>
                </a:cxn>
                <a:cxn ang="0">
                  <a:pos x="10" y="8"/>
                </a:cxn>
                <a:cxn ang="0">
                  <a:pos x="10" y="10"/>
                </a:cxn>
                <a:cxn ang="0">
                  <a:pos x="10" y="12"/>
                </a:cxn>
                <a:cxn ang="0">
                  <a:pos x="8" y="12"/>
                </a:cxn>
              </a:cxnLst>
              <a:rect l="0" t="0" r="r" b="b"/>
              <a:pathLst>
                <a:path w="10" h="12">
                  <a:moveTo>
                    <a:pt x="8" y="12"/>
                  </a:moveTo>
                  <a:lnTo>
                    <a:pt x="6" y="10"/>
                  </a:lnTo>
                  <a:lnTo>
                    <a:pt x="2" y="10"/>
                  </a:lnTo>
                  <a:lnTo>
                    <a:pt x="0" y="8"/>
                  </a:lnTo>
                  <a:lnTo>
                    <a:pt x="0" y="6"/>
                  </a:lnTo>
                  <a:lnTo>
                    <a:pt x="0" y="0"/>
                  </a:lnTo>
                  <a:lnTo>
                    <a:pt x="4" y="2"/>
                  </a:lnTo>
                  <a:lnTo>
                    <a:pt x="6" y="4"/>
                  </a:lnTo>
                  <a:lnTo>
                    <a:pt x="10" y="8"/>
                  </a:lnTo>
                  <a:lnTo>
                    <a:pt x="10" y="10"/>
                  </a:lnTo>
                  <a:lnTo>
                    <a:pt x="10" y="12"/>
                  </a:lnTo>
                  <a:lnTo>
                    <a:pt x="8"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3" name="Freeform 2565"/>
            <p:cNvSpPr>
              <a:spLocks/>
            </p:cNvSpPr>
            <p:nvPr/>
          </p:nvSpPr>
          <p:spPr bwMode="auto">
            <a:xfrm>
              <a:off x="2852" y="1300"/>
              <a:ext cx="30" cy="34"/>
            </a:xfrm>
            <a:custGeom>
              <a:avLst/>
              <a:gdLst/>
              <a:ahLst/>
              <a:cxnLst>
                <a:cxn ang="0">
                  <a:pos x="16" y="34"/>
                </a:cxn>
                <a:cxn ang="0">
                  <a:pos x="16" y="32"/>
                </a:cxn>
                <a:cxn ang="0">
                  <a:pos x="14" y="30"/>
                </a:cxn>
                <a:cxn ang="0">
                  <a:pos x="14" y="28"/>
                </a:cxn>
                <a:cxn ang="0">
                  <a:pos x="12" y="30"/>
                </a:cxn>
                <a:cxn ang="0">
                  <a:pos x="10" y="30"/>
                </a:cxn>
                <a:cxn ang="0">
                  <a:pos x="8" y="30"/>
                </a:cxn>
                <a:cxn ang="0">
                  <a:pos x="6" y="28"/>
                </a:cxn>
                <a:cxn ang="0">
                  <a:pos x="6" y="26"/>
                </a:cxn>
                <a:cxn ang="0">
                  <a:pos x="4" y="22"/>
                </a:cxn>
                <a:cxn ang="0">
                  <a:pos x="0" y="14"/>
                </a:cxn>
                <a:cxn ang="0">
                  <a:pos x="6" y="10"/>
                </a:cxn>
                <a:cxn ang="0">
                  <a:pos x="6" y="14"/>
                </a:cxn>
                <a:cxn ang="0">
                  <a:pos x="6" y="16"/>
                </a:cxn>
                <a:cxn ang="0">
                  <a:pos x="8" y="20"/>
                </a:cxn>
                <a:cxn ang="0">
                  <a:pos x="14" y="12"/>
                </a:cxn>
                <a:cxn ang="0">
                  <a:pos x="14" y="10"/>
                </a:cxn>
                <a:cxn ang="0">
                  <a:pos x="12" y="6"/>
                </a:cxn>
                <a:cxn ang="0">
                  <a:pos x="10" y="6"/>
                </a:cxn>
                <a:cxn ang="0">
                  <a:pos x="10" y="8"/>
                </a:cxn>
                <a:cxn ang="0">
                  <a:pos x="6" y="6"/>
                </a:cxn>
                <a:cxn ang="0">
                  <a:pos x="6" y="2"/>
                </a:cxn>
                <a:cxn ang="0">
                  <a:pos x="8" y="2"/>
                </a:cxn>
                <a:cxn ang="0">
                  <a:pos x="10" y="0"/>
                </a:cxn>
                <a:cxn ang="0">
                  <a:pos x="12" y="0"/>
                </a:cxn>
                <a:cxn ang="0">
                  <a:pos x="20" y="4"/>
                </a:cxn>
                <a:cxn ang="0">
                  <a:pos x="30" y="10"/>
                </a:cxn>
                <a:cxn ang="0">
                  <a:pos x="26" y="18"/>
                </a:cxn>
                <a:cxn ang="0">
                  <a:pos x="26" y="22"/>
                </a:cxn>
                <a:cxn ang="0">
                  <a:pos x="22" y="20"/>
                </a:cxn>
                <a:cxn ang="0">
                  <a:pos x="22" y="16"/>
                </a:cxn>
                <a:cxn ang="0">
                  <a:pos x="22" y="14"/>
                </a:cxn>
                <a:cxn ang="0">
                  <a:pos x="20" y="10"/>
                </a:cxn>
                <a:cxn ang="0">
                  <a:pos x="18" y="8"/>
                </a:cxn>
                <a:cxn ang="0">
                  <a:pos x="14" y="18"/>
                </a:cxn>
                <a:cxn ang="0">
                  <a:pos x="14" y="20"/>
                </a:cxn>
                <a:cxn ang="0">
                  <a:pos x="16" y="22"/>
                </a:cxn>
                <a:cxn ang="0">
                  <a:pos x="18" y="22"/>
                </a:cxn>
                <a:cxn ang="0">
                  <a:pos x="20" y="28"/>
                </a:cxn>
                <a:cxn ang="0">
                  <a:pos x="18" y="30"/>
                </a:cxn>
                <a:cxn ang="0">
                  <a:pos x="18" y="28"/>
                </a:cxn>
                <a:cxn ang="0">
                  <a:pos x="16" y="28"/>
                </a:cxn>
                <a:cxn ang="0">
                  <a:pos x="16" y="30"/>
                </a:cxn>
                <a:cxn ang="0">
                  <a:pos x="16" y="34"/>
                </a:cxn>
              </a:cxnLst>
              <a:rect l="0" t="0" r="r" b="b"/>
              <a:pathLst>
                <a:path w="30" h="34">
                  <a:moveTo>
                    <a:pt x="16" y="34"/>
                  </a:moveTo>
                  <a:lnTo>
                    <a:pt x="16" y="32"/>
                  </a:lnTo>
                  <a:lnTo>
                    <a:pt x="14" y="30"/>
                  </a:lnTo>
                  <a:lnTo>
                    <a:pt x="14" y="28"/>
                  </a:lnTo>
                  <a:lnTo>
                    <a:pt x="12" y="30"/>
                  </a:lnTo>
                  <a:lnTo>
                    <a:pt x="10" y="30"/>
                  </a:lnTo>
                  <a:lnTo>
                    <a:pt x="8" y="30"/>
                  </a:lnTo>
                  <a:lnTo>
                    <a:pt x="6" y="28"/>
                  </a:lnTo>
                  <a:lnTo>
                    <a:pt x="6" y="26"/>
                  </a:lnTo>
                  <a:lnTo>
                    <a:pt x="4" y="22"/>
                  </a:lnTo>
                  <a:lnTo>
                    <a:pt x="0" y="14"/>
                  </a:lnTo>
                  <a:lnTo>
                    <a:pt x="6" y="10"/>
                  </a:lnTo>
                  <a:lnTo>
                    <a:pt x="6" y="14"/>
                  </a:lnTo>
                  <a:lnTo>
                    <a:pt x="6" y="16"/>
                  </a:lnTo>
                  <a:lnTo>
                    <a:pt x="8" y="20"/>
                  </a:lnTo>
                  <a:lnTo>
                    <a:pt x="14" y="12"/>
                  </a:lnTo>
                  <a:lnTo>
                    <a:pt x="14" y="10"/>
                  </a:lnTo>
                  <a:lnTo>
                    <a:pt x="12" y="6"/>
                  </a:lnTo>
                  <a:lnTo>
                    <a:pt x="10" y="6"/>
                  </a:lnTo>
                  <a:lnTo>
                    <a:pt x="10" y="8"/>
                  </a:lnTo>
                  <a:lnTo>
                    <a:pt x="6" y="6"/>
                  </a:lnTo>
                  <a:lnTo>
                    <a:pt x="6" y="2"/>
                  </a:lnTo>
                  <a:lnTo>
                    <a:pt x="8" y="2"/>
                  </a:lnTo>
                  <a:lnTo>
                    <a:pt x="10" y="0"/>
                  </a:lnTo>
                  <a:lnTo>
                    <a:pt x="12" y="0"/>
                  </a:lnTo>
                  <a:lnTo>
                    <a:pt x="20" y="4"/>
                  </a:lnTo>
                  <a:lnTo>
                    <a:pt x="30" y="10"/>
                  </a:lnTo>
                  <a:lnTo>
                    <a:pt x="26" y="18"/>
                  </a:lnTo>
                  <a:lnTo>
                    <a:pt x="26" y="22"/>
                  </a:lnTo>
                  <a:lnTo>
                    <a:pt x="22" y="20"/>
                  </a:lnTo>
                  <a:lnTo>
                    <a:pt x="22" y="16"/>
                  </a:lnTo>
                  <a:lnTo>
                    <a:pt x="22" y="14"/>
                  </a:lnTo>
                  <a:lnTo>
                    <a:pt x="20" y="10"/>
                  </a:lnTo>
                  <a:lnTo>
                    <a:pt x="18" y="8"/>
                  </a:lnTo>
                  <a:lnTo>
                    <a:pt x="14" y="18"/>
                  </a:lnTo>
                  <a:lnTo>
                    <a:pt x="14" y="20"/>
                  </a:lnTo>
                  <a:lnTo>
                    <a:pt x="16" y="22"/>
                  </a:lnTo>
                  <a:lnTo>
                    <a:pt x="18" y="22"/>
                  </a:lnTo>
                  <a:lnTo>
                    <a:pt x="20" y="28"/>
                  </a:lnTo>
                  <a:lnTo>
                    <a:pt x="18" y="30"/>
                  </a:lnTo>
                  <a:lnTo>
                    <a:pt x="18" y="28"/>
                  </a:lnTo>
                  <a:lnTo>
                    <a:pt x="16" y="28"/>
                  </a:lnTo>
                  <a:lnTo>
                    <a:pt x="16" y="30"/>
                  </a:lnTo>
                  <a:lnTo>
                    <a:pt x="16"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4" name="Freeform 2566"/>
            <p:cNvSpPr>
              <a:spLocks/>
            </p:cNvSpPr>
            <p:nvPr/>
          </p:nvSpPr>
          <p:spPr bwMode="auto">
            <a:xfrm>
              <a:off x="2964" y="1300"/>
              <a:ext cx="12" cy="6"/>
            </a:xfrm>
            <a:custGeom>
              <a:avLst/>
              <a:gdLst/>
              <a:ahLst/>
              <a:cxnLst>
                <a:cxn ang="0">
                  <a:pos x="6" y="6"/>
                </a:cxn>
                <a:cxn ang="0">
                  <a:pos x="6" y="4"/>
                </a:cxn>
                <a:cxn ang="0">
                  <a:pos x="4" y="4"/>
                </a:cxn>
                <a:cxn ang="0">
                  <a:pos x="4" y="6"/>
                </a:cxn>
                <a:cxn ang="0">
                  <a:pos x="2" y="6"/>
                </a:cxn>
                <a:cxn ang="0">
                  <a:pos x="0" y="4"/>
                </a:cxn>
                <a:cxn ang="0">
                  <a:pos x="0" y="2"/>
                </a:cxn>
                <a:cxn ang="0">
                  <a:pos x="6" y="0"/>
                </a:cxn>
                <a:cxn ang="0">
                  <a:pos x="8" y="0"/>
                </a:cxn>
                <a:cxn ang="0">
                  <a:pos x="10" y="2"/>
                </a:cxn>
                <a:cxn ang="0">
                  <a:pos x="12" y="2"/>
                </a:cxn>
                <a:cxn ang="0">
                  <a:pos x="12" y="4"/>
                </a:cxn>
                <a:cxn ang="0">
                  <a:pos x="10" y="4"/>
                </a:cxn>
                <a:cxn ang="0">
                  <a:pos x="8" y="6"/>
                </a:cxn>
                <a:cxn ang="0">
                  <a:pos x="6" y="6"/>
                </a:cxn>
              </a:cxnLst>
              <a:rect l="0" t="0" r="r" b="b"/>
              <a:pathLst>
                <a:path w="12" h="6">
                  <a:moveTo>
                    <a:pt x="6" y="6"/>
                  </a:moveTo>
                  <a:lnTo>
                    <a:pt x="6" y="4"/>
                  </a:lnTo>
                  <a:lnTo>
                    <a:pt x="4" y="4"/>
                  </a:lnTo>
                  <a:lnTo>
                    <a:pt x="4" y="6"/>
                  </a:lnTo>
                  <a:lnTo>
                    <a:pt x="2" y="6"/>
                  </a:lnTo>
                  <a:lnTo>
                    <a:pt x="0" y="4"/>
                  </a:lnTo>
                  <a:lnTo>
                    <a:pt x="0" y="2"/>
                  </a:lnTo>
                  <a:lnTo>
                    <a:pt x="6" y="0"/>
                  </a:lnTo>
                  <a:lnTo>
                    <a:pt x="8" y="0"/>
                  </a:lnTo>
                  <a:lnTo>
                    <a:pt x="10" y="2"/>
                  </a:lnTo>
                  <a:lnTo>
                    <a:pt x="12" y="2"/>
                  </a:lnTo>
                  <a:lnTo>
                    <a:pt x="12" y="4"/>
                  </a:lnTo>
                  <a:lnTo>
                    <a:pt x="10" y="4"/>
                  </a:lnTo>
                  <a:lnTo>
                    <a:pt x="8" y="6"/>
                  </a:lnTo>
                  <a:lnTo>
                    <a:pt x="6"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5" name="Freeform 2567"/>
            <p:cNvSpPr>
              <a:spLocks/>
            </p:cNvSpPr>
            <p:nvPr/>
          </p:nvSpPr>
          <p:spPr bwMode="auto">
            <a:xfrm>
              <a:off x="2846" y="1314"/>
              <a:ext cx="8" cy="12"/>
            </a:xfrm>
            <a:custGeom>
              <a:avLst/>
              <a:gdLst/>
              <a:ahLst/>
              <a:cxnLst>
                <a:cxn ang="0">
                  <a:pos x="4" y="12"/>
                </a:cxn>
                <a:cxn ang="0">
                  <a:pos x="2" y="12"/>
                </a:cxn>
                <a:cxn ang="0">
                  <a:pos x="2" y="10"/>
                </a:cxn>
                <a:cxn ang="0">
                  <a:pos x="0" y="8"/>
                </a:cxn>
                <a:cxn ang="0">
                  <a:pos x="2" y="4"/>
                </a:cxn>
                <a:cxn ang="0">
                  <a:pos x="2" y="0"/>
                </a:cxn>
                <a:cxn ang="0">
                  <a:pos x="4" y="0"/>
                </a:cxn>
                <a:cxn ang="0">
                  <a:pos x="6" y="2"/>
                </a:cxn>
                <a:cxn ang="0">
                  <a:pos x="8" y="6"/>
                </a:cxn>
                <a:cxn ang="0">
                  <a:pos x="8" y="8"/>
                </a:cxn>
                <a:cxn ang="0">
                  <a:pos x="8" y="10"/>
                </a:cxn>
                <a:cxn ang="0">
                  <a:pos x="6" y="10"/>
                </a:cxn>
                <a:cxn ang="0">
                  <a:pos x="4" y="12"/>
                </a:cxn>
              </a:cxnLst>
              <a:rect l="0" t="0" r="r" b="b"/>
              <a:pathLst>
                <a:path w="8" h="12">
                  <a:moveTo>
                    <a:pt x="4" y="12"/>
                  </a:moveTo>
                  <a:lnTo>
                    <a:pt x="2" y="12"/>
                  </a:lnTo>
                  <a:lnTo>
                    <a:pt x="2" y="10"/>
                  </a:lnTo>
                  <a:lnTo>
                    <a:pt x="0" y="8"/>
                  </a:lnTo>
                  <a:lnTo>
                    <a:pt x="2" y="4"/>
                  </a:lnTo>
                  <a:lnTo>
                    <a:pt x="2" y="0"/>
                  </a:lnTo>
                  <a:lnTo>
                    <a:pt x="4" y="0"/>
                  </a:lnTo>
                  <a:lnTo>
                    <a:pt x="6" y="2"/>
                  </a:lnTo>
                  <a:lnTo>
                    <a:pt x="8" y="6"/>
                  </a:lnTo>
                  <a:lnTo>
                    <a:pt x="8" y="8"/>
                  </a:lnTo>
                  <a:lnTo>
                    <a:pt x="8" y="10"/>
                  </a:lnTo>
                  <a:lnTo>
                    <a:pt x="6"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6" name="Freeform 2568"/>
            <p:cNvSpPr>
              <a:spLocks/>
            </p:cNvSpPr>
            <p:nvPr/>
          </p:nvSpPr>
          <p:spPr bwMode="auto">
            <a:xfrm>
              <a:off x="2980" y="1306"/>
              <a:ext cx="22" cy="22"/>
            </a:xfrm>
            <a:custGeom>
              <a:avLst/>
              <a:gdLst/>
              <a:ahLst/>
              <a:cxnLst>
                <a:cxn ang="0">
                  <a:pos x="10" y="22"/>
                </a:cxn>
                <a:cxn ang="0">
                  <a:pos x="10" y="20"/>
                </a:cxn>
                <a:cxn ang="0">
                  <a:pos x="8" y="18"/>
                </a:cxn>
                <a:cxn ang="0">
                  <a:pos x="8" y="20"/>
                </a:cxn>
                <a:cxn ang="0">
                  <a:pos x="6" y="20"/>
                </a:cxn>
                <a:cxn ang="0">
                  <a:pos x="4" y="22"/>
                </a:cxn>
                <a:cxn ang="0">
                  <a:pos x="4" y="14"/>
                </a:cxn>
                <a:cxn ang="0">
                  <a:pos x="2" y="12"/>
                </a:cxn>
                <a:cxn ang="0">
                  <a:pos x="0" y="8"/>
                </a:cxn>
                <a:cxn ang="0">
                  <a:pos x="0" y="4"/>
                </a:cxn>
                <a:cxn ang="0">
                  <a:pos x="2" y="2"/>
                </a:cxn>
                <a:cxn ang="0">
                  <a:pos x="2" y="0"/>
                </a:cxn>
                <a:cxn ang="0">
                  <a:pos x="2" y="2"/>
                </a:cxn>
                <a:cxn ang="0">
                  <a:pos x="8" y="2"/>
                </a:cxn>
                <a:cxn ang="0">
                  <a:pos x="10" y="0"/>
                </a:cxn>
                <a:cxn ang="0">
                  <a:pos x="14" y="0"/>
                </a:cxn>
                <a:cxn ang="0">
                  <a:pos x="18" y="0"/>
                </a:cxn>
                <a:cxn ang="0">
                  <a:pos x="20" y="2"/>
                </a:cxn>
                <a:cxn ang="0">
                  <a:pos x="22" y="8"/>
                </a:cxn>
                <a:cxn ang="0">
                  <a:pos x="20" y="12"/>
                </a:cxn>
                <a:cxn ang="0">
                  <a:pos x="18" y="20"/>
                </a:cxn>
                <a:cxn ang="0">
                  <a:pos x="14" y="20"/>
                </a:cxn>
                <a:cxn ang="0">
                  <a:pos x="12" y="20"/>
                </a:cxn>
                <a:cxn ang="0">
                  <a:pos x="10" y="22"/>
                </a:cxn>
              </a:cxnLst>
              <a:rect l="0" t="0" r="r" b="b"/>
              <a:pathLst>
                <a:path w="22" h="22">
                  <a:moveTo>
                    <a:pt x="10" y="22"/>
                  </a:moveTo>
                  <a:lnTo>
                    <a:pt x="10" y="20"/>
                  </a:lnTo>
                  <a:lnTo>
                    <a:pt x="8" y="18"/>
                  </a:lnTo>
                  <a:lnTo>
                    <a:pt x="8" y="20"/>
                  </a:lnTo>
                  <a:lnTo>
                    <a:pt x="6" y="20"/>
                  </a:lnTo>
                  <a:lnTo>
                    <a:pt x="4" y="22"/>
                  </a:lnTo>
                  <a:lnTo>
                    <a:pt x="4" y="14"/>
                  </a:lnTo>
                  <a:lnTo>
                    <a:pt x="2" y="12"/>
                  </a:lnTo>
                  <a:lnTo>
                    <a:pt x="0" y="8"/>
                  </a:lnTo>
                  <a:lnTo>
                    <a:pt x="0" y="4"/>
                  </a:lnTo>
                  <a:lnTo>
                    <a:pt x="2" y="2"/>
                  </a:lnTo>
                  <a:lnTo>
                    <a:pt x="2" y="0"/>
                  </a:lnTo>
                  <a:lnTo>
                    <a:pt x="2" y="2"/>
                  </a:lnTo>
                  <a:lnTo>
                    <a:pt x="8" y="2"/>
                  </a:lnTo>
                  <a:lnTo>
                    <a:pt x="10" y="0"/>
                  </a:lnTo>
                  <a:lnTo>
                    <a:pt x="14" y="0"/>
                  </a:lnTo>
                  <a:lnTo>
                    <a:pt x="18" y="0"/>
                  </a:lnTo>
                  <a:lnTo>
                    <a:pt x="20" y="2"/>
                  </a:lnTo>
                  <a:lnTo>
                    <a:pt x="22" y="8"/>
                  </a:lnTo>
                  <a:lnTo>
                    <a:pt x="20" y="12"/>
                  </a:lnTo>
                  <a:lnTo>
                    <a:pt x="18" y="20"/>
                  </a:lnTo>
                  <a:lnTo>
                    <a:pt x="14" y="20"/>
                  </a:lnTo>
                  <a:lnTo>
                    <a:pt x="12" y="20"/>
                  </a:lnTo>
                  <a:lnTo>
                    <a:pt x="10"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7" name="Freeform 2569"/>
            <p:cNvSpPr>
              <a:spLocks/>
            </p:cNvSpPr>
            <p:nvPr/>
          </p:nvSpPr>
          <p:spPr bwMode="auto">
            <a:xfrm>
              <a:off x="2948" y="1312"/>
              <a:ext cx="8" cy="8"/>
            </a:xfrm>
            <a:custGeom>
              <a:avLst/>
              <a:gdLst/>
              <a:ahLst/>
              <a:cxnLst>
                <a:cxn ang="0">
                  <a:pos x="2" y="8"/>
                </a:cxn>
                <a:cxn ang="0">
                  <a:pos x="0" y="8"/>
                </a:cxn>
                <a:cxn ang="0">
                  <a:pos x="0" y="4"/>
                </a:cxn>
                <a:cxn ang="0">
                  <a:pos x="0" y="2"/>
                </a:cxn>
                <a:cxn ang="0">
                  <a:pos x="6" y="0"/>
                </a:cxn>
                <a:cxn ang="0">
                  <a:pos x="8" y="2"/>
                </a:cxn>
                <a:cxn ang="0">
                  <a:pos x="8" y="4"/>
                </a:cxn>
                <a:cxn ang="0">
                  <a:pos x="4" y="8"/>
                </a:cxn>
                <a:cxn ang="0">
                  <a:pos x="2" y="8"/>
                </a:cxn>
              </a:cxnLst>
              <a:rect l="0" t="0" r="r" b="b"/>
              <a:pathLst>
                <a:path w="8" h="8">
                  <a:moveTo>
                    <a:pt x="2" y="8"/>
                  </a:moveTo>
                  <a:lnTo>
                    <a:pt x="0" y="8"/>
                  </a:lnTo>
                  <a:lnTo>
                    <a:pt x="0" y="4"/>
                  </a:lnTo>
                  <a:lnTo>
                    <a:pt x="0" y="2"/>
                  </a:lnTo>
                  <a:lnTo>
                    <a:pt x="6" y="0"/>
                  </a:lnTo>
                  <a:lnTo>
                    <a:pt x="8" y="2"/>
                  </a:lnTo>
                  <a:lnTo>
                    <a:pt x="8" y="4"/>
                  </a:lnTo>
                  <a:lnTo>
                    <a:pt x="4" y="8"/>
                  </a:lnTo>
                  <a:lnTo>
                    <a:pt x="2"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8" name="Freeform 2570"/>
            <p:cNvSpPr>
              <a:spLocks/>
            </p:cNvSpPr>
            <p:nvPr/>
          </p:nvSpPr>
          <p:spPr bwMode="auto">
            <a:xfrm>
              <a:off x="2870" y="1328"/>
              <a:ext cx="12" cy="10"/>
            </a:xfrm>
            <a:custGeom>
              <a:avLst/>
              <a:gdLst/>
              <a:ahLst/>
              <a:cxnLst>
                <a:cxn ang="0">
                  <a:pos x="4" y="0"/>
                </a:cxn>
                <a:cxn ang="0">
                  <a:pos x="6" y="2"/>
                </a:cxn>
                <a:cxn ang="0">
                  <a:pos x="8" y="2"/>
                </a:cxn>
                <a:cxn ang="0">
                  <a:pos x="10" y="2"/>
                </a:cxn>
                <a:cxn ang="0">
                  <a:pos x="12" y="8"/>
                </a:cxn>
                <a:cxn ang="0">
                  <a:pos x="10" y="10"/>
                </a:cxn>
                <a:cxn ang="0">
                  <a:pos x="6" y="10"/>
                </a:cxn>
                <a:cxn ang="0">
                  <a:pos x="0" y="4"/>
                </a:cxn>
                <a:cxn ang="0">
                  <a:pos x="0" y="2"/>
                </a:cxn>
                <a:cxn ang="0">
                  <a:pos x="4" y="0"/>
                </a:cxn>
              </a:cxnLst>
              <a:rect l="0" t="0" r="r" b="b"/>
              <a:pathLst>
                <a:path w="12" h="10">
                  <a:moveTo>
                    <a:pt x="4" y="0"/>
                  </a:moveTo>
                  <a:lnTo>
                    <a:pt x="6" y="2"/>
                  </a:lnTo>
                  <a:lnTo>
                    <a:pt x="8" y="2"/>
                  </a:lnTo>
                  <a:lnTo>
                    <a:pt x="10" y="2"/>
                  </a:lnTo>
                  <a:lnTo>
                    <a:pt x="12" y="8"/>
                  </a:lnTo>
                  <a:lnTo>
                    <a:pt x="10" y="10"/>
                  </a:lnTo>
                  <a:lnTo>
                    <a:pt x="6" y="10"/>
                  </a:lnTo>
                  <a:lnTo>
                    <a:pt x="0" y="4"/>
                  </a:lnTo>
                  <a:lnTo>
                    <a:pt x="0" y="2"/>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99" name="Freeform 2571"/>
            <p:cNvSpPr>
              <a:spLocks/>
            </p:cNvSpPr>
            <p:nvPr/>
          </p:nvSpPr>
          <p:spPr bwMode="auto">
            <a:xfrm>
              <a:off x="3000" y="1328"/>
              <a:ext cx="14" cy="6"/>
            </a:xfrm>
            <a:custGeom>
              <a:avLst/>
              <a:gdLst/>
              <a:ahLst/>
              <a:cxnLst>
                <a:cxn ang="0">
                  <a:pos x="12" y="6"/>
                </a:cxn>
                <a:cxn ang="0">
                  <a:pos x="10" y="6"/>
                </a:cxn>
                <a:cxn ang="0">
                  <a:pos x="8" y="6"/>
                </a:cxn>
                <a:cxn ang="0">
                  <a:pos x="6" y="6"/>
                </a:cxn>
                <a:cxn ang="0">
                  <a:pos x="4" y="6"/>
                </a:cxn>
                <a:cxn ang="0">
                  <a:pos x="2" y="4"/>
                </a:cxn>
                <a:cxn ang="0">
                  <a:pos x="0" y="2"/>
                </a:cxn>
                <a:cxn ang="0">
                  <a:pos x="2" y="0"/>
                </a:cxn>
                <a:cxn ang="0">
                  <a:pos x="2" y="2"/>
                </a:cxn>
                <a:cxn ang="0">
                  <a:pos x="6" y="2"/>
                </a:cxn>
                <a:cxn ang="0">
                  <a:pos x="10" y="0"/>
                </a:cxn>
                <a:cxn ang="0">
                  <a:pos x="12" y="0"/>
                </a:cxn>
                <a:cxn ang="0">
                  <a:pos x="14" y="2"/>
                </a:cxn>
                <a:cxn ang="0">
                  <a:pos x="12" y="6"/>
                </a:cxn>
              </a:cxnLst>
              <a:rect l="0" t="0" r="r" b="b"/>
              <a:pathLst>
                <a:path w="14" h="6">
                  <a:moveTo>
                    <a:pt x="12" y="6"/>
                  </a:moveTo>
                  <a:lnTo>
                    <a:pt x="10" y="6"/>
                  </a:lnTo>
                  <a:lnTo>
                    <a:pt x="8" y="6"/>
                  </a:lnTo>
                  <a:lnTo>
                    <a:pt x="6" y="6"/>
                  </a:lnTo>
                  <a:lnTo>
                    <a:pt x="4" y="6"/>
                  </a:lnTo>
                  <a:lnTo>
                    <a:pt x="2" y="4"/>
                  </a:lnTo>
                  <a:lnTo>
                    <a:pt x="0" y="2"/>
                  </a:lnTo>
                  <a:lnTo>
                    <a:pt x="2" y="0"/>
                  </a:lnTo>
                  <a:lnTo>
                    <a:pt x="2" y="2"/>
                  </a:lnTo>
                  <a:lnTo>
                    <a:pt x="6" y="2"/>
                  </a:lnTo>
                  <a:lnTo>
                    <a:pt x="10" y="0"/>
                  </a:lnTo>
                  <a:lnTo>
                    <a:pt x="12" y="0"/>
                  </a:lnTo>
                  <a:lnTo>
                    <a:pt x="14" y="2"/>
                  </a:lnTo>
                  <a:lnTo>
                    <a:pt x="1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700" name="Freeform 2572"/>
            <p:cNvSpPr>
              <a:spLocks/>
            </p:cNvSpPr>
            <p:nvPr/>
          </p:nvSpPr>
          <p:spPr bwMode="auto">
            <a:xfrm>
              <a:off x="3026" y="1326"/>
              <a:ext cx="18" cy="6"/>
            </a:xfrm>
            <a:custGeom>
              <a:avLst/>
              <a:gdLst/>
              <a:ahLst/>
              <a:cxnLst>
                <a:cxn ang="0">
                  <a:pos x="2" y="6"/>
                </a:cxn>
                <a:cxn ang="0">
                  <a:pos x="0" y="4"/>
                </a:cxn>
                <a:cxn ang="0">
                  <a:pos x="2" y="4"/>
                </a:cxn>
                <a:cxn ang="0">
                  <a:pos x="8" y="0"/>
                </a:cxn>
                <a:cxn ang="0">
                  <a:pos x="18" y="0"/>
                </a:cxn>
                <a:cxn ang="0">
                  <a:pos x="16" y="2"/>
                </a:cxn>
                <a:cxn ang="0">
                  <a:pos x="14" y="2"/>
                </a:cxn>
                <a:cxn ang="0">
                  <a:pos x="12" y="2"/>
                </a:cxn>
                <a:cxn ang="0">
                  <a:pos x="8" y="4"/>
                </a:cxn>
                <a:cxn ang="0">
                  <a:pos x="2" y="6"/>
                </a:cxn>
              </a:cxnLst>
              <a:rect l="0" t="0" r="r" b="b"/>
              <a:pathLst>
                <a:path w="18" h="6">
                  <a:moveTo>
                    <a:pt x="2" y="6"/>
                  </a:moveTo>
                  <a:lnTo>
                    <a:pt x="0" y="4"/>
                  </a:lnTo>
                  <a:lnTo>
                    <a:pt x="2" y="4"/>
                  </a:lnTo>
                  <a:lnTo>
                    <a:pt x="8" y="0"/>
                  </a:lnTo>
                  <a:lnTo>
                    <a:pt x="18" y="0"/>
                  </a:lnTo>
                  <a:lnTo>
                    <a:pt x="16" y="2"/>
                  </a:lnTo>
                  <a:lnTo>
                    <a:pt x="14" y="2"/>
                  </a:lnTo>
                  <a:lnTo>
                    <a:pt x="12" y="2"/>
                  </a:lnTo>
                  <a:lnTo>
                    <a:pt x="8" y="4"/>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277" name="Group 2826"/>
          <p:cNvGrpSpPr>
            <a:grpSpLocks/>
          </p:cNvGrpSpPr>
          <p:nvPr/>
        </p:nvGrpSpPr>
        <p:grpSpPr bwMode="auto">
          <a:xfrm>
            <a:off x="5761425" y="3142176"/>
            <a:ext cx="440095" cy="280598"/>
            <a:chOff x="2968" y="1338"/>
            <a:chExt cx="298" cy="190"/>
          </a:xfrm>
          <a:solidFill>
            <a:srgbClr val="B9B9B9"/>
          </a:solidFill>
        </p:grpSpPr>
        <p:sp>
          <p:nvSpPr>
            <p:cNvPr id="685" name="Freeform 2573"/>
            <p:cNvSpPr>
              <a:spLocks/>
            </p:cNvSpPr>
            <p:nvPr/>
          </p:nvSpPr>
          <p:spPr bwMode="auto">
            <a:xfrm>
              <a:off x="3038" y="1338"/>
              <a:ext cx="228" cy="190"/>
            </a:xfrm>
            <a:custGeom>
              <a:avLst/>
              <a:gdLst/>
              <a:ahLst/>
              <a:cxnLst>
                <a:cxn ang="0">
                  <a:pos x="196" y="180"/>
                </a:cxn>
                <a:cxn ang="0">
                  <a:pos x="188" y="178"/>
                </a:cxn>
                <a:cxn ang="0">
                  <a:pos x="174" y="190"/>
                </a:cxn>
                <a:cxn ang="0">
                  <a:pos x="158" y="182"/>
                </a:cxn>
                <a:cxn ang="0">
                  <a:pos x="134" y="166"/>
                </a:cxn>
                <a:cxn ang="0">
                  <a:pos x="112" y="154"/>
                </a:cxn>
                <a:cxn ang="0">
                  <a:pos x="104" y="152"/>
                </a:cxn>
                <a:cxn ang="0">
                  <a:pos x="100" y="154"/>
                </a:cxn>
                <a:cxn ang="0">
                  <a:pos x="94" y="150"/>
                </a:cxn>
                <a:cxn ang="0">
                  <a:pos x="68" y="166"/>
                </a:cxn>
                <a:cxn ang="0">
                  <a:pos x="60" y="174"/>
                </a:cxn>
                <a:cxn ang="0">
                  <a:pos x="60" y="162"/>
                </a:cxn>
                <a:cxn ang="0">
                  <a:pos x="62" y="150"/>
                </a:cxn>
                <a:cxn ang="0">
                  <a:pos x="62" y="138"/>
                </a:cxn>
                <a:cxn ang="0">
                  <a:pos x="58" y="126"/>
                </a:cxn>
                <a:cxn ang="0">
                  <a:pos x="52" y="130"/>
                </a:cxn>
                <a:cxn ang="0">
                  <a:pos x="40" y="138"/>
                </a:cxn>
                <a:cxn ang="0">
                  <a:pos x="28" y="132"/>
                </a:cxn>
                <a:cxn ang="0">
                  <a:pos x="16" y="118"/>
                </a:cxn>
                <a:cxn ang="0">
                  <a:pos x="10" y="100"/>
                </a:cxn>
                <a:cxn ang="0">
                  <a:pos x="24" y="92"/>
                </a:cxn>
                <a:cxn ang="0">
                  <a:pos x="2" y="84"/>
                </a:cxn>
                <a:cxn ang="0">
                  <a:pos x="12" y="78"/>
                </a:cxn>
                <a:cxn ang="0">
                  <a:pos x="10" y="74"/>
                </a:cxn>
                <a:cxn ang="0">
                  <a:pos x="4" y="76"/>
                </a:cxn>
                <a:cxn ang="0">
                  <a:pos x="2" y="58"/>
                </a:cxn>
                <a:cxn ang="0">
                  <a:pos x="14" y="52"/>
                </a:cxn>
                <a:cxn ang="0">
                  <a:pos x="20" y="48"/>
                </a:cxn>
                <a:cxn ang="0">
                  <a:pos x="26" y="36"/>
                </a:cxn>
                <a:cxn ang="0">
                  <a:pos x="34" y="40"/>
                </a:cxn>
                <a:cxn ang="0">
                  <a:pos x="50" y="28"/>
                </a:cxn>
                <a:cxn ang="0">
                  <a:pos x="60" y="16"/>
                </a:cxn>
                <a:cxn ang="0">
                  <a:pos x="72" y="20"/>
                </a:cxn>
                <a:cxn ang="0">
                  <a:pos x="84" y="20"/>
                </a:cxn>
                <a:cxn ang="0">
                  <a:pos x="90" y="4"/>
                </a:cxn>
                <a:cxn ang="0">
                  <a:pos x="102" y="8"/>
                </a:cxn>
                <a:cxn ang="0">
                  <a:pos x="110" y="6"/>
                </a:cxn>
                <a:cxn ang="0">
                  <a:pos x="128" y="4"/>
                </a:cxn>
                <a:cxn ang="0">
                  <a:pos x="142" y="6"/>
                </a:cxn>
                <a:cxn ang="0">
                  <a:pos x="150" y="8"/>
                </a:cxn>
                <a:cxn ang="0">
                  <a:pos x="158" y="12"/>
                </a:cxn>
                <a:cxn ang="0">
                  <a:pos x="168" y="12"/>
                </a:cxn>
                <a:cxn ang="0">
                  <a:pos x="186" y="8"/>
                </a:cxn>
                <a:cxn ang="0">
                  <a:pos x="206" y="8"/>
                </a:cxn>
                <a:cxn ang="0">
                  <a:pos x="210" y="0"/>
                </a:cxn>
                <a:cxn ang="0">
                  <a:pos x="220" y="8"/>
                </a:cxn>
                <a:cxn ang="0">
                  <a:pos x="220" y="18"/>
                </a:cxn>
                <a:cxn ang="0">
                  <a:pos x="214" y="18"/>
                </a:cxn>
                <a:cxn ang="0">
                  <a:pos x="208" y="32"/>
                </a:cxn>
                <a:cxn ang="0">
                  <a:pos x="204" y="50"/>
                </a:cxn>
                <a:cxn ang="0">
                  <a:pos x="194" y="62"/>
                </a:cxn>
                <a:cxn ang="0">
                  <a:pos x="198" y="78"/>
                </a:cxn>
                <a:cxn ang="0">
                  <a:pos x="206" y="98"/>
                </a:cxn>
                <a:cxn ang="0">
                  <a:pos x="206" y="108"/>
                </a:cxn>
                <a:cxn ang="0">
                  <a:pos x="210" y="126"/>
                </a:cxn>
                <a:cxn ang="0">
                  <a:pos x="218" y="132"/>
                </a:cxn>
                <a:cxn ang="0">
                  <a:pos x="226" y="150"/>
                </a:cxn>
                <a:cxn ang="0">
                  <a:pos x="220" y="154"/>
                </a:cxn>
                <a:cxn ang="0">
                  <a:pos x="210" y="178"/>
                </a:cxn>
              </a:cxnLst>
              <a:rect l="0" t="0" r="r" b="b"/>
              <a:pathLst>
                <a:path w="228" h="190">
                  <a:moveTo>
                    <a:pt x="212" y="182"/>
                  </a:moveTo>
                  <a:lnTo>
                    <a:pt x="210" y="184"/>
                  </a:lnTo>
                  <a:lnTo>
                    <a:pt x="198" y="182"/>
                  </a:lnTo>
                  <a:lnTo>
                    <a:pt x="196" y="180"/>
                  </a:lnTo>
                  <a:lnTo>
                    <a:pt x="194" y="178"/>
                  </a:lnTo>
                  <a:lnTo>
                    <a:pt x="192" y="178"/>
                  </a:lnTo>
                  <a:lnTo>
                    <a:pt x="190" y="178"/>
                  </a:lnTo>
                  <a:lnTo>
                    <a:pt x="188" y="178"/>
                  </a:lnTo>
                  <a:lnTo>
                    <a:pt x="186" y="178"/>
                  </a:lnTo>
                  <a:lnTo>
                    <a:pt x="178" y="184"/>
                  </a:lnTo>
                  <a:lnTo>
                    <a:pt x="176" y="188"/>
                  </a:lnTo>
                  <a:lnTo>
                    <a:pt x="174" y="190"/>
                  </a:lnTo>
                  <a:lnTo>
                    <a:pt x="172" y="190"/>
                  </a:lnTo>
                  <a:lnTo>
                    <a:pt x="170" y="190"/>
                  </a:lnTo>
                  <a:lnTo>
                    <a:pt x="158" y="184"/>
                  </a:lnTo>
                  <a:lnTo>
                    <a:pt x="158" y="182"/>
                  </a:lnTo>
                  <a:lnTo>
                    <a:pt x="152" y="178"/>
                  </a:lnTo>
                  <a:lnTo>
                    <a:pt x="142" y="166"/>
                  </a:lnTo>
                  <a:lnTo>
                    <a:pt x="138" y="164"/>
                  </a:lnTo>
                  <a:lnTo>
                    <a:pt x="134" y="166"/>
                  </a:lnTo>
                  <a:lnTo>
                    <a:pt x="132" y="166"/>
                  </a:lnTo>
                  <a:lnTo>
                    <a:pt x="130" y="164"/>
                  </a:lnTo>
                  <a:lnTo>
                    <a:pt x="120" y="162"/>
                  </a:lnTo>
                  <a:lnTo>
                    <a:pt x="112" y="154"/>
                  </a:lnTo>
                  <a:lnTo>
                    <a:pt x="110" y="152"/>
                  </a:lnTo>
                  <a:lnTo>
                    <a:pt x="104" y="148"/>
                  </a:lnTo>
                  <a:lnTo>
                    <a:pt x="102" y="150"/>
                  </a:lnTo>
                  <a:lnTo>
                    <a:pt x="104" y="152"/>
                  </a:lnTo>
                  <a:lnTo>
                    <a:pt x="104" y="154"/>
                  </a:lnTo>
                  <a:lnTo>
                    <a:pt x="102" y="158"/>
                  </a:lnTo>
                  <a:lnTo>
                    <a:pt x="100" y="156"/>
                  </a:lnTo>
                  <a:lnTo>
                    <a:pt x="100" y="154"/>
                  </a:lnTo>
                  <a:lnTo>
                    <a:pt x="100" y="152"/>
                  </a:lnTo>
                  <a:lnTo>
                    <a:pt x="98" y="150"/>
                  </a:lnTo>
                  <a:lnTo>
                    <a:pt x="96" y="150"/>
                  </a:lnTo>
                  <a:lnTo>
                    <a:pt x="94" y="150"/>
                  </a:lnTo>
                  <a:lnTo>
                    <a:pt x="92" y="152"/>
                  </a:lnTo>
                  <a:lnTo>
                    <a:pt x="90" y="154"/>
                  </a:lnTo>
                  <a:lnTo>
                    <a:pt x="76" y="162"/>
                  </a:lnTo>
                  <a:lnTo>
                    <a:pt x="68" y="166"/>
                  </a:lnTo>
                  <a:lnTo>
                    <a:pt x="64" y="170"/>
                  </a:lnTo>
                  <a:lnTo>
                    <a:pt x="64" y="172"/>
                  </a:lnTo>
                  <a:lnTo>
                    <a:pt x="62" y="174"/>
                  </a:lnTo>
                  <a:lnTo>
                    <a:pt x="60" y="174"/>
                  </a:lnTo>
                  <a:lnTo>
                    <a:pt x="58" y="174"/>
                  </a:lnTo>
                  <a:lnTo>
                    <a:pt x="58" y="168"/>
                  </a:lnTo>
                  <a:lnTo>
                    <a:pt x="58" y="166"/>
                  </a:lnTo>
                  <a:lnTo>
                    <a:pt x="60" y="162"/>
                  </a:lnTo>
                  <a:lnTo>
                    <a:pt x="60" y="160"/>
                  </a:lnTo>
                  <a:lnTo>
                    <a:pt x="62" y="158"/>
                  </a:lnTo>
                  <a:lnTo>
                    <a:pt x="62" y="154"/>
                  </a:lnTo>
                  <a:lnTo>
                    <a:pt x="62" y="150"/>
                  </a:lnTo>
                  <a:lnTo>
                    <a:pt x="62" y="148"/>
                  </a:lnTo>
                  <a:lnTo>
                    <a:pt x="60" y="144"/>
                  </a:lnTo>
                  <a:lnTo>
                    <a:pt x="62" y="140"/>
                  </a:lnTo>
                  <a:lnTo>
                    <a:pt x="62" y="138"/>
                  </a:lnTo>
                  <a:lnTo>
                    <a:pt x="64" y="136"/>
                  </a:lnTo>
                  <a:lnTo>
                    <a:pt x="64" y="132"/>
                  </a:lnTo>
                  <a:lnTo>
                    <a:pt x="62" y="128"/>
                  </a:lnTo>
                  <a:lnTo>
                    <a:pt x="58" y="126"/>
                  </a:lnTo>
                  <a:lnTo>
                    <a:pt x="56" y="126"/>
                  </a:lnTo>
                  <a:lnTo>
                    <a:pt x="54" y="126"/>
                  </a:lnTo>
                  <a:lnTo>
                    <a:pt x="52" y="126"/>
                  </a:lnTo>
                  <a:lnTo>
                    <a:pt x="52" y="130"/>
                  </a:lnTo>
                  <a:lnTo>
                    <a:pt x="52" y="134"/>
                  </a:lnTo>
                  <a:lnTo>
                    <a:pt x="50" y="138"/>
                  </a:lnTo>
                  <a:lnTo>
                    <a:pt x="44" y="142"/>
                  </a:lnTo>
                  <a:lnTo>
                    <a:pt x="40" y="138"/>
                  </a:lnTo>
                  <a:lnTo>
                    <a:pt x="38" y="136"/>
                  </a:lnTo>
                  <a:lnTo>
                    <a:pt x="36" y="136"/>
                  </a:lnTo>
                  <a:lnTo>
                    <a:pt x="34" y="134"/>
                  </a:lnTo>
                  <a:lnTo>
                    <a:pt x="28" y="132"/>
                  </a:lnTo>
                  <a:lnTo>
                    <a:pt x="26" y="134"/>
                  </a:lnTo>
                  <a:lnTo>
                    <a:pt x="24" y="132"/>
                  </a:lnTo>
                  <a:lnTo>
                    <a:pt x="20" y="128"/>
                  </a:lnTo>
                  <a:lnTo>
                    <a:pt x="16" y="118"/>
                  </a:lnTo>
                  <a:lnTo>
                    <a:pt x="12" y="116"/>
                  </a:lnTo>
                  <a:lnTo>
                    <a:pt x="10" y="114"/>
                  </a:lnTo>
                  <a:lnTo>
                    <a:pt x="8" y="104"/>
                  </a:lnTo>
                  <a:lnTo>
                    <a:pt x="10" y="100"/>
                  </a:lnTo>
                  <a:lnTo>
                    <a:pt x="12" y="100"/>
                  </a:lnTo>
                  <a:lnTo>
                    <a:pt x="20" y="98"/>
                  </a:lnTo>
                  <a:lnTo>
                    <a:pt x="26" y="94"/>
                  </a:lnTo>
                  <a:lnTo>
                    <a:pt x="24" y="92"/>
                  </a:lnTo>
                  <a:lnTo>
                    <a:pt x="22" y="92"/>
                  </a:lnTo>
                  <a:lnTo>
                    <a:pt x="12" y="94"/>
                  </a:lnTo>
                  <a:lnTo>
                    <a:pt x="6" y="92"/>
                  </a:lnTo>
                  <a:lnTo>
                    <a:pt x="2" y="84"/>
                  </a:lnTo>
                  <a:lnTo>
                    <a:pt x="4" y="82"/>
                  </a:lnTo>
                  <a:lnTo>
                    <a:pt x="6" y="82"/>
                  </a:lnTo>
                  <a:lnTo>
                    <a:pt x="10" y="80"/>
                  </a:lnTo>
                  <a:lnTo>
                    <a:pt x="12" y="78"/>
                  </a:lnTo>
                  <a:lnTo>
                    <a:pt x="12" y="74"/>
                  </a:lnTo>
                  <a:lnTo>
                    <a:pt x="10" y="72"/>
                  </a:lnTo>
                  <a:lnTo>
                    <a:pt x="8" y="70"/>
                  </a:lnTo>
                  <a:lnTo>
                    <a:pt x="10" y="74"/>
                  </a:lnTo>
                  <a:lnTo>
                    <a:pt x="8" y="76"/>
                  </a:lnTo>
                  <a:lnTo>
                    <a:pt x="6" y="78"/>
                  </a:lnTo>
                  <a:lnTo>
                    <a:pt x="4" y="78"/>
                  </a:lnTo>
                  <a:lnTo>
                    <a:pt x="4" y="76"/>
                  </a:lnTo>
                  <a:lnTo>
                    <a:pt x="0" y="74"/>
                  </a:lnTo>
                  <a:lnTo>
                    <a:pt x="2" y="70"/>
                  </a:lnTo>
                  <a:lnTo>
                    <a:pt x="4" y="68"/>
                  </a:lnTo>
                  <a:lnTo>
                    <a:pt x="2" y="58"/>
                  </a:lnTo>
                  <a:lnTo>
                    <a:pt x="4" y="54"/>
                  </a:lnTo>
                  <a:lnTo>
                    <a:pt x="8" y="54"/>
                  </a:lnTo>
                  <a:lnTo>
                    <a:pt x="12" y="54"/>
                  </a:lnTo>
                  <a:lnTo>
                    <a:pt x="14" y="52"/>
                  </a:lnTo>
                  <a:lnTo>
                    <a:pt x="14" y="50"/>
                  </a:lnTo>
                  <a:lnTo>
                    <a:pt x="12" y="50"/>
                  </a:lnTo>
                  <a:lnTo>
                    <a:pt x="18" y="46"/>
                  </a:lnTo>
                  <a:lnTo>
                    <a:pt x="20" y="48"/>
                  </a:lnTo>
                  <a:lnTo>
                    <a:pt x="22" y="48"/>
                  </a:lnTo>
                  <a:lnTo>
                    <a:pt x="28" y="46"/>
                  </a:lnTo>
                  <a:lnTo>
                    <a:pt x="26" y="40"/>
                  </a:lnTo>
                  <a:lnTo>
                    <a:pt x="26" y="36"/>
                  </a:lnTo>
                  <a:lnTo>
                    <a:pt x="28" y="36"/>
                  </a:lnTo>
                  <a:lnTo>
                    <a:pt x="30" y="38"/>
                  </a:lnTo>
                  <a:lnTo>
                    <a:pt x="32" y="38"/>
                  </a:lnTo>
                  <a:lnTo>
                    <a:pt x="34" y="40"/>
                  </a:lnTo>
                  <a:lnTo>
                    <a:pt x="40" y="32"/>
                  </a:lnTo>
                  <a:lnTo>
                    <a:pt x="40" y="28"/>
                  </a:lnTo>
                  <a:lnTo>
                    <a:pt x="42" y="26"/>
                  </a:lnTo>
                  <a:lnTo>
                    <a:pt x="50" y="28"/>
                  </a:lnTo>
                  <a:lnTo>
                    <a:pt x="58" y="26"/>
                  </a:lnTo>
                  <a:lnTo>
                    <a:pt x="60" y="22"/>
                  </a:lnTo>
                  <a:lnTo>
                    <a:pt x="58" y="18"/>
                  </a:lnTo>
                  <a:lnTo>
                    <a:pt x="60" y="16"/>
                  </a:lnTo>
                  <a:lnTo>
                    <a:pt x="62" y="18"/>
                  </a:lnTo>
                  <a:lnTo>
                    <a:pt x="64" y="20"/>
                  </a:lnTo>
                  <a:lnTo>
                    <a:pt x="66" y="22"/>
                  </a:lnTo>
                  <a:lnTo>
                    <a:pt x="72" y="20"/>
                  </a:lnTo>
                  <a:lnTo>
                    <a:pt x="74" y="18"/>
                  </a:lnTo>
                  <a:lnTo>
                    <a:pt x="76" y="18"/>
                  </a:lnTo>
                  <a:lnTo>
                    <a:pt x="82" y="18"/>
                  </a:lnTo>
                  <a:lnTo>
                    <a:pt x="84" y="20"/>
                  </a:lnTo>
                  <a:lnTo>
                    <a:pt x="86" y="20"/>
                  </a:lnTo>
                  <a:lnTo>
                    <a:pt x="88" y="20"/>
                  </a:lnTo>
                  <a:lnTo>
                    <a:pt x="92" y="12"/>
                  </a:lnTo>
                  <a:lnTo>
                    <a:pt x="90" y="4"/>
                  </a:lnTo>
                  <a:lnTo>
                    <a:pt x="96" y="8"/>
                  </a:lnTo>
                  <a:lnTo>
                    <a:pt x="100" y="10"/>
                  </a:lnTo>
                  <a:lnTo>
                    <a:pt x="102" y="10"/>
                  </a:lnTo>
                  <a:lnTo>
                    <a:pt x="102" y="8"/>
                  </a:lnTo>
                  <a:lnTo>
                    <a:pt x="100" y="6"/>
                  </a:lnTo>
                  <a:lnTo>
                    <a:pt x="100" y="2"/>
                  </a:lnTo>
                  <a:lnTo>
                    <a:pt x="104" y="4"/>
                  </a:lnTo>
                  <a:lnTo>
                    <a:pt x="110" y="6"/>
                  </a:lnTo>
                  <a:lnTo>
                    <a:pt x="114" y="2"/>
                  </a:lnTo>
                  <a:lnTo>
                    <a:pt x="116" y="4"/>
                  </a:lnTo>
                  <a:lnTo>
                    <a:pt x="118" y="4"/>
                  </a:lnTo>
                  <a:lnTo>
                    <a:pt x="128" y="4"/>
                  </a:lnTo>
                  <a:lnTo>
                    <a:pt x="134" y="6"/>
                  </a:lnTo>
                  <a:lnTo>
                    <a:pt x="138" y="8"/>
                  </a:lnTo>
                  <a:lnTo>
                    <a:pt x="140" y="8"/>
                  </a:lnTo>
                  <a:lnTo>
                    <a:pt x="142" y="6"/>
                  </a:lnTo>
                  <a:lnTo>
                    <a:pt x="144" y="4"/>
                  </a:lnTo>
                  <a:lnTo>
                    <a:pt x="146" y="4"/>
                  </a:lnTo>
                  <a:lnTo>
                    <a:pt x="148" y="4"/>
                  </a:lnTo>
                  <a:lnTo>
                    <a:pt x="150" y="8"/>
                  </a:lnTo>
                  <a:lnTo>
                    <a:pt x="152" y="8"/>
                  </a:lnTo>
                  <a:lnTo>
                    <a:pt x="154" y="10"/>
                  </a:lnTo>
                  <a:lnTo>
                    <a:pt x="156" y="12"/>
                  </a:lnTo>
                  <a:lnTo>
                    <a:pt x="158" y="12"/>
                  </a:lnTo>
                  <a:lnTo>
                    <a:pt x="160" y="12"/>
                  </a:lnTo>
                  <a:lnTo>
                    <a:pt x="162" y="12"/>
                  </a:lnTo>
                  <a:lnTo>
                    <a:pt x="166" y="12"/>
                  </a:lnTo>
                  <a:lnTo>
                    <a:pt x="168" y="12"/>
                  </a:lnTo>
                  <a:lnTo>
                    <a:pt x="172" y="10"/>
                  </a:lnTo>
                  <a:lnTo>
                    <a:pt x="182" y="8"/>
                  </a:lnTo>
                  <a:lnTo>
                    <a:pt x="184" y="8"/>
                  </a:lnTo>
                  <a:lnTo>
                    <a:pt x="186" y="8"/>
                  </a:lnTo>
                  <a:lnTo>
                    <a:pt x="188" y="8"/>
                  </a:lnTo>
                  <a:lnTo>
                    <a:pt x="190" y="8"/>
                  </a:lnTo>
                  <a:lnTo>
                    <a:pt x="204" y="8"/>
                  </a:lnTo>
                  <a:lnTo>
                    <a:pt x="206" y="8"/>
                  </a:lnTo>
                  <a:lnTo>
                    <a:pt x="208" y="8"/>
                  </a:lnTo>
                  <a:lnTo>
                    <a:pt x="208" y="6"/>
                  </a:lnTo>
                  <a:lnTo>
                    <a:pt x="210" y="4"/>
                  </a:lnTo>
                  <a:lnTo>
                    <a:pt x="210" y="0"/>
                  </a:lnTo>
                  <a:lnTo>
                    <a:pt x="210" y="2"/>
                  </a:lnTo>
                  <a:lnTo>
                    <a:pt x="214" y="2"/>
                  </a:lnTo>
                  <a:lnTo>
                    <a:pt x="216" y="4"/>
                  </a:lnTo>
                  <a:lnTo>
                    <a:pt x="220" y="8"/>
                  </a:lnTo>
                  <a:lnTo>
                    <a:pt x="220" y="10"/>
                  </a:lnTo>
                  <a:lnTo>
                    <a:pt x="220" y="14"/>
                  </a:lnTo>
                  <a:lnTo>
                    <a:pt x="220" y="16"/>
                  </a:lnTo>
                  <a:lnTo>
                    <a:pt x="220" y="18"/>
                  </a:lnTo>
                  <a:lnTo>
                    <a:pt x="218" y="18"/>
                  </a:lnTo>
                  <a:lnTo>
                    <a:pt x="216" y="18"/>
                  </a:lnTo>
                  <a:lnTo>
                    <a:pt x="214" y="20"/>
                  </a:lnTo>
                  <a:lnTo>
                    <a:pt x="214" y="18"/>
                  </a:lnTo>
                  <a:lnTo>
                    <a:pt x="212" y="18"/>
                  </a:lnTo>
                  <a:lnTo>
                    <a:pt x="210" y="20"/>
                  </a:lnTo>
                  <a:lnTo>
                    <a:pt x="208" y="26"/>
                  </a:lnTo>
                  <a:lnTo>
                    <a:pt x="208" y="32"/>
                  </a:lnTo>
                  <a:lnTo>
                    <a:pt x="208" y="38"/>
                  </a:lnTo>
                  <a:lnTo>
                    <a:pt x="206" y="42"/>
                  </a:lnTo>
                  <a:lnTo>
                    <a:pt x="204" y="48"/>
                  </a:lnTo>
                  <a:lnTo>
                    <a:pt x="204" y="50"/>
                  </a:lnTo>
                  <a:lnTo>
                    <a:pt x="200" y="54"/>
                  </a:lnTo>
                  <a:lnTo>
                    <a:pt x="198" y="58"/>
                  </a:lnTo>
                  <a:lnTo>
                    <a:pt x="196" y="60"/>
                  </a:lnTo>
                  <a:lnTo>
                    <a:pt x="194" y="62"/>
                  </a:lnTo>
                  <a:lnTo>
                    <a:pt x="194" y="64"/>
                  </a:lnTo>
                  <a:lnTo>
                    <a:pt x="194" y="66"/>
                  </a:lnTo>
                  <a:lnTo>
                    <a:pt x="194" y="68"/>
                  </a:lnTo>
                  <a:lnTo>
                    <a:pt x="198" y="78"/>
                  </a:lnTo>
                  <a:lnTo>
                    <a:pt x="202" y="88"/>
                  </a:lnTo>
                  <a:lnTo>
                    <a:pt x="202" y="90"/>
                  </a:lnTo>
                  <a:lnTo>
                    <a:pt x="204" y="94"/>
                  </a:lnTo>
                  <a:lnTo>
                    <a:pt x="206" y="98"/>
                  </a:lnTo>
                  <a:lnTo>
                    <a:pt x="206" y="102"/>
                  </a:lnTo>
                  <a:lnTo>
                    <a:pt x="206" y="104"/>
                  </a:lnTo>
                  <a:lnTo>
                    <a:pt x="206" y="106"/>
                  </a:lnTo>
                  <a:lnTo>
                    <a:pt x="206" y="108"/>
                  </a:lnTo>
                  <a:lnTo>
                    <a:pt x="206" y="110"/>
                  </a:lnTo>
                  <a:lnTo>
                    <a:pt x="204" y="112"/>
                  </a:lnTo>
                  <a:lnTo>
                    <a:pt x="206" y="120"/>
                  </a:lnTo>
                  <a:lnTo>
                    <a:pt x="210" y="126"/>
                  </a:lnTo>
                  <a:lnTo>
                    <a:pt x="212" y="128"/>
                  </a:lnTo>
                  <a:lnTo>
                    <a:pt x="214" y="128"/>
                  </a:lnTo>
                  <a:lnTo>
                    <a:pt x="216" y="130"/>
                  </a:lnTo>
                  <a:lnTo>
                    <a:pt x="218" y="132"/>
                  </a:lnTo>
                  <a:lnTo>
                    <a:pt x="220" y="140"/>
                  </a:lnTo>
                  <a:lnTo>
                    <a:pt x="226" y="146"/>
                  </a:lnTo>
                  <a:lnTo>
                    <a:pt x="228" y="148"/>
                  </a:lnTo>
                  <a:lnTo>
                    <a:pt x="226" y="150"/>
                  </a:lnTo>
                  <a:lnTo>
                    <a:pt x="226" y="152"/>
                  </a:lnTo>
                  <a:lnTo>
                    <a:pt x="224" y="154"/>
                  </a:lnTo>
                  <a:lnTo>
                    <a:pt x="222" y="154"/>
                  </a:lnTo>
                  <a:lnTo>
                    <a:pt x="220" y="154"/>
                  </a:lnTo>
                  <a:lnTo>
                    <a:pt x="218" y="154"/>
                  </a:lnTo>
                  <a:lnTo>
                    <a:pt x="216" y="156"/>
                  </a:lnTo>
                  <a:lnTo>
                    <a:pt x="212" y="170"/>
                  </a:lnTo>
                  <a:lnTo>
                    <a:pt x="210" y="178"/>
                  </a:lnTo>
                  <a:lnTo>
                    <a:pt x="212" y="18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6" name="Freeform 2574"/>
            <p:cNvSpPr>
              <a:spLocks/>
            </p:cNvSpPr>
            <p:nvPr/>
          </p:nvSpPr>
          <p:spPr bwMode="auto">
            <a:xfrm>
              <a:off x="2974" y="1412"/>
              <a:ext cx="50" cy="34"/>
            </a:xfrm>
            <a:custGeom>
              <a:avLst/>
              <a:gdLst/>
              <a:ahLst/>
              <a:cxnLst>
                <a:cxn ang="0">
                  <a:pos x="28" y="34"/>
                </a:cxn>
                <a:cxn ang="0">
                  <a:pos x="26" y="34"/>
                </a:cxn>
                <a:cxn ang="0">
                  <a:pos x="24" y="34"/>
                </a:cxn>
                <a:cxn ang="0">
                  <a:pos x="24" y="28"/>
                </a:cxn>
                <a:cxn ang="0">
                  <a:pos x="22" y="22"/>
                </a:cxn>
                <a:cxn ang="0">
                  <a:pos x="20" y="20"/>
                </a:cxn>
                <a:cxn ang="0">
                  <a:pos x="20" y="18"/>
                </a:cxn>
                <a:cxn ang="0">
                  <a:pos x="18" y="18"/>
                </a:cxn>
                <a:cxn ang="0">
                  <a:pos x="16" y="18"/>
                </a:cxn>
                <a:cxn ang="0">
                  <a:pos x="14" y="18"/>
                </a:cxn>
                <a:cxn ang="0">
                  <a:pos x="12" y="18"/>
                </a:cxn>
                <a:cxn ang="0">
                  <a:pos x="10" y="18"/>
                </a:cxn>
                <a:cxn ang="0">
                  <a:pos x="8" y="18"/>
                </a:cxn>
                <a:cxn ang="0">
                  <a:pos x="6" y="18"/>
                </a:cxn>
                <a:cxn ang="0">
                  <a:pos x="2" y="16"/>
                </a:cxn>
                <a:cxn ang="0">
                  <a:pos x="2" y="14"/>
                </a:cxn>
                <a:cxn ang="0">
                  <a:pos x="0" y="14"/>
                </a:cxn>
                <a:cxn ang="0">
                  <a:pos x="2" y="14"/>
                </a:cxn>
                <a:cxn ang="0">
                  <a:pos x="8" y="14"/>
                </a:cxn>
                <a:cxn ang="0">
                  <a:pos x="16" y="12"/>
                </a:cxn>
                <a:cxn ang="0">
                  <a:pos x="20" y="10"/>
                </a:cxn>
                <a:cxn ang="0">
                  <a:pos x="22" y="8"/>
                </a:cxn>
                <a:cxn ang="0">
                  <a:pos x="24" y="4"/>
                </a:cxn>
                <a:cxn ang="0">
                  <a:pos x="24" y="0"/>
                </a:cxn>
                <a:cxn ang="0">
                  <a:pos x="32" y="0"/>
                </a:cxn>
                <a:cxn ang="0">
                  <a:pos x="32" y="4"/>
                </a:cxn>
                <a:cxn ang="0">
                  <a:pos x="34" y="4"/>
                </a:cxn>
                <a:cxn ang="0">
                  <a:pos x="36" y="4"/>
                </a:cxn>
                <a:cxn ang="0">
                  <a:pos x="38" y="4"/>
                </a:cxn>
                <a:cxn ang="0">
                  <a:pos x="40" y="4"/>
                </a:cxn>
                <a:cxn ang="0">
                  <a:pos x="42" y="6"/>
                </a:cxn>
                <a:cxn ang="0">
                  <a:pos x="44" y="8"/>
                </a:cxn>
                <a:cxn ang="0">
                  <a:pos x="50" y="18"/>
                </a:cxn>
                <a:cxn ang="0">
                  <a:pos x="48" y="20"/>
                </a:cxn>
                <a:cxn ang="0">
                  <a:pos x="46" y="18"/>
                </a:cxn>
                <a:cxn ang="0">
                  <a:pos x="44" y="18"/>
                </a:cxn>
                <a:cxn ang="0">
                  <a:pos x="42" y="20"/>
                </a:cxn>
                <a:cxn ang="0">
                  <a:pos x="42" y="22"/>
                </a:cxn>
                <a:cxn ang="0">
                  <a:pos x="42" y="24"/>
                </a:cxn>
                <a:cxn ang="0">
                  <a:pos x="40" y="26"/>
                </a:cxn>
                <a:cxn ang="0">
                  <a:pos x="38" y="26"/>
                </a:cxn>
                <a:cxn ang="0">
                  <a:pos x="38" y="24"/>
                </a:cxn>
                <a:cxn ang="0">
                  <a:pos x="38" y="22"/>
                </a:cxn>
                <a:cxn ang="0">
                  <a:pos x="40" y="22"/>
                </a:cxn>
                <a:cxn ang="0">
                  <a:pos x="38" y="22"/>
                </a:cxn>
                <a:cxn ang="0">
                  <a:pos x="36" y="22"/>
                </a:cxn>
                <a:cxn ang="0">
                  <a:pos x="36" y="24"/>
                </a:cxn>
                <a:cxn ang="0">
                  <a:pos x="34" y="26"/>
                </a:cxn>
                <a:cxn ang="0">
                  <a:pos x="34" y="28"/>
                </a:cxn>
                <a:cxn ang="0">
                  <a:pos x="34" y="30"/>
                </a:cxn>
                <a:cxn ang="0">
                  <a:pos x="34" y="32"/>
                </a:cxn>
                <a:cxn ang="0">
                  <a:pos x="32" y="32"/>
                </a:cxn>
                <a:cxn ang="0">
                  <a:pos x="32" y="34"/>
                </a:cxn>
                <a:cxn ang="0">
                  <a:pos x="30" y="34"/>
                </a:cxn>
                <a:cxn ang="0">
                  <a:pos x="28" y="34"/>
                </a:cxn>
              </a:cxnLst>
              <a:rect l="0" t="0" r="r" b="b"/>
              <a:pathLst>
                <a:path w="50" h="34">
                  <a:moveTo>
                    <a:pt x="28" y="34"/>
                  </a:moveTo>
                  <a:lnTo>
                    <a:pt x="26" y="34"/>
                  </a:lnTo>
                  <a:lnTo>
                    <a:pt x="24" y="34"/>
                  </a:lnTo>
                  <a:lnTo>
                    <a:pt x="24" y="28"/>
                  </a:lnTo>
                  <a:lnTo>
                    <a:pt x="22" y="22"/>
                  </a:lnTo>
                  <a:lnTo>
                    <a:pt x="20" y="20"/>
                  </a:lnTo>
                  <a:lnTo>
                    <a:pt x="20" y="18"/>
                  </a:lnTo>
                  <a:lnTo>
                    <a:pt x="18" y="18"/>
                  </a:lnTo>
                  <a:lnTo>
                    <a:pt x="16" y="18"/>
                  </a:lnTo>
                  <a:lnTo>
                    <a:pt x="14" y="18"/>
                  </a:lnTo>
                  <a:lnTo>
                    <a:pt x="12" y="18"/>
                  </a:lnTo>
                  <a:lnTo>
                    <a:pt x="10" y="18"/>
                  </a:lnTo>
                  <a:lnTo>
                    <a:pt x="8" y="18"/>
                  </a:lnTo>
                  <a:lnTo>
                    <a:pt x="6" y="18"/>
                  </a:lnTo>
                  <a:lnTo>
                    <a:pt x="2" y="16"/>
                  </a:lnTo>
                  <a:lnTo>
                    <a:pt x="2" y="14"/>
                  </a:lnTo>
                  <a:lnTo>
                    <a:pt x="0" y="14"/>
                  </a:lnTo>
                  <a:lnTo>
                    <a:pt x="2" y="14"/>
                  </a:lnTo>
                  <a:lnTo>
                    <a:pt x="8" y="14"/>
                  </a:lnTo>
                  <a:lnTo>
                    <a:pt x="16" y="12"/>
                  </a:lnTo>
                  <a:lnTo>
                    <a:pt x="20" y="10"/>
                  </a:lnTo>
                  <a:lnTo>
                    <a:pt x="22" y="8"/>
                  </a:lnTo>
                  <a:lnTo>
                    <a:pt x="24" y="4"/>
                  </a:lnTo>
                  <a:lnTo>
                    <a:pt x="24" y="0"/>
                  </a:lnTo>
                  <a:lnTo>
                    <a:pt x="32" y="0"/>
                  </a:lnTo>
                  <a:lnTo>
                    <a:pt x="32" y="4"/>
                  </a:lnTo>
                  <a:lnTo>
                    <a:pt x="34" y="4"/>
                  </a:lnTo>
                  <a:lnTo>
                    <a:pt x="36" y="4"/>
                  </a:lnTo>
                  <a:lnTo>
                    <a:pt x="38" y="4"/>
                  </a:lnTo>
                  <a:lnTo>
                    <a:pt x="40" y="4"/>
                  </a:lnTo>
                  <a:lnTo>
                    <a:pt x="42" y="6"/>
                  </a:lnTo>
                  <a:lnTo>
                    <a:pt x="44" y="8"/>
                  </a:lnTo>
                  <a:lnTo>
                    <a:pt x="50" y="18"/>
                  </a:lnTo>
                  <a:lnTo>
                    <a:pt x="48" y="20"/>
                  </a:lnTo>
                  <a:lnTo>
                    <a:pt x="46" y="18"/>
                  </a:lnTo>
                  <a:lnTo>
                    <a:pt x="44" y="18"/>
                  </a:lnTo>
                  <a:lnTo>
                    <a:pt x="42" y="20"/>
                  </a:lnTo>
                  <a:lnTo>
                    <a:pt x="42" y="22"/>
                  </a:lnTo>
                  <a:lnTo>
                    <a:pt x="42" y="24"/>
                  </a:lnTo>
                  <a:lnTo>
                    <a:pt x="40" y="26"/>
                  </a:lnTo>
                  <a:lnTo>
                    <a:pt x="38" y="26"/>
                  </a:lnTo>
                  <a:lnTo>
                    <a:pt x="38" y="24"/>
                  </a:lnTo>
                  <a:lnTo>
                    <a:pt x="38" y="22"/>
                  </a:lnTo>
                  <a:lnTo>
                    <a:pt x="40" y="22"/>
                  </a:lnTo>
                  <a:lnTo>
                    <a:pt x="38" y="22"/>
                  </a:lnTo>
                  <a:lnTo>
                    <a:pt x="36" y="22"/>
                  </a:lnTo>
                  <a:lnTo>
                    <a:pt x="36" y="24"/>
                  </a:lnTo>
                  <a:lnTo>
                    <a:pt x="34" y="26"/>
                  </a:lnTo>
                  <a:lnTo>
                    <a:pt x="34" y="28"/>
                  </a:lnTo>
                  <a:lnTo>
                    <a:pt x="34" y="30"/>
                  </a:lnTo>
                  <a:lnTo>
                    <a:pt x="34" y="32"/>
                  </a:lnTo>
                  <a:lnTo>
                    <a:pt x="32" y="32"/>
                  </a:lnTo>
                  <a:lnTo>
                    <a:pt x="32" y="34"/>
                  </a:lnTo>
                  <a:lnTo>
                    <a:pt x="30" y="34"/>
                  </a:lnTo>
                  <a:lnTo>
                    <a:pt x="28"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7" name="Freeform 2575"/>
            <p:cNvSpPr>
              <a:spLocks/>
            </p:cNvSpPr>
            <p:nvPr/>
          </p:nvSpPr>
          <p:spPr bwMode="auto">
            <a:xfrm>
              <a:off x="3026" y="1410"/>
              <a:ext cx="12" cy="8"/>
            </a:xfrm>
            <a:custGeom>
              <a:avLst/>
              <a:gdLst/>
              <a:ahLst/>
              <a:cxnLst>
                <a:cxn ang="0">
                  <a:pos x="2" y="2"/>
                </a:cxn>
                <a:cxn ang="0">
                  <a:pos x="8" y="0"/>
                </a:cxn>
                <a:cxn ang="0">
                  <a:pos x="10" y="2"/>
                </a:cxn>
                <a:cxn ang="0">
                  <a:pos x="12" y="4"/>
                </a:cxn>
                <a:cxn ang="0">
                  <a:pos x="12" y="6"/>
                </a:cxn>
                <a:cxn ang="0">
                  <a:pos x="8" y="8"/>
                </a:cxn>
                <a:cxn ang="0">
                  <a:pos x="2" y="8"/>
                </a:cxn>
                <a:cxn ang="0">
                  <a:pos x="0" y="8"/>
                </a:cxn>
                <a:cxn ang="0">
                  <a:pos x="0" y="4"/>
                </a:cxn>
                <a:cxn ang="0">
                  <a:pos x="0" y="2"/>
                </a:cxn>
                <a:cxn ang="0">
                  <a:pos x="2" y="2"/>
                </a:cxn>
              </a:cxnLst>
              <a:rect l="0" t="0" r="r" b="b"/>
              <a:pathLst>
                <a:path w="12" h="8">
                  <a:moveTo>
                    <a:pt x="2" y="2"/>
                  </a:moveTo>
                  <a:lnTo>
                    <a:pt x="8" y="0"/>
                  </a:lnTo>
                  <a:lnTo>
                    <a:pt x="10" y="2"/>
                  </a:lnTo>
                  <a:lnTo>
                    <a:pt x="12" y="4"/>
                  </a:lnTo>
                  <a:lnTo>
                    <a:pt x="12" y="6"/>
                  </a:lnTo>
                  <a:lnTo>
                    <a:pt x="8" y="8"/>
                  </a:lnTo>
                  <a:lnTo>
                    <a:pt x="2" y="8"/>
                  </a:lnTo>
                  <a:lnTo>
                    <a:pt x="0" y="8"/>
                  </a:lnTo>
                  <a:lnTo>
                    <a:pt x="0" y="4"/>
                  </a:lnTo>
                  <a:lnTo>
                    <a:pt x="0" y="2"/>
                  </a:lnTo>
                  <a:lnTo>
                    <a:pt x="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8" name="Freeform 2576"/>
            <p:cNvSpPr>
              <a:spLocks/>
            </p:cNvSpPr>
            <p:nvPr/>
          </p:nvSpPr>
          <p:spPr bwMode="auto">
            <a:xfrm>
              <a:off x="3026" y="1444"/>
              <a:ext cx="18" cy="14"/>
            </a:xfrm>
            <a:custGeom>
              <a:avLst/>
              <a:gdLst/>
              <a:ahLst/>
              <a:cxnLst>
                <a:cxn ang="0">
                  <a:pos x="8" y="2"/>
                </a:cxn>
                <a:cxn ang="0">
                  <a:pos x="10" y="2"/>
                </a:cxn>
                <a:cxn ang="0">
                  <a:pos x="12" y="2"/>
                </a:cxn>
                <a:cxn ang="0">
                  <a:pos x="14" y="2"/>
                </a:cxn>
                <a:cxn ang="0">
                  <a:pos x="18" y="10"/>
                </a:cxn>
                <a:cxn ang="0">
                  <a:pos x="16" y="12"/>
                </a:cxn>
                <a:cxn ang="0">
                  <a:pos x="16" y="14"/>
                </a:cxn>
                <a:cxn ang="0">
                  <a:pos x="10" y="14"/>
                </a:cxn>
                <a:cxn ang="0">
                  <a:pos x="8" y="14"/>
                </a:cxn>
                <a:cxn ang="0">
                  <a:pos x="2" y="10"/>
                </a:cxn>
                <a:cxn ang="0">
                  <a:pos x="0" y="8"/>
                </a:cxn>
                <a:cxn ang="0">
                  <a:pos x="0" y="6"/>
                </a:cxn>
                <a:cxn ang="0">
                  <a:pos x="4" y="2"/>
                </a:cxn>
                <a:cxn ang="0">
                  <a:pos x="6" y="2"/>
                </a:cxn>
                <a:cxn ang="0">
                  <a:pos x="6" y="0"/>
                </a:cxn>
                <a:cxn ang="0">
                  <a:pos x="8" y="0"/>
                </a:cxn>
                <a:cxn ang="0">
                  <a:pos x="8" y="2"/>
                </a:cxn>
              </a:cxnLst>
              <a:rect l="0" t="0" r="r" b="b"/>
              <a:pathLst>
                <a:path w="18" h="14">
                  <a:moveTo>
                    <a:pt x="8" y="2"/>
                  </a:moveTo>
                  <a:lnTo>
                    <a:pt x="10" y="2"/>
                  </a:lnTo>
                  <a:lnTo>
                    <a:pt x="12" y="2"/>
                  </a:lnTo>
                  <a:lnTo>
                    <a:pt x="14" y="2"/>
                  </a:lnTo>
                  <a:lnTo>
                    <a:pt x="18" y="10"/>
                  </a:lnTo>
                  <a:lnTo>
                    <a:pt x="16" y="12"/>
                  </a:lnTo>
                  <a:lnTo>
                    <a:pt x="16" y="14"/>
                  </a:lnTo>
                  <a:lnTo>
                    <a:pt x="10" y="14"/>
                  </a:lnTo>
                  <a:lnTo>
                    <a:pt x="8" y="14"/>
                  </a:lnTo>
                  <a:lnTo>
                    <a:pt x="2" y="10"/>
                  </a:lnTo>
                  <a:lnTo>
                    <a:pt x="0" y="8"/>
                  </a:lnTo>
                  <a:lnTo>
                    <a:pt x="0" y="6"/>
                  </a:lnTo>
                  <a:lnTo>
                    <a:pt x="4" y="2"/>
                  </a:lnTo>
                  <a:lnTo>
                    <a:pt x="6" y="2"/>
                  </a:lnTo>
                  <a:lnTo>
                    <a:pt x="6" y="0"/>
                  </a:lnTo>
                  <a:lnTo>
                    <a:pt x="8" y="0"/>
                  </a:lnTo>
                  <a:lnTo>
                    <a:pt x="8"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9" name="Freeform 2577"/>
            <p:cNvSpPr>
              <a:spLocks/>
            </p:cNvSpPr>
            <p:nvPr/>
          </p:nvSpPr>
          <p:spPr bwMode="auto">
            <a:xfrm>
              <a:off x="2968" y="1452"/>
              <a:ext cx="74" cy="68"/>
            </a:xfrm>
            <a:custGeom>
              <a:avLst/>
              <a:gdLst/>
              <a:ahLst/>
              <a:cxnLst>
                <a:cxn ang="0">
                  <a:pos x="16" y="68"/>
                </a:cxn>
                <a:cxn ang="0">
                  <a:pos x="14" y="68"/>
                </a:cxn>
                <a:cxn ang="0">
                  <a:pos x="12" y="64"/>
                </a:cxn>
                <a:cxn ang="0">
                  <a:pos x="16" y="52"/>
                </a:cxn>
                <a:cxn ang="0">
                  <a:pos x="18" y="52"/>
                </a:cxn>
                <a:cxn ang="0">
                  <a:pos x="20" y="52"/>
                </a:cxn>
                <a:cxn ang="0">
                  <a:pos x="22" y="46"/>
                </a:cxn>
                <a:cxn ang="0">
                  <a:pos x="18" y="46"/>
                </a:cxn>
                <a:cxn ang="0">
                  <a:pos x="16" y="44"/>
                </a:cxn>
                <a:cxn ang="0">
                  <a:pos x="4" y="38"/>
                </a:cxn>
                <a:cxn ang="0">
                  <a:pos x="4" y="34"/>
                </a:cxn>
                <a:cxn ang="0">
                  <a:pos x="4" y="30"/>
                </a:cxn>
                <a:cxn ang="0">
                  <a:pos x="8" y="30"/>
                </a:cxn>
                <a:cxn ang="0">
                  <a:pos x="10" y="28"/>
                </a:cxn>
                <a:cxn ang="0">
                  <a:pos x="10" y="26"/>
                </a:cxn>
                <a:cxn ang="0">
                  <a:pos x="4" y="18"/>
                </a:cxn>
                <a:cxn ang="0">
                  <a:pos x="2" y="16"/>
                </a:cxn>
                <a:cxn ang="0">
                  <a:pos x="0" y="14"/>
                </a:cxn>
                <a:cxn ang="0">
                  <a:pos x="4" y="14"/>
                </a:cxn>
                <a:cxn ang="0">
                  <a:pos x="8" y="14"/>
                </a:cxn>
                <a:cxn ang="0">
                  <a:pos x="14" y="14"/>
                </a:cxn>
                <a:cxn ang="0">
                  <a:pos x="18" y="10"/>
                </a:cxn>
                <a:cxn ang="0">
                  <a:pos x="24" y="6"/>
                </a:cxn>
                <a:cxn ang="0">
                  <a:pos x="32" y="2"/>
                </a:cxn>
                <a:cxn ang="0">
                  <a:pos x="38" y="2"/>
                </a:cxn>
                <a:cxn ang="0">
                  <a:pos x="46" y="2"/>
                </a:cxn>
                <a:cxn ang="0">
                  <a:pos x="46" y="0"/>
                </a:cxn>
                <a:cxn ang="0">
                  <a:pos x="50" y="0"/>
                </a:cxn>
                <a:cxn ang="0">
                  <a:pos x="52" y="0"/>
                </a:cxn>
                <a:cxn ang="0">
                  <a:pos x="56" y="0"/>
                </a:cxn>
                <a:cxn ang="0">
                  <a:pos x="60" y="4"/>
                </a:cxn>
                <a:cxn ang="0">
                  <a:pos x="70" y="8"/>
                </a:cxn>
                <a:cxn ang="0">
                  <a:pos x="70" y="10"/>
                </a:cxn>
                <a:cxn ang="0">
                  <a:pos x="74" y="14"/>
                </a:cxn>
                <a:cxn ang="0">
                  <a:pos x="70" y="14"/>
                </a:cxn>
                <a:cxn ang="0">
                  <a:pos x="68" y="14"/>
                </a:cxn>
                <a:cxn ang="0">
                  <a:pos x="64" y="14"/>
                </a:cxn>
                <a:cxn ang="0">
                  <a:pos x="62" y="18"/>
                </a:cxn>
                <a:cxn ang="0">
                  <a:pos x="62" y="20"/>
                </a:cxn>
                <a:cxn ang="0">
                  <a:pos x="60" y="22"/>
                </a:cxn>
                <a:cxn ang="0">
                  <a:pos x="48" y="34"/>
                </a:cxn>
                <a:cxn ang="0">
                  <a:pos x="42" y="36"/>
                </a:cxn>
                <a:cxn ang="0">
                  <a:pos x="40" y="36"/>
                </a:cxn>
                <a:cxn ang="0">
                  <a:pos x="36" y="36"/>
                </a:cxn>
                <a:cxn ang="0">
                  <a:pos x="34" y="36"/>
                </a:cxn>
                <a:cxn ang="0">
                  <a:pos x="30" y="38"/>
                </a:cxn>
                <a:cxn ang="0">
                  <a:pos x="26" y="42"/>
                </a:cxn>
                <a:cxn ang="0">
                  <a:pos x="26" y="46"/>
                </a:cxn>
                <a:cxn ang="0">
                  <a:pos x="26" y="50"/>
                </a:cxn>
                <a:cxn ang="0">
                  <a:pos x="24" y="60"/>
                </a:cxn>
                <a:cxn ang="0">
                  <a:pos x="18" y="66"/>
                </a:cxn>
                <a:cxn ang="0">
                  <a:pos x="18" y="68"/>
                </a:cxn>
                <a:cxn ang="0">
                  <a:pos x="16" y="68"/>
                </a:cxn>
              </a:cxnLst>
              <a:rect l="0" t="0" r="r" b="b"/>
              <a:pathLst>
                <a:path w="74" h="68">
                  <a:moveTo>
                    <a:pt x="16" y="68"/>
                  </a:moveTo>
                  <a:lnTo>
                    <a:pt x="14" y="68"/>
                  </a:lnTo>
                  <a:lnTo>
                    <a:pt x="12" y="64"/>
                  </a:lnTo>
                  <a:lnTo>
                    <a:pt x="16" y="52"/>
                  </a:lnTo>
                  <a:lnTo>
                    <a:pt x="18" y="52"/>
                  </a:lnTo>
                  <a:lnTo>
                    <a:pt x="20" y="52"/>
                  </a:lnTo>
                  <a:lnTo>
                    <a:pt x="22" y="46"/>
                  </a:lnTo>
                  <a:lnTo>
                    <a:pt x="18" y="46"/>
                  </a:lnTo>
                  <a:lnTo>
                    <a:pt x="16" y="44"/>
                  </a:lnTo>
                  <a:lnTo>
                    <a:pt x="4" y="38"/>
                  </a:lnTo>
                  <a:lnTo>
                    <a:pt x="4" y="34"/>
                  </a:lnTo>
                  <a:lnTo>
                    <a:pt x="4" y="30"/>
                  </a:lnTo>
                  <a:lnTo>
                    <a:pt x="8" y="30"/>
                  </a:lnTo>
                  <a:lnTo>
                    <a:pt x="10" y="28"/>
                  </a:lnTo>
                  <a:lnTo>
                    <a:pt x="10" y="26"/>
                  </a:lnTo>
                  <a:lnTo>
                    <a:pt x="4" y="18"/>
                  </a:lnTo>
                  <a:lnTo>
                    <a:pt x="2" y="16"/>
                  </a:lnTo>
                  <a:lnTo>
                    <a:pt x="0" y="14"/>
                  </a:lnTo>
                  <a:lnTo>
                    <a:pt x="4" y="14"/>
                  </a:lnTo>
                  <a:lnTo>
                    <a:pt x="8" y="14"/>
                  </a:lnTo>
                  <a:lnTo>
                    <a:pt x="14" y="14"/>
                  </a:lnTo>
                  <a:lnTo>
                    <a:pt x="18" y="10"/>
                  </a:lnTo>
                  <a:lnTo>
                    <a:pt x="24" y="6"/>
                  </a:lnTo>
                  <a:lnTo>
                    <a:pt x="32" y="2"/>
                  </a:lnTo>
                  <a:lnTo>
                    <a:pt x="38" y="2"/>
                  </a:lnTo>
                  <a:lnTo>
                    <a:pt x="46" y="2"/>
                  </a:lnTo>
                  <a:lnTo>
                    <a:pt x="46" y="0"/>
                  </a:lnTo>
                  <a:lnTo>
                    <a:pt x="50" y="0"/>
                  </a:lnTo>
                  <a:lnTo>
                    <a:pt x="52" y="0"/>
                  </a:lnTo>
                  <a:lnTo>
                    <a:pt x="56" y="0"/>
                  </a:lnTo>
                  <a:lnTo>
                    <a:pt x="60" y="4"/>
                  </a:lnTo>
                  <a:lnTo>
                    <a:pt x="70" y="8"/>
                  </a:lnTo>
                  <a:lnTo>
                    <a:pt x="70" y="10"/>
                  </a:lnTo>
                  <a:lnTo>
                    <a:pt x="74" y="14"/>
                  </a:lnTo>
                  <a:lnTo>
                    <a:pt x="70" y="14"/>
                  </a:lnTo>
                  <a:lnTo>
                    <a:pt x="68" y="14"/>
                  </a:lnTo>
                  <a:lnTo>
                    <a:pt x="64" y="14"/>
                  </a:lnTo>
                  <a:lnTo>
                    <a:pt x="62" y="18"/>
                  </a:lnTo>
                  <a:lnTo>
                    <a:pt x="62" y="20"/>
                  </a:lnTo>
                  <a:lnTo>
                    <a:pt x="60" y="22"/>
                  </a:lnTo>
                  <a:lnTo>
                    <a:pt x="48" y="34"/>
                  </a:lnTo>
                  <a:lnTo>
                    <a:pt x="42" y="36"/>
                  </a:lnTo>
                  <a:lnTo>
                    <a:pt x="40" y="36"/>
                  </a:lnTo>
                  <a:lnTo>
                    <a:pt x="36" y="36"/>
                  </a:lnTo>
                  <a:lnTo>
                    <a:pt x="34" y="36"/>
                  </a:lnTo>
                  <a:lnTo>
                    <a:pt x="30" y="38"/>
                  </a:lnTo>
                  <a:lnTo>
                    <a:pt x="26" y="42"/>
                  </a:lnTo>
                  <a:lnTo>
                    <a:pt x="26" y="46"/>
                  </a:lnTo>
                  <a:lnTo>
                    <a:pt x="26" y="50"/>
                  </a:lnTo>
                  <a:lnTo>
                    <a:pt x="24" y="60"/>
                  </a:lnTo>
                  <a:lnTo>
                    <a:pt x="18" y="66"/>
                  </a:lnTo>
                  <a:lnTo>
                    <a:pt x="18" y="68"/>
                  </a:lnTo>
                  <a:lnTo>
                    <a:pt x="16" y="6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78" name="Freeform 2578"/>
          <p:cNvSpPr>
            <a:spLocks/>
          </p:cNvSpPr>
          <p:nvPr/>
        </p:nvSpPr>
        <p:spPr bwMode="auto">
          <a:xfrm>
            <a:off x="5725992" y="3360747"/>
            <a:ext cx="546429" cy="310135"/>
          </a:xfrm>
          <a:custGeom>
            <a:avLst/>
            <a:gdLst/>
            <a:ahLst/>
            <a:cxnLst>
              <a:cxn ang="0">
                <a:pos x="2" y="152"/>
              </a:cxn>
              <a:cxn ang="0">
                <a:pos x="0" y="136"/>
              </a:cxn>
              <a:cxn ang="0">
                <a:pos x="16" y="118"/>
              </a:cxn>
              <a:cxn ang="0">
                <a:pos x="16" y="98"/>
              </a:cxn>
              <a:cxn ang="0">
                <a:pos x="24" y="76"/>
              </a:cxn>
              <a:cxn ang="0">
                <a:pos x="34" y="64"/>
              </a:cxn>
              <a:cxn ang="0">
                <a:pos x="46" y="60"/>
              </a:cxn>
              <a:cxn ang="0">
                <a:pos x="70" y="52"/>
              </a:cxn>
              <a:cxn ang="0">
                <a:pos x="90" y="74"/>
              </a:cxn>
              <a:cxn ang="0">
                <a:pos x="100" y="80"/>
              </a:cxn>
              <a:cxn ang="0">
                <a:pos x="110" y="104"/>
              </a:cxn>
              <a:cxn ang="0">
                <a:pos x="136" y="112"/>
              </a:cxn>
              <a:cxn ang="0">
                <a:pos x="154" y="98"/>
              </a:cxn>
              <a:cxn ang="0">
                <a:pos x="162" y="72"/>
              </a:cxn>
              <a:cxn ang="0">
                <a:pos x="152" y="30"/>
              </a:cxn>
              <a:cxn ang="0">
                <a:pos x="158" y="22"/>
              </a:cxn>
              <a:cxn ang="0">
                <a:pos x="188" y="2"/>
              </a:cxn>
              <a:cxn ang="0">
                <a:pos x="194" y="8"/>
              </a:cxn>
              <a:cxn ang="0">
                <a:pos x="198" y="0"/>
              </a:cxn>
              <a:cxn ang="0">
                <a:pos x="226" y="18"/>
              </a:cxn>
              <a:cxn ang="0">
                <a:pos x="252" y="34"/>
              </a:cxn>
              <a:cxn ang="0">
                <a:pos x="270" y="40"/>
              </a:cxn>
              <a:cxn ang="0">
                <a:pos x="286" y="30"/>
              </a:cxn>
              <a:cxn ang="0">
                <a:pos x="306" y="34"/>
              </a:cxn>
              <a:cxn ang="0">
                <a:pos x="316" y="38"/>
              </a:cxn>
              <a:cxn ang="0">
                <a:pos x="332" y="50"/>
              </a:cxn>
              <a:cxn ang="0">
                <a:pos x="332" y="88"/>
              </a:cxn>
              <a:cxn ang="0">
                <a:pos x="342" y="92"/>
              </a:cxn>
              <a:cxn ang="0">
                <a:pos x="360" y="120"/>
              </a:cxn>
              <a:cxn ang="0">
                <a:pos x="370" y="152"/>
              </a:cxn>
              <a:cxn ang="0">
                <a:pos x="352" y="170"/>
              </a:cxn>
              <a:cxn ang="0">
                <a:pos x="346" y="190"/>
              </a:cxn>
              <a:cxn ang="0">
                <a:pos x="322" y="190"/>
              </a:cxn>
              <a:cxn ang="0">
                <a:pos x="304" y="208"/>
              </a:cxn>
              <a:cxn ang="0">
                <a:pos x="292" y="210"/>
              </a:cxn>
              <a:cxn ang="0">
                <a:pos x="276" y="200"/>
              </a:cxn>
              <a:cxn ang="0">
                <a:pos x="258" y="188"/>
              </a:cxn>
              <a:cxn ang="0">
                <a:pos x="224" y="174"/>
              </a:cxn>
              <a:cxn ang="0">
                <a:pos x="210" y="172"/>
              </a:cxn>
              <a:cxn ang="0">
                <a:pos x="202" y="156"/>
              </a:cxn>
              <a:cxn ang="0">
                <a:pos x="184" y="168"/>
              </a:cxn>
              <a:cxn ang="0">
                <a:pos x="172" y="168"/>
              </a:cxn>
              <a:cxn ang="0">
                <a:pos x="154" y="170"/>
              </a:cxn>
              <a:cxn ang="0">
                <a:pos x="132" y="170"/>
              </a:cxn>
              <a:cxn ang="0">
                <a:pos x="118" y="168"/>
              </a:cxn>
              <a:cxn ang="0">
                <a:pos x="104" y="172"/>
              </a:cxn>
              <a:cxn ang="0">
                <a:pos x="98" y="168"/>
              </a:cxn>
              <a:cxn ang="0">
                <a:pos x="86" y="172"/>
              </a:cxn>
              <a:cxn ang="0">
                <a:pos x="76" y="170"/>
              </a:cxn>
              <a:cxn ang="0">
                <a:pos x="48" y="176"/>
              </a:cxn>
              <a:cxn ang="0">
                <a:pos x="20" y="190"/>
              </a:cxn>
              <a:cxn ang="0">
                <a:pos x="14" y="206"/>
              </a:cxn>
              <a:cxn ang="0">
                <a:pos x="6" y="202"/>
              </a:cxn>
              <a:cxn ang="0">
                <a:pos x="0" y="180"/>
              </a:cxn>
            </a:cxnLst>
            <a:rect l="0" t="0" r="r" b="b"/>
            <a:pathLst>
              <a:path w="370" h="210">
                <a:moveTo>
                  <a:pt x="4" y="174"/>
                </a:moveTo>
                <a:lnTo>
                  <a:pt x="4" y="166"/>
                </a:lnTo>
                <a:lnTo>
                  <a:pt x="0" y="158"/>
                </a:lnTo>
                <a:lnTo>
                  <a:pt x="0" y="154"/>
                </a:lnTo>
                <a:lnTo>
                  <a:pt x="2" y="152"/>
                </a:lnTo>
                <a:lnTo>
                  <a:pt x="2" y="150"/>
                </a:lnTo>
                <a:lnTo>
                  <a:pt x="2" y="146"/>
                </a:lnTo>
                <a:lnTo>
                  <a:pt x="2" y="142"/>
                </a:lnTo>
                <a:lnTo>
                  <a:pt x="0" y="138"/>
                </a:lnTo>
                <a:lnTo>
                  <a:pt x="0" y="136"/>
                </a:lnTo>
                <a:lnTo>
                  <a:pt x="4" y="132"/>
                </a:lnTo>
                <a:lnTo>
                  <a:pt x="8" y="130"/>
                </a:lnTo>
                <a:lnTo>
                  <a:pt x="10" y="128"/>
                </a:lnTo>
                <a:lnTo>
                  <a:pt x="14" y="122"/>
                </a:lnTo>
                <a:lnTo>
                  <a:pt x="16" y="118"/>
                </a:lnTo>
                <a:lnTo>
                  <a:pt x="16" y="116"/>
                </a:lnTo>
                <a:lnTo>
                  <a:pt x="16" y="114"/>
                </a:lnTo>
                <a:lnTo>
                  <a:pt x="16" y="112"/>
                </a:lnTo>
                <a:lnTo>
                  <a:pt x="16" y="108"/>
                </a:lnTo>
                <a:lnTo>
                  <a:pt x="16" y="98"/>
                </a:lnTo>
                <a:lnTo>
                  <a:pt x="16" y="94"/>
                </a:lnTo>
                <a:lnTo>
                  <a:pt x="16" y="92"/>
                </a:lnTo>
                <a:lnTo>
                  <a:pt x="18" y="90"/>
                </a:lnTo>
                <a:lnTo>
                  <a:pt x="22" y="80"/>
                </a:lnTo>
                <a:lnTo>
                  <a:pt x="24" y="76"/>
                </a:lnTo>
                <a:lnTo>
                  <a:pt x="24" y="72"/>
                </a:lnTo>
                <a:lnTo>
                  <a:pt x="26" y="70"/>
                </a:lnTo>
                <a:lnTo>
                  <a:pt x="26" y="68"/>
                </a:lnTo>
                <a:lnTo>
                  <a:pt x="28" y="66"/>
                </a:lnTo>
                <a:lnTo>
                  <a:pt x="34" y="64"/>
                </a:lnTo>
                <a:lnTo>
                  <a:pt x="36" y="64"/>
                </a:lnTo>
                <a:lnTo>
                  <a:pt x="40" y="64"/>
                </a:lnTo>
                <a:lnTo>
                  <a:pt x="42" y="62"/>
                </a:lnTo>
                <a:lnTo>
                  <a:pt x="44" y="62"/>
                </a:lnTo>
                <a:lnTo>
                  <a:pt x="46" y="60"/>
                </a:lnTo>
                <a:lnTo>
                  <a:pt x="54" y="54"/>
                </a:lnTo>
                <a:lnTo>
                  <a:pt x="64" y="48"/>
                </a:lnTo>
                <a:lnTo>
                  <a:pt x="68" y="46"/>
                </a:lnTo>
                <a:lnTo>
                  <a:pt x="70" y="46"/>
                </a:lnTo>
                <a:lnTo>
                  <a:pt x="70" y="52"/>
                </a:lnTo>
                <a:lnTo>
                  <a:pt x="70" y="56"/>
                </a:lnTo>
                <a:lnTo>
                  <a:pt x="74" y="62"/>
                </a:lnTo>
                <a:lnTo>
                  <a:pt x="78" y="66"/>
                </a:lnTo>
                <a:lnTo>
                  <a:pt x="86" y="72"/>
                </a:lnTo>
                <a:lnTo>
                  <a:pt x="90" y="74"/>
                </a:lnTo>
                <a:lnTo>
                  <a:pt x="94" y="76"/>
                </a:lnTo>
                <a:lnTo>
                  <a:pt x="94" y="78"/>
                </a:lnTo>
                <a:lnTo>
                  <a:pt x="96" y="78"/>
                </a:lnTo>
                <a:lnTo>
                  <a:pt x="98" y="78"/>
                </a:lnTo>
                <a:lnTo>
                  <a:pt x="100" y="80"/>
                </a:lnTo>
                <a:lnTo>
                  <a:pt x="102" y="84"/>
                </a:lnTo>
                <a:lnTo>
                  <a:pt x="106" y="96"/>
                </a:lnTo>
                <a:lnTo>
                  <a:pt x="108" y="100"/>
                </a:lnTo>
                <a:lnTo>
                  <a:pt x="108" y="102"/>
                </a:lnTo>
                <a:lnTo>
                  <a:pt x="110" y="104"/>
                </a:lnTo>
                <a:lnTo>
                  <a:pt x="112" y="106"/>
                </a:lnTo>
                <a:lnTo>
                  <a:pt x="114" y="106"/>
                </a:lnTo>
                <a:lnTo>
                  <a:pt x="126" y="112"/>
                </a:lnTo>
                <a:lnTo>
                  <a:pt x="130" y="112"/>
                </a:lnTo>
                <a:lnTo>
                  <a:pt x="136" y="112"/>
                </a:lnTo>
                <a:lnTo>
                  <a:pt x="140" y="110"/>
                </a:lnTo>
                <a:lnTo>
                  <a:pt x="140" y="108"/>
                </a:lnTo>
                <a:lnTo>
                  <a:pt x="144" y="106"/>
                </a:lnTo>
                <a:lnTo>
                  <a:pt x="146" y="106"/>
                </a:lnTo>
                <a:lnTo>
                  <a:pt x="154" y="98"/>
                </a:lnTo>
                <a:lnTo>
                  <a:pt x="156" y="94"/>
                </a:lnTo>
                <a:lnTo>
                  <a:pt x="162" y="84"/>
                </a:lnTo>
                <a:lnTo>
                  <a:pt x="164" y="82"/>
                </a:lnTo>
                <a:lnTo>
                  <a:pt x="164" y="80"/>
                </a:lnTo>
                <a:lnTo>
                  <a:pt x="162" y="72"/>
                </a:lnTo>
                <a:lnTo>
                  <a:pt x="158" y="52"/>
                </a:lnTo>
                <a:lnTo>
                  <a:pt x="154" y="42"/>
                </a:lnTo>
                <a:lnTo>
                  <a:pt x="152" y="38"/>
                </a:lnTo>
                <a:lnTo>
                  <a:pt x="152" y="34"/>
                </a:lnTo>
                <a:lnTo>
                  <a:pt x="152" y="30"/>
                </a:lnTo>
                <a:lnTo>
                  <a:pt x="152" y="26"/>
                </a:lnTo>
                <a:lnTo>
                  <a:pt x="154" y="26"/>
                </a:lnTo>
                <a:lnTo>
                  <a:pt x="156" y="26"/>
                </a:lnTo>
                <a:lnTo>
                  <a:pt x="158" y="24"/>
                </a:lnTo>
                <a:lnTo>
                  <a:pt x="158" y="22"/>
                </a:lnTo>
                <a:lnTo>
                  <a:pt x="162" y="18"/>
                </a:lnTo>
                <a:lnTo>
                  <a:pt x="170" y="14"/>
                </a:lnTo>
                <a:lnTo>
                  <a:pt x="184" y="6"/>
                </a:lnTo>
                <a:lnTo>
                  <a:pt x="186" y="4"/>
                </a:lnTo>
                <a:lnTo>
                  <a:pt x="188" y="2"/>
                </a:lnTo>
                <a:lnTo>
                  <a:pt x="190" y="2"/>
                </a:lnTo>
                <a:lnTo>
                  <a:pt x="192" y="2"/>
                </a:lnTo>
                <a:lnTo>
                  <a:pt x="194" y="4"/>
                </a:lnTo>
                <a:lnTo>
                  <a:pt x="194" y="6"/>
                </a:lnTo>
                <a:lnTo>
                  <a:pt x="194" y="8"/>
                </a:lnTo>
                <a:lnTo>
                  <a:pt x="196" y="10"/>
                </a:lnTo>
                <a:lnTo>
                  <a:pt x="198" y="6"/>
                </a:lnTo>
                <a:lnTo>
                  <a:pt x="198" y="4"/>
                </a:lnTo>
                <a:lnTo>
                  <a:pt x="196" y="2"/>
                </a:lnTo>
                <a:lnTo>
                  <a:pt x="198" y="0"/>
                </a:lnTo>
                <a:lnTo>
                  <a:pt x="204" y="4"/>
                </a:lnTo>
                <a:lnTo>
                  <a:pt x="206" y="6"/>
                </a:lnTo>
                <a:lnTo>
                  <a:pt x="214" y="14"/>
                </a:lnTo>
                <a:lnTo>
                  <a:pt x="224" y="16"/>
                </a:lnTo>
                <a:lnTo>
                  <a:pt x="226" y="18"/>
                </a:lnTo>
                <a:lnTo>
                  <a:pt x="228" y="18"/>
                </a:lnTo>
                <a:lnTo>
                  <a:pt x="232" y="16"/>
                </a:lnTo>
                <a:lnTo>
                  <a:pt x="236" y="18"/>
                </a:lnTo>
                <a:lnTo>
                  <a:pt x="246" y="30"/>
                </a:lnTo>
                <a:lnTo>
                  <a:pt x="252" y="34"/>
                </a:lnTo>
                <a:lnTo>
                  <a:pt x="252" y="36"/>
                </a:lnTo>
                <a:lnTo>
                  <a:pt x="264" y="42"/>
                </a:lnTo>
                <a:lnTo>
                  <a:pt x="266" y="42"/>
                </a:lnTo>
                <a:lnTo>
                  <a:pt x="268" y="42"/>
                </a:lnTo>
                <a:lnTo>
                  <a:pt x="270" y="40"/>
                </a:lnTo>
                <a:lnTo>
                  <a:pt x="272" y="36"/>
                </a:lnTo>
                <a:lnTo>
                  <a:pt x="280" y="30"/>
                </a:lnTo>
                <a:lnTo>
                  <a:pt x="282" y="30"/>
                </a:lnTo>
                <a:lnTo>
                  <a:pt x="284" y="30"/>
                </a:lnTo>
                <a:lnTo>
                  <a:pt x="286" y="30"/>
                </a:lnTo>
                <a:lnTo>
                  <a:pt x="288" y="30"/>
                </a:lnTo>
                <a:lnTo>
                  <a:pt x="290" y="32"/>
                </a:lnTo>
                <a:lnTo>
                  <a:pt x="292" y="34"/>
                </a:lnTo>
                <a:lnTo>
                  <a:pt x="304" y="36"/>
                </a:lnTo>
                <a:lnTo>
                  <a:pt x="306" y="34"/>
                </a:lnTo>
                <a:lnTo>
                  <a:pt x="308" y="34"/>
                </a:lnTo>
                <a:lnTo>
                  <a:pt x="310" y="34"/>
                </a:lnTo>
                <a:lnTo>
                  <a:pt x="312" y="34"/>
                </a:lnTo>
                <a:lnTo>
                  <a:pt x="314" y="34"/>
                </a:lnTo>
                <a:lnTo>
                  <a:pt x="316" y="38"/>
                </a:lnTo>
                <a:lnTo>
                  <a:pt x="316" y="42"/>
                </a:lnTo>
                <a:lnTo>
                  <a:pt x="318" y="44"/>
                </a:lnTo>
                <a:lnTo>
                  <a:pt x="320" y="44"/>
                </a:lnTo>
                <a:lnTo>
                  <a:pt x="324" y="46"/>
                </a:lnTo>
                <a:lnTo>
                  <a:pt x="332" y="50"/>
                </a:lnTo>
                <a:lnTo>
                  <a:pt x="334" y="52"/>
                </a:lnTo>
                <a:lnTo>
                  <a:pt x="334" y="56"/>
                </a:lnTo>
                <a:lnTo>
                  <a:pt x="336" y="62"/>
                </a:lnTo>
                <a:lnTo>
                  <a:pt x="334" y="76"/>
                </a:lnTo>
                <a:lnTo>
                  <a:pt x="332" y="88"/>
                </a:lnTo>
                <a:lnTo>
                  <a:pt x="334" y="92"/>
                </a:lnTo>
                <a:lnTo>
                  <a:pt x="336" y="92"/>
                </a:lnTo>
                <a:lnTo>
                  <a:pt x="338" y="92"/>
                </a:lnTo>
                <a:lnTo>
                  <a:pt x="340" y="90"/>
                </a:lnTo>
                <a:lnTo>
                  <a:pt x="342" y="92"/>
                </a:lnTo>
                <a:lnTo>
                  <a:pt x="346" y="94"/>
                </a:lnTo>
                <a:lnTo>
                  <a:pt x="346" y="98"/>
                </a:lnTo>
                <a:lnTo>
                  <a:pt x="348" y="104"/>
                </a:lnTo>
                <a:lnTo>
                  <a:pt x="352" y="110"/>
                </a:lnTo>
                <a:lnTo>
                  <a:pt x="360" y="120"/>
                </a:lnTo>
                <a:lnTo>
                  <a:pt x="362" y="124"/>
                </a:lnTo>
                <a:lnTo>
                  <a:pt x="366" y="130"/>
                </a:lnTo>
                <a:lnTo>
                  <a:pt x="370" y="142"/>
                </a:lnTo>
                <a:lnTo>
                  <a:pt x="370" y="150"/>
                </a:lnTo>
                <a:lnTo>
                  <a:pt x="370" y="152"/>
                </a:lnTo>
                <a:lnTo>
                  <a:pt x="368" y="154"/>
                </a:lnTo>
                <a:lnTo>
                  <a:pt x="366" y="152"/>
                </a:lnTo>
                <a:lnTo>
                  <a:pt x="358" y="160"/>
                </a:lnTo>
                <a:lnTo>
                  <a:pt x="356" y="164"/>
                </a:lnTo>
                <a:lnTo>
                  <a:pt x="352" y="170"/>
                </a:lnTo>
                <a:lnTo>
                  <a:pt x="348" y="176"/>
                </a:lnTo>
                <a:lnTo>
                  <a:pt x="346" y="178"/>
                </a:lnTo>
                <a:lnTo>
                  <a:pt x="346" y="186"/>
                </a:lnTo>
                <a:lnTo>
                  <a:pt x="346" y="188"/>
                </a:lnTo>
                <a:lnTo>
                  <a:pt x="346" y="190"/>
                </a:lnTo>
                <a:lnTo>
                  <a:pt x="344" y="192"/>
                </a:lnTo>
                <a:lnTo>
                  <a:pt x="342" y="192"/>
                </a:lnTo>
                <a:lnTo>
                  <a:pt x="330" y="192"/>
                </a:lnTo>
                <a:lnTo>
                  <a:pt x="324" y="192"/>
                </a:lnTo>
                <a:lnTo>
                  <a:pt x="322" y="190"/>
                </a:lnTo>
                <a:lnTo>
                  <a:pt x="314" y="192"/>
                </a:lnTo>
                <a:lnTo>
                  <a:pt x="310" y="198"/>
                </a:lnTo>
                <a:lnTo>
                  <a:pt x="310" y="202"/>
                </a:lnTo>
                <a:lnTo>
                  <a:pt x="308" y="204"/>
                </a:lnTo>
                <a:lnTo>
                  <a:pt x="304" y="208"/>
                </a:lnTo>
                <a:lnTo>
                  <a:pt x="300" y="206"/>
                </a:lnTo>
                <a:lnTo>
                  <a:pt x="298" y="208"/>
                </a:lnTo>
                <a:lnTo>
                  <a:pt x="296" y="208"/>
                </a:lnTo>
                <a:lnTo>
                  <a:pt x="296" y="210"/>
                </a:lnTo>
                <a:lnTo>
                  <a:pt x="292" y="210"/>
                </a:lnTo>
                <a:lnTo>
                  <a:pt x="284" y="208"/>
                </a:lnTo>
                <a:lnTo>
                  <a:pt x="282" y="206"/>
                </a:lnTo>
                <a:lnTo>
                  <a:pt x="280" y="206"/>
                </a:lnTo>
                <a:lnTo>
                  <a:pt x="278" y="204"/>
                </a:lnTo>
                <a:lnTo>
                  <a:pt x="276" y="200"/>
                </a:lnTo>
                <a:lnTo>
                  <a:pt x="274" y="198"/>
                </a:lnTo>
                <a:lnTo>
                  <a:pt x="272" y="196"/>
                </a:lnTo>
                <a:lnTo>
                  <a:pt x="264" y="190"/>
                </a:lnTo>
                <a:lnTo>
                  <a:pt x="262" y="188"/>
                </a:lnTo>
                <a:lnTo>
                  <a:pt x="258" y="188"/>
                </a:lnTo>
                <a:lnTo>
                  <a:pt x="254" y="186"/>
                </a:lnTo>
                <a:lnTo>
                  <a:pt x="244" y="178"/>
                </a:lnTo>
                <a:lnTo>
                  <a:pt x="238" y="174"/>
                </a:lnTo>
                <a:lnTo>
                  <a:pt x="230" y="174"/>
                </a:lnTo>
                <a:lnTo>
                  <a:pt x="224" y="174"/>
                </a:lnTo>
                <a:lnTo>
                  <a:pt x="220" y="174"/>
                </a:lnTo>
                <a:lnTo>
                  <a:pt x="216" y="174"/>
                </a:lnTo>
                <a:lnTo>
                  <a:pt x="214" y="174"/>
                </a:lnTo>
                <a:lnTo>
                  <a:pt x="212" y="174"/>
                </a:lnTo>
                <a:lnTo>
                  <a:pt x="210" y="172"/>
                </a:lnTo>
                <a:lnTo>
                  <a:pt x="206" y="166"/>
                </a:lnTo>
                <a:lnTo>
                  <a:pt x="204" y="162"/>
                </a:lnTo>
                <a:lnTo>
                  <a:pt x="204" y="160"/>
                </a:lnTo>
                <a:lnTo>
                  <a:pt x="202" y="158"/>
                </a:lnTo>
                <a:lnTo>
                  <a:pt x="202" y="156"/>
                </a:lnTo>
                <a:lnTo>
                  <a:pt x="200" y="152"/>
                </a:lnTo>
                <a:lnTo>
                  <a:pt x="198" y="152"/>
                </a:lnTo>
                <a:lnTo>
                  <a:pt x="188" y="162"/>
                </a:lnTo>
                <a:lnTo>
                  <a:pt x="184" y="166"/>
                </a:lnTo>
                <a:lnTo>
                  <a:pt x="184" y="168"/>
                </a:lnTo>
                <a:lnTo>
                  <a:pt x="180" y="170"/>
                </a:lnTo>
                <a:lnTo>
                  <a:pt x="178" y="170"/>
                </a:lnTo>
                <a:lnTo>
                  <a:pt x="176" y="170"/>
                </a:lnTo>
                <a:lnTo>
                  <a:pt x="174" y="170"/>
                </a:lnTo>
                <a:lnTo>
                  <a:pt x="172" y="168"/>
                </a:lnTo>
                <a:lnTo>
                  <a:pt x="168" y="170"/>
                </a:lnTo>
                <a:lnTo>
                  <a:pt x="164" y="174"/>
                </a:lnTo>
                <a:lnTo>
                  <a:pt x="162" y="174"/>
                </a:lnTo>
                <a:lnTo>
                  <a:pt x="158" y="172"/>
                </a:lnTo>
                <a:lnTo>
                  <a:pt x="154" y="170"/>
                </a:lnTo>
                <a:lnTo>
                  <a:pt x="152" y="168"/>
                </a:lnTo>
                <a:lnTo>
                  <a:pt x="148" y="168"/>
                </a:lnTo>
                <a:lnTo>
                  <a:pt x="140" y="168"/>
                </a:lnTo>
                <a:lnTo>
                  <a:pt x="134" y="168"/>
                </a:lnTo>
                <a:lnTo>
                  <a:pt x="132" y="170"/>
                </a:lnTo>
                <a:lnTo>
                  <a:pt x="130" y="170"/>
                </a:lnTo>
                <a:lnTo>
                  <a:pt x="126" y="170"/>
                </a:lnTo>
                <a:lnTo>
                  <a:pt x="122" y="170"/>
                </a:lnTo>
                <a:lnTo>
                  <a:pt x="120" y="168"/>
                </a:lnTo>
                <a:lnTo>
                  <a:pt x="118" y="168"/>
                </a:lnTo>
                <a:lnTo>
                  <a:pt x="112" y="170"/>
                </a:lnTo>
                <a:lnTo>
                  <a:pt x="110" y="174"/>
                </a:lnTo>
                <a:lnTo>
                  <a:pt x="110" y="176"/>
                </a:lnTo>
                <a:lnTo>
                  <a:pt x="106" y="174"/>
                </a:lnTo>
                <a:lnTo>
                  <a:pt x="104" y="172"/>
                </a:lnTo>
                <a:lnTo>
                  <a:pt x="102" y="170"/>
                </a:lnTo>
                <a:lnTo>
                  <a:pt x="102" y="168"/>
                </a:lnTo>
                <a:lnTo>
                  <a:pt x="100" y="166"/>
                </a:lnTo>
                <a:lnTo>
                  <a:pt x="98" y="166"/>
                </a:lnTo>
                <a:lnTo>
                  <a:pt x="98" y="168"/>
                </a:lnTo>
                <a:lnTo>
                  <a:pt x="96" y="170"/>
                </a:lnTo>
                <a:lnTo>
                  <a:pt x="94" y="170"/>
                </a:lnTo>
                <a:lnTo>
                  <a:pt x="88" y="174"/>
                </a:lnTo>
                <a:lnTo>
                  <a:pt x="86" y="174"/>
                </a:lnTo>
                <a:lnTo>
                  <a:pt x="86" y="172"/>
                </a:lnTo>
                <a:lnTo>
                  <a:pt x="84" y="170"/>
                </a:lnTo>
                <a:lnTo>
                  <a:pt x="82" y="170"/>
                </a:lnTo>
                <a:lnTo>
                  <a:pt x="80" y="170"/>
                </a:lnTo>
                <a:lnTo>
                  <a:pt x="78" y="170"/>
                </a:lnTo>
                <a:lnTo>
                  <a:pt x="76" y="170"/>
                </a:lnTo>
                <a:lnTo>
                  <a:pt x="68" y="170"/>
                </a:lnTo>
                <a:lnTo>
                  <a:pt x="60" y="170"/>
                </a:lnTo>
                <a:lnTo>
                  <a:pt x="56" y="170"/>
                </a:lnTo>
                <a:lnTo>
                  <a:pt x="54" y="172"/>
                </a:lnTo>
                <a:lnTo>
                  <a:pt x="48" y="176"/>
                </a:lnTo>
                <a:lnTo>
                  <a:pt x="40" y="182"/>
                </a:lnTo>
                <a:lnTo>
                  <a:pt x="30" y="184"/>
                </a:lnTo>
                <a:lnTo>
                  <a:pt x="24" y="190"/>
                </a:lnTo>
                <a:lnTo>
                  <a:pt x="22" y="190"/>
                </a:lnTo>
                <a:lnTo>
                  <a:pt x="20" y="190"/>
                </a:lnTo>
                <a:lnTo>
                  <a:pt x="16" y="196"/>
                </a:lnTo>
                <a:lnTo>
                  <a:pt x="16" y="198"/>
                </a:lnTo>
                <a:lnTo>
                  <a:pt x="16" y="200"/>
                </a:lnTo>
                <a:lnTo>
                  <a:pt x="16" y="204"/>
                </a:lnTo>
                <a:lnTo>
                  <a:pt x="14" y="206"/>
                </a:lnTo>
                <a:lnTo>
                  <a:pt x="12" y="206"/>
                </a:lnTo>
                <a:lnTo>
                  <a:pt x="10" y="206"/>
                </a:lnTo>
                <a:lnTo>
                  <a:pt x="8" y="206"/>
                </a:lnTo>
                <a:lnTo>
                  <a:pt x="6" y="206"/>
                </a:lnTo>
                <a:lnTo>
                  <a:pt x="6" y="202"/>
                </a:lnTo>
                <a:lnTo>
                  <a:pt x="4" y="200"/>
                </a:lnTo>
                <a:lnTo>
                  <a:pt x="4" y="198"/>
                </a:lnTo>
                <a:lnTo>
                  <a:pt x="2" y="198"/>
                </a:lnTo>
                <a:lnTo>
                  <a:pt x="0" y="192"/>
                </a:lnTo>
                <a:lnTo>
                  <a:pt x="0" y="180"/>
                </a:lnTo>
                <a:lnTo>
                  <a:pt x="0" y="168"/>
                </a:lnTo>
                <a:lnTo>
                  <a:pt x="2" y="168"/>
                </a:lnTo>
                <a:lnTo>
                  <a:pt x="2" y="172"/>
                </a:lnTo>
                <a:lnTo>
                  <a:pt x="4" y="17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79" name="Freeform 2605"/>
          <p:cNvSpPr>
            <a:spLocks/>
          </p:cNvSpPr>
          <p:nvPr/>
        </p:nvSpPr>
        <p:spPr bwMode="auto">
          <a:xfrm>
            <a:off x="5734853" y="3585226"/>
            <a:ext cx="451912" cy="351486"/>
          </a:xfrm>
          <a:custGeom>
            <a:avLst/>
            <a:gdLst/>
            <a:ahLst/>
            <a:cxnLst>
              <a:cxn ang="0">
                <a:pos x="100" y="194"/>
              </a:cxn>
              <a:cxn ang="0">
                <a:pos x="100" y="170"/>
              </a:cxn>
              <a:cxn ang="0">
                <a:pos x="104" y="156"/>
              </a:cxn>
              <a:cxn ang="0">
                <a:pos x="92" y="150"/>
              </a:cxn>
              <a:cxn ang="0">
                <a:pos x="68" y="142"/>
              </a:cxn>
              <a:cxn ang="0">
                <a:pos x="42" y="138"/>
              </a:cxn>
              <a:cxn ang="0">
                <a:pos x="22" y="126"/>
              </a:cxn>
              <a:cxn ang="0">
                <a:pos x="18" y="126"/>
              </a:cxn>
              <a:cxn ang="0">
                <a:pos x="6" y="88"/>
              </a:cxn>
              <a:cxn ang="0">
                <a:pos x="2" y="70"/>
              </a:cxn>
              <a:cxn ang="0">
                <a:pos x="0" y="54"/>
              </a:cxn>
              <a:cxn ang="0">
                <a:pos x="8" y="54"/>
              </a:cxn>
              <a:cxn ang="0">
                <a:pos x="10" y="44"/>
              </a:cxn>
              <a:cxn ang="0">
                <a:pos x="24" y="32"/>
              </a:cxn>
              <a:cxn ang="0">
                <a:pos x="50" y="18"/>
              </a:cxn>
              <a:cxn ang="0">
                <a:pos x="72" y="18"/>
              </a:cxn>
              <a:cxn ang="0">
                <a:pos x="80" y="20"/>
              </a:cxn>
              <a:cxn ang="0">
                <a:pos x="90" y="18"/>
              </a:cxn>
              <a:cxn ang="0">
                <a:pos x="96" y="16"/>
              </a:cxn>
              <a:cxn ang="0">
                <a:pos x="104" y="24"/>
              </a:cxn>
              <a:cxn ang="0">
                <a:pos x="114" y="16"/>
              </a:cxn>
              <a:cxn ang="0">
                <a:pos x="126" y="18"/>
              </a:cxn>
              <a:cxn ang="0">
                <a:pos x="146" y="16"/>
              </a:cxn>
              <a:cxn ang="0">
                <a:pos x="158" y="22"/>
              </a:cxn>
              <a:cxn ang="0">
                <a:pos x="170" y="18"/>
              </a:cxn>
              <a:cxn ang="0">
                <a:pos x="178" y="14"/>
              </a:cxn>
              <a:cxn ang="0">
                <a:pos x="196" y="4"/>
              </a:cxn>
              <a:cxn ang="0">
                <a:pos x="200" y="14"/>
              </a:cxn>
              <a:cxn ang="0">
                <a:pos x="210" y="22"/>
              </a:cxn>
              <a:cxn ang="0">
                <a:pos x="232" y="22"/>
              </a:cxn>
              <a:cxn ang="0">
                <a:pos x="256" y="36"/>
              </a:cxn>
              <a:cxn ang="0">
                <a:pos x="270" y="48"/>
              </a:cxn>
              <a:cxn ang="0">
                <a:pos x="278" y="56"/>
              </a:cxn>
              <a:cxn ang="0">
                <a:pos x="292" y="64"/>
              </a:cxn>
              <a:cxn ang="0">
                <a:pos x="292" y="92"/>
              </a:cxn>
              <a:cxn ang="0">
                <a:pos x="304" y="90"/>
              </a:cxn>
              <a:cxn ang="0">
                <a:pos x="294" y="106"/>
              </a:cxn>
              <a:cxn ang="0">
                <a:pos x="280" y="116"/>
              </a:cxn>
              <a:cxn ang="0">
                <a:pos x="266" y="128"/>
              </a:cxn>
              <a:cxn ang="0">
                <a:pos x="258" y="146"/>
              </a:cxn>
              <a:cxn ang="0">
                <a:pos x="262" y="164"/>
              </a:cxn>
              <a:cxn ang="0">
                <a:pos x="254" y="186"/>
              </a:cxn>
              <a:cxn ang="0">
                <a:pos x="260" y="190"/>
              </a:cxn>
              <a:cxn ang="0">
                <a:pos x="270" y="202"/>
              </a:cxn>
              <a:cxn ang="0">
                <a:pos x="254" y="202"/>
              </a:cxn>
              <a:cxn ang="0">
                <a:pos x="250" y="192"/>
              </a:cxn>
              <a:cxn ang="0">
                <a:pos x="236" y="202"/>
              </a:cxn>
              <a:cxn ang="0">
                <a:pos x="232" y="210"/>
              </a:cxn>
              <a:cxn ang="0">
                <a:pos x="216" y="216"/>
              </a:cxn>
              <a:cxn ang="0">
                <a:pos x="220" y="226"/>
              </a:cxn>
              <a:cxn ang="0">
                <a:pos x="204" y="230"/>
              </a:cxn>
              <a:cxn ang="0">
                <a:pos x="190" y="234"/>
              </a:cxn>
              <a:cxn ang="0">
                <a:pos x="182" y="232"/>
              </a:cxn>
              <a:cxn ang="0">
                <a:pos x="170" y="236"/>
              </a:cxn>
              <a:cxn ang="0">
                <a:pos x="152" y="238"/>
              </a:cxn>
              <a:cxn ang="0">
                <a:pos x="146" y="222"/>
              </a:cxn>
              <a:cxn ang="0">
                <a:pos x="136" y="212"/>
              </a:cxn>
              <a:cxn ang="0">
                <a:pos x="110" y="198"/>
              </a:cxn>
            </a:cxnLst>
            <a:rect l="0" t="0" r="r" b="b"/>
            <a:pathLst>
              <a:path w="306" h="238">
                <a:moveTo>
                  <a:pt x="106" y="202"/>
                </a:moveTo>
                <a:lnTo>
                  <a:pt x="102" y="198"/>
                </a:lnTo>
                <a:lnTo>
                  <a:pt x="100" y="196"/>
                </a:lnTo>
                <a:lnTo>
                  <a:pt x="100" y="194"/>
                </a:lnTo>
                <a:lnTo>
                  <a:pt x="100" y="192"/>
                </a:lnTo>
                <a:lnTo>
                  <a:pt x="100" y="188"/>
                </a:lnTo>
                <a:lnTo>
                  <a:pt x="100" y="174"/>
                </a:lnTo>
                <a:lnTo>
                  <a:pt x="100" y="170"/>
                </a:lnTo>
                <a:lnTo>
                  <a:pt x="104" y="166"/>
                </a:lnTo>
                <a:lnTo>
                  <a:pt x="106" y="162"/>
                </a:lnTo>
                <a:lnTo>
                  <a:pt x="106" y="160"/>
                </a:lnTo>
                <a:lnTo>
                  <a:pt x="104" y="156"/>
                </a:lnTo>
                <a:lnTo>
                  <a:pt x="104" y="154"/>
                </a:lnTo>
                <a:lnTo>
                  <a:pt x="96" y="150"/>
                </a:lnTo>
                <a:lnTo>
                  <a:pt x="94" y="150"/>
                </a:lnTo>
                <a:lnTo>
                  <a:pt x="92" y="150"/>
                </a:lnTo>
                <a:lnTo>
                  <a:pt x="90" y="142"/>
                </a:lnTo>
                <a:lnTo>
                  <a:pt x="84" y="140"/>
                </a:lnTo>
                <a:lnTo>
                  <a:pt x="72" y="142"/>
                </a:lnTo>
                <a:lnTo>
                  <a:pt x="68" y="142"/>
                </a:lnTo>
                <a:lnTo>
                  <a:pt x="66" y="144"/>
                </a:lnTo>
                <a:lnTo>
                  <a:pt x="64" y="146"/>
                </a:lnTo>
                <a:lnTo>
                  <a:pt x="62" y="146"/>
                </a:lnTo>
                <a:lnTo>
                  <a:pt x="42" y="138"/>
                </a:lnTo>
                <a:lnTo>
                  <a:pt x="38" y="134"/>
                </a:lnTo>
                <a:lnTo>
                  <a:pt x="34" y="132"/>
                </a:lnTo>
                <a:lnTo>
                  <a:pt x="26" y="128"/>
                </a:lnTo>
                <a:lnTo>
                  <a:pt x="22" y="126"/>
                </a:lnTo>
                <a:lnTo>
                  <a:pt x="20" y="128"/>
                </a:lnTo>
                <a:lnTo>
                  <a:pt x="18" y="128"/>
                </a:lnTo>
                <a:lnTo>
                  <a:pt x="18" y="130"/>
                </a:lnTo>
                <a:lnTo>
                  <a:pt x="18" y="126"/>
                </a:lnTo>
                <a:lnTo>
                  <a:pt x="14" y="110"/>
                </a:lnTo>
                <a:lnTo>
                  <a:pt x="12" y="100"/>
                </a:lnTo>
                <a:lnTo>
                  <a:pt x="8" y="90"/>
                </a:lnTo>
                <a:lnTo>
                  <a:pt x="6" y="88"/>
                </a:lnTo>
                <a:lnTo>
                  <a:pt x="4" y="86"/>
                </a:lnTo>
                <a:lnTo>
                  <a:pt x="2" y="82"/>
                </a:lnTo>
                <a:lnTo>
                  <a:pt x="2" y="72"/>
                </a:lnTo>
                <a:lnTo>
                  <a:pt x="2" y="70"/>
                </a:lnTo>
                <a:lnTo>
                  <a:pt x="2" y="66"/>
                </a:lnTo>
                <a:lnTo>
                  <a:pt x="2" y="62"/>
                </a:lnTo>
                <a:lnTo>
                  <a:pt x="0" y="56"/>
                </a:lnTo>
                <a:lnTo>
                  <a:pt x="0" y="54"/>
                </a:lnTo>
                <a:lnTo>
                  <a:pt x="2" y="54"/>
                </a:lnTo>
                <a:lnTo>
                  <a:pt x="4" y="54"/>
                </a:lnTo>
                <a:lnTo>
                  <a:pt x="6" y="54"/>
                </a:lnTo>
                <a:lnTo>
                  <a:pt x="8" y="54"/>
                </a:lnTo>
                <a:lnTo>
                  <a:pt x="10" y="52"/>
                </a:lnTo>
                <a:lnTo>
                  <a:pt x="10" y="48"/>
                </a:lnTo>
                <a:lnTo>
                  <a:pt x="10" y="46"/>
                </a:lnTo>
                <a:lnTo>
                  <a:pt x="10" y="44"/>
                </a:lnTo>
                <a:lnTo>
                  <a:pt x="14" y="38"/>
                </a:lnTo>
                <a:lnTo>
                  <a:pt x="16" y="38"/>
                </a:lnTo>
                <a:lnTo>
                  <a:pt x="18" y="38"/>
                </a:lnTo>
                <a:lnTo>
                  <a:pt x="24" y="32"/>
                </a:lnTo>
                <a:lnTo>
                  <a:pt x="34" y="30"/>
                </a:lnTo>
                <a:lnTo>
                  <a:pt x="42" y="24"/>
                </a:lnTo>
                <a:lnTo>
                  <a:pt x="48" y="20"/>
                </a:lnTo>
                <a:lnTo>
                  <a:pt x="50" y="18"/>
                </a:lnTo>
                <a:lnTo>
                  <a:pt x="54" y="18"/>
                </a:lnTo>
                <a:lnTo>
                  <a:pt x="62" y="18"/>
                </a:lnTo>
                <a:lnTo>
                  <a:pt x="70" y="18"/>
                </a:lnTo>
                <a:lnTo>
                  <a:pt x="72" y="18"/>
                </a:lnTo>
                <a:lnTo>
                  <a:pt x="74" y="18"/>
                </a:lnTo>
                <a:lnTo>
                  <a:pt x="76" y="18"/>
                </a:lnTo>
                <a:lnTo>
                  <a:pt x="78" y="18"/>
                </a:lnTo>
                <a:lnTo>
                  <a:pt x="80" y="20"/>
                </a:lnTo>
                <a:lnTo>
                  <a:pt x="80" y="22"/>
                </a:lnTo>
                <a:lnTo>
                  <a:pt x="82" y="22"/>
                </a:lnTo>
                <a:lnTo>
                  <a:pt x="88" y="18"/>
                </a:lnTo>
                <a:lnTo>
                  <a:pt x="90" y="18"/>
                </a:lnTo>
                <a:lnTo>
                  <a:pt x="92" y="16"/>
                </a:lnTo>
                <a:lnTo>
                  <a:pt x="92" y="14"/>
                </a:lnTo>
                <a:lnTo>
                  <a:pt x="94" y="14"/>
                </a:lnTo>
                <a:lnTo>
                  <a:pt x="96" y="16"/>
                </a:lnTo>
                <a:lnTo>
                  <a:pt x="96" y="18"/>
                </a:lnTo>
                <a:lnTo>
                  <a:pt x="98" y="20"/>
                </a:lnTo>
                <a:lnTo>
                  <a:pt x="100" y="22"/>
                </a:lnTo>
                <a:lnTo>
                  <a:pt x="104" y="24"/>
                </a:lnTo>
                <a:lnTo>
                  <a:pt x="104" y="22"/>
                </a:lnTo>
                <a:lnTo>
                  <a:pt x="106" y="18"/>
                </a:lnTo>
                <a:lnTo>
                  <a:pt x="112" y="16"/>
                </a:lnTo>
                <a:lnTo>
                  <a:pt x="114" y="16"/>
                </a:lnTo>
                <a:lnTo>
                  <a:pt x="116" y="18"/>
                </a:lnTo>
                <a:lnTo>
                  <a:pt x="120" y="18"/>
                </a:lnTo>
                <a:lnTo>
                  <a:pt x="124" y="18"/>
                </a:lnTo>
                <a:lnTo>
                  <a:pt x="126" y="18"/>
                </a:lnTo>
                <a:lnTo>
                  <a:pt x="128" y="16"/>
                </a:lnTo>
                <a:lnTo>
                  <a:pt x="134" y="16"/>
                </a:lnTo>
                <a:lnTo>
                  <a:pt x="142" y="16"/>
                </a:lnTo>
                <a:lnTo>
                  <a:pt x="146" y="16"/>
                </a:lnTo>
                <a:lnTo>
                  <a:pt x="148" y="18"/>
                </a:lnTo>
                <a:lnTo>
                  <a:pt x="152" y="20"/>
                </a:lnTo>
                <a:lnTo>
                  <a:pt x="156" y="22"/>
                </a:lnTo>
                <a:lnTo>
                  <a:pt x="158" y="22"/>
                </a:lnTo>
                <a:lnTo>
                  <a:pt x="162" y="18"/>
                </a:lnTo>
                <a:lnTo>
                  <a:pt x="166" y="16"/>
                </a:lnTo>
                <a:lnTo>
                  <a:pt x="168" y="18"/>
                </a:lnTo>
                <a:lnTo>
                  <a:pt x="170" y="18"/>
                </a:lnTo>
                <a:lnTo>
                  <a:pt x="172" y="18"/>
                </a:lnTo>
                <a:lnTo>
                  <a:pt x="174" y="18"/>
                </a:lnTo>
                <a:lnTo>
                  <a:pt x="178" y="16"/>
                </a:lnTo>
                <a:lnTo>
                  <a:pt x="178" y="14"/>
                </a:lnTo>
                <a:lnTo>
                  <a:pt x="182" y="10"/>
                </a:lnTo>
                <a:lnTo>
                  <a:pt x="192" y="0"/>
                </a:lnTo>
                <a:lnTo>
                  <a:pt x="194" y="0"/>
                </a:lnTo>
                <a:lnTo>
                  <a:pt x="196" y="4"/>
                </a:lnTo>
                <a:lnTo>
                  <a:pt x="196" y="6"/>
                </a:lnTo>
                <a:lnTo>
                  <a:pt x="198" y="8"/>
                </a:lnTo>
                <a:lnTo>
                  <a:pt x="198" y="10"/>
                </a:lnTo>
                <a:lnTo>
                  <a:pt x="200" y="14"/>
                </a:lnTo>
                <a:lnTo>
                  <a:pt x="204" y="20"/>
                </a:lnTo>
                <a:lnTo>
                  <a:pt x="206" y="22"/>
                </a:lnTo>
                <a:lnTo>
                  <a:pt x="208" y="22"/>
                </a:lnTo>
                <a:lnTo>
                  <a:pt x="210" y="22"/>
                </a:lnTo>
                <a:lnTo>
                  <a:pt x="214" y="22"/>
                </a:lnTo>
                <a:lnTo>
                  <a:pt x="218" y="22"/>
                </a:lnTo>
                <a:lnTo>
                  <a:pt x="224" y="22"/>
                </a:lnTo>
                <a:lnTo>
                  <a:pt x="232" y="22"/>
                </a:lnTo>
                <a:lnTo>
                  <a:pt x="238" y="26"/>
                </a:lnTo>
                <a:lnTo>
                  <a:pt x="248" y="34"/>
                </a:lnTo>
                <a:lnTo>
                  <a:pt x="252" y="36"/>
                </a:lnTo>
                <a:lnTo>
                  <a:pt x="256" y="36"/>
                </a:lnTo>
                <a:lnTo>
                  <a:pt x="258" y="38"/>
                </a:lnTo>
                <a:lnTo>
                  <a:pt x="266" y="44"/>
                </a:lnTo>
                <a:lnTo>
                  <a:pt x="268" y="46"/>
                </a:lnTo>
                <a:lnTo>
                  <a:pt x="270" y="48"/>
                </a:lnTo>
                <a:lnTo>
                  <a:pt x="272" y="52"/>
                </a:lnTo>
                <a:lnTo>
                  <a:pt x="274" y="54"/>
                </a:lnTo>
                <a:lnTo>
                  <a:pt x="276" y="54"/>
                </a:lnTo>
                <a:lnTo>
                  <a:pt x="278" y="56"/>
                </a:lnTo>
                <a:lnTo>
                  <a:pt x="286" y="58"/>
                </a:lnTo>
                <a:lnTo>
                  <a:pt x="290" y="58"/>
                </a:lnTo>
                <a:lnTo>
                  <a:pt x="292" y="60"/>
                </a:lnTo>
                <a:lnTo>
                  <a:pt x="292" y="64"/>
                </a:lnTo>
                <a:lnTo>
                  <a:pt x="290" y="80"/>
                </a:lnTo>
                <a:lnTo>
                  <a:pt x="288" y="90"/>
                </a:lnTo>
                <a:lnTo>
                  <a:pt x="290" y="90"/>
                </a:lnTo>
                <a:lnTo>
                  <a:pt x="292" y="92"/>
                </a:lnTo>
                <a:lnTo>
                  <a:pt x="294" y="92"/>
                </a:lnTo>
                <a:lnTo>
                  <a:pt x="296" y="88"/>
                </a:lnTo>
                <a:lnTo>
                  <a:pt x="298" y="88"/>
                </a:lnTo>
                <a:lnTo>
                  <a:pt x="304" y="90"/>
                </a:lnTo>
                <a:lnTo>
                  <a:pt x="306" y="92"/>
                </a:lnTo>
                <a:lnTo>
                  <a:pt x="306" y="94"/>
                </a:lnTo>
                <a:lnTo>
                  <a:pt x="300" y="102"/>
                </a:lnTo>
                <a:lnTo>
                  <a:pt x="294" y="106"/>
                </a:lnTo>
                <a:lnTo>
                  <a:pt x="292" y="106"/>
                </a:lnTo>
                <a:lnTo>
                  <a:pt x="282" y="108"/>
                </a:lnTo>
                <a:lnTo>
                  <a:pt x="280" y="112"/>
                </a:lnTo>
                <a:lnTo>
                  <a:pt x="280" y="116"/>
                </a:lnTo>
                <a:lnTo>
                  <a:pt x="280" y="120"/>
                </a:lnTo>
                <a:lnTo>
                  <a:pt x="278" y="124"/>
                </a:lnTo>
                <a:lnTo>
                  <a:pt x="274" y="126"/>
                </a:lnTo>
                <a:lnTo>
                  <a:pt x="266" y="128"/>
                </a:lnTo>
                <a:lnTo>
                  <a:pt x="264" y="128"/>
                </a:lnTo>
                <a:lnTo>
                  <a:pt x="262" y="130"/>
                </a:lnTo>
                <a:lnTo>
                  <a:pt x="260" y="138"/>
                </a:lnTo>
                <a:lnTo>
                  <a:pt x="258" y="146"/>
                </a:lnTo>
                <a:lnTo>
                  <a:pt x="258" y="156"/>
                </a:lnTo>
                <a:lnTo>
                  <a:pt x="260" y="158"/>
                </a:lnTo>
                <a:lnTo>
                  <a:pt x="262" y="162"/>
                </a:lnTo>
                <a:lnTo>
                  <a:pt x="262" y="164"/>
                </a:lnTo>
                <a:lnTo>
                  <a:pt x="262" y="166"/>
                </a:lnTo>
                <a:lnTo>
                  <a:pt x="260" y="168"/>
                </a:lnTo>
                <a:lnTo>
                  <a:pt x="258" y="170"/>
                </a:lnTo>
                <a:lnTo>
                  <a:pt x="254" y="186"/>
                </a:lnTo>
                <a:lnTo>
                  <a:pt x="254" y="188"/>
                </a:lnTo>
                <a:lnTo>
                  <a:pt x="256" y="190"/>
                </a:lnTo>
                <a:lnTo>
                  <a:pt x="258" y="190"/>
                </a:lnTo>
                <a:lnTo>
                  <a:pt x="260" y="190"/>
                </a:lnTo>
                <a:lnTo>
                  <a:pt x="262" y="188"/>
                </a:lnTo>
                <a:lnTo>
                  <a:pt x="262" y="186"/>
                </a:lnTo>
                <a:lnTo>
                  <a:pt x="270" y="194"/>
                </a:lnTo>
                <a:lnTo>
                  <a:pt x="270" y="202"/>
                </a:lnTo>
                <a:lnTo>
                  <a:pt x="268" y="202"/>
                </a:lnTo>
                <a:lnTo>
                  <a:pt x="262" y="206"/>
                </a:lnTo>
                <a:lnTo>
                  <a:pt x="256" y="206"/>
                </a:lnTo>
                <a:lnTo>
                  <a:pt x="254" y="202"/>
                </a:lnTo>
                <a:lnTo>
                  <a:pt x="256" y="200"/>
                </a:lnTo>
                <a:lnTo>
                  <a:pt x="256" y="196"/>
                </a:lnTo>
                <a:lnTo>
                  <a:pt x="252" y="190"/>
                </a:lnTo>
                <a:lnTo>
                  <a:pt x="250" y="192"/>
                </a:lnTo>
                <a:lnTo>
                  <a:pt x="248" y="194"/>
                </a:lnTo>
                <a:lnTo>
                  <a:pt x="246" y="196"/>
                </a:lnTo>
                <a:lnTo>
                  <a:pt x="244" y="198"/>
                </a:lnTo>
                <a:lnTo>
                  <a:pt x="236" y="202"/>
                </a:lnTo>
                <a:lnTo>
                  <a:pt x="236" y="204"/>
                </a:lnTo>
                <a:lnTo>
                  <a:pt x="236" y="206"/>
                </a:lnTo>
                <a:lnTo>
                  <a:pt x="232" y="208"/>
                </a:lnTo>
                <a:lnTo>
                  <a:pt x="232" y="210"/>
                </a:lnTo>
                <a:lnTo>
                  <a:pt x="228" y="210"/>
                </a:lnTo>
                <a:lnTo>
                  <a:pt x="226" y="208"/>
                </a:lnTo>
                <a:lnTo>
                  <a:pt x="220" y="210"/>
                </a:lnTo>
                <a:lnTo>
                  <a:pt x="216" y="216"/>
                </a:lnTo>
                <a:lnTo>
                  <a:pt x="218" y="218"/>
                </a:lnTo>
                <a:lnTo>
                  <a:pt x="220" y="220"/>
                </a:lnTo>
                <a:lnTo>
                  <a:pt x="220" y="222"/>
                </a:lnTo>
                <a:lnTo>
                  <a:pt x="220" y="226"/>
                </a:lnTo>
                <a:lnTo>
                  <a:pt x="214" y="228"/>
                </a:lnTo>
                <a:lnTo>
                  <a:pt x="212" y="224"/>
                </a:lnTo>
                <a:lnTo>
                  <a:pt x="208" y="226"/>
                </a:lnTo>
                <a:lnTo>
                  <a:pt x="204" y="230"/>
                </a:lnTo>
                <a:lnTo>
                  <a:pt x="200" y="234"/>
                </a:lnTo>
                <a:lnTo>
                  <a:pt x="198" y="236"/>
                </a:lnTo>
                <a:lnTo>
                  <a:pt x="190" y="236"/>
                </a:lnTo>
                <a:lnTo>
                  <a:pt x="190" y="234"/>
                </a:lnTo>
                <a:lnTo>
                  <a:pt x="188" y="232"/>
                </a:lnTo>
                <a:lnTo>
                  <a:pt x="186" y="232"/>
                </a:lnTo>
                <a:lnTo>
                  <a:pt x="184" y="232"/>
                </a:lnTo>
                <a:lnTo>
                  <a:pt x="182" y="232"/>
                </a:lnTo>
                <a:lnTo>
                  <a:pt x="180" y="234"/>
                </a:lnTo>
                <a:lnTo>
                  <a:pt x="176" y="236"/>
                </a:lnTo>
                <a:lnTo>
                  <a:pt x="174" y="236"/>
                </a:lnTo>
                <a:lnTo>
                  <a:pt x="170" y="236"/>
                </a:lnTo>
                <a:lnTo>
                  <a:pt x="164" y="236"/>
                </a:lnTo>
                <a:lnTo>
                  <a:pt x="160" y="238"/>
                </a:lnTo>
                <a:lnTo>
                  <a:pt x="154" y="238"/>
                </a:lnTo>
                <a:lnTo>
                  <a:pt x="152" y="238"/>
                </a:lnTo>
                <a:lnTo>
                  <a:pt x="150" y="238"/>
                </a:lnTo>
                <a:lnTo>
                  <a:pt x="150" y="236"/>
                </a:lnTo>
                <a:lnTo>
                  <a:pt x="148" y="228"/>
                </a:lnTo>
                <a:lnTo>
                  <a:pt x="146" y="222"/>
                </a:lnTo>
                <a:lnTo>
                  <a:pt x="146" y="220"/>
                </a:lnTo>
                <a:lnTo>
                  <a:pt x="144" y="216"/>
                </a:lnTo>
                <a:lnTo>
                  <a:pt x="138" y="212"/>
                </a:lnTo>
                <a:lnTo>
                  <a:pt x="136" y="212"/>
                </a:lnTo>
                <a:lnTo>
                  <a:pt x="130" y="208"/>
                </a:lnTo>
                <a:lnTo>
                  <a:pt x="124" y="208"/>
                </a:lnTo>
                <a:lnTo>
                  <a:pt x="118" y="200"/>
                </a:lnTo>
                <a:lnTo>
                  <a:pt x="110" y="198"/>
                </a:lnTo>
                <a:lnTo>
                  <a:pt x="108" y="198"/>
                </a:lnTo>
                <a:lnTo>
                  <a:pt x="108" y="200"/>
                </a:lnTo>
                <a:lnTo>
                  <a:pt x="106" y="20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80" name="Group 2822"/>
          <p:cNvGrpSpPr>
            <a:grpSpLocks/>
          </p:cNvGrpSpPr>
          <p:nvPr/>
        </p:nvGrpSpPr>
        <p:grpSpPr bwMode="auto">
          <a:xfrm>
            <a:off x="4742407" y="3446397"/>
            <a:ext cx="543473" cy="437142"/>
            <a:chOff x="2278" y="1544"/>
            <a:chExt cx="368" cy="296"/>
          </a:xfrm>
          <a:solidFill>
            <a:srgbClr val="B9B9B9"/>
          </a:solidFill>
        </p:grpSpPr>
        <p:sp>
          <p:nvSpPr>
            <p:cNvPr id="670" name="Freeform 2606"/>
            <p:cNvSpPr>
              <a:spLocks/>
            </p:cNvSpPr>
            <p:nvPr/>
          </p:nvSpPr>
          <p:spPr bwMode="auto">
            <a:xfrm>
              <a:off x="2296" y="1544"/>
              <a:ext cx="128" cy="100"/>
            </a:xfrm>
            <a:custGeom>
              <a:avLst/>
              <a:gdLst/>
              <a:ahLst/>
              <a:cxnLst>
                <a:cxn ang="0">
                  <a:pos x="10" y="92"/>
                </a:cxn>
                <a:cxn ang="0">
                  <a:pos x="14" y="92"/>
                </a:cxn>
                <a:cxn ang="0">
                  <a:pos x="18" y="96"/>
                </a:cxn>
                <a:cxn ang="0">
                  <a:pos x="14" y="100"/>
                </a:cxn>
                <a:cxn ang="0">
                  <a:pos x="10" y="94"/>
                </a:cxn>
                <a:cxn ang="0">
                  <a:pos x="6" y="92"/>
                </a:cxn>
                <a:cxn ang="0">
                  <a:pos x="0" y="84"/>
                </a:cxn>
                <a:cxn ang="0">
                  <a:pos x="2" y="78"/>
                </a:cxn>
                <a:cxn ang="0">
                  <a:pos x="4" y="74"/>
                </a:cxn>
                <a:cxn ang="0">
                  <a:pos x="8" y="66"/>
                </a:cxn>
                <a:cxn ang="0">
                  <a:pos x="20" y="54"/>
                </a:cxn>
                <a:cxn ang="0">
                  <a:pos x="24" y="52"/>
                </a:cxn>
                <a:cxn ang="0">
                  <a:pos x="28" y="54"/>
                </a:cxn>
                <a:cxn ang="0">
                  <a:pos x="32" y="54"/>
                </a:cxn>
                <a:cxn ang="0">
                  <a:pos x="36" y="52"/>
                </a:cxn>
                <a:cxn ang="0">
                  <a:pos x="46" y="52"/>
                </a:cxn>
                <a:cxn ang="0">
                  <a:pos x="54" y="52"/>
                </a:cxn>
                <a:cxn ang="0">
                  <a:pos x="64" y="50"/>
                </a:cxn>
                <a:cxn ang="0">
                  <a:pos x="70" y="46"/>
                </a:cxn>
                <a:cxn ang="0">
                  <a:pos x="76" y="38"/>
                </a:cxn>
                <a:cxn ang="0">
                  <a:pos x="80" y="32"/>
                </a:cxn>
                <a:cxn ang="0">
                  <a:pos x="84" y="26"/>
                </a:cxn>
                <a:cxn ang="0">
                  <a:pos x="94" y="14"/>
                </a:cxn>
                <a:cxn ang="0">
                  <a:pos x="100" y="14"/>
                </a:cxn>
                <a:cxn ang="0">
                  <a:pos x="104" y="14"/>
                </a:cxn>
                <a:cxn ang="0">
                  <a:pos x="108" y="12"/>
                </a:cxn>
                <a:cxn ang="0">
                  <a:pos x="118" y="4"/>
                </a:cxn>
                <a:cxn ang="0">
                  <a:pos x="122" y="2"/>
                </a:cxn>
                <a:cxn ang="0">
                  <a:pos x="124" y="2"/>
                </a:cxn>
                <a:cxn ang="0">
                  <a:pos x="126" y="4"/>
                </a:cxn>
                <a:cxn ang="0">
                  <a:pos x="120" y="6"/>
                </a:cxn>
                <a:cxn ang="0">
                  <a:pos x="118" y="10"/>
                </a:cxn>
                <a:cxn ang="0">
                  <a:pos x="116" y="14"/>
                </a:cxn>
                <a:cxn ang="0">
                  <a:pos x="116" y="18"/>
                </a:cxn>
                <a:cxn ang="0">
                  <a:pos x="120" y="32"/>
                </a:cxn>
                <a:cxn ang="0">
                  <a:pos x="114" y="52"/>
                </a:cxn>
                <a:cxn ang="0">
                  <a:pos x="108" y="70"/>
                </a:cxn>
                <a:cxn ang="0">
                  <a:pos x="100" y="68"/>
                </a:cxn>
                <a:cxn ang="0">
                  <a:pos x="96" y="64"/>
                </a:cxn>
                <a:cxn ang="0">
                  <a:pos x="66" y="62"/>
                </a:cxn>
                <a:cxn ang="0">
                  <a:pos x="52" y="66"/>
                </a:cxn>
                <a:cxn ang="0">
                  <a:pos x="50" y="62"/>
                </a:cxn>
                <a:cxn ang="0">
                  <a:pos x="48" y="60"/>
                </a:cxn>
                <a:cxn ang="0">
                  <a:pos x="46" y="62"/>
                </a:cxn>
                <a:cxn ang="0">
                  <a:pos x="34" y="64"/>
                </a:cxn>
                <a:cxn ang="0">
                  <a:pos x="28" y="68"/>
                </a:cxn>
                <a:cxn ang="0">
                  <a:pos x="24" y="68"/>
                </a:cxn>
                <a:cxn ang="0">
                  <a:pos x="20" y="76"/>
                </a:cxn>
                <a:cxn ang="0">
                  <a:pos x="16" y="80"/>
                </a:cxn>
                <a:cxn ang="0">
                  <a:pos x="12" y="82"/>
                </a:cxn>
                <a:cxn ang="0">
                  <a:pos x="8" y="92"/>
                </a:cxn>
              </a:cxnLst>
              <a:rect l="0" t="0" r="r" b="b"/>
              <a:pathLst>
                <a:path w="128" h="100">
                  <a:moveTo>
                    <a:pt x="8" y="92"/>
                  </a:moveTo>
                  <a:lnTo>
                    <a:pt x="10" y="92"/>
                  </a:lnTo>
                  <a:lnTo>
                    <a:pt x="12" y="92"/>
                  </a:lnTo>
                  <a:lnTo>
                    <a:pt x="14" y="92"/>
                  </a:lnTo>
                  <a:lnTo>
                    <a:pt x="16" y="92"/>
                  </a:lnTo>
                  <a:lnTo>
                    <a:pt x="18" y="96"/>
                  </a:lnTo>
                  <a:lnTo>
                    <a:pt x="18" y="98"/>
                  </a:lnTo>
                  <a:lnTo>
                    <a:pt x="14" y="100"/>
                  </a:lnTo>
                  <a:lnTo>
                    <a:pt x="10" y="96"/>
                  </a:lnTo>
                  <a:lnTo>
                    <a:pt x="10" y="94"/>
                  </a:lnTo>
                  <a:lnTo>
                    <a:pt x="8" y="92"/>
                  </a:lnTo>
                  <a:lnTo>
                    <a:pt x="6" y="92"/>
                  </a:lnTo>
                  <a:lnTo>
                    <a:pt x="0" y="88"/>
                  </a:lnTo>
                  <a:lnTo>
                    <a:pt x="0" y="84"/>
                  </a:lnTo>
                  <a:lnTo>
                    <a:pt x="0" y="82"/>
                  </a:lnTo>
                  <a:lnTo>
                    <a:pt x="2" y="78"/>
                  </a:lnTo>
                  <a:lnTo>
                    <a:pt x="2" y="76"/>
                  </a:lnTo>
                  <a:lnTo>
                    <a:pt x="4" y="74"/>
                  </a:lnTo>
                  <a:lnTo>
                    <a:pt x="6" y="70"/>
                  </a:lnTo>
                  <a:lnTo>
                    <a:pt x="8" y="66"/>
                  </a:lnTo>
                  <a:lnTo>
                    <a:pt x="12" y="62"/>
                  </a:lnTo>
                  <a:lnTo>
                    <a:pt x="20" y="54"/>
                  </a:lnTo>
                  <a:lnTo>
                    <a:pt x="22" y="52"/>
                  </a:lnTo>
                  <a:lnTo>
                    <a:pt x="24" y="52"/>
                  </a:lnTo>
                  <a:lnTo>
                    <a:pt x="26" y="54"/>
                  </a:lnTo>
                  <a:lnTo>
                    <a:pt x="28" y="54"/>
                  </a:lnTo>
                  <a:lnTo>
                    <a:pt x="30" y="54"/>
                  </a:lnTo>
                  <a:lnTo>
                    <a:pt x="32" y="54"/>
                  </a:lnTo>
                  <a:lnTo>
                    <a:pt x="34" y="54"/>
                  </a:lnTo>
                  <a:lnTo>
                    <a:pt x="36" y="52"/>
                  </a:lnTo>
                  <a:lnTo>
                    <a:pt x="42" y="50"/>
                  </a:lnTo>
                  <a:lnTo>
                    <a:pt x="46" y="52"/>
                  </a:lnTo>
                  <a:lnTo>
                    <a:pt x="50" y="52"/>
                  </a:lnTo>
                  <a:lnTo>
                    <a:pt x="54" y="52"/>
                  </a:lnTo>
                  <a:lnTo>
                    <a:pt x="62" y="52"/>
                  </a:lnTo>
                  <a:lnTo>
                    <a:pt x="64" y="50"/>
                  </a:lnTo>
                  <a:lnTo>
                    <a:pt x="66" y="48"/>
                  </a:lnTo>
                  <a:lnTo>
                    <a:pt x="70" y="46"/>
                  </a:lnTo>
                  <a:lnTo>
                    <a:pt x="72" y="44"/>
                  </a:lnTo>
                  <a:lnTo>
                    <a:pt x="76" y="38"/>
                  </a:lnTo>
                  <a:lnTo>
                    <a:pt x="78" y="34"/>
                  </a:lnTo>
                  <a:lnTo>
                    <a:pt x="80" y="32"/>
                  </a:lnTo>
                  <a:lnTo>
                    <a:pt x="82" y="26"/>
                  </a:lnTo>
                  <a:lnTo>
                    <a:pt x="84" y="26"/>
                  </a:lnTo>
                  <a:lnTo>
                    <a:pt x="92" y="14"/>
                  </a:lnTo>
                  <a:lnTo>
                    <a:pt x="94" y="14"/>
                  </a:lnTo>
                  <a:lnTo>
                    <a:pt x="96" y="14"/>
                  </a:lnTo>
                  <a:lnTo>
                    <a:pt x="100" y="14"/>
                  </a:lnTo>
                  <a:lnTo>
                    <a:pt x="102" y="14"/>
                  </a:lnTo>
                  <a:lnTo>
                    <a:pt x="104" y="14"/>
                  </a:lnTo>
                  <a:lnTo>
                    <a:pt x="104" y="12"/>
                  </a:lnTo>
                  <a:lnTo>
                    <a:pt x="108" y="12"/>
                  </a:lnTo>
                  <a:lnTo>
                    <a:pt x="116" y="8"/>
                  </a:lnTo>
                  <a:lnTo>
                    <a:pt x="118" y="4"/>
                  </a:lnTo>
                  <a:lnTo>
                    <a:pt x="120" y="4"/>
                  </a:lnTo>
                  <a:lnTo>
                    <a:pt x="122" y="2"/>
                  </a:lnTo>
                  <a:lnTo>
                    <a:pt x="124" y="0"/>
                  </a:lnTo>
                  <a:lnTo>
                    <a:pt x="124" y="2"/>
                  </a:lnTo>
                  <a:lnTo>
                    <a:pt x="128" y="2"/>
                  </a:lnTo>
                  <a:lnTo>
                    <a:pt x="126" y="4"/>
                  </a:lnTo>
                  <a:lnTo>
                    <a:pt x="124" y="4"/>
                  </a:lnTo>
                  <a:lnTo>
                    <a:pt x="120" y="6"/>
                  </a:lnTo>
                  <a:lnTo>
                    <a:pt x="120" y="8"/>
                  </a:lnTo>
                  <a:lnTo>
                    <a:pt x="118" y="10"/>
                  </a:lnTo>
                  <a:lnTo>
                    <a:pt x="116" y="12"/>
                  </a:lnTo>
                  <a:lnTo>
                    <a:pt x="116" y="14"/>
                  </a:lnTo>
                  <a:lnTo>
                    <a:pt x="116" y="16"/>
                  </a:lnTo>
                  <a:lnTo>
                    <a:pt x="116" y="18"/>
                  </a:lnTo>
                  <a:lnTo>
                    <a:pt x="116" y="20"/>
                  </a:lnTo>
                  <a:lnTo>
                    <a:pt x="120" y="32"/>
                  </a:lnTo>
                  <a:lnTo>
                    <a:pt x="118" y="50"/>
                  </a:lnTo>
                  <a:lnTo>
                    <a:pt x="114" y="52"/>
                  </a:lnTo>
                  <a:lnTo>
                    <a:pt x="112" y="56"/>
                  </a:lnTo>
                  <a:lnTo>
                    <a:pt x="108" y="70"/>
                  </a:lnTo>
                  <a:lnTo>
                    <a:pt x="102" y="70"/>
                  </a:lnTo>
                  <a:lnTo>
                    <a:pt x="100" y="68"/>
                  </a:lnTo>
                  <a:lnTo>
                    <a:pt x="98" y="66"/>
                  </a:lnTo>
                  <a:lnTo>
                    <a:pt x="96" y="64"/>
                  </a:lnTo>
                  <a:lnTo>
                    <a:pt x="92" y="60"/>
                  </a:lnTo>
                  <a:lnTo>
                    <a:pt x="66" y="62"/>
                  </a:lnTo>
                  <a:lnTo>
                    <a:pt x="54" y="66"/>
                  </a:lnTo>
                  <a:lnTo>
                    <a:pt x="52" y="66"/>
                  </a:lnTo>
                  <a:lnTo>
                    <a:pt x="50" y="64"/>
                  </a:lnTo>
                  <a:lnTo>
                    <a:pt x="50" y="62"/>
                  </a:lnTo>
                  <a:lnTo>
                    <a:pt x="48" y="62"/>
                  </a:lnTo>
                  <a:lnTo>
                    <a:pt x="48" y="60"/>
                  </a:lnTo>
                  <a:lnTo>
                    <a:pt x="46" y="60"/>
                  </a:lnTo>
                  <a:lnTo>
                    <a:pt x="46" y="62"/>
                  </a:lnTo>
                  <a:lnTo>
                    <a:pt x="42" y="62"/>
                  </a:lnTo>
                  <a:lnTo>
                    <a:pt x="34" y="64"/>
                  </a:lnTo>
                  <a:lnTo>
                    <a:pt x="32" y="66"/>
                  </a:lnTo>
                  <a:lnTo>
                    <a:pt x="28" y="68"/>
                  </a:lnTo>
                  <a:lnTo>
                    <a:pt x="26" y="66"/>
                  </a:lnTo>
                  <a:lnTo>
                    <a:pt x="24" y="68"/>
                  </a:lnTo>
                  <a:lnTo>
                    <a:pt x="20" y="74"/>
                  </a:lnTo>
                  <a:lnTo>
                    <a:pt x="20" y="76"/>
                  </a:lnTo>
                  <a:lnTo>
                    <a:pt x="18" y="78"/>
                  </a:lnTo>
                  <a:lnTo>
                    <a:pt x="16" y="80"/>
                  </a:lnTo>
                  <a:lnTo>
                    <a:pt x="14" y="80"/>
                  </a:lnTo>
                  <a:lnTo>
                    <a:pt x="12" y="82"/>
                  </a:lnTo>
                  <a:lnTo>
                    <a:pt x="10" y="90"/>
                  </a:lnTo>
                  <a:lnTo>
                    <a:pt x="8" y="9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1" name="Freeform 2607"/>
            <p:cNvSpPr>
              <a:spLocks/>
            </p:cNvSpPr>
            <p:nvPr/>
          </p:nvSpPr>
          <p:spPr bwMode="auto">
            <a:xfrm>
              <a:off x="2432" y="1586"/>
              <a:ext cx="16" cy="8"/>
            </a:xfrm>
            <a:custGeom>
              <a:avLst/>
              <a:gdLst/>
              <a:ahLst/>
              <a:cxnLst>
                <a:cxn ang="0">
                  <a:pos x="6" y="8"/>
                </a:cxn>
                <a:cxn ang="0">
                  <a:pos x="4" y="8"/>
                </a:cxn>
                <a:cxn ang="0">
                  <a:pos x="4" y="6"/>
                </a:cxn>
                <a:cxn ang="0">
                  <a:pos x="2" y="6"/>
                </a:cxn>
                <a:cxn ang="0">
                  <a:pos x="0" y="6"/>
                </a:cxn>
                <a:cxn ang="0">
                  <a:pos x="0" y="4"/>
                </a:cxn>
                <a:cxn ang="0">
                  <a:pos x="2" y="0"/>
                </a:cxn>
                <a:cxn ang="0">
                  <a:pos x="8" y="0"/>
                </a:cxn>
                <a:cxn ang="0">
                  <a:pos x="14" y="0"/>
                </a:cxn>
                <a:cxn ang="0">
                  <a:pos x="16" y="0"/>
                </a:cxn>
                <a:cxn ang="0">
                  <a:pos x="10" y="6"/>
                </a:cxn>
                <a:cxn ang="0">
                  <a:pos x="10" y="8"/>
                </a:cxn>
                <a:cxn ang="0">
                  <a:pos x="8" y="8"/>
                </a:cxn>
                <a:cxn ang="0">
                  <a:pos x="6" y="8"/>
                </a:cxn>
              </a:cxnLst>
              <a:rect l="0" t="0" r="r" b="b"/>
              <a:pathLst>
                <a:path w="16" h="8">
                  <a:moveTo>
                    <a:pt x="6" y="8"/>
                  </a:moveTo>
                  <a:lnTo>
                    <a:pt x="4" y="8"/>
                  </a:lnTo>
                  <a:lnTo>
                    <a:pt x="4" y="6"/>
                  </a:lnTo>
                  <a:lnTo>
                    <a:pt x="2" y="6"/>
                  </a:lnTo>
                  <a:lnTo>
                    <a:pt x="0" y="6"/>
                  </a:lnTo>
                  <a:lnTo>
                    <a:pt x="0" y="4"/>
                  </a:lnTo>
                  <a:lnTo>
                    <a:pt x="2" y="0"/>
                  </a:lnTo>
                  <a:lnTo>
                    <a:pt x="8" y="0"/>
                  </a:lnTo>
                  <a:lnTo>
                    <a:pt x="14" y="0"/>
                  </a:lnTo>
                  <a:lnTo>
                    <a:pt x="16" y="0"/>
                  </a:lnTo>
                  <a:lnTo>
                    <a:pt x="10" y="6"/>
                  </a:lnTo>
                  <a:lnTo>
                    <a:pt x="10" y="8"/>
                  </a:lnTo>
                  <a:lnTo>
                    <a:pt x="8" y="8"/>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2" name="Freeform 2608"/>
            <p:cNvSpPr>
              <a:spLocks/>
            </p:cNvSpPr>
            <p:nvPr/>
          </p:nvSpPr>
          <p:spPr bwMode="auto">
            <a:xfrm>
              <a:off x="2278" y="1606"/>
              <a:ext cx="154" cy="204"/>
            </a:xfrm>
            <a:custGeom>
              <a:avLst/>
              <a:gdLst/>
              <a:ahLst/>
              <a:cxnLst>
                <a:cxn ang="0">
                  <a:pos x="6" y="100"/>
                </a:cxn>
                <a:cxn ang="0">
                  <a:pos x="6" y="94"/>
                </a:cxn>
                <a:cxn ang="0">
                  <a:pos x="6" y="108"/>
                </a:cxn>
                <a:cxn ang="0">
                  <a:pos x="18" y="98"/>
                </a:cxn>
                <a:cxn ang="0">
                  <a:pos x="12" y="82"/>
                </a:cxn>
                <a:cxn ang="0">
                  <a:pos x="4" y="88"/>
                </a:cxn>
                <a:cxn ang="0">
                  <a:pos x="10" y="50"/>
                </a:cxn>
                <a:cxn ang="0">
                  <a:pos x="16" y="28"/>
                </a:cxn>
                <a:cxn ang="0">
                  <a:pos x="16" y="32"/>
                </a:cxn>
                <a:cxn ang="0">
                  <a:pos x="26" y="38"/>
                </a:cxn>
                <a:cxn ang="0">
                  <a:pos x="36" y="50"/>
                </a:cxn>
                <a:cxn ang="0">
                  <a:pos x="40" y="36"/>
                </a:cxn>
                <a:cxn ang="0">
                  <a:pos x="60" y="20"/>
                </a:cxn>
                <a:cxn ang="0">
                  <a:pos x="58" y="40"/>
                </a:cxn>
                <a:cxn ang="0">
                  <a:pos x="64" y="38"/>
                </a:cxn>
                <a:cxn ang="0">
                  <a:pos x="68" y="42"/>
                </a:cxn>
                <a:cxn ang="0">
                  <a:pos x="72" y="44"/>
                </a:cxn>
                <a:cxn ang="0">
                  <a:pos x="70" y="32"/>
                </a:cxn>
                <a:cxn ang="0">
                  <a:pos x="74" y="4"/>
                </a:cxn>
                <a:cxn ang="0">
                  <a:pos x="84" y="2"/>
                </a:cxn>
                <a:cxn ang="0">
                  <a:pos x="100" y="0"/>
                </a:cxn>
                <a:cxn ang="0">
                  <a:pos x="114" y="4"/>
                </a:cxn>
                <a:cxn ang="0">
                  <a:pos x="124" y="8"/>
                </a:cxn>
                <a:cxn ang="0">
                  <a:pos x="122" y="26"/>
                </a:cxn>
                <a:cxn ang="0">
                  <a:pos x="100" y="38"/>
                </a:cxn>
                <a:cxn ang="0">
                  <a:pos x="116" y="34"/>
                </a:cxn>
                <a:cxn ang="0">
                  <a:pos x="124" y="40"/>
                </a:cxn>
                <a:cxn ang="0">
                  <a:pos x="116" y="48"/>
                </a:cxn>
                <a:cxn ang="0">
                  <a:pos x="118" y="48"/>
                </a:cxn>
                <a:cxn ang="0">
                  <a:pos x="130" y="52"/>
                </a:cxn>
                <a:cxn ang="0">
                  <a:pos x="144" y="50"/>
                </a:cxn>
                <a:cxn ang="0">
                  <a:pos x="154" y="60"/>
                </a:cxn>
                <a:cxn ang="0">
                  <a:pos x="138" y="82"/>
                </a:cxn>
                <a:cxn ang="0">
                  <a:pos x="134" y="80"/>
                </a:cxn>
                <a:cxn ang="0">
                  <a:pos x="122" y="84"/>
                </a:cxn>
                <a:cxn ang="0">
                  <a:pos x="130" y="74"/>
                </a:cxn>
                <a:cxn ang="0">
                  <a:pos x="114" y="86"/>
                </a:cxn>
                <a:cxn ang="0">
                  <a:pos x="114" y="106"/>
                </a:cxn>
                <a:cxn ang="0">
                  <a:pos x="106" y="108"/>
                </a:cxn>
                <a:cxn ang="0">
                  <a:pos x="94" y="112"/>
                </a:cxn>
                <a:cxn ang="0">
                  <a:pos x="102" y="114"/>
                </a:cxn>
                <a:cxn ang="0">
                  <a:pos x="92" y="128"/>
                </a:cxn>
                <a:cxn ang="0">
                  <a:pos x="82" y="122"/>
                </a:cxn>
                <a:cxn ang="0">
                  <a:pos x="82" y="124"/>
                </a:cxn>
                <a:cxn ang="0">
                  <a:pos x="76" y="150"/>
                </a:cxn>
                <a:cxn ang="0">
                  <a:pos x="80" y="162"/>
                </a:cxn>
                <a:cxn ang="0">
                  <a:pos x="78" y="172"/>
                </a:cxn>
                <a:cxn ang="0">
                  <a:pos x="68" y="176"/>
                </a:cxn>
                <a:cxn ang="0">
                  <a:pos x="82" y="190"/>
                </a:cxn>
                <a:cxn ang="0">
                  <a:pos x="74" y="202"/>
                </a:cxn>
                <a:cxn ang="0">
                  <a:pos x="74" y="194"/>
                </a:cxn>
                <a:cxn ang="0">
                  <a:pos x="62" y="202"/>
                </a:cxn>
                <a:cxn ang="0">
                  <a:pos x="54" y="200"/>
                </a:cxn>
                <a:cxn ang="0">
                  <a:pos x="34" y="192"/>
                </a:cxn>
                <a:cxn ang="0">
                  <a:pos x="26" y="194"/>
                </a:cxn>
                <a:cxn ang="0">
                  <a:pos x="20" y="176"/>
                </a:cxn>
                <a:cxn ang="0">
                  <a:pos x="16" y="166"/>
                </a:cxn>
                <a:cxn ang="0">
                  <a:pos x="20" y="170"/>
                </a:cxn>
                <a:cxn ang="0">
                  <a:pos x="28" y="170"/>
                </a:cxn>
                <a:cxn ang="0">
                  <a:pos x="28" y="148"/>
                </a:cxn>
                <a:cxn ang="0">
                  <a:pos x="18" y="142"/>
                </a:cxn>
                <a:cxn ang="0">
                  <a:pos x="2" y="126"/>
                </a:cxn>
              </a:cxnLst>
              <a:rect l="0" t="0" r="r" b="b"/>
              <a:pathLst>
                <a:path w="154" h="204">
                  <a:moveTo>
                    <a:pt x="6" y="114"/>
                  </a:moveTo>
                  <a:lnTo>
                    <a:pt x="6" y="112"/>
                  </a:lnTo>
                  <a:lnTo>
                    <a:pt x="6" y="104"/>
                  </a:lnTo>
                  <a:lnTo>
                    <a:pt x="6" y="100"/>
                  </a:lnTo>
                  <a:lnTo>
                    <a:pt x="6" y="96"/>
                  </a:lnTo>
                  <a:lnTo>
                    <a:pt x="6" y="94"/>
                  </a:lnTo>
                  <a:lnTo>
                    <a:pt x="6" y="92"/>
                  </a:lnTo>
                  <a:lnTo>
                    <a:pt x="6" y="94"/>
                  </a:lnTo>
                  <a:lnTo>
                    <a:pt x="6" y="98"/>
                  </a:lnTo>
                  <a:lnTo>
                    <a:pt x="6" y="100"/>
                  </a:lnTo>
                  <a:lnTo>
                    <a:pt x="6" y="104"/>
                  </a:lnTo>
                  <a:lnTo>
                    <a:pt x="6" y="108"/>
                  </a:lnTo>
                  <a:lnTo>
                    <a:pt x="12" y="106"/>
                  </a:lnTo>
                  <a:lnTo>
                    <a:pt x="14" y="104"/>
                  </a:lnTo>
                  <a:lnTo>
                    <a:pt x="18" y="100"/>
                  </a:lnTo>
                  <a:lnTo>
                    <a:pt x="18" y="98"/>
                  </a:lnTo>
                  <a:lnTo>
                    <a:pt x="16" y="90"/>
                  </a:lnTo>
                  <a:lnTo>
                    <a:pt x="16" y="86"/>
                  </a:lnTo>
                  <a:lnTo>
                    <a:pt x="14" y="84"/>
                  </a:lnTo>
                  <a:lnTo>
                    <a:pt x="12" y="82"/>
                  </a:lnTo>
                  <a:lnTo>
                    <a:pt x="6" y="80"/>
                  </a:lnTo>
                  <a:lnTo>
                    <a:pt x="6" y="84"/>
                  </a:lnTo>
                  <a:lnTo>
                    <a:pt x="6" y="90"/>
                  </a:lnTo>
                  <a:lnTo>
                    <a:pt x="4" y="88"/>
                  </a:lnTo>
                  <a:lnTo>
                    <a:pt x="4" y="84"/>
                  </a:lnTo>
                  <a:lnTo>
                    <a:pt x="6" y="78"/>
                  </a:lnTo>
                  <a:lnTo>
                    <a:pt x="8" y="58"/>
                  </a:lnTo>
                  <a:lnTo>
                    <a:pt x="10" y="50"/>
                  </a:lnTo>
                  <a:lnTo>
                    <a:pt x="10" y="40"/>
                  </a:lnTo>
                  <a:lnTo>
                    <a:pt x="12" y="32"/>
                  </a:lnTo>
                  <a:lnTo>
                    <a:pt x="14" y="30"/>
                  </a:lnTo>
                  <a:lnTo>
                    <a:pt x="16" y="28"/>
                  </a:lnTo>
                  <a:lnTo>
                    <a:pt x="16" y="26"/>
                  </a:lnTo>
                  <a:lnTo>
                    <a:pt x="18" y="28"/>
                  </a:lnTo>
                  <a:lnTo>
                    <a:pt x="16" y="30"/>
                  </a:lnTo>
                  <a:lnTo>
                    <a:pt x="16" y="32"/>
                  </a:lnTo>
                  <a:lnTo>
                    <a:pt x="18" y="36"/>
                  </a:lnTo>
                  <a:lnTo>
                    <a:pt x="20" y="38"/>
                  </a:lnTo>
                  <a:lnTo>
                    <a:pt x="24" y="38"/>
                  </a:lnTo>
                  <a:lnTo>
                    <a:pt x="26" y="38"/>
                  </a:lnTo>
                  <a:lnTo>
                    <a:pt x="28" y="40"/>
                  </a:lnTo>
                  <a:lnTo>
                    <a:pt x="30" y="42"/>
                  </a:lnTo>
                  <a:lnTo>
                    <a:pt x="34" y="46"/>
                  </a:lnTo>
                  <a:lnTo>
                    <a:pt x="36" y="50"/>
                  </a:lnTo>
                  <a:lnTo>
                    <a:pt x="40" y="48"/>
                  </a:lnTo>
                  <a:lnTo>
                    <a:pt x="42" y="42"/>
                  </a:lnTo>
                  <a:lnTo>
                    <a:pt x="40" y="38"/>
                  </a:lnTo>
                  <a:lnTo>
                    <a:pt x="40" y="36"/>
                  </a:lnTo>
                  <a:lnTo>
                    <a:pt x="48" y="26"/>
                  </a:lnTo>
                  <a:lnTo>
                    <a:pt x="50" y="24"/>
                  </a:lnTo>
                  <a:lnTo>
                    <a:pt x="54" y="20"/>
                  </a:lnTo>
                  <a:lnTo>
                    <a:pt x="60" y="20"/>
                  </a:lnTo>
                  <a:lnTo>
                    <a:pt x="62" y="22"/>
                  </a:lnTo>
                  <a:lnTo>
                    <a:pt x="64" y="30"/>
                  </a:lnTo>
                  <a:lnTo>
                    <a:pt x="58" y="36"/>
                  </a:lnTo>
                  <a:lnTo>
                    <a:pt x="58" y="40"/>
                  </a:lnTo>
                  <a:lnTo>
                    <a:pt x="58" y="42"/>
                  </a:lnTo>
                  <a:lnTo>
                    <a:pt x="60" y="42"/>
                  </a:lnTo>
                  <a:lnTo>
                    <a:pt x="60" y="38"/>
                  </a:lnTo>
                  <a:lnTo>
                    <a:pt x="64" y="38"/>
                  </a:lnTo>
                  <a:lnTo>
                    <a:pt x="66" y="36"/>
                  </a:lnTo>
                  <a:lnTo>
                    <a:pt x="68" y="38"/>
                  </a:lnTo>
                  <a:lnTo>
                    <a:pt x="70" y="38"/>
                  </a:lnTo>
                  <a:lnTo>
                    <a:pt x="68" y="42"/>
                  </a:lnTo>
                  <a:lnTo>
                    <a:pt x="68" y="44"/>
                  </a:lnTo>
                  <a:lnTo>
                    <a:pt x="70" y="46"/>
                  </a:lnTo>
                  <a:lnTo>
                    <a:pt x="74" y="44"/>
                  </a:lnTo>
                  <a:lnTo>
                    <a:pt x="72" y="44"/>
                  </a:lnTo>
                  <a:lnTo>
                    <a:pt x="72" y="34"/>
                  </a:lnTo>
                  <a:lnTo>
                    <a:pt x="72" y="32"/>
                  </a:lnTo>
                  <a:lnTo>
                    <a:pt x="72" y="30"/>
                  </a:lnTo>
                  <a:lnTo>
                    <a:pt x="70" y="32"/>
                  </a:lnTo>
                  <a:lnTo>
                    <a:pt x="64" y="34"/>
                  </a:lnTo>
                  <a:lnTo>
                    <a:pt x="66" y="12"/>
                  </a:lnTo>
                  <a:lnTo>
                    <a:pt x="66" y="10"/>
                  </a:lnTo>
                  <a:lnTo>
                    <a:pt x="74" y="4"/>
                  </a:lnTo>
                  <a:lnTo>
                    <a:pt x="76" y="2"/>
                  </a:lnTo>
                  <a:lnTo>
                    <a:pt x="80" y="2"/>
                  </a:lnTo>
                  <a:lnTo>
                    <a:pt x="82" y="2"/>
                  </a:lnTo>
                  <a:lnTo>
                    <a:pt x="84" y="2"/>
                  </a:lnTo>
                  <a:lnTo>
                    <a:pt x="86" y="4"/>
                  </a:lnTo>
                  <a:lnTo>
                    <a:pt x="94" y="0"/>
                  </a:lnTo>
                  <a:lnTo>
                    <a:pt x="98" y="0"/>
                  </a:lnTo>
                  <a:lnTo>
                    <a:pt x="100" y="0"/>
                  </a:lnTo>
                  <a:lnTo>
                    <a:pt x="102" y="0"/>
                  </a:lnTo>
                  <a:lnTo>
                    <a:pt x="106" y="0"/>
                  </a:lnTo>
                  <a:lnTo>
                    <a:pt x="108" y="0"/>
                  </a:lnTo>
                  <a:lnTo>
                    <a:pt x="114" y="4"/>
                  </a:lnTo>
                  <a:lnTo>
                    <a:pt x="116" y="6"/>
                  </a:lnTo>
                  <a:lnTo>
                    <a:pt x="118" y="8"/>
                  </a:lnTo>
                  <a:lnTo>
                    <a:pt x="120" y="8"/>
                  </a:lnTo>
                  <a:lnTo>
                    <a:pt x="124" y="8"/>
                  </a:lnTo>
                  <a:lnTo>
                    <a:pt x="122" y="10"/>
                  </a:lnTo>
                  <a:lnTo>
                    <a:pt x="122" y="14"/>
                  </a:lnTo>
                  <a:lnTo>
                    <a:pt x="122" y="22"/>
                  </a:lnTo>
                  <a:lnTo>
                    <a:pt x="122" y="26"/>
                  </a:lnTo>
                  <a:lnTo>
                    <a:pt x="122" y="30"/>
                  </a:lnTo>
                  <a:lnTo>
                    <a:pt x="118" y="32"/>
                  </a:lnTo>
                  <a:lnTo>
                    <a:pt x="114" y="32"/>
                  </a:lnTo>
                  <a:lnTo>
                    <a:pt x="100" y="38"/>
                  </a:lnTo>
                  <a:lnTo>
                    <a:pt x="102" y="38"/>
                  </a:lnTo>
                  <a:lnTo>
                    <a:pt x="106" y="38"/>
                  </a:lnTo>
                  <a:lnTo>
                    <a:pt x="110" y="34"/>
                  </a:lnTo>
                  <a:lnTo>
                    <a:pt x="116" y="34"/>
                  </a:lnTo>
                  <a:lnTo>
                    <a:pt x="122" y="34"/>
                  </a:lnTo>
                  <a:lnTo>
                    <a:pt x="124" y="36"/>
                  </a:lnTo>
                  <a:lnTo>
                    <a:pt x="124" y="38"/>
                  </a:lnTo>
                  <a:lnTo>
                    <a:pt x="124" y="40"/>
                  </a:lnTo>
                  <a:lnTo>
                    <a:pt x="122" y="42"/>
                  </a:lnTo>
                  <a:lnTo>
                    <a:pt x="120" y="44"/>
                  </a:lnTo>
                  <a:lnTo>
                    <a:pt x="118" y="46"/>
                  </a:lnTo>
                  <a:lnTo>
                    <a:pt x="116" y="48"/>
                  </a:lnTo>
                  <a:lnTo>
                    <a:pt x="114" y="56"/>
                  </a:lnTo>
                  <a:lnTo>
                    <a:pt x="116" y="54"/>
                  </a:lnTo>
                  <a:lnTo>
                    <a:pt x="116" y="52"/>
                  </a:lnTo>
                  <a:lnTo>
                    <a:pt x="118" y="48"/>
                  </a:lnTo>
                  <a:lnTo>
                    <a:pt x="122" y="46"/>
                  </a:lnTo>
                  <a:lnTo>
                    <a:pt x="124" y="48"/>
                  </a:lnTo>
                  <a:lnTo>
                    <a:pt x="126" y="50"/>
                  </a:lnTo>
                  <a:lnTo>
                    <a:pt x="130" y="52"/>
                  </a:lnTo>
                  <a:lnTo>
                    <a:pt x="132" y="52"/>
                  </a:lnTo>
                  <a:lnTo>
                    <a:pt x="134" y="52"/>
                  </a:lnTo>
                  <a:lnTo>
                    <a:pt x="138" y="52"/>
                  </a:lnTo>
                  <a:lnTo>
                    <a:pt x="144" y="50"/>
                  </a:lnTo>
                  <a:lnTo>
                    <a:pt x="146" y="50"/>
                  </a:lnTo>
                  <a:lnTo>
                    <a:pt x="148" y="52"/>
                  </a:lnTo>
                  <a:lnTo>
                    <a:pt x="150" y="54"/>
                  </a:lnTo>
                  <a:lnTo>
                    <a:pt x="154" y="60"/>
                  </a:lnTo>
                  <a:lnTo>
                    <a:pt x="152" y="70"/>
                  </a:lnTo>
                  <a:lnTo>
                    <a:pt x="150" y="70"/>
                  </a:lnTo>
                  <a:lnTo>
                    <a:pt x="142" y="84"/>
                  </a:lnTo>
                  <a:lnTo>
                    <a:pt x="138" y="82"/>
                  </a:lnTo>
                  <a:lnTo>
                    <a:pt x="138" y="80"/>
                  </a:lnTo>
                  <a:lnTo>
                    <a:pt x="136" y="78"/>
                  </a:lnTo>
                  <a:lnTo>
                    <a:pt x="134" y="78"/>
                  </a:lnTo>
                  <a:lnTo>
                    <a:pt x="134" y="80"/>
                  </a:lnTo>
                  <a:lnTo>
                    <a:pt x="132" y="84"/>
                  </a:lnTo>
                  <a:lnTo>
                    <a:pt x="132" y="88"/>
                  </a:lnTo>
                  <a:lnTo>
                    <a:pt x="130" y="90"/>
                  </a:lnTo>
                  <a:lnTo>
                    <a:pt x="122" y="84"/>
                  </a:lnTo>
                  <a:lnTo>
                    <a:pt x="122" y="80"/>
                  </a:lnTo>
                  <a:lnTo>
                    <a:pt x="126" y="78"/>
                  </a:lnTo>
                  <a:lnTo>
                    <a:pt x="128" y="78"/>
                  </a:lnTo>
                  <a:lnTo>
                    <a:pt x="130" y="74"/>
                  </a:lnTo>
                  <a:lnTo>
                    <a:pt x="126" y="72"/>
                  </a:lnTo>
                  <a:lnTo>
                    <a:pt x="124" y="72"/>
                  </a:lnTo>
                  <a:lnTo>
                    <a:pt x="116" y="82"/>
                  </a:lnTo>
                  <a:lnTo>
                    <a:pt x="114" y="86"/>
                  </a:lnTo>
                  <a:lnTo>
                    <a:pt x="114" y="88"/>
                  </a:lnTo>
                  <a:lnTo>
                    <a:pt x="116" y="90"/>
                  </a:lnTo>
                  <a:lnTo>
                    <a:pt x="116" y="96"/>
                  </a:lnTo>
                  <a:lnTo>
                    <a:pt x="114" y="106"/>
                  </a:lnTo>
                  <a:lnTo>
                    <a:pt x="110" y="114"/>
                  </a:lnTo>
                  <a:lnTo>
                    <a:pt x="108" y="112"/>
                  </a:lnTo>
                  <a:lnTo>
                    <a:pt x="108" y="110"/>
                  </a:lnTo>
                  <a:lnTo>
                    <a:pt x="106" y="108"/>
                  </a:lnTo>
                  <a:lnTo>
                    <a:pt x="104" y="108"/>
                  </a:lnTo>
                  <a:lnTo>
                    <a:pt x="102" y="110"/>
                  </a:lnTo>
                  <a:lnTo>
                    <a:pt x="100" y="110"/>
                  </a:lnTo>
                  <a:lnTo>
                    <a:pt x="94" y="112"/>
                  </a:lnTo>
                  <a:lnTo>
                    <a:pt x="96" y="112"/>
                  </a:lnTo>
                  <a:lnTo>
                    <a:pt x="98" y="112"/>
                  </a:lnTo>
                  <a:lnTo>
                    <a:pt x="98" y="114"/>
                  </a:lnTo>
                  <a:lnTo>
                    <a:pt x="102" y="114"/>
                  </a:lnTo>
                  <a:lnTo>
                    <a:pt x="104" y="114"/>
                  </a:lnTo>
                  <a:lnTo>
                    <a:pt x="102" y="120"/>
                  </a:lnTo>
                  <a:lnTo>
                    <a:pt x="100" y="124"/>
                  </a:lnTo>
                  <a:lnTo>
                    <a:pt x="92" y="128"/>
                  </a:lnTo>
                  <a:lnTo>
                    <a:pt x="90" y="128"/>
                  </a:lnTo>
                  <a:lnTo>
                    <a:pt x="86" y="126"/>
                  </a:lnTo>
                  <a:lnTo>
                    <a:pt x="84" y="124"/>
                  </a:lnTo>
                  <a:lnTo>
                    <a:pt x="82" y="122"/>
                  </a:lnTo>
                  <a:lnTo>
                    <a:pt x="76" y="124"/>
                  </a:lnTo>
                  <a:lnTo>
                    <a:pt x="78" y="124"/>
                  </a:lnTo>
                  <a:lnTo>
                    <a:pt x="80" y="124"/>
                  </a:lnTo>
                  <a:lnTo>
                    <a:pt x="82" y="124"/>
                  </a:lnTo>
                  <a:lnTo>
                    <a:pt x="86" y="128"/>
                  </a:lnTo>
                  <a:lnTo>
                    <a:pt x="90" y="132"/>
                  </a:lnTo>
                  <a:lnTo>
                    <a:pt x="84" y="140"/>
                  </a:lnTo>
                  <a:lnTo>
                    <a:pt x="76" y="150"/>
                  </a:lnTo>
                  <a:lnTo>
                    <a:pt x="76" y="152"/>
                  </a:lnTo>
                  <a:lnTo>
                    <a:pt x="78" y="152"/>
                  </a:lnTo>
                  <a:lnTo>
                    <a:pt x="76" y="154"/>
                  </a:lnTo>
                  <a:lnTo>
                    <a:pt x="80" y="162"/>
                  </a:lnTo>
                  <a:lnTo>
                    <a:pt x="82" y="164"/>
                  </a:lnTo>
                  <a:lnTo>
                    <a:pt x="82" y="166"/>
                  </a:lnTo>
                  <a:lnTo>
                    <a:pt x="80" y="170"/>
                  </a:lnTo>
                  <a:lnTo>
                    <a:pt x="78" y="172"/>
                  </a:lnTo>
                  <a:lnTo>
                    <a:pt x="76" y="170"/>
                  </a:lnTo>
                  <a:lnTo>
                    <a:pt x="74" y="170"/>
                  </a:lnTo>
                  <a:lnTo>
                    <a:pt x="70" y="174"/>
                  </a:lnTo>
                  <a:lnTo>
                    <a:pt x="68" y="176"/>
                  </a:lnTo>
                  <a:lnTo>
                    <a:pt x="70" y="182"/>
                  </a:lnTo>
                  <a:lnTo>
                    <a:pt x="72" y="184"/>
                  </a:lnTo>
                  <a:lnTo>
                    <a:pt x="76" y="186"/>
                  </a:lnTo>
                  <a:lnTo>
                    <a:pt x="82" y="190"/>
                  </a:lnTo>
                  <a:lnTo>
                    <a:pt x="82" y="194"/>
                  </a:lnTo>
                  <a:lnTo>
                    <a:pt x="82" y="198"/>
                  </a:lnTo>
                  <a:lnTo>
                    <a:pt x="82" y="204"/>
                  </a:lnTo>
                  <a:lnTo>
                    <a:pt x="74" y="202"/>
                  </a:lnTo>
                  <a:lnTo>
                    <a:pt x="74" y="198"/>
                  </a:lnTo>
                  <a:lnTo>
                    <a:pt x="76" y="196"/>
                  </a:lnTo>
                  <a:lnTo>
                    <a:pt x="76" y="194"/>
                  </a:lnTo>
                  <a:lnTo>
                    <a:pt x="74" y="194"/>
                  </a:lnTo>
                  <a:lnTo>
                    <a:pt x="68" y="200"/>
                  </a:lnTo>
                  <a:lnTo>
                    <a:pt x="66" y="202"/>
                  </a:lnTo>
                  <a:lnTo>
                    <a:pt x="64" y="202"/>
                  </a:lnTo>
                  <a:lnTo>
                    <a:pt x="62" y="202"/>
                  </a:lnTo>
                  <a:lnTo>
                    <a:pt x="60" y="204"/>
                  </a:lnTo>
                  <a:lnTo>
                    <a:pt x="54" y="204"/>
                  </a:lnTo>
                  <a:lnTo>
                    <a:pt x="54" y="202"/>
                  </a:lnTo>
                  <a:lnTo>
                    <a:pt x="54" y="200"/>
                  </a:lnTo>
                  <a:lnTo>
                    <a:pt x="50" y="198"/>
                  </a:lnTo>
                  <a:lnTo>
                    <a:pt x="40" y="194"/>
                  </a:lnTo>
                  <a:lnTo>
                    <a:pt x="38" y="194"/>
                  </a:lnTo>
                  <a:lnTo>
                    <a:pt x="34" y="192"/>
                  </a:lnTo>
                  <a:lnTo>
                    <a:pt x="32" y="194"/>
                  </a:lnTo>
                  <a:lnTo>
                    <a:pt x="30" y="194"/>
                  </a:lnTo>
                  <a:lnTo>
                    <a:pt x="28" y="194"/>
                  </a:lnTo>
                  <a:lnTo>
                    <a:pt x="26" y="194"/>
                  </a:lnTo>
                  <a:lnTo>
                    <a:pt x="24" y="192"/>
                  </a:lnTo>
                  <a:lnTo>
                    <a:pt x="24" y="186"/>
                  </a:lnTo>
                  <a:lnTo>
                    <a:pt x="28" y="174"/>
                  </a:lnTo>
                  <a:lnTo>
                    <a:pt x="20" y="176"/>
                  </a:lnTo>
                  <a:lnTo>
                    <a:pt x="16" y="178"/>
                  </a:lnTo>
                  <a:lnTo>
                    <a:pt x="16" y="176"/>
                  </a:lnTo>
                  <a:lnTo>
                    <a:pt x="16" y="172"/>
                  </a:lnTo>
                  <a:lnTo>
                    <a:pt x="16" y="166"/>
                  </a:lnTo>
                  <a:lnTo>
                    <a:pt x="18" y="164"/>
                  </a:lnTo>
                  <a:lnTo>
                    <a:pt x="22" y="166"/>
                  </a:lnTo>
                  <a:lnTo>
                    <a:pt x="24" y="166"/>
                  </a:lnTo>
                  <a:lnTo>
                    <a:pt x="20" y="170"/>
                  </a:lnTo>
                  <a:lnTo>
                    <a:pt x="22" y="170"/>
                  </a:lnTo>
                  <a:lnTo>
                    <a:pt x="24" y="172"/>
                  </a:lnTo>
                  <a:lnTo>
                    <a:pt x="28" y="172"/>
                  </a:lnTo>
                  <a:lnTo>
                    <a:pt x="28" y="170"/>
                  </a:lnTo>
                  <a:lnTo>
                    <a:pt x="26" y="164"/>
                  </a:lnTo>
                  <a:lnTo>
                    <a:pt x="28" y="160"/>
                  </a:lnTo>
                  <a:lnTo>
                    <a:pt x="28" y="156"/>
                  </a:lnTo>
                  <a:lnTo>
                    <a:pt x="28" y="148"/>
                  </a:lnTo>
                  <a:lnTo>
                    <a:pt x="26" y="144"/>
                  </a:lnTo>
                  <a:lnTo>
                    <a:pt x="22" y="142"/>
                  </a:lnTo>
                  <a:lnTo>
                    <a:pt x="20" y="142"/>
                  </a:lnTo>
                  <a:lnTo>
                    <a:pt x="18" y="142"/>
                  </a:lnTo>
                  <a:lnTo>
                    <a:pt x="12" y="132"/>
                  </a:lnTo>
                  <a:lnTo>
                    <a:pt x="8" y="136"/>
                  </a:lnTo>
                  <a:lnTo>
                    <a:pt x="0" y="130"/>
                  </a:lnTo>
                  <a:lnTo>
                    <a:pt x="2" y="126"/>
                  </a:lnTo>
                  <a:lnTo>
                    <a:pt x="2" y="124"/>
                  </a:lnTo>
                  <a:lnTo>
                    <a:pt x="6" y="116"/>
                  </a:lnTo>
                  <a:lnTo>
                    <a:pt x="6" y="1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3" name="Freeform 2609"/>
            <p:cNvSpPr>
              <a:spLocks/>
            </p:cNvSpPr>
            <p:nvPr/>
          </p:nvSpPr>
          <p:spPr bwMode="auto">
            <a:xfrm>
              <a:off x="2310" y="1612"/>
              <a:ext cx="22" cy="24"/>
            </a:xfrm>
            <a:custGeom>
              <a:avLst/>
              <a:gdLst/>
              <a:ahLst/>
              <a:cxnLst>
                <a:cxn ang="0">
                  <a:pos x="6" y="24"/>
                </a:cxn>
                <a:cxn ang="0">
                  <a:pos x="6" y="22"/>
                </a:cxn>
                <a:cxn ang="0">
                  <a:pos x="4" y="20"/>
                </a:cxn>
                <a:cxn ang="0">
                  <a:pos x="2" y="18"/>
                </a:cxn>
                <a:cxn ang="0">
                  <a:pos x="0" y="18"/>
                </a:cxn>
                <a:cxn ang="0">
                  <a:pos x="0" y="20"/>
                </a:cxn>
                <a:cxn ang="0">
                  <a:pos x="0" y="18"/>
                </a:cxn>
                <a:cxn ang="0">
                  <a:pos x="2" y="14"/>
                </a:cxn>
                <a:cxn ang="0">
                  <a:pos x="6" y="10"/>
                </a:cxn>
                <a:cxn ang="0">
                  <a:pos x="8" y="4"/>
                </a:cxn>
                <a:cxn ang="0">
                  <a:pos x="10" y="4"/>
                </a:cxn>
                <a:cxn ang="0">
                  <a:pos x="12" y="4"/>
                </a:cxn>
                <a:cxn ang="0">
                  <a:pos x="16" y="4"/>
                </a:cxn>
                <a:cxn ang="0">
                  <a:pos x="16" y="2"/>
                </a:cxn>
                <a:cxn ang="0">
                  <a:pos x="18" y="2"/>
                </a:cxn>
                <a:cxn ang="0">
                  <a:pos x="18" y="0"/>
                </a:cxn>
                <a:cxn ang="0">
                  <a:pos x="20" y="0"/>
                </a:cxn>
                <a:cxn ang="0">
                  <a:pos x="22" y="0"/>
                </a:cxn>
                <a:cxn ang="0">
                  <a:pos x="22" y="2"/>
                </a:cxn>
                <a:cxn ang="0">
                  <a:pos x="18" y="14"/>
                </a:cxn>
                <a:cxn ang="0">
                  <a:pos x="16" y="20"/>
                </a:cxn>
                <a:cxn ang="0">
                  <a:pos x="12" y="24"/>
                </a:cxn>
                <a:cxn ang="0">
                  <a:pos x="10" y="24"/>
                </a:cxn>
                <a:cxn ang="0">
                  <a:pos x="6" y="24"/>
                </a:cxn>
              </a:cxnLst>
              <a:rect l="0" t="0" r="r" b="b"/>
              <a:pathLst>
                <a:path w="22" h="24">
                  <a:moveTo>
                    <a:pt x="6" y="24"/>
                  </a:moveTo>
                  <a:lnTo>
                    <a:pt x="6" y="22"/>
                  </a:lnTo>
                  <a:lnTo>
                    <a:pt x="4" y="20"/>
                  </a:lnTo>
                  <a:lnTo>
                    <a:pt x="2" y="18"/>
                  </a:lnTo>
                  <a:lnTo>
                    <a:pt x="0" y="18"/>
                  </a:lnTo>
                  <a:lnTo>
                    <a:pt x="0" y="20"/>
                  </a:lnTo>
                  <a:lnTo>
                    <a:pt x="0" y="18"/>
                  </a:lnTo>
                  <a:lnTo>
                    <a:pt x="2" y="14"/>
                  </a:lnTo>
                  <a:lnTo>
                    <a:pt x="6" y="10"/>
                  </a:lnTo>
                  <a:lnTo>
                    <a:pt x="8" y="4"/>
                  </a:lnTo>
                  <a:lnTo>
                    <a:pt x="10" y="4"/>
                  </a:lnTo>
                  <a:lnTo>
                    <a:pt x="12" y="4"/>
                  </a:lnTo>
                  <a:lnTo>
                    <a:pt x="16" y="4"/>
                  </a:lnTo>
                  <a:lnTo>
                    <a:pt x="16" y="2"/>
                  </a:lnTo>
                  <a:lnTo>
                    <a:pt x="18" y="2"/>
                  </a:lnTo>
                  <a:lnTo>
                    <a:pt x="18" y="0"/>
                  </a:lnTo>
                  <a:lnTo>
                    <a:pt x="20" y="0"/>
                  </a:lnTo>
                  <a:lnTo>
                    <a:pt x="22" y="0"/>
                  </a:lnTo>
                  <a:lnTo>
                    <a:pt x="22" y="2"/>
                  </a:lnTo>
                  <a:lnTo>
                    <a:pt x="18" y="14"/>
                  </a:lnTo>
                  <a:lnTo>
                    <a:pt x="16" y="20"/>
                  </a:lnTo>
                  <a:lnTo>
                    <a:pt x="12" y="24"/>
                  </a:lnTo>
                  <a:lnTo>
                    <a:pt x="10" y="24"/>
                  </a:lnTo>
                  <a:lnTo>
                    <a:pt x="6"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4" name="Freeform 2610"/>
            <p:cNvSpPr>
              <a:spLocks/>
            </p:cNvSpPr>
            <p:nvPr/>
          </p:nvSpPr>
          <p:spPr bwMode="auto">
            <a:xfrm>
              <a:off x="2424" y="1698"/>
              <a:ext cx="92" cy="106"/>
            </a:xfrm>
            <a:custGeom>
              <a:avLst/>
              <a:gdLst/>
              <a:ahLst/>
              <a:cxnLst>
                <a:cxn ang="0">
                  <a:pos x="26" y="82"/>
                </a:cxn>
                <a:cxn ang="0">
                  <a:pos x="20" y="84"/>
                </a:cxn>
                <a:cxn ang="0">
                  <a:pos x="14" y="70"/>
                </a:cxn>
                <a:cxn ang="0">
                  <a:pos x="14" y="48"/>
                </a:cxn>
                <a:cxn ang="0">
                  <a:pos x="0" y="32"/>
                </a:cxn>
                <a:cxn ang="0">
                  <a:pos x="14" y="36"/>
                </a:cxn>
                <a:cxn ang="0">
                  <a:pos x="24" y="32"/>
                </a:cxn>
                <a:cxn ang="0">
                  <a:pos x="34" y="20"/>
                </a:cxn>
                <a:cxn ang="0">
                  <a:pos x="30" y="16"/>
                </a:cxn>
                <a:cxn ang="0">
                  <a:pos x="22" y="10"/>
                </a:cxn>
                <a:cxn ang="0">
                  <a:pos x="38" y="16"/>
                </a:cxn>
                <a:cxn ang="0">
                  <a:pos x="46" y="14"/>
                </a:cxn>
                <a:cxn ang="0">
                  <a:pos x="42" y="20"/>
                </a:cxn>
                <a:cxn ang="0">
                  <a:pos x="46" y="30"/>
                </a:cxn>
                <a:cxn ang="0">
                  <a:pos x="48" y="42"/>
                </a:cxn>
                <a:cxn ang="0">
                  <a:pos x="50" y="32"/>
                </a:cxn>
                <a:cxn ang="0">
                  <a:pos x="58" y="20"/>
                </a:cxn>
                <a:cxn ang="0">
                  <a:pos x="62" y="34"/>
                </a:cxn>
                <a:cxn ang="0">
                  <a:pos x="58" y="36"/>
                </a:cxn>
                <a:cxn ang="0">
                  <a:pos x="54" y="42"/>
                </a:cxn>
                <a:cxn ang="0">
                  <a:pos x="62" y="38"/>
                </a:cxn>
                <a:cxn ang="0">
                  <a:pos x="62" y="18"/>
                </a:cxn>
                <a:cxn ang="0">
                  <a:pos x="56" y="16"/>
                </a:cxn>
                <a:cxn ang="0">
                  <a:pos x="50" y="16"/>
                </a:cxn>
                <a:cxn ang="0">
                  <a:pos x="68" y="2"/>
                </a:cxn>
                <a:cxn ang="0">
                  <a:pos x="76" y="0"/>
                </a:cxn>
                <a:cxn ang="0">
                  <a:pos x="92" y="8"/>
                </a:cxn>
                <a:cxn ang="0">
                  <a:pos x="86" y="16"/>
                </a:cxn>
                <a:cxn ang="0">
                  <a:pos x="88" y="26"/>
                </a:cxn>
                <a:cxn ang="0">
                  <a:pos x="88" y="36"/>
                </a:cxn>
                <a:cxn ang="0">
                  <a:pos x="86" y="44"/>
                </a:cxn>
                <a:cxn ang="0">
                  <a:pos x="80" y="48"/>
                </a:cxn>
                <a:cxn ang="0">
                  <a:pos x="72" y="52"/>
                </a:cxn>
                <a:cxn ang="0">
                  <a:pos x="68" y="56"/>
                </a:cxn>
                <a:cxn ang="0">
                  <a:pos x="68" y="62"/>
                </a:cxn>
                <a:cxn ang="0">
                  <a:pos x="72" y="66"/>
                </a:cxn>
                <a:cxn ang="0">
                  <a:pos x="78" y="68"/>
                </a:cxn>
                <a:cxn ang="0">
                  <a:pos x="80" y="78"/>
                </a:cxn>
                <a:cxn ang="0">
                  <a:pos x="74" y="82"/>
                </a:cxn>
                <a:cxn ang="0">
                  <a:pos x="66" y="82"/>
                </a:cxn>
                <a:cxn ang="0">
                  <a:pos x="56" y="90"/>
                </a:cxn>
                <a:cxn ang="0">
                  <a:pos x="62" y="90"/>
                </a:cxn>
                <a:cxn ang="0">
                  <a:pos x="64" y="102"/>
                </a:cxn>
                <a:cxn ang="0">
                  <a:pos x="56" y="106"/>
                </a:cxn>
                <a:cxn ang="0">
                  <a:pos x="54" y="102"/>
                </a:cxn>
                <a:cxn ang="0">
                  <a:pos x="50" y="104"/>
                </a:cxn>
                <a:cxn ang="0">
                  <a:pos x="42" y="96"/>
                </a:cxn>
                <a:cxn ang="0">
                  <a:pos x="42" y="84"/>
                </a:cxn>
                <a:cxn ang="0">
                  <a:pos x="38" y="86"/>
                </a:cxn>
                <a:cxn ang="0">
                  <a:pos x="30" y="84"/>
                </a:cxn>
              </a:cxnLst>
              <a:rect l="0" t="0" r="r" b="b"/>
              <a:pathLst>
                <a:path w="92" h="106">
                  <a:moveTo>
                    <a:pt x="30" y="84"/>
                  </a:moveTo>
                  <a:lnTo>
                    <a:pt x="28" y="82"/>
                  </a:lnTo>
                  <a:lnTo>
                    <a:pt x="26" y="82"/>
                  </a:lnTo>
                  <a:lnTo>
                    <a:pt x="24" y="82"/>
                  </a:lnTo>
                  <a:lnTo>
                    <a:pt x="22" y="82"/>
                  </a:lnTo>
                  <a:lnTo>
                    <a:pt x="20" y="84"/>
                  </a:lnTo>
                  <a:lnTo>
                    <a:pt x="18" y="84"/>
                  </a:lnTo>
                  <a:lnTo>
                    <a:pt x="16" y="82"/>
                  </a:lnTo>
                  <a:lnTo>
                    <a:pt x="14" y="70"/>
                  </a:lnTo>
                  <a:lnTo>
                    <a:pt x="16" y="64"/>
                  </a:lnTo>
                  <a:lnTo>
                    <a:pt x="16" y="60"/>
                  </a:lnTo>
                  <a:lnTo>
                    <a:pt x="14" y="48"/>
                  </a:lnTo>
                  <a:lnTo>
                    <a:pt x="10" y="40"/>
                  </a:lnTo>
                  <a:lnTo>
                    <a:pt x="6" y="36"/>
                  </a:lnTo>
                  <a:lnTo>
                    <a:pt x="0" y="32"/>
                  </a:lnTo>
                  <a:lnTo>
                    <a:pt x="4" y="32"/>
                  </a:lnTo>
                  <a:lnTo>
                    <a:pt x="14" y="34"/>
                  </a:lnTo>
                  <a:lnTo>
                    <a:pt x="14" y="36"/>
                  </a:lnTo>
                  <a:lnTo>
                    <a:pt x="16" y="36"/>
                  </a:lnTo>
                  <a:lnTo>
                    <a:pt x="18" y="36"/>
                  </a:lnTo>
                  <a:lnTo>
                    <a:pt x="24" y="32"/>
                  </a:lnTo>
                  <a:lnTo>
                    <a:pt x="32" y="24"/>
                  </a:lnTo>
                  <a:lnTo>
                    <a:pt x="34" y="22"/>
                  </a:lnTo>
                  <a:lnTo>
                    <a:pt x="34" y="20"/>
                  </a:lnTo>
                  <a:lnTo>
                    <a:pt x="34" y="18"/>
                  </a:lnTo>
                  <a:lnTo>
                    <a:pt x="32" y="16"/>
                  </a:lnTo>
                  <a:lnTo>
                    <a:pt x="30" y="16"/>
                  </a:lnTo>
                  <a:lnTo>
                    <a:pt x="26" y="14"/>
                  </a:lnTo>
                  <a:lnTo>
                    <a:pt x="22" y="12"/>
                  </a:lnTo>
                  <a:lnTo>
                    <a:pt x="22" y="10"/>
                  </a:lnTo>
                  <a:lnTo>
                    <a:pt x="24" y="12"/>
                  </a:lnTo>
                  <a:lnTo>
                    <a:pt x="28" y="14"/>
                  </a:lnTo>
                  <a:lnTo>
                    <a:pt x="38" y="16"/>
                  </a:lnTo>
                  <a:lnTo>
                    <a:pt x="42" y="16"/>
                  </a:lnTo>
                  <a:lnTo>
                    <a:pt x="44" y="16"/>
                  </a:lnTo>
                  <a:lnTo>
                    <a:pt x="46" y="14"/>
                  </a:lnTo>
                  <a:lnTo>
                    <a:pt x="48" y="16"/>
                  </a:lnTo>
                  <a:lnTo>
                    <a:pt x="46" y="18"/>
                  </a:lnTo>
                  <a:lnTo>
                    <a:pt x="42" y="20"/>
                  </a:lnTo>
                  <a:lnTo>
                    <a:pt x="42" y="28"/>
                  </a:lnTo>
                  <a:lnTo>
                    <a:pt x="44" y="30"/>
                  </a:lnTo>
                  <a:lnTo>
                    <a:pt x="46" y="30"/>
                  </a:lnTo>
                  <a:lnTo>
                    <a:pt x="46" y="32"/>
                  </a:lnTo>
                  <a:lnTo>
                    <a:pt x="48" y="40"/>
                  </a:lnTo>
                  <a:lnTo>
                    <a:pt x="48" y="42"/>
                  </a:lnTo>
                  <a:lnTo>
                    <a:pt x="48" y="40"/>
                  </a:lnTo>
                  <a:lnTo>
                    <a:pt x="50" y="38"/>
                  </a:lnTo>
                  <a:lnTo>
                    <a:pt x="50" y="32"/>
                  </a:lnTo>
                  <a:lnTo>
                    <a:pt x="54" y="18"/>
                  </a:lnTo>
                  <a:lnTo>
                    <a:pt x="56" y="18"/>
                  </a:lnTo>
                  <a:lnTo>
                    <a:pt x="58" y="20"/>
                  </a:lnTo>
                  <a:lnTo>
                    <a:pt x="60" y="28"/>
                  </a:lnTo>
                  <a:lnTo>
                    <a:pt x="60" y="30"/>
                  </a:lnTo>
                  <a:lnTo>
                    <a:pt x="62" y="34"/>
                  </a:lnTo>
                  <a:lnTo>
                    <a:pt x="62" y="36"/>
                  </a:lnTo>
                  <a:lnTo>
                    <a:pt x="60" y="36"/>
                  </a:lnTo>
                  <a:lnTo>
                    <a:pt x="58" y="36"/>
                  </a:lnTo>
                  <a:lnTo>
                    <a:pt x="56" y="36"/>
                  </a:lnTo>
                  <a:lnTo>
                    <a:pt x="54" y="40"/>
                  </a:lnTo>
                  <a:lnTo>
                    <a:pt x="54" y="42"/>
                  </a:lnTo>
                  <a:lnTo>
                    <a:pt x="62" y="42"/>
                  </a:lnTo>
                  <a:lnTo>
                    <a:pt x="62" y="40"/>
                  </a:lnTo>
                  <a:lnTo>
                    <a:pt x="62" y="38"/>
                  </a:lnTo>
                  <a:lnTo>
                    <a:pt x="62" y="36"/>
                  </a:lnTo>
                  <a:lnTo>
                    <a:pt x="62" y="32"/>
                  </a:lnTo>
                  <a:lnTo>
                    <a:pt x="62" y="18"/>
                  </a:lnTo>
                  <a:lnTo>
                    <a:pt x="60" y="16"/>
                  </a:lnTo>
                  <a:lnTo>
                    <a:pt x="58" y="16"/>
                  </a:lnTo>
                  <a:lnTo>
                    <a:pt x="56" y="16"/>
                  </a:lnTo>
                  <a:lnTo>
                    <a:pt x="54" y="16"/>
                  </a:lnTo>
                  <a:lnTo>
                    <a:pt x="52" y="16"/>
                  </a:lnTo>
                  <a:lnTo>
                    <a:pt x="50" y="16"/>
                  </a:lnTo>
                  <a:lnTo>
                    <a:pt x="52" y="14"/>
                  </a:lnTo>
                  <a:lnTo>
                    <a:pt x="54" y="12"/>
                  </a:lnTo>
                  <a:lnTo>
                    <a:pt x="68" y="2"/>
                  </a:lnTo>
                  <a:lnTo>
                    <a:pt x="70" y="2"/>
                  </a:lnTo>
                  <a:lnTo>
                    <a:pt x="74" y="0"/>
                  </a:lnTo>
                  <a:lnTo>
                    <a:pt x="76" y="0"/>
                  </a:lnTo>
                  <a:lnTo>
                    <a:pt x="86" y="4"/>
                  </a:lnTo>
                  <a:lnTo>
                    <a:pt x="88" y="4"/>
                  </a:lnTo>
                  <a:lnTo>
                    <a:pt x="92" y="8"/>
                  </a:lnTo>
                  <a:lnTo>
                    <a:pt x="90" y="12"/>
                  </a:lnTo>
                  <a:lnTo>
                    <a:pt x="88" y="12"/>
                  </a:lnTo>
                  <a:lnTo>
                    <a:pt x="86" y="16"/>
                  </a:lnTo>
                  <a:lnTo>
                    <a:pt x="86" y="20"/>
                  </a:lnTo>
                  <a:lnTo>
                    <a:pt x="88" y="24"/>
                  </a:lnTo>
                  <a:lnTo>
                    <a:pt x="88" y="26"/>
                  </a:lnTo>
                  <a:lnTo>
                    <a:pt x="90" y="32"/>
                  </a:lnTo>
                  <a:lnTo>
                    <a:pt x="90" y="34"/>
                  </a:lnTo>
                  <a:lnTo>
                    <a:pt x="88" y="36"/>
                  </a:lnTo>
                  <a:lnTo>
                    <a:pt x="90" y="40"/>
                  </a:lnTo>
                  <a:lnTo>
                    <a:pt x="88" y="42"/>
                  </a:lnTo>
                  <a:lnTo>
                    <a:pt x="86" y="44"/>
                  </a:lnTo>
                  <a:lnTo>
                    <a:pt x="84" y="46"/>
                  </a:lnTo>
                  <a:lnTo>
                    <a:pt x="84" y="48"/>
                  </a:lnTo>
                  <a:lnTo>
                    <a:pt x="80" y="48"/>
                  </a:lnTo>
                  <a:lnTo>
                    <a:pt x="78" y="48"/>
                  </a:lnTo>
                  <a:lnTo>
                    <a:pt x="76" y="48"/>
                  </a:lnTo>
                  <a:lnTo>
                    <a:pt x="72" y="52"/>
                  </a:lnTo>
                  <a:lnTo>
                    <a:pt x="70" y="52"/>
                  </a:lnTo>
                  <a:lnTo>
                    <a:pt x="70" y="54"/>
                  </a:lnTo>
                  <a:lnTo>
                    <a:pt x="68" y="56"/>
                  </a:lnTo>
                  <a:lnTo>
                    <a:pt x="66" y="58"/>
                  </a:lnTo>
                  <a:lnTo>
                    <a:pt x="66" y="60"/>
                  </a:lnTo>
                  <a:lnTo>
                    <a:pt x="68" y="62"/>
                  </a:lnTo>
                  <a:lnTo>
                    <a:pt x="68" y="64"/>
                  </a:lnTo>
                  <a:lnTo>
                    <a:pt x="70" y="64"/>
                  </a:lnTo>
                  <a:lnTo>
                    <a:pt x="72" y="66"/>
                  </a:lnTo>
                  <a:lnTo>
                    <a:pt x="76" y="66"/>
                  </a:lnTo>
                  <a:lnTo>
                    <a:pt x="76" y="68"/>
                  </a:lnTo>
                  <a:lnTo>
                    <a:pt x="78" y="68"/>
                  </a:lnTo>
                  <a:lnTo>
                    <a:pt x="80" y="70"/>
                  </a:lnTo>
                  <a:lnTo>
                    <a:pt x="80" y="72"/>
                  </a:lnTo>
                  <a:lnTo>
                    <a:pt x="80" y="78"/>
                  </a:lnTo>
                  <a:lnTo>
                    <a:pt x="80" y="80"/>
                  </a:lnTo>
                  <a:lnTo>
                    <a:pt x="78" y="80"/>
                  </a:lnTo>
                  <a:lnTo>
                    <a:pt x="74" y="82"/>
                  </a:lnTo>
                  <a:lnTo>
                    <a:pt x="72" y="82"/>
                  </a:lnTo>
                  <a:lnTo>
                    <a:pt x="70" y="82"/>
                  </a:lnTo>
                  <a:lnTo>
                    <a:pt x="66" y="82"/>
                  </a:lnTo>
                  <a:lnTo>
                    <a:pt x="58" y="86"/>
                  </a:lnTo>
                  <a:lnTo>
                    <a:pt x="58" y="88"/>
                  </a:lnTo>
                  <a:lnTo>
                    <a:pt x="56" y="90"/>
                  </a:lnTo>
                  <a:lnTo>
                    <a:pt x="58" y="90"/>
                  </a:lnTo>
                  <a:lnTo>
                    <a:pt x="60" y="90"/>
                  </a:lnTo>
                  <a:lnTo>
                    <a:pt x="62" y="90"/>
                  </a:lnTo>
                  <a:lnTo>
                    <a:pt x="64" y="92"/>
                  </a:lnTo>
                  <a:lnTo>
                    <a:pt x="66" y="92"/>
                  </a:lnTo>
                  <a:lnTo>
                    <a:pt x="64" y="102"/>
                  </a:lnTo>
                  <a:lnTo>
                    <a:pt x="64" y="104"/>
                  </a:lnTo>
                  <a:lnTo>
                    <a:pt x="58" y="106"/>
                  </a:lnTo>
                  <a:lnTo>
                    <a:pt x="56" y="106"/>
                  </a:lnTo>
                  <a:lnTo>
                    <a:pt x="54" y="106"/>
                  </a:lnTo>
                  <a:lnTo>
                    <a:pt x="54" y="104"/>
                  </a:lnTo>
                  <a:lnTo>
                    <a:pt x="54" y="102"/>
                  </a:lnTo>
                  <a:lnTo>
                    <a:pt x="52" y="102"/>
                  </a:lnTo>
                  <a:lnTo>
                    <a:pt x="50" y="102"/>
                  </a:lnTo>
                  <a:lnTo>
                    <a:pt x="50" y="104"/>
                  </a:lnTo>
                  <a:lnTo>
                    <a:pt x="48" y="102"/>
                  </a:lnTo>
                  <a:lnTo>
                    <a:pt x="46" y="100"/>
                  </a:lnTo>
                  <a:lnTo>
                    <a:pt x="42" y="96"/>
                  </a:lnTo>
                  <a:lnTo>
                    <a:pt x="44" y="90"/>
                  </a:lnTo>
                  <a:lnTo>
                    <a:pt x="46" y="88"/>
                  </a:lnTo>
                  <a:lnTo>
                    <a:pt x="42" y="84"/>
                  </a:lnTo>
                  <a:lnTo>
                    <a:pt x="40" y="82"/>
                  </a:lnTo>
                  <a:lnTo>
                    <a:pt x="40" y="84"/>
                  </a:lnTo>
                  <a:lnTo>
                    <a:pt x="38" y="86"/>
                  </a:lnTo>
                  <a:lnTo>
                    <a:pt x="36" y="86"/>
                  </a:lnTo>
                  <a:lnTo>
                    <a:pt x="32" y="84"/>
                  </a:lnTo>
                  <a:lnTo>
                    <a:pt x="30" y="8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5" name="Freeform 2611"/>
            <p:cNvSpPr>
              <a:spLocks/>
            </p:cNvSpPr>
            <p:nvPr/>
          </p:nvSpPr>
          <p:spPr bwMode="auto">
            <a:xfrm>
              <a:off x="2406" y="1706"/>
              <a:ext cx="8" cy="22"/>
            </a:xfrm>
            <a:custGeom>
              <a:avLst/>
              <a:gdLst/>
              <a:ahLst/>
              <a:cxnLst>
                <a:cxn ang="0">
                  <a:pos x="8" y="10"/>
                </a:cxn>
                <a:cxn ang="0">
                  <a:pos x="8" y="12"/>
                </a:cxn>
                <a:cxn ang="0">
                  <a:pos x="4" y="22"/>
                </a:cxn>
                <a:cxn ang="0">
                  <a:pos x="2" y="22"/>
                </a:cxn>
                <a:cxn ang="0">
                  <a:pos x="0" y="22"/>
                </a:cxn>
                <a:cxn ang="0">
                  <a:pos x="0" y="20"/>
                </a:cxn>
                <a:cxn ang="0">
                  <a:pos x="0" y="16"/>
                </a:cxn>
                <a:cxn ang="0">
                  <a:pos x="0" y="2"/>
                </a:cxn>
                <a:cxn ang="0">
                  <a:pos x="2" y="0"/>
                </a:cxn>
                <a:cxn ang="0">
                  <a:pos x="2" y="2"/>
                </a:cxn>
                <a:cxn ang="0">
                  <a:pos x="2" y="4"/>
                </a:cxn>
                <a:cxn ang="0">
                  <a:pos x="6" y="12"/>
                </a:cxn>
                <a:cxn ang="0">
                  <a:pos x="8" y="12"/>
                </a:cxn>
                <a:cxn ang="0">
                  <a:pos x="8" y="10"/>
                </a:cxn>
              </a:cxnLst>
              <a:rect l="0" t="0" r="r" b="b"/>
              <a:pathLst>
                <a:path w="8" h="22">
                  <a:moveTo>
                    <a:pt x="8" y="10"/>
                  </a:moveTo>
                  <a:lnTo>
                    <a:pt x="8" y="12"/>
                  </a:lnTo>
                  <a:lnTo>
                    <a:pt x="4" y="22"/>
                  </a:lnTo>
                  <a:lnTo>
                    <a:pt x="2" y="22"/>
                  </a:lnTo>
                  <a:lnTo>
                    <a:pt x="0" y="22"/>
                  </a:lnTo>
                  <a:lnTo>
                    <a:pt x="0" y="20"/>
                  </a:lnTo>
                  <a:lnTo>
                    <a:pt x="0" y="16"/>
                  </a:lnTo>
                  <a:lnTo>
                    <a:pt x="0" y="2"/>
                  </a:lnTo>
                  <a:lnTo>
                    <a:pt x="2" y="0"/>
                  </a:lnTo>
                  <a:lnTo>
                    <a:pt x="2" y="2"/>
                  </a:lnTo>
                  <a:lnTo>
                    <a:pt x="2" y="4"/>
                  </a:lnTo>
                  <a:lnTo>
                    <a:pt x="6" y="12"/>
                  </a:lnTo>
                  <a:lnTo>
                    <a:pt x="8" y="12"/>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6" name="Freeform 2612"/>
            <p:cNvSpPr>
              <a:spLocks/>
            </p:cNvSpPr>
            <p:nvPr/>
          </p:nvSpPr>
          <p:spPr bwMode="auto">
            <a:xfrm>
              <a:off x="2360" y="1740"/>
              <a:ext cx="60" cy="54"/>
            </a:xfrm>
            <a:custGeom>
              <a:avLst/>
              <a:gdLst/>
              <a:ahLst/>
              <a:cxnLst>
                <a:cxn ang="0">
                  <a:pos x="18" y="6"/>
                </a:cxn>
                <a:cxn ang="0">
                  <a:pos x="20" y="4"/>
                </a:cxn>
                <a:cxn ang="0">
                  <a:pos x="24" y="4"/>
                </a:cxn>
                <a:cxn ang="0">
                  <a:pos x="24" y="2"/>
                </a:cxn>
                <a:cxn ang="0">
                  <a:pos x="26" y="2"/>
                </a:cxn>
                <a:cxn ang="0">
                  <a:pos x="28" y="2"/>
                </a:cxn>
                <a:cxn ang="0">
                  <a:pos x="32" y="0"/>
                </a:cxn>
                <a:cxn ang="0">
                  <a:pos x="34" y="0"/>
                </a:cxn>
                <a:cxn ang="0">
                  <a:pos x="38" y="2"/>
                </a:cxn>
                <a:cxn ang="0">
                  <a:pos x="42" y="8"/>
                </a:cxn>
                <a:cxn ang="0">
                  <a:pos x="42" y="10"/>
                </a:cxn>
                <a:cxn ang="0">
                  <a:pos x="40" y="12"/>
                </a:cxn>
                <a:cxn ang="0">
                  <a:pos x="38" y="14"/>
                </a:cxn>
                <a:cxn ang="0">
                  <a:pos x="38" y="16"/>
                </a:cxn>
                <a:cxn ang="0">
                  <a:pos x="42" y="16"/>
                </a:cxn>
                <a:cxn ang="0">
                  <a:pos x="48" y="12"/>
                </a:cxn>
                <a:cxn ang="0">
                  <a:pos x="48" y="10"/>
                </a:cxn>
                <a:cxn ang="0">
                  <a:pos x="50" y="6"/>
                </a:cxn>
                <a:cxn ang="0">
                  <a:pos x="50" y="2"/>
                </a:cxn>
                <a:cxn ang="0">
                  <a:pos x="52" y="4"/>
                </a:cxn>
                <a:cxn ang="0">
                  <a:pos x="56" y="12"/>
                </a:cxn>
                <a:cxn ang="0">
                  <a:pos x="58" y="24"/>
                </a:cxn>
                <a:cxn ang="0">
                  <a:pos x="60" y="30"/>
                </a:cxn>
                <a:cxn ang="0">
                  <a:pos x="58" y="40"/>
                </a:cxn>
                <a:cxn ang="0">
                  <a:pos x="56" y="46"/>
                </a:cxn>
                <a:cxn ang="0">
                  <a:pos x="52" y="52"/>
                </a:cxn>
                <a:cxn ang="0">
                  <a:pos x="48" y="52"/>
                </a:cxn>
                <a:cxn ang="0">
                  <a:pos x="46" y="52"/>
                </a:cxn>
                <a:cxn ang="0">
                  <a:pos x="42" y="54"/>
                </a:cxn>
                <a:cxn ang="0">
                  <a:pos x="40" y="54"/>
                </a:cxn>
                <a:cxn ang="0">
                  <a:pos x="22" y="48"/>
                </a:cxn>
                <a:cxn ang="0">
                  <a:pos x="22" y="44"/>
                </a:cxn>
                <a:cxn ang="0">
                  <a:pos x="20" y="40"/>
                </a:cxn>
                <a:cxn ang="0">
                  <a:pos x="16" y="38"/>
                </a:cxn>
                <a:cxn ang="0">
                  <a:pos x="10" y="28"/>
                </a:cxn>
                <a:cxn ang="0">
                  <a:pos x="10" y="24"/>
                </a:cxn>
                <a:cxn ang="0">
                  <a:pos x="6" y="14"/>
                </a:cxn>
                <a:cxn ang="0">
                  <a:pos x="4" y="12"/>
                </a:cxn>
                <a:cxn ang="0">
                  <a:pos x="2" y="10"/>
                </a:cxn>
                <a:cxn ang="0">
                  <a:pos x="0" y="8"/>
                </a:cxn>
                <a:cxn ang="0">
                  <a:pos x="4" y="4"/>
                </a:cxn>
                <a:cxn ang="0">
                  <a:pos x="8" y="4"/>
                </a:cxn>
                <a:cxn ang="0">
                  <a:pos x="8" y="6"/>
                </a:cxn>
                <a:cxn ang="0">
                  <a:pos x="10" y="8"/>
                </a:cxn>
                <a:cxn ang="0">
                  <a:pos x="12" y="8"/>
                </a:cxn>
                <a:cxn ang="0">
                  <a:pos x="14" y="8"/>
                </a:cxn>
                <a:cxn ang="0">
                  <a:pos x="18" y="6"/>
                </a:cxn>
              </a:cxnLst>
              <a:rect l="0" t="0" r="r" b="b"/>
              <a:pathLst>
                <a:path w="60" h="54">
                  <a:moveTo>
                    <a:pt x="18" y="6"/>
                  </a:moveTo>
                  <a:lnTo>
                    <a:pt x="20" y="4"/>
                  </a:lnTo>
                  <a:lnTo>
                    <a:pt x="24" y="4"/>
                  </a:lnTo>
                  <a:lnTo>
                    <a:pt x="24" y="2"/>
                  </a:lnTo>
                  <a:lnTo>
                    <a:pt x="26" y="2"/>
                  </a:lnTo>
                  <a:lnTo>
                    <a:pt x="28" y="2"/>
                  </a:lnTo>
                  <a:lnTo>
                    <a:pt x="32" y="0"/>
                  </a:lnTo>
                  <a:lnTo>
                    <a:pt x="34" y="0"/>
                  </a:lnTo>
                  <a:lnTo>
                    <a:pt x="38" y="2"/>
                  </a:lnTo>
                  <a:lnTo>
                    <a:pt x="42" y="8"/>
                  </a:lnTo>
                  <a:lnTo>
                    <a:pt x="42" y="10"/>
                  </a:lnTo>
                  <a:lnTo>
                    <a:pt x="40" y="12"/>
                  </a:lnTo>
                  <a:lnTo>
                    <a:pt x="38" y="14"/>
                  </a:lnTo>
                  <a:lnTo>
                    <a:pt x="38" y="16"/>
                  </a:lnTo>
                  <a:lnTo>
                    <a:pt x="42" y="16"/>
                  </a:lnTo>
                  <a:lnTo>
                    <a:pt x="48" y="12"/>
                  </a:lnTo>
                  <a:lnTo>
                    <a:pt x="48" y="10"/>
                  </a:lnTo>
                  <a:lnTo>
                    <a:pt x="50" y="6"/>
                  </a:lnTo>
                  <a:lnTo>
                    <a:pt x="50" y="2"/>
                  </a:lnTo>
                  <a:lnTo>
                    <a:pt x="52" y="4"/>
                  </a:lnTo>
                  <a:lnTo>
                    <a:pt x="56" y="12"/>
                  </a:lnTo>
                  <a:lnTo>
                    <a:pt x="58" y="24"/>
                  </a:lnTo>
                  <a:lnTo>
                    <a:pt x="60" y="30"/>
                  </a:lnTo>
                  <a:lnTo>
                    <a:pt x="58" y="40"/>
                  </a:lnTo>
                  <a:lnTo>
                    <a:pt x="56" y="46"/>
                  </a:lnTo>
                  <a:lnTo>
                    <a:pt x="52" y="52"/>
                  </a:lnTo>
                  <a:lnTo>
                    <a:pt x="48" y="52"/>
                  </a:lnTo>
                  <a:lnTo>
                    <a:pt x="46" y="52"/>
                  </a:lnTo>
                  <a:lnTo>
                    <a:pt x="42" y="54"/>
                  </a:lnTo>
                  <a:lnTo>
                    <a:pt x="40" y="54"/>
                  </a:lnTo>
                  <a:lnTo>
                    <a:pt x="22" y="48"/>
                  </a:lnTo>
                  <a:lnTo>
                    <a:pt x="22" y="44"/>
                  </a:lnTo>
                  <a:lnTo>
                    <a:pt x="20" y="40"/>
                  </a:lnTo>
                  <a:lnTo>
                    <a:pt x="16" y="38"/>
                  </a:lnTo>
                  <a:lnTo>
                    <a:pt x="10" y="28"/>
                  </a:lnTo>
                  <a:lnTo>
                    <a:pt x="10" y="24"/>
                  </a:lnTo>
                  <a:lnTo>
                    <a:pt x="6" y="14"/>
                  </a:lnTo>
                  <a:lnTo>
                    <a:pt x="4" y="12"/>
                  </a:lnTo>
                  <a:lnTo>
                    <a:pt x="2" y="10"/>
                  </a:lnTo>
                  <a:lnTo>
                    <a:pt x="0" y="8"/>
                  </a:lnTo>
                  <a:lnTo>
                    <a:pt x="4" y="4"/>
                  </a:lnTo>
                  <a:lnTo>
                    <a:pt x="8" y="4"/>
                  </a:lnTo>
                  <a:lnTo>
                    <a:pt x="8" y="6"/>
                  </a:lnTo>
                  <a:lnTo>
                    <a:pt x="10" y="8"/>
                  </a:lnTo>
                  <a:lnTo>
                    <a:pt x="12" y="8"/>
                  </a:lnTo>
                  <a:lnTo>
                    <a:pt x="14" y="8"/>
                  </a:lnTo>
                  <a:lnTo>
                    <a:pt x="18"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7" name="Freeform 2613"/>
            <p:cNvSpPr>
              <a:spLocks/>
            </p:cNvSpPr>
            <p:nvPr/>
          </p:nvSpPr>
          <p:spPr bwMode="auto">
            <a:xfrm>
              <a:off x="2622" y="1776"/>
              <a:ext cx="24" cy="28"/>
            </a:xfrm>
            <a:custGeom>
              <a:avLst/>
              <a:gdLst/>
              <a:ahLst/>
              <a:cxnLst>
                <a:cxn ang="0">
                  <a:pos x="18" y="28"/>
                </a:cxn>
                <a:cxn ang="0">
                  <a:pos x="12" y="26"/>
                </a:cxn>
                <a:cxn ang="0">
                  <a:pos x="10" y="26"/>
                </a:cxn>
                <a:cxn ang="0">
                  <a:pos x="2" y="22"/>
                </a:cxn>
                <a:cxn ang="0">
                  <a:pos x="0" y="18"/>
                </a:cxn>
                <a:cxn ang="0">
                  <a:pos x="0" y="8"/>
                </a:cxn>
                <a:cxn ang="0">
                  <a:pos x="2" y="0"/>
                </a:cxn>
                <a:cxn ang="0">
                  <a:pos x="4" y="0"/>
                </a:cxn>
                <a:cxn ang="0">
                  <a:pos x="6" y="2"/>
                </a:cxn>
                <a:cxn ang="0">
                  <a:pos x="6" y="4"/>
                </a:cxn>
                <a:cxn ang="0">
                  <a:pos x="8" y="4"/>
                </a:cxn>
                <a:cxn ang="0">
                  <a:pos x="10" y="8"/>
                </a:cxn>
                <a:cxn ang="0">
                  <a:pos x="16" y="10"/>
                </a:cxn>
                <a:cxn ang="0">
                  <a:pos x="20" y="12"/>
                </a:cxn>
                <a:cxn ang="0">
                  <a:pos x="22" y="14"/>
                </a:cxn>
                <a:cxn ang="0">
                  <a:pos x="24" y="16"/>
                </a:cxn>
                <a:cxn ang="0">
                  <a:pos x="24" y="20"/>
                </a:cxn>
                <a:cxn ang="0">
                  <a:pos x="22" y="26"/>
                </a:cxn>
                <a:cxn ang="0">
                  <a:pos x="20" y="28"/>
                </a:cxn>
                <a:cxn ang="0">
                  <a:pos x="18" y="28"/>
                </a:cxn>
              </a:cxnLst>
              <a:rect l="0" t="0" r="r" b="b"/>
              <a:pathLst>
                <a:path w="24" h="28">
                  <a:moveTo>
                    <a:pt x="18" y="28"/>
                  </a:moveTo>
                  <a:lnTo>
                    <a:pt x="12" y="26"/>
                  </a:lnTo>
                  <a:lnTo>
                    <a:pt x="10" y="26"/>
                  </a:lnTo>
                  <a:lnTo>
                    <a:pt x="2" y="22"/>
                  </a:lnTo>
                  <a:lnTo>
                    <a:pt x="0" y="18"/>
                  </a:lnTo>
                  <a:lnTo>
                    <a:pt x="0" y="8"/>
                  </a:lnTo>
                  <a:lnTo>
                    <a:pt x="2" y="0"/>
                  </a:lnTo>
                  <a:lnTo>
                    <a:pt x="4" y="0"/>
                  </a:lnTo>
                  <a:lnTo>
                    <a:pt x="6" y="2"/>
                  </a:lnTo>
                  <a:lnTo>
                    <a:pt x="6" y="4"/>
                  </a:lnTo>
                  <a:lnTo>
                    <a:pt x="8" y="4"/>
                  </a:lnTo>
                  <a:lnTo>
                    <a:pt x="10" y="8"/>
                  </a:lnTo>
                  <a:lnTo>
                    <a:pt x="16" y="10"/>
                  </a:lnTo>
                  <a:lnTo>
                    <a:pt x="20" y="12"/>
                  </a:lnTo>
                  <a:lnTo>
                    <a:pt x="22" y="14"/>
                  </a:lnTo>
                  <a:lnTo>
                    <a:pt x="24" y="16"/>
                  </a:lnTo>
                  <a:lnTo>
                    <a:pt x="24" y="20"/>
                  </a:lnTo>
                  <a:lnTo>
                    <a:pt x="22" y="26"/>
                  </a:lnTo>
                  <a:lnTo>
                    <a:pt x="20" y="28"/>
                  </a:lnTo>
                  <a:lnTo>
                    <a:pt x="18"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8" name="Freeform 2614"/>
            <p:cNvSpPr>
              <a:spLocks/>
            </p:cNvSpPr>
            <p:nvPr/>
          </p:nvSpPr>
          <p:spPr bwMode="auto">
            <a:xfrm>
              <a:off x="2408" y="1784"/>
              <a:ext cx="16" cy="38"/>
            </a:xfrm>
            <a:custGeom>
              <a:avLst/>
              <a:gdLst/>
              <a:ahLst/>
              <a:cxnLst>
                <a:cxn ang="0">
                  <a:pos x="2" y="38"/>
                </a:cxn>
                <a:cxn ang="0">
                  <a:pos x="0" y="38"/>
                </a:cxn>
                <a:cxn ang="0">
                  <a:pos x="0" y="36"/>
                </a:cxn>
                <a:cxn ang="0">
                  <a:pos x="0" y="32"/>
                </a:cxn>
                <a:cxn ang="0">
                  <a:pos x="0" y="28"/>
                </a:cxn>
                <a:cxn ang="0">
                  <a:pos x="0" y="22"/>
                </a:cxn>
                <a:cxn ang="0">
                  <a:pos x="2" y="20"/>
                </a:cxn>
                <a:cxn ang="0">
                  <a:pos x="4" y="18"/>
                </a:cxn>
                <a:cxn ang="0">
                  <a:pos x="6" y="16"/>
                </a:cxn>
                <a:cxn ang="0">
                  <a:pos x="8" y="16"/>
                </a:cxn>
                <a:cxn ang="0">
                  <a:pos x="10" y="10"/>
                </a:cxn>
                <a:cxn ang="0">
                  <a:pos x="12" y="4"/>
                </a:cxn>
                <a:cxn ang="0">
                  <a:pos x="14" y="2"/>
                </a:cxn>
                <a:cxn ang="0">
                  <a:pos x="16" y="0"/>
                </a:cxn>
                <a:cxn ang="0">
                  <a:pos x="16" y="6"/>
                </a:cxn>
                <a:cxn ang="0">
                  <a:pos x="16" y="8"/>
                </a:cxn>
                <a:cxn ang="0">
                  <a:pos x="14" y="12"/>
                </a:cxn>
                <a:cxn ang="0">
                  <a:pos x="12" y="14"/>
                </a:cxn>
                <a:cxn ang="0">
                  <a:pos x="12" y="16"/>
                </a:cxn>
                <a:cxn ang="0">
                  <a:pos x="10" y="16"/>
                </a:cxn>
                <a:cxn ang="0">
                  <a:pos x="10" y="20"/>
                </a:cxn>
                <a:cxn ang="0">
                  <a:pos x="6" y="28"/>
                </a:cxn>
                <a:cxn ang="0">
                  <a:pos x="4" y="34"/>
                </a:cxn>
                <a:cxn ang="0">
                  <a:pos x="2" y="38"/>
                </a:cxn>
              </a:cxnLst>
              <a:rect l="0" t="0" r="r" b="b"/>
              <a:pathLst>
                <a:path w="16" h="38">
                  <a:moveTo>
                    <a:pt x="2" y="38"/>
                  </a:moveTo>
                  <a:lnTo>
                    <a:pt x="0" y="38"/>
                  </a:lnTo>
                  <a:lnTo>
                    <a:pt x="0" y="36"/>
                  </a:lnTo>
                  <a:lnTo>
                    <a:pt x="0" y="32"/>
                  </a:lnTo>
                  <a:lnTo>
                    <a:pt x="0" y="28"/>
                  </a:lnTo>
                  <a:lnTo>
                    <a:pt x="0" y="22"/>
                  </a:lnTo>
                  <a:lnTo>
                    <a:pt x="2" y="20"/>
                  </a:lnTo>
                  <a:lnTo>
                    <a:pt x="4" y="18"/>
                  </a:lnTo>
                  <a:lnTo>
                    <a:pt x="6" y="16"/>
                  </a:lnTo>
                  <a:lnTo>
                    <a:pt x="8" y="16"/>
                  </a:lnTo>
                  <a:lnTo>
                    <a:pt x="10" y="10"/>
                  </a:lnTo>
                  <a:lnTo>
                    <a:pt x="12" y="4"/>
                  </a:lnTo>
                  <a:lnTo>
                    <a:pt x="14" y="2"/>
                  </a:lnTo>
                  <a:lnTo>
                    <a:pt x="16" y="0"/>
                  </a:lnTo>
                  <a:lnTo>
                    <a:pt x="16" y="6"/>
                  </a:lnTo>
                  <a:lnTo>
                    <a:pt x="16" y="8"/>
                  </a:lnTo>
                  <a:lnTo>
                    <a:pt x="14" y="12"/>
                  </a:lnTo>
                  <a:lnTo>
                    <a:pt x="12" y="14"/>
                  </a:lnTo>
                  <a:lnTo>
                    <a:pt x="12" y="16"/>
                  </a:lnTo>
                  <a:lnTo>
                    <a:pt x="10" y="16"/>
                  </a:lnTo>
                  <a:lnTo>
                    <a:pt x="10" y="20"/>
                  </a:lnTo>
                  <a:lnTo>
                    <a:pt x="6" y="28"/>
                  </a:lnTo>
                  <a:lnTo>
                    <a:pt x="4" y="34"/>
                  </a:lnTo>
                  <a:lnTo>
                    <a:pt x="2" y="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79" name="Freeform 2615"/>
            <p:cNvSpPr>
              <a:spLocks/>
            </p:cNvSpPr>
            <p:nvPr/>
          </p:nvSpPr>
          <p:spPr bwMode="auto">
            <a:xfrm>
              <a:off x="2354" y="1786"/>
              <a:ext cx="22" cy="22"/>
            </a:xfrm>
            <a:custGeom>
              <a:avLst/>
              <a:gdLst/>
              <a:ahLst/>
              <a:cxnLst>
                <a:cxn ang="0">
                  <a:pos x="20" y="10"/>
                </a:cxn>
                <a:cxn ang="0">
                  <a:pos x="22" y="14"/>
                </a:cxn>
                <a:cxn ang="0">
                  <a:pos x="22" y="18"/>
                </a:cxn>
                <a:cxn ang="0">
                  <a:pos x="22" y="20"/>
                </a:cxn>
                <a:cxn ang="0">
                  <a:pos x="22" y="22"/>
                </a:cxn>
                <a:cxn ang="0">
                  <a:pos x="18" y="22"/>
                </a:cxn>
                <a:cxn ang="0">
                  <a:pos x="16" y="22"/>
                </a:cxn>
                <a:cxn ang="0">
                  <a:pos x="14" y="20"/>
                </a:cxn>
                <a:cxn ang="0">
                  <a:pos x="10" y="18"/>
                </a:cxn>
                <a:cxn ang="0">
                  <a:pos x="8" y="16"/>
                </a:cxn>
                <a:cxn ang="0">
                  <a:pos x="8" y="14"/>
                </a:cxn>
                <a:cxn ang="0">
                  <a:pos x="6" y="12"/>
                </a:cxn>
                <a:cxn ang="0">
                  <a:pos x="6" y="10"/>
                </a:cxn>
                <a:cxn ang="0">
                  <a:pos x="8" y="12"/>
                </a:cxn>
                <a:cxn ang="0">
                  <a:pos x="10" y="14"/>
                </a:cxn>
                <a:cxn ang="0">
                  <a:pos x="10" y="10"/>
                </a:cxn>
                <a:cxn ang="0">
                  <a:pos x="10" y="8"/>
                </a:cxn>
                <a:cxn ang="0">
                  <a:pos x="8" y="6"/>
                </a:cxn>
                <a:cxn ang="0">
                  <a:pos x="6" y="8"/>
                </a:cxn>
                <a:cxn ang="0">
                  <a:pos x="4" y="8"/>
                </a:cxn>
                <a:cxn ang="0">
                  <a:pos x="2" y="6"/>
                </a:cxn>
                <a:cxn ang="0">
                  <a:pos x="0" y="4"/>
                </a:cxn>
                <a:cxn ang="0">
                  <a:pos x="0" y="2"/>
                </a:cxn>
                <a:cxn ang="0">
                  <a:pos x="2" y="2"/>
                </a:cxn>
                <a:cxn ang="0">
                  <a:pos x="6" y="2"/>
                </a:cxn>
                <a:cxn ang="0">
                  <a:pos x="8" y="0"/>
                </a:cxn>
                <a:cxn ang="0">
                  <a:pos x="8" y="2"/>
                </a:cxn>
                <a:cxn ang="0">
                  <a:pos x="10" y="2"/>
                </a:cxn>
                <a:cxn ang="0">
                  <a:pos x="18" y="8"/>
                </a:cxn>
                <a:cxn ang="0">
                  <a:pos x="20" y="10"/>
                </a:cxn>
              </a:cxnLst>
              <a:rect l="0" t="0" r="r" b="b"/>
              <a:pathLst>
                <a:path w="22" h="22">
                  <a:moveTo>
                    <a:pt x="20" y="10"/>
                  </a:moveTo>
                  <a:lnTo>
                    <a:pt x="22" y="14"/>
                  </a:lnTo>
                  <a:lnTo>
                    <a:pt x="22" y="18"/>
                  </a:lnTo>
                  <a:lnTo>
                    <a:pt x="22" y="20"/>
                  </a:lnTo>
                  <a:lnTo>
                    <a:pt x="22" y="22"/>
                  </a:lnTo>
                  <a:lnTo>
                    <a:pt x="18" y="22"/>
                  </a:lnTo>
                  <a:lnTo>
                    <a:pt x="16" y="22"/>
                  </a:lnTo>
                  <a:lnTo>
                    <a:pt x="14" y="20"/>
                  </a:lnTo>
                  <a:lnTo>
                    <a:pt x="10" y="18"/>
                  </a:lnTo>
                  <a:lnTo>
                    <a:pt x="8" y="16"/>
                  </a:lnTo>
                  <a:lnTo>
                    <a:pt x="8" y="14"/>
                  </a:lnTo>
                  <a:lnTo>
                    <a:pt x="6" y="12"/>
                  </a:lnTo>
                  <a:lnTo>
                    <a:pt x="6" y="10"/>
                  </a:lnTo>
                  <a:lnTo>
                    <a:pt x="8" y="12"/>
                  </a:lnTo>
                  <a:lnTo>
                    <a:pt x="10" y="14"/>
                  </a:lnTo>
                  <a:lnTo>
                    <a:pt x="10" y="10"/>
                  </a:lnTo>
                  <a:lnTo>
                    <a:pt x="10" y="8"/>
                  </a:lnTo>
                  <a:lnTo>
                    <a:pt x="8" y="6"/>
                  </a:lnTo>
                  <a:lnTo>
                    <a:pt x="6" y="8"/>
                  </a:lnTo>
                  <a:lnTo>
                    <a:pt x="4" y="8"/>
                  </a:lnTo>
                  <a:lnTo>
                    <a:pt x="2" y="6"/>
                  </a:lnTo>
                  <a:lnTo>
                    <a:pt x="0" y="4"/>
                  </a:lnTo>
                  <a:lnTo>
                    <a:pt x="0" y="2"/>
                  </a:lnTo>
                  <a:lnTo>
                    <a:pt x="2" y="2"/>
                  </a:lnTo>
                  <a:lnTo>
                    <a:pt x="6" y="2"/>
                  </a:lnTo>
                  <a:lnTo>
                    <a:pt x="8" y="0"/>
                  </a:lnTo>
                  <a:lnTo>
                    <a:pt x="8" y="2"/>
                  </a:lnTo>
                  <a:lnTo>
                    <a:pt x="10" y="2"/>
                  </a:lnTo>
                  <a:lnTo>
                    <a:pt x="18" y="8"/>
                  </a:lnTo>
                  <a:lnTo>
                    <a:pt x="2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0" name="Freeform 2616"/>
            <p:cNvSpPr>
              <a:spLocks/>
            </p:cNvSpPr>
            <p:nvPr/>
          </p:nvSpPr>
          <p:spPr bwMode="auto">
            <a:xfrm>
              <a:off x="2400" y="1794"/>
              <a:ext cx="10" cy="8"/>
            </a:xfrm>
            <a:custGeom>
              <a:avLst/>
              <a:gdLst/>
              <a:ahLst/>
              <a:cxnLst>
                <a:cxn ang="0">
                  <a:pos x="4" y="8"/>
                </a:cxn>
                <a:cxn ang="0">
                  <a:pos x="2" y="8"/>
                </a:cxn>
                <a:cxn ang="0">
                  <a:pos x="0" y="4"/>
                </a:cxn>
                <a:cxn ang="0">
                  <a:pos x="0" y="2"/>
                </a:cxn>
                <a:cxn ang="0">
                  <a:pos x="8" y="0"/>
                </a:cxn>
                <a:cxn ang="0">
                  <a:pos x="10" y="4"/>
                </a:cxn>
                <a:cxn ang="0">
                  <a:pos x="8" y="6"/>
                </a:cxn>
                <a:cxn ang="0">
                  <a:pos x="6" y="8"/>
                </a:cxn>
                <a:cxn ang="0">
                  <a:pos x="4" y="8"/>
                </a:cxn>
              </a:cxnLst>
              <a:rect l="0" t="0" r="r" b="b"/>
              <a:pathLst>
                <a:path w="10" h="8">
                  <a:moveTo>
                    <a:pt x="4" y="8"/>
                  </a:moveTo>
                  <a:lnTo>
                    <a:pt x="2" y="8"/>
                  </a:lnTo>
                  <a:lnTo>
                    <a:pt x="0" y="4"/>
                  </a:lnTo>
                  <a:lnTo>
                    <a:pt x="0" y="2"/>
                  </a:lnTo>
                  <a:lnTo>
                    <a:pt x="8" y="0"/>
                  </a:lnTo>
                  <a:lnTo>
                    <a:pt x="10" y="4"/>
                  </a:lnTo>
                  <a:lnTo>
                    <a:pt x="8" y="6"/>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1" name="Freeform 2617"/>
            <p:cNvSpPr>
              <a:spLocks/>
            </p:cNvSpPr>
            <p:nvPr/>
          </p:nvSpPr>
          <p:spPr bwMode="auto">
            <a:xfrm>
              <a:off x="2486" y="1798"/>
              <a:ext cx="22" cy="14"/>
            </a:xfrm>
            <a:custGeom>
              <a:avLst/>
              <a:gdLst/>
              <a:ahLst/>
              <a:cxnLst>
                <a:cxn ang="0">
                  <a:pos x="2" y="14"/>
                </a:cxn>
                <a:cxn ang="0">
                  <a:pos x="0" y="14"/>
                </a:cxn>
                <a:cxn ang="0">
                  <a:pos x="0" y="12"/>
                </a:cxn>
                <a:cxn ang="0">
                  <a:pos x="0" y="8"/>
                </a:cxn>
                <a:cxn ang="0">
                  <a:pos x="2" y="4"/>
                </a:cxn>
                <a:cxn ang="0">
                  <a:pos x="10" y="0"/>
                </a:cxn>
                <a:cxn ang="0">
                  <a:pos x="14" y="0"/>
                </a:cxn>
                <a:cxn ang="0">
                  <a:pos x="18" y="2"/>
                </a:cxn>
                <a:cxn ang="0">
                  <a:pos x="20" y="2"/>
                </a:cxn>
                <a:cxn ang="0">
                  <a:pos x="22" y="4"/>
                </a:cxn>
                <a:cxn ang="0">
                  <a:pos x="22" y="6"/>
                </a:cxn>
                <a:cxn ang="0">
                  <a:pos x="22" y="8"/>
                </a:cxn>
                <a:cxn ang="0">
                  <a:pos x="22" y="10"/>
                </a:cxn>
                <a:cxn ang="0">
                  <a:pos x="20" y="8"/>
                </a:cxn>
                <a:cxn ang="0">
                  <a:pos x="18" y="8"/>
                </a:cxn>
                <a:cxn ang="0">
                  <a:pos x="14" y="6"/>
                </a:cxn>
                <a:cxn ang="0">
                  <a:pos x="12" y="6"/>
                </a:cxn>
                <a:cxn ang="0">
                  <a:pos x="12" y="8"/>
                </a:cxn>
                <a:cxn ang="0">
                  <a:pos x="10" y="8"/>
                </a:cxn>
                <a:cxn ang="0">
                  <a:pos x="8" y="10"/>
                </a:cxn>
                <a:cxn ang="0">
                  <a:pos x="2" y="14"/>
                </a:cxn>
              </a:cxnLst>
              <a:rect l="0" t="0" r="r" b="b"/>
              <a:pathLst>
                <a:path w="22" h="14">
                  <a:moveTo>
                    <a:pt x="2" y="14"/>
                  </a:moveTo>
                  <a:lnTo>
                    <a:pt x="0" y="14"/>
                  </a:lnTo>
                  <a:lnTo>
                    <a:pt x="0" y="12"/>
                  </a:lnTo>
                  <a:lnTo>
                    <a:pt x="0" y="8"/>
                  </a:lnTo>
                  <a:lnTo>
                    <a:pt x="2" y="4"/>
                  </a:lnTo>
                  <a:lnTo>
                    <a:pt x="10" y="0"/>
                  </a:lnTo>
                  <a:lnTo>
                    <a:pt x="14" y="0"/>
                  </a:lnTo>
                  <a:lnTo>
                    <a:pt x="18" y="2"/>
                  </a:lnTo>
                  <a:lnTo>
                    <a:pt x="20" y="2"/>
                  </a:lnTo>
                  <a:lnTo>
                    <a:pt x="22" y="4"/>
                  </a:lnTo>
                  <a:lnTo>
                    <a:pt x="22" y="6"/>
                  </a:lnTo>
                  <a:lnTo>
                    <a:pt x="22" y="8"/>
                  </a:lnTo>
                  <a:lnTo>
                    <a:pt x="22" y="10"/>
                  </a:lnTo>
                  <a:lnTo>
                    <a:pt x="20" y="8"/>
                  </a:lnTo>
                  <a:lnTo>
                    <a:pt x="18" y="8"/>
                  </a:lnTo>
                  <a:lnTo>
                    <a:pt x="14" y="6"/>
                  </a:lnTo>
                  <a:lnTo>
                    <a:pt x="12" y="6"/>
                  </a:lnTo>
                  <a:lnTo>
                    <a:pt x="12" y="8"/>
                  </a:lnTo>
                  <a:lnTo>
                    <a:pt x="10" y="8"/>
                  </a:lnTo>
                  <a:lnTo>
                    <a:pt x="8" y="10"/>
                  </a:lnTo>
                  <a:lnTo>
                    <a:pt x="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2" name="Freeform 2618"/>
            <p:cNvSpPr>
              <a:spLocks/>
            </p:cNvSpPr>
            <p:nvPr/>
          </p:nvSpPr>
          <p:spPr bwMode="auto">
            <a:xfrm>
              <a:off x="2384" y="1798"/>
              <a:ext cx="12" cy="14"/>
            </a:xfrm>
            <a:custGeom>
              <a:avLst/>
              <a:gdLst/>
              <a:ahLst/>
              <a:cxnLst>
                <a:cxn ang="0">
                  <a:pos x="10" y="14"/>
                </a:cxn>
                <a:cxn ang="0">
                  <a:pos x="2" y="6"/>
                </a:cxn>
                <a:cxn ang="0">
                  <a:pos x="0" y="2"/>
                </a:cxn>
                <a:cxn ang="0">
                  <a:pos x="0" y="0"/>
                </a:cxn>
                <a:cxn ang="0">
                  <a:pos x="4" y="4"/>
                </a:cxn>
                <a:cxn ang="0">
                  <a:pos x="6" y="6"/>
                </a:cxn>
                <a:cxn ang="0">
                  <a:pos x="12" y="10"/>
                </a:cxn>
                <a:cxn ang="0">
                  <a:pos x="12" y="14"/>
                </a:cxn>
                <a:cxn ang="0">
                  <a:pos x="10" y="14"/>
                </a:cxn>
              </a:cxnLst>
              <a:rect l="0" t="0" r="r" b="b"/>
              <a:pathLst>
                <a:path w="12" h="14">
                  <a:moveTo>
                    <a:pt x="10" y="14"/>
                  </a:moveTo>
                  <a:lnTo>
                    <a:pt x="2" y="6"/>
                  </a:lnTo>
                  <a:lnTo>
                    <a:pt x="0" y="2"/>
                  </a:lnTo>
                  <a:lnTo>
                    <a:pt x="0" y="0"/>
                  </a:lnTo>
                  <a:lnTo>
                    <a:pt x="4" y="4"/>
                  </a:lnTo>
                  <a:lnTo>
                    <a:pt x="6" y="6"/>
                  </a:lnTo>
                  <a:lnTo>
                    <a:pt x="12" y="10"/>
                  </a:lnTo>
                  <a:lnTo>
                    <a:pt x="12" y="14"/>
                  </a:lnTo>
                  <a:lnTo>
                    <a:pt x="1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3" name="Freeform 2619"/>
            <p:cNvSpPr>
              <a:spLocks/>
            </p:cNvSpPr>
            <p:nvPr/>
          </p:nvSpPr>
          <p:spPr bwMode="auto">
            <a:xfrm>
              <a:off x="2464" y="1804"/>
              <a:ext cx="24" cy="36"/>
            </a:xfrm>
            <a:custGeom>
              <a:avLst/>
              <a:gdLst/>
              <a:ahLst/>
              <a:cxnLst>
                <a:cxn ang="0">
                  <a:pos x="8" y="0"/>
                </a:cxn>
                <a:cxn ang="0">
                  <a:pos x="8" y="2"/>
                </a:cxn>
                <a:cxn ang="0">
                  <a:pos x="14" y="6"/>
                </a:cxn>
                <a:cxn ang="0">
                  <a:pos x="16" y="6"/>
                </a:cxn>
                <a:cxn ang="0">
                  <a:pos x="18" y="6"/>
                </a:cxn>
                <a:cxn ang="0">
                  <a:pos x="18" y="8"/>
                </a:cxn>
                <a:cxn ang="0">
                  <a:pos x="20" y="6"/>
                </a:cxn>
                <a:cxn ang="0">
                  <a:pos x="20" y="8"/>
                </a:cxn>
                <a:cxn ang="0">
                  <a:pos x="22" y="8"/>
                </a:cxn>
                <a:cxn ang="0">
                  <a:pos x="24" y="12"/>
                </a:cxn>
                <a:cxn ang="0">
                  <a:pos x="22" y="12"/>
                </a:cxn>
                <a:cxn ang="0">
                  <a:pos x="22" y="14"/>
                </a:cxn>
                <a:cxn ang="0">
                  <a:pos x="20" y="16"/>
                </a:cxn>
                <a:cxn ang="0">
                  <a:pos x="18" y="16"/>
                </a:cxn>
                <a:cxn ang="0">
                  <a:pos x="18" y="18"/>
                </a:cxn>
                <a:cxn ang="0">
                  <a:pos x="14" y="24"/>
                </a:cxn>
                <a:cxn ang="0">
                  <a:pos x="12" y="24"/>
                </a:cxn>
                <a:cxn ang="0">
                  <a:pos x="12" y="26"/>
                </a:cxn>
                <a:cxn ang="0">
                  <a:pos x="12" y="28"/>
                </a:cxn>
                <a:cxn ang="0">
                  <a:pos x="12" y="30"/>
                </a:cxn>
                <a:cxn ang="0">
                  <a:pos x="12" y="32"/>
                </a:cxn>
                <a:cxn ang="0">
                  <a:pos x="12" y="34"/>
                </a:cxn>
                <a:cxn ang="0">
                  <a:pos x="12" y="36"/>
                </a:cxn>
                <a:cxn ang="0">
                  <a:pos x="10" y="36"/>
                </a:cxn>
                <a:cxn ang="0">
                  <a:pos x="8" y="28"/>
                </a:cxn>
                <a:cxn ang="0">
                  <a:pos x="8" y="24"/>
                </a:cxn>
                <a:cxn ang="0">
                  <a:pos x="10" y="22"/>
                </a:cxn>
                <a:cxn ang="0">
                  <a:pos x="6" y="16"/>
                </a:cxn>
                <a:cxn ang="0">
                  <a:pos x="4" y="12"/>
                </a:cxn>
                <a:cxn ang="0">
                  <a:pos x="4" y="10"/>
                </a:cxn>
                <a:cxn ang="0">
                  <a:pos x="2" y="10"/>
                </a:cxn>
                <a:cxn ang="0">
                  <a:pos x="0" y="2"/>
                </a:cxn>
                <a:cxn ang="0">
                  <a:pos x="2" y="0"/>
                </a:cxn>
                <a:cxn ang="0">
                  <a:pos x="6" y="0"/>
                </a:cxn>
                <a:cxn ang="0">
                  <a:pos x="8" y="0"/>
                </a:cxn>
              </a:cxnLst>
              <a:rect l="0" t="0" r="r" b="b"/>
              <a:pathLst>
                <a:path w="24" h="36">
                  <a:moveTo>
                    <a:pt x="8" y="0"/>
                  </a:moveTo>
                  <a:lnTo>
                    <a:pt x="8" y="2"/>
                  </a:lnTo>
                  <a:lnTo>
                    <a:pt x="14" y="6"/>
                  </a:lnTo>
                  <a:lnTo>
                    <a:pt x="16" y="6"/>
                  </a:lnTo>
                  <a:lnTo>
                    <a:pt x="18" y="6"/>
                  </a:lnTo>
                  <a:lnTo>
                    <a:pt x="18" y="8"/>
                  </a:lnTo>
                  <a:lnTo>
                    <a:pt x="20" y="6"/>
                  </a:lnTo>
                  <a:lnTo>
                    <a:pt x="20" y="8"/>
                  </a:lnTo>
                  <a:lnTo>
                    <a:pt x="22" y="8"/>
                  </a:lnTo>
                  <a:lnTo>
                    <a:pt x="24" y="12"/>
                  </a:lnTo>
                  <a:lnTo>
                    <a:pt x="22" y="12"/>
                  </a:lnTo>
                  <a:lnTo>
                    <a:pt x="22" y="14"/>
                  </a:lnTo>
                  <a:lnTo>
                    <a:pt x="20" y="16"/>
                  </a:lnTo>
                  <a:lnTo>
                    <a:pt x="18" y="16"/>
                  </a:lnTo>
                  <a:lnTo>
                    <a:pt x="18" y="18"/>
                  </a:lnTo>
                  <a:lnTo>
                    <a:pt x="14" y="24"/>
                  </a:lnTo>
                  <a:lnTo>
                    <a:pt x="12" y="24"/>
                  </a:lnTo>
                  <a:lnTo>
                    <a:pt x="12" y="26"/>
                  </a:lnTo>
                  <a:lnTo>
                    <a:pt x="12" y="28"/>
                  </a:lnTo>
                  <a:lnTo>
                    <a:pt x="12" y="30"/>
                  </a:lnTo>
                  <a:lnTo>
                    <a:pt x="12" y="32"/>
                  </a:lnTo>
                  <a:lnTo>
                    <a:pt x="12" y="34"/>
                  </a:lnTo>
                  <a:lnTo>
                    <a:pt x="12" y="36"/>
                  </a:lnTo>
                  <a:lnTo>
                    <a:pt x="10" y="36"/>
                  </a:lnTo>
                  <a:lnTo>
                    <a:pt x="8" y="28"/>
                  </a:lnTo>
                  <a:lnTo>
                    <a:pt x="8" y="24"/>
                  </a:lnTo>
                  <a:lnTo>
                    <a:pt x="10" y="22"/>
                  </a:lnTo>
                  <a:lnTo>
                    <a:pt x="6" y="16"/>
                  </a:lnTo>
                  <a:lnTo>
                    <a:pt x="4" y="12"/>
                  </a:lnTo>
                  <a:lnTo>
                    <a:pt x="4" y="10"/>
                  </a:lnTo>
                  <a:lnTo>
                    <a:pt x="2" y="10"/>
                  </a:lnTo>
                  <a:lnTo>
                    <a:pt x="0" y="2"/>
                  </a:lnTo>
                  <a:lnTo>
                    <a:pt x="2" y="0"/>
                  </a:lnTo>
                  <a:lnTo>
                    <a:pt x="6" y="0"/>
                  </a:lnTo>
                  <a:lnTo>
                    <a:pt x="8"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84" name="Freeform 2620"/>
            <p:cNvSpPr>
              <a:spLocks/>
            </p:cNvSpPr>
            <p:nvPr/>
          </p:nvSpPr>
          <p:spPr bwMode="auto">
            <a:xfrm>
              <a:off x="2424" y="1802"/>
              <a:ext cx="46" cy="32"/>
            </a:xfrm>
            <a:custGeom>
              <a:avLst/>
              <a:gdLst/>
              <a:ahLst/>
              <a:cxnLst>
                <a:cxn ang="0">
                  <a:pos x="0" y="16"/>
                </a:cxn>
                <a:cxn ang="0">
                  <a:pos x="2" y="14"/>
                </a:cxn>
                <a:cxn ang="0">
                  <a:pos x="2" y="6"/>
                </a:cxn>
                <a:cxn ang="0">
                  <a:pos x="4" y="4"/>
                </a:cxn>
                <a:cxn ang="0">
                  <a:pos x="6" y="2"/>
                </a:cxn>
                <a:cxn ang="0">
                  <a:pos x="8" y="2"/>
                </a:cxn>
                <a:cxn ang="0">
                  <a:pos x="10" y="2"/>
                </a:cxn>
                <a:cxn ang="0">
                  <a:pos x="12" y="0"/>
                </a:cxn>
                <a:cxn ang="0">
                  <a:pos x="14" y="2"/>
                </a:cxn>
                <a:cxn ang="0">
                  <a:pos x="18" y="2"/>
                </a:cxn>
                <a:cxn ang="0">
                  <a:pos x="20" y="6"/>
                </a:cxn>
                <a:cxn ang="0">
                  <a:pos x="22" y="8"/>
                </a:cxn>
                <a:cxn ang="0">
                  <a:pos x="22" y="10"/>
                </a:cxn>
                <a:cxn ang="0">
                  <a:pos x="24" y="10"/>
                </a:cxn>
                <a:cxn ang="0">
                  <a:pos x="30" y="14"/>
                </a:cxn>
                <a:cxn ang="0">
                  <a:pos x="32" y="14"/>
                </a:cxn>
                <a:cxn ang="0">
                  <a:pos x="36" y="10"/>
                </a:cxn>
                <a:cxn ang="0">
                  <a:pos x="36" y="6"/>
                </a:cxn>
                <a:cxn ang="0">
                  <a:pos x="38" y="6"/>
                </a:cxn>
                <a:cxn ang="0">
                  <a:pos x="40" y="10"/>
                </a:cxn>
                <a:cxn ang="0">
                  <a:pos x="42" y="12"/>
                </a:cxn>
                <a:cxn ang="0">
                  <a:pos x="46" y="20"/>
                </a:cxn>
                <a:cxn ang="0">
                  <a:pos x="46" y="22"/>
                </a:cxn>
                <a:cxn ang="0">
                  <a:pos x="46" y="26"/>
                </a:cxn>
                <a:cxn ang="0">
                  <a:pos x="46" y="28"/>
                </a:cxn>
                <a:cxn ang="0">
                  <a:pos x="46" y="30"/>
                </a:cxn>
                <a:cxn ang="0">
                  <a:pos x="42" y="30"/>
                </a:cxn>
                <a:cxn ang="0">
                  <a:pos x="40" y="30"/>
                </a:cxn>
                <a:cxn ang="0">
                  <a:pos x="38" y="30"/>
                </a:cxn>
                <a:cxn ang="0">
                  <a:pos x="34" y="30"/>
                </a:cxn>
                <a:cxn ang="0">
                  <a:pos x="32" y="28"/>
                </a:cxn>
                <a:cxn ang="0">
                  <a:pos x="28" y="30"/>
                </a:cxn>
                <a:cxn ang="0">
                  <a:pos x="26" y="32"/>
                </a:cxn>
                <a:cxn ang="0">
                  <a:pos x="22" y="30"/>
                </a:cxn>
                <a:cxn ang="0">
                  <a:pos x="20" y="28"/>
                </a:cxn>
                <a:cxn ang="0">
                  <a:pos x="18" y="26"/>
                </a:cxn>
                <a:cxn ang="0">
                  <a:pos x="16" y="24"/>
                </a:cxn>
                <a:cxn ang="0">
                  <a:pos x="14" y="24"/>
                </a:cxn>
                <a:cxn ang="0">
                  <a:pos x="12" y="22"/>
                </a:cxn>
                <a:cxn ang="0">
                  <a:pos x="10" y="20"/>
                </a:cxn>
                <a:cxn ang="0">
                  <a:pos x="8" y="20"/>
                </a:cxn>
                <a:cxn ang="0">
                  <a:pos x="6" y="20"/>
                </a:cxn>
                <a:cxn ang="0">
                  <a:pos x="2" y="18"/>
                </a:cxn>
                <a:cxn ang="0">
                  <a:pos x="0" y="16"/>
                </a:cxn>
              </a:cxnLst>
              <a:rect l="0" t="0" r="r" b="b"/>
              <a:pathLst>
                <a:path w="46" h="32">
                  <a:moveTo>
                    <a:pt x="0" y="16"/>
                  </a:moveTo>
                  <a:lnTo>
                    <a:pt x="2" y="14"/>
                  </a:lnTo>
                  <a:lnTo>
                    <a:pt x="2" y="6"/>
                  </a:lnTo>
                  <a:lnTo>
                    <a:pt x="4" y="4"/>
                  </a:lnTo>
                  <a:lnTo>
                    <a:pt x="6" y="2"/>
                  </a:lnTo>
                  <a:lnTo>
                    <a:pt x="8" y="2"/>
                  </a:lnTo>
                  <a:lnTo>
                    <a:pt x="10" y="2"/>
                  </a:lnTo>
                  <a:lnTo>
                    <a:pt x="12" y="0"/>
                  </a:lnTo>
                  <a:lnTo>
                    <a:pt x="14" y="2"/>
                  </a:lnTo>
                  <a:lnTo>
                    <a:pt x="18" y="2"/>
                  </a:lnTo>
                  <a:lnTo>
                    <a:pt x="20" y="6"/>
                  </a:lnTo>
                  <a:lnTo>
                    <a:pt x="22" y="8"/>
                  </a:lnTo>
                  <a:lnTo>
                    <a:pt x="22" y="10"/>
                  </a:lnTo>
                  <a:lnTo>
                    <a:pt x="24" y="10"/>
                  </a:lnTo>
                  <a:lnTo>
                    <a:pt x="30" y="14"/>
                  </a:lnTo>
                  <a:lnTo>
                    <a:pt x="32" y="14"/>
                  </a:lnTo>
                  <a:lnTo>
                    <a:pt x="36" y="10"/>
                  </a:lnTo>
                  <a:lnTo>
                    <a:pt x="36" y="6"/>
                  </a:lnTo>
                  <a:lnTo>
                    <a:pt x="38" y="6"/>
                  </a:lnTo>
                  <a:lnTo>
                    <a:pt x="40" y="10"/>
                  </a:lnTo>
                  <a:lnTo>
                    <a:pt x="42" y="12"/>
                  </a:lnTo>
                  <a:lnTo>
                    <a:pt x="46" y="20"/>
                  </a:lnTo>
                  <a:lnTo>
                    <a:pt x="46" y="22"/>
                  </a:lnTo>
                  <a:lnTo>
                    <a:pt x="46" y="26"/>
                  </a:lnTo>
                  <a:lnTo>
                    <a:pt x="46" y="28"/>
                  </a:lnTo>
                  <a:lnTo>
                    <a:pt x="46" y="30"/>
                  </a:lnTo>
                  <a:lnTo>
                    <a:pt x="42" y="30"/>
                  </a:lnTo>
                  <a:lnTo>
                    <a:pt x="40" y="30"/>
                  </a:lnTo>
                  <a:lnTo>
                    <a:pt x="38" y="30"/>
                  </a:lnTo>
                  <a:lnTo>
                    <a:pt x="34" y="30"/>
                  </a:lnTo>
                  <a:lnTo>
                    <a:pt x="32" y="28"/>
                  </a:lnTo>
                  <a:lnTo>
                    <a:pt x="28" y="30"/>
                  </a:lnTo>
                  <a:lnTo>
                    <a:pt x="26" y="32"/>
                  </a:lnTo>
                  <a:lnTo>
                    <a:pt x="22" y="30"/>
                  </a:lnTo>
                  <a:lnTo>
                    <a:pt x="20" y="28"/>
                  </a:lnTo>
                  <a:lnTo>
                    <a:pt x="18" y="26"/>
                  </a:lnTo>
                  <a:lnTo>
                    <a:pt x="16" y="24"/>
                  </a:lnTo>
                  <a:lnTo>
                    <a:pt x="14" y="24"/>
                  </a:lnTo>
                  <a:lnTo>
                    <a:pt x="12" y="22"/>
                  </a:lnTo>
                  <a:lnTo>
                    <a:pt x="10" y="20"/>
                  </a:lnTo>
                  <a:lnTo>
                    <a:pt x="8" y="20"/>
                  </a:lnTo>
                  <a:lnTo>
                    <a:pt x="6" y="20"/>
                  </a:lnTo>
                  <a:lnTo>
                    <a:pt x="2" y="18"/>
                  </a:lnTo>
                  <a:lnTo>
                    <a:pt x="0"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81" name="Freeform 2621"/>
          <p:cNvSpPr>
            <a:spLocks/>
          </p:cNvSpPr>
          <p:nvPr/>
        </p:nvSpPr>
        <p:spPr bwMode="auto">
          <a:xfrm>
            <a:off x="5953424" y="3585226"/>
            <a:ext cx="747278" cy="676390"/>
          </a:xfrm>
          <a:custGeom>
            <a:avLst/>
            <a:gdLst/>
            <a:ahLst/>
            <a:cxnLst>
              <a:cxn ang="0">
                <a:pos x="112" y="410"/>
              </a:cxn>
              <a:cxn ang="0">
                <a:pos x="68" y="428"/>
              </a:cxn>
              <a:cxn ang="0">
                <a:pos x="50" y="448"/>
              </a:cxn>
              <a:cxn ang="0">
                <a:pos x="30" y="456"/>
              </a:cxn>
              <a:cxn ang="0">
                <a:pos x="30" y="414"/>
              </a:cxn>
              <a:cxn ang="0">
                <a:pos x="10" y="370"/>
              </a:cxn>
              <a:cxn ang="0">
                <a:pos x="28" y="358"/>
              </a:cxn>
              <a:cxn ang="0">
                <a:pos x="34" y="320"/>
              </a:cxn>
              <a:cxn ang="0">
                <a:pos x="8" y="260"/>
              </a:cxn>
              <a:cxn ang="0">
                <a:pos x="4" y="238"/>
              </a:cxn>
              <a:cxn ang="0">
                <a:pos x="34" y="232"/>
              </a:cxn>
              <a:cxn ang="0">
                <a:pos x="56" y="230"/>
              </a:cxn>
              <a:cxn ang="0">
                <a:pos x="68" y="216"/>
              </a:cxn>
              <a:cxn ang="0">
                <a:pos x="88" y="202"/>
              </a:cxn>
              <a:cxn ang="0">
                <a:pos x="106" y="202"/>
              </a:cxn>
              <a:cxn ang="0">
                <a:pos x="112" y="190"/>
              </a:cxn>
              <a:cxn ang="0">
                <a:pos x="114" y="164"/>
              </a:cxn>
              <a:cxn ang="0">
                <a:pos x="118" y="128"/>
              </a:cxn>
              <a:cxn ang="0">
                <a:pos x="146" y="106"/>
              </a:cxn>
              <a:cxn ang="0">
                <a:pos x="144" y="92"/>
              </a:cxn>
              <a:cxn ang="0">
                <a:pos x="144" y="56"/>
              </a:cxn>
              <a:cxn ang="0">
                <a:pos x="170" y="40"/>
              </a:cxn>
              <a:cxn ang="0">
                <a:pos x="194" y="24"/>
              </a:cxn>
              <a:cxn ang="0">
                <a:pos x="226" y="8"/>
              </a:cxn>
              <a:cxn ang="0">
                <a:pos x="248" y="14"/>
              </a:cxn>
              <a:cxn ang="0">
                <a:pos x="282" y="8"/>
              </a:cxn>
              <a:cxn ang="0">
                <a:pos x="308" y="12"/>
              </a:cxn>
              <a:cxn ang="0">
                <a:pos x="356" y="26"/>
              </a:cxn>
              <a:cxn ang="0">
                <a:pos x="368" y="44"/>
              </a:cxn>
              <a:cxn ang="0">
                <a:pos x="378" y="82"/>
              </a:cxn>
              <a:cxn ang="0">
                <a:pos x="382" y="100"/>
              </a:cxn>
              <a:cxn ang="0">
                <a:pos x="402" y="124"/>
              </a:cxn>
              <a:cxn ang="0">
                <a:pos x="444" y="152"/>
              </a:cxn>
              <a:cxn ang="0">
                <a:pos x="454" y="176"/>
              </a:cxn>
              <a:cxn ang="0">
                <a:pos x="484" y="182"/>
              </a:cxn>
              <a:cxn ang="0">
                <a:pos x="506" y="204"/>
              </a:cxn>
              <a:cxn ang="0">
                <a:pos x="468" y="238"/>
              </a:cxn>
              <a:cxn ang="0">
                <a:pos x="438" y="242"/>
              </a:cxn>
              <a:cxn ang="0">
                <a:pos x="452" y="264"/>
              </a:cxn>
              <a:cxn ang="0">
                <a:pos x="464" y="298"/>
              </a:cxn>
              <a:cxn ang="0">
                <a:pos x="482" y="330"/>
              </a:cxn>
              <a:cxn ang="0">
                <a:pos x="456" y="334"/>
              </a:cxn>
              <a:cxn ang="0">
                <a:pos x="436" y="352"/>
              </a:cxn>
              <a:cxn ang="0">
                <a:pos x="428" y="400"/>
              </a:cxn>
              <a:cxn ang="0">
                <a:pos x="416" y="410"/>
              </a:cxn>
              <a:cxn ang="0">
                <a:pos x="388" y="410"/>
              </a:cxn>
              <a:cxn ang="0">
                <a:pos x="360" y="424"/>
              </a:cxn>
              <a:cxn ang="0">
                <a:pos x="338" y="404"/>
              </a:cxn>
              <a:cxn ang="0">
                <a:pos x="320" y="422"/>
              </a:cxn>
              <a:cxn ang="0">
                <a:pos x="294" y="408"/>
              </a:cxn>
              <a:cxn ang="0">
                <a:pos x="278" y="418"/>
              </a:cxn>
              <a:cxn ang="0">
                <a:pos x="264" y="430"/>
              </a:cxn>
              <a:cxn ang="0">
                <a:pos x="240" y="424"/>
              </a:cxn>
              <a:cxn ang="0">
                <a:pos x="218" y="412"/>
              </a:cxn>
              <a:cxn ang="0">
                <a:pos x="196" y="408"/>
              </a:cxn>
              <a:cxn ang="0">
                <a:pos x="176" y="408"/>
              </a:cxn>
              <a:cxn ang="0">
                <a:pos x="140" y="408"/>
              </a:cxn>
            </a:cxnLst>
            <a:rect l="0" t="0" r="r" b="b"/>
            <a:pathLst>
              <a:path w="506" h="458">
                <a:moveTo>
                  <a:pt x="138" y="408"/>
                </a:moveTo>
                <a:lnTo>
                  <a:pt x="132" y="408"/>
                </a:lnTo>
                <a:lnTo>
                  <a:pt x="126" y="408"/>
                </a:lnTo>
                <a:lnTo>
                  <a:pt x="124" y="408"/>
                </a:lnTo>
                <a:lnTo>
                  <a:pt x="122" y="408"/>
                </a:lnTo>
                <a:lnTo>
                  <a:pt x="120" y="406"/>
                </a:lnTo>
                <a:lnTo>
                  <a:pt x="116" y="408"/>
                </a:lnTo>
                <a:lnTo>
                  <a:pt x="112" y="410"/>
                </a:lnTo>
                <a:lnTo>
                  <a:pt x="110" y="410"/>
                </a:lnTo>
                <a:lnTo>
                  <a:pt x="106" y="412"/>
                </a:lnTo>
                <a:lnTo>
                  <a:pt x="100" y="414"/>
                </a:lnTo>
                <a:lnTo>
                  <a:pt x="92" y="418"/>
                </a:lnTo>
                <a:lnTo>
                  <a:pt x="90" y="418"/>
                </a:lnTo>
                <a:lnTo>
                  <a:pt x="72" y="420"/>
                </a:lnTo>
                <a:lnTo>
                  <a:pt x="68" y="426"/>
                </a:lnTo>
                <a:lnTo>
                  <a:pt x="68" y="428"/>
                </a:lnTo>
                <a:lnTo>
                  <a:pt x="68" y="432"/>
                </a:lnTo>
                <a:lnTo>
                  <a:pt x="68" y="434"/>
                </a:lnTo>
                <a:lnTo>
                  <a:pt x="58" y="446"/>
                </a:lnTo>
                <a:lnTo>
                  <a:pt x="56" y="448"/>
                </a:lnTo>
                <a:lnTo>
                  <a:pt x="54" y="450"/>
                </a:lnTo>
                <a:lnTo>
                  <a:pt x="52" y="450"/>
                </a:lnTo>
                <a:lnTo>
                  <a:pt x="50" y="450"/>
                </a:lnTo>
                <a:lnTo>
                  <a:pt x="50" y="448"/>
                </a:lnTo>
                <a:lnTo>
                  <a:pt x="48" y="446"/>
                </a:lnTo>
                <a:lnTo>
                  <a:pt x="40" y="446"/>
                </a:lnTo>
                <a:lnTo>
                  <a:pt x="34" y="448"/>
                </a:lnTo>
                <a:lnTo>
                  <a:pt x="32" y="450"/>
                </a:lnTo>
                <a:lnTo>
                  <a:pt x="32" y="452"/>
                </a:lnTo>
                <a:lnTo>
                  <a:pt x="34" y="458"/>
                </a:lnTo>
                <a:lnTo>
                  <a:pt x="32" y="458"/>
                </a:lnTo>
                <a:lnTo>
                  <a:pt x="30" y="456"/>
                </a:lnTo>
                <a:lnTo>
                  <a:pt x="28" y="452"/>
                </a:lnTo>
                <a:lnTo>
                  <a:pt x="26" y="446"/>
                </a:lnTo>
                <a:lnTo>
                  <a:pt x="28" y="446"/>
                </a:lnTo>
                <a:lnTo>
                  <a:pt x="26" y="444"/>
                </a:lnTo>
                <a:lnTo>
                  <a:pt x="26" y="438"/>
                </a:lnTo>
                <a:lnTo>
                  <a:pt x="28" y="422"/>
                </a:lnTo>
                <a:lnTo>
                  <a:pt x="28" y="418"/>
                </a:lnTo>
                <a:lnTo>
                  <a:pt x="30" y="414"/>
                </a:lnTo>
                <a:lnTo>
                  <a:pt x="28" y="408"/>
                </a:lnTo>
                <a:lnTo>
                  <a:pt x="26" y="404"/>
                </a:lnTo>
                <a:lnTo>
                  <a:pt x="10" y="396"/>
                </a:lnTo>
                <a:lnTo>
                  <a:pt x="8" y="396"/>
                </a:lnTo>
                <a:lnTo>
                  <a:pt x="2" y="396"/>
                </a:lnTo>
                <a:lnTo>
                  <a:pt x="0" y="392"/>
                </a:lnTo>
                <a:lnTo>
                  <a:pt x="2" y="382"/>
                </a:lnTo>
                <a:lnTo>
                  <a:pt x="10" y="370"/>
                </a:lnTo>
                <a:lnTo>
                  <a:pt x="10" y="368"/>
                </a:lnTo>
                <a:lnTo>
                  <a:pt x="16" y="364"/>
                </a:lnTo>
                <a:lnTo>
                  <a:pt x="16" y="362"/>
                </a:lnTo>
                <a:lnTo>
                  <a:pt x="20" y="360"/>
                </a:lnTo>
                <a:lnTo>
                  <a:pt x="22" y="360"/>
                </a:lnTo>
                <a:lnTo>
                  <a:pt x="24" y="358"/>
                </a:lnTo>
                <a:lnTo>
                  <a:pt x="26" y="358"/>
                </a:lnTo>
                <a:lnTo>
                  <a:pt x="28" y="358"/>
                </a:lnTo>
                <a:lnTo>
                  <a:pt x="34" y="352"/>
                </a:lnTo>
                <a:lnTo>
                  <a:pt x="36" y="350"/>
                </a:lnTo>
                <a:lnTo>
                  <a:pt x="38" y="348"/>
                </a:lnTo>
                <a:lnTo>
                  <a:pt x="38" y="344"/>
                </a:lnTo>
                <a:lnTo>
                  <a:pt x="38" y="342"/>
                </a:lnTo>
                <a:lnTo>
                  <a:pt x="36" y="334"/>
                </a:lnTo>
                <a:lnTo>
                  <a:pt x="34" y="326"/>
                </a:lnTo>
                <a:lnTo>
                  <a:pt x="34" y="320"/>
                </a:lnTo>
                <a:lnTo>
                  <a:pt x="28" y="304"/>
                </a:lnTo>
                <a:lnTo>
                  <a:pt x="22" y="294"/>
                </a:lnTo>
                <a:lnTo>
                  <a:pt x="16" y="282"/>
                </a:lnTo>
                <a:lnTo>
                  <a:pt x="14" y="278"/>
                </a:lnTo>
                <a:lnTo>
                  <a:pt x="12" y="272"/>
                </a:lnTo>
                <a:lnTo>
                  <a:pt x="10" y="266"/>
                </a:lnTo>
                <a:lnTo>
                  <a:pt x="10" y="264"/>
                </a:lnTo>
                <a:lnTo>
                  <a:pt x="8" y="260"/>
                </a:lnTo>
                <a:lnTo>
                  <a:pt x="8" y="256"/>
                </a:lnTo>
                <a:lnTo>
                  <a:pt x="4" y="246"/>
                </a:lnTo>
                <a:lnTo>
                  <a:pt x="2" y="242"/>
                </a:lnTo>
                <a:lnTo>
                  <a:pt x="2" y="240"/>
                </a:lnTo>
                <a:lnTo>
                  <a:pt x="2" y="238"/>
                </a:lnTo>
                <a:lnTo>
                  <a:pt x="2" y="236"/>
                </a:lnTo>
                <a:lnTo>
                  <a:pt x="2" y="238"/>
                </a:lnTo>
                <a:lnTo>
                  <a:pt x="4" y="238"/>
                </a:lnTo>
                <a:lnTo>
                  <a:pt x="6" y="238"/>
                </a:lnTo>
                <a:lnTo>
                  <a:pt x="12" y="238"/>
                </a:lnTo>
                <a:lnTo>
                  <a:pt x="16" y="236"/>
                </a:lnTo>
                <a:lnTo>
                  <a:pt x="22" y="236"/>
                </a:lnTo>
                <a:lnTo>
                  <a:pt x="26" y="236"/>
                </a:lnTo>
                <a:lnTo>
                  <a:pt x="28" y="236"/>
                </a:lnTo>
                <a:lnTo>
                  <a:pt x="32" y="234"/>
                </a:lnTo>
                <a:lnTo>
                  <a:pt x="34" y="232"/>
                </a:lnTo>
                <a:lnTo>
                  <a:pt x="36" y="232"/>
                </a:lnTo>
                <a:lnTo>
                  <a:pt x="38" y="232"/>
                </a:lnTo>
                <a:lnTo>
                  <a:pt x="40" y="232"/>
                </a:lnTo>
                <a:lnTo>
                  <a:pt x="42" y="234"/>
                </a:lnTo>
                <a:lnTo>
                  <a:pt x="42" y="236"/>
                </a:lnTo>
                <a:lnTo>
                  <a:pt x="50" y="236"/>
                </a:lnTo>
                <a:lnTo>
                  <a:pt x="52" y="234"/>
                </a:lnTo>
                <a:lnTo>
                  <a:pt x="56" y="230"/>
                </a:lnTo>
                <a:lnTo>
                  <a:pt x="60" y="226"/>
                </a:lnTo>
                <a:lnTo>
                  <a:pt x="64" y="224"/>
                </a:lnTo>
                <a:lnTo>
                  <a:pt x="66" y="228"/>
                </a:lnTo>
                <a:lnTo>
                  <a:pt x="72" y="226"/>
                </a:lnTo>
                <a:lnTo>
                  <a:pt x="72" y="222"/>
                </a:lnTo>
                <a:lnTo>
                  <a:pt x="72" y="220"/>
                </a:lnTo>
                <a:lnTo>
                  <a:pt x="70" y="218"/>
                </a:lnTo>
                <a:lnTo>
                  <a:pt x="68" y="216"/>
                </a:lnTo>
                <a:lnTo>
                  <a:pt x="72" y="210"/>
                </a:lnTo>
                <a:lnTo>
                  <a:pt x="78" y="208"/>
                </a:lnTo>
                <a:lnTo>
                  <a:pt x="80" y="210"/>
                </a:lnTo>
                <a:lnTo>
                  <a:pt x="84" y="210"/>
                </a:lnTo>
                <a:lnTo>
                  <a:pt x="84" y="208"/>
                </a:lnTo>
                <a:lnTo>
                  <a:pt x="88" y="206"/>
                </a:lnTo>
                <a:lnTo>
                  <a:pt x="88" y="204"/>
                </a:lnTo>
                <a:lnTo>
                  <a:pt x="88" y="202"/>
                </a:lnTo>
                <a:lnTo>
                  <a:pt x="96" y="198"/>
                </a:lnTo>
                <a:lnTo>
                  <a:pt x="98" y="196"/>
                </a:lnTo>
                <a:lnTo>
                  <a:pt x="100" y="194"/>
                </a:lnTo>
                <a:lnTo>
                  <a:pt x="102" y="192"/>
                </a:lnTo>
                <a:lnTo>
                  <a:pt x="104" y="190"/>
                </a:lnTo>
                <a:lnTo>
                  <a:pt x="108" y="196"/>
                </a:lnTo>
                <a:lnTo>
                  <a:pt x="108" y="200"/>
                </a:lnTo>
                <a:lnTo>
                  <a:pt x="106" y="202"/>
                </a:lnTo>
                <a:lnTo>
                  <a:pt x="108" y="206"/>
                </a:lnTo>
                <a:lnTo>
                  <a:pt x="114" y="206"/>
                </a:lnTo>
                <a:lnTo>
                  <a:pt x="120" y="202"/>
                </a:lnTo>
                <a:lnTo>
                  <a:pt x="122" y="202"/>
                </a:lnTo>
                <a:lnTo>
                  <a:pt x="122" y="194"/>
                </a:lnTo>
                <a:lnTo>
                  <a:pt x="114" y="186"/>
                </a:lnTo>
                <a:lnTo>
                  <a:pt x="114" y="188"/>
                </a:lnTo>
                <a:lnTo>
                  <a:pt x="112" y="190"/>
                </a:lnTo>
                <a:lnTo>
                  <a:pt x="110" y="190"/>
                </a:lnTo>
                <a:lnTo>
                  <a:pt x="108" y="190"/>
                </a:lnTo>
                <a:lnTo>
                  <a:pt x="106" y="188"/>
                </a:lnTo>
                <a:lnTo>
                  <a:pt x="106" y="186"/>
                </a:lnTo>
                <a:lnTo>
                  <a:pt x="110" y="170"/>
                </a:lnTo>
                <a:lnTo>
                  <a:pt x="112" y="168"/>
                </a:lnTo>
                <a:lnTo>
                  <a:pt x="114" y="166"/>
                </a:lnTo>
                <a:lnTo>
                  <a:pt x="114" y="164"/>
                </a:lnTo>
                <a:lnTo>
                  <a:pt x="114" y="162"/>
                </a:lnTo>
                <a:lnTo>
                  <a:pt x="112" y="158"/>
                </a:lnTo>
                <a:lnTo>
                  <a:pt x="110" y="156"/>
                </a:lnTo>
                <a:lnTo>
                  <a:pt x="110" y="146"/>
                </a:lnTo>
                <a:lnTo>
                  <a:pt x="112" y="138"/>
                </a:lnTo>
                <a:lnTo>
                  <a:pt x="114" y="130"/>
                </a:lnTo>
                <a:lnTo>
                  <a:pt x="116" y="128"/>
                </a:lnTo>
                <a:lnTo>
                  <a:pt x="118" y="128"/>
                </a:lnTo>
                <a:lnTo>
                  <a:pt x="126" y="126"/>
                </a:lnTo>
                <a:lnTo>
                  <a:pt x="130" y="124"/>
                </a:lnTo>
                <a:lnTo>
                  <a:pt x="132" y="120"/>
                </a:lnTo>
                <a:lnTo>
                  <a:pt x="132" y="116"/>
                </a:lnTo>
                <a:lnTo>
                  <a:pt x="132" y="112"/>
                </a:lnTo>
                <a:lnTo>
                  <a:pt x="134" y="108"/>
                </a:lnTo>
                <a:lnTo>
                  <a:pt x="144" y="106"/>
                </a:lnTo>
                <a:lnTo>
                  <a:pt x="146" y="106"/>
                </a:lnTo>
                <a:lnTo>
                  <a:pt x="152" y="102"/>
                </a:lnTo>
                <a:lnTo>
                  <a:pt x="158" y="94"/>
                </a:lnTo>
                <a:lnTo>
                  <a:pt x="158" y="92"/>
                </a:lnTo>
                <a:lnTo>
                  <a:pt x="156" y="90"/>
                </a:lnTo>
                <a:lnTo>
                  <a:pt x="150" y="88"/>
                </a:lnTo>
                <a:lnTo>
                  <a:pt x="148" y="88"/>
                </a:lnTo>
                <a:lnTo>
                  <a:pt x="146" y="92"/>
                </a:lnTo>
                <a:lnTo>
                  <a:pt x="144" y="92"/>
                </a:lnTo>
                <a:lnTo>
                  <a:pt x="142" y="90"/>
                </a:lnTo>
                <a:lnTo>
                  <a:pt x="140" y="90"/>
                </a:lnTo>
                <a:lnTo>
                  <a:pt x="142" y="80"/>
                </a:lnTo>
                <a:lnTo>
                  <a:pt x="144" y="64"/>
                </a:lnTo>
                <a:lnTo>
                  <a:pt x="144" y="60"/>
                </a:lnTo>
                <a:lnTo>
                  <a:pt x="142" y="58"/>
                </a:lnTo>
                <a:lnTo>
                  <a:pt x="142" y="56"/>
                </a:lnTo>
                <a:lnTo>
                  <a:pt x="144" y="56"/>
                </a:lnTo>
                <a:lnTo>
                  <a:pt x="146" y="54"/>
                </a:lnTo>
                <a:lnTo>
                  <a:pt x="150" y="56"/>
                </a:lnTo>
                <a:lnTo>
                  <a:pt x="154" y="52"/>
                </a:lnTo>
                <a:lnTo>
                  <a:pt x="156" y="50"/>
                </a:lnTo>
                <a:lnTo>
                  <a:pt x="156" y="46"/>
                </a:lnTo>
                <a:lnTo>
                  <a:pt x="160" y="40"/>
                </a:lnTo>
                <a:lnTo>
                  <a:pt x="168" y="38"/>
                </a:lnTo>
                <a:lnTo>
                  <a:pt x="170" y="40"/>
                </a:lnTo>
                <a:lnTo>
                  <a:pt x="176" y="40"/>
                </a:lnTo>
                <a:lnTo>
                  <a:pt x="188" y="40"/>
                </a:lnTo>
                <a:lnTo>
                  <a:pt x="190" y="40"/>
                </a:lnTo>
                <a:lnTo>
                  <a:pt x="192" y="38"/>
                </a:lnTo>
                <a:lnTo>
                  <a:pt x="192" y="36"/>
                </a:lnTo>
                <a:lnTo>
                  <a:pt x="192" y="34"/>
                </a:lnTo>
                <a:lnTo>
                  <a:pt x="192" y="26"/>
                </a:lnTo>
                <a:lnTo>
                  <a:pt x="194" y="24"/>
                </a:lnTo>
                <a:lnTo>
                  <a:pt x="198" y="18"/>
                </a:lnTo>
                <a:lnTo>
                  <a:pt x="202" y="12"/>
                </a:lnTo>
                <a:lnTo>
                  <a:pt x="204" y="8"/>
                </a:lnTo>
                <a:lnTo>
                  <a:pt x="212" y="0"/>
                </a:lnTo>
                <a:lnTo>
                  <a:pt x="214" y="2"/>
                </a:lnTo>
                <a:lnTo>
                  <a:pt x="216" y="2"/>
                </a:lnTo>
                <a:lnTo>
                  <a:pt x="224" y="10"/>
                </a:lnTo>
                <a:lnTo>
                  <a:pt x="226" y="8"/>
                </a:lnTo>
                <a:lnTo>
                  <a:pt x="226" y="6"/>
                </a:lnTo>
                <a:lnTo>
                  <a:pt x="234" y="2"/>
                </a:lnTo>
                <a:lnTo>
                  <a:pt x="238" y="2"/>
                </a:lnTo>
                <a:lnTo>
                  <a:pt x="240" y="2"/>
                </a:lnTo>
                <a:lnTo>
                  <a:pt x="244" y="8"/>
                </a:lnTo>
                <a:lnTo>
                  <a:pt x="244" y="10"/>
                </a:lnTo>
                <a:lnTo>
                  <a:pt x="246" y="14"/>
                </a:lnTo>
                <a:lnTo>
                  <a:pt x="248" y="14"/>
                </a:lnTo>
                <a:lnTo>
                  <a:pt x="252" y="14"/>
                </a:lnTo>
                <a:lnTo>
                  <a:pt x="254" y="10"/>
                </a:lnTo>
                <a:lnTo>
                  <a:pt x="260" y="6"/>
                </a:lnTo>
                <a:lnTo>
                  <a:pt x="260" y="4"/>
                </a:lnTo>
                <a:lnTo>
                  <a:pt x="262" y="4"/>
                </a:lnTo>
                <a:lnTo>
                  <a:pt x="266" y="4"/>
                </a:lnTo>
                <a:lnTo>
                  <a:pt x="268" y="4"/>
                </a:lnTo>
                <a:lnTo>
                  <a:pt x="282" y="8"/>
                </a:lnTo>
                <a:lnTo>
                  <a:pt x="284" y="10"/>
                </a:lnTo>
                <a:lnTo>
                  <a:pt x="282" y="14"/>
                </a:lnTo>
                <a:lnTo>
                  <a:pt x="282" y="22"/>
                </a:lnTo>
                <a:lnTo>
                  <a:pt x="284" y="26"/>
                </a:lnTo>
                <a:lnTo>
                  <a:pt x="290" y="30"/>
                </a:lnTo>
                <a:lnTo>
                  <a:pt x="292" y="30"/>
                </a:lnTo>
                <a:lnTo>
                  <a:pt x="298" y="22"/>
                </a:lnTo>
                <a:lnTo>
                  <a:pt x="308" y="12"/>
                </a:lnTo>
                <a:lnTo>
                  <a:pt x="310" y="12"/>
                </a:lnTo>
                <a:lnTo>
                  <a:pt x="312" y="10"/>
                </a:lnTo>
                <a:lnTo>
                  <a:pt x="326" y="8"/>
                </a:lnTo>
                <a:lnTo>
                  <a:pt x="338" y="10"/>
                </a:lnTo>
                <a:lnTo>
                  <a:pt x="340" y="10"/>
                </a:lnTo>
                <a:lnTo>
                  <a:pt x="346" y="18"/>
                </a:lnTo>
                <a:lnTo>
                  <a:pt x="350" y="22"/>
                </a:lnTo>
                <a:lnTo>
                  <a:pt x="356" y="26"/>
                </a:lnTo>
                <a:lnTo>
                  <a:pt x="358" y="26"/>
                </a:lnTo>
                <a:lnTo>
                  <a:pt x="360" y="24"/>
                </a:lnTo>
                <a:lnTo>
                  <a:pt x="362" y="22"/>
                </a:lnTo>
                <a:lnTo>
                  <a:pt x="364" y="24"/>
                </a:lnTo>
                <a:lnTo>
                  <a:pt x="366" y="26"/>
                </a:lnTo>
                <a:lnTo>
                  <a:pt x="368" y="34"/>
                </a:lnTo>
                <a:lnTo>
                  <a:pt x="370" y="42"/>
                </a:lnTo>
                <a:lnTo>
                  <a:pt x="368" y="44"/>
                </a:lnTo>
                <a:lnTo>
                  <a:pt x="366" y="46"/>
                </a:lnTo>
                <a:lnTo>
                  <a:pt x="366" y="50"/>
                </a:lnTo>
                <a:lnTo>
                  <a:pt x="366" y="52"/>
                </a:lnTo>
                <a:lnTo>
                  <a:pt x="372" y="60"/>
                </a:lnTo>
                <a:lnTo>
                  <a:pt x="374" y="60"/>
                </a:lnTo>
                <a:lnTo>
                  <a:pt x="376" y="64"/>
                </a:lnTo>
                <a:lnTo>
                  <a:pt x="382" y="72"/>
                </a:lnTo>
                <a:lnTo>
                  <a:pt x="378" y="82"/>
                </a:lnTo>
                <a:lnTo>
                  <a:pt x="376" y="82"/>
                </a:lnTo>
                <a:lnTo>
                  <a:pt x="376" y="84"/>
                </a:lnTo>
                <a:lnTo>
                  <a:pt x="374" y="86"/>
                </a:lnTo>
                <a:lnTo>
                  <a:pt x="374" y="94"/>
                </a:lnTo>
                <a:lnTo>
                  <a:pt x="374" y="98"/>
                </a:lnTo>
                <a:lnTo>
                  <a:pt x="376" y="100"/>
                </a:lnTo>
                <a:lnTo>
                  <a:pt x="380" y="100"/>
                </a:lnTo>
                <a:lnTo>
                  <a:pt x="382" y="100"/>
                </a:lnTo>
                <a:lnTo>
                  <a:pt x="388" y="104"/>
                </a:lnTo>
                <a:lnTo>
                  <a:pt x="394" y="108"/>
                </a:lnTo>
                <a:lnTo>
                  <a:pt x="398" y="114"/>
                </a:lnTo>
                <a:lnTo>
                  <a:pt x="396" y="116"/>
                </a:lnTo>
                <a:lnTo>
                  <a:pt x="396" y="120"/>
                </a:lnTo>
                <a:lnTo>
                  <a:pt x="396" y="122"/>
                </a:lnTo>
                <a:lnTo>
                  <a:pt x="398" y="124"/>
                </a:lnTo>
                <a:lnTo>
                  <a:pt x="402" y="124"/>
                </a:lnTo>
                <a:lnTo>
                  <a:pt x="404" y="124"/>
                </a:lnTo>
                <a:lnTo>
                  <a:pt x="410" y="132"/>
                </a:lnTo>
                <a:lnTo>
                  <a:pt x="412" y="138"/>
                </a:lnTo>
                <a:lnTo>
                  <a:pt x="414" y="142"/>
                </a:lnTo>
                <a:lnTo>
                  <a:pt x="426" y="148"/>
                </a:lnTo>
                <a:lnTo>
                  <a:pt x="434" y="150"/>
                </a:lnTo>
                <a:lnTo>
                  <a:pt x="438" y="150"/>
                </a:lnTo>
                <a:lnTo>
                  <a:pt x="444" y="152"/>
                </a:lnTo>
                <a:lnTo>
                  <a:pt x="446" y="158"/>
                </a:lnTo>
                <a:lnTo>
                  <a:pt x="446" y="160"/>
                </a:lnTo>
                <a:lnTo>
                  <a:pt x="446" y="168"/>
                </a:lnTo>
                <a:lnTo>
                  <a:pt x="446" y="172"/>
                </a:lnTo>
                <a:lnTo>
                  <a:pt x="446" y="174"/>
                </a:lnTo>
                <a:lnTo>
                  <a:pt x="446" y="176"/>
                </a:lnTo>
                <a:lnTo>
                  <a:pt x="452" y="178"/>
                </a:lnTo>
                <a:lnTo>
                  <a:pt x="454" y="176"/>
                </a:lnTo>
                <a:lnTo>
                  <a:pt x="456" y="174"/>
                </a:lnTo>
                <a:lnTo>
                  <a:pt x="458" y="174"/>
                </a:lnTo>
                <a:lnTo>
                  <a:pt x="464" y="170"/>
                </a:lnTo>
                <a:lnTo>
                  <a:pt x="476" y="174"/>
                </a:lnTo>
                <a:lnTo>
                  <a:pt x="484" y="176"/>
                </a:lnTo>
                <a:lnTo>
                  <a:pt x="486" y="176"/>
                </a:lnTo>
                <a:lnTo>
                  <a:pt x="488" y="178"/>
                </a:lnTo>
                <a:lnTo>
                  <a:pt x="484" y="182"/>
                </a:lnTo>
                <a:lnTo>
                  <a:pt x="484" y="186"/>
                </a:lnTo>
                <a:lnTo>
                  <a:pt x="486" y="190"/>
                </a:lnTo>
                <a:lnTo>
                  <a:pt x="488" y="190"/>
                </a:lnTo>
                <a:lnTo>
                  <a:pt x="498" y="194"/>
                </a:lnTo>
                <a:lnTo>
                  <a:pt x="500" y="194"/>
                </a:lnTo>
                <a:lnTo>
                  <a:pt x="504" y="196"/>
                </a:lnTo>
                <a:lnTo>
                  <a:pt x="504" y="198"/>
                </a:lnTo>
                <a:lnTo>
                  <a:pt x="506" y="204"/>
                </a:lnTo>
                <a:lnTo>
                  <a:pt x="502" y="210"/>
                </a:lnTo>
                <a:lnTo>
                  <a:pt x="494" y="222"/>
                </a:lnTo>
                <a:lnTo>
                  <a:pt x="494" y="224"/>
                </a:lnTo>
                <a:lnTo>
                  <a:pt x="488" y="230"/>
                </a:lnTo>
                <a:lnTo>
                  <a:pt x="484" y="234"/>
                </a:lnTo>
                <a:lnTo>
                  <a:pt x="480" y="236"/>
                </a:lnTo>
                <a:lnTo>
                  <a:pt x="472" y="238"/>
                </a:lnTo>
                <a:lnTo>
                  <a:pt x="468" y="238"/>
                </a:lnTo>
                <a:lnTo>
                  <a:pt x="462" y="236"/>
                </a:lnTo>
                <a:lnTo>
                  <a:pt x="460" y="234"/>
                </a:lnTo>
                <a:lnTo>
                  <a:pt x="460" y="232"/>
                </a:lnTo>
                <a:lnTo>
                  <a:pt x="450" y="232"/>
                </a:lnTo>
                <a:lnTo>
                  <a:pt x="440" y="234"/>
                </a:lnTo>
                <a:lnTo>
                  <a:pt x="438" y="236"/>
                </a:lnTo>
                <a:lnTo>
                  <a:pt x="438" y="240"/>
                </a:lnTo>
                <a:lnTo>
                  <a:pt x="438" y="242"/>
                </a:lnTo>
                <a:lnTo>
                  <a:pt x="440" y="244"/>
                </a:lnTo>
                <a:lnTo>
                  <a:pt x="438" y="250"/>
                </a:lnTo>
                <a:lnTo>
                  <a:pt x="434" y="252"/>
                </a:lnTo>
                <a:lnTo>
                  <a:pt x="444" y="262"/>
                </a:lnTo>
                <a:lnTo>
                  <a:pt x="446" y="262"/>
                </a:lnTo>
                <a:lnTo>
                  <a:pt x="446" y="264"/>
                </a:lnTo>
                <a:lnTo>
                  <a:pt x="450" y="264"/>
                </a:lnTo>
                <a:lnTo>
                  <a:pt x="452" y="264"/>
                </a:lnTo>
                <a:lnTo>
                  <a:pt x="454" y="264"/>
                </a:lnTo>
                <a:lnTo>
                  <a:pt x="456" y="268"/>
                </a:lnTo>
                <a:lnTo>
                  <a:pt x="458" y="270"/>
                </a:lnTo>
                <a:lnTo>
                  <a:pt x="458" y="274"/>
                </a:lnTo>
                <a:lnTo>
                  <a:pt x="458" y="278"/>
                </a:lnTo>
                <a:lnTo>
                  <a:pt x="454" y="280"/>
                </a:lnTo>
                <a:lnTo>
                  <a:pt x="462" y="288"/>
                </a:lnTo>
                <a:lnTo>
                  <a:pt x="464" y="298"/>
                </a:lnTo>
                <a:lnTo>
                  <a:pt x="468" y="308"/>
                </a:lnTo>
                <a:lnTo>
                  <a:pt x="468" y="310"/>
                </a:lnTo>
                <a:lnTo>
                  <a:pt x="468" y="314"/>
                </a:lnTo>
                <a:lnTo>
                  <a:pt x="476" y="320"/>
                </a:lnTo>
                <a:lnTo>
                  <a:pt x="480" y="322"/>
                </a:lnTo>
                <a:lnTo>
                  <a:pt x="480" y="324"/>
                </a:lnTo>
                <a:lnTo>
                  <a:pt x="482" y="328"/>
                </a:lnTo>
                <a:lnTo>
                  <a:pt x="482" y="330"/>
                </a:lnTo>
                <a:lnTo>
                  <a:pt x="480" y="330"/>
                </a:lnTo>
                <a:lnTo>
                  <a:pt x="472" y="330"/>
                </a:lnTo>
                <a:lnTo>
                  <a:pt x="468" y="332"/>
                </a:lnTo>
                <a:lnTo>
                  <a:pt x="466" y="332"/>
                </a:lnTo>
                <a:lnTo>
                  <a:pt x="462" y="332"/>
                </a:lnTo>
                <a:lnTo>
                  <a:pt x="460" y="334"/>
                </a:lnTo>
                <a:lnTo>
                  <a:pt x="458" y="334"/>
                </a:lnTo>
                <a:lnTo>
                  <a:pt x="456" y="334"/>
                </a:lnTo>
                <a:lnTo>
                  <a:pt x="454" y="338"/>
                </a:lnTo>
                <a:lnTo>
                  <a:pt x="446" y="338"/>
                </a:lnTo>
                <a:lnTo>
                  <a:pt x="444" y="338"/>
                </a:lnTo>
                <a:lnTo>
                  <a:pt x="436" y="342"/>
                </a:lnTo>
                <a:lnTo>
                  <a:pt x="436" y="344"/>
                </a:lnTo>
                <a:lnTo>
                  <a:pt x="436" y="346"/>
                </a:lnTo>
                <a:lnTo>
                  <a:pt x="438" y="348"/>
                </a:lnTo>
                <a:lnTo>
                  <a:pt x="436" y="352"/>
                </a:lnTo>
                <a:lnTo>
                  <a:pt x="432" y="356"/>
                </a:lnTo>
                <a:lnTo>
                  <a:pt x="428" y="360"/>
                </a:lnTo>
                <a:lnTo>
                  <a:pt x="426" y="368"/>
                </a:lnTo>
                <a:lnTo>
                  <a:pt x="426" y="370"/>
                </a:lnTo>
                <a:lnTo>
                  <a:pt x="426" y="380"/>
                </a:lnTo>
                <a:lnTo>
                  <a:pt x="424" y="386"/>
                </a:lnTo>
                <a:lnTo>
                  <a:pt x="424" y="394"/>
                </a:lnTo>
                <a:lnTo>
                  <a:pt x="428" y="400"/>
                </a:lnTo>
                <a:lnTo>
                  <a:pt x="434" y="410"/>
                </a:lnTo>
                <a:lnTo>
                  <a:pt x="434" y="412"/>
                </a:lnTo>
                <a:lnTo>
                  <a:pt x="432" y="414"/>
                </a:lnTo>
                <a:lnTo>
                  <a:pt x="430" y="418"/>
                </a:lnTo>
                <a:lnTo>
                  <a:pt x="430" y="422"/>
                </a:lnTo>
                <a:lnTo>
                  <a:pt x="424" y="418"/>
                </a:lnTo>
                <a:lnTo>
                  <a:pt x="416" y="414"/>
                </a:lnTo>
                <a:lnTo>
                  <a:pt x="416" y="410"/>
                </a:lnTo>
                <a:lnTo>
                  <a:pt x="406" y="404"/>
                </a:lnTo>
                <a:lnTo>
                  <a:pt x="404" y="404"/>
                </a:lnTo>
                <a:lnTo>
                  <a:pt x="402" y="404"/>
                </a:lnTo>
                <a:lnTo>
                  <a:pt x="398" y="404"/>
                </a:lnTo>
                <a:lnTo>
                  <a:pt x="396" y="406"/>
                </a:lnTo>
                <a:lnTo>
                  <a:pt x="394" y="406"/>
                </a:lnTo>
                <a:lnTo>
                  <a:pt x="390" y="408"/>
                </a:lnTo>
                <a:lnTo>
                  <a:pt x="388" y="410"/>
                </a:lnTo>
                <a:lnTo>
                  <a:pt x="386" y="412"/>
                </a:lnTo>
                <a:lnTo>
                  <a:pt x="382" y="412"/>
                </a:lnTo>
                <a:lnTo>
                  <a:pt x="380" y="412"/>
                </a:lnTo>
                <a:lnTo>
                  <a:pt x="378" y="408"/>
                </a:lnTo>
                <a:lnTo>
                  <a:pt x="376" y="408"/>
                </a:lnTo>
                <a:lnTo>
                  <a:pt x="372" y="410"/>
                </a:lnTo>
                <a:lnTo>
                  <a:pt x="362" y="420"/>
                </a:lnTo>
                <a:lnTo>
                  <a:pt x="360" y="424"/>
                </a:lnTo>
                <a:lnTo>
                  <a:pt x="358" y="422"/>
                </a:lnTo>
                <a:lnTo>
                  <a:pt x="352" y="412"/>
                </a:lnTo>
                <a:lnTo>
                  <a:pt x="352" y="408"/>
                </a:lnTo>
                <a:lnTo>
                  <a:pt x="346" y="402"/>
                </a:lnTo>
                <a:lnTo>
                  <a:pt x="344" y="402"/>
                </a:lnTo>
                <a:lnTo>
                  <a:pt x="342" y="402"/>
                </a:lnTo>
                <a:lnTo>
                  <a:pt x="340" y="402"/>
                </a:lnTo>
                <a:lnTo>
                  <a:pt x="338" y="404"/>
                </a:lnTo>
                <a:lnTo>
                  <a:pt x="328" y="412"/>
                </a:lnTo>
                <a:lnTo>
                  <a:pt x="328" y="414"/>
                </a:lnTo>
                <a:lnTo>
                  <a:pt x="326" y="416"/>
                </a:lnTo>
                <a:lnTo>
                  <a:pt x="326" y="420"/>
                </a:lnTo>
                <a:lnTo>
                  <a:pt x="326" y="422"/>
                </a:lnTo>
                <a:lnTo>
                  <a:pt x="326" y="426"/>
                </a:lnTo>
                <a:lnTo>
                  <a:pt x="320" y="424"/>
                </a:lnTo>
                <a:lnTo>
                  <a:pt x="320" y="422"/>
                </a:lnTo>
                <a:lnTo>
                  <a:pt x="318" y="418"/>
                </a:lnTo>
                <a:lnTo>
                  <a:pt x="316" y="416"/>
                </a:lnTo>
                <a:lnTo>
                  <a:pt x="316" y="412"/>
                </a:lnTo>
                <a:lnTo>
                  <a:pt x="308" y="412"/>
                </a:lnTo>
                <a:lnTo>
                  <a:pt x="306" y="414"/>
                </a:lnTo>
                <a:lnTo>
                  <a:pt x="306" y="416"/>
                </a:lnTo>
                <a:lnTo>
                  <a:pt x="298" y="414"/>
                </a:lnTo>
                <a:lnTo>
                  <a:pt x="294" y="408"/>
                </a:lnTo>
                <a:lnTo>
                  <a:pt x="292" y="408"/>
                </a:lnTo>
                <a:lnTo>
                  <a:pt x="290" y="412"/>
                </a:lnTo>
                <a:lnTo>
                  <a:pt x="288" y="414"/>
                </a:lnTo>
                <a:lnTo>
                  <a:pt x="288" y="416"/>
                </a:lnTo>
                <a:lnTo>
                  <a:pt x="286" y="418"/>
                </a:lnTo>
                <a:lnTo>
                  <a:pt x="282" y="420"/>
                </a:lnTo>
                <a:lnTo>
                  <a:pt x="280" y="420"/>
                </a:lnTo>
                <a:lnTo>
                  <a:pt x="278" y="418"/>
                </a:lnTo>
                <a:lnTo>
                  <a:pt x="276" y="418"/>
                </a:lnTo>
                <a:lnTo>
                  <a:pt x="274" y="416"/>
                </a:lnTo>
                <a:lnTo>
                  <a:pt x="272" y="416"/>
                </a:lnTo>
                <a:lnTo>
                  <a:pt x="270" y="418"/>
                </a:lnTo>
                <a:lnTo>
                  <a:pt x="270" y="422"/>
                </a:lnTo>
                <a:lnTo>
                  <a:pt x="270" y="424"/>
                </a:lnTo>
                <a:lnTo>
                  <a:pt x="268" y="430"/>
                </a:lnTo>
                <a:lnTo>
                  <a:pt x="264" y="430"/>
                </a:lnTo>
                <a:lnTo>
                  <a:pt x="264" y="424"/>
                </a:lnTo>
                <a:lnTo>
                  <a:pt x="266" y="420"/>
                </a:lnTo>
                <a:lnTo>
                  <a:pt x="262" y="420"/>
                </a:lnTo>
                <a:lnTo>
                  <a:pt x="258" y="418"/>
                </a:lnTo>
                <a:lnTo>
                  <a:pt x="252" y="418"/>
                </a:lnTo>
                <a:lnTo>
                  <a:pt x="250" y="422"/>
                </a:lnTo>
                <a:lnTo>
                  <a:pt x="248" y="422"/>
                </a:lnTo>
                <a:lnTo>
                  <a:pt x="240" y="424"/>
                </a:lnTo>
                <a:lnTo>
                  <a:pt x="234" y="418"/>
                </a:lnTo>
                <a:lnTo>
                  <a:pt x="234" y="412"/>
                </a:lnTo>
                <a:lnTo>
                  <a:pt x="232" y="410"/>
                </a:lnTo>
                <a:lnTo>
                  <a:pt x="230" y="408"/>
                </a:lnTo>
                <a:lnTo>
                  <a:pt x="226" y="408"/>
                </a:lnTo>
                <a:lnTo>
                  <a:pt x="222" y="410"/>
                </a:lnTo>
                <a:lnTo>
                  <a:pt x="220" y="412"/>
                </a:lnTo>
                <a:lnTo>
                  <a:pt x="218" y="412"/>
                </a:lnTo>
                <a:lnTo>
                  <a:pt x="216" y="412"/>
                </a:lnTo>
                <a:lnTo>
                  <a:pt x="212" y="412"/>
                </a:lnTo>
                <a:lnTo>
                  <a:pt x="208" y="410"/>
                </a:lnTo>
                <a:lnTo>
                  <a:pt x="204" y="410"/>
                </a:lnTo>
                <a:lnTo>
                  <a:pt x="202" y="408"/>
                </a:lnTo>
                <a:lnTo>
                  <a:pt x="200" y="408"/>
                </a:lnTo>
                <a:lnTo>
                  <a:pt x="198" y="408"/>
                </a:lnTo>
                <a:lnTo>
                  <a:pt x="196" y="408"/>
                </a:lnTo>
                <a:lnTo>
                  <a:pt x="194" y="410"/>
                </a:lnTo>
                <a:lnTo>
                  <a:pt x="192" y="410"/>
                </a:lnTo>
                <a:lnTo>
                  <a:pt x="190" y="410"/>
                </a:lnTo>
                <a:lnTo>
                  <a:pt x="188" y="410"/>
                </a:lnTo>
                <a:lnTo>
                  <a:pt x="188" y="406"/>
                </a:lnTo>
                <a:lnTo>
                  <a:pt x="184" y="408"/>
                </a:lnTo>
                <a:lnTo>
                  <a:pt x="180" y="408"/>
                </a:lnTo>
                <a:lnTo>
                  <a:pt x="176" y="408"/>
                </a:lnTo>
                <a:lnTo>
                  <a:pt x="174" y="408"/>
                </a:lnTo>
                <a:lnTo>
                  <a:pt x="172" y="408"/>
                </a:lnTo>
                <a:lnTo>
                  <a:pt x="164" y="406"/>
                </a:lnTo>
                <a:lnTo>
                  <a:pt x="152" y="404"/>
                </a:lnTo>
                <a:lnTo>
                  <a:pt x="150" y="404"/>
                </a:lnTo>
                <a:lnTo>
                  <a:pt x="148" y="406"/>
                </a:lnTo>
                <a:lnTo>
                  <a:pt x="146" y="406"/>
                </a:lnTo>
                <a:lnTo>
                  <a:pt x="140" y="408"/>
                </a:lnTo>
                <a:lnTo>
                  <a:pt x="138" y="40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282" name="Group 2829"/>
          <p:cNvGrpSpPr>
            <a:grpSpLocks/>
          </p:cNvGrpSpPr>
          <p:nvPr/>
        </p:nvGrpSpPr>
        <p:grpSpPr bwMode="auto">
          <a:xfrm>
            <a:off x="3469403" y="2923587"/>
            <a:ext cx="788635" cy="1364580"/>
            <a:chOff x="1416" y="1190"/>
            <a:chExt cx="534" cy="924"/>
          </a:xfrm>
          <a:solidFill>
            <a:srgbClr val="B9B9B9"/>
          </a:solidFill>
        </p:grpSpPr>
        <p:sp>
          <p:nvSpPr>
            <p:cNvPr id="643" name="Freeform 2579"/>
            <p:cNvSpPr>
              <a:spLocks/>
            </p:cNvSpPr>
            <p:nvPr/>
          </p:nvSpPr>
          <p:spPr bwMode="auto">
            <a:xfrm>
              <a:off x="1918" y="1190"/>
              <a:ext cx="12" cy="16"/>
            </a:xfrm>
            <a:custGeom>
              <a:avLst/>
              <a:gdLst/>
              <a:ahLst/>
              <a:cxnLst>
                <a:cxn ang="0">
                  <a:pos x="4" y="16"/>
                </a:cxn>
                <a:cxn ang="0">
                  <a:pos x="0" y="14"/>
                </a:cxn>
                <a:cxn ang="0">
                  <a:pos x="0" y="12"/>
                </a:cxn>
                <a:cxn ang="0">
                  <a:pos x="2" y="4"/>
                </a:cxn>
                <a:cxn ang="0">
                  <a:pos x="6" y="0"/>
                </a:cxn>
                <a:cxn ang="0">
                  <a:pos x="10" y="0"/>
                </a:cxn>
                <a:cxn ang="0">
                  <a:pos x="12" y="2"/>
                </a:cxn>
                <a:cxn ang="0">
                  <a:pos x="12" y="4"/>
                </a:cxn>
                <a:cxn ang="0">
                  <a:pos x="10" y="6"/>
                </a:cxn>
                <a:cxn ang="0">
                  <a:pos x="6" y="14"/>
                </a:cxn>
                <a:cxn ang="0">
                  <a:pos x="4" y="16"/>
                </a:cxn>
              </a:cxnLst>
              <a:rect l="0" t="0" r="r" b="b"/>
              <a:pathLst>
                <a:path w="12" h="16">
                  <a:moveTo>
                    <a:pt x="4" y="16"/>
                  </a:moveTo>
                  <a:lnTo>
                    <a:pt x="0" y="14"/>
                  </a:lnTo>
                  <a:lnTo>
                    <a:pt x="0" y="12"/>
                  </a:lnTo>
                  <a:lnTo>
                    <a:pt x="2" y="4"/>
                  </a:lnTo>
                  <a:lnTo>
                    <a:pt x="6" y="0"/>
                  </a:lnTo>
                  <a:lnTo>
                    <a:pt x="10" y="0"/>
                  </a:lnTo>
                  <a:lnTo>
                    <a:pt x="12" y="2"/>
                  </a:lnTo>
                  <a:lnTo>
                    <a:pt x="12" y="4"/>
                  </a:lnTo>
                  <a:lnTo>
                    <a:pt x="10" y="6"/>
                  </a:lnTo>
                  <a:lnTo>
                    <a:pt x="6" y="14"/>
                  </a:lnTo>
                  <a:lnTo>
                    <a:pt x="4"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4" name="Freeform 2580"/>
            <p:cNvSpPr>
              <a:spLocks/>
            </p:cNvSpPr>
            <p:nvPr/>
          </p:nvSpPr>
          <p:spPr bwMode="auto">
            <a:xfrm>
              <a:off x="1906" y="1198"/>
              <a:ext cx="10" cy="22"/>
            </a:xfrm>
            <a:custGeom>
              <a:avLst/>
              <a:gdLst/>
              <a:ahLst/>
              <a:cxnLst>
                <a:cxn ang="0">
                  <a:pos x="0" y="22"/>
                </a:cxn>
                <a:cxn ang="0">
                  <a:pos x="0" y="18"/>
                </a:cxn>
                <a:cxn ang="0">
                  <a:pos x="0" y="12"/>
                </a:cxn>
                <a:cxn ang="0">
                  <a:pos x="0" y="10"/>
                </a:cxn>
                <a:cxn ang="0">
                  <a:pos x="0" y="8"/>
                </a:cxn>
                <a:cxn ang="0">
                  <a:pos x="6" y="0"/>
                </a:cxn>
                <a:cxn ang="0">
                  <a:pos x="8" y="0"/>
                </a:cxn>
                <a:cxn ang="0">
                  <a:pos x="10" y="2"/>
                </a:cxn>
                <a:cxn ang="0">
                  <a:pos x="10" y="8"/>
                </a:cxn>
                <a:cxn ang="0">
                  <a:pos x="6" y="20"/>
                </a:cxn>
                <a:cxn ang="0">
                  <a:pos x="4" y="22"/>
                </a:cxn>
                <a:cxn ang="0">
                  <a:pos x="0" y="22"/>
                </a:cxn>
              </a:cxnLst>
              <a:rect l="0" t="0" r="r" b="b"/>
              <a:pathLst>
                <a:path w="10" h="22">
                  <a:moveTo>
                    <a:pt x="0" y="22"/>
                  </a:moveTo>
                  <a:lnTo>
                    <a:pt x="0" y="18"/>
                  </a:lnTo>
                  <a:lnTo>
                    <a:pt x="0" y="12"/>
                  </a:lnTo>
                  <a:lnTo>
                    <a:pt x="0" y="10"/>
                  </a:lnTo>
                  <a:lnTo>
                    <a:pt x="0" y="8"/>
                  </a:lnTo>
                  <a:lnTo>
                    <a:pt x="6" y="0"/>
                  </a:lnTo>
                  <a:lnTo>
                    <a:pt x="8" y="0"/>
                  </a:lnTo>
                  <a:lnTo>
                    <a:pt x="10" y="2"/>
                  </a:lnTo>
                  <a:lnTo>
                    <a:pt x="10" y="8"/>
                  </a:lnTo>
                  <a:lnTo>
                    <a:pt x="6" y="20"/>
                  </a:lnTo>
                  <a:lnTo>
                    <a:pt x="4" y="22"/>
                  </a:lnTo>
                  <a:lnTo>
                    <a:pt x="0"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5" name="Freeform 2581"/>
            <p:cNvSpPr>
              <a:spLocks/>
            </p:cNvSpPr>
            <p:nvPr/>
          </p:nvSpPr>
          <p:spPr bwMode="auto">
            <a:xfrm>
              <a:off x="1916" y="1226"/>
              <a:ext cx="34" cy="70"/>
            </a:xfrm>
            <a:custGeom>
              <a:avLst/>
              <a:gdLst/>
              <a:ahLst/>
              <a:cxnLst>
                <a:cxn ang="0">
                  <a:pos x="22" y="38"/>
                </a:cxn>
                <a:cxn ang="0">
                  <a:pos x="22" y="40"/>
                </a:cxn>
                <a:cxn ang="0">
                  <a:pos x="22" y="44"/>
                </a:cxn>
                <a:cxn ang="0">
                  <a:pos x="22" y="46"/>
                </a:cxn>
                <a:cxn ang="0">
                  <a:pos x="20" y="46"/>
                </a:cxn>
                <a:cxn ang="0">
                  <a:pos x="18" y="48"/>
                </a:cxn>
                <a:cxn ang="0">
                  <a:pos x="16" y="54"/>
                </a:cxn>
                <a:cxn ang="0">
                  <a:pos x="10" y="68"/>
                </a:cxn>
                <a:cxn ang="0">
                  <a:pos x="10" y="70"/>
                </a:cxn>
                <a:cxn ang="0">
                  <a:pos x="8" y="68"/>
                </a:cxn>
                <a:cxn ang="0">
                  <a:pos x="6" y="64"/>
                </a:cxn>
                <a:cxn ang="0">
                  <a:pos x="10" y="56"/>
                </a:cxn>
                <a:cxn ang="0">
                  <a:pos x="12" y="54"/>
                </a:cxn>
                <a:cxn ang="0">
                  <a:pos x="14" y="48"/>
                </a:cxn>
                <a:cxn ang="0">
                  <a:pos x="16" y="46"/>
                </a:cxn>
                <a:cxn ang="0">
                  <a:pos x="18" y="36"/>
                </a:cxn>
                <a:cxn ang="0">
                  <a:pos x="18" y="34"/>
                </a:cxn>
                <a:cxn ang="0">
                  <a:pos x="12" y="32"/>
                </a:cxn>
                <a:cxn ang="0">
                  <a:pos x="14" y="34"/>
                </a:cxn>
                <a:cxn ang="0">
                  <a:pos x="14" y="36"/>
                </a:cxn>
                <a:cxn ang="0">
                  <a:pos x="14" y="38"/>
                </a:cxn>
                <a:cxn ang="0">
                  <a:pos x="8" y="40"/>
                </a:cxn>
                <a:cxn ang="0">
                  <a:pos x="6" y="38"/>
                </a:cxn>
                <a:cxn ang="0">
                  <a:pos x="6" y="36"/>
                </a:cxn>
                <a:cxn ang="0">
                  <a:pos x="4" y="34"/>
                </a:cxn>
                <a:cxn ang="0">
                  <a:pos x="2" y="32"/>
                </a:cxn>
                <a:cxn ang="0">
                  <a:pos x="0" y="32"/>
                </a:cxn>
                <a:cxn ang="0">
                  <a:pos x="0" y="30"/>
                </a:cxn>
                <a:cxn ang="0">
                  <a:pos x="0" y="26"/>
                </a:cxn>
                <a:cxn ang="0">
                  <a:pos x="2" y="26"/>
                </a:cxn>
                <a:cxn ang="0">
                  <a:pos x="4" y="26"/>
                </a:cxn>
                <a:cxn ang="0">
                  <a:pos x="6" y="26"/>
                </a:cxn>
                <a:cxn ang="0">
                  <a:pos x="10" y="26"/>
                </a:cxn>
                <a:cxn ang="0">
                  <a:pos x="12" y="26"/>
                </a:cxn>
                <a:cxn ang="0">
                  <a:pos x="14" y="26"/>
                </a:cxn>
                <a:cxn ang="0">
                  <a:pos x="18" y="26"/>
                </a:cxn>
                <a:cxn ang="0">
                  <a:pos x="18" y="24"/>
                </a:cxn>
                <a:cxn ang="0">
                  <a:pos x="14" y="14"/>
                </a:cxn>
                <a:cxn ang="0">
                  <a:pos x="14" y="12"/>
                </a:cxn>
                <a:cxn ang="0">
                  <a:pos x="10" y="10"/>
                </a:cxn>
                <a:cxn ang="0">
                  <a:pos x="8" y="10"/>
                </a:cxn>
                <a:cxn ang="0">
                  <a:pos x="10" y="8"/>
                </a:cxn>
                <a:cxn ang="0">
                  <a:pos x="12" y="6"/>
                </a:cxn>
                <a:cxn ang="0">
                  <a:pos x="20" y="0"/>
                </a:cxn>
                <a:cxn ang="0">
                  <a:pos x="26" y="0"/>
                </a:cxn>
                <a:cxn ang="0">
                  <a:pos x="26" y="2"/>
                </a:cxn>
                <a:cxn ang="0">
                  <a:pos x="22" y="12"/>
                </a:cxn>
                <a:cxn ang="0">
                  <a:pos x="22" y="14"/>
                </a:cxn>
                <a:cxn ang="0">
                  <a:pos x="28" y="16"/>
                </a:cxn>
                <a:cxn ang="0">
                  <a:pos x="34" y="18"/>
                </a:cxn>
                <a:cxn ang="0">
                  <a:pos x="30" y="26"/>
                </a:cxn>
                <a:cxn ang="0">
                  <a:pos x="26" y="34"/>
                </a:cxn>
                <a:cxn ang="0">
                  <a:pos x="24" y="34"/>
                </a:cxn>
                <a:cxn ang="0">
                  <a:pos x="22" y="34"/>
                </a:cxn>
                <a:cxn ang="0">
                  <a:pos x="22" y="36"/>
                </a:cxn>
                <a:cxn ang="0">
                  <a:pos x="22" y="38"/>
                </a:cxn>
              </a:cxnLst>
              <a:rect l="0" t="0" r="r" b="b"/>
              <a:pathLst>
                <a:path w="34" h="70">
                  <a:moveTo>
                    <a:pt x="22" y="38"/>
                  </a:moveTo>
                  <a:lnTo>
                    <a:pt x="22" y="40"/>
                  </a:lnTo>
                  <a:lnTo>
                    <a:pt x="22" y="44"/>
                  </a:lnTo>
                  <a:lnTo>
                    <a:pt x="22" y="46"/>
                  </a:lnTo>
                  <a:lnTo>
                    <a:pt x="20" y="46"/>
                  </a:lnTo>
                  <a:lnTo>
                    <a:pt x="18" y="48"/>
                  </a:lnTo>
                  <a:lnTo>
                    <a:pt x="16" y="54"/>
                  </a:lnTo>
                  <a:lnTo>
                    <a:pt x="10" y="68"/>
                  </a:lnTo>
                  <a:lnTo>
                    <a:pt x="10" y="70"/>
                  </a:lnTo>
                  <a:lnTo>
                    <a:pt x="8" y="68"/>
                  </a:lnTo>
                  <a:lnTo>
                    <a:pt x="6" y="64"/>
                  </a:lnTo>
                  <a:lnTo>
                    <a:pt x="10" y="56"/>
                  </a:lnTo>
                  <a:lnTo>
                    <a:pt x="12" y="54"/>
                  </a:lnTo>
                  <a:lnTo>
                    <a:pt x="14" y="48"/>
                  </a:lnTo>
                  <a:lnTo>
                    <a:pt x="16" y="46"/>
                  </a:lnTo>
                  <a:lnTo>
                    <a:pt x="18" y="36"/>
                  </a:lnTo>
                  <a:lnTo>
                    <a:pt x="18" y="34"/>
                  </a:lnTo>
                  <a:lnTo>
                    <a:pt x="12" y="32"/>
                  </a:lnTo>
                  <a:lnTo>
                    <a:pt x="14" y="34"/>
                  </a:lnTo>
                  <a:lnTo>
                    <a:pt x="14" y="36"/>
                  </a:lnTo>
                  <a:lnTo>
                    <a:pt x="14" y="38"/>
                  </a:lnTo>
                  <a:lnTo>
                    <a:pt x="8" y="40"/>
                  </a:lnTo>
                  <a:lnTo>
                    <a:pt x="6" y="38"/>
                  </a:lnTo>
                  <a:lnTo>
                    <a:pt x="6" y="36"/>
                  </a:lnTo>
                  <a:lnTo>
                    <a:pt x="4" y="34"/>
                  </a:lnTo>
                  <a:lnTo>
                    <a:pt x="2" y="32"/>
                  </a:lnTo>
                  <a:lnTo>
                    <a:pt x="0" y="32"/>
                  </a:lnTo>
                  <a:lnTo>
                    <a:pt x="0" y="30"/>
                  </a:lnTo>
                  <a:lnTo>
                    <a:pt x="0" y="26"/>
                  </a:lnTo>
                  <a:lnTo>
                    <a:pt x="2" y="26"/>
                  </a:lnTo>
                  <a:lnTo>
                    <a:pt x="4" y="26"/>
                  </a:lnTo>
                  <a:lnTo>
                    <a:pt x="6" y="26"/>
                  </a:lnTo>
                  <a:lnTo>
                    <a:pt x="10" y="26"/>
                  </a:lnTo>
                  <a:lnTo>
                    <a:pt x="12" y="26"/>
                  </a:lnTo>
                  <a:lnTo>
                    <a:pt x="14" y="26"/>
                  </a:lnTo>
                  <a:lnTo>
                    <a:pt x="18" y="26"/>
                  </a:lnTo>
                  <a:lnTo>
                    <a:pt x="18" y="24"/>
                  </a:lnTo>
                  <a:lnTo>
                    <a:pt x="14" y="14"/>
                  </a:lnTo>
                  <a:lnTo>
                    <a:pt x="14" y="12"/>
                  </a:lnTo>
                  <a:lnTo>
                    <a:pt x="10" y="10"/>
                  </a:lnTo>
                  <a:lnTo>
                    <a:pt x="8" y="10"/>
                  </a:lnTo>
                  <a:lnTo>
                    <a:pt x="10" y="8"/>
                  </a:lnTo>
                  <a:lnTo>
                    <a:pt x="12" y="6"/>
                  </a:lnTo>
                  <a:lnTo>
                    <a:pt x="20" y="0"/>
                  </a:lnTo>
                  <a:lnTo>
                    <a:pt x="26" y="0"/>
                  </a:lnTo>
                  <a:lnTo>
                    <a:pt x="26" y="2"/>
                  </a:lnTo>
                  <a:lnTo>
                    <a:pt x="22" y="12"/>
                  </a:lnTo>
                  <a:lnTo>
                    <a:pt x="22" y="14"/>
                  </a:lnTo>
                  <a:lnTo>
                    <a:pt x="28" y="16"/>
                  </a:lnTo>
                  <a:lnTo>
                    <a:pt x="34" y="18"/>
                  </a:lnTo>
                  <a:lnTo>
                    <a:pt x="30" y="26"/>
                  </a:lnTo>
                  <a:lnTo>
                    <a:pt x="26" y="34"/>
                  </a:lnTo>
                  <a:lnTo>
                    <a:pt x="24" y="34"/>
                  </a:lnTo>
                  <a:lnTo>
                    <a:pt x="22" y="34"/>
                  </a:lnTo>
                  <a:lnTo>
                    <a:pt x="22" y="36"/>
                  </a:lnTo>
                  <a:lnTo>
                    <a:pt x="22" y="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6" name="Freeform 2582"/>
            <p:cNvSpPr>
              <a:spLocks/>
            </p:cNvSpPr>
            <p:nvPr/>
          </p:nvSpPr>
          <p:spPr bwMode="auto">
            <a:xfrm>
              <a:off x="1806" y="1312"/>
              <a:ext cx="16" cy="8"/>
            </a:xfrm>
            <a:custGeom>
              <a:avLst/>
              <a:gdLst/>
              <a:ahLst/>
              <a:cxnLst>
                <a:cxn ang="0">
                  <a:pos x="0" y="8"/>
                </a:cxn>
                <a:cxn ang="0">
                  <a:pos x="0" y="6"/>
                </a:cxn>
                <a:cxn ang="0">
                  <a:pos x="2" y="6"/>
                </a:cxn>
                <a:cxn ang="0">
                  <a:pos x="6" y="0"/>
                </a:cxn>
                <a:cxn ang="0">
                  <a:pos x="10" y="0"/>
                </a:cxn>
                <a:cxn ang="0">
                  <a:pos x="16" y="0"/>
                </a:cxn>
                <a:cxn ang="0">
                  <a:pos x="16" y="2"/>
                </a:cxn>
                <a:cxn ang="0">
                  <a:pos x="10" y="6"/>
                </a:cxn>
                <a:cxn ang="0">
                  <a:pos x="6" y="4"/>
                </a:cxn>
                <a:cxn ang="0">
                  <a:pos x="4" y="4"/>
                </a:cxn>
                <a:cxn ang="0">
                  <a:pos x="0" y="8"/>
                </a:cxn>
              </a:cxnLst>
              <a:rect l="0" t="0" r="r" b="b"/>
              <a:pathLst>
                <a:path w="16" h="8">
                  <a:moveTo>
                    <a:pt x="0" y="8"/>
                  </a:moveTo>
                  <a:lnTo>
                    <a:pt x="0" y="6"/>
                  </a:lnTo>
                  <a:lnTo>
                    <a:pt x="2" y="6"/>
                  </a:lnTo>
                  <a:lnTo>
                    <a:pt x="6" y="0"/>
                  </a:lnTo>
                  <a:lnTo>
                    <a:pt x="10" y="0"/>
                  </a:lnTo>
                  <a:lnTo>
                    <a:pt x="16" y="0"/>
                  </a:lnTo>
                  <a:lnTo>
                    <a:pt x="16" y="2"/>
                  </a:lnTo>
                  <a:lnTo>
                    <a:pt x="10" y="6"/>
                  </a:lnTo>
                  <a:lnTo>
                    <a:pt x="6" y="4"/>
                  </a:lnTo>
                  <a:lnTo>
                    <a:pt x="4" y="4"/>
                  </a:lnTo>
                  <a:lnTo>
                    <a:pt x="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7" name="Freeform 2583"/>
            <p:cNvSpPr>
              <a:spLocks/>
            </p:cNvSpPr>
            <p:nvPr/>
          </p:nvSpPr>
          <p:spPr bwMode="auto">
            <a:xfrm>
              <a:off x="1770" y="1318"/>
              <a:ext cx="26" cy="28"/>
            </a:xfrm>
            <a:custGeom>
              <a:avLst/>
              <a:gdLst/>
              <a:ahLst/>
              <a:cxnLst>
                <a:cxn ang="0">
                  <a:pos x="22" y="28"/>
                </a:cxn>
                <a:cxn ang="0">
                  <a:pos x="22" y="26"/>
                </a:cxn>
                <a:cxn ang="0">
                  <a:pos x="16" y="20"/>
                </a:cxn>
                <a:cxn ang="0">
                  <a:pos x="12" y="20"/>
                </a:cxn>
                <a:cxn ang="0">
                  <a:pos x="10" y="20"/>
                </a:cxn>
                <a:cxn ang="0">
                  <a:pos x="8" y="22"/>
                </a:cxn>
                <a:cxn ang="0">
                  <a:pos x="6" y="20"/>
                </a:cxn>
                <a:cxn ang="0">
                  <a:pos x="2" y="16"/>
                </a:cxn>
                <a:cxn ang="0">
                  <a:pos x="0" y="14"/>
                </a:cxn>
                <a:cxn ang="0">
                  <a:pos x="0" y="12"/>
                </a:cxn>
                <a:cxn ang="0">
                  <a:pos x="0" y="10"/>
                </a:cxn>
                <a:cxn ang="0">
                  <a:pos x="4" y="2"/>
                </a:cxn>
                <a:cxn ang="0">
                  <a:pos x="6" y="0"/>
                </a:cxn>
                <a:cxn ang="0">
                  <a:pos x="8" y="0"/>
                </a:cxn>
                <a:cxn ang="0">
                  <a:pos x="10" y="0"/>
                </a:cxn>
                <a:cxn ang="0">
                  <a:pos x="12" y="0"/>
                </a:cxn>
                <a:cxn ang="0">
                  <a:pos x="16" y="4"/>
                </a:cxn>
                <a:cxn ang="0">
                  <a:pos x="18" y="10"/>
                </a:cxn>
                <a:cxn ang="0">
                  <a:pos x="20" y="16"/>
                </a:cxn>
                <a:cxn ang="0">
                  <a:pos x="24" y="20"/>
                </a:cxn>
                <a:cxn ang="0">
                  <a:pos x="26" y="22"/>
                </a:cxn>
                <a:cxn ang="0">
                  <a:pos x="26" y="26"/>
                </a:cxn>
                <a:cxn ang="0">
                  <a:pos x="22" y="28"/>
                </a:cxn>
              </a:cxnLst>
              <a:rect l="0" t="0" r="r" b="b"/>
              <a:pathLst>
                <a:path w="26" h="28">
                  <a:moveTo>
                    <a:pt x="22" y="28"/>
                  </a:moveTo>
                  <a:lnTo>
                    <a:pt x="22" y="26"/>
                  </a:lnTo>
                  <a:lnTo>
                    <a:pt x="16" y="20"/>
                  </a:lnTo>
                  <a:lnTo>
                    <a:pt x="12" y="20"/>
                  </a:lnTo>
                  <a:lnTo>
                    <a:pt x="10" y="20"/>
                  </a:lnTo>
                  <a:lnTo>
                    <a:pt x="8" y="22"/>
                  </a:lnTo>
                  <a:lnTo>
                    <a:pt x="6" y="20"/>
                  </a:lnTo>
                  <a:lnTo>
                    <a:pt x="2" y="16"/>
                  </a:lnTo>
                  <a:lnTo>
                    <a:pt x="0" y="14"/>
                  </a:lnTo>
                  <a:lnTo>
                    <a:pt x="0" y="12"/>
                  </a:lnTo>
                  <a:lnTo>
                    <a:pt x="0" y="10"/>
                  </a:lnTo>
                  <a:lnTo>
                    <a:pt x="4" y="2"/>
                  </a:lnTo>
                  <a:lnTo>
                    <a:pt x="6" y="0"/>
                  </a:lnTo>
                  <a:lnTo>
                    <a:pt x="8" y="0"/>
                  </a:lnTo>
                  <a:lnTo>
                    <a:pt x="10" y="0"/>
                  </a:lnTo>
                  <a:lnTo>
                    <a:pt x="12" y="0"/>
                  </a:lnTo>
                  <a:lnTo>
                    <a:pt x="16" y="4"/>
                  </a:lnTo>
                  <a:lnTo>
                    <a:pt x="18" y="10"/>
                  </a:lnTo>
                  <a:lnTo>
                    <a:pt x="20" y="16"/>
                  </a:lnTo>
                  <a:lnTo>
                    <a:pt x="24" y="20"/>
                  </a:lnTo>
                  <a:lnTo>
                    <a:pt x="26" y="22"/>
                  </a:lnTo>
                  <a:lnTo>
                    <a:pt x="26" y="26"/>
                  </a:lnTo>
                  <a:lnTo>
                    <a:pt x="22"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8" name="Freeform 2584"/>
            <p:cNvSpPr>
              <a:spLocks/>
            </p:cNvSpPr>
            <p:nvPr/>
          </p:nvSpPr>
          <p:spPr bwMode="auto">
            <a:xfrm>
              <a:off x="1764" y="1336"/>
              <a:ext cx="12" cy="16"/>
            </a:xfrm>
            <a:custGeom>
              <a:avLst/>
              <a:gdLst/>
              <a:ahLst/>
              <a:cxnLst>
                <a:cxn ang="0">
                  <a:pos x="6" y="16"/>
                </a:cxn>
                <a:cxn ang="0">
                  <a:pos x="4" y="14"/>
                </a:cxn>
                <a:cxn ang="0">
                  <a:pos x="0" y="4"/>
                </a:cxn>
                <a:cxn ang="0">
                  <a:pos x="2" y="0"/>
                </a:cxn>
                <a:cxn ang="0">
                  <a:pos x="6" y="0"/>
                </a:cxn>
                <a:cxn ang="0">
                  <a:pos x="10" y="4"/>
                </a:cxn>
                <a:cxn ang="0">
                  <a:pos x="10" y="6"/>
                </a:cxn>
                <a:cxn ang="0">
                  <a:pos x="12" y="14"/>
                </a:cxn>
                <a:cxn ang="0">
                  <a:pos x="12" y="16"/>
                </a:cxn>
                <a:cxn ang="0">
                  <a:pos x="10" y="16"/>
                </a:cxn>
                <a:cxn ang="0">
                  <a:pos x="6" y="16"/>
                </a:cxn>
              </a:cxnLst>
              <a:rect l="0" t="0" r="r" b="b"/>
              <a:pathLst>
                <a:path w="12" h="16">
                  <a:moveTo>
                    <a:pt x="6" y="16"/>
                  </a:moveTo>
                  <a:lnTo>
                    <a:pt x="4" y="14"/>
                  </a:lnTo>
                  <a:lnTo>
                    <a:pt x="0" y="4"/>
                  </a:lnTo>
                  <a:lnTo>
                    <a:pt x="2" y="0"/>
                  </a:lnTo>
                  <a:lnTo>
                    <a:pt x="6" y="0"/>
                  </a:lnTo>
                  <a:lnTo>
                    <a:pt x="10" y="4"/>
                  </a:lnTo>
                  <a:lnTo>
                    <a:pt x="10" y="6"/>
                  </a:lnTo>
                  <a:lnTo>
                    <a:pt x="12" y="14"/>
                  </a:lnTo>
                  <a:lnTo>
                    <a:pt x="12" y="16"/>
                  </a:lnTo>
                  <a:lnTo>
                    <a:pt x="10" y="16"/>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9" name="Freeform 2585"/>
            <p:cNvSpPr>
              <a:spLocks/>
            </p:cNvSpPr>
            <p:nvPr/>
          </p:nvSpPr>
          <p:spPr bwMode="auto">
            <a:xfrm>
              <a:off x="1782" y="1348"/>
              <a:ext cx="6" cy="10"/>
            </a:xfrm>
            <a:custGeom>
              <a:avLst/>
              <a:gdLst/>
              <a:ahLst/>
              <a:cxnLst>
                <a:cxn ang="0">
                  <a:pos x="2" y="10"/>
                </a:cxn>
                <a:cxn ang="0">
                  <a:pos x="0" y="10"/>
                </a:cxn>
                <a:cxn ang="0">
                  <a:pos x="0" y="8"/>
                </a:cxn>
                <a:cxn ang="0">
                  <a:pos x="0" y="0"/>
                </a:cxn>
                <a:cxn ang="0">
                  <a:pos x="2" y="0"/>
                </a:cxn>
                <a:cxn ang="0">
                  <a:pos x="4" y="0"/>
                </a:cxn>
                <a:cxn ang="0">
                  <a:pos x="6" y="2"/>
                </a:cxn>
                <a:cxn ang="0">
                  <a:pos x="6" y="4"/>
                </a:cxn>
                <a:cxn ang="0">
                  <a:pos x="2" y="10"/>
                </a:cxn>
              </a:cxnLst>
              <a:rect l="0" t="0" r="r" b="b"/>
              <a:pathLst>
                <a:path w="6" h="10">
                  <a:moveTo>
                    <a:pt x="2" y="10"/>
                  </a:moveTo>
                  <a:lnTo>
                    <a:pt x="0" y="10"/>
                  </a:lnTo>
                  <a:lnTo>
                    <a:pt x="0" y="8"/>
                  </a:lnTo>
                  <a:lnTo>
                    <a:pt x="0" y="0"/>
                  </a:lnTo>
                  <a:lnTo>
                    <a:pt x="2" y="0"/>
                  </a:lnTo>
                  <a:lnTo>
                    <a:pt x="4" y="0"/>
                  </a:lnTo>
                  <a:lnTo>
                    <a:pt x="6" y="2"/>
                  </a:lnTo>
                  <a:lnTo>
                    <a:pt x="6" y="4"/>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0" name="Freeform 2586"/>
            <p:cNvSpPr>
              <a:spLocks/>
            </p:cNvSpPr>
            <p:nvPr/>
          </p:nvSpPr>
          <p:spPr bwMode="auto">
            <a:xfrm>
              <a:off x="1430" y="1342"/>
              <a:ext cx="470" cy="772"/>
            </a:xfrm>
            <a:custGeom>
              <a:avLst/>
              <a:gdLst/>
              <a:ahLst/>
              <a:cxnLst>
                <a:cxn ang="0">
                  <a:pos x="368" y="766"/>
                </a:cxn>
                <a:cxn ang="0">
                  <a:pos x="298" y="758"/>
                </a:cxn>
                <a:cxn ang="0">
                  <a:pos x="244" y="750"/>
                </a:cxn>
                <a:cxn ang="0">
                  <a:pos x="198" y="758"/>
                </a:cxn>
                <a:cxn ang="0">
                  <a:pos x="142" y="740"/>
                </a:cxn>
                <a:cxn ang="0">
                  <a:pos x="96" y="750"/>
                </a:cxn>
                <a:cxn ang="0">
                  <a:pos x="28" y="770"/>
                </a:cxn>
                <a:cxn ang="0">
                  <a:pos x="4" y="746"/>
                </a:cxn>
                <a:cxn ang="0">
                  <a:pos x="72" y="714"/>
                </a:cxn>
                <a:cxn ang="0">
                  <a:pos x="118" y="676"/>
                </a:cxn>
                <a:cxn ang="0">
                  <a:pos x="194" y="672"/>
                </a:cxn>
                <a:cxn ang="0">
                  <a:pos x="180" y="664"/>
                </a:cxn>
                <a:cxn ang="0">
                  <a:pos x="120" y="646"/>
                </a:cxn>
                <a:cxn ang="0">
                  <a:pos x="90" y="628"/>
                </a:cxn>
                <a:cxn ang="0">
                  <a:pos x="72" y="610"/>
                </a:cxn>
                <a:cxn ang="0">
                  <a:pos x="112" y="586"/>
                </a:cxn>
                <a:cxn ang="0">
                  <a:pos x="156" y="524"/>
                </a:cxn>
                <a:cxn ang="0">
                  <a:pos x="146" y="508"/>
                </a:cxn>
                <a:cxn ang="0">
                  <a:pos x="220" y="506"/>
                </a:cxn>
                <a:cxn ang="0">
                  <a:pos x="238" y="502"/>
                </a:cxn>
                <a:cxn ang="0">
                  <a:pos x="244" y="446"/>
                </a:cxn>
                <a:cxn ang="0">
                  <a:pos x="238" y="362"/>
                </a:cxn>
                <a:cxn ang="0">
                  <a:pos x="226" y="352"/>
                </a:cxn>
                <a:cxn ang="0">
                  <a:pos x="178" y="354"/>
                </a:cxn>
                <a:cxn ang="0">
                  <a:pos x="158" y="350"/>
                </a:cxn>
                <a:cxn ang="0">
                  <a:pos x="176" y="302"/>
                </a:cxn>
                <a:cxn ang="0">
                  <a:pos x="198" y="242"/>
                </a:cxn>
                <a:cxn ang="0">
                  <a:pos x="184" y="248"/>
                </a:cxn>
                <a:cxn ang="0">
                  <a:pos x="198" y="212"/>
                </a:cxn>
                <a:cxn ang="0">
                  <a:pos x="146" y="280"/>
                </a:cxn>
                <a:cxn ang="0">
                  <a:pos x="152" y="236"/>
                </a:cxn>
                <a:cxn ang="0">
                  <a:pos x="172" y="194"/>
                </a:cxn>
                <a:cxn ang="0">
                  <a:pos x="182" y="182"/>
                </a:cxn>
                <a:cxn ang="0">
                  <a:pos x="166" y="180"/>
                </a:cxn>
                <a:cxn ang="0">
                  <a:pos x="146" y="156"/>
                </a:cxn>
                <a:cxn ang="0">
                  <a:pos x="168" y="144"/>
                </a:cxn>
                <a:cxn ang="0">
                  <a:pos x="178" y="128"/>
                </a:cxn>
                <a:cxn ang="0">
                  <a:pos x="198" y="120"/>
                </a:cxn>
                <a:cxn ang="0">
                  <a:pos x="188" y="84"/>
                </a:cxn>
                <a:cxn ang="0">
                  <a:pos x="204" y="70"/>
                </a:cxn>
                <a:cxn ang="0">
                  <a:pos x="222" y="42"/>
                </a:cxn>
                <a:cxn ang="0">
                  <a:pos x="266" y="14"/>
                </a:cxn>
                <a:cxn ang="0">
                  <a:pos x="322" y="18"/>
                </a:cxn>
                <a:cxn ang="0">
                  <a:pos x="304" y="64"/>
                </a:cxn>
                <a:cxn ang="0">
                  <a:pos x="292" y="86"/>
                </a:cxn>
                <a:cxn ang="0">
                  <a:pos x="274" y="98"/>
                </a:cxn>
                <a:cxn ang="0">
                  <a:pos x="316" y="104"/>
                </a:cxn>
                <a:cxn ang="0">
                  <a:pos x="378" y="122"/>
                </a:cxn>
                <a:cxn ang="0">
                  <a:pos x="338" y="198"/>
                </a:cxn>
                <a:cxn ang="0">
                  <a:pos x="304" y="222"/>
                </a:cxn>
                <a:cxn ang="0">
                  <a:pos x="294" y="242"/>
                </a:cxn>
                <a:cxn ang="0">
                  <a:pos x="296" y="260"/>
                </a:cxn>
                <a:cxn ang="0">
                  <a:pos x="348" y="314"/>
                </a:cxn>
                <a:cxn ang="0">
                  <a:pos x="384" y="436"/>
                </a:cxn>
                <a:cxn ang="0">
                  <a:pos x="396" y="496"/>
                </a:cxn>
                <a:cxn ang="0">
                  <a:pos x="386" y="502"/>
                </a:cxn>
                <a:cxn ang="0">
                  <a:pos x="380" y="498"/>
                </a:cxn>
                <a:cxn ang="0">
                  <a:pos x="394" y="564"/>
                </a:cxn>
                <a:cxn ang="0">
                  <a:pos x="432" y="580"/>
                </a:cxn>
                <a:cxn ang="0">
                  <a:pos x="470" y="626"/>
                </a:cxn>
                <a:cxn ang="0">
                  <a:pos x="426" y="686"/>
                </a:cxn>
                <a:cxn ang="0">
                  <a:pos x="400" y="706"/>
                </a:cxn>
                <a:cxn ang="0">
                  <a:pos x="402" y="726"/>
                </a:cxn>
              </a:cxnLst>
              <a:rect l="0" t="0" r="r" b="b"/>
              <a:pathLst>
                <a:path w="470" h="772">
                  <a:moveTo>
                    <a:pt x="418" y="750"/>
                  </a:moveTo>
                  <a:lnTo>
                    <a:pt x="416" y="750"/>
                  </a:lnTo>
                  <a:lnTo>
                    <a:pt x="410" y="750"/>
                  </a:lnTo>
                  <a:lnTo>
                    <a:pt x="408" y="752"/>
                  </a:lnTo>
                  <a:lnTo>
                    <a:pt x="406" y="752"/>
                  </a:lnTo>
                  <a:lnTo>
                    <a:pt x="404" y="754"/>
                  </a:lnTo>
                  <a:lnTo>
                    <a:pt x="402" y="754"/>
                  </a:lnTo>
                  <a:lnTo>
                    <a:pt x="402" y="756"/>
                  </a:lnTo>
                  <a:lnTo>
                    <a:pt x="400" y="758"/>
                  </a:lnTo>
                  <a:lnTo>
                    <a:pt x="400" y="760"/>
                  </a:lnTo>
                  <a:lnTo>
                    <a:pt x="400" y="762"/>
                  </a:lnTo>
                  <a:lnTo>
                    <a:pt x="392" y="762"/>
                  </a:lnTo>
                  <a:lnTo>
                    <a:pt x="390" y="760"/>
                  </a:lnTo>
                  <a:lnTo>
                    <a:pt x="388" y="760"/>
                  </a:lnTo>
                  <a:lnTo>
                    <a:pt x="384" y="762"/>
                  </a:lnTo>
                  <a:lnTo>
                    <a:pt x="382" y="764"/>
                  </a:lnTo>
                  <a:lnTo>
                    <a:pt x="380" y="766"/>
                  </a:lnTo>
                  <a:lnTo>
                    <a:pt x="374" y="766"/>
                  </a:lnTo>
                  <a:lnTo>
                    <a:pt x="370" y="766"/>
                  </a:lnTo>
                  <a:lnTo>
                    <a:pt x="368" y="766"/>
                  </a:lnTo>
                  <a:lnTo>
                    <a:pt x="366" y="766"/>
                  </a:lnTo>
                  <a:lnTo>
                    <a:pt x="364" y="766"/>
                  </a:lnTo>
                  <a:lnTo>
                    <a:pt x="362" y="766"/>
                  </a:lnTo>
                  <a:lnTo>
                    <a:pt x="358" y="770"/>
                  </a:lnTo>
                  <a:lnTo>
                    <a:pt x="356" y="770"/>
                  </a:lnTo>
                  <a:lnTo>
                    <a:pt x="356" y="772"/>
                  </a:lnTo>
                  <a:lnTo>
                    <a:pt x="354" y="772"/>
                  </a:lnTo>
                  <a:lnTo>
                    <a:pt x="352" y="772"/>
                  </a:lnTo>
                  <a:lnTo>
                    <a:pt x="348" y="770"/>
                  </a:lnTo>
                  <a:lnTo>
                    <a:pt x="346" y="768"/>
                  </a:lnTo>
                  <a:lnTo>
                    <a:pt x="344" y="766"/>
                  </a:lnTo>
                  <a:lnTo>
                    <a:pt x="336" y="762"/>
                  </a:lnTo>
                  <a:lnTo>
                    <a:pt x="334" y="762"/>
                  </a:lnTo>
                  <a:lnTo>
                    <a:pt x="332" y="760"/>
                  </a:lnTo>
                  <a:lnTo>
                    <a:pt x="330" y="760"/>
                  </a:lnTo>
                  <a:lnTo>
                    <a:pt x="328" y="758"/>
                  </a:lnTo>
                  <a:lnTo>
                    <a:pt x="308" y="758"/>
                  </a:lnTo>
                  <a:lnTo>
                    <a:pt x="304" y="758"/>
                  </a:lnTo>
                  <a:lnTo>
                    <a:pt x="300" y="758"/>
                  </a:lnTo>
                  <a:lnTo>
                    <a:pt x="298" y="758"/>
                  </a:lnTo>
                  <a:lnTo>
                    <a:pt x="296" y="760"/>
                  </a:lnTo>
                  <a:lnTo>
                    <a:pt x="296" y="762"/>
                  </a:lnTo>
                  <a:lnTo>
                    <a:pt x="294" y="762"/>
                  </a:lnTo>
                  <a:lnTo>
                    <a:pt x="290" y="756"/>
                  </a:lnTo>
                  <a:lnTo>
                    <a:pt x="290" y="754"/>
                  </a:lnTo>
                  <a:lnTo>
                    <a:pt x="292" y="754"/>
                  </a:lnTo>
                  <a:lnTo>
                    <a:pt x="290" y="750"/>
                  </a:lnTo>
                  <a:lnTo>
                    <a:pt x="288" y="750"/>
                  </a:lnTo>
                  <a:lnTo>
                    <a:pt x="280" y="748"/>
                  </a:lnTo>
                  <a:lnTo>
                    <a:pt x="276" y="746"/>
                  </a:lnTo>
                  <a:lnTo>
                    <a:pt x="276" y="748"/>
                  </a:lnTo>
                  <a:lnTo>
                    <a:pt x="278" y="750"/>
                  </a:lnTo>
                  <a:lnTo>
                    <a:pt x="276" y="752"/>
                  </a:lnTo>
                  <a:lnTo>
                    <a:pt x="276" y="754"/>
                  </a:lnTo>
                  <a:lnTo>
                    <a:pt x="266" y="750"/>
                  </a:lnTo>
                  <a:lnTo>
                    <a:pt x="260" y="750"/>
                  </a:lnTo>
                  <a:lnTo>
                    <a:pt x="250" y="752"/>
                  </a:lnTo>
                  <a:lnTo>
                    <a:pt x="248" y="752"/>
                  </a:lnTo>
                  <a:lnTo>
                    <a:pt x="246" y="750"/>
                  </a:lnTo>
                  <a:lnTo>
                    <a:pt x="244" y="750"/>
                  </a:lnTo>
                  <a:lnTo>
                    <a:pt x="236" y="750"/>
                  </a:lnTo>
                  <a:lnTo>
                    <a:pt x="230" y="750"/>
                  </a:lnTo>
                  <a:lnTo>
                    <a:pt x="226" y="748"/>
                  </a:lnTo>
                  <a:lnTo>
                    <a:pt x="224" y="746"/>
                  </a:lnTo>
                  <a:lnTo>
                    <a:pt x="222" y="748"/>
                  </a:lnTo>
                  <a:lnTo>
                    <a:pt x="222" y="750"/>
                  </a:lnTo>
                  <a:lnTo>
                    <a:pt x="226" y="752"/>
                  </a:lnTo>
                  <a:lnTo>
                    <a:pt x="228" y="754"/>
                  </a:lnTo>
                  <a:lnTo>
                    <a:pt x="228" y="756"/>
                  </a:lnTo>
                  <a:lnTo>
                    <a:pt x="226" y="760"/>
                  </a:lnTo>
                  <a:lnTo>
                    <a:pt x="220" y="758"/>
                  </a:lnTo>
                  <a:lnTo>
                    <a:pt x="216" y="756"/>
                  </a:lnTo>
                  <a:lnTo>
                    <a:pt x="216" y="754"/>
                  </a:lnTo>
                  <a:lnTo>
                    <a:pt x="212" y="754"/>
                  </a:lnTo>
                  <a:lnTo>
                    <a:pt x="202" y="750"/>
                  </a:lnTo>
                  <a:lnTo>
                    <a:pt x="200" y="750"/>
                  </a:lnTo>
                  <a:lnTo>
                    <a:pt x="198" y="750"/>
                  </a:lnTo>
                  <a:lnTo>
                    <a:pt x="196" y="754"/>
                  </a:lnTo>
                  <a:lnTo>
                    <a:pt x="198" y="756"/>
                  </a:lnTo>
                  <a:lnTo>
                    <a:pt x="198" y="758"/>
                  </a:lnTo>
                  <a:lnTo>
                    <a:pt x="196" y="758"/>
                  </a:lnTo>
                  <a:lnTo>
                    <a:pt x="196" y="756"/>
                  </a:lnTo>
                  <a:lnTo>
                    <a:pt x="196" y="752"/>
                  </a:lnTo>
                  <a:lnTo>
                    <a:pt x="192" y="748"/>
                  </a:lnTo>
                  <a:lnTo>
                    <a:pt x="188" y="744"/>
                  </a:lnTo>
                  <a:lnTo>
                    <a:pt x="186" y="742"/>
                  </a:lnTo>
                  <a:lnTo>
                    <a:pt x="184" y="742"/>
                  </a:lnTo>
                  <a:lnTo>
                    <a:pt x="182" y="738"/>
                  </a:lnTo>
                  <a:lnTo>
                    <a:pt x="180" y="738"/>
                  </a:lnTo>
                  <a:lnTo>
                    <a:pt x="178" y="736"/>
                  </a:lnTo>
                  <a:lnTo>
                    <a:pt x="176" y="736"/>
                  </a:lnTo>
                  <a:lnTo>
                    <a:pt x="176" y="734"/>
                  </a:lnTo>
                  <a:lnTo>
                    <a:pt x="174" y="734"/>
                  </a:lnTo>
                  <a:lnTo>
                    <a:pt x="172" y="736"/>
                  </a:lnTo>
                  <a:lnTo>
                    <a:pt x="170" y="736"/>
                  </a:lnTo>
                  <a:lnTo>
                    <a:pt x="164" y="736"/>
                  </a:lnTo>
                  <a:lnTo>
                    <a:pt x="160" y="736"/>
                  </a:lnTo>
                  <a:lnTo>
                    <a:pt x="154" y="736"/>
                  </a:lnTo>
                  <a:lnTo>
                    <a:pt x="144" y="738"/>
                  </a:lnTo>
                  <a:lnTo>
                    <a:pt x="142" y="740"/>
                  </a:lnTo>
                  <a:lnTo>
                    <a:pt x="140" y="740"/>
                  </a:lnTo>
                  <a:lnTo>
                    <a:pt x="138" y="744"/>
                  </a:lnTo>
                  <a:lnTo>
                    <a:pt x="132" y="752"/>
                  </a:lnTo>
                  <a:lnTo>
                    <a:pt x="132" y="754"/>
                  </a:lnTo>
                  <a:lnTo>
                    <a:pt x="122" y="770"/>
                  </a:lnTo>
                  <a:lnTo>
                    <a:pt x="120" y="770"/>
                  </a:lnTo>
                  <a:lnTo>
                    <a:pt x="118" y="770"/>
                  </a:lnTo>
                  <a:lnTo>
                    <a:pt x="116" y="770"/>
                  </a:lnTo>
                  <a:lnTo>
                    <a:pt x="114" y="770"/>
                  </a:lnTo>
                  <a:lnTo>
                    <a:pt x="112" y="770"/>
                  </a:lnTo>
                  <a:lnTo>
                    <a:pt x="112" y="768"/>
                  </a:lnTo>
                  <a:lnTo>
                    <a:pt x="110" y="768"/>
                  </a:lnTo>
                  <a:lnTo>
                    <a:pt x="110" y="766"/>
                  </a:lnTo>
                  <a:lnTo>
                    <a:pt x="110" y="762"/>
                  </a:lnTo>
                  <a:lnTo>
                    <a:pt x="106" y="758"/>
                  </a:lnTo>
                  <a:lnTo>
                    <a:pt x="104" y="758"/>
                  </a:lnTo>
                  <a:lnTo>
                    <a:pt x="102" y="758"/>
                  </a:lnTo>
                  <a:lnTo>
                    <a:pt x="100" y="758"/>
                  </a:lnTo>
                  <a:lnTo>
                    <a:pt x="98" y="754"/>
                  </a:lnTo>
                  <a:lnTo>
                    <a:pt x="96" y="750"/>
                  </a:lnTo>
                  <a:lnTo>
                    <a:pt x="94" y="750"/>
                  </a:lnTo>
                  <a:lnTo>
                    <a:pt x="84" y="748"/>
                  </a:lnTo>
                  <a:lnTo>
                    <a:pt x="80" y="748"/>
                  </a:lnTo>
                  <a:lnTo>
                    <a:pt x="78" y="750"/>
                  </a:lnTo>
                  <a:lnTo>
                    <a:pt x="76" y="750"/>
                  </a:lnTo>
                  <a:lnTo>
                    <a:pt x="74" y="750"/>
                  </a:lnTo>
                  <a:lnTo>
                    <a:pt x="72" y="750"/>
                  </a:lnTo>
                  <a:lnTo>
                    <a:pt x="68" y="748"/>
                  </a:lnTo>
                  <a:lnTo>
                    <a:pt x="64" y="746"/>
                  </a:lnTo>
                  <a:lnTo>
                    <a:pt x="60" y="746"/>
                  </a:lnTo>
                  <a:lnTo>
                    <a:pt x="52" y="752"/>
                  </a:lnTo>
                  <a:lnTo>
                    <a:pt x="46" y="754"/>
                  </a:lnTo>
                  <a:lnTo>
                    <a:pt x="40" y="754"/>
                  </a:lnTo>
                  <a:lnTo>
                    <a:pt x="40" y="758"/>
                  </a:lnTo>
                  <a:lnTo>
                    <a:pt x="36" y="762"/>
                  </a:lnTo>
                  <a:lnTo>
                    <a:pt x="38" y="764"/>
                  </a:lnTo>
                  <a:lnTo>
                    <a:pt x="36" y="766"/>
                  </a:lnTo>
                  <a:lnTo>
                    <a:pt x="36" y="768"/>
                  </a:lnTo>
                  <a:lnTo>
                    <a:pt x="30" y="768"/>
                  </a:lnTo>
                  <a:lnTo>
                    <a:pt x="28" y="770"/>
                  </a:lnTo>
                  <a:lnTo>
                    <a:pt x="28" y="772"/>
                  </a:lnTo>
                  <a:lnTo>
                    <a:pt x="26" y="772"/>
                  </a:lnTo>
                  <a:lnTo>
                    <a:pt x="26" y="770"/>
                  </a:lnTo>
                  <a:lnTo>
                    <a:pt x="24" y="766"/>
                  </a:lnTo>
                  <a:lnTo>
                    <a:pt x="26" y="766"/>
                  </a:lnTo>
                  <a:lnTo>
                    <a:pt x="24" y="762"/>
                  </a:lnTo>
                  <a:lnTo>
                    <a:pt x="24" y="760"/>
                  </a:lnTo>
                  <a:lnTo>
                    <a:pt x="22" y="758"/>
                  </a:lnTo>
                  <a:lnTo>
                    <a:pt x="16" y="752"/>
                  </a:lnTo>
                  <a:lnTo>
                    <a:pt x="14" y="752"/>
                  </a:lnTo>
                  <a:lnTo>
                    <a:pt x="12" y="752"/>
                  </a:lnTo>
                  <a:lnTo>
                    <a:pt x="12" y="754"/>
                  </a:lnTo>
                  <a:lnTo>
                    <a:pt x="10" y="756"/>
                  </a:lnTo>
                  <a:lnTo>
                    <a:pt x="8" y="758"/>
                  </a:lnTo>
                  <a:lnTo>
                    <a:pt x="6" y="758"/>
                  </a:lnTo>
                  <a:lnTo>
                    <a:pt x="2" y="758"/>
                  </a:lnTo>
                  <a:lnTo>
                    <a:pt x="0" y="758"/>
                  </a:lnTo>
                  <a:lnTo>
                    <a:pt x="0" y="754"/>
                  </a:lnTo>
                  <a:lnTo>
                    <a:pt x="2" y="748"/>
                  </a:lnTo>
                  <a:lnTo>
                    <a:pt x="4" y="746"/>
                  </a:lnTo>
                  <a:lnTo>
                    <a:pt x="12" y="744"/>
                  </a:lnTo>
                  <a:lnTo>
                    <a:pt x="16" y="744"/>
                  </a:lnTo>
                  <a:lnTo>
                    <a:pt x="18" y="746"/>
                  </a:lnTo>
                  <a:lnTo>
                    <a:pt x="20" y="748"/>
                  </a:lnTo>
                  <a:lnTo>
                    <a:pt x="30" y="742"/>
                  </a:lnTo>
                  <a:lnTo>
                    <a:pt x="38" y="738"/>
                  </a:lnTo>
                  <a:lnTo>
                    <a:pt x="46" y="732"/>
                  </a:lnTo>
                  <a:lnTo>
                    <a:pt x="48" y="728"/>
                  </a:lnTo>
                  <a:lnTo>
                    <a:pt x="48" y="726"/>
                  </a:lnTo>
                  <a:lnTo>
                    <a:pt x="52" y="722"/>
                  </a:lnTo>
                  <a:lnTo>
                    <a:pt x="58" y="720"/>
                  </a:lnTo>
                  <a:lnTo>
                    <a:pt x="58" y="722"/>
                  </a:lnTo>
                  <a:lnTo>
                    <a:pt x="60" y="722"/>
                  </a:lnTo>
                  <a:lnTo>
                    <a:pt x="64" y="722"/>
                  </a:lnTo>
                  <a:lnTo>
                    <a:pt x="66" y="722"/>
                  </a:lnTo>
                  <a:lnTo>
                    <a:pt x="66" y="720"/>
                  </a:lnTo>
                  <a:lnTo>
                    <a:pt x="68" y="720"/>
                  </a:lnTo>
                  <a:lnTo>
                    <a:pt x="68" y="718"/>
                  </a:lnTo>
                  <a:lnTo>
                    <a:pt x="70" y="716"/>
                  </a:lnTo>
                  <a:lnTo>
                    <a:pt x="72" y="714"/>
                  </a:lnTo>
                  <a:lnTo>
                    <a:pt x="76" y="712"/>
                  </a:lnTo>
                  <a:lnTo>
                    <a:pt x="82" y="708"/>
                  </a:lnTo>
                  <a:lnTo>
                    <a:pt x="84" y="708"/>
                  </a:lnTo>
                  <a:lnTo>
                    <a:pt x="84" y="706"/>
                  </a:lnTo>
                  <a:lnTo>
                    <a:pt x="84" y="704"/>
                  </a:lnTo>
                  <a:lnTo>
                    <a:pt x="86" y="700"/>
                  </a:lnTo>
                  <a:lnTo>
                    <a:pt x="86" y="694"/>
                  </a:lnTo>
                  <a:lnTo>
                    <a:pt x="90" y="688"/>
                  </a:lnTo>
                  <a:lnTo>
                    <a:pt x="94" y="688"/>
                  </a:lnTo>
                  <a:lnTo>
                    <a:pt x="96" y="688"/>
                  </a:lnTo>
                  <a:lnTo>
                    <a:pt x="96" y="690"/>
                  </a:lnTo>
                  <a:lnTo>
                    <a:pt x="98" y="692"/>
                  </a:lnTo>
                  <a:lnTo>
                    <a:pt x="100" y="692"/>
                  </a:lnTo>
                  <a:lnTo>
                    <a:pt x="102" y="692"/>
                  </a:lnTo>
                  <a:lnTo>
                    <a:pt x="106" y="688"/>
                  </a:lnTo>
                  <a:lnTo>
                    <a:pt x="110" y="686"/>
                  </a:lnTo>
                  <a:lnTo>
                    <a:pt x="110" y="684"/>
                  </a:lnTo>
                  <a:lnTo>
                    <a:pt x="110" y="676"/>
                  </a:lnTo>
                  <a:lnTo>
                    <a:pt x="112" y="676"/>
                  </a:lnTo>
                  <a:lnTo>
                    <a:pt x="118" y="676"/>
                  </a:lnTo>
                  <a:lnTo>
                    <a:pt x="120" y="676"/>
                  </a:lnTo>
                  <a:lnTo>
                    <a:pt x="126" y="676"/>
                  </a:lnTo>
                  <a:lnTo>
                    <a:pt x="130" y="678"/>
                  </a:lnTo>
                  <a:lnTo>
                    <a:pt x="136" y="678"/>
                  </a:lnTo>
                  <a:lnTo>
                    <a:pt x="142" y="680"/>
                  </a:lnTo>
                  <a:lnTo>
                    <a:pt x="144" y="682"/>
                  </a:lnTo>
                  <a:lnTo>
                    <a:pt x="146" y="682"/>
                  </a:lnTo>
                  <a:lnTo>
                    <a:pt x="148" y="680"/>
                  </a:lnTo>
                  <a:lnTo>
                    <a:pt x="152" y="682"/>
                  </a:lnTo>
                  <a:lnTo>
                    <a:pt x="156" y="684"/>
                  </a:lnTo>
                  <a:lnTo>
                    <a:pt x="156" y="686"/>
                  </a:lnTo>
                  <a:lnTo>
                    <a:pt x="156" y="688"/>
                  </a:lnTo>
                  <a:lnTo>
                    <a:pt x="158" y="688"/>
                  </a:lnTo>
                  <a:lnTo>
                    <a:pt x="162" y="688"/>
                  </a:lnTo>
                  <a:lnTo>
                    <a:pt x="178" y="690"/>
                  </a:lnTo>
                  <a:lnTo>
                    <a:pt x="180" y="686"/>
                  </a:lnTo>
                  <a:lnTo>
                    <a:pt x="180" y="684"/>
                  </a:lnTo>
                  <a:lnTo>
                    <a:pt x="182" y="682"/>
                  </a:lnTo>
                  <a:lnTo>
                    <a:pt x="186" y="676"/>
                  </a:lnTo>
                  <a:lnTo>
                    <a:pt x="194" y="672"/>
                  </a:lnTo>
                  <a:lnTo>
                    <a:pt x="200" y="668"/>
                  </a:lnTo>
                  <a:lnTo>
                    <a:pt x="208" y="664"/>
                  </a:lnTo>
                  <a:lnTo>
                    <a:pt x="208" y="662"/>
                  </a:lnTo>
                  <a:lnTo>
                    <a:pt x="214" y="656"/>
                  </a:lnTo>
                  <a:lnTo>
                    <a:pt x="222" y="652"/>
                  </a:lnTo>
                  <a:lnTo>
                    <a:pt x="224" y="650"/>
                  </a:lnTo>
                  <a:lnTo>
                    <a:pt x="226" y="650"/>
                  </a:lnTo>
                  <a:lnTo>
                    <a:pt x="226" y="648"/>
                  </a:lnTo>
                  <a:lnTo>
                    <a:pt x="222" y="650"/>
                  </a:lnTo>
                  <a:lnTo>
                    <a:pt x="214" y="654"/>
                  </a:lnTo>
                  <a:lnTo>
                    <a:pt x="210" y="656"/>
                  </a:lnTo>
                  <a:lnTo>
                    <a:pt x="208" y="658"/>
                  </a:lnTo>
                  <a:lnTo>
                    <a:pt x="206" y="660"/>
                  </a:lnTo>
                  <a:lnTo>
                    <a:pt x="204" y="660"/>
                  </a:lnTo>
                  <a:lnTo>
                    <a:pt x="196" y="662"/>
                  </a:lnTo>
                  <a:lnTo>
                    <a:pt x="192" y="662"/>
                  </a:lnTo>
                  <a:lnTo>
                    <a:pt x="190" y="662"/>
                  </a:lnTo>
                  <a:lnTo>
                    <a:pt x="188" y="662"/>
                  </a:lnTo>
                  <a:lnTo>
                    <a:pt x="186" y="662"/>
                  </a:lnTo>
                  <a:lnTo>
                    <a:pt x="180" y="664"/>
                  </a:lnTo>
                  <a:lnTo>
                    <a:pt x="176" y="668"/>
                  </a:lnTo>
                  <a:lnTo>
                    <a:pt x="176" y="670"/>
                  </a:lnTo>
                  <a:lnTo>
                    <a:pt x="174" y="672"/>
                  </a:lnTo>
                  <a:lnTo>
                    <a:pt x="168" y="672"/>
                  </a:lnTo>
                  <a:lnTo>
                    <a:pt x="164" y="672"/>
                  </a:lnTo>
                  <a:lnTo>
                    <a:pt x="164" y="670"/>
                  </a:lnTo>
                  <a:lnTo>
                    <a:pt x="162" y="670"/>
                  </a:lnTo>
                  <a:lnTo>
                    <a:pt x="160" y="670"/>
                  </a:lnTo>
                  <a:lnTo>
                    <a:pt x="160" y="668"/>
                  </a:lnTo>
                  <a:lnTo>
                    <a:pt x="156" y="668"/>
                  </a:lnTo>
                  <a:lnTo>
                    <a:pt x="154" y="666"/>
                  </a:lnTo>
                  <a:lnTo>
                    <a:pt x="148" y="658"/>
                  </a:lnTo>
                  <a:lnTo>
                    <a:pt x="146" y="652"/>
                  </a:lnTo>
                  <a:lnTo>
                    <a:pt x="146" y="650"/>
                  </a:lnTo>
                  <a:lnTo>
                    <a:pt x="144" y="648"/>
                  </a:lnTo>
                  <a:lnTo>
                    <a:pt x="142" y="642"/>
                  </a:lnTo>
                  <a:lnTo>
                    <a:pt x="136" y="642"/>
                  </a:lnTo>
                  <a:lnTo>
                    <a:pt x="134" y="642"/>
                  </a:lnTo>
                  <a:lnTo>
                    <a:pt x="120" y="644"/>
                  </a:lnTo>
                  <a:lnTo>
                    <a:pt x="120" y="646"/>
                  </a:lnTo>
                  <a:lnTo>
                    <a:pt x="118" y="644"/>
                  </a:lnTo>
                  <a:lnTo>
                    <a:pt x="116" y="642"/>
                  </a:lnTo>
                  <a:lnTo>
                    <a:pt x="118" y="638"/>
                  </a:lnTo>
                  <a:lnTo>
                    <a:pt x="120" y="636"/>
                  </a:lnTo>
                  <a:lnTo>
                    <a:pt x="122" y="636"/>
                  </a:lnTo>
                  <a:lnTo>
                    <a:pt x="124" y="638"/>
                  </a:lnTo>
                  <a:lnTo>
                    <a:pt x="128" y="638"/>
                  </a:lnTo>
                  <a:lnTo>
                    <a:pt x="130" y="636"/>
                  </a:lnTo>
                  <a:lnTo>
                    <a:pt x="130" y="634"/>
                  </a:lnTo>
                  <a:lnTo>
                    <a:pt x="124" y="632"/>
                  </a:lnTo>
                  <a:lnTo>
                    <a:pt x="120" y="632"/>
                  </a:lnTo>
                  <a:lnTo>
                    <a:pt x="112" y="624"/>
                  </a:lnTo>
                  <a:lnTo>
                    <a:pt x="104" y="622"/>
                  </a:lnTo>
                  <a:lnTo>
                    <a:pt x="102" y="622"/>
                  </a:lnTo>
                  <a:lnTo>
                    <a:pt x="100" y="622"/>
                  </a:lnTo>
                  <a:lnTo>
                    <a:pt x="98" y="622"/>
                  </a:lnTo>
                  <a:lnTo>
                    <a:pt x="98" y="624"/>
                  </a:lnTo>
                  <a:lnTo>
                    <a:pt x="96" y="626"/>
                  </a:lnTo>
                  <a:lnTo>
                    <a:pt x="94" y="628"/>
                  </a:lnTo>
                  <a:lnTo>
                    <a:pt x="90" y="628"/>
                  </a:lnTo>
                  <a:lnTo>
                    <a:pt x="90" y="626"/>
                  </a:lnTo>
                  <a:lnTo>
                    <a:pt x="88" y="626"/>
                  </a:lnTo>
                  <a:lnTo>
                    <a:pt x="86" y="626"/>
                  </a:lnTo>
                  <a:lnTo>
                    <a:pt x="84" y="626"/>
                  </a:lnTo>
                  <a:lnTo>
                    <a:pt x="82" y="630"/>
                  </a:lnTo>
                  <a:lnTo>
                    <a:pt x="78" y="626"/>
                  </a:lnTo>
                  <a:lnTo>
                    <a:pt x="76" y="626"/>
                  </a:lnTo>
                  <a:lnTo>
                    <a:pt x="78" y="622"/>
                  </a:lnTo>
                  <a:lnTo>
                    <a:pt x="82" y="622"/>
                  </a:lnTo>
                  <a:lnTo>
                    <a:pt x="86" y="620"/>
                  </a:lnTo>
                  <a:lnTo>
                    <a:pt x="88" y="620"/>
                  </a:lnTo>
                  <a:lnTo>
                    <a:pt x="88" y="618"/>
                  </a:lnTo>
                  <a:lnTo>
                    <a:pt x="88" y="616"/>
                  </a:lnTo>
                  <a:lnTo>
                    <a:pt x="86" y="618"/>
                  </a:lnTo>
                  <a:lnTo>
                    <a:pt x="80" y="618"/>
                  </a:lnTo>
                  <a:lnTo>
                    <a:pt x="76" y="618"/>
                  </a:lnTo>
                  <a:lnTo>
                    <a:pt x="70" y="614"/>
                  </a:lnTo>
                  <a:lnTo>
                    <a:pt x="68" y="614"/>
                  </a:lnTo>
                  <a:lnTo>
                    <a:pt x="68" y="612"/>
                  </a:lnTo>
                  <a:lnTo>
                    <a:pt x="72" y="610"/>
                  </a:lnTo>
                  <a:lnTo>
                    <a:pt x="74" y="610"/>
                  </a:lnTo>
                  <a:lnTo>
                    <a:pt x="76" y="610"/>
                  </a:lnTo>
                  <a:lnTo>
                    <a:pt x="76" y="606"/>
                  </a:lnTo>
                  <a:lnTo>
                    <a:pt x="76" y="604"/>
                  </a:lnTo>
                  <a:lnTo>
                    <a:pt x="76" y="602"/>
                  </a:lnTo>
                  <a:lnTo>
                    <a:pt x="74" y="602"/>
                  </a:lnTo>
                  <a:lnTo>
                    <a:pt x="72" y="600"/>
                  </a:lnTo>
                  <a:lnTo>
                    <a:pt x="70" y="600"/>
                  </a:lnTo>
                  <a:lnTo>
                    <a:pt x="72" y="596"/>
                  </a:lnTo>
                  <a:lnTo>
                    <a:pt x="82" y="594"/>
                  </a:lnTo>
                  <a:lnTo>
                    <a:pt x="84" y="592"/>
                  </a:lnTo>
                  <a:lnTo>
                    <a:pt x="96" y="594"/>
                  </a:lnTo>
                  <a:lnTo>
                    <a:pt x="98" y="594"/>
                  </a:lnTo>
                  <a:lnTo>
                    <a:pt x="102" y="590"/>
                  </a:lnTo>
                  <a:lnTo>
                    <a:pt x="104" y="588"/>
                  </a:lnTo>
                  <a:lnTo>
                    <a:pt x="104" y="586"/>
                  </a:lnTo>
                  <a:lnTo>
                    <a:pt x="106" y="586"/>
                  </a:lnTo>
                  <a:lnTo>
                    <a:pt x="108" y="586"/>
                  </a:lnTo>
                  <a:lnTo>
                    <a:pt x="110" y="586"/>
                  </a:lnTo>
                  <a:lnTo>
                    <a:pt x="112" y="586"/>
                  </a:lnTo>
                  <a:lnTo>
                    <a:pt x="114" y="586"/>
                  </a:lnTo>
                  <a:lnTo>
                    <a:pt x="116" y="586"/>
                  </a:lnTo>
                  <a:lnTo>
                    <a:pt x="118" y="586"/>
                  </a:lnTo>
                  <a:lnTo>
                    <a:pt x="132" y="582"/>
                  </a:lnTo>
                  <a:lnTo>
                    <a:pt x="136" y="580"/>
                  </a:lnTo>
                  <a:lnTo>
                    <a:pt x="138" y="578"/>
                  </a:lnTo>
                  <a:lnTo>
                    <a:pt x="142" y="576"/>
                  </a:lnTo>
                  <a:lnTo>
                    <a:pt x="142" y="574"/>
                  </a:lnTo>
                  <a:lnTo>
                    <a:pt x="146" y="570"/>
                  </a:lnTo>
                  <a:lnTo>
                    <a:pt x="146" y="568"/>
                  </a:lnTo>
                  <a:lnTo>
                    <a:pt x="150" y="562"/>
                  </a:lnTo>
                  <a:lnTo>
                    <a:pt x="152" y="560"/>
                  </a:lnTo>
                  <a:lnTo>
                    <a:pt x="152" y="556"/>
                  </a:lnTo>
                  <a:lnTo>
                    <a:pt x="150" y="550"/>
                  </a:lnTo>
                  <a:lnTo>
                    <a:pt x="152" y="546"/>
                  </a:lnTo>
                  <a:lnTo>
                    <a:pt x="156" y="540"/>
                  </a:lnTo>
                  <a:lnTo>
                    <a:pt x="154" y="534"/>
                  </a:lnTo>
                  <a:lnTo>
                    <a:pt x="152" y="532"/>
                  </a:lnTo>
                  <a:lnTo>
                    <a:pt x="156" y="526"/>
                  </a:lnTo>
                  <a:lnTo>
                    <a:pt x="156" y="524"/>
                  </a:lnTo>
                  <a:lnTo>
                    <a:pt x="156" y="522"/>
                  </a:lnTo>
                  <a:lnTo>
                    <a:pt x="152" y="520"/>
                  </a:lnTo>
                  <a:lnTo>
                    <a:pt x="146" y="520"/>
                  </a:lnTo>
                  <a:lnTo>
                    <a:pt x="140" y="520"/>
                  </a:lnTo>
                  <a:lnTo>
                    <a:pt x="138" y="522"/>
                  </a:lnTo>
                  <a:lnTo>
                    <a:pt x="136" y="524"/>
                  </a:lnTo>
                  <a:lnTo>
                    <a:pt x="134" y="524"/>
                  </a:lnTo>
                  <a:lnTo>
                    <a:pt x="132" y="528"/>
                  </a:lnTo>
                  <a:lnTo>
                    <a:pt x="122" y="526"/>
                  </a:lnTo>
                  <a:lnTo>
                    <a:pt x="120" y="526"/>
                  </a:lnTo>
                  <a:lnTo>
                    <a:pt x="120" y="524"/>
                  </a:lnTo>
                  <a:lnTo>
                    <a:pt x="122" y="522"/>
                  </a:lnTo>
                  <a:lnTo>
                    <a:pt x="128" y="518"/>
                  </a:lnTo>
                  <a:lnTo>
                    <a:pt x="130" y="516"/>
                  </a:lnTo>
                  <a:lnTo>
                    <a:pt x="132" y="516"/>
                  </a:lnTo>
                  <a:lnTo>
                    <a:pt x="134" y="516"/>
                  </a:lnTo>
                  <a:lnTo>
                    <a:pt x="136" y="516"/>
                  </a:lnTo>
                  <a:lnTo>
                    <a:pt x="138" y="514"/>
                  </a:lnTo>
                  <a:lnTo>
                    <a:pt x="140" y="512"/>
                  </a:lnTo>
                  <a:lnTo>
                    <a:pt x="146" y="508"/>
                  </a:lnTo>
                  <a:lnTo>
                    <a:pt x="148" y="508"/>
                  </a:lnTo>
                  <a:lnTo>
                    <a:pt x="148" y="506"/>
                  </a:lnTo>
                  <a:lnTo>
                    <a:pt x="152" y="502"/>
                  </a:lnTo>
                  <a:lnTo>
                    <a:pt x="160" y="494"/>
                  </a:lnTo>
                  <a:lnTo>
                    <a:pt x="164" y="494"/>
                  </a:lnTo>
                  <a:lnTo>
                    <a:pt x="166" y="494"/>
                  </a:lnTo>
                  <a:lnTo>
                    <a:pt x="168" y="494"/>
                  </a:lnTo>
                  <a:lnTo>
                    <a:pt x="170" y="494"/>
                  </a:lnTo>
                  <a:lnTo>
                    <a:pt x="172" y="494"/>
                  </a:lnTo>
                  <a:lnTo>
                    <a:pt x="180" y="492"/>
                  </a:lnTo>
                  <a:lnTo>
                    <a:pt x="188" y="494"/>
                  </a:lnTo>
                  <a:lnTo>
                    <a:pt x="192" y="496"/>
                  </a:lnTo>
                  <a:lnTo>
                    <a:pt x="194" y="496"/>
                  </a:lnTo>
                  <a:lnTo>
                    <a:pt x="202" y="494"/>
                  </a:lnTo>
                  <a:lnTo>
                    <a:pt x="206" y="494"/>
                  </a:lnTo>
                  <a:lnTo>
                    <a:pt x="208" y="494"/>
                  </a:lnTo>
                  <a:lnTo>
                    <a:pt x="210" y="494"/>
                  </a:lnTo>
                  <a:lnTo>
                    <a:pt x="214" y="500"/>
                  </a:lnTo>
                  <a:lnTo>
                    <a:pt x="218" y="506"/>
                  </a:lnTo>
                  <a:lnTo>
                    <a:pt x="220" y="506"/>
                  </a:lnTo>
                  <a:lnTo>
                    <a:pt x="222" y="504"/>
                  </a:lnTo>
                  <a:lnTo>
                    <a:pt x="220" y="498"/>
                  </a:lnTo>
                  <a:lnTo>
                    <a:pt x="220" y="496"/>
                  </a:lnTo>
                  <a:lnTo>
                    <a:pt x="218" y="496"/>
                  </a:lnTo>
                  <a:lnTo>
                    <a:pt x="218" y="494"/>
                  </a:lnTo>
                  <a:lnTo>
                    <a:pt x="218" y="492"/>
                  </a:lnTo>
                  <a:lnTo>
                    <a:pt x="220" y="492"/>
                  </a:lnTo>
                  <a:lnTo>
                    <a:pt x="226" y="492"/>
                  </a:lnTo>
                  <a:lnTo>
                    <a:pt x="226" y="494"/>
                  </a:lnTo>
                  <a:lnTo>
                    <a:pt x="228" y="496"/>
                  </a:lnTo>
                  <a:lnTo>
                    <a:pt x="230" y="502"/>
                  </a:lnTo>
                  <a:lnTo>
                    <a:pt x="230" y="504"/>
                  </a:lnTo>
                  <a:lnTo>
                    <a:pt x="232" y="504"/>
                  </a:lnTo>
                  <a:lnTo>
                    <a:pt x="232" y="506"/>
                  </a:lnTo>
                  <a:lnTo>
                    <a:pt x="234" y="506"/>
                  </a:lnTo>
                  <a:lnTo>
                    <a:pt x="238" y="506"/>
                  </a:lnTo>
                  <a:lnTo>
                    <a:pt x="240" y="506"/>
                  </a:lnTo>
                  <a:lnTo>
                    <a:pt x="242" y="502"/>
                  </a:lnTo>
                  <a:lnTo>
                    <a:pt x="240" y="502"/>
                  </a:lnTo>
                  <a:lnTo>
                    <a:pt x="238" y="502"/>
                  </a:lnTo>
                  <a:lnTo>
                    <a:pt x="234" y="504"/>
                  </a:lnTo>
                  <a:lnTo>
                    <a:pt x="234" y="502"/>
                  </a:lnTo>
                  <a:lnTo>
                    <a:pt x="230" y="498"/>
                  </a:lnTo>
                  <a:lnTo>
                    <a:pt x="228" y="492"/>
                  </a:lnTo>
                  <a:lnTo>
                    <a:pt x="228" y="490"/>
                  </a:lnTo>
                  <a:lnTo>
                    <a:pt x="226" y="478"/>
                  </a:lnTo>
                  <a:lnTo>
                    <a:pt x="228" y="476"/>
                  </a:lnTo>
                  <a:lnTo>
                    <a:pt x="230" y="474"/>
                  </a:lnTo>
                  <a:lnTo>
                    <a:pt x="236" y="468"/>
                  </a:lnTo>
                  <a:lnTo>
                    <a:pt x="238" y="466"/>
                  </a:lnTo>
                  <a:lnTo>
                    <a:pt x="242" y="466"/>
                  </a:lnTo>
                  <a:lnTo>
                    <a:pt x="240" y="464"/>
                  </a:lnTo>
                  <a:lnTo>
                    <a:pt x="238" y="464"/>
                  </a:lnTo>
                  <a:lnTo>
                    <a:pt x="236" y="464"/>
                  </a:lnTo>
                  <a:lnTo>
                    <a:pt x="234" y="462"/>
                  </a:lnTo>
                  <a:lnTo>
                    <a:pt x="234" y="460"/>
                  </a:lnTo>
                  <a:lnTo>
                    <a:pt x="234" y="458"/>
                  </a:lnTo>
                  <a:lnTo>
                    <a:pt x="238" y="448"/>
                  </a:lnTo>
                  <a:lnTo>
                    <a:pt x="238" y="446"/>
                  </a:lnTo>
                  <a:lnTo>
                    <a:pt x="244" y="446"/>
                  </a:lnTo>
                  <a:lnTo>
                    <a:pt x="248" y="442"/>
                  </a:lnTo>
                  <a:lnTo>
                    <a:pt x="252" y="434"/>
                  </a:lnTo>
                  <a:lnTo>
                    <a:pt x="254" y="428"/>
                  </a:lnTo>
                  <a:lnTo>
                    <a:pt x="256" y="422"/>
                  </a:lnTo>
                  <a:lnTo>
                    <a:pt x="250" y="426"/>
                  </a:lnTo>
                  <a:lnTo>
                    <a:pt x="236" y="430"/>
                  </a:lnTo>
                  <a:lnTo>
                    <a:pt x="234" y="428"/>
                  </a:lnTo>
                  <a:lnTo>
                    <a:pt x="232" y="428"/>
                  </a:lnTo>
                  <a:lnTo>
                    <a:pt x="228" y="412"/>
                  </a:lnTo>
                  <a:lnTo>
                    <a:pt x="226" y="410"/>
                  </a:lnTo>
                  <a:lnTo>
                    <a:pt x="226" y="408"/>
                  </a:lnTo>
                  <a:lnTo>
                    <a:pt x="228" y="404"/>
                  </a:lnTo>
                  <a:lnTo>
                    <a:pt x="226" y="400"/>
                  </a:lnTo>
                  <a:lnTo>
                    <a:pt x="226" y="398"/>
                  </a:lnTo>
                  <a:lnTo>
                    <a:pt x="224" y="396"/>
                  </a:lnTo>
                  <a:lnTo>
                    <a:pt x="222" y="392"/>
                  </a:lnTo>
                  <a:lnTo>
                    <a:pt x="222" y="388"/>
                  </a:lnTo>
                  <a:lnTo>
                    <a:pt x="220" y="386"/>
                  </a:lnTo>
                  <a:lnTo>
                    <a:pt x="226" y="376"/>
                  </a:lnTo>
                  <a:lnTo>
                    <a:pt x="238" y="362"/>
                  </a:lnTo>
                  <a:lnTo>
                    <a:pt x="242" y="356"/>
                  </a:lnTo>
                  <a:lnTo>
                    <a:pt x="248" y="352"/>
                  </a:lnTo>
                  <a:lnTo>
                    <a:pt x="250" y="352"/>
                  </a:lnTo>
                  <a:lnTo>
                    <a:pt x="252" y="352"/>
                  </a:lnTo>
                  <a:lnTo>
                    <a:pt x="254" y="352"/>
                  </a:lnTo>
                  <a:lnTo>
                    <a:pt x="254" y="354"/>
                  </a:lnTo>
                  <a:lnTo>
                    <a:pt x="256" y="354"/>
                  </a:lnTo>
                  <a:lnTo>
                    <a:pt x="258" y="354"/>
                  </a:lnTo>
                  <a:lnTo>
                    <a:pt x="262" y="354"/>
                  </a:lnTo>
                  <a:lnTo>
                    <a:pt x="262" y="352"/>
                  </a:lnTo>
                  <a:lnTo>
                    <a:pt x="262" y="350"/>
                  </a:lnTo>
                  <a:lnTo>
                    <a:pt x="260" y="352"/>
                  </a:lnTo>
                  <a:lnTo>
                    <a:pt x="256" y="350"/>
                  </a:lnTo>
                  <a:lnTo>
                    <a:pt x="246" y="348"/>
                  </a:lnTo>
                  <a:lnTo>
                    <a:pt x="244" y="348"/>
                  </a:lnTo>
                  <a:lnTo>
                    <a:pt x="242" y="346"/>
                  </a:lnTo>
                  <a:lnTo>
                    <a:pt x="234" y="344"/>
                  </a:lnTo>
                  <a:lnTo>
                    <a:pt x="234" y="346"/>
                  </a:lnTo>
                  <a:lnTo>
                    <a:pt x="230" y="354"/>
                  </a:lnTo>
                  <a:lnTo>
                    <a:pt x="226" y="352"/>
                  </a:lnTo>
                  <a:lnTo>
                    <a:pt x="220" y="354"/>
                  </a:lnTo>
                  <a:lnTo>
                    <a:pt x="216" y="356"/>
                  </a:lnTo>
                  <a:lnTo>
                    <a:pt x="210" y="358"/>
                  </a:lnTo>
                  <a:lnTo>
                    <a:pt x="208" y="358"/>
                  </a:lnTo>
                  <a:lnTo>
                    <a:pt x="202" y="356"/>
                  </a:lnTo>
                  <a:lnTo>
                    <a:pt x="200" y="356"/>
                  </a:lnTo>
                  <a:lnTo>
                    <a:pt x="192" y="346"/>
                  </a:lnTo>
                  <a:lnTo>
                    <a:pt x="192" y="342"/>
                  </a:lnTo>
                  <a:lnTo>
                    <a:pt x="192" y="340"/>
                  </a:lnTo>
                  <a:lnTo>
                    <a:pt x="190" y="340"/>
                  </a:lnTo>
                  <a:lnTo>
                    <a:pt x="188" y="342"/>
                  </a:lnTo>
                  <a:lnTo>
                    <a:pt x="188" y="344"/>
                  </a:lnTo>
                  <a:lnTo>
                    <a:pt x="188" y="348"/>
                  </a:lnTo>
                  <a:lnTo>
                    <a:pt x="188" y="354"/>
                  </a:lnTo>
                  <a:lnTo>
                    <a:pt x="188" y="358"/>
                  </a:lnTo>
                  <a:lnTo>
                    <a:pt x="188" y="360"/>
                  </a:lnTo>
                  <a:lnTo>
                    <a:pt x="186" y="362"/>
                  </a:lnTo>
                  <a:lnTo>
                    <a:pt x="184" y="360"/>
                  </a:lnTo>
                  <a:lnTo>
                    <a:pt x="180" y="358"/>
                  </a:lnTo>
                  <a:lnTo>
                    <a:pt x="178" y="354"/>
                  </a:lnTo>
                  <a:lnTo>
                    <a:pt x="178" y="352"/>
                  </a:lnTo>
                  <a:lnTo>
                    <a:pt x="176" y="348"/>
                  </a:lnTo>
                  <a:lnTo>
                    <a:pt x="174" y="346"/>
                  </a:lnTo>
                  <a:lnTo>
                    <a:pt x="172" y="342"/>
                  </a:lnTo>
                  <a:lnTo>
                    <a:pt x="168" y="340"/>
                  </a:lnTo>
                  <a:lnTo>
                    <a:pt x="168" y="338"/>
                  </a:lnTo>
                  <a:lnTo>
                    <a:pt x="166" y="338"/>
                  </a:lnTo>
                  <a:lnTo>
                    <a:pt x="164" y="338"/>
                  </a:lnTo>
                  <a:lnTo>
                    <a:pt x="162" y="340"/>
                  </a:lnTo>
                  <a:lnTo>
                    <a:pt x="160" y="340"/>
                  </a:lnTo>
                  <a:lnTo>
                    <a:pt x="160" y="342"/>
                  </a:lnTo>
                  <a:lnTo>
                    <a:pt x="160" y="346"/>
                  </a:lnTo>
                  <a:lnTo>
                    <a:pt x="160" y="350"/>
                  </a:lnTo>
                  <a:lnTo>
                    <a:pt x="160" y="352"/>
                  </a:lnTo>
                  <a:lnTo>
                    <a:pt x="160" y="354"/>
                  </a:lnTo>
                  <a:lnTo>
                    <a:pt x="160" y="358"/>
                  </a:lnTo>
                  <a:lnTo>
                    <a:pt x="156" y="356"/>
                  </a:lnTo>
                  <a:lnTo>
                    <a:pt x="156" y="354"/>
                  </a:lnTo>
                  <a:lnTo>
                    <a:pt x="156" y="352"/>
                  </a:lnTo>
                  <a:lnTo>
                    <a:pt x="158" y="350"/>
                  </a:lnTo>
                  <a:lnTo>
                    <a:pt x="156" y="344"/>
                  </a:lnTo>
                  <a:lnTo>
                    <a:pt x="156" y="342"/>
                  </a:lnTo>
                  <a:lnTo>
                    <a:pt x="154" y="340"/>
                  </a:lnTo>
                  <a:lnTo>
                    <a:pt x="152" y="338"/>
                  </a:lnTo>
                  <a:lnTo>
                    <a:pt x="152" y="336"/>
                  </a:lnTo>
                  <a:lnTo>
                    <a:pt x="152" y="334"/>
                  </a:lnTo>
                  <a:lnTo>
                    <a:pt x="150" y="330"/>
                  </a:lnTo>
                  <a:lnTo>
                    <a:pt x="152" y="328"/>
                  </a:lnTo>
                  <a:lnTo>
                    <a:pt x="152" y="326"/>
                  </a:lnTo>
                  <a:lnTo>
                    <a:pt x="152" y="322"/>
                  </a:lnTo>
                  <a:lnTo>
                    <a:pt x="154" y="322"/>
                  </a:lnTo>
                  <a:lnTo>
                    <a:pt x="154" y="320"/>
                  </a:lnTo>
                  <a:lnTo>
                    <a:pt x="158" y="320"/>
                  </a:lnTo>
                  <a:lnTo>
                    <a:pt x="160" y="318"/>
                  </a:lnTo>
                  <a:lnTo>
                    <a:pt x="164" y="312"/>
                  </a:lnTo>
                  <a:lnTo>
                    <a:pt x="166" y="312"/>
                  </a:lnTo>
                  <a:lnTo>
                    <a:pt x="168" y="310"/>
                  </a:lnTo>
                  <a:lnTo>
                    <a:pt x="170" y="310"/>
                  </a:lnTo>
                  <a:lnTo>
                    <a:pt x="174" y="306"/>
                  </a:lnTo>
                  <a:lnTo>
                    <a:pt x="176" y="302"/>
                  </a:lnTo>
                  <a:lnTo>
                    <a:pt x="178" y="298"/>
                  </a:lnTo>
                  <a:lnTo>
                    <a:pt x="184" y="290"/>
                  </a:lnTo>
                  <a:lnTo>
                    <a:pt x="186" y="290"/>
                  </a:lnTo>
                  <a:lnTo>
                    <a:pt x="188" y="290"/>
                  </a:lnTo>
                  <a:lnTo>
                    <a:pt x="190" y="290"/>
                  </a:lnTo>
                  <a:lnTo>
                    <a:pt x="192" y="290"/>
                  </a:lnTo>
                  <a:lnTo>
                    <a:pt x="194" y="284"/>
                  </a:lnTo>
                  <a:lnTo>
                    <a:pt x="194" y="278"/>
                  </a:lnTo>
                  <a:lnTo>
                    <a:pt x="192" y="274"/>
                  </a:lnTo>
                  <a:lnTo>
                    <a:pt x="192" y="272"/>
                  </a:lnTo>
                  <a:lnTo>
                    <a:pt x="190" y="270"/>
                  </a:lnTo>
                  <a:lnTo>
                    <a:pt x="188" y="268"/>
                  </a:lnTo>
                  <a:lnTo>
                    <a:pt x="186" y="266"/>
                  </a:lnTo>
                  <a:lnTo>
                    <a:pt x="186" y="264"/>
                  </a:lnTo>
                  <a:lnTo>
                    <a:pt x="184" y="264"/>
                  </a:lnTo>
                  <a:lnTo>
                    <a:pt x="184" y="262"/>
                  </a:lnTo>
                  <a:lnTo>
                    <a:pt x="192" y="242"/>
                  </a:lnTo>
                  <a:lnTo>
                    <a:pt x="194" y="242"/>
                  </a:lnTo>
                  <a:lnTo>
                    <a:pt x="196" y="242"/>
                  </a:lnTo>
                  <a:lnTo>
                    <a:pt x="198" y="242"/>
                  </a:lnTo>
                  <a:lnTo>
                    <a:pt x="200" y="244"/>
                  </a:lnTo>
                  <a:lnTo>
                    <a:pt x="206" y="248"/>
                  </a:lnTo>
                  <a:lnTo>
                    <a:pt x="208" y="248"/>
                  </a:lnTo>
                  <a:lnTo>
                    <a:pt x="212" y="248"/>
                  </a:lnTo>
                  <a:lnTo>
                    <a:pt x="210" y="248"/>
                  </a:lnTo>
                  <a:lnTo>
                    <a:pt x="204" y="244"/>
                  </a:lnTo>
                  <a:lnTo>
                    <a:pt x="198" y="240"/>
                  </a:lnTo>
                  <a:lnTo>
                    <a:pt x="196" y="240"/>
                  </a:lnTo>
                  <a:lnTo>
                    <a:pt x="194" y="238"/>
                  </a:lnTo>
                  <a:lnTo>
                    <a:pt x="194" y="234"/>
                  </a:lnTo>
                  <a:lnTo>
                    <a:pt x="196" y="230"/>
                  </a:lnTo>
                  <a:lnTo>
                    <a:pt x="196" y="228"/>
                  </a:lnTo>
                  <a:lnTo>
                    <a:pt x="198" y="228"/>
                  </a:lnTo>
                  <a:lnTo>
                    <a:pt x="196" y="228"/>
                  </a:lnTo>
                  <a:lnTo>
                    <a:pt x="196" y="230"/>
                  </a:lnTo>
                  <a:lnTo>
                    <a:pt x="192" y="238"/>
                  </a:lnTo>
                  <a:lnTo>
                    <a:pt x="190" y="240"/>
                  </a:lnTo>
                  <a:lnTo>
                    <a:pt x="190" y="242"/>
                  </a:lnTo>
                  <a:lnTo>
                    <a:pt x="186" y="246"/>
                  </a:lnTo>
                  <a:lnTo>
                    <a:pt x="184" y="248"/>
                  </a:lnTo>
                  <a:lnTo>
                    <a:pt x="184" y="246"/>
                  </a:lnTo>
                  <a:lnTo>
                    <a:pt x="182" y="246"/>
                  </a:lnTo>
                  <a:lnTo>
                    <a:pt x="180" y="242"/>
                  </a:lnTo>
                  <a:lnTo>
                    <a:pt x="176" y="238"/>
                  </a:lnTo>
                  <a:lnTo>
                    <a:pt x="176" y="240"/>
                  </a:lnTo>
                  <a:lnTo>
                    <a:pt x="174" y="240"/>
                  </a:lnTo>
                  <a:lnTo>
                    <a:pt x="172" y="242"/>
                  </a:lnTo>
                  <a:lnTo>
                    <a:pt x="172" y="246"/>
                  </a:lnTo>
                  <a:lnTo>
                    <a:pt x="172" y="248"/>
                  </a:lnTo>
                  <a:lnTo>
                    <a:pt x="168" y="244"/>
                  </a:lnTo>
                  <a:lnTo>
                    <a:pt x="168" y="238"/>
                  </a:lnTo>
                  <a:lnTo>
                    <a:pt x="168" y="236"/>
                  </a:lnTo>
                  <a:lnTo>
                    <a:pt x="172" y="230"/>
                  </a:lnTo>
                  <a:lnTo>
                    <a:pt x="174" y="228"/>
                  </a:lnTo>
                  <a:lnTo>
                    <a:pt x="176" y="228"/>
                  </a:lnTo>
                  <a:lnTo>
                    <a:pt x="180" y="222"/>
                  </a:lnTo>
                  <a:lnTo>
                    <a:pt x="188" y="216"/>
                  </a:lnTo>
                  <a:lnTo>
                    <a:pt x="194" y="214"/>
                  </a:lnTo>
                  <a:lnTo>
                    <a:pt x="196" y="212"/>
                  </a:lnTo>
                  <a:lnTo>
                    <a:pt x="198" y="212"/>
                  </a:lnTo>
                  <a:lnTo>
                    <a:pt x="192" y="214"/>
                  </a:lnTo>
                  <a:lnTo>
                    <a:pt x="180" y="220"/>
                  </a:lnTo>
                  <a:lnTo>
                    <a:pt x="178" y="220"/>
                  </a:lnTo>
                  <a:lnTo>
                    <a:pt x="178" y="222"/>
                  </a:lnTo>
                  <a:lnTo>
                    <a:pt x="176" y="224"/>
                  </a:lnTo>
                  <a:lnTo>
                    <a:pt x="174" y="224"/>
                  </a:lnTo>
                  <a:lnTo>
                    <a:pt x="172" y="226"/>
                  </a:lnTo>
                  <a:lnTo>
                    <a:pt x="172" y="228"/>
                  </a:lnTo>
                  <a:lnTo>
                    <a:pt x="170" y="228"/>
                  </a:lnTo>
                  <a:lnTo>
                    <a:pt x="168" y="230"/>
                  </a:lnTo>
                  <a:lnTo>
                    <a:pt x="166" y="228"/>
                  </a:lnTo>
                  <a:lnTo>
                    <a:pt x="164" y="238"/>
                  </a:lnTo>
                  <a:lnTo>
                    <a:pt x="162" y="252"/>
                  </a:lnTo>
                  <a:lnTo>
                    <a:pt x="160" y="252"/>
                  </a:lnTo>
                  <a:lnTo>
                    <a:pt x="158" y="254"/>
                  </a:lnTo>
                  <a:lnTo>
                    <a:pt x="156" y="256"/>
                  </a:lnTo>
                  <a:lnTo>
                    <a:pt x="156" y="258"/>
                  </a:lnTo>
                  <a:lnTo>
                    <a:pt x="154" y="260"/>
                  </a:lnTo>
                  <a:lnTo>
                    <a:pt x="144" y="280"/>
                  </a:lnTo>
                  <a:lnTo>
                    <a:pt x="146" y="280"/>
                  </a:lnTo>
                  <a:lnTo>
                    <a:pt x="146" y="284"/>
                  </a:lnTo>
                  <a:lnTo>
                    <a:pt x="144" y="284"/>
                  </a:lnTo>
                  <a:lnTo>
                    <a:pt x="144" y="286"/>
                  </a:lnTo>
                  <a:lnTo>
                    <a:pt x="142" y="288"/>
                  </a:lnTo>
                  <a:lnTo>
                    <a:pt x="140" y="288"/>
                  </a:lnTo>
                  <a:lnTo>
                    <a:pt x="132" y="288"/>
                  </a:lnTo>
                  <a:lnTo>
                    <a:pt x="130" y="286"/>
                  </a:lnTo>
                  <a:lnTo>
                    <a:pt x="130" y="284"/>
                  </a:lnTo>
                  <a:lnTo>
                    <a:pt x="130" y="280"/>
                  </a:lnTo>
                  <a:lnTo>
                    <a:pt x="132" y="278"/>
                  </a:lnTo>
                  <a:lnTo>
                    <a:pt x="134" y="276"/>
                  </a:lnTo>
                  <a:lnTo>
                    <a:pt x="136" y="276"/>
                  </a:lnTo>
                  <a:lnTo>
                    <a:pt x="138" y="274"/>
                  </a:lnTo>
                  <a:lnTo>
                    <a:pt x="138" y="268"/>
                  </a:lnTo>
                  <a:lnTo>
                    <a:pt x="142" y="262"/>
                  </a:lnTo>
                  <a:lnTo>
                    <a:pt x="146" y="256"/>
                  </a:lnTo>
                  <a:lnTo>
                    <a:pt x="152" y="248"/>
                  </a:lnTo>
                  <a:lnTo>
                    <a:pt x="150" y="244"/>
                  </a:lnTo>
                  <a:lnTo>
                    <a:pt x="148" y="242"/>
                  </a:lnTo>
                  <a:lnTo>
                    <a:pt x="152" y="236"/>
                  </a:lnTo>
                  <a:lnTo>
                    <a:pt x="152" y="234"/>
                  </a:lnTo>
                  <a:lnTo>
                    <a:pt x="152" y="232"/>
                  </a:lnTo>
                  <a:lnTo>
                    <a:pt x="156" y="228"/>
                  </a:lnTo>
                  <a:lnTo>
                    <a:pt x="160" y="226"/>
                  </a:lnTo>
                  <a:lnTo>
                    <a:pt x="160" y="224"/>
                  </a:lnTo>
                  <a:lnTo>
                    <a:pt x="158" y="224"/>
                  </a:lnTo>
                  <a:lnTo>
                    <a:pt x="156" y="224"/>
                  </a:lnTo>
                  <a:lnTo>
                    <a:pt x="154" y="228"/>
                  </a:lnTo>
                  <a:lnTo>
                    <a:pt x="154" y="226"/>
                  </a:lnTo>
                  <a:lnTo>
                    <a:pt x="156" y="222"/>
                  </a:lnTo>
                  <a:lnTo>
                    <a:pt x="158" y="222"/>
                  </a:lnTo>
                  <a:lnTo>
                    <a:pt x="160" y="220"/>
                  </a:lnTo>
                  <a:lnTo>
                    <a:pt x="162" y="216"/>
                  </a:lnTo>
                  <a:lnTo>
                    <a:pt x="166" y="212"/>
                  </a:lnTo>
                  <a:lnTo>
                    <a:pt x="166" y="210"/>
                  </a:lnTo>
                  <a:lnTo>
                    <a:pt x="164" y="212"/>
                  </a:lnTo>
                  <a:lnTo>
                    <a:pt x="162" y="212"/>
                  </a:lnTo>
                  <a:lnTo>
                    <a:pt x="164" y="204"/>
                  </a:lnTo>
                  <a:lnTo>
                    <a:pt x="168" y="198"/>
                  </a:lnTo>
                  <a:lnTo>
                    <a:pt x="172" y="194"/>
                  </a:lnTo>
                  <a:lnTo>
                    <a:pt x="176" y="190"/>
                  </a:lnTo>
                  <a:lnTo>
                    <a:pt x="178" y="190"/>
                  </a:lnTo>
                  <a:lnTo>
                    <a:pt x="182" y="192"/>
                  </a:lnTo>
                  <a:lnTo>
                    <a:pt x="184" y="192"/>
                  </a:lnTo>
                  <a:lnTo>
                    <a:pt x="186" y="192"/>
                  </a:lnTo>
                  <a:lnTo>
                    <a:pt x="188" y="192"/>
                  </a:lnTo>
                  <a:lnTo>
                    <a:pt x="190" y="192"/>
                  </a:lnTo>
                  <a:lnTo>
                    <a:pt x="192" y="190"/>
                  </a:lnTo>
                  <a:lnTo>
                    <a:pt x="194" y="188"/>
                  </a:lnTo>
                  <a:lnTo>
                    <a:pt x="196" y="188"/>
                  </a:lnTo>
                  <a:lnTo>
                    <a:pt x="198" y="184"/>
                  </a:lnTo>
                  <a:lnTo>
                    <a:pt x="196" y="184"/>
                  </a:lnTo>
                  <a:lnTo>
                    <a:pt x="196" y="186"/>
                  </a:lnTo>
                  <a:lnTo>
                    <a:pt x="194" y="188"/>
                  </a:lnTo>
                  <a:lnTo>
                    <a:pt x="190" y="190"/>
                  </a:lnTo>
                  <a:lnTo>
                    <a:pt x="188" y="192"/>
                  </a:lnTo>
                  <a:lnTo>
                    <a:pt x="188" y="190"/>
                  </a:lnTo>
                  <a:lnTo>
                    <a:pt x="182" y="188"/>
                  </a:lnTo>
                  <a:lnTo>
                    <a:pt x="180" y="186"/>
                  </a:lnTo>
                  <a:lnTo>
                    <a:pt x="182" y="182"/>
                  </a:lnTo>
                  <a:lnTo>
                    <a:pt x="182" y="184"/>
                  </a:lnTo>
                  <a:lnTo>
                    <a:pt x="184" y="184"/>
                  </a:lnTo>
                  <a:lnTo>
                    <a:pt x="190" y="182"/>
                  </a:lnTo>
                  <a:lnTo>
                    <a:pt x="186" y="180"/>
                  </a:lnTo>
                  <a:lnTo>
                    <a:pt x="184" y="182"/>
                  </a:lnTo>
                  <a:lnTo>
                    <a:pt x="184" y="180"/>
                  </a:lnTo>
                  <a:lnTo>
                    <a:pt x="184" y="178"/>
                  </a:lnTo>
                  <a:lnTo>
                    <a:pt x="188" y="172"/>
                  </a:lnTo>
                  <a:lnTo>
                    <a:pt x="194" y="168"/>
                  </a:lnTo>
                  <a:lnTo>
                    <a:pt x="198" y="164"/>
                  </a:lnTo>
                  <a:lnTo>
                    <a:pt x="200" y="162"/>
                  </a:lnTo>
                  <a:lnTo>
                    <a:pt x="202" y="160"/>
                  </a:lnTo>
                  <a:lnTo>
                    <a:pt x="200" y="162"/>
                  </a:lnTo>
                  <a:lnTo>
                    <a:pt x="198" y="162"/>
                  </a:lnTo>
                  <a:lnTo>
                    <a:pt x="196" y="166"/>
                  </a:lnTo>
                  <a:lnTo>
                    <a:pt x="186" y="170"/>
                  </a:lnTo>
                  <a:lnTo>
                    <a:pt x="174" y="178"/>
                  </a:lnTo>
                  <a:lnTo>
                    <a:pt x="172" y="180"/>
                  </a:lnTo>
                  <a:lnTo>
                    <a:pt x="168" y="182"/>
                  </a:lnTo>
                  <a:lnTo>
                    <a:pt x="166" y="180"/>
                  </a:lnTo>
                  <a:lnTo>
                    <a:pt x="162" y="176"/>
                  </a:lnTo>
                  <a:lnTo>
                    <a:pt x="160" y="174"/>
                  </a:lnTo>
                  <a:lnTo>
                    <a:pt x="158" y="174"/>
                  </a:lnTo>
                  <a:lnTo>
                    <a:pt x="158" y="172"/>
                  </a:lnTo>
                  <a:lnTo>
                    <a:pt x="156" y="170"/>
                  </a:lnTo>
                  <a:lnTo>
                    <a:pt x="154" y="166"/>
                  </a:lnTo>
                  <a:lnTo>
                    <a:pt x="154" y="164"/>
                  </a:lnTo>
                  <a:lnTo>
                    <a:pt x="156" y="164"/>
                  </a:lnTo>
                  <a:lnTo>
                    <a:pt x="160" y="164"/>
                  </a:lnTo>
                  <a:lnTo>
                    <a:pt x="170" y="164"/>
                  </a:lnTo>
                  <a:lnTo>
                    <a:pt x="172" y="166"/>
                  </a:lnTo>
                  <a:lnTo>
                    <a:pt x="176" y="166"/>
                  </a:lnTo>
                  <a:lnTo>
                    <a:pt x="178" y="166"/>
                  </a:lnTo>
                  <a:lnTo>
                    <a:pt x="170" y="162"/>
                  </a:lnTo>
                  <a:lnTo>
                    <a:pt x="168" y="162"/>
                  </a:lnTo>
                  <a:lnTo>
                    <a:pt x="166" y="162"/>
                  </a:lnTo>
                  <a:lnTo>
                    <a:pt x="164" y="162"/>
                  </a:lnTo>
                  <a:lnTo>
                    <a:pt x="160" y="162"/>
                  </a:lnTo>
                  <a:lnTo>
                    <a:pt x="146" y="158"/>
                  </a:lnTo>
                  <a:lnTo>
                    <a:pt x="146" y="156"/>
                  </a:lnTo>
                  <a:lnTo>
                    <a:pt x="146" y="154"/>
                  </a:lnTo>
                  <a:lnTo>
                    <a:pt x="148" y="152"/>
                  </a:lnTo>
                  <a:lnTo>
                    <a:pt x="152" y="152"/>
                  </a:lnTo>
                  <a:lnTo>
                    <a:pt x="160" y="152"/>
                  </a:lnTo>
                  <a:lnTo>
                    <a:pt x="162" y="152"/>
                  </a:lnTo>
                  <a:lnTo>
                    <a:pt x="162" y="154"/>
                  </a:lnTo>
                  <a:lnTo>
                    <a:pt x="164" y="156"/>
                  </a:lnTo>
                  <a:lnTo>
                    <a:pt x="168" y="154"/>
                  </a:lnTo>
                  <a:lnTo>
                    <a:pt x="168" y="152"/>
                  </a:lnTo>
                  <a:lnTo>
                    <a:pt x="166" y="150"/>
                  </a:lnTo>
                  <a:lnTo>
                    <a:pt x="168" y="150"/>
                  </a:lnTo>
                  <a:lnTo>
                    <a:pt x="170" y="150"/>
                  </a:lnTo>
                  <a:lnTo>
                    <a:pt x="172" y="150"/>
                  </a:lnTo>
                  <a:lnTo>
                    <a:pt x="174" y="150"/>
                  </a:lnTo>
                  <a:lnTo>
                    <a:pt x="178" y="148"/>
                  </a:lnTo>
                  <a:lnTo>
                    <a:pt x="176" y="148"/>
                  </a:lnTo>
                  <a:lnTo>
                    <a:pt x="174" y="144"/>
                  </a:lnTo>
                  <a:lnTo>
                    <a:pt x="172" y="144"/>
                  </a:lnTo>
                  <a:lnTo>
                    <a:pt x="170" y="144"/>
                  </a:lnTo>
                  <a:lnTo>
                    <a:pt x="168" y="144"/>
                  </a:lnTo>
                  <a:lnTo>
                    <a:pt x="166" y="142"/>
                  </a:lnTo>
                  <a:lnTo>
                    <a:pt x="172" y="134"/>
                  </a:lnTo>
                  <a:lnTo>
                    <a:pt x="174" y="134"/>
                  </a:lnTo>
                  <a:lnTo>
                    <a:pt x="176" y="134"/>
                  </a:lnTo>
                  <a:lnTo>
                    <a:pt x="178" y="134"/>
                  </a:lnTo>
                  <a:lnTo>
                    <a:pt x="178" y="136"/>
                  </a:lnTo>
                  <a:lnTo>
                    <a:pt x="180" y="136"/>
                  </a:lnTo>
                  <a:lnTo>
                    <a:pt x="180" y="138"/>
                  </a:lnTo>
                  <a:lnTo>
                    <a:pt x="180" y="140"/>
                  </a:lnTo>
                  <a:lnTo>
                    <a:pt x="182" y="140"/>
                  </a:lnTo>
                  <a:lnTo>
                    <a:pt x="184" y="140"/>
                  </a:lnTo>
                  <a:lnTo>
                    <a:pt x="186" y="140"/>
                  </a:lnTo>
                  <a:lnTo>
                    <a:pt x="188" y="138"/>
                  </a:lnTo>
                  <a:lnTo>
                    <a:pt x="186" y="138"/>
                  </a:lnTo>
                  <a:lnTo>
                    <a:pt x="184" y="138"/>
                  </a:lnTo>
                  <a:lnTo>
                    <a:pt x="182" y="138"/>
                  </a:lnTo>
                  <a:lnTo>
                    <a:pt x="180" y="136"/>
                  </a:lnTo>
                  <a:lnTo>
                    <a:pt x="176" y="130"/>
                  </a:lnTo>
                  <a:lnTo>
                    <a:pt x="176" y="128"/>
                  </a:lnTo>
                  <a:lnTo>
                    <a:pt x="178" y="128"/>
                  </a:lnTo>
                  <a:lnTo>
                    <a:pt x="180" y="126"/>
                  </a:lnTo>
                  <a:lnTo>
                    <a:pt x="182" y="126"/>
                  </a:lnTo>
                  <a:lnTo>
                    <a:pt x="184" y="126"/>
                  </a:lnTo>
                  <a:lnTo>
                    <a:pt x="186" y="128"/>
                  </a:lnTo>
                  <a:lnTo>
                    <a:pt x="188" y="128"/>
                  </a:lnTo>
                  <a:lnTo>
                    <a:pt x="188" y="130"/>
                  </a:lnTo>
                  <a:lnTo>
                    <a:pt x="190" y="130"/>
                  </a:lnTo>
                  <a:lnTo>
                    <a:pt x="196" y="130"/>
                  </a:lnTo>
                  <a:lnTo>
                    <a:pt x="196" y="128"/>
                  </a:lnTo>
                  <a:lnTo>
                    <a:pt x="194" y="128"/>
                  </a:lnTo>
                  <a:lnTo>
                    <a:pt x="192" y="128"/>
                  </a:lnTo>
                  <a:lnTo>
                    <a:pt x="190" y="128"/>
                  </a:lnTo>
                  <a:lnTo>
                    <a:pt x="186" y="122"/>
                  </a:lnTo>
                  <a:lnTo>
                    <a:pt x="188" y="116"/>
                  </a:lnTo>
                  <a:lnTo>
                    <a:pt x="190" y="116"/>
                  </a:lnTo>
                  <a:lnTo>
                    <a:pt x="192" y="116"/>
                  </a:lnTo>
                  <a:lnTo>
                    <a:pt x="194" y="116"/>
                  </a:lnTo>
                  <a:lnTo>
                    <a:pt x="196" y="118"/>
                  </a:lnTo>
                  <a:lnTo>
                    <a:pt x="196" y="120"/>
                  </a:lnTo>
                  <a:lnTo>
                    <a:pt x="198" y="120"/>
                  </a:lnTo>
                  <a:lnTo>
                    <a:pt x="200" y="120"/>
                  </a:lnTo>
                  <a:lnTo>
                    <a:pt x="196" y="114"/>
                  </a:lnTo>
                  <a:lnTo>
                    <a:pt x="192" y="112"/>
                  </a:lnTo>
                  <a:lnTo>
                    <a:pt x="192" y="108"/>
                  </a:lnTo>
                  <a:lnTo>
                    <a:pt x="194" y="108"/>
                  </a:lnTo>
                  <a:lnTo>
                    <a:pt x="196" y="106"/>
                  </a:lnTo>
                  <a:lnTo>
                    <a:pt x="200" y="106"/>
                  </a:lnTo>
                  <a:lnTo>
                    <a:pt x="200" y="104"/>
                  </a:lnTo>
                  <a:lnTo>
                    <a:pt x="202" y="104"/>
                  </a:lnTo>
                  <a:lnTo>
                    <a:pt x="202" y="102"/>
                  </a:lnTo>
                  <a:lnTo>
                    <a:pt x="200" y="104"/>
                  </a:lnTo>
                  <a:lnTo>
                    <a:pt x="192" y="104"/>
                  </a:lnTo>
                  <a:lnTo>
                    <a:pt x="186" y="104"/>
                  </a:lnTo>
                  <a:lnTo>
                    <a:pt x="184" y="104"/>
                  </a:lnTo>
                  <a:lnTo>
                    <a:pt x="184" y="102"/>
                  </a:lnTo>
                  <a:lnTo>
                    <a:pt x="184" y="94"/>
                  </a:lnTo>
                  <a:lnTo>
                    <a:pt x="184" y="92"/>
                  </a:lnTo>
                  <a:lnTo>
                    <a:pt x="184" y="90"/>
                  </a:lnTo>
                  <a:lnTo>
                    <a:pt x="186" y="84"/>
                  </a:lnTo>
                  <a:lnTo>
                    <a:pt x="188" y="84"/>
                  </a:lnTo>
                  <a:lnTo>
                    <a:pt x="190" y="84"/>
                  </a:lnTo>
                  <a:lnTo>
                    <a:pt x="192" y="86"/>
                  </a:lnTo>
                  <a:lnTo>
                    <a:pt x="196" y="92"/>
                  </a:lnTo>
                  <a:lnTo>
                    <a:pt x="196" y="90"/>
                  </a:lnTo>
                  <a:lnTo>
                    <a:pt x="200" y="92"/>
                  </a:lnTo>
                  <a:lnTo>
                    <a:pt x="202" y="92"/>
                  </a:lnTo>
                  <a:lnTo>
                    <a:pt x="202" y="90"/>
                  </a:lnTo>
                  <a:lnTo>
                    <a:pt x="202" y="88"/>
                  </a:lnTo>
                  <a:lnTo>
                    <a:pt x="196" y="88"/>
                  </a:lnTo>
                  <a:lnTo>
                    <a:pt x="194" y="86"/>
                  </a:lnTo>
                  <a:lnTo>
                    <a:pt x="192" y="78"/>
                  </a:lnTo>
                  <a:lnTo>
                    <a:pt x="196" y="62"/>
                  </a:lnTo>
                  <a:lnTo>
                    <a:pt x="196" y="58"/>
                  </a:lnTo>
                  <a:lnTo>
                    <a:pt x="200" y="58"/>
                  </a:lnTo>
                  <a:lnTo>
                    <a:pt x="202" y="58"/>
                  </a:lnTo>
                  <a:lnTo>
                    <a:pt x="202" y="60"/>
                  </a:lnTo>
                  <a:lnTo>
                    <a:pt x="202" y="62"/>
                  </a:lnTo>
                  <a:lnTo>
                    <a:pt x="202" y="66"/>
                  </a:lnTo>
                  <a:lnTo>
                    <a:pt x="202" y="68"/>
                  </a:lnTo>
                  <a:lnTo>
                    <a:pt x="204" y="70"/>
                  </a:lnTo>
                  <a:lnTo>
                    <a:pt x="206" y="64"/>
                  </a:lnTo>
                  <a:lnTo>
                    <a:pt x="206" y="62"/>
                  </a:lnTo>
                  <a:lnTo>
                    <a:pt x="204" y="60"/>
                  </a:lnTo>
                  <a:lnTo>
                    <a:pt x="204" y="58"/>
                  </a:lnTo>
                  <a:lnTo>
                    <a:pt x="206" y="56"/>
                  </a:lnTo>
                  <a:lnTo>
                    <a:pt x="208" y="54"/>
                  </a:lnTo>
                  <a:lnTo>
                    <a:pt x="214" y="62"/>
                  </a:lnTo>
                  <a:lnTo>
                    <a:pt x="216" y="60"/>
                  </a:lnTo>
                  <a:lnTo>
                    <a:pt x="222" y="58"/>
                  </a:lnTo>
                  <a:lnTo>
                    <a:pt x="226" y="62"/>
                  </a:lnTo>
                  <a:lnTo>
                    <a:pt x="230" y="66"/>
                  </a:lnTo>
                  <a:lnTo>
                    <a:pt x="230" y="68"/>
                  </a:lnTo>
                  <a:lnTo>
                    <a:pt x="230" y="66"/>
                  </a:lnTo>
                  <a:lnTo>
                    <a:pt x="228" y="58"/>
                  </a:lnTo>
                  <a:lnTo>
                    <a:pt x="226" y="56"/>
                  </a:lnTo>
                  <a:lnTo>
                    <a:pt x="222" y="48"/>
                  </a:lnTo>
                  <a:lnTo>
                    <a:pt x="220" y="46"/>
                  </a:lnTo>
                  <a:lnTo>
                    <a:pt x="220" y="44"/>
                  </a:lnTo>
                  <a:lnTo>
                    <a:pt x="220" y="42"/>
                  </a:lnTo>
                  <a:lnTo>
                    <a:pt x="222" y="42"/>
                  </a:lnTo>
                  <a:lnTo>
                    <a:pt x="222" y="44"/>
                  </a:lnTo>
                  <a:lnTo>
                    <a:pt x="224" y="44"/>
                  </a:lnTo>
                  <a:lnTo>
                    <a:pt x="226" y="46"/>
                  </a:lnTo>
                  <a:lnTo>
                    <a:pt x="228" y="46"/>
                  </a:lnTo>
                  <a:lnTo>
                    <a:pt x="230" y="42"/>
                  </a:lnTo>
                  <a:lnTo>
                    <a:pt x="230" y="40"/>
                  </a:lnTo>
                  <a:lnTo>
                    <a:pt x="230" y="38"/>
                  </a:lnTo>
                  <a:lnTo>
                    <a:pt x="226" y="30"/>
                  </a:lnTo>
                  <a:lnTo>
                    <a:pt x="228" y="28"/>
                  </a:lnTo>
                  <a:lnTo>
                    <a:pt x="236" y="32"/>
                  </a:lnTo>
                  <a:lnTo>
                    <a:pt x="242" y="32"/>
                  </a:lnTo>
                  <a:lnTo>
                    <a:pt x="240" y="30"/>
                  </a:lnTo>
                  <a:lnTo>
                    <a:pt x="240" y="26"/>
                  </a:lnTo>
                  <a:lnTo>
                    <a:pt x="240" y="22"/>
                  </a:lnTo>
                  <a:lnTo>
                    <a:pt x="246" y="10"/>
                  </a:lnTo>
                  <a:lnTo>
                    <a:pt x="254" y="0"/>
                  </a:lnTo>
                  <a:lnTo>
                    <a:pt x="266" y="6"/>
                  </a:lnTo>
                  <a:lnTo>
                    <a:pt x="268" y="10"/>
                  </a:lnTo>
                  <a:lnTo>
                    <a:pt x="268" y="14"/>
                  </a:lnTo>
                  <a:lnTo>
                    <a:pt x="266" y="14"/>
                  </a:lnTo>
                  <a:lnTo>
                    <a:pt x="266" y="16"/>
                  </a:lnTo>
                  <a:lnTo>
                    <a:pt x="262" y="20"/>
                  </a:lnTo>
                  <a:lnTo>
                    <a:pt x="266" y="18"/>
                  </a:lnTo>
                  <a:lnTo>
                    <a:pt x="272" y="14"/>
                  </a:lnTo>
                  <a:lnTo>
                    <a:pt x="272" y="12"/>
                  </a:lnTo>
                  <a:lnTo>
                    <a:pt x="272" y="10"/>
                  </a:lnTo>
                  <a:lnTo>
                    <a:pt x="274" y="10"/>
                  </a:lnTo>
                  <a:lnTo>
                    <a:pt x="276" y="12"/>
                  </a:lnTo>
                  <a:lnTo>
                    <a:pt x="278" y="14"/>
                  </a:lnTo>
                  <a:lnTo>
                    <a:pt x="280" y="14"/>
                  </a:lnTo>
                  <a:lnTo>
                    <a:pt x="280" y="16"/>
                  </a:lnTo>
                  <a:lnTo>
                    <a:pt x="286" y="18"/>
                  </a:lnTo>
                  <a:lnTo>
                    <a:pt x="296" y="18"/>
                  </a:lnTo>
                  <a:lnTo>
                    <a:pt x="304" y="20"/>
                  </a:lnTo>
                  <a:lnTo>
                    <a:pt x="308" y="22"/>
                  </a:lnTo>
                  <a:lnTo>
                    <a:pt x="310" y="22"/>
                  </a:lnTo>
                  <a:lnTo>
                    <a:pt x="314" y="20"/>
                  </a:lnTo>
                  <a:lnTo>
                    <a:pt x="314" y="18"/>
                  </a:lnTo>
                  <a:lnTo>
                    <a:pt x="318" y="18"/>
                  </a:lnTo>
                  <a:lnTo>
                    <a:pt x="322" y="18"/>
                  </a:lnTo>
                  <a:lnTo>
                    <a:pt x="322" y="20"/>
                  </a:lnTo>
                  <a:lnTo>
                    <a:pt x="330" y="24"/>
                  </a:lnTo>
                  <a:lnTo>
                    <a:pt x="332" y="22"/>
                  </a:lnTo>
                  <a:lnTo>
                    <a:pt x="332" y="20"/>
                  </a:lnTo>
                  <a:lnTo>
                    <a:pt x="332" y="18"/>
                  </a:lnTo>
                  <a:lnTo>
                    <a:pt x="340" y="22"/>
                  </a:lnTo>
                  <a:lnTo>
                    <a:pt x="348" y="22"/>
                  </a:lnTo>
                  <a:lnTo>
                    <a:pt x="348" y="24"/>
                  </a:lnTo>
                  <a:lnTo>
                    <a:pt x="342" y="40"/>
                  </a:lnTo>
                  <a:lnTo>
                    <a:pt x="338" y="46"/>
                  </a:lnTo>
                  <a:lnTo>
                    <a:pt x="336" y="46"/>
                  </a:lnTo>
                  <a:lnTo>
                    <a:pt x="332" y="50"/>
                  </a:lnTo>
                  <a:lnTo>
                    <a:pt x="324" y="52"/>
                  </a:lnTo>
                  <a:lnTo>
                    <a:pt x="322" y="52"/>
                  </a:lnTo>
                  <a:lnTo>
                    <a:pt x="320" y="54"/>
                  </a:lnTo>
                  <a:lnTo>
                    <a:pt x="318" y="56"/>
                  </a:lnTo>
                  <a:lnTo>
                    <a:pt x="316" y="58"/>
                  </a:lnTo>
                  <a:lnTo>
                    <a:pt x="314" y="60"/>
                  </a:lnTo>
                  <a:lnTo>
                    <a:pt x="310" y="62"/>
                  </a:lnTo>
                  <a:lnTo>
                    <a:pt x="304" y="64"/>
                  </a:lnTo>
                  <a:lnTo>
                    <a:pt x="294" y="70"/>
                  </a:lnTo>
                  <a:lnTo>
                    <a:pt x="286" y="74"/>
                  </a:lnTo>
                  <a:lnTo>
                    <a:pt x="284" y="74"/>
                  </a:lnTo>
                  <a:lnTo>
                    <a:pt x="284" y="78"/>
                  </a:lnTo>
                  <a:lnTo>
                    <a:pt x="282" y="80"/>
                  </a:lnTo>
                  <a:lnTo>
                    <a:pt x="278" y="80"/>
                  </a:lnTo>
                  <a:lnTo>
                    <a:pt x="276" y="80"/>
                  </a:lnTo>
                  <a:lnTo>
                    <a:pt x="272" y="78"/>
                  </a:lnTo>
                  <a:lnTo>
                    <a:pt x="266" y="74"/>
                  </a:lnTo>
                  <a:lnTo>
                    <a:pt x="266" y="72"/>
                  </a:lnTo>
                  <a:lnTo>
                    <a:pt x="266" y="78"/>
                  </a:lnTo>
                  <a:lnTo>
                    <a:pt x="268" y="80"/>
                  </a:lnTo>
                  <a:lnTo>
                    <a:pt x="274" y="84"/>
                  </a:lnTo>
                  <a:lnTo>
                    <a:pt x="280" y="84"/>
                  </a:lnTo>
                  <a:lnTo>
                    <a:pt x="284" y="88"/>
                  </a:lnTo>
                  <a:lnTo>
                    <a:pt x="288" y="88"/>
                  </a:lnTo>
                  <a:lnTo>
                    <a:pt x="290" y="86"/>
                  </a:lnTo>
                  <a:lnTo>
                    <a:pt x="292" y="84"/>
                  </a:lnTo>
                  <a:lnTo>
                    <a:pt x="294" y="84"/>
                  </a:lnTo>
                  <a:lnTo>
                    <a:pt x="292" y="86"/>
                  </a:lnTo>
                  <a:lnTo>
                    <a:pt x="290" y="88"/>
                  </a:lnTo>
                  <a:lnTo>
                    <a:pt x="286" y="92"/>
                  </a:lnTo>
                  <a:lnTo>
                    <a:pt x="282" y="96"/>
                  </a:lnTo>
                  <a:lnTo>
                    <a:pt x="280" y="96"/>
                  </a:lnTo>
                  <a:lnTo>
                    <a:pt x="278" y="96"/>
                  </a:lnTo>
                  <a:lnTo>
                    <a:pt x="278" y="94"/>
                  </a:lnTo>
                  <a:lnTo>
                    <a:pt x="278" y="92"/>
                  </a:lnTo>
                  <a:lnTo>
                    <a:pt x="276" y="92"/>
                  </a:lnTo>
                  <a:lnTo>
                    <a:pt x="274" y="92"/>
                  </a:lnTo>
                  <a:lnTo>
                    <a:pt x="264" y="94"/>
                  </a:lnTo>
                  <a:lnTo>
                    <a:pt x="256" y="100"/>
                  </a:lnTo>
                  <a:lnTo>
                    <a:pt x="254" y="102"/>
                  </a:lnTo>
                  <a:lnTo>
                    <a:pt x="256" y="102"/>
                  </a:lnTo>
                  <a:lnTo>
                    <a:pt x="258" y="100"/>
                  </a:lnTo>
                  <a:lnTo>
                    <a:pt x="260" y="100"/>
                  </a:lnTo>
                  <a:lnTo>
                    <a:pt x="262" y="100"/>
                  </a:lnTo>
                  <a:lnTo>
                    <a:pt x="262" y="98"/>
                  </a:lnTo>
                  <a:lnTo>
                    <a:pt x="266" y="96"/>
                  </a:lnTo>
                  <a:lnTo>
                    <a:pt x="270" y="96"/>
                  </a:lnTo>
                  <a:lnTo>
                    <a:pt x="274" y="98"/>
                  </a:lnTo>
                  <a:lnTo>
                    <a:pt x="274" y="100"/>
                  </a:lnTo>
                  <a:lnTo>
                    <a:pt x="270" y="104"/>
                  </a:lnTo>
                  <a:lnTo>
                    <a:pt x="266" y="106"/>
                  </a:lnTo>
                  <a:lnTo>
                    <a:pt x="264" y="108"/>
                  </a:lnTo>
                  <a:lnTo>
                    <a:pt x="262" y="110"/>
                  </a:lnTo>
                  <a:lnTo>
                    <a:pt x="262" y="112"/>
                  </a:lnTo>
                  <a:lnTo>
                    <a:pt x="264" y="112"/>
                  </a:lnTo>
                  <a:lnTo>
                    <a:pt x="266" y="112"/>
                  </a:lnTo>
                  <a:lnTo>
                    <a:pt x="274" y="108"/>
                  </a:lnTo>
                  <a:lnTo>
                    <a:pt x="288" y="106"/>
                  </a:lnTo>
                  <a:lnTo>
                    <a:pt x="294" y="106"/>
                  </a:lnTo>
                  <a:lnTo>
                    <a:pt x="296" y="106"/>
                  </a:lnTo>
                  <a:lnTo>
                    <a:pt x="300" y="104"/>
                  </a:lnTo>
                  <a:lnTo>
                    <a:pt x="302" y="104"/>
                  </a:lnTo>
                  <a:lnTo>
                    <a:pt x="302" y="102"/>
                  </a:lnTo>
                  <a:lnTo>
                    <a:pt x="304" y="102"/>
                  </a:lnTo>
                  <a:lnTo>
                    <a:pt x="312" y="102"/>
                  </a:lnTo>
                  <a:lnTo>
                    <a:pt x="314" y="102"/>
                  </a:lnTo>
                  <a:lnTo>
                    <a:pt x="314" y="104"/>
                  </a:lnTo>
                  <a:lnTo>
                    <a:pt x="316" y="104"/>
                  </a:lnTo>
                  <a:lnTo>
                    <a:pt x="316" y="106"/>
                  </a:lnTo>
                  <a:lnTo>
                    <a:pt x="320" y="108"/>
                  </a:lnTo>
                  <a:lnTo>
                    <a:pt x="322" y="110"/>
                  </a:lnTo>
                  <a:lnTo>
                    <a:pt x="324" y="110"/>
                  </a:lnTo>
                  <a:lnTo>
                    <a:pt x="326" y="110"/>
                  </a:lnTo>
                  <a:lnTo>
                    <a:pt x="328" y="110"/>
                  </a:lnTo>
                  <a:lnTo>
                    <a:pt x="330" y="108"/>
                  </a:lnTo>
                  <a:lnTo>
                    <a:pt x="332" y="108"/>
                  </a:lnTo>
                  <a:lnTo>
                    <a:pt x="334" y="108"/>
                  </a:lnTo>
                  <a:lnTo>
                    <a:pt x="336" y="110"/>
                  </a:lnTo>
                  <a:lnTo>
                    <a:pt x="344" y="112"/>
                  </a:lnTo>
                  <a:lnTo>
                    <a:pt x="346" y="114"/>
                  </a:lnTo>
                  <a:lnTo>
                    <a:pt x="350" y="116"/>
                  </a:lnTo>
                  <a:lnTo>
                    <a:pt x="352" y="116"/>
                  </a:lnTo>
                  <a:lnTo>
                    <a:pt x="354" y="118"/>
                  </a:lnTo>
                  <a:lnTo>
                    <a:pt x="366" y="120"/>
                  </a:lnTo>
                  <a:lnTo>
                    <a:pt x="368" y="118"/>
                  </a:lnTo>
                  <a:lnTo>
                    <a:pt x="370" y="118"/>
                  </a:lnTo>
                  <a:lnTo>
                    <a:pt x="374" y="120"/>
                  </a:lnTo>
                  <a:lnTo>
                    <a:pt x="378" y="122"/>
                  </a:lnTo>
                  <a:lnTo>
                    <a:pt x="380" y="128"/>
                  </a:lnTo>
                  <a:lnTo>
                    <a:pt x="380" y="132"/>
                  </a:lnTo>
                  <a:lnTo>
                    <a:pt x="382" y="140"/>
                  </a:lnTo>
                  <a:lnTo>
                    <a:pt x="380" y="144"/>
                  </a:lnTo>
                  <a:lnTo>
                    <a:pt x="374" y="148"/>
                  </a:lnTo>
                  <a:lnTo>
                    <a:pt x="368" y="154"/>
                  </a:lnTo>
                  <a:lnTo>
                    <a:pt x="362" y="162"/>
                  </a:lnTo>
                  <a:lnTo>
                    <a:pt x="362" y="164"/>
                  </a:lnTo>
                  <a:lnTo>
                    <a:pt x="360" y="164"/>
                  </a:lnTo>
                  <a:lnTo>
                    <a:pt x="358" y="168"/>
                  </a:lnTo>
                  <a:lnTo>
                    <a:pt x="358" y="170"/>
                  </a:lnTo>
                  <a:lnTo>
                    <a:pt x="356" y="174"/>
                  </a:lnTo>
                  <a:lnTo>
                    <a:pt x="352" y="180"/>
                  </a:lnTo>
                  <a:lnTo>
                    <a:pt x="350" y="182"/>
                  </a:lnTo>
                  <a:lnTo>
                    <a:pt x="348" y="184"/>
                  </a:lnTo>
                  <a:lnTo>
                    <a:pt x="348" y="186"/>
                  </a:lnTo>
                  <a:lnTo>
                    <a:pt x="348" y="188"/>
                  </a:lnTo>
                  <a:lnTo>
                    <a:pt x="346" y="192"/>
                  </a:lnTo>
                  <a:lnTo>
                    <a:pt x="340" y="196"/>
                  </a:lnTo>
                  <a:lnTo>
                    <a:pt x="338" y="198"/>
                  </a:lnTo>
                  <a:lnTo>
                    <a:pt x="336" y="198"/>
                  </a:lnTo>
                  <a:lnTo>
                    <a:pt x="334" y="198"/>
                  </a:lnTo>
                  <a:lnTo>
                    <a:pt x="330" y="202"/>
                  </a:lnTo>
                  <a:lnTo>
                    <a:pt x="330" y="204"/>
                  </a:lnTo>
                  <a:lnTo>
                    <a:pt x="326" y="210"/>
                  </a:lnTo>
                  <a:lnTo>
                    <a:pt x="324" y="214"/>
                  </a:lnTo>
                  <a:lnTo>
                    <a:pt x="322" y="214"/>
                  </a:lnTo>
                  <a:lnTo>
                    <a:pt x="316" y="218"/>
                  </a:lnTo>
                  <a:lnTo>
                    <a:pt x="312" y="220"/>
                  </a:lnTo>
                  <a:lnTo>
                    <a:pt x="304" y="220"/>
                  </a:lnTo>
                  <a:lnTo>
                    <a:pt x="300" y="220"/>
                  </a:lnTo>
                  <a:lnTo>
                    <a:pt x="296" y="220"/>
                  </a:lnTo>
                  <a:lnTo>
                    <a:pt x="294" y="220"/>
                  </a:lnTo>
                  <a:lnTo>
                    <a:pt x="282" y="224"/>
                  </a:lnTo>
                  <a:lnTo>
                    <a:pt x="282" y="226"/>
                  </a:lnTo>
                  <a:lnTo>
                    <a:pt x="286" y="226"/>
                  </a:lnTo>
                  <a:lnTo>
                    <a:pt x="296" y="224"/>
                  </a:lnTo>
                  <a:lnTo>
                    <a:pt x="300" y="222"/>
                  </a:lnTo>
                  <a:lnTo>
                    <a:pt x="302" y="220"/>
                  </a:lnTo>
                  <a:lnTo>
                    <a:pt x="304" y="222"/>
                  </a:lnTo>
                  <a:lnTo>
                    <a:pt x="308" y="224"/>
                  </a:lnTo>
                  <a:lnTo>
                    <a:pt x="308" y="226"/>
                  </a:lnTo>
                  <a:lnTo>
                    <a:pt x="306" y="228"/>
                  </a:lnTo>
                  <a:lnTo>
                    <a:pt x="304" y="228"/>
                  </a:lnTo>
                  <a:lnTo>
                    <a:pt x="304" y="230"/>
                  </a:lnTo>
                  <a:lnTo>
                    <a:pt x="304" y="232"/>
                  </a:lnTo>
                  <a:lnTo>
                    <a:pt x="306" y="234"/>
                  </a:lnTo>
                  <a:lnTo>
                    <a:pt x="308" y="234"/>
                  </a:lnTo>
                  <a:lnTo>
                    <a:pt x="310" y="234"/>
                  </a:lnTo>
                  <a:lnTo>
                    <a:pt x="312" y="236"/>
                  </a:lnTo>
                  <a:lnTo>
                    <a:pt x="314" y="240"/>
                  </a:lnTo>
                  <a:lnTo>
                    <a:pt x="314" y="242"/>
                  </a:lnTo>
                  <a:lnTo>
                    <a:pt x="308" y="244"/>
                  </a:lnTo>
                  <a:lnTo>
                    <a:pt x="302" y="246"/>
                  </a:lnTo>
                  <a:lnTo>
                    <a:pt x="300" y="246"/>
                  </a:lnTo>
                  <a:lnTo>
                    <a:pt x="300" y="244"/>
                  </a:lnTo>
                  <a:lnTo>
                    <a:pt x="298" y="244"/>
                  </a:lnTo>
                  <a:lnTo>
                    <a:pt x="296" y="244"/>
                  </a:lnTo>
                  <a:lnTo>
                    <a:pt x="296" y="242"/>
                  </a:lnTo>
                  <a:lnTo>
                    <a:pt x="294" y="242"/>
                  </a:lnTo>
                  <a:lnTo>
                    <a:pt x="292" y="244"/>
                  </a:lnTo>
                  <a:lnTo>
                    <a:pt x="282" y="248"/>
                  </a:lnTo>
                  <a:lnTo>
                    <a:pt x="282" y="250"/>
                  </a:lnTo>
                  <a:lnTo>
                    <a:pt x="270" y="254"/>
                  </a:lnTo>
                  <a:lnTo>
                    <a:pt x="268" y="254"/>
                  </a:lnTo>
                  <a:lnTo>
                    <a:pt x="266" y="254"/>
                  </a:lnTo>
                  <a:lnTo>
                    <a:pt x="266" y="252"/>
                  </a:lnTo>
                  <a:lnTo>
                    <a:pt x="262" y="252"/>
                  </a:lnTo>
                  <a:lnTo>
                    <a:pt x="260" y="248"/>
                  </a:lnTo>
                  <a:lnTo>
                    <a:pt x="252" y="246"/>
                  </a:lnTo>
                  <a:lnTo>
                    <a:pt x="252" y="248"/>
                  </a:lnTo>
                  <a:lnTo>
                    <a:pt x="254" y="252"/>
                  </a:lnTo>
                  <a:lnTo>
                    <a:pt x="264" y="256"/>
                  </a:lnTo>
                  <a:lnTo>
                    <a:pt x="274" y="260"/>
                  </a:lnTo>
                  <a:lnTo>
                    <a:pt x="282" y="264"/>
                  </a:lnTo>
                  <a:lnTo>
                    <a:pt x="286" y="264"/>
                  </a:lnTo>
                  <a:lnTo>
                    <a:pt x="290" y="264"/>
                  </a:lnTo>
                  <a:lnTo>
                    <a:pt x="292" y="264"/>
                  </a:lnTo>
                  <a:lnTo>
                    <a:pt x="292" y="262"/>
                  </a:lnTo>
                  <a:lnTo>
                    <a:pt x="296" y="260"/>
                  </a:lnTo>
                  <a:lnTo>
                    <a:pt x="296" y="258"/>
                  </a:lnTo>
                  <a:lnTo>
                    <a:pt x="298" y="258"/>
                  </a:lnTo>
                  <a:lnTo>
                    <a:pt x="300" y="258"/>
                  </a:lnTo>
                  <a:lnTo>
                    <a:pt x="306" y="260"/>
                  </a:lnTo>
                  <a:lnTo>
                    <a:pt x="308" y="260"/>
                  </a:lnTo>
                  <a:lnTo>
                    <a:pt x="312" y="266"/>
                  </a:lnTo>
                  <a:lnTo>
                    <a:pt x="318" y="272"/>
                  </a:lnTo>
                  <a:lnTo>
                    <a:pt x="322" y="276"/>
                  </a:lnTo>
                  <a:lnTo>
                    <a:pt x="328" y="280"/>
                  </a:lnTo>
                  <a:lnTo>
                    <a:pt x="330" y="284"/>
                  </a:lnTo>
                  <a:lnTo>
                    <a:pt x="332" y="286"/>
                  </a:lnTo>
                  <a:lnTo>
                    <a:pt x="332" y="290"/>
                  </a:lnTo>
                  <a:lnTo>
                    <a:pt x="332" y="292"/>
                  </a:lnTo>
                  <a:lnTo>
                    <a:pt x="334" y="294"/>
                  </a:lnTo>
                  <a:lnTo>
                    <a:pt x="338" y="304"/>
                  </a:lnTo>
                  <a:lnTo>
                    <a:pt x="338" y="308"/>
                  </a:lnTo>
                  <a:lnTo>
                    <a:pt x="340" y="308"/>
                  </a:lnTo>
                  <a:lnTo>
                    <a:pt x="342" y="310"/>
                  </a:lnTo>
                  <a:lnTo>
                    <a:pt x="344" y="312"/>
                  </a:lnTo>
                  <a:lnTo>
                    <a:pt x="348" y="314"/>
                  </a:lnTo>
                  <a:lnTo>
                    <a:pt x="348" y="324"/>
                  </a:lnTo>
                  <a:lnTo>
                    <a:pt x="346" y="330"/>
                  </a:lnTo>
                  <a:lnTo>
                    <a:pt x="344" y="332"/>
                  </a:lnTo>
                  <a:lnTo>
                    <a:pt x="344" y="342"/>
                  </a:lnTo>
                  <a:lnTo>
                    <a:pt x="344" y="352"/>
                  </a:lnTo>
                  <a:lnTo>
                    <a:pt x="344" y="354"/>
                  </a:lnTo>
                  <a:lnTo>
                    <a:pt x="344" y="360"/>
                  </a:lnTo>
                  <a:lnTo>
                    <a:pt x="346" y="368"/>
                  </a:lnTo>
                  <a:lnTo>
                    <a:pt x="348" y="372"/>
                  </a:lnTo>
                  <a:lnTo>
                    <a:pt x="348" y="376"/>
                  </a:lnTo>
                  <a:lnTo>
                    <a:pt x="348" y="382"/>
                  </a:lnTo>
                  <a:lnTo>
                    <a:pt x="348" y="390"/>
                  </a:lnTo>
                  <a:lnTo>
                    <a:pt x="348" y="392"/>
                  </a:lnTo>
                  <a:lnTo>
                    <a:pt x="352" y="404"/>
                  </a:lnTo>
                  <a:lnTo>
                    <a:pt x="356" y="408"/>
                  </a:lnTo>
                  <a:lnTo>
                    <a:pt x="358" y="408"/>
                  </a:lnTo>
                  <a:lnTo>
                    <a:pt x="366" y="414"/>
                  </a:lnTo>
                  <a:lnTo>
                    <a:pt x="380" y="424"/>
                  </a:lnTo>
                  <a:lnTo>
                    <a:pt x="382" y="428"/>
                  </a:lnTo>
                  <a:lnTo>
                    <a:pt x="384" y="436"/>
                  </a:lnTo>
                  <a:lnTo>
                    <a:pt x="384" y="438"/>
                  </a:lnTo>
                  <a:lnTo>
                    <a:pt x="384" y="440"/>
                  </a:lnTo>
                  <a:lnTo>
                    <a:pt x="386" y="446"/>
                  </a:lnTo>
                  <a:lnTo>
                    <a:pt x="386" y="448"/>
                  </a:lnTo>
                  <a:lnTo>
                    <a:pt x="390" y="456"/>
                  </a:lnTo>
                  <a:lnTo>
                    <a:pt x="392" y="458"/>
                  </a:lnTo>
                  <a:lnTo>
                    <a:pt x="394" y="460"/>
                  </a:lnTo>
                  <a:lnTo>
                    <a:pt x="398" y="462"/>
                  </a:lnTo>
                  <a:lnTo>
                    <a:pt x="398" y="464"/>
                  </a:lnTo>
                  <a:lnTo>
                    <a:pt x="396" y="464"/>
                  </a:lnTo>
                  <a:lnTo>
                    <a:pt x="394" y="464"/>
                  </a:lnTo>
                  <a:lnTo>
                    <a:pt x="394" y="466"/>
                  </a:lnTo>
                  <a:lnTo>
                    <a:pt x="390" y="468"/>
                  </a:lnTo>
                  <a:lnTo>
                    <a:pt x="390" y="470"/>
                  </a:lnTo>
                  <a:lnTo>
                    <a:pt x="390" y="472"/>
                  </a:lnTo>
                  <a:lnTo>
                    <a:pt x="390" y="480"/>
                  </a:lnTo>
                  <a:lnTo>
                    <a:pt x="392" y="486"/>
                  </a:lnTo>
                  <a:lnTo>
                    <a:pt x="392" y="488"/>
                  </a:lnTo>
                  <a:lnTo>
                    <a:pt x="394" y="492"/>
                  </a:lnTo>
                  <a:lnTo>
                    <a:pt x="396" y="496"/>
                  </a:lnTo>
                  <a:lnTo>
                    <a:pt x="398" y="502"/>
                  </a:lnTo>
                  <a:lnTo>
                    <a:pt x="400" y="508"/>
                  </a:lnTo>
                  <a:lnTo>
                    <a:pt x="402" y="510"/>
                  </a:lnTo>
                  <a:lnTo>
                    <a:pt x="402" y="512"/>
                  </a:lnTo>
                  <a:lnTo>
                    <a:pt x="402" y="514"/>
                  </a:lnTo>
                  <a:lnTo>
                    <a:pt x="400" y="514"/>
                  </a:lnTo>
                  <a:lnTo>
                    <a:pt x="398" y="516"/>
                  </a:lnTo>
                  <a:lnTo>
                    <a:pt x="398" y="514"/>
                  </a:lnTo>
                  <a:lnTo>
                    <a:pt x="400" y="512"/>
                  </a:lnTo>
                  <a:lnTo>
                    <a:pt x="400" y="510"/>
                  </a:lnTo>
                  <a:lnTo>
                    <a:pt x="398" y="510"/>
                  </a:lnTo>
                  <a:lnTo>
                    <a:pt x="398" y="508"/>
                  </a:lnTo>
                  <a:lnTo>
                    <a:pt x="396" y="508"/>
                  </a:lnTo>
                  <a:lnTo>
                    <a:pt x="394" y="508"/>
                  </a:lnTo>
                  <a:lnTo>
                    <a:pt x="392" y="508"/>
                  </a:lnTo>
                  <a:lnTo>
                    <a:pt x="390" y="508"/>
                  </a:lnTo>
                  <a:lnTo>
                    <a:pt x="388" y="508"/>
                  </a:lnTo>
                  <a:lnTo>
                    <a:pt x="386" y="506"/>
                  </a:lnTo>
                  <a:lnTo>
                    <a:pt x="386" y="504"/>
                  </a:lnTo>
                  <a:lnTo>
                    <a:pt x="386" y="502"/>
                  </a:lnTo>
                  <a:lnTo>
                    <a:pt x="382" y="498"/>
                  </a:lnTo>
                  <a:lnTo>
                    <a:pt x="382" y="496"/>
                  </a:lnTo>
                  <a:lnTo>
                    <a:pt x="380" y="494"/>
                  </a:lnTo>
                  <a:lnTo>
                    <a:pt x="376" y="494"/>
                  </a:lnTo>
                  <a:lnTo>
                    <a:pt x="374" y="494"/>
                  </a:lnTo>
                  <a:lnTo>
                    <a:pt x="372" y="496"/>
                  </a:lnTo>
                  <a:lnTo>
                    <a:pt x="366" y="494"/>
                  </a:lnTo>
                  <a:lnTo>
                    <a:pt x="364" y="494"/>
                  </a:lnTo>
                  <a:lnTo>
                    <a:pt x="364" y="492"/>
                  </a:lnTo>
                  <a:lnTo>
                    <a:pt x="362" y="492"/>
                  </a:lnTo>
                  <a:lnTo>
                    <a:pt x="360" y="492"/>
                  </a:lnTo>
                  <a:lnTo>
                    <a:pt x="358" y="492"/>
                  </a:lnTo>
                  <a:lnTo>
                    <a:pt x="356" y="494"/>
                  </a:lnTo>
                  <a:lnTo>
                    <a:pt x="358" y="496"/>
                  </a:lnTo>
                  <a:lnTo>
                    <a:pt x="366" y="498"/>
                  </a:lnTo>
                  <a:lnTo>
                    <a:pt x="368" y="498"/>
                  </a:lnTo>
                  <a:lnTo>
                    <a:pt x="370" y="498"/>
                  </a:lnTo>
                  <a:lnTo>
                    <a:pt x="374" y="496"/>
                  </a:lnTo>
                  <a:lnTo>
                    <a:pt x="378" y="498"/>
                  </a:lnTo>
                  <a:lnTo>
                    <a:pt x="380" y="498"/>
                  </a:lnTo>
                  <a:lnTo>
                    <a:pt x="380" y="500"/>
                  </a:lnTo>
                  <a:lnTo>
                    <a:pt x="382" y="502"/>
                  </a:lnTo>
                  <a:lnTo>
                    <a:pt x="382" y="504"/>
                  </a:lnTo>
                  <a:lnTo>
                    <a:pt x="382" y="506"/>
                  </a:lnTo>
                  <a:lnTo>
                    <a:pt x="386" y="512"/>
                  </a:lnTo>
                  <a:lnTo>
                    <a:pt x="394" y="520"/>
                  </a:lnTo>
                  <a:lnTo>
                    <a:pt x="396" y="522"/>
                  </a:lnTo>
                  <a:lnTo>
                    <a:pt x="398" y="524"/>
                  </a:lnTo>
                  <a:lnTo>
                    <a:pt x="400" y="526"/>
                  </a:lnTo>
                  <a:lnTo>
                    <a:pt x="402" y="530"/>
                  </a:lnTo>
                  <a:lnTo>
                    <a:pt x="402" y="532"/>
                  </a:lnTo>
                  <a:lnTo>
                    <a:pt x="402" y="534"/>
                  </a:lnTo>
                  <a:lnTo>
                    <a:pt x="402" y="536"/>
                  </a:lnTo>
                  <a:lnTo>
                    <a:pt x="404" y="548"/>
                  </a:lnTo>
                  <a:lnTo>
                    <a:pt x="404" y="552"/>
                  </a:lnTo>
                  <a:lnTo>
                    <a:pt x="404" y="554"/>
                  </a:lnTo>
                  <a:lnTo>
                    <a:pt x="404" y="556"/>
                  </a:lnTo>
                  <a:lnTo>
                    <a:pt x="402" y="560"/>
                  </a:lnTo>
                  <a:lnTo>
                    <a:pt x="398" y="562"/>
                  </a:lnTo>
                  <a:lnTo>
                    <a:pt x="394" y="564"/>
                  </a:lnTo>
                  <a:lnTo>
                    <a:pt x="392" y="566"/>
                  </a:lnTo>
                  <a:lnTo>
                    <a:pt x="382" y="574"/>
                  </a:lnTo>
                  <a:lnTo>
                    <a:pt x="380" y="576"/>
                  </a:lnTo>
                  <a:lnTo>
                    <a:pt x="382" y="576"/>
                  </a:lnTo>
                  <a:lnTo>
                    <a:pt x="384" y="576"/>
                  </a:lnTo>
                  <a:lnTo>
                    <a:pt x="386" y="578"/>
                  </a:lnTo>
                  <a:lnTo>
                    <a:pt x="388" y="578"/>
                  </a:lnTo>
                  <a:lnTo>
                    <a:pt x="388" y="580"/>
                  </a:lnTo>
                  <a:lnTo>
                    <a:pt x="390" y="582"/>
                  </a:lnTo>
                  <a:lnTo>
                    <a:pt x="390" y="586"/>
                  </a:lnTo>
                  <a:lnTo>
                    <a:pt x="392" y="586"/>
                  </a:lnTo>
                  <a:lnTo>
                    <a:pt x="398" y="590"/>
                  </a:lnTo>
                  <a:lnTo>
                    <a:pt x="402" y="586"/>
                  </a:lnTo>
                  <a:lnTo>
                    <a:pt x="402" y="584"/>
                  </a:lnTo>
                  <a:lnTo>
                    <a:pt x="404" y="582"/>
                  </a:lnTo>
                  <a:lnTo>
                    <a:pt x="408" y="576"/>
                  </a:lnTo>
                  <a:lnTo>
                    <a:pt x="410" y="574"/>
                  </a:lnTo>
                  <a:lnTo>
                    <a:pt x="418" y="574"/>
                  </a:lnTo>
                  <a:lnTo>
                    <a:pt x="430" y="578"/>
                  </a:lnTo>
                  <a:lnTo>
                    <a:pt x="432" y="580"/>
                  </a:lnTo>
                  <a:lnTo>
                    <a:pt x="434" y="580"/>
                  </a:lnTo>
                  <a:lnTo>
                    <a:pt x="436" y="580"/>
                  </a:lnTo>
                  <a:lnTo>
                    <a:pt x="446" y="582"/>
                  </a:lnTo>
                  <a:lnTo>
                    <a:pt x="450" y="586"/>
                  </a:lnTo>
                  <a:lnTo>
                    <a:pt x="452" y="586"/>
                  </a:lnTo>
                  <a:lnTo>
                    <a:pt x="454" y="588"/>
                  </a:lnTo>
                  <a:lnTo>
                    <a:pt x="456" y="588"/>
                  </a:lnTo>
                  <a:lnTo>
                    <a:pt x="456" y="590"/>
                  </a:lnTo>
                  <a:lnTo>
                    <a:pt x="458" y="590"/>
                  </a:lnTo>
                  <a:lnTo>
                    <a:pt x="460" y="594"/>
                  </a:lnTo>
                  <a:lnTo>
                    <a:pt x="462" y="596"/>
                  </a:lnTo>
                  <a:lnTo>
                    <a:pt x="468" y="602"/>
                  </a:lnTo>
                  <a:lnTo>
                    <a:pt x="468" y="604"/>
                  </a:lnTo>
                  <a:lnTo>
                    <a:pt x="468" y="606"/>
                  </a:lnTo>
                  <a:lnTo>
                    <a:pt x="470" y="606"/>
                  </a:lnTo>
                  <a:lnTo>
                    <a:pt x="470" y="608"/>
                  </a:lnTo>
                  <a:lnTo>
                    <a:pt x="470" y="610"/>
                  </a:lnTo>
                  <a:lnTo>
                    <a:pt x="470" y="612"/>
                  </a:lnTo>
                  <a:lnTo>
                    <a:pt x="470" y="618"/>
                  </a:lnTo>
                  <a:lnTo>
                    <a:pt x="470" y="626"/>
                  </a:lnTo>
                  <a:lnTo>
                    <a:pt x="468" y="632"/>
                  </a:lnTo>
                  <a:lnTo>
                    <a:pt x="466" y="636"/>
                  </a:lnTo>
                  <a:lnTo>
                    <a:pt x="466" y="638"/>
                  </a:lnTo>
                  <a:lnTo>
                    <a:pt x="462" y="644"/>
                  </a:lnTo>
                  <a:lnTo>
                    <a:pt x="458" y="654"/>
                  </a:lnTo>
                  <a:lnTo>
                    <a:pt x="456" y="656"/>
                  </a:lnTo>
                  <a:lnTo>
                    <a:pt x="454" y="664"/>
                  </a:lnTo>
                  <a:lnTo>
                    <a:pt x="452" y="664"/>
                  </a:lnTo>
                  <a:lnTo>
                    <a:pt x="440" y="672"/>
                  </a:lnTo>
                  <a:lnTo>
                    <a:pt x="436" y="676"/>
                  </a:lnTo>
                  <a:lnTo>
                    <a:pt x="436" y="674"/>
                  </a:lnTo>
                  <a:lnTo>
                    <a:pt x="434" y="670"/>
                  </a:lnTo>
                  <a:lnTo>
                    <a:pt x="428" y="666"/>
                  </a:lnTo>
                  <a:lnTo>
                    <a:pt x="430" y="672"/>
                  </a:lnTo>
                  <a:lnTo>
                    <a:pt x="432" y="680"/>
                  </a:lnTo>
                  <a:lnTo>
                    <a:pt x="434" y="680"/>
                  </a:lnTo>
                  <a:lnTo>
                    <a:pt x="432" y="682"/>
                  </a:lnTo>
                  <a:lnTo>
                    <a:pt x="430" y="684"/>
                  </a:lnTo>
                  <a:lnTo>
                    <a:pt x="428" y="686"/>
                  </a:lnTo>
                  <a:lnTo>
                    <a:pt x="426" y="686"/>
                  </a:lnTo>
                  <a:lnTo>
                    <a:pt x="426" y="688"/>
                  </a:lnTo>
                  <a:lnTo>
                    <a:pt x="422" y="688"/>
                  </a:lnTo>
                  <a:lnTo>
                    <a:pt x="420" y="688"/>
                  </a:lnTo>
                  <a:lnTo>
                    <a:pt x="418" y="688"/>
                  </a:lnTo>
                  <a:lnTo>
                    <a:pt x="416" y="684"/>
                  </a:lnTo>
                  <a:lnTo>
                    <a:pt x="414" y="682"/>
                  </a:lnTo>
                  <a:lnTo>
                    <a:pt x="412" y="684"/>
                  </a:lnTo>
                  <a:lnTo>
                    <a:pt x="408" y="684"/>
                  </a:lnTo>
                  <a:lnTo>
                    <a:pt x="398" y="688"/>
                  </a:lnTo>
                  <a:lnTo>
                    <a:pt x="400" y="692"/>
                  </a:lnTo>
                  <a:lnTo>
                    <a:pt x="406" y="690"/>
                  </a:lnTo>
                  <a:lnTo>
                    <a:pt x="408" y="690"/>
                  </a:lnTo>
                  <a:lnTo>
                    <a:pt x="410" y="688"/>
                  </a:lnTo>
                  <a:lnTo>
                    <a:pt x="410" y="690"/>
                  </a:lnTo>
                  <a:lnTo>
                    <a:pt x="412" y="690"/>
                  </a:lnTo>
                  <a:lnTo>
                    <a:pt x="410" y="700"/>
                  </a:lnTo>
                  <a:lnTo>
                    <a:pt x="406" y="704"/>
                  </a:lnTo>
                  <a:lnTo>
                    <a:pt x="404" y="704"/>
                  </a:lnTo>
                  <a:lnTo>
                    <a:pt x="402" y="706"/>
                  </a:lnTo>
                  <a:lnTo>
                    <a:pt x="400" y="706"/>
                  </a:lnTo>
                  <a:lnTo>
                    <a:pt x="398" y="708"/>
                  </a:lnTo>
                  <a:lnTo>
                    <a:pt x="394" y="704"/>
                  </a:lnTo>
                  <a:lnTo>
                    <a:pt x="392" y="704"/>
                  </a:lnTo>
                  <a:lnTo>
                    <a:pt x="380" y="706"/>
                  </a:lnTo>
                  <a:lnTo>
                    <a:pt x="376" y="710"/>
                  </a:lnTo>
                  <a:lnTo>
                    <a:pt x="378" y="710"/>
                  </a:lnTo>
                  <a:lnTo>
                    <a:pt x="380" y="708"/>
                  </a:lnTo>
                  <a:lnTo>
                    <a:pt x="382" y="708"/>
                  </a:lnTo>
                  <a:lnTo>
                    <a:pt x="384" y="708"/>
                  </a:lnTo>
                  <a:lnTo>
                    <a:pt x="386" y="708"/>
                  </a:lnTo>
                  <a:lnTo>
                    <a:pt x="388" y="708"/>
                  </a:lnTo>
                  <a:lnTo>
                    <a:pt x="394" y="710"/>
                  </a:lnTo>
                  <a:lnTo>
                    <a:pt x="394" y="712"/>
                  </a:lnTo>
                  <a:lnTo>
                    <a:pt x="394" y="714"/>
                  </a:lnTo>
                  <a:lnTo>
                    <a:pt x="392" y="714"/>
                  </a:lnTo>
                  <a:lnTo>
                    <a:pt x="390" y="714"/>
                  </a:lnTo>
                  <a:lnTo>
                    <a:pt x="384" y="716"/>
                  </a:lnTo>
                  <a:lnTo>
                    <a:pt x="386" y="718"/>
                  </a:lnTo>
                  <a:lnTo>
                    <a:pt x="392" y="720"/>
                  </a:lnTo>
                  <a:lnTo>
                    <a:pt x="402" y="726"/>
                  </a:lnTo>
                  <a:lnTo>
                    <a:pt x="406" y="726"/>
                  </a:lnTo>
                  <a:lnTo>
                    <a:pt x="408" y="726"/>
                  </a:lnTo>
                  <a:lnTo>
                    <a:pt x="410" y="724"/>
                  </a:lnTo>
                  <a:lnTo>
                    <a:pt x="412" y="724"/>
                  </a:lnTo>
                  <a:lnTo>
                    <a:pt x="418" y="724"/>
                  </a:lnTo>
                  <a:lnTo>
                    <a:pt x="430" y="726"/>
                  </a:lnTo>
                  <a:lnTo>
                    <a:pt x="432" y="732"/>
                  </a:lnTo>
                  <a:lnTo>
                    <a:pt x="428" y="742"/>
                  </a:lnTo>
                  <a:lnTo>
                    <a:pt x="428" y="744"/>
                  </a:lnTo>
                  <a:lnTo>
                    <a:pt x="428" y="746"/>
                  </a:lnTo>
                  <a:lnTo>
                    <a:pt x="426" y="746"/>
                  </a:lnTo>
                  <a:lnTo>
                    <a:pt x="426" y="748"/>
                  </a:lnTo>
                  <a:lnTo>
                    <a:pt x="424" y="750"/>
                  </a:lnTo>
                  <a:lnTo>
                    <a:pt x="418" y="75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1" name="Freeform 2587"/>
            <p:cNvSpPr>
              <a:spLocks/>
            </p:cNvSpPr>
            <p:nvPr/>
          </p:nvSpPr>
          <p:spPr bwMode="auto">
            <a:xfrm>
              <a:off x="1564" y="1336"/>
              <a:ext cx="62" cy="60"/>
            </a:xfrm>
            <a:custGeom>
              <a:avLst/>
              <a:gdLst/>
              <a:ahLst/>
              <a:cxnLst>
                <a:cxn ang="0">
                  <a:pos x="30" y="48"/>
                </a:cxn>
                <a:cxn ang="0">
                  <a:pos x="26" y="48"/>
                </a:cxn>
                <a:cxn ang="0">
                  <a:pos x="24" y="44"/>
                </a:cxn>
                <a:cxn ang="0">
                  <a:pos x="24" y="40"/>
                </a:cxn>
                <a:cxn ang="0">
                  <a:pos x="28" y="36"/>
                </a:cxn>
                <a:cxn ang="0">
                  <a:pos x="32" y="36"/>
                </a:cxn>
                <a:cxn ang="0">
                  <a:pos x="28" y="34"/>
                </a:cxn>
                <a:cxn ang="0">
                  <a:pos x="22" y="38"/>
                </a:cxn>
                <a:cxn ang="0">
                  <a:pos x="24" y="44"/>
                </a:cxn>
                <a:cxn ang="0">
                  <a:pos x="24" y="48"/>
                </a:cxn>
                <a:cxn ang="0">
                  <a:pos x="18" y="54"/>
                </a:cxn>
                <a:cxn ang="0">
                  <a:pos x="0" y="50"/>
                </a:cxn>
                <a:cxn ang="0">
                  <a:pos x="2" y="48"/>
                </a:cxn>
                <a:cxn ang="0">
                  <a:pos x="4" y="50"/>
                </a:cxn>
                <a:cxn ang="0">
                  <a:pos x="14" y="42"/>
                </a:cxn>
                <a:cxn ang="0">
                  <a:pos x="10" y="40"/>
                </a:cxn>
                <a:cxn ang="0">
                  <a:pos x="6" y="38"/>
                </a:cxn>
                <a:cxn ang="0">
                  <a:pos x="8" y="34"/>
                </a:cxn>
                <a:cxn ang="0">
                  <a:pos x="8" y="28"/>
                </a:cxn>
                <a:cxn ang="0">
                  <a:pos x="12" y="18"/>
                </a:cxn>
                <a:cxn ang="0">
                  <a:pos x="16" y="14"/>
                </a:cxn>
                <a:cxn ang="0">
                  <a:pos x="22" y="18"/>
                </a:cxn>
                <a:cxn ang="0">
                  <a:pos x="20" y="20"/>
                </a:cxn>
                <a:cxn ang="0">
                  <a:pos x="22" y="20"/>
                </a:cxn>
                <a:cxn ang="0">
                  <a:pos x="28" y="22"/>
                </a:cxn>
                <a:cxn ang="0">
                  <a:pos x="28" y="16"/>
                </a:cxn>
                <a:cxn ang="0">
                  <a:pos x="30" y="10"/>
                </a:cxn>
                <a:cxn ang="0">
                  <a:pos x="38" y="10"/>
                </a:cxn>
                <a:cxn ang="0">
                  <a:pos x="54" y="4"/>
                </a:cxn>
                <a:cxn ang="0">
                  <a:pos x="58" y="2"/>
                </a:cxn>
                <a:cxn ang="0">
                  <a:pos x="60" y="0"/>
                </a:cxn>
                <a:cxn ang="0">
                  <a:pos x="62" y="2"/>
                </a:cxn>
                <a:cxn ang="0">
                  <a:pos x="58" y="14"/>
                </a:cxn>
                <a:cxn ang="0">
                  <a:pos x="52" y="20"/>
                </a:cxn>
                <a:cxn ang="0">
                  <a:pos x="50" y="24"/>
                </a:cxn>
                <a:cxn ang="0">
                  <a:pos x="52" y="26"/>
                </a:cxn>
                <a:cxn ang="0">
                  <a:pos x="54" y="24"/>
                </a:cxn>
                <a:cxn ang="0">
                  <a:pos x="56" y="28"/>
                </a:cxn>
                <a:cxn ang="0">
                  <a:pos x="50" y="30"/>
                </a:cxn>
                <a:cxn ang="0">
                  <a:pos x="46" y="30"/>
                </a:cxn>
                <a:cxn ang="0">
                  <a:pos x="38" y="34"/>
                </a:cxn>
                <a:cxn ang="0">
                  <a:pos x="32" y="34"/>
                </a:cxn>
                <a:cxn ang="0">
                  <a:pos x="32" y="34"/>
                </a:cxn>
                <a:cxn ang="0">
                  <a:pos x="42" y="34"/>
                </a:cxn>
                <a:cxn ang="0">
                  <a:pos x="40" y="44"/>
                </a:cxn>
                <a:cxn ang="0">
                  <a:pos x="34" y="48"/>
                </a:cxn>
              </a:cxnLst>
              <a:rect l="0" t="0" r="r" b="b"/>
              <a:pathLst>
                <a:path w="62" h="60">
                  <a:moveTo>
                    <a:pt x="34" y="48"/>
                  </a:moveTo>
                  <a:lnTo>
                    <a:pt x="30" y="48"/>
                  </a:lnTo>
                  <a:lnTo>
                    <a:pt x="28" y="48"/>
                  </a:lnTo>
                  <a:lnTo>
                    <a:pt x="26" y="48"/>
                  </a:lnTo>
                  <a:lnTo>
                    <a:pt x="24" y="46"/>
                  </a:lnTo>
                  <a:lnTo>
                    <a:pt x="24" y="44"/>
                  </a:lnTo>
                  <a:lnTo>
                    <a:pt x="24" y="42"/>
                  </a:lnTo>
                  <a:lnTo>
                    <a:pt x="24" y="40"/>
                  </a:lnTo>
                  <a:lnTo>
                    <a:pt x="26" y="38"/>
                  </a:lnTo>
                  <a:lnTo>
                    <a:pt x="28" y="36"/>
                  </a:lnTo>
                  <a:lnTo>
                    <a:pt x="30" y="36"/>
                  </a:lnTo>
                  <a:lnTo>
                    <a:pt x="32" y="36"/>
                  </a:lnTo>
                  <a:lnTo>
                    <a:pt x="30" y="36"/>
                  </a:lnTo>
                  <a:lnTo>
                    <a:pt x="28" y="34"/>
                  </a:lnTo>
                  <a:lnTo>
                    <a:pt x="26" y="34"/>
                  </a:lnTo>
                  <a:lnTo>
                    <a:pt x="22" y="38"/>
                  </a:lnTo>
                  <a:lnTo>
                    <a:pt x="22" y="44"/>
                  </a:lnTo>
                  <a:lnTo>
                    <a:pt x="24" y="44"/>
                  </a:lnTo>
                  <a:lnTo>
                    <a:pt x="24" y="46"/>
                  </a:lnTo>
                  <a:lnTo>
                    <a:pt x="24" y="48"/>
                  </a:lnTo>
                  <a:lnTo>
                    <a:pt x="24" y="50"/>
                  </a:lnTo>
                  <a:lnTo>
                    <a:pt x="18" y="54"/>
                  </a:lnTo>
                  <a:lnTo>
                    <a:pt x="4" y="60"/>
                  </a:lnTo>
                  <a:lnTo>
                    <a:pt x="0" y="50"/>
                  </a:lnTo>
                  <a:lnTo>
                    <a:pt x="0" y="48"/>
                  </a:lnTo>
                  <a:lnTo>
                    <a:pt x="2" y="48"/>
                  </a:lnTo>
                  <a:lnTo>
                    <a:pt x="2" y="50"/>
                  </a:lnTo>
                  <a:lnTo>
                    <a:pt x="4" y="50"/>
                  </a:lnTo>
                  <a:lnTo>
                    <a:pt x="16" y="46"/>
                  </a:lnTo>
                  <a:lnTo>
                    <a:pt x="14" y="42"/>
                  </a:lnTo>
                  <a:lnTo>
                    <a:pt x="12" y="40"/>
                  </a:lnTo>
                  <a:lnTo>
                    <a:pt x="10" y="40"/>
                  </a:lnTo>
                  <a:lnTo>
                    <a:pt x="8" y="40"/>
                  </a:lnTo>
                  <a:lnTo>
                    <a:pt x="6" y="38"/>
                  </a:lnTo>
                  <a:lnTo>
                    <a:pt x="4" y="34"/>
                  </a:lnTo>
                  <a:lnTo>
                    <a:pt x="8" y="34"/>
                  </a:lnTo>
                  <a:lnTo>
                    <a:pt x="8" y="32"/>
                  </a:lnTo>
                  <a:lnTo>
                    <a:pt x="8" y="28"/>
                  </a:lnTo>
                  <a:lnTo>
                    <a:pt x="8" y="22"/>
                  </a:lnTo>
                  <a:lnTo>
                    <a:pt x="12" y="18"/>
                  </a:lnTo>
                  <a:lnTo>
                    <a:pt x="14" y="14"/>
                  </a:lnTo>
                  <a:lnTo>
                    <a:pt x="16" y="14"/>
                  </a:lnTo>
                  <a:lnTo>
                    <a:pt x="18" y="14"/>
                  </a:lnTo>
                  <a:lnTo>
                    <a:pt x="22" y="18"/>
                  </a:lnTo>
                  <a:lnTo>
                    <a:pt x="20" y="18"/>
                  </a:lnTo>
                  <a:lnTo>
                    <a:pt x="20" y="20"/>
                  </a:lnTo>
                  <a:lnTo>
                    <a:pt x="20" y="28"/>
                  </a:lnTo>
                  <a:lnTo>
                    <a:pt x="22" y="20"/>
                  </a:lnTo>
                  <a:lnTo>
                    <a:pt x="26" y="20"/>
                  </a:lnTo>
                  <a:lnTo>
                    <a:pt x="28" y="22"/>
                  </a:lnTo>
                  <a:lnTo>
                    <a:pt x="28" y="18"/>
                  </a:lnTo>
                  <a:lnTo>
                    <a:pt x="28" y="16"/>
                  </a:lnTo>
                  <a:lnTo>
                    <a:pt x="28" y="12"/>
                  </a:lnTo>
                  <a:lnTo>
                    <a:pt x="30" y="10"/>
                  </a:lnTo>
                  <a:lnTo>
                    <a:pt x="36" y="8"/>
                  </a:lnTo>
                  <a:lnTo>
                    <a:pt x="38" y="10"/>
                  </a:lnTo>
                  <a:lnTo>
                    <a:pt x="42" y="10"/>
                  </a:lnTo>
                  <a:lnTo>
                    <a:pt x="54" y="4"/>
                  </a:lnTo>
                  <a:lnTo>
                    <a:pt x="56" y="2"/>
                  </a:lnTo>
                  <a:lnTo>
                    <a:pt x="58" y="2"/>
                  </a:lnTo>
                  <a:lnTo>
                    <a:pt x="58" y="0"/>
                  </a:lnTo>
                  <a:lnTo>
                    <a:pt x="60" y="0"/>
                  </a:lnTo>
                  <a:lnTo>
                    <a:pt x="60" y="2"/>
                  </a:lnTo>
                  <a:lnTo>
                    <a:pt x="62" y="2"/>
                  </a:lnTo>
                  <a:lnTo>
                    <a:pt x="62" y="10"/>
                  </a:lnTo>
                  <a:lnTo>
                    <a:pt x="58" y="14"/>
                  </a:lnTo>
                  <a:lnTo>
                    <a:pt x="56" y="18"/>
                  </a:lnTo>
                  <a:lnTo>
                    <a:pt x="52" y="20"/>
                  </a:lnTo>
                  <a:lnTo>
                    <a:pt x="50" y="22"/>
                  </a:lnTo>
                  <a:lnTo>
                    <a:pt x="50" y="24"/>
                  </a:lnTo>
                  <a:lnTo>
                    <a:pt x="50" y="26"/>
                  </a:lnTo>
                  <a:lnTo>
                    <a:pt x="52" y="26"/>
                  </a:lnTo>
                  <a:lnTo>
                    <a:pt x="54" y="26"/>
                  </a:lnTo>
                  <a:lnTo>
                    <a:pt x="54" y="24"/>
                  </a:lnTo>
                  <a:lnTo>
                    <a:pt x="58" y="24"/>
                  </a:lnTo>
                  <a:lnTo>
                    <a:pt x="56" y="28"/>
                  </a:lnTo>
                  <a:lnTo>
                    <a:pt x="52" y="30"/>
                  </a:lnTo>
                  <a:lnTo>
                    <a:pt x="50" y="30"/>
                  </a:lnTo>
                  <a:lnTo>
                    <a:pt x="48" y="28"/>
                  </a:lnTo>
                  <a:lnTo>
                    <a:pt x="46" y="30"/>
                  </a:lnTo>
                  <a:lnTo>
                    <a:pt x="44" y="32"/>
                  </a:lnTo>
                  <a:lnTo>
                    <a:pt x="38" y="34"/>
                  </a:lnTo>
                  <a:lnTo>
                    <a:pt x="34" y="34"/>
                  </a:lnTo>
                  <a:lnTo>
                    <a:pt x="32" y="34"/>
                  </a:lnTo>
                  <a:lnTo>
                    <a:pt x="30" y="34"/>
                  </a:lnTo>
                  <a:lnTo>
                    <a:pt x="32" y="34"/>
                  </a:lnTo>
                  <a:lnTo>
                    <a:pt x="38" y="34"/>
                  </a:lnTo>
                  <a:lnTo>
                    <a:pt x="42" y="34"/>
                  </a:lnTo>
                  <a:lnTo>
                    <a:pt x="42" y="42"/>
                  </a:lnTo>
                  <a:lnTo>
                    <a:pt x="40" y="44"/>
                  </a:lnTo>
                  <a:lnTo>
                    <a:pt x="36" y="46"/>
                  </a:lnTo>
                  <a:lnTo>
                    <a:pt x="34" y="4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2" name="Freeform 2588"/>
            <p:cNvSpPr>
              <a:spLocks/>
            </p:cNvSpPr>
            <p:nvPr/>
          </p:nvSpPr>
          <p:spPr bwMode="auto">
            <a:xfrm>
              <a:off x="1538" y="1394"/>
              <a:ext cx="22" cy="18"/>
            </a:xfrm>
            <a:custGeom>
              <a:avLst/>
              <a:gdLst/>
              <a:ahLst/>
              <a:cxnLst>
                <a:cxn ang="0">
                  <a:pos x="12" y="18"/>
                </a:cxn>
                <a:cxn ang="0">
                  <a:pos x="8" y="16"/>
                </a:cxn>
                <a:cxn ang="0">
                  <a:pos x="8" y="14"/>
                </a:cxn>
                <a:cxn ang="0">
                  <a:pos x="8" y="12"/>
                </a:cxn>
                <a:cxn ang="0">
                  <a:pos x="6" y="10"/>
                </a:cxn>
                <a:cxn ang="0">
                  <a:pos x="2" y="10"/>
                </a:cxn>
                <a:cxn ang="0">
                  <a:pos x="2" y="8"/>
                </a:cxn>
                <a:cxn ang="0">
                  <a:pos x="0" y="6"/>
                </a:cxn>
                <a:cxn ang="0">
                  <a:pos x="4" y="2"/>
                </a:cxn>
                <a:cxn ang="0">
                  <a:pos x="4" y="0"/>
                </a:cxn>
                <a:cxn ang="0">
                  <a:pos x="6" y="2"/>
                </a:cxn>
                <a:cxn ang="0">
                  <a:pos x="14" y="4"/>
                </a:cxn>
                <a:cxn ang="0">
                  <a:pos x="16" y="2"/>
                </a:cxn>
                <a:cxn ang="0">
                  <a:pos x="18" y="2"/>
                </a:cxn>
                <a:cxn ang="0">
                  <a:pos x="22" y="8"/>
                </a:cxn>
                <a:cxn ang="0">
                  <a:pos x="16" y="18"/>
                </a:cxn>
                <a:cxn ang="0">
                  <a:pos x="14" y="18"/>
                </a:cxn>
                <a:cxn ang="0">
                  <a:pos x="12" y="18"/>
                </a:cxn>
              </a:cxnLst>
              <a:rect l="0" t="0" r="r" b="b"/>
              <a:pathLst>
                <a:path w="22" h="18">
                  <a:moveTo>
                    <a:pt x="12" y="18"/>
                  </a:moveTo>
                  <a:lnTo>
                    <a:pt x="8" y="16"/>
                  </a:lnTo>
                  <a:lnTo>
                    <a:pt x="8" y="14"/>
                  </a:lnTo>
                  <a:lnTo>
                    <a:pt x="8" y="12"/>
                  </a:lnTo>
                  <a:lnTo>
                    <a:pt x="6" y="10"/>
                  </a:lnTo>
                  <a:lnTo>
                    <a:pt x="2" y="10"/>
                  </a:lnTo>
                  <a:lnTo>
                    <a:pt x="2" y="8"/>
                  </a:lnTo>
                  <a:lnTo>
                    <a:pt x="0" y="6"/>
                  </a:lnTo>
                  <a:lnTo>
                    <a:pt x="4" y="2"/>
                  </a:lnTo>
                  <a:lnTo>
                    <a:pt x="4" y="0"/>
                  </a:lnTo>
                  <a:lnTo>
                    <a:pt x="6" y="2"/>
                  </a:lnTo>
                  <a:lnTo>
                    <a:pt x="14" y="4"/>
                  </a:lnTo>
                  <a:lnTo>
                    <a:pt x="16" y="2"/>
                  </a:lnTo>
                  <a:lnTo>
                    <a:pt x="18" y="2"/>
                  </a:lnTo>
                  <a:lnTo>
                    <a:pt x="22" y="8"/>
                  </a:lnTo>
                  <a:lnTo>
                    <a:pt x="16" y="18"/>
                  </a:lnTo>
                  <a:lnTo>
                    <a:pt x="14" y="18"/>
                  </a:lnTo>
                  <a:lnTo>
                    <a:pt x="12"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3" name="Freeform 2589"/>
            <p:cNvSpPr>
              <a:spLocks/>
            </p:cNvSpPr>
            <p:nvPr/>
          </p:nvSpPr>
          <p:spPr bwMode="auto">
            <a:xfrm>
              <a:off x="1568" y="1408"/>
              <a:ext cx="50" cy="64"/>
            </a:xfrm>
            <a:custGeom>
              <a:avLst/>
              <a:gdLst/>
              <a:ahLst/>
              <a:cxnLst>
                <a:cxn ang="0">
                  <a:pos x="38" y="58"/>
                </a:cxn>
                <a:cxn ang="0">
                  <a:pos x="36" y="60"/>
                </a:cxn>
                <a:cxn ang="0">
                  <a:pos x="34" y="62"/>
                </a:cxn>
                <a:cxn ang="0">
                  <a:pos x="30" y="64"/>
                </a:cxn>
                <a:cxn ang="0">
                  <a:pos x="28" y="64"/>
                </a:cxn>
                <a:cxn ang="0">
                  <a:pos x="26" y="64"/>
                </a:cxn>
                <a:cxn ang="0">
                  <a:pos x="26" y="60"/>
                </a:cxn>
                <a:cxn ang="0">
                  <a:pos x="30" y="56"/>
                </a:cxn>
                <a:cxn ang="0">
                  <a:pos x="32" y="54"/>
                </a:cxn>
                <a:cxn ang="0">
                  <a:pos x="30" y="50"/>
                </a:cxn>
                <a:cxn ang="0">
                  <a:pos x="26" y="54"/>
                </a:cxn>
                <a:cxn ang="0">
                  <a:pos x="22" y="48"/>
                </a:cxn>
                <a:cxn ang="0">
                  <a:pos x="16" y="48"/>
                </a:cxn>
                <a:cxn ang="0">
                  <a:pos x="12" y="36"/>
                </a:cxn>
                <a:cxn ang="0">
                  <a:pos x="12" y="32"/>
                </a:cxn>
                <a:cxn ang="0">
                  <a:pos x="16" y="30"/>
                </a:cxn>
                <a:cxn ang="0">
                  <a:pos x="18" y="32"/>
                </a:cxn>
                <a:cxn ang="0">
                  <a:pos x="18" y="34"/>
                </a:cxn>
                <a:cxn ang="0">
                  <a:pos x="20" y="34"/>
                </a:cxn>
                <a:cxn ang="0">
                  <a:pos x="12" y="22"/>
                </a:cxn>
                <a:cxn ang="0">
                  <a:pos x="10" y="24"/>
                </a:cxn>
                <a:cxn ang="0">
                  <a:pos x="8" y="26"/>
                </a:cxn>
                <a:cxn ang="0">
                  <a:pos x="8" y="28"/>
                </a:cxn>
                <a:cxn ang="0">
                  <a:pos x="6" y="26"/>
                </a:cxn>
                <a:cxn ang="0">
                  <a:pos x="4" y="24"/>
                </a:cxn>
                <a:cxn ang="0">
                  <a:pos x="2" y="24"/>
                </a:cxn>
                <a:cxn ang="0">
                  <a:pos x="2" y="22"/>
                </a:cxn>
                <a:cxn ang="0">
                  <a:pos x="2" y="20"/>
                </a:cxn>
                <a:cxn ang="0">
                  <a:pos x="0" y="18"/>
                </a:cxn>
                <a:cxn ang="0">
                  <a:pos x="0" y="14"/>
                </a:cxn>
                <a:cxn ang="0">
                  <a:pos x="4" y="12"/>
                </a:cxn>
                <a:cxn ang="0">
                  <a:pos x="14" y="4"/>
                </a:cxn>
                <a:cxn ang="0">
                  <a:pos x="14" y="6"/>
                </a:cxn>
                <a:cxn ang="0">
                  <a:pos x="16" y="8"/>
                </a:cxn>
                <a:cxn ang="0">
                  <a:pos x="14" y="8"/>
                </a:cxn>
                <a:cxn ang="0">
                  <a:pos x="18" y="14"/>
                </a:cxn>
                <a:cxn ang="0">
                  <a:pos x="20" y="14"/>
                </a:cxn>
                <a:cxn ang="0">
                  <a:pos x="22" y="14"/>
                </a:cxn>
                <a:cxn ang="0">
                  <a:pos x="24" y="6"/>
                </a:cxn>
                <a:cxn ang="0">
                  <a:pos x="24" y="4"/>
                </a:cxn>
                <a:cxn ang="0">
                  <a:pos x="26" y="2"/>
                </a:cxn>
                <a:cxn ang="0">
                  <a:pos x="30" y="0"/>
                </a:cxn>
                <a:cxn ang="0">
                  <a:pos x="32" y="2"/>
                </a:cxn>
                <a:cxn ang="0">
                  <a:pos x="34" y="8"/>
                </a:cxn>
                <a:cxn ang="0">
                  <a:pos x="34" y="10"/>
                </a:cxn>
                <a:cxn ang="0">
                  <a:pos x="36" y="14"/>
                </a:cxn>
                <a:cxn ang="0">
                  <a:pos x="34" y="22"/>
                </a:cxn>
                <a:cxn ang="0">
                  <a:pos x="30" y="26"/>
                </a:cxn>
                <a:cxn ang="0">
                  <a:pos x="30" y="28"/>
                </a:cxn>
                <a:cxn ang="0">
                  <a:pos x="28" y="36"/>
                </a:cxn>
                <a:cxn ang="0">
                  <a:pos x="30" y="38"/>
                </a:cxn>
                <a:cxn ang="0">
                  <a:pos x="38" y="46"/>
                </a:cxn>
                <a:cxn ang="0">
                  <a:pos x="42" y="46"/>
                </a:cxn>
                <a:cxn ang="0">
                  <a:pos x="46" y="44"/>
                </a:cxn>
                <a:cxn ang="0">
                  <a:pos x="50" y="48"/>
                </a:cxn>
                <a:cxn ang="0">
                  <a:pos x="48" y="52"/>
                </a:cxn>
                <a:cxn ang="0">
                  <a:pos x="40" y="58"/>
                </a:cxn>
                <a:cxn ang="0">
                  <a:pos x="38" y="58"/>
                </a:cxn>
              </a:cxnLst>
              <a:rect l="0" t="0" r="r" b="b"/>
              <a:pathLst>
                <a:path w="50" h="64">
                  <a:moveTo>
                    <a:pt x="38" y="58"/>
                  </a:moveTo>
                  <a:lnTo>
                    <a:pt x="36" y="60"/>
                  </a:lnTo>
                  <a:lnTo>
                    <a:pt x="34" y="62"/>
                  </a:lnTo>
                  <a:lnTo>
                    <a:pt x="30" y="64"/>
                  </a:lnTo>
                  <a:lnTo>
                    <a:pt x="28" y="64"/>
                  </a:lnTo>
                  <a:lnTo>
                    <a:pt x="26" y="64"/>
                  </a:lnTo>
                  <a:lnTo>
                    <a:pt x="26" y="60"/>
                  </a:lnTo>
                  <a:lnTo>
                    <a:pt x="30" y="56"/>
                  </a:lnTo>
                  <a:lnTo>
                    <a:pt x="32" y="54"/>
                  </a:lnTo>
                  <a:lnTo>
                    <a:pt x="30" y="50"/>
                  </a:lnTo>
                  <a:lnTo>
                    <a:pt x="26" y="54"/>
                  </a:lnTo>
                  <a:lnTo>
                    <a:pt x="22" y="48"/>
                  </a:lnTo>
                  <a:lnTo>
                    <a:pt x="16" y="48"/>
                  </a:lnTo>
                  <a:lnTo>
                    <a:pt x="12" y="36"/>
                  </a:lnTo>
                  <a:lnTo>
                    <a:pt x="12" y="32"/>
                  </a:lnTo>
                  <a:lnTo>
                    <a:pt x="16" y="30"/>
                  </a:lnTo>
                  <a:lnTo>
                    <a:pt x="18" y="32"/>
                  </a:lnTo>
                  <a:lnTo>
                    <a:pt x="18" y="34"/>
                  </a:lnTo>
                  <a:lnTo>
                    <a:pt x="20" y="34"/>
                  </a:lnTo>
                  <a:lnTo>
                    <a:pt x="12" y="22"/>
                  </a:lnTo>
                  <a:lnTo>
                    <a:pt x="10" y="24"/>
                  </a:lnTo>
                  <a:lnTo>
                    <a:pt x="8" y="26"/>
                  </a:lnTo>
                  <a:lnTo>
                    <a:pt x="8" y="28"/>
                  </a:lnTo>
                  <a:lnTo>
                    <a:pt x="6" y="26"/>
                  </a:lnTo>
                  <a:lnTo>
                    <a:pt x="4" y="24"/>
                  </a:lnTo>
                  <a:lnTo>
                    <a:pt x="2" y="24"/>
                  </a:lnTo>
                  <a:lnTo>
                    <a:pt x="2" y="22"/>
                  </a:lnTo>
                  <a:lnTo>
                    <a:pt x="2" y="20"/>
                  </a:lnTo>
                  <a:lnTo>
                    <a:pt x="0" y="18"/>
                  </a:lnTo>
                  <a:lnTo>
                    <a:pt x="0" y="14"/>
                  </a:lnTo>
                  <a:lnTo>
                    <a:pt x="4" y="12"/>
                  </a:lnTo>
                  <a:lnTo>
                    <a:pt x="14" y="4"/>
                  </a:lnTo>
                  <a:lnTo>
                    <a:pt x="14" y="6"/>
                  </a:lnTo>
                  <a:lnTo>
                    <a:pt x="16" y="8"/>
                  </a:lnTo>
                  <a:lnTo>
                    <a:pt x="14" y="8"/>
                  </a:lnTo>
                  <a:lnTo>
                    <a:pt x="18" y="14"/>
                  </a:lnTo>
                  <a:lnTo>
                    <a:pt x="20" y="14"/>
                  </a:lnTo>
                  <a:lnTo>
                    <a:pt x="22" y="14"/>
                  </a:lnTo>
                  <a:lnTo>
                    <a:pt x="24" y="6"/>
                  </a:lnTo>
                  <a:lnTo>
                    <a:pt x="24" y="4"/>
                  </a:lnTo>
                  <a:lnTo>
                    <a:pt x="26" y="2"/>
                  </a:lnTo>
                  <a:lnTo>
                    <a:pt x="30" y="0"/>
                  </a:lnTo>
                  <a:lnTo>
                    <a:pt x="32" y="2"/>
                  </a:lnTo>
                  <a:lnTo>
                    <a:pt x="34" y="8"/>
                  </a:lnTo>
                  <a:lnTo>
                    <a:pt x="34" y="10"/>
                  </a:lnTo>
                  <a:lnTo>
                    <a:pt x="36" y="14"/>
                  </a:lnTo>
                  <a:lnTo>
                    <a:pt x="34" y="22"/>
                  </a:lnTo>
                  <a:lnTo>
                    <a:pt x="30" y="26"/>
                  </a:lnTo>
                  <a:lnTo>
                    <a:pt x="30" y="28"/>
                  </a:lnTo>
                  <a:lnTo>
                    <a:pt x="28" y="36"/>
                  </a:lnTo>
                  <a:lnTo>
                    <a:pt x="30" y="38"/>
                  </a:lnTo>
                  <a:lnTo>
                    <a:pt x="38" y="46"/>
                  </a:lnTo>
                  <a:lnTo>
                    <a:pt x="42" y="46"/>
                  </a:lnTo>
                  <a:lnTo>
                    <a:pt x="46" y="44"/>
                  </a:lnTo>
                  <a:lnTo>
                    <a:pt x="50" y="48"/>
                  </a:lnTo>
                  <a:lnTo>
                    <a:pt x="48" y="52"/>
                  </a:lnTo>
                  <a:lnTo>
                    <a:pt x="40" y="58"/>
                  </a:lnTo>
                  <a:lnTo>
                    <a:pt x="38" y="5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4" name="Freeform 2590"/>
            <p:cNvSpPr>
              <a:spLocks/>
            </p:cNvSpPr>
            <p:nvPr/>
          </p:nvSpPr>
          <p:spPr bwMode="auto">
            <a:xfrm>
              <a:off x="1600" y="1428"/>
              <a:ext cx="10" cy="16"/>
            </a:xfrm>
            <a:custGeom>
              <a:avLst/>
              <a:gdLst/>
              <a:ahLst/>
              <a:cxnLst>
                <a:cxn ang="0">
                  <a:pos x="2" y="16"/>
                </a:cxn>
                <a:cxn ang="0">
                  <a:pos x="0" y="16"/>
                </a:cxn>
                <a:cxn ang="0">
                  <a:pos x="0" y="14"/>
                </a:cxn>
                <a:cxn ang="0">
                  <a:pos x="2" y="10"/>
                </a:cxn>
                <a:cxn ang="0">
                  <a:pos x="2" y="6"/>
                </a:cxn>
                <a:cxn ang="0">
                  <a:pos x="4" y="4"/>
                </a:cxn>
                <a:cxn ang="0">
                  <a:pos x="6" y="2"/>
                </a:cxn>
                <a:cxn ang="0">
                  <a:pos x="8" y="0"/>
                </a:cxn>
                <a:cxn ang="0">
                  <a:pos x="10" y="2"/>
                </a:cxn>
                <a:cxn ang="0">
                  <a:pos x="4" y="16"/>
                </a:cxn>
                <a:cxn ang="0">
                  <a:pos x="2" y="16"/>
                </a:cxn>
              </a:cxnLst>
              <a:rect l="0" t="0" r="r" b="b"/>
              <a:pathLst>
                <a:path w="10" h="16">
                  <a:moveTo>
                    <a:pt x="2" y="16"/>
                  </a:moveTo>
                  <a:lnTo>
                    <a:pt x="0" y="16"/>
                  </a:lnTo>
                  <a:lnTo>
                    <a:pt x="0" y="14"/>
                  </a:lnTo>
                  <a:lnTo>
                    <a:pt x="2" y="10"/>
                  </a:lnTo>
                  <a:lnTo>
                    <a:pt x="2" y="6"/>
                  </a:lnTo>
                  <a:lnTo>
                    <a:pt x="4" y="4"/>
                  </a:lnTo>
                  <a:lnTo>
                    <a:pt x="6" y="2"/>
                  </a:lnTo>
                  <a:lnTo>
                    <a:pt x="8" y="0"/>
                  </a:lnTo>
                  <a:lnTo>
                    <a:pt x="10" y="2"/>
                  </a:lnTo>
                  <a:lnTo>
                    <a:pt x="4" y="16"/>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5" name="Freeform 2591"/>
            <p:cNvSpPr>
              <a:spLocks/>
            </p:cNvSpPr>
            <p:nvPr/>
          </p:nvSpPr>
          <p:spPr bwMode="auto">
            <a:xfrm>
              <a:off x="1540" y="1412"/>
              <a:ext cx="10" cy="8"/>
            </a:xfrm>
            <a:custGeom>
              <a:avLst/>
              <a:gdLst/>
              <a:ahLst/>
              <a:cxnLst>
                <a:cxn ang="0">
                  <a:pos x="4" y="8"/>
                </a:cxn>
                <a:cxn ang="0">
                  <a:pos x="2" y="8"/>
                </a:cxn>
                <a:cxn ang="0">
                  <a:pos x="0" y="4"/>
                </a:cxn>
                <a:cxn ang="0">
                  <a:pos x="0" y="2"/>
                </a:cxn>
                <a:cxn ang="0">
                  <a:pos x="0" y="0"/>
                </a:cxn>
                <a:cxn ang="0">
                  <a:pos x="4" y="0"/>
                </a:cxn>
                <a:cxn ang="0">
                  <a:pos x="6" y="0"/>
                </a:cxn>
                <a:cxn ang="0">
                  <a:pos x="8" y="0"/>
                </a:cxn>
                <a:cxn ang="0">
                  <a:pos x="8" y="2"/>
                </a:cxn>
                <a:cxn ang="0">
                  <a:pos x="10" y="4"/>
                </a:cxn>
                <a:cxn ang="0">
                  <a:pos x="8" y="8"/>
                </a:cxn>
                <a:cxn ang="0">
                  <a:pos x="6" y="8"/>
                </a:cxn>
                <a:cxn ang="0">
                  <a:pos x="4" y="8"/>
                </a:cxn>
              </a:cxnLst>
              <a:rect l="0" t="0" r="r" b="b"/>
              <a:pathLst>
                <a:path w="10" h="8">
                  <a:moveTo>
                    <a:pt x="4" y="8"/>
                  </a:moveTo>
                  <a:lnTo>
                    <a:pt x="2" y="8"/>
                  </a:lnTo>
                  <a:lnTo>
                    <a:pt x="0" y="4"/>
                  </a:lnTo>
                  <a:lnTo>
                    <a:pt x="0" y="2"/>
                  </a:lnTo>
                  <a:lnTo>
                    <a:pt x="0" y="0"/>
                  </a:lnTo>
                  <a:lnTo>
                    <a:pt x="4" y="0"/>
                  </a:lnTo>
                  <a:lnTo>
                    <a:pt x="6" y="0"/>
                  </a:lnTo>
                  <a:lnTo>
                    <a:pt x="8" y="0"/>
                  </a:lnTo>
                  <a:lnTo>
                    <a:pt x="8" y="2"/>
                  </a:lnTo>
                  <a:lnTo>
                    <a:pt x="10" y="4"/>
                  </a:lnTo>
                  <a:lnTo>
                    <a:pt x="8" y="8"/>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6" name="Freeform 2592"/>
            <p:cNvSpPr>
              <a:spLocks/>
            </p:cNvSpPr>
            <p:nvPr/>
          </p:nvSpPr>
          <p:spPr bwMode="auto">
            <a:xfrm>
              <a:off x="1532" y="1418"/>
              <a:ext cx="14" cy="30"/>
            </a:xfrm>
            <a:custGeom>
              <a:avLst/>
              <a:gdLst/>
              <a:ahLst/>
              <a:cxnLst>
                <a:cxn ang="0">
                  <a:pos x="6" y="30"/>
                </a:cxn>
                <a:cxn ang="0">
                  <a:pos x="4" y="28"/>
                </a:cxn>
                <a:cxn ang="0">
                  <a:pos x="2" y="28"/>
                </a:cxn>
                <a:cxn ang="0">
                  <a:pos x="0" y="28"/>
                </a:cxn>
                <a:cxn ang="0">
                  <a:pos x="0" y="26"/>
                </a:cxn>
                <a:cxn ang="0">
                  <a:pos x="0" y="24"/>
                </a:cxn>
                <a:cxn ang="0">
                  <a:pos x="0" y="20"/>
                </a:cxn>
                <a:cxn ang="0">
                  <a:pos x="0" y="16"/>
                </a:cxn>
                <a:cxn ang="0">
                  <a:pos x="4" y="2"/>
                </a:cxn>
                <a:cxn ang="0">
                  <a:pos x="6" y="2"/>
                </a:cxn>
                <a:cxn ang="0">
                  <a:pos x="8" y="0"/>
                </a:cxn>
                <a:cxn ang="0">
                  <a:pos x="10" y="2"/>
                </a:cxn>
                <a:cxn ang="0">
                  <a:pos x="12" y="4"/>
                </a:cxn>
                <a:cxn ang="0">
                  <a:pos x="14" y="8"/>
                </a:cxn>
                <a:cxn ang="0">
                  <a:pos x="12" y="8"/>
                </a:cxn>
                <a:cxn ang="0">
                  <a:pos x="10" y="8"/>
                </a:cxn>
                <a:cxn ang="0">
                  <a:pos x="6" y="24"/>
                </a:cxn>
                <a:cxn ang="0">
                  <a:pos x="8" y="28"/>
                </a:cxn>
                <a:cxn ang="0">
                  <a:pos x="6" y="30"/>
                </a:cxn>
              </a:cxnLst>
              <a:rect l="0" t="0" r="r" b="b"/>
              <a:pathLst>
                <a:path w="14" h="30">
                  <a:moveTo>
                    <a:pt x="6" y="30"/>
                  </a:moveTo>
                  <a:lnTo>
                    <a:pt x="4" y="28"/>
                  </a:lnTo>
                  <a:lnTo>
                    <a:pt x="2" y="28"/>
                  </a:lnTo>
                  <a:lnTo>
                    <a:pt x="0" y="28"/>
                  </a:lnTo>
                  <a:lnTo>
                    <a:pt x="0" y="26"/>
                  </a:lnTo>
                  <a:lnTo>
                    <a:pt x="0" y="24"/>
                  </a:lnTo>
                  <a:lnTo>
                    <a:pt x="0" y="20"/>
                  </a:lnTo>
                  <a:lnTo>
                    <a:pt x="0" y="16"/>
                  </a:lnTo>
                  <a:lnTo>
                    <a:pt x="4" y="2"/>
                  </a:lnTo>
                  <a:lnTo>
                    <a:pt x="6" y="2"/>
                  </a:lnTo>
                  <a:lnTo>
                    <a:pt x="8" y="0"/>
                  </a:lnTo>
                  <a:lnTo>
                    <a:pt x="10" y="2"/>
                  </a:lnTo>
                  <a:lnTo>
                    <a:pt x="12" y="4"/>
                  </a:lnTo>
                  <a:lnTo>
                    <a:pt x="14" y="8"/>
                  </a:lnTo>
                  <a:lnTo>
                    <a:pt x="12" y="8"/>
                  </a:lnTo>
                  <a:lnTo>
                    <a:pt x="10" y="8"/>
                  </a:lnTo>
                  <a:lnTo>
                    <a:pt x="6" y="24"/>
                  </a:lnTo>
                  <a:lnTo>
                    <a:pt x="8" y="28"/>
                  </a:lnTo>
                  <a:lnTo>
                    <a:pt x="6" y="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7" name="Freeform 2593"/>
            <p:cNvSpPr>
              <a:spLocks/>
            </p:cNvSpPr>
            <p:nvPr/>
          </p:nvSpPr>
          <p:spPr bwMode="auto">
            <a:xfrm>
              <a:off x="1518" y="1448"/>
              <a:ext cx="10" cy="10"/>
            </a:xfrm>
            <a:custGeom>
              <a:avLst/>
              <a:gdLst/>
              <a:ahLst/>
              <a:cxnLst>
                <a:cxn ang="0">
                  <a:pos x="4" y="10"/>
                </a:cxn>
                <a:cxn ang="0">
                  <a:pos x="2" y="10"/>
                </a:cxn>
                <a:cxn ang="0">
                  <a:pos x="2" y="8"/>
                </a:cxn>
                <a:cxn ang="0">
                  <a:pos x="0" y="8"/>
                </a:cxn>
                <a:cxn ang="0">
                  <a:pos x="0" y="6"/>
                </a:cxn>
                <a:cxn ang="0">
                  <a:pos x="2" y="6"/>
                </a:cxn>
                <a:cxn ang="0">
                  <a:pos x="8" y="0"/>
                </a:cxn>
                <a:cxn ang="0">
                  <a:pos x="10" y="2"/>
                </a:cxn>
                <a:cxn ang="0">
                  <a:pos x="10" y="8"/>
                </a:cxn>
                <a:cxn ang="0">
                  <a:pos x="6" y="10"/>
                </a:cxn>
                <a:cxn ang="0">
                  <a:pos x="4" y="10"/>
                </a:cxn>
              </a:cxnLst>
              <a:rect l="0" t="0" r="r" b="b"/>
              <a:pathLst>
                <a:path w="10" h="10">
                  <a:moveTo>
                    <a:pt x="4" y="10"/>
                  </a:moveTo>
                  <a:lnTo>
                    <a:pt x="2" y="10"/>
                  </a:lnTo>
                  <a:lnTo>
                    <a:pt x="2" y="8"/>
                  </a:lnTo>
                  <a:lnTo>
                    <a:pt x="0" y="8"/>
                  </a:lnTo>
                  <a:lnTo>
                    <a:pt x="0" y="6"/>
                  </a:lnTo>
                  <a:lnTo>
                    <a:pt x="2" y="6"/>
                  </a:lnTo>
                  <a:lnTo>
                    <a:pt x="8" y="0"/>
                  </a:lnTo>
                  <a:lnTo>
                    <a:pt x="10" y="2"/>
                  </a:lnTo>
                  <a:lnTo>
                    <a:pt x="10" y="8"/>
                  </a:lnTo>
                  <a:lnTo>
                    <a:pt x="6"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8" name="Freeform 2594"/>
            <p:cNvSpPr>
              <a:spLocks/>
            </p:cNvSpPr>
            <p:nvPr/>
          </p:nvSpPr>
          <p:spPr bwMode="auto">
            <a:xfrm>
              <a:off x="1572" y="1464"/>
              <a:ext cx="12" cy="10"/>
            </a:xfrm>
            <a:custGeom>
              <a:avLst/>
              <a:gdLst/>
              <a:ahLst/>
              <a:cxnLst>
                <a:cxn ang="0">
                  <a:pos x="6" y="10"/>
                </a:cxn>
                <a:cxn ang="0">
                  <a:pos x="4" y="10"/>
                </a:cxn>
                <a:cxn ang="0">
                  <a:pos x="0" y="2"/>
                </a:cxn>
                <a:cxn ang="0">
                  <a:pos x="4" y="2"/>
                </a:cxn>
                <a:cxn ang="0">
                  <a:pos x="4" y="0"/>
                </a:cxn>
                <a:cxn ang="0">
                  <a:pos x="8" y="0"/>
                </a:cxn>
                <a:cxn ang="0">
                  <a:pos x="10" y="2"/>
                </a:cxn>
                <a:cxn ang="0">
                  <a:pos x="12" y="2"/>
                </a:cxn>
                <a:cxn ang="0">
                  <a:pos x="12" y="4"/>
                </a:cxn>
                <a:cxn ang="0">
                  <a:pos x="10" y="6"/>
                </a:cxn>
                <a:cxn ang="0">
                  <a:pos x="10" y="10"/>
                </a:cxn>
                <a:cxn ang="0">
                  <a:pos x="8" y="10"/>
                </a:cxn>
                <a:cxn ang="0">
                  <a:pos x="6" y="10"/>
                </a:cxn>
              </a:cxnLst>
              <a:rect l="0" t="0" r="r" b="b"/>
              <a:pathLst>
                <a:path w="12" h="10">
                  <a:moveTo>
                    <a:pt x="6" y="10"/>
                  </a:moveTo>
                  <a:lnTo>
                    <a:pt x="4" y="10"/>
                  </a:lnTo>
                  <a:lnTo>
                    <a:pt x="0" y="2"/>
                  </a:lnTo>
                  <a:lnTo>
                    <a:pt x="4" y="2"/>
                  </a:lnTo>
                  <a:lnTo>
                    <a:pt x="4" y="0"/>
                  </a:lnTo>
                  <a:lnTo>
                    <a:pt x="8" y="0"/>
                  </a:lnTo>
                  <a:lnTo>
                    <a:pt x="10" y="2"/>
                  </a:lnTo>
                  <a:lnTo>
                    <a:pt x="12" y="2"/>
                  </a:lnTo>
                  <a:lnTo>
                    <a:pt x="12" y="4"/>
                  </a:lnTo>
                  <a:lnTo>
                    <a:pt x="10" y="6"/>
                  </a:lnTo>
                  <a:lnTo>
                    <a:pt x="10" y="10"/>
                  </a:lnTo>
                  <a:lnTo>
                    <a:pt x="8" y="10"/>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59" name="Freeform 2595"/>
            <p:cNvSpPr>
              <a:spLocks/>
            </p:cNvSpPr>
            <p:nvPr/>
          </p:nvSpPr>
          <p:spPr bwMode="auto">
            <a:xfrm>
              <a:off x="1548" y="1494"/>
              <a:ext cx="16" cy="10"/>
            </a:xfrm>
            <a:custGeom>
              <a:avLst/>
              <a:gdLst/>
              <a:ahLst/>
              <a:cxnLst>
                <a:cxn ang="0">
                  <a:pos x="2" y="10"/>
                </a:cxn>
                <a:cxn ang="0">
                  <a:pos x="0" y="10"/>
                </a:cxn>
                <a:cxn ang="0">
                  <a:pos x="0" y="8"/>
                </a:cxn>
                <a:cxn ang="0">
                  <a:pos x="2" y="6"/>
                </a:cxn>
                <a:cxn ang="0">
                  <a:pos x="6" y="4"/>
                </a:cxn>
                <a:cxn ang="0">
                  <a:pos x="8" y="2"/>
                </a:cxn>
                <a:cxn ang="0">
                  <a:pos x="12" y="2"/>
                </a:cxn>
                <a:cxn ang="0">
                  <a:pos x="14" y="2"/>
                </a:cxn>
                <a:cxn ang="0">
                  <a:pos x="14" y="0"/>
                </a:cxn>
                <a:cxn ang="0">
                  <a:pos x="16" y="2"/>
                </a:cxn>
                <a:cxn ang="0">
                  <a:pos x="12" y="6"/>
                </a:cxn>
                <a:cxn ang="0">
                  <a:pos x="8" y="8"/>
                </a:cxn>
                <a:cxn ang="0">
                  <a:pos x="6" y="10"/>
                </a:cxn>
                <a:cxn ang="0">
                  <a:pos x="2" y="10"/>
                </a:cxn>
              </a:cxnLst>
              <a:rect l="0" t="0" r="r" b="b"/>
              <a:pathLst>
                <a:path w="16" h="10">
                  <a:moveTo>
                    <a:pt x="2" y="10"/>
                  </a:moveTo>
                  <a:lnTo>
                    <a:pt x="0" y="10"/>
                  </a:lnTo>
                  <a:lnTo>
                    <a:pt x="0" y="8"/>
                  </a:lnTo>
                  <a:lnTo>
                    <a:pt x="2" y="6"/>
                  </a:lnTo>
                  <a:lnTo>
                    <a:pt x="6" y="4"/>
                  </a:lnTo>
                  <a:lnTo>
                    <a:pt x="8" y="2"/>
                  </a:lnTo>
                  <a:lnTo>
                    <a:pt x="12" y="2"/>
                  </a:lnTo>
                  <a:lnTo>
                    <a:pt x="14" y="2"/>
                  </a:lnTo>
                  <a:lnTo>
                    <a:pt x="14" y="0"/>
                  </a:lnTo>
                  <a:lnTo>
                    <a:pt x="16" y="2"/>
                  </a:lnTo>
                  <a:lnTo>
                    <a:pt x="12" y="6"/>
                  </a:lnTo>
                  <a:lnTo>
                    <a:pt x="8" y="8"/>
                  </a:lnTo>
                  <a:lnTo>
                    <a:pt x="6" y="10"/>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0" name="Freeform 2596"/>
            <p:cNvSpPr>
              <a:spLocks/>
            </p:cNvSpPr>
            <p:nvPr/>
          </p:nvSpPr>
          <p:spPr bwMode="auto">
            <a:xfrm>
              <a:off x="1558" y="1504"/>
              <a:ext cx="40" cy="34"/>
            </a:xfrm>
            <a:custGeom>
              <a:avLst/>
              <a:gdLst/>
              <a:ahLst/>
              <a:cxnLst>
                <a:cxn ang="0">
                  <a:pos x="22" y="0"/>
                </a:cxn>
                <a:cxn ang="0">
                  <a:pos x="24" y="0"/>
                </a:cxn>
                <a:cxn ang="0">
                  <a:pos x="24" y="2"/>
                </a:cxn>
                <a:cxn ang="0">
                  <a:pos x="24" y="4"/>
                </a:cxn>
                <a:cxn ang="0">
                  <a:pos x="26" y="8"/>
                </a:cxn>
                <a:cxn ang="0">
                  <a:pos x="26" y="10"/>
                </a:cxn>
                <a:cxn ang="0">
                  <a:pos x="30" y="14"/>
                </a:cxn>
                <a:cxn ang="0">
                  <a:pos x="34" y="16"/>
                </a:cxn>
                <a:cxn ang="0">
                  <a:pos x="36" y="20"/>
                </a:cxn>
                <a:cxn ang="0">
                  <a:pos x="40" y="24"/>
                </a:cxn>
                <a:cxn ang="0">
                  <a:pos x="36" y="28"/>
                </a:cxn>
                <a:cxn ang="0">
                  <a:pos x="34" y="32"/>
                </a:cxn>
                <a:cxn ang="0">
                  <a:pos x="28" y="32"/>
                </a:cxn>
                <a:cxn ang="0">
                  <a:pos x="26" y="34"/>
                </a:cxn>
                <a:cxn ang="0">
                  <a:pos x="24" y="32"/>
                </a:cxn>
                <a:cxn ang="0">
                  <a:pos x="26" y="32"/>
                </a:cxn>
                <a:cxn ang="0">
                  <a:pos x="26" y="30"/>
                </a:cxn>
                <a:cxn ang="0">
                  <a:pos x="24" y="28"/>
                </a:cxn>
                <a:cxn ang="0">
                  <a:pos x="18" y="30"/>
                </a:cxn>
                <a:cxn ang="0">
                  <a:pos x="18" y="32"/>
                </a:cxn>
                <a:cxn ang="0">
                  <a:pos x="4" y="32"/>
                </a:cxn>
                <a:cxn ang="0">
                  <a:pos x="2" y="30"/>
                </a:cxn>
                <a:cxn ang="0">
                  <a:pos x="0" y="30"/>
                </a:cxn>
                <a:cxn ang="0">
                  <a:pos x="0" y="28"/>
                </a:cxn>
                <a:cxn ang="0">
                  <a:pos x="0" y="26"/>
                </a:cxn>
                <a:cxn ang="0">
                  <a:pos x="0" y="24"/>
                </a:cxn>
                <a:cxn ang="0">
                  <a:pos x="2" y="24"/>
                </a:cxn>
                <a:cxn ang="0">
                  <a:pos x="4" y="24"/>
                </a:cxn>
                <a:cxn ang="0">
                  <a:pos x="6" y="26"/>
                </a:cxn>
                <a:cxn ang="0">
                  <a:pos x="6" y="28"/>
                </a:cxn>
                <a:cxn ang="0">
                  <a:pos x="16" y="26"/>
                </a:cxn>
                <a:cxn ang="0">
                  <a:pos x="18" y="26"/>
                </a:cxn>
                <a:cxn ang="0">
                  <a:pos x="18" y="24"/>
                </a:cxn>
                <a:cxn ang="0">
                  <a:pos x="16" y="24"/>
                </a:cxn>
                <a:cxn ang="0">
                  <a:pos x="14" y="24"/>
                </a:cxn>
                <a:cxn ang="0">
                  <a:pos x="10" y="24"/>
                </a:cxn>
                <a:cxn ang="0">
                  <a:pos x="10" y="22"/>
                </a:cxn>
                <a:cxn ang="0">
                  <a:pos x="14" y="18"/>
                </a:cxn>
                <a:cxn ang="0">
                  <a:pos x="18" y="18"/>
                </a:cxn>
                <a:cxn ang="0">
                  <a:pos x="20" y="18"/>
                </a:cxn>
                <a:cxn ang="0">
                  <a:pos x="22" y="16"/>
                </a:cxn>
                <a:cxn ang="0">
                  <a:pos x="24" y="16"/>
                </a:cxn>
                <a:cxn ang="0">
                  <a:pos x="22" y="14"/>
                </a:cxn>
                <a:cxn ang="0">
                  <a:pos x="18" y="14"/>
                </a:cxn>
                <a:cxn ang="0">
                  <a:pos x="16" y="16"/>
                </a:cxn>
                <a:cxn ang="0">
                  <a:pos x="16" y="14"/>
                </a:cxn>
                <a:cxn ang="0">
                  <a:pos x="8" y="6"/>
                </a:cxn>
                <a:cxn ang="0">
                  <a:pos x="10" y="0"/>
                </a:cxn>
                <a:cxn ang="0">
                  <a:pos x="18" y="0"/>
                </a:cxn>
                <a:cxn ang="0">
                  <a:pos x="20" y="0"/>
                </a:cxn>
                <a:cxn ang="0">
                  <a:pos x="22" y="0"/>
                </a:cxn>
              </a:cxnLst>
              <a:rect l="0" t="0" r="r" b="b"/>
              <a:pathLst>
                <a:path w="40" h="34">
                  <a:moveTo>
                    <a:pt x="22" y="0"/>
                  </a:moveTo>
                  <a:lnTo>
                    <a:pt x="24" y="0"/>
                  </a:lnTo>
                  <a:lnTo>
                    <a:pt x="24" y="2"/>
                  </a:lnTo>
                  <a:lnTo>
                    <a:pt x="24" y="4"/>
                  </a:lnTo>
                  <a:lnTo>
                    <a:pt x="26" y="8"/>
                  </a:lnTo>
                  <a:lnTo>
                    <a:pt x="26" y="10"/>
                  </a:lnTo>
                  <a:lnTo>
                    <a:pt x="30" y="14"/>
                  </a:lnTo>
                  <a:lnTo>
                    <a:pt x="34" y="16"/>
                  </a:lnTo>
                  <a:lnTo>
                    <a:pt x="36" y="20"/>
                  </a:lnTo>
                  <a:lnTo>
                    <a:pt x="40" y="24"/>
                  </a:lnTo>
                  <a:lnTo>
                    <a:pt x="36" y="28"/>
                  </a:lnTo>
                  <a:lnTo>
                    <a:pt x="34" y="32"/>
                  </a:lnTo>
                  <a:lnTo>
                    <a:pt x="28" y="32"/>
                  </a:lnTo>
                  <a:lnTo>
                    <a:pt x="26" y="34"/>
                  </a:lnTo>
                  <a:lnTo>
                    <a:pt x="24" y="32"/>
                  </a:lnTo>
                  <a:lnTo>
                    <a:pt x="26" y="32"/>
                  </a:lnTo>
                  <a:lnTo>
                    <a:pt x="26" y="30"/>
                  </a:lnTo>
                  <a:lnTo>
                    <a:pt x="24" y="28"/>
                  </a:lnTo>
                  <a:lnTo>
                    <a:pt x="18" y="30"/>
                  </a:lnTo>
                  <a:lnTo>
                    <a:pt x="18" y="32"/>
                  </a:lnTo>
                  <a:lnTo>
                    <a:pt x="4" y="32"/>
                  </a:lnTo>
                  <a:lnTo>
                    <a:pt x="2" y="30"/>
                  </a:lnTo>
                  <a:lnTo>
                    <a:pt x="0" y="30"/>
                  </a:lnTo>
                  <a:lnTo>
                    <a:pt x="0" y="28"/>
                  </a:lnTo>
                  <a:lnTo>
                    <a:pt x="0" y="26"/>
                  </a:lnTo>
                  <a:lnTo>
                    <a:pt x="0" y="24"/>
                  </a:lnTo>
                  <a:lnTo>
                    <a:pt x="2" y="24"/>
                  </a:lnTo>
                  <a:lnTo>
                    <a:pt x="4" y="24"/>
                  </a:lnTo>
                  <a:lnTo>
                    <a:pt x="6" y="26"/>
                  </a:lnTo>
                  <a:lnTo>
                    <a:pt x="6" y="28"/>
                  </a:lnTo>
                  <a:lnTo>
                    <a:pt x="16" y="26"/>
                  </a:lnTo>
                  <a:lnTo>
                    <a:pt x="18" y="26"/>
                  </a:lnTo>
                  <a:lnTo>
                    <a:pt x="18" y="24"/>
                  </a:lnTo>
                  <a:lnTo>
                    <a:pt x="16" y="24"/>
                  </a:lnTo>
                  <a:lnTo>
                    <a:pt x="14" y="24"/>
                  </a:lnTo>
                  <a:lnTo>
                    <a:pt x="10" y="24"/>
                  </a:lnTo>
                  <a:lnTo>
                    <a:pt x="10" y="22"/>
                  </a:lnTo>
                  <a:lnTo>
                    <a:pt x="14" y="18"/>
                  </a:lnTo>
                  <a:lnTo>
                    <a:pt x="18" y="18"/>
                  </a:lnTo>
                  <a:lnTo>
                    <a:pt x="20" y="18"/>
                  </a:lnTo>
                  <a:lnTo>
                    <a:pt x="22" y="16"/>
                  </a:lnTo>
                  <a:lnTo>
                    <a:pt x="24" y="16"/>
                  </a:lnTo>
                  <a:lnTo>
                    <a:pt x="22" y="14"/>
                  </a:lnTo>
                  <a:lnTo>
                    <a:pt x="18" y="14"/>
                  </a:lnTo>
                  <a:lnTo>
                    <a:pt x="16" y="16"/>
                  </a:lnTo>
                  <a:lnTo>
                    <a:pt x="16" y="14"/>
                  </a:lnTo>
                  <a:lnTo>
                    <a:pt x="8" y="6"/>
                  </a:lnTo>
                  <a:lnTo>
                    <a:pt x="10" y="0"/>
                  </a:lnTo>
                  <a:lnTo>
                    <a:pt x="18" y="0"/>
                  </a:lnTo>
                  <a:lnTo>
                    <a:pt x="20" y="0"/>
                  </a:lnTo>
                  <a:lnTo>
                    <a:pt x="2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1" name="Freeform 2597"/>
            <p:cNvSpPr>
              <a:spLocks/>
            </p:cNvSpPr>
            <p:nvPr/>
          </p:nvSpPr>
          <p:spPr bwMode="auto">
            <a:xfrm>
              <a:off x="1532" y="1504"/>
              <a:ext cx="14" cy="8"/>
            </a:xfrm>
            <a:custGeom>
              <a:avLst/>
              <a:gdLst/>
              <a:ahLst/>
              <a:cxnLst>
                <a:cxn ang="0">
                  <a:pos x="4" y="8"/>
                </a:cxn>
                <a:cxn ang="0">
                  <a:pos x="2" y="6"/>
                </a:cxn>
                <a:cxn ang="0">
                  <a:pos x="0" y="4"/>
                </a:cxn>
                <a:cxn ang="0">
                  <a:pos x="0" y="0"/>
                </a:cxn>
                <a:cxn ang="0">
                  <a:pos x="2" y="0"/>
                </a:cxn>
                <a:cxn ang="0">
                  <a:pos x="14" y="0"/>
                </a:cxn>
                <a:cxn ang="0">
                  <a:pos x="14" y="2"/>
                </a:cxn>
                <a:cxn ang="0">
                  <a:pos x="12" y="2"/>
                </a:cxn>
                <a:cxn ang="0">
                  <a:pos x="10" y="2"/>
                </a:cxn>
                <a:cxn ang="0">
                  <a:pos x="6" y="4"/>
                </a:cxn>
                <a:cxn ang="0">
                  <a:pos x="4" y="8"/>
                </a:cxn>
              </a:cxnLst>
              <a:rect l="0" t="0" r="r" b="b"/>
              <a:pathLst>
                <a:path w="14" h="8">
                  <a:moveTo>
                    <a:pt x="4" y="8"/>
                  </a:moveTo>
                  <a:lnTo>
                    <a:pt x="2" y="6"/>
                  </a:lnTo>
                  <a:lnTo>
                    <a:pt x="0" y="4"/>
                  </a:lnTo>
                  <a:lnTo>
                    <a:pt x="0" y="0"/>
                  </a:lnTo>
                  <a:lnTo>
                    <a:pt x="2" y="0"/>
                  </a:lnTo>
                  <a:lnTo>
                    <a:pt x="14" y="0"/>
                  </a:lnTo>
                  <a:lnTo>
                    <a:pt x="14" y="2"/>
                  </a:lnTo>
                  <a:lnTo>
                    <a:pt x="12" y="2"/>
                  </a:lnTo>
                  <a:lnTo>
                    <a:pt x="10" y="2"/>
                  </a:lnTo>
                  <a:lnTo>
                    <a:pt x="6" y="4"/>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2" name="Freeform 2598"/>
            <p:cNvSpPr>
              <a:spLocks/>
            </p:cNvSpPr>
            <p:nvPr/>
          </p:nvSpPr>
          <p:spPr bwMode="auto">
            <a:xfrm>
              <a:off x="1560" y="1554"/>
              <a:ext cx="26" cy="28"/>
            </a:xfrm>
            <a:custGeom>
              <a:avLst/>
              <a:gdLst/>
              <a:ahLst/>
              <a:cxnLst>
                <a:cxn ang="0">
                  <a:pos x="4" y="28"/>
                </a:cxn>
                <a:cxn ang="0">
                  <a:pos x="0" y="28"/>
                </a:cxn>
                <a:cxn ang="0">
                  <a:pos x="0" y="26"/>
                </a:cxn>
                <a:cxn ang="0">
                  <a:pos x="0" y="24"/>
                </a:cxn>
                <a:cxn ang="0">
                  <a:pos x="0" y="18"/>
                </a:cxn>
                <a:cxn ang="0">
                  <a:pos x="0" y="16"/>
                </a:cxn>
                <a:cxn ang="0">
                  <a:pos x="10" y="8"/>
                </a:cxn>
                <a:cxn ang="0">
                  <a:pos x="14" y="4"/>
                </a:cxn>
                <a:cxn ang="0">
                  <a:pos x="20" y="2"/>
                </a:cxn>
                <a:cxn ang="0">
                  <a:pos x="24" y="0"/>
                </a:cxn>
                <a:cxn ang="0">
                  <a:pos x="26" y="0"/>
                </a:cxn>
                <a:cxn ang="0">
                  <a:pos x="26" y="2"/>
                </a:cxn>
                <a:cxn ang="0">
                  <a:pos x="26" y="4"/>
                </a:cxn>
                <a:cxn ang="0">
                  <a:pos x="24" y="4"/>
                </a:cxn>
                <a:cxn ang="0">
                  <a:pos x="24" y="6"/>
                </a:cxn>
                <a:cxn ang="0">
                  <a:pos x="22" y="8"/>
                </a:cxn>
                <a:cxn ang="0">
                  <a:pos x="14" y="16"/>
                </a:cxn>
                <a:cxn ang="0">
                  <a:pos x="8" y="20"/>
                </a:cxn>
                <a:cxn ang="0">
                  <a:pos x="6" y="24"/>
                </a:cxn>
                <a:cxn ang="0">
                  <a:pos x="4" y="28"/>
                </a:cxn>
              </a:cxnLst>
              <a:rect l="0" t="0" r="r" b="b"/>
              <a:pathLst>
                <a:path w="26" h="28">
                  <a:moveTo>
                    <a:pt x="4" y="28"/>
                  </a:moveTo>
                  <a:lnTo>
                    <a:pt x="0" y="28"/>
                  </a:lnTo>
                  <a:lnTo>
                    <a:pt x="0" y="26"/>
                  </a:lnTo>
                  <a:lnTo>
                    <a:pt x="0" y="24"/>
                  </a:lnTo>
                  <a:lnTo>
                    <a:pt x="0" y="18"/>
                  </a:lnTo>
                  <a:lnTo>
                    <a:pt x="0" y="16"/>
                  </a:lnTo>
                  <a:lnTo>
                    <a:pt x="10" y="8"/>
                  </a:lnTo>
                  <a:lnTo>
                    <a:pt x="14" y="4"/>
                  </a:lnTo>
                  <a:lnTo>
                    <a:pt x="20" y="2"/>
                  </a:lnTo>
                  <a:lnTo>
                    <a:pt x="24" y="0"/>
                  </a:lnTo>
                  <a:lnTo>
                    <a:pt x="26" y="0"/>
                  </a:lnTo>
                  <a:lnTo>
                    <a:pt x="26" y="2"/>
                  </a:lnTo>
                  <a:lnTo>
                    <a:pt x="26" y="4"/>
                  </a:lnTo>
                  <a:lnTo>
                    <a:pt x="24" y="4"/>
                  </a:lnTo>
                  <a:lnTo>
                    <a:pt x="24" y="6"/>
                  </a:lnTo>
                  <a:lnTo>
                    <a:pt x="22" y="8"/>
                  </a:lnTo>
                  <a:lnTo>
                    <a:pt x="14" y="16"/>
                  </a:lnTo>
                  <a:lnTo>
                    <a:pt x="8" y="20"/>
                  </a:lnTo>
                  <a:lnTo>
                    <a:pt x="6" y="24"/>
                  </a:lnTo>
                  <a:lnTo>
                    <a:pt x="4"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3" name="Freeform 2599"/>
            <p:cNvSpPr>
              <a:spLocks/>
            </p:cNvSpPr>
            <p:nvPr/>
          </p:nvSpPr>
          <p:spPr bwMode="auto">
            <a:xfrm>
              <a:off x="1534" y="1566"/>
              <a:ext cx="26" cy="30"/>
            </a:xfrm>
            <a:custGeom>
              <a:avLst/>
              <a:gdLst/>
              <a:ahLst/>
              <a:cxnLst>
                <a:cxn ang="0">
                  <a:pos x="8" y="30"/>
                </a:cxn>
                <a:cxn ang="0">
                  <a:pos x="6" y="28"/>
                </a:cxn>
                <a:cxn ang="0">
                  <a:pos x="8" y="26"/>
                </a:cxn>
                <a:cxn ang="0">
                  <a:pos x="12" y="18"/>
                </a:cxn>
                <a:cxn ang="0">
                  <a:pos x="14" y="14"/>
                </a:cxn>
                <a:cxn ang="0">
                  <a:pos x="14" y="12"/>
                </a:cxn>
                <a:cxn ang="0">
                  <a:pos x="12" y="12"/>
                </a:cxn>
                <a:cxn ang="0">
                  <a:pos x="10" y="12"/>
                </a:cxn>
                <a:cxn ang="0">
                  <a:pos x="10" y="14"/>
                </a:cxn>
                <a:cxn ang="0">
                  <a:pos x="8" y="14"/>
                </a:cxn>
                <a:cxn ang="0">
                  <a:pos x="8" y="16"/>
                </a:cxn>
                <a:cxn ang="0">
                  <a:pos x="6" y="16"/>
                </a:cxn>
                <a:cxn ang="0">
                  <a:pos x="2" y="18"/>
                </a:cxn>
                <a:cxn ang="0">
                  <a:pos x="2" y="20"/>
                </a:cxn>
                <a:cxn ang="0">
                  <a:pos x="0" y="20"/>
                </a:cxn>
                <a:cxn ang="0">
                  <a:pos x="0" y="18"/>
                </a:cxn>
                <a:cxn ang="0">
                  <a:pos x="2" y="14"/>
                </a:cxn>
                <a:cxn ang="0">
                  <a:pos x="8" y="4"/>
                </a:cxn>
                <a:cxn ang="0">
                  <a:pos x="12" y="4"/>
                </a:cxn>
                <a:cxn ang="0">
                  <a:pos x="14" y="4"/>
                </a:cxn>
                <a:cxn ang="0">
                  <a:pos x="22" y="2"/>
                </a:cxn>
                <a:cxn ang="0">
                  <a:pos x="24" y="0"/>
                </a:cxn>
                <a:cxn ang="0">
                  <a:pos x="26" y="0"/>
                </a:cxn>
                <a:cxn ang="0">
                  <a:pos x="26" y="2"/>
                </a:cxn>
                <a:cxn ang="0">
                  <a:pos x="24" y="4"/>
                </a:cxn>
                <a:cxn ang="0">
                  <a:pos x="24" y="6"/>
                </a:cxn>
                <a:cxn ang="0">
                  <a:pos x="24" y="12"/>
                </a:cxn>
                <a:cxn ang="0">
                  <a:pos x="24" y="14"/>
                </a:cxn>
                <a:cxn ang="0">
                  <a:pos x="24" y="16"/>
                </a:cxn>
                <a:cxn ang="0">
                  <a:pos x="24" y="20"/>
                </a:cxn>
                <a:cxn ang="0">
                  <a:pos x="24" y="24"/>
                </a:cxn>
                <a:cxn ang="0">
                  <a:pos x="22" y="26"/>
                </a:cxn>
                <a:cxn ang="0">
                  <a:pos x="20" y="26"/>
                </a:cxn>
                <a:cxn ang="0">
                  <a:pos x="12" y="30"/>
                </a:cxn>
                <a:cxn ang="0">
                  <a:pos x="8" y="30"/>
                </a:cxn>
              </a:cxnLst>
              <a:rect l="0" t="0" r="r" b="b"/>
              <a:pathLst>
                <a:path w="26" h="30">
                  <a:moveTo>
                    <a:pt x="8" y="30"/>
                  </a:moveTo>
                  <a:lnTo>
                    <a:pt x="6" y="28"/>
                  </a:lnTo>
                  <a:lnTo>
                    <a:pt x="8" y="26"/>
                  </a:lnTo>
                  <a:lnTo>
                    <a:pt x="12" y="18"/>
                  </a:lnTo>
                  <a:lnTo>
                    <a:pt x="14" y="14"/>
                  </a:lnTo>
                  <a:lnTo>
                    <a:pt x="14" y="12"/>
                  </a:lnTo>
                  <a:lnTo>
                    <a:pt x="12" y="12"/>
                  </a:lnTo>
                  <a:lnTo>
                    <a:pt x="10" y="12"/>
                  </a:lnTo>
                  <a:lnTo>
                    <a:pt x="10" y="14"/>
                  </a:lnTo>
                  <a:lnTo>
                    <a:pt x="8" y="14"/>
                  </a:lnTo>
                  <a:lnTo>
                    <a:pt x="8" y="16"/>
                  </a:lnTo>
                  <a:lnTo>
                    <a:pt x="6" y="16"/>
                  </a:lnTo>
                  <a:lnTo>
                    <a:pt x="2" y="18"/>
                  </a:lnTo>
                  <a:lnTo>
                    <a:pt x="2" y="20"/>
                  </a:lnTo>
                  <a:lnTo>
                    <a:pt x="0" y="20"/>
                  </a:lnTo>
                  <a:lnTo>
                    <a:pt x="0" y="18"/>
                  </a:lnTo>
                  <a:lnTo>
                    <a:pt x="2" y="14"/>
                  </a:lnTo>
                  <a:lnTo>
                    <a:pt x="8" y="4"/>
                  </a:lnTo>
                  <a:lnTo>
                    <a:pt x="12" y="4"/>
                  </a:lnTo>
                  <a:lnTo>
                    <a:pt x="14" y="4"/>
                  </a:lnTo>
                  <a:lnTo>
                    <a:pt x="22" y="2"/>
                  </a:lnTo>
                  <a:lnTo>
                    <a:pt x="24" y="0"/>
                  </a:lnTo>
                  <a:lnTo>
                    <a:pt x="26" y="0"/>
                  </a:lnTo>
                  <a:lnTo>
                    <a:pt x="26" y="2"/>
                  </a:lnTo>
                  <a:lnTo>
                    <a:pt x="24" y="4"/>
                  </a:lnTo>
                  <a:lnTo>
                    <a:pt x="24" y="6"/>
                  </a:lnTo>
                  <a:lnTo>
                    <a:pt x="24" y="12"/>
                  </a:lnTo>
                  <a:lnTo>
                    <a:pt x="24" y="14"/>
                  </a:lnTo>
                  <a:lnTo>
                    <a:pt x="24" y="16"/>
                  </a:lnTo>
                  <a:lnTo>
                    <a:pt x="24" y="20"/>
                  </a:lnTo>
                  <a:lnTo>
                    <a:pt x="24" y="24"/>
                  </a:lnTo>
                  <a:lnTo>
                    <a:pt x="22" y="26"/>
                  </a:lnTo>
                  <a:lnTo>
                    <a:pt x="20" y="26"/>
                  </a:lnTo>
                  <a:lnTo>
                    <a:pt x="12" y="30"/>
                  </a:lnTo>
                  <a:lnTo>
                    <a:pt x="8" y="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4" name="Freeform 2600"/>
            <p:cNvSpPr>
              <a:spLocks/>
            </p:cNvSpPr>
            <p:nvPr/>
          </p:nvSpPr>
          <p:spPr bwMode="auto">
            <a:xfrm>
              <a:off x="1604" y="1582"/>
              <a:ext cx="8" cy="20"/>
            </a:xfrm>
            <a:custGeom>
              <a:avLst/>
              <a:gdLst/>
              <a:ahLst/>
              <a:cxnLst>
                <a:cxn ang="0">
                  <a:pos x="6" y="20"/>
                </a:cxn>
                <a:cxn ang="0">
                  <a:pos x="4" y="18"/>
                </a:cxn>
                <a:cxn ang="0">
                  <a:pos x="2" y="12"/>
                </a:cxn>
                <a:cxn ang="0">
                  <a:pos x="0" y="4"/>
                </a:cxn>
                <a:cxn ang="0">
                  <a:pos x="0" y="0"/>
                </a:cxn>
                <a:cxn ang="0">
                  <a:pos x="2" y="0"/>
                </a:cxn>
                <a:cxn ang="0">
                  <a:pos x="4" y="0"/>
                </a:cxn>
                <a:cxn ang="0">
                  <a:pos x="6" y="4"/>
                </a:cxn>
                <a:cxn ang="0">
                  <a:pos x="8" y="8"/>
                </a:cxn>
                <a:cxn ang="0">
                  <a:pos x="8" y="14"/>
                </a:cxn>
                <a:cxn ang="0">
                  <a:pos x="8" y="16"/>
                </a:cxn>
                <a:cxn ang="0">
                  <a:pos x="6" y="18"/>
                </a:cxn>
                <a:cxn ang="0">
                  <a:pos x="6" y="20"/>
                </a:cxn>
              </a:cxnLst>
              <a:rect l="0" t="0" r="r" b="b"/>
              <a:pathLst>
                <a:path w="8" h="20">
                  <a:moveTo>
                    <a:pt x="6" y="20"/>
                  </a:moveTo>
                  <a:lnTo>
                    <a:pt x="4" y="18"/>
                  </a:lnTo>
                  <a:lnTo>
                    <a:pt x="2" y="12"/>
                  </a:lnTo>
                  <a:lnTo>
                    <a:pt x="0" y="4"/>
                  </a:lnTo>
                  <a:lnTo>
                    <a:pt x="0" y="0"/>
                  </a:lnTo>
                  <a:lnTo>
                    <a:pt x="2" y="0"/>
                  </a:lnTo>
                  <a:lnTo>
                    <a:pt x="4" y="0"/>
                  </a:lnTo>
                  <a:lnTo>
                    <a:pt x="6" y="4"/>
                  </a:lnTo>
                  <a:lnTo>
                    <a:pt x="8" y="8"/>
                  </a:lnTo>
                  <a:lnTo>
                    <a:pt x="8" y="14"/>
                  </a:lnTo>
                  <a:lnTo>
                    <a:pt x="8" y="16"/>
                  </a:lnTo>
                  <a:lnTo>
                    <a:pt x="6" y="18"/>
                  </a:lnTo>
                  <a:lnTo>
                    <a:pt x="6"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5" name="Freeform 2601"/>
            <p:cNvSpPr>
              <a:spLocks/>
            </p:cNvSpPr>
            <p:nvPr/>
          </p:nvSpPr>
          <p:spPr bwMode="auto">
            <a:xfrm>
              <a:off x="1586" y="1598"/>
              <a:ext cx="16" cy="28"/>
            </a:xfrm>
            <a:custGeom>
              <a:avLst/>
              <a:gdLst/>
              <a:ahLst/>
              <a:cxnLst>
                <a:cxn ang="0">
                  <a:pos x="8" y="28"/>
                </a:cxn>
                <a:cxn ang="0">
                  <a:pos x="6" y="26"/>
                </a:cxn>
                <a:cxn ang="0">
                  <a:pos x="4" y="24"/>
                </a:cxn>
                <a:cxn ang="0">
                  <a:pos x="0" y="20"/>
                </a:cxn>
                <a:cxn ang="0">
                  <a:pos x="0" y="18"/>
                </a:cxn>
                <a:cxn ang="0">
                  <a:pos x="2" y="8"/>
                </a:cxn>
                <a:cxn ang="0">
                  <a:pos x="2" y="6"/>
                </a:cxn>
                <a:cxn ang="0">
                  <a:pos x="4" y="2"/>
                </a:cxn>
                <a:cxn ang="0">
                  <a:pos x="8" y="0"/>
                </a:cxn>
                <a:cxn ang="0">
                  <a:pos x="10" y="0"/>
                </a:cxn>
                <a:cxn ang="0">
                  <a:pos x="12" y="0"/>
                </a:cxn>
                <a:cxn ang="0">
                  <a:pos x="12" y="2"/>
                </a:cxn>
                <a:cxn ang="0">
                  <a:pos x="14" y="2"/>
                </a:cxn>
                <a:cxn ang="0">
                  <a:pos x="14" y="4"/>
                </a:cxn>
                <a:cxn ang="0">
                  <a:pos x="16" y="4"/>
                </a:cxn>
                <a:cxn ang="0">
                  <a:pos x="16" y="6"/>
                </a:cxn>
                <a:cxn ang="0">
                  <a:pos x="16" y="16"/>
                </a:cxn>
                <a:cxn ang="0">
                  <a:pos x="14" y="26"/>
                </a:cxn>
                <a:cxn ang="0">
                  <a:pos x="12" y="28"/>
                </a:cxn>
                <a:cxn ang="0">
                  <a:pos x="8" y="28"/>
                </a:cxn>
              </a:cxnLst>
              <a:rect l="0" t="0" r="r" b="b"/>
              <a:pathLst>
                <a:path w="16" h="28">
                  <a:moveTo>
                    <a:pt x="8" y="28"/>
                  </a:moveTo>
                  <a:lnTo>
                    <a:pt x="6" y="26"/>
                  </a:lnTo>
                  <a:lnTo>
                    <a:pt x="4" y="24"/>
                  </a:lnTo>
                  <a:lnTo>
                    <a:pt x="0" y="20"/>
                  </a:lnTo>
                  <a:lnTo>
                    <a:pt x="0" y="18"/>
                  </a:lnTo>
                  <a:lnTo>
                    <a:pt x="2" y="8"/>
                  </a:lnTo>
                  <a:lnTo>
                    <a:pt x="2" y="6"/>
                  </a:lnTo>
                  <a:lnTo>
                    <a:pt x="4" y="2"/>
                  </a:lnTo>
                  <a:lnTo>
                    <a:pt x="8" y="0"/>
                  </a:lnTo>
                  <a:lnTo>
                    <a:pt x="10" y="0"/>
                  </a:lnTo>
                  <a:lnTo>
                    <a:pt x="12" y="0"/>
                  </a:lnTo>
                  <a:lnTo>
                    <a:pt x="12" y="2"/>
                  </a:lnTo>
                  <a:lnTo>
                    <a:pt x="14" y="2"/>
                  </a:lnTo>
                  <a:lnTo>
                    <a:pt x="14" y="4"/>
                  </a:lnTo>
                  <a:lnTo>
                    <a:pt x="16" y="4"/>
                  </a:lnTo>
                  <a:lnTo>
                    <a:pt x="16" y="6"/>
                  </a:lnTo>
                  <a:lnTo>
                    <a:pt x="16" y="16"/>
                  </a:lnTo>
                  <a:lnTo>
                    <a:pt x="14" y="26"/>
                  </a:lnTo>
                  <a:lnTo>
                    <a:pt x="12" y="28"/>
                  </a:lnTo>
                  <a:lnTo>
                    <a:pt x="8"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6" name="Freeform 2602"/>
            <p:cNvSpPr>
              <a:spLocks/>
            </p:cNvSpPr>
            <p:nvPr/>
          </p:nvSpPr>
          <p:spPr bwMode="auto">
            <a:xfrm>
              <a:off x="1416" y="1624"/>
              <a:ext cx="140" cy="114"/>
            </a:xfrm>
            <a:custGeom>
              <a:avLst/>
              <a:gdLst/>
              <a:ahLst/>
              <a:cxnLst>
                <a:cxn ang="0">
                  <a:pos x="12" y="40"/>
                </a:cxn>
                <a:cxn ang="0">
                  <a:pos x="24" y="34"/>
                </a:cxn>
                <a:cxn ang="0">
                  <a:pos x="18" y="24"/>
                </a:cxn>
                <a:cxn ang="0">
                  <a:pos x="30" y="28"/>
                </a:cxn>
                <a:cxn ang="0">
                  <a:pos x="48" y="18"/>
                </a:cxn>
                <a:cxn ang="0">
                  <a:pos x="58" y="4"/>
                </a:cxn>
                <a:cxn ang="0">
                  <a:pos x="70" y="8"/>
                </a:cxn>
                <a:cxn ang="0">
                  <a:pos x="76" y="6"/>
                </a:cxn>
                <a:cxn ang="0">
                  <a:pos x="84" y="0"/>
                </a:cxn>
                <a:cxn ang="0">
                  <a:pos x="100" y="0"/>
                </a:cxn>
                <a:cxn ang="0">
                  <a:pos x="114" y="2"/>
                </a:cxn>
                <a:cxn ang="0">
                  <a:pos x="124" y="6"/>
                </a:cxn>
                <a:cxn ang="0">
                  <a:pos x="128" y="14"/>
                </a:cxn>
                <a:cxn ang="0">
                  <a:pos x="124" y="22"/>
                </a:cxn>
                <a:cxn ang="0">
                  <a:pos x="134" y="44"/>
                </a:cxn>
                <a:cxn ang="0">
                  <a:pos x="134" y="54"/>
                </a:cxn>
                <a:cxn ang="0">
                  <a:pos x="128" y="56"/>
                </a:cxn>
                <a:cxn ang="0">
                  <a:pos x="124" y="58"/>
                </a:cxn>
                <a:cxn ang="0">
                  <a:pos x="120" y="64"/>
                </a:cxn>
                <a:cxn ang="0">
                  <a:pos x="126" y="60"/>
                </a:cxn>
                <a:cxn ang="0">
                  <a:pos x="138" y="62"/>
                </a:cxn>
                <a:cxn ang="0">
                  <a:pos x="140" y="76"/>
                </a:cxn>
                <a:cxn ang="0">
                  <a:pos x="136" y="90"/>
                </a:cxn>
                <a:cxn ang="0">
                  <a:pos x="132" y="88"/>
                </a:cxn>
                <a:cxn ang="0">
                  <a:pos x="134" y="82"/>
                </a:cxn>
                <a:cxn ang="0">
                  <a:pos x="134" y="76"/>
                </a:cxn>
                <a:cxn ang="0">
                  <a:pos x="130" y="70"/>
                </a:cxn>
                <a:cxn ang="0">
                  <a:pos x="130" y="78"/>
                </a:cxn>
                <a:cxn ang="0">
                  <a:pos x="128" y="98"/>
                </a:cxn>
                <a:cxn ang="0">
                  <a:pos x="122" y="102"/>
                </a:cxn>
                <a:cxn ang="0">
                  <a:pos x="120" y="98"/>
                </a:cxn>
                <a:cxn ang="0">
                  <a:pos x="112" y="98"/>
                </a:cxn>
                <a:cxn ang="0">
                  <a:pos x="110" y="104"/>
                </a:cxn>
                <a:cxn ang="0">
                  <a:pos x="102" y="112"/>
                </a:cxn>
                <a:cxn ang="0">
                  <a:pos x="94" y="112"/>
                </a:cxn>
                <a:cxn ang="0">
                  <a:pos x="88" y="104"/>
                </a:cxn>
                <a:cxn ang="0">
                  <a:pos x="82" y="102"/>
                </a:cxn>
                <a:cxn ang="0">
                  <a:pos x="68" y="104"/>
                </a:cxn>
                <a:cxn ang="0">
                  <a:pos x="66" y="90"/>
                </a:cxn>
                <a:cxn ang="0">
                  <a:pos x="62" y="70"/>
                </a:cxn>
                <a:cxn ang="0">
                  <a:pos x="56" y="64"/>
                </a:cxn>
                <a:cxn ang="0">
                  <a:pos x="46" y="72"/>
                </a:cxn>
                <a:cxn ang="0">
                  <a:pos x="36" y="86"/>
                </a:cxn>
                <a:cxn ang="0">
                  <a:pos x="20" y="80"/>
                </a:cxn>
                <a:cxn ang="0">
                  <a:pos x="16" y="72"/>
                </a:cxn>
                <a:cxn ang="0">
                  <a:pos x="8" y="70"/>
                </a:cxn>
                <a:cxn ang="0">
                  <a:pos x="10" y="62"/>
                </a:cxn>
                <a:cxn ang="0">
                  <a:pos x="4" y="54"/>
                </a:cxn>
                <a:cxn ang="0">
                  <a:pos x="0" y="44"/>
                </a:cxn>
              </a:cxnLst>
              <a:rect l="0" t="0" r="r" b="b"/>
              <a:pathLst>
                <a:path w="140" h="114">
                  <a:moveTo>
                    <a:pt x="0" y="42"/>
                  </a:moveTo>
                  <a:lnTo>
                    <a:pt x="8" y="40"/>
                  </a:lnTo>
                  <a:lnTo>
                    <a:pt x="12" y="40"/>
                  </a:lnTo>
                  <a:lnTo>
                    <a:pt x="20" y="40"/>
                  </a:lnTo>
                  <a:lnTo>
                    <a:pt x="26" y="38"/>
                  </a:lnTo>
                  <a:lnTo>
                    <a:pt x="24" y="34"/>
                  </a:lnTo>
                  <a:lnTo>
                    <a:pt x="20" y="32"/>
                  </a:lnTo>
                  <a:lnTo>
                    <a:pt x="18" y="28"/>
                  </a:lnTo>
                  <a:lnTo>
                    <a:pt x="18" y="24"/>
                  </a:lnTo>
                  <a:lnTo>
                    <a:pt x="24" y="24"/>
                  </a:lnTo>
                  <a:lnTo>
                    <a:pt x="26" y="24"/>
                  </a:lnTo>
                  <a:lnTo>
                    <a:pt x="30" y="28"/>
                  </a:lnTo>
                  <a:lnTo>
                    <a:pt x="40" y="26"/>
                  </a:lnTo>
                  <a:lnTo>
                    <a:pt x="46" y="20"/>
                  </a:lnTo>
                  <a:lnTo>
                    <a:pt x="48" y="18"/>
                  </a:lnTo>
                  <a:lnTo>
                    <a:pt x="48" y="16"/>
                  </a:lnTo>
                  <a:lnTo>
                    <a:pt x="52" y="12"/>
                  </a:lnTo>
                  <a:lnTo>
                    <a:pt x="58" y="4"/>
                  </a:lnTo>
                  <a:lnTo>
                    <a:pt x="64" y="2"/>
                  </a:lnTo>
                  <a:lnTo>
                    <a:pt x="62" y="4"/>
                  </a:lnTo>
                  <a:lnTo>
                    <a:pt x="70" y="8"/>
                  </a:lnTo>
                  <a:lnTo>
                    <a:pt x="72" y="8"/>
                  </a:lnTo>
                  <a:lnTo>
                    <a:pt x="74" y="8"/>
                  </a:lnTo>
                  <a:lnTo>
                    <a:pt x="76" y="6"/>
                  </a:lnTo>
                  <a:lnTo>
                    <a:pt x="78" y="2"/>
                  </a:lnTo>
                  <a:lnTo>
                    <a:pt x="80" y="0"/>
                  </a:lnTo>
                  <a:lnTo>
                    <a:pt x="84" y="0"/>
                  </a:lnTo>
                  <a:lnTo>
                    <a:pt x="88" y="0"/>
                  </a:lnTo>
                  <a:lnTo>
                    <a:pt x="92" y="0"/>
                  </a:lnTo>
                  <a:lnTo>
                    <a:pt x="100" y="0"/>
                  </a:lnTo>
                  <a:lnTo>
                    <a:pt x="106" y="0"/>
                  </a:lnTo>
                  <a:lnTo>
                    <a:pt x="112" y="0"/>
                  </a:lnTo>
                  <a:lnTo>
                    <a:pt x="114" y="2"/>
                  </a:lnTo>
                  <a:lnTo>
                    <a:pt x="118" y="6"/>
                  </a:lnTo>
                  <a:lnTo>
                    <a:pt x="122" y="6"/>
                  </a:lnTo>
                  <a:lnTo>
                    <a:pt x="124" y="6"/>
                  </a:lnTo>
                  <a:lnTo>
                    <a:pt x="126" y="8"/>
                  </a:lnTo>
                  <a:lnTo>
                    <a:pt x="128" y="10"/>
                  </a:lnTo>
                  <a:lnTo>
                    <a:pt x="128" y="14"/>
                  </a:lnTo>
                  <a:lnTo>
                    <a:pt x="126" y="18"/>
                  </a:lnTo>
                  <a:lnTo>
                    <a:pt x="124" y="20"/>
                  </a:lnTo>
                  <a:lnTo>
                    <a:pt x="124" y="22"/>
                  </a:lnTo>
                  <a:lnTo>
                    <a:pt x="130" y="40"/>
                  </a:lnTo>
                  <a:lnTo>
                    <a:pt x="132" y="44"/>
                  </a:lnTo>
                  <a:lnTo>
                    <a:pt x="134" y="44"/>
                  </a:lnTo>
                  <a:lnTo>
                    <a:pt x="136" y="48"/>
                  </a:lnTo>
                  <a:lnTo>
                    <a:pt x="134" y="52"/>
                  </a:lnTo>
                  <a:lnTo>
                    <a:pt x="134" y="54"/>
                  </a:lnTo>
                  <a:lnTo>
                    <a:pt x="132" y="56"/>
                  </a:lnTo>
                  <a:lnTo>
                    <a:pt x="130" y="56"/>
                  </a:lnTo>
                  <a:lnTo>
                    <a:pt x="128" y="56"/>
                  </a:lnTo>
                  <a:lnTo>
                    <a:pt x="126" y="56"/>
                  </a:lnTo>
                  <a:lnTo>
                    <a:pt x="124" y="56"/>
                  </a:lnTo>
                  <a:lnTo>
                    <a:pt x="124" y="58"/>
                  </a:lnTo>
                  <a:lnTo>
                    <a:pt x="122" y="58"/>
                  </a:lnTo>
                  <a:lnTo>
                    <a:pt x="120" y="62"/>
                  </a:lnTo>
                  <a:lnTo>
                    <a:pt x="120" y="64"/>
                  </a:lnTo>
                  <a:lnTo>
                    <a:pt x="122" y="64"/>
                  </a:lnTo>
                  <a:lnTo>
                    <a:pt x="124" y="62"/>
                  </a:lnTo>
                  <a:lnTo>
                    <a:pt x="126" y="60"/>
                  </a:lnTo>
                  <a:lnTo>
                    <a:pt x="130" y="60"/>
                  </a:lnTo>
                  <a:lnTo>
                    <a:pt x="136" y="62"/>
                  </a:lnTo>
                  <a:lnTo>
                    <a:pt x="138" y="62"/>
                  </a:lnTo>
                  <a:lnTo>
                    <a:pt x="140" y="66"/>
                  </a:lnTo>
                  <a:lnTo>
                    <a:pt x="140" y="68"/>
                  </a:lnTo>
                  <a:lnTo>
                    <a:pt x="140" y="76"/>
                  </a:lnTo>
                  <a:lnTo>
                    <a:pt x="140" y="82"/>
                  </a:lnTo>
                  <a:lnTo>
                    <a:pt x="140" y="84"/>
                  </a:lnTo>
                  <a:lnTo>
                    <a:pt x="136" y="90"/>
                  </a:lnTo>
                  <a:lnTo>
                    <a:pt x="134" y="92"/>
                  </a:lnTo>
                  <a:lnTo>
                    <a:pt x="134" y="90"/>
                  </a:lnTo>
                  <a:lnTo>
                    <a:pt x="132" y="88"/>
                  </a:lnTo>
                  <a:lnTo>
                    <a:pt x="134" y="86"/>
                  </a:lnTo>
                  <a:lnTo>
                    <a:pt x="134" y="84"/>
                  </a:lnTo>
                  <a:lnTo>
                    <a:pt x="134" y="82"/>
                  </a:lnTo>
                  <a:lnTo>
                    <a:pt x="136" y="78"/>
                  </a:lnTo>
                  <a:lnTo>
                    <a:pt x="136" y="76"/>
                  </a:lnTo>
                  <a:lnTo>
                    <a:pt x="134" y="76"/>
                  </a:lnTo>
                  <a:lnTo>
                    <a:pt x="134" y="74"/>
                  </a:lnTo>
                  <a:lnTo>
                    <a:pt x="132" y="72"/>
                  </a:lnTo>
                  <a:lnTo>
                    <a:pt x="130" y="70"/>
                  </a:lnTo>
                  <a:lnTo>
                    <a:pt x="128" y="74"/>
                  </a:lnTo>
                  <a:lnTo>
                    <a:pt x="130" y="74"/>
                  </a:lnTo>
                  <a:lnTo>
                    <a:pt x="130" y="78"/>
                  </a:lnTo>
                  <a:lnTo>
                    <a:pt x="130" y="90"/>
                  </a:lnTo>
                  <a:lnTo>
                    <a:pt x="130" y="92"/>
                  </a:lnTo>
                  <a:lnTo>
                    <a:pt x="128" y="98"/>
                  </a:lnTo>
                  <a:lnTo>
                    <a:pt x="128" y="100"/>
                  </a:lnTo>
                  <a:lnTo>
                    <a:pt x="126" y="100"/>
                  </a:lnTo>
                  <a:lnTo>
                    <a:pt x="122" y="102"/>
                  </a:lnTo>
                  <a:lnTo>
                    <a:pt x="122" y="100"/>
                  </a:lnTo>
                  <a:lnTo>
                    <a:pt x="120" y="100"/>
                  </a:lnTo>
                  <a:lnTo>
                    <a:pt x="120" y="98"/>
                  </a:lnTo>
                  <a:lnTo>
                    <a:pt x="118" y="98"/>
                  </a:lnTo>
                  <a:lnTo>
                    <a:pt x="114" y="98"/>
                  </a:lnTo>
                  <a:lnTo>
                    <a:pt x="112" y="98"/>
                  </a:lnTo>
                  <a:lnTo>
                    <a:pt x="112" y="100"/>
                  </a:lnTo>
                  <a:lnTo>
                    <a:pt x="110" y="102"/>
                  </a:lnTo>
                  <a:lnTo>
                    <a:pt x="110" y="104"/>
                  </a:lnTo>
                  <a:lnTo>
                    <a:pt x="108" y="108"/>
                  </a:lnTo>
                  <a:lnTo>
                    <a:pt x="106" y="110"/>
                  </a:lnTo>
                  <a:lnTo>
                    <a:pt x="102" y="112"/>
                  </a:lnTo>
                  <a:lnTo>
                    <a:pt x="98" y="114"/>
                  </a:lnTo>
                  <a:lnTo>
                    <a:pt x="96" y="114"/>
                  </a:lnTo>
                  <a:lnTo>
                    <a:pt x="94" y="112"/>
                  </a:lnTo>
                  <a:lnTo>
                    <a:pt x="92" y="108"/>
                  </a:lnTo>
                  <a:lnTo>
                    <a:pt x="90" y="106"/>
                  </a:lnTo>
                  <a:lnTo>
                    <a:pt x="88" y="104"/>
                  </a:lnTo>
                  <a:lnTo>
                    <a:pt x="86" y="102"/>
                  </a:lnTo>
                  <a:lnTo>
                    <a:pt x="84" y="102"/>
                  </a:lnTo>
                  <a:lnTo>
                    <a:pt x="82" y="102"/>
                  </a:lnTo>
                  <a:lnTo>
                    <a:pt x="78" y="106"/>
                  </a:lnTo>
                  <a:lnTo>
                    <a:pt x="70" y="104"/>
                  </a:lnTo>
                  <a:lnTo>
                    <a:pt x="68" y="104"/>
                  </a:lnTo>
                  <a:lnTo>
                    <a:pt x="66" y="104"/>
                  </a:lnTo>
                  <a:lnTo>
                    <a:pt x="66" y="102"/>
                  </a:lnTo>
                  <a:lnTo>
                    <a:pt x="66" y="90"/>
                  </a:lnTo>
                  <a:lnTo>
                    <a:pt x="62" y="78"/>
                  </a:lnTo>
                  <a:lnTo>
                    <a:pt x="62" y="72"/>
                  </a:lnTo>
                  <a:lnTo>
                    <a:pt x="62" y="70"/>
                  </a:lnTo>
                  <a:lnTo>
                    <a:pt x="62" y="68"/>
                  </a:lnTo>
                  <a:lnTo>
                    <a:pt x="58" y="66"/>
                  </a:lnTo>
                  <a:lnTo>
                    <a:pt x="56" y="64"/>
                  </a:lnTo>
                  <a:lnTo>
                    <a:pt x="54" y="64"/>
                  </a:lnTo>
                  <a:lnTo>
                    <a:pt x="48" y="68"/>
                  </a:lnTo>
                  <a:lnTo>
                    <a:pt x="46" y="72"/>
                  </a:lnTo>
                  <a:lnTo>
                    <a:pt x="46" y="76"/>
                  </a:lnTo>
                  <a:lnTo>
                    <a:pt x="46" y="80"/>
                  </a:lnTo>
                  <a:lnTo>
                    <a:pt x="36" y="86"/>
                  </a:lnTo>
                  <a:lnTo>
                    <a:pt x="34" y="86"/>
                  </a:lnTo>
                  <a:lnTo>
                    <a:pt x="20" y="82"/>
                  </a:lnTo>
                  <a:lnTo>
                    <a:pt x="20" y="80"/>
                  </a:lnTo>
                  <a:lnTo>
                    <a:pt x="18" y="78"/>
                  </a:lnTo>
                  <a:lnTo>
                    <a:pt x="20" y="76"/>
                  </a:lnTo>
                  <a:lnTo>
                    <a:pt x="16" y="72"/>
                  </a:lnTo>
                  <a:lnTo>
                    <a:pt x="14" y="72"/>
                  </a:lnTo>
                  <a:lnTo>
                    <a:pt x="10" y="72"/>
                  </a:lnTo>
                  <a:lnTo>
                    <a:pt x="8" y="70"/>
                  </a:lnTo>
                  <a:lnTo>
                    <a:pt x="8" y="68"/>
                  </a:lnTo>
                  <a:lnTo>
                    <a:pt x="8" y="66"/>
                  </a:lnTo>
                  <a:lnTo>
                    <a:pt x="10" y="62"/>
                  </a:lnTo>
                  <a:lnTo>
                    <a:pt x="8" y="62"/>
                  </a:lnTo>
                  <a:lnTo>
                    <a:pt x="6" y="60"/>
                  </a:lnTo>
                  <a:lnTo>
                    <a:pt x="4" y="54"/>
                  </a:lnTo>
                  <a:lnTo>
                    <a:pt x="4" y="52"/>
                  </a:lnTo>
                  <a:lnTo>
                    <a:pt x="2" y="52"/>
                  </a:lnTo>
                  <a:lnTo>
                    <a:pt x="0" y="44"/>
                  </a:lnTo>
                  <a:lnTo>
                    <a:pt x="0" y="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7" name="Freeform 2603"/>
            <p:cNvSpPr>
              <a:spLocks/>
            </p:cNvSpPr>
            <p:nvPr/>
          </p:nvSpPr>
          <p:spPr bwMode="auto">
            <a:xfrm>
              <a:off x="1572" y="1814"/>
              <a:ext cx="28" cy="28"/>
            </a:xfrm>
            <a:custGeom>
              <a:avLst/>
              <a:gdLst/>
              <a:ahLst/>
              <a:cxnLst>
                <a:cxn ang="0">
                  <a:pos x="8" y="28"/>
                </a:cxn>
                <a:cxn ang="0">
                  <a:pos x="4" y="28"/>
                </a:cxn>
                <a:cxn ang="0">
                  <a:pos x="2" y="22"/>
                </a:cxn>
                <a:cxn ang="0">
                  <a:pos x="2" y="20"/>
                </a:cxn>
                <a:cxn ang="0">
                  <a:pos x="0" y="12"/>
                </a:cxn>
                <a:cxn ang="0">
                  <a:pos x="2" y="2"/>
                </a:cxn>
                <a:cxn ang="0">
                  <a:pos x="4" y="2"/>
                </a:cxn>
                <a:cxn ang="0">
                  <a:pos x="8" y="0"/>
                </a:cxn>
                <a:cxn ang="0">
                  <a:pos x="12" y="0"/>
                </a:cxn>
                <a:cxn ang="0">
                  <a:pos x="18" y="2"/>
                </a:cxn>
                <a:cxn ang="0">
                  <a:pos x="18" y="4"/>
                </a:cxn>
                <a:cxn ang="0">
                  <a:pos x="18" y="6"/>
                </a:cxn>
                <a:cxn ang="0">
                  <a:pos x="20" y="12"/>
                </a:cxn>
                <a:cxn ang="0">
                  <a:pos x="24" y="14"/>
                </a:cxn>
                <a:cxn ang="0">
                  <a:pos x="26" y="14"/>
                </a:cxn>
                <a:cxn ang="0">
                  <a:pos x="28" y="16"/>
                </a:cxn>
                <a:cxn ang="0">
                  <a:pos x="26" y="20"/>
                </a:cxn>
                <a:cxn ang="0">
                  <a:pos x="24" y="20"/>
                </a:cxn>
                <a:cxn ang="0">
                  <a:pos x="18" y="24"/>
                </a:cxn>
                <a:cxn ang="0">
                  <a:pos x="10" y="26"/>
                </a:cxn>
                <a:cxn ang="0">
                  <a:pos x="8" y="28"/>
                </a:cxn>
              </a:cxnLst>
              <a:rect l="0" t="0" r="r" b="b"/>
              <a:pathLst>
                <a:path w="28" h="28">
                  <a:moveTo>
                    <a:pt x="8" y="28"/>
                  </a:moveTo>
                  <a:lnTo>
                    <a:pt x="4" y="28"/>
                  </a:lnTo>
                  <a:lnTo>
                    <a:pt x="2" y="22"/>
                  </a:lnTo>
                  <a:lnTo>
                    <a:pt x="2" y="20"/>
                  </a:lnTo>
                  <a:lnTo>
                    <a:pt x="0" y="12"/>
                  </a:lnTo>
                  <a:lnTo>
                    <a:pt x="2" y="2"/>
                  </a:lnTo>
                  <a:lnTo>
                    <a:pt x="4" y="2"/>
                  </a:lnTo>
                  <a:lnTo>
                    <a:pt x="8" y="0"/>
                  </a:lnTo>
                  <a:lnTo>
                    <a:pt x="12" y="0"/>
                  </a:lnTo>
                  <a:lnTo>
                    <a:pt x="18" y="2"/>
                  </a:lnTo>
                  <a:lnTo>
                    <a:pt x="18" y="4"/>
                  </a:lnTo>
                  <a:lnTo>
                    <a:pt x="18" y="6"/>
                  </a:lnTo>
                  <a:lnTo>
                    <a:pt x="20" y="12"/>
                  </a:lnTo>
                  <a:lnTo>
                    <a:pt x="24" y="14"/>
                  </a:lnTo>
                  <a:lnTo>
                    <a:pt x="26" y="14"/>
                  </a:lnTo>
                  <a:lnTo>
                    <a:pt x="28" y="16"/>
                  </a:lnTo>
                  <a:lnTo>
                    <a:pt x="26" y="20"/>
                  </a:lnTo>
                  <a:lnTo>
                    <a:pt x="24" y="20"/>
                  </a:lnTo>
                  <a:lnTo>
                    <a:pt x="18" y="24"/>
                  </a:lnTo>
                  <a:lnTo>
                    <a:pt x="10" y="26"/>
                  </a:lnTo>
                  <a:lnTo>
                    <a:pt x="8"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8" name="Freeform 2604"/>
            <p:cNvSpPr>
              <a:spLocks/>
            </p:cNvSpPr>
            <p:nvPr/>
          </p:nvSpPr>
          <p:spPr bwMode="auto">
            <a:xfrm>
              <a:off x="1680" y="2094"/>
              <a:ext cx="28" cy="18"/>
            </a:xfrm>
            <a:custGeom>
              <a:avLst/>
              <a:gdLst/>
              <a:ahLst/>
              <a:cxnLst>
                <a:cxn ang="0">
                  <a:pos x="14" y="18"/>
                </a:cxn>
                <a:cxn ang="0">
                  <a:pos x="10" y="12"/>
                </a:cxn>
                <a:cxn ang="0">
                  <a:pos x="4" y="8"/>
                </a:cxn>
                <a:cxn ang="0">
                  <a:pos x="4" y="6"/>
                </a:cxn>
                <a:cxn ang="0">
                  <a:pos x="2" y="6"/>
                </a:cxn>
                <a:cxn ang="0">
                  <a:pos x="0" y="6"/>
                </a:cxn>
                <a:cxn ang="0">
                  <a:pos x="2" y="4"/>
                </a:cxn>
                <a:cxn ang="0">
                  <a:pos x="16" y="0"/>
                </a:cxn>
                <a:cxn ang="0">
                  <a:pos x="18" y="0"/>
                </a:cxn>
                <a:cxn ang="0">
                  <a:pos x="26" y="6"/>
                </a:cxn>
                <a:cxn ang="0">
                  <a:pos x="28" y="6"/>
                </a:cxn>
                <a:cxn ang="0">
                  <a:pos x="28" y="10"/>
                </a:cxn>
                <a:cxn ang="0">
                  <a:pos x="20" y="16"/>
                </a:cxn>
                <a:cxn ang="0">
                  <a:pos x="20" y="18"/>
                </a:cxn>
                <a:cxn ang="0">
                  <a:pos x="18" y="18"/>
                </a:cxn>
                <a:cxn ang="0">
                  <a:pos x="16" y="18"/>
                </a:cxn>
                <a:cxn ang="0">
                  <a:pos x="14" y="18"/>
                </a:cxn>
              </a:cxnLst>
              <a:rect l="0" t="0" r="r" b="b"/>
              <a:pathLst>
                <a:path w="28" h="18">
                  <a:moveTo>
                    <a:pt x="14" y="18"/>
                  </a:moveTo>
                  <a:lnTo>
                    <a:pt x="10" y="12"/>
                  </a:lnTo>
                  <a:lnTo>
                    <a:pt x="4" y="8"/>
                  </a:lnTo>
                  <a:lnTo>
                    <a:pt x="4" y="6"/>
                  </a:lnTo>
                  <a:lnTo>
                    <a:pt x="2" y="6"/>
                  </a:lnTo>
                  <a:lnTo>
                    <a:pt x="0" y="6"/>
                  </a:lnTo>
                  <a:lnTo>
                    <a:pt x="2" y="4"/>
                  </a:lnTo>
                  <a:lnTo>
                    <a:pt x="16" y="0"/>
                  </a:lnTo>
                  <a:lnTo>
                    <a:pt x="18" y="0"/>
                  </a:lnTo>
                  <a:lnTo>
                    <a:pt x="26" y="6"/>
                  </a:lnTo>
                  <a:lnTo>
                    <a:pt x="28" y="6"/>
                  </a:lnTo>
                  <a:lnTo>
                    <a:pt x="28" y="10"/>
                  </a:lnTo>
                  <a:lnTo>
                    <a:pt x="20" y="16"/>
                  </a:lnTo>
                  <a:lnTo>
                    <a:pt x="20" y="18"/>
                  </a:lnTo>
                  <a:lnTo>
                    <a:pt x="18" y="18"/>
                  </a:lnTo>
                  <a:lnTo>
                    <a:pt x="16" y="18"/>
                  </a:lnTo>
                  <a:lnTo>
                    <a:pt x="14"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69" name="Freeform 2622"/>
            <p:cNvSpPr>
              <a:spLocks/>
            </p:cNvSpPr>
            <p:nvPr/>
          </p:nvSpPr>
          <p:spPr bwMode="auto">
            <a:xfrm>
              <a:off x="1580" y="1726"/>
              <a:ext cx="30" cy="28"/>
            </a:xfrm>
            <a:custGeom>
              <a:avLst/>
              <a:gdLst/>
              <a:ahLst/>
              <a:cxnLst>
                <a:cxn ang="0">
                  <a:pos x="0" y="28"/>
                </a:cxn>
                <a:cxn ang="0">
                  <a:pos x="0" y="26"/>
                </a:cxn>
                <a:cxn ang="0">
                  <a:pos x="8" y="14"/>
                </a:cxn>
                <a:cxn ang="0">
                  <a:pos x="12" y="12"/>
                </a:cxn>
                <a:cxn ang="0">
                  <a:pos x="14" y="12"/>
                </a:cxn>
                <a:cxn ang="0">
                  <a:pos x="14" y="10"/>
                </a:cxn>
                <a:cxn ang="0">
                  <a:pos x="16" y="10"/>
                </a:cxn>
                <a:cxn ang="0">
                  <a:pos x="16" y="8"/>
                </a:cxn>
                <a:cxn ang="0">
                  <a:pos x="18" y="6"/>
                </a:cxn>
                <a:cxn ang="0">
                  <a:pos x="18" y="4"/>
                </a:cxn>
                <a:cxn ang="0">
                  <a:pos x="20" y="4"/>
                </a:cxn>
                <a:cxn ang="0">
                  <a:pos x="24" y="2"/>
                </a:cxn>
                <a:cxn ang="0">
                  <a:pos x="26" y="2"/>
                </a:cxn>
                <a:cxn ang="0">
                  <a:pos x="30" y="0"/>
                </a:cxn>
                <a:cxn ang="0">
                  <a:pos x="30" y="2"/>
                </a:cxn>
                <a:cxn ang="0">
                  <a:pos x="30" y="12"/>
                </a:cxn>
                <a:cxn ang="0">
                  <a:pos x="30" y="14"/>
                </a:cxn>
                <a:cxn ang="0">
                  <a:pos x="24" y="20"/>
                </a:cxn>
                <a:cxn ang="0">
                  <a:pos x="18" y="24"/>
                </a:cxn>
                <a:cxn ang="0">
                  <a:pos x="16" y="24"/>
                </a:cxn>
                <a:cxn ang="0">
                  <a:pos x="14" y="26"/>
                </a:cxn>
                <a:cxn ang="0">
                  <a:pos x="8" y="28"/>
                </a:cxn>
                <a:cxn ang="0">
                  <a:pos x="6" y="26"/>
                </a:cxn>
                <a:cxn ang="0">
                  <a:pos x="4" y="26"/>
                </a:cxn>
                <a:cxn ang="0">
                  <a:pos x="0" y="28"/>
                </a:cxn>
              </a:cxnLst>
              <a:rect l="0" t="0" r="r" b="b"/>
              <a:pathLst>
                <a:path w="30" h="28">
                  <a:moveTo>
                    <a:pt x="0" y="28"/>
                  </a:moveTo>
                  <a:lnTo>
                    <a:pt x="0" y="26"/>
                  </a:lnTo>
                  <a:lnTo>
                    <a:pt x="8" y="14"/>
                  </a:lnTo>
                  <a:lnTo>
                    <a:pt x="12" y="12"/>
                  </a:lnTo>
                  <a:lnTo>
                    <a:pt x="14" y="12"/>
                  </a:lnTo>
                  <a:lnTo>
                    <a:pt x="14" y="10"/>
                  </a:lnTo>
                  <a:lnTo>
                    <a:pt x="16" y="10"/>
                  </a:lnTo>
                  <a:lnTo>
                    <a:pt x="16" y="8"/>
                  </a:lnTo>
                  <a:lnTo>
                    <a:pt x="18" y="6"/>
                  </a:lnTo>
                  <a:lnTo>
                    <a:pt x="18" y="4"/>
                  </a:lnTo>
                  <a:lnTo>
                    <a:pt x="20" y="4"/>
                  </a:lnTo>
                  <a:lnTo>
                    <a:pt x="24" y="2"/>
                  </a:lnTo>
                  <a:lnTo>
                    <a:pt x="26" y="2"/>
                  </a:lnTo>
                  <a:lnTo>
                    <a:pt x="30" y="0"/>
                  </a:lnTo>
                  <a:lnTo>
                    <a:pt x="30" y="2"/>
                  </a:lnTo>
                  <a:lnTo>
                    <a:pt x="30" y="12"/>
                  </a:lnTo>
                  <a:lnTo>
                    <a:pt x="30" y="14"/>
                  </a:lnTo>
                  <a:lnTo>
                    <a:pt x="24" y="20"/>
                  </a:lnTo>
                  <a:lnTo>
                    <a:pt x="18" y="24"/>
                  </a:lnTo>
                  <a:lnTo>
                    <a:pt x="16" y="24"/>
                  </a:lnTo>
                  <a:lnTo>
                    <a:pt x="14" y="26"/>
                  </a:lnTo>
                  <a:lnTo>
                    <a:pt x="8" y="28"/>
                  </a:lnTo>
                  <a:lnTo>
                    <a:pt x="6" y="26"/>
                  </a:lnTo>
                  <a:lnTo>
                    <a:pt x="4" y="26"/>
                  </a:lnTo>
                  <a:lnTo>
                    <a:pt x="0"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283" name="Freeform 2623"/>
          <p:cNvSpPr>
            <a:spLocks/>
          </p:cNvSpPr>
          <p:nvPr/>
        </p:nvSpPr>
        <p:spPr bwMode="auto">
          <a:xfrm>
            <a:off x="3182883" y="3526153"/>
            <a:ext cx="425328" cy="466680"/>
          </a:xfrm>
          <a:custGeom>
            <a:avLst/>
            <a:gdLst/>
            <a:ahLst/>
            <a:cxnLst>
              <a:cxn ang="0">
                <a:pos x="110" y="160"/>
              </a:cxn>
              <a:cxn ang="0">
                <a:pos x="84" y="146"/>
              </a:cxn>
              <a:cxn ang="0">
                <a:pos x="76" y="144"/>
              </a:cxn>
              <a:cxn ang="0">
                <a:pos x="68" y="134"/>
              </a:cxn>
              <a:cxn ang="0">
                <a:pos x="90" y="120"/>
              </a:cxn>
              <a:cxn ang="0">
                <a:pos x="88" y="102"/>
              </a:cxn>
              <a:cxn ang="0">
                <a:pos x="104" y="98"/>
              </a:cxn>
              <a:cxn ang="0">
                <a:pos x="86" y="90"/>
              </a:cxn>
              <a:cxn ang="0">
                <a:pos x="92" y="70"/>
              </a:cxn>
              <a:cxn ang="0">
                <a:pos x="84" y="66"/>
              </a:cxn>
              <a:cxn ang="0">
                <a:pos x="94" y="58"/>
              </a:cxn>
              <a:cxn ang="0">
                <a:pos x="108" y="54"/>
              </a:cxn>
              <a:cxn ang="0">
                <a:pos x="136" y="76"/>
              </a:cxn>
              <a:cxn ang="0">
                <a:pos x="166" y="72"/>
              </a:cxn>
              <a:cxn ang="0">
                <a:pos x="198" y="54"/>
              </a:cxn>
              <a:cxn ang="0">
                <a:pos x="172" y="36"/>
              </a:cxn>
              <a:cxn ang="0">
                <a:pos x="196" y="26"/>
              </a:cxn>
              <a:cxn ang="0">
                <a:pos x="212" y="8"/>
              </a:cxn>
              <a:cxn ang="0">
                <a:pos x="232" y="8"/>
              </a:cxn>
              <a:cxn ang="0">
                <a:pos x="240" y="8"/>
              </a:cxn>
              <a:cxn ang="0">
                <a:pos x="240" y="4"/>
              </a:cxn>
              <a:cxn ang="0">
                <a:pos x="242" y="24"/>
              </a:cxn>
              <a:cxn ang="0">
                <a:pos x="240" y="28"/>
              </a:cxn>
              <a:cxn ang="0">
                <a:pos x="250" y="6"/>
              </a:cxn>
              <a:cxn ang="0">
                <a:pos x="276" y="20"/>
              </a:cxn>
              <a:cxn ang="0">
                <a:pos x="240" y="46"/>
              </a:cxn>
              <a:cxn ang="0">
                <a:pos x="220" y="64"/>
              </a:cxn>
              <a:cxn ang="0">
                <a:pos x="200" y="86"/>
              </a:cxn>
              <a:cxn ang="0">
                <a:pos x="214" y="102"/>
              </a:cxn>
              <a:cxn ang="0">
                <a:pos x="242" y="94"/>
              </a:cxn>
              <a:cxn ang="0">
                <a:pos x="260" y="128"/>
              </a:cxn>
              <a:cxn ang="0">
                <a:pos x="280" y="130"/>
              </a:cxn>
              <a:cxn ang="0">
                <a:pos x="280" y="140"/>
              </a:cxn>
              <a:cxn ang="0">
                <a:pos x="272" y="150"/>
              </a:cxn>
              <a:cxn ang="0">
                <a:pos x="276" y="178"/>
              </a:cxn>
              <a:cxn ang="0">
                <a:pos x="264" y="236"/>
              </a:cxn>
              <a:cxn ang="0">
                <a:pos x="246" y="260"/>
              </a:cxn>
              <a:cxn ang="0">
                <a:pos x="226" y="280"/>
              </a:cxn>
              <a:cxn ang="0">
                <a:pos x="224" y="298"/>
              </a:cxn>
              <a:cxn ang="0">
                <a:pos x="194" y="280"/>
              </a:cxn>
              <a:cxn ang="0">
                <a:pos x="170" y="288"/>
              </a:cxn>
              <a:cxn ang="0">
                <a:pos x="140" y="296"/>
              </a:cxn>
              <a:cxn ang="0">
                <a:pos x="114" y="302"/>
              </a:cxn>
              <a:cxn ang="0">
                <a:pos x="110" y="294"/>
              </a:cxn>
              <a:cxn ang="0">
                <a:pos x="92" y="312"/>
              </a:cxn>
              <a:cxn ang="0">
                <a:pos x="42" y="312"/>
              </a:cxn>
              <a:cxn ang="0">
                <a:pos x="26" y="300"/>
              </a:cxn>
              <a:cxn ang="0">
                <a:pos x="24" y="296"/>
              </a:cxn>
              <a:cxn ang="0">
                <a:pos x="40" y="288"/>
              </a:cxn>
              <a:cxn ang="0">
                <a:pos x="10" y="284"/>
              </a:cxn>
              <a:cxn ang="0">
                <a:pos x="40" y="272"/>
              </a:cxn>
              <a:cxn ang="0">
                <a:pos x="10" y="264"/>
              </a:cxn>
              <a:cxn ang="0">
                <a:pos x="22" y="250"/>
              </a:cxn>
              <a:cxn ang="0">
                <a:pos x="26" y="242"/>
              </a:cxn>
              <a:cxn ang="0">
                <a:pos x="4" y="232"/>
              </a:cxn>
              <a:cxn ang="0">
                <a:pos x="36" y="236"/>
              </a:cxn>
              <a:cxn ang="0">
                <a:pos x="58" y="212"/>
              </a:cxn>
              <a:cxn ang="0">
                <a:pos x="106" y="214"/>
              </a:cxn>
              <a:cxn ang="0">
                <a:pos x="70" y="210"/>
              </a:cxn>
              <a:cxn ang="0">
                <a:pos x="52" y="206"/>
              </a:cxn>
              <a:cxn ang="0">
                <a:pos x="100" y="168"/>
              </a:cxn>
            </a:cxnLst>
            <a:rect l="0" t="0" r="r" b="b"/>
            <a:pathLst>
              <a:path w="288" h="316">
                <a:moveTo>
                  <a:pt x="112" y="170"/>
                </a:moveTo>
                <a:lnTo>
                  <a:pt x="110" y="168"/>
                </a:lnTo>
                <a:lnTo>
                  <a:pt x="114" y="170"/>
                </a:lnTo>
                <a:lnTo>
                  <a:pt x="116" y="172"/>
                </a:lnTo>
                <a:lnTo>
                  <a:pt x="118" y="162"/>
                </a:lnTo>
                <a:lnTo>
                  <a:pt x="118" y="160"/>
                </a:lnTo>
                <a:lnTo>
                  <a:pt x="114" y="160"/>
                </a:lnTo>
                <a:lnTo>
                  <a:pt x="112" y="160"/>
                </a:lnTo>
                <a:lnTo>
                  <a:pt x="110" y="160"/>
                </a:lnTo>
                <a:lnTo>
                  <a:pt x="106" y="158"/>
                </a:lnTo>
                <a:lnTo>
                  <a:pt x="104" y="158"/>
                </a:lnTo>
                <a:lnTo>
                  <a:pt x="100" y="156"/>
                </a:lnTo>
                <a:lnTo>
                  <a:pt x="92" y="156"/>
                </a:lnTo>
                <a:lnTo>
                  <a:pt x="90" y="156"/>
                </a:lnTo>
                <a:lnTo>
                  <a:pt x="88" y="156"/>
                </a:lnTo>
                <a:lnTo>
                  <a:pt x="84" y="152"/>
                </a:lnTo>
                <a:lnTo>
                  <a:pt x="82" y="152"/>
                </a:lnTo>
                <a:lnTo>
                  <a:pt x="84" y="146"/>
                </a:lnTo>
                <a:lnTo>
                  <a:pt x="88" y="146"/>
                </a:lnTo>
                <a:lnTo>
                  <a:pt x="88" y="144"/>
                </a:lnTo>
                <a:lnTo>
                  <a:pt x="90" y="140"/>
                </a:lnTo>
                <a:lnTo>
                  <a:pt x="86" y="138"/>
                </a:lnTo>
                <a:lnTo>
                  <a:pt x="84" y="138"/>
                </a:lnTo>
                <a:lnTo>
                  <a:pt x="82" y="140"/>
                </a:lnTo>
                <a:lnTo>
                  <a:pt x="80" y="142"/>
                </a:lnTo>
                <a:lnTo>
                  <a:pt x="78" y="144"/>
                </a:lnTo>
                <a:lnTo>
                  <a:pt x="76" y="144"/>
                </a:lnTo>
                <a:lnTo>
                  <a:pt x="70" y="140"/>
                </a:lnTo>
                <a:lnTo>
                  <a:pt x="72" y="138"/>
                </a:lnTo>
                <a:lnTo>
                  <a:pt x="76" y="136"/>
                </a:lnTo>
                <a:lnTo>
                  <a:pt x="78" y="136"/>
                </a:lnTo>
                <a:lnTo>
                  <a:pt x="78" y="134"/>
                </a:lnTo>
                <a:lnTo>
                  <a:pt x="78" y="132"/>
                </a:lnTo>
                <a:lnTo>
                  <a:pt x="74" y="132"/>
                </a:lnTo>
                <a:lnTo>
                  <a:pt x="70" y="134"/>
                </a:lnTo>
                <a:lnTo>
                  <a:pt x="68" y="134"/>
                </a:lnTo>
                <a:lnTo>
                  <a:pt x="66" y="132"/>
                </a:lnTo>
                <a:lnTo>
                  <a:pt x="58" y="128"/>
                </a:lnTo>
                <a:lnTo>
                  <a:pt x="62" y="116"/>
                </a:lnTo>
                <a:lnTo>
                  <a:pt x="62" y="114"/>
                </a:lnTo>
                <a:lnTo>
                  <a:pt x="72" y="112"/>
                </a:lnTo>
                <a:lnTo>
                  <a:pt x="74" y="112"/>
                </a:lnTo>
                <a:lnTo>
                  <a:pt x="80" y="116"/>
                </a:lnTo>
                <a:lnTo>
                  <a:pt x="84" y="118"/>
                </a:lnTo>
                <a:lnTo>
                  <a:pt x="90" y="120"/>
                </a:lnTo>
                <a:lnTo>
                  <a:pt x="90" y="118"/>
                </a:lnTo>
                <a:lnTo>
                  <a:pt x="86" y="118"/>
                </a:lnTo>
                <a:lnTo>
                  <a:pt x="84" y="116"/>
                </a:lnTo>
                <a:lnTo>
                  <a:pt x="82" y="114"/>
                </a:lnTo>
                <a:lnTo>
                  <a:pt x="80" y="112"/>
                </a:lnTo>
                <a:lnTo>
                  <a:pt x="80" y="108"/>
                </a:lnTo>
                <a:lnTo>
                  <a:pt x="84" y="102"/>
                </a:lnTo>
                <a:lnTo>
                  <a:pt x="84" y="100"/>
                </a:lnTo>
                <a:lnTo>
                  <a:pt x="88" y="102"/>
                </a:lnTo>
                <a:lnTo>
                  <a:pt x="96" y="102"/>
                </a:lnTo>
                <a:lnTo>
                  <a:pt x="98" y="104"/>
                </a:lnTo>
                <a:lnTo>
                  <a:pt x="100" y="104"/>
                </a:lnTo>
                <a:lnTo>
                  <a:pt x="102" y="104"/>
                </a:lnTo>
                <a:lnTo>
                  <a:pt x="102" y="102"/>
                </a:lnTo>
                <a:lnTo>
                  <a:pt x="100" y="102"/>
                </a:lnTo>
                <a:lnTo>
                  <a:pt x="100" y="100"/>
                </a:lnTo>
                <a:lnTo>
                  <a:pt x="102" y="98"/>
                </a:lnTo>
                <a:lnTo>
                  <a:pt x="104" y="98"/>
                </a:lnTo>
                <a:lnTo>
                  <a:pt x="104" y="94"/>
                </a:lnTo>
                <a:lnTo>
                  <a:pt x="98" y="92"/>
                </a:lnTo>
                <a:lnTo>
                  <a:pt x="96" y="92"/>
                </a:lnTo>
                <a:lnTo>
                  <a:pt x="94" y="92"/>
                </a:lnTo>
                <a:lnTo>
                  <a:pt x="92" y="92"/>
                </a:lnTo>
                <a:lnTo>
                  <a:pt x="90" y="92"/>
                </a:lnTo>
                <a:lnTo>
                  <a:pt x="88" y="92"/>
                </a:lnTo>
                <a:lnTo>
                  <a:pt x="86" y="92"/>
                </a:lnTo>
                <a:lnTo>
                  <a:pt x="86" y="90"/>
                </a:lnTo>
                <a:lnTo>
                  <a:pt x="90" y="84"/>
                </a:lnTo>
                <a:lnTo>
                  <a:pt x="92" y="86"/>
                </a:lnTo>
                <a:lnTo>
                  <a:pt x="94" y="86"/>
                </a:lnTo>
                <a:lnTo>
                  <a:pt x="94" y="88"/>
                </a:lnTo>
                <a:lnTo>
                  <a:pt x="94" y="90"/>
                </a:lnTo>
                <a:lnTo>
                  <a:pt x="96" y="86"/>
                </a:lnTo>
                <a:lnTo>
                  <a:pt x="94" y="82"/>
                </a:lnTo>
                <a:lnTo>
                  <a:pt x="92" y="74"/>
                </a:lnTo>
                <a:lnTo>
                  <a:pt x="92" y="70"/>
                </a:lnTo>
                <a:lnTo>
                  <a:pt x="94" y="68"/>
                </a:lnTo>
                <a:lnTo>
                  <a:pt x="94" y="64"/>
                </a:lnTo>
                <a:lnTo>
                  <a:pt x="92" y="58"/>
                </a:lnTo>
                <a:lnTo>
                  <a:pt x="86" y="64"/>
                </a:lnTo>
                <a:lnTo>
                  <a:pt x="86" y="66"/>
                </a:lnTo>
                <a:lnTo>
                  <a:pt x="86" y="70"/>
                </a:lnTo>
                <a:lnTo>
                  <a:pt x="84" y="70"/>
                </a:lnTo>
                <a:lnTo>
                  <a:pt x="84" y="68"/>
                </a:lnTo>
                <a:lnTo>
                  <a:pt x="84" y="66"/>
                </a:lnTo>
                <a:lnTo>
                  <a:pt x="88" y="56"/>
                </a:lnTo>
                <a:lnTo>
                  <a:pt x="90" y="54"/>
                </a:lnTo>
                <a:lnTo>
                  <a:pt x="92" y="54"/>
                </a:lnTo>
                <a:lnTo>
                  <a:pt x="96" y="52"/>
                </a:lnTo>
                <a:lnTo>
                  <a:pt x="100" y="58"/>
                </a:lnTo>
                <a:lnTo>
                  <a:pt x="98" y="60"/>
                </a:lnTo>
                <a:lnTo>
                  <a:pt x="96" y="60"/>
                </a:lnTo>
                <a:lnTo>
                  <a:pt x="96" y="58"/>
                </a:lnTo>
                <a:lnTo>
                  <a:pt x="94" y="58"/>
                </a:lnTo>
                <a:lnTo>
                  <a:pt x="94" y="60"/>
                </a:lnTo>
                <a:lnTo>
                  <a:pt x="96" y="62"/>
                </a:lnTo>
                <a:lnTo>
                  <a:pt x="98" y="62"/>
                </a:lnTo>
                <a:lnTo>
                  <a:pt x="100" y="60"/>
                </a:lnTo>
                <a:lnTo>
                  <a:pt x="102" y="58"/>
                </a:lnTo>
                <a:lnTo>
                  <a:pt x="104" y="54"/>
                </a:lnTo>
                <a:lnTo>
                  <a:pt x="104" y="52"/>
                </a:lnTo>
                <a:lnTo>
                  <a:pt x="108" y="52"/>
                </a:lnTo>
                <a:lnTo>
                  <a:pt x="108" y="54"/>
                </a:lnTo>
                <a:lnTo>
                  <a:pt x="110" y="54"/>
                </a:lnTo>
                <a:lnTo>
                  <a:pt x="116" y="58"/>
                </a:lnTo>
                <a:lnTo>
                  <a:pt x="122" y="60"/>
                </a:lnTo>
                <a:lnTo>
                  <a:pt x="130" y="62"/>
                </a:lnTo>
                <a:lnTo>
                  <a:pt x="132" y="64"/>
                </a:lnTo>
                <a:lnTo>
                  <a:pt x="134" y="68"/>
                </a:lnTo>
                <a:lnTo>
                  <a:pt x="134" y="70"/>
                </a:lnTo>
                <a:lnTo>
                  <a:pt x="136" y="78"/>
                </a:lnTo>
                <a:lnTo>
                  <a:pt x="136" y="76"/>
                </a:lnTo>
                <a:lnTo>
                  <a:pt x="142" y="70"/>
                </a:lnTo>
                <a:lnTo>
                  <a:pt x="144" y="70"/>
                </a:lnTo>
                <a:lnTo>
                  <a:pt x="150" y="72"/>
                </a:lnTo>
                <a:lnTo>
                  <a:pt x="158" y="76"/>
                </a:lnTo>
                <a:lnTo>
                  <a:pt x="164" y="78"/>
                </a:lnTo>
                <a:lnTo>
                  <a:pt x="172" y="80"/>
                </a:lnTo>
                <a:lnTo>
                  <a:pt x="172" y="74"/>
                </a:lnTo>
                <a:lnTo>
                  <a:pt x="168" y="72"/>
                </a:lnTo>
                <a:lnTo>
                  <a:pt x="166" y="72"/>
                </a:lnTo>
                <a:lnTo>
                  <a:pt x="166" y="70"/>
                </a:lnTo>
                <a:lnTo>
                  <a:pt x="180" y="66"/>
                </a:lnTo>
                <a:lnTo>
                  <a:pt x="182" y="64"/>
                </a:lnTo>
                <a:lnTo>
                  <a:pt x="184" y="64"/>
                </a:lnTo>
                <a:lnTo>
                  <a:pt x="188" y="66"/>
                </a:lnTo>
                <a:lnTo>
                  <a:pt x="190" y="62"/>
                </a:lnTo>
                <a:lnTo>
                  <a:pt x="194" y="58"/>
                </a:lnTo>
                <a:lnTo>
                  <a:pt x="198" y="58"/>
                </a:lnTo>
                <a:lnTo>
                  <a:pt x="198" y="54"/>
                </a:lnTo>
                <a:lnTo>
                  <a:pt x="186" y="50"/>
                </a:lnTo>
                <a:lnTo>
                  <a:pt x="178" y="48"/>
                </a:lnTo>
                <a:lnTo>
                  <a:pt x="174" y="48"/>
                </a:lnTo>
                <a:lnTo>
                  <a:pt x="172" y="46"/>
                </a:lnTo>
                <a:lnTo>
                  <a:pt x="172" y="44"/>
                </a:lnTo>
                <a:lnTo>
                  <a:pt x="170" y="42"/>
                </a:lnTo>
                <a:lnTo>
                  <a:pt x="168" y="42"/>
                </a:lnTo>
                <a:lnTo>
                  <a:pt x="168" y="38"/>
                </a:lnTo>
                <a:lnTo>
                  <a:pt x="172" y="36"/>
                </a:lnTo>
                <a:lnTo>
                  <a:pt x="178" y="34"/>
                </a:lnTo>
                <a:lnTo>
                  <a:pt x="180" y="34"/>
                </a:lnTo>
                <a:lnTo>
                  <a:pt x="184" y="34"/>
                </a:lnTo>
                <a:lnTo>
                  <a:pt x="186" y="34"/>
                </a:lnTo>
                <a:lnTo>
                  <a:pt x="194" y="32"/>
                </a:lnTo>
                <a:lnTo>
                  <a:pt x="196" y="32"/>
                </a:lnTo>
                <a:lnTo>
                  <a:pt x="198" y="30"/>
                </a:lnTo>
                <a:lnTo>
                  <a:pt x="198" y="26"/>
                </a:lnTo>
                <a:lnTo>
                  <a:pt x="196" y="26"/>
                </a:lnTo>
                <a:lnTo>
                  <a:pt x="194" y="28"/>
                </a:lnTo>
                <a:lnTo>
                  <a:pt x="192" y="26"/>
                </a:lnTo>
                <a:lnTo>
                  <a:pt x="192" y="24"/>
                </a:lnTo>
                <a:lnTo>
                  <a:pt x="194" y="22"/>
                </a:lnTo>
                <a:lnTo>
                  <a:pt x="196" y="22"/>
                </a:lnTo>
                <a:lnTo>
                  <a:pt x="196" y="20"/>
                </a:lnTo>
                <a:lnTo>
                  <a:pt x="194" y="16"/>
                </a:lnTo>
                <a:lnTo>
                  <a:pt x="206" y="8"/>
                </a:lnTo>
                <a:lnTo>
                  <a:pt x="212" y="8"/>
                </a:lnTo>
                <a:lnTo>
                  <a:pt x="222" y="8"/>
                </a:lnTo>
                <a:lnTo>
                  <a:pt x="224" y="4"/>
                </a:lnTo>
                <a:lnTo>
                  <a:pt x="226" y="8"/>
                </a:lnTo>
                <a:lnTo>
                  <a:pt x="228" y="8"/>
                </a:lnTo>
                <a:lnTo>
                  <a:pt x="230" y="8"/>
                </a:lnTo>
                <a:lnTo>
                  <a:pt x="232" y="6"/>
                </a:lnTo>
                <a:lnTo>
                  <a:pt x="236" y="4"/>
                </a:lnTo>
                <a:lnTo>
                  <a:pt x="234" y="8"/>
                </a:lnTo>
                <a:lnTo>
                  <a:pt x="232" y="8"/>
                </a:lnTo>
                <a:lnTo>
                  <a:pt x="232" y="10"/>
                </a:lnTo>
                <a:lnTo>
                  <a:pt x="234" y="10"/>
                </a:lnTo>
                <a:lnTo>
                  <a:pt x="236" y="14"/>
                </a:lnTo>
                <a:lnTo>
                  <a:pt x="236" y="16"/>
                </a:lnTo>
                <a:lnTo>
                  <a:pt x="236" y="18"/>
                </a:lnTo>
                <a:lnTo>
                  <a:pt x="236" y="20"/>
                </a:lnTo>
                <a:lnTo>
                  <a:pt x="240" y="16"/>
                </a:lnTo>
                <a:lnTo>
                  <a:pt x="240" y="14"/>
                </a:lnTo>
                <a:lnTo>
                  <a:pt x="240" y="8"/>
                </a:lnTo>
                <a:lnTo>
                  <a:pt x="238" y="8"/>
                </a:lnTo>
                <a:lnTo>
                  <a:pt x="238" y="10"/>
                </a:lnTo>
                <a:lnTo>
                  <a:pt x="238" y="12"/>
                </a:lnTo>
                <a:lnTo>
                  <a:pt x="236" y="12"/>
                </a:lnTo>
                <a:lnTo>
                  <a:pt x="236" y="10"/>
                </a:lnTo>
                <a:lnTo>
                  <a:pt x="234" y="8"/>
                </a:lnTo>
                <a:lnTo>
                  <a:pt x="236" y="6"/>
                </a:lnTo>
                <a:lnTo>
                  <a:pt x="238" y="6"/>
                </a:lnTo>
                <a:lnTo>
                  <a:pt x="240" y="4"/>
                </a:lnTo>
                <a:lnTo>
                  <a:pt x="242" y="4"/>
                </a:lnTo>
                <a:lnTo>
                  <a:pt x="244" y="4"/>
                </a:lnTo>
                <a:lnTo>
                  <a:pt x="244" y="6"/>
                </a:lnTo>
                <a:lnTo>
                  <a:pt x="246" y="20"/>
                </a:lnTo>
                <a:lnTo>
                  <a:pt x="244" y="20"/>
                </a:lnTo>
                <a:lnTo>
                  <a:pt x="244" y="22"/>
                </a:lnTo>
                <a:lnTo>
                  <a:pt x="244" y="24"/>
                </a:lnTo>
                <a:lnTo>
                  <a:pt x="242" y="22"/>
                </a:lnTo>
                <a:lnTo>
                  <a:pt x="242" y="24"/>
                </a:lnTo>
                <a:lnTo>
                  <a:pt x="240" y="24"/>
                </a:lnTo>
                <a:lnTo>
                  <a:pt x="238" y="24"/>
                </a:lnTo>
                <a:lnTo>
                  <a:pt x="238" y="26"/>
                </a:lnTo>
                <a:lnTo>
                  <a:pt x="232" y="34"/>
                </a:lnTo>
                <a:lnTo>
                  <a:pt x="234" y="34"/>
                </a:lnTo>
                <a:lnTo>
                  <a:pt x="234" y="32"/>
                </a:lnTo>
                <a:lnTo>
                  <a:pt x="236" y="32"/>
                </a:lnTo>
                <a:lnTo>
                  <a:pt x="240" y="30"/>
                </a:lnTo>
                <a:lnTo>
                  <a:pt x="240" y="28"/>
                </a:lnTo>
                <a:lnTo>
                  <a:pt x="244" y="28"/>
                </a:lnTo>
                <a:lnTo>
                  <a:pt x="246" y="28"/>
                </a:lnTo>
                <a:lnTo>
                  <a:pt x="248" y="28"/>
                </a:lnTo>
                <a:lnTo>
                  <a:pt x="248" y="20"/>
                </a:lnTo>
                <a:lnTo>
                  <a:pt x="248" y="16"/>
                </a:lnTo>
                <a:lnTo>
                  <a:pt x="248" y="14"/>
                </a:lnTo>
                <a:lnTo>
                  <a:pt x="246" y="12"/>
                </a:lnTo>
                <a:lnTo>
                  <a:pt x="248" y="12"/>
                </a:lnTo>
                <a:lnTo>
                  <a:pt x="250" y="6"/>
                </a:lnTo>
                <a:lnTo>
                  <a:pt x="256" y="8"/>
                </a:lnTo>
                <a:lnTo>
                  <a:pt x="260" y="4"/>
                </a:lnTo>
                <a:lnTo>
                  <a:pt x="260" y="0"/>
                </a:lnTo>
                <a:lnTo>
                  <a:pt x="266" y="4"/>
                </a:lnTo>
                <a:lnTo>
                  <a:pt x="268" y="6"/>
                </a:lnTo>
                <a:lnTo>
                  <a:pt x="272" y="14"/>
                </a:lnTo>
                <a:lnTo>
                  <a:pt x="278" y="18"/>
                </a:lnTo>
                <a:lnTo>
                  <a:pt x="278" y="20"/>
                </a:lnTo>
                <a:lnTo>
                  <a:pt x="276" y="20"/>
                </a:lnTo>
                <a:lnTo>
                  <a:pt x="270" y="22"/>
                </a:lnTo>
                <a:lnTo>
                  <a:pt x="264" y="24"/>
                </a:lnTo>
                <a:lnTo>
                  <a:pt x="262" y="24"/>
                </a:lnTo>
                <a:lnTo>
                  <a:pt x="258" y="28"/>
                </a:lnTo>
                <a:lnTo>
                  <a:pt x="252" y="30"/>
                </a:lnTo>
                <a:lnTo>
                  <a:pt x="246" y="38"/>
                </a:lnTo>
                <a:lnTo>
                  <a:pt x="242" y="42"/>
                </a:lnTo>
                <a:lnTo>
                  <a:pt x="242" y="44"/>
                </a:lnTo>
                <a:lnTo>
                  <a:pt x="240" y="46"/>
                </a:lnTo>
                <a:lnTo>
                  <a:pt x="234" y="52"/>
                </a:lnTo>
                <a:lnTo>
                  <a:pt x="224" y="54"/>
                </a:lnTo>
                <a:lnTo>
                  <a:pt x="220" y="50"/>
                </a:lnTo>
                <a:lnTo>
                  <a:pt x="218" y="50"/>
                </a:lnTo>
                <a:lnTo>
                  <a:pt x="212" y="50"/>
                </a:lnTo>
                <a:lnTo>
                  <a:pt x="212" y="54"/>
                </a:lnTo>
                <a:lnTo>
                  <a:pt x="214" y="58"/>
                </a:lnTo>
                <a:lnTo>
                  <a:pt x="218" y="60"/>
                </a:lnTo>
                <a:lnTo>
                  <a:pt x="220" y="64"/>
                </a:lnTo>
                <a:lnTo>
                  <a:pt x="214" y="66"/>
                </a:lnTo>
                <a:lnTo>
                  <a:pt x="206" y="66"/>
                </a:lnTo>
                <a:lnTo>
                  <a:pt x="202" y="66"/>
                </a:lnTo>
                <a:lnTo>
                  <a:pt x="194" y="68"/>
                </a:lnTo>
                <a:lnTo>
                  <a:pt x="194" y="70"/>
                </a:lnTo>
                <a:lnTo>
                  <a:pt x="196" y="78"/>
                </a:lnTo>
                <a:lnTo>
                  <a:pt x="198" y="78"/>
                </a:lnTo>
                <a:lnTo>
                  <a:pt x="198" y="80"/>
                </a:lnTo>
                <a:lnTo>
                  <a:pt x="200" y="86"/>
                </a:lnTo>
                <a:lnTo>
                  <a:pt x="202" y="88"/>
                </a:lnTo>
                <a:lnTo>
                  <a:pt x="204" y="88"/>
                </a:lnTo>
                <a:lnTo>
                  <a:pt x="202" y="92"/>
                </a:lnTo>
                <a:lnTo>
                  <a:pt x="202" y="94"/>
                </a:lnTo>
                <a:lnTo>
                  <a:pt x="202" y="96"/>
                </a:lnTo>
                <a:lnTo>
                  <a:pt x="204" y="98"/>
                </a:lnTo>
                <a:lnTo>
                  <a:pt x="208" y="98"/>
                </a:lnTo>
                <a:lnTo>
                  <a:pt x="210" y="98"/>
                </a:lnTo>
                <a:lnTo>
                  <a:pt x="214" y="102"/>
                </a:lnTo>
                <a:lnTo>
                  <a:pt x="212" y="104"/>
                </a:lnTo>
                <a:lnTo>
                  <a:pt x="214" y="106"/>
                </a:lnTo>
                <a:lnTo>
                  <a:pt x="214" y="108"/>
                </a:lnTo>
                <a:lnTo>
                  <a:pt x="228" y="112"/>
                </a:lnTo>
                <a:lnTo>
                  <a:pt x="230" y="112"/>
                </a:lnTo>
                <a:lnTo>
                  <a:pt x="240" y="106"/>
                </a:lnTo>
                <a:lnTo>
                  <a:pt x="240" y="102"/>
                </a:lnTo>
                <a:lnTo>
                  <a:pt x="240" y="98"/>
                </a:lnTo>
                <a:lnTo>
                  <a:pt x="242" y="94"/>
                </a:lnTo>
                <a:lnTo>
                  <a:pt x="248" y="90"/>
                </a:lnTo>
                <a:lnTo>
                  <a:pt x="250" y="90"/>
                </a:lnTo>
                <a:lnTo>
                  <a:pt x="252" y="92"/>
                </a:lnTo>
                <a:lnTo>
                  <a:pt x="256" y="94"/>
                </a:lnTo>
                <a:lnTo>
                  <a:pt x="256" y="96"/>
                </a:lnTo>
                <a:lnTo>
                  <a:pt x="256" y="98"/>
                </a:lnTo>
                <a:lnTo>
                  <a:pt x="256" y="104"/>
                </a:lnTo>
                <a:lnTo>
                  <a:pt x="260" y="116"/>
                </a:lnTo>
                <a:lnTo>
                  <a:pt x="260" y="128"/>
                </a:lnTo>
                <a:lnTo>
                  <a:pt x="260" y="130"/>
                </a:lnTo>
                <a:lnTo>
                  <a:pt x="262" y="130"/>
                </a:lnTo>
                <a:lnTo>
                  <a:pt x="264" y="130"/>
                </a:lnTo>
                <a:lnTo>
                  <a:pt x="272" y="132"/>
                </a:lnTo>
                <a:lnTo>
                  <a:pt x="276" y="128"/>
                </a:lnTo>
                <a:lnTo>
                  <a:pt x="278" y="128"/>
                </a:lnTo>
                <a:lnTo>
                  <a:pt x="280" y="128"/>
                </a:lnTo>
                <a:lnTo>
                  <a:pt x="282" y="130"/>
                </a:lnTo>
                <a:lnTo>
                  <a:pt x="280" y="130"/>
                </a:lnTo>
                <a:lnTo>
                  <a:pt x="282" y="132"/>
                </a:lnTo>
                <a:lnTo>
                  <a:pt x="284" y="136"/>
                </a:lnTo>
                <a:lnTo>
                  <a:pt x="284" y="138"/>
                </a:lnTo>
                <a:lnTo>
                  <a:pt x="286" y="138"/>
                </a:lnTo>
                <a:lnTo>
                  <a:pt x="288" y="142"/>
                </a:lnTo>
                <a:lnTo>
                  <a:pt x="286" y="142"/>
                </a:lnTo>
                <a:lnTo>
                  <a:pt x="284" y="144"/>
                </a:lnTo>
                <a:lnTo>
                  <a:pt x="284" y="142"/>
                </a:lnTo>
                <a:lnTo>
                  <a:pt x="280" y="140"/>
                </a:lnTo>
                <a:lnTo>
                  <a:pt x="278" y="138"/>
                </a:lnTo>
                <a:lnTo>
                  <a:pt x="276" y="138"/>
                </a:lnTo>
                <a:lnTo>
                  <a:pt x="276" y="136"/>
                </a:lnTo>
                <a:lnTo>
                  <a:pt x="274" y="136"/>
                </a:lnTo>
                <a:lnTo>
                  <a:pt x="272" y="142"/>
                </a:lnTo>
                <a:lnTo>
                  <a:pt x="270" y="144"/>
                </a:lnTo>
                <a:lnTo>
                  <a:pt x="270" y="146"/>
                </a:lnTo>
                <a:lnTo>
                  <a:pt x="272" y="148"/>
                </a:lnTo>
                <a:lnTo>
                  <a:pt x="272" y="150"/>
                </a:lnTo>
                <a:lnTo>
                  <a:pt x="274" y="150"/>
                </a:lnTo>
                <a:lnTo>
                  <a:pt x="276" y="154"/>
                </a:lnTo>
                <a:lnTo>
                  <a:pt x="274" y="158"/>
                </a:lnTo>
                <a:lnTo>
                  <a:pt x="274" y="160"/>
                </a:lnTo>
                <a:lnTo>
                  <a:pt x="272" y="164"/>
                </a:lnTo>
                <a:lnTo>
                  <a:pt x="272" y="168"/>
                </a:lnTo>
                <a:lnTo>
                  <a:pt x="272" y="172"/>
                </a:lnTo>
                <a:lnTo>
                  <a:pt x="274" y="178"/>
                </a:lnTo>
                <a:lnTo>
                  <a:pt x="276" y="178"/>
                </a:lnTo>
                <a:lnTo>
                  <a:pt x="276" y="180"/>
                </a:lnTo>
                <a:lnTo>
                  <a:pt x="276" y="182"/>
                </a:lnTo>
                <a:lnTo>
                  <a:pt x="276" y="184"/>
                </a:lnTo>
                <a:lnTo>
                  <a:pt x="268" y="196"/>
                </a:lnTo>
                <a:lnTo>
                  <a:pt x="264" y="198"/>
                </a:lnTo>
                <a:lnTo>
                  <a:pt x="264" y="202"/>
                </a:lnTo>
                <a:lnTo>
                  <a:pt x="268" y="208"/>
                </a:lnTo>
                <a:lnTo>
                  <a:pt x="268" y="222"/>
                </a:lnTo>
                <a:lnTo>
                  <a:pt x="264" y="236"/>
                </a:lnTo>
                <a:lnTo>
                  <a:pt x="260" y="242"/>
                </a:lnTo>
                <a:lnTo>
                  <a:pt x="256" y="244"/>
                </a:lnTo>
                <a:lnTo>
                  <a:pt x="256" y="246"/>
                </a:lnTo>
                <a:lnTo>
                  <a:pt x="254" y="248"/>
                </a:lnTo>
                <a:lnTo>
                  <a:pt x="252" y="250"/>
                </a:lnTo>
                <a:lnTo>
                  <a:pt x="252" y="252"/>
                </a:lnTo>
                <a:lnTo>
                  <a:pt x="248" y="256"/>
                </a:lnTo>
                <a:lnTo>
                  <a:pt x="246" y="258"/>
                </a:lnTo>
                <a:lnTo>
                  <a:pt x="246" y="260"/>
                </a:lnTo>
                <a:lnTo>
                  <a:pt x="244" y="262"/>
                </a:lnTo>
                <a:lnTo>
                  <a:pt x="244" y="264"/>
                </a:lnTo>
                <a:lnTo>
                  <a:pt x="244" y="266"/>
                </a:lnTo>
                <a:lnTo>
                  <a:pt x="244" y="268"/>
                </a:lnTo>
                <a:lnTo>
                  <a:pt x="244" y="270"/>
                </a:lnTo>
                <a:lnTo>
                  <a:pt x="242" y="272"/>
                </a:lnTo>
                <a:lnTo>
                  <a:pt x="240" y="272"/>
                </a:lnTo>
                <a:lnTo>
                  <a:pt x="232" y="280"/>
                </a:lnTo>
                <a:lnTo>
                  <a:pt x="226" y="280"/>
                </a:lnTo>
                <a:lnTo>
                  <a:pt x="224" y="280"/>
                </a:lnTo>
                <a:lnTo>
                  <a:pt x="224" y="282"/>
                </a:lnTo>
                <a:lnTo>
                  <a:pt x="226" y="290"/>
                </a:lnTo>
                <a:lnTo>
                  <a:pt x="228" y="290"/>
                </a:lnTo>
                <a:lnTo>
                  <a:pt x="230" y="294"/>
                </a:lnTo>
                <a:lnTo>
                  <a:pt x="228" y="296"/>
                </a:lnTo>
                <a:lnTo>
                  <a:pt x="226" y="300"/>
                </a:lnTo>
                <a:lnTo>
                  <a:pt x="224" y="300"/>
                </a:lnTo>
                <a:lnTo>
                  <a:pt x="224" y="298"/>
                </a:lnTo>
                <a:lnTo>
                  <a:pt x="220" y="296"/>
                </a:lnTo>
                <a:lnTo>
                  <a:pt x="212" y="294"/>
                </a:lnTo>
                <a:lnTo>
                  <a:pt x="204" y="290"/>
                </a:lnTo>
                <a:lnTo>
                  <a:pt x="202" y="292"/>
                </a:lnTo>
                <a:lnTo>
                  <a:pt x="200" y="292"/>
                </a:lnTo>
                <a:lnTo>
                  <a:pt x="198" y="292"/>
                </a:lnTo>
                <a:lnTo>
                  <a:pt x="196" y="292"/>
                </a:lnTo>
                <a:lnTo>
                  <a:pt x="196" y="288"/>
                </a:lnTo>
                <a:lnTo>
                  <a:pt x="194" y="280"/>
                </a:lnTo>
                <a:lnTo>
                  <a:pt x="194" y="282"/>
                </a:lnTo>
                <a:lnTo>
                  <a:pt x="194" y="284"/>
                </a:lnTo>
                <a:lnTo>
                  <a:pt x="194" y="286"/>
                </a:lnTo>
                <a:lnTo>
                  <a:pt x="192" y="292"/>
                </a:lnTo>
                <a:lnTo>
                  <a:pt x="190" y="292"/>
                </a:lnTo>
                <a:lnTo>
                  <a:pt x="188" y="292"/>
                </a:lnTo>
                <a:lnTo>
                  <a:pt x="184" y="292"/>
                </a:lnTo>
                <a:lnTo>
                  <a:pt x="182" y="290"/>
                </a:lnTo>
                <a:lnTo>
                  <a:pt x="170" y="288"/>
                </a:lnTo>
                <a:lnTo>
                  <a:pt x="166" y="288"/>
                </a:lnTo>
                <a:lnTo>
                  <a:pt x="158" y="288"/>
                </a:lnTo>
                <a:lnTo>
                  <a:pt x="154" y="290"/>
                </a:lnTo>
                <a:lnTo>
                  <a:pt x="156" y="290"/>
                </a:lnTo>
                <a:lnTo>
                  <a:pt x="158" y="292"/>
                </a:lnTo>
                <a:lnTo>
                  <a:pt x="154" y="296"/>
                </a:lnTo>
                <a:lnTo>
                  <a:pt x="146" y="300"/>
                </a:lnTo>
                <a:lnTo>
                  <a:pt x="140" y="298"/>
                </a:lnTo>
                <a:lnTo>
                  <a:pt x="140" y="296"/>
                </a:lnTo>
                <a:lnTo>
                  <a:pt x="140" y="294"/>
                </a:lnTo>
                <a:lnTo>
                  <a:pt x="140" y="296"/>
                </a:lnTo>
                <a:lnTo>
                  <a:pt x="138" y="296"/>
                </a:lnTo>
                <a:lnTo>
                  <a:pt x="136" y="300"/>
                </a:lnTo>
                <a:lnTo>
                  <a:pt x="126" y="304"/>
                </a:lnTo>
                <a:lnTo>
                  <a:pt x="122" y="304"/>
                </a:lnTo>
                <a:lnTo>
                  <a:pt x="116" y="304"/>
                </a:lnTo>
                <a:lnTo>
                  <a:pt x="114" y="304"/>
                </a:lnTo>
                <a:lnTo>
                  <a:pt x="114" y="302"/>
                </a:lnTo>
                <a:lnTo>
                  <a:pt x="116" y="300"/>
                </a:lnTo>
                <a:lnTo>
                  <a:pt x="118" y="300"/>
                </a:lnTo>
                <a:lnTo>
                  <a:pt x="118" y="296"/>
                </a:lnTo>
                <a:lnTo>
                  <a:pt x="114" y="294"/>
                </a:lnTo>
                <a:lnTo>
                  <a:pt x="110" y="292"/>
                </a:lnTo>
                <a:lnTo>
                  <a:pt x="108" y="292"/>
                </a:lnTo>
                <a:lnTo>
                  <a:pt x="106" y="292"/>
                </a:lnTo>
                <a:lnTo>
                  <a:pt x="108" y="294"/>
                </a:lnTo>
                <a:lnTo>
                  <a:pt x="110" y="294"/>
                </a:lnTo>
                <a:lnTo>
                  <a:pt x="110" y="296"/>
                </a:lnTo>
                <a:lnTo>
                  <a:pt x="110" y="300"/>
                </a:lnTo>
                <a:lnTo>
                  <a:pt x="110" y="302"/>
                </a:lnTo>
                <a:lnTo>
                  <a:pt x="110" y="306"/>
                </a:lnTo>
                <a:lnTo>
                  <a:pt x="108" y="306"/>
                </a:lnTo>
                <a:lnTo>
                  <a:pt x="106" y="308"/>
                </a:lnTo>
                <a:lnTo>
                  <a:pt x="102" y="308"/>
                </a:lnTo>
                <a:lnTo>
                  <a:pt x="94" y="310"/>
                </a:lnTo>
                <a:lnTo>
                  <a:pt x="92" y="312"/>
                </a:lnTo>
                <a:lnTo>
                  <a:pt x="82" y="316"/>
                </a:lnTo>
                <a:lnTo>
                  <a:pt x="80" y="314"/>
                </a:lnTo>
                <a:lnTo>
                  <a:pt x="72" y="312"/>
                </a:lnTo>
                <a:lnTo>
                  <a:pt x="66" y="312"/>
                </a:lnTo>
                <a:lnTo>
                  <a:pt x="58" y="310"/>
                </a:lnTo>
                <a:lnTo>
                  <a:pt x="54" y="312"/>
                </a:lnTo>
                <a:lnTo>
                  <a:pt x="50" y="314"/>
                </a:lnTo>
                <a:lnTo>
                  <a:pt x="44" y="312"/>
                </a:lnTo>
                <a:lnTo>
                  <a:pt x="42" y="312"/>
                </a:lnTo>
                <a:lnTo>
                  <a:pt x="40" y="306"/>
                </a:lnTo>
                <a:lnTo>
                  <a:pt x="30" y="304"/>
                </a:lnTo>
                <a:lnTo>
                  <a:pt x="24" y="306"/>
                </a:lnTo>
                <a:lnTo>
                  <a:pt x="20" y="306"/>
                </a:lnTo>
                <a:lnTo>
                  <a:pt x="18" y="306"/>
                </a:lnTo>
                <a:lnTo>
                  <a:pt x="18" y="304"/>
                </a:lnTo>
                <a:lnTo>
                  <a:pt x="20" y="302"/>
                </a:lnTo>
                <a:lnTo>
                  <a:pt x="22" y="302"/>
                </a:lnTo>
                <a:lnTo>
                  <a:pt x="26" y="300"/>
                </a:lnTo>
                <a:lnTo>
                  <a:pt x="28" y="300"/>
                </a:lnTo>
                <a:lnTo>
                  <a:pt x="30" y="300"/>
                </a:lnTo>
                <a:lnTo>
                  <a:pt x="34" y="298"/>
                </a:lnTo>
                <a:lnTo>
                  <a:pt x="34" y="296"/>
                </a:lnTo>
                <a:lnTo>
                  <a:pt x="30" y="296"/>
                </a:lnTo>
                <a:lnTo>
                  <a:pt x="22" y="298"/>
                </a:lnTo>
                <a:lnTo>
                  <a:pt x="20" y="298"/>
                </a:lnTo>
                <a:lnTo>
                  <a:pt x="20" y="296"/>
                </a:lnTo>
                <a:lnTo>
                  <a:pt x="24" y="296"/>
                </a:lnTo>
                <a:lnTo>
                  <a:pt x="26" y="294"/>
                </a:lnTo>
                <a:lnTo>
                  <a:pt x="34" y="292"/>
                </a:lnTo>
                <a:lnTo>
                  <a:pt x="38" y="292"/>
                </a:lnTo>
                <a:lnTo>
                  <a:pt x="40" y="292"/>
                </a:lnTo>
                <a:lnTo>
                  <a:pt x="44" y="292"/>
                </a:lnTo>
                <a:lnTo>
                  <a:pt x="46" y="290"/>
                </a:lnTo>
                <a:lnTo>
                  <a:pt x="46" y="288"/>
                </a:lnTo>
                <a:lnTo>
                  <a:pt x="42" y="284"/>
                </a:lnTo>
                <a:lnTo>
                  <a:pt x="40" y="288"/>
                </a:lnTo>
                <a:lnTo>
                  <a:pt x="34" y="288"/>
                </a:lnTo>
                <a:lnTo>
                  <a:pt x="26" y="288"/>
                </a:lnTo>
                <a:lnTo>
                  <a:pt x="24" y="288"/>
                </a:lnTo>
                <a:lnTo>
                  <a:pt x="18" y="288"/>
                </a:lnTo>
                <a:lnTo>
                  <a:pt x="16" y="290"/>
                </a:lnTo>
                <a:lnTo>
                  <a:pt x="10" y="290"/>
                </a:lnTo>
                <a:lnTo>
                  <a:pt x="6" y="288"/>
                </a:lnTo>
                <a:lnTo>
                  <a:pt x="6" y="286"/>
                </a:lnTo>
                <a:lnTo>
                  <a:pt x="10" y="284"/>
                </a:lnTo>
                <a:lnTo>
                  <a:pt x="16" y="284"/>
                </a:lnTo>
                <a:lnTo>
                  <a:pt x="18" y="280"/>
                </a:lnTo>
                <a:lnTo>
                  <a:pt x="16" y="280"/>
                </a:lnTo>
                <a:lnTo>
                  <a:pt x="18" y="278"/>
                </a:lnTo>
                <a:lnTo>
                  <a:pt x="22" y="278"/>
                </a:lnTo>
                <a:lnTo>
                  <a:pt x="30" y="276"/>
                </a:lnTo>
                <a:lnTo>
                  <a:pt x="42" y="274"/>
                </a:lnTo>
                <a:lnTo>
                  <a:pt x="42" y="272"/>
                </a:lnTo>
                <a:lnTo>
                  <a:pt x="40" y="272"/>
                </a:lnTo>
                <a:lnTo>
                  <a:pt x="38" y="272"/>
                </a:lnTo>
                <a:lnTo>
                  <a:pt x="36" y="272"/>
                </a:lnTo>
                <a:lnTo>
                  <a:pt x="22" y="272"/>
                </a:lnTo>
                <a:lnTo>
                  <a:pt x="14" y="274"/>
                </a:lnTo>
                <a:lnTo>
                  <a:pt x="12" y="274"/>
                </a:lnTo>
                <a:lnTo>
                  <a:pt x="8" y="270"/>
                </a:lnTo>
                <a:lnTo>
                  <a:pt x="10" y="268"/>
                </a:lnTo>
                <a:lnTo>
                  <a:pt x="10" y="266"/>
                </a:lnTo>
                <a:lnTo>
                  <a:pt x="10" y="264"/>
                </a:lnTo>
                <a:lnTo>
                  <a:pt x="8" y="264"/>
                </a:lnTo>
                <a:lnTo>
                  <a:pt x="6" y="264"/>
                </a:lnTo>
                <a:lnTo>
                  <a:pt x="0" y="268"/>
                </a:lnTo>
                <a:lnTo>
                  <a:pt x="0" y="262"/>
                </a:lnTo>
                <a:lnTo>
                  <a:pt x="0" y="258"/>
                </a:lnTo>
                <a:lnTo>
                  <a:pt x="10" y="250"/>
                </a:lnTo>
                <a:lnTo>
                  <a:pt x="18" y="250"/>
                </a:lnTo>
                <a:lnTo>
                  <a:pt x="20" y="250"/>
                </a:lnTo>
                <a:lnTo>
                  <a:pt x="22" y="250"/>
                </a:lnTo>
                <a:lnTo>
                  <a:pt x="26" y="250"/>
                </a:lnTo>
                <a:lnTo>
                  <a:pt x="38" y="248"/>
                </a:lnTo>
                <a:lnTo>
                  <a:pt x="42" y="246"/>
                </a:lnTo>
                <a:lnTo>
                  <a:pt x="40" y="244"/>
                </a:lnTo>
                <a:lnTo>
                  <a:pt x="38" y="244"/>
                </a:lnTo>
                <a:lnTo>
                  <a:pt x="36" y="242"/>
                </a:lnTo>
                <a:lnTo>
                  <a:pt x="32" y="242"/>
                </a:lnTo>
                <a:lnTo>
                  <a:pt x="28" y="242"/>
                </a:lnTo>
                <a:lnTo>
                  <a:pt x="26" y="242"/>
                </a:lnTo>
                <a:lnTo>
                  <a:pt x="24" y="242"/>
                </a:lnTo>
                <a:lnTo>
                  <a:pt x="18" y="242"/>
                </a:lnTo>
                <a:lnTo>
                  <a:pt x="14" y="240"/>
                </a:lnTo>
                <a:lnTo>
                  <a:pt x="10" y="238"/>
                </a:lnTo>
                <a:lnTo>
                  <a:pt x="8" y="238"/>
                </a:lnTo>
                <a:lnTo>
                  <a:pt x="4" y="238"/>
                </a:lnTo>
                <a:lnTo>
                  <a:pt x="2" y="236"/>
                </a:lnTo>
                <a:lnTo>
                  <a:pt x="4" y="234"/>
                </a:lnTo>
                <a:lnTo>
                  <a:pt x="4" y="232"/>
                </a:lnTo>
                <a:lnTo>
                  <a:pt x="6" y="230"/>
                </a:lnTo>
                <a:lnTo>
                  <a:pt x="12" y="228"/>
                </a:lnTo>
                <a:lnTo>
                  <a:pt x="18" y="226"/>
                </a:lnTo>
                <a:lnTo>
                  <a:pt x="20" y="226"/>
                </a:lnTo>
                <a:lnTo>
                  <a:pt x="22" y="226"/>
                </a:lnTo>
                <a:lnTo>
                  <a:pt x="24" y="226"/>
                </a:lnTo>
                <a:lnTo>
                  <a:pt x="24" y="228"/>
                </a:lnTo>
                <a:lnTo>
                  <a:pt x="34" y="234"/>
                </a:lnTo>
                <a:lnTo>
                  <a:pt x="36" y="236"/>
                </a:lnTo>
                <a:lnTo>
                  <a:pt x="38" y="236"/>
                </a:lnTo>
                <a:lnTo>
                  <a:pt x="46" y="238"/>
                </a:lnTo>
                <a:lnTo>
                  <a:pt x="46" y="234"/>
                </a:lnTo>
                <a:lnTo>
                  <a:pt x="44" y="234"/>
                </a:lnTo>
                <a:lnTo>
                  <a:pt x="42" y="232"/>
                </a:lnTo>
                <a:lnTo>
                  <a:pt x="44" y="224"/>
                </a:lnTo>
                <a:lnTo>
                  <a:pt x="50" y="220"/>
                </a:lnTo>
                <a:lnTo>
                  <a:pt x="58" y="214"/>
                </a:lnTo>
                <a:lnTo>
                  <a:pt x="58" y="212"/>
                </a:lnTo>
                <a:lnTo>
                  <a:pt x="60" y="210"/>
                </a:lnTo>
                <a:lnTo>
                  <a:pt x="62" y="210"/>
                </a:lnTo>
                <a:lnTo>
                  <a:pt x="76" y="214"/>
                </a:lnTo>
                <a:lnTo>
                  <a:pt x="76" y="216"/>
                </a:lnTo>
                <a:lnTo>
                  <a:pt x="78" y="216"/>
                </a:lnTo>
                <a:lnTo>
                  <a:pt x="84" y="216"/>
                </a:lnTo>
                <a:lnTo>
                  <a:pt x="98" y="216"/>
                </a:lnTo>
                <a:lnTo>
                  <a:pt x="108" y="216"/>
                </a:lnTo>
                <a:lnTo>
                  <a:pt x="106" y="214"/>
                </a:lnTo>
                <a:lnTo>
                  <a:pt x="102" y="210"/>
                </a:lnTo>
                <a:lnTo>
                  <a:pt x="98" y="206"/>
                </a:lnTo>
                <a:lnTo>
                  <a:pt x="98" y="208"/>
                </a:lnTo>
                <a:lnTo>
                  <a:pt x="96" y="210"/>
                </a:lnTo>
                <a:lnTo>
                  <a:pt x="92" y="212"/>
                </a:lnTo>
                <a:lnTo>
                  <a:pt x="90" y="214"/>
                </a:lnTo>
                <a:lnTo>
                  <a:pt x="88" y="214"/>
                </a:lnTo>
                <a:lnTo>
                  <a:pt x="84" y="214"/>
                </a:lnTo>
                <a:lnTo>
                  <a:pt x="70" y="210"/>
                </a:lnTo>
                <a:lnTo>
                  <a:pt x="68" y="206"/>
                </a:lnTo>
                <a:lnTo>
                  <a:pt x="58" y="206"/>
                </a:lnTo>
                <a:lnTo>
                  <a:pt x="58" y="208"/>
                </a:lnTo>
                <a:lnTo>
                  <a:pt x="52" y="208"/>
                </a:lnTo>
                <a:lnTo>
                  <a:pt x="48" y="208"/>
                </a:lnTo>
                <a:lnTo>
                  <a:pt x="46" y="208"/>
                </a:lnTo>
                <a:lnTo>
                  <a:pt x="46" y="206"/>
                </a:lnTo>
                <a:lnTo>
                  <a:pt x="50" y="206"/>
                </a:lnTo>
                <a:lnTo>
                  <a:pt x="52" y="206"/>
                </a:lnTo>
                <a:lnTo>
                  <a:pt x="58" y="202"/>
                </a:lnTo>
                <a:lnTo>
                  <a:pt x="70" y="196"/>
                </a:lnTo>
                <a:lnTo>
                  <a:pt x="76" y="194"/>
                </a:lnTo>
                <a:lnTo>
                  <a:pt x="84" y="186"/>
                </a:lnTo>
                <a:lnTo>
                  <a:pt x="84" y="184"/>
                </a:lnTo>
                <a:lnTo>
                  <a:pt x="80" y="182"/>
                </a:lnTo>
                <a:lnTo>
                  <a:pt x="98" y="166"/>
                </a:lnTo>
                <a:lnTo>
                  <a:pt x="100" y="166"/>
                </a:lnTo>
                <a:lnTo>
                  <a:pt x="100" y="168"/>
                </a:lnTo>
                <a:lnTo>
                  <a:pt x="102" y="168"/>
                </a:lnTo>
                <a:lnTo>
                  <a:pt x="102" y="170"/>
                </a:lnTo>
                <a:lnTo>
                  <a:pt x="104" y="172"/>
                </a:lnTo>
                <a:lnTo>
                  <a:pt x="108" y="172"/>
                </a:lnTo>
                <a:lnTo>
                  <a:pt x="112" y="17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4" name="Freeform 2624"/>
          <p:cNvSpPr>
            <a:spLocks/>
          </p:cNvSpPr>
          <p:nvPr/>
        </p:nvSpPr>
        <p:spPr bwMode="auto">
          <a:xfrm>
            <a:off x="5203192" y="3848103"/>
            <a:ext cx="856564" cy="759093"/>
          </a:xfrm>
          <a:custGeom>
            <a:avLst/>
            <a:gdLst/>
            <a:ahLst/>
            <a:cxnLst>
              <a:cxn ang="0">
                <a:pos x="70" y="376"/>
              </a:cxn>
              <a:cxn ang="0">
                <a:pos x="58" y="354"/>
              </a:cxn>
              <a:cxn ang="0">
                <a:pos x="44" y="354"/>
              </a:cxn>
              <a:cxn ang="0">
                <a:pos x="46" y="322"/>
              </a:cxn>
              <a:cxn ang="0">
                <a:pos x="34" y="300"/>
              </a:cxn>
              <a:cxn ang="0">
                <a:pos x="30" y="272"/>
              </a:cxn>
              <a:cxn ang="0">
                <a:pos x="22" y="224"/>
              </a:cxn>
              <a:cxn ang="0">
                <a:pos x="18" y="202"/>
              </a:cxn>
              <a:cxn ang="0">
                <a:pos x="6" y="172"/>
              </a:cxn>
              <a:cxn ang="0">
                <a:pos x="8" y="108"/>
              </a:cxn>
              <a:cxn ang="0">
                <a:pos x="24" y="92"/>
              </a:cxn>
              <a:cxn ang="0">
                <a:pos x="6" y="86"/>
              </a:cxn>
              <a:cxn ang="0">
                <a:pos x="34" y="78"/>
              </a:cxn>
              <a:cxn ang="0">
                <a:pos x="74" y="64"/>
              </a:cxn>
              <a:cxn ang="0">
                <a:pos x="110" y="56"/>
              </a:cxn>
              <a:cxn ang="0">
                <a:pos x="128" y="32"/>
              </a:cxn>
              <a:cxn ang="0">
                <a:pos x="148" y="24"/>
              </a:cxn>
              <a:cxn ang="0">
                <a:pos x="184" y="8"/>
              </a:cxn>
              <a:cxn ang="0">
                <a:pos x="228" y="0"/>
              </a:cxn>
              <a:cxn ang="0">
                <a:pos x="252" y="18"/>
              </a:cxn>
              <a:cxn ang="0">
                <a:pos x="234" y="8"/>
              </a:cxn>
              <a:cxn ang="0">
                <a:pos x="242" y="36"/>
              </a:cxn>
              <a:cxn ang="0">
                <a:pos x="266" y="42"/>
              </a:cxn>
              <a:cxn ang="0">
                <a:pos x="298" y="30"/>
              </a:cxn>
              <a:cxn ang="0">
                <a:pos x="284" y="48"/>
              </a:cxn>
              <a:cxn ang="0">
                <a:pos x="320" y="32"/>
              </a:cxn>
              <a:cxn ang="0">
                <a:pos x="380" y="36"/>
              </a:cxn>
              <a:cxn ang="0">
                <a:pos x="404" y="34"/>
              </a:cxn>
              <a:cxn ang="0">
                <a:pos x="448" y="28"/>
              </a:cxn>
              <a:cxn ang="0">
                <a:pos x="478" y="22"/>
              </a:cxn>
              <a:cxn ang="0">
                <a:pos x="508" y="50"/>
              </a:cxn>
              <a:cxn ang="0">
                <a:pos x="518" y="86"/>
              </a:cxn>
              <a:cxn ang="0">
                <a:pos x="542" y="148"/>
              </a:cxn>
              <a:cxn ang="0">
                <a:pos x="534" y="180"/>
              </a:cxn>
              <a:cxn ang="0">
                <a:pos x="510" y="204"/>
              </a:cxn>
              <a:cxn ang="0">
                <a:pos x="536" y="240"/>
              </a:cxn>
              <a:cxn ang="0">
                <a:pos x="540" y="280"/>
              </a:cxn>
              <a:cxn ang="0">
                <a:pos x="556" y="312"/>
              </a:cxn>
              <a:cxn ang="0">
                <a:pos x="578" y="338"/>
              </a:cxn>
              <a:cxn ang="0">
                <a:pos x="578" y="358"/>
              </a:cxn>
              <a:cxn ang="0">
                <a:pos x="562" y="382"/>
              </a:cxn>
              <a:cxn ang="0">
                <a:pos x="538" y="410"/>
              </a:cxn>
              <a:cxn ang="0">
                <a:pos x="504" y="468"/>
              </a:cxn>
              <a:cxn ang="0">
                <a:pos x="522" y="508"/>
              </a:cxn>
              <a:cxn ang="0">
                <a:pos x="488" y="506"/>
              </a:cxn>
              <a:cxn ang="0">
                <a:pos x="438" y="484"/>
              </a:cxn>
              <a:cxn ang="0">
                <a:pos x="410" y="492"/>
              </a:cxn>
              <a:cxn ang="0">
                <a:pos x="366" y="494"/>
              </a:cxn>
              <a:cxn ang="0">
                <a:pos x="348" y="510"/>
              </a:cxn>
              <a:cxn ang="0">
                <a:pos x="334" y="508"/>
              </a:cxn>
              <a:cxn ang="0">
                <a:pos x="318" y="482"/>
              </a:cxn>
              <a:cxn ang="0">
                <a:pos x="296" y="496"/>
              </a:cxn>
              <a:cxn ang="0">
                <a:pos x="276" y="472"/>
              </a:cxn>
              <a:cxn ang="0">
                <a:pos x="230" y="440"/>
              </a:cxn>
              <a:cxn ang="0">
                <a:pos x="204" y="428"/>
              </a:cxn>
              <a:cxn ang="0">
                <a:pos x="202" y="420"/>
              </a:cxn>
              <a:cxn ang="0">
                <a:pos x="162" y="406"/>
              </a:cxn>
              <a:cxn ang="0">
                <a:pos x="156" y="428"/>
              </a:cxn>
              <a:cxn ang="0">
                <a:pos x="140" y="428"/>
              </a:cxn>
              <a:cxn ang="0">
                <a:pos x="118" y="406"/>
              </a:cxn>
              <a:cxn ang="0">
                <a:pos x="120" y="384"/>
              </a:cxn>
            </a:cxnLst>
            <a:rect l="0" t="0" r="r" b="b"/>
            <a:pathLst>
              <a:path w="580" h="514">
                <a:moveTo>
                  <a:pt x="114" y="386"/>
                </a:moveTo>
                <a:lnTo>
                  <a:pt x="110" y="388"/>
                </a:lnTo>
                <a:lnTo>
                  <a:pt x="108" y="388"/>
                </a:lnTo>
                <a:lnTo>
                  <a:pt x="104" y="384"/>
                </a:lnTo>
                <a:lnTo>
                  <a:pt x="94" y="378"/>
                </a:lnTo>
                <a:lnTo>
                  <a:pt x="84" y="376"/>
                </a:lnTo>
                <a:lnTo>
                  <a:pt x="76" y="374"/>
                </a:lnTo>
                <a:lnTo>
                  <a:pt x="70" y="376"/>
                </a:lnTo>
                <a:lnTo>
                  <a:pt x="70" y="370"/>
                </a:lnTo>
                <a:lnTo>
                  <a:pt x="66" y="368"/>
                </a:lnTo>
                <a:lnTo>
                  <a:pt x="64" y="366"/>
                </a:lnTo>
                <a:lnTo>
                  <a:pt x="64" y="362"/>
                </a:lnTo>
                <a:lnTo>
                  <a:pt x="66" y="360"/>
                </a:lnTo>
                <a:lnTo>
                  <a:pt x="64" y="358"/>
                </a:lnTo>
                <a:lnTo>
                  <a:pt x="62" y="356"/>
                </a:lnTo>
                <a:lnTo>
                  <a:pt x="58" y="354"/>
                </a:lnTo>
                <a:lnTo>
                  <a:pt x="50" y="358"/>
                </a:lnTo>
                <a:lnTo>
                  <a:pt x="50" y="360"/>
                </a:lnTo>
                <a:lnTo>
                  <a:pt x="48" y="368"/>
                </a:lnTo>
                <a:lnTo>
                  <a:pt x="46" y="368"/>
                </a:lnTo>
                <a:lnTo>
                  <a:pt x="38" y="368"/>
                </a:lnTo>
                <a:lnTo>
                  <a:pt x="38" y="366"/>
                </a:lnTo>
                <a:lnTo>
                  <a:pt x="42" y="358"/>
                </a:lnTo>
                <a:lnTo>
                  <a:pt x="44" y="354"/>
                </a:lnTo>
                <a:lnTo>
                  <a:pt x="46" y="350"/>
                </a:lnTo>
                <a:lnTo>
                  <a:pt x="48" y="348"/>
                </a:lnTo>
                <a:lnTo>
                  <a:pt x="48" y="344"/>
                </a:lnTo>
                <a:lnTo>
                  <a:pt x="50" y="334"/>
                </a:lnTo>
                <a:lnTo>
                  <a:pt x="50" y="330"/>
                </a:lnTo>
                <a:lnTo>
                  <a:pt x="48" y="326"/>
                </a:lnTo>
                <a:lnTo>
                  <a:pt x="48" y="324"/>
                </a:lnTo>
                <a:lnTo>
                  <a:pt x="46" y="322"/>
                </a:lnTo>
                <a:lnTo>
                  <a:pt x="48" y="322"/>
                </a:lnTo>
                <a:lnTo>
                  <a:pt x="46" y="314"/>
                </a:lnTo>
                <a:lnTo>
                  <a:pt x="46" y="312"/>
                </a:lnTo>
                <a:lnTo>
                  <a:pt x="44" y="310"/>
                </a:lnTo>
                <a:lnTo>
                  <a:pt x="40" y="310"/>
                </a:lnTo>
                <a:lnTo>
                  <a:pt x="34" y="306"/>
                </a:lnTo>
                <a:lnTo>
                  <a:pt x="32" y="304"/>
                </a:lnTo>
                <a:lnTo>
                  <a:pt x="34" y="300"/>
                </a:lnTo>
                <a:lnTo>
                  <a:pt x="34" y="294"/>
                </a:lnTo>
                <a:lnTo>
                  <a:pt x="32" y="292"/>
                </a:lnTo>
                <a:lnTo>
                  <a:pt x="32" y="290"/>
                </a:lnTo>
                <a:lnTo>
                  <a:pt x="30" y="288"/>
                </a:lnTo>
                <a:lnTo>
                  <a:pt x="26" y="280"/>
                </a:lnTo>
                <a:lnTo>
                  <a:pt x="26" y="278"/>
                </a:lnTo>
                <a:lnTo>
                  <a:pt x="28" y="276"/>
                </a:lnTo>
                <a:lnTo>
                  <a:pt x="30" y="272"/>
                </a:lnTo>
                <a:lnTo>
                  <a:pt x="32" y="268"/>
                </a:lnTo>
                <a:lnTo>
                  <a:pt x="34" y="256"/>
                </a:lnTo>
                <a:lnTo>
                  <a:pt x="32" y="240"/>
                </a:lnTo>
                <a:lnTo>
                  <a:pt x="28" y="240"/>
                </a:lnTo>
                <a:lnTo>
                  <a:pt x="26" y="238"/>
                </a:lnTo>
                <a:lnTo>
                  <a:pt x="24" y="236"/>
                </a:lnTo>
                <a:lnTo>
                  <a:pt x="22" y="226"/>
                </a:lnTo>
                <a:lnTo>
                  <a:pt x="22" y="224"/>
                </a:lnTo>
                <a:lnTo>
                  <a:pt x="24" y="224"/>
                </a:lnTo>
                <a:lnTo>
                  <a:pt x="24" y="222"/>
                </a:lnTo>
                <a:lnTo>
                  <a:pt x="28" y="218"/>
                </a:lnTo>
                <a:lnTo>
                  <a:pt x="28" y="210"/>
                </a:lnTo>
                <a:lnTo>
                  <a:pt x="26" y="208"/>
                </a:lnTo>
                <a:lnTo>
                  <a:pt x="24" y="206"/>
                </a:lnTo>
                <a:lnTo>
                  <a:pt x="20" y="204"/>
                </a:lnTo>
                <a:lnTo>
                  <a:pt x="18" y="202"/>
                </a:lnTo>
                <a:lnTo>
                  <a:pt x="14" y="196"/>
                </a:lnTo>
                <a:lnTo>
                  <a:pt x="12" y="194"/>
                </a:lnTo>
                <a:lnTo>
                  <a:pt x="4" y="188"/>
                </a:lnTo>
                <a:lnTo>
                  <a:pt x="0" y="184"/>
                </a:lnTo>
                <a:lnTo>
                  <a:pt x="0" y="176"/>
                </a:lnTo>
                <a:lnTo>
                  <a:pt x="2" y="174"/>
                </a:lnTo>
                <a:lnTo>
                  <a:pt x="4" y="174"/>
                </a:lnTo>
                <a:lnTo>
                  <a:pt x="6" y="172"/>
                </a:lnTo>
                <a:lnTo>
                  <a:pt x="8" y="170"/>
                </a:lnTo>
                <a:lnTo>
                  <a:pt x="12" y="166"/>
                </a:lnTo>
                <a:lnTo>
                  <a:pt x="14" y="160"/>
                </a:lnTo>
                <a:lnTo>
                  <a:pt x="14" y="158"/>
                </a:lnTo>
                <a:lnTo>
                  <a:pt x="16" y="144"/>
                </a:lnTo>
                <a:lnTo>
                  <a:pt x="16" y="140"/>
                </a:lnTo>
                <a:lnTo>
                  <a:pt x="10" y="120"/>
                </a:lnTo>
                <a:lnTo>
                  <a:pt x="8" y="108"/>
                </a:lnTo>
                <a:lnTo>
                  <a:pt x="14" y="108"/>
                </a:lnTo>
                <a:lnTo>
                  <a:pt x="16" y="108"/>
                </a:lnTo>
                <a:lnTo>
                  <a:pt x="22" y="112"/>
                </a:lnTo>
                <a:lnTo>
                  <a:pt x="24" y="110"/>
                </a:lnTo>
                <a:lnTo>
                  <a:pt x="28" y="100"/>
                </a:lnTo>
                <a:lnTo>
                  <a:pt x="28" y="96"/>
                </a:lnTo>
                <a:lnTo>
                  <a:pt x="26" y="94"/>
                </a:lnTo>
                <a:lnTo>
                  <a:pt x="24" y="92"/>
                </a:lnTo>
                <a:lnTo>
                  <a:pt x="20" y="92"/>
                </a:lnTo>
                <a:lnTo>
                  <a:pt x="16" y="92"/>
                </a:lnTo>
                <a:lnTo>
                  <a:pt x="12" y="98"/>
                </a:lnTo>
                <a:lnTo>
                  <a:pt x="10" y="96"/>
                </a:lnTo>
                <a:lnTo>
                  <a:pt x="8" y="94"/>
                </a:lnTo>
                <a:lnTo>
                  <a:pt x="6" y="92"/>
                </a:lnTo>
                <a:lnTo>
                  <a:pt x="6" y="88"/>
                </a:lnTo>
                <a:lnTo>
                  <a:pt x="6" y="86"/>
                </a:lnTo>
                <a:lnTo>
                  <a:pt x="8" y="86"/>
                </a:lnTo>
                <a:lnTo>
                  <a:pt x="12" y="88"/>
                </a:lnTo>
                <a:lnTo>
                  <a:pt x="14" y="88"/>
                </a:lnTo>
                <a:lnTo>
                  <a:pt x="16" y="86"/>
                </a:lnTo>
                <a:lnTo>
                  <a:pt x="20" y="84"/>
                </a:lnTo>
                <a:lnTo>
                  <a:pt x="22" y="84"/>
                </a:lnTo>
                <a:lnTo>
                  <a:pt x="24" y="82"/>
                </a:lnTo>
                <a:lnTo>
                  <a:pt x="34" y="78"/>
                </a:lnTo>
                <a:lnTo>
                  <a:pt x="38" y="76"/>
                </a:lnTo>
                <a:lnTo>
                  <a:pt x="48" y="74"/>
                </a:lnTo>
                <a:lnTo>
                  <a:pt x="60" y="68"/>
                </a:lnTo>
                <a:lnTo>
                  <a:pt x="64" y="66"/>
                </a:lnTo>
                <a:lnTo>
                  <a:pt x="68" y="66"/>
                </a:lnTo>
                <a:lnTo>
                  <a:pt x="70" y="66"/>
                </a:lnTo>
                <a:lnTo>
                  <a:pt x="72" y="64"/>
                </a:lnTo>
                <a:lnTo>
                  <a:pt x="74" y="64"/>
                </a:lnTo>
                <a:lnTo>
                  <a:pt x="84" y="62"/>
                </a:lnTo>
                <a:lnTo>
                  <a:pt x="90" y="60"/>
                </a:lnTo>
                <a:lnTo>
                  <a:pt x="90" y="58"/>
                </a:lnTo>
                <a:lnTo>
                  <a:pt x="94" y="58"/>
                </a:lnTo>
                <a:lnTo>
                  <a:pt x="96" y="58"/>
                </a:lnTo>
                <a:lnTo>
                  <a:pt x="104" y="56"/>
                </a:lnTo>
                <a:lnTo>
                  <a:pt x="106" y="56"/>
                </a:lnTo>
                <a:lnTo>
                  <a:pt x="110" y="56"/>
                </a:lnTo>
                <a:lnTo>
                  <a:pt x="112" y="56"/>
                </a:lnTo>
                <a:lnTo>
                  <a:pt x="114" y="54"/>
                </a:lnTo>
                <a:lnTo>
                  <a:pt x="120" y="46"/>
                </a:lnTo>
                <a:lnTo>
                  <a:pt x="118" y="46"/>
                </a:lnTo>
                <a:lnTo>
                  <a:pt x="118" y="44"/>
                </a:lnTo>
                <a:lnTo>
                  <a:pt x="124" y="36"/>
                </a:lnTo>
                <a:lnTo>
                  <a:pt x="126" y="34"/>
                </a:lnTo>
                <a:lnTo>
                  <a:pt x="128" y="32"/>
                </a:lnTo>
                <a:lnTo>
                  <a:pt x="130" y="30"/>
                </a:lnTo>
                <a:lnTo>
                  <a:pt x="132" y="30"/>
                </a:lnTo>
                <a:lnTo>
                  <a:pt x="132" y="28"/>
                </a:lnTo>
                <a:lnTo>
                  <a:pt x="136" y="28"/>
                </a:lnTo>
                <a:lnTo>
                  <a:pt x="138" y="26"/>
                </a:lnTo>
                <a:lnTo>
                  <a:pt x="140" y="26"/>
                </a:lnTo>
                <a:lnTo>
                  <a:pt x="144" y="26"/>
                </a:lnTo>
                <a:lnTo>
                  <a:pt x="148" y="24"/>
                </a:lnTo>
                <a:lnTo>
                  <a:pt x="150" y="24"/>
                </a:lnTo>
                <a:lnTo>
                  <a:pt x="152" y="22"/>
                </a:lnTo>
                <a:lnTo>
                  <a:pt x="156" y="18"/>
                </a:lnTo>
                <a:lnTo>
                  <a:pt x="158" y="16"/>
                </a:lnTo>
                <a:lnTo>
                  <a:pt x="168" y="10"/>
                </a:lnTo>
                <a:lnTo>
                  <a:pt x="174" y="8"/>
                </a:lnTo>
                <a:lnTo>
                  <a:pt x="178" y="8"/>
                </a:lnTo>
                <a:lnTo>
                  <a:pt x="184" y="8"/>
                </a:lnTo>
                <a:lnTo>
                  <a:pt x="186" y="6"/>
                </a:lnTo>
                <a:lnTo>
                  <a:pt x="192" y="4"/>
                </a:lnTo>
                <a:lnTo>
                  <a:pt x="196" y="4"/>
                </a:lnTo>
                <a:lnTo>
                  <a:pt x="202" y="0"/>
                </a:lnTo>
                <a:lnTo>
                  <a:pt x="204" y="0"/>
                </a:lnTo>
                <a:lnTo>
                  <a:pt x="210" y="0"/>
                </a:lnTo>
                <a:lnTo>
                  <a:pt x="226" y="0"/>
                </a:lnTo>
                <a:lnTo>
                  <a:pt x="228" y="0"/>
                </a:lnTo>
                <a:lnTo>
                  <a:pt x="232" y="4"/>
                </a:lnTo>
                <a:lnTo>
                  <a:pt x="236" y="6"/>
                </a:lnTo>
                <a:lnTo>
                  <a:pt x="238" y="8"/>
                </a:lnTo>
                <a:lnTo>
                  <a:pt x="240" y="8"/>
                </a:lnTo>
                <a:lnTo>
                  <a:pt x="246" y="10"/>
                </a:lnTo>
                <a:lnTo>
                  <a:pt x="248" y="12"/>
                </a:lnTo>
                <a:lnTo>
                  <a:pt x="250" y="14"/>
                </a:lnTo>
                <a:lnTo>
                  <a:pt x="252" y="18"/>
                </a:lnTo>
                <a:lnTo>
                  <a:pt x="252" y="20"/>
                </a:lnTo>
                <a:lnTo>
                  <a:pt x="250" y="18"/>
                </a:lnTo>
                <a:lnTo>
                  <a:pt x="250" y="16"/>
                </a:lnTo>
                <a:lnTo>
                  <a:pt x="248" y="14"/>
                </a:lnTo>
                <a:lnTo>
                  <a:pt x="246" y="12"/>
                </a:lnTo>
                <a:lnTo>
                  <a:pt x="238" y="8"/>
                </a:lnTo>
                <a:lnTo>
                  <a:pt x="234" y="6"/>
                </a:lnTo>
                <a:lnTo>
                  <a:pt x="234" y="8"/>
                </a:lnTo>
                <a:lnTo>
                  <a:pt x="230" y="8"/>
                </a:lnTo>
                <a:lnTo>
                  <a:pt x="234" y="14"/>
                </a:lnTo>
                <a:lnTo>
                  <a:pt x="236" y="18"/>
                </a:lnTo>
                <a:lnTo>
                  <a:pt x="238" y="20"/>
                </a:lnTo>
                <a:lnTo>
                  <a:pt x="238" y="24"/>
                </a:lnTo>
                <a:lnTo>
                  <a:pt x="240" y="32"/>
                </a:lnTo>
                <a:lnTo>
                  <a:pt x="240" y="34"/>
                </a:lnTo>
                <a:lnTo>
                  <a:pt x="242" y="36"/>
                </a:lnTo>
                <a:lnTo>
                  <a:pt x="248" y="40"/>
                </a:lnTo>
                <a:lnTo>
                  <a:pt x="250" y="42"/>
                </a:lnTo>
                <a:lnTo>
                  <a:pt x="254" y="42"/>
                </a:lnTo>
                <a:lnTo>
                  <a:pt x="258" y="42"/>
                </a:lnTo>
                <a:lnTo>
                  <a:pt x="260" y="42"/>
                </a:lnTo>
                <a:lnTo>
                  <a:pt x="262" y="42"/>
                </a:lnTo>
                <a:lnTo>
                  <a:pt x="264" y="42"/>
                </a:lnTo>
                <a:lnTo>
                  <a:pt x="266" y="42"/>
                </a:lnTo>
                <a:lnTo>
                  <a:pt x="272" y="42"/>
                </a:lnTo>
                <a:lnTo>
                  <a:pt x="274" y="42"/>
                </a:lnTo>
                <a:lnTo>
                  <a:pt x="284" y="38"/>
                </a:lnTo>
                <a:lnTo>
                  <a:pt x="286" y="38"/>
                </a:lnTo>
                <a:lnTo>
                  <a:pt x="290" y="36"/>
                </a:lnTo>
                <a:lnTo>
                  <a:pt x="292" y="34"/>
                </a:lnTo>
                <a:lnTo>
                  <a:pt x="296" y="30"/>
                </a:lnTo>
                <a:lnTo>
                  <a:pt x="298" y="30"/>
                </a:lnTo>
                <a:lnTo>
                  <a:pt x="296" y="32"/>
                </a:lnTo>
                <a:lnTo>
                  <a:pt x="292" y="36"/>
                </a:lnTo>
                <a:lnTo>
                  <a:pt x="286" y="40"/>
                </a:lnTo>
                <a:lnTo>
                  <a:pt x="284" y="40"/>
                </a:lnTo>
                <a:lnTo>
                  <a:pt x="278" y="42"/>
                </a:lnTo>
                <a:lnTo>
                  <a:pt x="276" y="42"/>
                </a:lnTo>
                <a:lnTo>
                  <a:pt x="278" y="48"/>
                </a:lnTo>
                <a:lnTo>
                  <a:pt x="284" y="48"/>
                </a:lnTo>
                <a:lnTo>
                  <a:pt x="288" y="44"/>
                </a:lnTo>
                <a:lnTo>
                  <a:pt x="294" y="40"/>
                </a:lnTo>
                <a:lnTo>
                  <a:pt x="296" y="40"/>
                </a:lnTo>
                <a:lnTo>
                  <a:pt x="302" y="38"/>
                </a:lnTo>
                <a:lnTo>
                  <a:pt x="306" y="32"/>
                </a:lnTo>
                <a:lnTo>
                  <a:pt x="308" y="32"/>
                </a:lnTo>
                <a:lnTo>
                  <a:pt x="316" y="32"/>
                </a:lnTo>
                <a:lnTo>
                  <a:pt x="320" y="32"/>
                </a:lnTo>
                <a:lnTo>
                  <a:pt x="324" y="32"/>
                </a:lnTo>
                <a:lnTo>
                  <a:pt x="334" y="34"/>
                </a:lnTo>
                <a:lnTo>
                  <a:pt x="336" y="34"/>
                </a:lnTo>
                <a:lnTo>
                  <a:pt x="340" y="34"/>
                </a:lnTo>
                <a:lnTo>
                  <a:pt x="356" y="36"/>
                </a:lnTo>
                <a:lnTo>
                  <a:pt x="366" y="34"/>
                </a:lnTo>
                <a:lnTo>
                  <a:pt x="378" y="36"/>
                </a:lnTo>
                <a:lnTo>
                  <a:pt x="380" y="36"/>
                </a:lnTo>
                <a:lnTo>
                  <a:pt x="382" y="36"/>
                </a:lnTo>
                <a:lnTo>
                  <a:pt x="386" y="36"/>
                </a:lnTo>
                <a:lnTo>
                  <a:pt x="390" y="36"/>
                </a:lnTo>
                <a:lnTo>
                  <a:pt x="392" y="36"/>
                </a:lnTo>
                <a:lnTo>
                  <a:pt x="394" y="36"/>
                </a:lnTo>
                <a:lnTo>
                  <a:pt x="398" y="34"/>
                </a:lnTo>
                <a:lnTo>
                  <a:pt x="402" y="34"/>
                </a:lnTo>
                <a:lnTo>
                  <a:pt x="404" y="34"/>
                </a:lnTo>
                <a:lnTo>
                  <a:pt x="410" y="34"/>
                </a:lnTo>
                <a:lnTo>
                  <a:pt x="416" y="34"/>
                </a:lnTo>
                <a:lnTo>
                  <a:pt x="424" y="32"/>
                </a:lnTo>
                <a:lnTo>
                  <a:pt x="432" y="30"/>
                </a:lnTo>
                <a:lnTo>
                  <a:pt x="438" y="30"/>
                </a:lnTo>
                <a:lnTo>
                  <a:pt x="440" y="30"/>
                </a:lnTo>
                <a:lnTo>
                  <a:pt x="448" y="30"/>
                </a:lnTo>
                <a:lnTo>
                  <a:pt x="448" y="28"/>
                </a:lnTo>
                <a:lnTo>
                  <a:pt x="458" y="28"/>
                </a:lnTo>
                <a:lnTo>
                  <a:pt x="460" y="26"/>
                </a:lnTo>
                <a:lnTo>
                  <a:pt x="464" y="26"/>
                </a:lnTo>
                <a:lnTo>
                  <a:pt x="466" y="24"/>
                </a:lnTo>
                <a:lnTo>
                  <a:pt x="468" y="22"/>
                </a:lnTo>
                <a:lnTo>
                  <a:pt x="468" y="20"/>
                </a:lnTo>
                <a:lnTo>
                  <a:pt x="470" y="20"/>
                </a:lnTo>
                <a:lnTo>
                  <a:pt x="478" y="22"/>
                </a:lnTo>
                <a:lnTo>
                  <a:pt x="484" y="30"/>
                </a:lnTo>
                <a:lnTo>
                  <a:pt x="490" y="30"/>
                </a:lnTo>
                <a:lnTo>
                  <a:pt x="496" y="34"/>
                </a:lnTo>
                <a:lnTo>
                  <a:pt x="498" y="34"/>
                </a:lnTo>
                <a:lnTo>
                  <a:pt x="504" y="38"/>
                </a:lnTo>
                <a:lnTo>
                  <a:pt x="506" y="42"/>
                </a:lnTo>
                <a:lnTo>
                  <a:pt x="506" y="44"/>
                </a:lnTo>
                <a:lnTo>
                  <a:pt x="508" y="50"/>
                </a:lnTo>
                <a:lnTo>
                  <a:pt x="510" y="58"/>
                </a:lnTo>
                <a:lnTo>
                  <a:pt x="510" y="60"/>
                </a:lnTo>
                <a:lnTo>
                  <a:pt x="510" y="62"/>
                </a:lnTo>
                <a:lnTo>
                  <a:pt x="510" y="64"/>
                </a:lnTo>
                <a:lnTo>
                  <a:pt x="512" y="68"/>
                </a:lnTo>
                <a:lnTo>
                  <a:pt x="516" y="78"/>
                </a:lnTo>
                <a:lnTo>
                  <a:pt x="516" y="82"/>
                </a:lnTo>
                <a:lnTo>
                  <a:pt x="518" y="86"/>
                </a:lnTo>
                <a:lnTo>
                  <a:pt x="518" y="88"/>
                </a:lnTo>
                <a:lnTo>
                  <a:pt x="520" y="94"/>
                </a:lnTo>
                <a:lnTo>
                  <a:pt x="522" y="100"/>
                </a:lnTo>
                <a:lnTo>
                  <a:pt x="524" y="104"/>
                </a:lnTo>
                <a:lnTo>
                  <a:pt x="530" y="116"/>
                </a:lnTo>
                <a:lnTo>
                  <a:pt x="536" y="126"/>
                </a:lnTo>
                <a:lnTo>
                  <a:pt x="542" y="142"/>
                </a:lnTo>
                <a:lnTo>
                  <a:pt x="542" y="148"/>
                </a:lnTo>
                <a:lnTo>
                  <a:pt x="544" y="156"/>
                </a:lnTo>
                <a:lnTo>
                  <a:pt x="546" y="164"/>
                </a:lnTo>
                <a:lnTo>
                  <a:pt x="546" y="166"/>
                </a:lnTo>
                <a:lnTo>
                  <a:pt x="546" y="170"/>
                </a:lnTo>
                <a:lnTo>
                  <a:pt x="544" y="172"/>
                </a:lnTo>
                <a:lnTo>
                  <a:pt x="542" y="174"/>
                </a:lnTo>
                <a:lnTo>
                  <a:pt x="536" y="180"/>
                </a:lnTo>
                <a:lnTo>
                  <a:pt x="534" y="180"/>
                </a:lnTo>
                <a:lnTo>
                  <a:pt x="532" y="180"/>
                </a:lnTo>
                <a:lnTo>
                  <a:pt x="530" y="182"/>
                </a:lnTo>
                <a:lnTo>
                  <a:pt x="528" y="182"/>
                </a:lnTo>
                <a:lnTo>
                  <a:pt x="524" y="184"/>
                </a:lnTo>
                <a:lnTo>
                  <a:pt x="524" y="186"/>
                </a:lnTo>
                <a:lnTo>
                  <a:pt x="518" y="190"/>
                </a:lnTo>
                <a:lnTo>
                  <a:pt x="518" y="192"/>
                </a:lnTo>
                <a:lnTo>
                  <a:pt x="510" y="204"/>
                </a:lnTo>
                <a:lnTo>
                  <a:pt x="508" y="214"/>
                </a:lnTo>
                <a:lnTo>
                  <a:pt x="510" y="218"/>
                </a:lnTo>
                <a:lnTo>
                  <a:pt x="516" y="218"/>
                </a:lnTo>
                <a:lnTo>
                  <a:pt x="518" y="218"/>
                </a:lnTo>
                <a:lnTo>
                  <a:pt x="534" y="226"/>
                </a:lnTo>
                <a:lnTo>
                  <a:pt x="536" y="230"/>
                </a:lnTo>
                <a:lnTo>
                  <a:pt x="538" y="236"/>
                </a:lnTo>
                <a:lnTo>
                  <a:pt x="536" y="240"/>
                </a:lnTo>
                <a:lnTo>
                  <a:pt x="536" y="244"/>
                </a:lnTo>
                <a:lnTo>
                  <a:pt x="534" y="260"/>
                </a:lnTo>
                <a:lnTo>
                  <a:pt x="534" y="266"/>
                </a:lnTo>
                <a:lnTo>
                  <a:pt x="536" y="268"/>
                </a:lnTo>
                <a:lnTo>
                  <a:pt x="534" y="268"/>
                </a:lnTo>
                <a:lnTo>
                  <a:pt x="536" y="274"/>
                </a:lnTo>
                <a:lnTo>
                  <a:pt x="538" y="278"/>
                </a:lnTo>
                <a:lnTo>
                  <a:pt x="540" y="280"/>
                </a:lnTo>
                <a:lnTo>
                  <a:pt x="540" y="282"/>
                </a:lnTo>
                <a:lnTo>
                  <a:pt x="542" y="284"/>
                </a:lnTo>
                <a:lnTo>
                  <a:pt x="546" y="290"/>
                </a:lnTo>
                <a:lnTo>
                  <a:pt x="546" y="294"/>
                </a:lnTo>
                <a:lnTo>
                  <a:pt x="548" y="300"/>
                </a:lnTo>
                <a:lnTo>
                  <a:pt x="550" y="308"/>
                </a:lnTo>
                <a:lnTo>
                  <a:pt x="552" y="310"/>
                </a:lnTo>
                <a:lnTo>
                  <a:pt x="556" y="312"/>
                </a:lnTo>
                <a:lnTo>
                  <a:pt x="562" y="320"/>
                </a:lnTo>
                <a:lnTo>
                  <a:pt x="564" y="326"/>
                </a:lnTo>
                <a:lnTo>
                  <a:pt x="568" y="330"/>
                </a:lnTo>
                <a:lnTo>
                  <a:pt x="568" y="332"/>
                </a:lnTo>
                <a:lnTo>
                  <a:pt x="572" y="334"/>
                </a:lnTo>
                <a:lnTo>
                  <a:pt x="572" y="336"/>
                </a:lnTo>
                <a:lnTo>
                  <a:pt x="574" y="336"/>
                </a:lnTo>
                <a:lnTo>
                  <a:pt x="578" y="338"/>
                </a:lnTo>
                <a:lnTo>
                  <a:pt x="578" y="340"/>
                </a:lnTo>
                <a:lnTo>
                  <a:pt x="574" y="340"/>
                </a:lnTo>
                <a:lnTo>
                  <a:pt x="572" y="340"/>
                </a:lnTo>
                <a:lnTo>
                  <a:pt x="568" y="342"/>
                </a:lnTo>
                <a:lnTo>
                  <a:pt x="568" y="344"/>
                </a:lnTo>
                <a:lnTo>
                  <a:pt x="572" y="350"/>
                </a:lnTo>
                <a:lnTo>
                  <a:pt x="576" y="352"/>
                </a:lnTo>
                <a:lnTo>
                  <a:pt x="578" y="358"/>
                </a:lnTo>
                <a:lnTo>
                  <a:pt x="580" y="364"/>
                </a:lnTo>
                <a:lnTo>
                  <a:pt x="574" y="378"/>
                </a:lnTo>
                <a:lnTo>
                  <a:pt x="574" y="380"/>
                </a:lnTo>
                <a:lnTo>
                  <a:pt x="570" y="380"/>
                </a:lnTo>
                <a:lnTo>
                  <a:pt x="568" y="380"/>
                </a:lnTo>
                <a:lnTo>
                  <a:pt x="566" y="380"/>
                </a:lnTo>
                <a:lnTo>
                  <a:pt x="564" y="380"/>
                </a:lnTo>
                <a:lnTo>
                  <a:pt x="562" y="382"/>
                </a:lnTo>
                <a:lnTo>
                  <a:pt x="560" y="382"/>
                </a:lnTo>
                <a:lnTo>
                  <a:pt x="558" y="384"/>
                </a:lnTo>
                <a:lnTo>
                  <a:pt x="556" y="388"/>
                </a:lnTo>
                <a:lnTo>
                  <a:pt x="552" y="396"/>
                </a:lnTo>
                <a:lnTo>
                  <a:pt x="550" y="398"/>
                </a:lnTo>
                <a:lnTo>
                  <a:pt x="548" y="400"/>
                </a:lnTo>
                <a:lnTo>
                  <a:pt x="542" y="408"/>
                </a:lnTo>
                <a:lnTo>
                  <a:pt x="538" y="410"/>
                </a:lnTo>
                <a:lnTo>
                  <a:pt x="538" y="412"/>
                </a:lnTo>
                <a:lnTo>
                  <a:pt x="534" y="418"/>
                </a:lnTo>
                <a:lnTo>
                  <a:pt x="530" y="424"/>
                </a:lnTo>
                <a:lnTo>
                  <a:pt x="526" y="426"/>
                </a:lnTo>
                <a:lnTo>
                  <a:pt x="510" y="454"/>
                </a:lnTo>
                <a:lnTo>
                  <a:pt x="508" y="462"/>
                </a:lnTo>
                <a:lnTo>
                  <a:pt x="506" y="464"/>
                </a:lnTo>
                <a:lnTo>
                  <a:pt x="504" y="468"/>
                </a:lnTo>
                <a:lnTo>
                  <a:pt x="508" y="476"/>
                </a:lnTo>
                <a:lnTo>
                  <a:pt x="510" y="480"/>
                </a:lnTo>
                <a:lnTo>
                  <a:pt x="512" y="490"/>
                </a:lnTo>
                <a:lnTo>
                  <a:pt x="512" y="496"/>
                </a:lnTo>
                <a:lnTo>
                  <a:pt x="510" y="500"/>
                </a:lnTo>
                <a:lnTo>
                  <a:pt x="514" y="502"/>
                </a:lnTo>
                <a:lnTo>
                  <a:pt x="520" y="506"/>
                </a:lnTo>
                <a:lnTo>
                  <a:pt x="522" y="508"/>
                </a:lnTo>
                <a:lnTo>
                  <a:pt x="522" y="510"/>
                </a:lnTo>
                <a:lnTo>
                  <a:pt x="522" y="514"/>
                </a:lnTo>
                <a:lnTo>
                  <a:pt x="514" y="512"/>
                </a:lnTo>
                <a:lnTo>
                  <a:pt x="504" y="508"/>
                </a:lnTo>
                <a:lnTo>
                  <a:pt x="504" y="510"/>
                </a:lnTo>
                <a:lnTo>
                  <a:pt x="502" y="510"/>
                </a:lnTo>
                <a:lnTo>
                  <a:pt x="490" y="506"/>
                </a:lnTo>
                <a:lnTo>
                  <a:pt x="488" y="506"/>
                </a:lnTo>
                <a:lnTo>
                  <a:pt x="482" y="506"/>
                </a:lnTo>
                <a:lnTo>
                  <a:pt x="470" y="500"/>
                </a:lnTo>
                <a:lnTo>
                  <a:pt x="468" y="498"/>
                </a:lnTo>
                <a:lnTo>
                  <a:pt x="468" y="494"/>
                </a:lnTo>
                <a:lnTo>
                  <a:pt x="464" y="490"/>
                </a:lnTo>
                <a:lnTo>
                  <a:pt x="456" y="486"/>
                </a:lnTo>
                <a:lnTo>
                  <a:pt x="444" y="482"/>
                </a:lnTo>
                <a:lnTo>
                  <a:pt x="438" y="484"/>
                </a:lnTo>
                <a:lnTo>
                  <a:pt x="436" y="484"/>
                </a:lnTo>
                <a:lnTo>
                  <a:pt x="434" y="486"/>
                </a:lnTo>
                <a:lnTo>
                  <a:pt x="432" y="486"/>
                </a:lnTo>
                <a:lnTo>
                  <a:pt x="430" y="484"/>
                </a:lnTo>
                <a:lnTo>
                  <a:pt x="424" y="482"/>
                </a:lnTo>
                <a:lnTo>
                  <a:pt x="412" y="486"/>
                </a:lnTo>
                <a:lnTo>
                  <a:pt x="410" y="488"/>
                </a:lnTo>
                <a:lnTo>
                  <a:pt x="410" y="492"/>
                </a:lnTo>
                <a:lnTo>
                  <a:pt x="406" y="498"/>
                </a:lnTo>
                <a:lnTo>
                  <a:pt x="404" y="498"/>
                </a:lnTo>
                <a:lnTo>
                  <a:pt x="402" y="498"/>
                </a:lnTo>
                <a:lnTo>
                  <a:pt x="396" y="496"/>
                </a:lnTo>
                <a:lnTo>
                  <a:pt x="392" y="490"/>
                </a:lnTo>
                <a:lnTo>
                  <a:pt x="382" y="490"/>
                </a:lnTo>
                <a:lnTo>
                  <a:pt x="368" y="492"/>
                </a:lnTo>
                <a:lnTo>
                  <a:pt x="366" y="494"/>
                </a:lnTo>
                <a:lnTo>
                  <a:pt x="360" y="498"/>
                </a:lnTo>
                <a:lnTo>
                  <a:pt x="356" y="500"/>
                </a:lnTo>
                <a:lnTo>
                  <a:pt x="354" y="506"/>
                </a:lnTo>
                <a:lnTo>
                  <a:pt x="354" y="510"/>
                </a:lnTo>
                <a:lnTo>
                  <a:pt x="354" y="512"/>
                </a:lnTo>
                <a:lnTo>
                  <a:pt x="350" y="512"/>
                </a:lnTo>
                <a:lnTo>
                  <a:pt x="350" y="510"/>
                </a:lnTo>
                <a:lnTo>
                  <a:pt x="348" y="510"/>
                </a:lnTo>
                <a:lnTo>
                  <a:pt x="346" y="508"/>
                </a:lnTo>
                <a:lnTo>
                  <a:pt x="344" y="508"/>
                </a:lnTo>
                <a:lnTo>
                  <a:pt x="342" y="510"/>
                </a:lnTo>
                <a:lnTo>
                  <a:pt x="340" y="512"/>
                </a:lnTo>
                <a:lnTo>
                  <a:pt x="338" y="512"/>
                </a:lnTo>
                <a:lnTo>
                  <a:pt x="336" y="512"/>
                </a:lnTo>
                <a:lnTo>
                  <a:pt x="334" y="510"/>
                </a:lnTo>
                <a:lnTo>
                  <a:pt x="334" y="508"/>
                </a:lnTo>
                <a:lnTo>
                  <a:pt x="336" y="506"/>
                </a:lnTo>
                <a:lnTo>
                  <a:pt x="338" y="504"/>
                </a:lnTo>
                <a:lnTo>
                  <a:pt x="336" y="496"/>
                </a:lnTo>
                <a:lnTo>
                  <a:pt x="334" y="494"/>
                </a:lnTo>
                <a:lnTo>
                  <a:pt x="330" y="494"/>
                </a:lnTo>
                <a:lnTo>
                  <a:pt x="326" y="494"/>
                </a:lnTo>
                <a:lnTo>
                  <a:pt x="322" y="490"/>
                </a:lnTo>
                <a:lnTo>
                  <a:pt x="318" y="482"/>
                </a:lnTo>
                <a:lnTo>
                  <a:pt x="318" y="478"/>
                </a:lnTo>
                <a:lnTo>
                  <a:pt x="314" y="476"/>
                </a:lnTo>
                <a:lnTo>
                  <a:pt x="312" y="476"/>
                </a:lnTo>
                <a:lnTo>
                  <a:pt x="304" y="484"/>
                </a:lnTo>
                <a:lnTo>
                  <a:pt x="302" y="486"/>
                </a:lnTo>
                <a:lnTo>
                  <a:pt x="300" y="492"/>
                </a:lnTo>
                <a:lnTo>
                  <a:pt x="300" y="494"/>
                </a:lnTo>
                <a:lnTo>
                  <a:pt x="296" y="496"/>
                </a:lnTo>
                <a:lnTo>
                  <a:pt x="290" y="496"/>
                </a:lnTo>
                <a:lnTo>
                  <a:pt x="286" y="496"/>
                </a:lnTo>
                <a:lnTo>
                  <a:pt x="286" y="490"/>
                </a:lnTo>
                <a:lnTo>
                  <a:pt x="286" y="488"/>
                </a:lnTo>
                <a:lnTo>
                  <a:pt x="278" y="486"/>
                </a:lnTo>
                <a:lnTo>
                  <a:pt x="278" y="482"/>
                </a:lnTo>
                <a:lnTo>
                  <a:pt x="276" y="478"/>
                </a:lnTo>
                <a:lnTo>
                  <a:pt x="276" y="472"/>
                </a:lnTo>
                <a:lnTo>
                  <a:pt x="274" y="470"/>
                </a:lnTo>
                <a:lnTo>
                  <a:pt x="264" y="466"/>
                </a:lnTo>
                <a:lnTo>
                  <a:pt x="260" y="460"/>
                </a:lnTo>
                <a:lnTo>
                  <a:pt x="260" y="450"/>
                </a:lnTo>
                <a:lnTo>
                  <a:pt x="258" y="450"/>
                </a:lnTo>
                <a:lnTo>
                  <a:pt x="246" y="448"/>
                </a:lnTo>
                <a:lnTo>
                  <a:pt x="242" y="448"/>
                </a:lnTo>
                <a:lnTo>
                  <a:pt x="230" y="440"/>
                </a:lnTo>
                <a:lnTo>
                  <a:pt x="228" y="438"/>
                </a:lnTo>
                <a:lnTo>
                  <a:pt x="226" y="442"/>
                </a:lnTo>
                <a:lnTo>
                  <a:pt x="222" y="446"/>
                </a:lnTo>
                <a:lnTo>
                  <a:pt x="218" y="446"/>
                </a:lnTo>
                <a:lnTo>
                  <a:pt x="216" y="444"/>
                </a:lnTo>
                <a:lnTo>
                  <a:pt x="206" y="434"/>
                </a:lnTo>
                <a:lnTo>
                  <a:pt x="202" y="430"/>
                </a:lnTo>
                <a:lnTo>
                  <a:pt x="204" y="428"/>
                </a:lnTo>
                <a:lnTo>
                  <a:pt x="206" y="428"/>
                </a:lnTo>
                <a:lnTo>
                  <a:pt x="210" y="424"/>
                </a:lnTo>
                <a:lnTo>
                  <a:pt x="210" y="422"/>
                </a:lnTo>
                <a:lnTo>
                  <a:pt x="210" y="416"/>
                </a:lnTo>
                <a:lnTo>
                  <a:pt x="208" y="416"/>
                </a:lnTo>
                <a:lnTo>
                  <a:pt x="206" y="416"/>
                </a:lnTo>
                <a:lnTo>
                  <a:pt x="204" y="420"/>
                </a:lnTo>
                <a:lnTo>
                  <a:pt x="202" y="420"/>
                </a:lnTo>
                <a:lnTo>
                  <a:pt x="192" y="420"/>
                </a:lnTo>
                <a:lnTo>
                  <a:pt x="188" y="420"/>
                </a:lnTo>
                <a:lnTo>
                  <a:pt x="182" y="416"/>
                </a:lnTo>
                <a:lnTo>
                  <a:pt x="180" y="414"/>
                </a:lnTo>
                <a:lnTo>
                  <a:pt x="178" y="412"/>
                </a:lnTo>
                <a:lnTo>
                  <a:pt x="172" y="408"/>
                </a:lnTo>
                <a:lnTo>
                  <a:pt x="168" y="408"/>
                </a:lnTo>
                <a:lnTo>
                  <a:pt x="162" y="406"/>
                </a:lnTo>
                <a:lnTo>
                  <a:pt x="160" y="406"/>
                </a:lnTo>
                <a:lnTo>
                  <a:pt x="158" y="408"/>
                </a:lnTo>
                <a:lnTo>
                  <a:pt x="162" y="414"/>
                </a:lnTo>
                <a:lnTo>
                  <a:pt x="164" y="416"/>
                </a:lnTo>
                <a:lnTo>
                  <a:pt x="166" y="426"/>
                </a:lnTo>
                <a:lnTo>
                  <a:pt x="164" y="424"/>
                </a:lnTo>
                <a:lnTo>
                  <a:pt x="160" y="426"/>
                </a:lnTo>
                <a:lnTo>
                  <a:pt x="156" y="428"/>
                </a:lnTo>
                <a:lnTo>
                  <a:pt x="156" y="430"/>
                </a:lnTo>
                <a:lnTo>
                  <a:pt x="154" y="430"/>
                </a:lnTo>
                <a:lnTo>
                  <a:pt x="154" y="432"/>
                </a:lnTo>
                <a:lnTo>
                  <a:pt x="150" y="436"/>
                </a:lnTo>
                <a:lnTo>
                  <a:pt x="144" y="436"/>
                </a:lnTo>
                <a:lnTo>
                  <a:pt x="142" y="434"/>
                </a:lnTo>
                <a:lnTo>
                  <a:pt x="140" y="430"/>
                </a:lnTo>
                <a:lnTo>
                  <a:pt x="140" y="428"/>
                </a:lnTo>
                <a:lnTo>
                  <a:pt x="140" y="426"/>
                </a:lnTo>
                <a:lnTo>
                  <a:pt x="134" y="418"/>
                </a:lnTo>
                <a:lnTo>
                  <a:pt x="132" y="418"/>
                </a:lnTo>
                <a:lnTo>
                  <a:pt x="128" y="414"/>
                </a:lnTo>
                <a:lnTo>
                  <a:pt x="124" y="412"/>
                </a:lnTo>
                <a:lnTo>
                  <a:pt x="122" y="410"/>
                </a:lnTo>
                <a:lnTo>
                  <a:pt x="120" y="408"/>
                </a:lnTo>
                <a:lnTo>
                  <a:pt x="118" y="406"/>
                </a:lnTo>
                <a:lnTo>
                  <a:pt x="126" y="400"/>
                </a:lnTo>
                <a:lnTo>
                  <a:pt x="128" y="400"/>
                </a:lnTo>
                <a:lnTo>
                  <a:pt x="130" y="398"/>
                </a:lnTo>
                <a:lnTo>
                  <a:pt x="132" y="394"/>
                </a:lnTo>
                <a:lnTo>
                  <a:pt x="132" y="392"/>
                </a:lnTo>
                <a:lnTo>
                  <a:pt x="128" y="388"/>
                </a:lnTo>
                <a:lnTo>
                  <a:pt x="126" y="386"/>
                </a:lnTo>
                <a:lnTo>
                  <a:pt x="120" y="384"/>
                </a:lnTo>
                <a:lnTo>
                  <a:pt x="114" y="38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5" name="Freeform 2625"/>
          <p:cNvSpPr>
            <a:spLocks/>
          </p:cNvSpPr>
          <p:nvPr/>
        </p:nvSpPr>
        <p:spPr bwMode="auto">
          <a:xfrm>
            <a:off x="5023018" y="4364995"/>
            <a:ext cx="590733" cy="336718"/>
          </a:xfrm>
          <a:custGeom>
            <a:avLst/>
            <a:gdLst/>
            <a:ahLst/>
            <a:cxnLst>
              <a:cxn ang="0">
                <a:pos x="346" y="188"/>
              </a:cxn>
              <a:cxn ang="0">
                <a:pos x="330" y="200"/>
              </a:cxn>
              <a:cxn ang="0">
                <a:pos x="306" y="198"/>
              </a:cxn>
              <a:cxn ang="0">
                <a:pos x="290" y="216"/>
              </a:cxn>
              <a:cxn ang="0">
                <a:pos x="282" y="214"/>
              </a:cxn>
              <a:cxn ang="0">
                <a:pos x="258" y="206"/>
              </a:cxn>
              <a:cxn ang="0">
                <a:pos x="236" y="212"/>
              </a:cxn>
              <a:cxn ang="0">
                <a:pos x="222" y="202"/>
              </a:cxn>
              <a:cxn ang="0">
                <a:pos x="202" y="196"/>
              </a:cxn>
              <a:cxn ang="0">
                <a:pos x="180" y="190"/>
              </a:cxn>
              <a:cxn ang="0">
                <a:pos x="170" y="194"/>
              </a:cxn>
              <a:cxn ang="0">
                <a:pos x="154" y="218"/>
              </a:cxn>
              <a:cxn ang="0">
                <a:pos x="150" y="224"/>
              </a:cxn>
              <a:cxn ang="0">
                <a:pos x="126" y="226"/>
              </a:cxn>
              <a:cxn ang="0">
                <a:pos x="100" y="210"/>
              </a:cxn>
              <a:cxn ang="0">
                <a:pos x="94" y="200"/>
              </a:cxn>
              <a:cxn ang="0">
                <a:pos x="86" y="192"/>
              </a:cxn>
              <a:cxn ang="0">
                <a:pos x="68" y="178"/>
              </a:cxn>
              <a:cxn ang="0">
                <a:pos x="38" y="156"/>
              </a:cxn>
              <a:cxn ang="0">
                <a:pos x="22" y="124"/>
              </a:cxn>
              <a:cxn ang="0">
                <a:pos x="22" y="96"/>
              </a:cxn>
              <a:cxn ang="0">
                <a:pos x="6" y="84"/>
              </a:cxn>
              <a:cxn ang="0">
                <a:pos x="4" y="66"/>
              </a:cxn>
              <a:cxn ang="0">
                <a:pos x="22" y="60"/>
              </a:cxn>
              <a:cxn ang="0">
                <a:pos x="40" y="54"/>
              </a:cxn>
              <a:cxn ang="0">
                <a:pos x="52" y="58"/>
              </a:cxn>
              <a:cxn ang="0">
                <a:pos x="66" y="46"/>
              </a:cxn>
              <a:cxn ang="0">
                <a:pos x="80" y="42"/>
              </a:cxn>
              <a:cxn ang="0">
                <a:pos x="90" y="30"/>
              </a:cxn>
              <a:cxn ang="0">
                <a:pos x="112" y="22"/>
              </a:cxn>
              <a:cxn ang="0">
                <a:pos x="128" y="6"/>
              </a:cxn>
              <a:cxn ang="0">
                <a:pos x="146" y="6"/>
              </a:cxn>
              <a:cxn ang="0">
                <a:pos x="154" y="20"/>
              </a:cxn>
              <a:cxn ang="0">
                <a:pos x="170" y="18"/>
              </a:cxn>
              <a:cxn ang="0">
                <a:pos x="186" y="8"/>
              </a:cxn>
              <a:cxn ang="0">
                <a:pos x="192" y="20"/>
              </a:cxn>
              <a:cxn ang="0">
                <a:pos x="226" y="34"/>
              </a:cxn>
              <a:cxn ang="0">
                <a:pos x="248" y="36"/>
              </a:cxn>
              <a:cxn ang="0">
                <a:pos x="250" y="50"/>
              </a:cxn>
              <a:cxn ang="0">
                <a:pos x="246" y="62"/>
              </a:cxn>
              <a:cxn ang="0">
                <a:pos x="262" y="78"/>
              </a:cxn>
              <a:cxn ang="0">
                <a:pos x="276" y="82"/>
              </a:cxn>
              <a:cxn ang="0">
                <a:pos x="286" y="74"/>
              </a:cxn>
              <a:cxn ang="0">
                <a:pos x="282" y="56"/>
              </a:cxn>
              <a:cxn ang="0">
                <a:pos x="302" y="64"/>
              </a:cxn>
              <a:cxn ang="0">
                <a:pos x="326" y="70"/>
              </a:cxn>
              <a:cxn ang="0">
                <a:pos x="332" y="74"/>
              </a:cxn>
              <a:cxn ang="0">
                <a:pos x="338" y="94"/>
              </a:cxn>
              <a:cxn ang="0">
                <a:pos x="352" y="90"/>
              </a:cxn>
              <a:cxn ang="0">
                <a:pos x="382" y="110"/>
              </a:cxn>
              <a:cxn ang="0">
                <a:pos x="400" y="132"/>
              </a:cxn>
              <a:cxn ang="0">
                <a:pos x="382" y="142"/>
              </a:cxn>
              <a:cxn ang="0">
                <a:pos x="360" y="162"/>
              </a:cxn>
            </a:cxnLst>
            <a:rect l="0" t="0" r="r" b="b"/>
            <a:pathLst>
              <a:path w="400" h="228">
                <a:moveTo>
                  <a:pt x="360" y="172"/>
                </a:moveTo>
                <a:lnTo>
                  <a:pt x="360" y="174"/>
                </a:lnTo>
                <a:lnTo>
                  <a:pt x="358" y="178"/>
                </a:lnTo>
                <a:lnTo>
                  <a:pt x="356" y="182"/>
                </a:lnTo>
                <a:lnTo>
                  <a:pt x="346" y="188"/>
                </a:lnTo>
                <a:lnTo>
                  <a:pt x="342" y="192"/>
                </a:lnTo>
                <a:lnTo>
                  <a:pt x="336" y="198"/>
                </a:lnTo>
                <a:lnTo>
                  <a:pt x="334" y="200"/>
                </a:lnTo>
                <a:lnTo>
                  <a:pt x="332" y="200"/>
                </a:lnTo>
                <a:lnTo>
                  <a:pt x="330" y="200"/>
                </a:lnTo>
                <a:lnTo>
                  <a:pt x="322" y="202"/>
                </a:lnTo>
                <a:lnTo>
                  <a:pt x="316" y="202"/>
                </a:lnTo>
                <a:lnTo>
                  <a:pt x="314" y="202"/>
                </a:lnTo>
                <a:lnTo>
                  <a:pt x="312" y="200"/>
                </a:lnTo>
                <a:lnTo>
                  <a:pt x="306" y="198"/>
                </a:lnTo>
                <a:lnTo>
                  <a:pt x="302" y="198"/>
                </a:lnTo>
                <a:lnTo>
                  <a:pt x="298" y="202"/>
                </a:lnTo>
                <a:lnTo>
                  <a:pt x="294" y="208"/>
                </a:lnTo>
                <a:lnTo>
                  <a:pt x="292" y="210"/>
                </a:lnTo>
                <a:lnTo>
                  <a:pt x="290" y="216"/>
                </a:lnTo>
                <a:lnTo>
                  <a:pt x="288" y="222"/>
                </a:lnTo>
                <a:lnTo>
                  <a:pt x="286" y="214"/>
                </a:lnTo>
                <a:lnTo>
                  <a:pt x="286" y="212"/>
                </a:lnTo>
                <a:lnTo>
                  <a:pt x="284" y="214"/>
                </a:lnTo>
                <a:lnTo>
                  <a:pt x="282" y="214"/>
                </a:lnTo>
                <a:lnTo>
                  <a:pt x="278" y="214"/>
                </a:lnTo>
                <a:lnTo>
                  <a:pt x="274" y="210"/>
                </a:lnTo>
                <a:lnTo>
                  <a:pt x="270" y="208"/>
                </a:lnTo>
                <a:lnTo>
                  <a:pt x="264" y="206"/>
                </a:lnTo>
                <a:lnTo>
                  <a:pt x="258" y="206"/>
                </a:lnTo>
                <a:lnTo>
                  <a:pt x="258" y="208"/>
                </a:lnTo>
                <a:lnTo>
                  <a:pt x="256" y="210"/>
                </a:lnTo>
                <a:lnTo>
                  <a:pt x="254" y="212"/>
                </a:lnTo>
                <a:lnTo>
                  <a:pt x="252" y="212"/>
                </a:lnTo>
                <a:lnTo>
                  <a:pt x="236" y="212"/>
                </a:lnTo>
                <a:lnTo>
                  <a:pt x="236" y="210"/>
                </a:lnTo>
                <a:lnTo>
                  <a:pt x="234" y="210"/>
                </a:lnTo>
                <a:lnTo>
                  <a:pt x="232" y="210"/>
                </a:lnTo>
                <a:lnTo>
                  <a:pt x="228" y="206"/>
                </a:lnTo>
                <a:lnTo>
                  <a:pt x="222" y="202"/>
                </a:lnTo>
                <a:lnTo>
                  <a:pt x="216" y="202"/>
                </a:lnTo>
                <a:lnTo>
                  <a:pt x="212" y="202"/>
                </a:lnTo>
                <a:lnTo>
                  <a:pt x="206" y="198"/>
                </a:lnTo>
                <a:lnTo>
                  <a:pt x="204" y="198"/>
                </a:lnTo>
                <a:lnTo>
                  <a:pt x="202" y="196"/>
                </a:lnTo>
                <a:lnTo>
                  <a:pt x="198" y="194"/>
                </a:lnTo>
                <a:lnTo>
                  <a:pt x="194" y="192"/>
                </a:lnTo>
                <a:lnTo>
                  <a:pt x="192" y="190"/>
                </a:lnTo>
                <a:lnTo>
                  <a:pt x="188" y="190"/>
                </a:lnTo>
                <a:lnTo>
                  <a:pt x="180" y="190"/>
                </a:lnTo>
                <a:lnTo>
                  <a:pt x="174" y="188"/>
                </a:lnTo>
                <a:lnTo>
                  <a:pt x="172" y="188"/>
                </a:lnTo>
                <a:lnTo>
                  <a:pt x="170" y="188"/>
                </a:lnTo>
                <a:lnTo>
                  <a:pt x="170" y="190"/>
                </a:lnTo>
                <a:lnTo>
                  <a:pt x="170" y="194"/>
                </a:lnTo>
                <a:lnTo>
                  <a:pt x="168" y="208"/>
                </a:lnTo>
                <a:lnTo>
                  <a:pt x="162" y="210"/>
                </a:lnTo>
                <a:lnTo>
                  <a:pt x="162" y="208"/>
                </a:lnTo>
                <a:lnTo>
                  <a:pt x="160" y="208"/>
                </a:lnTo>
                <a:lnTo>
                  <a:pt x="154" y="218"/>
                </a:lnTo>
                <a:lnTo>
                  <a:pt x="154" y="220"/>
                </a:lnTo>
                <a:lnTo>
                  <a:pt x="154" y="226"/>
                </a:lnTo>
                <a:lnTo>
                  <a:pt x="152" y="226"/>
                </a:lnTo>
                <a:lnTo>
                  <a:pt x="152" y="228"/>
                </a:lnTo>
                <a:lnTo>
                  <a:pt x="150" y="224"/>
                </a:lnTo>
                <a:lnTo>
                  <a:pt x="146" y="222"/>
                </a:lnTo>
                <a:lnTo>
                  <a:pt x="140" y="222"/>
                </a:lnTo>
                <a:lnTo>
                  <a:pt x="136" y="224"/>
                </a:lnTo>
                <a:lnTo>
                  <a:pt x="134" y="226"/>
                </a:lnTo>
                <a:lnTo>
                  <a:pt x="126" y="226"/>
                </a:lnTo>
                <a:lnTo>
                  <a:pt x="120" y="226"/>
                </a:lnTo>
                <a:lnTo>
                  <a:pt x="114" y="218"/>
                </a:lnTo>
                <a:lnTo>
                  <a:pt x="110" y="214"/>
                </a:lnTo>
                <a:lnTo>
                  <a:pt x="102" y="210"/>
                </a:lnTo>
                <a:lnTo>
                  <a:pt x="100" y="210"/>
                </a:lnTo>
                <a:lnTo>
                  <a:pt x="98" y="208"/>
                </a:lnTo>
                <a:lnTo>
                  <a:pt x="98" y="206"/>
                </a:lnTo>
                <a:lnTo>
                  <a:pt x="96" y="204"/>
                </a:lnTo>
                <a:lnTo>
                  <a:pt x="96" y="202"/>
                </a:lnTo>
                <a:lnTo>
                  <a:pt x="94" y="200"/>
                </a:lnTo>
                <a:lnTo>
                  <a:pt x="92" y="200"/>
                </a:lnTo>
                <a:lnTo>
                  <a:pt x="90" y="198"/>
                </a:lnTo>
                <a:lnTo>
                  <a:pt x="88" y="198"/>
                </a:lnTo>
                <a:lnTo>
                  <a:pt x="88" y="194"/>
                </a:lnTo>
                <a:lnTo>
                  <a:pt x="86" y="192"/>
                </a:lnTo>
                <a:lnTo>
                  <a:pt x="84" y="190"/>
                </a:lnTo>
                <a:lnTo>
                  <a:pt x="80" y="190"/>
                </a:lnTo>
                <a:lnTo>
                  <a:pt x="74" y="188"/>
                </a:lnTo>
                <a:lnTo>
                  <a:pt x="74" y="184"/>
                </a:lnTo>
                <a:lnTo>
                  <a:pt x="68" y="178"/>
                </a:lnTo>
                <a:lnTo>
                  <a:pt x="60" y="172"/>
                </a:lnTo>
                <a:lnTo>
                  <a:pt x="52" y="160"/>
                </a:lnTo>
                <a:lnTo>
                  <a:pt x="48" y="156"/>
                </a:lnTo>
                <a:lnTo>
                  <a:pt x="44" y="156"/>
                </a:lnTo>
                <a:lnTo>
                  <a:pt x="38" y="156"/>
                </a:lnTo>
                <a:lnTo>
                  <a:pt x="32" y="148"/>
                </a:lnTo>
                <a:lnTo>
                  <a:pt x="26" y="138"/>
                </a:lnTo>
                <a:lnTo>
                  <a:pt x="26" y="136"/>
                </a:lnTo>
                <a:lnTo>
                  <a:pt x="24" y="130"/>
                </a:lnTo>
                <a:lnTo>
                  <a:pt x="22" y="124"/>
                </a:lnTo>
                <a:lnTo>
                  <a:pt x="20" y="124"/>
                </a:lnTo>
                <a:lnTo>
                  <a:pt x="18" y="122"/>
                </a:lnTo>
                <a:lnTo>
                  <a:pt x="20" y="114"/>
                </a:lnTo>
                <a:lnTo>
                  <a:pt x="24" y="104"/>
                </a:lnTo>
                <a:lnTo>
                  <a:pt x="22" y="96"/>
                </a:lnTo>
                <a:lnTo>
                  <a:pt x="20" y="96"/>
                </a:lnTo>
                <a:lnTo>
                  <a:pt x="18" y="94"/>
                </a:lnTo>
                <a:lnTo>
                  <a:pt x="10" y="90"/>
                </a:lnTo>
                <a:lnTo>
                  <a:pt x="8" y="88"/>
                </a:lnTo>
                <a:lnTo>
                  <a:pt x="6" y="84"/>
                </a:lnTo>
                <a:lnTo>
                  <a:pt x="6" y="82"/>
                </a:lnTo>
                <a:lnTo>
                  <a:pt x="6" y="78"/>
                </a:lnTo>
                <a:lnTo>
                  <a:pt x="2" y="66"/>
                </a:lnTo>
                <a:lnTo>
                  <a:pt x="0" y="64"/>
                </a:lnTo>
                <a:lnTo>
                  <a:pt x="4" y="66"/>
                </a:lnTo>
                <a:lnTo>
                  <a:pt x="10" y="74"/>
                </a:lnTo>
                <a:lnTo>
                  <a:pt x="12" y="76"/>
                </a:lnTo>
                <a:lnTo>
                  <a:pt x="14" y="72"/>
                </a:lnTo>
                <a:lnTo>
                  <a:pt x="18" y="66"/>
                </a:lnTo>
                <a:lnTo>
                  <a:pt x="22" y="60"/>
                </a:lnTo>
                <a:lnTo>
                  <a:pt x="24" y="58"/>
                </a:lnTo>
                <a:lnTo>
                  <a:pt x="32" y="58"/>
                </a:lnTo>
                <a:lnTo>
                  <a:pt x="34" y="58"/>
                </a:lnTo>
                <a:lnTo>
                  <a:pt x="38" y="56"/>
                </a:lnTo>
                <a:lnTo>
                  <a:pt x="40" y="54"/>
                </a:lnTo>
                <a:lnTo>
                  <a:pt x="44" y="54"/>
                </a:lnTo>
                <a:lnTo>
                  <a:pt x="48" y="56"/>
                </a:lnTo>
                <a:lnTo>
                  <a:pt x="48" y="58"/>
                </a:lnTo>
                <a:lnTo>
                  <a:pt x="50" y="58"/>
                </a:lnTo>
                <a:lnTo>
                  <a:pt x="52" y="58"/>
                </a:lnTo>
                <a:lnTo>
                  <a:pt x="54" y="56"/>
                </a:lnTo>
                <a:lnTo>
                  <a:pt x="58" y="50"/>
                </a:lnTo>
                <a:lnTo>
                  <a:pt x="64" y="50"/>
                </a:lnTo>
                <a:lnTo>
                  <a:pt x="66" y="48"/>
                </a:lnTo>
                <a:lnTo>
                  <a:pt x="66" y="46"/>
                </a:lnTo>
                <a:lnTo>
                  <a:pt x="68" y="42"/>
                </a:lnTo>
                <a:lnTo>
                  <a:pt x="76" y="38"/>
                </a:lnTo>
                <a:lnTo>
                  <a:pt x="78" y="40"/>
                </a:lnTo>
                <a:lnTo>
                  <a:pt x="80" y="40"/>
                </a:lnTo>
                <a:lnTo>
                  <a:pt x="80" y="42"/>
                </a:lnTo>
                <a:lnTo>
                  <a:pt x="84" y="38"/>
                </a:lnTo>
                <a:lnTo>
                  <a:pt x="84" y="36"/>
                </a:lnTo>
                <a:lnTo>
                  <a:pt x="84" y="34"/>
                </a:lnTo>
                <a:lnTo>
                  <a:pt x="88" y="32"/>
                </a:lnTo>
                <a:lnTo>
                  <a:pt x="90" y="30"/>
                </a:lnTo>
                <a:lnTo>
                  <a:pt x="92" y="30"/>
                </a:lnTo>
                <a:lnTo>
                  <a:pt x="96" y="30"/>
                </a:lnTo>
                <a:lnTo>
                  <a:pt x="106" y="26"/>
                </a:lnTo>
                <a:lnTo>
                  <a:pt x="106" y="24"/>
                </a:lnTo>
                <a:lnTo>
                  <a:pt x="112" y="22"/>
                </a:lnTo>
                <a:lnTo>
                  <a:pt x="122" y="20"/>
                </a:lnTo>
                <a:lnTo>
                  <a:pt x="130" y="16"/>
                </a:lnTo>
                <a:lnTo>
                  <a:pt x="134" y="12"/>
                </a:lnTo>
                <a:lnTo>
                  <a:pt x="130" y="10"/>
                </a:lnTo>
                <a:lnTo>
                  <a:pt x="128" y="6"/>
                </a:lnTo>
                <a:lnTo>
                  <a:pt x="130" y="2"/>
                </a:lnTo>
                <a:lnTo>
                  <a:pt x="130" y="0"/>
                </a:lnTo>
                <a:lnTo>
                  <a:pt x="142" y="2"/>
                </a:lnTo>
                <a:lnTo>
                  <a:pt x="146" y="4"/>
                </a:lnTo>
                <a:lnTo>
                  <a:pt x="146" y="6"/>
                </a:lnTo>
                <a:lnTo>
                  <a:pt x="148" y="12"/>
                </a:lnTo>
                <a:lnTo>
                  <a:pt x="148" y="16"/>
                </a:lnTo>
                <a:lnTo>
                  <a:pt x="148" y="18"/>
                </a:lnTo>
                <a:lnTo>
                  <a:pt x="150" y="20"/>
                </a:lnTo>
                <a:lnTo>
                  <a:pt x="154" y="20"/>
                </a:lnTo>
                <a:lnTo>
                  <a:pt x="154" y="22"/>
                </a:lnTo>
                <a:lnTo>
                  <a:pt x="158" y="22"/>
                </a:lnTo>
                <a:lnTo>
                  <a:pt x="160" y="18"/>
                </a:lnTo>
                <a:lnTo>
                  <a:pt x="168" y="18"/>
                </a:lnTo>
                <a:lnTo>
                  <a:pt x="170" y="18"/>
                </a:lnTo>
                <a:lnTo>
                  <a:pt x="172" y="10"/>
                </a:lnTo>
                <a:lnTo>
                  <a:pt x="172" y="8"/>
                </a:lnTo>
                <a:lnTo>
                  <a:pt x="180" y="4"/>
                </a:lnTo>
                <a:lnTo>
                  <a:pt x="184" y="6"/>
                </a:lnTo>
                <a:lnTo>
                  <a:pt x="186" y="8"/>
                </a:lnTo>
                <a:lnTo>
                  <a:pt x="188" y="10"/>
                </a:lnTo>
                <a:lnTo>
                  <a:pt x="186" y="12"/>
                </a:lnTo>
                <a:lnTo>
                  <a:pt x="186" y="16"/>
                </a:lnTo>
                <a:lnTo>
                  <a:pt x="188" y="18"/>
                </a:lnTo>
                <a:lnTo>
                  <a:pt x="192" y="20"/>
                </a:lnTo>
                <a:lnTo>
                  <a:pt x="192" y="26"/>
                </a:lnTo>
                <a:lnTo>
                  <a:pt x="198" y="24"/>
                </a:lnTo>
                <a:lnTo>
                  <a:pt x="206" y="26"/>
                </a:lnTo>
                <a:lnTo>
                  <a:pt x="216" y="28"/>
                </a:lnTo>
                <a:lnTo>
                  <a:pt x="226" y="34"/>
                </a:lnTo>
                <a:lnTo>
                  <a:pt x="230" y="38"/>
                </a:lnTo>
                <a:lnTo>
                  <a:pt x="232" y="38"/>
                </a:lnTo>
                <a:lnTo>
                  <a:pt x="236" y="36"/>
                </a:lnTo>
                <a:lnTo>
                  <a:pt x="242" y="34"/>
                </a:lnTo>
                <a:lnTo>
                  <a:pt x="248" y="36"/>
                </a:lnTo>
                <a:lnTo>
                  <a:pt x="250" y="38"/>
                </a:lnTo>
                <a:lnTo>
                  <a:pt x="254" y="42"/>
                </a:lnTo>
                <a:lnTo>
                  <a:pt x="254" y="44"/>
                </a:lnTo>
                <a:lnTo>
                  <a:pt x="252" y="48"/>
                </a:lnTo>
                <a:lnTo>
                  <a:pt x="250" y="50"/>
                </a:lnTo>
                <a:lnTo>
                  <a:pt x="248" y="50"/>
                </a:lnTo>
                <a:lnTo>
                  <a:pt x="240" y="56"/>
                </a:lnTo>
                <a:lnTo>
                  <a:pt x="242" y="58"/>
                </a:lnTo>
                <a:lnTo>
                  <a:pt x="244" y="60"/>
                </a:lnTo>
                <a:lnTo>
                  <a:pt x="246" y="62"/>
                </a:lnTo>
                <a:lnTo>
                  <a:pt x="250" y="64"/>
                </a:lnTo>
                <a:lnTo>
                  <a:pt x="254" y="68"/>
                </a:lnTo>
                <a:lnTo>
                  <a:pt x="256" y="68"/>
                </a:lnTo>
                <a:lnTo>
                  <a:pt x="262" y="76"/>
                </a:lnTo>
                <a:lnTo>
                  <a:pt x="262" y="78"/>
                </a:lnTo>
                <a:lnTo>
                  <a:pt x="262" y="80"/>
                </a:lnTo>
                <a:lnTo>
                  <a:pt x="264" y="84"/>
                </a:lnTo>
                <a:lnTo>
                  <a:pt x="266" y="86"/>
                </a:lnTo>
                <a:lnTo>
                  <a:pt x="272" y="86"/>
                </a:lnTo>
                <a:lnTo>
                  <a:pt x="276" y="82"/>
                </a:lnTo>
                <a:lnTo>
                  <a:pt x="276" y="80"/>
                </a:lnTo>
                <a:lnTo>
                  <a:pt x="278" y="80"/>
                </a:lnTo>
                <a:lnTo>
                  <a:pt x="278" y="78"/>
                </a:lnTo>
                <a:lnTo>
                  <a:pt x="282" y="76"/>
                </a:lnTo>
                <a:lnTo>
                  <a:pt x="286" y="74"/>
                </a:lnTo>
                <a:lnTo>
                  <a:pt x="288" y="76"/>
                </a:lnTo>
                <a:lnTo>
                  <a:pt x="286" y="66"/>
                </a:lnTo>
                <a:lnTo>
                  <a:pt x="284" y="64"/>
                </a:lnTo>
                <a:lnTo>
                  <a:pt x="280" y="58"/>
                </a:lnTo>
                <a:lnTo>
                  <a:pt x="282" y="56"/>
                </a:lnTo>
                <a:lnTo>
                  <a:pt x="284" y="56"/>
                </a:lnTo>
                <a:lnTo>
                  <a:pt x="290" y="58"/>
                </a:lnTo>
                <a:lnTo>
                  <a:pt x="294" y="58"/>
                </a:lnTo>
                <a:lnTo>
                  <a:pt x="300" y="62"/>
                </a:lnTo>
                <a:lnTo>
                  <a:pt x="302" y="64"/>
                </a:lnTo>
                <a:lnTo>
                  <a:pt x="304" y="66"/>
                </a:lnTo>
                <a:lnTo>
                  <a:pt x="310" y="70"/>
                </a:lnTo>
                <a:lnTo>
                  <a:pt x="314" y="70"/>
                </a:lnTo>
                <a:lnTo>
                  <a:pt x="324" y="70"/>
                </a:lnTo>
                <a:lnTo>
                  <a:pt x="326" y="70"/>
                </a:lnTo>
                <a:lnTo>
                  <a:pt x="328" y="66"/>
                </a:lnTo>
                <a:lnTo>
                  <a:pt x="330" y="66"/>
                </a:lnTo>
                <a:lnTo>
                  <a:pt x="332" y="66"/>
                </a:lnTo>
                <a:lnTo>
                  <a:pt x="332" y="72"/>
                </a:lnTo>
                <a:lnTo>
                  <a:pt x="332" y="74"/>
                </a:lnTo>
                <a:lnTo>
                  <a:pt x="328" y="78"/>
                </a:lnTo>
                <a:lnTo>
                  <a:pt x="326" y="78"/>
                </a:lnTo>
                <a:lnTo>
                  <a:pt x="324" y="80"/>
                </a:lnTo>
                <a:lnTo>
                  <a:pt x="328" y="84"/>
                </a:lnTo>
                <a:lnTo>
                  <a:pt x="338" y="94"/>
                </a:lnTo>
                <a:lnTo>
                  <a:pt x="340" y="96"/>
                </a:lnTo>
                <a:lnTo>
                  <a:pt x="344" y="96"/>
                </a:lnTo>
                <a:lnTo>
                  <a:pt x="348" y="92"/>
                </a:lnTo>
                <a:lnTo>
                  <a:pt x="350" y="88"/>
                </a:lnTo>
                <a:lnTo>
                  <a:pt x="352" y="90"/>
                </a:lnTo>
                <a:lnTo>
                  <a:pt x="364" y="98"/>
                </a:lnTo>
                <a:lnTo>
                  <a:pt x="368" y="98"/>
                </a:lnTo>
                <a:lnTo>
                  <a:pt x="380" y="100"/>
                </a:lnTo>
                <a:lnTo>
                  <a:pt x="382" y="100"/>
                </a:lnTo>
                <a:lnTo>
                  <a:pt x="382" y="110"/>
                </a:lnTo>
                <a:lnTo>
                  <a:pt x="386" y="116"/>
                </a:lnTo>
                <a:lnTo>
                  <a:pt x="396" y="120"/>
                </a:lnTo>
                <a:lnTo>
                  <a:pt x="398" y="122"/>
                </a:lnTo>
                <a:lnTo>
                  <a:pt x="398" y="128"/>
                </a:lnTo>
                <a:lnTo>
                  <a:pt x="400" y="132"/>
                </a:lnTo>
                <a:lnTo>
                  <a:pt x="400" y="136"/>
                </a:lnTo>
                <a:lnTo>
                  <a:pt x="396" y="136"/>
                </a:lnTo>
                <a:lnTo>
                  <a:pt x="388" y="138"/>
                </a:lnTo>
                <a:lnTo>
                  <a:pt x="384" y="138"/>
                </a:lnTo>
                <a:lnTo>
                  <a:pt x="382" y="142"/>
                </a:lnTo>
                <a:lnTo>
                  <a:pt x="372" y="154"/>
                </a:lnTo>
                <a:lnTo>
                  <a:pt x="368" y="156"/>
                </a:lnTo>
                <a:lnTo>
                  <a:pt x="366" y="156"/>
                </a:lnTo>
                <a:lnTo>
                  <a:pt x="362" y="158"/>
                </a:lnTo>
                <a:lnTo>
                  <a:pt x="360" y="162"/>
                </a:lnTo>
                <a:lnTo>
                  <a:pt x="360" y="166"/>
                </a:lnTo>
                <a:lnTo>
                  <a:pt x="360" y="170"/>
                </a:lnTo>
                <a:lnTo>
                  <a:pt x="360" y="17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6" name="Freeform 2626"/>
          <p:cNvSpPr>
            <a:spLocks/>
          </p:cNvSpPr>
          <p:nvPr/>
        </p:nvSpPr>
        <p:spPr bwMode="auto">
          <a:xfrm>
            <a:off x="5915027" y="3998740"/>
            <a:ext cx="1580213" cy="1060367"/>
          </a:xfrm>
          <a:custGeom>
            <a:avLst/>
            <a:gdLst/>
            <a:ahLst/>
            <a:cxnLst>
              <a:cxn ang="0">
                <a:pos x="766" y="562"/>
              </a:cxn>
              <a:cxn ang="0">
                <a:pos x="808" y="572"/>
              </a:cxn>
              <a:cxn ang="0">
                <a:pos x="844" y="590"/>
              </a:cxn>
              <a:cxn ang="0">
                <a:pos x="834" y="578"/>
              </a:cxn>
              <a:cxn ang="0">
                <a:pos x="922" y="582"/>
              </a:cxn>
              <a:cxn ang="0">
                <a:pos x="904" y="632"/>
              </a:cxn>
              <a:cxn ang="0">
                <a:pos x="854" y="660"/>
              </a:cxn>
              <a:cxn ang="0">
                <a:pos x="764" y="712"/>
              </a:cxn>
              <a:cxn ang="0">
                <a:pos x="740" y="656"/>
              </a:cxn>
              <a:cxn ang="0">
                <a:pos x="706" y="618"/>
              </a:cxn>
              <a:cxn ang="0">
                <a:pos x="740" y="564"/>
              </a:cxn>
              <a:cxn ang="0">
                <a:pos x="672" y="584"/>
              </a:cxn>
              <a:cxn ang="0">
                <a:pos x="616" y="558"/>
              </a:cxn>
              <a:cxn ang="0">
                <a:pos x="658" y="548"/>
              </a:cxn>
              <a:cxn ang="0">
                <a:pos x="630" y="540"/>
              </a:cxn>
              <a:cxn ang="0">
                <a:pos x="622" y="516"/>
              </a:cxn>
              <a:cxn ang="0">
                <a:pos x="600" y="540"/>
              </a:cxn>
              <a:cxn ang="0">
                <a:pos x="548" y="608"/>
              </a:cxn>
              <a:cxn ang="0">
                <a:pos x="498" y="644"/>
              </a:cxn>
              <a:cxn ang="0">
                <a:pos x="484" y="682"/>
              </a:cxn>
              <a:cxn ang="0">
                <a:pos x="420" y="684"/>
              </a:cxn>
              <a:cxn ang="0">
                <a:pos x="444" y="596"/>
              </a:cxn>
              <a:cxn ang="0">
                <a:pos x="500" y="592"/>
              </a:cxn>
              <a:cxn ang="0">
                <a:pos x="476" y="542"/>
              </a:cxn>
              <a:cxn ang="0">
                <a:pos x="434" y="456"/>
              </a:cxn>
              <a:cxn ang="0">
                <a:pos x="376" y="440"/>
              </a:cxn>
              <a:cxn ang="0">
                <a:pos x="276" y="450"/>
              </a:cxn>
              <a:cxn ang="0">
                <a:pos x="214" y="492"/>
              </a:cxn>
              <a:cxn ang="0">
                <a:pos x="162" y="506"/>
              </a:cxn>
              <a:cxn ang="0">
                <a:pos x="76" y="498"/>
              </a:cxn>
              <a:cxn ang="0">
                <a:pos x="30" y="490"/>
              </a:cxn>
              <a:cxn ang="0">
                <a:pos x="22" y="408"/>
              </a:cxn>
              <a:cxn ang="0">
                <a:pos x="56" y="310"/>
              </a:cxn>
              <a:cxn ang="0">
                <a:pos x="86" y="242"/>
              </a:cxn>
              <a:cxn ang="0">
                <a:pos x="58" y="180"/>
              </a:cxn>
              <a:cxn ang="0">
                <a:pos x="118" y="138"/>
              </a:cxn>
              <a:cxn ang="0">
                <a:pos x="202" y="128"/>
              </a:cxn>
              <a:cxn ang="0">
                <a:pos x="256" y="128"/>
              </a:cxn>
              <a:cxn ang="0">
                <a:pos x="304" y="138"/>
              </a:cxn>
              <a:cxn ang="0">
                <a:pos x="352" y="140"/>
              </a:cxn>
              <a:cxn ang="0">
                <a:pos x="414" y="130"/>
              </a:cxn>
              <a:cxn ang="0">
                <a:pos x="452" y="90"/>
              </a:cxn>
              <a:cxn ang="0">
                <a:pos x="508" y="50"/>
              </a:cxn>
              <a:cxn ang="0">
                <a:pos x="572" y="16"/>
              </a:cxn>
              <a:cxn ang="0">
                <a:pos x="662" y="46"/>
              </a:cxn>
              <a:cxn ang="0">
                <a:pos x="702" y="88"/>
              </a:cxn>
              <a:cxn ang="0">
                <a:pos x="742" y="132"/>
              </a:cxn>
              <a:cxn ang="0">
                <a:pos x="806" y="148"/>
              </a:cxn>
              <a:cxn ang="0">
                <a:pos x="856" y="122"/>
              </a:cxn>
              <a:cxn ang="0">
                <a:pos x="936" y="142"/>
              </a:cxn>
              <a:cxn ang="0">
                <a:pos x="988" y="146"/>
              </a:cxn>
              <a:cxn ang="0">
                <a:pos x="1040" y="148"/>
              </a:cxn>
              <a:cxn ang="0">
                <a:pos x="1032" y="208"/>
              </a:cxn>
              <a:cxn ang="0">
                <a:pos x="1070" y="262"/>
              </a:cxn>
              <a:cxn ang="0">
                <a:pos x="1032" y="318"/>
              </a:cxn>
              <a:cxn ang="0">
                <a:pos x="996" y="382"/>
              </a:cxn>
              <a:cxn ang="0">
                <a:pos x="944" y="434"/>
              </a:cxn>
              <a:cxn ang="0">
                <a:pos x="862" y="488"/>
              </a:cxn>
              <a:cxn ang="0">
                <a:pos x="838" y="534"/>
              </a:cxn>
              <a:cxn ang="0">
                <a:pos x="794" y="552"/>
              </a:cxn>
            </a:cxnLst>
            <a:rect l="0" t="0" r="r" b="b"/>
            <a:pathLst>
              <a:path w="1070" h="718">
                <a:moveTo>
                  <a:pt x="772" y="556"/>
                </a:moveTo>
                <a:lnTo>
                  <a:pt x="766" y="556"/>
                </a:lnTo>
                <a:lnTo>
                  <a:pt x="764" y="554"/>
                </a:lnTo>
                <a:lnTo>
                  <a:pt x="760" y="552"/>
                </a:lnTo>
                <a:lnTo>
                  <a:pt x="748" y="550"/>
                </a:lnTo>
                <a:lnTo>
                  <a:pt x="742" y="554"/>
                </a:lnTo>
                <a:lnTo>
                  <a:pt x="742" y="556"/>
                </a:lnTo>
                <a:lnTo>
                  <a:pt x="746" y="560"/>
                </a:lnTo>
                <a:lnTo>
                  <a:pt x="748" y="560"/>
                </a:lnTo>
                <a:lnTo>
                  <a:pt x="752" y="562"/>
                </a:lnTo>
                <a:lnTo>
                  <a:pt x="752" y="560"/>
                </a:lnTo>
                <a:lnTo>
                  <a:pt x="752" y="556"/>
                </a:lnTo>
                <a:lnTo>
                  <a:pt x="754" y="558"/>
                </a:lnTo>
                <a:lnTo>
                  <a:pt x="758" y="566"/>
                </a:lnTo>
                <a:lnTo>
                  <a:pt x="760" y="568"/>
                </a:lnTo>
                <a:lnTo>
                  <a:pt x="764" y="568"/>
                </a:lnTo>
                <a:lnTo>
                  <a:pt x="766" y="568"/>
                </a:lnTo>
                <a:lnTo>
                  <a:pt x="764" y="564"/>
                </a:lnTo>
                <a:lnTo>
                  <a:pt x="762" y="562"/>
                </a:lnTo>
                <a:lnTo>
                  <a:pt x="766" y="562"/>
                </a:lnTo>
                <a:lnTo>
                  <a:pt x="774" y="566"/>
                </a:lnTo>
                <a:lnTo>
                  <a:pt x="776" y="570"/>
                </a:lnTo>
                <a:lnTo>
                  <a:pt x="778" y="574"/>
                </a:lnTo>
                <a:lnTo>
                  <a:pt x="780" y="570"/>
                </a:lnTo>
                <a:lnTo>
                  <a:pt x="780" y="568"/>
                </a:lnTo>
                <a:lnTo>
                  <a:pt x="782" y="566"/>
                </a:lnTo>
                <a:lnTo>
                  <a:pt x="778" y="564"/>
                </a:lnTo>
                <a:lnTo>
                  <a:pt x="790" y="562"/>
                </a:lnTo>
                <a:lnTo>
                  <a:pt x="790" y="564"/>
                </a:lnTo>
                <a:lnTo>
                  <a:pt x="794" y="568"/>
                </a:lnTo>
                <a:lnTo>
                  <a:pt x="794" y="570"/>
                </a:lnTo>
                <a:lnTo>
                  <a:pt x="792" y="572"/>
                </a:lnTo>
                <a:lnTo>
                  <a:pt x="792" y="574"/>
                </a:lnTo>
                <a:lnTo>
                  <a:pt x="802" y="574"/>
                </a:lnTo>
                <a:lnTo>
                  <a:pt x="804" y="568"/>
                </a:lnTo>
                <a:lnTo>
                  <a:pt x="802" y="564"/>
                </a:lnTo>
                <a:lnTo>
                  <a:pt x="806" y="566"/>
                </a:lnTo>
                <a:lnTo>
                  <a:pt x="808" y="566"/>
                </a:lnTo>
                <a:lnTo>
                  <a:pt x="808" y="568"/>
                </a:lnTo>
                <a:lnTo>
                  <a:pt x="808" y="572"/>
                </a:lnTo>
                <a:lnTo>
                  <a:pt x="804" y="576"/>
                </a:lnTo>
                <a:lnTo>
                  <a:pt x="802" y="584"/>
                </a:lnTo>
                <a:lnTo>
                  <a:pt x="812" y="578"/>
                </a:lnTo>
                <a:lnTo>
                  <a:pt x="822" y="582"/>
                </a:lnTo>
                <a:lnTo>
                  <a:pt x="832" y="586"/>
                </a:lnTo>
                <a:lnTo>
                  <a:pt x="836" y="588"/>
                </a:lnTo>
                <a:lnTo>
                  <a:pt x="844" y="594"/>
                </a:lnTo>
                <a:lnTo>
                  <a:pt x="846" y="596"/>
                </a:lnTo>
                <a:lnTo>
                  <a:pt x="848" y="602"/>
                </a:lnTo>
                <a:lnTo>
                  <a:pt x="846" y="602"/>
                </a:lnTo>
                <a:lnTo>
                  <a:pt x="844" y="604"/>
                </a:lnTo>
                <a:lnTo>
                  <a:pt x="844" y="606"/>
                </a:lnTo>
                <a:lnTo>
                  <a:pt x="848" y="610"/>
                </a:lnTo>
                <a:lnTo>
                  <a:pt x="852" y="612"/>
                </a:lnTo>
                <a:lnTo>
                  <a:pt x="856" y="610"/>
                </a:lnTo>
                <a:lnTo>
                  <a:pt x="866" y="612"/>
                </a:lnTo>
                <a:lnTo>
                  <a:pt x="866" y="608"/>
                </a:lnTo>
                <a:lnTo>
                  <a:pt x="856" y="600"/>
                </a:lnTo>
                <a:lnTo>
                  <a:pt x="850" y="594"/>
                </a:lnTo>
                <a:lnTo>
                  <a:pt x="844" y="590"/>
                </a:lnTo>
                <a:lnTo>
                  <a:pt x="842" y="588"/>
                </a:lnTo>
                <a:lnTo>
                  <a:pt x="836" y="584"/>
                </a:lnTo>
                <a:lnTo>
                  <a:pt x="834" y="582"/>
                </a:lnTo>
                <a:lnTo>
                  <a:pt x="832" y="578"/>
                </a:lnTo>
                <a:lnTo>
                  <a:pt x="828" y="572"/>
                </a:lnTo>
                <a:lnTo>
                  <a:pt x="824" y="568"/>
                </a:lnTo>
                <a:lnTo>
                  <a:pt x="822" y="566"/>
                </a:lnTo>
                <a:lnTo>
                  <a:pt x="814" y="556"/>
                </a:lnTo>
                <a:lnTo>
                  <a:pt x="810" y="556"/>
                </a:lnTo>
                <a:lnTo>
                  <a:pt x="810" y="554"/>
                </a:lnTo>
                <a:lnTo>
                  <a:pt x="806" y="552"/>
                </a:lnTo>
                <a:lnTo>
                  <a:pt x="810" y="548"/>
                </a:lnTo>
                <a:lnTo>
                  <a:pt x="814" y="550"/>
                </a:lnTo>
                <a:lnTo>
                  <a:pt x="816" y="550"/>
                </a:lnTo>
                <a:lnTo>
                  <a:pt x="820" y="556"/>
                </a:lnTo>
                <a:lnTo>
                  <a:pt x="822" y="560"/>
                </a:lnTo>
                <a:lnTo>
                  <a:pt x="826" y="566"/>
                </a:lnTo>
                <a:lnTo>
                  <a:pt x="830" y="572"/>
                </a:lnTo>
                <a:lnTo>
                  <a:pt x="834" y="576"/>
                </a:lnTo>
                <a:lnTo>
                  <a:pt x="834" y="578"/>
                </a:lnTo>
                <a:lnTo>
                  <a:pt x="840" y="584"/>
                </a:lnTo>
                <a:lnTo>
                  <a:pt x="842" y="586"/>
                </a:lnTo>
                <a:lnTo>
                  <a:pt x="858" y="600"/>
                </a:lnTo>
                <a:lnTo>
                  <a:pt x="864" y="606"/>
                </a:lnTo>
                <a:lnTo>
                  <a:pt x="866" y="606"/>
                </a:lnTo>
                <a:lnTo>
                  <a:pt x="868" y="608"/>
                </a:lnTo>
                <a:lnTo>
                  <a:pt x="874" y="610"/>
                </a:lnTo>
                <a:lnTo>
                  <a:pt x="876" y="610"/>
                </a:lnTo>
                <a:lnTo>
                  <a:pt x="880" y="608"/>
                </a:lnTo>
                <a:lnTo>
                  <a:pt x="888" y="602"/>
                </a:lnTo>
                <a:lnTo>
                  <a:pt x="896" y="594"/>
                </a:lnTo>
                <a:lnTo>
                  <a:pt x="898" y="594"/>
                </a:lnTo>
                <a:lnTo>
                  <a:pt x="902" y="596"/>
                </a:lnTo>
                <a:lnTo>
                  <a:pt x="904" y="596"/>
                </a:lnTo>
                <a:lnTo>
                  <a:pt x="906" y="596"/>
                </a:lnTo>
                <a:lnTo>
                  <a:pt x="908" y="594"/>
                </a:lnTo>
                <a:lnTo>
                  <a:pt x="910" y="590"/>
                </a:lnTo>
                <a:lnTo>
                  <a:pt x="910" y="588"/>
                </a:lnTo>
                <a:lnTo>
                  <a:pt x="912" y="584"/>
                </a:lnTo>
                <a:lnTo>
                  <a:pt x="922" y="582"/>
                </a:lnTo>
                <a:lnTo>
                  <a:pt x="934" y="580"/>
                </a:lnTo>
                <a:lnTo>
                  <a:pt x="942" y="580"/>
                </a:lnTo>
                <a:lnTo>
                  <a:pt x="946" y="582"/>
                </a:lnTo>
                <a:lnTo>
                  <a:pt x="946" y="586"/>
                </a:lnTo>
                <a:lnTo>
                  <a:pt x="946" y="588"/>
                </a:lnTo>
                <a:lnTo>
                  <a:pt x="942" y="588"/>
                </a:lnTo>
                <a:lnTo>
                  <a:pt x="940" y="588"/>
                </a:lnTo>
                <a:lnTo>
                  <a:pt x="938" y="590"/>
                </a:lnTo>
                <a:lnTo>
                  <a:pt x="936" y="596"/>
                </a:lnTo>
                <a:lnTo>
                  <a:pt x="936" y="602"/>
                </a:lnTo>
                <a:lnTo>
                  <a:pt x="936" y="606"/>
                </a:lnTo>
                <a:lnTo>
                  <a:pt x="938" y="610"/>
                </a:lnTo>
                <a:lnTo>
                  <a:pt x="940" y="612"/>
                </a:lnTo>
                <a:lnTo>
                  <a:pt x="942" y="614"/>
                </a:lnTo>
                <a:lnTo>
                  <a:pt x="930" y="622"/>
                </a:lnTo>
                <a:lnTo>
                  <a:pt x="922" y="624"/>
                </a:lnTo>
                <a:lnTo>
                  <a:pt x="916" y="626"/>
                </a:lnTo>
                <a:lnTo>
                  <a:pt x="914" y="628"/>
                </a:lnTo>
                <a:lnTo>
                  <a:pt x="906" y="632"/>
                </a:lnTo>
                <a:lnTo>
                  <a:pt x="904" y="632"/>
                </a:lnTo>
                <a:lnTo>
                  <a:pt x="902" y="628"/>
                </a:lnTo>
                <a:lnTo>
                  <a:pt x="900" y="626"/>
                </a:lnTo>
                <a:lnTo>
                  <a:pt x="896" y="624"/>
                </a:lnTo>
                <a:lnTo>
                  <a:pt x="892" y="624"/>
                </a:lnTo>
                <a:lnTo>
                  <a:pt x="890" y="624"/>
                </a:lnTo>
                <a:lnTo>
                  <a:pt x="886" y="624"/>
                </a:lnTo>
                <a:lnTo>
                  <a:pt x="884" y="624"/>
                </a:lnTo>
                <a:lnTo>
                  <a:pt x="882" y="624"/>
                </a:lnTo>
                <a:lnTo>
                  <a:pt x="876" y="630"/>
                </a:lnTo>
                <a:lnTo>
                  <a:pt x="876" y="632"/>
                </a:lnTo>
                <a:lnTo>
                  <a:pt x="876" y="634"/>
                </a:lnTo>
                <a:lnTo>
                  <a:pt x="868" y="644"/>
                </a:lnTo>
                <a:lnTo>
                  <a:pt x="864" y="652"/>
                </a:lnTo>
                <a:lnTo>
                  <a:pt x="864" y="656"/>
                </a:lnTo>
                <a:lnTo>
                  <a:pt x="864" y="658"/>
                </a:lnTo>
                <a:lnTo>
                  <a:pt x="864" y="660"/>
                </a:lnTo>
                <a:lnTo>
                  <a:pt x="862" y="662"/>
                </a:lnTo>
                <a:lnTo>
                  <a:pt x="860" y="662"/>
                </a:lnTo>
                <a:lnTo>
                  <a:pt x="856" y="660"/>
                </a:lnTo>
                <a:lnTo>
                  <a:pt x="854" y="660"/>
                </a:lnTo>
                <a:lnTo>
                  <a:pt x="840" y="666"/>
                </a:lnTo>
                <a:lnTo>
                  <a:pt x="826" y="674"/>
                </a:lnTo>
                <a:lnTo>
                  <a:pt x="824" y="678"/>
                </a:lnTo>
                <a:lnTo>
                  <a:pt x="822" y="680"/>
                </a:lnTo>
                <a:lnTo>
                  <a:pt x="822" y="684"/>
                </a:lnTo>
                <a:lnTo>
                  <a:pt x="822" y="688"/>
                </a:lnTo>
                <a:lnTo>
                  <a:pt x="820" y="690"/>
                </a:lnTo>
                <a:lnTo>
                  <a:pt x="820" y="696"/>
                </a:lnTo>
                <a:lnTo>
                  <a:pt x="810" y="708"/>
                </a:lnTo>
                <a:lnTo>
                  <a:pt x="802" y="714"/>
                </a:lnTo>
                <a:lnTo>
                  <a:pt x="800" y="716"/>
                </a:lnTo>
                <a:lnTo>
                  <a:pt x="798" y="718"/>
                </a:lnTo>
                <a:lnTo>
                  <a:pt x="792" y="716"/>
                </a:lnTo>
                <a:lnTo>
                  <a:pt x="790" y="718"/>
                </a:lnTo>
                <a:lnTo>
                  <a:pt x="784" y="718"/>
                </a:lnTo>
                <a:lnTo>
                  <a:pt x="776" y="714"/>
                </a:lnTo>
                <a:lnTo>
                  <a:pt x="774" y="714"/>
                </a:lnTo>
                <a:lnTo>
                  <a:pt x="774" y="712"/>
                </a:lnTo>
                <a:lnTo>
                  <a:pt x="770" y="714"/>
                </a:lnTo>
                <a:lnTo>
                  <a:pt x="764" y="712"/>
                </a:lnTo>
                <a:lnTo>
                  <a:pt x="760" y="708"/>
                </a:lnTo>
                <a:lnTo>
                  <a:pt x="758" y="706"/>
                </a:lnTo>
                <a:lnTo>
                  <a:pt x="764" y="704"/>
                </a:lnTo>
                <a:lnTo>
                  <a:pt x="770" y="700"/>
                </a:lnTo>
                <a:lnTo>
                  <a:pt x="766" y="696"/>
                </a:lnTo>
                <a:lnTo>
                  <a:pt x="764" y="686"/>
                </a:lnTo>
                <a:lnTo>
                  <a:pt x="764" y="684"/>
                </a:lnTo>
                <a:lnTo>
                  <a:pt x="764" y="682"/>
                </a:lnTo>
                <a:lnTo>
                  <a:pt x="764" y="680"/>
                </a:lnTo>
                <a:lnTo>
                  <a:pt x="766" y="678"/>
                </a:lnTo>
                <a:lnTo>
                  <a:pt x="766" y="672"/>
                </a:lnTo>
                <a:lnTo>
                  <a:pt x="764" y="668"/>
                </a:lnTo>
                <a:lnTo>
                  <a:pt x="760" y="658"/>
                </a:lnTo>
                <a:lnTo>
                  <a:pt x="758" y="656"/>
                </a:lnTo>
                <a:lnTo>
                  <a:pt x="756" y="656"/>
                </a:lnTo>
                <a:lnTo>
                  <a:pt x="748" y="652"/>
                </a:lnTo>
                <a:lnTo>
                  <a:pt x="746" y="652"/>
                </a:lnTo>
                <a:lnTo>
                  <a:pt x="744" y="652"/>
                </a:lnTo>
                <a:lnTo>
                  <a:pt x="744" y="654"/>
                </a:lnTo>
                <a:lnTo>
                  <a:pt x="740" y="656"/>
                </a:lnTo>
                <a:lnTo>
                  <a:pt x="732" y="656"/>
                </a:lnTo>
                <a:lnTo>
                  <a:pt x="730" y="654"/>
                </a:lnTo>
                <a:lnTo>
                  <a:pt x="728" y="652"/>
                </a:lnTo>
                <a:lnTo>
                  <a:pt x="724" y="650"/>
                </a:lnTo>
                <a:lnTo>
                  <a:pt x="720" y="648"/>
                </a:lnTo>
                <a:lnTo>
                  <a:pt x="714" y="644"/>
                </a:lnTo>
                <a:lnTo>
                  <a:pt x="710" y="644"/>
                </a:lnTo>
                <a:lnTo>
                  <a:pt x="708" y="644"/>
                </a:lnTo>
                <a:lnTo>
                  <a:pt x="702" y="646"/>
                </a:lnTo>
                <a:lnTo>
                  <a:pt x="700" y="648"/>
                </a:lnTo>
                <a:lnTo>
                  <a:pt x="698" y="652"/>
                </a:lnTo>
                <a:lnTo>
                  <a:pt x="692" y="652"/>
                </a:lnTo>
                <a:lnTo>
                  <a:pt x="688" y="652"/>
                </a:lnTo>
                <a:lnTo>
                  <a:pt x="686" y="646"/>
                </a:lnTo>
                <a:lnTo>
                  <a:pt x="686" y="644"/>
                </a:lnTo>
                <a:lnTo>
                  <a:pt x="686" y="640"/>
                </a:lnTo>
                <a:lnTo>
                  <a:pt x="690" y="636"/>
                </a:lnTo>
                <a:lnTo>
                  <a:pt x="692" y="634"/>
                </a:lnTo>
                <a:lnTo>
                  <a:pt x="704" y="622"/>
                </a:lnTo>
                <a:lnTo>
                  <a:pt x="706" y="618"/>
                </a:lnTo>
                <a:lnTo>
                  <a:pt x="708" y="616"/>
                </a:lnTo>
                <a:lnTo>
                  <a:pt x="712" y="612"/>
                </a:lnTo>
                <a:lnTo>
                  <a:pt x="722" y="606"/>
                </a:lnTo>
                <a:lnTo>
                  <a:pt x="724" y="604"/>
                </a:lnTo>
                <a:lnTo>
                  <a:pt x="726" y="604"/>
                </a:lnTo>
                <a:lnTo>
                  <a:pt x="730" y="602"/>
                </a:lnTo>
                <a:lnTo>
                  <a:pt x="732" y="598"/>
                </a:lnTo>
                <a:lnTo>
                  <a:pt x="732" y="596"/>
                </a:lnTo>
                <a:lnTo>
                  <a:pt x="734" y="594"/>
                </a:lnTo>
                <a:lnTo>
                  <a:pt x="736" y="594"/>
                </a:lnTo>
                <a:lnTo>
                  <a:pt x="738" y="590"/>
                </a:lnTo>
                <a:lnTo>
                  <a:pt x="744" y="588"/>
                </a:lnTo>
                <a:lnTo>
                  <a:pt x="746" y="586"/>
                </a:lnTo>
                <a:lnTo>
                  <a:pt x="754" y="580"/>
                </a:lnTo>
                <a:lnTo>
                  <a:pt x="752" y="578"/>
                </a:lnTo>
                <a:lnTo>
                  <a:pt x="748" y="578"/>
                </a:lnTo>
                <a:lnTo>
                  <a:pt x="746" y="578"/>
                </a:lnTo>
                <a:lnTo>
                  <a:pt x="744" y="576"/>
                </a:lnTo>
                <a:lnTo>
                  <a:pt x="742" y="570"/>
                </a:lnTo>
                <a:lnTo>
                  <a:pt x="740" y="564"/>
                </a:lnTo>
                <a:lnTo>
                  <a:pt x="740" y="562"/>
                </a:lnTo>
                <a:lnTo>
                  <a:pt x="738" y="562"/>
                </a:lnTo>
                <a:lnTo>
                  <a:pt x="736" y="566"/>
                </a:lnTo>
                <a:lnTo>
                  <a:pt x="736" y="570"/>
                </a:lnTo>
                <a:lnTo>
                  <a:pt x="734" y="572"/>
                </a:lnTo>
                <a:lnTo>
                  <a:pt x="732" y="574"/>
                </a:lnTo>
                <a:lnTo>
                  <a:pt x="728" y="570"/>
                </a:lnTo>
                <a:lnTo>
                  <a:pt x="722" y="568"/>
                </a:lnTo>
                <a:lnTo>
                  <a:pt x="720" y="568"/>
                </a:lnTo>
                <a:lnTo>
                  <a:pt x="714" y="568"/>
                </a:lnTo>
                <a:lnTo>
                  <a:pt x="710" y="570"/>
                </a:lnTo>
                <a:lnTo>
                  <a:pt x="696" y="576"/>
                </a:lnTo>
                <a:lnTo>
                  <a:pt x="694" y="576"/>
                </a:lnTo>
                <a:lnTo>
                  <a:pt x="690" y="576"/>
                </a:lnTo>
                <a:lnTo>
                  <a:pt x="688" y="576"/>
                </a:lnTo>
                <a:lnTo>
                  <a:pt x="686" y="576"/>
                </a:lnTo>
                <a:lnTo>
                  <a:pt x="680" y="580"/>
                </a:lnTo>
                <a:lnTo>
                  <a:pt x="678" y="582"/>
                </a:lnTo>
                <a:lnTo>
                  <a:pt x="674" y="584"/>
                </a:lnTo>
                <a:lnTo>
                  <a:pt x="672" y="584"/>
                </a:lnTo>
                <a:lnTo>
                  <a:pt x="666" y="584"/>
                </a:lnTo>
                <a:lnTo>
                  <a:pt x="662" y="584"/>
                </a:lnTo>
                <a:lnTo>
                  <a:pt x="658" y="582"/>
                </a:lnTo>
                <a:lnTo>
                  <a:pt x="654" y="580"/>
                </a:lnTo>
                <a:lnTo>
                  <a:pt x="640" y="574"/>
                </a:lnTo>
                <a:lnTo>
                  <a:pt x="632" y="574"/>
                </a:lnTo>
                <a:lnTo>
                  <a:pt x="630" y="574"/>
                </a:lnTo>
                <a:lnTo>
                  <a:pt x="626" y="576"/>
                </a:lnTo>
                <a:lnTo>
                  <a:pt x="624" y="576"/>
                </a:lnTo>
                <a:lnTo>
                  <a:pt x="622" y="574"/>
                </a:lnTo>
                <a:lnTo>
                  <a:pt x="626" y="570"/>
                </a:lnTo>
                <a:lnTo>
                  <a:pt x="630" y="570"/>
                </a:lnTo>
                <a:lnTo>
                  <a:pt x="632" y="568"/>
                </a:lnTo>
                <a:lnTo>
                  <a:pt x="634" y="566"/>
                </a:lnTo>
                <a:lnTo>
                  <a:pt x="638" y="562"/>
                </a:lnTo>
                <a:lnTo>
                  <a:pt x="634" y="558"/>
                </a:lnTo>
                <a:lnTo>
                  <a:pt x="632" y="558"/>
                </a:lnTo>
                <a:lnTo>
                  <a:pt x="622" y="556"/>
                </a:lnTo>
                <a:lnTo>
                  <a:pt x="620" y="556"/>
                </a:lnTo>
                <a:lnTo>
                  <a:pt x="616" y="558"/>
                </a:lnTo>
                <a:lnTo>
                  <a:pt x="612" y="560"/>
                </a:lnTo>
                <a:lnTo>
                  <a:pt x="608" y="558"/>
                </a:lnTo>
                <a:lnTo>
                  <a:pt x="602" y="554"/>
                </a:lnTo>
                <a:lnTo>
                  <a:pt x="602" y="552"/>
                </a:lnTo>
                <a:lnTo>
                  <a:pt x="604" y="552"/>
                </a:lnTo>
                <a:lnTo>
                  <a:pt x="604" y="554"/>
                </a:lnTo>
                <a:lnTo>
                  <a:pt x="606" y="554"/>
                </a:lnTo>
                <a:lnTo>
                  <a:pt x="608" y="554"/>
                </a:lnTo>
                <a:lnTo>
                  <a:pt x="612" y="552"/>
                </a:lnTo>
                <a:lnTo>
                  <a:pt x="616" y="552"/>
                </a:lnTo>
                <a:lnTo>
                  <a:pt x="618" y="552"/>
                </a:lnTo>
                <a:lnTo>
                  <a:pt x="622" y="552"/>
                </a:lnTo>
                <a:lnTo>
                  <a:pt x="624" y="552"/>
                </a:lnTo>
                <a:lnTo>
                  <a:pt x="626" y="552"/>
                </a:lnTo>
                <a:lnTo>
                  <a:pt x="638" y="550"/>
                </a:lnTo>
                <a:lnTo>
                  <a:pt x="644" y="552"/>
                </a:lnTo>
                <a:lnTo>
                  <a:pt x="650" y="552"/>
                </a:lnTo>
                <a:lnTo>
                  <a:pt x="654" y="552"/>
                </a:lnTo>
                <a:lnTo>
                  <a:pt x="656" y="552"/>
                </a:lnTo>
                <a:lnTo>
                  <a:pt x="658" y="548"/>
                </a:lnTo>
                <a:lnTo>
                  <a:pt x="658" y="544"/>
                </a:lnTo>
                <a:lnTo>
                  <a:pt x="660" y="542"/>
                </a:lnTo>
                <a:lnTo>
                  <a:pt x="662" y="540"/>
                </a:lnTo>
                <a:lnTo>
                  <a:pt x="666" y="536"/>
                </a:lnTo>
                <a:lnTo>
                  <a:pt x="668" y="536"/>
                </a:lnTo>
                <a:lnTo>
                  <a:pt x="668" y="534"/>
                </a:lnTo>
                <a:lnTo>
                  <a:pt x="670" y="532"/>
                </a:lnTo>
                <a:lnTo>
                  <a:pt x="662" y="536"/>
                </a:lnTo>
                <a:lnTo>
                  <a:pt x="660" y="540"/>
                </a:lnTo>
                <a:lnTo>
                  <a:pt x="658" y="540"/>
                </a:lnTo>
                <a:lnTo>
                  <a:pt x="656" y="542"/>
                </a:lnTo>
                <a:lnTo>
                  <a:pt x="654" y="542"/>
                </a:lnTo>
                <a:lnTo>
                  <a:pt x="652" y="544"/>
                </a:lnTo>
                <a:lnTo>
                  <a:pt x="650" y="544"/>
                </a:lnTo>
                <a:lnTo>
                  <a:pt x="650" y="542"/>
                </a:lnTo>
                <a:lnTo>
                  <a:pt x="646" y="540"/>
                </a:lnTo>
                <a:lnTo>
                  <a:pt x="642" y="544"/>
                </a:lnTo>
                <a:lnTo>
                  <a:pt x="640" y="546"/>
                </a:lnTo>
                <a:lnTo>
                  <a:pt x="632" y="540"/>
                </a:lnTo>
                <a:lnTo>
                  <a:pt x="630" y="540"/>
                </a:lnTo>
                <a:lnTo>
                  <a:pt x="628" y="536"/>
                </a:lnTo>
                <a:lnTo>
                  <a:pt x="626" y="532"/>
                </a:lnTo>
                <a:lnTo>
                  <a:pt x="624" y="530"/>
                </a:lnTo>
                <a:lnTo>
                  <a:pt x="624" y="528"/>
                </a:lnTo>
                <a:lnTo>
                  <a:pt x="624" y="524"/>
                </a:lnTo>
                <a:lnTo>
                  <a:pt x="626" y="522"/>
                </a:lnTo>
                <a:lnTo>
                  <a:pt x="626" y="520"/>
                </a:lnTo>
                <a:lnTo>
                  <a:pt x="626" y="516"/>
                </a:lnTo>
                <a:lnTo>
                  <a:pt x="626" y="514"/>
                </a:lnTo>
                <a:lnTo>
                  <a:pt x="622" y="508"/>
                </a:lnTo>
                <a:lnTo>
                  <a:pt x="610" y="494"/>
                </a:lnTo>
                <a:lnTo>
                  <a:pt x="604" y="488"/>
                </a:lnTo>
                <a:lnTo>
                  <a:pt x="602" y="490"/>
                </a:lnTo>
                <a:lnTo>
                  <a:pt x="604" y="492"/>
                </a:lnTo>
                <a:lnTo>
                  <a:pt x="608" y="494"/>
                </a:lnTo>
                <a:lnTo>
                  <a:pt x="614" y="502"/>
                </a:lnTo>
                <a:lnTo>
                  <a:pt x="612" y="506"/>
                </a:lnTo>
                <a:lnTo>
                  <a:pt x="612" y="508"/>
                </a:lnTo>
                <a:lnTo>
                  <a:pt x="620" y="516"/>
                </a:lnTo>
                <a:lnTo>
                  <a:pt x="622" y="516"/>
                </a:lnTo>
                <a:lnTo>
                  <a:pt x="624" y="518"/>
                </a:lnTo>
                <a:lnTo>
                  <a:pt x="622" y="522"/>
                </a:lnTo>
                <a:lnTo>
                  <a:pt x="620" y="524"/>
                </a:lnTo>
                <a:lnTo>
                  <a:pt x="620" y="526"/>
                </a:lnTo>
                <a:lnTo>
                  <a:pt x="618" y="528"/>
                </a:lnTo>
                <a:lnTo>
                  <a:pt x="620" y="530"/>
                </a:lnTo>
                <a:lnTo>
                  <a:pt x="622" y="532"/>
                </a:lnTo>
                <a:lnTo>
                  <a:pt x="624" y="540"/>
                </a:lnTo>
                <a:lnTo>
                  <a:pt x="622" y="544"/>
                </a:lnTo>
                <a:lnTo>
                  <a:pt x="620" y="544"/>
                </a:lnTo>
                <a:lnTo>
                  <a:pt x="614" y="544"/>
                </a:lnTo>
                <a:lnTo>
                  <a:pt x="612" y="544"/>
                </a:lnTo>
                <a:lnTo>
                  <a:pt x="608" y="544"/>
                </a:lnTo>
                <a:lnTo>
                  <a:pt x="606" y="544"/>
                </a:lnTo>
                <a:lnTo>
                  <a:pt x="606" y="546"/>
                </a:lnTo>
                <a:lnTo>
                  <a:pt x="604" y="548"/>
                </a:lnTo>
                <a:lnTo>
                  <a:pt x="598" y="548"/>
                </a:lnTo>
                <a:lnTo>
                  <a:pt x="598" y="546"/>
                </a:lnTo>
                <a:lnTo>
                  <a:pt x="600" y="544"/>
                </a:lnTo>
                <a:lnTo>
                  <a:pt x="600" y="540"/>
                </a:lnTo>
                <a:lnTo>
                  <a:pt x="602" y="532"/>
                </a:lnTo>
                <a:lnTo>
                  <a:pt x="600" y="538"/>
                </a:lnTo>
                <a:lnTo>
                  <a:pt x="598" y="540"/>
                </a:lnTo>
                <a:lnTo>
                  <a:pt x="596" y="544"/>
                </a:lnTo>
                <a:lnTo>
                  <a:pt x="594" y="548"/>
                </a:lnTo>
                <a:lnTo>
                  <a:pt x="590" y="552"/>
                </a:lnTo>
                <a:lnTo>
                  <a:pt x="586" y="552"/>
                </a:lnTo>
                <a:lnTo>
                  <a:pt x="584" y="552"/>
                </a:lnTo>
                <a:lnTo>
                  <a:pt x="580" y="552"/>
                </a:lnTo>
                <a:lnTo>
                  <a:pt x="578" y="552"/>
                </a:lnTo>
                <a:lnTo>
                  <a:pt x="574" y="554"/>
                </a:lnTo>
                <a:lnTo>
                  <a:pt x="572" y="556"/>
                </a:lnTo>
                <a:lnTo>
                  <a:pt x="570" y="556"/>
                </a:lnTo>
                <a:lnTo>
                  <a:pt x="566" y="560"/>
                </a:lnTo>
                <a:lnTo>
                  <a:pt x="560" y="564"/>
                </a:lnTo>
                <a:lnTo>
                  <a:pt x="558" y="570"/>
                </a:lnTo>
                <a:lnTo>
                  <a:pt x="560" y="574"/>
                </a:lnTo>
                <a:lnTo>
                  <a:pt x="560" y="580"/>
                </a:lnTo>
                <a:lnTo>
                  <a:pt x="554" y="592"/>
                </a:lnTo>
                <a:lnTo>
                  <a:pt x="548" y="608"/>
                </a:lnTo>
                <a:lnTo>
                  <a:pt x="536" y="632"/>
                </a:lnTo>
                <a:lnTo>
                  <a:pt x="530" y="636"/>
                </a:lnTo>
                <a:lnTo>
                  <a:pt x="530" y="638"/>
                </a:lnTo>
                <a:lnTo>
                  <a:pt x="526" y="640"/>
                </a:lnTo>
                <a:lnTo>
                  <a:pt x="524" y="640"/>
                </a:lnTo>
                <a:lnTo>
                  <a:pt x="522" y="638"/>
                </a:lnTo>
                <a:lnTo>
                  <a:pt x="520" y="638"/>
                </a:lnTo>
                <a:lnTo>
                  <a:pt x="516" y="640"/>
                </a:lnTo>
                <a:lnTo>
                  <a:pt x="510" y="650"/>
                </a:lnTo>
                <a:lnTo>
                  <a:pt x="510" y="652"/>
                </a:lnTo>
                <a:lnTo>
                  <a:pt x="512" y="654"/>
                </a:lnTo>
                <a:lnTo>
                  <a:pt x="514" y="654"/>
                </a:lnTo>
                <a:lnTo>
                  <a:pt x="512" y="658"/>
                </a:lnTo>
                <a:lnTo>
                  <a:pt x="510" y="660"/>
                </a:lnTo>
                <a:lnTo>
                  <a:pt x="508" y="660"/>
                </a:lnTo>
                <a:lnTo>
                  <a:pt x="502" y="656"/>
                </a:lnTo>
                <a:lnTo>
                  <a:pt x="502" y="652"/>
                </a:lnTo>
                <a:lnTo>
                  <a:pt x="502" y="648"/>
                </a:lnTo>
                <a:lnTo>
                  <a:pt x="502" y="644"/>
                </a:lnTo>
                <a:lnTo>
                  <a:pt x="498" y="644"/>
                </a:lnTo>
                <a:lnTo>
                  <a:pt x="498" y="656"/>
                </a:lnTo>
                <a:lnTo>
                  <a:pt x="500" y="668"/>
                </a:lnTo>
                <a:lnTo>
                  <a:pt x="502" y="674"/>
                </a:lnTo>
                <a:lnTo>
                  <a:pt x="506" y="676"/>
                </a:lnTo>
                <a:lnTo>
                  <a:pt x="510" y="674"/>
                </a:lnTo>
                <a:lnTo>
                  <a:pt x="512" y="676"/>
                </a:lnTo>
                <a:lnTo>
                  <a:pt x="514" y="688"/>
                </a:lnTo>
                <a:lnTo>
                  <a:pt x="514" y="696"/>
                </a:lnTo>
                <a:lnTo>
                  <a:pt x="512" y="698"/>
                </a:lnTo>
                <a:lnTo>
                  <a:pt x="510" y="700"/>
                </a:lnTo>
                <a:lnTo>
                  <a:pt x="510" y="698"/>
                </a:lnTo>
                <a:lnTo>
                  <a:pt x="510" y="694"/>
                </a:lnTo>
                <a:lnTo>
                  <a:pt x="510" y="692"/>
                </a:lnTo>
                <a:lnTo>
                  <a:pt x="508" y="688"/>
                </a:lnTo>
                <a:lnTo>
                  <a:pt x="506" y="688"/>
                </a:lnTo>
                <a:lnTo>
                  <a:pt x="504" y="684"/>
                </a:lnTo>
                <a:lnTo>
                  <a:pt x="502" y="684"/>
                </a:lnTo>
                <a:lnTo>
                  <a:pt x="498" y="682"/>
                </a:lnTo>
                <a:lnTo>
                  <a:pt x="490" y="682"/>
                </a:lnTo>
                <a:lnTo>
                  <a:pt x="484" y="682"/>
                </a:lnTo>
                <a:lnTo>
                  <a:pt x="478" y="684"/>
                </a:lnTo>
                <a:lnTo>
                  <a:pt x="464" y="696"/>
                </a:lnTo>
                <a:lnTo>
                  <a:pt x="456" y="700"/>
                </a:lnTo>
                <a:lnTo>
                  <a:pt x="454" y="706"/>
                </a:lnTo>
                <a:lnTo>
                  <a:pt x="448" y="710"/>
                </a:lnTo>
                <a:lnTo>
                  <a:pt x="440" y="708"/>
                </a:lnTo>
                <a:lnTo>
                  <a:pt x="426" y="706"/>
                </a:lnTo>
                <a:lnTo>
                  <a:pt x="424" y="704"/>
                </a:lnTo>
                <a:lnTo>
                  <a:pt x="422" y="702"/>
                </a:lnTo>
                <a:lnTo>
                  <a:pt x="420" y="700"/>
                </a:lnTo>
                <a:lnTo>
                  <a:pt x="420" y="698"/>
                </a:lnTo>
                <a:lnTo>
                  <a:pt x="418" y="694"/>
                </a:lnTo>
                <a:lnTo>
                  <a:pt x="416" y="692"/>
                </a:lnTo>
                <a:lnTo>
                  <a:pt x="414" y="694"/>
                </a:lnTo>
                <a:lnTo>
                  <a:pt x="414" y="692"/>
                </a:lnTo>
                <a:lnTo>
                  <a:pt x="414" y="688"/>
                </a:lnTo>
                <a:lnTo>
                  <a:pt x="416" y="688"/>
                </a:lnTo>
                <a:lnTo>
                  <a:pt x="416" y="686"/>
                </a:lnTo>
                <a:lnTo>
                  <a:pt x="418" y="686"/>
                </a:lnTo>
                <a:lnTo>
                  <a:pt x="420" y="684"/>
                </a:lnTo>
                <a:lnTo>
                  <a:pt x="422" y="686"/>
                </a:lnTo>
                <a:lnTo>
                  <a:pt x="424" y="686"/>
                </a:lnTo>
                <a:lnTo>
                  <a:pt x="430" y="686"/>
                </a:lnTo>
                <a:lnTo>
                  <a:pt x="432" y="684"/>
                </a:lnTo>
                <a:lnTo>
                  <a:pt x="432" y="682"/>
                </a:lnTo>
                <a:lnTo>
                  <a:pt x="430" y="672"/>
                </a:lnTo>
                <a:lnTo>
                  <a:pt x="428" y="672"/>
                </a:lnTo>
                <a:lnTo>
                  <a:pt x="430" y="666"/>
                </a:lnTo>
                <a:lnTo>
                  <a:pt x="434" y="660"/>
                </a:lnTo>
                <a:lnTo>
                  <a:pt x="438" y="658"/>
                </a:lnTo>
                <a:lnTo>
                  <a:pt x="442" y="650"/>
                </a:lnTo>
                <a:lnTo>
                  <a:pt x="440" y="644"/>
                </a:lnTo>
                <a:lnTo>
                  <a:pt x="440" y="640"/>
                </a:lnTo>
                <a:lnTo>
                  <a:pt x="444" y="640"/>
                </a:lnTo>
                <a:lnTo>
                  <a:pt x="448" y="636"/>
                </a:lnTo>
                <a:lnTo>
                  <a:pt x="452" y="636"/>
                </a:lnTo>
                <a:lnTo>
                  <a:pt x="454" y="616"/>
                </a:lnTo>
                <a:lnTo>
                  <a:pt x="452" y="614"/>
                </a:lnTo>
                <a:lnTo>
                  <a:pt x="448" y="610"/>
                </a:lnTo>
                <a:lnTo>
                  <a:pt x="444" y="596"/>
                </a:lnTo>
                <a:lnTo>
                  <a:pt x="446" y="592"/>
                </a:lnTo>
                <a:lnTo>
                  <a:pt x="448" y="592"/>
                </a:lnTo>
                <a:lnTo>
                  <a:pt x="450" y="590"/>
                </a:lnTo>
                <a:lnTo>
                  <a:pt x="456" y="584"/>
                </a:lnTo>
                <a:lnTo>
                  <a:pt x="460" y="582"/>
                </a:lnTo>
                <a:lnTo>
                  <a:pt x="460" y="586"/>
                </a:lnTo>
                <a:lnTo>
                  <a:pt x="462" y="588"/>
                </a:lnTo>
                <a:lnTo>
                  <a:pt x="462" y="596"/>
                </a:lnTo>
                <a:lnTo>
                  <a:pt x="462" y="598"/>
                </a:lnTo>
                <a:lnTo>
                  <a:pt x="464" y="598"/>
                </a:lnTo>
                <a:lnTo>
                  <a:pt x="468" y="594"/>
                </a:lnTo>
                <a:lnTo>
                  <a:pt x="468" y="592"/>
                </a:lnTo>
                <a:lnTo>
                  <a:pt x="468" y="588"/>
                </a:lnTo>
                <a:lnTo>
                  <a:pt x="478" y="586"/>
                </a:lnTo>
                <a:lnTo>
                  <a:pt x="478" y="590"/>
                </a:lnTo>
                <a:lnTo>
                  <a:pt x="486" y="594"/>
                </a:lnTo>
                <a:lnTo>
                  <a:pt x="488" y="594"/>
                </a:lnTo>
                <a:lnTo>
                  <a:pt x="490" y="594"/>
                </a:lnTo>
                <a:lnTo>
                  <a:pt x="494" y="586"/>
                </a:lnTo>
                <a:lnTo>
                  <a:pt x="500" y="592"/>
                </a:lnTo>
                <a:lnTo>
                  <a:pt x="504" y="594"/>
                </a:lnTo>
                <a:lnTo>
                  <a:pt x="506" y="590"/>
                </a:lnTo>
                <a:lnTo>
                  <a:pt x="510" y="590"/>
                </a:lnTo>
                <a:lnTo>
                  <a:pt x="514" y="588"/>
                </a:lnTo>
                <a:lnTo>
                  <a:pt x="518" y="588"/>
                </a:lnTo>
                <a:lnTo>
                  <a:pt x="518" y="586"/>
                </a:lnTo>
                <a:lnTo>
                  <a:pt x="518" y="584"/>
                </a:lnTo>
                <a:lnTo>
                  <a:pt x="516" y="584"/>
                </a:lnTo>
                <a:lnTo>
                  <a:pt x="514" y="584"/>
                </a:lnTo>
                <a:lnTo>
                  <a:pt x="512" y="582"/>
                </a:lnTo>
                <a:lnTo>
                  <a:pt x="510" y="582"/>
                </a:lnTo>
                <a:lnTo>
                  <a:pt x="504" y="578"/>
                </a:lnTo>
                <a:lnTo>
                  <a:pt x="502" y="576"/>
                </a:lnTo>
                <a:lnTo>
                  <a:pt x="502" y="574"/>
                </a:lnTo>
                <a:lnTo>
                  <a:pt x="506" y="572"/>
                </a:lnTo>
                <a:lnTo>
                  <a:pt x="504" y="556"/>
                </a:lnTo>
                <a:lnTo>
                  <a:pt x="500" y="550"/>
                </a:lnTo>
                <a:lnTo>
                  <a:pt x="494" y="546"/>
                </a:lnTo>
                <a:lnTo>
                  <a:pt x="486" y="546"/>
                </a:lnTo>
                <a:lnTo>
                  <a:pt x="476" y="542"/>
                </a:lnTo>
                <a:lnTo>
                  <a:pt x="476" y="536"/>
                </a:lnTo>
                <a:lnTo>
                  <a:pt x="472" y="524"/>
                </a:lnTo>
                <a:lnTo>
                  <a:pt x="472" y="512"/>
                </a:lnTo>
                <a:lnTo>
                  <a:pt x="470" y="510"/>
                </a:lnTo>
                <a:lnTo>
                  <a:pt x="468" y="508"/>
                </a:lnTo>
                <a:lnTo>
                  <a:pt x="464" y="508"/>
                </a:lnTo>
                <a:lnTo>
                  <a:pt x="464" y="512"/>
                </a:lnTo>
                <a:lnTo>
                  <a:pt x="460" y="512"/>
                </a:lnTo>
                <a:lnTo>
                  <a:pt x="456" y="510"/>
                </a:lnTo>
                <a:lnTo>
                  <a:pt x="456" y="508"/>
                </a:lnTo>
                <a:lnTo>
                  <a:pt x="454" y="506"/>
                </a:lnTo>
                <a:lnTo>
                  <a:pt x="450" y="502"/>
                </a:lnTo>
                <a:lnTo>
                  <a:pt x="446" y="500"/>
                </a:lnTo>
                <a:lnTo>
                  <a:pt x="444" y="502"/>
                </a:lnTo>
                <a:lnTo>
                  <a:pt x="440" y="496"/>
                </a:lnTo>
                <a:lnTo>
                  <a:pt x="438" y="492"/>
                </a:lnTo>
                <a:lnTo>
                  <a:pt x="440" y="490"/>
                </a:lnTo>
                <a:lnTo>
                  <a:pt x="440" y="486"/>
                </a:lnTo>
                <a:lnTo>
                  <a:pt x="442" y="472"/>
                </a:lnTo>
                <a:lnTo>
                  <a:pt x="434" y="456"/>
                </a:lnTo>
                <a:lnTo>
                  <a:pt x="432" y="454"/>
                </a:lnTo>
                <a:lnTo>
                  <a:pt x="428" y="454"/>
                </a:lnTo>
                <a:lnTo>
                  <a:pt x="428" y="458"/>
                </a:lnTo>
                <a:lnTo>
                  <a:pt x="426" y="458"/>
                </a:lnTo>
                <a:lnTo>
                  <a:pt x="424" y="458"/>
                </a:lnTo>
                <a:lnTo>
                  <a:pt x="422" y="458"/>
                </a:lnTo>
                <a:lnTo>
                  <a:pt x="416" y="456"/>
                </a:lnTo>
                <a:lnTo>
                  <a:pt x="416" y="454"/>
                </a:lnTo>
                <a:lnTo>
                  <a:pt x="410" y="446"/>
                </a:lnTo>
                <a:lnTo>
                  <a:pt x="408" y="444"/>
                </a:lnTo>
                <a:lnTo>
                  <a:pt x="404" y="444"/>
                </a:lnTo>
                <a:lnTo>
                  <a:pt x="398" y="442"/>
                </a:lnTo>
                <a:lnTo>
                  <a:pt x="394" y="444"/>
                </a:lnTo>
                <a:lnTo>
                  <a:pt x="390" y="446"/>
                </a:lnTo>
                <a:lnTo>
                  <a:pt x="386" y="446"/>
                </a:lnTo>
                <a:lnTo>
                  <a:pt x="382" y="444"/>
                </a:lnTo>
                <a:lnTo>
                  <a:pt x="382" y="442"/>
                </a:lnTo>
                <a:lnTo>
                  <a:pt x="382" y="440"/>
                </a:lnTo>
                <a:lnTo>
                  <a:pt x="380" y="438"/>
                </a:lnTo>
                <a:lnTo>
                  <a:pt x="376" y="440"/>
                </a:lnTo>
                <a:lnTo>
                  <a:pt x="374" y="442"/>
                </a:lnTo>
                <a:lnTo>
                  <a:pt x="372" y="442"/>
                </a:lnTo>
                <a:lnTo>
                  <a:pt x="364" y="440"/>
                </a:lnTo>
                <a:lnTo>
                  <a:pt x="364" y="436"/>
                </a:lnTo>
                <a:lnTo>
                  <a:pt x="362" y="434"/>
                </a:lnTo>
                <a:lnTo>
                  <a:pt x="358" y="434"/>
                </a:lnTo>
                <a:lnTo>
                  <a:pt x="354" y="434"/>
                </a:lnTo>
                <a:lnTo>
                  <a:pt x="352" y="434"/>
                </a:lnTo>
                <a:lnTo>
                  <a:pt x="350" y="432"/>
                </a:lnTo>
                <a:lnTo>
                  <a:pt x="350" y="430"/>
                </a:lnTo>
                <a:lnTo>
                  <a:pt x="348" y="428"/>
                </a:lnTo>
                <a:lnTo>
                  <a:pt x="340" y="426"/>
                </a:lnTo>
                <a:lnTo>
                  <a:pt x="328" y="426"/>
                </a:lnTo>
                <a:lnTo>
                  <a:pt x="326" y="426"/>
                </a:lnTo>
                <a:lnTo>
                  <a:pt x="322" y="430"/>
                </a:lnTo>
                <a:lnTo>
                  <a:pt x="310" y="438"/>
                </a:lnTo>
                <a:lnTo>
                  <a:pt x="296" y="442"/>
                </a:lnTo>
                <a:lnTo>
                  <a:pt x="284" y="444"/>
                </a:lnTo>
                <a:lnTo>
                  <a:pt x="278" y="446"/>
                </a:lnTo>
                <a:lnTo>
                  <a:pt x="276" y="450"/>
                </a:lnTo>
                <a:lnTo>
                  <a:pt x="276" y="452"/>
                </a:lnTo>
                <a:lnTo>
                  <a:pt x="276" y="454"/>
                </a:lnTo>
                <a:lnTo>
                  <a:pt x="272" y="458"/>
                </a:lnTo>
                <a:lnTo>
                  <a:pt x="270" y="458"/>
                </a:lnTo>
                <a:lnTo>
                  <a:pt x="268" y="458"/>
                </a:lnTo>
                <a:lnTo>
                  <a:pt x="266" y="458"/>
                </a:lnTo>
                <a:lnTo>
                  <a:pt x="258" y="464"/>
                </a:lnTo>
                <a:lnTo>
                  <a:pt x="256" y="472"/>
                </a:lnTo>
                <a:lnTo>
                  <a:pt x="252" y="480"/>
                </a:lnTo>
                <a:lnTo>
                  <a:pt x="250" y="482"/>
                </a:lnTo>
                <a:lnTo>
                  <a:pt x="248" y="482"/>
                </a:lnTo>
                <a:lnTo>
                  <a:pt x="246" y="482"/>
                </a:lnTo>
                <a:lnTo>
                  <a:pt x="242" y="482"/>
                </a:lnTo>
                <a:lnTo>
                  <a:pt x="236" y="486"/>
                </a:lnTo>
                <a:lnTo>
                  <a:pt x="230" y="486"/>
                </a:lnTo>
                <a:lnTo>
                  <a:pt x="230" y="488"/>
                </a:lnTo>
                <a:lnTo>
                  <a:pt x="228" y="490"/>
                </a:lnTo>
                <a:lnTo>
                  <a:pt x="220" y="492"/>
                </a:lnTo>
                <a:lnTo>
                  <a:pt x="216" y="492"/>
                </a:lnTo>
                <a:lnTo>
                  <a:pt x="214" y="492"/>
                </a:lnTo>
                <a:lnTo>
                  <a:pt x="212" y="492"/>
                </a:lnTo>
                <a:lnTo>
                  <a:pt x="210" y="492"/>
                </a:lnTo>
                <a:lnTo>
                  <a:pt x="202" y="496"/>
                </a:lnTo>
                <a:lnTo>
                  <a:pt x="196" y="498"/>
                </a:lnTo>
                <a:lnTo>
                  <a:pt x="194" y="500"/>
                </a:lnTo>
                <a:lnTo>
                  <a:pt x="192" y="504"/>
                </a:lnTo>
                <a:lnTo>
                  <a:pt x="192" y="508"/>
                </a:lnTo>
                <a:lnTo>
                  <a:pt x="190" y="512"/>
                </a:lnTo>
                <a:lnTo>
                  <a:pt x="188" y="512"/>
                </a:lnTo>
                <a:lnTo>
                  <a:pt x="186" y="514"/>
                </a:lnTo>
                <a:lnTo>
                  <a:pt x="184" y="516"/>
                </a:lnTo>
                <a:lnTo>
                  <a:pt x="182" y="516"/>
                </a:lnTo>
                <a:lnTo>
                  <a:pt x="180" y="516"/>
                </a:lnTo>
                <a:lnTo>
                  <a:pt x="178" y="516"/>
                </a:lnTo>
                <a:lnTo>
                  <a:pt x="176" y="516"/>
                </a:lnTo>
                <a:lnTo>
                  <a:pt x="174" y="514"/>
                </a:lnTo>
                <a:lnTo>
                  <a:pt x="170" y="508"/>
                </a:lnTo>
                <a:lnTo>
                  <a:pt x="168" y="508"/>
                </a:lnTo>
                <a:lnTo>
                  <a:pt x="164" y="508"/>
                </a:lnTo>
                <a:lnTo>
                  <a:pt x="162" y="506"/>
                </a:lnTo>
                <a:lnTo>
                  <a:pt x="160" y="504"/>
                </a:lnTo>
                <a:lnTo>
                  <a:pt x="160" y="502"/>
                </a:lnTo>
                <a:lnTo>
                  <a:pt x="156" y="500"/>
                </a:lnTo>
                <a:lnTo>
                  <a:pt x="156" y="498"/>
                </a:lnTo>
                <a:lnTo>
                  <a:pt x="154" y="498"/>
                </a:lnTo>
                <a:lnTo>
                  <a:pt x="152" y="498"/>
                </a:lnTo>
                <a:lnTo>
                  <a:pt x="146" y="498"/>
                </a:lnTo>
                <a:lnTo>
                  <a:pt x="144" y="498"/>
                </a:lnTo>
                <a:lnTo>
                  <a:pt x="140" y="502"/>
                </a:lnTo>
                <a:lnTo>
                  <a:pt x="134" y="504"/>
                </a:lnTo>
                <a:lnTo>
                  <a:pt x="126" y="504"/>
                </a:lnTo>
                <a:lnTo>
                  <a:pt x="120" y="502"/>
                </a:lnTo>
                <a:lnTo>
                  <a:pt x="118" y="502"/>
                </a:lnTo>
                <a:lnTo>
                  <a:pt x="108" y="502"/>
                </a:lnTo>
                <a:lnTo>
                  <a:pt x="92" y="500"/>
                </a:lnTo>
                <a:lnTo>
                  <a:pt x="90" y="502"/>
                </a:lnTo>
                <a:lnTo>
                  <a:pt x="88" y="502"/>
                </a:lnTo>
                <a:lnTo>
                  <a:pt x="82" y="502"/>
                </a:lnTo>
                <a:lnTo>
                  <a:pt x="78" y="500"/>
                </a:lnTo>
                <a:lnTo>
                  <a:pt x="76" y="498"/>
                </a:lnTo>
                <a:lnTo>
                  <a:pt x="74" y="496"/>
                </a:lnTo>
                <a:lnTo>
                  <a:pt x="72" y="494"/>
                </a:lnTo>
                <a:lnTo>
                  <a:pt x="66" y="494"/>
                </a:lnTo>
                <a:lnTo>
                  <a:pt x="64" y="496"/>
                </a:lnTo>
                <a:lnTo>
                  <a:pt x="64" y="498"/>
                </a:lnTo>
                <a:lnTo>
                  <a:pt x="64" y="500"/>
                </a:lnTo>
                <a:lnTo>
                  <a:pt x="62" y="502"/>
                </a:lnTo>
                <a:lnTo>
                  <a:pt x="60" y="504"/>
                </a:lnTo>
                <a:lnTo>
                  <a:pt x="54" y="508"/>
                </a:lnTo>
                <a:lnTo>
                  <a:pt x="52" y="508"/>
                </a:lnTo>
                <a:lnTo>
                  <a:pt x="48" y="506"/>
                </a:lnTo>
                <a:lnTo>
                  <a:pt x="50" y="502"/>
                </a:lnTo>
                <a:lnTo>
                  <a:pt x="48" y="498"/>
                </a:lnTo>
                <a:lnTo>
                  <a:pt x="44" y="496"/>
                </a:lnTo>
                <a:lnTo>
                  <a:pt x="40" y="496"/>
                </a:lnTo>
                <a:lnTo>
                  <a:pt x="36" y="498"/>
                </a:lnTo>
                <a:lnTo>
                  <a:pt x="34" y="498"/>
                </a:lnTo>
                <a:lnTo>
                  <a:pt x="32" y="496"/>
                </a:lnTo>
                <a:lnTo>
                  <a:pt x="32" y="494"/>
                </a:lnTo>
                <a:lnTo>
                  <a:pt x="30" y="490"/>
                </a:lnTo>
                <a:lnTo>
                  <a:pt x="24" y="484"/>
                </a:lnTo>
                <a:lnTo>
                  <a:pt x="22" y="486"/>
                </a:lnTo>
                <a:lnTo>
                  <a:pt x="18" y="486"/>
                </a:lnTo>
                <a:lnTo>
                  <a:pt x="16" y="482"/>
                </a:lnTo>
                <a:lnTo>
                  <a:pt x="10" y="476"/>
                </a:lnTo>
                <a:lnTo>
                  <a:pt x="10" y="472"/>
                </a:lnTo>
                <a:lnTo>
                  <a:pt x="6" y="470"/>
                </a:lnTo>
                <a:lnTo>
                  <a:pt x="4" y="472"/>
                </a:lnTo>
                <a:lnTo>
                  <a:pt x="2" y="472"/>
                </a:lnTo>
                <a:lnTo>
                  <a:pt x="0" y="456"/>
                </a:lnTo>
                <a:lnTo>
                  <a:pt x="2" y="454"/>
                </a:lnTo>
                <a:lnTo>
                  <a:pt x="6" y="452"/>
                </a:lnTo>
                <a:lnTo>
                  <a:pt x="10" y="446"/>
                </a:lnTo>
                <a:lnTo>
                  <a:pt x="12" y="434"/>
                </a:lnTo>
                <a:lnTo>
                  <a:pt x="14" y="426"/>
                </a:lnTo>
                <a:lnTo>
                  <a:pt x="16" y="420"/>
                </a:lnTo>
                <a:lnTo>
                  <a:pt x="20" y="416"/>
                </a:lnTo>
                <a:lnTo>
                  <a:pt x="20" y="412"/>
                </a:lnTo>
                <a:lnTo>
                  <a:pt x="20" y="408"/>
                </a:lnTo>
                <a:lnTo>
                  <a:pt x="22" y="408"/>
                </a:lnTo>
                <a:lnTo>
                  <a:pt x="22" y="406"/>
                </a:lnTo>
                <a:lnTo>
                  <a:pt x="32" y="410"/>
                </a:lnTo>
                <a:lnTo>
                  <a:pt x="40" y="412"/>
                </a:lnTo>
                <a:lnTo>
                  <a:pt x="40" y="408"/>
                </a:lnTo>
                <a:lnTo>
                  <a:pt x="40" y="406"/>
                </a:lnTo>
                <a:lnTo>
                  <a:pt x="38" y="404"/>
                </a:lnTo>
                <a:lnTo>
                  <a:pt x="32" y="400"/>
                </a:lnTo>
                <a:lnTo>
                  <a:pt x="28" y="398"/>
                </a:lnTo>
                <a:lnTo>
                  <a:pt x="30" y="394"/>
                </a:lnTo>
                <a:lnTo>
                  <a:pt x="30" y="388"/>
                </a:lnTo>
                <a:lnTo>
                  <a:pt x="28" y="378"/>
                </a:lnTo>
                <a:lnTo>
                  <a:pt x="26" y="374"/>
                </a:lnTo>
                <a:lnTo>
                  <a:pt x="22" y="366"/>
                </a:lnTo>
                <a:lnTo>
                  <a:pt x="24" y="362"/>
                </a:lnTo>
                <a:lnTo>
                  <a:pt x="26" y="360"/>
                </a:lnTo>
                <a:lnTo>
                  <a:pt x="28" y="352"/>
                </a:lnTo>
                <a:lnTo>
                  <a:pt x="44" y="324"/>
                </a:lnTo>
                <a:lnTo>
                  <a:pt x="48" y="322"/>
                </a:lnTo>
                <a:lnTo>
                  <a:pt x="52" y="316"/>
                </a:lnTo>
                <a:lnTo>
                  <a:pt x="56" y="310"/>
                </a:lnTo>
                <a:lnTo>
                  <a:pt x="56" y="308"/>
                </a:lnTo>
                <a:lnTo>
                  <a:pt x="60" y="306"/>
                </a:lnTo>
                <a:lnTo>
                  <a:pt x="66" y="298"/>
                </a:lnTo>
                <a:lnTo>
                  <a:pt x="68" y="296"/>
                </a:lnTo>
                <a:lnTo>
                  <a:pt x="70" y="294"/>
                </a:lnTo>
                <a:lnTo>
                  <a:pt x="74" y="286"/>
                </a:lnTo>
                <a:lnTo>
                  <a:pt x="76" y="282"/>
                </a:lnTo>
                <a:lnTo>
                  <a:pt x="78" y="280"/>
                </a:lnTo>
                <a:lnTo>
                  <a:pt x="80" y="280"/>
                </a:lnTo>
                <a:lnTo>
                  <a:pt x="82" y="278"/>
                </a:lnTo>
                <a:lnTo>
                  <a:pt x="84" y="278"/>
                </a:lnTo>
                <a:lnTo>
                  <a:pt x="86" y="278"/>
                </a:lnTo>
                <a:lnTo>
                  <a:pt x="88" y="278"/>
                </a:lnTo>
                <a:lnTo>
                  <a:pt x="92" y="278"/>
                </a:lnTo>
                <a:lnTo>
                  <a:pt x="92" y="276"/>
                </a:lnTo>
                <a:lnTo>
                  <a:pt x="98" y="262"/>
                </a:lnTo>
                <a:lnTo>
                  <a:pt x="96" y="256"/>
                </a:lnTo>
                <a:lnTo>
                  <a:pt x="94" y="250"/>
                </a:lnTo>
                <a:lnTo>
                  <a:pt x="90" y="248"/>
                </a:lnTo>
                <a:lnTo>
                  <a:pt x="86" y="242"/>
                </a:lnTo>
                <a:lnTo>
                  <a:pt x="86" y="240"/>
                </a:lnTo>
                <a:lnTo>
                  <a:pt x="90" y="238"/>
                </a:lnTo>
                <a:lnTo>
                  <a:pt x="92" y="238"/>
                </a:lnTo>
                <a:lnTo>
                  <a:pt x="96" y="238"/>
                </a:lnTo>
                <a:lnTo>
                  <a:pt x="96" y="236"/>
                </a:lnTo>
                <a:lnTo>
                  <a:pt x="92" y="234"/>
                </a:lnTo>
                <a:lnTo>
                  <a:pt x="90" y="234"/>
                </a:lnTo>
                <a:lnTo>
                  <a:pt x="90" y="232"/>
                </a:lnTo>
                <a:lnTo>
                  <a:pt x="86" y="230"/>
                </a:lnTo>
                <a:lnTo>
                  <a:pt x="86" y="228"/>
                </a:lnTo>
                <a:lnTo>
                  <a:pt x="82" y="224"/>
                </a:lnTo>
                <a:lnTo>
                  <a:pt x="80" y="218"/>
                </a:lnTo>
                <a:lnTo>
                  <a:pt x="74" y="210"/>
                </a:lnTo>
                <a:lnTo>
                  <a:pt x="70" y="208"/>
                </a:lnTo>
                <a:lnTo>
                  <a:pt x="68" y="206"/>
                </a:lnTo>
                <a:lnTo>
                  <a:pt x="66" y="198"/>
                </a:lnTo>
                <a:lnTo>
                  <a:pt x="64" y="192"/>
                </a:lnTo>
                <a:lnTo>
                  <a:pt x="64" y="188"/>
                </a:lnTo>
                <a:lnTo>
                  <a:pt x="60" y="182"/>
                </a:lnTo>
                <a:lnTo>
                  <a:pt x="58" y="180"/>
                </a:lnTo>
                <a:lnTo>
                  <a:pt x="58" y="178"/>
                </a:lnTo>
                <a:lnTo>
                  <a:pt x="60" y="178"/>
                </a:lnTo>
                <a:lnTo>
                  <a:pt x="58" y="172"/>
                </a:lnTo>
                <a:lnTo>
                  <a:pt x="58" y="170"/>
                </a:lnTo>
                <a:lnTo>
                  <a:pt x="60" y="168"/>
                </a:lnTo>
                <a:lnTo>
                  <a:pt x="66" y="166"/>
                </a:lnTo>
                <a:lnTo>
                  <a:pt x="74" y="166"/>
                </a:lnTo>
                <a:lnTo>
                  <a:pt x="76" y="168"/>
                </a:lnTo>
                <a:lnTo>
                  <a:pt x="76" y="170"/>
                </a:lnTo>
                <a:lnTo>
                  <a:pt x="78" y="170"/>
                </a:lnTo>
                <a:lnTo>
                  <a:pt x="80" y="170"/>
                </a:lnTo>
                <a:lnTo>
                  <a:pt x="82" y="168"/>
                </a:lnTo>
                <a:lnTo>
                  <a:pt x="84" y="166"/>
                </a:lnTo>
                <a:lnTo>
                  <a:pt x="94" y="154"/>
                </a:lnTo>
                <a:lnTo>
                  <a:pt x="94" y="152"/>
                </a:lnTo>
                <a:lnTo>
                  <a:pt x="94" y="148"/>
                </a:lnTo>
                <a:lnTo>
                  <a:pt x="94" y="146"/>
                </a:lnTo>
                <a:lnTo>
                  <a:pt x="98" y="140"/>
                </a:lnTo>
                <a:lnTo>
                  <a:pt x="116" y="138"/>
                </a:lnTo>
                <a:lnTo>
                  <a:pt x="118" y="138"/>
                </a:lnTo>
                <a:lnTo>
                  <a:pt x="126" y="134"/>
                </a:lnTo>
                <a:lnTo>
                  <a:pt x="132" y="132"/>
                </a:lnTo>
                <a:lnTo>
                  <a:pt x="136" y="130"/>
                </a:lnTo>
                <a:lnTo>
                  <a:pt x="138" y="130"/>
                </a:lnTo>
                <a:lnTo>
                  <a:pt x="142" y="128"/>
                </a:lnTo>
                <a:lnTo>
                  <a:pt x="146" y="126"/>
                </a:lnTo>
                <a:lnTo>
                  <a:pt x="148" y="128"/>
                </a:lnTo>
                <a:lnTo>
                  <a:pt x="150" y="128"/>
                </a:lnTo>
                <a:lnTo>
                  <a:pt x="152" y="128"/>
                </a:lnTo>
                <a:lnTo>
                  <a:pt x="158" y="128"/>
                </a:lnTo>
                <a:lnTo>
                  <a:pt x="164" y="128"/>
                </a:lnTo>
                <a:lnTo>
                  <a:pt x="166" y="128"/>
                </a:lnTo>
                <a:lnTo>
                  <a:pt x="172" y="126"/>
                </a:lnTo>
                <a:lnTo>
                  <a:pt x="174" y="126"/>
                </a:lnTo>
                <a:lnTo>
                  <a:pt x="176" y="124"/>
                </a:lnTo>
                <a:lnTo>
                  <a:pt x="178" y="124"/>
                </a:lnTo>
                <a:lnTo>
                  <a:pt x="190" y="126"/>
                </a:lnTo>
                <a:lnTo>
                  <a:pt x="198" y="128"/>
                </a:lnTo>
                <a:lnTo>
                  <a:pt x="200" y="128"/>
                </a:lnTo>
                <a:lnTo>
                  <a:pt x="202" y="128"/>
                </a:lnTo>
                <a:lnTo>
                  <a:pt x="206" y="128"/>
                </a:lnTo>
                <a:lnTo>
                  <a:pt x="210" y="128"/>
                </a:lnTo>
                <a:lnTo>
                  <a:pt x="214" y="126"/>
                </a:lnTo>
                <a:lnTo>
                  <a:pt x="214" y="130"/>
                </a:lnTo>
                <a:lnTo>
                  <a:pt x="216" y="130"/>
                </a:lnTo>
                <a:lnTo>
                  <a:pt x="218" y="130"/>
                </a:lnTo>
                <a:lnTo>
                  <a:pt x="220" y="130"/>
                </a:lnTo>
                <a:lnTo>
                  <a:pt x="222" y="128"/>
                </a:lnTo>
                <a:lnTo>
                  <a:pt x="224" y="128"/>
                </a:lnTo>
                <a:lnTo>
                  <a:pt x="226" y="128"/>
                </a:lnTo>
                <a:lnTo>
                  <a:pt x="228" y="128"/>
                </a:lnTo>
                <a:lnTo>
                  <a:pt x="230" y="130"/>
                </a:lnTo>
                <a:lnTo>
                  <a:pt x="234" y="130"/>
                </a:lnTo>
                <a:lnTo>
                  <a:pt x="238" y="132"/>
                </a:lnTo>
                <a:lnTo>
                  <a:pt x="242" y="132"/>
                </a:lnTo>
                <a:lnTo>
                  <a:pt x="244" y="132"/>
                </a:lnTo>
                <a:lnTo>
                  <a:pt x="246" y="132"/>
                </a:lnTo>
                <a:lnTo>
                  <a:pt x="248" y="130"/>
                </a:lnTo>
                <a:lnTo>
                  <a:pt x="252" y="128"/>
                </a:lnTo>
                <a:lnTo>
                  <a:pt x="256" y="128"/>
                </a:lnTo>
                <a:lnTo>
                  <a:pt x="258" y="130"/>
                </a:lnTo>
                <a:lnTo>
                  <a:pt x="260" y="132"/>
                </a:lnTo>
                <a:lnTo>
                  <a:pt x="260" y="138"/>
                </a:lnTo>
                <a:lnTo>
                  <a:pt x="266" y="144"/>
                </a:lnTo>
                <a:lnTo>
                  <a:pt x="274" y="142"/>
                </a:lnTo>
                <a:lnTo>
                  <a:pt x="276" y="142"/>
                </a:lnTo>
                <a:lnTo>
                  <a:pt x="278" y="138"/>
                </a:lnTo>
                <a:lnTo>
                  <a:pt x="284" y="138"/>
                </a:lnTo>
                <a:lnTo>
                  <a:pt x="288" y="140"/>
                </a:lnTo>
                <a:lnTo>
                  <a:pt x="292" y="140"/>
                </a:lnTo>
                <a:lnTo>
                  <a:pt x="290" y="144"/>
                </a:lnTo>
                <a:lnTo>
                  <a:pt x="290" y="150"/>
                </a:lnTo>
                <a:lnTo>
                  <a:pt x="294" y="150"/>
                </a:lnTo>
                <a:lnTo>
                  <a:pt x="296" y="144"/>
                </a:lnTo>
                <a:lnTo>
                  <a:pt x="296" y="142"/>
                </a:lnTo>
                <a:lnTo>
                  <a:pt x="296" y="138"/>
                </a:lnTo>
                <a:lnTo>
                  <a:pt x="298" y="136"/>
                </a:lnTo>
                <a:lnTo>
                  <a:pt x="300" y="136"/>
                </a:lnTo>
                <a:lnTo>
                  <a:pt x="302" y="138"/>
                </a:lnTo>
                <a:lnTo>
                  <a:pt x="304" y="138"/>
                </a:lnTo>
                <a:lnTo>
                  <a:pt x="306" y="140"/>
                </a:lnTo>
                <a:lnTo>
                  <a:pt x="308" y="140"/>
                </a:lnTo>
                <a:lnTo>
                  <a:pt x="312" y="138"/>
                </a:lnTo>
                <a:lnTo>
                  <a:pt x="314" y="136"/>
                </a:lnTo>
                <a:lnTo>
                  <a:pt x="314" y="134"/>
                </a:lnTo>
                <a:lnTo>
                  <a:pt x="316" y="132"/>
                </a:lnTo>
                <a:lnTo>
                  <a:pt x="318" y="128"/>
                </a:lnTo>
                <a:lnTo>
                  <a:pt x="320" y="128"/>
                </a:lnTo>
                <a:lnTo>
                  <a:pt x="324" y="134"/>
                </a:lnTo>
                <a:lnTo>
                  <a:pt x="332" y="136"/>
                </a:lnTo>
                <a:lnTo>
                  <a:pt x="332" y="134"/>
                </a:lnTo>
                <a:lnTo>
                  <a:pt x="334" y="132"/>
                </a:lnTo>
                <a:lnTo>
                  <a:pt x="342" y="132"/>
                </a:lnTo>
                <a:lnTo>
                  <a:pt x="342" y="136"/>
                </a:lnTo>
                <a:lnTo>
                  <a:pt x="344" y="138"/>
                </a:lnTo>
                <a:lnTo>
                  <a:pt x="346" y="142"/>
                </a:lnTo>
                <a:lnTo>
                  <a:pt x="346" y="144"/>
                </a:lnTo>
                <a:lnTo>
                  <a:pt x="352" y="146"/>
                </a:lnTo>
                <a:lnTo>
                  <a:pt x="352" y="142"/>
                </a:lnTo>
                <a:lnTo>
                  <a:pt x="352" y="140"/>
                </a:lnTo>
                <a:lnTo>
                  <a:pt x="352" y="136"/>
                </a:lnTo>
                <a:lnTo>
                  <a:pt x="354" y="134"/>
                </a:lnTo>
                <a:lnTo>
                  <a:pt x="354" y="132"/>
                </a:lnTo>
                <a:lnTo>
                  <a:pt x="364" y="124"/>
                </a:lnTo>
                <a:lnTo>
                  <a:pt x="366" y="122"/>
                </a:lnTo>
                <a:lnTo>
                  <a:pt x="368" y="122"/>
                </a:lnTo>
                <a:lnTo>
                  <a:pt x="370" y="122"/>
                </a:lnTo>
                <a:lnTo>
                  <a:pt x="372" y="122"/>
                </a:lnTo>
                <a:lnTo>
                  <a:pt x="378" y="128"/>
                </a:lnTo>
                <a:lnTo>
                  <a:pt x="378" y="132"/>
                </a:lnTo>
                <a:lnTo>
                  <a:pt x="384" y="142"/>
                </a:lnTo>
                <a:lnTo>
                  <a:pt x="386" y="144"/>
                </a:lnTo>
                <a:lnTo>
                  <a:pt x="388" y="140"/>
                </a:lnTo>
                <a:lnTo>
                  <a:pt x="398" y="130"/>
                </a:lnTo>
                <a:lnTo>
                  <a:pt x="402" y="128"/>
                </a:lnTo>
                <a:lnTo>
                  <a:pt x="404" y="128"/>
                </a:lnTo>
                <a:lnTo>
                  <a:pt x="406" y="132"/>
                </a:lnTo>
                <a:lnTo>
                  <a:pt x="408" y="132"/>
                </a:lnTo>
                <a:lnTo>
                  <a:pt x="412" y="132"/>
                </a:lnTo>
                <a:lnTo>
                  <a:pt x="414" y="130"/>
                </a:lnTo>
                <a:lnTo>
                  <a:pt x="416" y="128"/>
                </a:lnTo>
                <a:lnTo>
                  <a:pt x="420" y="126"/>
                </a:lnTo>
                <a:lnTo>
                  <a:pt x="422" y="126"/>
                </a:lnTo>
                <a:lnTo>
                  <a:pt x="424" y="124"/>
                </a:lnTo>
                <a:lnTo>
                  <a:pt x="428" y="124"/>
                </a:lnTo>
                <a:lnTo>
                  <a:pt x="430" y="124"/>
                </a:lnTo>
                <a:lnTo>
                  <a:pt x="432" y="124"/>
                </a:lnTo>
                <a:lnTo>
                  <a:pt x="442" y="130"/>
                </a:lnTo>
                <a:lnTo>
                  <a:pt x="442" y="134"/>
                </a:lnTo>
                <a:lnTo>
                  <a:pt x="450" y="138"/>
                </a:lnTo>
                <a:lnTo>
                  <a:pt x="456" y="142"/>
                </a:lnTo>
                <a:lnTo>
                  <a:pt x="456" y="138"/>
                </a:lnTo>
                <a:lnTo>
                  <a:pt x="458" y="134"/>
                </a:lnTo>
                <a:lnTo>
                  <a:pt x="460" y="132"/>
                </a:lnTo>
                <a:lnTo>
                  <a:pt x="460" y="130"/>
                </a:lnTo>
                <a:lnTo>
                  <a:pt x="454" y="120"/>
                </a:lnTo>
                <a:lnTo>
                  <a:pt x="450" y="114"/>
                </a:lnTo>
                <a:lnTo>
                  <a:pt x="450" y="106"/>
                </a:lnTo>
                <a:lnTo>
                  <a:pt x="452" y="100"/>
                </a:lnTo>
                <a:lnTo>
                  <a:pt x="452" y="90"/>
                </a:lnTo>
                <a:lnTo>
                  <a:pt x="452" y="88"/>
                </a:lnTo>
                <a:lnTo>
                  <a:pt x="454" y="80"/>
                </a:lnTo>
                <a:lnTo>
                  <a:pt x="458" y="76"/>
                </a:lnTo>
                <a:lnTo>
                  <a:pt x="462" y="72"/>
                </a:lnTo>
                <a:lnTo>
                  <a:pt x="464" y="68"/>
                </a:lnTo>
                <a:lnTo>
                  <a:pt x="462" y="66"/>
                </a:lnTo>
                <a:lnTo>
                  <a:pt x="462" y="64"/>
                </a:lnTo>
                <a:lnTo>
                  <a:pt x="462" y="62"/>
                </a:lnTo>
                <a:lnTo>
                  <a:pt x="470" y="58"/>
                </a:lnTo>
                <a:lnTo>
                  <a:pt x="472" y="58"/>
                </a:lnTo>
                <a:lnTo>
                  <a:pt x="480" y="58"/>
                </a:lnTo>
                <a:lnTo>
                  <a:pt x="482" y="54"/>
                </a:lnTo>
                <a:lnTo>
                  <a:pt x="484" y="54"/>
                </a:lnTo>
                <a:lnTo>
                  <a:pt x="486" y="54"/>
                </a:lnTo>
                <a:lnTo>
                  <a:pt x="488" y="52"/>
                </a:lnTo>
                <a:lnTo>
                  <a:pt x="492" y="52"/>
                </a:lnTo>
                <a:lnTo>
                  <a:pt x="494" y="52"/>
                </a:lnTo>
                <a:lnTo>
                  <a:pt x="498" y="50"/>
                </a:lnTo>
                <a:lnTo>
                  <a:pt x="506" y="50"/>
                </a:lnTo>
                <a:lnTo>
                  <a:pt x="508" y="50"/>
                </a:lnTo>
                <a:lnTo>
                  <a:pt x="510" y="48"/>
                </a:lnTo>
                <a:lnTo>
                  <a:pt x="512" y="48"/>
                </a:lnTo>
                <a:lnTo>
                  <a:pt x="514" y="50"/>
                </a:lnTo>
                <a:lnTo>
                  <a:pt x="516" y="50"/>
                </a:lnTo>
                <a:lnTo>
                  <a:pt x="520" y="52"/>
                </a:lnTo>
                <a:lnTo>
                  <a:pt x="528" y="50"/>
                </a:lnTo>
                <a:lnTo>
                  <a:pt x="532" y="46"/>
                </a:lnTo>
                <a:lnTo>
                  <a:pt x="536" y="42"/>
                </a:lnTo>
                <a:lnTo>
                  <a:pt x="536" y="38"/>
                </a:lnTo>
                <a:lnTo>
                  <a:pt x="536" y="22"/>
                </a:lnTo>
                <a:lnTo>
                  <a:pt x="538" y="22"/>
                </a:lnTo>
                <a:lnTo>
                  <a:pt x="544" y="20"/>
                </a:lnTo>
                <a:lnTo>
                  <a:pt x="546" y="20"/>
                </a:lnTo>
                <a:lnTo>
                  <a:pt x="548" y="22"/>
                </a:lnTo>
                <a:lnTo>
                  <a:pt x="550" y="22"/>
                </a:lnTo>
                <a:lnTo>
                  <a:pt x="556" y="24"/>
                </a:lnTo>
                <a:lnTo>
                  <a:pt x="558" y="24"/>
                </a:lnTo>
                <a:lnTo>
                  <a:pt x="568" y="22"/>
                </a:lnTo>
                <a:lnTo>
                  <a:pt x="570" y="20"/>
                </a:lnTo>
                <a:lnTo>
                  <a:pt x="572" y="16"/>
                </a:lnTo>
                <a:lnTo>
                  <a:pt x="580" y="6"/>
                </a:lnTo>
                <a:lnTo>
                  <a:pt x="590" y="6"/>
                </a:lnTo>
                <a:lnTo>
                  <a:pt x="592" y="6"/>
                </a:lnTo>
                <a:lnTo>
                  <a:pt x="598" y="8"/>
                </a:lnTo>
                <a:lnTo>
                  <a:pt x="602" y="6"/>
                </a:lnTo>
                <a:lnTo>
                  <a:pt x="604" y="4"/>
                </a:lnTo>
                <a:lnTo>
                  <a:pt x="606" y="2"/>
                </a:lnTo>
                <a:lnTo>
                  <a:pt x="610" y="0"/>
                </a:lnTo>
                <a:lnTo>
                  <a:pt x="614" y="0"/>
                </a:lnTo>
                <a:lnTo>
                  <a:pt x="632" y="12"/>
                </a:lnTo>
                <a:lnTo>
                  <a:pt x="634" y="16"/>
                </a:lnTo>
                <a:lnTo>
                  <a:pt x="634" y="18"/>
                </a:lnTo>
                <a:lnTo>
                  <a:pt x="634" y="24"/>
                </a:lnTo>
                <a:lnTo>
                  <a:pt x="636" y="26"/>
                </a:lnTo>
                <a:lnTo>
                  <a:pt x="640" y="30"/>
                </a:lnTo>
                <a:lnTo>
                  <a:pt x="648" y="34"/>
                </a:lnTo>
                <a:lnTo>
                  <a:pt x="654" y="38"/>
                </a:lnTo>
                <a:lnTo>
                  <a:pt x="658" y="38"/>
                </a:lnTo>
                <a:lnTo>
                  <a:pt x="660" y="42"/>
                </a:lnTo>
                <a:lnTo>
                  <a:pt x="662" y="46"/>
                </a:lnTo>
                <a:lnTo>
                  <a:pt x="662" y="48"/>
                </a:lnTo>
                <a:lnTo>
                  <a:pt x="660" y="50"/>
                </a:lnTo>
                <a:lnTo>
                  <a:pt x="654" y="54"/>
                </a:lnTo>
                <a:lnTo>
                  <a:pt x="650" y="54"/>
                </a:lnTo>
                <a:lnTo>
                  <a:pt x="646" y="58"/>
                </a:lnTo>
                <a:lnTo>
                  <a:pt x="646" y="60"/>
                </a:lnTo>
                <a:lnTo>
                  <a:pt x="650" y="62"/>
                </a:lnTo>
                <a:lnTo>
                  <a:pt x="656" y="68"/>
                </a:lnTo>
                <a:lnTo>
                  <a:pt x="658" y="72"/>
                </a:lnTo>
                <a:lnTo>
                  <a:pt x="658" y="78"/>
                </a:lnTo>
                <a:lnTo>
                  <a:pt x="670" y="92"/>
                </a:lnTo>
                <a:lnTo>
                  <a:pt x="672" y="90"/>
                </a:lnTo>
                <a:lnTo>
                  <a:pt x="680" y="92"/>
                </a:lnTo>
                <a:lnTo>
                  <a:pt x="688" y="94"/>
                </a:lnTo>
                <a:lnTo>
                  <a:pt x="690" y="94"/>
                </a:lnTo>
                <a:lnTo>
                  <a:pt x="692" y="94"/>
                </a:lnTo>
                <a:lnTo>
                  <a:pt x="694" y="94"/>
                </a:lnTo>
                <a:lnTo>
                  <a:pt x="696" y="92"/>
                </a:lnTo>
                <a:lnTo>
                  <a:pt x="698" y="92"/>
                </a:lnTo>
                <a:lnTo>
                  <a:pt x="702" y="88"/>
                </a:lnTo>
                <a:lnTo>
                  <a:pt x="704" y="88"/>
                </a:lnTo>
                <a:lnTo>
                  <a:pt x="704" y="86"/>
                </a:lnTo>
                <a:lnTo>
                  <a:pt x="710" y="84"/>
                </a:lnTo>
                <a:lnTo>
                  <a:pt x="714" y="86"/>
                </a:lnTo>
                <a:lnTo>
                  <a:pt x="714" y="88"/>
                </a:lnTo>
                <a:lnTo>
                  <a:pt x="714" y="90"/>
                </a:lnTo>
                <a:lnTo>
                  <a:pt x="718" y="96"/>
                </a:lnTo>
                <a:lnTo>
                  <a:pt x="720" y="98"/>
                </a:lnTo>
                <a:lnTo>
                  <a:pt x="722" y="98"/>
                </a:lnTo>
                <a:lnTo>
                  <a:pt x="724" y="98"/>
                </a:lnTo>
                <a:lnTo>
                  <a:pt x="726" y="96"/>
                </a:lnTo>
                <a:lnTo>
                  <a:pt x="732" y="96"/>
                </a:lnTo>
                <a:lnTo>
                  <a:pt x="732" y="98"/>
                </a:lnTo>
                <a:lnTo>
                  <a:pt x="730" y="100"/>
                </a:lnTo>
                <a:lnTo>
                  <a:pt x="728" y="102"/>
                </a:lnTo>
                <a:lnTo>
                  <a:pt x="730" y="104"/>
                </a:lnTo>
                <a:lnTo>
                  <a:pt x="732" y="106"/>
                </a:lnTo>
                <a:lnTo>
                  <a:pt x="744" y="120"/>
                </a:lnTo>
                <a:lnTo>
                  <a:pt x="746" y="128"/>
                </a:lnTo>
                <a:lnTo>
                  <a:pt x="742" y="132"/>
                </a:lnTo>
                <a:lnTo>
                  <a:pt x="748" y="142"/>
                </a:lnTo>
                <a:lnTo>
                  <a:pt x="750" y="144"/>
                </a:lnTo>
                <a:lnTo>
                  <a:pt x="760" y="152"/>
                </a:lnTo>
                <a:lnTo>
                  <a:pt x="764" y="154"/>
                </a:lnTo>
                <a:lnTo>
                  <a:pt x="766" y="154"/>
                </a:lnTo>
                <a:lnTo>
                  <a:pt x="768" y="150"/>
                </a:lnTo>
                <a:lnTo>
                  <a:pt x="772" y="144"/>
                </a:lnTo>
                <a:lnTo>
                  <a:pt x="774" y="144"/>
                </a:lnTo>
                <a:lnTo>
                  <a:pt x="776" y="142"/>
                </a:lnTo>
                <a:lnTo>
                  <a:pt x="778" y="142"/>
                </a:lnTo>
                <a:lnTo>
                  <a:pt x="780" y="142"/>
                </a:lnTo>
                <a:lnTo>
                  <a:pt x="782" y="140"/>
                </a:lnTo>
                <a:lnTo>
                  <a:pt x="786" y="140"/>
                </a:lnTo>
                <a:lnTo>
                  <a:pt x="790" y="140"/>
                </a:lnTo>
                <a:lnTo>
                  <a:pt x="794" y="142"/>
                </a:lnTo>
                <a:lnTo>
                  <a:pt x="794" y="144"/>
                </a:lnTo>
                <a:lnTo>
                  <a:pt x="796" y="144"/>
                </a:lnTo>
                <a:lnTo>
                  <a:pt x="802" y="150"/>
                </a:lnTo>
                <a:lnTo>
                  <a:pt x="804" y="150"/>
                </a:lnTo>
                <a:lnTo>
                  <a:pt x="806" y="148"/>
                </a:lnTo>
                <a:lnTo>
                  <a:pt x="808" y="146"/>
                </a:lnTo>
                <a:lnTo>
                  <a:pt x="812" y="146"/>
                </a:lnTo>
                <a:lnTo>
                  <a:pt x="818" y="146"/>
                </a:lnTo>
                <a:lnTo>
                  <a:pt x="818" y="150"/>
                </a:lnTo>
                <a:lnTo>
                  <a:pt x="820" y="152"/>
                </a:lnTo>
                <a:lnTo>
                  <a:pt x="822" y="150"/>
                </a:lnTo>
                <a:lnTo>
                  <a:pt x="824" y="150"/>
                </a:lnTo>
                <a:lnTo>
                  <a:pt x="824" y="148"/>
                </a:lnTo>
                <a:lnTo>
                  <a:pt x="826" y="146"/>
                </a:lnTo>
                <a:lnTo>
                  <a:pt x="826" y="144"/>
                </a:lnTo>
                <a:lnTo>
                  <a:pt x="830" y="138"/>
                </a:lnTo>
                <a:lnTo>
                  <a:pt x="834" y="136"/>
                </a:lnTo>
                <a:lnTo>
                  <a:pt x="840" y="132"/>
                </a:lnTo>
                <a:lnTo>
                  <a:pt x="842" y="132"/>
                </a:lnTo>
                <a:lnTo>
                  <a:pt x="844" y="132"/>
                </a:lnTo>
                <a:lnTo>
                  <a:pt x="848" y="130"/>
                </a:lnTo>
                <a:lnTo>
                  <a:pt x="852" y="128"/>
                </a:lnTo>
                <a:lnTo>
                  <a:pt x="852" y="126"/>
                </a:lnTo>
                <a:lnTo>
                  <a:pt x="854" y="124"/>
                </a:lnTo>
                <a:lnTo>
                  <a:pt x="856" y="122"/>
                </a:lnTo>
                <a:lnTo>
                  <a:pt x="856" y="120"/>
                </a:lnTo>
                <a:lnTo>
                  <a:pt x="862" y="118"/>
                </a:lnTo>
                <a:lnTo>
                  <a:pt x="864" y="116"/>
                </a:lnTo>
                <a:lnTo>
                  <a:pt x="880" y="136"/>
                </a:lnTo>
                <a:lnTo>
                  <a:pt x="890" y="144"/>
                </a:lnTo>
                <a:lnTo>
                  <a:pt x="892" y="144"/>
                </a:lnTo>
                <a:lnTo>
                  <a:pt x="894" y="144"/>
                </a:lnTo>
                <a:lnTo>
                  <a:pt x="900" y="146"/>
                </a:lnTo>
                <a:lnTo>
                  <a:pt x="906" y="150"/>
                </a:lnTo>
                <a:lnTo>
                  <a:pt x="908" y="152"/>
                </a:lnTo>
                <a:lnTo>
                  <a:pt x="910" y="154"/>
                </a:lnTo>
                <a:lnTo>
                  <a:pt x="914" y="150"/>
                </a:lnTo>
                <a:lnTo>
                  <a:pt x="914" y="138"/>
                </a:lnTo>
                <a:lnTo>
                  <a:pt x="922" y="134"/>
                </a:lnTo>
                <a:lnTo>
                  <a:pt x="922" y="136"/>
                </a:lnTo>
                <a:lnTo>
                  <a:pt x="924" y="138"/>
                </a:lnTo>
                <a:lnTo>
                  <a:pt x="926" y="138"/>
                </a:lnTo>
                <a:lnTo>
                  <a:pt x="926" y="140"/>
                </a:lnTo>
                <a:lnTo>
                  <a:pt x="928" y="142"/>
                </a:lnTo>
                <a:lnTo>
                  <a:pt x="936" y="142"/>
                </a:lnTo>
                <a:lnTo>
                  <a:pt x="938" y="142"/>
                </a:lnTo>
                <a:lnTo>
                  <a:pt x="940" y="140"/>
                </a:lnTo>
                <a:lnTo>
                  <a:pt x="942" y="140"/>
                </a:lnTo>
                <a:lnTo>
                  <a:pt x="944" y="140"/>
                </a:lnTo>
                <a:lnTo>
                  <a:pt x="946" y="140"/>
                </a:lnTo>
                <a:lnTo>
                  <a:pt x="956" y="142"/>
                </a:lnTo>
                <a:lnTo>
                  <a:pt x="958" y="142"/>
                </a:lnTo>
                <a:lnTo>
                  <a:pt x="960" y="144"/>
                </a:lnTo>
                <a:lnTo>
                  <a:pt x="962" y="146"/>
                </a:lnTo>
                <a:lnTo>
                  <a:pt x="964" y="146"/>
                </a:lnTo>
                <a:lnTo>
                  <a:pt x="966" y="146"/>
                </a:lnTo>
                <a:lnTo>
                  <a:pt x="972" y="144"/>
                </a:lnTo>
                <a:lnTo>
                  <a:pt x="972" y="142"/>
                </a:lnTo>
                <a:lnTo>
                  <a:pt x="974" y="140"/>
                </a:lnTo>
                <a:lnTo>
                  <a:pt x="976" y="136"/>
                </a:lnTo>
                <a:lnTo>
                  <a:pt x="978" y="138"/>
                </a:lnTo>
                <a:lnTo>
                  <a:pt x="982" y="142"/>
                </a:lnTo>
                <a:lnTo>
                  <a:pt x="984" y="146"/>
                </a:lnTo>
                <a:lnTo>
                  <a:pt x="986" y="146"/>
                </a:lnTo>
                <a:lnTo>
                  <a:pt x="988" y="146"/>
                </a:lnTo>
                <a:lnTo>
                  <a:pt x="990" y="146"/>
                </a:lnTo>
                <a:lnTo>
                  <a:pt x="992" y="146"/>
                </a:lnTo>
                <a:lnTo>
                  <a:pt x="992" y="144"/>
                </a:lnTo>
                <a:lnTo>
                  <a:pt x="994" y="142"/>
                </a:lnTo>
                <a:lnTo>
                  <a:pt x="996" y="142"/>
                </a:lnTo>
                <a:lnTo>
                  <a:pt x="1004" y="144"/>
                </a:lnTo>
                <a:lnTo>
                  <a:pt x="1006" y="148"/>
                </a:lnTo>
                <a:lnTo>
                  <a:pt x="1008" y="150"/>
                </a:lnTo>
                <a:lnTo>
                  <a:pt x="1010" y="152"/>
                </a:lnTo>
                <a:lnTo>
                  <a:pt x="1020" y="154"/>
                </a:lnTo>
                <a:lnTo>
                  <a:pt x="1024" y="154"/>
                </a:lnTo>
                <a:lnTo>
                  <a:pt x="1026" y="152"/>
                </a:lnTo>
                <a:lnTo>
                  <a:pt x="1028" y="150"/>
                </a:lnTo>
                <a:lnTo>
                  <a:pt x="1028" y="146"/>
                </a:lnTo>
                <a:lnTo>
                  <a:pt x="1030" y="146"/>
                </a:lnTo>
                <a:lnTo>
                  <a:pt x="1032" y="144"/>
                </a:lnTo>
                <a:lnTo>
                  <a:pt x="1034" y="144"/>
                </a:lnTo>
                <a:lnTo>
                  <a:pt x="1038" y="144"/>
                </a:lnTo>
                <a:lnTo>
                  <a:pt x="1040" y="146"/>
                </a:lnTo>
                <a:lnTo>
                  <a:pt x="1040" y="148"/>
                </a:lnTo>
                <a:lnTo>
                  <a:pt x="1038" y="150"/>
                </a:lnTo>
                <a:lnTo>
                  <a:pt x="1036" y="150"/>
                </a:lnTo>
                <a:lnTo>
                  <a:pt x="1036" y="154"/>
                </a:lnTo>
                <a:lnTo>
                  <a:pt x="1036" y="156"/>
                </a:lnTo>
                <a:lnTo>
                  <a:pt x="1040" y="160"/>
                </a:lnTo>
                <a:lnTo>
                  <a:pt x="1042" y="162"/>
                </a:lnTo>
                <a:lnTo>
                  <a:pt x="1046" y="164"/>
                </a:lnTo>
                <a:lnTo>
                  <a:pt x="1048" y="166"/>
                </a:lnTo>
                <a:lnTo>
                  <a:pt x="1050" y="174"/>
                </a:lnTo>
                <a:lnTo>
                  <a:pt x="1048" y="182"/>
                </a:lnTo>
                <a:lnTo>
                  <a:pt x="1046" y="182"/>
                </a:lnTo>
                <a:lnTo>
                  <a:pt x="1044" y="186"/>
                </a:lnTo>
                <a:lnTo>
                  <a:pt x="1042" y="190"/>
                </a:lnTo>
                <a:lnTo>
                  <a:pt x="1042" y="192"/>
                </a:lnTo>
                <a:lnTo>
                  <a:pt x="1042" y="194"/>
                </a:lnTo>
                <a:lnTo>
                  <a:pt x="1042" y="196"/>
                </a:lnTo>
                <a:lnTo>
                  <a:pt x="1036" y="198"/>
                </a:lnTo>
                <a:lnTo>
                  <a:pt x="1030" y="202"/>
                </a:lnTo>
                <a:lnTo>
                  <a:pt x="1030" y="204"/>
                </a:lnTo>
                <a:lnTo>
                  <a:pt x="1032" y="208"/>
                </a:lnTo>
                <a:lnTo>
                  <a:pt x="1038" y="212"/>
                </a:lnTo>
                <a:lnTo>
                  <a:pt x="1048" y="212"/>
                </a:lnTo>
                <a:lnTo>
                  <a:pt x="1054" y="208"/>
                </a:lnTo>
                <a:lnTo>
                  <a:pt x="1056" y="208"/>
                </a:lnTo>
                <a:lnTo>
                  <a:pt x="1056" y="212"/>
                </a:lnTo>
                <a:lnTo>
                  <a:pt x="1056" y="214"/>
                </a:lnTo>
                <a:lnTo>
                  <a:pt x="1054" y="216"/>
                </a:lnTo>
                <a:lnTo>
                  <a:pt x="1044" y="218"/>
                </a:lnTo>
                <a:lnTo>
                  <a:pt x="1042" y="220"/>
                </a:lnTo>
                <a:lnTo>
                  <a:pt x="1040" y="226"/>
                </a:lnTo>
                <a:lnTo>
                  <a:pt x="1040" y="230"/>
                </a:lnTo>
                <a:lnTo>
                  <a:pt x="1040" y="240"/>
                </a:lnTo>
                <a:lnTo>
                  <a:pt x="1044" y="242"/>
                </a:lnTo>
                <a:lnTo>
                  <a:pt x="1046" y="240"/>
                </a:lnTo>
                <a:lnTo>
                  <a:pt x="1048" y="240"/>
                </a:lnTo>
                <a:lnTo>
                  <a:pt x="1050" y="240"/>
                </a:lnTo>
                <a:lnTo>
                  <a:pt x="1052" y="242"/>
                </a:lnTo>
                <a:lnTo>
                  <a:pt x="1056" y="246"/>
                </a:lnTo>
                <a:lnTo>
                  <a:pt x="1062" y="256"/>
                </a:lnTo>
                <a:lnTo>
                  <a:pt x="1070" y="262"/>
                </a:lnTo>
                <a:lnTo>
                  <a:pt x="1068" y="270"/>
                </a:lnTo>
                <a:lnTo>
                  <a:pt x="1066" y="272"/>
                </a:lnTo>
                <a:lnTo>
                  <a:pt x="1066" y="274"/>
                </a:lnTo>
                <a:lnTo>
                  <a:pt x="1064" y="290"/>
                </a:lnTo>
                <a:lnTo>
                  <a:pt x="1066" y="292"/>
                </a:lnTo>
                <a:lnTo>
                  <a:pt x="1068" y="294"/>
                </a:lnTo>
                <a:lnTo>
                  <a:pt x="1070" y="304"/>
                </a:lnTo>
                <a:lnTo>
                  <a:pt x="1070" y="306"/>
                </a:lnTo>
                <a:lnTo>
                  <a:pt x="1070" y="308"/>
                </a:lnTo>
                <a:lnTo>
                  <a:pt x="1066" y="310"/>
                </a:lnTo>
                <a:lnTo>
                  <a:pt x="1064" y="310"/>
                </a:lnTo>
                <a:lnTo>
                  <a:pt x="1062" y="310"/>
                </a:lnTo>
                <a:lnTo>
                  <a:pt x="1060" y="310"/>
                </a:lnTo>
                <a:lnTo>
                  <a:pt x="1052" y="312"/>
                </a:lnTo>
                <a:lnTo>
                  <a:pt x="1048" y="314"/>
                </a:lnTo>
                <a:lnTo>
                  <a:pt x="1046" y="314"/>
                </a:lnTo>
                <a:lnTo>
                  <a:pt x="1044" y="314"/>
                </a:lnTo>
                <a:lnTo>
                  <a:pt x="1038" y="314"/>
                </a:lnTo>
                <a:lnTo>
                  <a:pt x="1034" y="318"/>
                </a:lnTo>
                <a:lnTo>
                  <a:pt x="1032" y="318"/>
                </a:lnTo>
                <a:lnTo>
                  <a:pt x="1030" y="318"/>
                </a:lnTo>
                <a:lnTo>
                  <a:pt x="1024" y="318"/>
                </a:lnTo>
                <a:lnTo>
                  <a:pt x="1018" y="320"/>
                </a:lnTo>
                <a:lnTo>
                  <a:pt x="1016" y="320"/>
                </a:lnTo>
                <a:lnTo>
                  <a:pt x="1016" y="322"/>
                </a:lnTo>
                <a:lnTo>
                  <a:pt x="1014" y="322"/>
                </a:lnTo>
                <a:lnTo>
                  <a:pt x="1012" y="324"/>
                </a:lnTo>
                <a:lnTo>
                  <a:pt x="1012" y="330"/>
                </a:lnTo>
                <a:lnTo>
                  <a:pt x="1014" y="336"/>
                </a:lnTo>
                <a:lnTo>
                  <a:pt x="1014" y="338"/>
                </a:lnTo>
                <a:lnTo>
                  <a:pt x="1006" y="346"/>
                </a:lnTo>
                <a:lnTo>
                  <a:pt x="1004" y="346"/>
                </a:lnTo>
                <a:lnTo>
                  <a:pt x="1002" y="348"/>
                </a:lnTo>
                <a:lnTo>
                  <a:pt x="1000" y="350"/>
                </a:lnTo>
                <a:lnTo>
                  <a:pt x="998" y="350"/>
                </a:lnTo>
                <a:lnTo>
                  <a:pt x="992" y="354"/>
                </a:lnTo>
                <a:lnTo>
                  <a:pt x="990" y="360"/>
                </a:lnTo>
                <a:lnTo>
                  <a:pt x="990" y="364"/>
                </a:lnTo>
                <a:lnTo>
                  <a:pt x="992" y="380"/>
                </a:lnTo>
                <a:lnTo>
                  <a:pt x="996" y="382"/>
                </a:lnTo>
                <a:lnTo>
                  <a:pt x="996" y="388"/>
                </a:lnTo>
                <a:lnTo>
                  <a:pt x="996" y="392"/>
                </a:lnTo>
                <a:lnTo>
                  <a:pt x="996" y="394"/>
                </a:lnTo>
                <a:lnTo>
                  <a:pt x="998" y="398"/>
                </a:lnTo>
                <a:lnTo>
                  <a:pt x="998" y="400"/>
                </a:lnTo>
                <a:lnTo>
                  <a:pt x="994" y="406"/>
                </a:lnTo>
                <a:lnTo>
                  <a:pt x="988" y="404"/>
                </a:lnTo>
                <a:lnTo>
                  <a:pt x="978" y="408"/>
                </a:lnTo>
                <a:lnTo>
                  <a:pt x="976" y="408"/>
                </a:lnTo>
                <a:lnTo>
                  <a:pt x="974" y="408"/>
                </a:lnTo>
                <a:lnTo>
                  <a:pt x="974" y="410"/>
                </a:lnTo>
                <a:lnTo>
                  <a:pt x="970" y="412"/>
                </a:lnTo>
                <a:lnTo>
                  <a:pt x="964" y="414"/>
                </a:lnTo>
                <a:lnTo>
                  <a:pt x="962" y="412"/>
                </a:lnTo>
                <a:lnTo>
                  <a:pt x="958" y="414"/>
                </a:lnTo>
                <a:lnTo>
                  <a:pt x="958" y="416"/>
                </a:lnTo>
                <a:lnTo>
                  <a:pt x="954" y="422"/>
                </a:lnTo>
                <a:lnTo>
                  <a:pt x="952" y="430"/>
                </a:lnTo>
                <a:lnTo>
                  <a:pt x="950" y="434"/>
                </a:lnTo>
                <a:lnTo>
                  <a:pt x="944" y="434"/>
                </a:lnTo>
                <a:lnTo>
                  <a:pt x="940" y="434"/>
                </a:lnTo>
                <a:lnTo>
                  <a:pt x="934" y="440"/>
                </a:lnTo>
                <a:lnTo>
                  <a:pt x="932" y="442"/>
                </a:lnTo>
                <a:lnTo>
                  <a:pt x="930" y="444"/>
                </a:lnTo>
                <a:lnTo>
                  <a:pt x="926" y="448"/>
                </a:lnTo>
                <a:lnTo>
                  <a:pt x="924" y="452"/>
                </a:lnTo>
                <a:lnTo>
                  <a:pt x="918" y="458"/>
                </a:lnTo>
                <a:lnTo>
                  <a:pt x="914" y="458"/>
                </a:lnTo>
                <a:lnTo>
                  <a:pt x="910" y="458"/>
                </a:lnTo>
                <a:lnTo>
                  <a:pt x="904" y="462"/>
                </a:lnTo>
                <a:lnTo>
                  <a:pt x="898" y="466"/>
                </a:lnTo>
                <a:lnTo>
                  <a:pt x="896" y="468"/>
                </a:lnTo>
                <a:lnTo>
                  <a:pt x="896" y="470"/>
                </a:lnTo>
                <a:lnTo>
                  <a:pt x="890" y="478"/>
                </a:lnTo>
                <a:lnTo>
                  <a:pt x="888" y="474"/>
                </a:lnTo>
                <a:lnTo>
                  <a:pt x="886" y="474"/>
                </a:lnTo>
                <a:lnTo>
                  <a:pt x="878" y="476"/>
                </a:lnTo>
                <a:lnTo>
                  <a:pt x="870" y="482"/>
                </a:lnTo>
                <a:lnTo>
                  <a:pt x="864" y="486"/>
                </a:lnTo>
                <a:lnTo>
                  <a:pt x="862" y="488"/>
                </a:lnTo>
                <a:lnTo>
                  <a:pt x="860" y="492"/>
                </a:lnTo>
                <a:lnTo>
                  <a:pt x="860" y="494"/>
                </a:lnTo>
                <a:lnTo>
                  <a:pt x="858" y="500"/>
                </a:lnTo>
                <a:lnTo>
                  <a:pt x="856" y="500"/>
                </a:lnTo>
                <a:lnTo>
                  <a:pt x="854" y="502"/>
                </a:lnTo>
                <a:lnTo>
                  <a:pt x="852" y="504"/>
                </a:lnTo>
                <a:lnTo>
                  <a:pt x="850" y="504"/>
                </a:lnTo>
                <a:lnTo>
                  <a:pt x="848" y="508"/>
                </a:lnTo>
                <a:lnTo>
                  <a:pt x="844" y="518"/>
                </a:lnTo>
                <a:lnTo>
                  <a:pt x="840" y="526"/>
                </a:lnTo>
                <a:lnTo>
                  <a:pt x="838" y="536"/>
                </a:lnTo>
                <a:lnTo>
                  <a:pt x="836" y="540"/>
                </a:lnTo>
                <a:lnTo>
                  <a:pt x="834" y="542"/>
                </a:lnTo>
                <a:lnTo>
                  <a:pt x="826" y="548"/>
                </a:lnTo>
                <a:lnTo>
                  <a:pt x="826" y="546"/>
                </a:lnTo>
                <a:lnTo>
                  <a:pt x="830" y="540"/>
                </a:lnTo>
                <a:lnTo>
                  <a:pt x="832" y="538"/>
                </a:lnTo>
                <a:lnTo>
                  <a:pt x="834" y="536"/>
                </a:lnTo>
                <a:lnTo>
                  <a:pt x="836" y="536"/>
                </a:lnTo>
                <a:lnTo>
                  <a:pt x="838" y="534"/>
                </a:lnTo>
                <a:lnTo>
                  <a:pt x="840" y="530"/>
                </a:lnTo>
                <a:lnTo>
                  <a:pt x="840" y="526"/>
                </a:lnTo>
                <a:lnTo>
                  <a:pt x="842" y="520"/>
                </a:lnTo>
                <a:lnTo>
                  <a:pt x="842" y="518"/>
                </a:lnTo>
                <a:lnTo>
                  <a:pt x="830" y="512"/>
                </a:lnTo>
                <a:lnTo>
                  <a:pt x="832" y="514"/>
                </a:lnTo>
                <a:lnTo>
                  <a:pt x="832" y="516"/>
                </a:lnTo>
                <a:lnTo>
                  <a:pt x="830" y="526"/>
                </a:lnTo>
                <a:lnTo>
                  <a:pt x="826" y="530"/>
                </a:lnTo>
                <a:lnTo>
                  <a:pt x="826" y="532"/>
                </a:lnTo>
                <a:lnTo>
                  <a:pt x="814" y="540"/>
                </a:lnTo>
                <a:lnTo>
                  <a:pt x="806" y="544"/>
                </a:lnTo>
                <a:lnTo>
                  <a:pt x="804" y="552"/>
                </a:lnTo>
                <a:lnTo>
                  <a:pt x="804" y="562"/>
                </a:lnTo>
                <a:lnTo>
                  <a:pt x="802" y="562"/>
                </a:lnTo>
                <a:lnTo>
                  <a:pt x="798" y="564"/>
                </a:lnTo>
                <a:lnTo>
                  <a:pt x="792" y="562"/>
                </a:lnTo>
                <a:lnTo>
                  <a:pt x="792" y="554"/>
                </a:lnTo>
                <a:lnTo>
                  <a:pt x="794" y="554"/>
                </a:lnTo>
                <a:lnTo>
                  <a:pt x="794" y="552"/>
                </a:lnTo>
                <a:lnTo>
                  <a:pt x="798" y="552"/>
                </a:lnTo>
                <a:lnTo>
                  <a:pt x="798" y="554"/>
                </a:lnTo>
                <a:lnTo>
                  <a:pt x="800" y="552"/>
                </a:lnTo>
                <a:lnTo>
                  <a:pt x="800" y="550"/>
                </a:lnTo>
                <a:lnTo>
                  <a:pt x="800" y="548"/>
                </a:lnTo>
                <a:lnTo>
                  <a:pt x="796" y="544"/>
                </a:lnTo>
                <a:lnTo>
                  <a:pt x="794" y="548"/>
                </a:lnTo>
                <a:lnTo>
                  <a:pt x="792" y="548"/>
                </a:lnTo>
                <a:lnTo>
                  <a:pt x="784" y="548"/>
                </a:lnTo>
                <a:lnTo>
                  <a:pt x="778" y="546"/>
                </a:lnTo>
                <a:lnTo>
                  <a:pt x="774" y="544"/>
                </a:lnTo>
                <a:lnTo>
                  <a:pt x="772" y="542"/>
                </a:lnTo>
                <a:lnTo>
                  <a:pt x="770" y="542"/>
                </a:lnTo>
                <a:lnTo>
                  <a:pt x="770" y="548"/>
                </a:lnTo>
                <a:lnTo>
                  <a:pt x="772" y="552"/>
                </a:lnTo>
                <a:lnTo>
                  <a:pt x="772" y="55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7" name="Freeform 2627"/>
          <p:cNvSpPr>
            <a:spLocks/>
          </p:cNvSpPr>
          <p:nvPr/>
        </p:nvSpPr>
        <p:spPr bwMode="auto">
          <a:xfrm>
            <a:off x="4464776" y="4438836"/>
            <a:ext cx="67935" cy="100425"/>
          </a:xfrm>
          <a:custGeom>
            <a:avLst/>
            <a:gdLst/>
            <a:ahLst/>
            <a:cxnLst>
              <a:cxn ang="0">
                <a:pos x="34" y="62"/>
              </a:cxn>
              <a:cxn ang="0">
                <a:pos x="34" y="66"/>
              </a:cxn>
              <a:cxn ang="0">
                <a:pos x="34" y="68"/>
              </a:cxn>
              <a:cxn ang="0">
                <a:pos x="30" y="68"/>
              </a:cxn>
              <a:cxn ang="0">
                <a:pos x="30" y="66"/>
              </a:cxn>
              <a:cxn ang="0">
                <a:pos x="26" y="64"/>
              </a:cxn>
              <a:cxn ang="0">
                <a:pos x="22" y="64"/>
              </a:cxn>
              <a:cxn ang="0">
                <a:pos x="18" y="66"/>
              </a:cxn>
              <a:cxn ang="0">
                <a:pos x="18" y="68"/>
              </a:cxn>
              <a:cxn ang="0">
                <a:pos x="10" y="66"/>
              </a:cxn>
              <a:cxn ang="0">
                <a:pos x="4" y="62"/>
              </a:cxn>
              <a:cxn ang="0">
                <a:pos x="2" y="60"/>
              </a:cxn>
              <a:cxn ang="0">
                <a:pos x="2" y="58"/>
              </a:cxn>
              <a:cxn ang="0">
                <a:pos x="4" y="54"/>
              </a:cxn>
              <a:cxn ang="0">
                <a:pos x="8" y="48"/>
              </a:cxn>
              <a:cxn ang="0">
                <a:pos x="8" y="46"/>
              </a:cxn>
              <a:cxn ang="0">
                <a:pos x="6" y="42"/>
              </a:cxn>
              <a:cxn ang="0">
                <a:pos x="2" y="36"/>
              </a:cxn>
              <a:cxn ang="0">
                <a:pos x="0" y="34"/>
              </a:cxn>
              <a:cxn ang="0">
                <a:pos x="0" y="30"/>
              </a:cxn>
              <a:cxn ang="0">
                <a:pos x="2" y="24"/>
              </a:cxn>
              <a:cxn ang="0">
                <a:pos x="4" y="20"/>
              </a:cxn>
              <a:cxn ang="0">
                <a:pos x="8" y="16"/>
              </a:cxn>
              <a:cxn ang="0">
                <a:pos x="12" y="8"/>
              </a:cxn>
              <a:cxn ang="0">
                <a:pos x="18" y="0"/>
              </a:cxn>
              <a:cxn ang="0">
                <a:pos x="20" y="0"/>
              </a:cxn>
              <a:cxn ang="0">
                <a:pos x="22" y="0"/>
              </a:cxn>
              <a:cxn ang="0">
                <a:pos x="22" y="2"/>
              </a:cxn>
              <a:cxn ang="0">
                <a:pos x="26" y="6"/>
              </a:cxn>
              <a:cxn ang="0">
                <a:pos x="26" y="10"/>
              </a:cxn>
              <a:cxn ang="0">
                <a:pos x="24" y="12"/>
              </a:cxn>
              <a:cxn ang="0">
                <a:pos x="26" y="16"/>
              </a:cxn>
              <a:cxn ang="0">
                <a:pos x="26" y="18"/>
              </a:cxn>
              <a:cxn ang="0">
                <a:pos x="26" y="22"/>
              </a:cxn>
              <a:cxn ang="0">
                <a:pos x="30" y="28"/>
              </a:cxn>
              <a:cxn ang="0">
                <a:pos x="34" y="32"/>
              </a:cxn>
              <a:cxn ang="0">
                <a:pos x="38" y="36"/>
              </a:cxn>
              <a:cxn ang="0">
                <a:pos x="40" y="36"/>
              </a:cxn>
              <a:cxn ang="0">
                <a:pos x="44" y="36"/>
              </a:cxn>
              <a:cxn ang="0">
                <a:pos x="46" y="38"/>
              </a:cxn>
              <a:cxn ang="0">
                <a:pos x="44" y="46"/>
              </a:cxn>
              <a:cxn ang="0">
                <a:pos x="42" y="48"/>
              </a:cxn>
              <a:cxn ang="0">
                <a:pos x="38" y="50"/>
              </a:cxn>
              <a:cxn ang="0">
                <a:pos x="34" y="62"/>
              </a:cxn>
            </a:cxnLst>
            <a:rect l="0" t="0" r="r" b="b"/>
            <a:pathLst>
              <a:path w="46" h="68">
                <a:moveTo>
                  <a:pt x="34" y="62"/>
                </a:moveTo>
                <a:lnTo>
                  <a:pt x="34" y="66"/>
                </a:lnTo>
                <a:lnTo>
                  <a:pt x="34" y="68"/>
                </a:lnTo>
                <a:lnTo>
                  <a:pt x="30" y="68"/>
                </a:lnTo>
                <a:lnTo>
                  <a:pt x="30" y="66"/>
                </a:lnTo>
                <a:lnTo>
                  <a:pt x="26" y="64"/>
                </a:lnTo>
                <a:lnTo>
                  <a:pt x="22" y="64"/>
                </a:lnTo>
                <a:lnTo>
                  <a:pt x="18" y="66"/>
                </a:lnTo>
                <a:lnTo>
                  <a:pt x="18" y="68"/>
                </a:lnTo>
                <a:lnTo>
                  <a:pt x="10" y="66"/>
                </a:lnTo>
                <a:lnTo>
                  <a:pt x="4" y="62"/>
                </a:lnTo>
                <a:lnTo>
                  <a:pt x="2" y="60"/>
                </a:lnTo>
                <a:lnTo>
                  <a:pt x="2" y="58"/>
                </a:lnTo>
                <a:lnTo>
                  <a:pt x="4" y="54"/>
                </a:lnTo>
                <a:lnTo>
                  <a:pt x="8" y="48"/>
                </a:lnTo>
                <a:lnTo>
                  <a:pt x="8" y="46"/>
                </a:lnTo>
                <a:lnTo>
                  <a:pt x="6" y="42"/>
                </a:lnTo>
                <a:lnTo>
                  <a:pt x="2" y="36"/>
                </a:lnTo>
                <a:lnTo>
                  <a:pt x="0" y="34"/>
                </a:lnTo>
                <a:lnTo>
                  <a:pt x="0" y="30"/>
                </a:lnTo>
                <a:lnTo>
                  <a:pt x="2" y="24"/>
                </a:lnTo>
                <a:lnTo>
                  <a:pt x="4" y="20"/>
                </a:lnTo>
                <a:lnTo>
                  <a:pt x="8" y="16"/>
                </a:lnTo>
                <a:lnTo>
                  <a:pt x="12" y="8"/>
                </a:lnTo>
                <a:lnTo>
                  <a:pt x="18" y="0"/>
                </a:lnTo>
                <a:lnTo>
                  <a:pt x="20" y="0"/>
                </a:lnTo>
                <a:lnTo>
                  <a:pt x="22" y="0"/>
                </a:lnTo>
                <a:lnTo>
                  <a:pt x="22" y="2"/>
                </a:lnTo>
                <a:lnTo>
                  <a:pt x="26" y="6"/>
                </a:lnTo>
                <a:lnTo>
                  <a:pt x="26" y="10"/>
                </a:lnTo>
                <a:lnTo>
                  <a:pt x="24" y="12"/>
                </a:lnTo>
                <a:lnTo>
                  <a:pt x="26" y="16"/>
                </a:lnTo>
                <a:lnTo>
                  <a:pt x="26" y="18"/>
                </a:lnTo>
                <a:lnTo>
                  <a:pt x="26" y="22"/>
                </a:lnTo>
                <a:lnTo>
                  <a:pt x="30" y="28"/>
                </a:lnTo>
                <a:lnTo>
                  <a:pt x="34" y="32"/>
                </a:lnTo>
                <a:lnTo>
                  <a:pt x="38" y="36"/>
                </a:lnTo>
                <a:lnTo>
                  <a:pt x="40" y="36"/>
                </a:lnTo>
                <a:lnTo>
                  <a:pt x="44" y="36"/>
                </a:lnTo>
                <a:lnTo>
                  <a:pt x="46" y="38"/>
                </a:lnTo>
                <a:lnTo>
                  <a:pt x="44" y="46"/>
                </a:lnTo>
                <a:lnTo>
                  <a:pt x="42" y="48"/>
                </a:lnTo>
                <a:lnTo>
                  <a:pt x="38" y="50"/>
                </a:lnTo>
                <a:lnTo>
                  <a:pt x="34" y="62"/>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8" name="Freeform 2628"/>
          <p:cNvSpPr>
            <a:spLocks/>
          </p:cNvSpPr>
          <p:nvPr/>
        </p:nvSpPr>
        <p:spPr bwMode="auto">
          <a:xfrm>
            <a:off x="4497265" y="3800844"/>
            <a:ext cx="779769" cy="1063320"/>
          </a:xfrm>
          <a:custGeom>
            <a:avLst/>
            <a:gdLst/>
            <a:ahLst/>
            <a:cxnLst>
              <a:cxn ang="0">
                <a:pos x="28" y="522"/>
              </a:cxn>
              <a:cxn ang="0">
                <a:pos x="24" y="470"/>
              </a:cxn>
              <a:cxn ang="0">
                <a:pos x="6" y="436"/>
              </a:cxn>
              <a:cxn ang="0">
                <a:pos x="4" y="380"/>
              </a:cxn>
              <a:cxn ang="0">
                <a:pos x="8" y="350"/>
              </a:cxn>
              <a:cxn ang="0">
                <a:pos x="16" y="292"/>
              </a:cxn>
              <a:cxn ang="0">
                <a:pos x="58" y="280"/>
              </a:cxn>
              <a:cxn ang="0">
                <a:pos x="78" y="246"/>
              </a:cxn>
              <a:cxn ang="0">
                <a:pos x="64" y="214"/>
              </a:cxn>
              <a:cxn ang="0">
                <a:pos x="94" y="180"/>
              </a:cxn>
              <a:cxn ang="0">
                <a:pos x="88" y="144"/>
              </a:cxn>
              <a:cxn ang="0">
                <a:pos x="136" y="120"/>
              </a:cxn>
              <a:cxn ang="0">
                <a:pos x="146" y="140"/>
              </a:cxn>
              <a:cxn ang="0">
                <a:pos x="156" y="134"/>
              </a:cxn>
              <a:cxn ang="0">
                <a:pos x="170" y="146"/>
              </a:cxn>
              <a:cxn ang="0">
                <a:pos x="186" y="110"/>
              </a:cxn>
              <a:cxn ang="0">
                <a:pos x="218" y="118"/>
              </a:cxn>
              <a:cxn ang="0">
                <a:pos x="234" y="140"/>
              </a:cxn>
              <a:cxn ang="0">
                <a:pos x="200" y="110"/>
              </a:cxn>
              <a:cxn ang="0">
                <a:pos x="202" y="92"/>
              </a:cxn>
              <a:cxn ang="0">
                <a:pos x="182" y="68"/>
              </a:cxn>
              <a:cxn ang="0">
                <a:pos x="198" y="42"/>
              </a:cxn>
              <a:cxn ang="0">
                <a:pos x="170" y="24"/>
              </a:cxn>
              <a:cxn ang="0">
                <a:pos x="174" y="8"/>
              </a:cxn>
              <a:cxn ang="0">
                <a:pos x="206" y="16"/>
              </a:cxn>
              <a:cxn ang="0">
                <a:pos x="256" y="30"/>
              </a:cxn>
              <a:cxn ang="0">
                <a:pos x="260" y="60"/>
              </a:cxn>
              <a:cxn ang="0">
                <a:pos x="310" y="72"/>
              </a:cxn>
              <a:cxn ang="0">
                <a:pos x="298" y="104"/>
              </a:cxn>
              <a:cxn ang="0">
                <a:pos x="312" y="106"/>
              </a:cxn>
              <a:cxn ang="0">
                <a:pos x="344" y="98"/>
              </a:cxn>
              <a:cxn ang="0">
                <a:pos x="400" y="70"/>
              </a:cxn>
              <a:cxn ang="0">
                <a:pos x="384" y="86"/>
              </a:cxn>
              <a:cxn ang="0">
                <a:pos x="430" y="88"/>
              </a:cxn>
              <a:cxn ang="0">
                <a:pos x="462" y="122"/>
              </a:cxn>
              <a:cxn ang="0">
                <a:pos x="484" y="204"/>
              </a:cxn>
              <a:cxn ang="0">
                <a:pos x="506" y="242"/>
              </a:cxn>
              <a:cxn ang="0">
                <a:pos x="508" y="304"/>
              </a:cxn>
              <a:cxn ang="0">
                <a:pos x="522" y="342"/>
              </a:cxn>
              <a:cxn ang="0">
                <a:pos x="522" y="386"/>
              </a:cxn>
              <a:cxn ang="0">
                <a:pos x="502" y="386"/>
              </a:cxn>
              <a:cxn ang="0">
                <a:pos x="452" y="412"/>
              </a:cxn>
              <a:cxn ang="0">
                <a:pos x="422" y="428"/>
              </a:cxn>
              <a:cxn ang="0">
                <a:pos x="390" y="440"/>
              </a:cxn>
              <a:cxn ang="0">
                <a:pos x="362" y="464"/>
              </a:cxn>
              <a:cxn ang="0">
                <a:pos x="380" y="512"/>
              </a:cxn>
              <a:cxn ang="0">
                <a:pos x="436" y="572"/>
              </a:cxn>
              <a:cxn ang="0">
                <a:pos x="456" y="592"/>
              </a:cxn>
              <a:cxn ang="0">
                <a:pos x="430" y="626"/>
              </a:cxn>
              <a:cxn ang="0">
                <a:pos x="394" y="658"/>
              </a:cxn>
              <a:cxn ang="0">
                <a:pos x="408" y="690"/>
              </a:cxn>
              <a:cxn ang="0">
                <a:pos x="376" y="694"/>
              </a:cxn>
              <a:cxn ang="0">
                <a:pos x="314" y="702"/>
              </a:cxn>
              <a:cxn ang="0">
                <a:pos x="246" y="692"/>
              </a:cxn>
              <a:cxn ang="0">
                <a:pos x="218" y="700"/>
              </a:cxn>
              <a:cxn ang="0">
                <a:pos x="160" y="678"/>
              </a:cxn>
              <a:cxn ang="0">
                <a:pos x="140" y="676"/>
              </a:cxn>
              <a:cxn ang="0">
                <a:pos x="128" y="678"/>
              </a:cxn>
              <a:cxn ang="0">
                <a:pos x="106" y="680"/>
              </a:cxn>
              <a:cxn ang="0">
                <a:pos x="68" y="678"/>
              </a:cxn>
              <a:cxn ang="0">
                <a:pos x="72" y="630"/>
              </a:cxn>
              <a:cxn ang="0">
                <a:pos x="110" y="568"/>
              </a:cxn>
              <a:cxn ang="0">
                <a:pos x="82" y="544"/>
              </a:cxn>
            </a:cxnLst>
            <a:rect l="0" t="0" r="r" b="b"/>
            <a:pathLst>
              <a:path w="528" h="720">
                <a:moveTo>
                  <a:pt x="68" y="534"/>
                </a:moveTo>
                <a:lnTo>
                  <a:pt x="62" y="538"/>
                </a:lnTo>
                <a:lnTo>
                  <a:pt x="54" y="536"/>
                </a:lnTo>
                <a:lnTo>
                  <a:pt x="52" y="536"/>
                </a:lnTo>
                <a:lnTo>
                  <a:pt x="48" y="530"/>
                </a:lnTo>
                <a:lnTo>
                  <a:pt x="42" y="526"/>
                </a:lnTo>
                <a:lnTo>
                  <a:pt x="38" y="526"/>
                </a:lnTo>
                <a:lnTo>
                  <a:pt x="38" y="530"/>
                </a:lnTo>
                <a:lnTo>
                  <a:pt x="36" y="532"/>
                </a:lnTo>
                <a:lnTo>
                  <a:pt x="30" y="530"/>
                </a:lnTo>
                <a:lnTo>
                  <a:pt x="30" y="528"/>
                </a:lnTo>
                <a:lnTo>
                  <a:pt x="28" y="522"/>
                </a:lnTo>
                <a:lnTo>
                  <a:pt x="24" y="510"/>
                </a:lnTo>
                <a:lnTo>
                  <a:pt x="22" y="506"/>
                </a:lnTo>
                <a:lnTo>
                  <a:pt x="20" y="502"/>
                </a:lnTo>
                <a:lnTo>
                  <a:pt x="18" y="502"/>
                </a:lnTo>
                <a:lnTo>
                  <a:pt x="14" y="500"/>
                </a:lnTo>
                <a:lnTo>
                  <a:pt x="12" y="500"/>
                </a:lnTo>
                <a:lnTo>
                  <a:pt x="12" y="498"/>
                </a:lnTo>
                <a:lnTo>
                  <a:pt x="12" y="494"/>
                </a:lnTo>
                <a:lnTo>
                  <a:pt x="16" y="482"/>
                </a:lnTo>
                <a:lnTo>
                  <a:pt x="20" y="480"/>
                </a:lnTo>
                <a:lnTo>
                  <a:pt x="22" y="478"/>
                </a:lnTo>
                <a:lnTo>
                  <a:pt x="24" y="470"/>
                </a:lnTo>
                <a:lnTo>
                  <a:pt x="22" y="468"/>
                </a:lnTo>
                <a:lnTo>
                  <a:pt x="18" y="468"/>
                </a:lnTo>
                <a:lnTo>
                  <a:pt x="16" y="468"/>
                </a:lnTo>
                <a:lnTo>
                  <a:pt x="12" y="464"/>
                </a:lnTo>
                <a:lnTo>
                  <a:pt x="8" y="460"/>
                </a:lnTo>
                <a:lnTo>
                  <a:pt x="4" y="454"/>
                </a:lnTo>
                <a:lnTo>
                  <a:pt x="4" y="450"/>
                </a:lnTo>
                <a:lnTo>
                  <a:pt x="4" y="448"/>
                </a:lnTo>
                <a:lnTo>
                  <a:pt x="2" y="444"/>
                </a:lnTo>
                <a:lnTo>
                  <a:pt x="4" y="442"/>
                </a:lnTo>
                <a:lnTo>
                  <a:pt x="4" y="438"/>
                </a:lnTo>
                <a:lnTo>
                  <a:pt x="6" y="436"/>
                </a:lnTo>
                <a:lnTo>
                  <a:pt x="8" y="430"/>
                </a:lnTo>
                <a:lnTo>
                  <a:pt x="14" y="424"/>
                </a:lnTo>
                <a:lnTo>
                  <a:pt x="20" y="422"/>
                </a:lnTo>
                <a:lnTo>
                  <a:pt x="22" y="422"/>
                </a:lnTo>
                <a:lnTo>
                  <a:pt x="22" y="410"/>
                </a:lnTo>
                <a:lnTo>
                  <a:pt x="20" y="406"/>
                </a:lnTo>
                <a:lnTo>
                  <a:pt x="16" y="406"/>
                </a:lnTo>
                <a:lnTo>
                  <a:pt x="16" y="396"/>
                </a:lnTo>
                <a:lnTo>
                  <a:pt x="18" y="394"/>
                </a:lnTo>
                <a:lnTo>
                  <a:pt x="12" y="390"/>
                </a:lnTo>
                <a:lnTo>
                  <a:pt x="6" y="382"/>
                </a:lnTo>
                <a:lnTo>
                  <a:pt x="4" y="380"/>
                </a:lnTo>
                <a:lnTo>
                  <a:pt x="4" y="376"/>
                </a:lnTo>
                <a:lnTo>
                  <a:pt x="6" y="372"/>
                </a:lnTo>
                <a:lnTo>
                  <a:pt x="8" y="372"/>
                </a:lnTo>
                <a:lnTo>
                  <a:pt x="10" y="370"/>
                </a:lnTo>
                <a:lnTo>
                  <a:pt x="10" y="366"/>
                </a:lnTo>
                <a:lnTo>
                  <a:pt x="8" y="360"/>
                </a:lnTo>
                <a:lnTo>
                  <a:pt x="4" y="358"/>
                </a:lnTo>
                <a:lnTo>
                  <a:pt x="0" y="360"/>
                </a:lnTo>
                <a:lnTo>
                  <a:pt x="0" y="354"/>
                </a:lnTo>
                <a:lnTo>
                  <a:pt x="0" y="352"/>
                </a:lnTo>
                <a:lnTo>
                  <a:pt x="2" y="350"/>
                </a:lnTo>
                <a:lnTo>
                  <a:pt x="8" y="350"/>
                </a:lnTo>
                <a:lnTo>
                  <a:pt x="14" y="346"/>
                </a:lnTo>
                <a:lnTo>
                  <a:pt x="12" y="342"/>
                </a:lnTo>
                <a:lnTo>
                  <a:pt x="12" y="338"/>
                </a:lnTo>
                <a:lnTo>
                  <a:pt x="14" y="336"/>
                </a:lnTo>
                <a:lnTo>
                  <a:pt x="18" y="332"/>
                </a:lnTo>
                <a:lnTo>
                  <a:pt x="24" y="326"/>
                </a:lnTo>
                <a:lnTo>
                  <a:pt x="24" y="316"/>
                </a:lnTo>
                <a:lnTo>
                  <a:pt x="24" y="312"/>
                </a:lnTo>
                <a:lnTo>
                  <a:pt x="22" y="308"/>
                </a:lnTo>
                <a:lnTo>
                  <a:pt x="20" y="306"/>
                </a:lnTo>
                <a:lnTo>
                  <a:pt x="18" y="302"/>
                </a:lnTo>
                <a:lnTo>
                  <a:pt x="16" y="292"/>
                </a:lnTo>
                <a:lnTo>
                  <a:pt x="12" y="288"/>
                </a:lnTo>
                <a:lnTo>
                  <a:pt x="14" y="288"/>
                </a:lnTo>
                <a:lnTo>
                  <a:pt x="12" y="284"/>
                </a:lnTo>
                <a:lnTo>
                  <a:pt x="16" y="282"/>
                </a:lnTo>
                <a:lnTo>
                  <a:pt x="24" y="276"/>
                </a:lnTo>
                <a:lnTo>
                  <a:pt x="26" y="276"/>
                </a:lnTo>
                <a:lnTo>
                  <a:pt x="36" y="282"/>
                </a:lnTo>
                <a:lnTo>
                  <a:pt x="42" y="282"/>
                </a:lnTo>
                <a:lnTo>
                  <a:pt x="46" y="280"/>
                </a:lnTo>
                <a:lnTo>
                  <a:pt x="50" y="280"/>
                </a:lnTo>
                <a:lnTo>
                  <a:pt x="54" y="278"/>
                </a:lnTo>
                <a:lnTo>
                  <a:pt x="58" y="280"/>
                </a:lnTo>
                <a:lnTo>
                  <a:pt x="60" y="278"/>
                </a:lnTo>
                <a:lnTo>
                  <a:pt x="64" y="274"/>
                </a:lnTo>
                <a:lnTo>
                  <a:pt x="62" y="270"/>
                </a:lnTo>
                <a:lnTo>
                  <a:pt x="58" y="266"/>
                </a:lnTo>
                <a:lnTo>
                  <a:pt x="60" y="264"/>
                </a:lnTo>
                <a:lnTo>
                  <a:pt x="62" y="260"/>
                </a:lnTo>
                <a:lnTo>
                  <a:pt x="66" y="260"/>
                </a:lnTo>
                <a:lnTo>
                  <a:pt x="68" y="258"/>
                </a:lnTo>
                <a:lnTo>
                  <a:pt x="70" y="256"/>
                </a:lnTo>
                <a:lnTo>
                  <a:pt x="74" y="254"/>
                </a:lnTo>
                <a:lnTo>
                  <a:pt x="78" y="250"/>
                </a:lnTo>
                <a:lnTo>
                  <a:pt x="78" y="246"/>
                </a:lnTo>
                <a:lnTo>
                  <a:pt x="78" y="244"/>
                </a:lnTo>
                <a:lnTo>
                  <a:pt x="80" y="242"/>
                </a:lnTo>
                <a:lnTo>
                  <a:pt x="82" y="240"/>
                </a:lnTo>
                <a:lnTo>
                  <a:pt x="82" y="236"/>
                </a:lnTo>
                <a:lnTo>
                  <a:pt x="78" y="230"/>
                </a:lnTo>
                <a:lnTo>
                  <a:pt x="76" y="232"/>
                </a:lnTo>
                <a:lnTo>
                  <a:pt x="64" y="228"/>
                </a:lnTo>
                <a:lnTo>
                  <a:pt x="62" y="226"/>
                </a:lnTo>
                <a:lnTo>
                  <a:pt x="62" y="220"/>
                </a:lnTo>
                <a:lnTo>
                  <a:pt x="64" y="220"/>
                </a:lnTo>
                <a:lnTo>
                  <a:pt x="66" y="218"/>
                </a:lnTo>
                <a:lnTo>
                  <a:pt x="64" y="214"/>
                </a:lnTo>
                <a:lnTo>
                  <a:pt x="66" y="212"/>
                </a:lnTo>
                <a:lnTo>
                  <a:pt x="74" y="212"/>
                </a:lnTo>
                <a:lnTo>
                  <a:pt x="82" y="214"/>
                </a:lnTo>
                <a:lnTo>
                  <a:pt x="84" y="206"/>
                </a:lnTo>
                <a:lnTo>
                  <a:pt x="84" y="202"/>
                </a:lnTo>
                <a:lnTo>
                  <a:pt x="86" y="200"/>
                </a:lnTo>
                <a:lnTo>
                  <a:pt x="86" y="198"/>
                </a:lnTo>
                <a:lnTo>
                  <a:pt x="86" y="196"/>
                </a:lnTo>
                <a:lnTo>
                  <a:pt x="90" y="192"/>
                </a:lnTo>
                <a:lnTo>
                  <a:pt x="92" y="188"/>
                </a:lnTo>
                <a:lnTo>
                  <a:pt x="94" y="184"/>
                </a:lnTo>
                <a:lnTo>
                  <a:pt x="94" y="180"/>
                </a:lnTo>
                <a:lnTo>
                  <a:pt x="96" y="166"/>
                </a:lnTo>
                <a:lnTo>
                  <a:pt x="98" y="160"/>
                </a:lnTo>
                <a:lnTo>
                  <a:pt x="100" y="154"/>
                </a:lnTo>
                <a:lnTo>
                  <a:pt x="104" y="154"/>
                </a:lnTo>
                <a:lnTo>
                  <a:pt x="106" y="154"/>
                </a:lnTo>
                <a:lnTo>
                  <a:pt x="106" y="152"/>
                </a:lnTo>
                <a:lnTo>
                  <a:pt x="98" y="152"/>
                </a:lnTo>
                <a:lnTo>
                  <a:pt x="96" y="150"/>
                </a:lnTo>
                <a:lnTo>
                  <a:pt x="94" y="150"/>
                </a:lnTo>
                <a:lnTo>
                  <a:pt x="90" y="150"/>
                </a:lnTo>
                <a:lnTo>
                  <a:pt x="88" y="146"/>
                </a:lnTo>
                <a:lnTo>
                  <a:pt x="88" y="144"/>
                </a:lnTo>
                <a:lnTo>
                  <a:pt x="90" y="140"/>
                </a:lnTo>
                <a:lnTo>
                  <a:pt x="90" y="136"/>
                </a:lnTo>
                <a:lnTo>
                  <a:pt x="94" y="126"/>
                </a:lnTo>
                <a:lnTo>
                  <a:pt x="100" y="122"/>
                </a:lnTo>
                <a:lnTo>
                  <a:pt x="104" y="120"/>
                </a:lnTo>
                <a:lnTo>
                  <a:pt x="106" y="120"/>
                </a:lnTo>
                <a:lnTo>
                  <a:pt x="108" y="120"/>
                </a:lnTo>
                <a:lnTo>
                  <a:pt x="116" y="120"/>
                </a:lnTo>
                <a:lnTo>
                  <a:pt x="118" y="122"/>
                </a:lnTo>
                <a:lnTo>
                  <a:pt x="122" y="122"/>
                </a:lnTo>
                <a:lnTo>
                  <a:pt x="128" y="120"/>
                </a:lnTo>
                <a:lnTo>
                  <a:pt x="136" y="120"/>
                </a:lnTo>
                <a:lnTo>
                  <a:pt x="138" y="120"/>
                </a:lnTo>
                <a:lnTo>
                  <a:pt x="140" y="120"/>
                </a:lnTo>
                <a:lnTo>
                  <a:pt x="142" y="120"/>
                </a:lnTo>
                <a:lnTo>
                  <a:pt x="144" y="120"/>
                </a:lnTo>
                <a:lnTo>
                  <a:pt x="146" y="122"/>
                </a:lnTo>
                <a:lnTo>
                  <a:pt x="148" y="128"/>
                </a:lnTo>
                <a:lnTo>
                  <a:pt x="150" y="134"/>
                </a:lnTo>
                <a:lnTo>
                  <a:pt x="152" y="136"/>
                </a:lnTo>
                <a:lnTo>
                  <a:pt x="152" y="138"/>
                </a:lnTo>
                <a:lnTo>
                  <a:pt x="150" y="140"/>
                </a:lnTo>
                <a:lnTo>
                  <a:pt x="148" y="140"/>
                </a:lnTo>
                <a:lnTo>
                  <a:pt x="146" y="140"/>
                </a:lnTo>
                <a:lnTo>
                  <a:pt x="146" y="144"/>
                </a:lnTo>
                <a:lnTo>
                  <a:pt x="148" y="146"/>
                </a:lnTo>
                <a:lnTo>
                  <a:pt x="154" y="150"/>
                </a:lnTo>
                <a:lnTo>
                  <a:pt x="156" y="150"/>
                </a:lnTo>
                <a:lnTo>
                  <a:pt x="158" y="148"/>
                </a:lnTo>
                <a:lnTo>
                  <a:pt x="160" y="146"/>
                </a:lnTo>
                <a:lnTo>
                  <a:pt x="160" y="142"/>
                </a:lnTo>
                <a:lnTo>
                  <a:pt x="160" y="140"/>
                </a:lnTo>
                <a:lnTo>
                  <a:pt x="158" y="140"/>
                </a:lnTo>
                <a:lnTo>
                  <a:pt x="156" y="140"/>
                </a:lnTo>
                <a:lnTo>
                  <a:pt x="156" y="136"/>
                </a:lnTo>
                <a:lnTo>
                  <a:pt x="156" y="134"/>
                </a:lnTo>
                <a:lnTo>
                  <a:pt x="158" y="132"/>
                </a:lnTo>
                <a:lnTo>
                  <a:pt x="160" y="132"/>
                </a:lnTo>
                <a:lnTo>
                  <a:pt x="162" y="132"/>
                </a:lnTo>
                <a:lnTo>
                  <a:pt x="170" y="138"/>
                </a:lnTo>
                <a:lnTo>
                  <a:pt x="172" y="142"/>
                </a:lnTo>
                <a:lnTo>
                  <a:pt x="170" y="144"/>
                </a:lnTo>
                <a:lnTo>
                  <a:pt x="168" y="146"/>
                </a:lnTo>
                <a:lnTo>
                  <a:pt x="168" y="150"/>
                </a:lnTo>
                <a:lnTo>
                  <a:pt x="168" y="154"/>
                </a:lnTo>
                <a:lnTo>
                  <a:pt x="170" y="156"/>
                </a:lnTo>
                <a:lnTo>
                  <a:pt x="170" y="148"/>
                </a:lnTo>
                <a:lnTo>
                  <a:pt x="170" y="146"/>
                </a:lnTo>
                <a:lnTo>
                  <a:pt x="170" y="144"/>
                </a:lnTo>
                <a:lnTo>
                  <a:pt x="174" y="142"/>
                </a:lnTo>
                <a:lnTo>
                  <a:pt x="174" y="140"/>
                </a:lnTo>
                <a:lnTo>
                  <a:pt x="172" y="132"/>
                </a:lnTo>
                <a:lnTo>
                  <a:pt x="172" y="128"/>
                </a:lnTo>
                <a:lnTo>
                  <a:pt x="170" y="126"/>
                </a:lnTo>
                <a:lnTo>
                  <a:pt x="176" y="114"/>
                </a:lnTo>
                <a:lnTo>
                  <a:pt x="178" y="110"/>
                </a:lnTo>
                <a:lnTo>
                  <a:pt x="178" y="108"/>
                </a:lnTo>
                <a:lnTo>
                  <a:pt x="182" y="108"/>
                </a:lnTo>
                <a:lnTo>
                  <a:pt x="184" y="108"/>
                </a:lnTo>
                <a:lnTo>
                  <a:pt x="186" y="110"/>
                </a:lnTo>
                <a:lnTo>
                  <a:pt x="186" y="112"/>
                </a:lnTo>
                <a:lnTo>
                  <a:pt x="188" y="112"/>
                </a:lnTo>
                <a:lnTo>
                  <a:pt x="190" y="114"/>
                </a:lnTo>
                <a:lnTo>
                  <a:pt x="192" y="114"/>
                </a:lnTo>
                <a:lnTo>
                  <a:pt x="194" y="114"/>
                </a:lnTo>
                <a:lnTo>
                  <a:pt x="202" y="114"/>
                </a:lnTo>
                <a:lnTo>
                  <a:pt x="206" y="112"/>
                </a:lnTo>
                <a:lnTo>
                  <a:pt x="208" y="112"/>
                </a:lnTo>
                <a:lnTo>
                  <a:pt x="212" y="112"/>
                </a:lnTo>
                <a:lnTo>
                  <a:pt x="216" y="114"/>
                </a:lnTo>
                <a:lnTo>
                  <a:pt x="218" y="116"/>
                </a:lnTo>
                <a:lnTo>
                  <a:pt x="218" y="118"/>
                </a:lnTo>
                <a:lnTo>
                  <a:pt x="220" y="122"/>
                </a:lnTo>
                <a:lnTo>
                  <a:pt x="222" y="126"/>
                </a:lnTo>
                <a:lnTo>
                  <a:pt x="228" y="138"/>
                </a:lnTo>
                <a:lnTo>
                  <a:pt x="230" y="140"/>
                </a:lnTo>
                <a:lnTo>
                  <a:pt x="234" y="142"/>
                </a:lnTo>
                <a:lnTo>
                  <a:pt x="236" y="144"/>
                </a:lnTo>
                <a:lnTo>
                  <a:pt x="240" y="144"/>
                </a:lnTo>
                <a:lnTo>
                  <a:pt x="242" y="144"/>
                </a:lnTo>
                <a:lnTo>
                  <a:pt x="240" y="142"/>
                </a:lnTo>
                <a:lnTo>
                  <a:pt x="238" y="142"/>
                </a:lnTo>
                <a:lnTo>
                  <a:pt x="236" y="142"/>
                </a:lnTo>
                <a:lnTo>
                  <a:pt x="234" y="140"/>
                </a:lnTo>
                <a:lnTo>
                  <a:pt x="230" y="136"/>
                </a:lnTo>
                <a:lnTo>
                  <a:pt x="228" y="136"/>
                </a:lnTo>
                <a:lnTo>
                  <a:pt x="222" y="124"/>
                </a:lnTo>
                <a:lnTo>
                  <a:pt x="222" y="122"/>
                </a:lnTo>
                <a:lnTo>
                  <a:pt x="222" y="120"/>
                </a:lnTo>
                <a:lnTo>
                  <a:pt x="222" y="116"/>
                </a:lnTo>
                <a:lnTo>
                  <a:pt x="218" y="114"/>
                </a:lnTo>
                <a:lnTo>
                  <a:pt x="216" y="112"/>
                </a:lnTo>
                <a:lnTo>
                  <a:pt x="214" y="110"/>
                </a:lnTo>
                <a:lnTo>
                  <a:pt x="212" y="110"/>
                </a:lnTo>
                <a:lnTo>
                  <a:pt x="204" y="108"/>
                </a:lnTo>
                <a:lnTo>
                  <a:pt x="200" y="110"/>
                </a:lnTo>
                <a:lnTo>
                  <a:pt x="198" y="108"/>
                </a:lnTo>
                <a:lnTo>
                  <a:pt x="198" y="106"/>
                </a:lnTo>
                <a:lnTo>
                  <a:pt x="196" y="104"/>
                </a:lnTo>
                <a:lnTo>
                  <a:pt x="194" y="102"/>
                </a:lnTo>
                <a:lnTo>
                  <a:pt x="194" y="98"/>
                </a:lnTo>
                <a:lnTo>
                  <a:pt x="194" y="94"/>
                </a:lnTo>
                <a:lnTo>
                  <a:pt x="196" y="94"/>
                </a:lnTo>
                <a:lnTo>
                  <a:pt x="198" y="96"/>
                </a:lnTo>
                <a:lnTo>
                  <a:pt x="200" y="98"/>
                </a:lnTo>
                <a:lnTo>
                  <a:pt x="202" y="96"/>
                </a:lnTo>
                <a:lnTo>
                  <a:pt x="202" y="94"/>
                </a:lnTo>
                <a:lnTo>
                  <a:pt x="202" y="92"/>
                </a:lnTo>
                <a:lnTo>
                  <a:pt x="202" y="86"/>
                </a:lnTo>
                <a:lnTo>
                  <a:pt x="194" y="86"/>
                </a:lnTo>
                <a:lnTo>
                  <a:pt x="194" y="84"/>
                </a:lnTo>
                <a:lnTo>
                  <a:pt x="192" y="82"/>
                </a:lnTo>
                <a:lnTo>
                  <a:pt x="194" y="80"/>
                </a:lnTo>
                <a:lnTo>
                  <a:pt x="194" y="76"/>
                </a:lnTo>
                <a:lnTo>
                  <a:pt x="198" y="72"/>
                </a:lnTo>
                <a:lnTo>
                  <a:pt x="194" y="72"/>
                </a:lnTo>
                <a:lnTo>
                  <a:pt x="186" y="74"/>
                </a:lnTo>
                <a:lnTo>
                  <a:pt x="184" y="72"/>
                </a:lnTo>
                <a:lnTo>
                  <a:pt x="182" y="70"/>
                </a:lnTo>
                <a:lnTo>
                  <a:pt x="182" y="68"/>
                </a:lnTo>
                <a:lnTo>
                  <a:pt x="184" y="62"/>
                </a:lnTo>
                <a:lnTo>
                  <a:pt x="186" y="62"/>
                </a:lnTo>
                <a:lnTo>
                  <a:pt x="192" y="60"/>
                </a:lnTo>
                <a:lnTo>
                  <a:pt x="196" y="60"/>
                </a:lnTo>
                <a:lnTo>
                  <a:pt x="196" y="62"/>
                </a:lnTo>
                <a:lnTo>
                  <a:pt x="198" y="62"/>
                </a:lnTo>
                <a:lnTo>
                  <a:pt x="204" y="58"/>
                </a:lnTo>
                <a:lnTo>
                  <a:pt x="206" y="56"/>
                </a:lnTo>
                <a:lnTo>
                  <a:pt x="206" y="52"/>
                </a:lnTo>
                <a:lnTo>
                  <a:pt x="204" y="48"/>
                </a:lnTo>
                <a:lnTo>
                  <a:pt x="202" y="48"/>
                </a:lnTo>
                <a:lnTo>
                  <a:pt x="198" y="42"/>
                </a:lnTo>
                <a:lnTo>
                  <a:pt x="196" y="36"/>
                </a:lnTo>
                <a:lnTo>
                  <a:pt x="194" y="32"/>
                </a:lnTo>
                <a:lnTo>
                  <a:pt x="192" y="32"/>
                </a:lnTo>
                <a:lnTo>
                  <a:pt x="190" y="30"/>
                </a:lnTo>
                <a:lnTo>
                  <a:pt x="190" y="24"/>
                </a:lnTo>
                <a:lnTo>
                  <a:pt x="188" y="22"/>
                </a:lnTo>
                <a:lnTo>
                  <a:pt x="186" y="18"/>
                </a:lnTo>
                <a:lnTo>
                  <a:pt x="184" y="18"/>
                </a:lnTo>
                <a:lnTo>
                  <a:pt x="176" y="16"/>
                </a:lnTo>
                <a:lnTo>
                  <a:pt x="170" y="18"/>
                </a:lnTo>
                <a:lnTo>
                  <a:pt x="170" y="20"/>
                </a:lnTo>
                <a:lnTo>
                  <a:pt x="170" y="24"/>
                </a:lnTo>
                <a:lnTo>
                  <a:pt x="168" y="28"/>
                </a:lnTo>
                <a:lnTo>
                  <a:pt x="168" y="24"/>
                </a:lnTo>
                <a:lnTo>
                  <a:pt x="170" y="20"/>
                </a:lnTo>
                <a:lnTo>
                  <a:pt x="170" y="14"/>
                </a:lnTo>
                <a:lnTo>
                  <a:pt x="172" y="10"/>
                </a:lnTo>
                <a:lnTo>
                  <a:pt x="176" y="2"/>
                </a:lnTo>
                <a:lnTo>
                  <a:pt x="178" y="0"/>
                </a:lnTo>
                <a:lnTo>
                  <a:pt x="180" y="0"/>
                </a:lnTo>
                <a:lnTo>
                  <a:pt x="180" y="4"/>
                </a:lnTo>
                <a:lnTo>
                  <a:pt x="178" y="4"/>
                </a:lnTo>
                <a:lnTo>
                  <a:pt x="176" y="6"/>
                </a:lnTo>
                <a:lnTo>
                  <a:pt x="174" y="8"/>
                </a:lnTo>
                <a:lnTo>
                  <a:pt x="178" y="12"/>
                </a:lnTo>
                <a:lnTo>
                  <a:pt x="180" y="14"/>
                </a:lnTo>
                <a:lnTo>
                  <a:pt x="182" y="14"/>
                </a:lnTo>
                <a:lnTo>
                  <a:pt x="188" y="14"/>
                </a:lnTo>
                <a:lnTo>
                  <a:pt x="190" y="14"/>
                </a:lnTo>
                <a:lnTo>
                  <a:pt x="192" y="16"/>
                </a:lnTo>
                <a:lnTo>
                  <a:pt x="194" y="16"/>
                </a:lnTo>
                <a:lnTo>
                  <a:pt x="196" y="16"/>
                </a:lnTo>
                <a:lnTo>
                  <a:pt x="198" y="16"/>
                </a:lnTo>
                <a:lnTo>
                  <a:pt x="200" y="14"/>
                </a:lnTo>
                <a:lnTo>
                  <a:pt x="204" y="16"/>
                </a:lnTo>
                <a:lnTo>
                  <a:pt x="206" y="16"/>
                </a:lnTo>
                <a:lnTo>
                  <a:pt x="216" y="20"/>
                </a:lnTo>
                <a:lnTo>
                  <a:pt x="220" y="22"/>
                </a:lnTo>
                <a:lnTo>
                  <a:pt x="220" y="24"/>
                </a:lnTo>
                <a:lnTo>
                  <a:pt x="220" y="26"/>
                </a:lnTo>
                <a:lnTo>
                  <a:pt x="226" y="26"/>
                </a:lnTo>
                <a:lnTo>
                  <a:pt x="228" y="24"/>
                </a:lnTo>
                <a:lnTo>
                  <a:pt x="230" y="24"/>
                </a:lnTo>
                <a:lnTo>
                  <a:pt x="230" y="26"/>
                </a:lnTo>
                <a:lnTo>
                  <a:pt x="238" y="26"/>
                </a:lnTo>
                <a:lnTo>
                  <a:pt x="242" y="28"/>
                </a:lnTo>
                <a:lnTo>
                  <a:pt x="248" y="30"/>
                </a:lnTo>
                <a:lnTo>
                  <a:pt x="256" y="30"/>
                </a:lnTo>
                <a:lnTo>
                  <a:pt x="256" y="32"/>
                </a:lnTo>
                <a:lnTo>
                  <a:pt x="260" y="32"/>
                </a:lnTo>
                <a:lnTo>
                  <a:pt x="262" y="42"/>
                </a:lnTo>
                <a:lnTo>
                  <a:pt x="262" y="44"/>
                </a:lnTo>
                <a:lnTo>
                  <a:pt x="260" y="52"/>
                </a:lnTo>
                <a:lnTo>
                  <a:pt x="260" y="54"/>
                </a:lnTo>
                <a:lnTo>
                  <a:pt x="256" y="56"/>
                </a:lnTo>
                <a:lnTo>
                  <a:pt x="252" y="58"/>
                </a:lnTo>
                <a:lnTo>
                  <a:pt x="250" y="58"/>
                </a:lnTo>
                <a:lnTo>
                  <a:pt x="252" y="60"/>
                </a:lnTo>
                <a:lnTo>
                  <a:pt x="252" y="62"/>
                </a:lnTo>
                <a:lnTo>
                  <a:pt x="260" y="60"/>
                </a:lnTo>
                <a:lnTo>
                  <a:pt x="264" y="58"/>
                </a:lnTo>
                <a:lnTo>
                  <a:pt x="266" y="58"/>
                </a:lnTo>
                <a:lnTo>
                  <a:pt x="278" y="64"/>
                </a:lnTo>
                <a:lnTo>
                  <a:pt x="290" y="72"/>
                </a:lnTo>
                <a:lnTo>
                  <a:pt x="292" y="74"/>
                </a:lnTo>
                <a:lnTo>
                  <a:pt x="294" y="78"/>
                </a:lnTo>
                <a:lnTo>
                  <a:pt x="298" y="78"/>
                </a:lnTo>
                <a:lnTo>
                  <a:pt x="300" y="78"/>
                </a:lnTo>
                <a:lnTo>
                  <a:pt x="302" y="76"/>
                </a:lnTo>
                <a:lnTo>
                  <a:pt x="304" y="72"/>
                </a:lnTo>
                <a:lnTo>
                  <a:pt x="308" y="70"/>
                </a:lnTo>
                <a:lnTo>
                  <a:pt x="310" y="72"/>
                </a:lnTo>
                <a:lnTo>
                  <a:pt x="308" y="72"/>
                </a:lnTo>
                <a:lnTo>
                  <a:pt x="310" y="72"/>
                </a:lnTo>
                <a:lnTo>
                  <a:pt x="312" y="72"/>
                </a:lnTo>
                <a:lnTo>
                  <a:pt x="314" y="72"/>
                </a:lnTo>
                <a:lnTo>
                  <a:pt x="316" y="72"/>
                </a:lnTo>
                <a:lnTo>
                  <a:pt x="316" y="88"/>
                </a:lnTo>
                <a:lnTo>
                  <a:pt x="314" y="90"/>
                </a:lnTo>
                <a:lnTo>
                  <a:pt x="304" y="98"/>
                </a:lnTo>
                <a:lnTo>
                  <a:pt x="300" y="98"/>
                </a:lnTo>
                <a:lnTo>
                  <a:pt x="296" y="100"/>
                </a:lnTo>
                <a:lnTo>
                  <a:pt x="296" y="102"/>
                </a:lnTo>
                <a:lnTo>
                  <a:pt x="298" y="104"/>
                </a:lnTo>
                <a:lnTo>
                  <a:pt x="298" y="106"/>
                </a:lnTo>
                <a:lnTo>
                  <a:pt x="300" y="106"/>
                </a:lnTo>
                <a:lnTo>
                  <a:pt x="302" y="106"/>
                </a:lnTo>
                <a:lnTo>
                  <a:pt x="304" y="106"/>
                </a:lnTo>
                <a:lnTo>
                  <a:pt x="304" y="110"/>
                </a:lnTo>
                <a:lnTo>
                  <a:pt x="302" y="114"/>
                </a:lnTo>
                <a:lnTo>
                  <a:pt x="300" y="116"/>
                </a:lnTo>
                <a:lnTo>
                  <a:pt x="304" y="112"/>
                </a:lnTo>
                <a:lnTo>
                  <a:pt x="304" y="110"/>
                </a:lnTo>
                <a:lnTo>
                  <a:pt x="308" y="108"/>
                </a:lnTo>
                <a:lnTo>
                  <a:pt x="310" y="106"/>
                </a:lnTo>
                <a:lnTo>
                  <a:pt x="312" y="106"/>
                </a:lnTo>
                <a:lnTo>
                  <a:pt x="314" y="106"/>
                </a:lnTo>
                <a:lnTo>
                  <a:pt x="320" y="106"/>
                </a:lnTo>
                <a:lnTo>
                  <a:pt x="322" y="112"/>
                </a:lnTo>
                <a:lnTo>
                  <a:pt x="332" y="114"/>
                </a:lnTo>
                <a:lnTo>
                  <a:pt x="336" y="110"/>
                </a:lnTo>
                <a:lnTo>
                  <a:pt x="336" y="108"/>
                </a:lnTo>
                <a:lnTo>
                  <a:pt x="338" y="104"/>
                </a:lnTo>
                <a:lnTo>
                  <a:pt x="338" y="106"/>
                </a:lnTo>
                <a:lnTo>
                  <a:pt x="340" y="106"/>
                </a:lnTo>
                <a:lnTo>
                  <a:pt x="342" y="104"/>
                </a:lnTo>
                <a:lnTo>
                  <a:pt x="344" y="100"/>
                </a:lnTo>
                <a:lnTo>
                  <a:pt x="344" y="98"/>
                </a:lnTo>
                <a:lnTo>
                  <a:pt x="348" y="94"/>
                </a:lnTo>
                <a:lnTo>
                  <a:pt x="350" y="94"/>
                </a:lnTo>
                <a:lnTo>
                  <a:pt x="364" y="92"/>
                </a:lnTo>
                <a:lnTo>
                  <a:pt x="372" y="92"/>
                </a:lnTo>
                <a:lnTo>
                  <a:pt x="382" y="82"/>
                </a:lnTo>
                <a:lnTo>
                  <a:pt x="384" y="82"/>
                </a:lnTo>
                <a:lnTo>
                  <a:pt x="388" y="74"/>
                </a:lnTo>
                <a:lnTo>
                  <a:pt x="392" y="70"/>
                </a:lnTo>
                <a:lnTo>
                  <a:pt x="394" y="66"/>
                </a:lnTo>
                <a:lnTo>
                  <a:pt x="394" y="68"/>
                </a:lnTo>
                <a:lnTo>
                  <a:pt x="400" y="68"/>
                </a:lnTo>
                <a:lnTo>
                  <a:pt x="400" y="70"/>
                </a:lnTo>
                <a:lnTo>
                  <a:pt x="402" y="70"/>
                </a:lnTo>
                <a:lnTo>
                  <a:pt x="408" y="70"/>
                </a:lnTo>
                <a:lnTo>
                  <a:pt x="414" y="70"/>
                </a:lnTo>
                <a:lnTo>
                  <a:pt x="412" y="72"/>
                </a:lnTo>
                <a:lnTo>
                  <a:pt x="406" y="72"/>
                </a:lnTo>
                <a:lnTo>
                  <a:pt x="404" y="70"/>
                </a:lnTo>
                <a:lnTo>
                  <a:pt x="402" y="72"/>
                </a:lnTo>
                <a:lnTo>
                  <a:pt x="400" y="72"/>
                </a:lnTo>
                <a:lnTo>
                  <a:pt x="390" y="74"/>
                </a:lnTo>
                <a:lnTo>
                  <a:pt x="388" y="76"/>
                </a:lnTo>
                <a:lnTo>
                  <a:pt x="384" y="82"/>
                </a:lnTo>
                <a:lnTo>
                  <a:pt x="384" y="86"/>
                </a:lnTo>
                <a:lnTo>
                  <a:pt x="386" y="86"/>
                </a:lnTo>
                <a:lnTo>
                  <a:pt x="388" y="86"/>
                </a:lnTo>
                <a:lnTo>
                  <a:pt x="388" y="84"/>
                </a:lnTo>
                <a:lnTo>
                  <a:pt x="392" y="78"/>
                </a:lnTo>
                <a:lnTo>
                  <a:pt x="394" y="76"/>
                </a:lnTo>
                <a:lnTo>
                  <a:pt x="396" y="76"/>
                </a:lnTo>
                <a:lnTo>
                  <a:pt x="398" y="76"/>
                </a:lnTo>
                <a:lnTo>
                  <a:pt x="402" y="76"/>
                </a:lnTo>
                <a:lnTo>
                  <a:pt x="406" y="76"/>
                </a:lnTo>
                <a:lnTo>
                  <a:pt x="420" y="74"/>
                </a:lnTo>
                <a:lnTo>
                  <a:pt x="424" y="86"/>
                </a:lnTo>
                <a:lnTo>
                  <a:pt x="430" y="88"/>
                </a:lnTo>
                <a:lnTo>
                  <a:pt x="434" y="90"/>
                </a:lnTo>
                <a:lnTo>
                  <a:pt x="438" y="94"/>
                </a:lnTo>
                <a:lnTo>
                  <a:pt x="442" y="102"/>
                </a:lnTo>
                <a:lnTo>
                  <a:pt x="444" y="102"/>
                </a:lnTo>
                <a:lnTo>
                  <a:pt x="444" y="100"/>
                </a:lnTo>
                <a:lnTo>
                  <a:pt x="458" y="96"/>
                </a:lnTo>
                <a:lnTo>
                  <a:pt x="462" y="102"/>
                </a:lnTo>
                <a:lnTo>
                  <a:pt x="462" y="104"/>
                </a:lnTo>
                <a:lnTo>
                  <a:pt x="460" y="106"/>
                </a:lnTo>
                <a:lnTo>
                  <a:pt x="462" y="112"/>
                </a:lnTo>
                <a:lnTo>
                  <a:pt x="464" y="120"/>
                </a:lnTo>
                <a:lnTo>
                  <a:pt x="462" y="122"/>
                </a:lnTo>
                <a:lnTo>
                  <a:pt x="462" y="124"/>
                </a:lnTo>
                <a:lnTo>
                  <a:pt x="470" y="132"/>
                </a:lnTo>
                <a:lnTo>
                  <a:pt x="484" y="140"/>
                </a:lnTo>
                <a:lnTo>
                  <a:pt x="486" y="140"/>
                </a:lnTo>
                <a:lnTo>
                  <a:pt x="488" y="152"/>
                </a:lnTo>
                <a:lnTo>
                  <a:pt x="494" y="172"/>
                </a:lnTo>
                <a:lnTo>
                  <a:pt x="494" y="176"/>
                </a:lnTo>
                <a:lnTo>
                  <a:pt x="492" y="190"/>
                </a:lnTo>
                <a:lnTo>
                  <a:pt x="492" y="192"/>
                </a:lnTo>
                <a:lnTo>
                  <a:pt x="490" y="198"/>
                </a:lnTo>
                <a:lnTo>
                  <a:pt x="486" y="202"/>
                </a:lnTo>
                <a:lnTo>
                  <a:pt x="484" y="204"/>
                </a:lnTo>
                <a:lnTo>
                  <a:pt x="482" y="206"/>
                </a:lnTo>
                <a:lnTo>
                  <a:pt x="480" y="206"/>
                </a:lnTo>
                <a:lnTo>
                  <a:pt x="478" y="208"/>
                </a:lnTo>
                <a:lnTo>
                  <a:pt x="478" y="216"/>
                </a:lnTo>
                <a:lnTo>
                  <a:pt x="482" y="220"/>
                </a:lnTo>
                <a:lnTo>
                  <a:pt x="490" y="226"/>
                </a:lnTo>
                <a:lnTo>
                  <a:pt x="492" y="228"/>
                </a:lnTo>
                <a:lnTo>
                  <a:pt x="496" y="234"/>
                </a:lnTo>
                <a:lnTo>
                  <a:pt x="498" y="236"/>
                </a:lnTo>
                <a:lnTo>
                  <a:pt x="502" y="238"/>
                </a:lnTo>
                <a:lnTo>
                  <a:pt x="504" y="240"/>
                </a:lnTo>
                <a:lnTo>
                  <a:pt x="506" y="242"/>
                </a:lnTo>
                <a:lnTo>
                  <a:pt x="506" y="250"/>
                </a:lnTo>
                <a:lnTo>
                  <a:pt x="502" y="254"/>
                </a:lnTo>
                <a:lnTo>
                  <a:pt x="502" y="256"/>
                </a:lnTo>
                <a:lnTo>
                  <a:pt x="500" y="256"/>
                </a:lnTo>
                <a:lnTo>
                  <a:pt x="500" y="258"/>
                </a:lnTo>
                <a:lnTo>
                  <a:pt x="502" y="268"/>
                </a:lnTo>
                <a:lnTo>
                  <a:pt x="504" y="270"/>
                </a:lnTo>
                <a:lnTo>
                  <a:pt x="506" y="272"/>
                </a:lnTo>
                <a:lnTo>
                  <a:pt x="510" y="272"/>
                </a:lnTo>
                <a:lnTo>
                  <a:pt x="512" y="288"/>
                </a:lnTo>
                <a:lnTo>
                  <a:pt x="510" y="300"/>
                </a:lnTo>
                <a:lnTo>
                  <a:pt x="508" y="304"/>
                </a:lnTo>
                <a:lnTo>
                  <a:pt x="506" y="308"/>
                </a:lnTo>
                <a:lnTo>
                  <a:pt x="504" y="310"/>
                </a:lnTo>
                <a:lnTo>
                  <a:pt x="504" y="312"/>
                </a:lnTo>
                <a:lnTo>
                  <a:pt x="508" y="320"/>
                </a:lnTo>
                <a:lnTo>
                  <a:pt x="510" y="322"/>
                </a:lnTo>
                <a:lnTo>
                  <a:pt x="510" y="324"/>
                </a:lnTo>
                <a:lnTo>
                  <a:pt x="512" y="326"/>
                </a:lnTo>
                <a:lnTo>
                  <a:pt x="512" y="332"/>
                </a:lnTo>
                <a:lnTo>
                  <a:pt x="510" y="336"/>
                </a:lnTo>
                <a:lnTo>
                  <a:pt x="512" y="338"/>
                </a:lnTo>
                <a:lnTo>
                  <a:pt x="518" y="342"/>
                </a:lnTo>
                <a:lnTo>
                  <a:pt x="522" y="342"/>
                </a:lnTo>
                <a:lnTo>
                  <a:pt x="524" y="344"/>
                </a:lnTo>
                <a:lnTo>
                  <a:pt x="524" y="346"/>
                </a:lnTo>
                <a:lnTo>
                  <a:pt x="526" y="354"/>
                </a:lnTo>
                <a:lnTo>
                  <a:pt x="524" y="354"/>
                </a:lnTo>
                <a:lnTo>
                  <a:pt x="526" y="356"/>
                </a:lnTo>
                <a:lnTo>
                  <a:pt x="526" y="358"/>
                </a:lnTo>
                <a:lnTo>
                  <a:pt x="528" y="362"/>
                </a:lnTo>
                <a:lnTo>
                  <a:pt x="528" y="366"/>
                </a:lnTo>
                <a:lnTo>
                  <a:pt x="526" y="376"/>
                </a:lnTo>
                <a:lnTo>
                  <a:pt x="526" y="380"/>
                </a:lnTo>
                <a:lnTo>
                  <a:pt x="524" y="382"/>
                </a:lnTo>
                <a:lnTo>
                  <a:pt x="522" y="386"/>
                </a:lnTo>
                <a:lnTo>
                  <a:pt x="520" y="390"/>
                </a:lnTo>
                <a:lnTo>
                  <a:pt x="516" y="398"/>
                </a:lnTo>
                <a:lnTo>
                  <a:pt x="516" y="400"/>
                </a:lnTo>
                <a:lnTo>
                  <a:pt x="514" y="404"/>
                </a:lnTo>
                <a:lnTo>
                  <a:pt x="510" y="404"/>
                </a:lnTo>
                <a:lnTo>
                  <a:pt x="510" y="402"/>
                </a:lnTo>
                <a:lnTo>
                  <a:pt x="506" y="402"/>
                </a:lnTo>
                <a:lnTo>
                  <a:pt x="504" y="400"/>
                </a:lnTo>
                <a:lnTo>
                  <a:pt x="504" y="398"/>
                </a:lnTo>
                <a:lnTo>
                  <a:pt x="504" y="394"/>
                </a:lnTo>
                <a:lnTo>
                  <a:pt x="502" y="388"/>
                </a:lnTo>
                <a:lnTo>
                  <a:pt x="502" y="386"/>
                </a:lnTo>
                <a:lnTo>
                  <a:pt x="498" y="384"/>
                </a:lnTo>
                <a:lnTo>
                  <a:pt x="486" y="382"/>
                </a:lnTo>
                <a:lnTo>
                  <a:pt x="486" y="384"/>
                </a:lnTo>
                <a:lnTo>
                  <a:pt x="484" y="388"/>
                </a:lnTo>
                <a:lnTo>
                  <a:pt x="486" y="392"/>
                </a:lnTo>
                <a:lnTo>
                  <a:pt x="490" y="394"/>
                </a:lnTo>
                <a:lnTo>
                  <a:pt x="486" y="398"/>
                </a:lnTo>
                <a:lnTo>
                  <a:pt x="478" y="402"/>
                </a:lnTo>
                <a:lnTo>
                  <a:pt x="468" y="404"/>
                </a:lnTo>
                <a:lnTo>
                  <a:pt x="462" y="406"/>
                </a:lnTo>
                <a:lnTo>
                  <a:pt x="462" y="408"/>
                </a:lnTo>
                <a:lnTo>
                  <a:pt x="452" y="412"/>
                </a:lnTo>
                <a:lnTo>
                  <a:pt x="448" y="412"/>
                </a:lnTo>
                <a:lnTo>
                  <a:pt x="446" y="412"/>
                </a:lnTo>
                <a:lnTo>
                  <a:pt x="444" y="414"/>
                </a:lnTo>
                <a:lnTo>
                  <a:pt x="440" y="416"/>
                </a:lnTo>
                <a:lnTo>
                  <a:pt x="440" y="418"/>
                </a:lnTo>
                <a:lnTo>
                  <a:pt x="440" y="420"/>
                </a:lnTo>
                <a:lnTo>
                  <a:pt x="436" y="424"/>
                </a:lnTo>
                <a:lnTo>
                  <a:pt x="436" y="422"/>
                </a:lnTo>
                <a:lnTo>
                  <a:pt x="434" y="422"/>
                </a:lnTo>
                <a:lnTo>
                  <a:pt x="432" y="420"/>
                </a:lnTo>
                <a:lnTo>
                  <a:pt x="424" y="424"/>
                </a:lnTo>
                <a:lnTo>
                  <a:pt x="422" y="428"/>
                </a:lnTo>
                <a:lnTo>
                  <a:pt x="422" y="430"/>
                </a:lnTo>
                <a:lnTo>
                  <a:pt x="420" y="432"/>
                </a:lnTo>
                <a:lnTo>
                  <a:pt x="414" y="432"/>
                </a:lnTo>
                <a:lnTo>
                  <a:pt x="410" y="438"/>
                </a:lnTo>
                <a:lnTo>
                  <a:pt x="408" y="440"/>
                </a:lnTo>
                <a:lnTo>
                  <a:pt x="406" y="440"/>
                </a:lnTo>
                <a:lnTo>
                  <a:pt x="404" y="440"/>
                </a:lnTo>
                <a:lnTo>
                  <a:pt x="404" y="438"/>
                </a:lnTo>
                <a:lnTo>
                  <a:pt x="400" y="436"/>
                </a:lnTo>
                <a:lnTo>
                  <a:pt x="396" y="436"/>
                </a:lnTo>
                <a:lnTo>
                  <a:pt x="394" y="438"/>
                </a:lnTo>
                <a:lnTo>
                  <a:pt x="390" y="440"/>
                </a:lnTo>
                <a:lnTo>
                  <a:pt x="388" y="440"/>
                </a:lnTo>
                <a:lnTo>
                  <a:pt x="380" y="440"/>
                </a:lnTo>
                <a:lnTo>
                  <a:pt x="378" y="442"/>
                </a:lnTo>
                <a:lnTo>
                  <a:pt x="374" y="448"/>
                </a:lnTo>
                <a:lnTo>
                  <a:pt x="370" y="454"/>
                </a:lnTo>
                <a:lnTo>
                  <a:pt x="368" y="458"/>
                </a:lnTo>
                <a:lnTo>
                  <a:pt x="366" y="456"/>
                </a:lnTo>
                <a:lnTo>
                  <a:pt x="360" y="448"/>
                </a:lnTo>
                <a:lnTo>
                  <a:pt x="356" y="446"/>
                </a:lnTo>
                <a:lnTo>
                  <a:pt x="358" y="448"/>
                </a:lnTo>
                <a:lnTo>
                  <a:pt x="362" y="460"/>
                </a:lnTo>
                <a:lnTo>
                  <a:pt x="362" y="464"/>
                </a:lnTo>
                <a:lnTo>
                  <a:pt x="362" y="466"/>
                </a:lnTo>
                <a:lnTo>
                  <a:pt x="364" y="470"/>
                </a:lnTo>
                <a:lnTo>
                  <a:pt x="366" y="472"/>
                </a:lnTo>
                <a:lnTo>
                  <a:pt x="374" y="476"/>
                </a:lnTo>
                <a:lnTo>
                  <a:pt x="376" y="478"/>
                </a:lnTo>
                <a:lnTo>
                  <a:pt x="378" y="478"/>
                </a:lnTo>
                <a:lnTo>
                  <a:pt x="380" y="486"/>
                </a:lnTo>
                <a:lnTo>
                  <a:pt x="376" y="496"/>
                </a:lnTo>
                <a:lnTo>
                  <a:pt x="374" y="504"/>
                </a:lnTo>
                <a:lnTo>
                  <a:pt x="376" y="506"/>
                </a:lnTo>
                <a:lnTo>
                  <a:pt x="378" y="506"/>
                </a:lnTo>
                <a:lnTo>
                  <a:pt x="380" y="512"/>
                </a:lnTo>
                <a:lnTo>
                  <a:pt x="382" y="518"/>
                </a:lnTo>
                <a:lnTo>
                  <a:pt x="382" y="520"/>
                </a:lnTo>
                <a:lnTo>
                  <a:pt x="388" y="530"/>
                </a:lnTo>
                <a:lnTo>
                  <a:pt x="394" y="538"/>
                </a:lnTo>
                <a:lnTo>
                  <a:pt x="400" y="538"/>
                </a:lnTo>
                <a:lnTo>
                  <a:pt x="404" y="538"/>
                </a:lnTo>
                <a:lnTo>
                  <a:pt x="408" y="542"/>
                </a:lnTo>
                <a:lnTo>
                  <a:pt x="416" y="554"/>
                </a:lnTo>
                <a:lnTo>
                  <a:pt x="424" y="560"/>
                </a:lnTo>
                <a:lnTo>
                  <a:pt x="430" y="566"/>
                </a:lnTo>
                <a:lnTo>
                  <a:pt x="430" y="570"/>
                </a:lnTo>
                <a:lnTo>
                  <a:pt x="436" y="572"/>
                </a:lnTo>
                <a:lnTo>
                  <a:pt x="440" y="572"/>
                </a:lnTo>
                <a:lnTo>
                  <a:pt x="442" y="574"/>
                </a:lnTo>
                <a:lnTo>
                  <a:pt x="444" y="576"/>
                </a:lnTo>
                <a:lnTo>
                  <a:pt x="444" y="580"/>
                </a:lnTo>
                <a:lnTo>
                  <a:pt x="446" y="580"/>
                </a:lnTo>
                <a:lnTo>
                  <a:pt x="448" y="582"/>
                </a:lnTo>
                <a:lnTo>
                  <a:pt x="450" y="582"/>
                </a:lnTo>
                <a:lnTo>
                  <a:pt x="452" y="584"/>
                </a:lnTo>
                <a:lnTo>
                  <a:pt x="452" y="586"/>
                </a:lnTo>
                <a:lnTo>
                  <a:pt x="454" y="588"/>
                </a:lnTo>
                <a:lnTo>
                  <a:pt x="454" y="590"/>
                </a:lnTo>
                <a:lnTo>
                  <a:pt x="456" y="592"/>
                </a:lnTo>
                <a:lnTo>
                  <a:pt x="454" y="594"/>
                </a:lnTo>
                <a:lnTo>
                  <a:pt x="454" y="604"/>
                </a:lnTo>
                <a:lnTo>
                  <a:pt x="454" y="608"/>
                </a:lnTo>
                <a:lnTo>
                  <a:pt x="448" y="614"/>
                </a:lnTo>
                <a:lnTo>
                  <a:pt x="446" y="612"/>
                </a:lnTo>
                <a:lnTo>
                  <a:pt x="444" y="612"/>
                </a:lnTo>
                <a:lnTo>
                  <a:pt x="440" y="610"/>
                </a:lnTo>
                <a:lnTo>
                  <a:pt x="436" y="608"/>
                </a:lnTo>
                <a:lnTo>
                  <a:pt x="432" y="610"/>
                </a:lnTo>
                <a:lnTo>
                  <a:pt x="432" y="614"/>
                </a:lnTo>
                <a:lnTo>
                  <a:pt x="432" y="622"/>
                </a:lnTo>
                <a:lnTo>
                  <a:pt x="430" y="626"/>
                </a:lnTo>
                <a:lnTo>
                  <a:pt x="428" y="628"/>
                </a:lnTo>
                <a:lnTo>
                  <a:pt x="424" y="632"/>
                </a:lnTo>
                <a:lnTo>
                  <a:pt x="424" y="634"/>
                </a:lnTo>
                <a:lnTo>
                  <a:pt x="422" y="634"/>
                </a:lnTo>
                <a:lnTo>
                  <a:pt x="420" y="634"/>
                </a:lnTo>
                <a:lnTo>
                  <a:pt x="414" y="634"/>
                </a:lnTo>
                <a:lnTo>
                  <a:pt x="404" y="638"/>
                </a:lnTo>
                <a:lnTo>
                  <a:pt x="396" y="642"/>
                </a:lnTo>
                <a:lnTo>
                  <a:pt x="388" y="650"/>
                </a:lnTo>
                <a:lnTo>
                  <a:pt x="390" y="654"/>
                </a:lnTo>
                <a:lnTo>
                  <a:pt x="392" y="656"/>
                </a:lnTo>
                <a:lnTo>
                  <a:pt x="394" y="658"/>
                </a:lnTo>
                <a:lnTo>
                  <a:pt x="394" y="660"/>
                </a:lnTo>
                <a:lnTo>
                  <a:pt x="396" y="662"/>
                </a:lnTo>
                <a:lnTo>
                  <a:pt x="398" y="666"/>
                </a:lnTo>
                <a:lnTo>
                  <a:pt x="400" y="670"/>
                </a:lnTo>
                <a:lnTo>
                  <a:pt x="404" y="674"/>
                </a:lnTo>
                <a:lnTo>
                  <a:pt x="400" y="678"/>
                </a:lnTo>
                <a:lnTo>
                  <a:pt x="400" y="680"/>
                </a:lnTo>
                <a:lnTo>
                  <a:pt x="398" y="686"/>
                </a:lnTo>
                <a:lnTo>
                  <a:pt x="402" y="688"/>
                </a:lnTo>
                <a:lnTo>
                  <a:pt x="404" y="686"/>
                </a:lnTo>
                <a:lnTo>
                  <a:pt x="406" y="688"/>
                </a:lnTo>
                <a:lnTo>
                  <a:pt x="408" y="690"/>
                </a:lnTo>
                <a:lnTo>
                  <a:pt x="408" y="694"/>
                </a:lnTo>
                <a:lnTo>
                  <a:pt x="406" y="708"/>
                </a:lnTo>
                <a:lnTo>
                  <a:pt x="404" y="710"/>
                </a:lnTo>
                <a:lnTo>
                  <a:pt x="400" y="710"/>
                </a:lnTo>
                <a:lnTo>
                  <a:pt x="390" y="702"/>
                </a:lnTo>
                <a:lnTo>
                  <a:pt x="390" y="700"/>
                </a:lnTo>
                <a:lnTo>
                  <a:pt x="390" y="696"/>
                </a:lnTo>
                <a:lnTo>
                  <a:pt x="392" y="696"/>
                </a:lnTo>
                <a:lnTo>
                  <a:pt x="386" y="690"/>
                </a:lnTo>
                <a:lnTo>
                  <a:pt x="382" y="690"/>
                </a:lnTo>
                <a:lnTo>
                  <a:pt x="378" y="690"/>
                </a:lnTo>
                <a:lnTo>
                  <a:pt x="376" y="694"/>
                </a:lnTo>
                <a:lnTo>
                  <a:pt x="372" y="694"/>
                </a:lnTo>
                <a:lnTo>
                  <a:pt x="368" y="690"/>
                </a:lnTo>
                <a:lnTo>
                  <a:pt x="354" y="690"/>
                </a:lnTo>
                <a:lnTo>
                  <a:pt x="354" y="694"/>
                </a:lnTo>
                <a:lnTo>
                  <a:pt x="354" y="696"/>
                </a:lnTo>
                <a:lnTo>
                  <a:pt x="350" y="696"/>
                </a:lnTo>
                <a:lnTo>
                  <a:pt x="348" y="696"/>
                </a:lnTo>
                <a:lnTo>
                  <a:pt x="344" y="694"/>
                </a:lnTo>
                <a:lnTo>
                  <a:pt x="342" y="694"/>
                </a:lnTo>
                <a:lnTo>
                  <a:pt x="336" y="694"/>
                </a:lnTo>
                <a:lnTo>
                  <a:pt x="322" y="696"/>
                </a:lnTo>
                <a:lnTo>
                  <a:pt x="314" y="702"/>
                </a:lnTo>
                <a:lnTo>
                  <a:pt x="312" y="704"/>
                </a:lnTo>
                <a:lnTo>
                  <a:pt x="310" y="704"/>
                </a:lnTo>
                <a:lnTo>
                  <a:pt x="306" y="704"/>
                </a:lnTo>
                <a:lnTo>
                  <a:pt x="296" y="710"/>
                </a:lnTo>
                <a:lnTo>
                  <a:pt x="284" y="712"/>
                </a:lnTo>
                <a:lnTo>
                  <a:pt x="280" y="712"/>
                </a:lnTo>
                <a:lnTo>
                  <a:pt x="278" y="712"/>
                </a:lnTo>
                <a:lnTo>
                  <a:pt x="276" y="712"/>
                </a:lnTo>
                <a:lnTo>
                  <a:pt x="272" y="700"/>
                </a:lnTo>
                <a:lnTo>
                  <a:pt x="260" y="696"/>
                </a:lnTo>
                <a:lnTo>
                  <a:pt x="252" y="698"/>
                </a:lnTo>
                <a:lnTo>
                  <a:pt x="246" y="692"/>
                </a:lnTo>
                <a:lnTo>
                  <a:pt x="244" y="694"/>
                </a:lnTo>
                <a:lnTo>
                  <a:pt x="242" y="698"/>
                </a:lnTo>
                <a:lnTo>
                  <a:pt x="244" y="702"/>
                </a:lnTo>
                <a:lnTo>
                  <a:pt x="246" y="706"/>
                </a:lnTo>
                <a:lnTo>
                  <a:pt x="242" y="710"/>
                </a:lnTo>
                <a:lnTo>
                  <a:pt x="236" y="718"/>
                </a:lnTo>
                <a:lnTo>
                  <a:pt x="232" y="720"/>
                </a:lnTo>
                <a:lnTo>
                  <a:pt x="230" y="720"/>
                </a:lnTo>
                <a:lnTo>
                  <a:pt x="226" y="720"/>
                </a:lnTo>
                <a:lnTo>
                  <a:pt x="228" y="716"/>
                </a:lnTo>
                <a:lnTo>
                  <a:pt x="230" y="712"/>
                </a:lnTo>
                <a:lnTo>
                  <a:pt x="218" y="700"/>
                </a:lnTo>
                <a:lnTo>
                  <a:pt x="214" y="696"/>
                </a:lnTo>
                <a:lnTo>
                  <a:pt x="206" y="690"/>
                </a:lnTo>
                <a:lnTo>
                  <a:pt x="202" y="690"/>
                </a:lnTo>
                <a:lnTo>
                  <a:pt x="202" y="692"/>
                </a:lnTo>
                <a:lnTo>
                  <a:pt x="200" y="694"/>
                </a:lnTo>
                <a:lnTo>
                  <a:pt x="198" y="696"/>
                </a:lnTo>
                <a:lnTo>
                  <a:pt x="194" y="696"/>
                </a:lnTo>
                <a:lnTo>
                  <a:pt x="192" y="696"/>
                </a:lnTo>
                <a:lnTo>
                  <a:pt x="190" y="694"/>
                </a:lnTo>
                <a:lnTo>
                  <a:pt x="184" y="690"/>
                </a:lnTo>
                <a:lnTo>
                  <a:pt x="172" y="682"/>
                </a:lnTo>
                <a:lnTo>
                  <a:pt x="160" y="678"/>
                </a:lnTo>
                <a:lnTo>
                  <a:pt x="158" y="678"/>
                </a:lnTo>
                <a:lnTo>
                  <a:pt x="156" y="678"/>
                </a:lnTo>
                <a:lnTo>
                  <a:pt x="154" y="678"/>
                </a:lnTo>
                <a:lnTo>
                  <a:pt x="152" y="680"/>
                </a:lnTo>
                <a:lnTo>
                  <a:pt x="150" y="680"/>
                </a:lnTo>
                <a:lnTo>
                  <a:pt x="148" y="680"/>
                </a:lnTo>
                <a:lnTo>
                  <a:pt x="146" y="676"/>
                </a:lnTo>
                <a:lnTo>
                  <a:pt x="146" y="674"/>
                </a:lnTo>
                <a:lnTo>
                  <a:pt x="144" y="672"/>
                </a:lnTo>
                <a:lnTo>
                  <a:pt x="142" y="674"/>
                </a:lnTo>
                <a:lnTo>
                  <a:pt x="144" y="678"/>
                </a:lnTo>
                <a:lnTo>
                  <a:pt x="140" y="676"/>
                </a:lnTo>
                <a:lnTo>
                  <a:pt x="138" y="676"/>
                </a:lnTo>
                <a:lnTo>
                  <a:pt x="140" y="674"/>
                </a:lnTo>
                <a:lnTo>
                  <a:pt x="140" y="670"/>
                </a:lnTo>
                <a:lnTo>
                  <a:pt x="136" y="666"/>
                </a:lnTo>
                <a:lnTo>
                  <a:pt x="132" y="666"/>
                </a:lnTo>
                <a:lnTo>
                  <a:pt x="130" y="664"/>
                </a:lnTo>
                <a:lnTo>
                  <a:pt x="124" y="668"/>
                </a:lnTo>
                <a:lnTo>
                  <a:pt x="120" y="674"/>
                </a:lnTo>
                <a:lnTo>
                  <a:pt x="120" y="676"/>
                </a:lnTo>
                <a:lnTo>
                  <a:pt x="124" y="678"/>
                </a:lnTo>
                <a:lnTo>
                  <a:pt x="126" y="678"/>
                </a:lnTo>
                <a:lnTo>
                  <a:pt x="128" y="678"/>
                </a:lnTo>
                <a:lnTo>
                  <a:pt x="130" y="678"/>
                </a:lnTo>
                <a:lnTo>
                  <a:pt x="132" y="678"/>
                </a:lnTo>
                <a:lnTo>
                  <a:pt x="130" y="684"/>
                </a:lnTo>
                <a:lnTo>
                  <a:pt x="128" y="684"/>
                </a:lnTo>
                <a:lnTo>
                  <a:pt x="128" y="682"/>
                </a:lnTo>
                <a:lnTo>
                  <a:pt x="126" y="680"/>
                </a:lnTo>
                <a:lnTo>
                  <a:pt x="122" y="682"/>
                </a:lnTo>
                <a:lnTo>
                  <a:pt x="120" y="686"/>
                </a:lnTo>
                <a:lnTo>
                  <a:pt x="118" y="684"/>
                </a:lnTo>
                <a:lnTo>
                  <a:pt x="112" y="682"/>
                </a:lnTo>
                <a:lnTo>
                  <a:pt x="108" y="680"/>
                </a:lnTo>
                <a:lnTo>
                  <a:pt x="106" y="680"/>
                </a:lnTo>
                <a:lnTo>
                  <a:pt x="98" y="684"/>
                </a:lnTo>
                <a:lnTo>
                  <a:pt x="94" y="684"/>
                </a:lnTo>
                <a:lnTo>
                  <a:pt x="88" y="684"/>
                </a:lnTo>
                <a:lnTo>
                  <a:pt x="78" y="684"/>
                </a:lnTo>
                <a:lnTo>
                  <a:pt x="74" y="684"/>
                </a:lnTo>
                <a:lnTo>
                  <a:pt x="72" y="682"/>
                </a:lnTo>
                <a:lnTo>
                  <a:pt x="70" y="682"/>
                </a:lnTo>
                <a:lnTo>
                  <a:pt x="72" y="680"/>
                </a:lnTo>
                <a:lnTo>
                  <a:pt x="74" y="678"/>
                </a:lnTo>
                <a:lnTo>
                  <a:pt x="70" y="678"/>
                </a:lnTo>
                <a:lnTo>
                  <a:pt x="68" y="680"/>
                </a:lnTo>
                <a:lnTo>
                  <a:pt x="68" y="678"/>
                </a:lnTo>
                <a:lnTo>
                  <a:pt x="66" y="674"/>
                </a:lnTo>
                <a:lnTo>
                  <a:pt x="64" y="672"/>
                </a:lnTo>
                <a:lnTo>
                  <a:pt x="64" y="670"/>
                </a:lnTo>
                <a:lnTo>
                  <a:pt x="66" y="660"/>
                </a:lnTo>
                <a:lnTo>
                  <a:pt x="68" y="654"/>
                </a:lnTo>
                <a:lnTo>
                  <a:pt x="70" y="650"/>
                </a:lnTo>
                <a:lnTo>
                  <a:pt x="74" y="644"/>
                </a:lnTo>
                <a:lnTo>
                  <a:pt x="74" y="642"/>
                </a:lnTo>
                <a:lnTo>
                  <a:pt x="70" y="640"/>
                </a:lnTo>
                <a:lnTo>
                  <a:pt x="70" y="638"/>
                </a:lnTo>
                <a:lnTo>
                  <a:pt x="70" y="634"/>
                </a:lnTo>
                <a:lnTo>
                  <a:pt x="72" y="630"/>
                </a:lnTo>
                <a:lnTo>
                  <a:pt x="74" y="626"/>
                </a:lnTo>
                <a:lnTo>
                  <a:pt x="80" y="616"/>
                </a:lnTo>
                <a:lnTo>
                  <a:pt x="84" y="612"/>
                </a:lnTo>
                <a:lnTo>
                  <a:pt x="84" y="608"/>
                </a:lnTo>
                <a:lnTo>
                  <a:pt x="84" y="606"/>
                </a:lnTo>
                <a:lnTo>
                  <a:pt x="84" y="604"/>
                </a:lnTo>
                <a:lnTo>
                  <a:pt x="90" y="590"/>
                </a:lnTo>
                <a:lnTo>
                  <a:pt x="94" y="582"/>
                </a:lnTo>
                <a:lnTo>
                  <a:pt x="100" y="578"/>
                </a:lnTo>
                <a:lnTo>
                  <a:pt x="108" y="572"/>
                </a:lnTo>
                <a:lnTo>
                  <a:pt x="110" y="570"/>
                </a:lnTo>
                <a:lnTo>
                  <a:pt x="110" y="568"/>
                </a:lnTo>
                <a:lnTo>
                  <a:pt x="112" y="566"/>
                </a:lnTo>
                <a:lnTo>
                  <a:pt x="112" y="564"/>
                </a:lnTo>
                <a:lnTo>
                  <a:pt x="116" y="558"/>
                </a:lnTo>
                <a:lnTo>
                  <a:pt x="118" y="556"/>
                </a:lnTo>
                <a:lnTo>
                  <a:pt x="114" y="556"/>
                </a:lnTo>
                <a:lnTo>
                  <a:pt x="108" y="552"/>
                </a:lnTo>
                <a:lnTo>
                  <a:pt x="102" y="548"/>
                </a:lnTo>
                <a:lnTo>
                  <a:pt x="94" y="546"/>
                </a:lnTo>
                <a:lnTo>
                  <a:pt x="90" y="546"/>
                </a:lnTo>
                <a:lnTo>
                  <a:pt x="86" y="546"/>
                </a:lnTo>
                <a:lnTo>
                  <a:pt x="84" y="546"/>
                </a:lnTo>
                <a:lnTo>
                  <a:pt x="82" y="544"/>
                </a:lnTo>
                <a:lnTo>
                  <a:pt x="76" y="534"/>
                </a:lnTo>
                <a:lnTo>
                  <a:pt x="72" y="534"/>
                </a:lnTo>
                <a:lnTo>
                  <a:pt x="70" y="534"/>
                </a:lnTo>
                <a:lnTo>
                  <a:pt x="68" y="53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89" name="Freeform 2629"/>
          <p:cNvSpPr>
            <a:spLocks/>
          </p:cNvSpPr>
          <p:nvPr/>
        </p:nvSpPr>
        <p:spPr bwMode="auto">
          <a:xfrm>
            <a:off x="5123444" y="3871732"/>
            <a:ext cx="50213" cy="62027"/>
          </a:xfrm>
          <a:custGeom>
            <a:avLst/>
            <a:gdLst/>
            <a:ahLst/>
            <a:cxnLst>
              <a:cxn ang="0">
                <a:pos x="8" y="38"/>
              </a:cxn>
              <a:cxn ang="0">
                <a:pos x="0" y="32"/>
              </a:cxn>
              <a:cxn ang="0">
                <a:pos x="4" y="28"/>
              </a:cxn>
              <a:cxn ang="0">
                <a:pos x="8" y="28"/>
              </a:cxn>
              <a:cxn ang="0">
                <a:pos x="6" y="24"/>
              </a:cxn>
              <a:cxn ang="0">
                <a:pos x="8" y="20"/>
              </a:cxn>
              <a:cxn ang="0">
                <a:pos x="4" y="16"/>
              </a:cxn>
              <a:cxn ang="0">
                <a:pos x="8" y="12"/>
              </a:cxn>
              <a:cxn ang="0">
                <a:pos x="14" y="10"/>
              </a:cxn>
              <a:cxn ang="0">
                <a:pos x="16" y="12"/>
              </a:cxn>
              <a:cxn ang="0">
                <a:pos x="18" y="14"/>
              </a:cxn>
              <a:cxn ang="0">
                <a:pos x="22" y="18"/>
              </a:cxn>
              <a:cxn ang="0">
                <a:pos x="22" y="12"/>
              </a:cxn>
              <a:cxn ang="0">
                <a:pos x="18" y="10"/>
              </a:cxn>
              <a:cxn ang="0">
                <a:pos x="16" y="6"/>
              </a:cxn>
              <a:cxn ang="0">
                <a:pos x="12" y="8"/>
              </a:cxn>
              <a:cxn ang="0">
                <a:pos x="10" y="10"/>
              </a:cxn>
              <a:cxn ang="0">
                <a:pos x="8" y="4"/>
              </a:cxn>
              <a:cxn ang="0">
                <a:pos x="10" y="2"/>
              </a:cxn>
              <a:cxn ang="0">
                <a:pos x="12" y="0"/>
              </a:cxn>
              <a:cxn ang="0">
                <a:pos x="18" y="0"/>
              </a:cxn>
              <a:cxn ang="0">
                <a:pos x="18" y="2"/>
              </a:cxn>
              <a:cxn ang="0">
                <a:pos x="16" y="8"/>
              </a:cxn>
              <a:cxn ang="0">
                <a:pos x="20" y="10"/>
              </a:cxn>
              <a:cxn ang="0">
                <a:pos x="28" y="8"/>
              </a:cxn>
              <a:cxn ang="0">
                <a:pos x="32" y="12"/>
              </a:cxn>
              <a:cxn ang="0">
                <a:pos x="30" y="16"/>
              </a:cxn>
              <a:cxn ang="0">
                <a:pos x="26" y="20"/>
              </a:cxn>
              <a:cxn ang="0">
                <a:pos x="28" y="26"/>
              </a:cxn>
              <a:cxn ang="0">
                <a:pos x="32" y="28"/>
              </a:cxn>
              <a:cxn ang="0">
                <a:pos x="34" y="30"/>
              </a:cxn>
              <a:cxn ang="0">
                <a:pos x="34" y="38"/>
              </a:cxn>
              <a:cxn ang="0">
                <a:pos x="34" y="36"/>
              </a:cxn>
              <a:cxn ang="0">
                <a:pos x="32" y="30"/>
              </a:cxn>
              <a:cxn ang="0">
                <a:pos x="20" y="34"/>
              </a:cxn>
              <a:cxn ang="0">
                <a:pos x="16" y="38"/>
              </a:cxn>
              <a:cxn ang="0">
                <a:pos x="18" y="42"/>
              </a:cxn>
              <a:cxn ang="0">
                <a:pos x="12" y="40"/>
              </a:cxn>
            </a:cxnLst>
            <a:rect l="0" t="0" r="r" b="b"/>
            <a:pathLst>
              <a:path w="34" h="42">
                <a:moveTo>
                  <a:pt x="8" y="40"/>
                </a:moveTo>
                <a:lnTo>
                  <a:pt x="8" y="38"/>
                </a:lnTo>
                <a:lnTo>
                  <a:pt x="4" y="34"/>
                </a:lnTo>
                <a:lnTo>
                  <a:pt x="0" y="32"/>
                </a:lnTo>
                <a:lnTo>
                  <a:pt x="2" y="28"/>
                </a:lnTo>
                <a:lnTo>
                  <a:pt x="4" y="28"/>
                </a:lnTo>
                <a:lnTo>
                  <a:pt x="6" y="28"/>
                </a:lnTo>
                <a:lnTo>
                  <a:pt x="8" y="28"/>
                </a:lnTo>
                <a:lnTo>
                  <a:pt x="8" y="26"/>
                </a:lnTo>
                <a:lnTo>
                  <a:pt x="6" y="24"/>
                </a:lnTo>
                <a:lnTo>
                  <a:pt x="4" y="22"/>
                </a:lnTo>
                <a:lnTo>
                  <a:pt x="8" y="20"/>
                </a:lnTo>
                <a:lnTo>
                  <a:pt x="8" y="18"/>
                </a:lnTo>
                <a:lnTo>
                  <a:pt x="4" y="16"/>
                </a:lnTo>
                <a:lnTo>
                  <a:pt x="4" y="12"/>
                </a:lnTo>
                <a:lnTo>
                  <a:pt x="8" y="12"/>
                </a:lnTo>
                <a:lnTo>
                  <a:pt x="12" y="12"/>
                </a:lnTo>
                <a:lnTo>
                  <a:pt x="14" y="10"/>
                </a:lnTo>
                <a:lnTo>
                  <a:pt x="16" y="10"/>
                </a:lnTo>
                <a:lnTo>
                  <a:pt x="16" y="12"/>
                </a:lnTo>
                <a:lnTo>
                  <a:pt x="16" y="14"/>
                </a:lnTo>
                <a:lnTo>
                  <a:pt x="18" y="14"/>
                </a:lnTo>
                <a:lnTo>
                  <a:pt x="20" y="18"/>
                </a:lnTo>
                <a:lnTo>
                  <a:pt x="22" y="18"/>
                </a:lnTo>
                <a:lnTo>
                  <a:pt x="22" y="16"/>
                </a:lnTo>
                <a:lnTo>
                  <a:pt x="22" y="12"/>
                </a:lnTo>
                <a:lnTo>
                  <a:pt x="20" y="12"/>
                </a:lnTo>
                <a:lnTo>
                  <a:pt x="18" y="10"/>
                </a:lnTo>
                <a:lnTo>
                  <a:pt x="16" y="10"/>
                </a:lnTo>
                <a:lnTo>
                  <a:pt x="16" y="6"/>
                </a:lnTo>
                <a:lnTo>
                  <a:pt x="14" y="8"/>
                </a:lnTo>
                <a:lnTo>
                  <a:pt x="12" y="8"/>
                </a:lnTo>
                <a:lnTo>
                  <a:pt x="12" y="10"/>
                </a:lnTo>
                <a:lnTo>
                  <a:pt x="10" y="10"/>
                </a:lnTo>
                <a:lnTo>
                  <a:pt x="8" y="12"/>
                </a:lnTo>
                <a:lnTo>
                  <a:pt x="8" y="4"/>
                </a:lnTo>
                <a:lnTo>
                  <a:pt x="8" y="2"/>
                </a:lnTo>
                <a:lnTo>
                  <a:pt x="10" y="2"/>
                </a:lnTo>
                <a:lnTo>
                  <a:pt x="10" y="0"/>
                </a:lnTo>
                <a:lnTo>
                  <a:pt x="12" y="0"/>
                </a:lnTo>
                <a:lnTo>
                  <a:pt x="16" y="0"/>
                </a:lnTo>
                <a:lnTo>
                  <a:pt x="18" y="0"/>
                </a:lnTo>
                <a:lnTo>
                  <a:pt x="20" y="0"/>
                </a:lnTo>
                <a:lnTo>
                  <a:pt x="18" y="2"/>
                </a:lnTo>
                <a:lnTo>
                  <a:pt x="16" y="4"/>
                </a:lnTo>
                <a:lnTo>
                  <a:pt x="16" y="8"/>
                </a:lnTo>
                <a:lnTo>
                  <a:pt x="18" y="10"/>
                </a:lnTo>
                <a:lnTo>
                  <a:pt x="20" y="10"/>
                </a:lnTo>
                <a:lnTo>
                  <a:pt x="22" y="10"/>
                </a:lnTo>
                <a:lnTo>
                  <a:pt x="28" y="8"/>
                </a:lnTo>
                <a:lnTo>
                  <a:pt x="30" y="8"/>
                </a:lnTo>
                <a:lnTo>
                  <a:pt x="32" y="12"/>
                </a:lnTo>
                <a:lnTo>
                  <a:pt x="32" y="14"/>
                </a:lnTo>
                <a:lnTo>
                  <a:pt x="30" y="16"/>
                </a:lnTo>
                <a:lnTo>
                  <a:pt x="26" y="18"/>
                </a:lnTo>
                <a:lnTo>
                  <a:pt x="26" y="20"/>
                </a:lnTo>
                <a:lnTo>
                  <a:pt x="26" y="22"/>
                </a:lnTo>
                <a:lnTo>
                  <a:pt x="28" y="26"/>
                </a:lnTo>
                <a:lnTo>
                  <a:pt x="30" y="26"/>
                </a:lnTo>
                <a:lnTo>
                  <a:pt x="32" y="28"/>
                </a:lnTo>
                <a:lnTo>
                  <a:pt x="34" y="28"/>
                </a:lnTo>
                <a:lnTo>
                  <a:pt x="34" y="30"/>
                </a:lnTo>
                <a:lnTo>
                  <a:pt x="34" y="34"/>
                </a:lnTo>
                <a:lnTo>
                  <a:pt x="34" y="38"/>
                </a:lnTo>
                <a:lnTo>
                  <a:pt x="32" y="38"/>
                </a:lnTo>
                <a:lnTo>
                  <a:pt x="34" y="36"/>
                </a:lnTo>
                <a:lnTo>
                  <a:pt x="34" y="34"/>
                </a:lnTo>
                <a:lnTo>
                  <a:pt x="32" y="30"/>
                </a:lnTo>
                <a:lnTo>
                  <a:pt x="22" y="32"/>
                </a:lnTo>
                <a:lnTo>
                  <a:pt x="20" y="34"/>
                </a:lnTo>
                <a:lnTo>
                  <a:pt x="14" y="38"/>
                </a:lnTo>
                <a:lnTo>
                  <a:pt x="16" y="38"/>
                </a:lnTo>
                <a:lnTo>
                  <a:pt x="18" y="40"/>
                </a:lnTo>
                <a:lnTo>
                  <a:pt x="18" y="42"/>
                </a:lnTo>
                <a:lnTo>
                  <a:pt x="16" y="42"/>
                </a:lnTo>
                <a:lnTo>
                  <a:pt x="12" y="40"/>
                </a:lnTo>
                <a:lnTo>
                  <a:pt x="8" y="4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0" name="Freeform 2630"/>
          <p:cNvSpPr>
            <a:spLocks/>
          </p:cNvSpPr>
          <p:nvPr/>
        </p:nvSpPr>
        <p:spPr bwMode="auto">
          <a:xfrm>
            <a:off x="4958038" y="3883547"/>
            <a:ext cx="23629" cy="20676"/>
          </a:xfrm>
          <a:custGeom>
            <a:avLst/>
            <a:gdLst/>
            <a:ahLst/>
            <a:cxnLst>
              <a:cxn ang="0">
                <a:pos x="14" y="10"/>
              </a:cxn>
              <a:cxn ang="0">
                <a:pos x="16" y="12"/>
              </a:cxn>
              <a:cxn ang="0">
                <a:pos x="16" y="14"/>
              </a:cxn>
              <a:cxn ang="0">
                <a:pos x="8" y="14"/>
              </a:cxn>
              <a:cxn ang="0">
                <a:pos x="6" y="14"/>
              </a:cxn>
              <a:cxn ang="0">
                <a:pos x="0" y="10"/>
              </a:cxn>
              <a:cxn ang="0">
                <a:pos x="0" y="8"/>
              </a:cxn>
              <a:cxn ang="0">
                <a:pos x="0" y="6"/>
              </a:cxn>
              <a:cxn ang="0">
                <a:pos x="2" y="4"/>
              </a:cxn>
              <a:cxn ang="0">
                <a:pos x="2" y="2"/>
              </a:cxn>
              <a:cxn ang="0">
                <a:pos x="4" y="0"/>
              </a:cxn>
              <a:cxn ang="0">
                <a:pos x="10" y="2"/>
              </a:cxn>
              <a:cxn ang="0">
                <a:pos x="12" y="4"/>
              </a:cxn>
              <a:cxn ang="0">
                <a:pos x="14" y="6"/>
              </a:cxn>
              <a:cxn ang="0">
                <a:pos x="14" y="10"/>
              </a:cxn>
            </a:cxnLst>
            <a:rect l="0" t="0" r="r" b="b"/>
            <a:pathLst>
              <a:path w="16" h="14">
                <a:moveTo>
                  <a:pt x="14" y="10"/>
                </a:moveTo>
                <a:lnTo>
                  <a:pt x="16" y="12"/>
                </a:lnTo>
                <a:lnTo>
                  <a:pt x="16" y="14"/>
                </a:lnTo>
                <a:lnTo>
                  <a:pt x="8" y="14"/>
                </a:lnTo>
                <a:lnTo>
                  <a:pt x="6" y="14"/>
                </a:lnTo>
                <a:lnTo>
                  <a:pt x="0" y="10"/>
                </a:lnTo>
                <a:lnTo>
                  <a:pt x="0" y="8"/>
                </a:lnTo>
                <a:lnTo>
                  <a:pt x="0" y="6"/>
                </a:lnTo>
                <a:lnTo>
                  <a:pt x="2" y="4"/>
                </a:lnTo>
                <a:lnTo>
                  <a:pt x="2" y="2"/>
                </a:lnTo>
                <a:lnTo>
                  <a:pt x="4" y="0"/>
                </a:lnTo>
                <a:lnTo>
                  <a:pt x="10" y="2"/>
                </a:lnTo>
                <a:lnTo>
                  <a:pt x="12" y="4"/>
                </a:lnTo>
                <a:lnTo>
                  <a:pt x="14" y="6"/>
                </a:lnTo>
                <a:lnTo>
                  <a:pt x="14" y="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1" name="Freeform 2631"/>
          <p:cNvSpPr>
            <a:spLocks/>
          </p:cNvSpPr>
          <p:nvPr/>
        </p:nvSpPr>
        <p:spPr bwMode="auto">
          <a:xfrm>
            <a:off x="5176610" y="3942620"/>
            <a:ext cx="35444" cy="44305"/>
          </a:xfrm>
          <a:custGeom>
            <a:avLst/>
            <a:gdLst/>
            <a:ahLst/>
            <a:cxnLst>
              <a:cxn ang="0">
                <a:pos x="24" y="22"/>
              </a:cxn>
              <a:cxn ang="0">
                <a:pos x="24" y="24"/>
              </a:cxn>
              <a:cxn ang="0">
                <a:pos x="24" y="28"/>
              </a:cxn>
              <a:cxn ang="0">
                <a:pos x="22" y="26"/>
              </a:cxn>
              <a:cxn ang="0">
                <a:pos x="16" y="26"/>
              </a:cxn>
              <a:cxn ang="0">
                <a:pos x="14" y="26"/>
              </a:cxn>
              <a:cxn ang="0">
                <a:pos x="12" y="30"/>
              </a:cxn>
              <a:cxn ang="0">
                <a:pos x="10" y="30"/>
              </a:cxn>
              <a:cxn ang="0">
                <a:pos x="6" y="30"/>
              </a:cxn>
              <a:cxn ang="0">
                <a:pos x="2" y="28"/>
              </a:cxn>
              <a:cxn ang="0">
                <a:pos x="6" y="26"/>
              </a:cxn>
              <a:cxn ang="0">
                <a:pos x="8" y="24"/>
              </a:cxn>
              <a:cxn ang="0">
                <a:pos x="10" y="22"/>
              </a:cxn>
              <a:cxn ang="0">
                <a:pos x="10" y="20"/>
              </a:cxn>
              <a:cxn ang="0">
                <a:pos x="10" y="18"/>
              </a:cxn>
              <a:cxn ang="0">
                <a:pos x="12" y="20"/>
              </a:cxn>
              <a:cxn ang="0">
                <a:pos x="14" y="20"/>
              </a:cxn>
              <a:cxn ang="0">
                <a:pos x="14" y="16"/>
              </a:cxn>
              <a:cxn ang="0">
                <a:pos x="14" y="14"/>
              </a:cxn>
              <a:cxn ang="0">
                <a:pos x="12" y="12"/>
              </a:cxn>
              <a:cxn ang="0">
                <a:pos x="10" y="10"/>
              </a:cxn>
              <a:cxn ang="0">
                <a:pos x="8" y="10"/>
              </a:cxn>
              <a:cxn ang="0">
                <a:pos x="8" y="12"/>
              </a:cxn>
              <a:cxn ang="0">
                <a:pos x="6" y="14"/>
              </a:cxn>
              <a:cxn ang="0">
                <a:pos x="4" y="16"/>
              </a:cxn>
              <a:cxn ang="0">
                <a:pos x="2" y="12"/>
              </a:cxn>
              <a:cxn ang="0">
                <a:pos x="2" y="8"/>
              </a:cxn>
              <a:cxn ang="0">
                <a:pos x="2" y="6"/>
              </a:cxn>
              <a:cxn ang="0">
                <a:pos x="0" y="2"/>
              </a:cxn>
              <a:cxn ang="0">
                <a:pos x="0" y="0"/>
              </a:cxn>
              <a:cxn ang="0">
                <a:pos x="2" y="0"/>
              </a:cxn>
              <a:cxn ang="0">
                <a:pos x="2" y="2"/>
              </a:cxn>
              <a:cxn ang="0">
                <a:pos x="6" y="6"/>
              </a:cxn>
              <a:cxn ang="0">
                <a:pos x="8" y="8"/>
              </a:cxn>
              <a:cxn ang="0">
                <a:pos x="10" y="8"/>
              </a:cxn>
              <a:cxn ang="0">
                <a:pos x="12" y="10"/>
              </a:cxn>
              <a:cxn ang="0">
                <a:pos x="18" y="16"/>
              </a:cxn>
              <a:cxn ang="0">
                <a:pos x="22" y="20"/>
              </a:cxn>
              <a:cxn ang="0">
                <a:pos x="24" y="22"/>
              </a:cxn>
            </a:cxnLst>
            <a:rect l="0" t="0" r="r" b="b"/>
            <a:pathLst>
              <a:path w="24" h="30">
                <a:moveTo>
                  <a:pt x="24" y="22"/>
                </a:moveTo>
                <a:lnTo>
                  <a:pt x="24" y="24"/>
                </a:lnTo>
                <a:lnTo>
                  <a:pt x="24" y="28"/>
                </a:lnTo>
                <a:lnTo>
                  <a:pt x="22" y="26"/>
                </a:lnTo>
                <a:lnTo>
                  <a:pt x="16" y="26"/>
                </a:lnTo>
                <a:lnTo>
                  <a:pt x="14" y="26"/>
                </a:lnTo>
                <a:lnTo>
                  <a:pt x="12" y="30"/>
                </a:lnTo>
                <a:lnTo>
                  <a:pt x="10" y="30"/>
                </a:lnTo>
                <a:lnTo>
                  <a:pt x="6" y="30"/>
                </a:lnTo>
                <a:lnTo>
                  <a:pt x="2" y="28"/>
                </a:lnTo>
                <a:lnTo>
                  <a:pt x="6" y="26"/>
                </a:lnTo>
                <a:lnTo>
                  <a:pt x="8" y="24"/>
                </a:lnTo>
                <a:lnTo>
                  <a:pt x="10" y="22"/>
                </a:lnTo>
                <a:lnTo>
                  <a:pt x="10" y="20"/>
                </a:lnTo>
                <a:lnTo>
                  <a:pt x="10" y="18"/>
                </a:lnTo>
                <a:lnTo>
                  <a:pt x="12" y="20"/>
                </a:lnTo>
                <a:lnTo>
                  <a:pt x="14" y="20"/>
                </a:lnTo>
                <a:lnTo>
                  <a:pt x="14" y="16"/>
                </a:lnTo>
                <a:lnTo>
                  <a:pt x="14" y="14"/>
                </a:lnTo>
                <a:lnTo>
                  <a:pt x="12" y="12"/>
                </a:lnTo>
                <a:lnTo>
                  <a:pt x="10" y="10"/>
                </a:lnTo>
                <a:lnTo>
                  <a:pt x="8" y="10"/>
                </a:lnTo>
                <a:lnTo>
                  <a:pt x="8" y="12"/>
                </a:lnTo>
                <a:lnTo>
                  <a:pt x="6" y="14"/>
                </a:lnTo>
                <a:lnTo>
                  <a:pt x="4" y="16"/>
                </a:lnTo>
                <a:lnTo>
                  <a:pt x="2" y="12"/>
                </a:lnTo>
                <a:lnTo>
                  <a:pt x="2" y="8"/>
                </a:lnTo>
                <a:lnTo>
                  <a:pt x="2" y="6"/>
                </a:lnTo>
                <a:lnTo>
                  <a:pt x="0" y="2"/>
                </a:lnTo>
                <a:lnTo>
                  <a:pt x="0" y="0"/>
                </a:lnTo>
                <a:lnTo>
                  <a:pt x="2" y="0"/>
                </a:lnTo>
                <a:lnTo>
                  <a:pt x="2" y="2"/>
                </a:lnTo>
                <a:lnTo>
                  <a:pt x="6" y="6"/>
                </a:lnTo>
                <a:lnTo>
                  <a:pt x="8" y="8"/>
                </a:lnTo>
                <a:lnTo>
                  <a:pt x="10" y="8"/>
                </a:lnTo>
                <a:lnTo>
                  <a:pt x="12" y="10"/>
                </a:lnTo>
                <a:lnTo>
                  <a:pt x="18" y="16"/>
                </a:lnTo>
                <a:lnTo>
                  <a:pt x="22" y="20"/>
                </a:lnTo>
                <a:lnTo>
                  <a:pt x="24" y="2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2" name="Freeform 2633"/>
          <p:cNvSpPr>
            <a:spLocks/>
          </p:cNvSpPr>
          <p:nvPr/>
        </p:nvSpPr>
        <p:spPr bwMode="auto">
          <a:xfrm>
            <a:off x="5439486" y="4551075"/>
            <a:ext cx="505078" cy="256969"/>
          </a:xfrm>
          <a:custGeom>
            <a:avLst/>
            <a:gdLst/>
            <a:ahLst/>
            <a:cxnLst>
              <a:cxn ang="0">
                <a:pos x="128" y="144"/>
              </a:cxn>
              <a:cxn ang="0">
                <a:pos x="120" y="158"/>
              </a:cxn>
              <a:cxn ang="0">
                <a:pos x="126" y="166"/>
              </a:cxn>
              <a:cxn ang="0">
                <a:pos x="116" y="170"/>
              </a:cxn>
              <a:cxn ang="0">
                <a:pos x="108" y="172"/>
              </a:cxn>
              <a:cxn ang="0">
                <a:pos x="94" y="174"/>
              </a:cxn>
              <a:cxn ang="0">
                <a:pos x="78" y="174"/>
              </a:cxn>
              <a:cxn ang="0">
                <a:pos x="60" y="174"/>
              </a:cxn>
              <a:cxn ang="0">
                <a:pos x="38" y="160"/>
              </a:cxn>
              <a:cxn ang="0">
                <a:pos x="28" y="152"/>
              </a:cxn>
              <a:cxn ang="0">
                <a:pos x="18" y="150"/>
              </a:cxn>
              <a:cxn ang="0">
                <a:pos x="10" y="138"/>
              </a:cxn>
              <a:cxn ang="0">
                <a:pos x="6" y="128"/>
              </a:cxn>
              <a:cxn ang="0">
                <a:pos x="4" y="106"/>
              </a:cxn>
              <a:cxn ang="0">
                <a:pos x="8" y="90"/>
              </a:cxn>
              <a:cxn ang="0">
                <a:pos x="20" y="72"/>
              </a:cxn>
              <a:cxn ang="0">
                <a:pos x="34" y="76"/>
              </a:cxn>
              <a:cxn ang="0">
                <a:pos x="52" y="74"/>
              </a:cxn>
              <a:cxn ang="0">
                <a:pos x="74" y="56"/>
              </a:cxn>
              <a:cxn ang="0">
                <a:pos x="78" y="44"/>
              </a:cxn>
              <a:cxn ang="0">
                <a:pos x="84" y="30"/>
              </a:cxn>
              <a:cxn ang="0">
                <a:pos x="102" y="12"/>
              </a:cxn>
              <a:cxn ang="0">
                <a:pos x="126" y="12"/>
              </a:cxn>
              <a:cxn ang="0">
                <a:pos x="136" y="20"/>
              </a:cxn>
              <a:cxn ang="0">
                <a:pos x="144" y="8"/>
              </a:cxn>
              <a:cxn ang="0">
                <a:pos x="158" y="6"/>
              </a:cxn>
              <a:cxn ang="0">
                <a:pos x="174" y="18"/>
              </a:cxn>
              <a:cxn ang="0">
                <a:pos x="174" y="32"/>
              </a:cxn>
              <a:cxn ang="0">
                <a:pos x="180" y="36"/>
              </a:cxn>
              <a:cxn ang="0">
                <a:pos x="188" y="34"/>
              </a:cxn>
              <a:cxn ang="0">
                <a:pos x="194" y="34"/>
              </a:cxn>
              <a:cxn ang="0">
                <a:pos x="206" y="18"/>
              </a:cxn>
              <a:cxn ang="0">
                <a:pos x="236" y="20"/>
              </a:cxn>
              <a:cxn ang="0">
                <a:pos x="250" y="16"/>
              </a:cxn>
              <a:cxn ang="0">
                <a:pos x="270" y="8"/>
              </a:cxn>
              <a:cxn ang="0">
                <a:pos x="278" y="8"/>
              </a:cxn>
              <a:cxn ang="0">
                <a:pos x="308" y="18"/>
              </a:cxn>
              <a:cxn ang="0">
                <a:pos x="328" y="30"/>
              </a:cxn>
              <a:cxn ang="0">
                <a:pos x="342" y="42"/>
              </a:cxn>
              <a:cxn ang="0">
                <a:pos x="332" y="72"/>
              </a:cxn>
              <a:cxn ang="0">
                <a:pos x="324" y="98"/>
              </a:cxn>
              <a:cxn ang="0">
                <a:pos x="312" y="102"/>
              </a:cxn>
              <a:cxn ang="0">
                <a:pos x="298" y="104"/>
              </a:cxn>
              <a:cxn ang="0">
                <a:pos x="280" y="86"/>
              </a:cxn>
              <a:cxn ang="0">
                <a:pos x="258" y="94"/>
              </a:cxn>
              <a:cxn ang="0">
                <a:pos x="242" y="88"/>
              </a:cxn>
              <a:cxn ang="0">
                <a:pos x="222" y="96"/>
              </a:cxn>
              <a:cxn ang="0">
                <a:pos x="218" y="106"/>
              </a:cxn>
              <a:cxn ang="0">
                <a:pos x="214" y="120"/>
              </a:cxn>
              <a:cxn ang="0">
                <a:pos x="200" y="126"/>
              </a:cxn>
              <a:cxn ang="0">
                <a:pos x="190" y="134"/>
              </a:cxn>
              <a:cxn ang="0">
                <a:pos x="172" y="126"/>
              </a:cxn>
              <a:cxn ang="0">
                <a:pos x="162" y="138"/>
              </a:cxn>
              <a:cxn ang="0">
                <a:pos x="134" y="142"/>
              </a:cxn>
            </a:cxnLst>
            <a:rect l="0" t="0" r="r" b="b"/>
            <a:pathLst>
              <a:path w="342" h="174">
                <a:moveTo>
                  <a:pt x="134" y="142"/>
                </a:moveTo>
                <a:lnTo>
                  <a:pt x="132" y="142"/>
                </a:lnTo>
                <a:lnTo>
                  <a:pt x="132" y="144"/>
                </a:lnTo>
                <a:lnTo>
                  <a:pt x="128" y="144"/>
                </a:lnTo>
                <a:lnTo>
                  <a:pt x="124" y="144"/>
                </a:lnTo>
                <a:lnTo>
                  <a:pt x="124" y="146"/>
                </a:lnTo>
                <a:lnTo>
                  <a:pt x="120" y="152"/>
                </a:lnTo>
                <a:lnTo>
                  <a:pt x="120" y="158"/>
                </a:lnTo>
                <a:lnTo>
                  <a:pt x="122" y="162"/>
                </a:lnTo>
                <a:lnTo>
                  <a:pt x="124" y="162"/>
                </a:lnTo>
                <a:lnTo>
                  <a:pt x="126" y="164"/>
                </a:lnTo>
                <a:lnTo>
                  <a:pt x="126" y="166"/>
                </a:lnTo>
                <a:lnTo>
                  <a:pt x="122" y="166"/>
                </a:lnTo>
                <a:lnTo>
                  <a:pt x="120" y="166"/>
                </a:lnTo>
                <a:lnTo>
                  <a:pt x="118" y="168"/>
                </a:lnTo>
                <a:lnTo>
                  <a:pt x="116" y="170"/>
                </a:lnTo>
                <a:lnTo>
                  <a:pt x="114" y="172"/>
                </a:lnTo>
                <a:lnTo>
                  <a:pt x="112" y="172"/>
                </a:lnTo>
                <a:lnTo>
                  <a:pt x="110" y="172"/>
                </a:lnTo>
                <a:lnTo>
                  <a:pt x="108" y="172"/>
                </a:lnTo>
                <a:lnTo>
                  <a:pt x="102" y="172"/>
                </a:lnTo>
                <a:lnTo>
                  <a:pt x="98" y="172"/>
                </a:lnTo>
                <a:lnTo>
                  <a:pt x="96" y="174"/>
                </a:lnTo>
                <a:lnTo>
                  <a:pt x="94" y="174"/>
                </a:lnTo>
                <a:lnTo>
                  <a:pt x="92" y="174"/>
                </a:lnTo>
                <a:lnTo>
                  <a:pt x="86" y="174"/>
                </a:lnTo>
                <a:lnTo>
                  <a:pt x="82" y="174"/>
                </a:lnTo>
                <a:lnTo>
                  <a:pt x="78" y="174"/>
                </a:lnTo>
                <a:lnTo>
                  <a:pt x="72" y="174"/>
                </a:lnTo>
                <a:lnTo>
                  <a:pt x="68" y="174"/>
                </a:lnTo>
                <a:lnTo>
                  <a:pt x="66" y="174"/>
                </a:lnTo>
                <a:lnTo>
                  <a:pt x="60" y="174"/>
                </a:lnTo>
                <a:lnTo>
                  <a:pt x="56" y="174"/>
                </a:lnTo>
                <a:lnTo>
                  <a:pt x="42" y="164"/>
                </a:lnTo>
                <a:lnTo>
                  <a:pt x="40" y="162"/>
                </a:lnTo>
                <a:lnTo>
                  <a:pt x="38" y="160"/>
                </a:lnTo>
                <a:lnTo>
                  <a:pt x="38" y="158"/>
                </a:lnTo>
                <a:lnTo>
                  <a:pt x="32" y="154"/>
                </a:lnTo>
                <a:lnTo>
                  <a:pt x="30" y="154"/>
                </a:lnTo>
                <a:lnTo>
                  <a:pt x="28" y="152"/>
                </a:lnTo>
                <a:lnTo>
                  <a:pt x="26" y="150"/>
                </a:lnTo>
                <a:lnTo>
                  <a:pt x="22" y="150"/>
                </a:lnTo>
                <a:lnTo>
                  <a:pt x="22" y="152"/>
                </a:lnTo>
                <a:lnTo>
                  <a:pt x="18" y="150"/>
                </a:lnTo>
                <a:lnTo>
                  <a:pt x="16" y="146"/>
                </a:lnTo>
                <a:lnTo>
                  <a:pt x="16" y="142"/>
                </a:lnTo>
                <a:lnTo>
                  <a:pt x="12" y="140"/>
                </a:lnTo>
                <a:lnTo>
                  <a:pt x="10" y="138"/>
                </a:lnTo>
                <a:lnTo>
                  <a:pt x="8" y="136"/>
                </a:lnTo>
                <a:lnTo>
                  <a:pt x="8" y="130"/>
                </a:lnTo>
                <a:lnTo>
                  <a:pt x="8" y="128"/>
                </a:lnTo>
                <a:lnTo>
                  <a:pt x="6" y="128"/>
                </a:lnTo>
                <a:lnTo>
                  <a:pt x="0" y="120"/>
                </a:lnTo>
                <a:lnTo>
                  <a:pt x="2" y="112"/>
                </a:lnTo>
                <a:lnTo>
                  <a:pt x="2" y="110"/>
                </a:lnTo>
                <a:lnTo>
                  <a:pt x="4" y="106"/>
                </a:lnTo>
                <a:lnTo>
                  <a:pt x="6" y="104"/>
                </a:lnTo>
                <a:lnTo>
                  <a:pt x="6" y="100"/>
                </a:lnTo>
                <a:lnTo>
                  <a:pt x="6" y="96"/>
                </a:lnTo>
                <a:lnTo>
                  <a:pt x="8" y="90"/>
                </a:lnTo>
                <a:lnTo>
                  <a:pt x="10" y="84"/>
                </a:lnTo>
                <a:lnTo>
                  <a:pt x="12" y="82"/>
                </a:lnTo>
                <a:lnTo>
                  <a:pt x="16" y="76"/>
                </a:lnTo>
                <a:lnTo>
                  <a:pt x="20" y="72"/>
                </a:lnTo>
                <a:lnTo>
                  <a:pt x="24" y="72"/>
                </a:lnTo>
                <a:lnTo>
                  <a:pt x="30" y="74"/>
                </a:lnTo>
                <a:lnTo>
                  <a:pt x="32" y="76"/>
                </a:lnTo>
                <a:lnTo>
                  <a:pt x="34" y="76"/>
                </a:lnTo>
                <a:lnTo>
                  <a:pt x="40" y="76"/>
                </a:lnTo>
                <a:lnTo>
                  <a:pt x="48" y="74"/>
                </a:lnTo>
                <a:lnTo>
                  <a:pt x="50" y="74"/>
                </a:lnTo>
                <a:lnTo>
                  <a:pt x="52" y="74"/>
                </a:lnTo>
                <a:lnTo>
                  <a:pt x="54" y="72"/>
                </a:lnTo>
                <a:lnTo>
                  <a:pt x="60" y="66"/>
                </a:lnTo>
                <a:lnTo>
                  <a:pt x="64" y="62"/>
                </a:lnTo>
                <a:lnTo>
                  <a:pt x="74" y="56"/>
                </a:lnTo>
                <a:lnTo>
                  <a:pt x="76" y="52"/>
                </a:lnTo>
                <a:lnTo>
                  <a:pt x="78" y="48"/>
                </a:lnTo>
                <a:lnTo>
                  <a:pt x="78" y="46"/>
                </a:lnTo>
                <a:lnTo>
                  <a:pt x="78" y="44"/>
                </a:lnTo>
                <a:lnTo>
                  <a:pt x="78" y="40"/>
                </a:lnTo>
                <a:lnTo>
                  <a:pt x="78" y="36"/>
                </a:lnTo>
                <a:lnTo>
                  <a:pt x="80" y="32"/>
                </a:lnTo>
                <a:lnTo>
                  <a:pt x="84" y="30"/>
                </a:lnTo>
                <a:lnTo>
                  <a:pt x="86" y="30"/>
                </a:lnTo>
                <a:lnTo>
                  <a:pt x="90" y="28"/>
                </a:lnTo>
                <a:lnTo>
                  <a:pt x="100" y="16"/>
                </a:lnTo>
                <a:lnTo>
                  <a:pt x="102" y="12"/>
                </a:lnTo>
                <a:lnTo>
                  <a:pt x="106" y="12"/>
                </a:lnTo>
                <a:lnTo>
                  <a:pt x="114" y="10"/>
                </a:lnTo>
                <a:lnTo>
                  <a:pt x="118" y="10"/>
                </a:lnTo>
                <a:lnTo>
                  <a:pt x="126" y="12"/>
                </a:lnTo>
                <a:lnTo>
                  <a:pt x="126" y="14"/>
                </a:lnTo>
                <a:lnTo>
                  <a:pt x="126" y="20"/>
                </a:lnTo>
                <a:lnTo>
                  <a:pt x="130" y="20"/>
                </a:lnTo>
                <a:lnTo>
                  <a:pt x="136" y="20"/>
                </a:lnTo>
                <a:lnTo>
                  <a:pt x="140" y="18"/>
                </a:lnTo>
                <a:lnTo>
                  <a:pt x="140" y="16"/>
                </a:lnTo>
                <a:lnTo>
                  <a:pt x="142" y="10"/>
                </a:lnTo>
                <a:lnTo>
                  <a:pt x="144" y="8"/>
                </a:lnTo>
                <a:lnTo>
                  <a:pt x="152" y="0"/>
                </a:lnTo>
                <a:lnTo>
                  <a:pt x="154" y="0"/>
                </a:lnTo>
                <a:lnTo>
                  <a:pt x="158" y="2"/>
                </a:lnTo>
                <a:lnTo>
                  <a:pt x="158" y="6"/>
                </a:lnTo>
                <a:lnTo>
                  <a:pt x="162" y="14"/>
                </a:lnTo>
                <a:lnTo>
                  <a:pt x="166" y="18"/>
                </a:lnTo>
                <a:lnTo>
                  <a:pt x="170" y="18"/>
                </a:lnTo>
                <a:lnTo>
                  <a:pt x="174" y="18"/>
                </a:lnTo>
                <a:lnTo>
                  <a:pt x="176" y="20"/>
                </a:lnTo>
                <a:lnTo>
                  <a:pt x="178" y="28"/>
                </a:lnTo>
                <a:lnTo>
                  <a:pt x="176" y="30"/>
                </a:lnTo>
                <a:lnTo>
                  <a:pt x="174" y="32"/>
                </a:lnTo>
                <a:lnTo>
                  <a:pt x="174" y="34"/>
                </a:lnTo>
                <a:lnTo>
                  <a:pt x="176" y="36"/>
                </a:lnTo>
                <a:lnTo>
                  <a:pt x="178" y="36"/>
                </a:lnTo>
                <a:lnTo>
                  <a:pt x="180" y="36"/>
                </a:lnTo>
                <a:lnTo>
                  <a:pt x="182" y="34"/>
                </a:lnTo>
                <a:lnTo>
                  <a:pt x="184" y="32"/>
                </a:lnTo>
                <a:lnTo>
                  <a:pt x="186" y="32"/>
                </a:lnTo>
                <a:lnTo>
                  <a:pt x="188" y="34"/>
                </a:lnTo>
                <a:lnTo>
                  <a:pt x="190" y="34"/>
                </a:lnTo>
                <a:lnTo>
                  <a:pt x="190" y="36"/>
                </a:lnTo>
                <a:lnTo>
                  <a:pt x="194" y="36"/>
                </a:lnTo>
                <a:lnTo>
                  <a:pt x="194" y="34"/>
                </a:lnTo>
                <a:lnTo>
                  <a:pt x="194" y="30"/>
                </a:lnTo>
                <a:lnTo>
                  <a:pt x="196" y="24"/>
                </a:lnTo>
                <a:lnTo>
                  <a:pt x="200" y="22"/>
                </a:lnTo>
                <a:lnTo>
                  <a:pt x="206" y="18"/>
                </a:lnTo>
                <a:lnTo>
                  <a:pt x="208" y="16"/>
                </a:lnTo>
                <a:lnTo>
                  <a:pt x="222" y="14"/>
                </a:lnTo>
                <a:lnTo>
                  <a:pt x="232" y="14"/>
                </a:lnTo>
                <a:lnTo>
                  <a:pt x="236" y="20"/>
                </a:lnTo>
                <a:lnTo>
                  <a:pt x="242" y="22"/>
                </a:lnTo>
                <a:lnTo>
                  <a:pt x="244" y="22"/>
                </a:lnTo>
                <a:lnTo>
                  <a:pt x="246" y="22"/>
                </a:lnTo>
                <a:lnTo>
                  <a:pt x="250" y="16"/>
                </a:lnTo>
                <a:lnTo>
                  <a:pt x="250" y="12"/>
                </a:lnTo>
                <a:lnTo>
                  <a:pt x="252" y="10"/>
                </a:lnTo>
                <a:lnTo>
                  <a:pt x="264" y="6"/>
                </a:lnTo>
                <a:lnTo>
                  <a:pt x="270" y="8"/>
                </a:lnTo>
                <a:lnTo>
                  <a:pt x="272" y="10"/>
                </a:lnTo>
                <a:lnTo>
                  <a:pt x="274" y="10"/>
                </a:lnTo>
                <a:lnTo>
                  <a:pt x="276" y="8"/>
                </a:lnTo>
                <a:lnTo>
                  <a:pt x="278" y="8"/>
                </a:lnTo>
                <a:lnTo>
                  <a:pt x="284" y="6"/>
                </a:lnTo>
                <a:lnTo>
                  <a:pt x="296" y="10"/>
                </a:lnTo>
                <a:lnTo>
                  <a:pt x="304" y="14"/>
                </a:lnTo>
                <a:lnTo>
                  <a:pt x="308" y="18"/>
                </a:lnTo>
                <a:lnTo>
                  <a:pt x="308" y="22"/>
                </a:lnTo>
                <a:lnTo>
                  <a:pt x="310" y="24"/>
                </a:lnTo>
                <a:lnTo>
                  <a:pt x="322" y="30"/>
                </a:lnTo>
                <a:lnTo>
                  <a:pt x="328" y="30"/>
                </a:lnTo>
                <a:lnTo>
                  <a:pt x="330" y="30"/>
                </a:lnTo>
                <a:lnTo>
                  <a:pt x="342" y="34"/>
                </a:lnTo>
                <a:lnTo>
                  <a:pt x="342" y="38"/>
                </a:lnTo>
                <a:lnTo>
                  <a:pt x="342" y="42"/>
                </a:lnTo>
                <a:lnTo>
                  <a:pt x="338" y="46"/>
                </a:lnTo>
                <a:lnTo>
                  <a:pt x="336" y="52"/>
                </a:lnTo>
                <a:lnTo>
                  <a:pt x="334" y="60"/>
                </a:lnTo>
                <a:lnTo>
                  <a:pt x="332" y="72"/>
                </a:lnTo>
                <a:lnTo>
                  <a:pt x="328" y="78"/>
                </a:lnTo>
                <a:lnTo>
                  <a:pt x="324" y="80"/>
                </a:lnTo>
                <a:lnTo>
                  <a:pt x="322" y="82"/>
                </a:lnTo>
                <a:lnTo>
                  <a:pt x="324" y="98"/>
                </a:lnTo>
                <a:lnTo>
                  <a:pt x="322" y="100"/>
                </a:lnTo>
                <a:lnTo>
                  <a:pt x="318" y="100"/>
                </a:lnTo>
                <a:lnTo>
                  <a:pt x="314" y="100"/>
                </a:lnTo>
                <a:lnTo>
                  <a:pt x="312" y="102"/>
                </a:lnTo>
                <a:lnTo>
                  <a:pt x="306" y="104"/>
                </a:lnTo>
                <a:lnTo>
                  <a:pt x="304" y="106"/>
                </a:lnTo>
                <a:lnTo>
                  <a:pt x="302" y="106"/>
                </a:lnTo>
                <a:lnTo>
                  <a:pt x="298" y="104"/>
                </a:lnTo>
                <a:lnTo>
                  <a:pt x="292" y="96"/>
                </a:lnTo>
                <a:lnTo>
                  <a:pt x="290" y="92"/>
                </a:lnTo>
                <a:lnTo>
                  <a:pt x="284" y="88"/>
                </a:lnTo>
                <a:lnTo>
                  <a:pt x="280" y="86"/>
                </a:lnTo>
                <a:lnTo>
                  <a:pt x="272" y="88"/>
                </a:lnTo>
                <a:lnTo>
                  <a:pt x="268" y="92"/>
                </a:lnTo>
                <a:lnTo>
                  <a:pt x="262" y="94"/>
                </a:lnTo>
                <a:lnTo>
                  <a:pt x="258" y="94"/>
                </a:lnTo>
                <a:lnTo>
                  <a:pt x="250" y="92"/>
                </a:lnTo>
                <a:lnTo>
                  <a:pt x="246" y="92"/>
                </a:lnTo>
                <a:lnTo>
                  <a:pt x="244" y="90"/>
                </a:lnTo>
                <a:lnTo>
                  <a:pt x="242" y="88"/>
                </a:lnTo>
                <a:lnTo>
                  <a:pt x="236" y="90"/>
                </a:lnTo>
                <a:lnTo>
                  <a:pt x="232" y="92"/>
                </a:lnTo>
                <a:lnTo>
                  <a:pt x="226" y="94"/>
                </a:lnTo>
                <a:lnTo>
                  <a:pt x="222" y="96"/>
                </a:lnTo>
                <a:lnTo>
                  <a:pt x="222" y="98"/>
                </a:lnTo>
                <a:lnTo>
                  <a:pt x="220" y="102"/>
                </a:lnTo>
                <a:lnTo>
                  <a:pt x="220" y="104"/>
                </a:lnTo>
                <a:lnTo>
                  <a:pt x="218" y="106"/>
                </a:lnTo>
                <a:lnTo>
                  <a:pt x="218" y="110"/>
                </a:lnTo>
                <a:lnTo>
                  <a:pt x="216" y="116"/>
                </a:lnTo>
                <a:lnTo>
                  <a:pt x="214" y="118"/>
                </a:lnTo>
                <a:lnTo>
                  <a:pt x="214" y="120"/>
                </a:lnTo>
                <a:lnTo>
                  <a:pt x="212" y="120"/>
                </a:lnTo>
                <a:lnTo>
                  <a:pt x="208" y="118"/>
                </a:lnTo>
                <a:lnTo>
                  <a:pt x="202" y="124"/>
                </a:lnTo>
                <a:lnTo>
                  <a:pt x="200" y="126"/>
                </a:lnTo>
                <a:lnTo>
                  <a:pt x="198" y="130"/>
                </a:lnTo>
                <a:lnTo>
                  <a:pt x="194" y="130"/>
                </a:lnTo>
                <a:lnTo>
                  <a:pt x="192" y="132"/>
                </a:lnTo>
                <a:lnTo>
                  <a:pt x="190" y="134"/>
                </a:lnTo>
                <a:lnTo>
                  <a:pt x="182" y="128"/>
                </a:lnTo>
                <a:lnTo>
                  <a:pt x="180" y="126"/>
                </a:lnTo>
                <a:lnTo>
                  <a:pt x="174" y="126"/>
                </a:lnTo>
                <a:lnTo>
                  <a:pt x="172" y="126"/>
                </a:lnTo>
                <a:lnTo>
                  <a:pt x="166" y="128"/>
                </a:lnTo>
                <a:lnTo>
                  <a:pt x="164" y="132"/>
                </a:lnTo>
                <a:lnTo>
                  <a:pt x="164" y="134"/>
                </a:lnTo>
                <a:lnTo>
                  <a:pt x="162" y="138"/>
                </a:lnTo>
                <a:lnTo>
                  <a:pt x="146" y="142"/>
                </a:lnTo>
                <a:lnTo>
                  <a:pt x="142" y="142"/>
                </a:lnTo>
                <a:lnTo>
                  <a:pt x="136" y="142"/>
                </a:lnTo>
                <a:lnTo>
                  <a:pt x="134" y="14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3" name="Freeform 2634"/>
          <p:cNvSpPr>
            <a:spLocks/>
          </p:cNvSpPr>
          <p:nvPr/>
        </p:nvSpPr>
        <p:spPr bwMode="auto">
          <a:xfrm>
            <a:off x="6322633" y="4627871"/>
            <a:ext cx="357394" cy="395792"/>
          </a:xfrm>
          <a:custGeom>
            <a:avLst/>
            <a:gdLst/>
            <a:ahLst/>
            <a:cxnLst>
              <a:cxn ang="0">
                <a:pos x="122" y="188"/>
              </a:cxn>
              <a:cxn ang="0">
                <a:pos x="120" y="156"/>
              </a:cxn>
              <a:cxn ang="0">
                <a:pos x="110" y="142"/>
              </a:cxn>
              <a:cxn ang="0">
                <a:pos x="110" y="136"/>
              </a:cxn>
              <a:cxn ang="0">
                <a:pos x="100" y="126"/>
              </a:cxn>
              <a:cxn ang="0">
                <a:pos x="86" y="116"/>
              </a:cxn>
              <a:cxn ang="0">
                <a:pos x="80" y="106"/>
              </a:cxn>
              <a:cxn ang="0">
                <a:pos x="70" y="100"/>
              </a:cxn>
              <a:cxn ang="0">
                <a:pos x="52" y="78"/>
              </a:cxn>
              <a:cxn ang="0">
                <a:pos x="46" y="72"/>
              </a:cxn>
              <a:cxn ang="0">
                <a:pos x="40" y="54"/>
              </a:cxn>
              <a:cxn ang="0">
                <a:pos x="20" y="30"/>
              </a:cxn>
              <a:cxn ang="0">
                <a:pos x="0" y="28"/>
              </a:cxn>
              <a:cxn ang="0">
                <a:pos x="2" y="20"/>
              </a:cxn>
              <a:cxn ang="0">
                <a:pos x="34" y="12"/>
              </a:cxn>
              <a:cxn ang="0">
                <a:pos x="52" y="0"/>
              </a:cxn>
              <a:cxn ang="0">
                <a:pos x="74" y="4"/>
              </a:cxn>
              <a:cxn ang="0">
                <a:pos x="78" y="8"/>
              </a:cxn>
              <a:cxn ang="0">
                <a:pos x="88" y="10"/>
              </a:cxn>
              <a:cxn ang="0">
                <a:pos x="98" y="16"/>
              </a:cxn>
              <a:cxn ang="0">
                <a:pos x="106" y="14"/>
              </a:cxn>
              <a:cxn ang="0">
                <a:pos x="110" y="20"/>
              </a:cxn>
              <a:cxn ang="0">
                <a:pos x="122" y="16"/>
              </a:cxn>
              <a:cxn ang="0">
                <a:pos x="134" y="20"/>
              </a:cxn>
              <a:cxn ang="0">
                <a:pos x="146" y="32"/>
              </a:cxn>
              <a:cxn ang="0">
                <a:pos x="152" y="32"/>
              </a:cxn>
              <a:cxn ang="0">
                <a:pos x="158" y="30"/>
              </a:cxn>
              <a:cxn ang="0">
                <a:pos x="164" y="64"/>
              </a:cxn>
              <a:cxn ang="0">
                <a:pos x="168" y="76"/>
              </a:cxn>
              <a:cxn ang="0">
                <a:pos x="178" y="80"/>
              </a:cxn>
              <a:cxn ang="0">
                <a:pos x="184" y="86"/>
              </a:cxn>
              <a:cxn ang="0">
                <a:pos x="192" y="82"/>
              </a:cxn>
              <a:cxn ang="0">
                <a:pos x="196" y="98"/>
              </a:cxn>
              <a:cxn ang="0">
                <a:pos x="210" y="120"/>
              </a:cxn>
              <a:cxn ang="0">
                <a:pos x="228" y="130"/>
              </a:cxn>
              <a:cxn ang="0">
                <a:pos x="226" y="150"/>
              </a:cxn>
              <a:cxn ang="0">
                <a:pos x="236" y="156"/>
              </a:cxn>
              <a:cxn ang="0">
                <a:pos x="242" y="158"/>
              </a:cxn>
              <a:cxn ang="0">
                <a:pos x="238" y="162"/>
              </a:cxn>
              <a:cxn ang="0">
                <a:pos x="228" y="168"/>
              </a:cxn>
              <a:cxn ang="0">
                <a:pos x="214" y="168"/>
              </a:cxn>
              <a:cxn ang="0">
                <a:pos x="202" y="164"/>
              </a:cxn>
              <a:cxn ang="0">
                <a:pos x="192" y="166"/>
              </a:cxn>
              <a:cxn ang="0">
                <a:pos x="186" y="172"/>
              </a:cxn>
              <a:cxn ang="0">
                <a:pos x="184" y="160"/>
              </a:cxn>
              <a:cxn ang="0">
                <a:pos x="174" y="164"/>
              </a:cxn>
              <a:cxn ang="0">
                <a:pos x="168" y="170"/>
              </a:cxn>
              <a:cxn ang="0">
                <a:pos x="178" y="190"/>
              </a:cxn>
              <a:cxn ang="0">
                <a:pos x="168" y="214"/>
              </a:cxn>
              <a:cxn ang="0">
                <a:pos x="166" y="224"/>
              </a:cxn>
              <a:cxn ang="0">
                <a:pos x="154" y="240"/>
              </a:cxn>
              <a:cxn ang="0">
                <a:pos x="156" y="256"/>
              </a:cxn>
              <a:cxn ang="0">
                <a:pos x="148" y="260"/>
              </a:cxn>
              <a:cxn ang="0">
                <a:pos x="142" y="260"/>
              </a:cxn>
              <a:cxn ang="0">
                <a:pos x="138" y="262"/>
              </a:cxn>
              <a:cxn ang="0">
                <a:pos x="134" y="266"/>
              </a:cxn>
              <a:cxn ang="0">
                <a:pos x="132" y="252"/>
              </a:cxn>
              <a:cxn ang="0">
                <a:pos x="124" y="226"/>
              </a:cxn>
              <a:cxn ang="0">
                <a:pos x="120" y="212"/>
              </a:cxn>
            </a:cxnLst>
            <a:rect l="0" t="0" r="r" b="b"/>
            <a:pathLst>
              <a:path w="242" h="268">
                <a:moveTo>
                  <a:pt x="122" y="210"/>
                </a:moveTo>
                <a:lnTo>
                  <a:pt x="122" y="200"/>
                </a:lnTo>
                <a:lnTo>
                  <a:pt x="122" y="188"/>
                </a:lnTo>
                <a:lnTo>
                  <a:pt x="126" y="178"/>
                </a:lnTo>
                <a:lnTo>
                  <a:pt x="122" y="162"/>
                </a:lnTo>
                <a:lnTo>
                  <a:pt x="120" y="156"/>
                </a:lnTo>
                <a:lnTo>
                  <a:pt x="118" y="154"/>
                </a:lnTo>
                <a:lnTo>
                  <a:pt x="116" y="150"/>
                </a:lnTo>
                <a:lnTo>
                  <a:pt x="110" y="142"/>
                </a:lnTo>
                <a:lnTo>
                  <a:pt x="110" y="140"/>
                </a:lnTo>
                <a:lnTo>
                  <a:pt x="110" y="138"/>
                </a:lnTo>
                <a:lnTo>
                  <a:pt x="110" y="136"/>
                </a:lnTo>
                <a:lnTo>
                  <a:pt x="106" y="130"/>
                </a:lnTo>
                <a:lnTo>
                  <a:pt x="102" y="126"/>
                </a:lnTo>
                <a:lnTo>
                  <a:pt x="100" y="126"/>
                </a:lnTo>
                <a:lnTo>
                  <a:pt x="98" y="126"/>
                </a:lnTo>
                <a:lnTo>
                  <a:pt x="90" y="120"/>
                </a:lnTo>
                <a:lnTo>
                  <a:pt x="86" y="116"/>
                </a:lnTo>
                <a:lnTo>
                  <a:pt x="86" y="112"/>
                </a:lnTo>
                <a:lnTo>
                  <a:pt x="82" y="108"/>
                </a:lnTo>
                <a:lnTo>
                  <a:pt x="80" y="106"/>
                </a:lnTo>
                <a:lnTo>
                  <a:pt x="78" y="106"/>
                </a:lnTo>
                <a:lnTo>
                  <a:pt x="74" y="104"/>
                </a:lnTo>
                <a:lnTo>
                  <a:pt x="70" y="100"/>
                </a:lnTo>
                <a:lnTo>
                  <a:pt x="62" y="90"/>
                </a:lnTo>
                <a:lnTo>
                  <a:pt x="58" y="82"/>
                </a:lnTo>
                <a:lnTo>
                  <a:pt x="52" y="78"/>
                </a:lnTo>
                <a:lnTo>
                  <a:pt x="50" y="78"/>
                </a:lnTo>
                <a:lnTo>
                  <a:pt x="48" y="76"/>
                </a:lnTo>
                <a:lnTo>
                  <a:pt x="46" y="72"/>
                </a:lnTo>
                <a:lnTo>
                  <a:pt x="42" y="64"/>
                </a:lnTo>
                <a:lnTo>
                  <a:pt x="40" y="60"/>
                </a:lnTo>
                <a:lnTo>
                  <a:pt x="40" y="54"/>
                </a:lnTo>
                <a:lnTo>
                  <a:pt x="36" y="48"/>
                </a:lnTo>
                <a:lnTo>
                  <a:pt x="24" y="32"/>
                </a:lnTo>
                <a:lnTo>
                  <a:pt x="20" y="30"/>
                </a:lnTo>
                <a:lnTo>
                  <a:pt x="12" y="26"/>
                </a:lnTo>
                <a:lnTo>
                  <a:pt x="4" y="26"/>
                </a:lnTo>
                <a:lnTo>
                  <a:pt x="0" y="28"/>
                </a:lnTo>
                <a:lnTo>
                  <a:pt x="0" y="26"/>
                </a:lnTo>
                <a:lnTo>
                  <a:pt x="0" y="24"/>
                </a:lnTo>
                <a:lnTo>
                  <a:pt x="2" y="20"/>
                </a:lnTo>
                <a:lnTo>
                  <a:pt x="8" y="18"/>
                </a:lnTo>
                <a:lnTo>
                  <a:pt x="20" y="16"/>
                </a:lnTo>
                <a:lnTo>
                  <a:pt x="34" y="12"/>
                </a:lnTo>
                <a:lnTo>
                  <a:pt x="46" y="4"/>
                </a:lnTo>
                <a:lnTo>
                  <a:pt x="50" y="0"/>
                </a:lnTo>
                <a:lnTo>
                  <a:pt x="52" y="0"/>
                </a:lnTo>
                <a:lnTo>
                  <a:pt x="64" y="0"/>
                </a:lnTo>
                <a:lnTo>
                  <a:pt x="72" y="2"/>
                </a:lnTo>
                <a:lnTo>
                  <a:pt x="74" y="4"/>
                </a:lnTo>
                <a:lnTo>
                  <a:pt x="74" y="6"/>
                </a:lnTo>
                <a:lnTo>
                  <a:pt x="76" y="8"/>
                </a:lnTo>
                <a:lnTo>
                  <a:pt x="78" y="8"/>
                </a:lnTo>
                <a:lnTo>
                  <a:pt x="82" y="8"/>
                </a:lnTo>
                <a:lnTo>
                  <a:pt x="86" y="8"/>
                </a:lnTo>
                <a:lnTo>
                  <a:pt x="88" y="10"/>
                </a:lnTo>
                <a:lnTo>
                  <a:pt x="88" y="14"/>
                </a:lnTo>
                <a:lnTo>
                  <a:pt x="96" y="16"/>
                </a:lnTo>
                <a:lnTo>
                  <a:pt x="98" y="16"/>
                </a:lnTo>
                <a:lnTo>
                  <a:pt x="100" y="14"/>
                </a:lnTo>
                <a:lnTo>
                  <a:pt x="104" y="12"/>
                </a:lnTo>
                <a:lnTo>
                  <a:pt x="106" y="14"/>
                </a:lnTo>
                <a:lnTo>
                  <a:pt x="106" y="16"/>
                </a:lnTo>
                <a:lnTo>
                  <a:pt x="106" y="18"/>
                </a:lnTo>
                <a:lnTo>
                  <a:pt x="110" y="20"/>
                </a:lnTo>
                <a:lnTo>
                  <a:pt x="114" y="20"/>
                </a:lnTo>
                <a:lnTo>
                  <a:pt x="118" y="18"/>
                </a:lnTo>
                <a:lnTo>
                  <a:pt x="122" y="16"/>
                </a:lnTo>
                <a:lnTo>
                  <a:pt x="128" y="18"/>
                </a:lnTo>
                <a:lnTo>
                  <a:pt x="132" y="18"/>
                </a:lnTo>
                <a:lnTo>
                  <a:pt x="134" y="20"/>
                </a:lnTo>
                <a:lnTo>
                  <a:pt x="140" y="28"/>
                </a:lnTo>
                <a:lnTo>
                  <a:pt x="140" y="30"/>
                </a:lnTo>
                <a:lnTo>
                  <a:pt x="146" y="32"/>
                </a:lnTo>
                <a:lnTo>
                  <a:pt x="148" y="32"/>
                </a:lnTo>
                <a:lnTo>
                  <a:pt x="150" y="32"/>
                </a:lnTo>
                <a:lnTo>
                  <a:pt x="152" y="32"/>
                </a:lnTo>
                <a:lnTo>
                  <a:pt x="152" y="28"/>
                </a:lnTo>
                <a:lnTo>
                  <a:pt x="156" y="28"/>
                </a:lnTo>
                <a:lnTo>
                  <a:pt x="158" y="30"/>
                </a:lnTo>
                <a:lnTo>
                  <a:pt x="166" y="46"/>
                </a:lnTo>
                <a:lnTo>
                  <a:pt x="164" y="60"/>
                </a:lnTo>
                <a:lnTo>
                  <a:pt x="164" y="64"/>
                </a:lnTo>
                <a:lnTo>
                  <a:pt x="162" y="66"/>
                </a:lnTo>
                <a:lnTo>
                  <a:pt x="164" y="70"/>
                </a:lnTo>
                <a:lnTo>
                  <a:pt x="168" y="76"/>
                </a:lnTo>
                <a:lnTo>
                  <a:pt x="170" y="74"/>
                </a:lnTo>
                <a:lnTo>
                  <a:pt x="174" y="76"/>
                </a:lnTo>
                <a:lnTo>
                  <a:pt x="178" y="80"/>
                </a:lnTo>
                <a:lnTo>
                  <a:pt x="180" y="82"/>
                </a:lnTo>
                <a:lnTo>
                  <a:pt x="180" y="84"/>
                </a:lnTo>
                <a:lnTo>
                  <a:pt x="184" y="86"/>
                </a:lnTo>
                <a:lnTo>
                  <a:pt x="188" y="86"/>
                </a:lnTo>
                <a:lnTo>
                  <a:pt x="188" y="82"/>
                </a:lnTo>
                <a:lnTo>
                  <a:pt x="192" y="82"/>
                </a:lnTo>
                <a:lnTo>
                  <a:pt x="194" y="84"/>
                </a:lnTo>
                <a:lnTo>
                  <a:pt x="196" y="86"/>
                </a:lnTo>
                <a:lnTo>
                  <a:pt x="196" y="98"/>
                </a:lnTo>
                <a:lnTo>
                  <a:pt x="200" y="110"/>
                </a:lnTo>
                <a:lnTo>
                  <a:pt x="200" y="116"/>
                </a:lnTo>
                <a:lnTo>
                  <a:pt x="210" y="120"/>
                </a:lnTo>
                <a:lnTo>
                  <a:pt x="218" y="120"/>
                </a:lnTo>
                <a:lnTo>
                  <a:pt x="224" y="124"/>
                </a:lnTo>
                <a:lnTo>
                  <a:pt x="228" y="130"/>
                </a:lnTo>
                <a:lnTo>
                  <a:pt x="230" y="146"/>
                </a:lnTo>
                <a:lnTo>
                  <a:pt x="226" y="148"/>
                </a:lnTo>
                <a:lnTo>
                  <a:pt x="226" y="150"/>
                </a:lnTo>
                <a:lnTo>
                  <a:pt x="228" y="152"/>
                </a:lnTo>
                <a:lnTo>
                  <a:pt x="234" y="156"/>
                </a:lnTo>
                <a:lnTo>
                  <a:pt x="236" y="156"/>
                </a:lnTo>
                <a:lnTo>
                  <a:pt x="238" y="158"/>
                </a:lnTo>
                <a:lnTo>
                  <a:pt x="240" y="158"/>
                </a:lnTo>
                <a:lnTo>
                  <a:pt x="242" y="158"/>
                </a:lnTo>
                <a:lnTo>
                  <a:pt x="242" y="160"/>
                </a:lnTo>
                <a:lnTo>
                  <a:pt x="242" y="162"/>
                </a:lnTo>
                <a:lnTo>
                  <a:pt x="238" y="162"/>
                </a:lnTo>
                <a:lnTo>
                  <a:pt x="234" y="164"/>
                </a:lnTo>
                <a:lnTo>
                  <a:pt x="230" y="164"/>
                </a:lnTo>
                <a:lnTo>
                  <a:pt x="228" y="168"/>
                </a:lnTo>
                <a:lnTo>
                  <a:pt x="224" y="166"/>
                </a:lnTo>
                <a:lnTo>
                  <a:pt x="218" y="160"/>
                </a:lnTo>
                <a:lnTo>
                  <a:pt x="214" y="168"/>
                </a:lnTo>
                <a:lnTo>
                  <a:pt x="212" y="168"/>
                </a:lnTo>
                <a:lnTo>
                  <a:pt x="210" y="168"/>
                </a:lnTo>
                <a:lnTo>
                  <a:pt x="202" y="164"/>
                </a:lnTo>
                <a:lnTo>
                  <a:pt x="202" y="160"/>
                </a:lnTo>
                <a:lnTo>
                  <a:pt x="192" y="162"/>
                </a:lnTo>
                <a:lnTo>
                  <a:pt x="192" y="166"/>
                </a:lnTo>
                <a:lnTo>
                  <a:pt x="192" y="168"/>
                </a:lnTo>
                <a:lnTo>
                  <a:pt x="188" y="172"/>
                </a:lnTo>
                <a:lnTo>
                  <a:pt x="186" y="172"/>
                </a:lnTo>
                <a:lnTo>
                  <a:pt x="186" y="170"/>
                </a:lnTo>
                <a:lnTo>
                  <a:pt x="186" y="162"/>
                </a:lnTo>
                <a:lnTo>
                  <a:pt x="184" y="160"/>
                </a:lnTo>
                <a:lnTo>
                  <a:pt x="184" y="156"/>
                </a:lnTo>
                <a:lnTo>
                  <a:pt x="180" y="158"/>
                </a:lnTo>
                <a:lnTo>
                  <a:pt x="174" y="164"/>
                </a:lnTo>
                <a:lnTo>
                  <a:pt x="172" y="166"/>
                </a:lnTo>
                <a:lnTo>
                  <a:pt x="170" y="166"/>
                </a:lnTo>
                <a:lnTo>
                  <a:pt x="168" y="170"/>
                </a:lnTo>
                <a:lnTo>
                  <a:pt x="172" y="184"/>
                </a:lnTo>
                <a:lnTo>
                  <a:pt x="176" y="188"/>
                </a:lnTo>
                <a:lnTo>
                  <a:pt x="178" y="190"/>
                </a:lnTo>
                <a:lnTo>
                  <a:pt x="176" y="210"/>
                </a:lnTo>
                <a:lnTo>
                  <a:pt x="172" y="210"/>
                </a:lnTo>
                <a:lnTo>
                  <a:pt x="168" y="214"/>
                </a:lnTo>
                <a:lnTo>
                  <a:pt x="164" y="214"/>
                </a:lnTo>
                <a:lnTo>
                  <a:pt x="164" y="218"/>
                </a:lnTo>
                <a:lnTo>
                  <a:pt x="166" y="224"/>
                </a:lnTo>
                <a:lnTo>
                  <a:pt x="162" y="232"/>
                </a:lnTo>
                <a:lnTo>
                  <a:pt x="158" y="234"/>
                </a:lnTo>
                <a:lnTo>
                  <a:pt x="154" y="240"/>
                </a:lnTo>
                <a:lnTo>
                  <a:pt x="152" y="246"/>
                </a:lnTo>
                <a:lnTo>
                  <a:pt x="154" y="246"/>
                </a:lnTo>
                <a:lnTo>
                  <a:pt x="156" y="256"/>
                </a:lnTo>
                <a:lnTo>
                  <a:pt x="156" y="258"/>
                </a:lnTo>
                <a:lnTo>
                  <a:pt x="154" y="260"/>
                </a:lnTo>
                <a:lnTo>
                  <a:pt x="148" y="260"/>
                </a:lnTo>
                <a:lnTo>
                  <a:pt x="146" y="260"/>
                </a:lnTo>
                <a:lnTo>
                  <a:pt x="144" y="258"/>
                </a:lnTo>
                <a:lnTo>
                  <a:pt x="142" y="260"/>
                </a:lnTo>
                <a:lnTo>
                  <a:pt x="140" y="260"/>
                </a:lnTo>
                <a:lnTo>
                  <a:pt x="140" y="262"/>
                </a:lnTo>
                <a:lnTo>
                  <a:pt x="138" y="262"/>
                </a:lnTo>
                <a:lnTo>
                  <a:pt x="138" y="266"/>
                </a:lnTo>
                <a:lnTo>
                  <a:pt x="138" y="268"/>
                </a:lnTo>
                <a:lnTo>
                  <a:pt x="134" y="266"/>
                </a:lnTo>
                <a:lnTo>
                  <a:pt x="126" y="256"/>
                </a:lnTo>
                <a:lnTo>
                  <a:pt x="130" y="252"/>
                </a:lnTo>
                <a:lnTo>
                  <a:pt x="132" y="252"/>
                </a:lnTo>
                <a:lnTo>
                  <a:pt x="132" y="248"/>
                </a:lnTo>
                <a:lnTo>
                  <a:pt x="130" y="244"/>
                </a:lnTo>
                <a:lnTo>
                  <a:pt x="124" y="226"/>
                </a:lnTo>
                <a:lnTo>
                  <a:pt x="124" y="222"/>
                </a:lnTo>
                <a:lnTo>
                  <a:pt x="122" y="220"/>
                </a:lnTo>
                <a:lnTo>
                  <a:pt x="120" y="212"/>
                </a:lnTo>
                <a:lnTo>
                  <a:pt x="122" y="21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4" name="Freeform 2635"/>
          <p:cNvSpPr>
            <a:spLocks/>
          </p:cNvSpPr>
          <p:nvPr/>
        </p:nvSpPr>
        <p:spPr bwMode="auto">
          <a:xfrm>
            <a:off x="5377459" y="4678083"/>
            <a:ext cx="614363" cy="398745"/>
          </a:xfrm>
          <a:custGeom>
            <a:avLst/>
            <a:gdLst/>
            <a:ahLst/>
            <a:cxnLst>
              <a:cxn ang="0">
                <a:pos x="328" y="188"/>
              </a:cxn>
              <a:cxn ang="0">
                <a:pos x="322" y="208"/>
              </a:cxn>
              <a:cxn ang="0">
                <a:pos x="302" y="214"/>
              </a:cxn>
              <a:cxn ang="0">
                <a:pos x="294" y="222"/>
              </a:cxn>
              <a:cxn ang="0">
                <a:pos x="284" y="224"/>
              </a:cxn>
              <a:cxn ang="0">
                <a:pos x="264" y="232"/>
              </a:cxn>
              <a:cxn ang="0">
                <a:pos x="238" y="228"/>
              </a:cxn>
              <a:cxn ang="0">
                <a:pos x="216" y="232"/>
              </a:cxn>
              <a:cxn ang="0">
                <a:pos x="194" y="244"/>
              </a:cxn>
              <a:cxn ang="0">
                <a:pos x="174" y="256"/>
              </a:cxn>
              <a:cxn ang="0">
                <a:pos x="158" y="266"/>
              </a:cxn>
              <a:cxn ang="0">
                <a:pos x="136" y="268"/>
              </a:cxn>
              <a:cxn ang="0">
                <a:pos x="100" y="264"/>
              </a:cxn>
              <a:cxn ang="0">
                <a:pos x="86" y="256"/>
              </a:cxn>
              <a:cxn ang="0">
                <a:pos x="74" y="246"/>
              </a:cxn>
              <a:cxn ang="0">
                <a:pos x="56" y="230"/>
              </a:cxn>
              <a:cxn ang="0">
                <a:pos x="50" y="220"/>
              </a:cxn>
              <a:cxn ang="0">
                <a:pos x="32" y="208"/>
              </a:cxn>
              <a:cxn ang="0">
                <a:pos x="16" y="186"/>
              </a:cxn>
              <a:cxn ang="0">
                <a:pos x="12" y="172"/>
              </a:cxn>
              <a:cxn ang="0">
                <a:pos x="0" y="172"/>
              </a:cxn>
              <a:cxn ang="0">
                <a:pos x="14" y="158"/>
              </a:cxn>
              <a:cxn ang="0">
                <a:pos x="22" y="146"/>
              </a:cxn>
              <a:cxn ang="0">
                <a:pos x="22" y="126"/>
              </a:cxn>
              <a:cxn ang="0">
                <a:pos x="36" y="112"/>
              </a:cxn>
              <a:cxn ang="0">
                <a:pos x="22" y="100"/>
              </a:cxn>
              <a:cxn ang="0">
                <a:pos x="32" y="90"/>
              </a:cxn>
              <a:cxn ang="0">
                <a:pos x="48" y="96"/>
              </a:cxn>
              <a:cxn ang="0">
                <a:pos x="58" y="86"/>
              </a:cxn>
              <a:cxn ang="0">
                <a:pos x="64" y="66"/>
              </a:cxn>
              <a:cxn ang="0">
                <a:pos x="74" y="68"/>
              </a:cxn>
              <a:cxn ang="0">
                <a:pos x="98" y="88"/>
              </a:cxn>
              <a:cxn ang="0">
                <a:pos x="120" y="88"/>
              </a:cxn>
              <a:cxn ang="0">
                <a:pos x="138" y="88"/>
              </a:cxn>
              <a:cxn ang="0">
                <a:pos x="154" y="86"/>
              </a:cxn>
              <a:cxn ang="0">
                <a:pos x="164" y="80"/>
              </a:cxn>
              <a:cxn ang="0">
                <a:pos x="162" y="72"/>
              </a:cxn>
              <a:cxn ang="0">
                <a:pos x="174" y="58"/>
              </a:cxn>
              <a:cxn ang="0">
                <a:pos x="188" y="56"/>
              </a:cxn>
              <a:cxn ang="0">
                <a:pos x="214" y="40"/>
              </a:cxn>
              <a:cxn ang="0">
                <a:pos x="234" y="46"/>
              </a:cxn>
              <a:cxn ang="0">
                <a:pos x="250" y="32"/>
              </a:cxn>
              <a:cxn ang="0">
                <a:pos x="260" y="24"/>
              </a:cxn>
              <a:cxn ang="0">
                <a:pos x="264" y="10"/>
              </a:cxn>
              <a:cxn ang="0">
                <a:pos x="286" y="4"/>
              </a:cxn>
              <a:cxn ang="0">
                <a:pos x="310" y="6"/>
              </a:cxn>
              <a:cxn ang="0">
                <a:pos x="334" y="10"/>
              </a:cxn>
              <a:cxn ang="0">
                <a:pos x="354" y="16"/>
              </a:cxn>
              <a:cxn ang="0">
                <a:pos x="368" y="12"/>
              </a:cxn>
              <a:cxn ang="0">
                <a:pos x="382" y="26"/>
              </a:cxn>
              <a:cxn ang="0">
                <a:pos x="396" y="36"/>
              </a:cxn>
              <a:cxn ang="0">
                <a:pos x="412" y="38"/>
              </a:cxn>
              <a:cxn ang="0">
                <a:pos x="402" y="66"/>
              </a:cxn>
              <a:cxn ang="0">
                <a:pos x="382" y="72"/>
              </a:cxn>
              <a:cxn ang="0">
                <a:pos x="376" y="86"/>
              </a:cxn>
              <a:cxn ang="0">
                <a:pos x="364" y="98"/>
              </a:cxn>
              <a:cxn ang="0">
                <a:pos x="364" y="108"/>
              </a:cxn>
              <a:cxn ang="0">
                <a:pos x="354" y="132"/>
              </a:cxn>
              <a:cxn ang="0">
                <a:pos x="348" y="146"/>
              </a:cxn>
              <a:cxn ang="0">
                <a:pos x="338" y="172"/>
              </a:cxn>
            </a:cxnLst>
            <a:rect l="0" t="0" r="r" b="b"/>
            <a:pathLst>
              <a:path w="416" h="270">
                <a:moveTo>
                  <a:pt x="338" y="174"/>
                </a:moveTo>
                <a:lnTo>
                  <a:pt x="336" y="174"/>
                </a:lnTo>
                <a:lnTo>
                  <a:pt x="330" y="180"/>
                </a:lnTo>
                <a:lnTo>
                  <a:pt x="328" y="184"/>
                </a:lnTo>
                <a:lnTo>
                  <a:pt x="328" y="188"/>
                </a:lnTo>
                <a:lnTo>
                  <a:pt x="328" y="194"/>
                </a:lnTo>
                <a:lnTo>
                  <a:pt x="324" y="200"/>
                </a:lnTo>
                <a:lnTo>
                  <a:pt x="322" y="200"/>
                </a:lnTo>
                <a:lnTo>
                  <a:pt x="322" y="204"/>
                </a:lnTo>
                <a:lnTo>
                  <a:pt x="322" y="208"/>
                </a:lnTo>
                <a:lnTo>
                  <a:pt x="322" y="210"/>
                </a:lnTo>
                <a:lnTo>
                  <a:pt x="316" y="216"/>
                </a:lnTo>
                <a:lnTo>
                  <a:pt x="314" y="216"/>
                </a:lnTo>
                <a:lnTo>
                  <a:pt x="310" y="216"/>
                </a:lnTo>
                <a:lnTo>
                  <a:pt x="302" y="214"/>
                </a:lnTo>
                <a:lnTo>
                  <a:pt x="300" y="214"/>
                </a:lnTo>
                <a:lnTo>
                  <a:pt x="298" y="214"/>
                </a:lnTo>
                <a:lnTo>
                  <a:pt x="298" y="216"/>
                </a:lnTo>
                <a:lnTo>
                  <a:pt x="296" y="216"/>
                </a:lnTo>
                <a:lnTo>
                  <a:pt x="294" y="222"/>
                </a:lnTo>
                <a:lnTo>
                  <a:pt x="294" y="224"/>
                </a:lnTo>
                <a:lnTo>
                  <a:pt x="292" y="226"/>
                </a:lnTo>
                <a:lnTo>
                  <a:pt x="288" y="228"/>
                </a:lnTo>
                <a:lnTo>
                  <a:pt x="286" y="226"/>
                </a:lnTo>
                <a:lnTo>
                  <a:pt x="284" y="224"/>
                </a:lnTo>
                <a:lnTo>
                  <a:pt x="282" y="224"/>
                </a:lnTo>
                <a:lnTo>
                  <a:pt x="278" y="224"/>
                </a:lnTo>
                <a:lnTo>
                  <a:pt x="270" y="226"/>
                </a:lnTo>
                <a:lnTo>
                  <a:pt x="266" y="228"/>
                </a:lnTo>
                <a:lnTo>
                  <a:pt x="264" y="232"/>
                </a:lnTo>
                <a:lnTo>
                  <a:pt x="264" y="230"/>
                </a:lnTo>
                <a:lnTo>
                  <a:pt x="260" y="228"/>
                </a:lnTo>
                <a:lnTo>
                  <a:pt x="256" y="226"/>
                </a:lnTo>
                <a:lnTo>
                  <a:pt x="246" y="228"/>
                </a:lnTo>
                <a:lnTo>
                  <a:pt x="238" y="228"/>
                </a:lnTo>
                <a:lnTo>
                  <a:pt x="232" y="228"/>
                </a:lnTo>
                <a:lnTo>
                  <a:pt x="230" y="228"/>
                </a:lnTo>
                <a:lnTo>
                  <a:pt x="228" y="228"/>
                </a:lnTo>
                <a:lnTo>
                  <a:pt x="220" y="228"/>
                </a:lnTo>
                <a:lnTo>
                  <a:pt x="216" y="232"/>
                </a:lnTo>
                <a:lnTo>
                  <a:pt x="218" y="234"/>
                </a:lnTo>
                <a:lnTo>
                  <a:pt x="214" y="238"/>
                </a:lnTo>
                <a:lnTo>
                  <a:pt x="204" y="246"/>
                </a:lnTo>
                <a:lnTo>
                  <a:pt x="194" y="246"/>
                </a:lnTo>
                <a:lnTo>
                  <a:pt x="194" y="244"/>
                </a:lnTo>
                <a:lnTo>
                  <a:pt x="190" y="244"/>
                </a:lnTo>
                <a:lnTo>
                  <a:pt x="186" y="250"/>
                </a:lnTo>
                <a:lnTo>
                  <a:pt x="176" y="254"/>
                </a:lnTo>
                <a:lnTo>
                  <a:pt x="174" y="254"/>
                </a:lnTo>
                <a:lnTo>
                  <a:pt x="174" y="256"/>
                </a:lnTo>
                <a:lnTo>
                  <a:pt x="172" y="256"/>
                </a:lnTo>
                <a:lnTo>
                  <a:pt x="168" y="256"/>
                </a:lnTo>
                <a:lnTo>
                  <a:pt x="162" y="262"/>
                </a:lnTo>
                <a:lnTo>
                  <a:pt x="160" y="264"/>
                </a:lnTo>
                <a:lnTo>
                  <a:pt x="158" y="266"/>
                </a:lnTo>
                <a:lnTo>
                  <a:pt x="150" y="270"/>
                </a:lnTo>
                <a:lnTo>
                  <a:pt x="148" y="270"/>
                </a:lnTo>
                <a:lnTo>
                  <a:pt x="144" y="270"/>
                </a:lnTo>
                <a:lnTo>
                  <a:pt x="138" y="270"/>
                </a:lnTo>
                <a:lnTo>
                  <a:pt x="136" y="268"/>
                </a:lnTo>
                <a:lnTo>
                  <a:pt x="134" y="268"/>
                </a:lnTo>
                <a:lnTo>
                  <a:pt x="132" y="268"/>
                </a:lnTo>
                <a:lnTo>
                  <a:pt x="122" y="268"/>
                </a:lnTo>
                <a:lnTo>
                  <a:pt x="114" y="270"/>
                </a:lnTo>
                <a:lnTo>
                  <a:pt x="100" y="264"/>
                </a:lnTo>
                <a:lnTo>
                  <a:pt x="100" y="260"/>
                </a:lnTo>
                <a:lnTo>
                  <a:pt x="98" y="258"/>
                </a:lnTo>
                <a:lnTo>
                  <a:pt x="96" y="256"/>
                </a:lnTo>
                <a:lnTo>
                  <a:pt x="88" y="254"/>
                </a:lnTo>
                <a:lnTo>
                  <a:pt x="86" y="256"/>
                </a:lnTo>
                <a:lnTo>
                  <a:pt x="84" y="256"/>
                </a:lnTo>
                <a:lnTo>
                  <a:pt x="80" y="254"/>
                </a:lnTo>
                <a:lnTo>
                  <a:pt x="78" y="254"/>
                </a:lnTo>
                <a:lnTo>
                  <a:pt x="74" y="248"/>
                </a:lnTo>
                <a:lnTo>
                  <a:pt x="74" y="246"/>
                </a:lnTo>
                <a:lnTo>
                  <a:pt x="72" y="242"/>
                </a:lnTo>
                <a:lnTo>
                  <a:pt x="70" y="236"/>
                </a:lnTo>
                <a:lnTo>
                  <a:pt x="66" y="234"/>
                </a:lnTo>
                <a:lnTo>
                  <a:pt x="60" y="232"/>
                </a:lnTo>
                <a:lnTo>
                  <a:pt x="56" y="230"/>
                </a:lnTo>
                <a:lnTo>
                  <a:pt x="54" y="228"/>
                </a:lnTo>
                <a:lnTo>
                  <a:pt x="52" y="228"/>
                </a:lnTo>
                <a:lnTo>
                  <a:pt x="50" y="224"/>
                </a:lnTo>
                <a:lnTo>
                  <a:pt x="50" y="222"/>
                </a:lnTo>
                <a:lnTo>
                  <a:pt x="50" y="220"/>
                </a:lnTo>
                <a:lnTo>
                  <a:pt x="46" y="216"/>
                </a:lnTo>
                <a:lnTo>
                  <a:pt x="44" y="216"/>
                </a:lnTo>
                <a:lnTo>
                  <a:pt x="36" y="208"/>
                </a:lnTo>
                <a:lnTo>
                  <a:pt x="34" y="208"/>
                </a:lnTo>
                <a:lnTo>
                  <a:pt x="32" y="208"/>
                </a:lnTo>
                <a:lnTo>
                  <a:pt x="26" y="204"/>
                </a:lnTo>
                <a:lnTo>
                  <a:pt x="18" y="192"/>
                </a:lnTo>
                <a:lnTo>
                  <a:pt x="18" y="188"/>
                </a:lnTo>
                <a:lnTo>
                  <a:pt x="18" y="186"/>
                </a:lnTo>
                <a:lnTo>
                  <a:pt x="16" y="186"/>
                </a:lnTo>
                <a:lnTo>
                  <a:pt x="14" y="182"/>
                </a:lnTo>
                <a:lnTo>
                  <a:pt x="14" y="180"/>
                </a:lnTo>
                <a:lnTo>
                  <a:pt x="14" y="178"/>
                </a:lnTo>
                <a:lnTo>
                  <a:pt x="14" y="174"/>
                </a:lnTo>
                <a:lnTo>
                  <a:pt x="12" y="172"/>
                </a:lnTo>
                <a:lnTo>
                  <a:pt x="10" y="172"/>
                </a:lnTo>
                <a:lnTo>
                  <a:pt x="8" y="172"/>
                </a:lnTo>
                <a:lnTo>
                  <a:pt x="4" y="172"/>
                </a:lnTo>
                <a:lnTo>
                  <a:pt x="2" y="174"/>
                </a:lnTo>
                <a:lnTo>
                  <a:pt x="0" y="172"/>
                </a:lnTo>
                <a:lnTo>
                  <a:pt x="2" y="172"/>
                </a:lnTo>
                <a:lnTo>
                  <a:pt x="10" y="164"/>
                </a:lnTo>
                <a:lnTo>
                  <a:pt x="10" y="162"/>
                </a:lnTo>
                <a:lnTo>
                  <a:pt x="12" y="158"/>
                </a:lnTo>
                <a:lnTo>
                  <a:pt x="14" y="158"/>
                </a:lnTo>
                <a:lnTo>
                  <a:pt x="18" y="158"/>
                </a:lnTo>
                <a:lnTo>
                  <a:pt x="22" y="160"/>
                </a:lnTo>
                <a:lnTo>
                  <a:pt x="24" y="158"/>
                </a:lnTo>
                <a:lnTo>
                  <a:pt x="24" y="150"/>
                </a:lnTo>
                <a:lnTo>
                  <a:pt x="22" y="146"/>
                </a:lnTo>
                <a:lnTo>
                  <a:pt x="18" y="140"/>
                </a:lnTo>
                <a:lnTo>
                  <a:pt x="20" y="138"/>
                </a:lnTo>
                <a:lnTo>
                  <a:pt x="22" y="136"/>
                </a:lnTo>
                <a:lnTo>
                  <a:pt x="24" y="134"/>
                </a:lnTo>
                <a:lnTo>
                  <a:pt x="22" y="126"/>
                </a:lnTo>
                <a:lnTo>
                  <a:pt x="20" y="122"/>
                </a:lnTo>
                <a:lnTo>
                  <a:pt x="22" y="122"/>
                </a:lnTo>
                <a:lnTo>
                  <a:pt x="30" y="120"/>
                </a:lnTo>
                <a:lnTo>
                  <a:pt x="34" y="118"/>
                </a:lnTo>
                <a:lnTo>
                  <a:pt x="36" y="112"/>
                </a:lnTo>
                <a:lnTo>
                  <a:pt x="36" y="110"/>
                </a:lnTo>
                <a:lnTo>
                  <a:pt x="34" y="104"/>
                </a:lnTo>
                <a:lnTo>
                  <a:pt x="32" y="102"/>
                </a:lnTo>
                <a:lnTo>
                  <a:pt x="30" y="102"/>
                </a:lnTo>
                <a:lnTo>
                  <a:pt x="22" y="100"/>
                </a:lnTo>
                <a:lnTo>
                  <a:pt x="18" y="98"/>
                </a:lnTo>
                <a:lnTo>
                  <a:pt x="20" y="96"/>
                </a:lnTo>
                <a:lnTo>
                  <a:pt x="26" y="90"/>
                </a:lnTo>
                <a:lnTo>
                  <a:pt x="30" y="90"/>
                </a:lnTo>
                <a:lnTo>
                  <a:pt x="32" y="90"/>
                </a:lnTo>
                <a:lnTo>
                  <a:pt x="36" y="92"/>
                </a:lnTo>
                <a:lnTo>
                  <a:pt x="38" y="96"/>
                </a:lnTo>
                <a:lnTo>
                  <a:pt x="40" y="96"/>
                </a:lnTo>
                <a:lnTo>
                  <a:pt x="42" y="96"/>
                </a:lnTo>
                <a:lnTo>
                  <a:pt x="48" y="96"/>
                </a:lnTo>
                <a:lnTo>
                  <a:pt x="50" y="96"/>
                </a:lnTo>
                <a:lnTo>
                  <a:pt x="58" y="94"/>
                </a:lnTo>
                <a:lnTo>
                  <a:pt x="58" y="92"/>
                </a:lnTo>
                <a:lnTo>
                  <a:pt x="58" y="88"/>
                </a:lnTo>
                <a:lnTo>
                  <a:pt x="58" y="86"/>
                </a:lnTo>
                <a:lnTo>
                  <a:pt x="58" y="80"/>
                </a:lnTo>
                <a:lnTo>
                  <a:pt x="58" y="78"/>
                </a:lnTo>
                <a:lnTo>
                  <a:pt x="60" y="70"/>
                </a:lnTo>
                <a:lnTo>
                  <a:pt x="62" y="68"/>
                </a:lnTo>
                <a:lnTo>
                  <a:pt x="64" y="66"/>
                </a:lnTo>
                <a:lnTo>
                  <a:pt x="64" y="64"/>
                </a:lnTo>
                <a:lnTo>
                  <a:pt x="68" y="64"/>
                </a:lnTo>
                <a:lnTo>
                  <a:pt x="70" y="66"/>
                </a:lnTo>
                <a:lnTo>
                  <a:pt x="72" y="68"/>
                </a:lnTo>
                <a:lnTo>
                  <a:pt x="74" y="68"/>
                </a:lnTo>
                <a:lnTo>
                  <a:pt x="80" y="72"/>
                </a:lnTo>
                <a:lnTo>
                  <a:pt x="80" y="74"/>
                </a:lnTo>
                <a:lnTo>
                  <a:pt x="82" y="76"/>
                </a:lnTo>
                <a:lnTo>
                  <a:pt x="84" y="78"/>
                </a:lnTo>
                <a:lnTo>
                  <a:pt x="98" y="88"/>
                </a:lnTo>
                <a:lnTo>
                  <a:pt x="102" y="88"/>
                </a:lnTo>
                <a:lnTo>
                  <a:pt x="108" y="88"/>
                </a:lnTo>
                <a:lnTo>
                  <a:pt x="110" y="88"/>
                </a:lnTo>
                <a:lnTo>
                  <a:pt x="114" y="88"/>
                </a:lnTo>
                <a:lnTo>
                  <a:pt x="120" y="88"/>
                </a:lnTo>
                <a:lnTo>
                  <a:pt x="124" y="88"/>
                </a:lnTo>
                <a:lnTo>
                  <a:pt x="128" y="88"/>
                </a:lnTo>
                <a:lnTo>
                  <a:pt x="134" y="88"/>
                </a:lnTo>
                <a:lnTo>
                  <a:pt x="136" y="88"/>
                </a:lnTo>
                <a:lnTo>
                  <a:pt x="138" y="88"/>
                </a:lnTo>
                <a:lnTo>
                  <a:pt x="140" y="86"/>
                </a:lnTo>
                <a:lnTo>
                  <a:pt x="144" y="86"/>
                </a:lnTo>
                <a:lnTo>
                  <a:pt x="150" y="86"/>
                </a:lnTo>
                <a:lnTo>
                  <a:pt x="152" y="86"/>
                </a:lnTo>
                <a:lnTo>
                  <a:pt x="154" y="86"/>
                </a:lnTo>
                <a:lnTo>
                  <a:pt x="156" y="86"/>
                </a:lnTo>
                <a:lnTo>
                  <a:pt x="158" y="84"/>
                </a:lnTo>
                <a:lnTo>
                  <a:pt x="160" y="82"/>
                </a:lnTo>
                <a:lnTo>
                  <a:pt x="162" y="80"/>
                </a:lnTo>
                <a:lnTo>
                  <a:pt x="164" y="80"/>
                </a:lnTo>
                <a:lnTo>
                  <a:pt x="168" y="80"/>
                </a:lnTo>
                <a:lnTo>
                  <a:pt x="168" y="78"/>
                </a:lnTo>
                <a:lnTo>
                  <a:pt x="166" y="76"/>
                </a:lnTo>
                <a:lnTo>
                  <a:pt x="164" y="76"/>
                </a:lnTo>
                <a:lnTo>
                  <a:pt x="162" y="72"/>
                </a:lnTo>
                <a:lnTo>
                  <a:pt x="162" y="66"/>
                </a:lnTo>
                <a:lnTo>
                  <a:pt x="166" y="60"/>
                </a:lnTo>
                <a:lnTo>
                  <a:pt x="166" y="58"/>
                </a:lnTo>
                <a:lnTo>
                  <a:pt x="170" y="58"/>
                </a:lnTo>
                <a:lnTo>
                  <a:pt x="174" y="58"/>
                </a:lnTo>
                <a:lnTo>
                  <a:pt x="174" y="56"/>
                </a:lnTo>
                <a:lnTo>
                  <a:pt x="176" y="56"/>
                </a:lnTo>
                <a:lnTo>
                  <a:pt x="178" y="56"/>
                </a:lnTo>
                <a:lnTo>
                  <a:pt x="184" y="56"/>
                </a:lnTo>
                <a:lnTo>
                  <a:pt x="188" y="56"/>
                </a:lnTo>
                <a:lnTo>
                  <a:pt x="204" y="52"/>
                </a:lnTo>
                <a:lnTo>
                  <a:pt x="206" y="48"/>
                </a:lnTo>
                <a:lnTo>
                  <a:pt x="206" y="46"/>
                </a:lnTo>
                <a:lnTo>
                  <a:pt x="208" y="42"/>
                </a:lnTo>
                <a:lnTo>
                  <a:pt x="214" y="40"/>
                </a:lnTo>
                <a:lnTo>
                  <a:pt x="216" y="40"/>
                </a:lnTo>
                <a:lnTo>
                  <a:pt x="222" y="40"/>
                </a:lnTo>
                <a:lnTo>
                  <a:pt x="224" y="42"/>
                </a:lnTo>
                <a:lnTo>
                  <a:pt x="232" y="48"/>
                </a:lnTo>
                <a:lnTo>
                  <a:pt x="234" y="46"/>
                </a:lnTo>
                <a:lnTo>
                  <a:pt x="236" y="44"/>
                </a:lnTo>
                <a:lnTo>
                  <a:pt x="240" y="44"/>
                </a:lnTo>
                <a:lnTo>
                  <a:pt x="242" y="40"/>
                </a:lnTo>
                <a:lnTo>
                  <a:pt x="244" y="38"/>
                </a:lnTo>
                <a:lnTo>
                  <a:pt x="250" y="32"/>
                </a:lnTo>
                <a:lnTo>
                  <a:pt x="254" y="34"/>
                </a:lnTo>
                <a:lnTo>
                  <a:pt x="256" y="34"/>
                </a:lnTo>
                <a:lnTo>
                  <a:pt x="256" y="32"/>
                </a:lnTo>
                <a:lnTo>
                  <a:pt x="258" y="30"/>
                </a:lnTo>
                <a:lnTo>
                  <a:pt x="260" y="24"/>
                </a:lnTo>
                <a:lnTo>
                  <a:pt x="260" y="20"/>
                </a:lnTo>
                <a:lnTo>
                  <a:pt x="262" y="18"/>
                </a:lnTo>
                <a:lnTo>
                  <a:pt x="262" y="16"/>
                </a:lnTo>
                <a:lnTo>
                  <a:pt x="264" y="12"/>
                </a:lnTo>
                <a:lnTo>
                  <a:pt x="264" y="10"/>
                </a:lnTo>
                <a:lnTo>
                  <a:pt x="268" y="8"/>
                </a:lnTo>
                <a:lnTo>
                  <a:pt x="274" y="6"/>
                </a:lnTo>
                <a:lnTo>
                  <a:pt x="278" y="4"/>
                </a:lnTo>
                <a:lnTo>
                  <a:pt x="284" y="2"/>
                </a:lnTo>
                <a:lnTo>
                  <a:pt x="286" y="4"/>
                </a:lnTo>
                <a:lnTo>
                  <a:pt x="288" y="6"/>
                </a:lnTo>
                <a:lnTo>
                  <a:pt x="292" y="6"/>
                </a:lnTo>
                <a:lnTo>
                  <a:pt x="300" y="8"/>
                </a:lnTo>
                <a:lnTo>
                  <a:pt x="304" y="8"/>
                </a:lnTo>
                <a:lnTo>
                  <a:pt x="310" y="6"/>
                </a:lnTo>
                <a:lnTo>
                  <a:pt x="314" y="2"/>
                </a:lnTo>
                <a:lnTo>
                  <a:pt x="322" y="0"/>
                </a:lnTo>
                <a:lnTo>
                  <a:pt x="326" y="2"/>
                </a:lnTo>
                <a:lnTo>
                  <a:pt x="332" y="6"/>
                </a:lnTo>
                <a:lnTo>
                  <a:pt x="334" y="10"/>
                </a:lnTo>
                <a:lnTo>
                  <a:pt x="340" y="18"/>
                </a:lnTo>
                <a:lnTo>
                  <a:pt x="344" y="20"/>
                </a:lnTo>
                <a:lnTo>
                  <a:pt x="346" y="20"/>
                </a:lnTo>
                <a:lnTo>
                  <a:pt x="348" y="18"/>
                </a:lnTo>
                <a:lnTo>
                  <a:pt x="354" y="16"/>
                </a:lnTo>
                <a:lnTo>
                  <a:pt x="356" y="14"/>
                </a:lnTo>
                <a:lnTo>
                  <a:pt x="360" y="14"/>
                </a:lnTo>
                <a:lnTo>
                  <a:pt x="364" y="14"/>
                </a:lnTo>
                <a:lnTo>
                  <a:pt x="366" y="12"/>
                </a:lnTo>
                <a:lnTo>
                  <a:pt x="368" y="12"/>
                </a:lnTo>
                <a:lnTo>
                  <a:pt x="370" y="10"/>
                </a:lnTo>
                <a:lnTo>
                  <a:pt x="374" y="12"/>
                </a:lnTo>
                <a:lnTo>
                  <a:pt x="374" y="16"/>
                </a:lnTo>
                <a:lnTo>
                  <a:pt x="380" y="22"/>
                </a:lnTo>
                <a:lnTo>
                  <a:pt x="382" y="26"/>
                </a:lnTo>
                <a:lnTo>
                  <a:pt x="386" y="26"/>
                </a:lnTo>
                <a:lnTo>
                  <a:pt x="388" y="24"/>
                </a:lnTo>
                <a:lnTo>
                  <a:pt x="394" y="30"/>
                </a:lnTo>
                <a:lnTo>
                  <a:pt x="396" y="34"/>
                </a:lnTo>
                <a:lnTo>
                  <a:pt x="396" y="36"/>
                </a:lnTo>
                <a:lnTo>
                  <a:pt x="398" y="38"/>
                </a:lnTo>
                <a:lnTo>
                  <a:pt x="400" y="38"/>
                </a:lnTo>
                <a:lnTo>
                  <a:pt x="404" y="36"/>
                </a:lnTo>
                <a:lnTo>
                  <a:pt x="408" y="36"/>
                </a:lnTo>
                <a:lnTo>
                  <a:pt x="412" y="38"/>
                </a:lnTo>
                <a:lnTo>
                  <a:pt x="414" y="42"/>
                </a:lnTo>
                <a:lnTo>
                  <a:pt x="412" y="46"/>
                </a:lnTo>
                <a:lnTo>
                  <a:pt x="416" y="48"/>
                </a:lnTo>
                <a:lnTo>
                  <a:pt x="408" y="60"/>
                </a:lnTo>
                <a:lnTo>
                  <a:pt x="402" y="66"/>
                </a:lnTo>
                <a:lnTo>
                  <a:pt x="400" y="68"/>
                </a:lnTo>
                <a:lnTo>
                  <a:pt x="396" y="68"/>
                </a:lnTo>
                <a:lnTo>
                  <a:pt x="392" y="66"/>
                </a:lnTo>
                <a:lnTo>
                  <a:pt x="390" y="66"/>
                </a:lnTo>
                <a:lnTo>
                  <a:pt x="382" y="72"/>
                </a:lnTo>
                <a:lnTo>
                  <a:pt x="380" y="74"/>
                </a:lnTo>
                <a:lnTo>
                  <a:pt x="376" y="78"/>
                </a:lnTo>
                <a:lnTo>
                  <a:pt x="376" y="82"/>
                </a:lnTo>
                <a:lnTo>
                  <a:pt x="376" y="84"/>
                </a:lnTo>
                <a:lnTo>
                  <a:pt x="376" y="86"/>
                </a:lnTo>
                <a:lnTo>
                  <a:pt x="374" y="86"/>
                </a:lnTo>
                <a:lnTo>
                  <a:pt x="372" y="88"/>
                </a:lnTo>
                <a:lnTo>
                  <a:pt x="366" y="92"/>
                </a:lnTo>
                <a:lnTo>
                  <a:pt x="364" y="94"/>
                </a:lnTo>
                <a:lnTo>
                  <a:pt x="364" y="98"/>
                </a:lnTo>
                <a:lnTo>
                  <a:pt x="366" y="100"/>
                </a:lnTo>
                <a:lnTo>
                  <a:pt x="366" y="102"/>
                </a:lnTo>
                <a:lnTo>
                  <a:pt x="366" y="106"/>
                </a:lnTo>
                <a:lnTo>
                  <a:pt x="366" y="108"/>
                </a:lnTo>
                <a:lnTo>
                  <a:pt x="364" y="108"/>
                </a:lnTo>
                <a:lnTo>
                  <a:pt x="360" y="110"/>
                </a:lnTo>
                <a:lnTo>
                  <a:pt x="358" y="114"/>
                </a:lnTo>
                <a:lnTo>
                  <a:pt x="356" y="122"/>
                </a:lnTo>
                <a:lnTo>
                  <a:pt x="358" y="124"/>
                </a:lnTo>
                <a:lnTo>
                  <a:pt x="354" y="132"/>
                </a:lnTo>
                <a:lnTo>
                  <a:pt x="352" y="134"/>
                </a:lnTo>
                <a:lnTo>
                  <a:pt x="350" y="136"/>
                </a:lnTo>
                <a:lnTo>
                  <a:pt x="346" y="142"/>
                </a:lnTo>
                <a:lnTo>
                  <a:pt x="350" y="142"/>
                </a:lnTo>
                <a:lnTo>
                  <a:pt x="348" y="146"/>
                </a:lnTo>
                <a:lnTo>
                  <a:pt x="346" y="154"/>
                </a:lnTo>
                <a:lnTo>
                  <a:pt x="340" y="160"/>
                </a:lnTo>
                <a:lnTo>
                  <a:pt x="338" y="166"/>
                </a:lnTo>
                <a:lnTo>
                  <a:pt x="340" y="170"/>
                </a:lnTo>
                <a:lnTo>
                  <a:pt x="338" y="172"/>
                </a:lnTo>
                <a:lnTo>
                  <a:pt x="338" y="17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5" name="Freeform 2636"/>
          <p:cNvSpPr>
            <a:spLocks/>
          </p:cNvSpPr>
          <p:nvPr/>
        </p:nvSpPr>
        <p:spPr bwMode="auto">
          <a:xfrm>
            <a:off x="4771956" y="4642639"/>
            <a:ext cx="700019" cy="354440"/>
          </a:xfrm>
          <a:custGeom>
            <a:avLst/>
            <a:gdLst/>
            <a:ahLst/>
            <a:cxnLst>
              <a:cxn ang="0">
                <a:pos x="48" y="178"/>
              </a:cxn>
              <a:cxn ang="0">
                <a:pos x="36" y="190"/>
              </a:cxn>
              <a:cxn ang="0">
                <a:pos x="20" y="180"/>
              </a:cxn>
              <a:cxn ang="0">
                <a:pos x="4" y="168"/>
              </a:cxn>
              <a:cxn ang="0">
                <a:pos x="4" y="160"/>
              </a:cxn>
              <a:cxn ang="0">
                <a:pos x="8" y="140"/>
              </a:cxn>
              <a:cxn ang="0">
                <a:pos x="4" y="124"/>
              </a:cxn>
              <a:cxn ang="0">
                <a:pos x="16" y="122"/>
              </a:cxn>
              <a:cxn ang="0">
                <a:pos x="44" y="142"/>
              </a:cxn>
              <a:cxn ang="0">
                <a:pos x="50" y="148"/>
              </a:cxn>
              <a:cxn ang="0">
                <a:pos x="58" y="124"/>
              </a:cxn>
              <a:cxn ang="0">
                <a:pos x="90" y="142"/>
              </a:cxn>
              <a:cxn ang="0">
                <a:pos x="120" y="134"/>
              </a:cxn>
              <a:cxn ang="0">
                <a:pos x="150" y="124"/>
              </a:cxn>
              <a:cxn ang="0">
                <a:pos x="168" y="126"/>
              </a:cxn>
              <a:cxn ang="0">
                <a:pos x="190" y="124"/>
              </a:cxn>
              <a:cxn ang="0">
                <a:pos x="204" y="126"/>
              </a:cxn>
              <a:cxn ang="0">
                <a:pos x="220" y="138"/>
              </a:cxn>
              <a:cxn ang="0">
                <a:pos x="216" y="118"/>
              </a:cxn>
              <a:cxn ang="0">
                <a:pos x="214" y="100"/>
              </a:cxn>
              <a:cxn ang="0">
                <a:pos x="206" y="86"/>
              </a:cxn>
              <a:cxn ang="0">
                <a:pos x="228" y="64"/>
              </a:cxn>
              <a:cxn ang="0">
                <a:pos x="242" y="58"/>
              </a:cxn>
              <a:cxn ang="0">
                <a:pos x="250" y="38"/>
              </a:cxn>
              <a:cxn ang="0">
                <a:pos x="268" y="38"/>
              </a:cxn>
              <a:cxn ang="0">
                <a:pos x="280" y="26"/>
              </a:cxn>
              <a:cxn ang="0">
                <a:pos x="306" y="36"/>
              </a:cxn>
              <a:cxn ang="0">
                <a:pos x="322" y="38"/>
              </a:cxn>
              <a:cxn ang="0">
                <a:pos x="332" y="20"/>
              </a:cxn>
              <a:cxn ang="0">
                <a:pos x="340" y="0"/>
              </a:cxn>
              <a:cxn ang="0">
                <a:pos x="362" y="2"/>
              </a:cxn>
              <a:cxn ang="0">
                <a:pos x="376" y="10"/>
              </a:cxn>
              <a:cxn ang="0">
                <a:pos x="402" y="22"/>
              </a:cxn>
              <a:cxn ang="0">
                <a:pos x="424" y="24"/>
              </a:cxn>
              <a:cxn ang="0">
                <a:pos x="440" y="20"/>
              </a:cxn>
              <a:cxn ang="0">
                <a:pos x="456" y="24"/>
              </a:cxn>
              <a:cxn ang="0">
                <a:pos x="456" y="44"/>
              </a:cxn>
              <a:cxn ang="0">
                <a:pos x="460" y="66"/>
              </a:cxn>
              <a:cxn ang="0">
                <a:pos x="468" y="80"/>
              </a:cxn>
              <a:cxn ang="0">
                <a:pos x="470" y="94"/>
              </a:cxn>
              <a:cxn ang="0">
                <a:pos x="468" y="116"/>
              </a:cxn>
              <a:cxn ang="0">
                <a:pos x="450" y="120"/>
              </a:cxn>
              <a:cxn ang="0">
                <a:pos x="436" y="114"/>
              </a:cxn>
              <a:cxn ang="0">
                <a:pos x="442" y="126"/>
              </a:cxn>
              <a:cxn ang="0">
                <a:pos x="440" y="144"/>
              </a:cxn>
              <a:cxn ang="0">
                <a:pos x="432" y="160"/>
              </a:cxn>
              <a:cxn ang="0">
                <a:pos x="434" y="182"/>
              </a:cxn>
              <a:cxn ang="0">
                <a:pos x="420" y="186"/>
              </a:cxn>
              <a:cxn ang="0">
                <a:pos x="402" y="200"/>
              </a:cxn>
              <a:cxn ang="0">
                <a:pos x="378" y="214"/>
              </a:cxn>
              <a:cxn ang="0">
                <a:pos x="332" y="220"/>
              </a:cxn>
              <a:cxn ang="0">
                <a:pos x="308" y="238"/>
              </a:cxn>
              <a:cxn ang="0">
                <a:pos x="274" y="228"/>
              </a:cxn>
              <a:cxn ang="0">
                <a:pos x="250" y="224"/>
              </a:cxn>
              <a:cxn ang="0">
                <a:pos x="198" y="216"/>
              </a:cxn>
              <a:cxn ang="0">
                <a:pos x="180" y="210"/>
              </a:cxn>
              <a:cxn ang="0">
                <a:pos x="162" y="188"/>
              </a:cxn>
              <a:cxn ang="0">
                <a:pos x="168" y="174"/>
              </a:cxn>
              <a:cxn ang="0">
                <a:pos x="136" y="182"/>
              </a:cxn>
              <a:cxn ang="0">
                <a:pos x="98" y="186"/>
              </a:cxn>
              <a:cxn ang="0">
                <a:pos x="82" y="200"/>
              </a:cxn>
              <a:cxn ang="0">
                <a:pos x="66" y="190"/>
              </a:cxn>
              <a:cxn ang="0">
                <a:pos x="56" y="188"/>
              </a:cxn>
            </a:cxnLst>
            <a:rect l="0" t="0" r="r" b="b"/>
            <a:pathLst>
              <a:path w="474" h="240">
                <a:moveTo>
                  <a:pt x="56" y="188"/>
                </a:moveTo>
                <a:lnTo>
                  <a:pt x="58" y="182"/>
                </a:lnTo>
                <a:lnTo>
                  <a:pt x="54" y="178"/>
                </a:lnTo>
                <a:lnTo>
                  <a:pt x="52" y="176"/>
                </a:lnTo>
                <a:lnTo>
                  <a:pt x="48" y="178"/>
                </a:lnTo>
                <a:lnTo>
                  <a:pt x="48" y="180"/>
                </a:lnTo>
                <a:lnTo>
                  <a:pt x="46" y="182"/>
                </a:lnTo>
                <a:lnTo>
                  <a:pt x="40" y="186"/>
                </a:lnTo>
                <a:lnTo>
                  <a:pt x="36" y="188"/>
                </a:lnTo>
                <a:lnTo>
                  <a:pt x="36" y="190"/>
                </a:lnTo>
                <a:lnTo>
                  <a:pt x="34" y="190"/>
                </a:lnTo>
                <a:lnTo>
                  <a:pt x="32" y="190"/>
                </a:lnTo>
                <a:lnTo>
                  <a:pt x="30" y="188"/>
                </a:lnTo>
                <a:lnTo>
                  <a:pt x="22" y="182"/>
                </a:lnTo>
                <a:lnTo>
                  <a:pt x="20" y="180"/>
                </a:lnTo>
                <a:lnTo>
                  <a:pt x="20" y="178"/>
                </a:lnTo>
                <a:lnTo>
                  <a:pt x="20" y="174"/>
                </a:lnTo>
                <a:lnTo>
                  <a:pt x="20" y="172"/>
                </a:lnTo>
                <a:lnTo>
                  <a:pt x="10" y="170"/>
                </a:lnTo>
                <a:lnTo>
                  <a:pt x="4" y="168"/>
                </a:lnTo>
                <a:lnTo>
                  <a:pt x="2" y="168"/>
                </a:lnTo>
                <a:lnTo>
                  <a:pt x="4" y="166"/>
                </a:lnTo>
                <a:lnTo>
                  <a:pt x="4" y="164"/>
                </a:lnTo>
                <a:lnTo>
                  <a:pt x="6" y="162"/>
                </a:lnTo>
                <a:lnTo>
                  <a:pt x="4" y="160"/>
                </a:lnTo>
                <a:lnTo>
                  <a:pt x="2" y="150"/>
                </a:lnTo>
                <a:lnTo>
                  <a:pt x="0" y="148"/>
                </a:lnTo>
                <a:lnTo>
                  <a:pt x="0" y="146"/>
                </a:lnTo>
                <a:lnTo>
                  <a:pt x="6" y="140"/>
                </a:lnTo>
                <a:lnTo>
                  <a:pt x="8" y="140"/>
                </a:lnTo>
                <a:lnTo>
                  <a:pt x="8" y="138"/>
                </a:lnTo>
                <a:lnTo>
                  <a:pt x="8" y="132"/>
                </a:lnTo>
                <a:lnTo>
                  <a:pt x="4" y="130"/>
                </a:lnTo>
                <a:lnTo>
                  <a:pt x="4" y="128"/>
                </a:lnTo>
                <a:lnTo>
                  <a:pt x="4" y="124"/>
                </a:lnTo>
                <a:lnTo>
                  <a:pt x="6" y="126"/>
                </a:lnTo>
                <a:lnTo>
                  <a:pt x="8" y="126"/>
                </a:lnTo>
                <a:lnTo>
                  <a:pt x="12" y="126"/>
                </a:lnTo>
                <a:lnTo>
                  <a:pt x="14" y="124"/>
                </a:lnTo>
                <a:lnTo>
                  <a:pt x="16" y="122"/>
                </a:lnTo>
                <a:lnTo>
                  <a:pt x="16" y="120"/>
                </a:lnTo>
                <a:lnTo>
                  <a:pt x="20" y="120"/>
                </a:lnTo>
                <a:lnTo>
                  <a:pt x="28" y="126"/>
                </a:lnTo>
                <a:lnTo>
                  <a:pt x="32" y="130"/>
                </a:lnTo>
                <a:lnTo>
                  <a:pt x="44" y="142"/>
                </a:lnTo>
                <a:lnTo>
                  <a:pt x="42" y="146"/>
                </a:lnTo>
                <a:lnTo>
                  <a:pt x="40" y="150"/>
                </a:lnTo>
                <a:lnTo>
                  <a:pt x="44" y="150"/>
                </a:lnTo>
                <a:lnTo>
                  <a:pt x="46" y="150"/>
                </a:lnTo>
                <a:lnTo>
                  <a:pt x="50" y="148"/>
                </a:lnTo>
                <a:lnTo>
                  <a:pt x="56" y="140"/>
                </a:lnTo>
                <a:lnTo>
                  <a:pt x="60" y="136"/>
                </a:lnTo>
                <a:lnTo>
                  <a:pt x="58" y="132"/>
                </a:lnTo>
                <a:lnTo>
                  <a:pt x="56" y="128"/>
                </a:lnTo>
                <a:lnTo>
                  <a:pt x="58" y="124"/>
                </a:lnTo>
                <a:lnTo>
                  <a:pt x="60" y="122"/>
                </a:lnTo>
                <a:lnTo>
                  <a:pt x="66" y="128"/>
                </a:lnTo>
                <a:lnTo>
                  <a:pt x="74" y="126"/>
                </a:lnTo>
                <a:lnTo>
                  <a:pt x="86" y="130"/>
                </a:lnTo>
                <a:lnTo>
                  <a:pt x="90" y="142"/>
                </a:lnTo>
                <a:lnTo>
                  <a:pt x="92" y="142"/>
                </a:lnTo>
                <a:lnTo>
                  <a:pt x="94" y="142"/>
                </a:lnTo>
                <a:lnTo>
                  <a:pt x="98" y="142"/>
                </a:lnTo>
                <a:lnTo>
                  <a:pt x="110" y="140"/>
                </a:lnTo>
                <a:lnTo>
                  <a:pt x="120" y="134"/>
                </a:lnTo>
                <a:lnTo>
                  <a:pt x="124" y="134"/>
                </a:lnTo>
                <a:lnTo>
                  <a:pt x="126" y="134"/>
                </a:lnTo>
                <a:lnTo>
                  <a:pt x="128" y="132"/>
                </a:lnTo>
                <a:lnTo>
                  <a:pt x="136" y="126"/>
                </a:lnTo>
                <a:lnTo>
                  <a:pt x="150" y="124"/>
                </a:lnTo>
                <a:lnTo>
                  <a:pt x="156" y="124"/>
                </a:lnTo>
                <a:lnTo>
                  <a:pt x="158" y="124"/>
                </a:lnTo>
                <a:lnTo>
                  <a:pt x="162" y="126"/>
                </a:lnTo>
                <a:lnTo>
                  <a:pt x="164" y="126"/>
                </a:lnTo>
                <a:lnTo>
                  <a:pt x="168" y="126"/>
                </a:lnTo>
                <a:lnTo>
                  <a:pt x="168" y="124"/>
                </a:lnTo>
                <a:lnTo>
                  <a:pt x="168" y="120"/>
                </a:lnTo>
                <a:lnTo>
                  <a:pt x="182" y="120"/>
                </a:lnTo>
                <a:lnTo>
                  <a:pt x="186" y="124"/>
                </a:lnTo>
                <a:lnTo>
                  <a:pt x="190" y="124"/>
                </a:lnTo>
                <a:lnTo>
                  <a:pt x="192" y="120"/>
                </a:lnTo>
                <a:lnTo>
                  <a:pt x="196" y="120"/>
                </a:lnTo>
                <a:lnTo>
                  <a:pt x="200" y="120"/>
                </a:lnTo>
                <a:lnTo>
                  <a:pt x="206" y="126"/>
                </a:lnTo>
                <a:lnTo>
                  <a:pt x="204" y="126"/>
                </a:lnTo>
                <a:lnTo>
                  <a:pt x="204" y="130"/>
                </a:lnTo>
                <a:lnTo>
                  <a:pt x="204" y="132"/>
                </a:lnTo>
                <a:lnTo>
                  <a:pt x="214" y="140"/>
                </a:lnTo>
                <a:lnTo>
                  <a:pt x="218" y="140"/>
                </a:lnTo>
                <a:lnTo>
                  <a:pt x="220" y="138"/>
                </a:lnTo>
                <a:lnTo>
                  <a:pt x="222" y="124"/>
                </a:lnTo>
                <a:lnTo>
                  <a:pt x="222" y="120"/>
                </a:lnTo>
                <a:lnTo>
                  <a:pt x="220" y="118"/>
                </a:lnTo>
                <a:lnTo>
                  <a:pt x="218" y="116"/>
                </a:lnTo>
                <a:lnTo>
                  <a:pt x="216" y="118"/>
                </a:lnTo>
                <a:lnTo>
                  <a:pt x="212" y="116"/>
                </a:lnTo>
                <a:lnTo>
                  <a:pt x="214" y="110"/>
                </a:lnTo>
                <a:lnTo>
                  <a:pt x="214" y="108"/>
                </a:lnTo>
                <a:lnTo>
                  <a:pt x="218" y="104"/>
                </a:lnTo>
                <a:lnTo>
                  <a:pt x="214" y="100"/>
                </a:lnTo>
                <a:lnTo>
                  <a:pt x="212" y="96"/>
                </a:lnTo>
                <a:lnTo>
                  <a:pt x="210" y="92"/>
                </a:lnTo>
                <a:lnTo>
                  <a:pt x="208" y="90"/>
                </a:lnTo>
                <a:lnTo>
                  <a:pt x="208" y="88"/>
                </a:lnTo>
                <a:lnTo>
                  <a:pt x="206" y="86"/>
                </a:lnTo>
                <a:lnTo>
                  <a:pt x="204" y="84"/>
                </a:lnTo>
                <a:lnTo>
                  <a:pt x="202" y="80"/>
                </a:lnTo>
                <a:lnTo>
                  <a:pt x="210" y="72"/>
                </a:lnTo>
                <a:lnTo>
                  <a:pt x="218" y="68"/>
                </a:lnTo>
                <a:lnTo>
                  <a:pt x="228" y="64"/>
                </a:lnTo>
                <a:lnTo>
                  <a:pt x="234" y="64"/>
                </a:lnTo>
                <a:lnTo>
                  <a:pt x="236" y="64"/>
                </a:lnTo>
                <a:lnTo>
                  <a:pt x="238" y="64"/>
                </a:lnTo>
                <a:lnTo>
                  <a:pt x="238" y="62"/>
                </a:lnTo>
                <a:lnTo>
                  <a:pt x="242" y="58"/>
                </a:lnTo>
                <a:lnTo>
                  <a:pt x="244" y="56"/>
                </a:lnTo>
                <a:lnTo>
                  <a:pt x="246" y="52"/>
                </a:lnTo>
                <a:lnTo>
                  <a:pt x="246" y="44"/>
                </a:lnTo>
                <a:lnTo>
                  <a:pt x="246" y="40"/>
                </a:lnTo>
                <a:lnTo>
                  <a:pt x="250" y="38"/>
                </a:lnTo>
                <a:lnTo>
                  <a:pt x="254" y="40"/>
                </a:lnTo>
                <a:lnTo>
                  <a:pt x="258" y="42"/>
                </a:lnTo>
                <a:lnTo>
                  <a:pt x="260" y="42"/>
                </a:lnTo>
                <a:lnTo>
                  <a:pt x="262" y="44"/>
                </a:lnTo>
                <a:lnTo>
                  <a:pt x="268" y="38"/>
                </a:lnTo>
                <a:lnTo>
                  <a:pt x="268" y="34"/>
                </a:lnTo>
                <a:lnTo>
                  <a:pt x="268" y="24"/>
                </a:lnTo>
                <a:lnTo>
                  <a:pt x="270" y="22"/>
                </a:lnTo>
                <a:lnTo>
                  <a:pt x="272" y="22"/>
                </a:lnTo>
                <a:lnTo>
                  <a:pt x="280" y="26"/>
                </a:lnTo>
                <a:lnTo>
                  <a:pt x="284" y="30"/>
                </a:lnTo>
                <a:lnTo>
                  <a:pt x="290" y="38"/>
                </a:lnTo>
                <a:lnTo>
                  <a:pt x="296" y="38"/>
                </a:lnTo>
                <a:lnTo>
                  <a:pt x="304" y="38"/>
                </a:lnTo>
                <a:lnTo>
                  <a:pt x="306" y="36"/>
                </a:lnTo>
                <a:lnTo>
                  <a:pt x="310" y="34"/>
                </a:lnTo>
                <a:lnTo>
                  <a:pt x="316" y="34"/>
                </a:lnTo>
                <a:lnTo>
                  <a:pt x="320" y="36"/>
                </a:lnTo>
                <a:lnTo>
                  <a:pt x="322" y="40"/>
                </a:lnTo>
                <a:lnTo>
                  <a:pt x="322" y="38"/>
                </a:lnTo>
                <a:lnTo>
                  <a:pt x="324" y="38"/>
                </a:lnTo>
                <a:lnTo>
                  <a:pt x="324" y="32"/>
                </a:lnTo>
                <a:lnTo>
                  <a:pt x="324" y="30"/>
                </a:lnTo>
                <a:lnTo>
                  <a:pt x="330" y="20"/>
                </a:lnTo>
                <a:lnTo>
                  <a:pt x="332" y="20"/>
                </a:lnTo>
                <a:lnTo>
                  <a:pt x="332" y="22"/>
                </a:lnTo>
                <a:lnTo>
                  <a:pt x="338" y="20"/>
                </a:lnTo>
                <a:lnTo>
                  <a:pt x="340" y="6"/>
                </a:lnTo>
                <a:lnTo>
                  <a:pt x="340" y="2"/>
                </a:lnTo>
                <a:lnTo>
                  <a:pt x="340" y="0"/>
                </a:lnTo>
                <a:lnTo>
                  <a:pt x="342" y="0"/>
                </a:lnTo>
                <a:lnTo>
                  <a:pt x="344" y="0"/>
                </a:lnTo>
                <a:lnTo>
                  <a:pt x="350" y="2"/>
                </a:lnTo>
                <a:lnTo>
                  <a:pt x="358" y="2"/>
                </a:lnTo>
                <a:lnTo>
                  <a:pt x="362" y="2"/>
                </a:lnTo>
                <a:lnTo>
                  <a:pt x="364" y="4"/>
                </a:lnTo>
                <a:lnTo>
                  <a:pt x="368" y="6"/>
                </a:lnTo>
                <a:lnTo>
                  <a:pt x="372" y="8"/>
                </a:lnTo>
                <a:lnTo>
                  <a:pt x="374" y="10"/>
                </a:lnTo>
                <a:lnTo>
                  <a:pt x="376" y="10"/>
                </a:lnTo>
                <a:lnTo>
                  <a:pt x="382" y="14"/>
                </a:lnTo>
                <a:lnTo>
                  <a:pt x="386" y="14"/>
                </a:lnTo>
                <a:lnTo>
                  <a:pt x="392" y="14"/>
                </a:lnTo>
                <a:lnTo>
                  <a:pt x="398" y="18"/>
                </a:lnTo>
                <a:lnTo>
                  <a:pt x="402" y="22"/>
                </a:lnTo>
                <a:lnTo>
                  <a:pt x="404" y="22"/>
                </a:lnTo>
                <a:lnTo>
                  <a:pt x="406" y="22"/>
                </a:lnTo>
                <a:lnTo>
                  <a:pt x="406" y="24"/>
                </a:lnTo>
                <a:lnTo>
                  <a:pt x="422" y="24"/>
                </a:lnTo>
                <a:lnTo>
                  <a:pt x="424" y="24"/>
                </a:lnTo>
                <a:lnTo>
                  <a:pt x="426" y="22"/>
                </a:lnTo>
                <a:lnTo>
                  <a:pt x="428" y="20"/>
                </a:lnTo>
                <a:lnTo>
                  <a:pt x="428" y="18"/>
                </a:lnTo>
                <a:lnTo>
                  <a:pt x="434" y="18"/>
                </a:lnTo>
                <a:lnTo>
                  <a:pt x="440" y="20"/>
                </a:lnTo>
                <a:lnTo>
                  <a:pt x="444" y="22"/>
                </a:lnTo>
                <a:lnTo>
                  <a:pt x="448" y="26"/>
                </a:lnTo>
                <a:lnTo>
                  <a:pt x="452" y="26"/>
                </a:lnTo>
                <a:lnTo>
                  <a:pt x="454" y="26"/>
                </a:lnTo>
                <a:lnTo>
                  <a:pt x="456" y="24"/>
                </a:lnTo>
                <a:lnTo>
                  <a:pt x="456" y="26"/>
                </a:lnTo>
                <a:lnTo>
                  <a:pt x="458" y="34"/>
                </a:lnTo>
                <a:lnTo>
                  <a:pt x="458" y="38"/>
                </a:lnTo>
                <a:lnTo>
                  <a:pt x="458" y="42"/>
                </a:lnTo>
                <a:lnTo>
                  <a:pt x="456" y="44"/>
                </a:lnTo>
                <a:lnTo>
                  <a:pt x="454" y="48"/>
                </a:lnTo>
                <a:lnTo>
                  <a:pt x="454" y="50"/>
                </a:lnTo>
                <a:lnTo>
                  <a:pt x="452" y="58"/>
                </a:lnTo>
                <a:lnTo>
                  <a:pt x="458" y="66"/>
                </a:lnTo>
                <a:lnTo>
                  <a:pt x="460" y="66"/>
                </a:lnTo>
                <a:lnTo>
                  <a:pt x="460" y="68"/>
                </a:lnTo>
                <a:lnTo>
                  <a:pt x="460" y="74"/>
                </a:lnTo>
                <a:lnTo>
                  <a:pt x="462" y="76"/>
                </a:lnTo>
                <a:lnTo>
                  <a:pt x="464" y="78"/>
                </a:lnTo>
                <a:lnTo>
                  <a:pt x="468" y="80"/>
                </a:lnTo>
                <a:lnTo>
                  <a:pt x="468" y="84"/>
                </a:lnTo>
                <a:lnTo>
                  <a:pt x="470" y="88"/>
                </a:lnTo>
                <a:lnTo>
                  <a:pt x="474" y="90"/>
                </a:lnTo>
                <a:lnTo>
                  <a:pt x="472" y="92"/>
                </a:lnTo>
                <a:lnTo>
                  <a:pt x="470" y="94"/>
                </a:lnTo>
                <a:lnTo>
                  <a:pt x="468" y="102"/>
                </a:lnTo>
                <a:lnTo>
                  <a:pt x="468" y="104"/>
                </a:lnTo>
                <a:lnTo>
                  <a:pt x="468" y="110"/>
                </a:lnTo>
                <a:lnTo>
                  <a:pt x="468" y="112"/>
                </a:lnTo>
                <a:lnTo>
                  <a:pt x="468" y="116"/>
                </a:lnTo>
                <a:lnTo>
                  <a:pt x="468" y="118"/>
                </a:lnTo>
                <a:lnTo>
                  <a:pt x="460" y="120"/>
                </a:lnTo>
                <a:lnTo>
                  <a:pt x="458" y="120"/>
                </a:lnTo>
                <a:lnTo>
                  <a:pt x="452" y="120"/>
                </a:lnTo>
                <a:lnTo>
                  <a:pt x="450" y="120"/>
                </a:lnTo>
                <a:lnTo>
                  <a:pt x="448" y="120"/>
                </a:lnTo>
                <a:lnTo>
                  <a:pt x="446" y="116"/>
                </a:lnTo>
                <a:lnTo>
                  <a:pt x="442" y="114"/>
                </a:lnTo>
                <a:lnTo>
                  <a:pt x="440" y="114"/>
                </a:lnTo>
                <a:lnTo>
                  <a:pt x="436" y="114"/>
                </a:lnTo>
                <a:lnTo>
                  <a:pt x="430" y="120"/>
                </a:lnTo>
                <a:lnTo>
                  <a:pt x="428" y="122"/>
                </a:lnTo>
                <a:lnTo>
                  <a:pt x="432" y="124"/>
                </a:lnTo>
                <a:lnTo>
                  <a:pt x="440" y="126"/>
                </a:lnTo>
                <a:lnTo>
                  <a:pt x="442" y="126"/>
                </a:lnTo>
                <a:lnTo>
                  <a:pt x="444" y="128"/>
                </a:lnTo>
                <a:lnTo>
                  <a:pt x="446" y="134"/>
                </a:lnTo>
                <a:lnTo>
                  <a:pt x="446" y="136"/>
                </a:lnTo>
                <a:lnTo>
                  <a:pt x="444" y="142"/>
                </a:lnTo>
                <a:lnTo>
                  <a:pt x="440" y="144"/>
                </a:lnTo>
                <a:lnTo>
                  <a:pt x="432" y="146"/>
                </a:lnTo>
                <a:lnTo>
                  <a:pt x="430" y="146"/>
                </a:lnTo>
                <a:lnTo>
                  <a:pt x="432" y="150"/>
                </a:lnTo>
                <a:lnTo>
                  <a:pt x="434" y="158"/>
                </a:lnTo>
                <a:lnTo>
                  <a:pt x="432" y="160"/>
                </a:lnTo>
                <a:lnTo>
                  <a:pt x="430" y="162"/>
                </a:lnTo>
                <a:lnTo>
                  <a:pt x="428" y="164"/>
                </a:lnTo>
                <a:lnTo>
                  <a:pt x="432" y="170"/>
                </a:lnTo>
                <a:lnTo>
                  <a:pt x="434" y="174"/>
                </a:lnTo>
                <a:lnTo>
                  <a:pt x="434" y="182"/>
                </a:lnTo>
                <a:lnTo>
                  <a:pt x="432" y="184"/>
                </a:lnTo>
                <a:lnTo>
                  <a:pt x="428" y="182"/>
                </a:lnTo>
                <a:lnTo>
                  <a:pt x="424" y="182"/>
                </a:lnTo>
                <a:lnTo>
                  <a:pt x="422" y="182"/>
                </a:lnTo>
                <a:lnTo>
                  <a:pt x="420" y="186"/>
                </a:lnTo>
                <a:lnTo>
                  <a:pt x="420" y="188"/>
                </a:lnTo>
                <a:lnTo>
                  <a:pt x="412" y="196"/>
                </a:lnTo>
                <a:lnTo>
                  <a:pt x="410" y="196"/>
                </a:lnTo>
                <a:lnTo>
                  <a:pt x="404" y="200"/>
                </a:lnTo>
                <a:lnTo>
                  <a:pt x="402" y="200"/>
                </a:lnTo>
                <a:lnTo>
                  <a:pt x="402" y="208"/>
                </a:lnTo>
                <a:lnTo>
                  <a:pt x="394" y="210"/>
                </a:lnTo>
                <a:lnTo>
                  <a:pt x="392" y="210"/>
                </a:lnTo>
                <a:lnTo>
                  <a:pt x="390" y="210"/>
                </a:lnTo>
                <a:lnTo>
                  <a:pt x="378" y="214"/>
                </a:lnTo>
                <a:lnTo>
                  <a:pt x="366" y="216"/>
                </a:lnTo>
                <a:lnTo>
                  <a:pt x="350" y="216"/>
                </a:lnTo>
                <a:lnTo>
                  <a:pt x="346" y="216"/>
                </a:lnTo>
                <a:lnTo>
                  <a:pt x="344" y="216"/>
                </a:lnTo>
                <a:lnTo>
                  <a:pt x="332" y="220"/>
                </a:lnTo>
                <a:lnTo>
                  <a:pt x="330" y="224"/>
                </a:lnTo>
                <a:lnTo>
                  <a:pt x="328" y="226"/>
                </a:lnTo>
                <a:lnTo>
                  <a:pt x="328" y="230"/>
                </a:lnTo>
                <a:lnTo>
                  <a:pt x="312" y="240"/>
                </a:lnTo>
                <a:lnTo>
                  <a:pt x="308" y="238"/>
                </a:lnTo>
                <a:lnTo>
                  <a:pt x="288" y="236"/>
                </a:lnTo>
                <a:lnTo>
                  <a:pt x="286" y="234"/>
                </a:lnTo>
                <a:lnTo>
                  <a:pt x="284" y="232"/>
                </a:lnTo>
                <a:lnTo>
                  <a:pt x="282" y="232"/>
                </a:lnTo>
                <a:lnTo>
                  <a:pt x="274" y="228"/>
                </a:lnTo>
                <a:lnTo>
                  <a:pt x="266" y="228"/>
                </a:lnTo>
                <a:lnTo>
                  <a:pt x="262" y="228"/>
                </a:lnTo>
                <a:lnTo>
                  <a:pt x="258" y="228"/>
                </a:lnTo>
                <a:lnTo>
                  <a:pt x="252" y="226"/>
                </a:lnTo>
                <a:lnTo>
                  <a:pt x="250" y="224"/>
                </a:lnTo>
                <a:lnTo>
                  <a:pt x="242" y="224"/>
                </a:lnTo>
                <a:lnTo>
                  <a:pt x="230" y="224"/>
                </a:lnTo>
                <a:lnTo>
                  <a:pt x="204" y="216"/>
                </a:lnTo>
                <a:lnTo>
                  <a:pt x="200" y="216"/>
                </a:lnTo>
                <a:lnTo>
                  <a:pt x="198" y="216"/>
                </a:lnTo>
                <a:lnTo>
                  <a:pt x="194" y="214"/>
                </a:lnTo>
                <a:lnTo>
                  <a:pt x="188" y="214"/>
                </a:lnTo>
                <a:lnTo>
                  <a:pt x="186" y="214"/>
                </a:lnTo>
                <a:lnTo>
                  <a:pt x="182" y="212"/>
                </a:lnTo>
                <a:lnTo>
                  <a:pt x="180" y="210"/>
                </a:lnTo>
                <a:lnTo>
                  <a:pt x="176" y="208"/>
                </a:lnTo>
                <a:lnTo>
                  <a:pt x="170" y="196"/>
                </a:lnTo>
                <a:lnTo>
                  <a:pt x="166" y="192"/>
                </a:lnTo>
                <a:lnTo>
                  <a:pt x="164" y="190"/>
                </a:lnTo>
                <a:lnTo>
                  <a:pt x="162" y="188"/>
                </a:lnTo>
                <a:lnTo>
                  <a:pt x="160" y="184"/>
                </a:lnTo>
                <a:lnTo>
                  <a:pt x="160" y="180"/>
                </a:lnTo>
                <a:lnTo>
                  <a:pt x="164" y="178"/>
                </a:lnTo>
                <a:lnTo>
                  <a:pt x="166" y="176"/>
                </a:lnTo>
                <a:lnTo>
                  <a:pt x="168" y="174"/>
                </a:lnTo>
                <a:lnTo>
                  <a:pt x="164" y="174"/>
                </a:lnTo>
                <a:lnTo>
                  <a:pt x="162" y="174"/>
                </a:lnTo>
                <a:lnTo>
                  <a:pt x="158" y="176"/>
                </a:lnTo>
                <a:lnTo>
                  <a:pt x="138" y="182"/>
                </a:lnTo>
                <a:lnTo>
                  <a:pt x="136" y="182"/>
                </a:lnTo>
                <a:lnTo>
                  <a:pt x="134" y="180"/>
                </a:lnTo>
                <a:lnTo>
                  <a:pt x="128" y="178"/>
                </a:lnTo>
                <a:lnTo>
                  <a:pt x="120" y="178"/>
                </a:lnTo>
                <a:lnTo>
                  <a:pt x="100" y="182"/>
                </a:lnTo>
                <a:lnTo>
                  <a:pt x="98" y="186"/>
                </a:lnTo>
                <a:lnTo>
                  <a:pt x="96" y="186"/>
                </a:lnTo>
                <a:lnTo>
                  <a:pt x="96" y="188"/>
                </a:lnTo>
                <a:lnTo>
                  <a:pt x="94" y="196"/>
                </a:lnTo>
                <a:lnTo>
                  <a:pt x="90" y="200"/>
                </a:lnTo>
                <a:lnTo>
                  <a:pt x="82" y="200"/>
                </a:lnTo>
                <a:lnTo>
                  <a:pt x="78" y="198"/>
                </a:lnTo>
                <a:lnTo>
                  <a:pt x="76" y="196"/>
                </a:lnTo>
                <a:lnTo>
                  <a:pt x="74" y="194"/>
                </a:lnTo>
                <a:lnTo>
                  <a:pt x="70" y="188"/>
                </a:lnTo>
                <a:lnTo>
                  <a:pt x="66" y="190"/>
                </a:lnTo>
                <a:lnTo>
                  <a:pt x="64" y="190"/>
                </a:lnTo>
                <a:lnTo>
                  <a:pt x="62" y="190"/>
                </a:lnTo>
                <a:lnTo>
                  <a:pt x="58" y="190"/>
                </a:lnTo>
                <a:lnTo>
                  <a:pt x="56" y="190"/>
                </a:lnTo>
                <a:lnTo>
                  <a:pt x="56" y="1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6" name="Freeform 2637"/>
          <p:cNvSpPr>
            <a:spLocks/>
          </p:cNvSpPr>
          <p:nvPr/>
        </p:nvSpPr>
        <p:spPr bwMode="auto">
          <a:xfrm>
            <a:off x="4766049" y="4861211"/>
            <a:ext cx="14769" cy="29537"/>
          </a:xfrm>
          <a:custGeom>
            <a:avLst/>
            <a:gdLst/>
            <a:ahLst/>
            <a:cxnLst>
              <a:cxn ang="0">
                <a:pos x="0" y="20"/>
              </a:cxn>
              <a:cxn ang="0">
                <a:pos x="2" y="14"/>
              </a:cxn>
              <a:cxn ang="0">
                <a:pos x="0" y="12"/>
              </a:cxn>
              <a:cxn ang="0">
                <a:pos x="0" y="10"/>
              </a:cxn>
              <a:cxn ang="0">
                <a:pos x="0" y="6"/>
              </a:cxn>
              <a:cxn ang="0">
                <a:pos x="2" y="4"/>
              </a:cxn>
              <a:cxn ang="0">
                <a:pos x="4" y="0"/>
              </a:cxn>
              <a:cxn ang="0">
                <a:pos x="6" y="2"/>
              </a:cxn>
              <a:cxn ang="0">
                <a:pos x="8" y="12"/>
              </a:cxn>
              <a:cxn ang="0">
                <a:pos x="10" y="14"/>
              </a:cxn>
              <a:cxn ang="0">
                <a:pos x="8" y="16"/>
              </a:cxn>
              <a:cxn ang="0">
                <a:pos x="8" y="18"/>
              </a:cxn>
              <a:cxn ang="0">
                <a:pos x="6" y="20"/>
              </a:cxn>
              <a:cxn ang="0">
                <a:pos x="4" y="18"/>
              </a:cxn>
              <a:cxn ang="0">
                <a:pos x="0" y="18"/>
              </a:cxn>
              <a:cxn ang="0">
                <a:pos x="0" y="20"/>
              </a:cxn>
            </a:cxnLst>
            <a:rect l="0" t="0" r="r" b="b"/>
            <a:pathLst>
              <a:path w="10" h="20">
                <a:moveTo>
                  <a:pt x="0" y="20"/>
                </a:moveTo>
                <a:lnTo>
                  <a:pt x="2" y="14"/>
                </a:lnTo>
                <a:lnTo>
                  <a:pt x="0" y="12"/>
                </a:lnTo>
                <a:lnTo>
                  <a:pt x="0" y="10"/>
                </a:lnTo>
                <a:lnTo>
                  <a:pt x="0" y="6"/>
                </a:lnTo>
                <a:lnTo>
                  <a:pt x="2" y="4"/>
                </a:lnTo>
                <a:lnTo>
                  <a:pt x="4" y="0"/>
                </a:lnTo>
                <a:lnTo>
                  <a:pt x="6" y="2"/>
                </a:lnTo>
                <a:lnTo>
                  <a:pt x="8" y="12"/>
                </a:lnTo>
                <a:lnTo>
                  <a:pt x="10" y="14"/>
                </a:lnTo>
                <a:lnTo>
                  <a:pt x="8" y="16"/>
                </a:lnTo>
                <a:lnTo>
                  <a:pt x="8" y="18"/>
                </a:lnTo>
                <a:lnTo>
                  <a:pt x="6" y="20"/>
                </a:lnTo>
                <a:lnTo>
                  <a:pt x="4" y="18"/>
                </a:lnTo>
                <a:lnTo>
                  <a:pt x="0" y="18"/>
                </a:lnTo>
                <a:lnTo>
                  <a:pt x="0" y="20"/>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7" name="Freeform 2638"/>
          <p:cNvSpPr>
            <a:spLocks/>
          </p:cNvSpPr>
          <p:nvPr/>
        </p:nvSpPr>
        <p:spPr bwMode="auto">
          <a:xfrm>
            <a:off x="5123444" y="4932099"/>
            <a:ext cx="301275" cy="197896"/>
          </a:xfrm>
          <a:custGeom>
            <a:avLst/>
            <a:gdLst/>
            <a:ahLst/>
            <a:cxnLst>
              <a:cxn ang="0">
                <a:pos x="28" y="32"/>
              </a:cxn>
              <a:cxn ang="0">
                <a:pos x="46" y="36"/>
              </a:cxn>
              <a:cxn ang="0">
                <a:pos x="70" y="42"/>
              </a:cxn>
              <a:cxn ang="0">
                <a:pos x="90" y="30"/>
              </a:cxn>
              <a:cxn ang="0">
                <a:pos x="106" y="20"/>
              </a:cxn>
              <a:cxn ang="0">
                <a:pos x="128" y="20"/>
              </a:cxn>
              <a:cxn ang="0">
                <a:pos x="154" y="14"/>
              </a:cxn>
              <a:cxn ang="0">
                <a:pos x="164" y="4"/>
              </a:cxn>
              <a:cxn ang="0">
                <a:pos x="174" y="2"/>
              </a:cxn>
              <a:cxn ang="0">
                <a:pos x="182" y="0"/>
              </a:cxn>
              <a:cxn ang="0">
                <a:pos x="186" y="6"/>
              </a:cxn>
              <a:cxn ang="0">
                <a:pos x="188" y="14"/>
              </a:cxn>
              <a:cxn ang="0">
                <a:pos x="190" y="20"/>
              </a:cxn>
              <a:cxn ang="0">
                <a:pos x="202" y="36"/>
              </a:cxn>
              <a:cxn ang="0">
                <a:pos x="194" y="32"/>
              </a:cxn>
              <a:cxn ang="0">
                <a:pos x="184" y="32"/>
              </a:cxn>
              <a:cxn ang="0">
                <a:pos x="182" y="42"/>
              </a:cxn>
              <a:cxn ang="0">
                <a:pos x="170" y="48"/>
              </a:cxn>
              <a:cxn ang="0">
                <a:pos x="146" y="60"/>
              </a:cxn>
              <a:cxn ang="0">
                <a:pos x="140" y="68"/>
              </a:cxn>
              <a:cxn ang="0">
                <a:pos x="144" y="74"/>
              </a:cxn>
              <a:cxn ang="0">
                <a:pos x="146" y="94"/>
              </a:cxn>
              <a:cxn ang="0">
                <a:pos x="142" y="94"/>
              </a:cxn>
              <a:cxn ang="0">
                <a:pos x="122" y="102"/>
              </a:cxn>
              <a:cxn ang="0">
                <a:pos x="126" y="106"/>
              </a:cxn>
              <a:cxn ang="0">
                <a:pos x="122" y="118"/>
              </a:cxn>
              <a:cxn ang="0">
                <a:pos x="114" y="134"/>
              </a:cxn>
              <a:cxn ang="0">
                <a:pos x="100" y="126"/>
              </a:cxn>
              <a:cxn ang="0">
                <a:pos x="90" y="130"/>
              </a:cxn>
              <a:cxn ang="0">
                <a:pos x="78" y="114"/>
              </a:cxn>
              <a:cxn ang="0">
                <a:pos x="72" y="116"/>
              </a:cxn>
              <a:cxn ang="0">
                <a:pos x="62" y="128"/>
              </a:cxn>
              <a:cxn ang="0">
                <a:pos x="34" y="130"/>
              </a:cxn>
              <a:cxn ang="0">
                <a:pos x="16" y="130"/>
              </a:cxn>
              <a:cxn ang="0">
                <a:pos x="12" y="124"/>
              </a:cxn>
              <a:cxn ang="0">
                <a:pos x="20" y="118"/>
              </a:cxn>
              <a:cxn ang="0">
                <a:pos x="28" y="118"/>
              </a:cxn>
              <a:cxn ang="0">
                <a:pos x="24" y="102"/>
              </a:cxn>
              <a:cxn ang="0">
                <a:pos x="12" y="94"/>
              </a:cxn>
              <a:cxn ang="0">
                <a:pos x="16" y="84"/>
              </a:cxn>
              <a:cxn ang="0">
                <a:pos x="12" y="82"/>
              </a:cxn>
              <a:cxn ang="0">
                <a:pos x="8" y="74"/>
              </a:cxn>
              <a:cxn ang="0">
                <a:pos x="12" y="70"/>
              </a:cxn>
              <a:cxn ang="0">
                <a:pos x="10" y="60"/>
              </a:cxn>
              <a:cxn ang="0">
                <a:pos x="2" y="60"/>
              </a:cxn>
              <a:cxn ang="0">
                <a:pos x="8" y="44"/>
              </a:cxn>
              <a:cxn ang="0">
                <a:pos x="20" y="34"/>
              </a:cxn>
            </a:cxnLst>
            <a:rect l="0" t="0" r="r" b="b"/>
            <a:pathLst>
              <a:path w="204" h="134">
                <a:moveTo>
                  <a:pt x="20" y="32"/>
                </a:moveTo>
                <a:lnTo>
                  <a:pt x="24" y="32"/>
                </a:lnTo>
                <a:lnTo>
                  <a:pt x="28" y="32"/>
                </a:lnTo>
                <a:lnTo>
                  <a:pt x="36" y="32"/>
                </a:lnTo>
                <a:lnTo>
                  <a:pt x="44" y="36"/>
                </a:lnTo>
                <a:lnTo>
                  <a:pt x="46" y="36"/>
                </a:lnTo>
                <a:lnTo>
                  <a:pt x="48" y="38"/>
                </a:lnTo>
                <a:lnTo>
                  <a:pt x="50" y="40"/>
                </a:lnTo>
                <a:lnTo>
                  <a:pt x="70" y="42"/>
                </a:lnTo>
                <a:lnTo>
                  <a:pt x="74" y="44"/>
                </a:lnTo>
                <a:lnTo>
                  <a:pt x="90" y="34"/>
                </a:lnTo>
                <a:lnTo>
                  <a:pt x="90" y="30"/>
                </a:lnTo>
                <a:lnTo>
                  <a:pt x="92" y="28"/>
                </a:lnTo>
                <a:lnTo>
                  <a:pt x="94" y="24"/>
                </a:lnTo>
                <a:lnTo>
                  <a:pt x="106" y="20"/>
                </a:lnTo>
                <a:lnTo>
                  <a:pt x="108" y="20"/>
                </a:lnTo>
                <a:lnTo>
                  <a:pt x="112" y="20"/>
                </a:lnTo>
                <a:lnTo>
                  <a:pt x="128" y="20"/>
                </a:lnTo>
                <a:lnTo>
                  <a:pt x="140" y="18"/>
                </a:lnTo>
                <a:lnTo>
                  <a:pt x="152" y="14"/>
                </a:lnTo>
                <a:lnTo>
                  <a:pt x="154" y="14"/>
                </a:lnTo>
                <a:lnTo>
                  <a:pt x="156" y="14"/>
                </a:lnTo>
                <a:lnTo>
                  <a:pt x="164" y="12"/>
                </a:lnTo>
                <a:lnTo>
                  <a:pt x="164" y="4"/>
                </a:lnTo>
                <a:lnTo>
                  <a:pt x="166" y="4"/>
                </a:lnTo>
                <a:lnTo>
                  <a:pt x="172" y="0"/>
                </a:lnTo>
                <a:lnTo>
                  <a:pt x="174" y="2"/>
                </a:lnTo>
                <a:lnTo>
                  <a:pt x="176" y="0"/>
                </a:lnTo>
                <a:lnTo>
                  <a:pt x="180" y="0"/>
                </a:lnTo>
                <a:lnTo>
                  <a:pt x="182" y="0"/>
                </a:lnTo>
                <a:lnTo>
                  <a:pt x="184" y="0"/>
                </a:lnTo>
                <a:lnTo>
                  <a:pt x="186" y="2"/>
                </a:lnTo>
                <a:lnTo>
                  <a:pt x="186" y="6"/>
                </a:lnTo>
                <a:lnTo>
                  <a:pt x="186" y="8"/>
                </a:lnTo>
                <a:lnTo>
                  <a:pt x="186" y="10"/>
                </a:lnTo>
                <a:lnTo>
                  <a:pt x="188" y="14"/>
                </a:lnTo>
                <a:lnTo>
                  <a:pt x="190" y="14"/>
                </a:lnTo>
                <a:lnTo>
                  <a:pt x="190" y="16"/>
                </a:lnTo>
                <a:lnTo>
                  <a:pt x="190" y="20"/>
                </a:lnTo>
                <a:lnTo>
                  <a:pt x="198" y="32"/>
                </a:lnTo>
                <a:lnTo>
                  <a:pt x="204" y="36"/>
                </a:lnTo>
                <a:lnTo>
                  <a:pt x="202" y="36"/>
                </a:lnTo>
                <a:lnTo>
                  <a:pt x="198" y="34"/>
                </a:lnTo>
                <a:lnTo>
                  <a:pt x="198" y="32"/>
                </a:lnTo>
                <a:lnTo>
                  <a:pt x="194" y="32"/>
                </a:lnTo>
                <a:lnTo>
                  <a:pt x="190" y="30"/>
                </a:lnTo>
                <a:lnTo>
                  <a:pt x="186" y="30"/>
                </a:lnTo>
                <a:lnTo>
                  <a:pt x="184" y="32"/>
                </a:lnTo>
                <a:lnTo>
                  <a:pt x="182" y="32"/>
                </a:lnTo>
                <a:lnTo>
                  <a:pt x="182" y="34"/>
                </a:lnTo>
                <a:lnTo>
                  <a:pt x="182" y="42"/>
                </a:lnTo>
                <a:lnTo>
                  <a:pt x="174" y="42"/>
                </a:lnTo>
                <a:lnTo>
                  <a:pt x="170" y="46"/>
                </a:lnTo>
                <a:lnTo>
                  <a:pt x="170" y="48"/>
                </a:lnTo>
                <a:lnTo>
                  <a:pt x="166" y="52"/>
                </a:lnTo>
                <a:lnTo>
                  <a:pt x="152" y="58"/>
                </a:lnTo>
                <a:lnTo>
                  <a:pt x="146" y="60"/>
                </a:lnTo>
                <a:lnTo>
                  <a:pt x="144" y="60"/>
                </a:lnTo>
                <a:lnTo>
                  <a:pt x="140" y="64"/>
                </a:lnTo>
                <a:lnTo>
                  <a:pt x="140" y="68"/>
                </a:lnTo>
                <a:lnTo>
                  <a:pt x="140" y="70"/>
                </a:lnTo>
                <a:lnTo>
                  <a:pt x="142" y="72"/>
                </a:lnTo>
                <a:lnTo>
                  <a:pt x="144" y="74"/>
                </a:lnTo>
                <a:lnTo>
                  <a:pt x="148" y="76"/>
                </a:lnTo>
                <a:lnTo>
                  <a:pt x="148" y="86"/>
                </a:lnTo>
                <a:lnTo>
                  <a:pt x="146" y="94"/>
                </a:lnTo>
                <a:lnTo>
                  <a:pt x="144" y="96"/>
                </a:lnTo>
                <a:lnTo>
                  <a:pt x="142" y="96"/>
                </a:lnTo>
                <a:lnTo>
                  <a:pt x="142" y="94"/>
                </a:lnTo>
                <a:lnTo>
                  <a:pt x="134" y="96"/>
                </a:lnTo>
                <a:lnTo>
                  <a:pt x="124" y="102"/>
                </a:lnTo>
                <a:lnTo>
                  <a:pt x="122" y="102"/>
                </a:lnTo>
                <a:lnTo>
                  <a:pt x="122" y="106"/>
                </a:lnTo>
                <a:lnTo>
                  <a:pt x="120" y="108"/>
                </a:lnTo>
                <a:lnTo>
                  <a:pt x="126" y="106"/>
                </a:lnTo>
                <a:lnTo>
                  <a:pt x="124" y="112"/>
                </a:lnTo>
                <a:lnTo>
                  <a:pt x="122" y="114"/>
                </a:lnTo>
                <a:lnTo>
                  <a:pt x="122" y="118"/>
                </a:lnTo>
                <a:lnTo>
                  <a:pt x="122" y="122"/>
                </a:lnTo>
                <a:lnTo>
                  <a:pt x="120" y="130"/>
                </a:lnTo>
                <a:lnTo>
                  <a:pt x="114" y="134"/>
                </a:lnTo>
                <a:lnTo>
                  <a:pt x="112" y="132"/>
                </a:lnTo>
                <a:lnTo>
                  <a:pt x="108" y="130"/>
                </a:lnTo>
                <a:lnTo>
                  <a:pt x="100" y="126"/>
                </a:lnTo>
                <a:lnTo>
                  <a:pt x="96" y="128"/>
                </a:lnTo>
                <a:lnTo>
                  <a:pt x="94" y="130"/>
                </a:lnTo>
                <a:lnTo>
                  <a:pt x="90" y="130"/>
                </a:lnTo>
                <a:lnTo>
                  <a:pt x="84" y="124"/>
                </a:lnTo>
                <a:lnTo>
                  <a:pt x="78" y="116"/>
                </a:lnTo>
                <a:lnTo>
                  <a:pt x="78" y="114"/>
                </a:lnTo>
                <a:lnTo>
                  <a:pt x="78" y="110"/>
                </a:lnTo>
                <a:lnTo>
                  <a:pt x="74" y="110"/>
                </a:lnTo>
                <a:lnTo>
                  <a:pt x="72" y="116"/>
                </a:lnTo>
                <a:lnTo>
                  <a:pt x="70" y="122"/>
                </a:lnTo>
                <a:lnTo>
                  <a:pt x="64" y="126"/>
                </a:lnTo>
                <a:lnTo>
                  <a:pt x="62" y="128"/>
                </a:lnTo>
                <a:lnTo>
                  <a:pt x="46" y="128"/>
                </a:lnTo>
                <a:lnTo>
                  <a:pt x="38" y="130"/>
                </a:lnTo>
                <a:lnTo>
                  <a:pt x="34" y="130"/>
                </a:lnTo>
                <a:lnTo>
                  <a:pt x="32" y="130"/>
                </a:lnTo>
                <a:lnTo>
                  <a:pt x="18" y="130"/>
                </a:lnTo>
                <a:lnTo>
                  <a:pt x="16" y="130"/>
                </a:lnTo>
                <a:lnTo>
                  <a:pt x="14" y="130"/>
                </a:lnTo>
                <a:lnTo>
                  <a:pt x="12" y="128"/>
                </a:lnTo>
                <a:lnTo>
                  <a:pt x="12" y="124"/>
                </a:lnTo>
                <a:lnTo>
                  <a:pt x="16" y="122"/>
                </a:lnTo>
                <a:lnTo>
                  <a:pt x="22" y="122"/>
                </a:lnTo>
                <a:lnTo>
                  <a:pt x="20" y="118"/>
                </a:lnTo>
                <a:lnTo>
                  <a:pt x="24" y="118"/>
                </a:lnTo>
                <a:lnTo>
                  <a:pt x="26" y="118"/>
                </a:lnTo>
                <a:lnTo>
                  <a:pt x="28" y="118"/>
                </a:lnTo>
                <a:lnTo>
                  <a:pt x="34" y="114"/>
                </a:lnTo>
                <a:lnTo>
                  <a:pt x="28" y="106"/>
                </a:lnTo>
                <a:lnTo>
                  <a:pt x="24" y="102"/>
                </a:lnTo>
                <a:lnTo>
                  <a:pt x="18" y="100"/>
                </a:lnTo>
                <a:lnTo>
                  <a:pt x="12" y="98"/>
                </a:lnTo>
                <a:lnTo>
                  <a:pt x="12" y="94"/>
                </a:lnTo>
                <a:lnTo>
                  <a:pt x="12" y="90"/>
                </a:lnTo>
                <a:lnTo>
                  <a:pt x="14" y="88"/>
                </a:lnTo>
                <a:lnTo>
                  <a:pt x="16" y="84"/>
                </a:lnTo>
                <a:lnTo>
                  <a:pt x="16" y="82"/>
                </a:lnTo>
                <a:lnTo>
                  <a:pt x="12" y="80"/>
                </a:lnTo>
                <a:lnTo>
                  <a:pt x="12" y="82"/>
                </a:lnTo>
                <a:lnTo>
                  <a:pt x="8" y="82"/>
                </a:lnTo>
                <a:lnTo>
                  <a:pt x="6" y="78"/>
                </a:lnTo>
                <a:lnTo>
                  <a:pt x="8" y="74"/>
                </a:lnTo>
                <a:lnTo>
                  <a:pt x="8" y="72"/>
                </a:lnTo>
                <a:lnTo>
                  <a:pt x="10" y="72"/>
                </a:lnTo>
                <a:lnTo>
                  <a:pt x="12" y="70"/>
                </a:lnTo>
                <a:lnTo>
                  <a:pt x="16" y="66"/>
                </a:lnTo>
                <a:lnTo>
                  <a:pt x="18" y="64"/>
                </a:lnTo>
                <a:lnTo>
                  <a:pt x="10" y="60"/>
                </a:lnTo>
                <a:lnTo>
                  <a:pt x="6" y="58"/>
                </a:lnTo>
                <a:lnTo>
                  <a:pt x="4" y="60"/>
                </a:lnTo>
                <a:lnTo>
                  <a:pt x="2" y="60"/>
                </a:lnTo>
                <a:lnTo>
                  <a:pt x="0" y="52"/>
                </a:lnTo>
                <a:lnTo>
                  <a:pt x="4" y="48"/>
                </a:lnTo>
                <a:lnTo>
                  <a:pt x="8" y="44"/>
                </a:lnTo>
                <a:lnTo>
                  <a:pt x="18" y="38"/>
                </a:lnTo>
                <a:lnTo>
                  <a:pt x="20" y="38"/>
                </a:lnTo>
                <a:lnTo>
                  <a:pt x="20" y="34"/>
                </a:lnTo>
                <a:lnTo>
                  <a:pt x="20" y="3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8" name="Freeform 2639"/>
          <p:cNvSpPr>
            <a:spLocks/>
          </p:cNvSpPr>
          <p:nvPr/>
        </p:nvSpPr>
        <p:spPr bwMode="auto">
          <a:xfrm>
            <a:off x="4429332" y="4781462"/>
            <a:ext cx="428281" cy="271738"/>
          </a:xfrm>
          <a:custGeom>
            <a:avLst/>
            <a:gdLst/>
            <a:ahLst/>
            <a:cxnLst>
              <a:cxn ang="0">
                <a:pos x="50" y="64"/>
              </a:cxn>
              <a:cxn ang="0">
                <a:pos x="64" y="48"/>
              </a:cxn>
              <a:cxn ang="0">
                <a:pos x="76" y="20"/>
              </a:cxn>
              <a:cxn ang="0">
                <a:pos x="96" y="26"/>
              </a:cxn>
              <a:cxn ang="0">
                <a:pos x="104" y="26"/>
              </a:cxn>
              <a:cxn ang="0">
                <a:pos x="112" y="16"/>
              </a:cxn>
              <a:cxn ang="0">
                <a:pos x="116" y="18"/>
              </a:cxn>
              <a:cxn ang="0">
                <a:pos x="140" y="20"/>
              </a:cxn>
              <a:cxn ang="0">
                <a:pos x="164" y="20"/>
              </a:cxn>
              <a:cxn ang="0">
                <a:pos x="174" y="20"/>
              </a:cxn>
              <a:cxn ang="0">
                <a:pos x="172" y="14"/>
              </a:cxn>
              <a:cxn ang="0">
                <a:pos x="176" y="0"/>
              </a:cxn>
              <a:cxn ang="0">
                <a:pos x="184" y="12"/>
              </a:cxn>
              <a:cxn ang="0">
                <a:pos x="192" y="10"/>
              </a:cxn>
              <a:cxn ang="0">
                <a:pos x="200" y="14"/>
              </a:cxn>
              <a:cxn ang="0">
                <a:pos x="230" y="26"/>
              </a:cxn>
              <a:cxn ang="0">
                <a:pos x="240" y="44"/>
              </a:cxn>
              <a:cxn ang="0">
                <a:pos x="230" y="58"/>
              </a:cxn>
              <a:cxn ang="0">
                <a:pos x="228" y="74"/>
              </a:cxn>
              <a:cxn ang="0">
                <a:pos x="242" y="76"/>
              </a:cxn>
              <a:cxn ang="0">
                <a:pos x="254" y="88"/>
              </a:cxn>
              <a:cxn ang="0">
                <a:pos x="268" y="94"/>
              </a:cxn>
              <a:cxn ang="0">
                <a:pos x="284" y="82"/>
              </a:cxn>
              <a:cxn ang="0">
                <a:pos x="286" y="116"/>
              </a:cxn>
              <a:cxn ang="0">
                <a:pos x="278" y="124"/>
              </a:cxn>
              <a:cxn ang="0">
                <a:pos x="268" y="116"/>
              </a:cxn>
              <a:cxn ang="0">
                <a:pos x="262" y="134"/>
              </a:cxn>
              <a:cxn ang="0">
                <a:pos x="254" y="146"/>
              </a:cxn>
              <a:cxn ang="0">
                <a:pos x="246" y="138"/>
              </a:cxn>
              <a:cxn ang="0">
                <a:pos x="228" y="144"/>
              </a:cxn>
              <a:cxn ang="0">
                <a:pos x="222" y="126"/>
              </a:cxn>
              <a:cxn ang="0">
                <a:pos x="210" y="138"/>
              </a:cxn>
              <a:cxn ang="0">
                <a:pos x="200" y="154"/>
              </a:cxn>
              <a:cxn ang="0">
                <a:pos x="190" y="170"/>
              </a:cxn>
              <a:cxn ang="0">
                <a:pos x="188" y="184"/>
              </a:cxn>
              <a:cxn ang="0">
                <a:pos x="178" y="168"/>
              </a:cxn>
              <a:cxn ang="0">
                <a:pos x="174" y="156"/>
              </a:cxn>
              <a:cxn ang="0">
                <a:pos x="156" y="142"/>
              </a:cxn>
              <a:cxn ang="0">
                <a:pos x="154" y="124"/>
              </a:cxn>
              <a:cxn ang="0">
                <a:pos x="136" y="150"/>
              </a:cxn>
              <a:cxn ang="0">
                <a:pos x="118" y="164"/>
              </a:cxn>
              <a:cxn ang="0">
                <a:pos x="108" y="166"/>
              </a:cxn>
              <a:cxn ang="0">
                <a:pos x="86" y="166"/>
              </a:cxn>
              <a:cxn ang="0">
                <a:pos x="68" y="168"/>
              </a:cxn>
              <a:cxn ang="0">
                <a:pos x="58" y="152"/>
              </a:cxn>
              <a:cxn ang="0">
                <a:pos x="54" y="116"/>
              </a:cxn>
              <a:cxn ang="0">
                <a:pos x="34" y="112"/>
              </a:cxn>
              <a:cxn ang="0">
                <a:pos x="18" y="124"/>
              </a:cxn>
              <a:cxn ang="0">
                <a:pos x="0" y="138"/>
              </a:cxn>
              <a:cxn ang="0">
                <a:pos x="6" y="128"/>
              </a:cxn>
              <a:cxn ang="0">
                <a:pos x="10" y="114"/>
              </a:cxn>
              <a:cxn ang="0">
                <a:pos x="24" y="90"/>
              </a:cxn>
            </a:cxnLst>
            <a:rect l="0" t="0" r="r" b="b"/>
            <a:pathLst>
              <a:path w="290" h="184">
                <a:moveTo>
                  <a:pt x="36" y="76"/>
                </a:moveTo>
                <a:lnTo>
                  <a:pt x="38" y="72"/>
                </a:lnTo>
                <a:lnTo>
                  <a:pt x="42" y="64"/>
                </a:lnTo>
                <a:lnTo>
                  <a:pt x="44" y="64"/>
                </a:lnTo>
                <a:lnTo>
                  <a:pt x="50" y="64"/>
                </a:lnTo>
                <a:lnTo>
                  <a:pt x="52" y="60"/>
                </a:lnTo>
                <a:lnTo>
                  <a:pt x="54" y="58"/>
                </a:lnTo>
                <a:lnTo>
                  <a:pt x="60" y="52"/>
                </a:lnTo>
                <a:lnTo>
                  <a:pt x="64" y="50"/>
                </a:lnTo>
                <a:lnTo>
                  <a:pt x="64" y="48"/>
                </a:lnTo>
                <a:lnTo>
                  <a:pt x="72" y="40"/>
                </a:lnTo>
                <a:lnTo>
                  <a:pt x="74" y="32"/>
                </a:lnTo>
                <a:lnTo>
                  <a:pt x="70" y="32"/>
                </a:lnTo>
                <a:lnTo>
                  <a:pt x="68" y="32"/>
                </a:lnTo>
                <a:lnTo>
                  <a:pt x="76" y="20"/>
                </a:lnTo>
                <a:lnTo>
                  <a:pt x="78" y="18"/>
                </a:lnTo>
                <a:lnTo>
                  <a:pt x="86" y="20"/>
                </a:lnTo>
                <a:lnTo>
                  <a:pt x="88" y="26"/>
                </a:lnTo>
                <a:lnTo>
                  <a:pt x="92" y="28"/>
                </a:lnTo>
                <a:lnTo>
                  <a:pt x="96" y="26"/>
                </a:lnTo>
                <a:lnTo>
                  <a:pt x="96" y="28"/>
                </a:lnTo>
                <a:lnTo>
                  <a:pt x="98" y="28"/>
                </a:lnTo>
                <a:lnTo>
                  <a:pt x="100" y="28"/>
                </a:lnTo>
                <a:lnTo>
                  <a:pt x="102" y="28"/>
                </a:lnTo>
                <a:lnTo>
                  <a:pt x="104" y="26"/>
                </a:lnTo>
                <a:lnTo>
                  <a:pt x="108" y="22"/>
                </a:lnTo>
                <a:lnTo>
                  <a:pt x="108" y="18"/>
                </a:lnTo>
                <a:lnTo>
                  <a:pt x="110" y="18"/>
                </a:lnTo>
                <a:lnTo>
                  <a:pt x="112" y="18"/>
                </a:lnTo>
                <a:lnTo>
                  <a:pt x="112" y="16"/>
                </a:lnTo>
                <a:lnTo>
                  <a:pt x="114" y="16"/>
                </a:lnTo>
                <a:lnTo>
                  <a:pt x="116" y="14"/>
                </a:lnTo>
                <a:lnTo>
                  <a:pt x="120" y="14"/>
                </a:lnTo>
                <a:lnTo>
                  <a:pt x="118" y="16"/>
                </a:lnTo>
                <a:lnTo>
                  <a:pt x="116" y="18"/>
                </a:lnTo>
                <a:lnTo>
                  <a:pt x="118" y="18"/>
                </a:lnTo>
                <a:lnTo>
                  <a:pt x="120" y="20"/>
                </a:lnTo>
                <a:lnTo>
                  <a:pt x="124" y="20"/>
                </a:lnTo>
                <a:lnTo>
                  <a:pt x="134" y="20"/>
                </a:lnTo>
                <a:lnTo>
                  <a:pt x="140" y="20"/>
                </a:lnTo>
                <a:lnTo>
                  <a:pt x="144" y="20"/>
                </a:lnTo>
                <a:lnTo>
                  <a:pt x="152" y="16"/>
                </a:lnTo>
                <a:lnTo>
                  <a:pt x="154" y="16"/>
                </a:lnTo>
                <a:lnTo>
                  <a:pt x="158" y="18"/>
                </a:lnTo>
                <a:lnTo>
                  <a:pt x="164" y="20"/>
                </a:lnTo>
                <a:lnTo>
                  <a:pt x="166" y="22"/>
                </a:lnTo>
                <a:lnTo>
                  <a:pt x="168" y="18"/>
                </a:lnTo>
                <a:lnTo>
                  <a:pt x="172" y="16"/>
                </a:lnTo>
                <a:lnTo>
                  <a:pt x="174" y="18"/>
                </a:lnTo>
                <a:lnTo>
                  <a:pt x="174" y="20"/>
                </a:lnTo>
                <a:lnTo>
                  <a:pt x="176" y="20"/>
                </a:lnTo>
                <a:lnTo>
                  <a:pt x="178" y="14"/>
                </a:lnTo>
                <a:lnTo>
                  <a:pt x="176" y="14"/>
                </a:lnTo>
                <a:lnTo>
                  <a:pt x="174" y="14"/>
                </a:lnTo>
                <a:lnTo>
                  <a:pt x="172" y="14"/>
                </a:lnTo>
                <a:lnTo>
                  <a:pt x="170" y="14"/>
                </a:lnTo>
                <a:lnTo>
                  <a:pt x="166" y="12"/>
                </a:lnTo>
                <a:lnTo>
                  <a:pt x="166" y="10"/>
                </a:lnTo>
                <a:lnTo>
                  <a:pt x="170" y="4"/>
                </a:lnTo>
                <a:lnTo>
                  <a:pt x="176" y="0"/>
                </a:lnTo>
                <a:lnTo>
                  <a:pt x="178" y="2"/>
                </a:lnTo>
                <a:lnTo>
                  <a:pt x="182" y="2"/>
                </a:lnTo>
                <a:lnTo>
                  <a:pt x="186" y="6"/>
                </a:lnTo>
                <a:lnTo>
                  <a:pt x="186" y="10"/>
                </a:lnTo>
                <a:lnTo>
                  <a:pt x="184" y="12"/>
                </a:lnTo>
                <a:lnTo>
                  <a:pt x="186" y="12"/>
                </a:lnTo>
                <a:lnTo>
                  <a:pt x="190" y="14"/>
                </a:lnTo>
                <a:lnTo>
                  <a:pt x="188" y="10"/>
                </a:lnTo>
                <a:lnTo>
                  <a:pt x="190" y="8"/>
                </a:lnTo>
                <a:lnTo>
                  <a:pt x="192" y="10"/>
                </a:lnTo>
                <a:lnTo>
                  <a:pt x="192" y="12"/>
                </a:lnTo>
                <a:lnTo>
                  <a:pt x="194" y="16"/>
                </a:lnTo>
                <a:lnTo>
                  <a:pt x="196" y="16"/>
                </a:lnTo>
                <a:lnTo>
                  <a:pt x="198" y="16"/>
                </a:lnTo>
                <a:lnTo>
                  <a:pt x="200" y="14"/>
                </a:lnTo>
                <a:lnTo>
                  <a:pt x="202" y="14"/>
                </a:lnTo>
                <a:lnTo>
                  <a:pt x="204" y="14"/>
                </a:lnTo>
                <a:lnTo>
                  <a:pt x="206" y="14"/>
                </a:lnTo>
                <a:lnTo>
                  <a:pt x="218" y="18"/>
                </a:lnTo>
                <a:lnTo>
                  <a:pt x="230" y="26"/>
                </a:lnTo>
                <a:lnTo>
                  <a:pt x="236" y="30"/>
                </a:lnTo>
                <a:lnTo>
                  <a:pt x="236" y="34"/>
                </a:lnTo>
                <a:lnTo>
                  <a:pt x="236" y="36"/>
                </a:lnTo>
                <a:lnTo>
                  <a:pt x="240" y="38"/>
                </a:lnTo>
                <a:lnTo>
                  <a:pt x="240" y="44"/>
                </a:lnTo>
                <a:lnTo>
                  <a:pt x="240" y="46"/>
                </a:lnTo>
                <a:lnTo>
                  <a:pt x="238" y="46"/>
                </a:lnTo>
                <a:lnTo>
                  <a:pt x="232" y="52"/>
                </a:lnTo>
                <a:lnTo>
                  <a:pt x="232" y="54"/>
                </a:lnTo>
                <a:lnTo>
                  <a:pt x="230" y="58"/>
                </a:lnTo>
                <a:lnTo>
                  <a:pt x="228" y="60"/>
                </a:lnTo>
                <a:lnTo>
                  <a:pt x="228" y="64"/>
                </a:lnTo>
                <a:lnTo>
                  <a:pt x="228" y="66"/>
                </a:lnTo>
                <a:lnTo>
                  <a:pt x="230" y="68"/>
                </a:lnTo>
                <a:lnTo>
                  <a:pt x="228" y="74"/>
                </a:lnTo>
                <a:lnTo>
                  <a:pt x="228" y="72"/>
                </a:lnTo>
                <a:lnTo>
                  <a:pt x="232" y="72"/>
                </a:lnTo>
                <a:lnTo>
                  <a:pt x="234" y="74"/>
                </a:lnTo>
                <a:lnTo>
                  <a:pt x="236" y="74"/>
                </a:lnTo>
                <a:lnTo>
                  <a:pt x="242" y="76"/>
                </a:lnTo>
                <a:lnTo>
                  <a:pt x="252" y="78"/>
                </a:lnTo>
                <a:lnTo>
                  <a:pt x="252" y="80"/>
                </a:lnTo>
                <a:lnTo>
                  <a:pt x="252" y="84"/>
                </a:lnTo>
                <a:lnTo>
                  <a:pt x="252" y="86"/>
                </a:lnTo>
                <a:lnTo>
                  <a:pt x="254" y="88"/>
                </a:lnTo>
                <a:lnTo>
                  <a:pt x="262" y="94"/>
                </a:lnTo>
                <a:lnTo>
                  <a:pt x="264" y="96"/>
                </a:lnTo>
                <a:lnTo>
                  <a:pt x="266" y="96"/>
                </a:lnTo>
                <a:lnTo>
                  <a:pt x="268" y="96"/>
                </a:lnTo>
                <a:lnTo>
                  <a:pt x="268" y="94"/>
                </a:lnTo>
                <a:lnTo>
                  <a:pt x="272" y="92"/>
                </a:lnTo>
                <a:lnTo>
                  <a:pt x="278" y="88"/>
                </a:lnTo>
                <a:lnTo>
                  <a:pt x="280" y="86"/>
                </a:lnTo>
                <a:lnTo>
                  <a:pt x="280" y="84"/>
                </a:lnTo>
                <a:lnTo>
                  <a:pt x="284" y="82"/>
                </a:lnTo>
                <a:lnTo>
                  <a:pt x="286" y="84"/>
                </a:lnTo>
                <a:lnTo>
                  <a:pt x="290" y="88"/>
                </a:lnTo>
                <a:lnTo>
                  <a:pt x="288" y="94"/>
                </a:lnTo>
                <a:lnTo>
                  <a:pt x="286" y="104"/>
                </a:lnTo>
                <a:lnTo>
                  <a:pt x="286" y="116"/>
                </a:lnTo>
                <a:lnTo>
                  <a:pt x="288" y="118"/>
                </a:lnTo>
                <a:lnTo>
                  <a:pt x="288" y="120"/>
                </a:lnTo>
                <a:lnTo>
                  <a:pt x="286" y="124"/>
                </a:lnTo>
                <a:lnTo>
                  <a:pt x="284" y="126"/>
                </a:lnTo>
                <a:lnTo>
                  <a:pt x="278" y="124"/>
                </a:lnTo>
                <a:lnTo>
                  <a:pt x="276" y="122"/>
                </a:lnTo>
                <a:lnTo>
                  <a:pt x="272" y="120"/>
                </a:lnTo>
                <a:lnTo>
                  <a:pt x="272" y="118"/>
                </a:lnTo>
                <a:lnTo>
                  <a:pt x="272" y="116"/>
                </a:lnTo>
                <a:lnTo>
                  <a:pt x="268" y="116"/>
                </a:lnTo>
                <a:lnTo>
                  <a:pt x="264" y="118"/>
                </a:lnTo>
                <a:lnTo>
                  <a:pt x="260" y="124"/>
                </a:lnTo>
                <a:lnTo>
                  <a:pt x="260" y="126"/>
                </a:lnTo>
                <a:lnTo>
                  <a:pt x="260" y="132"/>
                </a:lnTo>
                <a:lnTo>
                  <a:pt x="262" y="134"/>
                </a:lnTo>
                <a:lnTo>
                  <a:pt x="266" y="138"/>
                </a:lnTo>
                <a:lnTo>
                  <a:pt x="266" y="150"/>
                </a:lnTo>
                <a:lnTo>
                  <a:pt x="264" y="152"/>
                </a:lnTo>
                <a:lnTo>
                  <a:pt x="260" y="152"/>
                </a:lnTo>
                <a:lnTo>
                  <a:pt x="254" y="146"/>
                </a:lnTo>
                <a:lnTo>
                  <a:pt x="254" y="142"/>
                </a:lnTo>
                <a:lnTo>
                  <a:pt x="256" y="140"/>
                </a:lnTo>
                <a:lnTo>
                  <a:pt x="252" y="138"/>
                </a:lnTo>
                <a:lnTo>
                  <a:pt x="250" y="138"/>
                </a:lnTo>
                <a:lnTo>
                  <a:pt x="246" y="138"/>
                </a:lnTo>
                <a:lnTo>
                  <a:pt x="244" y="138"/>
                </a:lnTo>
                <a:lnTo>
                  <a:pt x="240" y="140"/>
                </a:lnTo>
                <a:lnTo>
                  <a:pt x="236" y="144"/>
                </a:lnTo>
                <a:lnTo>
                  <a:pt x="232" y="144"/>
                </a:lnTo>
                <a:lnTo>
                  <a:pt x="228" y="144"/>
                </a:lnTo>
                <a:lnTo>
                  <a:pt x="226" y="142"/>
                </a:lnTo>
                <a:lnTo>
                  <a:pt x="224" y="142"/>
                </a:lnTo>
                <a:lnTo>
                  <a:pt x="222" y="134"/>
                </a:lnTo>
                <a:lnTo>
                  <a:pt x="222" y="132"/>
                </a:lnTo>
                <a:lnTo>
                  <a:pt x="222" y="126"/>
                </a:lnTo>
                <a:lnTo>
                  <a:pt x="216" y="124"/>
                </a:lnTo>
                <a:lnTo>
                  <a:pt x="212" y="124"/>
                </a:lnTo>
                <a:lnTo>
                  <a:pt x="208" y="130"/>
                </a:lnTo>
                <a:lnTo>
                  <a:pt x="210" y="130"/>
                </a:lnTo>
                <a:lnTo>
                  <a:pt x="210" y="138"/>
                </a:lnTo>
                <a:lnTo>
                  <a:pt x="210" y="140"/>
                </a:lnTo>
                <a:lnTo>
                  <a:pt x="210" y="142"/>
                </a:lnTo>
                <a:lnTo>
                  <a:pt x="206" y="148"/>
                </a:lnTo>
                <a:lnTo>
                  <a:pt x="202" y="152"/>
                </a:lnTo>
                <a:lnTo>
                  <a:pt x="200" y="154"/>
                </a:lnTo>
                <a:lnTo>
                  <a:pt x="198" y="154"/>
                </a:lnTo>
                <a:lnTo>
                  <a:pt x="196" y="158"/>
                </a:lnTo>
                <a:lnTo>
                  <a:pt x="192" y="162"/>
                </a:lnTo>
                <a:lnTo>
                  <a:pt x="190" y="166"/>
                </a:lnTo>
                <a:lnTo>
                  <a:pt x="190" y="170"/>
                </a:lnTo>
                <a:lnTo>
                  <a:pt x="190" y="174"/>
                </a:lnTo>
                <a:lnTo>
                  <a:pt x="194" y="176"/>
                </a:lnTo>
                <a:lnTo>
                  <a:pt x="194" y="178"/>
                </a:lnTo>
                <a:lnTo>
                  <a:pt x="190" y="184"/>
                </a:lnTo>
                <a:lnTo>
                  <a:pt x="188" y="184"/>
                </a:lnTo>
                <a:lnTo>
                  <a:pt x="186" y="182"/>
                </a:lnTo>
                <a:lnTo>
                  <a:pt x="186" y="180"/>
                </a:lnTo>
                <a:lnTo>
                  <a:pt x="184" y="176"/>
                </a:lnTo>
                <a:lnTo>
                  <a:pt x="182" y="172"/>
                </a:lnTo>
                <a:lnTo>
                  <a:pt x="178" y="168"/>
                </a:lnTo>
                <a:lnTo>
                  <a:pt x="178" y="164"/>
                </a:lnTo>
                <a:lnTo>
                  <a:pt x="180" y="162"/>
                </a:lnTo>
                <a:lnTo>
                  <a:pt x="180" y="160"/>
                </a:lnTo>
                <a:lnTo>
                  <a:pt x="178" y="158"/>
                </a:lnTo>
                <a:lnTo>
                  <a:pt x="174" y="156"/>
                </a:lnTo>
                <a:lnTo>
                  <a:pt x="174" y="158"/>
                </a:lnTo>
                <a:lnTo>
                  <a:pt x="172" y="158"/>
                </a:lnTo>
                <a:lnTo>
                  <a:pt x="166" y="154"/>
                </a:lnTo>
                <a:lnTo>
                  <a:pt x="158" y="144"/>
                </a:lnTo>
                <a:lnTo>
                  <a:pt x="156" y="142"/>
                </a:lnTo>
                <a:lnTo>
                  <a:pt x="156" y="138"/>
                </a:lnTo>
                <a:lnTo>
                  <a:pt x="158" y="136"/>
                </a:lnTo>
                <a:lnTo>
                  <a:pt x="158" y="132"/>
                </a:lnTo>
                <a:lnTo>
                  <a:pt x="158" y="124"/>
                </a:lnTo>
                <a:lnTo>
                  <a:pt x="154" y="124"/>
                </a:lnTo>
                <a:lnTo>
                  <a:pt x="152" y="124"/>
                </a:lnTo>
                <a:lnTo>
                  <a:pt x="150" y="126"/>
                </a:lnTo>
                <a:lnTo>
                  <a:pt x="136" y="144"/>
                </a:lnTo>
                <a:lnTo>
                  <a:pt x="138" y="146"/>
                </a:lnTo>
                <a:lnTo>
                  <a:pt x="136" y="150"/>
                </a:lnTo>
                <a:lnTo>
                  <a:pt x="126" y="162"/>
                </a:lnTo>
                <a:lnTo>
                  <a:pt x="124" y="162"/>
                </a:lnTo>
                <a:lnTo>
                  <a:pt x="124" y="164"/>
                </a:lnTo>
                <a:lnTo>
                  <a:pt x="120" y="162"/>
                </a:lnTo>
                <a:lnTo>
                  <a:pt x="118" y="164"/>
                </a:lnTo>
                <a:lnTo>
                  <a:pt x="118" y="166"/>
                </a:lnTo>
                <a:lnTo>
                  <a:pt x="116" y="170"/>
                </a:lnTo>
                <a:lnTo>
                  <a:pt x="112" y="168"/>
                </a:lnTo>
                <a:lnTo>
                  <a:pt x="110" y="168"/>
                </a:lnTo>
                <a:lnTo>
                  <a:pt x="108" y="166"/>
                </a:lnTo>
                <a:lnTo>
                  <a:pt x="104" y="162"/>
                </a:lnTo>
                <a:lnTo>
                  <a:pt x="96" y="162"/>
                </a:lnTo>
                <a:lnTo>
                  <a:pt x="92" y="166"/>
                </a:lnTo>
                <a:lnTo>
                  <a:pt x="90" y="166"/>
                </a:lnTo>
                <a:lnTo>
                  <a:pt x="86" y="166"/>
                </a:lnTo>
                <a:lnTo>
                  <a:pt x="84" y="166"/>
                </a:lnTo>
                <a:lnTo>
                  <a:pt x="80" y="166"/>
                </a:lnTo>
                <a:lnTo>
                  <a:pt x="76" y="168"/>
                </a:lnTo>
                <a:lnTo>
                  <a:pt x="74" y="170"/>
                </a:lnTo>
                <a:lnTo>
                  <a:pt x="68" y="168"/>
                </a:lnTo>
                <a:lnTo>
                  <a:pt x="66" y="166"/>
                </a:lnTo>
                <a:lnTo>
                  <a:pt x="64" y="164"/>
                </a:lnTo>
                <a:lnTo>
                  <a:pt x="64" y="160"/>
                </a:lnTo>
                <a:lnTo>
                  <a:pt x="62" y="158"/>
                </a:lnTo>
                <a:lnTo>
                  <a:pt x="58" y="152"/>
                </a:lnTo>
                <a:lnTo>
                  <a:pt x="56" y="148"/>
                </a:lnTo>
                <a:lnTo>
                  <a:pt x="50" y="142"/>
                </a:lnTo>
                <a:lnTo>
                  <a:pt x="54" y="122"/>
                </a:lnTo>
                <a:lnTo>
                  <a:pt x="54" y="118"/>
                </a:lnTo>
                <a:lnTo>
                  <a:pt x="54" y="116"/>
                </a:lnTo>
                <a:lnTo>
                  <a:pt x="50" y="114"/>
                </a:lnTo>
                <a:lnTo>
                  <a:pt x="48" y="114"/>
                </a:lnTo>
                <a:lnTo>
                  <a:pt x="44" y="112"/>
                </a:lnTo>
                <a:lnTo>
                  <a:pt x="36" y="112"/>
                </a:lnTo>
                <a:lnTo>
                  <a:pt x="34" y="112"/>
                </a:lnTo>
                <a:lnTo>
                  <a:pt x="24" y="116"/>
                </a:lnTo>
                <a:lnTo>
                  <a:pt x="22" y="116"/>
                </a:lnTo>
                <a:lnTo>
                  <a:pt x="18" y="120"/>
                </a:lnTo>
                <a:lnTo>
                  <a:pt x="18" y="122"/>
                </a:lnTo>
                <a:lnTo>
                  <a:pt x="18" y="124"/>
                </a:lnTo>
                <a:lnTo>
                  <a:pt x="20" y="128"/>
                </a:lnTo>
                <a:lnTo>
                  <a:pt x="18" y="132"/>
                </a:lnTo>
                <a:lnTo>
                  <a:pt x="14" y="136"/>
                </a:lnTo>
                <a:lnTo>
                  <a:pt x="10" y="138"/>
                </a:lnTo>
                <a:lnTo>
                  <a:pt x="0" y="138"/>
                </a:lnTo>
                <a:lnTo>
                  <a:pt x="0" y="132"/>
                </a:lnTo>
                <a:lnTo>
                  <a:pt x="0" y="130"/>
                </a:lnTo>
                <a:lnTo>
                  <a:pt x="2" y="130"/>
                </a:lnTo>
                <a:lnTo>
                  <a:pt x="4" y="128"/>
                </a:lnTo>
                <a:lnTo>
                  <a:pt x="6" y="128"/>
                </a:lnTo>
                <a:lnTo>
                  <a:pt x="10" y="128"/>
                </a:lnTo>
                <a:lnTo>
                  <a:pt x="10" y="124"/>
                </a:lnTo>
                <a:lnTo>
                  <a:pt x="10" y="122"/>
                </a:lnTo>
                <a:lnTo>
                  <a:pt x="14" y="118"/>
                </a:lnTo>
                <a:lnTo>
                  <a:pt x="10" y="114"/>
                </a:lnTo>
                <a:lnTo>
                  <a:pt x="8" y="112"/>
                </a:lnTo>
                <a:lnTo>
                  <a:pt x="10" y="110"/>
                </a:lnTo>
                <a:lnTo>
                  <a:pt x="14" y="102"/>
                </a:lnTo>
                <a:lnTo>
                  <a:pt x="14" y="98"/>
                </a:lnTo>
                <a:lnTo>
                  <a:pt x="24" y="90"/>
                </a:lnTo>
                <a:lnTo>
                  <a:pt x="30" y="88"/>
                </a:lnTo>
                <a:lnTo>
                  <a:pt x="34" y="84"/>
                </a:lnTo>
                <a:lnTo>
                  <a:pt x="36" y="82"/>
                </a:lnTo>
                <a:lnTo>
                  <a:pt x="36" y="7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299" name="Freeform 2643"/>
          <p:cNvSpPr>
            <a:spLocks/>
          </p:cNvSpPr>
          <p:nvPr/>
        </p:nvSpPr>
        <p:spPr bwMode="auto">
          <a:xfrm>
            <a:off x="5634428" y="5011849"/>
            <a:ext cx="431236" cy="581873"/>
          </a:xfrm>
          <a:custGeom>
            <a:avLst/>
            <a:gdLst/>
            <a:ahLst/>
            <a:cxnLst>
              <a:cxn ang="0">
                <a:pos x="92" y="320"/>
              </a:cxn>
              <a:cxn ang="0">
                <a:pos x="100" y="312"/>
              </a:cxn>
              <a:cxn ang="0">
                <a:pos x="110" y="296"/>
              </a:cxn>
              <a:cxn ang="0">
                <a:pos x="90" y="284"/>
              </a:cxn>
              <a:cxn ang="0">
                <a:pos x="68" y="276"/>
              </a:cxn>
              <a:cxn ang="0">
                <a:pos x="42" y="254"/>
              </a:cxn>
              <a:cxn ang="0">
                <a:pos x="54" y="242"/>
              </a:cxn>
              <a:cxn ang="0">
                <a:pos x="54" y="222"/>
              </a:cxn>
              <a:cxn ang="0">
                <a:pos x="42" y="204"/>
              </a:cxn>
              <a:cxn ang="0">
                <a:pos x="62" y="200"/>
              </a:cxn>
              <a:cxn ang="0">
                <a:pos x="34" y="178"/>
              </a:cxn>
              <a:cxn ang="0">
                <a:pos x="26" y="156"/>
              </a:cxn>
              <a:cxn ang="0">
                <a:pos x="42" y="122"/>
              </a:cxn>
              <a:cxn ang="0">
                <a:pos x="20" y="124"/>
              </a:cxn>
              <a:cxn ang="0">
                <a:pos x="22" y="102"/>
              </a:cxn>
              <a:cxn ang="0">
                <a:pos x="42" y="94"/>
              </a:cxn>
              <a:cxn ang="0">
                <a:pos x="32" y="90"/>
              </a:cxn>
              <a:cxn ang="0">
                <a:pos x="12" y="76"/>
              </a:cxn>
              <a:cxn ang="0">
                <a:pos x="20" y="64"/>
              </a:cxn>
              <a:cxn ang="0">
                <a:pos x="8" y="60"/>
              </a:cxn>
              <a:cxn ang="0">
                <a:pos x="8" y="38"/>
              </a:cxn>
              <a:cxn ang="0">
                <a:pos x="12" y="24"/>
              </a:cxn>
              <a:cxn ang="0">
                <a:pos x="40" y="12"/>
              </a:cxn>
              <a:cxn ang="0">
                <a:pos x="56" y="2"/>
              </a:cxn>
              <a:cxn ang="0">
                <a:pos x="86" y="2"/>
              </a:cxn>
              <a:cxn ang="0">
                <a:pos x="98" y="16"/>
              </a:cxn>
              <a:cxn ang="0">
                <a:pos x="118" y="32"/>
              </a:cxn>
              <a:cxn ang="0">
                <a:pos x="128" y="44"/>
              </a:cxn>
              <a:cxn ang="0">
                <a:pos x="142" y="72"/>
              </a:cxn>
              <a:cxn ang="0">
                <a:pos x="174" y="84"/>
              </a:cxn>
              <a:cxn ang="0">
                <a:pos x="172" y="104"/>
              </a:cxn>
              <a:cxn ang="0">
                <a:pos x="180" y="112"/>
              </a:cxn>
              <a:cxn ang="0">
                <a:pos x="170" y="118"/>
              </a:cxn>
              <a:cxn ang="0">
                <a:pos x="184" y="122"/>
              </a:cxn>
              <a:cxn ang="0">
                <a:pos x="196" y="132"/>
              </a:cxn>
              <a:cxn ang="0">
                <a:pos x="216" y="138"/>
              </a:cxn>
              <a:cxn ang="0">
                <a:pos x="232" y="130"/>
              </a:cxn>
              <a:cxn ang="0">
                <a:pos x="246" y="126"/>
              </a:cxn>
              <a:cxn ang="0">
                <a:pos x="260" y="130"/>
              </a:cxn>
              <a:cxn ang="0">
                <a:pos x="256" y="136"/>
              </a:cxn>
              <a:cxn ang="0">
                <a:pos x="250" y="156"/>
              </a:cxn>
              <a:cxn ang="0">
                <a:pos x="262" y="162"/>
              </a:cxn>
              <a:cxn ang="0">
                <a:pos x="258" y="176"/>
              </a:cxn>
              <a:cxn ang="0">
                <a:pos x="258" y="236"/>
              </a:cxn>
              <a:cxn ang="0">
                <a:pos x="278" y="246"/>
              </a:cxn>
              <a:cxn ang="0">
                <a:pos x="292" y="264"/>
              </a:cxn>
              <a:cxn ang="0">
                <a:pos x="262" y="290"/>
              </a:cxn>
              <a:cxn ang="0">
                <a:pos x="266" y="324"/>
              </a:cxn>
              <a:cxn ang="0">
                <a:pos x="260" y="340"/>
              </a:cxn>
              <a:cxn ang="0">
                <a:pos x="236" y="346"/>
              </a:cxn>
              <a:cxn ang="0">
                <a:pos x="214" y="354"/>
              </a:cxn>
              <a:cxn ang="0">
                <a:pos x="188" y="360"/>
              </a:cxn>
              <a:cxn ang="0">
                <a:pos x="160" y="368"/>
              </a:cxn>
              <a:cxn ang="0">
                <a:pos x="148" y="392"/>
              </a:cxn>
              <a:cxn ang="0">
                <a:pos x="140" y="386"/>
              </a:cxn>
              <a:cxn ang="0">
                <a:pos x="122" y="354"/>
              </a:cxn>
              <a:cxn ang="0">
                <a:pos x="106" y="336"/>
              </a:cxn>
            </a:cxnLst>
            <a:rect l="0" t="0" r="r" b="b"/>
            <a:pathLst>
              <a:path w="292" h="394">
                <a:moveTo>
                  <a:pt x="98" y="332"/>
                </a:moveTo>
                <a:lnTo>
                  <a:pt x="100" y="324"/>
                </a:lnTo>
                <a:lnTo>
                  <a:pt x="98" y="322"/>
                </a:lnTo>
                <a:lnTo>
                  <a:pt x="94" y="320"/>
                </a:lnTo>
                <a:lnTo>
                  <a:pt x="92" y="320"/>
                </a:lnTo>
                <a:lnTo>
                  <a:pt x="92" y="316"/>
                </a:lnTo>
                <a:lnTo>
                  <a:pt x="94" y="314"/>
                </a:lnTo>
                <a:lnTo>
                  <a:pt x="96" y="314"/>
                </a:lnTo>
                <a:lnTo>
                  <a:pt x="98" y="312"/>
                </a:lnTo>
                <a:lnTo>
                  <a:pt x="100" y="312"/>
                </a:lnTo>
                <a:lnTo>
                  <a:pt x="108" y="312"/>
                </a:lnTo>
                <a:lnTo>
                  <a:pt x="118" y="304"/>
                </a:lnTo>
                <a:lnTo>
                  <a:pt x="116" y="300"/>
                </a:lnTo>
                <a:lnTo>
                  <a:pt x="112" y="298"/>
                </a:lnTo>
                <a:lnTo>
                  <a:pt x="110" y="296"/>
                </a:lnTo>
                <a:lnTo>
                  <a:pt x="104" y="294"/>
                </a:lnTo>
                <a:lnTo>
                  <a:pt x="102" y="294"/>
                </a:lnTo>
                <a:lnTo>
                  <a:pt x="96" y="290"/>
                </a:lnTo>
                <a:lnTo>
                  <a:pt x="94" y="288"/>
                </a:lnTo>
                <a:lnTo>
                  <a:pt x="90" y="284"/>
                </a:lnTo>
                <a:lnTo>
                  <a:pt x="86" y="282"/>
                </a:lnTo>
                <a:lnTo>
                  <a:pt x="76" y="278"/>
                </a:lnTo>
                <a:lnTo>
                  <a:pt x="70" y="278"/>
                </a:lnTo>
                <a:lnTo>
                  <a:pt x="68" y="278"/>
                </a:lnTo>
                <a:lnTo>
                  <a:pt x="68" y="276"/>
                </a:lnTo>
                <a:lnTo>
                  <a:pt x="62" y="272"/>
                </a:lnTo>
                <a:lnTo>
                  <a:pt x="62" y="270"/>
                </a:lnTo>
                <a:lnTo>
                  <a:pt x="58" y="264"/>
                </a:lnTo>
                <a:lnTo>
                  <a:pt x="54" y="260"/>
                </a:lnTo>
                <a:lnTo>
                  <a:pt x="42" y="254"/>
                </a:lnTo>
                <a:lnTo>
                  <a:pt x="40" y="252"/>
                </a:lnTo>
                <a:lnTo>
                  <a:pt x="38" y="248"/>
                </a:lnTo>
                <a:lnTo>
                  <a:pt x="42" y="244"/>
                </a:lnTo>
                <a:lnTo>
                  <a:pt x="50" y="240"/>
                </a:lnTo>
                <a:lnTo>
                  <a:pt x="54" y="242"/>
                </a:lnTo>
                <a:lnTo>
                  <a:pt x="56" y="240"/>
                </a:lnTo>
                <a:lnTo>
                  <a:pt x="56" y="230"/>
                </a:lnTo>
                <a:lnTo>
                  <a:pt x="54" y="226"/>
                </a:lnTo>
                <a:lnTo>
                  <a:pt x="54" y="224"/>
                </a:lnTo>
                <a:lnTo>
                  <a:pt x="54" y="222"/>
                </a:lnTo>
                <a:lnTo>
                  <a:pt x="50" y="220"/>
                </a:lnTo>
                <a:lnTo>
                  <a:pt x="46" y="216"/>
                </a:lnTo>
                <a:lnTo>
                  <a:pt x="36" y="206"/>
                </a:lnTo>
                <a:lnTo>
                  <a:pt x="36" y="202"/>
                </a:lnTo>
                <a:lnTo>
                  <a:pt x="42" y="204"/>
                </a:lnTo>
                <a:lnTo>
                  <a:pt x="46" y="204"/>
                </a:lnTo>
                <a:lnTo>
                  <a:pt x="50" y="206"/>
                </a:lnTo>
                <a:lnTo>
                  <a:pt x="54" y="206"/>
                </a:lnTo>
                <a:lnTo>
                  <a:pt x="56" y="206"/>
                </a:lnTo>
                <a:lnTo>
                  <a:pt x="62" y="200"/>
                </a:lnTo>
                <a:lnTo>
                  <a:pt x="62" y="196"/>
                </a:lnTo>
                <a:lnTo>
                  <a:pt x="60" y="196"/>
                </a:lnTo>
                <a:lnTo>
                  <a:pt x="52" y="192"/>
                </a:lnTo>
                <a:lnTo>
                  <a:pt x="44" y="184"/>
                </a:lnTo>
                <a:lnTo>
                  <a:pt x="34" y="178"/>
                </a:lnTo>
                <a:lnTo>
                  <a:pt x="30" y="176"/>
                </a:lnTo>
                <a:lnTo>
                  <a:pt x="28" y="174"/>
                </a:lnTo>
                <a:lnTo>
                  <a:pt x="26" y="172"/>
                </a:lnTo>
                <a:lnTo>
                  <a:pt x="26" y="168"/>
                </a:lnTo>
                <a:lnTo>
                  <a:pt x="26" y="156"/>
                </a:lnTo>
                <a:lnTo>
                  <a:pt x="30" y="152"/>
                </a:lnTo>
                <a:lnTo>
                  <a:pt x="38" y="138"/>
                </a:lnTo>
                <a:lnTo>
                  <a:pt x="38" y="134"/>
                </a:lnTo>
                <a:lnTo>
                  <a:pt x="40" y="132"/>
                </a:lnTo>
                <a:lnTo>
                  <a:pt x="42" y="122"/>
                </a:lnTo>
                <a:lnTo>
                  <a:pt x="40" y="122"/>
                </a:lnTo>
                <a:lnTo>
                  <a:pt x="36" y="120"/>
                </a:lnTo>
                <a:lnTo>
                  <a:pt x="28" y="118"/>
                </a:lnTo>
                <a:lnTo>
                  <a:pt x="24" y="120"/>
                </a:lnTo>
                <a:lnTo>
                  <a:pt x="20" y="124"/>
                </a:lnTo>
                <a:lnTo>
                  <a:pt x="18" y="122"/>
                </a:lnTo>
                <a:lnTo>
                  <a:pt x="16" y="120"/>
                </a:lnTo>
                <a:lnTo>
                  <a:pt x="20" y="118"/>
                </a:lnTo>
                <a:lnTo>
                  <a:pt x="24" y="108"/>
                </a:lnTo>
                <a:lnTo>
                  <a:pt x="22" y="102"/>
                </a:lnTo>
                <a:lnTo>
                  <a:pt x="26" y="92"/>
                </a:lnTo>
                <a:lnTo>
                  <a:pt x="28" y="92"/>
                </a:lnTo>
                <a:lnTo>
                  <a:pt x="32" y="94"/>
                </a:lnTo>
                <a:lnTo>
                  <a:pt x="38" y="94"/>
                </a:lnTo>
                <a:lnTo>
                  <a:pt x="42" y="94"/>
                </a:lnTo>
                <a:lnTo>
                  <a:pt x="42" y="90"/>
                </a:lnTo>
                <a:lnTo>
                  <a:pt x="40" y="90"/>
                </a:lnTo>
                <a:lnTo>
                  <a:pt x="38" y="90"/>
                </a:lnTo>
                <a:lnTo>
                  <a:pt x="36" y="90"/>
                </a:lnTo>
                <a:lnTo>
                  <a:pt x="32" y="90"/>
                </a:lnTo>
                <a:lnTo>
                  <a:pt x="32" y="88"/>
                </a:lnTo>
                <a:lnTo>
                  <a:pt x="28" y="86"/>
                </a:lnTo>
                <a:lnTo>
                  <a:pt x="24" y="84"/>
                </a:lnTo>
                <a:lnTo>
                  <a:pt x="22" y="84"/>
                </a:lnTo>
                <a:lnTo>
                  <a:pt x="12" y="76"/>
                </a:lnTo>
                <a:lnTo>
                  <a:pt x="14" y="68"/>
                </a:lnTo>
                <a:lnTo>
                  <a:pt x="16" y="66"/>
                </a:lnTo>
                <a:lnTo>
                  <a:pt x="18" y="68"/>
                </a:lnTo>
                <a:lnTo>
                  <a:pt x="20" y="66"/>
                </a:lnTo>
                <a:lnTo>
                  <a:pt x="20" y="64"/>
                </a:lnTo>
                <a:lnTo>
                  <a:pt x="14" y="60"/>
                </a:lnTo>
                <a:lnTo>
                  <a:pt x="12" y="62"/>
                </a:lnTo>
                <a:lnTo>
                  <a:pt x="10" y="62"/>
                </a:lnTo>
                <a:lnTo>
                  <a:pt x="8" y="62"/>
                </a:lnTo>
                <a:lnTo>
                  <a:pt x="8" y="60"/>
                </a:lnTo>
                <a:lnTo>
                  <a:pt x="8" y="56"/>
                </a:lnTo>
                <a:lnTo>
                  <a:pt x="8" y="54"/>
                </a:lnTo>
                <a:lnTo>
                  <a:pt x="10" y="52"/>
                </a:lnTo>
                <a:lnTo>
                  <a:pt x="10" y="40"/>
                </a:lnTo>
                <a:lnTo>
                  <a:pt x="8" y="38"/>
                </a:lnTo>
                <a:lnTo>
                  <a:pt x="4" y="36"/>
                </a:lnTo>
                <a:lnTo>
                  <a:pt x="2" y="32"/>
                </a:lnTo>
                <a:lnTo>
                  <a:pt x="0" y="28"/>
                </a:lnTo>
                <a:lnTo>
                  <a:pt x="2" y="28"/>
                </a:lnTo>
                <a:lnTo>
                  <a:pt x="12" y="24"/>
                </a:lnTo>
                <a:lnTo>
                  <a:pt x="16" y="18"/>
                </a:lnTo>
                <a:lnTo>
                  <a:pt x="20" y="18"/>
                </a:lnTo>
                <a:lnTo>
                  <a:pt x="20" y="20"/>
                </a:lnTo>
                <a:lnTo>
                  <a:pt x="30" y="20"/>
                </a:lnTo>
                <a:lnTo>
                  <a:pt x="40" y="12"/>
                </a:lnTo>
                <a:lnTo>
                  <a:pt x="44" y="8"/>
                </a:lnTo>
                <a:lnTo>
                  <a:pt x="42" y="6"/>
                </a:lnTo>
                <a:lnTo>
                  <a:pt x="46" y="2"/>
                </a:lnTo>
                <a:lnTo>
                  <a:pt x="54" y="2"/>
                </a:lnTo>
                <a:lnTo>
                  <a:pt x="56" y="2"/>
                </a:lnTo>
                <a:lnTo>
                  <a:pt x="58" y="2"/>
                </a:lnTo>
                <a:lnTo>
                  <a:pt x="64" y="2"/>
                </a:lnTo>
                <a:lnTo>
                  <a:pt x="72" y="2"/>
                </a:lnTo>
                <a:lnTo>
                  <a:pt x="82" y="0"/>
                </a:lnTo>
                <a:lnTo>
                  <a:pt x="86" y="2"/>
                </a:lnTo>
                <a:lnTo>
                  <a:pt x="90" y="4"/>
                </a:lnTo>
                <a:lnTo>
                  <a:pt x="90" y="6"/>
                </a:lnTo>
                <a:lnTo>
                  <a:pt x="94" y="8"/>
                </a:lnTo>
                <a:lnTo>
                  <a:pt x="98" y="14"/>
                </a:lnTo>
                <a:lnTo>
                  <a:pt x="98" y="16"/>
                </a:lnTo>
                <a:lnTo>
                  <a:pt x="108" y="22"/>
                </a:lnTo>
                <a:lnTo>
                  <a:pt x="112" y="22"/>
                </a:lnTo>
                <a:lnTo>
                  <a:pt x="112" y="24"/>
                </a:lnTo>
                <a:lnTo>
                  <a:pt x="118" y="30"/>
                </a:lnTo>
                <a:lnTo>
                  <a:pt x="118" y="32"/>
                </a:lnTo>
                <a:lnTo>
                  <a:pt x="122" y="36"/>
                </a:lnTo>
                <a:lnTo>
                  <a:pt x="124" y="36"/>
                </a:lnTo>
                <a:lnTo>
                  <a:pt x="126" y="34"/>
                </a:lnTo>
                <a:lnTo>
                  <a:pt x="128" y="36"/>
                </a:lnTo>
                <a:lnTo>
                  <a:pt x="128" y="44"/>
                </a:lnTo>
                <a:lnTo>
                  <a:pt x="128" y="48"/>
                </a:lnTo>
                <a:lnTo>
                  <a:pt x="126" y="48"/>
                </a:lnTo>
                <a:lnTo>
                  <a:pt x="128" y="58"/>
                </a:lnTo>
                <a:lnTo>
                  <a:pt x="130" y="60"/>
                </a:lnTo>
                <a:lnTo>
                  <a:pt x="142" y="72"/>
                </a:lnTo>
                <a:lnTo>
                  <a:pt x="146" y="74"/>
                </a:lnTo>
                <a:lnTo>
                  <a:pt x="162" y="82"/>
                </a:lnTo>
                <a:lnTo>
                  <a:pt x="166" y="82"/>
                </a:lnTo>
                <a:lnTo>
                  <a:pt x="170" y="82"/>
                </a:lnTo>
                <a:lnTo>
                  <a:pt x="174" y="84"/>
                </a:lnTo>
                <a:lnTo>
                  <a:pt x="176" y="84"/>
                </a:lnTo>
                <a:lnTo>
                  <a:pt x="178" y="88"/>
                </a:lnTo>
                <a:lnTo>
                  <a:pt x="174" y="98"/>
                </a:lnTo>
                <a:lnTo>
                  <a:pt x="170" y="102"/>
                </a:lnTo>
                <a:lnTo>
                  <a:pt x="172" y="104"/>
                </a:lnTo>
                <a:lnTo>
                  <a:pt x="174" y="106"/>
                </a:lnTo>
                <a:lnTo>
                  <a:pt x="176" y="106"/>
                </a:lnTo>
                <a:lnTo>
                  <a:pt x="182" y="106"/>
                </a:lnTo>
                <a:lnTo>
                  <a:pt x="182" y="110"/>
                </a:lnTo>
                <a:lnTo>
                  <a:pt x="180" y="112"/>
                </a:lnTo>
                <a:lnTo>
                  <a:pt x="178" y="114"/>
                </a:lnTo>
                <a:lnTo>
                  <a:pt x="176" y="114"/>
                </a:lnTo>
                <a:lnTo>
                  <a:pt x="172" y="114"/>
                </a:lnTo>
                <a:lnTo>
                  <a:pt x="170" y="114"/>
                </a:lnTo>
                <a:lnTo>
                  <a:pt x="170" y="118"/>
                </a:lnTo>
                <a:lnTo>
                  <a:pt x="172" y="122"/>
                </a:lnTo>
                <a:lnTo>
                  <a:pt x="176" y="122"/>
                </a:lnTo>
                <a:lnTo>
                  <a:pt x="178" y="122"/>
                </a:lnTo>
                <a:lnTo>
                  <a:pt x="182" y="122"/>
                </a:lnTo>
                <a:lnTo>
                  <a:pt x="184" y="122"/>
                </a:lnTo>
                <a:lnTo>
                  <a:pt x="186" y="124"/>
                </a:lnTo>
                <a:lnTo>
                  <a:pt x="188" y="128"/>
                </a:lnTo>
                <a:lnTo>
                  <a:pt x="188" y="130"/>
                </a:lnTo>
                <a:lnTo>
                  <a:pt x="190" y="132"/>
                </a:lnTo>
                <a:lnTo>
                  <a:pt x="196" y="132"/>
                </a:lnTo>
                <a:lnTo>
                  <a:pt x="198" y="130"/>
                </a:lnTo>
                <a:lnTo>
                  <a:pt x="208" y="132"/>
                </a:lnTo>
                <a:lnTo>
                  <a:pt x="214" y="132"/>
                </a:lnTo>
                <a:lnTo>
                  <a:pt x="216" y="136"/>
                </a:lnTo>
                <a:lnTo>
                  <a:pt x="216" y="138"/>
                </a:lnTo>
                <a:lnTo>
                  <a:pt x="220" y="144"/>
                </a:lnTo>
                <a:lnTo>
                  <a:pt x="224" y="146"/>
                </a:lnTo>
                <a:lnTo>
                  <a:pt x="226" y="146"/>
                </a:lnTo>
                <a:lnTo>
                  <a:pt x="230" y="134"/>
                </a:lnTo>
                <a:lnTo>
                  <a:pt x="232" y="130"/>
                </a:lnTo>
                <a:lnTo>
                  <a:pt x="234" y="128"/>
                </a:lnTo>
                <a:lnTo>
                  <a:pt x="240" y="122"/>
                </a:lnTo>
                <a:lnTo>
                  <a:pt x="242" y="122"/>
                </a:lnTo>
                <a:lnTo>
                  <a:pt x="244" y="124"/>
                </a:lnTo>
                <a:lnTo>
                  <a:pt x="246" y="126"/>
                </a:lnTo>
                <a:lnTo>
                  <a:pt x="248" y="126"/>
                </a:lnTo>
                <a:lnTo>
                  <a:pt x="250" y="128"/>
                </a:lnTo>
                <a:lnTo>
                  <a:pt x="252" y="130"/>
                </a:lnTo>
                <a:lnTo>
                  <a:pt x="256" y="130"/>
                </a:lnTo>
                <a:lnTo>
                  <a:pt x="260" y="130"/>
                </a:lnTo>
                <a:lnTo>
                  <a:pt x="264" y="134"/>
                </a:lnTo>
                <a:lnTo>
                  <a:pt x="262" y="138"/>
                </a:lnTo>
                <a:lnTo>
                  <a:pt x="260" y="138"/>
                </a:lnTo>
                <a:lnTo>
                  <a:pt x="258" y="138"/>
                </a:lnTo>
                <a:lnTo>
                  <a:pt x="256" y="136"/>
                </a:lnTo>
                <a:lnTo>
                  <a:pt x="254" y="136"/>
                </a:lnTo>
                <a:lnTo>
                  <a:pt x="252" y="136"/>
                </a:lnTo>
                <a:lnTo>
                  <a:pt x="244" y="144"/>
                </a:lnTo>
                <a:lnTo>
                  <a:pt x="244" y="146"/>
                </a:lnTo>
                <a:lnTo>
                  <a:pt x="250" y="156"/>
                </a:lnTo>
                <a:lnTo>
                  <a:pt x="254" y="160"/>
                </a:lnTo>
                <a:lnTo>
                  <a:pt x="256" y="160"/>
                </a:lnTo>
                <a:lnTo>
                  <a:pt x="258" y="160"/>
                </a:lnTo>
                <a:lnTo>
                  <a:pt x="260" y="160"/>
                </a:lnTo>
                <a:lnTo>
                  <a:pt x="262" y="162"/>
                </a:lnTo>
                <a:lnTo>
                  <a:pt x="262" y="166"/>
                </a:lnTo>
                <a:lnTo>
                  <a:pt x="260" y="166"/>
                </a:lnTo>
                <a:lnTo>
                  <a:pt x="260" y="168"/>
                </a:lnTo>
                <a:lnTo>
                  <a:pt x="258" y="172"/>
                </a:lnTo>
                <a:lnTo>
                  <a:pt x="258" y="176"/>
                </a:lnTo>
                <a:lnTo>
                  <a:pt x="254" y="182"/>
                </a:lnTo>
                <a:lnTo>
                  <a:pt x="246" y="188"/>
                </a:lnTo>
                <a:lnTo>
                  <a:pt x="244" y="204"/>
                </a:lnTo>
                <a:lnTo>
                  <a:pt x="248" y="214"/>
                </a:lnTo>
                <a:lnTo>
                  <a:pt x="258" y="236"/>
                </a:lnTo>
                <a:lnTo>
                  <a:pt x="264" y="238"/>
                </a:lnTo>
                <a:lnTo>
                  <a:pt x="268" y="240"/>
                </a:lnTo>
                <a:lnTo>
                  <a:pt x="272" y="242"/>
                </a:lnTo>
                <a:lnTo>
                  <a:pt x="274" y="242"/>
                </a:lnTo>
                <a:lnTo>
                  <a:pt x="278" y="246"/>
                </a:lnTo>
                <a:lnTo>
                  <a:pt x="280" y="250"/>
                </a:lnTo>
                <a:lnTo>
                  <a:pt x="284" y="256"/>
                </a:lnTo>
                <a:lnTo>
                  <a:pt x="288" y="258"/>
                </a:lnTo>
                <a:lnTo>
                  <a:pt x="292" y="258"/>
                </a:lnTo>
                <a:lnTo>
                  <a:pt x="292" y="264"/>
                </a:lnTo>
                <a:lnTo>
                  <a:pt x="290" y="266"/>
                </a:lnTo>
                <a:lnTo>
                  <a:pt x="276" y="288"/>
                </a:lnTo>
                <a:lnTo>
                  <a:pt x="272" y="288"/>
                </a:lnTo>
                <a:lnTo>
                  <a:pt x="268" y="288"/>
                </a:lnTo>
                <a:lnTo>
                  <a:pt x="262" y="290"/>
                </a:lnTo>
                <a:lnTo>
                  <a:pt x="258" y="296"/>
                </a:lnTo>
                <a:lnTo>
                  <a:pt x="260" y="316"/>
                </a:lnTo>
                <a:lnTo>
                  <a:pt x="260" y="320"/>
                </a:lnTo>
                <a:lnTo>
                  <a:pt x="264" y="322"/>
                </a:lnTo>
                <a:lnTo>
                  <a:pt x="266" y="324"/>
                </a:lnTo>
                <a:lnTo>
                  <a:pt x="268" y="326"/>
                </a:lnTo>
                <a:lnTo>
                  <a:pt x="268" y="332"/>
                </a:lnTo>
                <a:lnTo>
                  <a:pt x="266" y="334"/>
                </a:lnTo>
                <a:lnTo>
                  <a:pt x="262" y="338"/>
                </a:lnTo>
                <a:lnTo>
                  <a:pt x="260" y="340"/>
                </a:lnTo>
                <a:lnTo>
                  <a:pt x="256" y="342"/>
                </a:lnTo>
                <a:lnTo>
                  <a:pt x="252" y="338"/>
                </a:lnTo>
                <a:lnTo>
                  <a:pt x="246" y="342"/>
                </a:lnTo>
                <a:lnTo>
                  <a:pt x="244" y="344"/>
                </a:lnTo>
                <a:lnTo>
                  <a:pt x="236" y="346"/>
                </a:lnTo>
                <a:lnTo>
                  <a:pt x="232" y="344"/>
                </a:lnTo>
                <a:lnTo>
                  <a:pt x="222" y="344"/>
                </a:lnTo>
                <a:lnTo>
                  <a:pt x="218" y="348"/>
                </a:lnTo>
                <a:lnTo>
                  <a:pt x="218" y="350"/>
                </a:lnTo>
                <a:lnTo>
                  <a:pt x="214" y="354"/>
                </a:lnTo>
                <a:lnTo>
                  <a:pt x="212" y="354"/>
                </a:lnTo>
                <a:lnTo>
                  <a:pt x="210" y="354"/>
                </a:lnTo>
                <a:lnTo>
                  <a:pt x="206" y="352"/>
                </a:lnTo>
                <a:lnTo>
                  <a:pt x="196" y="352"/>
                </a:lnTo>
                <a:lnTo>
                  <a:pt x="188" y="360"/>
                </a:lnTo>
                <a:lnTo>
                  <a:pt x="186" y="364"/>
                </a:lnTo>
                <a:lnTo>
                  <a:pt x="180" y="364"/>
                </a:lnTo>
                <a:lnTo>
                  <a:pt x="174" y="360"/>
                </a:lnTo>
                <a:lnTo>
                  <a:pt x="172" y="360"/>
                </a:lnTo>
                <a:lnTo>
                  <a:pt x="160" y="368"/>
                </a:lnTo>
                <a:lnTo>
                  <a:pt x="152" y="372"/>
                </a:lnTo>
                <a:lnTo>
                  <a:pt x="150" y="376"/>
                </a:lnTo>
                <a:lnTo>
                  <a:pt x="150" y="382"/>
                </a:lnTo>
                <a:lnTo>
                  <a:pt x="152" y="386"/>
                </a:lnTo>
                <a:lnTo>
                  <a:pt x="148" y="392"/>
                </a:lnTo>
                <a:lnTo>
                  <a:pt x="146" y="394"/>
                </a:lnTo>
                <a:lnTo>
                  <a:pt x="140" y="394"/>
                </a:lnTo>
                <a:lnTo>
                  <a:pt x="138" y="392"/>
                </a:lnTo>
                <a:lnTo>
                  <a:pt x="138" y="388"/>
                </a:lnTo>
                <a:lnTo>
                  <a:pt x="140" y="386"/>
                </a:lnTo>
                <a:lnTo>
                  <a:pt x="138" y="378"/>
                </a:lnTo>
                <a:lnTo>
                  <a:pt x="132" y="362"/>
                </a:lnTo>
                <a:lnTo>
                  <a:pt x="132" y="360"/>
                </a:lnTo>
                <a:lnTo>
                  <a:pt x="128" y="356"/>
                </a:lnTo>
                <a:lnTo>
                  <a:pt x="122" y="354"/>
                </a:lnTo>
                <a:lnTo>
                  <a:pt x="120" y="354"/>
                </a:lnTo>
                <a:lnTo>
                  <a:pt x="112" y="352"/>
                </a:lnTo>
                <a:lnTo>
                  <a:pt x="112" y="350"/>
                </a:lnTo>
                <a:lnTo>
                  <a:pt x="110" y="344"/>
                </a:lnTo>
                <a:lnTo>
                  <a:pt x="106" y="336"/>
                </a:lnTo>
                <a:lnTo>
                  <a:pt x="102" y="334"/>
                </a:lnTo>
                <a:lnTo>
                  <a:pt x="98" y="332"/>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0" name="Freeform 2644"/>
          <p:cNvSpPr>
            <a:spLocks/>
          </p:cNvSpPr>
          <p:nvPr/>
        </p:nvSpPr>
        <p:spPr bwMode="auto">
          <a:xfrm>
            <a:off x="5767343" y="4666269"/>
            <a:ext cx="903823" cy="646853"/>
          </a:xfrm>
          <a:custGeom>
            <a:avLst/>
            <a:gdLst/>
            <a:ahLst/>
            <a:cxnLst>
              <a:cxn ang="0">
                <a:pos x="154" y="380"/>
              </a:cxn>
              <a:cxn ang="0">
                <a:pos x="174" y="368"/>
              </a:cxn>
              <a:cxn ang="0">
                <a:pos x="152" y="356"/>
              </a:cxn>
              <a:cxn ang="0">
                <a:pos x="126" y="372"/>
              </a:cxn>
              <a:cxn ang="0">
                <a:pos x="98" y="362"/>
              </a:cxn>
              <a:cxn ang="0">
                <a:pos x="80" y="348"/>
              </a:cxn>
              <a:cxn ang="0">
                <a:pos x="84" y="340"/>
              </a:cxn>
              <a:cxn ang="0">
                <a:pos x="76" y="316"/>
              </a:cxn>
              <a:cxn ang="0">
                <a:pos x="38" y="278"/>
              </a:cxn>
              <a:cxn ang="0">
                <a:pos x="22" y="256"/>
              </a:cxn>
              <a:cxn ang="0">
                <a:pos x="14" y="232"/>
              </a:cxn>
              <a:cxn ang="0">
                <a:pos x="32" y="224"/>
              </a:cxn>
              <a:cxn ang="0">
                <a:pos x="58" y="218"/>
              </a:cxn>
              <a:cxn ang="0">
                <a:pos x="66" y="188"/>
              </a:cxn>
              <a:cxn ang="0">
                <a:pos x="84" y="154"/>
              </a:cxn>
              <a:cxn ang="0">
                <a:pos x="94" y="122"/>
              </a:cxn>
              <a:cxn ang="0">
                <a:pos x="100" y="102"/>
              </a:cxn>
              <a:cxn ang="0">
                <a:pos x="116" y="82"/>
              </a:cxn>
              <a:cxn ang="0">
                <a:pos x="152" y="56"/>
              </a:cxn>
              <a:cxn ang="0">
                <a:pos x="172" y="42"/>
              </a:cxn>
              <a:cxn ang="0">
                <a:pos x="208" y="50"/>
              </a:cxn>
              <a:cxn ang="0">
                <a:pos x="252" y="46"/>
              </a:cxn>
              <a:cxn ang="0">
                <a:pos x="268" y="56"/>
              </a:cxn>
              <a:cxn ang="0">
                <a:pos x="286" y="62"/>
              </a:cxn>
              <a:cxn ang="0">
                <a:pos x="310" y="40"/>
              </a:cxn>
              <a:cxn ang="0">
                <a:pos x="336" y="34"/>
              </a:cxn>
              <a:cxn ang="0">
                <a:pos x="366" y="6"/>
              </a:cxn>
              <a:cxn ang="0">
                <a:pos x="400" y="6"/>
              </a:cxn>
              <a:cxn ang="0">
                <a:pos x="428" y="52"/>
              </a:cxn>
              <a:cxn ang="0">
                <a:pos x="462" y="86"/>
              </a:cxn>
              <a:cxn ang="0">
                <a:pos x="486" y="112"/>
              </a:cxn>
              <a:cxn ang="0">
                <a:pos x="498" y="162"/>
              </a:cxn>
              <a:cxn ang="0">
                <a:pos x="508" y="222"/>
              </a:cxn>
              <a:cxn ang="0">
                <a:pos x="520" y="246"/>
              </a:cxn>
              <a:cxn ang="0">
                <a:pos x="556" y="248"/>
              </a:cxn>
              <a:cxn ang="0">
                <a:pos x="606" y="236"/>
              </a:cxn>
              <a:cxn ang="0">
                <a:pos x="612" y="268"/>
              </a:cxn>
              <a:cxn ang="0">
                <a:pos x="578" y="290"/>
              </a:cxn>
              <a:cxn ang="0">
                <a:pos x="564" y="280"/>
              </a:cxn>
              <a:cxn ang="0">
                <a:pos x="562" y="304"/>
              </a:cxn>
              <a:cxn ang="0">
                <a:pos x="574" y="306"/>
              </a:cxn>
              <a:cxn ang="0">
                <a:pos x="566" y="318"/>
              </a:cxn>
              <a:cxn ang="0">
                <a:pos x="558" y="340"/>
              </a:cxn>
              <a:cxn ang="0">
                <a:pos x="562" y="388"/>
              </a:cxn>
              <a:cxn ang="0">
                <a:pos x="526" y="390"/>
              </a:cxn>
              <a:cxn ang="0">
                <a:pos x="504" y="382"/>
              </a:cxn>
              <a:cxn ang="0">
                <a:pos x="474" y="374"/>
              </a:cxn>
              <a:cxn ang="0">
                <a:pos x="448" y="374"/>
              </a:cxn>
              <a:cxn ang="0">
                <a:pos x="410" y="390"/>
              </a:cxn>
              <a:cxn ang="0">
                <a:pos x="374" y="426"/>
              </a:cxn>
              <a:cxn ang="0">
                <a:pos x="346" y="430"/>
              </a:cxn>
              <a:cxn ang="0">
                <a:pos x="300" y="430"/>
              </a:cxn>
              <a:cxn ang="0">
                <a:pos x="278" y="438"/>
              </a:cxn>
              <a:cxn ang="0">
                <a:pos x="236" y="432"/>
              </a:cxn>
              <a:cxn ang="0">
                <a:pos x="208" y="432"/>
              </a:cxn>
              <a:cxn ang="0">
                <a:pos x="186" y="420"/>
              </a:cxn>
              <a:cxn ang="0">
                <a:pos x="188" y="408"/>
              </a:cxn>
            </a:cxnLst>
            <a:rect l="0" t="0" r="r" b="b"/>
            <a:pathLst>
              <a:path w="612" h="438">
                <a:moveTo>
                  <a:pt x="172" y="400"/>
                </a:moveTo>
                <a:lnTo>
                  <a:pt x="172" y="396"/>
                </a:lnTo>
                <a:lnTo>
                  <a:pt x="170" y="394"/>
                </a:lnTo>
                <a:lnTo>
                  <a:pt x="168" y="394"/>
                </a:lnTo>
                <a:lnTo>
                  <a:pt x="166" y="394"/>
                </a:lnTo>
                <a:lnTo>
                  <a:pt x="164" y="394"/>
                </a:lnTo>
                <a:lnTo>
                  <a:pt x="160" y="390"/>
                </a:lnTo>
                <a:lnTo>
                  <a:pt x="154" y="380"/>
                </a:lnTo>
                <a:lnTo>
                  <a:pt x="154" y="378"/>
                </a:lnTo>
                <a:lnTo>
                  <a:pt x="162" y="370"/>
                </a:lnTo>
                <a:lnTo>
                  <a:pt x="164" y="370"/>
                </a:lnTo>
                <a:lnTo>
                  <a:pt x="166" y="370"/>
                </a:lnTo>
                <a:lnTo>
                  <a:pt x="168" y="372"/>
                </a:lnTo>
                <a:lnTo>
                  <a:pt x="170" y="372"/>
                </a:lnTo>
                <a:lnTo>
                  <a:pt x="172" y="372"/>
                </a:lnTo>
                <a:lnTo>
                  <a:pt x="174" y="368"/>
                </a:lnTo>
                <a:lnTo>
                  <a:pt x="170" y="364"/>
                </a:lnTo>
                <a:lnTo>
                  <a:pt x="166" y="364"/>
                </a:lnTo>
                <a:lnTo>
                  <a:pt x="162" y="364"/>
                </a:lnTo>
                <a:lnTo>
                  <a:pt x="160" y="362"/>
                </a:lnTo>
                <a:lnTo>
                  <a:pt x="158" y="360"/>
                </a:lnTo>
                <a:lnTo>
                  <a:pt x="156" y="360"/>
                </a:lnTo>
                <a:lnTo>
                  <a:pt x="154" y="358"/>
                </a:lnTo>
                <a:lnTo>
                  <a:pt x="152" y="356"/>
                </a:lnTo>
                <a:lnTo>
                  <a:pt x="150" y="356"/>
                </a:lnTo>
                <a:lnTo>
                  <a:pt x="144" y="362"/>
                </a:lnTo>
                <a:lnTo>
                  <a:pt x="142" y="364"/>
                </a:lnTo>
                <a:lnTo>
                  <a:pt x="140" y="368"/>
                </a:lnTo>
                <a:lnTo>
                  <a:pt x="136" y="380"/>
                </a:lnTo>
                <a:lnTo>
                  <a:pt x="134" y="380"/>
                </a:lnTo>
                <a:lnTo>
                  <a:pt x="130" y="378"/>
                </a:lnTo>
                <a:lnTo>
                  <a:pt x="126" y="372"/>
                </a:lnTo>
                <a:lnTo>
                  <a:pt x="126" y="370"/>
                </a:lnTo>
                <a:lnTo>
                  <a:pt x="124" y="366"/>
                </a:lnTo>
                <a:lnTo>
                  <a:pt x="118" y="366"/>
                </a:lnTo>
                <a:lnTo>
                  <a:pt x="108" y="364"/>
                </a:lnTo>
                <a:lnTo>
                  <a:pt x="106" y="366"/>
                </a:lnTo>
                <a:lnTo>
                  <a:pt x="100" y="366"/>
                </a:lnTo>
                <a:lnTo>
                  <a:pt x="98" y="364"/>
                </a:lnTo>
                <a:lnTo>
                  <a:pt x="98" y="362"/>
                </a:lnTo>
                <a:lnTo>
                  <a:pt x="96" y="358"/>
                </a:lnTo>
                <a:lnTo>
                  <a:pt x="94" y="356"/>
                </a:lnTo>
                <a:lnTo>
                  <a:pt x="92" y="356"/>
                </a:lnTo>
                <a:lnTo>
                  <a:pt x="88" y="356"/>
                </a:lnTo>
                <a:lnTo>
                  <a:pt x="86" y="356"/>
                </a:lnTo>
                <a:lnTo>
                  <a:pt x="82" y="356"/>
                </a:lnTo>
                <a:lnTo>
                  <a:pt x="80" y="352"/>
                </a:lnTo>
                <a:lnTo>
                  <a:pt x="80" y="348"/>
                </a:lnTo>
                <a:lnTo>
                  <a:pt x="82" y="348"/>
                </a:lnTo>
                <a:lnTo>
                  <a:pt x="86" y="348"/>
                </a:lnTo>
                <a:lnTo>
                  <a:pt x="88" y="348"/>
                </a:lnTo>
                <a:lnTo>
                  <a:pt x="90" y="346"/>
                </a:lnTo>
                <a:lnTo>
                  <a:pt x="92" y="344"/>
                </a:lnTo>
                <a:lnTo>
                  <a:pt x="92" y="340"/>
                </a:lnTo>
                <a:lnTo>
                  <a:pt x="86" y="340"/>
                </a:lnTo>
                <a:lnTo>
                  <a:pt x="84" y="340"/>
                </a:lnTo>
                <a:lnTo>
                  <a:pt x="82" y="338"/>
                </a:lnTo>
                <a:lnTo>
                  <a:pt x="80" y="336"/>
                </a:lnTo>
                <a:lnTo>
                  <a:pt x="84" y="332"/>
                </a:lnTo>
                <a:lnTo>
                  <a:pt x="88" y="322"/>
                </a:lnTo>
                <a:lnTo>
                  <a:pt x="86" y="318"/>
                </a:lnTo>
                <a:lnTo>
                  <a:pt x="84" y="318"/>
                </a:lnTo>
                <a:lnTo>
                  <a:pt x="80" y="316"/>
                </a:lnTo>
                <a:lnTo>
                  <a:pt x="76" y="316"/>
                </a:lnTo>
                <a:lnTo>
                  <a:pt x="72" y="316"/>
                </a:lnTo>
                <a:lnTo>
                  <a:pt x="56" y="308"/>
                </a:lnTo>
                <a:lnTo>
                  <a:pt x="52" y="306"/>
                </a:lnTo>
                <a:lnTo>
                  <a:pt x="40" y="294"/>
                </a:lnTo>
                <a:lnTo>
                  <a:pt x="38" y="292"/>
                </a:lnTo>
                <a:lnTo>
                  <a:pt x="36" y="282"/>
                </a:lnTo>
                <a:lnTo>
                  <a:pt x="38" y="282"/>
                </a:lnTo>
                <a:lnTo>
                  <a:pt x="38" y="278"/>
                </a:lnTo>
                <a:lnTo>
                  <a:pt x="38" y="270"/>
                </a:lnTo>
                <a:lnTo>
                  <a:pt x="36" y="268"/>
                </a:lnTo>
                <a:lnTo>
                  <a:pt x="34" y="270"/>
                </a:lnTo>
                <a:lnTo>
                  <a:pt x="32" y="270"/>
                </a:lnTo>
                <a:lnTo>
                  <a:pt x="28" y="266"/>
                </a:lnTo>
                <a:lnTo>
                  <a:pt x="28" y="264"/>
                </a:lnTo>
                <a:lnTo>
                  <a:pt x="22" y="258"/>
                </a:lnTo>
                <a:lnTo>
                  <a:pt x="22" y="256"/>
                </a:lnTo>
                <a:lnTo>
                  <a:pt x="18" y="256"/>
                </a:lnTo>
                <a:lnTo>
                  <a:pt x="8" y="250"/>
                </a:lnTo>
                <a:lnTo>
                  <a:pt x="8" y="248"/>
                </a:lnTo>
                <a:lnTo>
                  <a:pt x="4" y="242"/>
                </a:lnTo>
                <a:lnTo>
                  <a:pt x="0" y="240"/>
                </a:lnTo>
                <a:lnTo>
                  <a:pt x="2" y="236"/>
                </a:lnTo>
                <a:lnTo>
                  <a:pt x="6" y="234"/>
                </a:lnTo>
                <a:lnTo>
                  <a:pt x="14" y="232"/>
                </a:lnTo>
                <a:lnTo>
                  <a:pt x="18" y="232"/>
                </a:lnTo>
                <a:lnTo>
                  <a:pt x="20" y="232"/>
                </a:lnTo>
                <a:lnTo>
                  <a:pt x="22" y="234"/>
                </a:lnTo>
                <a:lnTo>
                  <a:pt x="24" y="236"/>
                </a:lnTo>
                <a:lnTo>
                  <a:pt x="28" y="234"/>
                </a:lnTo>
                <a:lnTo>
                  <a:pt x="30" y="232"/>
                </a:lnTo>
                <a:lnTo>
                  <a:pt x="30" y="230"/>
                </a:lnTo>
                <a:lnTo>
                  <a:pt x="32" y="224"/>
                </a:lnTo>
                <a:lnTo>
                  <a:pt x="34" y="224"/>
                </a:lnTo>
                <a:lnTo>
                  <a:pt x="34" y="222"/>
                </a:lnTo>
                <a:lnTo>
                  <a:pt x="36" y="222"/>
                </a:lnTo>
                <a:lnTo>
                  <a:pt x="38" y="222"/>
                </a:lnTo>
                <a:lnTo>
                  <a:pt x="46" y="224"/>
                </a:lnTo>
                <a:lnTo>
                  <a:pt x="50" y="224"/>
                </a:lnTo>
                <a:lnTo>
                  <a:pt x="52" y="224"/>
                </a:lnTo>
                <a:lnTo>
                  <a:pt x="58" y="218"/>
                </a:lnTo>
                <a:lnTo>
                  <a:pt x="58" y="216"/>
                </a:lnTo>
                <a:lnTo>
                  <a:pt x="58" y="212"/>
                </a:lnTo>
                <a:lnTo>
                  <a:pt x="58" y="208"/>
                </a:lnTo>
                <a:lnTo>
                  <a:pt x="60" y="208"/>
                </a:lnTo>
                <a:lnTo>
                  <a:pt x="64" y="202"/>
                </a:lnTo>
                <a:lnTo>
                  <a:pt x="64" y="196"/>
                </a:lnTo>
                <a:lnTo>
                  <a:pt x="64" y="192"/>
                </a:lnTo>
                <a:lnTo>
                  <a:pt x="66" y="188"/>
                </a:lnTo>
                <a:lnTo>
                  <a:pt x="72" y="182"/>
                </a:lnTo>
                <a:lnTo>
                  <a:pt x="74" y="182"/>
                </a:lnTo>
                <a:lnTo>
                  <a:pt x="74" y="180"/>
                </a:lnTo>
                <a:lnTo>
                  <a:pt x="76" y="178"/>
                </a:lnTo>
                <a:lnTo>
                  <a:pt x="74" y="174"/>
                </a:lnTo>
                <a:lnTo>
                  <a:pt x="76" y="168"/>
                </a:lnTo>
                <a:lnTo>
                  <a:pt x="82" y="162"/>
                </a:lnTo>
                <a:lnTo>
                  <a:pt x="84" y="154"/>
                </a:lnTo>
                <a:lnTo>
                  <a:pt x="86" y="150"/>
                </a:lnTo>
                <a:lnTo>
                  <a:pt x="82" y="150"/>
                </a:lnTo>
                <a:lnTo>
                  <a:pt x="86" y="144"/>
                </a:lnTo>
                <a:lnTo>
                  <a:pt x="88" y="142"/>
                </a:lnTo>
                <a:lnTo>
                  <a:pt x="90" y="140"/>
                </a:lnTo>
                <a:lnTo>
                  <a:pt x="94" y="132"/>
                </a:lnTo>
                <a:lnTo>
                  <a:pt x="92" y="130"/>
                </a:lnTo>
                <a:lnTo>
                  <a:pt x="94" y="122"/>
                </a:lnTo>
                <a:lnTo>
                  <a:pt x="96" y="118"/>
                </a:lnTo>
                <a:lnTo>
                  <a:pt x="100" y="116"/>
                </a:lnTo>
                <a:lnTo>
                  <a:pt x="102" y="116"/>
                </a:lnTo>
                <a:lnTo>
                  <a:pt x="102" y="114"/>
                </a:lnTo>
                <a:lnTo>
                  <a:pt x="102" y="110"/>
                </a:lnTo>
                <a:lnTo>
                  <a:pt x="102" y="108"/>
                </a:lnTo>
                <a:lnTo>
                  <a:pt x="100" y="106"/>
                </a:lnTo>
                <a:lnTo>
                  <a:pt x="100" y="102"/>
                </a:lnTo>
                <a:lnTo>
                  <a:pt x="102" y="100"/>
                </a:lnTo>
                <a:lnTo>
                  <a:pt x="108" y="96"/>
                </a:lnTo>
                <a:lnTo>
                  <a:pt x="110" y="94"/>
                </a:lnTo>
                <a:lnTo>
                  <a:pt x="112" y="94"/>
                </a:lnTo>
                <a:lnTo>
                  <a:pt x="112" y="92"/>
                </a:lnTo>
                <a:lnTo>
                  <a:pt x="112" y="90"/>
                </a:lnTo>
                <a:lnTo>
                  <a:pt x="112" y="86"/>
                </a:lnTo>
                <a:lnTo>
                  <a:pt x="116" y="82"/>
                </a:lnTo>
                <a:lnTo>
                  <a:pt x="118" y="80"/>
                </a:lnTo>
                <a:lnTo>
                  <a:pt x="126" y="74"/>
                </a:lnTo>
                <a:lnTo>
                  <a:pt x="128" y="74"/>
                </a:lnTo>
                <a:lnTo>
                  <a:pt x="132" y="76"/>
                </a:lnTo>
                <a:lnTo>
                  <a:pt x="136" y="76"/>
                </a:lnTo>
                <a:lnTo>
                  <a:pt x="138" y="74"/>
                </a:lnTo>
                <a:lnTo>
                  <a:pt x="144" y="68"/>
                </a:lnTo>
                <a:lnTo>
                  <a:pt x="152" y="56"/>
                </a:lnTo>
                <a:lnTo>
                  <a:pt x="154" y="56"/>
                </a:lnTo>
                <a:lnTo>
                  <a:pt x="160" y="52"/>
                </a:lnTo>
                <a:lnTo>
                  <a:pt x="162" y="50"/>
                </a:lnTo>
                <a:lnTo>
                  <a:pt x="164" y="48"/>
                </a:lnTo>
                <a:lnTo>
                  <a:pt x="164" y="46"/>
                </a:lnTo>
                <a:lnTo>
                  <a:pt x="164" y="44"/>
                </a:lnTo>
                <a:lnTo>
                  <a:pt x="166" y="42"/>
                </a:lnTo>
                <a:lnTo>
                  <a:pt x="172" y="42"/>
                </a:lnTo>
                <a:lnTo>
                  <a:pt x="174" y="44"/>
                </a:lnTo>
                <a:lnTo>
                  <a:pt x="176" y="46"/>
                </a:lnTo>
                <a:lnTo>
                  <a:pt x="178" y="48"/>
                </a:lnTo>
                <a:lnTo>
                  <a:pt x="182" y="50"/>
                </a:lnTo>
                <a:lnTo>
                  <a:pt x="188" y="50"/>
                </a:lnTo>
                <a:lnTo>
                  <a:pt x="190" y="50"/>
                </a:lnTo>
                <a:lnTo>
                  <a:pt x="192" y="48"/>
                </a:lnTo>
                <a:lnTo>
                  <a:pt x="208" y="50"/>
                </a:lnTo>
                <a:lnTo>
                  <a:pt x="218" y="50"/>
                </a:lnTo>
                <a:lnTo>
                  <a:pt x="220" y="50"/>
                </a:lnTo>
                <a:lnTo>
                  <a:pt x="226" y="52"/>
                </a:lnTo>
                <a:lnTo>
                  <a:pt x="234" y="52"/>
                </a:lnTo>
                <a:lnTo>
                  <a:pt x="240" y="50"/>
                </a:lnTo>
                <a:lnTo>
                  <a:pt x="244" y="46"/>
                </a:lnTo>
                <a:lnTo>
                  <a:pt x="246" y="46"/>
                </a:lnTo>
                <a:lnTo>
                  <a:pt x="252" y="46"/>
                </a:lnTo>
                <a:lnTo>
                  <a:pt x="254" y="46"/>
                </a:lnTo>
                <a:lnTo>
                  <a:pt x="256" y="46"/>
                </a:lnTo>
                <a:lnTo>
                  <a:pt x="256" y="48"/>
                </a:lnTo>
                <a:lnTo>
                  <a:pt x="260" y="50"/>
                </a:lnTo>
                <a:lnTo>
                  <a:pt x="260" y="52"/>
                </a:lnTo>
                <a:lnTo>
                  <a:pt x="262" y="54"/>
                </a:lnTo>
                <a:lnTo>
                  <a:pt x="264" y="56"/>
                </a:lnTo>
                <a:lnTo>
                  <a:pt x="268" y="56"/>
                </a:lnTo>
                <a:lnTo>
                  <a:pt x="270" y="56"/>
                </a:lnTo>
                <a:lnTo>
                  <a:pt x="274" y="62"/>
                </a:lnTo>
                <a:lnTo>
                  <a:pt x="276" y="64"/>
                </a:lnTo>
                <a:lnTo>
                  <a:pt x="278" y="64"/>
                </a:lnTo>
                <a:lnTo>
                  <a:pt x="280" y="64"/>
                </a:lnTo>
                <a:lnTo>
                  <a:pt x="282" y="64"/>
                </a:lnTo>
                <a:lnTo>
                  <a:pt x="284" y="64"/>
                </a:lnTo>
                <a:lnTo>
                  <a:pt x="286" y="62"/>
                </a:lnTo>
                <a:lnTo>
                  <a:pt x="288" y="60"/>
                </a:lnTo>
                <a:lnTo>
                  <a:pt x="290" y="60"/>
                </a:lnTo>
                <a:lnTo>
                  <a:pt x="292" y="56"/>
                </a:lnTo>
                <a:lnTo>
                  <a:pt x="292" y="52"/>
                </a:lnTo>
                <a:lnTo>
                  <a:pt x="294" y="48"/>
                </a:lnTo>
                <a:lnTo>
                  <a:pt x="296" y="46"/>
                </a:lnTo>
                <a:lnTo>
                  <a:pt x="302" y="44"/>
                </a:lnTo>
                <a:lnTo>
                  <a:pt x="310" y="40"/>
                </a:lnTo>
                <a:lnTo>
                  <a:pt x="312" y="40"/>
                </a:lnTo>
                <a:lnTo>
                  <a:pt x="314" y="40"/>
                </a:lnTo>
                <a:lnTo>
                  <a:pt x="316" y="40"/>
                </a:lnTo>
                <a:lnTo>
                  <a:pt x="320" y="40"/>
                </a:lnTo>
                <a:lnTo>
                  <a:pt x="328" y="38"/>
                </a:lnTo>
                <a:lnTo>
                  <a:pt x="330" y="36"/>
                </a:lnTo>
                <a:lnTo>
                  <a:pt x="330" y="34"/>
                </a:lnTo>
                <a:lnTo>
                  <a:pt x="336" y="34"/>
                </a:lnTo>
                <a:lnTo>
                  <a:pt x="342" y="30"/>
                </a:lnTo>
                <a:lnTo>
                  <a:pt x="346" y="30"/>
                </a:lnTo>
                <a:lnTo>
                  <a:pt x="348" y="30"/>
                </a:lnTo>
                <a:lnTo>
                  <a:pt x="350" y="30"/>
                </a:lnTo>
                <a:lnTo>
                  <a:pt x="352" y="28"/>
                </a:lnTo>
                <a:lnTo>
                  <a:pt x="356" y="20"/>
                </a:lnTo>
                <a:lnTo>
                  <a:pt x="358" y="12"/>
                </a:lnTo>
                <a:lnTo>
                  <a:pt x="366" y="6"/>
                </a:lnTo>
                <a:lnTo>
                  <a:pt x="368" y="6"/>
                </a:lnTo>
                <a:lnTo>
                  <a:pt x="370" y="6"/>
                </a:lnTo>
                <a:lnTo>
                  <a:pt x="372" y="6"/>
                </a:lnTo>
                <a:lnTo>
                  <a:pt x="376" y="2"/>
                </a:lnTo>
                <a:lnTo>
                  <a:pt x="380" y="0"/>
                </a:lnTo>
                <a:lnTo>
                  <a:pt x="388" y="0"/>
                </a:lnTo>
                <a:lnTo>
                  <a:pt x="396" y="4"/>
                </a:lnTo>
                <a:lnTo>
                  <a:pt x="400" y="6"/>
                </a:lnTo>
                <a:lnTo>
                  <a:pt x="412" y="22"/>
                </a:lnTo>
                <a:lnTo>
                  <a:pt x="416" y="28"/>
                </a:lnTo>
                <a:lnTo>
                  <a:pt x="416" y="34"/>
                </a:lnTo>
                <a:lnTo>
                  <a:pt x="418" y="38"/>
                </a:lnTo>
                <a:lnTo>
                  <a:pt x="422" y="46"/>
                </a:lnTo>
                <a:lnTo>
                  <a:pt x="424" y="50"/>
                </a:lnTo>
                <a:lnTo>
                  <a:pt x="426" y="52"/>
                </a:lnTo>
                <a:lnTo>
                  <a:pt x="428" y="52"/>
                </a:lnTo>
                <a:lnTo>
                  <a:pt x="434" y="56"/>
                </a:lnTo>
                <a:lnTo>
                  <a:pt x="438" y="64"/>
                </a:lnTo>
                <a:lnTo>
                  <a:pt x="446" y="74"/>
                </a:lnTo>
                <a:lnTo>
                  <a:pt x="450" y="78"/>
                </a:lnTo>
                <a:lnTo>
                  <a:pt x="454" y="80"/>
                </a:lnTo>
                <a:lnTo>
                  <a:pt x="456" y="80"/>
                </a:lnTo>
                <a:lnTo>
                  <a:pt x="458" y="82"/>
                </a:lnTo>
                <a:lnTo>
                  <a:pt x="462" y="86"/>
                </a:lnTo>
                <a:lnTo>
                  <a:pt x="462" y="90"/>
                </a:lnTo>
                <a:lnTo>
                  <a:pt x="466" y="94"/>
                </a:lnTo>
                <a:lnTo>
                  <a:pt x="474" y="100"/>
                </a:lnTo>
                <a:lnTo>
                  <a:pt x="476" y="100"/>
                </a:lnTo>
                <a:lnTo>
                  <a:pt x="478" y="100"/>
                </a:lnTo>
                <a:lnTo>
                  <a:pt x="482" y="104"/>
                </a:lnTo>
                <a:lnTo>
                  <a:pt x="486" y="110"/>
                </a:lnTo>
                <a:lnTo>
                  <a:pt x="486" y="112"/>
                </a:lnTo>
                <a:lnTo>
                  <a:pt x="486" y="114"/>
                </a:lnTo>
                <a:lnTo>
                  <a:pt x="486" y="116"/>
                </a:lnTo>
                <a:lnTo>
                  <a:pt x="492" y="124"/>
                </a:lnTo>
                <a:lnTo>
                  <a:pt x="494" y="128"/>
                </a:lnTo>
                <a:lnTo>
                  <a:pt x="496" y="130"/>
                </a:lnTo>
                <a:lnTo>
                  <a:pt x="498" y="136"/>
                </a:lnTo>
                <a:lnTo>
                  <a:pt x="502" y="152"/>
                </a:lnTo>
                <a:lnTo>
                  <a:pt x="498" y="162"/>
                </a:lnTo>
                <a:lnTo>
                  <a:pt x="498" y="174"/>
                </a:lnTo>
                <a:lnTo>
                  <a:pt x="498" y="184"/>
                </a:lnTo>
                <a:lnTo>
                  <a:pt x="496" y="186"/>
                </a:lnTo>
                <a:lnTo>
                  <a:pt x="498" y="194"/>
                </a:lnTo>
                <a:lnTo>
                  <a:pt x="500" y="196"/>
                </a:lnTo>
                <a:lnTo>
                  <a:pt x="500" y="200"/>
                </a:lnTo>
                <a:lnTo>
                  <a:pt x="506" y="218"/>
                </a:lnTo>
                <a:lnTo>
                  <a:pt x="508" y="222"/>
                </a:lnTo>
                <a:lnTo>
                  <a:pt x="508" y="226"/>
                </a:lnTo>
                <a:lnTo>
                  <a:pt x="506" y="226"/>
                </a:lnTo>
                <a:lnTo>
                  <a:pt x="502" y="230"/>
                </a:lnTo>
                <a:lnTo>
                  <a:pt x="510" y="240"/>
                </a:lnTo>
                <a:lnTo>
                  <a:pt x="514" y="242"/>
                </a:lnTo>
                <a:lnTo>
                  <a:pt x="516" y="240"/>
                </a:lnTo>
                <a:lnTo>
                  <a:pt x="518" y="242"/>
                </a:lnTo>
                <a:lnTo>
                  <a:pt x="520" y="246"/>
                </a:lnTo>
                <a:lnTo>
                  <a:pt x="520" y="248"/>
                </a:lnTo>
                <a:lnTo>
                  <a:pt x="522" y="250"/>
                </a:lnTo>
                <a:lnTo>
                  <a:pt x="524" y="252"/>
                </a:lnTo>
                <a:lnTo>
                  <a:pt x="526" y="254"/>
                </a:lnTo>
                <a:lnTo>
                  <a:pt x="540" y="256"/>
                </a:lnTo>
                <a:lnTo>
                  <a:pt x="548" y="258"/>
                </a:lnTo>
                <a:lnTo>
                  <a:pt x="554" y="254"/>
                </a:lnTo>
                <a:lnTo>
                  <a:pt x="556" y="248"/>
                </a:lnTo>
                <a:lnTo>
                  <a:pt x="564" y="244"/>
                </a:lnTo>
                <a:lnTo>
                  <a:pt x="578" y="232"/>
                </a:lnTo>
                <a:lnTo>
                  <a:pt x="584" y="230"/>
                </a:lnTo>
                <a:lnTo>
                  <a:pt x="590" y="230"/>
                </a:lnTo>
                <a:lnTo>
                  <a:pt x="598" y="230"/>
                </a:lnTo>
                <a:lnTo>
                  <a:pt x="602" y="232"/>
                </a:lnTo>
                <a:lnTo>
                  <a:pt x="604" y="232"/>
                </a:lnTo>
                <a:lnTo>
                  <a:pt x="606" y="236"/>
                </a:lnTo>
                <a:lnTo>
                  <a:pt x="608" y="236"/>
                </a:lnTo>
                <a:lnTo>
                  <a:pt x="610" y="240"/>
                </a:lnTo>
                <a:lnTo>
                  <a:pt x="610" y="242"/>
                </a:lnTo>
                <a:lnTo>
                  <a:pt x="610" y="246"/>
                </a:lnTo>
                <a:lnTo>
                  <a:pt x="608" y="248"/>
                </a:lnTo>
                <a:lnTo>
                  <a:pt x="610" y="250"/>
                </a:lnTo>
                <a:lnTo>
                  <a:pt x="612" y="256"/>
                </a:lnTo>
                <a:lnTo>
                  <a:pt x="612" y="268"/>
                </a:lnTo>
                <a:lnTo>
                  <a:pt x="612" y="282"/>
                </a:lnTo>
                <a:lnTo>
                  <a:pt x="610" y="284"/>
                </a:lnTo>
                <a:lnTo>
                  <a:pt x="602" y="286"/>
                </a:lnTo>
                <a:lnTo>
                  <a:pt x="600" y="288"/>
                </a:lnTo>
                <a:lnTo>
                  <a:pt x="596" y="288"/>
                </a:lnTo>
                <a:lnTo>
                  <a:pt x="590" y="290"/>
                </a:lnTo>
                <a:lnTo>
                  <a:pt x="588" y="290"/>
                </a:lnTo>
                <a:lnTo>
                  <a:pt x="578" y="290"/>
                </a:lnTo>
                <a:lnTo>
                  <a:pt x="576" y="286"/>
                </a:lnTo>
                <a:lnTo>
                  <a:pt x="574" y="280"/>
                </a:lnTo>
                <a:lnTo>
                  <a:pt x="576" y="278"/>
                </a:lnTo>
                <a:lnTo>
                  <a:pt x="578" y="276"/>
                </a:lnTo>
                <a:lnTo>
                  <a:pt x="574" y="274"/>
                </a:lnTo>
                <a:lnTo>
                  <a:pt x="570" y="274"/>
                </a:lnTo>
                <a:lnTo>
                  <a:pt x="564" y="278"/>
                </a:lnTo>
                <a:lnTo>
                  <a:pt x="564" y="280"/>
                </a:lnTo>
                <a:lnTo>
                  <a:pt x="564" y="286"/>
                </a:lnTo>
                <a:lnTo>
                  <a:pt x="566" y="288"/>
                </a:lnTo>
                <a:lnTo>
                  <a:pt x="570" y="290"/>
                </a:lnTo>
                <a:lnTo>
                  <a:pt x="570" y="294"/>
                </a:lnTo>
                <a:lnTo>
                  <a:pt x="568" y="298"/>
                </a:lnTo>
                <a:lnTo>
                  <a:pt x="566" y="298"/>
                </a:lnTo>
                <a:lnTo>
                  <a:pt x="562" y="302"/>
                </a:lnTo>
                <a:lnTo>
                  <a:pt x="562" y="304"/>
                </a:lnTo>
                <a:lnTo>
                  <a:pt x="562" y="306"/>
                </a:lnTo>
                <a:lnTo>
                  <a:pt x="564" y="308"/>
                </a:lnTo>
                <a:lnTo>
                  <a:pt x="566" y="308"/>
                </a:lnTo>
                <a:lnTo>
                  <a:pt x="570" y="304"/>
                </a:lnTo>
                <a:lnTo>
                  <a:pt x="570" y="302"/>
                </a:lnTo>
                <a:lnTo>
                  <a:pt x="572" y="302"/>
                </a:lnTo>
                <a:lnTo>
                  <a:pt x="576" y="302"/>
                </a:lnTo>
                <a:lnTo>
                  <a:pt x="574" y="306"/>
                </a:lnTo>
                <a:lnTo>
                  <a:pt x="574" y="308"/>
                </a:lnTo>
                <a:lnTo>
                  <a:pt x="574" y="304"/>
                </a:lnTo>
                <a:lnTo>
                  <a:pt x="572" y="302"/>
                </a:lnTo>
                <a:lnTo>
                  <a:pt x="566" y="310"/>
                </a:lnTo>
                <a:lnTo>
                  <a:pt x="564" y="310"/>
                </a:lnTo>
                <a:lnTo>
                  <a:pt x="562" y="310"/>
                </a:lnTo>
                <a:lnTo>
                  <a:pt x="564" y="320"/>
                </a:lnTo>
                <a:lnTo>
                  <a:pt x="566" y="318"/>
                </a:lnTo>
                <a:lnTo>
                  <a:pt x="572" y="310"/>
                </a:lnTo>
                <a:lnTo>
                  <a:pt x="572" y="312"/>
                </a:lnTo>
                <a:lnTo>
                  <a:pt x="570" y="318"/>
                </a:lnTo>
                <a:lnTo>
                  <a:pt x="568" y="322"/>
                </a:lnTo>
                <a:lnTo>
                  <a:pt x="568" y="324"/>
                </a:lnTo>
                <a:lnTo>
                  <a:pt x="566" y="324"/>
                </a:lnTo>
                <a:lnTo>
                  <a:pt x="564" y="328"/>
                </a:lnTo>
                <a:lnTo>
                  <a:pt x="558" y="340"/>
                </a:lnTo>
                <a:lnTo>
                  <a:pt x="558" y="342"/>
                </a:lnTo>
                <a:lnTo>
                  <a:pt x="558" y="344"/>
                </a:lnTo>
                <a:lnTo>
                  <a:pt x="560" y="354"/>
                </a:lnTo>
                <a:lnTo>
                  <a:pt x="564" y="370"/>
                </a:lnTo>
                <a:lnTo>
                  <a:pt x="564" y="372"/>
                </a:lnTo>
                <a:lnTo>
                  <a:pt x="564" y="380"/>
                </a:lnTo>
                <a:lnTo>
                  <a:pt x="564" y="384"/>
                </a:lnTo>
                <a:lnTo>
                  <a:pt x="562" y="388"/>
                </a:lnTo>
                <a:lnTo>
                  <a:pt x="564" y="392"/>
                </a:lnTo>
                <a:lnTo>
                  <a:pt x="556" y="394"/>
                </a:lnTo>
                <a:lnTo>
                  <a:pt x="552" y="394"/>
                </a:lnTo>
                <a:lnTo>
                  <a:pt x="542" y="394"/>
                </a:lnTo>
                <a:lnTo>
                  <a:pt x="540" y="394"/>
                </a:lnTo>
                <a:lnTo>
                  <a:pt x="536" y="394"/>
                </a:lnTo>
                <a:lnTo>
                  <a:pt x="534" y="392"/>
                </a:lnTo>
                <a:lnTo>
                  <a:pt x="526" y="390"/>
                </a:lnTo>
                <a:lnTo>
                  <a:pt x="524" y="388"/>
                </a:lnTo>
                <a:lnTo>
                  <a:pt x="520" y="380"/>
                </a:lnTo>
                <a:lnTo>
                  <a:pt x="520" y="378"/>
                </a:lnTo>
                <a:lnTo>
                  <a:pt x="516" y="376"/>
                </a:lnTo>
                <a:lnTo>
                  <a:pt x="512" y="378"/>
                </a:lnTo>
                <a:lnTo>
                  <a:pt x="510" y="380"/>
                </a:lnTo>
                <a:lnTo>
                  <a:pt x="506" y="382"/>
                </a:lnTo>
                <a:lnTo>
                  <a:pt x="504" y="382"/>
                </a:lnTo>
                <a:lnTo>
                  <a:pt x="502" y="380"/>
                </a:lnTo>
                <a:lnTo>
                  <a:pt x="500" y="376"/>
                </a:lnTo>
                <a:lnTo>
                  <a:pt x="498" y="376"/>
                </a:lnTo>
                <a:lnTo>
                  <a:pt x="496" y="376"/>
                </a:lnTo>
                <a:lnTo>
                  <a:pt x="486" y="380"/>
                </a:lnTo>
                <a:lnTo>
                  <a:pt x="482" y="380"/>
                </a:lnTo>
                <a:lnTo>
                  <a:pt x="474" y="376"/>
                </a:lnTo>
                <a:lnTo>
                  <a:pt x="474" y="374"/>
                </a:lnTo>
                <a:lnTo>
                  <a:pt x="472" y="372"/>
                </a:lnTo>
                <a:lnTo>
                  <a:pt x="470" y="372"/>
                </a:lnTo>
                <a:lnTo>
                  <a:pt x="468" y="372"/>
                </a:lnTo>
                <a:lnTo>
                  <a:pt x="466" y="372"/>
                </a:lnTo>
                <a:lnTo>
                  <a:pt x="462" y="372"/>
                </a:lnTo>
                <a:lnTo>
                  <a:pt x="458" y="372"/>
                </a:lnTo>
                <a:lnTo>
                  <a:pt x="450" y="374"/>
                </a:lnTo>
                <a:lnTo>
                  <a:pt x="448" y="374"/>
                </a:lnTo>
                <a:lnTo>
                  <a:pt x="444" y="376"/>
                </a:lnTo>
                <a:lnTo>
                  <a:pt x="442" y="380"/>
                </a:lnTo>
                <a:lnTo>
                  <a:pt x="434" y="382"/>
                </a:lnTo>
                <a:lnTo>
                  <a:pt x="422" y="386"/>
                </a:lnTo>
                <a:lnTo>
                  <a:pt x="420" y="388"/>
                </a:lnTo>
                <a:lnTo>
                  <a:pt x="418" y="388"/>
                </a:lnTo>
                <a:lnTo>
                  <a:pt x="416" y="388"/>
                </a:lnTo>
                <a:lnTo>
                  <a:pt x="410" y="390"/>
                </a:lnTo>
                <a:lnTo>
                  <a:pt x="400" y="396"/>
                </a:lnTo>
                <a:lnTo>
                  <a:pt x="398" y="398"/>
                </a:lnTo>
                <a:lnTo>
                  <a:pt x="396" y="398"/>
                </a:lnTo>
                <a:lnTo>
                  <a:pt x="388" y="410"/>
                </a:lnTo>
                <a:lnTo>
                  <a:pt x="386" y="414"/>
                </a:lnTo>
                <a:lnTo>
                  <a:pt x="380" y="424"/>
                </a:lnTo>
                <a:lnTo>
                  <a:pt x="378" y="426"/>
                </a:lnTo>
                <a:lnTo>
                  <a:pt x="374" y="426"/>
                </a:lnTo>
                <a:lnTo>
                  <a:pt x="370" y="430"/>
                </a:lnTo>
                <a:lnTo>
                  <a:pt x="364" y="432"/>
                </a:lnTo>
                <a:lnTo>
                  <a:pt x="360" y="432"/>
                </a:lnTo>
                <a:lnTo>
                  <a:pt x="358" y="434"/>
                </a:lnTo>
                <a:lnTo>
                  <a:pt x="354" y="434"/>
                </a:lnTo>
                <a:lnTo>
                  <a:pt x="352" y="434"/>
                </a:lnTo>
                <a:lnTo>
                  <a:pt x="350" y="434"/>
                </a:lnTo>
                <a:lnTo>
                  <a:pt x="346" y="430"/>
                </a:lnTo>
                <a:lnTo>
                  <a:pt x="344" y="430"/>
                </a:lnTo>
                <a:lnTo>
                  <a:pt x="330" y="430"/>
                </a:lnTo>
                <a:lnTo>
                  <a:pt x="322" y="430"/>
                </a:lnTo>
                <a:lnTo>
                  <a:pt x="314" y="432"/>
                </a:lnTo>
                <a:lnTo>
                  <a:pt x="310" y="432"/>
                </a:lnTo>
                <a:lnTo>
                  <a:pt x="308" y="432"/>
                </a:lnTo>
                <a:lnTo>
                  <a:pt x="302" y="430"/>
                </a:lnTo>
                <a:lnTo>
                  <a:pt x="300" y="430"/>
                </a:lnTo>
                <a:lnTo>
                  <a:pt x="296" y="430"/>
                </a:lnTo>
                <a:lnTo>
                  <a:pt x="292" y="432"/>
                </a:lnTo>
                <a:lnTo>
                  <a:pt x="288" y="434"/>
                </a:lnTo>
                <a:lnTo>
                  <a:pt x="286" y="436"/>
                </a:lnTo>
                <a:lnTo>
                  <a:pt x="284" y="436"/>
                </a:lnTo>
                <a:lnTo>
                  <a:pt x="282" y="438"/>
                </a:lnTo>
                <a:lnTo>
                  <a:pt x="280" y="438"/>
                </a:lnTo>
                <a:lnTo>
                  <a:pt x="278" y="438"/>
                </a:lnTo>
                <a:lnTo>
                  <a:pt x="276" y="438"/>
                </a:lnTo>
                <a:lnTo>
                  <a:pt x="272" y="438"/>
                </a:lnTo>
                <a:lnTo>
                  <a:pt x="270" y="438"/>
                </a:lnTo>
                <a:lnTo>
                  <a:pt x="268" y="436"/>
                </a:lnTo>
                <a:lnTo>
                  <a:pt x="262" y="434"/>
                </a:lnTo>
                <a:lnTo>
                  <a:pt x="248" y="432"/>
                </a:lnTo>
                <a:lnTo>
                  <a:pt x="238" y="432"/>
                </a:lnTo>
                <a:lnTo>
                  <a:pt x="236" y="432"/>
                </a:lnTo>
                <a:lnTo>
                  <a:pt x="234" y="432"/>
                </a:lnTo>
                <a:lnTo>
                  <a:pt x="230" y="430"/>
                </a:lnTo>
                <a:lnTo>
                  <a:pt x="224" y="430"/>
                </a:lnTo>
                <a:lnTo>
                  <a:pt x="222" y="428"/>
                </a:lnTo>
                <a:lnTo>
                  <a:pt x="214" y="430"/>
                </a:lnTo>
                <a:lnTo>
                  <a:pt x="212" y="430"/>
                </a:lnTo>
                <a:lnTo>
                  <a:pt x="210" y="432"/>
                </a:lnTo>
                <a:lnTo>
                  <a:pt x="208" y="432"/>
                </a:lnTo>
                <a:lnTo>
                  <a:pt x="206" y="434"/>
                </a:lnTo>
                <a:lnTo>
                  <a:pt x="200" y="436"/>
                </a:lnTo>
                <a:lnTo>
                  <a:pt x="194" y="434"/>
                </a:lnTo>
                <a:lnTo>
                  <a:pt x="188" y="434"/>
                </a:lnTo>
                <a:lnTo>
                  <a:pt x="186" y="434"/>
                </a:lnTo>
                <a:lnTo>
                  <a:pt x="186" y="432"/>
                </a:lnTo>
                <a:lnTo>
                  <a:pt x="184" y="428"/>
                </a:lnTo>
                <a:lnTo>
                  <a:pt x="186" y="420"/>
                </a:lnTo>
                <a:lnTo>
                  <a:pt x="188" y="418"/>
                </a:lnTo>
                <a:lnTo>
                  <a:pt x="192" y="418"/>
                </a:lnTo>
                <a:lnTo>
                  <a:pt x="194" y="418"/>
                </a:lnTo>
                <a:lnTo>
                  <a:pt x="196" y="414"/>
                </a:lnTo>
                <a:lnTo>
                  <a:pt x="196" y="412"/>
                </a:lnTo>
                <a:lnTo>
                  <a:pt x="194" y="410"/>
                </a:lnTo>
                <a:lnTo>
                  <a:pt x="190" y="410"/>
                </a:lnTo>
                <a:lnTo>
                  <a:pt x="188" y="408"/>
                </a:lnTo>
                <a:lnTo>
                  <a:pt x="172" y="40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1" name="Freeform 2645"/>
          <p:cNvSpPr>
            <a:spLocks/>
          </p:cNvSpPr>
          <p:nvPr/>
        </p:nvSpPr>
        <p:spPr bwMode="auto">
          <a:xfrm>
            <a:off x="5344969" y="5147717"/>
            <a:ext cx="381023" cy="360348"/>
          </a:xfrm>
          <a:custGeom>
            <a:avLst/>
            <a:gdLst/>
            <a:ahLst/>
            <a:cxnLst>
              <a:cxn ang="0">
                <a:pos x="132" y="206"/>
              </a:cxn>
              <a:cxn ang="0">
                <a:pos x="124" y="196"/>
              </a:cxn>
              <a:cxn ang="0">
                <a:pos x="104" y="178"/>
              </a:cxn>
              <a:cxn ang="0">
                <a:pos x="100" y="164"/>
              </a:cxn>
              <a:cxn ang="0">
                <a:pos x="88" y="158"/>
              </a:cxn>
              <a:cxn ang="0">
                <a:pos x="74" y="142"/>
              </a:cxn>
              <a:cxn ang="0">
                <a:pos x="54" y="116"/>
              </a:cxn>
              <a:cxn ang="0">
                <a:pos x="42" y="110"/>
              </a:cxn>
              <a:cxn ang="0">
                <a:pos x="34" y="100"/>
              </a:cxn>
              <a:cxn ang="0">
                <a:pos x="30" y="88"/>
              </a:cxn>
              <a:cxn ang="0">
                <a:pos x="20" y="66"/>
              </a:cxn>
              <a:cxn ang="0">
                <a:pos x="8" y="52"/>
              </a:cxn>
              <a:cxn ang="0">
                <a:pos x="2" y="22"/>
              </a:cxn>
              <a:cxn ang="0">
                <a:pos x="6" y="6"/>
              </a:cxn>
              <a:cxn ang="0">
                <a:pos x="24" y="14"/>
              </a:cxn>
              <a:cxn ang="0">
                <a:pos x="36" y="26"/>
              </a:cxn>
              <a:cxn ang="0">
                <a:pos x="48" y="8"/>
              </a:cxn>
              <a:cxn ang="0">
                <a:pos x="58" y="6"/>
              </a:cxn>
              <a:cxn ang="0">
                <a:pos x="76" y="0"/>
              </a:cxn>
              <a:cxn ang="0">
                <a:pos x="98" y="10"/>
              </a:cxn>
              <a:cxn ang="0">
                <a:pos x="120" y="14"/>
              </a:cxn>
              <a:cxn ang="0">
                <a:pos x="138" y="18"/>
              </a:cxn>
              <a:cxn ang="0">
                <a:pos x="158" y="16"/>
              </a:cxn>
              <a:cxn ang="0">
                <a:pos x="174" y="12"/>
              </a:cxn>
              <a:cxn ang="0">
                <a:pos x="198" y="26"/>
              </a:cxn>
              <a:cxn ang="0">
                <a:pos x="210" y="34"/>
              </a:cxn>
              <a:cxn ang="0">
                <a:pos x="224" y="26"/>
              </a:cxn>
              <a:cxn ang="0">
                <a:pos x="236" y="40"/>
              </a:cxn>
              <a:cxn ang="0">
                <a:pos x="222" y="64"/>
              </a:cxn>
              <a:cxn ang="0">
                <a:pos x="226" y="84"/>
              </a:cxn>
              <a:cxn ang="0">
                <a:pos x="256" y="104"/>
              </a:cxn>
              <a:cxn ang="0">
                <a:pos x="250" y="114"/>
              </a:cxn>
              <a:cxn ang="0">
                <a:pos x="232" y="110"/>
              </a:cxn>
              <a:cxn ang="0">
                <a:pos x="250" y="130"/>
              </a:cxn>
              <a:cxn ang="0">
                <a:pos x="252" y="148"/>
              </a:cxn>
              <a:cxn ang="0">
                <a:pos x="234" y="156"/>
              </a:cxn>
              <a:cxn ang="0">
                <a:pos x="216" y="162"/>
              </a:cxn>
              <a:cxn ang="0">
                <a:pos x="226" y="174"/>
              </a:cxn>
              <a:cxn ang="0">
                <a:pos x="216" y="176"/>
              </a:cxn>
              <a:cxn ang="0">
                <a:pos x="208" y="172"/>
              </a:cxn>
              <a:cxn ang="0">
                <a:pos x="198" y="196"/>
              </a:cxn>
              <a:cxn ang="0">
                <a:pos x="188" y="206"/>
              </a:cxn>
              <a:cxn ang="0">
                <a:pos x="190" y="230"/>
              </a:cxn>
              <a:cxn ang="0">
                <a:pos x="192" y="240"/>
              </a:cxn>
              <a:cxn ang="0">
                <a:pos x="178" y="240"/>
              </a:cxn>
              <a:cxn ang="0">
                <a:pos x="166" y="234"/>
              </a:cxn>
              <a:cxn ang="0">
                <a:pos x="144" y="220"/>
              </a:cxn>
              <a:cxn ang="0">
                <a:pos x="130" y="218"/>
              </a:cxn>
            </a:cxnLst>
            <a:rect l="0" t="0" r="r" b="b"/>
            <a:pathLst>
              <a:path w="258" h="244">
                <a:moveTo>
                  <a:pt x="130" y="218"/>
                </a:moveTo>
                <a:lnTo>
                  <a:pt x="126" y="212"/>
                </a:lnTo>
                <a:lnTo>
                  <a:pt x="132" y="210"/>
                </a:lnTo>
                <a:lnTo>
                  <a:pt x="132" y="206"/>
                </a:lnTo>
                <a:lnTo>
                  <a:pt x="130" y="202"/>
                </a:lnTo>
                <a:lnTo>
                  <a:pt x="130" y="200"/>
                </a:lnTo>
                <a:lnTo>
                  <a:pt x="126" y="198"/>
                </a:lnTo>
                <a:lnTo>
                  <a:pt x="124" y="196"/>
                </a:lnTo>
                <a:lnTo>
                  <a:pt x="116" y="190"/>
                </a:lnTo>
                <a:lnTo>
                  <a:pt x="106" y="182"/>
                </a:lnTo>
                <a:lnTo>
                  <a:pt x="106" y="180"/>
                </a:lnTo>
                <a:lnTo>
                  <a:pt x="104" y="178"/>
                </a:lnTo>
                <a:lnTo>
                  <a:pt x="102" y="170"/>
                </a:lnTo>
                <a:lnTo>
                  <a:pt x="104" y="166"/>
                </a:lnTo>
                <a:lnTo>
                  <a:pt x="102" y="166"/>
                </a:lnTo>
                <a:lnTo>
                  <a:pt x="100" y="164"/>
                </a:lnTo>
                <a:lnTo>
                  <a:pt x="96" y="162"/>
                </a:lnTo>
                <a:lnTo>
                  <a:pt x="94" y="162"/>
                </a:lnTo>
                <a:lnTo>
                  <a:pt x="90" y="160"/>
                </a:lnTo>
                <a:lnTo>
                  <a:pt x="88" y="158"/>
                </a:lnTo>
                <a:lnTo>
                  <a:pt x="84" y="154"/>
                </a:lnTo>
                <a:lnTo>
                  <a:pt x="82" y="154"/>
                </a:lnTo>
                <a:lnTo>
                  <a:pt x="80" y="152"/>
                </a:lnTo>
                <a:lnTo>
                  <a:pt x="74" y="142"/>
                </a:lnTo>
                <a:lnTo>
                  <a:pt x="66" y="132"/>
                </a:lnTo>
                <a:lnTo>
                  <a:pt x="64" y="130"/>
                </a:lnTo>
                <a:lnTo>
                  <a:pt x="60" y="124"/>
                </a:lnTo>
                <a:lnTo>
                  <a:pt x="54" y="116"/>
                </a:lnTo>
                <a:lnTo>
                  <a:pt x="52" y="116"/>
                </a:lnTo>
                <a:lnTo>
                  <a:pt x="48" y="116"/>
                </a:lnTo>
                <a:lnTo>
                  <a:pt x="46" y="114"/>
                </a:lnTo>
                <a:lnTo>
                  <a:pt x="42" y="110"/>
                </a:lnTo>
                <a:lnTo>
                  <a:pt x="40" y="106"/>
                </a:lnTo>
                <a:lnTo>
                  <a:pt x="38" y="104"/>
                </a:lnTo>
                <a:lnTo>
                  <a:pt x="36" y="100"/>
                </a:lnTo>
                <a:lnTo>
                  <a:pt x="34" y="100"/>
                </a:lnTo>
                <a:lnTo>
                  <a:pt x="32" y="100"/>
                </a:lnTo>
                <a:lnTo>
                  <a:pt x="30" y="100"/>
                </a:lnTo>
                <a:lnTo>
                  <a:pt x="28" y="100"/>
                </a:lnTo>
                <a:lnTo>
                  <a:pt x="30" y="88"/>
                </a:lnTo>
                <a:lnTo>
                  <a:pt x="32" y="86"/>
                </a:lnTo>
                <a:lnTo>
                  <a:pt x="26" y="72"/>
                </a:lnTo>
                <a:lnTo>
                  <a:pt x="22" y="68"/>
                </a:lnTo>
                <a:lnTo>
                  <a:pt x="20" y="66"/>
                </a:lnTo>
                <a:lnTo>
                  <a:pt x="18" y="62"/>
                </a:lnTo>
                <a:lnTo>
                  <a:pt x="14" y="54"/>
                </a:lnTo>
                <a:lnTo>
                  <a:pt x="14" y="52"/>
                </a:lnTo>
                <a:lnTo>
                  <a:pt x="8" y="52"/>
                </a:lnTo>
                <a:lnTo>
                  <a:pt x="2" y="46"/>
                </a:lnTo>
                <a:lnTo>
                  <a:pt x="0" y="44"/>
                </a:lnTo>
                <a:lnTo>
                  <a:pt x="2" y="34"/>
                </a:lnTo>
                <a:lnTo>
                  <a:pt x="2" y="22"/>
                </a:lnTo>
                <a:lnTo>
                  <a:pt x="2" y="18"/>
                </a:lnTo>
                <a:lnTo>
                  <a:pt x="2" y="10"/>
                </a:lnTo>
                <a:lnTo>
                  <a:pt x="4" y="8"/>
                </a:lnTo>
                <a:lnTo>
                  <a:pt x="6" y="6"/>
                </a:lnTo>
                <a:lnTo>
                  <a:pt x="10" y="6"/>
                </a:lnTo>
                <a:lnTo>
                  <a:pt x="12" y="6"/>
                </a:lnTo>
                <a:lnTo>
                  <a:pt x="18" y="6"/>
                </a:lnTo>
                <a:lnTo>
                  <a:pt x="24" y="14"/>
                </a:lnTo>
                <a:lnTo>
                  <a:pt x="30" y="22"/>
                </a:lnTo>
                <a:lnTo>
                  <a:pt x="32" y="22"/>
                </a:lnTo>
                <a:lnTo>
                  <a:pt x="34" y="24"/>
                </a:lnTo>
                <a:lnTo>
                  <a:pt x="36" y="26"/>
                </a:lnTo>
                <a:lnTo>
                  <a:pt x="40" y="26"/>
                </a:lnTo>
                <a:lnTo>
                  <a:pt x="40" y="22"/>
                </a:lnTo>
                <a:lnTo>
                  <a:pt x="44" y="14"/>
                </a:lnTo>
                <a:lnTo>
                  <a:pt x="48" y="8"/>
                </a:lnTo>
                <a:lnTo>
                  <a:pt x="50" y="6"/>
                </a:lnTo>
                <a:lnTo>
                  <a:pt x="52" y="6"/>
                </a:lnTo>
                <a:lnTo>
                  <a:pt x="56" y="4"/>
                </a:lnTo>
                <a:lnTo>
                  <a:pt x="58" y="6"/>
                </a:lnTo>
                <a:lnTo>
                  <a:pt x="60" y="6"/>
                </a:lnTo>
                <a:lnTo>
                  <a:pt x="70" y="8"/>
                </a:lnTo>
                <a:lnTo>
                  <a:pt x="72" y="6"/>
                </a:lnTo>
                <a:lnTo>
                  <a:pt x="76" y="0"/>
                </a:lnTo>
                <a:lnTo>
                  <a:pt x="84" y="6"/>
                </a:lnTo>
                <a:lnTo>
                  <a:pt x="86" y="8"/>
                </a:lnTo>
                <a:lnTo>
                  <a:pt x="94" y="10"/>
                </a:lnTo>
                <a:lnTo>
                  <a:pt x="98" y="10"/>
                </a:lnTo>
                <a:lnTo>
                  <a:pt x="100" y="8"/>
                </a:lnTo>
                <a:lnTo>
                  <a:pt x="114" y="14"/>
                </a:lnTo>
                <a:lnTo>
                  <a:pt x="116" y="14"/>
                </a:lnTo>
                <a:lnTo>
                  <a:pt x="120" y="14"/>
                </a:lnTo>
                <a:lnTo>
                  <a:pt x="126" y="12"/>
                </a:lnTo>
                <a:lnTo>
                  <a:pt x="130" y="16"/>
                </a:lnTo>
                <a:lnTo>
                  <a:pt x="136" y="18"/>
                </a:lnTo>
                <a:lnTo>
                  <a:pt x="138" y="18"/>
                </a:lnTo>
                <a:lnTo>
                  <a:pt x="142" y="16"/>
                </a:lnTo>
                <a:lnTo>
                  <a:pt x="150" y="14"/>
                </a:lnTo>
                <a:lnTo>
                  <a:pt x="154" y="14"/>
                </a:lnTo>
                <a:lnTo>
                  <a:pt x="158" y="16"/>
                </a:lnTo>
                <a:lnTo>
                  <a:pt x="160" y="14"/>
                </a:lnTo>
                <a:lnTo>
                  <a:pt x="160" y="10"/>
                </a:lnTo>
                <a:lnTo>
                  <a:pt x="164" y="10"/>
                </a:lnTo>
                <a:lnTo>
                  <a:pt x="174" y="12"/>
                </a:lnTo>
                <a:lnTo>
                  <a:pt x="188" y="14"/>
                </a:lnTo>
                <a:lnTo>
                  <a:pt x="198" y="22"/>
                </a:lnTo>
                <a:lnTo>
                  <a:pt x="200" y="26"/>
                </a:lnTo>
                <a:lnTo>
                  <a:pt x="198" y="26"/>
                </a:lnTo>
                <a:lnTo>
                  <a:pt x="198" y="28"/>
                </a:lnTo>
                <a:lnTo>
                  <a:pt x="200" y="30"/>
                </a:lnTo>
                <a:lnTo>
                  <a:pt x="202" y="34"/>
                </a:lnTo>
                <a:lnTo>
                  <a:pt x="210" y="34"/>
                </a:lnTo>
                <a:lnTo>
                  <a:pt x="214" y="32"/>
                </a:lnTo>
                <a:lnTo>
                  <a:pt x="216" y="32"/>
                </a:lnTo>
                <a:lnTo>
                  <a:pt x="220" y="28"/>
                </a:lnTo>
                <a:lnTo>
                  <a:pt x="224" y="26"/>
                </a:lnTo>
                <a:lnTo>
                  <a:pt x="232" y="28"/>
                </a:lnTo>
                <a:lnTo>
                  <a:pt x="236" y="30"/>
                </a:lnTo>
                <a:lnTo>
                  <a:pt x="238" y="30"/>
                </a:lnTo>
                <a:lnTo>
                  <a:pt x="236" y="40"/>
                </a:lnTo>
                <a:lnTo>
                  <a:pt x="234" y="42"/>
                </a:lnTo>
                <a:lnTo>
                  <a:pt x="234" y="46"/>
                </a:lnTo>
                <a:lnTo>
                  <a:pt x="226" y="60"/>
                </a:lnTo>
                <a:lnTo>
                  <a:pt x="222" y="64"/>
                </a:lnTo>
                <a:lnTo>
                  <a:pt x="222" y="76"/>
                </a:lnTo>
                <a:lnTo>
                  <a:pt x="222" y="80"/>
                </a:lnTo>
                <a:lnTo>
                  <a:pt x="224" y="82"/>
                </a:lnTo>
                <a:lnTo>
                  <a:pt x="226" y="84"/>
                </a:lnTo>
                <a:lnTo>
                  <a:pt x="230" y="86"/>
                </a:lnTo>
                <a:lnTo>
                  <a:pt x="240" y="92"/>
                </a:lnTo>
                <a:lnTo>
                  <a:pt x="248" y="100"/>
                </a:lnTo>
                <a:lnTo>
                  <a:pt x="256" y="104"/>
                </a:lnTo>
                <a:lnTo>
                  <a:pt x="258" y="104"/>
                </a:lnTo>
                <a:lnTo>
                  <a:pt x="258" y="108"/>
                </a:lnTo>
                <a:lnTo>
                  <a:pt x="252" y="114"/>
                </a:lnTo>
                <a:lnTo>
                  <a:pt x="250" y="114"/>
                </a:lnTo>
                <a:lnTo>
                  <a:pt x="246" y="114"/>
                </a:lnTo>
                <a:lnTo>
                  <a:pt x="242" y="112"/>
                </a:lnTo>
                <a:lnTo>
                  <a:pt x="238" y="112"/>
                </a:lnTo>
                <a:lnTo>
                  <a:pt x="232" y="110"/>
                </a:lnTo>
                <a:lnTo>
                  <a:pt x="232" y="114"/>
                </a:lnTo>
                <a:lnTo>
                  <a:pt x="242" y="124"/>
                </a:lnTo>
                <a:lnTo>
                  <a:pt x="246" y="128"/>
                </a:lnTo>
                <a:lnTo>
                  <a:pt x="250" y="130"/>
                </a:lnTo>
                <a:lnTo>
                  <a:pt x="250" y="132"/>
                </a:lnTo>
                <a:lnTo>
                  <a:pt x="250" y="134"/>
                </a:lnTo>
                <a:lnTo>
                  <a:pt x="252" y="138"/>
                </a:lnTo>
                <a:lnTo>
                  <a:pt x="252" y="148"/>
                </a:lnTo>
                <a:lnTo>
                  <a:pt x="250" y="150"/>
                </a:lnTo>
                <a:lnTo>
                  <a:pt x="246" y="148"/>
                </a:lnTo>
                <a:lnTo>
                  <a:pt x="238" y="152"/>
                </a:lnTo>
                <a:lnTo>
                  <a:pt x="234" y="156"/>
                </a:lnTo>
                <a:lnTo>
                  <a:pt x="232" y="156"/>
                </a:lnTo>
                <a:lnTo>
                  <a:pt x="220" y="152"/>
                </a:lnTo>
                <a:lnTo>
                  <a:pt x="216" y="158"/>
                </a:lnTo>
                <a:lnTo>
                  <a:pt x="216" y="162"/>
                </a:lnTo>
                <a:lnTo>
                  <a:pt x="218" y="162"/>
                </a:lnTo>
                <a:lnTo>
                  <a:pt x="220" y="162"/>
                </a:lnTo>
                <a:lnTo>
                  <a:pt x="220" y="164"/>
                </a:lnTo>
                <a:lnTo>
                  <a:pt x="226" y="174"/>
                </a:lnTo>
                <a:lnTo>
                  <a:pt x="224" y="180"/>
                </a:lnTo>
                <a:lnTo>
                  <a:pt x="224" y="182"/>
                </a:lnTo>
                <a:lnTo>
                  <a:pt x="220" y="182"/>
                </a:lnTo>
                <a:lnTo>
                  <a:pt x="216" y="176"/>
                </a:lnTo>
                <a:lnTo>
                  <a:pt x="216" y="174"/>
                </a:lnTo>
                <a:lnTo>
                  <a:pt x="214" y="170"/>
                </a:lnTo>
                <a:lnTo>
                  <a:pt x="212" y="172"/>
                </a:lnTo>
                <a:lnTo>
                  <a:pt x="208" y="172"/>
                </a:lnTo>
                <a:lnTo>
                  <a:pt x="200" y="180"/>
                </a:lnTo>
                <a:lnTo>
                  <a:pt x="196" y="190"/>
                </a:lnTo>
                <a:lnTo>
                  <a:pt x="196" y="194"/>
                </a:lnTo>
                <a:lnTo>
                  <a:pt x="198" y="196"/>
                </a:lnTo>
                <a:lnTo>
                  <a:pt x="196" y="200"/>
                </a:lnTo>
                <a:lnTo>
                  <a:pt x="192" y="202"/>
                </a:lnTo>
                <a:lnTo>
                  <a:pt x="190" y="204"/>
                </a:lnTo>
                <a:lnTo>
                  <a:pt x="188" y="206"/>
                </a:lnTo>
                <a:lnTo>
                  <a:pt x="186" y="208"/>
                </a:lnTo>
                <a:lnTo>
                  <a:pt x="184" y="220"/>
                </a:lnTo>
                <a:lnTo>
                  <a:pt x="188" y="226"/>
                </a:lnTo>
                <a:lnTo>
                  <a:pt x="190" y="230"/>
                </a:lnTo>
                <a:lnTo>
                  <a:pt x="192" y="232"/>
                </a:lnTo>
                <a:lnTo>
                  <a:pt x="194" y="236"/>
                </a:lnTo>
                <a:lnTo>
                  <a:pt x="194" y="238"/>
                </a:lnTo>
                <a:lnTo>
                  <a:pt x="192" y="240"/>
                </a:lnTo>
                <a:lnTo>
                  <a:pt x="186" y="244"/>
                </a:lnTo>
                <a:lnTo>
                  <a:pt x="182" y="240"/>
                </a:lnTo>
                <a:lnTo>
                  <a:pt x="180" y="240"/>
                </a:lnTo>
                <a:lnTo>
                  <a:pt x="178" y="240"/>
                </a:lnTo>
                <a:lnTo>
                  <a:pt x="176" y="240"/>
                </a:lnTo>
                <a:lnTo>
                  <a:pt x="174" y="240"/>
                </a:lnTo>
                <a:lnTo>
                  <a:pt x="170" y="238"/>
                </a:lnTo>
                <a:lnTo>
                  <a:pt x="166" y="234"/>
                </a:lnTo>
                <a:lnTo>
                  <a:pt x="154" y="228"/>
                </a:lnTo>
                <a:lnTo>
                  <a:pt x="152" y="228"/>
                </a:lnTo>
                <a:lnTo>
                  <a:pt x="146" y="224"/>
                </a:lnTo>
                <a:lnTo>
                  <a:pt x="144" y="220"/>
                </a:lnTo>
                <a:lnTo>
                  <a:pt x="140" y="216"/>
                </a:lnTo>
                <a:lnTo>
                  <a:pt x="138" y="214"/>
                </a:lnTo>
                <a:lnTo>
                  <a:pt x="134" y="214"/>
                </a:lnTo>
                <a:lnTo>
                  <a:pt x="130" y="21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02" name="Group 2834"/>
          <p:cNvGrpSpPr>
            <a:grpSpLocks/>
          </p:cNvGrpSpPr>
          <p:nvPr/>
        </p:nvGrpSpPr>
        <p:grpSpPr bwMode="auto">
          <a:xfrm>
            <a:off x="5132290" y="4976381"/>
            <a:ext cx="564149" cy="555286"/>
            <a:chOff x="2542" y="2580"/>
            <a:chExt cx="382" cy="376"/>
          </a:xfrm>
          <a:solidFill>
            <a:srgbClr val="B9B9B9"/>
          </a:solidFill>
        </p:grpSpPr>
        <p:sp>
          <p:nvSpPr>
            <p:cNvPr id="631" name="Freeform 2655"/>
            <p:cNvSpPr>
              <a:spLocks/>
            </p:cNvSpPr>
            <p:nvPr/>
          </p:nvSpPr>
          <p:spPr bwMode="auto">
            <a:xfrm>
              <a:off x="2774" y="2900"/>
              <a:ext cx="104" cy="56"/>
            </a:xfrm>
            <a:custGeom>
              <a:avLst/>
              <a:gdLst/>
              <a:ahLst/>
              <a:cxnLst>
                <a:cxn ang="0">
                  <a:pos x="42" y="14"/>
                </a:cxn>
                <a:cxn ang="0">
                  <a:pos x="46" y="10"/>
                </a:cxn>
                <a:cxn ang="0">
                  <a:pos x="50" y="10"/>
                </a:cxn>
                <a:cxn ang="0">
                  <a:pos x="52" y="12"/>
                </a:cxn>
                <a:cxn ang="0">
                  <a:pos x="56" y="16"/>
                </a:cxn>
                <a:cxn ang="0">
                  <a:pos x="58" y="20"/>
                </a:cxn>
                <a:cxn ang="0">
                  <a:pos x="64" y="24"/>
                </a:cxn>
                <a:cxn ang="0">
                  <a:pos x="66" y="24"/>
                </a:cxn>
                <a:cxn ang="0">
                  <a:pos x="78" y="30"/>
                </a:cxn>
                <a:cxn ang="0">
                  <a:pos x="82" y="34"/>
                </a:cxn>
                <a:cxn ang="0">
                  <a:pos x="86" y="36"/>
                </a:cxn>
                <a:cxn ang="0">
                  <a:pos x="88" y="36"/>
                </a:cxn>
                <a:cxn ang="0">
                  <a:pos x="90" y="36"/>
                </a:cxn>
                <a:cxn ang="0">
                  <a:pos x="92" y="36"/>
                </a:cxn>
                <a:cxn ang="0">
                  <a:pos x="94" y="36"/>
                </a:cxn>
                <a:cxn ang="0">
                  <a:pos x="98" y="40"/>
                </a:cxn>
                <a:cxn ang="0">
                  <a:pos x="98" y="46"/>
                </a:cxn>
                <a:cxn ang="0">
                  <a:pos x="98" y="48"/>
                </a:cxn>
                <a:cxn ang="0">
                  <a:pos x="100" y="50"/>
                </a:cxn>
                <a:cxn ang="0">
                  <a:pos x="102" y="52"/>
                </a:cxn>
                <a:cxn ang="0">
                  <a:pos x="104" y="52"/>
                </a:cxn>
                <a:cxn ang="0">
                  <a:pos x="104" y="56"/>
                </a:cxn>
                <a:cxn ang="0">
                  <a:pos x="92" y="48"/>
                </a:cxn>
                <a:cxn ang="0">
                  <a:pos x="82" y="40"/>
                </a:cxn>
                <a:cxn ang="0">
                  <a:pos x="70" y="32"/>
                </a:cxn>
                <a:cxn ang="0">
                  <a:pos x="58" y="24"/>
                </a:cxn>
                <a:cxn ang="0">
                  <a:pos x="50" y="22"/>
                </a:cxn>
                <a:cxn ang="0">
                  <a:pos x="36" y="18"/>
                </a:cxn>
                <a:cxn ang="0">
                  <a:pos x="28" y="16"/>
                </a:cxn>
                <a:cxn ang="0">
                  <a:pos x="24" y="12"/>
                </a:cxn>
                <a:cxn ang="0">
                  <a:pos x="12" y="6"/>
                </a:cxn>
                <a:cxn ang="0">
                  <a:pos x="10" y="6"/>
                </a:cxn>
                <a:cxn ang="0">
                  <a:pos x="8" y="6"/>
                </a:cxn>
                <a:cxn ang="0">
                  <a:pos x="4" y="6"/>
                </a:cxn>
                <a:cxn ang="0">
                  <a:pos x="0" y="4"/>
                </a:cxn>
                <a:cxn ang="0">
                  <a:pos x="0" y="0"/>
                </a:cxn>
                <a:cxn ang="0">
                  <a:pos x="16" y="4"/>
                </a:cxn>
                <a:cxn ang="0">
                  <a:pos x="18" y="4"/>
                </a:cxn>
                <a:cxn ang="0">
                  <a:pos x="28" y="8"/>
                </a:cxn>
                <a:cxn ang="0">
                  <a:pos x="34" y="12"/>
                </a:cxn>
                <a:cxn ang="0">
                  <a:pos x="42" y="14"/>
                </a:cxn>
              </a:cxnLst>
              <a:rect l="0" t="0" r="r" b="b"/>
              <a:pathLst>
                <a:path w="104" h="56">
                  <a:moveTo>
                    <a:pt x="42" y="14"/>
                  </a:moveTo>
                  <a:lnTo>
                    <a:pt x="46" y="10"/>
                  </a:lnTo>
                  <a:lnTo>
                    <a:pt x="50" y="10"/>
                  </a:lnTo>
                  <a:lnTo>
                    <a:pt x="52" y="12"/>
                  </a:lnTo>
                  <a:lnTo>
                    <a:pt x="56" y="16"/>
                  </a:lnTo>
                  <a:lnTo>
                    <a:pt x="58" y="20"/>
                  </a:lnTo>
                  <a:lnTo>
                    <a:pt x="64" y="24"/>
                  </a:lnTo>
                  <a:lnTo>
                    <a:pt x="66" y="24"/>
                  </a:lnTo>
                  <a:lnTo>
                    <a:pt x="78" y="30"/>
                  </a:lnTo>
                  <a:lnTo>
                    <a:pt x="82" y="34"/>
                  </a:lnTo>
                  <a:lnTo>
                    <a:pt x="86" y="36"/>
                  </a:lnTo>
                  <a:lnTo>
                    <a:pt x="88" y="36"/>
                  </a:lnTo>
                  <a:lnTo>
                    <a:pt x="90" y="36"/>
                  </a:lnTo>
                  <a:lnTo>
                    <a:pt x="92" y="36"/>
                  </a:lnTo>
                  <a:lnTo>
                    <a:pt x="94" y="36"/>
                  </a:lnTo>
                  <a:lnTo>
                    <a:pt x="98" y="40"/>
                  </a:lnTo>
                  <a:lnTo>
                    <a:pt x="98" y="46"/>
                  </a:lnTo>
                  <a:lnTo>
                    <a:pt x="98" y="48"/>
                  </a:lnTo>
                  <a:lnTo>
                    <a:pt x="100" y="50"/>
                  </a:lnTo>
                  <a:lnTo>
                    <a:pt x="102" y="52"/>
                  </a:lnTo>
                  <a:lnTo>
                    <a:pt x="104" y="52"/>
                  </a:lnTo>
                  <a:lnTo>
                    <a:pt x="104" y="56"/>
                  </a:lnTo>
                  <a:lnTo>
                    <a:pt x="92" y="48"/>
                  </a:lnTo>
                  <a:lnTo>
                    <a:pt x="82" y="40"/>
                  </a:lnTo>
                  <a:lnTo>
                    <a:pt x="70" y="32"/>
                  </a:lnTo>
                  <a:lnTo>
                    <a:pt x="58" y="24"/>
                  </a:lnTo>
                  <a:lnTo>
                    <a:pt x="50" y="22"/>
                  </a:lnTo>
                  <a:lnTo>
                    <a:pt x="36" y="18"/>
                  </a:lnTo>
                  <a:lnTo>
                    <a:pt x="28" y="16"/>
                  </a:lnTo>
                  <a:lnTo>
                    <a:pt x="24" y="12"/>
                  </a:lnTo>
                  <a:lnTo>
                    <a:pt x="12" y="6"/>
                  </a:lnTo>
                  <a:lnTo>
                    <a:pt x="10" y="6"/>
                  </a:lnTo>
                  <a:lnTo>
                    <a:pt x="8" y="6"/>
                  </a:lnTo>
                  <a:lnTo>
                    <a:pt x="4" y="6"/>
                  </a:lnTo>
                  <a:lnTo>
                    <a:pt x="0" y="4"/>
                  </a:lnTo>
                  <a:lnTo>
                    <a:pt x="0" y="0"/>
                  </a:lnTo>
                  <a:lnTo>
                    <a:pt x="16" y="4"/>
                  </a:lnTo>
                  <a:lnTo>
                    <a:pt x="18" y="4"/>
                  </a:lnTo>
                  <a:lnTo>
                    <a:pt x="28" y="8"/>
                  </a:lnTo>
                  <a:lnTo>
                    <a:pt x="34" y="12"/>
                  </a:lnTo>
                  <a:lnTo>
                    <a:pt x="4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2" name="Freeform 2646"/>
            <p:cNvSpPr>
              <a:spLocks/>
            </p:cNvSpPr>
            <p:nvPr/>
          </p:nvSpPr>
          <p:spPr bwMode="auto">
            <a:xfrm>
              <a:off x="2542" y="2580"/>
              <a:ext cx="382" cy="328"/>
            </a:xfrm>
            <a:custGeom>
              <a:avLst/>
              <a:gdLst/>
              <a:ahLst/>
              <a:cxnLst>
                <a:cxn ang="0">
                  <a:pos x="342" y="144"/>
                </a:cxn>
                <a:cxn ang="0">
                  <a:pos x="308" y="126"/>
                </a:cxn>
                <a:cxn ang="0">
                  <a:pos x="286" y="132"/>
                </a:cxn>
                <a:cxn ang="0">
                  <a:pos x="260" y="130"/>
                </a:cxn>
                <a:cxn ang="0">
                  <a:pos x="228" y="122"/>
                </a:cxn>
                <a:cxn ang="0">
                  <a:pos x="200" y="120"/>
                </a:cxn>
                <a:cxn ang="0">
                  <a:pos x="184" y="142"/>
                </a:cxn>
                <a:cxn ang="0">
                  <a:pos x="162" y="122"/>
                </a:cxn>
                <a:cxn ang="0">
                  <a:pos x="146" y="134"/>
                </a:cxn>
                <a:cxn ang="0">
                  <a:pos x="158" y="168"/>
                </a:cxn>
                <a:cxn ang="0">
                  <a:pos x="176" y="202"/>
                </a:cxn>
                <a:cxn ang="0">
                  <a:pos x="180" y="216"/>
                </a:cxn>
                <a:cxn ang="0">
                  <a:pos x="196" y="232"/>
                </a:cxn>
                <a:cxn ang="0">
                  <a:pos x="224" y="268"/>
                </a:cxn>
                <a:cxn ang="0">
                  <a:pos x="240" y="278"/>
                </a:cxn>
                <a:cxn ang="0">
                  <a:pos x="250" y="296"/>
                </a:cxn>
                <a:cxn ang="0">
                  <a:pos x="274" y="318"/>
                </a:cxn>
                <a:cxn ang="0">
                  <a:pos x="262" y="324"/>
                </a:cxn>
                <a:cxn ang="0">
                  <a:pos x="242" y="308"/>
                </a:cxn>
                <a:cxn ang="0">
                  <a:pos x="220" y="288"/>
                </a:cxn>
                <a:cxn ang="0">
                  <a:pos x="196" y="278"/>
                </a:cxn>
                <a:cxn ang="0">
                  <a:pos x="174" y="280"/>
                </a:cxn>
                <a:cxn ang="0">
                  <a:pos x="160" y="268"/>
                </a:cxn>
                <a:cxn ang="0">
                  <a:pos x="130" y="244"/>
                </a:cxn>
                <a:cxn ang="0">
                  <a:pos x="106" y="216"/>
                </a:cxn>
                <a:cxn ang="0">
                  <a:pos x="118" y="206"/>
                </a:cxn>
                <a:cxn ang="0">
                  <a:pos x="128" y="208"/>
                </a:cxn>
                <a:cxn ang="0">
                  <a:pos x="98" y="182"/>
                </a:cxn>
                <a:cxn ang="0">
                  <a:pos x="88" y="160"/>
                </a:cxn>
                <a:cxn ang="0">
                  <a:pos x="84" y="130"/>
                </a:cxn>
                <a:cxn ang="0">
                  <a:pos x="60" y="114"/>
                </a:cxn>
                <a:cxn ang="0">
                  <a:pos x="46" y="130"/>
                </a:cxn>
                <a:cxn ang="0">
                  <a:pos x="32" y="152"/>
                </a:cxn>
                <a:cxn ang="0">
                  <a:pos x="18" y="154"/>
                </a:cxn>
                <a:cxn ang="0">
                  <a:pos x="4" y="114"/>
                </a:cxn>
                <a:cxn ang="0">
                  <a:pos x="10" y="100"/>
                </a:cxn>
                <a:cxn ang="0">
                  <a:pos x="56" y="98"/>
                </a:cxn>
                <a:cxn ang="0">
                  <a:pos x="72" y="84"/>
                </a:cxn>
                <a:cxn ang="0">
                  <a:pos x="94" y="96"/>
                </a:cxn>
                <a:cxn ang="0">
                  <a:pos x="116" y="88"/>
                </a:cxn>
                <a:cxn ang="0">
                  <a:pos x="116" y="72"/>
                </a:cxn>
                <a:cxn ang="0">
                  <a:pos x="140" y="64"/>
                </a:cxn>
                <a:cxn ang="0">
                  <a:pos x="134" y="38"/>
                </a:cxn>
                <a:cxn ang="0">
                  <a:pos x="164" y="18"/>
                </a:cxn>
                <a:cxn ang="0">
                  <a:pos x="178" y="2"/>
                </a:cxn>
                <a:cxn ang="0">
                  <a:pos x="196" y="6"/>
                </a:cxn>
                <a:cxn ang="0">
                  <a:pos x="216" y="18"/>
                </a:cxn>
                <a:cxn ang="0">
                  <a:pos x="226" y="30"/>
                </a:cxn>
                <a:cxn ang="0">
                  <a:pos x="244" y="52"/>
                </a:cxn>
                <a:cxn ang="0">
                  <a:pos x="264" y="56"/>
                </a:cxn>
                <a:cxn ang="0">
                  <a:pos x="300" y="66"/>
                </a:cxn>
                <a:cxn ang="0">
                  <a:pos x="324" y="64"/>
                </a:cxn>
                <a:cxn ang="0">
                  <a:pos x="340" y="52"/>
                </a:cxn>
                <a:cxn ang="0">
                  <a:pos x="348" y="78"/>
                </a:cxn>
                <a:cxn ang="0">
                  <a:pos x="354" y="84"/>
                </a:cxn>
                <a:cxn ang="0">
                  <a:pos x="352" y="100"/>
                </a:cxn>
                <a:cxn ang="0">
                  <a:pos x="376" y="114"/>
                </a:cxn>
                <a:cxn ang="0">
                  <a:pos x="372" y="118"/>
                </a:cxn>
                <a:cxn ang="0">
                  <a:pos x="356" y="144"/>
                </a:cxn>
              </a:cxnLst>
              <a:rect l="0" t="0" r="r" b="b"/>
              <a:pathLst>
                <a:path w="382" h="328">
                  <a:moveTo>
                    <a:pt x="360" y="148"/>
                  </a:moveTo>
                  <a:lnTo>
                    <a:pt x="358" y="148"/>
                  </a:lnTo>
                  <a:lnTo>
                    <a:pt x="354" y="150"/>
                  </a:lnTo>
                  <a:lnTo>
                    <a:pt x="346" y="150"/>
                  </a:lnTo>
                  <a:lnTo>
                    <a:pt x="344" y="146"/>
                  </a:lnTo>
                  <a:lnTo>
                    <a:pt x="342" y="144"/>
                  </a:lnTo>
                  <a:lnTo>
                    <a:pt x="342" y="142"/>
                  </a:lnTo>
                  <a:lnTo>
                    <a:pt x="344" y="142"/>
                  </a:lnTo>
                  <a:lnTo>
                    <a:pt x="342" y="138"/>
                  </a:lnTo>
                  <a:lnTo>
                    <a:pt x="332" y="130"/>
                  </a:lnTo>
                  <a:lnTo>
                    <a:pt x="318" y="128"/>
                  </a:lnTo>
                  <a:lnTo>
                    <a:pt x="308" y="126"/>
                  </a:lnTo>
                  <a:lnTo>
                    <a:pt x="304" y="126"/>
                  </a:lnTo>
                  <a:lnTo>
                    <a:pt x="304" y="130"/>
                  </a:lnTo>
                  <a:lnTo>
                    <a:pt x="302" y="132"/>
                  </a:lnTo>
                  <a:lnTo>
                    <a:pt x="298" y="130"/>
                  </a:lnTo>
                  <a:lnTo>
                    <a:pt x="294" y="130"/>
                  </a:lnTo>
                  <a:lnTo>
                    <a:pt x="286" y="132"/>
                  </a:lnTo>
                  <a:lnTo>
                    <a:pt x="282" y="134"/>
                  </a:lnTo>
                  <a:lnTo>
                    <a:pt x="280" y="134"/>
                  </a:lnTo>
                  <a:lnTo>
                    <a:pt x="274" y="132"/>
                  </a:lnTo>
                  <a:lnTo>
                    <a:pt x="270" y="128"/>
                  </a:lnTo>
                  <a:lnTo>
                    <a:pt x="264" y="130"/>
                  </a:lnTo>
                  <a:lnTo>
                    <a:pt x="260" y="130"/>
                  </a:lnTo>
                  <a:lnTo>
                    <a:pt x="258" y="130"/>
                  </a:lnTo>
                  <a:lnTo>
                    <a:pt x="244" y="124"/>
                  </a:lnTo>
                  <a:lnTo>
                    <a:pt x="242" y="126"/>
                  </a:lnTo>
                  <a:lnTo>
                    <a:pt x="238" y="126"/>
                  </a:lnTo>
                  <a:lnTo>
                    <a:pt x="230" y="124"/>
                  </a:lnTo>
                  <a:lnTo>
                    <a:pt x="228" y="122"/>
                  </a:lnTo>
                  <a:lnTo>
                    <a:pt x="220" y="116"/>
                  </a:lnTo>
                  <a:lnTo>
                    <a:pt x="216" y="122"/>
                  </a:lnTo>
                  <a:lnTo>
                    <a:pt x="214" y="124"/>
                  </a:lnTo>
                  <a:lnTo>
                    <a:pt x="204" y="122"/>
                  </a:lnTo>
                  <a:lnTo>
                    <a:pt x="202" y="122"/>
                  </a:lnTo>
                  <a:lnTo>
                    <a:pt x="200" y="120"/>
                  </a:lnTo>
                  <a:lnTo>
                    <a:pt x="196" y="122"/>
                  </a:lnTo>
                  <a:lnTo>
                    <a:pt x="194" y="122"/>
                  </a:lnTo>
                  <a:lnTo>
                    <a:pt x="192" y="124"/>
                  </a:lnTo>
                  <a:lnTo>
                    <a:pt x="188" y="130"/>
                  </a:lnTo>
                  <a:lnTo>
                    <a:pt x="184" y="138"/>
                  </a:lnTo>
                  <a:lnTo>
                    <a:pt x="184" y="142"/>
                  </a:lnTo>
                  <a:lnTo>
                    <a:pt x="180" y="142"/>
                  </a:lnTo>
                  <a:lnTo>
                    <a:pt x="178" y="140"/>
                  </a:lnTo>
                  <a:lnTo>
                    <a:pt x="176" y="138"/>
                  </a:lnTo>
                  <a:lnTo>
                    <a:pt x="174" y="138"/>
                  </a:lnTo>
                  <a:lnTo>
                    <a:pt x="168" y="130"/>
                  </a:lnTo>
                  <a:lnTo>
                    <a:pt x="162" y="122"/>
                  </a:lnTo>
                  <a:lnTo>
                    <a:pt x="156" y="122"/>
                  </a:lnTo>
                  <a:lnTo>
                    <a:pt x="154" y="122"/>
                  </a:lnTo>
                  <a:lnTo>
                    <a:pt x="150" y="122"/>
                  </a:lnTo>
                  <a:lnTo>
                    <a:pt x="148" y="124"/>
                  </a:lnTo>
                  <a:lnTo>
                    <a:pt x="146" y="126"/>
                  </a:lnTo>
                  <a:lnTo>
                    <a:pt x="146" y="134"/>
                  </a:lnTo>
                  <a:lnTo>
                    <a:pt x="146" y="138"/>
                  </a:lnTo>
                  <a:lnTo>
                    <a:pt x="146" y="150"/>
                  </a:lnTo>
                  <a:lnTo>
                    <a:pt x="144" y="160"/>
                  </a:lnTo>
                  <a:lnTo>
                    <a:pt x="146" y="162"/>
                  </a:lnTo>
                  <a:lnTo>
                    <a:pt x="152" y="168"/>
                  </a:lnTo>
                  <a:lnTo>
                    <a:pt x="158" y="168"/>
                  </a:lnTo>
                  <a:lnTo>
                    <a:pt x="158" y="170"/>
                  </a:lnTo>
                  <a:lnTo>
                    <a:pt x="162" y="178"/>
                  </a:lnTo>
                  <a:lnTo>
                    <a:pt x="164" y="182"/>
                  </a:lnTo>
                  <a:lnTo>
                    <a:pt x="166" y="184"/>
                  </a:lnTo>
                  <a:lnTo>
                    <a:pt x="170" y="188"/>
                  </a:lnTo>
                  <a:lnTo>
                    <a:pt x="176" y="202"/>
                  </a:lnTo>
                  <a:lnTo>
                    <a:pt x="174" y="204"/>
                  </a:lnTo>
                  <a:lnTo>
                    <a:pt x="172" y="216"/>
                  </a:lnTo>
                  <a:lnTo>
                    <a:pt x="174" y="216"/>
                  </a:lnTo>
                  <a:lnTo>
                    <a:pt x="176" y="216"/>
                  </a:lnTo>
                  <a:lnTo>
                    <a:pt x="178" y="216"/>
                  </a:lnTo>
                  <a:lnTo>
                    <a:pt x="180" y="216"/>
                  </a:lnTo>
                  <a:lnTo>
                    <a:pt x="182" y="220"/>
                  </a:lnTo>
                  <a:lnTo>
                    <a:pt x="184" y="222"/>
                  </a:lnTo>
                  <a:lnTo>
                    <a:pt x="186" y="226"/>
                  </a:lnTo>
                  <a:lnTo>
                    <a:pt x="190" y="230"/>
                  </a:lnTo>
                  <a:lnTo>
                    <a:pt x="192" y="232"/>
                  </a:lnTo>
                  <a:lnTo>
                    <a:pt x="196" y="232"/>
                  </a:lnTo>
                  <a:lnTo>
                    <a:pt x="198" y="232"/>
                  </a:lnTo>
                  <a:lnTo>
                    <a:pt x="204" y="240"/>
                  </a:lnTo>
                  <a:lnTo>
                    <a:pt x="208" y="246"/>
                  </a:lnTo>
                  <a:lnTo>
                    <a:pt x="210" y="248"/>
                  </a:lnTo>
                  <a:lnTo>
                    <a:pt x="218" y="258"/>
                  </a:lnTo>
                  <a:lnTo>
                    <a:pt x="224" y="268"/>
                  </a:lnTo>
                  <a:lnTo>
                    <a:pt x="226" y="270"/>
                  </a:lnTo>
                  <a:lnTo>
                    <a:pt x="228" y="270"/>
                  </a:lnTo>
                  <a:lnTo>
                    <a:pt x="232" y="274"/>
                  </a:lnTo>
                  <a:lnTo>
                    <a:pt x="234" y="276"/>
                  </a:lnTo>
                  <a:lnTo>
                    <a:pt x="238" y="278"/>
                  </a:lnTo>
                  <a:lnTo>
                    <a:pt x="240" y="278"/>
                  </a:lnTo>
                  <a:lnTo>
                    <a:pt x="244" y="280"/>
                  </a:lnTo>
                  <a:lnTo>
                    <a:pt x="246" y="282"/>
                  </a:lnTo>
                  <a:lnTo>
                    <a:pt x="248" y="282"/>
                  </a:lnTo>
                  <a:lnTo>
                    <a:pt x="246" y="286"/>
                  </a:lnTo>
                  <a:lnTo>
                    <a:pt x="248" y="294"/>
                  </a:lnTo>
                  <a:lnTo>
                    <a:pt x="250" y="296"/>
                  </a:lnTo>
                  <a:lnTo>
                    <a:pt x="250" y="298"/>
                  </a:lnTo>
                  <a:lnTo>
                    <a:pt x="260" y="306"/>
                  </a:lnTo>
                  <a:lnTo>
                    <a:pt x="268" y="312"/>
                  </a:lnTo>
                  <a:lnTo>
                    <a:pt x="270" y="314"/>
                  </a:lnTo>
                  <a:lnTo>
                    <a:pt x="274" y="316"/>
                  </a:lnTo>
                  <a:lnTo>
                    <a:pt x="274" y="318"/>
                  </a:lnTo>
                  <a:lnTo>
                    <a:pt x="276" y="322"/>
                  </a:lnTo>
                  <a:lnTo>
                    <a:pt x="276" y="326"/>
                  </a:lnTo>
                  <a:lnTo>
                    <a:pt x="270" y="328"/>
                  </a:lnTo>
                  <a:lnTo>
                    <a:pt x="266" y="328"/>
                  </a:lnTo>
                  <a:lnTo>
                    <a:pt x="262" y="326"/>
                  </a:lnTo>
                  <a:lnTo>
                    <a:pt x="262" y="324"/>
                  </a:lnTo>
                  <a:lnTo>
                    <a:pt x="262" y="322"/>
                  </a:lnTo>
                  <a:lnTo>
                    <a:pt x="262" y="320"/>
                  </a:lnTo>
                  <a:lnTo>
                    <a:pt x="252" y="314"/>
                  </a:lnTo>
                  <a:lnTo>
                    <a:pt x="248" y="310"/>
                  </a:lnTo>
                  <a:lnTo>
                    <a:pt x="246" y="310"/>
                  </a:lnTo>
                  <a:lnTo>
                    <a:pt x="242" y="308"/>
                  </a:lnTo>
                  <a:lnTo>
                    <a:pt x="238" y="306"/>
                  </a:lnTo>
                  <a:lnTo>
                    <a:pt x="234" y="302"/>
                  </a:lnTo>
                  <a:lnTo>
                    <a:pt x="232" y="300"/>
                  </a:lnTo>
                  <a:lnTo>
                    <a:pt x="226" y="290"/>
                  </a:lnTo>
                  <a:lnTo>
                    <a:pt x="222" y="288"/>
                  </a:lnTo>
                  <a:lnTo>
                    <a:pt x="220" y="288"/>
                  </a:lnTo>
                  <a:lnTo>
                    <a:pt x="218" y="288"/>
                  </a:lnTo>
                  <a:lnTo>
                    <a:pt x="214" y="286"/>
                  </a:lnTo>
                  <a:lnTo>
                    <a:pt x="212" y="286"/>
                  </a:lnTo>
                  <a:lnTo>
                    <a:pt x="206" y="284"/>
                  </a:lnTo>
                  <a:lnTo>
                    <a:pt x="204" y="284"/>
                  </a:lnTo>
                  <a:lnTo>
                    <a:pt x="196" y="278"/>
                  </a:lnTo>
                  <a:lnTo>
                    <a:pt x="194" y="276"/>
                  </a:lnTo>
                  <a:lnTo>
                    <a:pt x="192" y="274"/>
                  </a:lnTo>
                  <a:lnTo>
                    <a:pt x="186" y="274"/>
                  </a:lnTo>
                  <a:lnTo>
                    <a:pt x="184" y="276"/>
                  </a:lnTo>
                  <a:lnTo>
                    <a:pt x="176" y="278"/>
                  </a:lnTo>
                  <a:lnTo>
                    <a:pt x="174" y="280"/>
                  </a:lnTo>
                  <a:lnTo>
                    <a:pt x="170" y="282"/>
                  </a:lnTo>
                  <a:lnTo>
                    <a:pt x="166" y="282"/>
                  </a:lnTo>
                  <a:lnTo>
                    <a:pt x="162" y="280"/>
                  </a:lnTo>
                  <a:lnTo>
                    <a:pt x="158" y="274"/>
                  </a:lnTo>
                  <a:lnTo>
                    <a:pt x="158" y="268"/>
                  </a:lnTo>
                  <a:lnTo>
                    <a:pt x="160" y="268"/>
                  </a:lnTo>
                  <a:lnTo>
                    <a:pt x="158" y="262"/>
                  </a:lnTo>
                  <a:lnTo>
                    <a:pt x="148" y="256"/>
                  </a:lnTo>
                  <a:lnTo>
                    <a:pt x="142" y="254"/>
                  </a:lnTo>
                  <a:lnTo>
                    <a:pt x="136" y="248"/>
                  </a:lnTo>
                  <a:lnTo>
                    <a:pt x="132" y="244"/>
                  </a:lnTo>
                  <a:lnTo>
                    <a:pt x="130" y="244"/>
                  </a:lnTo>
                  <a:lnTo>
                    <a:pt x="128" y="242"/>
                  </a:lnTo>
                  <a:lnTo>
                    <a:pt x="126" y="240"/>
                  </a:lnTo>
                  <a:lnTo>
                    <a:pt x="122" y="238"/>
                  </a:lnTo>
                  <a:lnTo>
                    <a:pt x="114" y="228"/>
                  </a:lnTo>
                  <a:lnTo>
                    <a:pt x="112" y="224"/>
                  </a:lnTo>
                  <a:lnTo>
                    <a:pt x="106" y="216"/>
                  </a:lnTo>
                  <a:lnTo>
                    <a:pt x="104" y="210"/>
                  </a:lnTo>
                  <a:lnTo>
                    <a:pt x="106" y="208"/>
                  </a:lnTo>
                  <a:lnTo>
                    <a:pt x="110" y="212"/>
                  </a:lnTo>
                  <a:lnTo>
                    <a:pt x="116" y="212"/>
                  </a:lnTo>
                  <a:lnTo>
                    <a:pt x="114" y="206"/>
                  </a:lnTo>
                  <a:lnTo>
                    <a:pt x="118" y="206"/>
                  </a:lnTo>
                  <a:lnTo>
                    <a:pt x="118" y="208"/>
                  </a:lnTo>
                  <a:lnTo>
                    <a:pt x="122" y="210"/>
                  </a:lnTo>
                  <a:lnTo>
                    <a:pt x="124" y="210"/>
                  </a:lnTo>
                  <a:lnTo>
                    <a:pt x="130" y="210"/>
                  </a:lnTo>
                  <a:lnTo>
                    <a:pt x="130" y="208"/>
                  </a:lnTo>
                  <a:lnTo>
                    <a:pt x="128" y="208"/>
                  </a:lnTo>
                  <a:lnTo>
                    <a:pt x="126" y="208"/>
                  </a:lnTo>
                  <a:lnTo>
                    <a:pt x="114" y="200"/>
                  </a:lnTo>
                  <a:lnTo>
                    <a:pt x="108" y="194"/>
                  </a:lnTo>
                  <a:lnTo>
                    <a:pt x="106" y="192"/>
                  </a:lnTo>
                  <a:lnTo>
                    <a:pt x="102" y="186"/>
                  </a:lnTo>
                  <a:lnTo>
                    <a:pt x="98" y="182"/>
                  </a:lnTo>
                  <a:lnTo>
                    <a:pt x="96" y="180"/>
                  </a:lnTo>
                  <a:lnTo>
                    <a:pt x="94" y="178"/>
                  </a:lnTo>
                  <a:lnTo>
                    <a:pt x="92" y="174"/>
                  </a:lnTo>
                  <a:lnTo>
                    <a:pt x="90" y="170"/>
                  </a:lnTo>
                  <a:lnTo>
                    <a:pt x="88" y="168"/>
                  </a:lnTo>
                  <a:lnTo>
                    <a:pt x="88" y="160"/>
                  </a:lnTo>
                  <a:lnTo>
                    <a:pt x="88" y="156"/>
                  </a:lnTo>
                  <a:lnTo>
                    <a:pt x="90" y="152"/>
                  </a:lnTo>
                  <a:lnTo>
                    <a:pt x="90" y="150"/>
                  </a:lnTo>
                  <a:lnTo>
                    <a:pt x="92" y="146"/>
                  </a:lnTo>
                  <a:lnTo>
                    <a:pt x="86" y="132"/>
                  </a:lnTo>
                  <a:lnTo>
                    <a:pt x="84" y="130"/>
                  </a:lnTo>
                  <a:lnTo>
                    <a:pt x="80" y="130"/>
                  </a:lnTo>
                  <a:lnTo>
                    <a:pt x="78" y="128"/>
                  </a:lnTo>
                  <a:lnTo>
                    <a:pt x="76" y="126"/>
                  </a:lnTo>
                  <a:lnTo>
                    <a:pt x="70" y="120"/>
                  </a:lnTo>
                  <a:lnTo>
                    <a:pt x="64" y="114"/>
                  </a:lnTo>
                  <a:lnTo>
                    <a:pt x="60" y="114"/>
                  </a:lnTo>
                  <a:lnTo>
                    <a:pt x="52" y="110"/>
                  </a:lnTo>
                  <a:lnTo>
                    <a:pt x="50" y="114"/>
                  </a:lnTo>
                  <a:lnTo>
                    <a:pt x="48" y="122"/>
                  </a:lnTo>
                  <a:lnTo>
                    <a:pt x="48" y="124"/>
                  </a:lnTo>
                  <a:lnTo>
                    <a:pt x="48" y="126"/>
                  </a:lnTo>
                  <a:lnTo>
                    <a:pt x="46" y="130"/>
                  </a:lnTo>
                  <a:lnTo>
                    <a:pt x="42" y="134"/>
                  </a:lnTo>
                  <a:lnTo>
                    <a:pt x="42" y="138"/>
                  </a:lnTo>
                  <a:lnTo>
                    <a:pt x="42" y="142"/>
                  </a:lnTo>
                  <a:lnTo>
                    <a:pt x="40" y="146"/>
                  </a:lnTo>
                  <a:lnTo>
                    <a:pt x="36" y="146"/>
                  </a:lnTo>
                  <a:lnTo>
                    <a:pt x="32" y="152"/>
                  </a:lnTo>
                  <a:lnTo>
                    <a:pt x="30" y="156"/>
                  </a:lnTo>
                  <a:lnTo>
                    <a:pt x="30" y="158"/>
                  </a:lnTo>
                  <a:lnTo>
                    <a:pt x="32" y="158"/>
                  </a:lnTo>
                  <a:lnTo>
                    <a:pt x="32" y="160"/>
                  </a:lnTo>
                  <a:lnTo>
                    <a:pt x="24" y="162"/>
                  </a:lnTo>
                  <a:lnTo>
                    <a:pt x="18" y="154"/>
                  </a:lnTo>
                  <a:lnTo>
                    <a:pt x="20" y="154"/>
                  </a:lnTo>
                  <a:lnTo>
                    <a:pt x="16" y="144"/>
                  </a:lnTo>
                  <a:lnTo>
                    <a:pt x="10" y="138"/>
                  </a:lnTo>
                  <a:lnTo>
                    <a:pt x="6" y="126"/>
                  </a:lnTo>
                  <a:lnTo>
                    <a:pt x="6" y="118"/>
                  </a:lnTo>
                  <a:lnTo>
                    <a:pt x="4" y="114"/>
                  </a:lnTo>
                  <a:lnTo>
                    <a:pt x="2" y="104"/>
                  </a:lnTo>
                  <a:lnTo>
                    <a:pt x="0" y="96"/>
                  </a:lnTo>
                  <a:lnTo>
                    <a:pt x="2" y="96"/>
                  </a:lnTo>
                  <a:lnTo>
                    <a:pt x="6" y="98"/>
                  </a:lnTo>
                  <a:lnTo>
                    <a:pt x="8" y="100"/>
                  </a:lnTo>
                  <a:lnTo>
                    <a:pt x="10" y="100"/>
                  </a:lnTo>
                  <a:lnTo>
                    <a:pt x="12" y="100"/>
                  </a:lnTo>
                  <a:lnTo>
                    <a:pt x="26" y="100"/>
                  </a:lnTo>
                  <a:lnTo>
                    <a:pt x="28" y="100"/>
                  </a:lnTo>
                  <a:lnTo>
                    <a:pt x="32" y="100"/>
                  </a:lnTo>
                  <a:lnTo>
                    <a:pt x="40" y="98"/>
                  </a:lnTo>
                  <a:lnTo>
                    <a:pt x="56" y="98"/>
                  </a:lnTo>
                  <a:lnTo>
                    <a:pt x="58" y="96"/>
                  </a:lnTo>
                  <a:lnTo>
                    <a:pt x="64" y="92"/>
                  </a:lnTo>
                  <a:lnTo>
                    <a:pt x="66" y="86"/>
                  </a:lnTo>
                  <a:lnTo>
                    <a:pt x="68" y="80"/>
                  </a:lnTo>
                  <a:lnTo>
                    <a:pt x="72" y="80"/>
                  </a:lnTo>
                  <a:lnTo>
                    <a:pt x="72" y="84"/>
                  </a:lnTo>
                  <a:lnTo>
                    <a:pt x="72" y="86"/>
                  </a:lnTo>
                  <a:lnTo>
                    <a:pt x="78" y="94"/>
                  </a:lnTo>
                  <a:lnTo>
                    <a:pt x="84" y="100"/>
                  </a:lnTo>
                  <a:lnTo>
                    <a:pt x="88" y="100"/>
                  </a:lnTo>
                  <a:lnTo>
                    <a:pt x="90" y="98"/>
                  </a:lnTo>
                  <a:lnTo>
                    <a:pt x="94" y="96"/>
                  </a:lnTo>
                  <a:lnTo>
                    <a:pt x="102" y="100"/>
                  </a:lnTo>
                  <a:lnTo>
                    <a:pt x="106" y="102"/>
                  </a:lnTo>
                  <a:lnTo>
                    <a:pt x="108" y="104"/>
                  </a:lnTo>
                  <a:lnTo>
                    <a:pt x="114" y="100"/>
                  </a:lnTo>
                  <a:lnTo>
                    <a:pt x="116" y="92"/>
                  </a:lnTo>
                  <a:lnTo>
                    <a:pt x="116" y="88"/>
                  </a:lnTo>
                  <a:lnTo>
                    <a:pt x="116" y="84"/>
                  </a:lnTo>
                  <a:lnTo>
                    <a:pt x="118" y="82"/>
                  </a:lnTo>
                  <a:lnTo>
                    <a:pt x="120" y="76"/>
                  </a:lnTo>
                  <a:lnTo>
                    <a:pt x="114" y="78"/>
                  </a:lnTo>
                  <a:lnTo>
                    <a:pt x="116" y="76"/>
                  </a:lnTo>
                  <a:lnTo>
                    <a:pt x="116" y="72"/>
                  </a:lnTo>
                  <a:lnTo>
                    <a:pt x="118" y="72"/>
                  </a:lnTo>
                  <a:lnTo>
                    <a:pt x="128" y="66"/>
                  </a:lnTo>
                  <a:lnTo>
                    <a:pt x="136" y="64"/>
                  </a:lnTo>
                  <a:lnTo>
                    <a:pt x="136" y="66"/>
                  </a:lnTo>
                  <a:lnTo>
                    <a:pt x="138" y="66"/>
                  </a:lnTo>
                  <a:lnTo>
                    <a:pt x="140" y="64"/>
                  </a:lnTo>
                  <a:lnTo>
                    <a:pt x="142" y="56"/>
                  </a:lnTo>
                  <a:lnTo>
                    <a:pt x="142" y="46"/>
                  </a:lnTo>
                  <a:lnTo>
                    <a:pt x="138" y="44"/>
                  </a:lnTo>
                  <a:lnTo>
                    <a:pt x="136" y="42"/>
                  </a:lnTo>
                  <a:lnTo>
                    <a:pt x="134" y="40"/>
                  </a:lnTo>
                  <a:lnTo>
                    <a:pt x="134" y="38"/>
                  </a:lnTo>
                  <a:lnTo>
                    <a:pt x="134" y="34"/>
                  </a:lnTo>
                  <a:lnTo>
                    <a:pt x="138" y="30"/>
                  </a:lnTo>
                  <a:lnTo>
                    <a:pt x="140" y="30"/>
                  </a:lnTo>
                  <a:lnTo>
                    <a:pt x="146" y="28"/>
                  </a:lnTo>
                  <a:lnTo>
                    <a:pt x="160" y="22"/>
                  </a:lnTo>
                  <a:lnTo>
                    <a:pt x="164" y="18"/>
                  </a:lnTo>
                  <a:lnTo>
                    <a:pt x="164" y="16"/>
                  </a:lnTo>
                  <a:lnTo>
                    <a:pt x="168" y="12"/>
                  </a:lnTo>
                  <a:lnTo>
                    <a:pt x="176" y="12"/>
                  </a:lnTo>
                  <a:lnTo>
                    <a:pt x="176" y="4"/>
                  </a:lnTo>
                  <a:lnTo>
                    <a:pt x="176" y="2"/>
                  </a:lnTo>
                  <a:lnTo>
                    <a:pt x="178" y="2"/>
                  </a:lnTo>
                  <a:lnTo>
                    <a:pt x="180" y="0"/>
                  </a:lnTo>
                  <a:lnTo>
                    <a:pt x="184" y="0"/>
                  </a:lnTo>
                  <a:lnTo>
                    <a:pt x="188" y="2"/>
                  </a:lnTo>
                  <a:lnTo>
                    <a:pt x="192" y="2"/>
                  </a:lnTo>
                  <a:lnTo>
                    <a:pt x="192" y="4"/>
                  </a:lnTo>
                  <a:lnTo>
                    <a:pt x="196" y="6"/>
                  </a:lnTo>
                  <a:lnTo>
                    <a:pt x="198" y="6"/>
                  </a:lnTo>
                  <a:lnTo>
                    <a:pt x="200" y="6"/>
                  </a:lnTo>
                  <a:lnTo>
                    <a:pt x="202" y="6"/>
                  </a:lnTo>
                  <a:lnTo>
                    <a:pt x="210" y="14"/>
                  </a:lnTo>
                  <a:lnTo>
                    <a:pt x="212" y="14"/>
                  </a:lnTo>
                  <a:lnTo>
                    <a:pt x="216" y="18"/>
                  </a:lnTo>
                  <a:lnTo>
                    <a:pt x="216" y="20"/>
                  </a:lnTo>
                  <a:lnTo>
                    <a:pt x="216" y="22"/>
                  </a:lnTo>
                  <a:lnTo>
                    <a:pt x="218" y="26"/>
                  </a:lnTo>
                  <a:lnTo>
                    <a:pt x="220" y="26"/>
                  </a:lnTo>
                  <a:lnTo>
                    <a:pt x="222" y="28"/>
                  </a:lnTo>
                  <a:lnTo>
                    <a:pt x="226" y="30"/>
                  </a:lnTo>
                  <a:lnTo>
                    <a:pt x="232" y="32"/>
                  </a:lnTo>
                  <a:lnTo>
                    <a:pt x="236" y="34"/>
                  </a:lnTo>
                  <a:lnTo>
                    <a:pt x="238" y="40"/>
                  </a:lnTo>
                  <a:lnTo>
                    <a:pt x="240" y="44"/>
                  </a:lnTo>
                  <a:lnTo>
                    <a:pt x="240" y="46"/>
                  </a:lnTo>
                  <a:lnTo>
                    <a:pt x="244" y="52"/>
                  </a:lnTo>
                  <a:lnTo>
                    <a:pt x="246" y="52"/>
                  </a:lnTo>
                  <a:lnTo>
                    <a:pt x="250" y="54"/>
                  </a:lnTo>
                  <a:lnTo>
                    <a:pt x="252" y="54"/>
                  </a:lnTo>
                  <a:lnTo>
                    <a:pt x="254" y="52"/>
                  </a:lnTo>
                  <a:lnTo>
                    <a:pt x="262" y="54"/>
                  </a:lnTo>
                  <a:lnTo>
                    <a:pt x="264" y="56"/>
                  </a:lnTo>
                  <a:lnTo>
                    <a:pt x="266" y="58"/>
                  </a:lnTo>
                  <a:lnTo>
                    <a:pt x="266" y="62"/>
                  </a:lnTo>
                  <a:lnTo>
                    <a:pt x="280" y="68"/>
                  </a:lnTo>
                  <a:lnTo>
                    <a:pt x="288" y="66"/>
                  </a:lnTo>
                  <a:lnTo>
                    <a:pt x="298" y="66"/>
                  </a:lnTo>
                  <a:lnTo>
                    <a:pt x="300" y="66"/>
                  </a:lnTo>
                  <a:lnTo>
                    <a:pt x="302" y="66"/>
                  </a:lnTo>
                  <a:lnTo>
                    <a:pt x="304" y="68"/>
                  </a:lnTo>
                  <a:lnTo>
                    <a:pt x="310" y="68"/>
                  </a:lnTo>
                  <a:lnTo>
                    <a:pt x="314" y="68"/>
                  </a:lnTo>
                  <a:lnTo>
                    <a:pt x="316" y="68"/>
                  </a:lnTo>
                  <a:lnTo>
                    <a:pt x="324" y="64"/>
                  </a:lnTo>
                  <a:lnTo>
                    <a:pt x="326" y="62"/>
                  </a:lnTo>
                  <a:lnTo>
                    <a:pt x="328" y="60"/>
                  </a:lnTo>
                  <a:lnTo>
                    <a:pt x="334" y="54"/>
                  </a:lnTo>
                  <a:lnTo>
                    <a:pt x="338" y="54"/>
                  </a:lnTo>
                  <a:lnTo>
                    <a:pt x="340" y="54"/>
                  </a:lnTo>
                  <a:lnTo>
                    <a:pt x="340" y="52"/>
                  </a:lnTo>
                  <a:lnTo>
                    <a:pt x="342" y="56"/>
                  </a:lnTo>
                  <a:lnTo>
                    <a:pt x="344" y="60"/>
                  </a:lnTo>
                  <a:lnTo>
                    <a:pt x="348" y="62"/>
                  </a:lnTo>
                  <a:lnTo>
                    <a:pt x="350" y="64"/>
                  </a:lnTo>
                  <a:lnTo>
                    <a:pt x="350" y="76"/>
                  </a:lnTo>
                  <a:lnTo>
                    <a:pt x="348" y="78"/>
                  </a:lnTo>
                  <a:lnTo>
                    <a:pt x="348" y="80"/>
                  </a:lnTo>
                  <a:lnTo>
                    <a:pt x="348" y="84"/>
                  </a:lnTo>
                  <a:lnTo>
                    <a:pt x="348" y="86"/>
                  </a:lnTo>
                  <a:lnTo>
                    <a:pt x="350" y="86"/>
                  </a:lnTo>
                  <a:lnTo>
                    <a:pt x="352" y="86"/>
                  </a:lnTo>
                  <a:lnTo>
                    <a:pt x="354" y="84"/>
                  </a:lnTo>
                  <a:lnTo>
                    <a:pt x="360" y="88"/>
                  </a:lnTo>
                  <a:lnTo>
                    <a:pt x="360" y="90"/>
                  </a:lnTo>
                  <a:lnTo>
                    <a:pt x="358" y="92"/>
                  </a:lnTo>
                  <a:lnTo>
                    <a:pt x="356" y="90"/>
                  </a:lnTo>
                  <a:lnTo>
                    <a:pt x="354" y="92"/>
                  </a:lnTo>
                  <a:lnTo>
                    <a:pt x="352" y="100"/>
                  </a:lnTo>
                  <a:lnTo>
                    <a:pt x="362" y="108"/>
                  </a:lnTo>
                  <a:lnTo>
                    <a:pt x="364" y="108"/>
                  </a:lnTo>
                  <a:lnTo>
                    <a:pt x="368" y="110"/>
                  </a:lnTo>
                  <a:lnTo>
                    <a:pt x="372" y="112"/>
                  </a:lnTo>
                  <a:lnTo>
                    <a:pt x="372" y="114"/>
                  </a:lnTo>
                  <a:lnTo>
                    <a:pt x="376" y="114"/>
                  </a:lnTo>
                  <a:lnTo>
                    <a:pt x="378" y="114"/>
                  </a:lnTo>
                  <a:lnTo>
                    <a:pt x="380" y="114"/>
                  </a:lnTo>
                  <a:lnTo>
                    <a:pt x="382" y="114"/>
                  </a:lnTo>
                  <a:lnTo>
                    <a:pt x="382" y="118"/>
                  </a:lnTo>
                  <a:lnTo>
                    <a:pt x="378" y="118"/>
                  </a:lnTo>
                  <a:lnTo>
                    <a:pt x="372" y="118"/>
                  </a:lnTo>
                  <a:lnTo>
                    <a:pt x="368" y="116"/>
                  </a:lnTo>
                  <a:lnTo>
                    <a:pt x="366" y="116"/>
                  </a:lnTo>
                  <a:lnTo>
                    <a:pt x="362" y="126"/>
                  </a:lnTo>
                  <a:lnTo>
                    <a:pt x="364" y="132"/>
                  </a:lnTo>
                  <a:lnTo>
                    <a:pt x="360" y="142"/>
                  </a:lnTo>
                  <a:lnTo>
                    <a:pt x="356" y="144"/>
                  </a:lnTo>
                  <a:lnTo>
                    <a:pt x="358" y="146"/>
                  </a:lnTo>
                  <a:lnTo>
                    <a:pt x="360" y="14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3" name="Freeform 2647"/>
            <p:cNvSpPr>
              <a:spLocks/>
            </p:cNvSpPr>
            <p:nvPr/>
          </p:nvSpPr>
          <p:spPr bwMode="auto">
            <a:xfrm>
              <a:off x="2602" y="2700"/>
              <a:ext cx="24" cy="28"/>
            </a:xfrm>
            <a:custGeom>
              <a:avLst/>
              <a:gdLst/>
              <a:ahLst/>
              <a:cxnLst>
                <a:cxn ang="0">
                  <a:pos x="20" y="28"/>
                </a:cxn>
                <a:cxn ang="0">
                  <a:pos x="18" y="28"/>
                </a:cxn>
                <a:cxn ang="0">
                  <a:pos x="16" y="26"/>
                </a:cxn>
                <a:cxn ang="0">
                  <a:pos x="12" y="26"/>
                </a:cxn>
                <a:cxn ang="0">
                  <a:pos x="2" y="18"/>
                </a:cxn>
                <a:cxn ang="0">
                  <a:pos x="0" y="16"/>
                </a:cxn>
                <a:cxn ang="0">
                  <a:pos x="0" y="14"/>
                </a:cxn>
                <a:cxn ang="0">
                  <a:pos x="6" y="0"/>
                </a:cxn>
                <a:cxn ang="0">
                  <a:pos x="8" y="0"/>
                </a:cxn>
                <a:cxn ang="0">
                  <a:pos x="10" y="0"/>
                </a:cxn>
                <a:cxn ang="0">
                  <a:pos x="14" y="10"/>
                </a:cxn>
                <a:cxn ang="0">
                  <a:pos x="16" y="16"/>
                </a:cxn>
                <a:cxn ang="0">
                  <a:pos x="22" y="22"/>
                </a:cxn>
                <a:cxn ang="0">
                  <a:pos x="24" y="22"/>
                </a:cxn>
                <a:cxn ang="0">
                  <a:pos x="24" y="24"/>
                </a:cxn>
                <a:cxn ang="0">
                  <a:pos x="24" y="26"/>
                </a:cxn>
                <a:cxn ang="0">
                  <a:pos x="20" y="28"/>
                </a:cxn>
              </a:cxnLst>
              <a:rect l="0" t="0" r="r" b="b"/>
              <a:pathLst>
                <a:path w="24" h="28">
                  <a:moveTo>
                    <a:pt x="20" y="28"/>
                  </a:moveTo>
                  <a:lnTo>
                    <a:pt x="18" y="28"/>
                  </a:lnTo>
                  <a:lnTo>
                    <a:pt x="16" y="26"/>
                  </a:lnTo>
                  <a:lnTo>
                    <a:pt x="12" y="26"/>
                  </a:lnTo>
                  <a:lnTo>
                    <a:pt x="2" y="18"/>
                  </a:lnTo>
                  <a:lnTo>
                    <a:pt x="0" y="16"/>
                  </a:lnTo>
                  <a:lnTo>
                    <a:pt x="0" y="14"/>
                  </a:lnTo>
                  <a:lnTo>
                    <a:pt x="6" y="0"/>
                  </a:lnTo>
                  <a:lnTo>
                    <a:pt x="8" y="0"/>
                  </a:lnTo>
                  <a:lnTo>
                    <a:pt x="10" y="0"/>
                  </a:lnTo>
                  <a:lnTo>
                    <a:pt x="14" y="10"/>
                  </a:lnTo>
                  <a:lnTo>
                    <a:pt x="16" y="16"/>
                  </a:lnTo>
                  <a:lnTo>
                    <a:pt x="22" y="22"/>
                  </a:lnTo>
                  <a:lnTo>
                    <a:pt x="24" y="22"/>
                  </a:lnTo>
                  <a:lnTo>
                    <a:pt x="24" y="24"/>
                  </a:lnTo>
                  <a:lnTo>
                    <a:pt x="24" y="26"/>
                  </a:lnTo>
                  <a:lnTo>
                    <a:pt x="20"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4" name="Freeform 2648"/>
            <p:cNvSpPr>
              <a:spLocks/>
            </p:cNvSpPr>
            <p:nvPr/>
          </p:nvSpPr>
          <p:spPr bwMode="auto">
            <a:xfrm>
              <a:off x="2592" y="2706"/>
              <a:ext cx="16" cy="52"/>
            </a:xfrm>
            <a:custGeom>
              <a:avLst/>
              <a:gdLst/>
              <a:ahLst/>
              <a:cxnLst>
                <a:cxn ang="0">
                  <a:pos x="12" y="52"/>
                </a:cxn>
                <a:cxn ang="0">
                  <a:pos x="10" y="50"/>
                </a:cxn>
                <a:cxn ang="0">
                  <a:pos x="6" y="44"/>
                </a:cxn>
                <a:cxn ang="0">
                  <a:pos x="2" y="30"/>
                </a:cxn>
                <a:cxn ang="0">
                  <a:pos x="4" y="24"/>
                </a:cxn>
                <a:cxn ang="0">
                  <a:pos x="6" y="24"/>
                </a:cxn>
                <a:cxn ang="0">
                  <a:pos x="6" y="20"/>
                </a:cxn>
                <a:cxn ang="0">
                  <a:pos x="4" y="12"/>
                </a:cxn>
                <a:cxn ang="0">
                  <a:pos x="2" y="10"/>
                </a:cxn>
                <a:cxn ang="0">
                  <a:pos x="0" y="6"/>
                </a:cxn>
                <a:cxn ang="0">
                  <a:pos x="0" y="4"/>
                </a:cxn>
                <a:cxn ang="0">
                  <a:pos x="2" y="0"/>
                </a:cxn>
                <a:cxn ang="0">
                  <a:pos x="4" y="0"/>
                </a:cxn>
                <a:cxn ang="0">
                  <a:pos x="6" y="2"/>
                </a:cxn>
                <a:cxn ang="0">
                  <a:pos x="6" y="4"/>
                </a:cxn>
                <a:cxn ang="0">
                  <a:pos x="4" y="4"/>
                </a:cxn>
                <a:cxn ang="0">
                  <a:pos x="4" y="6"/>
                </a:cxn>
                <a:cxn ang="0">
                  <a:pos x="4" y="8"/>
                </a:cxn>
                <a:cxn ang="0">
                  <a:pos x="6" y="12"/>
                </a:cxn>
                <a:cxn ang="0">
                  <a:pos x="8" y="16"/>
                </a:cxn>
                <a:cxn ang="0">
                  <a:pos x="10" y="18"/>
                </a:cxn>
                <a:cxn ang="0">
                  <a:pos x="10" y="32"/>
                </a:cxn>
                <a:cxn ang="0">
                  <a:pos x="12" y="40"/>
                </a:cxn>
                <a:cxn ang="0">
                  <a:pos x="14" y="46"/>
                </a:cxn>
                <a:cxn ang="0">
                  <a:pos x="16" y="50"/>
                </a:cxn>
                <a:cxn ang="0">
                  <a:pos x="14" y="52"/>
                </a:cxn>
                <a:cxn ang="0">
                  <a:pos x="12" y="52"/>
                </a:cxn>
              </a:cxnLst>
              <a:rect l="0" t="0" r="r" b="b"/>
              <a:pathLst>
                <a:path w="16" h="52">
                  <a:moveTo>
                    <a:pt x="12" y="52"/>
                  </a:moveTo>
                  <a:lnTo>
                    <a:pt x="10" y="50"/>
                  </a:lnTo>
                  <a:lnTo>
                    <a:pt x="6" y="44"/>
                  </a:lnTo>
                  <a:lnTo>
                    <a:pt x="2" y="30"/>
                  </a:lnTo>
                  <a:lnTo>
                    <a:pt x="4" y="24"/>
                  </a:lnTo>
                  <a:lnTo>
                    <a:pt x="6" y="24"/>
                  </a:lnTo>
                  <a:lnTo>
                    <a:pt x="6" y="20"/>
                  </a:lnTo>
                  <a:lnTo>
                    <a:pt x="4" y="12"/>
                  </a:lnTo>
                  <a:lnTo>
                    <a:pt x="2" y="10"/>
                  </a:lnTo>
                  <a:lnTo>
                    <a:pt x="0" y="6"/>
                  </a:lnTo>
                  <a:lnTo>
                    <a:pt x="0" y="4"/>
                  </a:lnTo>
                  <a:lnTo>
                    <a:pt x="2" y="0"/>
                  </a:lnTo>
                  <a:lnTo>
                    <a:pt x="4" y="0"/>
                  </a:lnTo>
                  <a:lnTo>
                    <a:pt x="6" y="2"/>
                  </a:lnTo>
                  <a:lnTo>
                    <a:pt x="6" y="4"/>
                  </a:lnTo>
                  <a:lnTo>
                    <a:pt x="4" y="4"/>
                  </a:lnTo>
                  <a:lnTo>
                    <a:pt x="4" y="6"/>
                  </a:lnTo>
                  <a:lnTo>
                    <a:pt x="4" y="8"/>
                  </a:lnTo>
                  <a:lnTo>
                    <a:pt x="6" y="12"/>
                  </a:lnTo>
                  <a:lnTo>
                    <a:pt x="8" y="16"/>
                  </a:lnTo>
                  <a:lnTo>
                    <a:pt x="10" y="18"/>
                  </a:lnTo>
                  <a:lnTo>
                    <a:pt x="10" y="32"/>
                  </a:lnTo>
                  <a:lnTo>
                    <a:pt x="12" y="40"/>
                  </a:lnTo>
                  <a:lnTo>
                    <a:pt x="14" y="46"/>
                  </a:lnTo>
                  <a:lnTo>
                    <a:pt x="16" y="50"/>
                  </a:lnTo>
                  <a:lnTo>
                    <a:pt x="14" y="52"/>
                  </a:lnTo>
                  <a:lnTo>
                    <a:pt x="12" y="5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5" name="Freeform 2649"/>
            <p:cNvSpPr>
              <a:spLocks/>
            </p:cNvSpPr>
            <p:nvPr/>
          </p:nvSpPr>
          <p:spPr bwMode="auto">
            <a:xfrm>
              <a:off x="2594" y="2750"/>
              <a:ext cx="14" cy="20"/>
            </a:xfrm>
            <a:custGeom>
              <a:avLst/>
              <a:gdLst/>
              <a:ahLst/>
              <a:cxnLst>
                <a:cxn ang="0">
                  <a:pos x="12" y="20"/>
                </a:cxn>
                <a:cxn ang="0">
                  <a:pos x="4" y="10"/>
                </a:cxn>
                <a:cxn ang="0">
                  <a:pos x="2" y="4"/>
                </a:cxn>
                <a:cxn ang="0">
                  <a:pos x="0" y="0"/>
                </a:cxn>
                <a:cxn ang="0">
                  <a:pos x="4" y="0"/>
                </a:cxn>
                <a:cxn ang="0">
                  <a:pos x="4" y="2"/>
                </a:cxn>
                <a:cxn ang="0">
                  <a:pos x="4" y="4"/>
                </a:cxn>
                <a:cxn ang="0">
                  <a:pos x="4" y="6"/>
                </a:cxn>
                <a:cxn ang="0">
                  <a:pos x="6" y="8"/>
                </a:cxn>
                <a:cxn ang="0">
                  <a:pos x="6" y="10"/>
                </a:cxn>
                <a:cxn ang="0">
                  <a:pos x="10" y="14"/>
                </a:cxn>
                <a:cxn ang="0">
                  <a:pos x="12" y="16"/>
                </a:cxn>
                <a:cxn ang="0">
                  <a:pos x="12" y="18"/>
                </a:cxn>
                <a:cxn ang="0">
                  <a:pos x="14" y="18"/>
                </a:cxn>
                <a:cxn ang="0">
                  <a:pos x="12" y="20"/>
                </a:cxn>
              </a:cxnLst>
              <a:rect l="0" t="0" r="r" b="b"/>
              <a:pathLst>
                <a:path w="14" h="20">
                  <a:moveTo>
                    <a:pt x="12" y="20"/>
                  </a:moveTo>
                  <a:lnTo>
                    <a:pt x="4" y="10"/>
                  </a:lnTo>
                  <a:lnTo>
                    <a:pt x="2" y="4"/>
                  </a:lnTo>
                  <a:lnTo>
                    <a:pt x="0" y="0"/>
                  </a:lnTo>
                  <a:lnTo>
                    <a:pt x="4" y="0"/>
                  </a:lnTo>
                  <a:lnTo>
                    <a:pt x="4" y="2"/>
                  </a:lnTo>
                  <a:lnTo>
                    <a:pt x="4" y="4"/>
                  </a:lnTo>
                  <a:lnTo>
                    <a:pt x="4" y="6"/>
                  </a:lnTo>
                  <a:lnTo>
                    <a:pt x="6" y="8"/>
                  </a:lnTo>
                  <a:lnTo>
                    <a:pt x="6" y="10"/>
                  </a:lnTo>
                  <a:lnTo>
                    <a:pt x="10" y="14"/>
                  </a:lnTo>
                  <a:lnTo>
                    <a:pt x="12" y="16"/>
                  </a:lnTo>
                  <a:lnTo>
                    <a:pt x="12" y="18"/>
                  </a:lnTo>
                  <a:lnTo>
                    <a:pt x="14" y="18"/>
                  </a:lnTo>
                  <a:lnTo>
                    <a:pt x="12"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6" name="Freeform 2650"/>
            <p:cNvSpPr>
              <a:spLocks/>
            </p:cNvSpPr>
            <p:nvPr/>
          </p:nvSpPr>
          <p:spPr bwMode="auto">
            <a:xfrm>
              <a:off x="2622" y="2750"/>
              <a:ext cx="34" cy="38"/>
            </a:xfrm>
            <a:custGeom>
              <a:avLst/>
              <a:gdLst/>
              <a:ahLst/>
              <a:cxnLst>
                <a:cxn ang="0">
                  <a:pos x="0" y="0"/>
                </a:cxn>
                <a:cxn ang="0">
                  <a:pos x="8" y="8"/>
                </a:cxn>
                <a:cxn ang="0">
                  <a:pos x="10" y="8"/>
                </a:cxn>
                <a:cxn ang="0">
                  <a:pos x="12" y="8"/>
                </a:cxn>
                <a:cxn ang="0">
                  <a:pos x="14" y="12"/>
                </a:cxn>
                <a:cxn ang="0">
                  <a:pos x="20" y="16"/>
                </a:cxn>
                <a:cxn ang="0">
                  <a:pos x="22" y="20"/>
                </a:cxn>
                <a:cxn ang="0">
                  <a:pos x="20" y="20"/>
                </a:cxn>
                <a:cxn ang="0">
                  <a:pos x="18" y="18"/>
                </a:cxn>
                <a:cxn ang="0">
                  <a:pos x="14" y="16"/>
                </a:cxn>
                <a:cxn ang="0">
                  <a:pos x="18" y="20"/>
                </a:cxn>
                <a:cxn ang="0">
                  <a:pos x="20" y="22"/>
                </a:cxn>
                <a:cxn ang="0">
                  <a:pos x="18" y="20"/>
                </a:cxn>
                <a:cxn ang="0">
                  <a:pos x="20" y="20"/>
                </a:cxn>
                <a:cxn ang="0">
                  <a:pos x="22" y="22"/>
                </a:cxn>
                <a:cxn ang="0">
                  <a:pos x="24" y="24"/>
                </a:cxn>
                <a:cxn ang="0">
                  <a:pos x="32" y="32"/>
                </a:cxn>
                <a:cxn ang="0">
                  <a:pos x="34" y="34"/>
                </a:cxn>
                <a:cxn ang="0">
                  <a:pos x="30" y="36"/>
                </a:cxn>
                <a:cxn ang="0">
                  <a:pos x="28" y="38"/>
                </a:cxn>
                <a:cxn ang="0">
                  <a:pos x="26" y="36"/>
                </a:cxn>
                <a:cxn ang="0">
                  <a:pos x="24" y="34"/>
                </a:cxn>
                <a:cxn ang="0">
                  <a:pos x="22" y="34"/>
                </a:cxn>
                <a:cxn ang="0">
                  <a:pos x="18" y="26"/>
                </a:cxn>
                <a:cxn ang="0">
                  <a:pos x="18" y="24"/>
                </a:cxn>
                <a:cxn ang="0">
                  <a:pos x="10" y="18"/>
                </a:cxn>
                <a:cxn ang="0">
                  <a:pos x="0" y="2"/>
                </a:cxn>
                <a:cxn ang="0">
                  <a:pos x="0" y="0"/>
                </a:cxn>
              </a:cxnLst>
              <a:rect l="0" t="0" r="r" b="b"/>
              <a:pathLst>
                <a:path w="34" h="38">
                  <a:moveTo>
                    <a:pt x="0" y="0"/>
                  </a:moveTo>
                  <a:lnTo>
                    <a:pt x="8" y="8"/>
                  </a:lnTo>
                  <a:lnTo>
                    <a:pt x="10" y="8"/>
                  </a:lnTo>
                  <a:lnTo>
                    <a:pt x="12" y="8"/>
                  </a:lnTo>
                  <a:lnTo>
                    <a:pt x="14" y="12"/>
                  </a:lnTo>
                  <a:lnTo>
                    <a:pt x="20" y="16"/>
                  </a:lnTo>
                  <a:lnTo>
                    <a:pt x="22" y="20"/>
                  </a:lnTo>
                  <a:lnTo>
                    <a:pt x="20" y="20"/>
                  </a:lnTo>
                  <a:lnTo>
                    <a:pt x="18" y="18"/>
                  </a:lnTo>
                  <a:lnTo>
                    <a:pt x="14" y="16"/>
                  </a:lnTo>
                  <a:lnTo>
                    <a:pt x="18" y="20"/>
                  </a:lnTo>
                  <a:lnTo>
                    <a:pt x="20" y="22"/>
                  </a:lnTo>
                  <a:lnTo>
                    <a:pt x="18" y="20"/>
                  </a:lnTo>
                  <a:lnTo>
                    <a:pt x="20" y="20"/>
                  </a:lnTo>
                  <a:lnTo>
                    <a:pt x="22" y="22"/>
                  </a:lnTo>
                  <a:lnTo>
                    <a:pt x="24" y="24"/>
                  </a:lnTo>
                  <a:lnTo>
                    <a:pt x="32" y="32"/>
                  </a:lnTo>
                  <a:lnTo>
                    <a:pt x="34" y="34"/>
                  </a:lnTo>
                  <a:lnTo>
                    <a:pt x="30" y="36"/>
                  </a:lnTo>
                  <a:lnTo>
                    <a:pt x="28" y="38"/>
                  </a:lnTo>
                  <a:lnTo>
                    <a:pt x="26" y="36"/>
                  </a:lnTo>
                  <a:lnTo>
                    <a:pt x="24" y="34"/>
                  </a:lnTo>
                  <a:lnTo>
                    <a:pt x="22" y="34"/>
                  </a:lnTo>
                  <a:lnTo>
                    <a:pt x="18" y="26"/>
                  </a:lnTo>
                  <a:lnTo>
                    <a:pt x="18" y="24"/>
                  </a:lnTo>
                  <a:lnTo>
                    <a:pt x="10" y="18"/>
                  </a:lnTo>
                  <a:lnTo>
                    <a:pt x="0" y="2"/>
                  </a:lnTo>
                  <a:lnTo>
                    <a:pt x="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7" name="Freeform 2651"/>
            <p:cNvSpPr>
              <a:spLocks/>
            </p:cNvSpPr>
            <p:nvPr/>
          </p:nvSpPr>
          <p:spPr bwMode="auto">
            <a:xfrm>
              <a:off x="2628" y="2798"/>
              <a:ext cx="26" cy="28"/>
            </a:xfrm>
            <a:custGeom>
              <a:avLst/>
              <a:gdLst/>
              <a:ahLst/>
              <a:cxnLst>
                <a:cxn ang="0">
                  <a:pos x="24" y="28"/>
                </a:cxn>
                <a:cxn ang="0">
                  <a:pos x="22" y="28"/>
                </a:cxn>
                <a:cxn ang="0">
                  <a:pos x="20" y="26"/>
                </a:cxn>
                <a:cxn ang="0">
                  <a:pos x="18" y="24"/>
                </a:cxn>
                <a:cxn ang="0">
                  <a:pos x="16" y="22"/>
                </a:cxn>
                <a:cxn ang="0">
                  <a:pos x="16" y="20"/>
                </a:cxn>
                <a:cxn ang="0">
                  <a:pos x="14" y="18"/>
                </a:cxn>
                <a:cxn ang="0">
                  <a:pos x="12" y="16"/>
                </a:cxn>
                <a:cxn ang="0">
                  <a:pos x="12" y="14"/>
                </a:cxn>
                <a:cxn ang="0">
                  <a:pos x="10" y="10"/>
                </a:cxn>
                <a:cxn ang="0">
                  <a:pos x="8" y="10"/>
                </a:cxn>
                <a:cxn ang="0">
                  <a:pos x="4" y="6"/>
                </a:cxn>
                <a:cxn ang="0">
                  <a:pos x="2" y="4"/>
                </a:cxn>
                <a:cxn ang="0">
                  <a:pos x="2" y="2"/>
                </a:cxn>
                <a:cxn ang="0">
                  <a:pos x="0" y="0"/>
                </a:cxn>
                <a:cxn ang="0">
                  <a:pos x="10" y="8"/>
                </a:cxn>
                <a:cxn ang="0">
                  <a:pos x="12" y="14"/>
                </a:cxn>
                <a:cxn ang="0">
                  <a:pos x="14" y="14"/>
                </a:cxn>
                <a:cxn ang="0">
                  <a:pos x="16" y="18"/>
                </a:cxn>
                <a:cxn ang="0">
                  <a:pos x="20" y="20"/>
                </a:cxn>
                <a:cxn ang="0">
                  <a:pos x="24" y="24"/>
                </a:cxn>
                <a:cxn ang="0">
                  <a:pos x="26" y="26"/>
                </a:cxn>
                <a:cxn ang="0">
                  <a:pos x="24" y="26"/>
                </a:cxn>
                <a:cxn ang="0">
                  <a:pos x="24" y="28"/>
                </a:cxn>
              </a:cxnLst>
              <a:rect l="0" t="0" r="r" b="b"/>
              <a:pathLst>
                <a:path w="26" h="28">
                  <a:moveTo>
                    <a:pt x="24" y="28"/>
                  </a:moveTo>
                  <a:lnTo>
                    <a:pt x="22" y="28"/>
                  </a:lnTo>
                  <a:lnTo>
                    <a:pt x="20" y="26"/>
                  </a:lnTo>
                  <a:lnTo>
                    <a:pt x="18" y="24"/>
                  </a:lnTo>
                  <a:lnTo>
                    <a:pt x="16" y="22"/>
                  </a:lnTo>
                  <a:lnTo>
                    <a:pt x="16" y="20"/>
                  </a:lnTo>
                  <a:lnTo>
                    <a:pt x="14" y="18"/>
                  </a:lnTo>
                  <a:lnTo>
                    <a:pt x="12" y="16"/>
                  </a:lnTo>
                  <a:lnTo>
                    <a:pt x="12" y="14"/>
                  </a:lnTo>
                  <a:lnTo>
                    <a:pt x="10" y="10"/>
                  </a:lnTo>
                  <a:lnTo>
                    <a:pt x="8" y="10"/>
                  </a:lnTo>
                  <a:lnTo>
                    <a:pt x="4" y="6"/>
                  </a:lnTo>
                  <a:lnTo>
                    <a:pt x="2" y="4"/>
                  </a:lnTo>
                  <a:lnTo>
                    <a:pt x="2" y="2"/>
                  </a:lnTo>
                  <a:lnTo>
                    <a:pt x="0" y="0"/>
                  </a:lnTo>
                  <a:lnTo>
                    <a:pt x="10" y="8"/>
                  </a:lnTo>
                  <a:lnTo>
                    <a:pt x="12" y="14"/>
                  </a:lnTo>
                  <a:lnTo>
                    <a:pt x="14" y="14"/>
                  </a:lnTo>
                  <a:lnTo>
                    <a:pt x="16" y="18"/>
                  </a:lnTo>
                  <a:lnTo>
                    <a:pt x="20" y="20"/>
                  </a:lnTo>
                  <a:lnTo>
                    <a:pt x="24" y="24"/>
                  </a:lnTo>
                  <a:lnTo>
                    <a:pt x="26" y="26"/>
                  </a:lnTo>
                  <a:lnTo>
                    <a:pt x="24" y="26"/>
                  </a:lnTo>
                  <a:lnTo>
                    <a:pt x="24"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8" name="Freeform 2652"/>
            <p:cNvSpPr>
              <a:spLocks/>
            </p:cNvSpPr>
            <p:nvPr/>
          </p:nvSpPr>
          <p:spPr bwMode="auto">
            <a:xfrm>
              <a:off x="2732" y="2870"/>
              <a:ext cx="32" cy="12"/>
            </a:xfrm>
            <a:custGeom>
              <a:avLst/>
              <a:gdLst/>
              <a:ahLst/>
              <a:cxnLst>
                <a:cxn ang="0">
                  <a:pos x="18" y="10"/>
                </a:cxn>
                <a:cxn ang="0">
                  <a:pos x="16" y="12"/>
                </a:cxn>
                <a:cxn ang="0">
                  <a:pos x="12" y="10"/>
                </a:cxn>
                <a:cxn ang="0">
                  <a:pos x="8" y="10"/>
                </a:cxn>
                <a:cxn ang="0">
                  <a:pos x="6" y="8"/>
                </a:cxn>
                <a:cxn ang="0">
                  <a:pos x="2" y="6"/>
                </a:cxn>
                <a:cxn ang="0">
                  <a:pos x="0" y="6"/>
                </a:cxn>
                <a:cxn ang="0">
                  <a:pos x="2" y="0"/>
                </a:cxn>
                <a:cxn ang="0">
                  <a:pos x="14" y="0"/>
                </a:cxn>
                <a:cxn ang="0">
                  <a:pos x="20" y="0"/>
                </a:cxn>
                <a:cxn ang="0">
                  <a:pos x="24" y="2"/>
                </a:cxn>
                <a:cxn ang="0">
                  <a:pos x="26" y="2"/>
                </a:cxn>
                <a:cxn ang="0">
                  <a:pos x="32" y="6"/>
                </a:cxn>
                <a:cxn ang="0">
                  <a:pos x="32" y="8"/>
                </a:cxn>
                <a:cxn ang="0">
                  <a:pos x="30" y="10"/>
                </a:cxn>
                <a:cxn ang="0">
                  <a:pos x="28" y="10"/>
                </a:cxn>
                <a:cxn ang="0">
                  <a:pos x="26" y="10"/>
                </a:cxn>
                <a:cxn ang="0">
                  <a:pos x="22" y="10"/>
                </a:cxn>
                <a:cxn ang="0">
                  <a:pos x="20" y="10"/>
                </a:cxn>
                <a:cxn ang="0">
                  <a:pos x="18" y="10"/>
                </a:cxn>
              </a:cxnLst>
              <a:rect l="0" t="0" r="r" b="b"/>
              <a:pathLst>
                <a:path w="32" h="12">
                  <a:moveTo>
                    <a:pt x="18" y="10"/>
                  </a:moveTo>
                  <a:lnTo>
                    <a:pt x="16" y="12"/>
                  </a:lnTo>
                  <a:lnTo>
                    <a:pt x="12" y="10"/>
                  </a:lnTo>
                  <a:lnTo>
                    <a:pt x="8" y="10"/>
                  </a:lnTo>
                  <a:lnTo>
                    <a:pt x="6" y="8"/>
                  </a:lnTo>
                  <a:lnTo>
                    <a:pt x="2" y="6"/>
                  </a:lnTo>
                  <a:lnTo>
                    <a:pt x="0" y="6"/>
                  </a:lnTo>
                  <a:lnTo>
                    <a:pt x="2" y="0"/>
                  </a:lnTo>
                  <a:lnTo>
                    <a:pt x="14" y="0"/>
                  </a:lnTo>
                  <a:lnTo>
                    <a:pt x="20" y="0"/>
                  </a:lnTo>
                  <a:lnTo>
                    <a:pt x="24" y="2"/>
                  </a:lnTo>
                  <a:lnTo>
                    <a:pt x="26" y="2"/>
                  </a:lnTo>
                  <a:lnTo>
                    <a:pt x="32" y="6"/>
                  </a:lnTo>
                  <a:lnTo>
                    <a:pt x="32" y="8"/>
                  </a:lnTo>
                  <a:lnTo>
                    <a:pt x="30" y="10"/>
                  </a:lnTo>
                  <a:lnTo>
                    <a:pt x="28" y="10"/>
                  </a:lnTo>
                  <a:lnTo>
                    <a:pt x="26" y="10"/>
                  </a:lnTo>
                  <a:lnTo>
                    <a:pt x="22" y="10"/>
                  </a:lnTo>
                  <a:lnTo>
                    <a:pt x="20" y="10"/>
                  </a:lnTo>
                  <a:lnTo>
                    <a:pt x="1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9" name="Freeform 2653"/>
            <p:cNvSpPr>
              <a:spLocks/>
            </p:cNvSpPr>
            <p:nvPr/>
          </p:nvSpPr>
          <p:spPr bwMode="auto">
            <a:xfrm>
              <a:off x="2730" y="2886"/>
              <a:ext cx="50" cy="8"/>
            </a:xfrm>
            <a:custGeom>
              <a:avLst/>
              <a:gdLst/>
              <a:ahLst/>
              <a:cxnLst>
                <a:cxn ang="0">
                  <a:pos x="46" y="8"/>
                </a:cxn>
                <a:cxn ang="0">
                  <a:pos x="34" y="8"/>
                </a:cxn>
                <a:cxn ang="0">
                  <a:pos x="20" y="8"/>
                </a:cxn>
                <a:cxn ang="0">
                  <a:pos x="12" y="6"/>
                </a:cxn>
                <a:cxn ang="0">
                  <a:pos x="6" y="4"/>
                </a:cxn>
                <a:cxn ang="0">
                  <a:pos x="4" y="4"/>
                </a:cxn>
                <a:cxn ang="0">
                  <a:pos x="0" y="2"/>
                </a:cxn>
                <a:cxn ang="0">
                  <a:pos x="6" y="0"/>
                </a:cxn>
                <a:cxn ang="0">
                  <a:pos x="8" y="0"/>
                </a:cxn>
                <a:cxn ang="0">
                  <a:pos x="12" y="0"/>
                </a:cxn>
                <a:cxn ang="0">
                  <a:pos x="16" y="0"/>
                </a:cxn>
                <a:cxn ang="0">
                  <a:pos x="20" y="0"/>
                </a:cxn>
                <a:cxn ang="0">
                  <a:pos x="30" y="4"/>
                </a:cxn>
                <a:cxn ang="0">
                  <a:pos x="40" y="4"/>
                </a:cxn>
                <a:cxn ang="0">
                  <a:pos x="50" y="6"/>
                </a:cxn>
                <a:cxn ang="0">
                  <a:pos x="50" y="8"/>
                </a:cxn>
                <a:cxn ang="0">
                  <a:pos x="46" y="8"/>
                </a:cxn>
              </a:cxnLst>
              <a:rect l="0" t="0" r="r" b="b"/>
              <a:pathLst>
                <a:path w="50" h="8">
                  <a:moveTo>
                    <a:pt x="46" y="8"/>
                  </a:moveTo>
                  <a:lnTo>
                    <a:pt x="34" y="8"/>
                  </a:lnTo>
                  <a:lnTo>
                    <a:pt x="20" y="8"/>
                  </a:lnTo>
                  <a:lnTo>
                    <a:pt x="12" y="6"/>
                  </a:lnTo>
                  <a:lnTo>
                    <a:pt x="6" y="4"/>
                  </a:lnTo>
                  <a:lnTo>
                    <a:pt x="4" y="4"/>
                  </a:lnTo>
                  <a:lnTo>
                    <a:pt x="0" y="2"/>
                  </a:lnTo>
                  <a:lnTo>
                    <a:pt x="6" y="0"/>
                  </a:lnTo>
                  <a:lnTo>
                    <a:pt x="8" y="0"/>
                  </a:lnTo>
                  <a:lnTo>
                    <a:pt x="12" y="0"/>
                  </a:lnTo>
                  <a:lnTo>
                    <a:pt x="16" y="0"/>
                  </a:lnTo>
                  <a:lnTo>
                    <a:pt x="20" y="0"/>
                  </a:lnTo>
                  <a:lnTo>
                    <a:pt x="30" y="4"/>
                  </a:lnTo>
                  <a:lnTo>
                    <a:pt x="40" y="4"/>
                  </a:lnTo>
                  <a:lnTo>
                    <a:pt x="50" y="6"/>
                  </a:lnTo>
                  <a:lnTo>
                    <a:pt x="50" y="8"/>
                  </a:lnTo>
                  <a:lnTo>
                    <a:pt x="4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0" name="Freeform 2654"/>
            <p:cNvSpPr>
              <a:spLocks/>
            </p:cNvSpPr>
            <p:nvPr/>
          </p:nvSpPr>
          <p:spPr bwMode="auto">
            <a:xfrm>
              <a:off x="2708" y="2898"/>
              <a:ext cx="14" cy="6"/>
            </a:xfrm>
            <a:custGeom>
              <a:avLst/>
              <a:gdLst/>
              <a:ahLst/>
              <a:cxnLst>
                <a:cxn ang="0">
                  <a:pos x="4" y="6"/>
                </a:cxn>
                <a:cxn ang="0">
                  <a:pos x="2" y="6"/>
                </a:cxn>
                <a:cxn ang="0">
                  <a:pos x="0" y="2"/>
                </a:cxn>
                <a:cxn ang="0">
                  <a:pos x="2" y="0"/>
                </a:cxn>
                <a:cxn ang="0">
                  <a:pos x="4" y="0"/>
                </a:cxn>
                <a:cxn ang="0">
                  <a:pos x="6" y="0"/>
                </a:cxn>
                <a:cxn ang="0">
                  <a:pos x="10" y="0"/>
                </a:cxn>
                <a:cxn ang="0">
                  <a:pos x="14" y="0"/>
                </a:cxn>
                <a:cxn ang="0">
                  <a:pos x="14" y="2"/>
                </a:cxn>
                <a:cxn ang="0">
                  <a:pos x="12" y="6"/>
                </a:cxn>
                <a:cxn ang="0">
                  <a:pos x="4" y="6"/>
                </a:cxn>
              </a:cxnLst>
              <a:rect l="0" t="0" r="r" b="b"/>
              <a:pathLst>
                <a:path w="14" h="6">
                  <a:moveTo>
                    <a:pt x="4" y="6"/>
                  </a:moveTo>
                  <a:lnTo>
                    <a:pt x="2" y="6"/>
                  </a:lnTo>
                  <a:lnTo>
                    <a:pt x="0" y="2"/>
                  </a:lnTo>
                  <a:lnTo>
                    <a:pt x="2" y="0"/>
                  </a:lnTo>
                  <a:lnTo>
                    <a:pt x="4" y="0"/>
                  </a:lnTo>
                  <a:lnTo>
                    <a:pt x="6" y="0"/>
                  </a:lnTo>
                  <a:lnTo>
                    <a:pt x="10" y="0"/>
                  </a:lnTo>
                  <a:lnTo>
                    <a:pt x="14" y="0"/>
                  </a:lnTo>
                  <a:lnTo>
                    <a:pt x="14" y="2"/>
                  </a:lnTo>
                  <a:lnTo>
                    <a:pt x="12"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1" name="Freeform 2656"/>
            <p:cNvSpPr>
              <a:spLocks/>
            </p:cNvSpPr>
            <p:nvPr/>
          </p:nvSpPr>
          <p:spPr bwMode="auto">
            <a:xfrm>
              <a:off x="2748" y="2906"/>
              <a:ext cx="38" cy="8"/>
            </a:xfrm>
            <a:custGeom>
              <a:avLst/>
              <a:gdLst/>
              <a:ahLst/>
              <a:cxnLst>
                <a:cxn ang="0">
                  <a:pos x="16" y="8"/>
                </a:cxn>
                <a:cxn ang="0">
                  <a:pos x="14" y="8"/>
                </a:cxn>
                <a:cxn ang="0">
                  <a:pos x="6" y="6"/>
                </a:cxn>
                <a:cxn ang="0">
                  <a:pos x="2" y="6"/>
                </a:cxn>
                <a:cxn ang="0">
                  <a:pos x="0" y="0"/>
                </a:cxn>
                <a:cxn ang="0">
                  <a:pos x="4" y="0"/>
                </a:cxn>
                <a:cxn ang="0">
                  <a:pos x="6" y="0"/>
                </a:cxn>
                <a:cxn ang="0">
                  <a:pos x="6" y="2"/>
                </a:cxn>
                <a:cxn ang="0">
                  <a:pos x="8" y="2"/>
                </a:cxn>
                <a:cxn ang="0">
                  <a:pos x="10" y="2"/>
                </a:cxn>
                <a:cxn ang="0">
                  <a:pos x="12" y="2"/>
                </a:cxn>
                <a:cxn ang="0">
                  <a:pos x="16" y="2"/>
                </a:cxn>
                <a:cxn ang="0">
                  <a:pos x="18" y="2"/>
                </a:cxn>
                <a:cxn ang="0">
                  <a:pos x="20" y="2"/>
                </a:cxn>
                <a:cxn ang="0">
                  <a:pos x="22" y="2"/>
                </a:cxn>
                <a:cxn ang="0">
                  <a:pos x="26" y="0"/>
                </a:cxn>
                <a:cxn ang="0">
                  <a:pos x="28" y="0"/>
                </a:cxn>
                <a:cxn ang="0">
                  <a:pos x="34" y="2"/>
                </a:cxn>
                <a:cxn ang="0">
                  <a:pos x="38" y="6"/>
                </a:cxn>
                <a:cxn ang="0">
                  <a:pos x="34" y="6"/>
                </a:cxn>
                <a:cxn ang="0">
                  <a:pos x="20" y="6"/>
                </a:cxn>
                <a:cxn ang="0">
                  <a:pos x="16" y="8"/>
                </a:cxn>
              </a:cxnLst>
              <a:rect l="0" t="0" r="r" b="b"/>
              <a:pathLst>
                <a:path w="38" h="8">
                  <a:moveTo>
                    <a:pt x="16" y="8"/>
                  </a:moveTo>
                  <a:lnTo>
                    <a:pt x="14" y="8"/>
                  </a:lnTo>
                  <a:lnTo>
                    <a:pt x="6" y="6"/>
                  </a:lnTo>
                  <a:lnTo>
                    <a:pt x="2" y="6"/>
                  </a:lnTo>
                  <a:lnTo>
                    <a:pt x="0" y="0"/>
                  </a:lnTo>
                  <a:lnTo>
                    <a:pt x="4" y="0"/>
                  </a:lnTo>
                  <a:lnTo>
                    <a:pt x="6" y="0"/>
                  </a:lnTo>
                  <a:lnTo>
                    <a:pt x="6" y="2"/>
                  </a:lnTo>
                  <a:lnTo>
                    <a:pt x="8" y="2"/>
                  </a:lnTo>
                  <a:lnTo>
                    <a:pt x="10" y="2"/>
                  </a:lnTo>
                  <a:lnTo>
                    <a:pt x="12" y="2"/>
                  </a:lnTo>
                  <a:lnTo>
                    <a:pt x="16" y="2"/>
                  </a:lnTo>
                  <a:lnTo>
                    <a:pt x="18" y="2"/>
                  </a:lnTo>
                  <a:lnTo>
                    <a:pt x="20" y="2"/>
                  </a:lnTo>
                  <a:lnTo>
                    <a:pt x="22" y="2"/>
                  </a:lnTo>
                  <a:lnTo>
                    <a:pt x="26" y="0"/>
                  </a:lnTo>
                  <a:lnTo>
                    <a:pt x="28" y="0"/>
                  </a:lnTo>
                  <a:lnTo>
                    <a:pt x="34" y="2"/>
                  </a:lnTo>
                  <a:lnTo>
                    <a:pt x="38" y="6"/>
                  </a:lnTo>
                  <a:lnTo>
                    <a:pt x="34" y="6"/>
                  </a:lnTo>
                  <a:lnTo>
                    <a:pt x="20" y="6"/>
                  </a:lnTo>
                  <a:lnTo>
                    <a:pt x="1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42" name="Freeform 2657"/>
            <p:cNvSpPr>
              <a:spLocks/>
            </p:cNvSpPr>
            <p:nvPr/>
          </p:nvSpPr>
          <p:spPr bwMode="auto">
            <a:xfrm>
              <a:off x="2796" y="2922"/>
              <a:ext cx="28" cy="10"/>
            </a:xfrm>
            <a:custGeom>
              <a:avLst/>
              <a:gdLst/>
              <a:ahLst/>
              <a:cxnLst>
                <a:cxn ang="0">
                  <a:pos x="28" y="10"/>
                </a:cxn>
                <a:cxn ang="0">
                  <a:pos x="26" y="8"/>
                </a:cxn>
                <a:cxn ang="0">
                  <a:pos x="24" y="8"/>
                </a:cxn>
                <a:cxn ang="0">
                  <a:pos x="20" y="6"/>
                </a:cxn>
                <a:cxn ang="0">
                  <a:pos x="18" y="6"/>
                </a:cxn>
                <a:cxn ang="0">
                  <a:pos x="14" y="6"/>
                </a:cxn>
                <a:cxn ang="0">
                  <a:pos x="2" y="4"/>
                </a:cxn>
                <a:cxn ang="0">
                  <a:pos x="0" y="2"/>
                </a:cxn>
                <a:cxn ang="0">
                  <a:pos x="2" y="0"/>
                </a:cxn>
                <a:cxn ang="0">
                  <a:pos x="4" y="0"/>
                </a:cxn>
                <a:cxn ang="0">
                  <a:pos x="22" y="6"/>
                </a:cxn>
                <a:cxn ang="0">
                  <a:pos x="26" y="8"/>
                </a:cxn>
                <a:cxn ang="0">
                  <a:pos x="28" y="8"/>
                </a:cxn>
                <a:cxn ang="0">
                  <a:pos x="28" y="10"/>
                </a:cxn>
              </a:cxnLst>
              <a:rect l="0" t="0" r="r" b="b"/>
              <a:pathLst>
                <a:path w="28" h="10">
                  <a:moveTo>
                    <a:pt x="28" y="10"/>
                  </a:moveTo>
                  <a:lnTo>
                    <a:pt x="26" y="8"/>
                  </a:lnTo>
                  <a:lnTo>
                    <a:pt x="24" y="8"/>
                  </a:lnTo>
                  <a:lnTo>
                    <a:pt x="20" y="6"/>
                  </a:lnTo>
                  <a:lnTo>
                    <a:pt x="18" y="6"/>
                  </a:lnTo>
                  <a:lnTo>
                    <a:pt x="14" y="6"/>
                  </a:lnTo>
                  <a:lnTo>
                    <a:pt x="2" y="4"/>
                  </a:lnTo>
                  <a:lnTo>
                    <a:pt x="0" y="2"/>
                  </a:lnTo>
                  <a:lnTo>
                    <a:pt x="2" y="0"/>
                  </a:lnTo>
                  <a:lnTo>
                    <a:pt x="4" y="0"/>
                  </a:lnTo>
                  <a:lnTo>
                    <a:pt x="22" y="6"/>
                  </a:lnTo>
                  <a:lnTo>
                    <a:pt x="26" y="8"/>
                  </a:lnTo>
                  <a:lnTo>
                    <a:pt x="28" y="8"/>
                  </a:lnTo>
                  <a:lnTo>
                    <a:pt x="2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03" name="Freeform 2658"/>
          <p:cNvSpPr>
            <a:spLocks/>
          </p:cNvSpPr>
          <p:nvPr/>
        </p:nvSpPr>
        <p:spPr bwMode="auto">
          <a:xfrm>
            <a:off x="5994775" y="5215652"/>
            <a:ext cx="611410" cy="431236"/>
          </a:xfrm>
          <a:custGeom>
            <a:avLst/>
            <a:gdLst/>
            <a:ahLst/>
            <a:cxnLst>
              <a:cxn ang="0">
                <a:pos x="386" y="188"/>
              </a:cxn>
              <a:cxn ang="0">
                <a:pos x="358" y="194"/>
              </a:cxn>
              <a:cxn ang="0">
                <a:pos x="346" y="184"/>
              </a:cxn>
              <a:cxn ang="0">
                <a:pos x="324" y="196"/>
              </a:cxn>
              <a:cxn ang="0">
                <a:pos x="300" y="214"/>
              </a:cxn>
              <a:cxn ang="0">
                <a:pos x="286" y="222"/>
              </a:cxn>
              <a:cxn ang="0">
                <a:pos x="282" y="230"/>
              </a:cxn>
              <a:cxn ang="0">
                <a:pos x="270" y="234"/>
              </a:cxn>
              <a:cxn ang="0">
                <a:pos x="282" y="256"/>
              </a:cxn>
              <a:cxn ang="0">
                <a:pos x="246" y="272"/>
              </a:cxn>
              <a:cxn ang="0">
                <a:pos x="218" y="280"/>
              </a:cxn>
              <a:cxn ang="0">
                <a:pos x="192" y="268"/>
              </a:cxn>
              <a:cxn ang="0">
                <a:pos x="172" y="270"/>
              </a:cxn>
              <a:cxn ang="0">
                <a:pos x="144" y="262"/>
              </a:cxn>
              <a:cxn ang="0">
                <a:pos x="130" y="274"/>
              </a:cxn>
              <a:cxn ang="0">
                <a:pos x="104" y="282"/>
              </a:cxn>
              <a:cxn ang="0">
                <a:pos x="80" y="288"/>
              </a:cxn>
              <a:cxn ang="0">
                <a:pos x="62" y="290"/>
              </a:cxn>
              <a:cxn ang="0">
                <a:pos x="58" y="264"/>
              </a:cxn>
              <a:cxn ang="0">
                <a:pos x="58" y="250"/>
              </a:cxn>
              <a:cxn ang="0">
                <a:pos x="36" y="226"/>
              </a:cxn>
              <a:cxn ang="0">
                <a:pos x="16" y="202"/>
              </a:cxn>
              <a:cxn ang="0">
                <a:pos x="22" y="186"/>
              </a:cxn>
              <a:cxn ang="0">
                <a:pos x="18" y="152"/>
              </a:cxn>
              <a:cxn ang="0">
                <a:pos x="48" y="126"/>
              </a:cxn>
              <a:cxn ang="0">
                <a:pos x="34" y="108"/>
              </a:cxn>
              <a:cxn ang="0">
                <a:pos x="14" y="98"/>
              </a:cxn>
              <a:cxn ang="0">
                <a:pos x="14" y="38"/>
              </a:cxn>
              <a:cxn ang="0">
                <a:pos x="34" y="36"/>
              </a:cxn>
              <a:cxn ang="0">
                <a:pos x="40" y="46"/>
              </a:cxn>
              <a:cxn ang="0">
                <a:pos x="32" y="60"/>
              </a:cxn>
              <a:cxn ang="0">
                <a:pos x="52" y="62"/>
              </a:cxn>
              <a:cxn ang="0">
                <a:pos x="68" y="56"/>
              </a:cxn>
              <a:cxn ang="0">
                <a:pos x="84" y="60"/>
              </a:cxn>
              <a:cxn ang="0">
                <a:pos x="118" y="66"/>
              </a:cxn>
              <a:cxn ang="0">
                <a:pos x="130" y="64"/>
              </a:cxn>
              <a:cxn ang="0">
                <a:pos x="146" y="58"/>
              </a:cxn>
              <a:cxn ang="0">
                <a:pos x="168" y="58"/>
              </a:cxn>
              <a:cxn ang="0">
                <a:pos x="198" y="62"/>
              </a:cxn>
              <a:cxn ang="0">
                <a:pos x="216" y="58"/>
              </a:cxn>
              <a:cxn ang="0">
                <a:pos x="234" y="38"/>
              </a:cxn>
              <a:cxn ang="0">
                <a:pos x="262" y="16"/>
              </a:cxn>
              <a:cxn ang="0">
                <a:pos x="288" y="8"/>
              </a:cxn>
              <a:cxn ang="0">
                <a:pos x="308" y="0"/>
              </a:cxn>
              <a:cxn ang="0">
                <a:pos x="320" y="2"/>
              </a:cxn>
              <a:cxn ang="0">
                <a:pos x="344" y="4"/>
              </a:cxn>
              <a:cxn ang="0">
                <a:pos x="356" y="8"/>
              </a:cxn>
              <a:cxn ang="0">
                <a:pos x="370" y="16"/>
              </a:cxn>
              <a:cxn ang="0">
                <a:pos x="388" y="22"/>
              </a:cxn>
              <a:cxn ang="0">
                <a:pos x="410" y="26"/>
              </a:cxn>
              <a:cxn ang="0">
                <a:pos x="412" y="48"/>
              </a:cxn>
              <a:cxn ang="0">
                <a:pos x="402" y="54"/>
              </a:cxn>
              <a:cxn ang="0">
                <a:pos x="382" y="62"/>
              </a:cxn>
              <a:cxn ang="0">
                <a:pos x="374" y="92"/>
              </a:cxn>
              <a:cxn ang="0">
                <a:pos x="376" y="110"/>
              </a:cxn>
              <a:cxn ang="0">
                <a:pos x="368" y="124"/>
              </a:cxn>
              <a:cxn ang="0">
                <a:pos x="354" y="150"/>
              </a:cxn>
              <a:cxn ang="0">
                <a:pos x="372" y="156"/>
              </a:cxn>
              <a:cxn ang="0">
                <a:pos x="390" y="178"/>
              </a:cxn>
            </a:cxnLst>
            <a:rect l="0" t="0" r="r" b="b"/>
            <a:pathLst>
              <a:path w="414" h="292">
                <a:moveTo>
                  <a:pt x="398" y="188"/>
                </a:moveTo>
                <a:lnTo>
                  <a:pt x="394" y="188"/>
                </a:lnTo>
                <a:lnTo>
                  <a:pt x="390" y="188"/>
                </a:lnTo>
                <a:lnTo>
                  <a:pt x="388" y="186"/>
                </a:lnTo>
                <a:lnTo>
                  <a:pt x="386" y="188"/>
                </a:lnTo>
                <a:lnTo>
                  <a:pt x="378" y="190"/>
                </a:lnTo>
                <a:lnTo>
                  <a:pt x="372" y="194"/>
                </a:lnTo>
                <a:lnTo>
                  <a:pt x="370" y="196"/>
                </a:lnTo>
                <a:lnTo>
                  <a:pt x="368" y="198"/>
                </a:lnTo>
                <a:lnTo>
                  <a:pt x="358" y="194"/>
                </a:lnTo>
                <a:lnTo>
                  <a:pt x="356" y="192"/>
                </a:lnTo>
                <a:lnTo>
                  <a:pt x="354" y="190"/>
                </a:lnTo>
                <a:lnTo>
                  <a:pt x="352" y="186"/>
                </a:lnTo>
                <a:lnTo>
                  <a:pt x="348" y="186"/>
                </a:lnTo>
                <a:lnTo>
                  <a:pt x="346" y="184"/>
                </a:lnTo>
                <a:lnTo>
                  <a:pt x="344" y="184"/>
                </a:lnTo>
                <a:lnTo>
                  <a:pt x="332" y="188"/>
                </a:lnTo>
                <a:lnTo>
                  <a:pt x="330" y="188"/>
                </a:lnTo>
                <a:lnTo>
                  <a:pt x="326" y="196"/>
                </a:lnTo>
                <a:lnTo>
                  <a:pt x="324" y="196"/>
                </a:lnTo>
                <a:lnTo>
                  <a:pt x="304" y="202"/>
                </a:lnTo>
                <a:lnTo>
                  <a:pt x="300" y="206"/>
                </a:lnTo>
                <a:lnTo>
                  <a:pt x="302" y="210"/>
                </a:lnTo>
                <a:lnTo>
                  <a:pt x="302" y="212"/>
                </a:lnTo>
                <a:lnTo>
                  <a:pt x="300" y="214"/>
                </a:lnTo>
                <a:lnTo>
                  <a:pt x="300" y="216"/>
                </a:lnTo>
                <a:lnTo>
                  <a:pt x="296" y="218"/>
                </a:lnTo>
                <a:lnTo>
                  <a:pt x="294" y="218"/>
                </a:lnTo>
                <a:lnTo>
                  <a:pt x="290" y="218"/>
                </a:lnTo>
                <a:lnTo>
                  <a:pt x="286" y="222"/>
                </a:lnTo>
                <a:lnTo>
                  <a:pt x="286" y="226"/>
                </a:lnTo>
                <a:lnTo>
                  <a:pt x="288" y="228"/>
                </a:lnTo>
                <a:lnTo>
                  <a:pt x="290" y="228"/>
                </a:lnTo>
                <a:lnTo>
                  <a:pt x="286" y="230"/>
                </a:lnTo>
                <a:lnTo>
                  <a:pt x="282" y="230"/>
                </a:lnTo>
                <a:lnTo>
                  <a:pt x="280" y="228"/>
                </a:lnTo>
                <a:lnTo>
                  <a:pt x="276" y="226"/>
                </a:lnTo>
                <a:lnTo>
                  <a:pt x="274" y="228"/>
                </a:lnTo>
                <a:lnTo>
                  <a:pt x="270" y="230"/>
                </a:lnTo>
                <a:lnTo>
                  <a:pt x="270" y="234"/>
                </a:lnTo>
                <a:lnTo>
                  <a:pt x="270" y="236"/>
                </a:lnTo>
                <a:lnTo>
                  <a:pt x="272" y="240"/>
                </a:lnTo>
                <a:lnTo>
                  <a:pt x="274" y="238"/>
                </a:lnTo>
                <a:lnTo>
                  <a:pt x="278" y="246"/>
                </a:lnTo>
                <a:lnTo>
                  <a:pt x="282" y="256"/>
                </a:lnTo>
                <a:lnTo>
                  <a:pt x="278" y="264"/>
                </a:lnTo>
                <a:lnTo>
                  <a:pt x="268" y="268"/>
                </a:lnTo>
                <a:lnTo>
                  <a:pt x="262" y="270"/>
                </a:lnTo>
                <a:lnTo>
                  <a:pt x="256" y="268"/>
                </a:lnTo>
                <a:lnTo>
                  <a:pt x="246" y="272"/>
                </a:lnTo>
                <a:lnTo>
                  <a:pt x="240" y="272"/>
                </a:lnTo>
                <a:lnTo>
                  <a:pt x="236" y="276"/>
                </a:lnTo>
                <a:lnTo>
                  <a:pt x="226" y="280"/>
                </a:lnTo>
                <a:lnTo>
                  <a:pt x="222" y="282"/>
                </a:lnTo>
                <a:lnTo>
                  <a:pt x="218" y="280"/>
                </a:lnTo>
                <a:lnTo>
                  <a:pt x="214" y="276"/>
                </a:lnTo>
                <a:lnTo>
                  <a:pt x="212" y="276"/>
                </a:lnTo>
                <a:lnTo>
                  <a:pt x="204" y="272"/>
                </a:lnTo>
                <a:lnTo>
                  <a:pt x="202" y="272"/>
                </a:lnTo>
                <a:lnTo>
                  <a:pt x="192" y="268"/>
                </a:lnTo>
                <a:lnTo>
                  <a:pt x="188" y="270"/>
                </a:lnTo>
                <a:lnTo>
                  <a:pt x="188" y="272"/>
                </a:lnTo>
                <a:lnTo>
                  <a:pt x="188" y="276"/>
                </a:lnTo>
                <a:lnTo>
                  <a:pt x="184" y="274"/>
                </a:lnTo>
                <a:lnTo>
                  <a:pt x="172" y="270"/>
                </a:lnTo>
                <a:lnTo>
                  <a:pt x="170" y="264"/>
                </a:lnTo>
                <a:lnTo>
                  <a:pt x="162" y="260"/>
                </a:lnTo>
                <a:lnTo>
                  <a:pt x="152" y="262"/>
                </a:lnTo>
                <a:lnTo>
                  <a:pt x="148" y="260"/>
                </a:lnTo>
                <a:lnTo>
                  <a:pt x="144" y="262"/>
                </a:lnTo>
                <a:lnTo>
                  <a:pt x="140" y="264"/>
                </a:lnTo>
                <a:lnTo>
                  <a:pt x="136" y="264"/>
                </a:lnTo>
                <a:lnTo>
                  <a:pt x="134" y="266"/>
                </a:lnTo>
                <a:lnTo>
                  <a:pt x="134" y="268"/>
                </a:lnTo>
                <a:lnTo>
                  <a:pt x="130" y="274"/>
                </a:lnTo>
                <a:lnTo>
                  <a:pt x="124" y="274"/>
                </a:lnTo>
                <a:lnTo>
                  <a:pt x="118" y="276"/>
                </a:lnTo>
                <a:lnTo>
                  <a:pt x="114" y="278"/>
                </a:lnTo>
                <a:lnTo>
                  <a:pt x="106" y="282"/>
                </a:lnTo>
                <a:lnTo>
                  <a:pt x="104" y="282"/>
                </a:lnTo>
                <a:lnTo>
                  <a:pt x="100" y="280"/>
                </a:lnTo>
                <a:lnTo>
                  <a:pt x="94" y="280"/>
                </a:lnTo>
                <a:lnTo>
                  <a:pt x="82" y="282"/>
                </a:lnTo>
                <a:lnTo>
                  <a:pt x="78" y="284"/>
                </a:lnTo>
                <a:lnTo>
                  <a:pt x="80" y="288"/>
                </a:lnTo>
                <a:lnTo>
                  <a:pt x="78" y="288"/>
                </a:lnTo>
                <a:lnTo>
                  <a:pt x="76" y="290"/>
                </a:lnTo>
                <a:lnTo>
                  <a:pt x="72" y="290"/>
                </a:lnTo>
                <a:lnTo>
                  <a:pt x="70" y="292"/>
                </a:lnTo>
                <a:lnTo>
                  <a:pt x="62" y="290"/>
                </a:lnTo>
                <a:lnTo>
                  <a:pt x="60" y="290"/>
                </a:lnTo>
                <a:lnTo>
                  <a:pt x="60" y="288"/>
                </a:lnTo>
                <a:lnTo>
                  <a:pt x="60" y="278"/>
                </a:lnTo>
                <a:lnTo>
                  <a:pt x="58" y="266"/>
                </a:lnTo>
                <a:lnTo>
                  <a:pt x="58" y="264"/>
                </a:lnTo>
                <a:lnTo>
                  <a:pt x="60" y="260"/>
                </a:lnTo>
                <a:lnTo>
                  <a:pt x="62" y="258"/>
                </a:lnTo>
                <a:lnTo>
                  <a:pt x="62" y="254"/>
                </a:lnTo>
                <a:lnTo>
                  <a:pt x="60" y="252"/>
                </a:lnTo>
                <a:lnTo>
                  <a:pt x="58" y="250"/>
                </a:lnTo>
                <a:lnTo>
                  <a:pt x="56" y="248"/>
                </a:lnTo>
                <a:lnTo>
                  <a:pt x="52" y="240"/>
                </a:lnTo>
                <a:lnTo>
                  <a:pt x="50" y="236"/>
                </a:lnTo>
                <a:lnTo>
                  <a:pt x="46" y="228"/>
                </a:lnTo>
                <a:lnTo>
                  <a:pt x="36" y="226"/>
                </a:lnTo>
                <a:lnTo>
                  <a:pt x="30" y="222"/>
                </a:lnTo>
                <a:lnTo>
                  <a:pt x="24" y="218"/>
                </a:lnTo>
                <a:lnTo>
                  <a:pt x="16" y="208"/>
                </a:lnTo>
                <a:lnTo>
                  <a:pt x="12" y="204"/>
                </a:lnTo>
                <a:lnTo>
                  <a:pt x="16" y="202"/>
                </a:lnTo>
                <a:lnTo>
                  <a:pt x="18" y="200"/>
                </a:lnTo>
                <a:lnTo>
                  <a:pt x="22" y="196"/>
                </a:lnTo>
                <a:lnTo>
                  <a:pt x="24" y="194"/>
                </a:lnTo>
                <a:lnTo>
                  <a:pt x="24" y="188"/>
                </a:lnTo>
                <a:lnTo>
                  <a:pt x="22" y="186"/>
                </a:lnTo>
                <a:lnTo>
                  <a:pt x="20" y="184"/>
                </a:lnTo>
                <a:lnTo>
                  <a:pt x="16" y="182"/>
                </a:lnTo>
                <a:lnTo>
                  <a:pt x="16" y="178"/>
                </a:lnTo>
                <a:lnTo>
                  <a:pt x="14" y="158"/>
                </a:lnTo>
                <a:lnTo>
                  <a:pt x="18" y="152"/>
                </a:lnTo>
                <a:lnTo>
                  <a:pt x="24" y="150"/>
                </a:lnTo>
                <a:lnTo>
                  <a:pt x="28" y="150"/>
                </a:lnTo>
                <a:lnTo>
                  <a:pt x="32" y="150"/>
                </a:lnTo>
                <a:lnTo>
                  <a:pt x="46" y="128"/>
                </a:lnTo>
                <a:lnTo>
                  <a:pt x="48" y="126"/>
                </a:lnTo>
                <a:lnTo>
                  <a:pt x="48" y="120"/>
                </a:lnTo>
                <a:lnTo>
                  <a:pt x="44" y="120"/>
                </a:lnTo>
                <a:lnTo>
                  <a:pt x="40" y="118"/>
                </a:lnTo>
                <a:lnTo>
                  <a:pt x="36" y="112"/>
                </a:lnTo>
                <a:lnTo>
                  <a:pt x="34" y="108"/>
                </a:lnTo>
                <a:lnTo>
                  <a:pt x="30" y="104"/>
                </a:lnTo>
                <a:lnTo>
                  <a:pt x="28" y="104"/>
                </a:lnTo>
                <a:lnTo>
                  <a:pt x="24" y="102"/>
                </a:lnTo>
                <a:lnTo>
                  <a:pt x="20" y="100"/>
                </a:lnTo>
                <a:lnTo>
                  <a:pt x="14" y="98"/>
                </a:lnTo>
                <a:lnTo>
                  <a:pt x="4" y="76"/>
                </a:lnTo>
                <a:lnTo>
                  <a:pt x="0" y="66"/>
                </a:lnTo>
                <a:lnTo>
                  <a:pt x="2" y="50"/>
                </a:lnTo>
                <a:lnTo>
                  <a:pt x="10" y="44"/>
                </a:lnTo>
                <a:lnTo>
                  <a:pt x="14" y="38"/>
                </a:lnTo>
                <a:lnTo>
                  <a:pt x="14" y="34"/>
                </a:lnTo>
                <a:lnTo>
                  <a:pt x="16" y="30"/>
                </a:lnTo>
                <a:lnTo>
                  <a:pt x="16" y="28"/>
                </a:lnTo>
                <a:lnTo>
                  <a:pt x="18" y="28"/>
                </a:lnTo>
                <a:lnTo>
                  <a:pt x="34" y="36"/>
                </a:lnTo>
                <a:lnTo>
                  <a:pt x="36" y="38"/>
                </a:lnTo>
                <a:lnTo>
                  <a:pt x="40" y="38"/>
                </a:lnTo>
                <a:lnTo>
                  <a:pt x="42" y="40"/>
                </a:lnTo>
                <a:lnTo>
                  <a:pt x="42" y="42"/>
                </a:lnTo>
                <a:lnTo>
                  <a:pt x="40" y="46"/>
                </a:lnTo>
                <a:lnTo>
                  <a:pt x="38" y="46"/>
                </a:lnTo>
                <a:lnTo>
                  <a:pt x="34" y="46"/>
                </a:lnTo>
                <a:lnTo>
                  <a:pt x="32" y="48"/>
                </a:lnTo>
                <a:lnTo>
                  <a:pt x="30" y="56"/>
                </a:lnTo>
                <a:lnTo>
                  <a:pt x="32" y="60"/>
                </a:lnTo>
                <a:lnTo>
                  <a:pt x="32" y="62"/>
                </a:lnTo>
                <a:lnTo>
                  <a:pt x="34" y="62"/>
                </a:lnTo>
                <a:lnTo>
                  <a:pt x="40" y="62"/>
                </a:lnTo>
                <a:lnTo>
                  <a:pt x="46" y="64"/>
                </a:lnTo>
                <a:lnTo>
                  <a:pt x="52" y="62"/>
                </a:lnTo>
                <a:lnTo>
                  <a:pt x="54" y="60"/>
                </a:lnTo>
                <a:lnTo>
                  <a:pt x="56" y="60"/>
                </a:lnTo>
                <a:lnTo>
                  <a:pt x="58" y="58"/>
                </a:lnTo>
                <a:lnTo>
                  <a:pt x="60" y="58"/>
                </a:lnTo>
                <a:lnTo>
                  <a:pt x="68" y="56"/>
                </a:lnTo>
                <a:lnTo>
                  <a:pt x="70" y="58"/>
                </a:lnTo>
                <a:lnTo>
                  <a:pt x="76" y="58"/>
                </a:lnTo>
                <a:lnTo>
                  <a:pt x="80" y="60"/>
                </a:lnTo>
                <a:lnTo>
                  <a:pt x="82" y="60"/>
                </a:lnTo>
                <a:lnTo>
                  <a:pt x="84" y="60"/>
                </a:lnTo>
                <a:lnTo>
                  <a:pt x="94" y="60"/>
                </a:lnTo>
                <a:lnTo>
                  <a:pt x="108" y="62"/>
                </a:lnTo>
                <a:lnTo>
                  <a:pt x="114" y="64"/>
                </a:lnTo>
                <a:lnTo>
                  <a:pt x="116" y="66"/>
                </a:lnTo>
                <a:lnTo>
                  <a:pt x="118" y="66"/>
                </a:lnTo>
                <a:lnTo>
                  <a:pt x="122" y="66"/>
                </a:lnTo>
                <a:lnTo>
                  <a:pt x="124" y="66"/>
                </a:lnTo>
                <a:lnTo>
                  <a:pt x="126" y="66"/>
                </a:lnTo>
                <a:lnTo>
                  <a:pt x="128" y="66"/>
                </a:lnTo>
                <a:lnTo>
                  <a:pt x="130" y="64"/>
                </a:lnTo>
                <a:lnTo>
                  <a:pt x="132" y="64"/>
                </a:lnTo>
                <a:lnTo>
                  <a:pt x="134" y="62"/>
                </a:lnTo>
                <a:lnTo>
                  <a:pt x="138" y="60"/>
                </a:lnTo>
                <a:lnTo>
                  <a:pt x="142" y="58"/>
                </a:lnTo>
                <a:lnTo>
                  <a:pt x="146" y="58"/>
                </a:lnTo>
                <a:lnTo>
                  <a:pt x="148" y="58"/>
                </a:lnTo>
                <a:lnTo>
                  <a:pt x="154" y="60"/>
                </a:lnTo>
                <a:lnTo>
                  <a:pt x="156" y="60"/>
                </a:lnTo>
                <a:lnTo>
                  <a:pt x="160" y="60"/>
                </a:lnTo>
                <a:lnTo>
                  <a:pt x="168" y="58"/>
                </a:lnTo>
                <a:lnTo>
                  <a:pt x="176" y="58"/>
                </a:lnTo>
                <a:lnTo>
                  <a:pt x="190" y="58"/>
                </a:lnTo>
                <a:lnTo>
                  <a:pt x="192" y="58"/>
                </a:lnTo>
                <a:lnTo>
                  <a:pt x="196" y="62"/>
                </a:lnTo>
                <a:lnTo>
                  <a:pt x="198" y="62"/>
                </a:lnTo>
                <a:lnTo>
                  <a:pt x="200" y="62"/>
                </a:lnTo>
                <a:lnTo>
                  <a:pt x="204" y="62"/>
                </a:lnTo>
                <a:lnTo>
                  <a:pt x="206" y="60"/>
                </a:lnTo>
                <a:lnTo>
                  <a:pt x="210" y="60"/>
                </a:lnTo>
                <a:lnTo>
                  <a:pt x="216" y="58"/>
                </a:lnTo>
                <a:lnTo>
                  <a:pt x="220" y="54"/>
                </a:lnTo>
                <a:lnTo>
                  <a:pt x="224" y="54"/>
                </a:lnTo>
                <a:lnTo>
                  <a:pt x="226" y="52"/>
                </a:lnTo>
                <a:lnTo>
                  <a:pt x="232" y="42"/>
                </a:lnTo>
                <a:lnTo>
                  <a:pt x="234" y="38"/>
                </a:lnTo>
                <a:lnTo>
                  <a:pt x="242" y="26"/>
                </a:lnTo>
                <a:lnTo>
                  <a:pt x="244" y="26"/>
                </a:lnTo>
                <a:lnTo>
                  <a:pt x="246" y="24"/>
                </a:lnTo>
                <a:lnTo>
                  <a:pt x="256" y="18"/>
                </a:lnTo>
                <a:lnTo>
                  <a:pt x="262" y="16"/>
                </a:lnTo>
                <a:lnTo>
                  <a:pt x="264" y="16"/>
                </a:lnTo>
                <a:lnTo>
                  <a:pt x="266" y="16"/>
                </a:lnTo>
                <a:lnTo>
                  <a:pt x="268" y="14"/>
                </a:lnTo>
                <a:lnTo>
                  <a:pt x="280" y="10"/>
                </a:lnTo>
                <a:lnTo>
                  <a:pt x="288" y="8"/>
                </a:lnTo>
                <a:lnTo>
                  <a:pt x="290" y="4"/>
                </a:lnTo>
                <a:lnTo>
                  <a:pt x="294" y="2"/>
                </a:lnTo>
                <a:lnTo>
                  <a:pt x="296" y="2"/>
                </a:lnTo>
                <a:lnTo>
                  <a:pt x="304" y="0"/>
                </a:lnTo>
                <a:lnTo>
                  <a:pt x="308" y="0"/>
                </a:lnTo>
                <a:lnTo>
                  <a:pt x="312" y="0"/>
                </a:lnTo>
                <a:lnTo>
                  <a:pt x="314" y="0"/>
                </a:lnTo>
                <a:lnTo>
                  <a:pt x="316" y="0"/>
                </a:lnTo>
                <a:lnTo>
                  <a:pt x="318" y="0"/>
                </a:lnTo>
                <a:lnTo>
                  <a:pt x="320" y="2"/>
                </a:lnTo>
                <a:lnTo>
                  <a:pt x="320" y="4"/>
                </a:lnTo>
                <a:lnTo>
                  <a:pt x="328" y="8"/>
                </a:lnTo>
                <a:lnTo>
                  <a:pt x="332" y="8"/>
                </a:lnTo>
                <a:lnTo>
                  <a:pt x="342" y="4"/>
                </a:lnTo>
                <a:lnTo>
                  <a:pt x="344" y="4"/>
                </a:lnTo>
                <a:lnTo>
                  <a:pt x="346" y="4"/>
                </a:lnTo>
                <a:lnTo>
                  <a:pt x="348" y="8"/>
                </a:lnTo>
                <a:lnTo>
                  <a:pt x="350" y="10"/>
                </a:lnTo>
                <a:lnTo>
                  <a:pt x="352" y="10"/>
                </a:lnTo>
                <a:lnTo>
                  <a:pt x="356" y="8"/>
                </a:lnTo>
                <a:lnTo>
                  <a:pt x="358" y="6"/>
                </a:lnTo>
                <a:lnTo>
                  <a:pt x="362" y="4"/>
                </a:lnTo>
                <a:lnTo>
                  <a:pt x="366" y="6"/>
                </a:lnTo>
                <a:lnTo>
                  <a:pt x="366" y="8"/>
                </a:lnTo>
                <a:lnTo>
                  <a:pt x="370" y="16"/>
                </a:lnTo>
                <a:lnTo>
                  <a:pt x="372" y="18"/>
                </a:lnTo>
                <a:lnTo>
                  <a:pt x="380" y="20"/>
                </a:lnTo>
                <a:lnTo>
                  <a:pt x="382" y="22"/>
                </a:lnTo>
                <a:lnTo>
                  <a:pt x="386" y="22"/>
                </a:lnTo>
                <a:lnTo>
                  <a:pt x="388" y="22"/>
                </a:lnTo>
                <a:lnTo>
                  <a:pt x="398" y="22"/>
                </a:lnTo>
                <a:lnTo>
                  <a:pt x="402" y="22"/>
                </a:lnTo>
                <a:lnTo>
                  <a:pt x="410" y="20"/>
                </a:lnTo>
                <a:lnTo>
                  <a:pt x="410" y="22"/>
                </a:lnTo>
                <a:lnTo>
                  <a:pt x="410" y="26"/>
                </a:lnTo>
                <a:lnTo>
                  <a:pt x="412" y="34"/>
                </a:lnTo>
                <a:lnTo>
                  <a:pt x="414" y="38"/>
                </a:lnTo>
                <a:lnTo>
                  <a:pt x="414" y="40"/>
                </a:lnTo>
                <a:lnTo>
                  <a:pt x="414" y="42"/>
                </a:lnTo>
                <a:lnTo>
                  <a:pt x="412" y="48"/>
                </a:lnTo>
                <a:lnTo>
                  <a:pt x="412" y="50"/>
                </a:lnTo>
                <a:lnTo>
                  <a:pt x="410" y="50"/>
                </a:lnTo>
                <a:lnTo>
                  <a:pt x="408" y="54"/>
                </a:lnTo>
                <a:lnTo>
                  <a:pt x="406" y="54"/>
                </a:lnTo>
                <a:lnTo>
                  <a:pt x="402" y="54"/>
                </a:lnTo>
                <a:lnTo>
                  <a:pt x="398" y="52"/>
                </a:lnTo>
                <a:lnTo>
                  <a:pt x="396" y="54"/>
                </a:lnTo>
                <a:lnTo>
                  <a:pt x="386" y="56"/>
                </a:lnTo>
                <a:lnTo>
                  <a:pt x="386" y="58"/>
                </a:lnTo>
                <a:lnTo>
                  <a:pt x="382" y="62"/>
                </a:lnTo>
                <a:lnTo>
                  <a:pt x="382" y="64"/>
                </a:lnTo>
                <a:lnTo>
                  <a:pt x="382" y="68"/>
                </a:lnTo>
                <a:lnTo>
                  <a:pt x="380" y="74"/>
                </a:lnTo>
                <a:lnTo>
                  <a:pt x="376" y="80"/>
                </a:lnTo>
                <a:lnTo>
                  <a:pt x="374" y="92"/>
                </a:lnTo>
                <a:lnTo>
                  <a:pt x="374" y="96"/>
                </a:lnTo>
                <a:lnTo>
                  <a:pt x="376" y="104"/>
                </a:lnTo>
                <a:lnTo>
                  <a:pt x="378" y="106"/>
                </a:lnTo>
                <a:lnTo>
                  <a:pt x="378" y="108"/>
                </a:lnTo>
                <a:lnTo>
                  <a:pt x="376" y="110"/>
                </a:lnTo>
                <a:lnTo>
                  <a:pt x="378" y="116"/>
                </a:lnTo>
                <a:lnTo>
                  <a:pt x="380" y="124"/>
                </a:lnTo>
                <a:lnTo>
                  <a:pt x="374" y="124"/>
                </a:lnTo>
                <a:lnTo>
                  <a:pt x="370" y="124"/>
                </a:lnTo>
                <a:lnTo>
                  <a:pt x="368" y="124"/>
                </a:lnTo>
                <a:lnTo>
                  <a:pt x="362" y="132"/>
                </a:lnTo>
                <a:lnTo>
                  <a:pt x="356" y="140"/>
                </a:lnTo>
                <a:lnTo>
                  <a:pt x="356" y="142"/>
                </a:lnTo>
                <a:lnTo>
                  <a:pt x="352" y="148"/>
                </a:lnTo>
                <a:lnTo>
                  <a:pt x="354" y="150"/>
                </a:lnTo>
                <a:lnTo>
                  <a:pt x="358" y="152"/>
                </a:lnTo>
                <a:lnTo>
                  <a:pt x="360" y="150"/>
                </a:lnTo>
                <a:lnTo>
                  <a:pt x="364" y="148"/>
                </a:lnTo>
                <a:lnTo>
                  <a:pt x="370" y="152"/>
                </a:lnTo>
                <a:lnTo>
                  <a:pt x="372" y="156"/>
                </a:lnTo>
                <a:lnTo>
                  <a:pt x="376" y="166"/>
                </a:lnTo>
                <a:lnTo>
                  <a:pt x="378" y="168"/>
                </a:lnTo>
                <a:lnTo>
                  <a:pt x="384" y="172"/>
                </a:lnTo>
                <a:lnTo>
                  <a:pt x="388" y="174"/>
                </a:lnTo>
                <a:lnTo>
                  <a:pt x="390" y="178"/>
                </a:lnTo>
                <a:lnTo>
                  <a:pt x="394" y="180"/>
                </a:lnTo>
                <a:lnTo>
                  <a:pt x="396" y="182"/>
                </a:lnTo>
                <a:lnTo>
                  <a:pt x="398" y="186"/>
                </a:lnTo>
                <a:lnTo>
                  <a:pt x="398" y="188"/>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4" name="Freeform 2659"/>
          <p:cNvSpPr>
            <a:spLocks/>
          </p:cNvSpPr>
          <p:nvPr/>
        </p:nvSpPr>
        <p:spPr bwMode="auto">
          <a:xfrm>
            <a:off x="5616706" y="5372195"/>
            <a:ext cx="191989" cy="230387"/>
          </a:xfrm>
          <a:custGeom>
            <a:avLst/>
            <a:gdLst/>
            <a:ahLst/>
            <a:cxnLst>
              <a:cxn ang="0">
                <a:pos x="8" y="88"/>
              </a:cxn>
              <a:cxn ang="0">
                <a:pos x="10" y="84"/>
              </a:cxn>
              <a:cxn ang="0">
                <a:pos x="6" y="78"/>
              </a:cxn>
              <a:cxn ang="0">
                <a:pos x="0" y="68"/>
              </a:cxn>
              <a:cxn ang="0">
                <a:pos x="4" y="54"/>
              </a:cxn>
              <a:cxn ang="0">
                <a:pos x="8" y="50"/>
              </a:cxn>
              <a:cxn ang="0">
                <a:pos x="14" y="44"/>
              </a:cxn>
              <a:cxn ang="0">
                <a:pos x="12" y="38"/>
              </a:cxn>
              <a:cxn ang="0">
                <a:pos x="24" y="20"/>
              </a:cxn>
              <a:cxn ang="0">
                <a:pos x="30" y="18"/>
              </a:cxn>
              <a:cxn ang="0">
                <a:pos x="32" y="24"/>
              </a:cxn>
              <a:cxn ang="0">
                <a:pos x="40" y="30"/>
              </a:cxn>
              <a:cxn ang="0">
                <a:pos x="42" y="22"/>
              </a:cxn>
              <a:cxn ang="0">
                <a:pos x="36" y="10"/>
              </a:cxn>
              <a:cxn ang="0">
                <a:pos x="32" y="10"/>
              </a:cxn>
              <a:cxn ang="0">
                <a:pos x="36" y="0"/>
              </a:cxn>
              <a:cxn ang="0">
                <a:pos x="50" y="4"/>
              </a:cxn>
              <a:cxn ang="0">
                <a:pos x="54" y="10"/>
              </a:cxn>
              <a:cxn ang="0">
                <a:pos x="70" y="20"/>
              </a:cxn>
              <a:cxn ang="0">
                <a:pos x="74" y="28"/>
              </a:cxn>
              <a:cxn ang="0">
                <a:pos x="80" y="34"/>
              </a:cxn>
              <a:cxn ang="0">
                <a:pos x="88" y="34"/>
              </a:cxn>
              <a:cxn ang="0">
                <a:pos x="102" y="40"/>
              </a:cxn>
              <a:cxn ang="0">
                <a:pos x="108" y="46"/>
              </a:cxn>
              <a:cxn ang="0">
                <a:pos x="116" y="50"/>
              </a:cxn>
              <a:cxn ang="0">
                <a:pos x="124" y="54"/>
              </a:cxn>
              <a:cxn ang="0">
                <a:pos x="130" y="60"/>
              </a:cxn>
              <a:cxn ang="0">
                <a:pos x="112" y="68"/>
              </a:cxn>
              <a:cxn ang="0">
                <a:pos x="108" y="70"/>
              </a:cxn>
              <a:cxn ang="0">
                <a:pos x="104" y="72"/>
              </a:cxn>
              <a:cxn ang="0">
                <a:pos x="106" y="76"/>
              </a:cxn>
              <a:cxn ang="0">
                <a:pos x="112" y="80"/>
              </a:cxn>
              <a:cxn ang="0">
                <a:pos x="102" y="92"/>
              </a:cxn>
              <a:cxn ang="0">
                <a:pos x="90" y="94"/>
              </a:cxn>
              <a:cxn ang="0">
                <a:pos x="90" y="86"/>
              </a:cxn>
              <a:cxn ang="0">
                <a:pos x="86" y="80"/>
              </a:cxn>
              <a:cxn ang="0">
                <a:pos x="82" y="86"/>
              </a:cxn>
              <a:cxn ang="0">
                <a:pos x="80" y="92"/>
              </a:cxn>
              <a:cxn ang="0">
                <a:pos x="60" y="126"/>
              </a:cxn>
              <a:cxn ang="0">
                <a:pos x="66" y="130"/>
              </a:cxn>
              <a:cxn ang="0">
                <a:pos x="66" y="136"/>
              </a:cxn>
              <a:cxn ang="0">
                <a:pos x="66" y="150"/>
              </a:cxn>
              <a:cxn ang="0">
                <a:pos x="62" y="152"/>
              </a:cxn>
              <a:cxn ang="0">
                <a:pos x="54" y="150"/>
              </a:cxn>
              <a:cxn ang="0">
                <a:pos x="50" y="144"/>
              </a:cxn>
              <a:cxn ang="0">
                <a:pos x="50" y="138"/>
              </a:cxn>
              <a:cxn ang="0">
                <a:pos x="44" y="130"/>
              </a:cxn>
              <a:cxn ang="0">
                <a:pos x="38" y="126"/>
              </a:cxn>
              <a:cxn ang="0">
                <a:pos x="30" y="118"/>
              </a:cxn>
              <a:cxn ang="0">
                <a:pos x="16" y="110"/>
              </a:cxn>
              <a:cxn ang="0">
                <a:pos x="12" y="108"/>
              </a:cxn>
              <a:cxn ang="0">
                <a:pos x="12" y="104"/>
              </a:cxn>
              <a:cxn ang="0">
                <a:pos x="20" y="108"/>
              </a:cxn>
              <a:cxn ang="0">
                <a:pos x="18" y="102"/>
              </a:cxn>
              <a:cxn ang="0">
                <a:pos x="4" y="102"/>
              </a:cxn>
              <a:cxn ang="0">
                <a:pos x="2" y="98"/>
              </a:cxn>
            </a:cxnLst>
            <a:rect l="0" t="0" r="r" b="b"/>
            <a:pathLst>
              <a:path w="130" h="156">
                <a:moveTo>
                  <a:pt x="2" y="92"/>
                </a:moveTo>
                <a:lnTo>
                  <a:pt x="8" y="88"/>
                </a:lnTo>
                <a:lnTo>
                  <a:pt x="10" y="86"/>
                </a:lnTo>
                <a:lnTo>
                  <a:pt x="10" y="84"/>
                </a:lnTo>
                <a:lnTo>
                  <a:pt x="8" y="80"/>
                </a:lnTo>
                <a:lnTo>
                  <a:pt x="6" y="78"/>
                </a:lnTo>
                <a:lnTo>
                  <a:pt x="4" y="74"/>
                </a:lnTo>
                <a:lnTo>
                  <a:pt x="0" y="68"/>
                </a:lnTo>
                <a:lnTo>
                  <a:pt x="2" y="56"/>
                </a:lnTo>
                <a:lnTo>
                  <a:pt x="4" y="54"/>
                </a:lnTo>
                <a:lnTo>
                  <a:pt x="6" y="52"/>
                </a:lnTo>
                <a:lnTo>
                  <a:pt x="8" y="50"/>
                </a:lnTo>
                <a:lnTo>
                  <a:pt x="12" y="48"/>
                </a:lnTo>
                <a:lnTo>
                  <a:pt x="14" y="44"/>
                </a:lnTo>
                <a:lnTo>
                  <a:pt x="12" y="42"/>
                </a:lnTo>
                <a:lnTo>
                  <a:pt x="12" y="38"/>
                </a:lnTo>
                <a:lnTo>
                  <a:pt x="16" y="28"/>
                </a:lnTo>
                <a:lnTo>
                  <a:pt x="24" y="20"/>
                </a:lnTo>
                <a:lnTo>
                  <a:pt x="28" y="20"/>
                </a:lnTo>
                <a:lnTo>
                  <a:pt x="30" y="18"/>
                </a:lnTo>
                <a:lnTo>
                  <a:pt x="32" y="22"/>
                </a:lnTo>
                <a:lnTo>
                  <a:pt x="32" y="24"/>
                </a:lnTo>
                <a:lnTo>
                  <a:pt x="36" y="30"/>
                </a:lnTo>
                <a:lnTo>
                  <a:pt x="40" y="30"/>
                </a:lnTo>
                <a:lnTo>
                  <a:pt x="40" y="28"/>
                </a:lnTo>
                <a:lnTo>
                  <a:pt x="42" y="22"/>
                </a:lnTo>
                <a:lnTo>
                  <a:pt x="36" y="12"/>
                </a:lnTo>
                <a:lnTo>
                  <a:pt x="36" y="10"/>
                </a:lnTo>
                <a:lnTo>
                  <a:pt x="34" y="10"/>
                </a:lnTo>
                <a:lnTo>
                  <a:pt x="32" y="10"/>
                </a:lnTo>
                <a:lnTo>
                  <a:pt x="32" y="6"/>
                </a:lnTo>
                <a:lnTo>
                  <a:pt x="36" y="0"/>
                </a:lnTo>
                <a:lnTo>
                  <a:pt x="48" y="4"/>
                </a:lnTo>
                <a:lnTo>
                  <a:pt x="50" y="4"/>
                </a:lnTo>
                <a:lnTo>
                  <a:pt x="52" y="8"/>
                </a:lnTo>
                <a:lnTo>
                  <a:pt x="54" y="10"/>
                </a:lnTo>
                <a:lnTo>
                  <a:pt x="66" y="16"/>
                </a:lnTo>
                <a:lnTo>
                  <a:pt x="70" y="20"/>
                </a:lnTo>
                <a:lnTo>
                  <a:pt x="74" y="26"/>
                </a:lnTo>
                <a:lnTo>
                  <a:pt x="74" y="28"/>
                </a:lnTo>
                <a:lnTo>
                  <a:pt x="80" y="32"/>
                </a:lnTo>
                <a:lnTo>
                  <a:pt x="80" y="34"/>
                </a:lnTo>
                <a:lnTo>
                  <a:pt x="82" y="34"/>
                </a:lnTo>
                <a:lnTo>
                  <a:pt x="88" y="34"/>
                </a:lnTo>
                <a:lnTo>
                  <a:pt x="98" y="38"/>
                </a:lnTo>
                <a:lnTo>
                  <a:pt x="102" y="40"/>
                </a:lnTo>
                <a:lnTo>
                  <a:pt x="106" y="44"/>
                </a:lnTo>
                <a:lnTo>
                  <a:pt x="108" y="46"/>
                </a:lnTo>
                <a:lnTo>
                  <a:pt x="114" y="50"/>
                </a:lnTo>
                <a:lnTo>
                  <a:pt x="116" y="50"/>
                </a:lnTo>
                <a:lnTo>
                  <a:pt x="122" y="52"/>
                </a:lnTo>
                <a:lnTo>
                  <a:pt x="124" y="54"/>
                </a:lnTo>
                <a:lnTo>
                  <a:pt x="128" y="56"/>
                </a:lnTo>
                <a:lnTo>
                  <a:pt x="130" y="60"/>
                </a:lnTo>
                <a:lnTo>
                  <a:pt x="120" y="68"/>
                </a:lnTo>
                <a:lnTo>
                  <a:pt x="112" y="68"/>
                </a:lnTo>
                <a:lnTo>
                  <a:pt x="110" y="68"/>
                </a:lnTo>
                <a:lnTo>
                  <a:pt x="108" y="70"/>
                </a:lnTo>
                <a:lnTo>
                  <a:pt x="106" y="70"/>
                </a:lnTo>
                <a:lnTo>
                  <a:pt x="104" y="72"/>
                </a:lnTo>
                <a:lnTo>
                  <a:pt x="104" y="76"/>
                </a:lnTo>
                <a:lnTo>
                  <a:pt x="106" y="76"/>
                </a:lnTo>
                <a:lnTo>
                  <a:pt x="110" y="78"/>
                </a:lnTo>
                <a:lnTo>
                  <a:pt x="112" y="80"/>
                </a:lnTo>
                <a:lnTo>
                  <a:pt x="110" y="88"/>
                </a:lnTo>
                <a:lnTo>
                  <a:pt x="102" y="92"/>
                </a:lnTo>
                <a:lnTo>
                  <a:pt x="94" y="96"/>
                </a:lnTo>
                <a:lnTo>
                  <a:pt x="90" y="94"/>
                </a:lnTo>
                <a:lnTo>
                  <a:pt x="90" y="90"/>
                </a:lnTo>
                <a:lnTo>
                  <a:pt x="90" y="86"/>
                </a:lnTo>
                <a:lnTo>
                  <a:pt x="90" y="82"/>
                </a:lnTo>
                <a:lnTo>
                  <a:pt x="86" y="80"/>
                </a:lnTo>
                <a:lnTo>
                  <a:pt x="82" y="84"/>
                </a:lnTo>
                <a:lnTo>
                  <a:pt x="82" y="86"/>
                </a:lnTo>
                <a:lnTo>
                  <a:pt x="80" y="88"/>
                </a:lnTo>
                <a:lnTo>
                  <a:pt x="80" y="92"/>
                </a:lnTo>
                <a:lnTo>
                  <a:pt x="74" y="100"/>
                </a:lnTo>
                <a:lnTo>
                  <a:pt x="60" y="126"/>
                </a:lnTo>
                <a:lnTo>
                  <a:pt x="64" y="128"/>
                </a:lnTo>
                <a:lnTo>
                  <a:pt x="66" y="130"/>
                </a:lnTo>
                <a:lnTo>
                  <a:pt x="68" y="132"/>
                </a:lnTo>
                <a:lnTo>
                  <a:pt x="66" y="136"/>
                </a:lnTo>
                <a:lnTo>
                  <a:pt x="66" y="146"/>
                </a:lnTo>
                <a:lnTo>
                  <a:pt x="66" y="150"/>
                </a:lnTo>
                <a:lnTo>
                  <a:pt x="68" y="156"/>
                </a:lnTo>
                <a:lnTo>
                  <a:pt x="62" y="152"/>
                </a:lnTo>
                <a:lnTo>
                  <a:pt x="58" y="150"/>
                </a:lnTo>
                <a:lnTo>
                  <a:pt x="54" y="150"/>
                </a:lnTo>
                <a:lnTo>
                  <a:pt x="52" y="148"/>
                </a:lnTo>
                <a:lnTo>
                  <a:pt x="50" y="144"/>
                </a:lnTo>
                <a:lnTo>
                  <a:pt x="52" y="142"/>
                </a:lnTo>
                <a:lnTo>
                  <a:pt x="50" y="138"/>
                </a:lnTo>
                <a:lnTo>
                  <a:pt x="46" y="134"/>
                </a:lnTo>
                <a:lnTo>
                  <a:pt x="44" y="130"/>
                </a:lnTo>
                <a:lnTo>
                  <a:pt x="40" y="130"/>
                </a:lnTo>
                <a:lnTo>
                  <a:pt x="38" y="126"/>
                </a:lnTo>
                <a:lnTo>
                  <a:pt x="32" y="118"/>
                </a:lnTo>
                <a:lnTo>
                  <a:pt x="30" y="118"/>
                </a:lnTo>
                <a:lnTo>
                  <a:pt x="28" y="118"/>
                </a:lnTo>
                <a:lnTo>
                  <a:pt x="16" y="110"/>
                </a:lnTo>
                <a:lnTo>
                  <a:pt x="14" y="112"/>
                </a:lnTo>
                <a:lnTo>
                  <a:pt x="12" y="108"/>
                </a:lnTo>
                <a:lnTo>
                  <a:pt x="10" y="106"/>
                </a:lnTo>
                <a:lnTo>
                  <a:pt x="12" y="104"/>
                </a:lnTo>
                <a:lnTo>
                  <a:pt x="14" y="106"/>
                </a:lnTo>
                <a:lnTo>
                  <a:pt x="20" y="108"/>
                </a:lnTo>
                <a:lnTo>
                  <a:pt x="20" y="106"/>
                </a:lnTo>
                <a:lnTo>
                  <a:pt x="18" y="102"/>
                </a:lnTo>
                <a:lnTo>
                  <a:pt x="6" y="104"/>
                </a:lnTo>
                <a:lnTo>
                  <a:pt x="4" y="102"/>
                </a:lnTo>
                <a:lnTo>
                  <a:pt x="2" y="100"/>
                </a:lnTo>
                <a:lnTo>
                  <a:pt x="2" y="98"/>
                </a:lnTo>
                <a:lnTo>
                  <a:pt x="2" y="9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5" name="Freeform 2660"/>
          <p:cNvSpPr>
            <a:spLocks/>
          </p:cNvSpPr>
          <p:nvPr/>
        </p:nvSpPr>
        <p:spPr bwMode="auto">
          <a:xfrm>
            <a:off x="3921300" y="5392871"/>
            <a:ext cx="38398" cy="29537"/>
          </a:xfrm>
          <a:custGeom>
            <a:avLst/>
            <a:gdLst/>
            <a:ahLst/>
            <a:cxnLst>
              <a:cxn ang="0">
                <a:pos x="4" y="4"/>
              </a:cxn>
              <a:cxn ang="0">
                <a:pos x="8" y="0"/>
              </a:cxn>
              <a:cxn ang="0">
                <a:pos x="12" y="2"/>
              </a:cxn>
              <a:cxn ang="0">
                <a:pos x="20" y="6"/>
              </a:cxn>
              <a:cxn ang="0">
                <a:pos x="24" y="8"/>
              </a:cxn>
              <a:cxn ang="0">
                <a:pos x="26" y="12"/>
              </a:cxn>
              <a:cxn ang="0">
                <a:pos x="24" y="12"/>
              </a:cxn>
              <a:cxn ang="0">
                <a:pos x="22" y="16"/>
              </a:cxn>
              <a:cxn ang="0">
                <a:pos x="20" y="16"/>
              </a:cxn>
              <a:cxn ang="0">
                <a:pos x="16" y="20"/>
              </a:cxn>
              <a:cxn ang="0">
                <a:pos x="8" y="20"/>
              </a:cxn>
              <a:cxn ang="0">
                <a:pos x="6" y="20"/>
              </a:cxn>
              <a:cxn ang="0">
                <a:pos x="2" y="20"/>
              </a:cxn>
              <a:cxn ang="0">
                <a:pos x="0" y="14"/>
              </a:cxn>
              <a:cxn ang="0">
                <a:pos x="2" y="10"/>
              </a:cxn>
              <a:cxn ang="0">
                <a:pos x="2" y="8"/>
              </a:cxn>
              <a:cxn ang="0">
                <a:pos x="4" y="4"/>
              </a:cxn>
            </a:cxnLst>
            <a:rect l="0" t="0" r="r" b="b"/>
            <a:pathLst>
              <a:path w="26" h="20">
                <a:moveTo>
                  <a:pt x="4" y="4"/>
                </a:moveTo>
                <a:lnTo>
                  <a:pt x="8" y="0"/>
                </a:lnTo>
                <a:lnTo>
                  <a:pt x="12" y="2"/>
                </a:lnTo>
                <a:lnTo>
                  <a:pt x="20" y="6"/>
                </a:lnTo>
                <a:lnTo>
                  <a:pt x="24" y="8"/>
                </a:lnTo>
                <a:lnTo>
                  <a:pt x="26" y="12"/>
                </a:lnTo>
                <a:lnTo>
                  <a:pt x="24" y="12"/>
                </a:lnTo>
                <a:lnTo>
                  <a:pt x="22" y="16"/>
                </a:lnTo>
                <a:lnTo>
                  <a:pt x="20" y="16"/>
                </a:lnTo>
                <a:lnTo>
                  <a:pt x="16" y="20"/>
                </a:lnTo>
                <a:lnTo>
                  <a:pt x="8" y="20"/>
                </a:lnTo>
                <a:lnTo>
                  <a:pt x="6" y="20"/>
                </a:lnTo>
                <a:lnTo>
                  <a:pt x="2" y="20"/>
                </a:lnTo>
                <a:lnTo>
                  <a:pt x="0" y="14"/>
                </a:lnTo>
                <a:lnTo>
                  <a:pt x="2" y="10"/>
                </a:lnTo>
                <a:lnTo>
                  <a:pt x="2" y="8"/>
                </a:lnTo>
                <a:lnTo>
                  <a:pt x="4" y="4"/>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6" name="Freeform 2661"/>
          <p:cNvSpPr>
            <a:spLocks/>
          </p:cNvSpPr>
          <p:nvPr/>
        </p:nvSpPr>
        <p:spPr bwMode="auto">
          <a:xfrm>
            <a:off x="5829370" y="5511018"/>
            <a:ext cx="256969" cy="215618"/>
          </a:xfrm>
          <a:custGeom>
            <a:avLst/>
            <a:gdLst/>
            <a:ahLst/>
            <a:cxnLst>
              <a:cxn ang="0">
                <a:pos x="22" y="142"/>
              </a:cxn>
              <a:cxn ang="0">
                <a:pos x="12" y="126"/>
              </a:cxn>
              <a:cxn ang="0">
                <a:pos x="6" y="112"/>
              </a:cxn>
              <a:cxn ang="0">
                <a:pos x="4" y="104"/>
              </a:cxn>
              <a:cxn ang="0">
                <a:pos x="8" y="102"/>
              </a:cxn>
              <a:cxn ang="0">
                <a:pos x="4" y="92"/>
              </a:cxn>
              <a:cxn ang="0">
                <a:pos x="0" y="88"/>
              </a:cxn>
              <a:cxn ang="0">
                <a:pos x="4" y="76"/>
              </a:cxn>
              <a:cxn ang="0">
                <a:pos x="4" y="64"/>
              </a:cxn>
              <a:cxn ang="0">
                <a:pos x="6" y="54"/>
              </a:cxn>
              <a:cxn ang="0">
                <a:pos x="14" y="56"/>
              </a:cxn>
              <a:cxn ang="0">
                <a:pos x="20" y="48"/>
              </a:cxn>
              <a:cxn ang="0">
                <a:pos x="18" y="38"/>
              </a:cxn>
              <a:cxn ang="0">
                <a:pos x="28" y="30"/>
              </a:cxn>
              <a:cxn ang="0">
                <a:pos x="42" y="22"/>
              </a:cxn>
              <a:cxn ang="0">
                <a:pos x="54" y="26"/>
              </a:cxn>
              <a:cxn ang="0">
                <a:pos x="64" y="14"/>
              </a:cxn>
              <a:cxn ang="0">
                <a:pos x="78" y="16"/>
              </a:cxn>
              <a:cxn ang="0">
                <a:pos x="82" y="16"/>
              </a:cxn>
              <a:cxn ang="0">
                <a:pos x="86" y="10"/>
              </a:cxn>
              <a:cxn ang="0">
                <a:pos x="100" y="6"/>
              </a:cxn>
              <a:cxn ang="0">
                <a:pos x="112" y="6"/>
              </a:cxn>
              <a:cxn ang="0">
                <a:pos x="120" y="0"/>
              </a:cxn>
              <a:cxn ang="0">
                <a:pos x="128" y="8"/>
              </a:cxn>
              <a:cxn ang="0">
                <a:pos x="142" y="22"/>
              </a:cxn>
              <a:cxn ang="0">
                <a:pos x="158" y="28"/>
              </a:cxn>
              <a:cxn ang="0">
                <a:pos x="164" y="40"/>
              </a:cxn>
              <a:cxn ang="0">
                <a:pos x="170" y="50"/>
              </a:cxn>
              <a:cxn ang="0">
                <a:pos x="174" y="54"/>
              </a:cxn>
              <a:cxn ang="0">
                <a:pos x="172" y="60"/>
              </a:cxn>
              <a:cxn ang="0">
                <a:pos x="170" y="66"/>
              </a:cxn>
              <a:cxn ang="0">
                <a:pos x="172" y="88"/>
              </a:cxn>
              <a:cxn ang="0">
                <a:pos x="170" y="90"/>
              </a:cxn>
              <a:cxn ang="0">
                <a:pos x="160" y="92"/>
              </a:cxn>
              <a:cxn ang="0">
                <a:pos x="160" y="100"/>
              </a:cxn>
              <a:cxn ang="0">
                <a:pos x="160" y="108"/>
              </a:cxn>
              <a:cxn ang="0">
                <a:pos x="142" y="114"/>
              </a:cxn>
              <a:cxn ang="0">
                <a:pos x="132" y="114"/>
              </a:cxn>
              <a:cxn ang="0">
                <a:pos x="126" y="110"/>
              </a:cxn>
              <a:cxn ang="0">
                <a:pos x="106" y="116"/>
              </a:cxn>
              <a:cxn ang="0">
                <a:pos x="102" y="122"/>
              </a:cxn>
              <a:cxn ang="0">
                <a:pos x="82" y="142"/>
              </a:cxn>
              <a:cxn ang="0">
                <a:pos x="78" y="138"/>
              </a:cxn>
              <a:cxn ang="0">
                <a:pos x="66" y="142"/>
              </a:cxn>
              <a:cxn ang="0">
                <a:pos x="52" y="146"/>
              </a:cxn>
              <a:cxn ang="0">
                <a:pos x="40" y="146"/>
              </a:cxn>
              <a:cxn ang="0">
                <a:pos x="38" y="142"/>
              </a:cxn>
              <a:cxn ang="0">
                <a:pos x="30" y="140"/>
              </a:cxn>
            </a:cxnLst>
            <a:rect l="0" t="0" r="r" b="b"/>
            <a:pathLst>
              <a:path w="174" h="146">
                <a:moveTo>
                  <a:pt x="28" y="142"/>
                </a:moveTo>
                <a:lnTo>
                  <a:pt x="22" y="142"/>
                </a:lnTo>
                <a:lnTo>
                  <a:pt x="16" y="126"/>
                </a:lnTo>
                <a:lnTo>
                  <a:pt x="12" y="126"/>
                </a:lnTo>
                <a:lnTo>
                  <a:pt x="10" y="120"/>
                </a:lnTo>
                <a:lnTo>
                  <a:pt x="6" y="112"/>
                </a:lnTo>
                <a:lnTo>
                  <a:pt x="4" y="108"/>
                </a:lnTo>
                <a:lnTo>
                  <a:pt x="4" y="104"/>
                </a:lnTo>
                <a:lnTo>
                  <a:pt x="4" y="102"/>
                </a:lnTo>
                <a:lnTo>
                  <a:pt x="8" y="102"/>
                </a:lnTo>
                <a:lnTo>
                  <a:pt x="8" y="96"/>
                </a:lnTo>
                <a:lnTo>
                  <a:pt x="4" y="92"/>
                </a:lnTo>
                <a:lnTo>
                  <a:pt x="0" y="90"/>
                </a:lnTo>
                <a:lnTo>
                  <a:pt x="0" y="88"/>
                </a:lnTo>
                <a:lnTo>
                  <a:pt x="0" y="84"/>
                </a:lnTo>
                <a:lnTo>
                  <a:pt x="4" y="76"/>
                </a:lnTo>
                <a:lnTo>
                  <a:pt x="2" y="66"/>
                </a:lnTo>
                <a:lnTo>
                  <a:pt x="4" y="64"/>
                </a:lnTo>
                <a:lnTo>
                  <a:pt x="4" y="54"/>
                </a:lnTo>
                <a:lnTo>
                  <a:pt x="6" y="54"/>
                </a:lnTo>
                <a:lnTo>
                  <a:pt x="8" y="56"/>
                </a:lnTo>
                <a:lnTo>
                  <a:pt x="14" y="56"/>
                </a:lnTo>
                <a:lnTo>
                  <a:pt x="16" y="54"/>
                </a:lnTo>
                <a:lnTo>
                  <a:pt x="20" y="48"/>
                </a:lnTo>
                <a:lnTo>
                  <a:pt x="18" y="44"/>
                </a:lnTo>
                <a:lnTo>
                  <a:pt x="18" y="38"/>
                </a:lnTo>
                <a:lnTo>
                  <a:pt x="20" y="34"/>
                </a:lnTo>
                <a:lnTo>
                  <a:pt x="28" y="30"/>
                </a:lnTo>
                <a:lnTo>
                  <a:pt x="40" y="22"/>
                </a:lnTo>
                <a:lnTo>
                  <a:pt x="42" y="22"/>
                </a:lnTo>
                <a:lnTo>
                  <a:pt x="48" y="26"/>
                </a:lnTo>
                <a:lnTo>
                  <a:pt x="54" y="26"/>
                </a:lnTo>
                <a:lnTo>
                  <a:pt x="56" y="22"/>
                </a:lnTo>
                <a:lnTo>
                  <a:pt x="64" y="14"/>
                </a:lnTo>
                <a:lnTo>
                  <a:pt x="74" y="14"/>
                </a:lnTo>
                <a:lnTo>
                  <a:pt x="78" y="16"/>
                </a:lnTo>
                <a:lnTo>
                  <a:pt x="80" y="16"/>
                </a:lnTo>
                <a:lnTo>
                  <a:pt x="82" y="16"/>
                </a:lnTo>
                <a:lnTo>
                  <a:pt x="86" y="12"/>
                </a:lnTo>
                <a:lnTo>
                  <a:pt x="86" y="10"/>
                </a:lnTo>
                <a:lnTo>
                  <a:pt x="90" y="6"/>
                </a:lnTo>
                <a:lnTo>
                  <a:pt x="100" y="6"/>
                </a:lnTo>
                <a:lnTo>
                  <a:pt x="104" y="8"/>
                </a:lnTo>
                <a:lnTo>
                  <a:pt x="112" y="6"/>
                </a:lnTo>
                <a:lnTo>
                  <a:pt x="114" y="4"/>
                </a:lnTo>
                <a:lnTo>
                  <a:pt x="120" y="0"/>
                </a:lnTo>
                <a:lnTo>
                  <a:pt x="124" y="4"/>
                </a:lnTo>
                <a:lnTo>
                  <a:pt x="128" y="8"/>
                </a:lnTo>
                <a:lnTo>
                  <a:pt x="136" y="18"/>
                </a:lnTo>
                <a:lnTo>
                  <a:pt x="142" y="22"/>
                </a:lnTo>
                <a:lnTo>
                  <a:pt x="148" y="26"/>
                </a:lnTo>
                <a:lnTo>
                  <a:pt x="158" y="28"/>
                </a:lnTo>
                <a:lnTo>
                  <a:pt x="162" y="36"/>
                </a:lnTo>
                <a:lnTo>
                  <a:pt x="164" y="40"/>
                </a:lnTo>
                <a:lnTo>
                  <a:pt x="168" y="48"/>
                </a:lnTo>
                <a:lnTo>
                  <a:pt x="170" y="50"/>
                </a:lnTo>
                <a:lnTo>
                  <a:pt x="172" y="52"/>
                </a:lnTo>
                <a:lnTo>
                  <a:pt x="174" y="54"/>
                </a:lnTo>
                <a:lnTo>
                  <a:pt x="174" y="58"/>
                </a:lnTo>
                <a:lnTo>
                  <a:pt x="172" y="60"/>
                </a:lnTo>
                <a:lnTo>
                  <a:pt x="170" y="64"/>
                </a:lnTo>
                <a:lnTo>
                  <a:pt x="170" y="66"/>
                </a:lnTo>
                <a:lnTo>
                  <a:pt x="172" y="78"/>
                </a:lnTo>
                <a:lnTo>
                  <a:pt x="172" y="88"/>
                </a:lnTo>
                <a:lnTo>
                  <a:pt x="172" y="90"/>
                </a:lnTo>
                <a:lnTo>
                  <a:pt x="170" y="90"/>
                </a:lnTo>
                <a:lnTo>
                  <a:pt x="162" y="90"/>
                </a:lnTo>
                <a:lnTo>
                  <a:pt x="160" y="92"/>
                </a:lnTo>
                <a:lnTo>
                  <a:pt x="160" y="94"/>
                </a:lnTo>
                <a:lnTo>
                  <a:pt x="160" y="100"/>
                </a:lnTo>
                <a:lnTo>
                  <a:pt x="160" y="102"/>
                </a:lnTo>
                <a:lnTo>
                  <a:pt x="160" y="108"/>
                </a:lnTo>
                <a:lnTo>
                  <a:pt x="148" y="114"/>
                </a:lnTo>
                <a:lnTo>
                  <a:pt x="142" y="114"/>
                </a:lnTo>
                <a:lnTo>
                  <a:pt x="140" y="114"/>
                </a:lnTo>
                <a:lnTo>
                  <a:pt x="132" y="114"/>
                </a:lnTo>
                <a:lnTo>
                  <a:pt x="130" y="112"/>
                </a:lnTo>
                <a:lnTo>
                  <a:pt x="126" y="110"/>
                </a:lnTo>
                <a:lnTo>
                  <a:pt x="122" y="110"/>
                </a:lnTo>
                <a:lnTo>
                  <a:pt x="106" y="116"/>
                </a:lnTo>
                <a:lnTo>
                  <a:pt x="102" y="118"/>
                </a:lnTo>
                <a:lnTo>
                  <a:pt x="102" y="122"/>
                </a:lnTo>
                <a:lnTo>
                  <a:pt x="94" y="134"/>
                </a:lnTo>
                <a:lnTo>
                  <a:pt x="82" y="142"/>
                </a:lnTo>
                <a:lnTo>
                  <a:pt x="78" y="140"/>
                </a:lnTo>
                <a:lnTo>
                  <a:pt x="78" y="138"/>
                </a:lnTo>
                <a:lnTo>
                  <a:pt x="70" y="138"/>
                </a:lnTo>
                <a:lnTo>
                  <a:pt x="66" y="142"/>
                </a:lnTo>
                <a:lnTo>
                  <a:pt x="62" y="142"/>
                </a:lnTo>
                <a:lnTo>
                  <a:pt x="52" y="146"/>
                </a:lnTo>
                <a:lnTo>
                  <a:pt x="50" y="146"/>
                </a:lnTo>
                <a:lnTo>
                  <a:pt x="40" y="146"/>
                </a:lnTo>
                <a:lnTo>
                  <a:pt x="40" y="142"/>
                </a:lnTo>
                <a:lnTo>
                  <a:pt x="38" y="142"/>
                </a:lnTo>
                <a:lnTo>
                  <a:pt x="36" y="140"/>
                </a:lnTo>
                <a:lnTo>
                  <a:pt x="30" y="140"/>
                </a:lnTo>
                <a:lnTo>
                  <a:pt x="28" y="142"/>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7" name="Freeform 2663"/>
          <p:cNvSpPr>
            <a:spLocks/>
          </p:cNvSpPr>
          <p:nvPr/>
        </p:nvSpPr>
        <p:spPr bwMode="auto">
          <a:xfrm>
            <a:off x="5705317" y="5490343"/>
            <a:ext cx="191989" cy="407606"/>
          </a:xfrm>
          <a:custGeom>
            <a:avLst/>
            <a:gdLst/>
            <a:ahLst/>
            <a:cxnLst>
              <a:cxn ang="0">
                <a:pos x="112" y="210"/>
              </a:cxn>
              <a:cxn ang="0">
                <a:pos x="110" y="218"/>
              </a:cxn>
              <a:cxn ang="0">
                <a:pos x="102" y="234"/>
              </a:cxn>
              <a:cxn ang="0">
                <a:pos x="92" y="234"/>
              </a:cxn>
              <a:cxn ang="0">
                <a:pos x="84" y="248"/>
              </a:cxn>
              <a:cxn ang="0">
                <a:pos x="90" y="258"/>
              </a:cxn>
              <a:cxn ang="0">
                <a:pos x="84" y="260"/>
              </a:cxn>
              <a:cxn ang="0">
                <a:pos x="84" y="266"/>
              </a:cxn>
              <a:cxn ang="0">
                <a:pos x="74" y="274"/>
              </a:cxn>
              <a:cxn ang="0">
                <a:pos x="64" y="272"/>
              </a:cxn>
              <a:cxn ang="0">
                <a:pos x="60" y="254"/>
              </a:cxn>
              <a:cxn ang="0">
                <a:pos x="48" y="238"/>
              </a:cxn>
              <a:cxn ang="0">
                <a:pos x="32" y="230"/>
              </a:cxn>
              <a:cxn ang="0">
                <a:pos x="18" y="220"/>
              </a:cxn>
              <a:cxn ang="0">
                <a:pos x="12" y="206"/>
              </a:cxn>
              <a:cxn ang="0">
                <a:pos x="18" y="214"/>
              </a:cxn>
              <a:cxn ang="0">
                <a:pos x="22" y="212"/>
              </a:cxn>
              <a:cxn ang="0">
                <a:pos x="16" y="192"/>
              </a:cxn>
              <a:cxn ang="0">
                <a:pos x="8" y="186"/>
              </a:cxn>
              <a:cxn ang="0">
                <a:pos x="14" y="166"/>
              </a:cxn>
              <a:cxn ang="0">
                <a:pos x="22" y="160"/>
              </a:cxn>
              <a:cxn ang="0">
                <a:pos x="16" y="152"/>
              </a:cxn>
              <a:cxn ang="0">
                <a:pos x="20" y="128"/>
              </a:cxn>
              <a:cxn ang="0">
                <a:pos x="16" y="124"/>
              </a:cxn>
              <a:cxn ang="0">
                <a:pos x="22" y="100"/>
              </a:cxn>
              <a:cxn ang="0">
                <a:pos x="22" y="90"/>
              </a:cxn>
              <a:cxn ang="0">
                <a:pos x="18" y="76"/>
              </a:cxn>
              <a:cxn ang="0">
                <a:pos x="10" y="74"/>
              </a:cxn>
              <a:cxn ang="0">
                <a:pos x="6" y="66"/>
              </a:cxn>
              <a:cxn ang="0">
                <a:pos x="6" y="50"/>
              </a:cxn>
              <a:cxn ang="0">
                <a:pos x="14" y="20"/>
              </a:cxn>
              <a:cxn ang="0">
                <a:pos x="22" y="6"/>
              </a:cxn>
              <a:cxn ang="0">
                <a:pos x="30" y="2"/>
              </a:cxn>
              <a:cxn ang="0">
                <a:pos x="30" y="14"/>
              </a:cxn>
              <a:cxn ang="0">
                <a:pos x="50" y="8"/>
              </a:cxn>
              <a:cxn ang="0">
                <a:pos x="62" y="20"/>
              </a:cxn>
              <a:cxn ang="0">
                <a:pos x="72" y="30"/>
              </a:cxn>
              <a:cxn ang="0">
                <a:pos x="84" y="36"/>
              </a:cxn>
              <a:cxn ang="0">
                <a:pos x="92" y="62"/>
              </a:cxn>
              <a:cxn ang="0">
                <a:pos x="88" y="68"/>
              </a:cxn>
              <a:cxn ang="0">
                <a:pos x="88" y="90"/>
              </a:cxn>
              <a:cxn ang="0">
                <a:pos x="84" y="104"/>
              </a:cxn>
              <a:cxn ang="0">
                <a:pos x="92" y="116"/>
              </a:cxn>
              <a:cxn ang="0">
                <a:pos x="88" y="122"/>
              </a:cxn>
              <a:cxn ang="0">
                <a:pos x="96" y="140"/>
              </a:cxn>
              <a:cxn ang="0">
                <a:pos x="112" y="156"/>
              </a:cxn>
              <a:cxn ang="0">
                <a:pos x="122" y="156"/>
              </a:cxn>
              <a:cxn ang="0">
                <a:pos x="124" y="166"/>
              </a:cxn>
              <a:cxn ang="0">
                <a:pos x="130" y="180"/>
              </a:cxn>
              <a:cxn ang="0">
                <a:pos x="122" y="196"/>
              </a:cxn>
            </a:cxnLst>
            <a:rect l="0" t="0" r="r" b="b"/>
            <a:pathLst>
              <a:path w="130" h="276">
                <a:moveTo>
                  <a:pt x="114" y="200"/>
                </a:moveTo>
                <a:lnTo>
                  <a:pt x="112" y="204"/>
                </a:lnTo>
                <a:lnTo>
                  <a:pt x="112" y="210"/>
                </a:lnTo>
                <a:lnTo>
                  <a:pt x="110" y="212"/>
                </a:lnTo>
                <a:lnTo>
                  <a:pt x="108" y="214"/>
                </a:lnTo>
                <a:lnTo>
                  <a:pt x="110" y="218"/>
                </a:lnTo>
                <a:lnTo>
                  <a:pt x="106" y="230"/>
                </a:lnTo>
                <a:lnTo>
                  <a:pt x="104" y="232"/>
                </a:lnTo>
                <a:lnTo>
                  <a:pt x="102" y="234"/>
                </a:lnTo>
                <a:lnTo>
                  <a:pt x="100" y="234"/>
                </a:lnTo>
                <a:lnTo>
                  <a:pt x="94" y="234"/>
                </a:lnTo>
                <a:lnTo>
                  <a:pt x="92" y="234"/>
                </a:lnTo>
                <a:lnTo>
                  <a:pt x="90" y="236"/>
                </a:lnTo>
                <a:lnTo>
                  <a:pt x="82" y="242"/>
                </a:lnTo>
                <a:lnTo>
                  <a:pt x="84" y="248"/>
                </a:lnTo>
                <a:lnTo>
                  <a:pt x="88" y="252"/>
                </a:lnTo>
                <a:lnTo>
                  <a:pt x="90" y="256"/>
                </a:lnTo>
                <a:lnTo>
                  <a:pt x="90" y="258"/>
                </a:lnTo>
                <a:lnTo>
                  <a:pt x="90" y="260"/>
                </a:lnTo>
                <a:lnTo>
                  <a:pt x="88" y="260"/>
                </a:lnTo>
                <a:lnTo>
                  <a:pt x="84" y="260"/>
                </a:lnTo>
                <a:lnTo>
                  <a:pt x="82" y="260"/>
                </a:lnTo>
                <a:lnTo>
                  <a:pt x="82" y="264"/>
                </a:lnTo>
                <a:lnTo>
                  <a:pt x="84" y="266"/>
                </a:lnTo>
                <a:lnTo>
                  <a:pt x="78" y="274"/>
                </a:lnTo>
                <a:lnTo>
                  <a:pt x="76" y="276"/>
                </a:lnTo>
                <a:lnTo>
                  <a:pt x="74" y="274"/>
                </a:lnTo>
                <a:lnTo>
                  <a:pt x="72" y="274"/>
                </a:lnTo>
                <a:lnTo>
                  <a:pt x="68" y="272"/>
                </a:lnTo>
                <a:lnTo>
                  <a:pt x="64" y="272"/>
                </a:lnTo>
                <a:lnTo>
                  <a:pt x="60" y="272"/>
                </a:lnTo>
                <a:lnTo>
                  <a:pt x="60" y="264"/>
                </a:lnTo>
                <a:lnTo>
                  <a:pt x="60" y="254"/>
                </a:lnTo>
                <a:lnTo>
                  <a:pt x="56" y="250"/>
                </a:lnTo>
                <a:lnTo>
                  <a:pt x="50" y="240"/>
                </a:lnTo>
                <a:lnTo>
                  <a:pt x="48" y="238"/>
                </a:lnTo>
                <a:lnTo>
                  <a:pt x="42" y="236"/>
                </a:lnTo>
                <a:lnTo>
                  <a:pt x="40" y="234"/>
                </a:lnTo>
                <a:lnTo>
                  <a:pt x="32" y="230"/>
                </a:lnTo>
                <a:lnTo>
                  <a:pt x="24" y="226"/>
                </a:lnTo>
                <a:lnTo>
                  <a:pt x="20" y="224"/>
                </a:lnTo>
                <a:lnTo>
                  <a:pt x="18" y="220"/>
                </a:lnTo>
                <a:lnTo>
                  <a:pt x="8" y="208"/>
                </a:lnTo>
                <a:lnTo>
                  <a:pt x="10" y="206"/>
                </a:lnTo>
                <a:lnTo>
                  <a:pt x="12" y="206"/>
                </a:lnTo>
                <a:lnTo>
                  <a:pt x="16" y="210"/>
                </a:lnTo>
                <a:lnTo>
                  <a:pt x="16" y="212"/>
                </a:lnTo>
                <a:lnTo>
                  <a:pt x="18" y="214"/>
                </a:lnTo>
                <a:lnTo>
                  <a:pt x="18" y="216"/>
                </a:lnTo>
                <a:lnTo>
                  <a:pt x="22" y="214"/>
                </a:lnTo>
                <a:lnTo>
                  <a:pt x="22" y="212"/>
                </a:lnTo>
                <a:lnTo>
                  <a:pt x="22" y="206"/>
                </a:lnTo>
                <a:lnTo>
                  <a:pt x="20" y="194"/>
                </a:lnTo>
                <a:lnTo>
                  <a:pt x="16" y="192"/>
                </a:lnTo>
                <a:lnTo>
                  <a:pt x="14" y="192"/>
                </a:lnTo>
                <a:lnTo>
                  <a:pt x="10" y="190"/>
                </a:lnTo>
                <a:lnTo>
                  <a:pt x="8" y="186"/>
                </a:lnTo>
                <a:lnTo>
                  <a:pt x="12" y="182"/>
                </a:lnTo>
                <a:lnTo>
                  <a:pt x="14" y="170"/>
                </a:lnTo>
                <a:lnTo>
                  <a:pt x="14" y="166"/>
                </a:lnTo>
                <a:lnTo>
                  <a:pt x="18" y="164"/>
                </a:lnTo>
                <a:lnTo>
                  <a:pt x="22" y="162"/>
                </a:lnTo>
                <a:lnTo>
                  <a:pt x="22" y="160"/>
                </a:lnTo>
                <a:lnTo>
                  <a:pt x="22" y="156"/>
                </a:lnTo>
                <a:lnTo>
                  <a:pt x="18" y="152"/>
                </a:lnTo>
                <a:lnTo>
                  <a:pt x="16" y="152"/>
                </a:lnTo>
                <a:lnTo>
                  <a:pt x="16" y="148"/>
                </a:lnTo>
                <a:lnTo>
                  <a:pt x="20" y="130"/>
                </a:lnTo>
                <a:lnTo>
                  <a:pt x="20" y="128"/>
                </a:lnTo>
                <a:lnTo>
                  <a:pt x="18" y="126"/>
                </a:lnTo>
                <a:lnTo>
                  <a:pt x="18" y="124"/>
                </a:lnTo>
                <a:lnTo>
                  <a:pt x="16" y="124"/>
                </a:lnTo>
                <a:lnTo>
                  <a:pt x="14" y="116"/>
                </a:lnTo>
                <a:lnTo>
                  <a:pt x="18" y="100"/>
                </a:lnTo>
                <a:lnTo>
                  <a:pt x="22" y="100"/>
                </a:lnTo>
                <a:lnTo>
                  <a:pt x="22" y="98"/>
                </a:lnTo>
                <a:lnTo>
                  <a:pt x="22" y="94"/>
                </a:lnTo>
                <a:lnTo>
                  <a:pt x="22" y="90"/>
                </a:lnTo>
                <a:lnTo>
                  <a:pt x="24" y="82"/>
                </a:lnTo>
                <a:lnTo>
                  <a:pt x="22" y="78"/>
                </a:lnTo>
                <a:lnTo>
                  <a:pt x="18" y="76"/>
                </a:lnTo>
                <a:lnTo>
                  <a:pt x="14" y="74"/>
                </a:lnTo>
                <a:lnTo>
                  <a:pt x="12" y="74"/>
                </a:lnTo>
                <a:lnTo>
                  <a:pt x="10" y="74"/>
                </a:lnTo>
                <a:lnTo>
                  <a:pt x="8" y="76"/>
                </a:lnTo>
                <a:lnTo>
                  <a:pt x="6" y="70"/>
                </a:lnTo>
                <a:lnTo>
                  <a:pt x="6" y="66"/>
                </a:lnTo>
                <a:lnTo>
                  <a:pt x="6" y="56"/>
                </a:lnTo>
                <a:lnTo>
                  <a:pt x="8" y="52"/>
                </a:lnTo>
                <a:lnTo>
                  <a:pt x="6" y="50"/>
                </a:lnTo>
                <a:lnTo>
                  <a:pt x="4" y="48"/>
                </a:lnTo>
                <a:lnTo>
                  <a:pt x="0" y="46"/>
                </a:lnTo>
                <a:lnTo>
                  <a:pt x="14" y="20"/>
                </a:lnTo>
                <a:lnTo>
                  <a:pt x="20" y="12"/>
                </a:lnTo>
                <a:lnTo>
                  <a:pt x="20" y="8"/>
                </a:lnTo>
                <a:lnTo>
                  <a:pt x="22" y="6"/>
                </a:lnTo>
                <a:lnTo>
                  <a:pt x="22" y="4"/>
                </a:lnTo>
                <a:lnTo>
                  <a:pt x="26" y="0"/>
                </a:lnTo>
                <a:lnTo>
                  <a:pt x="30" y="2"/>
                </a:lnTo>
                <a:lnTo>
                  <a:pt x="30" y="6"/>
                </a:lnTo>
                <a:lnTo>
                  <a:pt x="30" y="10"/>
                </a:lnTo>
                <a:lnTo>
                  <a:pt x="30" y="14"/>
                </a:lnTo>
                <a:lnTo>
                  <a:pt x="34" y="16"/>
                </a:lnTo>
                <a:lnTo>
                  <a:pt x="42" y="12"/>
                </a:lnTo>
                <a:lnTo>
                  <a:pt x="50" y="8"/>
                </a:lnTo>
                <a:lnTo>
                  <a:pt x="54" y="10"/>
                </a:lnTo>
                <a:lnTo>
                  <a:pt x="58" y="12"/>
                </a:lnTo>
                <a:lnTo>
                  <a:pt x="62" y="20"/>
                </a:lnTo>
                <a:lnTo>
                  <a:pt x="64" y="26"/>
                </a:lnTo>
                <a:lnTo>
                  <a:pt x="64" y="28"/>
                </a:lnTo>
                <a:lnTo>
                  <a:pt x="72" y="30"/>
                </a:lnTo>
                <a:lnTo>
                  <a:pt x="74" y="30"/>
                </a:lnTo>
                <a:lnTo>
                  <a:pt x="80" y="32"/>
                </a:lnTo>
                <a:lnTo>
                  <a:pt x="84" y="36"/>
                </a:lnTo>
                <a:lnTo>
                  <a:pt x="84" y="38"/>
                </a:lnTo>
                <a:lnTo>
                  <a:pt x="90" y="54"/>
                </a:lnTo>
                <a:lnTo>
                  <a:pt x="92" y="62"/>
                </a:lnTo>
                <a:lnTo>
                  <a:pt x="90" y="64"/>
                </a:lnTo>
                <a:lnTo>
                  <a:pt x="90" y="68"/>
                </a:lnTo>
                <a:lnTo>
                  <a:pt x="88" y="68"/>
                </a:lnTo>
                <a:lnTo>
                  <a:pt x="88" y="78"/>
                </a:lnTo>
                <a:lnTo>
                  <a:pt x="86" y="80"/>
                </a:lnTo>
                <a:lnTo>
                  <a:pt x="88" y="90"/>
                </a:lnTo>
                <a:lnTo>
                  <a:pt x="84" y="98"/>
                </a:lnTo>
                <a:lnTo>
                  <a:pt x="84" y="102"/>
                </a:lnTo>
                <a:lnTo>
                  <a:pt x="84" y="104"/>
                </a:lnTo>
                <a:lnTo>
                  <a:pt x="88" y="106"/>
                </a:lnTo>
                <a:lnTo>
                  <a:pt x="92" y="110"/>
                </a:lnTo>
                <a:lnTo>
                  <a:pt x="92" y="116"/>
                </a:lnTo>
                <a:lnTo>
                  <a:pt x="88" y="116"/>
                </a:lnTo>
                <a:lnTo>
                  <a:pt x="88" y="118"/>
                </a:lnTo>
                <a:lnTo>
                  <a:pt x="88" y="122"/>
                </a:lnTo>
                <a:lnTo>
                  <a:pt x="90" y="126"/>
                </a:lnTo>
                <a:lnTo>
                  <a:pt x="94" y="134"/>
                </a:lnTo>
                <a:lnTo>
                  <a:pt x="96" y="140"/>
                </a:lnTo>
                <a:lnTo>
                  <a:pt x="100" y="140"/>
                </a:lnTo>
                <a:lnTo>
                  <a:pt x="106" y="156"/>
                </a:lnTo>
                <a:lnTo>
                  <a:pt x="112" y="156"/>
                </a:lnTo>
                <a:lnTo>
                  <a:pt x="114" y="154"/>
                </a:lnTo>
                <a:lnTo>
                  <a:pt x="120" y="154"/>
                </a:lnTo>
                <a:lnTo>
                  <a:pt x="122" y="156"/>
                </a:lnTo>
                <a:lnTo>
                  <a:pt x="124" y="156"/>
                </a:lnTo>
                <a:lnTo>
                  <a:pt x="124" y="160"/>
                </a:lnTo>
                <a:lnTo>
                  <a:pt x="124" y="166"/>
                </a:lnTo>
                <a:lnTo>
                  <a:pt x="128" y="172"/>
                </a:lnTo>
                <a:lnTo>
                  <a:pt x="130" y="176"/>
                </a:lnTo>
                <a:lnTo>
                  <a:pt x="130" y="180"/>
                </a:lnTo>
                <a:lnTo>
                  <a:pt x="130" y="186"/>
                </a:lnTo>
                <a:lnTo>
                  <a:pt x="124" y="196"/>
                </a:lnTo>
                <a:lnTo>
                  <a:pt x="122" y="196"/>
                </a:lnTo>
                <a:lnTo>
                  <a:pt x="116" y="198"/>
                </a:lnTo>
                <a:lnTo>
                  <a:pt x="114" y="200"/>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08" name="Freeform 2664"/>
          <p:cNvSpPr>
            <a:spLocks/>
          </p:cNvSpPr>
          <p:nvPr/>
        </p:nvSpPr>
        <p:spPr bwMode="auto">
          <a:xfrm>
            <a:off x="5200239" y="6408933"/>
            <a:ext cx="26583" cy="26583"/>
          </a:xfrm>
          <a:custGeom>
            <a:avLst/>
            <a:gdLst/>
            <a:ahLst/>
            <a:cxnLst>
              <a:cxn ang="0">
                <a:pos x="14" y="18"/>
              </a:cxn>
              <a:cxn ang="0">
                <a:pos x="8" y="16"/>
              </a:cxn>
              <a:cxn ang="0">
                <a:pos x="4" y="12"/>
              </a:cxn>
              <a:cxn ang="0">
                <a:pos x="2" y="12"/>
              </a:cxn>
              <a:cxn ang="0">
                <a:pos x="2" y="10"/>
              </a:cxn>
              <a:cxn ang="0">
                <a:pos x="0" y="8"/>
              </a:cxn>
              <a:cxn ang="0">
                <a:pos x="0" y="0"/>
              </a:cxn>
              <a:cxn ang="0">
                <a:pos x="2" y="0"/>
              </a:cxn>
              <a:cxn ang="0">
                <a:pos x="4" y="0"/>
              </a:cxn>
              <a:cxn ang="0">
                <a:pos x="8" y="2"/>
              </a:cxn>
              <a:cxn ang="0">
                <a:pos x="14" y="6"/>
              </a:cxn>
              <a:cxn ang="0">
                <a:pos x="16" y="8"/>
              </a:cxn>
              <a:cxn ang="0">
                <a:pos x="18" y="10"/>
              </a:cxn>
              <a:cxn ang="0">
                <a:pos x="18" y="12"/>
              </a:cxn>
              <a:cxn ang="0">
                <a:pos x="18" y="16"/>
              </a:cxn>
              <a:cxn ang="0">
                <a:pos x="14" y="18"/>
              </a:cxn>
            </a:cxnLst>
            <a:rect l="0" t="0" r="r" b="b"/>
            <a:pathLst>
              <a:path w="18" h="18">
                <a:moveTo>
                  <a:pt x="14" y="18"/>
                </a:moveTo>
                <a:lnTo>
                  <a:pt x="8" y="16"/>
                </a:lnTo>
                <a:lnTo>
                  <a:pt x="4" y="12"/>
                </a:lnTo>
                <a:lnTo>
                  <a:pt x="2" y="12"/>
                </a:lnTo>
                <a:lnTo>
                  <a:pt x="2" y="10"/>
                </a:lnTo>
                <a:lnTo>
                  <a:pt x="0" y="8"/>
                </a:lnTo>
                <a:lnTo>
                  <a:pt x="0" y="0"/>
                </a:lnTo>
                <a:lnTo>
                  <a:pt x="2" y="0"/>
                </a:lnTo>
                <a:lnTo>
                  <a:pt x="4" y="0"/>
                </a:lnTo>
                <a:lnTo>
                  <a:pt x="8" y="2"/>
                </a:lnTo>
                <a:lnTo>
                  <a:pt x="14" y="6"/>
                </a:lnTo>
                <a:lnTo>
                  <a:pt x="16" y="8"/>
                </a:lnTo>
                <a:lnTo>
                  <a:pt x="18" y="10"/>
                </a:lnTo>
                <a:lnTo>
                  <a:pt x="18" y="12"/>
                </a:lnTo>
                <a:lnTo>
                  <a:pt x="18" y="16"/>
                </a:lnTo>
                <a:lnTo>
                  <a:pt x="14" y="18"/>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09" name="Group 2828"/>
          <p:cNvGrpSpPr>
            <a:grpSpLocks/>
          </p:cNvGrpSpPr>
          <p:nvPr/>
        </p:nvGrpSpPr>
        <p:grpSpPr bwMode="auto">
          <a:xfrm>
            <a:off x="4290509" y="4001693"/>
            <a:ext cx="351486" cy="360348"/>
            <a:chOff x="1972" y="1920"/>
            <a:chExt cx="238" cy="244"/>
          </a:xfrm>
          <a:solidFill>
            <a:srgbClr val="CAC0B6"/>
          </a:solidFill>
        </p:grpSpPr>
        <p:sp>
          <p:nvSpPr>
            <p:cNvPr id="625" name="Freeform 2671"/>
            <p:cNvSpPr>
              <a:spLocks/>
            </p:cNvSpPr>
            <p:nvPr/>
          </p:nvSpPr>
          <p:spPr bwMode="auto">
            <a:xfrm>
              <a:off x="1980" y="1920"/>
              <a:ext cx="230" cy="244"/>
            </a:xfrm>
            <a:custGeom>
              <a:avLst/>
              <a:gdLst/>
              <a:ahLst/>
              <a:cxnLst>
                <a:cxn ang="0">
                  <a:pos x="36" y="152"/>
                </a:cxn>
                <a:cxn ang="0">
                  <a:pos x="38" y="148"/>
                </a:cxn>
                <a:cxn ang="0">
                  <a:pos x="38" y="138"/>
                </a:cxn>
                <a:cxn ang="0">
                  <a:pos x="34" y="130"/>
                </a:cxn>
                <a:cxn ang="0">
                  <a:pos x="44" y="118"/>
                </a:cxn>
                <a:cxn ang="0">
                  <a:pos x="68" y="90"/>
                </a:cxn>
                <a:cxn ang="0">
                  <a:pos x="82" y="82"/>
                </a:cxn>
                <a:cxn ang="0">
                  <a:pos x="104" y="94"/>
                </a:cxn>
                <a:cxn ang="0">
                  <a:pos x="120" y="104"/>
                </a:cxn>
                <a:cxn ang="0">
                  <a:pos x="136" y="94"/>
                </a:cxn>
                <a:cxn ang="0">
                  <a:pos x="148" y="76"/>
                </a:cxn>
                <a:cxn ang="0">
                  <a:pos x="136" y="56"/>
                </a:cxn>
                <a:cxn ang="0">
                  <a:pos x="126" y="48"/>
                </a:cxn>
                <a:cxn ang="0">
                  <a:pos x="124" y="28"/>
                </a:cxn>
                <a:cxn ang="0">
                  <a:pos x="110" y="48"/>
                </a:cxn>
                <a:cxn ang="0">
                  <a:pos x="112" y="66"/>
                </a:cxn>
                <a:cxn ang="0">
                  <a:pos x="102" y="72"/>
                </a:cxn>
                <a:cxn ang="0">
                  <a:pos x="100" y="90"/>
                </a:cxn>
                <a:cxn ang="0">
                  <a:pos x="76" y="76"/>
                </a:cxn>
                <a:cxn ang="0">
                  <a:pos x="90" y="34"/>
                </a:cxn>
                <a:cxn ang="0">
                  <a:pos x="100" y="40"/>
                </a:cxn>
                <a:cxn ang="0">
                  <a:pos x="126" y="26"/>
                </a:cxn>
                <a:cxn ang="0">
                  <a:pos x="134" y="14"/>
                </a:cxn>
                <a:cxn ang="0">
                  <a:pos x="174" y="2"/>
                </a:cxn>
                <a:cxn ang="0">
                  <a:pos x="208" y="2"/>
                </a:cxn>
                <a:cxn ang="0">
                  <a:pos x="230" y="24"/>
                </a:cxn>
                <a:cxn ang="0">
                  <a:pos x="218" y="60"/>
                </a:cxn>
                <a:cxn ang="0">
                  <a:pos x="206" y="76"/>
                </a:cxn>
                <a:cxn ang="0">
                  <a:pos x="194" y="90"/>
                </a:cxn>
                <a:cxn ang="0">
                  <a:pos x="212" y="106"/>
                </a:cxn>
                <a:cxn ang="0">
                  <a:pos x="200" y="122"/>
                </a:cxn>
                <a:cxn ang="0">
                  <a:pos x="196" y="138"/>
                </a:cxn>
                <a:cxn ang="0">
                  <a:pos x="174" y="146"/>
                </a:cxn>
                <a:cxn ang="0">
                  <a:pos x="146" y="152"/>
                </a:cxn>
                <a:cxn ang="0">
                  <a:pos x="156" y="176"/>
                </a:cxn>
                <a:cxn ang="0">
                  <a:pos x="144" y="206"/>
                </a:cxn>
                <a:cxn ang="0">
                  <a:pos x="132" y="224"/>
                </a:cxn>
                <a:cxn ang="0">
                  <a:pos x="138" y="236"/>
                </a:cxn>
                <a:cxn ang="0">
                  <a:pos x="124" y="242"/>
                </a:cxn>
                <a:cxn ang="0">
                  <a:pos x="116" y="234"/>
                </a:cxn>
                <a:cxn ang="0">
                  <a:pos x="128" y="210"/>
                </a:cxn>
                <a:cxn ang="0">
                  <a:pos x="114" y="192"/>
                </a:cxn>
                <a:cxn ang="0">
                  <a:pos x="96" y="186"/>
                </a:cxn>
                <a:cxn ang="0">
                  <a:pos x="88" y="170"/>
                </a:cxn>
                <a:cxn ang="0">
                  <a:pos x="78" y="170"/>
                </a:cxn>
                <a:cxn ang="0">
                  <a:pos x="60" y="172"/>
                </a:cxn>
                <a:cxn ang="0">
                  <a:pos x="52" y="174"/>
                </a:cxn>
                <a:cxn ang="0">
                  <a:pos x="42" y="174"/>
                </a:cxn>
                <a:cxn ang="0">
                  <a:pos x="4" y="162"/>
                </a:cxn>
                <a:cxn ang="0">
                  <a:pos x="8" y="148"/>
                </a:cxn>
                <a:cxn ang="0">
                  <a:pos x="22" y="156"/>
                </a:cxn>
                <a:cxn ang="0">
                  <a:pos x="34" y="162"/>
                </a:cxn>
                <a:cxn ang="0">
                  <a:pos x="46" y="168"/>
                </a:cxn>
              </a:cxnLst>
              <a:rect l="0" t="0" r="r" b="b"/>
              <a:pathLst>
                <a:path w="230" h="244">
                  <a:moveTo>
                    <a:pt x="44" y="160"/>
                  </a:moveTo>
                  <a:lnTo>
                    <a:pt x="42" y="162"/>
                  </a:lnTo>
                  <a:lnTo>
                    <a:pt x="36" y="160"/>
                  </a:lnTo>
                  <a:lnTo>
                    <a:pt x="32" y="152"/>
                  </a:lnTo>
                  <a:lnTo>
                    <a:pt x="34" y="152"/>
                  </a:lnTo>
                  <a:lnTo>
                    <a:pt x="36" y="152"/>
                  </a:lnTo>
                  <a:lnTo>
                    <a:pt x="42" y="152"/>
                  </a:lnTo>
                  <a:lnTo>
                    <a:pt x="42" y="154"/>
                  </a:lnTo>
                  <a:lnTo>
                    <a:pt x="42" y="152"/>
                  </a:lnTo>
                  <a:lnTo>
                    <a:pt x="40" y="152"/>
                  </a:lnTo>
                  <a:lnTo>
                    <a:pt x="38" y="150"/>
                  </a:lnTo>
                  <a:lnTo>
                    <a:pt x="38" y="148"/>
                  </a:lnTo>
                  <a:lnTo>
                    <a:pt x="40" y="148"/>
                  </a:lnTo>
                  <a:lnTo>
                    <a:pt x="42" y="148"/>
                  </a:lnTo>
                  <a:lnTo>
                    <a:pt x="44" y="148"/>
                  </a:lnTo>
                  <a:lnTo>
                    <a:pt x="42" y="146"/>
                  </a:lnTo>
                  <a:lnTo>
                    <a:pt x="40" y="144"/>
                  </a:lnTo>
                  <a:lnTo>
                    <a:pt x="38" y="138"/>
                  </a:lnTo>
                  <a:lnTo>
                    <a:pt x="36" y="134"/>
                  </a:lnTo>
                  <a:lnTo>
                    <a:pt x="34" y="134"/>
                  </a:lnTo>
                  <a:lnTo>
                    <a:pt x="32" y="134"/>
                  </a:lnTo>
                  <a:lnTo>
                    <a:pt x="26" y="134"/>
                  </a:lnTo>
                  <a:lnTo>
                    <a:pt x="26" y="132"/>
                  </a:lnTo>
                  <a:lnTo>
                    <a:pt x="34" y="130"/>
                  </a:lnTo>
                  <a:lnTo>
                    <a:pt x="36" y="130"/>
                  </a:lnTo>
                  <a:lnTo>
                    <a:pt x="38" y="128"/>
                  </a:lnTo>
                  <a:lnTo>
                    <a:pt x="38" y="118"/>
                  </a:lnTo>
                  <a:lnTo>
                    <a:pt x="40" y="118"/>
                  </a:lnTo>
                  <a:lnTo>
                    <a:pt x="42" y="118"/>
                  </a:lnTo>
                  <a:lnTo>
                    <a:pt x="44" y="118"/>
                  </a:lnTo>
                  <a:lnTo>
                    <a:pt x="46" y="116"/>
                  </a:lnTo>
                  <a:lnTo>
                    <a:pt x="60" y="102"/>
                  </a:lnTo>
                  <a:lnTo>
                    <a:pt x="62" y="100"/>
                  </a:lnTo>
                  <a:lnTo>
                    <a:pt x="64" y="98"/>
                  </a:lnTo>
                  <a:lnTo>
                    <a:pt x="66" y="96"/>
                  </a:lnTo>
                  <a:lnTo>
                    <a:pt x="68" y="90"/>
                  </a:lnTo>
                  <a:lnTo>
                    <a:pt x="70" y="86"/>
                  </a:lnTo>
                  <a:lnTo>
                    <a:pt x="72" y="84"/>
                  </a:lnTo>
                  <a:lnTo>
                    <a:pt x="74" y="82"/>
                  </a:lnTo>
                  <a:lnTo>
                    <a:pt x="74" y="78"/>
                  </a:lnTo>
                  <a:lnTo>
                    <a:pt x="80" y="80"/>
                  </a:lnTo>
                  <a:lnTo>
                    <a:pt x="82" y="82"/>
                  </a:lnTo>
                  <a:lnTo>
                    <a:pt x="90" y="84"/>
                  </a:lnTo>
                  <a:lnTo>
                    <a:pt x="92" y="86"/>
                  </a:lnTo>
                  <a:lnTo>
                    <a:pt x="92" y="88"/>
                  </a:lnTo>
                  <a:lnTo>
                    <a:pt x="96" y="88"/>
                  </a:lnTo>
                  <a:lnTo>
                    <a:pt x="96" y="90"/>
                  </a:lnTo>
                  <a:lnTo>
                    <a:pt x="104" y="94"/>
                  </a:lnTo>
                  <a:lnTo>
                    <a:pt x="110" y="96"/>
                  </a:lnTo>
                  <a:lnTo>
                    <a:pt x="114" y="98"/>
                  </a:lnTo>
                  <a:lnTo>
                    <a:pt x="116" y="100"/>
                  </a:lnTo>
                  <a:lnTo>
                    <a:pt x="116" y="102"/>
                  </a:lnTo>
                  <a:lnTo>
                    <a:pt x="120" y="102"/>
                  </a:lnTo>
                  <a:lnTo>
                    <a:pt x="120" y="104"/>
                  </a:lnTo>
                  <a:lnTo>
                    <a:pt x="126" y="102"/>
                  </a:lnTo>
                  <a:lnTo>
                    <a:pt x="128" y="102"/>
                  </a:lnTo>
                  <a:lnTo>
                    <a:pt x="128" y="98"/>
                  </a:lnTo>
                  <a:lnTo>
                    <a:pt x="130" y="98"/>
                  </a:lnTo>
                  <a:lnTo>
                    <a:pt x="132" y="94"/>
                  </a:lnTo>
                  <a:lnTo>
                    <a:pt x="136" y="94"/>
                  </a:lnTo>
                  <a:lnTo>
                    <a:pt x="138" y="92"/>
                  </a:lnTo>
                  <a:lnTo>
                    <a:pt x="140" y="92"/>
                  </a:lnTo>
                  <a:lnTo>
                    <a:pt x="144" y="90"/>
                  </a:lnTo>
                  <a:lnTo>
                    <a:pt x="146" y="86"/>
                  </a:lnTo>
                  <a:lnTo>
                    <a:pt x="148" y="82"/>
                  </a:lnTo>
                  <a:lnTo>
                    <a:pt x="148" y="76"/>
                  </a:lnTo>
                  <a:lnTo>
                    <a:pt x="148" y="74"/>
                  </a:lnTo>
                  <a:lnTo>
                    <a:pt x="142" y="74"/>
                  </a:lnTo>
                  <a:lnTo>
                    <a:pt x="138" y="72"/>
                  </a:lnTo>
                  <a:lnTo>
                    <a:pt x="134" y="68"/>
                  </a:lnTo>
                  <a:lnTo>
                    <a:pt x="136" y="58"/>
                  </a:lnTo>
                  <a:lnTo>
                    <a:pt x="136" y="56"/>
                  </a:lnTo>
                  <a:lnTo>
                    <a:pt x="140" y="52"/>
                  </a:lnTo>
                  <a:lnTo>
                    <a:pt x="144" y="52"/>
                  </a:lnTo>
                  <a:lnTo>
                    <a:pt x="142" y="52"/>
                  </a:lnTo>
                  <a:lnTo>
                    <a:pt x="140" y="50"/>
                  </a:lnTo>
                  <a:lnTo>
                    <a:pt x="136" y="50"/>
                  </a:lnTo>
                  <a:lnTo>
                    <a:pt x="126" y="48"/>
                  </a:lnTo>
                  <a:lnTo>
                    <a:pt x="124" y="46"/>
                  </a:lnTo>
                  <a:lnTo>
                    <a:pt x="126" y="42"/>
                  </a:lnTo>
                  <a:lnTo>
                    <a:pt x="128" y="38"/>
                  </a:lnTo>
                  <a:lnTo>
                    <a:pt x="128" y="32"/>
                  </a:lnTo>
                  <a:lnTo>
                    <a:pt x="126" y="28"/>
                  </a:lnTo>
                  <a:lnTo>
                    <a:pt x="124" y="28"/>
                  </a:lnTo>
                  <a:lnTo>
                    <a:pt x="122" y="30"/>
                  </a:lnTo>
                  <a:lnTo>
                    <a:pt x="120" y="30"/>
                  </a:lnTo>
                  <a:lnTo>
                    <a:pt x="116" y="34"/>
                  </a:lnTo>
                  <a:lnTo>
                    <a:pt x="110" y="36"/>
                  </a:lnTo>
                  <a:lnTo>
                    <a:pt x="108" y="42"/>
                  </a:lnTo>
                  <a:lnTo>
                    <a:pt x="110" y="48"/>
                  </a:lnTo>
                  <a:lnTo>
                    <a:pt x="114" y="56"/>
                  </a:lnTo>
                  <a:lnTo>
                    <a:pt x="118" y="56"/>
                  </a:lnTo>
                  <a:lnTo>
                    <a:pt x="118" y="60"/>
                  </a:lnTo>
                  <a:lnTo>
                    <a:pt x="116" y="62"/>
                  </a:lnTo>
                  <a:lnTo>
                    <a:pt x="114" y="66"/>
                  </a:lnTo>
                  <a:lnTo>
                    <a:pt x="112" y="66"/>
                  </a:lnTo>
                  <a:lnTo>
                    <a:pt x="110" y="66"/>
                  </a:lnTo>
                  <a:lnTo>
                    <a:pt x="108" y="68"/>
                  </a:lnTo>
                  <a:lnTo>
                    <a:pt x="106" y="66"/>
                  </a:lnTo>
                  <a:lnTo>
                    <a:pt x="104" y="66"/>
                  </a:lnTo>
                  <a:lnTo>
                    <a:pt x="102" y="66"/>
                  </a:lnTo>
                  <a:lnTo>
                    <a:pt x="102" y="72"/>
                  </a:lnTo>
                  <a:lnTo>
                    <a:pt x="104" y="74"/>
                  </a:lnTo>
                  <a:lnTo>
                    <a:pt x="104" y="78"/>
                  </a:lnTo>
                  <a:lnTo>
                    <a:pt x="104" y="84"/>
                  </a:lnTo>
                  <a:lnTo>
                    <a:pt x="102" y="86"/>
                  </a:lnTo>
                  <a:lnTo>
                    <a:pt x="100" y="86"/>
                  </a:lnTo>
                  <a:lnTo>
                    <a:pt x="100" y="90"/>
                  </a:lnTo>
                  <a:lnTo>
                    <a:pt x="94" y="86"/>
                  </a:lnTo>
                  <a:lnTo>
                    <a:pt x="90" y="84"/>
                  </a:lnTo>
                  <a:lnTo>
                    <a:pt x="88" y="82"/>
                  </a:lnTo>
                  <a:lnTo>
                    <a:pt x="82" y="80"/>
                  </a:lnTo>
                  <a:lnTo>
                    <a:pt x="80" y="78"/>
                  </a:lnTo>
                  <a:lnTo>
                    <a:pt x="76" y="76"/>
                  </a:lnTo>
                  <a:lnTo>
                    <a:pt x="78" y="74"/>
                  </a:lnTo>
                  <a:lnTo>
                    <a:pt x="80" y="66"/>
                  </a:lnTo>
                  <a:lnTo>
                    <a:pt x="80" y="62"/>
                  </a:lnTo>
                  <a:lnTo>
                    <a:pt x="82" y="58"/>
                  </a:lnTo>
                  <a:lnTo>
                    <a:pt x="82" y="52"/>
                  </a:lnTo>
                  <a:lnTo>
                    <a:pt x="90" y="34"/>
                  </a:lnTo>
                  <a:lnTo>
                    <a:pt x="92" y="34"/>
                  </a:lnTo>
                  <a:lnTo>
                    <a:pt x="94" y="36"/>
                  </a:lnTo>
                  <a:lnTo>
                    <a:pt x="96" y="38"/>
                  </a:lnTo>
                  <a:lnTo>
                    <a:pt x="96" y="40"/>
                  </a:lnTo>
                  <a:lnTo>
                    <a:pt x="98" y="40"/>
                  </a:lnTo>
                  <a:lnTo>
                    <a:pt x="100" y="40"/>
                  </a:lnTo>
                  <a:lnTo>
                    <a:pt x="110" y="36"/>
                  </a:lnTo>
                  <a:lnTo>
                    <a:pt x="116" y="32"/>
                  </a:lnTo>
                  <a:lnTo>
                    <a:pt x="118" y="30"/>
                  </a:lnTo>
                  <a:lnTo>
                    <a:pt x="120" y="28"/>
                  </a:lnTo>
                  <a:lnTo>
                    <a:pt x="124" y="28"/>
                  </a:lnTo>
                  <a:lnTo>
                    <a:pt x="126" y="26"/>
                  </a:lnTo>
                  <a:lnTo>
                    <a:pt x="128" y="26"/>
                  </a:lnTo>
                  <a:lnTo>
                    <a:pt x="128" y="24"/>
                  </a:lnTo>
                  <a:lnTo>
                    <a:pt x="130" y="22"/>
                  </a:lnTo>
                  <a:lnTo>
                    <a:pt x="130" y="20"/>
                  </a:lnTo>
                  <a:lnTo>
                    <a:pt x="132" y="16"/>
                  </a:lnTo>
                  <a:lnTo>
                    <a:pt x="134" y="14"/>
                  </a:lnTo>
                  <a:lnTo>
                    <a:pt x="140" y="10"/>
                  </a:lnTo>
                  <a:lnTo>
                    <a:pt x="142" y="8"/>
                  </a:lnTo>
                  <a:lnTo>
                    <a:pt x="158" y="4"/>
                  </a:lnTo>
                  <a:lnTo>
                    <a:pt x="164" y="2"/>
                  </a:lnTo>
                  <a:lnTo>
                    <a:pt x="170" y="2"/>
                  </a:lnTo>
                  <a:lnTo>
                    <a:pt x="174" y="2"/>
                  </a:lnTo>
                  <a:lnTo>
                    <a:pt x="176" y="2"/>
                  </a:lnTo>
                  <a:lnTo>
                    <a:pt x="182" y="4"/>
                  </a:lnTo>
                  <a:lnTo>
                    <a:pt x="190" y="2"/>
                  </a:lnTo>
                  <a:lnTo>
                    <a:pt x="204" y="0"/>
                  </a:lnTo>
                  <a:lnTo>
                    <a:pt x="206" y="0"/>
                  </a:lnTo>
                  <a:lnTo>
                    <a:pt x="208" y="2"/>
                  </a:lnTo>
                  <a:lnTo>
                    <a:pt x="212" y="4"/>
                  </a:lnTo>
                  <a:lnTo>
                    <a:pt x="214" y="12"/>
                  </a:lnTo>
                  <a:lnTo>
                    <a:pt x="216" y="16"/>
                  </a:lnTo>
                  <a:lnTo>
                    <a:pt x="222" y="22"/>
                  </a:lnTo>
                  <a:lnTo>
                    <a:pt x="228" y="24"/>
                  </a:lnTo>
                  <a:lnTo>
                    <a:pt x="230" y="24"/>
                  </a:lnTo>
                  <a:lnTo>
                    <a:pt x="228" y="30"/>
                  </a:lnTo>
                  <a:lnTo>
                    <a:pt x="226" y="44"/>
                  </a:lnTo>
                  <a:lnTo>
                    <a:pt x="226" y="48"/>
                  </a:lnTo>
                  <a:lnTo>
                    <a:pt x="224" y="52"/>
                  </a:lnTo>
                  <a:lnTo>
                    <a:pt x="222" y="56"/>
                  </a:lnTo>
                  <a:lnTo>
                    <a:pt x="218" y="60"/>
                  </a:lnTo>
                  <a:lnTo>
                    <a:pt x="218" y="62"/>
                  </a:lnTo>
                  <a:lnTo>
                    <a:pt x="218" y="64"/>
                  </a:lnTo>
                  <a:lnTo>
                    <a:pt x="216" y="66"/>
                  </a:lnTo>
                  <a:lnTo>
                    <a:pt x="216" y="70"/>
                  </a:lnTo>
                  <a:lnTo>
                    <a:pt x="214" y="78"/>
                  </a:lnTo>
                  <a:lnTo>
                    <a:pt x="206" y="76"/>
                  </a:lnTo>
                  <a:lnTo>
                    <a:pt x="198" y="76"/>
                  </a:lnTo>
                  <a:lnTo>
                    <a:pt x="196" y="78"/>
                  </a:lnTo>
                  <a:lnTo>
                    <a:pt x="198" y="82"/>
                  </a:lnTo>
                  <a:lnTo>
                    <a:pt x="196" y="84"/>
                  </a:lnTo>
                  <a:lnTo>
                    <a:pt x="194" y="84"/>
                  </a:lnTo>
                  <a:lnTo>
                    <a:pt x="194" y="90"/>
                  </a:lnTo>
                  <a:lnTo>
                    <a:pt x="196" y="92"/>
                  </a:lnTo>
                  <a:lnTo>
                    <a:pt x="208" y="96"/>
                  </a:lnTo>
                  <a:lnTo>
                    <a:pt x="210" y="94"/>
                  </a:lnTo>
                  <a:lnTo>
                    <a:pt x="214" y="100"/>
                  </a:lnTo>
                  <a:lnTo>
                    <a:pt x="214" y="104"/>
                  </a:lnTo>
                  <a:lnTo>
                    <a:pt x="212" y="106"/>
                  </a:lnTo>
                  <a:lnTo>
                    <a:pt x="210" y="108"/>
                  </a:lnTo>
                  <a:lnTo>
                    <a:pt x="210" y="110"/>
                  </a:lnTo>
                  <a:lnTo>
                    <a:pt x="210" y="114"/>
                  </a:lnTo>
                  <a:lnTo>
                    <a:pt x="206" y="118"/>
                  </a:lnTo>
                  <a:lnTo>
                    <a:pt x="202" y="120"/>
                  </a:lnTo>
                  <a:lnTo>
                    <a:pt x="200" y="122"/>
                  </a:lnTo>
                  <a:lnTo>
                    <a:pt x="198" y="124"/>
                  </a:lnTo>
                  <a:lnTo>
                    <a:pt x="194" y="124"/>
                  </a:lnTo>
                  <a:lnTo>
                    <a:pt x="192" y="128"/>
                  </a:lnTo>
                  <a:lnTo>
                    <a:pt x="190" y="130"/>
                  </a:lnTo>
                  <a:lnTo>
                    <a:pt x="194" y="134"/>
                  </a:lnTo>
                  <a:lnTo>
                    <a:pt x="196" y="138"/>
                  </a:lnTo>
                  <a:lnTo>
                    <a:pt x="192" y="142"/>
                  </a:lnTo>
                  <a:lnTo>
                    <a:pt x="190" y="144"/>
                  </a:lnTo>
                  <a:lnTo>
                    <a:pt x="186" y="142"/>
                  </a:lnTo>
                  <a:lnTo>
                    <a:pt x="182" y="144"/>
                  </a:lnTo>
                  <a:lnTo>
                    <a:pt x="178" y="144"/>
                  </a:lnTo>
                  <a:lnTo>
                    <a:pt x="174" y="146"/>
                  </a:lnTo>
                  <a:lnTo>
                    <a:pt x="168" y="146"/>
                  </a:lnTo>
                  <a:lnTo>
                    <a:pt x="158" y="140"/>
                  </a:lnTo>
                  <a:lnTo>
                    <a:pt x="156" y="140"/>
                  </a:lnTo>
                  <a:lnTo>
                    <a:pt x="148" y="146"/>
                  </a:lnTo>
                  <a:lnTo>
                    <a:pt x="144" y="148"/>
                  </a:lnTo>
                  <a:lnTo>
                    <a:pt x="146" y="152"/>
                  </a:lnTo>
                  <a:lnTo>
                    <a:pt x="144" y="152"/>
                  </a:lnTo>
                  <a:lnTo>
                    <a:pt x="148" y="156"/>
                  </a:lnTo>
                  <a:lnTo>
                    <a:pt x="150" y="166"/>
                  </a:lnTo>
                  <a:lnTo>
                    <a:pt x="152" y="170"/>
                  </a:lnTo>
                  <a:lnTo>
                    <a:pt x="154" y="172"/>
                  </a:lnTo>
                  <a:lnTo>
                    <a:pt x="156" y="176"/>
                  </a:lnTo>
                  <a:lnTo>
                    <a:pt x="156" y="180"/>
                  </a:lnTo>
                  <a:lnTo>
                    <a:pt x="156" y="190"/>
                  </a:lnTo>
                  <a:lnTo>
                    <a:pt x="150" y="196"/>
                  </a:lnTo>
                  <a:lnTo>
                    <a:pt x="146" y="200"/>
                  </a:lnTo>
                  <a:lnTo>
                    <a:pt x="144" y="202"/>
                  </a:lnTo>
                  <a:lnTo>
                    <a:pt x="144" y="206"/>
                  </a:lnTo>
                  <a:lnTo>
                    <a:pt x="146" y="210"/>
                  </a:lnTo>
                  <a:lnTo>
                    <a:pt x="140" y="214"/>
                  </a:lnTo>
                  <a:lnTo>
                    <a:pt x="134" y="214"/>
                  </a:lnTo>
                  <a:lnTo>
                    <a:pt x="132" y="216"/>
                  </a:lnTo>
                  <a:lnTo>
                    <a:pt x="132" y="218"/>
                  </a:lnTo>
                  <a:lnTo>
                    <a:pt x="132" y="224"/>
                  </a:lnTo>
                  <a:lnTo>
                    <a:pt x="136" y="222"/>
                  </a:lnTo>
                  <a:lnTo>
                    <a:pt x="140" y="224"/>
                  </a:lnTo>
                  <a:lnTo>
                    <a:pt x="142" y="230"/>
                  </a:lnTo>
                  <a:lnTo>
                    <a:pt x="142" y="234"/>
                  </a:lnTo>
                  <a:lnTo>
                    <a:pt x="140" y="236"/>
                  </a:lnTo>
                  <a:lnTo>
                    <a:pt x="138" y="236"/>
                  </a:lnTo>
                  <a:lnTo>
                    <a:pt x="136" y="240"/>
                  </a:lnTo>
                  <a:lnTo>
                    <a:pt x="136" y="244"/>
                  </a:lnTo>
                  <a:lnTo>
                    <a:pt x="132" y="242"/>
                  </a:lnTo>
                  <a:lnTo>
                    <a:pt x="130" y="242"/>
                  </a:lnTo>
                  <a:lnTo>
                    <a:pt x="128" y="242"/>
                  </a:lnTo>
                  <a:lnTo>
                    <a:pt x="124" y="242"/>
                  </a:lnTo>
                  <a:lnTo>
                    <a:pt x="120" y="242"/>
                  </a:lnTo>
                  <a:lnTo>
                    <a:pt x="118" y="242"/>
                  </a:lnTo>
                  <a:lnTo>
                    <a:pt x="120" y="240"/>
                  </a:lnTo>
                  <a:lnTo>
                    <a:pt x="120" y="238"/>
                  </a:lnTo>
                  <a:lnTo>
                    <a:pt x="118" y="236"/>
                  </a:lnTo>
                  <a:lnTo>
                    <a:pt x="116" y="234"/>
                  </a:lnTo>
                  <a:lnTo>
                    <a:pt x="116" y="232"/>
                  </a:lnTo>
                  <a:lnTo>
                    <a:pt x="116" y="230"/>
                  </a:lnTo>
                  <a:lnTo>
                    <a:pt x="124" y="224"/>
                  </a:lnTo>
                  <a:lnTo>
                    <a:pt x="124" y="220"/>
                  </a:lnTo>
                  <a:lnTo>
                    <a:pt x="126" y="218"/>
                  </a:lnTo>
                  <a:lnTo>
                    <a:pt x="128" y="210"/>
                  </a:lnTo>
                  <a:lnTo>
                    <a:pt x="132" y="206"/>
                  </a:lnTo>
                  <a:lnTo>
                    <a:pt x="126" y="202"/>
                  </a:lnTo>
                  <a:lnTo>
                    <a:pt x="120" y="200"/>
                  </a:lnTo>
                  <a:lnTo>
                    <a:pt x="116" y="198"/>
                  </a:lnTo>
                  <a:lnTo>
                    <a:pt x="116" y="194"/>
                  </a:lnTo>
                  <a:lnTo>
                    <a:pt x="114" y="192"/>
                  </a:lnTo>
                  <a:lnTo>
                    <a:pt x="112" y="192"/>
                  </a:lnTo>
                  <a:lnTo>
                    <a:pt x="108" y="192"/>
                  </a:lnTo>
                  <a:lnTo>
                    <a:pt x="104" y="192"/>
                  </a:lnTo>
                  <a:lnTo>
                    <a:pt x="98" y="192"/>
                  </a:lnTo>
                  <a:lnTo>
                    <a:pt x="98" y="188"/>
                  </a:lnTo>
                  <a:lnTo>
                    <a:pt x="96" y="186"/>
                  </a:lnTo>
                  <a:lnTo>
                    <a:pt x="94" y="186"/>
                  </a:lnTo>
                  <a:lnTo>
                    <a:pt x="92" y="186"/>
                  </a:lnTo>
                  <a:lnTo>
                    <a:pt x="90" y="178"/>
                  </a:lnTo>
                  <a:lnTo>
                    <a:pt x="92" y="176"/>
                  </a:lnTo>
                  <a:lnTo>
                    <a:pt x="90" y="172"/>
                  </a:lnTo>
                  <a:lnTo>
                    <a:pt x="88" y="170"/>
                  </a:lnTo>
                  <a:lnTo>
                    <a:pt x="88" y="172"/>
                  </a:lnTo>
                  <a:lnTo>
                    <a:pt x="86" y="174"/>
                  </a:lnTo>
                  <a:lnTo>
                    <a:pt x="82" y="176"/>
                  </a:lnTo>
                  <a:lnTo>
                    <a:pt x="78" y="176"/>
                  </a:lnTo>
                  <a:lnTo>
                    <a:pt x="76" y="174"/>
                  </a:lnTo>
                  <a:lnTo>
                    <a:pt x="78" y="170"/>
                  </a:lnTo>
                  <a:lnTo>
                    <a:pt x="76" y="168"/>
                  </a:lnTo>
                  <a:lnTo>
                    <a:pt x="74" y="168"/>
                  </a:lnTo>
                  <a:lnTo>
                    <a:pt x="70" y="170"/>
                  </a:lnTo>
                  <a:lnTo>
                    <a:pt x="68" y="172"/>
                  </a:lnTo>
                  <a:lnTo>
                    <a:pt x="66" y="172"/>
                  </a:lnTo>
                  <a:lnTo>
                    <a:pt x="60" y="172"/>
                  </a:lnTo>
                  <a:lnTo>
                    <a:pt x="60" y="170"/>
                  </a:lnTo>
                  <a:lnTo>
                    <a:pt x="60" y="168"/>
                  </a:lnTo>
                  <a:lnTo>
                    <a:pt x="58" y="166"/>
                  </a:lnTo>
                  <a:lnTo>
                    <a:pt x="52" y="168"/>
                  </a:lnTo>
                  <a:lnTo>
                    <a:pt x="52" y="172"/>
                  </a:lnTo>
                  <a:lnTo>
                    <a:pt x="52" y="174"/>
                  </a:lnTo>
                  <a:lnTo>
                    <a:pt x="54" y="176"/>
                  </a:lnTo>
                  <a:lnTo>
                    <a:pt x="52" y="176"/>
                  </a:lnTo>
                  <a:lnTo>
                    <a:pt x="50" y="176"/>
                  </a:lnTo>
                  <a:lnTo>
                    <a:pt x="48" y="176"/>
                  </a:lnTo>
                  <a:lnTo>
                    <a:pt x="44" y="174"/>
                  </a:lnTo>
                  <a:lnTo>
                    <a:pt x="42" y="174"/>
                  </a:lnTo>
                  <a:lnTo>
                    <a:pt x="40" y="172"/>
                  </a:lnTo>
                  <a:lnTo>
                    <a:pt x="32" y="168"/>
                  </a:lnTo>
                  <a:lnTo>
                    <a:pt x="26" y="166"/>
                  </a:lnTo>
                  <a:lnTo>
                    <a:pt x="24" y="170"/>
                  </a:lnTo>
                  <a:lnTo>
                    <a:pt x="18" y="170"/>
                  </a:lnTo>
                  <a:lnTo>
                    <a:pt x="4" y="162"/>
                  </a:lnTo>
                  <a:lnTo>
                    <a:pt x="4" y="160"/>
                  </a:lnTo>
                  <a:lnTo>
                    <a:pt x="0" y="154"/>
                  </a:lnTo>
                  <a:lnTo>
                    <a:pt x="0" y="152"/>
                  </a:lnTo>
                  <a:lnTo>
                    <a:pt x="2" y="152"/>
                  </a:lnTo>
                  <a:lnTo>
                    <a:pt x="4" y="150"/>
                  </a:lnTo>
                  <a:lnTo>
                    <a:pt x="8" y="148"/>
                  </a:lnTo>
                  <a:lnTo>
                    <a:pt x="14" y="150"/>
                  </a:lnTo>
                  <a:lnTo>
                    <a:pt x="22" y="150"/>
                  </a:lnTo>
                  <a:lnTo>
                    <a:pt x="24" y="152"/>
                  </a:lnTo>
                  <a:lnTo>
                    <a:pt x="26" y="154"/>
                  </a:lnTo>
                  <a:lnTo>
                    <a:pt x="24" y="156"/>
                  </a:lnTo>
                  <a:lnTo>
                    <a:pt x="22" y="156"/>
                  </a:lnTo>
                  <a:lnTo>
                    <a:pt x="20" y="156"/>
                  </a:lnTo>
                  <a:lnTo>
                    <a:pt x="24" y="156"/>
                  </a:lnTo>
                  <a:lnTo>
                    <a:pt x="26" y="156"/>
                  </a:lnTo>
                  <a:lnTo>
                    <a:pt x="30" y="158"/>
                  </a:lnTo>
                  <a:lnTo>
                    <a:pt x="34" y="160"/>
                  </a:lnTo>
                  <a:lnTo>
                    <a:pt x="34" y="162"/>
                  </a:lnTo>
                  <a:lnTo>
                    <a:pt x="34" y="164"/>
                  </a:lnTo>
                  <a:lnTo>
                    <a:pt x="36" y="166"/>
                  </a:lnTo>
                  <a:lnTo>
                    <a:pt x="36" y="168"/>
                  </a:lnTo>
                  <a:lnTo>
                    <a:pt x="38" y="168"/>
                  </a:lnTo>
                  <a:lnTo>
                    <a:pt x="44" y="168"/>
                  </a:lnTo>
                  <a:lnTo>
                    <a:pt x="46" y="168"/>
                  </a:lnTo>
                  <a:lnTo>
                    <a:pt x="46" y="166"/>
                  </a:lnTo>
                  <a:lnTo>
                    <a:pt x="46" y="164"/>
                  </a:lnTo>
                  <a:lnTo>
                    <a:pt x="46" y="162"/>
                  </a:lnTo>
                  <a:lnTo>
                    <a:pt x="44" y="16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6" name="Freeform 2672"/>
            <p:cNvSpPr>
              <a:spLocks/>
            </p:cNvSpPr>
            <p:nvPr/>
          </p:nvSpPr>
          <p:spPr bwMode="auto">
            <a:xfrm>
              <a:off x="2070" y="1934"/>
              <a:ext cx="12" cy="18"/>
            </a:xfrm>
            <a:custGeom>
              <a:avLst/>
              <a:gdLst/>
              <a:ahLst/>
              <a:cxnLst>
                <a:cxn ang="0">
                  <a:pos x="2" y="18"/>
                </a:cxn>
                <a:cxn ang="0">
                  <a:pos x="0" y="18"/>
                </a:cxn>
                <a:cxn ang="0">
                  <a:pos x="0" y="16"/>
                </a:cxn>
                <a:cxn ang="0">
                  <a:pos x="0" y="14"/>
                </a:cxn>
                <a:cxn ang="0">
                  <a:pos x="0" y="12"/>
                </a:cxn>
                <a:cxn ang="0">
                  <a:pos x="0" y="10"/>
                </a:cxn>
                <a:cxn ang="0">
                  <a:pos x="2" y="8"/>
                </a:cxn>
                <a:cxn ang="0">
                  <a:pos x="10" y="0"/>
                </a:cxn>
                <a:cxn ang="0">
                  <a:pos x="12" y="0"/>
                </a:cxn>
                <a:cxn ang="0">
                  <a:pos x="12" y="4"/>
                </a:cxn>
                <a:cxn ang="0">
                  <a:pos x="12" y="8"/>
                </a:cxn>
                <a:cxn ang="0">
                  <a:pos x="12" y="10"/>
                </a:cxn>
                <a:cxn ang="0">
                  <a:pos x="10" y="12"/>
                </a:cxn>
                <a:cxn ang="0">
                  <a:pos x="8" y="14"/>
                </a:cxn>
                <a:cxn ang="0">
                  <a:pos x="6" y="16"/>
                </a:cxn>
                <a:cxn ang="0">
                  <a:pos x="4" y="16"/>
                </a:cxn>
                <a:cxn ang="0">
                  <a:pos x="2" y="18"/>
                </a:cxn>
              </a:cxnLst>
              <a:rect l="0" t="0" r="r" b="b"/>
              <a:pathLst>
                <a:path w="12" h="18">
                  <a:moveTo>
                    <a:pt x="2" y="18"/>
                  </a:moveTo>
                  <a:lnTo>
                    <a:pt x="0" y="18"/>
                  </a:lnTo>
                  <a:lnTo>
                    <a:pt x="0" y="16"/>
                  </a:lnTo>
                  <a:lnTo>
                    <a:pt x="0" y="14"/>
                  </a:lnTo>
                  <a:lnTo>
                    <a:pt x="0" y="12"/>
                  </a:lnTo>
                  <a:lnTo>
                    <a:pt x="0" y="10"/>
                  </a:lnTo>
                  <a:lnTo>
                    <a:pt x="2" y="8"/>
                  </a:lnTo>
                  <a:lnTo>
                    <a:pt x="10" y="0"/>
                  </a:lnTo>
                  <a:lnTo>
                    <a:pt x="12" y="0"/>
                  </a:lnTo>
                  <a:lnTo>
                    <a:pt x="12" y="4"/>
                  </a:lnTo>
                  <a:lnTo>
                    <a:pt x="12" y="8"/>
                  </a:lnTo>
                  <a:lnTo>
                    <a:pt x="12" y="10"/>
                  </a:lnTo>
                  <a:lnTo>
                    <a:pt x="10" y="12"/>
                  </a:lnTo>
                  <a:lnTo>
                    <a:pt x="8" y="14"/>
                  </a:lnTo>
                  <a:lnTo>
                    <a:pt x="6" y="16"/>
                  </a:lnTo>
                  <a:lnTo>
                    <a:pt x="4" y="16"/>
                  </a:lnTo>
                  <a:lnTo>
                    <a:pt x="2" y="1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7" name="Freeform 2673"/>
            <p:cNvSpPr>
              <a:spLocks/>
            </p:cNvSpPr>
            <p:nvPr/>
          </p:nvSpPr>
          <p:spPr bwMode="auto">
            <a:xfrm>
              <a:off x="2080" y="1982"/>
              <a:ext cx="28" cy="28"/>
            </a:xfrm>
            <a:custGeom>
              <a:avLst/>
              <a:gdLst/>
              <a:ahLst/>
              <a:cxnLst>
                <a:cxn ang="0">
                  <a:pos x="4" y="18"/>
                </a:cxn>
                <a:cxn ang="0">
                  <a:pos x="4" y="16"/>
                </a:cxn>
                <a:cxn ang="0">
                  <a:pos x="4" y="12"/>
                </a:cxn>
                <a:cxn ang="0">
                  <a:pos x="2" y="10"/>
                </a:cxn>
                <a:cxn ang="0">
                  <a:pos x="2" y="6"/>
                </a:cxn>
                <a:cxn ang="0">
                  <a:pos x="4" y="4"/>
                </a:cxn>
                <a:cxn ang="0">
                  <a:pos x="8" y="4"/>
                </a:cxn>
                <a:cxn ang="0">
                  <a:pos x="8" y="6"/>
                </a:cxn>
                <a:cxn ang="0">
                  <a:pos x="10" y="6"/>
                </a:cxn>
                <a:cxn ang="0">
                  <a:pos x="12" y="4"/>
                </a:cxn>
                <a:cxn ang="0">
                  <a:pos x="14" y="4"/>
                </a:cxn>
                <a:cxn ang="0">
                  <a:pos x="16" y="2"/>
                </a:cxn>
                <a:cxn ang="0">
                  <a:pos x="18" y="0"/>
                </a:cxn>
                <a:cxn ang="0">
                  <a:pos x="20" y="2"/>
                </a:cxn>
                <a:cxn ang="0">
                  <a:pos x="22" y="4"/>
                </a:cxn>
                <a:cxn ang="0">
                  <a:pos x="24" y="6"/>
                </a:cxn>
                <a:cxn ang="0">
                  <a:pos x="26" y="8"/>
                </a:cxn>
                <a:cxn ang="0">
                  <a:pos x="28" y="12"/>
                </a:cxn>
                <a:cxn ang="0">
                  <a:pos x="26" y="14"/>
                </a:cxn>
                <a:cxn ang="0">
                  <a:pos x="24" y="16"/>
                </a:cxn>
                <a:cxn ang="0">
                  <a:pos x="24" y="18"/>
                </a:cxn>
                <a:cxn ang="0">
                  <a:pos x="22" y="18"/>
                </a:cxn>
                <a:cxn ang="0">
                  <a:pos x="20" y="20"/>
                </a:cxn>
                <a:cxn ang="0">
                  <a:pos x="16" y="22"/>
                </a:cxn>
                <a:cxn ang="0">
                  <a:pos x="8" y="26"/>
                </a:cxn>
                <a:cxn ang="0">
                  <a:pos x="6" y="26"/>
                </a:cxn>
                <a:cxn ang="0">
                  <a:pos x="6" y="28"/>
                </a:cxn>
                <a:cxn ang="0">
                  <a:pos x="0" y="26"/>
                </a:cxn>
                <a:cxn ang="0">
                  <a:pos x="4" y="24"/>
                </a:cxn>
                <a:cxn ang="0">
                  <a:pos x="4" y="22"/>
                </a:cxn>
                <a:cxn ang="0">
                  <a:pos x="6" y="20"/>
                </a:cxn>
                <a:cxn ang="0">
                  <a:pos x="4" y="18"/>
                </a:cxn>
              </a:cxnLst>
              <a:rect l="0" t="0" r="r" b="b"/>
              <a:pathLst>
                <a:path w="28" h="28">
                  <a:moveTo>
                    <a:pt x="4" y="18"/>
                  </a:moveTo>
                  <a:lnTo>
                    <a:pt x="4" y="16"/>
                  </a:lnTo>
                  <a:lnTo>
                    <a:pt x="4" y="12"/>
                  </a:lnTo>
                  <a:lnTo>
                    <a:pt x="2" y="10"/>
                  </a:lnTo>
                  <a:lnTo>
                    <a:pt x="2" y="6"/>
                  </a:lnTo>
                  <a:lnTo>
                    <a:pt x="4" y="4"/>
                  </a:lnTo>
                  <a:lnTo>
                    <a:pt x="8" y="4"/>
                  </a:lnTo>
                  <a:lnTo>
                    <a:pt x="8" y="6"/>
                  </a:lnTo>
                  <a:lnTo>
                    <a:pt x="10" y="6"/>
                  </a:lnTo>
                  <a:lnTo>
                    <a:pt x="12" y="4"/>
                  </a:lnTo>
                  <a:lnTo>
                    <a:pt x="14" y="4"/>
                  </a:lnTo>
                  <a:lnTo>
                    <a:pt x="16" y="2"/>
                  </a:lnTo>
                  <a:lnTo>
                    <a:pt x="18" y="0"/>
                  </a:lnTo>
                  <a:lnTo>
                    <a:pt x="20" y="2"/>
                  </a:lnTo>
                  <a:lnTo>
                    <a:pt x="22" y="4"/>
                  </a:lnTo>
                  <a:lnTo>
                    <a:pt x="24" y="6"/>
                  </a:lnTo>
                  <a:lnTo>
                    <a:pt x="26" y="8"/>
                  </a:lnTo>
                  <a:lnTo>
                    <a:pt x="28" y="12"/>
                  </a:lnTo>
                  <a:lnTo>
                    <a:pt x="26" y="14"/>
                  </a:lnTo>
                  <a:lnTo>
                    <a:pt x="24" y="16"/>
                  </a:lnTo>
                  <a:lnTo>
                    <a:pt x="24" y="18"/>
                  </a:lnTo>
                  <a:lnTo>
                    <a:pt x="22" y="18"/>
                  </a:lnTo>
                  <a:lnTo>
                    <a:pt x="20" y="20"/>
                  </a:lnTo>
                  <a:lnTo>
                    <a:pt x="16" y="22"/>
                  </a:lnTo>
                  <a:lnTo>
                    <a:pt x="8" y="26"/>
                  </a:lnTo>
                  <a:lnTo>
                    <a:pt x="6" y="26"/>
                  </a:lnTo>
                  <a:lnTo>
                    <a:pt x="6" y="28"/>
                  </a:lnTo>
                  <a:lnTo>
                    <a:pt x="0" y="26"/>
                  </a:lnTo>
                  <a:lnTo>
                    <a:pt x="4" y="24"/>
                  </a:lnTo>
                  <a:lnTo>
                    <a:pt x="4" y="22"/>
                  </a:lnTo>
                  <a:lnTo>
                    <a:pt x="6" y="20"/>
                  </a:lnTo>
                  <a:lnTo>
                    <a:pt x="4" y="18"/>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8" name="Freeform 2674"/>
            <p:cNvSpPr>
              <a:spLocks/>
            </p:cNvSpPr>
            <p:nvPr/>
          </p:nvSpPr>
          <p:spPr bwMode="auto">
            <a:xfrm>
              <a:off x="2086" y="1994"/>
              <a:ext cx="42" cy="28"/>
            </a:xfrm>
            <a:custGeom>
              <a:avLst/>
              <a:gdLst/>
              <a:ahLst/>
              <a:cxnLst>
                <a:cxn ang="0">
                  <a:pos x="26" y="20"/>
                </a:cxn>
                <a:cxn ang="0">
                  <a:pos x="24" y="20"/>
                </a:cxn>
                <a:cxn ang="0">
                  <a:pos x="22" y="22"/>
                </a:cxn>
                <a:cxn ang="0">
                  <a:pos x="22" y="24"/>
                </a:cxn>
                <a:cxn ang="0">
                  <a:pos x="20" y="28"/>
                </a:cxn>
                <a:cxn ang="0">
                  <a:pos x="14" y="28"/>
                </a:cxn>
                <a:cxn ang="0">
                  <a:pos x="12" y="28"/>
                </a:cxn>
                <a:cxn ang="0">
                  <a:pos x="10" y="24"/>
                </a:cxn>
                <a:cxn ang="0">
                  <a:pos x="8" y="22"/>
                </a:cxn>
                <a:cxn ang="0">
                  <a:pos x="6" y="22"/>
                </a:cxn>
                <a:cxn ang="0">
                  <a:pos x="6" y="20"/>
                </a:cxn>
                <a:cxn ang="0">
                  <a:pos x="2" y="20"/>
                </a:cxn>
                <a:cxn ang="0">
                  <a:pos x="0" y="20"/>
                </a:cxn>
                <a:cxn ang="0">
                  <a:pos x="0" y="16"/>
                </a:cxn>
                <a:cxn ang="0">
                  <a:pos x="2" y="14"/>
                </a:cxn>
                <a:cxn ang="0">
                  <a:pos x="4" y="12"/>
                </a:cxn>
                <a:cxn ang="0">
                  <a:pos x="10" y="10"/>
                </a:cxn>
                <a:cxn ang="0">
                  <a:pos x="14" y="8"/>
                </a:cxn>
                <a:cxn ang="0">
                  <a:pos x="16" y="8"/>
                </a:cxn>
                <a:cxn ang="0">
                  <a:pos x="18" y="6"/>
                </a:cxn>
                <a:cxn ang="0">
                  <a:pos x="18" y="4"/>
                </a:cxn>
                <a:cxn ang="0">
                  <a:pos x="20" y="2"/>
                </a:cxn>
                <a:cxn ang="0">
                  <a:pos x="26" y="0"/>
                </a:cxn>
                <a:cxn ang="0">
                  <a:pos x="30" y="0"/>
                </a:cxn>
                <a:cxn ang="0">
                  <a:pos x="40" y="4"/>
                </a:cxn>
                <a:cxn ang="0">
                  <a:pos x="42" y="6"/>
                </a:cxn>
                <a:cxn ang="0">
                  <a:pos x="40" y="10"/>
                </a:cxn>
                <a:cxn ang="0">
                  <a:pos x="38" y="12"/>
                </a:cxn>
                <a:cxn ang="0">
                  <a:pos x="36" y="16"/>
                </a:cxn>
                <a:cxn ang="0">
                  <a:pos x="34" y="16"/>
                </a:cxn>
                <a:cxn ang="0">
                  <a:pos x="32" y="16"/>
                </a:cxn>
                <a:cxn ang="0">
                  <a:pos x="30" y="16"/>
                </a:cxn>
                <a:cxn ang="0">
                  <a:pos x="26" y="18"/>
                </a:cxn>
                <a:cxn ang="0">
                  <a:pos x="26" y="20"/>
                </a:cxn>
              </a:cxnLst>
              <a:rect l="0" t="0" r="r" b="b"/>
              <a:pathLst>
                <a:path w="42" h="28">
                  <a:moveTo>
                    <a:pt x="26" y="20"/>
                  </a:moveTo>
                  <a:lnTo>
                    <a:pt x="24" y="20"/>
                  </a:lnTo>
                  <a:lnTo>
                    <a:pt x="22" y="22"/>
                  </a:lnTo>
                  <a:lnTo>
                    <a:pt x="22" y="24"/>
                  </a:lnTo>
                  <a:lnTo>
                    <a:pt x="20" y="28"/>
                  </a:lnTo>
                  <a:lnTo>
                    <a:pt x="14" y="28"/>
                  </a:lnTo>
                  <a:lnTo>
                    <a:pt x="12" y="28"/>
                  </a:lnTo>
                  <a:lnTo>
                    <a:pt x="10" y="24"/>
                  </a:lnTo>
                  <a:lnTo>
                    <a:pt x="8" y="22"/>
                  </a:lnTo>
                  <a:lnTo>
                    <a:pt x="6" y="22"/>
                  </a:lnTo>
                  <a:lnTo>
                    <a:pt x="6" y="20"/>
                  </a:lnTo>
                  <a:lnTo>
                    <a:pt x="2" y="20"/>
                  </a:lnTo>
                  <a:lnTo>
                    <a:pt x="0" y="20"/>
                  </a:lnTo>
                  <a:lnTo>
                    <a:pt x="0" y="16"/>
                  </a:lnTo>
                  <a:lnTo>
                    <a:pt x="2" y="14"/>
                  </a:lnTo>
                  <a:lnTo>
                    <a:pt x="4" y="12"/>
                  </a:lnTo>
                  <a:lnTo>
                    <a:pt x="10" y="10"/>
                  </a:lnTo>
                  <a:lnTo>
                    <a:pt x="14" y="8"/>
                  </a:lnTo>
                  <a:lnTo>
                    <a:pt x="16" y="8"/>
                  </a:lnTo>
                  <a:lnTo>
                    <a:pt x="18" y="6"/>
                  </a:lnTo>
                  <a:lnTo>
                    <a:pt x="18" y="4"/>
                  </a:lnTo>
                  <a:lnTo>
                    <a:pt x="20" y="2"/>
                  </a:lnTo>
                  <a:lnTo>
                    <a:pt x="26" y="0"/>
                  </a:lnTo>
                  <a:lnTo>
                    <a:pt x="30" y="0"/>
                  </a:lnTo>
                  <a:lnTo>
                    <a:pt x="40" y="4"/>
                  </a:lnTo>
                  <a:lnTo>
                    <a:pt x="42" y="6"/>
                  </a:lnTo>
                  <a:lnTo>
                    <a:pt x="40" y="10"/>
                  </a:lnTo>
                  <a:lnTo>
                    <a:pt x="38" y="12"/>
                  </a:lnTo>
                  <a:lnTo>
                    <a:pt x="36" y="16"/>
                  </a:lnTo>
                  <a:lnTo>
                    <a:pt x="34" y="16"/>
                  </a:lnTo>
                  <a:lnTo>
                    <a:pt x="32" y="16"/>
                  </a:lnTo>
                  <a:lnTo>
                    <a:pt x="30" y="16"/>
                  </a:lnTo>
                  <a:lnTo>
                    <a:pt x="26" y="18"/>
                  </a:lnTo>
                  <a:lnTo>
                    <a:pt x="26" y="2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9" name="Freeform 2675"/>
            <p:cNvSpPr>
              <a:spLocks/>
            </p:cNvSpPr>
            <p:nvPr/>
          </p:nvSpPr>
          <p:spPr bwMode="auto">
            <a:xfrm>
              <a:off x="1996" y="2056"/>
              <a:ext cx="22" cy="14"/>
            </a:xfrm>
            <a:custGeom>
              <a:avLst/>
              <a:gdLst/>
              <a:ahLst/>
              <a:cxnLst>
                <a:cxn ang="0">
                  <a:pos x="8" y="2"/>
                </a:cxn>
                <a:cxn ang="0">
                  <a:pos x="10" y="2"/>
                </a:cxn>
                <a:cxn ang="0">
                  <a:pos x="16" y="4"/>
                </a:cxn>
                <a:cxn ang="0">
                  <a:pos x="18" y="6"/>
                </a:cxn>
                <a:cxn ang="0">
                  <a:pos x="20" y="10"/>
                </a:cxn>
                <a:cxn ang="0">
                  <a:pos x="22" y="12"/>
                </a:cxn>
                <a:cxn ang="0">
                  <a:pos x="20" y="14"/>
                </a:cxn>
                <a:cxn ang="0">
                  <a:pos x="16" y="14"/>
                </a:cxn>
                <a:cxn ang="0">
                  <a:pos x="14" y="14"/>
                </a:cxn>
                <a:cxn ang="0">
                  <a:pos x="10" y="12"/>
                </a:cxn>
                <a:cxn ang="0">
                  <a:pos x="4" y="8"/>
                </a:cxn>
                <a:cxn ang="0">
                  <a:pos x="0" y="8"/>
                </a:cxn>
                <a:cxn ang="0">
                  <a:pos x="0" y="6"/>
                </a:cxn>
                <a:cxn ang="0">
                  <a:pos x="0" y="4"/>
                </a:cxn>
                <a:cxn ang="0">
                  <a:pos x="0" y="2"/>
                </a:cxn>
                <a:cxn ang="0">
                  <a:pos x="4" y="0"/>
                </a:cxn>
                <a:cxn ang="0">
                  <a:pos x="6" y="2"/>
                </a:cxn>
                <a:cxn ang="0">
                  <a:pos x="8" y="2"/>
                </a:cxn>
              </a:cxnLst>
              <a:rect l="0" t="0" r="r" b="b"/>
              <a:pathLst>
                <a:path w="22" h="14">
                  <a:moveTo>
                    <a:pt x="8" y="2"/>
                  </a:moveTo>
                  <a:lnTo>
                    <a:pt x="10" y="2"/>
                  </a:lnTo>
                  <a:lnTo>
                    <a:pt x="16" y="4"/>
                  </a:lnTo>
                  <a:lnTo>
                    <a:pt x="18" y="6"/>
                  </a:lnTo>
                  <a:lnTo>
                    <a:pt x="20" y="10"/>
                  </a:lnTo>
                  <a:lnTo>
                    <a:pt x="22" y="12"/>
                  </a:lnTo>
                  <a:lnTo>
                    <a:pt x="20" y="14"/>
                  </a:lnTo>
                  <a:lnTo>
                    <a:pt x="16" y="14"/>
                  </a:lnTo>
                  <a:lnTo>
                    <a:pt x="14" y="14"/>
                  </a:lnTo>
                  <a:lnTo>
                    <a:pt x="10" y="12"/>
                  </a:lnTo>
                  <a:lnTo>
                    <a:pt x="4" y="8"/>
                  </a:lnTo>
                  <a:lnTo>
                    <a:pt x="0" y="8"/>
                  </a:lnTo>
                  <a:lnTo>
                    <a:pt x="0" y="6"/>
                  </a:lnTo>
                  <a:lnTo>
                    <a:pt x="0" y="4"/>
                  </a:lnTo>
                  <a:lnTo>
                    <a:pt x="0" y="2"/>
                  </a:lnTo>
                  <a:lnTo>
                    <a:pt x="4" y="0"/>
                  </a:lnTo>
                  <a:lnTo>
                    <a:pt x="6" y="2"/>
                  </a:lnTo>
                  <a:lnTo>
                    <a:pt x="8" y="2"/>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30" name="Freeform 2676"/>
            <p:cNvSpPr>
              <a:spLocks/>
            </p:cNvSpPr>
            <p:nvPr/>
          </p:nvSpPr>
          <p:spPr bwMode="auto">
            <a:xfrm>
              <a:off x="1972" y="2084"/>
              <a:ext cx="50" cy="24"/>
            </a:xfrm>
            <a:custGeom>
              <a:avLst/>
              <a:gdLst/>
              <a:ahLst/>
              <a:cxnLst>
                <a:cxn ang="0">
                  <a:pos x="0" y="4"/>
                </a:cxn>
                <a:cxn ang="0">
                  <a:pos x="4" y="2"/>
                </a:cxn>
                <a:cxn ang="0">
                  <a:pos x="10" y="0"/>
                </a:cxn>
                <a:cxn ang="0">
                  <a:pos x="12" y="2"/>
                </a:cxn>
                <a:cxn ang="0">
                  <a:pos x="16" y="4"/>
                </a:cxn>
                <a:cxn ang="0">
                  <a:pos x="20" y="8"/>
                </a:cxn>
                <a:cxn ang="0">
                  <a:pos x="22" y="8"/>
                </a:cxn>
                <a:cxn ang="0">
                  <a:pos x="28" y="10"/>
                </a:cxn>
                <a:cxn ang="0">
                  <a:pos x="34" y="8"/>
                </a:cxn>
                <a:cxn ang="0">
                  <a:pos x="48" y="10"/>
                </a:cxn>
                <a:cxn ang="0">
                  <a:pos x="50" y="12"/>
                </a:cxn>
                <a:cxn ang="0">
                  <a:pos x="48" y="14"/>
                </a:cxn>
                <a:cxn ang="0">
                  <a:pos x="46" y="16"/>
                </a:cxn>
                <a:cxn ang="0">
                  <a:pos x="42" y="18"/>
                </a:cxn>
                <a:cxn ang="0">
                  <a:pos x="38" y="20"/>
                </a:cxn>
                <a:cxn ang="0">
                  <a:pos x="32" y="22"/>
                </a:cxn>
                <a:cxn ang="0">
                  <a:pos x="28" y="24"/>
                </a:cxn>
                <a:cxn ang="0">
                  <a:pos x="22" y="20"/>
                </a:cxn>
                <a:cxn ang="0">
                  <a:pos x="22" y="16"/>
                </a:cxn>
                <a:cxn ang="0">
                  <a:pos x="16" y="12"/>
                </a:cxn>
                <a:cxn ang="0">
                  <a:pos x="12" y="12"/>
                </a:cxn>
                <a:cxn ang="0">
                  <a:pos x="8" y="12"/>
                </a:cxn>
                <a:cxn ang="0">
                  <a:pos x="8" y="16"/>
                </a:cxn>
                <a:cxn ang="0">
                  <a:pos x="4" y="16"/>
                </a:cxn>
                <a:cxn ang="0">
                  <a:pos x="2" y="16"/>
                </a:cxn>
                <a:cxn ang="0">
                  <a:pos x="0" y="12"/>
                </a:cxn>
                <a:cxn ang="0">
                  <a:pos x="0" y="8"/>
                </a:cxn>
                <a:cxn ang="0">
                  <a:pos x="0" y="4"/>
                </a:cxn>
              </a:cxnLst>
              <a:rect l="0" t="0" r="r" b="b"/>
              <a:pathLst>
                <a:path w="50" h="24">
                  <a:moveTo>
                    <a:pt x="0" y="4"/>
                  </a:moveTo>
                  <a:lnTo>
                    <a:pt x="4" y="2"/>
                  </a:lnTo>
                  <a:lnTo>
                    <a:pt x="10" y="0"/>
                  </a:lnTo>
                  <a:lnTo>
                    <a:pt x="12" y="2"/>
                  </a:lnTo>
                  <a:lnTo>
                    <a:pt x="16" y="4"/>
                  </a:lnTo>
                  <a:lnTo>
                    <a:pt x="20" y="8"/>
                  </a:lnTo>
                  <a:lnTo>
                    <a:pt x="22" y="8"/>
                  </a:lnTo>
                  <a:lnTo>
                    <a:pt x="28" y="10"/>
                  </a:lnTo>
                  <a:lnTo>
                    <a:pt x="34" y="8"/>
                  </a:lnTo>
                  <a:lnTo>
                    <a:pt x="48" y="10"/>
                  </a:lnTo>
                  <a:lnTo>
                    <a:pt x="50" y="12"/>
                  </a:lnTo>
                  <a:lnTo>
                    <a:pt x="48" y="14"/>
                  </a:lnTo>
                  <a:lnTo>
                    <a:pt x="46" y="16"/>
                  </a:lnTo>
                  <a:lnTo>
                    <a:pt x="42" y="18"/>
                  </a:lnTo>
                  <a:lnTo>
                    <a:pt x="38" y="20"/>
                  </a:lnTo>
                  <a:lnTo>
                    <a:pt x="32" y="22"/>
                  </a:lnTo>
                  <a:lnTo>
                    <a:pt x="28" y="24"/>
                  </a:lnTo>
                  <a:lnTo>
                    <a:pt x="22" y="20"/>
                  </a:lnTo>
                  <a:lnTo>
                    <a:pt x="22" y="16"/>
                  </a:lnTo>
                  <a:lnTo>
                    <a:pt x="16" y="12"/>
                  </a:lnTo>
                  <a:lnTo>
                    <a:pt x="12" y="12"/>
                  </a:lnTo>
                  <a:lnTo>
                    <a:pt x="8" y="12"/>
                  </a:lnTo>
                  <a:lnTo>
                    <a:pt x="8" y="16"/>
                  </a:lnTo>
                  <a:lnTo>
                    <a:pt x="4" y="16"/>
                  </a:lnTo>
                  <a:lnTo>
                    <a:pt x="2" y="16"/>
                  </a:lnTo>
                  <a:lnTo>
                    <a:pt x="0" y="12"/>
                  </a:lnTo>
                  <a:lnTo>
                    <a:pt x="0" y="8"/>
                  </a:lnTo>
                  <a:lnTo>
                    <a:pt x="0" y="4"/>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0" name="Freeform 2677"/>
          <p:cNvSpPr>
            <a:spLocks/>
          </p:cNvSpPr>
          <p:nvPr/>
        </p:nvSpPr>
        <p:spPr bwMode="auto">
          <a:xfrm>
            <a:off x="4216667" y="4246848"/>
            <a:ext cx="313089" cy="277645"/>
          </a:xfrm>
          <a:custGeom>
            <a:avLst/>
            <a:gdLst/>
            <a:ahLst/>
            <a:cxnLst>
              <a:cxn ang="0">
                <a:pos x="204" y="122"/>
              </a:cxn>
              <a:cxn ang="0">
                <a:pos x="194" y="136"/>
              </a:cxn>
              <a:cxn ang="0">
                <a:pos x="188" y="130"/>
              </a:cxn>
              <a:cxn ang="0">
                <a:pos x="176" y="146"/>
              </a:cxn>
              <a:cxn ang="0">
                <a:pos x="168" y="160"/>
              </a:cxn>
              <a:cxn ang="0">
                <a:pos x="174" y="172"/>
              </a:cxn>
              <a:cxn ang="0">
                <a:pos x="172" y="184"/>
              </a:cxn>
              <a:cxn ang="0">
                <a:pos x="162" y="186"/>
              </a:cxn>
              <a:cxn ang="0">
                <a:pos x="152" y="188"/>
              </a:cxn>
              <a:cxn ang="0">
                <a:pos x="148" y="178"/>
              </a:cxn>
              <a:cxn ang="0">
                <a:pos x="142" y="174"/>
              </a:cxn>
              <a:cxn ang="0">
                <a:pos x="120" y="158"/>
              </a:cxn>
              <a:cxn ang="0">
                <a:pos x="118" y="132"/>
              </a:cxn>
              <a:cxn ang="0">
                <a:pos x="118" y="122"/>
              </a:cxn>
              <a:cxn ang="0">
                <a:pos x="110" y="132"/>
              </a:cxn>
              <a:cxn ang="0">
                <a:pos x="94" y="142"/>
              </a:cxn>
              <a:cxn ang="0">
                <a:pos x="82" y="138"/>
              </a:cxn>
              <a:cxn ang="0">
                <a:pos x="76" y="134"/>
              </a:cxn>
              <a:cxn ang="0">
                <a:pos x="84" y="112"/>
              </a:cxn>
              <a:cxn ang="0">
                <a:pos x="72" y="100"/>
              </a:cxn>
              <a:cxn ang="0">
                <a:pos x="54" y="92"/>
              </a:cxn>
              <a:cxn ang="0">
                <a:pos x="46" y="80"/>
              </a:cxn>
              <a:cxn ang="0">
                <a:pos x="34" y="78"/>
              </a:cxn>
              <a:cxn ang="0">
                <a:pos x="32" y="58"/>
              </a:cxn>
              <a:cxn ang="0">
                <a:pos x="28" y="52"/>
              </a:cxn>
              <a:cxn ang="0">
                <a:pos x="18" y="54"/>
              </a:cxn>
              <a:cxn ang="0">
                <a:pos x="12" y="56"/>
              </a:cxn>
              <a:cxn ang="0">
                <a:pos x="0" y="34"/>
              </a:cxn>
              <a:cxn ang="0">
                <a:pos x="20" y="12"/>
              </a:cxn>
              <a:cxn ang="0">
                <a:pos x="34" y="4"/>
              </a:cxn>
              <a:cxn ang="0">
                <a:pos x="50" y="2"/>
              </a:cxn>
              <a:cxn ang="0">
                <a:pos x="52" y="14"/>
              </a:cxn>
              <a:cxn ang="0">
                <a:pos x="58" y="10"/>
              </a:cxn>
              <a:cxn ang="0">
                <a:pos x="72" y="14"/>
              </a:cxn>
              <a:cxn ang="0">
                <a:pos x="82" y="20"/>
              </a:cxn>
              <a:cxn ang="0">
                <a:pos x="96" y="14"/>
              </a:cxn>
              <a:cxn ang="0">
                <a:pos x="100" y="12"/>
              </a:cxn>
              <a:cxn ang="0">
                <a:pos x="104" y="18"/>
              </a:cxn>
              <a:cxn ang="0">
                <a:pos x="102" y="14"/>
              </a:cxn>
              <a:cxn ang="0">
                <a:pos x="100" y="8"/>
              </a:cxn>
              <a:cxn ang="0">
                <a:pos x="108" y="10"/>
              </a:cxn>
              <a:cxn ang="0">
                <a:pos x="110" y="8"/>
              </a:cxn>
              <a:cxn ang="0">
                <a:pos x="116" y="0"/>
              </a:cxn>
              <a:cxn ang="0">
                <a:pos x="118" y="6"/>
              </a:cxn>
              <a:cxn ang="0">
                <a:pos x="128" y="4"/>
              </a:cxn>
              <a:cxn ang="0">
                <a:pos x="136" y="4"/>
              </a:cxn>
              <a:cxn ang="0">
                <a:pos x="140" y="10"/>
              </a:cxn>
              <a:cxn ang="0">
                <a:pos x="146" y="4"/>
              </a:cxn>
              <a:cxn ang="0">
                <a:pos x="148" y="12"/>
              </a:cxn>
              <a:cxn ang="0">
                <a:pos x="154" y="20"/>
              </a:cxn>
              <a:cxn ang="0">
                <a:pos x="162" y="26"/>
              </a:cxn>
              <a:cxn ang="0">
                <a:pos x="172" y="26"/>
              </a:cxn>
              <a:cxn ang="0">
                <a:pos x="178" y="34"/>
              </a:cxn>
              <a:cxn ang="0">
                <a:pos x="186" y="44"/>
              </a:cxn>
              <a:cxn ang="0">
                <a:pos x="182" y="58"/>
              </a:cxn>
              <a:cxn ang="0">
                <a:pos x="174" y="68"/>
              </a:cxn>
              <a:cxn ang="0">
                <a:pos x="178" y="74"/>
              </a:cxn>
              <a:cxn ang="0">
                <a:pos x="182" y="76"/>
              </a:cxn>
              <a:cxn ang="0">
                <a:pos x="190" y="76"/>
              </a:cxn>
              <a:cxn ang="0">
                <a:pos x="202" y="88"/>
              </a:cxn>
              <a:cxn ang="0">
                <a:pos x="206" y="104"/>
              </a:cxn>
              <a:cxn ang="0">
                <a:pos x="212" y="120"/>
              </a:cxn>
            </a:cxnLst>
            <a:rect l="0" t="0" r="r" b="b"/>
            <a:pathLst>
              <a:path w="212" h="188">
                <a:moveTo>
                  <a:pt x="212" y="120"/>
                </a:moveTo>
                <a:lnTo>
                  <a:pt x="210" y="120"/>
                </a:lnTo>
                <a:lnTo>
                  <a:pt x="204" y="122"/>
                </a:lnTo>
                <a:lnTo>
                  <a:pt x="198" y="128"/>
                </a:lnTo>
                <a:lnTo>
                  <a:pt x="196" y="134"/>
                </a:lnTo>
                <a:lnTo>
                  <a:pt x="194" y="136"/>
                </a:lnTo>
                <a:lnTo>
                  <a:pt x="190" y="132"/>
                </a:lnTo>
                <a:lnTo>
                  <a:pt x="190" y="130"/>
                </a:lnTo>
                <a:lnTo>
                  <a:pt x="188" y="130"/>
                </a:lnTo>
                <a:lnTo>
                  <a:pt x="186" y="130"/>
                </a:lnTo>
                <a:lnTo>
                  <a:pt x="180" y="138"/>
                </a:lnTo>
                <a:lnTo>
                  <a:pt x="176" y="146"/>
                </a:lnTo>
                <a:lnTo>
                  <a:pt x="172" y="150"/>
                </a:lnTo>
                <a:lnTo>
                  <a:pt x="170" y="154"/>
                </a:lnTo>
                <a:lnTo>
                  <a:pt x="168" y="160"/>
                </a:lnTo>
                <a:lnTo>
                  <a:pt x="168" y="164"/>
                </a:lnTo>
                <a:lnTo>
                  <a:pt x="170" y="166"/>
                </a:lnTo>
                <a:lnTo>
                  <a:pt x="174" y="172"/>
                </a:lnTo>
                <a:lnTo>
                  <a:pt x="176" y="176"/>
                </a:lnTo>
                <a:lnTo>
                  <a:pt x="176" y="178"/>
                </a:lnTo>
                <a:lnTo>
                  <a:pt x="172" y="184"/>
                </a:lnTo>
                <a:lnTo>
                  <a:pt x="170" y="188"/>
                </a:lnTo>
                <a:lnTo>
                  <a:pt x="168" y="188"/>
                </a:lnTo>
                <a:lnTo>
                  <a:pt x="162" y="186"/>
                </a:lnTo>
                <a:lnTo>
                  <a:pt x="158" y="186"/>
                </a:lnTo>
                <a:lnTo>
                  <a:pt x="156" y="188"/>
                </a:lnTo>
                <a:lnTo>
                  <a:pt x="152" y="188"/>
                </a:lnTo>
                <a:lnTo>
                  <a:pt x="148" y="188"/>
                </a:lnTo>
                <a:lnTo>
                  <a:pt x="148" y="186"/>
                </a:lnTo>
                <a:lnTo>
                  <a:pt x="148" y="178"/>
                </a:lnTo>
                <a:lnTo>
                  <a:pt x="146" y="178"/>
                </a:lnTo>
                <a:lnTo>
                  <a:pt x="146" y="176"/>
                </a:lnTo>
                <a:lnTo>
                  <a:pt x="142" y="174"/>
                </a:lnTo>
                <a:lnTo>
                  <a:pt x="124" y="158"/>
                </a:lnTo>
                <a:lnTo>
                  <a:pt x="122" y="158"/>
                </a:lnTo>
                <a:lnTo>
                  <a:pt x="120" y="158"/>
                </a:lnTo>
                <a:lnTo>
                  <a:pt x="116" y="156"/>
                </a:lnTo>
                <a:lnTo>
                  <a:pt x="116" y="138"/>
                </a:lnTo>
                <a:lnTo>
                  <a:pt x="118" y="132"/>
                </a:lnTo>
                <a:lnTo>
                  <a:pt x="120" y="130"/>
                </a:lnTo>
                <a:lnTo>
                  <a:pt x="122" y="126"/>
                </a:lnTo>
                <a:lnTo>
                  <a:pt x="118" y="122"/>
                </a:lnTo>
                <a:lnTo>
                  <a:pt x="114" y="126"/>
                </a:lnTo>
                <a:lnTo>
                  <a:pt x="110" y="130"/>
                </a:lnTo>
                <a:lnTo>
                  <a:pt x="110" y="132"/>
                </a:lnTo>
                <a:lnTo>
                  <a:pt x="108" y="138"/>
                </a:lnTo>
                <a:lnTo>
                  <a:pt x="98" y="140"/>
                </a:lnTo>
                <a:lnTo>
                  <a:pt x="94" y="142"/>
                </a:lnTo>
                <a:lnTo>
                  <a:pt x="92" y="140"/>
                </a:lnTo>
                <a:lnTo>
                  <a:pt x="86" y="138"/>
                </a:lnTo>
                <a:lnTo>
                  <a:pt x="82" y="138"/>
                </a:lnTo>
                <a:lnTo>
                  <a:pt x="80" y="138"/>
                </a:lnTo>
                <a:lnTo>
                  <a:pt x="78" y="136"/>
                </a:lnTo>
                <a:lnTo>
                  <a:pt x="76" y="134"/>
                </a:lnTo>
                <a:lnTo>
                  <a:pt x="76" y="132"/>
                </a:lnTo>
                <a:lnTo>
                  <a:pt x="80" y="120"/>
                </a:lnTo>
                <a:lnTo>
                  <a:pt x="84" y="112"/>
                </a:lnTo>
                <a:lnTo>
                  <a:pt x="82" y="108"/>
                </a:lnTo>
                <a:lnTo>
                  <a:pt x="74" y="100"/>
                </a:lnTo>
                <a:lnTo>
                  <a:pt x="72" y="100"/>
                </a:lnTo>
                <a:lnTo>
                  <a:pt x="66" y="100"/>
                </a:lnTo>
                <a:lnTo>
                  <a:pt x="60" y="98"/>
                </a:lnTo>
                <a:lnTo>
                  <a:pt x="54" y="92"/>
                </a:lnTo>
                <a:lnTo>
                  <a:pt x="54" y="88"/>
                </a:lnTo>
                <a:lnTo>
                  <a:pt x="52" y="84"/>
                </a:lnTo>
                <a:lnTo>
                  <a:pt x="46" y="80"/>
                </a:lnTo>
                <a:lnTo>
                  <a:pt x="44" y="80"/>
                </a:lnTo>
                <a:lnTo>
                  <a:pt x="38" y="82"/>
                </a:lnTo>
                <a:lnTo>
                  <a:pt x="34" y="78"/>
                </a:lnTo>
                <a:lnTo>
                  <a:pt x="34" y="76"/>
                </a:lnTo>
                <a:lnTo>
                  <a:pt x="34" y="64"/>
                </a:lnTo>
                <a:lnTo>
                  <a:pt x="32" y="58"/>
                </a:lnTo>
                <a:lnTo>
                  <a:pt x="32" y="56"/>
                </a:lnTo>
                <a:lnTo>
                  <a:pt x="30" y="52"/>
                </a:lnTo>
                <a:lnTo>
                  <a:pt x="28" y="52"/>
                </a:lnTo>
                <a:lnTo>
                  <a:pt x="24" y="52"/>
                </a:lnTo>
                <a:lnTo>
                  <a:pt x="22" y="54"/>
                </a:lnTo>
                <a:lnTo>
                  <a:pt x="18" y="54"/>
                </a:lnTo>
                <a:lnTo>
                  <a:pt x="18" y="56"/>
                </a:lnTo>
                <a:lnTo>
                  <a:pt x="14" y="58"/>
                </a:lnTo>
                <a:lnTo>
                  <a:pt x="12" y="56"/>
                </a:lnTo>
                <a:lnTo>
                  <a:pt x="8" y="52"/>
                </a:lnTo>
                <a:lnTo>
                  <a:pt x="2" y="46"/>
                </a:lnTo>
                <a:lnTo>
                  <a:pt x="0" y="34"/>
                </a:lnTo>
                <a:lnTo>
                  <a:pt x="0" y="28"/>
                </a:lnTo>
                <a:lnTo>
                  <a:pt x="0" y="20"/>
                </a:lnTo>
                <a:lnTo>
                  <a:pt x="20" y="12"/>
                </a:lnTo>
                <a:lnTo>
                  <a:pt x="26" y="10"/>
                </a:lnTo>
                <a:lnTo>
                  <a:pt x="30" y="6"/>
                </a:lnTo>
                <a:lnTo>
                  <a:pt x="34" y="4"/>
                </a:lnTo>
                <a:lnTo>
                  <a:pt x="36" y="4"/>
                </a:lnTo>
                <a:lnTo>
                  <a:pt x="40" y="2"/>
                </a:lnTo>
                <a:lnTo>
                  <a:pt x="50" y="2"/>
                </a:lnTo>
                <a:lnTo>
                  <a:pt x="50" y="6"/>
                </a:lnTo>
                <a:lnTo>
                  <a:pt x="50" y="10"/>
                </a:lnTo>
                <a:lnTo>
                  <a:pt x="52" y="14"/>
                </a:lnTo>
                <a:lnTo>
                  <a:pt x="54" y="14"/>
                </a:lnTo>
                <a:lnTo>
                  <a:pt x="58" y="14"/>
                </a:lnTo>
                <a:lnTo>
                  <a:pt x="58" y="10"/>
                </a:lnTo>
                <a:lnTo>
                  <a:pt x="62" y="10"/>
                </a:lnTo>
                <a:lnTo>
                  <a:pt x="66" y="10"/>
                </a:lnTo>
                <a:lnTo>
                  <a:pt x="72" y="14"/>
                </a:lnTo>
                <a:lnTo>
                  <a:pt x="72" y="18"/>
                </a:lnTo>
                <a:lnTo>
                  <a:pt x="78" y="22"/>
                </a:lnTo>
                <a:lnTo>
                  <a:pt x="82" y="20"/>
                </a:lnTo>
                <a:lnTo>
                  <a:pt x="88" y="18"/>
                </a:lnTo>
                <a:lnTo>
                  <a:pt x="92" y="16"/>
                </a:lnTo>
                <a:lnTo>
                  <a:pt x="96" y="14"/>
                </a:lnTo>
                <a:lnTo>
                  <a:pt x="98" y="12"/>
                </a:lnTo>
                <a:lnTo>
                  <a:pt x="100" y="10"/>
                </a:lnTo>
                <a:lnTo>
                  <a:pt x="100" y="12"/>
                </a:lnTo>
                <a:lnTo>
                  <a:pt x="100" y="14"/>
                </a:lnTo>
                <a:lnTo>
                  <a:pt x="102" y="16"/>
                </a:lnTo>
                <a:lnTo>
                  <a:pt x="104" y="18"/>
                </a:lnTo>
                <a:lnTo>
                  <a:pt x="102" y="18"/>
                </a:lnTo>
                <a:lnTo>
                  <a:pt x="104" y="16"/>
                </a:lnTo>
                <a:lnTo>
                  <a:pt x="102" y="14"/>
                </a:lnTo>
                <a:lnTo>
                  <a:pt x="102" y="12"/>
                </a:lnTo>
                <a:lnTo>
                  <a:pt x="100" y="10"/>
                </a:lnTo>
                <a:lnTo>
                  <a:pt x="100" y="8"/>
                </a:lnTo>
                <a:lnTo>
                  <a:pt x="102" y="8"/>
                </a:lnTo>
                <a:lnTo>
                  <a:pt x="106" y="10"/>
                </a:lnTo>
                <a:lnTo>
                  <a:pt x="108" y="10"/>
                </a:lnTo>
                <a:lnTo>
                  <a:pt x="110" y="10"/>
                </a:lnTo>
                <a:lnTo>
                  <a:pt x="112" y="10"/>
                </a:lnTo>
                <a:lnTo>
                  <a:pt x="110" y="8"/>
                </a:lnTo>
                <a:lnTo>
                  <a:pt x="110" y="6"/>
                </a:lnTo>
                <a:lnTo>
                  <a:pt x="110" y="2"/>
                </a:lnTo>
                <a:lnTo>
                  <a:pt x="116" y="0"/>
                </a:lnTo>
                <a:lnTo>
                  <a:pt x="118" y="2"/>
                </a:lnTo>
                <a:lnTo>
                  <a:pt x="118" y="4"/>
                </a:lnTo>
                <a:lnTo>
                  <a:pt x="118" y="6"/>
                </a:lnTo>
                <a:lnTo>
                  <a:pt x="124" y="6"/>
                </a:lnTo>
                <a:lnTo>
                  <a:pt x="126" y="6"/>
                </a:lnTo>
                <a:lnTo>
                  <a:pt x="128" y="4"/>
                </a:lnTo>
                <a:lnTo>
                  <a:pt x="132" y="2"/>
                </a:lnTo>
                <a:lnTo>
                  <a:pt x="134" y="2"/>
                </a:lnTo>
                <a:lnTo>
                  <a:pt x="136" y="4"/>
                </a:lnTo>
                <a:lnTo>
                  <a:pt x="134" y="8"/>
                </a:lnTo>
                <a:lnTo>
                  <a:pt x="136" y="10"/>
                </a:lnTo>
                <a:lnTo>
                  <a:pt x="140" y="10"/>
                </a:lnTo>
                <a:lnTo>
                  <a:pt x="144" y="8"/>
                </a:lnTo>
                <a:lnTo>
                  <a:pt x="146" y="6"/>
                </a:lnTo>
                <a:lnTo>
                  <a:pt x="146" y="4"/>
                </a:lnTo>
                <a:lnTo>
                  <a:pt x="148" y="6"/>
                </a:lnTo>
                <a:lnTo>
                  <a:pt x="150" y="10"/>
                </a:lnTo>
                <a:lnTo>
                  <a:pt x="148" y="12"/>
                </a:lnTo>
                <a:lnTo>
                  <a:pt x="150" y="20"/>
                </a:lnTo>
                <a:lnTo>
                  <a:pt x="152" y="20"/>
                </a:lnTo>
                <a:lnTo>
                  <a:pt x="154" y="20"/>
                </a:lnTo>
                <a:lnTo>
                  <a:pt x="156" y="22"/>
                </a:lnTo>
                <a:lnTo>
                  <a:pt x="156" y="26"/>
                </a:lnTo>
                <a:lnTo>
                  <a:pt x="162" y="26"/>
                </a:lnTo>
                <a:lnTo>
                  <a:pt x="166" y="26"/>
                </a:lnTo>
                <a:lnTo>
                  <a:pt x="170" y="26"/>
                </a:lnTo>
                <a:lnTo>
                  <a:pt x="172" y="26"/>
                </a:lnTo>
                <a:lnTo>
                  <a:pt x="174" y="28"/>
                </a:lnTo>
                <a:lnTo>
                  <a:pt x="174" y="32"/>
                </a:lnTo>
                <a:lnTo>
                  <a:pt x="178" y="34"/>
                </a:lnTo>
                <a:lnTo>
                  <a:pt x="184" y="36"/>
                </a:lnTo>
                <a:lnTo>
                  <a:pt x="190" y="40"/>
                </a:lnTo>
                <a:lnTo>
                  <a:pt x="186" y="44"/>
                </a:lnTo>
                <a:lnTo>
                  <a:pt x="184" y="52"/>
                </a:lnTo>
                <a:lnTo>
                  <a:pt x="182" y="54"/>
                </a:lnTo>
                <a:lnTo>
                  <a:pt x="182" y="58"/>
                </a:lnTo>
                <a:lnTo>
                  <a:pt x="174" y="64"/>
                </a:lnTo>
                <a:lnTo>
                  <a:pt x="174" y="66"/>
                </a:lnTo>
                <a:lnTo>
                  <a:pt x="174" y="68"/>
                </a:lnTo>
                <a:lnTo>
                  <a:pt x="176" y="70"/>
                </a:lnTo>
                <a:lnTo>
                  <a:pt x="178" y="72"/>
                </a:lnTo>
                <a:lnTo>
                  <a:pt x="178" y="74"/>
                </a:lnTo>
                <a:lnTo>
                  <a:pt x="176" y="76"/>
                </a:lnTo>
                <a:lnTo>
                  <a:pt x="178" y="76"/>
                </a:lnTo>
                <a:lnTo>
                  <a:pt x="182" y="76"/>
                </a:lnTo>
                <a:lnTo>
                  <a:pt x="186" y="76"/>
                </a:lnTo>
                <a:lnTo>
                  <a:pt x="188" y="76"/>
                </a:lnTo>
                <a:lnTo>
                  <a:pt x="190" y="76"/>
                </a:lnTo>
                <a:lnTo>
                  <a:pt x="194" y="78"/>
                </a:lnTo>
                <a:lnTo>
                  <a:pt x="196" y="80"/>
                </a:lnTo>
                <a:lnTo>
                  <a:pt x="202" y="88"/>
                </a:lnTo>
                <a:lnTo>
                  <a:pt x="208" y="92"/>
                </a:lnTo>
                <a:lnTo>
                  <a:pt x="206" y="94"/>
                </a:lnTo>
                <a:lnTo>
                  <a:pt x="206" y="104"/>
                </a:lnTo>
                <a:lnTo>
                  <a:pt x="210" y="104"/>
                </a:lnTo>
                <a:lnTo>
                  <a:pt x="212" y="108"/>
                </a:lnTo>
                <a:lnTo>
                  <a:pt x="212" y="120"/>
                </a:lnTo>
                <a:close/>
              </a:path>
            </a:pathLst>
          </a:custGeom>
          <a:solidFill>
            <a:srgbClr val="646464"/>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1" name="Group 2830"/>
          <p:cNvGrpSpPr>
            <a:grpSpLocks/>
          </p:cNvGrpSpPr>
          <p:nvPr/>
        </p:nvGrpSpPr>
        <p:grpSpPr bwMode="auto">
          <a:xfrm>
            <a:off x="3504838" y="4276485"/>
            <a:ext cx="1222821" cy="1382362"/>
            <a:chOff x="1440" y="2106"/>
            <a:chExt cx="828" cy="936"/>
          </a:xfrm>
          <a:solidFill>
            <a:srgbClr val="646464"/>
          </a:solidFill>
        </p:grpSpPr>
        <p:sp>
          <p:nvSpPr>
            <p:cNvPr id="620" name="Freeform 2632"/>
            <p:cNvSpPr>
              <a:spLocks/>
            </p:cNvSpPr>
            <p:nvPr/>
          </p:nvSpPr>
          <p:spPr bwMode="auto">
            <a:xfrm>
              <a:off x="1590" y="2192"/>
              <a:ext cx="12" cy="8"/>
            </a:xfrm>
            <a:custGeom>
              <a:avLst/>
              <a:gdLst/>
              <a:ahLst/>
              <a:cxnLst>
                <a:cxn ang="0">
                  <a:pos x="6" y="8"/>
                </a:cxn>
                <a:cxn ang="0">
                  <a:pos x="4" y="8"/>
                </a:cxn>
                <a:cxn ang="0">
                  <a:pos x="2" y="6"/>
                </a:cxn>
                <a:cxn ang="0">
                  <a:pos x="0" y="6"/>
                </a:cxn>
                <a:cxn ang="0">
                  <a:pos x="2" y="2"/>
                </a:cxn>
                <a:cxn ang="0">
                  <a:pos x="8" y="2"/>
                </a:cxn>
                <a:cxn ang="0">
                  <a:pos x="10" y="0"/>
                </a:cxn>
                <a:cxn ang="0">
                  <a:pos x="12" y="0"/>
                </a:cxn>
                <a:cxn ang="0">
                  <a:pos x="8" y="8"/>
                </a:cxn>
                <a:cxn ang="0">
                  <a:pos x="6" y="8"/>
                </a:cxn>
              </a:cxnLst>
              <a:rect l="0" t="0" r="r" b="b"/>
              <a:pathLst>
                <a:path w="12" h="8">
                  <a:moveTo>
                    <a:pt x="6" y="8"/>
                  </a:moveTo>
                  <a:lnTo>
                    <a:pt x="4" y="8"/>
                  </a:lnTo>
                  <a:lnTo>
                    <a:pt x="2" y="6"/>
                  </a:lnTo>
                  <a:lnTo>
                    <a:pt x="0" y="6"/>
                  </a:lnTo>
                  <a:lnTo>
                    <a:pt x="2" y="2"/>
                  </a:lnTo>
                  <a:lnTo>
                    <a:pt x="8" y="2"/>
                  </a:lnTo>
                  <a:lnTo>
                    <a:pt x="10" y="0"/>
                  </a:lnTo>
                  <a:lnTo>
                    <a:pt x="12" y="0"/>
                  </a:lnTo>
                  <a:lnTo>
                    <a:pt x="8" y="8"/>
                  </a:lnTo>
                  <a:lnTo>
                    <a:pt x="6"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1" name="Freeform 2640"/>
            <p:cNvSpPr>
              <a:spLocks/>
            </p:cNvSpPr>
            <p:nvPr/>
          </p:nvSpPr>
          <p:spPr bwMode="auto">
            <a:xfrm>
              <a:off x="1440" y="2106"/>
              <a:ext cx="790" cy="798"/>
            </a:xfrm>
            <a:custGeom>
              <a:avLst/>
              <a:gdLst/>
              <a:ahLst/>
              <a:cxnLst>
                <a:cxn ang="0">
                  <a:pos x="676" y="484"/>
                </a:cxn>
                <a:cxn ang="0">
                  <a:pos x="684" y="542"/>
                </a:cxn>
                <a:cxn ang="0">
                  <a:pos x="664" y="598"/>
                </a:cxn>
                <a:cxn ang="0">
                  <a:pos x="674" y="660"/>
                </a:cxn>
                <a:cxn ang="0">
                  <a:pos x="704" y="706"/>
                </a:cxn>
                <a:cxn ang="0">
                  <a:pos x="640" y="744"/>
                </a:cxn>
                <a:cxn ang="0">
                  <a:pos x="586" y="760"/>
                </a:cxn>
                <a:cxn ang="0">
                  <a:pos x="546" y="730"/>
                </a:cxn>
                <a:cxn ang="0">
                  <a:pos x="534" y="720"/>
                </a:cxn>
                <a:cxn ang="0">
                  <a:pos x="516" y="720"/>
                </a:cxn>
                <a:cxn ang="0">
                  <a:pos x="484" y="708"/>
                </a:cxn>
                <a:cxn ang="0">
                  <a:pos x="426" y="718"/>
                </a:cxn>
                <a:cxn ang="0">
                  <a:pos x="392" y="784"/>
                </a:cxn>
                <a:cxn ang="0">
                  <a:pos x="364" y="798"/>
                </a:cxn>
                <a:cxn ang="0">
                  <a:pos x="310" y="778"/>
                </a:cxn>
                <a:cxn ang="0">
                  <a:pos x="280" y="750"/>
                </a:cxn>
                <a:cxn ang="0">
                  <a:pos x="228" y="742"/>
                </a:cxn>
                <a:cxn ang="0">
                  <a:pos x="174" y="718"/>
                </a:cxn>
                <a:cxn ang="0">
                  <a:pos x="118" y="688"/>
                </a:cxn>
                <a:cxn ang="0">
                  <a:pos x="86" y="654"/>
                </a:cxn>
                <a:cxn ang="0">
                  <a:pos x="138" y="566"/>
                </a:cxn>
                <a:cxn ang="0">
                  <a:pos x="146" y="532"/>
                </a:cxn>
                <a:cxn ang="0">
                  <a:pos x="178" y="474"/>
                </a:cxn>
                <a:cxn ang="0">
                  <a:pos x="190" y="488"/>
                </a:cxn>
                <a:cxn ang="0">
                  <a:pos x="178" y="430"/>
                </a:cxn>
                <a:cxn ang="0">
                  <a:pos x="144" y="360"/>
                </a:cxn>
                <a:cxn ang="0">
                  <a:pos x="142" y="312"/>
                </a:cxn>
                <a:cxn ang="0">
                  <a:pos x="154" y="294"/>
                </a:cxn>
                <a:cxn ang="0">
                  <a:pos x="120" y="272"/>
                </a:cxn>
                <a:cxn ang="0">
                  <a:pos x="112" y="254"/>
                </a:cxn>
                <a:cxn ang="0">
                  <a:pos x="80" y="244"/>
                </a:cxn>
                <a:cxn ang="0">
                  <a:pos x="20" y="216"/>
                </a:cxn>
                <a:cxn ang="0">
                  <a:pos x="2" y="184"/>
                </a:cxn>
                <a:cxn ang="0">
                  <a:pos x="16" y="166"/>
                </a:cxn>
                <a:cxn ang="0">
                  <a:pos x="10" y="142"/>
                </a:cxn>
                <a:cxn ang="0">
                  <a:pos x="64" y="146"/>
                </a:cxn>
                <a:cxn ang="0">
                  <a:pos x="106" y="134"/>
                </a:cxn>
                <a:cxn ang="0">
                  <a:pos x="172" y="184"/>
                </a:cxn>
                <a:cxn ang="0">
                  <a:pos x="196" y="178"/>
                </a:cxn>
                <a:cxn ang="0">
                  <a:pos x="206" y="136"/>
                </a:cxn>
                <a:cxn ang="0">
                  <a:pos x="200" y="74"/>
                </a:cxn>
                <a:cxn ang="0">
                  <a:pos x="238" y="94"/>
                </a:cxn>
                <a:cxn ang="0">
                  <a:pos x="256" y="122"/>
                </a:cxn>
                <a:cxn ang="0">
                  <a:pos x="312" y="130"/>
                </a:cxn>
                <a:cxn ang="0">
                  <a:pos x="326" y="126"/>
                </a:cxn>
                <a:cxn ang="0">
                  <a:pos x="378" y="90"/>
                </a:cxn>
                <a:cxn ang="0">
                  <a:pos x="424" y="16"/>
                </a:cxn>
                <a:cxn ang="0">
                  <a:pos x="484" y="26"/>
                </a:cxn>
                <a:cxn ang="0">
                  <a:pos x="516" y="58"/>
                </a:cxn>
                <a:cxn ang="0">
                  <a:pos x="558" y="112"/>
                </a:cxn>
                <a:cxn ang="0">
                  <a:pos x="604" y="106"/>
                </a:cxn>
                <a:cxn ang="0">
                  <a:pos x="634" y="168"/>
                </a:cxn>
                <a:cxn ang="0">
                  <a:pos x="680" y="178"/>
                </a:cxn>
                <a:cxn ang="0">
                  <a:pos x="720" y="208"/>
                </a:cxn>
                <a:cxn ang="0">
                  <a:pos x="780" y="230"/>
                </a:cxn>
                <a:cxn ang="0">
                  <a:pos x="756" y="286"/>
                </a:cxn>
                <a:cxn ang="0">
                  <a:pos x="736" y="350"/>
                </a:cxn>
                <a:cxn ang="0">
                  <a:pos x="722" y="368"/>
                </a:cxn>
                <a:cxn ang="0">
                  <a:pos x="678" y="402"/>
                </a:cxn>
                <a:cxn ang="0">
                  <a:pos x="636" y="456"/>
                </a:cxn>
                <a:cxn ang="0">
                  <a:pos x="646" y="470"/>
                </a:cxn>
              </a:cxnLst>
              <a:rect l="0" t="0" r="r" b="b"/>
              <a:pathLst>
                <a:path w="790" h="798">
                  <a:moveTo>
                    <a:pt x="644" y="466"/>
                  </a:moveTo>
                  <a:lnTo>
                    <a:pt x="644" y="464"/>
                  </a:lnTo>
                  <a:lnTo>
                    <a:pt x="644" y="462"/>
                  </a:lnTo>
                  <a:lnTo>
                    <a:pt x="648" y="458"/>
                  </a:lnTo>
                  <a:lnTo>
                    <a:pt x="650" y="458"/>
                  </a:lnTo>
                  <a:lnTo>
                    <a:pt x="660" y="454"/>
                  </a:lnTo>
                  <a:lnTo>
                    <a:pt x="662" y="454"/>
                  </a:lnTo>
                  <a:lnTo>
                    <a:pt x="670" y="454"/>
                  </a:lnTo>
                  <a:lnTo>
                    <a:pt x="674" y="456"/>
                  </a:lnTo>
                  <a:lnTo>
                    <a:pt x="676" y="456"/>
                  </a:lnTo>
                  <a:lnTo>
                    <a:pt x="680" y="458"/>
                  </a:lnTo>
                  <a:lnTo>
                    <a:pt x="680" y="460"/>
                  </a:lnTo>
                  <a:lnTo>
                    <a:pt x="680" y="464"/>
                  </a:lnTo>
                  <a:lnTo>
                    <a:pt x="676" y="484"/>
                  </a:lnTo>
                  <a:lnTo>
                    <a:pt x="682" y="490"/>
                  </a:lnTo>
                  <a:lnTo>
                    <a:pt x="684" y="494"/>
                  </a:lnTo>
                  <a:lnTo>
                    <a:pt x="688" y="500"/>
                  </a:lnTo>
                  <a:lnTo>
                    <a:pt x="690" y="502"/>
                  </a:lnTo>
                  <a:lnTo>
                    <a:pt x="690" y="506"/>
                  </a:lnTo>
                  <a:lnTo>
                    <a:pt x="686" y="510"/>
                  </a:lnTo>
                  <a:lnTo>
                    <a:pt x="684" y="512"/>
                  </a:lnTo>
                  <a:lnTo>
                    <a:pt x="682" y="512"/>
                  </a:lnTo>
                  <a:lnTo>
                    <a:pt x="680" y="512"/>
                  </a:lnTo>
                  <a:lnTo>
                    <a:pt x="676" y="512"/>
                  </a:lnTo>
                  <a:lnTo>
                    <a:pt x="674" y="518"/>
                  </a:lnTo>
                  <a:lnTo>
                    <a:pt x="674" y="522"/>
                  </a:lnTo>
                  <a:lnTo>
                    <a:pt x="684" y="536"/>
                  </a:lnTo>
                  <a:lnTo>
                    <a:pt x="684" y="542"/>
                  </a:lnTo>
                  <a:lnTo>
                    <a:pt x="690" y="548"/>
                  </a:lnTo>
                  <a:lnTo>
                    <a:pt x="692" y="552"/>
                  </a:lnTo>
                  <a:lnTo>
                    <a:pt x="692" y="558"/>
                  </a:lnTo>
                  <a:lnTo>
                    <a:pt x="690" y="568"/>
                  </a:lnTo>
                  <a:lnTo>
                    <a:pt x="686" y="570"/>
                  </a:lnTo>
                  <a:lnTo>
                    <a:pt x="678" y="574"/>
                  </a:lnTo>
                  <a:lnTo>
                    <a:pt x="670" y="576"/>
                  </a:lnTo>
                  <a:lnTo>
                    <a:pt x="666" y="574"/>
                  </a:lnTo>
                  <a:lnTo>
                    <a:pt x="660" y="574"/>
                  </a:lnTo>
                  <a:lnTo>
                    <a:pt x="658" y="576"/>
                  </a:lnTo>
                  <a:lnTo>
                    <a:pt x="656" y="578"/>
                  </a:lnTo>
                  <a:lnTo>
                    <a:pt x="658" y="584"/>
                  </a:lnTo>
                  <a:lnTo>
                    <a:pt x="662" y="596"/>
                  </a:lnTo>
                  <a:lnTo>
                    <a:pt x="664" y="598"/>
                  </a:lnTo>
                  <a:lnTo>
                    <a:pt x="668" y="602"/>
                  </a:lnTo>
                  <a:lnTo>
                    <a:pt x="672" y="604"/>
                  </a:lnTo>
                  <a:lnTo>
                    <a:pt x="674" y="602"/>
                  </a:lnTo>
                  <a:lnTo>
                    <a:pt x="676" y="604"/>
                  </a:lnTo>
                  <a:lnTo>
                    <a:pt x="678" y="604"/>
                  </a:lnTo>
                  <a:lnTo>
                    <a:pt x="680" y="606"/>
                  </a:lnTo>
                  <a:lnTo>
                    <a:pt x="680" y="614"/>
                  </a:lnTo>
                  <a:lnTo>
                    <a:pt x="676" y="620"/>
                  </a:lnTo>
                  <a:lnTo>
                    <a:pt x="674" y="620"/>
                  </a:lnTo>
                  <a:lnTo>
                    <a:pt x="666" y="632"/>
                  </a:lnTo>
                  <a:lnTo>
                    <a:pt x="666" y="634"/>
                  </a:lnTo>
                  <a:lnTo>
                    <a:pt x="666" y="648"/>
                  </a:lnTo>
                  <a:lnTo>
                    <a:pt x="672" y="656"/>
                  </a:lnTo>
                  <a:lnTo>
                    <a:pt x="674" y="660"/>
                  </a:lnTo>
                  <a:lnTo>
                    <a:pt x="694" y="672"/>
                  </a:lnTo>
                  <a:lnTo>
                    <a:pt x="700" y="674"/>
                  </a:lnTo>
                  <a:lnTo>
                    <a:pt x="702" y="672"/>
                  </a:lnTo>
                  <a:lnTo>
                    <a:pt x="706" y="672"/>
                  </a:lnTo>
                  <a:lnTo>
                    <a:pt x="712" y="670"/>
                  </a:lnTo>
                  <a:lnTo>
                    <a:pt x="716" y="670"/>
                  </a:lnTo>
                  <a:lnTo>
                    <a:pt x="716" y="674"/>
                  </a:lnTo>
                  <a:lnTo>
                    <a:pt x="718" y="678"/>
                  </a:lnTo>
                  <a:lnTo>
                    <a:pt x="718" y="680"/>
                  </a:lnTo>
                  <a:lnTo>
                    <a:pt x="714" y="686"/>
                  </a:lnTo>
                  <a:lnTo>
                    <a:pt x="710" y="690"/>
                  </a:lnTo>
                  <a:lnTo>
                    <a:pt x="702" y="698"/>
                  </a:lnTo>
                  <a:lnTo>
                    <a:pt x="702" y="702"/>
                  </a:lnTo>
                  <a:lnTo>
                    <a:pt x="704" y="706"/>
                  </a:lnTo>
                  <a:lnTo>
                    <a:pt x="702" y="704"/>
                  </a:lnTo>
                  <a:lnTo>
                    <a:pt x="700" y="706"/>
                  </a:lnTo>
                  <a:lnTo>
                    <a:pt x="698" y="706"/>
                  </a:lnTo>
                  <a:lnTo>
                    <a:pt x="696" y="706"/>
                  </a:lnTo>
                  <a:lnTo>
                    <a:pt x="694" y="708"/>
                  </a:lnTo>
                  <a:lnTo>
                    <a:pt x="694" y="710"/>
                  </a:lnTo>
                  <a:lnTo>
                    <a:pt x="688" y="710"/>
                  </a:lnTo>
                  <a:lnTo>
                    <a:pt x="684" y="710"/>
                  </a:lnTo>
                  <a:lnTo>
                    <a:pt x="678" y="714"/>
                  </a:lnTo>
                  <a:lnTo>
                    <a:pt x="672" y="722"/>
                  </a:lnTo>
                  <a:lnTo>
                    <a:pt x="658" y="734"/>
                  </a:lnTo>
                  <a:lnTo>
                    <a:pt x="656" y="734"/>
                  </a:lnTo>
                  <a:lnTo>
                    <a:pt x="652" y="734"/>
                  </a:lnTo>
                  <a:lnTo>
                    <a:pt x="640" y="744"/>
                  </a:lnTo>
                  <a:lnTo>
                    <a:pt x="644" y="746"/>
                  </a:lnTo>
                  <a:lnTo>
                    <a:pt x="640" y="754"/>
                  </a:lnTo>
                  <a:lnTo>
                    <a:pt x="636" y="754"/>
                  </a:lnTo>
                  <a:lnTo>
                    <a:pt x="632" y="754"/>
                  </a:lnTo>
                  <a:lnTo>
                    <a:pt x="624" y="756"/>
                  </a:lnTo>
                  <a:lnTo>
                    <a:pt x="606" y="758"/>
                  </a:lnTo>
                  <a:lnTo>
                    <a:pt x="606" y="762"/>
                  </a:lnTo>
                  <a:lnTo>
                    <a:pt x="606" y="764"/>
                  </a:lnTo>
                  <a:lnTo>
                    <a:pt x="604" y="762"/>
                  </a:lnTo>
                  <a:lnTo>
                    <a:pt x="602" y="762"/>
                  </a:lnTo>
                  <a:lnTo>
                    <a:pt x="600" y="758"/>
                  </a:lnTo>
                  <a:lnTo>
                    <a:pt x="594" y="756"/>
                  </a:lnTo>
                  <a:lnTo>
                    <a:pt x="592" y="758"/>
                  </a:lnTo>
                  <a:lnTo>
                    <a:pt x="586" y="760"/>
                  </a:lnTo>
                  <a:lnTo>
                    <a:pt x="584" y="760"/>
                  </a:lnTo>
                  <a:lnTo>
                    <a:pt x="582" y="756"/>
                  </a:lnTo>
                  <a:lnTo>
                    <a:pt x="584" y="754"/>
                  </a:lnTo>
                  <a:lnTo>
                    <a:pt x="576" y="748"/>
                  </a:lnTo>
                  <a:lnTo>
                    <a:pt x="566" y="744"/>
                  </a:lnTo>
                  <a:lnTo>
                    <a:pt x="558" y="742"/>
                  </a:lnTo>
                  <a:lnTo>
                    <a:pt x="554" y="742"/>
                  </a:lnTo>
                  <a:lnTo>
                    <a:pt x="554" y="740"/>
                  </a:lnTo>
                  <a:lnTo>
                    <a:pt x="556" y="738"/>
                  </a:lnTo>
                  <a:lnTo>
                    <a:pt x="556" y="732"/>
                  </a:lnTo>
                  <a:lnTo>
                    <a:pt x="554" y="730"/>
                  </a:lnTo>
                  <a:lnTo>
                    <a:pt x="552" y="728"/>
                  </a:lnTo>
                  <a:lnTo>
                    <a:pt x="548" y="730"/>
                  </a:lnTo>
                  <a:lnTo>
                    <a:pt x="546" y="730"/>
                  </a:lnTo>
                  <a:lnTo>
                    <a:pt x="538" y="730"/>
                  </a:lnTo>
                  <a:lnTo>
                    <a:pt x="534" y="728"/>
                  </a:lnTo>
                  <a:lnTo>
                    <a:pt x="536" y="724"/>
                  </a:lnTo>
                  <a:lnTo>
                    <a:pt x="538" y="722"/>
                  </a:lnTo>
                  <a:lnTo>
                    <a:pt x="542" y="722"/>
                  </a:lnTo>
                  <a:lnTo>
                    <a:pt x="546" y="720"/>
                  </a:lnTo>
                  <a:lnTo>
                    <a:pt x="548" y="718"/>
                  </a:lnTo>
                  <a:lnTo>
                    <a:pt x="548" y="716"/>
                  </a:lnTo>
                  <a:lnTo>
                    <a:pt x="536" y="708"/>
                  </a:lnTo>
                  <a:lnTo>
                    <a:pt x="534" y="712"/>
                  </a:lnTo>
                  <a:lnTo>
                    <a:pt x="536" y="714"/>
                  </a:lnTo>
                  <a:lnTo>
                    <a:pt x="536" y="716"/>
                  </a:lnTo>
                  <a:lnTo>
                    <a:pt x="536" y="718"/>
                  </a:lnTo>
                  <a:lnTo>
                    <a:pt x="534" y="720"/>
                  </a:lnTo>
                  <a:lnTo>
                    <a:pt x="532" y="720"/>
                  </a:lnTo>
                  <a:lnTo>
                    <a:pt x="530" y="720"/>
                  </a:lnTo>
                  <a:lnTo>
                    <a:pt x="528" y="718"/>
                  </a:lnTo>
                  <a:lnTo>
                    <a:pt x="524" y="718"/>
                  </a:lnTo>
                  <a:lnTo>
                    <a:pt x="524" y="720"/>
                  </a:lnTo>
                  <a:lnTo>
                    <a:pt x="522" y="722"/>
                  </a:lnTo>
                  <a:lnTo>
                    <a:pt x="520" y="722"/>
                  </a:lnTo>
                  <a:lnTo>
                    <a:pt x="518" y="720"/>
                  </a:lnTo>
                  <a:lnTo>
                    <a:pt x="516" y="716"/>
                  </a:lnTo>
                  <a:lnTo>
                    <a:pt x="516" y="712"/>
                  </a:lnTo>
                  <a:lnTo>
                    <a:pt x="516" y="710"/>
                  </a:lnTo>
                  <a:lnTo>
                    <a:pt x="516" y="704"/>
                  </a:lnTo>
                  <a:lnTo>
                    <a:pt x="516" y="718"/>
                  </a:lnTo>
                  <a:lnTo>
                    <a:pt x="516" y="720"/>
                  </a:lnTo>
                  <a:lnTo>
                    <a:pt x="516" y="722"/>
                  </a:lnTo>
                  <a:lnTo>
                    <a:pt x="508" y="722"/>
                  </a:lnTo>
                  <a:lnTo>
                    <a:pt x="506" y="722"/>
                  </a:lnTo>
                  <a:lnTo>
                    <a:pt x="504" y="720"/>
                  </a:lnTo>
                  <a:lnTo>
                    <a:pt x="506" y="716"/>
                  </a:lnTo>
                  <a:lnTo>
                    <a:pt x="504" y="714"/>
                  </a:lnTo>
                  <a:lnTo>
                    <a:pt x="502" y="714"/>
                  </a:lnTo>
                  <a:lnTo>
                    <a:pt x="500" y="712"/>
                  </a:lnTo>
                  <a:lnTo>
                    <a:pt x="498" y="712"/>
                  </a:lnTo>
                  <a:lnTo>
                    <a:pt x="496" y="712"/>
                  </a:lnTo>
                  <a:lnTo>
                    <a:pt x="488" y="710"/>
                  </a:lnTo>
                  <a:lnTo>
                    <a:pt x="488" y="708"/>
                  </a:lnTo>
                  <a:lnTo>
                    <a:pt x="486" y="706"/>
                  </a:lnTo>
                  <a:lnTo>
                    <a:pt x="484" y="708"/>
                  </a:lnTo>
                  <a:lnTo>
                    <a:pt x="482" y="708"/>
                  </a:lnTo>
                  <a:lnTo>
                    <a:pt x="486" y="710"/>
                  </a:lnTo>
                  <a:lnTo>
                    <a:pt x="480" y="710"/>
                  </a:lnTo>
                  <a:lnTo>
                    <a:pt x="478" y="708"/>
                  </a:lnTo>
                  <a:lnTo>
                    <a:pt x="476" y="706"/>
                  </a:lnTo>
                  <a:lnTo>
                    <a:pt x="476" y="702"/>
                  </a:lnTo>
                  <a:lnTo>
                    <a:pt x="474" y="700"/>
                  </a:lnTo>
                  <a:lnTo>
                    <a:pt x="472" y="700"/>
                  </a:lnTo>
                  <a:lnTo>
                    <a:pt x="466" y="700"/>
                  </a:lnTo>
                  <a:lnTo>
                    <a:pt x="462" y="702"/>
                  </a:lnTo>
                  <a:lnTo>
                    <a:pt x="458" y="706"/>
                  </a:lnTo>
                  <a:lnTo>
                    <a:pt x="448" y="710"/>
                  </a:lnTo>
                  <a:lnTo>
                    <a:pt x="436" y="718"/>
                  </a:lnTo>
                  <a:lnTo>
                    <a:pt x="426" y="718"/>
                  </a:lnTo>
                  <a:lnTo>
                    <a:pt x="420" y="720"/>
                  </a:lnTo>
                  <a:lnTo>
                    <a:pt x="416" y="722"/>
                  </a:lnTo>
                  <a:lnTo>
                    <a:pt x="406" y="730"/>
                  </a:lnTo>
                  <a:lnTo>
                    <a:pt x="400" y="736"/>
                  </a:lnTo>
                  <a:lnTo>
                    <a:pt x="400" y="738"/>
                  </a:lnTo>
                  <a:lnTo>
                    <a:pt x="398" y="746"/>
                  </a:lnTo>
                  <a:lnTo>
                    <a:pt x="394" y="752"/>
                  </a:lnTo>
                  <a:lnTo>
                    <a:pt x="390" y="756"/>
                  </a:lnTo>
                  <a:lnTo>
                    <a:pt x="390" y="758"/>
                  </a:lnTo>
                  <a:lnTo>
                    <a:pt x="392" y="758"/>
                  </a:lnTo>
                  <a:lnTo>
                    <a:pt x="392" y="760"/>
                  </a:lnTo>
                  <a:lnTo>
                    <a:pt x="394" y="766"/>
                  </a:lnTo>
                  <a:lnTo>
                    <a:pt x="392" y="776"/>
                  </a:lnTo>
                  <a:lnTo>
                    <a:pt x="392" y="784"/>
                  </a:lnTo>
                  <a:lnTo>
                    <a:pt x="396" y="786"/>
                  </a:lnTo>
                  <a:lnTo>
                    <a:pt x="398" y="786"/>
                  </a:lnTo>
                  <a:lnTo>
                    <a:pt x="398" y="790"/>
                  </a:lnTo>
                  <a:lnTo>
                    <a:pt x="400" y="792"/>
                  </a:lnTo>
                  <a:lnTo>
                    <a:pt x="400" y="794"/>
                  </a:lnTo>
                  <a:lnTo>
                    <a:pt x="398" y="794"/>
                  </a:lnTo>
                  <a:lnTo>
                    <a:pt x="394" y="794"/>
                  </a:lnTo>
                  <a:lnTo>
                    <a:pt x="392" y="794"/>
                  </a:lnTo>
                  <a:lnTo>
                    <a:pt x="392" y="790"/>
                  </a:lnTo>
                  <a:lnTo>
                    <a:pt x="384" y="788"/>
                  </a:lnTo>
                  <a:lnTo>
                    <a:pt x="368" y="792"/>
                  </a:lnTo>
                  <a:lnTo>
                    <a:pt x="366" y="792"/>
                  </a:lnTo>
                  <a:lnTo>
                    <a:pt x="364" y="794"/>
                  </a:lnTo>
                  <a:lnTo>
                    <a:pt x="364" y="798"/>
                  </a:lnTo>
                  <a:lnTo>
                    <a:pt x="356" y="798"/>
                  </a:lnTo>
                  <a:lnTo>
                    <a:pt x="352" y="796"/>
                  </a:lnTo>
                  <a:lnTo>
                    <a:pt x="350" y="792"/>
                  </a:lnTo>
                  <a:lnTo>
                    <a:pt x="342" y="788"/>
                  </a:lnTo>
                  <a:lnTo>
                    <a:pt x="338" y="784"/>
                  </a:lnTo>
                  <a:lnTo>
                    <a:pt x="330" y="784"/>
                  </a:lnTo>
                  <a:lnTo>
                    <a:pt x="328" y="788"/>
                  </a:lnTo>
                  <a:lnTo>
                    <a:pt x="326" y="790"/>
                  </a:lnTo>
                  <a:lnTo>
                    <a:pt x="324" y="790"/>
                  </a:lnTo>
                  <a:lnTo>
                    <a:pt x="320" y="790"/>
                  </a:lnTo>
                  <a:lnTo>
                    <a:pt x="318" y="788"/>
                  </a:lnTo>
                  <a:lnTo>
                    <a:pt x="318" y="784"/>
                  </a:lnTo>
                  <a:lnTo>
                    <a:pt x="314" y="780"/>
                  </a:lnTo>
                  <a:lnTo>
                    <a:pt x="310" y="778"/>
                  </a:lnTo>
                  <a:lnTo>
                    <a:pt x="306" y="776"/>
                  </a:lnTo>
                  <a:lnTo>
                    <a:pt x="302" y="772"/>
                  </a:lnTo>
                  <a:lnTo>
                    <a:pt x="304" y="772"/>
                  </a:lnTo>
                  <a:lnTo>
                    <a:pt x="306" y="768"/>
                  </a:lnTo>
                  <a:lnTo>
                    <a:pt x="308" y="768"/>
                  </a:lnTo>
                  <a:lnTo>
                    <a:pt x="306" y="764"/>
                  </a:lnTo>
                  <a:lnTo>
                    <a:pt x="302" y="762"/>
                  </a:lnTo>
                  <a:lnTo>
                    <a:pt x="294" y="758"/>
                  </a:lnTo>
                  <a:lnTo>
                    <a:pt x="290" y="756"/>
                  </a:lnTo>
                  <a:lnTo>
                    <a:pt x="286" y="760"/>
                  </a:lnTo>
                  <a:lnTo>
                    <a:pt x="284" y="756"/>
                  </a:lnTo>
                  <a:lnTo>
                    <a:pt x="284" y="752"/>
                  </a:lnTo>
                  <a:lnTo>
                    <a:pt x="282" y="750"/>
                  </a:lnTo>
                  <a:lnTo>
                    <a:pt x="280" y="750"/>
                  </a:lnTo>
                  <a:lnTo>
                    <a:pt x="268" y="748"/>
                  </a:lnTo>
                  <a:lnTo>
                    <a:pt x="268" y="746"/>
                  </a:lnTo>
                  <a:lnTo>
                    <a:pt x="268" y="742"/>
                  </a:lnTo>
                  <a:lnTo>
                    <a:pt x="264" y="740"/>
                  </a:lnTo>
                  <a:lnTo>
                    <a:pt x="252" y="736"/>
                  </a:lnTo>
                  <a:lnTo>
                    <a:pt x="248" y="732"/>
                  </a:lnTo>
                  <a:lnTo>
                    <a:pt x="240" y="730"/>
                  </a:lnTo>
                  <a:lnTo>
                    <a:pt x="238" y="730"/>
                  </a:lnTo>
                  <a:lnTo>
                    <a:pt x="236" y="736"/>
                  </a:lnTo>
                  <a:lnTo>
                    <a:pt x="236" y="738"/>
                  </a:lnTo>
                  <a:lnTo>
                    <a:pt x="236" y="742"/>
                  </a:lnTo>
                  <a:lnTo>
                    <a:pt x="236" y="744"/>
                  </a:lnTo>
                  <a:lnTo>
                    <a:pt x="230" y="744"/>
                  </a:lnTo>
                  <a:lnTo>
                    <a:pt x="228" y="742"/>
                  </a:lnTo>
                  <a:lnTo>
                    <a:pt x="224" y="742"/>
                  </a:lnTo>
                  <a:lnTo>
                    <a:pt x="220" y="742"/>
                  </a:lnTo>
                  <a:lnTo>
                    <a:pt x="210" y="738"/>
                  </a:lnTo>
                  <a:lnTo>
                    <a:pt x="204" y="734"/>
                  </a:lnTo>
                  <a:lnTo>
                    <a:pt x="202" y="736"/>
                  </a:lnTo>
                  <a:lnTo>
                    <a:pt x="198" y="736"/>
                  </a:lnTo>
                  <a:lnTo>
                    <a:pt x="190" y="736"/>
                  </a:lnTo>
                  <a:lnTo>
                    <a:pt x="186" y="734"/>
                  </a:lnTo>
                  <a:lnTo>
                    <a:pt x="184" y="728"/>
                  </a:lnTo>
                  <a:lnTo>
                    <a:pt x="182" y="726"/>
                  </a:lnTo>
                  <a:lnTo>
                    <a:pt x="180" y="726"/>
                  </a:lnTo>
                  <a:lnTo>
                    <a:pt x="178" y="724"/>
                  </a:lnTo>
                  <a:lnTo>
                    <a:pt x="176" y="722"/>
                  </a:lnTo>
                  <a:lnTo>
                    <a:pt x="174" y="718"/>
                  </a:lnTo>
                  <a:lnTo>
                    <a:pt x="172" y="718"/>
                  </a:lnTo>
                  <a:lnTo>
                    <a:pt x="166" y="722"/>
                  </a:lnTo>
                  <a:lnTo>
                    <a:pt x="156" y="720"/>
                  </a:lnTo>
                  <a:lnTo>
                    <a:pt x="146" y="710"/>
                  </a:lnTo>
                  <a:lnTo>
                    <a:pt x="146" y="708"/>
                  </a:lnTo>
                  <a:lnTo>
                    <a:pt x="146" y="706"/>
                  </a:lnTo>
                  <a:lnTo>
                    <a:pt x="148" y="706"/>
                  </a:lnTo>
                  <a:lnTo>
                    <a:pt x="146" y="702"/>
                  </a:lnTo>
                  <a:lnTo>
                    <a:pt x="144" y="702"/>
                  </a:lnTo>
                  <a:lnTo>
                    <a:pt x="142" y="702"/>
                  </a:lnTo>
                  <a:lnTo>
                    <a:pt x="132" y="700"/>
                  </a:lnTo>
                  <a:lnTo>
                    <a:pt x="130" y="698"/>
                  </a:lnTo>
                  <a:lnTo>
                    <a:pt x="126" y="694"/>
                  </a:lnTo>
                  <a:lnTo>
                    <a:pt x="118" y="688"/>
                  </a:lnTo>
                  <a:lnTo>
                    <a:pt x="112" y="684"/>
                  </a:lnTo>
                  <a:lnTo>
                    <a:pt x="108" y="688"/>
                  </a:lnTo>
                  <a:lnTo>
                    <a:pt x="104" y="686"/>
                  </a:lnTo>
                  <a:lnTo>
                    <a:pt x="102" y="686"/>
                  </a:lnTo>
                  <a:lnTo>
                    <a:pt x="100" y="680"/>
                  </a:lnTo>
                  <a:lnTo>
                    <a:pt x="104" y="678"/>
                  </a:lnTo>
                  <a:lnTo>
                    <a:pt x="108" y="670"/>
                  </a:lnTo>
                  <a:lnTo>
                    <a:pt x="110" y="668"/>
                  </a:lnTo>
                  <a:lnTo>
                    <a:pt x="108" y="666"/>
                  </a:lnTo>
                  <a:lnTo>
                    <a:pt x="102" y="662"/>
                  </a:lnTo>
                  <a:lnTo>
                    <a:pt x="92" y="658"/>
                  </a:lnTo>
                  <a:lnTo>
                    <a:pt x="90" y="658"/>
                  </a:lnTo>
                  <a:lnTo>
                    <a:pt x="88" y="658"/>
                  </a:lnTo>
                  <a:lnTo>
                    <a:pt x="86" y="654"/>
                  </a:lnTo>
                  <a:lnTo>
                    <a:pt x="86" y="652"/>
                  </a:lnTo>
                  <a:lnTo>
                    <a:pt x="88" y="652"/>
                  </a:lnTo>
                  <a:lnTo>
                    <a:pt x="94" y="652"/>
                  </a:lnTo>
                  <a:lnTo>
                    <a:pt x="100" y="648"/>
                  </a:lnTo>
                  <a:lnTo>
                    <a:pt x="104" y="642"/>
                  </a:lnTo>
                  <a:lnTo>
                    <a:pt x="108" y="636"/>
                  </a:lnTo>
                  <a:lnTo>
                    <a:pt x="112" y="632"/>
                  </a:lnTo>
                  <a:lnTo>
                    <a:pt x="112" y="628"/>
                  </a:lnTo>
                  <a:lnTo>
                    <a:pt x="114" y="626"/>
                  </a:lnTo>
                  <a:lnTo>
                    <a:pt x="116" y="618"/>
                  </a:lnTo>
                  <a:lnTo>
                    <a:pt x="126" y="594"/>
                  </a:lnTo>
                  <a:lnTo>
                    <a:pt x="128" y="592"/>
                  </a:lnTo>
                  <a:lnTo>
                    <a:pt x="132" y="582"/>
                  </a:lnTo>
                  <a:lnTo>
                    <a:pt x="138" y="566"/>
                  </a:lnTo>
                  <a:lnTo>
                    <a:pt x="140" y="560"/>
                  </a:lnTo>
                  <a:lnTo>
                    <a:pt x="142" y="554"/>
                  </a:lnTo>
                  <a:lnTo>
                    <a:pt x="142" y="550"/>
                  </a:lnTo>
                  <a:lnTo>
                    <a:pt x="146" y="546"/>
                  </a:lnTo>
                  <a:lnTo>
                    <a:pt x="150" y="542"/>
                  </a:lnTo>
                  <a:lnTo>
                    <a:pt x="152" y="544"/>
                  </a:lnTo>
                  <a:lnTo>
                    <a:pt x="154" y="544"/>
                  </a:lnTo>
                  <a:lnTo>
                    <a:pt x="158" y="542"/>
                  </a:lnTo>
                  <a:lnTo>
                    <a:pt x="158" y="540"/>
                  </a:lnTo>
                  <a:lnTo>
                    <a:pt x="154" y="534"/>
                  </a:lnTo>
                  <a:lnTo>
                    <a:pt x="150" y="532"/>
                  </a:lnTo>
                  <a:lnTo>
                    <a:pt x="146" y="538"/>
                  </a:lnTo>
                  <a:lnTo>
                    <a:pt x="144" y="540"/>
                  </a:lnTo>
                  <a:lnTo>
                    <a:pt x="146" y="532"/>
                  </a:lnTo>
                  <a:lnTo>
                    <a:pt x="154" y="510"/>
                  </a:lnTo>
                  <a:lnTo>
                    <a:pt x="158" y="492"/>
                  </a:lnTo>
                  <a:lnTo>
                    <a:pt x="162" y="478"/>
                  </a:lnTo>
                  <a:lnTo>
                    <a:pt x="164" y="476"/>
                  </a:lnTo>
                  <a:lnTo>
                    <a:pt x="164" y="472"/>
                  </a:lnTo>
                  <a:lnTo>
                    <a:pt x="166" y="468"/>
                  </a:lnTo>
                  <a:lnTo>
                    <a:pt x="170" y="462"/>
                  </a:lnTo>
                  <a:lnTo>
                    <a:pt x="172" y="462"/>
                  </a:lnTo>
                  <a:lnTo>
                    <a:pt x="172" y="464"/>
                  </a:lnTo>
                  <a:lnTo>
                    <a:pt x="172" y="466"/>
                  </a:lnTo>
                  <a:lnTo>
                    <a:pt x="174" y="470"/>
                  </a:lnTo>
                  <a:lnTo>
                    <a:pt x="176" y="472"/>
                  </a:lnTo>
                  <a:lnTo>
                    <a:pt x="178" y="472"/>
                  </a:lnTo>
                  <a:lnTo>
                    <a:pt x="178" y="474"/>
                  </a:lnTo>
                  <a:lnTo>
                    <a:pt x="186" y="484"/>
                  </a:lnTo>
                  <a:lnTo>
                    <a:pt x="186" y="488"/>
                  </a:lnTo>
                  <a:lnTo>
                    <a:pt x="186" y="496"/>
                  </a:lnTo>
                  <a:lnTo>
                    <a:pt x="186" y="500"/>
                  </a:lnTo>
                  <a:lnTo>
                    <a:pt x="186" y="506"/>
                  </a:lnTo>
                  <a:lnTo>
                    <a:pt x="186" y="508"/>
                  </a:lnTo>
                  <a:lnTo>
                    <a:pt x="194" y="530"/>
                  </a:lnTo>
                  <a:lnTo>
                    <a:pt x="194" y="522"/>
                  </a:lnTo>
                  <a:lnTo>
                    <a:pt x="194" y="518"/>
                  </a:lnTo>
                  <a:lnTo>
                    <a:pt x="192" y="514"/>
                  </a:lnTo>
                  <a:lnTo>
                    <a:pt x="190" y="512"/>
                  </a:lnTo>
                  <a:lnTo>
                    <a:pt x="190" y="510"/>
                  </a:lnTo>
                  <a:lnTo>
                    <a:pt x="190" y="506"/>
                  </a:lnTo>
                  <a:lnTo>
                    <a:pt x="190" y="488"/>
                  </a:lnTo>
                  <a:lnTo>
                    <a:pt x="190" y="484"/>
                  </a:lnTo>
                  <a:lnTo>
                    <a:pt x="190" y="478"/>
                  </a:lnTo>
                  <a:lnTo>
                    <a:pt x="188" y="474"/>
                  </a:lnTo>
                  <a:lnTo>
                    <a:pt x="186" y="472"/>
                  </a:lnTo>
                  <a:lnTo>
                    <a:pt x="184" y="468"/>
                  </a:lnTo>
                  <a:lnTo>
                    <a:pt x="178" y="458"/>
                  </a:lnTo>
                  <a:lnTo>
                    <a:pt x="172" y="454"/>
                  </a:lnTo>
                  <a:lnTo>
                    <a:pt x="168" y="450"/>
                  </a:lnTo>
                  <a:lnTo>
                    <a:pt x="164" y="448"/>
                  </a:lnTo>
                  <a:lnTo>
                    <a:pt x="166" y="440"/>
                  </a:lnTo>
                  <a:lnTo>
                    <a:pt x="168" y="438"/>
                  </a:lnTo>
                  <a:lnTo>
                    <a:pt x="172" y="438"/>
                  </a:lnTo>
                  <a:lnTo>
                    <a:pt x="172" y="434"/>
                  </a:lnTo>
                  <a:lnTo>
                    <a:pt x="178" y="430"/>
                  </a:lnTo>
                  <a:lnTo>
                    <a:pt x="182" y="422"/>
                  </a:lnTo>
                  <a:lnTo>
                    <a:pt x="182" y="418"/>
                  </a:lnTo>
                  <a:lnTo>
                    <a:pt x="178" y="410"/>
                  </a:lnTo>
                  <a:lnTo>
                    <a:pt x="178" y="408"/>
                  </a:lnTo>
                  <a:lnTo>
                    <a:pt x="182" y="398"/>
                  </a:lnTo>
                  <a:lnTo>
                    <a:pt x="182" y="394"/>
                  </a:lnTo>
                  <a:lnTo>
                    <a:pt x="180" y="392"/>
                  </a:lnTo>
                  <a:lnTo>
                    <a:pt x="178" y="392"/>
                  </a:lnTo>
                  <a:lnTo>
                    <a:pt x="176" y="394"/>
                  </a:lnTo>
                  <a:lnTo>
                    <a:pt x="174" y="392"/>
                  </a:lnTo>
                  <a:lnTo>
                    <a:pt x="162" y="382"/>
                  </a:lnTo>
                  <a:lnTo>
                    <a:pt x="152" y="374"/>
                  </a:lnTo>
                  <a:lnTo>
                    <a:pt x="144" y="368"/>
                  </a:lnTo>
                  <a:lnTo>
                    <a:pt x="144" y="360"/>
                  </a:lnTo>
                  <a:lnTo>
                    <a:pt x="142" y="354"/>
                  </a:lnTo>
                  <a:lnTo>
                    <a:pt x="140" y="348"/>
                  </a:lnTo>
                  <a:lnTo>
                    <a:pt x="136" y="340"/>
                  </a:lnTo>
                  <a:lnTo>
                    <a:pt x="134" y="340"/>
                  </a:lnTo>
                  <a:lnTo>
                    <a:pt x="134" y="338"/>
                  </a:lnTo>
                  <a:lnTo>
                    <a:pt x="132" y="336"/>
                  </a:lnTo>
                  <a:lnTo>
                    <a:pt x="130" y="334"/>
                  </a:lnTo>
                  <a:lnTo>
                    <a:pt x="130" y="332"/>
                  </a:lnTo>
                  <a:lnTo>
                    <a:pt x="132" y="328"/>
                  </a:lnTo>
                  <a:lnTo>
                    <a:pt x="134" y="324"/>
                  </a:lnTo>
                  <a:lnTo>
                    <a:pt x="138" y="320"/>
                  </a:lnTo>
                  <a:lnTo>
                    <a:pt x="142" y="316"/>
                  </a:lnTo>
                  <a:lnTo>
                    <a:pt x="142" y="314"/>
                  </a:lnTo>
                  <a:lnTo>
                    <a:pt x="142" y="312"/>
                  </a:lnTo>
                  <a:lnTo>
                    <a:pt x="140" y="310"/>
                  </a:lnTo>
                  <a:lnTo>
                    <a:pt x="136" y="308"/>
                  </a:lnTo>
                  <a:lnTo>
                    <a:pt x="132" y="306"/>
                  </a:lnTo>
                  <a:lnTo>
                    <a:pt x="136" y="296"/>
                  </a:lnTo>
                  <a:lnTo>
                    <a:pt x="138" y="292"/>
                  </a:lnTo>
                  <a:lnTo>
                    <a:pt x="144" y="294"/>
                  </a:lnTo>
                  <a:lnTo>
                    <a:pt x="146" y="294"/>
                  </a:lnTo>
                  <a:lnTo>
                    <a:pt x="150" y="296"/>
                  </a:lnTo>
                  <a:lnTo>
                    <a:pt x="152" y="296"/>
                  </a:lnTo>
                  <a:lnTo>
                    <a:pt x="152" y="298"/>
                  </a:lnTo>
                  <a:lnTo>
                    <a:pt x="158" y="304"/>
                  </a:lnTo>
                  <a:lnTo>
                    <a:pt x="160" y="304"/>
                  </a:lnTo>
                  <a:lnTo>
                    <a:pt x="162" y="304"/>
                  </a:lnTo>
                  <a:lnTo>
                    <a:pt x="154" y="294"/>
                  </a:lnTo>
                  <a:lnTo>
                    <a:pt x="152" y="294"/>
                  </a:lnTo>
                  <a:lnTo>
                    <a:pt x="146" y="290"/>
                  </a:lnTo>
                  <a:lnTo>
                    <a:pt x="140" y="290"/>
                  </a:lnTo>
                  <a:lnTo>
                    <a:pt x="136" y="292"/>
                  </a:lnTo>
                  <a:lnTo>
                    <a:pt x="128" y="294"/>
                  </a:lnTo>
                  <a:lnTo>
                    <a:pt x="120" y="290"/>
                  </a:lnTo>
                  <a:lnTo>
                    <a:pt x="118" y="288"/>
                  </a:lnTo>
                  <a:lnTo>
                    <a:pt x="114" y="286"/>
                  </a:lnTo>
                  <a:lnTo>
                    <a:pt x="116" y="278"/>
                  </a:lnTo>
                  <a:lnTo>
                    <a:pt x="120" y="276"/>
                  </a:lnTo>
                  <a:lnTo>
                    <a:pt x="122" y="278"/>
                  </a:lnTo>
                  <a:lnTo>
                    <a:pt x="124" y="276"/>
                  </a:lnTo>
                  <a:lnTo>
                    <a:pt x="122" y="272"/>
                  </a:lnTo>
                  <a:lnTo>
                    <a:pt x="120" y="272"/>
                  </a:lnTo>
                  <a:lnTo>
                    <a:pt x="122" y="268"/>
                  </a:lnTo>
                  <a:lnTo>
                    <a:pt x="126" y="270"/>
                  </a:lnTo>
                  <a:lnTo>
                    <a:pt x="128" y="270"/>
                  </a:lnTo>
                  <a:lnTo>
                    <a:pt x="128" y="268"/>
                  </a:lnTo>
                  <a:lnTo>
                    <a:pt x="120" y="266"/>
                  </a:lnTo>
                  <a:lnTo>
                    <a:pt x="116" y="264"/>
                  </a:lnTo>
                  <a:lnTo>
                    <a:pt x="112" y="264"/>
                  </a:lnTo>
                  <a:lnTo>
                    <a:pt x="104" y="264"/>
                  </a:lnTo>
                  <a:lnTo>
                    <a:pt x="100" y="264"/>
                  </a:lnTo>
                  <a:lnTo>
                    <a:pt x="100" y="258"/>
                  </a:lnTo>
                  <a:lnTo>
                    <a:pt x="104" y="260"/>
                  </a:lnTo>
                  <a:lnTo>
                    <a:pt x="108" y="260"/>
                  </a:lnTo>
                  <a:lnTo>
                    <a:pt x="112" y="256"/>
                  </a:lnTo>
                  <a:lnTo>
                    <a:pt x="112" y="254"/>
                  </a:lnTo>
                  <a:lnTo>
                    <a:pt x="112" y="252"/>
                  </a:lnTo>
                  <a:lnTo>
                    <a:pt x="100" y="254"/>
                  </a:lnTo>
                  <a:lnTo>
                    <a:pt x="96" y="254"/>
                  </a:lnTo>
                  <a:lnTo>
                    <a:pt x="88" y="252"/>
                  </a:lnTo>
                  <a:lnTo>
                    <a:pt x="84" y="250"/>
                  </a:lnTo>
                  <a:lnTo>
                    <a:pt x="84" y="258"/>
                  </a:lnTo>
                  <a:lnTo>
                    <a:pt x="84" y="262"/>
                  </a:lnTo>
                  <a:lnTo>
                    <a:pt x="82" y="262"/>
                  </a:lnTo>
                  <a:lnTo>
                    <a:pt x="82" y="256"/>
                  </a:lnTo>
                  <a:lnTo>
                    <a:pt x="84" y="254"/>
                  </a:lnTo>
                  <a:lnTo>
                    <a:pt x="84" y="252"/>
                  </a:lnTo>
                  <a:lnTo>
                    <a:pt x="84" y="248"/>
                  </a:lnTo>
                  <a:lnTo>
                    <a:pt x="82" y="246"/>
                  </a:lnTo>
                  <a:lnTo>
                    <a:pt x="80" y="244"/>
                  </a:lnTo>
                  <a:lnTo>
                    <a:pt x="66" y="230"/>
                  </a:lnTo>
                  <a:lnTo>
                    <a:pt x="58" y="226"/>
                  </a:lnTo>
                  <a:lnTo>
                    <a:pt x="50" y="224"/>
                  </a:lnTo>
                  <a:lnTo>
                    <a:pt x="46" y="222"/>
                  </a:lnTo>
                  <a:lnTo>
                    <a:pt x="44" y="218"/>
                  </a:lnTo>
                  <a:lnTo>
                    <a:pt x="44" y="216"/>
                  </a:lnTo>
                  <a:lnTo>
                    <a:pt x="40" y="212"/>
                  </a:lnTo>
                  <a:lnTo>
                    <a:pt x="32" y="212"/>
                  </a:lnTo>
                  <a:lnTo>
                    <a:pt x="28" y="214"/>
                  </a:lnTo>
                  <a:lnTo>
                    <a:pt x="28" y="216"/>
                  </a:lnTo>
                  <a:lnTo>
                    <a:pt x="26" y="216"/>
                  </a:lnTo>
                  <a:lnTo>
                    <a:pt x="24" y="216"/>
                  </a:lnTo>
                  <a:lnTo>
                    <a:pt x="22" y="216"/>
                  </a:lnTo>
                  <a:lnTo>
                    <a:pt x="20" y="216"/>
                  </a:lnTo>
                  <a:lnTo>
                    <a:pt x="14" y="212"/>
                  </a:lnTo>
                  <a:lnTo>
                    <a:pt x="16" y="212"/>
                  </a:lnTo>
                  <a:lnTo>
                    <a:pt x="18" y="210"/>
                  </a:lnTo>
                  <a:lnTo>
                    <a:pt x="18" y="208"/>
                  </a:lnTo>
                  <a:lnTo>
                    <a:pt x="18" y="204"/>
                  </a:lnTo>
                  <a:lnTo>
                    <a:pt x="16" y="202"/>
                  </a:lnTo>
                  <a:lnTo>
                    <a:pt x="16" y="200"/>
                  </a:lnTo>
                  <a:lnTo>
                    <a:pt x="14" y="196"/>
                  </a:lnTo>
                  <a:lnTo>
                    <a:pt x="12" y="194"/>
                  </a:lnTo>
                  <a:lnTo>
                    <a:pt x="10" y="192"/>
                  </a:lnTo>
                  <a:lnTo>
                    <a:pt x="6" y="192"/>
                  </a:lnTo>
                  <a:lnTo>
                    <a:pt x="2" y="188"/>
                  </a:lnTo>
                  <a:lnTo>
                    <a:pt x="0" y="188"/>
                  </a:lnTo>
                  <a:lnTo>
                    <a:pt x="2" y="184"/>
                  </a:lnTo>
                  <a:lnTo>
                    <a:pt x="22" y="186"/>
                  </a:lnTo>
                  <a:lnTo>
                    <a:pt x="24" y="188"/>
                  </a:lnTo>
                  <a:lnTo>
                    <a:pt x="26" y="188"/>
                  </a:lnTo>
                  <a:lnTo>
                    <a:pt x="28" y="184"/>
                  </a:lnTo>
                  <a:lnTo>
                    <a:pt x="28" y="178"/>
                  </a:lnTo>
                  <a:lnTo>
                    <a:pt x="20" y="174"/>
                  </a:lnTo>
                  <a:lnTo>
                    <a:pt x="18" y="172"/>
                  </a:lnTo>
                  <a:lnTo>
                    <a:pt x="18" y="174"/>
                  </a:lnTo>
                  <a:lnTo>
                    <a:pt x="16" y="176"/>
                  </a:lnTo>
                  <a:lnTo>
                    <a:pt x="14" y="178"/>
                  </a:lnTo>
                  <a:lnTo>
                    <a:pt x="10" y="168"/>
                  </a:lnTo>
                  <a:lnTo>
                    <a:pt x="16" y="164"/>
                  </a:lnTo>
                  <a:lnTo>
                    <a:pt x="18" y="164"/>
                  </a:lnTo>
                  <a:lnTo>
                    <a:pt x="16" y="166"/>
                  </a:lnTo>
                  <a:lnTo>
                    <a:pt x="16" y="168"/>
                  </a:lnTo>
                  <a:lnTo>
                    <a:pt x="24" y="170"/>
                  </a:lnTo>
                  <a:lnTo>
                    <a:pt x="32" y="172"/>
                  </a:lnTo>
                  <a:lnTo>
                    <a:pt x="36" y="172"/>
                  </a:lnTo>
                  <a:lnTo>
                    <a:pt x="30" y="168"/>
                  </a:lnTo>
                  <a:lnTo>
                    <a:pt x="26" y="166"/>
                  </a:lnTo>
                  <a:lnTo>
                    <a:pt x="22" y="164"/>
                  </a:lnTo>
                  <a:lnTo>
                    <a:pt x="14" y="162"/>
                  </a:lnTo>
                  <a:lnTo>
                    <a:pt x="6" y="160"/>
                  </a:lnTo>
                  <a:lnTo>
                    <a:pt x="4" y="160"/>
                  </a:lnTo>
                  <a:lnTo>
                    <a:pt x="4" y="158"/>
                  </a:lnTo>
                  <a:lnTo>
                    <a:pt x="4" y="152"/>
                  </a:lnTo>
                  <a:lnTo>
                    <a:pt x="6" y="144"/>
                  </a:lnTo>
                  <a:lnTo>
                    <a:pt x="10" y="142"/>
                  </a:lnTo>
                  <a:lnTo>
                    <a:pt x="10" y="140"/>
                  </a:lnTo>
                  <a:lnTo>
                    <a:pt x="14" y="140"/>
                  </a:lnTo>
                  <a:lnTo>
                    <a:pt x="18" y="140"/>
                  </a:lnTo>
                  <a:lnTo>
                    <a:pt x="18" y="142"/>
                  </a:lnTo>
                  <a:lnTo>
                    <a:pt x="20" y="142"/>
                  </a:lnTo>
                  <a:lnTo>
                    <a:pt x="22" y="138"/>
                  </a:lnTo>
                  <a:lnTo>
                    <a:pt x="24" y="136"/>
                  </a:lnTo>
                  <a:lnTo>
                    <a:pt x="36" y="136"/>
                  </a:lnTo>
                  <a:lnTo>
                    <a:pt x="46" y="138"/>
                  </a:lnTo>
                  <a:lnTo>
                    <a:pt x="58" y="136"/>
                  </a:lnTo>
                  <a:lnTo>
                    <a:pt x="58" y="138"/>
                  </a:lnTo>
                  <a:lnTo>
                    <a:pt x="58" y="140"/>
                  </a:lnTo>
                  <a:lnTo>
                    <a:pt x="58" y="142"/>
                  </a:lnTo>
                  <a:lnTo>
                    <a:pt x="64" y="146"/>
                  </a:lnTo>
                  <a:lnTo>
                    <a:pt x="64" y="144"/>
                  </a:lnTo>
                  <a:lnTo>
                    <a:pt x="64" y="142"/>
                  </a:lnTo>
                  <a:lnTo>
                    <a:pt x="66" y="140"/>
                  </a:lnTo>
                  <a:lnTo>
                    <a:pt x="68" y="138"/>
                  </a:lnTo>
                  <a:lnTo>
                    <a:pt x="74" y="142"/>
                  </a:lnTo>
                  <a:lnTo>
                    <a:pt x="76" y="144"/>
                  </a:lnTo>
                  <a:lnTo>
                    <a:pt x="78" y="146"/>
                  </a:lnTo>
                  <a:lnTo>
                    <a:pt x="82" y="146"/>
                  </a:lnTo>
                  <a:lnTo>
                    <a:pt x="86" y="142"/>
                  </a:lnTo>
                  <a:lnTo>
                    <a:pt x="84" y="138"/>
                  </a:lnTo>
                  <a:lnTo>
                    <a:pt x="88" y="134"/>
                  </a:lnTo>
                  <a:lnTo>
                    <a:pt x="92" y="134"/>
                  </a:lnTo>
                  <a:lnTo>
                    <a:pt x="96" y="136"/>
                  </a:lnTo>
                  <a:lnTo>
                    <a:pt x="106" y="134"/>
                  </a:lnTo>
                  <a:lnTo>
                    <a:pt x="112" y="136"/>
                  </a:lnTo>
                  <a:lnTo>
                    <a:pt x="116" y="140"/>
                  </a:lnTo>
                  <a:lnTo>
                    <a:pt x="122" y="156"/>
                  </a:lnTo>
                  <a:lnTo>
                    <a:pt x="124" y="164"/>
                  </a:lnTo>
                  <a:lnTo>
                    <a:pt x="128" y="172"/>
                  </a:lnTo>
                  <a:lnTo>
                    <a:pt x="130" y="174"/>
                  </a:lnTo>
                  <a:lnTo>
                    <a:pt x="130" y="176"/>
                  </a:lnTo>
                  <a:lnTo>
                    <a:pt x="146" y="166"/>
                  </a:lnTo>
                  <a:lnTo>
                    <a:pt x="150" y="164"/>
                  </a:lnTo>
                  <a:lnTo>
                    <a:pt x="156" y="164"/>
                  </a:lnTo>
                  <a:lnTo>
                    <a:pt x="158" y="164"/>
                  </a:lnTo>
                  <a:lnTo>
                    <a:pt x="166" y="170"/>
                  </a:lnTo>
                  <a:lnTo>
                    <a:pt x="170" y="176"/>
                  </a:lnTo>
                  <a:lnTo>
                    <a:pt x="172" y="184"/>
                  </a:lnTo>
                  <a:lnTo>
                    <a:pt x="174" y="182"/>
                  </a:lnTo>
                  <a:lnTo>
                    <a:pt x="174" y="176"/>
                  </a:lnTo>
                  <a:lnTo>
                    <a:pt x="174" y="172"/>
                  </a:lnTo>
                  <a:lnTo>
                    <a:pt x="176" y="168"/>
                  </a:lnTo>
                  <a:lnTo>
                    <a:pt x="178" y="168"/>
                  </a:lnTo>
                  <a:lnTo>
                    <a:pt x="184" y="168"/>
                  </a:lnTo>
                  <a:lnTo>
                    <a:pt x="184" y="170"/>
                  </a:lnTo>
                  <a:lnTo>
                    <a:pt x="182" y="172"/>
                  </a:lnTo>
                  <a:lnTo>
                    <a:pt x="182" y="176"/>
                  </a:lnTo>
                  <a:lnTo>
                    <a:pt x="184" y="176"/>
                  </a:lnTo>
                  <a:lnTo>
                    <a:pt x="186" y="176"/>
                  </a:lnTo>
                  <a:lnTo>
                    <a:pt x="190" y="178"/>
                  </a:lnTo>
                  <a:lnTo>
                    <a:pt x="194" y="178"/>
                  </a:lnTo>
                  <a:lnTo>
                    <a:pt x="196" y="178"/>
                  </a:lnTo>
                  <a:lnTo>
                    <a:pt x="198" y="176"/>
                  </a:lnTo>
                  <a:lnTo>
                    <a:pt x="202" y="178"/>
                  </a:lnTo>
                  <a:lnTo>
                    <a:pt x="206" y="178"/>
                  </a:lnTo>
                  <a:lnTo>
                    <a:pt x="212" y="180"/>
                  </a:lnTo>
                  <a:lnTo>
                    <a:pt x="206" y="176"/>
                  </a:lnTo>
                  <a:lnTo>
                    <a:pt x="204" y="174"/>
                  </a:lnTo>
                  <a:lnTo>
                    <a:pt x="202" y="168"/>
                  </a:lnTo>
                  <a:lnTo>
                    <a:pt x="202" y="158"/>
                  </a:lnTo>
                  <a:lnTo>
                    <a:pt x="204" y="156"/>
                  </a:lnTo>
                  <a:lnTo>
                    <a:pt x="206" y="152"/>
                  </a:lnTo>
                  <a:lnTo>
                    <a:pt x="208" y="142"/>
                  </a:lnTo>
                  <a:lnTo>
                    <a:pt x="206" y="144"/>
                  </a:lnTo>
                  <a:lnTo>
                    <a:pt x="206" y="140"/>
                  </a:lnTo>
                  <a:lnTo>
                    <a:pt x="206" y="136"/>
                  </a:lnTo>
                  <a:lnTo>
                    <a:pt x="208" y="124"/>
                  </a:lnTo>
                  <a:lnTo>
                    <a:pt x="206" y="116"/>
                  </a:lnTo>
                  <a:lnTo>
                    <a:pt x="204" y="114"/>
                  </a:lnTo>
                  <a:lnTo>
                    <a:pt x="202" y="110"/>
                  </a:lnTo>
                  <a:lnTo>
                    <a:pt x="202" y="108"/>
                  </a:lnTo>
                  <a:lnTo>
                    <a:pt x="200" y="108"/>
                  </a:lnTo>
                  <a:lnTo>
                    <a:pt x="200" y="96"/>
                  </a:lnTo>
                  <a:lnTo>
                    <a:pt x="202" y="88"/>
                  </a:lnTo>
                  <a:lnTo>
                    <a:pt x="202" y="86"/>
                  </a:lnTo>
                  <a:lnTo>
                    <a:pt x="202" y="82"/>
                  </a:lnTo>
                  <a:lnTo>
                    <a:pt x="200" y="80"/>
                  </a:lnTo>
                  <a:lnTo>
                    <a:pt x="198" y="78"/>
                  </a:lnTo>
                  <a:lnTo>
                    <a:pt x="198" y="74"/>
                  </a:lnTo>
                  <a:lnTo>
                    <a:pt x="200" y="74"/>
                  </a:lnTo>
                  <a:lnTo>
                    <a:pt x="204" y="76"/>
                  </a:lnTo>
                  <a:lnTo>
                    <a:pt x="212" y="80"/>
                  </a:lnTo>
                  <a:lnTo>
                    <a:pt x="214" y="84"/>
                  </a:lnTo>
                  <a:lnTo>
                    <a:pt x="216" y="84"/>
                  </a:lnTo>
                  <a:lnTo>
                    <a:pt x="222" y="86"/>
                  </a:lnTo>
                  <a:lnTo>
                    <a:pt x="224" y="84"/>
                  </a:lnTo>
                  <a:lnTo>
                    <a:pt x="226" y="84"/>
                  </a:lnTo>
                  <a:lnTo>
                    <a:pt x="230" y="82"/>
                  </a:lnTo>
                  <a:lnTo>
                    <a:pt x="232" y="84"/>
                  </a:lnTo>
                  <a:lnTo>
                    <a:pt x="234" y="84"/>
                  </a:lnTo>
                  <a:lnTo>
                    <a:pt x="236" y="84"/>
                  </a:lnTo>
                  <a:lnTo>
                    <a:pt x="238" y="86"/>
                  </a:lnTo>
                  <a:lnTo>
                    <a:pt x="238" y="88"/>
                  </a:lnTo>
                  <a:lnTo>
                    <a:pt x="238" y="94"/>
                  </a:lnTo>
                  <a:lnTo>
                    <a:pt x="236" y="94"/>
                  </a:lnTo>
                  <a:lnTo>
                    <a:pt x="234" y="96"/>
                  </a:lnTo>
                  <a:lnTo>
                    <a:pt x="232" y="98"/>
                  </a:lnTo>
                  <a:lnTo>
                    <a:pt x="232" y="100"/>
                  </a:lnTo>
                  <a:lnTo>
                    <a:pt x="234" y="104"/>
                  </a:lnTo>
                  <a:lnTo>
                    <a:pt x="236" y="106"/>
                  </a:lnTo>
                  <a:lnTo>
                    <a:pt x="238" y="112"/>
                  </a:lnTo>
                  <a:lnTo>
                    <a:pt x="240" y="118"/>
                  </a:lnTo>
                  <a:lnTo>
                    <a:pt x="244" y="116"/>
                  </a:lnTo>
                  <a:lnTo>
                    <a:pt x="248" y="116"/>
                  </a:lnTo>
                  <a:lnTo>
                    <a:pt x="252" y="118"/>
                  </a:lnTo>
                  <a:lnTo>
                    <a:pt x="254" y="118"/>
                  </a:lnTo>
                  <a:lnTo>
                    <a:pt x="256" y="120"/>
                  </a:lnTo>
                  <a:lnTo>
                    <a:pt x="256" y="122"/>
                  </a:lnTo>
                  <a:lnTo>
                    <a:pt x="262" y="122"/>
                  </a:lnTo>
                  <a:lnTo>
                    <a:pt x="268" y="126"/>
                  </a:lnTo>
                  <a:lnTo>
                    <a:pt x="272" y="126"/>
                  </a:lnTo>
                  <a:lnTo>
                    <a:pt x="276" y="126"/>
                  </a:lnTo>
                  <a:lnTo>
                    <a:pt x="282" y="128"/>
                  </a:lnTo>
                  <a:lnTo>
                    <a:pt x="284" y="130"/>
                  </a:lnTo>
                  <a:lnTo>
                    <a:pt x="288" y="132"/>
                  </a:lnTo>
                  <a:lnTo>
                    <a:pt x="290" y="134"/>
                  </a:lnTo>
                  <a:lnTo>
                    <a:pt x="298" y="134"/>
                  </a:lnTo>
                  <a:lnTo>
                    <a:pt x="300" y="134"/>
                  </a:lnTo>
                  <a:lnTo>
                    <a:pt x="302" y="134"/>
                  </a:lnTo>
                  <a:lnTo>
                    <a:pt x="306" y="134"/>
                  </a:lnTo>
                  <a:lnTo>
                    <a:pt x="310" y="132"/>
                  </a:lnTo>
                  <a:lnTo>
                    <a:pt x="312" y="130"/>
                  </a:lnTo>
                  <a:lnTo>
                    <a:pt x="314" y="130"/>
                  </a:lnTo>
                  <a:lnTo>
                    <a:pt x="314" y="128"/>
                  </a:lnTo>
                  <a:lnTo>
                    <a:pt x="316" y="128"/>
                  </a:lnTo>
                  <a:lnTo>
                    <a:pt x="320" y="128"/>
                  </a:lnTo>
                  <a:lnTo>
                    <a:pt x="322" y="128"/>
                  </a:lnTo>
                  <a:lnTo>
                    <a:pt x="324" y="128"/>
                  </a:lnTo>
                  <a:lnTo>
                    <a:pt x="330" y="128"/>
                  </a:lnTo>
                  <a:lnTo>
                    <a:pt x="332" y="126"/>
                  </a:lnTo>
                  <a:lnTo>
                    <a:pt x="334" y="126"/>
                  </a:lnTo>
                  <a:lnTo>
                    <a:pt x="336" y="124"/>
                  </a:lnTo>
                  <a:lnTo>
                    <a:pt x="334" y="126"/>
                  </a:lnTo>
                  <a:lnTo>
                    <a:pt x="330" y="126"/>
                  </a:lnTo>
                  <a:lnTo>
                    <a:pt x="328" y="126"/>
                  </a:lnTo>
                  <a:lnTo>
                    <a:pt x="326" y="126"/>
                  </a:lnTo>
                  <a:lnTo>
                    <a:pt x="322" y="124"/>
                  </a:lnTo>
                  <a:lnTo>
                    <a:pt x="318" y="122"/>
                  </a:lnTo>
                  <a:lnTo>
                    <a:pt x="314" y="120"/>
                  </a:lnTo>
                  <a:lnTo>
                    <a:pt x="314" y="118"/>
                  </a:lnTo>
                  <a:lnTo>
                    <a:pt x="322" y="102"/>
                  </a:lnTo>
                  <a:lnTo>
                    <a:pt x="324" y="100"/>
                  </a:lnTo>
                  <a:lnTo>
                    <a:pt x="328" y="100"/>
                  </a:lnTo>
                  <a:lnTo>
                    <a:pt x="330" y="100"/>
                  </a:lnTo>
                  <a:lnTo>
                    <a:pt x="338" y="96"/>
                  </a:lnTo>
                  <a:lnTo>
                    <a:pt x="346" y="94"/>
                  </a:lnTo>
                  <a:lnTo>
                    <a:pt x="348" y="92"/>
                  </a:lnTo>
                  <a:lnTo>
                    <a:pt x="352" y="92"/>
                  </a:lnTo>
                  <a:lnTo>
                    <a:pt x="356" y="92"/>
                  </a:lnTo>
                  <a:lnTo>
                    <a:pt x="378" y="90"/>
                  </a:lnTo>
                  <a:lnTo>
                    <a:pt x="388" y="88"/>
                  </a:lnTo>
                  <a:lnTo>
                    <a:pt x="398" y="82"/>
                  </a:lnTo>
                  <a:lnTo>
                    <a:pt x="400" y="80"/>
                  </a:lnTo>
                  <a:lnTo>
                    <a:pt x="402" y="80"/>
                  </a:lnTo>
                  <a:lnTo>
                    <a:pt x="404" y="76"/>
                  </a:lnTo>
                  <a:lnTo>
                    <a:pt x="408" y="70"/>
                  </a:lnTo>
                  <a:lnTo>
                    <a:pt x="412" y="62"/>
                  </a:lnTo>
                  <a:lnTo>
                    <a:pt x="412" y="56"/>
                  </a:lnTo>
                  <a:lnTo>
                    <a:pt x="416" y="56"/>
                  </a:lnTo>
                  <a:lnTo>
                    <a:pt x="414" y="52"/>
                  </a:lnTo>
                  <a:lnTo>
                    <a:pt x="416" y="42"/>
                  </a:lnTo>
                  <a:lnTo>
                    <a:pt x="420" y="28"/>
                  </a:lnTo>
                  <a:lnTo>
                    <a:pt x="420" y="26"/>
                  </a:lnTo>
                  <a:lnTo>
                    <a:pt x="424" y="16"/>
                  </a:lnTo>
                  <a:lnTo>
                    <a:pt x="426" y="10"/>
                  </a:lnTo>
                  <a:lnTo>
                    <a:pt x="434" y="6"/>
                  </a:lnTo>
                  <a:lnTo>
                    <a:pt x="436" y="4"/>
                  </a:lnTo>
                  <a:lnTo>
                    <a:pt x="446" y="2"/>
                  </a:lnTo>
                  <a:lnTo>
                    <a:pt x="462" y="2"/>
                  </a:lnTo>
                  <a:lnTo>
                    <a:pt x="470" y="2"/>
                  </a:lnTo>
                  <a:lnTo>
                    <a:pt x="472" y="2"/>
                  </a:lnTo>
                  <a:lnTo>
                    <a:pt x="474" y="2"/>
                  </a:lnTo>
                  <a:lnTo>
                    <a:pt x="478" y="0"/>
                  </a:lnTo>
                  <a:lnTo>
                    <a:pt x="480" y="0"/>
                  </a:lnTo>
                  <a:lnTo>
                    <a:pt x="482" y="0"/>
                  </a:lnTo>
                  <a:lnTo>
                    <a:pt x="482" y="8"/>
                  </a:lnTo>
                  <a:lnTo>
                    <a:pt x="482" y="14"/>
                  </a:lnTo>
                  <a:lnTo>
                    <a:pt x="484" y="26"/>
                  </a:lnTo>
                  <a:lnTo>
                    <a:pt x="490" y="32"/>
                  </a:lnTo>
                  <a:lnTo>
                    <a:pt x="494" y="36"/>
                  </a:lnTo>
                  <a:lnTo>
                    <a:pt x="496" y="38"/>
                  </a:lnTo>
                  <a:lnTo>
                    <a:pt x="500" y="36"/>
                  </a:lnTo>
                  <a:lnTo>
                    <a:pt x="500" y="34"/>
                  </a:lnTo>
                  <a:lnTo>
                    <a:pt x="504" y="34"/>
                  </a:lnTo>
                  <a:lnTo>
                    <a:pt x="506" y="32"/>
                  </a:lnTo>
                  <a:lnTo>
                    <a:pt x="510" y="32"/>
                  </a:lnTo>
                  <a:lnTo>
                    <a:pt x="512" y="32"/>
                  </a:lnTo>
                  <a:lnTo>
                    <a:pt x="514" y="36"/>
                  </a:lnTo>
                  <a:lnTo>
                    <a:pt x="514" y="38"/>
                  </a:lnTo>
                  <a:lnTo>
                    <a:pt x="516" y="44"/>
                  </a:lnTo>
                  <a:lnTo>
                    <a:pt x="516" y="56"/>
                  </a:lnTo>
                  <a:lnTo>
                    <a:pt x="516" y="58"/>
                  </a:lnTo>
                  <a:lnTo>
                    <a:pt x="520" y="62"/>
                  </a:lnTo>
                  <a:lnTo>
                    <a:pt x="526" y="60"/>
                  </a:lnTo>
                  <a:lnTo>
                    <a:pt x="528" y="60"/>
                  </a:lnTo>
                  <a:lnTo>
                    <a:pt x="534" y="64"/>
                  </a:lnTo>
                  <a:lnTo>
                    <a:pt x="536" y="68"/>
                  </a:lnTo>
                  <a:lnTo>
                    <a:pt x="536" y="72"/>
                  </a:lnTo>
                  <a:lnTo>
                    <a:pt x="542" y="78"/>
                  </a:lnTo>
                  <a:lnTo>
                    <a:pt x="548" y="80"/>
                  </a:lnTo>
                  <a:lnTo>
                    <a:pt x="554" y="80"/>
                  </a:lnTo>
                  <a:lnTo>
                    <a:pt x="556" y="80"/>
                  </a:lnTo>
                  <a:lnTo>
                    <a:pt x="564" y="88"/>
                  </a:lnTo>
                  <a:lnTo>
                    <a:pt x="566" y="92"/>
                  </a:lnTo>
                  <a:lnTo>
                    <a:pt x="562" y="100"/>
                  </a:lnTo>
                  <a:lnTo>
                    <a:pt x="558" y="112"/>
                  </a:lnTo>
                  <a:lnTo>
                    <a:pt x="558" y="114"/>
                  </a:lnTo>
                  <a:lnTo>
                    <a:pt x="560" y="116"/>
                  </a:lnTo>
                  <a:lnTo>
                    <a:pt x="562" y="118"/>
                  </a:lnTo>
                  <a:lnTo>
                    <a:pt x="564" y="118"/>
                  </a:lnTo>
                  <a:lnTo>
                    <a:pt x="568" y="118"/>
                  </a:lnTo>
                  <a:lnTo>
                    <a:pt x="574" y="120"/>
                  </a:lnTo>
                  <a:lnTo>
                    <a:pt x="576" y="122"/>
                  </a:lnTo>
                  <a:lnTo>
                    <a:pt x="580" y="120"/>
                  </a:lnTo>
                  <a:lnTo>
                    <a:pt x="590" y="118"/>
                  </a:lnTo>
                  <a:lnTo>
                    <a:pt x="592" y="112"/>
                  </a:lnTo>
                  <a:lnTo>
                    <a:pt x="592" y="110"/>
                  </a:lnTo>
                  <a:lnTo>
                    <a:pt x="596" y="106"/>
                  </a:lnTo>
                  <a:lnTo>
                    <a:pt x="600" y="102"/>
                  </a:lnTo>
                  <a:lnTo>
                    <a:pt x="604" y="106"/>
                  </a:lnTo>
                  <a:lnTo>
                    <a:pt x="602" y="110"/>
                  </a:lnTo>
                  <a:lnTo>
                    <a:pt x="600" y="112"/>
                  </a:lnTo>
                  <a:lnTo>
                    <a:pt x="598" y="118"/>
                  </a:lnTo>
                  <a:lnTo>
                    <a:pt x="598" y="136"/>
                  </a:lnTo>
                  <a:lnTo>
                    <a:pt x="602" y="138"/>
                  </a:lnTo>
                  <a:lnTo>
                    <a:pt x="604" y="138"/>
                  </a:lnTo>
                  <a:lnTo>
                    <a:pt x="606" y="138"/>
                  </a:lnTo>
                  <a:lnTo>
                    <a:pt x="624" y="154"/>
                  </a:lnTo>
                  <a:lnTo>
                    <a:pt x="628" y="156"/>
                  </a:lnTo>
                  <a:lnTo>
                    <a:pt x="628" y="158"/>
                  </a:lnTo>
                  <a:lnTo>
                    <a:pt x="630" y="158"/>
                  </a:lnTo>
                  <a:lnTo>
                    <a:pt x="630" y="166"/>
                  </a:lnTo>
                  <a:lnTo>
                    <a:pt x="630" y="168"/>
                  </a:lnTo>
                  <a:lnTo>
                    <a:pt x="634" y="168"/>
                  </a:lnTo>
                  <a:lnTo>
                    <a:pt x="638" y="168"/>
                  </a:lnTo>
                  <a:lnTo>
                    <a:pt x="640" y="166"/>
                  </a:lnTo>
                  <a:lnTo>
                    <a:pt x="644" y="166"/>
                  </a:lnTo>
                  <a:lnTo>
                    <a:pt x="650" y="168"/>
                  </a:lnTo>
                  <a:lnTo>
                    <a:pt x="652" y="168"/>
                  </a:lnTo>
                  <a:lnTo>
                    <a:pt x="652" y="170"/>
                  </a:lnTo>
                  <a:lnTo>
                    <a:pt x="654" y="172"/>
                  </a:lnTo>
                  <a:lnTo>
                    <a:pt x="660" y="176"/>
                  </a:lnTo>
                  <a:lnTo>
                    <a:pt x="668" y="178"/>
                  </a:lnTo>
                  <a:lnTo>
                    <a:pt x="668" y="176"/>
                  </a:lnTo>
                  <a:lnTo>
                    <a:pt x="672" y="174"/>
                  </a:lnTo>
                  <a:lnTo>
                    <a:pt x="676" y="174"/>
                  </a:lnTo>
                  <a:lnTo>
                    <a:pt x="680" y="176"/>
                  </a:lnTo>
                  <a:lnTo>
                    <a:pt x="680" y="178"/>
                  </a:lnTo>
                  <a:lnTo>
                    <a:pt x="684" y="178"/>
                  </a:lnTo>
                  <a:lnTo>
                    <a:pt x="686" y="178"/>
                  </a:lnTo>
                  <a:lnTo>
                    <a:pt x="690" y="180"/>
                  </a:lnTo>
                  <a:lnTo>
                    <a:pt x="692" y="180"/>
                  </a:lnTo>
                  <a:lnTo>
                    <a:pt x="694" y="184"/>
                  </a:lnTo>
                  <a:lnTo>
                    <a:pt x="696" y="188"/>
                  </a:lnTo>
                  <a:lnTo>
                    <a:pt x="700" y="200"/>
                  </a:lnTo>
                  <a:lnTo>
                    <a:pt x="702" y="206"/>
                  </a:lnTo>
                  <a:lnTo>
                    <a:pt x="702" y="208"/>
                  </a:lnTo>
                  <a:lnTo>
                    <a:pt x="708" y="210"/>
                  </a:lnTo>
                  <a:lnTo>
                    <a:pt x="710" y="208"/>
                  </a:lnTo>
                  <a:lnTo>
                    <a:pt x="710" y="204"/>
                  </a:lnTo>
                  <a:lnTo>
                    <a:pt x="714" y="204"/>
                  </a:lnTo>
                  <a:lnTo>
                    <a:pt x="720" y="208"/>
                  </a:lnTo>
                  <a:lnTo>
                    <a:pt x="724" y="214"/>
                  </a:lnTo>
                  <a:lnTo>
                    <a:pt x="726" y="214"/>
                  </a:lnTo>
                  <a:lnTo>
                    <a:pt x="734" y="216"/>
                  </a:lnTo>
                  <a:lnTo>
                    <a:pt x="740" y="212"/>
                  </a:lnTo>
                  <a:lnTo>
                    <a:pt x="742" y="212"/>
                  </a:lnTo>
                  <a:lnTo>
                    <a:pt x="744" y="212"/>
                  </a:lnTo>
                  <a:lnTo>
                    <a:pt x="748" y="212"/>
                  </a:lnTo>
                  <a:lnTo>
                    <a:pt x="754" y="222"/>
                  </a:lnTo>
                  <a:lnTo>
                    <a:pt x="756" y="224"/>
                  </a:lnTo>
                  <a:lnTo>
                    <a:pt x="758" y="224"/>
                  </a:lnTo>
                  <a:lnTo>
                    <a:pt x="762" y="224"/>
                  </a:lnTo>
                  <a:lnTo>
                    <a:pt x="766" y="224"/>
                  </a:lnTo>
                  <a:lnTo>
                    <a:pt x="774" y="226"/>
                  </a:lnTo>
                  <a:lnTo>
                    <a:pt x="780" y="230"/>
                  </a:lnTo>
                  <a:lnTo>
                    <a:pt x="786" y="234"/>
                  </a:lnTo>
                  <a:lnTo>
                    <a:pt x="790" y="234"/>
                  </a:lnTo>
                  <a:lnTo>
                    <a:pt x="788" y="236"/>
                  </a:lnTo>
                  <a:lnTo>
                    <a:pt x="784" y="242"/>
                  </a:lnTo>
                  <a:lnTo>
                    <a:pt x="784" y="244"/>
                  </a:lnTo>
                  <a:lnTo>
                    <a:pt x="782" y="246"/>
                  </a:lnTo>
                  <a:lnTo>
                    <a:pt x="782" y="248"/>
                  </a:lnTo>
                  <a:lnTo>
                    <a:pt x="780" y="250"/>
                  </a:lnTo>
                  <a:lnTo>
                    <a:pt x="772" y="256"/>
                  </a:lnTo>
                  <a:lnTo>
                    <a:pt x="766" y="260"/>
                  </a:lnTo>
                  <a:lnTo>
                    <a:pt x="762" y="268"/>
                  </a:lnTo>
                  <a:lnTo>
                    <a:pt x="756" y="282"/>
                  </a:lnTo>
                  <a:lnTo>
                    <a:pt x="756" y="284"/>
                  </a:lnTo>
                  <a:lnTo>
                    <a:pt x="756" y="286"/>
                  </a:lnTo>
                  <a:lnTo>
                    <a:pt x="756" y="290"/>
                  </a:lnTo>
                  <a:lnTo>
                    <a:pt x="752" y="294"/>
                  </a:lnTo>
                  <a:lnTo>
                    <a:pt x="746" y="304"/>
                  </a:lnTo>
                  <a:lnTo>
                    <a:pt x="744" y="308"/>
                  </a:lnTo>
                  <a:lnTo>
                    <a:pt x="742" y="312"/>
                  </a:lnTo>
                  <a:lnTo>
                    <a:pt x="742" y="316"/>
                  </a:lnTo>
                  <a:lnTo>
                    <a:pt x="742" y="318"/>
                  </a:lnTo>
                  <a:lnTo>
                    <a:pt x="746" y="320"/>
                  </a:lnTo>
                  <a:lnTo>
                    <a:pt x="746" y="322"/>
                  </a:lnTo>
                  <a:lnTo>
                    <a:pt x="742" y="328"/>
                  </a:lnTo>
                  <a:lnTo>
                    <a:pt x="740" y="332"/>
                  </a:lnTo>
                  <a:lnTo>
                    <a:pt x="738" y="338"/>
                  </a:lnTo>
                  <a:lnTo>
                    <a:pt x="736" y="348"/>
                  </a:lnTo>
                  <a:lnTo>
                    <a:pt x="736" y="350"/>
                  </a:lnTo>
                  <a:lnTo>
                    <a:pt x="738" y="352"/>
                  </a:lnTo>
                  <a:lnTo>
                    <a:pt x="740" y="356"/>
                  </a:lnTo>
                  <a:lnTo>
                    <a:pt x="740" y="358"/>
                  </a:lnTo>
                  <a:lnTo>
                    <a:pt x="738" y="358"/>
                  </a:lnTo>
                  <a:lnTo>
                    <a:pt x="738" y="360"/>
                  </a:lnTo>
                  <a:lnTo>
                    <a:pt x="736" y="360"/>
                  </a:lnTo>
                  <a:lnTo>
                    <a:pt x="734" y="360"/>
                  </a:lnTo>
                  <a:lnTo>
                    <a:pt x="734" y="364"/>
                  </a:lnTo>
                  <a:lnTo>
                    <a:pt x="730" y="368"/>
                  </a:lnTo>
                  <a:lnTo>
                    <a:pt x="728" y="370"/>
                  </a:lnTo>
                  <a:lnTo>
                    <a:pt x="726" y="370"/>
                  </a:lnTo>
                  <a:lnTo>
                    <a:pt x="724" y="370"/>
                  </a:lnTo>
                  <a:lnTo>
                    <a:pt x="722" y="370"/>
                  </a:lnTo>
                  <a:lnTo>
                    <a:pt x="722" y="368"/>
                  </a:lnTo>
                  <a:lnTo>
                    <a:pt x="718" y="370"/>
                  </a:lnTo>
                  <a:lnTo>
                    <a:pt x="714" y="368"/>
                  </a:lnTo>
                  <a:lnTo>
                    <a:pt x="712" y="362"/>
                  </a:lnTo>
                  <a:lnTo>
                    <a:pt x="704" y="360"/>
                  </a:lnTo>
                  <a:lnTo>
                    <a:pt x="702" y="362"/>
                  </a:lnTo>
                  <a:lnTo>
                    <a:pt x="694" y="374"/>
                  </a:lnTo>
                  <a:lnTo>
                    <a:pt x="696" y="374"/>
                  </a:lnTo>
                  <a:lnTo>
                    <a:pt x="700" y="374"/>
                  </a:lnTo>
                  <a:lnTo>
                    <a:pt x="698" y="382"/>
                  </a:lnTo>
                  <a:lnTo>
                    <a:pt x="690" y="390"/>
                  </a:lnTo>
                  <a:lnTo>
                    <a:pt x="690" y="392"/>
                  </a:lnTo>
                  <a:lnTo>
                    <a:pt x="686" y="394"/>
                  </a:lnTo>
                  <a:lnTo>
                    <a:pt x="680" y="400"/>
                  </a:lnTo>
                  <a:lnTo>
                    <a:pt x="678" y="402"/>
                  </a:lnTo>
                  <a:lnTo>
                    <a:pt x="676" y="406"/>
                  </a:lnTo>
                  <a:lnTo>
                    <a:pt x="670" y="406"/>
                  </a:lnTo>
                  <a:lnTo>
                    <a:pt x="668" y="406"/>
                  </a:lnTo>
                  <a:lnTo>
                    <a:pt x="664" y="414"/>
                  </a:lnTo>
                  <a:lnTo>
                    <a:pt x="662" y="418"/>
                  </a:lnTo>
                  <a:lnTo>
                    <a:pt x="662" y="424"/>
                  </a:lnTo>
                  <a:lnTo>
                    <a:pt x="660" y="426"/>
                  </a:lnTo>
                  <a:lnTo>
                    <a:pt x="656" y="430"/>
                  </a:lnTo>
                  <a:lnTo>
                    <a:pt x="650" y="432"/>
                  </a:lnTo>
                  <a:lnTo>
                    <a:pt x="640" y="440"/>
                  </a:lnTo>
                  <a:lnTo>
                    <a:pt x="640" y="444"/>
                  </a:lnTo>
                  <a:lnTo>
                    <a:pt x="636" y="452"/>
                  </a:lnTo>
                  <a:lnTo>
                    <a:pt x="634" y="454"/>
                  </a:lnTo>
                  <a:lnTo>
                    <a:pt x="636" y="456"/>
                  </a:lnTo>
                  <a:lnTo>
                    <a:pt x="640" y="460"/>
                  </a:lnTo>
                  <a:lnTo>
                    <a:pt x="636" y="464"/>
                  </a:lnTo>
                  <a:lnTo>
                    <a:pt x="636" y="466"/>
                  </a:lnTo>
                  <a:lnTo>
                    <a:pt x="636" y="470"/>
                  </a:lnTo>
                  <a:lnTo>
                    <a:pt x="632" y="470"/>
                  </a:lnTo>
                  <a:lnTo>
                    <a:pt x="630" y="470"/>
                  </a:lnTo>
                  <a:lnTo>
                    <a:pt x="628" y="472"/>
                  </a:lnTo>
                  <a:lnTo>
                    <a:pt x="626" y="472"/>
                  </a:lnTo>
                  <a:lnTo>
                    <a:pt x="626" y="474"/>
                  </a:lnTo>
                  <a:lnTo>
                    <a:pt x="626" y="480"/>
                  </a:lnTo>
                  <a:lnTo>
                    <a:pt x="636" y="480"/>
                  </a:lnTo>
                  <a:lnTo>
                    <a:pt x="640" y="478"/>
                  </a:lnTo>
                  <a:lnTo>
                    <a:pt x="644" y="474"/>
                  </a:lnTo>
                  <a:lnTo>
                    <a:pt x="646" y="470"/>
                  </a:lnTo>
                  <a:lnTo>
                    <a:pt x="644" y="46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2" name="Freeform 2641"/>
            <p:cNvSpPr>
              <a:spLocks/>
            </p:cNvSpPr>
            <p:nvPr/>
          </p:nvSpPr>
          <p:spPr bwMode="auto">
            <a:xfrm>
              <a:off x="1512" y="2372"/>
              <a:ext cx="12" cy="12"/>
            </a:xfrm>
            <a:custGeom>
              <a:avLst/>
              <a:gdLst/>
              <a:ahLst/>
              <a:cxnLst>
                <a:cxn ang="0">
                  <a:pos x="8" y="12"/>
                </a:cxn>
                <a:cxn ang="0">
                  <a:pos x="4" y="10"/>
                </a:cxn>
                <a:cxn ang="0">
                  <a:pos x="2" y="10"/>
                </a:cxn>
                <a:cxn ang="0">
                  <a:pos x="0" y="8"/>
                </a:cxn>
                <a:cxn ang="0">
                  <a:pos x="0" y="2"/>
                </a:cxn>
                <a:cxn ang="0">
                  <a:pos x="2" y="0"/>
                </a:cxn>
                <a:cxn ang="0">
                  <a:pos x="12" y="10"/>
                </a:cxn>
                <a:cxn ang="0">
                  <a:pos x="10" y="12"/>
                </a:cxn>
                <a:cxn ang="0">
                  <a:pos x="8" y="12"/>
                </a:cxn>
              </a:cxnLst>
              <a:rect l="0" t="0" r="r" b="b"/>
              <a:pathLst>
                <a:path w="12" h="12">
                  <a:moveTo>
                    <a:pt x="8" y="12"/>
                  </a:moveTo>
                  <a:lnTo>
                    <a:pt x="4" y="10"/>
                  </a:lnTo>
                  <a:lnTo>
                    <a:pt x="2" y="10"/>
                  </a:lnTo>
                  <a:lnTo>
                    <a:pt x="0" y="8"/>
                  </a:lnTo>
                  <a:lnTo>
                    <a:pt x="0" y="2"/>
                  </a:lnTo>
                  <a:lnTo>
                    <a:pt x="2" y="0"/>
                  </a:lnTo>
                  <a:lnTo>
                    <a:pt x="12" y="10"/>
                  </a:lnTo>
                  <a:lnTo>
                    <a:pt x="10" y="12"/>
                  </a:lnTo>
                  <a:lnTo>
                    <a:pt x="8"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3" name="Freeform 2642"/>
            <p:cNvSpPr>
              <a:spLocks/>
            </p:cNvSpPr>
            <p:nvPr/>
          </p:nvSpPr>
          <p:spPr bwMode="auto">
            <a:xfrm>
              <a:off x="2200" y="2892"/>
              <a:ext cx="68" cy="150"/>
            </a:xfrm>
            <a:custGeom>
              <a:avLst/>
              <a:gdLst/>
              <a:ahLst/>
              <a:cxnLst>
                <a:cxn ang="0">
                  <a:pos x="12" y="86"/>
                </a:cxn>
                <a:cxn ang="0">
                  <a:pos x="6" y="78"/>
                </a:cxn>
                <a:cxn ang="0">
                  <a:pos x="2" y="72"/>
                </a:cxn>
                <a:cxn ang="0">
                  <a:pos x="4" y="66"/>
                </a:cxn>
                <a:cxn ang="0">
                  <a:pos x="10" y="64"/>
                </a:cxn>
                <a:cxn ang="0">
                  <a:pos x="4" y="56"/>
                </a:cxn>
                <a:cxn ang="0">
                  <a:pos x="10" y="42"/>
                </a:cxn>
                <a:cxn ang="0">
                  <a:pos x="26" y="32"/>
                </a:cxn>
                <a:cxn ang="0">
                  <a:pos x="40" y="26"/>
                </a:cxn>
                <a:cxn ang="0">
                  <a:pos x="44" y="24"/>
                </a:cxn>
                <a:cxn ang="0">
                  <a:pos x="52" y="28"/>
                </a:cxn>
                <a:cxn ang="0">
                  <a:pos x="54" y="28"/>
                </a:cxn>
                <a:cxn ang="0">
                  <a:pos x="56" y="20"/>
                </a:cxn>
                <a:cxn ang="0">
                  <a:pos x="58" y="0"/>
                </a:cxn>
                <a:cxn ang="0">
                  <a:pos x="64" y="0"/>
                </a:cxn>
                <a:cxn ang="0">
                  <a:pos x="68" y="20"/>
                </a:cxn>
                <a:cxn ang="0">
                  <a:pos x="64" y="28"/>
                </a:cxn>
                <a:cxn ang="0">
                  <a:pos x="64" y="34"/>
                </a:cxn>
                <a:cxn ang="0">
                  <a:pos x="68" y="40"/>
                </a:cxn>
                <a:cxn ang="0">
                  <a:pos x="66" y="36"/>
                </a:cxn>
                <a:cxn ang="0">
                  <a:pos x="66" y="36"/>
                </a:cxn>
                <a:cxn ang="0">
                  <a:pos x="68" y="40"/>
                </a:cxn>
                <a:cxn ang="0">
                  <a:pos x="68" y="68"/>
                </a:cxn>
                <a:cxn ang="0">
                  <a:pos x="68" y="82"/>
                </a:cxn>
                <a:cxn ang="0">
                  <a:pos x="58" y="96"/>
                </a:cxn>
                <a:cxn ang="0">
                  <a:pos x="56" y="106"/>
                </a:cxn>
                <a:cxn ang="0">
                  <a:pos x="54" y="120"/>
                </a:cxn>
                <a:cxn ang="0">
                  <a:pos x="48" y="130"/>
                </a:cxn>
                <a:cxn ang="0">
                  <a:pos x="42" y="142"/>
                </a:cxn>
                <a:cxn ang="0">
                  <a:pos x="40" y="150"/>
                </a:cxn>
                <a:cxn ang="0">
                  <a:pos x="34" y="146"/>
                </a:cxn>
                <a:cxn ang="0">
                  <a:pos x="24" y="138"/>
                </a:cxn>
                <a:cxn ang="0">
                  <a:pos x="20" y="136"/>
                </a:cxn>
                <a:cxn ang="0">
                  <a:pos x="12" y="126"/>
                </a:cxn>
                <a:cxn ang="0">
                  <a:pos x="18" y="122"/>
                </a:cxn>
                <a:cxn ang="0">
                  <a:pos x="20" y="118"/>
                </a:cxn>
                <a:cxn ang="0">
                  <a:pos x="14" y="116"/>
                </a:cxn>
                <a:cxn ang="0">
                  <a:pos x="6" y="112"/>
                </a:cxn>
                <a:cxn ang="0">
                  <a:pos x="14" y="104"/>
                </a:cxn>
                <a:cxn ang="0">
                  <a:pos x="14" y="96"/>
                </a:cxn>
                <a:cxn ang="0">
                  <a:pos x="8" y="98"/>
                </a:cxn>
                <a:cxn ang="0">
                  <a:pos x="2" y="98"/>
                </a:cxn>
                <a:cxn ang="0">
                  <a:pos x="2" y="92"/>
                </a:cxn>
                <a:cxn ang="0">
                  <a:pos x="6" y="90"/>
                </a:cxn>
              </a:cxnLst>
              <a:rect l="0" t="0" r="r" b="b"/>
              <a:pathLst>
                <a:path w="68" h="150">
                  <a:moveTo>
                    <a:pt x="6" y="88"/>
                  </a:moveTo>
                  <a:lnTo>
                    <a:pt x="12" y="86"/>
                  </a:lnTo>
                  <a:lnTo>
                    <a:pt x="8" y="80"/>
                  </a:lnTo>
                  <a:lnTo>
                    <a:pt x="6" y="78"/>
                  </a:lnTo>
                  <a:lnTo>
                    <a:pt x="2" y="76"/>
                  </a:lnTo>
                  <a:lnTo>
                    <a:pt x="2" y="72"/>
                  </a:lnTo>
                  <a:lnTo>
                    <a:pt x="2" y="68"/>
                  </a:lnTo>
                  <a:lnTo>
                    <a:pt x="4" y="66"/>
                  </a:lnTo>
                  <a:lnTo>
                    <a:pt x="6" y="66"/>
                  </a:lnTo>
                  <a:lnTo>
                    <a:pt x="10" y="64"/>
                  </a:lnTo>
                  <a:lnTo>
                    <a:pt x="6" y="58"/>
                  </a:lnTo>
                  <a:lnTo>
                    <a:pt x="4" y="56"/>
                  </a:lnTo>
                  <a:lnTo>
                    <a:pt x="2" y="54"/>
                  </a:lnTo>
                  <a:lnTo>
                    <a:pt x="10" y="42"/>
                  </a:lnTo>
                  <a:lnTo>
                    <a:pt x="14" y="38"/>
                  </a:lnTo>
                  <a:lnTo>
                    <a:pt x="26" y="32"/>
                  </a:lnTo>
                  <a:lnTo>
                    <a:pt x="38" y="28"/>
                  </a:lnTo>
                  <a:lnTo>
                    <a:pt x="40" y="26"/>
                  </a:lnTo>
                  <a:lnTo>
                    <a:pt x="42" y="24"/>
                  </a:lnTo>
                  <a:lnTo>
                    <a:pt x="44" y="24"/>
                  </a:lnTo>
                  <a:lnTo>
                    <a:pt x="50" y="26"/>
                  </a:lnTo>
                  <a:lnTo>
                    <a:pt x="52" y="28"/>
                  </a:lnTo>
                  <a:lnTo>
                    <a:pt x="52" y="30"/>
                  </a:lnTo>
                  <a:lnTo>
                    <a:pt x="54" y="28"/>
                  </a:lnTo>
                  <a:lnTo>
                    <a:pt x="56" y="24"/>
                  </a:lnTo>
                  <a:lnTo>
                    <a:pt x="56" y="20"/>
                  </a:lnTo>
                  <a:lnTo>
                    <a:pt x="56" y="16"/>
                  </a:lnTo>
                  <a:lnTo>
                    <a:pt x="58" y="0"/>
                  </a:lnTo>
                  <a:lnTo>
                    <a:pt x="60" y="0"/>
                  </a:lnTo>
                  <a:lnTo>
                    <a:pt x="64" y="0"/>
                  </a:lnTo>
                  <a:lnTo>
                    <a:pt x="66" y="2"/>
                  </a:lnTo>
                  <a:lnTo>
                    <a:pt x="68" y="20"/>
                  </a:lnTo>
                  <a:lnTo>
                    <a:pt x="66" y="24"/>
                  </a:lnTo>
                  <a:lnTo>
                    <a:pt x="64" y="28"/>
                  </a:lnTo>
                  <a:lnTo>
                    <a:pt x="64" y="30"/>
                  </a:lnTo>
                  <a:lnTo>
                    <a:pt x="64" y="34"/>
                  </a:lnTo>
                  <a:lnTo>
                    <a:pt x="64" y="40"/>
                  </a:lnTo>
                  <a:lnTo>
                    <a:pt x="68" y="40"/>
                  </a:lnTo>
                  <a:lnTo>
                    <a:pt x="66" y="38"/>
                  </a:lnTo>
                  <a:lnTo>
                    <a:pt x="66" y="36"/>
                  </a:lnTo>
                  <a:lnTo>
                    <a:pt x="64" y="36"/>
                  </a:lnTo>
                  <a:lnTo>
                    <a:pt x="66" y="36"/>
                  </a:lnTo>
                  <a:lnTo>
                    <a:pt x="66" y="38"/>
                  </a:lnTo>
                  <a:lnTo>
                    <a:pt x="68" y="40"/>
                  </a:lnTo>
                  <a:lnTo>
                    <a:pt x="68" y="44"/>
                  </a:lnTo>
                  <a:lnTo>
                    <a:pt x="68" y="68"/>
                  </a:lnTo>
                  <a:lnTo>
                    <a:pt x="68" y="76"/>
                  </a:lnTo>
                  <a:lnTo>
                    <a:pt x="68" y="82"/>
                  </a:lnTo>
                  <a:lnTo>
                    <a:pt x="60" y="94"/>
                  </a:lnTo>
                  <a:lnTo>
                    <a:pt x="58" y="96"/>
                  </a:lnTo>
                  <a:lnTo>
                    <a:pt x="56" y="98"/>
                  </a:lnTo>
                  <a:lnTo>
                    <a:pt x="56" y="106"/>
                  </a:lnTo>
                  <a:lnTo>
                    <a:pt x="56" y="110"/>
                  </a:lnTo>
                  <a:lnTo>
                    <a:pt x="54" y="120"/>
                  </a:lnTo>
                  <a:lnTo>
                    <a:pt x="52" y="124"/>
                  </a:lnTo>
                  <a:lnTo>
                    <a:pt x="48" y="130"/>
                  </a:lnTo>
                  <a:lnTo>
                    <a:pt x="44" y="136"/>
                  </a:lnTo>
                  <a:lnTo>
                    <a:pt x="42" y="142"/>
                  </a:lnTo>
                  <a:lnTo>
                    <a:pt x="42" y="146"/>
                  </a:lnTo>
                  <a:lnTo>
                    <a:pt x="40" y="150"/>
                  </a:lnTo>
                  <a:lnTo>
                    <a:pt x="38" y="150"/>
                  </a:lnTo>
                  <a:lnTo>
                    <a:pt x="34" y="146"/>
                  </a:lnTo>
                  <a:lnTo>
                    <a:pt x="34" y="144"/>
                  </a:lnTo>
                  <a:lnTo>
                    <a:pt x="24" y="138"/>
                  </a:lnTo>
                  <a:lnTo>
                    <a:pt x="22" y="138"/>
                  </a:lnTo>
                  <a:lnTo>
                    <a:pt x="20" y="136"/>
                  </a:lnTo>
                  <a:lnTo>
                    <a:pt x="12" y="130"/>
                  </a:lnTo>
                  <a:lnTo>
                    <a:pt x="12" y="126"/>
                  </a:lnTo>
                  <a:lnTo>
                    <a:pt x="14" y="124"/>
                  </a:lnTo>
                  <a:lnTo>
                    <a:pt x="18" y="122"/>
                  </a:lnTo>
                  <a:lnTo>
                    <a:pt x="22" y="120"/>
                  </a:lnTo>
                  <a:lnTo>
                    <a:pt x="20" y="118"/>
                  </a:lnTo>
                  <a:lnTo>
                    <a:pt x="16" y="118"/>
                  </a:lnTo>
                  <a:lnTo>
                    <a:pt x="14" y="116"/>
                  </a:lnTo>
                  <a:lnTo>
                    <a:pt x="8" y="114"/>
                  </a:lnTo>
                  <a:lnTo>
                    <a:pt x="6" y="112"/>
                  </a:lnTo>
                  <a:lnTo>
                    <a:pt x="10" y="106"/>
                  </a:lnTo>
                  <a:lnTo>
                    <a:pt x="14" y="104"/>
                  </a:lnTo>
                  <a:lnTo>
                    <a:pt x="16" y="100"/>
                  </a:lnTo>
                  <a:lnTo>
                    <a:pt x="14" y="96"/>
                  </a:lnTo>
                  <a:lnTo>
                    <a:pt x="10" y="96"/>
                  </a:lnTo>
                  <a:lnTo>
                    <a:pt x="8" y="98"/>
                  </a:lnTo>
                  <a:lnTo>
                    <a:pt x="6" y="98"/>
                  </a:lnTo>
                  <a:lnTo>
                    <a:pt x="2" y="98"/>
                  </a:lnTo>
                  <a:lnTo>
                    <a:pt x="0" y="92"/>
                  </a:lnTo>
                  <a:lnTo>
                    <a:pt x="2" y="92"/>
                  </a:lnTo>
                  <a:lnTo>
                    <a:pt x="4" y="92"/>
                  </a:lnTo>
                  <a:lnTo>
                    <a:pt x="6" y="90"/>
                  </a:lnTo>
                  <a:lnTo>
                    <a:pt x="6" y="8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24" name="Freeform 2678"/>
            <p:cNvSpPr>
              <a:spLocks/>
            </p:cNvSpPr>
            <p:nvPr/>
          </p:nvSpPr>
          <p:spPr bwMode="auto">
            <a:xfrm>
              <a:off x="1612" y="2218"/>
              <a:ext cx="12" cy="10"/>
            </a:xfrm>
            <a:custGeom>
              <a:avLst/>
              <a:gdLst/>
              <a:ahLst/>
              <a:cxnLst>
                <a:cxn ang="0">
                  <a:pos x="8" y="10"/>
                </a:cxn>
                <a:cxn ang="0">
                  <a:pos x="6" y="10"/>
                </a:cxn>
                <a:cxn ang="0">
                  <a:pos x="6" y="8"/>
                </a:cxn>
                <a:cxn ang="0">
                  <a:pos x="4" y="6"/>
                </a:cxn>
                <a:cxn ang="0">
                  <a:pos x="4" y="8"/>
                </a:cxn>
                <a:cxn ang="0">
                  <a:pos x="2" y="8"/>
                </a:cxn>
                <a:cxn ang="0">
                  <a:pos x="0" y="8"/>
                </a:cxn>
                <a:cxn ang="0">
                  <a:pos x="0" y="6"/>
                </a:cxn>
                <a:cxn ang="0">
                  <a:pos x="0" y="2"/>
                </a:cxn>
                <a:cxn ang="0">
                  <a:pos x="0" y="0"/>
                </a:cxn>
                <a:cxn ang="0">
                  <a:pos x="6" y="2"/>
                </a:cxn>
                <a:cxn ang="0">
                  <a:pos x="12" y="4"/>
                </a:cxn>
                <a:cxn ang="0">
                  <a:pos x="12" y="6"/>
                </a:cxn>
                <a:cxn ang="0">
                  <a:pos x="12" y="8"/>
                </a:cxn>
                <a:cxn ang="0">
                  <a:pos x="12" y="10"/>
                </a:cxn>
                <a:cxn ang="0">
                  <a:pos x="10" y="10"/>
                </a:cxn>
                <a:cxn ang="0">
                  <a:pos x="8" y="10"/>
                </a:cxn>
              </a:cxnLst>
              <a:rect l="0" t="0" r="r" b="b"/>
              <a:pathLst>
                <a:path w="12" h="10">
                  <a:moveTo>
                    <a:pt x="8" y="10"/>
                  </a:moveTo>
                  <a:lnTo>
                    <a:pt x="6" y="10"/>
                  </a:lnTo>
                  <a:lnTo>
                    <a:pt x="6" y="8"/>
                  </a:lnTo>
                  <a:lnTo>
                    <a:pt x="4" y="6"/>
                  </a:lnTo>
                  <a:lnTo>
                    <a:pt x="4" y="8"/>
                  </a:lnTo>
                  <a:lnTo>
                    <a:pt x="2" y="8"/>
                  </a:lnTo>
                  <a:lnTo>
                    <a:pt x="0" y="8"/>
                  </a:lnTo>
                  <a:lnTo>
                    <a:pt x="0" y="6"/>
                  </a:lnTo>
                  <a:lnTo>
                    <a:pt x="0" y="2"/>
                  </a:lnTo>
                  <a:lnTo>
                    <a:pt x="0" y="0"/>
                  </a:lnTo>
                  <a:lnTo>
                    <a:pt x="6" y="2"/>
                  </a:lnTo>
                  <a:lnTo>
                    <a:pt x="12" y="4"/>
                  </a:lnTo>
                  <a:lnTo>
                    <a:pt x="12" y="6"/>
                  </a:lnTo>
                  <a:lnTo>
                    <a:pt x="12" y="8"/>
                  </a:lnTo>
                  <a:lnTo>
                    <a:pt x="12" y="10"/>
                  </a:lnTo>
                  <a:lnTo>
                    <a:pt x="10" y="10"/>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2" name="Freeform 2679"/>
          <p:cNvSpPr>
            <a:spLocks/>
          </p:cNvSpPr>
          <p:nvPr/>
        </p:nvSpPr>
        <p:spPr bwMode="auto">
          <a:xfrm>
            <a:off x="2701435" y="5245188"/>
            <a:ext cx="446004" cy="691159"/>
          </a:xfrm>
          <a:custGeom>
            <a:avLst/>
            <a:gdLst/>
            <a:ahLst/>
            <a:cxnLst>
              <a:cxn ang="0">
                <a:pos x="174" y="264"/>
              </a:cxn>
              <a:cxn ang="0">
                <a:pos x="182" y="294"/>
              </a:cxn>
              <a:cxn ang="0">
                <a:pos x="190" y="304"/>
              </a:cxn>
              <a:cxn ang="0">
                <a:pos x="162" y="326"/>
              </a:cxn>
              <a:cxn ang="0">
                <a:pos x="158" y="370"/>
              </a:cxn>
              <a:cxn ang="0">
                <a:pos x="168" y="376"/>
              </a:cxn>
              <a:cxn ang="0">
                <a:pos x="164" y="392"/>
              </a:cxn>
              <a:cxn ang="0">
                <a:pos x="144" y="396"/>
              </a:cxn>
              <a:cxn ang="0">
                <a:pos x="126" y="414"/>
              </a:cxn>
              <a:cxn ang="0">
                <a:pos x="118" y="436"/>
              </a:cxn>
              <a:cxn ang="0">
                <a:pos x="112" y="460"/>
              </a:cxn>
              <a:cxn ang="0">
                <a:pos x="76" y="466"/>
              </a:cxn>
              <a:cxn ang="0">
                <a:pos x="64" y="458"/>
              </a:cxn>
              <a:cxn ang="0">
                <a:pos x="36" y="446"/>
              </a:cxn>
              <a:cxn ang="0">
                <a:pos x="2" y="442"/>
              </a:cxn>
              <a:cxn ang="0">
                <a:pos x="20" y="414"/>
              </a:cxn>
              <a:cxn ang="0">
                <a:pos x="34" y="376"/>
              </a:cxn>
              <a:cxn ang="0">
                <a:pos x="40" y="350"/>
              </a:cxn>
              <a:cxn ang="0">
                <a:pos x="46" y="334"/>
              </a:cxn>
              <a:cxn ang="0">
                <a:pos x="56" y="326"/>
              </a:cxn>
              <a:cxn ang="0">
                <a:pos x="30" y="314"/>
              </a:cxn>
              <a:cxn ang="0">
                <a:pos x="24" y="304"/>
              </a:cxn>
              <a:cxn ang="0">
                <a:pos x="26" y="290"/>
              </a:cxn>
              <a:cxn ang="0">
                <a:pos x="46" y="288"/>
              </a:cxn>
              <a:cxn ang="0">
                <a:pos x="46" y="276"/>
              </a:cxn>
              <a:cxn ang="0">
                <a:pos x="36" y="284"/>
              </a:cxn>
              <a:cxn ang="0">
                <a:pos x="12" y="284"/>
              </a:cxn>
              <a:cxn ang="0">
                <a:pos x="18" y="264"/>
              </a:cxn>
              <a:cxn ang="0">
                <a:pos x="24" y="248"/>
              </a:cxn>
              <a:cxn ang="0">
                <a:pos x="34" y="226"/>
              </a:cxn>
              <a:cxn ang="0">
                <a:pos x="60" y="206"/>
              </a:cxn>
              <a:cxn ang="0">
                <a:pos x="82" y="174"/>
              </a:cxn>
              <a:cxn ang="0">
                <a:pos x="92" y="152"/>
              </a:cxn>
              <a:cxn ang="0">
                <a:pos x="102" y="132"/>
              </a:cxn>
              <a:cxn ang="0">
                <a:pos x="116" y="112"/>
              </a:cxn>
              <a:cxn ang="0">
                <a:pos x="116" y="110"/>
              </a:cxn>
              <a:cxn ang="0">
                <a:pos x="124" y="90"/>
              </a:cxn>
              <a:cxn ang="0">
                <a:pos x="128" y="40"/>
              </a:cxn>
              <a:cxn ang="0">
                <a:pos x="132" y="12"/>
              </a:cxn>
              <a:cxn ang="0">
                <a:pos x="150" y="0"/>
              </a:cxn>
              <a:cxn ang="0">
                <a:pos x="174" y="2"/>
              </a:cxn>
              <a:cxn ang="0">
                <a:pos x="182" y="14"/>
              </a:cxn>
              <a:cxn ang="0">
                <a:pos x="178" y="26"/>
              </a:cxn>
              <a:cxn ang="0">
                <a:pos x="186" y="32"/>
              </a:cxn>
              <a:cxn ang="0">
                <a:pos x="210" y="32"/>
              </a:cxn>
              <a:cxn ang="0">
                <a:pos x="236" y="42"/>
              </a:cxn>
              <a:cxn ang="0">
                <a:pos x="248" y="34"/>
              </a:cxn>
              <a:cxn ang="0">
                <a:pos x="260" y="42"/>
              </a:cxn>
              <a:cxn ang="0">
                <a:pos x="286" y="58"/>
              </a:cxn>
              <a:cxn ang="0">
                <a:pos x="288" y="74"/>
              </a:cxn>
              <a:cxn ang="0">
                <a:pos x="298" y="92"/>
              </a:cxn>
              <a:cxn ang="0">
                <a:pos x="270" y="112"/>
              </a:cxn>
              <a:cxn ang="0">
                <a:pos x="252" y="118"/>
              </a:cxn>
              <a:cxn ang="0">
                <a:pos x="240" y="124"/>
              </a:cxn>
              <a:cxn ang="0">
                <a:pos x="240" y="152"/>
              </a:cxn>
              <a:cxn ang="0">
                <a:pos x="224" y="194"/>
              </a:cxn>
              <a:cxn ang="0">
                <a:pos x="212" y="202"/>
              </a:cxn>
              <a:cxn ang="0">
                <a:pos x="220" y="216"/>
              </a:cxn>
              <a:cxn ang="0">
                <a:pos x="188" y="242"/>
              </a:cxn>
              <a:cxn ang="0">
                <a:pos x="166" y="236"/>
              </a:cxn>
            </a:cxnLst>
            <a:rect l="0" t="0" r="r" b="b"/>
            <a:pathLst>
              <a:path w="302" h="468">
                <a:moveTo>
                  <a:pt x="166" y="236"/>
                </a:moveTo>
                <a:lnTo>
                  <a:pt x="166" y="238"/>
                </a:lnTo>
                <a:lnTo>
                  <a:pt x="166" y="242"/>
                </a:lnTo>
                <a:lnTo>
                  <a:pt x="172" y="254"/>
                </a:lnTo>
                <a:lnTo>
                  <a:pt x="174" y="264"/>
                </a:lnTo>
                <a:lnTo>
                  <a:pt x="174" y="268"/>
                </a:lnTo>
                <a:lnTo>
                  <a:pt x="174" y="282"/>
                </a:lnTo>
                <a:lnTo>
                  <a:pt x="178" y="292"/>
                </a:lnTo>
                <a:lnTo>
                  <a:pt x="180" y="294"/>
                </a:lnTo>
                <a:lnTo>
                  <a:pt x="182" y="294"/>
                </a:lnTo>
                <a:lnTo>
                  <a:pt x="186" y="294"/>
                </a:lnTo>
                <a:lnTo>
                  <a:pt x="188" y="294"/>
                </a:lnTo>
                <a:lnTo>
                  <a:pt x="190" y="298"/>
                </a:lnTo>
                <a:lnTo>
                  <a:pt x="190" y="302"/>
                </a:lnTo>
                <a:lnTo>
                  <a:pt x="190" y="304"/>
                </a:lnTo>
                <a:lnTo>
                  <a:pt x="178" y="316"/>
                </a:lnTo>
                <a:lnTo>
                  <a:pt x="176" y="318"/>
                </a:lnTo>
                <a:lnTo>
                  <a:pt x="170" y="322"/>
                </a:lnTo>
                <a:lnTo>
                  <a:pt x="166" y="324"/>
                </a:lnTo>
                <a:lnTo>
                  <a:pt x="162" y="326"/>
                </a:lnTo>
                <a:lnTo>
                  <a:pt x="152" y="350"/>
                </a:lnTo>
                <a:lnTo>
                  <a:pt x="154" y="352"/>
                </a:lnTo>
                <a:lnTo>
                  <a:pt x="158" y="364"/>
                </a:lnTo>
                <a:lnTo>
                  <a:pt x="158" y="366"/>
                </a:lnTo>
                <a:lnTo>
                  <a:pt x="158" y="370"/>
                </a:lnTo>
                <a:lnTo>
                  <a:pt x="160" y="372"/>
                </a:lnTo>
                <a:lnTo>
                  <a:pt x="160" y="376"/>
                </a:lnTo>
                <a:lnTo>
                  <a:pt x="162" y="378"/>
                </a:lnTo>
                <a:lnTo>
                  <a:pt x="166" y="378"/>
                </a:lnTo>
                <a:lnTo>
                  <a:pt x="168" y="376"/>
                </a:lnTo>
                <a:lnTo>
                  <a:pt x="172" y="376"/>
                </a:lnTo>
                <a:lnTo>
                  <a:pt x="172" y="378"/>
                </a:lnTo>
                <a:lnTo>
                  <a:pt x="172" y="380"/>
                </a:lnTo>
                <a:lnTo>
                  <a:pt x="170" y="384"/>
                </a:lnTo>
                <a:lnTo>
                  <a:pt x="164" y="392"/>
                </a:lnTo>
                <a:lnTo>
                  <a:pt x="154" y="392"/>
                </a:lnTo>
                <a:lnTo>
                  <a:pt x="148" y="392"/>
                </a:lnTo>
                <a:lnTo>
                  <a:pt x="146" y="392"/>
                </a:lnTo>
                <a:lnTo>
                  <a:pt x="146" y="394"/>
                </a:lnTo>
                <a:lnTo>
                  <a:pt x="144" y="396"/>
                </a:lnTo>
                <a:lnTo>
                  <a:pt x="140" y="402"/>
                </a:lnTo>
                <a:lnTo>
                  <a:pt x="136" y="406"/>
                </a:lnTo>
                <a:lnTo>
                  <a:pt x="130" y="408"/>
                </a:lnTo>
                <a:lnTo>
                  <a:pt x="128" y="410"/>
                </a:lnTo>
                <a:lnTo>
                  <a:pt x="126" y="414"/>
                </a:lnTo>
                <a:lnTo>
                  <a:pt x="116" y="426"/>
                </a:lnTo>
                <a:lnTo>
                  <a:pt x="116" y="428"/>
                </a:lnTo>
                <a:lnTo>
                  <a:pt x="118" y="430"/>
                </a:lnTo>
                <a:lnTo>
                  <a:pt x="118" y="434"/>
                </a:lnTo>
                <a:lnTo>
                  <a:pt x="118" y="436"/>
                </a:lnTo>
                <a:lnTo>
                  <a:pt x="118" y="438"/>
                </a:lnTo>
                <a:lnTo>
                  <a:pt x="118" y="444"/>
                </a:lnTo>
                <a:lnTo>
                  <a:pt x="116" y="454"/>
                </a:lnTo>
                <a:lnTo>
                  <a:pt x="114" y="462"/>
                </a:lnTo>
                <a:lnTo>
                  <a:pt x="112" y="460"/>
                </a:lnTo>
                <a:lnTo>
                  <a:pt x="104" y="460"/>
                </a:lnTo>
                <a:lnTo>
                  <a:pt x="102" y="462"/>
                </a:lnTo>
                <a:lnTo>
                  <a:pt x="100" y="462"/>
                </a:lnTo>
                <a:lnTo>
                  <a:pt x="88" y="468"/>
                </a:lnTo>
                <a:lnTo>
                  <a:pt x="76" y="466"/>
                </a:lnTo>
                <a:lnTo>
                  <a:pt x="72" y="466"/>
                </a:lnTo>
                <a:lnTo>
                  <a:pt x="68" y="464"/>
                </a:lnTo>
                <a:lnTo>
                  <a:pt x="68" y="462"/>
                </a:lnTo>
                <a:lnTo>
                  <a:pt x="66" y="460"/>
                </a:lnTo>
                <a:lnTo>
                  <a:pt x="64" y="458"/>
                </a:lnTo>
                <a:lnTo>
                  <a:pt x="60" y="454"/>
                </a:lnTo>
                <a:lnTo>
                  <a:pt x="46" y="450"/>
                </a:lnTo>
                <a:lnTo>
                  <a:pt x="42" y="450"/>
                </a:lnTo>
                <a:lnTo>
                  <a:pt x="40" y="450"/>
                </a:lnTo>
                <a:lnTo>
                  <a:pt x="36" y="446"/>
                </a:lnTo>
                <a:lnTo>
                  <a:pt x="26" y="442"/>
                </a:lnTo>
                <a:lnTo>
                  <a:pt x="14" y="444"/>
                </a:lnTo>
                <a:lnTo>
                  <a:pt x="4" y="446"/>
                </a:lnTo>
                <a:lnTo>
                  <a:pt x="0" y="444"/>
                </a:lnTo>
                <a:lnTo>
                  <a:pt x="2" y="442"/>
                </a:lnTo>
                <a:lnTo>
                  <a:pt x="4" y="438"/>
                </a:lnTo>
                <a:lnTo>
                  <a:pt x="8" y="436"/>
                </a:lnTo>
                <a:lnTo>
                  <a:pt x="10" y="434"/>
                </a:lnTo>
                <a:lnTo>
                  <a:pt x="16" y="424"/>
                </a:lnTo>
                <a:lnTo>
                  <a:pt x="20" y="414"/>
                </a:lnTo>
                <a:lnTo>
                  <a:pt x="24" y="410"/>
                </a:lnTo>
                <a:lnTo>
                  <a:pt x="26" y="402"/>
                </a:lnTo>
                <a:lnTo>
                  <a:pt x="32" y="384"/>
                </a:lnTo>
                <a:lnTo>
                  <a:pt x="30" y="380"/>
                </a:lnTo>
                <a:lnTo>
                  <a:pt x="34" y="376"/>
                </a:lnTo>
                <a:lnTo>
                  <a:pt x="36" y="368"/>
                </a:lnTo>
                <a:lnTo>
                  <a:pt x="34" y="366"/>
                </a:lnTo>
                <a:lnTo>
                  <a:pt x="34" y="358"/>
                </a:lnTo>
                <a:lnTo>
                  <a:pt x="38" y="352"/>
                </a:lnTo>
                <a:lnTo>
                  <a:pt x="40" y="350"/>
                </a:lnTo>
                <a:lnTo>
                  <a:pt x="42" y="346"/>
                </a:lnTo>
                <a:lnTo>
                  <a:pt x="44" y="344"/>
                </a:lnTo>
                <a:lnTo>
                  <a:pt x="44" y="342"/>
                </a:lnTo>
                <a:lnTo>
                  <a:pt x="46" y="338"/>
                </a:lnTo>
                <a:lnTo>
                  <a:pt x="46" y="334"/>
                </a:lnTo>
                <a:lnTo>
                  <a:pt x="46" y="330"/>
                </a:lnTo>
                <a:lnTo>
                  <a:pt x="46" y="328"/>
                </a:lnTo>
                <a:lnTo>
                  <a:pt x="46" y="326"/>
                </a:lnTo>
                <a:lnTo>
                  <a:pt x="54" y="324"/>
                </a:lnTo>
                <a:lnTo>
                  <a:pt x="56" y="326"/>
                </a:lnTo>
                <a:lnTo>
                  <a:pt x="52" y="314"/>
                </a:lnTo>
                <a:lnTo>
                  <a:pt x="44" y="312"/>
                </a:lnTo>
                <a:lnTo>
                  <a:pt x="42" y="312"/>
                </a:lnTo>
                <a:lnTo>
                  <a:pt x="36" y="314"/>
                </a:lnTo>
                <a:lnTo>
                  <a:pt x="30" y="314"/>
                </a:lnTo>
                <a:lnTo>
                  <a:pt x="28" y="314"/>
                </a:lnTo>
                <a:lnTo>
                  <a:pt x="22" y="314"/>
                </a:lnTo>
                <a:lnTo>
                  <a:pt x="22" y="310"/>
                </a:lnTo>
                <a:lnTo>
                  <a:pt x="24" y="306"/>
                </a:lnTo>
                <a:lnTo>
                  <a:pt x="24" y="304"/>
                </a:lnTo>
                <a:lnTo>
                  <a:pt x="24" y="298"/>
                </a:lnTo>
                <a:lnTo>
                  <a:pt x="24" y="296"/>
                </a:lnTo>
                <a:lnTo>
                  <a:pt x="22" y="294"/>
                </a:lnTo>
                <a:lnTo>
                  <a:pt x="22" y="290"/>
                </a:lnTo>
                <a:lnTo>
                  <a:pt x="26" y="290"/>
                </a:lnTo>
                <a:lnTo>
                  <a:pt x="30" y="292"/>
                </a:lnTo>
                <a:lnTo>
                  <a:pt x="34" y="298"/>
                </a:lnTo>
                <a:lnTo>
                  <a:pt x="38" y="292"/>
                </a:lnTo>
                <a:lnTo>
                  <a:pt x="40" y="290"/>
                </a:lnTo>
                <a:lnTo>
                  <a:pt x="46" y="288"/>
                </a:lnTo>
                <a:lnTo>
                  <a:pt x="48" y="288"/>
                </a:lnTo>
                <a:lnTo>
                  <a:pt x="48" y="286"/>
                </a:lnTo>
                <a:lnTo>
                  <a:pt x="48" y="282"/>
                </a:lnTo>
                <a:lnTo>
                  <a:pt x="46" y="280"/>
                </a:lnTo>
                <a:lnTo>
                  <a:pt x="46" y="276"/>
                </a:lnTo>
                <a:lnTo>
                  <a:pt x="48" y="272"/>
                </a:lnTo>
                <a:lnTo>
                  <a:pt x="40" y="278"/>
                </a:lnTo>
                <a:lnTo>
                  <a:pt x="38" y="280"/>
                </a:lnTo>
                <a:lnTo>
                  <a:pt x="38" y="282"/>
                </a:lnTo>
                <a:lnTo>
                  <a:pt x="36" y="284"/>
                </a:lnTo>
                <a:lnTo>
                  <a:pt x="36" y="286"/>
                </a:lnTo>
                <a:lnTo>
                  <a:pt x="34" y="290"/>
                </a:lnTo>
                <a:lnTo>
                  <a:pt x="26" y="290"/>
                </a:lnTo>
                <a:lnTo>
                  <a:pt x="18" y="288"/>
                </a:lnTo>
                <a:lnTo>
                  <a:pt x="12" y="284"/>
                </a:lnTo>
                <a:lnTo>
                  <a:pt x="8" y="282"/>
                </a:lnTo>
                <a:lnTo>
                  <a:pt x="10" y="274"/>
                </a:lnTo>
                <a:lnTo>
                  <a:pt x="14" y="270"/>
                </a:lnTo>
                <a:lnTo>
                  <a:pt x="14" y="268"/>
                </a:lnTo>
                <a:lnTo>
                  <a:pt x="18" y="264"/>
                </a:lnTo>
                <a:lnTo>
                  <a:pt x="18" y="262"/>
                </a:lnTo>
                <a:lnTo>
                  <a:pt x="20" y="258"/>
                </a:lnTo>
                <a:lnTo>
                  <a:pt x="20" y="256"/>
                </a:lnTo>
                <a:lnTo>
                  <a:pt x="22" y="250"/>
                </a:lnTo>
                <a:lnTo>
                  <a:pt x="24" y="248"/>
                </a:lnTo>
                <a:lnTo>
                  <a:pt x="28" y="244"/>
                </a:lnTo>
                <a:lnTo>
                  <a:pt x="30" y="238"/>
                </a:lnTo>
                <a:lnTo>
                  <a:pt x="32" y="236"/>
                </a:lnTo>
                <a:lnTo>
                  <a:pt x="34" y="232"/>
                </a:lnTo>
                <a:lnTo>
                  <a:pt x="34" y="226"/>
                </a:lnTo>
                <a:lnTo>
                  <a:pt x="38" y="224"/>
                </a:lnTo>
                <a:lnTo>
                  <a:pt x="44" y="222"/>
                </a:lnTo>
                <a:lnTo>
                  <a:pt x="52" y="216"/>
                </a:lnTo>
                <a:lnTo>
                  <a:pt x="58" y="208"/>
                </a:lnTo>
                <a:lnTo>
                  <a:pt x="60" y="206"/>
                </a:lnTo>
                <a:lnTo>
                  <a:pt x="64" y="198"/>
                </a:lnTo>
                <a:lnTo>
                  <a:pt x="68" y="196"/>
                </a:lnTo>
                <a:lnTo>
                  <a:pt x="72" y="190"/>
                </a:lnTo>
                <a:lnTo>
                  <a:pt x="78" y="180"/>
                </a:lnTo>
                <a:lnTo>
                  <a:pt x="82" y="174"/>
                </a:lnTo>
                <a:lnTo>
                  <a:pt x="84" y="174"/>
                </a:lnTo>
                <a:lnTo>
                  <a:pt x="86" y="170"/>
                </a:lnTo>
                <a:lnTo>
                  <a:pt x="88" y="166"/>
                </a:lnTo>
                <a:lnTo>
                  <a:pt x="88" y="158"/>
                </a:lnTo>
                <a:lnTo>
                  <a:pt x="92" y="152"/>
                </a:lnTo>
                <a:lnTo>
                  <a:pt x="94" y="150"/>
                </a:lnTo>
                <a:lnTo>
                  <a:pt x="100" y="138"/>
                </a:lnTo>
                <a:lnTo>
                  <a:pt x="102" y="136"/>
                </a:lnTo>
                <a:lnTo>
                  <a:pt x="102" y="134"/>
                </a:lnTo>
                <a:lnTo>
                  <a:pt x="102" y="132"/>
                </a:lnTo>
                <a:lnTo>
                  <a:pt x="104" y="130"/>
                </a:lnTo>
                <a:lnTo>
                  <a:pt x="108" y="124"/>
                </a:lnTo>
                <a:lnTo>
                  <a:pt x="112" y="124"/>
                </a:lnTo>
                <a:lnTo>
                  <a:pt x="114" y="120"/>
                </a:lnTo>
                <a:lnTo>
                  <a:pt x="116" y="112"/>
                </a:lnTo>
                <a:lnTo>
                  <a:pt x="112" y="118"/>
                </a:lnTo>
                <a:lnTo>
                  <a:pt x="110" y="120"/>
                </a:lnTo>
                <a:lnTo>
                  <a:pt x="112" y="116"/>
                </a:lnTo>
                <a:lnTo>
                  <a:pt x="112" y="114"/>
                </a:lnTo>
                <a:lnTo>
                  <a:pt x="116" y="110"/>
                </a:lnTo>
                <a:lnTo>
                  <a:pt x="118" y="104"/>
                </a:lnTo>
                <a:lnTo>
                  <a:pt x="120" y="102"/>
                </a:lnTo>
                <a:lnTo>
                  <a:pt x="124" y="94"/>
                </a:lnTo>
                <a:lnTo>
                  <a:pt x="124" y="92"/>
                </a:lnTo>
                <a:lnTo>
                  <a:pt x="124" y="90"/>
                </a:lnTo>
                <a:lnTo>
                  <a:pt x="124" y="72"/>
                </a:lnTo>
                <a:lnTo>
                  <a:pt x="126" y="54"/>
                </a:lnTo>
                <a:lnTo>
                  <a:pt x="126" y="50"/>
                </a:lnTo>
                <a:lnTo>
                  <a:pt x="128" y="48"/>
                </a:lnTo>
                <a:lnTo>
                  <a:pt x="128" y="40"/>
                </a:lnTo>
                <a:lnTo>
                  <a:pt x="128" y="34"/>
                </a:lnTo>
                <a:lnTo>
                  <a:pt x="128" y="24"/>
                </a:lnTo>
                <a:lnTo>
                  <a:pt x="128" y="22"/>
                </a:lnTo>
                <a:lnTo>
                  <a:pt x="130" y="14"/>
                </a:lnTo>
                <a:lnTo>
                  <a:pt x="132" y="12"/>
                </a:lnTo>
                <a:lnTo>
                  <a:pt x="136" y="10"/>
                </a:lnTo>
                <a:lnTo>
                  <a:pt x="138" y="10"/>
                </a:lnTo>
                <a:lnTo>
                  <a:pt x="140" y="8"/>
                </a:lnTo>
                <a:lnTo>
                  <a:pt x="142" y="6"/>
                </a:lnTo>
                <a:lnTo>
                  <a:pt x="150" y="0"/>
                </a:lnTo>
                <a:lnTo>
                  <a:pt x="154" y="0"/>
                </a:lnTo>
                <a:lnTo>
                  <a:pt x="160" y="0"/>
                </a:lnTo>
                <a:lnTo>
                  <a:pt x="162" y="0"/>
                </a:lnTo>
                <a:lnTo>
                  <a:pt x="164" y="0"/>
                </a:lnTo>
                <a:lnTo>
                  <a:pt x="174" y="2"/>
                </a:lnTo>
                <a:lnTo>
                  <a:pt x="178" y="0"/>
                </a:lnTo>
                <a:lnTo>
                  <a:pt x="182" y="0"/>
                </a:lnTo>
                <a:lnTo>
                  <a:pt x="188" y="10"/>
                </a:lnTo>
                <a:lnTo>
                  <a:pt x="186" y="14"/>
                </a:lnTo>
                <a:lnTo>
                  <a:pt x="182" y="14"/>
                </a:lnTo>
                <a:lnTo>
                  <a:pt x="180" y="16"/>
                </a:lnTo>
                <a:lnTo>
                  <a:pt x="176" y="20"/>
                </a:lnTo>
                <a:lnTo>
                  <a:pt x="174" y="22"/>
                </a:lnTo>
                <a:lnTo>
                  <a:pt x="176" y="24"/>
                </a:lnTo>
                <a:lnTo>
                  <a:pt x="178" y="26"/>
                </a:lnTo>
                <a:lnTo>
                  <a:pt x="176" y="30"/>
                </a:lnTo>
                <a:lnTo>
                  <a:pt x="178" y="32"/>
                </a:lnTo>
                <a:lnTo>
                  <a:pt x="182" y="32"/>
                </a:lnTo>
                <a:lnTo>
                  <a:pt x="184" y="32"/>
                </a:lnTo>
                <a:lnTo>
                  <a:pt x="186" y="32"/>
                </a:lnTo>
                <a:lnTo>
                  <a:pt x="194" y="30"/>
                </a:lnTo>
                <a:lnTo>
                  <a:pt x="196" y="32"/>
                </a:lnTo>
                <a:lnTo>
                  <a:pt x="198" y="32"/>
                </a:lnTo>
                <a:lnTo>
                  <a:pt x="204" y="30"/>
                </a:lnTo>
                <a:lnTo>
                  <a:pt x="210" y="32"/>
                </a:lnTo>
                <a:lnTo>
                  <a:pt x="216" y="36"/>
                </a:lnTo>
                <a:lnTo>
                  <a:pt x="214" y="38"/>
                </a:lnTo>
                <a:lnTo>
                  <a:pt x="226" y="44"/>
                </a:lnTo>
                <a:lnTo>
                  <a:pt x="232" y="42"/>
                </a:lnTo>
                <a:lnTo>
                  <a:pt x="236" y="42"/>
                </a:lnTo>
                <a:lnTo>
                  <a:pt x="240" y="42"/>
                </a:lnTo>
                <a:lnTo>
                  <a:pt x="242" y="42"/>
                </a:lnTo>
                <a:lnTo>
                  <a:pt x="244" y="38"/>
                </a:lnTo>
                <a:lnTo>
                  <a:pt x="244" y="34"/>
                </a:lnTo>
                <a:lnTo>
                  <a:pt x="248" y="34"/>
                </a:lnTo>
                <a:lnTo>
                  <a:pt x="250" y="34"/>
                </a:lnTo>
                <a:lnTo>
                  <a:pt x="252" y="38"/>
                </a:lnTo>
                <a:lnTo>
                  <a:pt x="256" y="40"/>
                </a:lnTo>
                <a:lnTo>
                  <a:pt x="258" y="38"/>
                </a:lnTo>
                <a:lnTo>
                  <a:pt x="260" y="42"/>
                </a:lnTo>
                <a:lnTo>
                  <a:pt x="262" y="42"/>
                </a:lnTo>
                <a:lnTo>
                  <a:pt x="276" y="46"/>
                </a:lnTo>
                <a:lnTo>
                  <a:pt x="282" y="46"/>
                </a:lnTo>
                <a:lnTo>
                  <a:pt x="286" y="50"/>
                </a:lnTo>
                <a:lnTo>
                  <a:pt x="286" y="58"/>
                </a:lnTo>
                <a:lnTo>
                  <a:pt x="282" y="64"/>
                </a:lnTo>
                <a:lnTo>
                  <a:pt x="280" y="72"/>
                </a:lnTo>
                <a:lnTo>
                  <a:pt x="282" y="76"/>
                </a:lnTo>
                <a:lnTo>
                  <a:pt x="286" y="76"/>
                </a:lnTo>
                <a:lnTo>
                  <a:pt x="288" y="74"/>
                </a:lnTo>
                <a:lnTo>
                  <a:pt x="294" y="76"/>
                </a:lnTo>
                <a:lnTo>
                  <a:pt x="296" y="78"/>
                </a:lnTo>
                <a:lnTo>
                  <a:pt x="298" y="82"/>
                </a:lnTo>
                <a:lnTo>
                  <a:pt x="302" y="88"/>
                </a:lnTo>
                <a:lnTo>
                  <a:pt x="298" y="92"/>
                </a:lnTo>
                <a:lnTo>
                  <a:pt x="290" y="98"/>
                </a:lnTo>
                <a:lnTo>
                  <a:pt x="286" y="102"/>
                </a:lnTo>
                <a:lnTo>
                  <a:pt x="278" y="106"/>
                </a:lnTo>
                <a:lnTo>
                  <a:pt x="272" y="110"/>
                </a:lnTo>
                <a:lnTo>
                  <a:pt x="270" y="112"/>
                </a:lnTo>
                <a:lnTo>
                  <a:pt x="266" y="112"/>
                </a:lnTo>
                <a:lnTo>
                  <a:pt x="266" y="110"/>
                </a:lnTo>
                <a:lnTo>
                  <a:pt x="264" y="110"/>
                </a:lnTo>
                <a:lnTo>
                  <a:pt x="260" y="112"/>
                </a:lnTo>
                <a:lnTo>
                  <a:pt x="252" y="118"/>
                </a:lnTo>
                <a:lnTo>
                  <a:pt x="252" y="120"/>
                </a:lnTo>
                <a:lnTo>
                  <a:pt x="250" y="124"/>
                </a:lnTo>
                <a:lnTo>
                  <a:pt x="248" y="124"/>
                </a:lnTo>
                <a:lnTo>
                  <a:pt x="244" y="126"/>
                </a:lnTo>
                <a:lnTo>
                  <a:pt x="240" y="124"/>
                </a:lnTo>
                <a:lnTo>
                  <a:pt x="238" y="124"/>
                </a:lnTo>
                <a:lnTo>
                  <a:pt x="240" y="130"/>
                </a:lnTo>
                <a:lnTo>
                  <a:pt x="242" y="132"/>
                </a:lnTo>
                <a:lnTo>
                  <a:pt x="244" y="142"/>
                </a:lnTo>
                <a:lnTo>
                  <a:pt x="240" y="152"/>
                </a:lnTo>
                <a:lnTo>
                  <a:pt x="236" y="172"/>
                </a:lnTo>
                <a:lnTo>
                  <a:pt x="232" y="184"/>
                </a:lnTo>
                <a:lnTo>
                  <a:pt x="228" y="190"/>
                </a:lnTo>
                <a:lnTo>
                  <a:pt x="226" y="194"/>
                </a:lnTo>
                <a:lnTo>
                  <a:pt x="224" y="194"/>
                </a:lnTo>
                <a:lnTo>
                  <a:pt x="222" y="194"/>
                </a:lnTo>
                <a:lnTo>
                  <a:pt x="220" y="192"/>
                </a:lnTo>
                <a:lnTo>
                  <a:pt x="214" y="194"/>
                </a:lnTo>
                <a:lnTo>
                  <a:pt x="212" y="198"/>
                </a:lnTo>
                <a:lnTo>
                  <a:pt x="212" y="202"/>
                </a:lnTo>
                <a:lnTo>
                  <a:pt x="214" y="204"/>
                </a:lnTo>
                <a:lnTo>
                  <a:pt x="216" y="206"/>
                </a:lnTo>
                <a:lnTo>
                  <a:pt x="218" y="206"/>
                </a:lnTo>
                <a:lnTo>
                  <a:pt x="220" y="214"/>
                </a:lnTo>
                <a:lnTo>
                  <a:pt x="220" y="216"/>
                </a:lnTo>
                <a:lnTo>
                  <a:pt x="204" y="240"/>
                </a:lnTo>
                <a:lnTo>
                  <a:pt x="202" y="244"/>
                </a:lnTo>
                <a:lnTo>
                  <a:pt x="198" y="244"/>
                </a:lnTo>
                <a:lnTo>
                  <a:pt x="192" y="242"/>
                </a:lnTo>
                <a:lnTo>
                  <a:pt x="188" y="242"/>
                </a:lnTo>
                <a:lnTo>
                  <a:pt x="184" y="240"/>
                </a:lnTo>
                <a:lnTo>
                  <a:pt x="180" y="240"/>
                </a:lnTo>
                <a:lnTo>
                  <a:pt x="178" y="240"/>
                </a:lnTo>
                <a:lnTo>
                  <a:pt x="174" y="240"/>
                </a:lnTo>
                <a:lnTo>
                  <a:pt x="166" y="23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3" name="Group 2835"/>
          <p:cNvGrpSpPr>
            <a:grpSpLocks/>
          </p:cNvGrpSpPr>
          <p:nvPr/>
        </p:nvGrpSpPr>
        <p:grpSpPr bwMode="auto">
          <a:xfrm>
            <a:off x="5758481" y="5549416"/>
            <a:ext cx="959943" cy="939267"/>
            <a:chOff x="2966" y="2968"/>
            <a:chExt cx="650" cy="636"/>
          </a:xfrm>
          <a:solidFill>
            <a:srgbClr val="B9B9B9"/>
          </a:solidFill>
        </p:grpSpPr>
        <p:sp>
          <p:nvSpPr>
            <p:cNvPr id="588" name="Freeform 2680"/>
            <p:cNvSpPr>
              <a:spLocks/>
            </p:cNvSpPr>
            <p:nvPr/>
          </p:nvSpPr>
          <p:spPr bwMode="auto">
            <a:xfrm>
              <a:off x="2994" y="2968"/>
              <a:ext cx="444" cy="522"/>
            </a:xfrm>
            <a:custGeom>
              <a:avLst/>
              <a:gdLst/>
              <a:ahLst/>
              <a:cxnLst>
                <a:cxn ang="0">
                  <a:pos x="52" y="290"/>
                </a:cxn>
                <a:cxn ang="0">
                  <a:pos x="10" y="236"/>
                </a:cxn>
                <a:cxn ang="0">
                  <a:pos x="20" y="220"/>
                </a:cxn>
                <a:cxn ang="0">
                  <a:pos x="36" y="194"/>
                </a:cxn>
                <a:cxn ang="0">
                  <a:pos x="58" y="156"/>
                </a:cxn>
                <a:cxn ang="0">
                  <a:pos x="86" y="116"/>
                </a:cxn>
                <a:cxn ang="0">
                  <a:pos x="150" y="86"/>
                </a:cxn>
                <a:cxn ang="0">
                  <a:pos x="190" y="64"/>
                </a:cxn>
                <a:cxn ang="0">
                  <a:pos x="232" y="54"/>
                </a:cxn>
                <a:cxn ang="0">
                  <a:pos x="276" y="36"/>
                </a:cxn>
                <a:cxn ang="0">
                  <a:pos x="334" y="46"/>
                </a:cxn>
                <a:cxn ang="0">
                  <a:pos x="394" y="44"/>
                </a:cxn>
                <a:cxn ang="0">
                  <a:pos x="408" y="0"/>
                </a:cxn>
                <a:cxn ang="0">
                  <a:pos x="444" y="34"/>
                </a:cxn>
                <a:cxn ang="0">
                  <a:pos x="418" y="86"/>
                </a:cxn>
                <a:cxn ang="0">
                  <a:pos x="388" y="88"/>
                </a:cxn>
                <a:cxn ang="0">
                  <a:pos x="346" y="78"/>
                </a:cxn>
                <a:cxn ang="0">
                  <a:pos x="298" y="90"/>
                </a:cxn>
                <a:cxn ang="0">
                  <a:pos x="262" y="110"/>
                </a:cxn>
                <a:cxn ang="0">
                  <a:pos x="270" y="144"/>
                </a:cxn>
                <a:cxn ang="0">
                  <a:pos x="282" y="152"/>
                </a:cxn>
                <a:cxn ang="0">
                  <a:pos x="252" y="154"/>
                </a:cxn>
                <a:cxn ang="0">
                  <a:pos x="272" y="186"/>
                </a:cxn>
                <a:cxn ang="0">
                  <a:pos x="230" y="162"/>
                </a:cxn>
                <a:cxn ang="0">
                  <a:pos x="238" y="186"/>
                </a:cxn>
                <a:cxn ang="0">
                  <a:pos x="194" y="140"/>
                </a:cxn>
                <a:cxn ang="0">
                  <a:pos x="174" y="146"/>
                </a:cxn>
                <a:cxn ang="0">
                  <a:pos x="200" y="212"/>
                </a:cxn>
                <a:cxn ang="0">
                  <a:pos x="238" y="262"/>
                </a:cxn>
                <a:cxn ang="0">
                  <a:pos x="230" y="260"/>
                </a:cxn>
                <a:cxn ang="0">
                  <a:pos x="212" y="268"/>
                </a:cxn>
                <a:cxn ang="0">
                  <a:pos x="192" y="290"/>
                </a:cxn>
                <a:cxn ang="0">
                  <a:pos x="226" y="310"/>
                </a:cxn>
                <a:cxn ang="0">
                  <a:pos x="258" y="320"/>
                </a:cxn>
                <a:cxn ang="0">
                  <a:pos x="296" y="356"/>
                </a:cxn>
                <a:cxn ang="0">
                  <a:pos x="290" y="384"/>
                </a:cxn>
                <a:cxn ang="0">
                  <a:pos x="254" y="368"/>
                </a:cxn>
                <a:cxn ang="0">
                  <a:pos x="230" y="384"/>
                </a:cxn>
                <a:cxn ang="0">
                  <a:pos x="258" y="410"/>
                </a:cxn>
                <a:cxn ang="0">
                  <a:pos x="242" y="434"/>
                </a:cxn>
                <a:cxn ang="0">
                  <a:pos x="212" y="426"/>
                </a:cxn>
                <a:cxn ang="0">
                  <a:pos x="238" y="474"/>
                </a:cxn>
                <a:cxn ang="0">
                  <a:pos x="246" y="512"/>
                </a:cxn>
                <a:cxn ang="0">
                  <a:pos x="196" y="502"/>
                </a:cxn>
                <a:cxn ang="0">
                  <a:pos x="174" y="476"/>
                </a:cxn>
                <a:cxn ang="0">
                  <a:pos x="158" y="486"/>
                </a:cxn>
                <a:cxn ang="0">
                  <a:pos x="132" y="470"/>
                </a:cxn>
                <a:cxn ang="0">
                  <a:pos x="130" y="430"/>
                </a:cxn>
                <a:cxn ang="0">
                  <a:pos x="88" y="392"/>
                </a:cxn>
                <a:cxn ang="0">
                  <a:pos x="116" y="364"/>
                </a:cxn>
                <a:cxn ang="0">
                  <a:pos x="152" y="350"/>
                </a:cxn>
                <a:cxn ang="0">
                  <a:pos x="218" y="376"/>
                </a:cxn>
                <a:cxn ang="0">
                  <a:pos x="230" y="364"/>
                </a:cxn>
                <a:cxn ang="0">
                  <a:pos x="210" y="350"/>
                </a:cxn>
                <a:cxn ang="0">
                  <a:pos x="164" y="344"/>
                </a:cxn>
                <a:cxn ang="0">
                  <a:pos x="110" y="346"/>
                </a:cxn>
                <a:cxn ang="0">
                  <a:pos x="74" y="320"/>
                </a:cxn>
                <a:cxn ang="0">
                  <a:pos x="80" y="302"/>
                </a:cxn>
              </a:cxnLst>
              <a:rect l="0" t="0" r="r" b="b"/>
              <a:pathLst>
                <a:path w="444" h="522">
                  <a:moveTo>
                    <a:pt x="78" y="284"/>
                  </a:moveTo>
                  <a:lnTo>
                    <a:pt x="76" y="290"/>
                  </a:lnTo>
                  <a:lnTo>
                    <a:pt x="68" y="284"/>
                  </a:lnTo>
                  <a:lnTo>
                    <a:pt x="60" y="280"/>
                  </a:lnTo>
                  <a:lnTo>
                    <a:pt x="56" y="284"/>
                  </a:lnTo>
                  <a:lnTo>
                    <a:pt x="56" y="290"/>
                  </a:lnTo>
                  <a:lnTo>
                    <a:pt x="58" y="292"/>
                  </a:lnTo>
                  <a:lnTo>
                    <a:pt x="60" y="294"/>
                  </a:lnTo>
                  <a:lnTo>
                    <a:pt x="54" y="296"/>
                  </a:lnTo>
                  <a:lnTo>
                    <a:pt x="52" y="292"/>
                  </a:lnTo>
                  <a:lnTo>
                    <a:pt x="52" y="290"/>
                  </a:lnTo>
                  <a:lnTo>
                    <a:pt x="52" y="286"/>
                  </a:lnTo>
                  <a:lnTo>
                    <a:pt x="50" y="284"/>
                  </a:lnTo>
                  <a:lnTo>
                    <a:pt x="38" y="276"/>
                  </a:lnTo>
                  <a:lnTo>
                    <a:pt x="34" y="268"/>
                  </a:lnTo>
                  <a:lnTo>
                    <a:pt x="28" y="268"/>
                  </a:lnTo>
                  <a:lnTo>
                    <a:pt x="24" y="266"/>
                  </a:lnTo>
                  <a:lnTo>
                    <a:pt x="20" y="264"/>
                  </a:lnTo>
                  <a:lnTo>
                    <a:pt x="14" y="254"/>
                  </a:lnTo>
                  <a:lnTo>
                    <a:pt x="16" y="254"/>
                  </a:lnTo>
                  <a:lnTo>
                    <a:pt x="16" y="246"/>
                  </a:lnTo>
                  <a:lnTo>
                    <a:pt x="10" y="236"/>
                  </a:lnTo>
                  <a:lnTo>
                    <a:pt x="2" y="232"/>
                  </a:lnTo>
                  <a:lnTo>
                    <a:pt x="0" y="232"/>
                  </a:lnTo>
                  <a:lnTo>
                    <a:pt x="4" y="232"/>
                  </a:lnTo>
                  <a:lnTo>
                    <a:pt x="8" y="234"/>
                  </a:lnTo>
                  <a:lnTo>
                    <a:pt x="10" y="234"/>
                  </a:lnTo>
                  <a:lnTo>
                    <a:pt x="12" y="236"/>
                  </a:lnTo>
                  <a:lnTo>
                    <a:pt x="14" y="234"/>
                  </a:lnTo>
                  <a:lnTo>
                    <a:pt x="20" y="226"/>
                  </a:lnTo>
                  <a:lnTo>
                    <a:pt x="18" y="224"/>
                  </a:lnTo>
                  <a:lnTo>
                    <a:pt x="18" y="220"/>
                  </a:lnTo>
                  <a:lnTo>
                    <a:pt x="20" y="220"/>
                  </a:lnTo>
                  <a:lnTo>
                    <a:pt x="24" y="220"/>
                  </a:lnTo>
                  <a:lnTo>
                    <a:pt x="26" y="220"/>
                  </a:lnTo>
                  <a:lnTo>
                    <a:pt x="26" y="218"/>
                  </a:lnTo>
                  <a:lnTo>
                    <a:pt x="26" y="216"/>
                  </a:lnTo>
                  <a:lnTo>
                    <a:pt x="24" y="212"/>
                  </a:lnTo>
                  <a:lnTo>
                    <a:pt x="20" y="208"/>
                  </a:lnTo>
                  <a:lnTo>
                    <a:pt x="18" y="202"/>
                  </a:lnTo>
                  <a:lnTo>
                    <a:pt x="26" y="196"/>
                  </a:lnTo>
                  <a:lnTo>
                    <a:pt x="28" y="194"/>
                  </a:lnTo>
                  <a:lnTo>
                    <a:pt x="30" y="194"/>
                  </a:lnTo>
                  <a:lnTo>
                    <a:pt x="36" y="194"/>
                  </a:lnTo>
                  <a:lnTo>
                    <a:pt x="38" y="194"/>
                  </a:lnTo>
                  <a:lnTo>
                    <a:pt x="40" y="192"/>
                  </a:lnTo>
                  <a:lnTo>
                    <a:pt x="42" y="190"/>
                  </a:lnTo>
                  <a:lnTo>
                    <a:pt x="46" y="178"/>
                  </a:lnTo>
                  <a:lnTo>
                    <a:pt x="44" y="174"/>
                  </a:lnTo>
                  <a:lnTo>
                    <a:pt x="46" y="172"/>
                  </a:lnTo>
                  <a:lnTo>
                    <a:pt x="48" y="170"/>
                  </a:lnTo>
                  <a:lnTo>
                    <a:pt x="48" y="164"/>
                  </a:lnTo>
                  <a:lnTo>
                    <a:pt x="50" y="160"/>
                  </a:lnTo>
                  <a:lnTo>
                    <a:pt x="52" y="158"/>
                  </a:lnTo>
                  <a:lnTo>
                    <a:pt x="58" y="156"/>
                  </a:lnTo>
                  <a:lnTo>
                    <a:pt x="60" y="156"/>
                  </a:lnTo>
                  <a:lnTo>
                    <a:pt x="66" y="146"/>
                  </a:lnTo>
                  <a:lnTo>
                    <a:pt x="66" y="140"/>
                  </a:lnTo>
                  <a:lnTo>
                    <a:pt x="66" y="136"/>
                  </a:lnTo>
                  <a:lnTo>
                    <a:pt x="64" y="132"/>
                  </a:lnTo>
                  <a:lnTo>
                    <a:pt x="60" y="126"/>
                  </a:lnTo>
                  <a:lnTo>
                    <a:pt x="60" y="120"/>
                  </a:lnTo>
                  <a:lnTo>
                    <a:pt x="70" y="120"/>
                  </a:lnTo>
                  <a:lnTo>
                    <a:pt x="72" y="120"/>
                  </a:lnTo>
                  <a:lnTo>
                    <a:pt x="82" y="116"/>
                  </a:lnTo>
                  <a:lnTo>
                    <a:pt x="86" y="116"/>
                  </a:lnTo>
                  <a:lnTo>
                    <a:pt x="90" y="112"/>
                  </a:lnTo>
                  <a:lnTo>
                    <a:pt x="98" y="112"/>
                  </a:lnTo>
                  <a:lnTo>
                    <a:pt x="98" y="114"/>
                  </a:lnTo>
                  <a:lnTo>
                    <a:pt x="102" y="116"/>
                  </a:lnTo>
                  <a:lnTo>
                    <a:pt x="114" y="108"/>
                  </a:lnTo>
                  <a:lnTo>
                    <a:pt x="122" y="96"/>
                  </a:lnTo>
                  <a:lnTo>
                    <a:pt x="122" y="92"/>
                  </a:lnTo>
                  <a:lnTo>
                    <a:pt x="126" y="90"/>
                  </a:lnTo>
                  <a:lnTo>
                    <a:pt x="142" y="84"/>
                  </a:lnTo>
                  <a:lnTo>
                    <a:pt x="146" y="84"/>
                  </a:lnTo>
                  <a:lnTo>
                    <a:pt x="150" y="86"/>
                  </a:lnTo>
                  <a:lnTo>
                    <a:pt x="152" y="88"/>
                  </a:lnTo>
                  <a:lnTo>
                    <a:pt x="160" y="88"/>
                  </a:lnTo>
                  <a:lnTo>
                    <a:pt x="162" y="88"/>
                  </a:lnTo>
                  <a:lnTo>
                    <a:pt x="168" y="88"/>
                  </a:lnTo>
                  <a:lnTo>
                    <a:pt x="180" y="82"/>
                  </a:lnTo>
                  <a:lnTo>
                    <a:pt x="180" y="76"/>
                  </a:lnTo>
                  <a:lnTo>
                    <a:pt x="180" y="74"/>
                  </a:lnTo>
                  <a:lnTo>
                    <a:pt x="180" y="68"/>
                  </a:lnTo>
                  <a:lnTo>
                    <a:pt x="180" y="66"/>
                  </a:lnTo>
                  <a:lnTo>
                    <a:pt x="182" y="64"/>
                  </a:lnTo>
                  <a:lnTo>
                    <a:pt x="190" y="64"/>
                  </a:lnTo>
                  <a:lnTo>
                    <a:pt x="192" y="64"/>
                  </a:lnTo>
                  <a:lnTo>
                    <a:pt x="194" y="64"/>
                  </a:lnTo>
                  <a:lnTo>
                    <a:pt x="202" y="66"/>
                  </a:lnTo>
                  <a:lnTo>
                    <a:pt x="204" y="64"/>
                  </a:lnTo>
                  <a:lnTo>
                    <a:pt x="208" y="64"/>
                  </a:lnTo>
                  <a:lnTo>
                    <a:pt x="210" y="62"/>
                  </a:lnTo>
                  <a:lnTo>
                    <a:pt x="212" y="62"/>
                  </a:lnTo>
                  <a:lnTo>
                    <a:pt x="210" y="58"/>
                  </a:lnTo>
                  <a:lnTo>
                    <a:pt x="214" y="56"/>
                  </a:lnTo>
                  <a:lnTo>
                    <a:pt x="226" y="54"/>
                  </a:lnTo>
                  <a:lnTo>
                    <a:pt x="232" y="54"/>
                  </a:lnTo>
                  <a:lnTo>
                    <a:pt x="236" y="56"/>
                  </a:lnTo>
                  <a:lnTo>
                    <a:pt x="238" y="56"/>
                  </a:lnTo>
                  <a:lnTo>
                    <a:pt x="246" y="52"/>
                  </a:lnTo>
                  <a:lnTo>
                    <a:pt x="250" y="50"/>
                  </a:lnTo>
                  <a:lnTo>
                    <a:pt x="256" y="48"/>
                  </a:lnTo>
                  <a:lnTo>
                    <a:pt x="262" y="48"/>
                  </a:lnTo>
                  <a:lnTo>
                    <a:pt x="266" y="42"/>
                  </a:lnTo>
                  <a:lnTo>
                    <a:pt x="266" y="40"/>
                  </a:lnTo>
                  <a:lnTo>
                    <a:pt x="268" y="38"/>
                  </a:lnTo>
                  <a:lnTo>
                    <a:pt x="272" y="38"/>
                  </a:lnTo>
                  <a:lnTo>
                    <a:pt x="276" y="36"/>
                  </a:lnTo>
                  <a:lnTo>
                    <a:pt x="280" y="34"/>
                  </a:lnTo>
                  <a:lnTo>
                    <a:pt x="284" y="36"/>
                  </a:lnTo>
                  <a:lnTo>
                    <a:pt x="294" y="34"/>
                  </a:lnTo>
                  <a:lnTo>
                    <a:pt x="302" y="38"/>
                  </a:lnTo>
                  <a:lnTo>
                    <a:pt x="304" y="44"/>
                  </a:lnTo>
                  <a:lnTo>
                    <a:pt x="316" y="48"/>
                  </a:lnTo>
                  <a:lnTo>
                    <a:pt x="320" y="50"/>
                  </a:lnTo>
                  <a:lnTo>
                    <a:pt x="320" y="46"/>
                  </a:lnTo>
                  <a:lnTo>
                    <a:pt x="320" y="44"/>
                  </a:lnTo>
                  <a:lnTo>
                    <a:pt x="324" y="42"/>
                  </a:lnTo>
                  <a:lnTo>
                    <a:pt x="334" y="46"/>
                  </a:lnTo>
                  <a:lnTo>
                    <a:pt x="336" y="46"/>
                  </a:lnTo>
                  <a:lnTo>
                    <a:pt x="344" y="50"/>
                  </a:lnTo>
                  <a:lnTo>
                    <a:pt x="346" y="50"/>
                  </a:lnTo>
                  <a:lnTo>
                    <a:pt x="350" y="54"/>
                  </a:lnTo>
                  <a:lnTo>
                    <a:pt x="354" y="56"/>
                  </a:lnTo>
                  <a:lnTo>
                    <a:pt x="358" y="54"/>
                  </a:lnTo>
                  <a:lnTo>
                    <a:pt x="368" y="50"/>
                  </a:lnTo>
                  <a:lnTo>
                    <a:pt x="372" y="46"/>
                  </a:lnTo>
                  <a:lnTo>
                    <a:pt x="378" y="46"/>
                  </a:lnTo>
                  <a:lnTo>
                    <a:pt x="388" y="42"/>
                  </a:lnTo>
                  <a:lnTo>
                    <a:pt x="394" y="44"/>
                  </a:lnTo>
                  <a:lnTo>
                    <a:pt x="400" y="42"/>
                  </a:lnTo>
                  <a:lnTo>
                    <a:pt x="410" y="38"/>
                  </a:lnTo>
                  <a:lnTo>
                    <a:pt x="414" y="30"/>
                  </a:lnTo>
                  <a:lnTo>
                    <a:pt x="410" y="20"/>
                  </a:lnTo>
                  <a:lnTo>
                    <a:pt x="406" y="12"/>
                  </a:lnTo>
                  <a:lnTo>
                    <a:pt x="404" y="14"/>
                  </a:lnTo>
                  <a:lnTo>
                    <a:pt x="402" y="10"/>
                  </a:lnTo>
                  <a:lnTo>
                    <a:pt x="402" y="8"/>
                  </a:lnTo>
                  <a:lnTo>
                    <a:pt x="402" y="4"/>
                  </a:lnTo>
                  <a:lnTo>
                    <a:pt x="406" y="2"/>
                  </a:lnTo>
                  <a:lnTo>
                    <a:pt x="408" y="0"/>
                  </a:lnTo>
                  <a:lnTo>
                    <a:pt x="412" y="2"/>
                  </a:lnTo>
                  <a:lnTo>
                    <a:pt x="414" y="4"/>
                  </a:lnTo>
                  <a:lnTo>
                    <a:pt x="418" y="4"/>
                  </a:lnTo>
                  <a:lnTo>
                    <a:pt x="422" y="2"/>
                  </a:lnTo>
                  <a:lnTo>
                    <a:pt x="424" y="4"/>
                  </a:lnTo>
                  <a:lnTo>
                    <a:pt x="432" y="8"/>
                  </a:lnTo>
                  <a:lnTo>
                    <a:pt x="436" y="10"/>
                  </a:lnTo>
                  <a:lnTo>
                    <a:pt x="440" y="16"/>
                  </a:lnTo>
                  <a:lnTo>
                    <a:pt x="444" y="28"/>
                  </a:lnTo>
                  <a:lnTo>
                    <a:pt x="444" y="32"/>
                  </a:lnTo>
                  <a:lnTo>
                    <a:pt x="444" y="34"/>
                  </a:lnTo>
                  <a:lnTo>
                    <a:pt x="444" y="36"/>
                  </a:lnTo>
                  <a:lnTo>
                    <a:pt x="430" y="44"/>
                  </a:lnTo>
                  <a:lnTo>
                    <a:pt x="428" y="44"/>
                  </a:lnTo>
                  <a:lnTo>
                    <a:pt x="424" y="46"/>
                  </a:lnTo>
                  <a:lnTo>
                    <a:pt x="426" y="60"/>
                  </a:lnTo>
                  <a:lnTo>
                    <a:pt x="430" y="66"/>
                  </a:lnTo>
                  <a:lnTo>
                    <a:pt x="430" y="72"/>
                  </a:lnTo>
                  <a:lnTo>
                    <a:pt x="426" y="78"/>
                  </a:lnTo>
                  <a:lnTo>
                    <a:pt x="424" y="80"/>
                  </a:lnTo>
                  <a:lnTo>
                    <a:pt x="422" y="80"/>
                  </a:lnTo>
                  <a:lnTo>
                    <a:pt x="418" y="86"/>
                  </a:lnTo>
                  <a:lnTo>
                    <a:pt x="416" y="92"/>
                  </a:lnTo>
                  <a:lnTo>
                    <a:pt x="414" y="94"/>
                  </a:lnTo>
                  <a:lnTo>
                    <a:pt x="412" y="96"/>
                  </a:lnTo>
                  <a:lnTo>
                    <a:pt x="410" y="94"/>
                  </a:lnTo>
                  <a:lnTo>
                    <a:pt x="410" y="90"/>
                  </a:lnTo>
                  <a:lnTo>
                    <a:pt x="410" y="88"/>
                  </a:lnTo>
                  <a:lnTo>
                    <a:pt x="408" y="86"/>
                  </a:lnTo>
                  <a:lnTo>
                    <a:pt x="402" y="86"/>
                  </a:lnTo>
                  <a:lnTo>
                    <a:pt x="394" y="86"/>
                  </a:lnTo>
                  <a:lnTo>
                    <a:pt x="390" y="88"/>
                  </a:lnTo>
                  <a:lnTo>
                    <a:pt x="388" y="88"/>
                  </a:lnTo>
                  <a:lnTo>
                    <a:pt x="386" y="88"/>
                  </a:lnTo>
                  <a:lnTo>
                    <a:pt x="378" y="88"/>
                  </a:lnTo>
                  <a:lnTo>
                    <a:pt x="372" y="86"/>
                  </a:lnTo>
                  <a:lnTo>
                    <a:pt x="366" y="84"/>
                  </a:lnTo>
                  <a:lnTo>
                    <a:pt x="362" y="82"/>
                  </a:lnTo>
                  <a:lnTo>
                    <a:pt x="358" y="82"/>
                  </a:lnTo>
                  <a:lnTo>
                    <a:pt x="354" y="84"/>
                  </a:lnTo>
                  <a:lnTo>
                    <a:pt x="348" y="84"/>
                  </a:lnTo>
                  <a:lnTo>
                    <a:pt x="346" y="82"/>
                  </a:lnTo>
                  <a:lnTo>
                    <a:pt x="348" y="80"/>
                  </a:lnTo>
                  <a:lnTo>
                    <a:pt x="346" y="78"/>
                  </a:lnTo>
                  <a:lnTo>
                    <a:pt x="342" y="78"/>
                  </a:lnTo>
                  <a:lnTo>
                    <a:pt x="338" y="80"/>
                  </a:lnTo>
                  <a:lnTo>
                    <a:pt x="330" y="88"/>
                  </a:lnTo>
                  <a:lnTo>
                    <a:pt x="328" y="92"/>
                  </a:lnTo>
                  <a:lnTo>
                    <a:pt x="324" y="96"/>
                  </a:lnTo>
                  <a:lnTo>
                    <a:pt x="322" y="96"/>
                  </a:lnTo>
                  <a:lnTo>
                    <a:pt x="312" y="96"/>
                  </a:lnTo>
                  <a:lnTo>
                    <a:pt x="310" y="92"/>
                  </a:lnTo>
                  <a:lnTo>
                    <a:pt x="308" y="88"/>
                  </a:lnTo>
                  <a:lnTo>
                    <a:pt x="304" y="88"/>
                  </a:lnTo>
                  <a:lnTo>
                    <a:pt x="298" y="90"/>
                  </a:lnTo>
                  <a:lnTo>
                    <a:pt x="296" y="92"/>
                  </a:lnTo>
                  <a:lnTo>
                    <a:pt x="292" y="96"/>
                  </a:lnTo>
                  <a:lnTo>
                    <a:pt x="290" y="96"/>
                  </a:lnTo>
                  <a:lnTo>
                    <a:pt x="292" y="100"/>
                  </a:lnTo>
                  <a:lnTo>
                    <a:pt x="280" y="110"/>
                  </a:lnTo>
                  <a:lnTo>
                    <a:pt x="276" y="112"/>
                  </a:lnTo>
                  <a:lnTo>
                    <a:pt x="274" y="114"/>
                  </a:lnTo>
                  <a:lnTo>
                    <a:pt x="270" y="112"/>
                  </a:lnTo>
                  <a:lnTo>
                    <a:pt x="268" y="112"/>
                  </a:lnTo>
                  <a:lnTo>
                    <a:pt x="264" y="110"/>
                  </a:lnTo>
                  <a:lnTo>
                    <a:pt x="262" y="110"/>
                  </a:lnTo>
                  <a:lnTo>
                    <a:pt x="258" y="108"/>
                  </a:lnTo>
                  <a:lnTo>
                    <a:pt x="250" y="114"/>
                  </a:lnTo>
                  <a:lnTo>
                    <a:pt x="250" y="116"/>
                  </a:lnTo>
                  <a:lnTo>
                    <a:pt x="250" y="120"/>
                  </a:lnTo>
                  <a:lnTo>
                    <a:pt x="258" y="128"/>
                  </a:lnTo>
                  <a:lnTo>
                    <a:pt x="260" y="136"/>
                  </a:lnTo>
                  <a:lnTo>
                    <a:pt x="260" y="138"/>
                  </a:lnTo>
                  <a:lnTo>
                    <a:pt x="262" y="142"/>
                  </a:lnTo>
                  <a:lnTo>
                    <a:pt x="266" y="144"/>
                  </a:lnTo>
                  <a:lnTo>
                    <a:pt x="268" y="144"/>
                  </a:lnTo>
                  <a:lnTo>
                    <a:pt x="270" y="144"/>
                  </a:lnTo>
                  <a:lnTo>
                    <a:pt x="274" y="144"/>
                  </a:lnTo>
                  <a:lnTo>
                    <a:pt x="286" y="146"/>
                  </a:lnTo>
                  <a:lnTo>
                    <a:pt x="292" y="150"/>
                  </a:lnTo>
                  <a:lnTo>
                    <a:pt x="302" y="160"/>
                  </a:lnTo>
                  <a:lnTo>
                    <a:pt x="304" y="162"/>
                  </a:lnTo>
                  <a:lnTo>
                    <a:pt x="298" y="166"/>
                  </a:lnTo>
                  <a:lnTo>
                    <a:pt x="296" y="166"/>
                  </a:lnTo>
                  <a:lnTo>
                    <a:pt x="296" y="162"/>
                  </a:lnTo>
                  <a:lnTo>
                    <a:pt x="286" y="154"/>
                  </a:lnTo>
                  <a:lnTo>
                    <a:pt x="284" y="152"/>
                  </a:lnTo>
                  <a:lnTo>
                    <a:pt x="282" y="152"/>
                  </a:lnTo>
                  <a:lnTo>
                    <a:pt x="278" y="152"/>
                  </a:lnTo>
                  <a:lnTo>
                    <a:pt x="276" y="152"/>
                  </a:lnTo>
                  <a:lnTo>
                    <a:pt x="274" y="150"/>
                  </a:lnTo>
                  <a:lnTo>
                    <a:pt x="272" y="150"/>
                  </a:lnTo>
                  <a:lnTo>
                    <a:pt x="270" y="148"/>
                  </a:lnTo>
                  <a:lnTo>
                    <a:pt x="268" y="146"/>
                  </a:lnTo>
                  <a:lnTo>
                    <a:pt x="266" y="146"/>
                  </a:lnTo>
                  <a:lnTo>
                    <a:pt x="262" y="146"/>
                  </a:lnTo>
                  <a:lnTo>
                    <a:pt x="254" y="150"/>
                  </a:lnTo>
                  <a:lnTo>
                    <a:pt x="254" y="152"/>
                  </a:lnTo>
                  <a:lnTo>
                    <a:pt x="252" y="154"/>
                  </a:lnTo>
                  <a:lnTo>
                    <a:pt x="254" y="158"/>
                  </a:lnTo>
                  <a:lnTo>
                    <a:pt x="256" y="160"/>
                  </a:lnTo>
                  <a:lnTo>
                    <a:pt x="260" y="164"/>
                  </a:lnTo>
                  <a:lnTo>
                    <a:pt x="266" y="164"/>
                  </a:lnTo>
                  <a:lnTo>
                    <a:pt x="270" y="166"/>
                  </a:lnTo>
                  <a:lnTo>
                    <a:pt x="274" y="168"/>
                  </a:lnTo>
                  <a:lnTo>
                    <a:pt x="276" y="170"/>
                  </a:lnTo>
                  <a:lnTo>
                    <a:pt x="278" y="178"/>
                  </a:lnTo>
                  <a:lnTo>
                    <a:pt x="276" y="184"/>
                  </a:lnTo>
                  <a:lnTo>
                    <a:pt x="274" y="186"/>
                  </a:lnTo>
                  <a:lnTo>
                    <a:pt x="272" y="186"/>
                  </a:lnTo>
                  <a:lnTo>
                    <a:pt x="270" y="182"/>
                  </a:lnTo>
                  <a:lnTo>
                    <a:pt x="264" y="178"/>
                  </a:lnTo>
                  <a:lnTo>
                    <a:pt x="262" y="174"/>
                  </a:lnTo>
                  <a:lnTo>
                    <a:pt x="260" y="170"/>
                  </a:lnTo>
                  <a:lnTo>
                    <a:pt x="256" y="166"/>
                  </a:lnTo>
                  <a:lnTo>
                    <a:pt x="254" y="164"/>
                  </a:lnTo>
                  <a:lnTo>
                    <a:pt x="252" y="162"/>
                  </a:lnTo>
                  <a:lnTo>
                    <a:pt x="250" y="162"/>
                  </a:lnTo>
                  <a:lnTo>
                    <a:pt x="232" y="158"/>
                  </a:lnTo>
                  <a:lnTo>
                    <a:pt x="230" y="160"/>
                  </a:lnTo>
                  <a:lnTo>
                    <a:pt x="230" y="162"/>
                  </a:lnTo>
                  <a:lnTo>
                    <a:pt x="228" y="166"/>
                  </a:lnTo>
                  <a:lnTo>
                    <a:pt x="232" y="170"/>
                  </a:lnTo>
                  <a:lnTo>
                    <a:pt x="240" y="178"/>
                  </a:lnTo>
                  <a:lnTo>
                    <a:pt x="242" y="180"/>
                  </a:lnTo>
                  <a:lnTo>
                    <a:pt x="250" y="182"/>
                  </a:lnTo>
                  <a:lnTo>
                    <a:pt x="254" y="184"/>
                  </a:lnTo>
                  <a:lnTo>
                    <a:pt x="260" y="188"/>
                  </a:lnTo>
                  <a:lnTo>
                    <a:pt x="258" y="190"/>
                  </a:lnTo>
                  <a:lnTo>
                    <a:pt x="254" y="190"/>
                  </a:lnTo>
                  <a:lnTo>
                    <a:pt x="250" y="190"/>
                  </a:lnTo>
                  <a:lnTo>
                    <a:pt x="238" y="186"/>
                  </a:lnTo>
                  <a:lnTo>
                    <a:pt x="234" y="184"/>
                  </a:lnTo>
                  <a:lnTo>
                    <a:pt x="228" y="174"/>
                  </a:lnTo>
                  <a:lnTo>
                    <a:pt x="228" y="168"/>
                  </a:lnTo>
                  <a:lnTo>
                    <a:pt x="226" y="164"/>
                  </a:lnTo>
                  <a:lnTo>
                    <a:pt x="226" y="162"/>
                  </a:lnTo>
                  <a:lnTo>
                    <a:pt x="224" y="162"/>
                  </a:lnTo>
                  <a:lnTo>
                    <a:pt x="218" y="160"/>
                  </a:lnTo>
                  <a:lnTo>
                    <a:pt x="212" y="158"/>
                  </a:lnTo>
                  <a:lnTo>
                    <a:pt x="196" y="150"/>
                  </a:lnTo>
                  <a:lnTo>
                    <a:pt x="192" y="144"/>
                  </a:lnTo>
                  <a:lnTo>
                    <a:pt x="194" y="140"/>
                  </a:lnTo>
                  <a:lnTo>
                    <a:pt x="196" y="140"/>
                  </a:lnTo>
                  <a:lnTo>
                    <a:pt x="198" y="140"/>
                  </a:lnTo>
                  <a:lnTo>
                    <a:pt x="200" y="136"/>
                  </a:lnTo>
                  <a:lnTo>
                    <a:pt x="198" y="130"/>
                  </a:lnTo>
                  <a:lnTo>
                    <a:pt x="194" y="128"/>
                  </a:lnTo>
                  <a:lnTo>
                    <a:pt x="192" y="130"/>
                  </a:lnTo>
                  <a:lnTo>
                    <a:pt x="192" y="132"/>
                  </a:lnTo>
                  <a:lnTo>
                    <a:pt x="190" y="136"/>
                  </a:lnTo>
                  <a:lnTo>
                    <a:pt x="182" y="140"/>
                  </a:lnTo>
                  <a:lnTo>
                    <a:pt x="178" y="142"/>
                  </a:lnTo>
                  <a:lnTo>
                    <a:pt x="174" y="146"/>
                  </a:lnTo>
                  <a:lnTo>
                    <a:pt x="176" y="152"/>
                  </a:lnTo>
                  <a:lnTo>
                    <a:pt x="178" y="154"/>
                  </a:lnTo>
                  <a:lnTo>
                    <a:pt x="178" y="164"/>
                  </a:lnTo>
                  <a:lnTo>
                    <a:pt x="174" y="176"/>
                  </a:lnTo>
                  <a:lnTo>
                    <a:pt x="176" y="184"/>
                  </a:lnTo>
                  <a:lnTo>
                    <a:pt x="178" y="188"/>
                  </a:lnTo>
                  <a:lnTo>
                    <a:pt x="180" y="190"/>
                  </a:lnTo>
                  <a:lnTo>
                    <a:pt x="186" y="192"/>
                  </a:lnTo>
                  <a:lnTo>
                    <a:pt x="198" y="208"/>
                  </a:lnTo>
                  <a:lnTo>
                    <a:pt x="200" y="210"/>
                  </a:lnTo>
                  <a:lnTo>
                    <a:pt x="200" y="212"/>
                  </a:lnTo>
                  <a:lnTo>
                    <a:pt x="204" y="222"/>
                  </a:lnTo>
                  <a:lnTo>
                    <a:pt x="204" y="224"/>
                  </a:lnTo>
                  <a:lnTo>
                    <a:pt x="206" y="226"/>
                  </a:lnTo>
                  <a:lnTo>
                    <a:pt x="214" y="230"/>
                  </a:lnTo>
                  <a:lnTo>
                    <a:pt x="220" y="236"/>
                  </a:lnTo>
                  <a:lnTo>
                    <a:pt x="222" y="236"/>
                  </a:lnTo>
                  <a:lnTo>
                    <a:pt x="232" y="246"/>
                  </a:lnTo>
                  <a:lnTo>
                    <a:pt x="232" y="248"/>
                  </a:lnTo>
                  <a:lnTo>
                    <a:pt x="238" y="256"/>
                  </a:lnTo>
                  <a:lnTo>
                    <a:pt x="238" y="260"/>
                  </a:lnTo>
                  <a:lnTo>
                    <a:pt x="238" y="262"/>
                  </a:lnTo>
                  <a:lnTo>
                    <a:pt x="230" y="268"/>
                  </a:lnTo>
                  <a:lnTo>
                    <a:pt x="226" y="268"/>
                  </a:lnTo>
                  <a:lnTo>
                    <a:pt x="224" y="270"/>
                  </a:lnTo>
                  <a:lnTo>
                    <a:pt x="222" y="270"/>
                  </a:lnTo>
                  <a:lnTo>
                    <a:pt x="218" y="268"/>
                  </a:lnTo>
                  <a:lnTo>
                    <a:pt x="220" y="264"/>
                  </a:lnTo>
                  <a:lnTo>
                    <a:pt x="222" y="264"/>
                  </a:lnTo>
                  <a:lnTo>
                    <a:pt x="222" y="268"/>
                  </a:lnTo>
                  <a:lnTo>
                    <a:pt x="226" y="264"/>
                  </a:lnTo>
                  <a:lnTo>
                    <a:pt x="230" y="262"/>
                  </a:lnTo>
                  <a:lnTo>
                    <a:pt x="230" y="260"/>
                  </a:lnTo>
                  <a:lnTo>
                    <a:pt x="226" y="254"/>
                  </a:lnTo>
                  <a:lnTo>
                    <a:pt x="226" y="252"/>
                  </a:lnTo>
                  <a:lnTo>
                    <a:pt x="222" y="250"/>
                  </a:lnTo>
                  <a:lnTo>
                    <a:pt x="212" y="246"/>
                  </a:lnTo>
                  <a:lnTo>
                    <a:pt x="208" y="246"/>
                  </a:lnTo>
                  <a:lnTo>
                    <a:pt x="200" y="256"/>
                  </a:lnTo>
                  <a:lnTo>
                    <a:pt x="200" y="260"/>
                  </a:lnTo>
                  <a:lnTo>
                    <a:pt x="202" y="262"/>
                  </a:lnTo>
                  <a:lnTo>
                    <a:pt x="204" y="264"/>
                  </a:lnTo>
                  <a:lnTo>
                    <a:pt x="208" y="264"/>
                  </a:lnTo>
                  <a:lnTo>
                    <a:pt x="212" y="268"/>
                  </a:lnTo>
                  <a:lnTo>
                    <a:pt x="214" y="272"/>
                  </a:lnTo>
                  <a:lnTo>
                    <a:pt x="214" y="274"/>
                  </a:lnTo>
                  <a:lnTo>
                    <a:pt x="218" y="274"/>
                  </a:lnTo>
                  <a:lnTo>
                    <a:pt x="220" y="274"/>
                  </a:lnTo>
                  <a:lnTo>
                    <a:pt x="218" y="276"/>
                  </a:lnTo>
                  <a:lnTo>
                    <a:pt x="216" y="280"/>
                  </a:lnTo>
                  <a:lnTo>
                    <a:pt x="212" y="284"/>
                  </a:lnTo>
                  <a:lnTo>
                    <a:pt x="204" y="290"/>
                  </a:lnTo>
                  <a:lnTo>
                    <a:pt x="198" y="292"/>
                  </a:lnTo>
                  <a:lnTo>
                    <a:pt x="194" y="292"/>
                  </a:lnTo>
                  <a:lnTo>
                    <a:pt x="192" y="290"/>
                  </a:lnTo>
                  <a:lnTo>
                    <a:pt x="188" y="290"/>
                  </a:lnTo>
                  <a:lnTo>
                    <a:pt x="182" y="294"/>
                  </a:lnTo>
                  <a:lnTo>
                    <a:pt x="184" y="296"/>
                  </a:lnTo>
                  <a:lnTo>
                    <a:pt x="188" y="298"/>
                  </a:lnTo>
                  <a:lnTo>
                    <a:pt x="190" y="298"/>
                  </a:lnTo>
                  <a:lnTo>
                    <a:pt x="192" y="296"/>
                  </a:lnTo>
                  <a:lnTo>
                    <a:pt x="196" y="296"/>
                  </a:lnTo>
                  <a:lnTo>
                    <a:pt x="200" y="300"/>
                  </a:lnTo>
                  <a:lnTo>
                    <a:pt x="214" y="302"/>
                  </a:lnTo>
                  <a:lnTo>
                    <a:pt x="222" y="306"/>
                  </a:lnTo>
                  <a:lnTo>
                    <a:pt x="226" y="310"/>
                  </a:lnTo>
                  <a:lnTo>
                    <a:pt x="226" y="312"/>
                  </a:lnTo>
                  <a:lnTo>
                    <a:pt x="228" y="310"/>
                  </a:lnTo>
                  <a:lnTo>
                    <a:pt x="232" y="308"/>
                  </a:lnTo>
                  <a:lnTo>
                    <a:pt x="238" y="308"/>
                  </a:lnTo>
                  <a:lnTo>
                    <a:pt x="242" y="308"/>
                  </a:lnTo>
                  <a:lnTo>
                    <a:pt x="242" y="312"/>
                  </a:lnTo>
                  <a:lnTo>
                    <a:pt x="242" y="316"/>
                  </a:lnTo>
                  <a:lnTo>
                    <a:pt x="244" y="318"/>
                  </a:lnTo>
                  <a:lnTo>
                    <a:pt x="248" y="320"/>
                  </a:lnTo>
                  <a:lnTo>
                    <a:pt x="254" y="322"/>
                  </a:lnTo>
                  <a:lnTo>
                    <a:pt x="258" y="320"/>
                  </a:lnTo>
                  <a:lnTo>
                    <a:pt x="262" y="324"/>
                  </a:lnTo>
                  <a:lnTo>
                    <a:pt x="264" y="326"/>
                  </a:lnTo>
                  <a:lnTo>
                    <a:pt x="268" y="332"/>
                  </a:lnTo>
                  <a:lnTo>
                    <a:pt x="270" y="334"/>
                  </a:lnTo>
                  <a:lnTo>
                    <a:pt x="280" y="334"/>
                  </a:lnTo>
                  <a:lnTo>
                    <a:pt x="282" y="334"/>
                  </a:lnTo>
                  <a:lnTo>
                    <a:pt x="288" y="336"/>
                  </a:lnTo>
                  <a:lnTo>
                    <a:pt x="290" y="338"/>
                  </a:lnTo>
                  <a:lnTo>
                    <a:pt x="300" y="344"/>
                  </a:lnTo>
                  <a:lnTo>
                    <a:pt x="300" y="348"/>
                  </a:lnTo>
                  <a:lnTo>
                    <a:pt x="296" y="356"/>
                  </a:lnTo>
                  <a:lnTo>
                    <a:pt x="298" y="366"/>
                  </a:lnTo>
                  <a:lnTo>
                    <a:pt x="300" y="374"/>
                  </a:lnTo>
                  <a:lnTo>
                    <a:pt x="302" y="376"/>
                  </a:lnTo>
                  <a:lnTo>
                    <a:pt x="304" y="380"/>
                  </a:lnTo>
                  <a:lnTo>
                    <a:pt x="304" y="382"/>
                  </a:lnTo>
                  <a:lnTo>
                    <a:pt x="304" y="392"/>
                  </a:lnTo>
                  <a:lnTo>
                    <a:pt x="302" y="394"/>
                  </a:lnTo>
                  <a:lnTo>
                    <a:pt x="296" y="392"/>
                  </a:lnTo>
                  <a:lnTo>
                    <a:pt x="294" y="388"/>
                  </a:lnTo>
                  <a:lnTo>
                    <a:pt x="292" y="384"/>
                  </a:lnTo>
                  <a:lnTo>
                    <a:pt x="290" y="384"/>
                  </a:lnTo>
                  <a:lnTo>
                    <a:pt x="288" y="382"/>
                  </a:lnTo>
                  <a:lnTo>
                    <a:pt x="284" y="380"/>
                  </a:lnTo>
                  <a:lnTo>
                    <a:pt x="282" y="380"/>
                  </a:lnTo>
                  <a:lnTo>
                    <a:pt x="264" y="368"/>
                  </a:lnTo>
                  <a:lnTo>
                    <a:pt x="266" y="366"/>
                  </a:lnTo>
                  <a:lnTo>
                    <a:pt x="266" y="364"/>
                  </a:lnTo>
                  <a:lnTo>
                    <a:pt x="266" y="362"/>
                  </a:lnTo>
                  <a:lnTo>
                    <a:pt x="260" y="362"/>
                  </a:lnTo>
                  <a:lnTo>
                    <a:pt x="256" y="364"/>
                  </a:lnTo>
                  <a:lnTo>
                    <a:pt x="254" y="366"/>
                  </a:lnTo>
                  <a:lnTo>
                    <a:pt x="254" y="368"/>
                  </a:lnTo>
                  <a:lnTo>
                    <a:pt x="248" y="370"/>
                  </a:lnTo>
                  <a:lnTo>
                    <a:pt x="242" y="370"/>
                  </a:lnTo>
                  <a:lnTo>
                    <a:pt x="238" y="372"/>
                  </a:lnTo>
                  <a:lnTo>
                    <a:pt x="236" y="376"/>
                  </a:lnTo>
                  <a:lnTo>
                    <a:pt x="234" y="376"/>
                  </a:lnTo>
                  <a:lnTo>
                    <a:pt x="232" y="376"/>
                  </a:lnTo>
                  <a:lnTo>
                    <a:pt x="230" y="378"/>
                  </a:lnTo>
                  <a:lnTo>
                    <a:pt x="226" y="376"/>
                  </a:lnTo>
                  <a:lnTo>
                    <a:pt x="224" y="380"/>
                  </a:lnTo>
                  <a:lnTo>
                    <a:pt x="226" y="384"/>
                  </a:lnTo>
                  <a:lnTo>
                    <a:pt x="230" y="384"/>
                  </a:lnTo>
                  <a:lnTo>
                    <a:pt x="232" y="384"/>
                  </a:lnTo>
                  <a:lnTo>
                    <a:pt x="236" y="392"/>
                  </a:lnTo>
                  <a:lnTo>
                    <a:pt x="238" y="404"/>
                  </a:lnTo>
                  <a:lnTo>
                    <a:pt x="242" y="406"/>
                  </a:lnTo>
                  <a:lnTo>
                    <a:pt x="248" y="408"/>
                  </a:lnTo>
                  <a:lnTo>
                    <a:pt x="252" y="410"/>
                  </a:lnTo>
                  <a:lnTo>
                    <a:pt x="254" y="408"/>
                  </a:lnTo>
                  <a:lnTo>
                    <a:pt x="252" y="404"/>
                  </a:lnTo>
                  <a:lnTo>
                    <a:pt x="250" y="404"/>
                  </a:lnTo>
                  <a:lnTo>
                    <a:pt x="256" y="404"/>
                  </a:lnTo>
                  <a:lnTo>
                    <a:pt x="258" y="410"/>
                  </a:lnTo>
                  <a:lnTo>
                    <a:pt x="260" y="412"/>
                  </a:lnTo>
                  <a:lnTo>
                    <a:pt x="264" y="414"/>
                  </a:lnTo>
                  <a:lnTo>
                    <a:pt x="266" y="416"/>
                  </a:lnTo>
                  <a:lnTo>
                    <a:pt x="266" y="418"/>
                  </a:lnTo>
                  <a:lnTo>
                    <a:pt x="266" y="420"/>
                  </a:lnTo>
                  <a:lnTo>
                    <a:pt x="258" y="420"/>
                  </a:lnTo>
                  <a:lnTo>
                    <a:pt x="254" y="420"/>
                  </a:lnTo>
                  <a:lnTo>
                    <a:pt x="248" y="422"/>
                  </a:lnTo>
                  <a:lnTo>
                    <a:pt x="246" y="424"/>
                  </a:lnTo>
                  <a:lnTo>
                    <a:pt x="244" y="432"/>
                  </a:lnTo>
                  <a:lnTo>
                    <a:pt x="242" y="434"/>
                  </a:lnTo>
                  <a:lnTo>
                    <a:pt x="234" y="428"/>
                  </a:lnTo>
                  <a:lnTo>
                    <a:pt x="234" y="424"/>
                  </a:lnTo>
                  <a:lnTo>
                    <a:pt x="236" y="424"/>
                  </a:lnTo>
                  <a:lnTo>
                    <a:pt x="238" y="420"/>
                  </a:lnTo>
                  <a:lnTo>
                    <a:pt x="226" y="414"/>
                  </a:lnTo>
                  <a:lnTo>
                    <a:pt x="222" y="412"/>
                  </a:lnTo>
                  <a:lnTo>
                    <a:pt x="212" y="408"/>
                  </a:lnTo>
                  <a:lnTo>
                    <a:pt x="208" y="410"/>
                  </a:lnTo>
                  <a:lnTo>
                    <a:pt x="208" y="412"/>
                  </a:lnTo>
                  <a:lnTo>
                    <a:pt x="208" y="418"/>
                  </a:lnTo>
                  <a:lnTo>
                    <a:pt x="212" y="426"/>
                  </a:lnTo>
                  <a:lnTo>
                    <a:pt x="216" y="432"/>
                  </a:lnTo>
                  <a:lnTo>
                    <a:pt x="224" y="446"/>
                  </a:lnTo>
                  <a:lnTo>
                    <a:pt x="224" y="450"/>
                  </a:lnTo>
                  <a:lnTo>
                    <a:pt x="224" y="452"/>
                  </a:lnTo>
                  <a:lnTo>
                    <a:pt x="226" y="452"/>
                  </a:lnTo>
                  <a:lnTo>
                    <a:pt x="226" y="450"/>
                  </a:lnTo>
                  <a:lnTo>
                    <a:pt x="228" y="450"/>
                  </a:lnTo>
                  <a:lnTo>
                    <a:pt x="232" y="458"/>
                  </a:lnTo>
                  <a:lnTo>
                    <a:pt x="234" y="462"/>
                  </a:lnTo>
                  <a:lnTo>
                    <a:pt x="234" y="466"/>
                  </a:lnTo>
                  <a:lnTo>
                    <a:pt x="238" y="474"/>
                  </a:lnTo>
                  <a:lnTo>
                    <a:pt x="240" y="478"/>
                  </a:lnTo>
                  <a:lnTo>
                    <a:pt x="242" y="482"/>
                  </a:lnTo>
                  <a:lnTo>
                    <a:pt x="240" y="484"/>
                  </a:lnTo>
                  <a:lnTo>
                    <a:pt x="238" y="484"/>
                  </a:lnTo>
                  <a:lnTo>
                    <a:pt x="236" y="486"/>
                  </a:lnTo>
                  <a:lnTo>
                    <a:pt x="238" y="492"/>
                  </a:lnTo>
                  <a:lnTo>
                    <a:pt x="238" y="494"/>
                  </a:lnTo>
                  <a:lnTo>
                    <a:pt x="242" y="500"/>
                  </a:lnTo>
                  <a:lnTo>
                    <a:pt x="244" y="500"/>
                  </a:lnTo>
                  <a:lnTo>
                    <a:pt x="252" y="512"/>
                  </a:lnTo>
                  <a:lnTo>
                    <a:pt x="246" y="512"/>
                  </a:lnTo>
                  <a:lnTo>
                    <a:pt x="244" y="512"/>
                  </a:lnTo>
                  <a:lnTo>
                    <a:pt x="234" y="506"/>
                  </a:lnTo>
                  <a:lnTo>
                    <a:pt x="232" y="504"/>
                  </a:lnTo>
                  <a:lnTo>
                    <a:pt x="226" y="494"/>
                  </a:lnTo>
                  <a:lnTo>
                    <a:pt x="218" y="482"/>
                  </a:lnTo>
                  <a:lnTo>
                    <a:pt x="214" y="482"/>
                  </a:lnTo>
                  <a:lnTo>
                    <a:pt x="206" y="482"/>
                  </a:lnTo>
                  <a:lnTo>
                    <a:pt x="204" y="484"/>
                  </a:lnTo>
                  <a:lnTo>
                    <a:pt x="202" y="486"/>
                  </a:lnTo>
                  <a:lnTo>
                    <a:pt x="200" y="494"/>
                  </a:lnTo>
                  <a:lnTo>
                    <a:pt x="196" y="502"/>
                  </a:lnTo>
                  <a:lnTo>
                    <a:pt x="198" y="508"/>
                  </a:lnTo>
                  <a:lnTo>
                    <a:pt x="200" y="512"/>
                  </a:lnTo>
                  <a:lnTo>
                    <a:pt x="200" y="516"/>
                  </a:lnTo>
                  <a:lnTo>
                    <a:pt x="200" y="522"/>
                  </a:lnTo>
                  <a:lnTo>
                    <a:pt x="198" y="520"/>
                  </a:lnTo>
                  <a:lnTo>
                    <a:pt x="192" y="514"/>
                  </a:lnTo>
                  <a:lnTo>
                    <a:pt x="190" y="508"/>
                  </a:lnTo>
                  <a:lnTo>
                    <a:pt x="188" y="494"/>
                  </a:lnTo>
                  <a:lnTo>
                    <a:pt x="182" y="482"/>
                  </a:lnTo>
                  <a:lnTo>
                    <a:pt x="178" y="478"/>
                  </a:lnTo>
                  <a:lnTo>
                    <a:pt x="174" y="476"/>
                  </a:lnTo>
                  <a:lnTo>
                    <a:pt x="170" y="472"/>
                  </a:lnTo>
                  <a:lnTo>
                    <a:pt x="170" y="466"/>
                  </a:lnTo>
                  <a:lnTo>
                    <a:pt x="168" y="464"/>
                  </a:lnTo>
                  <a:lnTo>
                    <a:pt x="164" y="466"/>
                  </a:lnTo>
                  <a:lnTo>
                    <a:pt x="160" y="466"/>
                  </a:lnTo>
                  <a:lnTo>
                    <a:pt x="158" y="468"/>
                  </a:lnTo>
                  <a:lnTo>
                    <a:pt x="156" y="470"/>
                  </a:lnTo>
                  <a:lnTo>
                    <a:pt x="154" y="470"/>
                  </a:lnTo>
                  <a:lnTo>
                    <a:pt x="154" y="482"/>
                  </a:lnTo>
                  <a:lnTo>
                    <a:pt x="156" y="486"/>
                  </a:lnTo>
                  <a:lnTo>
                    <a:pt x="158" y="486"/>
                  </a:lnTo>
                  <a:lnTo>
                    <a:pt x="156" y="490"/>
                  </a:lnTo>
                  <a:lnTo>
                    <a:pt x="152" y="494"/>
                  </a:lnTo>
                  <a:lnTo>
                    <a:pt x="150" y="490"/>
                  </a:lnTo>
                  <a:lnTo>
                    <a:pt x="148" y="488"/>
                  </a:lnTo>
                  <a:lnTo>
                    <a:pt x="144" y="488"/>
                  </a:lnTo>
                  <a:lnTo>
                    <a:pt x="138" y="486"/>
                  </a:lnTo>
                  <a:lnTo>
                    <a:pt x="138" y="484"/>
                  </a:lnTo>
                  <a:lnTo>
                    <a:pt x="136" y="480"/>
                  </a:lnTo>
                  <a:lnTo>
                    <a:pt x="138" y="476"/>
                  </a:lnTo>
                  <a:lnTo>
                    <a:pt x="138" y="474"/>
                  </a:lnTo>
                  <a:lnTo>
                    <a:pt x="132" y="470"/>
                  </a:lnTo>
                  <a:lnTo>
                    <a:pt x="130" y="468"/>
                  </a:lnTo>
                  <a:lnTo>
                    <a:pt x="128" y="464"/>
                  </a:lnTo>
                  <a:lnTo>
                    <a:pt x="126" y="456"/>
                  </a:lnTo>
                  <a:lnTo>
                    <a:pt x="126" y="452"/>
                  </a:lnTo>
                  <a:lnTo>
                    <a:pt x="128" y="450"/>
                  </a:lnTo>
                  <a:lnTo>
                    <a:pt x="130" y="448"/>
                  </a:lnTo>
                  <a:lnTo>
                    <a:pt x="132" y="446"/>
                  </a:lnTo>
                  <a:lnTo>
                    <a:pt x="134" y="442"/>
                  </a:lnTo>
                  <a:lnTo>
                    <a:pt x="132" y="436"/>
                  </a:lnTo>
                  <a:lnTo>
                    <a:pt x="130" y="432"/>
                  </a:lnTo>
                  <a:lnTo>
                    <a:pt x="130" y="430"/>
                  </a:lnTo>
                  <a:lnTo>
                    <a:pt x="126" y="424"/>
                  </a:lnTo>
                  <a:lnTo>
                    <a:pt x="124" y="422"/>
                  </a:lnTo>
                  <a:lnTo>
                    <a:pt x="122" y="420"/>
                  </a:lnTo>
                  <a:lnTo>
                    <a:pt x="120" y="418"/>
                  </a:lnTo>
                  <a:lnTo>
                    <a:pt x="110" y="412"/>
                  </a:lnTo>
                  <a:lnTo>
                    <a:pt x="102" y="400"/>
                  </a:lnTo>
                  <a:lnTo>
                    <a:pt x="96" y="398"/>
                  </a:lnTo>
                  <a:lnTo>
                    <a:pt x="94" y="396"/>
                  </a:lnTo>
                  <a:lnTo>
                    <a:pt x="90" y="396"/>
                  </a:lnTo>
                  <a:lnTo>
                    <a:pt x="88" y="396"/>
                  </a:lnTo>
                  <a:lnTo>
                    <a:pt x="88" y="392"/>
                  </a:lnTo>
                  <a:lnTo>
                    <a:pt x="90" y="388"/>
                  </a:lnTo>
                  <a:lnTo>
                    <a:pt x="94" y="388"/>
                  </a:lnTo>
                  <a:lnTo>
                    <a:pt x="94" y="386"/>
                  </a:lnTo>
                  <a:lnTo>
                    <a:pt x="100" y="380"/>
                  </a:lnTo>
                  <a:lnTo>
                    <a:pt x="102" y="378"/>
                  </a:lnTo>
                  <a:lnTo>
                    <a:pt x="106" y="370"/>
                  </a:lnTo>
                  <a:lnTo>
                    <a:pt x="106" y="366"/>
                  </a:lnTo>
                  <a:lnTo>
                    <a:pt x="106" y="360"/>
                  </a:lnTo>
                  <a:lnTo>
                    <a:pt x="110" y="362"/>
                  </a:lnTo>
                  <a:lnTo>
                    <a:pt x="112" y="362"/>
                  </a:lnTo>
                  <a:lnTo>
                    <a:pt x="116" y="364"/>
                  </a:lnTo>
                  <a:lnTo>
                    <a:pt x="122" y="364"/>
                  </a:lnTo>
                  <a:lnTo>
                    <a:pt x="124" y="364"/>
                  </a:lnTo>
                  <a:lnTo>
                    <a:pt x="126" y="362"/>
                  </a:lnTo>
                  <a:lnTo>
                    <a:pt x="130" y="358"/>
                  </a:lnTo>
                  <a:lnTo>
                    <a:pt x="130" y="354"/>
                  </a:lnTo>
                  <a:lnTo>
                    <a:pt x="130" y="352"/>
                  </a:lnTo>
                  <a:lnTo>
                    <a:pt x="134" y="350"/>
                  </a:lnTo>
                  <a:lnTo>
                    <a:pt x="138" y="346"/>
                  </a:lnTo>
                  <a:lnTo>
                    <a:pt x="146" y="346"/>
                  </a:lnTo>
                  <a:lnTo>
                    <a:pt x="152" y="348"/>
                  </a:lnTo>
                  <a:lnTo>
                    <a:pt x="152" y="350"/>
                  </a:lnTo>
                  <a:lnTo>
                    <a:pt x="162" y="356"/>
                  </a:lnTo>
                  <a:lnTo>
                    <a:pt x="166" y="358"/>
                  </a:lnTo>
                  <a:lnTo>
                    <a:pt x="178" y="360"/>
                  </a:lnTo>
                  <a:lnTo>
                    <a:pt x="184" y="362"/>
                  </a:lnTo>
                  <a:lnTo>
                    <a:pt x="190" y="362"/>
                  </a:lnTo>
                  <a:lnTo>
                    <a:pt x="198" y="366"/>
                  </a:lnTo>
                  <a:lnTo>
                    <a:pt x="204" y="368"/>
                  </a:lnTo>
                  <a:lnTo>
                    <a:pt x="206" y="372"/>
                  </a:lnTo>
                  <a:lnTo>
                    <a:pt x="210" y="374"/>
                  </a:lnTo>
                  <a:lnTo>
                    <a:pt x="214" y="376"/>
                  </a:lnTo>
                  <a:lnTo>
                    <a:pt x="218" y="376"/>
                  </a:lnTo>
                  <a:lnTo>
                    <a:pt x="222" y="376"/>
                  </a:lnTo>
                  <a:lnTo>
                    <a:pt x="222" y="372"/>
                  </a:lnTo>
                  <a:lnTo>
                    <a:pt x="220" y="370"/>
                  </a:lnTo>
                  <a:lnTo>
                    <a:pt x="216" y="368"/>
                  </a:lnTo>
                  <a:lnTo>
                    <a:pt x="214" y="368"/>
                  </a:lnTo>
                  <a:lnTo>
                    <a:pt x="214" y="366"/>
                  </a:lnTo>
                  <a:lnTo>
                    <a:pt x="220" y="364"/>
                  </a:lnTo>
                  <a:lnTo>
                    <a:pt x="224" y="364"/>
                  </a:lnTo>
                  <a:lnTo>
                    <a:pt x="226" y="364"/>
                  </a:lnTo>
                  <a:lnTo>
                    <a:pt x="228" y="364"/>
                  </a:lnTo>
                  <a:lnTo>
                    <a:pt x="230" y="364"/>
                  </a:lnTo>
                  <a:lnTo>
                    <a:pt x="232" y="364"/>
                  </a:lnTo>
                  <a:lnTo>
                    <a:pt x="236" y="362"/>
                  </a:lnTo>
                  <a:lnTo>
                    <a:pt x="238" y="360"/>
                  </a:lnTo>
                  <a:lnTo>
                    <a:pt x="238" y="354"/>
                  </a:lnTo>
                  <a:lnTo>
                    <a:pt x="230" y="350"/>
                  </a:lnTo>
                  <a:lnTo>
                    <a:pt x="224" y="350"/>
                  </a:lnTo>
                  <a:lnTo>
                    <a:pt x="220" y="350"/>
                  </a:lnTo>
                  <a:lnTo>
                    <a:pt x="218" y="350"/>
                  </a:lnTo>
                  <a:lnTo>
                    <a:pt x="218" y="354"/>
                  </a:lnTo>
                  <a:lnTo>
                    <a:pt x="218" y="352"/>
                  </a:lnTo>
                  <a:lnTo>
                    <a:pt x="210" y="350"/>
                  </a:lnTo>
                  <a:lnTo>
                    <a:pt x="206" y="350"/>
                  </a:lnTo>
                  <a:lnTo>
                    <a:pt x="198" y="342"/>
                  </a:lnTo>
                  <a:lnTo>
                    <a:pt x="192" y="342"/>
                  </a:lnTo>
                  <a:lnTo>
                    <a:pt x="188" y="342"/>
                  </a:lnTo>
                  <a:lnTo>
                    <a:pt x="186" y="338"/>
                  </a:lnTo>
                  <a:lnTo>
                    <a:pt x="182" y="334"/>
                  </a:lnTo>
                  <a:lnTo>
                    <a:pt x="178" y="332"/>
                  </a:lnTo>
                  <a:lnTo>
                    <a:pt x="176" y="338"/>
                  </a:lnTo>
                  <a:lnTo>
                    <a:pt x="178" y="342"/>
                  </a:lnTo>
                  <a:lnTo>
                    <a:pt x="176" y="342"/>
                  </a:lnTo>
                  <a:lnTo>
                    <a:pt x="164" y="344"/>
                  </a:lnTo>
                  <a:lnTo>
                    <a:pt x="162" y="344"/>
                  </a:lnTo>
                  <a:lnTo>
                    <a:pt x="158" y="342"/>
                  </a:lnTo>
                  <a:lnTo>
                    <a:pt x="152" y="340"/>
                  </a:lnTo>
                  <a:lnTo>
                    <a:pt x="148" y="338"/>
                  </a:lnTo>
                  <a:lnTo>
                    <a:pt x="144" y="338"/>
                  </a:lnTo>
                  <a:lnTo>
                    <a:pt x="128" y="346"/>
                  </a:lnTo>
                  <a:lnTo>
                    <a:pt x="124" y="346"/>
                  </a:lnTo>
                  <a:lnTo>
                    <a:pt x="122" y="346"/>
                  </a:lnTo>
                  <a:lnTo>
                    <a:pt x="120" y="346"/>
                  </a:lnTo>
                  <a:lnTo>
                    <a:pt x="116" y="350"/>
                  </a:lnTo>
                  <a:lnTo>
                    <a:pt x="110" y="346"/>
                  </a:lnTo>
                  <a:lnTo>
                    <a:pt x="102" y="340"/>
                  </a:lnTo>
                  <a:lnTo>
                    <a:pt x="102" y="344"/>
                  </a:lnTo>
                  <a:lnTo>
                    <a:pt x="96" y="350"/>
                  </a:lnTo>
                  <a:lnTo>
                    <a:pt x="94" y="350"/>
                  </a:lnTo>
                  <a:lnTo>
                    <a:pt x="90" y="354"/>
                  </a:lnTo>
                  <a:lnTo>
                    <a:pt x="86" y="348"/>
                  </a:lnTo>
                  <a:lnTo>
                    <a:pt x="86" y="346"/>
                  </a:lnTo>
                  <a:lnTo>
                    <a:pt x="84" y="342"/>
                  </a:lnTo>
                  <a:lnTo>
                    <a:pt x="84" y="340"/>
                  </a:lnTo>
                  <a:lnTo>
                    <a:pt x="82" y="334"/>
                  </a:lnTo>
                  <a:lnTo>
                    <a:pt x="74" y="320"/>
                  </a:lnTo>
                  <a:lnTo>
                    <a:pt x="68" y="316"/>
                  </a:lnTo>
                  <a:lnTo>
                    <a:pt x="60" y="314"/>
                  </a:lnTo>
                  <a:lnTo>
                    <a:pt x="58" y="314"/>
                  </a:lnTo>
                  <a:lnTo>
                    <a:pt x="56" y="310"/>
                  </a:lnTo>
                  <a:lnTo>
                    <a:pt x="56" y="300"/>
                  </a:lnTo>
                  <a:lnTo>
                    <a:pt x="58" y="298"/>
                  </a:lnTo>
                  <a:lnTo>
                    <a:pt x="72" y="296"/>
                  </a:lnTo>
                  <a:lnTo>
                    <a:pt x="76" y="298"/>
                  </a:lnTo>
                  <a:lnTo>
                    <a:pt x="76" y="300"/>
                  </a:lnTo>
                  <a:lnTo>
                    <a:pt x="78" y="302"/>
                  </a:lnTo>
                  <a:lnTo>
                    <a:pt x="80" y="302"/>
                  </a:lnTo>
                  <a:lnTo>
                    <a:pt x="84" y="296"/>
                  </a:lnTo>
                  <a:lnTo>
                    <a:pt x="86" y="290"/>
                  </a:lnTo>
                  <a:lnTo>
                    <a:pt x="84" y="288"/>
                  </a:lnTo>
                  <a:lnTo>
                    <a:pt x="80" y="284"/>
                  </a:lnTo>
                  <a:lnTo>
                    <a:pt x="78" y="28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9" name="Freeform 2681"/>
            <p:cNvSpPr>
              <a:spLocks/>
            </p:cNvSpPr>
            <p:nvPr/>
          </p:nvSpPr>
          <p:spPr bwMode="auto">
            <a:xfrm>
              <a:off x="3300" y="3070"/>
              <a:ext cx="18" cy="20"/>
            </a:xfrm>
            <a:custGeom>
              <a:avLst/>
              <a:gdLst/>
              <a:ahLst/>
              <a:cxnLst>
                <a:cxn ang="0">
                  <a:pos x="10" y="20"/>
                </a:cxn>
                <a:cxn ang="0">
                  <a:pos x="6" y="18"/>
                </a:cxn>
                <a:cxn ang="0">
                  <a:pos x="6" y="16"/>
                </a:cxn>
                <a:cxn ang="0">
                  <a:pos x="2" y="16"/>
                </a:cxn>
                <a:cxn ang="0">
                  <a:pos x="0" y="14"/>
                </a:cxn>
                <a:cxn ang="0">
                  <a:pos x="0" y="10"/>
                </a:cxn>
                <a:cxn ang="0">
                  <a:pos x="2" y="8"/>
                </a:cxn>
                <a:cxn ang="0">
                  <a:pos x="2" y="6"/>
                </a:cxn>
                <a:cxn ang="0">
                  <a:pos x="2" y="4"/>
                </a:cxn>
                <a:cxn ang="0">
                  <a:pos x="6" y="2"/>
                </a:cxn>
                <a:cxn ang="0">
                  <a:pos x="6" y="0"/>
                </a:cxn>
                <a:cxn ang="0">
                  <a:pos x="8" y="0"/>
                </a:cxn>
                <a:cxn ang="0">
                  <a:pos x="12" y="0"/>
                </a:cxn>
                <a:cxn ang="0">
                  <a:pos x="14" y="2"/>
                </a:cxn>
                <a:cxn ang="0">
                  <a:pos x="16" y="2"/>
                </a:cxn>
                <a:cxn ang="0">
                  <a:pos x="18" y="4"/>
                </a:cxn>
                <a:cxn ang="0">
                  <a:pos x="18" y="14"/>
                </a:cxn>
                <a:cxn ang="0">
                  <a:pos x="18" y="16"/>
                </a:cxn>
                <a:cxn ang="0">
                  <a:pos x="12" y="18"/>
                </a:cxn>
                <a:cxn ang="0">
                  <a:pos x="10" y="20"/>
                </a:cxn>
              </a:cxnLst>
              <a:rect l="0" t="0" r="r" b="b"/>
              <a:pathLst>
                <a:path w="18" h="20">
                  <a:moveTo>
                    <a:pt x="10" y="20"/>
                  </a:moveTo>
                  <a:lnTo>
                    <a:pt x="6" y="18"/>
                  </a:lnTo>
                  <a:lnTo>
                    <a:pt x="6" y="16"/>
                  </a:lnTo>
                  <a:lnTo>
                    <a:pt x="2" y="16"/>
                  </a:lnTo>
                  <a:lnTo>
                    <a:pt x="0" y="14"/>
                  </a:lnTo>
                  <a:lnTo>
                    <a:pt x="0" y="10"/>
                  </a:lnTo>
                  <a:lnTo>
                    <a:pt x="2" y="8"/>
                  </a:lnTo>
                  <a:lnTo>
                    <a:pt x="2" y="6"/>
                  </a:lnTo>
                  <a:lnTo>
                    <a:pt x="2" y="4"/>
                  </a:lnTo>
                  <a:lnTo>
                    <a:pt x="6" y="2"/>
                  </a:lnTo>
                  <a:lnTo>
                    <a:pt x="6" y="0"/>
                  </a:lnTo>
                  <a:lnTo>
                    <a:pt x="8" y="0"/>
                  </a:lnTo>
                  <a:lnTo>
                    <a:pt x="12" y="0"/>
                  </a:lnTo>
                  <a:lnTo>
                    <a:pt x="14" y="2"/>
                  </a:lnTo>
                  <a:lnTo>
                    <a:pt x="16" y="2"/>
                  </a:lnTo>
                  <a:lnTo>
                    <a:pt x="18" y="4"/>
                  </a:lnTo>
                  <a:lnTo>
                    <a:pt x="18" y="14"/>
                  </a:lnTo>
                  <a:lnTo>
                    <a:pt x="18" y="16"/>
                  </a:lnTo>
                  <a:lnTo>
                    <a:pt x="12" y="18"/>
                  </a:lnTo>
                  <a:lnTo>
                    <a:pt x="10"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0" name="Freeform 2682"/>
            <p:cNvSpPr>
              <a:spLocks/>
            </p:cNvSpPr>
            <p:nvPr/>
          </p:nvSpPr>
          <p:spPr bwMode="auto">
            <a:xfrm>
              <a:off x="3368" y="3088"/>
              <a:ext cx="16" cy="10"/>
            </a:xfrm>
            <a:custGeom>
              <a:avLst/>
              <a:gdLst/>
              <a:ahLst/>
              <a:cxnLst>
                <a:cxn ang="0">
                  <a:pos x="14" y="0"/>
                </a:cxn>
                <a:cxn ang="0">
                  <a:pos x="16" y="2"/>
                </a:cxn>
                <a:cxn ang="0">
                  <a:pos x="16" y="6"/>
                </a:cxn>
                <a:cxn ang="0">
                  <a:pos x="14" y="8"/>
                </a:cxn>
                <a:cxn ang="0">
                  <a:pos x="12" y="10"/>
                </a:cxn>
                <a:cxn ang="0">
                  <a:pos x="8" y="10"/>
                </a:cxn>
                <a:cxn ang="0">
                  <a:pos x="4" y="8"/>
                </a:cxn>
                <a:cxn ang="0">
                  <a:pos x="2" y="8"/>
                </a:cxn>
                <a:cxn ang="0">
                  <a:pos x="0" y="6"/>
                </a:cxn>
                <a:cxn ang="0">
                  <a:pos x="0" y="4"/>
                </a:cxn>
                <a:cxn ang="0">
                  <a:pos x="2" y="2"/>
                </a:cxn>
                <a:cxn ang="0">
                  <a:pos x="4" y="0"/>
                </a:cxn>
                <a:cxn ang="0">
                  <a:pos x="6" y="0"/>
                </a:cxn>
                <a:cxn ang="0">
                  <a:pos x="8" y="0"/>
                </a:cxn>
                <a:cxn ang="0">
                  <a:pos x="14" y="0"/>
                </a:cxn>
              </a:cxnLst>
              <a:rect l="0" t="0" r="r" b="b"/>
              <a:pathLst>
                <a:path w="16" h="10">
                  <a:moveTo>
                    <a:pt x="14" y="0"/>
                  </a:moveTo>
                  <a:lnTo>
                    <a:pt x="16" y="2"/>
                  </a:lnTo>
                  <a:lnTo>
                    <a:pt x="16" y="6"/>
                  </a:lnTo>
                  <a:lnTo>
                    <a:pt x="14" y="8"/>
                  </a:lnTo>
                  <a:lnTo>
                    <a:pt x="12" y="10"/>
                  </a:lnTo>
                  <a:lnTo>
                    <a:pt x="8" y="10"/>
                  </a:lnTo>
                  <a:lnTo>
                    <a:pt x="4" y="8"/>
                  </a:lnTo>
                  <a:lnTo>
                    <a:pt x="2" y="8"/>
                  </a:lnTo>
                  <a:lnTo>
                    <a:pt x="0" y="6"/>
                  </a:lnTo>
                  <a:lnTo>
                    <a:pt x="0" y="4"/>
                  </a:lnTo>
                  <a:lnTo>
                    <a:pt x="2" y="2"/>
                  </a:lnTo>
                  <a:lnTo>
                    <a:pt x="4" y="0"/>
                  </a:lnTo>
                  <a:lnTo>
                    <a:pt x="6" y="0"/>
                  </a:lnTo>
                  <a:lnTo>
                    <a:pt x="8" y="0"/>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1" name="Freeform 2683"/>
            <p:cNvSpPr>
              <a:spLocks/>
            </p:cNvSpPr>
            <p:nvPr/>
          </p:nvSpPr>
          <p:spPr bwMode="auto">
            <a:xfrm>
              <a:off x="3344" y="3132"/>
              <a:ext cx="28" cy="24"/>
            </a:xfrm>
            <a:custGeom>
              <a:avLst/>
              <a:gdLst/>
              <a:ahLst/>
              <a:cxnLst>
                <a:cxn ang="0">
                  <a:pos x="28" y="4"/>
                </a:cxn>
                <a:cxn ang="0">
                  <a:pos x="24" y="8"/>
                </a:cxn>
                <a:cxn ang="0">
                  <a:pos x="24" y="14"/>
                </a:cxn>
                <a:cxn ang="0">
                  <a:pos x="22" y="16"/>
                </a:cxn>
                <a:cxn ang="0">
                  <a:pos x="22" y="18"/>
                </a:cxn>
                <a:cxn ang="0">
                  <a:pos x="24" y="20"/>
                </a:cxn>
                <a:cxn ang="0">
                  <a:pos x="26" y="22"/>
                </a:cxn>
                <a:cxn ang="0">
                  <a:pos x="24" y="24"/>
                </a:cxn>
                <a:cxn ang="0">
                  <a:pos x="22" y="24"/>
                </a:cxn>
                <a:cxn ang="0">
                  <a:pos x="20" y="22"/>
                </a:cxn>
                <a:cxn ang="0">
                  <a:pos x="18" y="18"/>
                </a:cxn>
                <a:cxn ang="0">
                  <a:pos x="18" y="14"/>
                </a:cxn>
                <a:cxn ang="0">
                  <a:pos x="16" y="14"/>
                </a:cxn>
                <a:cxn ang="0">
                  <a:pos x="14" y="14"/>
                </a:cxn>
                <a:cxn ang="0">
                  <a:pos x="12" y="16"/>
                </a:cxn>
                <a:cxn ang="0">
                  <a:pos x="12" y="20"/>
                </a:cxn>
                <a:cxn ang="0">
                  <a:pos x="14" y="22"/>
                </a:cxn>
                <a:cxn ang="0">
                  <a:pos x="16" y="24"/>
                </a:cxn>
                <a:cxn ang="0">
                  <a:pos x="12" y="24"/>
                </a:cxn>
                <a:cxn ang="0">
                  <a:pos x="4" y="22"/>
                </a:cxn>
                <a:cxn ang="0">
                  <a:pos x="2" y="20"/>
                </a:cxn>
                <a:cxn ang="0">
                  <a:pos x="0" y="10"/>
                </a:cxn>
                <a:cxn ang="0">
                  <a:pos x="0" y="8"/>
                </a:cxn>
                <a:cxn ang="0">
                  <a:pos x="6" y="6"/>
                </a:cxn>
                <a:cxn ang="0">
                  <a:pos x="14" y="6"/>
                </a:cxn>
                <a:cxn ang="0">
                  <a:pos x="16" y="6"/>
                </a:cxn>
                <a:cxn ang="0">
                  <a:pos x="24" y="4"/>
                </a:cxn>
                <a:cxn ang="0">
                  <a:pos x="28" y="0"/>
                </a:cxn>
                <a:cxn ang="0">
                  <a:pos x="28" y="2"/>
                </a:cxn>
                <a:cxn ang="0">
                  <a:pos x="28" y="4"/>
                </a:cxn>
              </a:cxnLst>
              <a:rect l="0" t="0" r="r" b="b"/>
              <a:pathLst>
                <a:path w="28" h="24">
                  <a:moveTo>
                    <a:pt x="28" y="4"/>
                  </a:moveTo>
                  <a:lnTo>
                    <a:pt x="24" y="8"/>
                  </a:lnTo>
                  <a:lnTo>
                    <a:pt x="24" y="14"/>
                  </a:lnTo>
                  <a:lnTo>
                    <a:pt x="22" y="16"/>
                  </a:lnTo>
                  <a:lnTo>
                    <a:pt x="22" y="18"/>
                  </a:lnTo>
                  <a:lnTo>
                    <a:pt x="24" y="20"/>
                  </a:lnTo>
                  <a:lnTo>
                    <a:pt x="26" y="22"/>
                  </a:lnTo>
                  <a:lnTo>
                    <a:pt x="24" y="24"/>
                  </a:lnTo>
                  <a:lnTo>
                    <a:pt x="22" y="24"/>
                  </a:lnTo>
                  <a:lnTo>
                    <a:pt x="20" y="22"/>
                  </a:lnTo>
                  <a:lnTo>
                    <a:pt x="18" y="18"/>
                  </a:lnTo>
                  <a:lnTo>
                    <a:pt x="18" y="14"/>
                  </a:lnTo>
                  <a:lnTo>
                    <a:pt x="16" y="14"/>
                  </a:lnTo>
                  <a:lnTo>
                    <a:pt x="14" y="14"/>
                  </a:lnTo>
                  <a:lnTo>
                    <a:pt x="12" y="16"/>
                  </a:lnTo>
                  <a:lnTo>
                    <a:pt x="12" y="20"/>
                  </a:lnTo>
                  <a:lnTo>
                    <a:pt x="14" y="22"/>
                  </a:lnTo>
                  <a:lnTo>
                    <a:pt x="16" y="24"/>
                  </a:lnTo>
                  <a:lnTo>
                    <a:pt x="12" y="24"/>
                  </a:lnTo>
                  <a:lnTo>
                    <a:pt x="4" y="22"/>
                  </a:lnTo>
                  <a:lnTo>
                    <a:pt x="2" y="20"/>
                  </a:lnTo>
                  <a:lnTo>
                    <a:pt x="0" y="10"/>
                  </a:lnTo>
                  <a:lnTo>
                    <a:pt x="0" y="8"/>
                  </a:lnTo>
                  <a:lnTo>
                    <a:pt x="6" y="6"/>
                  </a:lnTo>
                  <a:lnTo>
                    <a:pt x="14" y="6"/>
                  </a:lnTo>
                  <a:lnTo>
                    <a:pt x="16" y="6"/>
                  </a:lnTo>
                  <a:lnTo>
                    <a:pt x="24" y="4"/>
                  </a:lnTo>
                  <a:lnTo>
                    <a:pt x="28" y="0"/>
                  </a:lnTo>
                  <a:lnTo>
                    <a:pt x="28" y="2"/>
                  </a:lnTo>
                  <a:lnTo>
                    <a:pt x="28"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2" name="Freeform 2684"/>
            <p:cNvSpPr>
              <a:spLocks/>
            </p:cNvSpPr>
            <p:nvPr/>
          </p:nvSpPr>
          <p:spPr bwMode="auto">
            <a:xfrm>
              <a:off x="2966" y="3188"/>
              <a:ext cx="36" cy="40"/>
            </a:xfrm>
            <a:custGeom>
              <a:avLst/>
              <a:gdLst/>
              <a:ahLst/>
              <a:cxnLst>
                <a:cxn ang="0">
                  <a:pos x="14" y="0"/>
                </a:cxn>
                <a:cxn ang="0">
                  <a:pos x="16" y="0"/>
                </a:cxn>
                <a:cxn ang="0">
                  <a:pos x="20" y="2"/>
                </a:cxn>
                <a:cxn ang="0">
                  <a:pos x="22" y="4"/>
                </a:cxn>
                <a:cxn ang="0">
                  <a:pos x="22" y="6"/>
                </a:cxn>
                <a:cxn ang="0">
                  <a:pos x="22" y="8"/>
                </a:cxn>
                <a:cxn ang="0">
                  <a:pos x="20" y="8"/>
                </a:cxn>
                <a:cxn ang="0">
                  <a:pos x="18" y="10"/>
                </a:cxn>
                <a:cxn ang="0">
                  <a:pos x="14" y="12"/>
                </a:cxn>
                <a:cxn ang="0">
                  <a:pos x="14" y="14"/>
                </a:cxn>
                <a:cxn ang="0">
                  <a:pos x="14" y="16"/>
                </a:cxn>
                <a:cxn ang="0">
                  <a:pos x="22" y="18"/>
                </a:cxn>
                <a:cxn ang="0">
                  <a:pos x="22" y="32"/>
                </a:cxn>
                <a:cxn ang="0">
                  <a:pos x="28" y="36"/>
                </a:cxn>
                <a:cxn ang="0">
                  <a:pos x="30" y="36"/>
                </a:cxn>
                <a:cxn ang="0">
                  <a:pos x="32" y="34"/>
                </a:cxn>
                <a:cxn ang="0">
                  <a:pos x="32" y="32"/>
                </a:cxn>
                <a:cxn ang="0">
                  <a:pos x="36" y="40"/>
                </a:cxn>
                <a:cxn ang="0">
                  <a:pos x="34" y="40"/>
                </a:cxn>
                <a:cxn ang="0">
                  <a:pos x="18" y="34"/>
                </a:cxn>
                <a:cxn ang="0">
                  <a:pos x="16" y="30"/>
                </a:cxn>
                <a:cxn ang="0">
                  <a:pos x="16" y="28"/>
                </a:cxn>
                <a:cxn ang="0">
                  <a:pos x="16" y="26"/>
                </a:cxn>
                <a:cxn ang="0">
                  <a:pos x="16" y="24"/>
                </a:cxn>
                <a:cxn ang="0">
                  <a:pos x="14" y="22"/>
                </a:cxn>
                <a:cxn ang="0">
                  <a:pos x="12" y="22"/>
                </a:cxn>
                <a:cxn ang="0">
                  <a:pos x="8" y="18"/>
                </a:cxn>
                <a:cxn ang="0">
                  <a:pos x="2" y="14"/>
                </a:cxn>
                <a:cxn ang="0">
                  <a:pos x="0" y="8"/>
                </a:cxn>
                <a:cxn ang="0">
                  <a:pos x="2" y="6"/>
                </a:cxn>
                <a:cxn ang="0">
                  <a:pos x="2" y="4"/>
                </a:cxn>
                <a:cxn ang="0">
                  <a:pos x="4" y="4"/>
                </a:cxn>
                <a:cxn ang="0">
                  <a:pos x="10" y="4"/>
                </a:cxn>
                <a:cxn ang="0">
                  <a:pos x="12" y="4"/>
                </a:cxn>
                <a:cxn ang="0">
                  <a:pos x="14" y="0"/>
                </a:cxn>
              </a:cxnLst>
              <a:rect l="0" t="0" r="r" b="b"/>
              <a:pathLst>
                <a:path w="36" h="40">
                  <a:moveTo>
                    <a:pt x="14" y="0"/>
                  </a:moveTo>
                  <a:lnTo>
                    <a:pt x="16" y="0"/>
                  </a:lnTo>
                  <a:lnTo>
                    <a:pt x="20" y="2"/>
                  </a:lnTo>
                  <a:lnTo>
                    <a:pt x="22" y="4"/>
                  </a:lnTo>
                  <a:lnTo>
                    <a:pt x="22" y="6"/>
                  </a:lnTo>
                  <a:lnTo>
                    <a:pt x="22" y="8"/>
                  </a:lnTo>
                  <a:lnTo>
                    <a:pt x="20" y="8"/>
                  </a:lnTo>
                  <a:lnTo>
                    <a:pt x="18" y="10"/>
                  </a:lnTo>
                  <a:lnTo>
                    <a:pt x="14" y="12"/>
                  </a:lnTo>
                  <a:lnTo>
                    <a:pt x="14" y="14"/>
                  </a:lnTo>
                  <a:lnTo>
                    <a:pt x="14" y="16"/>
                  </a:lnTo>
                  <a:lnTo>
                    <a:pt x="22" y="18"/>
                  </a:lnTo>
                  <a:lnTo>
                    <a:pt x="22" y="32"/>
                  </a:lnTo>
                  <a:lnTo>
                    <a:pt x="28" y="36"/>
                  </a:lnTo>
                  <a:lnTo>
                    <a:pt x="30" y="36"/>
                  </a:lnTo>
                  <a:lnTo>
                    <a:pt x="32" y="34"/>
                  </a:lnTo>
                  <a:lnTo>
                    <a:pt x="32" y="32"/>
                  </a:lnTo>
                  <a:lnTo>
                    <a:pt x="36" y="40"/>
                  </a:lnTo>
                  <a:lnTo>
                    <a:pt x="34" y="40"/>
                  </a:lnTo>
                  <a:lnTo>
                    <a:pt x="18" y="34"/>
                  </a:lnTo>
                  <a:lnTo>
                    <a:pt x="16" y="30"/>
                  </a:lnTo>
                  <a:lnTo>
                    <a:pt x="16" y="28"/>
                  </a:lnTo>
                  <a:lnTo>
                    <a:pt x="16" y="26"/>
                  </a:lnTo>
                  <a:lnTo>
                    <a:pt x="16" y="24"/>
                  </a:lnTo>
                  <a:lnTo>
                    <a:pt x="14" y="22"/>
                  </a:lnTo>
                  <a:lnTo>
                    <a:pt x="12" y="22"/>
                  </a:lnTo>
                  <a:lnTo>
                    <a:pt x="8" y="18"/>
                  </a:lnTo>
                  <a:lnTo>
                    <a:pt x="2" y="14"/>
                  </a:lnTo>
                  <a:lnTo>
                    <a:pt x="0" y="8"/>
                  </a:lnTo>
                  <a:lnTo>
                    <a:pt x="2" y="6"/>
                  </a:lnTo>
                  <a:lnTo>
                    <a:pt x="2" y="4"/>
                  </a:lnTo>
                  <a:lnTo>
                    <a:pt x="4" y="4"/>
                  </a:lnTo>
                  <a:lnTo>
                    <a:pt x="10" y="4"/>
                  </a:lnTo>
                  <a:lnTo>
                    <a:pt x="12" y="4"/>
                  </a:lnTo>
                  <a:lnTo>
                    <a:pt x="1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3" name="Freeform 2685"/>
            <p:cNvSpPr>
              <a:spLocks/>
            </p:cNvSpPr>
            <p:nvPr/>
          </p:nvSpPr>
          <p:spPr bwMode="auto">
            <a:xfrm>
              <a:off x="3408" y="3184"/>
              <a:ext cx="58" cy="36"/>
            </a:xfrm>
            <a:custGeom>
              <a:avLst/>
              <a:gdLst/>
              <a:ahLst/>
              <a:cxnLst>
                <a:cxn ang="0">
                  <a:pos x="40" y="4"/>
                </a:cxn>
                <a:cxn ang="0">
                  <a:pos x="38" y="6"/>
                </a:cxn>
                <a:cxn ang="0">
                  <a:pos x="38" y="8"/>
                </a:cxn>
                <a:cxn ang="0">
                  <a:pos x="38" y="10"/>
                </a:cxn>
                <a:cxn ang="0">
                  <a:pos x="40" y="12"/>
                </a:cxn>
                <a:cxn ang="0">
                  <a:pos x="46" y="14"/>
                </a:cxn>
                <a:cxn ang="0">
                  <a:pos x="50" y="20"/>
                </a:cxn>
                <a:cxn ang="0">
                  <a:pos x="58" y="28"/>
                </a:cxn>
                <a:cxn ang="0">
                  <a:pos x="58" y="30"/>
                </a:cxn>
                <a:cxn ang="0">
                  <a:pos x="52" y="36"/>
                </a:cxn>
                <a:cxn ang="0">
                  <a:pos x="46" y="36"/>
                </a:cxn>
                <a:cxn ang="0">
                  <a:pos x="42" y="36"/>
                </a:cxn>
                <a:cxn ang="0">
                  <a:pos x="38" y="36"/>
                </a:cxn>
                <a:cxn ang="0">
                  <a:pos x="28" y="34"/>
                </a:cxn>
                <a:cxn ang="0">
                  <a:pos x="24" y="32"/>
                </a:cxn>
                <a:cxn ang="0">
                  <a:pos x="20" y="30"/>
                </a:cxn>
                <a:cxn ang="0">
                  <a:pos x="22" y="28"/>
                </a:cxn>
                <a:cxn ang="0">
                  <a:pos x="26" y="28"/>
                </a:cxn>
                <a:cxn ang="0">
                  <a:pos x="32" y="20"/>
                </a:cxn>
                <a:cxn ang="0">
                  <a:pos x="34" y="20"/>
                </a:cxn>
                <a:cxn ang="0">
                  <a:pos x="34" y="18"/>
                </a:cxn>
                <a:cxn ang="0">
                  <a:pos x="30" y="16"/>
                </a:cxn>
                <a:cxn ang="0">
                  <a:pos x="26" y="18"/>
                </a:cxn>
                <a:cxn ang="0">
                  <a:pos x="24" y="18"/>
                </a:cxn>
                <a:cxn ang="0">
                  <a:pos x="24" y="20"/>
                </a:cxn>
                <a:cxn ang="0">
                  <a:pos x="24" y="22"/>
                </a:cxn>
                <a:cxn ang="0">
                  <a:pos x="22" y="26"/>
                </a:cxn>
                <a:cxn ang="0">
                  <a:pos x="20" y="28"/>
                </a:cxn>
                <a:cxn ang="0">
                  <a:pos x="18" y="30"/>
                </a:cxn>
                <a:cxn ang="0">
                  <a:pos x="14" y="28"/>
                </a:cxn>
                <a:cxn ang="0">
                  <a:pos x="4" y="26"/>
                </a:cxn>
                <a:cxn ang="0">
                  <a:pos x="4" y="24"/>
                </a:cxn>
                <a:cxn ang="0">
                  <a:pos x="0" y="24"/>
                </a:cxn>
                <a:cxn ang="0">
                  <a:pos x="2" y="16"/>
                </a:cxn>
                <a:cxn ang="0">
                  <a:pos x="4" y="14"/>
                </a:cxn>
                <a:cxn ang="0">
                  <a:pos x="4" y="12"/>
                </a:cxn>
                <a:cxn ang="0">
                  <a:pos x="6" y="12"/>
                </a:cxn>
                <a:cxn ang="0">
                  <a:pos x="6" y="14"/>
                </a:cxn>
                <a:cxn ang="0">
                  <a:pos x="8" y="14"/>
                </a:cxn>
                <a:cxn ang="0">
                  <a:pos x="10" y="14"/>
                </a:cxn>
                <a:cxn ang="0">
                  <a:pos x="24" y="6"/>
                </a:cxn>
                <a:cxn ang="0">
                  <a:pos x="22" y="4"/>
                </a:cxn>
                <a:cxn ang="0">
                  <a:pos x="22" y="2"/>
                </a:cxn>
                <a:cxn ang="0">
                  <a:pos x="26" y="0"/>
                </a:cxn>
                <a:cxn ang="0">
                  <a:pos x="34" y="0"/>
                </a:cxn>
                <a:cxn ang="0">
                  <a:pos x="38" y="4"/>
                </a:cxn>
                <a:cxn ang="0">
                  <a:pos x="40" y="4"/>
                </a:cxn>
              </a:cxnLst>
              <a:rect l="0" t="0" r="r" b="b"/>
              <a:pathLst>
                <a:path w="58" h="36">
                  <a:moveTo>
                    <a:pt x="40" y="4"/>
                  </a:moveTo>
                  <a:lnTo>
                    <a:pt x="38" y="6"/>
                  </a:lnTo>
                  <a:lnTo>
                    <a:pt x="38" y="8"/>
                  </a:lnTo>
                  <a:lnTo>
                    <a:pt x="38" y="10"/>
                  </a:lnTo>
                  <a:lnTo>
                    <a:pt x="40" y="12"/>
                  </a:lnTo>
                  <a:lnTo>
                    <a:pt x="46" y="14"/>
                  </a:lnTo>
                  <a:lnTo>
                    <a:pt x="50" y="20"/>
                  </a:lnTo>
                  <a:lnTo>
                    <a:pt x="58" y="28"/>
                  </a:lnTo>
                  <a:lnTo>
                    <a:pt x="58" y="30"/>
                  </a:lnTo>
                  <a:lnTo>
                    <a:pt x="52" y="36"/>
                  </a:lnTo>
                  <a:lnTo>
                    <a:pt x="46" y="36"/>
                  </a:lnTo>
                  <a:lnTo>
                    <a:pt x="42" y="36"/>
                  </a:lnTo>
                  <a:lnTo>
                    <a:pt x="38" y="36"/>
                  </a:lnTo>
                  <a:lnTo>
                    <a:pt x="28" y="34"/>
                  </a:lnTo>
                  <a:lnTo>
                    <a:pt x="24" y="32"/>
                  </a:lnTo>
                  <a:lnTo>
                    <a:pt x="20" y="30"/>
                  </a:lnTo>
                  <a:lnTo>
                    <a:pt x="22" y="28"/>
                  </a:lnTo>
                  <a:lnTo>
                    <a:pt x="26" y="28"/>
                  </a:lnTo>
                  <a:lnTo>
                    <a:pt x="32" y="20"/>
                  </a:lnTo>
                  <a:lnTo>
                    <a:pt x="34" y="20"/>
                  </a:lnTo>
                  <a:lnTo>
                    <a:pt x="34" y="18"/>
                  </a:lnTo>
                  <a:lnTo>
                    <a:pt x="30" y="16"/>
                  </a:lnTo>
                  <a:lnTo>
                    <a:pt x="26" y="18"/>
                  </a:lnTo>
                  <a:lnTo>
                    <a:pt x="24" y="18"/>
                  </a:lnTo>
                  <a:lnTo>
                    <a:pt x="24" y="20"/>
                  </a:lnTo>
                  <a:lnTo>
                    <a:pt x="24" y="22"/>
                  </a:lnTo>
                  <a:lnTo>
                    <a:pt x="22" y="26"/>
                  </a:lnTo>
                  <a:lnTo>
                    <a:pt x="20" y="28"/>
                  </a:lnTo>
                  <a:lnTo>
                    <a:pt x="18" y="30"/>
                  </a:lnTo>
                  <a:lnTo>
                    <a:pt x="14" y="28"/>
                  </a:lnTo>
                  <a:lnTo>
                    <a:pt x="4" y="26"/>
                  </a:lnTo>
                  <a:lnTo>
                    <a:pt x="4" y="24"/>
                  </a:lnTo>
                  <a:lnTo>
                    <a:pt x="0" y="24"/>
                  </a:lnTo>
                  <a:lnTo>
                    <a:pt x="2" y="16"/>
                  </a:lnTo>
                  <a:lnTo>
                    <a:pt x="4" y="14"/>
                  </a:lnTo>
                  <a:lnTo>
                    <a:pt x="4" y="12"/>
                  </a:lnTo>
                  <a:lnTo>
                    <a:pt x="6" y="12"/>
                  </a:lnTo>
                  <a:lnTo>
                    <a:pt x="6" y="14"/>
                  </a:lnTo>
                  <a:lnTo>
                    <a:pt x="8" y="14"/>
                  </a:lnTo>
                  <a:lnTo>
                    <a:pt x="10" y="14"/>
                  </a:lnTo>
                  <a:lnTo>
                    <a:pt x="24" y="6"/>
                  </a:lnTo>
                  <a:lnTo>
                    <a:pt x="22" y="4"/>
                  </a:lnTo>
                  <a:lnTo>
                    <a:pt x="22" y="2"/>
                  </a:lnTo>
                  <a:lnTo>
                    <a:pt x="26" y="0"/>
                  </a:lnTo>
                  <a:lnTo>
                    <a:pt x="34" y="0"/>
                  </a:lnTo>
                  <a:lnTo>
                    <a:pt x="38" y="4"/>
                  </a:lnTo>
                  <a:lnTo>
                    <a:pt x="40"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4" name="Freeform 2686"/>
            <p:cNvSpPr>
              <a:spLocks/>
            </p:cNvSpPr>
            <p:nvPr/>
          </p:nvSpPr>
          <p:spPr bwMode="auto">
            <a:xfrm>
              <a:off x="3250" y="3224"/>
              <a:ext cx="14" cy="10"/>
            </a:xfrm>
            <a:custGeom>
              <a:avLst/>
              <a:gdLst/>
              <a:ahLst/>
              <a:cxnLst>
                <a:cxn ang="0">
                  <a:pos x="10" y="10"/>
                </a:cxn>
                <a:cxn ang="0">
                  <a:pos x="6" y="10"/>
                </a:cxn>
                <a:cxn ang="0">
                  <a:pos x="0" y="0"/>
                </a:cxn>
                <a:cxn ang="0">
                  <a:pos x="2" y="0"/>
                </a:cxn>
                <a:cxn ang="0">
                  <a:pos x="14" y="6"/>
                </a:cxn>
                <a:cxn ang="0">
                  <a:pos x="14" y="8"/>
                </a:cxn>
                <a:cxn ang="0">
                  <a:pos x="12" y="8"/>
                </a:cxn>
                <a:cxn ang="0">
                  <a:pos x="10" y="10"/>
                </a:cxn>
              </a:cxnLst>
              <a:rect l="0" t="0" r="r" b="b"/>
              <a:pathLst>
                <a:path w="14" h="10">
                  <a:moveTo>
                    <a:pt x="10" y="10"/>
                  </a:moveTo>
                  <a:lnTo>
                    <a:pt x="6" y="10"/>
                  </a:lnTo>
                  <a:lnTo>
                    <a:pt x="0" y="0"/>
                  </a:lnTo>
                  <a:lnTo>
                    <a:pt x="2" y="0"/>
                  </a:lnTo>
                  <a:lnTo>
                    <a:pt x="14" y="6"/>
                  </a:lnTo>
                  <a:lnTo>
                    <a:pt x="14" y="8"/>
                  </a:lnTo>
                  <a:lnTo>
                    <a:pt x="12" y="8"/>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5" name="Freeform 2687"/>
            <p:cNvSpPr>
              <a:spLocks/>
            </p:cNvSpPr>
            <p:nvPr/>
          </p:nvSpPr>
          <p:spPr bwMode="auto">
            <a:xfrm>
              <a:off x="3198" y="3240"/>
              <a:ext cx="134" cy="92"/>
            </a:xfrm>
            <a:custGeom>
              <a:avLst/>
              <a:gdLst/>
              <a:ahLst/>
              <a:cxnLst>
                <a:cxn ang="0">
                  <a:pos x="92" y="56"/>
                </a:cxn>
                <a:cxn ang="0">
                  <a:pos x="92" y="54"/>
                </a:cxn>
                <a:cxn ang="0">
                  <a:pos x="88" y="54"/>
                </a:cxn>
                <a:cxn ang="0">
                  <a:pos x="86" y="54"/>
                </a:cxn>
                <a:cxn ang="0">
                  <a:pos x="84" y="56"/>
                </a:cxn>
                <a:cxn ang="0">
                  <a:pos x="82" y="56"/>
                </a:cxn>
                <a:cxn ang="0">
                  <a:pos x="74" y="56"/>
                </a:cxn>
                <a:cxn ang="0">
                  <a:pos x="72" y="56"/>
                </a:cxn>
                <a:cxn ang="0">
                  <a:pos x="64" y="56"/>
                </a:cxn>
                <a:cxn ang="0">
                  <a:pos x="62" y="54"/>
                </a:cxn>
                <a:cxn ang="0">
                  <a:pos x="60" y="50"/>
                </a:cxn>
                <a:cxn ang="0">
                  <a:pos x="62" y="46"/>
                </a:cxn>
                <a:cxn ang="0">
                  <a:pos x="60" y="44"/>
                </a:cxn>
                <a:cxn ang="0">
                  <a:pos x="58" y="42"/>
                </a:cxn>
                <a:cxn ang="0">
                  <a:pos x="50" y="36"/>
                </a:cxn>
                <a:cxn ang="0">
                  <a:pos x="38" y="28"/>
                </a:cxn>
                <a:cxn ang="0">
                  <a:pos x="26" y="20"/>
                </a:cxn>
                <a:cxn ang="0">
                  <a:pos x="24" y="18"/>
                </a:cxn>
                <a:cxn ang="0">
                  <a:pos x="22" y="20"/>
                </a:cxn>
                <a:cxn ang="0">
                  <a:pos x="20" y="20"/>
                </a:cxn>
                <a:cxn ang="0">
                  <a:pos x="0" y="22"/>
                </a:cxn>
                <a:cxn ang="0">
                  <a:pos x="2" y="20"/>
                </a:cxn>
                <a:cxn ang="0">
                  <a:pos x="8" y="16"/>
                </a:cxn>
                <a:cxn ang="0">
                  <a:pos x="18" y="8"/>
                </a:cxn>
                <a:cxn ang="0">
                  <a:pos x="22" y="4"/>
                </a:cxn>
                <a:cxn ang="0">
                  <a:pos x="30" y="0"/>
                </a:cxn>
                <a:cxn ang="0">
                  <a:pos x="34" y="0"/>
                </a:cxn>
                <a:cxn ang="0">
                  <a:pos x="38" y="4"/>
                </a:cxn>
                <a:cxn ang="0">
                  <a:pos x="44" y="14"/>
                </a:cxn>
                <a:cxn ang="0">
                  <a:pos x="46" y="18"/>
                </a:cxn>
                <a:cxn ang="0">
                  <a:pos x="50" y="20"/>
                </a:cxn>
                <a:cxn ang="0">
                  <a:pos x="56" y="24"/>
                </a:cxn>
                <a:cxn ang="0">
                  <a:pos x="68" y="28"/>
                </a:cxn>
                <a:cxn ang="0">
                  <a:pos x="76" y="30"/>
                </a:cxn>
                <a:cxn ang="0">
                  <a:pos x="82" y="30"/>
                </a:cxn>
                <a:cxn ang="0">
                  <a:pos x="86" y="30"/>
                </a:cxn>
                <a:cxn ang="0">
                  <a:pos x="96" y="30"/>
                </a:cxn>
                <a:cxn ang="0">
                  <a:pos x="98" y="38"/>
                </a:cxn>
                <a:cxn ang="0">
                  <a:pos x="102" y="54"/>
                </a:cxn>
                <a:cxn ang="0">
                  <a:pos x="108" y="68"/>
                </a:cxn>
                <a:cxn ang="0">
                  <a:pos x="112" y="70"/>
                </a:cxn>
                <a:cxn ang="0">
                  <a:pos x="116" y="74"/>
                </a:cxn>
                <a:cxn ang="0">
                  <a:pos x="122" y="74"/>
                </a:cxn>
                <a:cxn ang="0">
                  <a:pos x="124" y="74"/>
                </a:cxn>
                <a:cxn ang="0">
                  <a:pos x="132" y="72"/>
                </a:cxn>
                <a:cxn ang="0">
                  <a:pos x="134" y="80"/>
                </a:cxn>
                <a:cxn ang="0">
                  <a:pos x="134" y="82"/>
                </a:cxn>
                <a:cxn ang="0">
                  <a:pos x="134" y="86"/>
                </a:cxn>
                <a:cxn ang="0">
                  <a:pos x="132" y="88"/>
                </a:cxn>
                <a:cxn ang="0">
                  <a:pos x="130" y="90"/>
                </a:cxn>
                <a:cxn ang="0">
                  <a:pos x="128" y="92"/>
                </a:cxn>
                <a:cxn ang="0">
                  <a:pos x="120" y="88"/>
                </a:cxn>
                <a:cxn ang="0">
                  <a:pos x="116" y="84"/>
                </a:cxn>
                <a:cxn ang="0">
                  <a:pos x="106" y="74"/>
                </a:cxn>
                <a:cxn ang="0">
                  <a:pos x="100" y="70"/>
                </a:cxn>
                <a:cxn ang="0">
                  <a:pos x="98" y="62"/>
                </a:cxn>
                <a:cxn ang="0">
                  <a:pos x="92" y="56"/>
                </a:cxn>
              </a:cxnLst>
              <a:rect l="0" t="0" r="r" b="b"/>
              <a:pathLst>
                <a:path w="134" h="92">
                  <a:moveTo>
                    <a:pt x="92" y="56"/>
                  </a:moveTo>
                  <a:lnTo>
                    <a:pt x="92" y="54"/>
                  </a:lnTo>
                  <a:lnTo>
                    <a:pt x="88" y="54"/>
                  </a:lnTo>
                  <a:lnTo>
                    <a:pt x="86" y="54"/>
                  </a:lnTo>
                  <a:lnTo>
                    <a:pt x="84" y="56"/>
                  </a:lnTo>
                  <a:lnTo>
                    <a:pt x="82" y="56"/>
                  </a:lnTo>
                  <a:lnTo>
                    <a:pt x="74" y="56"/>
                  </a:lnTo>
                  <a:lnTo>
                    <a:pt x="72" y="56"/>
                  </a:lnTo>
                  <a:lnTo>
                    <a:pt x="64" y="56"/>
                  </a:lnTo>
                  <a:lnTo>
                    <a:pt x="62" y="54"/>
                  </a:lnTo>
                  <a:lnTo>
                    <a:pt x="60" y="50"/>
                  </a:lnTo>
                  <a:lnTo>
                    <a:pt x="62" y="46"/>
                  </a:lnTo>
                  <a:lnTo>
                    <a:pt x="60" y="44"/>
                  </a:lnTo>
                  <a:lnTo>
                    <a:pt x="58" y="42"/>
                  </a:lnTo>
                  <a:lnTo>
                    <a:pt x="50" y="36"/>
                  </a:lnTo>
                  <a:lnTo>
                    <a:pt x="38" y="28"/>
                  </a:lnTo>
                  <a:lnTo>
                    <a:pt x="26" y="20"/>
                  </a:lnTo>
                  <a:lnTo>
                    <a:pt x="24" y="18"/>
                  </a:lnTo>
                  <a:lnTo>
                    <a:pt x="22" y="20"/>
                  </a:lnTo>
                  <a:lnTo>
                    <a:pt x="20" y="20"/>
                  </a:lnTo>
                  <a:lnTo>
                    <a:pt x="0" y="22"/>
                  </a:lnTo>
                  <a:lnTo>
                    <a:pt x="2" y="20"/>
                  </a:lnTo>
                  <a:lnTo>
                    <a:pt x="8" y="16"/>
                  </a:lnTo>
                  <a:lnTo>
                    <a:pt x="18" y="8"/>
                  </a:lnTo>
                  <a:lnTo>
                    <a:pt x="22" y="4"/>
                  </a:lnTo>
                  <a:lnTo>
                    <a:pt x="30" y="0"/>
                  </a:lnTo>
                  <a:lnTo>
                    <a:pt x="34" y="0"/>
                  </a:lnTo>
                  <a:lnTo>
                    <a:pt x="38" y="4"/>
                  </a:lnTo>
                  <a:lnTo>
                    <a:pt x="44" y="14"/>
                  </a:lnTo>
                  <a:lnTo>
                    <a:pt x="46" y="18"/>
                  </a:lnTo>
                  <a:lnTo>
                    <a:pt x="50" y="20"/>
                  </a:lnTo>
                  <a:lnTo>
                    <a:pt x="56" y="24"/>
                  </a:lnTo>
                  <a:lnTo>
                    <a:pt x="68" y="28"/>
                  </a:lnTo>
                  <a:lnTo>
                    <a:pt x="76" y="30"/>
                  </a:lnTo>
                  <a:lnTo>
                    <a:pt x="82" y="30"/>
                  </a:lnTo>
                  <a:lnTo>
                    <a:pt x="86" y="30"/>
                  </a:lnTo>
                  <a:lnTo>
                    <a:pt x="96" y="30"/>
                  </a:lnTo>
                  <a:lnTo>
                    <a:pt x="98" y="38"/>
                  </a:lnTo>
                  <a:lnTo>
                    <a:pt x="102" y="54"/>
                  </a:lnTo>
                  <a:lnTo>
                    <a:pt x="108" y="68"/>
                  </a:lnTo>
                  <a:lnTo>
                    <a:pt x="112" y="70"/>
                  </a:lnTo>
                  <a:lnTo>
                    <a:pt x="116" y="74"/>
                  </a:lnTo>
                  <a:lnTo>
                    <a:pt x="122" y="74"/>
                  </a:lnTo>
                  <a:lnTo>
                    <a:pt x="124" y="74"/>
                  </a:lnTo>
                  <a:lnTo>
                    <a:pt x="132" y="72"/>
                  </a:lnTo>
                  <a:lnTo>
                    <a:pt x="134" y="80"/>
                  </a:lnTo>
                  <a:lnTo>
                    <a:pt x="134" y="82"/>
                  </a:lnTo>
                  <a:lnTo>
                    <a:pt x="134" y="86"/>
                  </a:lnTo>
                  <a:lnTo>
                    <a:pt x="132" y="88"/>
                  </a:lnTo>
                  <a:lnTo>
                    <a:pt x="130" y="90"/>
                  </a:lnTo>
                  <a:lnTo>
                    <a:pt x="128" y="92"/>
                  </a:lnTo>
                  <a:lnTo>
                    <a:pt x="120" y="88"/>
                  </a:lnTo>
                  <a:lnTo>
                    <a:pt x="116" y="84"/>
                  </a:lnTo>
                  <a:lnTo>
                    <a:pt x="106" y="74"/>
                  </a:lnTo>
                  <a:lnTo>
                    <a:pt x="100" y="70"/>
                  </a:lnTo>
                  <a:lnTo>
                    <a:pt x="98" y="62"/>
                  </a:lnTo>
                  <a:lnTo>
                    <a:pt x="92" y="5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6" name="Freeform 2688"/>
            <p:cNvSpPr>
              <a:spLocks/>
            </p:cNvSpPr>
            <p:nvPr/>
          </p:nvSpPr>
          <p:spPr bwMode="auto">
            <a:xfrm>
              <a:off x="3314" y="3236"/>
              <a:ext cx="18" cy="20"/>
            </a:xfrm>
            <a:custGeom>
              <a:avLst/>
              <a:gdLst/>
              <a:ahLst/>
              <a:cxnLst>
                <a:cxn ang="0">
                  <a:pos x="10" y="20"/>
                </a:cxn>
                <a:cxn ang="0">
                  <a:pos x="8" y="20"/>
                </a:cxn>
                <a:cxn ang="0">
                  <a:pos x="6" y="18"/>
                </a:cxn>
                <a:cxn ang="0">
                  <a:pos x="0" y="10"/>
                </a:cxn>
                <a:cxn ang="0">
                  <a:pos x="0" y="8"/>
                </a:cxn>
                <a:cxn ang="0">
                  <a:pos x="0" y="4"/>
                </a:cxn>
                <a:cxn ang="0">
                  <a:pos x="0" y="2"/>
                </a:cxn>
                <a:cxn ang="0">
                  <a:pos x="2" y="0"/>
                </a:cxn>
                <a:cxn ang="0">
                  <a:pos x="2" y="2"/>
                </a:cxn>
                <a:cxn ang="0">
                  <a:pos x="8" y="4"/>
                </a:cxn>
                <a:cxn ang="0">
                  <a:pos x="16" y="14"/>
                </a:cxn>
                <a:cxn ang="0">
                  <a:pos x="16" y="16"/>
                </a:cxn>
                <a:cxn ang="0">
                  <a:pos x="18" y="18"/>
                </a:cxn>
                <a:cxn ang="0">
                  <a:pos x="16" y="18"/>
                </a:cxn>
                <a:cxn ang="0">
                  <a:pos x="16" y="20"/>
                </a:cxn>
                <a:cxn ang="0">
                  <a:pos x="14" y="20"/>
                </a:cxn>
                <a:cxn ang="0">
                  <a:pos x="12" y="20"/>
                </a:cxn>
                <a:cxn ang="0">
                  <a:pos x="12" y="18"/>
                </a:cxn>
                <a:cxn ang="0">
                  <a:pos x="10" y="20"/>
                </a:cxn>
              </a:cxnLst>
              <a:rect l="0" t="0" r="r" b="b"/>
              <a:pathLst>
                <a:path w="18" h="20">
                  <a:moveTo>
                    <a:pt x="10" y="20"/>
                  </a:moveTo>
                  <a:lnTo>
                    <a:pt x="8" y="20"/>
                  </a:lnTo>
                  <a:lnTo>
                    <a:pt x="6" y="18"/>
                  </a:lnTo>
                  <a:lnTo>
                    <a:pt x="0" y="10"/>
                  </a:lnTo>
                  <a:lnTo>
                    <a:pt x="0" y="8"/>
                  </a:lnTo>
                  <a:lnTo>
                    <a:pt x="0" y="4"/>
                  </a:lnTo>
                  <a:lnTo>
                    <a:pt x="0" y="2"/>
                  </a:lnTo>
                  <a:lnTo>
                    <a:pt x="2" y="0"/>
                  </a:lnTo>
                  <a:lnTo>
                    <a:pt x="2" y="2"/>
                  </a:lnTo>
                  <a:lnTo>
                    <a:pt x="8" y="4"/>
                  </a:lnTo>
                  <a:lnTo>
                    <a:pt x="16" y="14"/>
                  </a:lnTo>
                  <a:lnTo>
                    <a:pt x="16" y="16"/>
                  </a:lnTo>
                  <a:lnTo>
                    <a:pt x="18" y="18"/>
                  </a:lnTo>
                  <a:lnTo>
                    <a:pt x="16" y="18"/>
                  </a:lnTo>
                  <a:lnTo>
                    <a:pt x="16" y="20"/>
                  </a:lnTo>
                  <a:lnTo>
                    <a:pt x="14" y="20"/>
                  </a:lnTo>
                  <a:lnTo>
                    <a:pt x="12" y="20"/>
                  </a:lnTo>
                  <a:lnTo>
                    <a:pt x="12" y="18"/>
                  </a:lnTo>
                  <a:lnTo>
                    <a:pt x="10"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7" name="Freeform 2689"/>
            <p:cNvSpPr>
              <a:spLocks/>
            </p:cNvSpPr>
            <p:nvPr/>
          </p:nvSpPr>
          <p:spPr bwMode="auto">
            <a:xfrm>
              <a:off x="3036" y="3274"/>
              <a:ext cx="14" cy="26"/>
            </a:xfrm>
            <a:custGeom>
              <a:avLst/>
              <a:gdLst/>
              <a:ahLst/>
              <a:cxnLst>
                <a:cxn ang="0">
                  <a:pos x="10" y="0"/>
                </a:cxn>
                <a:cxn ang="0">
                  <a:pos x="12" y="2"/>
                </a:cxn>
                <a:cxn ang="0">
                  <a:pos x="12" y="4"/>
                </a:cxn>
                <a:cxn ang="0">
                  <a:pos x="14" y="20"/>
                </a:cxn>
                <a:cxn ang="0">
                  <a:pos x="8" y="24"/>
                </a:cxn>
                <a:cxn ang="0">
                  <a:pos x="2" y="26"/>
                </a:cxn>
                <a:cxn ang="0">
                  <a:pos x="0" y="24"/>
                </a:cxn>
                <a:cxn ang="0">
                  <a:pos x="2" y="16"/>
                </a:cxn>
                <a:cxn ang="0">
                  <a:pos x="4" y="6"/>
                </a:cxn>
                <a:cxn ang="0">
                  <a:pos x="6" y="2"/>
                </a:cxn>
                <a:cxn ang="0">
                  <a:pos x="8" y="0"/>
                </a:cxn>
                <a:cxn ang="0">
                  <a:pos x="10" y="0"/>
                </a:cxn>
              </a:cxnLst>
              <a:rect l="0" t="0" r="r" b="b"/>
              <a:pathLst>
                <a:path w="14" h="26">
                  <a:moveTo>
                    <a:pt x="10" y="0"/>
                  </a:moveTo>
                  <a:lnTo>
                    <a:pt x="12" y="2"/>
                  </a:lnTo>
                  <a:lnTo>
                    <a:pt x="12" y="4"/>
                  </a:lnTo>
                  <a:lnTo>
                    <a:pt x="14" y="20"/>
                  </a:lnTo>
                  <a:lnTo>
                    <a:pt x="8" y="24"/>
                  </a:lnTo>
                  <a:lnTo>
                    <a:pt x="2" y="26"/>
                  </a:lnTo>
                  <a:lnTo>
                    <a:pt x="0" y="24"/>
                  </a:lnTo>
                  <a:lnTo>
                    <a:pt x="2" y="16"/>
                  </a:lnTo>
                  <a:lnTo>
                    <a:pt x="4" y="6"/>
                  </a:lnTo>
                  <a:lnTo>
                    <a:pt x="6" y="2"/>
                  </a:lnTo>
                  <a:lnTo>
                    <a:pt x="8" y="0"/>
                  </a:lnTo>
                  <a:lnTo>
                    <a:pt x="10"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8" name="Freeform 2690"/>
            <p:cNvSpPr>
              <a:spLocks/>
            </p:cNvSpPr>
            <p:nvPr/>
          </p:nvSpPr>
          <p:spPr bwMode="auto">
            <a:xfrm>
              <a:off x="3416" y="3258"/>
              <a:ext cx="26" cy="42"/>
            </a:xfrm>
            <a:custGeom>
              <a:avLst/>
              <a:gdLst/>
              <a:ahLst/>
              <a:cxnLst>
                <a:cxn ang="0">
                  <a:pos x="18" y="42"/>
                </a:cxn>
                <a:cxn ang="0">
                  <a:pos x="16" y="40"/>
                </a:cxn>
                <a:cxn ang="0">
                  <a:pos x="14" y="40"/>
                </a:cxn>
                <a:cxn ang="0">
                  <a:pos x="10" y="38"/>
                </a:cxn>
                <a:cxn ang="0">
                  <a:pos x="6" y="34"/>
                </a:cxn>
                <a:cxn ang="0">
                  <a:pos x="6" y="32"/>
                </a:cxn>
                <a:cxn ang="0">
                  <a:pos x="8" y="30"/>
                </a:cxn>
                <a:cxn ang="0">
                  <a:pos x="10" y="28"/>
                </a:cxn>
                <a:cxn ang="0">
                  <a:pos x="14" y="24"/>
                </a:cxn>
                <a:cxn ang="0">
                  <a:pos x="14" y="20"/>
                </a:cxn>
                <a:cxn ang="0">
                  <a:pos x="10" y="14"/>
                </a:cxn>
                <a:cxn ang="0">
                  <a:pos x="6" y="14"/>
                </a:cxn>
                <a:cxn ang="0">
                  <a:pos x="4" y="12"/>
                </a:cxn>
                <a:cxn ang="0">
                  <a:pos x="2" y="12"/>
                </a:cxn>
                <a:cxn ang="0">
                  <a:pos x="2" y="10"/>
                </a:cxn>
                <a:cxn ang="0">
                  <a:pos x="0" y="8"/>
                </a:cxn>
                <a:cxn ang="0">
                  <a:pos x="0" y="4"/>
                </a:cxn>
                <a:cxn ang="0">
                  <a:pos x="2" y="4"/>
                </a:cxn>
                <a:cxn ang="0">
                  <a:pos x="4" y="2"/>
                </a:cxn>
                <a:cxn ang="0">
                  <a:pos x="12" y="0"/>
                </a:cxn>
                <a:cxn ang="0">
                  <a:pos x="22" y="2"/>
                </a:cxn>
                <a:cxn ang="0">
                  <a:pos x="22" y="4"/>
                </a:cxn>
                <a:cxn ang="0">
                  <a:pos x="24" y="4"/>
                </a:cxn>
                <a:cxn ang="0">
                  <a:pos x="24" y="14"/>
                </a:cxn>
                <a:cxn ang="0">
                  <a:pos x="22" y="16"/>
                </a:cxn>
                <a:cxn ang="0">
                  <a:pos x="24" y="20"/>
                </a:cxn>
                <a:cxn ang="0">
                  <a:pos x="26" y="24"/>
                </a:cxn>
                <a:cxn ang="0">
                  <a:pos x="26" y="26"/>
                </a:cxn>
                <a:cxn ang="0">
                  <a:pos x="22" y="32"/>
                </a:cxn>
                <a:cxn ang="0">
                  <a:pos x="18" y="38"/>
                </a:cxn>
                <a:cxn ang="0">
                  <a:pos x="18" y="42"/>
                </a:cxn>
              </a:cxnLst>
              <a:rect l="0" t="0" r="r" b="b"/>
              <a:pathLst>
                <a:path w="26" h="42">
                  <a:moveTo>
                    <a:pt x="18" y="42"/>
                  </a:moveTo>
                  <a:lnTo>
                    <a:pt x="16" y="40"/>
                  </a:lnTo>
                  <a:lnTo>
                    <a:pt x="14" y="40"/>
                  </a:lnTo>
                  <a:lnTo>
                    <a:pt x="10" y="38"/>
                  </a:lnTo>
                  <a:lnTo>
                    <a:pt x="6" y="34"/>
                  </a:lnTo>
                  <a:lnTo>
                    <a:pt x="6" y="32"/>
                  </a:lnTo>
                  <a:lnTo>
                    <a:pt x="8" y="30"/>
                  </a:lnTo>
                  <a:lnTo>
                    <a:pt x="10" y="28"/>
                  </a:lnTo>
                  <a:lnTo>
                    <a:pt x="14" y="24"/>
                  </a:lnTo>
                  <a:lnTo>
                    <a:pt x="14" y="20"/>
                  </a:lnTo>
                  <a:lnTo>
                    <a:pt x="10" y="14"/>
                  </a:lnTo>
                  <a:lnTo>
                    <a:pt x="6" y="14"/>
                  </a:lnTo>
                  <a:lnTo>
                    <a:pt x="4" y="12"/>
                  </a:lnTo>
                  <a:lnTo>
                    <a:pt x="2" y="12"/>
                  </a:lnTo>
                  <a:lnTo>
                    <a:pt x="2" y="10"/>
                  </a:lnTo>
                  <a:lnTo>
                    <a:pt x="0" y="8"/>
                  </a:lnTo>
                  <a:lnTo>
                    <a:pt x="0" y="4"/>
                  </a:lnTo>
                  <a:lnTo>
                    <a:pt x="2" y="4"/>
                  </a:lnTo>
                  <a:lnTo>
                    <a:pt x="4" y="2"/>
                  </a:lnTo>
                  <a:lnTo>
                    <a:pt x="12" y="0"/>
                  </a:lnTo>
                  <a:lnTo>
                    <a:pt x="22" y="2"/>
                  </a:lnTo>
                  <a:lnTo>
                    <a:pt x="22" y="4"/>
                  </a:lnTo>
                  <a:lnTo>
                    <a:pt x="24" y="4"/>
                  </a:lnTo>
                  <a:lnTo>
                    <a:pt x="24" y="14"/>
                  </a:lnTo>
                  <a:lnTo>
                    <a:pt x="22" y="16"/>
                  </a:lnTo>
                  <a:lnTo>
                    <a:pt x="24" y="20"/>
                  </a:lnTo>
                  <a:lnTo>
                    <a:pt x="26" y="24"/>
                  </a:lnTo>
                  <a:lnTo>
                    <a:pt x="26" y="26"/>
                  </a:lnTo>
                  <a:lnTo>
                    <a:pt x="22" y="32"/>
                  </a:lnTo>
                  <a:lnTo>
                    <a:pt x="18" y="38"/>
                  </a:lnTo>
                  <a:lnTo>
                    <a:pt x="18" y="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99" name="Freeform 2691"/>
            <p:cNvSpPr>
              <a:spLocks/>
            </p:cNvSpPr>
            <p:nvPr/>
          </p:nvSpPr>
          <p:spPr bwMode="auto">
            <a:xfrm>
              <a:off x="3042" y="3306"/>
              <a:ext cx="12" cy="16"/>
            </a:xfrm>
            <a:custGeom>
              <a:avLst/>
              <a:gdLst/>
              <a:ahLst/>
              <a:cxnLst>
                <a:cxn ang="0">
                  <a:pos x="8" y="16"/>
                </a:cxn>
                <a:cxn ang="0">
                  <a:pos x="6" y="12"/>
                </a:cxn>
                <a:cxn ang="0">
                  <a:pos x="4" y="8"/>
                </a:cxn>
                <a:cxn ang="0">
                  <a:pos x="0" y="2"/>
                </a:cxn>
                <a:cxn ang="0">
                  <a:pos x="4" y="0"/>
                </a:cxn>
                <a:cxn ang="0">
                  <a:pos x="8" y="4"/>
                </a:cxn>
                <a:cxn ang="0">
                  <a:pos x="10" y="12"/>
                </a:cxn>
                <a:cxn ang="0">
                  <a:pos x="12" y="16"/>
                </a:cxn>
                <a:cxn ang="0">
                  <a:pos x="10" y="16"/>
                </a:cxn>
                <a:cxn ang="0">
                  <a:pos x="8" y="16"/>
                </a:cxn>
              </a:cxnLst>
              <a:rect l="0" t="0" r="r" b="b"/>
              <a:pathLst>
                <a:path w="12" h="16">
                  <a:moveTo>
                    <a:pt x="8" y="16"/>
                  </a:moveTo>
                  <a:lnTo>
                    <a:pt x="6" y="12"/>
                  </a:lnTo>
                  <a:lnTo>
                    <a:pt x="4" y="8"/>
                  </a:lnTo>
                  <a:lnTo>
                    <a:pt x="0" y="2"/>
                  </a:lnTo>
                  <a:lnTo>
                    <a:pt x="4" y="0"/>
                  </a:lnTo>
                  <a:lnTo>
                    <a:pt x="8" y="4"/>
                  </a:lnTo>
                  <a:lnTo>
                    <a:pt x="10" y="12"/>
                  </a:lnTo>
                  <a:lnTo>
                    <a:pt x="12" y="16"/>
                  </a:lnTo>
                  <a:lnTo>
                    <a:pt x="10" y="16"/>
                  </a:lnTo>
                  <a:lnTo>
                    <a:pt x="8"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0" name="Freeform 2692"/>
            <p:cNvSpPr>
              <a:spLocks/>
            </p:cNvSpPr>
            <p:nvPr/>
          </p:nvSpPr>
          <p:spPr bwMode="auto">
            <a:xfrm>
              <a:off x="3024" y="3308"/>
              <a:ext cx="34" cy="38"/>
            </a:xfrm>
            <a:custGeom>
              <a:avLst/>
              <a:gdLst/>
              <a:ahLst/>
              <a:cxnLst>
                <a:cxn ang="0">
                  <a:pos x="16" y="2"/>
                </a:cxn>
                <a:cxn ang="0">
                  <a:pos x="18" y="8"/>
                </a:cxn>
                <a:cxn ang="0">
                  <a:pos x="24" y="18"/>
                </a:cxn>
                <a:cxn ang="0">
                  <a:pos x="34" y="32"/>
                </a:cxn>
                <a:cxn ang="0">
                  <a:pos x="34" y="36"/>
                </a:cxn>
                <a:cxn ang="0">
                  <a:pos x="30" y="38"/>
                </a:cxn>
                <a:cxn ang="0">
                  <a:pos x="16" y="36"/>
                </a:cxn>
                <a:cxn ang="0">
                  <a:pos x="14" y="36"/>
                </a:cxn>
                <a:cxn ang="0">
                  <a:pos x="4" y="30"/>
                </a:cxn>
                <a:cxn ang="0">
                  <a:pos x="0" y="28"/>
                </a:cxn>
                <a:cxn ang="0">
                  <a:pos x="2" y="24"/>
                </a:cxn>
                <a:cxn ang="0">
                  <a:pos x="4" y="14"/>
                </a:cxn>
                <a:cxn ang="0">
                  <a:pos x="6" y="14"/>
                </a:cxn>
                <a:cxn ang="0">
                  <a:pos x="10" y="16"/>
                </a:cxn>
                <a:cxn ang="0">
                  <a:pos x="12" y="14"/>
                </a:cxn>
                <a:cxn ang="0">
                  <a:pos x="14" y="12"/>
                </a:cxn>
                <a:cxn ang="0">
                  <a:pos x="14" y="10"/>
                </a:cxn>
                <a:cxn ang="0">
                  <a:pos x="14" y="8"/>
                </a:cxn>
                <a:cxn ang="0">
                  <a:pos x="14" y="6"/>
                </a:cxn>
                <a:cxn ang="0">
                  <a:pos x="14" y="4"/>
                </a:cxn>
                <a:cxn ang="0">
                  <a:pos x="14" y="2"/>
                </a:cxn>
                <a:cxn ang="0">
                  <a:pos x="14" y="0"/>
                </a:cxn>
                <a:cxn ang="0">
                  <a:pos x="16" y="2"/>
                </a:cxn>
              </a:cxnLst>
              <a:rect l="0" t="0" r="r" b="b"/>
              <a:pathLst>
                <a:path w="34" h="38">
                  <a:moveTo>
                    <a:pt x="16" y="2"/>
                  </a:moveTo>
                  <a:lnTo>
                    <a:pt x="18" y="8"/>
                  </a:lnTo>
                  <a:lnTo>
                    <a:pt x="24" y="18"/>
                  </a:lnTo>
                  <a:lnTo>
                    <a:pt x="34" y="32"/>
                  </a:lnTo>
                  <a:lnTo>
                    <a:pt x="34" y="36"/>
                  </a:lnTo>
                  <a:lnTo>
                    <a:pt x="30" y="38"/>
                  </a:lnTo>
                  <a:lnTo>
                    <a:pt x="16" y="36"/>
                  </a:lnTo>
                  <a:lnTo>
                    <a:pt x="14" y="36"/>
                  </a:lnTo>
                  <a:lnTo>
                    <a:pt x="4" y="30"/>
                  </a:lnTo>
                  <a:lnTo>
                    <a:pt x="0" y="28"/>
                  </a:lnTo>
                  <a:lnTo>
                    <a:pt x="2" y="24"/>
                  </a:lnTo>
                  <a:lnTo>
                    <a:pt x="4" y="14"/>
                  </a:lnTo>
                  <a:lnTo>
                    <a:pt x="6" y="14"/>
                  </a:lnTo>
                  <a:lnTo>
                    <a:pt x="10" y="16"/>
                  </a:lnTo>
                  <a:lnTo>
                    <a:pt x="12" y="14"/>
                  </a:lnTo>
                  <a:lnTo>
                    <a:pt x="14" y="12"/>
                  </a:lnTo>
                  <a:lnTo>
                    <a:pt x="14" y="10"/>
                  </a:lnTo>
                  <a:lnTo>
                    <a:pt x="14" y="8"/>
                  </a:lnTo>
                  <a:lnTo>
                    <a:pt x="14" y="6"/>
                  </a:lnTo>
                  <a:lnTo>
                    <a:pt x="14" y="4"/>
                  </a:lnTo>
                  <a:lnTo>
                    <a:pt x="14" y="2"/>
                  </a:lnTo>
                  <a:lnTo>
                    <a:pt x="14" y="0"/>
                  </a:lnTo>
                  <a:lnTo>
                    <a:pt x="16"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1" name="Freeform 2693"/>
            <p:cNvSpPr>
              <a:spLocks/>
            </p:cNvSpPr>
            <p:nvPr/>
          </p:nvSpPr>
          <p:spPr bwMode="auto">
            <a:xfrm>
              <a:off x="3248" y="3334"/>
              <a:ext cx="10" cy="12"/>
            </a:xfrm>
            <a:custGeom>
              <a:avLst/>
              <a:gdLst/>
              <a:ahLst/>
              <a:cxnLst>
                <a:cxn ang="0">
                  <a:pos x="6" y="0"/>
                </a:cxn>
                <a:cxn ang="0">
                  <a:pos x="8" y="0"/>
                </a:cxn>
                <a:cxn ang="0">
                  <a:pos x="8" y="2"/>
                </a:cxn>
                <a:cxn ang="0">
                  <a:pos x="10" y="6"/>
                </a:cxn>
                <a:cxn ang="0">
                  <a:pos x="10" y="8"/>
                </a:cxn>
                <a:cxn ang="0">
                  <a:pos x="4" y="12"/>
                </a:cxn>
                <a:cxn ang="0">
                  <a:pos x="0" y="10"/>
                </a:cxn>
                <a:cxn ang="0">
                  <a:pos x="0" y="8"/>
                </a:cxn>
                <a:cxn ang="0">
                  <a:pos x="2" y="2"/>
                </a:cxn>
                <a:cxn ang="0">
                  <a:pos x="4" y="0"/>
                </a:cxn>
                <a:cxn ang="0">
                  <a:pos x="6" y="0"/>
                </a:cxn>
              </a:cxnLst>
              <a:rect l="0" t="0" r="r" b="b"/>
              <a:pathLst>
                <a:path w="10" h="12">
                  <a:moveTo>
                    <a:pt x="6" y="0"/>
                  </a:moveTo>
                  <a:lnTo>
                    <a:pt x="8" y="0"/>
                  </a:lnTo>
                  <a:lnTo>
                    <a:pt x="8" y="2"/>
                  </a:lnTo>
                  <a:lnTo>
                    <a:pt x="10" y="6"/>
                  </a:lnTo>
                  <a:lnTo>
                    <a:pt x="10" y="8"/>
                  </a:lnTo>
                  <a:lnTo>
                    <a:pt x="4" y="12"/>
                  </a:lnTo>
                  <a:lnTo>
                    <a:pt x="0" y="10"/>
                  </a:lnTo>
                  <a:lnTo>
                    <a:pt x="0" y="8"/>
                  </a:lnTo>
                  <a:lnTo>
                    <a:pt x="2" y="2"/>
                  </a:lnTo>
                  <a:lnTo>
                    <a:pt x="4"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2" name="Freeform 2694"/>
            <p:cNvSpPr>
              <a:spLocks/>
            </p:cNvSpPr>
            <p:nvPr/>
          </p:nvSpPr>
          <p:spPr bwMode="auto">
            <a:xfrm>
              <a:off x="3340" y="3324"/>
              <a:ext cx="24" cy="28"/>
            </a:xfrm>
            <a:custGeom>
              <a:avLst/>
              <a:gdLst/>
              <a:ahLst/>
              <a:cxnLst>
                <a:cxn ang="0">
                  <a:pos x="22" y="28"/>
                </a:cxn>
                <a:cxn ang="0">
                  <a:pos x="20" y="24"/>
                </a:cxn>
                <a:cxn ang="0">
                  <a:pos x="16" y="20"/>
                </a:cxn>
                <a:cxn ang="0">
                  <a:pos x="12" y="16"/>
                </a:cxn>
                <a:cxn ang="0">
                  <a:pos x="8" y="12"/>
                </a:cxn>
                <a:cxn ang="0">
                  <a:pos x="6" y="12"/>
                </a:cxn>
                <a:cxn ang="0">
                  <a:pos x="4" y="12"/>
                </a:cxn>
                <a:cxn ang="0">
                  <a:pos x="2" y="12"/>
                </a:cxn>
                <a:cxn ang="0">
                  <a:pos x="0" y="8"/>
                </a:cxn>
                <a:cxn ang="0">
                  <a:pos x="0" y="6"/>
                </a:cxn>
                <a:cxn ang="0">
                  <a:pos x="0" y="4"/>
                </a:cxn>
                <a:cxn ang="0">
                  <a:pos x="2" y="4"/>
                </a:cxn>
                <a:cxn ang="0">
                  <a:pos x="4" y="2"/>
                </a:cxn>
                <a:cxn ang="0">
                  <a:pos x="6" y="0"/>
                </a:cxn>
                <a:cxn ang="0">
                  <a:pos x="8" y="0"/>
                </a:cxn>
                <a:cxn ang="0">
                  <a:pos x="20" y="10"/>
                </a:cxn>
                <a:cxn ang="0">
                  <a:pos x="24" y="20"/>
                </a:cxn>
                <a:cxn ang="0">
                  <a:pos x="24" y="24"/>
                </a:cxn>
                <a:cxn ang="0">
                  <a:pos x="22" y="28"/>
                </a:cxn>
              </a:cxnLst>
              <a:rect l="0" t="0" r="r" b="b"/>
              <a:pathLst>
                <a:path w="24" h="28">
                  <a:moveTo>
                    <a:pt x="22" y="28"/>
                  </a:moveTo>
                  <a:lnTo>
                    <a:pt x="20" y="24"/>
                  </a:lnTo>
                  <a:lnTo>
                    <a:pt x="16" y="20"/>
                  </a:lnTo>
                  <a:lnTo>
                    <a:pt x="12" y="16"/>
                  </a:lnTo>
                  <a:lnTo>
                    <a:pt x="8" y="12"/>
                  </a:lnTo>
                  <a:lnTo>
                    <a:pt x="6" y="12"/>
                  </a:lnTo>
                  <a:lnTo>
                    <a:pt x="4" y="12"/>
                  </a:lnTo>
                  <a:lnTo>
                    <a:pt x="2" y="12"/>
                  </a:lnTo>
                  <a:lnTo>
                    <a:pt x="0" y="8"/>
                  </a:lnTo>
                  <a:lnTo>
                    <a:pt x="0" y="6"/>
                  </a:lnTo>
                  <a:lnTo>
                    <a:pt x="0" y="4"/>
                  </a:lnTo>
                  <a:lnTo>
                    <a:pt x="2" y="4"/>
                  </a:lnTo>
                  <a:lnTo>
                    <a:pt x="4" y="2"/>
                  </a:lnTo>
                  <a:lnTo>
                    <a:pt x="6" y="0"/>
                  </a:lnTo>
                  <a:lnTo>
                    <a:pt x="8" y="0"/>
                  </a:lnTo>
                  <a:lnTo>
                    <a:pt x="20" y="10"/>
                  </a:lnTo>
                  <a:lnTo>
                    <a:pt x="24" y="20"/>
                  </a:lnTo>
                  <a:lnTo>
                    <a:pt x="24" y="24"/>
                  </a:lnTo>
                  <a:lnTo>
                    <a:pt x="22"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3" name="Freeform 2695"/>
            <p:cNvSpPr>
              <a:spLocks/>
            </p:cNvSpPr>
            <p:nvPr/>
          </p:nvSpPr>
          <p:spPr bwMode="auto">
            <a:xfrm>
              <a:off x="3046" y="3358"/>
              <a:ext cx="30" cy="26"/>
            </a:xfrm>
            <a:custGeom>
              <a:avLst/>
              <a:gdLst/>
              <a:ahLst/>
              <a:cxnLst>
                <a:cxn ang="0">
                  <a:pos x="18" y="26"/>
                </a:cxn>
                <a:cxn ang="0">
                  <a:pos x="16" y="24"/>
                </a:cxn>
                <a:cxn ang="0">
                  <a:pos x="8" y="18"/>
                </a:cxn>
                <a:cxn ang="0">
                  <a:pos x="2" y="10"/>
                </a:cxn>
                <a:cxn ang="0">
                  <a:pos x="0" y="8"/>
                </a:cxn>
                <a:cxn ang="0">
                  <a:pos x="0" y="6"/>
                </a:cxn>
                <a:cxn ang="0">
                  <a:pos x="2" y="2"/>
                </a:cxn>
                <a:cxn ang="0">
                  <a:pos x="4" y="0"/>
                </a:cxn>
                <a:cxn ang="0">
                  <a:pos x="6" y="0"/>
                </a:cxn>
                <a:cxn ang="0">
                  <a:pos x="12" y="6"/>
                </a:cxn>
                <a:cxn ang="0">
                  <a:pos x="18" y="8"/>
                </a:cxn>
                <a:cxn ang="0">
                  <a:pos x="20" y="10"/>
                </a:cxn>
                <a:cxn ang="0">
                  <a:pos x="22" y="10"/>
                </a:cxn>
                <a:cxn ang="0">
                  <a:pos x="28" y="18"/>
                </a:cxn>
                <a:cxn ang="0">
                  <a:pos x="30" y="18"/>
                </a:cxn>
                <a:cxn ang="0">
                  <a:pos x="30" y="20"/>
                </a:cxn>
                <a:cxn ang="0">
                  <a:pos x="26" y="18"/>
                </a:cxn>
                <a:cxn ang="0">
                  <a:pos x="24" y="18"/>
                </a:cxn>
                <a:cxn ang="0">
                  <a:pos x="22" y="18"/>
                </a:cxn>
                <a:cxn ang="0">
                  <a:pos x="20" y="18"/>
                </a:cxn>
                <a:cxn ang="0">
                  <a:pos x="18" y="22"/>
                </a:cxn>
                <a:cxn ang="0">
                  <a:pos x="18" y="26"/>
                </a:cxn>
              </a:cxnLst>
              <a:rect l="0" t="0" r="r" b="b"/>
              <a:pathLst>
                <a:path w="30" h="26">
                  <a:moveTo>
                    <a:pt x="18" y="26"/>
                  </a:moveTo>
                  <a:lnTo>
                    <a:pt x="16" y="24"/>
                  </a:lnTo>
                  <a:lnTo>
                    <a:pt x="8" y="18"/>
                  </a:lnTo>
                  <a:lnTo>
                    <a:pt x="2" y="10"/>
                  </a:lnTo>
                  <a:lnTo>
                    <a:pt x="0" y="8"/>
                  </a:lnTo>
                  <a:lnTo>
                    <a:pt x="0" y="6"/>
                  </a:lnTo>
                  <a:lnTo>
                    <a:pt x="2" y="2"/>
                  </a:lnTo>
                  <a:lnTo>
                    <a:pt x="4" y="0"/>
                  </a:lnTo>
                  <a:lnTo>
                    <a:pt x="6" y="0"/>
                  </a:lnTo>
                  <a:lnTo>
                    <a:pt x="12" y="6"/>
                  </a:lnTo>
                  <a:lnTo>
                    <a:pt x="18" y="8"/>
                  </a:lnTo>
                  <a:lnTo>
                    <a:pt x="20" y="10"/>
                  </a:lnTo>
                  <a:lnTo>
                    <a:pt x="22" y="10"/>
                  </a:lnTo>
                  <a:lnTo>
                    <a:pt x="28" y="18"/>
                  </a:lnTo>
                  <a:lnTo>
                    <a:pt x="30" y="18"/>
                  </a:lnTo>
                  <a:lnTo>
                    <a:pt x="30" y="20"/>
                  </a:lnTo>
                  <a:lnTo>
                    <a:pt x="26" y="18"/>
                  </a:lnTo>
                  <a:lnTo>
                    <a:pt x="24" y="18"/>
                  </a:lnTo>
                  <a:lnTo>
                    <a:pt x="22" y="18"/>
                  </a:lnTo>
                  <a:lnTo>
                    <a:pt x="20" y="18"/>
                  </a:lnTo>
                  <a:lnTo>
                    <a:pt x="18" y="22"/>
                  </a:lnTo>
                  <a:lnTo>
                    <a:pt x="18"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4" name="Freeform 2696"/>
            <p:cNvSpPr>
              <a:spLocks/>
            </p:cNvSpPr>
            <p:nvPr/>
          </p:nvSpPr>
          <p:spPr bwMode="auto">
            <a:xfrm>
              <a:off x="3478" y="3322"/>
              <a:ext cx="36" cy="16"/>
            </a:xfrm>
            <a:custGeom>
              <a:avLst/>
              <a:gdLst/>
              <a:ahLst/>
              <a:cxnLst>
                <a:cxn ang="0">
                  <a:pos x="20" y="16"/>
                </a:cxn>
                <a:cxn ang="0">
                  <a:pos x="14" y="12"/>
                </a:cxn>
                <a:cxn ang="0">
                  <a:pos x="10" y="12"/>
                </a:cxn>
                <a:cxn ang="0">
                  <a:pos x="6" y="14"/>
                </a:cxn>
                <a:cxn ang="0">
                  <a:pos x="4" y="14"/>
                </a:cxn>
                <a:cxn ang="0">
                  <a:pos x="4" y="16"/>
                </a:cxn>
                <a:cxn ang="0">
                  <a:pos x="2" y="14"/>
                </a:cxn>
                <a:cxn ang="0">
                  <a:pos x="0" y="10"/>
                </a:cxn>
                <a:cxn ang="0">
                  <a:pos x="2" y="8"/>
                </a:cxn>
                <a:cxn ang="0">
                  <a:pos x="6" y="4"/>
                </a:cxn>
                <a:cxn ang="0">
                  <a:pos x="12" y="2"/>
                </a:cxn>
                <a:cxn ang="0">
                  <a:pos x="12" y="0"/>
                </a:cxn>
                <a:cxn ang="0">
                  <a:pos x="30" y="2"/>
                </a:cxn>
                <a:cxn ang="0">
                  <a:pos x="34" y="2"/>
                </a:cxn>
                <a:cxn ang="0">
                  <a:pos x="36" y="6"/>
                </a:cxn>
                <a:cxn ang="0">
                  <a:pos x="36" y="8"/>
                </a:cxn>
                <a:cxn ang="0">
                  <a:pos x="34" y="8"/>
                </a:cxn>
                <a:cxn ang="0">
                  <a:pos x="26" y="14"/>
                </a:cxn>
                <a:cxn ang="0">
                  <a:pos x="20" y="16"/>
                </a:cxn>
              </a:cxnLst>
              <a:rect l="0" t="0" r="r" b="b"/>
              <a:pathLst>
                <a:path w="36" h="16">
                  <a:moveTo>
                    <a:pt x="20" y="16"/>
                  </a:moveTo>
                  <a:lnTo>
                    <a:pt x="14" y="12"/>
                  </a:lnTo>
                  <a:lnTo>
                    <a:pt x="10" y="12"/>
                  </a:lnTo>
                  <a:lnTo>
                    <a:pt x="6" y="14"/>
                  </a:lnTo>
                  <a:lnTo>
                    <a:pt x="4" y="14"/>
                  </a:lnTo>
                  <a:lnTo>
                    <a:pt x="4" y="16"/>
                  </a:lnTo>
                  <a:lnTo>
                    <a:pt x="2" y="14"/>
                  </a:lnTo>
                  <a:lnTo>
                    <a:pt x="0" y="10"/>
                  </a:lnTo>
                  <a:lnTo>
                    <a:pt x="2" y="8"/>
                  </a:lnTo>
                  <a:lnTo>
                    <a:pt x="6" y="4"/>
                  </a:lnTo>
                  <a:lnTo>
                    <a:pt x="12" y="2"/>
                  </a:lnTo>
                  <a:lnTo>
                    <a:pt x="12" y="0"/>
                  </a:lnTo>
                  <a:lnTo>
                    <a:pt x="30" y="2"/>
                  </a:lnTo>
                  <a:lnTo>
                    <a:pt x="34" y="2"/>
                  </a:lnTo>
                  <a:lnTo>
                    <a:pt x="36" y="6"/>
                  </a:lnTo>
                  <a:lnTo>
                    <a:pt x="36" y="8"/>
                  </a:lnTo>
                  <a:lnTo>
                    <a:pt x="34" y="8"/>
                  </a:lnTo>
                  <a:lnTo>
                    <a:pt x="26" y="14"/>
                  </a:lnTo>
                  <a:lnTo>
                    <a:pt x="20"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5" name="Freeform 2697"/>
            <p:cNvSpPr>
              <a:spLocks/>
            </p:cNvSpPr>
            <p:nvPr/>
          </p:nvSpPr>
          <p:spPr bwMode="auto">
            <a:xfrm>
              <a:off x="3438" y="3340"/>
              <a:ext cx="26" cy="18"/>
            </a:xfrm>
            <a:custGeom>
              <a:avLst/>
              <a:gdLst/>
              <a:ahLst/>
              <a:cxnLst>
                <a:cxn ang="0">
                  <a:pos x="0" y="18"/>
                </a:cxn>
                <a:cxn ang="0">
                  <a:pos x="0" y="16"/>
                </a:cxn>
                <a:cxn ang="0">
                  <a:pos x="4" y="8"/>
                </a:cxn>
                <a:cxn ang="0">
                  <a:pos x="6" y="6"/>
                </a:cxn>
                <a:cxn ang="0">
                  <a:pos x="22" y="0"/>
                </a:cxn>
                <a:cxn ang="0">
                  <a:pos x="26" y="0"/>
                </a:cxn>
                <a:cxn ang="0">
                  <a:pos x="24" y="4"/>
                </a:cxn>
                <a:cxn ang="0">
                  <a:pos x="22" y="6"/>
                </a:cxn>
                <a:cxn ang="0">
                  <a:pos x="20" y="8"/>
                </a:cxn>
                <a:cxn ang="0">
                  <a:pos x="16" y="12"/>
                </a:cxn>
                <a:cxn ang="0">
                  <a:pos x="4" y="18"/>
                </a:cxn>
                <a:cxn ang="0">
                  <a:pos x="0" y="18"/>
                </a:cxn>
              </a:cxnLst>
              <a:rect l="0" t="0" r="r" b="b"/>
              <a:pathLst>
                <a:path w="26" h="18">
                  <a:moveTo>
                    <a:pt x="0" y="18"/>
                  </a:moveTo>
                  <a:lnTo>
                    <a:pt x="0" y="16"/>
                  </a:lnTo>
                  <a:lnTo>
                    <a:pt x="4" y="8"/>
                  </a:lnTo>
                  <a:lnTo>
                    <a:pt x="6" y="6"/>
                  </a:lnTo>
                  <a:lnTo>
                    <a:pt x="22" y="0"/>
                  </a:lnTo>
                  <a:lnTo>
                    <a:pt x="26" y="0"/>
                  </a:lnTo>
                  <a:lnTo>
                    <a:pt x="24" y="4"/>
                  </a:lnTo>
                  <a:lnTo>
                    <a:pt x="22" y="6"/>
                  </a:lnTo>
                  <a:lnTo>
                    <a:pt x="20" y="8"/>
                  </a:lnTo>
                  <a:lnTo>
                    <a:pt x="16" y="12"/>
                  </a:lnTo>
                  <a:lnTo>
                    <a:pt x="4" y="18"/>
                  </a:lnTo>
                  <a:lnTo>
                    <a:pt x="0" y="1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6" name="Freeform 2698"/>
            <p:cNvSpPr>
              <a:spLocks/>
            </p:cNvSpPr>
            <p:nvPr/>
          </p:nvSpPr>
          <p:spPr bwMode="auto">
            <a:xfrm>
              <a:off x="3314" y="3356"/>
              <a:ext cx="8" cy="16"/>
            </a:xfrm>
            <a:custGeom>
              <a:avLst/>
              <a:gdLst/>
              <a:ahLst/>
              <a:cxnLst>
                <a:cxn ang="0">
                  <a:pos x="2" y="16"/>
                </a:cxn>
                <a:cxn ang="0">
                  <a:pos x="0" y="16"/>
                </a:cxn>
                <a:cxn ang="0">
                  <a:pos x="0" y="10"/>
                </a:cxn>
                <a:cxn ang="0">
                  <a:pos x="0" y="8"/>
                </a:cxn>
                <a:cxn ang="0">
                  <a:pos x="0" y="6"/>
                </a:cxn>
                <a:cxn ang="0">
                  <a:pos x="0" y="4"/>
                </a:cxn>
                <a:cxn ang="0">
                  <a:pos x="4" y="2"/>
                </a:cxn>
                <a:cxn ang="0">
                  <a:pos x="4" y="0"/>
                </a:cxn>
                <a:cxn ang="0">
                  <a:pos x="6" y="0"/>
                </a:cxn>
                <a:cxn ang="0">
                  <a:pos x="8" y="2"/>
                </a:cxn>
                <a:cxn ang="0">
                  <a:pos x="8" y="4"/>
                </a:cxn>
                <a:cxn ang="0">
                  <a:pos x="8" y="6"/>
                </a:cxn>
                <a:cxn ang="0">
                  <a:pos x="8" y="8"/>
                </a:cxn>
                <a:cxn ang="0">
                  <a:pos x="6" y="10"/>
                </a:cxn>
                <a:cxn ang="0">
                  <a:pos x="4" y="14"/>
                </a:cxn>
                <a:cxn ang="0">
                  <a:pos x="2" y="16"/>
                </a:cxn>
              </a:cxnLst>
              <a:rect l="0" t="0" r="r" b="b"/>
              <a:pathLst>
                <a:path w="8" h="16">
                  <a:moveTo>
                    <a:pt x="2" y="16"/>
                  </a:moveTo>
                  <a:lnTo>
                    <a:pt x="0" y="16"/>
                  </a:lnTo>
                  <a:lnTo>
                    <a:pt x="0" y="10"/>
                  </a:lnTo>
                  <a:lnTo>
                    <a:pt x="0" y="8"/>
                  </a:lnTo>
                  <a:lnTo>
                    <a:pt x="0" y="6"/>
                  </a:lnTo>
                  <a:lnTo>
                    <a:pt x="0" y="4"/>
                  </a:lnTo>
                  <a:lnTo>
                    <a:pt x="4" y="2"/>
                  </a:lnTo>
                  <a:lnTo>
                    <a:pt x="4" y="0"/>
                  </a:lnTo>
                  <a:lnTo>
                    <a:pt x="6" y="0"/>
                  </a:lnTo>
                  <a:lnTo>
                    <a:pt x="8" y="2"/>
                  </a:lnTo>
                  <a:lnTo>
                    <a:pt x="8" y="4"/>
                  </a:lnTo>
                  <a:lnTo>
                    <a:pt x="8" y="6"/>
                  </a:lnTo>
                  <a:lnTo>
                    <a:pt x="8" y="8"/>
                  </a:lnTo>
                  <a:lnTo>
                    <a:pt x="6" y="10"/>
                  </a:lnTo>
                  <a:lnTo>
                    <a:pt x="4" y="14"/>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7" name="Freeform 2699"/>
            <p:cNvSpPr>
              <a:spLocks/>
            </p:cNvSpPr>
            <p:nvPr/>
          </p:nvSpPr>
          <p:spPr bwMode="auto">
            <a:xfrm>
              <a:off x="3364" y="3352"/>
              <a:ext cx="20" cy="12"/>
            </a:xfrm>
            <a:custGeom>
              <a:avLst/>
              <a:gdLst/>
              <a:ahLst/>
              <a:cxnLst>
                <a:cxn ang="0">
                  <a:pos x="6" y="0"/>
                </a:cxn>
                <a:cxn ang="0">
                  <a:pos x="8" y="2"/>
                </a:cxn>
                <a:cxn ang="0">
                  <a:pos x="12" y="2"/>
                </a:cxn>
                <a:cxn ang="0">
                  <a:pos x="16" y="2"/>
                </a:cxn>
                <a:cxn ang="0">
                  <a:pos x="18" y="2"/>
                </a:cxn>
                <a:cxn ang="0">
                  <a:pos x="20" y="4"/>
                </a:cxn>
                <a:cxn ang="0">
                  <a:pos x="20" y="6"/>
                </a:cxn>
                <a:cxn ang="0">
                  <a:pos x="20" y="12"/>
                </a:cxn>
                <a:cxn ang="0">
                  <a:pos x="18" y="12"/>
                </a:cxn>
                <a:cxn ang="0">
                  <a:pos x="16" y="12"/>
                </a:cxn>
                <a:cxn ang="0">
                  <a:pos x="12" y="10"/>
                </a:cxn>
                <a:cxn ang="0">
                  <a:pos x="2" y="4"/>
                </a:cxn>
                <a:cxn ang="0">
                  <a:pos x="0" y="2"/>
                </a:cxn>
                <a:cxn ang="0">
                  <a:pos x="0" y="0"/>
                </a:cxn>
                <a:cxn ang="0">
                  <a:pos x="2" y="0"/>
                </a:cxn>
                <a:cxn ang="0">
                  <a:pos x="4" y="0"/>
                </a:cxn>
                <a:cxn ang="0">
                  <a:pos x="6" y="0"/>
                </a:cxn>
              </a:cxnLst>
              <a:rect l="0" t="0" r="r" b="b"/>
              <a:pathLst>
                <a:path w="20" h="12">
                  <a:moveTo>
                    <a:pt x="6" y="0"/>
                  </a:moveTo>
                  <a:lnTo>
                    <a:pt x="8" y="2"/>
                  </a:lnTo>
                  <a:lnTo>
                    <a:pt x="12" y="2"/>
                  </a:lnTo>
                  <a:lnTo>
                    <a:pt x="16" y="2"/>
                  </a:lnTo>
                  <a:lnTo>
                    <a:pt x="18" y="2"/>
                  </a:lnTo>
                  <a:lnTo>
                    <a:pt x="20" y="4"/>
                  </a:lnTo>
                  <a:lnTo>
                    <a:pt x="20" y="6"/>
                  </a:lnTo>
                  <a:lnTo>
                    <a:pt x="20" y="12"/>
                  </a:lnTo>
                  <a:lnTo>
                    <a:pt x="18" y="12"/>
                  </a:lnTo>
                  <a:lnTo>
                    <a:pt x="16" y="12"/>
                  </a:lnTo>
                  <a:lnTo>
                    <a:pt x="12" y="10"/>
                  </a:lnTo>
                  <a:lnTo>
                    <a:pt x="2" y="4"/>
                  </a:lnTo>
                  <a:lnTo>
                    <a:pt x="0" y="2"/>
                  </a:lnTo>
                  <a:lnTo>
                    <a:pt x="0" y="0"/>
                  </a:lnTo>
                  <a:lnTo>
                    <a:pt x="2" y="0"/>
                  </a:lnTo>
                  <a:lnTo>
                    <a:pt x="4" y="0"/>
                  </a:lnTo>
                  <a:lnTo>
                    <a:pt x="6"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8" name="Freeform 2700"/>
            <p:cNvSpPr>
              <a:spLocks/>
            </p:cNvSpPr>
            <p:nvPr/>
          </p:nvSpPr>
          <p:spPr bwMode="auto">
            <a:xfrm>
              <a:off x="3322" y="3374"/>
              <a:ext cx="8" cy="18"/>
            </a:xfrm>
            <a:custGeom>
              <a:avLst/>
              <a:gdLst/>
              <a:ahLst/>
              <a:cxnLst>
                <a:cxn ang="0">
                  <a:pos x="4" y="2"/>
                </a:cxn>
                <a:cxn ang="0">
                  <a:pos x="4" y="4"/>
                </a:cxn>
                <a:cxn ang="0">
                  <a:pos x="6" y="6"/>
                </a:cxn>
                <a:cxn ang="0">
                  <a:pos x="8" y="6"/>
                </a:cxn>
                <a:cxn ang="0">
                  <a:pos x="8" y="8"/>
                </a:cxn>
                <a:cxn ang="0">
                  <a:pos x="6" y="12"/>
                </a:cxn>
                <a:cxn ang="0">
                  <a:pos x="4" y="14"/>
                </a:cxn>
                <a:cxn ang="0">
                  <a:pos x="4" y="16"/>
                </a:cxn>
                <a:cxn ang="0">
                  <a:pos x="2" y="18"/>
                </a:cxn>
                <a:cxn ang="0">
                  <a:pos x="2" y="16"/>
                </a:cxn>
                <a:cxn ang="0">
                  <a:pos x="0" y="6"/>
                </a:cxn>
                <a:cxn ang="0">
                  <a:pos x="2" y="2"/>
                </a:cxn>
                <a:cxn ang="0">
                  <a:pos x="4" y="2"/>
                </a:cxn>
                <a:cxn ang="0">
                  <a:pos x="4" y="0"/>
                </a:cxn>
                <a:cxn ang="0">
                  <a:pos x="4" y="2"/>
                </a:cxn>
              </a:cxnLst>
              <a:rect l="0" t="0" r="r" b="b"/>
              <a:pathLst>
                <a:path w="8" h="18">
                  <a:moveTo>
                    <a:pt x="4" y="2"/>
                  </a:moveTo>
                  <a:lnTo>
                    <a:pt x="4" y="4"/>
                  </a:lnTo>
                  <a:lnTo>
                    <a:pt x="6" y="6"/>
                  </a:lnTo>
                  <a:lnTo>
                    <a:pt x="8" y="6"/>
                  </a:lnTo>
                  <a:lnTo>
                    <a:pt x="8" y="8"/>
                  </a:lnTo>
                  <a:lnTo>
                    <a:pt x="6" y="12"/>
                  </a:lnTo>
                  <a:lnTo>
                    <a:pt x="4" y="14"/>
                  </a:lnTo>
                  <a:lnTo>
                    <a:pt x="4" y="16"/>
                  </a:lnTo>
                  <a:lnTo>
                    <a:pt x="2" y="18"/>
                  </a:lnTo>
                  <a:lnTo>
                    <a:pt x="2" y="16"/>
                  </a:lnTo>
                  <a:lnTo>
                    <a:pt x="0" y="6"/>
                  </a:lnTo>
                  <a:lnTo>
                    <a:pt x="2" y="2"/>
                  </a:lnTo>
                  <a:lnTo>
                    <a:pt x="4" y="2"/>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09" name="Freeform 2701"/>
            <p:cNvSpPr>
              <a:spLocks/>
            </p:cNvSpPr>
            <p:nvPr/>
          </p:nvSpPr>
          <p:spPr bwMode="auto">
            <a:xfrm>
              <a:off x="3396" y="3390"/>
              <a:ext cx="20" cy="28"/>
            </a:xfrm>
            <a:custGeom>
              <a:avLst/>
              <a:gdLst/>
              <a:ahLst/>
              <a:cxnLst>
                <a:cxn ang="0">
                  <a:pos x="10" y="28"/>
                </a:cxn>
                <a:cxn ang="0">
                  <a:pos x="8" y="28"/>
                </a:cxn>
                <a:cxn ang="0">
                  <a:pos x="0" y="14"/>
                </a:cxn>
                <a:cxn ang="0">
                  <a:pos x="0" y="12"/>
                </a:cxn>
                <a:cxn ang="0">
                  <a:pos x="12" y="2"/>
                </a:cxn>
                <a:cxn ang="0">
                  <a:pos x="14" y="0"/>
                </a:cxn>
                <a:cxn ang="0">
                  <a:pos x="16" y="2"/>
                </a:cxn>
                <a:cxn ang="0">
                  <a:pos x="18" y="4"/>
                </a:cxn>
                <a:cxn ang="0">
                  <a:pos x="18" y="6"/>
                </a:cxn>
                <a:cxn ang="0">
                  <a:pos x="20" y="8"/>
                </a:cxn>
                <a:cxn ang="0">
                  <a:pos x="20" y="14"/>
                </a:cxn>
                <a:cxn ang="0">
                  <a:pos x="18" y="18"/>
                </a:cxn>
                <a:cxn ang="0">
                  <a:pos x="18" y="24"/>
                </a:cxn>
                <a:cxn ang="0">
                  <a:pos x="12" y="26"/>
                </a:cxn>
                <a:cxn ang="0">
                  <a:pos x="12" y="28"/>
                </a:cxn>
                <a:cxn ang="0">
                  <a:pos x="10" y="28"/>
                </a:cxn>
              </a:cxnLst>
              <a:rect l="0" t="0" r="r" b="b"/>
              <a:pathLst>
                <a:path w="20" h="28">
                  <a:moveTo>
                    <a:pt x="10" y="28"/>
                  </a:moveTo>
                  <a:lnTo>
                    <a:pt x="8" y="28"/>
                  </a:lnTo>
                  <a:lnTo>
                    <a:pt x="0" y="14"/>
                  </a:lnTo>
                  <a:lnTo>
                    <a:pt x="0" y="12"/>
                  </a:lnTo>
                  <a:lnTo>
                    <a:pt x="12" y="2"/>
                  </a:lnTo>
                  <a:lnTo>
                    <a:pt x="14" y="0"/>
                  </a:lnTo>
                  <a:lnTo>
                    <a:pt x="16" y="2"/>
                  </a:lnTo>
                  <a:lnTo>
                    <a:pt x="18" y="4"/>
                  </a:lnTo>
                  <a:lnTo>
                    <a:pt x="18" y="6"/>
                  </a:lnTo>
                  <a:lnTo>
                    <a:pt x="20" y="8"/>
                  </a:lnTo>
                  <a:lnTo>
                    <a:pt x="20" y="14"/>
                  </a:lnTo>
                  <a:lnTo>
                    <a:pt x="18" y="18"/>
                  </a:lnTo>
                  <a:lnTo>
                    <a:pt x="18" y="24"/>
                  </a:lnTo>
                  <a:lnTo>
                    <a:pt x="12" y="26"/>
                  </a:lnTo>
                  <a:lnTo>
                    <a:pt x="12" y="28"/>
                  </a:lnTo>
                  <a:lnTo>
                    <a:pt x="10"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0" name="Freeform 2702"/>
            <p:cNvSpPr>
              <a:spLocks/>
            </p:cNvSpPr>
            <p:nvPr/>
          </p:nvSpPr>
          <p:spPr bwMode="auto">
            <a:xfrm>
              <a:off x="3380" y="3398"/>
              <a:ext cx="12" cy="16"/>
            </a:xfrm>
            <a:custGeom>
              <a:avLst/>
              <a:gdLst/>
              <a:ahLst/>
              <a:cxnLst>
                <a:cxn ang="0">
                  <a:pos x="6" y="16"/>
                </a:cxn>
                <a:cxn ang="0">
                  <a:pos x="4" y="16"/>
                </a:cxn>
                <a:cxn ang="0">
                  <a:pos x="2" y="16"/>
                </a:cxn>
                <a:cxn ang="0">
                  <a:pos x="0" y="14"/>
                </a:cxn>
                <a:cxn ang="0">
                  <a:pos x="0" y="12"/>
                </a:cxn>
                <a:cxn ang="0">
                  <a:pos x="0" y="10"/>
                </a:cxn>
                <a:cxn ang="0">
                  <a:pos x="2" y="6"/>
                </a:cxn>
                <a:cxn ang="0">
                  <a:pos x="2" y="4"/>
                </a:cxn>
                <a:cxn ang="0">
                  <a:pos x="4" y="4"/>
                </a:cxn>
                <a:cxn ang="0">
                  <a:pos x="8" y="0"/>
                </a:cxn>
                <a:cxn ang="0">
                  <a:pos x="10" y="0"/>
                </a:cxn>
                <a:cxn ang="0">
                  <a:pos x="12" y="2"/>
                </a:cxn>
                <a:cxn ang="0">
                  <a:pos x="12" y="8"/>
                </a:cxn>
                <a:cxn ang="0">
                  <a:pos x="12" y="10"/>
                </a:cxn>
                <a:cxn ang="0">
                  <a:pos x="10" y="12"/>
                </a:cxn>
                <a:cxn ang="0">
                  <a:pos x="6" y="16"/>
                </a:cxn>
              </a:cxnLst>
              <a:rect l="0" t="0" r="r" b="b"/>
              <a:pathLst>
                <a:path w="12" h="16">
                  <a:moveTo>
                    <a:pt x="6" y="16"/>
                  </a:moveTo>
                  <a:lnTo>
                    <a:pt x="4" y="16"/>
                  </a:lnTo>
                  <a:lnTo>
                    <a:pt x="2" y="16"/>
                  </a:lnTo>
                  <a:lnTo>
                    <a:pt x="0" y="14"/>
                  </a:lnTo>
                  <a:lnTo>
                    <a:pt x="0" y="12"/>
                  </a:lnTo>
                  <a:lnTo>
                    <a:pt x="0" y="10"/>
                  </a:lnTo>
                  <a:lnTo>
                    <a:pt x="2" y="6"/>
                  </a:lnTo>
                  <a:lnTo>
                    <a:pt x="2" y="4"/>
                  </a:lnTo>
                  <a:lnTo>
                    <a:pt x="4" y="4"/>
                  </a:lnTo>
                  <a:lnTo>
                    <a:pt x="8" y="0"/>
                  </a:lnTo>
                  <a:lnTo>
                    <a:pt x="10" y="0"/>
                  </a:lnTo>
                  <a:lnTo>
                    <a:pt x="12" y="2"/>
                  </a:lnTo>
                  <a:lnTo>
                    <a:pt x="12" y="8"/>
                  </a:lnTo>
                  <a:lnTo>
                    <a:pt x="12" y="10"/>
                  </a:lnTo>
                  <a:lnTo>
                    <a:pt x="10" y="12"/>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1" name="Freeform 2703"/>
            <p:cNvSpPr>
              <a:spLocks/>
            </p:cNvSpPr>
            <p:nvPr/>
          </p:nvSpPr>
          <p:spPr bwMode="auto">
            <a:xfrm>
              <a:off x="3510" y="3388"/>
              <a:ext cx="12" cy="14"/>
            </a:xfrm>
            <a:custGeom>
              <a:avLst/>
              <a:gdLst/>
              <a:ahLst/>
              <a:cxnLst>
                <a:cxn ang="0">
                  <a:pos x="8" y="14"/>
                </a:cxn>
                <a:cxn ang="0">
                  <a:pos x="6" y="14"/>
                </a:cxn>
                <a:cxn ang="0">
                  <a:pos x="4" y="14"/>
                </a:cxn>
                <a:cxn ang="0">
                  <a:pos x="4" y="12"/>
                </a:cxn>
                <a:cxn ang="0">
                  <a:pos x="0" y="0"/>
                </a:cxn>
                <a:cxn ang="0">
                  <a:pos x="6" y="2"/>
                </a:cxn>
                <a:cxn ang="0">
                  <a:pos x="12" y="8"/>
                </a:cxn>
                <a:cxn ang="0">
                  <a:pos x="12" y="12"/>
                </a:cxn>
                <a:cxn ang="0">
                  <a:pos x="8" y="14"/>
                </a:cxn>
              </a:cxnLst>
              <a:rect l="0" t="0" r="r" b="b"/>
              <a:pathLst>
                <a:path w="12" h="14">
                  <a:moveTo>
                    <a:pt x="8" y="14"/>
                  </a:moveTo>
                  <a:lnTo>
                    <a:pt x="6" y="14"/>
                  </a:lnTo>
                  <a:lnTo>
                    <a:pt x="4" y="14"/>
                  </a:lnTo>
                  <a:lnTo>
                    <a:pt x="4" y="12"/>
                  </a:lnTo>
                  <a:lnTo>
                    <a:pt x="0" y="0"/>
                  </a:lnTo>
                  <a:lnTo>
                    <a:pt x="6" y="2"/>
                  </a:lnTo>
                  <a:lnTo>
                    <a:pt x="12" y="8"/>
                  </a:lnTo>
                  <a:lnTo>
                    <a:pt x="12" y="12"/>
                  </a:lnTo>
                  <a:lnTo>
                    <a:pt x="8"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2" name="Freeform 2704"/>
            <p:cNvSpPr>
              <a:spLocks/>
            </p:cNvSpPr>
            <p:nvPr/>
          </p:nvSpPr>
          <p:spPr bwMode="auto">
            <a:xfrm>
              <a:off x="3516" y="3402"/>
              <a:ext cx="30" cy="24"/>
            </a:xfrm>
            <a:custGeom>
              <a:avLst/>
              <a:gdLst/>
              <a:ahLst/>
              <a:cxnLst>
                <a:cxn ang="0">
                  <a:pos x="4" y="24"/>
                </a:cxn>
                <a:cxn ang="0">
                  <a:pos x="0" y="20"/>
                </a:cxn>
                <a:cxn ang="0">
                  <a:pos x="0" y="16"/>
                </a:cxn>
                <a:cxn ang="0">
                  <a:pos x="8" y="8"/>
                </a:cxn>
                <a:cxn ang="0">
                  <a:pos x="16" y="2"/>
                </a:cxn>
                <a:cxn ang="0">
                  <a:pos x="24" y="0"/>
                </a:cxn>
                <a:cxn ang="0">
                  <a:pos x="28" y="0"/>
                </a:cxn>
                <a:cxn ang="0">
                  <a:pos x="30" y="2"/>
                </a:cxn>
                <a:cxn ang="0">
                  <a:pos x="30" y="4"/>
                </a:cxn>
                <a:cxn ang="0">
                  <a:pos x="28" y="4"/>
                </a:cxn>
                <a:cxn ang="0">
                  <a:pos x="26" y="4"/>
                </a:cxn>
                <a:cxn ang="0">
                  <a:pos x="24" y="4"/>
                </a:cxn>
                <a:cxn ang="0">
                  <a:pos x="22" y="6"/>
                </a:cxn>
                <a:cxn ang="0">
                  <a:pos x="20" y="8"/>
                </a:cxn>
                <a:cxn ang="0">
                  <a:pos x="8" y="14"/>
                </a:cxn>
                <a:cxn ang="0">
                  <a:pos x="4" y="16"/>
                </a:cxn>
                <a:cxn ang="0">
                  <a:pos x="4" y="20"/>
                </a:cxn>
                <a:cxn ang="0">
                  <a:pos x="4" y="22"/>
                </a:cxn>
                <a:cxn ang="0">
                  <a:pos x="4" y="24"/>
                </a:cxn>
              </a:cxnLst>
              <a:rect l="0" t="0" r="r" b="b"/>
              <a:pathLst>
                <a:path w="30" h="24">
                  <a:moveTo>
                    <a:pt x="4" y="24"/>
                  </a:moveTo>
                  <a:lnTo>
                    <a:pt x="0" y="20"/>
                  </a:lnTo>
                  <a:lnTo>
                    <a:pt x="0" y="16"/>
                  </a:lnTo>
                  <a:lnTo>
                    <a:pt x="8" y="8"/>
                  </a:lnTo>
                  <a:lnTo>
                    <a:pt x="16" y="2"/>
                  </a:lnTo>
                  <a:lnTo>
                    <a:pt x="24" y="0"/>
                  </a:lnTo>
                  <a:lnTo>
                    <a:pt x="28" y="0"/>
                  </a:lnTo>
                  <a:lnTo>
                    <a:pt x="30" y="2"/>
                  </a:lnTo>
                  <a:lnTo>
                    <a:pt x="30" y="4"/>
                  </a:lnTo>
                  <a:lnTo>
                    <a:pt x="28" y="4"/>
                  </a:lnTo>
                  <a:lnTo>
                    <a:pt x="26" y="4"/>
                  </a:lnTo>
                  <a:lnTo>
                    <a:pt x="24" y="4"/>
                  </a:lnTo>
                  <a:lnTo>
                    <a:pt x="22" y="6"/>
                  </a:lnTo>
                  <a:lnTo>
                    <a:pt x="20" y="8"/>
                  </a:lnTo>
                  <a:lnTo>
                    <a:pt x="8" y="14"/>
                  </a:lnTo>
                  <a:lnTo>
                    <a:pt x="4" y="16"/>
                  </a:lnTo>
                  <a:lnTo>
                    <a:pt x="4" y="20"/>
                  </a:lnTo>
                  <a:lnTo>
                    <a:pt x="4" y="22"/>
                  </a:lnTo>
                  <a:lnTo>
                    <a:pt x="4"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3" name="Freeform 2705"/>
            <p:cNvSpPr>
              <a:spLocks/>
            </p:cNvSpPr>
            <p:nvPr/>
          </p:nvSpPr>
          <p:spPr bwMode="auto">
            <a:xfrm>
              <a:off x="3394" y="3430"/>
              <a:ext cx="12" cy="12"/>
            </a:xfrm>
            <a:custGeom>
              <a:avLst/>
              <a:gdLst/>
              <a:ahLst/>
              <a:cxnLst>
                <a:cxn ang="0">
                  <a:pos x="8" y="12"/>
                </a:cxn>
                <a:cxn ang="0">
                  <a:pos x="6" y="12"/>
                </a:cxn>
                <a:cxn ang="0">
                  <a:pos x="0" y="6"/>
                </a:cxn>
                <a:cxn ang="0">
                  <a:pos x="0" y="4"/>
                </a:cxn>
                <a:cxn ang="0">
                  <a:pos x="2" y="2"/>
                </a:cxn>
                <a:cxn ang="0">
                  <a:pos x="2" y="0"/>
                </a:cxn>
                <a:cxn ang="0">
                  <a:pos x="4" y="2"/>
                </a:cxn>
                <a:cxn ang="0">
                  <a:pos x="12" y="6"/>
                </a:cxn>
                <a:cxn ang="0">
                  <a:pos x="10" y="12"/>
                </a:cxn>
                <a:cxn ang="0">
                  <a:pos x="8" y="12"/>
                </a:cxn>
              </a:cxnLst>
              <a:rect l="0" t="0" r="r" b="b"/>
              <a:pathLst>
                <a:path w="12" h="12">
                  <a:moveTo>
                    <a:pt x="8" y="12"/>
                  </a:moveTo>
                  <a:lnTo>
                    <a:pt x="6" y="12"/>
                  </a:lnTo>
                  <a:lnTo>
                    <a:pt x="0" y="6"/>
                  </a:lnTo>
                  <a:lnTo>
                    <a:pt x="0" y="4"/>
                  </a:lnTo>
                  <a:lnTo>
                    <a:pt x="2" y="2"/>
                  </a:lnTo>
                  <a:lnTo>
                    <a:pt x="2" y="0"/>
                  </a:lnTo>
                  <a:lnTo>
                    <a:pt x="4" y="2"/>
                  </a:lnTo>
                  <a:lnTo>
                    <a:pt x="12" y="6"/>
                  </a:lnTo>
                  <a:lnTo>
                    <a:pt x="10" y="12"/>
                  </a:lnTo>
                  <a:lnTo>
                    <a:pt x="8"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4" name="Freeform 2706"/>
            <p:cNvSpPr>
              <a:spLocks/>
            </p:cNvSpPr>
            <p:nvPr/>
          </p:nvSpPr>
          <p:spPr bwMode="auto">
            <a:xfrm>
              <a:off x="3326" y="3438"/>
              <a:ext cx="16" cy="14"/>
            </a:xfrm>
            <a:custGeom>
              <a:avLst/>
              <a:gdLst/>
              <a:ahLst/>
              <a:cxnLst>
                <a:cxn ang="0">
                  <a:pos x="0" y="14"/>
                </a:cxn>
                <a:cxn ang="0">
                  <a:pos x="0" y="12"/>
                </a:cxn>
                <a:cxn ang="0">
                  <a:pos x="0" y="6"/>
                </a:cxn>
                <a:cxn ang="0">
                  <a:pos x="2" y="4"/>
                </a:cxn>
                <a:cxn ang="0">
                  <a:pos x="12" y="2"/>
                </a:cxn>
                <a:cxn ang="0">
                  <a:pos x="14" y="0"/>
                </a:cxn>
                <a:cxn ang="0">
                  <a:pos x="16" y="2"/>
                </a:cxn>
                <a:cxn ang="0">
                  <a:pos x="16" y="8"/>
                </a:cxn>
                <a:cxn ang="0">
                  <a:pos x="12" y="12"/>
                </a:cxn>
                <a:cxn ang="0">
                  <a:pos x="8" y="12"/>
                </a:cxn>
                <a:cxn ang="0">
                  <a:pos x="0" y="14"/>
                </a:cxn>
              </a:cxnLst>
              <a:rect l="0" t="0" r="r" b="b"/>
              <a:pathLst>
                <a:path w="16" h="14">
                  <a:moveTo>
                    <a:pt x="0" y="14"/>
                  </a:moveTo>
                  <a:lnTo>
                    <a:pt x="0" y="12"/>
                  </a:lnTo>
                  <a:lnTo>
                    <a:pt x="0" y="6"/>
                  </a:lnTo>
                  <a:lnTo>
                    <a:pt x="2" y="4"/>
                  </a:lnTo>
                  <a:lnTo>
                    <a:pt x="12" y="2"/>
                  </a:lnTo>
                  <a:lnTo>
                    <a:pt x="14" y="0"/>
                  </a:lnTo>
                  <a:lnTo>
                    <a:pt x="16" y="2"/>
                  </a:lnTo>
                  <a:lnTo>
                    <a:pt x="16" y="8"/>
                  </a:lnTo>
                  <a:lnTo>
                    <a:pt x="12" y="12"/>
                  </a:lnTo>
                  <a:lnTo>
                    <a:pt x="8" y="12"/>
                  </a:lnTo>
                  <a:lnTo>
                    <a:pt x="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5" name="Freeform 2707"/>
            <p:cNvSpPr>
              <a:spLocks/>
            </p:cNvSpPr>
            <p:nvPr/>
          </p:nvSpPr>
          <p:spPr bwMode="auto">
            <a:xfrm>
              <a:off x="3470" y="3434"/>
              <a:ext cx="14" cy="12"/>
            </a:xfrm>
            <a:custGeom>
              <a:avLst/>
              <a:gdLst/>
              <a:ahLst/>
              <a:cxnLst>
                <a:cxn ang="0">
                  <a:pos x="14" y="4"/>
                </a:cxn>
                <a:cxn ang="0">
                  <a:pos x="10" y="6"/>
                </a:cxn>
                <a:cxn ang="0">
                  <a:pos x="8" y="12"/>
                </a:cxn>
                <a:cxn ang="0">
                  <a:pos x="6" y="12"/>
                </a:cxn>
                <a:cxn ang="0">
                  <a:pos x="4" y="12"/>
                </a:cxn>
                <a:cxn ang="0">
                  <a:pos x="2" y="12"/>
                </a:cxn>
                <a:cxn ang="0">
                  <a:pos x="0" y="8"/>
                </a:cxn>
                <a:cxn ang="0">
                  <a:pos x="0" y="6"/>
                </a:cxn>
                <a:cxn ang="0">
                  <a:pos x="8" y="0"/>
                </a:cxn>
                <a:cxn ang="0">
                  <a:pos x="10" y="0"/>
                </a:cxn>
                <a:cxn ang="0">
                  <a:pos x="14" y="4"/>
                </a:cxn>
              </a:cxnLst>
              <a:rect l="0" t="0" r="r" b="b"/>
              <a:pathLst>
                <a:path w="14" h="12">
                  <a:moveTo>
                    <a:pt x="14" y="4"/>
                  </a:moveTo>
                  <a:lnTo>
                    <a:pt x="10" y="6"/>
                  </a:lnTo>
                  <a:lnTo>
                    <a:pt x="8" y="12"/>
                  </a:lnTo>
                  <a:lnTo>
                    <a:pt x="6" y="12"/>
                  </a:lnTo>
                  <a:lnTo>
                    <a:pt x="4" y="12"/>
                  </a:lnTo>
                  <a:lnTo>
                    <a:pt x="2" y="12"/>
                  </a:lnTo>
                  <a:lnTo>
                    <a:pt x="0" y="8"/>
                  </a:lnTo>
                  <a:lnTo>
                    <a:pt x="0" y="6"/>
                  </a:lnTo>
                  <a:lnTo>
                    <a:pt x="8" y="0"/>
                  </a:lnTo>
                  <a:lnTo>
                    <a:pt x="10" y="0"/>
                  </a:lnTo>
                  <a:lnTo>
                    <a:pt x="14"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6" name="Freeform 2708"/>
            <p:cNvSpPr>
              <a:spLocks/>
            </p:cNvSpPr>
            <p:nvPr/>
          </p:nvSpPr>
          <p:spPr bwMode="auto">
            <a:xfrm>
              <a:off x="3582" y="3432"/>
              <a:ext cx="34" cy="56"/>
            </a:xfrm>
            <a:custGeom>
              <a:avLst/>
              <a:gdLst/>
              <a:ahLst/>
              <a:cxnLst>
                <a:cxn ang="0">
                  <a:pos x="32" y="0"/>
                </a:cxn>
                <a:cxn ang="0">
                  <a:pos x="34" y="0"/>
                </a:cxn>
                <a:cxn ang="0">
                  <a:pos x="34" y="2"/>
                </a:cxn>
                <a:cxn ang="0">
                  <a:pos x="34" y="10"/>
                </a:cxn>
                <a:cxn ang="0">
                  <a:pos x="32" y="14"/>
                </a:cxn>
                <a:cxn ang="0">
                  <a:pos x="30" y="22"/>
                </a:cxn>
                <a:cxn ang="0">
                  <a:pos x="28" y="24"/>
                </a:cxn>
                <a:cxn ang="0">
                  <a:pos x="26" y="32"/>
                </a:cxn>
                <a:cxn ang="0">
                  <a:pos x="22" y="36"/>
                </a:cxn>
                <a:cxn ang="0">
                  <a:pos x="20" y="40"/>
                </a:cxn>
                <a:cxn ang="0">
                  <a:pos x="18" y="40"/>
                </a:cxn>
                <a:cxn ang="0">
                  <a:pos x="18" y="42"/>
                </a:cxn>
                <a:cxn ang="0">
                  <a:pos x="16" y="46"/>
                </a:cxn>
                <a:cxn ang="0">
                  <a:pos x="16" y="48"/>
                </a:cxn>
                <a:cxn ang="0">
                  <a:pos x="14" y="52"/>
                </a:cxn>
                <a:cxn ang="0">
                  <a:pos x="12" y="52"/>
                </a:cxn>
                <a:cxn ang="0">
                  <a:pos x="10" y="56"/>
                </a:cxn>
                <a:cxn ang="0">
                  <a:pos x="8" y="56"/>
                </a:cxn>
                <a:cxn ang="0">
                  <a:pos x="4" y="54"/>
                </a:cxn>
                <a:cxn ang="0">
                  <a:pos x="4" y="52"/>
                </a:cxn>
                <a:cxn ang="0">
                  <a:pos x="4" y="48"/>
                </a:cxn>
                <a:cxn ang="0">
                  <a:pos x="2" y="36"/>
                </a:cxn>
                <a:cxn ang="0">
                  <a:pos x="0" y="30"/>
                </a:cxn>
                <a:cxn ang="0">
                  <a:pos x="4" y="22"/>
                </a:cxn>
                <a:cxn ang="0">
                  <a:pos x="4" y="20"/>
                </a:cxn>
                <a:cxn ang="0">
                  <a:pos x="10" y="16"/>
                </a:cxn>
                <a:cxn ang="0">
                  <a:pos x="10" y="14"/>
                </a:cxn>
                <a:cxn ang="0">
                  <a:pos x="12" y="14"/>
                </a:cxn>
                <a:cxn ang="0">
                  <a:pos x="22" y="6"/>
                </a:cxn>
                <a:cxn ang="0">
                  <a:pos x="24" y="4"/>
                </a:cxn>
                <a:cxn ang="0">
                  <a:pos x="32" y="0"/>
                </a:cxn>
              </a:cxnLst>
              <a:rect l="0" t="0" r="r" b="b"/>
              <a:pathLst>
                <a:path w="34" h="56">
                  <a:moveTo>
                    <a:pt x="32" y="0"/>
                  </a:moveTo>
                  <a:lnTo>
                    <a:pt x="34" y="0"/>
                  </a:lnTo>
                  <a:lnTo>
                    <a:pt x="34" y="2"/>
                  </a:lnTo>
                  <a:lnTo>
                    <a:pt x="34" y="10"/>
                  </a:lnTo>
                  <a:lnTo>
                    <a:pt x="32" y="14"/>
                  </a:lnTo>
                  <a:lnTo>
                    <a:pt x="30" y="22"/>
                  </a:lnTo>
                  <a:lnTo>
                    <a:pt x="28" y="24"/>
                  </a:lnTo>
                  <a:lnTo>
                    <a:pt x="26" y="32"/>
                  </a:lnTo>
                  <a:lnTo>
                    <a:pt x="22" y="36"/>
                  </a:lnTo>
                  <a:lnTo>
                    <a:pt x="20" y="40"/>
                  </a:lnTo>
                  <a:lnTo>
                    <a:pt x="18" y="40"/>
                  </a:lnTo>
                  <a:lnTo>
                    <a:pt x="18" y="42"/>
                  </a:lnTo>
                  <a:lnTo>
                    <a:pt x="16" y="46"/>
                  </a:lnTo>
                  <a:lnTo>
                    <a:pt x="16" y="48"/>
                  </a:lnTo>
                  <a:lnTo>
                    <a:pt x="14" y="52"/>
                  </a:lnTo>
                  <a:lnTo>
                    <a:pt x="12" y="52"/>
                  </a:lnTo>
                  <a:lnTo>
                    <a:pt x="10" y="56"/>
                  </a:lnTo>
                  <a:lnTo>
                    <a:pt x="8" y="56"/>
                  </a:lnTo>
                  <a:lnTo>
                    <a:pt x="4" y="54"/>
                  </a:lnTo>
                  <a:lnTo>
                    <a:pt x="4" y="52"/>
                  </a:lnTo>
                  <a:lnTo>
                    <a:pt x="4" y="48"/>
                  </a:lnTo>
                  <a:lnTo>
                    <a:pt x="2" y="36"/>
                  </a:lnTo>
                  <a:lnTo>
                    <a:pt x="0" y="30"/>
                  </a:lnTo>
                  <a:lnTo>
                    <a:pt x="4" y="22"/>
                  </a:lnTo>
                  <a:lnTo>
                    <a:pt x="4" y="20"/>
                  </a:lnTo>
                  <a:lnTo>
                    <a:pt x="10" y="16"/>
                  </a:lnTo>
                  <a:lnTo>
                    <a:pt x="10" y="14"/>
                  </a:lnTo>
                  <a:lnTo>
                    <a:pt x="12" y="14"/>
                  </a:lnTo>
                  <a:lnTo>
                    <a:pt x="22" y="6"/>
                  </a:lnTo>
                  <a:lnTo>
                    <a:pt x="24" y="4"/>
                  </a:lnTo>
                  <a:lnTo>
                    <a:pt x="32"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7" name="Freeform 2709"/>
            <p:cNvSpPr>
              <a:spLocks/>
            </p:cNvSpPr>
            <p:nvPr/>
          </p:nvSpPr>
          <p:spPr bwMode="auto">
            <a:xfrm>
              <a:off x="3224" y="3486"/>
              <a:ext cx="16" cy="22"/>
            </a:xfrm>
            <a:custGeom>
              <a:avLst/>
              <a:gdLst/>
              <a:ahLst/>
              <a:cxnLst>
                <a:cxn ang="0">
                  <a:pos x="4" y="2"/>
                </a:cxn>
                <a:cxn ang="0">
                  <a:pos x="6" y="2"/>
                </a:cxn>
                <a:cxn ang="0">
                  <a:pos x="8" y="6"/>
                </a:cxn>
                <a:cxn ang="0">
                  <a:pos x="10" y="6"/>
                </a:cxn>
                <a:cxn ang="0">
                  <a:pos x="14" y="10"/>
                </a:cxn>
                <a:cxn ang="0">
                  <a:pos x="16" y="12"/>
                </a:cxn>
                <a:cxn ang="0">
                  <a:pos x="14" y="22"/>
                </a:cxn>
                <a:cxn ang="0">
                  <a:pos x="12" y="22"/>
                </a:cxn>
                <a:cxn ang="0">
                  <a:pos x="8" y="22"/>
                </a:cxn>
                <a:cxn ang="0">
                  <a:pos x="4" y="20"/>
                </a:cxn>
                <a:cxn ang="0">
                  <a:pos x="4" y="18"/>
                </a:cxn>
                <a:cxn ang="0">
                  <a:pos x="2" y="18"/>
                </a:cxn>
                <a:cxn ang="0">
                  <a:pos x="2" y="14"/>
                </a:cxn>
                <a:cxn ang="0">
                  <a:pos x="0" y="6"/>
                </a:cxn>
                <a:cxn ang="0">
                  <a:pos x="2" y="2"/>
                </a:cxn>
                <a:cxn ang="0">
                  <a:pos x="4" y="0"/>
                </a:cxn>
                <a:cxn ang="0">
                  <a:pos x="4" y="2"/>
                </a:cxn>
              </a:cxnLst>
              <a:rect l="0" t="0" r="r" b="b"/>
              <a:pathLst>
                <a:path w="16" h="22">
                  <a:moveTo>
                    <a:pt x="4" y="2"/>
                  </a:moveTo>
                  <a:lnTo>
                    <a:pt x="6" y="2"/>
                  </a:lnTo>
                  <a:lnTo>
                    <a:pt x="8" y="6"/>
                  </a:lnTo>
                  <a:lnTo>
                    <a:pt x="10" y="6"/>
                  </a:lnTo>
                  <a:lnTo>
                    <a:pt x="14" y="10"/>
                  </a:lnTo>
                  <a:lnTo>
                    <a:pt x="16" y="12"/>
                  </a:lnTo>
                  <a:lnTo>
                    <a:pt x="14" y="22"/>
                  </a:lnTo>
                  <a:lnTo>
                    <a:pt x="12" y="22"/>
                  </a:lnTo>
                  <a:lnTo>
                    <a:pt x="8" y="22"/>
                  </a:lnTo>
                  <a:lnTo>
                    <a:pt x="4" y="20"/>
                  </a:lnTo>
                  <a:lnTo>
                    <a:pt x="4" y="18"/>
                  </a:lnTo>
                  <a:lnTo>
                    <a:pt x="2" y="18"/>
                  </a:lnTo>
                  <a:lnTo>
                    <a:pt x="2" y="14"/>
                  </a:lnTo>
                  <a:lnTo>
                    <a:pt x="0" y="6"/>
                  </a:lnTo>
                  <a:lnTo>
                    <a:pt x="2" y="2"/>
                  </a:lnTo>
                  <a:lnTo>
                    <a:pt x="4" y="0"/>
                  </a:lnTo>
                  <a:lnTo>
                    <a:pt x="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8" name="Freeform 2710"/>
            <p:cNvSpPr>
              <a:spLocks/>
            </p:cNvSpPr>
            <p:nvPr/>
          </p:nvSpPr>
          <p:spPr bwMode="auto">
            <a:xfrm>
              <a:off x="3540" y="3500"/>
              <a:ext cx="12" cy="40"/>
            </a:xfrm>
            <a:custGeom>
              <a:avLst/>
              <a:gdLst/>
              <a:ahLst/>
              <a:cxnLst>
                <a:cxn ang="0">
                  <a:pos x="8" y="40"/>
                </a:cxn>
                <a:cxn ang="0">
                  <a:pos x="6" y="36"/>
                </a:cxn>
                <a:cxn ang="0">
                  <a:pos x="0" y="22"/>
                </a:cxn>
                <a:cxn ang="0">
                  <a:pos x="4" y="16"/>
                </a:cxn>
                <a:cxn ang="0">
                  <a:pos x="6" y="10"/>
                </a:cxn>
                <a:cxn ang="0">
                  <a:pos x="6" y="8"/>
                </a:cxn>
                <a:cxn ang="0">
                  <a:pos x="6" y="6"/>
                </a:cxn>
                <a:cxn ang="0">
                  <a:pos x="4" y="4"/>
                </a:cxn>
                <a:cxn ang="0">
                  <a:pos x="8" y="0"/>
                </a:cxn>
                <a:cxn ang="0">
                  <a:pos x="10" y="0"/>
                </a:cxn>
                <a:cxn ang="0">
                  <a:pos x="10" y="10"/>
                </a:cxn>
                <a:cxn ang="0">
                  <a:pos x="8" y="20"/>
                </a:cxn>
                <a:cxn ang="0">
                  <a:pos x="12" y="32"/>
                </a:cxn>
                <a:cxn ang="0">
                  <a:pos x="10" y="34"/>
                </a:cxn>
                <a:cxn ang="0">
                  <a:pos x="8" y="40"/>
                </a:cxn>
              </a:cxnLst>
              <a:rect l="0" t="0" r="r" b="b"/>
              <a:pathLst>
                <a:path w="12" h="40">
                  <a:moveTo>
                    <a:pt x="8" y="40"/>
                  </a:moveTo>
                  <a:lnTo>
                    <a:pt x="6" y="36"/>
                  </a:lnTo>
                  <a:lnTo>
                    <a:pt x="0" y="22"/>
                  </a:lnTo>
                  <a:lnTo>
                    <a:pt x="4" y="16"/>
                  </a:lnTo>
                  <a:lnTo>
                    <a:pt x="6" y="10"/>
                  </a:lnTo>
                  <a:lnTo>
                    <a:pt x="6" y="8"/>
                  </a:lnTo>
                  <a:lnTo>
                    <a:pt x="6" y="6"/>
                  </a:lnTo>
                  <a:lnTo>
                    <a:pt x="4" y="4"/>
                  </a:lnTo>
                  <a:lnTo>
                    <a:pt x="8" y="0"/>
                  </a:lnTo>
                  <a:lnTo>
                    <a:pt x="10" y="0"/>
                  </a:lnTo>
                  <a:lnTo>
                    <a:pt x="10" y="10"/>
                  </a:lnTo>
                  <a:lnTo>
                    <a:pt x="8" y="20"/>
                  </a:lnTo>
                  <a:lnTo>
                    <a:pt x="12" y="32"/>
                  </a:lnTo>
                  <a:lnTo>
                    <a:pt x="10" y="34"/>
                  </a:lnTo>
                  <a:lnTo>
                    <a:pt x="8" y="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619" name="Freeform 2711"/>
            <p:cNvSpPr>
              <a:spLocks/>
            </p:cNvSpPr>
            <p:nvPr/>
          </p:nvSpPr>
          <p:spPr bwMode="auto">
            <a:xfrm>
              <a:off x="3280" y="3544"/>
              <a:ext cx="208" cy="60"/>
            </a:xfrm>
            <a:custGeom>
              <a:avLst/>
              <a:gdLst/>
              <a:ahLst/>
              <a:cxnLst>
                <a:cxn ang="0">
                  <a:pos x="6" y="42"/>
                </a:cxn>
                <a:cxn ang="0">
                  <a:pos x="2" y="16"/>
                </a:cxn>
                <a:cxn ang="0">
                  <a:pos x="2" y="10"/>
                </a:cxn>
                <a:cxn ang="0">
                  <a:pos x="4" y="12"/>
                </a:cxn>
                <a:cxn ang="0">
                  <a:pos x="8" y="18"/>
                </a:cxn>
                <a:cxn ang="0">
                  <a:pos x="14" y="14"/>
                </a:cxn>
                <a:cxn ang="0">
                  <a:pos x="10" y="8"/>
                </a:cxn>
                <a:cxn ang="0">
                  <a:pos x="12" y="0"/>
                </a:cxn>
                <a:cxn ang="0">
                  <a:pos x="16" y="6"/>
                </a:cxn>
                <a:cxn ang="0">
                  <a:pos x="18" y="14"/>
                </a:cxn>
                <a:cxn ang="0">
                  <a:pos x="30" y="14"/>
                </a:cxn>
                <a:cxn ang="0">
                  <a:pos x="36" y="12"/>
                </a:cxn>
                <a:cxn ang="0">
                  <a:pos x="38" y="8"/>
                </a:cxn>
                <a:cxn ang="0">
                  <a:pos x="46" y="6"/>
                </a:cxn>
                <a:cxn ang="0">
                  <a:pos x="46" y="14"/>
                </a:cxn>
                <a:cxn ang="0">
                  <a:pos x="42" y="16"/>
                </a:cxn>
                <a:cxn ang="0">
                  <a:pos x="54" y="26"/>
                </a:cxn>
                <a:cxn ang="0">
                  <a:pos x="62" y="26"/>
                </a:cxn>
                <a:cxn ang="0">
                  <a:pos x="72" y="24"/>
                </a:cxn>
                <a:cxn ang="0">
                  <a:pos x="80" y="20"/>
                </a:cxn>
                <a:cxn ang="0">
                  <a:pos x="106" y="16"/>
                </a:cxn>
                <a:cxn ang="0">
                  <a:pos x="114" y="20"/>
                </a:cxn>
                <a:cxn ang="0">
                  <a:pos x="130" y="20"/>
                </a:cxn>
                <a:cxn ang="0">
                  <a:pos x="138" y="18"/>
                </a:cxn>
                <a:cxn ang="0">
                  <a:pos x="142" y="22"/>
                </a:cxn>
                <a:cxn ang="0">
                  <a:pos x="146" y="22"/>
                </a:cxn>
                <a:cxn ang="0">
                  <a:pos x="156" y="18"/>
                </a:cxn>
                <a:cxn ang="0">
                  <a:pos x="166" y="16"/>
                </a:cxn>
                <a:cxn ang="0">
                  <a:pos x="166" y="22"/>
                </a:cxn>
                <a:cxn ang="0">
                  <a:pos x="164" y="26"/>
                </a:cxn>
                <a:cxn ang="0">
                  <a:pos x="166" y="32"/>
                </a:cxn>
                <a:cxn ang="0">
                  <a:pos x="168" y="34"/>
                </a:cxn>
                <a:cxn ang="0">
                  <a:pos x="172" y="36"/>
                </a:cxn>
                <a:cxn ang="0">
                  <a:pos x="178" y="28"/>
                </a:cxn>
                <a:cxn ang="0">
                  <a:pos x="192" y="22"/>
                </a:cxn>
                <a:cxn ang="0">
                  <a:pos x="202" y="20"/>
                </a:cxn>
                <a:cxn ang="0">
                  <a:pos x="208" y="30"/>
                </a:cxn>
                <a:cxn ang="0">
                  <a:pos x="206" y="38"/>
                </a:cxn>
                <a:cxn ang="0">
                  <a:pos x="198" y="42"/>
                </a:cxn>
                <a:cxn ang="0">
                  <a:pos x="186" y="40"/>
                </a:cxn>
                <a:cxn ang="0">
                  <a:pos x="154" y="48"/>
                </a:cxn>
                <a:cxn ang="0">
                  <a:pos x="138" y="50"/>
                </a:cxn>
                <a:cxn ang="0">
                  <a:pos x="114" y="58"/>
                </a:cxn>
                <a:cxn ang="0">
                  <a:pos x="100" y="60"/>
                </a:cxn>
                <a:cxn ang="0">
                  <a:pos x="96" y="54"/>
                </a:cxn>
                <a:cxn ang="0">
                  <a:pos x="92" y="48"/>
                </a:cxn>
                <a:cxn ang="0">
                  <a:pos x="88" y="46"/>
                </a:cxn>
                <a:cxn ang="0">
                  <a:pos x="80" y="48"/>
                </a:cxn>
                <a:cxn ang="0">
                  <a:pos x="76" y="44"/>
                </a:cxn>
                <a:cxn ang="0">
                  <a:pos x="50" y="42"/>
                </a:cxn>
                <a:cxn ang="0">
                  <a:pos x="44" y="42"/>
                </a:cxn>
                <a:cxn ang="0">
                  <a:pos x="38" y="44"/>
                </a:cxn>
                <a:cxn ang="0">
                  <a:pos x="28" y="40"/>
                </a:cxn>
                <a:cxn ang="0">
                  <a:pos x="14" y="42"/>
                </a:cxn>
              </a:cxnLst>
              <a:rect l="0" t="0" r="r" b="b"/>
              <a:pathLst>
                <a:path w="208" h="60">
                  <a:moveTo>
                    <a:pt x="12" y="42"/>
                  </a:moveTo>
                  <a:lnTo>
                    <a:pt x="6" y="42"/>
                  </a:lnTo>
                  <a:lnTo>
                    <a:pt x="0" y="38"/>
                  </a:lnTo>
                  <a:lnTo>
                    <a:pt x="2" y="16"/>
                  </a:lnTo>
                  <a:lnTo>
                    <a:pt x="2" y="12"/>
                  </a:lnTo>
                  <a:lnTo>
                    <a:pt x="2" y="10"/>
                  </a:lnTo>
                  <a:lnTo>
                    <a:pt x="2" y="8"/>
                  </a:lnTo>
                  <a:lnTo>
                    <a:pt x="4" y="12"/>
                  </a:lnTo>
                  <a:lnTo>
                    <a:pt x="4" y="16"/>
                  </a:lnTo>
                  <a:lnTo>
                    <a:pt x="8" y="18"/>
                  </a:lnTo>
                  <a:lnTo>
                    <a:pt x="12" y="18"/>
                  </a:lnTo>
                  <a:lnTo>
                    <a:pt x="14" y="14"/>
                  </a:lnTo>
                  <a:lnTo>
                    <a:pt x="12" y="12"/>
                  </a:lnTo>
                  <a:lnTo>
                    <a:pt x="10" y="8"/>
                  </a:lnTo>
                  <a:lnTo>
                    <a:pt x="10" y="4"/>
                  </a:lnTo>
                  <a:lnTo>
                    <a:pt x="12" y="0"/>
                  </a:lnTo>
                  <a:lnTo>
                    <a:pt x="14" y="2"/>
                  </a:lnTo>
                  <a:lnTo>
                    <a:pt x="16" y="6"/>
                  </a:lnTo>
                  <a:lnTo>
                    <a:pt x="16" y="12"/>
                  </a:lnTo>
                  <a:lnTo>
                    <a:pt x="18" y="14"/>
                  </a:lnTo>
                  <a:lnTo>
                    <a:pt x="22" y="14"/>
                  </a:lnTo>
                  <a:lnTo>
                    <a:pt x="30" y="14"/>
                  </a:lnTo>
                  <a:lnTo>
                    <a:pt x="32" y="14"/>
                  </a:lnTo>
                  <a:lnTo>
                    <a:pt x="36" y="12"/>
                  </a:lnTo>
                  <a:lnTo>
                    <a:pt x="38" y="10"/>
                  </a:lnTo>
                  <a:lnTo>
                    <a:pt x="38" y="8"/>
                  </a:lnTo>
                  <a:lnTo>
                    <a:pt x="42" y="6"/>
                  </a:lnTo>
                  <a:lnTo>
                    <a:pt x="46" y="6"/>
                  </a:lnTo>
                  <a:lnTo>
                    <a:pt x="48" y="10"/>
                  </a:lnTo>
                  <a:lnTo>
                    <a:pt x="46" y="14"/>
                  </a:lnTo>
                  <a:lnTo>
                    <a:pt x="42" y="14"/>
                  </a:lnTo>
                  <a:lnTo>
                    <a:pt x="42" y="16"/>
                  </a:lnTo>
                  <a:lnTo>
                    <a:pt x="46" y="18"/>
                  </a:lnTo>
                  <a:lnTo>
                    <a:pt x="54" y="26"/>
                  </a:lnTo>
                  <a:lnTo>
                    <a:pt x="58" y="26"/>
                  </a:lnTo>
                  <a:lnTo>
                    <a:pt x="62" y="26"/>
                  </a:lnTo>
                  <a:lnTo>
                    <a:pt x="70" y="24"/>
                  </a:lnTo>
                  <a:lnTo>
                    <a:pt x="72" y="24"/>
                  </a:lnTo>
                  <a:lnTo>
                    <a:pt x="80" y="22"/>
                  </a:lnTo>
                  <a:lnTo>
                    <a:pt x="80" y="20"/>
                  </a:lnTo>
                  <a:lnTo>
                    <a:pt x="92" y="18"/>
                  </a:lnTo>
                  <a:lnTo>
                    <a:pt x="106" y="16"/>
                  </a:lnTo>
                  <a:lnTo>
                    <a:pt x="112" y="18"/>
                  </a:lnTo>
                  <a:lnTo>
                    <a:pt x="114" y="20"/>
                  </a:lnTo>
                  <a:lnTo>
                    <a:pt x="124" y="20"/>
                  </a:lnTo>
                  <a:lnTo>
                    <a:pt x="130" y="20"/>
                  </a:lnTo>
                  <a:lnTo>
                    <a:pt x="132" y="20"/>
                  </a:lnTo>
                  <a:lnTo>
                    <a:pt x="138" y="18"/>
                  </a:lnTo>
                  <a:lnTo>
                    <a:pt x="140" y="22"/>
                  </a:lnTo>
                  <a:lnTo>
                    <a:pt x="142" y="22"/>
                  </a:lnTo>
                  <a:lnTo>
                    <a:pt x="144" y="22"/>
                  </a:lnTo>
                  <a:lnTo>
                    <a:pt x="146" y="22"/>
                  </a:lnTo>
                  <a:lnTo>
                    <a:pt x="152" y="18"/>
                  </a:lnTo>
                  <a:lnTo>
                    <a:pt x="156" y="18"/>
                  </a:lnTo>
                  <a:lnTo>
                    <a:pt x="158" y="16"/>
                  </a:lnTo>
                  <a:lnTo>
                    <a:pt x="166" y="16"/>
                  </a:lnTo>
                  <a:lnTo>
                    <a:pt x="166" y="18"/>
                  </a:lnTo>
                  <a:lnTo>
                    <a:pt x="166" y="22"/>
                  </a:lnTo>
                  <a:lnTo>
                    <a:pt x="166" y="26"/>
                  </a:lnTo>
                  <a:lnTo>
                    <a:pt x="164" y="26"/>
                  </a:lnTo>
                  <a:lnTo>
                    <a:pt x="164" y="30"/>
                  </a:lnTo>
                  <a:lnTo>
                    <a:pt x="166" y="32"/>
                  </a:lnTo>
                  <a:lnTo>
                    <a:pt x="166" y="34"/>
                  </a:lnTo>
                  <a:lnTo>
                    <a:pt x="168" y="34"/>
                  </a:lnTo>
                  <a:lnTo>
                    <a:pt x="170" y="36"/>
                  </a:lnTo>
                  <a:lnTo>
                    <a:pt x="172" y="36"/>
                  </a:lnTo>
                  <a:lnTo>
                    <a:pt x="176" y="30"/>
                  </a:lnTo>
                  <a:lnTo>
                    <a:pt x="178" y="28"/>
                  </a:lnTo>
                  <a:lnTo>
                    <a:pt x="188" y="22"/>
                  </a:lnTo>
                  <a:lnTo>
                    <a:pt x="192" y="22"/>
                  </a:lnTo>
                  <a:lnTo>
                    <a:pt x="194" y="24"/>
                  </a:lnTo>
                  <a:lnTo>
                    <a:pt x="202" y="20"/>
                  </a:lnTo>
                  <a:lnTo>
                    <a:pt x="208" y="14"/>
                  </a:lnTo>
                  <a:lnTo>
                    <a:pt x="208" y="30"/>
                  </a:lnTo>
                  <a:lnTo>
                    <a:pt x="208" y="34"/>
                  </a:lnTo>
                  <a:lnTo>
                    <a:pt x="206" y="38"/>
                  </a:lnTo>
                  <a:lnTo>
                    <a:pt x="202" y="40"/>
                  </a:lnTo>
                  <a:lnTo>
                    <a:pt x="198" y="42"/>
                  </a:lnTo>
                  <a:lnTo>
                    <a:pt x="196" y="42"/>
                  </a:lnTo>
                  <a:lnTo>
                    <a:pt x="186" y="40"/>
                  </a:lnTo>
                  <a:lnTo>
                    <a:pt x="158" y="46"/>
                  </a:lnTo>
                  <a:lnTo>
                    <a:pt x="154" y="48"/>
                  </a:lnTo>
                  <a:lnTo>
                    <a:pt x="152" y="50"/>
                  </a:lnTo>
                  <a:lnTo>
                    <a:pt x="138" y="50"/>
                  </a:lnTo>
                  <a:lnTo>
                    <a:pt x="128" y="56"/>
                  </a:lnTo>
                  <a:lnTo>
                    <a:pt x="114" y="58"/>
                  </a:lnTo>
                  <a:lnTo>
                    <a:pt x="108" y="60"/>
                  </a:lnTo>
                  <a:lnTo>
                    <a:pt x="100" y="60"/>
                  </a:lnTo>
                  <a:lnTo>
                    <a:pt x="96" y="60"/>
                  </a:lnTo>
                  <a:lnTo>
                    <a:pt x="96" y="54"/>
                  </a:lnTo>
                  <a:lnTo>
                    <a:pt x="94" y="52"/>
                  </a:lnTo>
                  <a:lnTo>
                    <a:pt x="92" y="48"/>
                  </a:lnTo>
                  <a:lnTo>
                    <a:pt x="92" y="46"/>
                  </a:lnTo>
                  <a:lnTo>
                    <a:pt x="88" y="46"/>
                  </a:lnTo>
                  <a:lnTo>
                    <a:pt x="84" y="46"/>
                  </a:lnTo>
                  <a:lnTo>
                    <a:pt x="80" y="48"/>
                  </a:lnTo>
                  <a:lnTo>
                    <a:pt x="78" y="46"/>
                  </a:lnTo>
                  <a:lnTo>
                    <a:pt x="76" y="44"/>
                  </a:lnTo>
                  <a:lnTo>
                    <a:pt x="66" y="40"/>
                  </a:lnTo>
                  <a:lnTo>
                    <a:pt x="50" y="42"/>
                  </a:lnTo>
                  <a:lnTo>
                    <a:pt x="46" y="42"/>
                  </a:lnTo>
                  <a:lnTo>
                    <a:pt x="44" y="42"/>
                  </a:lnTo>
                  <a:lnTo>
                    <a:pt x="40" y="44"/>
                  </a:lnTo>
                  <a:lnTo>
                    <a:pt x="38" y="44"/>
                  </a:lnTo>
                  <a:lnTo>
                    <a:pt x="32" y="42"/>
                  </a:lnTo>
                  <a:lnTo>
                    <a:pt x="28" y="40"/>
                  </a:lnTo>
                  <a:lnTo>
                    <a:pt x="22" y="40"/>
                  </a:lnTo>
                  <a:lnTo>
                    <a:pt x="14" y="42"/>
                  </a:lnTo>
                  <a:lnTo>
                    <a:pt x="12" y="4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4" name="Freeform 2713"/>
          <p:cNvSpPr>
            <a:spLocks/>
          </p:cNvSpPr>
          <p:nvPr/>
        </p:nvSpPr>
        <p:spPr bwMode="auto">
          <a:xfrm>
            <a:off x="4839891" y="6559570"/>
            <a:ext cx="20676" cy="17722"/>
          </a:xfrm>
          <a:custGeom>
            <a:avLst/>
            <a:gdLst/>
            <a:ahLst/>
            <a:cxnLst>
              <a:cxn ang="0">
                <a:pos x="0" y="12"/>
              </a:cxn>
              <a:cxn ang="0">
                <a:pos x="0" y="10"/>
              </a:cxn>
              <a:cxn ang="0">
                <a:pos x="0" y="8"/>
              </a:cxn>
              <a:cxn ang="0">
                <a:pos x="10" y="0"/>
              </a:cxn>
              <a:cxn ang="0">
                <a:pos x="12" y="0"/>
              </a:cxn>
              <a:cxn ang="0">
                <a:pos x="14" y="0"/>
              </a:cxn>
              <a:cxn ang="0">
                <a:pos x="12" y="6"/>
              </a:cxn>
              <a:cxn ang="0">
                <a:pos x="10" y="8"/>
              </a:cxn>
              <a:cxn ang="0">
                <a:pos x="8" y="8"/>
              </a:cxn>
              <a:cxn ang="0">
                <a:pos x="6" y="8"/>
              </a:cxn>
              <a:cxn ang="0">
                <a:pos x="4" y="10"/>
              </a:cxn>
              <a:cxn ang="0">
                <a:pos x="2" y="12"/>
              </a:cxn>
              <a:cxn ang="0">
                <a:pos x="0" y="12"/>
              </a:cxn>
            </a:cxnLst>
            <a:rect l="0" t="0" r="r" b="b"/>
            <a:pathLst>
              <a:path w="14" h="12">
                <a:moveTo>
                  <a:pt x="0" y="12"/>
                </a:moveTo>
                <a:lnTo>
                  <a:pt x="0" y="10"/>
                </a:lnTo>
                <a:lnTo>
                  <a:pt x="0" y="8"/>
                </a:lnTo>
                <a:lnTo>
                  <a:pt x="10" y="0"/>
                </a:lnTo>
                <a:lnTo>
                  <a:pt x="12" y="0"/>
                </a:lnTo>
                <a:lnTo>
                  <a:pt x="14" y="0"/>
                </a:lnTo>
                <a:lnTo>
                  <a:pt x="12" y="6"/>
                </a:lnTo>
                <a:lnTo>
                  <a:pt x="10" y="8"/>
                </a:lnTo>
                <a:lnTo>
                  <a:pt x="8" y="8"/>
                </a:lnTo>
                <a:lnTo>
                  <a:pt x="6" y="8"/>
                </a:lnTo>
                <a:lnTo>
                  <a:pt x="4" y="10"/>
                </a:lnTo>
                <a:lnTo>
                  <a:pt x="2" y="12"/>
                </a:lnTo>
                <a:lnTo>
                  <a:pt x="0" y="12"/>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5" name="Group 2831"/>
          <p:cNvGrpSpPr>
            <a:grpSpLocks/>
          </p:cNvGrpSpPr>
          <p:nvPr/>
        </p:nvGrpSpPr>
        <p:grpSpPr bwMode="auto">
          <a:xfrm>
            <a:off x="2872747" y="5041385"/>
            <a:ext cx="1290754" cy="1089904"/>
            <a:chOff x="1012" y="2624"/>
            <a:chExt cx="874" cy="738"/>
          </a:xfrm>
          <a:solidFill>
            <a:srgbClr val="646464"/>
          </a:solidFill>
        </p:grpSpPr>
        <p:sp>
          <p:nvSpPr>
            <p:cNvPr id="583" name="Freeform 2721"/>
            <p:cNvSpPr>
              <a:spLocks/>
            </p:cNvSpPr>
            <p:nvPr/>
          </p:nvSpPr>
          <p:spPr bwMode="auto">
            <a:xfrm>
              <a:off x="1012" y="2624"/>
              <a:ext cx="836" cy="738"/>
            </a:xfrm>
            <a:custGeom>
              <a:avLst/>
              <a:gdLst/>
              <a:ahLst/>
              <a:cxnLst>
                <a:cxn ang="0">
                  <a:pos x="124" y="268"/>
                </a:cxn>
                <a:cxn ang="0">
                  <a:pos x="150" y="250"/>
                </a:cxn>
                <a:cxn ang="0">
                  <a:pos x="172" y="212"/>
                </a:cxn>
                <a:cxn ang="0">
                  <a:pos x="142" y="176"/>
                </a:cxn>
                <a:cxn ang="0">
                  <a:pos x="110" y="182"/>
                </a:cxn>
                <a:cxn ang="0">
                  <a:pos x="62" y="170"/>
                </a:cxn>
                <a:cxn ang="0">
                  <a:pos x="62" y="138"/>
                </a:cxn>
                <a:cxn ang="0">
                  <a:pos x="18" y="148"/>
                </a:cxn>
                <a:cxn ang="0">
                  <a:pos x="38" y="116"/>
                </a:cxn>
                <a:cxn ang="0">
                  <a:pos x="38" y="104"/>
                </a:cxn>
                <a:cxn ang="0">
                  <a:pos x="38" y="88"/>
                </a:cxn>
                <a:cxn ang="0">
                  <a:pos x="22" y="80"/>
                </a:cxn>
                <a:cxn ang="0">
                  <a:pos x="24" y="52"/>
                </a:cxn>
                <a:cxn ang="0">
                  <a:pos x="46" y="26"/>
                </a:cxn>
                <a:cxn ang="0">
                  <a:pos x="98" y="12"/>
                </a:cxn>
                <a:cxn ang="0">
                  <a:pos x="160" y="20"/>
                </a:cxn>
                <a:cxn ang="0">
                  <a:pos x="212" y="44"/>
                </a:cxn>
                <a:cxn ang="0">
                  <a:pos x="264" y="58"/>
                </a:cxn>
                <a:cxn ang="0">
                  <a:pos x="308" y="78"/>
                </a:cxn>
                <a:cxn ang="0">
                  <a:pos x="354" y="94"/>
                </a:cxn>
                <a:cxn ang="0">
                  <a:pos x="420" y="110"/>
                </a:cxn>
                <a:cxn ang="0">
                  <a:pos x="468" y="126"/>
                </a:cxn>
                <a:cxn ang="0">
                  <a:pos x="518" y="140"/>
                </a:cxn>
                <a:cxn ang="0">
                  <a:pos x="540" y="166"/>
                </a:cxn>
                <a:cxn ang="0">
                  <a:pos x="574" y="192"/>
                </a:cxn>
                <a:cxn ang="0">
                  <a:pos x="618" y="218"/>
                </a:cxn>
                <a:cxn ang="0">
                  <a:pos x="664" y="220"/>
                </a:cxn>
                <a:cxn ang="0">
                  <a:pos x="710" y="232"/>
                </a:cxn>
                <a:cxn ang="0">
                  <a:pos x="730" y="254"/>
                </a:cxn>
                <a:cxn ang="0">
                  <a:pos x="766" y="266"/>
                </a:cxn>
                <a:cxn ang="0">
                  <a:pos x="820" y="276"/>
                </a:cxn>
                <a:cxn ang="0">
                  <a:pos x="832" y="292"/>
                </a:cxn>
                <a:cxn ang="0">
                  <a:pos x="824" y="322"/>
                </a:cxn>
                <a:cxn ang="0">
                  <a:pos x="752" y="356"/>
                </a:cxn>
                <a:cxn ang="0">
                  <a:pos x="708" y="374"/>
                </a:cxn>
                <a:cxn ang="0">
                  <a:pos x="652" y="384"/>
                </a:cxn>
                <a:cxn ang="0">
                  <a:pos x="626" y="418"/>
                </a:cxn>
                <a:cxn ang="0">
                  <a:pos x="594" y="448"/>
                </a:cxn>
                <a:cxn ang="0">
                  <a:pos x="546" y="546"/>
                </a:cxn>
                <a:cxn ang="0">
                  <a:pos x="570" y="578"/>
                </a:cxn>
                <a:cxn ang="0">
                  <a:pos x="512" y="608"/>
                </a:cxn>
                <a:cxn ang="0">
                  <a:pos x="486" y="670"/>
                </a:cxn>
                <a:cxn ang="0">
                  <a:pos x="430" y="672"/>
                </a:cxn>
                <a:cxn ang="0">
                  <a:pos x="390" y="712"/>
                </a:cxn>
                <a:cxn ang="0">
                  <a:pos x="346" y="716"/>
                </a:cxn>
                <a:cxn ang="0">
                  <a:pos x="312" y="716"/>
                </a:cxn>
                <a:cxn ang="0">
                  <a:pos x="260" y="706"/>
                </a:cxn>
                <a:cxn ang="0">
                  <a:pos x="208" y="696"/>
                </a:cxn>
                <a:cxn ang="0">
                  <a:pos x="166" y="708"/>
                </a:cxn>
                <a:cxn ang="0">
                  <a:pos x="122" y="728"/>
                </a:cxn>
                <a:cxn ang="0">
                  <a:pos x="76" y="716"/>
                </a:cxn>
                <a:cxn ang="0">
                  <a:pos x="60" y="668"/>
                </a:cxn>
                <a:cxn ang="0">
                  <a:pos x="30" y="606"/>
                </a:cxn>
                <a:cxn ang="0">
                  <a:pos x="2" y="582"/>
                </a:cxn>
                <a:cxn ang="0">
                  <a:pos x="24" y="540"/>
                </a:cxn>
                <a:cxn ang="0">
                  <a:pos x="52" y="514"/>
                </a:cxn>
                <a:cxn ang="0">
                  <a:pos x="50" y="462"/>
                </a:cxn>
                <a:cxn ang="0">
                  <a:pos x="62" y="430"/>
                </a:cxn>
                <a:cxn ang="0">
                  <a:pos x="68" y="378"/>
                </a:cxn>
                <a:cxn ang="0">
                  <a:pos x="96" y="340"/>
                </a:cxn>
              </a:cxnLst>
              <a:rect l="0" t="0" r="r" b="b"/>
              <a:pathLst>
                <a:path w="836" h="738">
                  <a:moveTo>
                    <a:pt x="104" y="330"/>
                  </a:moveTo>
                  <a:lnTo>
                    <a:pt x="106" y="332"/>
                  </a:lnTo>
                  <a:lnTo>
                    <a:pt x="108" y="332"/>
                  </a:lnTo>
                  <a:lnTo>
                    <a:pt x="110" y="332"/>
                  </a:lnTo>
                  <a:lnTo>
                    <a:pt x="112" y="328"/>
                  </a:lnTo>
                  <a:lnTo>
                    <a:pt x="116" y="322"/>
                  </a:lnTo>
                  <a:lnTo>
                    <a:pt x="120" y="310"/>
                  </a:lnTo>
                  <a:lnTo>
                    <a:pt x="124" y="290"/>
                  </a:lnTo>
                  <a:lnTo>
                    <a:pt x="128" y="280"/>
                  </a:lnTo>
                  <a:lnTo>
                    <a:pt x="126" y="270"/>
                  </a:lnTo>
                  <a:lnTo>
                    <a:pt x="124" y="268"/>
                  </a:lnTo>
                  <a:lnTo>
                    <a:pt x="122" y="262"/>
                  </a:lnTo>
                  <a:lnTo>
                    <a:pt x="124" y="262"/>
                  </a:lnTo>
                  <a:lnTo>
                    <a:pt x="128" y="264"/>
                  </a:lnTo>
                  <a:lnTo>
                    <a:pt x="132" y="262"/>
                  </a:lnTo>
                  <a:lnTo>
                    <a:pt x="134" y="262"/>
                  </a:lnTo>
                  <a:lnTo>
                    <a:pt x="136" y="258"/>
                  </a:lnTo>
                  <a:lnTo>
                    <a:pt x="136" y="256"/>
                  </a:lnTo>
                  <a:lnTo>
                    <a:pt x="144" y="250"/>
                  </a:lnTo>
                  <a:lnTo>
                    <a:pt x="148" y="248"/>
                  </a:lnTo>
                  <a:lnTo>
                    <a:pt x="150" y="248"/>
                  </a:lnTo>
                  <a:lnTo>
                    <a:pt x="150" y="250"/>
                  </a:lnTo>
                  <a:lnTo>
                    <a:pt x="154" y="250"/>
                  </a:lnTo>
                  <a:lnTo>
                    <a:pt x="156" y="248"/>
                  </a:lnTo>
                  <a:lnTo>
                    <a:pt x="162" y="244"/>
                  </a:lnTo>
                  <a:lnTo>
                    <a:pt x="170" y="240"/>
                  </a:lnTo>
                  <a:lnTo>
                    <a:pt x="174" y="236"/>
                  </a:lnTo>
                  <a:lnTo>
                    <a:pt x="182" y="230"/>
                  </a:lnTo>
                  <a:lnTo>
                    <a:pt x="186" y="226"/>
                  </a:lnTo>
                  <a:lnTo>
                    <a:pt x="182" y="220"/>
                  </a:lnTo>
                  <a:lnTo>
                    <a:pt x="180" y="216"/>
                  </a:lnTo>
                  <a:lnTo>
                    <a:pt x="178" y="214"/>
                  </a:lnTo>
                  <a:lnTo>
                    <a:pt x="172" y="212"/>
                  </a:lnTo>
                  <a:lnTo>
                    <a:pt x="170" y="214"/>
                  </a:lnTo>
                  <a:lnTo>
                    <a:pt x="166" y="214"/>
                  </a:lnTo>
                  <a:lnTo>
                    <a:pt x="164" y="210"/>
                  </a:lnTo>
                  <a:lnTo>
                    <a:pt x="166" y="202"/>
                  </a:lnTo>
                  <a:lnTo>
                    <a:pt x="170" y="196"/>
                  </a:lnTo>
                  <a:lnTo>
                    <a:pt x="170" y="188"/>
                  </a:lnTo>
                  <a:lnTo>
                    <a:pt x="166" y="184"/>
                  </a:lnTo>
                  <a:lnTo>
                    <a:pt x="160" y="184"/>
                  </a:lnTo>
                  <a:lnTo>
                    <a:pt x="146" y="180"/>
                  </a:lnTo>
                  <a:lnTo>
                    <a:pt x="144" y="180"/>
                  </a:lnTo>
                  <a:lnTo>
                    <a:pt x="142" y="176"/>
                  </a:lnTo>
                  <a:lnTo>
                    <a:pt x="140" y="178"/>
                  </a:lnTo>
                  <a:lnTo>
                    <a:pt x="136" y="176"/>
                  </a:lnTo>
                  <a:lnTo>
                    <a:pt x="134" y="172"/>
                  </a:lnTo>
                  <a:lnTo>
                    <a:pt x="132" y="172"/>
                  </a:lnTo>
                  <a:lnTo>
                    <a:pt x="128" y="172"/>
                  </a:lnTo>
                  <a:lnTo>
                    <a:pt x="128" y="176"/>
                  </a:lnTo>
                  <a:lnTo>
                    <a:pt x="126" y="180"/>
                  </a:lnTo>
                  <a:lnTo>
                    <a:pt x="124" y="180"/>
                  </a:lnTo>
                  <a:lnTo>
                    <a:pt x="120" y="180"/>
                  </a:lnTo>
                  <a:lnTo>
                    <a:pt x="116" y="180"/>
                  </a:lnTo>
                  <a:lnTo>
                    <a:pt x="110" y="182"/>
                  </a:lnTo>
                  <a:lnTo>
                    <a:pt x="98" y="176"/>
                  </a:lnTo>
                  <a:lnTo>
                    <a:pt x="100" y="174"/>
                  </a:lnTo>
                  <a:lnTo>
                    <a:pt x="94" y="170"/>
                  </a:lnTo>
                  <a:lnTo>
                    <a:pt x="88" y="168"/>
                  </a:lnTo>
                  <a:lnTo>
                    <a:pt x="82" y="170"/>
                  </a:lnTo>
                  <a:lnTo>
                    <a:pt x="80" y="170"/>
                  </a:lnTo>
                  <a:lnTo>
                    <a:pt x="78" y="168"/>
                  </a:lnTo>
                  <a:lnTo>
                    <a:pt x="70" y="170"/>
                  </a:lnTo>
                  <a:lnTo>
                    <a:pt x="68" y="170"/>
                  </a:lnTo>
                  <a:lnTo>
                    <a:pt x="66" y="170"/>
                  </a:lnTo>
                  <a:lnTo>
                    <a:pt x="62" y="170"/>
                  </a:lnTo>
                  <a:lnTo>
                    <a:pt x="60" y="168"/>
                  </a:lnTo>
                  <a:lnTo>
                    <a:pt x="62" y="164"/>
                  </a:lnTo>
                  <a:lnTo>
                    <a:pt x="60" y="162"/>
                  </a:lnTo>
                  <a:lnTo>
                    <a:pt x="58" y="160"/>
                  </a:lnTo>
                  <a:lnTo>
                    <a:pt x="60" y="158"/>
                  </a:lnTo>
                  <a:lnTo>
                    <a:pt x="64" y="154"/>
                  </a:lnTo>
                  <a:lnTo>
                    <a:pt x="66" y="152"/>
                  </a:lnTo>
                  <a:lnTo>
                    <a:pt x="70" y="152"/>
                  </a:lnTo>
                  <a:lnTo>
                    <a:pt x="72" y="148"/>
                  </a:lnTo>
                  <a:lnTo>
                    <a:pt x="66" y="138"/>
                  </a:lnTo>
                  <a:lnTo>
                    <a:pt x="62" y="138"/>
                  </a:lnTo>
                  <a:lnTo>
                    <a:pt x="58" y="140"/>
                  </a:lnTo>
                  <a:lnTo>
                    <a:pt x="48" y="138"/>
                  </a:lnTo>
                  <a:lnTo>
                    <a:pt x="46" y="138"/>
                  </a:lnTo>
                  <a:lnTo>
                    <a:pt x="44" y="138"/>
                  </a:lnTo>
                  <a:lnTo>
                    <a:pt x="38" y="138"/>
                  </a:lnTo>
                  <a:lnTo>
                    <a:pt x="34" y="138"/>
                  </a:lnTo>
                  <a:lnTo>
                    <a:pt x="26" y="144"/>
                  </a:lnTo>
                  <a:lnTo>
                    <a:pt x="24" y="146"/>
                  </a:lnTo>
                  <a:lnTo>
                    <a:pt x="22" y="146"/>
                  </a:lnTo>
                  <a:lnTo>
                    <a:pt x="20" y="146"/>
                  </a:lnTo>
                  <a:lnTo>
                    <a:pt x="18" y="148"/>
                  </a:lnTo>
                  <a:lnTo>
                    <a:pt x="16" y="148"/>
                  </a:lnTo>
                  <a:lnTo>
                    <a:pt x="16" y="144"/>
                  </a:lnTo>
                  <a:lnTo>
                    <a:pt x="20" y="128"/>
                  </a:lnTo>
                  <a:lnTo>
                    <a:pt x="28" y="122"/>
                  </a:lnTo>
                  <a:lnTo>
                    <a:pt x="32" y="120"/>
                  </a:lnTo>
                  <a:lnTo>
                    <a:pt x="34" y="118"/>
                  </a:lnTo>
                  <a:lnTo>
                    <a:pt x="42" y="116"/>
                  </a:lnTo>
                  <a:lnTo>
                    <a:pt x="46" y="112"/>
                  </a:lnTo>
                  <a:lnTo>
                    <a:pt x="44" y="112"/>
                  </a:lnTo>
                  <a:lnTo>
                    <a:pt x="42" y="114"/>
                  </a:lnTo>
                  <a:lnTo>
                    <a:pt x="38" y="116"/>
                  </a:lnTo>
                  <a:lnTo>
                    <a:pt x="32" y="116"/>
                  </a:lnTo>
                  <a:lnTo>
                    <a:pt x="30" y="116"/>
                  </a:lnTo>
                  <a:lnTo>
                    <a:pt x="26" y="116"/>
                  </a:lnTo>
                  <a:lnTo>
                    <a:pt x="28" y="112"/>
                  </a:lnTo>
                  <a:lnTo>
                    <a:pt x="30" y="110"/>
                  </a:lnTo>
                  <a:lnTo>
                    <a:pt x="32" y="110"/>
                  </a:lnTo>
                  <a:lnTo>
                    <a:pt x="42" y="106"/>
                  </a:lnTo>
                  <a:lnTo>
                    <a:pt x="42" y="104"/>
                  </a:lnTo>
                  <a:lnTo>
                    <a:pt x="44" y="104"/>
                  </a:lnTo>
                  <a:lnTo>
                    <a:pt x="42" y="102"/>
                  </a:lnTo>
                  <a:lnTo>
                    <a:pt x="38" y="104"/>
                  </a:lnTo>
                  <a:lnTo>
                    <a:pt x="34" y="104"/>
                  </a:lnTo>
                  <a:lnTo>
                    <a:pt x="30" y="104"/>
                  </a:lnTo>
                  <a:lnTo>
                    <a:pt x="30" y="100"/>
                  </a:lnTo>
                  <a:lnTo>
                    <a:pt x="30" y="94"/>
                  </a:lnTo>
                  <a:lnTo>
                    <a:pt x="32" y="94"/>
                  </a:lnTo>
                  <a:lnTo>
                    <a:pt x="30" y="98"/>
                  </a:lnTo>
                  <a:lnTo>
                    <a:pt x="34" y="98"/>
                  </a:lnTo>
                  <a:lnTo>
                    <a:pt x="36" y="94"/>
                  </a:lnTo>
                  <a:lnTo>
                    <a:pt x="36" y="92"/>
                  </a:lnTo>
                  <a:lnTo>
                    <a:pt x="36" y="90"/>
                  </a:lnTo>
                  <a:lnTo>
                    <a:pt x="38" y="88"/>
                  </a:lnTo>
                  <a:lnTo>
                    <a:pt x="40" y="86"/>
                  </a:lnTo>
                  <a:lnTo>
                    <a:pt x="44" y="84"/>
                  </a:lnTo>
                  <a:lnTo>
                    <a:pt x="46" y="80"/>
                  </a:lnTo>
                  <a:lnTo>
                    <a:pt x="46" y="78"/>
                  </a:lnTo>
                  <a:lnTo>
                    <a:pt x="38" y="80"/>
                  </a:lnTo>
                  <a:lnTo>
                    <a:pt x="32" y="82"/>
                  </a:lnTo>
                  <a:lnTo>
                    <a:pt x="30" y="82"/>
                  </a:lnTo>
                  <a:lnTo>
                    <a:pt x="24" y="88"/>
                  </a:lnTo>
                  <a:lnTo>
                    <a:pt x="22" y="88"/>
                  </a:lnTo>
                  <a:lnTo>
                    <a:pt x="22" y="82"/>
                  </a:lnTo>
                  <a:lnTo>
                    <a:pt x="22" y="80"/>
                  </a:lnTo>
                  <a:lnTo>
                    <a:pt x="26" y="74"/>
                  </a:lnTo>
                  <a:lnTo>
                    <a:pt x="28" y="72"/>
                  </a:lnTo>
                  <a:lnTo>
                    <a:pt x="30" y="70"/>
                  </a:lnTo>
                  <a:lnTo>
                    <a:pt x="36" y="66"/>
                  </a:lnTo>
                  <a:lnTo>
                    <a:pt x="30" y="66"/>
                  </a:lnTo>
                  <a:lnTo>
                    <a:pt x="24" y="68"/>
                  </a:lnTo>
                  <a:lnTo>
                    <a:pt x="24" y="66"/>
                  </a:lnTo>
                  <a:lnTo>
                    <a:pt x="22" y="64"/>
                  </a:lnTo>
                  <a:lnTo>
                    <a:pt x="22" y="60"/>
                  </a:lnTo>
                  <a:lnTo>
                    <a:pt x="24" y="58"/>
                  </a:lnTo>
                  <a:lnTo>
                    <a:pt x="24" y="52"/>
                  </a:lnTo>
                  <a:lnTo>
                    <a:pt x="24" y="50"/>
                  </a:lnTo>
                  <a:lnTo>
                    <a:pt x="24" y="46"/>
                  </a:lnTo>
                  <a:lnTo>
                    <a:pt x="18" y="48"/>
                  </a:lnTo>
                  <a:lnTo>
                    <a:pt x="16" y="48"/>
                  </a:lnTo>
                  <a:lnTo>
                    <a:pt x="22" y="36"/>
                  </a:lnTo>
                  <a:lnTo>
                    <a:pt x="28" y="28"/>
                  </a:lnTo>
                  <a:lnTo>
                    <a:pt x="30" y="26"/>
                  </a:lnTo>
                  <a:lnTo>
                    <a:pt x="34" y="26"/>
                  </a:lnTo>
                  <a:lnTo>
                    <a:pt x="36" y="28"/>
                  </a:lnTo>
                  <a:lnTo>
                    <a:pt x="40" y="28"/>
                  </a:lnTo>
                  <a:lnTo>
                    <a:pt x="46" y="26"/>
                  </a:lnTo>
                  <a:lnTo>
                    <a:pt x="46" y="22"/>
                  </a:lnTo>
                  <a:lnTo>
                    <a:pt x="48" y="20"/>
                  </a:lnTo>
                  <a:lnTo>
                    <a:pt x="54" y="20"/>
                  </a:lnTo>
                  <a:lnTo>
                    <a:pt x="56" y="20"/>
                  </a:lnTo>
                  <a:lnTo>
                    <a:pt x="58" y="24"/>
                  </a:lnTo>
                  <a:lnTo>
                    <a:pt x="62" y="26"/>
                  </a:lnTo>
                  <a:lnTo>
                    <a:pt x="64" y="26"/>
                  </a:lnTo>
                  <a:lnTo>
                    <a:pt x="66" y="26"/>
                  </a:lnTo>
                  <a:lnTo>
                    <a:pt x="84" y="24"/>
                  </a:lnTo>
                  <a:lnTo>
                    <a:pt x="90" y="24"/>
                  </a:lnTo>
                  <a:lnTo>
                    <a:pt x="98" y="12"/>
                  </a:lnTo>
                  <a:lnTo>
                    <a:pt x="118" y="2"/>
                  </a:lnTo>
                  <a:lnTo>
                    <a:pt x="128" y="0"/>
                  </a:lnTo>
                  <a:lnTo>
                    <a:pt x="130" y="0"/>
                  </a:lnTo>
                  <a:lnTo>
                    <a:pt x="128" y="4"/>
                  </a:lnTo>
                  <a:lnTo>
                    <a:pt x="132" y="4"/>
                  </a:lnTo>
                  <a:lnTo>
                    <a:pt x="138" y="4"/>
                  </a:lnTo>
                  <a:lnTo>
                    <a:pt x="140" y="4"/>
                  </a:lnTo>
                  <a:lnTo>
                    <a:pt x="150" y="8"/>
                  </a:lnTo>
                  <a:lnTo>
                    <a:pt x="154" y="10"/>
                  </a:lnTo>
                  <a:lnTo>
                    <a:pt x="158" y="16"/>
                  </a:lnTo>
                  <a:lnTo>
                    <a:pt x="160" y="20"/>
                  </a:lnTo>
                  <a:lnTo>
                    <a:pt x="162" y="24"/>
                  </a:lnTo>
                  <a:lnTo>
                    <a:pt x="164" y="28"/>
                  </a:lnTo>
                  <a:lnTo>
                    <a:pt x="166" y="30"/>
                  </a:lnTo>
                  <a:lnTo>
                    <a:pt x="178" y="34"/>
                  </a:lnTo>
                  <a:lnTo>
                    <a:pt x="174" y="40"/>
                  </a:lnTo>
                  <a:lnTo>
                    <a:pt x="178" y="36"/>
                  </a:lnTo>
                  <a:lnTo>
                    <a:pt x="180" y="34"/>
                  </a:lnTo>
                  <a:lnTo>
                    <a:pt x="184" y="32"/>
                  </a:lnTo>
                  <a:lnTo>
                    <a:pt x="194" y="36"/>
                  </a:lnTo>
                  <a:lnTo>
                    <a:pt x="206" y="40"/>
                  </a:lnTo>
                  <a:lnTo>
                    <a:pt x="212" y="44"/>
                  </a:lnTo>
                  <a:lnTo>
                    <a:pt x="222" y="46"/>
                  </a:lnTo>
                  <a:lnTo>
                    <a:pt x="224" y="44"/>
                  </a:lnTo>
                  <a:lnTo>
                    <a:pt x="238" y="48"/>
                  </a:lnTo>
                  <a:lnTo>
                    <a:pt x="240" y="48"/>
                  </a:lnTo>
                  <a:lnTo>
                    <a:pt x="248" y="48"/>
                  </a:lnTo>
                  <a:lnTo>
                    <a:pt x="252" y="48"/>
                  </a:lnTo>
                  <a:lnTo>
                    <a:pt x="256" y="46"/>
                  </a:lnTo>
                  <a:lnTo>
                    <a:pt x="260" y="50"/>
                  </a:lnTo>
                  <a:lnTo>
                    <a:pt x="260" y="52"/>
                  </a:lnTo>
                  <a:lnTo>
                    <a:pt x="262" y="54"/>
                  </a:lnTo>
                  <a:lnTo>
                    <a:pt x="264" y="58"/>
                  </a:lnTo>
                  <a:lnTo>
                    <a:pt x="266" y="58"/>
                  </a:lnTo>
                  <a:lnTo>
                    <a:pt x="268" y="58"/>
                  </a:lnTo>
                  <a:lnTo>
                    <a:pt x="272" y="60"/>
                  </a:lnTo>
                  <a:lnTo>
                    <a:pt x="278" y="60"/>
                  </a:lnTo>
                  <a:lnTo>
                    <a:pt x="282" y="62"/>
                  </a:lnTo>
                  <a:lnTo>
                    <a:pt x="290" y="66"/>
                  </a:lnTo>
                  <a:lnTo>
                    <a:pt x="290" y="68"/>
                  </a:lnTo>
                  <a:lnTo>
                    <a:pt x="292" y="70"/>
                  </a:lnTo>
                  <a:lnTo>
                    <a:pt x="294" y="72"/>
                  </a:lnTo>
                  <a:lnTo>
                    <a:pt x="302" y="74"/>
                  </a:lnTo>
                  <a:lnTo>
                    <a:pt x="308" y="78"/>
                  </a:lnTo>
                  <a:lnTo>
                    <a:pt x="314" y="80"/>
                  </a:lnTo>
                  <a:lnTo>
                    <a:pt x="322" y="84"/>
                  </a:lnTo>
                  <a:lnTo>
                    <a:pt x="328" y="86"/>
                  </a:lnTo>
                  <a:lnTo>
                    <a:pt x="330" y="88"/>
                  </a:lnTo>
                  <a:lnTo>
                    <a:pt x="336" y="90"/>
                  </a:lnTo>
                  <a:lnTo>
                    <a:pt x="338" y="90"/>
                  </a:lnTo>
                  <a:lnTo>
                    <a:pt x="342" y="92"/>
                  </a:lnTo>
                  <a:lnTo>
                    <a:pt x="344" y="92"/>
                  </a:lnTo>
                  <a:lnTo>
                    <a:pt x="348" y="94"/>
                  </a:lnTo>
                  <a:lnTo>
                    <a:pt x="352" y="94"/>
                  </a:lnTo>
                  <a:lnTo>
                    <a:pt x="354" y="94"/>
                  </a:lnTo>
                  <a:lnTo>
                    <a:pt x="362" y="94"/>
                  </a:lnTo>
                  <a:lnTo>
                    <a:pt x="368" y="94"/>
                  </a:lnTo>
                  <a:lnTo>
                    <a:pt x="374" y="92"/>
                  </a:lnTo>
                  <a:lnTo>
                    <a:pt x="384" y="92"/>
                  </a:lnTo>
                  <a:lnTo>
                    <a:pt x="386" y="94"/>
                  </a:lnTo>
                  <a:lnTo>
                    <a:pt x="386" y="96"/>
                  </a:lnTo>
                  <a:lnTo>
                    <a:pt x="398" y="94"/>
                  </a:lnTo>
                  <a:lnTo>
                    <a:pt x="400" y="96"/>
                  </a:lnTo>
                  <a:lnTo>
                    <a:pt x="406" y="100"/>
                  </a:lnTo>
                  <a:lnTo>
                    <a:pt x="414" y="106"/>
                  </a:lnTo>
                  <a:lnTo>
                    <a:pt x="420" y="110"/>
                  </a:lnTo>
                  <a:lnTo>
                    <a:pt x="424" y="114"/>
                  </a:lnTo>
                  <a:lnTo>
                    <a:pt x="432" y="116"/>
                  </a:lnTo>
                  <a:lnTo>
                    <a:pt x="434" y="114"/>
                  </a:lnTo>
                  <a:lnTo>
                    <a:pt x="440" y="110"/>
                  </a:lnTo>
                  <a:lnTo>
                    <a:pt x="444" y="112"/>
                  </a:lnTo>
                  <a:lnTo>
                    <a:pt x="448" y="114"/>
                  </a:lnTo>
                  <a:lnTo>
                    <a:pt x="452" y="114"/>
                  </a:lnTo>
                  <a:lnTo>
                    <a:pt x="462" y="120"/>
                  </a:lnTo>
                  <a:lnTo>
                    <a:pt x="466" y="122"/>
                  </a:lnTo>
                  <a:lnTo>
                    <a:pt x="466" y="124"/>
                  </a:lnTo>
                  <a:lnTo>
                    <a:pt x="468" y="126"/>
                  </a:lnTo>
                  <a:lnTo>
                    <a:pt x="474" y="130"/>
                  </a:lnTo>
                  <a:lnTo>
                    <a:pt x="478" y="132"/>
                  </a:lnTo>
                  <a:lnTo>
                    <a:pt x="486" y="134"/>
                  </a:lnTo>
                  <a:lnTo>
                    <a:pt x="490" y="134"/>
                  </a:lnTo>
                  <a:lnTo>
                    <a:pt x="500" y="134"/>
                  </a:lnTo>
                  <a:lnTo>
                    <a:pt x="510" y="130"/>
                  </a:lnTo>
                  <a:lnTo>
                    <a:pt x="514" y="130"/>
                  </a:lnTo>
                  <a:lnTo>
                    <a:pt x="514" y="134"/>
                  </a:lnTo>
                  <a:lnTo>
                    <a:pt x="514" y="136"/>
                  </a:lnTo>
                  <a:lnTo>
                    <a:pt x="516" y="140"/>
                  </a:lnTo>
                  <a:lnTo>
                    <a:pt x="518" y="140"/>
                  </a:lnTo>
                  <a:lnTo>
                    <a:pt x="520" y="140"/>
                  </a:lnTo>
                  <a:lnTo>
                    <a:pt x="530" y="144"/>
                  </a:lnTo>
                  <a:lnTo>
                    <a:pt x="536" y="148"/>
                  </a:lnTo>
                  <a:lnTo>
                    <a:pt x="538" y="150"/>
                  </a:lnTo>
                  <a:lnTo>
                    <a:pt x="536" y="152"/>
                  </a:lnTo>
                  <a:lnTo>
                    <a:pt x="532" y="160"/>
                  </a:lnTo>
                  <a:lnTo>
                    <a:pt x="528" y="162"/>
                  </a:lnTo>
                  <a:lnTo>
                    <a:pt x="530" y="168"/>
                  </a:lnTo>
                  <a:lnTo>
                    <a:pt x="532" y="168"/>
                  </a:lnTo>
                  <a:lnTo>
                    <a:pt x="536" y="170"/>
                  </a:lnTo>
                  <a:lnTo>
                    <a:pt x="540" y="166"/>
                  </a:lnTo>
                  <a:lnTo>
                    <a:pt x="546" y="170"/>
                  </a:lnTo>
                  <a:lnTo>
                    <a:pt x="554" y="176"/>
                  </a:lnTo>
                  <a:lnTo>
                    <a:pt x="558" y="180"/>
                  </a:lnTo>
                  <a:lnTo>
                    <a:pt x="560" y="182"/>
                  </a:lnTo>
                  <a:lnTo>
                    <a:pt x="570" y="184"/>
                  </a:lnTo>
                  <a:lnTo>
                    <a:pt x="572" y="184"/>
                  </a:lnTo>
                  <a:lnTo>
                    <a:pt x="574" y="184"/>
                  </a:lnTo>
                  <a:lnTo>
                    <a:pt x="576" y="188"/>
                  </a:lnTo>
                  <a:lnTo>
                    <a:pt x="574" y="188"/>
                  </a:lnTo>
                  <a:lnTo>
                    <a:pt x="574" y="190"/>
                  </a:lnTo>
                  <a:lnTo>
                    <a:pt x="574" y="192"/>
                  </a:lnTo>
                  <a:lnTo>
                    <a:pt x="584" y="202"/>
                  </a:lnTo>
                  <a:lnTo>
                    <a:pt x="594" y="204"/>
                  </a:lnTo>
                  <a:lnTo>
                    <a:pt x="600" y="200"/>
                  </a:lnTo>
                  <a:lnTo>
                    <a:pt x="602" y="200"/>
                  </a:lnTo>
                  <a:lnTo>
                    <a:pt x="604" y="204"/>
                  </a:lnTo>
                  <a:lnTo>
                    <a:pt x="606" y="206"/>
                  </a:lnTo>
                  <a:lnTo>
                    <a:pt x="608" y="208"/>
                  </a:lnTo>
                  <a:lnTo>
                    <a:pt x="610" y="208"/>
                  </a:lnTo>
                  <a:lnTo>
                    <a:pt x="612" y="210"/>
                  </a:lnTo>
                  <a:lnTo>
                    <a:pt x="614" y="216"/>
                  </a:lnTo>
                  <a:lnTo>
                    <a:pt x="618" y="218"/>
                  </a:lnTo>
                  <a:lnTo>
                    <a:pt x="626" y="218"/>
                  </a:lnTo>
                  <a:lnTo>
                    <a:pt x="630" y="218"/>
                  </a:lnTo>
                  <a:lnTo>
                    <a:pt x="632" y="216"/>
                  </a:lnTo>
                  <a:lnTo>
                    <a:pt x="638" y="220"/>
                  </a:lnTo>
                  <a:lnTo>
                    <a:pt x="648" y="224"/>
                  </a:lnTo>
                  <a:lnTo>
                    <a:pt x="652" y="224"/>
                  </a:lnTo>
                  <a:lnTo>
                    <a:pt x="656" y="224"/>
                  </a:lnTo>
                  <a:lnTo>
                    <a:pt x="658" y="226"/>
                  </a:lnTo>
                  <a:lnTo>
                    <a:pt x="664" y="226"/>
                  </a:lnTo>
                  <a:lnTo>
                    <a:pt x="664" y="224"/>
                  </a:lnTo>
                  <a:lnTo>
                    <a:pt x="664" y="220"/>
                  </a:lnTo>
                  <a:lnTo>
                    <a:pt x="664" y="218"/>
                  </a:lnTo>
                  <a:lnTo>
                    <a:pt x="666" y="212"/>
                  </a:lnTo>
                  <a:lnTo>
                    <a:pt x="668" y="212"/>
                  </a:lnTo>
                  <a:lnTo>
                    <a:pt x="676" y="214"/>
                  </a:lnTo>
                  <a:lnTo>
                    <a:pt x="680" y="218"/>
                  </a:lnTo>
                  <a:lnTo>
                    <a:pt x="692" y="222"/>
                  </a:lnTo>
                  <a:lnTo>
                    <a:pt x="696" y="224"/>
                  </a:lnTo>
                  <a:lnTo>
                    <a:pt x="696" y="228"/>
                  </a:lnTo>
                  <a:lnTo>
                    <a:pt x="696" y="230"/>
                  </a:lnTo>
                  <a:lnTo>
                    <a:pt x="708" y="232"/>
                  </a:lnTo>
                  <a:lnTo>
                    <a:pt x="710" y="232"/>
                  </a:lnTo>
                  <a:lnTo>
                    <a:pt x="712" y="234"/>
                  </a:lnTo>
                  <a:lnTo>
                    <a:pt x="712" y="238"/>
                  </a:lnTo>
                  <a:lnTo>
                    <a:pt x="714" y="242"/>
                  </a:lnTo>
                  <a:lnTo>
                    <a:pt x="712" y="246"/>
                  </a:lnTo>
                  <a:lnTo>
                    <a:pt x="712" y="248"/>
                  </a:lnTo>
                  <a:lnTo>
                    <a:pt x="710" y="252"/>
                  </a:lnTo>
                  <a:lnTo>
                    <a:pt x="712" y="258"/>
                  </a:lnTo>
                  <a:lnTo>
                    <a:pt x="716" y="258"/>
                  </a:lnTo>
                  <a:lnTo>
                    <a:pt x="718" y="258"/>
                  </a:lnTo>
                  <a:lnTo>
                    <a:pt x="726" y="258"/>
                  </a:lnTo>
                  <a:lnTo>
                    <a:pt x="730" y="254"/>
                  </a:lnTo>
                  <a:lnTo>
                    <a:pt x="734" y="258"/>
                  </a:lnTo>
                  <a:lnTo>
                    <a:pt x="738" y="260"/>
                  </a:lnTo>
                  <a:lnTo>
                    <a:pt x="742" y="262"/>
                  </a:lnTo>
                  <a:lnTo>
                    <a:pt x="746" y="266"/>
                  </a:lnTo>
                  <a:lnTo>
                    <a:pt x="746" y="270"/>
                  </a:lnTo>
                  <a:lnTo>
                    <a:pt x="748" y="272"/>
                  </a:lnTo>
                  <a:lnTo>
                    <a:pt x="752" y="272"/>
                  </a:lnTo>
                  <a:lnTo>
                    <a:pt x="754" y="272"/>
                  </a:lnTo>
                  <a:lnTo>
                    <a:pt x="756" y="270"/>
                  </a:lnTo>
                  <a:lnTo>
                    <a:pt x="758" y="266"/>
                  </a:lnTo>
                  <a:lnTo>
                    <a:pt x="766" y="266"/>
                  </a:lnTo>
                  <a:lnTo>
                    <a:pt x="770" y="270"/>
                  </a:lnTo>
                  <a:lnTo>
                    <a:pt x="778" y="274"/>
                  </a:lnTo>
                  <a:lnTo>
                    <a:pt x="780" y="278"/>
                  </a:lnTo>
                  <a:lnTo>
                    <a:pt x="784" y="280"/>
                  </a:lnTo>
                  <a:lnTo>
                    <a:pt x="792" y="280"/>
                  </a:lnTo>
                  <a:lnTo>
                    <a:pt x="792" y="276"/>
                  </a:lnTo>
                  <a:lnTo>
                    <a:pt x="794" y="274"/>
                  </a:lnTo>
                  <a:lnTo>
                    <a:pt x="796" y="274"/>
                  </a:lnTo>
                  <a:lnTo>
                    <a:pt x="812" y="270"/>
                  </a:lnTo>
                  <a:lnTo>
                    <a:pt x="820" y="272"/>
                  </a:lnTo>
                  <a:lnTo>
                    <a:pt x="820" y="276"/>
                  </a:lnTo>
                  <a:lnTo>
                    <a:pt x="822" y="276"/>
                  </a:lnTo>
                  <a:lnTo>
                    <a:pt x="826" y="276"/>
                  </a:lnTo>
                  <a:lnTo>
                    <a:pt x="828" y="276"/>
                  </a:lnTo>
                  <a:lnTo>
                    <a:pt x="826" y="278"/>
                  </a:lnTo>
                  <a:lnTo>
                    <a:pt x="826" y="282"/>
                  </a:lnTo>
                  <a:lnTo>
                    <a:pt x="826" y="284"/>
                  </a:lnTo>
                  <a:lnTo>
                    <a:pt x="828" y="284"/>
                  </a:lnTo>
                  <a:lnTo>
                    <a:pt x="830" y="284"/>
                  </a:lnTo>
                  <a:lnTo>
                    <a:pt x="832" y="286"/>
                  </a:lnTo>
                  <a:lnTo>
                    <a:pt x="836" y="288"/>
                  </a:lnTo>
                  <a:lnTo>
                    <a:pt x="832" y="292"/>
                  </a:lnTo>
                  <a:lnTo>
                    <a:pt x="830" y="296"/>
                  </a:lnTo>
                  <a:lnTo>
                    <a:pt x="828" y="296"/>
                  </a:lnTo>
                  <a:lnTo>
                    <a:pt x="826" y="294"/>
                  </a:lnTo>
                  <a:lnTo>
                    <a:pt x="824" y="292"/>
                  </a:lnTo>
                  <a:lnTo>
                    <a:pt x="820" y="296"/>
                  </a:lnTo>
                  <a:lnTo>
                    <a:pt x="820" y="298"/>
                  </a:lnTo>
                  <a:lnTo>
                    <a:pt x="820" y="302"/>
                  </a:lnTo>
                  <a:lnTo>
                    <a:pt x="820" y="304"/>
                  </a:lnTo>
                  <a:lnTo>
                    <a:pt x="824" y="306"/>
                  </a:lnTo>
                  <a:lnTo>
                    <a:pt x="824" y="310"/>
                  </a:lnTo>
                  <a:lnTo>
                    <a:pt x="824" y="322"/>
                  </a:lnTo>
                  <a:lnTo>
                    <a:pt x="822" y="326"/>
                  </a:lnTo>
                  <a:lnTo>
                    <a:pt x="820" y="328"/>
                  </a:lnTo>
                  <a:lnTo>
                    <a:pt x="816" y="330"/>
                  </a:lnTo>
                  <a:lnTo>
                    <a:pt x="808" y="336"/>
                  </a:lnTo>
                  <a:lnTo>
                    <a:pt x="802" y="340"/>
                  </a:lnTo>
                  <a:lnTo>
                    <a:pt x="786" y="346"/>
                  </a:lnTo>
                  <a:lnTo>
                    <a:pt x="782" y="346"/>
                  </a:lnTo>
                  <a:lnTo>
                    <a:pt x="778" y="348"/>
                  </a:lnTo>
                  <a:lnTo>
                    <a:pt x="774" y="348"/>
                  </a:lnTo>
                  <a:lnTo>
                    <a:pt x="772" y="348"/>
                  </a:lnTo>
                  <a:lnTo>
                    <a:pt x="752" y="356"/>
                  </a:lnTo>
                  <a:lnTo>
                    <a:pt x="750" y="358"/>
                  </a:lnTo>
                  <a:lnTo>
                    <a:pt x="744" y="366"/>
                  </a:lnTo>
                  <a:lnTo>
                    <a:pt x="742" y="368"/>
                  </a:lnTo>
                  <a:lnTo>
                    <a:pt x="740" y="370"/>
                  </a:lnTo>
                  <a:lnTo>
                    <a:pt x="738" y="370"/>
                  </a:lnTo>
                  <a:lnTo>
                    <a:pt x="736" y="372"/>
                  </a:lnTo>
                  <a:lnTo>
                    <a:pt x="732" y="372"/>
                  </a:lnTo>
                  <a:lnTo>
                    <a:pt x="724" y="370"/>
                  </a:lnTo>
                  <a:lnTo>
                    <a:pt x="714" y="372"/>
                  </a:lnTo>
                  <a:lnTo>
                    <a:pt x="710" y="374"/>
                  </a:lnTo>
                  <a:lnTo>
                    <a:pt x="708" y="374"/>
                  </a:lnTo>
                  <a:lnTo>
                    <a:pt x="704" y="374"/>
                  </a:lnTo>
                  <a:lnTo>
                    <a:pt x="698" y="374"/>
                  </a:lnTo>
                  <a:lnTo>
                    <a:pt x="696" y="374"/>
                  </a:lnTo>
                  <a:lnTo>
                    <a:pt x="684" y="376"/>
                  </a:lnTo>
                  <a:lnTo>
                    <a:pt x="676" y="378"/>
                  </a:lnTo>
                  <a:lnTo>
                    <a:pt x="664" y="378"/>
                  </a:lnTo>
                  <a:lnTo>
                    <a:pt x="660" y="380"/>
                  </a:lnTo>
                  <a:lnTo>
                    <a:pt x="658" y="380"/>
                  </a:lnTo>
                  <a:lnTo>
                    <a:pt x="656" y="382"/>
                  </a:lnTo>
                  <a:lnTo>
                    <a:pt x="654" y="384"/>
                  </a:lnTo>
                  <a:lnTo>
                    <a:pt x="652" y="384"/>
                  </a:lnTo>
                  <a:lnTo>
                    <a:pt x="636" y="398"/>
                  </a:lnTo>
                  <a:lnTo>
                    <a:pt x="638" y="402"/>
                  </a:lnTo>
                  <a:lnTo>
                    <a:pt x="644" y="406"/>
                  </a:lnTo>
                  <a:lnTo>
                    <a:pt x="646" y="406"/>
                  </a:lnTo>
                  <a:lnTo>
                    <a:pt x="648" y="408"/>
                  </a:lnTo>
                  <a:lnTo>
                    <a:pt x="648" y="410"/>
                  </a:lnTo>
                  <a:lnTo>
                    <a:pt x="644" y="410"/>
                  </a:lnTo>
                  <a:lnTo>
                    <a:pt x="632" y="420"/>
                  </a:lnTo>
                  <a:lnTo>
                    <a:pt x="630" y="420"/>
                  </a:lnTo>
                  <a:lnTo>
                    <a:pt x="628" y="420"/>
                  </a:lnTo>
                  <a:lnTo>
                    <a:pt x="626" y="418"/>
                  </a:lnTo>
                  <a:lnTo>
                    <a:pt x="634" y="418"/>
                  </a:lnTo>
                  <a:lnTo>
                    <a:pt x="636" y="414"/>
                  </a:lnTo>
                  <a:lnTo>
                    <a:pt x="634" y="414"/>
                  </a:lnTo>
                  <a:lnTo>
                    <a:pt x="626" y="414"/>
                  </a:lnTo>
                  <a:lnTo>
                    <a:pt x="622" y="418"/>
                  </a:lnTo>
                  <a:lnTo>
                    <a:pt x="620" y="420"/>
                  </a:lnTo>
                  <a:lnTo>
                    <a:pt x="618" y="420"/>
                  </a:lnTo>
                  <a:lnTo>
                    <a:pt x="614" y="428"/>
                  </a:lnTo>
                  <a:lnTo>
                    <a:pt x="604" y="440"/>
                  </a:lnTo>
                  <a:lnTo>
                    <a:pt x="598" y="444"/>
                  </a:lnTo>
                  <a:lnTo>
                    <a:pt x="594" y="448"/>
                  </a:lnTo>
                  <a:lnTo>
                    <a:pt x="578" y="460"/>
                  </a:lnTo>
                  <a:lnTo>
                    <a:pt x="578" y="462"/>
                  </a:lnTo>
                  <a:lnTo>
                    <a:pt x="570" y="472"/>
                  </a:lnTo>
                  <a:lnTo>
                    <a:pt x="566" y="476"/>
                  </a:lnTo>
                  <a:lnTo>
                    <a:pt x="564" y="476"/>
                  </a:lnTo>
                  <a:lnTo>
                    <a:pt x="558" y="484"/>
                  </a:lnTo>
                  <a:lnTo>
                    <a:pt x="544" y="502"/>
                  </a:lnTo>
                  <a:lnTo>
                    <a:pt x="544" y="504"/>
                  </a:lnTo>
                  <a:lnTo>
                    <a:pt x="542" y="510"/>
                  </a:lnTo>
                  <a:lnTo>
                    <a:pt x="544" y="538"/>
                  </a:lnTo>
                  <a:lnTo>
                    <a:pt x="546" y="546"/>
                  </a:lnTo>
                  <a:lnTo>
                    <a:pt x="546" y="548"/>
                  </a:lnTo>
                  <a:lnTo>
                    <a:pt x="548" y="554"/>
                  </a:lnTo>
                  <a:lnTo>
                    <a:pt x="552" y="558"/>
                  </a:lnTo>
                  <a:lnTo>
                    <a:pt x="552" y="562"/>
                  </a:lnTo>
                  <a:lnTo>
                    <a:pt x="554" y="564"/>
                  </a:lnTo>
                  <a:lnTo>
                    <a:pt x="558" y="566"/>
                  </a:lnTo>
                  <a:lnTo>
                    <a:pt x="560" y="568"/>
                  </a:lnTo>
                  <a:lnTo>
                    <a:pt x="562" y="568"/>
                  </a:lnTo>
                  <a:lnTo>
                    <a:pt x="566" y="572"/>
                  </a:lnTo>
                  <a:lnTo>
                    <a:pt x="570" y="574"/>
                  </a:lnTo>
                  <a:lnTo>
                    <a:pt x="570" y="578"/>
                  </a:lnTo>
                  <a:lnTo>
                    <a:pt x="570" y="580"/>
                  </a:lnTo>
                  <a:lnTo>
                    <a:pt x="566" y="584"/>
                  </a:lnTo>
                  <a:lnTo>
                    <a:pt x="564" y="584"/>
                  </a:lnTo>
                  <a:lnTo>
                    <a:pt x="556" y="588"/>
                  </a:lnTo>
                  <a:lnTo>
                    <a:pt x="552" y="588"/>
                  </a:lnTo>
                  <a:lnTo>
                    <a:pt x="548" y="590"/>
                  </a:lnTo>
                  <a:lnTo>
                    <a:pt x="542" y="594"/>
                  </a:lnTo>
                  <a:lnTo>
                    <a:pt x="530" y="596"/>
                  </a:lnTo>
                  <a:lnTo>
                    <a:pt x="528" y="598"/>
                  </a:lnTo>
                  <a:lnTo>
                    <a:pt x="524" y="600"/>
                  </a:lnTo>
                  <a:lnTo>
                    <a:pt x="512" y="608"/>
                  </a:lnTo>
                  <a:lnTo>
                    <a:pt x="504" y="620"/>
                  </a:lnTo>
                  <a:lnTo>
                    <a:pt x="498" y="632"/>
                  </a:lnTo>
                  <a:lnTo>
                    <a:pt x="488" y="646"/>
                  </a:lnTo>
                  <a:lnTo>
                    <a:pt x="486" y="648"/>
                  </a:lnTo>
                  <a:lnTo>
                    <a:pt x="482" y="652"/>
                  </a:lnTo>
                  <a:lnTo>
                    <a:pt x="478" y="656"/>
                  </a:lnTo>
                  <a:lnTo>
                    <a:pt x="478" y="658"/>
                  </a:lnTo>
                  <a:lnTo>
                    <a:pt x="480" y="664"/>
                  </a:lnTo>
                  <a:lnTo>
                    <a:pt x="482" y="666"/>
                  </a:lnTo>
                  <a:lnTo>
                    <a:pt x="486" y="668"/>
                  </a:lnTo>
                  <a:lnTo>
                    <a:pt x="486" y="670"/>
                  </a:lnTo>
                  <a:lnTo>
                    <a:pt x="486" y="672"/>
                  </a:lnTo>
                  <a:lnTo>
                    <a:pt x="484" y="672"/>
                  </a:lnTo>
                  <a:lnTo>
                    <a:pt x="470" y="674"/>
                  </a:lnTo>
                  <a:lnTo>
                    <a:pt x="468" y="672"/>
                  </a:lnTo>
                  <a:lnTo>
                    <a:pt x="466" y="670"/>
                  </a:lnTo>
                  <a:lnTo>
                    <a:pt x="462" y="670"/>
                  </a:lnTo>
                  <a:lnTo>
                    <a:pt x="448" y="666"/>
                  </a:lnTo>
                  <a:lnTo>
                    <a:pt x="442" y="666"/>
                  </a:lnTo>
                  <a:lnTo>
                    <a:pt x="440" y="668"/>
                  </a:lnTo>
                  <a:lnTo>
                    <a:pt x="432" y="672"/>
                  </a:lnTo>
                  <a:lnTo>
                    <a:pt x="430" y="672"/>
                  </a:lnTo>
                  <a:lnTo>
                    <a:pt x="428" y="676"/>
                  </a:lnTo>
                  <a:lnTo>
                    <a:pt x="426" y="676"/>
                  </a:lnTo>
                  <a:lnTo>
                    <a:pt x="420" y="678"/>
                  </a:lnTo>
                  <a:lnTo>
                    <a:pt x="416" y="678"/>
                  </a:lnTo>
                  <a:lnTo>
                    <a:pt x="412" y="682"/>
                  </a:lnTo>
                  <a:lnTo>
                    <a:pt x="402" y="690"/>
                  </a:lnTo>
                  <a:lnTo>
                    <a:pt x="400" y="694"/>
                  </a:lnTo>
                  <a:lnTo>
                    <a:pt x="398" y="696"/>
                  </a:lnTo>
                  <a:lnTo>
                    <a:pt x="398" y="698"/>
                  </a:lnTo>
                  <a:lnTo>
                    <a:pt x="396" y="704"/>
                  </a:lnTo>
                  <a:lnTo>
                    <a:pt x="390" y="712"/>
                  </a:lnTo>
                  <a:lnTo>
                    <a:pt x="388" y="714"/>
                  </a:lnTo>
                  <a:lnTo>
                    <a:pt x="382" y="718"/>
                  </a:lnTo>
                  <a:lnTo>
                    <a:pt x="376" y="724"/>
                  </a:lnTo>
                  <a:lnTo>
                    <a:pt x="376" y="728"/>
                  </a:lnTo>
                  <a:lnTo>
                    <a:pt x="370" y="730"/>
                  </a:lnTo>
                  <a:lnTo>
                    <a:pt x="364" y="730"/>
                  </a:lnTo>
                  <a:lnTo>
                    <a:pt x="364" y="728"/>
                  </a:lnTo>
                  <a:lnTo>
                    <a:pt x="362" y="726"/>
                  </a:lnTo>
                  <a:lnTo>
                    <a:pt x="360" y="720"/>
                  </a:lnTo>
                  <a:lnTo>
                    <a:pt x="354" y="718"/>
                  </a:lnTo>
                  <a:lnTo>
                    <a:pt x="346" y="716"/>
                  </a:lnTo>
                  <a:lnTo>
                    <a:pt x="340" y="716"/>
                  </a:lnTo>
                  <a:lnTo>
                    <a:pt x="338" y="718"/>
                  </a:lnTo>
                  <a:lnTo>
                    <a:pt x="336" y="720"/>
                  </a:lnTo>
                  <a:lnTo>
                    <a:pt x="334" y="724"/>
                  </a:lnTo>
                  <a:lnTo>
                    <a:pt x="330" y="726"/>
                  </a:lnTo>
                  <a:lnTo>
                    <a:pt x="328" y="726"/>
                  </a:lnTo>
                  <a:lnTo>
                    <a:pt x="326" y="726"/>
                  </a:lnTo>
                  <a:lnTo>
                    <a:pt x="322" y="726"/>
                  </a:lnTo>
                  <a:lnTo>
                    <a:pt x="314" y="722"/>
                  </a:lnTo>
                  <a:lnTo>
                    <a:pt x="314" y="720"/>
                  </a:lnTo>
                  <a:lnTo>
                    <a:pt x="312" y="716"/>
                  </a:lnTo>
                  <a:lnTo>
                    <a:pt x="298" y="714"/>
                  </a:lnTo>
                  <a:lnTo>
                    <a:pt x="290" y="712"/>
                  </a:lnTo>
                  <a:lnTo>
                    <a:pt x="288" y="712"/>
                  </a:lnTo>
                  <a:lnTo>
                    <a:pt x="282" y="712"/>
                  </a:lnTo>
                  <a:lnTo>
                    <a:pt x="280" y="712"/>
                  </a:lnTo>
                  <a:lnTo>
                    <a:pt x="274" y="714"/>
                  </a:lnTo>
                  <a:lnTo>
                    <a:pt x="272" y="714"/>
                  </a:lnTo>
                  <a:lnTo>
                    <a:pt x="270" y="712"/>
                  </a:lnTo>
                  <a:lnTo>
                    <a:pt x="268" y="710"/>
                  </a:lnTo>
                  <a:lnTo>
                    <a:pt x="264" y="706"/>
                  </a:lnTo>
                  <a:lnTo>
                    <a:pt x="260" y="706"/>
                  </a:lnTo>
                  <a:lnTo>
                    <a:pt x="258" y="706"/>
                  </a:lnTo>
                  <a:lnTo>
                    <a:pt x="256" y="706"/>
                  </a:lnTo>
                  <a:lnTo>
                    <a:pt x="254" y="706"/>
                  </a:lnTo>
                  <a:lnTo>
                    <a:pt x="250" y="704"/>
                  </a:lnTo>
                  <a:lnTo>
                    <a:pt x="248" y="702"/>
                  </a:lnTo>
                  <a:lnTo>
                    <a:pt x="246" y="702"/>
                  </a:lnTo>
                  <a:lnTo>
                    <a:pt x="232" y="700"/>
                  </a:lnTo>
                  <a:lnTo>
                    <a:pt x="222" y="698"/>
                  </a:lnTo>
                  <a:lnTo>
                    <a:pt x="216" y="698"/>
                  </a:lnTo>
                  <a:lnTo>
                    <a:pt x="210" y="698"/>
                  </a:lnTo>
                  <a:lnTo>
                    <a:pt x="208" y="696"/>
                  </a:lnTo>
                  <a:lnTo>
                    <a:pt x="204" y="694"/>
                  </a:lnTo>
                  <a:lnTo>
                    <a:pt x="202" y="696"/>
                  </a:lnTo>
                  <a:lnTo>
                    <a:pt x="198" y="700"/>
                  </a:lnTo>
                  <a:lnTo>
                    <a:pt x="196" y="704"/>
                  </a:lnTo>
                  <a:lnTo>
                    <a:pt x="184" y="710"/>
                  </a:lnTo>
                  <a:lnTo>
                    <a:pt x="178" y="712"/>
                  </a:lnTo>
                  <a:lnTo>
                    <a:pt x="174" y="710"/>
                  </a:lnTo>
                  <a:lnTo>
                    <a:pt x="172" y="710"/>
                  </a:lnTo>
                  <a:lnTo>
                    <a:pt x="170" y="708"/>
                  </a:lnTo>
                  <a:lnTo>
                    <a:pt x="168" y="708"/>
                  </a:lnTo>
                  <a:lnTo>
                    <a:pt x="166" y="708"/>
                  </a:lnTo>
                  <a:lnTo>
                    <a:pt x="164" y="706"/>
                  </a:lnTo>
                  <a:lnTo>
                    <a:pt x="162" y="708"/>
                  </a:lnTo>
                  <a:lnTo>
                    <a:pt x="150" y="708"/>
                  </a:lnTo>
                  <a:lnTo>
                    <a:pt x="142" y="710"/>
                  </a:lnTo>
                  <a:lnTo>
                    <a:pt x="138" y="712"/>
                  </a:lnTo>
                  <a:lnTo>
                    <a:pt x="128" y="724"/>
                  </a:lnTo>
                  <a:lnTo>
                    <a:pt x="128" y="726"/>
                  </a:lnTo>
                  <a:lnTo>
                    <a:pt x="126" y="728"/>
                  </a:lnTo>
                  <a:lnTo>
                    <a:pt x="126" y="730"/>
                  </a:lnTo>
                  <a:lnTo>
                    <a:pt x="124" y="730"/>
                  </a:lnTo>
                  <a:lnTo>
                    <a:pt x="122" y="728"/>
                  </a:lnTo>
                  <a:lnTo>
                    <a:pt x="120" y="728"/>
                  </a:lnTo>
                  <a:lnTo>
                    <a:pt x="118" y="730"/>
                  </a:lnTo>
                  <a:lnTo>
                    <a:pt x="118" y="736"/>
                  </a:lnTo>
                  <a:lnTo>
                    <a:pt x="116" y="738"/>
                  </a:lnTo>
                  <a:lnTo>
                    <a:pt x="102" y="738"/>
                  </a:lnTo>
                  <a:lnTo>
                    <a:pt x="90" y="728"/>
                  </a:lnTo>
                  <a:lnTo>
                    <a:pt x="88" y="726"/>
                  </a:lnTo>
                  <a:lnTo>
                    <a:pt x="88" y="724"/>
                  </a:lnTo>
                  <a:lnTo>
                    <a:pt x="86" y="720"/>
                  </a:lnTo>
                  <a:lnTo>
                    <a:pt x="84" y="718"/>
                  </a:lnTo>
                  <a:lnTo>
                    <a:pt x="76" y="716"/>
                  </a:lnTo>
                  <a:lnTo>
                    <a:pt x="70" y="702"/>
                  </a:lnTo>
                  <a:lnTo>
                    <a:pt x="66" y="692"/>
                  </a:lnTo>
                  <a:lnTo>
                    <a:pt x="66" y="684"/>
                  </a:lnTo>
                  <a:lnTo>
                    <a:pt x="66" y="686"/>
                  </a:lnTo>
                  <a:lnTo>
                    <a:pt x="68" y="686"/>
                  </a:lnTo>
                  <a:lnTo>
                    <a:pt x="72" y="682"/>
                  </a:lnTo>
                  <a:lnTo>
                    <a:pt x="70" y="676"/>
                  </a:lnTo>
                  <a:lnTo>
                    <a:pt x="66" y="672"/>
                  </a:lnTo>
                  <a:lnTo>
                    <a:pt x="64" y="670"/>
                  </a:lnTo>
                  <a:lnTo>
                    <a:pt x="62" y="670"/>
                  </a:lnTo>
                  <a:lnTo>
                    <a:pt x="60" y="668"/>
                  </a:lnTo>
                  <a:lnTo>
                    <a:pt x="58" y="662"/>
                  </a:lnTo>
                  <a:lnTo>
                    <a:pt x="58" y="660"/>
                  </a:lnTo>
                  <a:lnTo>
                    <a:pt x="58" y="658"/>
                  </a:lnTo>
                  <a:lnTo>
                    <a:pt x="68" y="648"/>
                  </a:lnTo>
                  <a:lnTo>
                    <a:pt x="54" y="630"/>
                  </a:lnTo>
                  <a:lnTo>
                    <a:pt x="46" y="620"/>
                  </a:lnTo>
                  <a:lnTo>
                    <a:pt x="34" y="610"/>
                  </a:lnTo>
                  <a:lnTo>
                    <a:pt x="32" y="604"/>
                  </a:lnTo>
                  <a:lnTo>
                    <a:pt x="30" y="604"/>
                  </a:lnTo>
                  <a:lnTo>
                    <a:pt x="30" y="608"/>
                  </a:lnTo>
                  <a:lnTo>
                    <a:pt x="30" y="606"/>
                  </a:lnTo>
                  <a:lnTo>
                    <a:pt x="26" y="604"/>
                  </a:lnTo>
                  <a:lnTo>
                    <a:pt x="24" y="602"/>
                  </a:lnTo>
                  <a:lnTo>
                    <a:pt x="20" y="600"/>
                  </a:lnTo>
                  <a:lnTo>
                    <a:pt x="18" y="600"/>
                  </a:lnTo>
                  <a:lnTo>
                    <a:pt x="10" y="600"/>
                  </a:lnTo>
                  <a:lnTo>
                    <a:pt x="6" y="600"/>
                  </a:lnTo>
                  <a:lnTo>
                    <a:pt x="4" y="600"/>
                  </a:lnTo>
                  <a:lnTo>
                    <a:pt x="0" y="600"/>
                  </a:lnTo>
                  <a:lnTo>
                    <a:pt x="0" y="598"/>
                  </a:lnTo>
                  <a:lnTo>
                    <a:pt x="0" y="592"/>
                  </a:lnTo>
                  <a:lnTo>
                    <a:pt x="2" y="582"/>
                  </a:lnTo>
                  <a:lnTo>
                    <a:pt x="2" y="576"/>
                  </a:lnTo>
                  <a:lnTo>
                    <a:pt x="2" y="574"/>
                  </a:lnTo>
                  <a:lnTo>
                    <a:pt x="2" y="572"/>
                  </a:lnTo>
                  <a:lnTo>
                    <a:pt x="2" y="568"/>
                  </a:lnTo>
                  <a:lnTo>
                    <a:pt x="0" y="566"/>
                  </a:lnTo>
                  <a:lnTo>
                    <a:pt x="0" y="564"/>
                  </a:lnTo>
                  <a:lnTo>
                    <a:pt x="10" y="552"/>
                  </a:lnTo>
                  <a:lnTo>
                    <a:pt x="12" y="548"/>
                  </a:lnTo>
                  <a:lnTo>
                    <a:pt x="14" y="546"/>
                  </a:lnTo>
                  <a:lnTo>
                    <a:pt x="20" y="544"/>
                  </a:lnTo>
                  <a:lnTo>
                    <a:pt x="24" y="540"/>
                  </a:lnTo>
                  <a:lnTo>
                    <a:pt x="28" y="534"/>
                  </a:lnTo>
                  <a:lnTo>
                    <a:pt x="30" y="532"/>
                  </a:lnTo>
                  <a:lnTo>
                    <a:pt x="30" y="530"/>
                  </a:lnTo>
                  <a:lnTo>
                    <a:pt x="32" y="530"/>
                  </a:lnTo>
                  <a:lnTo>
                    <a:pt x="38" y="530"/>
                  </a:lnTo>
                  <a:lnTo>
                    <a:pt x="48" y="530"/>
                  </a:lnTo>
                  <a:lnTo>
                    <a:pt x="54" y="522"/>
                  </a:lnTo>
                  <a:lnTo>
                    <a:pt x="56" y="518"/>
                  </a:lnTo>
                  <a:lnTo>
                    <a:pt x="56" y="516"/>
                  </a:lnTo>
                  <a:lnTo>
                    <a:pt x="56" y="514"/>
                  </a:lnTo>
                  <a:lnTo>
                    <a:pt x="52" y="514"/>
                  </a:lnTo>
                  <a:lnTo>
                    <a:pt x="50" y="516"/>
                  </a:lnTo>
                  <a:lnTo>
                    <a:pt x="46" y="516"/>
                  </a:lnTo>
                  <a:lnTo>
                    <a:pt x="44" y="514"/>
                  </a:lnTo>
                  <a:lnTo>
                    <a:pt x="44" y="510"/>
                  </a:lnTo>
                  <a:lnTo>
                    <a:pt x="42" y="508"/>
                  </a:lnTo>
                  <a:lnTo>
                    <a:pt x="42" y="504"/>
                  </a:lnTo>
                  <a:lnTo>
                    <a:pt x="42" y="502"/>
                  </a:lnTo>
                  <a:lnTo>
                    <a:pt x="38" y="490"/>
                  </a:lnTo>
                  <a:lnTo>
                    <a:pt x="36" y="488"/>
                  </a:lnTo>
                  <a:lnTo>
                    <a:pt x="46" y="464"/>
                  </a:lnTo>
                  <a:lnTo>
                    <a:pt x="50" y="462"/>
                  </a:lnTo>
                  <a:lnTo>
                    <a:pt x="54" y="460"/>
                  </a:lnTo>
                  <a:lnTo>
                    <a:pt x="60" y="456"/>
                  </a:lnTo>
                  <a:lnTo>
                    <a:pt x="62" y="454"/>
                  </a:lnTo>
                  <a:lnTo>
                    <a:pt x="74" y="442"/>
                  </a:lnTo>
                  <a:lnTo>
                    <a:pt x="74" y="440"/>
                  </a:lnTo>
                  <a:lnTo>
                    <a:pt x="74" y="436"/>
                  </a:lnTo>
                  <a:lnTo>
                    <a:pt x="72" y="432"/>
                  </a:lnTo>
                  <a:lnTo>
                    <a:pt x="70" y="432"/>
                  </a:lnTo>
                  <a:lnTo>
                    <a:pt x="66" y="432"/>
                  </a:lnTo>
                  <a:lnTo>
                    <a:pt x="64" y="432"/>
                  </a:lnTo>
                  <a:lnTo>
                    <a:pt x="62" y="430"/>
                  </a:lnTo>
                  <a:lnTo>
                    <a:pt x="58" y="420"/>
                  </a:lnTo>
                  <a:lnTo>
                    <a:pt x="58" y="406"/>
                  </a:lnTo>
                  <a:lnTo>
                    <a:pt x="58" y="402"/>
                  </a:lnTo>
                  <a:lnTo>
                    <a:pt x="56" y="392"/>
                  </a:lnTo>
                  <a:lnTo>
                    <a:pt x="50" y="380"/>
                  </a:lnTo>
                  <a:lnTo>
                    <a:pt x="50" y="376"/>
                  </a:lnTo>
                  <a:lnTo>
                    <a:pt x="50" y="374"/>
                  </a:lnTo>
                  <a:lnTo>
                    <a:pt x="58" y="378"/>
                  </a:lnTo>
                  <a:lnTo>
                    <a:pt x="62" y="378"/>
                  </a:lnTo>
                  <a:lnTo>
                    <a:pt x="64" y="378"/>
                  </a:lnTo>
                  <a:lnTo>
                    <a:pt x="68" y="378"/>
                  </a:lnTo>
                  <a:lnTo>
                    <a:pt x="72" y="380"/>
                  </a:lnTo>
                  <a:lnTo>
                    <a:pt x="76" y="380"/>
                  </a:lnTo>
                  <a:lnTo>
                    <a:pt x="82" y="382"/>
                  </a:lnTo>
                  <a:lnTo>
                    <a:pt x="86" y="382"/>
                  </a:lnTo>
                  <a:lnTo>
                    <a:pt x="88" y="378"/>
                  </a:lnTo>
                  <a:lnTo>
                    <a:pt x="104" y="354"/>
                  </a:lnTo>
                  <a:lnTo>
                    <a:pt x="104" y="352"/>
                  </a:lnTo>
                  <a:lnTo>
                    <a:pt x="102" y="344"/>
                  </a:lnTo>
                  <a:lnTo>
                    <a:pt x="100" y="344"/>
                  </a:lnTo>
                  <a:lnTo>
                    <a:pt x="98" y="342"/>
                  </a:lnTo>
                  <a:lnTo>
                    <a:pt x="96" y="340"/>
                  </a:lnTo>
                  <a:lnTo>
                    <a:pt x="96" y="336"/>
                  </a:lnTo>
                  <a:lnTo>
                    <a:pt x="98" y="332"/>
                  </a:lnTo>
                  <a:lnTo>
                    <a:pt x="104" y="3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4" name="Freeform 2722"/>
            <p:cNvSpPr>
              <a:spLocks/>
            </p:cNvSpPr>
            <p:nvPr/>
          </p:nvSpPr>
          <p:spPr bwMode="auto">
            <a:xfrm>
              <a:off x="1852" y="3124"/>
              <a:ext cx="34" cy="26"/>
            </a:xfrm>
            <a:custGeom>
              <a:avLst/>
              <a:gdLst/>
              <a:ahLst/>
              <a:cxnLst>
                <a:cxn ang="0">
                  <a:pos x="30" y="26"/>
                </a:cxn>
                <a:cxn ang="0">
                  <a:pos x="28" y="26"/>
                </a:cxn>
                <a:cxn ang="0">
                  <a:pos x="20" y="20"/>
                </a:cxn>
                <a:cxn ang="0">
                  <a:pos x="20" y="18"/>
                </a:cxn>
                <a:cxn ang="0">
                  <a:pos x="18" y="18"/>
                </a:cxn>
                <a:cxn ang="0">
                  <a:pos x="18" y="16"/>
                </a:cxn>
                <a:cxn ang="0">
                  <a:pos x="16" y="14"/>
                </a:cxn>
                <a:cxn ang="0">
                  <a:pos x="14" y="14"/>
                </a:cxn>
                <a:cxn ang="0">
                  <a:pos x="12" y="14"/>
                </a:cxn>
                <a:cxn ang="0">
                  <a:pos x="10" y="12"/>
                </a:cxn>
                <a:cxn ang="0">
                  <a:pos x="8" y="12"/>
                </a:cxn>
                <a:cxn ang="0">
                  <a:pos x="6" y="12"/>
                </a:cxn>
                <a:cxn ang="0">
                  <a:pos x="4" y="12"/>
                </a:cxn>
                <a:cxn ang="0">
                  <a:pos x="0" y="12"/>
                </a:cxn>
                <a:cxn ang="0">
                  <a:pos x="0" y="2"/>
                </a:cxn>
                <a:cxn ang="0">
                  <a:pos x="2" y="0"/>
                </a:cxn>
                <a:cxn ang="0">
                  <a:pos x="4" y="0"/>
                </a:cxn>
                <a:cxn ang="0">
                  <a:pos x="10" y="0"/>
                </a:cxn>
                <a:cxn ang="0">
                  <a:pos x="22" y="2"/>
                </a:cxn>
                <a:cxn ang="0">
                  <a:pos x="26" y="4"/>
                </a:cxn>
                <a:cxn ang="0">
                  <a:pos x="30" y="10"/>
                </a:cxn>
                <a:cxn ang="0">
                  <a:pos x="32" y="12"/>
                </a:cxn>
                <a:cxn ang="0">
                  <a:pos x="34" y="20"/>
                </a:cxn>
                <a:cxn ang="0">
                  <a:pos x="34" y="24"/>
                </a:cxn>
                <a:cxn ang="0">
                  <a:pos x="32" y="26"/>
                </a:cxn>
                <a:cxn ang="0">
                  <a:pos x="30" y="26"/>
                </a:cxn>
              </a:cxnLst>
              <a:rect l="0" t="0" r="r" b="b"/>
              <a:pathLst>
                <a:path w="34" h="26">
                  <a:moveTo>
                    <a:pt x="30" y="26"/>
                  </a:moveTo>
                  <a:lnTo>
                    <a:pt x="28" y="26"/>
                  </a:lnTo>
                  <a:lnTo>
                    <a:pt x="20" y="20"/>
                  </a:lnTo>
                  <a:lnTo>
                    <a:pt x="20" y="18"/>
                  </a:lnTo>
                  <a:lnTo>
                    <a:pt x="18" y="18"/>
                  </a:lnTo>
                  <a:lnTo>
                    <a:pt x="18" y="16"/>
                  </a:lnTo>
                  <a:lnTo>
                    <a:pt x="16" y="14"/>
                  </a:lnTo>
                  <a:lnTo>
                    <a:pt x="14" y="14"/>
                  </a:lnTo>
                  <a:lnTo>
                    <a:pt x="12" y="14"/>
                  </a:lnTo>
                  <a:lnTo>
                    <a:pt x="10" y="12"/>
                  </a:lnTo>
                  <a:lnTo>
                    <a:pt x="8" y="12"/>
                  </a:lnTo>
                  <a:lnTo>
                    <a:pt x="6" y="12"/>
                  </a:lnTo>
                  <a:lnTo>
                    <a:pt x="4" y="12"/>
                  </a:lnTo>
                  <a:lnTo>
                    <a:pt x="0" y="12"/>
                  </a:lnTo>
                  <a:lnTo>
                    <a:pt x="0" y="2"/>
                  </a:lnTo>
                  <a:lnTo>
                    <a:pt x="2" y="0"/>
                  </a:lnTo>
                  <a:lnTo>
                    <a:pt x="4" y="0"/>
                  </a:lnTo>
                  <a:lnTo>
                    <a:pt x="10" y="0"/>
                  </a:lnTo>
                  <a:lnTo>
                    <a:pt x="22" y="2"/>
                  </a:lnTo>
                  <a:lnTo>
                    <a:pt x="26" y="4"/>
                  </a:lnTo>
                  <a:lnTo>
                    <a:pt x="30" y="10"/>
                  </a:lnTo>
                  <a:lnTo>
                    <a:pt x="32" y="12"/>
                  </a:lnTo>
                  <a:lnTo>
                    <a:pt x="34" y="20"/>
                  </a:lnTo>
                  <a:lnTo>
                    <a:pt x="34" y="24"/>
                  </a:lnTo>
                  <a:lnTo>
                    <a:pt x="32" y="26"/>
                  </a:lnTo>
                  <a:lnTo>
                    <a:pt x="30"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5" name="Freeform 2723"/>
            <p:cNvSpPr>
              <a:spLocks/>
            </p:cNvSpPr>
            <p:nvPr/>
          </p:nvSpPr>
          <p:spPr bwMode="auto">
            <a:xfrm>
              <a:off x="1746" y="3128"/>
              <a:ext cx="80" cy="60"/>
            </a:xfrm>
            <a:custGeom>
              <a:avLst/>
              <a:gdLst/>
              <a:ahLst/>
              <a:cxnLst>
                <a:cxn ang="0">
                  <a:pos x="0" y="30"/>
                </a:cxn>
                <a:cxn ang="0">
                  <a:pos x="0" y="26"/>
                </a:cxn>
                <a:cxn ang="0">
                  <a:pos x="2" y="22"/>
                </a:cxn>
                <a:cxn ang="0">
                  <a:pos x="14" y="16"/>
                </a:cxn>
                <a:cxn ang="0">
                  <a:pos x="24" y="8"/>
                </a:cxn>
                <a:cxn ang="0">
                  <a:pos x="32" y="6"/>
                </a:cxn>
                <a:cxn ang="0">
                  <a:pos x="48" y="2"/>
                </a:cxn>
                <a:cxn ang="0">
                  <a:pos x="54" y="0"/>
                </a:cxn>
                <a:cxn ang="0">
                  <a:pos x="54" y="4"/>
                </a:cxn>
                <a:cxn ang="0">
                  <a:pos x="56" y="12"/>
                </a:cxn>
                <a:cxn ang="0">
                  <a:pos x="58" y="14"/>
                </a:cxn>
                <a:cxn ang="0">
                  <a:pos x="60" y="16"/>
                </a:cxn>
                <a:cxn ang="0">
                  <a:pos x="64" y="20"/>
                </a:cxn>
                <a:cxn ang="0">
                  <a:pos x="66" y="20"/>
                </a:cxn>
                <a:cxn ang="0">
                  <a:pos x="66" y="18"/>
                </a:cxn>
                <a:cxn ang="0">
                  <a:pos x="70" y="18"/>
                </a:cxn>
                <a:cxn ang="0">
                  <a:pos x="74" y="18"/>
                </a:cxn>
                <a:cxn ang="0">
                  <a:pos x="78" y="20"/>
                </a:cxn>
                <a:cxn ang="0">
                  <a:pos x="80" y="24"/>
                </a:cxn>
                <a:cxn ang="0">
                  <a:pos x="78" y="28"/>
                </a:cxn>
                <a:cxn ang="0">
                  <a:pos x="76" y="30"/>
                </a:cxn>
                <a:cxn ang="0">
                  <a:pos x="70" y="38"/>
                </a:cxn>
                <a:cxn ang="0">
                  <a:pos x="66" y="40"/>
                </a:cxn>
                <a:cxn ang="0">
                  <a:pos x="66" y="42"/>
                </a:cxn>
                <a:cxn ang="0">
                  <a:pos x="64" y="44"/>
                </a:cxn>
                <a:cxn ang="0">
                  <a:pos x="62" y="50"/>
                </a:cxn>
                <a:cxn ang="0">
                  <a:pos x="58" y="54"/>
                </a:cxn>
                <a:cxn ang="0">
                  <a:pos x="46" y="60"/>
                </a:cxn>
                <a:cxn ang="0">
                  <a:pos x="44" y="60"/>
                </a:cxn>
                <a:cxn ang="0">
                  <a:pos x="42" y="58"/>
                </a:cxn>
                <a:cxn ang="0">
                  <a:pos x="40" y="54"/>
                </a:cxn>
                <a:cxn ang="0">
                  <a:pos x="30" y="50"/>
                </a:cxn>
                <a:cxn ang="0">
                  <a:pos x="28" y="48"/>
                </a:cxn>
                <a:cxn ang="0">
                  <a:pos x="24" y="46"/>
                </a:cxn>
                <a:cxn ang="0">
                  <a:pos x="24" y="38"/>
                </a:cxn>
                <a:cxn ang="0">
                  <a:pos x="26" y="36"/>
                </a:cxn>
                <a:cxn ang="0">
                  <a:pos x="24" y="34"/>
                </a:cxn>
                <a:cxn ang="0">
                  <a:pos x="22" y="30"/>
                </a:cxn>
                <a:cxn ang="0">
                  <a:pos x="20" y="30"/>
                </a:cxn>
                <a:cxn ang="0">
                  <a:pos x="12" y="32"/>
                </a:cxn>
                <a:cxn ang="0">
                  <a:pos x="4" y="30"/>
                </a:cxn>
                <a:cxn ang="0">
                  <a:pos x="0" y="30"/>
                </a:cxn>
              </a:cxnLst>
              <a:rect l="0" t="0" r="r" b="b"/>
              <a:pathLst>
                <a:path w="80" h="60">
                  <a:moveTo>
                    <a:pt x="0" y="30"/>
                  </a:moveTo>
                  <a:lnTo>
                    <a:pt x="0" y="26"/>
                  </a:lnTo>
                  <a:lnTo>
                    <a:pt x="2" y="22"/>
                  </a:lnTo>
                  <a:lnTo>
                    <a:pt x="14" y="16"/>
                  </a:lnTo>
                  <a:lnTo>
                    <a:pt x="24" y="8"/>
                  </a:lnTo>
                  <a:lnTo>
                    <a:pt x="32" y="6"/>
                  </a:lnTo>
                  <a:lnTo>
                    <a:pt x="48" y="2"/>
                  </a:lnTo>
                  <a:lnTo>
                    <a:pt x="54" y="0"/>
                  </a:lnTo>
                  <a:lnTo>
                    <a:pt x="54" y="4"/>
                  </a:lnTo>
                  <a:lnTo>
                    <a:pt x="56" y="12"/>
                  </a:lnTo>
                  <a:lnTo>
                    <a:pt x="58" y="14"/>
                  </a:lnTo>
                  <a:lnTo>
                    <a:pt x="60" y="16"/>
                  </a:lnTo>
                  <a:lnTo>
                    <a:pt x="64" y="20"/>
                  </a:lnTo>
                  <a:lnTo>
                    <a:pt x="66" y="20"/>
                  </a:lnTo>
                  <a:lnTo>
                    <a:pt x="66" y="18"/>
                  </a:lnTo>
                  <a:lnTo>
                    <a:pt x="70" y="18"/>
                  </a:lnTo>
                  <a:lnTo>
                    <a:pt x="74" y="18"/>
                  </a:lnTo>
                  <a:lnTo>
                    <a:pt x="78" y="20"/>
                  </a:lnTo>
                  <a:lnTo>
                    <a:pt x="80" y="24"/>
                  </a:lnTo>
                  <a:lnTo>
                    <a:pt x="78" y="28"/>
                  </a:lnTo>
                  <a:lnTo>
                    <a:pt x="76" y="30"/>
                  </a:lnTo>
                  <a:lnTo>
                    <a:pt x="70" y="38"/>
                  </a:lnTo>
                  <a:lnTo>
                    <a:pt x="66" y="40"/>
                  </a:lnTo>
                  <a:lnTo>
                    <a:pt x="66" y="42"/>
                  </a:lnTo>
                  <a:lnTo>
                    <a:pt x="64" y="44"/>
                  </a:lnTo>
                  <a:lnTo>
                    <a:pt x="62" y="50"/>
                  </a:lnTo>
                  <a:lnTo>
                    <a:pt x="58" y="54"/>
                  </a:lnTo>
                  <a:lnTo>
                    <a:pt x="46" y="60"/>
                  </a:lnTo>
                  <a:lnTo>
                    <a:pt x="44" y="60"/>
                  </a:lnTo>
                  <a:lnTo>
                    <a:pt x="42" y="58"/>
                  </a:lnTo>
                  <a:lnTo>
                    <a:pt x="40" y="54"/>
                  </a:lnTo>
                  <a:lnTo>
                    <a:pt x="30" y="50"/>
                  </a:lnTo>
                  <a:lnTo>
                    <a:pt x="28" y="48"/>
                  </a:lnTo>
                  <a:lnTo>
                    <a:pt x="24" y="46"/>
                  </a:lnTo>
                  <a:lnTo>
                    <a:pt x="24" y="38"/>
                  </a:lnTo>
                  <a:lnTo>
                    <a:pt x="26" y="36"/>
                  </a:lnTo>
                  <a:lnTo>
                    <a:pt x="24" y="34"/>
                  </a:lnTo>
                  <a:lnTo>
                    <a:pt x="22" y="30"/>
                  </a:lnTo>
                  <a:lnTo>
                    <a:pt x="20" y="30"/>
                  </a:lnTo>
                  <a:lnTo>
                    <a:pt x="12" y="32"/>
                  </a:lnTo>
                  <a:lnTo>
                    <a:pt x="4" y="30"/>
                  </a:lnTo>
                  <a:lnTo>
                    <a:pt x="0" y="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6" name="Freeform 2724"/>
            <p:cNvSpPr>
              <a:spLocks/>
            </p:cNvSpPr>
            <p:nvPr/>
          </p:nvSpPr>
          <p:spPr bwMode="auto">
            <a:xfrm>
              <a:off x="1656" y="3186"/>
              <a:ext cx="30" cy="24"/>
            </a:xfrm>
            <a:custGeom>
              <a:avLst/>
              <a:gdLst/>
              <a:ahLst/>
              <a:cxnLst>
                <a:cxn ang="0">
                  <a:pos x="10" y="24"/>
                </a:cxn>
                <a:cxn ang="0">
                  <a:pos x="10" y="22"/>
                </a:cxn>
                <a:cxn ang="0">
                  <a:pos x="8" y="20"/>
                </a:cxn>
                <a:cxn ang="0">
                  <a:pos x="4" y="18"/>
                </a:cxn>
                <a:cxn ang="0">
                  <a:pos x="2" y="20"/>
                </a:cxn>
                <a:cxn ang="0">
                  <a:pos x="0" y="18"/>
                </a:cxn>
                <a:cxn ang="0">
                  <a:pos x="0" y="16"/>
                </a:cxn>
                <a:cxn ang="0">
                  <a:pos x="0" y="12"/>
                </a:cxn>
                <a:cxn ang="0">
                  <a:pos x="2" y="10"/>
                </a:cxn>
                <a:cxn ang="0">
                  <a:pos x="8" y="4"/>
                </a:cxn>
                <a:cxn ang="0">
                  <a:pos x="10" y="2"/>
                </a:cxn>
                <a:cxn ang="0">
                  <a:pos x="12" y="2"/>
                </a:cxn>
                <a:cxn ang="0">
                  <a:pos x="20" y="0"/>
                </a:cxn>
                <a:cxn ang="0">
                  <a:pos x="24" y="0"/>
                </a:cxn>
                <a:cxn ang="0">
                  <a:pos x="26" y="0"/>
                </a:cxn>
                <a:cxn ang="0">
                  <a:pos x="30" y="2"/>
                </a:cxn>
                <a:cxn ang="0">
                  <a:pos x="30" y="4"/>
                </a:cxn>
                <a:cxn ang="0">
                  <a:pos x="30" y="8"/>
                </a:cxn>
                <a:cxn ang="0">
                  <a:pos x="22" y="14"/>
                </a:cxn>
                <a:cxn ang="0">
                  <a:pos x="12" y="22"/>
                </a:cxn>
                <a:cxn ang="0">
                  <a:pos x="10" y="24"/>
                </a:cxn>
              </a:cxnLst>
              <a:rect l="0" t="0" r="r" b="b"/>
              <a:pathLst>
                <a:path w="30" h="24">
                  <a:moveTo>
                    <a:pt x="10" y="24"/>
                  </a:moveTo>
                  <a:lnTo>
                    <a:pt x="10" y="22"/>
                  </a:lnTo>
                  <a:lnTo>
                    <a:pt x="8" y="20"/>
                  </a:lnTo>
                  <a:lnTo>
                    <a:pt x="4" y="18"/>
                  </a:lnTo>
                  <a:lnTo>
                    <a:pt x="2" y="20"/>
                  </a:lnTo>
                  <a:lnTo>
                    <a:pt x="0" y="18"/>
                  </a:lnTo>
                  <a:lnTo>
                    <a:pt x="0" y="16"/>
                  </a:lnTo>
                  <a:lnTo>
                    <a:pt x="0" y="12"/>
                  </a:lnTo>
                  <a:lnTo>
                    <a:pt x="2" y="10"/>
                  </a:lnTo>
                  <a:lnTo>
                    <a:pt x="8" y="4"/>
                  </a:lnTo>
                  <a:lnTo>
                    <a:pt x="10" y="2"/>
                  </a:lnTo>
                  <a:lnTo>
                    <a:pt x="12" y="2"/>
                  </a:lnTo>
                  <a:lnTo>
                    <a:pt x="20" y="0"/>
                  </a:lnTo>
                  <a:lnTo>
                    <a:pt x="24" y="0"/>
                  </a:lnTo>
                  <a:lnTo>
                    <a:pt x="26" y="0"/>
                  </a:lnTo>
                  <a:lnTo>
                    <a:pt x="30" y="2"/>
                  </a:lnTo>
                  <a:lnTo>
                    <a:pt x="30" y="4"/>
                  </a:lnTo>
                  <a:lnTo>
                    <a:pt x="30" y="8"/>
                  </a:lnTo>
                  <a:lnTo>
                    <a:pt x="22" y="14"/>
                  </a:lnTo>
                  <a:lnTo>
                    <a:pt x="12" y="22"/>
                  </a:lnTo>
                  <a:lnTo>
                    <a:pt x="10"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7" name="Freeform 2725"/>
            <p:cNvSpPr>
              <a:spLocks/>
            </p:cNvSpPr>
            <p:nvPr/>
          </p:nvSpPr>
          <p:spPr bwMode="auto">
            <a:xfrm>
              <a:off x="1664" y="3218"/>
              <a:ext cx="14" cy="10"/>
            </a:xfrm>
            <a:custGeom>
              <a:avLst/>
              <a:gdLst/>
              <a:ahLst/>
              <a:cxnLst>
                <a:cxn ang="0">
                  <a:pos x="0" y="10"/>
                </a:cxn>
                <a:cxn ang="0">
                  <a:pos x="0" y="8"/>
                </a:cxn>
                <a:cxn ang="0">
                  <a:pos x="0" y="6"/>
                </a:cxn>
                <a:cxn ang="0">
                  <a:pos x="0" y="4"/>
                </a:cxn>
                <a:cxn ang="0">
                  <a:pos x="0" y="2"/>
                </a:cxn>
                <a:cxn ang="0">
                  <a:pos x="2" y="0"/>
                </a:cxn>
                <a:cxn ang="0">
                  <a:pos x="6" y="0"/>
                </a:cxn>
                <a:cxn ang="0">
                  <a:pos x="14" y="6"/>
                </a:cxn>
                <a:cxn ang="0">
                  <a:pos x="14" y="10"/>
                </a:cxn>
                <a:cxn ang="0">
                  <a:pos x="12" y="10"/>
                </a:cxn>
                <a:cxn ang="0">
                  <a:pos x="10" y="10"/>
                </a:cxn>
                <a:cxn ang="0">
                  <a:pos x="8" y="8"/>
                </a:cxn>
                <a:cxn ang="0">
                  <a:pos x="6" y="6"/>
                </a:cxn>
                <a:cxn ang="0">
                  <a:pos x="4" y="6"/>
                </a:cxn>
                <a:cxn ang="0">
                  <a:pos x="0" y="10"/>
                </a:cxn>
              </a:cxnLst>
              <a:rect l="0" t="0" r="r" b="b"/>
              <a:pathLst>
                <a:path w="14" h="10">
                  <a:moveTo>
                    <a:pt x="0" y="10"/>
                  </a:moveTo>
                  <a:lnTo>
                    <a:pt x="0" y="8"/>
                  </a:lnTo>
                  <a:lnTo>
                    <a:pt x="0" y="6"/>
                  </a:lnTo>
                  <a:lnTo>
                    <a:pt x="0" y="4"/>
                  </a:lnTo>
                  <a:lnTo>
                    <a:pt x="0" y="2"/>
                  </a:lnTo>
                  <a:lnTo>
                    <a:pt x="2" y="0"/>
                  </a:lnTo>
                  <a:lnTo>
                    <a:pt x="6" y="0"/>
                  </a:lnTo>
                  <a:lnTo>
                    <a:pt x="14" y="6"/>
                  </a:lnTo>
                  <a:lnTo>
                    <a:pt x="14" y="10"/>
                  </a:lnTo>
                  <a:lnTo>
                    <a:pt x="12" y="10"/>
                  </a:lnTo>
                  <a:lnTo>
                    <a:pt x="10" y="10"/>
                  </a:lnTo>
                  <a:lnTo>
                    <a:pt x="8" y="8"/>
                  </a:lnTo>
                  <a:lnTo>
                    <a:pt x="6" y="6"/>
                  </a:lnTo>
                  <a:lnTo>
                    <a:pt x="4" y="6"/>
                  </a:lnTo>
                  <a:lnTo>
                    <a:pt x="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6" name="Freeform 2726"/>
          <p:cNvSpPr>
            <a:spLocks/>
          </p:cNvSpPr>
          <p:nvPr/>
        </p:nvSpPr>
        <p:spPr bwMode="auto">
          <a:xfrm>
            <a:off x="3044061" y="6149011"/>
            <a:ext cx="8860" cy="11815"/>
          </a:xfrm>
          <a:custGeom>
            <a:avLst/>
            <a:gdLst/>
            <a:ahLst/>
            <a:cxnLst>
              <a:cxn ang="0">
                <a:pos x="2" y="8"/>
              </a:cxn>
              <a:cxn ang="0">
                <a:pos x="0" y="6"/>
              </a:cxn>
              <a:cxn ang="0">
                <a:pos x="0" y="2"/>
              </a:cxn>
              <a:cxn ang="0">
                <a:pos x="0" y="0"/>
              </a:cxn>
              <a:cxn ang="0">
                <a:pos x="4" y="2"/>
              </a:cxn>
              <a:cxn ang="0">
                <a:pos x="6" y="6"/>
              </a:cxn>
              <a:cxn ang="0">
                <a:pos x="2" y="8"/>
              </a:cxn>
            </a:cxnLst>
            <a:rect l="0" t="0" r="r" b="b"/>
            <a:pathLst>
              <a:path w="6" h="8">
                <a:moveTo>
                  <a:pt x="2" y="8"/>
                </a:moveTo>
                <a:lnTo>
                  <a:pt x="0" y="6"/>
                </a:lnTo>
                <a:lnTo>
                  <a:pt x="0" y="2"/>
                </a:lnTo>
                <a:lnTo>
                  <a:pt x="0" y="0"/>
                </a:lnTo>
                <a:lnTo>
                  <a:pt x="4" y="2"/>
                </a:lnTo>
                <a:lnTo>
                  <a:pt x="6" y="6"/>
                </a:lnTo>
                <a:lnTo>
                  <a:pt x="2" y="8"/>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17" name="Group 2823"/>
          <p:cNvGrpSpPr>
            <a:grpSpLocks/>
          </p:cNvGrpSpPr>
          <p:nvPr/>
        </p:nvGrpSpPr>
        <p:grpSpPr bwMode="auto">
          <a:xfrm>
            <a:off x="4582900" y="1594456"/>
            <a:ext cx="1462055" cy="1801751"/>
            <a:chOff x="2170" y="290"/>
            <a:chExt cx="990" cy="1220"/>
          </a:xfrm>
          <a:solidFill>
            <a:srgbClr val="B9B9B9"/>
          </a:solidFill>
        </p:grpSpPr>
        <p:sp>
          <p:nvSpPr>
            <p:cNvPr id="334" name="Freeform 2727"/>
            <p:cNvSpPr>
              <a:spLocks/>
            </p:cNvSpPr>
            <p:nvPr/>
          </p:nvSpPr>
          <p:spPr bwMode="auto">
            <a:xfrm>
              <a:off x="2956" y="294"/>
              <a:ext cx="28" cy="22"/>
            </a:xfrm>
            <a:custGeom>
              <a:avLst/>
              <a:gdLst/>
              <a:ahLst/>
              <a:cxnLst>
                <a:cxn ang="0">
                  <a:pos x="10" y="22"/>
                </a:cxn>
                <a:cxn ang="0">
                  <a:pos x="8" y="22"/>
                </a:cxn>
                <a:cxn ang="0">
                  <a:pos x="4" y="18"/>
                </a:cxn>
                <a:cxn ang="0">
                  <a:pos x="6" y="16"/>
                </a:cxn>
                <a:cxn ang="0">
                  <a:pos x="8" y="16"/>
                </a:cxn>
                <a:cxn ang="0">
                  <a:pos x="8" y="14"/>
                </a:cxn>
                <a:cxn ang="0">
                  <a:pos x="6" y="14"/>
                </a:cxn>
                <a:cxn ang="0">
                  <a:pos x="4" y="14"/>
                </a:cxn>
                <a:cxn ang="0">
                  <a:pos x="2" y="16"/>
                </a:cxn>
                <a:cxn ang="0">
                  <a:pos x="0" y="16"/>
                </a:cxn>
                <a:cxn ang="0">
                  <a:pos x="0" y="14"/>
                </a:cxn>
                <a:cxn ang="0">
                  <a:pos x="0" y="10"/>
                </a:cxn>
                <a:cxn ang="0">
                  <a:pos x="2" y="8"/>
                </a:cxn>
                <a:cxn ang="0">
                  <a:pos x="4" y="8"/>
                </a:cxn>
                <a:cxn ang="0">
                  <a:pos x="8" y="8"/>
                </a:cxn>
                <a:cxn ang="0">
                  <a:pos x="8" y="6"/>
                </a:cxn>
                <a:cxn ang="0">
                  <a:pos x="8" y="4"/>
                </a:cxn>
                <a:cxn ang="0">
                  <a:pos x="12" y="0"/>
                </a:cxn>
                <a:cxn ang="0">
                  <a:pos x="12" y="4"/>
                </a:cxn>
                <a:cxn ang="0">
                  <a:pos x="14" y="6"/>
                </a:cxn>
                <a:cxn ang="0">
                  <a:pos x="16" y="6"/>
                </a:cxn>
                <a:cxn ang="0">
                  <a:pos x="18" y="4"/>
                </a:cxn>
                <a:cxn ang="0">
                  <a:pos x="20" y="4"/>
                </a:cxn>
                <a:cxn ang="0">
                  <a:pos x="20" y="6"/>
                </a:cxn>
                <a:cxn ang="0">
                  <a:pos x="20" y="8"/>
                </a:cxn>
                <a:cxn ang="0">
                  <a:pos x="18" y="10"/>
                </a:cxn>
                <a:cxn ang="0">
                  <a:pos x="20" y="14"/>
                </a:cxn>
                <a:cxn ang="0">
                  <a:pos x="22" y="14"/>
                </a:cxn>
                <a:cxn ang="0">
                  <a:pos x="24" y="14"/>
                </a:cxn>
                <a:cxn ang="0">
                  <a:pos x="24" y="12"/>
                </a:cxn>
                <a:cxn ang="0">
                  <a:pos x="24" y="10"/>
                </a:cxn>
                <a:cxn ang="0">
                  <a:pos x="26" y="8"/>
                </a:cxn>
                <a:cxn ang="0">
                  <a:pos x="28" y="10"/>
                </a:cxn>
                <a:cxn ang="0">
                  <a:pos x="28" y="12"/>
                </a:cxn>
                <a:cxn ang="0">
                  <a:pos x="26" y="12"/>
                </a:cxn>
                <a:cxn ang="0">
                  <a:pos x="24" y="16"/>
                </a:cxn>
                <a:cxn ang="0">
                  <a:pos x="20" y="18"/>
                </a:cxn>
                <a:cxn ang="0">
                  <a:pos x="18" y="18"/>
                </a:cxn>
                <a:cxn ang="0">
                  <a:pos x="16" y="18"/>
                </a:cxn>
                <a:cxn ang="0">
                  <a:pos x="14" y="20"/>
                </a:cxn>
                <a:cxn ang="0">
                  <a:pos x="12" y="22"/>
                </a:cxn>
                <a:cxn ang="0">
                  <a:pos x="10" y="22"/>
                </a:cxn>
              </a:cxnLst>
              <a:rect l="0" t="0" r="r" b="b"/>
              <a:pathLst>
                <a:path w="28" h="22">
                  <a:moveTo>
                    <a:pt x="10" y="22"/>
                  </a:moveTo>
                  <a:lnTo>
                    <a:pt x="8" y="22"/>
                  </a:lnTo>
                  <a:lnTo>
                    <a:pt x="4" y="18"/>
                  </a:lnTo>
                  <a:lnTo>
                    <a:pt x="6" y="16"/>
                  </a:lnTo>
                  <a:lnTo>
                    <a:pt x="8" y="16"/>
                  </a:lnTo>
                  <a:lnTo>
                    <a:pt x="8" y="14"/>
                  </a:lnTo>
                  <a:lnTo>
                    <a:pt x="6" y="14"/>
                  </a:lnTo>
                  <a:lnTo>
                    <a:pt x="4" y="14"/>
                  </a:lnTo>
                  <a:lnTo>
                    <a:pt x="2" y="16"/>
                  </a:lnTo>
                  <a:lnTo>
                    <a:pt x="0" y="16"/>
                  </a:lnTo>
                  <a:lnTo>
                    <a:pt x="0" y="14"/>
                  </a:lnTo>
                  <a:lnTo>
                    <a:pt x="0" y="10"/>
                  </a:lnTo>
                  <a:lnTo>
                    <a:pt x="2" y="8"/>
                  </a:lnTo>
                  <a:lnTo>
                    <a:pt x="4" y="8"/>
                  </a:lnTo>
                  <a:lnTo>
                    <a:pt x="8" y="8"/>
                  </a:lnTo>
                  <a:lnTo>
                    <a:pt x="8" y="6"/>
                  </a:lnTo>
                  <a:lnTo>
                    <a:pt x="8" y="4"/>
                  </a:lnTo>
                  <a:lnTo>
                    <a:pt x="12" y="0"/>
                  </a:lnTo>
                  <a:lnTo>
                    <a:pt x="12" y="4"/>
                  </a:lnTo>
                  <a:lnTo>
                    <a:pt x="14" y="6"/>
                  </a:lnTo>
                  <a:lnTo>
                    <a:pt x="16" y="6"/>
                  </a:lnTo>
                  <a:lnTo>
                    <a:pt x="18" y="4"/>
                  </a:lnTo>
                  <a:lnTo>
                    <a:pt x="20" y="4"/>
                  </a:lnTo>
                  <a:lnTo>
                    <a:pt x="20" y="6"/>
                  </a:lnTo>
                  <a:lnTo>
                    <a:pt x="20" y="8"/>
                  </a:lnTo>
                  <a:lnTo>
                    <a:pt x="18" y="10"/>
                  </a:lnTo>
                  <a:lnTo>
                    <a:pt x="20" y="14"/>
                  </a:lnTo>
                  <a:lnTo>
                    <a:pt x="22" y="14"/>
                  </a:lnTo>
                  <a:lnTo>
                    <a:pt x="24" y="14"/>
                  </a:lnTo>
                  <a:lnTo>
                    <a:pt x="24" y="12"/>
                  </a:lnTo>
                  <a:lnTo>
                    <a:pt x="24" y="10"/>
                  </a:lnTo>
                  <a:lnTo>
                    <a:pt x="26" y="8"/>
                  </a:lnTo>
                  <a:lnTo>
                    <a:pt x="28" y="10"/>
                  </a:lnTo>
                  <a:lnTo>
                    <a:pt x="28" y="12"/>
                  </a:lnTo>
                  <a:lnTo>
                    <a:pt x="26" y="12"/>
                  </a:lnTo>
                  <a:lnTo>
                    <a:pt x="24" y="16"/>
                  </a:lnTo>
                  <a:lnTo>
                    <a:pt x="20" y="18"/>
                  </a:lnTo>
                  <a:lnTo>
                    <a:pt x="18" y="18"/>
                  </a:lnTo>
                  <a:lnTo>
                    <a:pt x="16" y="18"/>
                  </a:lnTo>
                  <a:lnTo>
                    <a:pt x="14" y="20"/>
                  </a:lnTo>
                  <a:lnTo>
                    <a:pt x="12" y="22"/>
                  </a:lnTo>
                  <a:lnTo>
                    <a:pt x="10"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5" name="Freeform 2728"/>
            <p:cNvSpPr>
              <a:spLocks/>
            </p:cNvSpPr>
            <p:nvPr/>
          </p:nvSpPr>
          <p:spPr bwMode="auto">
            <a:xfrm>
              <a:off x="2178" y="290"/>
              <a:ext cx="982" cy="1220"/>
            </a:xfrm>
            <a:custGeom>
              <a:avLst/>
              <a:gdLst/>
              <a:ahLst/>
              <a:cxnLst>
                <a:cxn ang="0">
                  <a:pos x="282" y="734"/>
                </a:cxn>
                <a:cxn ang="0">
                  <a:pos x="304" y="682"/>
                </a:cxn>
                <a:cxn ang="0">
                  <a:pos x="234" y="700"/>
                </a:cxn>
                <a:cxn ang="0">
                  <a:pos x="298" y="628"/>
                </a:cxn>
                <a:cxn ang="0">
                  <a:pos x="348" y="598"/>
                </a:cxn>
                <a:cxn ang="0">
                  <a:pos x="370" y="574"/>
                </a:cxn>
                <a:cxn ang="0">
                  <a:pos x="378" y="506"/>
                </a:cxn>
                <a:cxn ang="0">
                  <a:pos x="392" y="484"/>
                </a:cxn>
                <a:cxn ang="0">
                  <a:pos x="404" y="442"/>
                </a:cxn>
                <a:cxn ang="0">
                  <a:pos x="438" y="406"/>
                </a:cxn>
                <a:cxn ang="0">
                  <a:pos x="476" y="390"/>
                </a:cxn>
                <a:cxn ang="0">
                  <a:pos x="482" y="386"/>
                </a:cxn>
                <a:cxn ang="0">
                  <a:pos x="460" y="350"/>
                </a:cxn>
                <a:cxn ang="0">
                  <a:pos x="478" y="316"/>
                </a:cxn>
                <a:cxn ang="0">
                  <a:pos x="512" y="324"/>
                </a:cxn>
                <a:cxn ang="0">
                  <a:pos x="516" y="298"/>
                </a:cxn>
                <a:cxn ang="0">
                  <a:pos x="540" y="274"/>
                </a:cxn>
                <a:cxn ang="0">
                  <a:pos x="556" y="248"/>
                </a:cxn>
                <a:cxn ang="0">
                  <a:pos x="592" y="198"/>
                </a:cxn>
                <a:cxn ang="0">
                  <a:pos x="594" y="174"/>
                </a:cxn>
                <a:cxn ang="0">
                  <a:pos x="628" y="194"/>
                </a:cxn>
                <a:cxn ang="0">
                  <a:pos x="682" y="138"/>
                </a:cxn>
                <a:cxn ang="0">
                  <a:pos x="704" y="102"/>
                </a:cxn>
                <a:cxn ang="0">
                  <a:pos x="734" y="82"/>
                </a:cxn>
                <a:cxn ang="0">
                  <a:pos x="772" y="26"/>
                </a:cxn>
                <a:cxn ang="0">
                  <a:pos x="782" y="102"/>
                </a:cxn>
                <a:cxn ang="0">
                  <a:pos x="828" y="72"/>
                </a:cxn>
                <a:cxn ang="0">
                  <a:pos x="860" y="2"/>
                </a:cxn>
                <a:cxn ang="0">
                  <a:pos x="874" y="52"/>
                </a:cxn>
                <a:cxn ang="0">
                  <a:pos x="902" y="14"/>
                </a:cxn>
                <a:cxn ang="0">
                  <a:pos x="952" y="68"/>
                </a:cxn>
                <a:cxn ang="0">
                  <a:pos x="954" y="108"/>
                </a:cxn>
                <a:cxn ang="0">
                  <a:pos x="952" y="136"/>
                </a:cxn>
                <a:cxn ang="0">
                  <a:pos x="888" y="104"/>
                </a:cxn>
                <a:cxn ang="0">
                  <a:pos x="822" y="208"/>
                </a:cxn>
                <a:cxn ang="0">
                  <a:pos x="742" y="246"/>
                </a:cxn>
                <a:cxn ang="0">
                  <a:pos x="632" y="264"/>
                </a:cxn>
                <a:cxn ang="0">
                  <a:pos x="510" y="362"/>
                </a:cxn>
                <a:cxn ang="0">
                  <a:pos x="432" y="584"/>
                </a:cxn>
                <a:cxn ang="0">
                  <a:pos x="338" y="780"/>
                </a:cxn>
                <a:cxn ang="0">
                  <a:pos x="338" y="966"/>
                </a:cxn>
                <a:cxn ang="0">
                  <a:pos x="298" y="1152"/>
                </a:cxn>
                <a:cxn ang="0">
                  <a:pos x="252" y="1078"/>
                </a:cxn>
                <a:cxn ang="0">
                  <a:pos x="202" y="1126"/>
                </a:cxn>
                <a:cxn ang="0">
                  <a:pos x="56" y="1210"/>
                </a:cxn>
                <a:cxn ang="0">
                  <a:pos x="40" y="1136"/>
                </a:cxn>
                <a:cxn ang="0">
                  <a:pos x="42" y="1084"/>
                </a:cxn>
                <a:cxn ang="0">
                  <a:pos x="16" y="1054"/>
                </a:cxn>
                <a:cxn ang="0">
                  <a:pos x="74" y="994"/>
                </a:cxn>
                <a:cxn ang="0">
                  <a:pos x="54" y="1006"/>
                </a:cxn>
                <a:cxn ang="0">
                  <a:pos x="36" y="962"/>
                </a:cxn>
                <a:cxn ang="0">
                  <a:pos x="14" y="926"/>
                </a:cxn>
                <a:cxn ang="0">
                  <a:pos x="120" y="926"/>
                </a:cxn>
                <a:cxn ang="0">
                  <a:pos x="34" y="926"/>
                </a:cxn>
                <a:cxn ang="0">
                  <a:pos x="50" y="892"/>
                </a:cxn>
                <a:cxn ang="0">
                  <a:pos x="88" y="868"/>
                </a:cxn>
                <a:cxn ang="0">
                  <a:pos x="34" y="822"/>
                </a:cxn>
                <a:cxn ang="0">
                  <a:pos x="88" y="816"/>
                </a:cxn>
                <a:cxn ang="0">
                  <a:pos x="106" y="808"/>
                </a:cxn>
                <a:cxn ang="0">
                  <a:pos x="146" y="790"/>
                </a:cxn>
                <a:cxn ang="0">
                  <a:pos x="150" y="766"/>
                </a:cxn>
                <a:cxn ang="0">
                  <a:pos x="182" y="770"/>
                </a:cxn>
              </a:cxnLst>
              <a:rect l="0" t="0" r="r" b="b"/>
              <a:pathLst>
                <a:path w="982" h="1220">
                  <a:moveTo>
                    <a:pt x="198" y="730"/>
                  </a:moveTo>
                  <a:lnTo>
                    <a:pt x="208" y="728"/>
                  </a:lnTo>
                  <a:lnTo>
                    <a:pt x="210" y="726"/>
                  </a:lnTo>
                  <a:lnTo>
                    <a:pt x="212" y="728"/>
                  </a:lnTo>
                  <a:lnTo>
                    <a:pt x="214" y="732"/>
                  </a:lnTo>
                  <a:lnTo>
                    <a:pt x="216" y="736"/>
                  </a:lnTo>
                  <a:lnTo>
                    <a:pt x="218" y="736"/>
                  </a:lnTo>
                  <a:lnTo>
                    <a:pt x="224" y="736"/>
                  </a:lnTo>
                  <a:lnTo>
                    <a:pt x="226" y="736"/>
                  </a:lnTo>
                  <a:lnTo>
                    <a:pt x="230" y="734"/>
                  </a:lnTo>
                  <a:lnTo>
                    <a:pt x="226" y="736"/>
                  </a:lnTo>
                  <a:lnTo>
                    <a:pt x="218" y="736"/>
                  </a:lnTo>
                  <a:lnTo>
                    <a:pt x="216" y="734"/>
                  </a:lnTo>
                  <a:lnTo>
                    <a:pt x="216" y="724"/>
                  </a:lnTo>
                  <a:lnTo>
                    <a:pt x="222" y="720"/>
                  </a:lnTo>
                  <a:lnTo>
                    <a:pt x="224" y="720"/>
                  </a:lnTo>
                  <a:lnTo>
                    <a:pt x="228" y="722"/>
                  </a:lnTo>
                  <a:lnTo>
                    <a:pt x="230" y="718"/>
                  </a:lnTo>
                  <a:lnTo>
                    <a:pt x="232" y="716"/>
                  </a:lnTo>
                  <a:lnTo>
                    <a:pt x="234" y="716"/>
                  </a:lnTo>
                  <a:lnTo>
                    <a:pt x="238" y="714"/>
                  </a:lnTo>
                  <a:lnTo>
                    <a:pt x="242" y="714"/>
                  </a:lnTo>
                  <a:lnTo>
                    <a:pt x="250" y="732"/>
                  </a:lnTo>
                  <a:lnTo>
                    <a:pt x="248" y="736"/>
                  </a:lnTo>
                  <a:lnTo>
                    <a:pt x="250" y="740"/>
                  </a:lnTo>
                  <a:lnTo>
                    <a:pt x="252" y="740"/>
                  </a:lnTo>
                  <a:lnTo>
                    <a:pt x="258" y="744"/>
                  </a:lnTo>
                  <a:lnTo>
                    <a:pt x="262" y="746"/>
                  </a:lnTo>
                  <a:lnTo>
                    <a:pt x="262" y="748"/>
                  </a:lnTo>
                  <a:lnTo>
                    <a:pt x="262" y="744"/>
                  </a:lnTo>
                  <a:lnTo>
                    <a:pt x="262" y="742"/>
                  </a:lnTo>
                  <a:lnTo>
                    <a:pt x="260" y="740"/>
                  </a:lnTo>
                  <a:lnTo>
                    <a:pt x="258" y="740"/>
                  </a:lnTo>
                  <a:lnTo>
                    <a:pt x="256" y="740"/>
                  </a:lnTo>
                  <a:lnTo>
                    <a:pt x="254" y="740"/>
                  </a:lnTo>
                  <a:lnTo>
                    <a:pt x="254" y="736"/>
                  </a:lnTo>
                  <a:lnTo>
                    <a:pt x="254" y="734"/>
                  </a:lnTo>
                  <a:lnTo>
                    <a:pt x="256" y="732"/>
                  </a:lnTo>
                  <a:lnTo>
                    <a:pt x="258" y="732"/>
                  </a:lnTo>
                  <a:lnTo>
                    <a:pt x="264" y="730"/>
                  </a:lnTo>
                  <a:lnTo>
                    <a:pt x="270" y="732"/>
                  </a:lnTo>
                  <a:lnTo>
                    <a:pt x="274" y="734"/>
                  </a:lnTo>
                  <a:lnTo>
                    <a:pt x="276" y="734"/>
                  </a:lnTo>
                  <a:lnTo>
                    <a:pt x="282" y="734"/>
                  </a:lnTo>
                  <a:lnTo>
                    <a:pt x="288" y="734"/>
                  </a:lnTo>
                  <a:lnTo>
                    <a:pt x="290" y="732"/>
                  </a:lnTo>
                  <a:lnTo>
                    <a:pt x="288" y="732"/>
                  </a:lnTo>
                  <a:lnTo>
                    <a:pt x="286" y="730"/>
                  </a:lnTo>
                  <a:lnTo>
                    <a:pt x="284" y="730"/>
                  </a:lnTo>
                  <a:lnTo>
                    <a:pt x="284" y="728"/>
                  </a:lnTo>
                  <a:lnTo>
                    <a:pt x="284" y="726"/>
                  </a:lnTo>
                  <a:lnTo>
                    <a:pt x="286" y="724"/>
                  </a:lnTo>
                  <a:lnTo>
                    <a:pt x="288" y="724"/>
                  </a:lnTo>
                  <a:lnTo>
                    <a:pt x="290" y="724"/>
                  </a:lnTo>
                  <a:lnTo>
                    <a:pt x="290" y="720"/>
                  </a:lnTo>
                  <a:lnTo>
                    <a:pt x="288" y="720"/>
                  </a:lnTo>
                  <a:lnTo>
                    <a:pt x="282" y="722"/>
                  </a:lnTo>
                  <a:lnTo>
                    <a:pt x="280" y="724"/>
                  </a:lnTo>
                  <a:lnTo>
                    <a:pt x="282" y="718"/>
                  </a:lnTo>
                  <a:lnTo>
                    <a:pt x="284" y="718"/>
                  </a:lnTo>
                  <a:lnTo>
                    <a:pt x="292" y="712"/>
                  </a:lnTo>
                  <a:lnTo>
                    <a:pt x="292" y="710"/>
                  </a:lnTo>
                  <a:lnTo>
                    <a:pt x="296" y="710"/>
                  </a:lnTo>
                  <a:lnTo>
                    <a:pt x="298" y="710"/>
                  </a:lnTo>
                  <a:lnTo>
                    <a:pt x="300" y="710"/>
                  </a:lnTo>
                  <a:lnTo>
                    <a:pt x="302" y="710"/>
                  </a:lnTo>
                  <a:lnTo>
                    <a:pt x="304" y="708"/>
                  </a:lnTo>
                  <a:lnTo>
                    <a:pt x="306" y="704"/>
                  </a:lnTo>
                  <a:lnTo>
                    <a:pt x="308" y="704"/>
                  </a:lnTo>
                  <a:lnTo>
                    <a:pt x="312" y="704"/>
                  </a:lnTo>
                  <a:lnTo>
                    <a:pt x="314" y="702"/>
                  </a:lnTo>
                  <a:lnTo>
                    <a:pt x="312" y="698"/>
                  </a:lnTo>
                  <a:lnTo>
                    <a:pt x="308" y="696"/>
                  </a:lnTo>
                  <a:lnTo>
                    <a:pt x="306" y="696"/>
                  </a:lnTo>
                  <a:lnTo>
                    <a:pt x="304" y="696"/>
                  </a:lnTo>
                  <a:lnTo>
                    <a:pt x="300" y="698"/>
                  </a:lnTo>
                  <a:lnTo>
                    <a:pt x="300" y="696"/>
                  </a:lnTo>
                  <a:lnTo>
                    <a:pt x="300" y="694"/>
                  </a:lnTo>
                  <a:lnTo>
                    <a:pt x="308" y="686"/>
                  </a:lnTo>
                  <a:lnTo>
                    <a:pt x="310" y="686"/>
                  </a:lnTo>
                  <a:lnTo>
                    <a:pt x="314" y="686"/>
                  </a:lnTo>
                  <a:lnTo>
                    <a:pt x="316" y="682"/>
                  </a:lnTo>
                  <a:lnTo>
                    <a:pt x="314" y="682"/>
                  </a:lnTo>
                  <a:lnTo>
                    <a:pt x="310" y="680"/>
                  </a:lnTo>
                  <a:lnTo>
                    <a:pt x="312" y="674"/>
                  </a:lnTo>
                  <a:lnTo>
                    <a:pt x="310" y="672"/>
                  </a:lnTo>
                  <a:lnTo>
                    <a:pt x="304" y="678"/>
                  </a:lnTo>
                  <a:lnTo>
                    <a:pt x="304" y="682"/>
                  </a:lnTo>
                  <a:lnTo>
                    <a:pt x="302" y="684"/>
                  </a:lnTo>
                  <a:lnTo>
                    <a:pt x="300" y="686"/>
                  </a:lnTo>
                  <a:lnTo>
                    <a:pt x="298" y="686"/>
                  </a:lnTo>
                  <a:lnTo>
                    <a:pt x="296" y="686"/>
                  </a:lnTo>
                  <a:lnTo>
                    <a:pt x="294" y="688"/>
                  </a:lnTo>
                  <a:lnTo>
                    <a:pt x="292" y="690"/>
                  </a:lnTo>
                  <a:lnTo>
                    <a:pt x="288" y="694"/>
                  </a:lnTo>
                  <a:lnTo>
                    <a:pt x="286" y="694"/>
                  </a:lnTo>
                  <a:lnTo>
                    <a:pt x="284" y="694"/>
                  </a:lnTo>
                  <a:lnTo>
                    <a:pt x="278" y="700"/>
                  </a:lnTo>
                  <a:lnTo>
                    <a:pt x="280" y="698"/>
                  </a:lnTo>
                  <a:lnTo>
                    <a:pt x="286" y="696"/>
                  </a:lnTo>
                  <a:lnTo>
                    <a:pt x="290" y="694"/>
                  </a:lnTo>
                  <a:lnTo>
                    <a:pt x="292" y="692"/>
                  </a:lnTo>
                  <a:lnTo>
                    <a:pt x="296" y="694"/>
                  </a:lnTo>
                  <a:lnTo>
                    <a:pt x="298" y="698"/>
                  </a:lnTo>
                  <a:lnTo>
                    <a:pt x="292" y="708"/>
                  </a:lnTo>
                  <a:lnTo>
                    <a:pt x="290" y="708"/>
                  </a:lnTo>
                  <a:lnTo>
                    <a:pt x="288" y="708"/>
                  </a:lnTo>
                  <a:lnTo>
                    <a:pt x="286" y="708"/>
                  </a:lnTo>
                  <a:lnTo>
                    <a:pt x="280" y="712"/>
                  </a:lnTo>
                  <a:lnTo>
                    <a:pt x="278" y="716"/>
                  </a:lnTo>
                  <a:lnTo>
                    <a:pt x="276" y="716"/>
                  </a:lnTo>
                  <a:lnTo>
                    <a:pt x="268" y="720"/>
                  </a:lnTo>
                  <a:lnTo>
                    <a:pt x="266" y="722"/>
                  </a:lnTo>
                  <a:lnTo>
                    <a:pt x="264" y="722"/>
                  </a:lnTo>
                  <a:lnTo>
                    <a:pt x="262" y="722"/>
                  </a:lnTo>
                  <a:lnTo>
                    <a:pt x="260" y="724"/>
                  </a:lnTo>
                  <a:lnTo>
                    <a:pt x="256" y="726"/>
                  </a:lnTo>
                  <a:lnTo>
                    <a:pt x="254" y="726"/>
                  </a:lnTo>
                  <a:lnTo>
                    <a:pt x="252" y="726"/>
                  </a:lnTo>
                  <a:lnTo>
                    <a:pt x="248" y="726"/>
                  </a:lnTo>
                  <a:lnTo>
                    <a:pt x="244" y="714"/>
                  </a:lnTo>
                  <a:lnTo>
                    <a:pt x="244" y="710"/>
                  </a:lnTo>
                  <a:lnTo>
                    <a:pt x="246" y="708"/>
                  </a:lnTo>
                  <a:lnTo>
                    <a:pt x="250" y="708"/>
                  </a:lnTo>
                  <a:lnTo>
                    <a:pt x="254" y="706"/>
                  </a:lnTo>
                  <a:lnTo>
                    <a:pt x="256" y="704"/>
                  </a:lnTo>
                  <a:lnTo>
                    <a:pt x="258" y="702"/>
                  </a:lnTo>
                  <a:lnTo>
                    <a:pt x="254" y="702"/>
                  </a:lnTo>
                  <a:lnTo>
                    <a:pt x="250" y="702"/>
                  </a:lnTo>
                  <a:lnTo>
                    <a:pt x="242" y="708"/>
                  </a:lnTo>
                  <a:lnTo>
                    <a:pt x="234" y="710"/>
                  </a:lnTo>
                  <a:lnTo>
                    <a:pt x="234" y="700"/>
                  </a:lnTo>
                  <a:lnTo>
                    <a:pt x="236" y="698"/>
                  </a:lnTo>
                  <a:lnTo>
                    <a:pt x="238" y="696"/>
                  </a:lnTo>
                  <a:lnTo>
                    <a:pt x="242" y="696"/>
                  </a:lnTo>
                  <a:lnTo>
                    <a:pt x="246" y="692"/>
                  </a:lnTo>
                  <a:lnTo>
                    <a:pt x="248" y="690"/>
                  </a:lnTo>
                  <a:lnTo>
                    <a:pt x="260" y="686"/>
                  </a:lnTo>
                  <a:lnTo>
                    <a:pt x="262" y="686"/>
                  </a:lnTo>
                  <a:lnTo>
                    <a:pt x="264" y="686"/>
                  </a:lnTo>
                  <a:lnTo>
                    <a:pt x="262" y="686"/>
                  </a:lnTo>
                  <a:lnTo>
                    <a:pt x="260" y="682"/>
                  </a:lnTo>
                  <a:lnTo>
                    <a:pt x="258" y="682"/>
                  </a:lnTo>
                  <a:lnTo>
                    <a:pt x="254" y="682"/>
                  </a:lnTo>
                  <a:lnTo>
                    <a:pt x="256" y="674"/>
                  </a:lnTo>
                  <a:lnTo>
                    <a:pt x="264" y="664"/>
                  </a:lnTo>
                  <a:lnTo>
                    <a:pt x="268" y="660"/>
                  </a:lnTo>
                  <a:lnTo>
                    <a:pt x="272" y="656"/>
                  </a:lnTo>
                  <a:lnTo>
                    <a:pt x="276" y="652"/>
                  </a:lnTo>
                  <a:lnTo>
                    <a:pt x="276" y="650"/>
                  </a:lnTo>
                  <a:lnTo>
                    <a:pt x="278" y="650"/>
                  </a:lnTo>
                  <a:lnTo>
                    <a:pt x="278" y="648"/>
                  </a:lnTo>
                  <a:lnTo>
                    <a:pt x="280" y="648"/>
                  </a:lnTo>
                  <a:lnTo>
                    <a:pt x="282" y="650"/>
                  </a:lnTo>
                  <a:lnTo>
                    <a:pt x="284" y="650"/>
                  </a:lnTo>
                  <a:lnTo>
                    <a:pt x="280" y="646"/>
                  </a:lnTo>
                  <a:lnTo>
                    <a:pt x="278" y="646"/>
                  </a:lnTo>
                  <a:lnTo>
                    <a:pt x="276" y="644"/>
                  </a:lnTo>
                  <a:lnTo>
                    <a:pt x="278" y="642"/>
                  </a:lnTo>
                  <a:lnTo>
                    <a:pt x="280" y="642"/>
                  </a:lnTo>
                  <a:lnTo>
                    <a:pt x="282" y="642"/>
                  </a:lnTo>
                  <a:lnTo>
                    <a:pt x="284" y="642"/>
                  </a:lnTo>
                  <a:lnTo>
                    <a:pt x="286" y="644"/>
                  </a:lnTo>
                  <a:lnTo>
                    <a:pt x="288" y="648"/>
                  </a:lnTo>
                  <a:lnTo>
                    <a:pt x="290" y="650"/>
                  </a:lnTo>
                  <a:lnTo>
                    <a:pt x="292" y="648"/>
                  </a:lnTo>
                  <a:lnTo>
                    <a:pt x="292" y="644"/>
                  </a:lnTo>
                  <a:lnTo>
                    <a:pt x="290" y="642"/>
                  </a:lnTo>
                  <a:lnTo>
                    <a:pt x="288" y="642"/>
                  </a:lnTo>
                  <a:lnTo>
                    <a:pt x="286" y="642"/>
                  </a:lnTo>
                  <a:lnTo>
                    <a:pt x="284" y="642"/>
                  </a:lnTo>
                  <a:lnTo>
                    <a:pt x="286" y="640"/>
                  </a:lnTo>
                  <a:lnTo>
                    <a:pt x="292" y="636"/>
                  </a:lnTo>
                  <a:lnTo>
                    <a:pt x="296" y="638"/>
                  </a:lnTo>
                  <a:lnTo>
                    <a:pt x="296" y="630"/>
                  </a:lnTo>
                  <a:lnTo>
                    <a:pt x="298" y="628"/>
                  </a:lnTo>
                  <a:lnTo>
                    <a:pt x="300" y="630"/>
                  </a:lnTo>
                  <a:lnTo>
                    <a:pt x="302" y="632"/>
                  </a:lnTo>
                  <a:lnTo>
                    <a:pt x="302" y="636"/>
                  </a:lnTo>
                  <a:lnTo>
                    <a:pt x="310" y="642"/>
                  </a:lnTo>
                  <a:lnTo>
                    <a:pt x="310" y="650"/>
                  </a:lnTo>
                  <a:lnTo>
                    <a:pt x="308" y="654"/>
                  </a:lnTo>
                  <a:lnTo>
                    <a:pt x="308" y="652"/>
                  </a:lnTo>
                  <a:lnTo>
                    <a:pt x="312" y="648"/>
                  </a:lnTo>
                  <a:lnTo>
                    <a:pt x="316" y="642"/>
                  </a:lnTo>
                  <a:lnTo>
                    <a:pt x="316" y="638"/>
                  </a:lnTo>
                  <a:lnTo>
                    <a:pt x="320" y="634"/>
                  </a:lnTo>
                  <a:lnTo>
                    <a:pt x="322" y="632"/>
                  </a:lnTo>
                  <a:lnTo>
                    <a:pt x="322" y="634"/>
                  </a:lnTo>
                  <a:lnTo>
                    <a:pt x="324" y="632"/>
                  </a:lnTo>
                  <a:lnTo>
                    <a:pt x="330" y="632"/>
                  </a:lnTo>
                  <a:lnTo>
                    <a:pt x="328" y="630"/>
                  </a:lnTo>
                  <a:lnTo>
                    <a:pt x="324" y="630"/>
                  </a:lnTo>
                  <a:lnTo>
                    <a:pt x="322" y="632"/>
                  </a:lnTo>
                  <a:lnTo>
                    <a:pt x="320" y="632"/>
                  </a:lnTo>
                  <a:lnTo>
                    <a:pt x="318" y="630"/>
                  </a:lnTo>
                  <a:lnTo>
                    <a:pt x="318" y="628"/>
                  </a:lnTo>
                  <a:lnTo>
                    <a:pt x="316" y="622"/>
                  </a:lnTo>
                  <a:lnTo>
                    <a:pt x="316" y="620"/>
                  </a:lnTo>
                  <a:lnTo>
                    <a:pt x="318" y="618"/>
                  </a:lnTo>
                  <a:lnTo>
                    <a:pt x="322" y="614"/>
                  </a:lnTo>
                  <a:lnTo>
                    <a:pt x="324" y="612"/>
                  </a:lnTo>
                  <a:lnTo>
                    <a:pt x="326" y="612"/>
                  </a:lnTo>
                  <a:lnTo>
                    <a:pt x="328" y="614"/>
                  </a:lnTo>
                  <a:lnTo>
                    <a:pt x="330" y="614"/>
                  </a:lnTo>
                  <a:lnTo>
                    <a:pt x="332" y="612"/>
                  </a:lnTo>
                  <a:lnTo>
                    <a:pt x="334" y="612"/>
                  </a:lnTo>
                  <a:lnTo>
                    <a:pt x="332" y="610"/>
                  </a:lnTo>
                  <a:lnTo>
                    <a:pt x="330" y="610"/>
                  </a:lnTo>
                  <a:lnTo>
                    <a:pt x="328" y="610"/>
                  </a:lnTo>
                  <a:lnTo>
                    <a:pt x="326" y="608"/>
                  </a:lnTo>
                  <a:lnTo>
                    <a:pt x="328" y="606"/>
                  </a:lnTo>
                  <a:lnTo>
                    <a:pt x="330" y="604"/>
                  </a:lnTo>
                  <a:lnTo>
                    <a:pt x="340" y="600"/>
                  </a:lnTo>
                  <a:lnTo>
                    <a:pt x="344" y="596"/>
                  </a:lnTo>
                  <a:lnTo>
                    <a:pt x="346" y="596"/>
                  </a:lnTo>
                  <a:lnTo>
                    <a:pt x="346" y="598"/>
                  </a:lnTo>
                  <a:lnTo>
                    <a:pt x="348" y="600"/>
                  </a:lnTo>
                  <a:lnTo>
                    <a:pt x="350" y="598"/>
                  </a:lnTo>
                  <a:lnTo>
                    <a:pt x="348" y="598"/>
                  </a:lnTo>
                  <a:lnTo>
                    <a:pt x="348" y="596"/>
                  </a:lnTo>
                  <a:lnTo>
                    <a:pt x="346" y="596"/>
                  </a:lnTo>
                  <a:lnTo>
                    <a:pt x="342" y="596"/>
                  </a:lnTo>
                  <a:lnTo>
                    <a:pt x="338" y="598"/>
                  </a:lnTo>
                  <a:lnTo>
                    <a:pt x="330" y="602"/>
                  </a:lnTo>
                  <a:lnTo>
                    <a:pt x="318" y="612"/>
                  </a:lnTo>
                  <a:lnTo>
                    <a:pt x="316" y="614"/>
                  </a:lnTo>
                  <a:lnTo>
                    <a:pt x="314" y="616"/>
                  </a:lnTo>
                  <a:lnTo>
                    <a:pt x="312" y="616"/>
                  </a:lnTo>
                  <a:lnTo>
                    <a:pt x="310" y="616"/>
                  </a:lnTo>
                  <a:lnTo>
                    <a:pt x="312" y="614"/>
                  </a:lnTo>
                  <a:lnTo>
                    <a:pt x="316" y="610"/>
                  </a:lnTo>
                  <a:lnTo>
                    <a:pt x="314" y="610"/>
                  </a:lnTo>
                  <a:lnTo>
                    <a:pt x="310" y="608"/>
                  </a:lnTo>
                  <a:lnTo>
                    <a:pt x="312" y="606"/>
                  </a:lnTo>
                  <a:lnTo>
                    <a:pt x="316" y="606"/>
                  </a:lnTo>
                  <a:lnTo>
                    <a:pt x="318" y="604"/>
                  </a:lnTo>
                  <a:lnTo>
                    <a:pt x="320" y="604"/>
                  </a:lnTo>
                  <a:lnTo>
                    <a:pt x="322" y="604"/>
                  </a:lnTo>
                  <a:lnTo>
                    <a:pt x="330" y="602"/>
                  </a:lnTo>
                  <a:lnTo>
                    <a:pt x="328" y="602"/>
                  </a:lnTo>
                  <a:lnTo>
                    <a:pt x="326" y="602"/>
                  </a:lnTo>
                  <a:lnTo>
                    <a:pt x="314" y="604"/>
                  </a:lnTo>
                  <a:lnTo>
                    <a:pt x="312" y="604"/>
                  </a:lnTo>
                  <a:lnTo>
                    <a:pt x="312" y="602"/>
                  </a:lnTo>
                  <a:lnTo>
                    <a:pt x="316" y="600"/>
                  </a:lnTo>
                  <a:lnTo>
                    <a:pt x="318" y="600"/>
                  </a:lnTo>
                  <a:lnTo>
                    <a:pt x="324" y="596"/>
                  </a:lnTo>
                  <a:lnTo>
                    <a:pt x="326" y="596"/>
                  </a:lnTo>
                  <a:lnTo>
                    <a:pt x="330" y="596"/>
                  </a:lnTo>
                  <a:lnTo>
                    <a:pt x="332" y="596"/>
                  </a:lnTo>
                  <a:lnTo>
                    <a:pt x="334" y="592"/>
                  </a:lnTo>
                  <a:lnTo>
                    <a:pt x="338" y="590"/>
                  </a:lnTo>
                  <a:lnTo>
                    <a:pt x="340" y="588"/>
                  </a:lnTo>
                  <a:lnTo>
                    <a:pt x="342" y="588"/>
                  </a:lnTo>
                  <a:lnTo>
                    <a:pt x="342" y="590"/>
                  </a:lnTo>
                  <a:lnTo>
                    <a:pt x="344" y="588"/>
                  </a:lnTo>
                  <a:lnTo>
                    <a:pt x="348" y="590"/>
                  </a:lnTo>
                  <a:lnTo>
                    <a:pt x="352" y="588"/>
                  </a:lnTo>
                  <a:lnTo>
                    <a:pt x="358" y="586"/>
                  </a:lnTo>
                  <a:lnTo>
                    <a:pt x="366" y="582"/>
                  </a:lnTo>
                  <a:lnTo>
                    <a:pt x="380" y="564"/>
                  </a:lnTo>
                  <a:lnTo>
                    <a:pt x="374" y="570"/>
                  </a:lnTo>
                  <a:lnTo>
                    <a:pt x="370" y="574"/>
                  </a:lnTo>
                  <a:lnTo>
                    <a:pt x="368" y="576"/>
                  </a:lnTo>
                  <a:lnTo>
                    <a:pt x="362" y="582"/>
                  </a:lnTo>
                  <a:lnTo>
                    <a:pt x="358" y="580"/>
                  </a:lnTo>
                  <a:lnTo>
                    <a:pt x="356" y="580"/>
                  </a:lnTo>
                  <a:lnTo>
                    <a:pt x="358" y="572"/>
                  </a:lnTo>
                  <a:lnTo>
                    <a:pt x="362" y="572"/>
                  </a:lnTo>
                  <a:lnTo>
                    <a:pt x="366" y="572"/>
                  </a:lnTo>
                  <a:lnTo>
                    <a:pt x="370" y="572"/>
                  </a:lnTo>
                  <a:lnTo>
                    <a:pt x="368" y="570"/>
                  </a:lnTo>
                  <a:lnTo>
                    <a:pt x="360" y="568"/>
                  </a:lnTo>
                  <a:lnTo>
                    <a:pt x="358" y="568"/>
                  </a:lnTo>
                  <a:lnTo>
                    <a:pt x="356" y="570"/>
                  </a:lnTo>
                  <a:lnTo>
                    <a:pt x="352" y="572"/>
                  </a:lnTo>
                  <a:lnTo>
                    <a:pt x="356" y="568"/>
                  </a:lnTo>
                  <a:lnTo>
                    <a:pt x="362" y="560"/>
                  </a:lnTo>
                  <a:lnTo>
                    <a:pt x="364" y="558"/>
                  </a:lnTo>
                  <a:lnTo>
                    <a:pt x="362" y="554"/>
                  </a:lnTo>
                  <a:lnTo>
                    <a:pt x="364" y="552"/>
                  </a:lnTo>
                  <a:lnTo>
                    <a:pt x="366" y="554"/>
                  </a:lnTo>
                  <a:lnTo>
                    <a:pt x="368" y="556"/>
                  </a:lnTo>
                  <a:lnTo>
                    <a:pt x="366" y="552"/>
                  </a:lnTo>
                  <a:lnTo>
                    <a:pt x="366" y="548"/>
                  </a:lnTo>
                  <a:lnTo>
                    <a:pt x="364" y="546"/>
                  </a:lnTo>
                  <a:lnTo>
                    <a:pt x="362" y="546"/>
                  </a:lnTo>
                  <a:lnTo>
                    <a:pt x="360" y="546"/>
                  </a:lnTo>
                  <a:lnTo>
                    <a:pt x="358" y="544"/>
                  </a:lnTo>
                  <a:lnTo>
                    <a:pt x="358" y="540"/>
                  </a:lnTo>
                  <a:lnTo>
                    <a:pt x="358" y="534"/>
                  </a:lnTo>
                  <a:lnTo>
                    <a:pt x="362" y="530"/>
                  </a:lnTo>
                  <a:lnTo>
                    <a:pt x="364" y="526"/>
                  </a:lnTo>
                  <a:lnTo>
                    <a:pt x="366" y="526"/>
                  </a:lnTo>
                  <a:lnTo>
                    <a:pt x="366" y="528"/>
                  </a:lnTo>
                  <a:lnTo>
                    <a:pt x="368" y="534"/>
                  </a:lnTo>
                  <a:lnTo>
                    <a:pt x="370" y="536"/>
                  </a:lnTo>
                  <a:lnTo>
                    <a:pt x="374" y="536"/>
                  </a:lnTo>
                  <a:lnTo>
                    <a:pt x="370" y="532"/>
                  </a:lnTo>
                  <a:lnTo>
                    <a:pt x="366" y="526"/>
                  </a:lnTo>
                  <a:lnTo>
                    <a:pt x="368" y="516"/>
                  </a:lnTo>
                  <a:lnTo>
                    <a:pt x="370" y="512"/>
                  </a:lnTo>
                  <a:lnTo>
                    <a:pt x="370" y="510"/>
                  </a:lnTo>
                  <a:lnTo>
                    <a:pt x="372" y="508"/>
                  </a:lnTo>
                  <a:lnTo>
                    <a:pt x="374" y="506"/>
                  </a:lnTo>
                  <a:lnTo>
                    <a:pt x="376" y="506"/>
                  </a:lnTo>
                  <a:lnTo>
                    <a:pt x="378" y="506"/>
                  </a:lnTo>
                  <a:lnTo>
                    <a:pt x="380" y="506"/>
                  </a:lnTo>
                  <a:lnTo>
                    <a:pt x="380" y="508"/>
                  </a:lnTo>
                  <a:lnTo>
                    <a:pt x="386" y="512"/>
                  </a:lnTo>
                  <a:lnTo>
                    <a:pt x="390" y="516"/>
                  </a:lnTo>
                  <a:lnTo>
                    <a:pt x="390" y="510"/>
                  </a:lnTo>
                  <a:lnTo>
                    <a:pt x="388" y="508"/>
                  </a:lnTo>
                  <a:lnTo>
                    <a:pt x="386" y="508"/>
                  </a:lnTo>
                  <a:lnTo>
                    <a:pt x="382" y="506"/>
                  </a:lnTo>
                  <a:lnTo>
                    <a:pt x="382" y="504"/>
                  </a:lnTo>
                  <a:lnTo>
                    <a:pt x="382" y="498"/>
                  </a:lnTo>
                  <a:lnTo>
                    <a:pt x="380" y="498"/>
                  </a:lnTo>
                  <a:lnTo>
                    <a:pt x="374" y="498"/>
                  </a:lnTo>
                  <a:lnTo>
                    <a:pt x="372" y="496"/>
                  </a:lnTo>
                  <a:lnTo>
                    <a:pt x="378" y="490"/>
                  </a:lnTo>
                  <a:lnTo>
                    <a:pt x="380" y="490"/>
                  </a:lnTo>
                  <a:lnTo>
                    <a:pt x="382" y="490"/>
                  </a:lnTo>
                  <a:lnTo>
                    <a:pt x="384" y="490"/>
                  </a:lnTo>
                  <a:lnTo>
                    <a:pt x="386" y="488"/>
                  </a:lnTo>
                  <a:lnTo>
                    <a:pt x="390" y="488"/>
                  </a:lnTo>
                  <a:lnTo>
                    <a:pt x="392" y="486"/>
                  </a:lnTo>
                  <a:lnTo>
                    <a:pt x="394" y="484"/>
                  </a:lnTo>
                  <a:lnTo>
                    <a:pt x="396" y="482"/>
                  </a:lnTo>
                  <a:lnTo>
                    <a:pt x="398" y="482"/>
                  </a:lnTo>
                  <a:lnTo>
                    <a:pt x="406" y="482"/>
                  </a:lnTo>
                  <a:lnTo>
                    <a:pt x="406" y="484"/>
                  </a:lnTo>
                  <a:lnTo>
                    <a:pt x="404" y="484"/>
                  </a:lnTo>
                  <a:lnTo>
                    <a:pt x="404" y="492"/>
                  </a:lnTo>
                  <a:lnTo>
                    <a:pt x="404" y="494"/>
                  </a:lnTo>
                  <a:lnTo>
                    <a:pt x="408" y="486"/>
                  </a:lnTo>
                  <a:lnTo>
                    <a:pt x="410" y="482"/>
                  </a:lnTo>
                  <a:lnTo>
                    <a:pt x="412" y="482"/>
                  </a:lnTo>
                  <a:lnTo>
                    <a:pt x="414" y="482"/>
                  </a:lnTo>
                  <a:lnTo>
                    <a:pt x="416" y="482"/>
                  </a:lnTo>
                  <a:lnTo>
                    <a:pt x="418" y="482"/>
                  </a:lnTo>
                  <a:lnTo>
                    <a:pt x="422" y="480"/>
                  </a:lnTo>
                  <a:lnTo>
                    <a:pt x="428" y="474"/>
                  </a:lnTo>
                  <a:lnTo>
                    <a:pt x="426" y="472"/>
                  </a:lnTo>
                  <a:lnTo>
                    <a:pt x="422" y="476"/>
                  </a:lnTo>
                  <a:lnTo>
                    <a:pt x="412" y="478"/>
                  </a:lnTo>
                  <a:lnTo>
                    <a:pt x="412" y="480"/>
                  </a:lnTo>
                  <a:lnTo>
                    <a:pt x="408" y="480"/>
                  </a:lnTo>
                  <a:lnTo>
                    <a:pt x="404" y="480"/>
                  </a:lnTo>
                  <a:lnTo>
                    <a:pt x="398" y="480"/>
                  </a:lnTo>
                  <a:lnTo>
                    <a:pt x="392" y="484"/>
                  </a:lnTo>
                  <a:lnTo>
                    <a:pt x="390" y="486"/>
                  </a:lnTo>
                  <a:lnTo>
                    <a:pt x="386" y="486"/>
                  </a:lnTo>
                  <a:lnTo>
                    <a:pt x="386" y="484"/>
                  </a:lnTo>
                  <a:lnTo>
                    <a:pt x="392" y="478"/>
                  </a:lnTo>
                  <a:lnTo>
                    <a:pt x="398" y="476"/>
                  </a:lnTo>
                  <a:lnTo>
                    <a:pt x="400" y="476"/>
                  </a:lnTo>
                  <a:lnTo>
                    <a:pt x="404" y="476"/>
                  </a:lnTo>
                  <a:lnTo>
                    <a:pt x="402" y="474"/>
                  </a:lnTo>
                  <a:lnTo>
                    <a:pt x="398" y="474"/>
                  </a:lnTo>
                  <a:lnTo>
                    <a:pt x="394" y="476"/>
                  </a:lnTo>
                  <a:lnTo>
                    <a:pt x="392" y="476"/>
                  </a:lnTo>
                  <a:lnTo>
                    <a:pt x="390" y="476"/>
                  </a:lnTo>
                  <a:lnTo>
                    <a:pt x="386" y="474"/>
                  </a:lnTo>
                  <a:lnTo>
                    <a:pt x="386" y="472"/>
                  </a:lnTo>
                  <a:lnTo>
                    <a:pt x="386" y="470"/>
                  </a:lnTo>
                  <a:lnTo>
                    <a:pt x="388" y="468"/>
                  </a:lnTo>
                  <a:lnTo>
                    <a:pt x="392" y="466"/>
                  </a:lnTo>
                  <a:lnTo>
                    <a:pt x="392" y="464"/>
                  </a:lnTo>
                  <a:lnTo>
                    <a:pt x="388" y="456"/>
                  </a:lnTo>
                  <a:lnTo>
                    <a:pt x="386" y="456"/>
                  </a:lnTo>
                  <a:lnTo>
                    <a:pt x="384" y="456"/>
                  </a:lnTo>
                  <a:lnTo>
                    <a:pt x="388" y="454"/>
                  </a:lnTo>
                  <a:lnTo>
                    <a:pt x="390" y="454"/>
                  </a:lnTo>
                  <a:lnTo>
                    <a:pt x="394" y="456"/>
                  </a:lnTo>
                  <a:lnTo>
                    <a:pt x="396" y="456"/>
                  </a:lnTo>
                  <a:lnTo>
                    <a:pt x="402" y="452"/>
                  </a:lnTo>
                  <a:lnTo>
                    <a:pt x="404" y="450"/>
                  </a:lnTo>
                  <a:lnTo>
                    <a:pt x="406" y="448"/>
                  </a:lnTo>
                  <a:lnTo>
                    <a:pt x="408" y="448"/>
                  </a:lnTo>
                  <a:lnTo>
                    <a:pt x="410" y="448"/>
                  </a:lnTo>
                  <a:lnTo>
                    <a:pt x="412" y="448"/>
                  </a:lnTo>
                  <a:lnTo>
                    <a:pt x="410" y="448"/>
                  </a:lnTo>
                  <a:lnTo>
                    <a:pt x="404" y="448"/>
                  </a:lnTo>
                  <a:lnTo>
                    <a:pt x="402" y="450"/>
                  </a:lnTo>
                  <a:lnTo>
                    <a:pt x="400" y="452"/>
                  </a:lnTo>
                  <a:lnTo>
                    <a:pt x="396" y="452"/>
                  </a:lnTo>
                  <a:lnTo>
                    <a:pt x="394" y="452"/>
                  </a:lnTo>
                  <a:lnTo>
                    <a:pt x="392" y="444"/>
                  </a:lnTo>
                  <a:lnTo>
                    <a:pt x="392" y="442"/>
                  </a:lnTo>
                  <a:lnTo>
                    <a:pt x="400" y="444"/>
                  </a:lnTo>
                  <a:lnTo>
                    <a:pt x="404" y="444"/>
                  </a:lnTo>
                  <a:lnTo>
                    <a:pt x="406" y="444"/>
                  </a:lnTo>
                  <a:lnTo>
                    <a:pt x="404" y="444"/>
                  </a:lnTo>
                  <a:lnTo>
                    <a:pt x="404" y="442"/>
                  </a:lnTo>
                  <a:lnTo>
                    <a:pt x="400" y="440"/>
                  </a:lnTo>
                  <a:lnTo>
                    <a:pt x="398" y="440"/>
                  </a:lnTo>
                  <a:lnTo>
                    <a:pt x="396" y="440"/>
                  </a:lnTo>
                  <a:lnTo>
                    <a:pt x="394" y="438"/>
                  </a:lnTo>
                  <a:lnTo>
                    <a:pt x="396" y="436"/>
                  </a:lnTo>
                  <a:lnTo>
                    <a:pt x="400" y="436"/>
                  </a:lnTo>
                  <a:lnTo>
                    <a:pt x="404" y="438"/>
                  </a:lnTo>
                  <a:lnTo>
                    <a:pt x="406" y="440"/>
                  </a:lnTo>
                  <a:lnTo>
                    <a:pt x="408" y="440"/>
                  </a:lnTo>
                  <a:lnTo>
                    <a:pt x="412" y="440"/>
                  </a:lnTo>
                  <a:lnTo>
                    <a:pt x="418" y="438"/>
                  </a:lnTo>
                  <a:lnTo>
                    <a:pt x="420" y="436"/>
                  </a:lnTo>
                  <a:lnTo>
                    <a:pt x="414" y="436"/>
                  </a:lnTo>
                  <a:lnTo>
                    <a:pt x="412" y="436"/>
                  </a:lnTo>
                  <a:lnTo>
                    <a:pt x="408" y="438"/>
                  </a:lnTo>
                  <a:lnTo>
                    <a:pt x="406" y="438"/>
                  </a:lnTo>
                  <a:lnTo>
                    <a:pt x="406" y="436"/>
                  </a:lnTo>
                  <a:lnTo>
                    <a:pt x="408" y="434"/>
                  </a:lnTo>
                  <a:lnTo>
                    <a:pt x="410" y="434"/>
                  </a:lnTo>
                  <a:lnTo>
                    <a:pt x="412" y="434"/>
                  </a:lnTo>
                  <a:lnTo>
                    <a:pt x="410" y="432"/>
                  </a:lnTo>
                  <a:lnTo>
                    <a:pt x="408" y="432"/>
                  </a:lnTo>
                  <a:lnTo>
                    <a:pt x="406" y="432"/>
                  </a:lnTo>
                  <a:lnTo>
                    <a:pt x="404" y="432"/>
                  </a:lnTo>
                  <a:lnTo>
                    <a:pt x="408" y="430"/>
                  </a:lnTo>
                  <a:lnTo>
                    <a:pt x="408" y="428"/>
                  </a:lnTo>
                  <a:lnTo>
                    <a:pt x="414" y="430"/>
                  </a:lnTo>
                  <a:lnTo>
                    <a:pt x="424" y="432"/>
                  </a:lnTo>
                  <a:lnTo>
                    <a:pt x="422" y="430"/>
                  </a:lnTo>
                  <a:lnTo>
                    <a:pt x="420" y="430"/>
                  </a:lnTo>
                  <a:lnTo>
                    <a:pt x="418" y="430"/>
                  </a:lnTo>
                  <a:lnTo>
                    <a:pt x="416" y="430"/>
                  </a:lnTo>
                  <a:lnTo>
                    <a:pt x="412" y="428"/>
                  </a:lnTo>
                  <a:lnTo>
                    <a:pt x="406" y="420"/>
                  </a:lnTo>
                  <a:lnTo>
                    <a:pt x="408" y="418"/>
                  </a:lnTo>
                  <a:lnTo>
                    <a:pt x="414" y="418"/>
                  </a:lnTo>
                  <a:lnTo>
                    <a:pt x="420" y="418"/>
                  </a:lnTo>
                  <a:lnTo>
                    <a:pt x="422" y="418"/>
                  </a:lnTo>
                  <a:lnTo>
                    <a:pt x="428" y="414"/>
                  </a:lnTo>
                  <a:lnTo>
                    <a:pt x="430" y="414"/>
                  </a:lnTo>
                  <a:lnTo>
                    <a:pt x="432" y="414"/>
                  </a:lnTo>
                  <a:lnTo>
                    <a:pt x="434" y="410"/>
                  </a:lnTo>
                  <a:lnTo>
                    <a:pt x="434" y="406"/>
                  </a:lnTo>
                  <a:lnTo>
                    <a:pt x="438" y="406"/>
                  </a:lnTo>
                  <a:lnTo>
                    <a:pt x="444" y="408"/>
                  </a:lnTo>
                  <a:lnTo>
                    <a:pt x="444" y="410"/>
                  </a:lnTo>
                  <a:lnTo>
                    <a:pt x="446" y="408"/>
                  </a:lnTo>
                  <a:lnTo>
                    <a:pt x="444" y="406"/>
                  </a:lnTo>
                  <a:lnTo>
                    <a:pt x="440" y="406"/>
                  </a:lnTo>
                  <a:lnTo>
                    <a:pt x="436" y="406"/>
                  </a:lnTo>
                  <a:lnTo>
                    <a:pt x="434" y="406"/>
                  </a:lnTo>
                  <a:lnTo>
                    <a:pt x="434" y="404"/>
                  </a:lnTo>
                  <a:lnTo>
                    <a:pt x="436" y="398"/>
                  </a:lnTo>
                  <a:lnTo>
                    <a:pt x="440" y="396"/>
                  </a:lnTo>
                  <a:lnTo>
                    <a:pt x="446" y="396"/>
                  </a:lnTo>
                  <a:lnTo>
                    <a:pt x="448" y="398"/>
                  </a:lnTo>
                  <a:lnTo>
                    <a:pt x="450" y="398"/>
                  </a:lnTo>
                  <a:lnTo>
                    <a:pt x="450" y="400"/>
                  </a:lnTo>
                  <a:lnTo>
                    <a:pt x="452" y="398"/>
                  </a:lnTo>
                  <a:lnTo>
                    <a:pt x="450" y="398"/>
                  </a:lnTo>
                  <a:lnTo>
                    <a:pt x="450" y="396"/>
                  </a:lnTo>
                  <a:lnTo>
                    <a:pt x="446" y="396"/>
                  </a:lnTo>
                  <a:lnTo>
                    <a:pt x="444" y="396"/>
                  </a:lnTo>
                  <a:lnTo>
                    <a:pt x="444" y="394"/>
                  </a:lnTo>
                  <a:lnTo>
                    <a:pt x="452" y="392"/>
                  </a:lnTo>
                  <a:lnTo>
                    <a:pt x="458" y="394"/>
                  </a:lnTo>
                  <a:lnTo>
                    <a:pt x="458" y="396"/>
                  </a:lnTo>
                  <a:lnTo>
                    <a:pt x="456" y="398"/>
                  </a:lnTo>
                  <a:lnTo>
                    <a:pt x="460" y="402"/>
                  </a:lnTo>
                  <a:lnTo>
                    <a:pt x="460" y="400"/>
                  </a:lnTo>
                  <a:lnTo>
                    <a:pt x="458" y="398"/>
                  </a:lnTo>
                  <a:lnTo>
                    <a:pt x="458" y="396"/>
                  </a:lnTo>
                  <a:lnTo>
                    <a:pt x="462" y="394"/>
                  </a:lnTo>
                  <a:lnTo>
                    <a:pt x="462" y="392"/>
                  </a:lnTo>
                  <a:lnTo>
                    <a:pt x="470" y="394"/>
                  </a:lnTo>
                  <a:lnTo>
                    <a:pt x="474" y="396"/>
                  </a:lnTo>
                  <a:lnTo>
                    <a:pt x="474" y="398"/>
                  </a:lnTo>
                  <a:lnTo>
                    <a:pt x="474" y="402"/>
                  </a:lnTo>
                  <a:lnTo>
                    <a:pt x="478" y="406"/>
                  </a:lnTo>
                  <a:lnTo>
                    <a:pt x="478" y="398"/>
                  </a:lnTo>
                  <a:lnTo>
                    <a:pt x="474" y="394"/>
                  </a:lnTo>
                  <a:lnTo>
                    <a:pt x="476" y="392"/>
                  </a:lnTo>
                  <a:lnTo>
                    <a:pt x="478" y="392"/>
                  </a:lnTo>
                  <a:lnTo>
                    <a:pt x="480" y="394"/>
                  </a:lnTo>
                  <a:lnTo>
                    <a:pt x="482" y="394"/>
                  </a:lnTo>
                  <a:lnTo>
                    <a:pt x="486" y="396"/>
                  </a:lnTo>
                  <a:lnTo>
                    <a:pt x="486" y="392"/>
                  </a:lnTo>
                  <a:lnTo>
                    <a:pt x="476" y="390"/>
                  </a:lnTo>
                  <a:lnTo>
                    <a:pt x="470" y="390"/>
                  </a:lnTo>
                  <a:lnTo>
                    <a:pt x="468" y="390"/>
                  </a:lnTo>
                  <a:lnTo>
                    <a:pt x="462" y="388"/>
                  </a:lnTo>
                  <a:lnTo>
                    <a:pt x="464" y="388"/>
                  </a:lnTo>
                  <a:lnTo>
                    <a:pt x="466" y="386"/>
                  </a:lnTo>
                  <a:lnTo>
                    <a:pt x="466" y="384"/>
                  </a:lnTo>
                  <a:lnTo>
                    <a:pt x="462" y="384"/>
                  </a:lnTo>
                  <a:lnTo>
                    <a:pt x="456" y="386"/>
                  </a:lnTo>
                  <a:lnTo>
                    <a:pt x="454" y="388"/>
                  </a:lnTo>
                  <a:lnTo>
                    <a:pt x="450" y="392"/>
                  </a:lnTo>
                  <a:lnTo>
                    <a:pt x="448" y="392"/>
                  </a:lnTo>
                  <a:lnTo>
                    <a:pt x="446" y="392"/>
                  </a:lnTo>
                  <a:lnTo>
                    <a:pt x="444" y="390"/>
                  </a:lnTo>
                  <a:lnTo>
                    <a:pt x="436" y="390"/>
                  </a:lnTo>
                  <a:lnTo>
                    <a:pt x="440" y="384"/>
                  </a:lnTo>
                  <a:lnTo>
                    <a:pt x="444" y="380"/>
                  </a:lnTo>
                  <a:lnTo>
                    <a:pt x="444" y="376"/>
                  </a:lnTo>
                  <a:lnTo>
                    <a:pt x="446" y="374"/>
                  </a:lnTo>
                  <a:lnTo>
                    <a:pt x="448" y="372"/>
                  </a:lnTo>
                  <a:lnTo>
                    <a:pt x="452" y="374"/>
                  </a:lnTo>
                  <a:lnTo>
                    <a:pt x="454" y="374"/>
                  </a:lnTo>
                  <a:lnTo>
                    <a:pt x="456" y="374"/>
                  </a:lnTo>
                  <a:lnTo>
                    <a:pt x="458" y="372"/>
                  </a:lnTo>
                  <a:lnTo>
                    <a:pt x="456" y="372"/>
                  </a:lnTo>
                  <a:lnTo>
                    <a:pt x="454" y="372"/>
                  </a:lnTo>
                  <a:lnTo>
                    <a:pt x="450" y="366"/>
                  </a:lnTo>
                  <a:lnTo>
                    <a:pt x="454" y="364"/>
                  </a:lnTo>
                  <a:lnTo>
                    <a:pt x="456" y="362"/>
                  </a:lnTo>
                  <a:lnTo>
                    <a:pt x="460" y="360"/>
                  </a:lnTo>
                  <a:lnTo>
                    <a:pt x="462" y="360"/>
                  </a:lnTo>
                  <a:lnTo>
                    <a:pt x="466" y="362"/>
                  </a:lnTo>
                  <a:lnTo>
                    <a:pt x="460" y="366"/>
                  </a:lnTo>
                  <a:lnTo>
                    <a:pt x="460" y="368"/>
                  </a:lnTo>
                  <a:lnTo>
                    <a:pt x="458" y="368"/>
                  </a:lnTo>
                  <a:lnTo>
                    <a:pt x="460" y="368"/>
                  </a:lnTo>
                  <a:lnTo>
                    <a:pt x="462" y="368"/>
                  </a:lnTo>
                  <a:lnTo>
                    <a:pt x="464" y="366"/>
                  </a:lnTo>
                  <a:lnTo>
                    <a:pt x="472" y="368"/>
                  </a:lnTo>
                  <a:lnTo>
                    <a:pt x="474" y="368"/>
                  </a:lnTo>
                  <a:lnTo>
                    <a:pt x="476" y="368"/>
                  </a:lnTo>
                  <a:lnTo>
                    <a:pt x="478" y="370"/>
                  </a:lnTo>
                  <a:lnTo>
                    <a:pt x="480" y="376"/>
                  </a:lnTo>
                  <a:lnTo>
                    <a:pt x="482" y="382"/>
                  </a:lnTo>
                  <a:lnTo>
                    <a:pt x="482" y="386"/>
                  </a:lnTo>
                  <a:lnTo>
                    <a:pt x="484" y="386"/>
                  </a:lnTo>
                  <a:lnTo>
                    <a:pt x="486" y="384"/>
                  </a:lnTo>
                  <a:lnTo>
                    <a:pt x="482" y="380"/>
                  </a:lnTo>
                  <a:lnTo>
                    <a:pt x="478" y="372"/>
                  </a:lnTo>
                  <a:lnTo>
                    <a:pt x="480" y="370"/>
                  </a:lnTo>
                  <a:lnTo>
                    <a:pt x="480" y="368"/>
                  </a:lnTo>
                  <a:lnTo>
                    <a:pt x="482" y="366"/>
                  </a:lnTo>
                  <a:lnTo>
                    <a:pt x="482" y="364"/>
                  </a:lnTo>
                  <a:lnTo>
                    <a:pt x="486" y="362"/>
                  </a:lnTo>
                  <a:lnTo>
                    <a:pt x="488" y="362"/>
                  </a:lnTo>
                  <a:lnTo>
                    <a:pt x="490" y="362"/>
                  </a:lnTo>
                  <a:lnTo>
                    <a:pt x="492" y="360"/>
                  </a:lnTo>
                  <a:lnTo>
                    <a:pt x="490" y="360"/>
                  </a:lnTo>
                  <a:lnTo>
                    <a:pt x="486" y="360"/>
                  </a:lnTo>
                  <a:lnTo>
                    <a:pt x="486" y="362"/>
                  </a:lnTo>
                  <a:lnTo>
                    <a:pt x="484" y="362"/>
                  </a:lnTo>
                  <a:lnTo>
                    <a:pt x="482" y="364"/>
                  </a:lnTo>
                  <a:lnTo>
                    <a:pt x="480" y="366"/>
                  </a:lnTo>
                  <a:lnTo>
                    <a:pt x="474" y="364"/>
                  </a:lnTo>
                  <a:lnTo>
                    <a:pt x="470" y="364"/>
                  </a:lnTo>
                  <a:lnTo>
                    <a:pt x="466" y="354"/>
                  </a:lnTo>
                  <a:lnTo>
                    <a:pt x="472" y="346"/>
                  </a:lnTo>
                  <a:lnTo>
                    <a:pt x="474" y="346"/>
                  </a:lnTo>
                  <a:lnTo>
                    <a:pt x="476" y="348"/>
                  </a:lnTo>
                  <a:lnTo>
                    <a:pt x="478" y="350"/>
                  </a:lnTo>
                  <a:lnTo>
                    <a:pt x="484" y="350"/>
                  </a:lnTo>
                  <a:lnTo>
                    <a:pt x="482" y="348"/>
                  </a:lnTo>
                  <a:lnTo>
                    <a:pt x="480" y="348"/>
                  </a:lnTo>
                  <a:lnTo>
                    <a:pt x="478" y="348"/>
                  </a:lnTo>
                  <a:lnTo>
                    <a:pt x="474" y="344"/>
                  </a:lnTo>
                  <a:lnTo>
                    <a:pt x="478" y="344"/>
                  </a:lnTo>
                  <a:lnTo>
                    <a:pt x="480" y="344"/>
                  </a:lnTo>
                  <a:lnTo>
                    <a:pt x="482" y="344"/>
                  </a:lnTo>
                  <a:lnTo>
                    <a:pt x="484" y="346"/>
                  </a:lnTo>
                  <a:lnTo>
                    <a:pt x="488" y="348"/>
                  </a:lnTo>
                  <a:lnTo>
                    <a:pt x="490" y="348"/>
                  </a:lnTo>
                  <a:lnTo>
                    <a:pt x="488" y="344"/>
                  </a:lnTo>
                  <a:lnTo>
                    <a:pt x="484" y="342"/>
                  </a:lnTo>
                  <a:lnTo>
                    <a:pt x="482" y="342"/>
                  </a:lnTo>
                  <a:lnTo>
                    <a:pt x="482" y="340"/>
                  </a:lnTo>
                  <a:lnTo>
                    <a:pt x="474" y="338"/>
                  </a:lnTo>
                  <a:lnTo>
                    <a:pt x="466" y="346"/>
                  </a:lnTo>
                  <a:lnTo>
                    <a:pt x="462" y="348"/>
                  </a:lnTo>
                  <a:lnTo>
                    <a:pt x="460" y="350"/>
                  </a:lnTo>
                  <a:lnTo>
                    <a:pt x="456" y="352"/>
                  </a:lnTo>
                  <a:lnTo>
                    <a:pt x="454" y="354"/>
                  </a:lnTo>
                  <a:lnTo>
                    <a:pt x="452" y="354"/>
                  </a:lnTo>
                  <a:lnTo>
                    <a:pt x="450" y="352"/>
                  </a:lnTo>
                  <a:lnTo>
                    <a:pt x="452" y="346"/>
                  </a:lnTo>
                  <a:lnTo>
                    <a:pt x="456" y="344"/>
                  </a:lnTo>
                  <a:lnTo>
                    <a:pt x="460" y="344"/>
                  </a:lnTo>
                  <a:lnTo>
                    <a:pt x="462" y="344"/>
                  </a:lnTo>
                  <a:lnTo>
                    <a:pt x="462" y="340"/>
                  </a:lnTo>
                  <a:lnTo>
                    <a:pt x="460" y="340"/>
                  </a:lnTo>
                  <a:lnTo>
                    <a:pt x="456" y="340"/>
                  </a:lnTo>
                  <a:lnTo>
                    <a:pt x="454" y="340"/>
                  </a:lnTo>
                  <a:lnTo>
                    <a:pt x="452" y="340"/>
                  </a:lnTo>
                  <a:lnTo>
                    <a:pt x="452" y="338"/>
                  </a:lnTo>
                  <a:lnTo>
                    <a:pt x="452" y="336"/>
                  </a:lnTo>
                  <a:lnTo>
                    <a:pt x="460" y="334"/>
                  </a:lnTo>
                  <a:lnTo>
                    <a:pt x="462" y="334"/>
                  </a:lnTo>
                  <a:lnTo>
                    <a:pt x="462" y="336"/>
                  </a:lnTo>
                  <a:lnTo>
                    <a:pt x="464" y="334"/>
                  </a:lnTo>
                  <a:lnTo>
                    <a:pt x="462" y="332"/>
                  </a:lnTo>
                  <a:lnTo>
                    <a:pt x="460" y="334"/>
                  </a:lnTo>
                  <a:lnTo>
                    <a:pt x="458" y="334"/>
                  </a:lnTo>
                  <a:lnTo>
                    <a:pt x="456" y="334"/>
                  </a:lnTo>
                  <a:lnTo>
                    <a:pt x="454" y="334"/>
                  </a:lnTo>
                  <a:lnTo>
                    <a:pt x="456" y="332"/>
                  </a:lnTo>
                  <a:lnTo>
                    <a:pt x="460" y="330"/>
                  </a:lnTo>
                  <a:lnTo>
                    <a:pt x="462" y="330"/>
                  </a:lnTo>
                  <a:lnTo>
                    <a:pt x="466" y="332"/>
                  </a:lnTo>
                  <a:lnTo>
                    <a:pt x="468" y="332"/>
                  </a:lnTo>
                  <a:lnTo>
                    <a:pt x="470" y="332"/>
                  </a:lnTo>
                  <a:lnTo>
                    <a:pt x="472" y="330"/>
                  </a:lnTo>
                  <a:lnTo>
                    <a:pt x="478" y="328"/>
                  </a:lnTo>
                  <a:lnTo>
                    <a:pt x="486" y="324"/>
                  </a:lnTo>
                  <a:lnTo>
                    <a:pt x="488" y="324"/>
                  </a:lnTo>
                  <a:lnTo>
                    <a:pt x="490" y="324"/>
                  </a:lnTo>
                  <a:lnTo>
                    <a:pt x="490" y="326"/>
                  </a:lnTo>
                  <a:lnTo>
                    <a:pt x="492" y="324"/>
                  </a:lnTo>
                  <a:lnTo>
                    <a:pt x="494" y="320"/>
                  </a:lnTo>
                  <a:lnTo>
                    <a:pt x="494" y="318"/>
                  </a:lnTo>
                  <a:lnTo>
                    <a:pt x="490" y="316"/>
                  </a:lnTo>
                  <a:lnTo>
                    <a:pt x="488" y="316"/>
                  </a:lnTo>
                  <a:lnTo>
                    <a:pt x="488" y="318"/>
                  </a:lnTo>
                  <a:lnTo>
                    <a:pt x="482" y="316"/>
                  </a:lnTo>
                  <a:lnTo>
                    <a:pt x="478" y="316"/>
                  </a:lnTo>
                  <a:lnTo>
                    <a:pt x="476" y="316"/>
                  </a:lnTo>
                  <a:lnTo>
                    <a:pt x="476" y="320"/>
                  </a:lnTo>
                  <a:lnTo>
                    <a:pt x="474" y="320"/>
                  </a:lnTo>
                  <a:lnTo>
                    <a:pt x="472" y="320"/>
                  </a:lnTo>
                  <a:lnTo>
                    <a:pt x="470" y="316"/>
                  </a:lnTo>
                  <a:lnTo>
                    <a:pt x="472" y="312"/>
                  </a:lnTo>
                  <a:lnTo>
                    <a:pt x="476" y="308"/>
                  </a:lnTo>
                  <a:lnTo>
                    <a:pt x="478" y="308"/>
                  </a:lnTo>
                  <a:lnTo>
                    <a:pt x="478" y="310"/>
                  </a:lnTo>
                  <a:lnTo>
                    <a:pt x="482" y="310"/>
                  </a:lnTo>
                  <a:lnTo>
                    <a:pt x="482" y="308"/>
                  </a:lnTo>
                  <a:lnTo>
                    <a:pt x="484" y="306"/>
                  </a:lnTo>
                  <a:lnTo>
                    <a:pt x="486" y="308"/>
                  </a:lnTo>
                  <a:lnTo>
                    <a:pt x="486" y="312"/>
                  </a:lnTo>
                  <a:lnTo>
                    <a:pt x="482" y="312"/>
                  </a:lnTo>
                  <a:lnTo>
                    <a:pt x="482" y="314"/>
                  </a:lnTo>
                  <a:lnTo>
                    <a:pt x="484" y="316"/>
                  </a:lnTo>
                  <a:lnTo>
                    <a:pt x="490" y="312"/>
                  </a:lnTo>
                  <a:lnTo>
                    <a:pt x="490" y="310"/>
                  </a:lnTo>
                  <a:lnTo>
                    <a:pt x="492" y="308"/>
                  </a:lnTo>
                  <a:lnTo>
                    <a:pt x="494" y="304"/>
                  </a:lnTo>
                  <a:lnTo>
                    <a:pt x="494" y="298"/>
                  </a:lnTo>
                  <a:lnTo>
                    <a:pt x="496" y="298"/>
                  </a:lnTo>
                  <a:lnTo>
                    <a:pt x="498" y="304"/>
                  </a:lnTo>
                  <a:lnTo>
                    <a:pt x="498" y="314"/>
                  </a:lnTo>
                  <a:lnTo>
                    <a:pt x="502" y="322"/>
                  </a:lnTo>
                  <a:lnTo>
                    <a:pt x="502" y="324"/>
                  </a:lnTo>
                  <a:lnTo>
                    <a:pt x="504" y="326"/>
                  </a:lnTo>
                  <a:lnTo>
                    <a:pt x="504" y="328"/>
                  </a:lnTo>
                  <a:lnTo>
                    <a:pt x="510" y="336"/>
                  </a:lnTo>
                  <a:lnTo>
                    <a:pt x="512" y="338"/>
                  </a:lnTo>
                  <a:lnTo>
                    <a:pt x="514" y="338"/>
                  </a:lnTo>
                  <a:lnTo>
                    <a:pt x="514" y="336"/>
                  </a:lnTo>
                  <a:lnTo>
                    <a:pt x="512" y="334"/>
                  </a:lnTo>
                  <a:lnTo>
                    <a:pt x="510" y="332"/>
                  </a:lnTo>
                  <a:lnTo>
                    <a:pt x="506" y="332"/>
                  </a:lnTo>
                  <a:lnTo>
                    <a:pt x="506" y="330"/>
                  </a:lnTo>
                  <a:lnTo>
                    <a:pt x="502" y="320"/>
                  </a:lnTo>
                  <a:lnTo>
                    <a:pt x="504" y="318"/>
                  </a:lnTo>
                  <a:lnTo>
                    <a:pt x="508" y="318"/>
                  </a:lnTo>
                  <a:lnTo>
                    <a:pt x="510" y="320"/>
                  </a:lnTo>
                  <a:lnTo>
                    <a:pt x="510" y="322"/>
                  </a:lnTo>
                  <a:lnTo>
                    <a:pt x="512" y="322"/>
                  </a:lnTo>
                  <a:lnTo>
                    <a:pt x="512" y="324"/>
                  </a:lnTo>
                  <a:lnTo>
                    <a:pt x="514" y="324"/>
                  </a:lnTo>
                  <a:lnTo>
                    <a:pt x="512" y="318"/>
                  </a:lnTo>
                  <a:lnTo>
                    <a:pt x="510" y="318"/>
                  </a:lnTo>
                  <a:lnTo>
                    <a:pt x="508" y="316"/>
                  </a:lnTo>
                  <a:lnTo>
                    <a:pt x="510" y="314"/>
                  </a:lnTo>
                  <a:lnTo>
                    <a:pt x="512" y="310"/>
                  </a:lnTo>
                  <a:lnTo>
                    <a:pt x="514" y="312"/>
                  </a:lnTo>
                  <a:lnTo>
                    <a:pt x="514" y="314"/>
                  </a:lnTo>
                  <a:lnTo>
                    <a:pt x="518" y="316"/>
                  </a:lnTo>
                  <a:lnTo>
                    <a:pt x="520" y="312"/>
                  </a:lnTo>
                  <a:lnTo>
                    <a:pt x="514" y="312"/>
                  </a:lnTo>
                  <a:lnTo>
                    <a:pt x="514" y="308"/>
                  </a:lnTo>
                  <a:lnTo>
                    <a:pt x="510" y="308"/>
                  </a:lnTo>
                  <a:lnTo>
                    <a:pt x="510" y="312"/>
                  </a:lnTo>
                  <a:lnTo>
                    <a:pt x="508" y="312"/>
                  </a:lnTo>
                  <a:lnTo>
                    <a:pt x="506" y="310"/>
                  </a:lnTo>
                  <a:lnTo>
                    <a:pt x="506" y="308"/>
                  </a:lnTo>
                  <a:lnTo>
                    <a:pt x="510" y="306"/>
                  </a:lnTo>
                  <a:lnTo>
                    <a:pt x="512" y="302"/>
                  </a:lnTo>
                  <a:lnTo>
                    <a:pt x="512" y="300"/>
                  </a:lnTo>
                  <a:lnTo>
                    <a:pt x="510" y="300"/>
                  </a:lnTo>
                  <a:lnTo>
                    <a:pt x="508" y="300"/>
                  </a:lnTo>
                  <a:lnTo>
                    <a:pt x="506" y="300"/>
                  </a:lnTo>
                  <a:lnTo>
                    <a:pt x="506" y="302"/>
                  </a:lnTo>
                  <a:lnTo>
                    <a:pt x="504" y="302"/>
                  </a:lnTo>
                  <a:lnTo>
                    <a:pt x="502" y="302"/>
                  </a:lnTo>
                  <a:lnTo>
                    <a:pt x="502" y="300"/>
                  </a:lnTo>
                  <a:lnTo>
                    <a:pt x="504" y="300"/>
                  </a:lnTo>
                  <a:lnTo>
                    <a:pt x="506" y="298"/>
                  </a:lnTo>
                  <a:lnTo>
                    <a:pt x="506" y="296"/>
                  </a:lnTo>
                  <a:lnTo>
                    <a:pt x="504" y="296"/>
                  </a:lnTo>
                  <a:lnTo>
                    <a:pt x="498" y="294"/>
                  </a:lnTo>
                  <a:lnTo>
                    <a:pt x="500" y="292"/>
                  </a:lnTo>
                  <a:lnTo>
                    <a:pt x="502" y="290"/>
                  </a:lnTo>
                  <a:lnTo>
                    <a:pt x="514" y="296"/>
                  </a:lnTo>
                  <a:lnTo>
                    <a:pt x="514" y="298"/>
                  </a:lnTo>
                  <a:lnTo>
                    <a:pt x="514" y="300"/>
                  </a:lnTo>
                  <a:lnTo>
                    <a:pt x="518" y="304"/>
                  </a:lnTo>
                  <a:lnTo>
                    <a:pt x="520" y="306"/>
                  </a:lnTo>
                  <a:lnTo>
                    <a:pt x="522" y="308"/>
                  </a:lnTo>
                  <a:lnTo>
                    <a:pt x="524" y="308"/>
                  </a:lnTo>
                  <a:lnTo>
                    <a:pt x="522" y="304"/>
                  </a:lnTo>
                  <a:lnTo>
                    <a:pt x="518" y="302"/>
                  </a:lnTo>
                  <a:lnTo>
                    <a:pt x="516" y="298"/>
                  </a:lnTo>
                  <a:lnTo>
                    <a:pt x="512" y="292"/>
                  </a:lnTo>
                  <a:lnTo>
                    <a:pt x="510" y="292"/>
                  </a:lnTo>
                  <a:lnTo>
                    <a:pt x="504" y="290"/>
                  </a:lnTo>
                  <a:lnTo>
                    <a:pt x="502" y="288"/>
                  </a:lnTo>
                  <a:lnTo>
                    <a:pt x="506" y="286"/>
                  </a:lnTo>
                  <a:lnTo>
                    <a:pt x="514" y="284"/>
                  </a:lnTo>
                  <a:lnTo>
                    <a:pt x="516" y="282"/>
                  </a:lnTo>
                  <a:lnTo>
                    <a:pt x="520" y="282"/>
                  </a:lnTo>
                  <a:lnTo>
                    <a:pt x="524" y="284"/>
                  </a:lnTo>
                  <a:lnTo>
                    <a:pt x="526" y="286"/>
                  </a:lnTo>
                  <a:lnTo>
                    <a:pt x="524" y="288"/>
                  </a:lnTo>
                  <a:lnTo>
                    <a:pt x="524" y="290"/>
                  </a:lnTo>
                  <a:lnTo>
                    <a:pt x="526" y="290"/>
                  </a:lnTo>
                  <a:lnTo>
                    <a:pt x="530" y="288"/>
                  </a:lnTo>
                  <a:lnTo>
                    <a:pt x="530" y="286"/>
                  </a:lnTo>
                  <a:lnTo>
                    <a:pt x="532" y="286"/>
                  </a:lnTo>
                  <a:lnTo>
                    <a:pt x="534" y="284"/>
                  </a:lnTo>
                  <a:lnTo>
                    <a:pt x="536" y="286"/>
                  </a:lnTo>
                  <a:lnTo>
                    <a:pt x="542" y="296"/>
                  </a:lnTo>
                  <a:lnTo>
                    <a:pt x="542" y="302"/>
                  </a:lnTo>
                  <a:lnTo>
                    <a:pt x="542" y="304"/>
                  </a:lnTo>
                  <a:lnTo>
                    <a:pt x="544" y="302"/>
                  </a:lnTo>
                  <a:lnTo>
                    <a:pt x="544" y="296"/>
                  </a:lnTo>
                  <a:lnTo>
                    <a:pt x="544" y="294"/>
                  </a:lnTo>
                  <a:lnTo>
                    <a:pt x="542" y="292"/>
                  </a:lnTo>
                  <a:lnTo>
                    <a:pt x="540" y="292"/>
                  </a:lnTo>
                  <a:lnTo>
                    <a:pt x="538" y="288"/>
                  </a:lnTo>
                  <a:lnTo>
                    <a:pt x="536" y="284"/>
                  </a:lnTo>
                  <a:lnTo>
                    <a:pt x="538" y="282"/>
                  </a:lnTo>
                  <a:lnTo>
                    <a:pt x="542" y="282"/>
                  </a:lnTo>
                  <a:lnTo>
                    <a:pt x="544" y="282"/>
                  </a:lnTo>
                  <a:lnTo>
                    <a:pt x="544" y="284"/>
                  </a:lnTo>
                  <a:lnTo>
                    <a:pt x="548" y="284"/>
                  </a:lnTo>
                  <a:lnTo>
                    <a:pt x="548" y="286"/>
                  </a:lnTo>
                  <a:lnTo>
                    <a:pt x="550" y="286"/>
                  </a:lnTo>
                  <a:lnTo>
                    <a:pt x="548" y="284"/>
                  </a:lnTo>
                  <a:lnTo>
                    <a:pt x="546" y="284"/>
                  </a:lnTo>
                  <a:lnTo>
                    <a:pt x="544" y="280"/>
                  </a:lnTo>
                  <a:lnTo>
                    <a:pt x="548" y="280"/>
                  </a:lnTo>
                  <a:lnTo>
                    <a:pt x="550" y="278"/>
                  </a:lnTo>
                  <a:lnTo>
                    <a:pt x="550" y="276"/>
                  </a:lnTo>
                  <a:lnTo>
                    <a:pt x="548" y="270"/>
                  </a:lnTo>
                  <a:lnTo>
                    <a:pt x="542" y="272"/>
                  </a:lnTo>
                  <a:lnTo>
                    <a:pt x="540" y="274"/>
                  </a:lnTo>
                  <a:lnTo>
                    <a:pt x="540" y="276"/>
                  </a:lnTo>
                  <a:lnTo>
                    <a:pt x="540" y="278"/>
                  </a:lnTo>
                  <a:lnTo>
                    <a:pt x="538" y="278"/>
                  </a:lnTo>
                  <a:lnTo>
                    <a:pt x="536" y="278"/>
                  </a:lnTo>
                  <a:lnTo>
                    <a:pt x="534" y="278"/>
                  </a:lnTo>
                  <a:lnTo>
                    <a:pt x="532" y="278"/>
                  </a:lnTo>
                  <a:lnTo>
                    <a:pt x="530" y="278"/>
                  </a:lnTo>
                  <a:lnTo>
                    <a:pt x="532" y="276"/>
                  </a:lnTo>
                  <a:lnTo>
                    <a:pt x="532" y="274"/>
                  </a:lnTo>
                  <a:lnTo>
                    <a:pt x="530" y="272"/>
                  </a:lnTo>
                  <a:lnTo>
                    <a:pt x="528" y="274"/>
                  </a:lnTo>
                  <a:lnTo>
                    <a:pt x="526" y="276"/>
                  </a:lnTo>
                  <a:lnTo>
                    <a:pt x="526" y="278"/>
                  </a:lnTo>
                  <a:lnTo>
                    <a:pt x="524" y="278"/>
                  </a:lnTo>
                  <a:lnTo>
                    <a:pt x="518" y="278"/>
                  </a:lnTo>
                  <a:lnTo>
                    <a:pt x="514" y="280"/>
                  </a:lnTo>
                  <a:lnTo>
                    <a:pt x="512" y="278"/>
                  </a:lnTo>
                  <a:lnTo>
                    <a:pt x="510" y="272"/>
                  </a:lnTo>
                  <a:lnTo>
                    <a:pt x="514" y="270"/>
                  </a:lnTo>
                  <a:lnTo>
                    <a:pt x="516" y="270"/>
                  </a:lnTo>
                  <a:lnTo>
                    <a:pt x="514" y="268"/>
                  </a:lnTo>
                  <a:lnTo>
                    <a:pt x="514" y="266"/>
                  </a:lnTo>
                  <a:lnTo>
                    <a:pt x="514" y="264"/>
                  </a:lnTo>
                  <a:lnTo>
                    <a:pt x="516" y="260"/>
                  </a:lnTo>
                  <a:lnTo>
                    <a:pt x="522" y="258"/>
                  </a:lnTo>
                  <a:lnTo>
                    <a:pt x="524" y="256"/>
                  </a:lnTo>
                  <a:lnTo>
                    <a:pt x="528" y="254"/>
                  </a:lnTo>
                  <a:lnTo>
                    <a:pt x="536" y="254"/>
                  </a:lnTo>
                  <a:lnTo>
                    <a:pt x="538" y="252"/>
                  </a:lnTo>
                  <a:lnTo>
                    <a:pt x="542" y="254"/>
                  </a:lnTo>
                  <a:lnTo>
                    <a:pt x="544" y="256"/>
                  </a:lnTo>
                  <a:lnTo>
                    <a:pt x="544" y="258"/>
                  </a:lnTo>
                  <a:lnTo>
                    <a:pt x="546" y="258"/>
                  </a:lnTo>
                  <a:lnTo>
                    <a:pt x="552" y="258"/>
                  </a:lnTo>
                  <a:lnTo>
                    <a:pt x="550" y="256"/>
                  </a:lnTo>
                  <a:lnTo>
                    <a:pt x="548" y="256"/>
                  </a:lnTo>
                  <a:lnTo>
                    <a:pt x="546" y="256"/>
                  </a:lnTo>
                  <a:lnTo>
                    <a:pt x="540" y="252"/>
                  </a:lnTo>
                  <a:lnTo>
                    <a:pt x="536" y="250"/>
                  </a:lnTo>
                  <a:lnTo>
                    <a:pt x="544" y="244"/>
                  </a:lnTo>
                  <a:lnTo>
                    <a:pt x="546" y="244"/>
                  </a:lnTo>
                  <a:lnTo>
                    <a:pt x="546" y="246"/>
                  </a:lnTo>
                  <a:lnTo>
                    <a:pt x="548" y="246"/>
                  </a:lnTo>
                  <a:lnTo>
                    <a:pt x="556" y="248"/>
                  </a:lnTo>
                  <a:lnTo>
                    <a:pt x="556" y="246"/>
                  </a:lnTo>
                  <a:lnTo>
                    <a:pt x="554" y="246"/>
                  </a:lnTo>
                  <a:lnTo>
                    <a:pt x="552" y="246"/>
                  </a:lnTo>
                  <a:lnTo>
                    <a:pt x="550" y="246"/>
                  </a:lnTo>
                  <a:lnTo>
                    <a:pt x="544" y="242"/>
                  </a:lnTo>
                  <a:lnTo>
                    <a:pt x="546" y="242"/>
                  </a:lnTo>
                  <a:lnTo>
                    <a:pt x="550" y="238"/>
                  </a:lnTo>
                  <a:lnTo>
                    <a:pt x="552" y="236"/>
                  </a:lnTo>
                  <a:lnTo>
                    <a:pt x="554" y="238"/>
                  </a:lnTo>
                  <a:lnTo>
                    <a:pt x="556" y="238"/>
                  </a:lnTo>
                  <a:lnTo>
                    <a:pt x="558" y="238"/>
                  </a:lnTo>
                  <a:lnTo>
                    <a:pt x="552" y="234"/>
                  </a:lnTo>
                  <a:lnTo>
                    <a:pt x="550" y="234"/>
                  </a:lnTo>
                  <a:lnTo>
                    <a:pt x="548" y="234"/>
                  </a:lnTo>
                  <a:lnTo>
                    <a:pt x="546" y="234"/>
                  </a:lnTo>
                  <a:lnTo>
                    <a:pt x="544" y="236"/>
                  </a:lnTo>
                  <a:lnTo>
                    <a:pt x="544" y="228"/>
                  </a:lnTo>
                  <a:lnTo>
                    <a:pt x="550" y="218"/>
                  </a:lnTo>
                  <a:lnTo>
                    <a:pt x="552" y="216"/>
                  </a:lnTo>
                  <a:lnTo>
                    <a:pt x="558" y="214"/>
                  </a:lnTo>
                  <a:lnTo>
                    <a:pt x="566" y="212"/>
                  </a:lnTo>
                  <a:lnTo>
                    <a:pt x="562" y="204"/>
                  </a:lnTo>
                  <a:lnTo>
                    <a:pt x="560" y="204"/>
                  </a:lnTo>
                  <a:lnTo>
                    <a:pt x="560" y="200"/>
                  </a:lnTo>
                  <a:lnTo>
                    <a:pt x="560" y="198"/>
                  </a:lnTo>
                  <a:lnTo>
                    <a:pt x="562" y="198"/>
                  </a:lnTo>
                  <a:lnTo>
                    <a:pt x="564" y="196"/>
                  </a:lnTo>
                  <a:lnTo>
                    <a:pt x="564" y="194"/>
                  </a:lnTo>
                  <a:lnTo>
                    <a:pt x="566" y="190"/>
                  </a:lnTo>
                  <a:lnTo>
                    <a:pt x="566" y="188"/>
                  </a:lnTo>
                  <a:lnTo>
                    <a:pt x="566" y="186"/>
                  </a:lnTo>
                  <a:lnTo>
                    <a:pt x="566" y="184"/>
                  </a:lnTo>
                  <a:lnTo>
                    <a:pt x="568" y="180"/>
                  </a:lnTo>
                  <a:lnTo>
                    <a:pt x="570" y="180"/>
                  </a:lnTo>
                  <a:lnTo>
                    <a:pt x="572" y="182"/>
                  </a:lnTo>
                  <a:lnTo>
                    <a:pt x="576" y="190"/>
                  </a:lnTo>
                  <a:lnTo>
                    <a:pt x="578" y="192"/>
                  </a:lnTo>
                  <a:lnTo>
                    <a:pt x="578" y="198"/>
                  </a:lnTo>
                  <a:lnTo>
                    <a:pt x="584" y="200"/>
                  </a:lnTo>
                  <a:lnTo>
                    <a:pt x="584" y="198"/>
                  </a:lnTo>
                  <a:lnTo>
                    <a:pt x="584" y="196"/>
                  </a:lnTo>
                  <a:lnTo>
                    <a:pt x="586" y="194"/>
                  </a:lnTo>
                  <a:lnTo>
                    <a:pt x="590" y="196"/>
                  </a:lnTo>
                  <a:lnTo>
                    <a:pt x="592" y="198"/>
                  </a:lnTo>
                  <a:lnTo>
                    <a:pt x="594" y="198"/>
                  </a:lnTo>
                  <a:lnTo>
                    <a:pt x="592" y="194"/>
                  </a:lnTo>
                  <a:lnTo>
                    <a:pt x="588" y="192"/>
                  </a:lnTo>
                  <a:lnTo>
                    <a:pt x="586" y="192"/>
                  </a:lnTo>
                  <a:lnTo>
                    <a:pt x="582" y="192"/>
                  </a:lnTo>
                  <a:lnTo>
                    <a:pt x="582" y="190"/>
                  </a:lnTo>
                  <a:lnTo>
                    <a:pt x="580" y="190"/>
                  </a:lnTo>
                  <a:lnTo>
                    <a:pt x="576" y="184"/>
                  </a:lnTo>
                  <a:lnTo>
                    <a:pt x="576" y="178"/>
                  </a:lnTo>
                  <a:lnTo>
                    <a:pt x="582" y="176"/>
                  </a:lnTo>
                  <a:lnTo>
                    <a:pt x="588" y="174"/>
                  </a:lnTo>
                  <a:lnTo>
                    <a:pt x="590" y="182"/>
                  </a:lnTo>
                  <a:lnTo>
                    <a:pt x="594" y="188"/>
                  </a:lnTo>
                  <a:lnTo>
                    <a:pt x="596" y="190"/>
                  </a:lnTo>
                  <a:lnTo>
                    <a:pt x="598" y="192"/>
                  </a:lnTo>
                  <a:lnTo>
                    <a:pt x="600" y="192"/>
                  </a:lnTo>
                  <a:lnTo>
                    <a:pt x="602" y="192"/>
                  </a:lnTo>
                  <a:lnTo>
                    <a:pt x="604" y="192"/>
                  </a:lnTo>
                  <a:lnTo>
                    <a:pt x="606" y="192"/>
                  </a:lnTo>
                  <a:lnTo>
                    <a:pt x="606" y="194"/>
                  </a:lnTo>
                  <a:lnTo>
                    <a:pt x="606" y="196"/>
                  </a:lnTo>
                  <a:lnTo>
                    <a:pt x="606" y="198"/>
                  </a:lnTo>
                  <a:lnTo>
                    <a:pt x="604" y="198"/>
                  </a:lnTo>
                  <a:lnTo>
                    <a:pt x="602" y="198"/>
                  </a:lnTo>
                  <a:lnTo>
                    <a:pt x="600" y="200"/>
                  </a:lnTo>
                  <a:lnTo>
                    <a:pt x="606" y="204"/>
                  </a:lnTo>
                  <a:lnTo>
                    <a:pt x="610" y="202"/>
                  </a:lnTo>
                  <a:lnTo>
                    <a:pt x="610" y="200"/>
                  </a:lnTo>
                  <a:lnTo>
                    <a:pt x="610" y="194"/>
                  </a:lnTo>
                  <a:lnTo>
                    <a:pt x="608" y="192"/>
                  </a:lnTo>
                  <a:lnTo>
                    <a:pt x="606" y="188"/>
                  </a:lnTo>
                  <a:lnTo>
                    <a:pt x="604" y="188"/>
                  </a:lnTo>
                  <a:lnTo>
                    <a:pt x="602" y="188"/>
                  </a:lnTo>
                  <a:lnTo>
                    <a:pt x="598" y="190"/>
                  </a:lnTo>
                  <a:lnTo>
                    <a:pt x="598" y="188"/>
                  </a:lnTo>
                  <a:lnTo>
                    <a:pt x="592" y="182"/>
                  </a:lnTo>
                  <a:lnTo>
                    <a:pt x="592" y="178"/>
                  </a:lnTo>
                  <a:lnTo>
                    <a:pt x="596" y="176"/>
                  </a:lnTo>
                  <a:lnTo>
                    <a:pt x="598" y="174"/>
                  </a:lnTo>
                  <a:lnTo>
                    <a:pt x="600" y="174"/>
                  </a:lnTo>
                  <a:lnTo>
                    <a:pt x="602" y="176"/>
                  </a:lnTo>
                  <a:lnTo>
                    <a:pt x="600" y="172"/>
                  </a:lnTo>
                  <a:lnTo>
                    <a:pt x="596" y="172"/>
                  </a:lnTo>
                  <a:lnTo>
                    <a:pt x="594" y="174"/>
                  </a:lnTo>
                  <a:lnTo>
                    <a:pt x="594" y="176"/>
                  </a:lnTo>
                  <a:lnTo>
                    <a:pt x="592" y="176"/>
                  </a:lnTo>
                  <a:lnTo>
                    <a:pt x="592" y="172"/>
                  </a:lnTo>
                  <a:lnTo>
                    <a:pt x="590" y="172"/>
                  </a:lnTo>
                  <a:lnTo>
                    <a:pt x="590" y="168"/>
                  </a:lnTo>
                  <a:lnTo>
                    <a:pt x="592" y="164"/>
                  </a:lnTo>
                  <a:lnTo>
                    <a:pt x="596" y="158"/>
                  </a:lnTo>
                  <a:lnTo>
                    <a:pt x="596" y="156"/>
                  </a:lnTo>
                  <a:lnTo>
                    <a:pt x="600" y="152"/>
                  </a:lnTo>
                  <a:lnTo>
                    <a:pt x="614" y="148"/>
                  </a:lnTo>
                  <a:lnTo>
                    <a:pt x="616" y="148"/>
                  </a:lnTo>
                  <a:lnTo>
                    <a:pt x="616" y="152"/>
                  </a:lnTo>
                  <a:lnTo>
                    <a:pt x="614" y="158"/>
                  </a:lnTo>
                  <a:lnTo>
                    <a:pt x="614" y="162"/>
                  </a:lnTo>
                  <a:lnTo>
                    <a:pt x="616" y="164"/>
                  </a:lnTo>
                  <a:lnTo>
                    <a:pt x="616" y="168"/>
                  </a:lnTo>
                  <a:lnTo>
                    <a:pt x="614" y="176"/>
                  </a:lnTo>
                  <a:lnTo>
                    <a:pt x="612" y="186"/>
                  </a:lnTo>
                  <a:lnTo>
                    <a:pt x="616" y="184"/>
                  </a:lnTo>
                  <a:lnTo>
                    <a:pt x="618" y="180"/>
                  </a:lnTo>
                  <a:lnTo>
                    <a:pt x="616" y="176"/>
                  </a:lnTo>
                  <a:lnTo>
                    <a:pt x="618" y="156"/>
                  </a:lnTo>
                  <a:lnTo>
                    <a:pt x="622" y="150"/>
                  </a:lnTo>
                  <a:lnTo>
                    <a:pt x="626" y="148"/>
                  </a:lnTo>
                  <a:lnTo>
                    <a:pt x="626" y="144"/>
                  </a:lnTo>
                  <a:lnTo>
                    <a:pt x="628" y="136"/>
                  </a:lnTo>
                  <a:lnTo>
                    <a:pt x="632" y="132"/>
                  </a:lnTo>
                  <a:lnTo>
                    <a:pt x="632" y="134"/>
                  </a:lnTo>
                  <a:lnTo>
                    <a:pt x="636" y="138"/>
                  </a:lnTo>
                  <a:lnTo>
                    <a:pt x="638" y="140"/>
                  </a:lnTo>
                  <a:lnTo>
                    <a:pt x="636" y="146"/>
                  </a:lnTo>
                  <a:lnTo>
                    <a:pt x="636" y="152"/>
                  </a:lnTo>
                  <a:lnTo>
                    <a:pt x="636" y="156"/>
                  </a:lnTo>
                  <a:lnTo>
                    <a:pt x="634" y="160"/>
                  </a:lnTo>
                  <a:lnTo>
                    <a:pt x="634" y="168"/>
                  </a:lnTo>
                  <a:lnTo>
                    <a:pt x="636" y="178"/>
                  </a:lnTo>
                  <a:lnTo>
                    <a:pt x="634" y="180"/>
                  </a:lnTo>
                  <a:lnTo>
                    <a:pt x="634" y="184"/>
                  </a:lnTo>
                  <a:lnTo>
                    <a:pt x="632" y="186"/>
                  </a:lnTo>
                  <a:lnTo>
                    <a:pt x="630" y="188"/>
                  </a:lnTo>
                  <a:lnTo>
                    <a:pt x="628" y="190"/>
                  </a:lnTo>
                  <a:lnTo>
                    <a:pt x="626" y="192"/>
                  </a:lnTo>
                  <a:lnTo>
                    <a:pt x="626" y="198"/>
                  </a:lnTo>
                  <a:lnTo>
                    <a:pt x="628" y="194"/>
                  </a:lnTo>
                  <a:lnTo>
                    <a:pt x="634" y="188"/>
                  </a:lnTo>
                  <a:lnTo>
                    <a:pt x="636" y="184"/>
                  </a:lnTo>
                  <a:lnTo>
                    <a:pt x="638" y="182"/>
                  </a:lnTo>
                  <a:lnTo>
                    <a:pt x="638" y="178"/>
                  </a:lnTo>
                  <a:lnTo>
                    <a:pt x="640" y="168"/>
                  </a:lnTo>
                  <a:lnTo>
                    <a:pt x="642" y="168"/>
                  </a:lnTo>
                  <a:lnTo>
                    <a:pt x="642" y="170"/>
                  </a:lnTo>
                  <a:lnTo>
                    <a:pt x="644" y="170"/>
                  </a:lnTo>
                  <a:lnTo>
                    <a:pt x="646" y="172"/>
                  </a:lnTo>
                  <a:lnTo>
                    <a:pt x="650" y="174"/>
                  </a:lnTo>
                  <a:lnTo>
                    <a:pt x="654" y="174"/>
                  </a:lnTo>
                  <a:lnTo>
                    <a:pt x="648" y="170"/>
                  </a:lnTo>
                  <a:lnTo>
                    <a:pt x="642" y="164"/>
                  </a:lnTo>
                  <a:lnTo>
                    <a:pt x="642" y="152"/>
                  </a:lnTo>
                  <a:lnTo>
                    <a:pt x="644" y="150"/>
                  </a:lnTo>
                  <a:lnTo>
                    <a:pt x="646" y="148"/>
                  </a:lnTo>
                  <a:lnTo>
                    <a:pt x="650" y="148"/>
                  </a:lnTo>
                  <a:lnTo>
                    <a:pt x="650" y="146"/>
                  </a:lnTo>
                  <a:lnTo>
                    <a:pt x="650" y="144"/>
                  </a:lnTo>
                  <a:lnTo>
                    <a:pt x="650" y="140"/>
                  </a:lnTo>
                  <a:lnTo>
                    <a:pt x="652" y="136"/>
                  </a:lnTo>
                  <a:lnTo>
                    <a:pt x="658" y="132"/>
                  </a:lnTo>
                  <a:lnTo>
                    <a:pt x="658" y="134"/>
                  </a:lnTo>
                  <a:lnTo>
                    <a:pt x="656" y="134"/>
                  </a:lnTo>
                  <a:lnTo>
                    <a:pt x="656" y="136"/>
                  </a:lnTo>
                  <a:lnTo>
                    <a:pt x="654" y="136"/>
                  </a:lnTo>
                  <a:lnTo>
                    <a:pt x="652" y="142"/>
                  </a:lnTo>
                  <a:lnTo>
                    <a:pt x="654" y="146"/>
                  </a:lnTo>
                  <a:lnTo>
                    <a:pt x="656" y="148"/>
                  </a:lnTo>
                  <a:lnTo>
                    <a:pt x="658" y="148"/>
                  </a:lnTo>
                  <a:lnTo>
                    <a:pt x="660" y="140"/>
                  </a:lnTo>
                  <a:lnTo>
                    <a:pt x="662" y="130"/>
                  </a:lnTo>
                  <a:lnTo>
                    <a:pt x="662" y="128"/>
                  </a:lnTo>
                  <a:lnTo>
                    <a:pt x="664" y="126"/>
                  </a:lnTo>
                  <a:lnTo>
                    <a:pt x="666" y="124"/>
                  </a:lnTo>
                  <a:lnTo>
                    <a:pt x="668" y="124"/>
                  </a:lnTo>
                  <a:lnTo>
                    <a:pt x="668" y="126"/>
                  </a:lnTo>
                  <a:lnTo>
                    <a:pt x="672" y="128"/>
                  </a:lnTo>
                  <a:lnTo>
                    <a:pt x="674" y="130"/>
                  </a:lnTo>
                  <a:lnTo>
                    <a:pt x="674" y="134"/>
                  </a:lnTo>
                  <a:lnTo>
                    <a:pt x="676" y="134"/>
                  </a:lnTo>
                  <a:lnTo>
                    <a:pt x="678" y="136"/>
                  </a:lnTo>
                  <a:lnTo>
                    <a:pt x="680" y="136"/>
                  </a:lnTo>
                  <a:lnTo>
                    <a:pt x="682" y="138"/>
                  </a:lnTo>
                  <a:lnTo>
                    <a:pt x="686" y="140"/>
                  </a:lnTo>
                  <a:lnTo>
                    <a:pt x="686" y="144"/>
                  </a:lnTo>
                  <a:lnTo>
                    <a:pt x="688" y="146"/>
                  </a:lnTo>
                  <a:lnTo>
                    <a:pt x="688" y="148"/>
                  </a:lnTo>
                  <a:lnTo>
                    <a:pt x="692" y="150"/>
                  </a:lnTo>
                  <a:lnTo>
                    <a:pt x="692" y="148"/>
                  </a:lnTo>
                  <a:lnTo>
                    <a:pt x="688" y="138"/>
                  </a:lnTo>
                  <a:lnTo>
                    <a:pt x="684" y="130"/>
                  </a:lnTo>
                  <a:lnTo>
                    <a:pt x="680" y="122"/>
                  </a:lnTo>
                  <a:lnTo>
                    <a:pt x="682" y="120"/>
                  </a:lnTo>
                  <a:lnTo>
                    <a:pt x="684" y="120"/>
                  </a:lnTo>
                  <a:lnTo>
                    <a:pt x="686" y="120"/>
                  </a:lnTo>
                  <a:lnTo>
                    <a:pt x="688" y="120"/>
                  </a:lnTo>
                  <a:lnTo>
                    <a:pt x="688" y="114"/>
                  </a:lnTo>
                  <a:lnTo>
                    <a:pt x="688" y="116"/>
                  </a:lnTo>
                  <a:lnTo>
                    <a:pt x="686" y="118"/>
                  </a:lnTo>
                  <a:lnTo>
                    <a:pt x="684" y="118"/>
                  </a:lnTo>
                  <a:lnTo>
                    <a:pt x="678" y="120"/>
                  </a:lnTo>
                  <a:lnTo>
                    <a:pt x="668" y="118"/>
                  </a:lnTo>
                  <a:lnTo>
                    <a:pt x="666" y="114"/>
                  </a:lnTo>
                  <a:lnTo>
                    <a:pt x="664" y="112"/>
                  </a:lnTo>
                  <a:lnTo>
                    <a:pt x="662" y="112"/>
                  </a:lnTo>
                  <a:lnTo>
                    <a:pt x="660" y="108"/>
                  </a:lnTo>
                  <a:lnTo>
                    <a:pt x="662" y="104"/>
                  </a:lnTo>
                  <a:lnTo>
                    <a:pt x="668" y="98"/>
                  </a:lnTo>
                  <a:lnTo>
                    <a:pt x="670" y="100"/>
                  </a:lnTo>
                  <a:lnTo>
                    <a:pt x="672" y="102"/>
                  </a:lnTo>
                  <a:lnTo>
                    <a:pt x="676" y="104"/>
                  </a:lnTo>
                  <a:lnTo>
                    <a:pt x="678" y="102"/>
                  </a:lnTo>
                  <a:lnTo>
                    <a:pt x="680" y="100"/>
                  </a:lnTo>
                  <a:lnTo>
                    <a:pt x="684" y="96"/>
                  </a:lnTo>
                  <a:lnTo>
                    <a:pt x="688" y="98"/>
                  </a:lnTo>
                  <a:lnTo>
                    <a:pt x="692" y="98"/>
                  </a:lnTo>
                  <a:lnTo>
                    <a:pt x="694" y="98"/>
                  </a:lnTo>
                  <a:lnTo>
                    <a:pt x="694" y="108"/>
                  </a:lnTo>
                  <a:lnTo>
                    <a:pt x="696" y="110"/>
                  </a:lnTo>
                  <a:lnTo>
                    <a:pt x="704" y="112"/>
                  </a:lnTo>
                  <a:lnTo>
                    <a:pt x="702" y="110"/>
                  </a:lnTo>
                  <a:lnTo>
                    <a:pt x="698" y="110"/>
                  </a:lnTo>
                  <a:lnTo>
                    <a:pt x="696" y="108"/>
                  </a:lnTo>
                  <a:lnTo>
                    <a:pt x="696" y="100"/>
                  </a:lnTo>
                  <a:lnTo>
                    <a:pt x="698" y="100"/>
                  </a:lnTo>
                  <a:lnTo>
                    <a:pt x="700" y="100"/>
                  </a:lnTo>
                  <a:lnTo>
                    <a:pt x="704" y="102"/>
                  </a:lnTo>
                  <a:lnTo>
                    <a:pt x="706" y="102"/>
                  </a:lnTo>
                  <a:lnTo>
                    <a:pt x="712" y="102"/>
                  </a:lnTo>
                  <a:lnTo>
                    <a:pt x="714" y="102"/>
                  </a:lnTo>
                  <a:lnTo>
                    <a:pt x="716" y="102"/>
                  </a:lnTo>
                  <a:lnTo>
                    <a:pt x="716" y="104"/>
                  </a:lnTo>
                  <a:lnTo>
                    <a:pt x="714" y="110"/>
                  </a:lnTo>
                  <a:lnTo>
                    <a:pt x="712" y="112"/>
                  </a:lnTo>
                  <a:lnTo>
                    <a:pt x="708" y="114"/>
                  </a:lnTo>
                  <a:lnTo>
                    <a:pt x="704" y="116"/>
                  </a:lnTo>
                  <a:lnTo>
                    <a:pt x="702" y="116"/>
                  </a:lnTo>
                  <a:lnTo>
                    <a:pt x="700" y="116"/>
                  </a:lnTo>
                  <a:lnTo>
                    <a:pt x="696" y="118"/>
                  </a:lnTo>
                  <a:lnTo>
                    <a:pt x="696" y="120"/>
                  </a:lnTo>
                  <a:lnTo>
                    <a:pt x="698" y="120"/>
                  </a:lnTo>
                  <a:lnTo>
                    <a:pt x="698" y="118"/>
                  </a:lnTo>
                  <a:lnTo>
                    <a:pt x="700" y="118"/>
                  </a:lnTo>
                  <a:lnTo>
                    <a:pt x="702" y="118"/>
                  </a:lnTo>
                  <a:lnTo>
                    <a:pt x="704" y="116"/>
                  </a:lnTo>
                  <a:lnTo>
                    <a:pt x="706" y="116"/>
                  </a:lnTo>
                  <a:lnTo>
                    <a:pt x="708" y="116"/>
                  </a:lnTo>
                  <a:lnTo>
                    <a:pt x="712" y="114"/>
                  </a:lnTo>
                  <a:lnTo>
                    <a:pt x="714" y="112"/>
                  </a:lnTo>
                  <a:lnTo>
                    <a:pt x="718" y="114"/>
                  </a:lnTo>
                  <a:lnTo>
                    <a:pt x="720" y="118"/>
                  </a:lnTo>
                  <a:lnTo>
                    <a:pt x="724" y="124"/>
                  </a:lnTo>
                  <a:lnTo>
                    <a:pt x="730" y="126"/>
                  </a:lnTo>
                  <a:lnTo>
                    <a:pt x="734" y="122"/>
                  </a:lnTo>
                  <a:lnTo>
                    <a:pt x="736" y="118"/>
                  </a:lnTo>
                  <a:lnTo>
                    <a:pt x="734" y="118"/>
                  </a:lnTo>
                  <a:lnTo>
                    <a:pt x="732" y="118"/>
                  </a:lnTo>
                  <a:lnTo>
                    <a:pt x="730" y="118"/>
                  </a:lnTo>
                  <a:lnTo>
                    <a:pt x="726" y="116"/>
                  </a:lnTo>
                  <a:lnTo>
                    <a:pt x="724" y="112"/>
                  </a:lnTo>
                  <a:lnTo>
                    <a:pt x="726" y="110"/>
                  </a:lnTo>
                  <a:lnTo>
                    <a:pt x="728" y="110"/>
                  </a:lnTo>
                  <a:lnTo>
                    <a:pt x="728" y="106"/>
                  </a:lnTo>
                  <a:lnTo>
                    <a:pt x="728" y="102"/>
                  </a:lnTo>
                  <a:lnTo>
                    <a:pt x="728" y="100"/>
                  </a:lnTo>
                  <a:lnTo>
                    <a:pt x="732" y="98"/>
                  </a:lnTo>
                  <a:lnTo>
                    <a:pt x="730" y="98"/>
                  </a:lnTo>
                  <a:lnTo>
                    <a:pt x="728" y="94"/>
                  </a:lnTo>
                  <a:lnTo>
                    <a:pt x="730" y="92"/>
                  </a:lnTo>
                  <a:lnTo>
                    <a:pt x="732" y="84"/>
                  </a:lnTo>
                  <a:lnTo>
                    <a:pt x="734" y="82"/>
                  </a:lnTo>
                  <a:lnTo>
                    <a:pt x="740" y="74"/>
                  </a:lnTo>
                  <a:lnTo>
                    <a:pt x="740" y="72"/>
                  </a:lnTo>
                  <a:lnTo>
                    <a:pt x="744" y="72"/>
                  </a:lnTo>
                  <a:lnTo>
                    <a:pt x="746" y="72"/>
                  </a:lnTo>
                  <a:lnTo>
                    <a:pt x="754" y="74"/>
                  </a:lnTo>
                  <a:lnTo>
                    <a:pt x="756" y="74"/>
                  </a:lnTo>
                  <a:lnTo>
                    <a:pt x="752" y="70"/>
                  </a:lnTo>
                  <a:lnTo>
                    <a:pt x="752" y="68"/>
                  </a:lnTo>
                  <a:lnTo>
                    <a:pt x="748" y="64"/>
                  </a:lnTo>
                  <a:lnTo>
                    <a:pt x="752" y="56"/>
                  </a:lnTo>
                  <a:lnTo>
                    <a:pt x="752" y="54"/>
                  </a:lnTo>
                  <a:lnTo>
                    <a:pt x="754" y="54"/>
                  </a:lnTo>
                  <a:lnTo>
                    <a:pt x="758" y="54"/>
                  </a:lnTo>
                  <a:lnTo>
                    <a:pt x="762" y="58"/>
                  </a:lnTo>
                  <a:lnTo>
                    <a:pt x="764" y="58"/>
                  </a:lnTo>
                  <a:lnTo>
                    <a:pt x="764" y="60"/>
                  </a:lnTo>
                  <a:lnTo>
                    <a:pt x="766" y="58"/>
                  </a:lnTo>
                  <a:lnTo>
                    <a:pt x="766" y="56"/>
                  </a:lnTo>
                  <a:lnTo>
                    <a:pt x="766" y="54"/>
                  </a:lnTo>
                  <a:lnTo>
                    <a:pt x="764" y="52"/>
                  </a:lnTo>
                  <a:lnTo>
                    <a:pt x="758" y="48"/>
                  </a:lnTo>
                  <a:lnTo>
                    <a:pt x="756" y="48"/>
                  </a:lnTo>
                  <a:lnTo>
                    <a:pt x="754" y="48"/>
                  </a:lnTo>
                  <a:lnTo>
                    <a:pt x="750" y="46"/>
                  </a:lnTo>
                  <a:lnTo>
                    <a:pt x="748" y="40"/>
                  </a:lnTo>
                  <a:lnTo>
                    <a:pt x="752" y="36"/>
                  </a:lnTo>
                  <a:lnTo>
                    <a:pt x="752" y="38"/>
                  </a:lnTo>
                  <a:lnTo>
                    <a:pt x="756" y="42"/>
                  </a:lnTo>
                  <a:lnTo>
                    <a:pt x="760" y="44"/>
                  </a:lnTo>
                  <a:lnTo>
                    <a:pt x="760" y="42"/>
                  </a:lnTo>
                  <a:lnTo>
                    <a:pt x="758" y="36"/>
                  </a:lnTo>
                  <a:lnTo>
                    <a:pt x="756" y="30"/>
                  </a:lnTo>
                  <a:lnTo>
                    <a:pt x="756" y="28"/>
                  </a:lnTo>
                  <a:lnTo>
                    <a:pt x="758" y="26"/>
                  </a:lnTo>
                  <a:lnTo>
                    <a:pt x="760" y="26"/>
                  </a:lnTo>
                  <a:lnTo>
                    <a:pt x="762" y="26"/>
                  </a:lnTo>
                  <a:lnTo>
                    <a:pt x="766" y="30"/>
                  </a:lnTo>
                  <a:lnTo>
                    <a:pt x="766" y="32"/>
                  </a:lnTo>
                  <a:lnTo>
                    <a:pt x="770" y="30"/>
                  </a:lnTo>
                  <a:lnTo>
                    <a:pt x="770" y="28"/>
                  </a:lnTo>
                  <a:lnTo>
                    <a:pt x="768" y="26"/>
                  </a:lnTo>
                  <a:lnTo>
                    <a:pt x="770" y="24"/>
                  </a:lnTo>
                  <a:lnTo>
                    <a:pt x="770" y="26"/>
                  </a:lnTo>
                  <a:lnTo>
                    <a:pt x="772" y="26"/>
                  </a:lnTo>
                  <a:lnTo>
                    <a:pt x="774" y="30"/>
                  </a:lnTo>
                  <a:lnTo>
                    <a:pt x="778" y="32"/>
                  </a:lnTo>
                  <a:lnTo>
                    <a:pt x="778" y="34"/>
                  </a:lnTo>
                  <a:lnTo>
                    <a:pt x="778" y="36"/>
                  </a:lnTo>
                  <a:lnTo>
                    <a:pt x="780" y="38"/>
                  </a:lnTo>
                  <a:lnTo>
                    <a:pt x="782" y="38"/>
                  </a:lnTo>
                  <a:lnTo>
                    <a:pt x="782" y="32"/>
                  </a:lnTo>
                  <a:lnTo>
                    <a:pt x="782" y="28"/>
                  </a:lnTo>
                  <a:lnTo>
                    <a:pt x="780" y="28"/>
                  </a:lnTo>
                  <a:lnTo>
                    <a:pt x="780" y="24"/>
                  </a:lnTo>
                  <a:lnTo>
                    <a:pt x="782" y="24"/>
                  </a:lnTo>
                  <a:lnTo>
                    <a:pt x="784" y="24"/>
                  </a:lnTo>
                  <a:lnTo>
                    <a:pt x="786" y="28"/>
                  </a:lnTo>
                  <a:lnTo>
                    <a:pt x="790" y="30"/>
                  </a:lnTo>
                  <a:lnTo>
                    <a:pt x="796" y="28"/>
                  </a:lnTo>
                  <a:lnTo>
                    <a:pt x="798" y="28"/>
                  </a:lnTo>
                  <a:lnTo>
                    <a:pt x="798" y="30"/>
                  </a:lnTo>
                  <a:lnTo>
                    <a:pt x="798" y="34"/>
                  </a:lnTo>
                  <a:lnTo>
                    <a:pt x="796" y="36"/>
                  </a:lnTo>
                  <a:lnTo>
                    <a:pt x="794" y="40"/>
                  </a:lnTo>
                  <a:lnTo>
                    <a:pt x="792" y="44"/>
                  </a:lnTo>
                  <a:lnTo>
                    <a:pt x="790" y="50"/>
                  </a:lnTo>
                  <a:lnTo>
                    <a:pt x="786" y="56"/>
                  </a:lnTo>
                  <a:lnTo>
                    <a:pt x="782" y="62"/>
                  </a:lnTo>
                  <a:lnTo>
                    <a:pt x="778" y="66"/>
                  </a:lnTo>
                  <a:lnTo>
                    <a:pt x="780" y="66"/>
                  </a:lnTo>
                  <a:lnTo>
                    <a:pt x="782" y="66"/>
                  </a:lnTo>
                  <a:lnTo>
                    <a:pt x="784" y="68"/>
                  </a:lnTo>
                  <a:lnTo>
                    <a:pt x="786" y="74"/>
                  </a:lnTo>
                  <a:lnTo>
                    <a:pt x="786" y="76"/>
                  </a:lnTo>
                  <a:lnTo>
                    <a:pt x="786" y="78"/>
                  </a:lnTo>
                  <a:lnTo>
                    <a:pt x="784" y="76"/>
                  </a:lnTo>
                  <a:lnTo>
                    <a:pt x="782" y="78"/>
                  </a:lnTo>
                  <a:lnTo>
                    <a:pt x="782" y="80"/>
                  </a:lnTo>
                  <a:lnTo>
                    <a:pt x="782" y="84"/>
                  </a:lnTo>
                  <a:lnTo>
                    <a:pt x="784" y="88"/>
                  </a:lnTo>
                  <a:lnTo>
                    <a:pt x="780" y="92"/>
                  </a:lnTo>
                  <a:lnTo>
                    <a:pt x="780" y="96"/>
                  </a:lnTo>
                  <a:lnTo>
                    <a:pt x="780" y="100"/>
                  </a:lnTo>
                  <a:lnTo>
                    <a:pt x="780" y="106"/>
                  </a:lnTo>
                  <a:lnTo>
                    <a:pt x="782" y="108"/>
                  </a:lnTo>
                  <a:lnTo>
                    <a:pt x="784" y="108"/>
                  </a:lnTo>
                  <a:lnTo>
                    <a:pt x="784" y="106"/>
                  </a:lnTo>
                  <a:lnTo>
                    <a:pt x="782" y="102"/>
                  </a:lnTo>
                  <a:lnTo>
                    <a:pt x="784" y="100"/>
                  </a:lnTo>
                  <a:lnTo>
                    <a:pt x="784" y="102"/>
                  </a:lnTo>
                  <a:lnTo>
                    <a:pt x="786" y="104"/>
                  </a:lnTo>
                  <a:lnTo>
                    <a:pt x="786" y="106"/>
                  </a:lnTo>
                  <a:lnTo>
                    <a:pt x="790" y="104"/>
                  </a:lnTo>
                  <a:lnTo>
                    <a:pt x="790" y="102"/>
                  </a:lnTo>
                  <a:lnTo>
                    <a:pt x="794" y="94"/>
                  </a:lnTo>
                  <a:lnTo>
                    <a:pt x="796" y="86"/>
                  </a:lnTo>
                  <a:lnTo>
                    <a:pt x="796" y="84"/>
                  </a:lnTo>
                  <a:lnTo>
                    <a:pt x="794" y="82"/>
                  </a:lnTo>
                  <a:lnTo>
                    <a:pt x="792" y="82"/>
                  </a:lnTo>
                  <a:lnTo>
                    <a:pt x="792" y="80"/>
                  </a:lnTo>
                  <a:lnTo>
                    <a:pt x="794" y="78"/>
                  </a:lnTo>
                  <a:lnTo>
                    <a:pt x="796" y="74"/>
                  </a:lnTo>
                  <a:lnTo>
                    <a:pt x="800" y="62"/>
                  </a:lnTo>
                  <a:lnTo>
                    <a:pt x="804" y="56"/>
                  </a:lnTo>
                  <a:lnTo>
                    <a:pt x="806" y="52"/>
                  </a:lnTo>
                  <a:lnTo>
                    <a:pt x="806" y="50"/>
                  </a:lnTo>
                  <a:lnTo>
                    <a:pt x="810" y="36"/>
                  </a:lnTo>
                  <a:lnTo>
                    <a:pt x="812" y="30"/>
                  </a:lnTo>
                  <a:lnTo>
                    <a:pt x="812" y="28"/>
                  </a:lnTo>
                  <a:lnTo>
                    <a:pt x="816" y="22"/>
                  </a:lnTo>
                  <a:lnTo>
                    <a:pt x="816" y="20"/>
                  </a:lnTo>
                  <a:lnTo>
                    <a:pt x="818" y="20"/>
                  </a:lnTo>
                  <a:lnTo>
                    <a:pt x="820" y="18"/>
                  </a:lnTo>
                  <a:lnTo>
                    <a:pt x="822" y="20"/>
                  </a:lnTo>
                  <a:lnTo>
                    <a:pt x="824" y="24"/>
                  </a:lnTo>
                  <a:lnTo>
                    <a:pt x="824" y="38"/>
                  </a:lnTo>
                  <a:lnTo>
                    <a:pt x="824" y="40"/>
                  </a:lnTo>
                  <a:lnTo>
                    <a:pt x="824" y="42"/>
                  </a:lnTo>
                  <a:lnTo>
                    <a:pt x="822" y="44"/>
                  </a:lnTo>
                  <a:lnTo>
                    <a:pt x="820" y="44"/>
                  </a:lnTo>
                  <a:lnTo>
                    <a:pt x="816" y="48"/>
                  </a:lnTo>
                  <a:lnTo>
                    <a:pt x="818" y="48"/>
                  </a:lnTo>
                  <a:lnTo>
                    <a:pt x="820" y="48"/>
                  </a:lnTo>
                  <a:lnTo>
                    <a:pt x="820" y="46"/>
                  </a:lnTo>
                  <a:lnTo>
                    <a:pt x="822" y="46"/>
                  </a:lnTo>
                  <a:lnTo>
                    <a:pt x="826" y="48"/>
                  </a:lnTo>
                  <a:lnTo>
                    <a:pt x="826" y="56"/>
                  </a:lnTo>
                  <a:lnTo>
                    <a:pt x="824" y="60"/>
                  </a:lnTo>
                  <a:lnTo>
                    <a:pt x="824" y="66"/>
                  </a:lnTo>
                  <a:lnTo>
                    <a:pt x="826" y="74"/>
                  </a:lnTo>
                  <a:lnTo>
                    <a:pt x="828" y="74"/>
                  </a:lnTo>
                  <a:lnTo>
                    <a:pt x="828" y="72"/>
                  </a:lnTo>
                  <a:lnTo>
                    <a:pt x="832" y="66"/>
                  </a:lnTo>
                  <a:lnTo>
                    <a:pt x="834" y="64"/>
                  </a:lnTo>
                  <a:lnTo>
                    <a:pt x="832" y="62"/>
                  </a:lnTo>
                  <a:lnTo>
                    <a:pt x="834" y="60"/>
                  </a:lnTo>
                  <a:lnTo>
                    <a:pt x="836" y="60"/>
                  </a:lnTo>
                  <a:lnTo>
                    <a:pt x="838" y="62"/>
                  </a:lnTo>
                  <a:lnTo>
                    <a:pt x="840" y="60"/>
                  </a:lnTo>
                  <a:lnTo>
                    <a:pt x="838" y="56"/>
                  </a:lnTo>
                  <a:lnTo>
                    <a:pt x="836" y="52"/>
                  </a:lnTo>
                  <a:lnTo>
                    <a:pt x="838" y="50"/>
                  </a:lnTo>
                  <a:lnTo>
                    <a:pt x="838" y="48"/>
                  </a:lnTo>
                  <a:lnTo>
                    <a:pt x="840" y="48"/>
                  </a:lnTo>
                  <a:lnTo>
                    <a:pt x="844" y="48"/>
                  </a:lnTo>
                  <a:lnTo>
                    <a:pt x="846" y="48"/>
                  </a:lnTo>
                  <a:lnTo>
                    <a:pt x="844" y="48"/>
                  </a:lnTo>
                  <a:lnTo>
                    <a:pt x="840" y="46"/>
                  </a:lnTo>
                  <a:lnTo>
                    <a:pt x="838" y="38"/>
                  </a:lnTo>
                  <a:lnTo>
                    <a:pt x="838" y="36"/>
                  </a:lnTo>
                  <a:lnTo>
                    <a:pt x="842" y="34"/>
                  </a:lnTo>
                  <a:lnTo>
                    <a:pt x="842" y="32"/>
                  </a:lnTo>
                  <a:lnTo>
                    <a:pt x="842" y="28"/>
                  </a:lnTo>
                  <a:lnTo>
                    <a:pt x="844" y="26"/>
                  </a:lnTo>
                  <a:lnTo>
                    <a:pt x="846" y="28"/>
                  </a:lnTo>
                  <a:lnTo>
                    <a:pt x="848" y="28"/>
                  </a:lnTo>
                  <a:lnTo>
                    <a:pt x="850" y="28"/>
                  </a:lnTo>
                  <a:lnTo>
                    <a:pt x="848" y="22"/>
                  </a:lnTo>
                  <a:lnTo>
                    <a:pt x="846" y="22"/>
                  </a:lnTo>
                  <a:lnTo>
                    <a:pt x="844" y="22"/>
                  </a:lnTo>
                  <a:lnTo>
                    <a:pt x="842" y="22"/>
                  </a:lnTo>
                  <a:lnTo>
                    <a:pt x="840" y="22"/>
                  </a:lnTo>
                  <a:lnTo>
                    <a:pt x="838" y="22"/>
                  </a:lnTo>
                  <a:lnTo>
                    <a:pt x="836" y="20"/>
                  </a:lnTo>
                  <a:lnTo>
                    <a:pt x="834" y="16"/>
                  </a:lnTo>
                  <a:lnTo>
                    <a:pt x="836" y="10"/>
                  </a:lnTo>
                  <a:lnTo>
                    <a:pt x="838" y="8"/>
                  </a:lnTo>
                  <a:lnTo>
                    <a:pt x="844" y="10"/>
                  </a:lnTo>
                  <a:lnTo>
                    <a:pt x="844" y="4"/>
                  </a:lnTo>
                  <a:lnTo>
                    <a:pt x="844" y="2"/>
                  </a:lnTo>
                  <a:lnTo>
                    <a:pt x="848" y="0"/>
                  </a:lnTo>
                  <a:lnTo>
                    <a:pt x="850" y="0"/>
                  </a:lnTo>
                  <a:lnTo>
                    <a:pt x="852" y="4"/>
                  </a:lnTo>
                  <a:lnTo>
                    <a:pt x="856" y="4"/>
                  </a:lnTo>
                  <a:lnTo>
                    <a:pt x="858" y="4"/>
                  </a:lnTo>
                  <a:lnTo>
                    <a:pt x="860" y="2"/>
                  </a:lnTo>
                  <a:lnTo>
                    <a:pt x="860" y="0"/>
                  </a:lnTo>
                  <a:lnTo>
                    <a:pt x="864" y="0"/>
                  </a:lnTo>
                  <a:lnTo>
                    <a:pt x="866" y="0"/>
                  </a:lnTo>
                  <a:lnTo>
                    <a:pt x="868" y="2"/>
                  </a:lnTo>
                  <a:lnTo>
                    <a:pt x="870" y="4"/>
                  </a:lnTo>
                  <a:lnTo>
                    <a:pt x="872" y="4"/>
                  </a:lnTo>
                  <a:lnTo>
                    <a:pt x="874" y="6"/>
                  </a:lnTo>
                  <a:lnTo>
                    <a:pt x="876" y="6"/>
                  </a:lnTo>
                  <a:lnTo>
                    <a:pt x="878" y="10"/>
                  </a:lnTo>
                  <a:lnTo>
                    <a:pt x="878" y="12"/>
                  </a:lnTo>
                  <a:lnTo>
                    <a:pt x="876" y="18"/>
                  </a:lnTo>
                  <a:lnTo>
                    <a:pt x="874" y="20"/>
                  </a:lnTo>
                  <a:lnTo>
                    <a:pt x="872" y="24"/>
                  </a:lnTo>
                  <a:lnTo>
                    <a:pt x="872" y="26"/>
                  </a:lnTo>
                  <a:lnTo>
                    <a:pt x="868" y="26"/>
                  </a:lnTo>
                  <a:lnTo>
                    <a:pt x="864" y="26"/>
                  </a:lnTo>
                  <a:lnTo>
                    <a:pt x="858" y="28"/>
                  </a:lnTo>
                  <a:lnTo>
                    <a:pt x="856" y="28"/>
                  </a:lnTo>
                  <a:lnTo>
                    <a:pt x="860" y="28"/>
                  </a:lnTo>
                  <a:lnTo>
                    <a:pt x="862" y="28"/>
                  </a:lnTo>
                  <a:lnTo>
                    <a:pt x="868" y="30"/>
                  </a:lnTo>
                  <a:lnTo>
                    <a:pt x="868" y="34"/>
                  </a:lnTo>
                  <a:lnTo>
                    <a:pt x="862" y="40"/>
                  </a:lnTo>
                  <a:lnTo>
                    <a:pt x="856" y="44"/>
                  </a:lnTo>
                  <a:lnTo>
                    <a:pt x="858" y="44"/>
                  </a:lnTo>
                  <a:lnTo>
                    <a:pt x="860" y="44"/>
                  </a:lnTo>
                  <a:lnTo>
                    <a:pt x="862" y="42"/>
                  </a:lnTo>
                  <a:lnTo>
                    <a:pt x="870" y="36"/>
                  </a:lnTo>
                  <a:lnTo>
                    <a:pt x="872" y="36"/>
                  </a:lnTo>
                  <a:lnTo>
                    <a:pt x="872" y="34"/>
                  </a:lnTo>
                  <a:lnTo>
                    <a:pt x="874" y="32"/>
                  </a:lnTo>
                  <a:lnTo>
                    <a:pt x="876" y="34"/>
                  </a:lnTo>
                  <a:lnTo>
                    <a:pt x="876" y="36"/>
                  </a:lnTo>
                  <a:lnTo>
                    <a:pt x="874" y="40"/>
                  </a:lnTo>
                  <a:lnTo>
                    <a:pt x="874" y="42"/>
                  </a:lnTo>
                  <a:lnTo>
                    <a:pt x="872" y="44"/>
                  </a:lnTo>
                  <a:lnTo>
                    <a:pt x="868" y="50"/>
                  </a:lnTo>
                  <a:lnTo>
                    <a:pt x="868" y="52"/>
                  </a:lnTo>
                  <a:lnTo>
                    <a:pt x="866" y="54"/>
                  </a:lnTo>
                  <a:lnTo>
                    <a:pt x="866" y="58"/>
                  </a:lnTo>
                  <a:lnTo>
                    <a:pt x="868" y="58"/>
                  </a:lnTo>
                  <a:lnTo>
                    <a:pt x="868" y="54"/>
                  </a:lnTo>
                  <a:lnTo>
                    <a:pt x="872" y="52"/>
                  </a:lnTo>
                  <a:lnTo>
                    <a:pt x="874" y="52"/>
                  </a:lnTo>
                  <a:lnTo>
                    <a:pt x="876" y="52"/>
                  </a:lnTo>
                  <a:lnTo>
                    <a:pt x="874" y="52"/>
                  </a:lnTo>
                  <a:lnTo>
                    <a:pt x="874" y="54"/>
                  </a:lnTo>
                  <a:lnTo>
                    <a:pt x="872" y="54"/>
                  </a:lnTo>
                  <a:lnTo>
                    <a:pt x="872" y="56"/>
                  </a:lnTo>
                  <a:lnTo>
                    <a:pt x="874" y="56"/>
                  </a:lnTo>
                  <a:lnTo>
                    <a:pt x="876" y="56"/>
                  </a:lnTo>
                  <a:lnTo>
                    <a:pt x="876" y="54"/>
                  </a:lnTo>
                  <a:lnTo>
                    <a:pt x="876" y="50"/>
                  </a:lnTo>
                  <a:lnTo>
                    <a:pt x="880" y="50"/>
                  </a:lnTo>
                  <a:lnTo>
                    <a:pt x="880" y="52"/>
                  </a:lnTo>
                  <a:lnTo>
                    <a:pt x="878" y="56"/>
                  </a:lnTo>
                  <a:lnTo>
                    <a:pt x="878" y="60"/>
                  </a:lnTo>
                  <a:lnTo>
                    <a:pt x="876" y="62"/>
                  </a:lnTo>
                  <a:lnTo>
                    <a:pt x="876" y="64"/>
                  </a:lnTo>
                  <a:lnTo>
                    <a:pt x="880" y="76"/>
                  </a:lnTo>
                  <a:lnTo>
                    <a:pt x="880" y="78"/>
                  </a:lnTo>
                  <a:lnTo>
                    <a:pt x="882" y="82"/>
                  </a:lnTo>
                  <a:lnTo>
                    <a:pt x="882" y="86"/>
                  </a:lnTo>
                  <a:lnTo>
                    <a:pt x="880" y="86"/>
                  </a:lnTo>
                  <a:lnTo>
                    <a:pt x="880" y="88"/>
                  </a:lnTo>
                  <a:lnTo>
                    <a:pt x="880" y="90"/>
                  </a:lnTo>
                  <a:lnTo>
                    <a:pt x="880" y="92"/>
                  </a:lnTo>
                  <a:lnTo>
                    <a:pt x="880" y="90"/>
                  </a:lnTo>
                  <a:lnTo>
                    <a:pt x="882" y="90"/>
                  </a:lnTo>
                  <a:lnTo>
                    <a:pt x="882" y="88"/>
                  </a:lnTo>
                  <a:lnTo>
                    <a:pt x="882" y="84"/>
                  </a:lnTo>
                  <a:lnTo>
                    <a:pt x="884" y="82"/>
                  </a:lnTo>
                  <a:lnTo>
                    <a:pt x="882" y="80"/>
                  </a:lnTo>
                  <a:lnTo>
                    <a:pt x="882" y="78"/>
                  </a:lnTo>
                  <a:lnTo>
                    <a:pt x="880" y="70"/>
                  </a:lnTo>
                  <a:lnTo>
                    <a:pt x="878" y="60"/>
                  </a:lnTo>
                  <a:lnTo>
                    <a:pt x="880" y="52"/>
                  </a:lnTo>
                  <a:lnTo>
                    <a:pt x="882" y="38"/>
                  </a:lnTo>
                  <a:lnTo>
                    <a:pt x="882" y="34"/>
                  </a:lnTo>
                  <a:lnTo>
                    <a:pt x="882" y="30"/>
                  </a:lnTo>
                  <a:lnTo>
                    <a:pt x="882" y="28"/>
                  </a:lnTo>
                  <a:lnTo>
                    <a:pt x="886" y="16"/>
                  </a:lnTo>
                  <a:lnTo>
                    <a:pt x="888" y="14"/>
                  </a:lnTo>
                  <a:lnTo>
                    <a:pt x="888" y="12"/>
                  </a:lnTo>
                  <a:lnTo>
                    <a:pt x="890" y="12"/>
                  </a:lnTo>
                  <a:lnTo>
                    <a:pt x="892" y="12"/>
                  </a:lnTo>
                  <a:lnTo>
                    <a:pt x="894" y="12"/>
                  </a:lnTo>
                  <a:lnTo>
                    <a:pt x="902" y="14"/>
                  </a:lnTo>
                  <a:lnTo>
                    <a:pt x="904" y="18"/>
                  </a:lnTo>
                  <a:lnTo>
                    <a:pt x="908" y="28"/>
                  </a:lnTo>
                  <a:lnTo>
                    <a:pt x="908" y="30"/>
                  </a:lnTo>
                  <a:lnTo>
                    <a:pt x="914" y="24"/>
                  </a:lnTo>
                  <a:lnTo>
                    <a:pt x="916" y="22"/>
                  </a:lnTo>
                  <a:lnTo>
                    <a:pt x="916" y="20"/>
                  </a:lnTo>
                  <a:lnTo>
                    <a:pt x="920" y="20"/>
                  </a:lnTo>
                  <a:lnTo>
                    <a:pt x="920" y="24"/>
                  </a:lnTo>
                  <a:lnTo>
                    <a:pt x="922" y="24"/>
                  </a:lnTo>
                  <a:lnTo>
                    <a:pt x="920" y="28"/>
                  </a:lnTo>
                  <a:lnTo>
                    <a:pt x="920" y="30"/>
                  </a:lnTo>
                  <a:lnTo>
                    <a:pt x="922" y="30"/>
                  </a:lnTo>
                  <a:lnTo>
                    <a:pt x="924" y="28"/>
                  </a:lnTo>
                  <a:lnTo>
                    <a:pt x="926" y="22"/>
                  </a:lnTo>
                  <a:lnTo>
                    <a:pt x="926" y="20"/>
                  </a:lnTo>
                  <a:lnTo>
                    <a:pt x="930" y="20"/>
                  </a:lnTo>
                  <a:lnTo>
                    <a:pt x="934" y="22"/>
                  </a:lnTo>
                  <a:lnTo>
                    <a:pt x="940" y="28"/>
                  </a:lnTo>
                  <a:lnTo>
                    <a:pt x="938" y="32"/>
                  </a:lnTo>
                  <a:lnTo>
                    <a:pt x="938" y="34"/>
                  </a:lnTo>
                  <a:lnTo>
                    <a:pt x="932" y="36"/>
                  </a:lnTo>
                  <a:lnTo>
                    <a:pt x="930" y="36"/>
                  </a:lnTo>
                  <a:lnTo>
                    <a:pt x="932" y="38"/>
                  </a:lnTo>
                  <a:lnTo>
                    <a:pt x="936" y="38"/>
                  </a:lnTo>
                  <a:lnTo>
                    <a:pt x="938" y="36"/>
                  </a:lnTo>
                  <a:lnTo>
                    <a:pt x="940" y="36"/>
                  </a:lnTo>
                  <a:lnTo>
                    <a:pt x="940" y="34"/>
                  </a:lnTo>
                  <a:lnTo>
                    <a:pt x="942" y="34"/>
                  </a:lnTo>
                  <a:lnTo>
                    <a:pt x="942" y="32"/>
                  </a:lnTo>
                  <a:lnTo>
                    <a:pt x="944" y="32"/>
                  </a:lnTo>
                  <a:lnTo>
                    <a:pt x="946" y="32"/>
                  </a:lnTo>
                  <a:lnTo>
                    <a:pt x="950" y="32"/>
                  </a:lnTo>
                  <a:lnTo>
                    <a:pt x="952" y="36"/>
                  </a:lnTo>
                  <a:lnTo>
                    <a:pt x="960" y="40"/>
                  </a:lnTo>
                  <a:lnTo>
                    <a:pt x="962" y="38"/>
                  </a:lnTo>
                  <a:lnTo>
                    <a:pt x="966" y="42"/>
                  </a:lnTo>
                  <a:lnTo>
                    <a:pt x="968" y="46"/>
                  </a:lnTo>
                  <a:lnTo>
                    <a:pt x="970" y="52"/>
                  </a:lnTo>
                  <a:lnTo>
                    <a:pt x="966" y="56"/>
                  </a:lnTo>
                  <a:lnTo>
                    <a:pt x="964" y="56"/>
                  </a:lnTo>
                  <a:lnTo>
                    <a:pt x="960" y="56"/>
                  </a:lnTo>
                  <a:lnTo>
                    <a:pt x="954" y="60"/>
                  </a:lnTo>
                  <a:lnTo>
                    <a:pt x="950" y="68"/>
                  </a:lnTo>
                  <a:lnTo>
                    <a:pt x="952" y="68"/>
                  </a:lnTo>
                  <a:lnTo>
                    <a:pt x="950" y="72"/>
                  </a:lnTo>
                  <a:lnTo>
                    <a:pt x="944" y="78"/>
                  </a:lnTo>
                  <a:lnTo>
                    <a:pt x="938" y="80"/>
                  </a:lnTo>
                  <a:lnTo>
                    <a:pt x="934" y="80"/>
                  </a:lnTo>
                  <a:lnTo>
                    <a:pt x="926" y="80"/>
                  </a:lnTo>
                  <a:lnTo>
                    <a:pt x="918" y="80"/>
                  </a:lnTo>
                  <a:lnTo>
                    <a:pt x="910" y="80"/>
                  </a:lnTo>
                  <a:lnTo>
                    <a:pt x="902" y="78"/>
                  </a:lnTo>
                  <a:lnTo>
                    <a:pt x="900" y="78"/>
                  </a:lnTo>
                  <a:lnTo>
                    <a:pt x="898" y="78"/>
                  </a:lnTo>
                  <a:lnTo>
                    <a:pt x="896" y="78"/>
                  </a:lnTo>
                  <a:lnTo>
                    <a:pt x="894" y="80"/>
                  </a:lnTo>
                  <a:lnTo>
                    <a:pt x="898" y="80"/>
                  </a:lnTo>
                  <a:lnTo>
                    <a:pt x="898" y="78"/>
                  </a:lnTo>
                  <a:lnTo>
                    <a:pt x="900" y="78"/>
                  </a:lnTo>
                  <a:lnTo>
                    <a:pt x="898" y="82"/>
                  </a:lnTo>
                  <a:lnTo>
                    <a:pt x="896" y="84"/>
                  </a:lnTo>
                  <a:lnTo>
                    <a:pt x="904" y="86"/>
                  </a:lnTo>
                  <a:lnTo>
                    <a:pt x="910" y="86"/>
                  </a:lnTo>
                  <a:lnTo>
                    <a:pt x="918" y="88"/>
                  </a:lnTo>
                  <a:lnTo>
                    <a:pt x="924" y="88"/>
                  </a:lnTo>
                  <a:lnTo>
                    <a:pt x="928" y="90"/>
                  </a:lnTo>
                  <a:lnTo>
                    <a:pt x="932" y="90"/>
                  </a:lnTo>
                  <a:lnTo>
                    <a:pt x="930" y="94"/>
                  </a:lnTo>
                  <a:lnTo>
                    <a:pt x="928" y="96"/>
                  </a:lnTo>
                  <a:lnTo>
                    <a:pt x="926" y="98"/>
                  </a:lnTo>
                  <a:lnTo>
                    <a:pt x="926" y="102"/>
                  </a:lnTo>
                  <a:lnTo>
                    <a:pt x="928" y="102"/>
                  </a:lnTo>
                  <a:lnTo>
                    <a:pt x="928" y="98"/>
                  </a:lnTo>
                  <a:lnTo>
                    <a:pt x="930" y="96"/>
                  </a:lnTo>
                  <a:lnTo>
                    <a:pt x="936" y="94"/>
                  </a:lnTo>
                  <a:lnTo>
                    <a:pt x="938" y="102"/>
                  </a:lnTo>
                  <a:lnTo>
                    <a:pt x="938" y="104"/>
                  </a:lnTo>
                  <a:lnTo>
                    <a:pt x="938" y="106"/>
                  </a:lnTo>
                  <a:lnTo>
                    <a:pt x="936" y="108"/>
                  </a:lnTo>
                  <a:lnTo>
                    <a:pt x="934" y="118"/>
                  </a:lnTo>
                  <a:lnTo>
                    <a:pt x="934" y="116"/>
                  </a:lnTo>
                  <a:lnTo>
                    <a:pt x="936" y="114"/>
                  </a:lnTo>
                  <a:lnTo>
                    <a:pt x="938" y="110"/>
                  </a:lnTo>
                  <a:lnTo>
                    <a:pt x="946" y="106"/>
                  </a:lnTo>
                  <a:lnTo>
                    <a:pt x="950" y="108"/>
                  </a:lnTo>
                  <a:lnTo>
                    <a:pt x="954" y="112"/>
                  </a:lnTo>
                  <a:lnTo>
                    <a:pt x="954" y="110"/>
                  </a:lnTo>
                  <a:lnTo>
                    <a:pt x="954" y="108"/>
                  </a:lnTo>
                  <a:lnTo>
                    <a:pt x="952" y="106"/>
                  </a:lnTo>
                  <a:lnTo>
                    <a:pt x="954" y="104"/>
                  </a:lnTo>
                  <a:lnTo>
                    <a:pt x="952" y="102"/>
                  </a:lnTo>
                  <a:lnTo>
                    <a:pt x="950" y="98"/>
                  </a:lnTo>
                  <a:lnTo>
                    <a:pt x="950" y="94"/>
                  </a:lnTo>
                  <a:lnTo>
                    <a:pt x="954" y="94"/>
                  </a:lnTo>
                  <a:lnTo>
                    <a:pt x="956" y="94"/>
                  </a:lnTo>
                  <a:lnTo>
                    <a:pt x="960" y="98"/>
                  </a:lnTo>
                  <a:lnTo>
                    <a:pt x="962" y="102"/>
                  </a:lnTo>
                  <a:lnTo>
                    <a:pt x="962" y="106"/>
                  </a:lnTo>
                  <a:lnTo>
                    <a:pt x="962" y="110"/>
                  </a:lnTo>
                  <a:lnTo>
                    <a:pt x="962" y="112"/>
                  </a:lnTo>
                  <a:lnTo>
                    <a:pt x="964" y="112"/>
                  </a:lnTo>
                  <a:lnTo>
                    <a:pt x="964" y="110"/>
                  </a:lnTo>
                  <a:lnTo>
                    <a:pt x="964" y="104"/>
                  </a:lnTo>
                  <a:lnTo>
                    <a:pt x="962" y="102"/>
                  </a:lnTo>
                  <a:lnTo>
                    <a:pt x="962" y="98"/>
                  </a:lnTo>
                  <a:lnTo>
                    <a:pt x="964" y="98"/>
                  </a:lnTo>
                  <a:lnTo>
                    <a:pt x="966" y="98"/>
                  </a:lnTo>
                  <a:lnTo>
                    <a:pt x="968" y="98"/>
                  </a:lnTo>
                  <a:lnTo>
                    <a:pt x="970" y="98"/>
                  </a:lnTo>
                  <a:lnTo>
                    <a:pt x="972" y="98"/>
                  </a:lnTo>
                  <a:lnTo>
                    <a:pt x="974" y="98"/>
                  </a:lnTo>
                  <a:lnTo>
                    <a:pt x="978" y="102"/>
                  </a:lnTo>
                  <a:lnTo>
                    <a:pt x="980" y="106"/>
                  </a:lnTo>
                  <a:lnTo>
                    <a:pt x="980" y="110"/>
                  </a:lnTo>
                  <a:lnTo>
                    <a:pt x="982" y="114"/>
                  </a:lnTo>
                  <a:lnTo>
                    <a:pt x="982" y="116"/>
                  </a:lnTo>
                  <a:lnTo>
                    <a:pt x="982" y="118"/>
                  </a:lnTo>
                  <a:lnTo>
                    <a:pt x="980" y="120"/>
                  </a:lnTo>
                  <a:lnTo>
                    <a:pt x="978" y="122"/>
                  </a:lnTo>
                  <a:lnTo>
                    <a:pt x="970" y="122"/>
                  </a:lnTo>
                  <a:lnTo>
                    <a:pt x="968" y="120"/>
                  </a:lnTo>
                  <a:lnTo>
                    <a:pt x="964" y="118"/>
                  </a:lnTo>
                  <a:lnTo>
                    <a:pt x="962" y="116"/>
                  </a:lnTo>
                  <a:lnTo>
                    <a:pt x="960" y="116"/>
                  </a:lnTo>
                  <a:lnTo>
                    <a:pt x="956" y="114"/>
                  </a:lnTo>
                  <a:lnTo>
                    <a:pt x="954" y="114"/>
                  </a:lnTo>
                  <a:lnTo>
                    <a:pt x="952" y="116"/>
                  </a:lnTo>
                  <a:lnTo>
                    <a:pt x="954" y="118"/>
                  </a:lnTo>
                  <a:lnTo>
                    <a:pt x="958" y="122"/>
                  </a:lnTo>
                  <a:lnTo>
                    <a:pt x="956" y="128"/>
                  </a:lnTo>
                  <a:lnTo>
                    <a:pt x="956" y="130"/>
                  </a:lnTo>
                  <a:lnTo>
                    <a:pt x="952" y="136"/>
                  </a:lnTo>
                  <a:lnTo>
                    <a:pt x="946" y="144"/>
                  </a:lnTo>
                  <a:lnTo>
                    <a:pt x="944" y="144"/>
                  </a:lnTo>
                  <a:lnTo>
                    <a:pt x="942" y="146"/>
                  </a:lnTo>
                  <a:lnTo>
                    <a:pt x="940" y="148"/>
                  </a:lnTo>
                  <a:lnTo>
                    <a:pt x="938" y="148"/>
                  </a:lnTo>
                  <a:lnTo>
                    <a:pt x="934" y="152"/>
                  </a:lnTo>
                  <a:lnTo>
                    <a:pt x="936" y="156"/>
                  </a:lnTo>
                  <a:lnTo>
                    <a:pt x="936" y="158"/>
                  </a:lnTo>
                  <a:lnTo>
                    <a:pt x="938" y="162"/>
                  </a:lnTo>
                  <a:lnTo>
                    <a:pt x="938" y="168"/>
                  </a:lnTo>
                  <a:lnTo>
                    <a:pt x="938" y="170"/>
                  </a:lnTo>
                  <a:lnTo>
                    <a:pt x="936" y="172"/>
                  </a:lnTo>
                  <a:lnTo>
                    <a:pt x="936" y="174"/>
                  </a:lnTo>
                  <a:lnTo>
                    <a:pt x="934" y="176"/>
                  </a:lnTo>
                  <a:lnTo>
                    <a:pt x="934" y="178"/>
                  </a:lnTo>
                  <a:lnTo>
                    <a:pt x="932" y="178"/>
                  </a:lnTo>
                  <a:lnTo>
                    <a:pt x="930" y="178"/>
                  </a:lnTo>
                  <a:lnTo>
                    <a:pt x="930" y="176"/>
                  </a:lnTo>
                  <a:lnTo>
                    <a:pt x="926" y="176"/>
                  </a:lnTo>
                  <a:lnTo>
                    <a:pt x="924" y="174"/>
                  </a:lnTo>
                  <a:lnTo>
                    <a:pt x="922" y="172"/>
                  </a:lnTo>
                  <a:lnTo>
                    <a:pt x="922" y="168"/>
                  </a:lnTo>
                  <a:lnTo>
                    <a:pt x="922" y="166"/>
                  </a:lnTo>
                  <a:lnTo>
                    <a:pt x="922" y="162"/>
                  </a:lnTo>
                  <a:lnTo>
                    <a:pt x="922" y="158"/>
                  </a:lnTo>
                  <a:lnTo>
                    <a:pt x="922" y="156"/>
                  </a:lnTo>
                  <a:lnTo>
                    <a:pt x="926" y="152"/>
                  </a:lnTo>
                  <a:lnTo>
                    <a:pt x="926" y="150"/>
                  </a:lnTo>
                  <a:lnTo>
                    <a:pt x="928" y="148"/>
                  </a:lnTo>
                  <a:lnTo>
                    <a:pt x="930" y="138"/>
                  </a:lnTo>
                  <a:lnTo>
                    <a:pt x="930" y="136"/>
                  </a:lnTo>
                  <a:lnTo>
                    <a:pt x="924" y="124"/>
                  </a:lnTo>
                  <a:lnTo>
                    <a:pt x="922" y="118"/>
                  </a:lnTo>
                  <a:lnTo>
                    <a:pt x="920" y="118"/>
                  </a:lnTo>
                  <a:lnTo>
                    <a:pt x="916" y="116"/>
                  </a:lnTo>
                  <a:lnTo>
                    <a:pt x="914" y="116"/>
                  </a:lnTo>
                  <a:lnTo>
                    <a:pt x="908" y="114"/>
                  </a:lnTo>
                  <a:lnTo>
                    <a:pt x="906" y="114"/>
                  </a:lnTo>
                  <a:lnTo>
                    <a:pt x="896" y="110"/>
                  </a:lnTo>
                  <a:lnTo>
                    <a:pt x="894" y="110"/>
                  </a:lnTo>
                  <a:lnTo>
                    <a:pt x="892" y="106"/>
                  </a:lnTo>
                  <a:lnTo>
                    <a:pt x="890" y="106"/>
                  </a:lnTo>
                  <a:lnTo>
                    <a:pt x="888" y="106"/>
                  </a:lnTo>
                  <a:lnTo>
                    <a:pt x="888" y="104"/>
                  </a:lnTo>
                  <a:lnTo>
                    <a:pt x="886" y="104"/>
                  </a:lnTo>
                  <a:lnTo>
                    <a:pt x="884" y="102"/>
                  </a:lnTo>
                  <a:lnTo>
                    <a:pt x="878" y="98"/>
                  </a:lnTo>
                  <a:lnTo>
                    <a:pt x="878" y="96"/>
                  </a:lnTo>
                  <a:lnTo>
                    <a:pt x="878" y="94"/>
                  </a:lnTo>
                  <a:lnTo>
                    <a:pt x="876" y="90"/>
                  </a:lnTo>
                  <a:lnTo>
                    <a:pt x="874" y="90"/>
                  </a:lnTo>
                  <a:lnTo>
                    <a:pt x="864" y="94"/>
                  </a:lnTo>
                  <a:lnTo>
                    <a:pt x="860" y="100"/>
                  </a:lnTo>
                  <a:lnTo>
                    <a:pt x="856" y="102"/>
                  </a:lnTo>
                  <a:lnTo>
                    <a:pt x="858" y="104"/>
                  </a:lnTo>
                  <a:lnTo>
                    <a:pt x="858" y="106"/>
                  </a:lnTo>
                  <a:lnTo>
                    <a:pt x="856" y="108"/>
                  </a:lnTo>
                  <a:lnTo>
                    <a:pt x="852" y="110"/>
                  </a:lnTo>
                  <a:lnTo>
                    <a:pt x="850" y="110"/>
                  </a:lnTo>
                  <a:lnTo>
                    <a:pt x="846" y="110"/>
                  </a:lnTo>
                  <a:lnTo>
                    <a:pt x="844" y="110"/>
                  </a:lnTo>
                  <a:lnTo>
                    <a:pt x="842" y="108"/>
                  </a:lnTo>
                  <a:lnTo>
                    <a:pt x="836" y="110"/>
                  </a:lnTo>
                  <a:lnTo>
                    <a:pt x="832" y="112"/>
                  </a:lnTo>
                  <a:lnTo>
                    <a:pt x="832" y="114"/>
                  </a:lnTo>
                  <a:lnTo>
                    <a:pt x="830" y="116"/>
                  </a:lnTo>
                  <a:lnTo>
                    <a:pt x="830" y="118"/>
                  </a:lnTo>
                  <a:lnTo>
                    <a:pt x="830" y="120"/>
                  </a:lnTo>
                  <a:lnTo>
                    <a:pt x="824" y="130"/>
                  </a:lnTo>
                  <a:lnTo>
                    <a:pt x="824" y="132"/>
                  </a:lnTo>
                  <a:lnTo>
                    <a:pt x="820" y="134"/>
                  </a:lnTo>
                  <a:lnTo>
                    <a:pt x="820" y="138"/>
                  </a:lnTo>
                  <a:lnTo>
                    <a:pt x="820" y="140"/>
                  </a:lnTo>
                  <a:lnTo>
                    <a:pt x="820" y="144"/>
                  </a:lnTo>
                  <a:lnTo>
                    <a:pt x="820" y="146"/>
                  </a:lnTo>
                  <a:lnTo>
                    <a:pt x="820" y="156"/>
                  </a:lnTo>
                  <a:lnTo>
                    <a:pt x="820" y="164"/>
                  </a:lnTo>
                  <a:lnTo>
                    <a:pt x="820" y="166"/>
                  </a:lnTo>
                  <a:lnTo>
                    <a:pt x="818" y="168"/>
                  </a:lnTo>
                  <a:lnTo>
                    <a:pt x="818" y="170"/>
                  </a:lnTo>
                  <a:lnTo>
                    <a:pt x="818" y="172"/>
                  </a:lnTo>
                  <a:lnTo>
                    <a:pt x="818" y="178"/>
                  </a:lnTo>
                  <a:lnTo>
                    <a:pt x="818" y="182"/>
                  </a:lnTo>
                  <a:lnTo>
                    <a:pt x="820" y="190"/>
                  </a:lnTo>
                  <a:lnTo>
                    <a:pt x="824" y="196"/>
                  </a:lnTo>
                  <a:lnTo>
                    <a:pt x="824" y="202"/>
                  </a:lnTo>
                  <a:lnTo>
                    <a:pt x="822" y="206"/>
                  </a:lnTo>
                  <a:lnTo>
                    <a:pt x="822" y="208"/>
                  </a:lnTo>
                  <a:lnTo>
                    <a:pt x="822" y="210"/>
                  </a:lnTo>
                  <a:lnTo>
                    <a:pt x="820" y="212"/>
                  </a:lnTo>
                  <a:lnTo>
                    <a:pt x="816" y="212"/>
                  </a:lnTo>
                  <a:lnTo>
                    <a:pt x="814" y="212"/>
                  </a:lnTo>
                  <a:lnTo>
                    <a:pt x="812" y="214"/>
                  </a:lnTo>
                  <a:lnTo>
                    <a:pt x="808" y="218"/>
                  </a:lnTo>
                  <a:lnTo>
                    <a:pt x="808" y="220"/>
                  </a:lnTo>
                  <a:lnTo>
                    <a:pt x="806" y="222"/>
                  </a:lnTo>
                  <a:lnTo>
                    <a:pt x="806" y="224"/>
                  </a:lnTo>
                  <a:lnTo>
                    <a:pt x="806" y="234"/>
                  </a:lnTo>
                  <a:lnTo>
                    <a:pt x="806" y="236"/>
                  </a:lnTo>
                  <a:lnTo>
                    <a:pt x="806" y="238"/>
                  </a:lnTo>
                  <a:lnTo>
                    <a:pt x="802" y="242"/>
                  </a:lnTo>
                  <a:lnTo>
                    <a:pt x="798" y="242"/>
                  </a:lnTo>
                  <a:lnTo>
                    <a:pt x="798" y="240"/>
                  </a:lnTo>
                  <a:lnTo>
                    <a:pt x="796" y="238"/>
                  </a:lnTo>
                  <a:lnTo>
                    <a:pt x="794" y="236"/>
                  </a:lnTo>
                  <a:lnTo>
                    <a:pt x="792" y="234"/>
                  </a:lnTo>
                  <a:lnTo>
                    <a:pt x="790" y="234"/>
                  </a:lnTo>
                  <a:lnTo>
                    <a:pt x="788" y="234"/>
                  </a:lnTo>
                  <a:lnTo>
                    <a:pt x="786" y="234"/>
                  </a:lnTo>
                  <a:lnTo>
                    <a:pt x="784" y="234"/>
                  </a:lnTo>
                  <a:lnTo>
                    <a:pt x="782" y="234"/>
                  </a:lnTo>
                  <a:lnTo>
                    <a:pt x="780" y="234"/>
                  </a:lnTo>
                  <a:lnTo>
                    <a:pt x="774" y="230"/>
                  </a:lnTo>
                  <a:lnTo>
                    <a:pt x="772" y="228"/>
                  </a:lnTo>
                  <a:lnTo>
                    <a:pt x="770" y="226"/>
                  </a:lnTo>
                  <a:lnTo>
                    <a:pt x="768" y="224"/>
                  </a:lnTo>
                  <a:lnTo>
                    <a:pt x="766" y="224"/>
                  </a:lnTo>
                  <a:lnTo>
                    <a:pt x="764" y="224"/>
                  </a:lnTo>
                  <a:lnTo>
                    <a:pt x="762" y="224"/>
                  </a:lnTo>
                  <a:lnTo>
                    <a:pt x="762" y="226"/>
                  </a:lnTo>
                  <a:lnTo>
                    <a:pt x="760" y="230"/>
                  </a:lnTo>
                  <a:lnTo>
                    <a:pt x="760" y="232"/>
                  </a:lnTo>
                  <a:lnTo>
                    <a:pt x="758" y="234"/>
                  </a:lnTo>
                  <a:lnTo>
                    <a:pt x="758" y="236"/>
                  </a:lnTo>
                  <a:lnTo>
                    <a:pt x="754" y="238"/>
                  </a:lnTo>
                  <a:lnTo>
                    <a:pt x="752" y="238"/>
                  </a:lnTo>
                  <a:lnTo>
                    <a:pt x="750" y="238"/>
                  </a:lnTo>
                  <a:lnTo>
                    <a:pt x="748" y="240"/>
                  </a:lnTo>
                  <a:lnTo>
                    <a:pt x="746" y="242"/>
                  </a:lnTo>
                  <a:lnTo>
                    <a:pt x="746" y="244"/>
                  </a:lnTo>
                  <a:lnTo>
                    <a:pt x="744" y="246"/>
                  </a:lnTo>
                  <a:lnTo>
                    <a:pt x="742" y="246"/>
                  </a:lnTo>
                  <a:lnTo>
                    <a:pt x="740" y="246"/>
                  </a:lnTo>
                  <a:lnTo>
                    <a:pt x="740" y="244"/>
                  </a:lnTo>
                  <a:lnTo>
                    <a:pt x="738" y="242"/>
                  </a:lnTo>
                  <a:lnTo>
                    <a:pt x="736" y="240"/>
                  </a:lnTo>
                  <a:lnTo>
                    <a:pt x="730" y="242"/>
                  </a:lnTo>
                  <a:lnTo>
                    <a:pt x="728" y="242"/>
                  </a:lnTo>
                  <a:lnTo>
                    <a:pt x="718" y="238"/>
                  </a:lnTo>
                  <a:lnTo>
                    <a:pt x="716" y="240"/>
                  </a:lnTo>
                  <a:lnTo>
                    <a:pt x="714" y="242"/>
                  </a:lnTo>
                  <a:lnTo>
                    <a:pt x="712" y="234"/>
                  </a:lnTo>
                  <a:lnTo>
                    <a:pt x="710" y="230"/>
                  </a:lnTo>
                  <a:lnTo>
                    <a:pt x="708" y="226"/>
                  </a:lnTo>
                  <a:lnTo>
                    <a:pt x="704" y="222"/>
                  </a:lnTo>
                  <a:lnTo>
                    <a:pt x="698" y="212"/>
                  </a:lnTo>
                  <a:lnTo>
                    <a:pt x="696" y="208"/>
                  </a:lnTo>
                  <a:lnTo>
                    <a:pt x="684" y="192"/>
                  </a:lnTo>
                  <a:lnTo>
                    <a:pt x="670" y="188"/>
                  </a:lnTo>
                  <a:lnTo>
                    <a:pt x="662" y="198"/>
                  </a:lnTo>
                  <a:lnTo>
                    <a:pt x="662" y="200"/>
                  </a:lnTo>
                  <a:lnTo>
                    <a:pt x="664" y="204"/>
                  </a:lnTo>
                  <a:lnTo>
                    <a:pt x="664" y="206"/>
                  </a:lnTo>
                  <a:lnTo>
                    <a:pt x="664" y="208"/>
                  </a:lnTo>
                  <a:lnTo>
                    <a:pt x="666" y="210"/>
                  </a:lnTo>
                  <a:lnTo>
                    <a:pt x="666" y="214"/>
                  </a:lnTo>
                  <a:lnTo>
                    <a:pt x="666" y="216"/>
                  </a:lnTo>
                  <a:lnTo>
                    <a:pt x="664" y="216"/>
                  </a:lnTo>
                  <a:lnTo>
                    <a:pt x="662" y="216"/>
                  </a:lnTo>
                  <a:lnTo>
                    <a:pt x="660" y="214"/>
                  </a:lnTo>
                  <a:lnTo>
                    <a:pt x="656" y="212"/>
                  </a:lnTo>
                  <a:lnTo>
                    <a:pt x="654" y="212"/>
                  </a:lnTo>
                  <a:lnTo>
                    <a:pt x="652" y="212"/>
                  </a:lnTo>
                  <a:lnTo>
                    <a:pt x="650" y="214"/>
                  </a:lnTo>
                  <a:lnTo>
                    <a:pt x="648" y="216"/>
                  </a:lnTo>
                  <a:lnTo>
                    <a:pt x="646" y="216"/>
                  </a:lnTo>
                  <a:lnTo>
                    <a:pt x="632" y="218"/>
                  </a:lnTo>
                  <a:lnTo>
                    <a:pt x="638" y="224"/>
                  </a:lnTo>
                  <a:lnTo>
                    <a:pt x="640" y="228"/>
                  </a:lnTo>
                  <a:lnTo>
                    <a:pt x="642" y="240"/>
                  </a:lnTo>
                  <a:lnTo>
                    <a:pt x="642" y="244"/>
                  </a:lnTo>
                  <a:lnTo>
                    <a:pt x="640" y="250"/>
                  </a:lnTo>
                  <a:lnTo>
                    <a:pt x="638" y="252"/>
                  </a:lnTo>
                  <a:lnTo>
                    <a:pt x="638" y="254"/>
                  </a:lnTo>
                  <a:lnTo>
                    <a:pt x="634" y="260"/>
                  </a:lnTo>
                  <a:lnTo>
                    <a:pt x="632" y="264"/>
                  </a:lnTo>
                  <a:lnTo>
                    <a:pt x="636" y="268"/>
                  </a:lnTo>
                  <a:lnTo>
                    <a:pt x="640" y="270"/>
                  </a:lnTo>
                  <a:lnTo>
                    <a:pt x="640" y="272"/>
                  </a:lnTo>
                  <a:lnTo>
                    <a:pt x="636" y="276"/>
                  </a:lnTo>
                  <a:lnTo>
                    <a:pt x="636" y="278"/>
                  </a:lnTo>
                  <a:lnTo>
                    <a:pt x="634" y="278"/>
                  </a:lnTo>
                  <a:lnTo>
                    <a:pt x="634" y="282"/>
                  </a:lnTo>
                  <a:lnTo>
                    <a:pt x="632" y="282"/>
                  </a:lnTo>
                  <a:lnTo>
                    <a:pt x="632" y="284"/>
                  </a:lnTo>
                  <a:lnTo>
                    <a:pt x="630" y="284"/>
                  </a:lnTo>
                  <a:lnTo>
                    <a:pt x="630" y="282"/>
                  </a:lnTo>
                  <a:lnTo>
                    <a:pt x="624" y="280"/>
                  </a:lnTo>
                  <a:lnTo>
                    <a:pt x="618" y="278"/>
                  </a:lnTo>
                  <a:lnTo>
                    <a:pt x="614" y="276"/>
                  </a:lnTo>
                  <a:lnTo>
                    <a:pt x="596" y="270"/>
                  </a:lnTo>
                  <a:lnTo>
                    <a:pt x="586" y="274"/>
                  </a:lnTo>
                  <a:lnTo>
                    <a:pt x="576" y="268"/>
                  </a:lnTo>
                  <a:lnTo>
                    <a:pt x="568" y="270"/>
                  </a:lnTo>
                  <a:lnTo>
                    <a:pt x="568" y="272"/>
                  </a:lnTo>
                  <a:lnTo>
                    <a:pt x="566" y="278"/>
                  </a:lnTo>
                  <a:lnTo>
                    <a:pt x="566" y="280"/>
                  </a:lnTo>
                  <a:lnTo>
                    <a:pt x="568" y="284"/>
                  </a:lnTo>
                  <a:lnTo>
                    <a:pt x="568" y="288"/>
                  </a:lnTo>
                  <a:lnTo>
                    <a:pt x="568" y="292"/>
                  </a:lnTo>
                  <a:lnTo>
                    <a:pt x="572" y="302"/>
                  </a:lnTo>
                  <a:lnTo>
                    <a:pt x="570" y="304"/>
                  </a:lnTo>
                  <a:lnTo>
                    <a:pt x="564" y="318"/>
                  </a:lnTo>
                  <a:lnTo>
                    <a:pt x="562" y="322"/>
                  </a:lnTo>
                  <a:lnTo>
                    <a:pt x="560" y="322"/>
                  </a:lnTo>
                  <a:lnTo>
                    <a:pt x="560" y="320"/>
                  </a:lnTo>
                  <a:lnTo>
                    <a:pt x="558" y="320"/>
                  </a:lnTo>
                  <a:lnTo>
                    <a:pt x="556" y="318"/>
                  </a:lnTo>
                  <a:lnTo>
                    <a:pt x="554" y="316"/>
                  </a:lnTo>
                  <a:lnTo>
                    <a:pt x="552" y="316"/>
                  </a:lnTo>
                  <a:lnTo>
                    <a:pt x="540" y="310"/>
                  </a:lnTo>
                  <a:lnTo>
                    <a:pt x="540" y="312"/>
                  </a:lnTo>
                  <a:lnTo>
                    <a:pt x="538" y="316"/>
                  </a:lnTo>
                  <a:lnTo>
                    <a:pt x="522" y="328"/>
                  </a:lnTo>
                  <a:lnTo>
                    <a:pt x="520" y="334"/>
                  </a:lnTo>
                  <a:lnTo>
                    <a:pt x="518" y="344"/>
                  </a:lnTo>
                  <a:lnTo>
                    <a:pt x="518" y="348"/>
                  </a:lnTo>
                  <a:lnTo>
                    <a:pt x="516" y="350"/>
                  </a:lnTo>
                  <a:lnTo>
                    <a:pt x="514" y="356"/>
                  </a:lnTo>
                  <a:lnTo>
                    <a:pt x="510" y="362"/>
                  </a:lnTo>
                  <a:lnTo>
                    <a:pt x="510" y="364"/>
                  </a:lnTo>
                  <a:lnTo>
                    <a:pt x="504" y="366"/>
                  </a:lnTo>
                  <a:lnTo>
                    <a:pt x="500" y="374"/>
                  </a:lnTo>
                  <a:lnTo>
                    <a:pt x="500" y="376"/>
                  </a:lnTo>
                  <a:lnTo>
                    <a:pt x="502" y="378"/>
                  </a:lnTo>
                  <a:lnTo>
                    <a:pt x="504" y="380"/>
                  </a:lnTo>
                  <a:lnTo>
                    <a:pt x="506" y="384"/>
                  </a:lnTo>
                  <a:lnTo>
                    <a:pt x="510" y="388"/>
                  </a:lnTo>
                  <a:lnTo>
                    <a:pt x="510" y="390"/>
                  </a:lnTo>
                  <a:lnTo>
                    <a:pt x="512" y="396"/>
                  </a:lnTo>
                  <a:lnTo>
                    <a:pt x="510" y="410"/>
                  </a:lnTo>
                  <a:lnTo>
                    <a:pt x="498" y="422"/>
                  </a:lnTo>
                  <a:lnTo>
                    <a:pt x="488" y="440"/>
                  </a:lnTo>
                  <a:lnTo>
                    <a:pt x="484" y="448"/>
                  </a:lnTo>
                  <a:lnTo>
                    <a:pt x="480" y="452"/>
                  </a:lnTo>
                  <a:lnTo>
                    <a:pt x="474" y="460"/>
                  </a:lnTo>
                  <a:lnTo>
                    <a:pt x="476" y="466"/>
                  </a:lnTo>
                  <a:lnTo>
                    <a:pt x="478" y="474"/>
                  </a:lnTo>
                  <a:lnTo>
                    <a:pt x="478" y="478"/>
                  </a:lnTo>
                  <a:lnTo>
                    <a:pt x="462" y="490"/>
                  </a:lnTo>
                  <a:lnTo>
                    <a:pt x="460" y="490"/>
                  </a:lnTo>
                  <a:lnTo>
                    <a:pt x="450" y="490"/>
                  </a:lnTo>
                  <a:lnTo>
                    <a:pt x="442" y="492"/>
                  </a:lnTo>
                  <a:lnTo>
                    <a:pt x="442" y="496"/>
                  </a:lnTo>
                  <a:lnTo>
                    <a:pt x="442" y="502"/>
                  </a:lnTo>
                  <a:lnTo>
                    <a:pt x="444" y="508"/>
                  </a:lnTo>
                  <a:lnTo>
                    <a:pt x="444" y="510"/>
                  </a:lnTo>
                  <a:lnTo>
                    <a:pt x="444" y="514"/>
                  </a:lnTo>
                  <a:lnTo>
                    <a:pt x="446" y="520"/>
                  </a:lnTo>
                  <a:lnTo>
                    <a:pt x="446" y="522"/>
                  </a:lnTo>
                  <a:lnTo>
                    <a:pt x="444" y="524"/>
                  </a:lnTo>
                  <a:lnTo>
                    <a:pt x="444" y="526"/>
                  </a:lnTo>
                  <a:lnTo>
                    <a:pt x="444" y="528"/>
                  </a:lnTo>
                  <a:lnTo>
                    <a:pt x="442" y="530"/>
                  </a:lnTo>
                  <a:lnTo>
                    <a:pt x="440" y="542"/>
                  </a:lnTo>
                  <a:lnTo>
                    <a:pt x="440" y="548"/>
                  </a:lnTo>
                  <a:lnTo>
                    <a:pt x="440" y="554"/>
                  </a:lnTo>
                  <a:lnTo>
                    <a:pt x="440" y="562"/>
                  </a:lnTo>
                  <a:lnTo>
                    <a:pt x="440" y="566"/>
                  </a:lnTo>
                  <a:lnTo>
                    <a:pt x="436" y="572"/>
                  </a:lnTo>
                  <a:lnTo>
                    <a:pt x="436" y="576"/>
                  </a:lnTo>
                  <a:lnTo>
                    <a:pt x="434" y="582"/>
                  </a:lnTo>
                  <a:lnTo>
                    <a:pt x="434" y="584"/>
                  </a:lnTo>
                  <a:lnTo>
                    <a:pt x="432" y="584"/>
                  </a:lnTo>
                  <a:lnTo>
                    <a:pt x="432" y="586"/>
                  </a:lnTo>
                  <a:lnTo>
                    <a:pt x="430" y="590"/>
                  </a:lnTo>
                  <a:lnTo>
                    <a:pt x="424" y="600"/>
                  </a:lnTo>
                  <a:lnTo>
                    <a:pt x="418" y="610"/>
                  </a:lnTo>
                  <a:lnTo>
                    <a:pt x="416" y="616"/>
                  </a:lnTo>
                  <a:lnTo>
                    <a:pt x="414" y="620"/>
                  </a:lnTo>
                  <a:lnTo>
                    <a:pt x="410" y="626"/>
                  </a:lnTo>
                  <a:lnTo>
                    <a:pt x="408" y="628"/>
                  </a:lnTo>
                  <a:lnTo>
                    <a:pt x="408" y="630"/>
                  </a:lnTo>
                  <a:lnTo>
                    <a:pt x="408" y="634"/>
                  </a:lnTo>
                  <a:lnTo>
                    <a:pt x="412" y="638"/>
                  </a:lnTo>
                  <a:lnTo>
                    <a:pt x="416" y="640"/>
                  </a:lnTo>
                  <a:lnTo>
                    <a:pt x="422" y="642"/>
                  </a:lnTo>
                  <a:lnTo>
                    <a:pt x="424" y="644"/>
                  </a:lnTo>
                  <a:lnTo>
                    <a:pt x="426" y="656"/>
                  </a:lnTo>
                  <a:lnTo>
                    <a:pt x="426" y="670"/>
                  </a:lnTo>
                  <a:lnTo>
                    <a:pt x="418" y="686"/>
                  </a:lnTo>
                  <a:lnTo>
                    <a:pt x="390" y="678"/>
                  </a:lnTo>
                  <a:lnTo>
                    <a:pt x="388" y="678"/>
                  </a:lnTo>
                  <a:lnTo>
                    <a:pt x="386" y="678"/>
                  </a:lnTo>
                  <a:lnTo>
                    <a:pt x="384" y="678"/>
                  </a:lnTo>
                  <a:lnTo>
                    <a:pt x="380" y="680"/>
                  </a:lnTo>
                  <a:lnTo>
                    <a:pt x="378" y="680"/>
                  </a:lnTo>
                  <a:lnTo>
                    <a:pt x="376" y="682"/>
                  </a:lnTo>
                  <a:lnTo>
                    <a:pt x="372" y="684"/>
                  </a:lnTo>
                  <a:lnTo>
                    <a:pt x="370" y="686"/>
                  </a:lnTo>
                  <a:lnTo>
                    <a:pt x="366" y="688"/>
                  </a:lnTo>
                  <a:lnTo>
                    <a:pt x="362" y="690"/>
                  </a:lnTo>
                  <a:lnTo>
                    <a:pt x="358" y="698"/>
                  </a:lnTo>
                  <a:lnTo>
                    <a:pt x="356" y="700"/>
                  </a:lnTo>
                  <a:lnTo>
                    <a:pt x="350" y="710"/>
                  </a:lnTo>
                  <a:lnTo>
                    <a:pt x="342" y="722"/>
                  </a:lnTo>
                  <a:lnTo>
                    <a:pt x="342" y="730"/>
                  </a:lnTo>
                  <a:lnTo>
                    <a:pt x="344" y="732"/>
                  </a:lnTo>
                  <a:lnTo>
                    <a:pt x="340" y="736"/>
                  </a:lnTo>
                  <a:lnTo>
                    <a:pt x="338" y="740"/>
                  </a:lnTo>
                  <a:lnTo>
                    <a:pt x="334" y="746"/>
                  </a:lnTo>
                  <a:lnTo>
                    <a:pt x="332" y="752"/>
                  </a:lnTo>
                  <a:lnTo>
                    <a:pt x="334" y="760"/>
                  </a:lnTo>
                  <a:lnTo>
                    <a:pt x="336" y="760"/>
                  </a:lnTo>
                  <a:lnTo>
                    <a:pt x="340" y="772"/>
                  </a:lnTo>
                  <a:lnTo>
                    <a:pt x="340" y="776"/>
                  </a:lnTo>
                  <a:lnTo>
                    <a:pt x="340" y="778"/>
                  </a:lnTo>
                  <a:lnTo>
                    <a:pt x="338" y="780"/>
                  </a:lnTo>
                  <a:lnTo>
                    <a:pt x="336" y="784"/>
                  </a:lnTo>
                  <a:lnTo>
                    <a:pt x="334" y="786"/>
                  </a:lnTo>
                  <a:lnTo>
                    <a:pt x="334" y="792"/>
                  </a:lnTo>
                  <a:lnTo>
                    <a:pt x="336" y="794"/>
                  </a:lnTo>
                  <a:lnTo>
                    <a:pt x="336" y="800"/>
                  </a:lnTo>
                  <a:lnTo>
                    <a:pt x="334" y="802"/>
                  </a:lnTo>
                  <a:lnTo>
                    <a:pt x="334" y="808"/>
                  </a:lnTo>
                  <a:lnTo>
                    <a:pt x="334" y="814"/>
                  </a:lnTo>
                  <a:lnTo>
                    <a:pt x="334" y="820"/>
                  </a:lnTo>
                  <a:lnTo>
                    <a:pt x="338" y="826"/>
                  </a:lnTo>
                  <a:lnTo>
                    <a:pt x="338" y="830"/>
                  </a:lnTo>
                  <a:lnTo>
                    <a:pt x="340" y="832"/>
                  </a:lnTo>
                  <a:lnTo>
                    <a:pt x="342" y="838"/>
                  </a:lnTo>
                  <a:lnTo>
                    <a:pt x="342" y="840"/>
                  </a:lnTo>
                  <a:lnTo>
                    <a:pt x="342" y="844"/>
                  </a:lnTo>
                  <a:lnTo>
                    <a:pt x="342" y="846"/>
                  </a:lnTo>
                  <a:lnTo>
                    <a:pt x="342" y="856"/>
                  </a:lnTo>
                  <a:lnTo>
                    <a:pt x="338" y="868"/>
                  </a:lnTo>
                  <a:lnTo>
                    <a:pt x="338" y="872"/>
                  </a:lnTo>
                  <a:lnTo>
                    <a:pt x="336" y="876"/>
                  </a:lnTo>
                  <a:lnTo>
                    <a:pt x="336" y="880"/>
                  </a:lnTo>
                  <a:lnTo>
                    <a:pt x="336" y="884"/>
                  </a:lnTo>
                  <a:lnTo>
                    <a:pt x="334" y="894"/>
                  </a:lnTo>
                  <a:lnTo>
                    <a:pt x="346" y="908"/>
                  </a:lnTo>
                  <a:lnTo>
                    <a:pt x="348" y="908"/>
                  </a:lnTo>
                  <a:lnTo>
                    <a:pt x="350" y="908"/>
                  </a:lnTo>
                  <a:lnTo>
                    <a:pt x="362" y="924"/>
                  </a:lnTo>
                  <a:lnTo>
                    <a:pt x="364" y="928"/>
                  </a:lnTo>
                  <a:lnTo>
                    <a:pt x="364" y="932"/>
                  </a:lnTo>
                  <a:lnTo>
                    <a:pt x="362" y="938"/>
                  </a:lnTo>
                  <a:lnTo>
                    <a:pt x="360" y="942"/>
                  </a:lnTo>
                  <a:lnTo>
                    <a:pt x="356" y="954"/>
                  </a:lnTo>
                  <a:lnTo>
                    <a:pt x="354" y="956"/>
                  </a:lnTo>
                  <a:lnTo>
                    <a:pt x="352" y="956"/>
                  </a:lnTo>
                  <a:lnTo>
                    <a:pt x="350" y="956"/>
                  </a:lnTo>
                  <a:lnTo>
                    <a:pt x="348" y="956"/>
                  </a:lnTo>
                  <a:lnTo>
                    <a:pt x="346" y="956"/>
                  </a:lnTo>
                  <a:lnTo>
                    <a:pt x="344" y="956"/>
                  </a:lnTo>
                  <a:lnTo>
                    <a:pt x="342" y="956"/>
                  </a:lnTo>
                  <a:lnTo>
                    <a:pt x="338" y="958"/>
                  </a:lnTo>
                  <a:lnTo>
                    <a:pt x="336" y="958"/>
                  </a:lnTo>
                  <a:lnTo>
                    <a:pt x="334" y="960"/>
                  </a:lnTo>
                  <a:lnTo>
                    <a:pt x="336" y="962"/>
                  </a:lnTo>
                  <a:lnTo>
                    <a:pt x="338" y="966"/>
                  </a:lnTo>
                  <a:lnTo>
                    <a:pt x="338" y="970"/>
                  </a:lnTo>
                  <a:lnTo>
                    <a:pt x="340" y="976"/>
                  </a:lnTo>
                  <a:lnTo>
                    <a:pt x="340" y="978"/>
                  </a:lnTo>
                  <a:lnTo>
                    <a:pt x="340" y="980"/>
                  </a:lnTo>
                  <a:lnTo>
                    <a:pt x="342" y="982"/>
                  </a:lnTo>
                  <a:lnTo>
                    <a:pt x="342" y="986"/>
                  </a:lnTo>
                  <a:lnTo>
                    <a:pt x="346" y="996"/>
                  </a:lnTo>
                  <a:lnTo>
                    <a:pt x="350" y="1004"/>
                  </a:lnTo>
                  <a:lnTo>
                    <a:pt x="350" y="1010"/>
                  </a:lnTo>
                  <a:lnTo>
                    <a:pt x="350" y="1012"/>
                  </a:lnTo>
                  <a:lnTo>
                    <a:pt x="350" y="1016"/>
                  </a:lnTo>
                  <a:lnTo>
                    <a:pt x="348" y="1018"/>
                  </a:lnTo>
                  <a:lnTo>
                    <a:pt x="346" y="1022"/>
                  </a:lnTo>
                  <a:lnTo>
                    <a:pt x="346" y="1034"/>
                  </a:lnTo>
                  <a:lnTo>
                    <a:pt x="346" y="1036"/>
                  </a:lnTo>
                  <a:lnTo>
                    <a:pt x="346" y="1040"/>
                  </a:lnTo>
                  <a:lnTo>
                    <a:pt x="344" y="1042"/>
                  </a:lnTo>
                  <a:lnTo>
                    <a:pt x="342" y="1046"/>
                  </a:lnTo>
                  <a:lnTo>
                    <a:pt x="336" y="1054"/>
                  </a:lnTo>
                  <a:lnTo>
                    <a:pt x="330" y="1060"/>
                  </a:lnTo>
                  <a:lnTo>
                    <a:pt x="328" y="1062"/>
                  </a:lnTo>
                  <a:lnTo>
                    <a:pt x="326" y="1062"/>
                  </a:lnTo>
                  <a:lnTo>
                    <a:pt x="322" y="1062"/>
                  </a:lnTo>
                  <a:lnTo>
                    <a:pt x="318" y="1062"/>
                  </a:lnTo>
                  <a:lnTo>
                    <a:pt x="314" y="1064"/>
                  </a:lnTo>
                  <a:lnTo>
                    <a:pt x="312" y="1066"/>
                  </a:lnTo>
                  <a:lnTo>
                    <a:pt x="314" y="1070"/>
                  </a:lnTo>
                  <a:lnTo>
                    <a:pt x="316" y="1072"/>
                  </a:lnTo>
                  <a:lnTo>
                    <a:pt x="316" y="1076"/>
                  </a:lnTo>
                  <a:lnTo>
                    <a:pt x="316" y="1080"/>
                  </a:lnTo>
                  <a:lnTo>
                    <a:pt x="312" y="1084"/>
                  </a:lnTo>
                  <a:lnTo>
                    <a:pt x="308" y="1084"/>
                  </a:lnTo>
                  <a:lnTo>
                    <a:pt x="304" y="1088"/>
                  </a:lnTo>
                  <a:lnTo>
                    <a:pt x="306" y="1104"/>
                  </a:lnTo>
                  <a:lnTo>
                    <a:pt x="308" y="1114"/>
                  </a:lnTo>
                  <a:lnTo>
                    <a:pt x="308" y="1116"/>
                  </a:lnTo>
                  <a:lnTo>
                    <a:pt x="308" y="1118"/>
                  </a:lnTo>
                  <a:lnTo>
                    <a:pt x="308" y="1122"/>
                  </a:lnTo>
                  <a:lnTo>
                    <a:pt x="306" y="1122"/>
                  </a:lnTo>
                  <a:lnTo>
                    <a:pt x="306" y="1124"/>
                  </a:lnTo>
                  <a:lnTo>
                    <a:pt x="306" y="1126"/>
                  </a:lnTo>
                  <a:lnTo>
                    <a:pt x="304" y="1132"/>
                  </a:lnTo>
                  <a:lnTo>
                    <a:pt x="306" y="1134"/>
                  </a:lnTo>
                  <a:lnTo>
                    <a:pt x="298" y="1152"/>
                  </a:lnTo>
                  <a:lnTo>
                    <a:pt x="296" y="1152"/>
                  </a:lnTo>
                  <a:lnTo>
                    <a:pt x="292" y="1154"/>
                  </a:lnTo>
                  <a:lnTo>
                    <a:pt x="290" y="1154"/>
                  </a:lnTo>
                  <a:lnTo>
                    <a:pt x="290" y="1152"/>
                  </a:lnTo>
                  <a:lnTo>
                    <a:pt x="288" y="1150"/>
                  </a:lnTo>
                  <a:lnTo>
                    <a:pt x="290" y="1144"/>
                  </a:lnTo>
                  <a:lnTo>
                    <a:pt x="288" y="1136"/>
                  </a:lnTo>
                  <a:lnTo>
                    <a:pt x="286" y="1132"/>
                  </a:lnTo>
                  <a:lnTo>
                    <a:pt x="284" y="1132"/>
                  </a:lnTo>
                  <a:lnTo>
                    <a:pt x="280" y="1132"/>
                  </a:lnTo>
                  <a:lnTo>
                    <a:pt x="272" y="1132"/>
                  </a:lnTo>
                  <a:lnTo>
                    <a:pt x="272" y="1130"/>
                  </a:lnTo>
                  <a:lnTo>
                    <a:pt x="268" y="1126"/>
                  </a:lnTo>
                  <a:lnTo>
                    <a:pt x="266" y="1128"/>
                  </a:lnTo>
                  <a:lnTo>
                    <a:pt x="260" y="1124"/>
                  </a:lnTo>
                  <a:lnTo>
                    <a:pt x="260" y="1120"/>
                  </a:lnTo>
                  <a:lnTo>
                    <a:pt x="256" y="1106"/>
                  </a:lnTo>
                  <a:lnTo>
                    <a:pt x="256" y="1100"/>
                  </a:lnTo>
                  <a:lnTo>
                    <a:pt x="258" y="1098"/>
                  </a:lnTo>
                  <a:lnTo>
                    <a:pt x="258" y="1096"/>
                  </a:lnTo>
                  <a:lnTo>
                    <a:pt x="256" y="1094"/>
                  </a:lnTo>
                  <a:lnTo>
                    <a:pt x="256" y="1090"/>
                  </a:lnTo>
                  <a:lnTo>
                    <a:pt x="256" y="1084"/>
                  </a:lnTo>
                  <a:lnTo>
                    <a:pt x="256" y="1082"/>
                  </a:lnTo>
                  <a:lnTo>
                    <a:pt x="252" y="1074"/>
                  </a:lnTo>
                  <a:lnTo>
                    <a:pt x="254" y="1068"/>
                  </a:lnTo>
                  <a:lnTo>
                    <a:pt x="256" y="1066"/>
                  </a:lnTo>
                  <a:lnTo>
                    <a:pt x="256" y="1062"/>
                  </a:lnTo>
                  <a:lnTo>
                    <a:pt x="258" y="1062"/>
                  </a:lnTo>
                  <a:lnTo>
                    <a:pt x="260" y="1068"/>
                  </a:lnTo>
                  <a:lnTo>
                    <a:pt x="262" y="1066"/>
                  </a:lnTo>
                  <a:lnTo>
                    <a:pt x="262" y="1064"/>
                  </a:lnTo>
                  <a:lnTo>
                    <a:pt x="262" y="1060"/>
                  </a:lnTo>
                  <a:lnTo>
                    <a:pt x="260" y="1058"/>
                  </a:lnTo>
                  <a:lnTo>
                    <a:pt x="258" y="1060"/>
                  </a:lnTo>
                  <a:lnTo>
                    <a:pt x="254" y="1060"/>
                  </a:lnTo>
                  <a:lnTo>
                    <a:pt x="252" y="1060"/>
                  </a:lnTo>
                  <a:lnTo>
                    <a:pt x="250" y="1062"/>
                  </a:lnTo>
                  <a:lnTo>
                    <a:pt x="250" y="1066"/>
                  </a:lnTo>
                  <a:lnTo>
                    <a:pt x="250" y="1068"/>
                  </a:lnTo>
                  <a:lnTo>
                    <a:pt x="250" y="1070"/>
                  </a:lnTo>
                  <a:lnTo>
                    <a:pt x="250" y="1074"/>
                  </a:lnTo>
                  <a:lnTo>
                    <a:pt x="250" y="1078"/>
                  </a:lnTo>
                  <a:lnTo>
                    <a:pt x="252" y="1078"/>
                  </a:lnTo>
                  <a:lnTo>
                    <a:pt x="254" y="1080"/>
                  </a:lnTo>
                  <a:lnTo>
                    <a:pt x="254" y="1082"/>
                  </a:lnTo>
                  <a:lnTo>
                    <a:pt x="254" y="1086"/>
                  </a:lnTo>
                  <a:lnTo>
                    <a:pt x="252" y="1088"/>
                  </a:lnTo>
                  <a:lnTo>
                    <a:pt x="252" y="1090"/>
                  </a:lnTo>
                  <a:lnTo>
                    <a:pt x="250" y="1092"/>
                  </a:lnTo>
                  <a:lnTo>
                    <a:pt x="248" y="1092"/>
                  </a:lnTo>
                  <a:lnTo>
                    <a:pt x="246" y="1094"/>
                  </a:lnTo>
                  <a:lnTo>
                    <a:pt x="244" y="1092"/>
                  </a:lnTo>
                  <a:lnTo>
                    <a:pt x="246" y="1088"/>
                  </a:lnTo>
                  <a:lnTo>
                    <a:pt x="246" y="1078"/>
                  </a:lnTo>
                  <a:lnTo>
                    <a:pt x="244" y="1076"/>
                  </a:lnTo>
                  <a:lnTo>
                    <a:pt x="240" y="1072"/>
                  </a:lnTo>
                  <a:lnTo>
                    <a:pt x="238" y="1072"/>
                  </a:lnTo>
                  <a:lnTo>
                    <a:pt x="238" y="1076"/>
                  </a:lnTo>
                  <a:lnTo>
                    <a:pt x="240" y="1076"/>
                  </a:lnTo>
                  <a:lnTo>
                    <a:pt x="242" y="1078"/>
                  </a:lnTo>
                  <a:lnTo>
                    <a:pt x="244" y="1080"/>
                  </a:lnTo>
                  <a:lnTo>
                    <a:pt x="244" y="1086"/>
                  </a:lnTo>
                  <a:lnTo>
                    <a:pt x="242" y="1090"/>
                  </a:lnTo>
                  <a:lnTo>
                    <a:pt x="240" y="1090"/>
                  </a:lnTo>
                  <a:lnTo>
                    <a:pt x="238" y="1090"/>
                  </a:lnTo>
                  <a:lnTo>
                    <a:pt x="236" y="1088"/>
                  </a:lnTo>
                  <a:lnTo>
                    <a:pt x="238" y="1090"/>
                  </a:lnTo>
                  <a:lnTo>
                    <a:pt x="242" y="1096"/>
                  </a:lnTo>
                  <a:lnTo>
                    <a:pt x="244" y="1098"/>
                  </a:lnTo>
                  <a:lnTo>
                    <a:pt x="246" y="1102"/>
                  </a:lnTo>
                  <a:lnTo>
                    <a:pt x="248" y="1112"/>
                  </a:lnTo>
                  <a:lnTo>
                    <a:pt x="244" y="1118"/>
                  </a:lnTo>
                  <a:lnTo>
                    <a:pt x="244" y="1116"/>
                  </a:lnTo>
                  <a:lnTo>
                    <a:pt x="240" y="1114"/>
                  </a:lnTo>
                  <a:lnTo>
                    <a:pt x="238" y="1120"/>
                  </a:lnTo>
                  <a:lnTo>
                    <a:pt x="232" y="1136"/>
                  </a:lnTo>
                  <a:lnTo>
                    <a:pt x="230" y="1136"/>
                  </a:lnTo>
                  <a:lnTo>
                    <a:pt x="228" y="1136"/>
                  </a:lnTo>
                  <a:lnTo>
                    <a:pt x="222" y="1138"/>
                  </a:lnTo>
                  <a:lnTo>
                    <a:pt x="222" y="1140"/>
                  </a:lnTo>
                  <a:lnTo>
                    <a:pt x="218" y="1144"/>
                  </a:lnTo>
                  <a:lnTo>
                    <a:pt x="216" y="1142"/>
                  </a:lnTo>
                  <a:lnTo>
                    <a:pt x="214" y="1140"/>
                  </a:lnTo>
                  <a:lnTo>
                    <a:pt x="214" y="1136"/>
                  </a:lnTo>
                  <a:lnTo>
                    <a:pt x="212" y="1134"/>
                  </a:lnTo>
                  <a:lnTo>
                    <a:pt x="204" y="1126"/>
                  </a:lnTo>
                  <a:lnTo>
                    <a:pt x="202" y="1126"/>
                  </a:lnTo>
                  <a:lnTo>
                    <a:pt x="204" y="1132"/>
                  </a:lnTo>
                  <a:lnTo>
                    <a:pt x="206" y="1134"/>
                  </a:lnTo>
                  <a:lnTo>
                    <a:pt x="206" y="1140"/>
                  </a:lnTo>
                  <a:lnTo>
                    <a:pt x="202" y="1144"/>
                  </a:lnTo>
                  <a:lnTo>
                    <a:pt x="198" y="1148"/>
                  </a:lnTo>
                  <a:lnTo>
                    <a:pt x="192" y="1152"/>
                  </a:lnTo>
                  <a:lnTo>
                    <a:pt x="190" y="1158"/>
                  </a:lnTo>
                  <a:lnTo>
                    <a:pt x="188" y="1160"/>
                  </a:lnTo>
                  <a:lnTo>
                    <a:pt x="180" y="1168"/>
                  </a:lnTo>
                  <a:lnTo>
                    <a:pt x="174" y="1170"/>
                  </a:lnTo>
                  <a:lnTo>
                    <a:pt x="172" y="1172"/>
                  </a:lnTo>
                  <a:lnTo>
                    <a:pt x="170" y="1172"/>
                  </a:lnTo>
                  <a:lnTo>
                    <a:pt x="168" y="1174"/>
                  </a:lnTo>
                  <a:lnTo>
                    <a:pt x="162" y="1182"/>
                  </a:lnTo>
                  <a:lnTo>
                    <a:pt x="160" y="1184"/>
                  </a:lnTo>
                  <a:lnTo>
                    <a:pt x="156" y="1184"/>
                  </a:lnTo>
                  <a:lnTo>
                    <a:pt x="156" y="1188"/>
                  </a:lnTo>
                  <a:lnTo>
                    <a:pt x="154" y="1190"/>
                  </a:lnTo>
                  <a:lnTo>
                    <a:pt x="144" y="1200"/>
                  </a:lnTo>
                  <a:lnTo>
                    <a:pt x="140" y="1202"/>
                  </a:lnTo>
                  <a:lnTo>
                    <a:pt x="132" y="1206"/>
                  </a:lnTo>
                  <a:lnTo>
                    <a:pt x="130" y="1208"/>
                  </a:lnTo>
                  <a:lnTo>
                    <a:pt x="128" y="1212"/>
                  </a:lnTo>
                  <a:lnTo>
                    <a:pt x="126" y="1210"/>
                  </a:lnTo>
                  <a:lnTo>
                    <a:pt x="124" y="1214"/>
                  </a:lnTo>
                  <a:lnTo>
                    <a:pt x="116" y="1214"/>
                  </a:lnTo>
                  <a:lnTo>
                    <a:pt x="108" y="1216"/>
                  </a:lnTo>
                  <a:lnTo>
                    <a:pt x="102" y="1218"/>
                  </a:lnTo>
                  <a:lnTo>
                    <a:pt x="98" y="1218"/>
                  </a:lnTo>
                  <a:lnTo>
                    <a:pt x="96" y="1220"/>
                  </a:lnTo>
                  <a:lnTo>
                    <a:pt x="94" y="1220"/>
                  </a:lnTo>
                  <a:lnTo>
                    <a:pt x="92" y="1220"/>
                  </a:lnTo>
                  <a:lnTo>
                    <a:pt x="86" y="1218"/>
                  </a:lnTo>
                  <a:lnTo>
                    <a:pt x="82" y="1216"/>
                  </a:lnTo>
                  <a:lnTo>
                    <a:pt x="80" y="1214"/>
                  </a:lnTo>
                  <a:lnTo>
                    <a:pt x="76" y="1214"/>
                  </a:lnTo>
                  <a:lnTo>
                    <a:pt x="72" y="1216"/>
                  </a:lnTo>
                  <a:lnTo>
                    <a:pt x="70" y="1218"/>
                  </a:lnTo>
                  <a:lnTo>
                    <a:pt x="68" y="1218"/>
                  </a:lnTo>
                  <a:lnTo>
                    <a:pt x="66" y="1214"/>
                  </a:lnTo>
                  <a:lnTo>
                    <a:pt x="64" y="1212"/>
                  </a:lnTo>
                  <a:lnTo>
                    <a:pt x="58" y="1206"/>
                  </a:lnTo>
                  <a:lnTo>
                    <a:pt x="56" y="1206"/>
                  </a:lnTo>
                  <a:lnTo>
                    <a:pt x="56" y="1210"/>
                  </a:lnTo>
                  <a:lnTo>
                    <a:pt x="50" y="1210"/>
                  </a:lnTo>
                  <a:lnTo>
                    <a:pt x="48" y="1206"/>
                  </a:lnTo>
                  <a:lnTo>
                    <a:pt x="48" y="1204"/>
                  </a:lnTo>
                  <a:lnTo>
                    <a:pt x="50" y="1202"/>
                  </a:lnTo>
                  <a:lnTo>
                    <a:pt x="52" y="1200"/>
                  </a:lnTo>
                  <a:lnTo>
                    <a:pt x="56" y="1196"/>
                  </a:lnTo>
                  <a:lnTo>
                    <a:pt x="60" y="1194"/>
                  </a:lnTo>
                  <a:lnTo>
                    <a:pt x="52" y="1192"/>
                  </a:lnTo>
                  <a:lnTo>
                    <a:pt x="40" y="1188"/>
                  </a:lnTo>
                  <a:lnTo>
                    <a:pt x="38" y="1186"/>
                  </a:lnTo>
                  <a:lnTo>
                    <a:pt x="34" y="1184"/>
                  </a:lnTo>
                  <a:lnTo>
                    <a:pt x="30" y="1182"/>
                  </a:lnTo>
                  <a:lnTo>
                    <a:pt x="24" y="1178"/>
                  </a:lnTo>
                  <a:lnTo>
                    <a:pt x="24" y="1176"/>
                  </a:lnTo>
                  <a:lnTo>
                    <a:pt x="24" y="1174"/>
                  </a:lnTo>
                  <a:lnTo>
                    <a:pt x="24" y="1172"/>
                  </a:lnTo>
                  <a:lnTo>
                    <a:pt x="24" y="1168"/>
                  </a:lnTo>
                  <a:lnTo>
                    <a:pt x="22" y="1168"/>
                  </a:lnTo>
                  <a:lnTo>
                    <a:pt x="20" y="1168"/>
                  </a:lnTo>
                  <a:lnTo>
                    <a:pt x="18" y="1168"/>
                  </a:lnTo>
                  <a:lnTo>
                    <a:pt x="14" y="1166"/>
                  </a:lnTo>
                  <a:lnTo>
                    <a:pt x="8" y="1160"/>
                  </a:lnTo>
                  <a:lnTo>
                    <a:pt x="4" y="1148"/>
                  </a:lnTo>
                  <a:lnTo>
                    <a:pt x="2" y="1140"/>
                  </a:lnTo>
                  <a:lnTo>
                    <a:pt x="6" y="1134"/>
                  </a:lnTo>
                  <a:lnTo>
                    <a:pt x="8" y="1130"/>
                  </a:lnTo>
                  <a:lnTo>
                    <a:pt x="8" y="1126"/>
                  </a:lnTo>
                  <a:lnTo>
                    <a:pt x="10" y="1122"/>
                  </a:lnTo>
                  <a:lnTo>
                    <a:pt x="10" y="1118"/>
                  </a:lnTo>
                  <a:lnTo>
                    <a:pt x="10" y="1114"/>
                  </a:lnTo>
                  <a:lnTo>
                    <a:pt x="18" y="1122"/>
                  </a:lnTo>
                  <a:lnTo>
                    <a:pt x="16" y="1124"/>
                  </a:lnTo>
                  <a:lnTo>
                    <a:pt x="18" y="1126"/>
                  </a:lnTo>
                  <a:lnTo>
                    <a:pt x="20" y="1126"/>
                  </a:lnTo>
                  <a:lnTo>
                    <a:pt x="22" y="1126"/>
                  </a:lnTo>
                  <a:lnTo>
                    <a:pt x="24" y="1122"/>
                  </a:lnTo>
                  <a:lnTo>
                    <a:pt x="24" y="1124"/>
                  </a:lnTo>
                  <a:lnTo>
                    <a:pt x="28" y="1126"/>
                  </a:lnTo>
                  <a:lnTo>
                    <a:pt x="30" y="1132"/>
                  </a:lnTo>
                  <a:lnTo>
                    <a:pt x="32" y="1134"/>
                  </a:lnTo>
                  <a:lnTo>
                    <a:pt x="34" y="1136"/>
                  </a:lnTo>
                  <a:lnTo>
                    <a:pt x="36" y="1136"/>
                  </a:lnTo>
                  <a:lnTo>
                    <a:pt x="38" y="1136"/>
                  </a:lnTo>
                  <a:lnTo>
                    <a:pt x="40" y="1136"/>
                  </a:lnTo>
                  <a:lnTo>
                    <a:pt x="38" y="1136"/>
                  </a:lnTo>
                  <a:lnTo>
                    <a:pt x="36" y="1136"/>
                  </a:lnTo>
                  <a:lnTo>
                    <a:pt x="34" y="1134"/>
                  </a:lnTo>
                  <a:lnTo>
                    <a:pt x="32" y="1132"/>
                  </a:lnTo>
                  <a:lnTo>
                    <a:pt x="34" y="1126"/>
                  </a:lnTo>
                  <a:lnTo>
                    <a:pt x="36" y="1126"/>
                  </a:lnTo>
                  <a:lnTo>
                    <a:pt x="40" y="1124"/>
                  </a:lnTo>
                  <a:lnTo>
                    <a:pt x="42" y="1122"/>
                  </a:lnTo>
                  <a:lnTo>
                    <a:pt x="44" y="1122"/>
                  </a:lnTo>
                  <a:lnTo>
                    <a:pt x="50" y="1122"/>
                  </a:lnTo>
                  <a:lnTo>
                    <a:pt x="54" y="1120"/>
                  </a:lnTo>
                  <a:lnTo>
                    <a:pt x="60" y="1120"/>
                  </a:lnTo>
                  <a:lnTo>
                    <a:pt x="62" y="1118"/>
                  </a:lnTo>
                  <a:lnTo>
                    <a:pt x="56" y="1118"/>
                  </a:lnTo>
                  <a:lnTo>
                    <a:pt x="50" y="1120"/>
                  </a:lnTo>
                  <a:lnTo>
                    <a:pt x="42" y="1122"/>
                  </a:lnTo>
                  <a:lnTo>
                    <a:pt x="40" y="1122"/>
                  </a:lnTo>
                  <a:lnTo>
                    <a:pt x="38" y="1122"/>
                  </a:lnTo>
                  <a:lnTo>
                    <a:pt x="36" y="1124"/>
                  </a:lnTo>
                  <a:lnTo>
                    <a:pt x="32" y="1130"/>
                  </a:lnTo>
                  <a:lnTo>
                    <a:pt x="30" y="1124"/>
                  </a:lnTo>
                  <a:lnTo>
                    <a:pt x="30" y="1118"/>
                  </a:lnTo>
                  <a:lnTo>
                    <a:pt x="28" y="1118"/>
                  </a:lnTo>
                  <a:lnTo>
                    <a:pt x="26" y="1114"/>
                  </a:lnTo>
                  <a:lnTo>
                    <a:pt x="26" y="1112"/>
                  </a:lnTo>
                  <a:lnTo>
                    <a:pt x="28" y="1110"/>
                  </a:lnTo>
                  <a:lnTo>
                    <a:pt x="30" y="1110"/>
                  </a:lnTo>
                  <a:lnTo>
                    <a:pt x="34" y="1106"/>
                  </a:lnTo>
                  <a:lnTo>
                    <a:pt x="38" y="1102"/>
                  </a:lnTo>
                  <a:lnTo>
                    <a:pt x="42" y="1098"/>
                  </a:lnTo>
                  <a:lnTo>
                    <a:pt x="50" y="1094"/>
                  </a:lnTo>
                  <a:lnTo>
                    <a:pt x="52" y="1094"/>
                  </a:lnTo>
                  <a:lnTo>
                    <a:pt x="54" y="1094"/>
                  </a:lnTo>
                  <a:lnTo>
                    <a:pt x="56" y="1094"/>
                  </a:lnTo>
                  <a:lnTo>
                    <a:pt x="58" y="1094"/>
                  </a:lnTo>
                  <a:lnTo>
                    <a:pt x="54" y="1094"/>
                  </a:lnTo>
                  <a:lnTo>
                    <a:pt x="50" y="1094"/>
                  </a:lnTo>
                  <a:lnTo>
                    <a:pt x="48" y="1094"/>
                  </a:lnTo>
                  <a:lnTo>
                    <a:pt x="46" y="1096"/>
                  </a:lnTo>
                  <a:lnTo>
                    <a:pt x="40" y="1098"/>
                  </a:lnTo>
                  <a:lnTo>
                    <a:pt x="36" y="1090"/>
                  </a:lnTo>
                  <a:lnTo>
                    <a:pt x="38" y="1086"/>
                  </a:lnTo>
                  <a:lnTo>
                    <a:pt x="40" y="1086"/>
                  </a:lnTo>
                  <a:lnTo>
                    <a:pt x="42" y="1084"/>
                  </a:lnTo>
                  <a:lnTo>
                    <a:pt x="46" y="1078"/>
                  </a:lnTo>
                  <a:lnTo>
                    <a:pt x="48" y="1076"/>
                  </a:lnTo>
                  <a:lnTo>
                    <a:pt x="56" y="1074"/>
                  </a:lnTo>
                  <a:lnTo>
                    <a:pt x="58" y="1074"/>
                  </a:lnTo>
                  <a:lnTo>
                    <a:pt x="58" y="1072"/>
                  </a:lnTo>
                  <a:lnTo>
                    <a:pt x="60" y="1072"/>
                  </a:lnTo>
                  <a:lnTo>
                    <a:pt x="58" y="1072"/>
                  </a:lnTo>
                  <a:lnTo>
                    <a:pt x="50" y="1070"/>
                  </a:lnTo>
                  <a:lnTo>
                    <a:pt x="48" y="1074"/>
                  </a:lnTo>
                  <a:lnTo>
                    <a:pt x="46" y="1078"/>
                  </a:lnTo>
                  <a:lnTo>
                    <a:pt x="44" y="1080"/>
                  </a:lnTo>
                  <a:lnTo>
                    <a:pt x="42" y="1082"/>
                  </a:lnTo>
                  <a:lnTo>
                    <a:pt x="40" y="1084"/>
                  </a:lnTo>
                  <a:lnTo>
                    <a:pt x="32" y="1088"/>
                  </a:lnTo>
                  <a:lnTo>
                    <a:pt x="30" y="1082"/>
                  </a:lnTo>
                  <a:lnTo>
                    <a:pt x="32" y="1080"/>
                  </a:lnTo>
                  <a:lnTo>
                    <a:pt x="34" y="1080"/>
                  </a:lnTo>
                  <a:lnTo>
                    <a:pt x="36" y="1080"/>
                  </a:lnTo>
                  <a:lnTo>
                    <a:pt x="44" y="1078"/>
                  </a:lnTo>
                  <a:lnTo>
                    <a:pt x="42" y="1078"/>
                  </a:lnTo>
                  <a:lnTo>
                    <a:pt x="32" y="1076"/>
                  </a:lnTo>
                  <a:lnTo>
                    <a:pt x="28" y="1078"/>
                  </a:lnTo>
                  <a:lnTo>
                    <a:pt x="24" y="1080"/>
                  </a:lnTo>
                  <a:lnTo>
                    <a:pt x="20" y="1082"/>
                  </a:lnTo>
                  <a:lnTo>
                    <a:pt x="22" y="1082"/>
                  </a:lnTo>
                  <a:lnTo>
                    <a:pt x="24" y="1080"/>
                  </a:lnTo>
                  <a:lnTo>
                    <a:pt x="26" y="1080"/>
                  </a:lnTo>
                  <a:lnTo>
                    <a:pt x="28" y="1086"/>
                  </a:lnTo>
                  <a:lnTo>
                    <a:pt x="28" y="1088"/>
                  </a:lnTo>
                  <a:lnTo>
                    <a:pt x="20" y="1090"/>
                  </a:lnTo>
                  <a:lnTo>
                    <a:pt x="18" y="1088"/>
                  </a:lnTo>
                  <a:lnTo>
                    <a:pt x="18" y="1086"/>
                  </a:lnTo>
                  <a:lnTo>
                    <a:pt x="16" y="1084"/>
                  </a:lnTo>
                  <a:lnTo>
                    <a:pt x="16" y="1090"/>
                  </a:lnTo>
                  <a:lnTo>
                    <a:pt x="12" y="1092"/>
                  </a:lnTo>
                  <a:lnTo>
                    <a:pt x="10" y="1092"/>
                  </a:lnTo>
                  <a:lnTo>
                    <a:pt x="6" y="1090"/>
                  </a:lnTo>
                  <a:lnTo>
                    <a:pt x="2" y="1084"/>
                  </a:lnTo>
                  <a:lnTo>
                    <a:pt x="0" y="1076"/>
                  </a:lnTo>
                  <a:lnTo>
                    <a:pt x="0" y="1070"/>
                  </a:lnTo>
                  <a:lnTo>
                    <a:pt x="6" y="1060"/>
                  </a:lnTo>
                  <a:lnTo>
                    <a:pt x="12" y="1054"/>
                  </a:lnTo>
                  <a:lnTo>
                    <a:pt x="16" y="1052"/>
                  </a:lnTo>
                  <a:lnTo>
                    <a:pt x="16" y="1054"/>
                  </a:lnTo>
                  <a:lnTo>
                    <a:pt x="16" y="1056"/>
                  </a:lnTo>
                  <a:lnTo>
                    <a:pt x="14" y="1062"/>
                  </a:lnTo>
                  <a:lnTo>
                    <a:pt x="12" y="1068"/>
                  </a:lnTo>
                  <a:lnTo>
                    <a:pt x="12" y="1070"/>
                  </a:lnTo>
                  <a:lnTo>
                    <a:pt x="14" y="1070"/>
                  </a:lnTo>
                  <a:lnTo>
                    <a:pt x="16" y="1068"/>
                  </a:lnTo>
                  <a:lnTo>
                    <a:pt x="16" y="1066"/>
                  </a:lnTo>
                  <a:lnTo>
                    <a:pt x="16" y="1062"/>
                  </a:lnTo>
                  <a:lnTo>
                    <a:pt x="18" y="1058"/>
                  </a:lnTo>
                  <a:lnTo>
                    <a:pt x="20" y="1056"/>
                  </a:lnTo>
                  <a:lnTo>
                    <a:pt x="24" y="1058"/>
                  </a:lnTo>
                  <a:lnTo>
                    <a:pt x="28" y="1056"/>
                  </a:lnTo>
                  <a:lnTo>
                    <a:pt x="32" y="1054"/>
                  </a:lnTo>
                  <a:lnTo>
                    <a:pt x="36" y="1052"/>
                  </a:lnTo>
                  <a:lnTo>
                    <a:pt x="38" y="1052"/>
                  </a:lnTo>
                  <a:lnTo>
                    <a:pt x="44" y="1052"/>
                  </a:lnTo>
                  <a:lnTo>
                    <a:pt x="56" y="1044"/>
                  </a:lnTo>
                  <a:lnTo>
                    <a:pt x="50" y="1046"/>
                  </a:lnTo>
                  <a:lnTo>
                    <a:pt x="46" y="1048"/>
                  </a:lnTo>
                  <a:lnTo>
                    <a:pt x="46" y="1050"/>
                  </a:lnTo>
                  <a:lnTo>
                    <a:pt x="42" y="1052"/>
                  </a:lnTo>
                  <a:lnTo>
                    <a:pt x="40" y="1052"/>
                  </a:lnTo>
                  <a:lnTo>
                    <a:pt x="32" y="1050"/>
                  </a:lnTo>
                  <a:lnTo>
                    <a:pt x="32" y="1048"/>
                  </a:lnTo>
                  <a:lnTo>
                    <a:pt x="28" y="1044"/>
                  </a:lnTo>
                  <a:lnTo>
                    <a:pt x="28" y="1040"/>
                  </a:lnTo>
                  <a:lnTo>
                    <a:pt x="30" y="1036"/>
                  </a:lnTo>
                  <a:lnTo>
                    <a:pt x="32" y="1036"/>
                  </a:lnTo>
                  <a:lnTo>
                    <a:pt x="34" y="1034"/>
                  </a:lnTo>
                  <a:lnTo>
                    <a:pt x="38" y="1034"/>
                  </a:lnTo>
                  <a:lnTo>
                    <a:pt x="42" y="1034"/>
                  </a:lnTo>
                  <a:lnTo>
                    <a:pt x="42" y="1032"/>
                  </a:lnTo>
                  <a:lnTo>
                    <a:pt x="42" y="1028"/>
                  </a:lnTo>
                  <a:lnTo>
                    <a:pt x="42" y="1026"/>
                  </a:lnTo>
                  <a:lnTo>
                    <a:pt x="44" y="1024"/>
                  </a:lnTo>
                  <a:lnTo>
                    <a:pt x="46" y="1024"/>
                  </a:lnTo>
                  <a:lnTo>
                    <a:pt x="50" y="1020"/>
                  </a:lnTo>
                  <a:lnTo>
                    <a:pt x="50" y="1014"/>
                  </a:lnTo>
                  <a:lnTo>
                    <a:pt x="56" y="1004"/>
                  </a:lnTo>
                  <a:lnTo>
                    <a:pt x="62" y="1000"/>
                  </a:lnTo>
                  <a:lnTo>
                    <a:pt x="70" y="994"/>
                  </a:lnTo>
                  <a:lnTo>
                    <a:pt x="72" y="994"/>
                  </a:lnTo>
                  <a:lnTo>
                    <a:pt x="72" y="992"/>
                  </a:lnTo>
                  <a:lnTo>
                    <a:pt x="74" y="994"/>
                  </a:lnTo>
                  <a:lnTo>
                    <a:pt x="76" y="994"/>
                  </a:lnTo>
                  <a:lnTo>
                    <a:pt x="78" y="996"/>
                  </a:lnTo>
                  <a:lnTo>
                    <a:pt x="76" y="998"/>
                  </a:lnTo>
                  <a:lnTo>
                    <a:pt x="74" y="1000"/>
                  </a:lnTo>
                  <a:lnTo>
                    <a:pt x="70" y="1008"/>
                  </a:lnTo>
                  <a:lnTo>
                    <a:pt x="68" y="1018"/>
                  </a:lnTo>
                  <a:lnTo>
                    <a:pt x="68" y="1022"/>
                  </a:lnTo>
                  <a:lnTo>
                    <a:pt x="68" y="1024"/>
                  </a:lnTo>
                  <a:lnTo>
                    <a:pt x="70" y="1022"/>
                  </a:lnTo>
                  <a:lnTo>
                    <a:pt x="70" y="1020"/>
                  </a:lnTo>
                  <a:lnTo>
                    <a:pt x="70" y="1016"/>
                  </a:lnTo>
                  <a:lnTo>
                    <a:pt x="74" y="1010"/>
                  </a:lnTo>
                  <a:lnTo>
                    <a:pt x="76" y="1004"/>
                  </a:lnTo>
                  <a:lnTo>
                    <a:pt x="78" y="1000"/>
                  </a:lnTo>
                  <a:lnTo>
                    <a:pt x="82" y="994"/>
                  </a:lnTo>
                  <a:lnTo>
                    <a:pt x="84" y="992"/>
                  </a:lnTo>
                  <a:lnTo>
                    <a:pt x="86" y="992"/>
                  </a:lnTo>
                  <a:lnTo>
                    <a:pt x="86" y="990"/>
                  </a:lnTo>
                  <a:lnTo>
                    <a:pt x="92" y="990"/>
                  </a:lnTo>
                  <a:lnTo>
                    <a:pt x="94" y="990"/>
                  </a:lnTo>
                  <a:lnTo>
                    <a:pt x="94" y="992"/>
                  </a:lnTo>
                  <a:lnTo>
                    <a:pt x="96" y="992"/>
                  </a:lnTo>
                  <a:lnTo>
                    <a:pt x="98" y="992"/>
                  </a:lnTo>
                  <a:lnTo>
                    <a:pt x="100" y="990"/>
                  </a:lnTo>
                  <a:lnTo>
                    <a:pt x="94" y="988"/>
                  </a:lnTo>
                  <a:lnTo>
                    <a:pt x="94" y="984"/>
                  </a:lnTo>
                  <a:lnTo>
                    <a:pt x="96" y="982"/>
                  </a:lnTo>
                  <a:lnTo>
                    <a:pt x="94" y="982"/>
                  </a:lnTo>
                  <a:lnTo>
                    <a:pt x="90" y="984"/>
                  </a:lnTo>
                  <a:lnTo>
                    <a:pt x="90" y="986"/>
                  </a:lnTo>
                  <a:lnTo>
                    <a:pt x="86" y="990"/>
                  </a:lnTo>
                  <a:lnTo>
                    <a:pt x="80" y="992"/>
                  </a:lnTo>
                  <a:lnTo>
                    <a:pt x="78" y="994"/>
                  </a:lnTo>
                  <a:lnTo>
                    <a:pt x="76" y="994"/>
                  </a:lnTo>
                  <a:lnTo>
                    <a:pt x="76" y="992"/>
                  </a:lnTo>
                  <a:lnTo>
                    <a:pt x="74" y="990"/>
                  </a:lnTo>
                  <a:lnTo>
                    <a:pt x="70" y="992"/>
                  </a:lnTo>
                  <a:lnTo>
                    <a:pt x="66" y="994"/>
                  </a:lnTo>
                  <a:lnTo>
                    <a:pt x="64" y="994"/>
                  </a:lnTo>
                  <a:lnTo>
                    <a:pt x="62" y="996"/>
                  </a:lnTo>
                  <a:lnTo>
                    <a:pt x="60" y="996"/>
                  </a:lnTo>
                  <a:lnTo>
                    <a:pt x="58" y="994"/>
                  </a:lnTo>
                  <a:lnTo>
                    <a:pt x="56" y="1000"/>
                  </a:lnTo>
                  <a:lnTo>
                    <a:pt x="54" y="1006"/>
                  </a:lnTo>
                  <a:lnTo>
                    <a:pt x="52" y="1008"/>
                  </a:lnTo>
                  <a:lnTo>
                    <a:pt x="46" y="1008"/>
                  </a:lnTo>
                  <a:lnTo>
                    <a:pt x="40" y="1016"/>
                  </a:lnTo>
                  <a:lnTo>
                    <a:pt x="38" y="1024"/>
                  </a:lnTo>
                  <a:lnTo>
                    <a:pt x="38" y="1026"/>
                  </a:lnTo>
                  <a:lnTo>
                    <a:pt x="34" y="1028"/>
                  </a:lnTo>
                  <a:lnTo>
                    <a:pt x="32" y="1030"/>
                  </a:lnTo>
                  <a:lnTo>
                    <a:pt x="32" y="1028"/>
                  </a:lnTo>
                  <a:lnTo>
                    <a:pt x="30" y="1028"/>
                  </a:lnTo>
                  <a:lnTo>
                    <a:pt x="28" y="1024"/>
                  </a:lnTo>
                  <a:lnTo>
                    <a:pt x="28" y="1014"/>
                  </a:lnTo>
                  <a:lnTo>
                    <a:pt x="26" y="1014"/>
                  </a:lnTo>
                  <a:lnTo>
                    <a:pt x="24" y="1014"/>
                  </a:lnTo>
                  <a:lnTo>
                    <a:pt x="30" y="1000"/>
                  </a:lnTo>
                  <a:lnTo>
                    <a:pt x="32" y="996"/>
                  </a:lnTo>
                  <a:lnTo>
                    <a:pt x="34" y="994"/>
                  </a:lnTo>
                  <a:lnTo>
                    <a:pt x="36" y="992"/>
                  </a:lnTo>
                  <a:lnTo>
                    <a:pt x="30" y="994"/>
                  </a:lnTo>
                  <a:lnTo>
                    <a:pt x="26" y="1004"/>
                  </a:lnTo>
                  <a:lnTo>
                    <a:pt x="20" y="1010"/>
                  </a:lnTo>
                  <a:lnTo>
                    <a:pt x="18" y="1014"/>
                  </a:lnTo>
                  <a:lnTo>
                    <a:pt x="16" y="1012"/>
                  </a:lnTo>
                  <a:lnTo>
                    <a:pt x="14" y="1008"/>
                  </a:lnTo>
                  <a:lnTo>
                    <a:pt x="10" y="1006"/>
                  </a:lnTo>
                  <a:lnTo>
                    <a:pt x="16" y="1002"/>
                  </a:lnTo>
                  <a:lnTo>
                    <a:pt x="8" y="1000"/>
                  </a:lnTo>
                  <a:lnTo>
                    <a:pt x="8" y="992"/>
                  </a:lnTo>
                  <a:lnTo>
                    <a:pt x="12" y="988"/>
                  </a:lnTo>
                  <a:lnTo>
                    <a:pt x="14" y="986"/>
                  </a:lnTo>
                  <a:lnTo>
                    <a:pt x="14" y="982"/>
                  </a:lnTo>
                  <a:lnTo>
                    <a:pt x="16" y="978"/>
                  </a:lnTo>
                  <a:lnTo>
                    <a:pt x="18" y="978"/>
                  </a:lnTo>
                  <a:lnTo>
                    <a:pt x="20" y="980"/>
                  </a:lnTo>
                  <a:lnTo>
                    <a:pt x="22" y="982"/>
                  </a:lnTo>
                  <a:lnTo>
                    <a:pt x="24" y="986"/>
                  </a:lnTo>
                  <a:lnTo>
                    <a:pt x="24" y="988"/>
                  </a:lnTo>
                  <a:lnTo>
                    <a:pt x="26" y="988"/>
                  </a:lnTo>
                  <a:lnTo>
                    <a:pt x="30" y="990"/>
                  </a:lnTo>
                  <a:lnTo>
                    <a:pt x="32" y="990"/>
                  </a:lnTo>
                  <a:lnTo>
                    <a:pt x="36" y="986"/>
                  </a:lnTo>
                  <a:lnTo>
                    <a:pt x="36" y="982"/>
                  </a:lnTo>
                  <a:lnTo>
                    <a:pt x="38" y="966"/>
                  </a:lnTo>
                  <a:lnTo>
                    <a:pt x="38" y="964"/>
                  </a:lnTo>
                  <a:lnTo>
                    <a:pt x="36" y="962"/>
                  </a:lnTo>
                  <a:lnTo>
                    <a:pt x="32" y="964"/>
                  </a:lnTo>
                  <a:lnTo>
                    <a:pt x="30" y="968"/>
                  </a:lnTo>
                  <a:lnTo>
                    <a:pt x="20" y="974"/>
                  </a:lnTo>
                  <a:lnTo>
                    <a:pt x="16" y="974"/>
                  </a:lnTo>
                  <a:lnTo>
                    <a:pt x="14" y="972"/>
                  </a:lnTo>
                  <a:lnTo>
                    <a:pt x="10" y="964"/>
                  </a:lnTo>
                  <a:lnTo>
                    <a:pt x="12" y="964"/>
                  </a:lnTo>
                  <a:lnTo>
                    <a:pt x="14" y="966"/>
                  </a:lnTo>
                  <a:lnTo>
                    <a:pt x="16" y="968"/>
                  </a:lnTo>
                  <a:lnTo>
                    <a:pt x="12" y="960"/>
                  </a:lnTo>
                  <a:lnTo>
                    <a:pt x="12" y="958"/>
                  </a:lnTo>
                  <a:lnTo>
                    <a:pt x="8" y="956"/>
                  </a:lnTo>
                  <a:lnTo>
                    <a:pt x="4" y="950"/>
                  </a:lnTo>
                  <a:lnTo>
                    <a:pt x="8" y="950"/>
                  </a:lnTo>
                  <a:lnTo>
                    <a:pt x="12" y="954"/>
                  </a:lnTo>
                  <a:lnTo>
                    <a:pt x="16" y="958"/>
                  </a:lnTo>
                  <a:lnTo>
                    <a:pt x="20" y="960"/>
                  </a:lnTo>
                  <a:lnTo>
                    <a:pt x="20" y="962"/>
                  </a:lnTo>
                  <a:lnTo>
                    <a:pt x="20" y="966"/>
                  </a:lnTo>
                  <a:lnTo>
                    <a:pt x="22" y="968"/>
                  </a:lnTo>
                  <a:lnTo>
                    <a:pt x="24" y="970"/>
                  </a:lnTo>
                  <a:lnTo>
                    <a:pt x="26" y="966"/>
                  </a:lnTo>
                  <a:lnTo>
                    <a:pt x="24" y="962"/>
                  </a:lnTo>
                  <a:lnTo>
                    <a:pt x="24" y="960"/>
                  </a:lnTo>
                  <a:lnTo>
                    <a:pt x="22" y="958"/>
                  </a:lnTo>
                  <a:lnTo>
                    <a:pt x="18" y="956"/>
                  </a:lnTo>
                  <a:lnTo>
                    <a:pt x="18" y="954"/>
                  </a:lnTo>
                  <a:lnTo>
                    <a:pt x="24" y="948"/>
                  </a:lnTo>
                  <a:lnTo>
                    <a:pt x="28" y="948"/>
                  </a:lnTo>
                  <a:lnTo>
                    <a:pt x="30" y="948"/>
                  </a:lnTo>
                  <a:lnTo>
                    <a:pt x="32" y="948"/>
                  </a:lnTo>
                  <a:lnTo>
                    <a:pt x="30" y="944"/>
                  </a:lnTo>
                  <a:lnTo>
                    <a:pt x="24" y="946"/>
                  </a:lnTo>
                  <a:lnTo>
                    <a:pt x="24" y="948"/>
                  </a:lnTo>
                  <a:lnTo>
                    <a:pt x="22" y="950"/>
                  </a:lnTo>
                  <a:lnTo>
                    <a:pt x="20" y="950"/>
                  </a:lnTo>
                  <a:lnTo>
                    <a:pt x="14" y="950"/>
                  </a:lnTo>
                  <a:lnTo>
                    <a:pt x="14" y="948"/>
                  </a:lnTo>
                  <a:lnTo>
                    <a:pt x="12" y="948"/>
                  </a:lnTo>
                  <a:lnTo>
                    <a:pt x="10" y="946"/>
                  </a:lnTo>
                  <a:lnTo>
                    <a:pt x="8" y="938"/>
                  </a:lnTo>
                  <a:lnTo>
                    <a:pt x="10" y="932"/>
                  </a:lnTo>
                  <a:lnTo>
                    <a:pt x="12" y="930"/>
                  </a:lnTo>
                  <a:lnTo>
                    <a:pt x="14" y="926"/>
                  </a:lnTo>
                  <a:lnTo>
                    <a:pt x="16" y="926"/>
                  </a:lnTo>
                  <a:lnTo>
                    <a:pt x="18" y="926"/>
                  </a:lnTo>
                  <a:lnTo>
                    <a:pt x="20" y="928"/>
                  </a:lnTo>
                  <a:lnTo>
                    <a:pt x="22" y="930"/>
                  </a:lnTo>
                  <a:lnTo>
                    <a:pt x="24" y="930"/>
                  </a:lnTo>
                  <a:lnTo>
                    <a:pt x="24" y="932"/>
                  </a:lnTo>
                  <a:lnTo>
                    <a:pt x="30" y="932"/>
                  </a:lnTo>
                  <a:lnTo>
                    <a:pt x="32" y="932"/>
                  </a:lnTo>
                  <a:lnTo>
                    <a:pt x="32" y="930"/>
                  </a:lnTo>
                  <a:lnTo>
                    <a:pt x="40" y="928"/>
                  </a:lnTo>
                  <a:lnTo>
                    <a:pt x="44" y="928"/>
                  </a:lnTo>
                  <a:lnTo>
                    <a:pt x="48" y="928"/>
                  </a:lnTo>
                  <a:lnTo>
                    <a:pt x="50" y="928"/>
                  </a:lnTo>
                  <a:lnTo>
                    <a:pt x="54" y="926"/>
                  </a:lnTo>
                  <a:lnTo>
                    <a:pt x="62" y="928"/>
                  </a:lnTo>
                  <a:lnTo>
                    <a:pt x="68" y="930"/>
                  </a:lnTo>
                  <a:lnTo>
                    <a:pt x="68" y="932"/>
                  </a:lnTo>
                  <a:lnTo>
                    <a:pt x="70" y="934"/>
                  </a:lnTo>
                  <a:lnTo>
                    <a:pt x="72" y="934"/>
                  </a:lnTo>
                  <a:lnTo>
                    <a:pt x="74" y="934"/>
                  </a:lnTo>
                  <a:lnTo>
                    <a:pt x="80" y="932"/>
                  </a:lnTo>
                  <a:lnTo>
                    <a:pt x="84" y="928"/>
                  </a:lnTo>
                  <a:lnTo>
                    <a:pt x="86" y="928"/>
                  </a:lnTo>
                  <a:lnTo>
                    <a:pt x="94" y="930"/>
                  </a:lnTo>
                  <a:lnTo>
                    <a:pt x="98" y="936"/>
                  </a:lnTo>
                  <a:lnTo>
                    <a:pt x="100" y="942"/>
                  </a:lnTo>
                  <a:lnTo>
                    <a:pt x="106" y="952"/>
                  </a:lnTo>
                  <a:lnTo>
                    <a:pt x="104" y="954"/>
                  </a:lnTo>
                  <a:lnTo>
                    <a:pt x="102" y="956"/>
                  </a:lnTo>
                  <a:lnTo>
                    <a:pt x="104" y="956"/>
                  </a:lnTo>
                  <a:lnTo>
                    <a:pt x="106" y="954"/>
                  </a:lnTo>
                  <a:lnTo>
                    <a:pt x="106" y="952"/>
                  </a:lnTo>
                  <a:lnTo>
                    <a:pt x="106" y="950"/>
                  </a:lnTo>
                  <a:lnTo>
                    <a:pt x="104" y="948"/>
                  </a:lnTo>
                  <a:lnTo>
                    <a:pt x="102" y="946"/>
                  </a:lnTo>
                  <a:lnTo>
                    <a:pt x="102" y="940"/>
                  </a:lnTo>
                  <a:lnTo>
                    <a:pt x="102" y="936"/>
                  </a:lnTo>
                  <a:lnTo>
                    <a:pt x="102" y="934"/>
                  </a:lnTo>
                  <a:lnTo>
                    <a:pt x="104" y="934"/>
                  </a:lnTo>
                  <a:lnTo>
                    <a:pt x="108" y="934"/>
                  </a:lnTo>
                  <a:lnTo>
                    <a:pt x="116" y="934"/>
                  </a:lnTo>
                  <a:lnTo>
                    <a:pt x="122" y="930"/>
                  </a:lnTo>
                  <a:lnTo>
                    <a:pt x="120" y="928"/>
                  </a:lnTo>
                  <a:lnTo>
                    <a:pt x="120" y="926"/>
                  </a:lnTo>
                  <a:lnTo>
                    <a:pt x="118" y="926"/>
                  </a:lnTo>
                  <a:lnTo>
                    <a:pt x="116" y="918"/>
                  </a:lnTo>
                  <a:lnTo>
                    <a:pt x="120" y="912"/>
                  </a:lnTo>
                  <a:lnTo>
                    <a:pt x="124" y="906"/>
                  </a:lnTo>
                  <a:lnTo>
                    <a:pt x="126" y="906"/>
                  </a:lnTo>
                  <a:lnTo>
                    <a:pt x="128" y="904"/>
                  </a:lnTo>
                  <a:lnTo>
                    <a:pt x="130" y="904"/>
                  </a:lnTo>
                  <a:lnTo>
                    <a:pt x="124" y="904"/>
                  </a:lnTo>
                  <a:lnTo>
                    <a:pt x="124" y="906"/>
                  </a:lnTo>
                  <a:lnTo>
                    <a:pt x="120" y="910"/>
                  </a:lnTo>
                  <a:lnTo>
                    <a:pt x="118" y="912"/>
                  </a:lnTo>
                  <a:lnTo>
                    <a:pt x="116" y="914"/>
                  </a:lnTo>
                  <a:lnTo>
                    <a:pt x="116" y="920"/>
                  </a:lnTo>
                  <a:lnTo>
                    <a:pt x="116" y="922"/>
                  </a:lnTo>
                  <a:lnTo>
                    <a:pt x="118" y="928"/>
                  </a:lnTo>
                  <a:lnTo>
                    <a:pt x="114" y="930"/>
                  </a:lnTo>
                  <a:lnTo>
                    <a:pt x="108" y="930"/>
                  </a:lnTo>
                  <a:lnTo>
                    <a:pt x="100" y="934"/>
                  </a:lnTo>
                  <a:lnTo>
                    <a:pt x="98" y="932"/>
                  </a:lnTo>
                  <a:lnTo>
                    <a:pt x="98" y="930"/>
                  </a:lnTo>
                  <a:lnTo>
                    <a:pt x="98" y="928"/>
                  </a:lnTo>
                  <a:lnTo>
                    <a:pt x="94" y="926"/>
                  </a:lnTo>
                  <a:lnTo>
                    <a:pt x="92" y="926"/>
                  </a:lnTo>
                  <a:lnTo>
                    <a:pt x="90" y="926"/>
                  </a:lnTo>
                  <a:lnTo>
                    <a:pt x="84" y="922"/>
                  </a:lnTo>
                  <a:lnTo>
                    <a:pt x="82" y="920"/>
                  </a:lnTo>
                  <a:lnTo>
                    <a:pt x="84" y="918"/>
                  </a:lnTo>
                  <a:lnTo>
                    <a:pt x="86" y="918"/>
                  </a:lnTo>
                  <a:lnTo>
                    <a:pt x="86" y="916"/>
                  </a:lnTo>
                  <a:lnTo>
                    <a:pt x="90" y="910"/>
                  </a:lnTo>
                  <a:lnTo>
                    <a:pt x="92" y="906"/>
                  </a:lnTo>
                  <a:lnTo>
                    <a:pt x="84" y="918"/>
                  </a:lnTo>
                  <a:lnTo>
                    <a:pt x="82" y="918"/>
                  </a:lnTo>
                  <a:lnTo>
                    <a:pt x="82" y="922"/>
                  </a:lnTo>
                  <a:lnTo>
                    <a:pt x="80" y="930"/>
                  </a:lnTo>
                  <a:lnTo>
                    <a:pt x="76" y="930"/>
                  </a:lnTo>
                  <a:lnTo>
                    <a:pt x="72" y="930"/>
                  </a:lnTo>
                  <a:lnTo>
                    <a:pt x="70" y="930"/>
                  </a:lnTo>
                  <a:lnTo>
                    <a:pt x="68" y="928"/>
                  </a:lnTo>
                  <a:lnTo>
                    <a:pt x="56" y="924"/>
                  </a:lnTo>
                  <a:lnTo>
                    <a:pt x="46" y="922"/>
                  </a:lnTo>
                  <a:lnTo>
                    <a:pt x="38" y="924"/>
                  </a:lnTo>
                  <a:lnTo>
                    <a:pt x="36" y="926"/>
                  </a:lnTo>
                  <a:lnTo>
                    <a:pt x="34" y="926"/>
                  </a:lnTo>
                  <a:lnTo>
                    <a:pt x="32" y="928"/>
                  </a:lnTo>
                  <a:lnTo>
                    <a:pt x="30" y="928"/>
                  </a:lnTo>
                  <a:lnTo>
                    <a:pt x="28" y="928"/>
                  </a:lnTo>
                  <a:lnTo>
                    <a:pt x="26" y="926"/>
                  </a:lnTo>
                  <a:lnTo>
                    <a:pt x="24" y="924"/>
                  </a:lnTo>
                  <a:lnTo>
                    <a:pt x="20" y="922"/>
                  </a:lnTo>
                  <a:lnTo>
                    <a:pt x="18" y="920"/>
                  </a:lnTo>
                  <a:lnTo>
                    <a:pt x="16" y="918"/>
                  </a:lnTo>
                  <a:lnTo>
                    <a:pt x="16" y="916"/>
                  </a:lnTo>
                  <a:lnTo>
                    <a:pt x="18" y="916"/>
                  </a:lnTo>
                  <a:lnTo>
                    <a:pt x="20" y="918"/>
                  </a:lnTo>
                  <a:lnTo>
                    <a:pt x="22" y="918"/>
                  </a:lnTo>
                  <a:lnTo>
                    <a:pt x="24" y="918"/>
                  </a:lnTo>
                  <a:lnTo>
                    <a:pt x="22" y="916"/>
                  </a:lnTo>
                  <a:lnTo>
                    <a:pt x="20" y="912"/>
                  </a:lnTo>
                  <a:lnTo>
                    <a:pt x="18" y="912"/>
                  </a:lnTo>
                  <a:lnTo>
                    <a:pt x="14" y="912"/>
                  </a:lnTo>
                  <a:lnTo>
                    <a:pt x="12" y="912"/>
                  </a:lnTo>
                  <a:lnTo>
                    <a:pt x="12" y="908"/>
                  </a:lnTo>
                  <a:lnTo>
                    <a:pt x="22" y="904"/>
                  </a:lnTo>
                  <a:lnTo>
                    <a:pt x="34" y="900"/>
                  </a:lnTo>
                  <a:lnTo>
                    <a:pt x="36" y="900"/>
                  </a:lnTo>
                  <a:lnTo>
                    <a:pt x="38" y="902"/>
                  </a:lnTo>
                  <a:lnTo>
                    <a:pt x="40" y="902"/>
                  </a:lnTo>
                  <a:lnTo>
                    <a:pt x="44" y="904"/>
                  </a:lnTo>
                  <a:lnTo>
                    <a:pt x="42" y="902"/>
                  </a:lnTo>
                  <a:lnTo>
                    <a:pt x="36" y="900"/>
                  </a:lnTo>
                  <a:lnTo>
                    <a:pt x="34" y="900"/>
                  </a:lnTo>
                  <a:lnTo>
                    <a:pt x="26" y="900"/>
                  </a:lnTo>
                  <a:lnTo>
                    <a:pt x="22" y="902"/>
                  </a:lnTo>
                  <a:lnTo>
                    <a:pt x="20" y="902"/>
                  </a:lnTo>
                  <a:lnTo>
                    <a:pt x="18" y="904"/>
                  </a:lnTo>
                  <a:lnTo>
                    <a:pt x="16" y="904"/>
                  </a:lnTo>
                  <a:lnTo>
                    <a:pt x="16" y="900"/>
                  </a:lnTo>
                  <a:lnTo>
                    <a:pt x="14" y="894"/>
                  </a:lnTo>
                  <a:lnTo>
                    <a:pt x="16" y="894"/>
                  </a:lnTo>
                  <a:lnTo>
                    <a:pt x="20" y="892"/>
                  </a:lnTo>
                  <a:lnTo>
                    <a:pt x="24" y="892"/>
                  </a:lnTo>
                  <a:lnTo>
                    <a:pt x="32" y="892"/>
                  </a:lnTo>
                  <a:lnTo>
                    <a:pt x="40" y="896"/>
                  </a:lnTo>
                  <a:lnTo>
                    <a:pt x="44" y="894"/>
                  </a:lnTo>
                  <a:lnTo>
                    <a:pt x="50" y="896"/>
                  </a:lnTo>
                  <a:lnTo>
                    <a:pt x="52" y="896"/>
                  </a:lnTo>
                  <a:lnTo>
                    <a:pt x="50" y="892"/>
                  </a:lnTo>
                  <a:lnTo>
                    <a:pt x="48" y="892"/>
                  </a:lnTo>
                  <a:lnTo>
                    <a:pt x="46" y="892"/>
                  </a:lnTo>
                  <a:lnTo>
                    <a:pt x="44" y="892"/>
                  </a:lnTo>
                  <a:lnTo>
                    <a:pt x="42" y="894"/>
                  </a:lnTo>
                  <a:lnTo>
                    <a:pt x="38" y="894"/>
                  </a:lnTo>
                  <a:lnTo>
                    <a:pt x="26" y="888"/>
                  </a:lnTo>
                  <a:lnTo>
                    <a:pt x="24" y="886"/>
                  </a:lnTo>
                  <a:lnTo>
                    <a:pt x="24" y="884"/>
                  </a:lnTo>
                  <a:lnTo>
                    <a:pt x="28" y="884"/>
                  </a:lnTo>
                  <a:lnTo>
                    <a:pt x="30" y="884"/>
                  </a:lnTo>
                  <a:lnTo>
                    <a:pt x="28" y="882"/>
                  </a:lnTo>
                  <a:lnTo>
                    <a:pt x="28" y="880"/>
                  </a:lnTo>
                  <a:lnTo>
                    <a:pt x="24" y="880"/>
                  </a:lnTo>
                  <a:lnTo>
                    <a:pt x="28" y="880"/>
                  </a:lnTo>
                  <a:lnTo>
                    <a:pt x="30" y="880"/>
                  </a:lnTo>
                  <a:lnTo>
                    <a:pt x="32" y="880"/>
                  </a:lnTo>
                  <a:lnTo>
                    <a:pt x="34" y="880"/>
                  </a:lnTo>
                  <a:lnTo>
                    <a:pt x="32" y="880"/>
                  </a:lnTo>
                  <a:lnTo>
                    <a:pt x="30" y="878"/>
                  </a:lnTo>
                  <a:lnTo>
                    <a:pt x="28" y="878"/>
                  </a:lnTo>
                  <a:lnTo>
                    <a:pt x="24" y="878"/>
                  </a:lnTo>
                  <a:lnTo>
                    <a:pt x="28" y="876"/>
                  </a:lnTo>
                  <a:lnTo>
                    <a:pt x="24" y="876"/>
                  </a:lnTo>
                  <a:lnTo>
                    <a:pt x="20" y="876"/>
                  </a:lnTo>
                  <a:lnTo>
                    <a:pt x="18" y="874"/>
                  </a:lnTo>
                  <a:lnTo>
                    <a:pt x="16" y="870"/>
                  </a:lnTo>
                  <a:lnTo>
                    <a:pt x="18" y="866"/>
                  </a:lnTo>
                  <a:lnTo>
                    <a:pt x="20" y="864"/>
                  </a:lnTo>
                  <a:lnTo>
                    <a:pt x="24" y="864"/>
                  </a:lnTo>
                  <a:lnTo>
                    <a:pt x="34" y="856"/>
                  </a:lnTo>
                  <a:lnTo>
                    <a:pt x="38" y="852"/>
                  </a:lnTo>
                  <a:lnTo>
                    <a:pt x="42" y="852"/>
                  </a:lnTo>
                  <a:lnTo>
                    <a:pt x="48" y="854"/>
                  </a:lnTo>
                  <a:lnTo>
                    <a:pt x="52" y="856"/>
                  </a:lnTo>
                  <a:lnTo>
                    <a:pt x="54" y="858"/>
                  </a:lnTo>
                  <a:lnTo>
                    <a:pt x="54" y="860"/>
                  </a:lnTo>
                  <a:lnTo>
                    <a:pt x="66" y="862"/>
                  </a:lnTo>
                  <a:lnTo>
                    <a:pt x="68" y="862"/>
                  </a:lnTo>
                  <a:lnTo>
                    <a:pt x="76" y="864"/>
                  </a:lnTo>
                  <a:lnTo>
                    <a:pt x="78" y="864"/>
                  </a:lnTo>
                  <a:lnTo>
                    <a:pt x="80" y="866"/>
                  </a:lnTo>
                  <a:lnTo>
                    <a:pt x="82" y="868"/>
                  </a:lnTo>
                  <a:lnTo>
                    <a:pt x="86" y="868"/>
                  </a:lnTo>
                  <a:lnTo>
                    <a:pt x="88" y="868"/>
                  </a:lnTo>
                  <a:lnTo>
                    <a:pt x="90" y="866"/>
                  </a:lnTo>
                  <a:lnTo>
                    <a:pt x="90" y="864"/>
                  </a:lnTo>
                  <a:lnTo>
                    <a:pt x="92" y="862"/>
                  </a:lnTo>
                  <a:lnTo>
                    <a:pt x="94" y="862"/>
                  </a:lnTo>
                  <a:lnTo>
                    <a:pt x="96" y="862"/>
                  </a:lnTo>
                  <a:lnTo>
                    <a:pt x="98" y="864"/>
                  </a:lnTo>
                  <a:lnTo>
                    <a:pt x="96" y="862"/>
                  </a:lnTo>
                  <a:lnTo>
                    <a:pt x="94" y="860"/>
                  </a:lnTo>
                  <a:lnTo>
                    <a:pt x="92" y="860"/>
                  </a:lnTo>
                  <a:lnTo>
                    <a:pt x="90" y="860"/>
                  </a:lnTo>
                  <a:lnTo>
                    <a:pt x="90" y="862"/>
                  </a:lnTo>
                  <a:lnTo>
                    <a:pt x="88" y="862"/>
                  </a:lnTo>
                  <a:lnTo>
                    <a:pt x="88" y="864"/>
                  </a:lnTo>
                  <a:lnTo>
                    <a:pt x="84" y="864"/>
                  </a:lnTo>
                  <a:lnTo>
                    <a:pt x="82" y="864"/>
                  </a:lnTo>
                  <a:lnTo>
                    <a:pt x="80" y="864"/>
                  </a:lnTo>
                  <a:lnTo>
                    <a:pt x="76" y="862"/>
                  </a:lnTo>
                  <a:lnTo>
                    <a:pt x="64" y="858"/>
                  </a:lnTo>
                  <a:lnTo>
                    <a:pt x="62" y="860"/>
                  </a:lnTo>
                  <a:lnTo>
                    <a:pt x="58" y="860"/>
                  </a:lnTo>
                  <a:lnTo>
                    <a:pt x="56" y="858"/>
                  </a:lnTo>
                  <a:lnTo>
                    <a:pt x="54" y="856"/>
                  </a:lnTo>
                  <a:lnTo>
                    <a:pt x="56" y="856"/>
                  </a:lnTo>
                  <a:lnTo>
                    <a:pt x="58" y="856"/>
                  </a:lnTo>
                  <a:lnTo>
                    <a:pt x="60" y="856"/>
                  </a:lnTo>
                  <a:lnTo>
                    <a:pt x="62" y="856"/>
                  </a:lnTo>
                  <a:lnTo>
                    <a:pt x="60" y="854"/>
                  </a:lnTo>
                  <a:lnTo>
                    <a:pt x="58" y="854"/>
                  </a:lnTo>
                  <a:lnTo>
                    <a:pt x="46" y="852"/>
                  </a:lnTo>
                  <a:lnTo>
                    <a:pt x="42" y="850"/>
                  </a:lnTo>
                  <a:lnTo>
                    <a:pt x="40" y="850"/>
                  </a:lnTo>
                  <a:lnTo>
                    <a:pt x="38" y="852"/>
                  </a:lnTo>
                  <a:lnTo>
                    <a:pt x="36" y="852"/>
                  </a:lnTo>
                  <a:lnTo>
                    <a:pt x="30" y="852"/>
                  </a:lnTo>
                  <a:lnTo>
                    <a:pt x="28" y="850"/>
                  </a:lnTo>
                  <a:lnTo>
                    <a:pt x="30" y="844"/>
                  </a:lnTo>
                  <a:lnTo>
                    <a:pt x="32" y="846"/>
                  </a:lnTo>
                  <a:lnTo>
                    <a:pt x="42" y="842"/>
                  </a:lnTo>
                  <a:lnTo>
                    <a:pt x="38" y="836"/>
                  </a:lnTo>
                  <a:lnTo>
                    <a:pt x="34" y="834"/>
                  </a:lnTo>
                  <a:lnTo>
                    <a:pt x="30" y="832"/>
                  </a:lnTo>
                  <a:lnTo>
                    <a:pt x="30" y="828"/>
                  </a:lnTo>
                  <a:lnTo>
                    <a:pt x="30" y="826"/>
                  </a:lnTo>
                  <a:lnTo>
                    <a:pt x="34" y="822"/>
                  </a:lnTo>
                  <a:lnTo>
                    <a:pt x="36" y="824"/>
                  </a:lnTo>
                  <a:lnTo>
                    <a:pt x="38" y="826"/>
                  </a:lnTo>
                  <a:lnTo>
                    <a:pt x="44" y="838"/>
                  </a:lnTo>
                  <a:lnTo>
                    <a:pt x="46" y="840"/>
                  </a:lnTo>
                  <a:lnTo>
                    <a:pt x="44" y="842"/>
                  </a:lnTo>
                  <a:lnTo>
                    <a:pt x="46" y="842"/>
                  </a:lnTo>
                  <a:lnTo>
                    <a:pt x="50" y="838"/>
                  </a:lnTo>
                  <a:lnTo>
                    <a:pt x="48" y="836"/>
                  </a:lnTo>
                  <a:lnTo>
                    <a:pt x="46" y="834"/>
                  </a:lnTo>
                  <a:lnTo>
                    <a:pt x="44" y="834"/>
                  </a:lnTo>
                  <a:lnTo>
                    <a:pt x="42" y="832"/>
                  </a:lnTo>
                  <a:lnTo>
                    <a:pt x="46" y="828"/>
                  </a:lnTo>
                  <a:lnTo>
                    <a:pt x="46" y="826"/>
                  </a:lnTo>
                  <a:lnTo>
                    <a:pt x="48" y="826"/>
                  </a:lnTo>
                  <a:lnTo>
                    <a:pt x="56" y="830"/>
                  </a:lnTo>
                  <a:lnTo>
                    <a:pt x="64" y="828"/>
                  </a:lnTo>
                  <a:lnTo>
                    <a:pt x="66" y="828"/>
                  </a:lnTo>
                  <a:lnTo>
                    <a:pt x="66" y="830"/>
                  </a:lnTo>
                  <a:lnTo>
                    <a:pt x="66" y="832"/>
                  </a:lnTo>
                  <a:lnTo>
                    <a:pt x="66" y="836"/>
                  </a:lnTo>
                  <a:lnTo>
                    <a:pt x="70" y="838"/>
                  </a:lnTo>
                  <a:lnTo>
                    <a:pt x="80" y="842"/>
                  </a:lnTo>
                  <a:lnTo>
                    <a:pt x="82" y="842"/>
                  </a:lnTo>
                  <a:lnTo>
                    <a:pt x="84" y="842"/>
                  </a:lnTo>
                  <a:lnTo>
                    <a:pt x="80" y="840"/>
                  </a:lnTo>
                  <a:lnTo>
                    <a:pt x="76" y="838"/>
                  </a:lnTo>
                  <a:lnTo>
                    <a:pt x="74" y="838"/>
                  </a:lnTo>
                  <a:lnTo>
                    <a:pt x="72" y="838"/>
                  </a:lnTo>
                  <a:lnTo>
                    <a:pt x="66" y="828"/>
                  </a:lnTo>
                  <a:lnTo>
                    <a:pt x="68" y="824"/>
                  </a:lnTo>
                  <a:lnTo>
                    <a:pt x="70" y="822"/>
                  </a:lnTo>
                  <a:lnTo>
                    <a:pt x="72" y="820"/>
                  </a:lnTo>
                  <a:lnTo>
                    <a:pt x="74" y="818"/>
                  </a:lnTo>
                  <a:lnTo>
                    <a:pt x="84" y="814"/>
                  </a:lnTo>
                  <a:lnTo>
                    <a:pt x="86" y="814"/>
                  </a:lnTo>
                  <a:lnTo>
                    <a:pt x="90" y="828"/>
                  </a:lnTo>
                  <a:lnTo>
                    <a:pt x="94" y="834"/>
                  </a:lnTo>
                  <a:lnTo>
                    <a:pt x="94" y="836"/>
                  </a:lnTo>
                  <a:lnTo>
                    <a:pt x="92" y="840"/>
                  </a:lnTo>
                  <a:lnTo>
                    <a:pt x="94" y="838"/>
                  </a:lnTo>
                  <a:lnTo>
                    <a:pt x="94" y="834"/>
                  </a:lnTo>
                  <a:lnTo>
                    <a:pt x="92" y="826"/>
                  </a:lnTo>
                  <a:lnTo>
                    <a:pt x="90" y="822"/>
                  </a:lnTo>
                  <a:lnTo>
                    <a:pt x="88" y="816"/>
                  </a:lnTo>
                  <a:lnTo>
                    <a:pt x="90" y="814"/>
                  </a:lnTo>
                  <a:lnTo>
                    <a:pt x="102" y="810"/>
                  </a:lnTo>
                  <a:lnTo>
                    <a:pt x="110" y="814"/>
                  </a:lnTo>
                  <a:lnTo>
                    <a:pt x="110" y="816"/>
                  </a:lnTo>
                  <a:lnTo>
                    <a:pt x="110" y="818"/>
                  </a:lnTo>
                  <a:lnTo>
                    <a:pt x="112" y="824"/>
                  </a:lnTo>
                  <a:lnTo>
                    <a:pt x="112" y="826"/>
                  </a:lnTo>
                  <a:lnTo>
                    <a:pt x="114" y="826"/>
                  </a:lnTo>
                  <a:lnTo>
                    <a:pt x="114" y="828"/>
                  </a:lnTo>
                  <a:lnTo>
                    <a:pt x="114" y="834"/>
                  </a:lnTo>
                  <a:lnTo>
                    <a:pt x="112" y="836"/>
                  </a:lnTo>
                  <a:lnTo>
                    <a:pt x="110" y="838"/>
                  </a:lnTo>
                  <a:lnTo>
                    <a:pt x="110" y="842"/>
                  </a:lnTo>
                  <a:lnTo>
                    <a:pt x="112" y="844"/>
                  </a:lnTo>
                  <a:lnTo>
                    <a:pt x="114" y="844"/>
                  </a:lnTo>
                  <a:lnTo>
                    <a:pt x="116" y="844"/>
                  </a:lnTo>
                  <a:lnTo>
                    <a:pt x="116" y="842"/>
                  </a:lnTo>
                  <a:lnTo>
                    <a:pt x="114" y="842"/>
                  </a:lnTo>
                  <a:lnTo>
                    <a:pt x="112" y="842"/>
                  </a:lnTo>
                  <a:lnTo>
                    <a:pt x="112" y="840"/>
                  </a:lnTo>
                  <a:lnTo>
                    <a:pt x="112" y="838"/>
                  </a:lnTo>
                  <a:lnTo>
                    <a:pt x="114" y="838"/>
                  </a:lnTo>
                  <a:lnTo>
                    <a:pt x="114" y="834"/>
                  </a:lnTo>
                  <a:lnTo>
                    <a:pt x="116" y="832"/>
                  </a:lnTo>
                  <a:lnTo>
                    <a:pt x="116" y="828"/>
                  </a:lnTo>
                  <a:lnTo>
                    <a:pt x="118" y="828"/>
                  </a:lnTo>
                  <a:lnTo>
                    <a:pt x="128" y="828"/>
                  </a:lnTo>
                  <a:lnTo>
                    <a:pt x="130" y="830"/>
                  </a:lnTo>
                  <a:lnTo>
                    <a:pt x="130" y="832"/>
                  </a:lnTo>
                  <a:lnTo>
                    <a:pt x="132" y="832"/>
                  </a:lnTo>
                  <a:lnTo>
                    <a:pt x="132" y="830"/>
                  </a:lnTo>
                  <a:lnTo>
                    <a:pt x="130" y="828"/>
                  </a:lnTo>
                  <a:lnTo>
                    <a:pt x="128" y="828"/>
                  </a:lnTo>
                  <a:lnTo>
                    <a:pt x="128" y="826"/>
                  </a:lnTo>
                  <a:lnTo>
                    <a:pt x="126" y="826"/>
                  </a:lnTo>
                  <a:lnTo>
                    <a:pt x="124" y="826"/>
                  </a:lnTo>
                  <a:lnTo>
                    <a:pt x="124" y="828"/>
                  </a:lnTo>
                  <a:lnTo>
                    <a:pt x="122" y="826"/>
                  </a:lnTo>
                  <a:lnTo>
                    <a:pt x="112" y="822"/>
                  </a:lnTo>
                  <a:lnTo>
                    <a:pt x="112" y="818"/>
                  </a:lnTo>
                  <a:lnTo>
                    <a:pt x="114" y="818"/>
                  </a:lnTo>
                  <a:lnTo>
                    <a:pt x="112" y="814"/>
                  </a:lnTo>
                  <a:lnTo>
                    <a:pt x="110" y="810"/>
                  </a:lnTo>
                  <a:lnTo>
                    <a:pt x="106" y="808"/>
                  </a:lnTo>
                  <a:lnTo>
                    <a:pt x="102" y="808"/>
                  </a:lnTo>
                  <a:lnTo>
                    <a:pt x="96" y="810"/>
                  </a:lnTo>
                  <a:lnTo>
                    <a:pt x="94" y="810"/>
                  </a:lnTo>
                  <a:lnTo>
                    <a:pt x="90" y="810"/>
                  </a:lnTo>
                  <a:lnTo>
                    <a:pt x="84" y="806"/>
                  </a:lnTo>
                  <a:lnTo>
                    <a:pt x="90" y="804"/>
                  </a:lnTo>
                  <a:lnTo>
                    <a:pt x="92" y="804"/>
                  </a:lnTo>
                  <a:lnTo>
                    <a:pt x="94" y="804"/>
                  </a:lnTo>
                  <a:lnTo>
                    <a:pt x="98" y="806"/>
                  </a:lnTo>
                  <a:lnTo>
                    <a:pt x="100" y="806"/>
                  </a:lnTo>
                  <a:lnTo>
                    <a:pt x="102" y="806"/>
                  </a:lnTo>
                  <a:lnTo>
                    <a:pt x="100" y="804"/>
                  </a:lnTo>
                  <a:lnTo>
                    <a:pt x="98" y="802"/>
                  </a:lnTo>
                  <a:lnTo>
                    <a:pt x="96" y="802"/>
                  </a:lnTo>
                  <a:lnTo>
                    <a:pt x="94" y="802"/>
                  </a:lnTo>
                  <a:lnTo>
                    <a:pt x="88" y="800"/>
                  </a:lnTo>
                  <a:lnTo>
                    <a:pt x="86" y="800"/>
                  </a:lnTo>
                  <a:lnTo>
                    <a:pt x="86" y="796"/>
                  </a:lnTo>
                  <a:lnTo>
                    <a:pt x="88" y="794"/>
                  </a:lnTo>
                  <a:lnTo>
                    <a:pt x="90" y="794"/>
                  </a:lnTo>
                  <a:lnTo>
                    <a:pt x="98" y="794"/>
                  </a:lnTo>
                  <a:lnTo>
                    <a:pt x="100" y="796"/>
                  </a:lnTo>
                  <a:lnTo>
                    <a:pt x="106" y="792"/>
                  </a:lnTo>
                  <a:lnTo>
                    <a:pt x="108" y="792"/>
                  </a:lnTo>
                  <a:lnTo>
                    <a:pt x="116" y="792"/>
                  </a:lnTo>
                  <a:lnTo>
                    <a:pt x="122" y="794"/>
                  </a:lnTo>
                  <a:lnTo>
                    <a:pt x="132" y="800"/>
                  </a:lnTo>
                  <a:lnTo>
                    <a:pt x="140" y="806"/>
                  </a:lnTo>
                  <a:lnTo>
                    <a:pt x="140" y="808"/>
                  </a:lnTo>
                  <a:lnTo>
                    <a:pt x="142" y="804"/>
                  </a:lnTo>
                  <a:lnTo>
                    <a:pt x="146" y="804"/>
                  </a:lnTo>
                  <a:lnTo>
                    <a:pt x="150" y="802"/>
                  </a:lnTo>
                  <a:lnTo>
                    <a:pt x="148" y="802"/>
                  </a:lnTo>
                  <a:lnTo>
                    <a:pt x="144" y="802"/>
                  </a:lnTo>
                  <a:lnTo>
                    <a:pt x="142" y="802"/>
                  </a:lnTo>
                  <a:lnTo>
                    <a:pt x="140" y="804"/>
                  </a:lnTo>
                  <a:lnTo>
                    <a:pt x="140" y="802"/>
                  </a:lnTo>
                  <a:lnTo>
                    <a:pt x="138" y="802"/>
                  </a:lnTo>
                  <a:lnTo>
                    <a:pt x="136" y="802"/>
                  </a:lnTo>
                  <a:lnTo>
                    <a:pt x="136" y="800"/>
                  </a:lnTo>
                  <a:lnTo>
                    <a:pt x="136" y="798"/>
                  </a:lnTo>
                  <a:lnTo>
                    <a:pt x="140" y="794"/>
                  </a:lnTo>
                  <a:lnTo>
                    <a:pt x="144" y="792"/>
                  </a:lnTo>
                  <a:lnTo>
                    <a:pt x="146" y="790"/>
                  </a:lnTo>
                  <a:lnTo>
                    <a:pt x="152" y="790"/>
                  </a:lnTo>
                  <a:lnTo>
                    <a:pt x="154" y="790"/>
                  </a:lnTo>
                  <a:lnTo>
                    <a:pt x="156" y="790"/>
                  </a:lnTo>
                  <a:lnTo>
                    <a:pt x="162" y="790"/>
                  </a:lnTo>
                  <a:lnTo>
                    <a:pt x="164" y="792"/>
                  </a:lnTo>
                  <a:lnTo>
                    <a:pt x="166" y="794"/>
                  </a:lnTo>
                  <a:lnTo>
                    <a:pt x="168" y="794"/>
                  </a:lnTo>
                  <a:lnTo>
                    <a:pt x="166" y="792"/>
                  </a:lnTo>
                  <a:lnTo>
                    <a:pt x="164" y="788"/>
                  </a:lnTo>
                  <a:lnTo>
                    <a:pt x="162" y="786"/>
                  </a:lnTo>
                  <a:lnTo>
                    <a:pt x="148" y="788"/>
                  </a:lnTo>
                  <a:lnTo>
                    <a:pt x="142" y="790"/>
                  </a:lnTo>
                  <a:lnTo>
                    <a:pt x="140" y="792"/>
                  </a:lnTo>
                  <a:lnTo>
                    <a:pt x="136" y="792"/>
                  </a:lnTo>
                  <a:lnTo>
                    <a:pt x="134" y="788"/>
                  </a:lnTo>
                  <a:lnTo>
                    <a:pt x="138" y="786"/>
                  </a:lnTo>
                  <a:lnTo>
                    <a:pt x="140" y="784"/>
                  </a:lnTo>
                  <a:lnTo>
                    <a:pt x="142" y="784"/>
                  </a:lnTo>
                  <a:lnTo>
                    <a:pt x="144" y="784"/>
                  </a:lnTo>
                  <a:lnTo>
                    <a:pt x="148" y="784"/>
                  </a:lnTo>
                  <a:lnTo>
                    <a:pt x="148" y="782"/>
                  </a:lnTo>
                  <a:lnTo>
                    <a:pt x="146" y="782"/>
                  </a:lnTo>
                  <a:lnTo>
                    <a:pt x="140" y="784"/>
                  </a:lnTo>
                  <a:lnTo>
                    <a:pt x="138" y="784"/>
                  </a:lnTo>
                  <a:lnTo>
                    <a:pt x="136" y="786"/>
                  </a:lnTo>
                  <a:lnTo>
                    <a:pt x="132" y="786"/>
                  </a:lnTo>
                  <a:lnTo>
                    <a:pt x="128" y="786"/>
                  </a:lnTo>
                  <a:lnTo>
                    <a:pt x="118" y="786"/>
                  </a:lnTo>
                  <a:lnTo>
                    <a:pt x="116" y="786"/>
                  </a:lnTo>
                  <a:lnTo>
                    <a:pt x="118" y="778"/>
                  </a:lnTo>
                  <a:lnTo>
                    <a:pt x="120" y="774"/>
                  </a:lnTo>
                  <a:lnTo>
                    <a:pt x="118" y="768"/>
                  </a:lnTo>
                  <a:lnTo>
                    <a:pt x="120" y="766"/>
                  </a:lnTo>
                  <a:lnTo>
                    <a:pt x="124" y="764"/>
                  </a:lnTo>
                  <a:lnTo>
                    <a:pt x="126" y="762"/>
                  </a:lnTo>
                  <a:lnTo>
                    <a:pt x="134" y="760"/>
                  </a:lnTo>
                  <a:lnTo>
                    <a:pt x="134" y="762"/>
                  </a:lnTo>
                  <a:lnTo>
                    <a:pt x="138" y="766"/>
                  </a:lnTo>
                  <a:lnTo>
                    <a:pt x="140" y="770"/>
                  </a:lnTo>
                  <a:lnTo>
                    <a:pt x="144" y="770"/>
                  </a:lnTo>
                  <a:lnTo>
                    <a:pt x="146" y="768"/>
                  </a:lnTo>
                  <a:lnTo>
                    <a:pt x="148" y="768"/>
                  </a:lnTo>
                  <a:lnTo>
                    <a:pt x="148" y="766"/>
                  </a:lnTo>
                  <a:lnTo>
                    <a:pt x="150" y="766"/>
                  </a:lnTo>
                  <a:lnTo>
                    <a:pt x="152" y="766"/>
                  </a:lnTo>
                  <a:lnTo>
                    <a:pt x="154" y="768"/>
                  </a:lnTo>
                  <a:lnTo>
                    <a:pt x="152" y="770"/>
                  </a:lnTo>
                  <a:lnTo>
                    <a:pt x="150" y="770"/>
                  </a:lnTo>
                  <a:lnTo>
                    <a:pt x="150" y="772"/>
                  </a:lnTo>
                  <a:lnTo>
                    <a:pt x="152" y="772"/>
                  </a:lnTo>
                  <a:lnTo>
                    <a:pt x="160" y="768"/>
                  </a:lnTo>
                  <a:lnTo>
                    <a:pt x="162" y="768"/>
                  </a:lnTo>
                  <a:lnTo>
                    <a:pt x="164" y="768"/>
                  </a:lnTo>
                  <a:lnTo>
                    <a:pt x="166" y="770"/>
                  </a:lnTo>
                  <a:lnTo>
                    <a:pt x="168" y="770"/>
                  </a:lnTo>
                  <a:lnTo>
                    <a:pt x="168" y="774"/>
                  </a:lnTo>
                  <a:lnTo>
                    <a:pt x="168" y="782"/>
                  </a:lnTo>
                  <a:lnTo>
                    <a:pt x="170" y="784"/>
                  </a:lnTo>
                  <a:lnTo>
                    <a:pt x="172" y="786"/>
                  </a:lnTo>
                  <a:lnTo>
                    <a:pt x="174" y="786"/>
                  </a:lnTo>
                  <a:lnTo>
                    <a:pt x="182" y="794"/>
                  </a:lnTo>
                  <a:lnTo>
                    <a:pt x="184" y="794"/>
                  </a:lnTo>
                  <a:lnTo>
                    <a:pt x="184" y="796"/>
                  </a:lnTo>
                  <a:lnTo>
                    <a:pt x="184" y="798"/>
                  </a:lnTo>
                  <a:lnTo>
                    <a:pt x="186" y="798"/>
                  </a:lnTo>
                  <a:lnTo>
                    <a:pt x="186" y="794"/>
                  </a:lnTo>
                  <a:lnTo>
                    <a:pt x="176" y="784"/>
                  </a:lnTo>
                  <a:lnTo>
                    <a:pt x="174" y="784"/>
                  </a:lnTo>
                  <a:lnTo>
                    <a:pt x="172" y="782"/>
                  </a:lnTo>
                  <a:lnTo>
                    <a:pt x="170" y="780"/>
                  </a:lnTo>
                  <a:lnTo>
                    <a:pt x="170" y="776"/>
                  </a:lnTo>
                  <a:lnTo>
                    <a:pt x="170" y="770"/>
                  </a:lnTo>
                  <a:lnTo>
                    <a:pt x="164" y="764"/>
                  </a:lnTo>
                  <a:lnTo>
                    <a:pt x="162" y="764"/>
                  </a:lnTo>
                  <a:lnTo>
                    <a:pt x="160" y="764"/>
                  </a:lnTo>
                  <a:lnTo>
                    <a:pt x="164" y="758"/>
                  </a:lnTo>
                  <a:lnTo>
                    <a:pt x="166" y="756"/>
                  </a:lnTo>
                  <a:lnTo>
                    <a:pt x="168" y="756"/>
                  </a:lnTo>
                  <a:lnTo>
                    <a:pt x="170" y="758"/>
                  </a:lnTo>
                  <a:lnTo>
                    <a:pt x="170" y="760"/>
                  </a:lnTo>
                  <a:lnTo>
                    <a:pt x="176" y="772"/>
                  </a:lnTo>
                  <a:lnTo>
                    <a:pt x="176" y="776"/>
                  </a:lnTo>
                  <a:lnTo>
                    <a:pt x="178" y="778"/>
                  </a:lnTo>
                  <a:lnTo>
                    <a:pt x="184" y="782"/>
                  </a:lnTo>
                  <a:lnTo>
                    <a:pt x="186" y="782"/>
                  </a:lnTo>
                  <a:lnTo>
                    <a:pt x="184" y="778"/>
                  </a:lnTo>
                  <a:lnTo>
                    <a:pt x="182" y="772"/>
                  </a:lnTo>
                  <a:lnTo>
                    <a:pt x="182" y="770"/>
                  </a:lnTo>
                  <a:lnTo>
                    <a:pt x="184" y="770"/>
                  </a:lnTo>
                  <a:lnTo>
                    <a:pt x="186" y="770"/>
                  </a:lnTo>
                  <a:lnTo>
                    <a:pt x="188" y="770"/>
                  </a:lnTo>
                  <a:lnTo>
                    <a:pt x="190" y="770"/>
                  </a:lnTo>
                  <a:lnTo>
                    <a:pt x="192" y="770"/>
                  </a:lnTo>
                  <a:lnTo>
                    <a:pt x="186" y="768"/>
                  </a:lnTo>
                  <a:lnTo>
                    <a:pt x="182" y="768"/>
                  </a:lnTo>
                  <a:lnTo>
                    <a:pt x="180" y="768"/>
                  </a:lnTo>
                  <a:lnTo>
                    <a:pt x="174" y="764"/>
                  </a:lnTo>
                  <a:lnTo>
                    <a:pt x="172" y="754"/>
                  </a:lnTo>
                  <a:lnTo>
                    <a:pt x="176" y="752"/>
                  </a:lnTo>
                  <a:lnTo>
                    <a:pt x="178" y="752"/>
                  </a:lnTo>
                  <a:lnTo>
                    <a:pt x="188" y="754"/>
                  </a:lnTo>
                  <a:lnTo>
                    <a:pt x="190" y="754"/>
                  </a:lnTo>
                  <a:lnTo>
                    <a:pt x="190" y="752"/>
                  </a:lnTo>
                  <a:lnTo>
                    <a:pt x="192" y="750"/>
                  </a:lnTo>
                  <a:lnTo>
                    <a:pt x="196" y="750"/>
                  </a:lnTo>
                  <a:lnTo>
                    <a:pt x="198" y="750"/>
                  </a:lnTo>
                  <a:lnTo>
                    <a:pt x="200" y="750"/>
                  </a:lnTo>
                  <a:lnTo>
                    <a:pt x="206" y="750"/>
                  </a:lnTo>
                  <a:lnTo>
                    <a:pt x="202" y="748"/>
                  </a:lnTo>
                  <a:lnTo>
                    <a:pt x="200" y="748"/>
                  </a:lnTo>
                  <a:lnTo>
                    <a:pt x="192" y="748"/>
                  </a:lnTo>
                  <a:lnTo>
                    <a:pt x="186" y="740"/>
                  </a:lnTo>
                  <a:lnTo>
                    <a:pt x="190" y="738"/>
                  </a:lnTo>
                  <a:lnTo>
                    <a:pt x="192" y="738"/>
                  </a:lnTo>
                  <a:lnTo>
                    <a:pt x="194" y="738"/>
                  </a:lnTo>
                  <a:lnTo>
                    <a:pt x="196" y="738"/>
                  </a:lnTo>
                  <a:lnTo>
                    <a:pt x="198" y="736"/>
                  </a:lnTo>
                  <a:lnTo>
                    <a:pt x="198" y="7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6" name="Freeform 2729"/>
            <p:cNvSpPr>
              <a:spLocks/>
            </p:cNvSpPr>
            <p:nvPr/>
          </p:nvSpPr>
          <p:spPr bwMode="auto">
            <a:xfrm>
              <a:off x="2936" y="304"/>
              <a:ext cx="4" cy="8"/>
            </a:xfrm>
            <a:custGeom>
              <a:avLst/>
              <a:gdLst/>
              <a:ahLst/>
              <a:cxnLst>
                <a:cxn ang="0">
                  <a:pos x="4" y="8"/>
                </a:cxn>
                <a:cxn ang="0">
                  <a:pos x="2" y="6"/>
                </a:cxn>
                <a:cxn ang="0">
                  <a:pos x="0" y="6"/>
                </a:cxn>
                <a:cxn ang="0">
                  <a:pos x="0" y="4"/>
                </a:cxn>
                <a:cxn ang="0">
                  <a:pos x="0" y="0"/>
                </a:cxn>
                <a:cxn ang="0">
                  <a:pos x="2" y="0"/>
                </a:cxn>
                <a:cxn ang="0">
                  <a:pos x="4" y="0"/>
                </a:cxn>
                <a:cxn ang="0">
                  <a:pos x="4" y="2"/>
                </a:cxn>
                <a:cxn ang="0">
                  <a:pos x="4" y="6"/>
                </a:cxn>
                <a:cxn ang="0">
                  <a:pos x="4" y="8"/>
                </a:cxn>
              </a:cxnLst>
              <a:rect l="0" t="0" r="r" b="b"/>
              <a:pathLst>
                <a:path w="4" h="8">
                  <a:moveTo>
                    <a:pt x="4" y="8"/>
                  </a:moveTo>
                  <a:lnTo>
                    <a:pt x="2" y="6"/>
                  </a:lnTo>
                  <a:lnTo>
                    <a:pt x="0" y="6"/>
                  </a:lnTo>
                  <a:lnTo>
                    <a:pt x="0" y="4"/>
                  </a:lnTo>
                  <a:lnTo>
                    <a:pt x="0" y="0"/>
                  </a:lnTo>
                  <a:lnTo>
                    <a:pt x="2" y="0"/>
                  </a:lnTo>
                  <a:lnTo>
                    <a:pt x="4" y="0"/>
                  </a:lnTo>
                  <a:lnTo>
                    <a:pt x="4" y="2"/>
                  </a:lnTo>
                  <a:lnTo>
                    <a:pt x="4" y="6"/>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7" name="Freeform 2730"/>
            <p:cNvSpPr>
              <a:spLocks/>
            </p:cNvSpPr>
            <p:nvPr/>
          </p:nvSpPr>
          <p:spPr bwMode="auto">
            <a:xfrm>
              <a:off x="2912" y="314"/>
              <a:ext cx="12" cy="10"/>
            </a:xfrm>
            <a:custGeom>
              <a:avLst/>
              <a:gdLst/>
              <a:ahLst/>
              <a:cxnLst>
                <a:cxn ang="0">
                  <a:pos x="6" y="10"/>
                </a:cxn>
                <a:cxn ang="0">
                  <a:pos x="2" y="8"/>
                </a:cxn>
                <a:cxn ang="0">
                  <a:pos x="0" y="4"/>
                </a:cxn>
                <a:cxn ang="0">
                  <a:pos x="2" y="2"/>
                </a:cxn>
                <a:cxn ang="0">
                  <a:pos x="2" y="0"/>
                </a:cxn>
                <a:cxn ang="0">
                  <a:pos x="6" y="0"/>
                </a:cxn>
                <a:cxn ang="0">
                  <a:pos x="12" y="2"/>
                </a:cxn>
                <a:cxn ang="0">
                  <a:pos x="12" y="6"/>
                </a:cxn>
                <a:cxn ang="0">
                  <a:pos x="10" y="8"/>
                </a:cxn>
                <a:cxn ang="0">
                  <a:pos x="8" y="10"/>
                </a:cxn>
                <a:cxn ang="0">
                  <a:pos x="6" y="10"/>
                </a:cxn>
              </a:cxnLst>
              <a:rect l="0" t="0" r="r" b="b"/>
              <a:pathLst>
                <a:path w="12" h="10">
                  <a:moveTo>
                    <a:pt x="6" y="10"/>
                  </a:moveTo>
                  <a:lnTo>
                    <a:pt x="2" y="8"/>
                  </a:lnTo>
                  <a:lnTo>
                    <a:pt x="0" y="4"/>
                  </a:lnTo>
                  <a:lnTo>
                    <a:pt x="2" y="2"/>
                  </a:lnTo>
                  <a:lnTo>
                    <a:pt x="2" y="0"/>
                  </a:lnTo>
                  <a:lnTo>
                    <a:pt x="6" y="0"/>
                  </a:lnTo>
                  <a:lnTo>
                    <a:pt x="12" y="2"/>
                  </a:lnTo>
                  <a:lnTo>
                    <a:pt x="12" y="6"/>
                  </a:lnTo>
                  <a:lnTo>
                    <a:pt x="10" y="8"/>
                  </a:lnTo>
                  <a:lnTo>
                    <a:pt x="8" y="10"/>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8" name="Freeform 2731"/>
            <p:cNvSpPr>
              <a:spLocks/>
            </p:cNvSpPr>
            <p:nvPr/>
          </p:nvSpPr>
          <p:spPr bwMode="auto">
            <a:xfrm>
              <a:off x="2858" y="332"/>
              <a:ext cx="44" cy="40"/>
            </a:xfrm>
            <a:custGeom>
              <a:avLst/>
              <a:gdLst/>
              <a:ahLst/>
              <a:cxnLst>
                <a:cxn ang="0">
                  <a:pos x="8" y="40"/>
                </a:cxn>
                <a:cxn ang="0">
                  <a:pos x="6" y="40"/>
                </a:cxn>
                <a:cxn ang="0">
                  <a:pos x="6" y="36"/>
                </a:cxn>
                <a:cxn ang="0">
                  <a:pos x="8" y="36"/>
                </a:cxn>
                <a:cxn ang="0">
                  <a:pos x="8" y="32"/>
                </a:cxn>
                <a:cxn ang="0">
                  <a:pos x="8" y="28"/>
                </a:cxn>
                <a:cxn ang="0">
                  <a:pos x="6" y="28"/>
                </a:cxn>
                <a:cxn ang="0">
                  <a:pos x="4" y="28"/>
                </a:cxn>
                <a:cxn ang="0">
                  <a:pos x="2" y="28"/>
                </a:cxn>
                <a:cxn ang="0">
                  <a:pos x="0" y="24"/>
                </a:cxn>
                <a:cxn ang="0">
                  <a:pos x="0" y="22"/>
                </a:cxn>
                <a:cxn ang="0">
                  <a:pos x="4" y="22"/>
                </a:cxn>
                <a:cxn ang="0">
                  <a:pos x="6" y="24"/>
                </a:cxn>
                <a:cxn ang="0">
                  <a:pos x="8" y="22"/>
                </a:cxn>
                <a:cxn ang="0">
                  <a:pos x="12" y="20"/>
                </a:cxn>
                <a:cxn ang="0">
                  <a:pos x="12" y="18"/>
                </a:cxn>
                <a:cxn ang="0">
                  <a:pos x="12" y="16"/>
                </a:cxn>
                <a:cxn ang="0">
                  <a:pos x="16" y="16"/>
                </a:cxn>
                <a:cxn ang="0">
                  <a:pos x="20" y="18"/>
                </a:cxn>
                <a:cxn ang="0">
                  <a:pos x="20" y="20"/>
                </a:cxn>
                <a:cxn ang="0">
                  <a:pos x="20" y="22"/>
                </a:cxn>
                <a:cxn ang="0">
                  <a:pos x="22" y="22"/>
                </a:cxn>
                <a:cxn ang="0">
                  <a:pos x="26" y="22"/>
                </a:cxn>
                <a:cxn ang="0">
                  <a:pos x="24" y="18"/>
                </a:cxn>
                <a:cxn ang="0">
                  <a:pos x="24" y="16"/>
                </a:cxn>
                <a:cxn ang="0">
                  <a:pos x="22" y="14"/>
                </a:cxn>
                <a:cxn ang="0">
                  <a:pos x="24" y="10"/>
                </a:cxn>
                <a:cxn ang="0">
                  <a:pos x="26" y="14"/>
                </a:cxn>
                <a:cxn ang="0">
                  <a:pos x="28" y="16"/>
                </a:cxn>
                <a:cxn ang="0">
                  <a:pos x="30" y="18"/>
                </a:cxn>
                <a:cxn ang="0">
                  <a:pos x="30" y="20"/>
                </a:cxn>
                <a:cxn ang="0">
                  <a:pos x="32" y="18"/>
                </a:cxn>
                <a:cxn ang="0">
                  <a:pos x="34" y="12"/>
                </a:cxn>
                <a:cxn ang="0">
                  <a:pos x="34" y="6"/>
                </a:cxn>
                <a:cxn ang="0">
                  <a:pos x="38" y="8"/>
                </a:cxn>
                <a:cxn ang="0">
                  <a:pos x="40" y="8"/>
                </a:cxn>
                <a:cxn ang="0">
                  <a:pos x="40" y="6"/>
                </a:cxn>
                <a:cxn ang="0">
                  <a:pos x="40" y="4"/>
                </a:cxn>
                <a:cxn ang="0">
                  <a:pos x="38" y="0"/>
                </a:cxn>
                <a:cxn ang="0">
                  <a:pos x="40" y="0"/>
                </a:cxn>
                <a:cxn ang="0">
                  <a:pos x="44" y="4"/>
                </a:cxn>
                <a:cxn ang="0">
                  <a:pos x="44" y="6"/>
                </a:cxn>
                <a:cxn ang="0">
                  <a:pos x="42" y="10"/>
                </a:cxn>
                <a:cxn ang="0">
                  <a:pos x="40" y="14"/>
                </a:cxn>
                <a:cxn ang="0">
                  <a:pos x="36" y="20"/>
                </a:cxn>
                <a:cxn ang="0">
                  <a:pos x="36" y="26"/>
                </a:cxn>
                <a:cxn ang="0">
                  <a:pos x="30" y="32"/>
                </a:cxn>
                <a:cxn ang="0">
                  <a:pos x="26" y="32"/>
                </a:cxn>
                <a:cxn ang="0">
                  <a:pos x="24" y="30"/>
                </a:cxn>
                <a:cxn ang="0">
                  <a:pos x="22" y="30"/>
                </a:cxn>
                <a:cxn ang="0">
                  <a:pos x="20" y="30"/>
                </a:cxn>
                <a:cxn ang="0">
                  <a:pos x="20" y="32"/>
                </a:cxn>
                <a:cxn ang="0">
                  <a:pos x="22" y="34"/>
                </a:cxn>
                <a:cxn ang="0">
                  <a:pos x="20" y="34"/>
                </a:cxn>
                <a:cxn ang="0">
                  <a:pos x="16" y="36"/>
                </a:cxn>
                <a:cxn ang="0">
                  <a:pos x="12" y="36"/>
                </a:cxn>
                <a:cxn ang="0">
                  <a:pos x="12" y="38"/>
                </a:cxn>
                <a:cxn ang="0">
                  <a:pos x="12" y="36"/>
                </a:cxn>
                <a:cxn ang="0">
                  <a:pos x="10" y="36"/>
                </a:cxn>
                <a:cxn ang="0">
                  <a:pos x="8" y="40"/>
                </a:cxn>
              </a:cxnLst>
              <a:rect l="0" t="0" r="r" b="b"/>
              <a:pathLst>
                <a:path w="44" h="40">
                  <a:moveTo>
                    <a:pt x="8" y="40"/>
                  </a:moveTo>
                  <a:lnTo>
                    <a:pt x="6" y="40"/>
                  </a:lnTo>
                  <a:lnTo>
                    <a:pt x="6" y="36"/>
                  </a:lnTo>
                  <a:lnTo>
                    <a:pt x="8" y="36"/>
                  </a:lnTo>
                  <a:lnTo>
                    <a:pt x="8" y="32"/>
                  </a:lnTo>
                  <a:lnTo>
                    <a:pt x="8" y="28"/>
                  </a:lnTo>
                  <a:lnTo>
                    <a:pt x="6" y="28"/>
                  </a:lnTo>
                  <a:lnTo>
                    <a:pt x="4" y="28"/>
                  </a:lnTo>
                  <a:lnTo>
                    <a:pt x="2" y="28"/>
                  </a:lnTo>
                  <a:lnTo>
                    <a:pt x="0" y="24"/>
                  </a:lnTo>
                  <a:lnTo>
                    <a:pt x="0" y="22"/>
                  </a:lnTo>
                  <a:lnTo>
                    <a:pt x="4" y="22"/>
                  </a:lnTo>
                  <a:lnTo>
                    <a:pt x="6" y="24"/>
                  </a:lnTo>
                  <a:lnTo>
                    <a:pt x="8" y="22"/>
                  </a:lnTo>
                  <a:lnTo>
                    <a:pt x="12" y="20"/>
                  </a:lnTo>
                  <a:lnTo>
                    <a:pt x="12" y="18"/>
                  </a:lnTo>
                  <a:lnTo>
                    <a:pt x="12" y="16"/>
                  </a:lnTo>
                  <a:lnTo>
                    <a:pt x="16" y="16"/>
                  </a:lnTo>
                  <a:lnTo>
                    <a:pt x="20" y="18"/>
                  </a:lnTo>
                  <a:lnTo>
                    <a:pt x="20" y="20"/>
                  </a:lnTo>
                  <a:lnTo>
                    <a:pt x="20" y="22"/>
                  </a:lnTo>
                  <a:lnTo>
                    <a:pt x="22" y="22"/>
                  </a:lnTo>
                  <a:lnTo>
                    <a:pt x="26" y="22"/>
                  </a:lnTo>
                  <a:lnTo>
                    <a:pt x="24" y="18"/>
                  </a:lnTo>
                  <a:lnTo>
                    <a:pt x="24" y="16"/>
                  </a:lnTo>
                  <a:lnTo>
                    <a:pt x="22" y="14"/>
                  </a:lnTo>
                  <a:lnTo>
                    <a:pt x="24" y="10"/>
                  </a:lnTo>
                  <a:lnTo>
                    <a:pt x="26" y="14"/>
                  </a:lnTo>
                  <a:lnTo>
                    <a:pt x="28" y="16"/>
                  </a:lnTo>
                  <a:lnTo>
                    <a:pt x="30" y="18"/>
                  </a:lnTo>
                  <a:lnTo>
                    <a:pt x="30" y="20"/>
                  </a:lnTo>
                  <a:lnTo>
                    <a:pt x="32" y="18"/>
                  </a:lnTo>
                  <a:lnTo>
                    <a:pt x="34" y="12"/>
                  </a:lnTo>
                  <a:lnTo>
                    <a:pt x="34" y="6"/>
                  </a:lnTo>
                  <a:lnTo>
                    <a:pt x="38" y="8"/>
                  </a:lnTo>
                  <a:lnTo>
                    <a:pt x="40" y="8"/>
                  </a:lnTo>
                  <a:lnTo>
                    <a:pt x="40" y="6"/>
                  </a:lnTo>
                  <a:lnTo>
                    <a:pt x="40" y="4"/>
                  </a:lnTo>
                  <a:lnTo>
                    <a:pt x="38" y="0"/>
                  </a:lnTo>
                  <a:lnTo>
                    <a:pt x="40" y="0"/>
                  </a:lnTo>
                  <a:lnTo>
                    <a:pt x="44" y="4"/>
                  </a:lnTo>
                  <a:lnTo>
                    <a:pt x="44" y="6"/>
                  </a:lnTo>
                  <a:lnTo>
                    <a:pt x="42" y="10"/>
                  </a:lnTo>
                  <a:lnTo>
                    <a:pt x="40" y="14"/>
                  </a:lnTo>
                  <a:lnTo>
                    <a:pt x="36" y="20"/>
                  </a:lnTo>
                  <a:lnTo>
                    <a:pt x="36" y="26"/>
                  </a:lnTo>
                  <a:lnTo>
                    <a:pt x="30" y="32"/>
                  </a:lnTo>
                  <a:lnTo>
                    <a:pt x="26" y="32"/>
                  </a:lnTo>
                  <a:lnTo>
                    <a:pt x="24" y="30"/>
                  </a:lnTo>
                  <a:lnTo>
                    <a:pt x="22" y="30"/>
                  </a:lnTo>
                  <a:lnTo>
                    <a:pt x="20" y="30"/>
                  </a:lnTo>
                  <a:lnTo>
                    <a:pt x="20" y="32"/>
                  </a:lnTo>
                  <a:lnTo>
                    <a:pt x="22" y="34"/>
                  </a:lnTo>
                  <a:lnTo>
                    <a:pt x="20" y="34"/>
                  </a:lnTo>
                  <a:lnTo>
                    <a:pt x="16" y="36"/>
                  </a:lnTo>
                  <a:lnTo>
                    <a:pt x="12" y="36"/>
                  </a:lnTo>
                  <a:lnTo>
                    <a:pt x="12" y="38"/>
                  </a:lnTo>
                  <a:lnTo>
                    <a:pt x="12" y="36"/>
                  </a:lnTo>
                  <a:lnTo>
                    <a:pt x="10" y="36"/>
                  </a:lnTo>
                  <a:lnTo>
                    <a:pt x="8" y="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0" name="Freeform 2732"/>
            <p:cNvSpPr>
              <a:spLocks/>
            </p:cNvSpPr>
            <p:nvPr/>
          </p:nvSpPr>
          <p:spPr bwMode="auto">
            <a:xfrm>
              <a:off x="2908" y="340"/>
              <a:ext cx="18" cy="22"/>
            </a:xfrm>
            <a:custGeom>
              <a:avLst/>
              <a:gdLst/>
              <a:ahLst/>
              <a:cxnLst>
                <a:cxn ang="0">
                  <a:pos x="10" y="22"/>
                </a:cxn>
                <a:cxn ang="0">
                  <a:pos x="8" y="22"/>
                </a:cxn>
                <a:cxn ang="0">
                  <a:pos x="6" y="22"/>
                </a:cxn>
                <a:cxn ang="0">
                  <a:pos x="6" y="20"/>
                </a:cxn>
                <a:cxn ang="0">
                  <a:pos x="4" y="18"/>
                </a:cxn>
                <a:cxn ang="0">
                  <a:pos x="0" y="6"/>
                </a:cxn>
                <a:cxn ang="0">
                  <a:pos x="2" y="2"/>
                </a:cxn>
                <a:cxn ang="0">
                  <a:pos x="2" y="0"/>
                </a:cxn>
                <a:cxn ang="0">
                  <a:pos x="6" y="0"/>
                </a:cxn>
                <a:cxn ang="0">
                  <a:pos x="10" y="4"/>
                </a:cxn>
                <a:cxn ang="0">
                  <a:pos x="14" y="6"/>
                </a:cxn>
                <a:cxn ang="0">
                  <a:pos x="16" y="10"/>
                </a:cxn>
                <a:cxn ang="0">
                  <a:pos x="18" y="12"/>
                </a:cxn>
                <a:cxn ang="0">
                  <a:pos x="16" y="14"/>
                </a:cxn>
                <a:cxn ang="0">
                  <a:pos x="12" y="20"/>
                </a:cxn>
                <a:cxn ang="0">
                  <a:pos x="10" y="22"/>
                </a:cxn>
              </a:cxnLst>
              <a:rect l="0" t="0" r="r" b="b"/>
              <a:pathLst>
                <a:path w="18" h="22">
                  <a:moveTo>
                    <a:pt x="10" y="22"/>
                  </a:moveTo>
                  <a:lnTo>
                    <a:pt x="8" y="22"/>
                  </a:lnTo>
                  <a:lnTo>
                    <a:pt x="6" y="22"/>
                  </a:lnTo>
                  <a:lnTo>
                    <a:pt x="6" y="20"/>
                  </a:lnTo>
                  <a:lnTo>
                    <a:pt x="4" y="18"/>
                  </a:lnTo>
                  <a:lnTo>
                    <a:pt x="0" y="6"/>
                  </a:lnTo>
                  <a:lnTo>
                    <a:pt x="2" y="2"/>
                  </a:lnTo>
                  <a:lnTo>
                    <a:pt x="2" y="0"/>
                  </a:lnTo>
                  <a:lnTo>
                    <a:pt x="6" y="0"/>
                  </a:lnTo>
                  <a:lnTo>
                    <a:pt x="10" y="4"/>
                  </a:lnTo>
                  <a:lnTo>
                    <a:pt x="14" y="6"/>
                  </a:lnTo>
                  <a:lnTo>
                    <a:pt x="16" y="10"/>
                  </a:lnTo>
                  <a:lnTo>
                    <a:pt x="18" y="12"/>
                  </a:lnTo>
                  <a:lnTo>
                    <a:pt x="16" y="14"/>
                  </a:lnTo>
                  <a:lnTo>
                    <a:pt x="12" y="20"/>
                  </a:lnTo>
                  <a:lnTo>
                    <a:pt x="10"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1" name="Freeform 2733"/>
            <p:cNvSpPr>
              <a:spLocks/>
            </p:cNvSpPr>
            <p:nvPr/>
          </p:nvSpPr>
          <p:spPr bwMode="auto">
            <a:xfrm>
              <a:off x="2888" y="354"/>
              <a:ext cx="24" cy="32"/>
            </a:xfrm>
            <a:custGeom>
              <a:avLst/>
              <a:gdLst/>
              <a:ahLst/>
              <a:cxnLst>
                <a:cxn ang="0">
                  <a:pos x="10" y="32"/>
                </a:cxn>
                <a:cxn ang="0">
                  <a:pos x="8" y="30"/>
                </a:cxn>
                <a:cxn ang="0">
                  <a:pos x="0" y="22"/>
                </a:cxn>
                <a:cxn ang="0">
                  <a:pos x="0" y="18"/>
                </a:cxn>
                <a:cxn ang="0">
                  <a:pos x="2" y="16"/>
                </a:cxn>
                <a:cxn ang="0">
                  <a:pos x="8" y="8"/>
                </a:cxn>
                <a:cxn ang="0">
                  <a:pos x="8" y="6"/>
                </a:cxn>
                <a:cxn ang="0">
                  <a:pos x="10" y="6"/>
                </a:cxn>
                <a:cxn ang="0">
                  <a:pos x="10" y="8"/>
                </a:cxn>
                <a:cxn ang="0">
                  <a:pos x="16" y="4"/>
                </a:cxn>
                <a:cxn ang="0">
                  <a:pos x="14" y="0"/>
                </a:cxn>
                <a:cxn ang="0">
                  <a:pos x="16" y="0"/>
                </a:cxn>
                <a:cxn ang="0">
                  <a:pos x="18" y="0"/>
                </a:cxn>
                <a:cxn ang="0">
                  <a:pos x="20" y="2"/>
                </a:cxn>
                <a:cxn ang="0">
                  <a:pos x="24" y="10"/>
                </a:cxn>
                <a:cxn ang="0">
                  <a:pos x="24" y="14"/>
                </a:cxn>
                <a:cxn ang="0">
                  <a:pos x="22" y="20"/>
                </a:cxn>
                <a:cxn ang="0">
                  <a:pos x="16" y="28"/>
                </a:cxn>
                <a:cxn ang="0">
                  <a:pos x="14" y="32"/>
                </a:cxn>
                <a:cxn ang="0">
                  <a:pos x="12" y="32"/>
                </a:cxn>
                <a:cxn ang="0">
                  <a:pos x="10" y="32"/>
                </a:cxn>
              </a:cxnLst>
              <a:rect l="0" t="0" r="r" b="b"/>
              <a:pathLst>
                <a:path w="24" h="32">
                  <a:moveTo>
                    <a:pt x="10" y="32"/>
                  </a:moveTo>
                  <a:lnTo>
                    <a:pt x="8" y="30"/>
                  </a:lnTo>
                  <a:lnTo>
                    <a:pt x="0" y="22"/>
                  </a:lnTo>
                  <a:lnTo>
                    <a:pt x="0" y="18"/>
                  </a:lnTo>
                  <a:lnTo>
                    <a:pt x="2" y="16"/>
                  </a:lnTo>
                  <a:lnTo>
                    <a:pt x="8" y="8"/>
                  </a:lnTo>
                  <a:lnTo>
                    <a:pt x="8" y="6"/>
                  </a:lnTo>
                  <a:lnTo>
                    <a:pt x="10" y="6"/>
                  </a:lnTo>
                  <a:lnTo>
                    <a:pt x="10" y="8"/>
                  </a:lnTo>
                  <a:lnTo>
                    <a:pt x="16" y="4"/>
                  </a:lnTo>
                  <a:lnTo>
                    <a:pt x="14" y="0"/>
                  </a:lnTo>
                  <a:lnTo>
                    <a:pt x="16" y="0"/>
                  </a:lnTo>
                  <a:lnTo>
                    <a:pt x="18" y="0"/>
                  </a:lnTo>
                  <a:lnTo>
                    <a:pt x="20" y="2"/>
                  </a:lnTo>
                  <a:lnTo>
                    <a:pt x="24" y="10"/>
                  </a:lnTo>
                  <a:lnTo>
                    <a:pt x="24" y="14"/>
                  </a:lnTo>
                  <a:lnTo>
                    <a:pt x="22" y="20"/>
                  </a:lnTo>
                  <a:lnTo>
                    <a:pt x="16" y="28"/>
                  </a:lnTo>
                  <a:lnTo>
                    <a:pt x="14" y="32"/>
                  </a:lnTo>
                  <a:lnTo>
                    <a:pt x="12" y="32"/>
                  </a:lnTo>
                  <a:lnTo>
                    <a:pt x="10" y="3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2" name="Freeform 2734"/>
            <p:cNvSpPr>
              <a:spLocks/>
            </p:cNvSpPr>
            <p:nvPr/>
          </p:nvSpPr>
          <p:spPr bwMode="auto">
            <a:xfrm>
              <a:off x="2874" y="376"/>
              <a:ext cx="20" cy="14"/>
            </a:xfrm>
            <a:custGeom>
              <a:avLst/>
              <a:gdLst/>
              <a:ahLst/>
              <a:cxnLst>
                <a:cxn ang="0">
                  <a:pos x="20" y="12"/>
                </a:cxn>
                <a:cxn ang="0">
                  <a:pos x="18" y="12"/>
                </a:cxn>
                <a:cxn ang="0">
                  <a:pos x="16" y="12"/>
                </a:cxn>
                <a:cxn ang="0">
                  <a:pos x="16" y="14"/>
                </a:cxn>
                <a:cxn ang="0">
                  <a:pos x="14" y="14"/>
                </a:cxn>
                <a:cxn ang="0">
                  <a:pos x="12" y="14"/>
                </a:cxn>
                <a:cxn ang="0">
                  <a:pos x="8" y="12"/>
                </a:cxn>
                <a:cxn ang="0">
                  <a:pos x="6" y="12"/>
                </a:cxn>
                <a:cxn ang="0">
                  <a:pos x="4" y="12"/>
                </a:cxn>
                <a:cxn ang="0">
                  <a:pos x="2" y="12"/>
                </a:cxn>
                <a:cxn ang="0">
                  <a:pos x="0" y="10"/>
                </a:cxn>
                <a:cxn ang="0">
                  <a:pos x="0" y="8"/>
                </a:cxn>
                <a:cxn ang="0">
                  <a:pos x="0" y="6"/>
                </a:cxn>
                <a:cxn ang="0">
                  <a:pos x="2" y="4"/>
                </a:cxn>
                <a:cxn ang="0">
                  <a:pos x="8" y="0"/>
                </a:cxn>
                <a:cxn ang="0">
                  <a:pos x="8" y="2"/>
                </a:cxn>
                <a:cxn ang="0">
                  <a:pos x="10" y="4"/>
                </a:cxn>
                <a:cxn ang="0">
                  <a:pos x="14" y="6"/>
                </a:cxn>
                <a:cxn ang="0">
                  <a:pos x="16" y="6"/>
                </a:cxn>
                <a:cxn ang="0">
                  <a:pos x="18" y="6"/>
                </a:cxn>
                <a:cxn ang="0">
                  <a:pos x="20" y="10"/>
                </a:cxn>
                <a:cxn ang="0">
                  <a:pos x="20" y="12"/>
                </a:cxn>
              </a:cxnLst>
              <a:rect l="0" t="0" r="r" b="b"/>
              <a:pathLst>
                <a:path w="20" h="14">
                  <a:moveTo>
                    <a:pt x="20" y="12"/>
                  </a:moveTo>
                  <a:lnTo>
                    <a:pt x="18" y="12"/>
                  </a:lnTo>
                  <a:lnTo>
                    <a:pt x="16" y="12"/>
                  </a:lnTo>
                  <a:lnTo>
                    <a:pt x="16" y="14"/>
                  </a:lnTo>
                  <a:lnTo>
                    <a:pt x="14" y="14"/>
                  </a:lnTo>
                  <a:lnTo>
                    <a:pt x="12" y="14"/>
                  </a:lnTo>
                  <a:lnTo>
                    <a:pt x="8" y="12"/>
                  </a:lnTo>
                  <a:lnTo>
                    <a:pt x="6" y="12"/>
                  </a:lnTo>
                  <a:lnTo>
                    <a:pt x="4" y="12"/>
                  </a:lnTo>
                  <a:lnTo>
                    <a:pt x="2" y="12"/>
                  </a:lnTo>
                  <a:lnTo>
                    <a:pt x="0" y="10"/>
                  </a:lnTo>
                  <a:lnTo>
                    <a:pt x="0" y="8"/>
                  </a:lnTo>
                  <a:lnTo>
                    <a:pt x="0" y="6"/>
                  </a:lnTo>
                  <a:lnTo>
                    <a:pt x="2" y="4"/>
                  </a:lnTo>
                  <a:lnTo>
                    <a:pt x="8" y="0"/>
                  </a:lnTo>
                  <a:lnTo>
                    <a:pt x="8" y="2"/>
                  </a:lnTo>
                  <a:lnTo>
                    <a:pt x="10" y="4"/>
                  </a:lnTo>
                  <a:lnTo>
                    <a:pt x="14" y="6"/>
                  </a:lnTo>
                  <a:lnTo>
                    <a:pt x="16" y="6"/>
                  </a:lnTo>
                  <a:lnTo>
                    <a:pt x="18" y="6"/>
                  </a:lnTo>
                  <a:lnTo>
                    <a:pt x="20" y="10"/>
                  </a:lnTo>
                  <a:lnTo>
                    <a:pt x="20"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3" name="Freeform 2735"/>
            <p:cNvSpPr>
              <a:spLocks/>
            </p:cNvSpPr>
            <p:nvPr/>
          </p:nvSpPr>
          <p:spPr bwMode="auto">
            <a:xfrm>
              <a:off x="2852" y="380"/>
              <a:ext cx="4" cy="12"/>
            </a:xfrm>
            <a:custGeom>
              <a:avLst/>
              <a:gdLst/>
              <a:ahLst/>
              <a:cxnLst>
                <a:cxn ang="0">
                  <a:pos x="2" y="12"/>
                </a:cxn>
                <a:cxn ang="0">
                  <a:pos x="0" y="10"/>
                </a:cxn>
                <a:cxn ang="0">
                  <a:pos x="0" y="8"/>
                </a:cxn>
                <a:cxn ang="0">
                  <a:pos x="0" y="6"/>
                </a:cxn>
                <a:cxn ang="0">
                  <a:pos x="0" y="0"/>
                </a:cxn>
                <a:cxn ang="0">
                  <a:pos x="2" y="0"/>
                </a:cxn>
                <a:cxn ang="0">
                  <a:pos x="4" y="4"/>
                </a:cxn>
                <a:cxn ang="0">
                  <a:pos x="4" y="6"/>
                </a:cxn>
                <a:cxn ang="0">
                  <a:pos x="2" y="12"/>
                </a:cxn>
              </a:cxnLst>
              <a:rect l="0" t="0" r="r" b="b"/>
              <a:pathLst>
                <a:path w="4" h="12">
                  <a:moveTo>
                    <a:pt x="2" y="12"/>
                  </a:moveTo>
                  <a:lnTo>
                    <a:pt x="0" y="10"/>
                  </a:lnTo>
                  <a:lnTo>
                    <a:pt x="0" y="8"/>
                  </a:lnTo>
                  <a:lnTo>
                    <a:pt x="0" y="6"/>
                  </a:lnTo>
                  <a:lnTo>
                    <a:pt x="0" y="0"/>
                  </a:lnTo>
                  <a:lnTo>
                    <a:pt x="2" y="0"/>
                  </a:lnTo>
                  <a:lnTo>
                    <a:pt x="4" y="4"/>
                  </a:lnTo>
                  <a:lnTo>
                    <a:pt x="4" y="6"/>
                  </a:lnTo>
                  <a:lnTo>
                    <a:pt x="2"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4" name="Freeform 2736"/>
            <p:cNvSpPr>
              <a:spLocks/>
            </p:cNvSpPr>
            <p:nvPr/>
          </p:nvSpPr>
          <p:spPr bwMode="auto">
            <a:xfrm>
              <a:off x="2784" y="394"/>
              <a:ext cx="20" cy="22"/>
            </a:xfrm>
            <a:custGeom>
              <a:avLst/>
              <a:gdLst/>
              <a:ahLst/>
              <a:cxnLst>
                <a:cxn ang="0">
                  <a:pos x="14" y="22"/>
                </a:cxn>
                <a:cxn ang="0">
                  <a:pos x="10" y="22"/>
                </a:cxn>
                <a:cxn ang="0">
                  <a:pos x="8" y="22"/>
                </a:cxn>
                <a:cxn ang="0">
                  <a:pos x="8" y="20"/>
                </a:cxn>
                <a:cxn ang="0">
                  <a:pos x="8" y="18"/>
                </a:cxn>
                <a:cxn ang="0">
                  <a:pos x="8" y="16"/>
                </a:cxn>
                <a:cxn ang="0">
                  <a:pos x="8" y="14"/>
                </a:cxn>
                <a:cxn ang="0">
                  <a:pos x="6" y="10"/>
                </a:cxn>
                <a:cxn ang="0">
                  <a:pos x="4" y="10"/>
                </a:cxn>
                <a:cxn ang="0">
                  <a:pos x="4" y="8"/>
                </a:cxn>
                <a:cxn ang="0">
                  <a:pos x="0" y="6"/>
                </a:cxn>
                <a:cxn ang="0">
                  <a:pos x="0" y="2"/>
                </a:cxn>
                <a:cxn ang="0">
                  <a:pos x="2" y="2"/>
                </a:cxn>
                <a:cxn ang="0">
                  <a:pos x="4" y="0"/>
                </a:cxn>
                <a:cxn ang="0">
                  <a:pos x="4" y="2"/>
                </a:cxn>
                <a:cxn ang="0">
                  <a:pos x="8" y="8"/>
                </a:cxn>
                <a:cxn ang="0">
                  <a:pos x="8" y="10"/>
                </a:cxn>
                <a:cxn ang="0">
                  <a:pos x="10" y="10"/>
                </a:cxn>
                <a:cxn ang="0">
                  <a:pos x="16" y="14"/>
                </a:cxn>
                <a:cxn ang="0">
                  <a:pos x="18" y="14"/>
                </a:cxn>
                <a:cxn ang="0">
                  <a:pos x="20" y="16"/>
                </a:cxn>
                <a:cxn ang="0">
                  <a:pos x="16" y="20"/>
                </a:cxn>
                <a:cxn ang="0">
                  <a:pos x="16" y="22"/>
                </a:cxn>
                <a:cxn ang="0">
                  <a:pos x="14" y="22"/>
                </a:cxn>
              </a:cxnLst>
              <a:rect l="0" t="0" r="r" b="b"/>
              <a:pathLst>
                <a:path w="20" h="22">
                  <a:moveTo>
                    <a:pt x="14" y="22"/>
                  </a:moveTo>
                  <a:lnTo>
                    <a:pt x="10" y="22"/>
                  </a:lnTo>
                  <a:lnTo>
                    <a:pt x="8" y="22"/>
                  </a:lnTo>
                  <a:lnTo>
                    <a:pt x="8" y="20"/>
                  </a:lnTo>
                  <a:lnTo>
                    <a:pt x="8" y="18"/>
                  </a:lnTo>
                  <a:lnTo>
                    <a:pt x="8" y="16"/>
                  </a:lnTo>
                  <a:lnTo>
                    <a:pt x="8" y="14"/>
                  </a:lnTo>
                  <a:lnTo>
                    <a:pt x="6" y="10"/>
                  </a:lnTo>
                  <a:lnTo>
                    <a:pt x="4" y="10"/>
                  </a:lnTo>
                  <a:lnTo>
                    <a:pt x="4" y="8"/>
                  </a:lnTo>
                  <a:lnTo>
                    <a:pt x="0" y="6"/>
                  </a:lnTo>
                  <a:lnTo>
                    <a:pt x="0" y="2"/>
                  </a:lnTo>
                  <a:lnTo>
                    <a:pt x="2" y="2"/>
                  </a:lnTo>
                  <a:lnTo>
                    <a:pt x="4" y="0"/>
                  </a:lnTo>
                  <a:lnTo>
                    <a:pt x="4" y="2"/>
                  </a:lnTo>
                  <a:lnTo>
                    <a:pt x="8" y="8"/>
                  </a:lnTo>
                  <a:lnTo>
                    <a:pt x="8" y="10"/>
                  </a:lnTo>
                  <a:lnTo>
                    <a:pt x="10" y="10"/>
                  </a:lnTo>
                  <a:lnTo>
                    <a:pt x="16" y="14"/>
                  </a:lnTo>
                  <a:lnTo>
                    <a:pt x="18" y="14"/>
                  </a:lnTo>
                  <a:lnTo>
                    <a:pt x="20" y="16"/>
                  </a:lnTo>
                  <a:lnTo>
                    <a:pt x="16" y="20"/>
                  </a:lnTo>
                  <a:lnTo>
                    <a:pt x="16" y="22"/>
                  </a:lnTo>
                  <a:lnTo>
                    <a:pt x="14"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5" name="Freeform 2737"/>
            <p:cNvSpPr>
              <a:spLocks/>
            </p:cNvSpPr>
            <p:nvPr/>
          </p:nvSpPr>
          <p:spPr bwMode="auto">
            <a:xfrm>
              <a:off x="2768" y="398"/>
              <a:ext cx="6" cy="14"/>
            </a:xfrm>
            <a:custGeom>
              <a:avLst/>
              <a:gdLst/>
              <a:ahLst/>
              <a:cxnLst>
                <a:cxn ang="0">
                  <a:pos x="4" y="14"/>
                </a:cxn>
                <a:cxn ang="0">
                  <a:pos x="0" y="10"/>
                </a:cxn>
                <a:cxn ang="0">
                  <a:pos x="2" y="2"/>
                </a:cxn>
                <a:cxn ang="0">
                  <a:pos x="4" y="0"/>
                </a:cxn>
                <a:cxn ang="0">
                  <a:pos x="6" y="0"/>
                </a:cxn>
                <a:cxn ang="0">
                  <a:pos x="6" y="2"/>
                </a:cxn>
                <a:cxn ang="0">
                  <a:pos x="6" y="8"/>
                </a:cxn>
                <a:cxn ang="0">
                  <a:pos x="6" y="12"/>
                </a:cxn>
                <a:cxn ang="0">
                  <a:pos x="4" y="14"/>
                </a:cxn>
              </a:cxnLst>
              <a:rect l="0" t="0" r="r" b="b"/>
              <a:pathLst>
                <a:path w="6" h="14">
                  <a:moveTo>
                    <a:pt x="4" y="14"/>
                  </a:moveTo>
                  <a:lnTo>
                    <a:pt x="0" y="10"/>
                  </a:lnTo>
                  <a:lnTo>
                    <a:pt x="2" y="2"/>
                  </a:lnTo>
                  <a:lnTo>
                    <a:pt x="4" y="0"/>
                  </a:lnTo>
                  <a:lnTo>
                    <a:pt x="6" y="0"/>
                  </a:lnTo>
                  <a:lnTo>
                    <a:pt x="6" y="2"/>
                  </a:lnTo>
                  <a:lnTo>
                    <a:pt x="6" y="8"/>
                  </a:lnTo>
                  <a:lnTo>
                    <a:pt x="6" y="12"/>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6" name="Freeform 2738"/>
            <p:cNvSpPr>
              <a:spLocks/>
            </p:cNvSpPr>
            <p:nvPr/>
          </p:nvSpPr>
          <p:spPr bwMode="auto">
            <a:xfrm>
              <a:off x="2812" y="396"/>
              <a:ext cx="14" cy="20"/>
            </a:xfrm>
            <a:custGeom>
              <a:avLst/>
              <a:gdLst/>
              <a:ahLst/>
              <a:cxnLst>
                <a:cxn ang="0">
                  <a:pos x="8" y="20"/>
                </a:cxn>
                <a:cxn ang="0">
                  <a:pos x="6" y="16"/>
                </a:cxn>
                <a:cxn ang="0">
                  <a:pos x="4" y="18"/>
                </a:cxn>
                <a:cxn ang="0">
                  <a:pos x="2" y="18"/>
                </a:cxn>
                <a:cxn ang="0">
                  <a:pos x="2" y="16"/>
                </a:cxn>
                <a:cxn ang="0">
                  <a:pos x="0" y="16"/>
                </a:cxn>
                <a:cxn ang="0">
                  <a:pos x="0" y="14"/>
                </a:cxn>
                <a:cxn ang="0">
                  <a:pos x="0" y="10"/>
                </a:cxn>
                <a:cxn ang="0">
                  <a:pos x="0" y="8"/>
                </a:cxn>
                <a:cxn ang="0">
                  <a:pos x="0" y="6"/>
                </a:cxn>
                <a:cxn ang="0">
                  <a:pos x="4" y="2"/>
                </a:cxn>
                <a:cxn ang="0">
                  <a:pos x="8" y="0"/>
                </a:cxn>
                <a:cxn ang="0">
                  <a:pos x="10" y="0"/>
                </a:cxn>
                <a:cxn ang="0">
                  <a:pos x="12" y="2"/>
                </a:cxn>
                <a:cxn ang="0">
                  <a:pos x="12" y="4"/>
                </a:cxn>
                <a:cxn ang="0">
                  <a:pos x="14" y="4"/>
                </a:cxn>
                <a:cxn ang="0">
                  <a:pos x="14" y="16"/>
                </a:cxn>
                <a:cxn ang="0">
                  <a:pos x="12" y="16"/>
                </a:cxn>
                <a:cxn ang="0">
                  <a:pos x="12" y="18"/>
                </a:cxn>
                <a:cxn ang="0">
                  <a:pos x="8" y="18"/>
                </a:cxn>
                <a:cxn ang="0">
                  <a:pos x="8" y="20"/>
                </a:cxn>
              </a:cxnLst>
              <a:rect l="0" t="0" r="r" b="b"/>
              <a:pathLst>
                <a:path w="14" h="20">
                  <a:moveTo>
                    <a:pt x="8" y="20"/>
                  </a:moveTo>
                  <a:lnTo>
                    <a:pt x="6" y="16"/>
                  </a:lnTo>
                  <a:lnTo>
                    <a:pt x="4" y="18"/>
                  </a:lnTo>
                  <a:lnTo>
                    <a:pt x="2" y="18"/>
                  </a:lnTo>
                  <a:lnTo>
                    <a:pt x="2" y="16"/>
                  </a:lnTo>
                  <a:lnTo>
                    <a:pt x="0" y="16"/>
                  </a:lnTo>
                  <a:lnTo>
                    <a:pt x="0" y="14"/>
                  </a:lnTo>
                  <a:lnTo>
                    <a:pt x="0" y="10"/>
                  </a:lnTo>
                  <a:lnTo>
                    <a:pt x="0" y="8"/>
                  </a:lnTo>
                  <a:lnTo>
                    <a:pt x="0" y="6"/>
                  </a:lnTo>
                  <a:lnTo>
                    <a:pt x="4" y="2"/>
                  </a:lnTo>
                  <a:lnTo>
                    <a:pt x="8" y="0"/>
                  </a:lnTo>
                  <a:lnTo>
                    <a:pt x="10" y="0"/>
                  </a:lnTo>
                  <a:lnTo>
                    <a:pt x="12" y="2"/>
                  </a:lnTo>
                  <a:lnTo>
                    <a:pt x="12" y="4"/>
                  </a:lnTo>
                  <a:lnTo>
                    <a:pt x="14" y="4"/>
                  </a:lnTo>
                  <a:lnTo>
                    <a:pt x="14" y="16"/>
                  </a:lnTo>
                  <a:lnTo>
                    <a:pt x="12" y="16"/>
                  </a:lnTo>
                  <a:lnTo>
                    <a:pt x="12" y="18"/>
                  </a:lnTo>
                  <a:lnTo>
                    <a:pt x="8" y="18"/>
                  </a:lnTo>
                  <a:lnTo>
                    <a:pt x="8"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7" name="Freeform 2739"/>
            <p:cNvSpPr>
              <a:spLocks/>
            </p:cNvSpPr>
            <p:nvPr/>
          </p:nvSpPr>
          <p:spPr bwMode="auto">
            <a:xfrm>
              <a:off x="2778" y="406"/>
              <a:ext cx="10" cy="6"/>
            </a:xfrm>
            <a:custGeom>
              <a:avLst/>
              <a:gdLst/>
              <a:ahLst/>
              <a:cxnLst>
                <a:cxn ang="0">
                  <a:pos x="8" y="6"/>
                </a:cxn>
                <a:cxn ang="0">
                  <a:pos x="6" y="6"/>
                </a:cxn>
                <a:cxn ang="0">
                  <a:pos x="2" y="4"/>
                </a:cxn>
                <a:cxn ang="0">
                  <a:pos x="0" y="4"/>
                </a:cxn>
                <a:cxn ang="0">
                  <a:pos x="0" y="2"/>
                </a:cxn>
                <a:cxn ang="0">
                  <a:pos x="2" y="2"/>
                </a:cxn>
                <a:cxn ang="0">
                  <a:pos x="2" y="0"/>
                </a:cxn>
                <a:cxn ang="0">
                  <a:pos x="4" y="0"/>
                </a:cxn>
                <a:cxn ang="0">
                  <a:pos x="8" y="4"/>
                </a:cxn>
                <a:cxn ang="0">
                  <a:pos x="10" y="4"/>
                </a:cxn>
                <a:cxn ang="0">
                  <a:pos x="10" y="6"/>
                </a:cxn>
                <a:cxn ang="0">
                  <a:pos x="8" y="6"/>
                </a:cxn>
              </a:cxnLst>
              <a:rect l="0" t="0" r="r" b="b"/>
              <a:pathLst>
                <a:path w="10" h="6">
                  <a:moveTo>
                    <a:pt x="8" y="6"/>
                  </a:moveTo>
                  <a:lnTo>
                    <a:pt x="6" y="6"/>
                  </a:lnTo>
                  <a:lnTo>
                    <a:pt x="2" y="4"/>
                  </a:lnTo>
                  <a:lnTo>
                    <a:pt x="0" y="4"/>
                  </a:lnTo>
                  <a:lnTo>
                    <a:pt x="0" y="2"/>
                  </a:lnTo>
                  <a:lnTo>
                    <a:pt x="2" y="2"/>
                  </a:lnTo>
                  <a:lnTo>
                    <a:pt x="2" y="0"/>
                  </a:lnTo>
                  <a:lnTo>
                    <a:pt x="4" y="0"/>
                  </a:lnTo>
                  <a:lnTo>
                    <a:pt x="8" y="4"/>
                  </a:lnTo>
                  <a:lnTo>
                    <a:pt x="10" y="4"/>
                  </a:lnTo>
                  <a:lnTo>
                    <a:pt x="10" y="6"/>
                  </a:lnTo>
                  <a:lnTo>
                    <a:pt x="8"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8" name="Freeform 2740"/>
            <p:cNvSpPr>
              <a:spLocks/>
            </p:cNvSpPr>
            <p:nvPr/>
          </p:nvSpPr>
          <p:spPr bwMode="auto">
            <a:xfrm>
              <a:off x="2756" y="410"/>
              <a:ext cx="12" cy="14"/>
            </a:xfrm>
            <a:custGeom>
              <a:avLst/>
              <a:gdLst/>
              <a:ahLst/>
              <a:cxnLst>
                <a:cxn ang="0">
                  <a:pos x="2" y="14"/>
                </a:cxn>
                <a:cxn ang="0">
                  <a:pos x="2" y="12"/>
                </a:cxn>
                <a:cxn ang="0">
                  <a:pos x="0" y="10"/>
                </a:cxn>
                <a:cxn ang="0">
                  <a:pos x="2" y="2"/>
                </a:cxn>
                <a:cxn ang="0">
                  <a:pos x="2" y="0"/>
                </a:cxn>
                <a:cxn ang="0">
                  <a:pos x="2" y="2"/>
                </a:cxn>
                <a:cxn ang="0">
                  <a:pos x="4" y="2"/>
                </a:cxn>
                <a:cxn ang="0">
                  <a:pos x="4" y="4"/>
                </a:cxn>
                <a:cxn ang="0">
                  <a:pos x="10" y="2"/>
                </a:cxn>
                <a:cxn ang="0">
                  <a:pos x="12" y="4"/>
                </a:cxn>
                <a:cxn ang="0">
                  <a:pos x="12" y="6"/>
                </a:cxn>
                <a:cxn ang="0">
                  <a:pos x="10" y="6"/>
                </a:cxn>
                <a:cxn ang="0">
                  <a:pos x="10" y="8"/>
                </a:cxn>
                <a:cxn ang="0">
                  <a:pos x="8" y="8"/>
                </a:cxn>
                <a:cxn ang="0">
                  <a:pos x="6" y="8"/>
                </a:cxn>
                <a:cxn ang="0">
                  <a:pos x="6" y="10"/>
                </a:cxn>
                <a:cxn ang="0">
                  <a:pos x="4" y="12"/>
                </a:cxn>
                <a:cxn ang="0">
                  <a:pos x="4" y="14"/>
                </a:cxn>
                <a:cxn ang="0">
                  <a:pos x="2" y="14"/>
                </a:cxn>
              </a:cxnLst>
              <a:rect l="0" t="0" r="r" b="b"/>
              <a:pathLst>
                <a:path w="12" h="14">
                  <a:moveTo>
                    <a:pt x="2" y="14"/>
                  </a:moveTo>
                  <a:lnTo>
                    <a:pt x="2" y="12"/>
                  </a:lnTo>
                  <a:lnTo>
                    <a:pt x="0" y="10"/>
                  </a:lnTo>
                  <a:lnTo>
                    <a:pt x="2" y="2"/>
                  </a:lnTo>
                  <a:lnTo>
                    <a:pt x="2" y="0"/>
                  </a:lnTo>
                  <a:lnTo>
                    <a:pt x="2" y="2"/>
                  </a:lnTo>
                  <a:lnTo>
                    <a:pt x="4" y="2"/>
                  </a:lnTo>
                  <a:lnTo>
                    <a:pt x="4" y="4"/>
                  </a:lnTo>
                  <a:lnTo>
                    <a:pt x="10" y="2"/>
                  </a:lnTo>
                  <a:lnTo>
                    <a:pt x="12" y="4"/>
                  </a:lnTo>
                  <a:lnTo>
                    <a:pt x="12" y="6"/>
                  </a:lnTo>
                  <a:lnTo>
                    <a:pt x="10" y="6"/>
                  </a:lnTo>
                  <a:lnTo>
                    <a:pt x="10" y="8"/>
                  </a:lnTo>
                  <a:lnTo>
                    <a:pt x="8" y="8"/>
                  </a:lnTo>
                  <a:lnTo>
                    <a:pt x="6" y="8"/>
                  </a:lnTo>
                  <a:lnTo>
                    <a:pt x="6" y="10"/>
                  </a:lnTo>
                  <a:lnTo>
                    <a:pt x="4" y="12"/>
                  </a:lnTo>
                  <a:lnTo>
                    <a:pt x="4" y="14"/>
                  </a:lnTo>
                  <a:lnTo>
                    <a:pt x="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49" name="Freeform 2741"/>
            <p:cNvSpPr>
              <a:spLocks/>
            </p:cNvSpPr>
            <p:nvPr/>
          </p:nvSpPr>
          <p:spPr bwMode="auto">
            <a:xfrm>
              <a:off x="2758" y="412"/>
              <a:ext cx="32" cy="30"/>
            </a:xfrm>
            <a:custGeom>
              <a:avLst/>
              <a:gdLst/>
              <a:ahLst/>
              <a:cxnLst>
                <a:cxn ang="0">
                  <a:pos x="16" y="30"/>
                </a:cxn>
                <a:cxn ang="0">
                  <a:pos x="14" y="30"/>
                </a:cxn>
                <a:cxn ang="0">
                  <a:pos x="12" y="26"/>
                </a:cxn>
                <a:cxn ang="0">
                  <a:pos x="8" y="22"/>
                </a:cxn>
                <a:cxn ang="0">
                  <a:pos x="6" y="20"/>
                </a:cxn>
                <a:cxn ang="0">
                  <a:pos x="4" y="20"/>
                </a:cxn>
                <a:cxn ang="0">
                  <a:pos x="2" y="18"/>
                </a:cxn>
                <a:cxn ang="0">
                  <a:pos x="0" y="16"/>
                </a:cxn>
                <a:cxn ang="0">
                  <a:pos x="4" y="10"/>
                </a:cxn>
                <a:cxn ang="0">
                  <a:pos x="6" y="8"/>
                </a:cxn>
                <a:cxn ang="0">
                  <a:pos x="8" y="8"/>
                </a:cxn>
                <a:cxn ang="0">
                  <a:pos x="10" y="8"/>
                </a:cxn>
                <a:cxn ang="0">
                  <a:pos x="12" y="8"/>
                </a:cxn>
                <a:cxn ang="0">
                  <a:pos x="12" y="4"/>
                </a:cxn>
                <a:cxn ang="0">
                  <a:pos x="14" y="2"/>
                </a:cxn>
                <a:cxn ang="0">
                  <a:pos x="16" y="0"/>
                </a:cxn>
                <a:cxn ang="0">
                  <a:pos x="16" y="2"/>
                </a:cxn>
                <a:cxn ang="0">
                  <a:pos x="20" y="4"/>
                </a:cxn>
                <a:cxn ang="0">
                  <a:pos x="20" y="6"/>
                </a:cxn>
                <a:cxn ang="0">
                  <a:pos x="20" y="8"/>
                </a:cxn>
                <a:cxn ang="0">
                  <a:pos x="22" y="8"/>
                </a:cxn>
                <a:cxn ang="0">
                  <a:pos x="22" y="10"/>
                </a:cxn>
                <a:cxn ang="0">
                  <a:pos x="24" y="10"/>
                </a:cxn>
                <a:cxn ang="0">
                  <a:pos x="24" y="8"/>
                </a:cxn>
                <a:cxn ang="0">
                  <a:pos x="24" y="6"/>
                </a:cxn>
                <a:cxn ang="0">
                  <a:pos x="26" y="4"/>
                </a:cxn>
                <a:cxn ang="0">
                  <a:pos x="28" y="4"/>
                </a:cxn>
                <a:cxn ang="0">
                  <a:pos x="30" y="8"/>
                </a:cxn>
                <a:cxn ang="0">
                  <a:pos x="32" y="8"/>
                </a:cxn>
                <a:cxn ang="0">
                  <a:pos x="32" y="12"/>
                </a:cxn>
                <a:cxn ang="0">
                  <a:pos x="28" y="18"/>
                </a:cxn>
                <a:cxn ang="0">
                  <a:pos x="24" y="26"/>
                </a:cxn>
                <a:cxn ang="0">
                  <a:pos x="22" y="26"/>
                </a:cxn>
                <a:cxn ang="0">
                  <a:pos x="20" y="28"/>
                </a:cxn>
                <a:cxn ang="0">
                  <a:pos x="16" y="30"/>
                </a:cxn>
              </a:cxnLst>
              <a:rect l="0" t="0" r="r" b="b"/>
              <a:pathLst>
                <a:path w="32" h="30">
                  <a:moveTo>
                    <a:pt x="16" y="30"/>
                  </a:moveTo>
                  <a:lnTo>
                    <a:pt x="14" y="30"/>
                  </a:lnTo>
                  <a:lnTo>
                    <a:pt x="12" y="26"/>
                  </a:lnTo>
                  <a:lnTo>
                    <a:pt x="8" y="22"/>
                  </a:lnTo>
                  <a:lnTo>
                    <a:pt x="6" y="20"/>
                  </a:lnTo>
                  <a:lnTo>
                    <a:pt x="4" y="20"/>
                  </a:lnTo>
                  <a:lnTo>
                    <a:pt x="2" y="18"/>
                  </a:lnTo>
                  <a:lnTo>
                    <a:pt x="0" y="16"/>
                  </a:lnTo>
                  <a:lnTo>
                    <a:pt x="4" y="10"/>
                  </a:lnTo>
                  <a:lnTo>
                    <a:pt x="6" y="8"/>
                  </a:lnTo>
                  <a:lnTo>
                    <a:pt x="8" y="8"/>
                  </a:lnTo>
                  <a:lnTo>
                    <a:pt x="10" y="8"/>
                  </a:lnTo>
                  <a:lnTo>
                    <a:pt x="12" y="8"/>
                  </a:lnTo>
                  <a:lnTo>
                    <a:pt x="12" y="4"/>
                  </a:lnTo>
                  <a:lnTo>
                    <a:pt x="14" y="2"/>
                  </a:lnTo>
                  <a:lnTo>
                    <a:pt x="16" y="0"/>
                  </a:lnTo>
                  <a:lnTo>
                    <a:pt x="16" y="2"/>
                  </a:lnTo>
                  <a:lnTo>
                    <a:pt x="20" y="4"/>
                  </a:lnTo>
                  <a:lnTo>
                    <a:pt x="20" y="6"/>
                  </a:lnTo>
                  <a:lnTo>
                    <a:pt x="20" y="8"/>
                  </a:lnTo>
                  <a:lnTo>
                    <a:pt x="22" y="8"/>
                  </a:lnTo>
                  <a:lnTo>
                    <a:pt x="22" y="10"/>
                  </a:lnTo>
                  <a:lnTo>
                    <a:pt x="24" y="10"/>
                  </a:lnTo>
                  <a:lnTo>
                    <a:pt x="24" y="8"/>
                  </a:lnTo>
                  <a:lnTo>
                    <a:pt x="24" y="6"/>
                  </a:lnTo>
                  <a:lnTo>
                    <a:pt x="26" y="4"/>
                  </a:lnTo>
                  <a:lnTo>
                    <a:pt x="28" y="4"/>
                  </a:lnTo>
                  <a:lnTo>
                    <a:pt x="30" y="8"/>
                  </a:lnTo>
                  <a:lnTo>
                    <a:pt x="32" y="8"/>
                  </a:lnTo>
                  <a:lnTo>
                    <a:pt x="32" y="12"/>
                  </a:lnTo>
                  <a:lnTo>
                    <a:pt x="28" y="18"/>
                  </a:lnTo>
                  <a:lnTo>
                    <a:pt x="24" y="26"/>
                  </a:lnTo>
                  <a:lnTo>
                    <a:pt x="22" y="26"/>
                  </a:lnTo>
                  <a:lnTo>
                    <a:pt x="20" y="28"/>
                  </a:lnTo>
                  <a:lnTo>
                    <a:pt x="16" y="3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0" name="Freeform 2742"/>
            <p:cNvSpPr>
              <a:spLocks/>
            </p:cNvSpPr>
            <p:nvPr/>
          </p:nvSpPr>
          <p:spPr bwMode="auto">
            <a:xfrm>
              <a:off x="2824" y="414"/>
              <a:ext cx="12" cy="10"/>
            </a:xfrm>
            <a:custGeom>
              <a:avLst/>
              <a:gdLst/>
              <a:ahLst/>
              <a:cxnLst>
                <a:cxn ang="0">
                  <a:pos x="4" y="10"/>
                </a:cxn>
                <a:cxn ang="0">
                  <a:pos x="2" y="10"/>
                </a:cxn>
                <a:cxn ang="0">
                  <a:pos x="2" y="6"/>
                </a:cxn>
                <a:cxn ang="0">
                  <a:pos x="0" y="6"/>
                </a:cxn>
                <a:cxn ang="0">
                  <a:pos x="0" y="4"/>
                </a:cxn>
                <a:cxn ang="0">
                  <a:pos x="0" y="2"/>
                </a:cxn>
                <a:cxn ang="0">
                  <a:pos x="2" y="2"/>
                </a:cxn>
                <a:cxn ang="0">
                  <a:pos x="2" y="0"/>
                </a:cxn>
                <a:cxn ang="0">
                  <a:pos x="4" y="0"/>
                </a:cxn>
                <a:cxn ang="0">
                  <a:pos x="4" y="2"/>
                </a:cxn>
                <a:cxn ang="0">
                  <a:pos x="8" y="4"/>
                </a:cxn>
                <a:cxn ang="0">
                  <a:pos x="10" y="2"/>
                </a:cxn>
                <a:cxn ang="0">
                  <a:pos x="12" y="2"/>
                </a:cxn>
                <a:cxn ang="0">
                  <a:pos x="8" y="10"/>
                </a:cxn>
                <a:cxn ang="0">
                  <a:pos x="6" y="10"/>
                </a:cxn>
                <a:cxn ang="0">
                  <a:pos x="4" y="10"/>
                </a:cxn>
              </a:cxnLst>
              <a:rect l="0" t="0" r="r" b="b"/>
              <a:pathLst>
                <a:path w="12" h="10">
                  <a:moveTo>
                    <a:pt x="4" y="10"/>
                  </a:moveTo>
                  <a:lnTo>
                    <a:pt x="2" y="10"/>
                  </a:lnTo>
                  <a:lnTo>
                    <a:pt x="2" y="6"/>
                  </a:lnTo>
                  <a:lnTo>
                    <a:pt x="0" y="6"/>
                  </a:lnTo>
                  <a:lnTo>
                    <a:pt x="0" y="4"/>
                  </a:lnTo>
                  <a:lnTo>
                    <a:pt x="0" y="2"/>
                  </a:lnTo>
                  <a:lnTo>
                    <a:pt x="2" y="2"/>
                  </a:lnTo>
                  <a:lnTo>
                    <a:pt x="2" y="0"/>
                  </a:lnTo>
                  <a:lnTo>
                    <a:pt x="4" y="0"/>
                  </a:lnTo>
                  <a:lnTo>
                    <a:pt x="4" y="2"/>
                  </a:lnTo>
                  <a:lnTo>
                    <a:pt x="8" y="4"/>
                  </a:lnTo>
                  <a:lnTo>
                    <a:pt x="10" y="2"/>
                  </a:lnTo>
                  <a:lnTo>
                    <a:pt x="12" y="2"/>
                  </a:lnTo>
                  <a:lnTo>
                    <a:pt x="8" y="10"/>
                  </a:lnTo>
                  <a:lnTo>
                    <a:pt x="6"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1" name="Freeform 2743"/>
            <p:cNvSpPr>
              <a:spLocks/>
            </p:cNvSpPr>
            <p:nvPr/>
          </p:nvSpPr>
          <p:spPr bwMode="auto">
            <a:xfrm>
              <a:off x="2784" y="420"/>
              <a:ext cx="14" cy="16"/>
            </a:xfrm>
            <a:custGeom>
              <a:avLst/>
              <a:gdLst/>
              <a:ahLst/>
              <a:cxnLst>
                <a:cxn ang="0">
                  <a:pos x="0" y="16"/>
                </a:cxn>
                <a:cxn ang="0">
                  <a:pos x="2" y="12"/>
                </a:cxn>
                <a:cxn ang="0">
                  <a:pos x="10" y="0"/>
                </a:cxn>
                <a:cxn ang="0">
                  <a:pos x="12" y="0"/>
                </a:cxn>
                <a:cxn ang="0">
                  <a:pos x="12" y="2"/>
                </a:cxn>
                <a:cxn ang="0">
                  <a:pos x="14" y="4"/>
                </a:cxn>
                <a:cxn ang="0">
                  <a:pos x="10" y="14"/>
                </a:cxn>
                <a:cxn ang="0">
                  <a:pos x="8" y="14"/>
                </a:cxn>
                <a:cxn ang="0">
                  <a:pos x="4" y="14"/>
                </a:cxn>
                <a:cxn ang="0">
                  <a:pos x="0" y="16"/>
                </a:cxn>
              </a:cxnLst>
              <a:rect l="0" t="0" r="r" b="b"/>
              <a:pathLst>
                <a:path w="14" h="16">
                  <a:moveTo>
                    <a:pt x="0" y="16"/>
                  </a:moveTo>
                  <a:lnTo>
                    <a:pt x="2" y="12"/>
                  </a:lnTo>
                  <a:lnTo>
                    <a:pt x="10" y="0"/>
                  </a:lnTo>
                  <a:lnTo>
                    <a:pt x="12" y="0"/>
                  </a:lnTo>
                  <a:lnTo>
                    <a:pt x="12" y="2"/>
                  </a:lnTo>
                  <a:lnTo>
                    <a:pt x="14" y="4"/>
                  </a:lnTo>
                  <a:lnTo>
                    <a:pt x="10" y="14"/>
                  </a:lnTo>
                  <a:lnTo>
                    <a:pt x="8" y="14"/>
                  </a:lnTo>
                  <a:lnTo>
                    <a:pt x="4" y="14"/>
                  </a:lnTo>
                  <a:lnTo>
                    <a:pt x="0"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2" name="Freeform 2744"/>
            <p:cNvSpPr>
              <a:spLocks/>
            </p:cNvSpPr>
            <p:nvPr/>
          </p:nvSpPr>
          <p:spPr bwMode="auto">
            <a:xfrm>
              <a:off x="2820" y="428"/>
              <a:ext cx="6" cy="10"/>
            </a:xfrm>
            <a:custGeom>
              <a:avLst/>
              <a:gdLst/>
              <a:ahLst/>
              <a:cxnLst>
                <a:cxn ang="0">
                  <a:pos x="2" y="10"/>
                </a:cxn>
                <a:cxn ang="0">
                  <a:pos x="0" y="10"/>
                </a:cxn>
                <a:cxn ang="0">
                  <a:pos x="0" y="8"/>
                </a:cxn>
                <a:cxn ang="0">
                  <a:pos x="0" y="4"/>
                </a:cxn>
                <a:cxn ang="0">
                  <a:pos x="0" y="0"/>
                </a:cxn>
                <a:cxn ang="0">
                  <a:pos x="4" y="0"/>
                </a:cxn>
                <a:cxn ang="0">
                  <a:pos x="6" y="8"/>
                </a:cxn>
                <a:cxn ang="0">
                  <a:pos x="4" y="8"/>
                </a:cxn>
                <a:cxn ang="0">
                  <a:pos x="2" y="10"/>
                </a:cxn>
              </a:cxnLst>
              <a:rect l="0" t="0" r="r" b="b"/>
              <a:pathLst>
                <a:path w="6" h="10">
                  <a:moveTo>
                    <a:pt x="2" y="10"/>
                  </a:moveTo>
                  <a:lnTo>
                    <a:pt x="0" y="10"/>
                  </a:lnTo>
                  <a:lnTo>
                    <a:pt x="0" y="8"/>
                  </a:lnTo>
                  <a:lnTo>
                    <a:pt x="0" y="4"/>
                  </a:lnTo>
                  <a:lnTo>
                    <a:pt x="0" y="0"/>
                  </a:lnTo>
                  <a:lnTo>
                    <a:pt x="4" y="0"/>
                  </a:lnTo>
                  <a:lnTo>
                    <a:pt x="6" y="8"/>
                  </a:lnTo>
                  <a:lnTo>
                    <a:pt x="4" y="8"/>
                  </a:lnTo>
                  <a:lnTo>
                    <a:pt x="2"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3" name="Freeform 2745"/>
            <p:cNvSpPr>
              <a:spLocks/>
            </p:cNvSpPr>
            <p:nvPr/>
          </p:nvSpPr>
          <p:spPr bwMode="auto">
            <a:xfrm>
              <a:off x="2738" y="434"/>
              <a:ext cx="34" cy="32"/>
            </a:xfrm>
            <a:custGeom>
              <a:avLst/>
              <a:gdLst/>
              <a:ahLst/>
              <a:cxnLst>
                <a:cxn ang="0">
                  <a:pos x="8" y="16"/>
                </a:cxn>
                <a:cxn ang="0">
                  <a:pos x="12" y="16"/>
                </a:cxn>
                <a:cxn ang="0">
                  <a:pos x="18" y="18"/>
                </a:cxn>
                <a:cxn ang="0">
                  <a:pos x="20" y="18"/>
                </a:cxn>
                <a:cxn ang="0">
                  <a:pos x="20" y="16"/>
                </a:cxn>
                <a:cxn ang="0">
                  <a:pos x="16" y="16"/>
                </a:cxn>
                <a:cxn ang="0">
                  <a:pos x="14" y="16"/>
                </a:cxn>
                <a:cxn ang="0">
                  <a:pos x="12" y="16"/>
                </a:cxn>
                <a:cxn ang="0">
                  <a:pos x="10" y="16"/>
                </a:cxn>
                <a:cxn ang="0">
                  <a:pos x="8" y="12"/>
                </a:cxn>
                <a:cxn ang="0">
                  <a:pos x="10" y="10"/>
                </a:cxn>
                <a:cxn ang="0">
                  <a:pos x="12" y="8"/>
                </a:cxn>
                <a:cxn ang="0">
                  <a:pos x="14" y="12"/>
                </a:cxn>
                <a:cxn ang="0">
                  <a:pos x="20" y="12"/>
                </a:cxn>
                <a:cxn ang="0">
                  <a:pos x="20" y="14"/>
                </a:cxn>
                <a:cxn ang="0">
                  <a:pos x="20" y="16"/>
                </a:cxn>
                <a:cxn ang="0">
                  <a:pos x="22" y="18"/>
                </a:cxn>
                <a:cxn ang="0">
                  <a:pos x="24" y="18"/>
                </a:cxn>
                <a:cxn ang="0">
                  <a:pos x="24" y="10"/>
                </a:cxn>
                <a:cxn ang="0">
                  <a:pos x="24" y="8"/>
                </a:cxn>
                <a:cxn ang="0">
                  <a:pos x="22" y="6"/>
                </a:cxn>
                <a:cxn ang="0">
                  <a:pos x="20" y="4"/>
                </a:cxn>
                <a:cxn ang="0">
                  <a:pos x="20" y="2"/>
                </a:cxn>
                <a:cxn ang="0">
                  <a:pos x="20" y="0"/>
                </a:cxn>
                <a:cxn ang="0">
                  <a:pos x="24" y="0"/>
                </a:cxn>
                <a:cxn ang="0">
                  <a:pos x="30" y="4"/>
                </a:cxn>
                <a:cxn ang="0">
                  <a:pos x="32" y="6"/>
                </a:cxn>
                <a:cxn ang="0">
                  <a:pos x="32" y="8"/>
                </a:cxn>
                <a:cxn ang="0">
                  <a:pos x="34" y="10"/>
                </a:cxn>
                <a:cxn ang="0">
                  <a:pos x="32" y="10"/>
                </a:cxn>
                <a:cxn ang="0">
                  <a:pos x="32" y="12"/>
                </a:cxn>
                <a:cxn ang="0">
                  <a:pos x="30" y="16"/>
                </a:cxn>
                <a:cxn ang="0">
                  <a:pos x="28" y="16"/>
                </a:cxn>
                <a:cxn ang="0">
                  <a:pos x="24" y="20"/>
                </a:cxn>
                <a:cxn ang="0">
                  <a:pos x="24" y="22"/>
                </a:cxn>
                <a:cxn ang="0">
                  <a:pos x="24" y="24"/>
                </a:cxn>
                <a:cxn ang="0">
                  <a:pos x="26" y="24"/>
                </a:cxn>
                <a:cxn ang="0">
                  <a:pos x="28" y="26"/>
                </a:cxn>
                <a:cxn ang="0">
                  <a:pos x="24" y="28"/>
                </a:cxn>
                <a:cxn ang="0">
                  <a:pos x="24" y="30"/>
                </a:cxn>
                <a:cxn ang="0">
                  <a:pos x="22" y="30"/>
                </a:cxn>
                <a:cxn ang="0">
                  <a:pos x="20" y="30"/>
                </a:cxn>
                <a:cxn ang="0">
                  <a:pos x="16" y="30"/>
                </a:cxn>
                <a:cxn ang="0">
                  <a:pos x="12" y="32"/>
                </a:cxn>
                <a:cxn ang="0">
                  <a:pos x="8" y="32"/>
                </a:cxn>
                <a:cxn ang="0">
                  <a:pos x="6" y="32"/>
                </a:cxn>
                <a:cxn ang="0">
                  <a:pos x="4" y="32"/>
                </a:cxn>
                <a:cxn ang="0">
                  <a:pos x="0" y="30"/>
                </a:cxn>
                <a:cxn ang="0">
                  <a:pos x="0" y="28"/>
                </a:cxn>
                <a:cxn ang="0">
                  <a:pos x="0" y="24"/>
                </a:cxn>
                <a:cxn ang="0">
                  <a:pos x="4" y="24"/>
                </a:cxn>
                <a:cxn ang="0">
                  <a:pos x="8" y="24"/>
                </a:cxn>
                <a:cxn ang="0">
                  <a:pos x="4" y="16"/>
                </a:cxn>
                <a:cxn ang="0">
                  <a:pos x="6" y="16"/>
                </a:cxn>
                <a:cxn ang="0">
                  <a:pos x="8" y="16"/>
                </a:cxn>
              </a:cxnLst>
              <a:rect l="0" t="0" r="r" b="b"/>
              <a:pathLst>
                <a:path w="34" h="32">
                  <a:moveTo>
                    <a:pt x="8" y="16"/>
                  </a:moveTo>
                  <a:lnTo>
                    <a:pt x="12" y="16"/>
                  </a:lnTo>
                  <a:lnTo>
                    <a:pt x="18" y="18"/>
                  </a:lnTo>
                  <a:lnTo>
                    <a:pt x="20" y="18"/>
                  </a:lnTo>
                  <a:lnTo>
                    <a:pt x="20" y="16"/>
                  </a:lnTo>
                  <a:lnTo>
                    <a:pt x="16" y="16"/>
                  </a:lnTo>
                  <a:lnTo>
                    <a:pt x="14" y="16"/>
                  </a:lnTo>
                  <a:lnTo>
                    <a:pt x="12" y="16"/>
                  </a:lnTo>
                  <a:lnTo>
                    <a:pt x="10" y="16"/>
                  </a:lnTo>
                  <a:lnTo>
                    <a:pt x="8" y="12"/>
                  </a:lnTo>
                  <a:lnTo>
                    <a:pt x="10" y="10"/>
                  </a:lnTo>
                  <a:lnTo>
                    <a:pt x="12" y="8"/>
                  </a:lnTo>
                  <a:lnTo>
                    <a:pt x="14" y="12"/>
                  </a:lnTo>
                  <a:lnTo>
                    <a:pt x="20" y="12"/>
                  </a:lnTo>
                  <a:lnTo>
                    <a:pt x="20" y="14"/>
                  </a:lnTo>
                  <a:lnTo>
                    <a:pt x="20" y="16"/>
                  </a:lnTo>
                  <a:lnTo>
                    <a:pt x="22" y="18"/>
                  </a:lnTo>
                  <a:lnTo>
                    <a:pt x="24" y="18"/>
                  </a:lnTo>
                  <a:lnTo>
                    <a:pt x="24" y="10"/>
                  </a:lnTo>
                  <a:lnTo>
                    <a:pt x="24" y="8"/>
                  </a:lnTo>
                  <a:lnTo>
                    <a:pt x="22" y="6"/>
                  </a:lnTo>
                  <a:lnTo>
                    <a:pt x="20" y="4"/>
                  </a:lnTo>
                  <a:lnTo>
                    <a:pt x="20" y="2"/>
                  </a:lnTo>
                  <a:lnTo>
                    <a:pt x="20" y="0"/>
                  </a:lnTo>
                  <a:lnTo>
                    <a:pt x="24" y="0"/>
                  </a:lnTo>
                  <a:lnTo>
                    <a:pt x="30" y="4"/>
                  </a:lnTo>
                  <a:lnTo>
                    <a:pt x="32" y="6"/>
                  </a:lnTo>
                  <a:lnTo>
                    <a:pt x="32" y="8"/>
                  </a:lnTo>
                  <a:lnTo>
                    <a:pt x="34" y="10"/>
                  </a:lnTo>
                  <a:lnTo>
                    <a:pt x="32" y="10"/>
                  </a:lnTo>
                  <a:lnTo>
                    <a:pt x="32" y="12"/>
                  </a:lnTo>
                  <a:lnTo>
                    <a:pt x="30" y="16"/>
                  </a:lnTo>
                  <a:lnTo>
                    <a:pt x="28" y="16"/>
                  </a:lnTo>
                  <a:lnTo>
                    <a:pt x="24" y="20"/>
                  </a:lnTo>
                  <a:lnTo>
                    <a:pt x="24" y="22"/>
                  </a:lnTo>
                  <a:lnTo>
                    <a:pt x="24" y="24"/>
                  </a:lnTo>
                  <a:lnTo>
                    <a:pt x="26" y="24"/>
                  </a:lnTo>
                  <a:lnTo>
                    <a:pt x="28" y="26"/>
                  </a:lnTo>
                  <a:lnTo>
                    <a:pt x="24" y="28"/>
                  </a:lnTo>
                  <a:lnTo>
                    <a:pt x="24" y="30"/>
                  </a:lnTo>
                  <a:lnTo>
                    <a:pt x="22" y="30"/>
                  </a:lnTo>
                  <a:lnTo>
                    <a:pt x="20" y="30"/>
                  </a:lnTo>
                  <a:lnTo>
                    <a:pt x="16" y="30"/>
                  </a:lnTo>
                  <a:lnTo>
                    <a:pt x="12" y="32"/>
                  </a:lnTo>
                  <a:lnTo>
                    <a:pt x="8" y="32"/>
                  </a:lnTo>
                  <a:lnTo>
                    <a:pt x="6" y="32"/>
                  </a:lnTo>
                  <a:lnTo>
                    <a:pt x="4" y="32"/>
                  </a:lnTo>
                  <a:lnTo>
                    <a:pt x="0" y="30"/>
                  </a:lnTo>
                  <a:lnTo>
                    <a:pt x="0" y="28"/>
                  </a:lnTo>
                  <a:lnTo>
                    <a:pt x="0" y="24"/>
                  </a:lnTo>
                  <a:lnTo>
                    <a:pt x="4" y="24"/>
                  </a:lnTo>
                  <a:lnTo>
                    <a:pt x="8" y="24"/>
                  </a:lnTo>
                  <a:lnTo>
                    <a:pt x="4" y="16"/>
                  </a:lnTo>
                  <a:lnTo>
                    <a:pt x="6" y="16"/>
                  </a:lnTo>
                  <a:lnTo>
                    <a:pt x="8"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4" name="Freeform 2746"/>
            <p:cNvSpPr>
              <a:spLocks/>
            </p:cNvSpPr>
            <p:nvPr/>
          </p:nvSpPr>
          <p:spPr bwMode="auto">
            <a:xfrm>
              <a:off x="2698" y="462"/>
              <a:ext cx="44" cy="54"/>
            </a:xfrm>
            <a:custGeom>
              <a:avLst/>
              <a:gdLst/>
              <a:ahLst/>
              <a:cxnLst>
                <a:cxn ang="0">
                  <a:pos x="4" y="34"/>
                </a:cxn>
                <a:cxn ang="0">
                  <a:pos x="8" y="34"/>
                </a:cxn>
                <a:cxn ang="0">
                  <a:pos x="12" y="34"/>
                </a:cxn>
                <a:cxn ang="0">
                  <a:pos x="10" y="30"/>
                </a:cxn>
                <a:cxn ang="0">
                  <a:pos x="4" y="28"/>
                </a:cxn>
                <a:cxn ang="0">
                  <a:pos x="8" y="26"/>
                </a:cxn>
                <a:cxn ang="0">
                  <a:pos x="10" y="24"/>
                </a:cxn>
                <a:cxn ang="0">
                  <a:pos x="6" y="22"/>
                </a:cxn>
                <a:cxn ang="0">
                  <a:pos x="4" y="22"/>
                </a:cxn>
                <a:cxn ang="0">
                  <a:pos x="4" y="18"/>
                </a:cxn>
                <a:cxn ang="0">
                  <a:pos x="14" y="18"/>
                </a:cxn>
                <a:cxn ang="0">
                  <a:pos x="20" y="16"/>
                </a:cxn>
                <a:cxn ang="0">
                  <a:pos x="22" y="14"/>
                </a:cxn>
                <a:cxn ang="0">
                  <a:pos x="18" y="14"/>
                </a:cxn>
                <a:cxn ang="0">
                  <a:pos x="16" y="12"/>
                </a:cxn>
                <a:cxn ang="0">
                  <a:pos x="14" y="8"/>
                </a:cxn>
                <a:cxn ang="0">
                  <a:pos x="16" y="12"/>
                </a:cxn>
                <a:cxn ang="0">
                  <a:pos x="20" y="10"/>
                </a:cxn>
                <a:cxn ang="0">
                  <a:pos x="16" y="6"/>
                </a:cxn>
                <a:cxn ang="0">
                  <a:pos x="20" y="8"/>
                </a:cxn>
                <a:cxn ang="0">
                  <a:pos x="24" y="10"/>
                </a:cxn>
                <a:cxn ang="0">
                  <a:pos x="28" y="10"/>
                </a:cxn>
                <a:cxn ang="0">
                  <a:pos x="24" y="8"/>
                </a:cxn>
                <a:cxn ang="0">
                  <a:pos x="22" y="4"/>
                </a:cxn>
                <a:cxn ang="0">
                  <a:pos x="22" y="0"/>
                </a:cxn>
                <a:cxn ang="0">
                  <a:pos x="24" y="2"/>
                </a:cxn>
                <a:cxn ang="0">
                  <a:pos x="26" y="4"/>
                </a:cxn>
                <a:cxn ang="0">
                  <a:pos x="28" y="8"/>
                </a:cxn>
                <a:cxn ang="0">
                  <a:pos x="28" y="4"/>
                </a:cxn>
                <a:cxn ang="0">
                  <a:pos x="34" y="0"/>
                </a:cxn>
                <a:cxn ang="0">
                  <a:pos x="38" y="6"/>
                </a:cxn>
                <a:cxn ang="0">
                  <a:pos x="44" y="16"/>
                </a:cxn>
                <a:cxn ang="0">
                  <a:pos x="44" y="22"/>
                </a:cxn>
                <a:cxn ang="0">
                  <a:pos x="40" y="22"/>
                </a:cxn>
                <a:cxn ang="0">
                  <a:pos x="36" y="32"/>
                </a:cxn>
                <a:cxn ang="0">
                  <a:pos x="38" y="38"/>
                </a:cxn>
                <a:cxn ang="0">
                  <a:pos x="28" y="40"/>
                </a:cxn>
                <a:cxn ang="0">
                  <a:pos x="22" y="40"/>
                </a:cxn>
                <a:cxn ang="0">
                  <a:pos x="14" y="48"/>
                </a:cxn>
                <a:cxn ang="0">
                  <a:pos x="16" y="50"/>
                </a:cxn>
                <a:cxn ang="0">
                  <a:pos x="14" y="54"/>
                </a:cxn>
                <a:cxn ang="0">
                  <a:pos x="10" y="50"/>
                </a:cxn>
                <a:cxn ang="0">
                  <a:pos x="12" y="48"/>
                </a:cxn>
                <a:cxn ang="0">
                  <a:pos x="4" y="50"/>
                </a:cxn>
                <a:cxn ang="0">
                  <a:pos x="0" y="50"/>
                </a:cxn>
                <a:cxn ang="0">
                  <a:pos x="2" y="44"/>
                </a:cxn>
                <a:cxn ang="0">
                  <a:pos x="8" y="44"/>
                </a:cxn>
                <a:cxn ang="0">
                  <a:pos x="14" y="38"/>
                </a:cxn>
                <a:cxn ang="0">
                  <a:pos x="12" y="36"/>
                </a:cxn>
                <a:cxn ang="0">
                  <a:pos x="10" y="38"/>
                </a:cxn>
                <a:cxn ang="0">
                  <a:pos x="6" y="36"/>
                </a:cxn>
              </a:cxnLst>
              <a:rect l="0" t="0" r="r" b="b"/>
              <a:pathLst>
                <a:path w="44" h="54">
                  <a:moveTo>
                    <a:pt x="2" y="34"/>
                  </a:moveTo>
                  <a:lnTo>
                    <a:pt x="4" y="34"/>
                  </a:lnTo>
                  <a:lnTo>
                    <a:pt x="6" y="34"/>
                  </a:lnTo>
                  <a:lnTo>
                    <a:pt x="8" y="34"/>
                  </a:lnTo>
                  <a:lnTo>
                    <a:pt x="10" y="34"/>
                  </a:lnTo>
                  <a:lnTo>
                    <a:pt x="12" y="34"/>
                  </a:lnTo>
                  <a:lnTo>
                    <a:pt x="12" y="32"/>
                  </a:lnTo>
                  <a:lnTo>
                    <a:pt x="10" y="30"/>
                  </a:lnTo>
                  <a:lnTo>
                    <a:pt x="8" y="30"/>
                  </a:lnTo>
                  <a:lnTo>
                    <a:pt x="4" y="28"/>
                  </a:lnTo>
                  <a:lnTo>
                    <a:pt x="4" y="26"/>
                  </a:lnTo>
                  <a:lnTo>
                    <a:pt x="8" y="26"/>
                  </a:lnTo>
                  <a:lnTo>
                    <a:pt x="10" y="26"/>
                  </a:lnTo>
                  <a:lnTo>
                    <a:pt x="10" y="24"/>
                  </a:lnTo>
                  <a:lnTo>
                    <a:pt x="8" y="24"/>
                  </a:lnTo>
                  <a:lnTo>
                    <a:pt x="6" y="22"/>
                  </a:lnTo>
                  <a:lnTo>
                    <a:pt x="6" y="24"/>
                  </a:lnTo>
                  <a:lnTo>
                    <a:pt x="4" y="22"/>
                  </a:lnTo>
                  <a:lnTo>
                    <a:pt x="2" y="22"/>
                  </a:lnTo>
                  <a:lnTo>
                    <a:pt x="4" y="18"/>
                  </a:lnTo>
                  <a:lnTo>
                    <a:pt x="8" y="18"/>
                  </a:lnTo>
                  <a:lnTo>
                    <a:pt x="14" y="18"/>
                  </a:lnTo>
                  <a:lnTo>
                    <a:pt x="16" y="18"/>
                  </a:lnTo>
                  <a:lnTo>
                    <a:pt x="20" y="16"/>
                  </a:lnTo>
                  <a:lnTo>
                    <a:pt x="24" y="16"/>
                  </a:lnTo>
                  <a:lnTo>
                    <a:pt x="22" y="14"/>
                  </a:lnTo>
                  <a:lnTo>
                    <a:pt x="20" y="14"/>
                  </a:lnTo>
                  <a:lnTo>
                    <a:pt x="18" y="14"/>
                  </a:lnTo>
                  <a:lnTo>
                    <a:pt x="16" y="14"/>
                  </a:lnTo>
                  <a:lnTo>
                    <a:pt x="16" y="12"/>
                  </a:lnTo>
                  <a:lnTo>
                    <a:pt x="12" y="10"/>
                  </a:lnTo>
                  <a:lnTo>
                    <a:pt x="14" y="8"/>
                  </a:lnTo>
                  <a:lnTo>
                    <a:pt x="16" y="10"/>
                  </a:lnTo>
                  <a:lnTo>
                    <a:pt x="16" y="12"/>
                  </a:lnTo>
                  <a:lnTo>
                    <a:pt x="18" y="12"/>
                  </a:lnTo>
                  <a:lnTo>
                    <a:pt x="20" y="10"/>
                  </a:lnTo>
                  <a:lnTo>
                    <a:pt x="18" y="8"/>
                  </a:lnTo>
                  <a:lnTo>
                    <a:pt x="16" y="6"/>
                  </a:lnTo>
                  <a:lnTo>
                    <a:pt x="18" y="6"/>
                  </a:lnTo>
                  <a:lnTo>
                    <a:pt x="20" y="8"/>
                  </a:lnTo>
                  <a:lnTo>
                    <a:pt x="22" y="8"/>
                  </a:lnTo>
                  <a:lnTo>
                    <a:pt x="24" y="10"/>
                  </a:lnTo>
                  <a:lnTo>
                    <a:pt x="26" y="12"/>
                  </a:lnTo>
                  <a:lnTo>
                    <a:pt x="28" y="10"/>
                  </a:lnTo>
                  <a:lnTo>
                    <a:pt x="26" y="8"/>
                  </a:lnTo>
                  <a:lnTo>
                    <a:pt x="24" y="8"/>
                  </a:lnTo>
                  <a:lnTo>
                    <a:pt x="24" y="6"/>
                  </a:lnTo>
                  <a:lnTo>
                    <a:pt x="22" y="4"/>
                  </a:lnTo>
                  <a:lnTo>
                    <a:pt x="22" y="2"/>
                  </a:lnTo>
                  <a:lnTo>
                    <a:pt x="22" y="0"/>
                  </a:lnTo>
                  <a:lnTo>
                    <a:pt x="24" y="0"/>
                  </a:lnTo>
                  <a:lnTo>
                    <a:pt x="24" y="2"/>
                  </a:lnTo>
                  <a:lnTo>
                    <a:pt x="26" y="2"/>
                  </a:lnTo>
                  <a:lnTo>
                    <a:pt x="26" y="4"/>
                  </a:lnTo>
                  <a:lnTo>
                    <a:pt x="28" y="6"/>
                  </a:lnTo>
                  <a:lnTo>
                    <a:pt x="28" y="8"/>
                  </a:lnTo>
                  <a:lnTo>
                    <a:pt x="30" y="8"/>
                  </a:lnTo>
                  <a:lnTo>
                    <a:pt x="28" y="4"/>
                  </a:lnTo>
                  <a:lnTo>
                    <a:pt x="28" y="0"/>
                  </a:lnTo>
                  <a:lnTo>
                    <a:pt x="34" y="0"/>
                  </a:lnTo>
                  <a:lnTo>
                    <a:pt x="36" y="0"/>
                  </a:lnTo>
                  <a:lnTo>
                    <a:pt x="38" y="6"/>
                  </a:lnTo>
                  <a:lnTo>
                    <a:pt x="42" y="14"/>
                  </a:lnTo>
                  <a:lnTo>
                    <a:pt x="44" y="16"/>
                  </a:lnTo>
                  <a:lnTo>
                    <a:pt x="44" y="20"/>
                  </a:lnTo>
                  <a:lnTo>
                    <a:pt x="44" y="22"/>
                  </a:lnTo>
                  <a:lnTo>
                    <a:pt x="42" y="22"/>
                  </a:lnTo>
                  <a:lnTo>
                    <a:pt x="40" y="22"/>
                  </a:lnTo>
                  <a:lnTo>
                    <a:pt x="38" y="24"/>
                  </a:lnTo>
                  <a:lnTo>
                    <a:pt x="36" y="32"/>
                  </a:lnTo>
                  <a:lnTo>
                    <a:pt x="40" y="36"/>
                  </a:lnTo>
                  <a:lnTo>
                    <a:pt x="38" y="38"/>
                  </a:lnTo>
                  <a:lnTo>
                    <a:pt x="36" y="40"/>
                  </a:lnTo>
                  <a:lnTo>
                    <a:pt x="28" y="40"/>
                  </a:lnTo>
                  <a:lnTo>
                    <a:pt x="24" y="36"/>
                  </a:lnTo>
                  <a:lnTo>
                    <a:pt x="22" y="40"/>
                  </a:lnTo>
                  <a:lnTo>
                    <a:pt x="16" y="46"/>
                  </a:lnTo>
                  <a:lnTo>
                    <a:pt x="14" y="48"/>
                  </a:lnTo>
                  <a:lnTo>
                    <a:pt x="14" y="50"/>
                  </a:lnTo>
                  <a:lnTo>
                    <a:pt x="16" y="50"/>
                  </a:lnTo>
                  <a:lnTo>
                    <a:pt x="16" y="52"/>
                  </a:lnTo>
                  <a:lnTo>
                    <a:pt x="14" y="54"/>
                  </a:lnTo>
                  <a:lnTo>
                    <a:pt x="10" y="54"/>
                  </a:lnTo>
                  <a:lnTo>
                    <a:pt x="10" y="50"/>
                  </a:lnTo>
                  <a:lnTo>
                    <a:pt x="12" y="50"/>
                  </a:lnTo>
                  <a:lnTo>
                    <a:pt x="12" y="48"/>
                  </a:lnTo>
                  <a:lnTo>
                    <a:pt x="6" y="50"/>
                  </a:lnTo>
                  <a:lnTo>
                    <a:pt x="4" y="50"/>
                  </a:lnTo>
                  <a:lnTo>
                    <a:pt x="2" y="50"/>
                  </a:lnTo>
                  <a:lnTo>
                    <a:pt x="0" y="50"/>
                  </a:lnTo>
                  <a:lnTo>
                    <a:pt x="0" y="46"/>
                  </a:lnTo>
                  <a:lnTo>
                    <a:pt x="2" y="44"/>
                  </a:lnTo>
                  <a:lnTo>
                    <a:pt x="6" y="44"/>
                  </a:lnTo>
                  <a:lnTo>
                    <a:pt x="8" y="44"/>
                  </a:lnTo>
                  <a:lnTo>
                    <a:pt x="12" y="38"/>
                  </a:lnTo>
                  <a:lnTo>
                    <a:pt x="14" y="38"/>
                  </a:lnTo>
                  <a:lnTo>
                    <a:pt x="14" y="36"/>
                  </a:lnTo>
                  <a:lnTo>
                    <a:pt x="12" y="36"/>
                  </a:lnTo>
                  <a:lnTo>
                    <a:pt x="12" y="38"/>
                  </a:lnTo>
                  <a:lnTo>
                    <a:pt x="10" y="38"/>
                  </a:lnTo>
                  <a:lnTo>
                    <a:pt x="8" y="38"/>
                  </a:lnTo>
                  <a:lnTo>
                    <a:pt x="6" y="36"/>
                  </a:lnTo>
                  <a:lnTo>
                    <a:pt x="2"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5" name="Freeform 2747"/>
            <p:cNvSpPr>
              <a:spLocks/>
            </p:cNvSpPr>
            <p:nvPr/>
          </p:nvSpPr>
          <p:spPr bwMode="auto">
            <a:xfrm>
              <a:off x="2652" y="490"/>
              <a:ext cx="24" cy="40"/>
            </a:xfrm>
            <a:custGeom>
              <a:avLst/>
              <a:gdLst/>
              <a:ahLst/>
              <a:cxnLst>
                <a:cxn ang="0">
                  <a:pos x="2" y="40"/>
                </a:cxn>
                <a:cxn ang="0">
                  <a:pos x="2" y="38"/>
                </a:cxn>
                <a:cxn ang="0">
                  <a:pos x="0" y="38"/>
                </a:cxn>
                <a:cxn ang="0">
                  <a:pos x="0" y="30"/>
                </a:cxn>
                <a:cxn ang="0">
                  <a:pos x="6" y="18"/>
                </a:cxn>
                <a:cxn ang="0">
                  <a:pos x="8" y="18"/>
                </a:cxn>
                <a:cxn ang="0">
                  <a:pos x="8" y="16"/>
                </a:cxn>
                <a:cxn ang="0">
                  <a:pos x="10" y="16"/>
                </a:cxn>
                <a:cxn ang="0">
                  <a:pos x="12" y="14"/>
                </a:cxn>
                <a:cxn ang="0">
                  <a:pos x="14" y="12"/>
                </a:cxn>
                <a:cxn ang="0">
                  <a:pos x="14" y="8"/>
                </a:cxn>
                <a:cxn ang="0">
                  <a:pos x="16" y="6"/>
                </a:cxn>
                <a:cxn ang="0">
                  <a:pos x="20" y="2"/>
                </a:cxn>
                <a:cxn ang="0">
                  <a:pos x="20" y="0"/>
                </a:cxn>
                <a:cxn ang="0">
                  <a:pos x="24" y="0"/>
                </a:cxn>
                <a:cxn ang="0">
                  <a:pos x="24" y="2"/>
                </a:cxn>
                <a:cxn ang="0">
                  <a:pos x="24" y="4"/>
                </a:cxn>
                <a:cxn ang="0">
                  <a:pos x="22" y="14"/>
                </a:cxn>
                <a:cxn ang="0">
                  <a:pos x="20" y="16"/>
                </a:cxn>
                <a:cxn ang="0">
                  <a:pos x="20" y="18"/>
                </a:cxn>
                <a:cxn ang="0">
                  <a:pos x="18" y="20"/>
                </a:cxn>
                <a:cxn ang="0">
                  <a:pos x="16" y="24"/>
                </a:cxn>
                <a:cxn ang="0">
                  <a:pos x="16" y="26"/>
                </a:cxn>
                <a:cxn ang="0">
                  <a:pos x="12" y="28"/>
                </a:cxn>
                <a:cxn ang="0">
                  <a:pos x="10" y="28"/>
                </a:cxn>
                <a:cxn ang="0">
                  <a:pos x="8" y="30"/>
                </a:cxn>
                <a:cxn ang="0">
                  <a:pos x="4" y="36"/>
                </a:cxn>
                <a:cxn ang="0">
                  <a:pos x="2" y="40"/>
                </a:cxn>
              </a:cxnLst>
              <a:rect l="0" t="0" r="r" b="b"/>
              <a:pathLst>
                <a:path w="24" h="40">
                  <a:moveTo>
                    <a:pt x="2" y="40"/>
                  </a:moveTo>
                  <a:lnTo>
                    <a:pt x="2" y="38"/>
                  </a:lnTo>
                  <a:lnTo>
                    <a:pt x="0" y="38"/>
                  </a:lnTo>
                  <a:lnTo>
                    <a:pt x="0" y="30"/>
                  </a:lnTo>
                  <a:lnTo>
                    <a:pt x="6" y="18"/>
                  </a:lnTo>
                  <a:lnTo>
                    <a:pt x="8" y="18"/>
                  </a:lnTo>
                  <a:lnTo>
                    <a:pt x="8" y="16"/>
                  </a:lnTo>
                  <a:lnTo>
                    <a:pt x="10" y="16"/>
                  </a:lnTo>
                  <a:lnTo>
                    <a:pt x="12" y="14"/>
                  </a:lnTo>
                  <a:lnTo>
                    <a:pt x="14" y="12"/>
                  </a:lnTo>
                  <a:lnTo>
                    <a:pt x="14" y="8"/>
                  </a:lnTo>
                  <a:lnTo>
                    <a:pt x="16" y="6"/>
                  </a:lnTo>
                  <a:lnTo>
                    <a:pt x="20" y="2"/>
                  </a:lnTo>
                  <a:lnTo>
                    <a:pt x="20" y="0"/>
                  </a:lnTo>
                  <a:lnTo>
                    <a:pt x="24" y="0"/>
                  </a:lnTo>
                  <a:lnTo>
                    <a:pt x="24" y="2"/>
                  </a:lnTo>
                  <a:lnTo>
                    <a:pt x="24" y="4"/>
                  </a:lnTo>
                  <a:lnTo>
                    <a:pt x="22" y="14"/>
                  </a:lnTo>
                  <a:lnTo>
                    <a:pt x="20" y="16"/>
                  </a:lnTo>
                  <a:lnTo>
                    <a:pt x="20" y="18"/>
                  </a:lnTo>
                  <a:lnTo>
                    <a:pt x="18" y="20"/>
                  </a:lnTo>
                  <a:lnTo>
                    <a:pt x="16" y="24"/>
                  </a:lnTo>
                  <a:lnTo>
                    <a:pt x="16" y="26"/>
                  </a:lnTo>
                  <a:lnTo>
                    <a:pt x="12" y="28"/>
                  </a:lnTo>
                  <a:lnTo>
                    <a:pt x="10" y="28"/>
                  </a:lnTo>
                  <a:lnTo>
                    <a:pt x="8" y="30"/>
                  </a:lnTo>
                  <a:lnTo>
                    <a:pt x="4" y="36"/>
                  </a:lnTo>
                  <a:lnTo>
                    <a:pt x="2" y="4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6" name="Freeform 2748"/>
            <p:cNvSpPr>
              <a:spLocks/>
            </p:cNvSpPr>
            <p:nvPr/>
          </p:nvSpPr>
          <p:spPr bwMode="auto">
            <a:xfrm>
              <a:off x="2718" y="508"/>
              <a:ext cx="8" cy="10"/>
            </a:xfrm>
            <a:custGeom>
              <a:avLst/>
              <a:gdLst/>
              <a:ahLst/>
              <a:cxnLst>
                <a:cxn ang="0">
                  <a:pos x="0" y="10"/>
                </a:cxn>
                <a:cxn ang="0">
                  <a:pos x="0" y="6"/>
                </a:cxn>
                <a:cxn ang="0">
                  <a:pos x="0" y="4"/>
                </a:cxn>
                <a:cxn ang="0">
                  <a:pos x="2" y="2"/>
                </a:cxn>
                <a:cxn ang="0">
                  <a:pos x="8" y="0"/>
                </a:cxn>
                <a:cxn ang="0">
                  <a:pos x="6" y="4"/>
                </a:cxn>
                <a:cxn ang="0">
                  <a:pos x="4" y="8"/>
                </a:cxn>
                <a:cxn ang="0">
                  <a:pos x="2" y="8"/>
                </a:cxn>
                <a:cxn ang="0">
                  <a:pos x="0" y="10"/>
                </a:cxn>
              </a:cxnLst>
              <a:rect l="0" t="0" r="r" b="b"/>
              <a:pathLst>
                <a:path w="8" h="10">
                  <a:moveTo>
                    <a:pt x="0" y="10"/>
                  </a:moveTo>
                  <a:lnTo>
                    <a:pt x="0" y="6"/>
                  </a:lnTo>
                  <a:lnTo>
                    <a:pt x="0" y="4"/>
                  </a:lnTo>
                  <a:lnTo>
                    <a:pt x="2" y="2"/>
                  </a:lnTo>
                  <a:lnTo>
                    <a:pt x="8" y="0"/>
                  </a:lnTo>
                  <a:lnTo>
                    <a:pt x="6" y="4"/>
                  </a:lnTo>
                  <a:lnTo>
                    <a:pt x="4" y="8"/>
                  </a:lnTo>
                  <a:lnTo>
                    <a:pt x="2" y="8"/>
                  </a:lnTo>
                  <a:lnTo>
                    <a:pt x="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7" name="Freeform 2749"/>
            <p:cNvSpPr>
              <a:spLocks/>
            </p:cNvSpPr>
            <p:nvPr/>
          </p:nvSpPr>
          <p:spPr bwMode="auto">
            <a:xfrm>
              <a:off x="2616" y="516"/>
              <a:ext cx="36" cy="40"/>
            </a:xfrm>
            <a:custGeom>
              <a:avLst/>
              <a:gdLst/>
              <a:ahLst/>
              <a:cxnLst>
                <a:cxn ang="0">
                  <a:pos x="6" y="38"/>
                </a:cxn>
                <a:cxn ang="0">
                  <a:pos x="2" y="38"/>
                </a:cxn>
                <a:cxn ang="0">
                  <a:pos x="2" y="36"/>
                </a:cxn>
                <a:cxn ang="0">
                  <a:pos x="2" y="34"/>
                </a:cxn>
                <a:cxn ang="0">
                  <a:pos x="0" y="30"/>
                </a:cxn>
                <a:cxn ang="0">
                  <a:pos x="2" y="24"/>
                </a:cxn>
                <a:cxn ang="0">
                  <a:pos x="4" y="22"/>
                </a:cxn>
                <a:cxn ang="0">
                  <a:pos x="6" y="20"/>
                </a:cxn>
                <a:cxn ang="0">
                  <a:pos x="10" y="18"/>
                </a:cxn>
                <a:cxn ang="0">
                  <a:pos x="12" y="20"/>
                </a:cxn>
                <a:cxn ang="0">
                  <a:pos x="18" y="24"/>
                </a:cxn>
                <a:cxn ang="0">
                  <a:pos x="20" y="22"/>
                </a:cxn>
                <a:cxn ang="0">
                  <a:pos x="20" y="20"/>
                </a:cxn>
                <a:cxn ang="0">
                  <a:pos x="20" y="18"/>
                </a:cxn>
                <a:cxn ang="0">
                  <a:pos x="18" y="16"/>
                </a:cxn>
                <a:cxn ang="0">
                  <a:pos x="20" y="16"/>
                </a:cxn>
                <a:cxn ang="0">
                  <a:pos x="24" y="16"/>
                </a:cxn>
                <a:cxn ang="0">
                  <a:pos x="26" y="16"/>
                </a:cxn>
                <a:cxn ang="0">
                  <a:pos x="26" y="18"/>
                </a:cxn>
                <a:cxn ang="0">
                  <a:pos x="28" y="20"/>
                </a:cxn>
                <a:cxn ang="0">
                  <a:pos x="28" y="18"/>
                </a:cxn>
                <a:cxn ang="0">
                  <a:pos x="28" y="16"/>
                </a:cxn>
                <a:cxn ang="0">
                  <a:pos x="24" y="12"/>
                </a:cxn>
                <a:cxn ang="0">
                  <a:pos x="24" y="8"/>
                </a:cxn>
                <a:cxn ang="0">
                  <a:pos x="22" y="6"/>
                </a:cxn>
                <a:cxn ang="0">
                  <a:pos x="24" y="4"/>
                </a:cxn>
                <a:cxn ang="0">
                  <a:pos x="24" y="2"/>
                </a:cxn>
                <a:cxn ang="0">
                  <a:pos x="26" y="2"/>
                </a:cxn>
                <a:cxn ang="0">
                  <a:pos x="28" y="0"/>
                </a:cxn>
                <a:cxn ang="0">
                  <a:pos x="28" y="2"/>
                </a:cxn>
                <a:cxn ang="0">
                  <a:pos x="28" y="4"/>
                </a:cxn>
                <a:cxn ang="0">
                  <a:pos x="30" y="12"/>
                </a:cxn>
                <a:cxn ang="0">
                  <a:pos x="32" y="12"/>
                </a:cxn>
                <a:cxn ang="0">
                  <a:pos x="36" y="16"/>
                </a:cxn>
                <a:cxn ang="0">
                  <a:pos x="36" y="28"/>
                </a:cxn>
                <a:cxn ang="0">
                  <a:pos x="36" y="30"/>
                </a:cxn>
                <a:cxn ang="0">
                  <a:pos x="36" y="32"/>
                </a:cxn>
                <a:cxn ang="0">
                  <a:pos x="34" y="34"/>
                </a:cxn>
                <a:cxn ang="0">
                  <a:pos x="24" y="40"/>
                </a:cxn>
                <a:cxn ang="0">
                  <a:pos x="18" y="40"/>
                </a:cxn>
                <a:cxn ang="0">
                  <a:pos x="16" y="38"/>
                </a:cxn>
                <a:cxn ang="0">
                  <a:pos x="16" y="36"/>
                </a:cxn>
                <a:cxn ang="0">
                  <a:pos x="18" y="34"/>
                </a:cxn>
                <a:cxn ang="0">
                  <a:pos x="20" y="34"/>
                </a:cxn>
                <a:cxn ang="0">
                  <a:pos x="24" y="32"/>
                </a:cxn>
                <a:cxn ang="0">
                  <a:pos x="28" y="30"/>
                </a:cxn>
                <a:cxn ang="0">
                  <a:pos x="28" y="24"/>
                </a:cxn>
                <a:cxn ang="0">
                  <a:pos x="24" y="24"/>
                </a:cxn>
                <a:cxn ang="0">
                  <a:pos x="22" y="24"/>
                </a:cxn>
                <a:cxn ang="0">
                  <a:pos x="24" y="24"/>
                </a:cxn>
                <a:cxn ang="0">
                  <a:pos x="24" y="26"/>
                </a:cxn>
                <a:cxn ang="0">
                  <a:pos x="24" y="28"/>
                </a:cxn>
                <a:cxn ang="0">
                  <a:pos x="22" y="30"/>
                </a:cxn>
                <a:cxn ang="0">
                  <a:pos x="18" y="32"/>
                </a:cxn>
                <a:cxn ang="0">
                  <a:pos x="16" y="32"/>
                </a:cxn>
                <a:cxn ang="0">
                  <a:pos x="14" y="34"/>
                </a:cxn>
                <a:cxn ang="0">
                  <a:pos x="14" y="32"/>
                </a:cxn>
                <a:cxn ang="0">
                  <a:pos x="10" y="32"/>
                </a:cxn>
                <a:cxn ang="0">
                  <a:pos x="6" y="36"/>
                </a:cxn>
                <a:cxn ang="0">
                  <a:pos x="6" y="38"/>
                </a:cxn>
              </a:cxnLst>
              <a:rect l="0" t="0" r="r" b="b"/>
              <a:pathLst>
                <a:path w="36" h="40">
                  <a:moveTo>
                    <a:pt x="6" y="38"/>
                  </a:moveTo>
                  <a:lnTo>
                    <a:pt x="2" y="38"/>
                  </a:lnTo>
                  <a:lnTo>
                    <a:pt x="2" y="36"/>
                  </a:lnTo>
                  <a:lnTo>
                    <a:pt x="2" y="34"/>
                  </a:lnTo>
                  <a:lnTo>
                    <a:pt x="0" y="30"/>
                  </a:lnTo>
                  <a:lnTo>
                    <a:pt x="2" y="24"/>
                  </a:lnTo>
                  <a:lnTo>
                    <a:pt x="4" y="22"/>
                  </a:lnTo>
                  <a:lnTo>
                    <a:pt x="6" y="20"/>
                  </a:lnTo>
                  <a:lnTo>
                    <a:pt x="10" y="18"/>
                  </a:lnTo>
                  <a:lnTo>
                    <a:pt x="12" y="20"/>
                  </a:lnTo>
                  <a:lnTo>
                    <a:pt x="18" y="24"/>
                  </a:lnTo>
                  <a:lnTo>
                    <a:pt x="20" y="22"/>
                  </a:lnTo>
                  <a:lnTo>
                    <a:pt x="20" y="20"/>
                  </a:lnTo>
                  <a:lnTo>
                    <a:pt x="20" y="18"/>
                  </a:lnTo>
                  <a:lnTo>
                    <a:pt x="18" y="16"/>
                  </a:lnTo>
                  <a:lnTo>
                    <a:pt x="20" y="16"/>
                  </a:lnTo>
                  <a:lnTo>
                    <a:pt x="24" y="16"/>
                  </a:lnTo>
                  <a:lnTo>
                    <a:pt x="26" y="16"/>
                  </a:lnTo>
                  <a:lnTo>
                    <a:pt x="26" y="18"/>
                  </a:lnTo>
                  <a:lnTo>
                    <a:pt x="28" y="20"/>
                  </a:lnTo>
                  <a:lnTo>
                    <a:pt x="28" y="18"/>
                  </a:lnTo>
                  <a:lnTo>
                    <a:pt x="28" y="16"/>
                  </a:lnTo>
                  <a:lnTo>
                    <a:pt x="24" y="12"/>
                  </a:lnTo>
                  <a:lnTo>
                    <a:pt x="24" y="8"/>
                  </a:lnTo>
                  <a:lnTo>
                    <a:pt x="22" y="6"/>
                  </a:lnTo>
                  <a:lnTo>
                    <a:pt x="24" y="4"/>
                  </a:lnTo>
                  <a:lnTo>
                    <a:pt x="24" y="2"/>
                  </a:lnTo>
                  <a:lnTo>
                    <a:pt x="26" y="2"/>
                  </a:lnTo>
                  <a:lnTo>
                    <a:pt x="28" y="0"/>
                  </a:lnTo>
                  <a:lnTo>
                    <a:pt x="28" y="2"/>
                  </a:lnTo>
                  <a:lnTo>
                    <a:pt x="28" y="4"/>
                  </a:lnTo>
                  <a:lnTo>
                    <a:pt x="30" y="12"/>
                  </a:lnTo>
                  <a:lnTo>
                    <a:pt x="32" y="12"/>
                  </a:lnTo>
                  <a:lnTo>
                    <a:pt x="36" y="16"/>
                  </a:lnTo>
                  <a:lnTo>
                    <a:pt x="36" y="28"/>
                  </a:lnTo>
                  <a:lnTo>
                    <a:pt x="36" y="30"/>
                  </a:lnTo>
                  <a:lnTo>
                    <a:pt x="36" y="32"/>
                  </a:lnTo>
                  <a:lnTo>
                    <a:pt x="34" y="34"/>
                  </a:lnTo>
                  <a:lnTo>
                    <a:pt x="24" y="40"/>
                  </a:lnTo>
                  <a:lnTo>
                    <a:pt x="18" y="40"/>
                  </a:lnTo>
                  <a:lnTo>
                    <a:pt x="16" y="38"/>
                  </a:lnTo>
                  <a:lnTo>
                    <a:pt x="16" y="36"/>
                  </a:lnTo>
                  <a:lnTo>
                    <a:pt x="18" y="34"/>
                  </a:lnTo>
                  <a:lnTo>
                    <a:pt x="20" y="34"/>
                  </a:lnTo>
                  <a:lnTo>
                    <a:pt x="24" y="32"/>
                  </a:lnTo>
                  <a:lnTo>
                    <a:pt x="28" y="30"/>
                  </a:lnTo>
                  <a:lnTo>
                    <a:pt x="28" y="24"/>
                  </a:lnTo>
                  <a:lnTo>
                    <a:pt x="24" y="24"/>
                  </a:lnTo>
                  <a:lnTo>
                    <a:pt x="22" y="24"/>
                  </a:lnTo>
                  <a:lnTo>
                    <a:pt x="24" y="24"/>
                  </a:lnTo>
                  <a:lnTo>
                    <a:pt x="24" y="26"/>
                  </a:lnTo>
                  <a:lnTo>
                    <a:pt x="24" y="28"/>
                  </a:lnTo>
                  <a:lnTo>
                    <a:pt x="22" y="30"/>
                  </a:lnTo>
                  <a:lnTo>
                    <a:pt x="18" y="32"/>
                  </a:lnTo>
                  <a:lnTo>
                    <a:pt x="16" y="32"/>
                  </a:lnTo>
                  <a:lnTo>
                    <a:pt x="14" y="34"/>
                  </a:lnTo>
                  <a:lnTo>
                    <a:pt x="14" y="32"/>
                  </a:lnTo>
                  <a:lnTo>
                    <a:pt x="10" y="32"/>
                  </a:lnTo>
                  <a:lnTo>
                    <a:pt x="6" y="36"/>
                  </a:lnTo>
                  <a:lnTo>
                    <a:pt x="6" y="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8" name="Freeform 2751"/>
            <p:cNvSpPr>
              <a:spLocks/>
            </p:cNvSpPr>
            <p:nvPr/>
          </p:nvSpPr>
          <p:spPr bwMode="auto">
            <a:xfrm>
              <a:off x="2680" y="518"/>
              <a:ext cx="12" cy="10"/>
            </a:xfrm>
            <a:custGeom>
              <a:avLst/>
              <a:gdLst/>
              <a:ahLst/>
              <a:cxnLst>
                <a:cxn ang="0">
                  <a:pos x="10" y="10"/>
                </a:cxn>
                <a:cxn ang="0">
                  <a:pos x="8" y="10"/>
                </a:cxn>
                <a:cxn ang="0">
                  <a:pos x="6" y="10"/>
                </a:cxn>
                <a:cxn ang="0">
                  <a:pos x="4" y="8"/>
                </a:cxn>
                <a:cxn ang="0">
                  <a:pos x="2" y="4"/>
                </a:cxn>
                <a:cxn ang="0">
                  <a:pos x="0" y="2"/>
                </a:cxn>
                <a:cxn ang="0">
                  <a:pos x="2" y="2"/>
                </a:cxn>
                <a:cxn ang="0">
                  <a:pos x="2" y="0"/>
                </a:cxn>
                <a:cxn ang="0">
                  <a:pos x="4" y="0"/>
                </a:cxn>
                <a:cxn ang="0">
                  <a:pos x="10" y="2"/>
                </a:cxn>
                <a:cxn ang="0">
                  <a:pos x="12" y="2"/>
                </a:cxn>
                <a:cxn ang="0">
                  <a:pos x="12" y="4"/>
                </a:cxn>
                <a:cxn ang="0">
                  <a:pos x="12" y="6"/>
                </a:cxn>
                <a:cxn ang="0">
                  <a:pos x="12" y="10"/>
                </a:cxn>
                <a:cxn ang="0">
                  <a:pos x="10" y="10"/>
                </a:cxn>
              </a:cxnLst>
              <a:rect l="0" t="0" r="r" b="b"/>
              <a:pathLst>
                <a:path w="12" h="10">
                  <a:moveTo>
                    <a:pt x="10" y="10"/>
                  </a:moveTo>
                  <a:lnTo>
                    <a:pt x="8" y="10"/>
                  </a:lnTo>
                  <a:lnTo>
                    <a:pt x="6" y="10"/>
                  </a:lnTo>
                  <a:lnTo>
                    <a:pt x="4" y="8"/>
                  </a:lnTo>
                  <a:lnTo>
                    <a:pt x="2" y="4"/>
                  </a:lnTo>
                  <a:lnTo>
                    <a:pt x="0" y="2"/>
                  </a:lnTo>
                  <a:lnTo>
                    <a:pt x="2" y="2"/>
                  </a:lnTo>
                  <a:lnTo>
                    <a:pt x="2" y="0"/>
                  </a:lnTo>
                  <a:lnTo>
                    <a:pt x="4" y="0"/>
                  </a:lnTo>
                  <a:lnTo>
                    <a:pt x="10" y="2"/>
                  </a:lnTo>
                  <a:lnTo>
                    <a:pt x="12" y="2"/>
                  </a:lnTo>
                  <a:lnTo>
                    <a:pt x="12" y="4"/>
                  </a:lnTo>
                  <a:lnTo>
                    <a:pt x="12" y="6"/>
                  </a:lnTo>
                  <a:lnTo>
                    <a:pt x="12" y="10"/>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59" name="Freeform 2752"/>
            <p:cNvSpPr>
              <a:spLocks/>
            </p:cNvSpPr>
            <p:nvPr/>
          </p:nvSpPr>
          <p:spPr bwMode="auto">
            <a:xfrm>
              <a:off x="2638" y="520"/>
              <a:ext cx="54" cy="68"/>
            </a:xfrm>
            <a:custGeom>
              <a:avLst/>
              <a:gdLst/>
              <a:ahLst/>
              <a:cxnLst>
                <a:cxn ang="0">
                  <a:pos x="48" y="38"/>
                </a:cxn>
                <a:cxn ang="0">
                  <a:pos x="42" y="40"/>
                </a:cxn>
                <a:cxn ang="0">
                  <a:pos x="38" y="44"/>
                </a:cxn>
                <a:cxn ang="0">
                  <a:pos x="34" y="54"/>
                </a:cxn>
                <a:cxn ang="0">
                  <a:pos x="30" y="56"/>
                </a:cxn>
                <a:cxn ang="0">
                  <a:pos x="30" y="50"/>
                </a:cxn>
                <a:cxn ang="0">
                  <a:pos x="24" y="58"/>
                </a:cxn>
                <a:cxn ang="0">
                  <a:pos x="18" y="60"/>
                </a:cxn>
                <a:cxn ang="0">
                  <a:pos x="14" y="60"/>
                </a:cxn>
                <a:cxn ang="0">
                  <a:pos x="12" y="58"/>
                </a:cxn>
                <a:cxn ang="0">
                  <a:pos x="16" y="54"/>
                </a:cxn>
                <a:cxn ang="0">
                  <a:pos x="20" y="48"/>
                </a:cxn>
                <a:cxn ang="0">
                  <a:pos x="20" y="44"/>
                </a:cxn>
                <a:cxn ang="0">
                  <a:pos x="20" y="44"/>
                </a:cxn>
                <a:cxn ang="0">
                  <a:pos x="18" y="48"/>
                </a:cxn>
                <a:cxn ang="0">
                  <a:pos x="14" y="52"/>
                </a:cxn>
                <a:cxn ang="0">
                  <a:pos x="10" y="56"/>
                </a:cxn>
                <a:cxn ang="0">
                  <a:pos x="8" y="60"/>
                </a:cxn>
                <a:cxn ang="0">
                  <a:pos x="2" y="66"/>
                </a:cxn>
                <a:cxn ang="0">
                  <a:pos x="0" y="68"/>
                </a:cxn>
                <a:cxn ang="0">
                  <a:pos x="0" y="62"/>
                </a:cxn>
                <a:cxn ang="0">
                  <a:pos x="10" y="46"/>
                </a:cxn>
                <a:cxn ang="0">
                  <a:pos x="10" y="42"/>
                </a:cxn>
                <a:cxn ang="0">
                  <a:pos x="6" y="42"/>
                </a:cxn>
                <a:cxn ang="0">
                  <a:pos x="12" y="36"/>
                </a:cxn>
                <a:cxn ang="0">
                  <a:pos x="16" y="30"/>
                </a:cxn>
                <a:cxn ang="0">
                  <a:pos x="16" y="26"/>
                </a:cxn>
                <a:cxn ang="0">
                  <a:pos x="16" y="22"/>
                </a:cxn>
                <a:cxn ang="0">
                  <a:pos x="22" y="22"/>
                </a:cxn>
                <a:cxn ang="0">
                  <a:pos x="24" y="24"/>
                </a:cxn>
                <a:cxn ang="0">
                  <a:pos x="26" y="26"/>
                </a:cxn>
                <a:cxn ang="0">
                  <a:pos x="20" y="22"/>
                </a:cxn>
                <a:cxn ang="0">
                  <a:pos x="16" y="20"/>
                </a:cxn>
                <a:cxn ang="0">
                  <a:pos x="22" y="4"/>
                </a:cxn>
                <a:cxn ang="0">
                  <a:pos x="24" y="2"/>
                </a:cxn>
                <a:cxn ang="0">
                  <a:pos x="30" y="2"/>
                </a:cxn>
                <a:cxn ang="0">
                  <a:pos x="30" y="16"/>
                </a:cxn>
                <a:cxn ang="0">
                  <a:pos x="34" y="18"/>
                </a:cxn>
                <a:cxn ang="0">
                  <a:pos x="34" y="24"/>
                </a:cxn>
                <a:cxn ang="0">
                  <a:pos x="32" y="28"/>
                </a:cxn>
                <a:cxn ang="0">
                  <a:pos x="28" y="30"/>
                </a:cxn>
                <a:cxn ang="0">
                  <a:pos x="26" y="32"/>
                </a:cxn>
                <a:cxn ang="0">
                  <a:pos x="28" y="40"/>
                </a:cxn>
                <a:cxn ang="0">
                  <a:pos x="28" y="36"/>
                </a:cxn>
                <a:cxn ang="0">
                  <a:pos x="30" y="32"/>
                </a:cxn>
                <a:cxn ang="0">
                  <a:pos x="38" y="22"/>
                </a:cxn>
                <a:cxn ang="0">
                  <a:pos x="38" y="16"/>
                </a:cxn>
                <a:cxn ang="0">
                  <a:pos x="38" y="12"/>
                </a:cxn>
                <a:cxn ang="0">
                  <a:pos x="42" y="12"/>
                </a:cxn>
                <a:cxn ang="0">
                  <a:pos x="50" y="12"/>
                </a:cxn>
                <a:cxn ang="0">
                  <a:pos x="54" y="20"/>
                </a:cxn>
                <a:cxn ang="0">
                  <a:pos x="54" y="30"/>
                </a:cxn>
                <a:cxn ang="0">
                  <a:pos x="52" y="32"/>
                </a:cxn>
                <a:cxn ang="0">
                  <a:pos x="52" y="38"/>
                </a:cxn>
              </a:cxnLst>
              <a:rect l="0" t="0" r="r" b="b"/>
              <a:pathLst>
                <a:path w="54" h="68">
                  <a:moveTo>
                    <a:pt x="52" y="38"/>
                  </a:moveTo>
                  <a:lnTo>
                    <a:pt x="48" y="38"/>
                  </a:lnTo>
                  <a:lnTo>
                    <a:pt x="46" y="38"/>
                  </a:lnTo>
                  <a:lnTo>
                    <a:pt x="42" y="40"/>
                  </a:lnTo>
                  <a:lnTo>
                    <a:pt x="40" y="42"/>
                  </a:lnTo>
                  <a:lnTo>
                    <a:pt x="38" y="44"/>
                  </a:lnTo>
                  <a:lnTo>
                    <a:pt x="36" y="48"/>
                  </a:lnTo>
                  <a:lnTo>
                    <a:pt x="34" y="54"/>
                  </a:lnTo>
                  <a:lnTo>
                    <a:pt x="32" y="56"/>
                  </a:lnTo>
                  <a:lnTo>
                    <a:pt x="30" y="56"/>
                  </a:lnTo>
                  <a:lnTo>
                    <a:pt x="30" y="54"/>
                  </a:lnTo>
                  <a:lnTo>
                    <a:pt x="30" y="50"/>
                  </a:lnTo>
                  <a:lnTo>
                    <a:pt x="28" y="54"/>
                  </a:lnTo>
                  <a:lnTo>
                    <a:pt x="24" y="58"/>
                  </a:lnTo>
                  <a:lnTo>
                    <a:pt x="22" y="62"/>
                  </a:lnTo>
                  <a:lnTo>
                    <a:pt x="18" y="60"/>
                  </a:lnTo>
                  <a:lnTo>
                    <a:pt x="16" y="60"/>
                  </a:lnTo>
                  <a:lnTo>
                    <a:pt x="14" y="60"/>
                  </a:lnTo>
                  <a:lnTo>
                    <a:pt x="12" y="60"/>
                  </a:lnTo>
                  <a:lnTo>
                    <a:pt x="12" y="58"/>
                  </a:lnTo>
                  <a:lnTo>
                    <a:pt x="14" y="54"/>
                  </a:lnTo>
                  <a:lnTo>
                    <a:pt x="16" y="54"/>
                  </a:lnTo>
                  <a:lnTo>
                    <a:pt x="18" y="52"/>
                  </a:lnTo>
                  <a:lnTo>
                    <a:pt x="20" y="48"/>
                  </a:lnTo>
                  <a:lnTo>
                    <a:pt x="20" y="46"/>
                  </a:lnTo>
                  <a:lnTo>
                    <a:pt x="20" y="44"/>
                  </a:lnTo>
                  <a:lnTo>
                    <a:pt x="18" y="44"/>
                  </a:lnTo>
                  <a:lnTo>
                    <a:pt x="20" y="44"/>
                  </a:lnTo>
                  <a:lnTo>
                    <a:pt x="20" y="46"/>
                  </a:lnTo>
                  <a:lnTo>
                    <a:pt x="18" y="48"/>
                  </a:lnTo>
                  <a:lnTo>
                    <a:pt x="16" y="52"/>
                  </a:lnTo>
                  <a:lnTo>
                    <a:pt x="14" y="52"/>
                  </a:lnTo>
                  <a:lnTo>
                    <a:pt x="12" y="54"/>
                  </a:lnTo>
                  <a:lnTo>
                    <a:pt x="10" y="56"/>
                  </a:lnTo>
                  <a:lnTo>
                    <a:pt x="8" y="58"/>
                  </a:lnTo>
                  <a:lnTo>
                    <a:pt x="8" y="60"/>
                  </a:lnTo>
                  <a:lnTo>
                    <a:pt x="4" y="64"/>
                  </a:lnTo>
                  <a:lnTo>
                    <a:pt x="2" y="66"/>
                  </a:lnTo>
                  <a:lnTo>
                    <a:pt x="2" y="68"/>
                  </a:lnTo>
                  <a:lnTo>
                    <a:pt x="0" y="68"/>
                  </a:lnTo>
                  <a:lnTo>
                    <a:pt x="0" y="66"/>
                  </a:lnTo>
                  <a:lnTo>
                    <a:pt x="0" y="62"/>
                  </a:lnTo>
                  <a:lnTo>
                    <a:pt x="4" y="56"/>
                  </a:lnTo>
                  <a:lnTo>
                    <a:pt x="10" y="46"/>
                  </a:lnTo>
                  <a:lnTo>
                    <a:pt x="12" y="46"/>
                  </a:lnTo>
                  <a:lnTo>
                    <a:pt x="10" y="42"/>
                  </a:lnTo>
                  <a:lnTo>
                    <a:pt x="8" y="42"/>
                  </a:lnTo>
                  <a:lnTo>
                    <a:pt x="6" y="42"/>
                  </a:lnTo>
                  <a:lnTo>
                    <a:pt x="8" y="38"/>
                  </a:lnTo>
                  <a:lnTo>
                    <a:pt x="12" y="36"/>
                  </a:lnTo>
                  <a:lnTo>
                    <a:pt x="14" y="36"/>
                  </a:lnTo>
                  <a:lnTo>
                    <a:pt x="16" y="30"/>
                  </a:lnTo>
                  <a:lnTo>
                    <a:pt x="16" y="28"/>
                  </a:lnTo>
                  <a:lnTo>
                    <a:pt x="16" y="26"/>
                  </a:lnTo>
                  <a:lnTo>
                    <a:pt x="16" y="24"/>
                  </a:lnTo>
                  <a:lnTo>
                    <a:pt x="16" y="22"/>
                  </a:lnTo>
                  <a:lnTo>
                    <a:pt x="20" y="22"/>
                  </a:lnTo>
                  <a:lnTo>
                    <a:pt x="22" y="22"/>
                  </a:lnTo>
                  <a:lnTo>
                    <a:pt x="22" y="24"/>
                  </a:lnTo>
                  <a:lnTo>
                    <a:pt x="24" y="24"/>
                  </a:lnTo>
                  <a:lnTo>
                    <a:pt x="24" y="26"/>
                  </a:lnTo>
                  <a:lnTo>
                    <a:pt x="26" y="26"/>
                  </a:lnTo>
                  <a:lnTo>
                    <a:pt x="22" y="22"/>
                  </a:lnTo>
                  <a:lnTo>
                    <a:pt x="20" y="22"/>
                  </a:lnTo>
                  <a:lnTo>
                    <a:pt x="18" y="22"/>
                  </a:lnTo>
                  <a:lnTo>
                    <a:pt x="16" y="20"/>
                  </a:lnTo>
                  <a:lnTo>
                    <a:pt x="16" y="16"/>
                  </a:lnTo>
                  <a:lnTo>
                    <a:pt x="22" y="4"/>
                  </a:lnTo>
                  <a:lnTo>
                    <a:pt x="22" y="2"/>
                  </a:lnTo>
                  <a:lnTo>
                    <a:pt x="24" y="2"/>
                  </a:lnTo>
                  <a:lnTo>
                    <a:pt x="30" y="0"/>
                  </a:lnTo>
                  <a:lnTo>
                    <a:pt x="30" y="2"/>
                  </a:lnTo>
                  <a:lnTo>
                    <a:pt x="32" y="8"/>
                  </a:lnTo>
                  <a:lnTo>
                    <a:pt x="30" y="16"/>
                  </a:lnTo>
                  <a:lnTo>
                    <a:pt x="32" y="18"/>
                  </a:lnTo>
                  <a:lnTo>
                    <a:pt x="34" y="18"/>
                  </a:lnTo>
                  <a:lnTo>
                    <a:pt x="34" y="20"/>
                  </a:lnTo>
                  <a:lnTo>
                    <a:pt x="34" y="24"/>
                  </a:lnTo>
                  <a:lnTo>
                    <a:pt x="34" y="26"/>
                  </a:lnTo>
                  <a:lnTo>
                    <a:pt x="32" y="28"/>
                  </a:lnTo>
                  <a:lnTo>
                    <a:pt x="30" y="30"/>
                  </a:lnTo>
                  <a:lnTo>
                    <a:pt x="28" y="30"/>
                  </a:lnTo>
                  <a:lnTo>
                    <a:pt x="28" y="32"/>
                  </a:lnTo>
                  <a:lnTo>
                    <a:pt x="26" y="32"/>
                  </a:lnTo>
                  <a:lnTo>
                    <a:pt x="26" y="40"/>
                  </a:lnTo>
                  <a:lnTo>
                    <a:pt x="28" y="40"/>
                  </a:lnTo>
                  <a:lnTo>
                    <a:pt x="28" y="38"/>
                  </a:lnTo>
                  <a:lnTo>
                    <a:pt x="28" y="36"/>
                  </a:lnTo>
                  <a:lnTo>
                    <a:pt x="28" y="34"/>
                  </a:lnTo>
                  <a:lnTo>
                    <a:pt x="30" y="32"/>
                  </a:lnTo>
                  <a:lnTo>
                    <a:pt x="34" y="28"/>
                  </a:lnTo>
                  <a:lnTo>
                    <a:pt x="38" y="22"/>
                  </a:lnTo>
                  <a:lnTo>
                    <a:pt x="38" y="18"/>
                  </a:lnTo>
                  <a:lnTo>
                    <a:pt x="38" y="16"/>
                  </a:lnTo>
                  <a:lnTo>
                    <a:pt x="38" y="14"/>
                  </a:lnTo>
                  <a:lnTo>
                    <a:pt x="38" y="12"/>
                  </a:lnTo>
                  <a:lnTo>
                    <a:pt x="40" y="12"/>
                  </a:lnTo>
                  <a:lnTo>
                    <a:pt x="42" y="12"/>
                  </a:lnTo>
                  <a:lnTo>
                    <a:pt x="46" y="10"/>
                  </a:lnTo>
                  <a:lnTo>
                    <a:pt x="50" y="12"/>
                  </a:lnTo>
                  <a:lnTo>
                    <a:pt x="50" y="16"/>
                  </a:lnTo>
                  <a:lnTo>
                    <a:pt x="54" y="20"/>
                  </a:lnTo>
                  <a:lnTo>
                    <a:pt x="54" y="26"/>
                  </a:lnTo>
                  <a:lnTo>
                    <a:pt x="54" y="30"/>
                  </a:lnTo>
                  <a:lnTo>
                    <a:pt x="54" y="32"/>
                  </a:lnTo>
                  <a:lnTo>
                    <a:pt x="52" y="32"/>
                  </a:lnTo>
                  <a:lnTo>
                    <a:pt x="52" y="34"/>
                  </a:lnTo>
                  <a:lnTo>
                    <a:pt x="52" y="3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0" name="Freeform 2753"/>
            <p:cNvSpPr>
              <a:spLocks/>
            </p:cNvSpPr>
            <p:nvPr/>
          </p:nvSpPr>
          <p:spPr bwMode="auto">
            <a:xfrm>
              <a:off x="2708" y="524"/>
              <a:ext cx="14" cy="12"/>
            </a:xfrm>
            <a:custGeom>
              <a:avLst/>
              <a:gdLst/>
              <a:ahLst/>
              <a:cxnLst>
                <a:cxn ang="0">
                  <a:pos x="6" y="12"/>
                </a:cxn>
                <a:cxn ang="0">
                  <a:pos x="0" y="2"/>
                </a:cxn>
                <a:cxn ang="0">
                  <a:pos x="0" y="0"/>
                </a:cxn>
                <a:cxn ang="0">
                  <a:pos x="2" y="0"/>
                </a:cxn>
                <a:cxn ang="0">
                  <a:pos x="8" y="0"/>
                </a:cxn>
                <a:cxn ang="0">
                  <a:pos x="10" y="0"/>
                </a:cxn>
                <a:cxn ang="0">
                  <a:pos x="10" y="2"/>
                </a:cxn>
                <a:cxn ang="0">
                  <a:pos x="14" y="4"/>
                </a:cxn>
                <a:cxn ang="0">
                  <a:pos x="14" y="6"/>
                </a:cxn>
                <a:cxn ang="0">
                  <a:pos x="10" y="10"/>
                </a:cxn>
                <a:cxn ang="0">
                  <a:pos x="8" y="12"/>
                </a:cxn>
                <a:cxn ang="0">
                  <a:pos x="6" y="12"/>
                </a:cxn>
              </a:cxnLst>
              <a:rect l="0" t="0" r="r" b="b"/>
              <a:pathLst>
                <a:path w="14" h="12">
                  <a:moveTo>
                    <a:pt x="6" y="12"/>
                  </a:moveTo>
                  <a:lnTo>
                    <a:pt x="0" y="2"/>
                  </a:lnTo>
                  <a:lnTo>
                    <a:pt x="0" y="0"/>
                  </a:lnTo>
                  <a:lnTo>
                    <a:pt x="2" y="0"/>
                  </a:lnTo>
                  <a:lnTo>
                    <a:pt x="8" y="0"/>
                  </a:lnTo>
                  <a:lnTo>
                    <a:pt x="10" y="0"/>
                  </a:lnTo>
                  <a:lnTo>
                    <a:pt x="10" y="2"/>
                  </a:lnTo>
                  <a:lnTo>
                    <a:pt x="14" y="4"/>
                  </a:lnTo>
                  <a:lnTo>
                    <a:pt x="14" y="6"/>
                  </a:lnTo>
                  <a:lnTo>
                    <a:pt x="10" y="10"/>
                  </a:lnTo>
                  <a:lnTo>
                    <a:pt x="8" y="12"/>
                  </a:lnTo>
                  <a:lnTo>
                    <a:pt x="6"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1" name="Freeform 2754"/>
            <p:cNvSpPr>
              <a:spLocks/>
            </p:cNvSpPr>
            <p:nvPr/>
          </p:nvSpPr>
          <p:spPr bwMode="auto">
            <a:xfrm>
              <a:off x="2700" y="530"/>
              <a:ext cx="12" cy="14"/>
            </a:xfrm>
            <a:custGeom>
              <a:avLst/>
              <a:gdLst/>
              <a:ahLst/>
              <a:cxnLst>
                <a:cxn ang="0">
                  <a:pos x="0" y="14"/>
                </a:cxn>
                <a:cxn ang="0">
                  <a:pos x="0" y="12"/>
                </a:cxn>
                <a:cxn ang="0">
                  <a:pos x="0" y="8"/>
                </a:cxn>
                <a:cxn ang="0">
                  <a:pos x="6" y="2"/>
                </a:cxn>
                <a:cxn ang="0">
                  <a:pos x="6" y="0"/>
                </a:cxn>
                <a:cxn ang="0">
                  <a:pos x="12" y="8"/>
                </a:cxn>
                <a:cxn ang="0">
                  <a:pos x="10" y="10"/>
                </a:cxn>
                <a:cxn ang="0">
                  <a:pos x="8" y="10"/>
                </a:cxn>
                <a:cxn ang="0">
                  <a:pos x="6" y="10"/>
                </a:cxn>
                <a:cxn ang="0">
                  <a:pos x="4" y="10"/>
                </a:cxn>
                <a:cxn ang="0">
                  <a:pos x="0" y="14"/>
                </a:cxn>
              </a:cxnLst>
              <a:rect l="0" t="0" r="r" b="b"/>
              <a:pathLst>
                <a:path w="12" h="14">
                  <a:moveTo>
                    <a:pt x="0" y="14"/>
                  </a:moveTo>
                  <a:lnTo>
                    <a:pt x="0" y="12"/>
                  </a:lnTo>
                  <a:lnTo>
                    <a:pt x="0" y="8"/>
                  </a:lnTo>
                  <a:lnTo>
                    <a:pt x="6" y="2"/>
                  </a:lnTo>
                  <a:lnTo>
                    <a:pt x="6" y="0"/>
                  </a:lnTo>
                  <a:lnTo>
                    <a:pt x="12" y="8"/>
                  </a:lnTo>
                  <a:lnTo>
                    <a:pt x="10" y="10"/>
                  </a:lnTo>
                  <a:lnTo>
                    <a:pt x="8" y="10"/>
                  </a:lnTo>
                  <a:lnTo>
                    <a:pt x="6" y="10"/>
                  </a:lnTo>
                  <a:lnTo>
                    <a:pt x="4" y="10"/>
                  </a:lnTo>
                  <a:lnTo>
                    <a:pt x="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2" name="Freeform 2755"/>
            <p:cNvSpPr>
              <a:spLocks/>
            </p:cNvSpPr>
            <p:nvPr/>
          </p:nvSpPr>
          <p:spPr bwMode="auto">
            <a:xfrm>
              <a:off x="2676" y="560"/>
              <a:ext cx="12" cy="14"/>
            </a:xfrm>
            <a:custGeom>
              <a:avLst/>
              <a:gdLst/>
              <a:ahLst/>
              <a:cxnLst>
                <a:cxn ang="0">
                  <a:pos x="2" y="14"/>
                </a:cxn>
                <a:cxn ang="0">
                  <a:pos x="0" y="14"/>
                </a:cxn>
                <a:cxn ang="0">
                  <a:pos x="2" y="4"/>
                </a:cxn>
                <a:cxn ang="0">
                  <a:pos x="4" y="4"/>
                </a:cxn>
                <a:cxn ang="0">
                  <a:pos x="4" y="2"/>
                </a:cxn>
                <a:cxn ang="0">
                  <a:pos x="8" y="0"/>
                </a:cxn>
                <a:cxn ang="0">
                  <a:pos x="10" y="0"/>
                </a:cxn>
                <a:cxn ang="0">
                  <a:pos x="10" y="2"/>
                </a:cxn>
                <a:cxn ang="0">
                  <a:pos x="12" y="2"/>
                </a:cxn>
                <a:cxn ang="0">
                  <a:pos x="12" y="6"/>
                </a:cxn>
                <a:cxn ang="0">
                  <a:pos x="12" y="12"/>
                </a:cxn>
                <a:cxn ang="0">
                  <a:pos x="10" y="12"/>
                </a:cxn>
                <a:cxn ang="0">
                  <a:pos x="8" y="12"/>
                </a:cxn>
                <a:cxn ang="0">
                  <a:pos x="6" y="12"/>
                </a:cxn>
                <a:cxn ang="0">
                  <a:pos x="4" y="14"/>
                </a:cxn>
                <a:cxn ang="0">
                  <a:pos x="2" y="14"/>
                </a:cxn>
              </a:cxnLst>
              <a:rect l="0" t="0" r="r" b="b"/>
              <a:pathLst>
                <a:path w="12" h="14">
                  <a:moveTo>
                    <a:pt x="2" y="14"/>
                  </a:moveTo>
                  <a:lnTo>
                    <a:pt x="0" y="14"/>
                  </a:lnTo>
                  <a:lnTo>
                    <a:pt x="2" y="4"/>
                  </a:lnTo>
                  <a:lnTo>
                    <a:pt x="4" y="4"/>
                  </a:lnTo>
                  <a:lnTo>
                    <a:pt x="4" y="2"/>
                  </a:lnTo>
                  <a:lnTo>
                    <a:pt x="8" y="0"/>
                  </a:lnTo>
                  <a:lnTo>
                    <a:pt x="10" y="0"/>
                  </a:lnTo>
                  <a:lnTo>
                    <a:pt x="10" y="2"/>
                  </a:lnTo>
                  <a:lnTo>
                    <a:pt x="12" y="2"/>
                  </a:lnTo>
                  <a:lnTo>
                    <a:pt x="12" y="6"/>
                  </a:lnTo>
                  <a:lnTo>
                    <a:pt x="12" y="12"/>
                  </a:lnTo>
                  <a:lnTo>
                    <a:pt x="10" y="12"/>
                  </a:lnTo>
                  <a:lnTo>
                    <a:pt x="8" y="12"/>
                  </a:lnTo>
                  <a:lnTo>
                    <a:pt x="6" y="12"/>
                  </a:lnTo>
                  <a:lnTo>
                    <a:pt x="4" y="14"/>
                  </a:lnTo>
                  <a:lnTo>
                    <a:pt x="2"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3" name="Freeform 2756"/>
            <p:cNvSpPr>
              <a:spLocks/>
            </p:cNvSpPr>
            <p:nvPr/>
          </p:nvSpPr>
          <p:spPr bwMode="auto">
            <a:xfrm>
              <a:off x="2610" y="568"/>
              <a:ext cx="34" cy="28"/>
            </a:xfrm>
            <a:custGeom>
              <a:avLst/>
              <a:gdLst/>
              <a:ahLst/>
              <a:cxnLst>
                <a:cxn ang="0">
                  <a:pos x="0" y="28"/>
                </a:cxn>
                <a:cxn ang="0">
                  <a:pos x="0" y="22"/>
                </a:cxn>
                <a:cxn ang="0">
                  <a:pos x="4" y="14"/>
                </a:cxn>
                <a:cxn ang="0">
                  <a:pos x="4" y="12"/>
                </a:cxn>
                <a:cxn ang="0">
                  <a:pos x="6" y="12"/>
                </a:cxn>
                <a:cxn ang="0">
                  <a:pos x="6" y="14"/>
                </a:cxn>
                <a:cxn ang="0">
                  <a:pos x="8" y="14"/>
                </a:cxn>
                <a:cxn ang="0">
                  <a:pos x="10" y="14"/>
                </a:cxn>
                <a:cxn ang="0">
                  <a:pos x="10" y="10"/>
                </a:cxn>
                <a:cxn ang="0">
                  <a:pos x="8" y="10"/>
                </a:cxn>
                <a:cxn ang="0">
                  <a:pos x="10" y="6"/>
                </a:cxn>
                <a:cxn ang="0">
                  <a:pos x="12" y="6"/>
                </a:cxn>
                <a:cxn ang="0">
                  <a:pos x="14" y="4"/>
                </a:cxn>
                <a:cxn ang="0">
                  <a:pos x="16" y="2"/>
                </a:cxn>
                <a:cxn ang="0">
                  <a:pos x="20" y="2"/>
                </a:cxn>
                <a:cxn ang="0">
                  <a:pos x="22" y="4"/>
                </a:cxn>
                <a:cxn ang="0">
                  <a:pos x="22" y="6"/>
                </a:cxn>
                <a:cxn ang="0">
                  <a:pos x="20" y="6"/>
                </a:cxn>
                <a:cxn ang="0">
                  <a:pos x="20" y="8"/>
                </a:cxn>
                <a:cxn ang="0">
                  <a:pos x="20" y="10"/>
                </a:cxn>
                <a:cxn ang="0">
                  <a:pos x="20" y="8"/>
                </a:cxn>
                <a:cxn ang="0">
                  <a:pos x="24" y="6"/>
                </a:cxn>
                <a:cxn ang="0">
                  <a:pos x="24" y="2"/>
                </a:cxn>
                <a:cxn ang="0">
                  <a:pos x="26" y="2"/>
                </a:cxn>
                <a:cxn ang="0">
                  <a:pos x="34" y="0"/>
                </a:cxn>
                <a:cxn ang="0">
                  <a:pos x="34" y="2"/>
                </a:cxn>
                <a:cxn ang="0">
                  <a:pos x="32" y="4"/>
                </a:cxn>
                <a:cxn ang="0">
                  <a:pos x="30" y="10"/>
                </a:cxn>
                <a:cxn ang="0">
                  <a:pos x="22" y="16"/>
                </a:cxn>
                <a:cxn ang="0">
                  <a:pos x="22" y="18"/>
                </a:cxn>
                <a:cxn ang="0">
                  <a:pos x="20" y="18"/>
                </a:cxn>
                <a:cxn ang="0">
                  <a:pos x="12" y="24"/>
                </a:cxn>
                <a:cxn ang="0">
                  <a:pos x="8" y="26"/>
                </a:cxn>
                <a:cxn ang="0">
                  <a:pos x="2" y="28"/>
                </a:cxn>
                <a:cxn ang="0">
                  <a:pos x="0" y="28"/>
                </a:cxn>
              </a:cxnLst>
              <a:rect l="0" t="0" r="r" b="b"/>
              <a:pathLst>
                <a:path w="34" h="28">
                  <a:moveTo>
                    <a:pt x="0" y="28"/>
                  </a:moveTo>
                  <a:lnTo>
                    <a:pt x="0" y="22"/>
                  </a:lnTo>
                  <a:lnTo>
                    <a:pt x="4" y="14"/>
                  </a:lnTo>
                  <a:lnTo>
                    <a:pt x="4" y="12"/>
                  </a:lnTo>
                  <a:lnTo>
                    <a:pt x="6" y="12"/>
                  </a:lnTo>
                  <a:lnTo>
                    <a:pt x="6" y="14"/>
                  </a:lnTo>
                  <a:lnTo>
                    <a:pt x="8" y="14"/>
                  </a:lnTo>
                  <a:lnTo>
                    <a:pt x="10" y="14"/>
                  </a:lnTo>
                  <a:lnTo>
                    <a:pt x="10" y="10"/>
                  </a:lnTo>
                  <a:lnTo>
                    <a:pt x="8" y="10"/>
                  </a:lnTo>
                  <a:lnTo>
                    <a:pt x="10" y="6"/>
                  </a:lnTo>
                  <a:lnTo>
                    <a:pt x="12" y="6"/>
                  </a:lnTo>
                  <a:lnTo>
                    <a:pt x="14" y="4"/>
                  </a:lnTo>
                  <a:lnTo>
                    <a:pt x="16" y="2"/>
                  </a:lnTo>
                  <a:lnTo>
                    <a:pt x="20" y="2"/>
                  </a:lnTo>
                  <a:lnTo>
                    <a:pt x="22" y="4"/>
                  </a:lnTo>
                  <a:lnTo>
                    <a:pt x="22" y="6"/>
                  </a:lnTo>
                  <a:lnTo>
                    <a:pt x="20" y="6"/>
                  </a:lnTo>
                  <a:lnTo>
                    <a:pt x="20" y="8"/>
                  </a:lnTo>
                  <a:lnTo>
                    <a:pt x="20" y="10"/>
                  </a:lnTo>
                  <a:lnTo>
                    <a:pt x="20" y="8"/>
                  </a:lnTo>
                  <a:lnTo>
                    <a:pt x="24" y="6"/>
                  </a:lnTo>
                  <a:lnTo>
                    <a:pt x="24" y="2"/>
                  </a:lnTo>
                  <a:lnTo>
                    <a:pt x="26" y="2"/>
                  </a:lnTo>
                  <a:lnTo>
                    <a:pt x="34" y="0"/>
                  </a:lnTo>
                  <a:lnTo>
                    <a:pt x="34" y="2"/>
                  </a:lnTo>
                  <a:lnTo>
                    <a:pt x="32" y="4"/>
                  </a:lnTo>
                  <a:lnTo>
                    <a:pt x="30" y="10"/>
                  </a:lnTo>
                  <a:lnTo>
                    <a:pt x="22" y="16"/>
                  </a:lnTo>
                  <a:lnTo>
                    <a:pt x="22" y="18"/>
                  </a:lnTo>
                  <a:lnTo>
                    <a:pt x="20" y="18"/>
                  </a:lnTo>
                  <a:lnTo>
                    <a:pt x="12" y="24"/>
                  </a:lnTo>
                  <a:lnTo>
                    <a:pt x="8" y="26"/>
                  </a:lnTo>
                  <a:lnTo>
                    <a:pt x="2" y="28"/>
                  </a:lnTo>
                  <a:lnTo>
                    <a:pt x="0" y="2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64" name="Freeform 2757"/>
            <p:cNvSpPr>
              <a:spLocks/>
            </p:cNvSpPr>
            <p:nvPr/>
          </p:nvSpPr>
          <p:spPr bwMode="auto">
            <a:xfrm>
              <a:off x="2606" y="580"/>
              <a:ext cx="6" cy="8"/>
            </a:xfrm>
            <a:custGeom>
              <a:avLst/>
              <a:gdLst/>
              <a:ahLst/>
              <a:cxnLst>
                <a:cxn ang="0">
                  <a:pos x="4" y="8"/>
                </a:cxn>
                <a:cxn ang="0">
                  <a:pos x="0" y="2"/>
                </a:cxn>
                <a:cxn ang="0">
                  <a:pos x="0" y="0"/>
                </a:cxn>
                <a:cxn ang="0">
                  <a:pos x="2" y="0"/>
                </a:cxn>
                <a:cxn ang="0">
                  <a:pos x="4" y="2"/>
                </a:cxn>
                <a:cxn ang="0">
                  <a:pos x="6" y="2"/>
                </a:cxn>
                <a:cxn ang="0">
                  <a:pos x="6" y="4"/>
                </a:cxn>
                <a:cxn ang="0">
                  <a:pos x="6" y="6"/>
                </a:cxn>
                <a:cxn ang="0">
                  <a:pos x="4" y="8"/>
                </a:cxn>
              </a:cxnLst>
              <a:rect l="0" t="0" r="r" b="b"/>
              <a:pathLst>
                <a:path w="6" h="8">
                  <a:moveTo>
                    <a:pt x="4" y="8"/>
                  </a:moveTo>
                  <a:lnTo>
                    <a:pt x="0" y="2"/>
                  </a:lnTo>
                  <a:lnTo>
                    <a:pt x="0" y="0"/>
                  </a:lnTo>
                  <a:lnTo>
                    <a:pt x="2" y="0"/>
                  </a:lnTo>
                  <a:lnTo>
                    <a:pt x="4" y="2"/>
                  </a:lnTo>
                  <a:lnTo>
                    <a:pt x="6" y="2"/>
                  </a:lnTo>
                  <a:lnTo>
                    <a:pt x="6" y="4"/>
                  </a:lnTo>
                  <a:lnTo>
                    <a:pt x="6" y="6"/>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09" name="Freeform 2758"/>
            <p:cNvSpPr>
              <a:spLocks/>
            </p:cNvSpPr>
            <p:nvPr/>
          </p:nvSpPr>
          <p:spPr bwMode="auto">
            <a:xfrm>
              <a:off x="2584" y="584"/>
              <a:ext cx="24" cy="22"/>
            </a:xfrm>
            <a:custGeom>
              <a:avLst/>
              <a:gdLst/>
              <a:ahLst/>
              <a:cxnLst>
                <a:cxn ang="0">
                  <a:pos x="2" y="22"/>
                </a:cxn>
                <a:cxn ang="0">
                  <a:pos x="0" y="20"/>
                </a:cxn>
                <a:cxn ang="0">
                  <a:pos x="0" y="18"/>
                </a:cxn>
                <a:cxn ang="0">
                  <a:pos x="2" y="14"/>
                </a:cxn>
                <a:cxn ang="0">
                  <a:pos x="2" y="6"/>
                </a:cxn>
                <a:cxn ang="0">
                  <a:pos x="2" y="4"/>
                </a:cxn>
                <a:cxn ang="0">
                  <a:pos x="4" y="2"/>
                </a:cxn>
                <a:cxn ang="0">
                  <a:pos x="8" y="0"/>
                </a:cxn>
                <a:cxn ang="0">
                  <a:pos x="12" y="2"/>
                </a:cxn>
                <a:cxn ang="0">
                  <a:pos x="16" y="2"/>
                </a:cxn>
                <a:cxn ang="0">
                  <a:pos x="18" y="4"/>
                </a:cxn>
                <a:cxn ang="0">
                  <a:pos x="20" y="4"/>
                </a:cxn>
                <a:cxn ang="0">
                  <a:pos x="20" y="2"/>
                </a:cxn>
                <a:cxn ang="0">
                  <a:pos x="22" y="2"/>
                </a:cxn>
                <a:cxn ang="0">
                  <a:pos x="24" y="2"/>
                </a:cxn>
                <a:cxn ang="0">
                  <a:pos x="24" y="4"/>
                </a:cxn>
                <a:cxn ang="0">
                  <a:pos x="24" y="6"/>
                </a:cxn>
                <a:cxn ang="0">
                  <a:pos x="20" y="10"/>
                </a:cxn>
                <a:cxn ang="0">
                  <a:pos x="18" y="10"/>
                </a:cxn>
                <a:cxn ang="0">
                  <a:pos x="14" y="10"/>
                </a:cxn>
                <a:cxn ang="0">
                  <a:pos x="14" y="14"/>
                </a:cxn>
                <a:cxn ang="0">
                  <a:pos x="14" y="16"/>
                </a:cxn>
                <a:cxn ang="0">
                  <a:pos x="8" y="20"/>
                </a:cxn>
                <a:cxn ang="0">
                  <a:pos x="6" y="20"/>
                </a:cxn>
                <a:cxn ang="0">
                  <a:pos x="6" y="18"/>
                </a:cxn>
                <a:cxn ang="0">
                  <a:pos x="4" y="18"/>
                </a:cxn>
                <a:cxn ang="0">
                  <a:pos x="2" y="22"/>
                </a:cxn>
              </a:cxnLst>
              <a:rect l="0" t="0" r="r" b="b"/>
              <a:pathLst>
                <a:path w="24" h="22">
                  <a:moveTo>
                    <a:pt x="2" y="22"/>
                  </a:moveTo>
                  <a:lnTo>
                    <a:pt x="0" y="20"/>
                  </a:lnTo>
                  <a:lnTo>
                    <a:pt x="0" y="18"/>
                  </a:lnTo>
                  <a:lnTo>
                    <a:pt x="2" y="14"/>
                  </a:lnTo>
                  <a:lnTo>
                    <a:pt x="2" y="6"/>
                  </a:lnTo>
                  <a:lnTo>
                    <a:pt x="2" y="4"/>
                  </a:lnTo>
                  <a:lnTo>
                    <a:pt x="4" y="2"/>
                  </a:lnTo>
                  <a:lnTo>
                    <a:pt x="8" y="0"/>
                  </a:lnTo>
                  <a:lnTo>
                    <a:pt x="12" y="2"/>
                  </a:lnTo>
                  <a:lnTo>
                    <a:pt x="16" y="2"/>
                  </a:lnTo>
                  <a:lnTo>
                    <a:pt x="18" y="4"/>
                  </a:lnTo>
                  <a:lnTo>
                    <a:pt x="20" y="4"/>
                  </a:lnTo>
                  <a:lnTo>
                    <a:pt x="20" y="2"/>
                  </a:lnTo>
                  <a:lnTo>
                    <a:pt x="22" y="2"/>
                  </a:lnTo>
                  <a:lnTo>
                    <a:pt x="24" y="2"/>
                  </a:lnTo>
                  <a:lnTo>
                    <a:pt x="24" y="4"/>
                  </a:lnTo>
                  <a:lnTo>
                    <a:pt x="24" y="6"/>
                  </a:lnTo>
                  <a:lnTo>
                    <a:pt x="20" y="10"/>
                  </a:lnTo>
                  <a:lnTo>
                    <a:pt x="18" y="10"/>
                  </a:lnTo>
                  <a:lnTo>
                    <a:pt x="14" y="10"/>
                  </a:lnTo>
                  <a:lnTo>
                    <a:pt x="14" y="14"/>
                  </a:lnTo>
                  <a:lnTo>
                    <a:pt x="14" y="16"/>
                  </a:lnTo>
                  <a:lnTo>
                    <a:pt x="8" y="20"/>
                  </a:lnTo>
                  <a:lnTo>
                    <a:pt x="6" y="20"/>
                  </a:lnTo>
                  <a:lnTo>
                    <a:pt x="6" y="18"/>
                  </a:lnTo>
                  <a:lnTo>
                    <a:pt x="4" y="18"/>
                  </a:lnTo>
                  <a:lnTo>
                    <a:pt x="2" y="2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10" name="Freeform 2759"/>
            <p:cNvSpPr>
              <a:spLocks/>
            </p:cNvSpPr>
            <p:nvPr/>
          </p:nvSpPr>
          <p:spPr bwMode="auto">
            <a:xfrm>
              <a:off x="2574" y="594"/>
              <a:ext cx="10" cy="16"/>
            </a:xfrm>
            <a:custGeom>
              <a:avLst/>
              <a:gdLst/>
              <a:ahLst/>
              <a:cxnLst>
                <a:cxn ang="0">
                  <a:pos x="2" y="16"/>
                </a:cxn>
                <a:cxn ang="0">
                  <a:pos x="2" y="14"/>
                </a:cxn>
                <a:cxn ang="0">
                  <a:pos x="2" y="12"/>
                </a:cxn>
                <a:cxn ang="0">
                  <a:pos x="0" y="12"/>
                </a:cxn>
                <a:cxn ang="0">
                  <a:pos x="0" y="14"/>
                </a:cxn>
                <a:cxn ang="0">
                  <a:pos x="0" y="12"/>
                </a:cxn>
                <a:cxn ang="0">
                  <a:pos x="4" y="2"/>
                </a:cxn>
                <a:cxn ang="0">
                  <a:pos x="4" y="0"/>
                </a:cxn>
                <a:cxn ang="0">
                  <a:pos x="6" y="0"/>
                </a:cxn>
                <a:cxn ang="0">
                  <a:pos x="6" y="2"/>
                </a:cxn>
                <a:cxn ang="0">
                  <a:pos x="8" y="2"/>
                </a:cxn>
                <a:cxn ang="0">
                  <a:pos x="8" y="4"/>
                </a:cxn>
                <a:cxn ang="0">
                  <a:pos x="10" y="4"/>
                </a:cxn>
                <a:cxn ang="0">
                  <a:pos x="8" y="12"/>
                </a:cxn>
                <a:cxn ang="0">
                  <a:pos x="6" y="14"/>
                </a:cxn>
                <a:cxn ang="0">
                  <a:pos x="4" y="16"/>
                </a:cxn>
                <a:cxn ang="0">
                  <a:pos x="2" y="16"/>
                </a:cxn>
              </a:cxnLst>
              <a:rect l="0" t="0" r="r" b="b"/>
              <a:pathLst>
                <a:path w="10" h="16">
                  <a:moveTo>
                    <a:pt x="2" y="16"/>
                  </a:moveTo>
                  <a:lnTo>
                    <a:pt x="2" y="14"/>
                  </a:lnTo>
                  <a:lnTo>
                    <a:pt x="2" y="12"/>
                  </a:lnTo>
                  <a:lnTo>
                    <a:pt x="0" y="12"/>
                  </a:lnTo>
                  <a:lnTo>
                    <a:pt x="0" y="14"/>
                  </a:lnTo>
                  <a:lnTo>
                    <a:pt x="0" y="12"/>
                  </a:lnTo>
                  <a:lnTo>
                    <a:pt x="4" y="2"/>
                  </a:lnTo>
                  <a:lnTo>
                    <a:pt x="4" y="0"/>
                  </a:lnTo>
                  <a:lnTo>
                    <a:pt x="6" y="0"/>
                  </a:lnTo>
                  <a:lnTo>
                    <a:pt x="6" y="2"/>
                  </a:lnTo>
                  <a:lnTo>
                    <a:pt x="8" y="2"/>
                  </a:lnTo>
                  <a:lnTo>
                    <a:pt x="8" y="4"/>
                  </a:lnTo>
                  <a:lnTo>
                    <a:pt x="10" y="4"/>
                  </a:lnTo>
                  <a:lnTo>
                    <a:pt x="8" y="12"/>
                  </a:lnTo>
                  <a:lnTo>
                    <a:pt x="6" y="14"/>
                  </a:lnTo>
                  <a:lnTo>
                    <a:pt x="4" y="16"/>
                  </a:lnTo>
                  <a:lnTo>
                    <a:pt x="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11" name="Freeform 2760"/>
            <p:cNvSpPr>
              <a:spLocks/>
            </p:cNvSpPr>
            <p:nvPr/>
          </p:nvSpPr>
          <p:spPr bwMode="auto">
            <a:xfrm>
              <a:off x="2560" y="600"/>
              <a:ext cx="14" cy="26"/>
            </a:xfrm>
            <a:custGeom>
              <a:avLst/>
              <a:gdLst/>
              <a:ahLst/>
              <a:cxnLst>
                <a:cxn ang="0">
                  <a:pos x="0" y="26"/>
                </a:cxn>
                <a:cxn ang="0">
                  <a:pos x="4" y="14"/>
                </a:cxn>
                <a:cxn ang="0">
                  <a:pos x="6" y="8"/>
                </a:cxn>
                <a:cxn ang="0">
                  <a:pos x="10" y="0"/>
                </a:cxn>
                <a:cxn ang="0">
                  <a:pos x="12" y="0"/>
                </a:cxn>
                <a:cxn ang="0">
                  <a:pos x="14" y="2"/>
                </a:cxn>
                <a:cxn ang="0">
                  <a:pos x="12" y="14"/>
                </a:cxn>
                <a:cxn ang="0">
                  <a:pos x="8" y="20"/>
                </a:cxn>
                <a:cxn ang="0">
                  <a:pos x="2" y="26"/>
                </a:cxn>
                <a:cxn ang="0">
                  <a:pos x="0" y="26"/>
                </a:cxn>
              </a:cxnLst>
              <a:rect l="0" t="0" r="r" b="b"/>
              <a:pathLst>
                <a:path w="14" h="26">
                  <a:moveTo>
                    <a:pt x="0" y="26"/>
                  </a:moveTo>
                  <a:lnTo>
                    <a:pt x="4" y="14"/>
                  </a:lnTo>
                  <a:lnTo>
                    <a:pt x="6" y="8"/>
                  </a:lnTo>
                  <a:lnTo>
                    <a:pt x="10" y="0"/>
                  </a:lnTo>
                  <a:lnTo>
                    <a:pt x="12" y="0"/>
                  </a:lnTo>
                  <a:lnTo>
                    <a:pt x="14" y="2"/>
                  </a:lnTo>
                  <a:lnTo>
                    <a:pt x="12" y="14"/>
                  </a:lnTo>
                  <a:lnTo>
                    <a:pt x="8" y="20"/>
                  </a:lnTo>
                  <a:lnTo>
                    <a:pt x="2" y="26"/>
                  </a:lnTo>
                  <a:lnTo>
                    <a:pt x="0"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12" name="Freeform 2761"/>
            <p:cNvSpPr>
              <a:spLocks/>
            </p:cNvSpPr>
            <p:nvPr/>
          </p:nvSpPr>
          <p:spPr bwMode="auto">
            <a:xfrm>
              <a:off x="2536" y="772"/>
              <a:ext cx="12" cy="20"/>
            </a:xfrm>
            <a:custGeom>
              <a:avLst/>
              <a:gdLst/>
              <a:ahLst/>
              <a:cxnLst>
                <a:cxn ang="0">
                  <a:pos x="0" y="20"/>
                </a:cxn>
                <a:cxn ang="0">
                  <a:pos x="0" y="18"/>
                </a:cxn>
                <a:cxn ang="0">
                  <a:pos x="0" y="12"/>
                </a:cxn>
                <a:cxn ang="0">
                  <a:pos x="6" y="8"/>
                </a:cxn>
                <a:cxn ang="0">
                  <a:pos x="4" y="4"/>
                </a:cxn>
                <a:cxn ang="0">
                  <a:pos x="8" y="2"/>
                </a:cxn>
                <a:cxn ang="0">
                  <a:pos x="10" y="0"/>
                </a:cxn>
                <a:cxn ang="0">
                  <a:pos x="12" y="2"/>
                </a:cxn>
                <a:cxn ang="0">
                  <a:pos x="12" y="10"/>
                </a:cxn>
                <a:cxn ang="0">
                  <a:pos x="12" y="12"/>
                </a:cxn>
                <a:cxn ang="0">
                  <a:pos x="8" y="16"/>
                </a:cxn>
                <a:cxn ang="0">
                  <a:pos x="6" y="16"/>
                </a:cxn>
                <a:cxn ang="0">
                  <a:pos x="4" y="16"/>
                </a:cxn>
                <a:cxn ang="0">
                  <a:pos x="0" y="18"/>
                </a:cxn>
                <a:cxn ang="0">
                  <a:pos x="0" y="20"/>
                </a:cxn>
              </a:cxnLst>
              <a:rect l="0" t="0" r="r" b="b"/>
              <a:pathLst>
                <a:path w="12" h="20">
                  <a:moveTo>
                    <a:pt x="0" y="20"/>
                  </a:moveTo>
                  <a:lnTo>
                    <a:pt x="0" y="18"/>
                  </a:lnTo>
                  <a:lnTo>
                    <a:pt x="0" y="12"/>
                  </a:lnTo>
                  <a:lnTo>
                    <a:pt x="6" y="8"/>
                  </a:lnTo>
                  <a:lnTo>
                    <a:pt x="4" y="4"/>
                  </a:lnTo>
                  <a:lnTo>
                    <a:pt x="8" y="2"/>
                  </a:lnTo>
                  <a:lnTo>
                    <a:pt x="10" y="0"/>
                  </a:lnTo>
                  <a:lnTo>
                    <a:pt x="12" y="2"/>
                  </a:lnTo>
                  <a:lnTo>
                    <a:pt x="12" y="10"/>
                  </a:lnTo>
                  <a:lnTo>
                    <a:pt x="12" y="12"/>
                  </a:lnTo>
                  <a:lnTo>
                    <a:pt x="8" y="16"/>
                  </a:lnTo>
                  <a:lnTo>
                    <a:pt x="6" y="16"/>
                  </a:lnTo>
                  <a:lnTo>
                    <a:pt x="4" y="16"/>
                  </a:lnTo>
                  <a:lnTo>
                    <a:pt x="0" y="18"/>
                  </a:lnTo>
                  <a:lnTo>
                    <a:pt x="0"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69" name="Freeform 2762"/>
            <p:cNvSpPr>
              <a:spLocks/>
            </p:cNvSpPr>
            <p:nvPr/>
          </p:nvSpPr>
          <p:spPr bwMode="auto">
            <a:xfrm>
              <a:off x="2540" y="790"/>
              <a:ext cx="18" cy="14"/>
            </a:xfrm>
            <a:custGeom>
              <a:avLst/>
              <a:gdLst/>
              <a:ahLst/>
              <a:cxnLst>
                <a:cxn ang="0">
                  <a:pos x="0" y="14"/>
                </a:cxn>
                <a:cxn ang="0">
                  <a:pos x="2" y="12"/>
                </a:cxn>
                <a:cxn ang="0">
                  <a:pos x="0" y="12"/>
                </a:cxn>
                <a:cxn ang="0">
                  <a:pos x="0" y="10"/>
                </a:cxn>
                <a:cxn ang="0">
                  <a:pos x="0" y="4"/>
                </a:cxn>
                <a:cxn ang="0">
                  <a:pos x="2" y="4"/>
                </a:cxn>
                <a:cxn ang="0">
                  <a:pos x="4" y="2"/>
                </a:cxn>
                <a:cxn ang="0">
                  <a:pos x="6" y="2"/>
                </a:cxn>
                <a:cxn ang="0">
                  <a:pos x="8" y="0"/>
                </a:cxn>
                <a:cxn ang="0">
                  <a:pos x="16" y="0"/>
                </a:cxn>
                <a:cxn ang="0">
                  <a:pos x="18" y="0"/>
                </a:cxn>
                <a:cxn ang="0">
                  <a:pos x="18" y="2"/>
                </a:cxn>
                <a:cxn ang="0">
                  <a:pos x="16" y="2"/>
                </a:cxn>
                <a:cxn ang="0">
                  <a:pos x="16" y="4"/>
                </a:cxn>
                <a:cxn ang="0">
                  <a:pos x="14" y="4"/>
                </a:cxn>
                <a:cxn ang="0">
                  <a:pos x="10" y="6"/>
                </a:cxn>
                <a:cxn ang="0">
                  <a:pos x="8" y="6"/>
                </a:cxn>
                <a:cxn ang="0">
                  <a:pos x="6" y="10"/>
                </a:cxn>
                <a:cxn ang="0">
                  <a:pos x="4" y="10"/>
                </a:cxn>
                <a:cxn ang="0">
                  <a:pos x="4" y="12"/>
                </a:cxn>
                <a:cxn ang="0">
                  <a:pos x="2" y="14"/>
                </a:cxn>
                <a:cxn ang="0">
                  <a:pos x="0" y="14"/>
                </a:cxn>
              </a:cxnLst>
              <a:rect l="0" t="0" r="r" b="b"/>
              <a:pathLst>
                <a:path w="18" h="14">
                  <a:moveTo>
                    <a:pt x="0" y="14"/>
                  </a:moveTo>
                  <a:lnTo>
                    <a:pt x="2" y="12"/>
                  </a:lnTo>
                  <a:lnTo>
                    <a:pt x="0" y="12"/>
                  </a:lnTo>
                  <a:lnTo>
                    <a:pt x="0" y="10"/>
                  </a:lnTo>
                  <a:lnTo>
                    <a:pt x="0" y="4"/>
                  </a:lnTo>
                  <a:lnTo>
                    <a:pt x="2" y="4"/>
                  </a:lnTo>
                  <a:lnTo>
                    <a:pt x="4" y="2"/>
                  </a:lnTo>
                  <a:lnTo>
                    <a:pt x="6" y="2"/>
                  </a:lnTo>
                  <a:lnTo>
                    <a:pt x="8" y="0"/>
                  </a:lnTo>
                  <a:lnTo>
                    <a:pt x="16" y="0"/>
                  </a:lnTo>
                  <a:lnTo>
                    <a:pt x="18" y="0"/>
                  </a:lnTo>
                  <a:lnTo>
                    <a:pt x="18" y="2"/>
                  </a:lnTo>
                  <a:lnTo>
                    <a:pt x="16" y="2"/>
                  </a:lnTo>
                  <a:lnTo>
                    <a:pt x="16" y="4"/>
                  </a:lnTo>
                  <a:lnTo>
                    <a:pt x="14" y="4"/>
                  </a:lnTo>
                  <a:lnTo>
                    <a:pt x="10" y="6"/>
                  </a:lnTo>
                  <a:lnTo>
                    <a:pt x="8" y="6"/>
                  </a:lnTo>
                  <a:lnTo>
                    <a:pt x="6" y="10"/>
                  </a:lnTo>
                  <a:lnTo>
                    <a:pt x="4" y="10"/>
                  </a:lnTo>
                  <a:lnTo>
                    <a:pt x="4" y="12"/>
                  </a:lnTo>
                  <a:lnTo>
                    <a:pt x="2" y="14"/>
                  </a:lnTo>
                  <a:lnTo>
                    <a:pt x="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0" name="Freeform 2763"/>
            <p:cNvSpPr>
              <a:spLocks/>
            </p:cNvSpPr>
            <p:nvPr/>
          </p:nvSpPr>
          <p:spPr bwMode="auto">
            <a:xfrm>
              <a:off x="2512" y="818"/>
              <a:ext cx="10" cy="10"/>
            </a:xfrm>
            <a:custGeom>
              <a:avLst/>
              <a:gdLst/>
              <a:ahLst/>
              <a:cxnLst>
                <a:cxn ang="0">
                  <a:pos x="6" y="10"/>
                </a:cxn>
                <a:cxn ang="0">
                  <a:pos x="4" y="8"/>
                </a:cxn>
                <a:cxn ang="0">
                  <a:pos x="2" y="8"/>
                </a:cxn>
                <a:cxn ang="0">
                  <a:pos x="2" y="10"/>
                </a:cxn>
                <a:cxn ang="0">
                  <a:pos x="0" y="8"/>
                </a:cxn>
                <a:cxn ang="0">
                  <a:pos x="2" y="6"/>
                </a:cxn>
                <a:cxn ang="0">
                  <a:pos x="2" y="4"/>
                </a:cxn>
                <a:cxn ang="0">
                  <a:pos x="2" y="2"/>
                </a:cxn>
                <a:cxn ang="0">
                  <a:pos x="4" y="2"/>
                </a:cxn>
                <a:cxn ang="0">
                  <a:pos x="6" y="0"/>
                </a:cxn>
                <a:cxn ang="0">
                  <a:pos x="8" y="0"/>
                </a:cxn>
                <a:cxn ang="0">
                  <a:pos x="10" y="2"/>
                </a:cxn>
                <a:cxn ang="0">
                  <a:pos x="8" y="8"/>
                </a:cxn>
                <a:cxn ang="0">
                  <a:pos x="6" y="10"/>
                </a:cxn>
              </a:cxnLst>
              <a:rect l="0" t="0" r="r" b="b"/>
              <a:pathLst>
                <a:path w="10" h="10">
                  <a:moveTo>
                    <a:pt x="6" y="10"/>
                  </a:moveTo>
                  <a:lnTo>
                    <a:pt x="4" y="8"/>
                  </a:lnTo>
                  <a:lnTo>
                    <a:pt x="2" y="8"/>
                  </a:lnTo>
                  <a:lnTo>
                    <a:pt x="2" y="10"/>
                  </a:lnTo>
                  <a:lnTo>
                    <a:pt x="0" y="8"/>
                  </a:lnTo>
                  <a:lnTo>
                    <a:pt x="2" y="6"/>
                  </a:lnTo>
                  <a:lnTo>
                    <a:pt x="2" y="4"/>
                  </a:lnTo>
                  <a:lnTo>
                    <a:pt x="2" y="2"/>
                  </a:lnTo>
                  <a:lnTo>
                    <a:pt x="4" y="2"/>
                  </a:lnTo>
                  <a:lnTo>
                    <a:pt x="6" y="0"/>
                  </a:lnTo>
                  <a:lnTo>
                    <a:pt x="8" y="0"/>
                  </a:lnTo>
                  <a:lnTo>
                    <a:pt x="10" y="2"/>
                  </a:lnTo>
                  <a:lnTo>
                    <a:pt x="8" y="8"/>
                  </a:lnTo>
                  <a:lnTo>
                    <a:pt x="6"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1" name="Freeform 2764"/>
            <p:cNvSpPr>
              <a:spLocks/>
            </p:cNvSpPr>
            <p:nvPr/>
          </p:nvSpPr>
          <p:spPr bwMode="auto">
            <a:xfrm>
              <a:off x="2524" y="830"/>
              <a:ext cx="16" cy="34"/>
            </a:xfrm>
            <a:custGeom>
              <a:avLst/>
              <a:gdLst/>
              <a:ahLst/>
              <a:cxnLst>
                <a:cxn ang="0">
                  <a:pos x="0" y="34"/>
                </a:cxn>
                <a:cxn ang="0">
                  <a:pos x="0" y="32"/>
                </a:cxn>
                <a:cxn ang="0">
                  <a:pos x="0" y="30"/>
                </a:cxn>
                <a:cxn ang="0">
                  <a:pos x="0" y="28"/>
                </a:cxn>
                <a:cxn ang="0">
                  <a:pos x="2" y="26"/>
                </a:cxn>
                <a:cxn ang="0">
                  <a:pos x="4" y="16"/>
                </a:cxn>
                <a:cxn ang="0">
                  <a:pos x="6" y="10"/>
                </a:cxn>
                <a:cxn ang="0">
                  <a:pos x="6" y="4"/>
                </a:cxn>
                <a:cxn ang="0">
                  <a:pos x="8" y="2"/>
                </a:cxn>
                <a:cxn ang="0">
                  <a:pos x="8" y="0"/>
                </a:cxn>
                <a:cxn ang="0">
                  <a:pos x="12" y="6"/>
                </a:cxn>
                <a:cxn ang="0">
                  <a:pos x="14" y="10"/>
                </a:cxn>
                <a:cxn ang="0">
                  <a:pos x="16" y="18"/>
                </a:cxn>
                <a:cxn ang="0">
                  <a:pos x="12" y="22"/>
                </a:cxn>
                <a:cxn ang="0">
                  <a:pos x="6" y="28"/>
                </a:cxn>
                <a:cxn ang="0">
                  <a:pos x="4" y="32"/>
                </a:cxn>
                <a:cxn ang="0">
                  <a:pos x="2" y="32"/>
                </a:cxn>
                <a:cxn ang="0">
                  <a:pos x="0" y="34"/>
                </a:cxn>
              </a:cxnLst>
              <a:rect l="0" t="0" r="r" b="b"/>
              <a:pathLst>
                <a:path w="16" h="34">
                  <a:moveTo>
                    <a:pt x="0" y="34"/>
                  </a:moveTo>
                  <a:lnTo>
                    <a:pt x="0" y="32"/>
                  </a:lnTo>
                  <a:lnTo>
                    <a:pt x="0" y="30"/>
                  </a:lnTo>
                  <a:lnTo>
                    <a:pt x="0" y="28"/>
                  </a:lnTo>
                  <a:lnTo>
                    <a:pt x="2" y="26"/>
                  </a:lnTo>
                  <a:lnTo>
                    <a:pt x="4" y="16"/>
                  </a:lnTo>
                  <a:lnTo>
                    <a:pt x="6" y="10"/>
                  </a:lnTo>
                  <a:lnTo>
                    <a:pt x="6" y="4"/>
                  </a:lnTo>
                  <a:lnTo>
                    <a:pt x="8" y="2"/>
                  </a:lnTo>
                  <a:lnTo>
                    <a:pt x="8" y="0"/>
                  </a:lnTo>
                  <a:lnTo>
                    <a:pt x="12" y="6"/>
                  </a:lnTo>
                  <a:lnTo>
                    <a:pt x="14" y="10"/>
                  </a:lnTo>
                  <a:lnTo>
                    <a:pt x="16" y="18"/>
                  </a:lnTo>
                  <a:lnTo>
                    <a:pt x="12" y="22"/>
                  </a:lnTo>
                  <a:lnTo>
                    <a:pt x="6" y="28"/>
                  </a:lnTo>
                  <a:lnTo>
                    <a:pt x="4" y="32"/>
                  </a:lnTo>
                  <a:lnTo>
                    <a:pt x="2" y="32"/>
                  </a:lnTo>
                  <a:lnTo>
                    <a:pt x="0" y="3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2" name="Freeform 2765"/>
            <p:cNvSpPr>
              <a:spLocks/>
            </p:cNvSpPr>
            <p:nvPr/>
          </p:nvSpPr>
          <p:spPr bwMode="auto">
            <a:xfrm>
              <a:off x="2520" y="864"/>
              <a:ext cx="12" cy="14"/>
            </a:xfrm>
            <a:custGeom>
              <a:avLst/>
              <a:gdLst/>
              <a:ahLst/>
              <a:cxnLst>
                <a:cxn ang="0">
                  <a:pos x="4" y="14"/>
                </a:cxn>
                <a:cxn ang="0">
                  <a:pos x="0" y="12"/>
                </a:cxn>
                <a:cxn ang="0">
                  <a:pos x="4" y="2"/>
                </a:cxn>
                <a:cxn ang="0">
                  <a:pos x="6" y="0"/>
                </a:cxn>
                <a:cxn ang="0">
                  <a:pos x="8" y="0"/>
                </a:cxn>
                <a:cxn ang="0">
                  <a:pos x="8" y="2"/>
                </a:cxn>
                <a:cxn ang="0">
                  <a:pos x="10" y="4"/>
                </a:cxn>
                <a:cxn ang="0">
                  <a:pos x="12" y="10"/>
                </a:cxn>
                <a:cxn ang="0">
                  <a:pos x="12" y="12"/>
                </a:cxn>
                <a:cxn ang="0">
                  <a:pos x="10" y="12"/>
                </a:cxn>
                <a:cxn ang="0">
                  <a:pos x="8" y="14"/>
                </a:cxn>
                <a:cxn ang="0">
                  <a:pos x="6" y="14"/>
                </a:cxn>
                <a:cxn ang="0">
                  <a:pos x="4" y="14"/>
                </a:cxn>
              </a:cxnLst>
              <a:rect l="0" t="0" r="r" b="b"/>
              <a:pathLst>
                <a:path w="12" h="14">
                  <a:moveTo>
                    <a:pt x="4" y="14"/>
                  </a:moveTo>
                  <a:lnTo>
                    <a:pt x="0" y="12"/>
                  </a:lnTo>
                  <a:lnTo>
                    <a:pt x="4" y="2"/>
                  </a:lnTo>
                  <a:lnTo>
                    <a:pt x="6" y="0"/>
                  </a:lnTo>
                  <a:lnTo>
                    <a:pt x="8" y="0"/>
                  </a:lnTo>
                  <a:lnTo>
                    <a:pt x="8" y="2"/>
                  </a:lnTo>
                  <a:lnTo>
                    <a:pt x="10" y="4"/>
                  </a:lnTo>
                  <a:lnTo>
                    <a:pt x="12" y="10"/>
                  </a:lnTo>
                  <a:lnTo>
                    <a:pt x="12" y="12"/>
                  </a:lnTo>
                  <a:lnTo>
                    <a:pt x="10" y="12"/>
                  </a:lnTo>
                  <a:lnTo>
                    <a:pt x="8" y="14"/>
                  </a:lnTo>
                  <a:lnTo>
                    <a:pt x="6" y="14"/>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3" name="Freeform 2766"/>
            <p:cNvSpPr>
              <a:spLocks/>
            </p:cNvSpPr>
            <p:nvPr/>
          </p:nvSpPr>
          <p:spPr bwMode="auto">
            <a:xfrm>
              <a:off x="2468" y="882"/>
              <a:ext cx="16" cy="12"/>
            </a:xfrm>
            <a:custGeom>
              <a:avLst/>
              <a:gdLst/>
              <a:ahLst/>
              <a:cxnLst>
                <a:cxn ang="0">
                  <a:pos x="0" y="12"/>
                </a:cxn>
                <a:cxn ang="0">
                  <a:pos x="2" y="8"/>
                </a:cxn>
                <a:cxn ang="0">
                  <a:pos x="2" y="6"/>
                </a:cxn>
                <a:cxn ang="0">
                  <a:pos x="4" y="6"/>
                </a:cxn>
                <a:cxn ang="0">
                  <a:pos x="6" y="6"/>
                </a:cxn>
                <a:cxn ang="0">
                  <a:pos x="10" y="4"/>
                </a:cxn>
                <a:cxn ang="0">
                  <a:pos x="12" y="4"/>
                </a:cxn>
                <a:cxn ang="0">
                  <a:pos x="12" y="2"/>
                </a:cxn>
                <a:cxn ang="0">
                  <a:pos x="12" y="0"/>
                </a:cxn>
                <a:cxn ang="0">
                  <a:pos x="14" y="0"/>
                </a:cxn>
                <a:cxn ang="0">
                  <a:pos x="16" y="0"/>
                </a:cxn>
                <a:cxn ang="0">
                  <a:pos x="16" y="2"/>
                </a:cxn>
                <a:cxn ang="0">
                  <a:pos x="4" y="12"/>
                </a:cxn>
                <a:cxn ang="0">
                  <a:pos x="2" y="12"/>
                </a:cxn>
                <a:cxn ang="0">
                  <a:pos x="0" y="12"/>
                </a:cxn>
              </a:cxnLst>
              <a:rect l="0" t="0" r="r" b="b"/>
              <a:pathLst>
                <a:path w="16" h="12">
                  <a:moveTo>
                    <a:pt x="0" y="12"/>
                  </a:moveTo>
                  <a:lnTo>
                    <a:pt x="2" y="8"/>
                  </a:lnTo>
                  <a:lnTo>
                    <a:pt x="2" y="6"/>
                  </a:lnTo>
                  <a:lnTo>
                    <a:pt x="4" y="6"/>
                  </a:lnTo>
                  <a:lnTo>
                    <a:pt x="6" y="6"/>
                  </a:lnTo>
                  <a:lnTo>
                    <a:pt x="10" y="4"/>
                  </a:lnTo>
                  <a:lnTo>
                    <a:pt x="12" y="4"/>
                  </a:lnTo>
                  <a:lnTo>
                    <a:pt x="12" y="2"/>
                  </a:lnTo>
                  <a:lnTo>
                    <a:pt x="12" y="0"/>
                  </a:lnTo>
                  <a:lnTo>
                    <a:pt x="14" y="0"/>
                  </a:lnTo>
                  <a:lnTo>
                    <a:pt x="16" y="0"/>
                  </a:lnTo>
                  <a:lnTo>
                    <a:pt x="16" y="2"/>
                  </a:lnTo>
                  <a:lnTo>
                    <a:pt x="4" y="12"/>
                  </a:lnTo>
                  <a:lnTo>
                    <a:pt x="2" y="12"/>
                  </a:lnTo>
                  <a:lnTo>
                    <a:pt x="0"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4" name="Freeform 2767"/>
            <p:cNvSpPr>
              <a:spLocks/>
            </p:cNvSpPr>
            <p:nvPr/>
          </p:nvSpPr>
          <p:spPr bwMode="auto">
            <a:xfrm>
              <a:off x="2472" y="886"/>
              <a:ext cx="18" cy="12"/>
            </a:xfrm>
            <a:custGeom>
              <a:avLst/>
              <a:gdLst/>
              <a:ahLst/>
              <a:cxnLst>
                <a:cxn ang="0">
                  <a:pos x="12" y="12"/>
                </a:cxn>
                <a:cxn ang="0">
                  <a:pos x="10" y="8"/>
                </a:cxn>
                <a:cxn ang="0">
                  <a:pos x="6" y="8"/>
                </a:cxn>
                <a:cxn ang="0">
                  <a:pos x="4" y="8"/>
                </a:cxn>
                <a:cxn ang="0">
                  <a:pos x="2" y="8"/>
                </a:cxn>
                <a:cxn ang="0">
                  <a:pos x="0" y="8"/>
                </a:cxn>
                <a:cxn ang="0">
                  <a:pos x="4" y="6"/>
                </a:cxn>
                <a:cxn ang="0">
                  <a:pos x="12" y="0"/>
                </a:cxn>
                <a:cxn ang="0">
                  <a:pos x="18" y="6"/>
                </a:cxn>
                <a:cxn ang="0">
                  <a:pos x="16" y="8"/>
                </a:cxn>
                <a:cxn ang="0">
                  <a:pos x="14" y="10"/>
                </a:cxn>
                <a:cxn ang="0">
                  <a:pos x="12" y="10"/>
                </a:cxn>
                <a:cxn ang="0">
                  <a:pos x="12" y="12"/>
                </a:cxn>
              </a:cxnLst>
              <a:rect l="0" t="0" r="r" b="b"/>
              <a:pathLst>
                <a:path w="18" h="12">
                  <a:moveTo>
                    <a:pt x="12" y="12"/>
                  </a:moveTo>
                  <a:lnTo>
                    <a:pt x="10" y="8"/>
                  </a:lnTo>
                  <a:lnTo>
                    <a:pt x="6" y="8"/>
                  </a:lnTo>
                  <a:lnTo>
                    <a:pt x="4" y="8"/>
                  </a:lnTo>
                  <a:lnTo>
                    <a:pt x="2" y="8"/>
                  </a:lnTo>
                  <a:lnTo>
                    <a:pt x="0" y="8"/>
                  </a:lnTo>
                  <a:lnTo>
                    <a:pt x="4" y="6"/>
                  </a:lnTo>
                  <a:lnTo>
                    <a:pt x="12" y="0"/>
                  </a:lnTo>
                  <a:lnTo>
                    <a:pt x="18" y="6"/>
                  </a:lnTo>
                  <a:lnTo>
                    <a:pt x="16" y="8"/>
                  </a:lnTo>
                  <a:lnTo>
                    <a:pt x="14" y="10"/>
                  </a:lnTo>
                  <a:lnTo>
                    <a:pt x="12" y="10"/>
                  </a:lnTo>
                  <a:lnTo>
                    <a:pt x="12"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475" name="Freeform 2768"/>
            <p:cNvSpPr>
              <a:spLocks/>
            </p:cNvSpPr>
            <p:nvPr/>
          </p:nvSpPr>
          <p:spPr bwMode="auto">
            <a:xfrm>
              <a:off x="2478" y="914"/>
              <a:ext cx="18" cy="16"/>
            </a:xfrm>
            <a:custGeom>
              <a:avLst/>
              <a:gdLst/>
              <a:ahLst/>
              <a:cxnLst>
                <a:cxn ang="0">
                  <a:pos x="16" y="16"/>
                </a:cxn>
                <a:cxn ang="0">
                  <a:pos x="10" y="14"/>
                </a:cxn>
                <a:cxn ang="0">
                  <a:pos x="10" y="12"/>
                </a:cxn>
                <a:cxn ang="0">
                  <a:pos x="8" y="12"/>
                </a:cxn>
                <a:cxn ang="0">
                  <a:pos x="8" y="14"/>
                </a:cxn>
                <a:cxn ang="0">
                  <a:pos x="6" y="14"/>
                </a:cxn>
                <a:cxn ang="0">
                  <a:pos x="0" y="4"/>
                </a:cxn>
                <a:cxn ang="0">
                  <a:pos x="0" y="2"/>
                </a:cxn>
                <a:cxn ang="0">
                  <a:pos x="2" y="0"/>
                </a:cxn>
                <a:cxn ang="0">
                  <a:pos x="4" y="0"/>
                </a:cxn>
                <a:cxn ang="0">
                  <a:pos x="10" y="4"/>
                </a:cxn>
                <a:cxn ang="0">
                  <a:pos x="18" y="12"/>
                </a:cxn>
                <a:cxn ang="0">
                  <a:pos x="16" y="16"/>
                </a:cxn>
              </a:cxnLst>
              <a:rect l="0" t="0" r="r" b="b"/>
              <a:pathLst>
                <a:path w="18" h="16">
                  <a:moveTo>
                    <a:pt x="16" y="16"/>
                  </a:moveTo>
                  <a:lnTo>
                    <a:pt x="10" y="14"/>
                  </a:lnTo>
                  <a:lnTo>
                    <a:pt x="10" y="12"/>
                  </a:lnTo>
                  <a:lnTo>
                    <a:pt x="8" y="12"/>
                  </a:lnTo>
                  <a:lnTo>
                    <a:pt x="8" y="14"/>
                  </a:lnTo>
                  <a:lnTo>
                    <a:pt x="6" y="14"/>
                  </a:lnTo>
                  <a:lnTo>
                    <a:pt x="0" y="4"/>
                  </a:lnTo>
                  <a:lnTo>
                    <a:pt x="0" y="2"/>
                  </a:lnTo>
                  <a:lnTo>
                    <a:pt x="2" y="0"/>
                  </a:lnTo>
                  <a:lnTo>
                    <a:pt x="4" y="0"/>
                  </a:lnTo>
                  <a:lnTo>
                    <a:pt x="10" y="4"/>
                  </a:lnTo>
                  <a:lnTo>
                    <a:pt x="18" y="12"/>
                  </a:lnTo>
                  <a:lnTo>
                    <a:pt x="1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0" name="Freeform 2769"/>
            <p:cNvSpPr>
              <a:spLocks/>
            </p:cNvSpPr>
            <p:nvPr/>
          </p:nvSpPr>
          <p:spPr bwMode="auto">
            <a:xfrm>
              <a:off x="2360" y="984"/>
              <a:ext cx="24" cy="12"/>
            </a:xfrm>
            <a:custGeom>
              <a:avLst/>
              <a:gdLst/>
              <a:ahLst/>
              <a:cxnLst>
                <a:cxn ang="0">
                  <a:pos x="2" y="12"/>
                </a:cxn>
                <a:cxn ang="0">
                  <a:pos x="0" y="10"/>
                </a:cxn>
                <a:cxn ang="0">
                  <a:pos x="0" y="8"/>
                </a:cxn>
                <a:cxn ang="0">
                  <a:pos x="2" y="8"/>
                </a:cxn>
                <a:cxn ang="0">
                  <a:pos x="4" y="8"/>
                </a:cxn>
                <a:cxn ang="0">
                  <a:pos x="6" y="8"/>
                </a:cxn>
                <a:cxn ang="0">
                  <a:pos x="8" y="8"/>
                </a:cxn>
                <a:cxn ang="0">
                  <a:pos x="12" y="8"/>
                </a:cxn>
                <a:cxn ang="0">
                  <a:pos x="12" y="6"/>
                </a:cxn>
                <a:cxn ang="0">
                  <a:pos x="16" y="4"/>
                </a:cxn>
                <a:cxn ang="0">
                  <a:pos x="18" y="4"/>
                </a:cxn>
                <a:cxn ang="0">
                  <a:pos x="20" y="0"/>
                </a:cxn>
                <a:cxn ang="0">
                  <a:pos x="22" y="0"/>
                </a:cxn>
                <a:cxn ang="0">
                  <a:pos x="24" y="0"/>
                </a:cxn>
                <a:cxn ang="0">
                  <a:pos x="24" y="8"/>
                </a:cxn>
                <a:cxn ang="0">
                  <a:pos x="22" y="8"/>
                </a:cxn>
                <a:cxn ang="0">
                  <a:pos x="22" y="10"/>
                </a:cxn>
                <a:cxn ang="0">
                  <a:pos x="20" y="10"/>
                </a:cxn>
                <a:cxn ang="0">
                  <a:pos x="16" y="12"/>
                </a:cxn>
                <a:cxn ang="0">
                  <a:pos x="8" y="12"/>
                </a:cxn>
                <a:cxn ang="0">
                  <a:pos x="8" y="10"/>
                </a:cxn>
                <a:cxn ang="0">
                  <a:pos x="4" y="10"/>
                </a:cxn>
                <a:cxn ang="0">
                  <a:pos x="4" y="12"/>
                </a:cxn>
                <a:cxn ang="0">
                  <a:pos x="2" y="12"/>
                </a:cxn>
              </a:cxnLst>
              <a:rect l="0" t="0" r="r" b="b"/>
              <a:pathLst>
                <a:path w="24" h="12">
                  <a:moveTo>
                    <a:pt x="2" y="12"/>
                  </a:moveTo>
                  <a:lnTo>
                    <a:pt x="0" y="10"/>
                  </a:lnTo>
                  <a:lnTo>
                    <a:pt x="0" y="8"/>
                  </a:lnTo>
                  <a:lnTo>
                    <a:pt x="2" y="8"/>
                  </a:lnTo>
                  <a:lnTo>
                    <a:pt x="4" y="8"/>
                  </a:lnTo>
                  <a:lnTo>
                    <a:pt x="6" y="8"/>
                  </a:lnTo>
                  <a:lnTo>
                    <a:pt x="8" y="8"/>
                  </a:lnTo>
                  <a:lnTo>
                    <a:pt x="12" y="8"/>
                  </a:lnTo>
                  <a:lnTo>
                    <a:pt x="12" y="6"/>
                  </a:lnTo>
                  <a:lnTo>
                    <a:pt x="16" y="4"/>
                  </a:lnTo>
                  <a:lnTo>
                    <a:pt x="18" y="4"/>
                  </a:lnTo>
                  <a:lnTo>
                    <a:pt x="20" y="0"/>
                  </a:lnTo>
                  <a:lnTo>
                    <a:pt x="22" y="0"/>
                  </a:lnTo>
                  <a:lnTo>
                    <a:pt x="24" y="0"/>
                  </a:lnTo>
                  <a:lnTo>
                    <a:pt x="24" y="8"/>
                  </a:lnTo>
                  <a:lnTo>
                    <a:pt x="22" y="8"/>
                  </a:lnTo>
                  <a:lnTo>
                    <a:pt x="22" y="10"/>
                  </a:lnTo>
                  <a:lnTo>
                    <a:pt x="20" y="10"/>
                  </a:lnTo>
                  <a:lnTo>
                    <a:pt x="16" y="12"/>
                  </a:lnTo>
                  <a:lnTo>
                    <a:pt x="8" y="12"/>
                  </a:lnTo>
                  <a:lnTo>
                    <a:pt x="8" y="10"/>
                  </a:lnTo>
                  <a:lnTo>
                    <a:pt x="4" y="10"/>
                  </a:lnTo>
                  <a:lnTo>
                    <a:pt x="4" y="12"/>
                  </a:lnTo>
                  <a:lnTo>
                    <a:pt x="2"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1" name="Freeform 2770"/>
            <p:cNvSpPr>
              <a:spLocks/>
            </p:cNvSpPr>
            <p:nvPr/>
          </p:nvSpPr>
          <p:spPr bwMode="auto">
            <a:xfrm>
              <a:off x="2358" y="998"/>
              <a:ext cx="38" cy="20"/>
            </a:xfrm>
            <a:custGeom>
              <a:avLst/>
              <a:gdLst/>
              <a:ahLst/>
              <a:cxnLst>
                <a:cxn ang="0">
                  <a:pos x="8" y="20"/>
                </a:cxn>
                <a:cxn ang="0">
                  <a:pos x="6" y="20"/>
                </a:cxn>
                <a:cxn ang="0">
                  <a:pos x="0" y="18"/>
                </a:cxn>
                <a:cxn ang="0">
                  <a:pos x="0" y="16"/>
                </a:cxn>
                <a:cxn ang="0">
                  <a:pos x="0" y="14"/>
                </a:cxn>
                <a:cxn ang="0">
                  <a:pos x="2" y="12"/>
                </a:cxn>
                <a:cxn ang="0">
                  <a:pos x="4" y="10"/>
                </a:cxn>
                <a:cxn ang="0">
                  <a:pos x="8" y="8"/>
                </a:cxn>
                <a:cxn ang="0">
                  <a:pos x="10" y="8"/>
                </a:cxn>
                <a:cxn ang="0">
                  <a:pos x="14" y="8"/>
                </a:cxn>
                <a:cxn ang="0">
                  <a:pos x="16" y="4"/>
                </a:cxn>
                <a:cxn ang="0">
                  <a:pos x="24" y="2"/>
                </a:cxn>
                <a:cxn ang="0">
                  <a:pos x="30" y="0"/>
                </a:cxn>
                <a:cxn ang="0">
                  <a:pos x="38" y="10"/>
                </a:cxn>
                <a:cxn ang="0">
                  <a:pos x="34" y="12"/>
                </a:cxn>
                <a:cxn ang="0">
                  <a:pos x="32" y="14"/>
                </a:cxn>
                <a:cxn ang="0">
                  <a:pos x="28" y="16"/>
                </a:cxn>
                <a:cxn ang="0">
                  <a:pos x="26" y="16"/>
                </a:cxn>
                <a:cxn ang="0">
                  <a:pos x="22" y="16"/>
                </a:cxn>
                <a:cxn ang="0">
                  <a:pos x="18" y="16"/>
                </a:cxn>
                <a:cxn ang="0">
                  <a:pos x="16" y="16"/>
                </a:cxn>
                <a:cxn ang="0">
                  <a:pos x="14" y="16"/>
                </a:cxn>
                <a:cxn ang="0">
                  <a:pos x="12" y="18"/>
                </a:cxn>
                <a:cxn ang="0">
                  <a:pos x="10" y="18"/>
                </a:cxn>
                <a:cxn ang="0">
                  <a:pos x="10" y="20"/>
                </a:cxn>
                <a:cxn ang="0">
                  <a:pos x="8" y="20"/>
                </a:cxn>
              </a:cxnLst>
              <a:rect l="0" t="0" r="r" b="b"/>
              <a:pathLst>
                <a:path w="38" h="20">
                  <a:moveTo>
                    <a:pt x="8" y="20"/>
                  </a:moveTo>
                  <a:lnTo>
                    <a:pt x="6" y="20"/>
                  </a:lnTo>
                  <a:lnTo>
                    <a:pt x="0" y="18"/>
                  </a:lnTo>
                  <a:lnTo>
                    <a:pt x="0" y="16"/>
                  </a:lnTo>
                  <a:lnTo>
                    <a:pt x="0" y="14"/>
                  </a:lnTo>
                  <a:lnTo>
                    <a:pt x="2" y="12"/>
                  </a:lnTo>
                  <a:lnTo>
                    <a:pt x="4" y="10"/>
                  </a:lnTo>
                  <a:lnTo>
                    <a:pt x="8" y="8"/>
                  </a:lnTo>
                  <a:lnTo>
                    <a:pt x="10" y="8"/>
                  </a:lnTo>
                  <a:lnTo>
                    <a:pt x="14" y="8"/>
                  </a:lnTo>
                  <a:lnTo>
                    <a:pt x="16" y="4"/>
                  </a:lnTo>
                  <a:lnTo>
                    <a:pt x="24" y="2"/>
                  </a:lnTo>
                  <a:lnTo>
                    <a:pt x="30" y="0"/>
                  </a:lnTo>
                  <a:lnTo>
                    <a:pt x="38" y="10"/>
                  </a:lnTo>
                  <a:lnTo>
                    <a:pt x="34" y="12"/>
                  </a:lnTo>
                  <a:lnTo>
                    <a:pt x="32" y="14"/>
                  </a:lnTo>
                  <a:lnTo>
                    <a:pt x="28" y="16"/>
                  </a:lnTo>
                  <a:lnTo>
                    <a:pt x="26" y="16"/>
                  </a:lnTo>
                  <a:lnTo>
                    <a:pt x="22" y="16"/>
                  </a:lnTo>
                  <a:lnTo>
                    <a:pt x="18" y="16"/>
                  </a:lnTo>
                  <a:lnTo>
                    <a:pt x="16" y="16"/>
                  </a:lnTo>
                  <a:lnTo>
                    <a:pt x="14" y="16"/>
                  </a:lnTo>
                  <a:lnTo>
                    <a:pt x="12" y="18"/>
                  </a:lnTo>
                  <a:lnTo>
                    <a:pt x="10" y="18"/>
                  </a:lnTo>
                  <a:lnTo>
                    <a:pt x="10" y="20"/>
                  </a:lnTo>
                  <a:lnTo>
                    <a:pt x="8"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2" name="Freeform 2771"/>
            <p:cNvSpPr>
              <a:spLocks/>
            </p:cNvSpPr>
            <p:nvPr/>
          </p:nvSpPr>
          <p:spPr bwMode="auto">
            <a:xfrm>
              <a:off x="2336" y="1012"/>
              <a:ext cx="18" cy="14"/>
            </a:xfrm>
            <a:custGeom>
              <a:avLst/>
              <a:gdLst/>
              <a:ahLst/>
              <a:cxnLst>
                <a:cxn ang="0">
                  <a:pos x="8" y="14"/>
                </a:cxn>
                <a:cxn ang="0">
                  <a:pos x="10" y="12"/>
                </a:cxn>
                <a:cxn ang="0">
                  <a:pos x="8" y="10"/>
                </a:cxn>
                <a:cxn ang="0">
                  <a:pos x="6" y="10"/>
                </a:cxn>
                <a:cxn ang="0">
                  <a:pos x="4" y="10"/>
                </a:cxn>
                <a:cxn ang="0">
                  <a:pos x="2" y="10"/>
                </a:cxn>
                <a:cxn ang="0">
                  <a:pos x="2" y="8"/>
                </a:cxn>
                <a:cxn ang="0">
                  <a:pos x="0" y="6"/>
                </a:cxn>
                <a:cxn ang="0">
                  <a:pos x="0" y="4"/>
                </a:cxn>
                <a:cxn ang="0">
                  <a:pos x="10" y="0"/>
                </a:cxn>
                <a:cxn ang="0">
                  <a:pos x="14" y="0"/>
                </a:cxn>
                <a:cxn ang="0">
                  <a:pos x="14" y="2"/>
                </a:cxn>
                <a:cxn ang="0">
                  <a:pos x="18" y="6"/>
                </a:cxn>
                <a:cxn ang="0">
                  <a:pos x="18" y="8"/>
                </a:cxn>
                <a:cxn ang="0">
                  <a:pos x="16" y="10"/>
                </a:cxn>
                <a:cxn ang="0">
                  <a:pos x="14" y="12"/>
                </a:cxn>
                <a:cxn ang="0">
                  <a:pos x="14" y="14"/>
                </a:cxn>
                <a:cxn ang="0">
                  <a:pos x="12" y="14"/>
                </a:cxn>
                <a:cxn ang="0">
                  <a:pos x="8" y="14"/>
                </a:cxn>
              </a:cxnLst>
              <a:rect l="0" t="0" r="r" b="b"/>
              <a:pathLst>
                <a:path w="18" h="14">
                  <a:moveTo>
                    <a:pt x="8" y="14"/>
                  </a:moveTo>
                  <a:lnTo>
                    <a:pt x="10" y="12"/>
                  </a:lnTo>
                  <a:lnTo>
                    <a:pt x="8" y="10"/>
                  </a:lnTo>
                  <a:lnTo>
                    <a:pt x="6" y="10"/>
                  </a:lnTo>
                  <a:lnTo>
                    <a:pt x="4" y="10"/>
                  </a:lnTo>
                  <a:lnTo>
                    <a:pt x="2" y="10"/>
                  </a:lnTo>
                  <a:lnTo>
                    <a:pt x="2" y="8"/>
                  </a:lnTo>
                  <a:lnTo>
                    <a:pt x="0" y="6"/>
                  </a:lnTo>
                  <a:lnTo>
                    <a:pt x="0" y="4"/>
                  </a:lnTo>
                  <a:lnTo>
                    <a:pt x="10" y="0"/>
                  </a:lnTo>
                  <a:lnTo>
                    <a:pt x="14" y="0"/>
                  </a:lnTo>
                  <a:lnTo>
                    <a:pt x="14" y="2"/>
                  </a:lnTo>
                  <a:lnTo>
                    <a:pt x="18" y="6"/>
                  </a:lnTo>
                  <a:lnTo>
                    <a:pt x="18" y="8"/>
                  </a:lnTo>
                  <a:lnTo>
                    <a:pt x="16" y="10"/>
                  </a:lnTo>
                  <a:lnTo>
                    <a:pt x="14" y="12"/>
                  </a:lnTo>
                  <a:lnTo>
                    <a:pt x="14" y="14"/>
                  </a:lnTo>
                  <a:lnTo>
                    <a:pt x="12" y="14"/>
                  </a:lnTo>
                  <a:lnTo>
                    <a:pt x="8"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3" name="Freeform 2772"/>
            <p:cNvSpPr>
              <a:spLocks/>
            </p:cNvSpPr>
            <p:nvPr/>
          </p:nvSpPr>
          <p:spPr bwMode="auto">
            <a:xfrm>
              <a:off x="2364" y="1022"/>
              <a:ext cx="10" cy="6"/>
            </a:xfrm>
            <a:custGeom>
              <a:avLst/>
              <a:gdLst/>
              <a:ahLst/>
              <a:cxnLst>
                <a:cxn ang="0">
                  <a:pos x="4" y="6"/>
                </a:cxn>
                <a:cxn ang="0">
                  <a:pos x="2" y="6"/>
                </a:cxn>
                <a:cxn ang="0">
                  <a:pos x="0" y="6"/>
                </a:cxn>
                <a:cxn ang="0">
                  <a:pos x="0" y="4"/>
                </a:cxn>
                <a:cxn ang="0">
                  <a:pos x="2" y="0"/>
                </a:cxn>
                <a:cxn ang="0">
                  <a:pos x="4" y="0"/>
                </a:cxn>
                <a:cxn ang="0">
                  <a:pos x="6" y="0"/>
                </a:cxn>
                <a:cxn ang="0">
                  <a:pos x="8" y="0"/>
                </a:cxn>
                <a:cxn ang="0">
                  <a:pos x="10" y="4"/>
                </a:cxn>
                <a:cxn ang="0">
                  <a:pos x="8" y="6"/>
                </a:cxn>
                <a:cxn ang="0">
                  <a:pos x="4" y="6"/>
                </a:cxn>
              </a:cxnLst>
              <a:rect l="0" t="0" r="r" b="b"/>
              <a:pathLst>
                <a:path w="10" h="6">
                  <a:moveTo>
                    <a:pt x="4" y="6"/>
                  </a:moveTo>
                  <a:lnTo>
                    <a:pt x="2" y="6"/>
                  </a:lnTo>
                  <a:lnTo>
                    <a:pt x="0" y="6"/>
                  </a:lnTo>
                  <a:lnTo>
                    <a:pt x="0" y="4"/>
                  </a:lnTo>
                  <a:lnTo>
                    <a:pt x="2" y="0"/>
                  </a:lnTo>
                  <a:lnTo>
                    <a:pt x="4" y="0"/>
                  </a:lnTo>
                  <a:lnTo>
                    <a:pt x="6" y="0"/>
                  </a:lnTo>
                  <a:lnTo>
                    <a:pt x="8" y="0"/>
                  </a:lnTo>
                  <a:lnTo>
                    <a:pt x="10" y="4"/>
                  </a:lnTo>
                  <a:lnTo>
                    <a:pt x="8" y="6"/>
                  </a:lnTo>
                  <a:lnTo>
                    <a:pt x="4"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4" name="Freeform 2773"/>
            <p:cNvSpPr>
              <a:spLocks/>
            </p:cNvSpPr>
            <p:nvPr/>
          </p:nvSpPr>
          <p:spPr bwMode="auto">
            <a:xfrm>
              <a:off x="2356" y="1030"/>
              <a:ext cx="12" cy="12"/>
            </a:xfrm>
            <a:custGeom>
              <a:avLst/>
              <a:gdLst/>
              <a:ahLst/>
              <a:cxnLst>
                <a:cxn ang="0">
                  <a:pos x="4" y="12"/>
                </a:cxn>
                <a:cxn ang="0">
                  <a:pos x="2" y="12"/>
                </a:cxn>
                <a:cxn ang="0">
                  <a:pos x="0" y="4"/>
                </a:cxn>
                <a:cxn ang="0">
                  <a:pos x="0" y="2"/>
                </a:cxn>
                <a:cxn ang="0">
                  <a:pos x="6" y="0"/>
                </a:cxn>
                <a:cxn ang="0">
                  <a:pos x="8" y="0"/>
                </a:cxn>
                <a:cxn ang="0">
                  <a:pos x="8" y="2"/>
                </a:cxn>
                <a:cxn ang="0">
                  <a:pos x="12" y="8"/>
                </a:cxn>
                <a:cxn ang="0">
                  <a:pos x="12" y="10"/>
                </a:cxn>
                <a:cxn ang="0">
                  <a:pos x="12" y="12"/>
                </a:cxn>
                <a:cxn ang="0">
                  <a:pos x="10" y="12"/>
                </a:cxn>
                <a:cxn ang="0">
                  <a:pos x="8" y="12"/>
                </a:cxn>
                <a:cxn ang="0">
                  <a:pos x="4" y="12"/>
                </a:cxn>
              </a:cxnLst>
              <a:rect l="0" t="0" r="r" b="b"/>
              <a:pathLst>
                <a:path w="12" h="12">
                  <a:moveTo>
                    <a:pt x="4" y="12"/>
                  </a:moveTo>
                  <a:lnTo>
                    <a:pt x="2" y="12"/>
                  </a:lnTo>
                  <a:lnTo>
                    <a:pt x="0" y="4"/>
                  </a:lnTo>
                  <a:lnTo>
                    <a:pt x="0" y="2"/>
                  </a:lnTo>
                  <a:lnTo>
                    <a:pt x="6" y="0"/>
                  </a:lnTo>
                  <a:lnTo>
                    <a:pt x="8" y="0"/>
                  </a:lnTo>
                  <a:lnTo>
                    <a:pt x="8" y="2"/>
                  </a:lnTo>
                  <a:lnTo>
                    <a:pt x="12" y="8"/>
                  </a:lnTo>
                  <a:lnTo>
                    <a:pt x="12" y="10"/>
                  </a:lnTo>
                  <a:lnTo>
                    <a:pt x="12" y="12"/>
                  </a:lnTo>
                  <a:lnTo>
                    <a:pt x="10" y="12"/>
                  </a:lnTo>
                  <a:lnTo>
                    <a:pt x="8" y="12"/>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5" name="Freeform 2774"/>
            <p:cNvSpPr>
              <a:spLocks/>
            </p:cNvSpPr>
            <p:nvPr/>
          </p:nvSpPr>
          <p:spPr bwMode="auto">
            <a:xfrm>
              <a:off x="2340" y="1034"/>
              <a:ext cx="10" cy="8"/>
            </a:xfrm>
            <a:custGeom>
              <a:avLst/>
              <a:gdLst/>
              <a:ahLst/>
              <a:cxnLst>
                <a:cxn ang="0">
                  <a:pos x="4" y="8"/>
                </a:cxn>
                <a:cxn ang="0">
                  <a:pos x="2" y="8"/>
                </a:cxn>
                <a:cxn ang="0">
                  <a:pos x="0" y="4"/>
                </a:cxn>
                <a:cxn ang="0">
                  <a:pos x="2" y="4"/>
                </a:cxn>
                <a:cxn ang="0">
                  <a:pos x="6" y="0"/>
                </a:cxn>
                <a:cxn ang="0">
                  <a:pos x="8" y="0"/>
                </a:cxn>
                <a:cxn ang="0">
                  <a:pos x="10" y="0"/>
                </a:cxn>
                <a:cxn ang="0">
                  <a:pos x="10" y="4"/>
                </a:cxn>
                <a:cxn ang="0">
                  <a:pos x="10" y="8"/>
                </a:cxn>
                <a:cxn ang="0">
                  <a:pos x="6" y="8"/>
                </a:cxn>
                <a:cxn ang="0">
                  <a:pos x="4" y="8"/>
                </a:cxn>
              </a:cxnLst>
              <a:rect l="0" t="0" r="r" b="b"/>
              <a:pathLst>
                <a:path w="10" h="8">
                  <a:moveTo>
                    <a:pt x="4" y="8"/>
                  </a:moveTo>
                  <a:lnTo>
                    <a:pt x="2" y="8"/>
                  </a:lnTo>
                  <a:lnTo>
                    <a:pt x="0" y="4"/>
                  </a:lnTo>
                  <a:lnTo>
                    <a:pt x="2" y="4"/>
                  </a:lnTo>
                  <a:lnTo>
                    <a:pt x="6" y="0"/>
                  </a:lnTo>
                  <a:lnTo>
                    <a:pt x="8" y="0"/>
                  </a:lnTo>
                  <a:lnTo>
                    <a:pt x="10" y="0"/>
                  </a:lnTo>
                  <a:lnTo>
                    <a:pt x="10" y="4"/>
                  </a:lnTo>
                  <a:lnTo>
                    <a:pt x="10" y="8"/>
                  </a:lnTo>
                  <a:lnTo>
                    <a:pt x="6" y="8"/>
                  </a:lnTo>
                  <a:lnTo>
                    <a:pt x="4"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6" name="Freeform 2775"/>
            <p:cNvSpPr>
              <a:spLocks/>
            </p:cNvSpPr>
            <p:nvPr/>
          </p:nvSpPr>
          <p:spPr bwMode="auto">
            <a:xfrm>
              <a:off x="2330" y="1046"/>
              <a:ext cx="8" cy="6"/>
            </a:xfrm>
            <a:custGeom>
              <a:avLst/>
              <a:gdLst/>
              <a:ahLst/>
              <a:cxnLst>
                <a:cxn ang="0">
                  <a:pos x="2" y="6"/>
                </a:cxn>
                <a:cxn ang="0">
                  <a:pos x="0" y="4"/>
                </a:cxn>
                <a:cxn ang="0">
                  <a:pos x="0" y="2"/>
                </a:cxn>
                <a:cxn ang="0">
                  <a:pos x="0" y="0"/>
                </a:cxn>
                <a:cxn ang="0">
                  <a:pos x="2" y="0"/>
                </a:cxn>
                <a:cxn ang="0">
                  <a:pos x="6" y="0"/>
                </a:cxn>
                <a:cxn ang="0">
                  <a:pos x="8" y="0"/>
                </a:cxn>
                <a:cxn ang="0">
                  <a:pos x="8" y="2"/>
                </a:cxn>
                <a:cxn ang="0">
                  <a:pos x="8" y="4"/>
                </a:cxn>
                <a:cxn ang="0">
                  <a:pos x="6" y="6"/>
                </a:cxn>
                <a:cxn ang="0">
                  <a:pos x="4" y="6"/>
                </a:cxn>
                <a:cxn ang="0">
                  <a:pos x="2" y="6"/>
                </a:cxn>
              </a:cxnLst>
              <a:rect l="0" t="0" r="r" b="b"/>
              <a:pathLst>
                <a:path w="8" h="6">
                  <a:moveTo>
                    <a:pt x="2" y="6"/>
                  </a:moveTo>
                  <a:lnTo>
                    <a:pt x="0" y="4"/>
                  </a:lnTo>
                  <a:lnTo>
                    <a:pt x="0" y="2"/>
                  </a:lnTo>
                  <a:lnTo>
                    <a:pt x="0" y="0"/>
                  </a:lnTo>
                  <a:lnTo>
                    <a:pt x="2" y="0"/>
                  </a:lnTo>
                  <a:lnTo>
                    <a:pt x="6" y="0"/>
                  </a:lnTo>
                  <a:lnTo>
                    <a:pt x="8" y="0"/>
                  </a:lnTo>
                  <a:lnTo>
                    <a:pt x="8" y="2"/>
                  </a:lnTo>
                  <a:lnTo>
                    <a:pt x="8" y="4"/>
                  </a:lnTo>
                  <a:lnTo>
                    <a:pt x="6" y="6"/>
                  </a:lnTo>
                  <a:lnTo>
                    <a:pt x="4" y="6"/>
                  </a:lnTo>
                  <a:lnTo>
                    <a:pt x="2"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7" name="Freeform 2776"/>
            <p:cNvSpPr>
              <a:spLocks/>
            </p:cNvSpPr>
            <p:nvPr/>
          </p:nvSpPr>
          <p:spPr bwMode="auto">
            <a:xfrm>
              <a:off x="2316" y="1044"/>
              <a:ext cx="14" cy="14"/>
            </a:xfrm>
            <a:custGeom>
              <a:avLst/>
              <a:gdLst/>
              <a:ahLst/>
              <a:cxnLst>
                <a:cxn ang="0">
                  <a:pos x="4" y="14"/>
                </a:cxn>
                <a:cxn ang="0">
                  <a:pos x="4" y="12"/>
                </a:cxn>
                <a:cxn ang="0">
                  <a:pos x="2" y="12"/>
                </a:cxn>
                <a:cxn ang="0">
                  <a:pos x="0" y="10"/>
                </a:cxn>
                <a:cxn ang="0">
                  <a:pos x="0" y="8"/>
                </a:cxn>
                <a:cxn ang="0">
                  <a:pos x="2" y="2"/>
                </a:cxn>
                <a:cxn ang="0">
                  <a:pos x="10" y="0"/>
                </a:cxn>
                <a:cxn ang="0">
                  <a:pos x="12" y="2"/>
                </a:cxn>
                <a:cxn ang="0">
                  <a:pos x="14" y="10"/>
                </a:cxn>
                <a:cxn ang="0">
                  <a:pos x="6" y="14"/>
                </a:cxn>
                <a:cxn ang="0">
                  <a:pos x="4" y="14"/>
                </a:cxn>
              </a:cxnLst>
              <a:rect l="0" t="0" r="r" b="b"/>
              <a:pathLst>
                <a:path w="14" h="14">
                  <a:moveTo>
                    <a:pt x="4" y="14"/>
                  </a:moveTo>
                  <a:lnTo>
                    <a:pt x="4" y="12"/>
                  </a:lnTo>
                  <a:lnTo>
                    <a:pt x="2" y="12"/>
                  </a:lnTo>
                  <a:lnTo>
                    <a:pt x="0" y="10"/>
                  </a:lnTo>
                  <a:lnTo>
                    <a:pt x="0" y="8"/>
                  </a:lnTo>
                  <a:lnTo>
                    <a:pt x="2" y="2"/>
                  </a:lnTo>
                  <a:lnTo>
                    <a:pt x="10" y="0"/>
                  </a:lnTo>
                  <a:lnTo>
                    <a:pt x="12" y="2"/>
                  </a:lnTo>
                  <a:lnTo>
                    <a:pt x="14" y="10"/>
                  </a:lnTo>
                  <a:lnTo>
                    <a:pt x="6" y="14"/>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8" name="Freeform 2777"/>
            <p:cNvSpPr>
              <a:spLocks/>
            </p:cNvSpPr>
            <p:nvPr/>
          </p:nvSpPr>
          <p:spPr bwMode="auto">
            <a:xfrm>
              <a:off x="2282" y="1074"/>
              <a:ext cx="12" cy="6"/>
            </a:xfrm>
            <a:custGeom>
              <a:avLst/>
              <a:gdLst/>
              <a:ahLst/>
              <a:cxnLst>
                <a:cxn ang="0">
                  <a:pos x="0" y="6"/>
                </a:cxn>
                <a:cxn ang="0">
                  <a:pos x="0" y="4"/>
                </a:cxn>
                <a:cxn ang="0">
                  <a:pos x="2" y="0"/>
                </a:cxn>
                <a:cxn ang="0">
                  <a:pos x="10" y="0"/>
                </a:cxn>
                <a:cxn ang="0">
                  <a:pos x="12" y="0"/>
                </a:cxn>
                <a:cxn ang="0">
                  <a:pos x="12" y="4"/>
                </a:cxn>
                <a:cxn ang="0">
                  <a:pos x="10" y="4"/>
                </a:cxn>
                <a:cxn ang="0">
                  <a:pos x="8" y="6"/>
                </a:cxn>
                <a:cxn ang="0">
                  <a:pos x="6" y="6"/>
                </a:cxn>
                <a:cxn ang="0">
                  <a:pos x="4" y="6"/>
                </a:cxn>
                <a:cxn ang="0">
                  <a:pos x="2" y="6"/>
                </a:cxn>
                <a:cxn ang="0">
                  <a:pos x="0" y="6"/>
                </a:cxn>
              </a:cxnLst>
              <a:rect l="0" t="0" r="r" b="b"/>
              <a:pathLst>
                <a:path w="12" h="6">
                  <a:moveTo>
                    <a:pt x="0" y="6"/>
                  </a:moveTo>
                  <a:lnTo>
                    <a:pt x="0" y="4"/>
                  </a:lnTo>
                  <a:lnTo>
                    <a:pt x="2" y="0"/>
                  </a:lnTo>
                  <a:lnTo>
                    <a:pt x="10" y="0"/>
                  </a:lnTo>
                  <a:lnTo>
                    <a:pt x="12" y="0"/>
                  </a:lnTo>
                  <a:lnTo>
                    <a:pt x="12" y="4"/>
                  </a:lnTo>
                  <a:lnTo>
                    <a:pt x="10" y="4"/>
                  </a:lnTo>
                  <a:lnTo>
                    <a:pt x="8" y="6"/>
                  </a:lnTo>
                  <a:lnTo>
                    <a:pt x="6" y="6"/>
                  </a:lnTo>
                  <a:lnTo>
                    <a:pt x="4" y="6"/>
                  </a:lnTo>
                  <a:lnTo>
                    <a:pt x="2" y="6"/>
                  </a:lnTo>
                  <a:lnTo>
                    <a:pt x="0" y="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69" name="Freeform 2778"/>
            <p:cNvSpPr>
              <a:spLocks/>
            </p:cNvSpPr>
            <p:nvPr/>
          </p:nvSpPr>
          <p:spPr bwMode="auto">
            <a:xfrm>
              <a:off x="2252" y="1098"/>
              <a:ext cx="12" cy="4"/>
            </a:xfrm>
            <a:custGeom>
              <a:avLst/>
              <a:gdLst/>
              <a:ahLst/>
              <a:cxnLst>
                <a:cxn ang="0">
                  <a:pos x="8" y="4"/>
                </a:cxn>
                <a:cxn ang="0">
                  <a:pos x="4" y="4"/>
                </a:cxn>
                <a:cxn ang="0">
                  <a:pos x="2" y="4"/>
                </a:cxn>
                <a:cxn ang="0">
                  <a:pos x="2" y="2"/>
                </a:cxn>
                <a:cxn ang="0">
                  <a:pos x="0" y="2"/>
                </a:cxn>
                <a:cxn ang="0">
                  <a:pos x="0" y="0"/>
                </a:cxn>
                <a:cxn ang="0">
                  <a:pos x="6" y="0"/>
                </a:cxn>
                <a:cxn ang="0">
                  <a:pos x="8" y="0"/>
                </a:cxn>
                <a:cxn ang="0">
                  <a:pos x="12" y="2"/>
                </a:cxn>
                <a:cxn ang="0">
                  <a:pos x="12" y="4"/>
                </a:cxn>
                <a:cxn ang="0">
                  <a:pos x="10" y="4"/>
                </a:cxn>
                <a:cxn ang="0">
                  <a:pos x="8" y="4"/>
                </a:cxn>
              </a:cxnLst>
              <a:rect l="0" t="0" r="r" b="b"/>
              <a:pathLst>
                <a:path w="12" h="4">
                  <a:moveTo>
                    <a:pt x="8" y="4"/>
                  </a:moveTo>
                  <a:lnTo>
                    <a:pt x="4" y="4"/>
                  </a:lnTo>
                  <a:lnTo>
                    <a:pt x="2" y="4"/>
                  </a:lnTo>
                  <a:lnTo>
                    <a:pt x="2" y="2"/>
                  </a:lnTo>
                  <a:lnTo>
                    <a:pt x="0" y="2"/>
                  </a:lnTo>
                  <a:lnTo>
                    <a:pt x="0" y="0"/>
                  </a:lnTo>
                  <a:lnTo>
                    <a:pt x="6" y="0"/>
                  </a:lnTo>
                  <a:lnTo>
                    <a:pt x="8" y="0"/>
                  </a:lnTo>
                  <a:lnTo>
                    <a:pt x="12" y="2"/>
                  </a:lnTo>
                  <a:lnTo>
                    <a:pt x="12" y="4"/>
                  </a:lnTo>
                  <a:lnTo>
                    <a:pt x="10" y="4"/>
                  </a:lnTo>
                  <a:lnTo>
                    <a:pt x="8" y="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0" name="Freeform 2779"/>
            <p:cNvSpPr>
              <a:spLocks/>
            </p:cNvSpPr>
            <p:nvPr/>
          </p:nvSpPr>
          <p:spPr bwMode="auto">
            <a:xfrm>
              <a:off x="2240" y="1098"/>
              <a:ext cx="12" cy="16"/>
            </a:xfrm>
            <a:custGeom>
              <a:avLst/>
              <a:gdLst/>
              <a:ahLst/>
              <a:cxnLst>
                <a:cxn ang="0">
                  <a:pos x="0" y="16"/>
                </a:cxn>
                <a:cxn ang="0">
                  <a:pos x="2" y="14"/>
                </a:cxn>
                <a:cxn ang="0">
                  <a:pos x="2" y="8"/>
                </a:cxn>
                <a:cxn ang="0">
                  <a:pos x="2" y="6"/>
                </a:cxn>
                <a:cxn ang="0">
                  <a:pos x="2" y="4"/>
                </a:cxn>
                <a:cxn ang="0">
                  <a:pos x="4" y="2"/>
                </a:cxn>
                <a:cxn ang="0">
                  <a:pos x="4" y="0"/>
                </a:cxn>
                <a:cxn ang="0">
                  <a:pos x="6" y="0"/>
                </a:cxn>
                <a:cxn ang="0">
                  <a:pos x="8" y="0"/>
                </a:cxn>
                <a:cxn ang="0">
                  <a:pos x="10" y="2"/>
                </a:cxn>
                <a:cxn ang="0">
                  <a:pos x="12" y="6"/>
                </a:cxn>
                <a:cxn ang="0">
                  <a:pos x="10" y="10"/>
                </a:cxn>
                <a:cxn ang="0">
                  <a:pos x="6" y="12"/>
                </a:cxn>
                <a:cxn ang="0">
                  <a:pos x="6" y="14"/>
                </a:cxn>
                <a:cxn ang="0">
                  <a:pos x="4" y="14"/>
                </a:cxn>
                <a:cxn ang="0">
                  <a:pos x="2" y="16"/>
                </a:cxn>
                <a:cxn ang="0">
                  <a:pos x="0" y="16"/>
                </a:cxn>
              </a:cxnLst>
              <a:rect l="0" t="0" r="r" b="b"/>
              <a:pathLst>
                <a:path w="12" h="16">
                  <a:moveTo>
                    <a:pt x="0" y="16"/>
                  </a:moveTo>
                  <a:lnTo>
                    <a:pt x="2" y="14"/>
                  </a:lnTo>
                  <a:lnTo>
                    <a:pt x="2" y="8"/>
                  </a:lnTo>
                  <a:lnTo>
                    <a:pt x="2" y="6"/>
                  </a:lnTo>
                  <a:lnTo>
                    <a:pt x="2" y="4"/>
                  </a:lnTo>
                  <a:lnTo>
                    <a:pt x="4" y="2"/>
                  </a:lnTo>
                  <a:lnTo>
                    <a:pt x="4" y="0"/>
                  </a:lnTo>
                  <a:lnTo>
                    <a:pt x="6" y="0"/>
                  </a:lnTo>
                  <a:lnTo>
                    <a:pt x="8" y="0"/>
                  </a:lnTo>
                  <a:lnTo>
                    <a:pt x="10" y="2"/>
                  </a:lnTo>
                  <a:lnTo>
                    <a:pt x="12" y="6"/>
                  </a:lnTo>
                  <a:lnTo>
                    <a:pt x="10" y="10"/>
                  </a:lnTo>
                  <a:lnTo>
                    <a:pt x="6" y="12"/>
                  </a:lnTo>
                  <a:lnTo>
                    <a:pt x="6" y="14"/>
                  </a:lnTo>
                  <a:lnTo>
                    <a:pt x="4" y="14"/>
                  </a:lnTo>
                  <a:lnTo>
                    <a:pt x="2" y="16"/>
                  </a:lnTo>
                  <a:lnTo>
                    <a:pt x="0"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1" name="Freeform 2780"/>
            <p:cNvSpPr>
              <a:spLocks/>
            </p:cNvSpPr>
            <p:nvPr/>
          </p:nvSpPr>
          <p:spPr bwMode="auto">
            <a:xfrm>
              <a:off x="2228" y="1108"/>
              <a:ext cx="12" cy="10"/>
            </a:xfrm>
            <a:custGeom>
              <a:avLst/>
              <a:gdLst/>
              <a:ahLst/>
              <a:cxnLst>
                <a:cxn ang="0">
                  <a:pos x="4" y="10"/>
                </a:cxn>
                <a:cxn ang="0">
                  <a:pos x="0" y="10"/>
                </a:cxn>
                <a:cxn ang="0">
                  <a:pos x="0" y="8"/>
                </a:cxn>
                <a:cxn ang="0">
                  <a:pos x="0" y="6"/>
                </a:cxn>
                <a:cxn ang="0">
                  <a:pos x="0" y="4"/>
                </a:cxn>
                <a:cxn ang="0">
                  <a:pos x="2" y="0"/>
                </a:cxn>
                <a:cxn ang="0">
                  <a:pos x="4" y="0"/>
                </a:cxn>
                <a:cxn ang="0">
                  <a:pos x="8" y="0"/>
                </a:cxn>
                <a:cxn ang="0">
                  <a:pos x="12" y="4"/>
                </a:cxn>
                <a:cxn ang="0">
                  <a:pos x="12" y="8"/>
                </a:cxn>
                <a:cxn ang="0">
                  <a:pos x="10" y="8"/>
                </a:cxn>
                <a:cxn ang="0">
                  <a:pos x="10" y="10"/>
                </a:cxn>
                <a:cxn ang="0">
                  <a:pos x="8" y="10"/>
                </a:cxn>
                <a:cxn ang="0">
                  <a:pos x="4" y="10"/>
                </a:cxn>
              </a:cxnLst>
              <a:rect l="0" t="0" r="r" b="b"/>
              <a:pathLst>
                <a:path w="12" h="10">
                  <a:moveTo>
                    <a:pt x="4" y="10"/>
                  </a:moveTo>
                  <a:lnTo>
                    <a:pt x="0" y="10"/>
                  </a:lnTo>
                  <a:lnTo>
                    <a:pt x="0" y="8"/>
                  </a:lnTo>
                  <a:lnTo>
                    <a:pt x="0" y="6"/>
                  </a:lnTo>
                  <a:lnTo>
                    <a:pt x="0" y="4"/>
                  </a:lnTo>
                  <a:lnTo>
                    <a:pt x="2" y="0"/>
                  </a:lnTo>
                  <a:lnTo>
                    <a:pt x="4" y="0"/>
                  </a:lnTo>
                  <a:lnTo>
                    <a:pt x="8" y="0"/>
                  </a:lnTo>
                  <a:lnTo>
                    <a:pt x="12" y="4"/>
                  </a:lnTo>
                  <a:lnTo>
                    <a:pt x="12" y="8"/>
                  </a:lnTo>
                  <a:lnTo>
                    <a:pt x="10" y="8"/>
                  </a:lnTo>
                  <a:lnTo>
                    <a:pt x="10" y="10"/>
                  </a:lnTo>
                  <a:lnTo>
                    <a:pt x="8" y="10"/>
                  </a:lnTo>
                  <a:lnTo>
                    <a:pt x="4"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2" name="Freeform 2781"/>
            <p:cNvSpPr>
              <a:spLocks/>
            </p:cNvSpPr>
            <p:nvPr/>
          </p:nvSpPr>
          <p:spPr bwMode="auto">
            <a:xfrm>
              <a:off x="2192" y="1140"/>
              <a:ext cx="18" cy="12"/>
            </a:xfrm>
            <a:custGeom>
              <a:avLst/>
              <a:gdLst/>
              <a:ahLst/>
              <a:cxnLst>
                <a:cxn ang="0">
                  <a:pos x="4" y="12"/>
                </a:cxn>
                <a:cxn ang="0">
                  <a:pos x="2" y="10"/>
                </a:cxn>
                <a:cxn ang="0">
                  <a:pos x="0" y="4"/>
                </a:cxn>
                <a:cxn ang="0">
                  <a:pos x="2" y="2"/>
                </a:cxn>
                <a:cxn ang="0">
                  <a:pos x="4" y="0"/>
                </a:cxn>
                <a:cxn ang="0">
                  <a:pos x="6" y="0"/>
                </a:cxn>
                <a:cxn ang="0">
                  <a:pos x="16" y="6"/>
                </a:cxn>
                <a:cxn ang="0">
                  <a:pos x="18" y="8"/>
                </a:cxn>
                <a:cxn ang="0">
                  <a:pos x="14" y="8"/>
                </a:cxn>
                <a:cxn ang="0">
                  <a:pos x="6" y="10"/>
                </a:cxn>
                <a:cxn ang="0">
                  <a:pos x="4" y="12"/>
                </a:cxn>
              </a:cxnLst>
              <a:rect l="0" t="0" r="r" b="b"/>
              <a:pathLst>
                <a:path w="18" h="12">
                  <a:moveTo>
                    <a:pt x="4" y="12"/>
                  </a:moveTo>
                  <a:lnTo>
                    <a:pt x="2" y="10"/>
                  </a:lnTo>
                  <a:lnTo>
                    <a:pt x="0" y="4"/>
                  </a:lnTo>
                  <a:lnTo>
                    <a:pt x="2" y="2"/>
                  </a:lnTo>
                  <a:lnTo>
                    <a:pt x="4" y="0"/>
                  </a:lnTo>
                  <a:lnTo>
                    <a:pt x="6" y="0"/>
                  </a:lnTo>
                  <a:lnTo>
                    <a:pt x="16" y="6"/>
                  </a:lnTo>
                  <a:lnTo>
                    <a:pt x="18" y="8"/>
                  </a:lnTo>
                  <a:lnTo>
                    <a:pt x="14" y="8"/>
                  </a:lnTo>
                  <a:lnTo>
                    <a:pt x="6" y="10"/>
                  </a:lnTo>
                  <a:lnTo>
                    <a:pt x="4" y="1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3" name="Freeform 2782"/>
            <p:cNvSpPr>
              <a:spLocks/>
            </p:cNvSpPr>
            <p:nvPr/>
          </p:nvSpPr>
          <p:spPr bwMode="auto">
            <a:xfrm>
              <a:off x="2180" y="1204"/>
              <a:ext cx="10" cy="14"/>
            </a:xfrm>
            <a:custGeom>
              <a:avLst/>
              <a:gdLst/>
              <a:ahLst/>
              <a:cxnLst>
                <a:cxn ang="0">
                  <a:pos x="0" y="14"/>
                </a:cxn>
                <a:cxn ang="0">
                  <a:pos x="0" y="12"/>
                </a:cxn>
                <a:cxn ang="0">
                  <a:pos x="2" y="4"/>
                </a:cxn>
                <a:cxn ang="0">
                  <a:pos x="4" y="2"/>
                </a:cxn>
                <a:cxn ang="0">
                  <a:pos x="8" y="0"/>
                </a:cxn>
                <a:cxn ang="0">
                  <a:pos x="8" y="2"/>
                </a:cxn>
                <a:cxn ang="0">
                  <a:pos x="10" y="2"/>
                </a:cxn>
                <a:cxn ang="0">
                  <a:pos x="10" y="8"/>
                </a:cxn>
                <a:cxn ang="0">
                  <a:pos x="10" y="10"/>
                </a:cxn>
                <a:cxn ang="0">
                  <a:pos x="8" y="10"/>
                </a:cxn>
                <a:cxn ang="0">
                  <a:pos x="8" y="12"/>
                </a:cxn>
                <a:cxn ang="0">
                  <a:pos x="6" y="12"/>
                </a:cxn>
                <a:cxn ang="0">
                  <a:pos x="4" y="10"/>
                </a:cxn>
                <a:cxn ang="0">
                  <a:pos x="4" y="8"/>
                </a:cxn>
                <a:cxn ang="0">
                  <a:pos x="2" y="12"/>
                </a:cxn>
                <a:cxn ang="0">
                  <a:pos x="0" y="14"/>
                </a:cxn>
              </a:cxnLst>
              <a:rect l="0" t="0" r="r" b="b"/>
              <a:pathLst>
                <a:path w="10" h="14">
                  <a:moveTo>
                    <a:pt x="0" y="14"/>
                  </a:moveTo>
                  <a:lnTo>
                    <a:pt x="0" y="12"/>
                  </a:lnTo>
                  <a:lnTo>
                    <a:pt x="2" y="4"/>
                  </a:lnTo>
                  <a:lnTo>
                    <a:pt x="4" y="2"/>
                  </a:lnTo>
                  <a:lnTo>
                    <a:pt x="8" y="0"/>
                  </a:lnTo>
                  <a:lnTo>
                    <a:pt x="8" y="2"/>
                  </a:lnTo>
                  <a:lnTo>
                    <a:pt x="10" y="2"/>
                  </a:lnTo>
                  <a:lnTo>
                    <a:pt x="10" y="8"/>
                  </a:lnTo>
                  <a:lnTo>
                    <a:pt x="10" y="10"/>
                  </a:lnTo>
                  <a:lnTo>
                    <a:pt x="8" y="10"/>
                  </a:lnTo>
                  <a:lnTo>
                    <a:pt x="8" y="12"/>
                  </a:lnTo>
                  <a:lnTo>
                    <a:pt x="6" y="12"/>
                  </a:lnTo>
                  <a:lnTo>
                    <a:pt x="4" y="10"/>
                  </a:lnTo>
                  <a:lnTo>
                    <a:pt x="4" y="8"/>
                  </a:lnTo>
                  <a:lnTo>
                    <a:pt x="2" y="12"/>
                  </a:lnTo>
                  <a:lnTo>
                    <a:pt x="0"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4" name="Freeform 2783"/>
            <p:cNvSpPr>
              <a:spLocks/>
            </p:cNvSpPr>
            <p:nvPr/>
          </p:nvSpPr>
          <p:spPr bwMode="auto">
            <a:xfrm>
              <a:off x="2178" y="1246"/>
              <a:ext cx="12" cy="16"/>
            </a:xfrm>
            <a:custGeom>
              <a:avLst/>
              <a:gdLst/>
              <a:ahLst/>
              <a:cxnLst>
                <a:cxn ang="0">
                  <a:pos x="12" y="16"/>
                </a:cxn>
                <a:cxn ang="0">
                  <a:pos x="8" y="14"/>
                </a:cxn>
                <a:cxn ang="0">
                  <a:pos x="6" y="10"/>
                </a:cxn>
                <a:cxn ang="0">
                  <a:pos x="2" y="6"/>
                </a:cxn>
                <a:cxn ang="0">
                  <a:pos x="0" y="2"/>
                </a:cxn>
                <a:cxn ang="0">
                  <a:pos x="0" y="0"/>
                </a:cxn>
                <a:cxn ang="0">
                  <a:pos x="2" y="0"/>
                </a:cxn>
                <a:cxn ang="0">
                  <a:pos x="4" y="2"/>
                </a:cxn>
                <a:cxn ang="0">
                  <a:pos x="6" y="2"/>
                </a:cxn>
                <a:cxn ang="0">
                  <a:pos x="12" y="12"/>
                </a:cxn>
                <a:cxn ang="0">
                  <a:pos x="12" y="14"/>
                </a:cxn>
                <a:cxn ang="0">
                  <a:pos x="12" y="16"/>
                </a:cxn>
              </a:cxnLst>
              <a:rect l="0" t="0" r="r" b="b"/>
              <a:pathLst>
                <a:path w="12" h="16">
                  <a:moveTo>
                    <a:pt x="12" y="16"/>
                  </a:moveTo>
                  <a:lnTo>
                    <a:pt x="8" y="14"/>
                  </a:lnTo>
                  <a:lnTo>
                    <a:pt x="6" y="10"/>
                  </a:lnTo>
                  <a:lnTo>
                    <a:pt x="2" y="6"/>
                  </a:lnTo>
                  <a:lnTo>
                    <a:pt x="0" y="2"/>
                  </a:lnTo>
                  <a:lnTo>
                    <a:pt x="0" y="0"/>
                  </a:lnTo>
                  <a:lnTo>
                    <a:pt x="2" y="0"/>
                  </a:lnTo>
                  <a:lnTo>
                    <a:pt x="4" y="2"/>
                  </a:lnTo>
                  <a:lnTo>
                    <a:pt x="6" y="2"/>
                  </a:lnTo>
                  <a:lnTo>
                    <a:pt x="12" y="12"/>
                  </a:lnTo>
                  <a:lnTo>
                    <a:pt x="12" y="14"/>
                  </a:lnTo>
                  <a:lnTo>
                    <a:pt x="12"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5" name="Freeform 2784"/>
            <p:cNvSpPr>
              <a:spLocks/>
            </p:cNvSpPr>
            <p:nvPr/>
          </p:nvSpPr>
          <p:spPr bwMode="auto">
            <a:xfrm>
              <a:off x="2198" y="1254"/>
              <a:ext cx="18" cy="24"/>
            </a:xfrm>
            <a:custGeom>
              <a:avLst/>
              <a:gdLst/>
              <a:ahLst/>
              <a:cxnLst>
                <a:cxn ang="0">
                  <a:pos x="8" y="24"/>
                </a:cxn>
                <a:cxn ang="0">
                  <a:pos x="6" y="22"/>
                </a:cxn>
                <a:cxn ang="0">
                  <a:pos x="4" y="22"/>
                </a:cxn>
                <a:cxn ang="0">
                  <a:pos x="4" y="20"/>
                </a:cxn>
                <a:cxn ang="0">
                  <a:pos x="0" y="14"/>
                </a:cxn>
                <a:cxn ang="0">
                  <a:pos x="2" y="12"/>
                </a:cxn>
                <a:cxn ang="0">
                  <a:pos x="6" y="10"/>
                </a:cxn>
                <a:cxn ang="0">
                  <a:pos x="8" y="8"/>
                </a:cxn>
                <a:cxn ang="0">
                  <a:pos x="10" y="6"/>
                </a:cxn>
                <a:cxn ang="0">
                  <a:pos x="12" y="6"/>
                </a:cxn>
                <a:cxn ang="0">
                  <a:pos x="12" y="4"/>
                </a:cxn>
                <a:cxn ang="0">
                  <a:pos x="12" y="2"/>
                </a:cxn>
                <a:cxn ang="0">
                  <a:pos x="14" y="0"/>
                </a:cxn>
                <a:cxn ang="0">
                  <a:pos x="18" y="2"/>
                </a:cxn>
                <a:cxn ang="0">
                  <a:pos x="18" y="6"/>
                </a:cxn>
                <a:cxn ang="0">
                  <a:pos x="14" y="20"/>
                </a:cxn>
                <a:cxn ang="0">
                  <a:pos x="10" y="22"/>
                </a:cxn>
                <a:cxn ang="0">
                  <a:pos x="8" y="24"/>
                </a:cxn>
              </a:cxnLst>
              <a:rect l="0" t="0" r="r" b="b"/>
              <a:pathLst>
                <a:path w="18" h="24">
                  <a:moveTo>
                    <a:pt x="8" y="24"/>
                  </a:moveTo>
                  <a:lnTo>
                    <a:pt x="6" y="22"/>
                  </a:lnTo>
                  <a:lnTo>
                    <a:pt x="4" y="22"/>
                  </a:lnTo>
                  <a:lnTo>
                    <a:pt x="4" y="20"/>
                  </a:lnTo>
                  <a:lnTo>
                    <a:pt x="0" y="14"/>
                  </a:lnTo>
                  <a:lnTo>
                    <a:pt x="2" y="12"/>
                  </a:lnTo>
                  <a:lnTo>
                    <a:pt x="6" y="10"/>
                  </a:lnTo>
                  <a:lnTo>
                    <a:pt x="8" y="8"/>
                  </a:lnTo>
                  <a:lnTo>
                    <a:pt x="10" y="6"/>
                  </a:lnTo>
                  <a:lnTo>
                    <a:pt x="12" y="6"/>
                  </a:lnTo>
                  <a:lnTo>
                    <a:pt x="12" y="4"/>
                  </a:lnTo>
                  <a:lnTo>
                    <a:pt x="12" y="2"/>
                  </a:lnTo>
                  <a:lnTo>
                    <a:pt x="14" y="0"/>
                  </a:lnTo>
                  <a:lnTo>
                    <a:pt x="18" y="2"/>
                  </a:lnTo>
                  <a:lnTo>
                    <a:pt x="18" y="6"/>
                  </a:lnTo>
                  <a:lnTo>
                    <a:pt x="14" y="20"/>
                  </a:lnTo>
                  <a:lnTo>
                    <a:pt x="10" y="22"/>
                  </a:lnTo>
                  <a:lnTo>
                    <a:pt x="8"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6" name="Freeform 2785"/>
            <p:cNvSpPr>
              <a:spLocks/>
            </p:cNvSpPr>
            <p:nvPr/>
          </p:nvSpPr>
          <p:spPr bwMode="auto">
            <a:xfrm>
              <a:off x="2180" y="1258"/>
              <a:ext cx="12" cy="10"/>
            </a:xfrm>
            <a:custGeom>
              <a:avLst/>
              <a:gdLst/>
              <a:ahLst/>
              <a:cxnLst>
                <a:cxn ang="0">
                  <a:pos x="10" y="10"/>
                </a:cxn>
                <a:cxn ang="0">
                  <a:pos x="6" y="8"/>
                </a:cxn>
                <a:cxn ang="0">
                  <a:pos x="6" y="6"/>
                </a:cxn>
                <a:cxn ang="0">
                  <a:pos x="4" y="6"/>
                </a:cxn>
                <a:cxn ang="0">
                  <a:pos x="2" y="4"/>
                </a:cxn>
                <a:cxn ang="0">
                  <a:pos x="0" y="0"/>
                </a:cxn>
                <a:cxn ang="0">
                  <a:pos x="4" y="0"/>
                </a:cxn>
                <a:cxn ang="0">
                  <a:pos x="4" y="2"/>
                </a:cxn>
                <a:cxn ang="0">
                  <a:pos x="8" y="2"/>
                </a:cxn>
                <a:cxn ang="0">
                  <a:pos x="8" y="4"/>
                </a:cxn>
                <a:cxn ang="0">
                  <a:pos x="10" y="6"/>
                </a:cxn>
                <a:cxn ang="0">
                  <a:pos x="12" y="8"/>
                </a:cxn>
                <a:cxn ang="0">
                  <a:pos x="10" y="10"/>
                </a:cxn>
              </a:cxnLst>
              <a:rect l="0" t="0" r="r" b="b"/>
              <a:pathLst>
                <a:path w="12" h="10">
                  <a:moveTo>
                    <a:pt x="10" y="10"/>
                  </a:moveTo>
                  <a:lnTo>
                    <a:pt x="6" y="8"/>
                  </a:lnTo>
                  <a:lnTo>
                    <a:pt x="6" y="6"/>
                  </a:lnTo>
                  <a:lnTo>
                    <a:pt x="4" y="6"/>
                  </a:lnTo>
                  <a:lnTo>
                    <a:pt x="2" y="4"/>
                  </a:lnTo>
                  <a:lnTo>
                    <a:pt x="0" y="0"/>
                  </a:lnTo>
                  <a:lnTo>
                    <a:pt x="4" y="0"/>
                  </a:lnTo>
                  <a:lnTo>
                    <a:pt x="4" y="2"/>
                  </a:lnTo>
                  <a:lnTo>
                    <a:pt x="8" y="2"/>
                  </a:lnTo>
                  <a:lnTo>
                    <a:pt x="8" y="4"/>
                  </a:lnTo>
                  <a:lnTo>
                    <a:pt x="10" y="6"/>
                  </a:lnTo>
                  <a:lnTo>
                    <a:pt x="12" y="8"/>
                  </a:lnTo>
                  <a:lnTo>
                    <a:pt x="10"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7" name="Freeform 2786"/>
            <p:cNvSpPr>
              <a:spLocks/>
            </p:cNvSpPr>
            <p:nvPr/>
          </p:nvSpPr>
          <p:spPr bwMode="auto">
            <a:xfrm>
              <a:off x="2182" y="1264"/>
              <a:ext cx="8" cy="14"/>
            </a:xfrm>
            <a:custGeom>
              <a:avLst/>
              <a:gdLst/>
              <a:ahLst/>
              <a:cxnLst>
                <a:cxn ang="0">
                  <a:pos x="4" y="14"/>
                </a:cxn>
                <a:cxn ang="0">
                  <a:pos x="4" y="12"/>
                </a:cxn>
                <a:cxn ang="0">
                  <a:pos x="0" y="4"/>
                </a:cxn>
                <a:cxn ang="0">
                  <a:pos x="0" y="0"/>
                </a:cxn>
                <a:cxn ang="0">
                  <a:pos x="4" y="4"/>
                </a:cxn>
                <a:cxn ang="0">
                  <a:pos x="8" y="6"/>
                </a:cxn>
                <a:cxn ang="0">
                  <a:pos x="8" y="8"/>
                </a:cxn>
                <a:cxn ang="0">
                  <a:pos x="8" y="12"/>
                </a:cxn>
                <a:cxn ang="0">
                  <a:pos x="8" y="14"/>
                </a:cxn>
                <a:cxn ang="0">
                  <a:pos x="4" y="14"/>
                </a:cxn>
              </a:cxnLst>
              <a:rect l="0" t="0" r="r" b="b"/>
              <a:pathLst>
                <a:path w="8" h="14">
                  <a:moveTo>
                    <a:pt x="4" y="14"/>
                  </a:moveTo>
                  <a:lnTo>
                    <a:pt x="4" y="12"/>
                  </a:lnTo>
                  <a:lnTo>
                    <a:pt x="0" y="4"/>
                  </a:lnTo>
                  <a:lnTo>
                    <a:pt x="0" y="0"/>
                  </a:lnTo>
                  <a:lnTo>
                    <a:pt x="4" y="4"/>
                  </a:lnTo>
                  <a:lnTo>
                    <a:pt x="8" y="6"/>
                  </a:lnTo>
                  <a:lnTo>
                    <a:pt x="8" y="8"/>
                  </a:lnTo>
                  <a:lnTo>
                    <a:pt x="8" y="12"/>
                  </a:lnTo>
                  <a:lnTo>
                    <a:pt x="8" y="14"/>
                  </a:lnTo>
                  <a:lnTo>
                    <a:pt x="4" y="1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8" name="Freeform 2787"/>
            <p:cNvSpPr>
              <a:spLocks/>
            </p:cNvSpPr>
            <p:nvPr/>
          </p:nvSpPr>
          <p:spPr bwMode="auto">
            <a:xfrm>
              <a:off x="2176" y="1272"/>
              <a:ext cx="8" cy="26"/>
            </a:xfrm>
            <a:custGeom>
              <a:avLst/>
              <a:gdLst/>
              <a:ahLst/>
              <a:cxnLst>
                <a:cxn ang="0">
                  <a:pos x="6" y="26"/>
                </a:cxn>
                <a:cxn ang="0">
                  <a:pos x="2" y="22"/>
                </a:cxn>
                <a:cxn ang="0">
                  <a:pos x="0" y="20"/>
                </a:cxn>
                <a:cxn ang="0">
                  <a:pos x="0" y="18"/>
                </a:cxn>
                <a:cxn ang="0">
                  <a:pos x="0" y="16"/>
                </a:cxn>
                <a:cxn ang="0">
                  <a:pos x="2" y="2"/>
                </a:cxn>
                <a:cxn ang="0">
                  <a:pos x="4" y="0"/>
                </a:cxn>
                <a:cxn ang="0">
                  <a:pos x="6" y="10"/>
                </a:cxn>
                <a:cxn ang="0">
                  <a:pos x="8" y="12"/>
                </a:cxn>
                <a:cxn ang="0">
                  <a:pos x="8" y="14"/>
                </a:cxn>
                <a:cxn ang="0">
                  <a:pos x="8" y="16"/>
                </a:cxn>
                <a:cxn ang="0">
                  <a:pos x="6" y="22"/>
                </a:cxn>
                <a:cxn ang="0">
                  <a:pos x="6" y="24"/>
                </a:cxn>
                <a:cxn ang="0">
                  <a:pos x="6" y="26"/>
                </a:cxn>
              </a:cxnLst>
              <a:rect l="0" t="0" r="r" b="b"/>
              <a:pathLst>
                <a:path w="8" h="26">
                  <a:moveTo>
                    <a:pt x="6" y="26"/>
                  </a:moveTo>
                  <a:lnTo>
                    <a:pt x="2" y="22"/>
                  </a:lnTo>
                  <a:lnTo>
                    <a:pt x="0" y="20"/>
                  </a:lnTo>
                  <a:lnTo>
                    <a:pt x="0" y="18"/>
                  </a:lnTo>
                  <a:lnTo>
                    <a:pt x="0" y="16"/>
                  </a:lnTo>
                  <a:lnTo>
                    <a:pt x="2" y="2"/>
                  </a:lnTo>
                  <a:lnTo>
                    <a:pt x="4" y="0"/>
                  </a:lnTo>
                  <a:lnTo>
                    <a:pt x="6" y="10"/>
                  </a:lnTo>
                  <a:lnTo>
                    <a:pt x="8" y="12"/>
                  </a:lnTo>
                  <a:lnTo>
                    <a:pt x="8" y="14"/>
                  </a:lnTo>
                  <a:lnTo>
                    <a:pt x="8" y="16"/>
                  </a:lnTo>
                  <a:lnTo>
                    <a:pt x="6" y="22"/>
                  </a:lnTo>
                  <a:lnTo>
                    <a:pt x="6" y="24"/>
                  </a:lnTo>
                  <a:lnTo>
                    <a:pt x="6"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79" name="Freeform 2788"/>
            <p:cNvSpPr>
              <a:spLocks/>
            </p:cNvSpPr>
            <p:nvPr/>
          </p:nvSpPr>
          <p:spPr bwMode="auto">
            <a:xfrm>
              <a:off x="2192" y="1310"/>
              <a:ext cx="14" cy="16"/>
            </a:xfrm>
            <a:custGeom>
              <a:avLst/>
              <a:gdLst/>
              <a:ahLst/>
              <a:cxnLst>
                <a:cxn ang="0">
                  <a:pos x="6" y="16"/>
                </a:cxn>
                <a:cxn ang="0">
                  <a:pos x="0" y="6"/>
                </a:cxn>
                <a:cxn ang="0">
                  <a:pos x="4" y="2"/>
                </a:cxn>
                <a:cxn ang="0">
                  <a:pos x="6" y="2"/>
                </a:cxn>
                <a:cxn ang="0">
                  <a:pos x="8" y="2"/>
                </a:cxn>
                <a:cxn ang="0">
                  <a:pos x="14" y="0"/>
                </a:cxn>
                <a:cxn ang="0">
                  <a:pos x="14" y="2"/>
                </a:cxn>
                <a:cxn ang="0">
                  <a:pos x="14" y="4"/>
                </a:cxn>
                <a:cxn ang="0">
                  <a:pos x="14" y="6"/>
                </a:cxn>
                <a:cxn ang="0">
                  <a:pos x="14" y="8"/>
                </a:cxn>
                <a:cxn ang="0">
                  <a:pos x="10" y="14"/>
                </a:cxn>
                <a:cxn ang="0">
                  <a:pos x="6" y="16"/>
                </a:cxn>
              </a:cxnLst>
              <a:rect l="0" t="0" r="r" b="b"/>
              <a:pathLst>
                <a:path w="14" h="16">
                  <a:moveTo>
                    <a:pt x="6" y="16"/>
                  </a:moveTo>
                  <a:lnTo>
                    <a:pt x="0" y="6"/>
                  </a:lnTo>
                  <a:lnTo>
                    <a:pt x="4" y="2"/>
                  </a:lnTo>
                  <a:lnTo>
                    <a:pt x="6" y="2"/>
                  </a:lnTo>
                  <a:lnTo>
                    <a:pt x="8" y="2"/>
                  </a:lnTo>
                  <a:lnTo>
                    <a:pt x="14" y="0"/>
                  </a:lnTo>
                  <a:lnTo>
                    <a:pt x="14" y="2"/>
                  </a:lnTo>
                  <a:lnTo>
                    <a:pt x="14" y="4"/>
                  </a:lnTo>
                  <a:lnTo>
                    <a:pt x="14" y="6"/>
                  </a:lnTo>
                  <a:lnTo>
                    <a:pt x="14" y="8"/>
                  </a:lnTo>
                  <a:lnTo>
                    <a:pt x="10" y="14"/>
                  </a:lnTo>
                  <a:lnTo>
                    <a:pt x="6" y="1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0" name="Freeform 2789"/>
            <p:cNvSpPr>
              <a:spLocks/>
            </p:cNvSpPr>
            <p:nvPr/>
          </p:nvSpPr>
          <p:spPr bwMode="auto">
            <a:xfrm>
              <a:off x="2186" y="1318"/>
              <a:ext cx="10" cy="20"/>
            </a:xfrm>
            <a:custGeom>
              <a:avLst/>
              <a:gdLst/>
              <a:ahLst/>
              <a:cxnLst>
                <a:cxn ang="0">
                  <a:pos x="4" y="20"/>
                </a:cxn>
                <a:cxn ang="0">
                  <a:pos x="2" y="20"/>
                </a:cxn>
                <a:cxn ang="0">
                  <a:pos x="0" y="16"/>
                </a:cxn>
                <a:cxn ang="0">
                  <a:pos x="0" y="8"/>
                </a:cxn>
                <a:cxn ang="0">
                  <a:pos x="0" y="6"/>
                </a:cxn>
                <a:cxn ang="0">
                  <a:pos x="2" y="0"/>
                </a:cxn>
                <a:cxn ang="0">
                  <a:pos x="4" y="0"/>
                </a:cxn>
                <a:cxn ang="0">
                  <a:pos x="8" y="4"/>
                </a:cxn>
                <a:cxn ang="0">
                  <a:pos x="10" y="8"/>
                </a:cxn>
                <a:cxn ang="0">
                  <a:pos x="10" y="12"/>
                </a:cxn>
                <a:cxn ang="0">
                  <a:pos x="10" y="16"/>
                </a:cxn>
                <a:cxn ang="0">
                  <a:pos x="8" y="18"/>
                </a:cxn>
                <a:cxn ang="0">
                  <a:pos x="8" y="20"/>
                </a:cxn>
                <a:cxn ang="0">
                  <a:pos x="6" y="20"/>
                </a:cxn>
                <a:cxn ang="0">
                  <a:pos x="4" y="20"/>
                </a:cxn>
              </a:cxnLst>
              <a:rect l="0" t="0" r="r" b="b"/>
              <a:pathLst>
                <a:path w="10" h="20">
                  <a:moveTo>
                    <a:pt x="4" y="20"/>
                  </a:moveTo>
                  <a:lnTo>
                    <a:pt x="2" y="20"/>
                  </a:lnTo>
                  <a:lnTo>
                    <a:pt x="0" y="16"/>
                  </a:lnTo>
                  <a:lnTo>
                    <a:pt x="0" y="8"/>
                  </a:lnTo>
                  <a:lnTo>
                    <a:pt x="0" y="6"/>
                  </a:lnTo>
                  <a:lnTo>
                    <a:pt x="2" y="0"/>
                  </a:lnTo>
                  <a:lnTo>
                    <a:pt x="4" y="0"/>
                  </a:lnTo>
                  <a:lnTo>
                    <a:pt x="8" y="4"/>
                  </a:lnTo>
                  <a:lnTo>
                    <a:pt x="10" y="8"/>
                  </a:lnTo>
                  <a:lnTo>
                    <a:pt x="10" y="12"/>
                  </a:lnTo>
                  <a:lnTo>
                    <a:pt x="10" y="16"/>
                  </a:lnTo>
                  <a:lnTo>
                    <a:pt x="8" y="18"/>
                  </a:lnTo>
                  <a:lnTo>
                    <a:pt x="8" y="20"/>
                  </a:lnTo>
                  <a:lnTo>
                    <a:pt x="6" y="20"/>
                  </a:lnTo>
                  <a:lnTo>
                    <a:pt x="4" y="2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1" name="Freeform 2790"/>
            <p:cNvSpPr>
              <a:spLocks/>
            </p:cNvSpPr>
            <p:nvPr/>
          </p:nvSpPr>
          <p:spPr bwMode="auto">
            <a:xfrm>
              <a:off x="2176" y="1326"/>
              <a:ext cx="10" cy="26"/>
            </a:xfrm>
            <a:custGeom>
              <a:avLst/>
              <a:gdLst/>
              <a:ahLst/>
              <a:cxnLst>
                <a:cxn ang="0">
                  <a:pos x="0" y="26"/>
                </a:cxn>
                <a:cxn ang="0">
                  <a:pos x="0" y="20"/>
                </a:cxn>
                <a:cxn ang="0">
                  <a:pos x="0" y="8"/>
                </a:cxn>
                <a:cxn ang="0">
                  <a:pos x="2" y="0"/>
                </a:cxn>
                <a:cxn ang="0">
                  <a:pos x="4" y="0"/>
                </a:cxn>
                <a:cxn ang="0">
                  <a:pos x="8" y="8"/>
                </a:cxn>
                <a:cxn ang="0">
                  <a:pos x="10" y="12"/>
                </a:cxn>
                <a:cxn ang="0">
                  <a:pos x="10" y="16"/>
                </a:cxn>
                <a:cxn ang="0">
                  <a:pos x="10" y="18"/>
                </a:cxn>
                <a:cxn ang="0">
                  <a:pos x="8" y="18"/>
                </a:cxn>
                <a:cxn ang="0">
                  <a:pos x="8" y="16"/>
                </a:cxn>
                <a:cxn ang="0">
                  <a:pos x="10" y="16"/>
                </a:cxn>
                <a:cxn ang="0">
                  <a:pos x="10" y="12"/>
                </a:cxn>
                <a:cxn ang="0">
                  <a:pos x="6" y="12"/>
                </a:cxn>
                <a:cxn ang="0">
                  <a:pos x="4" y="12"/>
                </a:cxn>
                <a:cxn ang="0">
                  <a:pos x="2" y="16"/>
                </a:cxn>
                <a:cxn ang="0">
                  <a:pos x="4" y="18"/>
                </a:cxn>
                <a:cxn ang="0">
                  <a:pos x="4" y="20"/>
                </a:cxn>
                <a:cxn ang="0">
                  <a:pos x="4" y="22"/>
                </a:cxn>
                <a:cxn ang="0">
                  <a:pos x="4" y="24"/>
                </a:cxn>
                <a:cxn ang="0">
                  <a:pos x="2" y="26"/>
                </a:cxn>
                <a:cxn ang="0">
                  <a:pos x="0" y="26"/>
                </a:cxn>
              </a:cxnLst>
              <a:rect l="0" t="0" r="r" b="b"/>
              <a:pathLst>
                <a:path w="10" h="26">
                  <a:moveTo>
                    <a:pt x="0" y="26"/>
                  </a:moveTo>
                  <a:lnTo>
                    <a:pt x="0" y="20"/>
                  </a:lnTo>
                  <a:lnTo>
                    <a:pt x="0" y="8"/>
                  </a:lnTo>
                  <a:lnTo>
                    <a:pt x="2" y="0"/>
                  </a:lnTo>
                  <a:lnTo>
                    <a:pt x="4" y="0"/>
                  </a:lnTo>
                  <a:lnTo>
                    <a:pt x="8" y="8"/>
                  </a:lnTo>
                  <a:lnTo>
                    <a:pt x="10" y="12"/>
                  </a:lnTo>
                  <a:lnTo>
                    <a:pt x="10" y="16"/>
                  </a:lnTo>
                  <a:lnTo>
                    <a:pt x="10" y="18"/>
                  </a:lnTo>
                  <a:lnTo>
                    <a:pt x="8" y="18"/>
                  </a:lnTo>
                  <a:lnTo>
                    <a:pt x="8" y="16"/>
                  </a:lnTo>
                  <a:lnTo>
                    <a:pt x="10" y="16"/>
                  </a:lnTo>
                  <a:lnTo>
                    <a:pt x="10" y="12"/>
                  </a:lnTo>
                  <a:lnTo>
                    <a:pt x="6" y="12"/>
                  </a:lnTo>
                  <a:lnTo>
                    <a:pt x="4" y="12"/>
                  </a:lnTo>
                  <a:lnTo>
                    <a:pt x="2" y="16"/>
                  </a:lnTo>
                  <a:lnTo>
                    <a:pt x="4" y="18"/>
                  </a:lnTo>
                  <a:lnTo>
                    <a:pt x="4" y="20"/>
                  </a:lnTo>
                  <a:lnTo>
                    <a:pt x="4" y="22"/>
                  </a:lnTo>
                  <a:lnTo>
                    <a:pt x="4" y="24"/>
                  </a:lnTo>
                  <a:lnTo>
                    <a:pt x="2" y="26"/>
                  </a:lnTo>
                  <a:lnTo>
                    <a:pt x="0" y="2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582" name="Freeform 2791"/>
            <p:cNvSpPr>
              <a:spLocks/>
            </p:cNvSpPr>
            <p:nvPr/>
          </p:nvSpPr>
          <p:spPr bwMode="auto">
            <a:xfrm>
              <a:off x="2170" y="1368"/>
              <a:ext cx="10" cy="24"/>
            </a:xfrm>
            <a:custGeom>
              <a:avLst/>
              <a:gdLst/>
              <a:ahLst/>
              <a:cxnLst>
                <a:cxn ang="0">
                  <a:pos x="2" y="24"/>
                </a:cxn>
                <a:cxn ang="0">
                  <a:pos x="0" y="18"/>
                </a:cxn>
                <a:cxn ang="0">
                  <a:pos x="2" y="12"/>
                </a:cxn>
                <a:cxn ang="0">
                  <a:pos x="6" y="0"/>
                </a:cxn>
                <a:cxn ang="0">
                  <a:pos x="8" y="0"/>
                </a:cxn>
                <a:cxn ang="0">
                  <a:pos x="8" y="2"/>
                </a:cxn>
                <a:cxn ang="0">
                  <a:pos x="10" y="10"/>
                </a:cxn>
                <a:cxn ang="0">
                  <a:pos x="8" y="16"/>
                </a:cxn>
                <a:cxn ang="0">
                  <a:pos x="8" y="18"/>
                </a:cxn>
                <a:cxn ang="0">
                  <a:pos x="6" y="24"/>
                </a:cxn>
                <a:cxn ang="0">
                  <a:pos x="4" y="24"/>
                </a:cxn>
                <a:cxn ang="0">
                  <a:pos x="2" y="24"/>
                </a:cxn>
              </a:cxnLst>
              <a:rect l="0" t="0" r="r" b="b"/>
              <a:pathLst>
                <a:path w="10" h="24">
                  <a:moveTo>
                    <a:pt x="2" y="24"/>
                  </a:moveTo>
                  <a:lnTo>
                    <a:pt x="0" y="18"/>
                  </a:lnTo>
                  <a:lnTo>
                    <a:pt x="2" y="12"/>
                  </a:lnTo>
                  <a:lnTo>
                    <a:pt x="6" y="0"/>
                  </a:lnTo>
                  <a:lnTo>
                    <a:pt x="8" y="0"/>
                  </a:lnTo>
                  <a:lnTo>
                    <a:pt x="8" y="2"/>
                  </a:lnTo>
                  <a:lnTo>
                    <a:pt x="10" y="10"/>
                  </a:lnTo>
                  <a:lnTo>
                    <a:pt x="8" y="16"/>
                  </a:lnTo>
                  <a:lnTo>
                    <a:pt x="8" y="18"/>
                  </a:lnTo>
                  <a:lnTo>
                    <a:pt x="6" y="24"/>
                  </a:lnTo>
                  <a:lnTo>
                    <a:pt x="4" y="24"/>
                  </a:lnTo>
                  <a:lnTo>
                    <a:pt x="2" y="2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grpSp>
        <p:nvGrpSpPr>
          <p:cNvPr id="318" name="Group 2824"/>
          <p:cNvGrpSpPr>
            <a:grpSpLocks/>
          </p:cNvGrpSpPr>
          <p:nvPr/>
        </p:nvGrpSpPr>
        <p:grpSpPr bwMode="auto">
          <a:xfrm>
            <a:off x="4999389" y="1913450"/>
            <a:ext cx="794537" cy="1869673"/>
            <a:chOff x="2452" y="506"/>
            <a:chExt cx="538" cy="1266"/>
          </a:xfrm>
          <a:solidFill>
            <a:srgbClr val="B9B9B9"/>
          </a:solidFill>
        </p:grpSpPr>
        <p:sp>
          <p:nvSpPr>
            <p:cNvPr id="329" name="Freeform 2792"/>
            <p:cNvSpPr>
              <a:spLocks/>
            </p:cNvSpPr>
            <p:nvPr/>
          </p:nvSpPr>
          <p:spPr bwMode="auto">
            <a:xfrm>
              <a:off x="2452" y="506"/>
              <a:ext cx="538" cy="1266"/>
            </a:xfrm>
            <a:custGeom>
              <a:avLst/>
              <a:gdLst/>
              <a:ahLst/>
              <a:cxnLst>
                <a:cxn ang="0">
                  <a:pos x="40" y="854"/>
                </a:cxn>
                <a:cxn ang="0">
                  <a:pos x="76" y="794"/>
                </a:cxn>
                <a:cxn ang="0">
                  <a:pos x="76" y="740"/>
                </a:cxn>
                <a:cxn ang="0">
                  <a:pos x="68" y="640"/>
                </a:cxn>
                <a:cxn ang="0">
                  <a:pos x="66" y="562"/>
                </a:cxn>
                <a:cxn ang="0">
                  <a:pos x="98" y="468"/>
                </a:cxn>
                <a:cxn ang="0">
                  <a:pos x="136" y="410"/>
                </a:cxn>
                <a:cxn ang="0">
                  <a:pos x="170" y="312"/>
                </a:cxn>
                <a:cxn ang="0">
                  <a:pos x="206" y="236"/>
                </a:cxn>
                <a:cxn ang="0">
                  <a:pos x="244" y="132"/>
                </a:cxn>
                <a:cxn ang="0">
                  <a:pos x="294" y="72"/>
                </a:cxn>
                <a:cxn ang="0">
                  <a:pos x="362" y="62"/>
                </a:cxn>
                <a:cxn ang="0">
                  <a:pos x="380" y="2"/>
                </a:cxn>
                <a:cxn ang="0">
                  <a:pos x="418" y="36"/>
                </a:cxn>
                <a:cxn ang="0">
                  <a:pos x="464" y="58"/>
                </a:cxn>
                <a:cxn ang="0">
                  <a:pos x="494" y="136"/>
                </a:cxn>
                <a:cxn ang="0">
                  <a:pos x="516" y="194"/>
                </a:cxn>
                <a:cxn ang="0">
                  <a:pos x="528" y="260"/>
                </a:cxn>
                <a:cxn ang="0">
                  <a:pos x="498" y="298"/>
                </a:cxn>
                <a:cxn ang="0">
                  <a:pos x="470" y="308"/>
                </a:cxn>
                <a:cxn ang="0">
                  <a:pos x="460" y="318"/>
                </a:cxn>
                <a:cxn ang="0">
                  <a:pos x="444" y="338"/>
                </a:cxn>
                <a:cxn ang="0">
                  <a:pos x="442" y="364"/>
                </a:cxn>
                <a:cxn ang="0">
                  <a:pos x="438" y="390"/>
                </a:cxn>
                <a:cxn ang="0">
                  <a:pos x="428" y="462"/>
                </a:cxn>
                <a:cxn ang="0">
                  <a:pos x="382" y="516"/>
                </a:cxn>
                <a:cxn ang="0">
                  <a:pos x="358" y="542"/>
                </a:cxn>
                <a:cxn ang="0">
                  <a:pos x="328" y="562"/>
                </a:cxn>
                <a:cxn ang="0">
                  <a:pos x="300" y="562"/>
                </a:cxn>
                <a:cxn ang="0">
                  <a:pos x="302" y="610"/>
                </a:cxn>
                <a:cxn ang="0">
                  <a:pos x="296" y="632"/>
                </a:cxn>
                <a:cxn ang="0">
                  <a:pos x="282" y="680"/>
                </a:cxn>
                <a:cxn ang="0">
                  <a:pos x="288" y="754"/>
                </a:cxn>
                <a:cxn ang="0">
                  <a:pos x="312" y="790"/>
                </a:cxn>
                <a:cxn ang="0">
                  <a:pos x="342" y="810"/>
                </a:cxn>
                <a:cxn ang="0">
                  <a:pos x="374" y="850"/>
                </a:cxn>
                <a:cxn ang="0">
                  <a:pos x="342" y="884"/>
                </a:cxn>
                <a:cxn ang="0">
                  <a:pos x="318" y="894"/>
                </a:cxn>
                <a:cxn ang="0">
                  <a:pos x="310" y="856"/>
                </a:cxn>
                <a:cxn ang="0">
                  <a:pos x="312" y="872"/>
                </a:cxn>
                <a:cxn ang="0">
                  <a:pos x="292" y="882"/>
                </a:cxn>
                <a:cxn ang="0">
                  <a:pos x="238" y="886"/>
                </a:cxn>
                <a:cxn ang="0">
                  <a:pos x="278" y="888"/>
                </a:cxn>
                <a:cxn ang="0">
                  <a:pos x="308" y="902"/>
                </a:cxn>
                <a:cxn ang="0">
                  <a:pos x="350" y="886"/>
                </a:cxn>
                <a:cxn ang="0">
                  <a:pos x="326" y="940"/>
                </a:cxn>
                <a:cxn ang="0">
                  <a:pos x="284" y="952"/>
                </a:cxn>
                <a:cxn ang="0">
                  <a:pos x="270" y="966"/>
                </a:cxn>
                <a:cxn ang="0">
                  <a:pos x="272" y="1014"/>
                </a:cxn>
                <a:cxn ang="0">
                  <a:pos x="266" y="1042"/>
                </a:cxn>
                <a:cxn ang="0">
                  <a:pos x="260" y="1096"/>
                </a:cxn>
                <a:cxn ang="0">
                  <a:pos x="242" y="1170"/>
                </a:cxn>
                <a:cxn ang="0">
                  <a:pos x="174" y="1204"/>
                </a:cxn>
                <a:cxn ang="0">
                  <a:pos x="152" y="1244"/>
                </a:cxn>
                <a:cxn ang="0">
                  <a:pos x="104" y="1264"/>
                </a:cxn>
                <a:cxn ang="0">
                  <a:pos x="76" y="1182"/>
                </a:cxn>
                <a:cxn ang="0">
                  <a:pos x="72" y="1146"/>
                </a:cxn>
                <a:cxn ang="0">
                  <a:pos x="38" y="1070"/>
                </a:cxn>
                <a:cxn ang="0">
                  <a:pos x="24" y="1030"/>
                </a:cxn>
                <a:cxn ang="0">
                  <a:pos x="4" y="972"/>
                </a:cxn>
                <a:cxn ang="0">
                  <a:pos x="8" y="918"/>
                </a:cxn>
              </a:cxnLst>
              <a:rect l="0" t="0" r="r" b="b"/>
              <a:pathLst>
                <a:path w="538" h="1266">
                  <a:moveTo>
                    <a:pt x="24" y="936"/>
                  </a:moveTo>
                  <a:lnTo>
                    <a:pt x="32" y="918"/>
                  </a:lnTo>
                  <a:lnTo>
                    <a:pt x="30" y="916"/>
                  </a:lnTo>
                  <a:lnTo>
                    <a:pt x="32" y="910"/>
                  </a:lnTo>
                  <a:lnTo>
                    <a:pt x="32" y="908"/>
                  </a:lnTo>
                  <a:lnTo>
                    <a:pt x="32" y="906"/>
                  </a:lnTo>
                  <a:lnTo>
                    <a:pt x="34" y="906"/>
                  </a:lnTo>
                  <a:lnTo>
                    <a:pt x="34" y="902"/>
                  </a:lnTo>
                  <a:lnTo>
                    <a:pt x="34" y="900"/>
                  </a:lnTo>
                  <a:lnTo>
                    <a:pt x="34" y="898"/>
                  </a:lnTo>
                  <a:lnTo>
                    <a:pt x="32" y="888"/>
                  </a:lnTo>
                  <a:lnTo>
                    <a:pt x="30" y="872"/>
                  </a:lnTo>
                  <a:lnTo>
                    <a:pt x="34" y="868"/>
                  </a:lnTo>
                  <a:lnTo>
                    <a:pt x="38" y="868"/>
                  </a:lnTo>
                  <a:lnTo>
                    <a:pt x="42" y="864"/>
                  </a:lnTo>
                  <a:lnTo>
                    <a:pt x="42" y="860"/>
                  </a:lnTo>
                  <a:lnTo>
                    <a:pt x="42" y="856"/>
                  </a:lnTo>
                  <a:lnTo>
                    <a:pt x="40" y="854"/>
                  </a:lnTo>
                  <a:lnTo>
                    <a:pt x="38" y="850"/>
                  </a:lnTo>
                  <a:lnTo>
                    <a:pt x="40" y="848"/>
                  </a:lnTo>
                  <a:lnTo>
                    <a:pt x="44" y="846"/>
                  </a:lnTo>
                  <a:lnTo>
                    <a:pt x="48" y="846"/>
                  </a:lnTo>
                  <a:lnTo>
                    <a:pt x="52" y="846"/>
                  </a:lnTo>
                  <a:lnTo>
                    <a:pt x="54" y="846"/>
                  </a:lnTo>
                  <a:lnTo>
                    <a:pt x="56" y="844"/>
                  </a:lnTo>
                  <a:lnTo>
                    <a:pt x="62" y="838"/>
                  </a:lnTo>
                  <a:lnTo>
                    <a:pt x="68" y="830"/>
                  </a:lnTo>
                  <a:lnTo>
                    <a:pt x="70" y="826"/>
                  </a:lnTo>
                  <a:lnTo>
                    <a:pt x="72" y="824"/>
                  </a:lnTo>
                  <a:lnTo>
                    <a:pt x="72" y="820"/>
                  </a:lnTo>
                  <a:lnTo>
                    <a:pt x="72" y="818"/>
                  </a:lnTo>
                  <a:lnTo>
                    <a:pt x="72" y="806"/>
                  </a:lnTo>
                  <a:lnTo>
                    <a:pt x="74" y="802"/>
                  </a:lnTo>
                  <a:lnTo>
                    <a:pt x="76" y="800"/>
                  </a:lnTo>
                  <a:lnTo>
                    <a:pt x="76" y="796"/>
                  </a:lnTo>
                  <a:lnTo>
                    <a:pt x="76" y="794"/>
                  </a:lnTo>
                  <a:lnTo>
                    <a:pt x="76" y="788"/>
                  </a:lnTo>
                  <a:lnTo>
                    <a:pt x="72" y="780"/>
                  </a:lnTo>
                  <a:lnTo>
                    <a:pt x="68" y="770"/>
                  </a:lnTo>
                  <a:lnTo>
                    <a:pt x="68" y="766"/>
                  </a:lnTo>
                  <a:lnTo>
                    <a:pt x="66" y="764"/>
                  </a:lnTo>
                  <a:lnTo>
                    <a:pt x="66" y="762"/>
                  </a:lnTo>
                  <a:lnTo>
                    <a:pt x="66" y="760"/>
                  </a:lnTo>
                  <a:lnTo>
                    <a:pt x="64" y="754"/>
                  </a:lnTo>
                  <a:lnTo>
                    <a:pt x="64" y="750"/>
                  </a:lnTo>
                  <a:lnTo>
                    <a:pt x="62" y="746"/>
                  </a:lnTo>
                  <a:lnTo>
                    <a:pt x="60" y="744"/>
                  </a:lnTo>
                  <a:lnTo>
                    <a:pt x="62" y="742"/>
                  </a:lnTo>
                  <a:lnTo>
                    <a:pt x="64" y="742"/>
                  </a:lnTo>
                  <a:lnTo>
                    <a:pt x="68" y="740"/>
                  </a:lnTo>
                  <a:lnTo>
                    <a:pt x="70" y="740"/>
                  </a:lnTo>
                  <a:lnTo>
                    <a:pt x="72" y="740"/>
                  </a:lnTo>
                  <a:lnTo>
                    <a:pt x="74" y="740"/>
                  </a:lnTo>
                  <a:lnTo>
                    <a:pt x="76" y="740"/>
                  </a:lnTo>
                  <a:lnTo>
                    <a:pt x="78" y="740"/>
                  </a:lnTo>
                  <a:lnTo>
                    <a:pt x="80" y="740"/>
                  </a:lnTo>
                  <a:lnTo>
                    <a:pt x="82" y="738"/>
                  </a:lnTo>
                  <a:lnTo>
                    <a:pt x="86" y="726"/>
                  </a:lnTo>
                  <a:lnTo>
                    <a:pt x="88" y="722"/>
                  </a:lnTo>
                  <a:lnTo>
                    <a:pt x="90" y="716"/>
                  </a:lnTo>
                  <a:lnTo>
                    <a:pt x="90" y="712"/>
                  </a:lnTo>
                  <a:lnTo>
                    <a:pt x="88" y="708"/>
                  </a:lnTo>
                  <a:lnTo>
                    <a:pt x="76" y="692"/>
                  </a:lnTo>
                  <a:lnTo>
                    <a:pt x="74" y="692"/>
                  </a:lnTo>
                  <a:lnTo>
                    <a:pt x="72" y="692"/>
                  </a:lnTo>
                  <a:lnTo>
                    <a:pt x="60" y="678"/>
                  </a:lnTo>
                  <a:lnTo>
                    <a:pt x="62" y="668"/>
                  </a:lnTo>
                  <a:lnTo>
                    <a:pt x="62" y="664"/>
                  </a:lnTo>
                  <a:lnTo>
                    <a:pt x="62" y="660"/>
                  </a:lnTo>
                  <a:lnTo>
                    <a:pt x="64" y="656"/>
                  </a:lnTo>
                  <a:lnTo>
                    <a:pt x="64" y="652"/>
                  </a:lnTo>
                  <a:lnTo>
                    <a:pt x="68" y="640"/>
                  </a:lnTo>
                  <a:lnTo>
                    <a:pt x="68" y="630"/>
                  </a:lnTo>
                  <a:lnTo>
                    <a:pt x="68" y="628"/>
                  </a:lnTo>
                  <a:lnTo>
                    <a:pt x="68" y="624"/>
                  </a:lnTo>
                  <a:lnTo>
                    <a:pt x="68" y="622"/>
                  </a:lnTo>
                  <a:lnTo>
                    <a:pt x="66" y="616"/>
                  </a:lnTo>
                  <a:lnTo>
                    <a:pt x="64" y="614"/>
                  </a:lnTo>
                  <a:lnTo>
                    <a:pt x="64" y="610"/>
                  </a:lnTo>
                  <a:lnTo>
                    <a:pt x="60" y="604"/>
                  </a:lnTo>
                  <a:lnTo>
                    <a:pt x="60" y="598"/>
                  </a:lnTo>
                  <a:lnTo>
                    <a:pt x="60" y="592"/>
                  </a:lnTo>
                  <a:lnTo>
                    <a:pt x="60" y="586"/>
                  </a:lnTo>
                  <a:lnTo>
                    <a:pt x="62" y="584"/>
                  </a:lnTo>
                  <a:lnTo>
                    <a:pt x="62" y="578"/>
                  </a:lnTo>
                  <a:lnTo>
                    <a:pt x="60" y="576"/>
                  </a:lnTo>
                  <a:lnTo>
                    <a:pt x="60" y="570"/>
                  </a:lnTo>
                  <a:lnTo>
                    <a:pt x="62" y="568"/>
                  </a:lnTo>
                  <a:lnTo>
                    <a:pt x="64" y="564"/>
                  </a:lnTo>
                  <a:lnTo>
                    <a:pt x="66" y="562"/>
                  </a:lnTo>
                  <a:lnTo>
                    <a:pt x="66" y="560"/>
                  </a:lnTo>
                  <a:lnTo>
                    <a:pt x="66" y="556"/>
                  </a:lnTo>
                  <a:lnTo>
                    <a:pt x="62" y="544"/>
                  </a:lnTo>
                  <a:lnTo>
                    <a:pt x="60" y="544"/>
                  </a:lnTo>
                  <a:lnTo>
                    <a:pt x="58" y="536"/>
                  </a:lnTo>
                  <a:lnTo>
                    <a:pt x="60" y="530"/>
                  </a:lnTo>
                  <a:lnTo>
                    <a:pt x="64" y="524"/>
                  </a:lnTo>
                  <a:lnTo>
                    <a:pt x="66" y="520"/>
                  </a:lnTo>
                  <a:lnTo>
                    <a:pt x="70" y="516"/>
                  </a:lnTo>
                  <a:lnTo>
                    <a:pt x="68" y="514"/>
                  </a:lnTo>
                  <a:lnTo>
                    <a:pt x="68" y="506"/>
                  </a:lnTo>
                  <a:lnTo>
                    <a:pt x="76" y="494"/>
                  </a:lnTo>
                  <a:lnTo>
                    <a:pt x="82" y="484"/>
                  </a:lnTo>
                  <a:lnTo>
                    <a:pt x="84" y="482"/>
                  </a:lnTo>
                  <a:lnTo>
                    <a:pt x="88" y="474"/>
                  </a:lnTo>
                  <a:lnTo>
                    <a:pt x="92" y="472"/>
                  </a:lnTo>
                  <a:lnTo>
                    <a:pt x="96" y="470"/>
                  </a:lnTo>
                  <a:lnTo>
                    <a:pt x="98" y="468"/>
                  </a:lnTo>
                  <a:lnTo>
                    <a:pt x="102" y="466"/>
                  </a:lnTo>
                  <a:lnTo>
                    <a:pt x="104" y="464"/>
                  </a:lnTo>
                  <a:lnTo>
                    <a:pt x="106" y="464"/>
                  </a:lnTo>
                  <a:lnTo>
                    <a:pt x="110" y="462"/>
                  </a:lnTo>
                  <a:lnTo>
                    <a:pt x="112" y="462"/>
                  </a:lnTo>
                  <a:lnTo>
                    <a:pt x="114" y="462"/>
                  </a:lnTo>
                  <a:lnTo>
                    <a:pt x="116" y="462"/>
                  </a:lnTo>
                  <a:lnTo>
                    <a:pt x="144" y="470"/>
                  </a:lnTo>
                  <a:lnTo>
                    <a:pt x="152" y="454"/>
                  </a:lnTo>
                  <a:lnTo>
                    <a:pt x="152" y="440"/>
                  </a:lnTo>
                  <a:lnTo>
                    <a:pt x="150" y="428"/>
                  </a:lnTo>
                  <a:lnTo>
                    <a:pt x="148" y="426"/>
                  </a:lnTo>
                  <a:lnTo>
                    <a:pt x="142" y="424"/>
                  </a:lnTo>
                  <a:lnTo>
                    <a:pt x="138" y="422"/>
                  </a:lnTo>
                  <a:lnTo>
                    <a:pt x="134" y="418"/>
                  </a:lnTo>
                  <a:lnTo>
                    <a:pt x="134" y="414"/>
                  </a:lnTo>
                  <a:lnTo>
                    <a:pt x="134" y="412"/>
                  </a:lnTo>
                  <a:lnTo>
                    <a:pt x="136" y="410"/>
                  </a:lnTo>
                  <a:lnTo>
                    <a:pt x="140" y="404"/>
                  </a:lnTo>
                  <a:lnTo>
                    <a:pt x="142" y="400"/>
                  </a:lnTo>
                  <a:lnTo>
                    <a:pt x="144" y="394"/>
                  </a:lnTo>
                  <a:lnTo>
                    <a:pt x="150" y="384"/>
                  </a:lnTo>
                  <a:lnTo>
                    <a:pt x="156" y="374"/>
                  </a:lnTo>
                  <a:lnTo>
                    <a:pt x="158" y="370"/>
                  </a:lnTo>
                  <a:lnTo>
                    <a:pt x="158" y="368"/>
                  </a:lnTo>
                  <a:lnTo>
                    <a:pt x="160" y="368"/>
                  </a:lnTo>
                  <a:lnTo>
                    <a:pt x="160" y="366"/>
                  </a:lnTo>
                  <a:lnTo>
                    <a:pt x="162" y="360"/>
                  </a:lnTo>
                  <a:lnTo>
                    <a:pt x="162" y="356"/>
                  </a:lnTo>
                  <a:lnTo>
                    <a:pt x="166" y="350"/>
                  </a:lnTo>
                  <a:lnTo>
                    <a:pt x="166" y="346"/>
                  </a:lnTo>
                  <a:lnTo>
                    <a:pt x="166" y="338"/>
                  </a:lnTo>
                  <a:lnTo>
                    <a:pt x="166" y="332"/>
                  </a:lnTo>
                  <a:lnTo>
                    <a:pt x="166" y="326"/>
                  </a:lnTo>
                  <a:lnTo>
                    <a:pt x="168" y="314"/>
                  </a:lnTo>
                  <a:lnTo>
                    <a:pt x="170" y="312"/>
                  </a:lnTo>
                  <a:lnTo>
                    <a:pt x="170" y="310"/>
                  </a:lnTo>
                  <a:lnTo>
                    <a:pt x="170" y="308"/>
                  </a:lnTo>
                  <a:lnTo>
                    <a:pt x="172" y="306"/>
                  </a:lnTo>
                  <a:lnTo>
                    <a:pt x="172" y="304"/>
                  </a:lnTo>
                  <a:lnTo>
                    <a:pt x="170" y="298"/>
                  </a:lnTo>
                  <a:lnTo>
                    <a:pt x="170" y="294"/>
                  </a:lnTo>
                  <a:lnTo>
                    <a:pt x="170" y="292"/>
                  </a:lnTo>
                  <a:lnTo>
                    <a:pt x="168" y="286"/>
                  </a:lnTo>
                  <a:lnTo>
                    <a:pt x="168" y="280"/>
                  </a:lnTo>
                  <a:lnTo>
                    <a:pt x="168" y="276"/>
                  </a:lnTo>
                  <a:lnTo>
                    <a:pt x="176" y="274"/>
                  </a:lnTo>
                  <a:lnTo>
                    <a:pt x="186" y="274"/>
                  </a:lnTo>
                  <a:lnTo>
                    <a:pt x="188" y="274"/>
                  </a:lnTo>
                  <a:lnTo>
                    <a:pt x="204" y="262"/>
                  </a:lnTo>
                  <a:lnTo>
                    <a:pt x="204" y="258"/>
                  </a:lnTo>
                  <a:lnTo>
                    <a:pt x="202" y="250"/>
                  </a:lnTo>
                  <a:lnTo>
                    <a:pt x="200" y="244"/>
                  </a:lnTo>
                  <a:lnTo>
                    <a:pt x="206" y="236"/>
                  </a:lnTo>
                  <a:lnTo>
                    <a:pt x="210" y="232"/>
                  </a:lnTo>
                  <a:lnTo>
                    <a:pt x="214" y="224"/>
                  </a:lnTo>
                  <a:lnTo>
                    <a:pt x="224" y="206"/>
                  </a:lnTo>
                  <a:lnTo>
                    <a:pt x="236" y="194"/>
                  </a:lnTo>
                  <a:lnTo>
                    <a:pt x="238" y="180"/>
                  </a:lnTo>
                  <a:lnTo>
                    <a:pt x="236" y="174"/>
                  </a:lnTo>
                  <a:lnTo>
                    <a:pt x="236" y="172"/>
                  </a:lnTo>
                  <a:lnTo>
                    <a:pt x="232" y="168"/>
                  </a:lnTo>
                  <a:lnTo>
                    <a:pt x="230" y="164"/>
                  </a:lnTo>
                  <a:lnTo>
                    <a:pt x="228" y="162"/>
                  </a:lnTo>
                  <a:lnTo>
                    <a:pt x="226" y="160"/>
                  </a:lnTo>
                  <a:lnTo>
                    <a:pt x="226" y="158"/>
                  </a:lnTo>
                  <a:lnTo>
                    <a:pt x="230" y="150"/>
                  </a:lnTo>
                  <a:lnTo>
                    <a:pt x="236" y="148"/>
                  </a:lnTo>
                  <a:lnTo>
                    <a:pt x="236" y="146"/>
                  </a:lnTo>
                  <a:lnTo>
                    <a:pt x="240" y="140"/>
                  </a:lnTo>
                  <a:lnTo>
                    <a:pt x="242" y="134"/>
                  </a:lnTo>
                  <a:lnTo>
                    <a:pt x="244" y="132"/>
                  </a:lnTo>
                  <a:lnTo>
                    <a:pt x="244" y="128"/>
                  </a:lnTo>
                  <a:lnTo>
                    <a:pt x="246" y="118"/>
                  </a:lnTo>
                  <a:lnTo>
                    <a:pt x="248" y="112"/>
                  </a:lnTo>
                  <a:lnTo>
                    <a:pt x="264" y="100"/>
                  </a:lnTo>
                  <a:lnTo>
                    <a:pt x="266" y="96"/>
                  </a:lnTo>
                  <a:lnTo>
                    <a:pt x="266" y="94"/>
                  </a:lnTo>
                  <a:lnTo>
                    <a:pt x="278" y="100"/>
                  </a:lnTo>
                  <a:lnTo>
                    <a:pt x="280" y="100"/>
                  </a:lnTo>
                  <a:lnTo>
                    <a:pt x="282" y="102"/>
                  </a:lnTo>
                  <a:lnTo>
                    <a:pt x="284" y="104"/>
                  </a:lnTo>
                  <a:lnTo>
                    <a:pt x="286" y="104"/>
                  </a:lnTo>
                  <a:lnTo>
                    <a:pt x="286" y="106"/>
                  </a:lnTo>
                  <a:lnTo>
                    <a:pt x="288" y="106"/>
                  </a:lnTo>
                  <a:lnTo>
                    <a:pt x="290" y="102"/>
                  </a:lnTo>
                  <a:lnTo>
                    <a:pt x="296" y="88"/>
                  </a:lnTo>
                  <a:lnTo>
                    <a:pt x="298" y="86"/>
                  </a:lnTo>
                  <a:lnTo>
                    <a:pt x="294" y="76"/>
                  </a:lnTo>
                  <a:lnTo>
                    <a:pt x="294" y="72"/>
                  </a:lnTo>
                  <a:lnTo>
                    <a:pt x="294" y="68"/>
                  </a:lnTo>
                  <a:lnTo>
                    <a:pt x="292" y="64"/>
                  </a:lnTo>
                  <a:lnTo>
                    <a:pt x="292" y="62"/>
                  </a:lnTo>
                  <a:lnTo>
                    <a:pt x="294" y="56"/>
                  </a:lnTo>
                  <a:lnTo>
                    <a:pt x="294" y="54"/>
                  </a:lnTo>
                  <a:lnTo>
                    <a:pt x="302" y="52"/>
                  </a:lnTo>
                  <a:lnTo>
                    <a:pt x="312" y="58"/>
                  </a:lnTo>
                  <a:lnTo>
                    <a:pt x="322" y="54"/>
                  </a:lnTo>
                  <a:lnTo>
                    <a:pt x="340" y="60"/>
                  </a:lnTo>
                  <a:lnTo>
                    <a:pt x="344" y="62"/>
                  </a:lnTo>
                  <a:lnTo>
                    <a:pt x="350" y="64"/>
                  </a:lnTo>
                  <a:lnTo>
                    <a:pt x="356" y="66"/>
                  </a:lnTo>
                  <a:lnTo>
                    <a:pt x="356" y="68"/>
                  </a:lnTo>
                  <a:lnTo>
                    <a:pt x="358" y="68"/>
                  </a:lnTo>
                  <a:lnTo>
                    <a:pt x="358" y="66"/>
                  </a:lnTo>
                  <a:lnTo>
                    <a:pt x="360" y="66"/>
                  </a:lnTo>
                  <a:lnTo>
                    <a:pt x="360" y="62"/>
                  </a:lnTo>
                  <a:lnTo>
                    <a:pt x="362" y="62"/>
                  </a:lnTo>
                  <a:lnTo>
                    <a:pt x="362" y="60"/>
                  </a:lnTo>
                  <a:lnTo>
                    <a:pt x="366" y="56"/>
                  </a:lnTo>
                  <a:lnTo>
                    <a:pt x="366" y="54"/>
                  </a:lnTo>
                  <a:lnTo>
                    <a:pt x="362" y="52"/>
                  </a:lnTo>
                  <a:lnTo>
                    <a:pt x="358" y="48"/>
                  </a:lnTo>
                  <a:lnTo>
                    <a:pt x="360" y="44"/>
                  </a:lnTo>
                  <a:lnTo>
                    <a:pt x="364" y="38"/>
                  </a:lnTo>
                  <a:lnTo>
                    <a:pt x="364" y="36"/>
                  </a:lnTo>
                  <a:lnTo>
                    <a:pt x="366" y="34"/>
                  </a:lnTo>
                  <a:lnTo>
                    <a:pt x="368" y="28"/>
                  </a:lnTo>
                  <a:lnTo>
                    <a:pt x="368" y="24"/>
                  </a:lnTo>
                  <a:lnTo>
                    <a:pt x="366" y="12"/>
                  </a:lnTo>
                  <a:lnTo>
                    <a:pt x="364" y="8"/>
                  </a:lnTo>
                  <a:lnTo>
                    <a:pt x="358" y="2"/>
                  </a:lnTo>
                  <a:lnTo>
                    <a:pt x="372" y="0"/>
                  </a:lnTo>
                  <a:lnTo>
                    <a:pt x="374" y="0"/>
                  </a:lnTo>
                  <a:lnTo>
                    <a:pt x="376" y="0"/>
                  </a:lnTo>
                  <a:lnTo>
                    <a:pt x="380" y="2"/>
                  </a:lnTo>
                  <a:lnTo>
                    <a:pt x="382" y="2"/>
                  </a:lnTo>
                  <a:lnTo>
                    <a:pt x="384" y="2"/>
                  </a:lnTo>
                  <a:lnTo>
                    <a:pt x="384" y="4"/>
                  </a:lnTo>
                  <a:lnTo>
                    <a:pt x="386" y="6"/>
                  </a:lnTo>
                  <a:lnTo>
                    <a:pt x="388" y="6"/>
                  </a:lnTo>
                  <a:lnTo>
                    <a:pt x="388" y="8"/>
                  </a:lnTo>
                  <a:lnTo>
                    <a:pt x="386" y="12"/>
                  </a:lnTo>
                  <a:lnTo>
                    <a:pt x="388" y="14"/>
                  </a:lnTo>
                  <a:lnTo>
                    <a:pt x="390" y="14"/>
                  </a:lnTo>
                  <a:lnTo>
                    <a:pt x="392" y="14"/>
                  </a:lnTo>
                  <a:lnTo>
                    <a:pt x="392" y="16"/>
                  </a:lnTo>
                  <a:lnTo>
                    <a:pt x="398" y="20"/>
                  </a:lnTo>
                  <a:lnTo>
                    <a:pt x="406" y="28"/>
                  </a:lnTo>
                  <a:lnTo>
                    <a:pt x="408" y="30"/>
                  </a:lnTo>
                  <a:lnTo>
                    <a:pt x="410" y="32"/>
                  </a:lnTo>
                  <a:lnTo>
                    <a:pt x="412" y="32"/>
                  </a:lnTo>
                  <a:lnTo>
                    <a:pt x="414" y="34"/>
                  </a:lnTo>
                  <a:lnTo>
                    <a:pt x="418" y="36"/>
                  </a:lnTo>
                  <a:lnTo>
                    <a:pt x="418" y="38"/>
                  </a:lnTo>
                  <a:lnTo>
                    <a:pt x="420" y="40"/>
                  </a:lnTo>
                  <a:lnTo>
                    <a:pt x="422" y="40"/>
                  </a:lnTo>
                  <a:lnTo>
                    <a:pt x="424" y="40"/>
                  </a:lnTo>
                  <a:lnTo>
                    <a:pt x="426" y="42"/>
                  </a:lnTo>
                  <a:lnTo>
                    <a:pt x="428" y="44"/>
                  </a:lnTo>
                  <a:lnTo>
                    <a:pt x="430" y="46"/>
                  </a:lnTo>
                  <a:lnTo>
                    <a:pt x="430" y="48"/>
                  </a:lnTo>
                  <a:lnTo>
                    <a:pt x="434" y="48"/>
                  </a:lnTo>
                  <a:lnTo>
                    <a:pt x="442" y="48"/>
                  </a:lnTo>
                  <a:lnTo>
                    <a:pt x="444" y="50"/>
                  </a:lnTo>
                  <a:lnTo>
                    <a:pt x="446" y="50"/>
                  </a:lnTo>
                  <a:lnTo>
                    <a:pt x="450" y="50"/>
                  </a:lnTo>
                  <a:lnTo>
                    <a:pt x="452" y="50"/>
                  </a:lnTo>
                  <a:lnTo>
                    <a:pt x="458" y="54"/>
                  </a:lnTo>
                  <a:lnTo>
                    <a:pt x="460" y="56"/>
                  </a:lnTo>
                  <a:lnTo>
                    <a:pt x="462" y="58"/>
                  </a:lnTo>
                  <a:lnTo>
                    <a:pt x="464" y="58"/>
                  </a:lnTo>
                  <a:lnTo>
                    <a:pt x="466" y="62"/>
                  </a:lnTo>
                  <a:lnTo>
                    <a:pt x="480" y="80"/>
                  </a:lnTo>
                  <a:lnTo>
                    <a:pt x="482" y="82"/>
                  </a:lnTo>
                  <a:lnTo>
                    <a:pt x="488" y="86"/>
                  </a:lnTo>
                  <a:lnTo>
                    <a:pt x="492" y="90"/>
                  </a:lnTo>
                  <a:lnTo>
                    <a:pt x="492" y="92"/>
                  </a:lnTo>
                  <a:lnTo>
                    <a:pt x="492" y="96"/>
                  </a:lnTo>
                  <a:lnTo>
                    <a:pt x="488" y="96"/>
                  </a:lnTo>
                  <a:lnTo>
                    <a:pt x="488" y="98"/>
                  </a:lnTo>
                  <a:lnTo>
                    <a:pt x="488" y="102"/>
                  </a:lnTo>
                  <a:lnTo>
                    <a:pt x="490" y="112"/>
                  </a:lnTo>
                  <a:lnTo>
                    <a:pt x="490" y="116"/>
                  </a:lnTo>
                  <a:lnTo>
                    <a:pt x="490" y="126"/>
                  </a:lnTo>
                  <a:lnTo>
                    <a:pt x="490" y="134"/>
                  </a:lnTo>
                  <a:lnTo>
                    <a:pt x="492" y="136"/>
                  </a:lnTo>
                  <a:lnTo>
                    <a:pt x="492" y="138"/>
                  </a:lnTo>
                  <a:lnTo>
                    <a:pt x="494" y="138"/>
                  </a:lnTo>
                  <a:lnTo>
                    <a:pt x="494" y="136"/>
                  </a:lnTo>
                  <a:lnTo>
                    <a:pt x="496" y="136"/>
                  </a:lnTo>
                  <a:lnTo>
                    <a:pt x="502" y="138"/>
                  </a:lnTo>
                  <a:lnTo>
                    <a:pt x="504" y="146"/>
                  </a:lnTo>
                  <a:lnTo>
                    <a:pt x="504" y="150"/>
                  </a:lnTo>
                  <a:lnTo>
                    <a:pt x="502" y="150"/>
                  </a:lnTo>
                  <a:lnTo>
                    <a:pt x="502" y="152"/>
                  </a:lnTo>
                  <a:lnTo>
                    <a:pt x="500" y="152"/>
                  </a:lnTo>
                  <a:lnTo>
                    <a:pt x="500" y="154"/>
                  </a:lnTo>
                  <a:lnTo>
                    <a:pt x="498" y="154"/>
                  </a:lnTo>
                  <a:lnTo>
                    <a:pt x="500" y="162"/>
                  </a:lnTo>
                  <a:lnTo>
                    <a:pt x="504" y="172"/>
                  </a:lnTo>
                  <a:lnTo>
                    <a:pt x="506" y="176"/>
                  </a:lnTo>
                  <a:lnTo>
                    <a:pt x="508" y="176"/>
                  </a:lnTo>
                  <a:lnTo>
                    <a:pt x="508" y="178"/>
                  </a:lnTo>
                  <a:lnTo>
                    <a:pt x="512" y="182"/>
                  </a:lnTo>
                  <a:lnTo>
                    <a:pt x="516" y="186"/>
                  </a:lnTo>
                  <a:lnTo>
                    <a:pt x="520" y="194"/>
                  </a:lnTo>
                  <a:lnTo>
                    <a:pt x="516" y="194"/>
                  </a:lnTo>
                  <a:lnTo>
                    <a:pt x="516" y="198"/>
                  </a:lnTo>
                  <a:lnTo>
                    <a:pt x="516" y="202"/>
                  </a:lnTo>
                  <a:lnTo>
                    <a:pt x="516" y="204"/>
                  </a:lnTo>
                  <a:lnTo>
                    <a:pt x="518" y="214"/>
                  </a:lnTo>
                  <a:lnTo>
                    <a:pt x="518" y="216"/>
                  </a:lnTo>
                  <a:lnTo>
                    <a:pt x="516" y="218"/>
                  </a:lnTo>
                  <a:lnTo>
                    <a:pt x="512" y="222"/>
                  </a:lnTo>
                  <a:lnTo>
                    <a:pt x="510" y="226"/>
                  </a:lnTo>
                  <a:lnTo>
                    <a:pt x="510" y="228"/>
                  </a:lnTo>
                  <a:lnTo>
                    <a:pt x="512" y="240"/>
                  </a:lnTo>
                  <a:lnTo>
                    <a:pt x="514" y="244"/>
                  </a:lnTo>
                  <a:lnTo>
                    <a:pt x="516" y="250"/>
                  </a:lnTo>
                  <a:lnTo>
                    <a:pt x="518" y="250"/>
                  </a:lnTo>
                  <a:lnTo>
                    <a:pt x="520" y="252"/>
                  </a:lnTo>
                  <a:lnTo>
                    <a:pt x="522" y="252"/>
                  </a:lnTo>
                  <a:lnTo>
                    <a:pt x="524" y="254"/>
                  </a:lnTo>
                  <a:lnTo>
                    <a:pt x="526" y="256"/>
                  </a:lnTo>
                  <a:lnTo>
                    <a:pt x="528" y="260"/>
                  </a:lnTo>
                  <a:lnTo>
                    <a:pt x="530" y="264"/>
                  </a:lnTo>
                  <a:lnTo>
                    <a:pt x="538" y="280"/>
                  </a:lnTo>
                  <a:lnTo>
                    <a:pt x="538" y="282"/>
                  </a:lnTo>
                  <a:lnTo>
                    <a:pt x="536" y="284"/>
                  </a:lnTo>
                  <a:lnTo>
                    <a:pt x="534" y="284"/>
                  </a:lnTo>
                  <a:lnTo>
                    <a:pt x="532" y="284"/>
                  </a:lnTo>
                  <a:lnTo>
                    <a:pt x="532" y="286"/>
                  </a:lnTo>
                  <a:lnTo>
                    <a:pt x="530" y="286"/>
                  </a:lnTo>
                  <a:lnTo>
                    <a:pt x="530" y="288"/>
                  </a:lnTo>
                  <a:lnTo>
                    <a:pt x="524" y="286"/>
                  </a:lnTo>
                  <a:lnTo>
                    <a:pt x="518" y="286"/>
                  </a:lnTo>
                  <a:lnTo>
                    <a:pt x="514" y="286"/>
                  </a:lnTo>
                  <a:lnTo>
                    <a:pt x="510" y="290"/>
                  </a:lnTo>
                  <a:lnTo>
                    <a:pt x="508" y="290"/>
                  </a:lnTo>
                  <a:lnTo>
                    <a:pt x="504" y="288"/>
                  </a:lnTo>
                  <a:lnTo>
                    <a:pt x="504" y="292"/>
                  </a:lnTo>
                  <a:lnTo>
                    <a:pt x="500" y="296"/>
                  </a:lnTo>
                  <a:lnTo>
                    <a:pt x="498" y="298"/>
                  </a:lnTo>
                  <a:lnTo>
                    <a:pt x="494" y="294"/>
                  </a:lnTo>
                  <a:lnTo>
                    <a:pt x="486" y="288"/>
                  </a:lnTo>
                  <a:lnTo>
                    <a:pt x="484" y="284"/>
                  </a:lnTo>
                  <a:lnTo>
                    <a:pt x="482" y="282"/>
                  </a:lnTo>
                  <a:lnTo>
                    <a:pt x="480" y="282"/>
                  </a:lnTo>
                  <a:lnTo>
                    <a:pt x="480" y="284"/>
                  </a:lnTo>
                  <a:lnTo>
                    <a:pt x="482" y="290"/>
                  </a:lnTo>
                  <a:lnTo>
                    <a:pt x="482" y="294"/>
                  </a:lnTo>
                  <a:lnTo>
                    <a:pt x="480" y="294"/>
                  </a:lnTo>
                  <a:lnTo>
                    <a:pt x="478" y="290"/>
                  </a:lnTo>
                  <a:lnTo>
                    <a:pt x="474" y="286"/>
                  </a:lnTo>
                  <a:lnTo>
                    <a:pt x="472" y="286"/>
                  </a:lnTo>
                  <a:lnTo>
                    <a:pt x="468" y="286"/>
                  </a:lnTo>
                  <a:lnTo>
                    <a:pt x="468" y="290"/>
                  </a:lnTo>
                  <a:lnTo>
                    <a:pt x="466" y="302"/>
                  </a:lnTo>
                  <a:lnTo>
                    <a:pt x="466" y="308"/>
                  </a:lnTo>
                  <a:lnTo>
                    <a:pt x="468" y="308"/>
                  </a:lnTo>
                  <a:lnTo>
                    <a:pt x="470" y="308"/>
                  </a:lnTo>
                  <a:lnTo>
                    <a:pt x="468" y="304"/>
                  </a:lnTo>
                  <a:lnTo>
                    <a:pt x="470" y="304"/>
                  </a:lnTo>
                  <a:lnTo>
                    <a:pt x="472" y="306"/>
                  </a:lnTo>
                  <a:lnTo>
                    <a:pt x="474" y="314"/>
                  </a:lnTo>
                  <a:lnTo>
                    <a:pt x="474" y="316"/>
                  </a:lnTo>
                  <a:lnTo>
                    <a:pt x="472" y="314"/>
                  </a:lnTo>
                  <a:lnTo>
                    <a:pt x="466" y="312"/>
                  </a:lnTo>
                  <a:lnTo>
                    <a:pt x="460" y="310"/>
                  </a:lnTo>
                  <a:lnTo>
                    <a:pt x="450" y="306"/>
                  </a:lnTo>
                  <a:lnTo>
                    <a:pt x="450" y="302"/>
                  </a:lnTo>
                  <a:lnTo>
                    <a:pt x="446" y="302"/>
                  </a:lnTo>
                  <a:lnTo>
                    <a:pt x="450" y="306"/>
                  </a:lnTo>
                  <a:lnTo>
                    <a:pt x="458" y="312"/>
                  </a:lnTo>
                  <a:lnTo>
                    <a:pt x="460" y="312"/>
                  </a:lnTo>
                  <a:lnTo>
                    <a:pt x="462" y="312"/>
                  </a:lnTo>
                  <a:lnTo>
                    <a:pt x="466" y="316"/>
                  </a:lnTo>
                  <a:lnTo>
                    <a:pt x="464" y="316"/>
                  </a:lnTo>
                  <a:lnTo>
                    <a:pt x="460" y="318"/>
                  </a:lnTo>
                  <a:lnTo>
                    <a:pt x="458" y="318"/>
                  </a:lnTo>
                  <a:lnTo>
                    <a:pt x="454" y="318"/>
                  </a:lnTo>
                  <a:lnTo>
                    <a:pt x="452" y="318"/>
                  </a:lnTo>
                  <a:lnTo>
                    <a:pt x="454" y="322"/>
                  </a:lnTo>
                  <a:lnTo>
                    <a:pt x="456" y="322"/>
                  </a:lnTo>
                  <a:lnTo>
                    <a:pt x="454" y="320"/>
                  </a:lnTo>
                  <a:lnTo>
                    <a:pt x="458" y="322"/>
                  </a:lnTo>
                  <a:lnTo>
                    <a:pt x="460" y="324"/>
                  </a:lnTo>
                  <a:lnTo>
                    <a:pt x="460" y="326"/>
                  </a:lnTo>
                  <a:lnTo>
                    <a:pt x="456" y="330"/>
                  </a:lnTo>
                  <a:lnTo>
                    <a:pt x="446" y="332"/>
                  </a:lnTo>
                  <a:lnTo>
                    <a:pt x="446" y="330"/>
                  </a:lnTo>
                  <a:lnTo>
                    <a:pt x="444" y="330"/>
                  </a:lnTo>
                  <a:lnTo>
                    <a:pt x="442" y="330"/>
                  </a:lnTo>
                  <a:lnTo>
                    <a:pt x="438" y="332"/>
                  </a:lnTo>
                  <a:lnTo>
                    <a:pt x="440" y="336"/>
                  </a:lnTo>
                  <a:lnTo>
                    <a:pt x="442" y="338"/>
                  </a:lnTo>
                  <a:lnTo>
                    <a:pt x="444" y="338"/>
                  </a:lnTo>
                  <a:lnTo>
                    <a:pt x="446" y="338"/>
                  </a:lnTo>
                  <a:lnTo>
                    <a:pt x="448" y="342"/>
                  </a:lnTo>
                  <a:lnTo>
                    <a:pt x="448" y="344"/>
                  </a:lnTo>
                  <a:lnTo>
                    <a:pt x="444" y="346"/>
                  </a:lnTo>
                  <a:lnTo>
                    <a:pt x="442" y="344"/>
                  </a:lnTo>
                  <a:lnTo>
                    <a:pt x="440" y="342"/>
                  </a:lnTo>
                  <a:lnTo>
                    <a:pt x="440" y="340"/>
                  </a:lnTo>
                  <a:lnTo>
                    <a:pt x="434" y="334"/>
                  </a:lnTo>
                  <a:lnTo>
                    <a:pt x="430" y="338"/>
                  </a:lnTo>
                  <a:lnTo>
                    <a:pt x="434" y="338"/>
                  </a:lnTo>
                  <a:lnTo>
                    <a:pt x="438" y="340"/>
                  </a:lnTo>
                  <a:lnTo>
                    <a:pt x="442" y="346"/>
                  </a:lnTo>
                  <a:lnTo>
                    <a:pt x="444" y="348"/>
                  </a:lnTo>
                  <a:lnTo>
                    <a:pt x="446" y="354"/>
                  </a:lnTo>
                  <a:lnTo>
                    <a:pt x="446" y="362"/>
                  </a:lnTo>
                  <a:lnTo>
                    <a:pt x="444" y="362"/>
                  </a:lnTo>
                  <a:lnTo>
                    <a:pt x="442" y="362"/>
                  </a:lnTo>
                  <a:lnTo>
                    <a:pt x="442" y="364"/>
                  </a:lnTo>
                  <a:lnTo>
                    <a:pt x="442" y="368"/>
                  </a:lnTo>
                  <a:lnTo>
                    <a:pt x="438" y="370"/>
                  </a:lnTo>
                  <a:lnTo>
                    <a:pt x="436" y="372"/>
                  </a:lnTo>
                  <a:lnTo>
                    <a:pt x="434" y="374"/>
                  </a:lnTo>
                  <a:lnTo>
                    <a:pt x="432" y="380"/>
                  </a:lnTo>
                  <a:lnTo>
                    <a:pt x="434" y="382"/>
                  </a:lnTo>
                  <a:lnTo>
                    <a:pt x="432" y="384"/>
                  </a:lnTo>
                  <a:lnTo>
                    <a:pt x="430" y="386"/>
                  </a:lnTo>
                  <a:lnTo>
                    <a:pt x="430" y="384"/>
                  </a:lnTo>
                  <a:lnTo>
                    <a:pt x="428" y="382"/>
                  </a:lnTo>
                  <a:lnTo>
                    <a:pt x="426" y="384"/>
                  </a:lnTo>
                  <a:lnTo>
                    <a:pt x="426" y="386"/>
                  </a:lnTo>
                  <a:lnTo>
                    <a:pt x="430" y="388"/>
                  </a:lnTo>
                  <a:lnTo>
                    <a:pt x="430" y="390"/>
                  </a:lnTo>
                  <a:lnTo>
                    <a:pt x="432" y="390"/>
                  </a:lnTo>
                  <a:lnTo>
                    <a:pt x="434" y="388"/>
                  </a:lnTo>
                  <a:lnTo>
                    <a:pt x="436" y="388"/>
                  </a:lnTo>
                  <a:lnTo>
                    <a:pt x="438" y="390"/>
                  </a:lnTo>
                  <a:lnTo>
                    <a:pt x="438" y="400"/>
                  </a:lnTo>
                  <a:lnTo>
                    <a:pt x="436" y="398"/>
                  </a:lnTo>
                  <a:lnTo>
                    <a:pt x="432" y="394"/>
                  </a:lnTo>
                  <a:lnTo>
                    <a:pt x="430" y="394"/>
                  </a:lnTo>
                  <a:lnTo>
                    <a:pt x="430" y="398"/>
                  </a:lnTo>
                  <a:lnTo>
                    <a:pt x="438" y="404"/>
                  </a:lnTo>
                  <a:lnTo>
                    <a:pt x="442" y="404"/>
                  </a:lnTo>
                  <a:lnTo>
                    <a:pt x="446" y="406"/>
                  </a:lnTo>
                  <a:lnTo>
                    <a:pt x="450" y="410"/>
                  </a:lnTo>
                  <a:lnTo>
                    <a:pt x="452" y="418"/>
                  </a:lnTo>
                  <a:lnTo>
                    <a:pt x="448" y="426"/>
                  </a:lnTo>
                  <a:lnTo>
                    <a:pt x="446" y="430"/>
                  </a:lnTo>
                  <a:lnTo>
                    <a:pt x="442" y="432"/>
                  </a:lnTo>
                  <a:lnTo>
                    <a:pt x="440" y="434"/>
                  </a:lnTo>
                  <a:lnTo>
                    <a:pt x="440" y="432"/>
                  </a:lnTo>
                  <a:lnTo>
                    <a:pt x="430" y="448"/>
                  </a:lnTo>
                  <a:lnTo>
                    <a:pt x="428" y="458"/>
                  </a:lnTo>
                  <a:lnTo>
                    <a:pt x="428" y="462"/>
                  </a:lnTo>
                  <a:lnTo>
                    <a:pt x="424" y="472"/>
                  </a:lnTo>
                  <a:lnTo>
                    <a:pt x="424" y="474"/>
                  </a:lnTo>
                  <a:lnTo>
                    <a:pt x="422" y="476"/>
                  </a:lnTo>
                  <a:lnTo>
                    <a:pt x="418" y="480"/>
                  </a:lnTo>
                  <a:lnTo>
                    <a:pt x="414" y="482"/>
                  </a:lnTo>
                  <a:lnTo>
                    <a:pt x="414" y="478"/>
                  </a:lnTo>
                  <a:lnTo>
                    <a:pt x="412" y="486"/>
                  </a:lnTo>
                  <a:lnTo>
                    <a:pt x="410" y="492"/>
                  </a:lnTo>
                  <a:lnTo>
                    <a:pt x="406" y="494"/>
                  </a:lnTo>
                  <a:lnTo>
                    <a:pt x="406" y="496"/>
                  </a:lnTo>
                  <a:lnTo>
                    <a:pt x="404" y="494"/>
                  </a:lnTo>
                  <a:lnTo>
                    <a:pt x="398" y="496"/>
                  </a:lnTo>
                  <a:lnTo>
                    <a:pt x="394" y="498"/>
                  </a:lnTo>
                  <a:lnTo>
                    <a:pt x="390" y="500"/>
                  </a:lnTo>
                  <a:lnTo>
                    <a:pt x="384" y="508"/>
                  </a:lnTo>
                  <a:lnTo>
                    <a:pt x="384" y="510"/>
                  </a:lnTo>
                  <a:lnTo>
                    <a:pt x="386" y="514"/>
                  </a:lnTo>
                  <a:lnTo>
                    <a:pt x="382" y="516"/>
                  </a:lnTo>
                  <a:lnTo>
                    <a:pt x="382" y="518"/>
                  </a:lnTo>
                  <a:lnTo>
                    <a:pt x="380" y="516"/>
                  </a:lnTo>
                  <a:lnTo>
                    <a:pt x="380" y="514"/>
                  </a:lnTo>
                  <a:lnTo>
                    <a:pt x="378" y="512"/>
                  </a:lnTo>
                  <a:lnTo>
                    <a:pt x="374" y="508"/>
                  </a:lnTo>
                  <a:lnTo>
                    <a:pt x="372" y="506"/>
                  </a:lnTo>
                  <a:lnTo>
                    <a:pt x="370" y="508"/>
                  </a:lnTo>
                  <a:lnTo>
                    <a:pt x="372" y="516"/>
                  </a:lnTo>
                  <a:lnTo>
                    <a:pt x="368" y="518"/>
                  </a:lnTo>
                  <a:lnTo>
                    <a:pt x="366" y="516"/>
                  </a:lnTo>
                  <a:lnTo>
                    <a:pt x="364" y="520"/>
                  </a:lnTo>
                  <a:lnTo>
                    <a:pt x="364" y="528"/>
                  </a:lnTo>
                  <a:lnTo>
                    <a:pt x="360" y="530"/>
                  </a:lnTo>
                  <a:lnTo>
                    <a:pt x="356" y="536"/>
                  </a:lnTo>
                  <a:lnTo>
                    <a:pt x="356" y="538"/>
                  </a:lnTo>
                  <a:lnTo>
                    <a:pt x="358" y="538"/>
                  </a:lnTo>
                  <a:lnTo>
                    <a:pt x="360" y="538"/>
                  </a:lnTo>
                  <a:lnTo>
                    <a:pt x="358" y="542"/>
                  </a:lnTo>
                  <a:lnTo>
                    <a:pt x="356" y="542"/>
                  </a:lnTo>
                  <a:lnTo>
                    <a:pt x="352" y="538"/>
                  </a:lnTo>
                  <a:lnTo>
                    <a:pt x="350" y="534"/>
                  </a:lnTo>
                  <a:lnTo>
                    <a:pt x="346" y="536"/>
                  </a:lnTo>
                  <a:lnTo>
                    <a:pt x="348" y="538"/>
                  </a:lnTo>
                  <a:lnTo>
                    <a:pt x="350" y="538"/>
                  </a:lnTo>
                  <a:lnTo>
                    <a:pt x="352" y="540"/>
                  </a:lnTo>
                  <a:lnTo>
                    <a:pt x="350" y="540"/>
                  </a:lnTo>
                  <a:lnTo>
                    <a:pt x="346" y="544"/>
                  </a:lnTo>
                  <a:lnTo>
                    <a:pt x="344" y="542"/>
                  </a:lnTo>
                  <a:lnTo>
                    <a:pt x="346" y="540"/>
                  </a:lnTo>
                  <a:lnTo>
                    <a:pt x="344" y="540"/>
                  </a:lnTo>
                  <a:lnTo>
                    <a:pt x="344" y="544"/>
                  </a:lnTo>
                  <a:lnTo>
                    <a:pt x="340" y="546"/>
                  </a:lnTo>
                  <a:lnTo>
                    <a:pt x="336" y="548"/>
                  </a:lnTo>
                  <a:lnTo>
                    <a:pt x="330" y="556"/>
                  </a:lnTo>
                  <a:lnTo>
                    <a:pt x="326" y="560"/>
                  </a:lnTo>
                  <a:lnTo>
                    <a:pt x="328" y="562"/>
                  </a:lnTo>
                  <a:lnTo>
                    <a:pt x="328" y="560"/>
                  </a:lnTo>
                  <a:lnTo>
                    <a:pt x="330" y="560"/>
                  </a:lnTo>
                  <a:lnTo>
                    <a:pt x="336" y="562"/>
                  </a:lnTo>
                  <a:lnTo>
                    <a:pt x="338" y="562"/>
                  </a:lnTo>
                  <a:lnTo>
                    <a:pt x="334" y="572"/>
                  </a:lnTo>
                  <a:lnTo>
                    <a:pt x="322" y="580"/>
                  </a:lnTo>
                  <a:lnTo>
                    <a:pt x="320" y="582"/>
                  </a:lnTo>
                  <a:lnTo>
                    <a:pt x="318" y="580"/>
                  </a:lnTo>
                  <a:lnTo>
                    <a:pt x="318" y="578"/>
                  </a:lnTo>
                  <a:lnTo>
                    <a:pt x="320" y="578"/>
                  </a:lnTo>
                  <a:lnTo>
                    <a:pt x="318" y="576"/>
                  </a:lnTo>
                  <a:lnTo>
                    <a:pt x="316" y="576"/>
                  </a:lnTo>
                  <a:lnTo>
                    <a:pt x="314" y="578"/>
                  </a:lnTo>
                  <a:lnTo>
                    <a:pt x="310" y="574"/>
                  </a:lnTo>
                  <a:lnTo>
                    <a:pt x="308" y="568"/>
                  </a:lnTo>
                  <a:lnTo>
                    <a:pt x="306" y="564"/>
                  </a:lnTo>
                  <a:lnTo>
                    <a:pt x="306" y="562"/>
                  </a:lnTo>
                  <a:lnTo>
                    <a:pt x="300" y="562"/>
                  </a:lnTo>
                  <a:lnTo>
                    <a:pt x="302" y="564"/>
                  </a:lnTo>
                  <a:lnTo>
                    <a:pt x="304" y="566"/>
                  </a:lnTo>
                  <a:lnTo>
                    <a:pt x="306" y="566"/>
                  </a:lnTo>
                  <a:lnTo>
                    <a:pt x="308" y="572"/>
                  </a:lnTo>
                  <a:lnTo>
                    <a:pt x="314" y="586"/>
                  </a:lnTo>
                  <a:lnTo>
                    <a:pt x="314" y="588"/>
                  </a:lnTo>
                  <a:lnTo>
                    <a:pt x="314" y="592"/>
                  </a:lnTo>
                  <a:lnTo>
                    <a:pt x="312" y="590"/>
                  </a:lnTo>
                  <a:lnTo>
                    <a:pt x="310" y="592"/>
                  </a:lnTo>
                  <a:lnTo>
                    <a:pt x="314" y="594"/>
                  </a:lnTo>
                  <a:lnTo>
                    <a:pt x="316" y="594"/>
                  </a:lnTo>
                  <a:lnTo>
                    <a:pt x="318" y="598"/>
                  </a:lnTo>
                  <a:lnTo>
                    <a:pt x="314" y="602"/>
                  </a:lnTo>
                  <a:lnTo>
                    <a:pt x="308" y="608"/>
                  </a:lnTo>
                  <a:lnTo>
                    <a:pt x="306" y="606"/>
                  </a:lnTo>
                  <a:lnTo>
                    <a:pt x="304" y="606"/>
                  </a:lnTo>
                  <a:lnTo>
                    <a:pt x="302" y="608"/>
                  </a:lnTo>
                  <a:lnTo>
                    <a:pt x="302" y="610"/>
                  </a:lnTo>
                  <a:lnTo>
                    <a:pt x="302" y="612"/>
                  </a:lnTo>
                  <a:lnTo>
                    <a:pt x="298" y="614"/>
                  </a:lnTo>
                  <a:lnTo>
                    <a:pt x="296" y="612"/>
                  </a:lnTo>
                  <a:lnTo>
                    <a:pt x="294" y="608"/>
                  </a:lnTo>
                  <a:lnTo>
                    <a:pt x="294" y="606"/>
                  </a:lnTo>
                  <a:lnTo>
                    <a:pt x="290" y="604"/>
                  </a:lnTo>
                  <a:lnTo>
                    <a:pt x="286" y="608"/>
                  </a:lnTo>
                  <a:lnTo>
                    <a:pt x="288" y="620"/>
                  </a:lnTo>
                  <a:lnTo>
                    <a:pt x="290" y="622"/>
                  </a:lnTo>
                  <a:lnTo>
                    <a:pt x="294" y="628"/>
                  </a:lnTo>
                  <a:lnTo>
                    <a:pt x="294" y="630"/>
                  </a:lnTo>
                  <a:lnTo>
                    <a:pt x="298" y="630"/>
                  </a:lnTo>
                  <a:lnTo>
                    <a:pt x="300" y="632"/>
                  </a:lnTo>
                  <a:lnTo>
                    <a:pt x="302" y="632"/>
                  </a:lnTo>
                  <a:lnTo>
                    <a:pt x="300" y="634"/>
                  </a:lnTo>
                  <a:lnTo>
                    <a:pt x="298" y="634"/>
                  </a:lnTo>
                  <a:lnTo>
                    <a:pt x="298" y="632"/>
                  </a:lnTo>
                  <a:lnTo>
                    <a:pt x="296" y="632"/>
                  </a:lnTo>
                  <a:lnTo>
                    <a:pt x="296" y="634"/>
                  </a:lnTo>
                  <a:lnTo>
                    <a:pt x="294" y="642"/>
                  </a:lnTo>
                  <a:lnTo>
                    <a:pt x="294" y="652"/>
                  </a:lnTo>
                  <a:lnTo>
                    <a:pt x="294" y="654"/>
                  </a:lnTo>
                  <a:lnTo>
                    <a:pt x="292" y="654"/>
                  </a:lnTo>
                  <a:lnTo>
                    <a:pt x="290" y="658"/>
                  </a:lnTo>
                  <a:lnTo>
                    <a:pt x="290" y="670"/>
                  </a:lnTo>
                  <a:lnTo>
                    <a:pt x="292" y="676"/>
                  </a:lnTo>
                  <a:lnTo>
                    <a:pt x="294" y="678"/>
                  </a:lnTo>
                  <a:lnTo>
                    <a:pt x="296" y="678"/>
                  </a:lnTo>
                  <a:lnTo>
                    <a:pt x="298" y="680"/>
                  </a:lnTo>
                  <a:lnTo>
                    <a:pt x="296" y="686"/>
                  </a:lnTo>
                  <a:lnTo>
                    <a:pt x="294" y="688"/>
                  </a:lnTo>
                  <a:lnTo>
                    <a:pt x="294" y="686"/>
                  </a:lnTo>
                  <a:lnTo>
                    <a:pt x="292" y="682"/>
                  </a:lnTo>
                  <a:lnTo>
                    <a:pt x="290" y="680"/>
                  </a:lnTo>
                  <a:lnTo>
                    <a:pt x="284" y="680"/>
                  </a:lnTo>
                  <a:lnTo>
                    <a:pt x="282" y="680"/>
                  </a:lnTo>
                  <a:lnTo>
                    <a:pt x="284" y="680"/>
                  </a:lnTo>
                  <a:lnTo>
                    <a:pt x="286" y="682"/>
                  </a:lnTo>
                  <a:lnTo>
                    <a:pt x="282" y="688"/>
                  </a:lnTo>
                  <a:lnTo>
                    <a:pt x="282" y="686"/>
                  </a:lnTo>
                  <a:lnTo>
                    <a:pt x="280" y="690"/>
                  </a:lnTo>
                  <a:lnTo>
                    <a:pt x="280" y="694"/>
                  </a:lnTo>
                  <a:lnTo>
                    <a:pt x="282" y="698"/>
                  </a:lnTo>
                  <a:lnTo>
                    <a:pt x="286" y="706"/>
                  </a:lnTo>
                  <a:lnTo>
                    <a:pt x="282" y="706"/>
                  </a:lnTo>
                  <a:lnTo>
                    <a:pt x="280" y="710"/>
                  </a:lnTo>
                  <a:lnTo>
                    <a:pt x="282" y="712"/>
                  </a:lnTo>
                  <a:lnTo>
                    <a:pt x="286" y="716"/>
                  </a:lnTo>
                  <a:lnTo>
                    <a:pt x="286" y="720"/>
                  </a:lnTo>
                  <a:lnTo>
                    <a:pt x="284" y="728"/>
                  </a:lnTo>
                  <a:lnTo>
                    <a:pt x="284" y="742"/>
                  </a:lnTo>
                  <a:lnTo>
                    <a:pt x="284" y="750"/>
                  </a:lnTo>
                  <a:lnTo>
                    <a:pt x="286" y="754"/>
                  </a:lnTo>
                  <a:lnTo>
                    <a:pt x="288" y="754"/>
                  </a:lnTo>
                  <a:lnTo>
                    <a:pt x="290" y="760"/>
                  </a:lnTo>
                  <a:lnTo>
                    <a:pt x="290" y="766"/>
                  </a:lnTo>
                  <a:lnTo>
                    <a:pt x="290" y="770"/>
                  </a:lnTo>
                  <a:lnTo>
                    <a:pt x="290" y="776"/>
                  </a:lnTo>
                  <a:lnTo>
                    <a:pt x="294" y="778"/>
                  </a:lnTo>
                  <a:lnTo>
                    <a:pt x="294" y="780"/>
                  </a:lnTo>
                  <a:lnTo>
                    <a:pt x="296" y="780"/>
                  </a:lnTo>
                  <a:lnTo>
                    <a:pt x="302" y="778"/>
                  </a:lnTo>
                  <a:lnTo>
                    <a:pt x="304" y="778"/>
                  </a:lnTo>
                  <a:lnTo>
                    <a:pt x="306" y="778"/>
                  </a:lnTo>
                  <a:lnTo>
                    <a:pt x="306" y="780"/>
                  </a:lnTo>
                  <a:lnTo>
                    <a:pt x="306" y="782"/>
                  </a:lnTo>
                  <a:lnTo>
                    <a:pt x="306" y="784"/>
                  </a:lnTo>
                  <a:lnTo>
                    <a:pt x="306" y="786"/>
                  </a:lnTo>
                  <a:lnTo>
                    <a:pt x="306" y="788"/>
                  </a:lnTo>
                  <a:lnTo>
                    <a:pt x="308" y="790"/>
                  </a:lnTo>
                  <a:lnTo>
                    <a:pt x="310" y="792"/>
                  </a:lnTo>
                  <a:lnTo>
                    <a:pt x="312" y="790"/>
                  </a:lnTo>
                  <a:lnTo>
                    <a:pt x="310" y="788"/>
                  </a:lnTo>
                  <a:lnTo>
                    <a:pt x="314" y="784"/>
                  </a:lnTo>
                  <a:lnTo>
                    <a:pt x="316" y="782"/>
                  </a:lnTo>
                  <a:lnTo>
                    <a:pt x="318" y="782"/>
                  </a:lnTo>
                  <a:lnTo>
                    <a:pt x="320" y="780"/>
                  </a:lnTo>
                  <a:lnTo>
                    <a:pt x="322" y="782"/>
                  </a:lnTo>
                  <a:lnTo>
                    <a:pt x="322" y="784"/>
                  </a:lnTo>
                  <a:lnTo>
                    <a:pt x="328" y="794"/>
                  </a:lnTo>
                  <a:lnTo>
                    <a:pt x="334" y="804"/>
                  </a:lnTo>
                  <a:lnTo>
                    <a:pt x="336" y="804"/>
                  </a:lnTo>
                  <a:lnTo>
                    <a:pt x="338" y="802"/>
                  </a:lnTo>
                  <a:lnTo>
                    <a:pt x="344" y="804"/>
                  </a:lnTo>
                  <a:lnTo>
                    <a:pt x="346" y="808"/>
                  </a:lnTo>
                  <a:lnTo>
                    <a:pt x="352" y="812"/>
                  </a:lnTo>
                  <a:lnTo>
                    <a:pt x="350" y="814"/>
                  </a:lnTo>
                  <a:lnTo>
                    <a:pt x="346" y="814"/>
                  </a:lnTo>
                  <a:lnTo>
                    <a:pt x="344" y="812"/>
                  </a:lnTo>
                  <a:lnTo>
                    <a:pt x="342" y="810"/>
                  </a:lnTo>
                  <a:lnTo>
                    <a:pt x="340" y="808"/>
                  </a:lnTo>
                  <a:lnTo>
                    <a:pt x="344" y="816"/>
                  </a:lnTo>
                  <a:lnTo>
                    <a:pt x="344" y="818"/>
                  </a:lnTo>
                  <a:lnTo>
                    <a:pt x="348" y="820"/>
                  </a:lnTo>
                  <a:lnTo>
                    <a:pt x="350" y="820"/>
                  </a:lnTo>
                  <a:lnTo>
                    <a:pt x="354" y="820"/>
                  </a:lnTo>
                  <a:lnTo>
                    <a:pt x="358" y="822"/>
                  </a:lnTo>
                  <a:lnTo>
                    <a:pt x="360" y="824"/>
                  </a:lnTo>
                  <a:lnTo>
                    <a:pt x="364" y="824"/>
                  </a:lnTo>
                  <a:lnTo>
                    <a:pt x="364" y="828"/>
                  </a:lnTo>
                  <a:lnTo>
                    <a:pt x="368" y="838"/>
                  </a:lnTo>
                  <a:lnTo>
                    <a:pt x="368" y="840"/>
                  </a:lnTo>
                  <a:lnTo>
                    <a:pt x="370" y="840"/>
                  </a:lnTo>
                  <a:lnTo>
                    <a:pt x="372" y="842"/>
                  </a:lnTo>
                  <a:lnTo>
                    <a:pt x="374" y="842"/>
                  </a:lnTo>
                  <a:lnTo>
                    <a:pt x="376" y="844"/>
                  </a:lnTo>
                  <a:lnTo>
                    <a:pt x="376" y="850"/>
                  </a:lnTo>
                  <a:lnTo>
                    <a:pt x="374" y="850"/>
                  </a:lnTo>
                  <a:lnTo>
                    <a:pt x="372" y="846"/>
                  </a:lnTo>
                  <a:lnTo>
                    <a:pt x="370" y="846"/>
                  </a:lnTo>
                  <a:lnTo>
                    <a:pt x="366" y="852"/>
                  </a:lnTo>
                  <a:lnTo>
                    <a:pt x="370" y="854"/>
                  </a:lnTo>
                  <a:lnTo>
                    <a:pt x="372" y="854"/>
                  </a:lnTo>
                  <a:lnTo>
                    <a:pt x="376" y="854"/>
                  </a:lnTo>
                  <a:lnTo>
                    <a:pt x="376" y="858"/>
                  </a:lnTo>
                  <a:lnTo>
                    <a:pt x="376" y="860"/>
                  </a:lnTo>
                  <a:lnTo>
                    <a:pt x="372" y="860"/>
                  </a:lnTo>
                  <a:lnTo>
                    <a:pt x="366" y="860"/>
                  </a:lnTo>
                  <a:lnTo>
                    <a:pt x="362" y="862"/>
                  </a:lnTo>
                  <a:lnTo>
                    <a:pt x="360" y="864"/>
                  </a:lnTo>
                  <a:lnTo>
                    <a:pt x="360" y="866"/>
                  </a:lnTo>
                  <a:lnTo>
                    <a:pt x="362" y="866"/>
                  </a:lnTo>
                  <a:lnTo>
                    <a:pt x="358" y="872"/>
                  </a:lnTo>
                  <a:lnTo>
                    <a:pt x="358" y="874"/>
                  </a:lnTo>
                  <a:lnTo>
                    <a:pt x="346" y="884"/>
                  </a:lnTo>
                  <a:lnTo>
                    <a:pt x="342" y="884"/>
                  </a:lnTo>
                  <a:lnTo>
                    <a:pt x="340" y="884"/>
                  </a:lnTo>
                  <a:lnTo>
                    <a:pt x="340" y="886"/>
                  </a:lnTo>
                  <a:lnTo>
                    <a:pt x="342" y="890"/>
                  </a:lnTo>
                  <a:lnTo>
                    <a:pt x="344" y="890"/>
                  </a:lnTo>
                  <a:lnTo>
                    <a:pt x="336" y="890"/>
                  </a:lnTo>
                  <a:lnTo>
                    <a:pt x="336" y="888"/>
                  </a:lnTo>
                  <a:lnTo>
                    <a:pt x="336" y="886"/>
                  </a:lnTo>
                  <a:lnTo>
                    <a:pt x="334" y="886"/>
                  </a:lnTo>
                  <a:lnTo>
                    <a:pt x="332" y="888"/>
                  </a:lnTo>
                  <a:lnTo>
                    <a:pt x="332" y="892"/>
                  </a:lnTo>
                  <a:lnTo>
                    <a:pt x="332" y="894"/>
                  </a:lnTo>
                  <a:lnTo>
                    <a:pt x="332" y="896"/>
                  </a:lnTo>
                  <a:lnTo>
                    <a:pt x="328" y="896"/>
                  </a:lnTo>
                  <a:lnTo>
                    <a:pt x="326" y="896"/>
                  </a:lnTo>
                  <a:lnTo>
                    <a:pt x="322" y="896"/>
                  </a:lnTo>
                  <a:lnTo>
                    <a:pt x="322" y="894"/>
                  </a:lnTo>
                  <a:lnTo>
                    <a:pt x="320" y="894"/>
                  </a:lnTo>
                  <a:lnTo>
                    <a:pt x="318" y="894"/>
                  </a:lnTo>
                  <a:lnTo>
                    <a:pt x="318" y="892"/>
                  </a:lnTo>
                  <a:lnTo>
                    <a:pt x="316" y="890"/>
                  </a:lnTo>
                  <a:lnTo>
                    <a:pt x="318" y="882"/>
                  </a:lnTo>
                  <a:lnTo>
                    <a:pt x="318" y="880"/>
                  </a:lnTo>
                  <a:lnTo>
                    <a:pt x="320" y="878"/>
                  </a:lnTo>
                  <a:lnTo>
                    <a:pt x="318" y="874"/>
                  </a:lnTo>
                  <a:lnTo>
                    <a:pt x="316" y="872"/>
                  </a:lnTo>
                  <a:lnTo>
                    <a:pt x="314" y="866"/>
                  </a:lnTo>
                  <a:lnTo>
                    <a:pt x="314" y="864"/>
                  </a:lnTo>
                  <a:lnTo>
                    <a:pt x="314" y="866"/>
                  </a:lnTo>
                  <a:lnTo>
                    <a:pt x="314" y="868"/>
                  </a:lnTo>
                  <a:lnTo>
                    <a:pt x="314" y="870"/>
                  </a:lnTo>
                  <a:lnTo>
                    <a:pt x="310" y="870"/>
                  </a:lnTo>
                  <a:lnTo>
                    <a:pt x="308" y="868"/>
                  </a:lnTo>
                  <a:lnTo>
                    <a:pt x="310" y="868"/>
                  </a:lnTo>
                  <a:lnTo>
                    <a:pt x="310" y="866"/>
                  </a:lnTo>
                  <a:lnTo>
                    <a:pt x="310" y="862"/>
                  </a:lnTo>
                  <a:lnTo>
                    <a:pt x="310" y="856"/>
                  </a:lnTo>
                  <a:lnTo>
                    <a:pt x="306" y="854"/>
                  </a:lnTo>
                  <a:lnTo>
                    <a:pt x="306" y="858"/>
                  </a:lnTo>
                  <a:lnTo>
                    <a:pt x="306" y="860"/>
                  </a:lnTo>
                  <a:lnTo>
                    <a:pt x="304" y="860"/>
                  </a:lnTo>
                  <a:lnTo>
                    <a:pt x="300" y="862"/>
                  </a:lnTo>
                  <a:lnTo>
                    <a:pt x="302" y="866"/>
                  </a:lnTo>
                  <a:lnTo>
                    <a:pt x="306" y="876"/>
                  </a:lnTo>
                  <a:lnTo>
                    <a:pt x="306" y="874"/>
                  </a:lnTo>
                  <a:lnTo>
                    <a:pt x="304" y="872"/>
                  </a:lnTo>
                  <a:lnTo>
                    <a:pt x="304" y="870"/>
                  </a:lnTo>
                  <a:lnTo>
                    <a:pt x="304" y="864"/>
                  </a:lnTo>
                  <a:lnTo>
                    <a:pt x="306" y="862"/>
                  </a:lnTo>
                  <a:lnTo>
                    <a:pt x="308" y="860"/>
                  </a:lnTo>
                  <a:lnTo>
                    <a:pt x="308" y="862"/>
                  </a:lnTo>
                  <a:lnTo>
                    <a:pt x="308" y="864"/>
                  </a:lnTo>
                  <a:lnTo>
                    <a:pt x="306" y="866"/>
                  </a:lnTo>
                  <a:lnTo>
                    <a:pt x="308" y="870"/>
                  </a:lnTo>
                  <a:lnTo>
                    <a:pt x="312" y="872"/>
                  </a:lnTo>
                  <a:lnTo>
                    <a:pt x="314" y="874"/>
                  </a:lnTo>
                  <a:lnTo>
                    <a:pt x="316" y="874"/>
                  </a:lnTo>
                  <a:lnTo>
                    <a:pt x="318" y="878"/>
                  </a:lnTo>
                  <a:lnTo>
                    <a:pt x="314" y="888"/>
                  </a:lnTo>
                  <a:lnTo>
                    <a:pt x="306" y="884"/>
                  </a:lnTo>
                  <a:lnTo>
                    <a:pt x="306" y="882"/>
                  </a:lnTo>
                  <a:lnTo>
                    <a:pt x="306" y="878"/>
                  </a:lnTo>
                  <a:lnTo>
                    <a:pt x="304" y="878"/>
                  </a:lnTo>
                  <a:lnTo>
                    <a:pt x="302" y="878"/>
                  </a:lnTo>
                  <a:lnTo>
                    <a:pt x="298" y="872"/>
                  </a:lnTo>
                  <a:lnTo>
                    <a:pt x="298" y="870"/>
                  </a:lnTo>
                  <a:lnTo>
                    <a:pt x="296" y="872"/>
                  </a:lnTo>
                  <a:lnTo>
                    <a:pt x="298" y="874"/>
                  </a:lnTo>
                  <a:lnTo>
                    <a:pt x="300" y="878"/>
                  </a:lnTo>
                  <a:lnTo>
                    <a:pt x="300" y="884"/>
                  </a:lnTo>
                  <a:lnTo>
                    <a:pt x="300" y="886"/>
                  </a:lnTo>
                  <a:lnTo>
                    <a:pt x="296" y="884"/>
                  </a:lnTo>
                  <a:lnTo>
                    <a:pt x="292" y="882"/>
                  </a:lnTo>
                  <a:lnTo>
                    <a:pt x="290" y="880"/>
                  </a:lnTo>
                  <a:lnTo>
                    <a:pt x="286" y="878"/>
                  </a:lnTo>
                  <a:lnTo>
                    <a:pt x="284" y="880"/>
                  </a:lnTo>
                  <a:lnTo>
                    <a:pt x="282" y="880"/>
                  </a:lnTo>
                  <a:lnTo>
                    <a:pt x="278" y="880"/>
                  </a:lnTo>
                  <a:lnTo>
                    <a:pt x="274" y="876"/>
                  </a:lnTo>
                  <a:lnTo>
                    <a:pt x="272" y="876"/>
                  </a:lnTo>
                  <a:lnTo>
                    <a:pt x="270" y="878"/>
                  </a:lnTo>
                  <a:lnTo>
                    <a:pt x="264" y="878"/>
                  </a:lnTo>
                  <a:lnTo>
                    <a:pt x="262" y="876"/>
                  </a:lnTo>
                  <a:lnTo>
                    <a:pt x="260" y="874"/>
                  </a:lnTo>
                  <a:lnTo>
                    <a:pt x="258" y="874"/>
                  </a:lnTo>
                  <a:lnTo>
                    <a:pt x="256" y="876"/>
                  </a:lnTo>
                  <a:lnTo>
                    <a:pt x="258" y="878"/>
                  </a:lnTo>
                  <a:lnTo>
                    <a:pt x="256" y="884"/>
                  </a:lnTo>
                  <a:lnTo>
                    <a:pt x="248" y="886"/>
                  </a:lnTo>
                  <a:lnTo>
                    <a:pt x="242" y="888"/>
                  </a:lnTo>
                  <a:lnTo>
                    <a:pt x="238" y="886"/>
                  </a:lnTo>
                  <a:lnTo>
                    <a:pt x="236" y="886"/>
                  </a:lnTo>
                  <a:lnTo>
                    <a:pt x="236" y="888"/>
                  </a:lnTo>
                  <a:lnTo>
                    <a:pt x="238" y="890"/>
                  </a:lnTo>
                  <a:lnTo>
                    <a:pt x="242" y="890"/>
                  </a:lnTo>
                  <a:lnTo>
                    <a:pt x="246" y="890"/>
                  </a:lnTo>
                  <a:lnTo>
                    <a:pt x="248" y="888"/>
                  </a:lnTo>
                  <a:lnTo>
                    <a:pt x="266" y="886"/>
                  </a:lnTo>
                  <a:lnTo>
                    <a:pt x="270" y="890"/>
                  </a:lnTo>
                  <a:lnTo>
                    <a:pt x="272" y="894"/>
                  </a:lnTo>
                  <a:lnTo>
                    <a:pt x="274" y="894"/>
                  </a:lnTo>
                  <a:lnTo>
                    <a:pt x="276" y="892"/>
                  </a:lnTo>
                  <a:lnTo>
                    <a:pt x="274" y="892"/>
                  </a:lnTo>
                  <a:lnTo>
                    <a:pt x="272" y="890"/>
                  </a:lnTo>
                  <a:lnTo>
                    <a:pt x="268" y="888"/>
                  </a:lnTo>
                  <a:lnTo>
                    <a:pt x="266" y="886"/>
                  </a:lnTo>
                  <a:lnTo>
                    <a:pt x="274" y="884"/>
                  </a:lnTo>
                  <a:lnTo>
                    <a:pt x="276" y="886"/>
                  </a:lnTo>
                  <a:lnTo>
                    <a:pt x="278" y="888"/>
                  </a:lnTo>
                  <a:lnTo>
                    <a:pt x="278" y="890"/>
                  </a:lnTo>
                  <a:lnTo>
                    <a:pt x="286" y="894"/>
                  </a:lnTo>
                  <a:lnTo>
                    <a:pt x="290" y="894"/>
                  </a:lnTo>
                  <a:lnTo>
                    <a:pt x="294" y="896"/>
                  </a:lnTo>
                  <a:lnTo>
                    <a:pt x="296" y="898"/>
                  </a:lnTo>
                  <a:lnTo>
                    <a:pt x="294" y="898"/>
                  </a:lnTo>
                  <a:lnTo>
                    <a:pt x="294" y="902"/>
                  </a:lnTo>
                  <a:lnTo>
                    <a:pt x="294" y="904"/>
                  </a:lnTo>
                  <a:lnTo>
                    <a:pt x="294" y="906"/>
                  </a:lnTo>
                  <a:lnTo>
                    <a:pt x="298" y="906"/>
                  </a:lnTo>
                  <a:lnTo>
                    <a:pt x="300" y="906"/>
                  </a:lnTo>
                  <a:lnTo>
                    <a:pt x="298" y="904"/>
                  </a:lnTo>
                  <a:lnTo>
                    <a:pt x="298" y="902"/>
                  </a:lnTo>
                  <a:lnTo>
                    <a:pt x="298" y="898"/>
                  </a:lnTo>
                  <a:lnTo>
                    <a:pt x="300" y="900"/>
                  </a:lnTo>
                  <a:lnTo>
                    <a:pt x="302" y="900"/>
                  </a:lnTo>
                  <a:lnTo>
                    <a:pt x="304" y="902"/>
                  </a:lnTo>
                  <a:lnTo>
                    <a:pt x="308" y="902"/>
                  </a:lnTo>
                  <a:lnTo>
                    <a:pt x="316" y="904"/>
                  </a:lnTo>
                  <a:lnTo>
                    <a:pt x="322" y="904"/>
                  </a:lnTo>
                  <a:lnTo>
                    <a:pt x="324" y="900"/>
                  </a:lnTo>
                  <a:lnTo>
                    <a:pt x="326" y="898"/>
                  </a:lnTo>
                  <a:lnTo>
                    <a:pt x="328" y="898"/>
                  </a:lnTo>
                  <a:lnTo>
                    <a:pt x="330" y="898"/>
                  </a:lnTo>
                  <a:lnTo>
                    <a:pt x="332" y="898"/>
                  </a:lnTo>
                  <a:lnTo>
                    <a:pt x="334" y="898"/>
                  </a:lnTo>
                  <a:lnTo>
                    <a:pt x="338" y="898"/>
                  </a:lnTo>
                  <a:lnTo>
                    <a:pt x="340" y="894"/>
                  </a:lnTo>
                  <a:lnTo>
                    <a:pt x="342" y="894"/>
                  </a:lnTo>
                  <a:lnTo>
                    <a:pt x="344" y="892"/>
                  </a:lnTo>
                  <a:lnTo>
                    <a:pt x="348" y="894"/>
                  </a:lnTo>
                  <a:lnTo>
                    <a:pt x="350" y="896"/>
                  </a:lnTo>
                  <a:lnTo>
                    <a:pt x="350" y="894"/>
                  </a:lnTo>
                  <a:lnTo>
                    <a:pt x="350" y="890"/>
                  </a:lnTo>
                  <a:lnTo>
                    <a:pt x="348" y="888"/>
                  </a:lnTo>
                  <a:lnTo>
                    <a:pt x="350" y="886"/>
                  </a:lnTo>
                  <a:lnTo>
                    <a:pt x="352" y="886"/>
                  </a:lnTo>
                  <a:lnTo>
                    <a:pt x="352" y="888"/>
                  </a:lnTo>
                  <a:lnTo>
                    <a:pt x="356" y="892"/>
                  </a:lnTo>
                  <a:lnTo>
                    <a:pt x="358" y="896"/>
                  </a:lnTo>
                  <a:lnTo>
                    <a:pt x="356" y="898"/>
                  </a:lnTo>
                  <a:lnTo>
                    <a:pt x="352" y="900"/>
                  </a:lnTo>
                  <a:lnTo>
                    <a:pt x="346" y="898"/>
                  </a:lnTo>
                  <a:lnTo>
                    <a:pt x="344" y="898"/>
                  </a:lnTo>
                  <a:lnTo>
                    <a:pt x="342" y="898"/>
                  </a:lnTo>
                  <a:lnTo>
                    <a:pt x="342" y="902"/>
                  </a:lnTo>
                  <a:lnTo>
                    <a:pt x="344" y="906"/>
                  </a:lnTo>
                  <a:lnTo>
                    <a:pt x="344" y="916"/>
                  </a:lnTo>
                  <a:lnTo>
                    <a:pt x="340" y="916"/>
                  </a:lnTo>
                  <a:lnTo>
                    <a:pt x="336" y="920"/>
                  </a:lnTo>
                  <a:lnTo>
                    <a:pt x="330" y="924"/>
                  </a:lnTo>
                  <a:lnTo>
                    <a:pt x="324" y="936"/>
                  </a:lnTo>
                  <a:lnTo>
                    <a:pt x="324" y="940"/>
                  </a:lnTo>
                  <a:lnTo>
                    <a:pt x="326" y="940"/>
                  </a:lnTo>
                  <a:lnTo>
                    <a:pt x="320" y="934"/>
                  </a:lnTo>
                  <a:lnTo>
                    <a:pt x="318" y="926"/>
                  </a:lnTo>
                  <a:lnTo>
                    <a:pt x="318" y="920"/>
                  </a:lnTo>
                  <a:lnTo>
                    <a:pt x="318" y="916"/>
                  </a:lnTo>
                  <a:lnTo>
                    <a:pt x="314" y="912"/>
                  </a:lnTo>
                  <a:lnTo>
                    <a:pt x="312" y="922"/>
                  </a:lnTo>
                  <a:lnTo>
                    <a:pt x="310" y="926"/>
                  </a:lnTo>
                  <a:lnTo>
                    <a:pt x="310" y="930"/>
                  </a:lnTo>
                  <a:lnTo>
                    <a:pt x="310" y="932"/>
                  </a:lnTo>
                  <a:lnTo>
                    <a:pt x="310" y="934"/>
                  </a:lnTo>
                  <a:lnTo>
                    <a:pt x="312" y="936"/>
                  </a:lnTo>
                  <a:lnTo>
                    <a:pt x="310" y="942"/>
                  </a:lnTo>
                  <a:lnTo>
                    <a:pt x="300" y="952"/>
                  </a:lnTo>
                  <a:lnTo>
                    <a:pt x="296" y="952"/>
                  </a:lnTo>
                  <a:lnTo>
                    <a:pt x="294" y="954"/>
                  </a:lnTo>
                  <a:lnTo>
                    <a:pt x="290" y="954"/>
                  </a:lnTo>
                  <a:lnTo>
                    <a:pt x="286" y="952"/>
                  </a:lnTo>
                  <a:lnTo>
                    <a:pt x="284" y="952"/>
                  </a:lnTo>
                  <a:lnTo>
                    <a:pt x="286" y="954"/>
                  </a:lnTo>
                  <a:lnTo>
                    <a:pt x="290" y="956"/>
                  </a:lnTo>
                  <a:lnTo>
                    <a:pt x="284" y="962"/>
                  </a:lnTo>
                  <a:lnTo>
                    <a:pt x="278" y="964"/>
                  </a:lnTo>
                  <a:lnTo>
                    <a:pt x="272" y="964"/>
                  </a:lnTo>
                  <a:lnTo>
                    <a:pt x="270" y="964"/>
                  </a:lnTo>
                  <a:lnTo>
                    <a:pt x="268" y="964"/>
                  </a:lnTo>
                  <a:lnTo>
                    <a:pt x="256" y="962"/>
                  </a:lnTo>
                  <a:lnTo>
                    <a:pt x="254" y="960"/>
                  </a:lnTo>
                  <a:lnTo>
                    <a:pt x="248" y="960"/>
                  </a:lnTo>
                  <a:lnTo>
                    <a:pt x="246" y="960"/>
                  </a:lnTo>
                  <a:lnTo>
                    <a:pt x="244" y="964"/>
                  </a:lnTo>
                  <a:lnTo>
                    <a:pt x="248" y="966"/>
                  </a:lnTo>
                  <a:lnTo>
                    <a:pt x="252" y="966"/>
                  </a:lnTo>
                  <a:lnTo>
                    <a:pt x="254" y="966"/>
                  </a:lnTo>
                  <a:lnTo>
                    <a:pt x="256" y="964"/>
                  </a:lnTo>
                  <a:lnTo>
                    <a:pt x="266" y="964"/>
                  </a:lnTo>
                  <a:lnTo>
                    <a:pt x="270" y="966"/>
                  </a:lnTo>
                  <a:lnTo>
                    <a:pt x="272" y="968"/>
                  </a:lnTo>
                  <a:lnTo>
                    <a:pt x="280" y="976"/>
                  </a:lnTo>
                  <a:lnTo>
                    <a:pt x="274" y="980"/>
                  </a:lnTo>
                  <a:lnTo>
                    <a:pt x="270" y="982"/>
                  </a:lnTo>
                  <a:lnTo>
                    <a:pt x="264" y="980"/>
                  </a:lnTo>
                  <a:lnTo>
                    <a:pt x="262" y="980"/>
                  </a:lnTo>
                  <a:lnTo>
                    <a:pt x="260" y="978"/>
                  </a:lnTo>
                  <a:lnTo>
                    <a:pt x="258" y="978"/>
                  </a:lnTo>
                  <a:lnTo>
                    <a:pt x="256" y="978"/>
                  </a:lnTo>
                  <a:lnTo>
                    <a:pt x="262" y="982"/>
                  </a:lnTo>
                  <a:lnTo>
                    <a:pt x="268" y="984"/>
                  </a:lnTo>
                  <a:lnTo>
                    <a:pt x="272" y="988"/>
                  </a:lnTo>
                  <a:lnTo>
                    <a:pt x="274" y="992"/>
                  </a:lnTo>
                  <a:lnTo>
                    <a:pt x="276" y="1002"/>
                  </a:lnTo>
                  <a:lnTo>
                    <a:pt x="276" y="1006"/>
                  </a:lnTo>
                  <a:lnTo>
                    <a:pt x="274" y="1008"/>
                  </a:lnTo>
                  <a:lnTo>
                    <a:pt x="272" y="1010"/>
                  </a:lnTo>
                  <a:lnTo>
                    <a:pt x="272" y="1014"/>
                  </a:lnTo>
                  <a:lnTo>
                    <a:pt x="272" y="1018"/>
                  </a:lnTo>
                  <a:lnTo>
                    <a:pt x="272" y="1020"/>
                  </a:lnTo>
                  <a:lnTo>
                    <a:pt x="266" y="1022"/>
                  </a:lnTo>
                  <a:lnTo>
                    <a:pt x="268" y="1024"/>
                  </a:lnTo>
                  <a:lnTo>
                    <a:pt x="272" y="1024"/>
                  </a:lnTo>
                  <a:lnTo>
                    <a:pt x="272" y="1026"/>
                  </a:lnTo>
                  <a:lnTo>
                    <a:pt x="274" y="1028"/>
                  </a:lnTo>
                  <a:lnTo>
                    <a:pt x="274" y="1032"/>
                  </a:lnTo>
                  <a:lnTo>
                    <a:pt x="272" y="1034"/>
                  </a:lnTo>
                  <a:lnTo>
                    <a:pt x="268" y="1032"/>
                  </a:lnTo>
                  <a:lnTo>
                    <a:pt x="266" y="1032"/>
                  </a:lnTo>
                  <a:lnTo>
                    <a:pt x="266" y="1028"/>
                  </a:lnTo>
                  <a:lnTo>
                    <a:pt x="260" y="1022"/>
                  </a:lnTo>
                  <a:lnTo>
                    <a:pt x="262" y="1032"/>
                  </a:lnTo>
                  <a:lnTo>
                    <a:pt x="264" y="1034"/>
                  </a:lnTo>
                  <a:lnTo>
                    <a:pt x="270" y="1044"/>
                  </a:lnTo>
                  <a:lnTo>
                    <a:pt x="270" y="1046"/>
                  </a:lnTo>
                  <a:lnTo>
                    <a:pt x="266" y="1042"/>
                  </a:lnTo>
                  <a:lnTo>
                    <a:pt x="266" y="1040"/>
                  </a:lnTo>
                  <a:lnTo>
                    <a:pt x="264" y="1038"/>
                  </a:lnTo>
                  <a:lnTo>
                    <a:pt x="256" y="1032"/>
                  </a:lnTo>
                  <a:lnTo>
                    <a:pt x="258" y="1036"/>
                  </a:lnTo>
                  <a:lnTo>
                    <a:pt x="266" y="1042"/>
                  </a:lnTo>
                  <a:lnTo>
                    <a:pt x="268" y="1046"/>
                  </a:lnTo>
                  <a:lnTo>
                    <a:pt x="270" y="1046"/>
                  </a:lnTo>
                  <a:lnTo>
                    <a:pt x="270" y="1048"/>
                  </a:lnTo>
                  <a:lnTo>
                    <a:pt x="266" y="1056"/>
                  </a:lnTo>
                  <a:lnTo>
                    <a:pt x="268" y="1062"/>
                  </a:lnTo>
                  <a:lnTo>
                    <a:pt x="270" y="1070"/>
                  </a:lnTo>
                  <a:lnTo>
                    <a:pt x="270" y="1076"/>
                  </a:lnTo>
                  <a:lnTo>
                    <a:pt x="268" y="1076"/>
                  </a:lnTo>
                  <a:lnTo>
                    <a:pt x="268" y="1078"/>
                  </a:lnTo>
                  <a:lnTo>
                    <a:pt x="266" y="1078"/>
                  </a:lnTo>
                  <a:lnTo>
                    <a:pt x="264" y="1078"/>
                  </a:lnTo>
                  <a:lnTo>
                    <a:pt x="260" y="1088"/>
                  </a:lnTo>
                  <a:lnTo>
                    <a:pt x="260" y="1096"/>
                  </a:lnTo>
                  <a:lnTo>
                    <a:pt x="260" y="1098"/>
                  </a:lnTo>
                  <a:lnTo>
                    <a:pt x="262" y="1102"/>
                  </a:lnTo>
                  <a:lnTo>
                    <a:pt x="264" y="1102"/>
                  </a:lnTo>
                  <a:lnTo>
                    <a:pt x="266" y="1104"/>
                  </a:lnTo>
                  <a:lnTo>
                    <a:pt x="266" y="1108"/>
                  </a:lnTo>
                  <a:lnTo>
                    <a:pt x="262" y="1110"/>
                  </a:lnTo>
                  <a:lnTo>
                    <a:pt x="260" y="1118"/>
                  </a:lnTo>
                  <a:lnTo>
                    <a:pt x="260" y="1124"/>
                  </a:lnTo>
                  <a:lnTo>
                    <a:pt x="258" y="1128"/>
                  </a:lnTo>
                  <a:lnTo>
                    <a:pt x="258" y="1132"/>
                  </a:lnTo>
                  <a:lnTo>
                    <a:pt x="256" y="1140"/>
                  </a:lnTo>
                  <a:lnTo>
                    <a:pt x="256" y="1144"/>
                  </a:lnTo>
                  <a:lnTo>
                    <a:pt x="252" y="1146"/>
                  </a:lnTo>
                  <a:lnTo>
                    <a:pt x="250" y="1146"/>
                  </a:lnTo>
                  <a:lnTo>
                    <a:pt x="248" y="1150"/>
                  </a:lnTo>
                  <a:lnTo>
                    <a:pt x="244" y="1164"/>
                  </a:lnTo>
                  <a:lnTo>
                    <a:pt x="242" y="1166"/>
                  </a:lnTo>
                  <a:lnTo>
                    <a:pt x="242" y="1170"/>
                  </a:lnTo>
                  <a:lnTo>
                    <a:pt x="240" y="1176"/>
                  </a:lnTo>
                  <a:lnTo>
                    <a:pt x="240" y="1182"/>
                  </a:lnTo>
                  <a:lnTo>
                    <a:pt x="238" y="1186"/>
                  </a:lnTo>
                  <a:lnTo>
                    <a:pt x="232" y="1198"/>
                  </a:lnTo>
                  <a:lnTo>
                    <a:pt x="228" y="1196"/>
                  </a:lnTo>
                  <a:lnTo>
                    <a:pt x="226" y="1192"/>
                  </a:lnTo>
                  <a:lnTo>
                    <a:pt x="220" y="1190"/>
                  </a:lnTo>
                  <a:lnTo>
                    <a:pt x="216" y="1188"/>
                  </a:lnTo>
                  <a:lnTo>
                    <a:pt x="206" y="1194"/>
                  </a:lnTo>
                  <a:lnTo>
                    <a:pt x="198" y="1192"/>
                  </a:lnTo>
                  <a:lnTo>
                    <a:pt x="192" y="1190"/>
                  </a:lnTo>
                  <a:lnTo>
                    <a:pt x="178" y="1190"/>
                  </a:lnTo>
                  <a:lnTo>
                    <a:pt x="172" y="1190"/>
                  </a:lnTo>
                  <a:lnTo>
                    <a:pt x="170" y="1192"/>
                  </a:lnTo>
                  <a:lnTo>
                    <a:pt x="170" y="1194"/>
                  </a:lnTo>
                  <a:lnTo>
                    <a:pt x="172" y="1196"/>
                  </a:lnTo>
                  <a:lnTo>
                    <a:pt x="174" y="1200"/>
                  </a:lnTo>
                  <a:lnTo>
                    <a:pt x="174" y="1204"/>
                  </a:lnTo>
                  <a:lnTo>
                    <a:pt x="172" y="1204"/>
                  </a:lnTo>
                  <a:lnTo>
                    <a:pt x="172" y="1206"/>
                  </a:lnTo>
                  <a:lnTo>
                    <a:pt x="168" y="1206"/>
                  </a:lnTo>
                  <a:lnTo>
                    <a:pt x="166" y="1204"/>
                  </a:lnTo>
                  <a:lnTo>
                    <a:pt x="166" y="1202"/>
                  </a:lnTo>
                  <a:lnTo>
                    <a:pt x="164" y="1200"/>
                  </a:lnTo>
                  <a:lnTo>
                    <a:pt x="162" y="1202"/>
                  </a:lnTo>
                  <a:lnTo>
                    <a:pt x="154" y="1210"/>
                  </a:lnTo>
                  <a:lnTo>
                    <a:pt x="152" y="1212"/>
                  </a:lnTo>
                  <a:lnTo>
                    <a:pt x="148" y="1216"/>
                  </a:lnTo>
                  <a:lnTo>
                    <a:pt x="146" y="1220"/>
                  </a:lnTo>
                  <a:lnTo>
                    <a:pt x="146" y="1222"/>
                  </a:lnTo>
                  <a:lnTo>
                    <a:pt x="146" y="1224"/>
                  </a:lnTo>
                  <a:lnTo>
                    <a:pt x="144" y="1226"/>
                  </a:lnTo>
                  <a:lnTo>
                    <a:pt x="144" y="1230"/>
                  </a:lnTo>
                  <a:lnTo>
                    <a:pt x="146" y="1234"/>
                  </a:lnTo>
                  <a:lnTo>
                    <a:pt x="148" y="1238"/>
                  </a:lnTo>
                  <a:lnTo>
                    <a:pt x="152" y="1244"/>
                  </a:lnTo>
                  <a:lnTo>
                    <a:pt x="154" y="1248"/>
                  </a:lnTo>
                  <a:lnTo>
                    <a:pt x="152" y="1252"/>
                  </a:lnTo>
                  <a:lnTo>
                    <a:pt x="150" y="1252"/>
                  </a:lnTo>
                  <a:lnTo>
                    <a:pt x="144" y="1262"/>
                  </a:lnTo>
                  <a:lnTo>
                    <a:pt x="142" y="1262"/>
                  </a:lnTo>
                  <a:lnTo>
                    <a:pt x="140" y="1262"/>
                  </a:lnTo>
                  <a:lnTo>
                    <a:pt x="138" y="1262"/>
                  </a:lnTo>
                  <a:lnTo>
                    <a:pt x="136" y="1262"/>
                  </a:lnTo>
                  <a:lnTo>
                    <a:pt x="134" y="1260"/>
                  </a:lnTo>
                  <a:lnTo>
                    <a:pt x="132" y="1258"/>
                  </a:lnTo>
                  <a:lnTo>
                    <a:pt x="130" y="1258"/>
                  </a:lnTo>
                  <a:lnTo>
                    <a:pt x="128" y="1258"/>
                  </a:lnTo>
                  <a:lnTo>
                    <a:pt x="120" y="1258"/>
                  </a:lnTo>
                  <a:lnTo>
                    <a:pt x="118" y="1258"/>
                  </a:lnTo>
                  <a:lnTo>
                    <a:pt x="114" y="1260"/>
                  </a:lnTo>
                  <a:lnTo>
                    <a:pt x="108" y="1262"/>
                  </a:lnTo>
                  <a:lnTo>
                    <a:pt x="106" y="1262"/>
                  </a:lnTo>
                  <a:lnTo>
                    <a:pt x="104" y="1264"/>
                  </a:lnTo>
                  <a:lnTo>
                    <a:pt x="100" y="1266"/>
                  </a:lnTo>
                  <a:lnTo>
                    <a:pt x="96" y="1266"/>
                  </a:lnTo>
                  <a:lnTo>
                    <a:pt x="80" y="1260"/>
                  </a:lnTo>
                  <a:lnTo>
                    <a:pt x="78" y="1246"/>
                  </a:lnTo>
                  <a:lnTo>
                    <a:pt x="78" y="1244"/>
                  </a:lnTo>
                  <a:lnTo>
                    <a:pt x="80" y="1242"/>
                  </a:lnTo>
                  <a:lnTo>
                    <a:pt x="84" y="1240"/>
                  </a:lnTo>
                  <a:lnTo>
                    <a:pt x="86" y="1234"/>
                  </a:lnTo>
                  <a:lnTo>
                    <a:pt x="78" y="1220"/>
                  </a:lnTo>
                  <a:lnTo>
                    <a:pt x="66" y="1198"/>
                  </a:lnTo>
                  <a:lnTo>
                    <a:pt x="66" y="1196"/>
                  </a:lnTo>
                  <a:lnTo>
                    <a:pt x="64" y="1194"/>
                  </a:lnTo>
                  <a:lnTo>
                    <a:pt x="62" y="1190"/>
                  </a:lnTo>
                  <a:lnTo>
                    <a:pt x="56" y="1176"/>
                  </a:lnTo>
                  <a:lnTo>
                    <a:pt x="64" y="1180"/>
                  </a:lnTo>
                  <a:lnTo>
                    <a:pt x="68" y="1184"/>
                  </a:lnTo>
                  <a:lnTo>
                    <a:pt x="74" y="1184"/>
                  </a:lnTo>
                  <a:lnTo>
                    <a:pt x="76" y="1182"/>
                  </a:lnTo>
                  <a:lnTo>
                    <a:pt x="70" y="1172"/>
                  </a:lnTo>
                  <a:lnTo>
                    <a:pt x="68" y="1170"/>
                  </a:lnTo>
                  <a:lnTo>
                    <a:pt x="66" y="1168"/>
                  </a:lnTo>
                  <a:lnTo>
                    <a:pt x="64" y="1166"/>
                  </a:lnTo>
                  <a:lnTo>
                    <a:pt x="66" y="1164"/>
                  </a:lnTo>
                  <a:lnTo>
                    <a:pt x="68" y="1162"/>
                  </a:lnTo>
                  <a:lnTo>
                    <a:pt x="70" y="1162"/>
                  </a:lnTo>
                  <a:lnTo>
                    <a:pt x="74" y="1164"/>
                  </a:lnTo>
                  <a:lnTo>
                    <a:pt x="76" y="1164"/>
                  </a:lnTo>
                  <a:lnTo>
                    <a:pt x="78" y="1164"/>
                  </a:lnTo>
                  <a:lnTo>
                    <a:pt x="80" y="1162"/>
                  </a:lnTo>
                  <a:lnTo>
                    <a:pt x="80" y="1158"/>
                  </a:lnTo>
                  <a:lnTo>
                    <a:pt x="80" y="1156"/>
                  </a:lnTo>
                  <a:lnTo>
                    <a:pt x="80" y="1152"/>
                  </a:lnTo>
                  <a:lnTo>
                    <a:pt x="78" y="1146"/>
                  </a:lnTo>
                  <a:lnTo>
                    <a:pt x="76" y="1144"/>
                  </a:lnTo>
                  <a:lnTo>
                    <a:pt x="74" y="1146"/>
                  </a:lnTo>
                  <a:lnTo>
                    <a:pt x="72" y="1146"/>
                  </a:lnTo>
                  <a:lnTo>
                    <a:pt x="70" y="1146"/>
                  </a:lnTo>
                  <a:lnTo>
                    <a:pt x="68" y="1142"/>
                  </a:lnTo>
                  <a:lnTo>
                    <a:pt x="66" y="1136"/>
                  </a:lnTo>
                  <a:lnTo>
                    <a:pt x="64" y="1132"/>
                  </a:lnTo>
                  <a:lnTo>
                    <a:pt x="64" y="1130"/>
                  </a:lnTo>
                  <a:lnTo>
                    <a:pt x="64" y="1128"/>
                  </a:lnTo>
                  <a:lnTo>
                    <a:pt x="60" y="1122"/>
                  </a:lnTo>
                  <a:lnTo>
                    <a:pt x="56" y="1122"/>
                  </a:lnTo>
                  <a:lnTo>
                    <a:pt x="52" y="1120"/>
                  </a:lnTo>
                  <a:lnTo>
                    <a:pt x="52" y="1114"/>
                  </a:lnTo>
                  <a:lnTo>
                    <a:pt x="50" y="1108"/>
                  </a:lnTo>
                  <a:lnTo>
                    <a:pt x="48" y="1106"/>
                  </a:lnTo>
                  <a:lnTo>
                    <a:pt x="42" y="1094"/>
                  </a:lnTo>
                  <a:lnTo>
                    <a:pt x="42" y="1088"/>
                  </a:lnTo>
                  <a:lnTo>
                    <a:pt x="42" y="1086"/>
                  </a:lnTo>
                  <a:lnTo>
                    <a:pt x="44" y="1084"/>
                  </a:lnTo>
                  <a:lnTo>
                    <a:pt x="42" y="1072"/>
                  </a:lnTo>
                  <a:lnTo>
                    <a:pt x="38" y="1070"/>
                  </a:lnTo>
                  <a:lnTo>
                    <a:pt x="38" y="1072"/>
                  </a:lnTo>
                  <a:lnTo>
                    <a:pt x="36" y="1080"/>
                  </a:lnTo>
                  <a:lnTo>
                    <a:pt x="34" y="1076"/>
                  </a:lnTo>
                  <a:lnTo>
                    <a:pt x="32" y="1074"/>
                  </a:lnTo>
                  <a:lnTo>
                    <a:pt x="32" y="1072"/>
                  </a:lnTo>
                  <a:lnTo>
                    <a:pt x="32" y="1064"/>
                  </a:lnTo>
                  <a:lnTo>
                    <a:pt x="34" y="1062"/>
                  </a:lnTo>
                  <a:lnTo>
                    <a:pt x="34" y="1060"/>
                  </a:lnTo>
                  <a:lnTo>
                    <a:pt x="34" y="1054"/>
                  </a:lnTo>
                  <a:lnTo>
                    <a:pt x="30" y="1056"/>
                  </a:lnTo>
                  <a:lnTo>
                    <a:pt x="30" y="1050"/>
                  </a:lnTo>
                  <a:lnTo>
                    <a:pt x="30" y="1048"/>
                  </a:lnTo>
                  <a:lnTo>
                    <a:pt x="32" y="1046"/>
                  </a:lnTo>
                  <a:lnTo>
                    <a:pt x="26" y="1048"/>
                  </a:lnTo>
                  <a:lnTo>
                    <a:pt x="22" y="1046"/>
                  </a:lnTo>
                  <a:lnTo>
                    <a:pt x="24" y="1036"/>
                  </a:lnTo>
                  <a:lnTo>
                    <a:pt x="22" y="1032"/>
                  </a:lnTo>
                  <a:lnTo>
                    <a:pt x="24" y="1030"/>
                  </a:lnTo>
                  <a:lnTo>
                    <a:pt x="26" y="1028"/>
                  </a:lnTo>
                  <a:lnTo>
                    <a:pt x="30" y="1018"/>
                  </a:lnTo>
                  <a:lnTo>
                    <a:pt x="30" y="1016"/>
                  </a:lnTo>
                  <a:lnTo>
                    <a:pt x="28" y="1014"/>
                  </a:lnTo>
                  <a:lnTo>
                    <a:pt x="30" y="1010"/>
                  </a:lnTo>
                  <a:lnTo>
                    <a:pt x="32" y="1006"/>
                  </a:lnTo>
                  <a:lnTo>
                    <a:pt x="34" y="1000"/>
                  </a:lnTo>
                  <a:lnTo>
                    <a:pt x="30" y="990"/>
                  </a:lnTo>
                  <a:lnTo>
                    <a:pt x="26" y="990"/>
                  </a:lnTo>
                  <a:lnTo>
                    <a:pt x="22" y="994"/>
                  </a:lnTo>
                  <a:lnTo>
                    <a:pt x="20" y="994"/>
                  </a:lnTo>
                  <a:lnTo>
                    <a:pt x="18" y="998"/>
                  </a:lnTo>
                  <a:lnTo>
                    <a:pt x="16" y="996"/>
                  </a:lnTo>
                  <a:lnTo>
                    <a:pt x="10" y="994"/>
                  </a:lnTo>
                  <a:lnTo>
                    <a:pt x="10" y="990"/>
                  </a:lnTo>
                  <a:lnTo>
                    <a:pt x="4" y="986"/>
                  </a:lnTo>
                  <a:lnTo>
                    <a:pt x="2" y="980"/>
                  </a:lnTo>
                  <a:lnTo>
                    <a:pt x="4" y="972"/>
                  </a:lnTo>
                  <a:lnTo>
                    <a:pt x="6" y="968"/>
                  </a:lnTo>
                  <a:lnTo>
                    <a:pt x="6" y="964"/>
                  </a:lnTo>
                  <a:lnTo>
                    <a:pt x="6" y="960"/>
                  </a:lnTo>
                  <a:lnTo>
                    <a:pt x="6" y="958"/>
                  </a:lnTo>
                  <a:lnTo>
                    <a:pt x="4" y="956"/>
                  </a:lnTo>
                  <a:lnTo>
                    <a:pt x="2" y="952"/>
                  </a:lnTo>
                  <a:lnTo>
                    <a:pt x="2" y="950"/>
                  </a:lnTo>
                  <a:lnTo>
                    <a:pt x="4" y="948"/>
                  </a:lnTo>
                  <a:lnTo>
                    <a:pt x="6" y="944"/>
                  </a:lnTo>
                  <a:lnTo>
                    <a:pt x="6" y="940"/>
                  </a:lnTo>
                  <a:lnTo>
                    <a:pt x="4" y="934"/>
                  </a:lnTo>
                  <a:lnTo>
                    <a:pt x="2" y="932"/>
                  </a:lnTo>
                  <a:lnTo>
                    <a:pt x="0" y="932"/>
                  </a:lnTo>
                  <a:lnTo>
                    <a:pt x="0" y="926"/>
                  </a:lnTo>
                  <a:lnTo>
                    <a:pt x="2" y="924"/>
                  </a:lnTo>
                  <a:lnTo>
                    <a:pt x="4" y="920"/>
                  </a:lnTo>
                  <a:lnTo>
                    <a:pt x="6" y="920"/>
                  </a:lnTo>
                  <a:lnTo>
                    <a:pt x="8" y="918"/>
                  </a:lnTo>
                  <a:lnTo>
                    <a:pt x="10" y="916"/>
                  </a:lnTo>
                  <a:lnTo>
                    <a:pt x="12" y="918"/>
                  </a:lnTo>
                  <a:lnTo>
                    <a:pt x="14" y="922"/>
                  </a:lnTo>
                  <a:lnTo>
                    <a:pt x="14" y="926"/>
                  </a:lnTo>
                  <a:lnTo>
                    <a:pt x="16" y="928"/>
                  </a:lnTo>
                  <a:lnTo>
                    <a:pt x="14" y="934"/>
                  </a:lnTo>
                  <a:lnTo>
                    <a:pt x="16" y="936"/>
                  </a:lnTo>
                  <a:lnTo>
                    <a:pt x="16" y="938"/>
                  </a:lnTo>
                  <a:lnTo>
                    <a:pt x="18" y="938"/>
                  </a:lnTo>
                  <a:lnTo>
                    <a:pt x="24" y="93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0" name="Freeform 2793"/>
            <p:cNvSpPr>
              <a:spLocks/>
            </p:cNvSpPr>
            <p:nvPr/>
          </p:nvSpPr>
          <p:spPr bwMode="auto">
            <a:xfrm>
              <a:off x="2736" y="1392"/>
              <a:ext cx="12" cy="8"/>
            </a:xfrm>
            <a:custGeom>
              <a:avLst/>
              <a:gdLst/>
              <a:ahLst/>
              <a:cxnLst>
                <a:cxn ang="0">
                  <a:pos x="10" y="8"/>
                </a:cxn>
                <a:cxn ang="0">
                  <a:pos x="8" y="8"/>
                </a:cxn>
                <a:cxn ang="0">
                  <a:pos x="4" y="8"/>
                </a:cxn>
                <a:cxn ang="0">
                  <a:pos x="0" y="0"/>
                </a:cxn>
                <a:cxn ang="0">
                  <a:pos x="2" y="0"/>
                </a:cxn>
                <a:cxn ang="0">
                  <a:pos x="4" y="0"/>
                </a:cxn>
                <a:cxn ang="0">
                  <a:pos x="8" y="2"/>
                </a:cxn>
                <a:cxn ang="0">
                  <a:pos x="10" y="2"/>
                </a:cxn>
                <a:cxn ang="0">
                  <a:pos x="12" y="6"/>
                </a:cxn>
                <a:cxn ang="0">
                  <a:pos x="10" y="8"/>
                </a:cxn>
              </a:cxnLst>
              <a:rect l="0" t="0" r="r" b="b"/>
              <a:pathLst>
                <a:path w="12" h="8">
                  <a:moveTo>
                    <a:pt x="10" y="8"/>
                  </a:moveTo>
                  <a:lnTo>
                    <a:pt x="8" y="8"/>
                  </a:lnTo>
                  <a:lnTo>
                    <a:pt x="4" y="8"/>
                  </a:lnTo>
                  <a:lnTo>
                    <a:pt x="0" y="0"/>
                  </a:lnTo>
                  <a:lnTo>
                    <a:pt x="2" y="0"/>
                  </a:lnTo>
                  <a:lnTo>
                    <a:pt x="4" y="0"/>
                  </a:lnTo>
                  <a:lnTo>
                    <a:pt x="8" y="2"/>
                  </a:lnTo>
                  <a:lnTo>
                    <a:pt x="10" y="2"/>
                  </a:lnTo>
                  <a:lnTo>
                    <a:pt x="12" y="6"/>
                  </a:lnTo>
                  <a:lnTo>
                    <a:pt x="10" y="8"/>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1" name="Freeform 2794"/>
            <p:cNvSpPr>
              <a:spLocks/>
            </p:cNvSpPr>
            <p:nvPr/>
          </p:nvSpPr>
          <p:spPr bwMode="auto">
            <a:xfrm>
              <a:off x="2762" y="1396"/>
              <a:ext cx="8" cy="10"/>
            </a:xfrm>
            <a:custGeom>
              <a:avLst/>
              <a:gdLst/>
              <a:ahLst/>
              <a:cxnLst>
                <a:cxn ang="0">
                  <a:pos x="8" y="10"/>
                </a:cxn>
                <a:cxn ang="0">
                  <a:pos x="6" y="10"/>
                </a:cxn>
                <a:cxn ang="0">
                  <a:pos x="4" y="8"/>
                </a:cxn>
                <a:cxn ang="0">
                  <a:pos x="2" y="8"/>
                </a:cxn>
                <a:cxn ang="0">
                  <a:pos x="2" y="6"/>
                </a:cxn>
                <a:cxn ang="0">
                  <a:pos x="0" y="2"/>
                </a:cxn>
                <a:cxn ang="0">
                  <a:pos x="0" y="0"/>
                </a:cxn>
                <a:cxn ang="0">
                  <a:pos x="2" y="0"/>
                </a:cxn>
                <a:cxn ang="0">
                  <a:pos x="6" y="2"/>
                </a:cxn>
                <a:cxn ang="0">
                  <a:pos x="8" y="4"/>
                </a:cxn>
                <a:cxn ang="0">
                  <a:pos x="8" y="8"/>
                </a:cxn>
                <a:cxn ang="0">
                  <a:pos x="8" y="10"/>
                </a:cxn>
              </a:cxnLst>
              <a:rect l="0" t="0" r="r" b="b"/>
              <a:pathLst>
                <a:path w="8" h="10">
                  <a:moveTo>
                    <a:pt x="8" y="10"/>
                  </a:moveTo>
                  <a:lnTo>
                    <a:pt x="6" y="10"/>
                  </a:lnTo>
                  <a:lnTo>
                    <a:pt x="4" y="8"/>
                  </a:lnTo>
                  <a:lnTo>
                    <a:pt x="2" y="8"/>
                  </a:lnTo>
                  <a:lnTo>
                    <a:pt x="2" y="6"/>
                  </a:lnTo>
                  <a:lnTo>
                    <a:pt x="0" y="2"/>
                  </a:lnTo>
                  <a:lnTo>
                    <a:pt x="0" y="0"/>
                  </a:lnTo>
                  <a:lnTo>
                    <a:pt x="2" y="0"/>
                  </a:lnTo>
                  <a:lnTo>
                    <a:pt x="6" y="2"/>
                  </a:lnTo>
                  <a:lnTo>
                    <a:pt x="8" y="4"/>
                  </a:lnTo>
                  <a:lnTo>
                    <a:pt x="8" y="8"/>
                  </a:lnTo>
                  <a:lnTo>
                    <a:pt x="8" y="1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2" name="Freeform 2797"/>
            <p:cNvSpPr>
              <a:spLocks/>
            </p:cNvSpPr>
            <p:nvPr/>
          </p:nvSpPr>
          <p:spPr bwMode="auto">
            <a:xfrm>
              <a:off x="2792" y="1530"/>
              <a:ext cx="44" cy="96"/>
            </a:xfrm>
            <a:custGeom>
              <a:avLst/>
              <a:gdLst/>
              <a:ahLst/>
              <a:cxnLst>
                <a:cxn ang="0">
                  <a:pos x="44" y="2"/>
                </a:cxn>
                <a:cxn ang="0">
                  <a:pos x="44" y="10"/>
                </a:cxn>
                <a:cxn ang="0">
                  <a:pos x="40" y="18"/>
                </a:cxn>
                <a:cxn ang="0">
                  <a:pos x="36" y="18"/>
                </a:cxn>
                <a:cxn ang="0">
                  <a:pos x="34" y="20"/>
                </a:cxn>
                <a:cxn ang="0">
                  <a:pos x="34" y="24"/>
                </a:cxn>
                <a:cxn ang="0">
                  <a:pos x="32" y="40"/>
                </a:cxn>
                <a:cxn ang="0">
                  <a:pos x="34" y="42"/>
                </a:cxn>
                <a:cxn ang="0">
                  <a:pos x="36" y="44"/>
                </a:cxn>
                <a:cxn ang="0">
                  <a:pos x="32" y="64"/>
                </a:cxn>
                <a:cxn ang="0">
                  <a:pos x="30" y="66"/>
                </a:cxn>
                <a:cxn ang="0">
                  <a:pos x="24" y="68"/>
                </a:cxn>
                <a:cxn ang="0">
                  <a:pos x="22" y="70"/>
                </a:cxn>
                <a:cxn ang="0">
                  <a:pos x="20" y="72"/>
                </a:cxn>
                <a:cxn ang="0">
                  <a:pos x="18" y="72"/>
                </a:cxn>
                <a:cxn ang="0">
                  <a:pos x="16" y="74"/>
                </a:cxn>
                <a:cxn ang="0">
                  <a:pos x="14" y="80"/>
                </a:cxn>
                <a:cxn ang="0">
                  <a:pos x="14" y="84"/>
                </a:cxn>
                <a:cxn ang="0">
                  <a:pos x="12" y="92"/>
                </a:cxn>
                <a:cxn ang="0">
                  <a:pos x="8" y="94"/>
                </a:cxn>
                <a:cxn ang="0">
                  <a:pos x="6" y="96"/>
                </a:cxn>
                <a:cxn ang="0">
                  <a:pos x="4" y="94"/>
                </a:cxn>
                <a:cxn ang="0">
                  <a:pos x="6" y="92"/>
                </a:cxn>
                <a:cxn ang="0">
                  <a:pos x="8" y="88"/>
                </a:cxn>
                <a:cxn ang="0">
                  <a:pos x="10" y="84"/>
                </a:cxn>
                <a:cxn ang="0">
                  <a:pos x="10" y="80"/>
                </a:cxn>
                <a:cxn ang="0">
                  <a:pos x="6" y="74"/>
                </a:cxn>
                <a:cxn ang="0">
                  <a:pos x="4" y="66"/>
                </a:cxn>
                <a:cxn ang="0">
                  <a:pos x="4" y="58"/>
                </a:cxn>
                <a:cxn ang="0">
                  <a:pos x="4" y="50"/>
                </a:cxn>
                <a:cxn ang="0">
                  <a:pos x="2" y="44"/>
                </a:cxn>
                <a:cxn ang="0">
                  <a:pos x="0" y="40"/>
                </a:cxn>
                <a:cxn ang="0">
                  <a:pos x="2" y="40"/>
                </a:cxn>
                <a:cxn ang="0">
                  <a:pos x="2" y="36"/>
                </a:cxn>
                <a:cxn ang="0">
                  <a:pos x="4" y="32"/>
                </a:cxn>
                <a:cxn ang="0">
                  <a:pos x="6" y="32"/>
                </a:cxn>
                <a:cxn ang="0">
                  <a:pos x="8" y="30"/>
                </a:cxn>
                <a:cxn ang="0">
                  <a:pos x="8" y="28"/>
                </a:cxn>
                <a:cxn ang="0">
                  <a:pos x="10" y="26"/>
                </a:cxn>
                <a:cxn ang="0">
                  <a:pos x="12" y="24"/>
                </a:cxn>
                <a:cxn ang="0">
                  <a:pos x="12" y="22"/>
                </a:cxn>
                <a:cxn ang="0">
                  <a:pos x="14" y="20"/>
                </a:cxn>
                <a:cxn ang="0">
                  <a:pos x="14" y="18"/>
                </a:cxn>
                <a:cxn ang="0">
                  <a:pos x="16" y="16"/>
                </a:cxn>
                <a:cxn ang="0">
                  <a:pos x="18" y="12"/>
                </a:cxn>
                <a:cxn ang="0">
                  <a:pos x="28" y="2"/>
                </a:cxn>
                <a:cxn ang="0">
                  <a:pos x="36" y="0"/>
                </a:cxn>
                <a:cxn ang="0">
                  <a:pos x="38" y="2"/>
                </a:cxn>
                <a:cxn ang="0">
                  <a:pos x="44" y="2"/>
                </a:cxn>
              </a:cxnLst>
              <a:rect l="0" t="0" r="r" b="b"/>
              <a:pathLst>
                <a:path w="44" h="96">
                  <a:moveTo>
                    <a:pt x="44" y="2"/>
                  </a:moveTo>
                  <a:lnTo>
                    <a:pt x="44" y="10"/>
                  </a:lnTo>
                  <a:lnTo>
                    <a:pt x="40" y="18"/>
                  </a:lnTo>
                  <a:lnTo>
                    <a:pt x="36" y="18"/>
                  </a:lnTo>
                  <a:lnTo>
                    <a:pt x="34" y="20"/>
                  </a:lnTo>
                  <a:lnTo>
                    <a:pt x="34" y="24"/>
                  </a:lnTo>
                  <a:lnTo>
                    <a:pt x="32" y="40"/>
                  </a:lnTo>
                  <a:lnTo>
                    <a:pt x="34" y="42"/>
                  </a:lnTo>
                  <a:lnTo>
                    <a:pt x="36" y="44"/>
                  </a:lnTo>
                  <a:lnTo>
                    <a:pt x="32" y="64"/>
                  </a:lnTo>
                  <a:lnTo>
                    <a:pt x="30" y="66"/>
                  </a:lnTo>
                  <a:lnTo>
                    <a:pt x="24" y="68"/>
                  </a:lnTo>
                  <a:lnTo>
                    <a:pt x="22" y="70"/>
                  </a:lnTo>
                  <a:lnTo>
                    <a:pt x="20" y="72"/>
                  </a:lnTo>
                  <a:lnTo>
                    <a:pt x="18" y="72"/>
                  </a:lnTo>
                  <a:lnTo>
                    <a:pt x="16" y="74"/>
                  </a:lnTo>
                  <a:lnTo>
                    <a:pt x="14" y="80"/>
                  </a:lnTo>
                  <a:lnTo>
                    <a:pt x="14" y="84"/>
                  </a:lnTo>
                  <a:lnTo>
                    <a:pt x="12" y="92"/>
                  </a:lnTo>
                  <a:lnTo>
                    <a:pt x="8" y="94"/>
                  </a:lnTo>
                  <a:lnTo>
                    <a:pt x="6" y="96"/>
                  </a:lnTo>
                  <a:lnTo>
                    <a:pt x="4" y="94"/>
                  </a:lnTo>
                  <a:lnTo>
                    <a:pt x="6" y="92"/>
                  </a:lnTo>
                  <a:lnTo>
                    <a:pt x="8" y="88"/>
                  </a:lnTo>
                  <a:lnTo>
                    <a:pt x="10" y="84"/>
                  </a:lnTo>
                  <a:lnTo>
                    <a:pt x="10" y="80"/>
                  </a:lnTo>
                  <a:lnTo>
                    <a:pt x="6" y="74"/>
                  </a:lnTo>
                  <a:lnTo>
                    <a:pt x="4" y="66"/>
                  </a:lnTo>
                  <a:lnTo>
                    <a:pt x="4" y="58"/>
                  </a:lnTo>
                  <a:lnTo>
                    <a:pt x="4" y="50"/>
                  </a:lnTo>
                  <a:lnTo>
                    <a:pt x="2" y="44"/>
                  </a:lnTo>
                  <a:lnTo>
                    <a:pt x="0" y="40"/>
                  </a:lnTo>
                  <a:lnTo>
                    <a:pt x="2" y="40"/>
                  </a:lnTo>
                  <a:lnTo>
                    <a:pt x="2" y="36"/>
                  </a:lnTo>
                  <a:lnTo>
                    <a:pt x="4" y="32"/>
                  </a:lnTo>
                  <a:lnTo>
                    <a:pt x="6" y="32"/>
                  </a:lnTo>
                  <a:lnTo>
                    <a:pt x="8" y="30"/>
                  </a:lnTo>
                  <a:lnTo>
                    <a:pt x="8" y="28"/>
                  </a:lnTo>
                  <a:lnTo>
                    <a:pt x="10" y="26"/>
                  </a:lnTo>
                  <a:lnTo>
                    <a:pt x="12" y="24"/>
                  </a:lnTo>
                  <a:lnTo>
                    <a:pt x="12" y="22"/>
                  </a:lnTo>
                  <a:lnTo>
                    <a:pt x="14" y="20"/>
                  </a:lnTo>
                  <a:lnTo>
                    <a:pt x="14" y="18"/>
                  </a:lnTo>
                  <a:lnTo>
                    <a:pt x="16" y="16"/>
                  </a:lnTo>
                  <a:lnTo>
                    <a:pt x="18" y="12"/>
                  </a:lnTo>
                  <a:lnTo>
                    <a:pt x="28" y="2"/>
                  </a:lnTo>
                  <a:lnTo>
                    <a:pt x="36" y="0"/>
                  </a:lnTo>
                  <a:lnTo>
                    <a:pt x="38" y="2"/>
                  </a:lnTo>
                  <a:lnTo>
                    <a:pt x="44"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33" name="Freeform 2798"/>
            <p:cNvSpPr>
              <a:spLocks/>
            </p:cNvSpPr>
            <p:nvPr/>
          </p:nvSpPr>
          <p:spPr bwMode="auto">
            <a:xfrm>
              <a:off x="2708" y="1586"/>
              <a:ext cx="36" cy="106"/>
            </a:xfrm>
            <a:custGeom>
              <a:avLst/>
              <a:gdLst/>
              <a:ahLst/>
              <a:cxnLst>
                <a:cxn ang="0">
                  <a:pos x="4" y="106"/>
                </a:cxn>
                <a:cxn ang="0">
                  <a:pos x="2" y="104"/>
                </a:cxn>
                <a:cxn ang="0">
                  <a:pos x="2" y="100"/>
                </a:cxn>
                <a:cxn ang="0">
                  <a:pos x="0" y="82"/>
                </a:cxn>
                <a:cxn ang="0">
                  <a:pos x="0" y="76"/>
                </a:cxn>
                <a:cxn ang="0">
                  <a:pos x="2" y="72"/>
                </a:cxn>
                <a:cxn ang="0">
                  <a:pos x="8" y="54"/>
                </a:cxn>
                <a:cxn ang="0">
                  <a:pos x="12" y="46"/>
                </a:cxn>
                <a:cxn ang="0">
                  <a:pos x="12" y="44"/>
                </a:cxn>
                <a:cxn ang="0">
                  <a:pos x="14" y="44"/>
                </a:cxn>
                <a:cxn ang="0">
                  <a:pos x="18" y="38"/>
                </a:cxn>
                <a:cxn ang="0">
                  <a:pos x="24" y="28"/>
                </a:cxn>
                <a:cxn ang="0">
                  <a:pos x="26" y="20"/>
                </a:cxn>
                <a:cxn ang="0">
                  <a:pos x="28" y="12"/>
                </a:cxn>
                <a:cxn ang="0">
                  <a:pos x="28" y="10"/>
                </a:cxn>
                <a:cxn ang="0">
                  <a:pos x="28" y="8"/>
                </a:cxn>
                <a:cxn ang="0">
                  <a:pos x="28" y="6"/>
                </a:cxn>
                <a:cxn ang="0">
                  <a:pos x="30" y="4"/>
                </a:cxn>
                <a:cxn ang="0">
                  <a:pos x="30" y="2"/>
                </a:cxn>
                <a:cxn ang="0">
                  <a:pos x="32" y="0"/>
                </a:cxn>
                <a:cxn ang="0">
                  <a:pos x="34" y="0"/>
                </a:cxn>
                <a:cxn ang="0">
                  <a:pos x="36" y="0"/>
                </a:cxn>
                <a:cxn ang="0">
                  <a:pos x="36" y="4"/>
                </a:cxn>
                <a:cxn ang="0">
                  <a:pos x="34" y="16"/>
                </a:cxn>
                <a:cxn ang="0">
                  <a:pos x="30" y="20"/>
                </a:cxn>
                <a:cxn ang="0">
                  <a:pos x="30" y="26"/>
                </a:cxn>
                <a:cxn ang="0">
                  <a:pos x="28" y="30"/>
                </a:cxn>
                <a:cxn ang="0">
                  <a:pos x="26" y="40"/>
                </a:cxn>
                <a:cxn ang="0">
                  <a:pos x="24" y="48"/>
                </a:cxn>
                <a:cxn ang="0">
                  <a:pos x="24" y="50"/>
                </a:cxn>
                <a:cxn ang="0">
                  <a:pos x="22" y="50"/>
                </a:cxn>
                <a:cxn ang="0">
                  <a:pos x="20" y="50"/>
                </a:cxn>
                <a:cxn ang="0">
                  <a:pos x="20" y="52"/>
                </a:cxn>
                <a:cxn ang="0">
                  <a:pos x="18" y="60"/>
                </a:cxn>
                <a:cxn ang="0">
                  <a:pos x="14" y="78"/>
                </a:cxn>
                <a:cxn ang="0">
                  <a:pos x="10" y="88"/>
                </a:cxn>
                <a:cxn ang="0">
                  <a:pos x="10" y="90"/>
                </a:cxn>
                <a:cxn ang="0">
                  <a:pos x="10" y="92"/>
                </a:cxn>
                <a:cxn ang="0">
                  <a:pos x="10" y="94"/>
                </a:cxn>
                <a:cxn ang="0">
                  <a:pos x="8" y="102"/>
                </a:cxn>
                <a:cxn ang="0">
                  <a:pos x="6" y="104"/>
                </a:cxn>
                <a:cxn ang="0">
                  <a:pos x="4" y="106"/>
                </a:cxn>
              </a:cxnLst>
              <a:rect l="0" t="0" r="r" b="b"/>
              <a:pathLst>
                <a:path w="36" h="106">
                  <a:moveTo>
                    <a:pt x="4" y="106"/>
                  </a:moveTo>
                  <a:lnTo>
                    <a:pt x="2" y="104"/>
                  </a:lnTo>
                  <a:lnTo>
                    <a:pt x="2" y="100"/>
                  </a:lnTo>
                  <a:lnTo>
                    <a:pt x="0" y="82"/>
                  </a:lnTo>
                  <a:lnTo>
                    <a:pt x="0" y="76"/>
                  </a:lnTo>
                  <a:lnTo>
                    <a:pt x="2" y="72"/>
                  </a:lnTo>
                  <a:lnTo>
                    <a:pt x="8" y="54"/>
                  </a:lnTo>
                  <a:lnTo>
                    <a:pt x="12" y="46"/>
                  </a:lnTo>
                  <a:lnTo>
                    <a:pt x="12" y="44"/>
                  </a:lnTo>
                  <a:lnTo>
                    <a:pt x="14" y="44"/>
                  </a:lnTo>
                  <a:lnTo>
                    <a:pt x="18" y="38"/>
                  </a:lnTo>
                  <a:lnTo>
                    <a:pt x="24" y="28"/>
                  </a:lnTo>
                  <a:lnTo>
                    <a:pt x="26" y="20"/>
                  </a:lnTo>
                  <a:lnTo>
                    <a:pt x="28" y="12"/>
                  </a:lnTo>
                  <a:lnTo>
                    <a:pt x="28" y="10"/>
                  </a:lnTo>
                  <a:lnTo>
                    <a:pt x="28" y="8"/>
                  </a:lnTo>
                  <a:lnTo>
                    <a:pt x="28" y="6"/>
                  </a:lnTo>
                  <a:lnTo>
                    <a:pt x="30" y="4"/>
                  </a:lnTo>
                  <a:lnTo>
                    <a:pt x="30" y="2"/>
                  </a:lnTo>
                  <a:lnTo>
                    <a:pt x="32" y="0"/>
                  </a:lnTo>
                  <a:lnTo>
                    <a:pt x="34" y="0"/>
                  </a:lnTo>
                  <a:lnTo>
                    <a:pt x="36" y="0"/>
                  </a:lnTo>
                  <a:lnTo>
                    <a:pt x="36" y="4"/>
                  </a:lnTo>
                  <a:lnTo>
                    <a:pt x="34" y="16"/>
                  </a:lnTo>
                  <a:lnTo>
                    <a:pt x="30" y="20"/>
                  </a:lnTo>
                  <a:lnTo>
                    <a:pt x="30" y="26"/>
                  </a:lnTo>
                  <a:lnTo>
                    <a:pt x="28" y="30"/>
                  </a:lnTo>
                  <a:lnTo>
                    <a:pt x="26" y="40"/>
                  </a:lnTo>
                  <a:lnTo>
                    <a:pt x="24" y="48"/>
                  </a:lnTo>
                  <a:lnTo>
                    <a:pt x="24" y="50"/>
                  </a:lnTo>
                  <a:lnTo>
                    <a:pt x="22" y="50"/>
                  </a:lnTo>
                  <a:lnTo>
                    <a:pt x="20" y="50"/>
                  </a:lnTo>
                  <a:lnTo>
                    <a:pt x="20" y="52"/>
                  </a:lnTo>
                  <a:lnTo>
                    <a:pt x="18" y="60"/>
                  </a:lnTo>
                  <a:lnTo>
                    <a:pt x="14" y="78"/>
                  </a:lnTo>
                  <a:lnTo>
                    <a:pt x="10" y="88"/>
                  </a:lnTo>
                  <a:lnTo>
                    <a:pt x="10" y="90"/>
                  </a:lnTo>
                  <a:lnTo>
                    <a:pt x="10" y="92"/>
                  </a:lnTo>
                  <a:lnTo>
                    <a:pt x="10" y="94"/>
                  </a:lnTo>
                  <a:lnTo>
                    <a:pt x="8" y="102"/>
                  </a:lnTo>
                  <a:lnTo>
                    <a:pt x="6" y="104"/>
                  </a:lnTo>
                  <a:lnTo>
                    <a:pt x="4" y="106"/>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19" name="Freeform 2800"/>
          <p:cNvSpPr>
            <a:spLocks/>
          </p:cNvSpPr>
          <p:nvPr/>
        </p:nvSpPr>
        <p:spPr bwMode="auto">
          <a:xfrm>
            <a:off x="5020065" y="5319029"/>
            <a:ext cx="11815" cy="11815"/>
          </a:xfrm>
          <a:custGeom>
            <a:avLst/>
            <a:gdLst/>
            <a:ahLst/>
            <a:cxnLst>
              <a:cxn ang="0">
                <a:pos x="6" y="6"/>
              </a:cxn>
              <a:cxn ang="0">
                <a:pos x="8" y="4"/>
              </a:cxn>
              <a:cxn ang="0">
                <a:pos x="8" y="0"/>
              </a:cxn>
              <a:cxn ang="0">
                <a:pos x="4" y="0"/>
              </a:cxn>
              <a:cxn ang="0">
                <a:pos x="2" y="4"/>
              </a:cxn>
              <a:cxn ang="0">
                <a:pos x="0" y="4"/>
              </a:cxn>
              <a:cxn ang="0">
                <a:pos x="0" y="8"/>
              </a:cxn>
              <a:cxn ang="0">
                <a:pos x="4" y="8"/>
              </a:cxn>
              <a:cxn ang="0">
                <a:pos x="6" y="8"/>
              </a:cxn>
              <a:cxn ang="0">
                <a:pos x="6" y="6"/>
              </a:cxn>
            </a:cxnLst>
            <a:rect l="0" t="0" r="r" b="b"/>
            <a:pathLst>
              <a:path w="8" h="8">
                <a:moveTo>
                  <a:pt x="6" y="6"/>
                </a:moveTo>
                <a:lnTo>
                  <a:pt x="8" y="4"/>
                </a:lnTo>
                <a:lnTo>
                  <a:pt x="8" y="0"/>
                </a:lnTo>
                <a:lnTo>
                  <a:pt x="4" y="0"/>
                </a:lnTo>
                <a:lnTo>
                  <a:pt x="2" y="4"/>
                </a:lnTo>
                <a:lnTo>
                  <a:pt x="0" y="4"/>
                </a:lnTo>
                <a:lnTo>
                  <a:pt x="0" y="8"/>
                </a:lnTo>
                <a:lnTo>
                  <a:pt x="4" y="8"/>
                </a:lnTo>
                <a:lnTo>
                  <a:pt x="6" y="8"/>
                </a:lnTo>
                <a:lnTo>
                  <a:pt x="6" y="6"/>
                </a:lnTo>
                <a:close/>
              </a:path>
            </a:pathLst>
          </a:custGeom>
          <a:solidFill>
            <a:srgbClr val="CAC0B6"/>
          </a:solidFill>
          <a:ln w="3175" cmpd="sng">
            <a:solidFill>
              <a:schemeClr val="bg1"/>
            </a:solidFill>
            <a:round/>
            <a:headEnd/>
            <a:tailEnd/>
          </a:ln>
        </p:spPr>
        <p:txBody>
          <a:bodyPr>
            <a:prstTxWarp prst="textNoShape">
              <a:avLst/>
            </a:prstTxWarp>
          </a:bodyPr>
          <a:lstStyle/>
          <a:p>
            <a:endParaRPr lang="en-GB">
              <a:solidFill>
                <a:srgbClr val="000000"/>
              </a:solidFill>
            </a:endParaRPr>
          </a:p>
        </p:txBody>
      </p:sp>
      <p:grpSp>
        <p:nvGrpSpPr>
          <p:cNvPr id="320" name="Group 2827"/>
          <p:cNvGrpSpPr>
            <a:grpSpLocks/>
          </p:cNvGrpSpPr>
          <p:nvPr/>
        </p:nvGrpSpPr>
        <p:grpSpPr bwMode="auto">
          <a:xfrm>
            <a:off x="5944535" y="1390650"/>
            <a:ext cx="2997956" cy="3656640"/>
            <a:chOff x="3092" y="152"/>
            <a:chExt cx="2030" cy="2476"/>
          </a:xfrm>
          <a:solidFill>
            <a:srgbClr val="B9B9B9"/>
          </a:solidFill>
        </p:grpSpPr>
        <p:sp>
          <p:nvSpPr>
            <p:cNvPr id="325" name="Freeform 2550"/>
            <p:cNvSpPr>
              <a:spLocks/>
            </p:cNvSpPr>
            <p:nvPr/>
          </p:nvSpPr>
          <p:spPr bwMode="auto">
            <a:xfrm>
              <a:off x="3708" y="200"/>
              <a:ext cx="68" cy="74"/>
            </a:xfrm>
            <a:custGeom>
              <a:avLst/>
              <a:gdLst/>
              <a:ahLst/>
              <a:cxnLst>
                <a:cxn ang="0">
                  <a:pos x="6" y="52"/>
                </a:cxn>
                <a:cxn ang="0">
                  <a:pos x="6" y="48"/>
                </a:cxn>
                <a:cxn ang="0">
                  <a:pos x="2" y="42"/>
                </a:cxn>
                <a:cxn ang="0">
                  <a:pos x="2" y="40"/>
                </a:cxn>
                <a:cxn ang="0">
                  <a:pos x="0" y="36"/>
                </a:cxn>
                <a:cxn ang="0">
                  <a:pos x="0" y="34"/>
                </a:cxn>
                <a:cxn ang="0">
                  <a:pos x="0" y="30"/>
                </a:cxn>
                <a:cxn ang="0">
                  <a:pos x="0" y="28"/>
                </a:cxn>
                <a:cxn ang="0">
                  <a:pos x="0" y="26"/>
                </a:cxn>
                <a:cxn ang="0">
                  <a:pos x="0" y="18"/>
                </a:cxn>
                <a:cxn ang="0">
                  <a:pos x="0" y="16"/>
                </a:cxn>
                <a:cxn ang="0">
                  <a:pos x="2" y="14"/>
                </a:cxn>
                <a:cxn ang="0">
                  <a:pos x="4" y="8"/>
                </a:cxn>
                <a:cxn ang="0">
                  <a:pos x="6" y="6"/>
                </a:cxn>
                <a:cxn ang="0">
                  <a:pos x="8" y="4"/>
                </a:cxn>
                <a:cxn ang="0">
                  <a:pos x="12" y="2"/>
                </a:cxn>
                <a:cxn ang="0">
                  <a:pos x="16" y="0"/>
                </a:cxn>
                <a:cxn ang="0">
                  <a:pos x="18" y="0"/>
                </a:cxn>
                <a:cxn ang="0">
                  <a:pos x="20" y="0"/>
                </a:cxn>
                <a:cxn ang="0">
                  <a:pos x="22" y="0"/>
                </a:cxn>
                <a:cxn ang="0">
                  <a:pos x="26" y="2"/>
                </a:cxn>
                <a:cxn ang="0">
                  <a:pos x="30" y="2"/>
                </a:cxn>
                <a:cxn ang="0">
                  <a:pos x="34" y="4"/>
                </a:cxn>
                <a:cxn ang="0">
                  <a:pos x="36" y="4"/>
                </a:cxn>
                <a:cxn ang="0">
                  <a:pos x="42" y="4"/>
                </a:cxn>
                <a:cxn ang="0">
                  <a:pos x="52" y="6"/>
                </a:cxn>
                <a:cxn ang="0">
                  <a:pos x="54" y="6"/>
                </a:cxn>
                <a:cxn ang="0">
                  <a:pos x="56" y="6"/>
                </a:cxn>
                <a:cxn ang="0">
                  <a:pos x="64" y="12"/>
                </a:cxn>
                <a:cxn ang="0">
                  <a:pos x="66" y="14"/>
                </a:cxn>
                <a:cxn ang="0">
                  <a:pos x="66" y="16"/>
                </a:cxn>
                <a:cxn ang="0">
                  <a:pos x="68" y="20"/>
                </a:cxn>
                <a:cxn ang="0">
                  <a:pos x="68" y="26"/>
                </a:cxn>
                <a:cxn ang="0">
                  <a:pos x="68" y="28"/>
                </a:cxn>
                <a:cxn ang="0">
                  <a:pos x="66" y="28"/>
                </a:cxn>
                <a:cxn ang="0">
                  <a:pos x="64" y="24"/>
                </a:cxn>
                <a:cxn ang="0">
                  <a:pos x="64" y="22"/>
                </a:cxn>
                <a:cxn ang="0">
                  <a:pos x="64" y="20"/>
                </a:cxn>
                <a:cxn ang="0">
                  <a:pos x="62" y="14"/>
                </a:cxn>
                <a:cxn ang="0">
                  <a:pos x="60" y="14"/>
                </a:cxn>
                <a:cxn ang="0">
                  <a:pos x="58" y="16"/>
                </a:cxn>
                <a:cxn ang="0">
                  <a:pos x="58" y="24"/>
                </a:cxn>
                <a:cxn ang="0">
                  <a:pos x="58" y="32"/>
                </a:cxn>
                <a:cxn ang="0">
                  <a:pos x="58" y="36"/>
                </a:cxn>
                <a:cxn ang="0">
                  <a:pos x="58" y="40"/>
                </a:cxn>
                <a:cxn ang="0">
                  <a:pos x="58" y="44"/>
                </a:cxn>
                <a:cxn ang="0">
                  <a:pos x="58" y="46"/>
                </a:cxn>
                <a:cxn ang="0">
                  <a:pos x="56" y="52"/>
                </a:cxn>
                <a:cxn ang="0">
                  <a:pos x="54" y="54"/>
                </a:cxn>
                <a:cxn ang="0">
                  <a:pos x="48" y="62"/>
                </a:cxn>
                <a:cxn ang="0">
                  <a:pos x="42" y="68"/>
                </a:cxn>
                <a:cxn ang="0">
                  <a:pos x="40" y="72"/>
                </a:cxn>
                <a:cxn ang="0">
                  <a:pos x="34" y="74"/>
                </a:cxn>
                <a:cxn ang="0">
                  <a:pos x="14" y="68"/>
                </a:cxn>
                <a:cxn ang="0">
                  <a:pos x="6" y="52"/>
                </a:cxn>
              </a:cxnLst>
              <a:rect l="0" t="0" r="r" b="b"/>
              <a:pathLst>
                <a:path w="68" h="74">
                  <a:moveTo>
                    <a:pt x="6" y="52"/>
                  </a:moveTo>
                  <a:lnTo>
                    <a:pt x="6" y="48"/>
                  </a:lnTo>
                  <a:lnTo>
                    <a:pt x="2" y="42"/>
                  </a:lnTo>
                  <a:lnTo>
                    <a:pt x="2" y="40"/>
                  </a:lnTo>
                  <a:lnTo>
                    <a:pt x="0" y="36"/>
                  </a:lnTo>
                  <a:lnTo>
                    <a:pt x="0" y="34"/>
                  </a:lnTo>
                  <a:lnTo>
                    <a:pt x="0" y="30"/>
                  </a:lnTo>
                  <a:lnTo>
                    <a:pt x="0" y="28"/>
                  </a:lnTo>
                  <a:lnTo>
                    <a:pt x="0" y="26"/>
                  </a:lnTo>
                  <a:lnTo>
                    <a:pt x="0" y="18"/>
                  </a:lnTo>
                  <a:lnTo>
                    <a:pt x="0" y="16"/>
                  </a:lnTo>
                  <a:lnTo>
                    <a:pt x="2" y="14"/>
                  </a:lnTo>
                  <a:lnTo>
                    <a:pt x="4" y="8"/>
                  </a:lnTo>
                  <a:lnTo>
                    <a:pt x="6" y="6"/>
                  </a:lnTo>
                  <a:lnTo>
                    <a:pt x="8" y="4"/>
                  </a:lnTo>
                  <a:lnTo>
                    <a:pt x="12" y="2"/>
                  </a:lnTo>
                  <a:lnTo>
                    <a:pt x="16" y="0"/>
                  </a:lnTo>
                  <a:lnTo>
                    <a:pt x="18" y="0"/>
                  </a:lnTo>
                  <a:lnTo>
                    <a:pt x="20" y="0"/>
                  </a:lnTo>
                  <a:lnTo>
                    <a:pt x="22" y="0"/>
                  </a:lnTo>
                  <a:lnTo>
                    <a:pt x="26" y="2"/>
                  </a:lnTo>
                  <a:lnTo>
                    <a:pt x="30" y="2"/>
                  </a:lnTo>
                  <a:lnTo>
                    <a:pt x="34" y="4"/>
                  </a:lnTo>
                  <a:lnTo>
                    <a:pt x="36" y="4"/>
                  </a:lnTo>
                  <a:lnTo>
                    <a:pt x="42" y="4"/>
                  </a:lnTo>
                  <a:lnTo>
                    <a:pt x="52" y="6"/>
                  </a:lnTo>
                  <a:lnTo>
                    <a:pt x="54" y="6"/>
                  </a:lnTo>
                  <a:lnTo>
                    <a:pt x="56" y="6"/>
                  </a:lnTo>
                  <a:lnTo>
                    <a:pt x="64" y="12"/>
                  </a:lnTo>
                  <a:lnTo>
                    <a:pt x="66" y="14"/>
                  </a:lnTo>
                  <a:lnTo>
                    <a:pt x="66" y="16"/>
                  </a:lnTo>
                  <a:lnTo>
                    <a:pt x="68" y="20"/>
                  </a:lnTo>
                  <a:lnTo>
                    <a:pt x="68" y="26"/>
                  </a:lnTo>
                  <a:lnTo>
                    <a:pt x="68" y="28"/>
                  </a:lnTo>
                  <a:lnTo>
                    <a:pt x="66" y="28"/>
                  </a:lnTo>
                  <a:lnTo>
                    <a:pt x="64" y="24"/>
                  </a:lnTo>
                  <a:lnTo>
                    <a:pt x="64" y="22"/>
                  </a:lnTo>
                  <a:lnTo>
                    <a:pt x="64" y="20"/>
                  </a:lnTo>
                  <a:lnTo>
                    <a:pt x="62" y="14"/>
                  </a:lnTo>
                  <a:lnTo>
                    <a:pt x="60" y="14"/>
                  </a:lnTo>
                  <a:lnTo>
                    <a:pt x="58" y="16"/>
                  </a:lnTo>
                  <a:lnTo>
                    <a:pt x="58" y="24"/>
                  </a:lnTo>
                  <a:lnTo>
                    <a:pt x="58" y="32"/>
                  </a:lnTo>
                  <a:lnTo>
                    <a:pt x="58" y="36"/>
                  </a:lnTo>
                  <a:lnTo>
                    <a:pt x="58" y="40"/>
                  </a:lnTo>
                  <a:lnTo>
                    <a:pt x="58" y="44"/>
                  </a:lnTo>
                  <a:lnTo>
                    <a:pt x="58" y="46"/>
                  </a:lnTo>
                  <a:lnTo>
                    <a:pt x="56" y="52"/>
                  </a:lnTo>
                  <a:lnTo>
                    <a:pt x="54" y="54"/>
                  </a:lnTo>
                  <a:lnTo>
                    <a:pt x="48" y="62"/>
                  </a:lnTo>
                  <a:lnTo>
                    <a:pt x="42" y="68"/>
                  </a:lnTo>
                  <a:lnTo>
                    <a:pt x="40" y="72"/>
                  </a:lnTo>
                  <a:lnTo>
                    <a:pt x="34" y="74"/>
                  </a:lnTo>
                  <a:lnTo>
                    <a:pt x="14" y="68"/>
                  </a:lnTo>
                  <a:lnTo>
                    <a:pt x="6" y="5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6" name="Freeform 2551"/>
            <p:cNvSpPr>
              <a:spLocks/>
            </p:cNvSpPr>
            <p:nvPr/>
          </p:nvSpPr>
          <p:spPr bwMode="auto">
            <a:xfrm>
              <a:off x="3628" y="526"/>
              <a:ext cx="14" cy="8"/>
            </a:xfrm>
            <a:custGeom>
              <a:avLst/>
              <a:gdLst/>
              <a:ahLst/>
              <a:cxnLst>
                <a:cxn ang="0">
                  <a:pos x="4" y="0"/>
                </a:cxn>
                <a:cxn ang="0">
                  <a:pos x="6" y="0"/>
                </a:cxn>
                <a:cxn ang="0">
                  <a:pos x="8" y="0"/>
                </a:cxn>
                <a:cxn ang="0">
                  <a:pos x="8" y="2"/>
                </a:cxn>
                <a:cxn ang="0">
                  <a:pos x="10" y="2"/>
                </a:cxn>
                <a:cxn ang="0">
                  <a:pos x="12" y="4"/>
                </a:cxn>
                <a:cxn ang="0">
                  <a:pos x="12" y="6"/>
                </a:cxn>
                <a:cxn ang="0">
                  <a:pos x="14" y="6"/>
                </a:cxn>
                <a:cxn ang="0">
                  <a:pos x="14" y="8"/>
                </a:cxn>
                <a:cxn ang="0">
                  <a:pos x="12" y="8"/>
                </a:cxn>
                <a:cxn ang="0">
                  <a:pos x="10" y="8"/>
                </a:cxn>
                <a:cxn ang="0">
                  <a:pos x="8" y="8"/>
                </a:cxn>
                <a:cxn ang="0">
                  <a:pos x="4" y="6"/>
                </a:cxn>
                <a:cxn ang="0">
                  <a:pos x="2" y="6"/>
                </a:cxn>
                <a:cxn ang="0">
                  <a:pos x="0" y="4"/>
                </a:cxn>
                <a:cxn ang="0">
                  <a:pos x="2" y="2"/>
                </a:cxn>
                <a:cxn ang="0">
                  <a:pos x="4" y="2"/>
                </a:cxn>
                <a:cxn ang="0">
                  <a:pos x="4" y="0"/>
                </a:cxn>
              </a:cxnLst>
              <a:rect l="0" t="0" r="r" b="b"/>
              <a:pathLst>
                <a:path w="14" h="8">
                  <a:moveTo>
                    <a:pt x="4" y="0"/>
                  </a:moveTo>
                  <a:lnTo>
                    <a:pt x="6" y="0"/>
                  </a:lnTo>
                  <a:lnTo>
                    <a:pt x="8" y="0"/>
                  </a:lnTo>
                  <a:lnTo>
                    <a:pt x="8" y="2"/>
                  </a:lnTo>
                  <a:lnTo>
                    <a:pt x="10" y="2"/>
                  </a:lnTo>
                  <a:lnTo>
                    <a:pt x="12" y="4"/>
                  </a:lnTo>
                  <a:lnTo>
                    <a:pt x="12" y="6"/>
                  </a:lnTo>
                  <a:lnTo>
                    <a:pt x="14" y="6"/>
                  </a:lnTo>
                  <a:lnTo>
                    <a:pt x="14" y="8"/>
                  </a:lnTo>
                  <a:lnTo>
                    <a:pt x="12" y="8"/>
                  </a:lnTo>
                  <a:lnTo>
                    <a:pt x="10" y="8"/>
                  </a:lnTo>
                  <a:lnTo>
                    <a:pt x="8" y="8"/>
                  </a:lnTo>
                  <a:lnTo>
                    <a:pt x="4" y="6"/>
                  </a:lnTo>
                  <a:lnTo>
                    <a:pt x="2" y="6"/>
                  </a:lnTo>
                  <a:lnTo>
                    <a:pt x="0" y="4"/>
                  </a:lnTo>
                  <a:lnTo>
                    <a:pt x="2" y="2"/>
                  </a:lnTo>
                  <a:lnTo>
                    <a:pt x="4" y="2"/>
                  </a:lnTo>
                  <a:lnTo>
                    <a:pt x="4" y="0"/>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7" name="Freeform 2552"/>
            <p:cNvSpPr>
              <a:spLocks/>
            </p:cNvSpPr>
            <p:nvPr/>
          </p:nvSpPr>
          <p:spPr bwMode="auto">
            <a:xfrm>
              <a:off x="3434" y="750"/>
              <a:ext cx="18" cy="22"/>
            </a:xfrm>
            <a:custGeom>
              <a:avLst/>
              <a:gdLst/>
              <a:ahLst/>
              <a:cxnLst>
                <a:cxn ang="0">
                  <a:pos x="12" y="2"/>
                </a:cxn>
                <a:cxn ang="0">
                  <a:pos x="12" y="4"/>
                </a:cxn>
                <a:cxn ang="0">
                  <a:pos x="16" y="10"/>
                </a:cxn>
                <a:cxn ang="0">
                  <a:pos x="18" y="14"/>
                </a:cxn>
                <a:cxn ang="0">
                  <a:pos x="18" y="16"/>
                </a:cxn>
                <a:cxn ang="0">
                  <a:pos x="18" y="18"/>
                </a:cxn>
                <a:cxn ang="0">
                  <a:pos x="16" y="20"/>
                </a:cxn>
                <a:cxn ang="0">
                  <a:pos x="16" y="22"/>
                </a:cxn>
                <a:cxn ang="0">
                  <a:pos x="14" y="20"/>
                </a:cxn>
                <a:cxn ang="0">
                  <a:pos x="6" y="14"/>
                </a:cxn>
                <a:cxn ang="0">
                  <a:pos x="4" y="12"/>
                </a:cxn>
                <a:cxn ang="0">
                  <a:pos x="2" y="10"/>
                </a:cxn>
                <a:cxn ang="0">
                  <a:pos x="0" y="8"/>
                </a:cxn>
                <a:cxn ang="0">
                  <a:pos x="0" y="6"/>
                </a:cxn>
                <a:cxn ang="0">
                  <a:pos x="2" y="4"/>
                </a:cxn>
                <a:cxn ang="0">
                  <a:pos x="6" y="2"/>
                </a:cxn>
                <a:cxn ang="0">
                  <a:pos x="10" y="0"/>
                </a:cxn>
                <a:cxn ang="0">
                  <a:pos x="12" y="2"/>
                </a:cxn>
              </a:cxnLst>
              <a:rect l="0" t="0" r="r" b="b"/>
              <a:pathLst>
                <a:path w="18" h="22">
                  <a:moveTo>
                    <a:pt x="12" y="2"/>
                  </a:moveTo>
                  <a:lnTo>
                    <a:pt x="12" y="4"/>
                  </a:lnTo>
                  <a:lnTo>
                    <a:pt x="16" y="10"/>
                  </a:lnTo>
                  <a:lnTo>
                    <a:pt x="18" y="14"/>
                  </a:lnTo>
                  <a:lnTo>
                    <a:pt x="18" y="16"/>
                  </a:lnTo>
                  <a:lnTo>
                    <a:pt x="18" y="18"/>
                  </a:lnTo>
                  <a:lnTo>
                    <a:pt x="16" y="20"/>
                  </a:lnTo>
                  <a:lnTo>
                    <a:pt x="16" y="22"/>
                  </a:lnTo>
                  <a:lnTo>
                    <a:pt x="14" y="20"/>
                  </a:lnTo>
                  <a:lnTo>
                    <a:pt x="6" y="14"/>
                  </a:lnTo>
                  <a:lnTo>
                    <a:pt x="4" y="12"/>
                  </a:lnTo>
                  <a:lnTo>
                    <a:pt x="2" y="10"/>
                  </a:lnTo>
                  <a:lnTo>
                    <a:pt x="0" y="8"/>
                  </a:lnTo>
                  <a:lnTo>
                    <a:pt x="0" y="6"/>
                  </a:lnTo>
                  <a:lnTo>
                    <a:pt x="2" y="4"/>
                  </a:lnTo>
                  <a:lnTo>
                    <a:pt x="6" y="2"/>
                  </a:lnTo>
                  <a:lnTo>
                    <a:pt x="10" y="0"/>
                  </a:lnTo>
                  <a:lnTo>
                    <a:pt x="12" y="2"/>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8" name="Freeform 2816"/>
            <p:cNvSpPr>
              <a:spLocks/>
            </p:cNvSpPr>
            <p:nvPr/>
          </p:nvSpPr>
          <p:spPr bwMode="auto">
            <a:xfrm>
              <a:off x="3092" y="152"/>
              <a:ext cx="2030" cy="2476"/>
            </a:xfrm>
            <a:custGeom>
              <a:avLst/>
              <a:gdLst/>
              <a:ahLst/>
              <a:cxnLst>
                <a:cxn ang="0">
                  <a:pos x="836" y="66"/>
                </a:cxn>
                <a:cxn ang="0">
                  <a:pos x="790" y="24"/>
                </a:cxn>
                <a:cxn ang="0">
                  <a:pos x="782" y="72"/>
                </a:cxn>
                <a:cxn ang="0">
                  <a:pos x="724" y="152"/>
                </a:cxn>
                <a:cxn ang="0">
                  <a:pos x="696" y="212"/>
                </a:cxn>
                <a:cxn ang="0">
                  <a:pos x="656" y="320"/>
                </a:cxn>
                <a:cxn ang="0">
                  <a:pos x="618" y="206"/>
                </a:cxn>
                <a:cxn ang="0">
                  <a:pos x="540" y="234"/>
                </a:cxn>
                <a:cxn ang="0">
                  <a:pos x="614" y="372"/>
                </a:cxn>
                <a:cxn ang="0">
                  <a:pos x="578" y="396"/>
                </a:cxn>
                <a:cxn ang="0">
                  <a:pos x="488" y="512"/>
                </a:cxn>
                <a:cxn ang="0">
                  <a:pos x="516" y="608"/>
                </a:cxn>
                <a:cxn ang="0">
                  <a:pos x="396" y="604"/>
                </a:cxn>
                <a:cxn ang="0">
                  <a:pos x="458" y="700"/>
                </a:cxn>
                <a:cxn ang="0">
                  <a:pos x="308" y="606"/>
                </a:cxn>
                <a:cxn ang="0">
                  <a:pos x="220" y="506"/>
                </a:cxn>
                <a:cxn ang="0">
                  <a:pos x="176" y="466"/>
                </a:cxn>
                <a:cxn ang="0">
                  <a:pos x="264" y="494"/>
                </a:cxn>
                <a:cxn ang="0">
                  <a:pos x="458" y="466"/>
                </a:cxn>
                <a:cxn ang="0">
                  <a:pos x="434" y="320"/>
                </a:cxn>
                <a:cxn ang="0">
                  <a:pos x="264" y="254"/>
                </a:cxn>
                <a:cxn ang="0">
                  <a:pos x="152" y="260"/>
                </a:cxn>
                <a:cxn ang="0">
                  <a:pos x="128" y="220"/>
                </a:cxn>
                <a:cxn ang="0">
                  <a:pos x="38" y="254"/>
                </a:cxn>
                <a:cxn ang="0">
                  <a:pos x="58" y="412"/>
                </a:cxn>
                <a:cxn ang="0">
                  <a:pos x="116" y="634"/>
                </a:cxn>
                <a:cxn ang="0">
                  <a:pos x="162" y="730"/>
                </a:cxn>
                <a:cxn ang="0">
                  <a:pos x="214" y="938"/>
                </a:cxn>
                <a:cxn ang="0">
                  <a:pos x="164" y="1078"/>
                </a:cxn>
                <a:cxn ang="0">
                  <a:pos x="236" y="1132"/>
                </a:cxn>
                <a:cxn ang="0">
                  <a:pos x="164" y="1204"/>
                </a:cxn>
                <a:cxn ang="0">
                  <a:pos x="160" y="1368"/>
                </a:cxn>
                <a:cxn ang="0">
                  <a:pos x="288" y="1494"/>
                </a:cxn>
                <a:cxn ang="0">
                  <a:pos x="410" y="1610"/>
                </a:cxn>
                <a:cxn ang="0">
                  <a:pos x="444" y="1736"/>
                </a:cxn>
                <a:cxn ang="0">
                  <a:pos x="586" y="1768"/>
                </a:cxn>
                <a:cxn ang="0">
                  <a:pos x="710" y="1870"/>
                </a:cxn>
                <a:cxn ang="0">
                  <a:pos x="870" y="1910"/>
                </a:cxn>
                <a:cxn ang="0">
                  <a:pos x="1008" y="1912"/>
                </a:cxn>
                <a:cxn ang="0">
                  <a:pos x="1046" y="2040"/>
                </a:cxn>
                <a:cxn ang="0">
                  <a:pos x="996" y="2148"/>
                </a:cxn>
                <a:cxn ang="0">
                  <a:pos x="980" y="2212"/>
                </a:cxn>
                <a:cxn ang="0">
                  <a:pos x="984" y="2308"/>
                </a:cxn>
                <a:cxn ang="0">
                  <a:pos x="938" y="2372"/>
                </a:cxn>
                <a:cxn ang="0">
                  <a:pos x="1190" y="2462"/>
                </a:cxn>
                <a:cxn ang="0">
                  <a:pos x="1384" y="2422"/>
                </a:cxn>
                <a:cxn ang="0">
                  <a:pos x="1556" y="2418"/>
                </a:cxn>
                <a:cxn ang="0">
                  <a:pos x="1760" y="2452"/>
                </a:cxn>
                <a:cxn ang="0">
                  <a:pos x="1668" y="2294"/>
                </a:cxn>
                <a:cxn ang="0">
                  <a:pos x="1568" y="2210"/>
                </a:cxn>
                <a:cxn ang="0">
                  <a:pos x="1636" y="2030"/>
                </a:cxn>
                <a:cxn ang="0">
                  <a:pos x="1538" y="1894"/>
                </a:cxn>
                <a:cxn ang="0">
                  <a:pos x="1404" y="1790"/>
                </a:cxn>
                <a:cxn ang="0">
                  <a:pos x="1478" y="1694"/>
                </a:cxn>
                <a:cxn ang="0">
                  <a:pos x="1508" y="1520"/>
                </a:cxn>
                <a:cxn ang="0">
                  <a:pos x="1586" y="1442"/>
                </a:cxn>
                <a:cxn ang="0">
                  <a:pos x="1758" y="1468"/>
                </a:cxn>
                <a:cxn ang="0">
                  <a:pos x="1838" y="1384"/>
                </a:cxn>
                <a:cxn ang="0">
                  <a:pos x="1946" y="1334"/>
                </a:cxn>
                <a:cxn ang="0">
                  <a:pos x="1980" y="1196"/>
                </a:cxn>
                <a:cxn ang="0">
                  <a:pos x="1958" y="1066"/>
                </a:cxn>
                <a:cxn ang="0">
                  <a:pos x="1918" y="1030"/>
                </a:cxn>
                <a:cxn ang="0">
                  <a:pos x="1966" y="930"/>
                </a:cxn>
              </a:cxnLst>
              <a:rect l="0" t="0" r="r" b="b"/>
              <a:pathLst>
                <a:path w="2030" h="2476">
                  <a:moveTo>
                    <a:pt x="2000" y="874"/>
                  </a:moveTo>
                  <a:lnTo>
                    <a:pt x="2000" y="872"/>
                  </a:lnTo>
                  <a:lnTo>
                    <a:pt x="2002" y="870"/>
                  </a:lnTo>
                  <a:lnTo>
                    <a:pt x="2004" y="870"/>
                  </a:lnTo>
                  <a:lnTo>
                    <a:pt x="2006" y="868"/>
                  </a:lnTo>
                  <a:lnTo>
                    <a:pt x="2010" y="862"/>
                  </a:lnTo>
                  <a:lnTo>
                    <a:pt x="2020" y="858"/>
                  </a:lnTo>
                  <a:lnTo>
                    <a:pt x="2022" y="856"/>
                  </a:lnTo>
                  <a:lnTo>
                    <a:pt x="2022" y="852"/>
                  </a:lnTo>
                  <a:lnTo>
                    <a:pt x="2022" y="848"/>
                  </a:lnTo>
                  <a:lnTo>
                    <a:pt x="2024" y="846"/>
                  </a:lnTo>
                  <a:lnTo>
                    <a:pt x="2026" y="844"/>
                  </a:lnTo>
                  <a:lnTo>
                    <a:pt x="2028" y="844"/>
                  </a:lnTo>
                  <a:lnTo>
                    <a:pt x="2030" y="844"/>
                  </a:lnTo>
                  <a:lnTo>
                    <a:pt x="2030" y="0"/>
                  </a:lnTo>
                  <a:lnTo>
                    <a:pt x="868" y="0"/>
                  </a:lnTo>
                  <a:lnTo>
                    <a:pt x="868" y="4"/>
                  </a:lnTo>
                  <a:lnTo>
                    <a:pt x="868" y="6"/>
                  </a:lnTo>
                  <a:lnTo>
                    <a:pt x="866" y="6"/>
                  </a:lnTo>
                  <a:lnTo>
                    <a:pt x="866" y="8"/>
                  </a:lnTo>
                  <a:lnTo>
                    <a:pt x="864" y="12"/>
                  </a:lnTo>
                  <a:lnTo>
                    <a:pt x="862" y="14"/>
                  </a:lnTo>
                  <a:lnTo>
                    <a:pt x="860" y="14"/>
                  </a:lnTo>
                  <a:lnTo>
                    <a:pt x="858" y="16"/>
                  </a:lnTo>
                  <a:lnTo>
                    <a:pt x="856" y="20"/>
                  </a:lnTo>
                  <a:lnTo>
                    <a:pt x="854" y="24"/>
                  </a:lnTo>
                  <a:lnTo>
                    <a:pt x="852" y="34"/>
                  </a:lnTo>
                  <a:lnTo>
                    <a:pt x="852" y="38"/>
                  </a:lnTo>
                  <a:lnTo>
                    <a:pt x="852" y="40"/>
                  </a:lnTo>
                  <a:lnTo>
                    <a:pt x="856" y="46"/>
                  </a:lnTo>
                  <a:lnTo>
                    <a:pt x="858" y="48"/>
                  </a:lnTo>
                  <a:lnTo>
                    <a:pt x="860" y="52"/>
                  </a:lnTo>
                  <a:lnTo>
                    <a:pt x="862" y="58"/>
                  </a:lnTo>
                  <a:lnTo>
                    <a:pt x="862" y="60"/>
                  </a:lnTo>
                  <a:lnTo>
                    <a:pt x="858" y="62"/>
                  </a:lnTo>
                  <a:lnTo>
                    <a:pt x="856" y="62"/>
                  </a:lnTo>
                  <a:lnTo>
                    <a:pt x="854" y="60"/>
                  </a:lnTo>
                  <a:lnTo>
                    <a:pt x="854" y="58"/>
                  </a:lnTo>
                  <a:lnTo>
                    <a:pt x="852" y="58"/>
                  </a:lnTo>
                  <a:lnTo>
                    <a:pt x="848" y="54"/>
                  </a:lnTo>
                  <a:lnTo>
                    <a:pt x="846" y="54"/>
                  </a:lnTo>
                  <a:lnTo>
                    <a:pt x="844" y="54"/>
                  </a:lnTo>
                  <a:lnTo>
                    <a:pt x="844" y="56"/>
                  </a:lnTo>
                  <a:lnTo>
                    <a:pt x="844" y="58"/>
                  </a:lnTo>
                  <a:lnTo>
                    <a:pt x="844" y="60"/>
                  </a:lnTo>
                  <a:lnTo>
                    <a:pt x="844" y="68"/>
                  </a:lnTo>
                  <a:lnTo>
                    <a:pt x="842" y="68"/>
                  </a:lnTo>
                  <a:lnTo>
                    <a:pt x="840" y="64"/>
                  </a:lnTo>
                  <a:lnTo>
                    <a:pt x="836" y="66"/>
                  </a:lnTo>
                  <a:lnTo>
                    <a:pt x="836" y="70"/>
                  </a:lnTo>
                  <a:lnTo>
                    <a:pt x="836" y="72"/>
                  </a:lnTo>
                  <a:lnTo>
                    <a:pt x="832" y="72"/>
                  </a:lnTo>
                  <a:lnTo>
                    <a:pt x="830" y="72"/>
                  </a:lnTo>
                  <a:lnTo>
                    <a:pt x="828" y="72"/>
                  </a:lnTo>
                  <a:lnTo>
                    <a:pt x="826" y="74"/>
                  </a:lnTo>
                  <a:lnTo>
                    <a:pt x="820" y="76"/>
                  </a:lnTo>
                  <a:lnTo>
                    <a:pt x="818" y="80"/>
                  </a:lnTo>
                  <a:lnTo>
                    <a:pt x="816" y="80"/>
                  </a:lnTo>
                  <a:lnTo>
                    <a:pt x="814" y="82"/>
                  </a:lnTo>
                  <a:lnTo>
                    <a:pt x="812" y="82"/>
                  </a:lnTo>
                  <a:lnTo>
                    <a:pt x="810" y="82"/>
                  </a:lnTo>
                  <a:lnTo>
                    <a:pt x="810" y="80"/>
                  </a:lnTo>
                  <a:lnTo>
                    <a:pt x="810" y="74"/>
                  </a:lnTo>
                  <a:lnTo>
                    <a:pt x="810" y="70"/>
                  </a:lnTo>
                  <a:lnTo>
                    <a:pt x="812" y="70"/>
                  </a:lnTo>
                  <a:lnTo>
                    <a:pt x="814" y="68"/>
                  </a:lnTo>
                  <a:lnTo>
                    <a:pt x="816" y="68"/>
                  </a:lnTo>
                  <a:lnTo>
                    <a:pt x="818" y="68"/>
                  </a:lnTo>
                  <a:lnTo>
                    <a:pt x="820" y="68"/>
                  </a:lnTo>
                  <a:lnTo>
                    <a:pt x="816" y="64"/>
                  </a:lnTo>
                  <a:lnTo>
                    <a:pt x="814" y="64"/>
                  </a:lnTo>
                  <a:lnTo>
                    <a:pt x="814" y="62"/>
                  </a:lnTo>
                  <a:lnTo>
                    <a:pt x="816" y="62"/>
                  </a:lnTo>
                  <a:lnTo>
                    <a:pt x="820" y="62"/>
                  </a:lnTo>
                  <a:lnTo>
                    <a:pt x="824" y="64"/>
                  </a:lnTo>
                  <a:lnTo>
                    <a:pt x="824" y="58"/>
                  </a:lnTo>
                  <a:lnTo>
                    <a:pt x="820" y="52"/>
                  </a:lnTo>
                  <a:lnTo>
                    <a:pt x="818" y="50"/>
                  </a:lnTo>
                  <a:lnTo>
                    <a:pt x="816" y="48"/>
                  </a:lnTo>
                  <a:lnTo>
                    <a:pt x="814" y="48"/>
                  </a:lnTo>
                  <a:lnTo>
                    <a:pt x="812" y="46"/>
                  </a:lnTo>
                  <a:lnTo>
                    <a:pt x="806" y="44"/>
                  </a:lnTo>
                  <a:lnTo>
                    <a:pt x="806" y="42"/>
                  </a:lnTo>
                  <a:lnTo>
                    <a:pt x="804" y="42"/>
                  </a:lnTo>
                  <a:lnTo>
                    <a:pt x="806" y="40"/>
                  </a:lnTo>
                  <a:lnTo>
                    <a:pt x="806" y="38"/>
                  </a:lnTo>
                  <a:lnTo>
                    <a:pt x="804" y="36"/>
                  </a:lnTo>
                  <a:lnTo>
                    <a:pt x="802" y="34"/>
                  </a:lnTo>
                  <a:lnTo>
                    <a:pt x="802" y="26"/>
                  </a:lnTo>
                  <a:lnTo>
                    <a:pt x="802" y="24"/>
                  </a:lnTo>
                  <a:lnTo>
                    <a:pt x="802" y="22"/>
                  </a:lnTo>
                  <a:lnTo>
                    <a:pt x="802" y="20"/>
                  </a:lnTo>
                  <a:lnTo>
                    <a:pt x="800" y="20"/>
                  </a:lnTo>
                  <a:lnTo>
                    <a:pt x="798" y="20"/>
                  </a:lnTo>
                  <a:lnTo>
                    <a:pt x="796" y="22"/>
                  </a:lnTo>
                  <a:lnTo>
                    <a:pt x="794" y="22"/>
                  </a:lnTo>
                  <a:lnTo>
                    <a:pt x="792" y="22"/>
                  </a:lnTo>
                  <a:lnTo>
                    <a:pt x="790" y="24"/>
                  </a:lnTo>
                  <a:lnTo>
                    <a:pt x="792" y="26"/>
                  </a:lnTo>
                  <a:lnTo>
                    <a:pt x="788" y="26"/>
                  </a:lnTo>
                  <a:lnTo>
                    <a:pt x="786" y="24"/>
                  </a:lnTo>
                  <a:lnTo>
                    <a:pt x="790" y="20"/>
                  </a:lnTo>
                  <a:lnTo>
                    <a:pt x="792" y="18"/>
                  </a:lnTo>
                  <a:lnTo>
                    <a:pt x="794" y="18"/>
                  </a:lnTo>
                  <a:lnTo>
                    <a:pt x="796" y="16"/>
                  </a:lnTo>
                  <a:lnTo>
                    <a:pt x="802" y="10"/>
                  </a:lnTo>
                  <a:lnTo>
                    <a:pt x="806" y="6"/>
                  </a:lnTo>
                  <a:lnTo>
                    <a:pt x="810" y="2"/>
                  </a:lnTo>
                  <a:lnTo>
                    <a:pt x="810" y="0"/>
                  </a:lnTo>
                  <a:lnTo>
                    <a:pt x="804" y="0"/>
                  </a:lnTo>
                  <a:lnTo>
                    <a:pt x="796" y="8"/>
                  </a:lnTo>
                  <a:lnTo>
                    <a:pt x="794" y="10"/>
                  </a:lnTo>
                  <a:lnTo>
                    <a:pt x="790" y="14"/>
                  </a:lnTo>
                  <a:lnTo>
                    <a:pt x="788" y="16"/>
                  </a:lnTo>
                  <a:lnTo>
                    <a:pt x="786" y="20"/>
                  </a:lnTo>
                  <a:lnTo>
                    <a:pt x="782" y="26"/>
                  </a:lnTo>
                  <a:lnTo>
                    <a:pt x="782" y="28"/>
                  </a:lnTo>
                  <a:lnTo>
                    <a:pt x="780" y="30"/>
                  </a:lnTo>
                  <a:lnTo>
                    <a:pt x="780" y="32"/>
                  </a:lnTo>
                  <a:lnTo>
                    <a:pt x="778" y="34"/>
                  </a:lnTo>
                  <a:lnTo>
                    <a:pt x="778" y="36"/>
                  </a:lnTo>
                  <a:lnTo>
                    <a:pt x="778" y="38"/>
                  </a:lnTo>
                  <a:lnTo>
                    <a:pt x="776" y="42"/>
                  </a:lnTo>
                  <a:lnTo>
                    <a:pt x="774" y="44"/>
                  </a:lnTo>
                  <a:lnTo>
                    <a:pt x="774" y="46"/>
                  </a:lnTo>
                  <a:lnTo>
                    <a:pt x="770" y="54"/>
                  </a:lnTo>
                  <a:lnTo>
                    <a:pt x="770" y="58"/>
                  </a:lnTo>
                  <a:lnTo>
                    <a:pt x="768" y="62"/>
                  </a:lnTo>
                  <a:lnTo>
                    <a:pt x="766" y="66"/>
                  </a:lnTo>
                  <a:lnTo>
                    <a:pt x="766" y="68"/>
                  </a:lnTo>
                  <a:lnTo>
                    <a:pt x="766" y="70"/>
                  </a:lnTo>
                  <a:lnTo>
                    <a:pt x="766" y="72"/>
                  </a:lnTo>
                  <a:lnTo>
                    <a:pt x="768" y="72"/>
                  </a:lnTo>
                  <a:lnTo>
                    <a:pt x="770" y="70"/>
                  </a:lnTo>
                  <a:lnTo>
                    <a:pt x="770" y="68"/>
                  </a:lnTo>
                  <a:lnTo>
                    <a:pt x="770" y="66"/>
                  </a:lnTo>
                  <a:lnTo>
                    <a:pt x="770" y="64"/>
                  </a:lnTo>
                  <a:lnTo>
                    <a:pt x="772" y="62"/>
                  </a:lnTo>
                  <a:lnTo>
                    <a:pt x="774" y="62"/>
                  </a:lnTo>
                  <a:lnTo>
                    <a:pt x="774" y="64"/>
                  </a:lnTo>
                  <a:lnTo>
                    <a:pt x="772" y="66"/>
                  </a:lnTo>
                  <a:lnTo>
                    <a:pt x="770" y="66"/>
                  </a:lnTo>
                  <a:lnTo>
                    <a:pt x="772" y="68"/>
                  </a:lnTo>
                  <a:lnTo>
                    <a:pt x="776" y="72"/>
                  </a:lnTo>
                  <a:lnTo>
                    <a:pt x="778" y="72"/>
                  </a:lnTo>
                  <a:lnTo>
                    <a:pt x="780" y="72"/>
                  </a:lnTo>
                  <a:lnTo>
                    <a:pt x="782" y="72"/>
                  </a:lnTo>
                  <a:lnTo>
                    <a:pt x="784" y="72"/>
                  </a:lnTo>
                  <a:lnTo>
                    <a:pt x="786" y="76"/>
                  </a:lnTo>
                  <a:lnTo>
                    <a:pt x="786" y="78"/>
                  </a:lnTo>
                  <a:lnTo>
                    <a:pt x="786" y="80"/>
                  </a:lnTo>
                  <a:lnTo>
                    <a:pt x="784" y="82"/>
                  </a:lnTo>
                  <a:lnTo>
                    <a:pt x="784" y="84"/>
                  </a:lnTo>
                  <a:lnTo>
                    <a:pt x="784" y="88"/>
                  </a:lnTo>
                  <a:lnTo>
                    <a:pt x="782" y="90"/>
                  </a:lnTo>
                  <a:lnTo>
                    <a:pt x="780" y="96"/>
                  </a:lnTo>
                  <a:lnTo>
                    <a:pt x="778" y="96"/>
                  </a:lnTo>
                  <a:lnTo>
                    <a:pt x="772" y="92"/>
                  </a:lnTo>
                  <a:lnTo>
                    <a:pt x="774" y="90"/>
                  </a:lnTo>
                  <a:lnTo>
                    <a:pt x="774" y="88"/>
                  </a:lnTo>
                  <a:lnTo>
                    <a:pt x="776" y="86"/>
                  </a:lnTo>
                  <a:lnTo>
                    <a:pt x="774" y="80"/>
                  </a:lnTo>
                  <a:lnTo>
                    <a:pt x="772" y="80"/>
                  </a:lnTo>
                  <a:lnTo>
                    <a:pt x="768" y="80"/>
                  </a:lnTo>
                  <a:lnTo>
                    <a:pt x="766" y="76"/>
                  </a:lnTo>
                  <a:lnTo>
                    <a:pt x="762" y="80"/>
                  </a:lnTo>
                  <a:lnTo>
                    <a:pt x="758" y="88"/>
                  </a:lnTo>
                  <a:lnTo>
                    <a:pt x="756" y="88"/>
                  </a:lnTo>
                  <a:lnTo>
                    <a:pt x="754" y="90"/>
                  </a:lnTo>
                  <a:lnTo>
                    <a:pt x="754" y="92"/>
                  </a:lnTo>
                  <a:lnTo>
                    <a:pt x="752" y="92"/>
                  </a:lnTo>
                  <a:lnTo>
                    <a:pt x="750" y="92"/>
                  </a:lnTo>
                  <a:lnTo>
                    <a:pt x="750" y="94"/>
                  </a:lnTo>
                  <a:lnTo>
                    <a:pt x="752" y="96"/>
                  </a:lnTo>
                  <a:lnTo>
                    <a:pt x="754" y="96"/>
                  </a:lnTo>
                  <a:lnTo>
                    <a:pt x="754" y="98"/>
                  </a:lnTo>
                  <a:lnTo>
                    <a:pt x="752" y="100"/>
                  </a:lnTo>
                  <a:lnTo>
                    <a:pt x="742" y="112"/>
                  </a:lnTo>
                  <a:lnTo>
                    <a:pt x="740" y="116"/>
                  </a:lnTo>
                  <a:lnTo>
                    <a:pt x="738" y="116"/>
                  </a:lnTo>
                  <a:lnTo>
                    <a:pt x="736" y="116"/>
                  </a:lnTo>
                  <a:lnTo>
                    <a:pt x="734" y="116"/>
                  </a:lnTo>
                  <a:lnTo>
                    <a:pt x="732" y="116"/>
                  </a:lnTo>
                  <a:lnTo>
                    <a:pt x="732" y="118"/>
                  </a:lnTo>
                  <a:lnTo>
                    <a:pt x="732" y="122"/>
                  </a:lnTo>
                  <a:lnTo>
                    <a:pt x="732" y="124"/>
                  </a:lnTo>
                  <a:lnTo>
                    <a:pt x="732" y="126"/>
                  </a:lnTo>
                  <a:lnTo>
                    <a:pt x="732" y="128"/>
                  </a:lnTo>
                  <a:lnTo>
                    <a:pt x="730" y="130"/>
                  </a:lnTo>
                  <a:lnTo>
                    <a:pt x="728" y="134"/>
                  </a:lnTo>
                  <a:lnTo>
                    <a:pt x="728" y="136"/>
                  </a:lnTo>
                  <a:lnTo>
                    <a:pt x="726" y="140"/>
                  </a:lnTo>
                  <a:lnTo>
                    <a:pt x="726" y="142"/>
                  </a:lnTo>
                  <a:lnTo>
                    <a:pt x="724" y="146"/>
                  </a:lnTo>
                  <a:lnTo>
                    <a:pt x="724" y="150"/>
                  </a:lnTo>
                  <a:lnTo>
                    <a:pt x="724" y="152"/>
                  </a:lnTo>
                  <a:lnTo>
                    <a:pt x="724" y="154"/>
                  </a:lnTo>
                  <a:lnTo>
                    <a:pt x="724" y="156"/>
                  </a:lnTo>
                  <a:lnTo>
                    <a:pt x="724" y="158"/>
                  </a:lnTo>
                  <a:lnTo>
                    <a:pt x="722" y="160"/>
                  </a:lnTo>
                  <a:lnTo>
                    <a:pt x="722" y="158"/>
                  </a:lnTo>
                  <a:lnTo>
                    <a:pt x="724" y="158"/>
                  </a:lnTo>
                  <a:lnTo>
                    <a:pt x="724" y="154"/>
                  </a:lnTo>
                  <a:lnTo>
                    <a:pt x="724" y="152"/>
                  </a:lnTo>
                  <a:lnTo>
                    <a:pt x="722" y="152"/>
                  </a:lnTo>
                  <a:lnTo>
                    <a:pt x="722" y="154"/>
                  </a:lnTo>
                  <a:lnTo>
                    <a:pt x="720" y="156"/>
                  </a:lnTo>
                  <a:lnTo>
                    <a:pt x="720" y="158"/>
                  </a:lnTo>
                  <a:lnTo>
                    <a:pt x="720" y="160"/>
                  </a:lnTo>
                  <a:lnTo>
                    <a:pt x="720" y="162"/>
                  </a:lnTo>
                  <a:lnTo>
                    <a:pt x="720" y="164"/>
                  </a:lnTo>
                  <a:lnTo>
                    <a:pt x="718" y="166"/>
                  </a:lnTo>
                  <a:lnTo>
                    <a:pt x="716" y="168"/>
                  </a:lnTo>
                  <a:lnTo>
                    <a:pt x="710" y="182"/>
                  </a:lnTo>
                  <a:lnTo>
                    <a:pt x="708" y="182"/>
                  </a:lnTo>
                  <a:lnTo>
                    <a:pt x="706" y="186"/>
                  </a:lnTo>
                  <a:lnTo>
                    <a:pt x="704" y="188"/>
                  </a:lnTo>
                  <a:lnTo>
                    <a:pt x="702" y="188"/>
                  </a:lnTo>
                  <a:lnTo>
                    <a:pt x="702" y="190"/>
                  </a:lnTo>
                  <a:lnTo>
                    <a:pt x="700" y="190"/>
                  </a:lnTo>
                  <a:lnTo>
                    <a:pt x="698" y="190"/>
                  </a:lnTo>
                  <a:lnTo>
                    <a:pt x="696" y="188"/>
                  </a:lnTo>
                  <a:lnTo>
                    <a:pt x="694" y="188"/>
                  </a:lnTo>
                  <a:lnTo>
                    <a:pt x="692" y="186"/>
                  </a:lnTo>
                  <a:lnTo>
                    <a:pt x="690" y="186"/>
                  </a:lnTo>
                  <a:lnTo>
                    <a:pt x="688" y="188"/>
                  </a:lnTo>
                  <a:lnTo>
                    <a:pt x="690" y="188"/>
                  </a:lnTo>
                  <a:lnTo>
                    <a:pt x="690" y="190"/>
                  </a:lnTo>
                  <a:lnTo>
                    <a:pt x="694" y="190"/>
                  </a:lnTo>
                  <a:lnTo>
                    <a:pt x="696" y="190"/>
                  </a:lnTo>
                  <a:lnTo>
                    <a:pt x="698" y="192"/>
                  </a:lnTo>
                  <a:lnTo>
                    <a:pt x="700" y="194"/>
                  </a:lnTo>
                  <a:lnTo>
                    <a:pt x="706" y="200"/>
                  </a:lnTo>
                  <a:lnTo>
                    <a:pt x="714" y="202"/>
                  </a:lnTo>
                  <a:lnTo>
                    <a:pt x="718" y="204"/>
                  </a:lnTo>
                  <a:lnTo>
                    <a:pt x="716" y="204"/>
                  </a:lnTo>
                  <a:lnTo>
                    <a:pt x="714" y="206"/>
                  </a:lnTo>
                  <a:lnTo>
                    <a:pt x="712" y="204"/>
                  </a:lnTo>
                  <a:lnTo>
                    <a:pt x="710" y="202"/>
                  </a:lnTo>
                  <a:lnTo>
                    <a:pt x="708" y="202"/>
                  </a:lnTo>
                  <a:lnTo>
                    <a:pt x="700" y="204"/>
                  </a:lnTo>
                  <a:lnTo>
                    <a:pt x="700" y="206"/>
                  </a:lnTo>
                  <a:lnTo>
                    <a:pt x="700" y="208"/>
                  </a:lnTo>
                  <a:lnTo>
                    <a:pt x="698" y="210"/>
                  </a:lnTo>
                  <a:lnTo>
                    <a:pt x="696" y="212"/>
                  </a:lnTo>
                  <a:lnTo>
                    <a:pt x="692" y="212"/>
                  </a:lnTo>
                  <a:lnTo>
                    <a:pt x="690" y="214"/>
                  </a:lnTo>
                  <a:lnTo>
                    <a:pt x="688" y="216"/>
                  </a:lnTo>
                  <a:lnTo>
                    <a:pt x="688" y="220"/>
                  </a:lnTo>
                  <a:lnTo>
                    <a:pt x="686" y="220"/>
                  </a:lnTo>
                  <a:lnTo>
                    <a:pt x="682" y="220"/>
                  </a:lnTo>
                  <a:lnTo>
                    <a:pt x="680" y="226"/>
                  </a:lnTo>
                  <a:lnTo>
                    <a:pt x="680" y="228"/>
                  </a:lnTo>
                  <a:lnTo>
                    <a:pt x="680" y="230"/>
                  </a:lnTo>
                  <a:lnTo>
                    <a:pt x="684" y="232"/>
                  </a:lnTo>
                  <a:lnTo>
                    <a:pt x="686" y="234"/>
                  </a:lnTo>
                  <a:lnTo>
                    <a:pt x="688" y="234"/>
                  </a:lnTo>
                  <a:lnTo>
                    <a:pt x="688" y="236"/>
                  </a:lnTo>
                  <a:lnTo>
                    <a:pt x="690" y="238"/>
                  </a:lnTo>
                  <a:lnTo>
                    <a:pt x="690" y="240"/>
                  </a:lnTo>
                  <a:lnTo>
                    <a:pt x="690" y="244"/>
                  </a:lnTo>
                  <a:lnTo>
                    <a:pt x="690" y="246"/>
                  </a:lnTo>
                  <a:lnTo>
                    <a:pt x="694" y="264"/>
                  </a:lnTo>
                  <a:lnTo>
                    <a:pt x="696" y="264"/>
                  </a:lnTo>
                  <a:lnTo>
                    <a:pt x="698" y="266"/>
                  </a:lnTo>
                  <a:lnTo>
                    <a:pt x="698" y="268"/>
                  </a:lnTo>
                  <a:lnTo>
                    <a:pt x="702" y="274"/>
                  </a:lnTo>
                  <a:lnTo>
                    <a:pt x="704" y="276"/>
                  </a:lnTo>
                  <a:lnTo>
                    <a:pt x="704" y="280"/>
                  </a:lnTo>
                  <a:lnTo>
                    <a:pt x="702" y="286"/>
                  </a:lnTo>
                  <a:lnTo>
                    <a:pt x="700" y="290"/>
                  </a:lnTo>
                  <a:lnTo>
                    <a:pt x="698" y="290"/>
                  </a:lnTo>
                  <a:lnTo>
                    <a:pt x="696" y="290"/>
                  </a:lnTo>
                  <a:lnTo>
                    <a:pt x="694" y="292"/>
                  </a:lnTo>
                  <a:lnTo>
                    <a:pt x="692" y="294"/>
                  </a:lnTo>
                  <a:lnTo>
                    <a:pt x="692" y="296"/>
                  </a:lnTo>
                  <a:lnTo>
                    <a:pt x="688" y="300"/>
                  </a:lnTo>
                  <a:lnTo>
                    <a:pt x="684" y="304"/>
                  </a:lnTo>
                  <a:lnTo>
                    <a:pt x="680" y="308"/>
                  </a:lnTo>
                  <a:lnTo>
                    <a:pt x="676" y="310"/>
                  </a:lnTo>
                  <a:lnTo>
                    <a:pt x="674" y="312"/>
                  </a:lnTo>
                  <a:lnTo>
                    <a:pt x="674" y="314"/>
                  </a:lnTo>
                  <a:lnTo>
                    <a:pt x="674" y="318"/>
                  </a:lnTo>
                  <a:lnTo>
                    <a:pt x="670" y="322"/>
                  </a:lnTo>
                  <a:lnTo>
                    <a:pt x="672" y="314"/>
                  </a:lnTo>
                  <a:lnTo>
                    <a:pt x="674" y="310"/>
                  </a:lnTo>
                  <a:lnTo>
                    <a:pt x="672" y="308"/>
                  </a:lnTo>
                  <a:lnTo>
                    <a:pt x="670" y="308"/>
                  </a:lnTo>
                  <a:lnTo>
                    <a:pt x="668" y="310"/>
                  </a:lnTo>
                  <a:lnTo>
                    <a:pt x="666" y="312"/>
                  </a:lnTo>
                  <a:lnTo>
                    <a:pt x="664" y="314"/>
                  </a:lnTo>
                  <a:lnTo>
                    <a:pt x="662" y="314"/>
                  </a:lnTo>
                  <a:lnTo>
                    <a:pt x="662" y="316"/>
                  </a:lnTo>
                  <a:lnTo>
                    <a:pt x="656" y="320"/>
                  </a:lnTo>
                  <a:lnTo>
                    <a:pt x="646" y="318"/>
                  </a:lnTo>
                  <a:lnTo>
                    <a:pt x="638" y="310"/>
                  </a:lnTo>
                  <a:lnTo>
                    <a:pt x="636" y="308"/>
                  </a:lnTo>
                  <a:lnTo>
                    <a:pt x="632" y="306"/>
                  </a:lnTo>
                  <a:lnTo>
                    <a:pt x="630" y="302"/>
                  </a:lnTo>
                  <a:lnTo>
                    <a:pt x="630" y="300"/>
                  </a:lnTo>
                  <a:lnTo>
                    <a:pt x="626" y="298"/>
                  </a:lnTo>
                  <a:lnTo>
                    <a:pt x="624" y="298"/>
                  </a:lnTo>
                  <a:lnTo>
                    <a:pt x="620" y="296"/>
                  </a:lnTo>
                  <a:lnTo>
                    <a:pt x="618" y="298"/>
                  </a:lnTo>
                  <a:lnTo>
                    <a:pt x="616" y="298"/>
                  </a:lnTo>
                  <a:lnTo>
                    <a:pt x="608" y="296"/>
                  </a:lnTo>
                  <a:lnTo>
                    <a:pt x="606" y="296"/>
                  </a:lnTo>
                  <a:lnTo>
                    <a:pt x="600" y="294"/>
                  </a:lnTo>
                  <a:lnTo>
                    <a:pt x="596" y="294"/>
                  </a:lnTo>
                  <a:lnTo>
                    <a:pt x="596" y="292"/>
                  </a:lnTo>
                  <a:lnTo>
                    <a:pt x="592" y="286"/>
                  </a:lnTo>
                  <a:lnTo>
                    <a:pt x="592" y="284"/>
                  </a:lnTo>
                  <a:lnTo>
                    <a:pt x="592" y="282"/>
                  </a:lnTo>
                  <a:lnTo>
                    <a:pt x="592" y="278"/>
                  </a:lnTo>
                  <a:lnTo>
                    <a:pt x="592" y="276"/>
                  </a:lnTo>
                  <a:lnTo>
                    <a:pt x="594" y="272"/>
                  </a:lnTo>
                  <a:lnTo>
                    <a:pt x="594" y="270"/>
                  </a:lnTo>
                  <a:lnTo>
                    <a:pt x="596" y="268"/>
                  </a:lnTo>
                  <a:lnTo>
                    <a:pt x="598" y="268"/>
                  </a:lnTo>
                  <a:lnTo>
                    <a:pt x="598" y="264"/>
                  </a:lnTo>
                  <a:lnTo>
                    <a:pt x="598" y="260"/>
                  </a:lnTo>
                  <a:lnTo>
                    <a:pt x="596" y="258"/>
                  </a:lnTo>
                  <a:lnTo>
                    <a:pt x="594" y="258"/>
                  </a:lnTo>
                  <a:lnTo>
                    <a:pt x="594" y="256"/>
                  </a:lnTo>
                  <a:lnTo>
                    <a:pt x="596" y="254"/>
                  </a:lnTo>
                  <a:lnTo>
                    <a:pt x="596" y="252"/>
                  </a:lnTo>
                  <a:lnTo>
                    <a:pt x="598" y="250"/>
                  </a:lnTo>
                  <a:lnTo>
                    <a:pt x="600" y="248"/>
                  </a:lnTo>
                  <a:lnTo>
                    <a:pt x="602" y="246"/>
                  </a:lnTo>
                  <a:lnTo>
                    <a:pt x="606" y="246"/>
                  </a:lnTo>
                  <a:lnTo>
                    <a:pt x="608" y="244"/>
                  </a:lnTo>
                  <a:lnTo>
                    <a:pt x="618" y="236"/>
                  </a:lnTo>
                  <a:lnTo>
                    <a:pt x="620" y="234"/>
                  </a:lnTo>
                  <a:lnTo>
                    <a:pt x="624" y="230"/>
                  </a:lnTo>
                  <a:lnTo>
                    <a:pt x="632" y="228"/>
                  </a:lnTo>
                  <a:lnTo>
                    <a:pt x="634" y="228"/>
                  </a:lnTo>
                  <a:lnTo>
                    <a:pt x="634" y="224"/>
                  </a:lnTo>
                  <a:lnTo>
                    <a:pt x="630" y="218"/>
                  </a:lnTo>
                  <a:lnTo>
                    <a:pt x="626" y="218"/>
                  </a:lnTo>
                  <a:lnTo>
                    <a:pt x="622" y="214"/>
                  </a:lnTo>
                  <a:lnTo>
                    <a:pt x="620" y="212"/>
                  </a:lnTo>
                  <a:lnTo>
                    <a:pt x="618" y="210"/>
                  </a:lnTo>
                  <a:lnTo>
                    <a:pt x="618" y="206"/>
                  </a:lnTo>
                  <a:lnTo>
                    <a:pt x="614" y="202"/>
                  </a:lnTo>
                  <a:lnTo>
                    <a:pt x="612" y="202"/>
                  </a:lnTo>
                  <a:lnTo>
                    <a:pt x="606" y="200"/>
                  </a:lnTo>
                  <a:lnTo>
                    <a:pt x="604" y="200"/>
                  </a:lnTo>
                  <a:lnTo>
                    <a:pt x="590" y="194"/>
                  </a:lnTo>
                  <a:lnTo>
                    <a:pt x="584" y="190"/>
                  </a:lnTo>
                  <a:lnTo>
                    <a:pt x="582" y="186"/>
                  </a:lnTo>
                  <a:lnTo>
                    <a:pt x="580" y="184"/>
                  </a:lnTo>
                  <a:lnTo>
                    <a:pt x="564" y="184"/>
                  </a:lnTo>
                  <a:lnTo>
                    <a:pt x="560" y="184"/>
                  </a:lnTo>
                  <a:lnTo>
                    <a:pt x="556" y="186"/>
                  </a:lnTo>
                  <a:lnTo>
                    <a:pt x="552" y="186"/>
                  </a:lnTo>
                  <a:lnTo>
                    <a:pt x="546" y="190"/>
                  </a:lnTo>
                  <a:lnTo>
                    <a:pt x="544" y="190"/>
                  </a:lnTo>
                  <a:lnTo>
                    <a:pt x="542" y="192"/>
                  </a:lnTo>
                  <a:lnTo>
                    <a:pt x="540" y="192"/>
                  </a:lnTo>
                  <a:lnTo>
                    <a:pt x="540" y="194"/>
                  </a:lnTo>
                  <a:lnTo>
                    <a:pt x="532" y="198"/>
                  </a:lnTo>
                  <a:lnTo>
                    <a:pt x="524" y="202"/>
                  </a:lnTo>
                  <a:lnTo>
                    <a:pt x="522" y="204"/>
                  </a:lnTo>
                  <a:lnTo>
                    <a:pt x="520" y="206"/>
                  </a:lnTo>
                  <a:lnTo>
                    <a:pt x="518" y="206"/>
                  </a:lnTo>
                  <a:lnTo>
                    <a:pt x="516" y="206"/>
                  </a:lnTo>
                  <a:lnTo>
                    <a:pt x="514" y="206"/>
                  </a:lnTo>
                  <a:lnTo>
                    <a:pt x="510" y="204"/>
                  </a:lnTo>
                  <a:lnTo>
                    <a:pt x="508" y="204"/>
                  </a:lnTo>
                  <a:lnTo>
                    <a:pt x="504" y="202"/>
                  </a:lnTo>
                  <a:lnTo>
                    <a:pt x="496" y="202"/>
                  </a:lnTo>
                  <a:lnTo>
                    <a:pt x="494" y="202"/>
                  </a:lnTo>
                  <a:lnTo>
                    <a:pt x="492" y="202"/>
                  </a:lnTo>
                  <a:lnTo>
                    <a:pt x="490" y="202"/>
                  </a:lnTo>
                  <a:lnTo>
                    <a:pt x="490" y="206"/>
                  </a:lnTo>
                  <a:lnTo>
                    <a:pt x="492" y="208"/>
                  </a:lnTo>
                  <a:lnTo>
                    <a:pt x="494" y="210"/>
                  </a:lnTo>
                  <a:lnTo>
                    <a:pt x="504" y="214"/>
                  </a:lnTo>
                  <a:lnTo>
                    <a:pt x="508" y="216"/>
                  </a:lnTo>
                  <a:lnTo>
                    <a:pt x="510" y="216"/>
                  </a:lnTo>
                  <a:lnTo>
                    <a:pt x="512" y="216"/>
                  </a:lnTo>
                  <a:lnTo>
                    <a:pt x="514" y="216"/>
                  </a:lnTo>
                  <a:lnTo>
                    <a:pt x="518" y="218"/>
                  </a:lnTo>
                  <a:lnTo>
                    <a:pt x="524" y="218"/>
                  </a:lnTo>
                  <a:lnTo>
                    <a:pt x="526" y="220"/>
                  </a:lnTo>
                  <a:lnTo>
                    <a:pt x="530" y="220"/>
                  </a:lnTo>
                  <a:lnTo>
                    <a:pt x="532" y="222"/>
                  </a:lnTo>
                  <a:lnTo>
                    <a:pt x="534" y="224"/>
                  </a:lnTo>
                  <a:lnTo>
                    <a:pt x="536" y="224"/>
                  </a:lnTo>
                  <a:lnTo>
                    <a:pt x="536" y="226"/>
                  </a:lnTo>
                  <a:lnTo>
                    <a:pt x="538" y="232"/>
                  </a:lnTo>
                  <a:lnTo>
                    <a:pt x="540" y="234"/>
                  </a:lnTo>
                  <a:lnTo>
                    <a:pt x="542" y="240"/>
                  </a:lnTo>
                  <a:lnTo>
                    <a:pt x="544" y="250"/>
                  </a:lnTo>
                  <a:lnTo>
                    <a:pt x="548" y="256"/>
                  </a:lnTo>
                  <a:lnTo>
                    <a:pt x="548" y="254"/>
                  </a:lnTo>
                  <a:lnTo>
                    <a:pt x="550" y="254"/>
                  </a:lnTo>
                  <a:lnTo>
                    <a:pt x="552" y="254"/>
                  </a:lnTo>
                  <a:lnTo>
                    <a:pt x="552" y="258"/>
                  </a:lnTo>
                  <a:lnTo>
                    <a:pt x="550" y="258"/>
                  </a:lnTo>
                  <a:lnTo>
                    <a:pt x="548" y="260"/>
                  </a:lnTo>
                  <a:lnTo>
                    <a:pt x="548" y="264"/>
                  </a:lnTo>
                  <a:lnTo>
                    <a:pt x="552" y="266"/>
                  </a:lnTo>
                  <a:lnTo>
                    <a:pt x="552" y="268"/>
                  </a:lnTo>
                  <a:lnTo>
                    <a:pt x="556" y="274"/>
                  </a:lnTo>
                  <a:lnTo>
                    <a:pt x="556" y="276"/>
                  </a:lnTo>
                  <a:lnTo>
                    <a:pt x="554" y="278"/>
                  </a:lnTo>
                  <a:lnTo>
                    <a:pt x="554" y="280"/>
                  </a:lnTo>
                  <a:lnTo>
                    <a:pt x="556" y="290"/>
                  </a:lnTo>
                  <a:lnTo>
                    <a:pt x="556" y="298"/>
                  </a:lnTo>
                  <a:lnTo>
                    <a:pt x="556" y="302"/>
                  </a:lnTo>
                  <a:lnTo>
                    <a:pt x="558" y="304"/>
                  </a:lnTo>
                  <a:lnTo>
                    <a:pt x="558" y="306"/>
                  </a:lnTo>
                  <a:lnTo>
                    <a:pt x="558" y="310"/>
                  </a:lnTo>
                  <a:lnTo>
                    <a:pt x="560" y="314"/>
                  </a:lnTo>
                  <a:lnTo>
                    <a:pt x="562" y="318"/>
                  </a:lnTo>
                  <a:lnTo>
                    <a:pt x="564" y="322"/>
                  </a:lnTo>
                  <a:lnTo>
                    <a:pt x="570" y="324"/>
                  </a:lnTo>
                  <a:lnTo>
                    <a:pt x="572" y="322"/>
                  </a:lnTo>
                  <a:lnTo>
                    <a:pt x="574" y="322"/>
                  </a:lnTo>
                  <a:lnTo>
                    <a:pt x="574" y="320"/>
                  </a:lnTo>
                  <a:lnTo>
                    <a:pt x="576" y="320"/>
                  </a:lnTo>
                  <a:lnTo>
                    <a:pt x="578" y="320"/>
                  </a:lnTo>
                  <a:lnTo>
                    <a:pt x="580" y="320"/>
                  </a:lnTo>
                  <a:lnTo>
                    <a:pt x="584" y="324"/>
                  </a:lnTo>
                  <a:lnTo>
                    <a:pt x="588" y="328"/>
                  </a:lnTo>
                  <a:lnTo>
                    <a:pt x="592" y="328"/>
                  </a:lnTo>
                  <a:lnTo>
                    <a:pt x="594" y="330"/>
                  </a:lnTo>
                  <a:lnTo>
                    <a:pt x="598" y="334"/>
                  </a:lnTo>
                  <a:lnTo>
                    <a:pt x="600" y="336"/>
                  </a:lnTo>
                  <a:lnTo>
                    <a:pt x="604" y="342"/>
                  </a:lnTo>
                  <a:lnTo>
                    <a:pt x="604" y="344"/>
                  </a:lnTo>
                  <a:lnTo>
                    <a:pt x="602" y="346"/>
                  </a:lnTo>
                  <a:lnTo>
                    <a:pt x="600" y="346"/>
                  </a:lnTo>
                  <a:lnTo>
                    <a:pt x="602" y="350"/>
                  </a:lnTo>
                  <a:lnTo>
                    <a:pt x="608" y="354"/>
                  </a:lnTo>
                  <a:lnTo>
                    <a:pt x="610" y="356"/>
                  </a:lnTo>
                  <a:lnTo>
                    <a:pt x="610" y="360"/>
                  </a:lnTo>
                  <a:lnTo>
                    <a:pt x="610" y="362"/>
                  </a:lnTo>
                  <a:lnTo>
                    <a:pt x="610" y="364"/>
                  </a:lnTo>
                  <a:lnTo>
                    <a:pt x="614" y="372"/>
                  </a:lnTo>
                  <a:lnTo>
                    <a:pt x="612" y="374"/>
                  </a:lnTo>
                  <a:lnTo>
                    <a:pt x="612" y="376"/>
                  </a:lnTo>
                  <a:lnTo>
                    <a:pt x="612" y="378"/>
                  </a:lnTo>
                  <a:lnTo>
                    <a:pt x="612" y="380"/>
                  </a:lnTo>
                  <a:lnTo>
                    <a:pt x="612" y="382"/>
                  </a:lnTo>
                  <a:lnTo>
                    <a:pt x="612" y="384"/>
                  </a:lnTo>
                  <a:lnTo>
                    <a:pt x="612" y="386"/>
                  </a:lnTo>
                  <a:lnTo>
                    <a:pt x="612" y="388"/>
                  </a:lnTo>
                  <a:lnTo>
                    <a:pt x="612" y="390"/>
                  </a:lnTo>
                  <a:lnTo>
                    <a:pt x="612" y="392"/>
                  </a:lnTo>
                  <a:lnTo>
                    <a:pt x="614" y="396"/>
                  </a:lnTo>
                  <a:lnTo>
                    <a:pt x="616" y="402"/>
                  </a:lnTo>
                  <a:lnTo>
                    <a:pt x="618" y="406"/>
                  </a:lnTo>
                  <a:lnTo>
                    <a:pt x="620" y="408"/>
                  </a:lnTo>
                  <a:lnTo>
                    <a:pt x="624" y="414"/>
                  </a:lnTo>
                  <a:lnTo>
                    <a:pt x="632" y="430"/>
                  </a:lnTo>
                  <a:lnTo>
                    <a:pt x="622" y="422"/>
                  </a:lnTo>
                  <a:lnTo>
                    <a:pt x="622" y="418"/>
                  </a:lnTo>
                  <a:lnTo>
                    <a:pt x="620" y="416"/>
                  </a:lnTo>
                  <a:lnTo>
                    <a:pt x="620" y="412"/>
                  </a:lnTo>
                  <a:lnTo>
                    <a:pt x="614" y="410"/>
                  </a:lnTo>
                  <a:lnTo>
                    <a:pt x="610" y="408"/>
                  </a:lnTo>
                  <a:lnTo>
                    <a:pt x="604" y="410"/>
                  </a:lnTo>
                  <a:lnTo>
                    <a:pt x="598" y="416"/>
                  </a:lnTo>
                  <a:lnTo>
                    <a:pt x="598" y="418"/>
                  </a:lnTo>
                  <a:lnTo>
                    <a:pt x="596" y="420"/>
                  </a:lnTo>
                  <a:lnTo>
                    <a:pt x="596" y="424"/>
                  </a:lnTo>
                  <a:lnTo>
                    <a:pt x="598" y="426"/>
                  </a:lnTo>
                  <a:lnTo>
                    <a:pt x="600" y="424"/>
                  </a:lnTo>
                  <a:lnTo>
                    <a:pt x="602" y="426"/>
                  </a:lnTo>
                  <a:lnTo>
                    <a:pt x="604" y="428"/>
                  </a:lnTo>
                  <a:lnTo>
                    <a:pt x="606" y="430"/>
                  </a:lnTo>
                  <a:lnTo>
                    <a:pt x="596" y="428"/>
                  </a:lnTo>
                  <a:lnTo>
                    <a:pt x="592" y="424"/>
                  </a:lnTo>
                  <a:lnTo>
                    <a:pt x="596" y="416"/>
                  </a:lnTo>
                  <a:lnTo>
                    <a:pt x="596" y="412"/>
                  </a:lnTo>
                  <a:lnTo>
                    <a:pt x="598" y="412"/>
                  </a:lnTo>
                  <a:lnTo>
                    <a:pt x="600" y="410"/>
                  </a:lnTo>
                  <a:lnTo>
                    <a:pt x="600" y="408"/>
                  </a:lnTo>
                  <a:lnTo>
                    <a:pt x="600" y="406"/>
                  </a:lnTo>
                  <a:lnTo>
                    <a:pt x="600" y="404"/>
                  </a:lnTo>
                  <a:lnTo>
                    <a:pt x="598" y="402"/>
                  </a:lnTo>
                  <a:lnTo>
                    <a:pt x="594" y="400"/>
                  </a:lnTo>
                  <a:lnTo>
                    <a:pt x="592" y="400"/>
                  </a:lnTo>
                  <a:lnTo>
                    <a:pt x="590" y="400"/>
                  </a:lnTo>
                  <a:lnTo>
                    <a:pt x="588" y="400"/>
                  </a:lnTo>
                  <a:lnTo>
                    <a:pt x="584" y="398"/>
                  </a:lnTo>
                  <a:lnTo>
                    <a:pt x="580" y="396"/>
                  </a:lnTo>
                  <a:lnTo>
                    <a:pt x="578" y="396"/>
                  </a:lnTo>
                  <a:lnTo>
                    <a:pt x="572" y="398"/>
                  </a:lnTo>
                  <a:lnTo>
                    <a:pt x="570" y="400"/>
                  </a:lnTo>
                  <a:lnTo>
                    <a:pt x="568" y="400"/>
                  </a:lnTo>
                  <a:lnTo>
                    <a:pt x="566" y="402"/>
                  </a:lnTo>
                  <a:lnTo>
                    <a:pt x="564" y="404"/>
                  </a:lnTo>
                  <a:lnTo>
                    <a:pt x="562" y="406"/>
                  </a:lnTo>
                  <a:lnTo>
                    <a:pt x="560" y="406"/>
                  </a:lnTo>
                  <a:lnTo>
                    <a:pt x="558" y="404"/>
                  </a:lnTo>
                  <a:lnTo>
                    <a:pt x="556" y="402"/>
                  </a:lnTo>
                  <a:lnTo>
                    <a:pt x="554" y="402"/>
                  </a:lnTo>
                  <a:lnTo>
                    <a:pt x="552" y="402"/>
                  </a:lnTo>
                  <a:lnTo>
                    <a:pt x="546" y="402"/>
                  </a:lnTo>
                  <a:lnTo>
                    <a:pt x="544" y="402"/>
                  </a:lnTo>
                  <a:lnTo>
                    <a:pt x="540" y="402"/>
                  </a:lnTo>
                  <a:lnTo>
                    <a:pt x="538" y="402"/>
                  </a:lnTo>
                  <a:lnTo>
                    <a:pt x="536" y="404"/>
                  </a:lnTo>
                  <a:lnTo>
                    <a:pt x="536" y="408"/>
                  </a:lnTo>
                  <a:lnTo>
                    <a:pt x="536" y="410"/>
                  </a:lnTo>
                  <a:lnTo>
                    <a:pt x="536" y="414"/>
                  </a:lnTo>
                  <a:lnTo>
                    <a:pt x="536" y="422"/>
                  </a:lnTo>
                  <a:lnTo>
                    <a:pt x="536" y="428"/>
                  </a:lnTo>
                  <a:lnTo>
                    <a:pt x="534" y="430"/>
                  </a:lnTo>
                  <a:lnTo>
                    <a:pt x="534" y="432"/>
                  </a:lnTo>
                  <a:lnTo>
                    <a:pt x="532" y="438"/>
                  </a:lnTo>
                  <a:lnTo>
                    <a:pt x="528" y="450"/>
                  </a:lnTo>
                  <a:lnTo>
                    <a:pt x="526" y="454"/>
                  </a:lnTo>
                  <a:lnTo>
                    <a:pt x="524" y="456"/>
                  </a:lnTo>
                  <a:lnTo>
                    <a:pt x="522" y="458"/>
                  </a:lnTo>
                  <a:lnTo>
                    <a:pt x="516" y="464"/>
                  </a:lnTo>
                  <a:lnTo>
                    <a:pt x="514" y="466"/>
                  </a:lnTo>
                  <a:lnTo>
                    <a:pt x="512" y="466"/>
                  </a:lnTo>
                  <a:lnTo>
                    <a:pt x="510" y="466"/>
                  </a:lnTo>
                  <a:lnTo>
                    <a:pt x="508" y="468"/>
                  </a:lnTo>
                  <a:lnTo>
                    <a:pt x="506" y="470"/>
                  </a:lnTo>
                  <a:lnTo>
                    <a:pt x="506" y="472"/>
                  </a:lnTo>
                  <a:lnTo>
                    <a:pt x="506" y="474"/>
                  </a:lnTo>
                  <a:lnTo>
                    <a:pt x="506" y="476"/>
                  </a:lnTo>
                  <a:lnTo>
                    <a:pt x="506" y="478"/>
                  </a:lnTo>
                  <a:lnTo>
                    <a:pt x="504" y="482"/>
                  </a:lnTo>
                  <a:lnTo>
                    <a:pt x="504" y="486"/>
                  </a:lnTo>
                  <a:lnTo>
                    <a:pt x="502" y="490"/>
                  </a:lnTo>
                  <a:lnTo>
                    <a:pt x="502" y="492"/>
                  </a:lnTo>
                  <a:lnTo>
                    <a:pt x="498" y="500"/>
                  </a:lnTo>
                  <a:lnTo>
                    <a:pt x="494" y="506"/>
                  </a:lnTo>
                  <a:lnTo>
                    <a:pt x="492" y="508"/>
                  </a:lnTo>
                  <a:lnTo>
                    <a:pt x="490" y="508"/>
                  </a:lnTo>
                  <a:lnTo>
                    <a:pt x="490" y="510"/>
                  </a:lnTo>
                  <a:lnTo>
                    <a:pt x="490" y="512"/>
                  </a:lnTo>
                  <a:lnTo>
                    <a:pt x="488" y="512"/>
                  </a:lnTo>
                  <a:lnTo>
                    <a:pt x="488" y="514"/>
                  </a:lnTo>
                  <a:lnTo>
                    <a:pt x="486" y="518"/>
                  </a:lnTo>
                  <a:lnTo>
                    <a:pt x="486" y="520"/>
                  </a:lnTo>
                  <a:lnTo>
                    <a:pt x="488" y="524"/>
                  </a:lnTo>
                  <a:lnTo>
                    <a:pt x="488" y="528"/>
                  </a:lnTo>
                  <a:lnTo>
                    <a:pt x="490" y="530"/>
                  </a:lnTo>
                  <a:lnTo>
                    <a:pt x="490" y="532"/>
                  </a:lnTo>
                  <a:lnTo>
                    <a:pt x="492" y="534"/>
                  </a:lnTo>
                  <a:lnTo>
                    <a:pt x="494" y="538"/>
                  </a:lnTo>
                  <a:lnTo>
                    <a:pt x="496" y="540"/>
                  </a:lnTo>
                  <a:lnTo>
                    <a:pt x="498" y="540"/>
                  </a:lnTo>
                  <a:lnTo>
                    <a:pt x="500" y="542"/>
                  </a:lnTo>
                  <a:lnTo>
                    <a:pt x="504" y="544"/>
                  </a:lnTo>
                  <a:lnTo>
                    <a:pt x="506" y="546"/>
                  </a:lnTo>
                  <a:lnTo>
                    <a:pt x="510" y="550"/>
                  </a:lnTo>
                  <a:lnTo>
                    <a:pt x="514" y="552"/>
                  </a:lnTo>
                  <a:lnTo>
                    <a:pt x="516" y="556"/>
                  </a:lnTo>
                  <a:lnTo>
                    <a:pt x="518" y="558"/>
                  </a:lnTo>
                  <a:lnTo>
                    <a:pt x="520" y="558"/>
                  </a:lnTo>
                  <a:lnTo>
                    <a:pt x="522" y="558"/>
                  </a:lnTo>
                  <a:lnTo>
                    <a:pt x="524" y="558"/>
                  </a:lnTo>
                  <a:lnTo>
                    <a:pt x="532" y="566"/>
                  </a:lnTo>
                  <a:lnTo>
                    <a:pt x="536" y="570"/>
                  </a:lnTo>
                  <a:lnTo>
                    <a:pt x="536" y="572"/>
                  </a:lnTo>
                  <a:lnTo>
                    <a:pt x="536" y="574"/>
                  </a:lnTo>
                  <a:lnTo>
                    <a:pt x="540" y="576"/>
                  </a:lnTo>
                  <a:lnTo>
                    <a:pt x="540" y="578"/>
                  </a:lnTo>
                  <a:lnTo>
                    <a:pt x="540" y="580"/>
                  </a:lnTo>
                  <a:lnTo>
                    <a:pt x="540" y="582"/>
                  </a:lnTo>
                  <a:lnTo>
                    <a:pt x="546" y="590"/>
                  </a:lnTo>
                  <a:lnTo>
                    <a:pt x="548" y="592"/>
                  </a:lnTo>
                  <a:lnTo>
                    <a:pt x="550" y="594"/>
                  </a:lnTo>
                  <a:lnTo>
                    <a:pt x="550" y="596"/>
                  </a:lnTo>
                  <a:lnTo>
                    <a:pt x="550" y="598"/>
                  </a:lnTo>
                  <a:lnTo>
                    <a:pt x="548" y="598"/>
                  </a:lnTo>
                  <a:lnTo>
                    <a:pt x="538" y="600"/>
                  </a:lnTo>
                  <a:lnTo>
                    <a:pt x="536" y="600"/>
                  </a:lnTo>
                  <a:lnTo>
                    <a:pt x="534" y="598"/>
                  </a:lnTo>
                  <a:lnTo>
                    <a:pt x="530" y="596"/>
                  </a:lnTo>
                  <a:lnTo>
                    <a:pt x="528" y="596"/>
                  </a:lnTo>
                  <a:lnTo>
                    <a:pt x="522" y="594"/>
                  </a:lnTo>
                  <a:lnTo>
                    <a:pt x="520" y="596"/>
                  </a:lnTo>
                  <a:lnTo>
                    <a:pt x="520" y="598"/>
                  </a:lnTo>
                  <a:lnTo>
                    <a:pt x="522" y="602"/>
                  </a:lnTo>
                  <a:lnTo>
                    <a:pt x="522" y="600"/>
                  </a:lnTo>
                  <a:lnTo>
                    <a:pt x="524" y="598"/>
                  </a:lnTo>
                  <a:lnTo>
                    <a:pt x="526" y="598"/>
                  </a:lnTo>
                  <a:lnTo>
                    <a:pt x="520" y="606"/>
                  </a:lnTo>
                  <a:lnTo>
                    <a:pt x="516" y="608"/>
                  </a:lnTo>
                  <a:lnTo>
                    <a:pt x="512" y="608"/>
                  </a:lnTo>
                  <a:lnTo>
                    <a:pt x="510" y="608"/>
                  </a:lnTo>
                  <a:lnTo>
                    <a:pt x="506" y="606"/>
                  </a:lnTo>
                  <a:lnTo>
                    <a:pt x="498" y="604"/>
                  </a:lnTo>
                  <a:lnTo>
                    <a:pt x="484" y="600"/>
                  </a:lnTo>
                  <a:lnTo>
                    <a:pt x="482" y="600"/>
                  </a:lnTo>
                  <a:lnTo>
                    <a:pt x="480" y="600"/>
                  </a:lnTo>
                  <a:lnTo>
                    <a:pt x="478" y="600"/>
                  </a:lnTo>
                  <a:lnTo>
                    <a:pt x="476" y="600"/>
                  </a:lnTo>
                  <a:lnTo>
                    <a:pt x="474" y="602"/>
                  </a:lnTo>
                  <a:lnTo>
                    <a:pt x="472" y="602"/>
                  </a:lnTo>
                  <a:lnTo>
                    <a:pt x="468" y="600"/>
                  </a:lnTo>
                  <a:lnTo>
                    <a:pt x="466" y="604"/>
                  </a:lnTo>
                  <a:lnTo>
                    <a:pt x="462" y="606"/>
                  </a:lnTo>
                  <a:lnTo>
                    <a:pt x="460" y="606"/>
                  </a:lnTo>
                  <a:lnTo>
                    <a:pt x="456" y="612"/>
                  </a:lnTo>
                  <a:lnTo>
                    <a:pt x="456" y="614"/>
                  </a:lnTo>
                  <a:lnTo>
                    <a:pt x="456" y="616"/>
                  </a:lnTo>
                  <a:lnTo>
                    <a:pt x="454" y="620"/>
                  </a:lnTo>
                  <a:lnTo>
                    <a:pt x="450" y="610"/>
                  </a:lnTo>
                  <a:lnTo>
                    <a:pt x="450" y="608"/>
                  </a:lnTo>
                  <a:lnTo>
                    <a:pt x="454" y="606"/>
                  </a:lnTo>
                  <a:lnTo>
                    <a:pt x="456" y="606"/>
                  </a:lnTo>
                  <a:lnTo>
                    <a:pt x="460" y="602"/>
                  </a:lnTo>
                  <a:lnTo>
                    <a:pt x="460" y="598"/>
                  </a:lnTo>
                  <a:lnTo>
                    <a:pt x="458" y="598"/>
                  </a:lnTo>
                  <a:lnTo>
                    <a:pt x="454" y="600"/>
                  </a:lnTo>
                  <a:lnTo>
                    <a:pt x="452" y="602"/>
                  </a:lnTo>
                  <a:lnTo>
                    <a:pt x="450" y="602"/>
                  </a:lnTo>
                  <a:lnTo>
                    <a:pt x="448" y="602"/>
                  </a:lnTo>
                  <a:lnTo>
                    <a:pt x="446" y="602"/>
                  </a:lnTo>
                  <a:lnTo>
                    <a:pt x="444" y="602"/>
                  </a:lnTo>
                  <a:lnTo>
                    <a:pt x="444" y="600"/>
                  </a:lnTo>
                  <a:lnTo>
                    <a:pt x="442" y="600"/>
                  </a:lnTo>
                  <a:lnTo>
                    <a:pt x="434" y="596"/>
                  </a:lnTo>
                  <a:lnTo>
                    <a:pt x="432" y="596"/>
                  </a:lnTo>
                  <a:lnTo>
                    <a:pt x="432" y="592"/>
                  </a:lnTo>
                  <a:lnTo>
                    <a:pt x="430" y="590"/>
                  </a:lnTo>
                  <a:lnTo>
                    <a:pt x="428" y="588"/>
                  </a:lnTo>
                  <a:lnTo>
                    <a:pt x="416" y="586"/>
                  </a:lnTo>
                  <a:lnTo>
                    <a:pt x="412" y="584"/>
                  </a:lnTo>
                  <a:lnTo>
                    <a:pt x="402" y="584"/>
                  </a:lnTo>
                  <a:lnTo>
                    <a:pt x="398" y="582"/>
                  </a:lnTo>
                  <a:lnTo>
                    <a:pt x="396" y="584"/>
                  </a:lnTo>
                  <a:lnTo>
                    <a:pt x="392" y="588"/>
                  </a:lnTo>
                  <a:lnTo>
                    <a:pt x="392" y="590"/>
                  </a:lnTo>
                  <a:lnTo>
                    <a:pt x="394" y="592"/>
                  </a:lnTo>
                  <a:lnTo>
                    <a:pt x="396" y="596"/>
                  </a:lnTo>
                  <a:lnTo>
                    <a:pt x="396" y="604"/>
                  </a:lnTo>
                  <a:lnTo>
                    <a:pt x="392" y="612"/>
                  </a:lnTo>
                  <a:lnTo>
                    <a:pt x="390" y="614"/>
                  </a:lnTo>
                  <a:lnTo>
                    <a:pt x="388" y="612"/>
                  </a:lnTo>
                  <a:lnTo>
                    <a:pt x="386" y="612"/>
                  </a:lnTo>
                  <a:lnTo>
                    <a:pt x="384" y="612"/>
                  </a:lnTo>
                  <a:lnTo>
                    <a:pt x="384" y="614"/>
                  </a:lnTo>
                  <a:lnTo>
                    <a:pt x="386" y="618"/>
                  </a:lnTo>
                  <a:lnTo>
                    <a:pt x="394" y="630"/>
                  </a:lnTo>
                  <a:lnTo>
                    <a:pt x="396" y="630"/>
                  </a:lnTo>
                  <a:lnTo>
                    <a:pt x="400" y="628"/>
                  </a:lnTo>
                  <a:lnTo>
                    <a:pt x="400" y="630"/>
                  </a:lnTo>
                  <a:lnTo>
                    <a:pt x="402" y="630"/>
                  </a:lnTo>
                  <a:lnTo>
                    <a:pt x="404" y="630"/>
                  </a:lnTo>
                  <a:lnTo>
                    <a:pt x="410" y="638"/>
                  </a:lnTo>
                  <a:lnTo>
                    <a:pt x="412" y="640"/>
                  </a:lnTo>
                  <a:lnTo>
                    <a:pt x="416" y="642"/>
                  </a:lnTo>
                  <a:lnTo>
                    <a:pt x="416" y="644"/>
                  </a:lnTo>
                  <a:lnTo>
                    <a:pt x="418" y="646"/>
                  </a:lnTo>
                  <a:lnTo>
                    <a:pt x="426" y="652"/>
                  </a:lnTo>
                  <a:lnTo>
                    <a:pt x="428" y="652"/>
                  </a:lnTo>
                  <a:lnTo>
                    <a:pt x="436" y="654"/>
                  </a:lnTo>
                  <a:lnTo>
                    <a:pt x="438" y="654"/>
                  </a:lnTo>
                  <a:lnTo>
                    <a:pt x="444" y="648"/>
                  </a:lnTo>
                  <a:lnTo>
                    <a:pt x="448" y="644"/>
                  </a:lnTo>
                  <a:lnTo>
                    <a:pt x="452" y="644"/>
                  </a:lnTo>
                  <a:lnTo>
                    <a:pt x="452" y="646"/>
                  </a:lnTo>
                  <a:lnTo>
                    <a:pt x="458" y="648"/>
                  </a:lnTo>
                  <a:lnTo>
                    <a:pt x="462" y="650"/>
                  </a:lnTo>
                  <a:lnTo>
                    <a:pt x="460" y="656"/>
                  </a:lnTo>
                  <a:lnTo>
                    <a:pt x="462" y="658"/>
                  </a:lnTo>
                  <a:lnTo>
                    <a:pt x="462" y="660"/>
                  </a:lnTo>
                  <a:lnTo>
                    <a:pt x="466" y="662"/>
                  </a:lnTo>
                  <a:lnTo>
                    <a:pt x="468" y="662"/>
                  </a:lnTo>
                  <a:lnTo>
                    <a:pt x="470" y="664"/>
                  </a:lnTo>
                  <a:lnTo>
                    <a:pt x="472" y="666"/>
                  </a:lnTo>
                  <a:lnTo>
                    <a:pt x="474" y="672"/>
                  </a:lnTo>
                  <a:lnTo>
                    <a:pt x="474" y="674"/>
                  </a:lnTo>
                  <a:lnTo>
                    <a:pt x="474" y="676"/>
                  </a:lnTo>
                  <a:lnTo>
                    <a:pt x="474" y="680"/>
                  </a:lnTo>
                  <a:lnTo>
                    <a:pt x="472" y="684"/>
                  </a:lnTo>
                  <a:lnTo>
                    <a:pt x="470" y="686"/>
                  </a:lnTo>
                  <a:lnTo>
                    <a:pt x="468" y="688"/>
                  </a:lnTo>
                  <a:lnTo>
                    <a:pt x="466" y="688"/>
                  </a:lnTo>
                  <a:lnTo>
                    <a:pt x="462" y="688"/>
                  </a:lnTo>
                  <a:lnTo>
                    <a:pt x="460" y="688"/>
                  </a:lnTo>
                  <a:lnTo>
                    <a:pt x="460" y="692"/>
                  </a:lnTo>
                  <a:lnTo>
                    <a:pt x="460" y="696"/>
                  </a:lnTo>
                  <a:lnTo>
                    <a:pt x="460" y="698"/>
                  </a:lnTo>
                  <a:lnTo>
                    <a:pt x="458" y="700"/>
                  </a:lnTo>
                  <a:lnTo>
                    <a:pt x="456" y="702"/>
                  </a:lnTo>
                  <a:lnTo>
                    <a:pt x="454" y="702"/>
                  </a:lnTo>
                  <a:lnTo>
                    <a:pt x="452" y="702"/>
                  </a:lnTo>
                  <a:lnTo>
                    <a:pt x="450" y="702"/>
                  </a:lnTo>
                  <a:lnTo>
                    <a:pt x="448" y="702"/>
                  </a:lnTo>
                  <a:lnTo>
                    <a:pt x="448" y="700"/>
                  </a:lnTo>
                  <a:lnTo>
                    <a:pt x="444" y="698"/>
                  </a:lnTo>
                  <a:lnTo>
                    <a:pt x="444" y="696"/>
                  </a:lnTo>
                  <a:lnTo>
                    <a:pt x="442" y="696"/>
                  </a:lnTo>
                  <a:lnTo>
                    <a:pt x="440" y="698"/>
                  </a:lnTo>
                  <a:lnTo>
                    <a:pt x="436" y="698"/>
                  </a:lnTo>
                  <a:lnTo>
                    <a:pt x="430" y="700"/>
                  </a:lnTo>
                  <a:lnTo>
                    <a:pt x="428" y="698"/>
                  </a:lnTo>
                  <a:lnTo>
                    <a:pt x="418" y="698"/>
                  </a:lnTo>
                  <a:lnTo>
                    <a:pt x="416" y="698"/>
                  </a:lnTo>
                  <a:lnTo>
                    <a:pt x="414" y="698"/>
                  </a:lnTo>
                  <a:lnTo>
                    <a:pt x="406" y="698"/>
                  </a:lnTo>
                  <a:lnTo>
                    <a:pt x="404" y="696"/>
                  </a:lnTo>
                  <a:lnTo>
                    <a:pt x="402" y="692"/>
                  </a:lnTo>
                  <a:lnTo>
                    <a:pt x="400" y="686"/>
                  </a:lnTo>
                  <a:lnTo>
                    <a:pt x="392" y="680"/>
                  </a:lnTo>
                  <a:lnTo>
                    <a:pt x="390" y="684"/>
                  </a:lnTo>
                  <a:lnTo>
                    <a:pt x="388" y="684"/>
                  </a:lnTo>
                  <a:lnTo>
                    <a:pt x="382" y="680"/>
                  </a:lnTo>
                  <a:lnTo>
                    <a:pt x="382" y="678"/>
                  </a:lnTo>
                  <a:lnTo>
                    <a:pt x="380" y="676"/>
                  </a:lnTo>
                  <a:lnTo>
                    <a:pt x="376" y="674"/>
                  </a:lnTo>
                  <a:lnTo>
                    <a:pt x="368" y="672"/>
                  </a:lnTo>
                  <a:lnTo>
                    <a:pt x="366" y="670"/>
                  </a:lnTo>
                  <a:lnTo>
                    <a:pt x="366" y="672"/>
                  </a:lnTo>
                  <a:lnTo>
                    <a:pt x="366" y="676"/>
                  </a:lnTo>
                  <a:lnTo>
                    <a:pt x="362" y="680"/>
                  </a:lnTo>
                  <a:lnTo>
                    <a:pt x="358" y="680"/>
                  </a:lnTo>
                  <a:lnTo>
                    <a:pt x="350" y="678"/>
                  </a:lnTo>
                  <a:lnTo>
                    <a:pt x="342" y="672"/>
                  </a:lnTo>
                  <a:lnTo>
                    <a:pt x="340" y="670"/>
                  </a:lnTo>
                  <a:lnTo>
                    <a:pt x="338" y="668"/>
                  </a:lnTo>
                  <a:lnTo>
                    <a:pt x="336" y="668"/>
                  </a:lnTo>
                  <a:lnTo>
                    <a:pt x="332" y="668"/>
                  </a:lnTo>
                  <a:lnTo>
                    <a:pt x="332" y="664"/>
                  </a:lnTo>
                  <a:lnTo>
                    <a:pt x="336" y="656"/>
                  </a:lnTo>
                  <a:lnTo>
                    <a:pt x="330" y="640"/>
                  </a:lnTo>
                  <a:lnTo>
                    <a:pt x="324" y="634"/>
                  </a:lnTo>
                  <a:lnTo>
                    <a:pt x="320" y="630"/>
                  </a:lnTo>
                  <a:lnTo>
                    <a:pt x="320" y="626"/>
                  </a:lnTo>
                  <a:lnTo>
                    <a:pt x="316" y="622"/>
                  </a:lnTo>
                  <a:lnTo>
                    <a:pt x="312" y="618"/>
                  </a:lnTo>
                  <a:lnTo>
                    <a:pt x="310" y="612"/>
                  </a:lnTo>
                  <a:lnTo>
                    <a:pt x="308" y="606"/>
                  </a:lnTo>
                  <a:lnTo>
                    <a:pt x="306" y="606"/>
                  </a:lnTo>
                  <a:lnTo>
                    <a:pt x="304" y="606"/>
                  </a:lnTo>
                  <a:lnTo>
                    <a:pt x="300" y="606"/>
                  </a:lnTo>
                  <a:lnTo>
                    <a:pt x="294" y="598"/>
                  </a:lnTo>
                  <a:lnTo>
                    <a:pt x="294" y="594"/>
                  </a:lnTo>
                  <a:lnTo>
                    <a:pt x="296" y="590"/>
                  </a:lnTo>
                  <a:lnTo>
                    <a:pt x="298" y="590"/>
                  </a:lnTo>
                  <a:lnTo>
                    <a:pt x="300" y="590"/>
                  </a:lnTo>
                  <a:lnTo>
                    <a:pt x="302" y="588"/>
                  </a:lnTo>
                  <a:lnTo>
                    <a:pt x="302" y="574"/>
                  </a:lnTo>
                  <a:lnTo>
                    <a:pt x="300" y="570"/>
                  </a:lnTo>
                  <a:lnTo>
                    <a:pt x="296" y="564"/>
                  </a:lnTo>
                  <a:lnTo>
                    <a:pt x="294" y="560"/>
                  </a:lnTo>
                  <a:lnTo>
                    <a:pt x="294" y="556"/>
                  </a:lnTo>
                  <a:lnTo>
                    <a:pt x="296" y="558"/>
                  </a:lnTo>
                  <a:lnTo>
                    <a:pt x="300" y="560"/>
                  </a:lnTo>
                  <a:lnTo>
                    <a:pt x="300" y="562"/>
                  </a:lnTo>
                  <a:lnTo>
                    <a:pt x="304" y="564"/>
                  </a:lnTo>
                  <a:lnTo>
                    <a:pt x="306" y="564"/>
                  </a:lnTo>
                  <a:lnTo>
                    <a:pt x="306" y="562"/>
                  </a:lnTo>
                  <a:lnTo>
                    <a:pt x="298" y="548"/>
                  </a:lnTo>
                  <a:lnTo>
                    <a:pt x="296" y="546"/>
                  </a:lnTo>
                  <a:lnTo>
                    <a:pt x="290" y="540"/>
                  </a:lnTo>
                  <a:lnTo>
                    <a:pt x="282" y="534"/>
                  </a:lnTo>
                  <a:lnTo>
                    <a:pt x="280" y="532"/>
                  </a:lnTo>
                  <a:lnTo>
                    <a:pt x="278" y="532"/>
                  </a:lnTo>
                  <a:lnTo>
                    <a:pt x="276" y="530"/>
                  </a:lnTo>
                  <a:lnTo>
                    <a:pt x="272" y="528"/>
                  </a:lnTo>
                  <a:lnTo>
                    <a:pt x="264" y="526"/>
                  </a:lnTo>
                  <a:lnTo>
                    <a:pt x="260" y="524"/>
                  </a:lnTo>
                  <a:lnTo>
                    <a:pt x="252" y="524"/>
                  </a:lnTo>
                  <a:lnTo>
                    <a:pt x="246" y="524"/>
                  </a:lnTo>
                  <a:lnTo>
                    <a:pt x="242" y="522"/>
                  </a:lnTo>
                  <a:lnTo>
                    <a:pt x="238" y="522"/>
                  </a:lnTo>
                  <a:lnTo>
                    <a:pt x="236" y="524"/>
                  </a:lnTo>
                  <a:lnTo>
                    <a:pt x="230" y="524"/>
                  </a:lnTo>
                  <a:lnTo>
                    <a:pt x="234" y="522"/>
                  </a:lnTo>
                  <a:lnTo>
                    <a:pt x="236" y="516"/>
                  </a:lnTo>
                  <a:lnTo>
                    <a:pt x="240" y="512"/>
                  </a:lnTo>
                  <a:lnTo>
                    <a:pt x="242" y="512"/>
                  </a:lnTo>
                  <a:lnTo>
                    <a:pt x="236" y="508"/>
                  </a:lnTo>
                  <a:lnTo>
                    <a:pt x="236" y="506"/>
                  </a:lnTo>
                  <a:lnTo>
                    <a:pt x="234" y="508"/>
                  </a:lnTo>
                  <a:lnTo>
                    <a:pt x="230" y="510"/>
                  </a:lnTo>
                  <a:lnTo>
                    <a:pt x="228" y="510"/>
                  </a:lnTo>
                  <a:lnTo>
                    <a:pt x="226" y="510"/>
                  </a:lnTo>
                  <a:lnTo>
                    <a:pt x="224" y="508"/>
                  </a:lnTo>
                  <a:lnTo>
                    <a:pt x="222" y="506"/>
                  </a:lnTo>
                  <a:lnTo>
                    <a:pt x="220" y="506"/>
                  </a:lnTo>
                  <a:lnTo>
                    <a:pt x="218" y="508"/>
                  </a:lnTo>
                  <a:lnTo>
                    <a:pt x="218" y="510"/>
                  </a:lnTo>
                  <a:lnTo>
                    <a:pt x="216" y="510"/>
                  </a:lnTo>
                  <a:lnTo>
                    <a:pt x="214" y="510"/>
                  </a:lnTo>
                  <a:lnTo>
                    <a:pt x="210" y="510"/>
                  </a:lnTo>
                  <a:lnTo>
                    <a:pt x="214" y="506"/>
                  </a:lnTo>
                  <a:lnTo>
                    <a:pt x="216" y="506"/>
                  </a:lnTo>
                  <a:lnTo>
                    <a:pt x="218" y="506"/>
                  </a:lnTo>
                  <a:lnTo>
                    <a:pt x="218" y="504"/>
                  </a:lnTo>
                  <a:lnTo>
                    <a:pt x="222" y="504"/>
                  </a:lnTo>
                  <a:lnTo>
                    <a:pt x="224" y="504"/>
                  </a:lnTo>
                  <a:lnTo>
                    <a:pt x="226" y="504"/>
                  </a:lnTo>
                  <a:lnTo>
                    <a:pt x="228" y="504"/>
                  </a:lnTo>
                  <a:lnTo>
                    <a:pt x="230" y="504"/>
                  </a:lnTo>
                  <a:lnTo>
                    <a:pt x="232" y="504"/>
                  </a:lnTo>
                  <a:lnTo>
                    <a:pt x="226" y="500"/>
                  </a:lnTo>
                  <a:lnTo>
                    <a:pt x="220" y="500"/>
                  </a:lnTo>
                  <a:lnTo>
                    <a:pt x="218" y="500"/>
                  </a:lnTo>
                  <a:lnTo>
                    <a:pt x="216" y="500"/>
                  </a:lnTo>
                  <a:lnTo>
                    <a:pt x="214" y="504"/>
                  </a:lnTo>
                  <a:lnTo>
                    <a:pt x="206" y="506"/>
                  </a:lnTo>
                  <a:lnTo>
                    <a:pt x="206" y="504"/>
                  </a:lnTo>
                  <a:lnTo>
                    <a:pt x="208" y="504"/>
                  </a:lnTo>
                  <a:lnTo>
                    <a:pt x="210" y="504"/>
                  </a:lnTo>
                  <a:lnTo>
                    <a:pt x="212" y="504"/>
                  </a:lnTo>
                  <a:lnTo>
                    <a:pt x="214" y="502"/>
                  </a:lnTo>
                  <a:lnTo>
                    <a:pt x="214" y="500"/>
                  </a:lnTo>
                  <a:lnTo>
                    <a:pt x="214" y="498"/>
                  </a:lnTo>
                  <a:lnTo>
                    <a:pt x="214" y="496"/>
                  </a:lnTo>
                  <a:lnTo>
                    <a:pt x="218" y="498"/>
                  </a:lnTo>
                  <a:lnTo>
                    <a:pt x="222" y="498"/>
                  </a:lnTo>
                  <a:lnTo>
                    <a:pt x="222" y="496"/>
                  </a:lnTo>
                  <a:lnTo>
                    <a:pt x="218" y="494"/>
                  </a:lnTo>
                  <a:lnTo>
                    <a:pt x="214" y="494"/>
                  </a:lnTo>
                  <a:lnTo>
                    <a:pt x="210" y="494"/>
                  </a:lnTo>
                  <a:lnTo>
                    <a:pt x="208" y="496"/>
                  </a:lnTo>
                  <a:lnTo>
                    <a:pt x="206" y="496"/>
                  </a:lnTo>
                  <a:lnTo>
                    <a:pt x="200" y="494"/>
                  </a:lnTo>
                  <a:lnTo>
                    <a:pt x="202" y="492"/>
                  </a:lnTo>
                  <a:lnTo>
                    <a:pt x="206" y="492"/>
                  </a:lnTo>
                  <a:lnTo>
                    <a:pt x="204" y="488"/>
                  </a:lnTo>
                  <a:lnTo>
                    <a:pt x="202" y="486"/>
                  </a:lnTo>
                  <a:lnTo>
                    <a:pt x="194" y="486"/>
                  </a:lnTo>
                  <a:lnTo>
                    <a:pt x="186" y="482"/>
                  </a:lnTo>
                  <a:lnTo>
                    <a:pt x="186" y="476"/>
                  </a:lnTo>
                  <a:lnTo>
                    <a:pt x="186" y="472"/>
                  </a:lnTo>
                  <a:lnTo>
                    <a:pt x="184" y="470"/>
                  </a:lnTo>
                  <a:lnTo>
                    <a:pt x="182" y="468"/>
                  </a:lnTo>
                  <a:lnTo>
                    <a:pt x="176" y="466"/>
                  </a:lnTo>
                  <a:lnTo>
                    <a:pt x="172" y="462"/>
                  </a:lnTo>
                  <a:lnTo>
                    <a:pt x="170" y="462"/>
                  </a:lnTo>
                  <a:lnTo>
                    <a:pt x="168" y="462"/>
                  </a:lnTo>
                  <a:lnTo>
                    <a:pt x="166" y="464"/>
                  </a:lnTo>
                  <a:lnTo>
                    <a:pt x="164" y="466"/>
                  </a:lnTo>
                  <a:lnTo>
                    <a:pt x="160" y="466"/>
                  </a:lnTo>
                  <a:lnTo>
                    <a:pt x="156" y="464"/>
                  </a:lnTo>
                  <a:lnTo>
                    <a:pt x="156" y="462"/>
                  </a:lnTo>
                  <a:lnTo>
                    <a:pt x="158" y="462"/>
                  </a:lnTo>
                  <a:lnTo>
                    <a:pt x="160" y="462"/>
                  </a:lnTo>
                  <a:lnTo>
                    <a:pt x="162" y="464"/>
                  </a:lnTo>
                  <a:lnTo>
                    <a:pt x="164" y="464"/>
                  </a:lnTo>
                  <a:lnTo>
                    <a:pt x="170" y="460"/>
                  </a:lnTo>
                  <a:lnTo>
                    <a:pt x="172" y="458"/>
                  </a:lnTo>
                  <a:lnTo>
                    <a:pt x="174" y="458"/>
                  </a:lnTo>
                  <a:lnTo>
                    <a:pt x="176" y="460"/>
                  </a:lnTo>
                  <a:lnTo>
                    <a:pt x="178" y="460"/>
                  </a:lnTo>
                  <a:lnTo>
                    <a:pt x="180" y="460"/>
                  </a:lnTo>
                  <a:lnTo>
                    <a:pt x="182" y="458"/>
                  </a:lnTo>
                  <a:lnTo>
                    <a:pt x="184" y="458"/>
                  </a:lnTo>
                  <a:lnTo>
                    <a:pt x="186" y="460"/>
                  </a:lnTo>
                  <a:lnTo>
                    <a:pt x="192" y="462"/>
                  </a:lnTo>
                  <a:lnTo>
                    <a:pt x="192" y="464"/>
                  </a:lnTo>
                  <a:lnTo>
                    <a:pt x="194" y="466"/>
                  </a:lnTo>
                  <a:lnTo>
                    <a:pt x="194" y="468"/>
                  </a:lnTo>
                  <a:lnTo>
                    <a:pt x="196" y="470"/>
                  </a:lnTo>
                  <a:lnTo>
                    <a:pt x="198" y="472"/>
                  </a:lnTo>
                  <a:lnTo>
                    <a:pt x="200" y="474"/>
                  </a:lnTo>
                  <a:lnTo>
                    <a:pt x="208" y="478"/>
                  </a:lnTo>
                  <a:lnTo>
                    <a:pt x="210" y="480"/>
                  </a:lnTo>
                  <a:lnTo>
                    <a:pt x="212" y="482"/>
                  </a:lnTo>
                  <a:lnTo>
                    <a:pt x="214" y="482"/>
                  </a:lnTo>
                  <a:lnTo>
                    <a:pt x="226" y="486"/>
                  </a:lnTo>
                  <a:lnTo>
                    <a:pt x="230" y="484"/>
                  </a:lnTo>
                  <a:lnTo>
                    <a:pt x="228" y="482"/>
                  </a:lnTo>
                  <a:lnTo>
                    <a:pt x="226" y="482"/>
                  </a:lnTo>
                  <a:lnTo>
                    <a:pt x="224" y="478"/>
                  </a:lnTo>
                  <a:lnTo>
                    <a:pt x="226" y="478"/>
                  </a:lnTo>
                  <a:lnTo>
                    <a:pt x="234" y="480"/>
                  </a:lnTo>
                  <a:lnTo>
                    <a:pt x="236" y="482"/>
                  </a:lnTo>
                  <a:lnTo>
                    <a:pt x="238" y="486"/>
                  </a:lnTo>
                  <a:lnTo>
                    <a:pt x="242" y="486"/>
                  </a:lnTo>
                  <a:lnTo>
                    <a:pt x="250" y="486"/>
                  </a:lnTo>
                  <a:lnTo>
                    <a:pt x="254" y="484"/>
                  </a:lnTo>
                  <a:lnTo>
                    <a:pt x="256" y="484"/>
                  </a:lnTo>
                  <a:lnTo>
                    <a:pt x="262" y="484"/>
                  </a:lnTo>
                  <a:lnTo>
                    <a:pt x="260" y="486"/>
                  </a:lnTo>
                  <a:lnTo>
                    <a:pt x="260" y="488"/>
                  </a:lnTo>
                  <a:lnTo>
                    <a:pt x="264" y="494"/>
                  </a:lnTo>
                  <a:lnTo>
                    <a:pt x="266" y="494"/>
                  </a:lnTo>
                  <a:lnTo>
                    <a:pt x="268" y="494"/>
                  </a:lnTo>
                  <a:lnTo>
                    <a:pt x="272" y="490"/>
                  </a:lnTo>
                  <a:lnTo>
                    <a:pt x="272" y="488"/>
                  </a:lnTo>
                  <a:lnTo>
                    <a:pt x="274" y="486"/>
                  </a:lnTo>
                  <a:lnTo>
                    <a:pt x="274" y="484"/>
                  </a:lnTo>
                  <a:lnTo>
                    <a:pt x="276" y="484"/>
                  </a:lnTo>
                  <a:lnTo>
                    <a:pt x="278" y="484"/>
                  </a:lnTo>
                  <a:lnTo>
                    <a:pt x="282" y="486"/>
                  </a:lnTo>
                  <a:lnTo>
                    <a:pt x="286" y="488"/>
                  </a:lnTo>
                  <a:lnTo>
                    <a:pt x="288" y="490"/>
                  </a:lnTo>
                  <a:lnTo>
                    <a:pt x="292" y="492"/>
                  </a:lnTo>
                  <a:lnTo>
                    <a:pt x="302" y="496"/>
                  </a:lnTo>
                  <a:lnTo>
                    <a:pt x="304" y="496"/>
                  </a:lnTo>
                  <a:lnTo>
                    <a:pt x="308" y="496"/>
                  </a:lnTo>
                  <a:lnTo>
                    <a:pt x="310" y="496"/>
                  </a:lnTo>
                  <a:lnTo>
                    <a:pt x="316" y="496"/>
                  </a:lnTo>
                  <a:lnTo>
                    <a:pt x="322" y="496"/>
                  </a:lnTo>
                  <a:lnTo>
                    <a:pt x="334" y="494"/>
                  </a:lnTo>
                  <a:lnTo>
                    <a:pt x="338" y="496"/>
                  </a:lnTo>
                  <a:lnTo>
                    <a:pt x="342" y="496"/>
                  </a:lnTo>
                  <a:lnTo>
                    <a:pt x="346" y="494"/>
                  </a:lnTo>
                  <a:lnTo>
                    <a:pt x="350" y="492"/>
                  </a:lnTo>
                  <a:lnTo>
                    <a:pt x="354" y="492"/>
                  </a:lnTo>
                  <a:lnTo>
                    <a:pt x="360" y="492"/>
                  </a:lnTo>
                  <a:lnTo>
                    <a:pt x="362" y="490"/>
                  </a:lnTo>
                  <a:lnTo>
                    <a:pt x="364" y="490"/>
                  </a:lnTo>
                  <a:lnTo>
                    <a:pt x="370" y="490"/>
                  </a:lnTo>
                  <a:lnTo>
                    <a:pt x="374" y="492"/>
                  </a:lnTo>
                  <a:lnTo>
                    <a:pt x="376" y="492"/>
                  </a:lnTo>
                  <a:lnTo>
                    <a:pt x="380" y="492"/>
                  </a:lnTo>
                  <a:lnTo>
                    <a:pt x="382" y="492"/>
                  </a:lnTo>
                  <a:lnTo>
                    <a:pt x="384" y="494"/>
                  </a:lnTo>
                  <a:lnTo>
                    <a:pt x="392" y="496"/>
                  </a:lnTo>
                  <a:lnTo>
                    <a:pt x="402" y="496"/>
                  </a:lnTo>
                  <a:lnTo>
                    <a:pt x="404" y="496"/>
                  </a:lnTo>
                  <a:lnTo>
                    <a:pt x="406" y="496"/>
                  </a:lnTo>
                  <a:lnTo>
                    <a:pt x="414" y="494"/>
                  </a:lnTo>
                  <a:lnTo>
                    <a:pt x="424" y="492"/>
                  </a:lnTo>
                  <a:lnTo>
                    <a:pt x="426" y="492"/>
                  </a:lnTo>
                  <a:lnTo>
                    <a:pt x="428" y="490"/>
                  </a:lnTo>
                  <a:lnTo>
                    <a:pt x="436" y="486"/>
                  </a:lnTo>
                  <a:lnTo>
                    <a:pt x="436" y="484"/>
                  </a:lnTo>
                  <a:lnTo>
                    <a:pt x="442" y="480"/>
                  </a:lnTo>
                  <a:lnTo>
                    <a:pt x="444" y="480"/>
                  </a:lnTo>
                  <a:lnTo>
                    <a:pt x="450" y="476"/>
                  </a:lnTo>
                  <a:lnTo>
                    <a:pt x="452" y="474"/>
                  </a:lnTo>
                  <a:lnTo>
                    <a:pt x="452" y="472"/>
                  </a:lnTo>
                  <a:lnTo>
                    <a:pt x="458" y="466"/>
                  </a:lnTo>
                  <a:lnTo>
                    <a:pt x="466" y="460"/>
                  </a:lnTo>
                  <a:lnTo>
                    <a:pt x="474" y="452"/>
                  </a:lnTo>
                  <a:lnTo>
                    <a:pt x="474" y="450"/>
                  </a:lnTo>
                  <a:lnTo>
                    <a:pt x="474" y="448"/>
                  </a:lnTo>
                  <a:lnTo>
                    <a:pt x="474" y="446"/>
                  </a:lnTo>
                  <a:lnTo>
                    <a:pt x="478" y="442"/>
                  </a:lnTo>
                  <a:lnTo>
                    <a:pt x="478" y="440"/>
                  </a:lnTo>
                  <a:lnTo>
                    <a:pt x="478" y="438"/>
                  </a:lnTo>
                  <a:lnTo>
                    <a:pt x="480" y="438"/>
                  </a:lnTo>
                  <a:lnTo>
                    <a:pt x="482" y="436"/>
                  </a:lnTo>
                  <a:lnTo>
                    <a:pt x="484" y="430"/>
                  </a:lnTo>
                  <a:lnTo>
                    <a:pt x="486" y="422"/>
                  </a:lnTo>
                  <a:lnTo>
                    <a:pt x="486" y="418"/>
                  </a:lnTo>
                  <a:lnTo>
                    <a:pt x="486" y="416"/>
                  </a:lnTo>
                  <a:lnTo>
                    <a:pt x="490" y="404"/>
                  </a:lnTo>
                  <a:lnTo>
                    <a:pt x="490" y="400"/>
                  </a:lnTo>
                  <a:lnTo>
                    <a:pt x="492" y="396"/>
                  </a:lnTo>
                  <a:lnTo>
                    <a:pt x="492" y="394"/>
                  </a:lnTo>
                  <a:lnTo>
                    <a:pt x="492" y="388"/>
                  </a:lnTo>
                  <a:lnTo>
                    <a:pt x="492" y="386"/>
                  </a:lnTo>
                  <a:lnTo>
                    <a:pt x="492" y="382"/>
                  </a:lnTo>
                  <a:lnTo>
                    <a:pt x="492" y="380"/>
                  </a:lnTo>
                  <a:lnTo>
                    <a:pt x="492" y="378"/>
                  </a:lnTo>
                  <a:lnTo>
                    <a:pt x="488" y="362"/>
                  </a:lnTo>
                  <a:lnTo>
                    <a:pt x="484" y="356"/>
                  </a:lnTo>
                  <a:lnTo>
                    <a:pt x="482" y="354"/>
                  </a:lnTo>
                  <a:lnTo>
                    <a:pt x="480" y="354"/>
                  </a:lnTo>
                  <a:lnTo>
                    <a:pt x="480" y="356"/>
                  </a:lnTo>
                  <a:lnTo>
                    <a:pt x="478" y="356"/>
                  </a:lnTo>
                  <a:lnTo>
                    <a:pt x="476" y="356"/>
                  </a:lnTo>
                  <a:lnTo>
                    <a:pt x="474" y="356"/>
                  </a:lnTo>
                  <a:lnTo>
                    <a:pt x="472" y="350"/>
                  </a:lnTo>
                  <a:lnTo>
                    <a:pt x="472" y="346"/>
                  </a:lnTo>
                  <a:lnTo>
                    <a:pt x="470" y="340"/>
                  </a:lnTo>
                  <a:lnTo>
                    <a:pt x="466" y="338"/>
                  </a:lnTo>
                  <a:lnTo>
                    <a:pt x="464" y="336"/>
                  </a:lnTo>
                  <a:lnTo>
                    <a:pt x="464" y="338"/>
                  </a:lnTo>
                  <a:lnTo>
                    <a:pt x="458" y="326"/>
                  </a:lnTo>
                  <a:lnTo>
                    <a:pt x="458" y="324"/>
                  </a:lnTo>
                  <a:lnTo>
                    <a:pt x="458" y="322"/>
                  </a:lnTo>
                  <a:lnTo>
                    <a:pt x="456" y="320"/>
                  </a:lnTo>
                  <a:lnTo>
                    <a:pt x="452" y="316"/>
                  </a:lnTo>
                  <a:lnTo>
                    <a:pt x="450" y="316"/>
                  </a:lnTo>
                  <a:lnTo>
                    <a:pt x="448" y="316"/>
                  </a:lnTo>
                  <a:lnTo>
                    <a:pt x="448" y="318"/>
                  </a:lnTo>
                  <a:lnTo>
                    <a:pt x="446" y="318"/>
                  </a:lnTo>
                  <a:lnTo>
                    <a:pt x="440" y="316"/>
                  </a:lnTo>
                  <a:lnTo>
                    <a:pt x="436" y="320"/>
                  </a:lnTo>
                  <a:lnTo>
                    <a:pt x="434" y="320"/>
                  </a:lnTo>
                  <a:lnTo>
                    <a:pt x="430" y="318"/>
                  </a:lnTo>
                  <a:lnTo>
                    <a:pt x="426" y="314"/>
                  </a:lnTo>
                  <a:lnTo>
                    <a:pt x="428" y="312"/>
                  </a:lnTo>
                  <a:lnTo>
                    <a:pt x="428" y="310"/>
                  </a:lnTo>
                  <a:lnTo>
                    <a:pt x="424" y="308"/>
                  </a:lnTo>
                  <a:lnTo>
                    <a:pt x="422" y="308"/>
                  </a:lnTo>
                  <a:lnTo>
                    <a:pt x="418" y="306"/>
                  </a:lnTo>
                  <a:lnTo>
                    <a:pt x="416" y="306"/>
                  </a:lnTo>
                  <a:lnTo>
                    <a:pt x="410" y="302"/>
                  </a:lnTo>
                  <a:lnTo>
                    <a:pt x="408" y="302"/>
                  </a:lnTo>
                  <a:lnTo>
                    <a:pt x="404" y="298"/>
                  </a:lnTo>
                  <a:lnTo>
                    <a:pt x="404" y="296"/>
                  </a:lnTo>
                  <a:lnTo>
                    <a:pt x="402" y="294"/>
                  </a:lnTo>
                  <a:lnTo>
                    <a:pt x="398" y="294"/>
                  </a:lnTo>
                  <a:lnTo>
                    <a:pt x="396" y="294"/>
                  </a:lnTo>
                  <a:lnTo>
                    <a:pt x="396" y="292"/>
                  </a:lnTo>
                  <a:lnTo>
                    <a:pt x="396" y="294"/>
                  </a:lnTo>
                  <a:lnTo>
                    <a:pt x="398" y="296"/>
                  </a:lnTo>
                  <a:lnTo>
                    <a:pt x="404" y="302"/>
                  </a:lnTo>
                  <a:lnTo>
                    <a:pt x="400" y="304"/>
                  </a:lnTo>
                  <a:lnTo>
                    <a:pt x="394" y="304"/>
                  </a:lnTo>
                  <a:lnTo>
                    <a:pt x="392" y="304"/>
                  </a:lnTo>
                  <a:lnTo>
                    <a:pt x="390" y="304"/>
                  </a:lnTo>
                  <a:lnTo>
                    <a:pt x="388" y="302"/>
                  </a:lnTo>
                  <a:lnTo>
                    <a:pt x="380" y="298"/>
                  </a:lnTo>
                  <a:lnTo>
                    <a:pt x="374" y="296"/>
                  </a:lnTo>
                  <a:lnTo>
                    <a:pt x="366" y="292"/>
                  </a:lnTo>
                  <a:lnTo>
                    <a:pt x="364" y="290"/>
                  </a:lnTo>
                  <a:lnTo>
                    <a:pt x="352" y="288"/>
                  </a:lnTo>
                  <a:lnTo>
                    <a:pt x="350" y="288"/>
                  </a:lnTo>
                  <a:lnTo>
                    <a:pt x="348" y="290"/>
                  </a:lnTo>
                  <a:lnTo>
                    <a:pt x="350" y="292"/>
                  </a:lnTo>
                  <a:lnTo>
                    <a:pt x="352" y="292"/>
                  </a:lnTo>
                  <a:lnTo>
                    <a:pt x="350" y="294"/>
                  </a:lnTo>
                  <a:lnTo>
                    <a:pt x="346" y="294"/>
                  </a:lnTo>
                  <a:lnTo>
                    <a:pt x="344" y="290"/>
                  </a:lnTo>
                  <a:lnTo>
                    <a:pt x="340" y="286"/>
                  </a:lnTo>
                  <a:lnTo>
                    <a:pt x="328" y="280"/>
                  </a:lnTo>
                  <a:lnTo>
                    <a:pt x="322" y="276"/>
                  </a:lnTo>
                  <a:lnTo>
                    <a:pt x="316" y="272"/>
                  </a:lnTo>
                  <a:lnTo>
                    <a:pt x="314" y="272"/>
                  </a:lnTo>
                  <a:lnTo>
                    <a:pt x="310" y="270"/>
                  </a:lnTo>
                  <a:lnTo>
                    <a:pt x="308" y="270"/>
                  </a:lnTo>
                  <a:lnTo>
                    <a:pt x="304" y="268"/>
                  </a:lnTo>
                  <a:lnTo>
                    <a:pt x="294" y="266"/>
                  </a:lnTo>
                  <a:lnTo>
                    <a:pt x="288" y="264"/>
                  </a:lnTo>
                  <a:lnTo>
                    <a:pt x="282" y="260"/>
                  </a:lnTo>
                  <a:lnTo>
                    <a:pt x="266" y="254"/>
                  </a:lnTo>
                  <a:lnTo>
                    <a:pt x="264" y="254"/>
                  </a:lnTo>
                  <a:lnTo>
                    <a:pt x="260" y="254"/>
                  </a:lnTo>
                  <a:lnTo>
                    <a:pt x="252" y="252"/>
                  </a:lnTo>
                  <a:lnTo>
                    <a:pt x="240" y="246"/>
                  </a:lnTo>
                  <a:lnTo>
                    <a:pt x="234" y="246"/>
                  </a:lnTo>
                  <a:lnTo>
                    <a:pt x="224" y="244"/>
                  </a:lnTo>
                  <a:lnTo>
                    <a:pt x="222" y="244"/>
                  </a:lnTo>
                  <a:lnTo>
                    <a:pt x="216" y="244"/>
                  </a:lnTo>
                  <a:lnTo>
                    <a:pt x="212" y="244"/>
                  </a:lnTo>
                  <a:lnTo>
                    <a:pt x="212" y="246"/>
                  </a:lnTo>
                  <a:lnTo>
                    <a:pt x="216" y="250"/>
                  </a:lnTo>
                  <a:lnTo>
                    <a:pt x="214" y="252"/>
                  </a:lnTo>
                  <a:lnTo>
                    <a:pt x="212" y="250"/>
                  </a:lnTo>
                  <a:lnTo>
                    <a:pt x="210" y="250"/>
                  </a:lnTo>
                  <a:lnTo>
                    <a:pt x="210" y="252"/>
                  </a:lnTo>
                  <a:lnTo>
                    <a:pt x="206" y="252"/>
                  </a:lnTo>
                  <a:lnTo>
                    <a:pt x="200" y="252"/>
                  </a:lnTo>
                  <a:lnTo>
                    <a:pt x="196" y="252"/>
                  </a:lnTo>
                  <a:lnTo>
                    <a:pt x="188" y="252"/>
                  </a:lnTo>
                  <a:lnTo>
                    <a:pt x="186" y="250"/>
                  </a:lnTo>
                  <a:lnTo>
                    <a:pt x="184" y="248"/>
                  </a:lnTo>
                  <a:lnTo>
                    <a:pt x="178" y="250"/>
                  </a:lnTo>
                  <a:lnTo>
                    <a:pt x="172" y="252"/>
                  </a:lnTo>
                  <a:lnTo>
                    <a:pt x="168" y="252"/>
                  </a:lnTo>
                  <a:lnTo>
                    <a:pt x="164" y="254"/>
                  </a:lnTo>
                  <a:lnTo>
                    <a:pt x="160" y="254"/>
                  </a:lnTo>
                  <a:lnTo>
                    <a:pt x="160" y="256"/>
                  </a:lnTo>
                  <a:lnTo>
                    <a:pt x="160" y="260"/>
                  </a:lnTo>
                  <a:lnTo>
                    <a:pt x="162" y="266"/>
                  </a:lnTo>
                  <a:lnTo>
                    <a:pt x="162" y="268"/>
                  </a:lnTo>
                  <a:lnTo>
                    <a:pt x="160" y="276"/>
                  </a:lnTo>
                  <a:lnTo>
                    <a:pt x="156" y="278"/>
                  </a:lnTo>
                  <a:lnTo>
                    <a:pt x="150" y="282"/>
                  </a:lnTo>
                  <a:lnTo>
                    <a:pt x="150" y="286"/>
                  </a:lnTo>
                  <a:lnTo>
                    <a:pt x="150" y="290"/>
                  </a:lnTo>
                  <a:lnTo>
                    <a:pt x="152" y="292"/>
                  </a:lnTo>
                  <a:lnTo>
                    <a:pt x="150" y="292"/>
                  </a:lnTo>
                  <a:lnTo>
                    <a:pt x="148" y="284"/>
                  </a:lnTo>
                  <a:lnTo>
                    <a:pt x="148" y="282"/>
                  </a:lnTo>
                  <a:lnTo>
                    <a:pt x="150" y="282"/>
                  </a:lnTo>
                  <a:lnTo>
                    <a:pt x="150" y="280"/>
                  </a:lnTo>
                  <a:lnTo>
                    <a:pt x="152" y="278"/>
                  </a:lnTo>
                  <a:lnTo>
                    <a:pt x="154" y="278"/>
                  </a:lnTo>
                  <a:lnTo>
                    <a:pt x="156" y="276"/>
                  </a:lnTo>
                  <a:lnTo>
                    <a:pt x="160" y="268"/>
                  </a:lnTo>
                  <a:lnTo>
                    <a:pt x="160" y="266"/>
                  </a:lnTo>
                  <a:lnTo>
                    <a:pt x="156" y="260"/>
                  </a:lnTo>
                  <a:lnTo>
                    <a:pt x="154" y="260"/>
                  </a:lnTo>
                  <a:lnTo>
                    <a:pt x="150" y="264"/>
                  </a:lnTo>
                  <a:lnTo>
                    <a:pt x="152" y="260"/>
                  </a:lnTo>
                  <a:lnTo>
                    <a:pt x="156" y="254"/>
                  </a:lnTo>
                  <a:lnTo>
                    <a:pt x="154" y="248"/>
                  </a:lnTo>
                  <a:lnTo>
                    <a:pt x="152" y="246"/>
                  </a:lnTo>
                  <a:lnTo>
                    <a:pt x="148" y="246"/>
                  </a:lnTo>
                  <a:lnTo>
                    <a:pt x="144" y="250"/>
                  </a:lnTo>
                  <a:lnTo>
                    <a:pt x="138" y="254"/>
                  </a:lnTo>
                  <a:lnTo>
                    <a:pt x="138" y="256"/>
                  </a:lnTo>
                  <a:lnTo>
                    <a:pt x="138" y="260"/>
                  </a:lnTo>
                  <a:lnTo>
                    <a:pt x="138" y="262"/>
                  </a:lnTo>
                  <a:lnTo>
                    <a:pt x="136" y="264"/>
                  </a:lnTo>
                  <a:lnTo>
                    <a:pt x="136" y="260"/>
                  </a:lnTo>
                  <a:lnTo>
                    <a:pt x="134" y="260"/>
                  </a:lnTo>
                  <a:lnTo>
                    <a:pt x="136" y="254"/>
                  </a:lnTo>
                  <a:lnTo>
                    <a:pt x="136" y="252"/>
                  </a:lnTo>
                  <a:lnTo>
                    <a:pt x="138" y="250"/>
                  </a:lnTo>
                  <a:lnTo>
                    <a:pt x="138" y="246"/>
                  </a:lnTo>
                  <a:lnTo>
                    <a:pt x="132" y="248"/>
                  </a:lnTo>
                  <a:lnTo>
                    <a:pt x="126" y="248"/>
                  </a:lnTo>
                  <a:lnTo>
                    <a:pt x="120" y="250"/>
                  </a:lnTo>
                  <a:lnTo>
                    <a:pt x="118" y="250"/>
                  </a:lnTo>
                  <a:lnTo>
                    <a:pt x="116" y="254"/>
                  </a:lnTo>
                  <a:lnTo>
                    <a:pt x="116" y="256"/>
                  </a:lnTo>
                  <a:lnTo>
                    <a:pt x="114" y="256"/>
                  </a:lnTo>
                  <a:lnTo>
                    <a:pt x="114" y="258"/>
                  </a:lnTo>
                  <a:lnTo>
                    <a:pt x="112" y="258"/>
                  </a:lnTo>
                  <a:lnTo>
                    <a:pt x="114" y="256"/>
                  </a:lnTo>
                  <a:lnTo>
                    <a:pt x="120" y="248"/>
                  </a:lnTo>
                  <a:lnTo>
                    <a:pt x="116" y="244"/>
                  </a:lnTo>
                  <a:lnTo>
                    <a:pt x="116" y="242"/>
                  </a:lnTo>
                  <a:lnTo>
                    <a:pt x="114" y="242"/>
                  </a:lnTo>
                  <a:lnTo>
                    <a:pt x="108" y="244"/>
                  </a:lnTo>
                  <a:lnTo>
                    <a:pt x="104" y="244"/>
                  </a:lnTo>
                  <a:lnTo>
                    <a:pt x="102" y="242"/>
                  </a:lnTo>
                  <a:lnTo>
                    <a:pt x="102" y="240"/>
                  </a:lnTo>
                  <a:lnTo>
                    <a:pt x="102" y="236"/>
                  </a:lnTo>
                  <a:lnTo>
                    <a:pt x="106" y="238"/>
                  </a:lnTo>
                  <a:lnTo>
                    <a:pt x="110" y="238"/>
                  </a:lnTo>
                  <a:lnTo>
                    <a:pt x="116" y="236"/>
                  </a:lnTo>
                  <a:lnTo>
                    <a:pt x="120" y="238"/>
                  </a:lnTo>
                  <a:lnTo>
                    <a:pt x="128" y="238"/>
                  </a:lnTo>
                  <a:lnTo>
                    <a:pt x="130" y="238"/>
                  </a:lnTo>
                  <a:lnTo>
                    <a:pt x="132" y="238"/>
                  </a:lnTo>
                  <a:lnTo>
                    <a:pt x="134" y="234"/>
                  </a:lnTo>
                  <a:lnTo>
                    <a:pt x="136" y="232"/>
                  </a:lnTo>
                  <a:lnTo>
                    <a:pt x="136" y="230"/>
                  </a:lnTo>
                  <a:lnTo>
                    <a:pt x="134" y="224"/>
                  </a:lnTo>
                  <a:lnTo>
                    <a:pt x="134" y="222"/>
                  </a:lnTo>
                  <a:lnTo>
                    <a:pt x="132" y="222"/>
                  </a:lnTo>
                  <a:lnTo>
                    <a:pt x="128" y="220"/>
                  </a:lnTo>
                  <a:lnTo>
                    <a:pt x="126" y="220"/>
                  </a:lnTo>
                  <a:lnTo>
                    <a:pt x="120" y="220"/>
                  </a:lnTo>
                  <a:lnTo>
                    <a:pt x="118" y="222"/>
                  </a:lnTo>
                  <a:lnTo>
                    <a:pt x="118" y="224"/>
                  </a:lnTo>
                  <a:lnTo>
                    <a:pt x="116" y="224"/>
                  </a:lnTo>
                  <a:lnTo>
                    <a:pt x="112" y="220"/>
                  </a:lnTo>
                  <a:lnTo>
                    <a:pt x="110" y="218"/>
                  </a:lnTo>
                  <a:lnTo>
                    <a:pt x="106" y="216"/>
                  </a:lnTo>
                  <a:lnTo>
                    <a:pt x="100" y="216"/>
                  </a:lnTo>
                  <a:lnTo>
                    <a:pt x="96" y="212"/>
                  </a:lnTo>
                  <a:lnTo>
                    <a:pt x="94" y="212"/>
                  </a:lnTo>
                  <a:lnTo>
                    <a:pt x="90" y="212"/>
                  </a:lnTo>
                  <a:lnTo>
                    <a:pt x="90" y="216"/>
                  </a:lnTo>
                  <a:lnTo>
                    <a:pt x="94" y="220"/>
                  </a:lnTo>
                  <a:lnTo>
                    <a:pt x="96" y="220"/>
                  </a:lnTo>
                  <a:lnTo>
                    <a:pt x="96" y="222"/>
                  </a:lnTo>
                  <a:lnTo>
                    <a:pt x="100" y="226"/>
                  </a:lnTo>
                  <a:lnTo>
                    <a:pt x="98" y="228"/>
                  </a:lnTo>
                  <a:lnTo>
                    <a:pt x="96" y="226"/>
                  </a:lnTo>
                  <a:lnTo>
                    <a:pt x="94" y="224"/>
                  </a:lnTo>
                  <a:lnTo>
                    <a:pt x="90" y="224"/>
                  </a:lnTo>
                  <a:lnTo>
                    <a:pt x="88" y="224"/>
                  </a:lnTo>
                  <a:lnTo>
                    <a:pt x="86" y="226"/>
                  </a:lnTo>
                  <a:lnTo>
                    <a:pt x="88" y="234"/>
                  </a:lnTo>
                  <a:lnTo>
                    <a:pt x="90" y="236"/>
                  </a:lnTo>
                  <a:lnTo>
                    <a:pt x="94" y="238"/>
                  </a:lnTo>
                  <a:lnTo>
                    <a:pt x="92" y="238"/>
                  </a:lnTo>
                  <a:lnTo>
                    <a:pt x="90" y="238"/>
                  </a:lnTo>
                  <a:lnTo>
                    <a:pt x="84" y="238"/>
                  </a:lnTo>
                  <a:lnTo>
                    <a:pt x="80" y="238"/>
                  </a:lnTo>
                  <a:lnTo>
                    <a:pt x="74" y="236"/>
                  </a:lnTo>
                  <a:lnTo>
                    <a:pt x="62" y="236"/>
                  </a:lnTo>
                  <a:lnTo>
                    <a:pt x="60" y="236"/>
                  </a:lnTo>
                  <a:lnTo>
                    <a:pt x="64" y="240"/>
                  </a:lnTo>
                  <a:lnTo>
                    <a:pt x="66" y="244"/>
                  </a:lnTo>
                  <a:lnTo>
                    <a:pt x="66" y="248"/>
                  </a:lnTo>
                  <a:lnTo>
                    <a:pt x="68" y="252"/>
                  </a:lnTo>
                  <a:lnTo>
                    <a:pt x="68" y="254"/>
                  </a:lnTo>
                  <a:lnTo>
                    <a:pt x="68" y="256"/>
                  </a:lnTo>
                  <a:lnTo>
                    <a:pt x="66" y="258"/>
                  </a:lnTo>
                  <a:lnTo>
                    <a:pt x="64" y="260"/>
                  </a:lnTo>
                  <a:lnTo>
                    <a:pt x="56" y="260"/>
                  </a:lnTo>
                  <a:lnTo>
                    <a:pt x="54" y="258"/>
                  </a:lnTo>
                  <a:lnTo>
                    <a:pt x="50" y="256"/>
                  </a:lnTo>
                  <a:lnTo>
                    <a:pt x="48" y="254"/>
                  </a:lnTo>
                  <a:lnTo>
                    <a:pt x="46" y="254"/>
                  </a:lnTo>
                  <a:lnTo>
                    <a:pt x="42" y="252"/>
                  </a:lnTo>
                  <a:lnTo>
                    <a:pt x="40" y="252"/>
                  </a:lnTo>
                  <a:lnTo>
                    <a:pt x="38" y="254"/>
                  </a:lnTo>
                  <a:lnTo>
                    <a:pt x="40" y="256"/>
                  </a:lnTo>
                  <a:lnTo>
                    <a:pt x="44" y="260"/>
                  </a:lnTo>
                  <a:lnTo>
                    <a:pt x="42" y="266"/>
                  </a:lnTo>
                  <a:lnTo>
                    <a:pt x="42" y="268"/>
                  </a:lnTo>
                  <a:lnTo>
                    <a:pt x="38" y="274"/>
                  </a:lnTo>
                  <a:lnTo>
                    <a:pt x="32" y="282"/>
                  </a:lnTo>
                  <a:lnTo>
                    <a:pt x="30" y="282"/>
                  </a:lnTo>
                  <a:lnTo>
                    <a:pt x="28" y="284"/>
                  </a:lnTo>
                  <a:lnTo>
                    <a:pt x="26" y="286"/>
                  </a:lnTo>
                  <a:lnTo>
                    <a:pt x="24" y="286"/>
                  </a:lnTo>
                  <a:lnTo>
                    <a:pt x="20" y="290"/>
                  </a:lnTo>
                  <a:lnTo>
                    <a:pt x="22" y="294"/>
                  </a:lnTo>
                  <a:lnTo>
                    <a:pt x="22" y="296"/>
                  </a:lnTo>
                  <a:lnTo>
                    <a:pt x="24" y="300"/>
                  </a:lnTo>
                  <a:lnTo>
                    <a:pt x="24" y="306"/>
                  </a:lnTo>
                  <a:lnTo>
                    <a:pt x="24" y="308"/>
                  </a:lnTo>
                  <a:lnTo>
                    <a:pt x="22" y="310"/>
                  </a:lnTo>
                  <a:lnTo>
                    <a:pt x="22" y="312"/>
                  </a:lnTo>
                  <a:lnTo>
                    <a:pt x="20" y="314"/>
                  </a:lnTo>
                  <a:lnTo>
                    <a:pt x="20" y="316"/>
                  </a:lnTo>
                  <a:lnTo>
                    <a:pt x="18" y="316"/>
                  </a:lnTo>
                  <a:lnTo>
                    <a:pt x="16" y="316"/>
                  </a:lnTo>
                  <a:lnTo>
                    <a:pt x="16" y="314"/>
                  </a:lnTo>
                  <a:lnTo>
                    <a:pt x="14" y="316"/>
                  </a:lnTo>
                  <a:lnTo>
                    <a:pt x="12" y="318"/>
                  </a:lnTo>
                  <a:lnTo>
                    <a:pt x="8" y="322"/>
                  </a:lnTo>
                  <a:lnTo>
                    <a:pt x="0" y="330"/>
                  </a:lnTo>
                  <a:lnTo>
                    <a:pt x="0" y="332"/>
                  </a:lnTo>
                  <a:lnTo>
                    <a:pt x="0" y="334"/>
                  </a:lnTo>
                  <a:lnTo>
                    <a:pt x="2" y="334"/>
                  </a:lnTo>
                  <a:lnTo>
                    <a:pt x="4" y="334"/>
                  </a:lnTo>
                  <a:lnTo>
                    <a:pt x="6" y="334"/>
                  </a:lnTo>
                  <a:lnTo>
                    <a:pt x="10" y="332"/>
                  </a:lnTo>
                  <a:lnTo>
                    <a:pt x="12" y="332"/>
                  </a:lnTo>
                  <a:lnTo>
                    <a:pt x="14" y="334"/>
                  </a:lnTo>
                  <a:lnTo>
                    <a:pt x="14" y="338"/>
                  </a:lnTo>
                  <a:lnTo>
                    <a:pt x="14" y="342"/>
                  </a:lnTo>
                  <a:lnTo>
                    <a:pt x="14" y="346"/>
                  </a:lnTo>
                  <a:lnTo>
                    <a:pt x="12" y="350"/>
                  </a:lnTo>
                  <a:lnTo>
                    <a:pt x="10" y="360"/>
                  </a:lnTo>
                  <a:lnTo>
                    <a:pt x="8" y="364"/>
                  </a:lnTo>
                  <a:lnTo>
                    <a:pt x="14" y="378"/>
                  </a:lnTo>
                  <a:lnTo>
                    <a:pt x="20" y="390"/>
                  </a:lnTo>
                  <a:lnTo>
                    <a:pt x="24" y="394"/>
                  </a:lnTo>
                  <a:lnTo>
                    <a:pt x="28" y="396"/>
                  </a:lnTo>
                  <a:lnTo>
                    <a:pt x="40" y="398"/>
                  </a:lnTo>
                  <a:lnTo>
                    <a:pt x="48" y="400"/>
                  </a:lnTo>
                  <a:lnTo>
                    <a:pt x="50" y="400"/>
                  </a:lnTo>
                  <a:lnTo>
                    <a:pt x="58" y="412"/>
                  </a:lnTo>
                  <a:lnTo>
                    <a:pt x="66" y="422"/>
                  </a:lnTo>
                  <a:lnTo>
                    <a:pt x="74" y="426"/>
                  </a:lnTo>
                  <a:lnTo>
                    <a:pt x="80" y="430"/>
                  </a:lnTo>
                  <a:lnTo>
                    <a:pt x="80" y="442"/>
                  </a:lnTo>
                  <a:lnTo>
                    <a:pt x="80" y="444"/>
                  </a:lnTo>
                  <a:lnTo>
                    <a:pt x="80" y="446"/>
                  </a:lnTo>
                  <a:lnTo>
                    <a:pt x="80" y="448"/>
                  </a:lnTo>
                  <a:lnTo>
                    <a:pt x="78" y="450"/>
                  </a:lnTo>
                  <a:lnTo>
                    <a:pt x="76" y="456"/>
                  </a:lnTo>
                  <a:lnTo>
                    <a:pt x="70" y="470"/>
                  </a:lnTo>
                  <a:lnTo>
                    <a:pt x="62" y="496"/>
                  </a:lnTo>
                  <a:lnTo>
                    <a:pt x="62" y="498"/>
                  </a:lnTo>
                  <a:lnTo>
                    <a:pt x="62" y="502"/>
                  </a:lnTo>
                  <a:lnTo>
                    <a:pt x="62" y="504"/>
                  </a:lnTo>
                  <a:lnTo>
                    <a:pt x="62" y="508"/>
                  </a:lnTo>
                  <a:lnTo>
                    <a:pt x="62" y="510"/>
                  </a:lnTo>
                  <a:lnTo>
                    <a:pt x="64" y="512"/>
                  </a:lnTo>
                  <a:lnTo>
                    <a:pt x="66" y="516"/>
                  </a:lnTo>
                  <a:lnTo>
                    <a:pt x="70" y="518"/>
                  </a:lnTo>
                  <a:lnTo>
                    <a:pt x="72" y="520"/>
                  </a:lnTo>
                  <a:lnTo>
                    <a:pt x="76" y="524"/>
                  </a:lnTo>
                  <a:lnTo>
                    <a:pt x="78" y="526"/>
                  </a:lnTo>
                  <a:lnTo>
                    <a:pt x="78" y="530"/>
                  </a:lnTo>
                  <a:lnTo>
                    <a:pt x="80" y="532"/>
                  </a:lnTo>
                  <a:lnTo>
                    <a:pt x="88" y="544"/>
                  </a:lnTo>
                  <a:lnTo>
                    <a:pt x="90" y="546"/>
                  </a:lnTo>
                  <a:lnTo>
                    <a:pt x="90" y="548"/>
                  </a:lnTo>
                  <a:lnTo>
                    <a:pt x="92" y="550"/>
                  </a:lnTo>
                  <a:lnTo>
                    <a:pt x="94" y="556"/>
                  </a:lnTo>
                  <a:lnTo>
                    <a:pt x="102" y="566"/>
                  </a:lnTo>
                  <a:lnTo>
                    <a:pt x="104" y="568"/>
                  </a:lnTo>
                  <a:lnTo>
                    <a:pt x="106" y="568"/>
                  </a:lnTo>
                  <a:lnTo>
                    <a:pt x="106" y="570"/>
                  </a:lnTo>
                  <a:lnTo>
                    <a:pt x="108" y="570"/>
                  </a:lnTo>
                  <a:lnTo>
                    <a:pt x="110" y="572"/>
                  </a:lnTo>
                  <a:lnTo>
                    <a:pt x="112" y="578"/>
                  </a:lnTo>
                  <a:lnTo>
                    <a:pt x="118" y="590"/>
                  </a:lnTo>
                  <a:lnTo>
                    <a:pt x="122" y="596"/>
                  </a:lnTo>
                  <a:lnTo>
                    <a:pt x="122" y="598"/>
                  </a:lnTo>
                  <a:lnTo>
                    <a:pt x="126" y="606"/>
                  </a:lnTo>
                  <a:lnTo>
                    <a:pt x="126" y="610"/>
                  </a:lnTo>
                  <a:lnTo>
                    <a:pt x="124" y="610"/>
                  </a:lnTo>
                  <a:lnTo>
                    <a:pt x="122" y="610"/>
                  </a:lnTo>
                  <a:lnTo>
                    <a:pt x="116" y="614"/>
                  </a:lnTo>
                  <a:lnTo>
                    <a:pt x="118" y="620"/>
                  </a:lnTo>
                  <a:lnTo>
                    <a:pt x="116" y="626"/>
                  </a:lnTo>
                  <a:lnTo>
                    <a:pt x="116" y="628"/>
                  </a:lnTo>
                  <a:lnTo>
                    <a:pt x="116" y="630"/>
                  </a:lnTo>
                  <a:lnTo>
                    <a:pt x="116" y="634"/>
                  </a:lnTo>
                  <a:lnTo>
                    <a:pt x="118" y="636"/>
                  </a:lnTo>
                  <a:lnTo>
                    <a:pt x="120" y="644"/>
                  </a:lnTo>
                  <a:lnTo>
                    <a:pt x="118" y="646"/>
                  </a:lnTo>
                  <a:lnTo>
                    <a:pt x="116" y="648"/>
                  </a:lnTo>
                  <a:lnTo>
                    <a:pt x="116" y="652"/>
                  </a:lnTo>
                  <a:lnTo>
                    <a:pt x="116" y="654"/>
                  </a:lnTo>
                  <a:lnTo>
                    <a:pt x="118" y="654"/>
                  </a:lnTo>
                  <a:lnTo>
                    <a:pt x="120" y="654"/>
                  </a:lnTo>
                  <a:lnTo>
                    <a:pt x="124" y="654"/>
                  </a:lnTo>
                  <a:lnTo>
                    <a:pt x="126" y="654"/>
                  </a:lnTo>
                  <a:lnTo>
                    <a:pt x="126" y="656"/>
                  </a:lnTo>
                  <a:lnTo>
                    <a:pt x="128" y="662"/>
                  </a:lnTo>
                  <a:lnTo>
                    <a:pt x="128" y="664"/>
                  </a:lnTo>
                  <a:lnTo>
                    <a:pt x="126" y="664"/>
                  </a:lnTo>
                  <a:lnTo>
                    <a:pt x="126" y="666"/>
                  </a:lnTo>
                  <a:lnTo>
                    <a:pt x="124" y="666"/>
                  </a:lnTo>
                  <a:lnTo>
                    <a:pt x="122" y="668"/>
                  </a:lnTo>
                  <a:lnTo>
                    <a:pt x="120" y="668"/>
                  </a:lnTo>
                  <a:lnTo>
                    <a:pt x="120" y="670"/>
                  </a:lnTo>
                  <a:lnTo>
                    <a:pt x="120" y="674"/>
                  </a:lnTo>
                  <a:lnTo>
                    <a:pt x="124" y="682"/>
                  </a:lnTo>
                  <a:lnTo>
                    <a:pt x="124" y="684"/>
                  </a:lnTo>
                  <a:lnTo>
                    <a:pt x="126" y="684"/>
                  </a:lnTo>
                  <a:lnTo>
                    <a:pt x="128" y="688"/>
                  </a:lnTo>
                  <a:lnTo>
                    <a:pt x="130" y="690"/>
                  </a:lnTo>
                  <a:lnTo>
                    <a:pt x="132" y="692"/>
                  </a:lnTo>
                  <a:lnTo>
                    <a:pt x="134" y="692"/>
                  </a:lnTo>
                  <a:lnTo>
                    <a:pt x="136" y="692"/>
                  </a:lnTo>
                  <a:lnTo>
                    <a:pt x="138" y="692"/>
                  </a:lnTo>
                  <a:lnTo>
                    <a:pt x="138" y="690"/>
                  </a:lnTo>
                  <a:lnTo>
                    <a:pt x="142" y="690"/>
                  </a:lnTo>
                  <a:lnTo>
                    <a:pt x="144" y="690"/>
                  </a:lnTo>
                  <a:lnTo>
                    <a:pt x="146" y="692"/>
                  </a:lnTo>
                  <a:lnTo>
                    <a:pt x="152" y="700"/>
                  </a:lnTo>
                  <a:lnTo>
                    <a:pt x="150" y="704"/>
                  </a:lnTo>
                  <a:lnTo>
                    <a:pt x="150" y="706"/>
                  </a:lnTo>
                  <a:lnTo>
                    <a:pt x="148" y="708"/>
                  </a:lnTo>
                  <a:lnTo>
                    <a:pt x="146" y="708"/>
                  </a:lnTo>
                  <a:lnTo>
                    <a:pt x="144" y="710"/>
                  </a:lnTo>
                  <a:lnTo>
                    <a:pt x="144" y="712"/>
                  </a:lnTo>
                  <a:lnTo>
                    <a:pt x="146" y="716"/>
                  </a:lnTo>
                  <a:lnTo>
                    <a:pt x="148" y="716"/>
                  </a:lnTo>
                  <a:lnTo>
                    <a:pt x="148" y="718"/>
                  </a:lnTo>
                  <a:lnTo>
                    <a:pt x="150" y="718"/>
                  </a:lnTo>
                  <a:lnTo>
                    <a:pt x="150" y="720"/>
                  </a:lnTo>
                  <a:lnTo>
                    <a:pt x="150" y="726"/>
                  </a:lnTo>
                  <a:lnTo>
                    <a:pt x="154" y="728"/>
                  </a:lnTo>
                  <a:lnTo>
                    <a:pt x="156" y="730"/>
                  </a:lnTo>
                  <a:lnTo>
                    <a:pt x="162" y="730"/>
                  </a:lnTo>
                  <a:lnTo>
                    <a:pt x="164" y="730"/>
                  </a:lnTo>
                  <a:lnTo>
                    <a:pt x="166" y="730"/>
                  </a:lnTo>
                  <a:lnTo>
                    <a:pt x="174" y="736"/>
                  </a:lnTo>
                  <a:lnTo>
                    <a:pt x="174" y="738"/>
                  </a:lnTo>
                  <a:lnTo>
                    <a:pt x="180" y="748"/>
                  </a:lnTo>
                  <a:lnTo>
                    <a:pt x="180" y="750"/>
                  </a:lnTo>
                  <a:lnTo>
                    <a:pt x="180" y="752"/>
                  </a:lnTo>
                  <a:lnTo>
                    <a:pt x="178" y="756"/>
                  </a:lnTo>
                  <a:lnTo>
                    <a:pt x="178" y="758"/>
                  </a:lnTo>
                  <a:lnTo>
                    <a:pt x="176" y="760"/>
                  </a:lnTo>
                  <a:lnTo>
                    <a:pt x="174" y="764"/>
                  </a:lnTo>
                  <a:lnTo>
                    <a:pt x="170" y="776"/>
                  </a:lnTo>
                  <a:lnTo>
                    <a:pt x="168" y="778"/>
                  </a:lnTo>
                  <a:lnTo>
                    <a:pt x="166" y="780"/>
                  </a:lnTo>
                  <a:lnTo>
                    <a:pt x="166" y="782"/>
                  </a:lnTo>
                  <a:lnTo>
                    <a:pt x="164" y="782"/>
                  </a:lnTo>
                  <a:lnTo>
                    <a:pt x="164" y="784"/>
                  </a:lnTo>
                  <a:lnTo>
                    <a:pt x="162" y="784"/>
                  </a:lnTo>
                  <a:lnTo>
                    <a:pt x="162" y="786"/>
                  </a:lnTo>
                  <a:lnTo>
                    <a:pt x="172" y="796"/>
                  </a:lnTo>
                  <a:lnTo>
                    <a:pt x="176" y="796"/>
                  </a:lnTo>
                  <a:lnTo>
                    <a:pt x="178" y="798"/>
                  </a:lnTo>
                  <a:lnTo>
                    <a:pt x="180" y="798"/>
                  </a:lnTo>
                  <a:lnTo>
                    <a:pt x="182" y="800"/>
                  </a:lnTo>
                  <a:lnTo>
                    <a:pt x="186" y="804"/>
                  </a:lnTo>
                  <a:lnTo>
                    <a:pt x="194" y="808"/>
                  </a:lnTo>
                  <a:lnTo>
                    <a:pt x="198" y="808"/>
                  </a:lnTo>
                  <a:lnTo>
                    <a:pt x="208" y="812"/>
                  </a:lnTo>
                  <a:lnTo>
                    <a:pt x="222" y="820"/>
                  </a:lnTo>
                  <a:lnTo>
                    <a:pt x="224" y="822"/>
                  </a:lnTo>
                  <a:lnTo>
                    <a:pt x="232" y="834"/>
                  </a:lnTo>
                  <a:lnTo>
                    <a:pt x="240" y="840"/>
                  </a:lnTo>
                  <a:lnTo>
                    <a:pt x="244" y="846"/>
                  </a:lnTo>
                  <a:lnTo>
                    <a:pt x="244" y="852"/>
                  </a:lnTo>
                  <a:lnTo>
                    <a:pt x="242" y="854"/>
                  </a:lnTo>
                  <a:lnTo>
                    <a:pt x="242" y="856"/>
                  </a:lnTo>
                  <a:lnTo>
                    <a:pt x="242" y="862"/>
                  </a:lnTo>
                  <a:lnTo>
                    <a:pt x="240" y="874"/>
                  </a:lnTo>
                  <a:lnTo>
                    <a:pt x="240" y="876"/>
                  </a:lnTo>
                  <a:lnTo>
                    <a:pt x="240" y="880"/>
                  </a:lnTo>
                  <a:lnTo>
                    <a:pt x="240" y="882"/>
                  </a:lnTo>
                  <a:lnTo>
                    <a:pt x="240" y="886"/>
                  </a:lnTo>
                  <a:lnTo>
                    <a:pt x="234" y="894"/>
                  </a:lnTo>
                  <a:lnTo>
                    <a:pt x="232" y="902"/>
                  </a:lnTo>
                  <a:lnTo>
                    <a:pt x="228" y="910"/>
                  </a:lnTo>
                  <a:lnTo>
                    <a:pt x="226" y="912"/>
                  </a:lnTo>
                  <a:lnTo>
                    <a:pt x="224" y="916"/>
                  </a:lnTo>
                  <a:lnTo>
                    <a:pt x="222" y="922"/>
                  </a:lnTo>
                  <a:lnTo>
                    <a:pt x="214" y="938"/>
                  </a:lnTo>
                  <a:lnTo>
                    <a:pt x="212" y="944"/>
                  </a:lnTo>
                  <a:lnTo>
                    <a:pt x="208" y="950"/>
                  </a:lnTo>
                  <a:lnTo>
                    <a:pt x="208" y="954"/>
                  </a:lnTo>
                  <a:lnTo>
                    <a:pt x="206" y="954"/>
                  </a:lnTo>
                  <a:lnTo>
                    <a:pt x="202" y="966"/>
                  </a:lnTo>
                  <a:lnTo>
                    <a:pt x="198" y="980"/>
                  </a:lnTo>
                  <a:lnTo>
                    <a:pt x="194" y="988"/>
                  </a:lnTo>
                  <a:lnTo>
                    <a:pt x="192" y="990"/>
                  </a:lnTo>
                  <a:lnTo>
                    <a:pt x="188" y="998"/>
                  </a:lnTo>
                  <a:lnTo>
                    <a:pt x="182" y="1006"/>
                  </a:lnTo>
                  <a:lnTo>
                    <a:pt x="182" y="1008"/>
                  </a:lnTo>
                  <a:lnTo>
                    <a:pt x="182" y="1010"/>
                  </a:lnTo>
                  <a:lnTo>
                    <a:pt x="180" y="1012"/>
                  </a:lnTo>
                  <a:lnTo>
                    <a:pt x="180" y="1014"/>
                  </a:lnTo>
                  <a:lnTo>
                    <a:pt x="178" y="1016"/>
                  </a:lnTo>
                  <a:lnTo>
                    <a:pt x="176" y="1018"/>
                  </a:lnTo>
                  <a:lnTo>
                    <a:pt x="172" y="1022"/>
                  </a:lnTo>
                  <a:lnTo>
                    <a:pt x="170" y="1026"/>
                  </a:lnTo>
                  <a:lnTo>
                    <a:pt x="164" y="1034"/>
                  </a:lnTo>
                  <a:lnTo>
                    <a:pt x="160" y="1040"/>
                  </a:lnTo>
                  <a:lnTo>
                    <a:pt x="160" y="1044"/>
                  </a:lnTo>
                  <a:lnTo>
                    <a:pt x="158" y="1046"/>
                  </a:lnTo>
                  <a:lnTo>
                    <a:pt x="158" y="1048"/>
                  </a:lnTo>
                  <a:lnTo>
                    <a:pt x="156" y="1048"/>
                  </a:lnTo>
                  <a:lnTo>
                    <a:pt x="154" y="1050"/>
                  </a:lnTo>
                  <a:lnTo>
                    <a:pt x="152" y="1052"/>
                  </a:lnTo>
                  <a:lnTo>
                    <a:pt x="148" y="1056"/>
                  </a:lnTo>
                  <a:lnTo>
                    <a:pt x="148" y="1060"/>
                  </a:lnTo>
                  <a:lnTo>
                    <a:pt x="148" y="1062"/>
                  </a:lnTo>
                  <a:lnTo>
                    <a:pt x="146" y="1064"/>
                  </a:lnTo>
                  <a:lnTo>
                    <a:pt x="144" y="1064"/>
                  </a:lnTo>
                  <a:lnTo>
                    <a:pt x="144" y="1066"/>
                  </a:lnTo>
                  <a:lnTo>
                    <a:pt x="138" y="1076"/>
                  </a:lnTo>
                  <a:lnTo>
                    <a:pt x="132" y="1088"/>
                  </a:lnTo>
                  <a:lnTo>
                    <a:pt x="128" y="1092"/>
                  </a:lnTo>
                  <a:lnTo>
                    <a:pt x="130" y="1094"/>
                  </a:lnTo>
                  <a:lnTo>
                    <a:pt x="138" y="1092"/>
                  </a:lnTo>
                  <a:lnTo>
                    <a:pt x="144" y="1092"/>
                  </a:lnTo>
                  <a:lnTo>
                    <a:pt x="152" y="1084"/>
                  </a:lnTo>
                  <a:lnTo>
                    <a:pt x="152" y="1080"/>
                  </a:lnTo>
                  <a:lnTo>
                    <a:pt x="152" y="1078"/>
                  </a:lnTo>
                  <a:lnTo>
                    <a:pt x="154" y="1076"/>
                  </a:lnTo>
                  <a:lnTo>
                    <a:pt x="158" y="1074"/>
                  </a:lnTo>
                  <a:lnTo>
                    <a:pt x="164" y="1068"/>
                  </a:lnTo>
                  <a:lnTo>
                    <a:pt x="168" y="1070"/>
                  </a:lnTo>
                  <a:lnTo>
                    <a:pt x="168" y="1072"/>
                  </a:lnTo>
                  <a:lnTo>
                    <a:pt x="166" y="1080"/>
                  </a:lnTo>
                  <a:lnTo>
                    <a:pt x="164" y="1080"/>
                  </a:lnTo>
                  <a:lnTo>
                    <a:pt x="164" y="1078"/>
                  </a:lnTo>
                  <a:lnTo>
                    <a:pt x="162" y="1078"/>
                  </a:lnTo>
                  <a:lnTo>
                    <a:pt x="160" y="1080"/>
                  </a:lnTo>
                  <a:lnTo>
                    <a:pt x="162" y="1082"/>
                  </a:lnTo>
                  <a:lnTo>
                    <a:pt x="164" y="1084"/>
                  </a:lnTo>
                  <a:lnTo>
                    <a:pt x="164" y="1082"/>
                  </a:lnTo>
                  <a:lnTo>
                    <a:pt x="166" y="1082"/>
                  </a:lnTo>
                  <a:lnTo>
                    <a:pt x="170" y="1092"/>
                  </a:lnTo>
                  <a:lnTo>
                    <a:pt x="170" y="1094"/>
                  </a:lnTo>
                  <a:lnTo>
                    <a:pt x="168" y="1092"/>
                  </a:lnTo>
                  <a:lnTo>
                    <a:pt x="164" y="1092"/>
                  </a:lnTo>
                  <a:lnTo>
                    <a:pt x="164" y="1090"/>
                  </a:lnTo>
                  <a:lnTo>
                    <a:pt x="160" y="1088"/>
                  </a:lnTo>
                  <a:lnTo>
                    <a:pt x="160" y="1086"/>
                  </a:lnTo>
                  <a:lnTo>
                    <a:pt x="158" y="1086"/>
                  </a:lnTo>
                  <a:lnTo>
                    <a:pt x="168" y="1100"/>
                  </a:lnTo>
                  <a:lnTo>
                    <a:pt x="172" y="1102"/>
                  </a:lnTo>
                  <a:lnTo>
                    <a:pt x="174" y="1104"/>
                  </a:lnTo>
                  <a:lnTo>
                    <a:pt x="176" y="1104"/>
                  </a:lnTo>
                  <a:lnTo>
                    <a:pt x="180" y="1104"/>
                  </a:lnTo>
                  <a:lnTo>
                    <a:pt x="182" y="1106"/>
                  </a:lnTo>
                  <a:lnTo>
                    <a:pt x="188" y="1112"/>
                  </a:lnTo>
                  <a:lnTo>
                    <a:pt x="190" y="1114"/>
                  </a:lnTo>
                  <a:lnTo>
                    <a:pt x="192" y="1114"/>
                  </a:lnTo>
                  <a:lnTo>
                    <a:pt x="196" y="1116"/>
                  </a:lnTo>
                  <a:lnTo>
                    <a:pt x="208" y="1114"/>
                  </a:lnTo>
                  <a:lnTo>
                    <a:pt x="210" y="1112"/>
                  </a:lnTo>
                  <a:lnTo>
                    <a:pt x="212" y="1110"/>
                  </a:lnTo>
                  <a:lnTo>
                    <a:pt x="214" y="1108"/>
                  </a:lnTo>
                  <a:lnTo>
                    <a:pt x="220" y="1108"/>
                  </a:lnTo>
                  <a:lnTo>
                    <a:pt x="222" y="1108"/>
                  </a:lnTo>
                  <a:lnTo>
                    <a:pt x="226" y="1108"/>
                  </a:lnTo>
                  <a:lnTo>
                    <a:pt x="228" y="1110"/>
                  </a:lnTo>
                  <a:lnTo>
                    <a:pt x="230" y="1110"/>
                  </a:lnTo>
                  <a:lnTo>
                    <a:pt x="230" y="1112"/>
                  </a:lnTo>
                  <a:lnTo>
                    <a:pt x="230" y="1116"/>
                  </a:lnTo>
                  <a:lnTo>
                    <a:pt x="234" y="1120"/>
                  </a:lnTo>
                  <a:lnTo>
                    <a:pt x="236" y="1120"/>
                  </a:lnTo>
                  <a:lnTo>
                    <a:pt x="240" y="1122"/>
                  </a:lnTo>
                  <a:lnTo>
                    <a:pt x="242" y="1122"/>
                  </a:lnTo>
                  <a:lnTo>
                    <a:pt x="246" y="1120"/>
                  </a:lnTo>
                  <a:lnTo>
                    <a:pt x="248" y="1122"/>
                  </a:lnTo>
                  <a:lnTo>
                    <a:pt x="250" y="1124"/>
                  </a:lnTo>
                  <a:lnTo>
                    <a:pt x="250" y="1130"/>
                  </a:lnTo>
                  <a:lnTo>
                    <a:pt x="248" y="1132"/>
                  </a:lnTo>
                  <a:lnTo>
                    <a:pt x="248" y="1134"/>
                  </a:lnTo>
                  <a:lnTo>
                    <a:pt x="244" y="1134"/>
                  </a:lnTo>
                  <a:lnTo>
                    <a:pt x="242" y="1134"/>
                  </a:lnTo>
                  <a:lnTo>
                    <a:pt x="240" y="1134"/>
                  </a:lnTo>
                  <a:lnTo>
                    <a:pt x="236" y="1132"/>
                  </a:lnTo>
                  <a:lnTo>
                    <a:pt x="230" y="1130"/>
                  </a:lnTo>
                  <a:lnTo>
                    <a:pt x="228" y="1130"/>
                  </a:lnTo>
                  <a:lnTo>
                    <a:pt x="216" y="1130"/>
                  </a:lnTo>
                  <a:lnTo>
                    <a:pt x="202" y="1130"/>
                  </a:lnTo>
                  <a:lnTo>
                    <a:pt x="198" y="1132"/>
                  </a:lnTo>
                  <a:lnTo>
                    <a:pt x="196" y="1134"/>
                  </a:lnTo>
                  <a:lnTo>
                    <a:pt x="194" y="1138"/>
                  </a:lnTo>
                  <a:lnTo>
                    <a:pt x="196" y="1142"/>
                  </a:lnTo>
                  <a:lnTo>
                    <a:pt x="196" y="1144"/>
                  </a:lnTo>
                  <a:lnTo>
                    <a:pt x="194" y="1148"/>
                  </a:lnTo>
                  <a:lnTo>
                    <a:pt x="190" y="1152"/>
                  </a:lnTo>
                  <a:lnTo>
                    <a:pt x="184" y="1154"/>
                  </a:lnTo>
                  <a:lnTo>
                    <a:pt x="182" y="1154"/>
                  </a:lnTo>
                  <a:lnTo>
                    <a:pt x="180" y="1152"/>
                  </a:lnTo>
                  <a:lnTo>
                    <a:pt x="172" y="1148"/>
                  </a:lnTo>
                  <a:lnTo>
                    <a:pt x="172" y="1150"/>
                  </a:lnTo>
                  <a:lnTo>
                    <a:pt x="170" y="1152"/>
                  </a:lnTo>
                  <a:lnTo>
                    <a:pt x="170" y="1156"/>
                  </a:lnTo>
                  <a:lnTo>
                    <a:pt x="170" y="1158"/>
                  </a:lnTo>
                  <a:lnTo>
                    <a:pt x="170" y="1160"/>
                  </a:lnTo>
                  <a:lnTo>
                    <a:pt x="172" y="1164"/>
                  </a:lnTo>
                  <a:lnTo>
                    <a:pt x="172" y="1166"/>
                  </a:lnTo>
                  <a:lnTo>
                    <a:pt x="170" y="1166"/>
                  </a:lnTo>
                  <a:lnTo>
                    <a:pt x="170" y="1168"/>
                  </a:lnTo>
                  <a:lnTo>
                    <a:pt x="164" y="1166"/>
                  </a:lnTo>
                  <a:lnTo>
                    <a:pt x="162" y="1166"/>
                  </a:lnTo>
                  <a:lnTo>
                    <a:pt x="160" y="1164"/>
                  </a:lnTo>
                  <a:lnTo>
                    <a:pt x="160" y="1162"/>
                  </a:lnTo>
                  <a:lnTo>
                    <a:pt x="158" y="1160"/>
                  </a:lnTo>
                  <a:lnTo>
                    <a:pt x="156" y="1158"/>
                  </a:lnTo>
                  <a:lnTo>
                    <a:pt x="154" y="1158"/>
                  </a:lnTo>
                  <a:lnTo>
                    <a:pt x="152" y="1162"/>
                  </a:lnTo>
                  <a:lnTo>
                    <a:pt x="152" y="1168"/>
                  </a:lnTo>
                  <a:lnTo>
                    <a:pt x="152" y="1170"/>
                  </a:lnTo>
                  <a:lnTo>
                    <a:pt x="154" y="1172"/>
                  </a:lnTo>
                  <a:lnTo>
                    <a:pt x="156" y="1176"/>
                  </a:lnTo>
                  <a:lnTo>
                    <a:pt x="158" y="1178"/>
                  </a:lnTo>
                  <a:lnTo>
                    <a:pt x="158" y="1180"/>
                  </a:lnTo>
                  <a:lnTo>
                    <a:pt x="156" y="1184"/>
                  </a:lnTo>
                  <a:lnTo>
                    <a:pt x="156" y="1186"/>
                  </a:lnTo>
                  <a:lnTo>
                    <a:pt x="156" y="1188"/>
                  </a:lnTo>
                  <a:lnTo>
                    <a:pt x="160" y="1188"/>
                  </a:lnTo>
                  <a:lnTo>
                    <a:pt x="162" y="1190"/>
                  </a:lnTo>
                  <a:lnTo>
                    <a:pt x="166" y="1194"/>
                  </a:lnTo>
                  <a:lnTo>
                    <a:pt x="166" y="1196"/>
                  </a:lnTo>
                  <a:lnTo>
                    <a:pt x="166" y="1200"/>
                  </a:lnTo>
                  <a:lnTo>
                    <a:pt x="166" y="1202"/>
                  </a:lnTo>
                  <a:lnTo>
                    <a:pt x="166" y="1204"/>
                  </a:lnTo>
                  <a:lnTo>
                    <a:pt x="164" y="1204"/>
                  </a:lnTo>
                  <a:lnTo>
                    <a:pt x="162" y="1204"/>
                  </a:lnTo>
                  <a:lnTo>
                    <a:pt x="160" y="1206"/>
                  </a:lnTo>
                  <a:lnTo>
                    <a:pt x="160" y="1204"/>
                  </a:lnTo>
                  <a:lnTo>
                    <a:pt x="158" y="1204"/>
                  </a:lnTo>
                  <a:lnTo>
                    <a:pt x="156" y="1206"/>
                  </a:lnTo>
                  <a:lnTo>
                    <a:pt x="154" y="1212"/>
                  </a:lnTo>
                  <a:lnTo>
                    <a:pt x="154" y="1218"/>
                  </a:lnTo>
                  <a:lnTo>
                    <a:pt x="154" y="1224"/>
                  </a:lnTo>
                  <a:lnTo>
                    <a:pt x="152" y="1228"/>
                  </a:lnTo>
                  <a:lnTo>
                    <a:pt x="150" y="1234"/>
                  </a:lnTo>
                  <a:lnTo>
                    <a:pt x="150" y="1236"/>
                  </a:lnTo>
                  <a:lnTo>
                    <a:pt x="146" y="1240"/>
                  </a:lnTo>
                  <a:lnTo>
                    <a:pt x="144" y="1244"/>
                  </a:lnTo>
                  <a:lnTo>
                    <a:pt x="142" y="1246"/>
                  </a:lnTo>
                  <a:lnTo>
                    <a:pt x="140" y="1248"/>
                  </a:lnTo>
                  <a:lnTo>
                    <a:pt x="140" y="1250"/>
                  </a:lnTo>
                  <a:lnTo>
                    <a:pt x="140" y="1252"/>
                  </a:lnTo>
                  <a:lnTo>
                    <a:pt x="140" y="1254"/>
                  </a:lnTo>
                  <a:lnTo>
                    <a:pt x="144" y="1264"/>
                  </a:lnTo>
                  <a:lnTo>
                    <a:pt x="148" y="1274"/>
                  </a:lnTo>
                  <a:lnTo>
                    <a:pt x="148" y="1276"/>
                  </a:lnTo>
                  <a:lnTo>
                    <a:pt x="150" y="1280"/>
                  </a:lnTo>
                  <a:lnTo>
                    <a:pt x="152" y="1284"/>
                  </a:lnTo>
                  <a:lnTo>
                    <a:pt x="152" y="1288"/>
                  </a:lnTo>
                  <a:lnTo>
                    <a:pt x="152" y="1290"/>
                  </a:lnTo>
                  <a:lnTo>
                    <a:pt x="152" y="1292"/>
                  </a:lnTo>
                  <a:lnTo>
                    <a:pt x="152" y="1294"/>
                  </a:lnTo>
                  <a:lnTo>
                    <a:pt x="152" y="1296"/>
                  </a:lnTo>
                  <a:lnTo>
                    <a:pt x="150" y="1298"/>
                  </a:lnTo>
                  <a:lnTo>
                    <a:pt x="152" y="1306"/>
                  </a:lnTo>
                  <a:lnTo>
                    <a:pt x="156" y="1312"/>
                  </a:lnTo>
                  <a:lnTo>
                    <a:pt x="158" y="1314"/>
                  </a:lnTo>
                  <a:lnTo>
                    <a:pt x="160" y="1314"/>
                  </a:lnTo>
                  <a:lnTo>
                    <a:pt x="162" y="1316"/>
                  </a:lnTo>
                  <a:lnTo>
                    <a:pt x="164" y="1318"/>
                  </a:lnTo>
                  <a:lnTo>
                    <a:pt x="166" y="1326"/>
                  </a:lnTo>
                  <a:lnTo>
                    <a:pt x="172" y="1332"/>
                  </a:lnTo>
                  <a:lnTo>
                    <a:pt x="174" y="1334"/>
                  </a:lnTo>
                  <a:lnTo>
                    <a:pt x="172" y="1336"/>
                  </a:lnTo>
                  <a:lnTo>
                    <a:pt x="172" y="1338"/>
                  </a:lnTo>
                  <a:lnTo>
                    <a:pt x="170" y="1340"/>
                  </a:lnTo>
                  <a:lnTo>
                    <a:pt x="168" y="1340"/>
                  </a:lnTo>
                  <a:lnTo>
                    <a:pt x="166" y="1340"/>
                  </a:lnTo>
                  <a:lnTo>
                    <a:pt x="164" y="1340"/>
                  </a:lnTo>
                  <a:lnTo>
                    <a:pt x="162" y="1342"/>
                  </a:lnTo>
                  <a:lnTo>
                    <a:pt x="158" y="1356"/>
                  </a:lnTo>
                  <a:lnTo>
                    <a:pt x="156" y="1364"/>
                  </a:lnTo>
                  <a:lnTo>
                    <a:pt x="158" y="1368"/>
                  </a:lnTo>
                  <a:lnTo>
                    <a:pt x="160" y="1368"/>
                  </a:lnTo>
                  <a:lnTo>
                    <a:pt x="162" y="1368"/>
                  </a:lnTo>
                  <a:lnTo>
                    <a:pt x="164" y="1368"/>
                  </a:lnTo>
                  <a:lnTo>
                    <a:pt x="166" y="1368"/>
                  </a:lnTo>
                  <a:lnTo>
                    <a:pt x="168" y="1372"/>
                  </a:lnTo>
                  <a:lnTo>
                    <a:pt x="168" y="1376"/>
                  </a:lnTo>
                  <a:lnTo>
                    <a:pt x="170" y="1378"/>
                  </a:lnTo>
                  <a:lnTo>
                    <a:pt x="172" y="1378"/>
                  </a:lnTo>
                  <a:lnTo>
                    <a:pt x="176" y="1380"/>
                  </a:lnTo>
                  <a:lnTo>
                    <a:pt x="184" y="1384"/>
                  </a:lnTo>
                  <a:lnTo>
                    <a:pt x="186" y="1386"/>
                  </a:lnTo>
                  <a:lnTo>
                    <a:pt x="186" y="1390"/>
                  </a:lnTo>
                  <a:lnTo>
                    <a:pt x="188" y="1396"/>
                  </a:lnTo>
                  <a:lnTo>
                    <a:pt x="186" y="1410"/>
                  </a:lnTo>
                  <a:lnTo>
                    <a:pt x="184" y="1422"/>
                  </a:lnTo>
                  <a:lnTo>
                    <a:pt x="186" y="1426"/>
                  </a:lnTo>
                  <a:lnTo>
                    <a:pt x="188" y="1426"/>
                  </a:lnTo>
                  <a:lnTo>
                    <a:pt x="190" y="1426"/>
                  </a:lnTo>
                  <a:lnTo>
                    <a:pt x="192" y="1424"/>
                  </a:lnTo>
                  <a:lnTo>
                    <a:pt x="194" y="1426"/>
                  </a:lnTo>
                  <a:lnTo>
                    <a:pt x="198" y="1428"/>
                  </a:lnTo>
                  <a:lnTo>
                    <a:pt x="198" y="1432"/>
                  </a:lnTo>
                  <a:lnTo>
                    <a:pt x="200" y="1438"/>
                  </a:lnTo>
                  <a:lnTo>
                    <a:pt x="204" y="1444"/>
                  </a:lnTo>
                  <a:lnTo>
                    <a:pt x="212" y="1454"/>
                  </a:lnTo>
                  <a:lnTo>
                    <a:pt x="214" y="1458"/>
                  </a:lnTo>
                  <a:lnTo>
                    <a:pt x="218" y="1464"/>
                  </a:lnTo>
                  <a:lnTo>
                    <a:pt x="222" y="1476"/>
                  </a:lnTo>
                  <a:lnTo>
                    <a:pt x="222" y="1484"/>
                  </a:lnTo>
                  <a:lnTo>
                    <a:pt x="222" y="1486"/>
                  </a:lnTo>
                  <a:lnTo>
                    <a:pt x="220" y="1488"/>
                  </a:lnTo>
                  <a:lnTo>
                    <a:pt x="222" y="1488"/>
                  </a:lnTo>
                  <a:lnTo>
                    <a:pt x="230" y="1496"/>
                  </a:lnTo>
                  <a:lnTo>
                    <a:pt x="232" y="1494"/>
                  </a:lnTo>
                  <a:lnTo>
                    <a:pt x="232" y="1492"/>
                  </a:lnTo>
                  <a:lnTo>
                    <a:pt x="240" y="1488"/>
                  </a:lnTo>
                  <a:lnTo>
                    <a:pt x="244" y="1488"/>
                  </a:lnTo>
                  <a:lnTo>
                    <a:pt x="246" y="1488"/>
                  </a:lnTo>
                  <a:lnTo>
                    <a:pt x="250" y="1494"/>
                  </a:lnTo>
                  <a:lnTo>
                    <a:pt x="250" y="1496"/>
                  </a:lnTo>
                  <a:lnTo>
                    <a:pt x="252" y="1500"/>
                  </a:lnTo>
                  <a:lnTo>
                    <a:pt x="254" y="1500"/>
                  </a:lnTo>
                  <a:lnTo>
                    <a:pt x="258" y="1500"/>
                  </a:lnTo>
                  <a:lnTo>
                    <a:pt x="260" y="1496"/>
                  </a:lnTo>
                  <a:lnTo>
                    <a:pt x="266" y="1492"/>
                  </a:lnTo>
                  <a:lnTo>
                    <a:pt x="266" y="1490"/>
                  </a:lnTo>
                  <a:lnTo>
                    <a:pt x="268" y="1490"/>
                  </a:lnTo>
                  <a:lnTo>
                    <a:pt x="272" y="1490"/>
                  </a:lnTo>
                  <a:lnTo>
                    <a:pt x="274" y="1490"/>
                  </a:lnTo>
                  <a:lnTo>
                    <a:pt x="288" y="1494"/>
                  </a:lnTo>
                  <a:lnTo>
                    <a:pt x="290" y="1496"/>
                  </a:lnTo>
                  <a:lnTo>
                    <a:pt x="288" y="1500"/>
                  </a:lnTo>
                  <a:lnTo>
                    <a:pt x="288" y="1508"/>
                  </a:lnTo>
                  <a:lnTo>
                    <a:pt x="290" y="1512"/>
                  </a:lnTo>
                  <a:lnTo>
                    <a:pt x="296" y="1516"/>
                  </a:lnTo>
                  <a:lnTo>
                    <a:pt x="298" y="1516"/>
                  </a:lnTo>
                  <a:lnTo>
                    <a:pt x="304" y="1508"/>
                  </a:lnTo>
                  <a:lnTo>
                    <a:pt x="314" y="1498"/>
                  </a:lnTo>
                  <a:lnTo>
                    <a:pt x="316" y="1498"/>
                  </a:lnTo>
                  <a:lnTo>
                    <a:pt x="318" y="1496"/>
                  </a:lnTo>
                  <a:lnTo>
                    <a:pt x="332" y="1494"/>
                  </a:lnTo>
                  <a:lnTo>
                    <a:pt x="344" y="1496"/>
                  </a:lnTo>
                  <a:lnTo>
                    <a:pt x="346" y="1496"/>
                  </a:lnTo>
                  <a:lnTo>
                    <a:pt x="352" y="1504"/>
                  </a:lnTo>
                  <a:lnTo>
                    <a:pt x="356" y="1508"/>
                  </a:lnTo>
                  <a:lnTo>
                    <a:pt x="362" y="1512"/>
                  </a:lnTo>
                  <a:lnTo>
                    <a:pt x="364" y="1512"/>
                  </a:lnTo>
                  <a:lnTo>
                    <a:pt x="366" y="1510"/>
                  </a:lnTo>
                  <a:lnTo>
                    <a:pt x="368" y="1508"/>
                  </a:lnTo>
                  <a:lnTo>
                    <a:pt x="370" y="1510"/>
                  </a:lnTo>
                  <a:lnTo>
                    <a:pt x="372" y="1512"/>
                  </a:lnTo>
                  <a:lnTo>
                    <a:pt x="374" y="1520"/>
                  </a:lnTo>
                  <a:lnTo>
                    <a:pt x="376" y="1528"/>
                  </a:lnTo>
                  <a:lnTo>
                    <a:pt x="374" y="1530"/>
                  </a:lnTo>
                  <a:lnTo>
                    <a:pt x="372" y="1532"/>
                  </a:lnTo>
                  <a:lnTo>
                    <a:pt x="372" y="1536"/>
                  </a:lnTo>
                  <a:lnTo>
                    <a:pt x="372" y="1538"/>
                  </a:lnTo>
                  <a:lnTo>
                    <a:pt x="378" y="1546"/>
                  </a:lnTo>
                  <a:lnTo>
                    <a:pt x="380" y="1546"/>
                  </a:lnTo>
                  <a:lnTo>
                    <a:pt x="382" y="1550"/>
                  </a:lnTo>
                  <a:lnTo>
                    <a:pt x="388" y="1558"/>
                  </a:lnTo>
                  <a:lnTo>
                    <a:pt x="384" y="1568"/>
                  </a:lnTo>
                  <a:lnTo>
                    <a:pt x="382" y="1568"/>
                  </a:lnTo>
                  <a:lnTo>
                    <a:pt x="382" y="1570"/>
                  </a:lnTo>
                  <a:lnTo>
                    <a:pt x="380" y="1572"/>
                  </a:lnTo>
                  <a:lnTo>
                    <a:pt x="380" y="1580"/>
                  </a:lnTo>
                  <a:lnTo>
                    <a:pt x="380" y="1584"/>
                  </a:lnTo>
                  <a:lnTo>
                    <a:pt x="382" y="1586"/>
                  </a:lnTo>
                  <a:lnTo>
                    <a:pt x="386" y="1586"/>
                  </a:lnTo>
                  <a:lnTo>
                    <a:pt x="388" y="1586"/>
                  </a:lnTo>
                  <a:lnTo>
                    <a:pt x="394" y="1590"/>
                  </a:lnTo>
                  <a:lnTo>
                    <a:pt x="400" y="1594"/>
                  </a:lnTo>
                  <a:lnTo>
                    <a:pt x="404" y="1600"/>
                  </a:lnTo>
                  <a:lnTo>
                    <a:pt x="402" y="1602"/>
                  </a:lnTo>
                  <a:lnTo>
                    <a:pt x="402" y="1606"/>
                  </a:lnTo>
                  <a:lnTo>
                    <a:pt x="402" y="1608"/>
                  </a:lnTo>
                  <a:lnTo>
                    <a:pt x="404" y="1610"/>
                  </a:lnTo>
                  <a:lnTo>
                    <a:pt x="408" y="1610"/>
                  </a:lnTo>
                  <a:lnTo>
                    <a:pt x="410" y="1610"/>
                  </a:lnTo>
                  <a:lnTo>
                    <a:pt x="416" y="1618"/>
                  </a:lnTo>
                  <a:lnTo>
                    <a:pt x="418" y="1624"/>
                  </a:lnTo>
                  <a:lnTo>
                    <a:pt x="420" y="1628"/>
                  </a:lnTo>
                  <a:lnTo>
                    <a:pt x="432" y="1634"/>
                  </a:lnTo>
                  <a:lnTo>
                    <a:pt x="440" y="1636"/>
                  </a:lnTo>
                  <a:lnTo>
                    <a:pt x="444" y="1636"/>
                  </a:lnTo>
                  <a:lnTo>
                    <a:pt x="450" y="1638"/>
                  </a:lnTo>
                  <a:lnTo>
                    <a:pt x="452" y="1644"/>
                  </a:lnTo>
                  <a:lnTo>
                    <a:pt x="452" y="1646"/>
                  </a:lnTo>
                  <a:lnTo>
                    <a:pt x="452" y="1654"/>
                  </a:lnTo>
                  <a:lnTo>
                    <a:pt x="452" y="1658"/>
                  </a:lnTo>
                  <a:lnTo>
                    <a:pt x="452" y="1660"/>
                  </a:lnTo>
                  <a:lnTo>
                    <a:pt x="452" y="1662"/>
                  </a:lnTo>
                  <a:lnTo>
                    <a:pt x="458" y="1664"/>
                  </a:lnTo>
                  <a:lnTo>
                    <a:pt x="460" y="1662"/>
                  </a:lnTo>
                  <a:lnTo>
                    <a:pt x="462" y="1660"/>
                  </a:lnTo>
                  <a:lnTo>
                    <a:pt x="464" y="1660"/>
                  </a:lnTo>
                  <a:lnTo>
                    <a:pt x="470" y="1656"/>
                  </a:lnTo>
                  <a:lnTo>
                    <a:pt x="482" y="1660"/>
                  </a:lnTo>
                  <a:lnTo>
                    <a:pt x="490" y="1662"/>
                  </a:lnTo>
                  <a:lnTo>
                    <a:pt x="492" y="1662"/>
                  </a:lnTo>
                  <a:lnTo>
                    <a:pt x="494" y="1664"/>
                  </a:lnTo>
                  <a:lnTo>
                    <a:pt x="490" y="1668"/>
                  </a:lnTo>
                  <a:lnTo>
                    <a:pt x="490" y="1672"/>
                  </a:lnTo>
                  <a:lnTo>
                    <a:pt x="492" y="1676"/>
                  </a:lnTo>
                  <a:lnTo>
                    <a:pt x="494" y="1676"/>
                  </a:lnTo>
                  <a:lnTo>
                    <a:pt x="504" y="1680"/>
                  </a:lnTo>
                  <a:lnTo>
                    <a:pt x="506" y="1680"/>
                  </a:lnTo>
                  <a:lnTo>
                    <a:pt x="510" y="1682"/>
                  </a:lnTo>
                  <a:lnTo>
                    <a:pt x="510" y="1684"/>
                  </a:lnTo>
                  <a:lnTo>
                    <a:pt x="512" y="1690"/>
                  </a:lnTo>
                  <a:lnTo>
                    <a:pt x="508" y="1696"/>
                  </a:lnTo>
                  <a:lnTo>
                    <a:pt x="500" y="1708"/>
                  </a:lnTo>
                  <a:lnTo>
                    <a:pt x="500" y="1710"/>
                  </a:lnTo>
                  <a:lnTo>
                    <a:pt x="494" y="1716"/>
                  </a:lnTo>
                  <a:lnTo>
                    <a:pt x="490" y="1720"/>
                  </a:lnTo>
                  <a:lnTo>
                    <a:pt x="486" y="1722"/>
                  </a:lnTo>
                  <a:lnTo>
                    <a:pt x="478" y="1724"/>
                  </a:lnTo>
                  <a:lnTo>
                    <a:pt x="474" y="1724"/>
                  </a:lnTo>
                  <a:lnTo>
                    <a:pt x="468" y="1722"/>
                  </a:lnTo>
                  <a:lnTo>
                    <a:pt x="466" y="1720"/>
                  </a:lnTo>
                  <a:lnTo>
                    <a:pt x="466" y="1718"/>
                  </a:lnTo>
                  <a:lnTo>
                    <a:pt x="456" y="1718"/>
                  </a:lnTo>
                  <a:lnTo>
                    <a:pt x="446" y="1720"/>
                  </a:lnTo>
                  <a:lnTo>
                    <a:pt x="444" y="1722"/>
                  </a:lnTo>
                  <a:lnTo>
                    <a:pt x="444" y="1726"/>
                  </a:lnTo>
                  <a:lnTo>
                    <a:pt x="444" y="1728"/>
                  </a:lnTo>
                  <a:lnTo>
                    <a:pt x="446" y="1730"/>
                  </a:lnTo>
                  <a:lnTo>
                    <a:pt x="444" y="1736"/>
                  </a:lnTo>
                  <a:lnTo>
                    <a:pt x="440" y="1738"/>
                  </a:lnTo>
                  <a:lnTo>
                    <a:pt x="450" y="1748"/>
                  </a:lnTo>
                  <a:lnTo>
                    <a:pt x="452" y="1748"/>
                  </a:lnTo>
                  <a:lnTo>
                    <a:pt x="452" y="1750"/>
                  </a:lnTo>
                  <a:lnTo>
                    <a:pt x="456" y="1750"/>
                  </a:lnTo>
                  <a:lnTo>
                    <a:pt x="458" y="1750"/>
                  </a:lnTo>
                  <a:lnTo>
                    <a:pt x="460" y="1750"/>
                  </a:lnTo>
                  <a:lnTo>
                    <a:pt x="462" y="1754"/>
                  </a:lnTo>
                  <a:lnTo>
                    <a:pt x="464" y="1756"/>
                  </a:lnTo>
                  <a:lnTo>
                    <a:pt x="464" y="1760"/>
                  </a:lnTo>
                  <a:lnTo>
                    <a:pt x="464" y="1764"/>
                  </a:lnTo>
                  <a:lnTo>
                    <a:pt x="460" y="1766"/>
                  </a:lnTo>
                  <a:lnTo>
                    <a:pt x="468" y="1774"/>
                  </a:lnTo>
                  <a:lnTo>
                    <a:pt x="470" y="1784"/>
                  </a:lnTo>
                  <a:lnTo>
                    <a:pt x="474" y="1794"/>
                  </a:lnTo>
                  <a:lnTo>
                    <a:pt x="474" y="1796"/>
                  </a:lnTo>
                  <a:lnTo>
                    <a:pt x="474" y="1800"/>
                  </a:lnTo>
                  <a:lnTo>
                    <a:pt x="482" y="1806"/>
                  </a:lnTo>
                  <a:lnTo>
                    <a:pt x="486" y="1808"/>
                  </a:lnTo>
                  <a:lnTo>
                    <a:pt x="486" y="1810"/>
                  </a:lnTo>
                  <a:lnTo>
                    <a:pt x="488" y="1814"/>
                  </a:lnTo>
                  <a:lnTo>
                    <a:pt x="488" y="1816"/>
                  </a:lnTo>
                  <a:lnTo>
                    <a:pt x="490" y="1814"/>
                  </a:lnTo>
                  <a:lnTo>
                    <a:pt x="492" y="1814"/>
                  </a:lnTo>
                  <a:lnTo>
                    <a:pt x="494" y="1816"/>
                  </a:lnTo>
                  <a:lnTo>
                    <a:pt x="496" y="1816"/>
                  </a:lnTo>
                  <a:lnTo>
                    <a:pt x="500" y="1818"/>
                  </a:lnTo>
                  <a:lnTo>
                    <a:pt x="508" y="1816"/>
                  </a:lnTo>
                  <a:lnTo>
                    <a:pt x="512" y="1812"/>
                  </a:lnTo>
                  <a:lnTo>
                    <a:pt x="516" y="1808"/>
                  </a:lnTo>
                  <a:lnTo>
                    <a:pt x="516" y="1804"/>
                  </a:lnTo>
                  <a:lnTo>
                    <a:pt x="516" y="1788"/>
                  </a:lnTo>
                  <a:lnTo>
                    <a:pt x="518" y="1788"/>
                  </a:lnTo>
                  <a:lnTo>
                    <a:pt x="524" y="1786"/>
                  </a:lnTo>
                  <a:lnTo>
                    <a:pt x="526" y="1786"/>
                  </a:lnTo>
                  <a:lnTo>
                    <a:pt x="528" y="1788"/>
                  </a:lnTo>
                  <a:lnTo>
                    <a:pt x="530" y="1788"/>
                  </a:lnTo>
                  <a:lnTo>
                    <a:pt x="536" y="1790"/>
                  </a:lnTo>
                  <a:lnTo>
                    <a:pt x="538" y="1790"/>
                  </a:lnTo>
                  <a:lnTo>
                    <a:pt x="548" y="1788"/>
                  </a:lnTo>
                  <a:lnTo>
                    <a:pt x="550" y="1786"/>
                  </a:lnTo>
                  <a:lnTo>
                    <a:pt x="552" y="1782"/>
                  </a:lnTo>
                  <a:lnTo>
                    <a:pt x="560" y="1772"/>
                  </a:lnTo>
                  <a:lnTo>
                    <a:pt x="570" y="1772"/>
                  </a:lnTo>
                  <a:lnTo>
                    <a:pt x="572" y="1772"/>
                  </a:lnTo>
                  <a:lnTo>
                    <a:pt x="578" y="1774"/>
                  </a:lnTo>
                  <a:lnTo>
                    <a:pt x="582" y="1772"/>
                  </a:lnTo>
                  <a:lnTo>
                    <a:pt x="584" y="1770"/>
                  </a:lnTo>
                  <a:lnTo>
                    <a:pt x="586" y="1768"/>
                  </a:lnTo>
                  <a:lnTo>
                    <a:pt x="590" y="1766"/>
                  </a:lnTo>
                  <a:lnTo>
                    <a:pt x="594" y="1766"/>
                  </a:lnTo>
                  <a:lnTo>
                    <a:pt x="612" y="1778"/>
                  </a:lnTo>
                  <a:lnTo>
                    <a:pt x="614" y="1782"/>
                  </a:lnTo>
                  <a:lnTo>
                    <a:pt x="614" y="1784"/>
                  </a:lnTo>
                  <a:lnTo>
                    <a:pt x="614" y="1790"/>
                  </a:lnTo>
                  <a:lnTo>
                    <a:pt x="616" y="1792"/>
                  </a:lnTo>
                  <a:lnTo>
                    <a:pt x="620" y="1796"/>
                  </a:lnTo>
                  <a:lnTo>
                    <a:pt x="628" y="1800"/>
                  </a:lnTo>
                  <a:lnTo>
                    <a:pt x="634" y="1804"/>
                  </a:lnTo>
                  <a:lnTo>
                    <a:pt x="638" y="1804"/>
                  </a:lnTo>
                  <a:lnTo>
                    <a:pt x="640" y="1808"/>
                  </a:lnTo>
                  <a:lnTo>
                    <a:pt x="642" y="1812"/>
                  </a:lnTo>
                  <a:lnTo>
                    <a:pt x="642" y="1814"/>
                  </a:lnTo>
                  <a:lnTo>
                    <a:pt x="640" y="1816"/>
                  </a:lnTo>
                  <a:lnTo>
                    <a:pt x="634" y="1820"/>
                  </a:lnTo>
                  <a:lnTo>
                    <a:pt x="630" y="1820"/>
                  </a:lnTo>
                  <a:lnTo>
                    <a:pt x="626" y="1824"/>
                  </a:lnTo>
                  <a:lnTo>
                    <a:pt x="626" y="1826"/>
                  </a:lnTo>
                  <a:lnTo>
                    <a:pt x="630" y="1828"/>
                  </a:lnTo>
                  <a:lnTo>
                    <a:pt x="636" y="1834"/>
                  </a:lnTo>
                  <a:lnTo>
                    <a:pt x="638" y="1838"/>
                  </a:lnTo>
                  <a:lnTo>
                    <a:pt x="638" y="1844"/>
                  </a:lnTo>
                  <a:lnTo>
                    <a:pt x="650" y="1858"/>
                  </a:lnTo>
                  <a:lnTo>
                    <a:pt x="652" y="1856"/>
                  </a:lnTo>
                  <a:lnTo>
                    <a:pt x="660" y="1858"/>
                  </a:lnTo>
                  <a:lnTo>
                    <a:pt x="668" y="1860"/>
                  </a:lnTo>
                  <a:lnTo>
                    <a:pt x="670" y="1860"/>
                  </a:lnTo>
                  <a:lnTo>
                    <a:pt x="672" y="1860"/>
                  </a:lnTo>
                  <a:lnTo>
                    <a:pt x="674" y="1860"/>
                  </a:lnTo>
                  <a:lnTo>
                    <a:pt x="676" y="1858"/>
                  </a:lnTo>
                  <a:lnTo>
                    <a:pt x="678" y="1858"/>
                  </a:lnTo>
                  <a:lnTo>
                    <a:pt x="682" y="1854"/>
                  </a:lnTo>
                  <a:lnTo>
                    <a:pt x="684" y="1854"/>
                  </a:lnTo>
                  <a:lnTo>
                    <a:pt x="684" y="1852"/>
                  </a:lnTo>
                  <a:lnTo>
                    <a:pt x="690" y="1850"/>
                  </a:lnTo>
                  <a:lnTo>
                    <a:pt x="694" y="1852"/>
                  </a:lnTo>
                  <a:lnTo>
                    <a:pt x="694" y="1854"/>
                  </a:lnTo>
                  <a:lnTo>
                    <a:pt x="694" y="1856"/>
                  </a:lnTo>
                  <a:lnTo>
                    <a:pt x="698" y="1862"/>
                  </a:lnTo>
                  <a:lnTo>
                    <a:pt x="700" y="1864"/>
                  </a:lnTo>
                  <a:lnTo>
                    <a:pt x="702" y="1864"/>
                  </a:lnTo>
                  <a:lnTo>
                    <a:pt x="704" y="1864"/>
                  </a:lnTo>
                  <a:lnTo>
                    <a:pt x="706" y="1862"/>
                  </a:lnTo>
                  <a:lnTo>
                    <a:pt x="712" y="1862"/>
                  </a:lnTo>
                  <a:lnTo>
                    <a:pt x="712" y="1864"/>
                  </a:lnTo>
                  <a:lnTo>
                    <a:pt x="710" y="1866"/>
                  </a:lnTo>
                  <a:lnTo>
                    <a:pt x="708" y="1868"/>
                  </a:lnTo>
                  <a:lnTo>
                    <a:pt x="710" y="1870"/>
                  </a:lnTo>
                  <a:lnTo>
                    <a:pt x="712" y="1872"/>
                  </a:lnTo>
                  <a:lnTo>
                    <a:pt x="724" y="1886"/>
                  </a:lnTo>
                  <a:lnTo>
                    <a:pt x="726" y="1894"/>
                  </a:lnTo>
                  <a:lnTo>
                    <a:pt x="722" y="1898"/>
                  </a:lnTo>
                  <a:lnTo>
                    <a:pt x="728" y="1908"/>
                  </a:lnTo>
                  <a:lnTo>
                    <a:pt x="730" y="1910"/>
                  </a:lnTo>
                  <a:lnTo>
                    <a:pt x="740" y="1918"/>
                  </a:lnTo>
                  <a:lnTo>
                    <a:pt x="744" y="1920"/>
                  </a:lnTo>
                  <a:lnTo>
                    <a:pt x="746" y="1920"/>
                  </a:lnTo>
                  <a:lnTo>
                    <a:pt x="748" y="1916"/>
                  </a:lnTo>
                  <a:lnTo>
                    <a:pt x="752" y="1910"/>
                  </a:lnTo>
                  <a:lnTo>
                    <a:pt x="754" y="1910"/>
                  </a:lnTo>
                  <a:lnTo>
                    <a:pt x="756" y="1908"/>
                  </a:lnTo>
                  <a:lnTo>
                    <a:pt x="758" y="1908"/>
                  </a:lnTo>
                  <a:lnTo>
                    <a:pt x="760" y="1908"/>
                  </a:lnTo>
                  <a:lnTo>
                    <a:pt x="762" y="1906"/>
                  </a:lnTo>
                  <a:lnTo>
                    <a:pt x="766" y="1906"/>
                  </a:lnTo>
                  <a:lnTo>
                    <a:pt x="770" y="1906"/>
                  </a:lnTo>
                  <a:lnTo>
                    <a:pt x="774" y="1908"/>
                  </a:lnTo>
                  <a:lnTo>
                    <a:pt x="774" y="1910"/>
                  </a:lnTo>
                  <a:lnTo>
                    <a:pt x="776" y="1910"/>
                  </a:lnTo>
                  <a:lnTo>
                    <a:pt x="782" y="1916"/>
                  </a:lnTo>
                  <a:lnTo>
                    <a:pt x="784" y="1916"/>
                  </a:lnTo>
                  <a:lnTo>
                    <a:pt x="786" y="1914"/>
                  </a:lnTo>
                  <a:lnTo>
                    <a:pt x="788" y="1912"/>
                  </a:lnTo>
                  <a:lnTo>
                    <a:pt x="792" y="1912"/>
                  </a:lnTo>
                  <a:lnTo>
                    <a:pt x="798" y="1912"/>
                  </a:lnTo>
                  <a:lnTo>
                    <a:pt x="798" y="1916"/>
                  </a:lnTo>
                  <a:lnTo>
                    <a:pt x="800" y="1918"/>
                  </a:lnTo>
                  <a:lnTo>
                    <a:pt x="802" y="1916"/>
                  </a:lnTo>
                  <a:lnTo>
                    <a:pt x="804" y="1916"/>
                  </a:lnTo>
                  <a:lnTo>
                    <a:pt x="804" y="1914"/>
                  </a:lnTo>
                  <a:lnTo>
                    <a:pt x="806" y="1912"/>
                  </a:lnTo>
                  <a:lnTo>
                    <a:pt x="806" y="1910"/>
                  </a:lnTo>
                  <a:lnTo>
                    <a:pt x="810" y="1904"/>
                  </a:lnTo>
                  <a:lnTo>
                    <a:pt x="814" y="1902"/>
                  </a:lnTo>
                  <a:lnTo>
                    <a:pt x="820" y="1898"/>
                  </a:lnTo>
                  <a:lnTo>
                    <a:pt x="822" y="1898"/>
                  </a:lnTo>
                  <a:lnTo>
                    <a:pt x="824" y="1898"/>
                  </a:lnTo>
                  <a:lnTo>
                    <a:pt x="828" y="1896"/>
                  </a:lnTo>
                  <a:lnTo>
                    <a:pt x="832" y="1894"/>
                  </a:lnTo>
                  <a:lnTo>
                    <a:pt x="832" y="1892"/>
                  </a:lnTo>
                  <a:lnTo>
                    <a:pt x="834" y="1890"/>
                  </a:lnTo>
                  <a:lnTo>
                    <a:pt x="836" y="1888"/>
                  </a:lnTo>
                  <a:lnTo>
                    <a:pt x="836" y="1886"/>
                  </a:lnTo>
                  <a:lnTo>
                    <a:pt x="842" y="1884"/>
                  </a:lnTo>
                  <a:lnTo>
                    <a:pt x="844" y="1882"/>
                  </a:lnTo>
                  <a:lnTo>
                    <a:pt x="860" y="1902"/>
                  </a:lnTo>
                  <a:lnTo>
                    <a:pt x="870" y="1910"/>
                  </a:lnTo>
                  <a:lnTo>
                    <a:pt x="872" y="1910"/>
                  </a:lnTo>
                  <a:lnTo>
                    <a:pt x="874" y="1910"/>
                  </a:lnTo>
                  <a:lnTo>
                    <a:pt x="880" y="1912"/>
                  </a:lnTo>
                  <a:lnTo>
                    <a:pt x="886" y="1916"/>
                  </a:lnTo>
                  <a:lnTo>
                    <a:pt x="888" y="1918"/>
                  </a:lnTo>
                  <a:lnTo>
                    <a:pt x="890" y="1920"/>
                  </a:lnTo>
                  <a:lnTo>
                    <a:pt x="894" y="1916"/>
                  </a:lnTo>
                  <a:lnTo>
                    <a:pt x="894" y="1904"/>
                  </a:lnTo>
                  <a:lnTo>
                    <a:pt x="902" y="1900"/>
                  </a:lnTo>
                  <a:lnTo>
                    <a:pt x="902" y="1902"/>
                  </a:lnTo>
                  <a:lnTo>
                    <a:pt x="904" y="1904"/>
                  </a:lnTo>
                  <a:lnTo>
                    <a:pt x="906" y="1904"/>
                  </a:lnTo>
                  <a:lnTo>
                    <a:pt x="906" y="1906"/>
                  </a:lnTo>
                  <a:lnTo>
                    <a:pt x="908" y="1908"/>
                  </a:lnTo>
                  <a:lnTo>
                    <a:pt x="916" y="1908"/>
                  </a:lnTo>
                  <a:lnTo>
                    <a:pt x="918" y="1908"/>
                  </a:lnTo>
                  <a:lnTo>
                    <a:pt x="920" y="1906"/>
                  </a:lnTo>
                  <a:lnTo>
                    <a:pt x="922" y="1906"/>
                  </a:lnTo>
                  <a:lnTo>
                    <a:pt x="924" y="1906"/>
                  </a:lnTo>
                  <a:lnTo>
                    <a:pt x="926" y="1906"/>
                  </a:lnTo>
                  <a:lnTo>
                    <a:pt x="936" y="1908"/>
                  </a:lnTo>
                  <a:lnTo>
                    <a:pt x="938" y="1908"/>
                  </a:lnTo>
                  <a:lnTo>
                    <a:pt x="940" y="1910"/>
                  </a:lnTo>
                  <a:lnTo>
                    <a:pt x="942" y="1912"/>
                  </a:lnTo>
                  <a:lnTo>
                    <a:pt x="944" y="1912"/>
                  </a:lnTo>
                  <a:lnTo>
                    <a:pt x="946" y="1912"/>
                  </a:lnTo>
                  <a:lnTo>
                    <a:pt x="952" y="1910"/>
                  </a:lnTo>
                  <a:lnTo>
                    <a:pt x="952" y="1908"/>
                  </a:lnTo>
                  <a:lnTo>
                    <a:pt x="954" y="1906"/>
                  </a:lnTo>
                  <a:lnTo>
                    <a:pt x="956" y="1902"/>
                  </a:lnTo>
                  <a:lnTo>
                    <a:pt x="958" y="1904"/>
                  </a:lnTo>
                  <a:lnTo>
                    <a:pt x="962" y="1908"/>
                  </a:lnTo>
                  <a:lnTo>
                    <a:pt x="964" y="1912"/>
                  </a:lnTo>
                  <a:lnTo>
                    <a:pt x="966" y="1912"/>
                  </a:lnTo>
                  <a:lnTo>
                    <a:pt x="968" y="1912"/>
                  </a:lnTo>
                  <a:lnTo>
                    <a:pt x="970" y="1912"/>
                  </a:lnTo>
                  <a:lnTo>
                    <a:pt x="972" y="1912"/>
                  </a:lnTo>
                  <a:lnTo>
                    <a:pt x="972" y="1910"/>
                  </a:lnTo>
                  <a:lnTo>
                    <a:pt x="974" y="1908"/>
                  </a:lnTo>
                  <a:lnTo>
                    <a:pt x="976" y="1908"/>
                  </a:lnTo>
                  <a:lnTo>
                    <a:pt x="984" y="1910"/>
                  </a:lnTo>
                  <a:lnTo>
                    <a:pt x="986" y="1914"/>
                  </a:lnTo>
                  <a:lnTo>
                    <a:pt x="988" y="1916"/>
                  </a:lnTo>
                  <a:lnTo>
                    <a:pt x="990" y="1918"/>
                  </a:lnTo>
                  <a:lnTo>
                    <a:pt x="1000" y="1920"/>
                  </a:lnTo>
                  <a:lnTo>
                    <a:pt x="1004" y="1920"/>
                  </a:lnTo>
                  <a:lnTo>
                    <a:pt x="1006" y="1918"/>
                  </a:lnTo>
                  <a:lnTo>
                    <a:pt x="1008" y="1916"/>
                  </a:lnTo>
                  <a:lnTo>
                    <a:pt x="1008" y="1912"/>
                  </a:lnTo>
                  <a:lnTo>
                    <a:pt x="1010" y="1912"/>
                  </a:lnTo>
                  <a:lnTo>
                    <a:pt x="1012" y="1910"/>
                  </a:lnTo>
                  <a:lnTo>
                    <a:pt x="1014" y="1910"/>
                  </a:lnTo>
                  <a:lnTo>
                    <a:pt x="1018" y="1910"/>
                  </a:lnTo>
                  <a:lnTo>
                    <a:pt x="1020" y="1912"/>
                  </a:lnTo>
                  <a:lnTo>
                    <a:pt x="1020" y="1914"/>
                  </a:lnTo>
                  <a:lnTo>
                    <a:pt x="1018" y="1916"/>
                  </a:lnTo>
                  <a:lnTo>
                    <a:pt x="1016" y="1916"/>
                  </a:lnTo>
                  <a:lnTo>
                    <a:pt x="1016" y="1920"/>
                  </a:lnTo>
                  <a:lnTo>
                    <a:pt x="1016" y="1922"/>
                  </a:lnTo>
                  <a:lnTo>
                    <a:pt x="1020" y="1926"/>
                  </a:lnTo>
                  <a:lnTo>
                    <a:pt x="1022" y="1928"/>
                  </a:lnTo>
                  <a:lnTo>
                    <a:pt x="1026" y="1930"/>
                  </a:lnTo>
                  <a:lnTo>
                    <a:pt x="1028" y="1932"/>
                  </a:lnTo>
                  <a:lnTo>
                    <a:pt x="1030" y="1940"/>
                  </a:lnTo>
                  <a:lnTo>
                    <a:pt x="1028" y="1948"/>
                  </a:lnTo>
                  <a:lnTo>
                    <a:pt x="1026" y="1948"/>
                  </a:lnTo>
                  <a:lnTo>
                    <a:pt x="1024" y="1952"/>
                  </a:lnTo>
                  <a:lnTo>
                    <a:pt x="1022" y="1956"/>
                  </a:lnTo>
                  <a:lnTo>
                    <a:pt x="1022" y="1958"/>
                  </a:lnTo>
                  <a:lnTo>
                    <a:pt x="1022" y="1960"/>
                  </a:lnTo>
                  <a:lnTo>
                    <a:pt x="1022" y="1962"/>
                  </a:lnTo>
                  <a:lnTo>
                    <a:pt x="1016" y="1964"/>
                  </a:lnTo>
                  <a:lnTo>
                    <a:pt x="1010" y="1968"/>
                  </a:lnTo>
                  <a:lnTo>
                    <a:pt x="1010" y="1970"/>
                  </a:lnTo>
                  <a:lnTo>
                    <a:pt x="1012" y="1974"/>
                  </a:lnTo>
                  <a:lnTo>
                    <a:pt x="1018" y="1978"/>
                  </a:lnTo>
                  <a:lnTo>
                    <a:pt x="1028" y="1978"/>
                  </a:lnTo>
                  <a:lnTo>
                    <a:pt x="1034" y="1974"/>
                  </a:lnTo>
                  <a:lnTo>
                    <a:pt x="1036" y="1974"/>
                  </a:lnTo>
                  <a:lnTo>
                    <a:pt x="1036" y="1978"/>
                  </a:lnTo>
                  <a:lnTo>
                    <a:pt x="1036" y="1980"/>
                  </a:lnTo>
                  <a:lnTo>
                    <a:pt x="1034" y="1982"/>
                  </a:lnTo>
                  <a:lnTo>
                    <a:pt x="1024" y="1984"/>
                  </a:lnTo>
                  <a:lnTo>
                    <a:pt x="1022" y="1986"/>
                  </a:lnTo>
                  <a:lnTo>
                    <a:pt x="1020" y="1992"/>
                  </a:lnTo>
                  <a:lnTo>
                    <a:pt x="1020" y="1996"/>
                  </a:lnTo>
                  <a:lnTo>
                    <a:pt x="1020" y="2006"/>
                  </a:lnTo>
                  <a:lnTo>
                    <a:pt x="1024" y="2008"/>
                  </a:lnTo>
                  <a:lnTo>
                    <a:pt x="1026" y="2006"/>
                  </a:lnTo>
                  <a:lnTo>
                    <a:pt x="1028" y="2006"/>
                  </a:lnTo>
                  <a:lnTo>
                    <a:pt x="1030" y="2006"/>
                  </a:lnTo>
                  <a:lnTo>
                    <a:pt x="1032" y="2008"/>
                  </a:lnTo>
                  <a:lnTo>
                    <a:pt x="1036" y="2012"/>
                  </a:lnTo>
                  <a:lnTo>
                    <a:pt x="1042" y="2022"/>
                  </a:lnTo>
                  <a:lnTo>
                    <a:pt x="1050" y="2028"/>
                  </a:lnTo>
                  <a:lnTo>
                    <a:pt x="1048" y="2036"/>
                  </a:lnTo>
                  <a:lnTo>
                    <a:pt x="1046" y="2038"/>
                  </a:lnTo>
                  <a:lnTo>
                    <a:pt x="1046" y="2040"/>
                  </a:lnTo>
                  <a:lnTo>
                    <a:pt x="1044" y="2056"/>
                  </a:lnTo>
                  <a:lnTo>
                    <a:pt x="1046" y="2058"/>
                  </a:lnTo>
                  <a:lnTo>
                    <a:pt x="1048" y="2060"/>
                  </a:lnTo>
                  <a:lnTo>
                    <a:pt x="1050" y="2070"/>
                  </a:lnTo>
                  <a:lnTo>
                    <a:pt x="1050" y="2072"/>
                  </a:lnTo>
                  <a:lnTo>
                    <a:pt x="1050" y="2074"/>
                  </a:lnTo>
                  <a:lnTo>
                    <a:pt x="1046" y="2076"/>
                  </a:lnTo>
                  <a:lnTo>
                    <a:pt x="1044" y="2076"/>
                  </a:lnTo>
                  <a:lnTo>
                    <a:pt x="1042" y="2076"/>
                  </a:lnTo>
                  <a:lnTo>
                    <a:pt x="1040" y="2076"/>
                  </a:lnTo>
                  <a:lnTo>
                    <a:pt x="1032" y="2078"/>
                  </a:lnTo>
                  <a:lnTo>
                    <a:pt x="1028" y="2080"/>
                  </a:lnTo>
                  <a:lnTo>
                    <a:pt x="1026" y="2080"/>
                  </a:lnTo>
                  <a:lnTo>
                    <a:pt x="1024" y="2080"/>
                  </a:lnTo>
                  <a:lnTo>
                    <a:pt x="1018" y="2080"/>
                  </a:lnTo>
                  <a:lnTo>
                    <a:pt x="1014" y="2084"/>
                  </a:lnTo>
                  <a:lnTo>
                    <a:pt x="1012" y="2084"/>
                  </a:lnTo>
                  <a:lnTo>
                    <a:pt x="1010" y="2084"/>
                  </a:lnTo>
                  <a:lnTo>
                    <a:pt x="1004" y="2084"/>
                  </a:lnTo>
                  <a:lnTo>
                    <a:pt x="998" y="2086"/>
                  </a:lnTo>
                  <a:lnTo>
                    <a:pt x="996" y="2086"/>
                  </a:lnTo>
                  <a:lnTo>
                    <a:pt x="996" y="2088"/>
                  </a:lnTo>
                  <a:lnTo>
                    <a:pt x="994" y="2088"/>
                  </a:lnTo>
                  <a:lnTo>
                    <a:pt x="992" y="2090"/>
                  </a:lnTo>
                  <a:lnTo>
                    <a:pt x="992" y="2096"/>
                  </a:lnTo>
                  <a:lnTo>
                    <a:pt x="994" y="2102"/>
                  </a:lnTo>
                  <a:lnTo>
                    <a:pt x="994" y="2104"/>
                  </a:lnTo>
                  <a:lnTo>
                    <a:pt x="986" y="2112"/>
                  </a:lnTo>
                  <a:lnTo>
                    <a:pt x="984" y="2112"/>
                  </a:lnTo>
                  <a:lnTo>
                    <a:pt x="982" y="2114"/>
                  </a:lnTo>
                  <a:lnTo>
                    <a:pt x="980" y="2116"/>
                  </a:lnTo>
                  <a:lnTo>
                    <a:pt x="978" y="2116"/>
                  </a:lnTo>
                  <a:lnTo>
                    <a:pt x="972" y="2120"/>
                  </a:lnTo>
                  <a:lnTo>
                    <a:pt x="970" y="2126"/>
                  </a:lnTo>
                  <a:lnTo>
                    <a:pt x="970" y="2130"/>
                  </a:lnTo>
                  <a:lnTo>
                    <a:pt x="972" y="2146"/>
                  </a:lnTo>
                  <a:lnTo>
                    <a:pt x="976" y="2148"/>
                  </a:lnTo>
                  <a:lnTo>
                    <a:pt x="976" y="2154"/>
                  </a:lnTo>
                  <a:lnTo>
                    <a:pt x="976" y="2158"/>
                  </a:lnTo>
                  <a:lnTo>
                    <a:pt x="976" y="2160"/>
                  </a:lnTo>
                  <a:lnTo>
                    <a:pt x="978" y="2164"/>
                  </a:lnTo>
                  <a:lnTo>
                    <a:pt x="978" y="2166"/>
                  </a:lnTo>
                  <a:lnTo>
                    <a:pt x="982" y="2162"/>
                  </a:lnTo>
                  <a:lnTo>
                    <a:pt x="984" y="2162"/>
                  </a:lnTo>
                  <a:lnTo>
                    <a:pt x="990" y="2160"/>
                  </a:lnTo>
                  <a:lnTo>
                    <a:pt x="992" y="2156"/>
                  </a:lnTo>
                  <a:lnTo>
                    <a:pt x="992" y="2152"/>
                  </a:lnTo>
                  <a:lnTo>
                    <a:pt x="994" y="2150"/>
                  </a:lnTo>
                  <a:lnTo>
                    <a:pt x="996" y="2148"/>
                  </a:lnTo>
                  <a:lnTo>
                    <a:pt x="1000" y="2146"/>
                  </a:lnTo>
                  <a:lnTo>
                    <a:pt x="1006" y="2144"/>
                  </a:lnTo>
                  <a:lnTo>
                    <a:pt x="1004" y="2144"/>
                  </a:lnTo>
                  <a:lnTo>
                    <a:pt x="1000" y="2146"/>
                  </a:lnTo>
                  <a:lnTo>
                    <a:pt x="996" y="2150"/>
                  </a:lnTo>
                  <a:lnTo>
                    <a:pt x="992" y="2156"/>
                  </a:lnTo>
                  <a:lnTo>
                    <a:pt x="992" y="2160"/>
                  </a:lnTo>
                  <a:lnTo>
                    <a:pt x="996" y="2160"/>
                  </a:lnTo>
                  <a:lnTo>
                    <a:pt x="998" y="2160"/>
                  </a:lnTo>
                  <a:lnTo>
                    <a:pt x="1004" y="2156"/>
                  </a:lnTo>
                  <a:lnTo>
                    <a:pt x="1008" y="2152"/>
                  </a:lnTo>
                  <a:lnTo>
                    <a:pt x="1012" y="2150"/>
                  </a:lnTo>
                  <a:lnTo>
                    <a:pt x="1016" y="2144"/>
                  </a:lnTo>
                  <a:lnTo>
                    <a:pt x="1018" y="2140"/>
                  </a:lnTo>
                  <a:lnTo>
                    <a:pt x="1024" y="2136"/>
                  </a:lnTo>
                  <a:lnTo>
                    <a:pt x="1024" y="2134"/>
                  </a:lnTo>
                  <a:lnTo>
                    <a:pt x="1034" y="2134"/>
                  </a:lnTo>
                  <a:lnTo>
                    <a:pt x="1036" y="2134"/>
                  </a:lnTo>
                  <a:lnTo>
                    <a:pt x="1038" y="2136"/>
                  </a:lnTo>
                  <a:lnTo>
                    <a:pt x="1042" y="2150"/>
                  </a:lnTo>
                  <a:lnTo>
                    <a:pt x="1044" y="2154"/>
                  </a:lnTo>
                  <a:lnTo>
                    <a:pt x="1042" y="2156"/>
                  </a:lnTo>
                  <a:lnTo>
                    <a:pt x="1038" y="2156"/>
                  </a:lnTo>
                  <a:lnTo>
                    <a:pt x="1030" y="2158"/>
                  </a:lnTo>
                  <a:lnTo>
                    <a:pt x="1028" y="2162"/>
                  </a:lnTo>
                  <a:lnTo>
                    <a:pt x="1028" y="2164"/>
                  </a:lnTo>
                  <a:lnTo>
                    <a:pt x="1024" y="2168"/>
                  </a:lnTo>
                  <a:lnTo>
                    <a:pt x="1018" y="2174"/>
                  </a:lnTo>
                  <a:lnTo>
                    <a:pt x="1016" y="2176"/>
                  </a:lnTo>
                  <a:lnTo>
                    <a:pt x="1012" y="2180"/>
                  </a:lnTo>
                  <a:lnTo>
                    <a:pt x="1010" y="2180"/>
                  </a:lnTo>
                  <a:lnTo>
                    <a:pt x="1000" y="2184"/>
                  </a:lnTo>
                  <a:lnTo>
                    <a:pt x="996" y="2188"/>
                  </a:lnTo>
                  <a:lnTo>
                    <a:pt x="996" y="2196"/>
                  </a:lnTo>
                  <a:lnTo>
                    <a:pt x="998" y="2198"/>
                  </a:lnTo>
                  <a:lnTo>
                    <a:pt x="998" y="2196"/>
                  </a:lnTo>
                  <a:lnTo>
                    <a:pt x="1000" y="2196"/>
                  </a:lnTo>
                  <a:lnTo>
                    <a:pt x="1004" y="2194"/>
                  </a:lnTo>
                  <a:lnTo>
                    <a:pt x="1008" y="2196"/>
                  </a:lnTo>
                  <a:lnTo>
                    <a:pt x="1010" y="2196"/>
                  </a:lnTo>
                  <a:lnTo>
                    <a:pt x="1012" y="2200"/>
                  </a:lnTo>
                  <a:lnTo>
                    <a:pt x="1004" y="2204"/>
                  </a:lnTo>
                  <a:lnTo>
                    <a:pt x="1000" y="2204"/>
                  </a:lnTo>
                  <a:lnTo>
                    <a:pt x="994" y="2204"/>
                  </a:lnTo>
                  <a:lnTo>
                    <a:pt x="992" y="2200"/>
                  </a:lnTo>
                  <a:lnTo>
                    <a:pt x="990" y="2200"/>
                  </a:lnTo>
                  <a:lnTo>
                    <a:pt x="984" y="2206"/>
                  </a:lnTo>
                  <a:lnTo>
                    <a:pt x="982" y="2208"/>
                  </a:lnTo>
                  <a:lnTo>
                    <a:pt x="980" y="2212"/>
                  </a:lnTo>
                  <a:lnTo>
                    <a:pt x="980" y="2214"/>
                  </a:lnTo>
                  <a:lnTo>
                    <a:pt x="978" y="2214"/>
                  </a:lnTo>
                  <a:lnTo>
                    <a:pt x="970" y="2216"/>
                  </a:lnTo>
                  <a:lnTo>
                    <a:pt x="968" y="2216"/>
                  </a:lnTo>
                  <a:lnTo>
                    <a:pt x="964" y="2216"/>
                  </a:lnTo>
                  <a:lnTo>
                    <a:pt x="964" y="2214"/>
                  </a:lnTo>
                  <a:lnTo>
                    <a:pt x="960" y="2214"/>
                  </a:lnTo>
                  <a:lnTo>
                    <a:pt x="970" y="2230"/>
                  </a:lnTo>
                  <a:lnTo>
                    <a:pt x="976" y="2234"/>
                  </a:lnTo>
                  <a:lnTo>
                    <a:pt x="984" y="2238"/>
                  </a:lnTo>
                  <a:lnTo>
                    <a:pt x="984" y="2236"/>
                  </a:lnTo>
                  <a:lnTo>
                    <a:pt x="982" y="2234"/>
                  </a:lnTo>
                  <a:lnTo>
                    <a:pt x="988" y="2232"/>
                  </a:lnTo>
                  <a:lnTo>
                    <a:pt x="994" y="2236"/>
                  </a:lnTo>
                  <a:lnTo>
                    <a:pt x="1002" y="2240"/>
                  </a:lnTo>
                  <a:lnTo>
                    <a:pt x="1004" y="2242"/>
                  </a:lnTo>
                  <a:lnTo>
                    <a:pt x="1006" y="2244"/>
                  </a:lnTo>
                  <a:lnTo>
                    <a:pt x="1010" y="2244"/>
                  </a:lnTo>
                  <a:lnTo>
                    <a:pt x="1016" y="2246"/>
                  </a:lnTo>
                  <a:lnTo>
                    <a:pt x="1022" y="2248"/>
                  </a:lnTo>
                  <a:lnTo>
                    <a:pt x="1026" y="2250"/>
                  </a:lnTo>
                  <a:lnTo>
                    <a:pt x="1028" y="2254"/>
                  </a:lnTo>
                  <a:lnTo>
                    <a:pt x="1026" y="2256"/>
                  </a:lnTo>
                  <a:lnTo>
                    <a:pt x="1020" y="2258"/>
                  </a:lnTo>
                  <a:lnTo>
                    <a:pt x="1016" y="2258"/>
                  </a:lnTo>
                  <a:lnTo>
                    <a:pt x="1014" y="2256"/>
                  </a:lnTo>
                  <a:lnTo>
                    <a:pt x="1010" y="2254"/>
                  </a:lnTo>
                  <a:lnTo>
                    <a:pt x="1006" y="2252"/>
                  </a:lnTo>
                  <a:lnTo>
                    <a:pt x="1004" y="2252"/>
                  </a:lnTo>
                  <a:lnTo>
                    <a:pt x="1002" y="2254"/>
                  </a:lnTo>
                  <a:lnTo>
                    <a:pt x="1000" y="2256"/>
                  </a:lnTo>
                  <a:lnTo>
                    <a:pt x="1000" y="2258"/>
                  </a:lnTo>
                  <a:lnTo>
                    <a:pt x="1000" y="2272"/>
                  </a:lnTo>
                  <a:lnTo>
                    <a:pt x="998" y="2262"/>
                  </a:lnTo>
                  <a:lnTo>
                    <a:pt x="996" y="2262"/>
                  </a:lnTo>
                  <a:lnTo>
                    <a:pt x="990" y="2268"/>
                  </a:lnTo>
                  <a:lnTo>
                    <a:pt x="988" y="2270"/>
                  </a:lnTo>
                  <a:lnTo>
                    <a:pt x="988" y="2272"/>
                  </a:lnTo>
                  <a:lnTo>
                    <a:pt x="988" y="2278"/>
                  </a:lnTo>
                  <a:lnTo>
                    <a:pt x="990" y="2282"/>
                  </a:lnTo>
                  <a:lnTo>
                    <a:pt x="990" y="2286"/>
                  </a:lnTo>
                  <a:lnTo>
                    <a:pt x="990" y="2288"/>
                  </a:lnTo>
                  <a:lnTo>
                    <a:pt x="990" y="2290"/>
                  </a:lnTo>
                  <a:lnTo>
                    <a:pt x="990" y="2294"/>
                  </a:lnTo>
                  <a:lnTo>
                    <a:pt x="988" y="2296"/>
                  </a:lnTo>
                  <a:lnTo>
                    <a:pt x="984" y="2302"/>
                  </a:lnTo>
                  <a:lnTo>
                    <a:pt x="984" y="2304"/>
                  </a:lnTo>
                  <a:lnTo>
                    <a:pt x="982" y="2306"/>
                  </a:lnTo>
                  <a:lnTo>
                    <a:pt x="984" y="2308"/>
                  </a:lnTo>
                  <a:lnTo>
                    <a:pt x="986" y="2308"/>
                  </a:lnTo>
                  <a:lnTo>
                    <a:pt x="984" y="2310"/>
                  </a:lnTo>
                  <a:lnTo>
                    <a:pt x="982" y="2308"/>
                  </a:lnTo>
                  <a:lnTo>
                    <a:pt x="980" y="2306"/>
                  </a:lnTo>
                  <a:lnTo>
                    <a:pt x="978" y="2308"/>
                  </a:lnTo>
                  <a:lnTo>
                    <a:pt x="978" y="2310"/>
                  </a:lnTo>
                  <a:lnTo>
                    <a:pt x="984" y="2328"/>
                  </a:lnTo>
                  <a:lnTo>
                    <a:pt x="986" y="2328"/>
                  </a:lnTo>
                  <a:lnTo>
                    <a:pt x="986" y="2324"/>
                  </a:lnTo>
                  <a:lnTo>
                    <a:pt x="984" y="2318"/>
                  </a:lnTo>
                  <a:lnTo>
                    <a:pt x="982" y="2314"/>
                  </a:lnTo>
                  <a:lnTo>
                    <a:pt x="982" y="2312"/>
                  </a:lnTo>
                  <a:lnTo>
                    <a:pt x="988" y="2314"/>
                  </a:lnTo>
                  <a:lnTo>
                    <a:pt x="994" y="2328"/>
                  </a:lnTo>
                  <a:lnTo>
                    <a:pt x="996" y="2336"/>
                  </a:lnTo>
                  <a:lnTo>
                    <a:pt x="994" y="2338"/>
                  </a:lnTo>
                  <a:lnTo>
                    <a:pt x="986" y="2336"/>
                  </a:lnTo>
                  <a:lnTo>
                    <a:pt x="980" y="2336"/>
                  </a:lnTo>
                  <a:lnTo>
                    <a:pt x="978" y="2338"/>
                  </a:lnTo>
                  <a:lnTo>
                    <a:pt x="976" y="2340"/>
                  </a:lnTo>
                  <a:lnTo>
                    <a:pt x="974" y="2340"/>
                  </a:lnTo>
                  <a:lnTo>
                    <a:pt x="970" y="2342"/>
                  </a:lnTo>
                  <a:lnTo>
                    <a:pt x="962" y="2344"/>
                  </a:lnTo>
                  <a:lnTo>
                    <a:pt x="964" y="2346"/>
                  </a:lnTo>
                  <a:lnTo>
                    <a:pt x="970" y="2346"/>
                  </a:lnTo>
                  <a:lnTo>
                    <a:pt x="966" y="2350"/>
                  </a:lnTo>
                  <a:lnTo>
                    <a:pt x="962" y="2352"/>
                  </a:lnTo>
                  <a:lnTo>
                    <a:pt x="958" y="2354"/>
                  </a:lnTo>
                  <a:lnTo>
                    <a:pt x="954" y="2352"/>
                  </a:lnTo>
                  <a:lnTo>
                    <a:pt x="954" y="2344"/>
                  </a:lnTo>
                  <a:lnTo>
                    <a:pt x="940" y="2340"/>
                  </a:lnTo>
                  <a:lnTo>
                    <a:pt x="936" y="2340"/>
                  </a:lnTo>
                  <a:lnTo>
                    <a:pt x="932" y="2344"/>
                  </a:lnTo>
                  <a:lnTo>
                    <a:pt x="930" y="2346"/>
                  </a:lnTo>
                  <a:lnTo>
                    <a:pt x="928" y="2350"/>
                  </a:lnTo>
                  <a:lnTo>
                    <a:pt x="928" y="2352"/>
                  </a:lnTo>
                  <a:lnTo>
                    <a:pt x="930" y="2352"/>
                  </a:lnTo>
                  <a:lnTo>
                    <a:pt x="930" y="2348"/>
                  </a:lnTo>
                  <a:lnTo>
                    <a:pt x="934" y="2346"/>
                  </a:lnTo>
                  <a:lnTo>
                    <a:pt x="948" y="2350"/>
                  </a:lnTo>
                  <a:lnTo>
                    <a:pt x="948" y="2352"/>
                  </a:lnTo>
                  <a:lnTo>
                    <a:pt x="944" y="2356"/>
                  </a:lnTo>
                  <a:lnTo>
                    <a:pt x="942" y="2360"/>
                  </a:lnTo>
                  <a:lnTo>
                    <a:pt x="936" y="2364"/>
                  </a:lnTo>
                  <a:lnTo>
                    <a:pt x="934" y="2364"/>
                  </a:lnTo>
                  <a:lnTo>
                    <a:pt x="932" y="2364"/>
                  </a:lnTo>
                  <a:lnTo>
                    <a:pt x="926" y="2366"/>
                  </a:lnTo>
                  <a:lnTo>
                    <a:pt x="930" y="2372"/>
                  </a:lnTo>
                  <a:lnTo>
                    <a:pt x="938" y="2372"/>
                  </a:lnTo>
                  <a:lnTo>
                    <a:pt x="948" y="2370"/>
                  </a:lnTo>
                  <a:lnTo>
                    <a:pt x="970" y="2374"/>
                  </a:lnTo>
                  <a:lnTo>
                    <a:pt x="976" y="2378"/>
                  </a:lnTo>
                  <a:lnTo>
                    <a:pt x="980" y="2380"/>
                  </a:lnTo>
                  <a:lnTo>
                    <a:pt x="980" y="2382"/>
                  </a:lnTo>
                  <a:lnTo>
                    <a:pt x="980" y="2384"/>
                  </a:lnTo>
                  <a:lnTo>
                    <a:pt x="988" y="2392"/>
                  </a:lnTo>
                  <a:lnTo>
                    <a:pt x="996" y="2398"/>
                  </a:lnTo>
                  <a:lnTo>
                    <a:pt x="1000" y="2398"/>
                  </a:lnTo>
                  <a:lnTo>
                    <a:pt x="1014" y="2396"/>
                  </a:lnTo>
                  <a:lnTo>
                    <a:pt x="1018" y="2394"/>
                  </a:lnTo>
                  <a:lnTo>
                    <a:pt x="1018" y="2392"/>
                  </a:lnTo>
                  <a:lnTo>
                    <a:pt x="1016" y="2390"/>
                  </a:lnTo>
                  <a:lnTo>
                    <a:pt x="1014" y="2388"/>
                  </a:lnTo>
                  <a:lnTo>
                    <a:pt x="1020" y="2388"/>
                  </a:lnTo>
                  <a:lnTo>
                    <a:pt x="1040" y="2402"/>
                  </a:lnTo>
                  <a:lnTo>
                    <a:pt x="1042" y="2404"/>
                  </a:lnTo>
                  <a:lnTo>
                    <a:pt x="1044" y="2406"/>
                  </a:lnTo>
                  <a:lnTo>
                    <a:pt x="1046" y="2408"/>
                  </a:lnTo>
                  <a:lnTo>
                    <a:pt x="1048" y="2410"/>
                  </a:lnTo>
                  <a:lnTo>
                    <a:pt x="1050" y="2410"/>
                  </a:lnTo>
                  <a:lnTo>
                    <a:pt x="1058" y="2410"/>
                  </a:lnTo>
                  <a:lnTo>
                    <a:pt x="1062" y="2410"/>
                  </a:lnTo>
                  <a:lnTo>
                    <a:pt x="1074" y="2408"/>
                  </a:lnTo>
                  <a:lnTo>
                    <a:pt x="1074" y="2406"/>
                  </a:lnTo>
                  <a:lnTo>
                    <a:pt x="1086" y="2410"/>
                  </a:lnTo>
                  <a:lnTo>
                    <a:pt x="1088" y="2410"/>
                  </a:lnTo>
                  <a:lnTo>
                    <a:pt x="1092" y="2414"/>
                  </a:lnTo>
                  <a:lnTo>
                    <a:pt x="1094" y="2414"/>
                  </a:lnTo>
                  <a:lnTo>
                    <a:pt x="1096" y="2416"/>
                  </a:lnTo>
                  <a:lnTo>
                    <a:pt x="1098" y="2416"/>
                  </a:lnTo>
                  <a:lnTo>
                    <a:pt x="1100" y="2416"/>
                  </a:lnTo>
                  <a:lnTo>
                    <a:pt x="1104" y="2416"/>
                  </a:lnTo>
                  <a:lnTo>
                    <a:pt x="1110" y="2420"/>
                  </a:lnTo>
                  <a:lnTo>
                    <a:pt x="1128" y="2430"/>
                  </a:lnTo>
                  <a:lnTo>
                    <a:pt x="1136" y="2434"/>
                  </a:lnTo>
                  <a:lnTo>
                    <a:pt x="1138" y="2434"/>
                  </a:lnTo>
                  <a:lnTo>
                    <a:pt x="1140" y="2438"/>
                  </a:lnTo>
                  <a:lnTo>
                    <a:pt x="1144" y="2440"/>
                  </a:lnTo>
                  <a:lnTo>
                    <a:pt x="1146" y="2442"/>
                  </a:lnTo>
                  <a:lnTo>
                    <a:pt x="1156" y="2446"/>
                  </a:lnTo>
                  <a:lnTo>
                    <a:pt x="1164" y="2450"/>
                  </a:lnTo>
                  <a:lnTo>
                    <a:pt x="1176" y="2456"/>
                  </a:lnTo>
                  <a:lnTo>
                    <a:pt x="1178" y="2456"/>
                  </a:lnTo>
                  <a:lnTo>
                    <a:pt x="1180" y="2458"/>
                  </a:lnTo>
                  <a:lnTo>
                    <a:pt x="1184" y="2462"/>
                  </a:lnTo>
                  <a:lnTo>
                    <a:pt x="1186" y="2464"/>
                  </a:lnTo>
                  <a:lnTo>
                    <a:pt x="1190" y="2464"/>
                  </a:lnTo>
                  <a:lnTo>
                    <a:pt x="1190" y="2462"/>
                  </a:lnTo>
                  <a:lnTo>
                    <a:pt x="1190" y="2458"/>
                  </a:lnTo>
                  <a:lnTo>
                    <a:pt x="1190" y="2446"/>
                  </a:lnTo>
                  <a:lnTo>
                    <a:pt x="1192" y="2444"/>
                  </a:lnTo>
                  <a:lnTo>
                    <a:pt x="1194" y="2442"/>
                  </a:lnTo>
                  <a:lnTo>
                    <a:pt x="1198" y="2442"/>
                  </a:lnTo>
                  <a:lnTo>
                    <a:pt x="1200" y="2440"/>
                  </a:lnTo>
                  <a:lnTo>
                    <a:pt x="1202" y="2440"/>
                  </a:lnTo>
                  <a:lnTo>
                    <a:pt x="1204" y="2440"/>
                  </a:lnTo>
                  <a:lnTo>
                    <a:pt x="1206" y="2440"/>
                  </a:lnTo>
                  <a:lnTo>
                    <a:pt x="1216" y="2442"/>
                  </a:lnTo>
                  <a:lnTo>
                    <a:pt x="1218" y="2442"/>
                  </a:lnTo>
                  <a:lnTo>
                    <a:pt x="1220" y="2442"/>
                  </a:lnTo>
                  <a:lnTo>
                    <a:pt x="1222" y="2440"/>
                  </a:lnTo>
                  <a:lnTo>
                    <a:pt x="1224" y="2438"/>
                  </a:lnTo>
                  <a:lnTo>
                    <a:pt x="1226" y="2436"/>
                  </a:lnTo>
                  <a:lnTo>
                    <a:pt x="1228" y="2434"/>
                  </a:lnTo>
                  <a:lnTo>
                    <a:pt x="1230" y="2434"/>
                  </a:lnTo>
                  <a:lnTo>
                    <a:pt x="1230" y="2436"/>
                  </a:lnTo>
                  <a:lnTo>
                    <a:pt x="1234" y="2438"/>
                  </a:lnTo>
                  <a:lnTo>
                    <a:pt x="1238" y="2438"/>
                  </a:lnTo>
                  <a:lnTo>
                    <a:pt x="1240" y="2438"/>
                  </a:lnTo>
                  <a:lnTo>
                    <a:pt x="1242" y="2438"/>
                  </a:lnTo>
                  <a:lnTo>
                    <a:pt x="1244" y="2438"/>
                  </a:lnTo>
                  <a:lnTo>
                    <a:pt x="1250" y="2440"/>
                  </a:lnTo>
                  <a:lnTo>
                    <a:pt x="1254" y="2442"/>
                  </a:lnTo>
                  <a:lnTo>
                    <a:pt x="1256" y="2442"/>
                  </a:lnTo>
                  <a:lnTo>
                    <a:pt x="1258" y="2442"/>
                  </a:lnTo>
                  <a:lnTo>
                    <a:pt x="1260" y="2440"/>
                  </a:lnTo>
                  <a:lnTo>
                    <a:pt x="1264" y="2438"/>
                  </a:lnTo>
                  <a:lnTo>
                    <a:pt x="1266" y="2438"/>
                  </a:lnTo>
                  <a:lnTo>
                    <a:pt x="1284" y="2442"/>
                  </a:lnTo>
                  <a:lnTo>
                    <a:pt x="1292" y="2444"/>
                  </a:lnTo>
                  <a:lnTo>
                    <a:pt x="1296" y="2444"/>
                  </a:lnTo>
                  <a:lnTo>
                    <a:pt x="1324" y="2438"/>
                  </a:lnTo>
                  <a:lnTo>
                    <a:pt x="1328" y="2436"/>
                  </a:lnTo>
                  <a:lnTo>
                    <a:pt x="1332" y="2430"/>
                  </a:lnTo>
                  <a:lnTo>
                    <a:pt x="1338" y="2428"/>
                  </a:lnTo>
                  <a:lnTo>
                    <a:pt x="1344" y="2426"/>
                  </a:lnTo>
                  <a:lnTo>
                    <a:pt x="1346" y="2424"/>
                  </a:lnTo>
                  <a:lnTo>
                    <a:pt x="1350" y="2424"/>
                  </a:lnTo>
                  <a:lnTo>
                    <a:pt x="1352" y="2426"/>
                  </a:lnTo>
                  <a:lnTo>
                    <a:pt x="1356" y="2428"/>
                  </a:lnTo>
                  <a:lnTo>
                    <a:pt x="1362" y="2428"/>
                  </a:lnTo>
                  <a:lnTo>
                    <a:pt x="1364" y="2428"/>
                  </a:lnTo>
                  <a:lnTo>
                    <a:pt x="1366" y="2426"/>
                  </a:lnTo>
                  <a:lnTo>
                    <a:pt x="1366" y="2424"/>
                  </a:lnTo>
                  <a:lnTo>
                    <a:pt x="1370" y="2422"/>
                  </a:lnTo>
                  <a:lnTo>
                    <a:pt x="1376" y="2420"/>
                  </a:lnTo>
                  <a:lnTo>
                    <a:pt x="1384" y="2422"/>
                  </a:lnTo>
                  <a:lnTo>
                    <a:pt x="1390" y="2426"/>
                  </a:lnTo>
                  <a:lnTo>
                    <a:pt x="1400" y="2432"/>
                  </a:lnTo>
                  <a:lnTo>
                    <a:pt x="1404" y="2434"/>
                  </a:lnTo>
                  <a:lnTo>
                    <a:pt x="1406" y="2434"/>
                  </a:lnTo>
                  <a:lnTo>
                    <a:pt x="1418" y="2432"/>
                  </a:lnTo>
                  <a:lnTo>
                    <a:pt x="1420" y="2432"/>
                  </a:lnTo>
                  <a:lnTo>
                    <a:pt x="1422" y="2432"/>
                  </a:lnTo>
                  <a:lnTo>
                    <a:pt x="1428" y="2432"/>
                  </a:lnTo>
                  <a:lnTo>
                    <a:pt x="1430" y="2432"/>
                  </a:lnTo>
                  <a:lnTo>
                    <a:pt x="1434" y="2432"/>
                  </a:lnTo>
                  <a:lnTo>
                    <a:pt x="1436" y="2434"/>
                  </a:lnTo>
                  <a:lnTo>
                    <a:pt x="1438" y="2434"/>
                  </a:lnTo>
                  <a:lnTo>
                    <a:pt x="1440" y="2436"/>
                  </a:lnTo>
                  <a:lnTo>
                    <a:pt x="1442" y="2436"/>
                  </a:lnTo>
                  <a:lnTo>
                    <a:pt x="1446" y="2434"/>
                  </a:lnTo>
                  <a:lnTo>
                    <a:pt x="1452" y="2436"/>
                  </a:lnTo>
                  <a:lnTo>
                    <a:pt x="1452" y="2438"/>
                  </a:lnTo>
                  <a:lnTo>
                    <a:pt x="1452" y="2440"/>
                  </a:lnTo>
                  <a:lnTo>
                    <a:pt x="1450" y="2444"/>
                  </a:lnTo>
                  <a:lnTo>
                    <a:pt x="1448" y="2446"/>
                  </a:lnTo>
                  <a:lnTo>
                    <a:pt x="1452" y="2450"/>
                  </a:lnTo>
                  <a:lnTo>
                    <a:pt x="1462" y="2448"/>
                  </a:lnTo>
                  <a:lnTo>
                    <a:pt x="1478" y="2438"/>
                  </a:lnTo>
                  <a:lnTo>
                    <a:pt x="1480" y="2436"/>
                  </a:lnTo>
                  <a:lnTo>
                    <a:pt x="1480" y="2434"/>
                  </a:lnTo>
                  <a:lnTo>
                    <a:pt x="1486" y="2426"/>
                  </a:lnTo>
                  <a:lnTo>
                    <a:pt x="1494" y="2418"/>
                  </a:lnTo>
                  <a:lnTo>
                    <a:pt x="1498" y="2418"/>
                  </a:lnTo>
                  <a:lnTo>
                    <a:pt x="1498" y="2416"/>
                  </a:lnTo>
                  <a:lnTo>
                    <a:pt x="1502" y="2416"/>
                  </a:lnTo>
                  <a:lnTo>
                    <a:pt x="1506" y="2416"/>
                  </a:lnTo>
                  <a:lnTo>
                    <a:pt x="1510" y="2418"/>
                  </a:lnTo>
                  <a:lnTo>
                    <a:pt x="1514" y="2420"/>
                  </a:lnTo>
                  <a:lnTo>
                    <a:pt x="1516" y="2420"/>
                  </a:lnTo>
                  <a:lnTo>
                    <a:pt x="1516" y="2410"/>
                  </a:lnTo>
                  <a:lnTo>
                    <a:pt x="1518" y="2408"/>
                  </a:lnTo>
                  <a:lnTo>
                    <a:pt x="1520" y="2408"/>
                  </a:lnTo>
                  <a:lnTo>
                    <a:pt x="1524" y="2410"/>
                  </a:lnTo>
                  <a:lnTo>
                    <a:pt x="1530" y="2410"/>
                  </a:lnTo>
                  <a:lnTo>
                    <a:pt x="1532" y="2410"/>
                  </a:lnTo>
                  <a:lnTo>
                    <a:pt x="1534" y="2408"/>
                  </a:lnTo>
                  <a:lnTo>
                    <a:pt x="1536" y="2408"/>
                  </a:lnTo>
                  <a:lnTo>
                    <a:pt x="1536" y="2406"/>
                  </a:lnTo>
                  <a:lnTo>
                    <a:pt x="1540" y="2408"/>
                  </a:lnTo>
                  <a:lnTo>
                    <a:pt x="1544" y="2410"/>
                  </a:lnTo>
                  <a:lnTo>
                    <a:pt x="1550" y="2414"/>
                  </a:lnTo>
                  <a:lnTo>
                    <a:pt x="1552" y="2416"/>
                  </a:lnTo>
                  <a:lnTo>
                    <a:pt x="1554" y="2418"/>
                  </a:lnTo>
                  <a:lnTo>
                    <a:pt x="1556" y="2418"/>
                  </a:lnTo>
                  <a:lnTo>
                    <a:pt x="1562" y="2412"/>
                  </a:lnTo>
                  <a:lnTo>
                    <a:pt x="1564" y="2412"/>
                  </a:lnTo>
                  <a:lnTo>
                    <a:pt x="1566" y="2410"/>
                  </a:lnTo>
                  <a:lnTo>
                    <a:pt x="1568" y="2410"/>
                  </a:lnTo>
                  <a:lnTo>
                    <a:pt x="1576" y="2410"/>
                  </a:lnTo>
                  <a:lnTo>
                    <a:pt x="1580" y="2410"/>
                  </a:lnTo>
                  <a:lnTo>
                    <a:pt x="1580" y="2412"/>
                  </a:lnTo>
                  <a:lnTo>
                    <a:pt x="1582" y="2412"/>
                  </a:lnTo>
                  <a:lnTo>
                    <a:pt x="1582" y="2414"/>
                  </a:lnTo>
                  <a:lnTo>
                    <a:pt x="1582" y="2424"/>
                  </a:lnTo>
                  <a:lnTo>
                    <a:pt x="1584" y="2428"/>
                  </a:lnTo>
                  <a:lnTo>
                    <a:pt x="1582" y="2434"/>
                  </a:lnTo>
                  <a:lnTo>
                    <a:pt x="1584" y="2438"/>
                  </a:lnTo>
                  <a:lnTo>
                    <a:pt x="1612" y="2446"/>
                  </a:lnTo>
                  <a:lnTo>
                    <a:pt x="1616" y="2444"/>
                  </a:lnTo>
                  <a:lnTo>
                    <a:pt x="1628" y="2442"/>
                  </a:lnTo>
                  <a:lnTo>
                    <a:pt x="1642" y="2442"/>
                  </a:lnTo>
                  <a:lnTo>
                    <a:pt x="1642" y="2444"/>
                  </a:lnTo>
                  <a:lnTo>
                    <a:pt x="1646" y="2444"/>
                  </a:lnTo>
                  <a:lnTo>
                    <a:pt x="1646" y="2446"/>
                  </a:lnTo>
                  <a:lnTo>
                    <a:pt x="1650" y="2444"/>
                  </a:lnTo>
                  <a:lnTo>
                    <a:pt x="1654" y="2444"/>
                  </a:lnTo>
                  <a:lnTo>
                    <a:pt x="1660" y="2446"/>
                  </a:lnTo>
                  <a:lnTo>
                    <a:pt x="1666" y="2440"/>
                  </a:lnTo>
                  <a:lnTo>
                    <a:pt x="1668" y="2442"/>
                  </a:lnTo>
                  <a:lnTo>
                    <a:pt x="1670" y="2446"/>
                  </a:lnTo>
                  <a:lnTo>
                    <a:pt x="1672" y="2446"/>
                  </a:lnTo>
                  <a:lnTo>
                    <a:pt x="1678" y="2448"/>
                  </a:lnTo>
                  <a:lnTo>
                    <a:pt x="1684" y="2450"/>
                  </a:lnTo>
                  <a:lnTo>
                    <a:pt x="1692" y="2454"/>
                  </a:lnTo>
                  <a:lnTo>
                    <a:pt x="1698" y="2456"/>
                  </a:lnTo>
                  <a:lnTo>
                    <a:pt x="1700" y="2454"/>
                  </a:lnTo>
                  <a:lnTo>
                    <a:pt x="1702" y="2456"/>
                  </a:lnTo>
                  <a:lnTo>
                    <a:pt x="1714" y="2466"/>
                  </a:lnTo>
                  <a:lnTo>
                    <a:pt x="1716" y="2470"/>
                  </a:lnTo>
                  <a:lnTo>
                    <a:pt x="1718" y="2474"/>
                  </a:lnTo>
                  <a:lnTo>
                    <a:pt x="1726" y="2476"/>
                  </a:lnTo>
                  <a:lnTo>
                    <a:pt x="1742" y="2476"/>
                  </a:lnTo>
                  <a:lnTo>
                    <a:pt x="1742" y="2474"/>
                  </a:lnTo>
                  <a:lnTo>
                    <a:pt x="1744" y="2472"/>
                  </a:lnTo>
                  <a:lnTo>
                    <a:pt x="1746" y="2472"/>
                  </a:lnTo>
                  <a:lnTo>
                    <a:pt x="1750" y="2472"/>
                  </a:lnTo>
                  <a:lnTo>
                    <a:pt x="1754" y="2472"/>
                  </a:lnTo>
                  <a:lnTo>
                    <a:pt x="1756" y="2470"/>
                  </a:lnTo>
                  <a:lnTo>
                    <a:pt x="1760" y="2468"/>
                  </a:lnTo>
                  <a:lnTo>
                    <a:pt x="1762" y="2464"/>
                  </a:lnTo>
                  <a:lnTo>
                    <a:pt x="1762" y="2462"/>
                  </a:lnTo>
                  <a:lnTo>
                    <a:pt x="1760" y="2460"/>
                  </a:lnTo>
                  <a:lnTo>
                    <a:pt x="1760" y="2452"/>
                  </a:lnTo>
                  <a:lnTo>
                    <a:pt x="1764" y="2440"/>
                  </a:lnTo>
                  <a:lnTo>
                    <a:pt x="1766" y="2438"/>
                  </a:lnTo>
                  <a:lnTo>
                    <a:pt x="1768" y="2434"/>
                  </a:lnTo>
                  <a:lnTo>
                    <a:pt x="1770" y="2434"/>
                  </a:lnTo>
                  <a:lnTo>
                    <a:pt x="1772" y="2432"/>
                  </a:lnTo>
                  <a:lnTo>
                    <a:pt x="1774" y="2430"/>
                  </a:lnTo>
                  <a:lnTo>
                    <a:pt x="1778" y="2422"/>
                  </a:lnTo>
                  <a:lnTo>
                    <a:pt x="1780" y="2420"/>
                  </a:lnTo>
                  <a:lnTo>
                    <a:pt x="1780" y="2418"/>
                  </a:lnTo>
                  <a:lnTo>
                    <a:pt x="1780" y="2414"/>
                  </a:lnTo>
                  <a:lnTo>
                    <a:pt x="1782" y="2400"/>
                  </a:lnTo>
                  <a:lnTo>
                    <a:pt x="1782" y="2392"/>
                  </a:lnTo>
                  <a:lnTo>
                    <a:pt x="1778" y="2390"/>
                  </a:lnTo>
                  <a:lnTo>
                    <a:pt x="1776" y="2390"/>
                  </a:lnTo>
                  <a:lnTo>
                    <a:pt x="1774" y="2390"/>
                  </a:lnTo>
                  <a:lnTo>
                    <a:pt x="1772" y="2392"/>
                  </a:lnTo>
                  <a:lnTo>
                    <a:pt x="1770" y="2392"/>
                  </a:lnTo>
                  <a:lnTo>
                    <a:pt x="1768" y="2390"/>
                  </a:lnTo>
                  <a:lnTo>
                    <a:pt x="1764" y="2388"/>
                  </a:lnTo>
                  <a:lnTo>
                    <a:pt x="1758" y="2382"/>
                  </a:lnTo>
                  <a:lnTo>
                    <a:pt x="1758" y="2380"/>
                  </a:lnTo>
                  <a:lnTo>
                    <a:pt x="1756" y="2378"/>
                  </a:lnTo>
                  <a:lnTo>
                    <a:pt x="1734" y="2362"/>
                  </a:lnTo>
                  <a:lnTo>
                    <a:pt x="1732" y="2362"/>
                  </a:lnTo>
                  <a:lnTo>
                    <a:pt x="1728" y="2360"/>
                  </a:lnTo>
                  <a:lnTo>
                    <a:pt x="1720" y="2356"/>
                  </a:lnTo>
                  <a:lnTo>
                    <a:pt x="1716" y="2354"/>
                  </a:lnTo>
                  <a:lnTo>
                    <a:pt x="1716" y="2352"/>
                  </a:lnTo>
                  <a:lnTo>
                    <a:pt x="1714" y="2350"/>
                  </a:lnTo>
                  <a:lnTo>
                    <a:pt x="1712" y="2348"/>
                  </a:lnTo>
                  <a:lnTo>
                    <a:pt x="1710" y="2348"/>
                  </a:lnTo>
                  <a:lnTo>
                    <a:pt x="1708" y="2346"/>
                  </a:lnTo>
                  <a:lnTo>
                    <a:pt x="1704" y="2346"/>
                  </a:lnTo>
                  <a:lnTo>
                    <a:pt x="1702" y="2348"/>
                  </a:lnTo>
                  <a:lnTo>
                    <a:pt x="1700" y="2346"/>
                  </a:lnTo>
                  <a:lnTo>
                    <a:pt x="1696" y="2340"/>
                  </a:lnTo>
                  <a:lnTo>
                    <a:pt x="1696" y="2338"/>
                  </a:lnTo>
                  <a:lnTo>
                    <a:pt x="1694" y="2336"/>
                  </a:lnTo>
                  <a:lnTo>
                    <a:pt x="1692" y="2330"/>
                  </a:lnTo>
                  <a:lnTo>
                    <a:pt x="1688" y="2328"/>
                  </a:lnTo>
                  <a:lnTo>
                    <a:pt x="1686" y="2328"/>
                  </a:lnTo>
                  <a:lnTo>
                    <a:pt x="1684" y="2328"/>
                  </a:lnTo>
                  <a:lnTo>
                    <a:pt x="1684" y="2326"/>
                  </a:lnTo>
                  <a:lnTo>
                    <a:pt x="1676" y="2324"/>
                  </a:lnTo>
                  <a:lnTo>
                    <a:pt x="1670" y="2320"/>
                  </a:lnTo>
                  <a:lnTo>
                    <a:pt x="1666" y="2314"/>
                  </a:lnTo>
                  <a:lnTo>
                    <a:pt x="1664" y="2302"/>
                  </a:lnTo>
                  <a:lnTo>
                    <a:pt x="1666" y="2298"/>
                  </a:lnTo>
                  <a:lnTo>
                    <a:pt x="1668" y="2294"/>
                  </a:lnTo>
                  <a:lnTo>
                    <a:pt x="1666" y="2290"/>
                  </a:lnTo>
                  <a:lnTo>
                    <a:pt x="1664" y="2290"/>
                  </a:lnTo>
                  <a:lnTo>
                    <a:pt x="1662" y="2292"/>
                  </a:lnTo>
                  <a:lnTo>
                    <a:pt x="1660" y="2292"/>
                  </a:lnTo>
                  <a:lnTo>
                    <a:pt x="1656" y="2284"/>
                  </a:lnTo>
                  <a:lnTo>
                    <a:pt x="1654" y="2282"/>
                  </a:lnTo>
                  <a:lnTo>
                    <a:pt x="1654" y="2270"/>
                  </a:lnTo>
                  <a:lnTo>
                    <a:pt x="1652" y="2268"/>
                  </a:lnTo>
                  <a:lnTo>
                    <a:pt x="1652" y="2262"/>
                  </a:lnTo>
                  <a:lnTo>
                    <a:pt x="1652" y="2260"/>
                  </a:lnTo>
                  <a:lnTo>
                    <a:pt x="1652" y="2256"/>
                  </a:lnTo>
                  <a:lnTo>
                    <a:pt x="1650" y="2252"/>
                  </a:lnTo>
                  <a:lnTo>
                    <a:pt x="1650" y="2246"/>
                  </a:lnTo>
                  <a:lnTo>
                    <a:pt x="1650" y="2244"/>
                  </a:lnTo>
                  <a:lnTo>
                    <a:pt x="1652" y="2240"/>
                  </a:lnTo>
                  <a:lnTo>
                    <a:pt x="1648" y="2240"/>
                  </a:lnTo>
                  <a:lnTo>
                    <a:pt x="1646" y="2240"/>
                  </a:lnTo>
                  <a:lnTo>
                    <a:pt x="1644" y="2244"/>
                  </a:lnTo>
                  <a:lnTo>
                    <a:pt x="1644" y="2246"/>
                  </a:lnTo>
                  <a:lnTo>
                    <a:pt x="1646" y="2248"/>
                  </a:lnTo>
                  <a:lnTo>
                    <a:pt x="1646" y="2252"/>
                  </a:lnTo>
                  <a:lnTo>
                    <a:pt x="1646" y="2254"/>
                  </a:lnTo>
                  <a:lnTo>
                    <a:pt x="1648" y="2266"/>
                  </a:lnTo>
                  <a:lnTo>
                    <a:pt x="1650" y="2272"/>
                  </a:lnTo>
                  <a:lnTo>
                    <a:pt x="1650" y="2276"/>
                  </a:lnTo>
                  <a:lnTo>
                    <a:pt x="1650" y="2278"/>
                  </a:lnTo>
                  <a:lnTo>
                    <a:pt x="1648" y="2280"/>
                  </a:lnTo>
                  <a:lnTo>
                    <a:pt x="1642" y="2274"/>
                  </a:lnTo>
                  <a:lnTo>
                    <a:pt x="1642" y="2272"/>
                  </a:lnTo>
                  <a:lnTo>
                    <a:pt x="1644" y="2270"/>
                  </a:lnTo>
                  <a:lnTo>
                    <a:pt x="1644" y="2262"/>
                  </a:lnTo>
                  <a:lnTo>
                    <a:pt x="1644" y="2254"/>
                  </a:lnTo>
                  <a:lnTo>
                    <a:pt x="1642" y="2250"/>
                  </a:lnTo>
                  <a:lnTo>
                    <a:pt x="1626" y="2236"/>
                  </a:lnTo>
                  <a:lnTo>
                    <a:pt x="1618" y="2228"/>
                  </a:lnTo>
                  <a:lnTo>
                    <a:pt x="1610" y="2224"/>
                  </a:lnTo>
                  <a:lnTo>
                    <a:pt x="1608" y="2226"/>
                  </a:lnTo>
                  <a:lnTo>
                    <a:pt x="1602" y="2224"/>
                  </a:lnTo>
                  <a:lnTo>
                    <a:pt x="1598" y="2220"/>
                  </a:lnTo>
                  <a:lnTo>
                    <a:pt x="1598" y="2218"/>
                  </a:lnTo>
                  <a:lnTo>
                    <a:pt x="1596" y="2216"/>
                  </a:lnTo>
                  <a:lnTo>
                    <a:pt x="1594" y="2216"/>
                  </a:lnTo>
                  <a:lnTo>
                    <a:pt x="1592" y="2216"/>
                  </a:lnTo>
                  <a:lnTo>
                    <a:pt x="1582" y="2216"/>
                  </a:lnTo>
                  <a:lnTo>
                    <a:pt x="1580" y="2218"/>
                  </a:lnTo>
                  <a:lnTo>
                    <a:pt x="1576" y="2220"/>
                  </a:lnTo>
                  <a:lnTo>
                    <a:pt x="1572" y="2218"/>
                  </a:lnTo>
                  <a:lnTo>
                    <a:pt x="1572" y="2216"/>
                  </a:lnTo>
                  <a:lnTo>
                    <a:pt x="1568" y="2210"/>
                  </a:lnTo>
                  <a:lnTo>
                    <a:pt x="1568" y="2202"/>
                  </a:lnTo>
                  <a:lnTo>
                    <a:pt x="1568" y="2192"/>
                  </a:lnTo>
                  <a:lnTo>
                    <a:pt x="1572" y="2188"/>
                  </a:lnTo>
                  <a:lnTo>
                    <a:pt x="1576" y="2182"/>
                  </a:lnTo>
                  <a:lnTo>
                    <a:pt x="1576" y="2180"/>
                  </a:lnTo>
                  <a:lnTo>
                    <a:pt x="1576" y="2178"/>
                  </a:lnTo>
                  <a:lnTo>
                    <a:pt x="1578" y="2174"/>
                  </a:lnTo>
                  <a:lnTo>
                    <a:pt x="1582" y="2178"/>
                  </a:lnTo>
                  <a:lnTo>
                    <a:pt x="1582" y="2168"/>
                  </a:lnTo>
                  <a:lnTo>
                    <a:pt x="1580" y="2162"/>
                  </a:lnTo>
                  <a:lnTo>
                    <a:pt x="1582" y="2150"/>
                  </a:lnTo>
                  <a:lnTo>
                    <a:pt x="1584" y="2130"/>
                  </a:lnTo>
                  <a:lnTo>
                    <a:pt x="1582" y="2118"/>
                  </a:lnTo>
                  <a:lnTo>
                    <a:pt x="1584" y="2112"/>
                  </a:lnTo>
                  <a:lnTo>
                    <a:pt x="1582" y="2096"/>
                  </a:lnTo>
                  <a:lnTo>
                    <a:pt x="1580" y="2094"/>
                  </a:lnTo>
                  <a:lnTo>
                    <a:pt x="1578" y="2092"/>
                  </a:lnTo>
                  <a:lnTo>
                    <a:pt x="1574" y="2092"/>
                  </a:lnTo>
                  <a:lnTo>
                    <a:pt x="1570" y="2092"/>
                  </a:lnTo>
                  <a:lnTo>
                    <a:pt x="1566" y="2086"/>
                  </a:lnTo>
                  <a:lnTo>
                    <a:pt x="1572" y="2084"/>
                  </a:lnTo>
                  <a:lnTo>
                    <a:pt x="1574" y="2086"/>
                  </a:lnTo>
                  <a:lnTo>
                    <a:pt x="1580" y="2090"/>
                  </a:lnTo>
                  <a:lnTo>
                    <a:pt x="1582" y="2092"/>
                  </a:lnTo>
                  <a:lnTo>
                    <a:pt x="1586" y="2096"/>
                  </a:lnTo>
                  <a:lnTo>
                    <a:pt x="1588" y="2096"/>
                  </a:lnTo>
                  <a:lnTo>
                    <a:pt x="1586" y="2090"/>
                  </a:lnTo>
                  <a:lnTo>
                    <a:pt x="1580" y="2082"/>
                  </a:lnTo>
                  <a:lnTo>
                    <a:pt x="1578" y="2082"/>
                  </a:lnTo>
                  <a:lnTo>
                    <a:pt x="1576" y="2082"/>
                  </a:lnTo>
                  <a:lnTo>
                    <a:pt x="1574" y="2080"/>
                  </a:lnTo>
                  <a:lnTo>
                    <a:pt x="1576" y="2078"/>
                  </a:lnTo>
                  <a:lnTo>
                    <a:pt x="1578" y="2078"/>
                  </a:lnTo>
                  <a:lnTo>
                    <a:pt x="1594" y="2082"/>
                  </a:lnTo>
                  <a:lnTo>
                    <a:pt x="1594" y="2076"/>
                  </a:lnTo>
                  <a:lnTo>
                    <a:pt x="1602" y="2072"/>
                  </a:lnTo>
                  <a:lnTo>
                    <a:pt x="1610" y="2066"/>
                  </a:lnTo>
                  <a:lnTo>
                    <a:pt x="1614" y="2066"/>
                  </a:lnTo>
                  <a:lnTo>
                    <a:pt x="1614" y="2064"/>
                  </a:lnTo>
                  <a:lnTo>
                    <a:pt x="1616" y="2060"/>
                  </a:lnTo>
                  <a:lnTo>
                    <a:pt x="1618" y="2052"/>
                  </a:lnTo>
                  <a:lnTo>
                    <a:pt x="1618" y="2048"/>
                  </a:lnTo>
                  <a:lnTo>
                    <a:pt x="1620" y="2042"/>
                  </a:lnTo>
                  <a:lnTo>
                    <a:pt x="1626" y="2036"/>
                  </a:lnTo>
                  <a:lnTo>
                    <a:pt x="1628" y="2036"/>
                  </a:lnTo>
                  <a:lnTo>
                    <a:pt x="1632" y="2038"/>
                  </a:lnTo>
                  <a:lnTo>
                    <a:pt x="1640" y="2042"/>
                  </a:lnTo>
                  <a:lnTo>
                    <a:pt x="1642" y="2040"/>
                  </a:lnTo>
                  <a:lnTo>
                    <a:pt x="1636" y="2030"/>
                  </a:lnTo>
                  <a:lnTo>
                    <a:pt x="1634" y="2026"/>
                  </a:lnTo>
                  <a:lnTo>
                    <a:pt x="1630" y="2024"/>
                  </a:lnTo>
                  <a:lnTo>
                    <a:pt x="1626" y="2024"/>
                  </a:lnTo>
                  <a:lnTo>
                    <a:pt x="1626" y="2020"/>
                  </a:lnTo>
                  <a:lnTo>
                    <a:pt x="1628" y="2018"/>
                  </a:lnTo>
                  <a:lnTo>
                    <a:pt x="1634" y="2018"/>
                  </a:lnTo>
                  <a:lnTo>
                    <a:pt x="1640" y="2012"/>
                  </a:lnTo>
                  <a:lnTo>
                    <a:pt x="1644" y="2002"/>
                  </a:lnTo>
                  <a:lnTo>
                    <a:pt x="1648" y="1992"/>
                  </a:lnTo>
                  <a:lnTo>
                    <a:pt x="1650" y="1992"/>
                  </a:lnTo>
                  <a:lnTo>
                    <a:pt x="1652" y="1992"/>
                  </a:lnTo>
                  <a:lnTo>
                    <a:pt x="1652" y="1990"/>
                  </a:lnTo>
                  <a:lnTo>
                    <a:pt x="1650" y="1986"/>
                  </a:lnTo>
                  <a:lnTo>
                    <a:pt x="1646" y="1984"/>
                  </a:lnTo>
                  <a:lnTo>
                    <a:pt x="1626" y="1982"/>
                  </a:lnTo>
                  <a:lnTo>
                    <a:pt x="1624" y="1982"/>
                  </a:lnTo>
                  <a:lnTo>
                    <a:pt x="1622" y="1984"/>
                  </a:lnTo>
                  <a:lnTo>
                    <a:pt x="1618" y="1982"/>
                  </a:lnTo>
                  <a:lnTo>
                    <a:pt x="1616" y="1982"/>
                  </a:lnTo>
                  <a:lnTo>
                    <a:pt x="1614" y="1980"/>
                  </a:lnTo>
                  <a:lnTo>
                    <a:pt x="1612" y="1980"/>
                  </a:lnTo>
                  <a:lnTo>
                    <a:pt x="1610" y="1982"/>
                  </a:lnTo>
                  <a:lnTo>
                    <a:pt x="1606" y="1984"/>
                  </a:lnTo>
                  <a:lnTo>
                    <a:pt x="1604" y="1984"/>
                  </a:lnTo>
                  <a:lnTo>
                    <a:pt x="1594" y="1978"/>
                  </a:lnTo>
                  <a:lnTo>
                    <a:pt x="1594" y="1976"/>
                  </a:lnTo>
                  <a:lnTo>
                    <a:pt x="1594" y="1972"/>
                  </a:lnTo>
                  <a:lnTo>
                    <a:pt x="1592" y="1970"/>
                  </a:lnTo>
                  <a:lnTo>
                    <a:pt x="1594" y="1968"/>
                  </a:lnTo>
                  <a:lnTo>
                    <a:pt x="1598" y="1966"/>
                  </a:lnTo>
                  <a:lnTo>
                    <a:pt x="1598" y="1964"/>
                  </a:lnTo>
                  <a:lnTo>
                    <a:pt x="1600" y="1964"/>
                  </a:lnTo>
                  <a:lnTo>
                    <a:pt x="1602" y="1964"/>
                  </a:lnTo>
                  <a:lnTo>
                    <a:pt x="1604" y="1964"/>
                  </a:lnTo>
                  <a:lnTo>
                    <a:pt x="1606" y="1964"/>
                  </a:lnTo>
                  <a:lnTo>
                    <a:pt x="1608" y="1968"/>
                  </a:lnTo>
                  <a:lnTo>
                    <a:pt x="1618" y="1962"/>
                  </a:lnTo>
                  <a:lnTo>
                    <a:pt x="1622" y="1954"/>
                  </a:lnTo>
                  <a:lnTo>
                    <a:pt x="1616" y="1950"/>
                  </a:lnTo>
                  <a:lnTo>
                    <a:pt x="1592" y="1934"/>
                  </a:lnTo>
                  <a:lnTo>
                    <a:pt x="1578" y="1922"/>
                  </a:lnTo>
                  <a:lnTo>
                    <a:pt x="1572" y="1916"/>
                  </a:lnTo>
                  <a:lnTo>
                    <a:pt x="1564" y="1912"/>
                  </a:lnTo>
                  <a:lnTo>
                    <a:pt x="1556" y="1908"/>
                  </a:lnTo>
                  <a:lnTo>
                    <a:pt x="1550" y="1904"/>
                  </a:lnTo>
                  <a:lnTo>
                    <a:pt x="1544" y="1898"/>
                  </a:lnTo>
                  <a:lnTo>
                    <a:pt x="1542" y="1898"/>
                  </a:lnTo>
                  <a:lnTo>
                    <a:pt x="1540" y="1896"/>
                  </a:lnTo>
                  <a:lnTo>
                    <a:pt x="1538" y="1894"/>
                  </a:lnTo>
                  <a:lnTo>
                    <a:pt x="1534" y="1894"/>
                  </a:lnTo>
                  <a:lnTo>
                    <a:pt x="1530" y="1892"/>
                  </a:lnTo>
                  <a:lnTo>
                    <a:pt x="1528" y="1892"/>
                  </a:lnTo>
                  <a:lnTo>
                    <a:pt x="1526" y="1892"/>
                  </a:lnTo>
                  <a:lnTo>
                    <a:pt x="1518" y="1896"/>
                  </a:lnTo>
                  <a:lnTo>
                    <a:pt x="1512" y="1898"/>
                  </a:lnTo>
                  <a:lnTo>
                    <a:pt x="1510" y="1902"/>
                  </a:lnTo>
                  <a:lnTo>
                    <a:pt x="1506" y="1904"/>
                  </a:lnTo>
                  <a:lnTo>
                    <a:pt x="1502" y="1904"/>
                  </a:lnTo>
                  <a:lnTo>
                    <a:pt x="1500" y="1904"/>
                  </a:lnTo>
                  <a:lnTo>
                    <a:pt x="1496" y="1904"/>
                  </a:lnTo>
                  <a:lnTo>
                    <a:pt x="1494" y="1902"/>
                  </a:lnTo>
                  <a:lnTo>
                    <a:pt x="1490" y="1904"/>
                  </a:lnTo>
                  <a:lnTo>
                    <a:pt x="1490" y="1906"/>
                  </a:lnTo>
                  <a:lnTo>
                    <a:pt x="1490" y="1910"/>
                  </a:lnTo>
                  <a:lnTo>
                    <a:pt x="1494" y="1916"/>
                  </a:lnTo>
                  <a:lnTo>
                    <a:pt x="1482" y="1916"/>
                  </a:lnTo>
                  <a:lnTo>
                    <a:pt x="1478" y="1914"/>
                  </a:lnTo>
                  <a:lnTo>
                    <a:pt x="1474" y="1912"/>
                  </a:lnTo>
                  <a:lnTo>
                    <a:pt x="1468" y="1902"/>
                  </a:lnTo>
                  <a:lnTo>
                    <a:pt x="1462" y="1888"/>
                  </a:lnTo>
                  <a:lnTo>
                    <a:pt x="1458" y="1876"/>
                  </a:lnTo>
                  <a:lnTo>
                    <a:pt x="1456" y="1874"/>
                  </a:lnTo>
                  <a:lnTo>
                    <a:pt x="1446" y="1874"/>
                  </a:lnTo>
                  <a:lnTo>
                    <a:pt x="1436" y="1874"/>
                  </a:lnTo>
                  <a:lnTo>
                    <a:pt x="1426" y="1876"/>
                  </a:lnTo>
                  <a:lnTo>
                    <a:pt x="1416" y="1876"/>
                  </a:lnTo>
                  <a:lnTo>
                    <a:pt x="1416" y="1870"/>
                  </a:lnTo>
                  <a:lnTo>
                    <a:pt x="1416" y="1866"/>
                  </a:lnTo>
                  <a:lnTo>
                    <a:pt x="1414" y="1856"/>
                  </a:lnTo>
                  <a:lnTo>
                    <a:pt x="1414" y="1852"/>
                  </a:lnTo>
                  <a:lnTo>
                    <a:pt x="1412" y="1824"/>
                  </a:lnTo>
                  <a:lnTo>
                    <a:pt x="1412" y="1822"/>
                  </a:lnTo>
                  <a:lnTo>
                    <a:pt x="1414" y="1820"/>
                  </a:lnTo>
                  <a:lnTo>
                    <a:pt x="1416" y="1818"/>
                  </a:lnTo>
                  <a:lnTo>
                    <a:pt x="1418" y="1816"/>
                  </a:lnTo>
                  <a:lnTo>
                    <a:pt x="1418" y="1814"/>
                  </a:lnTo>
                  <a:lnTo>
                    <a:pt x="1420" y="1812"/>
                  </a:lnTo>
                  <a:lnTo>
                    <a:pt x="1420" y="1810"/>
                  </a:lnTo>
                  <a:lnTo>
                    <a:pt x="1420" y="1808"/>
                  </a:lnTo>
                  <a:lnTo>
                    <a:pt x="1420" y="1804"/>
                  </a:lnTo>
                  <a:lnTo>
                    <a:pt x="1420" y="1800"/>
                  </a:lnTo>
                  <a:lnTo>
                    <a:pt x="1420" y="1798"/>
                  </a:lnTo>
                  <a:lnTo>
                    <a:pt x="1418" y="1796"/>
                  </a:lnTo>
                  <a:lnTo>
                    <a:pt x="1416" y="1794"/>
                  </a:lnTo>
                  <a:lnTo>
                    <a:pt x="1414" y="1792"/>
                  </a:lnTo>
                  <a:lnTo>
                    <a:pt x="1408" y="1792"/>
                  </a:lnTo>
                  <a:lnTo>
                    <a:pt x="1406" y="1790"/>
                  </a:lnTo>
                  <a:lnTo>
                    <a:pt x="1404" y="1790"/>
                  </a:lnTo>
                  <a:lnTo>
                    <a:pt x="1402" y="1790"/>
                  </a:lnTo>
                  <a:lnTo>
                    <a:pt x="1400" y="1788"/>
                  </a:lnTo>
                  <a:lnTo>
                    <a:pt x="1398" y="1790"/>
                  </a:lnTo>
                  <a:lnTo>
                    <a:pt x="1396" y="1788"/>
                  </a:lnTo>
                  <a:lnTo>
                    <a:pt x="1392" y="1766"/>
                  </a:lnTo>
                  <a:lnTo>
                    <a:pt x="1386" y="1740"/>
                  </a:lnTo>
                  <a:lnTo>
                    <a:pt x="1388" y="1738"/>
                  </a:lnTo>
                  <a:lnTo>
                    <a:pt x="1388" y="1736"/>
                  </a:lnTo>
                  <a:lnTo>
                    <a:pt x="1390" y="1734"/>
                  </a:lnTo>
                  <a:lnTo>
                    <a:pt x="1392" y="1732"/>
                  </a:lnTo>
                  <a:lnTo>
                    <a:pt x="1392" y="1730"/>
                  </a:lnTo>
                  <a:lnTo>
                    <a:pt x="1394" y="1730"/>
                  </a:lnTo>
                  <a:lnTo>
                    <a:pt x="1396" y="1728"/>
                  </a:lnTo>
                  <a:lnTo>
                    <a:pt x="1398" y="1722"/>
                  </a:lnTo>
                  <a:lnTo>
                    <a:pt x="1400" y="1718"/>
                  </a:lnTo>
                  <a:lnTo>
                    <a:pt x="1400" y="1714"/>
                  </a:lnTo>
                  <a:lnTo>
                    <a:pt x="1400" y="1710"/>
                  </a:lnTo>
                  <a:lnTo>
                    <a:pt x="1398" y="1708"/>
                  </a:lnTo>
                  <a:lnTo>
                    <a:pt x="1396" y="1708"/>
                  </a:lnTo>
                  <a:lnTo>
                    <a:pt x="1394" y="1706"/>
                  </a:lnTo>
                  <a:lnTo>
                    <a:pt x="1392" y="1706"/>
                  </a:lnTo>
                  <a:lnTo>
                    <a:pt x="1390" y="1694"/>
                  </a:lnTo>
                  <a:lnTo>
                    <a:pt x="1392" y="1692"/>
                  </a:lnTo>
                  <a:lnTo>
                    <a:pt x="1394" y="1690"/>
                  </a:lnTo>
                  <a:lnTo>
                    <a:pt x="1394" y="1686"/>
                  </a:lnTo>
                  <a:lnTo>
                    <a:pt x="1394" y="1684"/>
                  </a:lnTo>
                  <a:lnTo>
                    <a:pt x="1392" y="1684"/>
                  </a:lnTo>
                  <a:lnTo>
                    <a:pt x="1394" y="1680"/>
                  </a:lnTo>
                  <a:lnTo>
                    <a:pt x="1396" y="1678"/>
                  </a:lnTo>
                  <a:lnTo>
                    <a:pt x="1396" y="1676"/>
                  </a:lnTo>
                  <a:lnTo>
                    <a:pt x="1396" y="1674"/>
                  </a:lnTo>
                  <a:lnTo>
                    <a:pt x="1398" y="1674"/>
                  </a:lnTo>
                  <a:lnTo>
                    <a:pt x="1400" y="1672"/>
                  </a:lnTo>
                  <a:lnTo>
                    <a:pt x="1410" y="1676"/>
                  </a:lnTo>
                  <a:lnTo>
                    <a:pt x="1424" y="1684"/>
                  </a:lnTo>
                  <a:lnTo>
                    <a:pt x="1430" y="1686"/>
                  </a:lnTo>
                  <a:lnTo>
                    <a:pt x="1440" y="1692"/>
                  </a:lnTo>
                  <a:lnTo>
                    <a:pt x="1442" y="1694"/>
                  </a:lnTo>
                  <a:lnTo>
                    <a:pt x="1444" y="1696"/>
                  </a:lnTo>
                  <a:lnTo>
                    <a:pt x="1444" y="1700"/>
                  </a:lnTo>
                  <a:lnTo>
                    <a:pt x="1448" y="1702"/>
                  </a:lnTo>
                  <a:lnTo>
                    <a:pt x="1456" y="1708"/>
                  </a:lnTo>
                  <a:lnTo>
                    <a:pt x="1464" y="1708"/>
                  </a:lnTo>
                  <a:lnTo>
                    <a:pt x="1470" y="1708"/>
                  </a:lnTo>
                  <a:lnTo>
                    <a:pt x="1470" y="1706"/>
                  </a:lnTo>
                  <a:lnTo>
                    <a:pt x="1470" y="1704"/>
                  </a:lnTo>
                  <a:lnTo>
                    <a:pt x="1474" y="1698"/>
                  </a:lnTo>
                  <a:lnTo>
                    <a:pt x="1476" y="1696"/>
                  </a:lnTo>
                  <a:lnTo>
                    <a:pt x="1478" y="1694"/>
                  </a:lnTo>
                  <a:lnTo>
                    <a:pt x="1480" y="1692"/>
                  </a:lnTo>
                  <a:lnTo>
                    <a:pt x="1482" y="1688"/>
                  </a:lnTo>
                  <a:lnTo>
                    <a:pt x="1484" y="1686"/>
                  </a:lnTo>
                  <a:lnTo>
                    <a:pt x="1484" y="1684"/>
                  </a:lnTo>
                  <a:lnTo>
                    <a:pt x="1486" y="1678"/>
                  </a:lnTo>
                  <a:lnTo>
                    <a:pt x="1480" y="1672"/>
                  </a:lnTo>
                  <a:lnTo>
                    <a:pt x="1474" y="1670"/>
                  </a:lnTo>
                  <a:lnTo>
                    <a:pt x="1466" y="1662"/>
                  </a:lnTo>
                  <a:lnTo>
                    <a:pt x="1464" y="1656"/>
                  </a:lnTo>
                  <a:lnTo>
                    <a:pt x="1462" y="1656"/>
                  </a:lnTo>
                  <a:lnTo>
                    <a:pt x="1458" y="1650"/>
                  </a:lnTo>
                  <a:lnTo>
                    <a:pt x="1454" y="1644"/>
                  </a:lnTo>
                  <a:lnTo>
                    <a:pt x="1452" y="1636"/>
                  </a:lnTo>
                  <a:lnTo>
                    <a:pt x="1452" y="1632"/>
                  </a:lnTo>
                  <a:lnTo>
                    <a:pt x="1458" y="1632"/>
                  </a:lnTo>
                  <a:lnTo>
                    <a:pt x="1458" y="1630"/>
                  </a:lnTo>
                  <a:lnTo>
                    <a:pt x="1464" y="1622"/>
                  </a:lnTo>
                  <a:lnTo>
                    <a:pt x="1464" y="1618"/>
                  </a:lnTo>
                  <a:lnTo>
                    <a:pt x="1466" y="1614"/>
                  </a:lnTo>
                  <a:lnTo>
                    <a:pt x="1466" y="1610"/>
                  </a:lnTo>
                  <a:lnTo>
                    <a:pt x="1466" y="1608"/>
                  </a:lnTo>
                  <a:lnTo>
                    <a:pt x="1468" y="1606"/>
                  </a:lnTo>
                  <a:lnTo>
                    <a:pt x="1470" y="1604"/>
                  </a:lnTo>
                  <a:lnTo>
                    <a:pt x="1474" y="1602"/>
                  </a:lnTo>
                  <a:lnTo>
                    <a:pt x="1474" y="1600"/>
                  </a:lnTo>
                  <a:lnTo>
                    <a:pt x="1478" y="1596"/>
                  </a:lnTo>
                  <a:lnTo>
                    <a:pt x="1478" y="1594"/>
                  </a:lnTo>
                  <a:lnTo>
                    <a:pt x="1478" y="1590"/>
                  </a:lnTo>
                  <a:lnTo>
                    <a:pt x="1474" y="1588"/>
                  </a:lnTo>
                  <a:lnTo>
                    <a:pt x="1472" y="1588"/>
                  </a:lnTo>
                  <a:lnTo>
                    <a:pt x="1470" y="1586"/>
                  </a:lnTo>
                  <a:lnTo>
                    <a:pt x="1470" y="1576"/>
                  </a:lnTo>
                  <a:lnTo>
                    <a:pt x="1470" y="1570"/>
                  </a:lnTo>
                  <a:lnTo>
                    <a:pt x="1474" y="1570"/>
                  </a:lnTo>
                  <a:lnTo>
                    <a:pt x="1476" y="1570"/>
                  </a:lnTo>
                  <a:lnTo>
                    <a:pt x="1488" y="1564"/>
                  </a:lnTo>
                  <a:lnTo>
                    <a:pt x="1488" y="1562"/>
                  </a:lnTo>
                  <a:lnTo>
                    <a:pt x="1488" y="1558"/>
                  </a:lnTo>
                  <a:lnTo>
                    <a:pt x="1490" y="1552"/>
                  </a:lnTo>
                  <a:lnTo>
                    <a:pt x="1490" y="1550"/>
                  </a:lnTo>
                  <a:lnTo>
                    <a:pt x="1494" y="1548"/>
                  </a:lnTo>
                  <a:lnTo>
                    <a:pt x="1496" y="1544"/>
                  </a:lnTo>
                  <a:lnTo>
                    <a:pt x="1500" y="1540"/>
                  </a:lnTo>
                  <a:lnTo>
                    <a:pt x="1502" y="1540"/>
                  </a:lnTo>
                  <a:lnTo>
                    <a:pt x="1504" y="1538"/>
                  </a:lnTo>
                  <a:lnTo>
                    <a:pt x="1508" y="1530"/>
                  </a:lnTo>
                  <a:lnTo>
                    <a:pt x="1506" y="1528"/>
                  </a:lnTo>
                  <a:lnTo>
                    <a:pt x="1504" y="1522"/>
                  </a:lnTo>
                  <a:lnTo>
                    <a:pt x="1508" y="1520"/>
                  </a:lnTo>
                  <a:lnTo>
                    <a:pt x="1510" y="1514"/>
                  </a:lnTo>
                  <a:lnTo>
                    <a:pt x="1510" y="1512"/>
                  </a:lnTo>
                  <a:lnTo>
                    <a:pt x="1508" y="1508"/>
                  </a:lnTo>
                  <a:lnTo>
                    <a:pt x="1506" y="1504"/>
                  </a:lnTo>
                  <a:lnTo>
                    <a:pt x="1506" y="1498"/>
                  </a:lnTo>
                  <a:lnTo>
                    <a:pt x="1512" y="1496"/>
                  </a:lnTo>
                  <a:lnTo>
                    <a:pt x="1512" y="1500"/>
                  </a:lnTo>
                  <a:lnTo>
                    <a:pt x="1512" y="1502"/>
                  </a:lnTo>
                  <a:lnTo>
                    <a:pt x="1514" y="1502"/>
                  </a:lnTo>
                  <a:lnTo>
                    <a:pt x="1518" y="1500"/>
                  </a:lnTo>
                  <a:lnTo>
                    <a:pt x="1518" y="1496"/>
                  </a:lnTo>
                  <a:lnTo>
                    <a:pt x="1516" y="1492"/>
                  </a:lnTo>
                  <a:lnTo>
                    <a:pt x="1514" y="1490"/>
                  </a:lnTo>
                  <a:lnTo>
                    <a:pt x="1512" y="1490"/>
                  </a:lnTo>
                  <a:lnTo>
                    <a:pt x="1510" y="1488"/>
                  </a:lnTo>
                  <a:lnTo>
                    <a:pt x="1510" y="1484"/>
                  </a:lnTo>
                  <a:lnTo>
                    <a:pt x="1510" y="1482"/>
                  </a:lnTo>
                  <a:lnTo>
                    <a:pt x="1512" y="1482"/>
                  </a:lnTo>
                  <a:lnTo>
                    <a:pt x="1514" y="1482"/>
                  </a:lnTo>
                  <a:lnTo>
                    <a:pt x="1516" y="1484"/>
                  </a:lnTo>
                  <a:lnTo>
                    <a:pt x="1518" y="1484"/>
                  </a:lnTo>
                  <a:lnTo>
                    <a:pt x="1522" y="1486"/>
                  </a:lnTo>
                  <a:lnTo>
                    <a:pt x="1534" y="1480"/>
                  </a:lnTo>
                  <a:lnTo>
                    <a:pt x="1536" y="1480"/>
                  </a:lnTo>
                  <a:lnTo>
                    <a:pt x="1538" y="1478"/>
                  </a:lnTo>
                  <a:lnTo>
                    <a:pt x="1546" y="1478"/>
                  </a:lnTo>
                  <a:lnTo>
                    <a:pt x="1548" y="1480"/>
                  </a:lnTo>
                  <a:lnTo>
                    <a:pt x="1548" y="1484"/>
                  </a:lnTo>
                  <a:lnTo>
                    <a:pt x="1544" y="1488"/>
                  </a:lnTo>
                  <a:lnTo>
                    <a:pt x="1544" y="1490"/>
                  </a:lnTo>
                  <a:lnTo>
                    <a:pt x="1548" y="1494"/>
                  </a:lnTo>
                  <a:lnTo>
                    <a:pt x="1556" y="1492"/>
                  </a:lnTo>
                  <a:lnTo>
                    <a:pt x="1560" y="1486"/>
                  </a:lnTo>
                  <a:lnTo>
                    <a:pt x="1566" y="1484"/>
                  </a:lnTo>
                  <a:lnTo>
                    <a:pt x="1568" y="1486"/>
                  </a:lnTo>
                  <a:lnTo>
                    <a:pt x="1570" y="1484"/>
                  </a:lnTo>
                  <a:lnTo>
                    <a:pt x="1572" y="1478"/>
                  </a:lnTo>
                  <a:lnTo>
                    <a:pt x="1570" y="1474"/>
                  </a:lnTo>
                  <a:lnTo>
                    <a:pt x="1568" y="1472"/>
                  </a:lnTo>
                  <a:lnTo>
                    <a:pt x="1568" y="1470"/>
                  </a:lnTo>
                  <a:lnTo>
                    <a:pt x="1568" y="1462"/>
                  </a:lnTo>
                  <a:lnTo>
                    <a:pt x="1570" y="1460"/>
                  </a:lnTo>
                  <a:lnTo>
                    <a:pt x="1572" y="1458"/>
                  </a:lnTo>
                  <a:lnTo>
                    <a:pt x="1576" y="1458"/>
                  </a:lnTo>
                  <a:lnTo>
                    <a:pt x="1580" y="1458"/>
                  </a:lnTo>
                  <a:lnTo>
                    <a:pt x="1580" y="1456"/>
                  </a:lnTo>
                  <a:lnTo>
                    <a:pt x="1582" y="1454"/>
                  </a:lnTo>
                  <a:lnTo>
                    <a:pt x="1580" y="1450"/>
                  </a:lnTo>
                  <a:lnTo>
                    <a:pt x="1586" y="1442"/>
                  </a:lnTo>
                  <a:lnTo>
                    <a:pt x="1588" y="1440"/>
                  </a:lnTo>
                  <a:lnTo>
                    <a:pt x="1590" y="1442"/>
                  </a:lnTo>
                  <a:lnTo>
                    <a:pt x="1602" y="1454"/>
                  </a:lnTo>
                  <a:lnTo>
                    <a:pt x="1606" y="1456"/>
                  </a:lnTo>
                  <a:lnTo>
                    <a:pt x="1606" y="1458"/>
                  </a:lnTo>
                  <a:lnTo>
                    <a:pt x="1608" y="1458"/>
                  </a:lnTo>
                  <a:lnTo>
                    <a:pt x="1610" y="1460"/>
                  </a:lnTo>
                  <a:lnTo>
                    <a:pt x="1612" y="1460"/>
                  </a:lnTo>
                  <a:lnTo>
                    <a:pt x="1616" y="1460"/>
                  </a:lnTo>
                  <a:lnTo>
                    <a:pt x="1618" y="1458"/>
                  </a:lnTo>
                  <a:lnTo>
                    <a:pt x="1620" y="1456"/>
                  </a:lnTo>
                  <a:lnTo>
                    <a:pt x="1622" y="1452"/>
                  </a:lnTo>
                  <a:lnTo>
                    <a:pt x="1626" y="1452"/>
                  </a:lnTo>
                  <a:lnTo>
                    <a:pt x="1630" y="1452"/>
                  </a:lnTo>
                  <a:lnTo>
                    <a:pt x="1634" y="1448"/>
                  </a:lnTo>
                  <a:lnTo>
                    <a:pt x="1636" y="1446"/>
                  </a:lnTo>
                  <a:lnTo>
                    <a:pt x="1640" y="1442"/>
                  </a:lnTo>
                  <a:lnTo>
                    <a:pt x="1644" y="1442"/>
                  </a:lnTo>
                  <a:lnTo>
                    <a:pt x="1648" y="1438"/>
                  </a:lnTo>
                  <a:lnTo>
                    <a:pt x="1650" y="1438"/>
                  </a:lnTo>
                  <a:lnTo>
                    <a:pt x="1650" y="1436"/>
                  </a:lnTo>
                  <a:lnTo>
                    <a:pt x="1654" y="1434"/>
                  </a:lnTo>
                  <a:lnTo>
                    <a:pt x="1670" y="1438"/>
                  </a:lnTo>
                  <a:lnTo>
                    <a:pt x="1670" y="1442"/>
                  </a:lnTo>
                  <a:lnTo>
                    <a:pt x="1672" y="1446"/>
                  </a:lnTo>
                  <a:lnTo>
                    <a:pt x="1680" y="1450"/>
                  </a:lnTo>
                  <a:lnTo>
                    <a:pt x="1684" y="1448"/>
                  </a:lnTo>
                  <a:lnTo>
                    <a:pt x="1692" y="1446"/>
                  </a:lnTo>
                  <a:lnTo>
                    <a:pt x="1694" y="1444"/>
                  </a:lnTo>
                  <a:lnTo>
                    <a:pt x="1708" y="1446"/>
                  </a:lnTo>
                  <a:lnTo>
                    <a:pt x="1710" y="1448"/>
                  </a:lnTo>
                  <a:lnTo>
                    <a:pt x="1714" y="1454"/>
                  </a:lnTo>
                  <a:lnTo>
                    <a:pt x="1718" y="1456"/>
                  </a:lnTo>
                  <a:lnTo>
                    <a:pt x="1726" y="1458"/>
                  </a:lnTo>
                  <a:lnTo>
                    <a:pt x="1730" y="1458"/>
                  </a:lnTo>
                  <a:lnTo>
                    <a:pt x="1732" y="1456"/>
                  </a:lnTo>
                  <a:lnTo>
                    <a:pt x="1738" y="1456"/>
                  </a:lnTo>
                  <a:lnTo>
                    <a:pt x="1740" y="1458"/>
                  </a:lnTo>
                  <a:lnTo>
                    <a:pt x="1740" y="1462"/>
                  </a:lnTo>
                  <a:lnTo>
                    <a:pt x="1740" y="1466"/>
                  </a:lnTo>
                  <a:lnTo>
                    <a:pt x="1744" y="1480"/>
                  </a:lnTo>
                  <a:lnTo>
                    <a:pt x="1746" y="1480"/>
                  </a:lnTo>
                  <a:lnTo>
                    <a:pt x="1746" y="1482"/>
                  </a:lnTo>
                  <a:lnTo>
                    <a:pt x="1750" y="1484"/>
                  </a:lnTo>
                  <a:lnTo>
                    <a:pt x="1754" y="1484"/>
                  </a:lnTo>
                  <a:lnTo>
                    <a:pt x="1758" y="1480"/>
                  </a:lnTo>
                  <a:lnTo>
                    <a:pt x="1760" y="1474"/>
                  </a:lnTo>
                  <a:lnTo>
                    <a:pt x="1760" y="1472"/>
                  </a:lnTo>
                  <a:lnTo>
                    <a:pt x="1758" y="1468"/>
                  </a:lnTo>
                  <a:lnTo>
                    <a:pt x="1754" y="1466"/>
                  </a:lnTo>
                  <a:lnTo>
                    <a:pt x="1752" y="1462"/>
                  </a:lnTo>
                  <a:lnTo>
                    <a:pt x="1750" y="1458"/>
                  </a:lnTo>
                  <a:lnTo>
                    <a:pt x="1746" y="1450"/>
                  </a:lnTo>
                  <a:lnTo>
                    <a:pt x="1742" y="1450"/>
                  </a:lnTo>
                  <a:lnTo>
                    <a:pt x="1740" y="1450"/>
                  </a:lnTo>
                  <a:lnTo>
                    <a:pt x="1738" y="1450"/>
                  </a:lnTo>
                  <a:lnTo>
                    <a:pt x="1734" y="1442"/>
                  </a:lnTo>
                  <a:lnTo>
                    <a:pt x="1738" y="1438"/>
                  </a:lnTo>
                  <a:lnTo>
                    <a:pt x="1742" y="1436"/>
                  </a:lnTo>
                  <a:lnTo>
                    <a:pt x="1750" y="1438"/>
                  </a:lnTo>
                  <a:lnTo>
                    <a:pt x="1760" y="1438"/>
                  </a:lnTo>
                  <a:lnTo>
                    <a:pt x="1768" y="1442"/>
                  </a:lnTo>
                  <a:lnTo>
                    <a:pt x="1770" y="1442"/>
                  </a:lnTo>
                  <a:lnTo>
                    <a:pt x="1786" y="1448"/>
                  </a:lnTo>
                  <a:lnTo>
                    <a:pt x="1792" y="1448"/>
                  </a:lnTo>
                  <a:lnTo>
                    <a:pt x="1794" y="1446"/>
                  </a:lnTo>
                  <a:lnTo>
                    <a:pt x="1794" y="1444"/>
                  </a:lnTo>
                  <a:lnTo>
                    <a:pt x="1798" y="1444"/>
                  </a:lnTo>
                  <a:lnTo>
                    <a:pt x="1800" y="1444"/>
                  </a:lnTo>
                  <a:lnTo>
                    <a:pt x="1802" y="1446"/>
                  </a:lnTo>
                  <a:lnTo>
                    <a:pt x="1812" y="1448"/>
                  </a:lnTo>
                  <a:lnTo>
                    <a:pt x="1814" y="1448"/>
                  </a:lnTo>
                  <a:lnTo>
                    <a:pt x="1814" y="1442"/>
                  </a:lnTo>
                  <a:lnTo>
                    <a:pt x="1816" y="1442"/>
                  </a:lnTo>
                  <a:lnTo>
                    <a:pt x="1816" y="1438"/>
                  </a:lnTo>
                  <a:lnTo>
                    <a:pt x="1818" y="1436"/>
                  </a:lnTo>
                  <a:lnTo>
                    <a:pt x="1820" y="1434"/>
                  </a:lnTo>
                  <a:lnTo>
                    <a:pt x="1820" y="1432"/>
                  </a:lnTo>
                  <a:lnTo>
                    <a:pt x="1822" y="1428"/>
                  </a:lnTo>
                  <a:lnTo>
                    <a:pt x="1824" y="1426"/>
                  </a:lnTo>
                  <a:lnTo>
                    <a:pt x="1824" y="1418"/>
                  </a:lnTo>
                  <a:lnTo>
                    <a:pt x="1824" y="1416"/>
                  </a:lnTo>
                  <a:lnTo>
                    <a:pt x="1822" y="1412"/>
                  </a:lnTo>
                  <a:lnTo>
                    <a:pt x="1820" y="1404"/>
                  </a:lnTo>
                  <a:lnTo>
                    <a:pt x="1820" y="1402"/>
                  </a:lnTo>
                  <a:lnTo>
                    <a:pt x="1822" y="1402"/>
                  </a:lnTo>
                  <a:lnTo>
                    <a:pt x="1824" y="1400"/>
                  </a:lnTo>
                  <a:lnTo>
                    <a:pt x="1828" y="1400"/>
                  </a:lnTo>
                  <a:lnTo>
                    <a:pt x="1828" y="1398"/>
                  </a:lnTo>
                  <a:lnTo>
                    <a:pt x="1830" y="1388"/>
                  </a:lnTo>
                  <a:lnTo>
                    <a:pt x="1828" y="1386"/>
                  </a:lnTo>
                  <a:lnTo>
                    <a:pt x="1826" y="1384"/>
                  </a:lnTo>
                  <a:lnTo>
                    <a:pt x="1826" y="1380"/>
                  </a:lnTo>
                  <a:lnTo>
                    <a:pt x="1828" y="1380"/>
                  </a:lnTo>
                  <a:lnTo>
                    <a:pt x="1828" y="1378"/>
                  </a:lnTo>
                  <a:lnTo>
                    <a:pt x="1832" y="1380"/>
                  </a:lnTo>
                  <a:lnTo>
                    <a:pt x="1834" y="1382"/>
                  </a:lnTo>
                  <a:lnTo>
                    <a:pt x="1838" y="1384"/>
                  </a:lnTo>
                  <a:lnTo>
                    <a:pt x="1842" y="1380"/>
                  </a:lnTo>
                  <a:lnTo>
                    <a:pt x="1840" y="1378"/>
                  </a:lnTo>
                  <a:lnTo>
                    <a:pt x="1838" y="1376"/>
                  </a:lnTo>
                  <a:lnTo>
                    <a:pt x="1838" y="1374"/>
                  </a:lnTo>
                  <a:lnTo>
                    <a:pt x="1840" y="1372"/>
                  </a:lnTo>
                  <a:lnTo>
                    <a:pt x="1840" y="1370"/>
                  </a:lnTo>
                  <a:lnTo>
                    <a:pt x="1842" y="1370"/>
                  </a:lnTo>
                  <a:lnTo>
                    <a:pt x="1844" y="1370"/>
                  </a:lnTo>
                  <a:lnTo>
                    <a:pt x="1846" y="1370"/>
                  </a:lnTo>
                  <a:lnTo>
                    <a:pt x="1854" y="1364"/>
                  </a:lnTo>
                  <a:lnTo>
                    <a:pt x="1856" y="1362"/>
                  </a:lnTo>
                  <a:lnTo>
                    <a:pt x="1856" y="1360"/>
                  </a:lnTo>
                  <a:lnTo>
                    <a:pt x="1862" y="1360"/>
                  </a:lnTo>
                  <a:lnTo>
                    <a:pt x="1868" y="1360"/>
                  </a:lnTo>
                  <a:lnTo>
                    <a:pt x="1876" y="1366"/>
                  </a:lnTo>
                  <a:lnTo>
                    <a:pt x="1878" y="1368"/>
                  </a:lnTo>
                  <a:lnTo>
                    <a:pt x="1880" y="1368"/>
                  </a:lnTo>
                  <a:lnTo>
                    <a:pt x="1882" y="1368"/>
                  </a:lnTo>
                  <a:lnTo>
                    <a:pt x="1886" y="1368"/>
                  </a:lnTo>
                  <a:lnTo>
                    <a:pt x="1886" y="1364"/>
                  </a:lnTo>
                  <a:lnTo>
                    <a:pt x="1886" y="1362"/>
                  </a:lnTo>
                  <a:lnTo>
                    <a:pt x="1886" y="1360"/>
                  </a:lnTo>
                  <a:lnTo>
                    <a:pt x="1890" y="1358"/>
                  </a:lnTo>
                  <a:lnTo>
                    <a:pt x="1890" y="1356"/>
                  </a:lnTo>
                  <a:lnTo>
                    <a:pt x="1894" y="1356"/>
                  </a:lnTo>
                  <a:lnTo>
                    <a:pt x="1896" y="1356"/>
                  </a:lnTo>
                  <a:lnTo>
                    <a:pt x="1896" y="1352"/>
                  </a:lnTo>
                  <a:lnTo>
                    <a:pt x="1894" y="1350"/>
                  </a:lnTo>
                  <a:lnTo>
                    <a:pt x="1894" y="1348"/>
                  </a:lnTo>
                  <a:lnTo>
                    <a:pt x="1890" y="1346"/>
                  </a:lnTo>
                  <a:lnTo>
                    <a:pt x="1890" y="1344"/>
                  </a:lnTo>
                  <a:lnTo>
                    <a:pt x="1888" y="1340"/>
                  </a:lnTo>
                  <a:lnTo>
                    <a:pt x="1888" y="1336"/>
                  </a:lnTo>
                  <a:lnTo>
                    <a:pt x="1892" y="1336"/>
                  </a:lnTo>
                  <a:lnTo>
                    <a:pt x="1908" y="1330"/>
                  </a:lnTo>
                  <a:lnTo>
                    <a:pt x="1910" y="1330"/>
                  </a:lnTo>
                  <a:lnTo>
                    <a:pt x="1910" y="1326"/>
                  </a:lnTo>
                  <a:lnTo>
                    <a:pt x="1908" y="1322"/>
                  </a:lnTo>
                  <a:lnTo>
                    <a:pt x="1912" y="1318"/>
                  </a:lnTo>
                  <a:lnTo>
                    <a:pt x="1912" y="1316"/>
                  </a:lnTo>
                  <a:lnTo>
                    <a:pt x="1916" y="1318"/>
                  </a:lnTo>
                  <a:lnTo>
                    <a:pt x="1928" y="1316"/>
                  </a:lnTo>
                  <a:lnTo>
                    <a:pt x="1930" y="1316"/>
                  </a:lnTo>
                  <a:lnTo>
                    <a:pt x="1932" y="1318"/>
                  </a:lnTo>
                  <a:lnTo>
                    <a:pt x="1934" y="1320"/>
                  </a:lnTo>
                  <a:lnTo>
                    <a:pt x="1936" y="1324"/>
                  </a:lnTo>
                  <a:lnTo>
                    <a:pt x="1936" y="1328"/>
                  </a:lnTo>
                  <a:lnTo>
                    <a:pt x="1940" y="1330"/>
                  </a:lnTo>
                  <a:lnTo>
                    <a:pt x="1946" y="1334"/>
                  </a:lnTo>
                  <a:lnTo>
                    <a:pt x="1964" y="1334"/>
                  </a:lnTo>
                  <a:lnTo>
                    <a:pt x="1966" y="1334"/>
                  </a:lnTo>
                  <a:lnTo>
                    <a:pt x="1974" y="1330"/>
                  </a:lnTo>
                  <a:lnTo>
                    <a:pt x="1980" y="1328"/>
                  </a:lnTo>
                  <a:lnTo>
                    <a:pt x="1982" y="1326"/>
                  </a:lnTo>
                  <a:lnTo>
                    <a:pt x="1988" y="1326"/>
                  </a:lnTo>
                  <a:lnTo>
                    <a:pt x="1994" y="1322"/>
                  </a:lnTo>
                  <a:lnTo>
                    <a:pt x="1996" y="1322"/>
                  </a:lnTo>
                  <a:lnTo>
                    <a:pt x="2002" y="1322"/>
                  </a:lnTo>
                  <a:lnTo>
                    <a:pt x="2004" y="1324"/>
                  </a:lnTo>
                  <a:lnTo>
                    <a:pt x="2002" y="1326"/>
                  </a:lnTo>
                  <a:lnTo>
                    <a:pt x="2000" y="1326"/>
                  </a:lnTo>
                  <a:lnTo>
                    <a:pt x="2000" y="1330"/>
                  </a:lnTo>
                  <a:lnTo>
                    <a:pt x="2004" y="1332"/>
                  </a:lnTo>
                  <a:lnTo>
                    <a:pt x="2006" y="1332"/>
                  </a:lnTo>
                  <a:lnTo>
                    <a:pt x="2008" y="1328"/>
                  </a:lnTo>
                  <a:lnTo>
                    <a:pt x="2008" y="1326"/>
                  </a:lnTo>
                  <a:lnTo>
                    <a:pt x="2008" y="1324"/>
                  </a:lnTo>
                  <a:lnTo>
                    <a:pt x="2010" y="1322"/>
                  </a:lnTo>
                  <a:lnTo>
                    <a:pt x="2012" y="1322"/>
                  </a:lnTo>
                  <a:lnTo>
                    <a:pt x="2014" y="1320"/>
                  </a:lnTo>
                  <a:lnTo>
                    <a:pt x="2016" y="1318"/>
                  </a:lnTo>
                  <a:lnTo>
                    <a:pt x="2014" y="1306"/>
                  </a:lnTo>
                  <a:lnTo>
                    <a:pt x="2012" y="1300"/>
                  </a:lnTo>
                  <a:lnTo>
                    <a:pt x="2010" y="1298"/>
                  </a:lnTo>
                  <a:lnTo>
                    <a:pt x="2010" y="1294"/>
                  </a:lnTo>
                  <a:lnTo>
                    <a:pt x="2008" y="1290"/>
                  </a:lnTo>
                  <a:lnTo>
                    <a:pt x="2008" y="1288"/>
                  </a:lnTo>
                  <a:lnTo>
                    <a:pt x="2008" y="1286"/>
                  </a:lnTo>
                  <a:lnTo>
                    <a:pt x="2010" y="1284"/>
                  </a:lnTo>
                  <a:lnTo>
                    <a:pt x="2012" y="1282"/>
                  </a:lnTo>
                  <a:lnTo>
                    <a:pt x="2016" y="1282"/>
                  </a:lnTo>
                  <a:lnTo>
                    <a:pt x="2020" y="1286"/>
                  </a:lnTo>
                  <a:lnTo>
                    <a:pt x="2022" y="1288"/>
                  </a:lnTo>
                  <a:lnTo>
                    <a:pt x="2026" y="1290"/>
                  </a:lnTo>
                  <a:lnTo>
                    <a:pt x="2030" y="1290"/>
                  </a:lnTo>
                  <a:lnTo>
                    <a:pt x="2030" y="1200"/>
                  </a:lnTo>
                  <a:lnTo>
                    <a:pt x="2022" y="1204"/>
                  </a:lnTo>
                  <a:lnTo>
                    <a:pt x="2018" y="1204"/>
                  </a:lnTo>
                  <a:lnTo>
                    <a:pt x="2014" y="1200"/>
                  </a:lnTo>
                  <a:lnTo>
                    <a:pt x="2012" y="1196"/>
                  </a:lnTo>
                  <a:lnTo>
                    <a:pt x="2012" y="1194"/>
                  </a:lnTo>
                  <a:lnTo>
                    <a:pt x="2010" y="1196"/>
                  </a:lnTo>
                  <a:lnTo>
                    <a:pt x="2006" y="1198"/>
                  </a:lnTo>
                  <a:lnTo>
                    <a:pt x="1992" y="1208"/>
                  </a:lnTo>
                  <a:lnTo>
                    <a:pt x="1980" y="1208"/>
                  </a:lnTo>
                  <a:lnTo>
                    <a:pt x="1980" y="1206"/>
                  </a:lnTo>
                  <a:lnTo>
                    <a:pt x="1982" y="1202"/>
                  </a:lnTo>
                  <a:lnTo>
                    <a:pt x="1980" y="1196"/>
                  </a:lnTo>
                  <a:lnTo>
                    <a:pt x="1980" y="1194"/>
                  </a:lnTo>
                  <a:lnTo>
                    <a:pt x="1978" y="1194"/>
                  </a:lnTo>
                  <a:lnTo>
                    <a:pt x="1964" y="1198"/>
                  </a:lnTo>
                  <a:lnTo>
                    <a:pt x="1960" y="1202"/>
                  </a:lnTo>
                  <a:lnTo>
                    <a:pt x="1960" y="1204"/>
                  </a:lnTo>
                  <a:lnTo>
                    <a:pt x="1958" y="1204"/>
                  </a:lnTo>
                  <a:lnTo>
                    <a:pt x="1956" y="1204"/>
                  </a:lnTo>
                  <a:lnTo>
                    <a:pt x="1948" y="1200"/>
                  </a:lnTo>
                  <a:lnTo>
                    <a:pt x="1948" y="1196"/>
                  </a:lnTo>
                  <a:lnTo>
                    <a:pt x="1946" y="1194"/>
                  </a:lnTo>
                  <a:lnTo>
                    <a:pt x="1956" y="1188"/>
                  </a:lnTo>
                  <a:lnTo>
                    <a:pt x="1960" y="1174"/>
                  </a:lnTo>
                  <a:lnTo>
                    <a:pt x="1960" y="1170"/>
                  </a:lnTo>
                  <a:lnTo>
                    <a:pt x="1960" y="1168"/>
                  </a:lnTo>
                  <a:lnTo>
                    <a:pt x="1962" y="1166"/>
                  </a:lnTo>
                  <a:lnTo>
                    <a:pt x="1966" y="1164"/>
                  </a:lnTo>
                  <a:lnTo>
                    <a:pt x="1968" y="1162"/>
                  </a:lnTo>
                  <a:lnTo>
                    <a:pt x="1970" y="1162"/>
                  </a:lnTo>
                  <a:lnTo>
                    <a:pt x="1972" y="1160"/>
                  </a:lnTo>
                  <a:lnTo>
                    <a:pt x="1972" y="1158"/>
                  </a:lnTo>
                  <a:lnTo>
                    <a:pt x="1970" y="1154"/>
                  </a:lnTo>
                  <a:lnTo>
                    <a:pt x="1972" y="1150"/>
                  </a:lnTo>
                  <a:lnTo>
                    <a:pt x="1974" y="1146"/>
                  </a:lnTo>
                  <a:lnTo>
                    <a:pt x="1974" y="1144"/>
                  </a:lnTo>
                  <a:lnTo>
                    <a:pt x="1976" y="1134"/>
                  </a:lnTo>
                  <a:lnTo>
                    <a:pt x="1968" y="1132"/>
                  </a:lnTo>
                  <a:lnTo>
                    <a:pt x="1964" y="1124"/>
                  </a:lnTo>
                  <a:lnTo>
                    <a:pt x="1956" y="1126"/>
                  </a:lnTo>
                  <a:lnTo>
                    <a:pt x="1952" y="1120"/>
                  </a:lnTo>
                  <a:lnTo>
                    <a:pt x="1950" y="1118"/>
                  </a:lnTo>
                  <a:lnTo>
                    <a:pt x="1946" y="1120"/>
                  </a:lnTo>
                  <a:lnTo>
                    <a:pt x="1942" y="1120"/>
                  </a:lnTo>
                  <a:lnTo>
                    <a:pt x="1940" y="1116"/>
                  </a:lnTo>
                  <a:lnTo>
                    <a:pt x="1938" y="1116"/>
                  </a:lnTo>
                  <a:lnTo>
                    <a:pt x="1938" y="1112"/>
                  </a:lnTo>
                  <a:lnTo>
                    <a:pt x="1942" y="1102"/>
                  </a:lnTo>
                  <a:lnTo>
                    <a:pt x="1944" y="1092"/>
                  </a:lnTo>
                  <a:lnTo>
                    <a:pt x="1944" y="1088"/>
                  </a:lnTo>
                  <a:lnTo>
                    <a:pt x="1942" y="1082"/>
                  </a:lnTo>
                  <a:lnTo>
                    <a:pt x="1944" y="1078"/>
                  </a:lnTo>
                  <a:lnTo>
                    <a:pt x="1944" y="1076"/>
                  </a:lnTo>
                  <a:lnTo>
                    <a:pt x="1946" y="1076"/>
                  </a:lnTo>
                  <a:lnTo>
                    <a:pt x="1948" y="1076"/>
                  </a:lnTo>
                  <a:lnTo>
                    <a:pt x="1950" y="1076"/>
                  </a:lnTo>
                  <a:lnTo>
                    <a:pt x="1954" y="1074"/>
                  </a:lnTo>
                  <a:lnTo>
                    <a:pt x="1954" y="1072"/>
                  </a:lnTo>
                  <a:lnTo>
                    <a:pt x="1956" y="1072"/>
                  </a:lnTo>
                  <a:lnTo>
                    <a:pt x="1956" y="1068"/>
                  </a:lnTo>
                  <a:lnTo>
                    <a:pt x="1958" y="1066"/>
                  </a:lnTo>
                  <a:lnTo>
                    <a:pt x="1968" y="1064"/>
                  </a:lnTo>
                  <a:lnTo>
                    <a:pt x="1976" y="1058"/>
                  </a:lnTo>
                  <a:lnTo>
                    <a:pt x="1980" y="1058"/>
                  </a:lnTo>
                  <a:lnTo>
                    <a:pt x="1984" y="1058"/>
                  </a:lnTo>
                  <a:lnTo>
                    <a:pt x="1988" y="1050"/>
                  </a:lnTo>
                  <a:lnTo>
                    <a:pt x="1986" y="1048"/>
                  </a:lnTo>
                  <a:lnTo>
                    <a:pt x="1984" y="1044"/>
                  </a:lnTo>
                  <a:lnTo>
                    <a:pt x="1984" y="1042"/>
                  </a:lnTo>
                  <a:lnTo>
                    <a:pt x="1980" y="1038"/>
                  </a:lnTo>
                  <a:lnTo>
                    <a:pt x="1978" y="1038"/>
                  </a:lnTo>
                  <a:lnTo>
                    <a:pt x="1976" y="1040"/>
                  </a:lnTo>
                  <a:lnTo>
                    <a:pt x="1974" y="1040"/>
                  </a:lnTo>
                  <a:lnTo>
                    <a:pt x="1966" y="1044"/>
                  </a:lnTo>
                  <a:lnTo>
                    <a:pt x="1964" y="1044"/>
                  </a:lnTo>
                  <a:lnTo>
                    <a:pt x="1962" y="1044"/>
                  </a:lnTo>
                  <a:lnTo>
                    <a:pt x="1960" y="1044"/>
                  </a:lnTo>
                  <a:lnTo>
                    <a:pt x="1958" y="1044"/>
                  </a:lnTo>
                  <a:lnTo>
                    <a:pt x="1952" y="1046"/>
                  </a:lnTo>
                  <a:lnTo>
                    <a:pt x="1950" y="1048"/>
                  </a:lnTo>
                  <a:lnTo>
                    <a:pt x="1950" y="1050"/>
                  </a:lnTo>
                  <a:lnTo>
                    <a:pt x="1948" y="1050"/>
                  </a:lnTo>
                  <a:lnTo>
                    <a:pt x="1946" y="1050"/>
                  </a:lnTo>
                  <a:lnTo>
                    <a:pt x="1944" y="1050"/>
                  </a:lnTo>
                  <a:lnTo>
                    <a:pt x="1942" y="1050"/>
                  </a:lnTo>
                  <a:lnTo>
                    <a:pt x="1940" y="1050"/>
                  </a:lnTo>
                  <a:lnTo>
                    <a:pt x="1938" y="1050"/>
                  </a:lnTo>
                  <a:lnTo>
                    <a:pt x="1936" y="1050"/>
                  </a:lnTo>
                  <a:lnTo>
                    <a:pt x="1936" y="1052"/>
                  </a:lnTo>
                  <a:lnTo>
                    <a:pt x="1934" y="1054"/>
                  </a:lnTo>
                  <a:lnTo>
                    <a:pt x="1932" y="1056"/>
                  </a:lnTo>
                  <a:lnTo>
                    <a:pt x="1930" y="1056"/>
                  </a:lnTo>
                  <a:lnTo>
                    <a:pt x="1928" y="1054"/>
                  </a:lnTo>
                  <a:lnTo>
                    <a:pt x="1926" y="1054"/>
                  </a:lnTo>
                  <a:lnTo>
                    <a:pt x="1922" y="1050"/>
                  </a:lnTo>
                  <a:lnTo>
                    <a:pt x="1920" y="1036"/>
                  </a:lnTo>
                  <a:lnTo>
                    <a:pt x="1922" y="1036"/>
                  </a:lnTo>
                  <a:lnTo>
                    <a:pt x="1922" y="1034"/>
                  </a:lnTo>
                  <a:lnTo>
                    <a:pt x="1926" y="1036"/>
                  </a:lnTo>
                  <a:lnTo>
                    <a:pt x="1928" y="1036"/>
                  </a:lnTo>
                  <a:lnTo>
                    <a:pt x="1930" y="1036"/>
                  </a:lnTo>
                  <a:lnTo>
                    <a:pt x="1930" y="1034"/>
                  </a:lnTo>
                  <a:lnTo>
                    <a:pt x="1934" y="1026"/>
                  </a:lnTo>
                  <a:lnTo>
                    <a:pt x="1928" y="1020"/>
                  </a:lnTo>
                  <a:lnTo>
                    <a:pt x="1924" y="1022"/>
                  </a:lnTo>
                  <a:lnTo>
                    <a:pt x="1922" y="1024"/>
                  </a:lnTo>
                  <a:lnTo>
                    <a:pt x="1922" y="1026"/>
                  </a:lnTo>
                  <a:lnTo>
                    <a:pt x="1920" y="1028"/>
                  </a:lnTo>
                  <a:lnTo>
                    <a:pt x="1920" y="1030"/>
                  </a:lnTo>
                  <a:lnTo>
                    <a:pt x="1918" y="1030"/>
                  </a:lnTo>
                  <a:lnTo>
                    <a:pt x="1916" y="1032"/>
                  </a:lnTo>
                  <a:lnTo>
                    <a:pt x="1914" y="1034"/>
                  </a:lnTo>
                  <a:lnTo>
                    <a:pt x="1906" y="1034"/>
                  </a:lnTo>
                  <a:lnTo>
                    <a:pt x="1904" y="1034"/>
                  </a:lnTo>
                  <a:lnTo>
                    <a:pt x="1900" y="1038"/>
                  </a:lnTo>
                  <a:lnTo>
                    <a:pt x="1898" y="1038"/>
                  </a:lnTo>
                  <a:lnTo>
                    <a:pt x="1896" y="1036"/>
                  </a:lnTo>
                  <a:lnTo>
                    <a:pt x="1898" y="1034"/>
                  </a:lnTo>
                  <a:lnTo>
                    <a:pt x="1900" y="1034"/>
                  </a:lnTo>
                  <a:lnTo>
                    <a:pt x="1902" y="1034"/>
                  </a:lnTo>
                  <a:lnTo>
                    <a:pt x="1902" y="1032"/>
                  </a:lnTo>
                  <a:lnTo>
                    <a:pt x="1902" y="1014"/>
                  </a:lnTo>
                  <a:lnTo>
                    <a:pt x="1900" y="1012"/>
                  </a:lnTo>
                  <a:lnTo>
                    <a:pt x="1894" y="1012"/>
                  </a:lnTo>
                  <a:lnTo>
                    <a:pt x="1892" y="1012"/>
                  </a:lnTo>
                  <a:lnTo>
                    <a:pt x="1890" y="1014"/>
                  </a:lnTo>
                  <a:lnTo>
                    <a:pt x="1886" y="1014"/>
                  </a:lnTo>
                  <a:lnTo>
                    <a:pt x="1886" y="1012"/>
                  </a:lnTo>
                  <a:lnTo>
                    <a:pt x="1884" y="1010"/>
                  </a:lnTo>
                  <a:lnTo>
                    <a:pt x="1886" y="1008"/>
                  </a:lnTo>
                  <a:lnTo>
                    <a:pt x="1886" y="1006"/>
                  </a:lnTo>
                  <a:lnTo>
                    <a:pt x="1888" y="1006"/>
                  </a:lnTo>
                  <a:lnTo>
                    <a:pt x="1890" y="998"/>
                  </a:lnTo>
                  <a:lnTo>
                    <a:pt x="1890" y="990"/>
                  </a:lnTo>
                  <a:lnTo>
                    <a:pt x="1896" y="988"/>
                  </a:lnTo>
                  <a:lnTo>
                    <a:pt x="1898" y="986"/>
                  </a:lnTo>
                  <a:lnTo>
                    <a:pt x="1902" y="990"/>
                  </a:lnTo>
                  <a:lnTo>
                    <a:pt x="1906" y="988"/>
                  </a:lnTo>
                  <a:lnTo>
                    <a:pt x="1908" y="986"/>
                  </a:lnTo>
                  <a:lnTo>
                    <a:pt x="1914" y="980"/>
                  </a:lnTo>
                  <a:lnTo>
                    <a:pt x="1920" y="982"/>
                  </a:lnTo>
                  <a:lnTo>
                    <a:pt x="1928" y="978"/>
                  </a:lnTo>
                  <a:lnTo>
                    <a:pt x="1926" y="974"/>
                  </a:lnTo>
                  <a:lnTo>
                    <a:pt x="1924" y="972"/>
                  </a:lnTo>
                  <a:lnTo>
                    <a:pt x="1926" y="970"/>
                  </a:lnTo>
                  <a:lnTo>
                    <a:pt x="1926" y="968"/>
                  </a:lnTo>
                  <a:lnTo>
                    <a:pt x="1938" y="960"/>
                  </a:lnTo>
                  <a:lnTo>
                    <a:pt x="1944" y="964"/>
                  </a:lnTo>
                  <a:lnTo>
                    <a:pt x="1946" y="964"/>
                  </a:lnTo>
                  <a:lnTo>
                    <a:pt x="1954" y="966"/>
                  </a:lnTo>
                  <a:lnTo>
                    <a:pt x="1956" y="964"/>
                  </a:lnTo>
                  <a:lnTo>
                    <a:pt x="1952" y="960"/>
                  </a:lnTo>
                  <a:lnTo>
                    <a:pt x="1946" y="952"/>
                  </a:lnTo>
                  <a:lnTo>
                    <a:pt x="1948" y="948"/>
                  </a:lnTo>
                  <a:lnTo>
                    <a:pt x="1948" y="946"/>
                  </a:lnTo>
                  <a:lnTo>
                    <a:pt x="1950" y="944"/>
                  </a:lnTo>
                  <a:lnTo>
                    <a:pt x="1958" y="938"/>
                  </a:lnTo>
                  <a:lnTo>
                    <a:pt x="1960" y="938"/>
                  </a:lnTo>
                  <a:lnTo>
                    <a:pt x="1966" y="930"/>
                  </a:lnTo>
                  <a:lnTo>
                    <a:pt x="1966" y="928"/>
                  </a:lnTo>
                  <a:lnTo>
                    <a:pt x="1966" y="926"/>
                  </a:lnTo>
                  <a:lnTo>
                    <a:pt x="1964" y="924"/>
                  </a:lnTo>
                  <a:lnTo>
                    <a:pt x="1964" y="922"/>
                  </a:lnTo>
                  <a:lnTo>
                    <a:pt x="1964" y="920"/>
                  </a:lnTo>
                  <a:lnTo>
                    <a:pt x="1966" y="920"/>
                  </a:lnTo>
                  <a:lnTo>
                    <a:pt x="1970" y="916"/>
                  </a:lnTo>
                  <a:lnTo>
                    <a:pt x="1972" y="916"/>
                  </a:lnTo>
                  <a:lnTo>
                    <a:pt x="1974" y="916"/>
                  </a:lnTo>
                  <a:lnTo>
                    <a:pt x="1974" y="914"/>
                  </a:lnTo>
                  <a:lnTo>
                    <a:pt x="1978" y="908"/>
                  </a:lnTo>
                  <a:lnTo>
                    <a:pt x="1982" y="900"/>
                  </a:lnTo>
                  <a:lnTo>
                    <a:pt x="1982" y="898"/>
                  </a:lnTo>
                  <a:lnTo>
                    <a:pt x="1984" y="896"/>
                  </a:lnTo>
                  <a:lnTo>
                    <a:pt x="1988" y="896"/>
                  </a:lnTo>
                  <a:lnTo>
                    <a:pt x="1992" y="896"/>
                  </a:lnTo>
                  <a:lnTo>
                    <a:pt x="1996" y="892"/>
                  </a:lnTo>
                  <a:lnTo>
                    <a:pt x="1996" y="888"/>
                  </a:lnTo>
                  <a:lnTo>
                    <a:pt x="1992" y="888"/>
                  </a:lnTo>
                  <a:lnTo>
                    <a:pt x="1992" y="886"/>
                  </a:lnTo>
                  <a:lnTo>
                    <a:pt x="1990" y="884"/>
                  </a:lnTo>
                  <a:lnTo>
                    <a:pt x="1994" y="880"/>
                  </a:lnTo>
                  <a:lnTo>
                    <a:pt x="2000" y="874"/>
                  </a:lnTo>
                  <a:close/>
                </a:path>
              </a:pathLst>
            </a:custGeom>
            <a:grpFill/>
            <a:ln w="3175" cmpd="sng">
              <a:solidFill>
                <a:schemeClr val="bg1"/>
              </a:solidFill>
              <a:round/>
              <a:headEnd/>
              <a:tailEnd/>
            </a:ln>
          </p:spPr>
          <p:txBody>
            <a:bodyPr>
              <a:prstTxWarp prst="textNoShape">
                <a:avLst/>
              </a:prstTxWarp>
            </a:bodyPr>
            <a:lstStyle/>
            <a:p>
              <a:endParaRPr lang="en-GB">
                <a:solidFill>
                  <a:srgbClr val="000000"/>
                </a:solidFill>
              </a:endParaRPr>
            </a:p>
          </p:txBody>
        </p:sp>
      </p:grpSp>
      <p:sp>
        <p:nvSpPr>
          <p:cNvPr id="321" name="Freeform 2817"/>
          <p:cNvSpPr>
            <a:spLocks/>
          </p:cNvSpPr>
          <p:nvPr/>
        </p:nvSpPr>
        <p:spPr bwMode="auto">
          <a:xfrm>
            <a:off x="6464409" y="2592793"/>
            <a:ext cx="206756" cy="248109"/>
          </a:xfrm>
          <a:custGeom>
            <a:avLst/>
            <a:gdLst/>
            <a:ahLst/>
            <a:cxnLst>
              <a:cxn ang="0">
                <a:pos x="72" y="158"/>
              </a:cxn>
              <a:cxn ang="0">
                <a:pos x="76" y="148"/>
              </a:cxn>
              <a:cxn ang="0">
                <a:pos x="84" y="146"/>
              </a:cxn>
              <a:cxn ang="0">
                <a:pos x="86" y="148"/>
              </a:cxn>
              <a:cxn ang="0">
                <a:pos x="92" y="158"/>
              </a:cxn>
              <a:cxn ang="0">
                <a:pos x="102" y="154"/>
              </a:cxn>
              <a:cxn ang="0">
                <a:pos x="110" y="146"/>
              </a:cxn>
              <a:cxn ang="0">
                <a:pos x="84" y="122"/>
              </a:cxn>
              <a:cxn ang="0">
                <a:pos x="48" y="108"/>
              </a:cxn>
              <a:cxn ang="0">
                <a:pos x="30" y="96"/>
              </a:cxn>
              <a:cxn ang="0">
                <a:pos x="44" y="100"/>
              </a:cxn>
              <a:cxn ang="0">
                <a:pos x="44" y="90"/>
              </a:cxn>
              <a:cxn ang="0">
                <a:pos x="36" y="80"/>
              </a:cxn>
              <a:cxn ang="0">
                <a:pos x="26" y="74"/>
              </a:cxn>
              <a:cxn ang="0">
                <a:pos x="18" y="60"/>
              </a:cxn>
              <a:cxn ang="0">
                <a:pos x="6" y="56"/>
              </a:cxn>
              <a:cxn ang="0">
                <a:pos x="0" y="42"/>
              </a:cxn>
              <a:cxn ang="0">
                <a:pos x="6" y="46"/>
              </a:cxn>
              <a:cxn ang="0">
                <a:pos x="20" y="60"/>
              </a:cxn>
              <a:cxn ang="0">
                <a:pos x="34" y="72"/>
              </a:cxn>
              <a:cxn ang="0">
                <a:pos x="44" y="72"/>
              </a:cxn>
              <a:cxn ang="0">
                <a:pos x="38" y="62"/>
              </a:cxn>
              <a:cxn ang="0">
                <a:pos x="34" y="56"/>
              </a:cxn>
              <a:cxn ang="0">
                <a:pos x="22" y="42"/>
              </a:cxn>
              <a:cxn ang="0">
                <a:pos x="32" y="48"/>
              </a:cxn>
              <a:cxn ang="0">
                <a:pos x="42" y="58"/>
              </a:cxn>
              <a:cxn ang="0">
                <a:pos x="38" y="48"/>
              </a:cxn>
              <a:cxn ang="0">
                <a:pos x="20" y="32"/>
              </a:cxn>
              <a:cxn ang="0">
                <a:pos x="30" y="38"/>
              </a:cxn>
              <a:cxn ang="0">
                <a:pos x="46" y="56"/>
              </a:cxn>
              <a:cxn ang="0">
                <a:pos x="58" y="70"/>
              </a:cxn>
              <a:cxn ang="0">
                <a:pos x="64" y="66"/>
              </a:cxn>
              <a:cxn ang="0">
                <a:pos x="52" y="58"/>
              </a:cxn>
              <a:cxn ang="0">
                <a:pos x="68" y="60"/>
              </a:cxn>
              <a:cxn ang="0">
                <a:pos x="76" y="46"/>
              </a:cxn>
              <a:cxn ang="0">
                <a:pos x="58" y="24"/>
              </a:cxn>
              <a:cxn ang="0">
                <a:pos x="38" y="18"/>
              </a:cxn>
              <a:cxn ang="0">
                <a:pos x="40" y="28"/>
              </a:cxn>
              <a:cxn ang="0">
                <a:pos x="38" y="30"/>
              </a:cxn>
              <a:cxn ang="0">
                <a:pos x="10" y="2"/>
              </a:cxn>
              <a:cxn ang="0">
                <a:pos x="24" y="6"/>
              </a:cxn>
              <a:cxn ang="0">
                <a:pos x="36" y="10"/>
              </a:cxn>
              <a:cxn ang="0">
                <a:pos x="72" y="20"/>
              </a:cxn>
              <a:cxn ang="0">
                <a:pos x="82" y="32"/>
              </a:cxn>
              <a:cxn ang="0">
                <a:pos x="84" y="56"/>
              </a:cxn>
              <a:cxn ang="0">
                <a:pos x="92" y="68"/>
              </a:cxn>
              <a:cxn ang="0">
                <a:pos x="106" y="86"/>
              </a:cxn>
              <a:cxn ang="0">
                <a:pos x="116" y="98"/>
              </a:cxn>
              <a:cxn ang="0">
                <a:pos x="130" y="108"/>
              </a:cxn>
              <a:cxn ang="0">
                <a:pos x="136" y="116"/>
              </a:cxn>
              <a:cxn ang="0">
                <a:pos x="140" y="136"/>
              </a:cxn>
              <a:cxn ang="0">
                <a:pos x="134" y="146"/>
              </a:cxn>
              <a:cxn ang="0">
                <a:pos x="124" y="158"/>
              </a:cxn>
              <a:cxn ang="0">
                <a:pos x="128" y="162"/>
              </a:cxn>
              <a:cxn ang="0">
                <a:pos x="116" y="166"/>
              </a:cxn>
              <a:cxn ang="0">
                <a:pos x="108" y="164"/>
              </a:cxn>
              <a:cxn ang="0">
                <a:pos x="102" y="156"/>
              </a:cxn>
              <a:cxn ang="0">
                <a:pos x="92" y="162"/>
              </a:cxn>
              <a:cxn ang="0">
                <a:pos x="78" y="164"/>
              </a:cxn>
            </a:cxnLst>
            <a:rect l="0" t="0" r="r" b="b"/>
            <a:pathLst>
              <a:path w="140" h="168">
                <a:moveTo>
                  <a:pt x="76" y="166"/>
                </a:moveTo>
                <a:lnTo>
                  <a:pt x="76" y="164"/>
                </a:lnTo>
                <a:lnTo>
                  <a:pt x="76" y="162"/>
                </a:lnTo>
                <a:lnTo>
                  <a:pt x="74" y="160"/>
                </a:lnTo>
                <a:lnTo>
                  <a:pt x="72" y="158"/>
                </a:lnTo>
                <a:lnTo>
                  <a:pt x="72" y="156"/>
                </a:lnTo>
                <a:lnTo>
                  <a:pt x="72" y="146"/>
                </a:lnTo>
                <a:lnTo>
                  <a:pt x="74" y="146"/>
                </a:lnTo>
                <a:lnTo>
                  <a:pt x="76" y="146"/>
                </a:lnTo>
                <a:lnTo>
                  <a:pt x="76" y="148"/>
                </a:lnTo>
                <a:lnTo>
                  <a:pt x="78" y="148"/>
                </a:lnTo>
                <a:lnTo>
                  <a:pt x="80" y="148"/>
                </a:lnTo>
                <a:lnTo>
                  <a:pt x="82" y="148"/>
                </a:lnTo>
                <a:lnTo>
                  <a:pt x="82" y="146"/>
                </a:lnTo>
                <a:lnTo>
                  <a:pt x="84" y="146"/>
                </a:lnTo>
                <a:lnTo>
                  <a:pt x="90" y="148"/>
                </a:lnTo>
                <a:lnTo>
                  <a:pt x="92" y="148"/>
                </a:lnTo>
                <a:lnTo>
                  <a:pt x="90" y="150"/>
                </a:lnTo>
                <a:lnTo>
                  <a:pt x="88" y="150"/>
                </a:lnTo>
                <a:lnTo>
                  <a:pt x="86" y="148"/>
                </a:lnTo>
                <a:lnTo>
                  <a:pt x="84" y="148"/>
                </a:lnTo>
                <a:lnTo>
                  <a:pt x="82" y="150"/>
                </a:lnTo>
                <a:lnTo>
                  <a:pt x="82" y="154"/>
                </a:lnTo>
                <a:lnTo>
                  <a:pt x="90" y="158"/>
                </a:lnTo>
                <a:lnTo>
                  <a:pt x="92" y="158"/>
                </a:lnTo>
                <a:lnTo>
                  <a:pt x="94" y="158"/>
                </a:lnTo>
                <a:lnTo>
                  <a:pt x="94" y="156"/>
                </a:lnTo>
                <a:lnTo>
                  <a:pt x="96" y="154"/>
                </a:lnTo>
                <a:lnTo>
                  <a:pt x="100" y="154"/>
                </a:lnTo>
                <a:lnTo>
                  <a:pt x="102" y="154"/>
                </a:lnTo>
                <a:lnTo>
                  <a:pt x="104" y="158"/>
                </a:lnTo>
                <a:lnTo>
                  <a:pt x="108" y="158"/>
                </a:lnTo>
                <a:lnTo>
                  <a:pt x="110" y="156"/>
                </a:lnTo>
                <a:lnTo>
                  <a:pt x="112" y="146"/>
                </a:lnTo>
                <a:lnTo>
                  <a:pt x="110" y="146"/>
                </a:lnTo>
                <a:lnTo>
                  <a:pt x="110" y="144"/>
                </a:lnTo>
                <a:lnTo>
                  <a:pt x="100" y="130"/>
                </a:lnTo>
                <a:lnTo>
                  <a:pt x="98" y="130"/>
                </a:lnTo>
                <a:lnTo>
                  <a:pt x="96" y="126"/>
                </a:lnTo>
                <a:lnTo>
                  <a:pt x="84" y="122"/>
                </a:lnTo>
                <a:lnTo>
                  <a:pt x="72" y="118"/>
                </a:lnTo>
                <a:lnTo>
                  <a:pt x="58" y="118"/>
                </a:lnTo>
                <a:lnTo>
                  <a:pt x="56" y="118"/>
                </a:lnTo>
                <a:lnTo>
                  <a:pt x="52" y="112"/>
                </a:lnTo>
                <a:lnTo>
                  <a:pt x="48" y="108"/>
                </a:lnTo>
                <a:lnTo>
                  <a:pt x="44" y="106"/>
                </a:lnTo>
                <a:lnTo>
                  <a:pt x="40" y="104"/>
                </a:lnTo>
                <a:lnTo>
                  <a:pt x="36" y="102"/>
                </a:lnTo>
                <a:lnTo>
                  <a:pt x="34" y="102"/>
                </a:lnTo>
                <a:lnTo>
                  <a:pt x="30" y="96"/>
                </a:lnTo>
                <a:lnTo>
                  <a:pt x="30" y="94"/>
                </a:lnTo>
                <a:lnTo>
                  <a:pt x="32" y="94"/>
                </a:lnTo>
                <a:lnTo>
                  <a:pt x="40" y="98"/>
                </a:lnTo>
                <a:lnTo>
                  <a:pt x="42" y="100"/>
                </a:lnTo>
                <a:lnTo>
                  <a:pt x="44" y="100"/>
                </a:lnTo>
                <a:lnTo>
                  <a:pt x="44" y="102"/>
                </a:lnTo>
                <a:lnTo>
                  <a:pt x="46" y="102"/>
                </a:lnTo>
                <a:lnTo>
                  <a:pt x="46" y="94"/>
                </a:lnTo>
                <a:lnTo>
                  <a:pt x="46" y="92"/>
                </a:lnTo>
                <a:lnTo>
                  <a:pt x="44" y="90"/>
                </a:lnTo>
                <a:lnTo>
                  <a:pt x="44" y="88"/>
                </a:lnTo>
                <a:lnTo>
                  <a:pt x="42" y="86"/>
                </a:lnTo>
                <a:lnTo>
                  <a:pt x="38" y="82"/>
                </a:lnTo>
                <a:lnTo>
                  <a:pt x="38" y="80"/>
                </a:lnTo>
                <a:lnTo>
                  <a:pt x="36" y="80"/>
                </a:lnTo>
                <a:lnTo>
                  <a:pt x="34" y="78"/>
                </a:lnTo>
                <a:lnTo>
                  <a:pt x="32" y="78"/>
                </a:lnTo>
                <a:lnTo>
                  <a:pt x="30" y="76"/>
                </a:lnTo>
                <a:lnTo>
                  <a:pt x="28" y="76"/>
                </a:lnTo>
                <a:lnTo>
                  <a:pt x="26" y="74"/>
                </a:lnTo>
                <a:lnTo>
                  <a:pt x="24" y="74"/>
                </a:lnTo>
                <a:lnTo>
                  <a:pt x="22" y="70"/>
                </a:lnTo>
                <a:lnTo>
                  <a:pt x="22" y="68"/>
                </a:lnTo>
                <a:lnTo>
                  <a:pt x="18" y="64"/>
                </a:lnTo>
                <a:lnTo>
                  <a:pt x="18" y="60"/>
                </a:lnTo>
                <a:lnTo>
                  <a:pt x="12" y="56"/>
                </a:lnTo>
                <a:lnTo>
                  <a:pt x="10" y="56"/>
                </a:lnTo>
                <a:lnTo>
                  <a:pt x="6" y="52"/>
                </a:lnTo>
                <a:lnTo>
                  <a:pt x="6" y="54"/>
                </a:lnTo>
                <a:lnTo>
                  <a:pt x="6" y="56"/>
                </a:lnTo>
                <a:lnTo>
                  <a:pt x="2" y="52"/>
                </a:lnTo>
                <a:lnTo>
                  <a:pt x="2" y="48"/>
                </a:lnTo>
                <a:lnTo>
                  <a:pt x="0" y="48"/>
                </a:lnTo>
                <a:lnTo>
                  <a:pt x="0" y="46"/>
                </a:lnTo>
                <a:lnTo>
                  <a:pt x="0" y="42"/>
                </a:lnTo>
                <a:lnTo>
                  <a:pt x="0" y="40"/>
                </a:lnTo>
                <a:lnTo>
                  <a:pt x="4" y="40"/>
                </a:lnTo>
                <a:lnTo>
                  <a:pt x="6" y="42"/>
                </a:lnTo>
                <a:lnTo>
                  <a:pt x="6" y="44"/>
                </a:lnTo>
                <a:lnTo>
                  <a:pt x="6" y="46"/>
                </a:lnTo>
                <a:lnTo>
                  <a:pt x="6" y="48"/>
                </a:lnTo>
                <a:lnTo>
                  <a:pt x="10" y="52"/>
                </a:lnTo>
                <a:lnTo>
                  <a:pt x="14" y="56"/>
                </a:lnTo>
                <a:lnTo>
                  <a:pt x="16" y="56"/>
                </a:lnTo>
                <a:lnTo>
                  <a:pt x="20" y="60"/>
                </a:lnTo>
                <a:lnTo>
                  <a:pt x="22" y="64"/>
                </a:lnTo>
                <a:lnTo>
                  <a:pt x="22" y="68"/>
                </a:lnTo>
                <a:lnTo>
                  <a:pt x="24" y="68"/>
                </a:lnTo>
                <a:lnTo>
                  <a:pt x="26" y="70"/>
                </a:lnTo>
                <a:lnTo>
                  <a:pt x="34" y="72"/>
                </a:lnTo>
                <a:lnTo>
                  <a:pt x="44" y="78"/>
                </a:lnTo>
                <a:lnTo>
                  <a:pt x="46" y="78"/>
                </a:lnTo>
                <a:lnTo>
                  <a:pt x="46" y="76"/>
                </a:lnTo>
                <a:lnTo>
                  <a:pt x="44" y="74"/>
                </a:lnTo>
                <a:lnTo>
                  <a:pt x="44" y="72"/>
                </a:lnTo>
                <a:lnTo>
                  <a:pt x="38" y="68"/>
                </a:lnTo>
                <a:lnTo>
                  <a:pt x="34" y="62"/>
                </a:lnTo>
                <a:lnTo>
                  <a:pt x="34" y="60"/>
                </a:lnTo>
                <a:lnTo>
                  <a:pt x="36" y="60"/>
                </a:lnTo>
                <a:lnTo>
                  <a:pt x="38" y="62"/>
                </a:lnTo>
                <a:lnTo>
                  <a:pt x="40" y="64"/>
                </a:lnTo>
                <a:lnTo>
                  <a:pt x="42" y="66"/>
                </a:lnTo>
                <a:lnTo>
                  <a:pt x="42" y="64"/>
                </a:lnTo>
                <a:lnTo>
                  <a:pt x="38" y="60"/>
                </a:lnTo>
                <a:lnTo>
                  <a:pt x="34" y="56"/>
                </a:lnTo>
                <a:lnTo>
                  <a:pt x="32" y="54"/>
                </a:lnTo>
                <a:lnTo>
                  <a:pt x="30" y="52"/>
                </a:lnTo>
                <a:lnTo>
                  <a:pt x="30" y="50"/>
                </a:lnTo>
                <a:lnTo>
                  <a:pt x="22" y="44"/>
                </a:lnTo>
                <a:lnTo>
                  <a:pt x="22" y="42"/>
                </a:lnTo>
                <a:lnTo>
                  <a:pt x="22" y="40"/>
                </a:lnTo>
                <a:lnTo>
                  <a:pt x="22" y="42"/>
                </a:lnTo>
                <a:lnTo>
                  <a:pt x="26" y="44"/>
                </a:lnTo>
                <a:lnTo>
                  <a:pt x="30" y="48"/>
                </a:lnTo>
                <a:lnTo>
                  <a:pt x="32" y="48"/>
                </a:lnTo>
                <a:lnTo>
                  <a:pt x="34" y="50"/>
                </a:lnTo>
                <a:lnTo>
                  <a:pt x="36" y="52"/>
                </a:lnTo>
                <a:lnTo>
                  <a:pt x="38" y="54"/>
                </a:lnTo>
                <a:lnTo>
                  <a:pt x="40" y="56"/>
                </a:lnTo>
                <a:lnTo>
                  <a:pt x="42" y="58"/>
                </a:lnTo>
                <a:lnTo>
                  <a:pt x="44" y="58"/>
                </a:lnTo>
                <a:lnTo>
                  <a:pt x="44" y="56"/>
                </a:lnTo>
                <a:lnTo>
                  <a:pt x="42" y="56"/>
                </a:lnTo>
                <a:lnTo>
                  <a:pt x="40" y="52"/>
                </a:lnTo>
                <a:lnTo>
                  <a:pt x="38" y="48"/>
                </a:lnTo>
                <a:lnTo>
                  <a:pt x="36" y="48"/>
                </a:lnTo>
                <a:lnTo>
                  <a:pt x="34" y="48"/>
                </a:lnTo>
                <a:lnTo>
                  <a:pt x="28" y="42"/>
                </a:lnTo>
                <a:lnTo>
                  <a:pt x="22" y="34"/>
                </a:lnTo>
                <a:lnTo>
                  <a:pt x="20" y="32"/>
                </a:lnTo>
                <a:lnTo>
                  <a:pt x="20" y="30"/>
                </a:lnTo>
                <a:lnTo>
                  <a:pt x="22" y="32"/>
                </a:lnTo>
                <a:lnTo>
                  <a:pt x="22" y="34"/>
                </a:lnTo>
                <a:lnTo>
                  <a:pt x="26" y="36"/>
                </a:lnTo>
                <a:lnTo>
                  <a:pt x="30" y="38"/>
                </a:lnTo>
                <a:lnTo>
                  <a:pt x="32" y="40"/>
                </a:lnTo>
                <a:lnTo>
                  <a:pt x="34" y="40"/>
                </a:lnTo>
                <a:lnTo>
                  <a:pt x="44" y="50"/>
                </a:lnTo>
                <a:lnTo>
                  <a:pt x="44" y="52"/>
                </a:lnTo>
                <a:lnTo>
                  <a:pt x="46" y="56"/>
                </a:lnTo>
                <a:lnTo>
                  <a:pt x="46" y="58"/>
                </a:lnTo>
                <a:lnTo>
                  <a:pt x="48" y="62"/>
                </a:lnTo>
                <a:lnTo>
                  <a:pt x="48" y="64"/>
                </a:lnTo>
                <a:lnTo>
                  <a:pt x="50" y="64"/>
                </a:lnTo>
                <a:lnTo>
                  <a:pt x="58" y="70"/>
                </a:lnTo>
                <a:lnTo>
                  <a:pt x="60" y="72"/>
                </a:lnTo>
                <a:lnTo>
                  <a:pt x="62" y="72"/>
                </a:lnTo>
                <a:lnTo>
                  <a:pt x="64" y="72"/>
                </a:lnTo>
                <a:lnTo>
                  <a:pt x="64" y="68"/>
                </a:lnTo>
                <a:lnTo>
                  <a:pt x="64" y="66"/>
                </a:lnTo>
                <a:lnTo>
                  <a:pt x="64" y="64"/>
                </a:lnTo>
                <a:lnTo>
                  <a:pt x="62" y="64"/>
                </a:lnTo>
                <a:lnTo>
                  <a:pt x="60" y="62"/>
                </a:lnTo>
                <a:lnTo>
                  <a:pt x="54" y="60"/>
                </a:lnTo>
                <a:lnTo>
                  <a:pt x="52" y="58"/>
                </a:lnTo>
                <a:lnTo>
                  <a:pt x="52" y="56"/>
                </a:lnTo>
                <a:lnTo>
                  <a:pt x="52" y="54"/>
                </a:lnTo>
                <a:lnTo>
                  <a:pt x="64" y="58"/>
                </a:lnTo>
                <a:lnTo>
                  <a:pt x="66" y="58"/>
                </a:lnTo>
                <a:lnTo>
                  <a:pt x="68" y="60"/>
                </a:lnTo>
                <a:lnTo>
                  <a:pt x="70" y="60"/>
                </a:lnTo>
                <a:lnTo>
                  <a:pt x="72" y="56"/>
                </a:lnTo>
                <a:lnTo>
                  <a:pt x="74" y="52"/>
                </a:lnTo>
                <a:lnTo>
                  <a:pt x="76" y="48"/>
                </a:lnTo>
                <a:lnTo>
                  <a:pt x="76" y="46"/>
                </a:lnTo>
                <a:lnTo>
                  <a:pt x="74" y="44"/>
                </a:lnTo>
                <a:lnTo>
                  <a:pt x="70" y="38"/>
                </a:lnTo>
                <a:lnTo>
                  <a:pt x="70" y="36"/>
                </a:lnTo>
                <a:lnTo>
                  <a:pt x="64" y="28"/>
                </a:lnTo>
                <a:lnTo>
                  <a:pt x="58" y="24"/>
                </a:lnTo>
                <a:lnTo>
                  <a:pt x="56" y="24"/>
                </a:lnTo>
                <a:lnTo>
                  <a:pt x="54" y="26"/>
                </a:lnTo>
                <a:lnTo>
                  <a:pt x="48" y="26"/>
                </a:lnTo>
                <a:lnTo>
                  <a:pt x="44" y="24"/>
                </a:lnTo>
                <a:lnTo>
                  <a:pt x="38" y="18"/>
                </a:lnTo>
                <a:lnTo>
                  <a:pt x="34" y="22"/>
                </a:lnTo>
                <a:lnTo>
                  <a:pt x="36" y="24"/>
                </a:lnTo>
                <a:lnTo>
                  <a:pt x="36" y="26"/>
                </a:lnTo>
                <a:lnTo>
                  <a:pt x="38" y="26"/>
                </a:lnTo>
                <a:lnTo>
                  <a:pt x="40" y="28"/>
                </a:lnTo>
                <a:lnTo>
                  <a:pt x="44" y="32"/>
                </a:lnTo>
                <a:lnTo>
                  <a:pt x="48" y="38"/>
                </a:lnTo>
                <a:lnTo>
                  <a:pt x="48" y="40"/>
                </a:lnTo>
                <a:lnTo>
                  <a:pt x="46" y="36"/>
                </a:lnTo>
                <a:lnTo>
                  <a:pt x="38" y="30"/>
                </a:lnTo>
                <a:lnTo>
                  <a:pt x="34" y="26"/>
                </a:lnTo>
                <a:lnTo>
                  <a:pt x="28" y="22"/>
                </a:lnTo>
                <a:lnTo>
                  <a:pt x="18" y="12"/>
                </a:lnTo>
                <a:lnTo>
                  <a:pt x="14" y="6"/>
                </a:lnTo>
                <a:lnTo>
                  <a:pt x="10" y="2"/>
                </a:lnTo>
                <a:lnTo>
                  <a:pt x="12" y="2"/>
                </a:lnTo>
                <a:lnTo>
                  <a:pt x="14" y="0"/>
                </a:lnTo>
                <a:lnTo>
                  <a:pt x="18" y="2"/>
                </a:lnTo>
                <a:lnTo>
                  <a:pt x="20" y="4"/>
                </a:lnTo>
                <a:lnTo>
                  <a:pt x="24" y="6"/>
                </a:lnTo>
                <a:lnTo>
                  <a:pt x="26" y="4"/>
                </a:lnTo>
                <a:lnTo>
                  <a:pt x="30" y="4"/>
                </a:lnTo>
                <a:lnTo>
                  <a:pt x="34" y="6"/>
                </a:lnTo>
                <a:lnTo>
                  <a:pt x="36" y="6"/>
                </a:lnTo>
                <a:lnTo>
                  <a:pt x="36" y="10"/>
                </a:lnTo>
                <a:lnTo>
                  <a:pt x="40" y="10"/>
                </a:lnTo>
                <a:lnTo>
                  <a:pt x="46" y="12"/>
                </a:lnTo>
                <a:lnTo>
                  <a:pt x="56" y="14"/>
                </a:lnTo>
                <a:lnTo>
                  <a:pt x="64" y="16"/>
                </a:lnTo>
                <a:lnTo>
                  <a:pt x="72" y="20"/>
                </a:lnTo>
                <a:lnTo>
                  <a:pt x="78" y="24"/>
                </a:lnTo>
                <a:lnTo>
                  <a:pt x="80" y="26"/>
                </a:lnTo>
                <a:lnTo>
                  <a:pt x="80" y="28"/>
                </a:lnTo>
                <a:lnTo>
                  <a:pt x="82" y="30"/>
                </a:lnTo>
                <a:lnTo>
                  <a:pt x="82" y="32"/>
                </a:lnTo>
                <a:lnTo>
                  <a:pt x="84" y="38"/>
                </a:lnTo>
                <a:lnTo>
                  <a:pt x="84" y="50"/>
                </a:lnTo>
                <a:lnTo>
                  <a:pt x="84" y="52"/>
                </a:lnTo>
                <a:lnTo>
                  <a:pt x="84" y="54"/>
                </a:lnTo>
                <a:lnTo>
                  <a:pt x="84" y="56"/>
                </a:lnTo>
                <a:lnTo>
                  <a:pt x="84" y="58"/>
                </a:lnTo>
                <a:lnTo>
                  <a:pt x="84" y="60"/>
                </a:lnTo>
                <a:lnTo>
                  <a:pt x="84" y="64"/>
                </a:lnTo>
                <a:lnTo>
                  <a:pt x="88" y="68"/>
                </a:lnTo>
                <a:lnTo>
                  <a:pt x="92" y="68"/>
                </a:lnTo>
                <a:lnTo>
                  <a:pt x="96" y="76"/>
                </a:lnTo>
                <a:lnTo>
                  <a:pt x="100" y="80"/>
                </a:lnTo>
                <a:lnTo>
                  <a:pt x="102" y="82"/>
                </a:lnTo>
                <a:lnTo>
                  <a:pt x="104" y="82"/>
                </a:lnTo>
                <a:lnTo>
                  <a:pt x="106" y="86"/>
                </a:lnTo>
                <a:lnTo>
                  <a:pt x="108" y="88"/>
                </a:lnTo>
                <a:lnTo>
                  <a:pt x="110" y="90"/>
                </a:lnTo>
                <a:lnTo>
                  <a:pt x="110" y="92"/>
                </a:lnTo>
                <a:lnTo>
                  <a:pt x="114" y="96"/>
                </a:lnTo>
                <a:lnTo>
                  <a:pt x="116" y="98"/>
                </a:lnTo>
                <a:lnTo>
                  <a:pt x="118" y="100"/>
                </a:lnTo>
                <a:lnTo>
                  <a:pt x="120" y="100"/>
                </a:lnTo>
                <a:lnTo>
                  <a:pt x="124" y="104"/>
                </a:lnTo>
                <a:lnTo>
                  <a:pt x="124" y="106"/>
                </a:lnTo>
                <a:lnTo>
                  <a:pt x="130" y="108"/>
                </a:lnTo>
                <a:lnTo>
                  <a:pt x="132" y="110"/>
                </a:lnTo>
                <a:lnTo>
                  <a:pt x="134" y="110"/>
                </a:lnTo>
                <a:lnTo>
                  <a:pt x="134" y="112"/>
                </a:lnTo>
                <a:lnTo>
                  <a:pt x="136" y="114"/>
                </a:lnTo>
                <a:lnTo>
                  <a:pt x="136" y="116"/>
                </a:lnTo>
                <a:lnTo>
                  <a:pt x="138" y="116"/>
                </a:lnTo>
                <a:lnTo>
                  <a:pt x="138" y="120"/>
                </a:lnTo>
                <a:lnTo>
                  <a:pt x="140" y="130"/>
                </a:lnTo>
                <a:lnTo>
                  <a:pt x="140" y="134"/>
                </a:lnTo>
                <a:lnTo>
                  <a:pt x="140" y="136"/>
                </a:lnTo>
                <a:lnTo>
                  <a:pt x="138" y="138"/>
                </a:lnTo>
                <a:lnTo>
                  <a:pt x="138" y="140"/>
                </a:lnTo>
                <a:lnTo>
                  <a:pt x="136" y="144"/>
                </a:lnTo>
                <a:lnTo>
                  <a:pt x="134" y="144"/>
                </a:lnTo>
                <a:lnTo>
                  <a:pt x="134" y="146"/>
                </a:lnTo>
                <a:lnTo>
                  <a:pt x="132" y="146"/>
                </a:lnTo>
                <a:lnTo>
                  <a:pt x="130" y="150"/>
                </a:lnTo>
                <a:lnTo>
                  <a:pt x="128" y="158"/>
                </a:lnTo>
                <a:lnTo>
                  <a:pt x="126" y="158"/>
                </a:lnTo>
                <a:lnTo>
                  <a:pt x="124" y="158"/>
                </a:lnTo>
                <a:lnTo>
                  <a:pt x="122" y="160"/>
                </a:lnTo>
                <a:lnTo>
                  <a:pt x="122" y="162"/>
                </a:lnTo>
                <a:lnTo>
                  <a:pt x="126" y="162"/>
                </a:lnTo>
                <a:lnTo>
                  <a:pt x="128" y="160"/>
                </a:lnTo>
                <a:lnTo>
                  <a:pt x="128" y="162"/>
                </a:lnTo>
                <a:lnTo>
                  <a:pt x="128" y="164"/>
                </a:lnTo>
                <a:lnTo>
                  <a:pt x="126" y="166"/>
                </a:lnTo>
                <a:lnTo>
                  <a:pt x="126" y="168"/>
                </a:lnTo>
                <a:lnTo>
                  <a:pt x="122" y="166"/>
                </a:lnTo>
                <a:lnTo>
                  <a:pt x="116" y="166"/>
                </a:lnTo>
                <a:lnTo>
                  <a:pt x="114" y="168"/>
                </a:lnTo>
                <a:lnTo>
                  <a:pt x="112" y="166"/>
                </a:lnTo>
                <a:lnTo>
                  <a:pt x="110" y="166"/>
                </a:lnTo>
                <a:lnTo>
                  <a:pt x="108" y="166"/>
                </a:lnTo>
                <a:lnTo>
                  <a:pt x="108" y="164"/>
                </a:lnTo>
                <a:lnTo>
                  <a:pt x="108" y="162"/>
                </a:lnTo>
                <a:lnTo>
                  <a:pt x="106" y="162"/>
                </a:lnTo>
                <a:lnTo>
                  <a:pt x="108" y="160"/>
                </a:lnTo>
                <a:lnTo>
                  <a:pt x="104" y="158"/>
                </a:lnTo>
                <a:lnTo>
                  <a:pt x="102" y="156"/>
                </a:lnTo>
                <a:lnTo>
                  <a:pt x="100" y="156"/>
                </a:lnTo>
                <a:lnTo>
                  <a:pt x="98" y="156"/>
                </a:lnTo>
                <a:lnTo>
                  <a:pt x="98" y="158"/>
                </a:lnTo>
                <a:lnTo>
                  <a:pt x="96" y="158"/>
                </a:lnTo>
                <a:lnTo>
                  <a:pt x="92" y="162"/>
                </a:lnTo>
                <a:lnTo>
                  <a:pt x="90" y="162"/>
                </a:lnTo>
                <a:lnTo>
                  <a:pt x="88" y="158"/>
                </a:lnTo>
                <a:lnTo>
                  <a:pt x="80" y="158"/>
                </a:lnTo>
                <a:lnTo>
                  <a:pt x="76" y="160"/>
                </a:lnTo>
                <a:lnTo>
                  <a:pt x="78" y="164"/>
                </a:lnTo>
                <a:lnTo>
                  <a:pt x="76" y="166"/>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2" name="Freeform 2818"/>
          <p:cNvSpPr>
            <a:spLocks/>
          </p:cNvSpPr>
          <p:nvPr/>
        </p:nvSpPr>
        <p:spPr bwMode="auto">
          <a:xfrm>
            <a:off x="6245837" y="2799550"/>
            <a:ext cx="224479" cy="245154"/>
          </a:xfrm>
          <a:custGeom>
            <a:avLst/>
            <a:gdLst/>
            <a:ahLst/>
            <a:cxnLst>
              <a:cxn ang="0">
                <a:pos x="86" y="156"/>
              </a:cxn>
              <a:cxn ang="0">
                <a:pos x="80" y="144"/>
              </a:cxn>
              <a:cxn ang="0">
                <a:pos x="76" y="142"/>
              </a:cxn>
              <a:cxn ang="0">
                <a:pos x="72" y="140"/>
              </a:cxn>
              <a:cxn ang="0">
                <a:pos x="66" y="126"/>
              </a:cxn>
              <a:cxn ang="0">
                <a:pos x="54" y="110"/>
              </a:cxn>
              <a:cxn ang="0">
                <a:pos x="44" y="106"/>
              </a:cxn>
              <a:cxn ang="0">
                <a:pos x="42" y="92"/>
              </a:cxn>
              <a:cxn ang="0">
                <a:pos x="30" y="78"/>
              </a:cxn>
              <a:cxn ang="0">
                <a:pos x="16" y="68"/>
              </a:cxn>
              <a:cxn ang="0">
                <a:pos x="0" y="60"/>
              </a:cxn>
              <a:cxn ang="0">
                <a:pos x="8" y="64"/>
              </a:cxn>
              <a:cxn ang="0">
                <a:pos x="10" y="60"/>
              </a:cxn>
              <a:cxn ang="0">
                <a:pos x="4" y="60"/>
              </a:cxn>
              <a:cxn ang="0">
                <a:pos x="6" y="52"/>
              </a:cxn>
              <a:cxn ang="0">
                <a:pos x="18" y="48"/>
              </a:cxn>
              <a:cxn ang="0">
                <a:pos x="16" y="44"/>
              </a:cxn>
              <a:cxn ang="0">
                <a:pos x="18" y="30"/>
              </a:cxn>
              <a:cxn ang="0">
                <a:pos x="24" y="32"/>
              </a:cxn>
              <a:cxn ang="0">
                <a:pos x="28" y="18"/>
              </a:cxn>
              <a:cxn ang="0">
                <a:pos x="34" y="0"/>
              </a:cxn>
              <a:cxn ang="0">
                <a:pos x="38" y="4"/>
              </a:cxn>
              <a:cxn ang="0">
                <a:pos x="44" y="4"/>
              </a:cxn>
              <a:cxn ang="0">
                <a:pos x="46" y="10"/>
              </a:cxn>
              <a:cxn ang="0">
                <a:pos x="52" y="14"/>
              </a:cxn>
              <a:cxn ang="0">
                <a:pos x="54" y="8"/>
              </a:cxn>
              <a:cxn ang="0">
                <a:pos x="58" y="8"/>
              </a:cxn>
              <a:cxn ang="0">
                <a:pos x="72" y="20"/>
              </a:cxn>
              <a:cxn ang="0">
                <a:pos x="78" y="26"/>
              </a:cxn>
              <a:cxn ang="0">
                <a:pos x="92" y="32"/>
              </a:cxn>
              <a:cxn ang="0">
                <a:pos x="106" y="36"/>
              </a:cxn>
              <a:cxn ang="0">
                <a:pos x="122" y="44"/>
              </a:cxn>
              <a:cxn ang="0">
                <a:pos x="126" y="50"/>
              </a:cxn>
              <a:cxn ang="0">
                <a:pos x="134" y="60"/>
              </a:cxn>
              <a:cxn ang="0">
                <a:pos x="142" y="64"/>
              </a:cxn>
              <a:cxn ang="0">
                <a:pos x="144" y="74"/>
              </a:cxn>
              <a:cxn ang="0">
                <a:pos x="150" y="78"/>
              </a:cxn>
              <a:cxn ang="0">
                <a:pos x="152" y="88"/>
              </a:cxn>
              <a:cxn ang="0">
                <a:pos x="150" y="98"/>
              </a:cxn>
              <a:cxn ang="0">
                <a:pos x="140" y="92"/>
              </a:cxn>
              <a:cxn ang="0">
                <a:pos x="138" y="96"/>
              </a:cxn>
              <a:cxn ang="0">
                <a:pos x="146" y="102"/>
              </a:cxn>
              <a:cxn ang="0">
                <a:pos x="146" y="122"/>
              </a:cxn>
              <a:cxn ang="0">
                <a:pos x="144" y="128"/>
              </a:cxn>
              <a:cxn ang="0">
                <a:pos x="136" y="134"/>
              </a:cxn>
              <a:cxn ang="0">
                <a:pos x="130" y="130"/>
              </a:cxn>
              <a:cxn ang="0">
                <a:pos x="120" y="126"/>
              </a:cxn>
              <a:cxn ang="0">
                <a:pos x="106" y="134"/>
              </a:cxn>
              <a:cxn ang="0">
                <a:pos x="102" y="150"/>
              </a:cxn>
              <a:cxn ang="0">
                <a:pos x="106" y="154"/>
              </a:cxn>
              <a:cxn ang="0">
                <a:pos x="104" y="162"/>
              </a:cxn>
              <a:cxn ang="0">
                <a:pos x="88" y="166"/>
              </a:cxn>
              <a:cxn ang="0">
                <a:pos x="82" y="164"/>
              </a:cxn>
            </a:cxnLst>
            <a:rect l="0" t="0" r="r" b="b"/>
            <a:pathLst>
              <a:path w="152" h="166">
                <a:moveTo>
                  <a:pt x="82" y="164"/>
                </a:moveTo>
                <a:lnTo>
                  <a:pt x="84" y="162"/>
                </a:lnTo>
                <a:lnTo>
                  <a:pt x="86" y="156"/>
                </a:lnTo>
                <a:lnTo>
                  <a:pt x="86" y="154"/>
                </a:lnTo>
                <a:lnTo>
                  <a:pt x="82" y="146"/>
                </a:lnTo>
                <a:lnTo>
                  <a:pt x="80" y="144"/>
                </a:lnTo>
                <a:lnTo>
                  <a:pt x="80" y="142"/>
                </a:lnTo>
                <a:lnTo>
                  <a:pt x="78" y="144"/>
                </a:lnTo>
                <a:lnTo>
                  <a:pt x="76" y="142"/>
                </a:lnTo>
                <a:lnTo>
                  <a:pt x="74" y="142"/>
                </a:lnTo>
                <a:lnTo>
                  <a:pt x="74" y="140"/>
                </a:lnTo>
                <a:lnTo>
                  <a:pt x="72" y="140"/>
                </a:lnTo>
                <a:lnTo>
                  <a:pt x="68" y="130"/>
                </a:lnTo>
                <a:lnTo>
                  <a:pt x="68" y="126"/>
                </a:lnTo>
                <a:lnTo>
                  <a:pt x="66" y="126"/>
                </a:lnTo>
                <a:lnTo>
                  <a:pt x="64" y="122"/>
                </a:lnTo>
                <a:lnTo>
                  <a:pt x="64" y="120"/>
                </a:lnTo>
                <a:lnTo>
                  <a:pt x="54" y="110"/>
                </a:lnTo>
                <a:lnTo>
                  <a:pt x="48" y="108"/>
                </a:lnTo>
                <a:lnTo>
                  <a:pt x="46" y="108"/>
                </a:lnTo>
                <a:lnTo>
                  <a:pt x="44" y="106"/>
                </a:lnTo>
                <a:lnTo>
                  <a:pt x="42" y="98"/>
                </a:lnTo>
                <a:lnTo>
                  <a:pt x="42" y="96"/>
                </a:lnTo>
                <a:lnTo>
                  <a:pt x="42" y="92"/>
                </a:lnTo>
                <a:lnTo>
                  <a:pt x="42" y="90"/>
                </a:lnTo>
                <a:lnTo>
                  <a:pt x="40" y="88"/>
                </a:lnTo>
                <a:lnTo>
                  <a:pt x="30" y="78"/>
                </a:lnTo>
                <a:lnTo>
                  <a:pt x="24" y="74"/>
                </a:lnTo>
                <a:lnTo>
                  <a:pt x="18" y="70"/>
                </a:lnTo>
                <a:lnTo>
                  <a:pt x="16" y="68"/>
                </a:lnTo>
                <a:lnTo>
                  <a:pt x="10" y="66"/>
                </a:lnTo>
                <a:lnTo>
                  <a:pt x="6" y="64"/>
                </a:lnTo>
                <a:lnTo>
                  <a:pt x="0" y="60"/>
                </a:lnTo>
                <a:lnTo>
                  <a:pt x="2" y="60"/>
                </a:lnTo>
                <a:lnTo>
                  <a:pt x="8" y="62"/>
                </a:lnTo>
                <a:lnTo>
                  <a:pt x="8" y="64"/>
                </a:lnTo>
                <a:lnTo>
                  <a:pt x="10" y="64"/>
                </a:lnTo>
                <a:lnTo>
                  <a:pt x="12" y="62"/>
                </a:lnTo>
                <a:lnTo>
                  <a:pt x="10" y="60"/>
                </a:lnTo>
                <a:lnTo>
                  <a:pt x="8" y="60"/>
                </a:lnTo>
                <a:lnTo>
                  <a:pt x="6" y="60"/>
                </a:lnTo>
                <a:lnTo>
                  <a:pt x="4" y="60"/>
                </a:lnTo>
                <a:lnTo>
                  <a:pt x="2" y="56"/>
                </a:lnTo>
                <a:lnTo>
                  <a:pt x="4" y="52"/>
                </a:lnTo>
                <a:lnTo>
                  <a:pt x="6" y="52"/>
                </a:lnTo>
                <a:lnTo>
                  <a:pt x="8" y="54"/>
                </a:lnTo>
                <a:lnTo>
                  <a:pt x="10" y="56"/>
                </a:lnTo>
                <a:lnTo>
                  <a:pt x="18" y="48"/>
                </a:lnTo>
                <a:lnTo>
                  <a:pt x="18" y="46"/>
                </a:lnTo>
                <a:lnTo>
                  <a:pt x="18" y="44"/>
                </a:lnTo>
                <a:lnTo>
                  <a:pt x="16" y="44"/>
                </a:lnTo>
                <a:lnTo>
                  <a:pt x="14" y="42"/>
                </a:lnTo>
                <a:lnTo>
                  <a:pt x="14" y="30"/>
                </a:lnTo>
                <a:lnTo>
                  <a:pt x="18" y="30"/>
                </a:lnTo>
                <a:lnTo>
                  <a:pt x="20" y="30"/>
                </a:lnTo>
                <a:lnTo>
                  <a:pt x="22" y="32"/>
                </a:lnTo>
                <a:lnTo>
                  <a:pt x="24" y="32"/>
                </a:lnTo>
                <a:lnTo>
                  <a:pt x="26" y="30"/>
                </a:lnTo>
                <a:lnTo>
                  <a:pt x="30" y="22"/>
                </a:lnTo>
                <a:lnTo>
                  <a:pt x="28" y="18"/>
                </a:lnTo>
                <a:lnTo>
                  <a:pt x="30" y="8"/>
                </a:lnTo>
                <a:lnTo>
                  <a:pt x="34" y="2"/>
                </a:lnTo>
                <a:lnTo>
                  <a:pt x="34" y="0"/>
                </a:lnTo>
                <a:lnTo>
                  <a:pt x="36" y="2"/>
                </a:lnTo>
                <a:lnTo>
                  <a:pt x="36" y="4"/>
                </a:lnTo>
                <a:lnTo>
                  <a:pt x="38" y="4"/>
                </a:lnTo>
                <a:lnTo>
                  <a:pt x="40" y="4"/>
                </a:lnTo>
                <a:lnTo>
                  <a:pt x="42" y="4"/>
                </a:lnTo>
                <a:lnTo>
                  <a:pt x="44" y="4"/>
                </a:lnTo>
                <a:lnTo>
                  <a:pt x="46" y="6"/>
                </a:lnTo>
                <a:lnTo>
                  <a:pt x="46" y="8"/>
                </a:lnTo>
                <a:lnTo>
                  <a:pt x="46" y="10"/>
                </a:lnTo>
                <a:lnTo>
                  <a:pt x="48" y="12"/>
                </a:lnTo>
                <a:lnTo>
                  <a:pt x="50" y="14"/>
                </a:lnTo>
                <a:lnTo>
                  <a:pt x="52" y="14"/>
                </a:lnTo>
                <a:lnTo>
                  <a:pt x="52" y="12"/>
                </a:lnTo>
                <a:lnTo>
                  <a:pt x="52" y="10"/>
                </a:lnTo>
                <a:lnTo>
                  <a:pt x="54" y="8"/>
                </a:lnTo>
                <a:lnTo>
                  <a:pt x="54" y="6"/>
                </a:lnTo>
                <a:lnTo>
                  <a:pt x="56" y="8"/>
                </a:lnTo>
                <a:lnTo>
                  <a:pt x="58" y="8"/>
                </a:lnTo>
                <a:lnTo>
                  <a:pt x="62" y="10"/>
                </a:lnTo>
                <a:lnTo>
                  <a:pt x="70" y="18"/>
                </a:lnTo>
                <a:lnTo>
                  <a:pt x="72" y="20"/>
                </a:lnTo>
                <a:lnTo>
                  <a:pt x="74" y="24"/>
                </a:lnTo>
                <a:lnTo>
                  <a:pt x="74" y="26"/>
                </a:lnTo>
                <a:lnTo>
                  <a:pt x="78" y="26"/>
                </a:lnTo>
                <a:lnTo>
                  <a:pt x="80" y="26"/>
                </a:lnTo>
                <a:lnTo>
                  <a:pt x="90" y="32"/>
                </a:lnTo>
                <a:lnTo>
                  <a:pt x="92" y="32"/>
                </a:lnTo>
                <a:lnTo>
                  <a:pt x="94" y="34"/>
                </a:lnTo>
                <a:lnTo>
                  <a:pt x="100" y="34"/>
                </a:lnTo>
                <a:lnTo>
                  <a:pt x="106" y="36"/>
                </a:lnTo>
                <a:lnTo>
                  <a:pt x="116" y="40"/>
                </a:lnTo>
                <a:lnTo>
                  <a:pt x="120" y="42"/>
                </a:lnTo>
                <a:lnTo>
                  <a:pt x="122" y="44"/>
                </a:lnTo>
                <a:lnTo>
                  <a:pt x="126" y="46"/>
                </a:lnTo>
                <a:lnTo>
                  <a:pt x="126" y="48"/>
                </a:lnTo>
                <a:lnTo>
                  <a:pt x="126" y="50"/>
                </a:lnTo>
                <a:lnTo>
                  <a:pt x="128" y="52"/>
                </a:lnTo>
                <a:lnTo>
                  <a:pt x="128" y="54"/>
                </a:lnTo>
                <a:lnTo>
                  <a:pt x="134" y="60"/>
                </a:lnTo>
                <a:lnTo>
                  <a:pt x="138" y="62"/>
                </a:lnTo>
                <a:lnTo>
                  <a:pt x="140" y="64"/>
                </a:lnTo>
                <a:lnTo>
                  <a:pt x="142" y="64"/>
                </a:lnTo>
                <a:lnTo>
                  <a:pt x="142" y="66"/>
                </a:lnTo>
                <a:lnTo>
                  <a:pt x="142" y="70"/>
                </a:lnTo>
                <a:lnTo>
                  <a:pt x="144" y="74"/>
                </a:lnTo>
                <a:lnTo>
                  <a:pt x="144" y="76"/>
                </a:lnTo>
                <a:lnTo>
                  <a:pt x="146" y="76"/>
                </a:lnTo>
                <a:lnTo>
                  <a:pt x="150" y="78"/>
                </a:lnTo>
                <a:lnTo>
                  <a:pt x="152" y="80"/>
                </a:lnTo>
                <a:lnTo>
                  <a:pt x="152" y="84"/>
                </a:lnTo>
                <a:lnTo>
                  <a:pt x="152" y="88"/>
                </a:lnTo>
                <a:lnTo>
                  <a:pt x="150" y="90"/>
                </a:lnTo>
                <a:lnTo>
                  <a:pt x="150" y="94"/>
                </a:lnTo>
                <a:lnTo>
                  <a:pt x="150" y="98"/>
                </a:lnTo>
                <a:lnTo>
                  <a:pt x="148" y="96"/>
                </a:lnTo>
                <a:lnTo>
                  <a:pt x="142" y="92"/>
                </a:lnTo>
                <a:lnTo>
                  <a:pt x="140" y="92"/>
                </a:lnTo>
                <a:lnTo>
                  <a:pt x="140" y="94"/>
                </a:lnTo>
                <a:lnTo>
                  <a:pt x="138" y="94"/>
                </a:lnTo>
                <a:lnTo>
                  <a:pt x="138" y="96"/>
                </a:lnTo>
                <a:lnTo>
                  <a:pt x="140" y="96"/>
                </a:lnTo>
                <a:lnTo>
                  <a:pt x="142" y="100"/>
                </a:lnTo>
                <a:lnTo>
                  <a:pt x="146" y="102"/>
                </a:lnTo>
                <a:lnTo>
                  <a:pt x="146" y="104"/>
                </a:lnTo>
                <a:lnTo>
                  <a:pt x="146" y="106"/>
                </a:lnTo>
                <a:lnTo>
                  <a:pt x="146" y="122"/>
                </a:lnTo>
                <a:lnTo>
                  <a:pt x="146" y="124"/>
                </a:lnTo>
                <a:lnTo>
                  <a:pt x="146" y="126"/>
                </a:lnTo>
                <a:lnTo>
                  <a:pt x="144" y="128"/>
                </a:lnTo>
                <a:lnTo>
                  <a:pt x="142" y="130"/>
                </a:lnTo>
                <a:lnTo>
                  <a:pt x="138" y="134"/>
                </a:lnTo>
                <a:lnTo>
                  <a:pt x="136" y="134"/>
                </a:lnTo>
                <a:lnTo>
                  <a:pt x="134" y="134"/>
                </a:lnTo>
                <a:lnTo>
                  <a:pt x="132" y="134"/>
                </a:lnTo>
                <a:lnTo>
                  <a:pt x="130" y="130"/>
                </a:lnTo>
                <a:lnTo>
                  <a:pt x="128" y="128"/>
                </a:lnTo>
                <a:lnTo>
                  <a:pt x="124" y="128"/>
                </a:lnTo>
                <a:lnTo>
                  <a:pt x="120" y="126"/>
                </a:lnTo>
                <a:lnTo>
                  <a:pt x="118" y="126"/>
                </a:lnTo>
                <a:lnTo>
                  <a:pt x="108" y="130"/>
                </a:lnTo>
                <a:lnTo>
                  <a:pt x="106" y="134"/>
                </a:lnTo>
                <a:lnTo>
                  <a:pt x="102" y="138"/>
                </a:lnTo>
                <a:lnTo>
                  <a:pt x="102" y="140"/>
                </a:lnTo>
                <a:lnTo>
                  <a:pt x="102" y="150"/>
                </a:lnTo>
                <a:lnTo>
                  <a:pt x="104" y="150"/>
                </a:lnTo>
                <a:lnTo>
                  <a:pt x="104" y="152"/>
                </a:lnTo>
                <a:lnTo>
                  <a:pt x="106" y="154"/>
                </a:lnTo>
                <a:lnTo>
                  <a:pt x="106" y="156"/>
                </a:lnTo>
                <a:lnTo>
                  <a:pt x="106" y="158"/>
                </a:lnTo>
                <a:lnTo>
                  <a:pt x="104" y="162"/>
                </a:lnTo>
                <a:lnTo>
                  <a:pt x="102" y="162"/>
                </a:lnTo>
                <a:lnTo>
                  <a:pt x="100" y="164"/>
                </a:lnTo>
                <a:lnTo>
                  <a:pt x="88" y="166"/>
                </a:lnTo>
                <a:lnTo>
                  <a:pt x="86" y="164"/>
                </a:lnTo>
                <a:lnTo>
                  <a:pt x="84" y="164"/>
                </a:lnTo>
                <a:lnTo>
                  <a:pt x="82" y="164"/>
                </a:lnTo>
                <a:close/>
              </a:path>
            </a:pathLst>
          </a:custGeom>
          <a:solidFill>
            <a:srgbClr val="B9B9B9"/>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323" name="Freeform 2819"/>
          <p:cNvSpPr>
            <a:spLocks/>
          </p:cNvSpPr>
          <p:nvPr/>
        </p:nvSpPr>
        <p:spPr bwMode="auto">
          <a:xfrm>
            <a:off x="5082092" y="3233739"/>
            <a:ext cx="129961" cy="138823"/>
          </a:xfrm>
          <a:custGeom>
            <a:avLst/>
            <a:gdLst/>
            <a:ahLst/>
            <a:cxnLst>
              <a:cxn ang="0">
                <a:pos x="0" y="88"/>
              </a:cxn>
              <a:cxn ang="0">
                <a:pos x="4" y="84"/>
              </a:cxn>
              <a:cxn ang="0">
                <a:pos x="8" y="82"/>
              </a:cxn>
              <a:cxn ang="0">
                <a:pos x="12" y="78"/>
              </a:cxn>
              <a:cxn ang="0">
                <a:pos x="16" y="66"/>
              </a:cxn>
              <a:cxn ang="0">
                <a:pos x="10" y="64"/>
              </a:cxn>
              <a:cxn ang="0">
                <a:pos x="8" y="50"/>
              </a:cxn>
              <a:cxn ang="0">
                <a:pos x="8" y="42"/>
              </a:cxn>
              <a:cxn ang="0">
                <a:pos x="8" y="38"/>
              </a:cxn>
              <a:cxn ang="0">
                <a:pos x="12" y="44"/>
              </a:cxn>
              <a:cxn ang="0">
                <a:pos x="12" y="48"/>
              </a:cxn>
              <a:cxn ang="0">
                <a:pos x="12" y="52"/>
              </a:cxn>
              <a:cxn ang="0">
                <a:pos x="16" y="48"/>
              </a:cxn>
              <a:cxn ang="0">
                <a:pos x="20" y="30"/>
              </a:cxn>
              <a:cxn ang="0">
                <a:pos x="24" y="30"/>
              </a:cxn>
              <a:cxn ang="0">
                <a:pos x="26" y="26"/>
              </a:cxn>
              <a:cxn ang="0">
                <a:pos x="34" y="32"/>
              </a:cxn>
              <a:cxn ang="0">
                <a:pos x="38" y="36"/>
              </a:cxn>
              <a:cxn ang="0">
                <a:pos x="40" y="42"/>
              </a:cxn>
              <a:cxn ang="0">
                <a:pos x="44" y="46"/>
              </a:cxn>
              <a:cxn ang="0">
                <a:pos x="46" y="44"/>
              </a:cxn>
              <a:cxn ang="0">
                <a:pos x="44" y="26"/>
              </a:cxn>
              <a:cxn ang="0">
                <a:pos x="40" y="10"/>
              </a:cxn>
              <a:cxn ang="0">
                <a:pos x="42" y="4"/>
              </a:cxn>
              <a:cxn ang="0">
                <a:pos x="48" y="2"/>
              </a:cxn>
              <a:cxn ang="0">
                <a:pos x="58" y="4"/>
              </a:cxn>
              <a:cxn ang="0">
                <a:pos x="62" y="0"/>
              </a:cxn>
              <a:cxn ang="0">
                <a:pos x="70" y="0"/>
              </a:cxn>
              <a:cxn ang="0">
                <a:pos x="82" y="4"/>
              </a:cxn>
              <a:cxn ang="0">
                <a:pos x="86" y="8"/>
              </a:cxn>
              <a:cxn ang="0">
                <a:pos x="86" y="14"/>
              </a:cxn>
              <a:cxn ang="0">
                <a:pos x="84" y="18"/>
              </a:cxn>
              <a:cxn ang="0">
                <a:pos x="82" y="24"/>
              </a:cxn>
              <a:cxn ang="0">
                <a:pos x="78" y="28"/>
              </a:cxn>
              <a:cxn ang="0">
                <a:pos x="82" y="30"/>
              </a:cxn>
              <a:cxn ang="0">
                <a:pos x="86" y="30"/>
              </a:cxn>
              <a:cxn ang="0">
                <a:pos x="86" y="26"/>
              </a:cxn>
              <a:cxn ang="0">
                <a:pos x="88" y="32"/>
              </a:cxn>
              <a:cxn ang="0">
                <a:pos x="82" y="46"/>
              </a:cxn>
              <a:cxn ang="0">
                <a:pos x="80" y="52"/>
              </a:cxn>
              <a:cxn ang="0">
                <a:pos x="74" y="62"/>
              </a:cxn>
              <a:cxn ang="0">
                <a:pos x="66" y="64"/>
              </a:cxn>
              <a:cxn ang="0">
                <a:pos x="52" y="70"/>
              </a:cxn>
              <a:cxn ang="0">
                <a:pos x="48" y="72"/>
              </a:cxn>
              <a:cxn ang="0">
                <a:pos x="48" y="76"/>
              </a:cxn>
              <a:cxn ang="0">
                <a:pos x="46" y="80"/>
              </a:cxn>
              <a:cxn ang="0">
                <a:pos x="40" y="82"/>
              </a:cxn>
              <a:cxn ang="0">
                <a:pos x="40" y="78"/>
              </a:cxn>
              <a:cxn ang="0">
                <a:pos x="42" y="72"/>
              </a:cxn>
              <a:cxn ang="0">
                <a:pos x="40" y="70"/>
              </a:cxn>
              <a:cxn ang="0">
                <a:pos x="30" y="74"/>
              </a:cxn>
              <a:cxn ang="0">
                <a:pos x="28" y="82"/>
              </a:cxn>
              <a:cxn ang="0">
                <a:pos x="18" y="86"/>
              </a:cxn>
              <a:cxn ang="0">
                <a:pos x="18" y="90"/>
              </a:cxn>
              <a:cxn ang="0">
                <a:pos x="12" y="94"/>
              </a:cxn>
              <a:cxn ang="0">
                <a:pos x="10" y="92"/>
              </a:cxn>
              <a:cxn ang="0">
                <a:pos x="12" y="86"/>
              </a:cxn>
              <a:cxn ang="0">
                <a:pos x="0" y="92"/>
              </a:cxn>
            </a:cxnLst>
            <a:rect l="0" t="0" r="r" b="b"/>
            <a:pathLst>
              <a:path w="88" h="94">
                <a:moveTo>
                  <a:pt x="0" y="92"/>
                </a:moveTo>
                <a:lnTo>
                  <a:pt x="0" y="88"/>
                </a:lnTo>
                <a:lnTo>
                  <a:pt x="2" y="84"/>
                </a:lnTo>
                <a:lnTo>
                  <a:pt x="4" y="84"/>
                </a:lnTo>
                <a:lnTo>
                  <a:pt x="4" y="82"/>
                </a:lnTo>
                <a:lnTo>
                  <a:pt x="8" y="82"/>
                </a:lnTo>
                <a:lnTo>
                  <a:pt x="10" y="80"/>
                </a:lnTo>
                <a:lnTo>
                  <a:pt x="12" y="78"/>
                </a:lnTo>
                <a:lnTo>
                  <a:pt x="16" y="68"/>
                </a:lnTo>
                <a:lnTo>
                  <a:pt x="16" y="66"/>
                </a:lnTo>
                <a:lnTo>
                  <a:pt x="12" y="66"/>
                </a:lnTo>
                <a:lnTo>
                  <a:pt x="10" y="64"/>
                </a:lnTo>
                <a:lnTo>
                  <a:pt x="6" y="52"/>
                </a:lnTo>
                <a:lnTo>
                  <a:pt x="8" y="50"/>
                </a:lnTo>
                <a:lnTo>
                  <a:pt x="8" y="46"/>
                </a:lnTo>
                <a:lnTo>
                  <a:pt x="8" y="42"/>
                </a:lnTo>
                <a:lnTo>
                  <a:pt x="8" y="40"/>
                </a:lnTo>
                <a:lnTo>
                  <a:pt x="8" y="38"/>
                </a:lnTo>
                <a:lnTo>
                  <a:pt x="12" y="42"/>
                </a:lnTo>
                <a:lnTo>
                  <a:pt x="12" y="44"/>
                </a:lnTo>
                <a:lnTo>
                  <a:pt x="12" y="46"/>
                </a:lnTo>
                <a:lnTo>
                  <a:pt x="12" y="48"/>
                </a:lnTo>
                <a:lnTo>
                  <a:pt x="12" y="50"/>
                </a:lnTo>
                <a:lnTo>
                  <a:pt x="12" y="52"/>
                </a:lnTo>
                <a:lnTo>
                  <a:pt x="14" y="52"/>
                </a:lnTo>
                <a:lnTo>
                  <a:pt x="16" y="48"/>
                </a:lnTo>
                <a:lnTo>
                  <a:pt x="16" y="44"/>
                </a:lnTo>
                <a:lnTo>
                  <a:pt x="20" y="30"/>
                </a:lnTo>
                <a:lnTo>
                  <a:pt x="22" y="30"/>
                </a:lnTo>
                <a:lnTo>
                  <a:pt x="24" y="30"/>
                </a:lnTo>
                <a:lnTo>
                  <a:pt x="24" y="28"/>
                </a:lnTo>
                <a:lnTo>
                  <a:pt x="26" y="26"/>
                </a:lnTo>
                <a:lnTo>
                  <a:pt x="28" y="26"/>
                </a:lnTo>
                <a:lnTo>
                  <a:pt x="34" y="32"/>
                </a:lnTo>
                <a:lnTo>
                  <a:pt x="38" y="34"/>
                </a:lnTo>
                <a:lnTo>
                  <a:pt x="38" y="36"/>
                </a:lnTo>
                <a:lnTo>
                  <a:pt x="38" y="38"/>
                </a:lnTo>
                <a:lnTo>
                  <a:pt x="40" y="42"/>
                </a:lnTo>
                <a:lnTo>
                  <a:pt x="40" y="44"/>
                </a:lnTo>
                <a:lnTo>
                  <a:pt x="44" y="46"/>
                </a:lnTo>
                <a:lnTo>
                  <a:pt x="46" y="46"/>
                </a:lnTo>
                <a:lnTo>
                  <a:pt x="46" y="44"/>
                </a:lnTo>
                <a:lnTo>
                  <a:pt x="44" y="32"/>
                </a:lnTo>
                <a:lnTo>
                  <a:pt x="44" y="26"/>
                </a:lnTo>
                <a:lnTo>
                  <a:pt x="42" y="22"/>
                </a:lnTo>
                <a:lnTo>
                  <a:pt x="40" y="10"/>
                </a:lnTo>
                <a:lnTo>
                  <a:pt x="40" y="4"/>
                </a:lnTo>
                <a:lnTo>
                  <a:pt x="42" y="4"/>
                </a:lnTo>
                <a:lnTo>
                  <a:pt x="44" y="2"/>
                </a:lnTo>
                <a:lnTo>
                  <a:pt x="48" y="2"/>
                </a:lnTo>
                <a:lnTo>
                  <a:pt x="56" y="4"/>
                </a:lnTo>
                <a:lnTo>
                  <a:pt x="58" y="4"/>
                </a:lnTo>
                <a:lnTo>
                  <a:pt x="62" y="2"/>
                </a:lnTo>
                <a:lnTo>
                  <a:pt x="62" y="0"/>
                </a:lnTo>
                <a:lnTo>
                  <a:pt x="66" y="0"/>
                </a:lnTo>
                <a:lnTo>
                  <a:pt x="70" y="0"/>
                </a:lnTo>
                <a:lnTo>
                  <a:pt x="74" y="4"/>
                </a:lnTo>
                <a:lnTo>
                  <a:pt x="82" y="4"/>
                </a:lnTo>
                <a:lnTo>
                  <a:pt x="86" y="6"/>
                </a:lnTo>
                <a:lnTo>
                  <a:pt x="86" y="8"/>
                </a:lnTo>
                <a:lnTo>
                  <a:pt x="86" y="12"/>
                </a:lnTo>
                <a:lnTo>
                  <a:pt x="86" y="14"/>
                </a:lnTo>
                <a:lnTo>
                  <a:pt x="86" y="16"/>
                </a:lnTo>
                <a:lnTo>
                  <a:pt x="84" y="18"/>
                </a:lnTo>
                <a:lnTo>
                  <a:pt x="82" y="22"/>
                </a:lnTo>
                <a:lnTo>
                  <a:pt x="82" y="24"/>
                </a:lnTo>
                <a:lnTo>
                  <a:pt x="80" y="26"/>
                </a:lnTo>
                <a:lnTo>
                  <a:pt x="78" y="28"/>
                </a:lnTo>
                <a:lnTo>
                  <a:pt x="80" y="30"/>
                </a:lnTo>
                <a:lnTo>
                  <a:pt x="82" y="30"/>
                </a:lnTo>
                <a:lnTo>
                  <a:pt x="84" y="30"/>
                </a:lnTo>
                <a:lnTo>
                  <a:pt x="86" y="30"/>
                </a:lnTo>
                <a:lnTo>
                  <a:pt x="84" y="30"/>
                </a:lnTo>
                <a:lnTo>
                  <a:pt x="86" y="26"/>
                </a:lnTo>
                <a:lnTo>
                  <a:pt x="88" y="30"/>
                </a:lnTo>
                <a:lnTo>
                  <a:pt x="88" y="32"/>
                </a:lnTo>
                <a:lnTo>
                  <a:pt x="86" y="36"/>
                </a:lnTo>
                <a:lnTo>
                  <a:pt x="82" y="46"/>
                </a:lnTo>
                <a:lnTo>
                  <a:pt x="82" y="48"/>
                </a:lnTo>
                <a:lnTo>
                  <a:pt x="80" y="52"/>
                </a:lnTo>
                <a:lnTo>
                  <a:pt x="76" y="58"/>
                </a:lnTo>
                <a:lnTo>
                  <a:pt x="74" y="62"/>
                </a:lnTo>
                <a:lnTo>
                  <a:pt x="68" y="66"/>
                </a:lnTo>
                <a:lnTo>
                  <a:pt x="66" y="64"/>
                </a:lnTo>
                <a:lnTo>
                  <a:pt x="62" y="64"/>
                </a:lnTo>
                <a:lnTo>
                  <a:pt x="52" y="70"/>
                </a:lnTo>
                <a:lnTo>
                  <a:pt x="50" y="72"/>
                </a:lnTo>
                <a:lnTo>
                  <a:pt x="48" y="72"/>
                </a:lnTo>
                <a:lnTo>
                  <a:pt x="48" y="74"/>
                </a:lnTo>
                <a:lnTo>
                  <a:pt x="48" y="76"/>
                </a:lnTo>
                <a:lnTo>
                  <a:pt x="48" y="78"/>
                </a:lnTo>
                <a:lnTo>
                  <a:pt x="46" y="80"/>
                </a:lnTo>
                <a:lnTo>
                  <a:pt x="44" y="82"/>
                </a:lnTo>
                <a:lnTo>
                  <a:pt x="40" y="82"/>
                </a:lnTo>
                <a:lnTo>
                  <a:pt x="40" y="80"/>
                </a:lnTo>
                <a:lnTo>
                  <a:pt x="40" y="78"/>
                </a:lnTo>
                <a:lnTo>
                  <a:pt x="40" y="76"/>
                </a:lnTo>
                <a:lnTo>
                  <a:pt x="42" y="72"/>
                </a:lnTo>
                <a:lnTo>
                  <a:pt x="42" y="70"/>
                </a:lnTo>
                <a:lnTo>
                  <a:pt x="40" y="70"/>
                </a:lnTo>
                <a:lnTo>
                  <a:pt x="32" y="74"/>
                </a:lnTo>
                <a:lnTo>
                  <a:pt x="30" y="74"/>
                </a:lnTo>
                <a:lnTo>
                  <a:pt x="30" y="78"/>
                </a:lnTo>
                <a:lnTo>
                  <a:pt x="28" y="82"/>
                </a:lnTo>
                <a:lnTo>
                  <a:pt x="22" y="84"/>
                </a:lnTo>
                <a:lnTo>
                  <a:pt x="18" y="86"/>
                </a:lnTo>
                <a:lnTo>
                  <a:pt x="18" y="88"/>
                </a:lnTo>
                <a:lnTo>
                  <a:pt x="18" y="90"/>
                </a:lnTo>
                <a:lnTo>
                  <a:pt x="16" y="92"/>
                </a:lnTo>
                <a:lnTo>
                  <a:pt x="12" y="94"/>
                </a:lnTo>
                <a:lnTo>
                  <a:pt x="10" y="94"/>
                </a:lnTo>
                <a:lnTo>
                  <a:pt x="10" y="92"/>
                </a:lnTo>
                <a:lnTo>
                  <a:pt x="12" y="92"/>
                </a:lnTo>
                <a:lnTo>
                  <a:pt x="12" y="86"/>
                </a:lnTo>
                <a:lnTo>
                  <a:pt x="6" y="90"/>
                </a:lnTo>
                <a:lnTo>
                  <a:pt x="0" y="92"/>
                </a:lnTo>
                <a:close/>
              </a:path>
            </a:pathLst>
          </a:custGeom>
          <a:solidFill>
            <a:schemeClr val="bg1"/>
          </a:solidFill>
          <a:ln w="3175" cmpd="sng">
            <a:solidFill>
              <a:schemeClr val="bg1"/>
            </a:solidFill>
            <a:round/>
            <a:headEnd/>
            <a:tailEnd/>
          </a:ln>
        </p:spPr>
        <p:txBody>
          <a:bodyPr>
            <a:prstTxWarp prst="textNoShape">
              <a:avLst/>
            </a:prstTxWarp>
          </a:bodyPr>
          <a:lstStyle/>
          <a:p>
            <a:endParaRPr lang="en-GB">
              <a:solidFill>
                <a:srgbClr val="000000"/>
              </a:solidFill>
            </a:endParaRPr>
          </a:p>
        </p:txBody>
      </p:sp>
      <p:sp>
        <p:nvSpPr>
          <p:cNvPr id="1348" name="Title 1347"/>
          <p:cNvSpPr>
            <a:spLocks noGrp="1"/>
          </p:cNvSpPr>
          <p:nvPr>
            <p:ph type="title"/>
          </p:nvPr>
        </p:nvSpPr>
        <p:spPr/>
        <p:txBody>
          <a:bodyPr/>
          <a:lstStyle/>
          <a:p>
            <a:r>
              <a:rPr lang="en-US"/>
              <a:t>Click to edit Master title style</a:t>
            </a:r>
            <a:endParaRPr lang="en-GB"/>
          </a:p>
        </p:txBody>
      </p:sp>
      <p:sp>
        <p:nvSpPr>
          <p:cNvPr id="1350" name="Slide Number Placeholder 1349"/>
          <p:cNvSpPr>
            <a:spLocks noGrp="1"/>
          </p:cNvSpPr>
          <p:nvPr>
            <p:ph type="sldNum" sz="quarter" idx="11"/>
          </p:nvPr>
        </p:nvSpPr>
        <p:spPr/>
        <p:txBody>
          <a:bodyPr/>
          <a:lstStyle/>
          <a:p>
            <a:fld id="{F624A8C7-D029-401D-A8B1-18FF118BE1BB}" type="slidenum">
              <a:rPr lang="en-GB" smtClean="0">
                <a:solidFill>
                  <a:srgbClr val="000000"/>
                </a:solidFill>
              </a:rPr>
              <a:pPr/>
              <a:t>‹#›</a:t>
            </a:fld>
            <a:endParaRPr lang="en-GB" dirty="0">
              <a:solidFill>
                <a:srgbClr val="000000"/>
              </a:solidFill>
            </a:endParaRPr>
          </a:p>
        </p:txBody>
      </p:sp>
      <p:grpSp>
        <p:nvGrpSpPr>
          <p:cNvPr id="2" name="Group 1"/>
          <p:cNvGrpSpPr/>
          <p:nvPr userDrawn="1"/>
        </p:nvGrpSpPr>
        <p:grpSpPr>
          <a:xfrm>
            <a:off x="2657306" y="2211220"/>
            <a:ext cx="4462485" cy="4091208"/>
            <a:chOff x="2657306" y="2211220"/>
            <a:chExt cx="4462485" cy="4091208"/>
          </a:xfrm>
        </p:grpSpPr>
        <p:sp>
          <p:nvSpPr>
            <p:cNvPr id="265" name="Rectangle 1440"/>
            <p:cNvSpPr>
              <a:spLocks noChangeArrowheads="1"/>
            </p:cNvSpPr>
            <p:nvPr/>
          </p:nvSpPr>
          <p:spPr bwMode="auto">
            <a:xfrm>
              <a:off x="5282914" y="4036081"/>
              <a:ext cx="1275246" cy="21544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srgbClr val="000000"/>
                  </a:solidFill>
                </a:rPr>
                <a:t>Germany</a:t>
              </a:r>
            </a:p>
          </p:txBody>
        </p:sp>
        <p:sp>
          <p:nvSpPr>
            <p:cNvPr id="266" name="Rectangle 1441"/>
            <p:cNvSpPr>
              <a:spLocks noChangeArrowheads="1"/>
            </p:cNvSpPr>
            <p:nvPr/>
          </p:nvSpPr>
          <p:spPr bwMode="auto">
            <a:xfrm>
              <a:off x="2657306" y="4744468"/>
              <a:ext cx="1032397" cy="215444"/>
            </a:xfrm>
            <a:prstGeom prst="rect">
              <a:avLst/>
            </a:prstGeom>
            <a:noFill/>
            <a:ln w="9525">
              <a:noFill/>
              <a:miter lim="800000"/>
              <a:headEnd/>
              <a:tailEnd/>
            </a:ln>
          </p:spPr>
          <p:txBody>
            <a:bodyPr wrap="square" lIns="0" tIns="0" rIns="0" bIns="0">
              <a:prstTxWarp prst="textNoShape">
                <a:avLst/>
              </a:prstTxWarp>
              <a:spAutoFit/>
            </a:bodyPr>
            <a:lstStyle/>
            <a:p>
              <a:pPr algn="r"/>
              <a:r>
                <a:rPr lang="en-GB" sz="1400" b="1">
                  <a:solidFill>
                    <a:srgbClr val="000000"/>
                  </a:solidFill>
                </a:rPr>
                <a:t>France</a:t>
              </a:r>
            </a:p>
          </p:txBody>
        </p:sp>
        <p:sp>
          <p:nvSpPr>
            <p:cNvPr id="267" name="Rectangle 1461"/>
            <p:cNvSpPr>
              <a:spLocks noChangeArrowheads="1"/>
            </p:cNvSpPr>
            <p:nvPr/>
          </p:nvSpPr>
          <p:spPr bwMode="auto">
            <a:xfrm>
              <a:off x="6044955" y="5137466"/>
              <a:ext cx="1074836" cy="215444"/>
            </a:xfrm>
            <a:prstGeom prst="rect">
              <a:avLst/>
            </a:prstGeom>
            <a:noFill/>
            <a:ln w="9525">
              <a:noFill/>
              <a:miter lim="800000"/>
              <a:headEnd/>
              <a:tailEnd/>
            </a:ln>
          </p:spPr>
          <p:txBody>
            <a:bodyPr wrap="square" lIns="0" tIns="0" rIns="0" bIns="0">
              <a:prstTxWarp prst="textNoShape">
                <a:avLst/>
              </a:prstTxWarp>
              <a:spAutoFit/>
            </a:bodyPr>
            <a:lstStyle/>
            <a:p>
              <a:r>
                <a:rPr lang="en-GB" sz="1400" b="1">
                  <a:solidFill>
                    <a:srgbClr val="000000"/>
                  </a:solidFill>
                </a:rPr>
                <a:t>Serbia</a:t>
              </a:r>
            </a:p>
          </p:txBody>
        </p:sp>
        <p:sp>
          <p:nvSpPr>
            <p:cNvPr id="268" name="Rectangle 1477"/>
            <p:cNvSpPr>
              <a:spLocks noChangeArrowheads="1"/>
            </p:cNvSpPr>
            <p:nvPr/>
          </p:nvSpPr>
          <p:spPr bwMode="auto">
            <a:xfrm>
              <a:off x="3471604" y="2211220"/>
              <a:ext cx="905300" cy="215444"/>
            </a:xfrm>
            <a:prstGeom prst="rect">
              <a:avLst/>
            </a:prstGeom>
            <a:noFill/>
            <a:ln w="9525">
              <a:noFill/>
              <a:miter lim="800000"/>
              <a:headEnd/>
              <a:tailEnd/>
            </a:ln>
          </p:spPr>
          <p:txBody>
            <a:bodyPr wrap="square" lIns="0" tIns="0" rIns="0" bIns="0">
              <a:prstTxWarp prst="textNoShape">
                <a:avLst/>
              </a:prstTxWarp>
              <a:spAutoFit/>
            </a:bodyPr>
            <a:lstStyle/>
            <a:p>
              <a:r>
                <a:rPr lang="en-GB" sz="1400" b="1" dirty="0">
                  <a:solidFill>
                    <a:srgbClr val="000000"/>
                  </a:solidFill>
                </a:rPr>
                <a:t>Iceland</a:t>
              </a:r>
            </a:p>
          </p:txBody>
        </p:sp>
        <p:sp>
          <p:nvSpPr>
            <p:cNvPr id="269" name="Rectangle 1480"/>
            <p:cNvSpPr>
              <a:spLocks noChangeArrowheads="1"/>
            </p:cNvSpPr>
            <p:nvPr/>
          </p:nvSpPr>
          <p:spPr bwMode="auto">
            <a:xfrm>
              <a:off x="4116735" y="3751000"/>
              <a:ext cx="559455" cy="162032"/>
            </a:xfrm>
            <a:prstGeom prst="rect">
              <a:avLst/>
            </a:prstGeom>
            <a:noFill/>
            <a:ln w="9525">
              <a:noFill/>
              <a:miter lim="800000"/>
              <a:headEnd/>
              <a:tailEnd/>
            </a:ln>
          </p:spPr>
          <p:txBody>
            <a:bodyPr wrap="square" lIns="0" tIns="0" rIns="0" bIns="0">
              <a:prstTxWarp prst="textNoShape">
                <a:avLst/>
              </a:prstTxWarp>
              <a:spAutoFit/>
            </a:bodyPr>
            <a:lstStyle/>
            <a:p>
              <a:pPr>
                <a:lnSpc>
                  <a:spcPct val="75000"/>
                </a:lnSpc>
              </a:pPr>
              <a:r>
                <a:rPr lang="en-GB" sz="1400" b="1">
                  <a:solidFill>
                    <a:srgbClr val="000000"/>
                  </a:solidFill>
                </a:rPr>
                <a:t>UK</a:t>
              </a:r>
            </a:p>
          </p:txBody>
        </p:sp>
        <p:sp>
          <p:nvSpPr>
            <p:cNvPr id="271" name="Rectangle 270"/>
            <p:cNvSpPr>
              <a:spLocks noChangeArrowheads="1"/>
            </p:cNvSpPr>
            <p:nvPr/>
          </p:nvSpPr>
          <p:spPr bwMode="auto">
            <a:xfrm>
              <a:off x="3487873" y="6086984"/>
              <a:ext cx="1032397"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r>
                <a:rPr lang="en-GB" sz="1400" b="1">
                  <a:solidFill>
                    <a:srgbClr val="000000"/>
                  </a:solidFill>
                </a:rPr>
                <a:t>Spain</a:t>
              </a:r>
            </a:p>
          </p:txBody>
        </p:sp>
        <p:sp>
          <p:nvSpPr>
            <p:cNvPr id="324" name="Rectangle 323"/>
            <p:cNvSpPr>
              <a:spLocks noChangeArrowheads="1"/>
            </p:cNvSpPr>
            <p:nvPr/>
          </p:nvSpPr>
          <p:spPr bwMode="auto">
            <a:xfrm>
              <a:off x="4836769" y="5701853"/>
              <a:ext cx="1032397" cy="215444"/>
            </a:xfrm>
            <a:prstGeom prst="rect">
              <a:avLst/>
            </a:prstGeom>
            <a:noFill/>
            <a:ln w="9525">
              <a:noFill/>
              <a:miter lim="800000"/>
              <a:headEnd/>
              <a:tailEnd/>
            </a:ln>
          </p:spPr>
          <p:txBody>
            <a:bodyPr wrap="square" lIns="0" tIns="0" rIns="0" bIns="0">
              <a:prstTxWarp prst="textNoShape">
                <a:avLst/>
              </a:prstTxWarp>
              <a:spAutoFit/>
            </a:bodyPr>
            <a:lstStyle>
              <a:defPPr>
                <a:defRPr lang="en-US"/>
              </a:defPPr>
              <a:lvl1pPr algn="l" defTabSz="457200" rtl="0" fontAlgn="base">
                <a:spcBef>
                  <a:spcPct val="0"/>
                </a:spcBef>
                <a:spcAft>
                  <a:spcPct val="0"/>
                </a:spcAft>
                <a:defRPr sz="2400" kern="1200">
                  <a:solidFill>
                    <a:schemeClr val="tx1"/>
                  </a:solidFill>
                  <a:latin typeface="Arial" charset="0"/>
                  <a:ea typeface="Geneva" charset="0"/>
                  <a:cs typeface="Geneva" charset="0"/>
                </a:defRPr>
              </a:lvl1pPr>
              <a:lvl2pPr marL="457200" algn="l" defTabSz="457200" rtl="0" fontAlgn="base">
                <a:spcBef>
                  <a:spcPct val="0"/>
                </a:spcBef>
                <a:spcAft>
                  <a:spcPct val="0"/>
                </a:spcAft>
                <a:defRPr sz="2400" kern="1200">
                  <a:solidFill>
                    <a:schemeClr val="tx1"/>
                  </a:solidFill>
                  <a:latin typeface="Arial" charset="0"/>
                  <a:ea typeface="Geneva" charset="0"/>
                  <a:cs typeface="Geneva" charset="0"/>
                </a:defRPr>
              </a:lvl2pPr>
              <a:lvl3pPr marL="914400" algn="l" defTabSz="457200" rtl="0" fontAlgn="base">
                <a:spcBef>
                  <a:spcPct val="0"/>
                </a:spcBef>
                <a:spcAft>
                  <a:spcPct val="0"/>
                </a:spcAft>
                <a:defRPr sz="2400" kern="1200">
                  <a:solidFill>
                    <a:schemeClr val="tx1"/>
                  </a:solidFill>
                  <a:latin typeface="Arial" charset="0"/>
                  <a:ea typeface="Geneva" charset="0"/>
                  <a:cs typeface="Geneva" charset="0"/>
                </a:defRPr>
              </a:lvl3pPr>
              <a:lvl4pPr marL="1371600" algn="l" defTabSz="457200" rtl="0" fontAlgn="base">
                <a:spcBef>
                  <a:spcPct val="0"/>
                </a:spcBef>
                <a:spcAft>
                  <a:spcPct val="0"/>
                </a:spcAft>
                <a:defRPr sz="2400" kern="1200">
                  <a:solidFill>
                    <a:schemeClr val="tx1"/>
                  </a:solidFill>
                  <a:latin typeface="Arial" charset="0"/>
                  <a:ea typeface="Geneva" charset="0"/>
                  <a:cs typeface="Geneva" charset="0"/>
                </a:defRPr>
              </a:lvl4pPr>
              <a:lvl5pPr marL="1828800" algn="l" defTabSz="457200" rtl="0" fontAlgn="base">
                <a:spcBef>
                  <a:spcPct val="0"/>
                </a:spcBef>
                <a:spcAft>
                  <a:spcPct val="0"/>
                </a:spcAft>
                <a:defRPr sz="2400" kern="1200">
                  <a:solidFill>
                    <a:schemeClr val="tx1"/>
                  </a:solidFill>
                  <a:latin typeface="Arial" charset="0"/>
                  <a:ea typeface="Geneva" charset="0"/>
                  <a:cs typeface="Geneva" charset="0"/>
                </a:defRPr>
              </a:lvl5pPr>
              <a:lvl6pPr marL="2286000" algn="l" defTabSz="457200" rtl="0" eaLnBrk="1" latinLnBrk="0" hangingPunct="1">
                <a:defRPr sz="2400" kern="1200">
                  <a:solidFill>
                    <a:schemeClr val="tx1"/>
                  </a:solidFill>
                  <a:latin typeface="Arial" charset="0"/>
                  <a:ea typeface="Geneva" charset="0"/>
                  <a:cs typeface="Geneva" charset="0"/>
                </a:defRPr>
              </a:lvl6pPr>
              <a:lvl7pPr marL="2743200" algn="l" defTabSz="457200" rtl="0" eaLnBrk="1" latinLnBrk="0" hangingPunct="1">
                <a:defRPr sz="2400" kern="1200">
                  <a:solidFill>
                    <a:schemeClr val="tx1"/>
                  </a:solidFill>
                  <a:latin typeface="Arial" charset="0"/>
                  <a:ea typeface="Geneva" charset="0"/>
                  <a:cs typeface="Geneva" charset="0"/>
                </a:defRPr>
              </a:lvl7pPr>
              <a:lvl8pPr marL="3200400" algn="l" defTabSz="457200" rtl="0" eaLnBrk="1" latinLnBrk="0" hangingPunct="1">
                <a:defRPr sz="2400" kern="1200">
                  <a:solidFill>
                    <a:schemeClr val="tx1"/>
                  </a:solidFill>
                  <a:latin typeface="Arial" charset="0"/>
                  <a:ea typeface="Geneva" charset="0"/>
                  <a:cs typeface="Geneva" charset="0"/>
                </a:defRPr>
              </a:lvl8pPr>
              <a:lvl9pPr marL="3657600" algn="l" defTabSz="457200" rtl="0" eaLnBrk="1" latinLnBrk="0" hangingPunct="1">
                <a:defRPr sz="2400" kern="1200">
                  <a:solidFill>
                    <a:schemeClr val="tx1"/>
                  </a:solidFill>
                  <a:latin typeface="Arial" charset="0"/>
                  <a:ea typeface="Geneva" charset="0"/>
                  <a:cs typeface="Geneva" charset="0"/>
                </a:defRPr>
              </a:lvl9pPr>
            </a:lstStyle>
            <a:p>
              <a:r>
                <a:rPr lang="en-GB" sz="1400" b="1" dirty="0">
                  <a:solidFill>
                    <a:srgbClr val="000000"/>
                  </a:solidFill>
                </a:rPr>
                <a:t>Italy</a:t>
              </a:r>
            </a:p>
          </p:txBody>
        </p:sp>
      </p:grpSp>
    </p:spTree>
    <p:extLst>
      <p:ext uri="{BB962C8B-B14F-4D97-AF65-F5344CB8AC3E}">
        <p14:creationId xmlns:p14="http://schemas.microsoft.com/office/powerpoint/2010/main" val="303249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amp; Full Blee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endParaRPr lang="en-GB"/>
          </a:p>
        </p:txBody>
      </p:sp>
      <p:sp>
        <p:nvSpPr>
          <p:cNvPr id="6" name="Picture Placeholder 5"/>
          <p:cNvSpPr>
            <a:spLocks noGrp="1"/>
          </p:cNvSpPr>
          <p:nvPr>
            <p:ph type="pic" sz="quarter" idx="10"/>
          </p:nvPr>
        </p:nvSpPr>
        <p:spPr>
          <a:xfrm>
            <a:off x="0" y="3962400"/>
            <a:ext cx="12192000" cy="2311400"/>
          </a:xfrm>
          <a:solidFill>
            <a:schemeClr val="bg1">
              <a:lumMod val="95000"/>
            </a:schemeClr>
          </a:solidFill>
        </p:spPr>
        <p:txBody>
          <a:bodyPr anchor="ctr"/>
          <a:lstStyle>
            <a:lvl1pPr algn="ctr">
              <a:defRPr b="1">
                <a:solidFill>
                  <a:schemeClr val="tx1"/>
                </a:solidFill>
                <a:latin typeface="+mn-lt"/>
              </a:defRPr>
            </a:lvl1pPr>
          </a:lstStyle>
          <a:p>
            <a:endParaRPr lang="en-GB" dirty="0"/>
          </a:p>
        </p:txBody>
      </p:sp>
      <p:sp>
        <p:nvSpPr>
          <p:cNvPr id="8" name="Content Placeholder 2"/>
          <p:cNvSpPr>
            <a:spLocks noGrp="1"/>
          </p:cNvSpPr>
          <p:nvPr>
            <p:ph idx="1"/>
          </p:nvPr>
        </p:nvSpPr>
        <p:spPr>
          <a:xfrm>
            <a:off x="339106" y="1661686"/>
            <a:ext cx="11517932" cy="2119739"/>
          </a:xfrm>
        </p:spPr>
        <p:txBody>
          <a:bodyPr lIns="0" tIns="0" r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1"/>
          </p:nvPr>
        </p:nvSpPr>
        <p:spPr/>
        <p:txBody>
          <a:bodyPr/>
          <a:lstStyle>
            <a:lvl1pPr>
              <a:defRPr>
                <a:latin typeface="+mn-lt"/>
              </a:defRPr>
            </a:lvl1pPr>
          </a:lstStyle>
          <a:p>
            <a:fld id="{BBBAAE38-10EB-4BA4-939A-65D24DBD34C6}" type="slidenum">
              <a:rPr lang="en-GB" smtClean="0">
                <a:solidFill>
                  <a:srgbClr val="000000"/>
                </a:solidFill>
              </a:rPr>
              <a:pPr/>
              <a:t>‹#›</a:t>
            </a:fld>
            <a:endParaRPr lang="en-GB" dirty="0">
              <a:solidFill>
                <a:srgbClr val="000000"/>
              </a:solidFill>
            </a:endParaRPr>
          </a:p>
        </p:txBody>
      </p:sp>
      <p:sp>
        <p:nvSpPr>
          <p:cNvPr id="4" name="Date Placeholder 3"/>
          <p:cNvSpPr>
            <a:spLocks noGrp="1"/>
          </p:cNvSpPr>
          <p:nvPr>
            <p:ph type="dt" sz="half" idx="12"/>
          </p:nvPr>
        </p:nvSpPr>
        <p:spPr/>
        <p:txBody>
          <a:bodyPr/>
          <a:lstStyle/>
          <a:p>
            <a:fld id="{CF77E624-35E7-4FF6-904F-8F0FA780148C}" type="datetime9">
              <a:rPr lang="en-GB" smtClean="0">
                <a:solidFill>
                  <a:srgbClr val="000000"/>
                </a:solidFill>
              </a:rPr>
              <a:pPr/>
              <a:t>15/04/2020 12:03:24</a:t>
            </a:fld>
            <a:endParaRPr lang="en-GB" dirty="0">
              <a:solidFill>
                <a:srgbClr val="000000"/>
              </a:solidFill>
            </a:endParaRPr>
          </a:p>
        </p:txBody>
      </p:sp>
    </p:spTree>
    <p:extLst>
      <p:ext uri="{BB962C8B-B14F-4D97-AF65-F5344CB8AC3E}">
        <p14:creationId xmlns:p14="http://schemas.microsoft.com/office/powerpoint/2010/main" val="199063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vmlDrawing" Target="../drawings/vmlDrawing1.v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image" Target="../media/image1.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oleObject" Target="../embeddings/oleObject1.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tags" Target="../tags/tag1.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20" Type="http://schemas.openxmlformats.org/officeDocument/2006/relationships/slideLayout" Target="../slideLayouts/slideLayout45.xml"/><Relationship Id="rId4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theme" Target="../theme/theme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7398C5-2515-9249-A66D-F5EC64FCA6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AD5D1158-876B-484E-807B-A966F0910E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8F3D4F36-3700-5344-93F8-93639BC30C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A3A085-4476-BC4D-A375-5D90C1C144C4}" type="datetimeFigureOut">
              <a:rPr lang="en-US" smtClean="0"/>
              <a:t>4/15/20</a:t>
            </a:fld>
            <a:endParaRPr lang="en-US"/>
          </a:p>
        </p:txBody>
      </p:sp>
      <p:sp>
        <p:nvSpPr>
          <p:cNvPr id="5" name="Footer Placeholder 4">
            <a:extLst>
              <a:ext uri="{FF2B5EF4-FFF2-40B4-BE49-F238E27FC236}">
                <a16:creationId xmlns:a16="http://schemas.microsoft.com/office/drawing/2014/main" id="{3104B7C5-C02C-4B4D-AD0E-8FE02E1C7D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4354E2C-B0B6-734C-B038-FF0E17289D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9DB153-63FC-5048-89E6-7CD0E7D9EE57}" type="slidenum">
              <a:rPr lang="en-US" smtClean="0"/>
              <a:t>‹#›</a:t>
            </a:fld>
            <a:endParaRPr lang="en-US"/>
          </a:p>
        </p:txBody>
      </p:sp>
    </p:spTree>
    <p:extLst>
      <p:ext uri="{BB962C8B-B14F-4D97-AF65-F5344CB8AC3E}">
        <p14:creationId xmlns:p14="http://schemas.microsoft.com/office/powerpoint/2010/main" val="1969880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000" b="1" i="0" kern="1200">
          <a:solidFill>
            <a:schemeClr val="tx1"/>
          </a:solidFill>
          <a:latin typeface="+mj-lt"/>
          <a:ea typeface="Tahoma" panose="020B0604030504040204" pitchFamily="34" charset="0"/>
          <a:cs typeface="Tahom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1" y="447188"/>
            <a:ext cx="10571999"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810000" y="2184403"/>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451515" y="6041364"/>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dirty="0"/>
          </a:p>
        </p:txBody>
      </p:sp>
      <p:sp>
        <p:nvSpPr>
          <p:cNvPr id="4" name="Date Placeholder 3"/>
          <p:cNvSpPr>
            <a:spLocks noGrp="1"/>
          </p:cNvSpPr>
          <p:nvPr>
            <p:ph type="dt" sz="half" idx="2"/>
          </p:nvPr>
        </p:nvSpPr>
        <p:spPr>
          <a:xfrm>
            <a:off x="9334625" y="6041364"/>
            <a:ext cx="1343707" cy="365125"/>
          </a:xfrm>
          <a:prstGeom prst="rect">
            <a:avLst/>
          </a:prstGeom>
        </p:spPr>
        <p:txBody>
          <a:bodyPr vert="horz" lIns="91440" tIns="45720" rIns="91440" bIns="45720" rtlCol="0" anchor="b"/>
          <a:lstStyle>
            <a:lvl1pPr algn="r">
              <a:defRPr sz="900">
                <a:solidFill>
                  <a:schemeClr val="tx1"/>
                </a:solidFill>
              </a:defRPr>
            </a:lvl1pPr>
          </a:lstStyle>
          <a:p>
            <a:fld id="{86F7BD38-A805-4B2C-9BDF-D56E94387879}" type="datetime1">
              <a:rPr lang="en-US" smtClean="0"/>
              <a:t>4/15/20</a:t>
            </a:fld>
            <a:endParaRPr lang="en-US" dirty="0"/>
          </a:p>
        </p:txBody>
      </p:sp>
      <p:sp>
        <p:nvSpPr>
          <p:cNvPr id="6" name="Slide Number Placeholder 5"/>
          <p:cNvSpPr>
            <a:spLocks noGrp="1"/>
          </p:cNvSpPr>
          <p:nvPr>
            <p:ph type="sldNum" sz="quarter" idx="4"/>
          </p:nvPr>
        </p:nvSpPr>
        <p:spPr>
          <a:xfrm>
            <a:off x="10678332" y="5915890"/>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71582304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sldNum="0" hdr="0" ftr="0" dt="0"/>
  <p:txStyles>
    <p:titleStyle>
      <a:lvl1pPr algn="l" defTabSz="457189"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4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44" imgW="270" imgH="270" progId="TCLayout.ActiveDocument.1">
                  <p:embed/>
                </p:oleObj>
              </mc:Choice>
              <mc:Fallback>
                <p:oleObj name="think-cell Slide" r:id="rId44" imgW="270" imgH="270" progId="TCLayout.ActiveDocument.1">
                  <p:embed/>
                  <p:pic>
                    <p:nvPicPr>
                      <p:cNvPr id="10" name="Object 9" hidden="1"/>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0" y="6286809"/>
            <a:ext cx="12192000" cy="571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GB">
              <a:solidFill>
                <a:prstClr val="white"/>
              </a:solidFill>
            </a:endParaRPr>
          </a:p>
        </p:txBody>
      </p:sp>
      <p:sp>
        <p:nvSpPr>
          <p:cNvPr id="2" name="Title Placeholder 1"/>
          <p:cNvSpPr>
            <a:spLocks noGrp="1"/>
          </p:cNvSpPr>
          <p:nvPr>
            <p:ph type="title"/>
          </p:nvPr>
        </p:nvSpPr>
        <p:spPr>
          <a:xfrm>
            <a:off x="334965" y="235876"/>
            <a:ext cx="11522075" cy="1154774"/>
          </a:xfrm>
          <a:prstGeom prst="rect">
            <a:avLst/>
          </a:prstGeom>
        </p:spPr>
        <p:txBody>
          <a:bodyPr vert="horz" lIns="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336865" y="1659608"/>
            <a:ext cx="11520174" cy="4429253"/>
          </a:xfrm>
          <a:prstGeom prst="rect">
            <a:avLst/>
          </a:prstGeom>
        </p:spPr>
        <p:txBody>
          <a:bodyPr vert="horz" lIns="0" tIns="0" rIns="0" bIns="0" rtlCol="0">
            <a:normAutofit/>
          </a:bodyPr>
          <a:lstStyle/>
          <a:p>
            <a:pPr lvl="0"/>
            <a:r>
              <a:rPr lang="en-US" dirty="0"/>
              <a:t>Click to edit Master text styles</a:t>
            </a:r>
          </a:p>
          <a:p>
            <a:pPr lvl="1"/>
            <a:r>
              <a:rPr lang="en-US" dirty="0"/>
              <a:t>Second level</a:t>
            </a:r>
          </a:p>
        </p:txBody>
      </p:sp>
      <p:sp>
        <p:nvSpPr>
          <p:cNvPr id="4" name="Slide Number Placeholder 3"/>
          <p:cNvSpPr>
            <a:spLocks noGrp="1"/>
          </p:cNvSpPr>
          <p:nvPr>
            <p:ph type="sldNum" sz="quarter" idx="4"/>
          </p:nvPr>
        </p:nvSpPr>
        <p:spPr>
          <a:xfrm>
            <a:off x="10463211" y="6626524"/>
            <a:ext cx="357189" cy="139158"/>
          </a:xfrm>
          <a:prstGeom prst="rect">
            <a:avLst/>
          </a:prstGeom>
        </p:spPr>
        <p:txBody>
          <a:bodyPr vert="horz" lIns="0" tIns="0" rIns="0" bIns="0" rtlCol="0" anchor="ctr"/>
          <a:lstStyle>
            <a:lvl1pPr algn="r">
              <a:defRPr sz="1000">
                <a:solidFill>
                  <a:schemeClr val="tx1"/>
                </a:solidFill>
              </a:defRPr>
            </a:lvl1pPr>
          </a:lstStyle>
          <a:p>
            <a:fld id="{F624A8C7-D029-401D-A8B1-18FF118BE1BB}" type="slidenum">
              <a:rPr lang="en-GB" smtClean="0">
                <a:solidFill>
                  <a:srgbClr val="000000"/>
                </a:solidFill>
              </a:rPr>
              <a:pPr/>
              <a:t>‹#›</a:t>
            </a:fld>
            <a:endParaRPr lang="en-GB" dirty="0">
              <a:solidFill>
                <a:srgbClr val="000000"/>
              </a:solidFill>
            </a:endParaRPr>
          </a:p>
        </p:txBody>
      </p:sp>
      <p:sp>
        <p:nvSpPr>
          <p:cNvPr id="6" name="Rectangle 5"/>
          <p:cNvSpPr/>
          <p:nvPr userDrawn="1"/>
        </p:nvSpPr>
        <p:spPr>
          <a:xfrm>
            <a:off x="10812335" y="6572997"/>
            <a:ext cx="1143262" cy="246221"/>
          </a:xfrm>
          <a:prstGeom prst="rect">
            <a:avLst/>
          </a:prstGeom>
        </p:spPr>
        <p:txBody>
          <a:bodyPr wrap="none">
            <a:spAutoFit/>
          </a:bodyPr>
          <a:lstStyle/>
          <a:p>
            <a:pPr algn="r">
              <a:defRPr/>
            </a:pPr>
            <a:r>
              <a:rPr lang="en-GB" sz="1000" dirty="0">
                <a:solidFill>
                  <a:srgbClr val="000000"/>
                </a:solidFill>
              </a:rPr>
              <a:t>© Rio Tinto 2017</a:t>
            </a:r>
          </a:p>
        </p:txBody>
      </p:sp>
      <p:cxnSp>
        <p:nvCxnSpPr>
          <p:cNvPr id="8" name="Straight Connector 7"/>
          <p:cNvCxnSpPr/>
          <p:nvPr userDrawn="1"/>
        </p:nvCxnSpPr>
        <p:spPr>
          <a:xfrm>
            <a:off x="10860881" y="6641339"/>
            <a:ext cx="0" cy="109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oup 4"/>
          <p:cNvGrpSpPr>
            <a:grpSpLocks noChangeAspect="1"/>
          </p:cNvGrpSpPr>
          <p:nvPr userDrawn="1"/>
        </p:nvGrpSpPr>
        <p:grpSpPr bwMode="auto">
          <a:xfrm>
            <a:off x="334963" y="6396038"/>
            <a:ext cx="965200" cy="352425"/>
            <a:chOff x="211" y="4029"/>
            <a:chExt cx="608" cy="222"/>
          </a:xfrm>
        </p:grpSpPr>
        <p:sp>
          <p:nvSpPr>
            <p:cNvPr id="7"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9" name="Date Placeholder 8"/>
          <p:cNvSpPr>
            <a:spLocks noGrp="1"/>
          </p:cNvSpPr>
          <p:nvPr>
            <p:ph type="dt" sz="half" idx="2"/>
          </p:nvPr>
        </p:nvSpPr>
        <p:spPr>
          <a:xfrm>
            <a:off x="8316310" y="6625282"/>
            <a:ext cx="1621440" cy="140400"/>
          </a:xfrm>
          <a:prstGeom prst="rect">
            <a:avLst/>
          </a:prstGeom>
        </p:spPr>
        <p:txBody>
          <a:bodyPr vert="horz" lIns="91440" tIns="45720" rIns="91440" bIns="45720" rtlCol="0" anchor="ctr"/>
          <a:lstStyle>
            <a:lvl1pPr algn="r">
              <a:defRPr sz="1000">
                <a:solidFill>
                  <a:schemeClr val="tx1"/>
                </a:solidFill>
              </a:defRPr>
            </a:lvl1pPr>
          </a:lstStyle>
          <a:p>
            <a:fld id="{7AF248C6-2C41-44AA-BDC6-BEF6EA060CE1}"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365357484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2000" b="0" kern="1200">
          <a:solidFill>
            <a:schemeClr val="tx1"/>
          </a:solidFill>
          <a:latin typeface="+mn-lt"/>
          <a:ea typeface="+mn-ea"/>
          <a:cs typeface="+mn-cs"/>
        </a:defRPr>
      </a:lvl1pPr>
      <a:lvl2pPr marL="0" indent="0" algn="l" defTabSz="914400" rtl="0" eaLnBrk="1" latinLnBrk="0" hangingPunct="1">
        <a:lnSpc>
          <a:spcPct val="100000"/>
        </a:lnSpc>
        <a:spcBef>
          <a:spcPts val="500"/>
        </a:spcBef>
        <a:spcAft>
          <a:spcPts val="0"/>
        </a:spcAft>
        <a:buFont typeface="Arial" panose="020B0604020202020204" pitchFamily="34" charset="0"/>
        <a:buNone/>
        <a:defRPr sz="1800" kern="1200">
          <a:solidFill>
            <a:schemeClr val="tx1"/>
          </a:solidFill>
          <a:latin typeface="+mn-lt"/>
          <a:ea typeface="+mn-ea"/>
          <a:cs typeface="+mn-cs"/>
        </a:defRPr>
      </a:lvl2pPr>
      <a:lvl3pPr marL="180975" indent="-180975" algn="l" defTabSz="914400" rtl="0" eaLnBrk="1" latinLnBrk="0" hangingPunct="1">
        <a:lnSpc>
          <a:spcPct val="100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3pPr>
      <a:lvl4pPr marL="361950" indent="-180975" algn="l" defTabSz="914400" rtl="0" eaLnBrk="1" latinLnBrk="0" hangingPunct="1">
        <a:lnSpc>
          <a:spcPct val="100000"/>
        </a:lnSpc>
        <a:spcBef>
          <a:spcPts val="500"/>
        </a:spcBef>
        <a:spcAft>
          <a:spcPts val="0"/>
        </a:spcAft>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5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547EBF"/>
          </p15:clr>
        </p15:guide>
        <p15:guide id="2" pos="7469">
          <p15:clr>
            <a:srgbClr val="547EBF"/>
          </p15:clr>
        </p15:guide>
        <p15:guide id="3" orient="horz" pos="210">
          <p15:clr>
            <a:srgbClr val="F26B43"/>
          </p15:clr>
        </p15:guide>
        <p15:guide id="4" orient="horz" pos="1044">
          <p15:clr>
            <a:srgbClr val="547EBF"/>
          </p15:clr>
        </p15:guide>
        <p15:guide id="5" orient="horz" pos="3838">
          <p15:clr>
            <a:srgbClr val="547EBF"/>
          </p15:clr>
        </p15:guide>
        <p15:guide id="6" orient="horz" pos="2438">
          <p15:clr>
            <a:srgbClr val="547EBF"/>
          </p15:clr>
        </p15:guide>
        <p15:guide id="7" pos="3840">
          <p15:clr>
            <a:srgbClr val="547EBF"/>
          </p15:clr>
        </p15:guide>
        <p15:guide id="8" orient="horz" pos="4248">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286805"/>
            <a:ext cx="12192000" cy="571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GB">
              <a:solidFill>
                <a:prstClr val="white"/>
              </a:solidFill>
            </a:endParaRPr>
          </a:p>
        </p:txBody>
      </p:sp>
      <p:sp>
        <p:nvSpPr>
          <p:cNvPr id="2" name="Title Placeholder 1"/>
          <p:cNvSpPr>
            <a:spLocks noGrp="1"/>
          </p:cNvSpPr>
          <p:nvPr>
            <p:ph type="title"/>
          </p:nvPr>
        </p:nvSpPr>
        <p:spPr>
          <a:xfrm>
            <a:off x="334963" y="235876"/>
            <a:ext cx="11522075" cy="1154774"/>
          </a:xfrm>
          <a:prstGeom prst="rect">
            <a:avLst/>
          </a:prstGeom>
        </p:spPr>
        <p:txBody>
          <a:bodyPr vert="horz" lIns="0" tIns="45720" rIns="91440" bIns="45720" rtlCol="0" anchor="ctr">
            <a:noAutofit/>
          </a:bodyPr>
          <a:lstStyle/>
          <a:p>
            <a:r>
              <a:rPr lang="en-US" dirty="0"/>
              <a:t>Click to edit Master title style</a:t>
            </a:r>
            <a:endParaRPr lang="en-GB" dirty="0"/>
          </a:p>
        </p:txBody>
      </p:sp>
      <p:sp>
        <p:nvSpPr>
          <p:cNvPr id="3" name="Text Placeholder 2"/>
          <p:cNvSpPr>
            <a:spLocks noGrp="1"/>
          </p:cNvSpPr>
          <p:nvPr>
            <p:ph type="body" idx="1"/>
          </p:nvPr>
        </p:nvSpPr>
        <p:spPr>
          <a:xfrm>
            <a:off x="336865" y="1659604"/>
            <a:ext cx="11520174" cy="4429253"/>
          </a:xfrm>
          <a:prstGeom prst="rect">
            <a:avLst/>
          </a:prstGeom>
        </p:spPr>
        <p:txBody>
          <a:bodyPr vert="horz" lIns="0" tIns="0" rIns="0" bIns="0" rtlCol="0">
            <a:normAutofit/>
          </a:bodyPr>
          <a:lstStyle/>
          <a:p>
            <a:pPr lvl="0"/>
            <a:r>
              <a:rPr lang="en-US" dirty="0"/>
              <a:t>Click to edit Master text styles</a:t>
            </a:r>
          </a:p>
          <a:p>
            <a:pPr lvl="1"/>
            <a:r>
              <a:rPr lang="en-US" dirty="0"/>
              <a:t>Second level</a:t>
            </a:r>
          </a:p>
        </p:txBody>
      </p:sp>
      <p:sp>
        <p:nvSpPr>
          <p:cNvPr id="4" name="Slide Number Placeholder 3"/>
          <p:cNvSpPr>
            <a:spLocks noGrp="1"/>
          </p:cNvSpPr>
          <p:nvPr>
            <p:ph type="sldNum" sz="quarter" idx="4"/>
          </p:nvPr>
        </p:nvSpPr>
        <p:spPr>
          <a:xfrm>
            <a:off x="10463212" y="6626524"/>
            <a:ext cx="357188" cy="139158"/>
          </a:xfrm>
          <a:prstGeom prst="rect">
            <a:avLst/>
          </a:prstGeom>
        </p:spPr>
        <p:txBody>
          <a:bodyPr vert="horz" lIns="0" tIns="0" rIns="0" bIns="0" rtlCol="0" anchor="ctr"/>
          <a:lstStyle>
            <a:lvl1pPr algn="r">
              <a:defRPr sz="1000">
                <a:solidFill>
                  <a:schemeClr val="tx1"/>
                </a:solidFill>
              </a:defRPr>
            </a:lvl1pPr>
          </a:lstStyle>
          <a:p>
            <a:fld id="{F624A8C7-D029-401D-A8B1-18FF118BE1BB}" type="slidenum">
              <a:rPr lang="en-GB" smtClean="0">
                <a:solidFill>
                  <a:srgbClr val="000000"/>
                </a:solidFill>
              </a:rPr>
              <a:pPr/>
              <a:t>‹#›</a:t>
            </a:fld>
            <a:endParaRPr lang="en-GB" dirty="0">
              <a:solidFill>
                <a:srgbClr val="000000"/>
              </a:solidFill>
            </a:endParaRPr>
          </a:p>
        </p:txBody>
      </p:sp>
      <p:sp>
        <p:nvSpPr>
          <p:cNvPr id="6" name="Rectangle 5"/>
          <p:cNvSpPr/>
          <p:nvPr userDrawn="1"/>
        </p:nvSpPr>
        <p:spPr>
          <a:xfrm>
            <a:off x="10812335" y="6572993"/>
            <a:ext cx="1143262" cy="246221"/>
          </a:xfrm>
          <a:prstGeom prst="rect">
            <a:avLst/>
          </a:prstGeom>
        </p:spPr>
        <p:txBody>
          <a:bodyPr wrap="none">
            <a:spAutoFit/>
          </a:bodyPr>
          <a:lstStyle/>
          <a:p>
            <a:pPr algn="r">
              <a:defRPr/>
            </a:pPr>
            <a:r>
              <a:rPr lang="en-GB" sz="1000" dirty="0">
                <a:solidFill>
                  <a:srgbClr val="000000"/>
                </a:solidFill>
              </a:rPr>
              <a:t>© Rio Tinto 2017</a:t>
            </a:r>
          </a:p>
        </p:txBody>
      </p:sp>
      <p:cxnSp>
        <p:nvCxnSpPr>
          <p:cNvPr id="8" name="Straight Connector 7"/>
          <p:cNvCxnSpPr/>
          <p:nvPr userDrawn="1"/>
        </p:nvCxnSpPr>
        <p:spPr>
          <a:xfrm>
            <a:off x="10860881" y="6641335"/>
            <a:ext cx="0" cy="109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oup 4"/>
          <p:cNvGrpSpPr>
            <a:grpSpLocks noChangeAspect="1"/>
          </p:cNvGrpSpPr>
          <p:nvPr userDrawn="1"/>
        </p:nvGrpSpPr>
        <p:grpSpPr bwMode="auto">
          <a:xfrm>
            <a:off x="334963" y="6396038"/>
            <a:ext cx="965200" cy="352425"/>
            <a:chOff x="211" y="4029"/>
            <a:chExt cx="608" cy="222"/>
          </a:xfrm>
        </p:grpSpPr>
        <p:sp>
          <p:nvSpPr>
            <p:cNvPr id="7" name="AutoShape 3"/>
            <p:cNvSpPr>
              <a:spLocks noChangeAspect="1" noChangeArrowheads="1" noTextEdit="1"/>
            </p:cNvSpPr>
            <p:nvPr userDrawn="1"/>
          </p:nvSpPr>
          <p:spPr bwMode="auto">
            <a:xfrm>
              <a:off x="211" y="4029"/>
              <a:ext cx="608"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Rectangle 5"/>
            <p:cNvSpPr>
              <a:spLocks noChangeArrowheads="1"/>
            </p:cNvSpPr>
            <p:nvPr userDrawn="1"/>
          </p:nvSpPr>
          <p:spPr bwMode="auto">
            <a:xfrm>
              <a:off x="211" y="4029"/>
              <a:ext cx="607" cy="223"/>
            </a:xfrm>
            <a:prstGeom prst="rect">
              <a:avLst/>
            </a:prstGeom>
            <a:solidFill>
              <a:srgbClr val="E51D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Freeform 6"/>
            <p:cNvSpPr>
              <a:spLocks noEditPoints="1"/>
            </p:cNvSpPr>
            <p:nvPr userDrawn="1"/>
          </p:nvSpPr>
          <p:spPr bwMode="auto">
            <a:xfrm>
              <a:off x="408"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10"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5" name="Freeform 7"/>
            <p:cNvSpPr>
              <a:spLocks noEditPoints="1"/>
            </p:cNvSpPr>
            <p:nvPr userDrawn="1"/>
          </p:nvSpPr>
          <p:spPr bwMode="auto">
            <a:xfrm>
              <a:off x="670" y="4119"/>
              <a:ext cx="59" cy="61"/>
            </a:xfrm>
            <a:custGeom>
              <a:avLst/>
              <a:gdLst>
                <a:gd name="T0" fmla="*/ 24 w 42"/>
                <a:gd name="T1" fmla="*/ 38 h 43"/>
                <a:gd name="T2" fmla="*/ 11 w 42"/>
                <a:gd name="T3" fmla="*/ 23 h 43"/>
                <a:gd name="T4" fmla="*/ 18 w 42"/>
                <a:gd name="T5" fmla="*/ 5 h 43"/>
                <a:gd name="T6" fmla="*/ 31 w 42"/>
                <a:gd name="T7" fmla="*/ 19 h 43"/>
                <a:gd name="T8" fmla="*/ 24 w 42"/>
                <a:gd name="T9" fmla="*/ 38 h 43"/>
                <a:gd name="T10" fmla="*/ 21 w 42"/>
                <a:gd name="T11" fmla="*/ 0 h 43"/>
                <a:gd name="T12" fmla="*/ 0 w 42"/>
                <a:gd name="T13" fmla="*/ 21 h 43"/>
                <a:gd name="T14" fmla="*/ 21 w 42"/>
                <a:gd name="T15" fmla="*/ 43 h 43"/>
                <a:gd name="T16" fmla="*/ 42 w 42"/>
                <a:gd name="T17" fmla="*/ 21 h 43"/>
                <a:gd name="T18" fmla="*/ 21 w 42"/>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4" y="38"/>
                  </a:moveTo>
                  <a:cubicBezTo>
                    <a:pt x="18" y="39"/>
                    <a:pt x="13" y="33"/>
                    <a:pt x="11" y="23"/>
                  </a:cubicBezTo>
                  <a:cubicBezTo>
                    <a:pt x="9" y="13"/>
                    <a:pt x="12" y="6"/>
                    <a:pt x="18" y="5"/>
                  </a:cubicBezTo>
                  <a:cubicBezTo>
                    <a:pt x="24" y="4"/>
                    <a:pt x="29" y="10"/>
                    <a:pt x="31" y="19"/>
                  </a:cubicBezTo>
                  <a:cubicBezTo>
                    <a:pt x="32" y="29"/>
                    <a:pt x="30" y="36"/>
                    <a:pt x="24" y="38"/>
                  </a:cubicBezTo>
                  <a:moveTo>
                    <a:pt x="21" y="0"/>
                  </a:moveTo>
                  <a:cubicBezTo>
                    <a:pt x="9" y="0"/>
                    <a:pt x="0" y="9"/>
                    <a:pt x="0" y="21"/>
                  </a:cubicBezTo>
                  <a:cubicBezTo>
                    <a:pt x="0" y="34"/>
                    <a:pt x="9" y="43"/>
                    <a:pt x="21" y="43"/>
                  </a:cubicBezTo>
                  <a:cubicBezTo>
                    <a:pt x="33" y="43"/>
                    <a:pt x="42" y="34"/>
                    <a:pt x="42" y="21"/>
                  </a:cubicBezTo>
                  <a:cubicBezTo>
                    <a:pt x="42" y="9"/>
                    <a:pt x="33"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Freeform 8"/>
            <p:cNvSpPr>
              <a:spLocks/>
            </p:cNvSpPr>
            <p:nvPr userDrawn="1"/>
          </p:nvSpPr>
          <p:spPr bwMode="auto">
            <a:xfrm>
              <a:off x="567" y="4119"/>
              <a:ext cx="65" cy="59"/>
            </a:xfrm>
            <a:custGeom>
              <a:avLst/>
              <a:gdLst>
                <a:gd name="T0" fmla="*/ 30 w 46"/>
                <a:gd name="T1" fmla="*/ 11 h 42"/>
                <a:gd name="T2" fmla="*/ 30 w 46"/>
                <a:gd name="T3" fmla="*/ 16 h 42"/>
                <a:gd name="T4" fmla="*/ 30 w 46"/>
                <a:gd name="T5" fmla="*/ 42 h 42"/>
                <a:gd name="T6" fmla="*/ 46 w 46"/>
                <a:gd name="T7" fmla="*/ 42 h 42"/>
                <a:gd name="T8" fmla="*/ 46 w 46"/>
                <a:gd name="T9" fmla="*/ 39 h 42"/>
                <a:gd name="T10" fmla="*/ 41 w 46"/>
                <a:gd name="T11" fmla="*/ 33 h 42"/>
                <a:gd name="T12" fmla="*/ 41 w 46"/>
                <a:gd name="T13" fmla="*/ 13 h 42"/>
                <a:gd name="T14" fmla="*/ 28 w 46"/>
                <a:gd name="T15" fmla="*/ 0 h 42"/>
                <a:gd name="T16" fmla="*/ 15 w 46"/>
                <a:gd name="T17" fmla="*/ 7 h 42"/>
                <a:gd name="T18" fmla="*/ 15 w 46"/>
                <a:gd name="T19" fmla="*/ 1 h 42"/>
                <a:gd name="T20" fmla="*/ 0 w 46"/>
                <a:gd name="T21" fmla="*/ 1 h 42"/>
                <a:gd name="T22" fmla="*/ 0 w 46"/>
                <a:gd name="T23" fmla="*/ 4 h 42"/>
                <a:gd name="T24" fmla="*/ 5 w 46"/>
                <a:gd name="T25" fmla="*/ 10 h 42"/>
                <a:gd name="T26" fmla="*/ 5 w 46"/>
                <a:gd name="T27" fmla="*/ 33 h 42"/>
                <a:gd name="T28" fmla="*/ 0 w 46"/>
                <a:gd name="T29" fmla="*/ 39 h 42"/>
                <a:gd name="T30" fmla="*/ 0 w 46"/>
                <a:gd name="T31" fmla="*/ 42 h 42"/>
                <a:gd name="T32" fmla="*/ 20 w 46"/>
                <a:gd name="T33" fmla="*/ 42 h 42"/>
                <a:gd name="T34" fmla="*/ 20 w 46"/>
                <a:gd name="T35" fmla="*/ 39 h 42"/>
                <a:gd name="T36" fmla="*/ 15 w 46"/>
                <a:gd name="T37" fmla="*/ 33 h 42"/>
                <a:gd name="T38" fmla="*/ 15 w 46"/>
                <a:gd name="T39" fmla="*/ 18 h 42"/>
                <a:gd name="T40" fmla="*/ 17 w 46"/>
                <a:gd name="T41" fmla="*/ 11 h 42"/>
                <a:gd name="T42" fmla="*/ 24 w 46"/>
                <a:gd name="T43" fmla="*/ 6 h 42"/>
                <a:gd name="T44" fmla="*/ 30 w 46"/>
                <a:gd name="T45"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2">
                  <a:moveTo>
                    <a:pt x="30" y="11"/>
                  </a:moveTo>
                  <a:cubicBezTo>
                    <a:pt x="30" y="12"/>
                    <a:pt x="30" y="14"/>
                    <a:pt x="30" y="16"/>
                  </a:cubicBezTo>
                  <a:cubicBezTo>
                    <a:pt x="30" y="42"/>
                    <a:pt x="30" y="42"/>
                    <a:pt x="30" y="42"/>
                  </a:cubicBezTo>
                  <a:cubicBezTo>
                    <a:pt x="46" y="42"/>
                    <a:pt x="46" y="42"/>
                    <a:pt x="46" y="42"/>
                  </a:cubicBezTo>
                  <a:cubicBezTo>
                    <a:pt x="46" y="39"/>
                    <a:pt x="46" y="39"/>
                    <a:pt x="46" y="39"/>
                  </a:cubicBezTo>
                  <a:cubicBezTo>
                    <a:pt x="44" y="39"/>
                    <a:pt x="41" y="38"/>
                    <a:pt x="41" y="33"/>
                  </a:cubicBezTo>
                  <a:cubicBezTo>
                    <a:pt x="41" y="13"/>
                    <a:pt x="41" y="13"/>
                    <a:pt x="41" y="13"/>
                  </a:cubicBezTo>
                  <a:cubicBezTo>
                    <a:pt x="41" y="3"/>
                    <a:pt x="32" y="0"/>
                    <a:pt x="28" y="0"/>
                  </a:cubicBezTo>
                  <a:cubicBezTo>
                    <a:pt x="20" y="0"/>
                    <a:pt x="16" y="5"/>
                    <a:pt x="15" y="7"/>
                  </a:cubicBezTo>
                  <a:cubicBezTo>
                    <a:pt x="15" y="7"/>
                    <a:pt x="15" y="2"/>
                    <a:pt x="15" y="1"/>
                  </a:cubicBezTo>
                  <a:cubicBezTo>
                    <a:pt x="0" y="1"/>
                    <a:pt x="0" y="1"/>
                    <a:pt x="0" y="1"/>
                  </a:cubicBezTo>
                  <a:cubicBezTo>
                    <a:pt x="0" y="4"/>
                    <a:pt x="0" y="4"/>
                    <a:pt x="0" y="4"/>
                  </a:cubicBezTo>
                  <a:cubicBezTo>
                    <a:pt x="2" y="4"/>
                    <a:pt x="5" y="5"/>
                    <a:pt x="5" y="10"/>
                  </a:cubicBezTo>
                  <a:cubicBezTo>
                    <a:pt x="5" y="33"/>
                    <a:pt x="5" y="33"/>
                    <a:pt x="5" y="33"/>
                  </a:cubicBezTo>
                  <a:cubicBezTo>
                    <a:pt x="5" y="38"/>
                    <a:pt x="2" y="39"/>
                    <a:pt x="0" y="39"/>
                  </a:cubicBezTo>
                  <a:cubicBezTo>
                    <a:pt x="0" y="42"/>
                    <a:pt x="0" y="42"/>
                    <a:pt x="0" y="42"/>
                  </a:cubicBezTo>
                  <a:cubicBezTo>
                    <a:pt x="20" y="42"/>
                    <a:pt x="20" y="42"/>
                    <a:pt x="20" y="42"/>
                  </a:cubicBezTo>
                  <a:cubicBezTo>
                    <a:pt x="20" y="39"/>
                    <a:pt x="20" y="39"/>
                    <a:pt x="20" y="39"/>
                  </a:cubicBezTo>
                  <a:cubicBezTo>
                    <a:pt x="18" y="39"/>
                    <a:pt x="15" y="38"/>
                    <a:pt x="15" y="33"/>
                  </a:cubicBezTo>
                  <a:cubicBezTo>
                    <a:pt x="15" y="18"/>
                    <a:pt x="15" y="18"/>
                    <a:pt x="15" y="18"/>
                  </a:cubicBezTo>
                  <a:cubicBezTo>
                    <a:pt x="15" y="15"/>
                    <a:pt x="16" y="13"/>
                    <a:pt x="17" y="11"/>
                  </a:cubicBezTo>
                  <a:cubicBezTo>
                    <a:pt x="18" y="8"/>
                    <a:pt x="21" y="6"/>
                    <a:pt x="24" y="6"/>
                  </a:cubicBezTo>
                  <a:cubicBezTo>
                    <a:pt x="26" y="6"/>
                    <a:pt x="29" y="8"/>
                    <a:pt x="30"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Freeform 9"/>
            <p:cNvSpPr>
              <a:spLocks/>
            </p:cNvSpPr>
            <p:nvPr userDrawn="1"/>
          </p:nvSpPr>
          <p:spPr bwMode="auto">
            <a:xfrm>
              <a:off x="635" y="4107"/>
              <a:ext cx="29" cy="71"/>
            </a:xfrm>
            <a:custGeom>
              <a:avLst/>
              <a:gdLst>
                <a:gd name="T0" fmla="*/ 20 w 21"/>
                <a:gd name="T1" fmla="*/ 50 h 50"/>
                <a:gd name="T2" fmla="*/ 20 w 21"/>
                <a:gd name="T3" fmla="*/ 47 h 50"/>
                <a:gd name="T4" fmla="*/ 15 w 21"/>
                <a:gd name="T5" fmla="*/ 41 h 50"/>
                <a:gd name="T6" fmla="*/ 15 w 21"/>
                <a:gd name="T7" fmla="*/ 13 h 50"/>
                <a:gd name="T8" fmla="*/ 21 w 21"/>
                <a:gd name="T9" fmla="*/ 13 h 50"/>
                <a:gd name="T10" fmla="*/ 21 w 21"/>
                <a:gd name="T11" fmla="*/ 9 h 50"/>
                <a:gd name="T12" fmla="*/ 15 w 21"/>
                <a:gd name="T13" fmla="*/ 9 h 50"/>
                <a:gd name="T14" fmla="*/ 15 w 21"/>
                <a:gd name="T15" fmla="*/ 0 h 50"/>
                <a:gd name="T16" fmla="*/ 10 w 21"/>
                <a:gd name="T17" fmla="*/ 0 h 50"/>
                <a:gd name="T18" fmla="*/ 0 w 21"/>
                <a:gd name="T19" fmla="*/ 10 h 50"/>
                <a:gd name="T20" fmla="*/ 0 w 21"/>
                <a:gd name="T21" fmla="*/ 13 h 50"/>
                <a:gd name="T22" fmla="*/ 5 w 21"/>
                <a:gd name="T23" fmla="*/ 13 h 50"/>
                <a:gd name="T24" fmla="*/ 5 w 21"/>
                <a:gd name="T25" fmla="*/ 41 h 50"/>
                <a:gd name="T26" fmla="*/ 14 w 21"/>
                <a:gd name="T27" fmla="*/ 50 h 50"/>
                <a:gd name="T28" fmla="*/ 20 w 21"/>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0">
                  <a:moveTo>
                    <a:pt x="20" y="50"/>
                  </a:moveTo>
                  <a:cubicBezTo>
                    <a:pt x="20" y="47"/>
                    <a:pt x="20" y="47"/>
                    <a:pt x="20" y="47"/>
                  </a:cubicBezTo>
                  <a:cubicBezTo>
                    <a:pt x="18" y="47"/>
                    <a:pt x="15" y="46"/>
                    <a:pt x="15" y="41"/>
                  </a:cubicBezTo>
                  <a:cubicBezTo>
                    <a:pt x="15" y="40"/>
                    <a:pt x="15" y="13"/>
                    <a:pt x="15" y="13"/>
                  </a:cubicBezTo>
                  <a:cubicBezTo>
                    <a:pt x="21" y="13"/>
                    <a:pt x="21" y="13"/>
                    <a:pt x="21" y="13"/>
                  </a:cubicBezTo>
                  <a:cubicBezTo>
                    <a:pt x="21" y="9"/>
                    <a:pt x="21" y="9"/>
                    <a:pt x="21" y="9"/>
                  </a:cubicBezTo>
                  <a:cubicBezTo>
                    <a:pt x="15" y="9"/>
                    <a:pt x="15" y="9"/>
                    <a:pt x="15" y="9"/>
                  </a:cubicBezTo>
                  <a:cubicBezTo>
                    <a:pt x="15" y="0"/>
                    <a:pt x="15" y="0"/>
                    <a:pt x="15" y="0"/>
                  </a:cubicBezTo>
                  <a:cubicBezTo>
                    <a:pt x="10" y="0"/>
                    <a:pt x="10" y="0"/>
                    <a:pt x="10" y="0"/>
                  </a:cubicBezTo>
                  <a:cubicBezTo>
                    <a:pt x="10" y="6"/>
                    <a:pt x="4" y="10"/>
                    <a:pt x="0" y="10"/>
                  </a:cubicBezTo>
                  <a:cubicBezTo>
                    <a:pt x="0" y="13"/>
                    <a:pt x="0" y="13"/>
                    <a:pt x="0" y="13"/>
                  </a:cubicBezTo>
                  <a:cubicBezTo>
                    <a:pt x="5" y="13"/>
                    <a:pt x="5" y="13"/>
                    <a:pt x="5" y="13"/>
                  </a:cubicBezTo>
                  <a:cubicBezTo>
                    <a:pt x="5" y="41"/>
                    <a:pt x="5" y="41"/>
                    <a:pt x="5" y="41"/>
                  </a:cubicBezTo>
                  <a:cubicBezTo>
                    <a:pt x="5" y="47"/>
                    <a:pt x="7" y="50"/>
                    <a:pt x="14" y="50"/>
                  </a:cubicBezTo>
                  <a:lnTo>
                    <a:pt x="2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Freeform 10"/>
            <p:cNvSpPr>
              <a:spLocks/>
            </p:cNvSpPr>
            <p:nvPr userDrawn="1"/>
          </p:nvSpPr>
          <p:spPr bwMode="auto">
            <a:xfrm>
              <a:off x="473" y="4096"/>
              <a:ext cx="63" cy="82"/>
            </a:xfrm>
            <a:custGeom>
              <a:avLst/>
              <a:gdLst>
                <a:gd name="T0" fmla="*/ 28 w 45"/>
                <a:gd name="T1" fmla="*/ 5 h 58"/>
                <a:gd name="T2" fmla="*/ 28 w 45"/>
                <a:gd name="T3" fmla="*/ 48 h 58"/>
                <a:gd name="T4" fmla="*/ 33 w 45"/>
                <a:gd name="T5" fmla="*/ 54 h 58"/>
                <a:gd name="T6" fmla="*/ 33 w 45"/>
                <a:gd name="T7" fmla="*/ 58 h 58"/>
                <a:gd name="T8" fmla="*/ 12 w 45"/>
                <a:gd name="T9" fmla="*/ 58 h 58"/>
                <a:gd name="T10" fmla="*/ 12 w 45"/>
                <a:gd name="T11" fmla="*/ 54 h 58"/>
                <a:gd name="T12" fmla="*/ 17 w 45"/>
                <a:gd name="T13" fmla="*/ 48 h 58"/>
                <a:gd name="T14" fmla="*/ 17 w 45"/>
                <a:gd name="T15" fmla="*/ 5 h 58"/>
                <a:gd name="T16" fmla="*/ 12 w 45"/>
                <a:gd name="T17" fmla="*/ 5 h 58"/>
                <a:gd name="T18" fmla="*/ 4 w 45"/>
                <a:gd name="T19" fmla="*/ 12 h 58"/>
                <a:gd name="T20" fmla="*/ 0 w 45"/>
                <a:gd name="T21" fmla="*/ 12 h 58"/>
                <a:gd name="T22" fmla="*/ 0 w 45"/>
                <a:gd name="T23" fmla="*/ 0 h 58"/>
                <a:gd name="T24" fmla="*/ 45 w 45"/>
                <a:gd name="T25" fmla="*/ 0 h 58"/>
                <a:gd name="T26" fmla="*/ 45 w 45"/>
                <a:gd name="T27" fmla="*/ 12 h 58"/>
                <a:gd name="T28" fmla="*/ 41 w 45"/>
                <a:gd name="T29" fmla="*/ 12 h 58"/>
                <a:gd name="T30" fmla="*/ 33 w 45"/>
                <a:gd name="T31" fmla="*/ 5 h 58"/>
                <a:gd name="T32" fmla="*/ 28 w 45"/>
                <a:gd name="T33"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58">
                  <a:moveTo>
                    <a:pt x="28" y="5"/>
                  </a:moveTo>
                  <a:cubicBezTo>
                    <a:pt x="28" y="48"/>
                    <a:pt x="28" y="48"/>
                    <a:pt x="28" y="48"/>
                  </a:cubicBezTo>
                  <a:cubicBezTo>
                    <a:pt x="28" y="53"/>
                    <a:pt x="31" y="54"/>
                    <a:pt x="33" y="54"/>
                  </a:cubicBezTo>
                  <a:cubicBezTo>
                    <a:pt x="33" y="58"/>
                    <a:pt x="33" y="58"/>
                    <a:pt x="33" y="58"/>
                  </a:cubicBezTo>
                  <a:cubicBezTo>
                    <a:pt x="12" y="58"/>
                    <a:pt x="12" y="58"/>
                    <a:pt x="12" y="58"/>
                  </a:cubicBezTo>
                  <a:cubicBezTo>
                    <a:pt x="12" y="54"/>
                    <a:pt x="12" y="54"/>
                    <a:pt x="12" y="54"/>
                  </a:cubicBezTo>
                  <a:cubicBezTo>
                    <a:pt x="14" y="54"/>
                    <a:pt x="17" y="53"/>
                    <a:pt x="17" y="48"/>
                  </a:cubicBezTo>
                  <a:cubicBezTo>
                    <a:pt x="17" y="5"/>
                    <a:pt x="17" y="5"/>
                    <a:pt x="17" y="5"/>
                  </a:cubicBezTo>
                  <a:cubicBezTo>
                    <a:pt x="16" y="5"/>
                    <a:pt x="14" y="5"/>
                    <a:pt x="12" y="5"/>
                  </a:cubicBezTo>
                  <a:cubicBezTo>
                    <a:pt x="6" y="5"/>
                    <a:pt x="4" y="7"/>
                    <a:pt x="4" y="12"/>
                  </a:cubicBezTo>
                  <a:cubicBezTo>
                    <a:pt x="0" y="12"/>
                    <a:pt x="0" y="12"/>
                    <a:pt x="0" y="12"/>
                  </a:cubicBezTo>
                  <a:cubicBezTo>
                    <a:pt x="0" y="0"/>
                    <a:pt x="0" y="0"/>
                    <a:pt x="0" y="0"/>
                  </a:cubicBezTo>
                  <a:cubicBezTo>
                    <a:pt x="45" y="0"/>
                    <a:pt x="45" y="0"/>
                    <a:pt x="45" y="0"/>
                  </a:cubicBezTo>
                  <a:cubicBezTo>
                    <a:pt x="45" y="12"/>
                    <a:pt x="45" y="12"/>
                    <a:pt x="45" y="12"/>
                  </a:cubicBezTo>
                  <a:cubicBezTo>
                    <a:pt x="41" y="12"/>
                    <a:pt x="41" y="12"/>
                    <a:pt x="41" y="12"/>
                  </a:cubicBezTo>
                  <a:cubicBezTo>
                    <a:pt x="41" y="7"/>
                    <a:pt x="39" y="5"/>
                    <a:pt x="33" y="5"/>
                  </a:cubicBezTo>
                  <a:cubicBezTo>
                    <a:pt x="31" y="5"/>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Freeform 11"/>
            <p:cNvSpPr>
              <a:spLocks/>
            </p:cNvSpPr>
            <p:nvPr userDrawn="1"/>
          </p:nvSpPr>
          <p:spPr bwMode="auto">
            <a:xfrm>
              <a:off x="300" y="4096"/>
              <a:ext cx="78" cy="90"/>
            </a:xfrm>
            <a:custGeom>
              <a:avLst/>
              <a:gdLst>
                <a:gd name="T0" fmla="*/ 16 w 56"/>
                <a:gd name="T1" fmla="*/ 5 h 63"/>
                <a:gd name="T2" fmla="*/ 16 w 56"/>
                <a:gd name="T3" fmla="*/ 18 h 63"/>
                <a:gd name="T4" fmla="*/ 16 w 56"/>
                <a:gd name="T5" fmla="*/ 32 h 63"/>
                <a:gd name="T6" fmla="*/ 16 w 56"/>
                <a:gd name="T7" fmla="*/ 48 h 63"/>
                <a:gd name="T8" fmla="*/ 21 w 56"/>
                <a:gd name="T9" fmla="*/ 54 h 63"/>
                <a:gd name="T10" fmla="*/ 21 w 56"/>
                <a:gd name="T11" fmla="*/ 58 h 63"/>
                <a:gd name="T12" fmla="*/ 0 w 56"/>
                <a:gd name="T13" fmla="*/ 58 h 63"/>
                <a:gd name="T14" fmla="*/ 0 w 56"/>
                <a:gd name="T15" fmla="*/ 54 h 63"/>
                <a:gd name="T16" fmla="*/ 5 w 56"/>
                <a:gd name="T17" fmla="*/ 48 h 63"/>
                <a:gd name="T18" fmla="*/ 5 w 56"/>
                <a:gd name="T19" fmla="*/ 32 h 63"/>
                <a:gd name="T20" fmla="*/ 5 w 56"/>
                <a:gd name="T21" fmla="*/ 19 h 63"/>
                <a:gd name="T22" fmla="*/ 5 w 56"/>
                <a:gd name="T23" fmla="*/ 9 h 63"/>
                <a:gd name="T24" fmla="*/ 0 w 56"/>
                <a:gd name="T25" fmla="*/ 3 h 63"/>
                <a:gd name="T26" fmla="*/ 0 w 56"/>
                <a:gd name="T27" fmla="*/ 0 h 63"/>
                <a:gd name="T28" fmla="*/ 26 w 56"/>
                <a:gd name="T29" fmla="*/ 0 h 63"/>
                <a:gd name="T30" fmla="*/ 45 w 56"/>
                <a:gd name="T31" fmla="*/ 15 h 63"/>
                <a:gd name="T32" fmla="*/ 33 w 56"/>
                <a:gd name="T33" fmla="*/ 29 h 63"/>
                <a:gd name="T34" fmla="*/ 51 w 56"/>
                <a:gd name="T35" fmla="*/ 57 h 63"/>
                <a:gd name="T36" fmla="*/ 56 w 56"/>
                <a:gd name="T37" fmla="*/ 60 h 63"/>
                <a:gd name="T38" fmla="*/ 56 w 56"/>
                <a:gd name="T39" fmla="*/ 60 h 63"/>
                <a:gd name="T40" fmla="*/ 56 w 56"/>
                <a:gd name="T41" fmla="*/ 63 h 63"/>
                <a:gd name="T42" fmla="*/ 50 w 56"/>
                <a:gd name="T43" fmla="*/ 63 h 63"/>
                <a:gd name="T44" fmla="*/ 39 w 56"/>
                <a:gd name="T45" fmla="*/ 58 h 63"/>
                <a:gd name="T46" fmla="*/ 21 w 56"/>
                <a:gd name="T47" fmla="*/ 29 h 63"/>
                <a:gd name="T48" fmla="*/ 20 w 56"/>
                <a:gd name="T49" fmla="*/ 29 h 63"/>
                <a:gd name="T50" fmla="*/ 20 w 56"/>
                <a:gd name="T51" fmla="*/ 26 h 63"/>
                <a:gd name="T52" fmla="*/ 21 w 56"/>
                <a:gd name="T53" fmla="*/ 26 h 63"/>
                <a:gd name="T54" fmla="*/ 33 w 56"/>
                <a:gd name="T55" fmla="*/ 16 h 63"/>
                <a:gd name="T56" fmla="*/ 22 w 56"/>
                <a:gd name="T57" fmla="*/ 5 h 63"/>
                <a:gd name="T58" fmla="*/ 16 w 56"/>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63">
                  <a:moveTo>
                    <a:pt x="16" y="5"/>
                  </a:moveTo>
                  <a:cubicBezTo>
                    <a:pt x="16" y="18"/>
                    <a:pt x="16" y="18"/>
                    <a:pt x="16" y="18"/>
                  </a:cubicBezTo>
                  <a:cubicBezTo>
                    <a:pt x="16" y="32"/>
                    <a:pt x="16" y="32"/>
                    <a:pt x="16" y="32"/>
                  </a:cubicBezTo>
                  <a:cubicBezTo>
                    <a:pt x="16" y="48"/>
                    <a:pt x="16" y="48"/>
                    <a:pt x="16" y="48"/>
                  </a:cubicBezTo>
                  <a:cubicBezTo>
                    <a:pt x="16" y="53"/>
                    <a:pt x="19" y="54"/>
                    <a:pt x="21" y="54"/>
                  </a:cubicBezTo>
                  <a:cubicBezTo>
                    <a:pt x="21" y="58"/>
                    <a:pt x="21" y="58"/>
                    <a:pt x="21" y="58"/>
                  </a:cubicBezTo>
                  <a:cubicBezTo>
                    <a:pt x="0" y="58"/>
                    <a:pt x="0" y="58"/>
                    <a:pt x="0" y="58"/>
                  </a:cubicBezTo>
                  <a:cubicBezTo>
                    <a:pt x="0" y="54"/>
                    <a:pt x="0" y="54"/>
                    <a:pt x="0" y="54"/>
                  </a:cubicBezTo>
                  <a:cubicBezTo>
                    <a:pt x="2" y="54"/>
                    <a:pt x="5" y="53"/>
                    <a:pt x="5" y="48"/>
                  </a:cubicBezTo>
                  <a:cubicBezTo>
                    <a:pt x="5" y="32"/>
                    <a:pt x="5" y="32"/>
                    <a:pt x="5" y="32"/>
                  </a:cubicBezTo>
                  <a:cubicBezTo>
                    <a:pt x="5" y="19"/>
                    <a:pt x="5" y="19"/>
                    <a:pt x="5" y="19"/>
                  </a:cubicBezTo>
                  <a:cubicBezTo>
                    <a:pt x="5" y="9"/>
                    <a:pt x="5" y="9"/>
                    <a:pt x="5" y="9"/>
                  </a:cubicBezTo>
                  <a:cubicBezTo>
                    <a:pt x="5" y="4"/>
                    <a:pt x="2" y="3"/>
                    <a:pt x="0" y="3"/>
                  </a:cubicBezTo>
                  <a:cubicBezTo>
                    <a:pt x="0" y="0"/>
                    <a:pt x="0" y="0"/>
                    <a:pt x="0" y="0"/>
                  </a:cubicBezTo>
                  <a:cubicBezTo>
                    <a:pt x="26" y="0"/>
                    <a:pt x="26" y="0"/>
                    <a:pt x="26" y="0"/>
                  </a:cubicBezTo>
                  <a:cubicBezTo>
                    <a:pt x="42" y="0"/>
                    <a:pt x="45" y="8"/>
                    <a:pt x="45" y="15"/>
                  </a:cubicBezTo>
                  <a:cubicBezTo>
                    <a:pt x="45" y="22"/>
                    <a:pt x="40" y="27"/>
                    <a:pt x="33" y="29"/>
                  </a:cubicBezTo>
                  <a:cubicBezTo>
                    <a:pt x="40" y="29"/>
                    <a:pt x="45" y="49"/>
                    <a:pt x="51" y="57"/>
                  </a:cubicBezTo>
                  <a:cubicBezTo>
                    <a:pt x="52" y="58"/>
                    <a:pt x="54" y="60"/>
                    <a:pt x="56" y="60"/>
                  </a:cubicBezTo>
                  <a:cubicBezTo>
                    <a:pt x="56" y="60"/>
                    <a:pt x="56" y="60"/>
                    <a:pt x="56" y="60"/>
                  </a:cubicBezTo>
                  <a:cubicBezTo>
                    <a:pt x="56" y="63"/>
                    <a:pt x="56" y="63"/>
                    <a:pt x="56" y="63"/>
                  </a:cubicBezTo>
                  <a:cubicBezTo>
                    <a:pt x="50" y="63"/>
                    <a:pt x="50" y="63"/>
                    <a:pt x="50" y="63"/>
                  </a:cubicBezTo>
                  <a:cubicBezTo>
                    <a:pt x="45" y="63"/>
                    <a:pt x="41" y="61"/>
                    <a:pt x="39" y="58"/>
                  </a:cubicBezTo>
                  <a:cubicBezTo>
                    <a:pt x="32" y="49"/>
                    <a:pt x="29" y="30"/>
                    <a:pt x="21" y="29"/>
                  </a:cubicBezTo>
                  <a:cubicBezTo>
                    <a:pt x="21" y="29"/>
                    <a:pt x="21" y="29"/>
                    <a:pt x="20" y="29"/>
                  </a:cubicBezTo>
                  <a:cubicBezTo>
                    <a:pt x="20" y="26"/>
                    <a:pt x="20" y="26"/>
                    <a:pt x="20" y="26"/>
                  </a:cubicBezTo>
                  <a:cubicBezTo>
                    <a:pt x="21" y="26"/>
                    <a:pt x="21" y="26"/>
                    <a:pt x="21" y="26"/>
                  </a:cubicBezTo>
                  <a:cubicBezTo>
                    <a:pt x="31" y="26"/>
                    <a:pt x="33" y="20"/>
                    <a:pt x="33" y="16"/>
                  </a:cubicBezTo>
                  <a:cubicBezTo>
                    <a:pt x="33" y="10"/>
                    <a:pt x="31" y="5"/>
                    <a:pt x="22" y="5"/>
                  </a:cubicBezTo>
                  <a:cubicBezTo>
                    <a:pt x="20" y="5"/>
                    <a:pt x="16" y="5"/>
                    <a:pt x="16"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12"/>
            <p:cNvSpPr>
              <a:spLocks noChangeArrowheads="1"/>
            </p:cNvSpPr>
            <p:nvPr userDrawn="1"/>
          </p:nvSpPr>
          <p:spPr bwMode="auto">
            <a:xfrm>
              <a:off x="540" y="4100"/>
              <a:ext cx="16"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 name="Freeform 13"/>
            <p:cNvSpPr>
              <a:spLocks/>
            </p:cNvSpPr>
            <p:nvPr userDrawn="1"/>
          </p:nvSpPr>
          <p:spPr bwMode="auto">
            <a:xfrm>
              <a:off x="535" y="4120"/>
              <a:ext cx="28" cy="58"/>
            </a:xfrm>
            <a:custGeom>
              <a:avLst/>
              <a:gdLst>
                <a:gd name="T0" fmla="*/ 20 w 20"/>
                <a:gd name="T1" fmla="*/ 41 h 41"/>
                <a:gd name="T2" fmla="*/ 20 w 20"/>
                <a:gd name="T3" fmla="*/ 38 h 41"/>
                <a:gd name="T4" fmla="*/ 15 w 20"/>
                <a:gd name="T5" fmla="*/ 32 h 41"/>
                <a:gd name="T6" fmla="*/ 15 w 20"/>
                <a:gd name="T7" fmla="*/ 0 h 41"/>
                <a:gd name="T8" fmla="*/ 0 w 20"/>
                <a:gd name="T9" fmla="*/ 0 h 41"/>
                <a:gd name="T10" fmla="*/ 0 w 20"/>
                <a:gd name="T11" fmla="*/ 3 h 41"/>
                <a:gd name="T12" fmla="*/ 5 w 20"/>
                <a:gd name="T13" fmla="*/ 9 h 41"/>
                <a:gd name="T14" fmla="*/ 5 w 20"/>
                <a:gd name="T15" fmla="*/ 32 h 41"/>
                <a:gd name="T16" fmla="*/ 0 w 20"/>
                <a:gd name="T17" fmla="*/ 38 h 41"/>
                <a:gd name="T18" fmla="*/ 0 w 20"/>
                <a:gd name="T19" fmla="*/ 41 h 41"/>
                <a:gd name="T20" fmla="*/ 20 w 20"/>
                <a:gd name="T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1">
                  <a:moveTo>
                    <a:pt x="20" y="41"/>
                  </a:moveTo>
                  <a:cubicBezTo>
                    <a:pt x="20" y="38"/>
                    <a:pt x="20" y="38"/>
                    <a:pt x="20" y="38"/>
                  </a:cubicBezTo>
                  <a:cubicBezTo>
                    <a:pt x="18" y="38"/>
                    <a:pt x="15" y="37"/>
                    <a:pt x="15" y="32"/>
                  </a:cubicBezTo>
                  <a:cubicBezTo>
                    <a:pt x="15" y="0"/>
                    <a:pt x="15" y="0"/>
                    <a:pt x="15" y="0"/>
                  </a:cubicBezTo>
                  <a:cubicBezTo>
                    <a:pt x="0" y="0"/>
                    <a:pt x="0" y="0"/>
                    <a:pt x="0" y="0"/>
                  </a:cubicBezTo>
                  <a:cubicBezTo>
                    <a:pt x="0" y="3"/>
                    <a:pt x="0" y="3"/>
                    <a:pt x="0" y="3"/>
                  </a:cubicBezTo>
                  <a:cubicBezTo>
                    <a:pt x="2" y="3"/>
                    <a:pt x="5" y="4"/>
                    <a:pt x="5" y="9"/>
                  </a:cubicBezTo>
                  <a:cubicBezTo>
                    <a:pt x="5" y="32"/>
                    <a:pt x="5" y="32"/>
                    <a:pt x="5" y="32"/>
                  </a:cubicBezTo>
                  <a:cubicBezTo>
                    <a:pt x="5" y="37"/>
                    <a:pt x="2" y="38"/>
                    <a:pt x="0" y="38"/>
                  </a:cubicBezTo>
                  <a:cubicBezTo>
                    <a:pt x="0" y="41"/>
                    <a:pt x="0" y="41"/>
                    <a:pt x="0" y="41"/>
                  </a:cubicBezTo>
                  <a:lnTo>
                    <a:pt x="2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2" name="Freeform 14"/>
            <p:cNvSpPr>
              <a:spLocks/>
            </p:cNvSpPr>
            <p:nvPr userDrawn="1"/>
          </p:nvSpPr>
          <p:spPr bwMode="auto">
            <a:xfrm>
              <a:off x="373" y="4120"/>
              <a:ext cx="29" cy="58"/>
            </a:xfrm>
            <a:custGeom>
              <a:avLst/>
              <a:gdLst>
                <a:gd name="T0" fmla="*/ 5 w 21"/>
                <a:gd name="T1" fmla="*/ 41 h 41"/>
                <a:gd name="T2" fmla="*/ 5 w 21"/>
                <a:gd name="T3" fmla="*/ 9 h 41"/>
                <a:gd name="T4" fmla="*/ 0 w 21"/>
                <a:gd name="T5" fmla="*/ 3 h 41"/>
                <a:gd name="T6" fmla="*/ 0 w 21"/>
                <a:gd name="T7" fmla="*/ 0 h 41"/>
                <a:gd name="T8" fmla="*/ 16 w 21"/>
                <a:gd name="T9" fmla="*/ 0 h 41"/>
                <a:gd name="T10" fmla="*/ 16 w 21"/>
                <a:gd name="T11" fmla="*/ 32 h 41"/>
                <a:gd name="T12" fmla="*/ 21 w 21"/>
                <a:gd name="T13" fmla="*/ 38 h 41"/>
                <a:gd name="T14" fmla="*/ 21 w 21"/>
                <a:gd name="T15" fmla="*/ 41 h 41"/>
                <a:gd name="T16" fmla="*/ 5 w 2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1">
                  <a:moveTo>
                    <a:pt x="5" y="41"/>
                  </a:moveTo>
                  <a:cubicBezTo>
                    <a:pt x="5" y="9"/>
                    <a:pt x="5" y="9"/>
                    <a:pt x="5" y="9"/>
                  </a:cubicBezTo>
                  <a:cubicBezTo>
                    <a:pt x="5" y="4"/>
                    <a:pt x="2" y="3"/>
                    <a:pt x="0" y="3"/>
                  </a:cubicBezTo>
                  <a:cubicBezTo>
                    <a:pt x="0" y="0"/>
                    <a:pt x="0" y="0"/>
                    <a:pt x="0" y="0"/>
                  </a:cubicBezTo>
                  <a:cubicBezTo>
                    <a:pt x="16" y="0"/>
                    <a:pt x="16" y="0"/>
                    <a:pt x="16" y="0"/>
                  </a:cubicBezTo>
                  <a:cubicBezTo>
                    <a:pt x="16" y="32"/>
                    <a:pt x="16" y="32"/>
                    <a:pt x="16" y="32"/>
                  </a:cubicBezTo>
                  <a:cubicBezTo>
                    <a:pt x="16" y="37"/>
                    <a:pt x="18" y="38"/>
                    <a:pt x="21" y="38"/>
                  </a:cubicBezTo>
                  <a:cubicBezTo>
                    <a:pt x="21" y="41"/>
                    <a:pt x="21" y="41"/>
                    <a:pt x="21" y="41"/>
                  </a:cubicBezTo>
                  <a:lnTo>
                    <a:pt x="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 name="Oval 15"/>
            <p:cNvSpPr>
              <a:spLocks noChangeArrowheads="1"/>
            </p:cNvSpPr>
            <p:nvPr userDrawn="1"/>
          </p:nvSpPr>
          <p:spPr bwMode="auto">
            <a:xfrm>
              <a:off x="378" y="4100"/>
              <a:ext cx="17"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9" name="Date Placeholder 8"/>
          <p:cNvSpPr>
            <a:spLocks noGrp="1"/>
          </p:cNvSpPr>
          <p:nvPr>
            <p:ph type="dt" sz="half" idx="2"/>
          </p:nvPr>
        </p:nvSpPr>
        <p:spPr>
          <a:xfrm>
            <a:off x="8316310" y="6625282"/>
            <a:ext cx="1621440" cy="140400"/>
          </a:xfrm>
          <a:prstGeom prst="rect">
            <a:avLst/>
          </a:prstGeom>
        </p:spPr>
        <p:txBody>
          <a:bodyPr vert="horz" lIns="91440" tIns="45720" rIns="91440" bIns="45720" rtlCol="0" anchor="ctr"/>
          <a:lstStyle>
            <a:lvl1pPr algn="r">
              <a:defRPr sz="1000">
                <a:solidFill>
                  <a:schemeClr val="tx1"/>
                </a:solidFill>
              </a:defRPr>
            </a:lvl1pPr>
          </a:lstStyle>
          <a:p>
            <a:fld id="{7AF248C6-2C41-44AA-BDC6-BEF6EA060CE1}" type="datetime9">
              <a:rPr lang="en-GB" smtClean="0">
                <a:solidFill>
                  <a:srgbClr val="000000"/>
                </a:solidFill>
              </a:rPr>
              <a:pPr/>
              <a:t>15/04/2020 12:03:21</a:t>
            </a:fld>
            <a:endParaRPr lang="en-GB" dirty="0">
              <a:solidFill>
                <a:srgbClr val="000000"/>
              </a:solidFill>
            </a:endParaRPr>
          </a:p>
        </p:txBody>
      </p:sp>
    </p:spTree>
    <p:extLst>
      <p:ext uri="{BB962C8B-B14F-4D97-AF65-F5344CB8AC3E}">
        <p14:creationId xmlns:p14="http://schemas.microsoft.com/office/powerpoint/2010/main" val="421744546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2000" b="0" kern="1200">
          <a:solidFill>
            <a:schemeClr val="tx1"/>
          </a:solidFill>
          <a:latin typeface="+mn-lt"/>
          <a:ea typeface="+mn-ea"/>
          <a:cs typeface="+mn-cs"/>
        </a:defRPr>
      </a:lvl1pPr>
      <a:lvl2pPr marL="0" indent="0" algn="l" defTabSz="914400" rtl="0" eaLnBrk="1" latinLnBrk="0" hangingPunct="1">
        <a:lnSpc>
          <a:spcPct val="100000"/>
        </a:lnSpc>
        <a:spcBef>
          <a:spcPts val="500"/>
        </a:spcBef>
        <a:spcAft>
          <a:spcPts val="0"/>
        </a:spcAft>
        <a:buFont typeface="Arial" panose="020B0604020202020204" pitchFamily="34" charset="0"/>
        <a:buNone/>
        <a:defRPr sz="1800" kern="1200">
          <a:solidFill>
            <a:schemeClr val="tx1"/>
          </a:solidFill>
          <a:latin typeface="+mn-lt"/>
          <a:ea typeface="+mn-ea"/>
          <a:cs typeface="+mn-cs"/>
        </a:defRPr>
      </a:lvl2pPr>
      <a:lvl3pPr marL="180975" indent="-180975" algn="l" defTabSz="914400" rtl="0" eaLnBrk="1" latinLnBrk="0" hangingPunct="1">
        <a:lnSpc>
          <a:spcPct val="100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3pPr>
      <a:lvl4pPr marL="361950" indent="-180975" algn="l" defTabSz="914400" rtl="0" eaLnBrk="1" latinLnBrk="0" hangingPunct="1">
        <a:lnSpc>
          <a:spcPct val="100000"/>
        </a:lnSpc>
        <a:spcBef>
          <a:spcPts val="500"/>
        </a:spcBef>
        <a:spcAft>
          <a:spcPts val="0"/>
        </a:spcAft>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5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547EBF"/>
          </p15:clr>
        </p15:guide>
        <p15:guide id="2" pos="7469">
          <p15:clr>
            <a:srgbClr val="547EBF"/>
          </p15:clr>
        </p15:guide>
        <p15:guide id="3" orient="horz" pos="210">
          <p15:clr>
            <a:srgbClr val="F26B43"/>
          </p15:clr>
        </p15:guide>
        <p15:guide id="4" orient="horz" pos="1044">
          <p15:clr>
            <a:srgbClr val="547EBF"/>
          </p15:clr>
        </p15:guide>
        <p15:guide id="5" orient="horz" pos="3838">
          <p15:clr>
            <a:srgbClr val="547EBF"/>
          </p15:clr>
        </p15:guide>
        <p15:guide id="6" orient="horz" pos="2438">
          <p15:clr>
            <a:srgbClr val="547EBF"/>
          </p15:clr>
        </p15:guide>
        <p15:guide id="7" pos="3840">
          <p15:clr>
            <a:srgbClr val="547EBF"/>
          </p15:clr>
        </p15:guide>
        <p15:guide id="8" orient="horz" pos="4248">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hyperlink" Target="tel:1800%20737%20732"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hyperlink" Target="tel:1800%20737%20732"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7.xml"/><Relationship Id="rId1" Type="http://schemas.openxmlformats.org/officeDocument/2006/relationships/slideLayout" Target="../slideLayouts/slideLayout18.xml"/><Relationship Id="rId5" Type="http://schemas.openxmlformats.org/officeDocument/2006/relationships/image" Target="../media/image54.svg"/><Relationship Id="rId4" Type="http://schemas.openxmlformats.org/officeDocument/2006/relationships/image" Target="../media/image5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32.PNG"/><Relationship Id="rId7" Type="http://schemas.openxmlformats.org/officeDocument/2006/relationships/image" Target="../media/image62.svg"/><Relationship Id="rId2" Type="http://schemas.openxmlformats.org/officeDocument/2006/relationships/notesSlide" Target="../notesSlides/notesSlide31.xml"/><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 Id="rId9" Type="http://schemas.openxmlformats.org/officeDocument/2006/relationships/image" Target="../media/image64.svg"/></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32.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3.xml"/><Relationship Id="rId1" Type="http://schemas.openxmlformats.org/officeDocument/2006/relationships/slideLayout" Target="../slideLayouts/slideLayout84.xml"/><Relationship Id="rId5" Type="http://schemas.openxmlformats.org/officeDocument/2006/relationships/image" Target="../media/image69.gif"/><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4.xml"/><Relationship Id="rId1" Type="http://schemas.openxmlformats.org/officeDocument/2006/relationships/slideLayout" Target="../slideLayouts/slideLayout84.xml"/><Relationship Id="rId5" Type="http://schemas.openxmlformats.org/officeDocument/2006/relationships/image" Target="../media/image69.gif"/><Relationship Id="rId4" Type="http://schemas.openxmlformats.org/officeDocument/2006/relationships/image" Target="../media/image68.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hyperlink" Target="https://www.nawo.org.au/pdp-communicating-with-authority-digital/" TargetMode="External"/><Relationship Id="rId4" Type="http://schemas.openxmlformats.org/officeDocument/2006/relationships/hyperlink" Target="http://www.nawo.org.au/"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20.png"/><Relationship Id="rId7" Type="http://schemas.openxmlformats.org/officeDocument/2006/relationships/image" Target="../media/image23.emf"/><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2.emf"/><Relationship Id="rId5" Type="http://schemas.openxmlformats.org/officeDocument/2006/relationships/image" Target="../media/image21.emf"/><Relationship Id="rId10" Type="http://schemas.openxmlformats.org/officeDocument/2006/relationships/image" Target="../media/image26.emf"/><Relationship Id="rId4" Type="http://schemas.microsoft.com/office/2007/relationships/hdphoto" Target="../media/hdphoto1.wdp"/><Relationship Id="rId9"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3.tiff"/></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7" Type="http://schemas.openxmlformats.org/officeDocument/2006/relationships/image" Target="../media/image13.tiff"/><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15" name="Rectangle 11">
            <a:extLst>
              <a:ext uri="{FF2B5EF4-FFF2-40B4-BE49-F238E27FC236}">
                <a16:creationId xmlns:a16="http://schemas.microsoft.com/office/drawing/2014/main" id="{0E2F58BF-12E5-4B5A-AD25-4DAAA2742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316B1B-56B4-3345-94D5-9D0F88D14C46}"/>
              </a:ext>
            </a:extLst>
          </p:cNvPr>
          <p:cNvSpPr>
            <a:spLocks noGrp="1"/>
          </p:cNvSpPr>
          <p:nvPr>
            <p:ph type="ctrTitle"/>
          </p:nvPr>
        </p:nvSpPr>
        <p:spPr>
          <a:xfrm>
            <a:off x="477981" y="2602017"/>
            <a:ext cx="4023360" cy="1724480"/>
          </a:xfrm>
        </p:spPr>
        <p:txBody>
          <a:bodyPr anchor="b">
            <a:noAutofit/>
          </a:bodyPr>
          <a:lstStyle/>
          <a:p>
            <a:pPr algn="l"/>
            <a:br>
              <a:rPr lang="en-US" sz="2800" dirty="0">
                <a:solidFill>
                  <a:schemeClr val="bg1"/>
                </a:solidFill>
                <a:ea typeface="Tahoma"/>
                <a:cs typeface="Tahoma"/>
              </a:rPr>
            </a:br>
            <a:r>
              <a:rPr lang="en-AU" sz="2800" b="0" dirty="0">
                <a:solidFill>
                  <a:schemeClr val="bg1"/>
                </a:solidFill>
              </a:rPr>
              <a:t>Workplaces as the new frontline: Family and Domestic Violence with COVID-19</a:t>
            </a:r>
            <a:endParaRPr lang="en-US" sz="2800" dirty="0">
              <a:solidFill>
                <a:schemeClr val="bg1"/>
              </a:solidFill>
            </a:endParaRPr>
          </a:p>
        </p:txBody>
      </p:sp>
      <p:sp>
        <p:nvSpPr>
          <p:cNvPr id="3" name="Subtitle 2">
            <a:extLst>
              <a:ext uri="{FF2B5EF4-FFF2-40B4-BE49-F238E27FC236}">
                <a16:creationId xmlns:a16="http://schemas.microsoft.com/office/drawing/2014/main" id="{0BFCCD50-659A-2E40-A8FA-913A45474340}"/>
              </a:ext>
            </a:extLst>
          </p:cNvPr>
          <p:cNvSpPr>
            <a:spLocks noGrp="1"/>
          </p:cNvSpPr>
          <p:nvPr>
            <p:ph type="subTitle" idx="1"/>
          </p:nvPr>
        </p:nvSpPr>
        <p:spPr>
          <a:xfrm>
            <a:off x="477982" y="5046456"/>
            <a:ext cx="4023359" cy="1208141"/>
          </a:xfrm>
        </p:spPr>
        <p:txBody>
          <a:bodyPr>
            <a:normAutofit fontScale="85000" lnSpcReduction="20000"/>
          </a:bodyPr>
          <a:lstStyle/>
          <a:p>
            <a:pPr algn="l"/>
            <a:r>
              <a:rPr lang="en-US" sz="2000" i="1" dirty="0">
                <a:solidFill>
                  <a:schemeClr val="bg1"/>
                </a:solidFill>
                <a:latin typeface="+mn-lt"/>
              </a:rPr>
              <a:t>This webinar deals with domestic violence and might be triggering for some participants. </a:t>
            </a:r>
          </a:p>
          <a:p>
            <a:pPr algn="l"/>
            <a:r>
              <a:rPr lang="en-US" sz="2000" i="1" dirty="0">
                <a:solidFill>
                  <a:schemeClr val="bg1"/>
                </a:solidFill>
                <a:latin typeface="+mn-lt"/>
              </a:rPr>
              <a:t>Please call 1800RESPECT (1800 737 732) for support</a:t>
            </a:r>
          </a:p>
        </p:txBody>
      </p:sp>
      <p:sp>
        <p:nvSpPr>
          <p:cNvPr id="14" name="Rectangle 1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7" name="Picture 6">
            <a:extLst>
              <a:ext uri="{FF2B5EF4-FFF2-40B4-BE49-F238E27FC236}">
                <a16:creationId xmlns:a16="http://schemas.microsoft.com/office/drawing/2014/main" id="{D1A684DE-6C91-6A42-A88A-DFF0ABF5510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68487" y="10"/>
            <a:ext cx="7323513" cy="6857990"/>
          </a:xfrm>
          <a:prstGeom prst="rect">
            <a:avLst/>
          </a:prstGeom>
        </p:spPr>
      </p:pic>
      <p:sp>
        <p:nvSpPr>
          <p:cNvPr id="6" name="Rectangle 5">
            <a:extLst>
              <a:ext uri="{FF2B5EF4-FFF2-40B4-BE49-F238E27FC236}">
                <a16:creationId xmlns:a16="http://schemas.microsoft.com/office/drawing/2014/main" id="{B7451250-24B1-EB42-8B4C-74624D4EBCE8}"/>
              </a:ext>
            </a:extLst>
          </p:cNvPr>
          <p:cNvSpPr/>
          <p:nvPr/>
        </p:nvSpPr>
        <p:spPr>
          <a:xfrm>
            <a:off x="92597" y="92597"/>
            <a:ext cx="4595150" cy="89125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114EAD04-7B09-9A40-82C4-D146717CF8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7980" y="538222"/>
            <a:ext cx="1071339" cy="1325563"/>
          </a:xfrm>
          <a:prstGeom prst="rect">
            <a:avLst/>
          </a:prstGeom>
        </p:spPr>
      </p:pic>
      <p:sp>
        <p:nvSpPr>
          <p:cNvPr id="4" name="TextBox 3">
            <a:extLst>
              <a:ext uri="{FF2B5EF4-FFF2-40B4-BE49-F238E27FC236}">
                <a16:creationId xmlns:a16="http://schemas.microsoft.com/office/drawing/2014/main" id="{A9CBE6B4-63C3-43E7-9206-38DCAA1BBCE7}"/>
              </a:ext>
            </a:extLst>
          </p:cNvPr>
          <p:cNvSpPr txBox="1"/>
          <p:nvPr/>
        </p:nvSpPr>
        <p:spPr>
          <a:xfrm>
            <a:off x="2134672" y="706417"/>
            <a:ext cx="214846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chemeClr val="bg1"/>
                </a:solidFill>
              </a:rPr>
              <a:t>This webinar will commence shortly</a:t>
            </a:r>
          </a:p>
        </p:txBody>
      </p:sp>
    </p:spTree>
    <p:extLst>
      <p:ext uri="{BB962C8B-B14F-4D97-AF65-F5344CB8AC3E}">
        <p14:creationId xmlns:p14="http://schemas.microsoft.com/office/powerpoint/2010/main" val="442897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2839A1C-34CB-4C3C-8531-CA67525FDE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 useBgFill="1">
        <p:nvSpPr>
          <p:cNvPr id="24" name="Freeform: Shape 23">
            <a:extLst>
              <a:ext uri="{FF2B5EF4-FFF2-40B4-BE49-F238E27FC236}">
                <a16:creationId xmlns:a16="http://schemas.microsoft.com/office/drawing/2014/main" id="{FAC94EAF-F7F7-4727-AE69-A7036B4A5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16200000">
            <a:off x="-650724" y="650724"/>
            <a:ext cx="6858000" cy="5556552"/>
          </a:xfrm>
          <a:custGeom>
            <a:avLst/>
            <a:gdLst>
              <a:gd name="connsiteX0" fmla="*/ 6858000 w 6858000"/>
              <a:gd name="connsiteY0" fmla="*/ 3445704 h 5556552"/>
              <a:gd name="connsiteX1" fmla="*/ 3829242 w 6858000"/>
              <a:gd name="connsiteY1" fmla="*/ 5433322 h 5556552"/>
              <a:gd name="connsiteX2" fmla="*/ 3827369 w 6858000"/>
              <a:gd name="connsiteY2" fmla="*/ 5434867 h 5556552"/>
              <a:gd name="connsiteX3" fmla="*/ 3824583 w 6858000"/>
              <a:gd name="connsiteY3" fmla="*/ 5436378 h 5556552"/>
              <a:gd name="connsiteX4" fmla="*/ 3798693 w 6858000"/>
              <a:gd name="connsiteY4" fmla="*/ 5453370 h 5556552"/>
              <a:gd name="connsiteX5" fmla="*/ 3785011 w 6858000"/>
              <a:gd name="connsiteY5" fmla="*/ 5457858 h 5556552"/>
              <a:gd name="connsiteX6" fmla="*/ 3706339 w 6858000"/>
              <a:gd name="connsiteY6" fmla="*/ 5500559 h 5556552"/>
              <a:gd name="connsiteX7" fmla="*/ 3428998 w 6858000"/>
              <a:gd name="connsiteY7" fmla="*/ 5556552 h 5556552"/>
              <a:gd name="connsiteX8" fmla="*/ 3151658 w 6858000"/>
              <a:gd name="connsiteY8" fmla="*/ 5500559 h 5556552"/>
              <a:gd name="connsiteX9" fmla="*/ 3072996 w 6858000"/>
              <a:gd name="connsiteY9" fmla="*/ 5457863 h 5556552"/>
              <a:gd name="connsiteX10" fmla="*/ 3059298 w 6858000"/>
              <a:gd name="connsiteY10" fmla="*/ 5453370 h 5556552"/>
              <a:gd name="connsiteX11" fmla="*/ 3033383 w 6858000"/>
              <a:gd name="connsiteY11" fmla="*/ 5436362 h 5556552"/>
              <a:gd name="connsiteX12" fmla="*/ 3030627 w 6858000"/>
              <a:gd name="connsiteY12" fmla="*/ 5434867 h 5556552"/>
              <a:gd name="connsiteX13" fmla="*/ 3028775 w 6858000"/>
              <a:gd name="connsiteY13" fmla="*/ 5433338 h 5556552"/>
              <a:gd name="connsiteX14" fmla="*/ 0 w 6858000"/>
              <a:gd name="connsiteY14" fmla="*/ 3445704 h 5556552"/>
              <a:gd name="connsiteX15" fmla="*/ 6858000 w 6858000"/>
              <a:gd name="connsiteY15" fmla="*/ 0 h 5556552"/>
              <a:gd name="connsiteX16" fmla="*/ 6858000 w 6858000"/>
              <a:gd name="connsiteY16" fmla="*/ 349336 h 5556552"/>
              <a:gd name="connsiteX17" fmla="*/ 6858000 w 6858000"/>
              <a:gd name="connsiteY17" fmla="*/ 3445703 h 5556552"/>
              <a:gd name="connsiteX18" fmla="*/ 0 w 6858000"/>
              <a:gd name="connsiteY18" fmla="*/ 3445703 h 5556552"/>
              <a:gd name="connsiteX19" fmla="*/ 0 w 6858000"/>
              <a:gd name="connsiteY19" fmla="*/ 0 h 555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0" h="5556552">
                <a:moveTo>
                  <a:pt x="6858000" y="3445704"/>
                </a:moveTo>
                <a:lnTo>
                  <a:pt x="3829242" y="5433322"/>
                </a:lnTo>
                <a:lnTo>
                  <a:pt x="3827369" y="5434867"/>
                </a:lnTo>
                <a:lnTo>
                  <a:pt x="3824583" y="5436378"/>
                </a:lnTo>
                <a:lnTo>
                  <a:pt x="3798693" y="5453370"/>
                </a:lnTo>
                <a:lnTo>
                  <a:pt x="3785011" y="5457858"/>
                </a:lnTo>
                <a:lnTo>
                  <a:pt x="3706339" y="5500559"/>
                </a:lnTo>
                <a:cubicBezTo>
                  <a:pt x="3621096" y="5536614"/>
                  <a:pt x="3527375" y="5556552"/>
                  <a:pt x="3428998" y="5556552"/>
                </a:cubicBezTo>
                <a:cubicBezTo>
                  <a:pt x="3330621" y="5556552"/>
                  <a:pt x="3236901" y="5536614"/>
                  <a:pt x="3151658" y="5500559"/>
                </a:cubicBezTo>
                <a:lnTo>
                  <a:pt x="3072996" y="5457863"/>
                </a:lnTo>
                <a:lnTo>
                  <a:pt x="3059298" y="5453370"/>
                </a:lnTo>
                <a:lnTo>
                  <a:pt x="3033383" y="5436362"/>
                </a:lnTo>
                <a:lnTo>
                  <a:pt x="3030627" y="5434867"/>
                </a:lnTo>
                <a:lnTo>
                  <a:pt x="3028775" y="5433338"/>
                </a:lnTo>
                <a:lnTo>
                  <a:pt x="0" y="3445704"/>
                </a:lnTo>
                <a:close/>
                <a:moveTo>
                  <a:pt x="6858000" y="0"/>
                </a:moveTo>
                <a:lnTo>
                  <a:pt x="6858000" y="349336"/>
                </a:lnTo>
                <a:lnTo>
                  <a:pt x="6858000" y="3445703"/>
                </a:lnTo>
                <a:lnTo>
                  <a:pt x="0" y="3445703"/>
                </a:lnTo>
                <a:lnTo>
                  <a:pt x="0" y="0"/>
                </a:lnTo>
                <a:close/>
              </a:path>
            </a:pathLst>
          </a:custGeom>
          <a:ln>
            <a:noFill/>
          </a:ln>
          <a:effectLst/>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pic>
        <p:nvPicPr>
          <p:cNvPr id="9" name="Picture 8" descr="A picture containing drawing&#10;&#10;Description automatically generated">
            <a:extLst>
              <a:ext uri="{FF2B5EF4-FFF2-40B4-BE49-F238E27FC236}">
                <a16:creationId xmlns:a16="http://schemas.microsoft.com/office/drawing/2014/main" id="{370815FF-D400-437D-BD4B-5DD59D742C82}"/>
              </a:ext>
            </a:extLst>
          </p:cNvPr>
          <p:cNvPicPr>
            <a:picLocks noChangeAspect="1"/>
          </p:cNvPicPr>
          <p:nvPr/>
        </p:nvPicPr>
        <p:blipFill>
          <a:blip r:embed="rId3"/>
          <a:stretch>
            <a:fillRect/>
          </a:stretch>
        </p:blipFill>
        <p:spPr>
          <a:xfrm>
            <a:off x="126607" y="2632742"/>
            <a:ext cx="4899002" cy="1592513"/>
          </a:xfrm>
          <a:prstGeom prst="rect">
            <a:avLst/>
          </a:prstGeom>
        </p:spPr>
      </p:pic>
      <p:sp>
        <p:nvSpPr>
          <p:cNvPr id="2" name="TextBox 1">
            <a:extLst>
              <a:ext uri="{FF2B5EF4-FFF2-40B4-BE49-F238E27FC236}">
                <a16:creationId xmlns:a16="http://schemas.microsoft.com/office/drawing/2014/main" id="{4E23B790-142A-4DB6-9A01-F3C0B2B174A2}"/>
              </a:ext>
            </a:extLst>
          </p:cNvPr>
          <p:cNvSpPr txBox="1"/>
          <p:nvPr/>
        </p:nvSpPr>
        <p:spPr>
          <a:xfrm>
            <a:off x="5683159" y="2077278"/>
            <a:ext cx="6382234" cy="243143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2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Family and Domestic Violen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38B4B2"/>
                </a:solidFill>
                <a:effectLst/>
                <a:uLnTx/>
                <a:uFillTx/>
                <a:latin typeface="Tahoma" panose="020B0604030504040204" pitchFamily="34" charset="0"/>
                <a:ea typeface="Tahoma" panose="020B0604030504040204" pitchFamily="34" charset="0"/>
                <a:cs typeface="Tahoma" panose="020B0604030504040204" pitchFamily="34" charset="0"/>
              </a:rPr>
              <a:t>Workplace Response in Context of COVID-19</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pril 2020</a:t>
            </a:r>
          </a:p>
        </p:txBody>
      </p:sp>
    </p:spTree>
    <p:extLst>
      <p:ext uri="{BB962C8B-B14F-4D97-AF65-F5344CB8AC3E}">
        <p14:creationId xmlns:p14="http://schemas.microsoft.com/office/powerpoint/2010/main" val="1529836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ho we are</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grpSp>
        <p:nvGrpSpPr>
          <p:cNvPr id="100" name="Group 99">
            <a:extLst>
              <a:ext uri="{FF2B5EF4-FFF2-40B4-BE49-F238E27FC236}">
                <a16:creationId xmlns:a16="http://schemas.microsoft.com/office/drawing/2014/main" id="{48C0C468-D94B-4188-80FA-691A30B8FA1D}"/>
              </a:ext>
            </a:extLst>
          </p:cNvPr>
          <p:cNvGrpSpPr/>
          <p:nvPr/>
        </p:nvGrpSpPr>
        <p:grpSpPr>
          <a:xfrm>
            <a:off x="6096000" y="4853403"/>
            <a:ext cx="3047997" cy="1479946"/>
            <a:chOff x="468272" y="3745"/>
            <a:chExt cx="2171923" cy="1303153"/>
          </a:xfrm>
          <a:solidFill>
            <a:srgbClr val="662D91"/>
          </a:solidFill>
        </p:grpSpPr>
        <p:sp>
          <p:nvSpPr>
            <p:cNvPr id="110" name="Rectangle 109">
              <a:extLst>
                <a:ext uri="{FF2B5EF4-FFF2-40B4-BE49-F238E27FC236}">
                  <a16:creationId xmlns:a16="http://schemas.microsoft.com/office/drawing/2014/main" id="{114420A7-653F-4F10-B3DA-F9F9A9111F6E}"/>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11" name="TextBox 110">
              <a:extLst>
                <a:ext uri="{FF2B5EF4-FFF2-40B4-BE49-F238E27FC236}">
                  <a16:creationId xmlns:a16="http://schemas.microsoft.com/office/drawing/2014/main" id="{57574990-E923-4B46-AB82-18928CB1F3AC}"/>
                </a:ext>
              </a:extLst>
            </p:cNvPr>
            <p:cNvSpPr txBox="1"/>
            <p:nvPr/>
          </p:nvSpPr>
          <p:spPr>
            <a:xfrm>
              <a:off x="468272" y="3745"/>
              <a:ext cx="2171923" cy="129307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artnerships</a:t>
              </a:r>
            </a:p>
          </p:txBody>
        </p:sp>
      </p:grpSp>
      <p:grpSp>
        <p:nvGrpSpPr>
          <p:cNvPr id="101" name="Group 100">
            <a:extLst>
              <a:ext uri="{FF2B5EF4-FFF2-40B4-BE49-F238E27FC236}">
                <a16:creationId xmlns:a16="http://schemas.microsoft.com/office/drawing/2014/main" id="{7E9CA014-BD72-4AF4-847D-69AD8F21AA05}"/>
              </a:ext>
            </a:extLst>
          </p:cNvPr>
          <p:cNvGrpSpPr/>
          <p:nvPr/>
        </p:nvGrpSpPr>
        <p:grpSpPr>
          <a:xfrm>
            <a:off x="-70337" y="4848130"/>
            <a:ext cx="3169960" cy="1468497"/>
            <a:chOff x="2857388" y="3745"/>
            <a:chExt cx="2194391" cy="1317087"/>
          </a:xfrm>
          <a:solidFill>
            <a:srgbClr val="2E3192"/>
          </a:solidFill>
        </p:grpSpPr>
        <p:sp>
          <p:nvSpPr>
            <p:cNvPr id="108" name="Rectangle 107">
              <a:extLst>
                <a:ext uri="{FF2B5EF4-FFF2-40B4-BE49-F238E27FC236}">
                  <a16:creationId xmlns:a16="http://schemas.microsoft.com/office/drawing/2014/main" id="{30893DB1-BD33-41CD-9880-F0BBD88B704B}"/>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109" name="TextBox 108">
              <a:extLst>
                <a:ext uri="{FF2B5EF4-FFF2-40B4-BE49-F238E27FC236}">
                  <a16:creationId xmlns:a16="http://schemas.microsoft.com/office/drawing/2014/main" id="{5A435534-B8ED-4F24-9A98-103EE63A301D}"/>
                </a:ext>
              </a:extLst>
            </p:cNvPr>
            <p:cNvSpPr txBox="1"/>
            <p:nvPr/>
          </p:nvSpPr>
          <p:spPr>
            <a:xfrm>
              <a:off x="2879856" y="17679"/>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orkplace</a:t>
              </a:r>
            </a:p>
            <a:p>
              <a:pPr marL="0" marR="0" lvl="0" indent="0" algn="ctr" defTabSz="97785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raining</a:t>
              </a:r>
            </a:p>
          </p:txBody>
        </p:sp>
      </p:grpSp>
      <p:grpSp>
        <p:nvGrpSpPr>
          <p:cNvPr id="102" name="Group 101">
            <a:extLst>
              <a:ext uri="{FF2B5EF4-FFF2-40B4-BE49-F238E27FC236}">
                <a16:creationId xmlns:a16="http://schemas.microsoft.com/office/drawing/2014/main" id="{9F888615-BA21-4F47-AB28-39A8C7E1175D}"/>
              </a:ext>
            </a:extLst>
          </p:cNvPr>
          <p:cNvGrpSpPr/>
          <p:nvPr/>
        </p:nvGrpSpPr>
        <p:grpSpPr>
          <a:xfrm>
            <a:off x="9143993" y="4853402"/>
            <a:ext cx="3047999" cy="1479947"/>
            <a:chOff x="5246503" y="3745"/>
            <a:chExt cx="2171923" cy="1303153"/>
          </a:xfrm>
          <a:solidFill>
            <a:srgbClr val="1B75BC"/>
          </a:solidFill>
        </p:grpSpPr>
        <p:sp>
          <p:nvSpPr>
            <p:cNvPr id="106" name="Rectangle 105">
              <a:extLst>
                <a:ext uri="{FF2B5EF4-FFF2-40B4-BE49-F238E27FC236}">
                  <a16:creationId xmlns:a16="http://schemas.microsoft.com/office/drawing/2014/main" id="{6B9E46E5-D7D9-4E09-AEF3-AF2EE3B587EF}"/>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107" name="TextBox 106">
              <a:extLst>
                <a:ext uri="{FF2B5EF4-FFF2-40B4-BE49-F238E27FC236}">
                  <a16:creationId xmlns:a16="http://schemas.microsoft.com/office/drawing/2014/main" id="{6CCC8FAB-39D7-44A8-A294-4CAF016F5920}"/>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Events</a:t>
              </a:r>
            </a:p>
          </p:txBody>
        </p:sp>
      </p:grpSp>
      <p:grpSp>
        <p:nvGrpSpPr>
          <p:cNvPr id="103" name="Group 102">
            <a:extLst>
              <a:ext uri="{FF2B5EF4-FFF2-40B4-BE49-F238E27FC236}">
                <a16:creationId xmlns:a16="http://schemas.microsoft.com/office/drawing/2014/main" id="{99CC4C93-1C50-45C7-8359-64C0C3C3A6C1}"/>
              </a:ext>
            </a:extLst>
          </p:cNvPr>
          <p:cNvGrpSpPr/>
          <p:nvPr/>
        </p:nvGrpSpPr>
        <p:grpSpPr>
          <a:xfrm>
            <a:off x="3063763" y="4850535"/>
            <a:ext cx="3047999" cy="1474463"/>
            <a:chOff x="2857388" y="3745"/>
            <a:chExt cx="2171923" cy="1303153"/>
          </a:xfrm>
          <a:solidFill>
            <a:srgbClr val="00A79D"/>
          </a:solidFill>
        </p:grpSpPr>
        <p:sp>
          <p:nvSpPr>
            <p:cNvPr id="104" name="Rectangle 103">
              <a:extLst>
                <a:ext uri="{FF2B5EF4-FFF2-40B4-BE49-F238E27FC236}">
                  <a16:creationId xmlns:a16="http://schemas.microsoft.com/office/drawing/2014/main" id="{95A43962-B5D5-470C-AEF6-084EEC5D392B}"/>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105" name="TextBox 104">
              <a:extLst>
                <a:ext uri="{FF2B5EF4-FFF2-40B4-BE49-F238E27FC236}">
                  <a16:creationId xmlns:a16="http://schemas.microsoft.com/office/drawing/2014/main" id="{7BB9C7E7-83C1-4FE9-B0F8-83229D96D2DD}"/>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eLearning</a:t>
              </a:r>
            </a:p>
          </p:txBody>
        </p:sp>
      </p:grpSp>
      <p:sp>
        <p:nvSpPr>
          <p:cNvPr id="2" name="Rectangle 1">
            <a:extLst>
              <a:ext uri="{FF2B5EF4-FFF2-40B4-BE49-F238E27FC236}">
                <a16:creationId xmlns:a16="http://schemas.microsoft.com/office/drawing/2014/main" id="{8070061C-973C-4C3A-98E5-6924CCA17DAE}"/>
              </a:ext>
            </a:extLst>
          </p:cNvPr>
          <p:cNvSpPr/>
          <p:nvPr/>
        </p:nvSpPr>
        <p:spPr>
          <a:xfrm>
            <a:off x="264694" y="1373777"/>
            <a:ext cx="11682663" cy="31700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E3192"/>
                </a:solidFill>
                <a:effectLst>
                  <a:outerShdw blurRad="50800" dist="50800" dir="5400000" algn="ctr" rotWithShape="0">
                    <a:srgbClr val="FFFFFF">
                      <a:lumMod val="75000"/>
                    </a:srgbClr>
                  </a:outerShdw>
                </a:effectLst>
                <a:uLnTx/>
                <a:uFillTx/>
                <a:latin typeface="Tahoma" panose="020B0604030504040204" pitchFamily="34" charset="0"/>
                <a:ea typeface="Tahoma" panose="020B0604030504040204" pitchFamily="34" charset="0"/>
                <a:cs typeface="Tahoma" panose="020B0604030504040204" pitchFamily="34" charset="0"/>
              </a:rPr>
              <a:t>Our vision is to create a world without domestic and family violen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artnering with </a:t>
            </a:r>
            <a:r>
              <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Australian businesses since 2001</a:t>
            </a: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our proven Workplace Prevention Program empowers businesses to be part of the soluti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We help develop </a:t>
            </a:r>
            <a:r>
              <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workplace policies </a:t>
            </a: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and educate mangers and staff to recognise the signs and respond appropriatel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We work with workplaces to </a:t>
            </a:r>
            <a:r>
              <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raise awareness </a:t>
            </a: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about this critical safety issue, provide opportunities to directly </a:t>
            </a:r>
            <a:r>
              <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support frontline services</a:t>
            </a: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and encourage participation in </a:t>
            </a:r>
            <a:r>
              <a:rPr kumimoji="0" lang="en-GB" sz="18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community activities </a:t>
            </a:r>
            <a:r>
              <a:rPr kumimoji="0" lang="en-GB"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demonstrating to employees and customers your company values.</a:t>
            </a:r>
          </a:p>
        </p:txBody>
      </p:sp>
    </p:spTree>
    <p:extLst>
      <p:ext uri="{BB962C8B-B14F-4D97-AF65-F5344CB8AC3E}">
        <p14:creationId xmlns:p14="http://schemas.microsoft.com/office/powerpoint/2010/main" val="1999516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2" y="-22701"/>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elf Care</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3" name="Rectangle 2">
            <a:extLst>
              <a:ext uri="{FF2B5EF4-FFF2-40B4-BE49-F238E27FC236}">
                <a16:creationId xmlns:a16="http://schemas.microsoft.com/office/drawing/2014/main" id="{92FA79C5-C6BA-4BB9-9EB1-73AC32C13EB4}"/>
              </a:ext>
            </a:extLst>
          </p:cNvPr>
          <p:cNvSpPr/>
          <p:nvPr/>
        </p:nvSpPr>
        <p:spPr>
          <a:xfrm>
            <a:off x="347003" y="1461965"/>
            <a:ext cx="11512061" cy="423192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Blip>
                <a:blip r:embed="rId3"/>
              </a:buBlip>
              <a:tabLst/>
              <a:defRPr/>
            </a:pPr>
            <a:r>
              <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Be aware and sensitive to others.</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600"/>
              </a:spcAft>
              <a:buClrTx/>
              <a:buSzTx/>
              <a:buFontTx/>
              <a:buBlip>
                <a:blip r:embed="rId3"/>
              </a:buBlip>
              <a:tabLst/>
              <a:defRPr/>
            </a:pPr>
            <a:r>
              <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Be mindful of being non-judgemental in our comments and feedback.</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600"/>
              </a:spcAft>
              <a:buClrTx/>
              <a:buSzTx/>
              <a:buFontTx/>
              <a:buBlip>
                <a:blip r:embed="rId3"/>
              </a:buBlip>
              <a:tabLst/>
              <a:defRPr/>
            </a:pPr>
            <a:r>
              <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If at any stage during the webinar you are triggered, please feel free to leave the webinar.</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600"/>
              </a:spcAft>
              <a:buClrTx/>
              <a:buSzTx/>
              <a:buFontTx/>
              <a:buBlip>
                <a:blip r:embed="rId3"/>
              </a:buBlip>
              <a:tabLst/>
              <a:defRPr/>
            </a:pPr>
            <a:r>
              <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If you are triggered during or after the webinar, please ensure that you seek support.</a:t>
            </a:r>
            <a:endParaRPr kumimoji="0" lang="en-AU" sz="36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600"/>
              </a:spcAft>
              <a:buClrTx/>
              <a:buSzTx/>
              <a:buFontTx/>
              <a:buBlip>
                <a:blip r:embed="rId3"/>
              </a:buBlip>
              <a:tabLst/>
              <a:defRPr/>
            </a:pPr>
            <a:endParaRPr kumimoji="0" lang="en-AU" sz="18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8" name="TextBox 27">
            <a:extLst>
              <a:ext uri="{FF2B5EF4-FFF2-40B4-BE49-F238E27FC236}">
                <a16:creationId xmlns:a16="http://schemas.microsoft.com/office/drawing/2014/main" id="{D90EC939-761D-AA4D-9E9F-8FBCDC59A804}"/>
              </a:ext>
            </a:extLst>
          </p:cNvPr>
          <p:cNvSpPr txBox="1"/>
          <p:nvPr/>
        </p:nvSpPr>
        <p:spPr>
          <a:xfrm>
            <a:off x="9112360" y="5918121"/>
            <a:ext cx="3172795" cy="369332"/>
          </a:xfrm>
          <a:prstGeom prst="rect">
            <a:avLst/>
          </a:prstGeom>
          <a:noFill/>
        </p:spPr>
        <p:txBody>
          <a:bodyPr wrap="square" rtlCol="0">
            <a:spAutoFit/>
          </a:bodyPr>
          <a:lstStyle/>
          <a:p>
            <a:r>
              <a:rPr lang="en-AU" dirty="0">
                <a:solidFill>
                  <a:schemeClr val="tx2"/>
                </a:solidFill>
              </a:rPr>
              <a:t>Call </a:t>
            </a:r>
            <a:r>
              <a:rPr lang="en-AU" b="1" dirty="0">
                <a:solidFill>
                  <a:schemeClr val="tx2"/>
                </a:solidFill>
                <a:hlinkClick r:id="rId4" tooltip="Call 1800RESPECT 1800 737 732">
                  <a:extLst>
                    <a:ext uri="{A12FA001-AC4F-418D-AE19-62706E023703}">
                      <ahyp:hlinkClr xmlns:ahyp="http://schemas.microsoft.com/office/drawing/2018/hyperlinkcolor" val="tx"/>
                    </a:ext>
                  </a:extLst>
                </a:hlinkClick>
              </a:rPr>
              <a:t>1800 737 732</a:t>
            </a:r>
            <a:endParaRPr lang="en-US" dirty="0">
              <a:solidFill>
                <a:schemeClr val="tx2"/>
              </a:solidFill>
            </a:endParaRPr>
          </a:p>
        </p:txBody>
      </p:sp>
      <p:sp>
        <p:nvSpPr>
          <p:cNvPr id="30" name="TextBox 29">
            <a:extLst>
              <a:ext uri="{FF2B5EF4-FFF2-40B4-BE49-F238E27FC236}">
                <a16:creationId xmlns:a16="http://schemas.microsoft.com/office/drawing/2014/main" id="{2CAFC079-0174-9B42-97EE-4E9A9B4E96B6}"/>
              </a:ext>
            </a:extLst>
          </p:cNvPr>
          <p:cNvSpPr txBox="1"/>
          <p:nvPr/>
        </p:nvSpPr>
        <p:spPr>
          <a:xfrm>
            <a:off x="9112360" y="5536075"/>
            <a:ext cx="2404070" cy="461665"/>
          </a:xfrm>
          <a:prstGeom prst="rect">
            <a:avLst/>
          </a:prstGeom>
          <a:noFill/>
        </p:spPr>
        <p:txBody>
          <a:bodyPr wrap="square" rtlCol="0">
            <a:spAutoFit/>
          </a:bodyPr>
          <a:lstStyle/>
          <a:p>
            <a:r>
              <a:rPr lang="en-US" sz="2400" b="1" dirty="0">
                <a:solidFill>
                  <a:schemeClr val="tx2"/>
                </a:solidFill>
              </a:rPr>
              <a:t>1800RESPECT</a:t>
            </a:r>
          </a:p>
        </p:txBody>
      </p:sp>
    </p:spTree>
    <p:extLst>
      <p:ext uri="{BB962C8B-B14F-4D97-AF65-F5344CB8AC3E}">
        <p14:creationId xmlns:p14="http://schemas.microsoft.com/office/powerpoint/2010/main" val="3841578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revalence of FDV</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51" name="Content Placeholder 5">
            <a:extLst>
              <a:ext uri="{FF2B5EF4-FFF2-40B4-BE49-F238E27FC236}">
                <a16:creationId xmlns:a16="http://schemas.microsoft.com/office/drawing/2014/main" id="{CFB6D470-9AE8-4081-90D3-95980D4E4078}"/>
              </a:ext>
            </a:extLst>
          </p:cNvPr>
          <p:cNvSpPr txBox="1">
            <a:spLocks/>
          </p:cNvSpPr>
          <p:nvPr/>
        </p:nvSpPr>
        <p:spPr>
          <a:xfrm>
            <a:off x="457198" y="1483331"/>
            <a:ext cx="10772276" cy="4525963"/>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All socio-economic group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All culture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All sexe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All age groups – elderly and young</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Educated or non educated</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Employed or unemployed</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4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It does not discriminate</a:t>
            </a:r>
          </a:p>
          <a:p>
            <a:pPr marL="742932" marR="0" lvl="1" indent="-285744"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2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There are specifically vulnerable groups</a:t>
            </a:r>
          </a:p>
          <a:p>
            <a:pPr marL="742932" marR="0" lvl="1" indent="-285744"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200" b="0" i="0" u="none" strike="noStrike" kern="1200" cap="none" spc="0" normalizeH="0" baseline="0" noProof="0" dirty="0">
                <a:ln>
                  <a:noFill/>
                </a:ln>
                <a:solidFill>
                  <a:srgbClr val="2E3192"/>
                </a:solidFill>
                <a:effectLst/>
                <a:uLnTx/>
                <a:uFillTx/>
                <a:latin typeface="Ebrima" panose="02000000000000000000" pitchFamily="2" charset="0"/>
                <a:ea typeface="Ebrima" panose="02000000000000000000" pitchFamily="2" charset="0"/>
                <a:cs typeface="Ebrima" panose="02000000000000000000" pitchFamily="2" charset="0"/>
              </a:rPr>
              <a:t>(ATSI, CALD, LGBTIQ+, those with disabilities and young families</a:t>
            </a:r>
            <a:endParaRPr kumimoji="0" lang="en-AU" sz="22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endPar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endParaRPr kumimoji="0" lang="en-AU" sz="1800" b="0" i="1"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30" name="Picture 29">
            <a:extLst>
              <a:ext uri="{FF2B5EF4-FFF2-40B4-BE49-F238E27FC236}">
                <a16:creationId xmlns:a16="http://schemas.microsoft.com/office/drawing/2014/main" id="{759AA4A2-B72C-4413-87B2-DC478EBDB5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1381" y="4898478"/>
            <a:ext cx="1652022" cy="1652022"/>
          </a:xfrm>
          <a:prstGeom prst="rect">
            <a:avLst/>
          </a:prstGeom>
        </p:spPr>
      </p:pic>
    </p:spTree>
    <p:extLst>
      <p:ext uri="{BB962C8B-B14F-4D97-AF65-F5344CB8AC3E}">
        <p14:creationId xmlns:p14="http://schemas.microsoft.com/office/powerpoint/2010/main" val="27883546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atistic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31" name="Picture 30">
            <a:extLst>
              <a:ext uri="{FF2B5EF4-FFF2-40B4-BE49-F238E27FC236}">
                <a16:creationId xmlns:a16="http://schemas.microsoft.com/office/drawing/2014/main" id="{F472B18B-0D54-4B44-AFB9-7E165A25F8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26918" y="1836529"/>
            <a:ext cx="8138160" cy="3773920"/>
          </a:xfrm>
          <a:prstGeom prst="rect">
            <a:avLst/>
          </a:prstGeom>
        </p:spPr>
      </p:pic>
    </p:spTree>
    <p:extLst>
      <p:ext uri="{BB962C8B-B14F-4D97-AF65-F5344CB8AC3E}">
        <p14:creationId xmlns:p14="http://schemas.microsoft.com/office/powerpoint/2010/main" val="116695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atistic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30" name="Picture 29" descr="A screenshot of a cell phone&#10;&#10;Description automatically generated">
            <a:extLst>
              <a:ext uri="{FF2B5EF4-FFF2-40B4-BE49-F238E27FC236}">
                <a16:creationId xmlns:a16="http://schemas.microsoft.com/office/drawing/2014/main" id="{3B4917B2-6EA3-4FA5-A8C2-C0798D6BB4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03830" y="1293376"/>
            <a:ext cx="8784336" cy="4837176"/>
          </a:xfrm>
          <a:prstGeom prst="rect">
            <a:avLst/>
          </a:prstGeom>
        </p:spPr>
      </p:pic>
    </p:spTree>
    <p:extLst>
      <p:ext uri="{BB962C8B-B14F-4D97-AF65-F5344CB8AC3E}">
        <p14:creationId xmlns:p14="http://schemas.microsoft.com/office/powerpoint/2010/main" val="3305368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atistic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31" name="Picture 30">
            <a:extLst>
              <a:ext uri="{FF2B5EF4-FFF2-40B4-BE49-F238E27FC236}">
                <a16:creationId xmlns:a16="http://schemas.microsoft.com/office/drawing/2014/main" id="{D7E32ED8-B5A3-4BD0-9645-59B352CC7B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52785" y="1627639"/>
            <a:ext cx="7886426" cy="4357720"/>
          </a:xfrm>
          <a:prstGeom prst="rect">
            <a:avLst/>
          </a:prstGeom>
        </p:spPr>
      </p:pic>
    </p:spTree>
    <p:extLst>
      <p:ext uri="{BB962C8B-B14F-4D97-AF65-F5344CB8AC3E}">
        <p14:creationId xmlns:p14="http://schemas.microsoft.com/office/powerpoint/2010/main" val="2910644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atistic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30" name="Picture 29">
            <a:extLst>
              <a:ext uri="{FF2B5EF4-FFF2-40B4-BE49-F238E27FC236}">
                <a16:creationId xmlns:a16="http://schemas.microsoft.com/office/drawing/2014/main" id="{72E362D8-9A36-4A4C-87EF-ACF67EBA18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8749" y="1379922"/>
            <a:ext cx="8482584" cy="4687134"/>
          </a:xfrm>
          <a:prstGeom prst="rect">
            <a:avLst/>
          </a:prstGeom>
        </p:spPr>
      </p:pic>
    </p:spTree>
    <p:extLst>
      <p:ext uri="{BB962C8B-B14F-4D97-AF65-F5344CB8AC3E}">
        <p14:creationId xmlns:p14="http://schemas.microsoft.com/office/powerpoint/2010/main" val="3256976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atistic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31" name="Picture 30">
            <a:extLst>
              <a:ext uri="{FF2B5EF4-FFF2-40B4-BE49-F238E27FC236}">
                <a16:creationId xmlns:a16="http://schemas.microsoft.com/office/drawing/2014/main" id="{6FF57C0C-4840-4644-817D-31E99A05006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19915" y="1586990"/>
            <a:ext cx="7799110" cy="4309473"/>
          </a:xfrm>
          <a:prstGeom prst="rect">
            <a:avLst/>
          </a:prstGeom>
        </p:spPr>
      </p:pic>
    </p:spTree>
    <p:extLst>
      <p:ext uri="{BB962C8B-B14F-4D97-AF65-F5344CB8AC3E}">
        <p14:creationId xmlns:p14="http://schemas.microsoft.com/office/powerpoint/2010/main" val="34407998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6DB28-78DD-46C9-BC34-7CFE9D753BE6}"/>
              </a:ext>
            </a:extLst>
          </p:cNvPr>
          <p:cNvSpPr>
            <a:spLocks noGrp="1"/>
          </p:cNvSpPr>
          <p:nvPr>
            <p:ph type="ctrTitle"/>
          </p:nvPr>
        </p:nvSpPr>
        <p:spPr>
          <a:xfrm>
            <a:off x="810000" y="1033866"/>
            <a:ext cx="10572000" cy="2971051"/>
          </a:xfrm>
        </p:spPr>
        <p:txBody>
          <a:bodyPr anchor="ctr" anchorCtr="1"/>
          <a:lstStyle/>
          <a:p>
            <a:r>
              <a:rPr lang="en-AU" sz="6000" dirty="0">
                <a:latin typeface="Tahoma" panose="020B0604030504040204" pitchFamily="34" charset="0"/>
                <a:ea typeface="Tahoma" panose="020B0604030504040204" pitchFamily="34" charset="0"/>
                <a:cs typeface="Tahoma" panose="020B0604030504040204" pitchFamily="34" charset="0"/>
              </a:rPr>
              <a:t>RECOGNISE</a:t>
            </a:r>
          </a:p>
        </p:txBody>
      </p:sp>
      <p:pic>
        <p:nvPicPr>
          <p:cNvPr id="6" name="Picture 5">
            <a:extLst>
              <a:ext uri="{FF2B5EF4-FFF2-40B4-BE49-F238E27FC236}">
                <a16:creationId xmlns:a16="http://schemas.microsoft.com/office/drawing/2014/main" id="{7F0A9933-DCBA-4090-89AF-967A1DEE86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3255" y="4978688"/>
            <a:ext cx="1652022" cy="1652022"/>
          </a:xfrm>
          <a:prstGeom prst="rect">
            <a:avLst/>
          </a:prstGeom>
        </p:spPr>
      </p:pic>
    </p:spTree>
    <p:extLst>
      <p:ext uri="{BB962C8B-B14F-4D97-AF65-F5344CB8AC3E}">
        <p14:creationId xmlns:p14="http://schemas.microsoft.com/office/powerpoint/2010/main" val="2407625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F58F109-375F-BA49-9618-E52CD37EC34B}"/>
              </a:ext>
            </a:extLst>
          </p:cNvPr>
          <p:cNvSpPr/>
          <p:nvPr/>
        </p:nvSpPr>
        <p:spPr>
          <a:xfrm>
            <a:off x="0" y="3333982"/>
            <a:ext cx="12192000" cy="35137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2D355878-0D52-A64B-B316-2E128B0A43A7}"/>
              </a:ext>
            </a:extLst>
          </p:cNvPr>
          <p:cNvSpPr/>
          <p:nvPr/>
        </p:nvSpPr>
        <p:spPr>
          <a:xfrm>
            <a:off x="8038118" y="2150688"/>
            <a:ext cx="2525222" cy="2525222"/>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638A7C6B-62C7-CE42-BE8E-4832918B2C56}"/>
              </a:ext>
            </a:extLst>
          </p:cNvPr>
          <p:cNvSpPr/>
          <p:nvPr/>
        </p:nvSpPr>
        <p:spPr>
          <a:xfrm>
            <a:off x="8257948" y="2387560"/>
            <a:ext cx="2090155" cy="208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8C117EAE-9978-5142-A290-29043AAF20B9}"/>
              </a:ext>
            </a:extLst>
          </p:cNvPr>
          <p:cNvSpPr/>
          <p:nvPr/>
        </p:nvSpPr>
        <p:spPr>
          <a:xfrm>
            <a:off x="4833389" y="2166389"/>
            <a:ext cx="2525222" cy="2525222"/>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85C34CAA-52B9-9F4D-80BD-A8B7AC272899}"/>
              </a:ext>
            </a:extLst>
          </p:cNvPr>
          <p:cNvSpPr/>
          <p:nvPr/>
        </p:nvSpPr>
        <p:spPr>
          <a:xfrm>
            <a:off x="5050019" y="2389163"/>
            <a:ext cx="2082877" cy="208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8214BE7-5599-B948-B1E9-72D4BAFAA309}"/>
              </a:ext>
            </a:extLst>
          </p:cNvPr>
          <p:cNvSpPr>
            <a:spLocks noGrp="1"/>
          </p:cNvSpPr>
          <p:nvPr>
            <p:ph type="title"/>
          </p:nvPr>
        </p:nvSpPr>
        <p:spPr>
          <a:xfrm>
            <a:off x="1628660" y="525558"/>
            <a:ext cx="5257800" cy="1325563"/>
          </a:xfrm>
        </p:spPr>
        <p:txBody>
          <a:bodyPr/>
          <a:lstStyle/>
          <a:p>
            <a:r>
              <a:rPr lang="en-US" dirty="0">
                <a:ea typeface="Tahoma"/>
                <a:cs typeface="Tahoma"/>
              </a:rPr>
              <a:t>WELCOME!</a:t>
            </a:r>
            <a:endParaRPr lang="en-US" dirty="0"/>
          </a:p>
        </p:txBody>
      </p:sp>
      <p:sp>
        <p:nvSpPr>
          <p:cNvPr id="7" name="Oval 6">
            <a:extLst>
              <a:ext uri="{FF2B5EF4-FFF2-40B4-BE49-F238E27FC236}">
                <a16:creationId xmlns:a16="http://schemas.microsoft.com/office/drawing/2014/main" id="{A3448172-9254-C44A-9ABE-16878FBEFCD8}"/>
              </a:ext>
            </a:extLst>
          </p:cNvPr>
          <p:cNvSpPr/>
          <p:nvPr/>
        </p:nvSpPr>
        <p:spPr>
          <a:xfrm>
            <a:off x="1628660" y="2150688"/>
            <a:ext cx="2525222" cy="2525222"/>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811E00F-BD4B-3A40-8D10-0DE2F176AA8D}"/>
              </a:ext>
            </a:extLst>
          </p:cNvPr>
          <p:cNvSpPr/>
          <p:nvPr/>
        </p:nvSpPr>
        <p:spPr>
          <a:xfrm>
            <a:off x="1843897" y="2392588"/>
            <a:ext cx="2082877" cy="2082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B73EAE04-C2B3-4743-A20B-507279C4135C}"/>
              </a:ext>
            </a:extLst>
          </p:cNvPr>
          <p:cNvSpPr txBox="1"/>
          <p:nvPr/>
        </p:nvSpPr>
        <p:spPr>
          <a:xfrm>
            <a:off x="2257550" y="3214643"/>
            <a:ext cx="1255569" cy="430887"/>
          </a:xfrm>
          <a:prstGeom prst="rect">
            <a:avLst/>
          </a:prstGeom>
          <a:noFill/>
        </p:spPr>
        <p:txBody>
          <a:bodyPr wrap="square" rtlCol="0" anchor="ctr">
            <a:spAutoFit/>
          </a:bodyPr>
          <a:lstStyle/>
          <a:p>
            <a:pPr algn="ctr"/>
            <a:r>
              <a:rPr lang="en-US" sz="2200" b="1" dirty="0">
                <a:solidFill>
                  <a:schemeClr val="bg1"/>
                </a:solidFill>
              </a:rPr>
              <a:t>Self Care</a:t>
            </a:r>
            <a:endParaRPr lang="en-US" dirty="0">
              <a:solidFill>
                <a:schemeClr val="bg1"/>
              </a:solidFill>
            </a:endParaRPr>
          </a:p>
        </p:txBody>
      </p:sp>
      <p:sp>
        <p:nvSpPr>
          <p:cNvPr id="17" name="TextBox 16">
            <a:extLst>
              <a:ext uri="{FF2B5EF4-FFF2-40B4-BE49-F238E27FC236}">
                <a16:creationId xmlns:a16="http://schemas.microsoft.com/office/drawing/2014/main" id="{8738FD6A-A9B0-2144-8D27-B7CA67B47A1C}"/>
              </a:ext>
            </a:extLst>
          </p:cNvPr>
          <p:cNvSpPr txBox="1"/>
          <p:nvPr/>
        </p:nvSpPr>
        <p:spPr>
          <a:xfrm>
            <a:off x="5315602" y="3045366"/>
            <a:ext cx="1696226" cy="769441"/>
          </a:xfrm>
          <a:prstGeom prst="rect">
            <a:avLst/>
          </a:prstGeom>
          <a:noFill/>
        </p:spPr>
        <p:txBody>
          <a:bodyPr wrap="square" rtlCol="0" anchor="ctr">
            <a:spAutoFit/>
          </a:bodyPr>
          <a:lstStyle/>
          <a:p>
            <a:pPr algn="ctr"/>
            <a:r>
              <a:rPr lang="en-US" sz="2200" b="1" dirty="0">
                <a:solidFill>
                  <a:schemeClr val="bg1"/>
                </a:solidFill>
              </a:rPr>
              <a:t>Webinar Admin</a:t>
            </a:r>
          </a:p>
        </p:txBody>
      </p:sp>
      <p:sp>
        <p:nvSpPr>
          <p:cNvPr id="18" name="TextBox 17">
            <a:extLst>
              <a:ext uri="{FF2B5EF4-FFF2-40B4-BE49-F238E27FC236}">
                <a16:creationId xmlns:a16="http://schemas.microsoft.com/office/drawing/2014/main" id="{28805FAD-291F-3745-8AA4-6C31474E2C2A}"/>
              </a:ext>
            </a:extLst>
          </p:cNvPr>
          <p:cNvSpPr txBox="1"/>
          <p:nvPr/>
        </p:nvSpPr>
        <p:spPr>
          <a:xfrm>
            <a:off x="8172451" y="3044279"/>
            <a:ext cx="2314574" cy="769441"/>
          </a:xfrm>
          <a:prstGeom prst="rect">
            <a:avLst/>
          </a:prstGeom>
          <a:noFill/>
        </p:spPr>
        <p:txBody>
          <a:bodyPr wrap="square" rtlCol="0" anchor="ctr">
            <a:spAutoFit/>
          </a:bodyPr>
          <a:lstStyle/>
          <a:p>
            <a:pPr algn="ctr"/>
            <a:r>
              <a:rPr lang="en-US" sz="2200" b="1" dirty="0">
                <a:solidFill>
                  <a:schemeClr val="bg1"/>
                </a:solidFill>
              </a:rPr>
              <a:t>Your </a:t>
            </a:r>
          </a:p>
          <a:p>
            <a:pPr algn="ctr"/>
            <a:r>
              <a:rPr lang="en-US" sz="2200" b="1" dirty="0">
                <a:solidFill>
                  <a:schemeClr val="bg1"/>
                </a:solidFill>
              </a:rPr>
              <a:t>Participation</a:t>
            </a:r>
            <a:endParaRPr lang="en-US" dirty="0"/>
          </a:p>
        </p:txBody>
      </p:sp>
      <p:sp>
        <p:nvSpPr>
          <p:cNvPr id="27" name="Title 1">
            <a:extLst>
              <a:ext uri="{FF2B5EF4-FFF2-40B4-BE49-F238E27FC236}">
                <a16:creationId xmlns:a16="http://schemas.microsoft.com/office/drawing/2014/main" id="{495BBFD3-C90F-DE45-9A56-443063A458EC}"/>
              </a:ext>
            </a:extLst>
          </p:cNvPr>
          <p:cNvSpPr txBox="1">
            <a:spLocks/>
          </p:cNvSpPr>
          <p:nvPr/>
        </p:nvSpPr>
        <p:spPr>
          <a:xfrm>
            <a:off x="6142112" y="365125"/>
            <a:ext cx="5257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b="1" i="0" kern="1200">
                <a:solidFill>
                  <a:schemeClr val="tx1"/>
                </a:solidFill>
                <a:latin typeface="+mj-lt"/>
                <a:ea typeface="Tahoma" panose="020B0604030504040204" pitchFamily="34" charset="0"/>
                <a:cs typeface="Tahoma" panose="020B0604030504040204" pitchFamily="34" charset="0"/>
              </a:defRPr>
            </a:lvl1pPr>
          </a:lstStyle>
          <a:p>
            <a:pPr algn="r"/>
            <a:r>
              <a:rPr lang="en-US" sz="3000" dirty="0">
                <a:ea typeface="Tahoma"/>
                <a:cs typeface="Tahoma"/>
              </a:rPr>
              <a:t>Louise </a:t>
            </a:r>
            <a:r>
              <a:rPr lang="en-US" sz="3000" dirty="0" err="1">
                <a:ea typeface="Tahoma"/>
                <a:cs typeface="Tahoma"/>
              </a:rPr>
              <a:t>Weine</a:t>
            </a:r>
          </a:p>
          <a:p>
            <a:pPr algn="r"/>
            <a:r>
              <a:rPr lang="en-US" sz="3000" dirty="0">
                <a:ea typeface="Tahoma"/>
                <a:cs typeface="Tahoma"/>
              </a:rPr>
              <a:t>National Director - NAWO</a:t>
            </a:r>
            <a:endParaRPr lang="en-US" sz="3000" dirty="0"/>
          </a:p>
        </p:txBody>
      </p:sp>
      <p:pic>
        <p:nvPicPr>
          <p:cNvPr id="15" name="Picture 14">
            <a:extLst>
              <a:ext uri="{FF2B5EF4-FFF2-40B4-BE49-F238E27FC236}">
                <a16:creationId xmlns:a16="http://schemas.microsoft.com/office/drawing/2014/main" id="{BD301ECE-4F07-414A-B475-E83CCFC4D4B7}"/>
              </a:ext>
            </a:extLst>
          </p:cNvPr>
          <p:cNvPicPr>
            <a:picLocks noChangeAspect="1"/>
          </p:cNvPicPr>
          <p:nvPr/>
        </p:nvPicPr>
        <p:blipFill>
          <a:blip r:embed="rId3"/>
          <a:stretch>
            <a:fillRect/>
          </a:stretch>
        </p:blipFill>
        <p:spPr>
          <a:xfrm>
            <a:off x="390897" y="352568"/>
            <a:ext cx="1237763" cy="1440306"/>
          </a:xfrm>
          <a:prstGeom prst="rect">
            <a:avLst/>
          </a:prstGeom>
        </p:spPr>
      </p:pic>
      <p:sp>
        <p:nvSpPr>
          <p:cNvPr id="3" name="TextBox 2">
            <a:extLst>
              <a:ext uri="{FF2B5EF4-FFF2-40B4-BE49-F238E27FC236}">
                <a16:creationId xmlns:a16="http://schemas.microsoft.com/office/drawing/2014/main" id="{38630B54-F8FD-484C-8A6B-21C56403C1F4}"/>
              </a:ext>
            </a:extLst>
          </p:cNvPr>
          <p:cNvSpPr txBox="1"/>
          <p:nvPr/>
        </p:nvSpPr>
        <p:spPr>
          <a:xfrm>
            <a:off x="4340427" y="1863678"/>
            <a:ext cx="7370309" cy="3293209"/>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r>
              <a:rPr lang="en-AU" sz="2000" dirty="0">
                <a:solidFill>
                  <a:schemeClr val="bg1"/>
                </a:solidFill>
                <a:latin typeface="Arial" panose="020B0604020202020204" pitchFamily="34" charset="0"/>
                <a:ea typeface="Tahoma" panose="020B0604030504040204" pitchFamily="34" charset="0"/>
                <a:cs typeface="Arial" panose="020B0604020202020204" pitchFamily="34" charset="0"/>
              </a:rPr>
              <a:t>If at any stage during the webinar you are triggered, please feel free to leave the webinar.</a:t>
            </a: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r>
              <a:rPr lang="en-AU" sz="2000" dirty="0">
                <a:solidFill>
                  <a:schemeClr val="bg1"/>
                </a:solidFill>
                <a:latin typeface="Arial" panose="020B0604020202020204" pitchFamily="34" charset="0"/>
                <a:ea typeface="Tahoma" panose="020B0604030504040204" pitchFamily="34" charset="0"/>
                <a:cs typeface="Arial" panose="020B0604020202020204" pitchFamily="34" charset="0"/>
              </a:rPr>
              <a:t>If you are triggered during or after the webinar, please ensure that you seek support.</a:t>
            </a: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lvl="0" defTabSz="457200">
              <a:spcAft>
                <a:spcPts val="600"/>
              </a:spcAft>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endParaRPr lang="en-US" dirty="0">
              <a:solidFill>
                <a:schemeClr val="bg1"/>
              </a:solidFill>
            </a:endParaRPr>
          </a:p>
        </p:txBody>
      </p:sp>
      <p:sp>
        <p:nvSpPr>
          <p:cNvPr id="5" name="TextBox 4">
            <a:extLst>
              <a:ext uri="{FF2B5EF4-FFF2-40B4-BE49-F238E27FC236}">
                <a16:creationId xmlns:a16="http://schemas.microsoft.com/office/drawing/2014/main" id="{640B50FD-C4B7-DE45-B88B-705B07C49888}"/>
              </a:ext>
            </a:extLst>
          </p:cNvPr>
          <p:cNvSpPr txBox="1"/>
          <p:nvPr/>
        </p:nvSpPr>
        <p:spPr>
          <a:xfrm>
            <a:off x="753979" y="5448733"/>
            <a:ext cx="3172795" cy="369332"/>
          </a:xfrm>
          <a:prstGeom prst="rect">
            <a:avLst/>
          </a:prstGeom>
          <a:noFill/>
        </p:spPr>
        <p:txBody>
          <a:bodyPr wrap="square" rtlCol="0">
            <a:spAutoFit/>
          </a:bodyPr>
          <a:lstStyle/>
          <a:p>
            <a:r>
              <a:rPr lang="en-AU" dirty="0">
                <a:solidFill>
                  <a:schemeClr val="bg1"/>
                </a:solidFill>
              </a:rPr>
              <a:t>Call </a:t>
            </a:r>
            <a:r>
              <a:rPr lang="en-AU" b="1" dirty="0">
                <a:solidFill>
                  <a:schemeClr val="bg1"/>
                </a:solidFill>
                <a:hlinkClick r:id="rId4" tooltip="Call 1800RESPECT 1800 737 732">
                  <a:extLst>
                    <a:ext uri="{A12FA001-AC4F-418D-AE19-62706E023703}">
                      <ahyp:hlinkClr xmlns:ahyp="http://schemas.microsoft.com/office/drawing/2018/hyperlinkcolor" val="tx"/>
                    </a:ext>
                  </a:extLst>
                </a:hlinkClick>
              </a:rPr>
              <a:t>1800 737 732</a:t>
            </a:r>
            <a:endParaRPr lang="en-US" dirty="0">
              <a:solidFill>
                <a:schemeClr val="bg1"/>
              </a:solidFill>
            </a:endParaRPr>
          </a:p>
        </p:txBody>
      </p:sp>
      <p:sp>
        <p:nvSpPr>
          <p:cNvPr id="9" name="TextBox 8">
            <a:extLst>
              <a:ext uri="{FF2B5EF4-FFF2-40B4-BE49-F238E27FC236}">
                <a16:creationId xmlns:a16="http://schemas.microsoft.com/office/drawing/2014/main" id="{51484846-5E87-414D-B6F1-0979AAA909C2}"/>
              </a:ext>
            </a:extLst>
          </p:cNvPr>
          <p:cNvSpPr txBox="1"/>
          <p:nvPr/>
        </p:nvSpPr>
        <p:spPr>
          <a:xfrm>
            <a:off x="753979" y="5066687"/>
            <a:ext cx="2404070" cy="461665"/>
          </a:xfrm>
          <a:prstGeom prst="rect">
            <a:avLst/>
          </a:prstGeom>
          <a:noFill/>
        </p:spPr>
        <p:txBody>
          <a:bodyPr wrap="square" rtlCol="0">
            <a:spAutoFit/>
          </a:bodyPr>
          <a:lstStyle/>
          <a:p>
            <a:r>
              <a:rPr lang="en-US" sz="2400" b="1" dirty="0">
                <a:solidFill>
                  <a:schemeClr val="bg1"/>
                </a:solidFill>
              </a:rPr>
              <a:t>1800</a:t>
            </a:r>
            <a:r>
              <a:rPr lang="en-US" sz="2400" b="1" dirty="0"/>
              <a:t>RESPECT</a:t>
            </a:r>
          </a:p>
        </p:txBody>
      </p:sp>
      <p:sp>
        <p:nvSpPr>
          <p:cNvPr id="20" name="TextBox 19">
            <a:extLst>
              <a:ext uri="{FF2B5EF4-FFF2-40B4-BE49-F238E27FC236}">
                <a16:creationId xmlns:a16="http://schemas.microsoft.com/office/drawing/2014/main" id="{75CB16CF-544A-4248-BA33-34946D7C4E45}"/>
              </a:ext>
            </a:extLst>
          </p:cNvPr>
          <p:cNvSpPr txBox="1"/>
          <p:nvPr/>
        </p:nvSpPr>
        <p:spPr>
          <a:xfrm>
            <a:off x="683099" y="1745009"/>
            <a:ext cx="7370309" cy="301621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r>
              <a:rPr lang="en-AU" sz="2000" dirty="0">
                <a:solidFill>
                  <a:schemeClr val="bg1"/>
                </a:solidFill>
                <a:latin typeface="Arial" panose="020B0604020202020204" pitchFamily="34" charset="0"/>
                <a:ea typeface="Tahoma" panose="020B0604030504040204" pitchFamily="34" charset="0"/>
                <a:cs typeface="Arial" panose="020B0604020202020204" pitchFamily="34" charset="0"/>
              </a:rPr>
              <a:t>Be aware and sensitive to others.</a:t>
            </a: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r>
              <a:rPr lang="en-AU" sz="2000" dirty="0">
                <a:solidFill>
                  <a:schemeClr val="bg1"/>
                </a:solidFill>
                <a:latin typeface="Arial" panose="020B0604020202020204" pitchFamily="34" charset="0"/>
                <a:ea typeface="Tahoma" panose="020B0604030504040204" pitchFamily="34" charset="0"/>
                <a:cs typeface="Arial" panose="020B0604020202020204" pitchFamily="34" charset="0"/>
              </a:rPr>
              <a:t>Be mindful of being non-judgemental in our comments and feedback.</a:t>
            </a: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marL="285750" lvl="0" indent="-285750" defTabSz="457200">
              <a:spcAft>
                <a:spcPts val="600"/>
              </a:spcAft>
              <a:buFont typeface="Arial" panose="020B0604020202020204" pitchFamily="34" charset="0"/>
              <a:buChar char="•"/>
              <a:defRPr/>
            </a:pPr>
            <a:endParaRPr lang="en-AU" sz="2000"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61064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xit" presetSubtype="0" fill="hold" grpId="1" nodeType="clickEffect">
                                  <p:stCondLst>
                                    <p:cond delay="0"/>
                                  </p:stCondLst>
                                  <p:childTnLst>
                                    <p:animEffect transition="out" filter="dissolve">
                                      <p:cBhvr>
                                        <p:cTn id="10" dur="500"/>
                                        <p:tgtEl>
                                          <p:spTgt spid="3"/>
                                        </p:tgtEl>
                                      </p:cBhvr>
                                    </p:animEffect>
                                    <p:set>
                                      <p:cBhvr>
                                        <p:cTn id="11" dur="1" fill="hold">
                                          <p:stCondLst>
                                            <p:cond delay="499"/>
                                          </p:stCondLst>
                                        </p:cTn>
                                        <p:tgtEl>
                                          <p:spTgt spid="3"/>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9" presetClass="exit" presetSubtype="0" fill="hold" grpId="1" nodeType="clickEffect">
                                  <p:stCondLst>
                                    <p:cond delay="0"/>
                                  </p:stCondLst>
                                  <p:childTnLst>
                                    <p:animEffect transition="out" filter="dissolve">
                                      <p:cBhvr>
                                        <p:cTn id="19" dur="500"/>
                                        <p:tgtEl>
                                          <p:spTgt spid="20"/>
                                        </p:tgtEl>
                                      </p:cBhvr>
                                    </p:animEffect>
                                    <p:set>
                                      <p:cBhvr>
                                        <p:cTn id="20"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0" grpId="0" animBg="1"/>
      <p:bldP spid="20"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hat is Domestic and Family  Violence</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Content Placeholder 5">
            <a:extLst>
              <a:ext uri="{FF2B5EF4-FFF2-40B4-BE49-F238E27FC236}">
                <a16:creationId xmlns:a16="http://schemas.microsoft.com/office/drawing/2014/main" id="{39C16C8A-16DC-4B4A-AAC3-1E67109243EC}"/>
              </a:ext>
            </a:extLst>
          </p:cNvPr>
          <p:cNvSpPr txBox="1">
            <a:spLocks/>
          </p:cNvSpPr>
          <p:nvPr/>
        </p:nvSpPr>
        <p:spPr>
          <a:xfrm>
            <a:off x="263236" y="1080693"/>
            <a:ext cx="11571606" cy="4933395"/>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600"/>
              </a:spcAft>
              <a:buClr>
                <a:srgbClr val="662D91"/>
              </a:buClr>
              <a:buSzTx/>
              <a:buFont typeface="Wingdings 2" charset="2"/>
              <a:buNone/>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Behaviour by one person towards a current or former partner/family member that i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hysical or sexually abusiv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Verbally or emotionally abusiv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sychologically abusiv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Economically abusiv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Threatening, coercive or controlling </a:t>
            </a:r>
          </a:p>
        </p:txBody>
      </p:sp>
      <p:sp>
        <p:nvSpPr>
          <p:cNvPr id="31" name="Content Placeholder 3">
            <a:extLst>
              <a:ext uri="{FF2B5EF4-FFF2-40B4-BE49-F238E27FC236}">
                <a16:creationId xmlns:a16="http://schemas.microsoft.com/office/drawing/2014/main" id="{0FCD3332-38C6-471D-9574-CFA4845E7733}"/>
              </a:ext>
            </a:extLst>
          </p:cNvPr>
          <p:cNvSpPr txBox="1">
            <a:spLocks/>
          </p:cNvSpPr>
          <p:nvPr/>
        </p:nvSpPr>
        <p:spPr>
          <a:xfrm>
            <a:off x="2013577" y="5113410"/>
            <a:ext cx="8352928" cy="720081"/>
          </a:xfrm>
          <a:prstGeom prst="rect">
            <a:avLst/>
          </a:prstGeom>
          <a:solidFill>
            <a:srgbClr val="336BA2"/>
          </a:solidFill>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342900" algn="ctr" defTabSz="914400" rtl="0" eaLnBrk="1" fontAlgn="auto" latinLnBrk="0" hangingPunct="1">
              <a:lnSpc>
                <a:spcPct val="100000"/>
              </a:lnSpc>
              <a:spcBef>
                <a:spcPts val="0"/>
              </a:spcBef>
              <a:spcAft>
                <a:spcPts val="0"/>
              </a:spcAft>
              <a:buClrTx/>
              <a:buSzTx/>
              <a:buFont typeface="Arial" pitchFamily="34" charset="0"/>
              <a:buNone/>
              <a:tabLst/>
              <a:defRPr/>
            </a:pPr>
            <a:r>
              <a:rPr kumimoji="0" lang="en-US" sz="2000" b="0" i="0" u="none"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In any way </a:t>
            </a:r>
            <a:r>
              <a:rPr kumimoji="0" lang="en-US" sz="2000" b="0" i="0" u="sng"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controls or dominates</a:t>
            </a:r>
            <a:r>
              <a:rPr kumimoji="0" lang="en-US" sz="2000" b="0" i="0" u="none"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 that person to feel </a:t>
            </a:r>
            <a:r>
              <a:rPr kumimoji="0" lang="en-US" sz="2000" b="1" i="0" u="sng"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fear </a:t>
            </a:r>
            <a:r>
              <a:rPr kumimoji="0" lang="en-US" sz="2000" b="0" i="0" u="sng"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for their safety and wellbeing </a:t>
            </a:r>
            <a:r>
              <a:rPr kumimoji="0" lang="en-US" sz="2000" b="0" i="0" u="none" strike="noStrike" kern="1200" cap="none" spc="0" normalizeH="0" baseline="0" noProof="0">
                <a:ln>
                  <a:noFill/>
                </a:ln>
                <a:solidFill>
                  <a:sysClr val="window" lastClr="FFFFFF"/>
                </a:solidFill>
                <a:effectLst/>
                <a:uLnTx/>
                <a:uFillTx/>
                <a:latin typeface="Ebrima" panose="02000000000000000000" pitchFamily="2" charset="0"/>
                <a:ea typeface="Ebrima" panose="02000000000000000000" pitchFamily="2" charset="0"/>
                <a:cs typeface="Ebrima" panose="02000000000000000000" pitchFamily="2" charset="0"/>
              </a:rPr>
              <a:t> or that of someone else</a:t>
            </a:r>
            <a:endParaRPr kumimoji="0" lang="en-AU" sz="2400" b="0" i="0" u="none" strike="noStrike" kern="1200" cap="none" spc="0" normalizeH="0" baseline="0" noProof="0" dirty="0">
              <a:ln>
                <a:noFill/>
              </a:ln>
              <a:solidFill>
                <a:sysClr val="windowText" lastClr="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6212296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erson Experiencing Violence – what might be happening?</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Content Placeholder 5">
            <a:extLst>
              <a:ext uri="{FF2B5EF4-FFF2-40B4-BE49-F238E27FC236}">
                <a16:creationId xmlns:a16="http://schemas.microsoft.com/office/drawing/2014/main" id="{39C16C8A-16DC-4B4A-AAC3-1E67109243EC}"/>
              </a:ext>
            </a:extLst>
          </p:cNvPr>
          <p:cNvSpPr txBox="1">
            <a:spLocks/>
          </p:cNvSpPr>
          <p:nvPr/>
        </p:nvSpPr>
        <p:spPr>
          <a:xfrm>
            <a:off x="263236" y="1080693"/>
            <a:ext cx="11571606" cy="4933395"/>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600"/>
              </a:spcAft>
              <a:buClr>
                <a:srgbClr val="662D91"/>
              </a:buClr>
              <a:buSzTx/>
              <a:buFont typeface="Wingdings 2" charset="2"/>
              <a:buNone/>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erson experiencing abus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Loss of safe workplace</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Limited access to support network</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Increase in monitoring and surveillance by abuser</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Loss of freedom</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Increased isolation</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Financial stres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erpetrator unemployment (red flag)</a:t>
            </a:r>
          </a:p>
        </p:txBody>
      </p:sp>
    </p:spTree>
    <p:extLst>
      <p:ext uri="{BB962C8B-B14F-4D97-AF65-F5344CB8AC3E}">
        <p14:creationId xmlns:p14="http://schemas.microsoft.com/office/powerpoint/2010/main" val="40089434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erson Using Violence – what might be happening?</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Content Placeholder 5">
            <a:extLst>
              <a:ext uri="{FF2B5EF4-FFF2-40B4-BE49-F238E27FC236}">
                <a16:creationId xmlns:a16="http://schemas.microsoft.com/office/drawing/2014/main" id="{39C16C8A-16DC-4B4A-AAC3-1E67109243EC}"/>
              </a:ext>
            </a:extLst>
          </p:cNvPr>
          <p:cNvSpPr txBox="1">
            <a:spLocks/>
          </p:cNvSpPr>
          <p:nvPr/>
        </p:nvSpPr>
        <p:spPr>
          <a:xfrm>
            <a:off x="451318" y="1149291"/>
            <a:ext cx="11571606" cy="4933395"/>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600"/>
              </a:spcAft>
              <a:buClr>
                <a:srgbClr val="662D91"/>
              </a:buClr>
              <a:buSzTx/>
              <a:buFont typeface="Wingdings 2" charset="2"/>
              <a:buNone/>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Person using abusive behaviour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Feeling a lack of control</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Wanting to increase power and control over someone so they feel in control</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Fear of unemployment</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Lack of support networks calling out their behaviour (active bystander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No access to counselling or behavioural change programs</a:t>
            </a:r>
          </a:p>
          <a:p>
            <a:pPr marL="342891" marR="0" lvl="0" indent="-342891" algn="l" defTabSz="457189" rtl="0" eaLnBrk="1" fontAlgn="auto" latinLnBrk="0" hangingPunct="1">
              <a:lnSpc>
                <a:spcPct val="100000"/>
              </a:lnSpc>
              <a:spcBef>
                <a:spcPct val="20000"/>
              </a:spcBef>
              <a:spcAft>
                <a:spcPts val="600"/>
              </a:spcAft>
              <a:buClr>
                <a:srgbClr val="662D91"/>
              </a:buClr>
              <a:buSzTx/>
              <a:buFont typeface="Wingdings 2" charset="2"/>
              <a:buBlip>
                <a:blip r:embed="rId3"/>
              </a:buBlip>
              <a:tabLst/>
              <a:defRPr/>
            </a:pPr>
            <a:r>
              <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Behavioural change programs moved online and not in person</a:t>
            </a:r>
          </a:p>
        </p:txBody>
      </p:sp>
    </p:spTree>
    <p:extLst>
      <p:ext uri="{BB962C8B-B14F-4D97-AF65-F5344CB8AC3E}">
        <p14:creationId xmlns:p14="http://schemas.microsoft.com/office/powerpoint/2010/main" val="3794631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ign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95503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Content Placeholder 5">
            <a:extLst>
              <a:ext uri="{FF2B5EF4-FFF2-40B4-BE49-F238E27FC236}">
                <a16:creationId xmlns:a16="http://schemas.microsoft.com/office/drawing/2014/main" id="{39C16C8A-16DC-4B4A-AAC3-1E67109243EC}"/>
              </a:ext>
            </a:extLst>
          </p:cNvPr>
          <p:cNvSpPr txBox="1">
            <a:spLocks/>
          </p:cNvSpPr>
          <p:nvPr/>
        </p:nvSpPr>
        <p:spPr>
          <a:xfrm>
            <a:off x="357158" y="1293376"/>
            <a:ext cx="11571606" cy="4933395"/>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l" defTabSz="457189" rtl="0" eaLnBrk="1" fontAlgn="auto" latinLnBrk="0" hangingPunct="1">
              <a:lnSpc>
                <a:spcPct val="150000"/>
              </a:lnSpc>
              <a:spcBef>
                <a:spcPct val="20000"/>
              </a:spcBef>
              <a:spcAft>
                <a:spcPts val="600"/>
              </a:spcAft>
              <a:buClr>
                <a:srgbClr val="662D91"/>
              </a:buClr>
              <a:buSzTx/>
              <a:buFont typeface="Wingdings 2" charset="2"/>
              <a:buNone/>
              <a:tabLst/>
              <a:defRPr/>
            </a:pPr>
            <a:endParaRPr kumimoji="0" lang="en-AU" sz="24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9AEC55F4-8471-401B-B5CA-0D68EC3A538D}"/>
              </a:ext>
            </a:extLst>
          </p:cNvPr>
          <p:cNvSpPr/>
          <p:nvPr/>
        </p:nvSpPr>
        <p:spPr>
          <a:xfrm>
            <a:off x="263236" y="1905800"/>
            <a:ext cx="3745295" cy="4525963"/>
          </a:xfrm>
          <a:prstGeom prst="rect">
            <a:avLst/>
          </a:prstGeom>
          <a:solidFill>
            <a:srgbClr val="2E3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hat might you hear?</a:t>
            </a:r>
          </a:p>
        </p:txBody>
      </p:sp>
      <p:sp>
        <p:nvSpPr>
          <p:cNvPr id="39" name="Rectangle 38">
            <a:extLst>
              <a:ext uri="{FF2B5EF4-FFF2-40B4-BE49-F238E27FC236}">
                <a16:creationId xmlns:a16="http://schemas.microsoft.com/office/drawing/2014/main" id="{5BE47C3C-B688-4071-BC45-FA5AC9AB9232}"/>
              </a:ext>
            </a:extLst>
          </p:cNvPr>
          <p:cNvSpPr/>
          <p:nvPr/>
        </p:nvSpPr>
        <p:spPr>
          <a:xfrm>
            <a:off x="4217223" y="1908181"/>
            <a:ext cx="3745295" cy="4525963"/>
          </a:xfrm>
          <a:prstGeom prst="rect">
            <a:avLst/>
          </a:prstGeom>
          <a:solidFill>
            <a:srgbClr val="38B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hat might you see?</a:t>
            </a:r>
          </a:p>
        </p:txBody>
      </p:sp>
      <p:sp>
        <p:nvSpPr>
          <p:cNvPr id="40" name="Rectangle 39">
            <a:extLst>
              <a:ext uri="{FF2B5EF4-FFF2-40B4-BE49-F238E27FC236}">
                <a16:creationId xmlns:a16="http://schemas.microsoft.com/office/drawing/2014/main" id="{E8E08A1A-68A4-4D11-86A1-467943F54859}"/>
              </a:ext>
            </a:extLst>
          </p:cNvPr>
          <p:cNvSpPr/>
          <p:nvPr/>
        </p:nvSpPr>
        <p:spPr>
          <a:xfrm>
            <a:off x="8171210" y="1905800"/>
            <a:ext cx="3745295" cy="4525963"/>
          </a:xfrm>
          <a:prstGeom prst="rect">
            <a:avLst/>
          </a:prstGeom>
          <a:solidFill>
            <a:srgbClr val="66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hat behaviours?</a:t>
            </a:r>
          </a:p>
        </p:txBody>
      </p:sp>
      <p:sp>
        <p:nvSpPr>
          <p:cNvPr id="4" name="Oval 3">
            <a:extLst>
              <a:ext uri="{FF2B5EF4-FFF2-40B4-BE49-F238E27FC236}">
                <a16:creationId xmlns:a16="http://schemas.microsoft.com/office/drawing/2014/main" id="{A3B8C04C-752F-4486-B0C9-0480867FFB87}"/>
              </a:ext>
            </a:extLst>
          </p:cNvPr>
          <p:cNvSpPr/>
          <p:nvPr/>
        </p:nvSpPr>
        <p:spPr>
          <a:xfrm>
            <a:off x="1479687" y="1212488"/>
            <a:ext cx="1286578" cy="1328286"/>
          </a:xfrm>
          <a:prstGeom prst="ellipse">
            <a:avLst/>
          </a:prstGeom>
          <a:solidFill>
            <a:srgbClr val="FFFFFF"/>
          </a:solidFill>
          <a:ln w="38100">
            <a:solidFill>
              <a:srgbClr val="2E31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1" name="Oval 40">
            <a:extLst>
              <a:ext uri="{FF2B5EF4-FFF2-40B4-BE49-F238E27FC236}">
                <a16:creationId xmlns:a16="http://schemas.microsoft.com/office/drawing/2014/main" id="{33B5357F-43CA-4E39-9CF1-D4413F7897E4}"/>
              </a:ext>
            </a:extLst>
          </p:cNvPr>
          <p:cNvSpPr/>
          <p:nvPr/>
        </p:nvSpPr>
        <p:spPr>
          <a:xfrm>
            <a:off x="5452712" y="1241658"/>
            <a:ext cx="1286578" cy="1328286"/>
          </a:xfrm>
          <a:prstGeom prst="ellipse">
            <a:avLst/>
          </a:prstGeom>
          <a:solidFill>
            <a:srgbClr val="FFFFFF"/>
          </a:solidFill>
          <a:ln w="3810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2" name="Oval 41">
            <a:extLst>
              <a:ext uri="{FF2B5EF4-FFF2-40B4-BE49-F238E27FC236}">
                <a16:creationId xmlns:a16="http://schemas.microsoft.com/office/drawing/2014/main" id="{163A95A9-1625-44EC-8281-676D609CA6EA}"/>
              </a:ext>
            </a:extLst>
          </p:cNvPr>
          <p:cNvSpPr/>
          <p:nvPr/>
        </p:nvSpPr>
        <p:spPr>
          <a:xfrm>
            <a:off x="9412829" y="1263290"/>
            <a:ext cx="1286578" cy="1328286"/>
          </a:xfrm>
          <a:prstGeom prst="ellipse">
            <a:avLst/>
          </a:prstGeom>
          <a:solidFill>
            <a:srgbClr val="FFFFFF"/>
          </a:solidFill>
          <a:ln w="38100">
            <a:solidFill>
              <a:srgbClr val="662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6" name="Graphic 5" descr="Ear">
            <a:extLst>
              <a:ext uri="{FF2B5EF4-FFF2-40B4-BE49-F238E27FC236}">
                <a16:creationId xmlns:a16="http://schemas.microsoft.com/office/drawing/2014/main" id="{72336FA2-C834-408D-AD67-250B98B890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5776" y="1448600"/>
            <a:ext cx="914400" cy="914400"/>
          </a:xfrm>
          <a:prstGeom prst="rect">
            <a:avLst/>
          </a:prstGeom>
        </p:spPr>
      </p:pic>
      <p:pic>
        <p:nvPicPr>
          <p:cNvPr id="8" name="Graphic 7" descr="Eyes">
            <a:extLst>
              <a:ext uri="{FF2B5EF4-FFF2-40B4-BE49-F238E27FC236}">
                <a16:creationId xmlns:a16="http://schemas.microsoft.com/office/drawing/2014/main" id="{D8D2ECF6-7635-4ED7-9CA2-9ACFE04D94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32670" y="1389164"/>
            <a:ext cx="914400" cy="914400"/>
          </a:xfrm>
          <a:prstGeom prst="rect">
            <a:avLst/>
          </a:prstGeom>
        </p:spPr>
      </p:pic>
      <p:pic>
        <p:nvPicPr>
          <p:cNvPr id="10" name="Graphic 9" descr="Head with gears">
            <a:extLst>
              <a:ext uri="{FF2B5EF4-FFF2-40B4-BE49-F238E27FC236}">
                <a16:creationId xmlns:a16="http://schemas.microsoft.com/office/drawing/2014/main" id="{5C399929-5AB2-49A8-8C08-6EF155311E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61664" y="1470233"/>
            <a:ext cx="914400" cy="914400"/>
          </a:xfrm>
          <a:prstGeom prst="rect">
            <a:avLst/>
          </a:prstGeom>
        </p:spPr>
      </p:pic>
      <p:sp>
        <p:nvSpPr>
          <p:cNvPr id="11" name="TextBox 10">
            <a:extLst>
              <a:ext uri="{FF2B5EF4-FFF2-40B4-BE49-F238E27FC236}">
                <a16:creationId xmlns:a16="http://schemas.microsoft.com/office/drawing/2014/main" id="{B2604BD4-9CF9-48DB-9220-7BA7E2A04D68}"/>
              </a:ext>
            </a:extLst>
          </p:cNvPr>
          <p:cNvSpPr txBox="1"/>
          <p:nvPr/>
        </p:nvSpPr>
        <p:spPr>
          <a:xfrm>
            <a:off x="8345102" y="3320716"/>
            <a:ext cx="3395579" cy="175432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hange in behaviour – routine, patterns et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hange in workplace productiv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Heightened reactions – jumpy, nervous etc</a:t>
            </a:r>
          </a:p>
        </p:txBody>
      </p:sp>
      <p:sp>
        <p:nvSpPr>
          <p:cNvPr id="43" name="TextBox 42">
            <a:extLst>
              <a:ext uri="{FF2B5EF4-FFF2-40B4-BE49-F238E27FC236}">
                <a16:creationId xmlns:a16="http://schemas.microsoft.com/office/drawing/2014/main" id="{F1920D16-B2B9-4BA5-B68E-877DEF932C3D}"/>
              </a:ext>
            </a:extLst>
          </p:cNvPr>
          <p:cNvSpPr txBox="1"/>
          <p:nvPr/>
        </p:nvSpPr>
        <p:spPr>
          <a:xfrm>
            <a:off x="4392080" y="3320716"/>
            <a:ext cx="3395579" cy="286232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hysical signs – injuries, change in appearance or cloth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omeone who is nervous or jump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ithdrawn, isolated, increasingly controlled by partn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hange in workplace productivity</a:t>
            </a:r>
          </a:p>
        </p:txBody>
      </p:sp>
      <p:sp>
        <p:nvSpPr>
          <p:cNvPr id="44" name="TextBox 43">
            <a:extLst>
              <a:ext uri="{FF2B5EF4-FFF2-40B4-BE49-F238E27FC236}">
                <a16:creationId xmlns:a16="http://schemas.microsoft.com/office/drawing/2014/main" id="{A2AF425A-8C44-4E47-ADA9-16DFA1642B60}"/>
              </a:ext>
            </a:extLst>
          </p:cNvPr>
          <p:cNvSpPr txBox="1"/>
          <p:nvPr/>
        </p:nvSpPr>
        <p:spPr>
          <a:xfrm>
            <a:off x="522125" y="3320716"/>
            <a:ext cx="3395579" cy="258532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Phone calls – loud, abusive, aggressiv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Overhear arguments from neighbours et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Not answering phone calls, Zoom meetings et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ext messages or conversations around ‘my partner won’t let me….’</a:t>
            </a:r>
          </a:p>
        </p:txBody>
      </p:sp>
    </p:spTree>
    <p:extLst>
      <p:ext uri="{BB962C8B-B14F-4D97-AF65-F5344CB8AC3E}">
        <p14:creationId xmlns:p14="http://schemas.microsoft.com/office/powerpoint/2010/main" val="2002388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43" grpId="0"/>
      <p:bldP spid="4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High Risk Indicators / Red Flag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41" name="Picture 2" descr="Image result for red flags DVRCV">
            <a:extLst>
              <a:ext uri="{FF2B5EF4-FFF2-40B4-BE49-F238E27FC236}">
                <a16:creationId xmlns:a16="http://schemas.microsoft.com/office/drawing/2014/main" id="{31D074EC-7EE2-4BE6-9198-1D485DFE9FCC}"/>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t="14156" b="14410"/>
          <a:stretch/>
        </p:blipFill>
        <p:spPr bwMode="auto">
          <a:xfrm>
            <a:off x="3143312" y="1203732"/>
            <a:ext cx="6048672" cy="48435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mage result for red flags DVRCV">
            <a:extLst>
              <a:ext uri="{FF2B5EF4-FFF2-40B4-BE49-F238E27FC236}">
                <a16:creationId xmlns:a16="http://schemas.microsoft.com/office/drawing/2014/main" id="{2F7474C6-DE47-42E8-81F7-8A9D1D61D96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728" t="87288" b="-84"/>
          <a:stretch/>
        </p:blipFill>
        <p:spPr bwMode="auto">
          <a:xfrm>
            <a:off x="10179343" y="5890608"/>
            <a:ext cx="2000465" cy="66196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8970A3F0-0DE5-49BA-8F2C-046458F1DCB7}"/>
              </a:ext>
            </a:extLst>
          </p:cNvPr>
          <p:cNvSpPr/>
          <p:nvPr/>
        </p:nvSpPr>
        <p:spPr>
          <a:xfrm>
            <a:off x="6167648" y="1400709"/>
            <a:ext cx="1224136" cy="1066444"/>
          </a:xfrm>
          <a:prstGeom prst="rect">
            <a:avLst/>
          </a:prstGeom>
          <a:noFill/>
          <a:ln w="5715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4" name="Rectangle 43">
            <a:extLst>
              <a:ext uri="{FF2B5EF4-FFF2-40B4-BE49-F238E27FC236}">
                <a16:creationId xmlns:a16="http://schemas.microsoft.com/office/drawing/2014/main" id="{8517AE8C-6A41-4A10-BEAC-15C2F0572B83}"/>
              </a:ext>
            </a:extLst>
          </p:cNvPr>
          <p:cNvSpPr/>
          <p:nvPr/>
        </p:nvSpPr>
        <p:spPr>
          <a:xfrm>
            <a:off x="3446560" y="1400709"/>
            <a:ext cx="1296144" cy="1066444"/>
          </a:xfrm>
          <a:prstGeom prst="rect">
            <a:avLst/>
          </a:prstGeom>
          <a:noFill/>
          <a:ln w="5715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5" name="Rectangle 44">
            <a:extLst>
              <a:ext uri="{FF2B5EF4-FFF2-40B4-BE49-F238E27FC236}">
                <a16:creationId xmlns:a16="http://schemas.microsoft.com/office/drawing/2014/main" id="{9864DB34-CE31-4E6B-9000-0757C4376D01}"/>
              </a:ext>
            </a:extLst>
          </p:cNvPr>
          <p:cNvSpPr/>
          <p:nvPr/>
        </p:nvSpPr>
        <p:spPr>
          <a:xfrm>
            <a:off x="4843108" y="1395690"/>
            <a:ext cx="1224136" cy="1066444"/>
          </a:xfrm>
          <a:prstGeom prst="rect">
            <a:avLst/>
          </a:prstGeom>
          <a:noFill/>
          <a:ln w="5715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6" name="Rectangle 45">
            <a:extLst>
              <a:ext uri="{FF2B5EF4-FFF2-40B4-BE49-F238E27FC236}">
                <a16:creationId xmlns:a16="http://schemas.microsoft.com/office/drawing/2014/main" id="{807CE6B0-92BA-4AD2-B7A0-DAAE84D80B4A}"/>
              </a:ext>
            </a:extLst>
          </p:cNvPr>
          <p:cNvSpPr/>
          <p:nvPr/>
        </p:nvSpPr>
        <p:spPr>
          <a:xfrm>
            <a:off x="7502592" y="1397668"/>
            <a:ext cx="1224136" cy="1066444"/>
          </a:xfrm>
          <a:prstGeom prst="rect">
            <a:avLst/>
          </a:prstGeom>
          <a:noFill/>
          <a:ln w="5715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7" name="Rectangle 46">
            <a:extLst>
              <a:ext uri="{FF2B5EF4-FFF2-40B4-BE49-F238E27FC236}">
                <a16:creationId xmlns:a16="http://schemas.microsoft.com/office/drawing/2014/main" id="{7B02D43F-D1D7-4FF5-977F-9EE4F9183B82}"/>
              </a:ext>
            </a:extLst>
          </p:cNvPr>
          <p:cNvSpPr/>
          <p:nvPr/>
        </p:nvSpPr>
        <p:spPr>
          <a:xfrm>
            <a:off x="7502592" y="2548136"/>
            <a:ext cx="1224136" cy="1066444"/>
          </a:xfrm>
          <a:prstGeom prst="rect">
            <a:avLst/>
          </a:prstGeom>
          <a:noFill/>
          <a:ln w="57150">
            <a:solidFill>
              <a:srgbClr val="38B4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30" name="Rectangle 29">
            <a:extLst>
              <a:ext uri="{FF2B5EF4-FFF2-40B4-BE49-F238E27FC236}">
                <a16:creationId xmlns:a16="http://schemas.microsoft.com/office/drawing/2014/main" id="{FF8C30D4-67A2-4E5C-B095-82FD91245253}"/>
              </a:ext>
            </a:extLst>
          </p:cNvPr>
          <p:cNvSpPr/>
          <p:nvPr/>
        </p:nvSpPr>
        <p:spPr>
          <a:xfrm>
            <a:off x="4843108" y="4824164"/>
            <a:ext cx="1224136" cy="1066444"/>
          </a:xfrm>
          <a:prstGeom prst="rect">
            <a:avLst/>
          </a:prstGeom>
          <a:noFill/>
          <a:ln w="57150">
            <a:solidFill>
              <a:srgbClr val="1A75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3322314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6DB28-78DD-46C9-BC34-7CFE9D753BE6}"/>
              </a:ext>
            </a:extLst>
          </p:cNvPr>
          <p:cNvSpPr>
            <a:spLocks noGrp="1"/>
          </p:cNvSpPr>
          <p:nvPr>
            <p:ph type="ctrTitle"/>
          </p:nvPr>
        </p:nvSpPr>
        <p:spPr>
          <a:xfrm>
            <a:off x="810000" y="894804"/>
            <a:ext cx="10572000" cy="2971051"/>
          </a:xfrm>
        </p:spPr>
        <p:txBody>
          <a:bodyPr anchor="ctr" anchorCtr="1"/>
          <a:lstStyle/>
          <a:p>
            <a:r>
              <a:rPr lang="en-AU" sz="6000" dirty="0">
                <a:latin typeface="Tahoma" panose="020B0604030504040204" pitchFamily="34" charset="0"/>
                <a:ea typeface="Tahoma" panose="020B0604030504040204" pitchFamily="34" charset="0"/>
                <a:cs typeface="Tahoma" panose="020B0604030504040204" pitchFamily="34" charset="0"/>
              </a:rPr>
              <a:t>RESPOND</a:t>
            </a:r>
          </a:p>
        </p:txBody>
      </p:sp>
      <p:pic>
        <p:nvPicPr>
          <p:cNvPr id="6" name="Picture 5">
            <a:extLst>
              <a:ext uri="{FF2B5EF4-FFF2-40B4-BE49-F238E27FC236}">
                <a16:creationId xmlns:a16="http://schemas.microsoft.com/office/drawing/2014/main" id="{7F0A9933-DCBA-4090-89AF-967A1DEE86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3255" y="4978688"/>
            <a:ext cx="1652022" cy="1652022"/>
          </a:xfrm>
          <a:prstGeom prst="rect">
            <a:avLst/>
          </a:prstGeom>
        </p:spPr>
      </p:pic>
    </p:spTree>
    <p:extLst>
      <p:ext uri="{BB962C8B-B14F-4D97-AF65-F5344CB8AC3E}">
        <p14:creationId xmlns:p14="http://schemas.microsoft.com/office/powerpoint/2010/main" val="30762460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etting the Scene</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0" y="1557204"/>
            <a:ext cx="12191998" cy="2523272"/>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ctr" defTabSz="457189" rtl="0" eaLnBrk="1" fontAlgn="auto" latinLnBrk="0" hangingPunct="1">
              <a:lnSpc>
                <a:spcPct val="100000"/>
              </a:lnSpc>
              <a:spcBef>
                <a:spcPct val="20000"/>
              </a:spcBef>
              <a:spcAft>
                <a:spcPts val="600"/>
              </a:spcAft>
              <a:buClr>
                <a:srgbClr val="662D91"/>
              </a:buClr>
              <a:buSzTx/>
              <a:buFont typeface="Wingdings 2" charset="2"/>
              <a:buNone/>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31" name="Picture 30">
            <a:extLst>
              <a:ext uri="{FF2B5EF4-FFF2-40B4-BE49-F238E27FC236}">
                <a16:creationId xmlns:a16="http://schemas.microsoft.com/office/drawing/2014/main" id="{251E912A-BF61-4830-A1BB-9DDB0FC266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034" y="1513293"/>
            <a:ext cx="3948200" cy="1011362"/>
          </a:xfrm>
          <a:prstGeom prst="rect">
            <a:avLst/>
          </a:prstGeom>
        </p:spPr>
      </p:pic>
      <p:pic>
        <p:nvPicPr>
          <p:cNvPr id="34" name="Picture 33">
            <a:extLst>
              <a:ext uri="{FF2B5EF4-FFF2-40B4-BE49-F238E27FC236}">
                <a16:creationId xmlns:a16="http://schemas.microsoft.com/office/drawing/2014/main" id="{01BA33EA-9E49-4997-B490-BA1A395F0B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40108" y="3037879"/>
            <a:ext cx="3376615" cy="1208911"/>
          </a:xfrm>
          <a:prstGeom prst="rect">
            <a:avLst/>
          </a:prstGeom>
        </p:spPr>
      </p:pic>
      <p:pic>
        <p:nvPicPr>
          <p:cNvPr id="35" name="Picture 34">
            <a:extLst>
              <a:ext uri="{FF2B5EF4-FFF2-40B4-BE49-F238E27FC236}">
                <a16:creationId xmlns:a16="http://schemas.microsoft.com/office/drawing/2014/main" id="{6CADEDC9-0641-4BB5-90C0-CE039DC064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47495" y="1343665"/>
            <a:ext cx="2728926" cy="1208226"/>
          </a:xfrm>
          <a:prstGeom prst="rect">
            <a:avLst/>
          </a:prstGeom>
        </p:spPr>
      </p:pic>
      <p:pic>
        <p:nvPicPr>
          <p:cNvPr id="36" name="Picture 35">
            <a:extLst>
              <a:ext uri="{FF2B5EF4-FFF2-40B4-BE49-F238E27FC236}">
                <a16:creationId xmlns:a16="http://schemas.microsoft.com/office/drawing/2014/main" id="{2C2D85A0-56E5-403E-9D1D-8F96BD718D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70247" y="2897576"/>
            <a:ext cx="2952328" cy="1411176"/>
          </a:xfrm>
          <a:prstGeom prst="rect">
            <a:avLst/>
          </a:prstGeom>
        </p:spPr>
      </p:pic>
      <p:pic>
        <p:nvPicPr>
          <p:cNvPr id="37" name="Picture 36">
            <a:extLst>
              <a:ext uri="{FF2B5EF4-FFF2-40B4-BE49-F238E27FC236}">
                <a16:creationId xmlns:a16="http://schemas.microsoft.com/office/drawing/2014/main" id="{D87B5F0A-5F29-4C60-9041-CE918927946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87505" y="4689775"/>
            <a:ext cx="2689469" cy="1372749"/>
          </a:xfrm>
          <a:prstGeom prst="rect">
            <a:avLst/>
          </a:prstGeom>
        </p:spPr>
      </p:pic>
      <p:pic>
        <p:nvPicPr>
          <p:cNvPr id="38" name="Picture 37">
            <a:extLst>
              <a:ext uri="{FF2B5EF4-FFF2-40B4-BE49-F238E27FC236}">
                <a16:creationId xmlns:a16="http://schemas.microsoft.com/office/drawing/2014/main" id="{6A15A95B-6D4E-4036-9491-53887C79894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30794" y="4542600"/>
            <a:ext cx="2390614" cy="1521299"/>
          </a:xfrm>
          <a:prstGeom prst="rect">
            <a:avLst/>
          </a:prstGeom>
        </p:spPr>
      </p:pic>
    </p:spTree>
    <p:extLst>
      <p:ext uri="{BB962C8B-B14F-4D97-AF65-F5344CB8AC3E}">
        <p14:creationId xmlns:p14="http://schemas.microsoft.com/office/powerpoint/2010/main" val="2258308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51" name="Content Placeholder 5">
            <a:extLst>
              <a:ext uri="{FF2B5EF4-FFF2-40B4-BE49-F238E27FC236}">
                <a16:creationId xmlns:a16="http://schemas.microsoft.com/office/drawing/2014/main" id="{CFB6D470-9AE8-4081-90D3-95980D4E4078}"/>
              </a:ext>
            </a:extLst>
          </p:cNvPr>
          <p:cNvSpPr txBox="1">
            <a:spLocks/>
          </p:cNvSpPr>
          <p:nvPr/>
        </p:nvSpPr>
        <p:spPr>
          <a:xfrm>
            <a:off x="457198" y="1321967"/>
            <a:ext cx="11283484" cy="4998823"/>
          </a:xfrm>
          <a:prstGeom prst="rect">
            <a:avLst/>
          </a:prstGeom>
        </p:spPr>
        <p:txBody>
          <a:bodyPr>
            <a:no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20000"/>
              </a:spcBef>
              <a:spcAft>
                <a:spcPts val="600"/>
              </a:spcAft>
              <a:buClr>
                <a:srgbClr val="662D91"/>
              </a:buClr>
              <a:buSzTx/>
              <a:buFont typeface="Wingdings 2" charset="2"/>
              <a:buNone/>
              <a:tabLst/>
              <a:defRPr/>
            </a:pPr>
            <a:endParaRPr kumimoji="0" lang="en-AU" sz="2800" b="0" i="1"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6C6BC4A7-A95D-48DA-8FF2-758D9013386A}"/>
              </a:ext>
            </a:extLst>
          </p:cNvPr>
          <p:cNvSpPr/>
          <p:nvPr/>
        </p:nvSpPr>
        <p:spPr>
          <a:xfrm>
            <a:off x="632700" y="1586990"/>
            <a:ext cx="10926596" cy="486287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4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Find a safe way to communicate</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Keep lines of communication open</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Schedule regular catch ups</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If you can communicate safely talk about a safety plan and set up a code word</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Be mindful that the person using maybe listening so don’t openly talk about your concerns</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If you are concerned call 1800RESPECT for advice if you think the situation is unsafe.</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r>
              <a:rPr kumimoji="0" lang="en-AU" sz="20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 In an emergency call 000</a:t>
            </a:r>
          </a:p>
          <a:p>
            <a:pPr marL="0" marR="0" lvl="0" indent="0" algn="l" defTabSz="457200" rtl="0" eaLnBrk="1" fontAlgn="auto" latinLnBrk="0" hangingPunct="1">
              <a:lnSpc>
                <a:spcPct val="100000"/>
              </a:lnSpc>
              <a:spcBef>
                <a:spcPts val="0"/>
              </a:spcBef>
              <a:spcAft>
                <a:spcPts val="0"/>
              </a:spcAft>
              <a:buClrTx/>
              <a:buSzTx/>
              <a:buFontTx/>
              <a:buBlip>
                <a:blip r:embed="rId3"/>
              </a:buBlip>
              <a:tabLst/>
              <a:defRPr/>
            </a:pPr>
            <a:endParaRPr kumimoji="0" lang="en-AU" sz="2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70C0"/>
              </a:solidFill>
              <a:effectLst/>
              <a:uLnTx/>
              <a:uFillTx/>
              <a:latin typeface="Century Gothic" panose="020B0502020202020204"/>
              <a:ea typeface="+mn-ea"/>
              <a:cs typeface="+mn-cs"/>
            </a:endParaRPr>
          </a:p>
        </p:txBody>
      </p:sp>
      <p:sp>
        <p:nvSpPr>
          <p:cNvPr id="3" name="Rectangle 2">
            <a:extLst>
              <a:ext uri="{FF2B5EF4-FFF2-40B4-BE49-F238E27FC236}">
                <a16:creationId xmlns:a16="http://schemas.microsoft.com/office/drawing/2014/main" id="{876B26F5-1D3F-466F-8D44-FD21522AC41A}"/>
              </a:ext>
            </a:extLst>
          </p:cNvPr>
          <p:cNvSpPr/>
          <p:nvPr/>
        </p:nvSpPr>
        <p:spPr>
          <a:xfrm>
            <a:off x="273479" y="-1"/>
            <a:ext cx="7817225"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Responding Considerations</a:t>
            </a:r>
          </a:p>
        </p:txBody>
      </p:sp>
      <p:pic>
        <p:nvPicPr>
          <p:cNvPr id="30" name="Graphic 29" descr="Clipboard">
            <a:extLst>
              <a:ext uri="{FF2B5EF4-FFF2-40B4-BE49-F238E27FC236}">
                <a16:creationId xmlns:a16="http://schemas.microsoft.com/office/drawing/2014/main" id="{16B2EBE6-5165-4EB4-ADA6-06D538F5D2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52522" y="1443227"/>
            <a:ext cx="1906774" cy="1906774"/>
          </a:xfrm>
          <a:prstGeom prst="rect">
            <a:avLst/>
          </a:prstGeom>
        </p:spPr>
      </p:pic>
      <p:sp>
        <p:nvSpPr>
          <p:cNvPr id="4" name="Rectangle 3">
            <a:extLst>
              <a:ext uri="{FF2B5EF4-FFF2-40B4-BE49-F238E27FC236}">
                <a16:creationId xmlns:a16="http://schemas.microsoft.com/office/drawing/2014/main" id="{42E037E3-4C4E-4634-99B9-781C2B5C5025}"/>
              </a:ext>
            </a:extLst>
          </p:cNvPr>
          <p:cNvSpPr/>
          <p:nvPr/>
        </p:nvSpPr>
        <p:spPr>
          <a:xfrm>
            <a:off x="10128962" y="2051221"/>
            <a:ext cx="365806"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t>
            </a:r>
            <a:endParaRPr kumimoji="0" lang="en-AU"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
        <p:nvSpPr>
          <p:cNvPr id="31" name="Rectangle 30">
            <a:extLst>
              <a:ext uri="{FF2B5EF4-FFF2-40B4-BE49-F238E27FC236}">
                <a16:creationId xmlns:a16="http://schemas.microsoft.com/office/drawing/2014/main" id="{4F7A7D1E-FAE0-4720-87AA-DC0BB5103D5E}"/>
              </a:ext>
            </a:extLst>
          </p:cNvPr>
          <p:cNvSpPr/>
          <p:nvPr/>
        </p:nvSpPr>
        <p:spPr>
          <a:xfrm>
            <a:off x="10128962" y="2357400"/>
            <a:ext cx="365806"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t>
            </a:r>
            <a:endParaRPr kumimoji="0" lang="en-AU"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
        <p:nvSpPr>
          <p:cNvPr id="34" name="Rectangle 33">
            <a:extLst>
              <a:ext uri="{FF2B5EF4-FFF2-40B4-BE49-F238E27FC236}">
                <a16:creationId xmlns:a16="http://schemas.microsoft.com/office/drawing/2014/main" id="{1C9ACB47-69BF-42A2-926E-BB02F5B251B9}"/>
              </a:ext>
            </a:extLst>
          </p:cNvPr>
          <p:cNvSpPr/>
          <p:nvPr/>
        </p:nvSpPr>
        <p:spPr>
          <a:xfrm>
            <a:off x="10128962" y="2646593"/>
            <a:ext cx="365806"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t>
            </a:r>
            <a:endParaRPr kumimoji="0" lang="en-AU"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4073015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3" name="Rectangle 2">
            <a:extLst>
              <a:ext uri="{FF2B5EF4-FFF2-40B4-BE49-F238E27FC236}">
                <a16:creationId xmlns:a16="http://schemas.microsoft.com/office/drawing/2014/main" id="{876B26F5-1D3F-466F-8D44-FD21522AC41A}"/>
              </a:ext>
            </a:extLst>
          </p:cNvPr>
          <p:cNvSpPr/>
          <p:nvPr/>
        </p:nvSpPr>
        <p:spPr>
          <a:xfrm>
            <a:off x="273479" y="-1"/>
            <a:ext cx="7817225"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Responding Suggestions</a:t>
            </a:r>
          </a:p>
        </p:txBody>
      </p:sp>
      <p:sp>
        <p:nvSpPr>
          <p:cNvPr id="4" name="Speech Bubble: Rectangle with Corners Rounded 3">
            <a:extLst>
              <a:ext uri="{FF2B5EF4-FFF2-40B4-BE49-F238E27FC236}">
                <a16:creationId xmlns:a16="http://schemas.microsoft.com/office/drawing/2014/main" id="{BDDBC78F-7FFA-42F9-959D-864D6FE35A04}"/>
              </a:ext>
            </a:extLst>
          </p:cNvPr>
          <p:cNvSpPr/>
          <p:nvPr/>
        </p:nvSpPr>
        <p:spPr>
          <a:xfrm>
            <a:off x="2819399" y="1227080"/>
            <a:ext cx="3047999" cy="903046"/>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Hey, I haven’t heard from you in a while, how are you?</a:t>
            </a:r>
          </a:p>
        </p:txBody>
      </p:sp>
      <p:sp>
        <p:nvSpPr>
          <p:cNvPr id="30" name="Speech Bubble: Rectangle with Corners Rounded 29">
            <a:extLst>
              <a:ext uri="{FF2B5EF4-FFF2-40B4-BE49-F238E27FC236}">
                <a16:creationId xmlns:a16="http://schemas.microsoft.com/office/drawing/2014/main" id="{98AE9516-19DB-4F77-B234-A636654C534E}"/>
              </a:ext>
            </a:extLst>
          </p:cNvPr>
          <p:cNvSpPr/>
          <p:nvPr/>
        </p:nvSpPr>
        <p:spPr>
          <a:xfrm>
            <a:off x="5905501" y="2080323"/>
            <a:ext cx="3390902" cy="903046"/>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45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I’m OK.  Things are tough at home at the moment and my partner and I keep arguing a lot.</a:t>
            </a:r>
          </a:p>
        </p:txBody>
      </p:sp>
      <p:sp>
        <p:nvSpPr>
          <p:cNvPr id="31" name="Speech Bubble: Rectangle with Corners Rounded 30">
            <a:extLst>
              <a:ext uri="{FF2B5EF4-FFF2-40B4-BE49-F238E27FC236}">
                <a16:creationId xmlns:a16="http://schemas.microsoft.com/office/drawing/2014/main" id="{07FA7102-B46B-4374-899E-0FBF7A8256FD}"/>
              </a:ext>
            </a:extLst>
          </p:cNvPr>
          <p:cNvSpPr/>
          <p:nvPr/>
        </p:nvSpPr>
        <p:spPr>
          <a:xfrm>
            <a:off x="2723058" y="3006725"/>
            <a:ext cx="3047999" cy="903046"/>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at sounds really tough.  What happens when you argue?</a:t>
            </a:r>
          </a:p>
        </p:txBody>
      </p:sp>
      <p:sp>
        <p:nvSpPr>
          <p:cNvPr id="34" name="Speech Bubble: Rectangle with Corners Rounded 33">
            <a:extLst>
              <a:ext uri="{FF2B5EF4-FFF2-40B4-BE49-F238E27FC236}">
                <a16:creationId xmlns:a16="http://schemas.microsoft.com/office/drawing/2014/main" id="{8BB55A50-5A96-4E3C-AE29-CD4DD48A0090}"/>
              </a:ext>
            </a:extLst>
          </p:cNvPr>
          <p:cNvSpPr/>
          <p:nvPr/>
        </p:nvSpPr>
        <p:spPr>
          <a:xfrm>
            <a:off x="5884712" y="3874632"/>
            <a:ext cx="3390902" cy="903046"/>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ainly yelling.  I try to move the kids away as I don’t want them to hear…..</a:t>
            </a:r>
          </a:p>
        </p:txBody>
      </p:sp>
      <p:sp>
        <p:nvSpPr>
          <p:cNvPr id="36" name="Speech Bubble: Rectangle with Corners Rounded 35">
            <a:extLst>
              <a:ext uri="{FF2B5EF4-FFF2-40B4-BE49-F238E27FC236}">
                <a16:creationId xmlns:a16="http://schemas.microsoft.com/office/drawing/2014/main" id="{A2D3E95F-A8CB-4D7C-AF2C-0AD80AAD3E57}"/>
              </a:ext>
            </a:extLst>
          </p:cNvPr>
          <p:cNvSpPr/>
          <p:nvPr/>
        </p:nvSpPr>
        <p:spPr>
          <a:xfrm>
            <a:off x="5924548" y="5250013"/>
            <a:ext cx="3390902" cy="903045"/>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It starts off with us bickering and ends up with me being yelled at and trying to hide from it.</a:t>
            </a:r>
          </a:p>
        </p:txBody>
      </p:sp>
      <p:sp>
        <p:nvSpPr>
          <p:cNvPr id="2" name="Rectangle 1">
            <a:extLst>
              <a:ext uri="{FF2B5EF4-FFF2-40B4-BE49-F238E27FC236}">
                <a16:creationId xmlns:a16="http://schemas.microsoft.com/office/drawing/2014/main" id="{86EEAEC7-4DBA-4077-AF93-ECD9D3C2AD60}"/>
              </a:ext>
            </a:extLst>
          </p:cNvPr>
          <p:cNvSpPr/>
          <p:nvPr/>
        </p:nvSpPr>
        <p:spPr>
          <a:xfrm>
            <a:off x="393498" y="1227080"/>
            <a:ext cx="176843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Recognise</a:t>
            </a:r>
            <a:endParaRPr kumimoji="0" lang="en-AU" sz="2400" b="1" i="0" u="none" strike="noStrike" kern="1200" cap="none" spc="0" normalizeH="0" baseline="0" noProof="0" dirty="0">
              <a:ln>
                <a:noFill/>
              </a:ln>
              <a:solidFill>
                <a:srgbClr val="2E3192"/>
              </a:solidFill>
              <a:effectLst/>
              <a:uLnTx/>
              <a:uFillTx/>
              <a:latin typeface="Century Gothic" panose="020B0502020202020204"/>
              <a:ea typeface="+mn-ea"/>
              <a:cs typeface="+mn-cs"/>
            </a:endParaRPr>
          </a:p>
        </p:txBody>
      </p:sp>
      <p:sp>
        <p:nvSpPr>
          <p:cNvPr id="37" name="Speech Bubble: Rectangle with Corners Rounded 36">
            <a:extLst>
              <a:ext uri="{FF2B5EF4-FFF2-40B4-BE49-F238E27FC236}">
                <a16:creationId xmlns:a16="http://schemas.microsoft.com/office/drawing/2014/main" id="{AE75F59F-27DD-4759-9388-B48C0754C557}"/>
              </a:ext>
            </a:extLst>
          </p:cNvPr>
          <p:cNvSpPr/>
          <p:nvPr/>
        </p:nvSpPr>
        <p:spPr>
          <a:xfrm>
            <a:off x="2723056" y="1313842"/>
            <a:ext cx="2960371" cy="861841"/>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at sounds scary for you and the kids.  Have you spoken to anyone about this?</a:t>
            </a:r>
          </a:p>
        </p:txBody>
      </p:sp>
      <p:sp>
        <p:nvSpPr>
          <p:cNvPr id="44" name="Speech Bubble: Rectangle with Corners Rounded 43">
            <a:extLst>
              <a:ext uri="{FF2B5EF4-FFF2-40B4-BE49-F238E27FC236}">
                <a16:creationId xmlns:a16="http://schemas.microsoft.com/office/drawing/2014/main" id="{237D126A-BAEF-4CF0-A8C6-B1833F161875}"/>
              </a:ext>
            </a:extLst>
          </p:cNvPr>
          <p:cNvSpPr/>
          <p:nvPr/>
        </p:nvSpPr>
        <p:spPr>
          <a:xfrm>
            <a:off x="5924548" y="2106665"/>
            <a:ext cx="3257546" cy="853243"/>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No.  It’s happened before but things are getting scarier now.</a:t>
            </a:r>
          </a:p>
        </p:txBody>
      </p:sp>
      <p:sp>
        <p:nvSpPr>
          <p:cNvPr id="45" name="Speech Bubble: Rectangle with Corners Rounded 44">
            <a:extLst>
              <a:ext uri="{FF2B5EF4-FFF2-40B4-BE49-F238E27FC236}">
                <a16:creationId xmlns:a16="http://schemas.microsoft.com/office/drawing/2014/main" id="{1D6B6700-5780-4E83-83FC-7FB4E8673BA9}"/>
              </a:ext>
            </a:extLst>
          </p:cNvPr>
          <p:cNvSpPr/>
          <p:nvPr/>
        </p:nvSpPr>
        <p:spPr>
          <a:xfrm>
            <a:off x="2766871" y="3006725"/>
            <a:ext cx="2960371" cy="903046"/>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I believe you.  </a:t>
            </a:r>
          </a:p>
        </p:txBody>
      </p:sp>
      <p:sp>
        <p:nvSpPr>
          <p:cNvPr id="46" name="Speech Bubble: Rectangle with Corners Rounded 45">
            <a:extLst>
              <a:ext uri="{FF2B5EF4-FFF2-40B4-BE49-F238E27FC236}">
                <a16:creationId xmlns:a16="http://schemas.microsoft.com/office/drawing/2014/main" id="{2FE32EE0-2D36-487D-88AA-E1EF0BE83E6B}"/>
              </a:ext>
            </a:extLst>
          </p:cNvPr>
          <p:cNvSpPr/>
          <p:nvPr/>
        </p:nvSpPr>
        <p:spPr>
          <a:xfrm>
            <a:off x="2723056" y="4627542"/>
            <a:ext cx="3047999" cy="903044"/>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You deserve to be safe.</a:t>
            </a:r>
          </a:p>
        </p:txBody>
      </p:sp>
      <p:sp>
        <p:nvSpPr>
          <p:cNvPr id="47" name="Rectangle 46">
            <a:extLst>
              <a:ext uri="{FF2B5EF4-FFF2-40B4-BE49-F238E27FC236}">
                <a16:creationId xmlns:a16="http://schemas.microsoft.com/office/drawing/2014/main" id="{76AB3FF7-CBBC-4018-B1FA-BE03DF6C699A}"/>
              </a:ext>
            </a:extLst>
          </p:cNvPr>
          <p:cNvSpPr/>
          <p:nvPr/>
        </p:nvSpPr>
        <p:spPr>
          <a:xfrm>
            <a:off x="387720" y="1248744"/>
            <a:ext cx="230453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Respond</a:t>
            </a:r>
            <a:endParaRPr kumimoji="0" lang="en-AU" sz="2400" b="1" i="0" u="none" strike="noStrike" kern="1200" cap="none" spc="0" normalizeH="0" baseline="0" noProof="0" dirty="0">
              <a:ln>
                <a:noFill/>
              </a:ln>
              <a:solidFill>
                <a:srgbClr val="2E3192"/>
              </a:solidFill>
              <a:effectLst/>
              <a:uLnTx/>
              <a:uFillTx/>
              <a:latin typeface="Century Gothic" panose="020B0502020202020204"/>
              <a:ea typeface="+mn-ea"/>
              <a:cs typeface="+mn-cs"/>
            </a:endParaRPr>
          </a:p>
        </p:txBody>
      </p:sp>
      <p:sp>
        <p:nvSpPr>
          <p:cNvPr id="48" name="Rectangle 47">
            <a:extLst>
              <a:ext uri="{FF2B5EF4-FFF2-40B4-BE49-F238E27FC236}">
                <a16:creationId xmlns:a16="http://schemas.microsoft.com/office/drawing/2014/main" id="{B70110E1-B376-4BEE-A576-5B9B6760FC45}"/>
              </a:ext>
            </a:extLst>
          </p:cNvPr>
          <p:cNvSpPr/>
          <p:nvPr/>
        </p:nvSpPr>
        <p:spPr>
          <a:xfrm>
            <a:off x="396993" y="1252766"/>
            <a:ext cx="102303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rPr>
              <a:t>Refer</a:t>
            </a:r>
            <a:endParaRPr kumimoji="0" lang="en-AU" sz="2400" b="1" i="0" u="none" strike="noStrike" kern="1200" cap="none" spc="0" normalizeH="0" baseline="0" noProof="0" dirty="0">
              <a:ln>
                <a:noFill/>
              </a:ln>
              <a:solidFill>
                <a:srgbClr val="2E3192"/>
              </a:solidFill>
              <a:effectLst/>
              <a:uLnTx/>
              <a:uFillTx/>
              <a:latin typeface="Century Gothic" panose="020B0502020202020204"/>
              <a:ea typeface="+mn-ea"/>
              <a:cs typeface="+mn-cs"/>
            </a:endParaRPr>
          </a:p>
        </p:txBody>
      </p:sp>
      <p:sp>
        <p:nvSpPr>
          <p:cNvPr id="49" name="Speech Bubble: Rectangle with Corners Rounded 48">
            <a:extLst>
              <a:ext uri="{FF2B5EF4-FFF2-40B4-BE49-F238E27FC236}">
                <a16:creationId xmlns:a16="http://schemas.microsoft.com/office/drawing/2014/main" id="{E4BCA68A-CEEB-4FEE-9BE4-67F50A8FE724}"/>
              </a:ext>
            </a:extLst>
          </p:cNvPr>
          <p:cNvSpPr/>
          <p:nvPr/>
        </p:nvSpPr>
        <p:spPr>
          <a:xfrm>
            <a:off x="5943595" y="2277458"/>
            <a:ext cx="3257546" cy="937166"/>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aybe.  Might be good to know who to call when I’m ready.</a:t>
            </a:r>
          </a:p>
        </p:txBody>
      </p:sp>
      <p:sp>
        <p:nvSpPr>
          <p:cNvPr id="50" name="Speech Bubble: Rectangle with Corners Rounded 49">
            <a:extLst>
              <a:ext uri="{FF2B5EF4-FFF2-40B4-BE49-F238E27FC236}">
                <a16:creationId xmlns:a16="http://schemas.microsoft.com/office/drawing/2014/main" id="{4D8C7846-6777-4447-B376-061B6DA1BD12}"/>
              </a:ext>
            </a:extLst>
          </p:cNvPr>
          <p:cNvSpPr/>
          <p:nvPr/>
        </p:nvSpPr>
        <p:spPr>
          <a:xfrm>
            <a:off x="2692256" y="1259855"/>
            <a:ext cx="3149888" cy="937167"/>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There are supports and people you can talk to.  Would you like their details?</a:t>
            </a:r>
          </a:p>
        </p:txBody>
      </p:sp>
      <p:sp>
        <p:nvSpPr>
          <p:cNvPr id="52" name="Speech Bubble: Rectangle with Corners Rounded 51">
            <a:extLst>
              <a:ext uri="{FF2B5EF4-FFF2-40B4-BE49-F238E27FC236}">
                <a16:creationId xmlns:a16="http://schemas.microsoft.com/office/drawing/2014/main" id="{21A79D3D-FA51-498B-8119-CC858E7E3547}"/>
              </a:ext>
            </a:extLst>
          </p:cNvPr>
          <p:cNvSpPr/>
          <p:nvPr/>
        </p:nvSpPr>
        <p:spPr>
          <a:xfrm>
            <a:off x="2692256" y="3202301"/>
            <a:ext cx="3175142" cy="903046"/>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Best number is 1800 RESPECT.  They have a website too.</a:t>
            </a:r>
          </a:p>
        </p:txBody>
      </p:sp>
      <p:sp>
        <p:nvSpPr>
          <p:cNvPr id="53" name="Speech Bubble: Rectangle with Corners Rounded 52">
            <a:extLst>
              <a:ext uri="{FF2B5EF4-FFF2-40B4-BE49-F238E27FC236}">
                <a16:creationId xmlns:a16="http://schemas.microsoft.com/office/drawing/2014/main" id="{1A554C87-F035-45D9-BD04-3D18DAEABB5A}"/>
              </a:ext>
            </a:extLst>
          </p:cNvPr>
          <p:cNvSpPr/>
          <p:nvPr/>
        </p:nvSpPr>
        <p:spPr>
          <a:xfrm>
            <a:off x="2723056" y="4421426"/>
            <a:ext cx="3047999" cy="903046"/>
          </a:xfrm>
          <a:prstGeom prst="wedgeRoundRectCallout">
            <a:avLst>
              <a:gd name="adj1" fmla="val -45114"/>
              <a:gd name="adj2" fmla="val 8418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srgbClr val="002060"/>
                </a:solidFill>
                <a:effectLst/>
                <a:uLnTx/>
                <a:uFillTx/>
                <a:latin typeface="Tahoma" panose="020B0604030504040204" pitchFamily="34" charset="0"/>
                <a:ea typeface="Tahoma" panose="020B0604030504040204" pitchFamily="34" charset="0"/>
                <a:cs typeface="Tahoma" panose="020B0604030504040204" pitchFamily="34" charset="0"/>
              </a:rPr>
              <a:t>Is it safe for you to use your own phone to contact them?</a:t>
            </a:r>
          </a:p>
        </p:txBody>
      </p:sp>
      <p:sp>
        <p:nvSpPr>
          <p:cNvPr id="54" name="Speech Bubble: Rectangle with Corners Rounded 53">
            <a:extLst>
              <a:ext uri="{FF2B5EF4-FFF2-40B4-BE49-F238E27FC236}">
                <a16:creationId xmlns:a16="http://schemas.microsoft.com/office/drawing/2014/main" id="{0D20DFB8-9BE0-4861-A28B-60A3CAF5ECE2}"/>
              </a:ext>
            </a:extLst>
          </p:cNvPr>
          <p:cNvSpPr/>
          <p:nvPr/>
        </p:nvSpPr>
        <p:spPr>
          <a:xfrm>
            <a:off x="5943595" y="5250013"/>
            <a:ext cx="3257546" cy="937166"/>
          </a:xfrm>
          <a:prstGeom prst="wedgeRoundRectCallout">
            <a:avLst>
              <a:gd name="adj1" fmla="val 48177"/>
              <a:gd name="adj2" fmla="val 85392"/>
              <a:gd name="adj3" fmla="val 16667"/>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5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Yeah, that’s not a problem.  Thank you.  Chat soon.</a:t>
            </a:r>
          </a:p>
        </p:txBody>
      </p:sp>
    </p:spTree>
    <p:extLst>
      <p:ext uri="{BB962C8B-B14F-4D97-AF65-F5344CB8AC3E}">
        <p14:creationId xmlns:p14="http://schemas.microsoft.com/office/powerpoint/2010/main" val="80996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30"/>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31"/>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34"/>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36"/>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4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47"/>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37"/>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44"/>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45"/>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46"/>
                                        </p:tgtEl>
                                        <p:attrNameLst>
                                          <p:attrName>style.visibility</p:attrName>
                                        </p:attrNameLst>
                                      </p:cBhvr>
                                      <p:to>
                                        <p:strVal val="hidden"/>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4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5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49"/>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52"/>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53"/>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30" grpId="0" animBg="1"/>
      <p:bldP spid="30" grpId="1" animBg="1"/>
      <p:bldP spid="31" grpId="0" animBg="1"/>
      <p:bldP spid="31" grpId="1" animBg="1"/>
      <p:bldP spid="34" grpId="0" animBg="1"/>
      <p:bldP spid="34" grpId="1" animBg="1"/>
      <p:bldP spid="36" grpId="0" animBg="1"/>
      <p:bldP spid="36" grpId="1" animBg="1"/>
      <p:bldP spid="2" grpId="0"/>
      <p:bldP spid="37" grpId="0" animBg="1"/>
      <p:bldP spid="37" grpId="1" animBg="1"/>
      <p:bldP spid="44" grpId="0" animBg="1"/>
      <p:bldP spid="44" grpId="1" animBg="1"/>
      <p:bldP spid="45" grpId="0" animBg="1"/>
      <p:bldP spid="45" grpId="1" animBg="1"/>
      <p:bldP spid="46" grpId="0" animBg="1"/>
      <p:bldP spid="46" grpId="1" animBg="1"/>
      <p:bldP spid="47" grpId="0"/>
      <p:bldP spid="47" grpId="1"/>
      <p:bldP spid="48" grpId="0"/>
      <p:bldP spid="49" grpId="0" animBg="1"/>
      <p:bldP spid="50" grpId="0" animBg="1"/>
      <p:bldP spid="52" grpId="0" animBg="1"/>
      <p:bldP spid="53" grpId="0" animBg="1"/>
      <p:bldP spid="5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6DB28-78DD-46C9-BC34-7CFE9D753BE6}"/>
              </a:ext>
            </a:extLst>
          </p:cNvPr>
          <p:cNvSpPr>
            <a:spLocks noGrp="1"/>
          </p:cNvSpPr>
          <p:nvPr>
            <p:ph type="ctrTitle"/>
          </p:nvPr>
        </p:nvSpPr>
        <p:spPr>
          <a:xfrm>
            <a:off x="87923" y="725865"/>
            <a:ext cx="12016153" cy="2971051"/>
          </a:xfrm>
        </p:spPr>
        <p:txBody>
          <a:bodyPr anchor="ctr" anchorCtr="1"/>
          <a:lstStyle/>
          <a:p>
            <a:r>
              <a:rPr lang="en-AU" sz="6000" dirty="0">
                <a:latin typeface="Tahoma" panose="020B0604030504040204" pitchFamily="34" charset="0"/>
                <a:ea typeface="Tahoma" panose="020B0604030504040204" pitchFamily="34" charset="0"/>
                <a:cs typeface="Tahoma" panose="020B0604030504040204" pitchFamily="34" charset="0"/>
              </a:rPr>
              <a:t>REFER</a:t>
            </a:r>
          </a:p>
        </p:txBody>
      </p:sp>
      <p:pic>
        <p:nvPicPr>
          <p:cNvPr id="6" name="Picture 5">
            <a:extLst>
              <a:ext uri="{FF2B5EF4-FFF2-40B4-BE49-F238E27FC236}">
                <a16:creationId xmlns:a16="http://schemas.microsoft.com/office/drawing/2014/main" id="{7F0A9933-DCBA-4090-89AF-967A1DEE86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3255" y="4978688"/>
            <a:ext cx="1652022" cy="1652022"/>
          </a:xfrm>
          <a:prstGeom prst="rect">
            <a:avLst/>
          </a:prstGeom>
        </p:spPr>
      </p:pic>
    </p:spTree>
    <p:extLst>
      <p:ext uri="{BB962C8B-B14F-4D97-AF65-F5344CB8AC3E}">
        <p14:creationId xmlns:p14="http://schemas.microsoft.com/office/powerpoint/2010/main" val="2241048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15" name="Rectangle 11">
            <a:extLst>
              <a:ext uri="{FF2B5EF4-FFF2-40B4-BE49-F238E27FC236}">
                <a16:creationId xmlns:a16="http://schemas.microsoft.com/office/drawing/2014/main" id="{0E2F58BF-12E5-4B5A-AD25-4DAAA2742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316B1B-56B4-3345-94D5-9D0F88D14C46}"/>
              </a:ext>
            </a:extLst>
          </p:cNvPr>
          <p:cNvSpPr>
            <a:spLocks noGrp="1"/>
          </p:cNvSpPr>
          <p:nvPr>
            <p:ph type="ctrTitle"/>
          </p:nvPr>
        </p:nvSpPr>
        <p:spPr>
          <a:xfrm>
            <a:off x="477981" y="2602017"/>
            <a:ext cx="4023360" cy="1724480"/>
          </a:xfrm>
        </p:spPr>
        <p:txBody>
          <a:bodyPr anchor="b">
            <a:noAutofit/>
          </a:bodyPr>
          <a:lstStyle/>
          <a:p>
            <a:pPr algn="l"/>
            <a:br>
              <a:rPr lang="en-US" sz="2800" dirty="0">
                <a:solidFill>
                  <a:schemeClr val="bg1"/>
                </a:solidFill>
                <a:ea typeface="Tahoma"/>
                <a:cs typeface="Tahoma"/>
              </a:rPr>
            </a:br>
            <a:r>
              <a:rPr lang="en-AU" sz="2800" b="0" dirty="0">
                <a:solidFill>
                  <a:schemeClr val="bg1"/>
                </a:solidFill>
              </a:rPr>
              <a:t>Workplaces as the new frontline: Family and Domestic Violence with COVID-19</a:t>
            </a:r>
            <a:endParaRPr lang="en-US" sz="2800" dirty="0">
              <a:solidFill>
                <a:schemeClr val="bg1"/>
              </a:solidFill>
            </a:endParaRPr>
          </a:p>
        </p:txBody>
      </p:sp>
      <p:sp>
        <p:nvSpPr>
          <p:cNvPr id="3" name="Subtitle 2">
            <a:extLst>
              <a:ext uri="{FF2B5EF4-FFF2-40B4-BE49-F238E27FC236}">
                <a16:creationId xmlns:a16="http://schemas.microsoft.com/office/drawing/2014/main" id="{0BFCCD50-659A-2E40-A8FA-913A45474340}"/>
              </a:ext>
            </a:extLst>
          </p:cNvPr>
          <p:cNvSpPr>
            <a:spLocks noGrp="1"/>
          </p:cNvSpPr>
          <p:nvPr>
            <p:ph type="subTitle" idx="1"/>
          </p:nvPr>
        </p:nvSpPr>
        <p:spPr>
          <a:xfrm>
            <a:off x="477980" y="5507922"/>
            <a:ext cx="4023359" cy="1208141"/>
          </a:xfrm>
        </p:spPr>
        <p:txBody>
          <a:bodyPr>
            <a:normAutofit/>
          </a:bodyPr>
          <a:lstStyle/>
          <a:p>
            <a:pPr algn="l"/>
            <a:r>
              <a:rPr lang="en-US" sz="2000" dirty="0">
                <a:solidFill>
                  <a:schemeClr val="bg1"/>
                </a:solidFill>
                <a:latin typeface="+mn-lt"/>
              </a:rPr>
              <a:t>Positively driving action through change</a:t>
            </a:r>
          </a:p>
        </p:txBody>
      </p:sp>
      <p:sp>
        <p:nvSpPr>
          <p:cNvPr id="14" name="Rectangle 1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40233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7" name="Picture 6">
            <a:extLst>
              <a:ext uri="{FF2B5EF4-FFF2-40B4-BE49-F238E27FC236}">
                <a16:creationId xmlns:a16="http://schemas.microsoft.com/office/drawing/2014/main" id="{D1A684DE-6C91-6A42-A88A-DFF0ABF5510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68487" y="10"/>
            <a:ext cx="7323513" cy="6857990"/>
          </a:xfrm>
          <a:prstGeom prst="rect">
            <a:avLst/>
          </a:prstGeom>
        </p:spPr>
      </p:pic>
      <p:sp>
        <p:nvSpPr>
          <p:cNvPr id="6" name="Rectangle 5">
            <a:extLst>
              <a:ext uri="{FF2B5EF4-FFF2-40B4-BE49-F238E27FC236}">
                <a16:creationId xmlns:a16="http://schemas.microsoft.com/office/drawing/2014/main" id="{B7451250-24B1-EB42-8B4C-74624D4EBCE8}"/>
              </a:ext>
            </a:extLst>
          </p:cNvPr>
          <p:cNvSpPr/>
          <p:nvPr/>
        </p:nvSpPr>
        <p:spPr>
          <a:xfrm>
            <a:off x="92597" y="92597"/>
            <a:ext cx="4595150" cy="89125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114EAD04-7B09-9A40-82C4-D146717CF8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7980" y="538222"/>
            <a:ext cx="1071339" cy="1325563"/>
          </a:xfrm>
          <a:prstGeom prst="rect">
            <a:avLst/>
          </a:prstGeom>
        </p:spPr>
      </p:pic>
      <p:sp>
        <p:nvSpPr>
          <p:cNvPr id="4" name="TextBox 3">
            <a:extLst>
              <a:ext uri="{FF2B5EF4-FFF2-40B4-BE49-F238E27FC236}">
                <a16:creationId xmlns:a16="http://schemas.microsoft.com/office/drawing/2014/main" id="{A9CBE6B4-63C3-43E7-9206-38DCAA1BBCE7}"/>
              </a:ext>
            </a:extLst>
          </p:cNvPr>
          <p:cNvSpPr txBox="1"/>
          <p:nvPr/>
        </p:nvSpPr>
        <p:spPr>
          <a:xfrm>
            <a:off x="453188" y="4998453"/>
            <a:ext cx="332839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chemeClr val="bg1"/>
                </a:solidFill>
              </a:rPr>
              <a:t>Thursday 9th April 2020</a:t>
            </a:r>
          </a:p>
        </p:txBody>
      </p:sp>
    </p:spTree>
    <p:extLst>
      <p:ext uri="{BB962C8B-B14F-4D97-AF65-F5344CB8AC3E}">
        <p14:creationId xmlns:p14="http://schemas.microsoft.com/office/powerpoint/2010/main" val="5585063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solidFill>
              <a:srgbClr val="662D91"/>
            </a:solid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solidFill>
              <a:srgbClr val="2E3192"/>
            </a:solid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solidFill>
              <a:srgbClr val="1B75BC"/>
            </a:solid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solidFill>
              <a:srgbClr val="00A79D"/>
            </a:solid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Referral Pathway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pic>
        <p:nvPicPr>
          <p:cNvPr id="61" name="Picture 60">
            <a:extLst>
              <a:ext uri="{FF2B5EF4-FFF2-40B4-BE49-F238E27FC236}">
                <a16:creationId xmlns:a16="http://schemas.microsoft.com/office/drawing/2014/main" id="{FD6446D9-1CEB-4218-A8CD-C663894BCD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519" y="1542275"/>
            <a:ext cx="2989005" cy="3983529"/>
          </a:xfrm>
          <a:prstGeom prst="rect">
            <a:avLst/>
          </a:prstGeom>
        </p:spPr>
      </p:pic>
      <p:sp>
        <p:nvSpPr>
          <p:cNvPr id="2" name="Rectangle 1">
            <a:extLst>
              <a:ext uri="{FF2B5EF4-FFF2-40B4-BE49-F238E27FC236}">
                <a16:creationId xmlns:a16="http://schemas.microsoft.com/office/drawing/2014/main" id="{1E272254-3A32-4486-8C50-65448B49C8D3}"/>
              </a:ext>
            </a:extLst>
          </p:cNvPr>
          <p:cNvSpPr/>
          <p:nvPr/>
        </p:nvSpPr>
        <p:spPr>
          <a:xfrm>
            <a:off x="4361903" y="1092000"/>
            <a:ext cx="6096000" cy="526297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Internal</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Employee Assistance Program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Human Resources | People &amp; Cul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Extern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Police - 00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800Respe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Kids Helpline – 1800 55 180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Lifeline – 13111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Qlife – 1800 184 527</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nother Closet.com.au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p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2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Daisy, Penda, Sunny</a:t>
            </a:r>
          </a:p>
        </p:txBody>
      </p:sp>
      <p:pic>
        <p:nvPicPr>
          <p:cNvPr id="62" name="Picture 61" descr="bcdd0e02-9091-4072-8e8c-4073ddde3f64@ausprd01">
            <a:extLst>
              <a:ext uri="{FF2B5EF4-FFF2-40B4-BE49-F238E27FC236}">
                <a16:creationId xmlns:a16="http://schemas.microsoft.com/office/drawing/2014/main" id="{3200C71E-9E77-45C4-BD5C-92588718D1B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909"/>
          <a:stretch/>
        </p:blipFill>
        <p:spPr bwMode="auto">
          <a:xfrm>
            <a:off x="8511502" y="4963305"/>
            <a:ext cx="871210"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62" descr="c27c7e48-427a-46e1-bdc7-7e1d0eeb71aa@ausprd01">
            <a:extLst>
              <a:ext uri="{FF2B5EF4-FFF2-40B4-BE49-F238E27FC236}">
                <a16:creationId xmlns:a16="http://schemas.microsoft.com/office/drawing/2014/main" id="{8E8312F8-ED53-44C4-8CBD-D0077360B9B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923" b="-1"/>
          <a:stretch/>
        </p:blipFill>
        <p:spPr bwMode="auto">
          <a:xfrm>
            <a:off x="9830535" y="4967243"/>
            <a:ext cx="871210" cy="1504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63" descr="f6f9e60c-f995-4d9c-9189-f0620ff0a729@ausprd01">
            <a:extLst>
              <a:ext uri="{FF2B5EF4-FFF2-40B4-BE49-F238E27FC236}">
                <a16:creationId xmlns:a16="http://schemas.microsoft.com/office/drawing/2014/main" id="{73F8F6CA-9D2D-4F78-8EF5-BD78A8C9633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923" b="-1"/>
          <a:stretch/>
        </p:blipFill>
        <p:spPr bwMode="auto">
          <a:xfrm>
            <a:off x="11149568" y="4963305"/>
            <a:ext cx="871210" cy="1504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3884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2839A1C-34CB-4C3C-8531-CA67525FDE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 useBgFill="1">
        <p:nvSpPr>
          <p:cNvPr id="24" name="Freeform: Shape 23">
            <a:extLst>
              <a:ext uri="{FF2B5EF4-FFF2-40B4-BE49-F238E27FC236}">
                <a16:creationId xmlns:a16="http://schemas.microsoft.com/office/drawing/2014/main" id="{FAC94EAF-F7F7-4727-AE69-A7036B4A5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rot="16200000">
            <a:off x="-650724" y="650724"/>
            <a:ext cx="6858000" cy="5556552"/>
          </a:xfrm>
          <a:custGeom>
            <a:avLst/>
            <a:gdLst>
              <a:gd name="connsiteX0" fmla="*/ 6858000 w 6858000"/>
              <a:gd name="connsiteY0" fmla="*/ 3445704 h 5556552"/>
              <a:gd name="connsiteX1" fmla="*/ 3829242 w 6858000"/>
              <a:gd name="connsiteY1" fmla="*/ 5433322 h 5556552"/>
              <a:gd name="connsiteX2" fmla="*/ 3827369 w 6858000"/>
              <a:gd name="connsiteY2" fmla="*/ 5434867 h 5556552"/>
              <a:gd name="connsiteX3" fmla="*/ 3824583 w 6858000"/>
              <a:gd name="connsiteY3" fmla="*/ 5436378 h 5556552"/>
              <a:gd name="connsiteX4" fmla="*/ 3798693 w 6858000"/>
              <a:gd name="connsiteY4" fmla="*/ 5453370 h 5556552"/>
              <a:gd name="connsiteX5" fmla="*/ 3785011 w 6858000"/>
              <a:gd name="connsiteY5" fmla="*/ 5457858 h 5556552"/>
              <a:gd name="connsiteX6" fmla="*/ 3706339 w 6858000"/>
              <a:gd name="connsiteY6" fmla="*/ 5500559 h 5556552"/>
              <a:gd name="connsiteX7" fmla="*/ 3428998 w 6858000"/>
              <a:gd name="connsiteY7" fmla="*/ 5556552 h 5556552"/>
              <a:gd name="connsiteX8" fmla="*/ 3151658 w 6858000"/>
              <a:gd name="connsiteY8" fmla="*/ 5500559 h 5556552"/>
              <a:gd name="connsiteX9" fmla="*/ 3072996 w 6858000"/>
              <a:gd name="connsiteY9" fmla="*/ 5457863 h 5556552"/>
              <a:gd name="connsiteX10" fmla="*/ 3059298 w 6858000"/>
              <a:gd name="connsiteY10" fmla="*/ 5453370 h 5556552"/>
              <a:gd name="connsiteX11" fmla="*/ 3033383 w 6858000"/>
              <a:gd name="connsiteY11" fmla="*/ 5436362 h 5556552"/>
              <a:gd name="connsiteX12" fmla="*/ 3030627 w 6858000"/>
              <a:gd name="connsiteY12" fmla="*/ 5434867 h 5556552"/>
              <a:gd name="connsiteX13" fmla="*/ 3028775 w 6858000"/>
              <a:gd name="connsiteY13" fmla="*/ 5433338 h 5556552"/>
              <a:gd name="connsiteX14" fmla="*/ 0 w 6858000"/>
              <a:gd name="connsiteY14" fmla="*/ 3445704 h 5556552"/>
              <a:gd name="connsiteX15" fmla="*/ 6858000 w 6858000"/>
              <a:gd name="connsiteY15" fmla="*/ 0 h 5556552"/>
              <a:gd name="connsiteX16" fmla="*/ 6858000 w 6858000"/>
              <a:gd name="connsiteY16" fmla="*/ 349336 h 5556552"/>
              <a:gd name="connsiteX17" fmla="*/ 6858000 w 6858000"/>
              <a:gd name="connsiteY17" fmla="*/ 3445703 h 5556552"/>
              <a:gd name="connsiteX18" fmla="*/ 0 w 6858000"/>
              <a:gd name="connsiteY18" fmla="*/ 3445703 h 5556552"/>
              <a:gd name="connsiteX19" fmla="*/ 0 w 6858000"/>
              <a:gd name="connsiteY19" fmla="*/ 0 h 555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0" h="5556552">
                <a:moveTo>
                  <a:pt x="6858000" y="3445704"/>
                </a:moveTo>
                <a:lnTo>
                  <a:pt x="3829242" y="5433322"/>
                </a:lnTo>
                <a:lnTo>
                  <a:pt x="3827369" y="5434867"/>
                </a:lnTo>
                <a:lnTo>
                  <a:pt x="3824583" y="5436378"/>
                </a:lnTo>
                <a:lnTo>
                  <a:pt x="3798693" y="5453370"/>
                </a:lnTo>
                <a:lnTo>
                  <a:pt x="3785011" y="5457858"/>
                </a:lnTo>
                <a:lnTo>
                  <a:pt x="3706339" y="5500559"/>
                </a:lnTo>
                <a:cubicBezTo>
                  <a:pt x="3621096" y="5536614"/>
                  <a:pt x="3527375" y="5556552"/>
                  <a:pt x="3428998" y="5556552"/>
                </a:cubicBezTo>
                <a:cubicBezTo>
                  <a:pt x="3330621" y="5556552"/>
                  <a:pt x="3236901" y="5536614"/>
                  <a:pt x="3151658" y="5500559"/>
                </a:cubicBezTo>
                <a:lnTo>
                  <a:pt x="3072996" y="5457863"/>
                </a:lnTo>
                <a:lnTo>
                  <a:pt x="3059298" y="5453370"/>
                </a:lnTo>
                <a:lnTo>
                  <a:pt x="3033383" y="5436362"/>
                </a:lnTo>
                <a:lnTo>
                  <a:pt x="3030627" y="5434867"/>
                </a:lnTo>
                <a:lnTo>
                  <a:pt x="3028775" y="5433338"/>
                </a:lnTo>
                <a:lnTo>
                  <a:pt x="0" y="3445704"/>
                </a:lnTo>
                <a:close/>
                <a:moveTo>
                  <a:pt x="6858000" y="0"/>
                </a:moveTo>
                <a:lnTo>
                  <a:pt x="6858000" y="349336"/>
                </a:lnTo>
                <a:lnTo>
                  <a:pt x="6858000" y="3445703"/>
                </a:lnTo>
                <a:lnTo>
                  <a:pt x="0" y="3445703"/>
                </a:lnTo>
                <a:lnTo>
                  <a:pt x="0" y="0"/>
                </a:lnTo>
                <a:close/>
              </a:path>
            </a:pathLst>
          </a:custGeom>
          <a:ln>
            <a:noFill/>
          </a:ln>
          <a:effectLst/>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pic>
        <p:nvPicPr>
          <p:cNvPr id="9" name="Picture 8" descr="A picture containing drawing&#10;&#10;Description automatically generated">
            <a:extLst>
              <a:ext uri="{FF2B5EF4-FFF2-40B4-BE49-F238E27FC236}">
                <a16:creationId xmlns:a16="http://schemas.microsoft.com/office/drawing/2014/main" id="{370815FF-D400-437D-BD4B-5DD59D742C82}"/>
              </a:ext>
            </a:extLst>
          </p:cNvPr>
          <p:cNvPicPr>
            <a:picLocks noChangeAspect="1"/>
          </p:cNvPicPr>
          <p:nvPr/>
        </p:nvPicPr>
        <p:blipFill>
          <a:blip r:embed="rId3"/>
          <a:stretch>
            <a:fillRect/>
          </a:stretch>
        </p:blipFill>
        <p:spPr>
          <a:xfrm>
            <a:off x="126607" y="2632742"/>
            <a:ext cx="4899002" cy="1592513"/>
          </a:xfrm>
          <a:prstGeom prst="rect">
            <a:avLst/>
          </a:prstGeom>
        </p:spPr>
      </p:pic>
      <p:sp>
        <p:nvSpPr>
          <p:cNvPr id="10" name="TextBox 9">
            <a:extLst>
              <a:ext uri="{FF2B5EF4-FFF2-40B4-BE49-F238E27FC236}">
                <a16:creationId xmlns:a16="http://schemas.microsoft.com/office/drawing/2014/main" id="{3C3CC498-08FE-42C1-8037-038C600F3CFB}"/>
              </a:ext>
            </a:extLst>
          </p:cNvPr>
          <p:cNvSpPr txBox="1"/>
          <p:nvPr/>
        </p:nvSpPr>
        <p:spPr>
          <a:xfrm>
            <a:off x="5683159" y="833876"/>
            <a:ext cx="6711048" cy="31700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8000" b="1" i="0" u="none" strike="noStrike" kern="1200" cap="none" spc="0" normalizeH="0" baseline="0" noProof="0" dirty="0">
                <a:ln>
                  <a:noFill/>
                </a:ln>
                <a:solidFill>
                  <a:srgbClr val="38B4B2"/>
                </a:solidFill>
                <a:effectLst/>
                <a:uLnTx/>
                <a:uFillTx/>
                <a:latin typeface="Tahoma" panose="020B0604030504040204" pitchFamily="34" charset="0"/>
                <a:ea typeface="Tahoma" panose="020B0604030504040204" pitchFamily="34" charset="0"/>
                <a:cs typeface="Tahoma" panose="020B0604030504040204" pitchFamily="34" charset="0"/>
              </a:rPr>
              <a:t>Thank You</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6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6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3" name="Graphic 2" descr="Receiver">
            <a:extLst>
              <a:ext uri="{FF2B5EF4-FFF2-40B4-BE49-F238E27FC236}">
                <a16:creationId xmlns:a16="http://schemas.microsoft.com/office/drawing/2014/main" id="{9C67475D-B11D-4AA7-9B8A-628DC83336D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64695" y="2787132"/>
            <a:ext cx="914400" cy="914400"/>
          </a:xfrm>
          <a:prstGeom prst="rect">
            <a:avLst/>
          </a:prstGeom>
        </p:spPr>
      </p:pic>
      <p:pic>
        <p:nvPicPr>
          <p:cNvPr id="5" name="Graphic 4" descr="Envelope">
            <a:extLst>
              <a:ext uri="{FF2B5EF4-FFF2-40B4-BE49-F238E27FC236}">
                <a16:creationId xmlns:a16="http://schemas.microsoft.com/office/drawing/2014/main" id="{A4339FED-ED2A-4E0A-84BE-AFC41B2C78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53200" y="4032725"/>
            <a:ext cx="914400" cy="914400"/>
          </a:xfrm>
          <a:prstGeom prst="rect">
            <a:avLst/>
          </a:prstGeom>
        </p:spPr>
      </p:pic>
      <p:pic>
        <p:nvPicPr>
          <p:cNvPr id="7" name="Graphic 6" descr="Internet">
            <a:extLst>
              <a:ext uri="{FF2B5EF4-FFF2-40B4-BE49-F238E27FC236}">
                <a16:creationId xmlns:a16="http://schemas.microsoft.com/office/drawing/2014/main" id="{3D23FA83-9923-4D0B-93E5-E811C2155F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49836" y="5274762"/>
            <a:ext cx="914400" cy="914400"/>
          </a:xfrm>
          <a:prstGeom prst="rect">
            <a:avLst/>
          </a:prstGeom>
        </p:spPr>
      </p:pic>
      <p:sp>
        <p:nvSpPr>
          <p:cNvPr id="8" name="Rectangle 7">
            <a:extLst>
              <a:ext uri="{FF2B5EF4-FFF2-40B4-BE49-F238E27FC236}">
                <a16:creationId xmlns:a16="http://schemas.microsoft.com/office/drawing/2014/main" id="{B50FCE2D-5E52-43C3-B885-BDCEB9877896}"/>
              </a:ext>
            </a:extLst>
          </p:cNvPr>
          <p:cNvSpPr/>
          <p:nvPr/>
        </p:nvSpPr>
        <p:spPr>
          <a:xfrm>
            <a:off x="7608072" y="4225255"/>
            <a:ext cx="2752678" cy="461665"/>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eam@aceoc.org</a:t>
            </a:r>
          </a:p>
        </p:txBody>
      </p:sp>
      <p:sp>
        <p:nvSpPr>
          <p:cNvPr id="11" name="Rectangle 10">
            <a:extLst>
              <a:ext uri="{FF2B5EF4-FFF2-40B4-BE49-F238E27FC236}">
                <a16:creationId xmlns:a16="http://schemas.microsoft.com/office/drawing/2014/main" id="{BD605028-8847-49DE-A0DA-C565734E004A}"/>
              </a:ext>
            </a:extLst>
          </p:cNvPr>
          <p:cNvSpPr/>
          <p:nvPr/>
        </p:nvSpPr>
        <p:spPr>
          <a:xfrm>
            <a:off x="7578187" y="3018042"/>
            <a:ext cx="2920992" cy="461665"/>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Ph: 07 3119 6347</a:t>
            </a:r>
          </a:p>
        </p:txBody>
      </p:sp>
      <p:sp>
        <p:nvSpPr>
          <p:cNvPr id="14" name="Rectangle 13">
            <a:extLst>
              <a:ext uri="{FF2B5EF4-FFF2-40B4-BE49-F238E27FC236}">
                <a16:creationId xmlns:a16="http://schemas.microsoft.com/office/drawing/2014/main" id="{5F5E9E0D-3E84-43E4-B705-12727202F311}"/>
              </a:ext>
            </a:extLst>
          </p:cNvPr>
          <p:cNvSpPr/>
          <p:nvPr/>
        </p:nvSpPr>
        <p:spPr>
          <a:xfrm>
            <a:off x="7578187" y="5501129"/>
            <a:ext cx="4334841" cy="461665"/>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ustraliasceochallenge.org</a:t>
            </a:r>
          </a:p>
        </p:txBody>
      </p:sp>
    </p:spTree>
    <p:extLst>
      <p:ext uri="{BB962C8B-B14F-4D97-AF65-F5344CB8AC3E}">
        <p14:creationId xmlns:p14="http://schemas.microsoft.com/office/powerpoint/2010/main" val="12378341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defTabSz="1218946"/>
            <a:r>
              <a:rPr lang="en-US" dirty="0"/>
              <a:t>Family &amp; Domestic Violence</a:t>
            </a:r>
            <a:endParaRPr lang="en-AU" dirty="0"/>
          </a:p>
        </p:txBody>
      </p:sp>
      <p:sp>
        <p:nvSpPr>
          <p:cNvPr id="4" name="Subtitle 3"/>
          <p:cNvSpPr>
            <a:spLocks noGrp="1"/>
          </p:cNvSpPr>
          <p:nvPr>
            <p:ph type="subTitle" idx="1"/>
          </p:nvPr>
        </p:nvSpPr>
        <p:spPr>
          <a:xfrm>
            <a:off x="615588" y="2838190"/>
            <a:ext cx="4837256" cy="461665"/>
          </a:xfrm>
        </p:spPr>
        <p:txBody>
          <a:bodyPr>
            <a:normAutofit fontScale="70000" lnSpcReduction="20000"/>
          </a:bodyPr>
          <a:lstStyle/>
          <a:p>
            <a:r>
              <a:rPr lang="en-AU" dirty="0">
                <a:solidFill>
                  <a:prstClr val="white"/>
                </a:solidFill>
                <a:latin typeface="Arial" panose="020B0604020202020204" pitchFamily="34" charset="0"/>
                <a:cs typeface="Arial" panose="020B0604020202020204" pitchFamily="34" charset="0"/>
              </a:rPr>
              <a:t>Workplace Response in Context of COVID-19</a:t>
            </a:r>
            <a:endParaRPr lang="en-AU" dirty="0"/>
          </a:p>
        </p:txBody>
      </p:sp>
      <p:sp>
        <p:nvSpPr>
          <p:cNvPr id="6" name="Text Placeholder 5"/>
          <p:cNvSpPr>
            <a:spLocks noGrp="1"/>
          </p:cNvSpPr>
          <p:nvPr>
            <p:ph type="body" sz="quarter" idx="10"/>
          </p:nvPr>
        </p:nvSpPr>
        <p:spPr/>
        <p:txBody>
          <a:bodyPr>
            <a:normAutofit/>
          </a:bodyPr>
          <a:lstStyle/>
          <a:p>
            <a:r>
              <a:rPr lang="en-AU" sz="1400" dirty="0">
                <a:solidFill>
                  <a:prstClr val="white"/>
                </a:solidFill>
                <a:latin typeface="Arial" panose="020B0604020202020204" pitchFamily="34" charset="0"/>
                <a:cs typeface="Arial" panose="020B0604020202020204" pitchFamily="34" charset="0"/>
              </a:rPr>
              <a:t>April 2020</a:t>
            </a:r>
            <a:endParaRPr lang="en-AU" sz="1400" dirty="0"/>
          </a:p>
        </p:txBody>
      </p:sp>
    </p:spTree>
    <p:extLst>
      <p:ext uri="{BB962C8B-B14F-4D97-AF65-F5344CB8AC3E}">
        <p14:creationId xmlns:p14="http://schemas.microsoft.com/office/powerpoint/2010/main" val="64391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5320" y="365125"/>
            <a:ext cx="5120114" cy="1692794"/>
          </a:xfrm>
        </p:spPr>
        <p:txBody>
          <a:bodyPr vert="horz" lIns="91440" tIns="45720" rIns="91440" bIns="45720" rtlCol="0" anchor="ctr">
            <a:normAutofit/>
          </a:bodyPr>
          <a:lstStyle/>
          <a:p>
            <a:r>
              <a:rPr lang="en-AU" sz="3400" dirty="0">
                <a:solidFill>
                  <a:srgbClr val="C00000"/>
                </a:solidFill>
              </a:rPr>
              <a:t>COVID-19 &amp; FDV –</a:t>
            </a:r>
            <a:br>
              <a:rPr lang="en-AU" sz="3400" dirty="0">
                <a:solidFill>
                  <a:srgbClr val="C00000"/>
                </a:solidFill>
              </a:rPr>
            </a:br>
            <a:br>
              <a:rPr lang="en-AU" sz="1000" dirty="0">
                <a:solidFill>
                  <a:srgbClr val="C00000"/>
                </a:solidFill>
              </a:rPr>
            </a:br>
            <a:r>
              <a:rPr lang="en-AU" sz="2400" dirty="0">
                <a:solidFill>
                  <a:srgbClr val="C00000"/>
                </a:solidFill>
              </a:rPr>
              <a:t>Workplace Context</a:t>
            </a:r>
            <a:endParaRPr lang="en-US" sz="2400" dirty="0">
              <a:solidFill>
                <a:schemeClr val="tx1"/>
              </a:solidFill>
            </a:endParaRPr>
          </a:p>
        </p:txBody>
      </p:sp>
      <p:cxnSp>
        <p:nvCxnSpPr>
          <p:cNvPr id="11" name="Straight Arrow Connector 10">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quarter" idx="16"/>
          </p:nvPr>
        </p:nvSpPr>
        <p:spPr>
          <a:xfrm>
            <a:off x="655322" y="2575034"/>
            <a:ext cx="4923358" cy="3462228"/>
          </a:xfrm>
          <a:prstGeom prst="rect">
            <a:avLst/>
          </a:prstGeom>
        </p:spPr>
        <p:txBody>
          <a:bodyPr vert="horz" lIns="91440" tIns="45720" rIns="91440" bIns="45720" rtlCol="0">
            <a:noAutofit/>
          </a:bodyPr>
          <a:lstStyle/>
          <a:p>
            <a:pPr marL="285750" indent="-285750">
              <a:buFont typeface="Arial" panose="020B0604020202020204" pitchFamily="34" charset="0"/>
              <a:buChar char="•"/>
            </a:pPr>
            <a:r>
              <a:rPr lang="en-AU" sz="1600" dirty="0">
                <a:latin typeface="Arial" panose="020B0604020202020204" pitchFamily="34" charset="0"/>
                <a:cs typeface="Arial" panose="020B0604020202020204" pitchFamily="34" charset="0"/>
              </a:rPr>
              <a:t>Changes in working arrangements or self isolation increases exposure to partner who uses violence.</a:t>
            </a:r>
          </a:p>
          <a:p>
            <a:pPr marL="285750" indent="-285750">
              <a:buFont typeface="Arial" panose="020B0604020202020204" pitchFamily="34" charset="0"/>
              <a:buChar char="•"/>
            </a:pPr>
            <a:r>
              <a:rPr lang="en-AU" sz="1600" dirty="0">
                <a:latin typeface="Arial" panose="020B0604020202020204" pitchFamily="34" charset="0"/>
                <a:cs typeface="Arial" panose="020B0604020202020204" pitchFamily="34" charset="0"/>
              </a:rPr>
              <a:t>Escalation of the use of violence – stress/ pressure, changes in routine.</a:t>
            </a:r>
          </a:p>
          <a:p>
            <a:pPr marL="285750" indent="-285750">
              <a:buFont typeface="Arial" panose="020B0604020202020204" pitchFamily="34" charset="0"/>
              <a:buChar char="•"/>
            </a:pPr>
            <a:r>
              <a:rPr lang="en-AU" sz="1600" dirty="0">
                <a:latin typeface="Arial" panose="020B0604020202020204" pitchFamily="34" charset="0"/>
                <a:cs typeface="Arial" panose="020B0604020202020204" pitchFamily="34" charset="0"/>
              </a:rPr>
              <a:t>Fewer opportunities to seek help on unmonitored technology.</a:t>
            </a:r>
          </a:p>
          <a:p>
            <a:pPr marL="285750" indent="-285750">
              <a:buFont typeface="Arial" panose="020B0604020202020204" pitchFamily="34" charset="0"/>
              <a:buChar char="•"/>
            </a:pPr>
            <a:r>
              <a:rPr lang="en-AU" sz="1600" dirty="0">
                <a:latin typeface="Arial" panose="020B0604020202020204" pitchFamily="34" charset="0"/>
                <a:cs typeface="Arial" panose="020B0604020202020204" pitchFamily="34" charset="0"/>
              </a:rPr>
              <a:t>Therefore, we wanted to ensure help and options for our employees affected by family &amp; domestic violence was known and available as best we can.</a:t>
            </a:r>
          </a:p>
        </p:txBody>
      </p:sp>
      <p:pic>
        <p:nvPicPr>
          <p:cNvPr id="6" name="Picture Placeholder 9">
            <a:extLst>
              <a:ext uri="{FF2B5EF4-FFF2-40B4-BE49-F238E27FC236}">
                <a16:creationId xmlns:a16="http://schemas.microsoft.com/office/drawing/2014/main" id="{A20240B0-9F4C-459A-B7F8-CA39387C9E32}"/>
              </a:ext>
            </a:extLst>
          </p:cNvPr>
          <p:cNvPicPr>
            <a:picLocks noChangeAspect="1"/>
          </p:cNvPicPr>
          <p:nvPr/>
        </p:nvPicPr>
        <p:blipFill rotWithShape="1">
          <a:blip r:embed="rId3">
            <a:extLst>
              <a:ext uri="{28A0092B-C50C-407E-A947-70E740481C1C}">
                <a14:useLocalDpi xmlns:a14="http://schemas.microsoft.com/office/drawing/2010/main" val="0"/>
              </a:ext>
            </a:extLst>
          </a:blip>
          <a:srcRect l="16639" r="31580"/>
          <a:stretch/>
        </p:blipFill>
        <p:spPr>
          <a:xfrm>
            <a:off x="5878850" y="13"/>
            <a:ext cx="6313150" cy="6857987"/>
          </a:xfrm>
          <a:custGeom>
            <a:avLst/>
            <a:gdLst/>
            <a:ahLst/>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41572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Placeholder 9">
            <a:extLst>
              <a:ext uri="{FF2B5EF4-FFF2-40B4-BE49-F238E27FC236}">
                <a16:creationId xmlns:a16="http://schemas.microsoft.com/office/drawing/2014/main" id="{A20240B0-9F4C-459A-B7F8-CA39387C9E32}"/>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36396" r="11159"/>
          <a:stretch/>
        </p:blipFill>
        <p:spPr>
          <a:xfrm>
            <a:off x="5797543" y="10"/>
            <a:ext cx="6394152" cy="6857990"/>
          </a:xfrm>
          <a:prstGeom prst="rect">
            <a:avLst/>
          </a:prstGeom>
        </p:spPr>
      </p:pic>
      <p:pic>
        <p:nvPicPr>
          <p:cNvPr id="27" name="Picture 20">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 name="Title 1"/>
          <p:cNvSpPr>
            <a:spLocks noGrp="1"/>
          </p:cNvSpPr>
          <p:nvPr>
            <p:ph type="title"/>
          </p:nvPr>
        </p:nvSpPr>
        <p:spPr>
          <a:xfrm>
            <a:off x="679507" y="664221"/>
            <a:ext cx="5416493" cy="1311664"/>
          </a:xfrm>
        </p:spPr>
        <p:txBody>
          <a:bodyPr vert="horz" lIns="91440" tIns="45720" rIns="91440" bIns="45720" rtlCol="0" anchor="ctr">
            <a:normAutofit fontScale="90000"/>
          </a:bodyPr>
          <a:lstStyle/>
          <a:p>
            <a:r>
              <a:rPr lang="en-AU" sz="3800" dirty="0">
                <a:solidFill>
                  <a:srgbClr val="C00000"/>
                </a:solidFill>
              </a:rPr>
              <a:t>What Can Workplaces Do?</a:t>
            </a:r>
            <a:br>
              <a:rPr lang="en-AU" sz="1600" dirty="0">
                <a:solidFill>
                  <a:srgbClr val="C00000"/>
                </a:solidFill>
              </a:rPr>
            </a:br>
            <a:br>
              <a:rPr lang="en-AU" sz="800" dirty="0">
                <a:solidFill>
                  <a:srgbClr val="C00000"/>
                </a:solidFill>
              </a:rPr>
            </a:br>
            <a:r>
              <a:rPr lang="en-AU" sz="2700" dirty="0">
                <a:solidFill>
                  <a:srgbClr val="C00000"/>
                </a:solidFill>
              </a:rPr>
              <a:t>Rio Tinto Example </a:t>
            </a:r>
            <a:r>
              <a:rPr lang="en-AU" sz="1200" dirty="0">
                <a:solidFill>
                  <a:srgbClr val="C00000"/>
                </a:solidFill>
              </a:rPr>
              <a:t>*</a:t>
            </a:r>
            <a:r>
              <a:rPr lang="en-AU" sz="1200" i="1" dirty="0">
                <a:solidFill>
                  <a:srgbClr val="C00000"/>
                </a:solidFill>
              </a:rPr>
              <a:t>work is in continual progress</a:t>
            </a:r>
            <a:endParaRPr lang="en-US" sz="2700" dirty="0">
              <a:solidFill>
                <a:srgbClr val="000000"/>
              </a:solidFill>
            </a:endParaRPr>
          </a:p>
        </p:txBody>
      </p:sp>
      <p:sp>
        <p:nvSpPr>
          <p:cNvPr id="3" name="Content Placeholder 2"/>
          <p:cNvSpPr>
            <a:spLocks noGrp="1"/>
          </p:cNvSpPr>
          <p:nvPr>
            <p:ph sz="quarter" idx="16"/>
          </p:nvPr>
        </p:nvSpPr>
        <p:spPr>
          <a:xfrm>
            <a:off x="804997" y="2272143"/>
            <a:ext cx="4992241" cy="3788830"/>
          </a:xfrm>
          <a:prstGeom prst="rect">
            <a:avLst/>
          </a:prstGeom>
        </p:spPr>
        <p:txBody>
          <a:bodyPr vert="horz" lIns="91440" tIns="45720" rIns="91440" bIns="45720" rtlCol="0" anchor="ctr">
            <a:normAutofit lnSpcReduction="10000"/>
          </a:bodyPr>
          <a:lstStyle/>
          <a:p>
            <a:pPr>
              <a:lnSpc>
                <a:spcPct val="90000"/>
              </a:lnSpc>
              <a:spcBef>
                <a:spcPts val="0"/>
              </a:spcBef>
            </a:pPr>
            <a:endParaRPr lang="en-US" sz="1400" i="1" dirty="0">
              <a:solidFill>
                <a:srgbClr val="000000"/>
              </a:solidFill>
            </a:endParaRPr>
          </a:p>
          <a:p>
            <a:pPr algn="ctr">
              <a:lnSpc>
                <a:spcPct val="90000"/>
              </a:lnSpc>
              <a:spcBef>
                <a:spcPts val="0"/>
              </a:spcBef>
            </a:pPr>
            <a:r>
              <a:rPr lang="en-US" sz="1200" i="1" dirty="0">
                <a:solidFill>
                  <a:srgbClr val="000000"/>
                </a:solidFill>
              </a:rPr>
              <a:t>If danger is immediate, call the Police 000.</a:t>
            </a:r>
          </a:p>
          <a:p>
            <a:pPr>
              <a:lnSpc>
                <a:spcPct val="90000"/>
              </a:lnSpc>
              <a:spcBef>
                <a:spcPts val="0"/>
              </a:spcBef>
            </a:pPr>
            <a:endParaRPr lang="en-US" sz="1200" i="1" dirty="0">
              <a:solidFill>
                <a:srgbClr val="000000"/>
              </a:solidFill>
            </a:endParaRPr>
          </a:p>
          <a:p>
            <a:pPr>
              <a:lnSpc>
                <a:spcPct val="90000"/>
              </a:lnSpc>
              <a:spcBef>
                <a:spcPts val="0"/>
              </a:spcBef>
            </a:pPr>
            <a:endParaRPr lang="en-US" sz="1200" dirty="0">
              <a:solidFill>
                <a:srgbClr val="000000"/>
              </a:solidFill>
            </a:endParaRPr>
          </a:p>
          <a:p>
            <a:pPr>
              <a:lnSpc>
                <a:spcPct val="90000"/>
              </a:lnSpc>
              <a:spcBef>
                <a:spcPts val="0"/>
              </a:spcBef>
            </a:pPr>
            <a:r>
              <a:rPr lang="en-US" sz="1200" dirty="0">
                <a:solidFill>
                  <a:srgbClr val="000000"/>
                </a:solidFill>
              </a:rPr>
              <a:t>Our response is informed by our strong safety culture</a:t>
            </a:r>
            <a:r>
              <a:rPr lang="en-US" sz="1200" i="1" dirty="0">
                <a:solidFill>
                  <a:srgbClr val="000000"/>
                </a:solidFill>
              </a:rPr>
              <a:t>.</a:t>
            </a:r>
          </a:p>
          <a:p>
            <a:pPr indent="-228600">
              <a:lnSpc>
                <a:spcPct val="90000"/>
              </a:lnSpc>
              <a:spcBef>
                <a:spcPts val="0"/>
              </a:spcBef>
              <a:buFont typeface="Arial" panose="020B0604020202020204" pitchFamily="34" charset="0"/>
              <a:buChar char="•"/>
            </a:pPr>
            <a:endParaRPr lang="en-US" sz="1300" b="1" dirty="0">
              <a:solidFill>
                <a:srgbClr val="000000"/>
              </a:solidFill>
            </a:endParaRPr>
          </a:p>
          <a:p>
            <a:pPr marL="342900" indent="-228600">
              <a:lnSpc>
                <a:spcPct val="90000"/>
              </a:lnSpc>
              <a:spcBef>
                <a:spcPts val="0"/>
              </a:spcBef>
              <a:buFont typeface="+mj-lt"/>
              <a:buAutoNum type="arabicPeriod"/>
            </a:pPr>
            <a:r>
              <a:rPr lang="en-US" sz="1200" b="1" dirty="0">
                <a:solidFill>
                  <a:srgbClr val="000000"/>
                </a:solidFill>
              </a:rPr>
              <a:t>Work Arrangements</a:t>
            </a:r>
          </a:p>
          <a:p>
            <a:pPr marL="523875" lvl="2" indent="-228600">
              <a:lnSpc>
                <a:spcPct val="90000"/>
              </a:lnSpc>
              <a:buFont typeface="Arial" panose="020B0604020202020204" pitchFamily="34" charset="0"/>
              <a:buChar char="•"/>
            </a:pPr>
            <a:r>
              <a:rPr lang="en-US" sz="1100" dirty="0">
                <a:solidFill>
                  <a:srgbClr val="000000"/>
                </a:solidFill>
              </a:rPr>
              <a:t>Enable working from office or other site/asset </a:t>
            </a:r>
          </a:p>
          <a:p>
            <a:pPr marL="523875" lvl="2" indent="-228600">
              <a:lnSpc>
                <a:spcPct val="90000"/>
              </a:lnSpc>
              <a:buFont typeface="Arial" panose="020B0604020202020204" pitchFamily="34" charset="0"/>
              <a:buChar char="•"/>
            </a:pPr>
            <a:r>
              <a:rPr lang="en-US" sz="1100" dirty="0">
                <a:solidFill>
                  <a:srgbClr val="000000"/>
                </a:solidFill>
              </a:rPr>
              <a:t>Provide self-contained accommodation</a:t>
            </a:r>
          </a:p>
          <a:p>
            <a:pPr marL="523875" lvl="2" indent="-228600">
              <a:lnSpc>
                <a:spcPct val="90000"/>
              </a:lnSpc>
              <a:buFont typeface="Arial" panose="020B0604020202020204" pitchFamily="34" charset="0"/>
              <a:buChar char="•"/>
            </a:pPr>
            <a:r>
              <a:rPr lang="en-US" sz="1100" dirty="0">
                <a:solidFill>
                  <a:srgbClr val="000000"/>
                </a:solidFill>
              </a:rPr>
              <a:t>Ensure access to company provided laptops/phones to enhance autonomy &amp; digital security</a:t>
            </a:r>
          </a:p>
          <a:p>
            <a:pPr marL="342900" indent="-228600">
              <a:lnSpc>
                <a:spcPct val="90000"/>
              </a:lnSpc>
              <a:buFont typeface="+mj-lt"/>
              <a:buAutoNum type="arabicPeriod"/>
            </a:pPr>
            <a:r>
              <a:rPr lang="en-US" sz="1200" b="1" dirty="0">
                <a:solidFill>
                  <a:srgbClr val="000000"/>
                </a:solidFill>
              </a:rPr>
              <a:t>Regular Check-Ins</a:t>
            </a:r>
          </a:p>
          <a:p>
            <a:pPr marL="523875" lvl="2" indent="-228600">
              <a:lnSpc>
                <a:spcPct val="90000"/>
              </a:lnSpc>
              <a:buFont typeface="Arial" panose="020B0604020202020204" pitchFamily="34" charset="0"/>
              <a:buChar char="•"/>
            </a:pPr>
            <a:r>
              <a:rPr lang="en-US" sz="1100" dirty="0">
                <a:solidFill>
                  <a:srgbClr val="000000"/>
                </a:solidFill>
              </a:rPr>
              <a:t>Use video if available – important to lay eyes on people</a:t>
            </a:r>
          </a:p>
          <a:p>
            <a:pPr marL="523875" lvl="2" indent="-228600">
              <a:lnSpc>
                <a:spcPct val="90000"/>
              </a:lnSpc>
              <a:buFont typeface="Arial" panose="020B0604020202020204" pitchFamily="34" charset="0"/>
              <a:buChar char="•"/>
            </a:pPr>
            <a:r>
              <a:rPr lang="en-US" sz="1100" dirty="0">
                <a:solidFill>
                  <a:srgbClr val="000000"/>
                </a:solidFill>
              </a:rPr>
              <a:t>Encourage use of external tools </a:t>
            </a:r>
            <a:r>
              <a:rPr lang="en-US" sz="1100" dirty="0" err="1">
                <a:solidFill>
                  <a:srgbClr val="000000"/>
                </a:solidFill>
              </a:rPr>
              <a:t>eg.</a:t>
            </a:r>
            <a:r>
              <a:rPr lang="en-US" sz="1100" dirty="0">
                <a:solidFill>
                  <a:srgbClr val="000000"/>
                </a:solidFill>
              </a:rPr>
              <a:t> ‘Daisy’ app, ‘Sunny’ App.</a:t>
            </a:r>
          </a:p>
          <a:p>
            <a:pPr marL="342900" indent="-228600">
              <a:lnSpc>
                <a:spcPct val="90000"/>
              </a:lnSpc>
              <a:buFont typeface="+mj-lt"/>
              <a:buAutoNum type="arabicPeriod"/>
            </a:pPr>
            <a:r>
              <a:rPr lang="en-US" sz="1200" b="1" dirty="0">
                <a:solidFill>
                  <a:srgbClr val="000000"/>
                </a:solidFill>
              </a:rPr>
              <a:t>Communicate Policies, Procedures &amp; Support Available</a:t>
            </a:r>
          </a:p>
          <a:p>
            <a:pPr marL="523875" lvl="2" indent="-228600">
              <a:lnSpc>
                <a:spcPct val="90000"/>
              </a:lnSpc>
              <a:buFont typeface="Arial" panose="020B0604020202020204" pitchFamily="34" charset="0"/>
              <a:buChar char="•"/>
            </a:pPr>
            <a:r>
              <a:rPr lang="en-US" sz="1100" dirty="0">
                <a:solidFill>
                  <a:srgbClr val="000000"/>
                </a:solidFill>
              </a:rPr>
              <a:t>FDV Policy and provisions available</a:t>
            </a:r>
          </a:p>
          <a:p>
            <a:pPr marL="523875" lvl="2" indent="-228600">
              <a:lnSpc>
                <a:spcPct val="90000"/>
              </a:lnSpc>
              <a:buFont typeface="Arial" panose="020B0604020202020204" pitchFamily="34" charset="0"/>
              <a:buChar char="•"/>
            </a:pPr>
            <a:r>
              <a:rPr lang="en-US" sz="1100" dirty="0">
                <a:solidFill>
                  <a:srgbClr val="000000"/>
                </a:solidFill>
              </a:rPr>
              <a:t>Safety plans</a:t>
            </a:r>
          </a:p>
          <a:p>
            <a:pPr marL="523875" lvl="2" indent="-228600">
              <a:lnSpc>
                <a:spcPct val="90000"/>
              </a:lnSpc>
              <a:buFont typeface="Arial" panose="020B0604020202020204" pitchFamily="34" charset="0"/>
              <a:buChar char="•"/>
            </a:pPr>
            <a:r>
              <a:rPr lang="en-US" sz="1100" dirty="0">
                <a:solidFill>
                  <a:srgbClr val="000000"/>
                </a:solidFill>
              </a:rPr>
              <a:t>External specialist support providers</a:t>
            </a:r>
          </a:p>
          <a:p>
            <a:pPr marL="523875" lvl="2" indent="-228600">
              <a:lnSpc>
                <a:spcPct val="90000"/>
              </a:lnSpc>
              <a:buFont typeface="Arial" panose="020B0604020202020204" pitchFamily="34" charset="0"/>
              <a:buChar char="•"/>
            </a:pPr>
            <a:r>
              <a:rPr lang="en-US" sz="1100" dirty="0">
                <a:solidFill>
                  <a:srgbClr val="000000"/>
                </a:solidFill>
              </a:rPr>
              <a:t>H&amp;S policies/guidelines, tools and resources – wellbeing.</a:t>
            </a:r>
          </a:p>
          <a:p>
            <a:pPr marL="523875" lvl="2" indent="-228600">
              <a:lnSpc>
                <a:spcPct val="90000"/>
              </a:lnSpc>
              <a:buFont typeface="Arial" panose="020B0604020202020204" pitchFamily="34" charset="0"/>
              <a:buChar char="•"/>
            </a:pPr>
            <a:endParaRPr lang="en-US" sz="1100" b="1" dirty="0">
              <a:solidFill>
                <a:srgbClr val="000000"/>
              </a:solidFill>
            </a:endParaRPr>
          </a:p>
        </p:txBody>
      </p:sp>
      <p:cxnSp>
        <p:nvCxnSpPr>
          <p:cNvPr id="12" name="Straight Connector 11">
            <a:extLst>
              <a:ext uri="{FF2B5EF4-FFF2-40B4-BE49-F238E27FC236}">
                <a16:creationId xmlns:a16="http://schemas.microsoft.com/office/drawing/2014/main" id="{4AD7168D-E053-4C3C-94FC-C20F39F910FE}"/>
              </a:ext>
            </a:extLst>
          </p:cNvPr>
          <p:cNvCxnSpPr>
            <a:cxnSpLocks/>
          </p:cNvCxnSpPr>
          <p:nvPr/>
        </p:nvCxnSpPr>
        <p:spPr>
          <a:xfrm>
            <a:off x="804997" y="2272143"/>
            <a:ext cx="4706803" cy="0"/>
          </a:xfrm>
          <a:prstGeom prst="line">
            <a:avLst/>
          </a:prstGeom>
          <a:ln w="19050"/>
        </p:spPr>
        <p:style>
          <a:lnRef idx="1">
            <a:schemeClr val="dk1"/>
          </a:lnRef>
          <a:fillRef idx="0">
            <a:schemeClr val="dk1"/>
          </a:fillRef>
          <a:effectRef idx="0">
            <a:schemeClr val="dk1"/>
          </a:effectRef>
          <a:fontRef idx="minor">
            <a:schemeClr val="tx1"/>
          </a:fontRef>
        </p:style>
      </p:cxnSp>
      <p:pic>
        <p:nvPicPr>
          <p:cNvPr id="14" name="Picture 13">
            <a:extLst>
              <a:ext uri="{FF2B5EF4-FFF2-40B4-BE49-F238E27FC236}">
                <a16:creationId xmlns:a16="http://schemas.microsoft.com/office/drawing/2014/main" id="{5C6EBD9D-754D-43F5-80BC-081AED90680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6627" y="6223000"/>
            <a:ext cx="1136740" cy="522086"/>
          </a:xfrm>
          <a:prstGeom prst="rect">
            <a:avLst/>
          </a:prstGeom>
        </p:spPr>
      </p:pic>
    </p:spTree>
    <p:extLst>
      <p:ext uri="{BB962C8B-B14F-4D97-AF65-F5344CB8AC3E}">
        <p14:creationId xmlns:p14="http://schemas.microsoft.com/office/powerpoint/2010/main" val="371356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2B18A-1793-4374-801C-0BCFAAAF8F30}"/>
              </a:ext>
            </a:extLst>
          </p:cNvPr>
          <p:cNvSpPr>
            <a:spLocks noGrp="1"/>
          </p:cNvSpPr>
          <p:nvPr>
            <p:ph type="title"/>
          </p:nvPr>
        </p:nvSpPr>
        <p:spPr>
          <a:xfrm>
            <a:off x="655320" y="365125"/>
            <a:ext cx="5120114" cy="1692794"/>
          </a:xfrm>
        </p:spPr>
        <p:txBody>
          <a:bodyPr vert="horz" lIns="91440" tIns="45720" rIns="91440" bIns="45720" rtlCol="0" anchor="ctr">
            <a:normAutofit/>
          </a:bodyPr>
          <a:lstStyle/>
          <a:p>
            <a:r>
              <a:rPr lang="en-AU" sz="3400" dirty="0">
                <a:solidFill>
                  <a:srgbClr val="C00000"/>
                </a:solidFill>
              </a:rPr>
              <a:t>If An Incident Occurs</a:t>
            </a:r>
            <a:br>
              <a:rPr lang="en-AU" sz="3400" dirty="0">
                <a:solidFill>
                  <a:srgbClr val="C00000"/>
                </a:solidFill>
              </a:rPr>
            </a:br>
            <a:r>
              <a:rPr lang="en-AU" sz="2400" dirty="0">
                <a:solidFill>
                  <a:srgbClr val="C00000"/>
                </a:solidFill>
              </a:rPr>
              <a:t>Whilst WFH </a:t>
            </a:r>
            <a:endParaRPr lang="en-US" sz="2400" dirty="0">
              <a:solidFill>
                <a:schemeClr val="tx1"/>
              </a:solidFill>
            </a:endParaRPr>
          </a:p>
        </p:txBody>
      </p:sp>
      <p:cxnSp>
        <p:nvCxnSpPr>
          <p:cNvPr id="12" name="Straight Arrow Connector 11">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A1F9AF0B-6763-4D12-8D6B-1B15650F7978}"/>
              </a:ext>
            </a:extLst>
          </p:cNvPr>
          <p:cNvSpPr txBox="1">
            <a:spLocks/>
          </p:cNvSpPr>
          <p:nvPr/>
        </p:nvSpPr>
        <p:spPr>
          <a:xfrm>
            <a:off x="655321" y="2575034"/>
            <a:ext cx="5120113" cy="3462228"/>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sz="2000" b="0" kern="1200">
                <a:solidFill>
                  <a:schemeClr val="tx1"/>
                </a:solidFill>
                <a:latin typeface="+mn-lt"/>
                <a:ea typeface="+mn-ea"/>
                <a:cs typeface="+mn-cs"/>
              </a:defRPr>
            </a:lvl1pPr>
            <a:lvl2pPr marL="0" indent="0" algn="l" defTabSz="914400" rtl="0" eaLnBrk="1" latinLnBrk="0" hangingPunct="1">
              <a:lnSpc>
                <a:spcPct val="100000"/>
              </a:lnSpc>
              <a:spcBef>
                <a:spcPts val="500"/>
              </a:spcBef>
              <a:spcAft>
                <a:spcPts val="0"/>
              </a:spcAft>
              <a:buFont typeface="Arial" panose="020B0604020202020204" pitchFamily="34" charset="0"/>
              <a:buNone/>
              <a:defRPr sz="1800" kern="1200">
                <a:solidFill>
                  <a:schemeClr val="tx1"/>
                </a:solidFill>
                <a:latin typeface="+mn-lt"/>
                <a:ea typeface="+mn-ea"/>
                <a:cs typeface="+mn-cs"/>
              </a:defRPr>
            </a:lvl2pPr>
            <a:lvl3pPr marL="180975" indent="-180975" algn="l" defTabSz="914400" rtl="0" eaLnBrk="1" latinLnBrk="0" hangingPunct="1">
              <a:lnSpc>
                <a:spcPct val="100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3pPr>
            <a:lvl4pPr marL="361950" indent="-180975" algn="l" defTabSz="914400" rtl="0" eaLnBrk="1" latinLnBrk="0" hangingPunct="1">
              <a:lnSpc>
                <a:spcPct val="100000"/>
              </a:lnSpc>
              <a:spcBef>
                <a:spcPts val="500"/>
              </a:spcBef>
              <a:spcAft>
                <a:spcPts val="0"/>
              </a:spcAft>
              <a:buFont typeface="Arial" panose="020B0604020202020204" pitchFamily="34" charset="0"/>
              <a:buChar char="–"/>
              <a:defRPr sz="1600" kern="1200">
                <a:solidFill>
                  <a:schemeClr val="tx1"/>
                </a:solidFill>
                <a:latin typeface="+mn-lt"/>
                <a:ea typeface="+mn-ea"/>
                <a:cs typeface="+mn-cs"/>
              </a:defRPr>
            </a:lvl4pPr>
            <a:lvl5pPr marL="542925" indent="-180975" algn="l" defTabSz="914400" rtl="0" eaLnBrk="1" latinLnBrk="0" hangingPunct="1">
              <a:lnSpc>
                <a:spcPct val="100000"/>
              </a:lnSpc>
              <a:spcBef>
                <a:spcPts val="500"/>
              </a:spcBef>
              <a:spcAft>
                <a:spcPts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If danger is immediate, call the Police 000.</a:t>
            </a:r>
          </a:p>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afety is the first priority.</a:t>
            </a: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mn-cs"/>
              </a:rPr>
              <a:t>Recognise</a:t>
            </a:r>
            <a:r>
              <a:rPr kumimoji="0" lang="en-US" sz="1600" b="0" i="0" u="none" strike="noStrike" kern="1200" cap="none" spc="0" normalizeH="0" baseline="0" noProof="0" dirty="0">
                <a:ln>
                  <a:noFill/>
                </a:ln>
                <a:solidFill>
                  <a:srgbClr val="000000"/>
                </a:solidFill>
                <a:effectLst/>
                <a:uLnTx/>
                <a:uFillTx/>
                <a:latin typeface="Arial"/>
                <a:ea typeface="+mn-ea"/>
                <a:cs typeface="+mn-cs"/>
              </a:rPr>
              <a:t>, respond and refer – be guided by the employee on the type of support they need.</a:t>
            </a: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Employees who use violence – what are you seeing/hearing, response, and referrals available</a:t>
            </a:r>
            <a:r>
              <a:rPr kumimoji="0" lang="en-US" sz="14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Content Placeholder 5">
            <a:extLst>
              <a:ext uri="{FF2B5EF4-FFF2-40B4-BE49-F238E27FC236}">
                <a16:creationId xmlns:a16="http://schemas.microsoft.com/office/drawing/2014/main" id="{AD2F6925-DBFF-4B0E-B7C5-7CF2828100CE}"/>
              </a:ext>
            </a:extLst>
          </p:cNvPr>
          <p:cNvPicPr>
            <a:picLocks noGrp="1" noChangeAspect="1"/>
          </p:cNvPicPr>
          <p:nvPr>
            <p:ph sz="quarter" idx="16"/>
          </p:nvPr>
        </p:nvPicPr>
        <p:blipFill rotWithShape="1">
          <a:blip r:embed="rId2">
            <a:extLst>
              <a:ext uri="{28A0092B-C50C-407E-A947-70E740481C1C}">
                <a14:useLocalDpi xmlns:a14="http://schemas.microsoft.com/office/drawing/2010/main" val="0"/>
              </a:ext>
            </a:extLst>
          </a:blip>
          <a:srcRect l="17445" r="30774" b="16871"/>
          <a:stretch/>
        </p:blipFill>
        <p:spPr>
          <a:xfrm>
            <a:off x="5589037" y="10"/>
            <a:ext cx="6602962" cy="6089563"/>
          </a:xfrm>
          <a:custGeom>
            <a:avLst/>
            <a:gdLst/>
            <a:ahLst/>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135410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A0E4E09-FC02-4ADC-951A-3FFA90B6FE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6" name="Picture Placeholder 9">
            <a:extLst>
              <a:ext uri="{FF2B5EF4-FFF2-40B4-BE49-F238E27FC236}">
                <a16:creationId xmlns:a16="http://schemas.microsoft.com/office/drawing/2014/main" id="{A20240B0-9F4C-459A-B7F8-CA39387C9E32}"/>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13362" r="33956"/>
          <a:stretch/>
        </p:blipFill>
        <p:spPr>
          <a:xfrm>
            <a:off x="5768642" y="-1"/>
            <a:ext cx="6423053" cy="6858001"/>
          </a:xfrm>
          <a:prstGeom prst="rect">
            <a:avLst/>
          </a:prstGeom>
        </p:spPr>
      </p:pic>
      <p:pic>
        <p:nvPicPr>
          <p:cNvPr id="23" name="Picture 22">
            <a:extLst>
              <a:ext uri="{FF2B5EF4-FFF2-40B4-BE49-F238E27FC236}">
                <a16:creationId xmlns:a16="http://schemas.microsoft.com/office/drawing/2014/main" id="{24F266AD-725B-4A9D-B448-4C000F95C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Title 7">
            <a:extLst>
              <a:ext uri="{FF2B5EF4-FFF2-40B4-BE49-F238E27FC236}">
                <a16:creationId xmlns:a16="http://schemas.microsoft.com/office/drawing/2014/main" id="{16DCD455-4A7A-4C98-A349-5710DD598E3D}"/>
              </a:ext>
            </a:extLst>
          </p:cNvPr>
          <p:cNvSpPr>
            <a:spLocks noGrp="1"/>
          </p:cNvSpPr>
          <p:nvPr>
            <p:ph type="title"/>
          </p:nvPr>
        </p:nvSpPr>
        <p:spPr>
          <a:xfrm>
            <a:off x="804997" y="403656"/>
            <a:ext cx="5290850" cy="1154774"/>
          </a:xfrm>
        </p:spPr>
        <p:txBody>
          <a:bodyPr/>
          <a:lstStyle/>
          <a:p>
            <a:r>
              <a:rPr lang="en-US" dirty="0">
                <a:solidFill>
                  <a:srgbClr val="C00000"/>
                </a:solidFill>
              </a:rPr>
              <a:t>Our Learnings</a:t>
            </a:r>
            <a:br>
              <a:rPr lang="en-US" dirty="0">
                <a:solidFill>
                  <a:srgbClr val="C00000"/>
                </a:solidFill>
              </a:rPr>
            </a:br>
            <a:br>
              <a:rPr lang="en-US" sz="1000" dirty="0">
                <a:solidFill>
                  <a:srgbClr val="C00000"/>
                </a:solidFill>
              </a:rPr>
            </a:br>
            <a:r>
              <a:rPr lang="en-US" sz="2400" dirty="0">
                <a:solidFill>
                  <a:srgbClr val="C00000"/>
                </a:solidFill>
              </a:rPr>
              <a:t>Our response to FDV re: COVID-19</a:t>
            </a:r>
            <a:endParaRPr lang="en-AU" dirty="0"/>
          </a:p>
        </p:txBody>
      </p:sp>
      <p:sp>
        <p:nvSpPr>
          <p:cNvPr id="12" name="TextBox 11">
            <a:extLst>
              <a:ext uri="{FF2B5EF4-FFF2-40B4-BE49-F238E27FC236}">
                <a16:creationId xmlns:a16="http://schemas.microsoft.com/office/drawing/2014/main" id="{415D4310-0764-4F0C-8971-270B2F3EC808}"/>
              </a:ext>
            </a:extLst>
          </p:cNvPr>
          <p:cNvSpPr txBox="1"/>
          <p:nvPr/>
        </p:nvSpPr>
        <p:spPr>
          <a:xfrm>
            <a:off x="703010" y="2067637"/>
            <a:ext cx="5167619" cy="3693319"/>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endPar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rt with </a:t>
            </a: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fety as a value </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 whatever you do.</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ving a </a:t>
            </a: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licy </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s important.</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sure </a:t>
            </a: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gular check-ins </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 scheduled – video / face time.</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nicate </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tions &amp; support available with your leaders and employees – make sure they know </a:t>
            </a: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ere and how to access help</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ve </a:t>
            </a:r>
            <a:r>
              <a:rPr kumimoji="0" lang="en-AU"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ck-up plans</a:t>
            </a:r>
            <a:r>
              <a:rPr kumimoji="0" lang="en-AU"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e don’t know what other changes are com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E969B805-F9B1-4CA5-8CE1-2D8F7480DCE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6627" y="6223000"/>
            <a:ext cx="1136740" cy="522086"/>
          </a:xfrm>
          <a:prstGeom prst="rect">
            <a:avLst/>
          </a:prstGeom>
        </p:spPr>
      </p:pic>
      <p:cxnSp>
        <p:nvCxnSpPr>
          <p:cNvPr id="20" name="Straight Connector 19">
            <a:extLst>
              <a:ext uri="{FF2B5EF4-FFF2-40B4-BE49-F238E27FC236}">
                <a16:creationId xmlns:a16="http://schemas.microsoft.com/office/drawing/2014/main" id="{5196B7AF-DAB9-4FE0-83BC-28A0CEDED898}"/>
              </a:ext>
            </a:extLst>
          </p:cNvPr>
          <p:cNvCxnSpPr>
            <a:cxnSpLocks/>
          </p:cNvCxnSpPr>
          <p:nvPr/>
        </p:nvCxnSpPr>
        <p:spPr>
          <a:xfrm>
            <a:off x="804997" y="2020473"/>
            <a:ext cx="4706803"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6441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8B4E36-87DE-4F16-8947-C08EBCA6E5EC}"/>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24A8C7-D029-401D-A8B1-18FF118BE1BB}"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5" name="Content Placeholder 4">
            <a:extLst>
              <a:ext uri="{FF2B5EF4-FFF2-40B4-BE49-F238E27FC236}">
                <a16:creationId xmlns:a16="http://schemas.microsoft.com/office/drawing/2014/main" id="{DA4D84CB-26F9-4952-A82C-30FB03DA8D52}"/>
              </a:ext>
            </a:extLst>
          </p:cNvPr>
          <p:cNvPicPr>
            <a:picLocks noGrp="1" noChangeAspect="1"/>
          </p:cNvPicPr>
          <p:nvPr>
            <p:ph sz="quarter" idx="16"/>
          </p:nvPr>
        </p:nvPicPr>
        <p:blipFill rotWithShape="1">
          <a:blip r:embed="rId2"/>
          <a:srcRect l="26766" t="11751" r="39705" b="178"/>
          <a:stretch/>
        </p:blipFill>
        <p:spPr>
          <a:xfrm>
            <a:off x="1560355" y="401652"/>
            <a:ext cx="4005828" cy="5699628"/>
          </a:xfrm>
          <a:prstGeom prst="rect">
            <a:avLst/>
          </a:prstGeom>
        </p:spPr>
      </p:pic>
      <p:pic>
        <p:nvPicPr>
          <p:cNvPr id="6" name="Picture 5">
            <a:extLst>
              <a:ext uri="{FF2B5EF4-FFF2-40B4-BE49-F238E27FC236}">
                <a16:creationId xmlns:a16="http://schemas.microsoft.com/office/drawing/2014/main" id="{A8AA38C3-7EE7-4EA1-BA16-A7857447FA45}"/>
              </a:ext>
            </a:extLst>
          </p:cNvPr>
          <p:cNvPicPr>
            <a:picLocks noChangeAspect="1"/>
          </p:cNvPicPr>
          <p:nvPr/>
        </p:nvPicPr>
        <p:blipFill rotWithShape="1">
          <a:blip r:embed="rId3"/>
          <a:srcRect l="26834" t="12685" r="39795" b="1137"/>
          <a:stretch/>
        </p:blipFill>
        <p:spPr>
          <a:xfrm>
            <a:off x="6249798" y="461394"/>
            <a:ext cx="4068660" cy="5691104"/>
          </a:xfrm>
          <a:prstGeom prst="rect">
            <a:avLst/>
          </a:prstGeom>
        </p:spPr>
      </p:pic>
    </p:spTree>
    <p:extLst>
      <p:ext uri="{BB962C8B-B14F-4D97-AF65-F5344CB8AC3E}">
        <p14:creationId xmlns:p14="http://schemas.microsoft.com/office/powerpoint/2010/main" val="232114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a:solidFill>
            <a:schemeClr val="bg2">
              <a:lumMod val="50000"/>
            </a:schemeClr>
          </a:solidFill>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grp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grp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grp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grp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solidFill>
              <a:srgbClr val="FF75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Questions, Comments or Feedback</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solidFill>
              <a:srgbClr val="FF75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30" name="Picture 2" descr="Image result for questions">
            <a:extLst>
              <a:ext uri="{FF2B5EF4-FFF2-40B4-BE49-F238E27FC236}">
                <a16:creationId xmlns:a16="http://schemas.microsoft.com/office/drawing/2014/main" id="{E887A898-07FC-4E66-AC26-2A044707B2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9546" y="1324021"/>
            <a:ext cx="6440989" cy="4830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92141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74603C5-1703-432D-99A9-D2A0E4448C6A}"/>
              </a:ext>
            </a:extLst>
          </p:cNvPr>
          <p:cNvGrpSpPr/>
          <p:nvPr/>
        </p:nvGrpSpPr>
        <p:grpSpPr>
          <a:xfrm>
            <a:off x="0" y="6592462"/>
            <a:ext cx="12191998" cy="265538"/>
            <a:chOff x="0" y="4362798"/>
            <a:chExt cx="12191998" cy="265538"/>
          </a:xfrm>
          <a:solidFill>
            <a:schemeClr val="bg2">
              <a:lumMod val="50000"/>
            </a:schemeClr>
          </a:solidFill>
        </p:grpSpPr>
        <p:grpSp>
          <p:nvGrpSpPr>
            <p:cNvPr id="16" name="Group 15">
              <a:extLst>
                <a:ext uri="{FF2B5EF4-FFF2-40B4-BE49-F238E27FC236}">
                  <a16:creationId xmlns:a16="http://schemas.microsoft.com/office/drawing/2014/main" id="{134A76DB-8FA0-48EE-9BAE-B7E762A82F1E}"/>
                </a:ext>
              </a:extLst>
            </p:cNvPr>
            <p:cNvGrpSpPr/>
            <p:nvPr/>
          </p:nvGrpSpPr>
          <p:grpSpPr>
            <a:xfrm>
              <a:off x="6096000" y="4362798"/>
              <a:ext cx="3047999" cy="264377"/>
              <a:chOff x="468272" y="3745"/>
              <a:chExt cx="2171923" cy="1303153"/>
            </a:xfrm>
            <a:grpFill/>
          </p:grpSpPr>
          <p:sp>
            <p:nvSpPr>
              <p:cNvPr id="26" name="Rectangle 25">
                <a:extLst>
                  <a:ext uri="{FF2B5EF4-FFF2-40B4-BE49-F238E27FC236}">
                    <a16:creationId xmlns:a16="http://schemas.microsoft.com/office/drawing/2014/main" id="{9CFE4939-364C-4D98-A691-32446779D04A}"/>
                  </a:ext>
                </a:extLst>
              </p:cNvPr>
              <p:cNvSpPr/>
              <p:nvPr/>
            </p:nvSpPr>
            <p:spPr>
              <a:xfrm>
                <a:off x="468272"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6A7E252C-E1F7-41C2-8E65-1EF3E59C695F}"/>
                  </a:ext>
                </a:extLst>
              </p:cNvPr>
              <p:cNvSpPr txBox="1"/>
              <p:nvPr/>
            </p:nvSpPr>
            <p:spPr>
              <a:xfrm>
                <a:off x="468272"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7" name="Group 16">
              <a:extLst>
                <a:ext uri="{FF2B5EF4-FFF2-40B4-BE49-F238E27FC236}">
                  <a16:creationId xmlns:a16="http://schemas.microsoft.com/office/drawing/2014/main" id="{16987E54-756A-4AFF-9428-98B8B39EDC69}"/>
                </a:ext>
              </a:extLst>
            </p:cNvPr>
            <p:cNvGrpSpPr/>
            <p:nvPr/>
          </p:nvGrpSpPr>
          <p:grpSpPr>
            <a:xfrm>
              <a:off x="0" y="4362798"/>
              <a:ext cx="3047999" cy="264377"/>
              <a:chOff x="2857388" y="3745"/>
              <a:chExt cx="2171923" cy="1303153"/>
            </a:xfrm>
            <a:grpFill/>
          </p:grpSpPr>
          <p:sp>
            <p:nvSpPr>
              <p:cNvPr id="24" name="Rectangle 23">
                <a:extLst>
                  <a:ext uri="{FF2B5EF4-FFF2-40B4-BE49-F238E27FC236}">
                    <a16:creationId xmlns:a16="http://schemas.microsoft.com/office/drawing/2014/main" id="{33C2D6C8-AD8E-4BE4-8E2F-FFA21F1116B8}"/>
                  </a:ext>
                </a:extLst>
              </p:cNvPr>
              <p:cNvSpPr/>
              <p:nvPr/>
            </p:nvSpPr>
            <p:spPr>
              <a:xfrm>
                <a:off x="2857388"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A60D6EAE-F9DB-4E8B-B592-EB7B98B505B7}"/>
                  </a:ext>
                </a:extLst>
              </p:cNvPr>
              <p:cNvSpPr txBox="1"/>
              <p:nvPr/>
            </p:nvSpPr>
            <p:spPr>
              <a:xfrm>
                <a:off x="2857388"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8" name="Group 17">
              <a:extLst>
                <a:ext uri="{FF2B5EF4-FFF2-40B4-BE49-F238E27FC236}">
                  <a16:creationId xmlns:a16="http://schemas.microsoft.com/office/drawing/2014/main" id="{1264C501-73F4-4943-9721-61082A46B6E3}"/>
                </a:ext>
              </a:extLst>
            </p:cNvPr>
            <p:cNvGrpSpPr/>
            <p:nvPr/>
          </p:nvGrpSpPr>
          <p:grpSpPr>
            <a:xfrm>
              <a:off x="9143999" y="4363959"/>
              <a:ext cx="3047999" cy="264377"/>
              <a:chOff x="5246503" y="3745"/>
              <a:chExt cx="2171923" cy="1303153"/>
            </a:xfrm>
            <a:grpFill/>
          </p:grpSpPr>
          <p:sp>
            <p:nvSpPr>
              <p:cNvPr id="22" name="Rectangle 21">
                <a:extLst>
                  <a:ext uri="{FF2B5EF4-FFF2-40B4-BE49-F238E27FC236}">
                    <a16:creationId xmlns:a16="http://schemas.microsoft.com/office/drawing/2014/main" id="{2F91D40C-DA49-4A5D-90FF-A29E6A0B4421}"/>
                  </a:ext>
                </a:extLst>
              </p:cNvPr>
              <p:cNvSpPr/>
              <p:nvPr/>
            </p:nvSpPr>
            <p:spPr>
              <a:xfrm>
                <a:off x="5246503"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3" name="TextBox 22">
                <a:extLst>
                  <a:ext uri="{FF2B5EF4-FFF2-40B4-BE49-F238E27FC236}">
                    <a16:creationId xmlns:a16="http://schemas.microsoft.com/office/drawing/2014/main" id="{9540E708-00A6-42A4-9105-61614DA810BD}"/>
                  </a:ext>
                </a:extLst>
              </p:cNvPr>
              <p:cNvSpPr txBox="1"/>
              <p:nvPr/>
            </p:nvSpPr>
            <p:spPr>
              <a:xfrm>
                <a:off x="5246503"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nvGrpSpPr>
            <p:cNvPr id="19" name="Group 18">
              <a:extLst>
                <a:ext uri="{FF2B5EF4-FFF2-40B4-BE49-F238E27FC236}">
                  <a16:creationId xmlns:a16="http://schemas.microsoft.com/office/drawing/2014/main" id="{C72E0DCB-55B4-4768-9731-0E37CB156886}"/>
                </a:ext>
              </a:extLst>
            </p:cNvPr>
            <p:cNvGrpSpPr/>
            <p:nvPr/>
          </p:nvGrpSpPr>
          <p:grpSpPr>
            <a:xfrm>
              <a:off x="3047999" y="4362798"/>
              <a:ext cx="3047999" cy="264377"/>
              <a:chOff x="2857388" y="3745"/>
              <a:chExt cx="2171923" cy="1303153"/>
            </a:xfrm>
            <a:grpFill/>
          </p:grpSpPr>
          <p:sp>
            <p:nvSpPr>
              <p:cNvPr id="20" name="Rectangle 19">
                <a:extLst>
                  <a:ext uri="{FF2B5EF4-FFF2-40B4-BE49-F238E27FC236}">
                    <a16:creationId xmlns:a16="http://schemas.microsoft.com/office/drawing/2014/main" id="{B10DE44E-E29E-4F15-95A3-19EC9804FAB8}"/>
                  </a:ext>
                </a:extLst>
              </p:cNvPr>
              <p:cNvSpPr/>
              <p:nvPr/>
            </p:nvSpPr>
            <p:spPr>
              <a:xfrm>
                <a:off x="2857388" y="3745"/>
                <a:ext cx="2171923" cy="1303153"/>
              </a:xfrm>
              <a:prstGeom prst="rect">
                <a:avLst/>
              </a:prstGeom>
              <a:grpFill/>
              <a:ln>
                <a:solidFill>
                  <a:srgbClr val="BEB9A6"/>
                </a:solid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422EBC46-744A-4209-B1C9-EEE6FD5168A6}"/>
                  </a:ext>
                </a:extLst>
              </p:cNvPr>
              <p:cNvSpPr txBox="1"/>
              <p:nvPr/>
            </p:nvSpPr>
            <p:spPr>
              <a:xfrm>
                <a:off x="2857388" y="3745"/>
                <a:ext cx="2171923" cy="1303153"/>
              </a:xfrm>
              <a:prstGeom prst="rect">
                <a:avLst/>
              </a:prstGeom>
              <a:grpFill/>
              <a:ln>
                <a:solidFill>
                  <a:srgbClr val="BEB9A6"/>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marL="0" marR="0" lvl="0" indent="0" algn="ctr" defTabSz="977852" rtl="0" eaLnBrk="1" fontAlgn="auto" latinLnBrk="0" hangingPunct="1">
                  <a:lnSpc>
                    <a:spcPct val="90000"/>
                  </a:lnSpc>
                  <a:spcBef>
                    <a:spcPct val="0"/>
                  </a:spcBef>
                  <a:spcAft>
                    <a:spcPct val="35000"/>
                  </a:spcAft>
                  <a:buClrTx/>
                  <a:buSzTx/>
                  <a:buFontTx/>
                  <a:buNone/>
                  <a:tabLst/>
                  <a:defRPr/>
                </a:pPr>
                <a:endParaRPr kumimoji="0" lang="en-US" sz="22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p:txBody>
          </p:sp>
        </p:grpSp>
      </p:grpSp>
      <p:grpSp>
        <p:nvGrpSpPr>
          <p:cNvPr id="33" name="Group 32">
            <a:extLst>
              <a:ext uri="{FF2B5EF4-FFF2-40B4-BE49-F238E27FC236}">
                <a16:creationId xmlns:a16="http://schemas.microsoft.com/office/drawing/2014/main" id="{672FF704-3802-4FE4-81D9-84F645EA039A}"/>
              </a:ext>
            </a:extLst>
          </p:cNvPr>
          <p:cNvGrpSpPr/>
          <p:nvPr/>
        </p:nvGrpSpPr>
        <p:grpSpPr>
          <a:xfrm>
            <a:off x="0" y="-50334"/>
            <a:ext cx="12191998" cy="1199625"/>
            <a:chOff x="0" y="-50334"/>
            <a:chExt cx="12191998" cy="1199625"/>
          </a:xfrm>
        </p:grpSpPr>
        <p:sp>
          <p:nvSpPr>
            <p:cNvPr id="29" name="Flowchart: Process 28">
              <a:extLst>
                <a:ext uri="{FF2B5EF4-FFF2-40B4-BE49-F238E27FC236}">
                  <a16:creationId xmlns:a16="http://schemas.microsoft.com/office/drawing/2014/main" id="{D50DC278-FA10-4975-8F0D-CF5196790D5E}"/>
                </a:ext>
              </a:extLst>
            </p:cNvPr>
            <p:cNvSpPr/>
            <p:nvPr/>
          </p:nvSpPr>
          <p:spPr>
            <a:xfrm>
              <a:off x="0" y="-50334"/>
              <a:ext cx="12191998" cy="906011"/>
            </a:xfrm>
            <a:prstGeom prst="flowChartProcess">
              <a:avLst/>
            </a:prstGeom>
            <a:solidFill>
              <a:srgbClr val="FF75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36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ome Key Takeaways</a:t>
              </a:r>
            </a:p>
          </p:txBody>
        </p:sp>
        <p:sp>
          <p:nvSpPr>
            <p:cNvPr id="32" name="Isosceles Triangle 31">
              <a:extLst>
                <a:ext uri="{FF2B5EF4-FFF2-40B4-BE49-F238E27FC236}">
                  <a16:creationId xmlns:a16="http://schemas.microsoft.com/office/drawing/2014/main" id="{F11406E4-0F88-4551-B86C-352C507B5DEE}"/>
                </a:ext>
              </a:extLst>
            </p:cNvPr>
            <p:cNvSpPr/>
            <p:nvPr/>
          </p:nvSpPr>
          <p:spPr>
            <a:xfrm rot="10800000">
              <a:off x="1812022" y="843912"/>
              <a:ext cx="815786" cy="305379"/>
            </a:xfrm>
            <a:prstGeom prst="triangle">
              <a:avLst/>
            </a:prstGeom>
            <a:solidFill>
              <a:srgbClr val="FF75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sp>
        <p:nvSpPr>
          <p:cNvPr id="28" name="Content Placeholder 2">
            <a:extLst>
              <a:ext uri="{FF2B5EF4-FFF2-40B4-BE49-F238E27FC236}">
                <a16:creationId xmlns:a16="http://schemas.microsoft.com/office/drawing/2014/main" id="{6526AFEB-7ED9-4E2B-83FD-3162D4487782}"/>
              </a:ext>
            </a:extLst>
          </p:cNvPr>
          <p:cNvSpPr txBox="1">
            <a:spLocks/>
          </p:cNvSpPr>
          <p:nvPr/>
        </p:nvSpPr>
        <p:spPr>
          <a:xfrm>
            <a:off x="451318" y="1628800"/>
            <a:ext cx="11477446" cy="4525963"/>
          </a:xfrm>
          <a:prstGeom prst="rect">
            <a:avLst/>
          </a:prstGeom>
        </p:spPr>
        <p:txBody>
          <a:bodyPr>
            <a:normAutofit/>
          </a:bodyPr>
          <a:lstStyle>
            <a:lvl1pPr marL="342891" indent="-342891" algn="l" defTabSz="457189"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32" indent="-285744" algn="l" defTabSz="457189"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2971" indent="-228594" algn="l" defTabSz="457189"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16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349"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39994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79993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19992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599910" indent="-228594" algn="l" defTabSz="457189"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342891" marR="0" lvl="0" indent="-342891" algn="l" defTabSz="457189" rtl="0" eaLnBrk="1" fontAlgn="auto" latinLnBrk="0" hangingPunct="1">
              <a:lnSpc>
                <a:spcPct val="100000"/>
              </a:lnSpc>
              <a:spcBef>
                <a:spcPct val="20000"/>
              </a:spcBef>
              <a:spcAft>
                <a:spcPts val="600"/>
              </a:spcAft>
              <a:buClr>
                <a:srgbClr val="662D91"/>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2E3192"/>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1A768AE2-7AEF-C34C-A905-EFB62E44E5DF}"/>
              </a:ext>
            </a:extLst>
          </p:cNvPr>
          <p:cNvSpPr txBox="1"/>
          <p:nvPr/>
        </p:nvSpPr>
        <p:spPr>
          <a:xfrm>
            <a:off x="451318" y="1074831"/>
            <a:ext cx="11161561" cy="5262979"/>
          </a:xfrm>
          <a:prstGeom prst="rect">
            <a:avLst/>
          </a:prstGeom>
          <a:noFill/>
        </p:spPr>
        <p:txBody>
          <a:bodyPr wrap="square" rtlCol="0">
            <a:spAutoFit/>
          </a:bodyPr>
          <a:lstStyle/>
          <a:p>
            <a:pPr marL="285750" indent="-285750">
              <a:buFont typeface="Arial" panose="020B0604020202020204" pitchFamily="34" charset="0"/>
              <a:buChar char="•"/>
            </a:pPr>
            <a:r>
              <a:rPr lang="en-US" sz="2400" dirty="0" err="1">
                <a:solidFill>
                  <a:schemeClr val="tx2">
                    <a:lumMod val="50000"/>
                  </a:schemeClr>
                </a:solidFill>
              </a:rPr>
              <a:t>Recognise</a:t>
            </a:r>
            <a:r>
              <a:rPr lang="en-US" sz="2400" dirty="0">
                <a:solidFill>
                  <a:schemeClr val="tx2">
                    <a:lumMod val="50000"/>
                  </a:schemeClr>
                </a:solidFill>
              </a:rPr>
              <a:t>, Respond and Refer</a:t>
            </a:r>
          </a:p>
          <a:p>
            <a:pPr marL="285750" indent="-285750">
              <a:buFont typeface="Arial" panose="020B0604020202020204" pitchFamily="34" charset="0"/>
              <a:buChar char="•"/>
            </a:pPr>
            <a:endParaRPr lang="en-US" sz="2400" dirty="0">
              <a:solidFill>
                <a:schemeClr val="tx2">
                  <a:lumMod val="50000"/>
                </a:schemeClr>
              </a:solidFill>
            </a:endParaRPr>
          </a:p>
          <a:p>
            <a:pPr marL="285750" indent="-285750">
              <a:buFont typeface="Arial" panose="020B0604020202020204" pitchFamily="34" charset="0"/>
              <a:buChar char="•"/>
            </a:pPr>
            <a:r>
              <a:rPr lang="en-US" sz="2400" dirty="0">
                <a:solidFill>
                  <a:schemeClr val="tx2">
                    <a:lumMod val="50000"/>
                  </a:schemeClr>
                </a:solidFill>
              </a:rPr>
              <a:t>Use video tools as much as possible to stay connected with people at this time.</a:t>
            </a:r>
          </a:p>
          <a:p>
            <a:pPr marL="285750" indent="-285750">
              <a:buFont typeface="Arial" panose="020B0604020202020204" pitchFamily="34" charset="0"/>
              <a:buChar char="•"/>
            </a:pPr>
            <a:endParaRPr lang="en-US" sz="2400" dirty="0">
              <a:solidFill>
                <a:schemeClr val="tx2">
                  <a:lumMod val="50000"/>
                </a:schemeClr>
              </a:solidFill>
            </a:endParaRPr>
          </a:p>
          <a:p>
            <a:pPr marL="285750" indent="-285750">
              <a:buFont typeface="Arial" panose="020B0604020202020204" pitchFamily="34" charset="0"/>
              <a:buChar char="•"/>
            </a:pPr>
            <a:r>
              <a:rPr lang="en-US" sz="2400" dirty="0">
                <a:solidFill>
                  <a:schemeClr val="tx2">
                    <a:lumMod val="50000"/>
                  </a:schemeClr>
                </a:solidFill>
              </a:rPr>
              <a:t>Find ways to stay connected with your team members one on one</a:t>
            </a:r>
          </a:p>
          <a:p>
            <a:pPr marL="285750" indent="-285750">
              <a:buFont typeface="Arial" panose="020B0604020202020204" pitchFamily="34" charset="0"/>
              <a:buChar char="•"/>
            </a:pPr>
            <a:endParaRPr lang="en-US" sz="2400" dirty="0">
              <a:solidFill>
                <a:schemeClr val="tx2">
                  <a:lumMod val="50000"/>
                </a:schemeClr>
              </a:solidFill>
            </a:endParaRPr>
          </a:p>
          <a:p>
            <a:pPr marL="285750" indent="-285750">
              <a:buFont typeface="Arial" panose="020B0604020202020204" pitchFamily="34" charset="0"/>
              <a:buChar char="•"/>
            </a:pPr>
            <a:r>
              <a:rPr lang="en-US" sz="2400" dirty="0">
                <a:solidFill>
                  <a:schemeClr val="tx2">
                    <a:lumMod val="50000"/>
                  </a:schemeClr>
                </a:solidFill>
              </a:rPr>
              <a:t>Ensure you have the support agencies details close at hand – provide these to your people</a:t>
            </a:r>
          </a:p>
          <a:p>
            <a:pPr marL="285750" indent="-285750">
              <a:buFont typeface="Arial" panose="020B0604020202020204" pitchFamily="34" charset="0"/>
              <a:buChar char="•"/>
            </a:pPr>
            <a:endParaRPr lang="en-US" sz="2400" dirty="0">
              <a:solidFill>
                <a:schemeClr val="tx2">
                  <a:lumMod val="50000"/>
                </a:schemeClr>
              </a:solidFill>
            </a:endParaRPr>
          </a:p>
          <a:p>
            <a:pPr marL="285750" indent="-285750">
              <a:buFont typeface="Arial" panose="020B0604020202020204" pitchFamily="34" charset="0"/>
              <a:buChar char="•"/>
            </a:pPr>
            <a:r>
              <a:rPr lang="en-US" sz="2400" dirty="0">
                <a:solidFill>
                  <a:schemeClr val="tx2">
                    <a:lumMod val="50000"/>
                  </a:schemeClr>
                </a:solidFill>
              </a:rPr>
              <a:t>Have a plan for people you are already aware are at risk – take a person centric approach – every case is different </a:t>
            </a:r>
          </a:p>
          <a:p>
            <a:endParaRPr lang="en-US" sz="2400" dirty="0">
              <a:solidFill>
                <a:schemeClr val="tx2">
                  <a:lumMod val="50000"/>
                </a:schemeClr>
              </a:solidFill>
            </a:endParaRPr>
          </a:p>
          <a:p>
            <a:pPr marL="285750" indent="-285750">
              <a:buFont typeface="Arial" panose="020B0604020202020204" pitchFamily="34" charset="0"/>
              <a:buChar char="•"/>
            </a:pPr>
            <a:r>
              <a:rPr lang="en-US" sz="2400" dirty="0">
                <a:solidFill>
                  <a:schemeClr val="tx2">
                    <a:lumMod val="50000"/>
                  </a:schemeClr>
                </a:solidFill>
              </a:rPr>
              <a:t>Don’t try to advise or fix things.</a:t>
            </a:r>
          </a:p>
        </p:txBody>
      </p:sp>
    </p:spTree>
    <p:extLst>
      <p:ext uri="{BB962C8B-B14F-4D97-AF65-F5344CB8AC3E}">
        <p14:creationId xmlns:p14="http://schemas.microsoft.com/office/powerpoint/2010/main" val="2869797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5E3DCC-E985-EE47-BAB1-D76061D0FF7E}"/>
              </a:ext>
            </a:extLst>
          </p:cNvPr>
          <p:cNvSpPr/>
          <p:nvPr/>
        </p:nvSpPr>
        <p:spPr>
          <a:xfrm>
            <a:off x="722470" y="4648199"/>
            <a:ext cx="3360022" cy="1569660"/>
          </a:xfrm>
          <a:prstGeom prst="rect">
            <a:avLst/>
          </a:prstGeom>
        </p:spPr>
        <p:txBody>
          <a:bodyPr wrap="none">
            <a:spAutoFit/>
          </a:bodyPr>
          <a:lstStyle/>
          <a:p>
            <a:r>
              <a:rPr lang="en-US" sz="3200" b="1" kern="1000" dirty="0">
                <a:solidFill>
                  <a:schemeClr val="tx2"/>
                </a:solidFill>
                <a:latin typeface="+mj-lt"/>
              </a:rPr>
              <a:t>NAWO MEMBERS </a:t>
            </a:r>
          </a:p>
          <a:p>
            <a:r>
              <a:rPr lang="en-US" sz="3200" b="1" kern="1000" dirty="0">
                <a:solidFill>
                  <a:schemeClr val="tx2"/>
                </a:solidFill>
                <a:latin typeface="+mj-lt"/>
              </a:rPr>
              <a:t>ARE IN GOOD </a:t>
            </a:r>
          </a:p>
          <a:p>
            <a:r>
              <a:rPr lang="en-US" sz="3200" b="1" kern="1000" dirty="0">
                <a:solidFill>
                  <a:schemeClr val="tx2"/>
                </a:solidFill>
                <a:latin typeface="+mj-lt"/>
              </a:rPr>
              <a:t>COMPANY</a:t>
            </a:r>
            <a:endParaRPr lang="en-US" sz="3200" b="1" kern="1000" dirty="0">
              <a:latin typeface="+mj-lt"/>
            </a:endParaRPr>
          </a:p>
        </p:txBody>
      </p:sp>
      <p:sp>
        <p:nvSpPr>
          <p:cNvPr id="6" name="Rectangle 5">
            <a:extLst>
              <a:ext uri="{FF2B5EF4-FFF2-40B4-BE49-F238E27FC236}">
                <a16:creationId xmlns:a16="http://schemas.microsoft.com/office/drawing/2014/main" id="{8777604E-7F12-8C47-959A-001D5283D298}"/>
              </a:ext>
            </a:extLst>
          </p:cNvPr>
          <p:cNvSpPr/>
          <p:nvPr/>
        </p:nvSpPr>
        <p:spPr>
          <a:xfrm>
            <a:off x="5173285" y="4925198"/>
            <a:ext cx="6096000" cy="1015663"/>
          </a:xfrm>
          <a:prstGeom prst="rect">
            <a:avLst/>
          </a:prstGeom>
        </p:spPr>
        <p:txBody>
          <a:bodyPr>
            <a:spAutoFit/>
          </a:bodyPr>
          <a:lstStyle/>
          <a:p>
            <a:r>
              <a:rPr lang="en-US" sz="2000" dirty="0">
                <a:latin typeface="Franklin Gothic Book" panose="020B0503020102020204" pitchFamily="34" charset="0"/>
              </a:rPr>
              <a:t>50+ like–minded corporate members and 7000+ people engaged in purposeful action to strengthen the female talent pipeline.</a:t>
            </a:r>
          </a:p>
        </p:txBody>
      </p:sp>
      <p:pic>
        <p:nvPicPr>
          <p:cNvPr id="3" name="Picture 2">
            <a:extLst>
              <a:ext uri="{FF2B5EF4-FFF2-40B4-BE49-F238E27FC236}">
                <a16:creationId xmlns:a16="http://schemas.microsoft.com/office/drawing/2014/main" id="{3EE557CB-54F0-8545-9E42-86AC6A2F7CE9}"/>
              </a:ext>
            </a:extLst>
          </p:cNvPr>
          <p:cNvPicPr>
            <a:picLocks noChangeAspect="1"/>
          </p:cNvPicPr>
          <p:nvPr/>
        </p:nvPicPr>
        <p:blipFill>
          <a:blip r:embed="rId3"/>
          <a:stretch>
            <a:fillRect/>
          </a:stretch>
        </p:blipFill>
        <p:spPr>
          <a:xfrm>
            <a:off x="722470" y="569258"/>
            <a:ext cx="10375837" cy="3646737"/>
          </a:xfrm>
          <a:prstGeom prst="rect">
            <a:avLst/>
          </a:prstGeom>
        </p:spPr>
      </p:pic>
    </p:spTree>
    <p:extLst>
      <p:ext uri="{BB962C8B-B14F-4D97-AF65-F5344CB8AC3E}">
        <p14:creationId xmlns:p14="http://schemas.microsoft.com/office/powerpoint/2010/main" val="6203397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92799-3156-CF47-9777-6B8C4B9F44F9}"/>
              </a:ext>
            </a:extLst>
          </p:cNvPr>
          <p:cNvSpPr>
            <a:spLocks noGrp="1"/>
          </p:cNvSpPr>
          <p:nvPr>
            <p:ph type="title"/>
          </p:nvPr>
        </p:nvSpPr>
        <p:spPr>
          <a:xfrm>
            <a:off x="838200" y="365125"/>
            <a:ext cx="6254496" cy="1828800"/>
          </a:xfrm>
        </p:spPr>
        <p:txBody>
          <a:bodyPr vert="horz" lIns="91440" tIns="45720" rIns="91440" bIns="45720" rtlCol="0" anchor="ctr">
            <a:normAutofit/>
          </a:bodyPr>
          <a:lstStyle/>
          <a:p>
            <a:r>
              <a:rPr lang="en-US" sz="4400" dirty="0">
                <a:ea typeface="+mj-ea"/>
                <a:cs typeface="+mj-cs"/>
              </a:rPr>
              <a:t>SEND US YOUR FEEDBACK</a:t>
            </a:r>
          </a:p>
        </p:txBody>
      </p:sp>
      <p:sp>
        <p:nvSpPr>
          <p:cNvPr id="4" name="Text Placeholder 3">
            <a:extLst>
              <a:ext uri="{FF2B5EF4-FFF2-40B4-BE49-F238E27FC236}">
                <a16:creationId xmlns:a16="http://schemas.microsoft.com/office/drawing/2014/main" id="{93DA2C3A-3679-0947-91DF-EE276A96D21F}"/>
              </a:ext>
            </a:extLst>
          </p:cNvPr>
          <p:cNvSpPr>
            <a:spLocks noGrp="1"/>
          </p:cNvSpPr>
          <p:nvPr>
            <p:ph type="body" sz="half" idx="2"/>
          </p:nvPr>
        </p:nvSpPr>
        <p:spPr>
          <a:xfrm>
            <a:off x="838200" y="2322576"/>
            <a:ext cx="6566452" cy="3858768"/>
          </a:xfrm>
        </p:spPr>
        <p:txBody>
          <a:bodyPr vert="horz" lIns="91440" tIns="45720" rIns="91440" bIns="45720" rtlCol="0" anchor="t">
            <a:normAutofit/>
          </a:bodyPr>
          <a:lstStyle/>
          <a:p>
            <a:r>
              <a:rPr lang="en-US" sz="1800" dirty="0">
                <a:solidFill>
                  <a:srgbClr val="FFFFFF"/>
                </a:solidFill>
                <a:latin typeface="Franklin Gothic Medium"/>
                <a:ea typeface="Tahoma"/>
                <a:cs typeface="Tahoma"/>
              </a:rPr>
              <a:t>Help us to continually improve our events!</a:t>
            </a:r>
          </a:p>
          <a:p>
            <a:endParaRPr lang="en-US" sz="1800" dirty="0">
              <a:solidFill>
                <a:srgbClr val="FFFFFF"/>
              </a:solidFill>
              <a:latin typeface="Franklin Gothic Medium" panose="020B0603020102020204" pitchFamily="34" charset="0"/>
            </a:endParaRPr>
          </a:p>
          <a:p>
            <a:pPr marL="342900" indent="-342900">
              <a:buFont typeface="Arial" charset="0"/>
              <a:buChar char="•"/>
            </a:pPr>
            <a:r>
              <a:rPr lang="en-US" sz="1800" dirty="0">
                <a:solidFill>
                  <a:srgbClr val="FFFFFF"/>
                </a:solidFill>
                <a:latin typeface="Franklin Gothic Medium"/>
                <a:ea typeface="Tahoma"/>
                <a:cs typeface="Tahoma"/>
              </a:rPr>
              <a:t>You will receive a text message or email from us with a survey link</a:t>
            </a:r>
          </a:p>
          <a:p>
            <a:pPr marL="342900" indent="-342900">
              <a:buFont typeface="Arial" charset="0"/>
              <a:buChar char="•"/>
            </a:pPr>
            <a:r>
              <a:rPr lang="en-US" sz="1800" dirty="0">
                <a:solidFill>
                  <a:srgbClr val="FFFFFF"/>
                </a:solidFill>
                <a:latin typeface="Franklin Gothic Medium" panose="020B0603020102020204" pitchFamily="34" charset="0"/>
              </a:rPr>
              <a:t>Please complete by clicking on the survey link </a:t>
            </a:r>
            <a:r>
              <a:rPr lang="en-US" sz="1800" b="1" dirty="0">
                <a:solidFill>
                  <a:srgbClr val="FFFFFF"/>
                </a:solidFill>
                <a:latin typeface="Franklin Gothic Medium" panose="020B0603020102020204" pitchFamily="34" charset="0"/>
              </a:rPr>
              <a:t>now</a:t>
            </a:r>
            <a:r>
              <a:rPr lang="en-US" sz="1800" dirty="0">
                <a:solidFill>
                  <a:srgbClr val="FFFFFF"/>
                </a:solidFill>
                <a:latin typeface="Franklin Gothic Medium" panose="020B0603020102020204" pitchFamily="34" charset="0"/>
              </a:rPr>
              <a:t>!</a:t>
            </a:r>
          </a:p>
          <a:p>
            <a:pPr marL="342900" indent="-342900">
              <a:buFont typeface="Arial" charset="0"/>
              <a:buChar char="•"/>
            </a:pPr>
            <a:r>
              <a:rPr lang="en-US" sz="1800" dirty="0">
                <a:solidFill>
                  <a:srgbClr val="FFFFFF"/>
                </a:solidFill>
                <a:latin typeface="Franklin Gothic Medium"/>
                <a:ea typeface="Tahoma"/>
                <a:cs typeface="Tahoma"/>
              </a:rPr>
              <a:t>Please check your junk mail if you have not received the link</a:t>
            </a:r>
          </a:p>
        </p:txBody>
      </p:sp>
      <p:pic>
        <p:nvPicPr>
          <p:cNvPr id="7" name="Picture 6">
            <a:extLst>
              <a:ext uri="{FF2B5EF4-FFF2-40B4-BE49-F238E27FC236}">
                <a16:creationId xmlns:a16="http://schemas.microsoft.com/office/drawing/2014/main" id="{27890020-9A97-5344-8460-53C4C198928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52266" y="10"/>
            <a:ext cx="4639733" cy="6857990"/>
          </a:xfrm>
          <a:prstGeom prst="rect">
            <a:avLst/>
          </a:prstGeom>
        </p:spPr>
      </p:pic>
    </p:spTree>
    <p:extLst>
      <p:ext uri="{BB962C8B-B14F-4D97-AF65-F5344CB8AC3E}">
        <p14:creationId xmlns:p14="http://schemas.microsoft.com/office/powerpoint/2010/main" val="946492145"/>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6A420356-7094-4893-BC3A-E0932A72FF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F"/>
              </a:solidFill>
              <a:effectLst/>
              <a:uLnTx/>
              <a:uFillTx/>
              <a:latin typeface="Franklin Gothic Book" panose="020B0503020102020204"/>
              <a:ea typeface="+mn-ea"/>
              <a:cs typeface="+mn-cs"/>
            </a:endParaRPr>
          </a:p>
        </p:txBody>
      </p:sp>
      <p:sp>
        <p:nvSpPr>
          <p:cNvPr id="2" name="Title 1">
            <a:extLst>
              <a:ext uri="{FF2B5EF4-FFF2-40B4-BE49-F238E27FC236}">
                <a16:creationId xmlns:a16="http://schemas.microsoft.com/office/drawing/2014/main" id="{72EC85AE-F58C-3140-B449-9BF98536FF1E}"/>
              </a:ext>
            </a:extLst>
          </p:cNvPr>
          <p:cNvSpPr>
            <a:spLocks noGrp="1"/>
          </p:cNvSpPr>
          <p:nvPr>
            <p:ph type="title"/>
          </p:nvPr>
        </p:nvSpPr>
        <p:spPr>
          <a:xfrm>
            <a:off x="8475919" y="1144769"/>
            <a:ext cx="3340962" cy="2896432"/>
          </a:xfrm>
        </p:spPr>
        <p:txBody>
          <a:bodyPr vert="horz" lIns="91440" tIns="45720" rIns="91440" bIns="45720" rtlCol="0" anchor="b">
            <a:normAutofit/>
          </a:bodyPr>
          <a:lstStyle/>
          <a:p>
            <a:r>
              <a:rPr lang="en-US" kern="1200" dirty="0">
                <a:solidFill>
                  <a:schemeClr val="tx2"/>
                </a:solidFill>
                <a:latin typeface="+mj-lt"/>
                <a:ea typeface="+mj-ea"/>
                <a:cs typeface="+mj-cs"/>
              </a:rPr>
              <a:t>NAWO SUPPORTS WOMEN FROM ALL DISCIPLINES</a:t>
            </a:r>
          </a:p>
        </p:txBody>
      </p:sp>
      <p:sp>
        <p:nvSpPr>
          <p:cNvPr id="3" name="Content Placeholder 2">
            <a:extLst>
              <a:ext uri="{FF2B5EF4-FFF2-40B4-BE49-F238E27FC236}">
                <a16:creationId xmlns:a16="http://schemas.microsoft.com/office/drawing/2014/main" id="{F215266A-89F1-024A-9A3A-A05224B6C7A9}"/>
              </a:ext>
            </a:extLst>
          </p:cNvPr>
          <p:cNvSpPr>
            <a:spLocks noGrp="1"/>
          </p:cNvSpPr>
          <p:nvPr>
            <p:ph sz="half" idx="1"/>
          </p:nvPr>
        </p:nvSpPr>
        <p:spPr>
          <a:xfrm>
            <a:off x="8475917" y="4403176"/>
            <a:ext cx="3340963" cy="1987206"/>
          </a:xfrm>
        </p:spPr>
        <p:txBody>
          <a:bodyPr vert="horz" lIns="91440" tIns="45720" rIns="91440" bIns="45720" numCol="1" rtlCol="0">
            <a:normAutofit/>
          </a:bodyPr>
          <a:lstStyle/>
          <a:p>
            <a:pPr marL="0" indent="0">
              <a:buNone/>
            </a:pPr>
            <a:r>
              <a:rPr lang="en-US" sz="2100" kern="1200" dirty="0">
                <a:solidFill>
                  <a:schemeClr val="tx1"/>
                </a:solidFill>
                <a:latin typeface="+mn-lt"/>
                <a:ea typeface="+mn-ea"/>
                <a:cs typeface="+mn-cs"/>
              </a:rPr>
              <a:t>Operations Engineering IT Logistics Sourcing Finance Planning HR Marketing Sales Legal R&amp;D Quality</a:t>
            </a:r>
          </a:p>
        </p:txBody>
      </p:sp>
      <p:pic>
        <p:nvPicPr>
          <p:cNvPr id="12" name="Picture 11" descr="A person standing on a baseball field&#10;&#10;Description automatically generated">
            <a:extLst>
              <a:ext uri="{FF2B5EF4-FFF2-40B4-BE49-F238E27FC236}">
                <a16:creationId xmlns:a16="http://schemas.microsoft.com/office/drawing/2014/main" id="{11DCFFCD-628E-2A40-B7E7-9AD79FAD85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3310128"/>
            <a:ext cx="3547852" cy="3547872"/>
          </a:xfrm>
          <a:prstGeom prst="rect">
            <a:avLst/>
          </a:prstGeom>
        </p:spPr>
      </p:pic>
      <p:pic>
        <p:nvPicPr>
          <p:cNvPr id="14" name="Picture 13" descr="A person standing in front of a computer&#10;&#10;Description automatically generated">
            <a:extLst>
              <a:ext uri="{FF2B5EF4-FFF2-40B4-BE49-F238E27FC236}">
                <a16:creationId xmlns:a16="http://schemas.microsoft.com/office/drawing/2014/main" id="{07DB2A75-DDD1-A74E-93DE-BFC078EC1D5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65257" y="10"/>
            <a:ext cx="4329273" cy="4133078"/>
          </a:xfrm>
          <a:prstGeom prst="rect">
            <a:avLst/>
          </a:prstGeom>
        </p:spPr>
      </p:pic>
      <p:sp>
        <p:nvSpPr>
          <p:cNvPr id="38" name="Rectangle 37">
            <a:extLst>
              <a:ext uri="{FF2B5EF4-FFF2-40B4-BE49-F238E27FC236}">
                <a16:creationId xmlns:a16="http://schemas.microsoft.com/office/drawing/2014/main" id="{114A821F-8663-46BA-8CC0-D4C44F639F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804995"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67EF550F-47CE-4FB2-9DAC-12AD835C8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75918" y="4177748"/>
            <a:ext cx="332539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person sitting at a table using a computer&#10;&#10;Description automatically generated">
            <a:extLst>
              <a:ext uri="{FF2B5EF4-FFF2-40B4-BE49-F238E27FC236}">
                <a16:creationId xmlns:a16="http://schemas.microsoft.com/office/drawing/2014/main" id="{680A6D81-B17A-ED4F-9C4B-99E1F8DB2E08}"/>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3665254" y="4233672"/>
            <a:ext cx="4329274" cy="2624328"/>
          </a:xfrm>
          <a:prstGeom prst="rect">
            <a:avLst/>
          </a:prstGeom>
        </p:spPr>
      </p:pic>
      <p:pic>
        <p:nvPicPr>
          <p:cNvPr id="18" name="Picture 17" descr="A picture containing person, building, outdoor, holding&#10;&#10;Description automatically generated">
            <a:extLst>
              <a:ext uri="{FF2B5EF4-FFF2-40B4-BE49-F238E27FC236}">
                <a16:creationId xmlns:a16="http://schemas.microsoft.com/office/drawing/2014/main" id="{0F1273F5-1BA3-B74F-9ADF-4AF285BC6363}"/>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0" y="0"/>
            <a:ext cx="3549600" cy="3168232"/>
          </a:xfrm>
          <a:prstGeom prst="rect">
            <a:avLst/>
          </a:prstGeom>
        </p:spPr>
      </p:pic>
    </p:spTree>
    <p:extLst>
      <p:ext uri="{BB962C8B-B14F-4D97-AF65-F5344CB8AC3E}">
        <p14:creationId xmlns:p14="http://schemas.microsoft.com/office/powerpoint/2010/main" val="1766727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47436-1BB4-9C43-B7FE-EE6D8052616E}"/>
              </a:ext>
            </a:extLst>
          </p:cNvPr>
          <p:cNvSpPr>
            <a:spLocks noGrp="1"/>
          </p:cNvSpPr>
          <p:nvPr>
            <p:ph type="title"/>
          </p:nvPr>
        </p:nvSpPr>
        <p:spPr>
          <a:xfrm>
            <a:off x="7491662" y="414998"/>
            <a:ext cx="3762519" cy="1325563"/>
          </a:xfrm>
        </p:spPr>
        <p:txBody>
          <a:bodyPr>
            <a:normAutofit fontScale="90000"/>
          </a:bodyPr>
          <a:lstStyle/>
          <a:p>
            <a:r>
              <a:rPr lang="en-US" sz="3700" dirty="0"/>
              <a:t>NAWO Professional Development Future Fit!</a:t>
            </a:r>
          </a:p>
        </p:txBody>
      </p:sp>
      <p:sp>
        <p:nvSpPr>
          <p:cNvPr id="17" name="Freeform: Shape 14">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B23AF81B-4B70-3743-9ED2-7C800F195226}"/>
              </a:ext>
            </a:extLst>
          </p:cNvPr>
          <p:cNvPicPr>
            <a:picLocks noChangeAspect="1"/>
          </p:cNvPicPr>
          <p:nvPr/>
        </p:nvPicPr>
        <p:blipFill rotWithShape="1">
          <a:blip r:embed="rId3"/>
          <a:srcRect l="3768" r="-2" b="-2"/>
          <a:stretch/>
        </p:blipFill>
        <p:spPr>
          <a:xfrm>
            <a:off x="2" y="-2"/>
            <a:ext cx="5441859" cy="5654940"/>
          </a:xfrm>
          <a:custGeom>
            <a:avLst/>
            <a:gdLst/>
            <a:ahLst/>
            <a:cxnLst/>
            <a:rect l="l" t="t" r="r" b="b"/>
            <a:pathLst>
              <a:path w="5441859" h="5654940">
                <a:moveTo>
                  <a:pt x="0" y="0"/>
                </a:moveTo>
                <a:lnTo>
                  <a:pt x="4400491" y="0"/>
                </a:lnTo>
                <a:lnTo>
                  <a:pt x="4484766" y="76595"/>
                </a:lnTo>
                <a:cubicBezTo>
                  <a:pt x="5076107"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p:spPr>
      </p:pic>
      <p:sp>
        <p:nvSpPr>
          <p:cNvPr id="3" name="Content Placeholder 2">
            <a:extLst>
              <a:ext uri="{FF2B5EF4-FFF2-40B4-BE49-F238E27FC236}">
                <a16:creationId xmlns:a16="http://schemas.microsoft.com/office/drawing/2014/main" id="{1C1AEDA7-93B9-5D4E-BB34-99AA62A8B0E0}"/>
              </a:ext>
            </a:extLst>
          </p:cNvPr>
          <p:cNvSpPr>
            <a:spLocks noGrp="1"/>
          </p:cNvSpPr>
          <p:nvPr>
            <p:ph idx="1"/>
          </p:nvPr>
        </p:nvSpPr>
        <p:spPr>
          <a:xfrm>
            <a:off x="5704431" y="1620142"/>
            <a:ext cx="6426548" cy="4577347"/>
          </a:xfrm>
        </p:spPr>
        <p:txBody>
          <a:bodyPr anchor="t">
            <a:noAutofit/>
          </a:bodyPr>
          <a:lstStyle/>
          <a:p>
            <a:pPr marL="0" indent="0">
              <a:buNone/>
            </a:pPr>
            <a:br>
              <a:rPr lang="en-AU" sz="2000" dirty="0">
                <a:latin typeface="Arial" panose="020B0604020202020204" pitchFamily="34" charset="0"/>
                <a:cs typeface="Arial" panose="020B0604020202020204" pitchFamily="34" charset="0"/>
              </a:rPr>
            </a:br>
            <a:br>
              <a:rPr lang="en-AU" sz="2000" dirty="0">
                <a:latin typeface="Arial" panose="020B0604020202020204" pitchFamily="34" charset="0"/>
                <a:cs typeface="Arial" panose="020B0604020202020204" pitchFamily="34" charset="0"/>
              </a:rPr>
            </a:br>
            <a:r>
              <a:rPr lang="en-AU" sz="2000" dirty="0">
                <a:latin typeface="Arial" panose="020B0604020202020204" pitchFamily="34" charset="0"/>
                <a:cs typeface="Arial" panose="020B0604020202020204" pitchFamily="34" charset="0"/>
              </a:rPr>
              <a:t>Communicating with Authority is now a collaborative, one week community learning experience building confidence and competence in key skills using real world scenarios, tactical exercises and hearing from experts across different industries.</a:t>
            </a:r>
          </a:p>
          <a:p>
            <a:pPr marL="0" indent="0">
              <a:buNone/>
            </a:pPr>
            <a:endParaRPr lang="en-AU" sz="2000" dirty="0">
              <a:latin typeface="Arial" panose="020B0604020202020204" pitchFamily="34" charset="0"/>
              <a:cs typeface="Arial" panose="020B0604020202020204" pitchFamily="34" charset="0"/>
            </a:endParaRPr>
          </a:p>
          <a:p>
            <a:pPr marL="0" indent="0">
              <a:buNone/>
            </a:pPr>
            <a:r>
              <a:rPr lang="en-AU" sz="2000" b="1" dirty="0">
                <a:solidFill>
                  <a:srgbClr val="FF0000"/>
                </a:solidFill>
                <a:latin typeface="Arial" panose="020B0604020202020204" pitchFamily="34" charset="0"/>
                <a:cs typeface="Arial" panose="020B0604020202020204" pitchFamily="34" charset="0"/>
              </a:rPr>
              <a:t>NAWO members - You can still be part of it!</a:t>
            </a:r>
          </a:p>
          <a:p>
            <a:pPr marL="0" indent="0">
              <a:buNone/>
            </a:pPr>
            <a:endParaRPr lang="en-AU" sz="2000" dirty="0">
              <a:latin typeface="Arial" panose="020B0604020202020204" pitchFamily="34" charset="0"/>
              <a:cs typeface="Arial" panose="020B0604020202020204" pitchFamily="34" charset="0"/>
            </a:endParaRPr>
          </a:p>
          <a:p>
            <a:pPr marL="0" indent="0">
              <a:buNone/>
            </a:pPr>
            <a:r>
              <a:rPr lang="en-AU" sz="2000" dirty="0">
                <a:latin typeface="Arial" panose="020B0604020202020204" pitchFamily="34" charset="0"/>
                <a:cs typeface="Arial" panose="020B0604020202020204" pitchFamily="34" charset="0"/>
              </a:rPr>
              <a:t>MAY 4 – 8 2020 – Online Cohort Learning</a:t>
            </a:r>
            <a:br>
              <a:rPr lang="en-AU" sz="2000" dirty="0">
                <a:latin typeface="Arial" panose="020B0604020202020204" pitchFamily="34" charset="0"/>
                <a:cs typeface="Arial" panose="020B0604020202020204" pitchFamily="34" charset="0"/>
              </a:rPr>
            </a:br>
            <a:br>
              <a:rPr lang="en-AU" sz="2000" dirty="0">
                <a:latin typeface="Arial" panose="020B0604020202020204" pitchFamily="34" charset="0"/>
                <a:cs typeface="Arial" panose="020B0604020202020204" pitchFamily="34" charset="0"/>
              </a:rPr>
            </a:br>
            <a:r>
              <a:rPr lang="en-AU" sz="2000" b="1" dirty="0">
                <a:solidFill>
                  <a:srgbClr val="FF0000"/>
                </a:solidFill>
                <a:latin typeface="Arial" panose="020B0604020202020204" pitchFamily="34" charset="0"/>
                <a:cs typeface="Arial" panose="020B0604020202020204" pitchFamily="34" charset="0"/>
              </a:rPr>
              <a:t>To register go to our website </a:t>
            </a:r>
            <a:r>
              <a:rPr lang="en-AU" sz="2000"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ww.nawo.org.a</a:t>
            </a:r>
            <a:r>
              <a:rPr lang="en-AU" sz="2000" b="1" dirty="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u</a:t>
            </a:r>
            <a:r>
              <a:rPr lang="en-AU" sz="2000" b="1" dirty="0">
                <a:solidFill>
                  <a:srgbClr val="FF0000"/>
                </a:solidFill>
                <a:latin typeface="Arial" panose="020B0604020202020204" pitchFamily="34" charset="0"/>
                <a:cs typeface="Arial" panose="020B0604020202020204" pitchFamily="34" charset="0"/>
              </a:rPr>
              <a:t> or contact us</a:t>
            </a:r>
          </a:p>
          <a:p>
            <a:pPr marL="0" indent="0">
              <a:buNone/>
            </a:pPr>
            <a:r>
              <a:rPr lang="en-AU" sz="2000" dirty="0">
                <a:latin typeface="Arial" panose="020B0604020202020204" pitchFamily="34" charset="0"/>
                <a:cs typeface="Arial" panose="020B0604020202020204" pitchFamily="34" charset="0"/>
              </a:rPr>
              <a:t> </a:t>
            </a:r>
            <a:r>
              <a:rPr lang="en-AU" sz="140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nawo.org.au/pdp-communicating-with-authority-digital/</a:t>
            </a:r>
            <a:br>
              <a:rPr lang="en-AU" sz="2000" dirty="0">
                <a:latin typeface="Arial" panose="020B0604020202020204" pitchFamily="34" charset="0"/>
                <a:cs typeface="Arial" panose="020B0604020202020204" pitchFamily="34" charset="0"/>
              </a:rPr>
            </a:br>
            <a:endParaRPr lang="en-US" sz="2000"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D6C5D38B-986F-CF49-BCCF-D91C5921897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47112" y="398860"/>
            <a:ext cx="1071339" cy="1325563"/>
          </a:xfrm>
          <a:prstGeom prst="rect">
            <a:avLst/>
          </a:prstGeom>
        </p:spPr>
      </p:pic>
    </p:spTree>
    <p:extLst>
      <p:ext uri="{BB962C8B-B14F-4D97-AF65-F5344CB8AC3E}">
        <p14:creationId xmlns:p14="http://schemas.microsoft.com/office/powerpoint/2010/main" val="980408836"/>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group of people posing for the camera&#10;&#10;Description automatically generated">
            <a:extLst>
              <a:ext uri="{FF2B5EF4-FFF2-40B4-BE49-F238E27FC236}">
                <a16:creationId xmlns:a16="http://schemas.microsoft.com/office/drawing/2014/main" id="{DF2AB0CD-0512-A349-809F-A70F92D2360C}"/>
              </a:ext>
            </a:extLst>
          </p:cNvPr>
          <p:cNvPicPr>
            <a:picLocks noChangeAspect="1"/>
          </p:cNvPicPr>
          <p:nvPr/>
        </p:nvPicPr>
        <p:blipFill rotWithShape="1">
          <a:blip r:embed="rId3" cstate="screen">
            <a:alphaModFix amt="50000"/>
            <a:extLst>
              <a:ext uri="{BEBA8EAE-BF5A-486C-A8C5-ECC9F3942E4B}">
                <a14:imgProps xmlns:a14="http://schemas.microsoft.com/office/drawing/2010/main">
                  <a14:imgLayer r:embed="rId4">
                    <a14:imgEffect>
                      <a14:sharpenSoften amount="14000"/>
                    </a14:imgEffect>
                    <a14:imgEffect>
                      <a14:colorTemperature colorTemp="11500"/>
                    </a14:imgEffect>
                    <a14:imgEffect>
                      <a14:saturation sat="0"/>
                    </a14:imgEffect>
                    <a14:imgEffect>
                      <a14:brightnessContrast bright="4000" contrast="-23000"/>
                    </a14:imgEffect>
                  </a14:imgLayer>
                </a14:imgProps>
              </a:ext>
              <a:ext uri="{28A0092B-C50C-407E-A947-70E740481C1C}">
                <a14:useLocalDpi xmlns:a14="http://schemas.microsoft.com/office/drawing/2010/main"/>
              </a:ext>
            </a:extLst>
          </a:blip>
          <a:srcRect/>
          <a:stretch/>
        </p:blipFill>
        <p:spPr>
          <a:xfrm>
            <a:off x="20" y="1"/>
            <a:ext cx="12191980" cy="6857999"/>
          </a:xfrm>
          <a:prstGeom prst="rect">
            <a:avLst/>
          </a:prstGeom>
        </p:spPr>
      </p:pic>
      <p:sp>
        <p:nvSpPr>
          <p:cNvPr id="2" name="Title 1">
            <a:extLst>
              <a:ext uri="{FF2B5EF4-FFF2-40B4-BE49-F238E27FC236}">
                <a16:creationId xmlns:a16="http://schemas.microsoft.com/office/drawing/2014/main" id="{E489E509-4AEE-BC40-B27E-1153303CE3AB}"/>
              </a:ext>
            </a:extLst>
          </p:cNvPr>
          <p:cNvSpPr>
            <a:spLocks noGrp="1"/>
          </p:cNvSpPr>
          <p:nvPr>
            <p:ph type="title"/>
          </p:nvPr>
        </p:nvSpPr>
        <p:spPr>
          <a:xfrm>
            <a:off x="1524000" y="1122362"/>
            <a:ext cx="9144000" cy="1944929"/>
          </a:xfrm>
        </p:spPr>
        <p:txBody>
          <a:bodyPr vert="horz" lIns="91440" tIns="45720" rIns="91440" bIns="45720" rtlCol="0" anchor="ctr">
            <a:normAutofit/>
          </a:bodyPr>
          <a:lstStyle/>
          <a:p>
            <a:pPr algn="ctr"/>
            <a:r>
              <a:rPr lang="en-US" sz="4400" dirty="0">
                <a:solidFill>
                  <a:srgbClr val="FFFFFF"/>
                </a:solidFill>
                <a:ea typeface="+mj-ea"/>
                <a:cs typeface="+mj-cs"/>
              </a:rPr>
              <a:t>FOLLOW US AND BE PART OF THE CONVERSATION #NAWO</a:t>
            </a:r>
          </a:p>
        </p:txBody>
      </p:sp>
      <p:sp>
        <p:nvSpPr>
          <p:cNvPr id="18" name="Oval 17">
            <a:extLst>
              <a:ext uri="{FF2B5EF4-FFF2-40B4-BE49-F238E27FC236}">
                <a16:creationId xmlns:a16="http://schemas.microsoft.com/office/drawing/2014/main" id="{BFB1AE64-BD6E-364F-9D7E-1B435F378D34}"/>
              </a:ext>
            </a:extLst>
          </p:cNvPr>
          <p:cNvSpPr/>
          <p:nvPr/>
        </p:nvSpPr>
        <p:spPr>
          <a:xfrm>
            <a:off x="1011734" y="3787464"/>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22FA052C-D21E-6649-850D-E7547E0CC7C7}"/>
              </a:ext>
            </a:extLst>
          </p:cNvPr>
          <p:cNvSpPr/>
          <p:nvPr/>
        </p:nvSpPr>
        <p:spPr>
          <a:xfrm>
            <a:off x="2973269" y="3787463"/>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916AC838-6847-B140-B460-6CE9C3BDCC0E}"/>
              </a:ext>
            </a:extLst>
          </p:cNvPr>
          <p:cNvSpPr/>
          <p:nvPr/>
        </p:nvSpPr>
        <p:spPr>
          <a:xfrm>
            <a:off x="4934804" y="3787462"/>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E461FDA9-146C-3C47-906C-74B14D4564F5}"/>
              </a:ext>
            </a:extLst>
          </p:cNvPr>
          <p:cNvSpPr/>
          <p:nvPr/>
        </p:nvSpPr>
        <p:spPr>
          <a:xfrm>
            <a:off x="635772" y="4859706"/>
            <a:ext cx="1509002" cy="276999"/>
          </a:xfrm>
          <a:prstGeom prst="rect">
            <a:avLst/>
          </a:prstGeom>
        </p:spPr>
        <p:txBody>
          <a:bodyPr wrap="square">
            <a:spAutoFit/>
          </a:bodyPr>
          <a:lstStyle/>
          <a:p>
            <a:pPr algn="ctr"/>
            <a:r>
              <a:rPr lang="en-US" sz="1200" b="1" dirty="0">
                <a:solidFill>
                  <a:schemeClr val="tx1">
                    <a:lumMod val="85000"/>
                    <a:lumOff val="15000"/>
                  </a:schemeClr>
                </a:solidFill>
                <a:latin typeface="Arial" charset="0"/>
                <a:ea typeface="Arial" charset="0"/>
                <a:cs typeface="Arial" charset="0"/>
              </a:rPr>
              <a:t>@NAWO Australia</a:t>
            </a:r>
          </a:p>
        </p:txBody>
      </p:sp>
      <p:sp>
        <p:nvSpPr>
          <p:cNvPr id="28" name="Rectangle 27">
            <a:extLst>
              <a:ext uri="{FF2B5EF4-FFF2-40B4-BE49-F238E27FC236}">
                <a16:creationId xmlns:a16="http://schemas.microsoft.com/office/drawing/2014/main" id="{E0E8B7FF-E4DE-8A46-A45C-9532244F06C8}"/>
              </a:ext>
            </a:extLst>
          </p:cNvPr>
          <p:cNvSpPr/>
          <p:nvPr/>
        </p:nvSpPr>
        <p:spPr>
          <a:xfrm>
            <a:off x="2277231" y="4675041"/>
            <a:ext cx="2098147" cy="646331"/>
          </a:xfrm>
          <a:prstGeom prst="rect">
            <a:avLst/>
          </a:prstGeom>
        </p:spPr>
        <p:txBody>
          <a:bodyPr wrap="square">
            <a:spAutoFit/>
          </a:bodyPr>
          <a:lstStyle/>
          <a:p>
            <a:pPr algn="ctr"/>
            <a:r>
              <a:rPr lang="en-US" sz="1200" b="1" dirty="0">
                <a:solidFill>
                  <a:schemeClr val="tx1">
                    <a:lumMod val="85000"/>
                    <a:lumOff val="15000"/>
                  </a:schemeClr>
                </a:solidFill>
                <a:latin typeface="Arial" charset="0"/>
                <a:ea typeface="Arial" charset="0"/>
                <a:cs typeface="Arial" charset="0"/>
              </a:rPr>
              <a:t>NAWO National Association of Women in Operations </a:t>
            </a:r>
          </a:p>
        </p:txBody>
      </p:sp>
      <p:sp>
        <p:nvSpPr>
          <p:cNvPr id="29" name="Rectangle 28">
            <a:extLst>
              <a:ext uri="{FF2B5EF4-FFF2-40B4-BE49-F238E27FC236}">
                <a16:creationId xmlns:a16="http://schemas.microsoft.com/office/drawing/2014/main" id="{D8CC26A6-82D6-974F-84AD-E092D4FD21EA}"/>
              </a:ext>
            </a:extLst>
          </p:cNvPr>
          <p:cNvSpPr/>
          <p:nvPr/>
        </p:nvSpPr>
        <p:spPr>
          <a:xfrm>
            <a:off x="4345459" y="4675041"/>
            <a:ext cx="1935771" cy="646331"/>
          </a:xfrm>
          <a:prstGeom prst="rect">
            <a:avLst/>
          </a:prstGeom>
        </p:spPr>
        <p:txBody>
          <a:bodyPr wrap="square">
            <a:spAutoFit/>
          </a:bodyPr>
          <a:lstStyle/>
          <a:p>
            <a:pPr algn="ctr"/>
            <a:r>
              <a:rPr lang="en-US" sz="1200" b="1" dirty="0">
                <a:solidFill>
                  <a:schemeClr val="tx1">
                    <a:lumMod val="85000"/>
                    <a:lumOff val="15000"/>
                  </a:schemeClr>
                </a:solidFill>
                <a:latin typeface="Arial" charset="0"/>
                <a:cs typeface="Arial" charset="0"/>
              </a:rPr>
              <a:t>NAWO - National Association of Women in Operations</a:t>
            </a:r>
            <a:endParaRPr lang="en-AU" sz="1200" b="1" dirty="0">
              <a:solidFill>
                <a:schemeClr val="tx1">
                  <a:lumMod val="85000"/>
                  <a:lumOff val="15000"/>
                </a:schemeClr>
              </a:solidFill>
              <a:latin typeface="Arial" charset="0"/>
              <a:cs typeface="Arial" charset="0"/>
            </a:endParaRPr>
          </a:p>
        </p:txBody>
      </p:sp>
      <p:pic>
        <p:nvPicPr>
          <p:cNvPr id="33" name="Picture 32">
            <a:extLst>
              <a:ext uri="{FF2B5EF4-FFF2-40B4-BE49-F238E27FC236}">
                <a16:creationId xmlns:a16="http://schemas.microsoft.com/office/drawing/2014/main" id="{7E165135-218C-3A4D-8639-B8875A42F06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77642" y="3983464"/>
            <a:ext cx="355177" cy="340378"/>
          </a:xfrm>
          <a:prstGeom prst="rect">
            <a:avLst/>
          </a:prstGeom>
        </p:spPr>
      </p:pic>
      <p:pic>
        <p:nvPicPr>
          <p:cNvPr id="34" name="Picture 33">
            <a:extLst>
              <a:ext uri="{FF2B5EF4-FFF2-40B4-BE49-F238E27FC236}">
                <a16:creationId xmlns:a16="http://schemas.microsoft.com/office/drawing/2014/main" id="{0CE73B60-ED4F-B54B-BD79-178579E7037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66887" y="3983464"/>
            <a:ext cx="256562" cy="354716"/>
          </a:xfrm>
          <a:prstGeom prst="rect">
            <a:avLst/>
          </a:prstGeom>
        </p:spPr>
      </p:pic>
      <p:pic>
        <p:nvPicPr>
          <p:cNvPr id="35" name="Picture 34">
            <a:extLst>
              <a:ext uri="{FF2B5EF4-FFF2-40B4-BE49-F238E27FC236}">
                <a16:creationId xmlns:a16="http://schemas.microsoft.com/office/drawing/2014/main" id="{CC56EA66-09DE-C444-8020-A502D672CB4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95444" y="4018947"/>
            <a:ext cx="433022" cy="304895"/>
          </a:xfrm>
          <a:prstGeom prst="rect">
            <a:avLst/>
          </a:prstGeom>
        </p:spPr>
      </p:pic>
      <p:sp>
        <p:nvSpPr>
          <p:cNvPr id="39" name="Rectangle 38">
            <a:extLst>
              <a:ext uri="{FF2B5EF4-FFF2-40B4-BE49-F238E27FC236}">
                <a16:creationId xmlns:a16="http://schemas.microsoft.com/office/drawing/2014/main" id="{AC659CC2-7252-D74F-A856-86C0E0756850}"/>
              </a:ext>
            </a:extLst>
          </p:cNvPr>
          <p:cNvSpPr/>
          <p:nvPr/>
        </p:nvSpPr>
        <p:spPr>
          <a:xfrm>
            <a:off x="2378660" y="5424118"/>
            <a:ext cx="1935771" cy="461665"/>
          </a:xfrm>
          <a:prstGeom prst="rect">
            <a:avLst/>
          </a:prstGeom>
        </p:spPr>
        <p:txBody>
          <a:bodyPr wrap="square">
            <a:spAutoFit/>
          </a:bodyPr>
          <a:lstStyle/>
          <a:p>
            <a:pPr algn="ctr"/>
            <a:r>
              <a:rPr lang="en-US" sz="1200" b="1" dirty="0">
                <a:solidFill>
                  <a:schemeClr val="tx1">
                    <a:lumMod val="85000"/>
                    <a:lumOff val="15000"/>
                  </a:schemeClr>
                </a:solidFill>
                <a:latin typeface="Arial" charset="0"/>
                <a:ea typeface="Arial" charset="0"/>
                <a:cs typeface="Arial" charset="0"/>
              </a:rPr>
              <a:t>NAWO Network News! (Group)</a:t>
            </a:r>
          </a:p>
        </p:txBody>
      </p:sp>
      <p:sp>
        <p:nvSpPr>
          <p:cNvPr id="40" name="Oval 39">
            <a:extLst>
              <a:ext uri="{FF2B5EF4-FFF2-40B4-BE49-F238E27FC236}">
                <a16:creationId xmlns:a16="http://schemas.microsoft.com/office/drawing/2014/main" id="{A8FA93EB-0FA8-A148-ABFD-D752A87AD844}"/>
              </a:ext>
            </a:extLst>
          </p:cNvPr>
          <p:cNvSpPr/>
          <p:nvPr/>
        </p:nvSpPr>
        <p:spPr>
          <a:xfrm>
            <a:off x="6722064" y="3787464"/>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C75D5453-4546-4D4D-8D34-9FF8CD851FB6}"/>
              </a:ext>
            </a:extLst>
          </p:cNvPr>
          <p:cNvSpPr/>
          <p:nvPr/>
        </p:nvSpPr>
        <p:spPr>
          <a:xfrm>
            <a:off x="8683600" y="3787463"/>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AF057170-3129-254B-9D2F-1F7C1F98F377}"/>
              </a:ext>
            </a:extLst>
          </p:cNvPr>
          <p:cNvSpPr/>
          <p:nvPr/>
        </p:nvSpPr>
        <p:spPr>
          <a:xfrm>
            <a:off x="10645135" y="3787463"/>
            <a:ext cx="757083" cy="757083"/>
          </a:xfrm>
          <a:prstGeom prst="ellipse">
            <a:avLst/>
          </a:prstGeom>
          <a:gradFill flip="none" rotWithShape="1">
            <a:gsLst>
              <a:gs pos="0">
                <a:srgbClr val="E05206">
                  <a:shade val="30000"/>
                  <a:satMod val="115000"/>
                </a:srgbClr>
              </a:gs>
              <a:gs pos="50000">
                <a:srgbClr val="E05206">
                  <a:shade val="67500"/>
                  <a:satMod val="115000"/>
                </a:srgbClr>
              </a:gs>
              <a:gs pos="100000">
                <a:srgbClr val="E05206">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095FCEC9-87EA-D04D-BA12-71840E6E084B}"/>
              </a:ext>
            </a:extLst>
          </p:cNvPr>
          <p:cNvSpPr/>
          <p:nvPr/>
        </p:nvSpPr>
        <p:spPr>
          <a:xfrm>
            <a:off x="6603512" y="4804331"/>
            <a:ext cx="994183" cy="276999"/>
          </a:xfrm>
          <a:prstGeom prst="rect">
            <a:avLst/>
          </a:prstGeom>
        </p:spPr>
        <p:txBody>
          <a:bodyPr wrap="none">
            <a:spAutoFit/>
          </a:bodyPr>
          <a:lstStyle/>
          <a:p>
            <a:pPr algn="ctr"/>
            <a:r>
              <a:rPr lang="en-US" sz="1200" b="1" dirty="0">
                <a:solidFill>
                  <a:schemeClr val="tx1">
                    <a:lumMod val="85000"/>
                    <a:lumOff val="15000"/>
                  </a:schemeClr>
                </a:solidFill>
                <a:latin typeface="Arial" charset="0"/>
                <a:ea typeface="Arial" charset="0"/>
                <a:cs typeface="Arial" charset="0"/>
              </a:rPr>
              <a:t>@nawo_au</a:t>
            </a:r>
          </a:p>
        </p:txBody>
      </p:sp>
      <p:sp>
        <p:nvSpPr>
          <p:cNvPr id="44" name="Rectangle 43">
            <a:extLst>
              <a:ext uri="{FF2B5EF4-FFF2-40B4-BE49-F238E27FC236}">
                <a16:creationId xmlns:a16="http://schemas.microsoft.com/office/drawing/2014/main" id="{F8999F42-E0D5-3647-8C43-F0FD2D6FC1D4}"/>
              </a:ext>
            </a:extLst>
          </p:cNvPr>
          <p:cNvSpPr/>
          <p:nvPr/>
        </p:nvSpPr>
        <p:spPr>
          <a:xfrm>
            <a:off x="8166703" y="4804330"/>
            <a:ext cx="1790875" cy="276999"/>
          </a:xfrm>
          <a:prstGeom prst="rect">
            <a:avLst/>
          </a:prstGeom>
        </p:spPr>
        <p:txBody>
          <a:bodyPr wrap="none">
            <a:spAutoFit/>
          </a:bodyPr>
          <a:lstStyle/>
          <a:p>
            <a:pPr algn="ctr"/>
            <a:r>
              <a:rPr lang="en-US" sz="1200" b="1" dirty="0">
                <a:solidFill>
                  <a:schemeClr val="tx1">
                    <a:lumMod val="85000"/>
                    <a:lumOff val="15000"/>
                  </a:schemeClr>
                </a:solidFill>
                <a:latin typeface="Arial" charset="0"/>
                <a:ea typeface="Arial" charset="0"/>
                <a:cs typeface="Arial" charset="0"/>
              </a:rPr>
              <a:t>@womeninoperations</a:t>
            </a:r>
          </a:p>
        </p:txBody>
      </p:sp>
      <p:sp>
        <p:nvSpPr>
          <p:cNvPr id="45" name="Rectangle 44">
            <a:extLst>
              <a:ext uri="{FF2B5EF4-FFF2-40B4-BE49-F238E27FC236}">
                <a16:creationId xmlns:a16="http://schemas.microsoft.com/office/drawing/2014/main" id="{D7F90ECF-D93F-CF44-BE84-6AC9805E9555}"/>
              </a:ext>
            </a:extLst>
          </p:cNvPr>
          <p:cNvSpPr/>
          <p:nvPr/>
        </p:nvSpPr>
        <p:spPr>
          <a:xfrm>
            <a:off x="10328837" y="4804330"/>
            <a:ext cx="1389676" cy="276999"/>
          </a:xfrm>
          <a:prstGeom prst="rect">
            <a:avLst/>
          </a:prstGeom>
        </p:spPr>
        <p:txBody>
          <a:bodyPr wrap="none">
            <a:spAutoFit/>
          </a:bodyPr>
          <a:lstStyle/>
          <a:p>
            <a:r>
              <a:rPr lang="en-US" sz="1200" b="1" dirty="0">
                <a:solidFill>
                  <a:schemeClr val="tx1">
                    <a:lumMod val="85000"/>
                    <a:lumOff val="15000"/>
                  </a:schemeClr>
                </a:solidFill>
                <a:latin typeface="Arial" charset="0"/>
                <a:ea typeface="Arial" charset="0"/>
                <a:cs typeface="Arial" charset="0"/>
              </a:rPr>
              <a:t>NAWO Podcasts</a:t>
            </a:r>
          </a:p>
        </p:txBody>
      </p:sp>
      <p:pic>
        <p:nvPicPr>
          <p:cNvPr id="46" name="Picture 45">
            <a:extLst>
              <a:ext uri="{FF2B5EF4-FFF2-40B4-BE49-F238E27FC236}">
                <a16:creationId xmlns:a16="http://schemas.microsoft.com/office/drawing/2014/main" id="{D3C2E69D-F051-B042-B9E9-3FDBFF7CE29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37865" y="3947707"/>
            <a:ext cx="238024" cy="439429"/>
          </a:xfrm>
          <a:prstGeom prst="rect">
            <a:avLst/>
          </a:prstGeom>
        </p:spPr>
      </p:pic>
      <p:pic>
        <p:nvPicPr>
          <p:cNvPr id="47" name="Picture 46">
            <a:extLst>
              <a:ext uri="{FF2B5EF4-FFF2-40B4-BE49-F238E27FC236}">
                <a16:creationId xmlns:a16="http://schemas.microsoft.com/office/drawing/2014/main" id="{6402D9D0-A030-0A41-A282-64E21E7B9F7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830972" y="3955136"/>
            <a:ext cx="382628" cy="432000"/>
          </a:xfrm>
          <a:prstGeom prst="rect">
            <a:avLst/>
          </a:prstGeom>
        </p:spPr>
      </p:pic>
      <p:pic>
        <p:nvPicPr>
          <p:cNvPr id="48" name="Picture 47">
            <a:extLst>
              <a:ext uri="{FF2B5EF4-FFF2-40B4-BE49-F238E27FC236}">
                <a16:creationId xmlns:a16="http://schemas.microsoft.com/office/drawing/2014/main" id="{A6714EA3-E05D-6C40-861C-5CC134024F9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80909" y="3931622"/>
            <a:ext cx="455514" cy="455514"/>
          </a:xfrm>
          <a:prstGeom prst="rect">
            <a:avLst/>
          </a:prstGeom>
        </p:spPr>
      </p:pic>
    </p:spTree>
    <p:extLst>
      <p:ext uri="{BB962C8B-B14F-4D97-AF65-F5344CB8AC3E}">
        <p14:creationId xmlns:p14="http://schemas.microsoft.com/office/powerpoint/2010/main" val="3207155260"/>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92799-3156-CF47-9777-6B8C4B9F44F9}"/>
              </a:ext>
            </a:extLst>
          </p:cNvPr>
          <p:cNvSpPr>
            <a:spLocks noGrp="1"/>
          </p:cNvSpPr>
          <p:nvPr>
            <p:ph type="title"/>
          </p:nvPr>
        </p:nvSpPr>
        <p:spPr>
          <a:xfrm>
            <a:off x="314752" y="3787071"/>
            <a:ext cx="3290887" cy="885189"/>
          </a:xfrm>
        </p:spPr>
        <p:txBody>
          <a:bodyPr vert="horz" lIns="91440" tIns="45720" rIns="91440" bIns="45720" rtlCol="0" anchor="ctr">
            <a:normAutofit/>
          </a:bodyPr>
          <a:lstStyle/>
          <a:p>
            <a:r>
              <a:rPr lang="en-US" sz="3600" dirty="0">
                <a:ea typeface="+mj-ea"/>
                <a:cs typeface="+mj-cs"/>
              </a:rPr>
              <a:t>AGENDA </a:t>
            </a:r>
          </a:p>
        </p:txBody>
      </p:sp>
      <p:pic>
        <p:nvPicPr>
          <p:cNvPr id="1026" name="Picture 2">
            <a:extLst>
              <a:ext uri="{FF2B5EF4-FFF2-40B4-BE49-F238E27FC236}">
                <a16:creationId xmlns:a16="http://schemas.microsoft.com/office/drawing/2014/main" id="{D313D4D0-407E-44DD-A1A7-696BF3D3847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626" b="19267"/>
          <a:stretch/>
        </p:blipFill>
        <p:spPr bwMode="auto">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93DA2C3A-3679-0947-91DF-EE276A96D21F}"/>
              </a:ext>
            </a:extLst>
          </p:cNvPr>
          <p:cNvSpPr>
            <a:spLocks noGrp="1"/>
          </p:cNvSpPr>
          <p:nvPr>
            <p:ph type="body" sz="half" idx="2"/>
          </p:nvPr>
        </p:nvSpPr>
        <p:spPr>
          <a:xfrm>
            <a:off x="2550694" y="3710613"/>
            <a:ext cx="9336505" cy="2873067"/>
          </a:xfrm>
        </p:spPr>
        <p:txBody>
          <a:bodyPr vert="horz" lIns="91440" tIns="45720" rIns="91440" bIns="45720" rtlCol="0" anchor="ctr">
            <a:noAutofit/>
          </a:bodyPr>
          <a:lstStyle/>
          <a:p>
            <a:pPr marL="228600" lvl="1">
              <a:spcBef>
                <a:spcPts val="600"/>
              </a:spcBef>
            </a:pPr>
            <a:r>
              <a:rPr lang="en-US" sz="2400" dirty="0">
                <a:latin typeface="+mn-lt"/>
                <a:ea typeface="+mn-ea"/>
                <a:cs typeface="+mn-cs"/>
              </a:rPr>
              <a:t>12:00pm:	Welcome and current context (Louise Weine, NAWO)</a:t>
            </a:r>
          </a:p>
          <a:p>
            <a:pPr marL="228600" lvl="1">
              <a:spcBef>
                <a:spcPts val="600"/>
              </a:spcBef>
            </a:pPr>
            <a:r>
              <a:rPr lang="en-US" sz="2400" dirty="0">
                <a:latin typeface="+mn-lt"/>
                <a:ea typeface="+mn-ea"/>
                <a:cs typeface="+mn-cs"/>
              </a:rPr>
              <a:t>12:05pm:	What you can do if you sense something isn’t going ok 			for someone  (Jacque </a:t>
            </a:r>
            <a:r>
              <a:rPr lang="en-US" sz="2400" dirty="0" err="1">
                <a:latin typeface="+mn-lt"/>
                <a:ea typeface="+mn-ea"/>
                <a:cs typeface="+mn-cs"/>
              </a:rPr>
              <a:t>Lachmund</a:t>
            </a:r>
            <a:r>
              <a:rPr lang="en-US" sz="2400" dirty="0">
                <a:latin typeface="+mn-lt"/>
                <a:ea typeface="+mn-ea"/>
                <a:cs typeface="+mn-cs"/>
              </a:rPr>
              <a:t>, Australia’s CEO 				Challenge)</a:t>
            </a:r>
          </a:p>
          <a:p>
            <a:pPr marL="228600" lvl="1">
              <a:spcBef>
                <a:spcPts val="600"/>
              </a:spcBef>
            </a:pPr>
            <a:r>
              <a:rPr lang="en-US" sz="2400" dirty="0">
                <a:latin typeface="+mn-lt"/>
                <a:ea typeface="+mn-ea"/>
                <a:cs typeface="+mn-cs"/>
              </a:rPr>
              <a:t>12:25pm:	What </a:t>
            </a:r>
            <a:r>
              <a:rPr lang="en-US" sz="2400" dirty="0" err="1">
                <a:latin typeface="+mn-lt"/>
                <a:ea typeface="+mn-ea"/>
                <a:cs typeface="+mn-cs"/>
              </a:rPr>
              <a:t>organisations</a:t>
            </a:r>
            <a:r>
              <a:rPr lang="en-US" sz="2400" dirty="0">
                <a:latin typeface="+mn-lt"/>
                <a:ea typeface="+mn-ea"/>
                <a:cs typeface="+mn-cs"/>
              </a:rPr>
              <a:t> can do to support their employees 			(Chantelle Thom, Rio Tinto)</a:t>
            </a:r>
          </a:p>
          <a:p>
            <a:pPr marL="228600" lvl="1">
              <a:spcBef>
                <a:spcPts val="600"/>
              </a:spcBef>
            </a:pPr>
            <a:r>
              <a:rPr lang="en-US" sz="2400" dirty="0">
                <a:latin typeface="+mn-lt"/>
                <a:ea typeface="+mn-ea"/>
                <a:cs typeface="+mn-cs"/>
              </a:rPr>
              <a:t>12:40pm:	Q&amp;A</a:t>
            </a:r>
          </a:p>
          <a:p>
            <a:pPr marL="228600" lvl="1">
              <a:spcBef>
                <a:spcPts val="600"/>
              </a:spcBef>
            </a:pPr>
            <a:r>
              <a:rPr lang="en-US" sz="2400" dirty="0">
                <a:latin typeface="+mn-lt"/>
                <a:ea typeface="+mn-ea"/>
                <a:cs typeface="+mn-cs"/>
              </a:rPr>
              <a:t>12:55pm:	Key Takeaways</a:t>
            </a:r>
          </a:p>
        </p:txBody>
      </p:sp>
      <p:sp>
        <p:nvSpPr>
          <p:cNvPr id="6" name="Title 1">
            <a:extLst>
              <a:ext uri="{FF2B5EF4-FFF2-40B4-BE49-F238E27FC236}">
                <a16:creationId xmlns:a16="http://schemas.microsoft.com/office/drawing/2014/main" id="{4FAE3623-AA15-6147-9B76-D9A44C4EB068}"/>
              </a:ext>
            </a:extLst>
          </p:cNvPr>
          <p:cNvSpPr txBox="1">
            <a:spLocks/>
          </p:cNvSpPr>
          <p:nvPr/>
        </p:nvSpPr>
        <p:spPr>
          <a:xfrm>
            <a:off x="482169" y="681299"/>
            <a:ext cx="10100925" cy="172448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b="1" i="0" kern="1200">
                <a:solidFill>
                  <a:schemeClr val="tx1"/>
                </a:solidFill>
                <a:latin typeface="+mj-lt"/>
                <a:ea typeface="Tahoma" panose="020B0604030504040204" pitchFamily="34" charset="0"/>
                <a:cs typeface="Tahoma" panose="020B0604030504040204" pitchFamily="34" charset="0"/>
              </a:defRPr>
            </a:lvl1pPr>
          </a:lstStyle>
          <a:p>
            <a:br>
              <a:rPr lang="en-US" sz="3600" dirty="0">
                <a:ea typeface="Tahoma"/>
                <a:cs typeface="Tahoma"/>
              </a:rPr>
            </a:br>
            <a:r>
              <a:rPr lang="en-AU" sz="3600" b="0" dirty="0"/>
              <a:t>Workplaces as the new frontline: Family and Domestic Violence with COVID-19</a:t>
            </a:r>
            <a:endParaRPr lang="en-US" sz="3600" dirty="0"/>
          </a:p>
        </p:txBody>
      </p:sp>
      <p:pic>
        <p:nvPicPr>
          <p:cNvPr id="8" name="Picture 7">
            <a:extLst>
              <a:ext uri="{FF2B5EF4-FFF2-40B4-BE49-F238E27FC236}">
                <a16:creationId xmlns:a16="http://schemas.microsoft.com/office/drawing/2014/main" id="{61C4FC4A-9567-ED44-983C-AEE3D739FFD7}"/>
              </a:ext>
            </a:extLst>
          </p:cNvPr>
          <p:cNvPicPr>
            <a:picLocks noChangeAspect="1"/>
          </p:cNvPicPr>
          <p:nvPr/>
        </p:nvPicPr>
        <p:blipFill>
          <a:blip r:embed="rId4"/>
          <a:stretch>
            <a:fillRect/>
          </a:stretch>
        </p:blipFill>
        <p:spPr>
          <a:xfrm>
            <a:off x="482169" y="4672260"/>
            <a:ext cx="1478026" cy="1719885"/>
          </a:xfrm>
          <a:prstGeom prst="rect">
            <a:avLst/>
          </a:prstGeom>
        </p:spPr>
      </p:pic>
    </p:spTree>
    <p:extLst>
      <p:ext uri="{BB962C8B-B14F-4D97-AF65-F5344CB8AC3E}">
        <p14:creationId xmlns:p14="http://schemas.microsoft.com/office/powerpoint/2010/main" val="12507205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D1C26593-9A51-48FE-9FA2-A9052E57F3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12192000" cy="68584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15">
            <a:extLst>
              <a:ext uri="{FF2B5EF4-FFF2-40B4-BE49-F238E27FC236}">
                <a16:creationId xmlns:a16="http://schemas.microsoft.com/office/drawing/2014/main" id="{B9D473B1-934D-4F2D-AC4B-5BFB4BAC5D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42603" cy="6858000"/>
          </a:xfrm>
          <a:custGeom>
            <a:avLst/>
            <a:gdLst>
              <a:gd name="connsiteX0" fmla="*/ 0 w 9742603"/>
              <a:gd name="connsiteY0" fmla="*/ 0 h 6858000"/>
              <a:gd name="connsiteX1" fmla="*/ 152400 w 9742603"/>
              <a:gd name="connsiteY1" fmla="*/ 0 h 6858000"/>
              <a:gd name="connsiteX2" fmla="*/ 6566449 w 9742603"/>
              <a:gd name="connsiteY2" fmla="*/ 0 h 6858000"/>
              <a:gd name="connsiteX3" fmla="*/ 9742603 w 9742603"/>
              <a:gd name="connsiteY3" fmla="*/ 6858000 h 6858000"/>
              <a:gd name="connsiteX4" fmla="*/ 152400 w 9742603"/>
              <a:gd name="connsiteY4" fmla="*/ 6858000 h 6858000"/>
              <a:gd name="connsiteX5" fmla="*/ 0 w 974260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2603" h="6858000">
                <a:moveTo>
                  <a:pt x="0" y="0"/>
                </a:moveTo>
                <a:lnTo>
                  <a:pt x="152400" y="0"/>
                </a:lnTo>
                <a:lnTo>
                  <a:pt x="6566449" y="0"/>
                </a:lnTo>
                <a:lnTo>
                  <a:pt x="9742603" y="6858000"/>
                </a:lnTo>
                <a:lnTo>
                  <a:pt x="152400"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2" name="Freeform 11">
            <a:extLst>
              <a:ext uri="{FF2B5EF4-FFF2-40B4-BE49-F238E27FC236}">
                <a16:creationId xmlns:a16="http://schemas.microsoft.com/office/drawing/2014/main" id="{CDE3C03E-D949-4F50-AAFA-3278B22121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380336" cy="6858000"/>
          </a:xfrm>
          <a:custGeom>
            <a:avLst/>
            <a:gdLst>
              <a:gd name="connsiteX0" fmla="*/ 0 w 9380336"/>
              <a:gd name="connsiteY0" fmla="*/ 0 h 6858000"/>
              <a:gd name="connsiteX1" fmla="*/ 6204182 w 9380336"/>
              <a:gd name="connsiteY1" fmla="*/ 0 h 6858000"/>
              <a:gd name="connsiteX2" fmla="*/ 9380336 w 9380336"/>
              <a:gd name="connsiteY2" fmla="*/ 6858000 h 6858000"/>
              <a:gd name="connsiteX3" fmla="*/ 0 w 938033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380336" h="6858000">
                <a:moveTo>
                  <a:pt x="0" y="0"/>
                </a:moveTo>
                <a:lnTo>
                  <a:pt x="6204182" y="0"/>
                </a:lnTo>
                <a:lnTo>
                  <a:pt x="9380336" y="6858000"/>
                </a:lnTo>
                <a:lnTo>
                  <a:pt x="0" y="6858000"/>
                </a:lnTo>
                <a:close/>
              </a:path>
            </a:pathLst>
          </a:custGeom>
          <a:solidFill>
            <a:schemeClr val="bg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Box 6">
            <a:extLst>
              <a:ext uri="{FF2B5EF4-FFF2-40B4-BE49-F238E27FC236}">
                <a16:creationId xmlns:a16="http://schemas.microsoft.com/office/drawing/2014/main" id="{9E6A1B1B-4252-A049-8CE0-71549E8E653A}"/>
              </a:ext>
            </a:extLst>
          </p:cNvPr>
          <p:cNvSpPr txBox="1"/>
          <p:nvPr/>
        </p:nvSpPr>
        <p:spPr>
          <a:xfrm>
            <a:off x="838200" y="365125"/>
            <a:ext cx="5191125" cy="1325563"/>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100" b="1">
                <a:latin typeface="+mj-lt"/>
                <a:ea typeface="+mj-ea"/>
                <a:cs typeface="+mj-cs"/>
              </a:rPr>
              <a:t>OUR GUEST </a:t>
            </a:r>
          </a:p>
          <a:p>
            <a:pPr>
              <a:lnSpc>
                <a:spcPct val="90000"/>
              </a:lnSpc>
              <a:spcBef>
                <a:spcPct val="0"/>
              </a:spcBef>
              <a:spcAft>
                <a:spcPts val="600"/>
              </a:spcAft>
            </a:pPr>
            <a:r>
              <a:rPr lang="en-US" sz="4100" b="1">
                <a:latin typeface="+mj-lt"/>
                <a:ea typeface="+mj-ea"/>
                <a:cs typeface="+mj-cs"/>
              </a:rPr>
              <a:t>SPEAKERS</a:t>
            </a:r>
          </a:p>
        </p:txBody>
      </p:sp>
      <p:pic>
        <p:nvPicPr>
          <p:cNvPr id="12" name="Picture 11" descr="A picture containing drawing&#10;&#10;Description automatically generated">
            <a:extLst>
              <a:ext uri="{FF2B5EF4-FFF2-40B4-BE49-F238E27FC236}">
                <a16:creationId xmlns:a16="http://schemas.microsoft.com/office/drawing/2014/main" id="{F110586C-358A-0244-B0DB-1CC1B1858260}"/>
              </a:ext>
            </a:extLst>
          </p:cNvPr>
          <p:cNvPicPr>
            <a:picLocks noChangeAspect="1"/>
          </p:cNvPicPr>
          <p:nvPr/>
        </p:nvPicPr>
        <p:blipFill>
          <a:blip r:embed="rId3"/>
          <a:stretch>
            <a:fillRect/>
          </a:stretch>
        </p:blipFill>
        <p:spPr>
          <a:xfrm>
            <a:off x="8925205" y="3084668"/>
            <a:ext cx="2718647" cy="557322"/>
          </a:xfrm>
          <a:prstGeom prst="rect">
            <a:avLst/>
          </a:prstGeom>
        </p:spPr>
      </p:pic>
      <p:sp>
        <p:nvSpPr>
          <p:cNvPr id="2" name="TextBox 1">
            <a:extLst>
              <a:ext uri="{FF2B5EF4-FFF2-40B4-BE49-F238E27FC236}">
                <a16:creationId xmlns:a16="http://schemas.microsoft.com/office/drawing/2014/main" id="{87769402-F3DE-9D49-8933-5EEC0EBAA58D}"/>
              </a:ext>
            </a:extLst>
          </p:cNvPr>
          <p:cNvSpPr txBox="1"/>
          <p:nvPr/>
        </p:nvSpPr>
        <p:spPr>
          <a:xfrm>
            <a:off x="3576862" y="2774905"/>
            <a:ext cx="2978580" cy="2149981"/>
          </a:xfrm>
          <a:prstGeom prst="rect">
            <a:avLst/>
          </a:prstGeom>
        </p:spPr>
        <p:txBody>
          <a:bodyPr vert="horz" lIns="91440" tIns="45720" rIns="91440" bIns="45720" rtlCol="0">
            <a:normAutofit/>
          </a:bodyPr>
          <a:lstStyle/>
          <a:p>
            <a:pPr>
              <a:lnSpc>
                <a:spcPct val="90000"/>
              </a:lnSpc>
              <a:spcAft>
                <a:spcPts val="600"/>
              </a:spcAft>
            </a:pPr>
            <a:r>
              <a:rPr lang="en-US" sz="2000" b="1" dirty="0"/>
              <a:t>Jacque </a:t>
            </a:r>
            <a:r>
              <a:rPr lang="en-US" sz="2000" b="1" dirty="0" err="1"/>
              <a:t>Lachmund</a:t>
            </a:r>
            <a:endParaRPr lang="en-US" sz="2000" b="1" dirty="0"/>
          </a:p>
          <a:p>
            <a:pPr>
              <a:lnSpc>
                <a:spcPct val="90000"/>
              </a:lnSpc>
              <a:spcAft>
                <a:spcPts val="600"/>
              </a:spcAft>
            </a:pPr>
            <a:r>
              <a:rPr lang="en-US" sz="2000" dirty="0"/>
              <a:t>CEO, Australia’s CEO Challenge</a:t>
            </a:r>
          </a:p>
          <a:p>
            <a:pPr indent="-228600">
              <a:lnSpc>
                <a:spcPct val="90000"/>
              </a:lnSpc>
              <a:spcAft>
                <a:spcPts val="600"/>
              </a:spcAft>
              <a:buFont typeface="Arial" panose="020B0604020202020204" pitchFamily="34" charset="0"/>
              <a:buChar char="•"/>
            </a:pPr>
            <a:endParaRPr lang="en-US" sz="2000" dirty="0"/>
          </a:p>
          <a:p>
            <a:pPr indent="-228600">
              <a:lnSpc>
                <a:spcPct val="90000"/>
              </a:lnSpc>
              <a:spcAft>
                <a:spcPts val="600"/>
              </a:spcAft>
              <a:buFont typeface="Arial" panose="020B0604020202020204" pitchFamily="34" charset="0"/>
              <a:buChar char="•"/>
            </a:pPr>
            <a:endParaRPr lang="en-US" sz="2000" dirty="0"/>
          </a:p>
        </p:txBody>
      </p:sp>
      <p:pic>
        <p:nvPicPr>
          <p:cNvPr id="15" name="Picture 14" descr="A close up of a logo&#10;&#10;Description automatically generated">
            <a:extLst>
              <a:ext uri="{FF2B5EF4-FFF2-40B4-BE49-F238E27FC236}">
                <a16:creationId xmlns:a16="http://schemas.microsoft.com/office/drawing/2014/main" id="{B9127B49-B4E1-0242-A71B-487E0976A3A2}"/>
              </a:ext>
            </a:extLst>
          </p:cNvPr>
          <p:cNvPicPr>
            <a:picLocks noChangeAspect="1"/>
          </p:cNvPicPr>
          <p:nvPr/>
        </p:nvPicPr>
        <p:blipFill>
          <a:blip r:embed="rId4"/>
          <a:stretch>
            <a:fillRect/>
          </a:stretch>
        </p:blipFill>
        <p:spPr>
          <a:xfrm>
            <a:off x="7845352" y="647240"/>
            <a:ext cx="3508448" cy="1184102"/>
          </a:xfrm>
          <a:prstGeom prst="rect">
            <a:avLst/>
          </a:prstGeom>
        </p:spPr>
      </p:pic>
      <p:pic>
        <p:nvPicPr>
          <p:cNvPr id="27" name="Picture 26" descr="A person posing for the camera&#10;&#10;Description automatically generated">
            <a:extLst>
              <a:ext uri="{FF2B5EF4-FFF2-40B4-BE49-F238E27FC236}">
                <a16:creationId xmlns:a16="http://schemas.microsoft.com/office/drawing/2014/main" id="{B65CCF46-754D-FD4F-98B1-CB2439F49BDD}"/>
              </a:ext>
            </a:extLst>
          </p:cNvPr>
          <p:cNvPicPr>
            <a:picLocks noChangeAspect="1"/>
          </p:cNvPicPr>
          <p:nvPr/>
        </p:nvPicPr>
        <p:blipFill>
          <a:blip r:embed="rId5"/>
          <a:stretch>
            <a:fillRect/>
          </a:stretch>
        </p:blipFill>
        <p:spPr>
          <a:xfrm>
            <a:off x="924673" y="3849896"/>
            <a:ext cx="2567513" cy="1713815"/>
          </a:xfrm>
          <a:prstGeom prst="rect">
            <a:avLst/>
          </a:prstGeom>
        </p:spPr>
      </p:pic>
      <p:pic>
        <p:nvPicPr>
          <p:cNvPr id="21" name="Picture 20" descr="A person in a blue dress&#10;&#10;Description automatically generated">
            <a:extLst>
              <a:ext uri="{FF2B5EF4-FFF2-40B4-BE49-F238E27FC236}">
                <a16:creationId xmlns:a16="http://schemas.microsoft.com/office/drawing/2014/main" id="{06F3F777-49FF-C04A-8132-B97CF4E6929C}"/>
              </a:ext>
            </a:extLst>
          </p:cNvPr>
          <p:cNvPicPr>
            <a:picLocks noChangeAspect="1"/>
          </p:cNvPicPr>
          <p:nvPr/>
        </p:nvPicPr>
        <p:blipFill rotWithShape="1">
          <a:blip r:embed="rId6"/>
          <a:srcRect b="44210"/>
          <a:stretch/>
        </p:blipFill>
        <p:spPr>
          <a:xfrm>
            <a:off x="924673" y="1751121"/>
            <a:ext cx="2567512" cy="2098775"/>
          </a:xfrm>
          <a:prstGeom prst="rect">
            <a:avLst/>
          </a:prstGeom>
        </p:spPr>
      </p:pic>
      <p:sp>
        <p:nvSpPr>
          <p:cNvPr id="8" name="Rectangle 7">
            <a:extLst>
              <a:ext uri="{FF2B5EF4-FFF2-40B4-BE49-F238E27FC236}">
                <a16:creationId xmlns:a16="http://schemas.microsoft.com/office/drawing/2014/main" id="{C7363B37-CD7C-AB44-B658-094BBFFDAB39}"/>
              </a:ext>
            </a:extLst>
          </p:cNvPr>
          <p:cNvSpPr/>
          <p:nvPr/>
        </p:nvSpPr>
        <p:spPr>
          <a:xfrm>
            <a:off x="4545079" y="1957070"/>
            <a:ext cx="7481606" cy="1892826"/>
          </a:xfrm>
          <a:prstGeom prst="rect">
            <a:avLst/>
          </a:prstGeom>
        </p:spPr>
        <p:txBody>
          <a:bodyPr wrap="square">
            <a:spAutoFit/>
          </a:bodyPr>
          <a:lstStyle/>
          <a:p>
            <a:pPr>
              <a:spcAft>
                <a:spcPts val="600"/>
              </a:spcAft>
            </a:pPr>
            <a:endParaRPr lang="en-US" sz="2800" b="1"/>
          </a:p>
          <a:p>
            <a:pPr>
              <a:spcAft>
                <a:spcPts val="600"/>
              </a:spcAft>
            </a:pPr>
            <a:endParaRPr lang="en-US" sz="2800" b="1"/>
          </a:p>
          <a:p>
            <a:pPr>
              <a:spcAft>
                <a:spcPts val="600"/>
              </a:spcAft>
            </a:pPr>
            <a:endParaRPr lang="en-US" sz="2800" b="1"/>
          </a:p>
          <a:p>
            <a:pPr>
              <a:spcAft>
                <a:spcPts val="600"/>
              </a:spcAft>
            </a:pPr>
            <a:endParaRPr lang="en-US"/>
          </a:p>
        </p:txBody>
      </p:sp>
      <p:sp>
        <p:nvSpPr>
          <p:cNvPr id="64" name="TextBox 63">
            <a:extLst>
              <a:ext uri="{FF2B5EF4-FFF2-40B4-BE49-F238E27FC236}">
                <a16:creationId xmlns:a16="http://schemas.microsoft.com/office/drawing/2014/main" id="{8A02BD6E-2D39-FA49-9829-F92CEF0EE103}"/>
              </a:ext>
            </a:extLst>
          </p:cNvPr>
          <p:cNvSpPr txBox="1"/>
          <p:nvPr/>
        </p:nvSpPr>
        <p:spPr>
          <a:xfrm>
            <a:off x="3576862" y="4278957"/>
            <a:ext cx="3673693" cy="2149981"/>
          </a:xfrm>
          <a:prstGeom prst="rect">
            <a:avLst/>
          </a:prstGeom>
        </p:spPr>
        <p:txBody>
          <a:bodyPr vert="horz" lIns="91440" tIns="45720" rIns="91440" bIns="45720" rtlCol="0">
            <a:normAutofit/>
          </a:bodyPr>
          <a:lstStyle/>
          <a:p>
            <a:pPr>
              <a:lnSpc>
                <a:spcPct val="90000"/>
              </a:lnSpc>
              <a:spcAft>
                <a:spcPts val="600"/>
              </a:spcAft>
            </a:pPr>
            <a:endParaRPr lang="en-US" sz="2000" dirty="0"/>
          </a:p>
          <a:p>
            <a:pPr>
              <a:lnSpc>
                <a:spcPct val="90000"/>
              </a:lnSpc>
              <a:spcAft>
                <a:spcPts val="600"/>
              </a:spcAft>
            </a:pPr>
            <a:r>
              <a:rPr lang="en-US" sz="2000" b="1" dirty="0"/>
              <a:t>Chantelle Thom </a:t>
            </a:r>
          </a:p>
          <a:p>
            <a:pPr>
              <a:lnSpc>
                <a:spcPct val="90000"/>
              </a:lnSpc>
              <a:spcAft>
                <a:spcPts val="600"/>
              </a:spcAft>
            </a:pPr>
            <a:r>
              <a:rPr lang="en-US" sz="2000" dirty="0"/>
              <a:t>Principal Advisor Inclusion and Diversity, Rio Tinto</a:t>
            </a:r>
          </a:p>
          <a:p>
            <a:pPr indent="-228600">
              <a:lnSpc>
                <a:spcPct val="90000"/>
              </a:lnSpc>
              <a:spcAft>
                <a:spcPts val="600"/>
              </a:spcAft>
              <a:buFont typeface="Arial" panose="020B0604020202020204" pitchFamily="34" charset="0"/>
              <a:buChar char="•"/>
            </a:pPr>
            <a:endParaRPr lang="en-US" sz="2000" dirty="0"/>
          </a:p>
        </p:txBody>
      </p:sp>
      <p:pic>
        <p:nvPicPr>
          <p:cNvPr id="68" name="Picture 67">
            <a:extLst>
              <a:ext uri="{FF2B5EF4-FFF2-40B4-BE49-F238E27FC236}">
                <a16:creationId xmlns:a16="http://schemas.microsoft.com/office/drawing/2014/main" id="{F6BFB8AC-62C1-6041-AE65-38EAB48C28FE}"/>
              </a:ext>
            </a:extLst>
          </p:cNvPr>
          <p:cNvPicPr>
            <a:picLocks noChangeAspect="1"/>
          </p:cNvPicPr>
          <p:nvPr/>
        </p:nvPicPr>
        <p:blipFill>
          <a:blip r:embed="rId7"/>
          <a:stretch>
            <a:fillRect/>
          </a:stretch>
        </p:blipFill>
        <p:spPr>
          <a:xfrm>
            <a:off x="10051821" y="5081736"/>
            <a:ext cx="1237763" cy="1440306"/>
          </a:xfrm>
          <a:prstGeom prst="rect">
            <a:avLst/>
          </a:prstGeom>
        </p:spPr>
      </p:pic>
    </p:spTree>
    <p:extLst>
      <p:ext uri="{BB962C8B-B14F-4D97-AF65-F5344CB8AC3E}">
        <p14:creationId xmlns:p14="http://schemas.microsoft.com/office/powerpoint/2010/main" val="235895325"/>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AWO Colours">
      <a:dk1>
        <a:srgbClr val="252625"/>
      </a:dk1>
      <a:lt1>
        <a:srgbClr val="FEFFFF"/>
      </a:lt1>
      <a:dk2>
        <a:srgbClr val="E05205"/>
      </a:dk2>
      <a:lt2>
        <a:srgbClr val="E7E6E6"/>
      </a:lt2>
      <a:accent1>
        <a:srgbClr val="233348"/>
      </a:accent1>
      <a:accent2>
        <a:srgbClr val="0B8A6D"/>
      </a:accent2>
      <a:accent3>
        <a:srgbClr val="80B880"/>
      </a:accent3>
      <a:accent4>
        <a:srgbClr val="BCD2B4"/>
      </a:accent4>
      <a:accent5>
        <a:srgbClr val="EAE0C7"/>
      </a:accent5>
      <a:accent6>
        <a:srgbClr val="E6845D"/>
      </a:accent6>
      <a:hlink>
        <a:srgbClr val="7C7C9A"/>
      </a:hlink>
      <a:folHlink>
        <a:srgbClr val="3E3F6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Quotable">
  <a:themeElements>
    <a:clrScheme name="Custom 11">
      <a:dk1>
        <a:srgbClr val="FFFFFF"/>
      </a:dk1>
      <a:lt1>
        <a:sysClr val="window" lastClr="FFFFFF"/>
      </a:lt1>
      <a:dk2>
        <a:srgbClr val="FFFFFF"/>
      </a:dk2>
      <a:lt2>
        <a:srgbClr val="636363"/>
      </a:lt2>
      <a:accent1>
        <a:srgbClr val="662D91"/>
      </a:accent1>
      <a:accent2>
        <a:srgbClr val="2E3192"/>
      </a:accent2>
      <a:accent3>
        <a:srgbClr val="00A79D"/>
      </a:accent3>
      <a:accent4>
        <a:srgbClr val="1B75BC"/>
      </a:accent4>
      <a:accent5>
        <a:srgbClr val="662D91"/>
      </a:accent5>
      <a:accent6>
        <a:srgbClr val="00A79D"/>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3.xml><?xml version="1.0" encoding="utf-8"?>
<a:theme xmlns:a="http://schemas.openxmlformats.org/drawingml/2006/main" name="8_Rio Tinto group PowerPoint template">
  <a:themeElements>
    <a:clrScheme name="Rio Tinto">
      <a:dk1>
        <a:srgbClr val="000000"/>
      </a:dk1>
      <a:lt1>
        <a:sysClr val="window" lastClr="FFFFFF"/>
      </a:lt1>
      <a:dk2>
        <a:srgbClr val="B9B9B9"/>
      </a:dk2>
      <a:lt2>
        <a:srgbClr val="E60D2E"/>
      </a:lt2>
      <a:accent1>
        <a:srgbClr val="0384DB"/>
      </a:accent1>
      <a:accent2>
        <a:srgbClr val="2F9191"/>
      </a:accent2>
      <a:accent3>
        <a:srgbClr val="6F9F00"/>
      </a:accent3>
      <a:accent4>
        <a:srgbClr val="EE7700"/>
      </a:accent4>
      <a:accent5>
        <a:srgbClr val="B40436"/>
      </a:accent5>
      <a:accent6>
        <a:srgbClr val="6F1B91"/>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Magenta">
      <a:srgbClr val="A11588"/>
    </a:custClr>
    <a:custClr name="Dark Green">
      <a:srgbClr val="009536"/>
    </a:custClr>
    <a:custClr name="Dark Blue">
      <a:srgbClr val="004F9A"/>
    </a:custClr>
    <a:custClr name="Plum">
      <a:srgbClr val="772432"/>
    </a:custClr>
    <a:custClr name="Navy">
      <a:srgbClr val="002C5F"/>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Rio Tinto group PowerPoint template">
  <a:themeElements>
    <a:clrScheme name="Rio Tinto">
      <a:dk1>
        <a:srgbClr val="000000"/>
      </a:dk1>
      <a:lt1>
        <a:sysClr val="window" lastClr="FFFFFF"/>
      </a:lt1>
      <a:dk2>
        <a:srgbClr val="B9B9B9"/>
      </a:dk2>
      <a:lt2>
        <a:srgbClr val="E60D2E"/>
      </a:lt2>
      <a:accent1>
        <a:srgbClr val="0384DB"/>
      </a:accent1>
      <a:accent2>
        <a:srgbClr val="2F9191"/>
      </a:accent2>
      <a:accent3>
        <a:srgbClr val="6F9F00"/>
      </a:accent3>
      <a:accent4>
        <a:srgbClr val="EE7700"/>
      </a:accent4>
      <a:accent5>
        <a:srgbClr val="B40436"/>
      </a:accent5>
      <a:accent6>
        <a:srgbClr val="6F1B91"/>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Magenta">
      <a:srgbClr val="A11588"/>
    </a:custClr>
    <a:custClr name="Dark Green">
      <a:srgbClr val="009536"/>
    </a:custClr>
    <a:custClr name="Dark Blue">
      <a:srgbClr val="004F9A"/>
    </a:custClr>
    <a:custClr name="Plum">
      <a:srgbClr val="772432"/>
    </a:custClr>
    <a:custClr name="Navy">
      <a:srgbClr val="002C5F"/>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52F15C4A8C3C34793236D3CDF6A4D48" ma:contentTypeVersion="13" ma:contentTypeDescription="Create a new document." ma:contentTypeScope="" ma:versionID="d30c9928c35dd53219d39e19bcca4497">
  <xsd:schema xmlns:xsd="http://www.w3.org/2001/XMLSchema" xmlns:xs="http://www.w3.org/2001/XMLSchema" xmlns:p="http://schemas.microsoft.com/office/2006/metadata/properties" xmlns:ns3="05588a53-5f4a-4f68-9041-bf7f6218cb18" xmlns:ns4="a1b1c056-0d07-4ab7-9a0b-655860b006fb" targetNamespace="http://schemas.microsoft.com/office/2006/metadata/properties" ma:root="true" ma:fieldsID="b62c1e97557edc3701b8cc4b666226d5" ns3:_="" ns4:_="">
    <xsd:import namespace="05588a53-5f4a-4f68-9041-bf7f6218cb18"/>
    <xsd:import namespace="a1b1c056-0d07-4ab7-9a0b-655860b006f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588a53-5f4a-4f68-9041-bf7f6218cb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b1c056-0d07-4ab7-9a0b-655860b006f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75EB17-60E7-4007-9AE9-0558F8DD73B0}">
  <ds:schemaRefs>
    <ds:schemaRef ds:uri="http://purl.org/dc/elements/1.1/"/>
    <ds:schemaRef ds:uri="http://purl.org/dc/dcmitype/"/>
    <ds:schemaRef ds:uri="http://purl.org/dc/terms/"/>
    <ds:schemaRef ds:uri="http://www.w3.org/XML/1998/namespace"/>
    <ds:schemaRef ds:uri="http://schemas.microsoft.com/office/infopath/2007/PartnerControls"/>
    <ds:schemaRef ds:uri="05588a53-5f4a-4f68-9041-bf7f6218cb18"/>
    <ds:schemaRef ds:uri="http://schemas.microsoft.com/office/2006/documentManagement/types"/>
    <ds:schemaRef ds:uri="http://schemas.openxmlformats.org/package/2006/metadata/core-properties"/>
    <ds:schemaRef ds:uri="a1b1c056-0d07-4ab7-9a0b-655860b006fb"/>
    <ds:schemaRef ds:uri="http://schemas.microsoft.com/office/2006/metadata/properties"/>
  </ds:schemaRefs>
</ds:datastoreItem>
</file>

<file path=customXml/itemProps2.xml><?xml version="1.0" encoding="utf-8"?>
<ds:datastoreItem xmlns:ds="http://schemas.openxmlformats.org/officeDocument/2006/customXml" ds:itemID="{B388DC4B-8FB5-4A2D-BB42-B948A28D77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588a53-5f4a-4f68-9041-bf7f6218cb18"/>
    <ds:schemaRef ds:uri="a1b1c056-0d07-4ab7-9a0b-655860b006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83BF33-A2C6-4E94-AB38-8799BA033A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19</TotalTime>
  <Words>4176</Words>
  <Application>Microsoft Macintosh PowerPoint</Application>
  <PresentationFormat>Widescreen</PresentationFormat>
  <Paragraphs>441</Paragraphs>
  <Slides>40</Slides>
  <Notes>3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54" baseType="lpstr">
      <vt:lpstr>Arial</vt:lpstr>
      <vt:lpstr>Calibri</vt:lpstr>
      <vt:lpstr>Century Gothic</vt:lpstr>
      <vt:lpstr>Ebrima</vt:lpstr>
      <vt:lpstr>Franklin Gothic Book</vt:lpstr>
      <vt:lpstr>Franklin Gothic Medium</vt:lpstr>
      <vt:lpstr>Georgia</vt:lpstr>
      <vt:lpstr>Tahoma</vt:lpstr>
      <vt:lpstr>Wingdings 2</vt:lpstr>
      <vt:lpstr>Office Theme</vt:lpstr>
      <vt:lpstr>Quotable</vt:lpstr>
      <vt:lpstr>8_Rio Tinto group PowerPoint template</vt:lpstr>
      <vt:lpstr>Rio Tinto group PowerPoint template</vt:lpstr>
      <vt:lpstr>think-cell Slide</vt:lpstr>
      <vt:lpstr> Workplaces as the new frontline: Family and Domestic Violence with COVID-19</vt:lpstr>
      <vt:lpstr>WELCOME!</vt:lpstr>
      <vt:lpstr> Workplaces as the new frontline: Family and Domestic Violence with COVID-19</vt:lpstr>
      <vt:lpstr>PowerPoint Presentation</vt:lpstr>
      <vt:lpstr>NAWO SUPPORTS WOMEN FROM ALL DISCIPLINES</vt:lpstr>
      <vt:lpstr>NAWO Professional Development Future Fit!</vt:lpstr>
      <vt:lpstr>FOLLOW US AND BE PART OF THE CONVERSATION #NAWO</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OGNISE</vt:lpstr>
      <vt:lpstr>PowerPoint Presentation</vt:lpstr>
      <vt:lpstr>PowerPoint Presentation</vt:lpstr>
      <vt:lpstr>PowerPoint Presentation</vt:lpstr>
      <vt:lpstr>PowerPoint Presentation</vt:lpstr>
      <vt:lpstr>PowerPoint Presentation</vt:lpstr>
      <vt:lpstr>RESPOND</vt:lpstr>
      <vt:lpstr>PowerPoint Presentation</vt:lpstr>
      <vt:lpstr>PowerPoint Presentation</vt:lpstr>
      <vt:lpstr>PowerPoint Presentation</vt:lpstr>
      <vt:lpstr>REFER</vt:lpstr>
      <vt:lpstr>PowerPoint Presentation</vt:lpstr>
      <vt:lpstr>PowerPoint Presentation</vt:lpstr>
      <vt:lpstr>Family &amp; Domestic Violence</vt:lpstr>
      <vt:lpstr>COVID-19 &amp; FDV –  Workplace Context</vt:lpstr>
      <vt:lpstr>What Can Workplaces Do?  Rio Tinto Example *work is in continual progress</vt:lpstr>
      <vt:lpstr>If An Incident Occurs Whilst WFH </vt:lpstr>
      <vt:lpstr>Our Learnings  Our response to FDV re: COVID-19</vt:lpstr>
      <vt:lpstr>PowerPoint Presentation</vt:lpstr>
      <vt:lpstr>PowerPoint Presentation</vt:lpstr>
      <vt:lpstr>PowerPoint Presentation</vt:lpstr>
      <vt:lpstr>SEND US YOUR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Workplaces as the new frontline: Family and Domestic Violence with COVID-19</dc:title>
  <dc:creator>louise Weine</dc:creator>
  <cp:lastModifiedBy>louise Weine</cp:lastModifiedBy>
  <cp:revision>1</cp:revision>
  <dcterms:created xsi:type="dcterms:W3CDTF">2020-04-08T11:52:17Z</dcterms:created>
  <dcterms:modified xsi:type="dcterms:W3CDTF">2020-04-15T02:05:54Z</dcterms:modified>
</cp:coreProperties>
</file>